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4"/>
  </p:sldMasterIdLst>
  <p:notesMasterIdLst>
    <p:notesMasterId r:id="rId16"/>
  </p:notesMasterIdLst>
  <p:handoutMasterIdLst>
    <p:handoutMasterId r:id="rId17"/>
  </p:handoutMasterIdLst>
  <p:sldIdLst>
    <p:sldId id="282" r:id="rId5"/>
    <p:sldId id="292" r:id="rId6"/>
    <p:sldId id="293" r:id="rId7"/>
    <p:sldId id="256" r:id="rId8"/>
    <p:sldId id="298" r:id="rId9"/>
    <p:sldId id="299" r:id="rId10"/>
    <p:sldId id="302" r:id="rId11"/>
    <p:sldId id="301" r:id="rId12"/>
    <p:sldId id="304" r:id="rId13"/>
    <p:sldId id="303" r:id="rId14"/>
    <p:sldId id="296" r:id="rId15"/>
  </p:sldIdLst>
  <p:sldSz cx="12192000" cy="6858000"/>
  <p:notesSz cx="6858000" cy="9144000"/>
  <p:custDataLst>
    <p:tags r:id="rId18"/>
  </p:custDataLst>
  <p:defaultTextStyle>
    <a:defPPr rtl="0"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0C03D95-A764-4AF8-A618-CED99CFBBCB3}" v="433" dt="2020-03-26T20:47:51.526"/>
  </p1510:revLst>
</p1510:revInfo>
</file>

<file path=ppt/tableStyles.xml><?xml version="1.0" encoding="utf-8"?>
<a:tblStyleLst xmlns:a="http://schemas.openxmlformats.org/drawingml/2006/main" def="{073A0DAA-6AF3-43AB-8588-CEC1D06C72B9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574" autoAdjust="0"/>
  </p:normalViewPr>
  <p:slideViewPr>
    <p:cSldViewPr snapToGrid="0">
      <p:cViewPr varScale="1">
        <p:scale>
          <a:sx n="68" d="100"/>
          <a:sy n="68" d="100"/>
        </p:scale>
        <p:origin x="738" y="7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9" d="100"/>
          <a:sy n="89" d="100"/>
        </p:scale>
        <p:origin x="3786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>
            <a:extLst>
              <a:ext uri="{FF2B5EF4-FFF2-40B4-BE49-F238E27FC236}">
                <a16:creationId xmlns:a16="http://schemas.microsoft.com/office/drawing/2014/main" id="{B76F666D-E0C2-435B-BAA8-9287F9E5D38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rtl="0"/>
            <a:endParaRPr lang="pt-BR"/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19FEBCAF-CB3F-4928-91AA-D61472F880C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 rtl="0"/>
            <a:fld id="{C7BF025B-A213-4E37-87EA-184598B03CE9}" type="datetime1">
              <a:rPr lang="pt-BR" smtClean="0"/>
              <a:t>26/03/2020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69256698-63C6-4CCC-81CB-EA5604C30F1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rtl="0"/>
            <a:endParaRPr lang="pt-BR"/>
          </a:p>
        </p:txBody>
      </p:sp>
      <p:sp>
        <p:nvSpPr>
          <p:cNvPr id="5" name="Espaço Reservado para o Número do Slide 4">
            <a:extLst>
              <a:ext uri="{FF2B5EF4-FFF2-40B4-BE49-F238E27FC236}">
                <a16:creationId xmlns:a16="http://schemas.microsoft.com/office/drawing/2014/main" id="{B2467FDA-05D7-4760-A373-5D6AEAAF427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rtl="0"/>
            <a:fld id="{682C0B10-7CAE-41E4-AB02-7E8B1FF2B89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8753759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rtl="0"/>
            <a:endParaRPr lang="pt-BR" noProof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 rtl="0"/>
            <a:fld id="{2E4A3D01-E2E0-4E9E-94AD-AE3B3B2C2F16}" type="datetime1">
              <a:rPr lang="pt-BR" noProof="0" smtClean="0"/>
              <a:t>26/03/2020</a:t>
            </a:fld>
            <a:endParaRPr lang="pt-BR" noProof="0"/>
          </a:p>
        </p:txBody>
      </p:sp>
      <p:sp>
        <p:nvSpPr>
          <p:cNvPr id="4" name="Espaço Reservado para Imagem do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rtl="0"/>
            <a:endParaRPr lang="pt-BR" noProof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 rtl="0"/>
            <a:r>
              <a:rPr lang="pt-BR" noProof="0"/>
              <a:t>Editar estilos de texto Mestre</a:t>
            </a:r>
          </a:p>
          <a:p>
            <a:pPr lvl="1" rtl="0"/>
            <a:r>
              <a:rPr lang="pt-BR" noProof="0"/>
              <a:t>Segundo nível</a:t>
            </a:r>
          </a:p>
          <a:p>
            <a:pPr lvl="2" rtl="0"/>
            <a:r>
              <a:rPr lang="pt-BR" noProof="0"/>
              <a:t>Terceiro nível</a:t>
            </a:r>
          </a:p>
          <a:p>
            <a:pPr lvl="3" rtl="0"/>
            <a:r>
              <a:rPr lang="pt-BR" noProof="0"/>
              <a:t>Quarto nível</a:t>
            </a:r>
          </a:p>
          <a:p>
            <a:pPr lvl="4" rtl="0"/>
            <a:r>
              <a:rPr lang="pt-BR" noProof="0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rtl="0"/>
            <a:endParaRPr lang="pt-BR" noProof="0"/>
          </a:p>
        </p:txBody>
      </p:sp>
      <p:sp>
        <p:nvSpPr>
          <p:cNvPr id="7" name="Espaço Reservado para o Número do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rtl="0"/>
            <a:fld id="{8530193B-564F-4854-8A52-728F3FB19C85}" type="slidenum">
              <a:rPr lang="pt-BR" noProof="0" smtClean="0"/>
              <a:t>‹nº›</a:t>
            </a:fld>
            <a:endParaRPr lang="pt-BR" noProof="0"/>
          </a:p>
        </p:txBody>
      </p:sp>
    </p:spTree>
    <p:extLst>
      <p:ext uri="{BB962C8B-B14F-4D97-AF65-F5344CB8AC3E}">
        <p14:creationId xmlns:p14="http://schemas.microsoft.com/office/powerpoint/2010/main" val="360381651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a imagem do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pt-BR"/>
          </a:p>
        </p:txBody>
      </p:sp>
      <p:sp>
        <p:nvSpPr>
          <p:cNvPr id="4" name="Espaço Reservado para o Número do Slide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rtl="0"/>
            <a:fld id="{8530193B-564F-4854-8A52-728F3FB19C85}" type="slidenum">
              <a:rPr lang="pt-BR" smtClean="0"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0671657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a imagem do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pt-BR"/>
          </a:p>
        </p:txBody>
      </p:sp>
      <p:sp>
        <p:nvSpPr>
          <p:cNvPr id="4" name="Espaço Reservado para o Número do Slide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rtl="0"/>
            <a:fld id="{8530193B-564F-4854-8A52-728F3FB19C85}" type="slidenum">
              <a:rPr lang="pt-BR" smtClean="0"/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8218445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a imagem do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pt-BR"/>
          </a:p>
        </p:txBody>
      </p:sp>
      <p:sp>
        <p:nvSpPr>
          <p:cNvPr id="4" name="Espaço reservado para o número do slide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rtl="0"/>
            <a:fld id="{8530193B-564F-4854-8A52-728F3FB19C85}" type="slidenum">
              <a:rPr lang="pt-BR" smtClean="0"/>
              <a:t>1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521294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a imagem do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pt-BR"/>
          </a:p>
        </p:txBody>
      </p:sp>
      <p:sp>
        <p:nvSpPr>
          <p:cNvPr id="4" name="Espaço Reservado para o Número do Slide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rtl="0"/>
            <a:fld id="{8530193B-564F-4854-8A52-728F3FB19C85}" type="slidenum">
              <a:rPr lang="pt-BR" smtClean="0"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318379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a imagem do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pt-BR"/>
          </a:p>
        </p:txBody>
      </p:sp>
      <p:sp>
        <p:nvSpPr>
          <p:cNvPr id="4" name="Espaço Reservado para o Número do Slide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rtl="0"/>
            <a:fld id="{8530193B-564F-4854-8A52-728F3FB19C85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510371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a imagem do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pt-BR"/>
          </a:p>
        </p:txBody>
      </p:sp>
      <p:sp>
        <p:nvSpPr>
          <p:cNvPr id="4" name="Espaço Reservado para o Número do Slide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rtl="0"/>
            <a:fld id="{8530193B-564F-4854-8A52-728F3FB19C85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426087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a imagem do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pt-BR"/>
          </a:p>
        </p:txBody>
      </p:sp>
      <p:sp>
        <p:nvSpPr>
          <p:cNvPr id="4" name="Espaço Reservado para o Número do Slide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rtl="0"/>
            <a:fld id="{8530193B-564F-4854-8A52-728F3FB19C85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249571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a imagem do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pt-BR"/>
          </a:p>
        </p:txBody>
      </p:sp>
      <p:sp>
        <p:nvSpPr>
          <p:cNvPr id="4" name="Espaço Reservado para o Número do Slide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rtl="0"/>
            <a:fld id="{8530193B-564F-4854-8A52-728F3FB19C85}" type="slidenum">
              <a:rPr lang="pt-BR" smtClean="0"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835880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a imagem do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pt-BR"/>
          </a:p>
        </p:txBody>
      </p:sp>
      <p:sp>
        <p:nvSpPr>
          <p:cNvPr id="4" name="Espaço Reservado para o Número do Slide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rtl="0"/>
            <a:fld id="{8530193B-564F-4854-8A52-728F3FB19C85}" type="slidenum">
              <a:rPr lang="pt-BR" smtClean="0"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271616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a imagem do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pt-BR"/>
          </a:p>
        </p:txBody>
      </p:sp>
      <p:sp>
        <p:nvSpPr>
          <p:cNvPr id="4" name="Espaço Reservado para o Número do Slide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rtl="0"/>
            <a:fld id="{8530193B-564F-4854-8A52-728F3FB19C85}" type="slidenum">
              <a:rPr lang="pt-BR" smtClean="0"/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769264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a imagem do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pt-BR"/>
          </a:p>
        </p:txBody>
      </p:sp>
      <p:sp>
        <p:nvSpPr>
          <p:cNvPr id="4" name="Espaço Reservado para o Número do Slide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rtl="0"/>
            <a:fld id="{8530193B-564F-4854-8A52-728F3FB19C85}" type="slidenum">
              <a:rPr lang="pt-BR" smtClean="0"/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393003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e Título com Imag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7" name="Espaço Reservado para Imagem 536">
            <a:extLst>
              <a:ext uri="{FF2B5EF4-FFF2-40B4-BE49-F238E27FC236}">
                <a16:creationId xmlns:a16="http://schemas.microsoft.com/office/drawing/2014/main" id="{0FB2E018-C893-4204-8EA4-A6A08C84878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561751" y="92067"/>
            <a:ext cx="6630249" cy="6750795"/>
          </a:xfrm>
          <a:custGeom>
            <a:avLst/>
            <a:gdLst>
              <a:gd name="connsiteX0" fmla="*/ 3165080 w 6630249"/>
              <a:gd name="connsiteY0" fmla="*/ 6730276 h 6750795"/>
              <a:gd name="connsiteX1" fmla="*/ 3185599 w 6630249"/>
              <a:gd name="connsiteY1" fmla="*/ 6750795 h 6750795"/>
              <a:gd name="connsiteX2" fmla="*/ 3159950 w 6630249"/>
              <a:gd name="connsiteY2" fmla="*/ 6735405 h 6750795"/>
              <a:gd name="connsiteX3" fmla="*/ 3165080 w 6630249"/>
              <a:gd name="connsiteY3" fmla="*/ 6730276 h 6750795"/>
              <a:gd name="connsiteX4" fmla="*/ 3093261 w 6630249"/>
              <a:gd name="connsiteY4" fmla="*/ 6596900 h 6750795"/>
              <a:gd name="connsiteX5" fmla="*/ 3188163 w 6630249"/>
              <a:gd name="connsiteY5" fmla="*/ 6702061 h 6750795"/>
              <a:gd name="connsiteX6" fmla="*/ 3193294 w 6630249"/>
              <a:gd name="connsiteY6" fmla="*/ 6720016 h 6750795"/>
              <a:gd name="connsiteX7" fmla="*/ 3147124 w 6630249"/>
              <a:gd name="connsiteY7" fmla="*/ 6668718 h 6750795"/>
              <a:gd name="connsiteX8" fmla="*/ 3116346 w 6630249"/>
              <a:gd name="connsiteY8" fmla="*/ 6632809 h 6750795"/>
              <a:gd name="connsiteX9" fmla="*/ 3095826 w 6630249"/>
              <a:gd name="connsiteY9" fmla="*/ 6609724 h 6750795"/>
              <a:gd name="connsiteX10" fmla="*/ 3093261 w 6630249"/>
              <a:gd name="connsiteY10" fmla="*/ 6596900 h 6750795"/>
              <a:gd name="connsiteX11" fmla="*/ 3057353 w 6630249"/>
              <a:gd name="connsiteY11" fmla="*/ 6509694 h 6750795"/>
              <a:gd name="connsiteX12" fmla="*/ 3070178 w 6630249"/>
              <a:gd name="connsiteY12" fmla="*/ 6517389 h 6750795"/>
              <a:gd name="connsiteX13" fmla="*/ 3106087 w 6630249"/>
              <a:gd name="connsiteY13" fmla="*/ 6540473 h 6750795"/>
              <a:gd name="connsiteX14" fmla="*/ 3126606 w 6630249"/>
              <a:gd name="connsiteY14" fmla="*/ 6558428 h 6750795"/>
              <a:gd name="connsiteX15" fmla="*/ 3136865 w 6630249"/>
              <a:gd name="connsiteY15" fmla="*/ 6586641 h 6750795"/>
              <a:gd name="connsiteX16" fmla="*/ 3057353 w 6630249"/>
              <a:gd name="connsiteY16" fmla="*/ 6509694 h 6750795"/>
              <a:gd name="connsiteX17" fmla="*/ 3067614 w 6630249"/>
              <a:gd name="connsiteY17" fmla="*/ 6468657 h 6750795"/>
              <a:gd name="connsiteX18" fmla="*/ 3080437 w 6630249"/>
              <a:gd name="connsiteY18" fmla="*/ 6481481 h 6750795"/>
              <a:gd name="connsiteX19" fmla="*/ 3083002 w 6630249"/>
              <a:gd name="connsiteY19" fmla="*/ 6486611 h 6750795"/>
              <a:gd name="connsiteX20" fmla="*/ 3067614 w 6630249"/>
              <a:gd name="connsiteY20" fmla="*/ 6468657 h 6750795"/>
              <a:gd name="connsiteX21" fmla="*/ 2959888 w 6630249"/>
              <a:gd name="connsiteY21" fmla="*/ 6319893 h 6750795"/>
              <a:gd name="connsiteX22" fmla="*/ 2972713 w 6630249"/>
              <a:gd name="connsiteY22" fmla="*/ 6325022 h 6750795"/>
              <a:gd name="connsiteX23" fmla="*/ 2957323 w 6630249"/>
              <a:gd name="connsiteY23" fmla="*/ 6353236 h 6750795"/>
              <a:gd name="connsiteX24" fmla="*/ 2959888 w 6630249"/>
              <a:gd name="connsiteY24" fmla="*/ 6319893 h 6750795"/>
              <a:gd name="connsiteX25" fmla="*/ 3008620 w 6630249"/>
              <a:gd name="connsiteY25" fmla="*/ 6276289 h 6750795"/>
              <a:gd name="connsiteX26" fmla="*/ 3029139 w 6630249"/>
              <a:gd name="connsiteY26" fmla="*/ 6345541 h 6750795"/>
              <a:gd name="connsiteX27" fmla="*/ 3034269 w 6630249"/>
              <a:gd name="connsiteY27" fmla="*/ 6276289 h 6750795"/>
              <a:gd name="connsiteX28" fmla="*/ 3008620 w 6630249"/>
              <a:gd name="connsiteY28" fmla="*/ 6276289 h 6750795"/>
              <a:gd name="connsiteX29" fmla="*/ 3385660 w 6630249"/>
              <a:gd name="connsiteY29" fmla="*/ 6217296 h 6750795"/>
              <a:gd name="connsiteX30" fmla="*/ 3444652 w 6630249"/>
              <a:gd name="connsiteY30" fmla="*/ 6268595 h 6750795"/>
              <a:gd name="connsiteX31" fmla="*/ 3434393 w 6630249"/>
              <a:gd name="connsiteY31" fmla="*/ 6260900 h 6750795"/>
              <a:gd name="connsiteX32" fmla="*/ 3385660 w 6630249"/>
              <a:gd name="connsiteY32" fmla="*/ 6217296 h 6750795"/>
              <a:gd name="connsiteX33" fmla="*/ 3318972 w 6630249"/>
              <a:gd name="connsiteY33" fmla="*/ 6201907 h 6750795"/>
              <a:gd name="connsiteX34" fmla="*/ 3434393 w 6630249"/>
              <a:gd name="connsiteY34" fmla="*/ 6291679 h 6750795"/>
              <a:gd name="connsiteX35" fmla="*/ 3403614 w 6630249"/>
              <a:gd name="connsiteY35" fmla="*/ 6276289 h 6750795"/>
              <a:gd name="connsiteX36" fmla="*/ 3318972 w 6630249"/>
              <a:gd name="connsiteY36" fmla="*/ 6201907 h 6750795"/>
              <a:gd name="connsiteX37" fmla="*/ 3206118 w 6630249"/>
              <a:gd name="connsiteY37" fmla="*/ 6109571 h 6750795"/>
              <a:gd name="connsiteX38" fmla="*/ 3208682 w 6630249"/>
              <a:gd name="connsiteY38" fmla="*/ 6150610 h 6750795"/>
              <a:gd name="connsiteX39" fmla="*/ 3175339 w 6630249"/>
              <a:gd name="connsiteY39" fmla="*/ 6124961 h 6750795"/>
              <a:gd name="connsiteX40" fmla="*/ 3206118 w 6630249"/>
              <a:gd name="connsiteY40" fmla="*/ 6109571 h 6750795"/>
              <a:gd name="connsiteX41" fmla="*/ 3254850 w 6630249"/>
              <a:gd name="connsiteY41" fmla="*/ 6104441 h 6750795"/>
              <a:gd name="connsiteX42" fmla="*/ 3308713 w 6630249"/>
              <a:gd name="connsiteY42" fmla="*/ 6153175 h 6750795"/>
              <a:gd name="connsiteX43" fmla="*/ 3259980 w 6630249"/>
              <a:gd name="connsiteY43" fmla="*/ 6117266 h 6750795"/>
              <a:gd name="connsiteX44" fmla="*/ 3254850 w 6630249"/>
              <a:gd name="connsiteY44" fmla="*/ 6104441 h 6750795"/>
              <a:gd name="connsiteX45" fmla="*/ 3121476 w 6630249"/>
              <a:gd name="connsiteY45" fmla="*/ 6078793 h 6750795"/>
              <a:gd name="connsiteX46" fmla="*/ 3131736 w 6630249"/>
              <a:gd name="connsiteY46" fmla="*/ 6083922 h 6750795"/>
              <a:gd name="connsiteX47" fmla="*/ 3149689 w 6630249"/>
              <a:gd name="connsiteY47" fmla="*/ 6094182 h 6750795"/>
              <a:gd name="connsiteX48" fmla="*/ 3141995 w 6630249"/>
              <a:gd name="connsiteY48" fmla="*/ 6096747 h 6750795"/>
              <a:gd name="connsiteX49" fmla="*/ 3124041 w 6630249"/>
              <a:gd name="connsiteY49" fmla="*/ 6081358 h 6750795"/>
              <a:gd name="connsiteX50" fmla="*/ 3121476 w 6630249"/>
              <a:gd name="connsiteY50" fmla="*/ 6078793 h 6750795"/>
              <a:gd name="connsiteX51" fmla="*/ 2898330 w 6630249"/>
              <a:gd name="connsiteY51" fmla="*/ 6048013 h 6750795"/>
              <a:gd name="connsiteX52" fmla="*/ 2911154 w 6630249"/>
              <a:gd name="connsiteY52" fmla="*/ 6063402 h 6750795"/>
              <a:gd name="connsiteX53" fmla="*/ 2947062 w 6630249"/>
              <a:gd name="connsiteY53" fmla="*/ 6089051 h 6750795"/>
              <a:gd name="connsiteX54" fmla="*/ 2954757 w 6630249"/>
              <a:gd name="connsiteY54" fmla="*/ 6089051 h 6750795"/>
              <a:gd name="connsiteX55" fmla="*/ 3006055 w 6630249"/>
              <a:gd name="connsiteY55" fmla="*/ 6191648 h 6750795"/>
              <a:gd name="connsiteX56" fmla="*/ 2985536 w 6630249"/>
              <a:gd name="connsiteY56" fmla="*/ 6201907 h 6750795"/>
              <a:gd name="connsiteX57" fmla="*/ 3006055 w 6630249"/>
              <a:gd name="connsiteY57" fmla="*/ 6266030 h 6750795"/>
              <a:gd name="connsiteX58" fmla="*/ 3041963 w 6630249"/>
              <a:gd name="connsiteY58" fmla="*/ 6268595 h 6750795"/>
              <a:gd name="connsiteX59" fmla="*/ 3065047 w 6630249"/>
              <a:gd name="connsiteY59" fmla="*/ 6291679 h 6750795"/>
              <a:gd name="connsiteX60" fmla="*/ 3070177 w 6630249"/>
              <a:gd name="connsiteY60" fmla="*/ 6294244 h 6750795"/>
              <a:gd name="connsiteX61" fmla="*/ 3090696 w 6630249"/>
              <a:gd name="connsiteY61" fmla="*/ 6337847 h 6750795"/>
              <a:gd name="connsiteX62" fmla="*/ 3059917 w 6630249"/>
              <a:gd name="connsiteY62" fmla="*/ 6350671 h 6750795"/>
              <a:gd name="connsiteX63" fmla="*/ 3036835 w 6630249"/>
              <a:gd name="connsiteY63" fmla="*/ 6384015 h 6750795"/>
              <a:gd name="connsiteX64" fmla="*/ 3013751 w 6630249"/>
              <a:gd name="connsiteY64" fmla="*/ 6414793 h 6750795"/>
              <a:gd name="connsiteX65" fmla="*/ 2993231 w 6630249"/>
              <a:gd name="connsiteY65" fmla="*/ 6412228 h 6750795"/>
              <a:gd name="connsiteX66" fmla="*/ 2988101 w 6630249"/>
              <a:gd name="connsiteY66" fmla="*/ 6412228 h 6750795"/>
              <a:gd name="connsiteX67" fmla="*/ 2982972 w 6630249"/>
              <a:gd name="connsiteY67" fmla="*/ 6327587 h 6750795"/>
              <a:gd name="connsiteX68" fmla="*/ 2985536 w 6630249"/>
              <a:gd name="connsiteY68" fmla="*/ 6312198 h 6750795"/>
              <a:gd name="connsiteX69" fmla="*/ 2980406 w 6630249"/>
              <a:gd name="connsiteY69" fmla="*/ 6317327 h 6750795"/>
              <a:gd name="connsiteX70" fmla="*/ 2954757 w 6630249"/>
              <a:gd name="connsiteY70" fmla="*/ 6276289 h 6750795"/>
              <a:gd name="connsiteX71" fmla="*/ 2954757 w 6630249"/>
              <a:gd name="connsiteY71" fmla="*/ 6296808 h 6750795"/>
              <a:gd name="connsiteX72" fmla="*/ 2952193 w 6630249"/>
              <a:gd name="connsiteY72" fmla="*/ 6299373 h 6750795"/>
              <a:gd name="connsiteX73" fmla="*/ 2939368 w 6630249"/>
              <a:gd name="connsiteY73" fmla="*/ 6314762 h 6750795"/>
              <a:gd name="connsiteX74" fmla="*/ 2939368 w 6630249"/>
              <a:gd name="connsiteY74" fmla="*/ 6312198 h 6750795"/>
              <a:gd name="connsiteX75" fmla="*/ 2965017 w 6630249"/>
              <a:gd name="connsiteY75" fmla="*/ 6227556 h 6750795"/>
              <a:gd name="connsiteX76" fmla="*/ 2967581 w 6630249"/>
              <a:gd name="connsiteY76" fmla="*/ 6217297 h 6750795"/>
              <a:gd name="connsiteX77" fmla="*/ 2957322 w 6630249"/>
              <a:gd name="connsiteY77" fmla="*/ 6209602 h 6750795"/>
              <a:gd name="connsiteX78" fmla="*/ 2918848 w 6630249"/>
              <a:gd name="connsiteY78" fmla="*/ 6281419 h 6750795"/>
              <a:gd name="connsiteX79" fmla="*/ 2916284 w 6630249"/>
              <a:gd name="connsiteY79" fmla="*/ 6278854 h 6750795"/>
              <a:gd name="connsiteX80" fmla="*/ 2934238 w 6630249"/>
              <a:gd name="connsiteY80" fmla="*/ 6235251 h 6750795"/>
              <a:gd name="connsiteX81" fmla="*/ 2957322 w 6630249"/>
              <a:gd name="connsiteY81" fmla="*/ 6119830 h 6750795"/>
              <a:gd name="connsiteX82" fmla="*/ 2952193 w 6630249"/>
              <a:gd name="connsiteY82" fmla="*/ 6101876 h 6750795"/>
              <a:gd name="connsiteX83" fmla="*/ 2944497 w 6630249"/>
              <a:gd name="connsiteY83" fmla="*/ 6119830 h 6750795"/>
              <a:gd name="connsiteX84" fmla="*/ 2900894 w 6630249"/>
              <a:gd name="connsiteY84" fmla="*/ 6240381 h 6750795"/>
              <a:gd name="connsiteX85" fmla="*/ 2862421 w 6630249"/>
              <a:gd name="connsiteY85" fmla="*/ 6173693 h 6750795"/>
              <a:gd name="connsiteX86" fmla="*/ 2818818 w 6630249"/>
              <a:gd name="connsiteY86" fmla="*/ 6071097 h 6750795"/>
              <a:gd name="connsiteX87" fmla="*/ 2875245 w 6630249"/>
              <a:gd name="connsiteY87" fmla="*/ 6055707 h 6750795"/>
              <a:gd name="connsiteX88" fmla="*/ 2898330 w 6630249"/>
              <a:gd name="connsiteY88" fmla="*/ 6048013 h 6750795"/>
              <a:gd name="connsiteX89" fmla="*/ 2829078 w 6630249"/>
              <a:gd name="connsiteY89" fmla="*/ 6030060 h 6750795"/>
              <a:gd name="connsiteX90" fmla="*/ 2836772 w 6630249"/>
              <a:gd name="connsiteY90" fmla="*/ 6042884 h 6750795"/>
              <a:gd name="connsiteX91" fmla="*/ 2834208 w 6630249"/>
              <a:gd name="connsiteY91" fmla="*/ 6040319 h 6750795"/>
              <a:gd name="connsiteX92" fmla="*/ 2829078 w 6630249"/>
              <a:gd name="connsiteY92" fmla="*/ 6030060 h 6750795"/>
              <a:gd name="connsiteX93" fmla="*/ 4393663 w 6630249"/>
              <a:gd name="connsiteY93" fmla="*/ 6009541 h 6750795"/>
              <a:gd name="connsiteX94" fmla="*/ 4393663 w 6630249"/>
              <a:gd name="connsiteY94" fmla="*/ 6019800 h 6750795"/>
              <a:gd name="connsiteX95" fmla="*/ 4406488 w 6630249"/>
              <a:gd name="connsiteY95" fmla="*/ 6035190 h 6750795"/>
              <a:gd name="connsiteX96" fmla="*/ 4339800 w 6630249"/>
              <a:gd name="connsiteY96" fmla="*/ 6014670 h 6750795"/>
              <a:gd name="connsiteX97" fmla="*/ 4393663 w 6630249"/>
              <a:gd name="connsiteY97" fmla="*/ 6009541 h 6750795"/>
              <a:gd name="connsiteX98" fmla="*/ 3057353 w 6630249"/>
              <a:gd name="connsiteY98" fmla="*/ 5989021 h 6750795"/>
              <a:gd name="connsiteX99" fmla="*/ 3103521 w 6630249"/>
              <a:gd name="connsiteY99" fmla="*/ 6024930 h 6750795"/>
              <a:gd name="connsiteX100" fmla="*/ 3136865 w 6630249"/>
              <a:gd name="connsiteY100" fmla="*/ 6050579 h 6750795"/>
              <a:gd name="connsiteX101" fmla="*/ 3049658 w 6630249"/>
              <a:gd name="connsiteY101" fmla="*/ 5991587 h 6750795"/>
              <a:gd name="connsiteX102" fmla="*/ 3057353 w 6630249"/>
              <a:gd name="connsiteY102" fmla="*/ 5989021 h 6750795"/>
              <a:gd name="connsiteX103" fmla="*/ 4491129 w 6630249"/>
              <a:gd name="connsiteY103" fmla="*/ 5986457 h 6750795"/>
              <a:gd name="connsiteX104" fmla="*/ 4493694 w 6630249"/>
              <a:gd name="connsiteY104" fmla="*/ 5989021 h 6750795"/>
              <a:gd name="connsiteX105" fmla="*/ 4465480 w 6630249"/>
              <a:gd name="connsiteY105" fmla="*/ 5989021 h 6750795"/>
              <a:gd name="connsiteX106" fmla="*/ 4491129 w 6630249"/>
              <a:gd name="connsiteY106" fmla="*/ 5986457 h 6750795"/>
              <a:gd name="connsiteX107" fmla="*/ 2821384 w 6630249"/>
              <a:gd name="connsiteY107" fmla="*/ 5981326 h 6750795"/>
              <a:gd name="connsiteX108" fmla="*/ 2813690 w 6630249"/>
              <a:gd name="connsiteY108" fmla="*/ 5991587 h 6750795"/>
              <a:gd name="connsiteX109" fmla="*/ 2793170 w 6630249"/>
              <a:gd name="connsiteY109" fmla="*/ 6027495 h 6750795"/>
              <a:gd name="connsiteX110" fmla="*/ 2772650 w 6630249"/>
              <a:gd name="connsiteY110" fmla="*/ 5983892 h 6750795"/>
              <a:gd name="connsiteX111" fmla="*/ 2821384 w 6630249"/>
              <a:gd name="connsiteY111" fmla="*/ 5981326 h 6750795"/>
              <a:gd name="connsiteX112" fmla="*/ 4393662 w 6630249"/>
              <a:gd name="connsiteY112" fmla="*/ 5968502 h 6750795"/>
              <a:gd name="connsiteX113" fmla="*/ 4406487 w 6630249"/>
              <a:gd name="connsiteY113" fmla="*/ 5978762 h 6750795"/>
              <a:gd name="connsiteX114" fmla="*/ 4391098 w 6630249"/>
              <a:gd name="connsiteY114" fmla="*/ 5973632 h 6750795"/>
              <a:gd name="connsiteX115" fmla="*/ 4393662 w 6630249"/>
              <a:gd name="connsiteY115" fmla="*/ 5968502 h 6750795"/>
              <a:gd name="connsiteX116" fmla="*/ 4550121 w 6630249"/>
              <a:gd name="connsiteY116" fmla="*/ 5953113 h 6750795"/>
              <a:gd name="connsiteX117" fmla="*/ 4544992 w 6630249"/>
              <a:gd name="connsiteY117" fmla="*/ 5973632 h 6750795"/>
              <a:gd name="connsiteX118" fmla="*/ 4550121 w 6630249"/>
              <a:gd name="connsiteY118" fmla="*/ 5976197 h 6750795"/>
              <a:gd name="connsiteX119" fmla="*/ 4519343 w 6630249"/>
              <a:gd name="connsiteY119" fmla="*/ 5983891 h 6750795"/>
              <a:gd name="connsiteX120" fmla="*/ 4550121 w 6630249"/>
              <a:gd name="connsiteY120" fmla="*/ 5953113 h 6750795"/>
              <a:gd name="connsiteX121" fmla="*/ 4429571 w 6630249"/>
              <a:gd name="connsiteY121" fmla="*/ 5950548 h 6750795"/>
              <a:gd name="connsiteX122" fmla="*/ 4432136 w 6630249"/>
              <a:gd name="connsiteY122" fmla="*/ 5958242 h 6750795"/>
              <a:gd name="connsiteX123" fmla="*/ 4429571 w 6630249"/>
              <a:gd name="connsiteY123" fmla="*/ 5950548 h 6750795"/>
              <a:gd name="connsiteX124" fmla="*/ 4483434 w 6630249"/>
              <a:gd name="connsiteY124" fmla="*/ 5945419 h 6750795"/>
              <a:gd name="connsiteX125" fmla="*/ 4488564 w 6630249"/>
              <a:gd name="connsiteY125" fmla="*/ 5960808 h 6750795"/>
              <a:gd name="connsiteX126" fmla="*/ 4462915 w 6630249"/>
              <a:gd name="connsiteY126" fmla="*/ 5971068 h 6750795"/>
              <a:gd name="connsiteX127" fmla="*/ 4483434 w 6630249"/>
              <a:gd name="connsiteY127" fmla="*/ 5945419 h 6750795"/>
              <a:gd name="connsiteX128" fmla="*/ 4362884 w 6630249"/>
              <a:gd name="connsiteY128" fmla="*/ 5942853 h 6750795"/>
              <a:gd name="connsiteX129" fmla="*/ 4391098 w 6630249"/>
              <a:gd name="connsiteY129" fmla="*/ 5963372 h 6750795"/>
              <a:gd name="connsiteX130" fmla="*/ 4383403 w 6630249"/>
              <a:gd name="connsiteY130" fmla="*/ 5971067 h 6750795"/>
              <a:gd name="connsiteX131" fmla="*/ 4380838 w 6630249"/>
              <a:gd name="connsiteY131" fmla="*/ 5968502 h 6750795"/>
              <a:gd name="connsiteX132" fmla="*/ 4362884 w 6630249"/>
              <a:gd name="connsiteY132" fmla="*/ 5942853 h 6750795"/>
              <a:gd name="connsiteX133" fmla="*/ 4457785 w 6630249"/>
              <a:gd name="connsiteY133" fmla="*/ 5935158 h 6750795"/>
              <a:gd name="connsiteX134" fmla="*/ 4452656 w 6630249"/>
              <a:gd name="connsiteY134" fmla="*/ 5976197 h 6750795"/>
              <a:gd name="connsiteX135" fmla="*/ 4457785 w 6630249"/>
              <a:gd name="connsiteY135" fmla="*/ 5935158 h 6750795"/>
              <a:gd name="connsiteX136" fmla="*/ 2739307 w 6630249"/>
              <a:gd name="connsiteY136" fmla="*/ 5883861 h 6750795"/>
              <a:gd name="connsiteX137" fmla="*/ 2741872 w 6630249"/>
              <a:gd name="connsiteY137" fmla="*/ 5883861 h 6750795"/>
              <a:gd name="connsiteX138" fmla="*/ 2754696 w 6630249"/>
              <a:gd name="connsiteY138" fmla="*/ 5886425 h 6750795"/>
              <a:gd name="connsiteX139" fmla="*/ 2793170 w 6630249"/>
              <a:gd name="connsiteY139" fmla="*/ 5904380 h 6750795"/>
              <a:gd name="connsiteX140" fmla="*/ 2775215 w 6630249"/>
              <a:gd name="connsiteY140" fmla="*/ 5906945 h 6750795"/>
              <a:gd name="connsiteX141" fmla="*/ 2744437 w 6630249"/>
              <a:gd name="connsiteY141" fmla="*/ 5912074 h 6750795"/>
              <a:gd name="connsiteX142" fmla="*/ 2744437 w 6630249"/>
              <a:gd name="connsiteY142" fmla="*/ 5909510 h 6750795"/>
              <a:gd name="connsiteX143" fmla="*/ 2739307 w 6630249"/>
              <a:gd name="connsiteY143" fmla="*/ 5883861 h 6750795"/>
              <a:gd name="connsiteX144" fmla="*/ 4596770 w 6630249"/>
              <a:gd name="connsiteY144" fmla="*/ 5882497 h 6750795"/>
              <a:gd name="connsiteX145" fmla="*/ 4650152 w 6630249"/>
              <a:gd name="connsiteY145" fmla="*/ 5888989 h 6750795"/>
              <a:gd name="connsiteX146" fmla="*/ 4645023 w 6630249"/>
              <a:gd name="connsiteY146" fmla="*/ 5945418 h 6750795"/>
              <a:gd name="connsiteX147" fmla="*/ 4627068 w 6630249"/>
              <a:gd name="connsiteY147" fmla="*/ 5945418 h 6750795"/>
              <a:gd name="connsiteX148" fmla="*/ 4634763 w 6630249"/>
              <a:gd name="connsiteY148" fmla="*/ 5953113 h 6750795"/>
              <a:gd name="connsiteX149" fmla="*/ 4562945 w 6630249"/>
              <a:gd name="connsiteY149" fmla="*/ 5973632 h 6750795"/>
              <a:gd name="connsiteX150" fmla="*/ 4560380 w 6630249"/>
              <a:gd name="connsiteY150" fmla="*/ 5937723 h 6750795"/>
              <a:gd name="connsiteX151" fmla="*/ 4573205 w 6630249"/>
              <a:gd name="connsiteY151" fmla="*/ 5894119 h 6750795"/>
              <a:gd name="connsiteX152" fmla="*/ 4645023 w 6630249"/>
              <a:gd name="connsiteY152" fmla="*/ 5909510 h 6750795"/>
              <a:gd name="connsiteX153" fmla="*/ 4580900 w 6630249"/>
              <a:gd name="connsiteY153" fmla="*/ 5888989 h 6750795"/>
              <a:gd name="connsiteX154" fmla="*/ 4596770 w 6630249"/>
              <a:gd name="connsiteY154" fmla="*/ 5882497 h 6750795"/>
              <a:gd name="connsiteX155" fmla="*/ 4627709 w 6630249"/>
              <a:gd name="connsiteY155" fmla="*/ 5873281 h 6750795"/>
              <a:gd name="connsiteX156" fmla="*/ 4647587 w 6630249"/>
              <a:gd name="connsiteY156" fmla="*/ 5873601 h 6750795"/>
              <a:gd name="connsiteX157" fmla="*/ 4647587 w 6630249"/>
              <a:gd name="connsiteY157" fmla="*/ 5883861 h 6750795"/>
              <a:gd name="connsiteX158" fmla="*/ 4611679 w 6630249"/>
              <a:gd name="connsiteY158" fmla="*/ 5878731 h 6750795"/>
              <a:gd name="connsiteX159" fmla="*/ 4627709 w 6630249"/>
              <a:gd name="connsiteY159" fmla="*/ 5873281 h 6750795"/>
              <a:gd name="connsiteX160" fmla="*/ 4596289 w 6630249"/>
              <a:gd name="connsiteY160" fmla="*/ 5863342 h 6750795"/>
              <a:gd name="connsiteX161" fmla="*/ 4588595 w 6630249"/>
              <a:gd name="connsiteY161" fmla="*/ 5876166 h 6750795"/>
              <a:gd name="connsiteX162" fmla="*/ 4596289 w 6630249"/>
              <a:gd name="connsiteY162" fmla="*/ 5863342 h 6750795"/>
              <a:gd name="connsiteX163" fmla="*/ 4642137 w 6630249"/>
              <a:gd name="connsiteY163" fmla="*/ 5860136 h 6750795"/>
              <a:gd name="connsiteX164" fmla="*/ 4645022 w 6630249"/>
              <a:gd name="connsiteY164" fmla="*/ 5860777 h 6750795"/>
              <a:gd name="connsiteX165" fmla="*/ 4645022 w 6630249"/>
              <a:gd name="connsiteY165" fmla="*/ 5863342 h 6750795"/>
              <a:gd name="connsiteX166" fmla="*/ 4637328 w 6630249"/>
              <a:gd name="connsiteY166" fmla="*/ 5863342 h 6750795"/>
              <a:gd name="connsiteX167" fmla="*/ 4642137 w 6630249"/>
              <a:gd name="connsiteY167" fmla="*/ 5860136 h 6750795"/>
              <a:gd name="connsiteX168" fmla="*/ 4609114 w 6630249"/>
              <a:gd name="connsiteY168" fmla="*/ 5853082 h 6750795"/>
              <a:gd name="connsiteX169" fmla="*/ 4611679 w 6630249"/>
              <a:gd name="connsiteY169" fmla="*/ 5853082 h 6750795"/>
              <a:gd name="connsiteX170" fmla="*/ 4609114 w 6630249"/>
              <a:gd name="connsiteY170" fmla="*/ 5860776 h 6750795"/>
              <a:gd name="connsiteX171" fmla="*/ 4606549 w 6630249"/>
              <a:gd name="connsiteY171" fmla="*/ 5865906 h 6750795"/>
              <a:gd name="connsiteX172" fmla="*/ 4601420 w 6630249"/>
              <a:gd name="connsiteY172" fmla="*/ 5863342 h 6750795"/>
              <a:gd name="connsiteX173" fmla="*/ 4609114 w 6630249"/>
              <a:gd name="connsiteY173" fmla="*/ 5853082 h 6750795"/>
              <a:gd name="connsiteX174" fmla="*/ 4403923 w 6630249"/>
              <a:gd name="connsiteY174" fmla="*/ 5850517 h 6750795"/>
              <a:gd name="connsiteX175" fmla="*/ 4427007 w 6630249"/>
              <a:gd name="connsiteY175" fmla="*/ 5937724 h 6750795"/>
              <a:gd name="connsiteX176" fmla="*/ 4403923 w 6630249"/>
              <a:gd name="connsiteY176" fmla="*/ 5850517 h 6750795"/>
              <a:gd name="connsiteX177" fmla="*/ 4550121 w 6630249"/>
              <a:gd name="connsiteY177" fmla="*/ 5845388 h 6750795"/>
              <a:gd name="connsiteX178" fmla="*/ 4596290 w 6630249"/>
              <a:gd name="connsiteY178" fmla="*/ 5850517 h 6750795"/>
              <a:gd name="connsiteX179" fmla="*/ 4578335 w 6630249"/>
              <a:gd name="connsiteY179" fmla="*/ 5878731 h 6750795"/>
              <a:gd name="connsiteX180" fmla="*/ 4562946 w 6630249"/>
              <a:gd name="connsiteY180" fmla="*/ 5853082 h 6750795"/>
              <a:gd name="connsiteX181" fmla="*/ 4552686 w 6630249"/>
              <a:gd name="connsiteY181" fmla="*/ 5858212 h 6750795"/>
              <a:gd name="connsiteX182" fmla="*/ 4550121 w 6630249"/>
              <a:gd name="connsiteY182" fmla="*/ 5845388 h 6750795"/>
              <a:gd name="connsiteX183" fmla="*/ 4537297 w 6630249"/>
              <a:gd name="connsiteY183" fmla="*/ 5845387 h 6750795"/>
              <a:gd name="connsiteX184" fmla="*/ 4544992 w 6630249"/>
              <a:gd name="connsiteY184" fmla="*/ 5868472 h 6750795"/>
              <a:gd name="connsiteX185" fmla="*/ 4511649 w 6630249"/>
              <a:gd name="connsiteY185" fmla="*/ 5958243 h 6750795"/>
              <a:gd name="connsiteX186" fmla="*/ 4501388 w 6630249"/>
              <a:gd name="connsiteY186" fmla="*/ 5917204 h 6750795"/>
              <a:gd name="connsiteX187" fmla="*/ 4511649 w 6630249"/>
              <a:gd name="connsiteY187" fmla="*/ 5888991 h 6750795"/>
              <a:gd name="connsiteX188" fmla="*/ 4516778 w 6630249"/>
              <a:gd name="connsiteY188" fmla="*/ 5850516 h 6750795"/>
              <a:gd name="connsiteX189" fmla="*/ 4537297 w 6630249"/>
              <a:gd name="connsiteY189" fmla="*/ 5845387 h 6750795"/>
              <a:gd name="connsiteX190" fmla="*/ 4316715 w 6630249"/>
              <a:gd name="connsiteY190" fmla="*/ 5822302 h 6750795"/>
              <a:gd name="connsiteX191" fmla="*/ 4365449 w 6630249"/>
              <a:gd name="connsiteY191" fmla="*/ 5829997 h 6750795"/>
              <a:gd name="connsiteX192" fmla="*/ 4378274 w 6630249"/>
              <a:gd name="connsiteY192" fmla="*/ 5832562 h 6750795"/>
              <a:gd name="connsiteX193" fmla="*/ 4368014 w 6630249"/>
              <a:gd name="connsiteY193" fmla="*/ 5863342 h 6750795"/>
              <a:gd name="connsiteX194" fmla="*/ 4383403 w 6630249"/>
              <a:gd name="connsiteY194" fmla="*/ 5840257 h 6750795"/>
              <a:gd name="connsiteX195" fmla="*/ 4388533 w 6630249"/>
              <a:gd name="connsiteY195" fmla="*/ 5858212 h 6750795"/>
              <a:gd name="connsiteX196" fmla="*/ 4401358 w 6630249"/>
              <a:gd name="connsiteY196" fmla="*/ 5904380 h 6750795"/>
              <a:gd name="connsiteX197" fmla="*/ 4396228 w 6630249"/>
              <a:gd name="connsiteY197" fmla="*/ 5912074 h 6750795"/>
              <a:gd name="connsiteX198" fmla="*/ 4406487 w 6630249"/>
              <a:gd name="connsiteY198" fmla="*/ 5935159 h 6750795"/>
              <a:gd name="connsiteX199" fmla="*/ 4357755 w 6630249"/>
              <a:gd name="connsiteY199" fmla="*/ 5886426 h 6750795"/>
              <a:gd name="connsiteX200" fmla="*/ 4355190 w 6630249"/>
              <a:gd name="connsiteY200" fmla="*/ 5891555 h 6750795"/>
              <a:gd name="connsiteX201" fmla="*/ 4306456 w 6630249"/>
              <a:gd name="connsiteY201" fmla="*/ 5847952 h 6750795"/>
              <a:gd name="connsiteX202" fmla="*/ 4316715 w 6630249"/>
              <a:gd name="connsiteY202" fmla="*/ 5822302 h 6750795"/>
              <a:gd name="connsiteX203" fmla="*/ 4347495 w 6630249"/>
              <a:gd name="connsiteY203" fmla="*/ 5812044 h 6750795"/>
              <a:gd name="connsiteX204" fmla="*/ 4360319 w 6630249"/>
              <a:gd name="connsiteY204" fmla="*/ 5814608 h 6750795"/>
              <a:gd name="connsiteX205" fmla="*/ 4360319 w 6630249"/>
              <a:gd name="connsiteY205" fmla="*/ 5819738 h 6750795"/>
              <a:gd name="connsiteX206" fmla="*/ 4347495 w 6630249"/>
              <a:gd name="connsiteY206" fmla="*/ 5812044 h 6750795"/>
              <a:gd name="connsiteX207" fmla="*/ 4657846 w 6630249"/>
              <a:gd name="connsiteY207" fmla="*/ 5812043 h 6750795"/>
              <a:gd name="connsiteX208" fmla="*/ 4763007 w 6630249"/>
              <a:gd name="connsiteY208" fmla="*/ 5853082 h 6750795"/>
              <a:gd name="connsiteX209" fmla="*/ 4763007 w 6630249"/>
              <a:gd name="connsiteY209" fmla="*/ 5917204 h 6750795"/>
              <a:gd name="connsiteX210" fmla="*/ 4747618 w 6630249"/>
              <a:gd name="connsiteY210" fmla="*/ 5919769 h 6750795"/>
              <a:gd name="connsiteX211" fmla="*/ 4757877 w 6630249"/>
              <a:gd name="connsiteY211" fmla="*/ 5930029 h 6750795"/>
              <a:gd name="connsiteX212" fmla="*/ 4660411 w 6630249"/>
              <a:gd name="connsiteY212" fmla="*/ 5945418 h 6750795"/>
              <a:gd name="connsiteX213" fmla="*/ 4665540 w 6630249"/>
              <a:gd name="connsiteY213" fmla="*/ 5896685 h 6750795"/>
              <a:gd name="connsiteX214" fmla="*/ 4680931 w 6630249"/>
              <a:gd name="connsiteY214" fmla="*/ 5883861 h 6750795"/>
              <a:gd name="connsiteX215" fmla="*/ 4678366 w 6630249"/>
              <a:gd name="connsiteY215" fmla="*/ 5878731 h 6750795"/>
              <a:gd name="connsiteX216" fmla="*/ 4665540 w 6630249"/>
              <a:gd name="connsiteY216" fmla="*/ 5878731 h 6750795"/>
              <a:gd name="connsiteX217" fmla="*/ 4662975 w 6630249"/>
              <a:gd name="connsiteY217" fmla="*/ 5858212 h 6750795"/>
              <a:gd name="connsiteX218" fmla="*/ 4701450 w 6630249"/>
              <a:gd name="connsiteY218" fmla="*/ 5850517 h 6750795"/>
              <a:gd name="connsiteX219" fmla="*/ 4660411 w 6630249"/>
              <a:gd name="connsiteY219" fmla="*/ 5837693 h 6750795"/>
              <a:gd name="connsiteX220" fmla="*/ 4657846 w 6630249"/>
              <a:gd name="connsiteY220" fmla="*/ 5812043 h 6750795"/>
              <a:gd name="connsiteX221" fmla="*/ 4614244 w 6630249"/>
              <a:gd name="connsiteY221" fmla="*/ 5806914 h 6750795"/>
              <a:gd name="connsiteX222" fmla="*/ 4639893 w 6630249"/>
              <a:gd name="connsiteY222" fmla="*/ 5814608 h 6750795"/>
              <a:gd name="connsiteX223" fmla="*/ 4642457 w 6630249"/>
              <a:gd name="connsiteY223" fmla="*/ 5835127 h 6750795"/>
              <a:gd name="connsiteX224" fmla="*/ 4627068 w 6630249"/>
              <a:gd name="connsiteY224" fmla="*/ 5827433 h 6750795"/>
              <a:gd name="connsiteX225" fmla="*/ 4621938 w 6630249"/>
              <a:gd name="connsiteY225" fmla="*/ 5817173 h 6750795"/>
              <a:gd name="connsiteX226" fmla="*/ 4619373 w 6630249"/>
              <a:gd name="connsiteY226" fmla="*/ 5819738 h 6750795"/>
              <a:gd name="connsiteX227" fmla="*/ 4614244 w 6630249"/>
              <a:gd name="connsiteY227" fmla="*/ 5806914 h 6750795"/>
              <a:gd name="connsiteX228" fmla="*/ 4832258 w 6630249"/>
              <a:gd name="connsiteY228" fmla="*/ 5794089 h 6750795"/>
              <a:gd name="connsiteX229" fmla="*/ 4950243 w 6630249"/>
              <a:gd name="connsiteY229" fmla="*/ 5837692 h 6750795"/>
              <a:gd name="connsiteX230" fmla="*/ 4847647 w 6630249"/>
              <a:gd name="connsiteY230" fmla="*/ 5940288 h 6750795"/>
              <a:gd name="connsiteX231" fmla="*/ 4775831 w 6630249"/>
              <a:gd name="connsiteY231" fmla="*/ 5930028 h 6750795"/>
              <a:gd name="connsiteX232" fmla="*/ 4775831 w 6630249"/>
              <a:gd name="connsiteY232" fmla="*/ 5871035 h 6750795"/>
              <a:gd name="connsiteX233" fmla="*/ 4780960 w 6630249"/>
              <a:gd name="connsiteY233" fmla="*/ 5865905 h 6750795"/>
              <a:gd name="connsiteX234" fmla="*/ 4775831 w 6630249"/>
              <a:gd name="connsiteY234" fmla="*/ 5858211 h 6750795"/>
              <a:gd name="connsiteX235" fmla="*/ 4775831 w 6630249"/>
              <a:gd name="connsiteY235" fmla="*/ 5853081 h 6750795"/>
              <a:gd name="connsiteX236" fmla="*/ 4832258 w 6630249"/>
              <a:gd name="connsiteY236" fmla="*/ 5794089 h 6750795"/>
              <a:gd name="connsiteX237" fmla="*/ 4411617 w 6630249"/>
              <a:gd name="connsiteY237" fmla="*/ 5791525 h 6750795"/>
              <a:gd name="connsiteX238" fmla="*/ 4416747 w 6630249"/>
              <a:gd name="connsiteY238" fmla="*/ 5794090 h 6750795"/>
              <a:gd name="connsiteX239" fmla="*/ 4411617 w 6630249"/>
              <a:gd name="connsiteY239" fmla="*/ 5796654 h 6750795"/>
              <a:gd name="connsiteX240" fmla="*/ 4411617 w 6630249"/>
              <a:gd name="connsiteY240" fmla="*/ 5791525 h 6750795"/>
              <a:gd name="connsiteX241" fmla="*/ 4373144 w 6630249"/>
              <a:gd name="connsiteY241" fmla="*/ 5786395 h 6750795"/>
              <a:gd name="connsiteX242" fmla="*/ 4380838 w 6630249"/>
              <a:gd name="connsiteY242" fmla="*/ 5817173 h 6750795"/>
              <a:gd name="connsiteX243" fmla="*/ 4378274 w 6630249"/>
              <a:gd name="connsiteY243" fmla="*/ 5822303 h 6750795"/>
              <a:gd name="connsiteX244" fmla="*/ 4373144 w 6630249"/>
              <a:gd name="connsiteY244" fmla="*/ 5786395 h 6750795"/>
              <a:gd name="connsiteX245" fmla="*/ 4427006 w 6630249"/>
              <a:gd name="connsiteY245" fmla="*/ 5778701 h 6750795"/>
              <a:gd name="connsiteX246" fmla="*/ 4416747 w 6630249"/>
              <a:gd name="connsiteY246" fmla="*/ 5783830 h 6750795"/>
              <a:gd name="connsiteX247" fmla="*/ 4427006 w 6630249"/>
              <a:gd name="connsiteY247" fmla="*/ 5778701 h 6750795"/>
              <a:gd name="connsiteX248" fmla="*/ 4468044 w 6630249"/>
              <a:gd name="connsiteY248" fmla="*/ 5763310 h 6750795"/>
              <a:gd name="connsiteX249" fmla="*/ 4496258 w 6630249"/>
              <a:gd name="connsiteY249" fmla="*/ 5768440 h 6750795"/>
              <a:gd name="connsiteX250" fmla="*/ 4485999 w 6630249"/>
              <a:gd name="connsiteY250" fmla="*/ 5781266 h 6750795"/>
              <a:gd name="connsiteX251" fmla="*/ 4503953 w 6630249"/>
              <a:gd name="connsiteY251" fmla="*/ 5773571 h 6750795"/>
              <a:gd name="connsiteX252" fmla="*/ 4519343 w 6630249"/>
              <a:gd name="connsiteY252" fmla="*/ 5783830 h 6750795"/>
              <a:gd name="connsiteX253" fmla="*/ 4514212 w 6630249"/>
              <a:gd name="connsiteY253" fmla="*/ 5845388 h 6750795"/>
              <a:gd name="connsiteX254" fmla="*/ 4511648 w 6630249"/>
              <a:gd name="connsiteY254" fmla="*/ 5832563 h 6750795"/>
              <a:gd name="connsiteX255" fmla="*/ 4488564 w 6630249"/>
              <a:gd name="connsiteY255" fmla="*/ 5847953 h 6750795"/>
              <a:gd name="connsiteX256" fmla="*/ 4488564 w 6630249"/>
              <a:gd name="connsiteY256" fmla="*/ 5799220 h 6750795"/>
              <a:gd name="connsiteX257" fmla="*/ 4468044 w 6630249"/>
              <a:gd name="connsiteY257" fmla="*/ 5763310 h 6750795"/>
              <a:gd name="connsiteX258" fmla="*/ 4368013 w 6630249"/>
              <a:gd name="connsiteY258" fmla="*/ 5763310 h 6750795"/>
              <a:gd name="connsiteX259" fmla="*/ 4373143 w 6630249"/>
              <a:gd name="connsiteY259" fmla="*/ 5778700 h 6750795"/>
              <a:gd name="connsiteX260" fmla="*/ 4357754 w 6630249"/>
              <a:gd name="connsiteY260" fmla="*/ 5801784 h 6750795"/>
              <a:gd name="connsiteX261" fmla="*/ 4368013 w 6630249"/>
              <a:gd name="connsiteY261" fmla="*/ 5763310 h 6750795"/>
              <a:gd name="connsiteX262" fmla="*/ 4447526 w 6630249"/>
              <a:gd name="connsiteY262" fmla="*/ 5758180 h 6750795"/>
              <a:gd name="connsiteX263" fmla="*/ 4470610 w 6630249"/>
              <a:gd name="connsiteY263" fmla="*/ 5853081 h 6750795"/>
              <a:gd name="connsiteX264" fmla="*/ 4468045 w 6630249"/>
              <a:gd name="connsiteY264" fmla="*/ 5896684 h 6750795"/>
              <a:gd name="connsiteX265" fmla="*/ 4434701 w 6630249"/>
              <a:gd name="connsiteY265" fmla="*/ 5935158 h 6750795"/>
              <a:gd name="connsiteX266" fmla="*/ 4424441 w 6630249"/>
              <a:gd name="connsiteY266" fmla="*/ 5883860 h 6750795"/>
              <a:gd name="connsiteX267" fmla="*/ 4409051 w 6630249"/>
              <a:gd name="connsiteY267" fmla="*/ 5822302 h 6750795"/>
              <a:gd name="connsiteX268" fmla="*/ 4406486 w 6630249"/>
              <a:gd name="connsiteY268" fmla="*/ 5806913 h 6750795"/>
              <a:gd name="connsiteX269" fmla="*/ 4427007 w 6630249"/>
              <a:gd name="connsiteY269" fmla="*/ 5804348 h 6750795"/>
              <a:gd name="connsiteX270" fmla="*/ 4424441 w 6630249"/>
              <a:gd name="connsiteY270" fmla="*/ 5794088 h 6750795"/>
              <a:gd name="connsiteX271" fmla="*/ 4442396 w 6630249"/>
              <a:gd name="connsiteY271" fmla="*/ 5781264 h 6750795"/>
              <a:gd name="connsiteX272" fmla="*/ 4427007 w 6630249"/>
              <a:gd name="connsiteY272" fmla="*/ 5781264 h 6750795"/>
              <a:gd name="connsiteX273" fmla="*/ 4439831 w 6630249"/>
              <a:gd name="connsiteY273" fmla="*/ 5776134 h 6750795"/>
              <a:gd name="connsiteX274" fmla="*/ 4447526 w 6630249"/>
              <a:gd name="connsiteY274" fmla="*/ 5758180 h 6750795"/>
              <a:gd name="connsiteX275" fmla="*/ 4485038 w 6630249"/>
              <a:gd name="connsiteY275" fmla="*/ 5753692 h 6750795"/>
              <a:gd name="connsiteX276" fmla="*/ 4491129 w 6630249"/>
              <a:gd name="connsiteY276" fmla="*/ 5755616 h 6750795"/>
              <a:gd name="connsiteX277" fmla="*/ 4491129 w 6630249"/>
              <a:gd name="connsiteY277" fmla="*/ 5760746 h 6750795"/>
              <a:gd name="connsiteX278" fmla="*/ 4480870 w 6630249"/>
              <a:gd name="connsiteY278" fmla="*/ 5755616 h 6750795"/>
              <a:gd name="connsiteX279" fmla="*/ 4485038 w 6630249"/>
              <a:gd name="connsiteY279" fmla="*/ 5753692 h 6750795"/>
              <a:gd name="connsiteX280" fmla="*/ 4424442 w 6630249"/>
              <a:gd name="connsiteY280" fmla="*/ 5742792 h 6750795"/>
              <a:gd name="connsiteX281" fmla="*/ 4439831 w 6630249"/>
              <a:gd name="connsiteY281" fmla="*/ 5753051 h 6750795"/>
              <a:gd name="connsiteX282" fmla="*/ 4424442 w 6630249"/>
              <a:gd name="connsiteY282" fmla="*/ 5763311 h 6750795"/>
              <a:gd name="connsiteX283" fmla="*/ 4424442 w 6630249"/>
              <a:gd name="connsiteY283" fmla="*/ 5742792 h 6750795"/>
              <a:gd name="connsiteX284" fmla="*/ 4501388 w 6630249"/>
              <a:gd name="connsiteY284" fmla="*/ 5737662 h 6750795"/>
              <a:gd name="connsiteX285" fmla="*/ 4506518 w 6630249"/>
              <a:gd name="connsiteY285" fmla="*/ 5753051 h 6750795"/>
              <a:gd name="connsiteX286" fmla="*/ 4498824 w 6630249"/>
              <a:gd name="connsiteY286" fmla="*/ 5758181 h 6750795"/>
              <a:gd name="connsiteX287" fmla="*/ 4501388 w 6630249"/>
              <a:gd name="connsiteY287" fmla="*/ 5737662 h 6750795"/>
              <a:gd name="connsiteX288" fmla="*/ 4424442 w 6630249"/>
              <a:gd name="connsiteY288" fmla="*/ 5704318 h 6750795"/>
              <a:gd name="connsiteX289" fmla="*/ 4434702 w 6630249"/>
              <a:gd name="connsiteY289" fmla="*/ 5712013 h 6750795"/>
              <a:gd name="connsiteX290" fmla="*/ 4424442 w 6630249"/>
              <a:gd name="connsiteY290" fmla="*/ 5704318 h 6750795"/>
              <a:gd name="connsiteX291" fmla="*/ 4352625 w 6630249"/>
              <a:gd name="connsiteY291" fmla="*/ 5686364 h 6750795"/>
              <a:gd name="connsiteX292" fmla="*/ 4357754 w 6630249"/>
              <a:gd name="connsiteY292" fmla="*/ 5696624 h 6750795"/>
              <a:gd name="connsiteX293" fmla="*/ 4352625 w 6630249"/>
              <a:gd name="connsiteY293" fmla="*/ 5686364 h 6750795"/>
              <a:gd name="connsiteX294" fmla="*/ 4424441 w 6630249"/>
              <a:gd name="connsiteY294" fmla="*/ 5670974 h 6750795"/>
              <a:gd name="connsiteX295" fmla="*/ 4434701 w 6630249"/>
              <a:gd name="connsiteY295" fmla="*/ 5670974 h 6750795"/>
              <a:gd name="connsiteX296" fmla="*/ 4432136 w 6630249"/>
              <a:gd name="connsiteY296" fmla="*/ 5686363 h 6750795"/>
              <a:gd name="connsiteX297" fmla="*/ 4419312 w 6630249"/>
              <a:gd name="connsiteY297" fmla="*/ 5681234 h 6750795"/>
              <a:gd name="connsiteX298" fmla="*/ 4424441 w 6630249"/>
              <a:gd name="connsiteY298" fmla="*/ 5670974 h 6750795"/>
              <a:gd name="connsiteX299" fmla="*/ 4432457 w 6630249"/>
              <a:gd name="connsiteY299" fmla="*/ 5661677 h 6750795"/>
              <a:gd name="connsiteX300" fmla="*/ 4437266 w 6630249"/>
              <a:gd name="connsiteY300" fmla="*/ 5663280 h 6750795"/>
              <a:gd name="connsiteX301" fmla="*/ 4429572 w 6630249"/>
              <a:gd name="connsiteY301" fmla="*/ 5665845 h 6750795"/>
              <a:gd name="connsiteX302" fmla="*/ 4432457 w 6630249"/>
              <a:gd name="connsiteY302" fmla="*/ 5661677 h 6750795"/>
              <a:gd name="connsiteX303" fmla="*/ 4539862 w 6630249"/>
              <a:gd name="connsiteY303" fmla="*/ 5660715 h 6750795"/>
              <a:gd name="connsiteX304" fmla="*/ 4537297 w 6630249"/>
              <a:gd name="connsiteY304" fmla="*/ 5668409 h 6750795"/>
              <a:gd name="connsiteX305" fmla="*/ 4532168 w 6630249"/>
              <a:gd name="connsiteY305" fmla="*/ 5663280 h 6750795"/>
              <a:gd name="connsiteX306" fmla="*/ 4539862 w 6630249"/>
              <a:gd name="connsiteY306" fmla="*/ 5660715 h 6750795"/>
              <a:gd name="connsiteX307" fmla="*/ 4670670 w 6630249"/>
              <a:gd name="connsiteY307" fmla="*/ 5660714 h 6750795"/>
              <a:gd name="connsiteX308" fmla="*/ 4678366 w 6630249"/>
              <a:gd name="connsiteY308" fmla="*/ 5660714 h 6750795"/>
              <a:gd name="connsiteX309" fmla="*/ 4686061 w 6630249"/>
              <a:gd name="connsiteY309" fmla="*/ 5691494 h 6750795"/>
              <a:gd name="connsiteX310" fmla="*/ 4742489 w 6630249"/>
              <a:gd name="connsiteY310" fmla="*/ 5681234 h 6750795"/>
              <a:gd name="connsiteX311" fmla="*/ 4752748 w 6630249"/>
              <a:gd name="connsiteY311" fmla="*/ 5735097 h 6750795"/>
              <a:gd name="connsiteX312" fmla="*/ 4747618 w 6630249"/>
              <a:gd name="connsiteY312" fmla="*/ 5745357 h 6750795"/>
              <a:gd name="connsiteX313" fmla="*/ 4755313 w 6630249"/>
              <a:gd name="connsiteY313" fmla="*/ 5765876 h 6750795"/>
              <a:gd name="connsiteX314" fmla="*/ 4662976 w 6630249"/>
              <a:gd name="connsiteY314" fmla="*/ 5747922 h 6750795"/>
              <a:gd name="connsiteX315" fmla="*/ 4668105 w 6630249"/>
              <a:gd name="connsiteY315" fmla="*/ 5670974 h 6750795"/>
              <a:gd name="connsiteX316" fmla="*/ 4670670 w 6630249"/>
              <a:gd name="connsiteY316" fmla="*/ 5660714 h 6750795"/>
              <a:gd name="connsiteX317" fmla="*/ 3875555 w 6630249"/>
              <a:gd name="connsiteY317" fmla="*/ 5653021 h 6750795"/>
              <a:gd name="connsiteX318" fmla="*/ 3872990 w 6630249"/>
              <a:gd name="connsiteY318" fmla="*/ 5660715 h 6750795"/>
              <a:gd name="connsiteX319" fmla="*/ 3875555 w 6630249"/>
              <a:gd name="connsiteY319" fmla="*/ 5653021 h 6750795"/>
              <a:gd name="connsiteX320" fmla="*/ 4368013 w 6630249"/>
              <a:gd name="connsiteY320" fmla="*/ 5653020 h 6750795"/>
              <a:gd name="connsiteX321" fmla="*/ 4391098 w 6630249"/>
              <a:gd name="connsiteY321" fmla="*/ 5660714 h 6750795"/>
              <a:gd name="connsiteX322" fmla="*/ 4398792 w 6630249"/>
              <a:gd name="connsiteY322" fmla="*/ 5655584 h 6750795"/>
              <a:gd name="connsiteX323" fmla="*/ 4406487 w 6630249"/>
              <a:gd name="connsiteY323" fmla="*/ 5683799 h 6750795"/>
              <a:gd name="connsiteX324" fmla="*/ 4393662 w 6630249"/>
              <a:gd name="connsiteY324" fmla="*/ 5686364 h 6750795"/>
              <a:gd name="connsiteX325" fmla="*/ 4419311 w 6630249"/>
              <a:gd name="connsiteY325" fmla="*/ 5735097 h 6750795"/>
              <a:gd name="connsiteX326" fmla="*/ 4409052 w 6630249"/>
              <a:gd name="connsiteY326" fmla="*/ 5758181 h 6750795"/>
              <a:gd name="connsiteX327" fmla="*/ 4393662 w 6630249"/>
              <a:gd name="connsiteY327" fmla="*/ 5750486 h 6750795"/>
              <a:gd name="connsiteX328" fmla="*/ 4401357 w 6630249"/>
              <a:gd name="connsiteY328" fmla="*/ 5791525 h 6750795"/>
              <a:gd name="connsiteX329" fmla="*/ 4396227 w 6630249"/>
              <a:gd name="connsiteY329" fmla="*/ 5771006 h 6750795"/>
              <a:gd name="connsiteX330" fmla="*/ 4391098 w 6630249"/>
              <a:gd name="connsiteY330" fmla="*/ 5773571 h 6750795"/>
              <a:gd name="connsiteX331" fmla="*/ 4370578 w 6630249"/>
              <a:gd name="connsiteY331" fmla="*/ 5704319 h 6750795"/>
              <a:gd name="connsiteX332" fmla="*/ 4365449 w 6630249"/>
              <a:gd name="connsiteY332" fmla="*/ 5678670 h 6750795"/>
              <a:gd name="connsiteX333" fmla="*/ 4378273 w 6630249"/>
              <a:gd name="connsiteY333" fmla="*/ 5665844 h 6750795"/>
              <a:gd name="connsiteX334" fmla="*/ 4362883 w 6630249"/>
              <a:gd name="connsiteY334" fmla="*/ 5663279 h 6750795"/>
              <a:gd name="connsiteX335" fmla="*/ 4368013 w 6630249"/>
              <a:gd name="connsiteY335" fmla="*/ 5653020 h 6750795"/>
              <a:gd name="connsiteX336" fmla="*/ 4455220 w 6630249"/>
              <a:gd name="connsiteY336" fmla="*/ 5647890 h 6750795"/>
              <a:gd name="connsiteX337" fmla="*/ 4521908 w 6630249"/>
              <a:gd name="connsiteY337" fmla="*/ 5665844 h 6750795"/>
              <a:gd name="connsiteX338" fmla="*/ 4534732 w 6630249"/>
              <a:gd name="connsiteY338" fmla="*/ 5678670 h 6750795"/>
              <a:gd name="connsiteX339" fmla="*/ 4534732 w 6630249"/>
              <a:gd name="connsiteY339" fmla="*/ 5768441 h 6750795"/>
              <a:gd name="connsiteX340" fmla="*/ 4524473 w 6630249"/>
              <a:gd name="connsiteY340" fmla="*/ 5765876 h 6750795"/>
              <a:gd name="connsiteX341" fmla="*/ 4521908 w 6630249"/>
              <a:gd name="connsiteY341" fmla="*/ 5740227 h 6750795"/>
              <a:gd name="connsiteX342" fmla="*/ 4511648 w 6630249"/>
              <a:gd name="connsiteY342" fmla="*/ 5750486 h 6750795"/>
              <a:gd name="connsiteX343" fmla="*/ 4514213 w 6630249"/>
              <a:gd name="connsiteY343" fmla="*/ 5712013 h 6750795"/>
              <a:gd name="connsiteX344" fmla="*/ 4493694 w 6630249"/>
              <a:gd name="connsiteY344" fmla="*/ 5740227 h 6750795"/>
              <a:gd name="connsiteX345" fmla="*/ 4496259 w 6630249"/>
              <a:gd name="connsiteY345" fmla="*/ 5696624 h 6750795"/>
              <a:gd name="connsiteX346" fmla="*/ 4483434 w 6630249"/>
              <a:gd name="connsiteY346" fmla="*/ 5724837 h 6750795"/>
              <a:gd name="connsiteX347" fmla="*/ 4470610 w 6630249"/>
              <a:gd name="connsiteY347" fmla="*/ 5706883 h 6750795"/>
              <a:gd name="connsiteX348" fmla="*/ 4462915 w 6630249"/>
              <a:gd name="connsiteY348" fmla="*/ 5709448 h 6750795"/>
              <a:gd name="connsiteX349" fmla="*/ 4455220 w 6630249"/>
              <a:gd name="connsiteY349" fmla="*/ 5647890 h 6750795"/>
              <a:gd name="connsiteX350" fmla="*/ 4427007 w 6630249"/>
              <a:gd name="connsiteY350" fmla="*/ 5642761 h 6750795"/>
              <a:gd name="connsiteX351" fmla="*/ 4424442 w 6630249"/>
              <a:gd name="connsiteY351" fmla="*/ 5650455 h 6750795"/>
              <a:gd name="connsiteX352" fmla="*/ 4427007 w 6630249"/>
              <a:gd name="connsiteY352" fmla="*/ 5642761 h 6750795"/>
              <a:gd name="connsiteX353" fmla="*/ 4360320 w 6630249"/>
              <a:gd name="connsiteY353" fmla="*/ 5642761 h 6750795"/>
              <a:gd name="connsiteX354" fmla="*/ 4368014 w 6630249"/>
              <a:gd name="connsiteY354" fmla="*/ 5647890 h 6750795"/>
              <a:gd name="connsiteX355" fmla="*/ 4360320 w 6630249"/>
              <a:gd name="connsiteY355" fmla="*/ 5650455 h 6750795"/>
              <a:gd name="connsiteX356" fmla="*/ 4360320 w 6630249"/>
              <a:gd name="connsiteY356" fmla="*/ 5642761 h 6750795"/>
              <a:gd name="connsiteX357" fmla="*/ 4680930 w 6630249"/>
              <a:gd name="connsiteY357" fmla="*/ 5611982 h 6750795"/>
              <a:gd name="connsiteX358" fmla="*/ 4701450 w 6630249"/>
              <a:gd name="connsiteY358" fmla="*/ 5614547 h 6750795"/>
              <a:gd name="connsiteX359" fmla="*/ 4678366 w 6630249"/>
              <a:gd name="connsiteY359" fmla="*/ 5624806 h 6750795"/>
              <a:gd name="connsiteX360" fmla="*/ 4680930 w 6630249"/>
              <a:gd name="connsiteY360" fmla="*/ 5611982 h 6750795"/>
              <a:gd name="connsiteX361" fmla="*/ 4655282 w 6630249"/>
              <a:gd name="connsiteY361" fmla="*/ 5606853 h 6750795"/>
              <a:gd name="connsiteX362" fmla="*/ 4670671 w 6630249"/>
              <a:gd name="connsiteY362" fmla="*/ 5609417 h 6750795"/>
              <a:gd name="connsiteX363" fmla="*/ 4665542 w 6630249"/>
              <a:gd name="connsiteY363" fmla="*/ 5637631 h 6750795"/>
              <a:gd name="connsiteX364" fmla="*/ 4655282 w 6630249"/>
              <a:gd name="connsiteY364" fmla="*/ 5606853 h 6750795"/>
              <a:gd name="connsiteX365" fmla="*/ 4686061 w 6630249"/>
              <a:gd name="connsiteY365" fmla="*/ 5605569 h 6750795"/>
              <a:gd name="connsiteX366" fmla="*/ 4688625 w 6630249"/>
              <a:gd name="connsiteY366" fmla="*/ 5609417 h 6750795"/>
              <a:gd name="connsiteX367" fmla="*/ 4683496 w 6630249"/>
              <a:gd name="connsiteY367" fmla="*/ 5609417 h 6750795"/>
              <a:gd name="connsiteX368" fmla="*/ 4686061 w 6630249"/>
              <a:gd name="connsiteY368" fmla="*/ 5605569 h 6750795"/>
              <a:gd name="connsiteX369" fmla="*/ 5052840 w 6630249"/>
              <a:gd name="connsiteY369" fmla="*/ 5604287 h 6750795"/>
              <a:gd name="connsiteX370" fmla="*/ 5009237 w 6630249"/>
              <a:gd name="connsiteY370" fmla="*/ 5632501 h 6750795"/>
              <a:gd name="connsiteX371" fmla="*/ 5052840 w 6630249"/>
              <a:gd name="connsiteY371" fmla="*/ 5604287 h 6750795"/>
              <a:gd name="connsiteX372" fmla="*/ 4401358 w 6630249"/>
              <a:gd name="connsiteY372" fmla="*/ 5601723 h 6750795"/>
              <a:gd name="connsiteX373" fmla="*/ 4429572 w 6630249"/>
              <a:gd name="connsiteY373" fmla="*/ 5604287 h 6750795"/>
              <a:gd name="connsiteX374" fmla="*/ 4429572 w 6630249"/>
              <a:gd name="connsiteY374" fmla="*/ 5629936 h 6750795"/>
              <a:gd name="connsiteX375" fmla="*/ 4409052 w 6630249"/>
              <a:gd name="connsiteY375" fmla="*/ 5629936 h 6750795"/>
              <a:gd name="connsiteX376" fmla="*/ 4401358 w 6630249"/>
              <a:gd name="connsiteY376" fmla="*/ 5601723 h 6750795"/>
              <a:gd name="connsiteX377" fmla="*/ 4570641 w 6630249"/>
              <a:gd name="connsiteY377" fmla="*/ 5599157 h 6750795"/>
              <a:gd name="connsiteX378" fmla="*/ 4642457 w 6630249"/>
              <a:gd name="connsiteY378" fmla="*/ 5660714 h 6750795"/>
              <a:gd name="connsiteX379" fmla="*/ 4645022 w 6630249"/>
              <a:gd name="connsiteY379" fmla="*/ 5714577 h 6750795"/>
              <a:gd name="connsiteX380" fmla="*/ 4598854 w 6630249"/>
              <a:gd name="connsiteY380" fmla="*/ 5719707 h 6750795"/>
              <a:gd name="connsiteX381" fmla="*/ 4647588 w 6630249"/>
              <a:gd name="connsiteY381" fmla="*/ 5722272 h 6750795"/>
              <a:gd name="connsiteX382" fmla="*/ 4647588 w 6630249"/>
              <a:gd name="connsiteY382" fmla="*/ 5755615 h 6750795"/>
              <a:gd name="connsiteX383" fmla="*/ 4645022 w 6630249"/>
              <a:gd name="connsiteY383" fmla="*/ 5755615 h 6750795"/>
              <a:gd name="connsiteX384" fmla="*/ 4645022 w 6630249"/>
              <a:gd name="connsiteY384" fmla="*/ 5794089 h 6750795"/>
              <a:gd name="connsiteX385" fmla="*/ 4642457 w 6630249"/>
              <a:gd name="connsiteY385" fmla="*/ 5809478 h 6750795"/>
              <a:gd name="connsiteX386" fmla="*/ 4614244 w 6630249"/>
              <a:gd name="connsiteY386" fmla="*/ 5806913 h 6750795"/>
              <a:gd name="connsiteX387" fmla="*/ 4627068 w 6630249"/>
              <a:gd name="connsiteY387" fmla="*/ 5786394 h 6750795"/>
              <a:gd name="connsiteX388" fmla="*/ 4547555 w 6630249"/>
              <a:gd name="connsiteY388" fmla="*/ 5786394 h 6750795"/>
              <a:gd name="connsiteX389" fmla="*/ 4539861 w 6630249"/>
              <a:gd name="connsiteY389" fmla="*/ 5783829 h 6750795"/>
              <a:gd name="connsiteX390" fmla="*/ 4552685 w 6630249"/>
              <a:gd name="connsiteY390" fmla="*/ 5732531 h 6750795"/>
              <a:gd name="connsiteX391" fmla="*/ 4542426 w 6630249"/>
              <a:gd name="connsiteY391" fmla="*/ 5732531 h 6750795"/>
              <a:gd name="connsiteX392" fmla="*/ 4544991 w 6630249"/>
              <a:gd name="connsiteY392" fmla="*/ 5665844 h 6750795"/>
              <a:gd name="connsiteX393" fmla="*/ 4544991 w 6630249"/>
              <a:gd name="connsiteY393" fmla="*/ 5640195 h 6750795"/>
              <a:gd name="connsiteX394" fmla="*/ 4560381 w 6630249"/>
              <a:gd name="connsiteY394" fmla="*/ 5632500 h 6750795"/>
              <a:gd name="connsiteX395" fmla="*/ 4550121 w 6630249"/>
              <a:gd name="connsiteY395" fmla="*/ 5624806 h 6750795"/>
              <a:gd name="connsiteX396" fmla="*/ 4560381 w 6630249"/>
              <a:gd name="connsiteY396" fmla="*/ 5604286 h 6750795"/>
              <a:gd name="connsiteX397" fmla="*/ 4568076 w 6630249"/>
              <a:gd name="connsiteY397" fmla="*/ 5606851 h 6750795"/>
              <a:gd name="connsiteX398" fmla="*/ 4568076 w 6630249"/>
              <a:gd name="connsiteY398" fmla="*/ 5601722 h 6750795"/>
              <a:gd name="connsiteX399" fmla="*/ 4570641 w 6630249"/>
              <a:gd name="connsiteY399" fmla="*/ 5599157 h 6750795"/>
              <a:gd name="connsiteX400" fmla="*/ 4655282 w 6630249"/>
              <a:gd name="connsiteY400" fmla="*/ 5596592 h 6750795"/>
              <a:gd name="connsiteX401" fmla="*/ 4665542 w 6630249"/>
              <a:gd name="connsiteY401" fmla="*/ 5596592 h 6750795"/>
              <a:gd name="connsiteX402" fmla="*/ 4657847 w 6630249"/>
              <a:gd name="connsiteY402" fmla="*/ 5601722 h 6750795"/>
              <a:gd name="connsiteX403" fmla="*/ 4655282 w 6630249"/>
              <a:gd name="connsiteY403" fmla="*/ 5596592 h 6750795"/>
              <a:gd name="connsiteX404" fmla="*/ 4470609 w 6630249"/>
              <a:gd name="connsiteY404" fmla="*/ 5581204 h 6750795"/>
              <a:gd name="connsiteX405" fmla="*/ 4465479 w 6630249"/>
              <a:gd name="connsiteY405" fmla="*/ 5596593 h 6750795"/>
              <a:gd name="connsiteX406" fmla="*/ 4460350 w 6630249"/>
              <a:gd name="connsiteY406" fmla="*/ 5586333 h 6750795"/>
              <a:gd name="connsiteX407" fmla="*/ 4470609 w 6630249"/>
              <a:gd name="connsiteY407" fmla="*/ 5581204 h 6750795"/>
              <a:gd name="connsiteX408" fmla="*/ 4527038 w 6630249"/>
              <a:gd name="connsiteY408" fmla="*/ 5578639 h 6750795"/>
              <a:gd name="connsiteX409" fmla="*/ 4532168 w 6630249"/>
              <a:gd name="connsiteY409" fmla="*/ 5596593 h 6750795"/>
              <a:gd name="connsiteX410" fmla="*/ 4501389 w 6630249"/>
              <a:gd name="connsiteY410" fmla="*/ 5596593 h 6750795"/>
              <a:gd name="connsiteX411" fmla="*/ 4527038 w 6630249"/>
              <a:gd name="connsiteY411" fmla="*/ 5578639 h 6750795"/>
              <a:gd name="connsiteX412" fmla="*/ 4627069 w 6630249"/>
              <a:gd name="connsiteY412" fmla="*/ 5576074 h 6750795"/>
              <a:gd name="connsiteX413" fmla="*/ 4642458 w 6630249"/>
              <a:gd name="connsiteY413" fmla="*/ 5609417 h 6750795"/>
              <a:gd name="connsiteX414" fmla="*/ 4629633 w 6630249"/>
              <a:gd name="connsiteY414" fmla="*/ 5601723 h 6750795"/>
              <a:gd name="connsiteX415" fmla="*/ 4627069 w 6630249"/>
              <a:gd name="connsiteY415" fmla="*/ 5576074 h 6750795"/>
              <a:gd name="connsiteX416" fmla="*/ 4537297 w 6630249"/>
              <a:gd name="connsiteY416" fmla="*/ 5573509 h 6750795"/>
              <a:gd name="connsiteX417" fmla="*/ 4560381 w 6630249"/>
              <a:gd name="connsiteY417" fmla="*/ 5586333 h 6750795"/>
              <a:gd name="connsiteX418" fmla="*/ 4550121 w 6630249"/>
              <a:gd name="connsiteY418" fmla="*/ 5606852 h 6750795"/>
              <a:gd name="connsiteX419" fmla="*/ 4537297 w 6630249"/>
              <a:gd name="connsiteY419" fmla="*/ 5573509 h 6750795"/>
              <a:gd name="connsiteX420" fmla="*/ 5968508 w 6630249"/>
              <a:gd name="connsiteY420" fmla="*/ 5555555 h 6750795"/>
              <a:gd name="connsiteX421" fmla="*/ 5963377 w 6630249"/>
              <a:gd name="connsiteY421" fmla="*/ 5568379 h 6750795"/>
              <a:gd name="connsiteX422" fmla="*/ 5963377 w 6630249"/>
              <a:gd name="connsiteY422" fmla="*/ 5565814 h 6750795"/>
              <a:gd name="connsiteX423" fmla="*/ 5958248 w 6630249"/>
              <a:gd name="connsiteY423" fmla="*/ 5560684 h 6750795"/>
              <a:gd name="connsiteX424" fmla="*/ 5968508 w 6630249"/>
              <a:gd name="connsiteY424" fmla="*/ 5555555 h 6750795"/>
              <a:gd name="connsiteX425" fmla="*/ 4460350 w 6630249"/>
              <a:gd name="connsiteY425" fmla="*/ 5555554 h 6750795"/>
              <a:gd name="connsiteX426" fmla="*/ 4475739 w 6630249"/>
              <a:gd name="connsiteY426" fmla="*/ 5555554 h 6750795"/>
              <a:gd name="connsiteX427" fmla="*/ 4462914 w 6630249"/>
              <a:gd name="connsiteY427" fmla="*/ 5568379 h 6750795"/>
              <a:gd name="connsiteX428" fmla="*/ 4460350 w 6630249"/>
              <a:gd name="connsiteY428" fmla="*/ 5555554 h 6750795"/>
              <a:gd name="connsiteX429" fmla="*/ 4573205 w 6630249"/>
              <a:gd name="connsiteY429" fmla="*/ 5552990 h 6750795"/>
              <a:gd name="connsiteX430" fmla="*/ 4578335 w 6630249"/>
              <a:gd name="connsiteY430" fmla="*/ 5555555 h 6750795"/>
              <a:gd name="connsiteX431" fmla="*/ 4575770 w 6630249"/>
              <a:gd name="connsiteY431" fmla="*/ 5578639 h 6750795"/>
              <a:gd name="connsiteX432" fmla="*/ 4568076 w 6630249"/>
              <a:gd name="connsiteY432" fmla="*/ 5576074 h 6750795"/>
              <a:gd name="connsiteX433" fmla="*/ 4573205 w 6630249"/>
              <a:gd name="connsiteY433" fmla="*/ 5552990 h 6750795"/>
              <a:gd name="connsiteX434" fmla="*/ 5973637 w 6630249"/>
              <a:gd name="connsiteY434" fmla="*/ 5550425 h 6750795"/>
              <a:gd name="connsiteX435" fmla="*/ 5976201 w 6630249"/>
              <a:gd name="connsiteY435" fmla="*/ 5563249 h 6750795"/>
              <a:gd name="connsiteX436" fmla="*/ 5973637 w 6630249"/>
              <a:gd name="connsiteY436" fmla="*/ 5550425 h 6750795"/>
              <a:gd name="connsiteX437" fmla="*/ 4792552 w 6630249"/>
              <a:gd name="connsiteY437" fmla="*/ 5546095 h 6750795"/>
              <a:gd name="connsiteX438" fmla="*/ 4796351 w 6630249"/>
              <a:gd name="connsiteY438" fmla="*/ 5550424 h 6750795"/>
              <a:gd name="connsiteX439" fmla="*/ 4791994 w 6630249"/>
              <a:gd name="connsiteY439" fmla="*/ 5552219 h 6750795"/>
              <a:gd name="connsiteX440" fmla="*/ 4552686 w 6630249"/>
              <a:gd name="connsiteY440" fmla="*/ 5545295 h 6750795"/>
              <a:gd name="connsiteX441" fmla="*/ 4562946 w 6630249"/>
              <a:gd name="connsiteY441" fmla="*/ 5578638 h 6750795"/>
              <a:gd name="connsiteX442" fmla="*/ 4539862 w 6630249"/>
              <a:gd name="connsiteY442" fmla="*/ 5570944 h 6750795"/>
              <a:gd name="connsiteX443" fmla="*/ 4539862 w 6630249"/>
              <a:gd name="connsiteY443" fmla="*/ 5565814 h 6750795"/>
              <a:gd name="connsiteX444" fmla="*/ 4552686 w 6630249"/>
              <a:gd name="connsiteY444" fmla="*/ 5555555 h 6750795"/>
              <a:gd name="connsiteX445" fmla="*/ 4544992 w 6630249"/>
              <a:gd name="connsiteY445" fmla="*/ 5547860 h 6750795"/>
              <a:gd name="connsiteX446" fmla="*/ 4552686 w 6630249"/>
              <a:gd name="connsiteY446" fmla="*/ 5545295 h 6750795"/>
              <a:gd name="connsiteX447" fmla="*/ 4698886 w 6630249"/>
              <a:gd name="connsiteY447" fmla="*/ 5545294 h 6750795"/>
              <a:gd name="connsiteX448" fmla="*/ 4727099 w 6630249"/>
              <a:gd name="connsiteY448" fmla="*/ 5552989 h 6750795"/>
              <a:gd name="connsiteX449" fmla="*/ 4732229 w 6630249"/>
              <a:gd name="connsiteY449" fmla="*/ 5614547 h 6750795"/>
              <a:gd name="connsiteX450" fmla="*/ 4727099 w 6630249"/>
              <a:gd name="connsiteY450" fmla="*/ 5614547 h 6750795"/>
              <a:gd name="connsiteX451" fmla="*/ 4729664 w 6630249"/>
              <a:gd name="connsiteY451" fmla="*/ 5606852 h 6750795"/>
              <a:gd name="connsiteX452" fmla="*/ 4721970 w 6630249"/>
              <a:gd name="connsiteY452" fmla="*/ 5599158 h 6750795"/>
              <a:gd name="connsiteX453" fmla="*/ 4709145 w 6630249"/>
              <a:gd name="connsiteY453" fmla="*/ 5609417 h 6750795"/>
              <a:gd name="connsiteX454" fmla="*/ 4696321 w 6630249"/>
              <a:gd name="connsiteY454" fmla="*/ 5586333 h 6750795"/>
              <a:gd name="connsiteX455" fmla="*/ 4704015 w 6630249"/>
              <a:gd name="connsiteY455" fmla="*/ 5573509 h 6750795"/>
              <a:gd name="connsiteX456" fmla="*/ 4698886 w 6630249"/>
              <a:gd name="connsiteY456" fmla="*/ 5545294 h 6750795"/>
              <a:gd name="connsiteX457" fmla="*/ 4645022 w 6630249"/>
              <a:gd name="connsiteY457" fmla="*/ 5542729 h 6750795"/>
              <a:gd name="connsiteX458" fmla="*/ 4639893 w 6630249"/>
              <a:gd name="connsiteY458" fmla="*/ 5581203 h 6750795"/>
              <a:gd name="connsiteX459" fmla="*/ 4645022 w 6630249"/>
              <a:gd name="connsiteY459" fmla="*/ 5542729 h 6750795"/>
              <a:gd name="connsiteX460" fmla="*/ 5961494 w 6630249"/>
              <a:gd name="connsiteY460" fmla="*/ 5542410 h 6750795"/>
              <a:gd name="connsiteX461" fmla="*/ 5958248 w 6630249"/>
              <a:gd name="connsiteY461" fmla="*/ 5545295 h 6750795"/>
              <a:gd name="connsiteX462" fmla="*/ 5961494 w 6630249"/>
              <a:gd name="connsiteY462" fmla="*/ 5542410 h 6750795"/>
              <a:gd name="connsiteX463" fmla="*/ 4668106 w 6630249"/>
              <a:gd name="connsiteY463" fmla="*/ 5529905 h 6750795"/>
              <a:gd name="connsiteX464" fmla="*/ 4693755 w 6630249"/>
              <a:gd name="connsiteY464" fmla="*/ 5542730 h 6750795"/>
              <a:gd name="connsiteX465" fmla="*/ 4688625 w 6630249"/>
              <a:gd name="connsiteY465" fmla="*/ 5560684 h 6750795"/>
              <a:gd name="connsiteX466" fmla="*/ 4683496 w 6630249"/>
              <a:gd name="connsiteY466" fmla="*/ 5570944 h 6750795"/>
              <a:gd name="connsiteX467" fmla="*/ 4680931 w 6630249"/>
              <a:gd name="connsiteY467" fmla="*/ 5545295 h 6750795"/>
              <a:gd name="connsiteX468" fmla="*/ 4668106 w 6630249"/>
              <a:gd name="connsiteY468" fmla="*/ 5560684 h 6750795"/>
              <a:gd name="connsiteX469" fmla="*/ 4657847 w 6630249"/>
              <a:gd name="connsiteY469" fmla="*/ 5558119 h 6750795"/>
              <a:gd name="connsiteX470" fmla="*/ 4668106 w 6630249"/>
              <a:gd name="connsiteY470" fmla="*/ 5529905 h 6750795"/>
              <a:gd name="connsiteX471" fmla="*/ 4586029 w 6630249"/>
              <a:gd name="connsiteY471" fmla="*/ 5524776 h 6750795"/>
              <a:gd name="connsiteX472" fmla="*/ 4593724 w 6630249"/>
              <a:gd name="connsiteY472" fmla="*/ 5537600 h 6750795"/>
              <a:gd name="connsiteX473" fmla="*/ 4586029 w 6630249"/>
              <a:gd name="connsiteY473" fmla="*/ 5524776 h 6750795"/>
              <a:gd name="connsiteX474" fmla="*/ 4293632 w 6630249"/>
              <a:gd name="connsiteY474" fmla="*/ 5522210 h 6750795"/>
              <a:gd name="connsiteX475" fmla="*/ 4324410 w 6630249"/>
              <a:gd name="connsiteY475" fmla="*/ 5596592 h 6750795"/>
              <a:gd name="connsiteX476" fmla="*/ 4293632 w 6630249"/>
              <a:gd name="connsiteY476" fmla="*/ 5522210 h 6750795"/>
              <a:gd name="connsiteX477" fmla="*/ 4614564 w 6630249"/>
              <a:gd name="connsiteY477" fmla="*/ 5518043 h 6750795"/>
              <a:gd name="connsiteX478" fmla="*/ 4624503 w 6630249"/>
              <a:gd name="connsiteY478" fmla="*/ 5522211 h 6750795"/>
              <a:gd name="connsiteX479" fmla="*/ 4619373 w 6630249"/>
              <a:gd name="connsiteY479" fmla="*/ 5527340 h 6750795"/>
              <a:gd name="connsiteX480" fmla="*/ 4616808 w 6630249"/>
              <a:gd name="connsiteY480" fmla="*/ 5519646 h 6750795"/>
              <a:gd name="connsiteX481" fmla="*/ 4606549 w 6630249"/>
              <a:gd name="connsiteY481" fmla="*/ 5519646 h 6750795"/>
              <a:gd name="connsiteX482" fmla="*/ 4614564 w 6630249"/>
              <a:gd name="connsiteY482" fmla="*/ 5518043 h 6750795"/>
              <a:gd name="connsiteX483" fmla="*/ 4632197 w 6630249"/>
              <a:gd name="connsiteY483" fmla="*/ 5517081 h 6750795"/>
              <a:gd name="connsiteX484" fmla="*/ 4647587 w 6630249"/>
              <a:gd name="connsiteY484" fmla="*/ 5522211 h 6750795"/>
              <a:gd name="connsiteX485" fmla="*/ 4634763 w 6630249"/>
              <a:gd name="connsiteY485" fmla="*/ 5558120 h 6750795"/>
              <a:gd name="connsiteX486" fmla="*/ 4627068 w 6630249"/>
              <a:gd name="connsiteY486" fmla="*/ 5558120 h 6750795"/>
              <a:gd name="connsiteX487" fmla="*/ 4629632 w 6630249"/>
              <a:gd name="connsiteY487" fmla="*/ 5535036 h 6750795"/>
              <a:gd name="connsiteX488" fmla="*/ 4624503 w 6630249"/>
              <a:gd name="connsiteY488" fmla="*/ 5537601 h 6750795"/>
              <a:gd name="connsiteX489" fmla="*/ 4632197 w 6630249"/>
              <a:gd name="connsiteY489" fmla="*/ 5517081 h 6750795"/>
              <a:gd name="connsiteX490" fmla="*/ 4645022 w 6630249"/>
              <a:gd name="connsiteY490" fmla="*/ 5506822 h 6750795"/>
              <a:gd name="connsiteX491" fmla="*/ 4645022 w 6630249"/>
              <a:gd name="connsiteY491" fmla="*/ 5514516 h 6750795"/>
              <a:gd name="connsiteX492" fmla="*/ 4634763 w 6630249"/>
              <a:gd name="connsiteY492" fmla="*/ 5511952 h 6750795"/>
              <a:gd name="connsiteX493" fmla="*/ 4645022 w 6630249"/>
              <a:gd name="connsiteY493" fmla="*/ 5506822 h 6750795"/>
              <a:gd name="connsiteX494" fmla="*/ 4709145 w 6630249"/>
              <a:gd name="connsiteY494" fmla="*/ 5491433 h 6750795"/>
              <a:gd name="connsiteX495" fmla="*/ 4716840 w 6630249"/>
              <a:gd name="connsiteY495" fmla="*/ 5519646 h 6750795"/>
              <a:gd name="connsiteX496" fmla="*/ 4706580 w 6630249"/>
              <a:gd name="connsiteY496" fmla="*/ 5514517 h 6750795"/>
              <a:gd name="connsiteX497" fmla="*/ 4709145 w 6630249"/>
              <a:gd name="connsiteY497" fmla="*/ 5491433 h 6750795"/>
              <a:gd name="connsiteX498" fmla="*/ 3054787 w 6630249"/>
              <a:gd name="connsiteY498" fmla="*/ 5486303 h 6750795"/>
              <a:gd name="connsiteX499" fmla="*/ 3042484 w 6630249"/>
              <a:gd name="connsiteY499" fmla="*/ 5527021 h 6750795"/>
              <a:gd name="connsiteX500" fmla="*/ 3040513 w 6630249"/>
              <a:gd name="connsiteY500" fmla="*/ 5531102 h 6750795"/>
              <a:gd name="connsiteX501" fmla="*/ 4934855 w 6630249"/>
              <a:gd name="connsiteY501" fmla="*/ 5486302 h 6750795"/>
              <a:gd name="connsiteX502" fmla="*/ 4934855 w 6630249"/>
              <a:gd name="connsiteY502" fmla="*/ 5573508 h 6750795"/>
              <a:gd name="connsiteX503" fmla="*/ 5009237 w 6630249"/>
              <a:gd name="connsiteY503" fmla="*/ 5558118 h 6750795"/>
              <a:gd name="connsiteX504" fmla="*/ 4934855 w 6630249"/>
              <a:gd name="connsiteY504" fmla="*/ 5601722 h 6750795"/>
              <a:gd name="connsiteX505" fmla="*/ 5009237 w 6630249"/>
              <a:gd name="connsiteY505" fmla="*/ 5601722 h 6750795"/>
              <a:gd name="connsiteX506" fmla="*/ 5037451 w 6630249"/>
              <a:gd name="connsiteY506" fmla="*/ 5529905 h 6750795"/>
              <a:gd name="connsiteX507" fmla="*/ 4934855 w 6630249"/>
              <a:gd name="connsiteY507" fmla="*/ 5486302 h 6750795"/>
              <a:gd name="connsiteX508" fmla="*/ 4619373 w 6630249"/>
              <a:gd name="connsiteY508" fmla="*/ 5481173 h 6750795"/>
              <a:gd name="connsiteX509" fmla="*/ 4616808 w 6630249"/>
              <a:gd name="connsiteY509" fmla="*/ 5493997 h 6750795"/>
              <a:gd name="connsiteX510" fmla="*/ 4614244 w 6630249"/>
              <a:gd name="connsiteY510" fmla="*/ 5486303 h 6750795"/>
              <a:gd name="connsiteX511" fmla="*/ 4619373 w 6630249"/>
              <a:gd name="connsiteY511" fmla="*/ 5481173 h 6750795"/>
              <a:gd name="connsiteX512" fmla="*/ 4698885 w 6630249"/>
              <a:gd name="connsiteY512" fmla="*/ 5476042 h 6750795"/>
              <a:gd name="connsiteX513" fmla="*/ 4698885 w 6630249"/>
              <a:gd name="connsiteY513" fmla="*/ 5511951 h 6750795"/>
              <a:gd name="connsiteX514" fmla="*/ 4657846 w 6630249"/>
              <a:gd name="connsiteY514" fmla="*/ 5514516 h 6750795"/>
              <a:gd name="connsiteX515" fmla="*/ 4696320 w 6630249"/>
              <a:gd name="connsiteY515" fmla="*/ 5506821 h 6750795"/>
              <a:gd name="connsiteX516" fmla="*/ 4680931 w 6630249"/>
              <a:gd name="connsiteY516" fmla="*/ 5496562 h 6750795"/>
              <a:gd name="connsiteX517" fmla="*/ 4680931 w 6630249"/>
              <a:gd name="connsiteY517" fmla="*/ 5491432 h 6750795"/>
              <a:gd name="connsiteX518" fmla="*/ 4698885 w 6630249"/>
              <a:gd name="connsiteY518" fmla="*/ 5476042 h 6750795"/>
              <a:gd name="connsiteX519" fmla="*/ 4601419 w 6630249"/>
              <a:gd name="connsiteY519" fmla="*/ 5473477 h 6750795"/>
              <a:gd name="connsiteX520" fmla="*/ 4601419 w 6630249"/>
              <a:gd name="connsiteY520" fmla="*/ 5483737 h 6750795"/>
              <a:gd name="connsiteX521" fmla="*/ 4583465 w 6630249"/>
              <a:gd name="connsiteY521" fmla="*/ 5514516 h 6750795"/>
              <a:gd name="connsiteX522" fmla="*/ 4552686 w 6630249"/>
              <a:gd name="connsiteY522" fmla="*/ 5524776 h 6750795"/>
              <a:gd name="connsiteX523" fmla="*/ 4552686 w 6630249"/>
              <a:gd name="connsiteY523" fmla="*/ 5511951 h 6750795"/>
              <a:gd name="connsiteX524" fmla="*/ 4542426 w 6630249"/>
              <a:gd name="connsiteY524" fmla="*/ 5517081 h 6750795"/>
              <a:gd name="connsiteX525" fmla="*/ 4557816 w 6630249"/>
              <a:gd name="connsiteY525" fmla="*/ 5483737 h 6750795"/>
              <a:gd name="connsiteX526" fmla="*/ 4601419 w 6630249"/>
              <a:gd name="connsiteY526" fmla="*/ 5473477 h 6750795"/>
              <a:gd name="connsiteX527" fmla="*/ 4632198 w 6630249"/>
              <a:gd name="connsiteY527" fmla="*/ 5460654 h 6750795"/>
              <a:gd name="connsiteX528" fmla="*/ 4629633 w 6630249"/>
              <a:gd name="connsiteY528" fmla="*/ 5468348 h 6750795"/>
              <a:gd name="connsiteX529" fmla="*/ 4632198 w 6630249"/>
              <a:gd name="connsiteY529" fmla="*/ 5460654 h 6750795"/>
              <a:gd name="connsiteX530" fmla="*/ 4344930 w 6630249"/>
              <a:gd name="connsiteY530" fmla="*/ 5460654 h 6750795"/>
              <a:gd name="connsiteX531" fmla="*/ 4347494 w 6630249"/>
              <a:gd name="connsiteY531" fmla="*/ 5473478 h 6750795"/>
              <a:gd name="connsiteX532" fmla="*/ 4344930 w 6630249"/>
              <a:gd name="connsiteY532" fmla="*/ 5460654 h 6750795"/>
              <a:gd name="connsiteX533" fmla="*/ 3036835 w 6630249"/>
              <a:gd name="connsiteY533" fmla="*/ 5460653 h 6750795"/>
              <a:gd name="connsiteX534" fmla="*/ 2993231 w 6630249"/>
              <a:gd name="connsiteY534" fmla="*/ 5581203 h 6750795"/>
              <a:gd name="connsiteX535" fmla="*/ 2970147 w 6630249"/>
              <a:gd name="connsiteY535" fmla="*/ 5604286 h 6750795"/>
              <a:gd name="connsiteX536" fmla="*/ 2890634 w 6630249"/>
              <a:gd name="connsiteY536" fmla="*/ 5737661 h 6750795"/>
              <a:gd name="connsiteX537" fmla="*/ 2882939 w 6630249"/>
              <a:gd name="connsiteY537" fmla="*/ 5722272 h 6750795"/>
              <a:gd name="connsiteX538" fmla="*/ 2875245 w 6630249"/>
              <a:gd name="connsiteY538" fmla="*/ 5709447 h 6750795"/>
              <a:gd name="connsiteX539" fmla="*/ 2875245 w 6630249"/>
              <a:gd name="connsiteY539" fmla="*/ 5706882 h 6750795"/>
              <a:gd name="connsiteX540" fmla="*/ 3036835 w 6630249"/>
              <a:gd name="connsiteY540" fmla="*/ 5460653 h 6750795"/>
              <a:gd name="connsiteX541" fmla="*/ 4247463 w 6630249"/>
              <a:gd name="connsiteY541" fmla="*/ 5424744 h 6750795"/>
              <a:gd name="connsiteX542" fmla="*/ 4285937 w 6630249"/>
              <a:gd name="connsiteY542" fmla="*/ 5504257 h 6750795"/>
              <a:gd name="connsiteX543" fmla="*/ 4247463 w 6630249"/>
              <a:gd name="connsiteY543" fmla="*/ 5424744 h 6750795"/>
              <a:gd name="connsiteX544" fmla="*/ 4247463 w 6630249"/>
              <a:gd name="connsiteY544" fmla="*/ 5409356 h 6750795"/>
              <a:gd name="connsiteX545" fmla="*/ 4247463 w 6630249"/>
              <a:gd name="connsiteY545" fmla="*/ 5419615 h 6750795"/>
              <a:gd name="connsiteX546" fmla="*/ 4239769 w 6630249"/>
              <a:gd name="connsiteY546" fmla="*/ 5414485 h 6750795"/>
              <a:gd name="connsiteX547" fmla="*/ 4247463 w 6630249"/>
              <a:gd name="connsiteY547" fmla="*/ 5409356 h 6750795"/>
              <a:gd name="connsiteX548" fmla="*/ 4511648 w 6630249"/>
              <a:gd name="connsiteY548" fmla="*/ 5393966 h 6750795"/>
              <a:gd name="connsiteX549" fmla="*/ 4542427 w 6630249"/>
              <a:gd name="connsiteY549" fmla="*/ 5409355 h 6750795"/>
              <a:gd name="connsiteX550" fmla="*/ 4534732 w 6630249"/>
              <a:gd name="connsiteY550" fmla="*/ 5519646 h 6750795"/>
              <a:gd name="connsiteX551" fmla="*/ 4529602 w 6630249"/>
              <a:gd name="connsiteY551" fmla="*/ 5509387 h 6750795"/>
              <a:gd name="connsiteX552" fmla="*/ 4516778 w 6630249"/>
              <a:gd name="connsiteY552" fmla="*/ 5447830 h 6750795"/>
              <a:gd name="connsiteX553" fmla="*/ 4511648 w 6630249"/>
              <a:gd name="connsiteY553" fmla="*/ 5393966 h 6750795"/>
              <a:gd name="connsiteX554" fmla="*/ 2411002 w 6630249"/>
              <a:gd name="connsiteY554" fmla="*/ 5393966 h 6750795"/>
              <a:gd name="connsiteX555" fmla="*/ 2295581 w 6630249"/>
              <a:gd name="connsiteY555" fmla="*/ 5470913 h 6750795"/>
              <a:gd name="connsiteX556" fmla="*/ 2295581 w 6630249"/>
              <a:gd name="connsiteY556" fmla="*/ 5468348 h 6750795"/>
              <a:gd name="connsiteX557" fmla="*/ 2411002 w 6630249"/>
              <a:gd name="connsiteY557" fmla="*/ 5393966 h 6750795"/>
              <a:gd name="connsiteX558" fmla="*/ 4704015 w 6630249"/>
              <a:gd name="connsiteY558" fmla="*/ 5391402 h 6750795"/>
              <a:gd name="connsiteX559" fmla="*/ 4709144 w 6630249"/>
              <a:gd name="connsiteY559" fmla="*/ 5427310 h 6750795"/>
              <a:gd name="connsiteX560" fmla="*/ 4704015 w 6630249"/>
              <a:gd name="connsiteY560" fmla="*/ 5391402 h 6750795"/>
              <a:gd name="connsiteX561" fmla="*/ 4691191 w 6630249"/>
              <a:gd name="connsiteY561" fmla="*/ 5383705 h 6750795"/>
              <a:gd name="connsiteX562" fmla="*/ 4698885 w 6630249"/>
              <a:gd name="connsiteY562" fmla="*/ 5429874 h 6750795"/>
              <a:gd name="connsiteX563" fmla="*/ 4665542 w 6630249"/>
              <a:gd name="connsiteY563" fmla="*/ 5447829 h 6750795"/>
              <a:gd name="connsiteX564" fmla="*/ 4691191 w 6630249"/>
              <a:gd name="connsiteY564" fmla="*/ 5383705 h 6750795"/>
              <a:gd name="connsiteX565" fmla="*/ 4683496 w 6630249"/>
              <a:gd name="connsiteY565" fmla="*/ 5376012 h 6750795"/>
              <a:gd name="connsiteX566" fmla="*/ 4688625 w 6630249"/>
              <a:gd name="connsiteY566" fmla="*/ 5376012 h 6750795"/>
              <a:gd name="connsiteX567" fmla="*/ 4691190 w 6630249"/>
              <a:gd name="connsiteY567" fmla="*/ 5381141 h 6750795"/>
              <a:gd name="connsiteX568" fmla="*/ 4683496 w 6630249"/>
              <a:gd name="connsiteY568" fmla="*/ 5381141 h 6750795"/>
              <a:gd name="connsiteX569" fmla="*/ 4211555 w 6630249"/>
              <a:gd name="connsiteY569" fmla="*/ 5373447 h 6750795"/>
              <a:gd name="connsiteX570" fmla="*/ 4221815 w 6630249"/>
              <a:gd name="connsiteY570" fmla="*/ 5396531 h 6750795"/>
              <a:gd name="connsiteX571" fmla="*/ 4219250 w 6630249"/>
              <a:gd name="connsiteY571" fmla="*/ 5399096 h 6750795"/>
              <a:gd name="connsiteX572" fmla="*/ 4203861 w 6630249"/>
              <a:gd name="connsiteY572" fmla="*/ 5388836 h 6750795"/>
              <a:gd name="connsiteX573" fmla="*/ 4211555 w 6630249"/>
              <a:gd name="connsiteY573" fmla="*/ 5373447 h 6750795"/>
              <a:gd name="connsiteX574" fmla="*/ 4496259 w 6630249"/>
              <a:gd name="connsiteY574" fmla="*/ 5370883 h 6750795"/>
              <a:gd name="connsiteX575" fmla="*/ 4501388 w 6630249"/>
              <a:gd name="connsiteY575" fmla="*/ 5378577 h 6750795"/>
              <a:gd name="connsiteX576" fmla="*/ 4496259 w 6630249"/>
              <a:gd name="connsiteY576" fmla="*/ 5370883 h 6750795"/>
              <a:gd name="connsiteX577" fmla="*/ 4714045 w 6630249"/>
              <a:gd name="connsiteY577" fmla="*/ 5365602 h 6750795"/>
              <a:gd name="connsiteX578" fmla="*/ 4715878 w 6630249"/>
              <a:gd name="connsiteY578" fmla="*/ 5371523 h 6750795"/>
              <a:gd name="connsiteX579" fmla="*/ 4714275 w 6630249"/>
              <a:gd name="connsiteY579" fmla="*/ 5388836 h 6750795"/>
              <a:gd name="connsiteX580" fmla="*/ 4706580 w 6630249"/>
              <a:gd name="connsiteY580" fmla="*/ 5386271 h 6750795"/>
              <a:gd name="connsiteX581" fmla="*/ 4698886 w 6630249"/>
              <a:gd name="connsiteY581" fmla="*/ 5370882 h 6750795"/>
              <a:gd name="connsiteX582" fmla="*/ 4714275 w 6630249"/>
              <a:gd name="connsiteY582" fmla="*/ 5370882 h 6750795"/>
              <a:gd name="connsiteX583" fmla="*/ 4711710 w 6630249"/>
              <a:gd name="connsiteY583" fmla="*/ 5358058 h 6750795"/>
              <a:gd name="connsiteX584" fmla="*/ 4713954 w 6630249"/>
              <a:gd name="connsiteY584" fmla="*/ 5363508 h 6750795"/>
              <a:gd name="connsiteX585" fmla="*/ 4714045 w 6630249"/>
              <a:gd name="connsiteY585" fmla="*/ 5365602 h 6750795"/>
              <a:gd name="connsiteX586" fmla="*/ 4481297 w 6630249"/>
              <a:gd name="connsiteY586" fmla="*/ 5334832 h 6750795"/>
              <a:gd name="connsiteX587" fmla="*/ 4480870 w 6630249"/>
              <a:gd name="connsiteY587" fmla="*/ 5334974 h 6750795"/>
              <a:gd name="connsiteX588" fmla="*/ 4480532 w 6630249"/>
              <a:gd name="connsiteY588" fmla="*/ 5336616 h 6750795"/>
              <a:gd name="connsiteX589" fmla="*/ 4421875 w 6630249"/>
              <a:gd name="connsiteY589" fmla="*/ 5332408 h 6750795"/>
              <a:gd name="connsiteX590" fmla="*/ 4439830 w 6630249"/>
              <a:gd name="connsiteY590" fmla="*/ 5337537 h 6750795"/>
              <a:gd name="connsiteX591" fmla="*/ 4442396 w 6630249"/>
              <a:gd name="connsiteY591" fmla="*/ 5368316 h 6750795"/>
              <a:gd name="connsiteX592" fmla="*/ 4452655 w 6630249"/>
              <a:gd name="connsiteY592" fmla="*/ 5347797 h 6750795"/>
              <a:gd name="connsiteX593" fmla="*/ 4483434 w 6630249"/>
              <a:gd name="connsiteY593" fmla="*/ 5365751 h 6750795"/>
              <a:gd name="connsiteX594" fmla="*/ 4452655 w 6630249"/>
              <a:gd name="connsiteY594" fmla="*/ 5368316 h 6750795"/>
              <a:gd name="connsiteX595" fmla="*/ 4485999 w 6630249"/>
              <a:gd name="connsiteY595" fmla="*/ 5388835 h 6750795"/>
              <a:gd name="connsiteX596" fmla="*/ 4488563 w 6630249"/>
              <a:gd name="connsiteY596" fmla="*/ 5406789 h 6750795"/>
              <a:gd name="connsiteX597" fmla="*/ 4485999 w 6630249"/>
              <a:gd name="connsiteY597" fmla="*/ 5440133 h 6750795"/>
              <a:gd name="connsiteX598" fmla="*/ 4498823 w 6630249"/>
              <a:gd name="connsiteY598" fmla="*/ 5427309 h 6750795"/>
              <a:gd name="connsiteX599" fmla="*/ 4519342 w 6630249"/>
              <a:gd name="connsiteY599" fmla="*/ 5519645 h 6750795"/>
              <a:gd name="connsiteX600" fmla="*/ 4496258 w 6630249"/>
              <a:gd name="connsiteY600" fmla="*/ 5542729 h 6750795"/>
              <a:gd name="connsiteX601" fmla="*/ 4493693 w 6630249"/>
              <a:gd name="connsiteY601" fmla="*/ 5514515 h 6750795"/>
              <a:gd name="connsiteX602" fmla="*/ 4478304 w 6630249"/>
              <a:gd name="connsiteY602" fmla="*/ 5545293 h 6750795"/>
              <a:gd name="connsiteX603" fmla="*/ 4462914 w 6630249"/>
              <a:gd name="connsiteY603" fmla="*/ 5524775 h 6750795"/>
              <a:gd name="connsiteX604" fmla="*/ 4465479 w 6630249"/>
              <a:gd name="connsiteY604" fmla="*/ 5486301 h 6750795"/>
              <a:gd name="connsiteX605" fmla="*/ 4434701 w 6630249"/>
              <a:gd name="connsiteY605" fmla="*/ 5509385 h 6750795"/>
              <a:gd name="connsiteX606" fmla="*/ 4432135 w 6630249"/>
              <a:gd name="connsiteY606" fmla="*/ 5450393 h 6750795"/>
              <a:gd name="connsiteX607" fmla="*/ 4427005 w 6630249"/>
              <a:gd name="connsiteY607" fmla="*/ 5447828 h 6750795"/>
              <a:gd name="connsiteX608" fmla="*/ 4421875 w 6630249"/>
              <a:gd name="connsiteY608" fmla="*/ 5332408 h 6750795"/>
              <a:gd name="connsiteX609" fmla="*/ 4403923 w 6630249"/>
              <a:gd name="connsiteY609" fmla="*/ 5317020 h 6750795"/>
              <a:gd name="connsiteX610" fmla="*/ 4409053 w 6630249"/>
              <a:gd name="connsiteY610" fmla="*/ 5324714 h 6750795"/>
              <a:gd name="connsiteX611" fmla="*/ 4403923 w 6630249"/>
              <a:gd name="connsiteY611" fmla="*/ 5317020 h 6750795"/>
              <a:gd name="connsiteX612" fmla="*/ 4668106 w 6630249"/>
              <a:gd name="connsiteY612" fmla="*/ 5309324 h 6750795"/>
              <a:gd name="connsiteX613" fmla="*/ 4686060 w 6630249"/>
              <a:gd name="connsiteY613" fmla="*/ 5360623 h 6750795"/>
              <a:gd name="connsiteX614" fmla="*/ 4678366 w 6630249"/>
              <a:gd name="connsiteY614" fmla="*/ 5370882 h 6750795"/>
              <a:gd name="connsiteX615" fmla="*/ 4668106 w 6630249"/>
              <a:gd name="connsiteY615" fmla="*/ 5309324 h 6750795"/>
              <a:gd name="connsiteX616" fmla="*/ 4427007 w 6630249"/>
              <a:gd name="connsiteY616" fmla="*/ 5299066 h 6750795"/>
              <a:gd name="connsiteX617" fmla="*/ 4437266 w 6630249"/>
              <a:gd name="connsiteY617" fmla="*/ 5317020 h 6750795"/>
              <a:gd name="connsiteX618" fmla="*/ 4427007 w 6630249"/>
              <a:gd name="connsiteY618" fmla="*/ 5299066 h 6750795"/>
              <a:gd name="connsiteX619" fmla="*/ 3342303 w 6630249"/>
              <a:gd name="connsiteY619" fmla="*/ 5277838 h 6750795"/>
              <a:gd name="connsiteX620" fmla="*/ 3357723 w 6630249"/>
              <a:gd name="connsiteY620" fmla="*/ 5294453 h 6750795"/>
              <a:gd name="connsiteX621" fmla="*/ 3343018 w 6630249"/>
              <a:gd name="connsiteY621" fmla="*/ 5280470 h 6750795"/>
              <a:gd name="connsiteX622" fmla="*/ 3133288 w 6630249"/>
              <a:gd name="connsiteY622" fmla="*/ 5261808 h 6750795"/>
              <a:gd name="connsiteX623" fmla="*/ 3134299 w 6630249"/>
              <a:gd name="connsiteY623" fmla="*/ 5263157 h 6750795"/>
              <a:gd name="connsiteX624" fmla="*/ 3119983 w 6630249"/>
              <a:gd name="connsiteY624" fmla="*/ 5287742 h 6750795"/>
              <a:gd name="connsiteX625" fmla="*/ 3125923 w 6630249"/>
              <a:gd name="connsiteY625" fmla="*/ 5272255 h 6750795"/>
              <a:gd name="connsiteX626" fmla="*/ 4668106 w 6630249"/>
              <a:gd name="connsiteY626" fmla="*/ 5252896 h 6750795"/>
              <a:gd name="connsiteX627" fmla="*/ 4675801 w 6630249"/>
              <a:gd name="connsiteY627" fmla="*/ 5304195 h 6750795"/>
              <a:gd name="connsiteX628" fmla="*/ 4668106 w 6630249"/>
              <a:gd name="connsiteY628" fmla="*/ 5252896 h 6750795"/>
              <a:gd name="connsiteX629" fmla="*/ 4226945 w 6630249"/>
              <a:gd name="connsiteY629" fmla="*/ 5252896 h 6750795"/>
              <a:gd name="connsiteX630" fmla="*/ 4230912 w 6630249"/>
              <a:gd name="connsiteY630" fmla="*/ 5266501 h 6750795"/>
              <a:gd name="connsiteX631" fmla="*/ 4231659 w 6630249"/>
              <a:gd name="connsiteY631" fmla="*/ 5254468 h 6750795"/>
              <a:gd name="connsiteX632" fmla="*/ 4230792 w 6630249"/>
              <a:gd name="connsiteY632" fmla="*/ 5254179 h 6750795"/>
              <a:gd name="connsiteX633" fmla="*/ 4226945 w 6630249"/>
              <a:gd name="connsiteY633" fmla="*/ 5252896 h 6750795"/>
              <a:gd name="connsiteX634" fmla="*/ 4462915 w 6630249"/>
              <a:gd name="connsiteY634" fmla="*/ 5222118 h 6750795"/>
              <a:gd name="connsiteX635" fmla="*/ 4488564 w 6630249"/>
              <a:gd name="connsiteY635" fmla="*/ 5332409 h 6750795"/>
              <a:gd name="connsiteX636" fmla="*/ 4483848 w 6630249"/>
              <a:gd name="connsiteY636" fmla="*/ 5333981 h 6750795"/>
              <a:gd name="connsiteX637" fmla="*/ 4486000 w 6630249"/>
              <a:gd name="connsiteY637" fmla="*/ 5355493 h 6750795"/>
              <a:gd name="connsiteX638" fmla="*/ 4478446 w 6630249"/>
              <a:gd name="connsiteY638" fmla="*/ 5349827 h 6750795"/>
              <a:gd name="connsiteX639" fmla="*/ 4478305 w 6630249"/>
              <a:gd name="connsiteY639" fmla="*/ 5352928 h 6750795"/>
              <a:gd name="connsiteX640" fmla="*/ 4447526 w 6630249"/>
              <a:gd name="connsiteY640" fmla="*/ 5324715 h 6750795"/>
              <a:gd name="connsiteX641" fmla="*/ 4460350 w 6630249"/>
              <a:gd name="connsiteY641" fmla="*/ 5293936 h 6750795"/>
              <a:gd name="connsiteX642" fmla="*/ 4447526 w 6630249"/>
              <a:gd name="connsiteY642" fmla="*/ 5301630 h 6750795"/>
              <a:gd name="connsiteX643" fmla="*/ 4442396 w 6630249"/>
              <a:gd name="connsiteY643" fmla="*/ 5291371 h 6750795"/>
              <a:gd name="connsiteX644" fmla="*/ 4473175 w 6630249"/>
              <a:gd name="connsiteY644" fmla="*/ 5273417 h 6750795"/>
              <a:gd name="connsiteX645" fmla="*/ 4429571 w 6630249"/>
              <a:gd name="connsiteY645" fmla="*/ 5278546 h 6750795"/>
              <a:gd name="connsiteX646" fmla="*/ 4437266 w 6630249"/>
              <a:gd name="connsiteY646" fmla="*/ 5237507 h 6750795"/>
              <a:gd name="connsiteX647" fmla="*/ 4462915 w 6630249"/>
              <a:gd name="connsiteY647" fmla="*/ 5222118 h 6750795"/>
              <a:gd name="connsiteX648" fmla="*/ 2214364 w 6630249"/>
              <a:gd name="connsiteY648" fmla="*/ 5202591 h 6750795"/>
              <a:gd name="connsiteX649" fmla="*/ 2203244 w 6630249"/>
              <a:gd name="connsiteY649" fmla="*/ 5211857 h 6750795"/>
              <a:gd name="connsiteX650" fmla="*/ 2200680 w 6630249"/>
              <a:gd name="connsiteY650" fmla="*/ 5206728 h 6750795"/>
              <a:gd name="connsiteX651" fmla="*/ 3252284 w 6630249"/>
              <a:gd name="connsiteY651" fmla="*/ 5193905 h 6750795"/>
              <a:gd name="connsiteX652" fmla="*/ 3239460 w 6630249"/>
              <a:gd name="connsiteY652" fmla="*/ 5204165 h 6750795"/>
              <a:gd name="connsiteX653" fmla="*/ 3244589 w 6630249"/>
              <a:gd name="connsiteY653" fmla="*/ 5211859 h 6750795"/>
              <a:gd name="connsiteX654" fmla="*/ 3293322 w 6630249"/>
              <a:gd name="connsiteY654" fmla="*/ 5263157 h 6750795"/>
              <a:gd name="connsiteX655" fmla="*/ 3419002 w 6630249"/>
              <a:gd name="connsiteY655" fmla="*/ 5358058 h 6750795"/>
              <a:gd name="connsiteX656" fmla="*/ 3444651 w 6630249"/>
              <a:gd name="connsiteY656" fmla="*/ 5360623 h 6750795"/>
              <a:gd name="connsiteX657" fmla="*/ 3539552 w 6630249"/>
              <a:gd name="connsiteY657" fmla="*/ 5329844 h 6750795"/>
              <a:gd name="connsiteX658" fmla="*/ 3547247 w 6630249"/>
              <a:gd name="connsiteY658" fmla="*/ 5327279 h 6750795"/>
              <a:gd name="connsiteX659" fmla="*/ 3544682 w 6630249"/>
              <a:gd name="connsiteY659" fmla="*/ 5314455 h 6750795"/>
              <a:gd name="connsiteX660" fmla="*/ 3493384 w 6630249"/>
              <a:gd name="connsiteY660" fmla="*/ 5324715 h 6750795"/>
              <a:gd name="connsiteX661" fmla="*/ 3431827 w 6630249"/>
              <a:gd name="connsiteY661" fmla="*/ 5332409 h 6750795"/>
              <a:gd name="connsiteX662" fmla="*/ 3367063 w 6630249"/>
              <a:gd name="connsiteY662" fmla="*/ 5304516 h 6750795"/>
              <a:gd name="connsiteX663" fmla="*/ 3357723 w 6630249"/>
              <a:gd name="connsiteY663" fmla="*/ 5294453 h 6750795"/>
              <a:gd name="connsiteX664" fmla="*/ 3362576 w 6630249"/>
              <a:gd name="connsiteY664" fmla="*/ 5299066 h 6750795"/>
              <a:gd name="connsiteX665" fmla="*/ 3429262 w 6630249"/>
              <a:gd name="connsiteY665" fmla="*/ 5319585 h 6750795"/>
              <a:gd name="connsiteX666" fmla="*/ 3460041 w 6630249"/>
              <a:gd name="connsiteY666" fmla="*/ 5314455 h 6750795"/>
              <a:gd name="connsiteX667" fmla="*/ 3457475 w 6630249"/>
              <a:gd name="connsiteY667" fmla="*/ 5301630 h 6750795"/>
              <a:gd name="connsiteX668" fmla="*/ 3352315 w 6630249"/>
              <a:gd name="connsiteY668" fmla="*/ 5260592 h 6750795"/>
              <a:gd name="connsiteX669" fmla="*/ 3360009 w 6630249"/>
              <a:gd name="connsiteY669" fmla="*/ 5242638 h 6750795"/>
              <a:gd name="connsiteX670" fmla="*/ 3347185 w 6630249"/>
              <a:gd name="connsiteY670" fmla="*/ 5245203 h 6750795"/>
              <a:gd name="connsiteX671" fmla="*/ 3349750 w 6630249"/>
              <a:gd name="connsiteY671" fmla="*/ 5258027 h 6750795"/>
              <a:gd name="connsiteX672" fmla="*/ 3347185 w 6630249"/>
              <a:gd name="connsiteY672" fmla="*/ 5255463 h 6750795"/>
              <a:gd name="connsiteX673" fmla="*/ 3336926 w 6630249"/>
              <a:gd name="connsiteY673" fmla="*/ 5245203 h 6750795"/>
              <a:gd name="connsiteX674" fmla="*/ 3336926 w 6630249"/>
              <a:gd name="connsiteY674" fmla="*/ 5258027 h 6750795"/>
              <a:gd name="connsiteX675" fmla="*/ 3342303 w 6630249"/>
              <a:gd name="connsiteY675" fmla="*/ 5277838 h 6750795"/>
              <a:gd name="connsiteX676" fmla="*/ 3321536 w 6630249"/>
              <a:gd name="connsiteY676" fmla="*/ 5255463 h 6750795"/>
              <a:gd name="connsiteX677" fmla="*/ 3257414 w 6630249"/>
              <a:gd name="connsiteY677" fmla="*/ 5193905 h 6750795"/>
              <a:gd name="connsiteX678" fmla="*/ 2231886 w 6630249"/>
              <a:gd name="connsiteY678" fmla="*/ 5188900 h 6750795"/>
              <a:gd name="connsiteX679" fmla="*/ 2228453 w 6630249"/>
              <a:gd name="connsiteY679" fmla="*/ 5191940 h 6750795"/>
              <a:gd name="connsiteX680" fmla="*/ 2214466 w 6630249"/>
              <a:gd name="connsiteY680" fmla="*/ 5202560 h 6750795"/>
              <a:gd name="connsiteX681" fmla="*/ 2214364 w 6630249"/>
              <a:gd name="connsiteY681" fmla="*/ 5202591 h 6750795"/>
              <a:gd name="connsiteX682" fmla="*/ 2218633 w 6630249"/>
              <a:gd name="connsiteY682" fmla="*/ 5199033 h 6750795"/>
              <a:gd name="connsiteX683" fmla="*/ 4462915 w 6630249"/>
              <a:gd name="connsiteY683" fmla="*/ 5183645 h 6750795"/>
              <a:gd name="connsiteX684" fmla="*/ 4465480 w 6630249"/>
              <a:gd name="connsiteY684" fmla="*/ 5206729 h 6750795"/>
              <a:gd name="connsiteX685" fmla="*/ 4462915 w 6630249"/>
              <a:gd name="connsiteY685" fmla="*/ 5183645 h 6750795"/>
              <a:gd name="connsiteX686" fmla="*/ 2205820 w 6630249"/>
              <a:gd name="connsiteY686" fmla="*/ 5145570 h 6750795"/>
              <a:gd name="connsiteX687" fmla="*/ 2167335 w 6630249"/>
              <a:gd name="connsiteY687" fmla="*/ 5178516 h 6750795"/>
              <a:gd name="connsiteX688" fmla="*/ 2164769 w 6630249"/>
              <a:gd name="connsiteY688" fmla="*/ 5173386 h 6750795"/>
              <a:gd name="connsiteX689" fmla="*/ 4427007 w 6630249"/>
              <a:gd name="connsiteY689" fmla="*/ 5145171 h 6750795"/>
              <a:gd name="connsiteX690" fmla="*/ 4460351 w 6630249"/>
              <a:gd name="connsiteY690" fmla="*/ 5209294 h 6750795"/>
              <a:gd name="connsiteX691" fmla="*/ 4429572 w 6630249"/>
              <a:gd name="connsiteY691" fmla="*/ 5219553 h 6750795"/>
              <a:gd name="connsiteX692" fmla="*/ 4427007 w 6630249"/>
              <a:gd name="connsiteY692" fmla="*/ 5145171 h 6750795"/>
              <a:gd name="connsiteX693" fmla="*/ 4688626 w 6630249"/>
              <a:gd name="connsiteY693" fmla="*/ 5134912 h 6750795"/>
              <a:gd name="connsiteX694" fmla="*/ 4691191 w 6630249"/>
              <a:gd name="connsiteY694" fmla="*/ 5142606 h 6750795"/>
              <a:gd name="connsiteX695" fmla="*/ 4688626 w 6630249"/>
              <a:gd name="connsiteY695" fmla="*/ 5134912 h 6750795"/>
              <a:gd name="connsiteX696" fmla="*/ 1654357 w 6630249"/>
              <a:gd name="connsiteY696" fmla="*/ 5119523 h 6750795"/>
              <a:gd name="connsiteX697" fmla="*/ 1664616 w 6630249"/>
              <a:gd name="connsiteY697" fmla="*/ 5119523 h 6750795"/>
              <a:gd name="connsiteX698" fmla="*/ 1667181 w 6630249"/>
              <a:gd name="connsiteY698" fmla="*/ 5132347 h 6750795"/>
              <a:gd name="connsiteX699" fmla="*/ 1656922 w 6630249"/>
              <a:gd name="connsiteY699" fmla="*/ 5134912 h 6750795"/>
              <a:gd name="connsiteX700" fmla="*/ 1654357 w 6630249"/>
              <a:gd name="connsiteY700" fmla="*/ 5119523 h 6750795"/>
              <a:gd name="connsiteX701" fmla="*/ 2953772 w 6630249"/>
              <a:gd name="connsiteY701" fmla="*/ 5119068 h 6750795"/>
              <a:gd name="connsiteX702" fmla="*/ 2935520 w 6630249"/>
              <a:gd name="connsiteY702" fmla="*/ 5132027 h 6750795"/>
              <a:gd name="connsiteX703" fmla="*/ 2895764 w 6630249"/>
              <a:gd name="connsiteY703" fmla="*/ 5145172 h 6750795"/>
              <a:gd name="connsiteX704" fmla="*/ 2895051 w 6630249"/>
              <a:gd name="connsiteY704" fmla="*/ 5143389 h 6750795"/>
              <a:gd name="connsiteX705" fmla="*/ 4442396 w 6630249"/>
              <a:gd name="connsiteY705" fmla="*/ 5111828 h 6750795"/>
              <a:gd name="connsiteX706" fmla="*/ 4444961 w 6630249"/>
              <a:gd name="connsiteY706" fmla="*/ 5137477 h 6750795"/>
              <a:gd name="connsiteX707" fmla="*/ 4442396 w 6630249"/>
              <a:gd name="connsiteY707" fmla="*/ 5111828 h 6750795"/>
              <a:gd name="connsiteX708" fmla="*/ 4651117 w 6630249"/>
              <a:gd name="connsiteY708" fmla="*/ 5110086 h 6750795"/>
              <a:gd name="connsiteX709" fmla="*/ 4653136 w 6630249"/>
              <a:gd name="connsiteY709" fmla="*/ 5119845 h 6750795"/>
              <a:gd name="connsiteX710" fmla="*/ 4652717 w 6630249"/>
              <a:gd name="connsiteY710" fmla="*/ 5114393 h 6750795"/>
              <a:gd name="connsiteX711" fmla="*/ 1751823 w 6630249"/>
              <a:gd name="connsiteY711" fmla="*/ 5093874 h 6750795"/>
              <a:gd name="connsiteX712" fmla="*/ 1762082 w 6630249"/>
              <a:gd name="connsiteY712" fmla="*/ 5122087 h 6750795"/>
              <a:gd name="connsiteX713" fmla="*/ 1759517 w 6630249"/>
              <a:gd name="connsiteY713" fmla="*/ 5122087 h 6750795"/>
              <a:gd name="connsiteX714" fmla="*/ 1751823 w 6630249"/>
              <a:gd name="connsiteY714" fmla="*/ 5093874 h 6750795"/>
              <a:gd name="connsiteX715" fmla="*/ 3019928 w 6630249"/>
              <a:gd name="connsiteY715" fmla="*/ 5090621 h 6750795"/>
              <a:gd name="connsiteX716" fmla="*/ 3009181 w 6630249"/>
              <a:gd name="connsiteY716" fmla="*/ 5096118 h 6750795"/>
              <a:gd name="connsiteX717" fmla="*/ 2953772 w 6630249"/>
              <a:gd name="connsiteY717" fmla="*/ 5119068 h 6750795"/>
              <a:gd name="connsiteX718" fmla="*/ 2967581 w 6630249"/>
              <a:gd name="connsiteY718" fmla="*/ 5109263 h 6750795"/>
              <a:gd name="connsiteX719" fmla="*/ 2282526 w 6630249"/>
              <a:gd name="connsiteY719" fmla="*/ 5079907 h 6750795"/>
              <a:gd name="connsiteX720" fmla="*/ 2278907 w 6630249"/>
              <a:gd name="connsiteY720" fmla="*/ 5084256 h 6750795"/>
              <a:gd name="connsiteX721" fmla="*/ 2225927 w 6630249"/>
              <a:gd name="connsiteY721" fmla="*/ 5131947 h 6750795"/>
              <a:gd name="connsiteX722" fmla="*/ 2205820 w 6630249"/>
              <a:gd name="connsiteY722" fmla="*/ 5145570 h 6750795"/>
              <a:gd name="connsiteX723" fmla="*/ 2447871 w 6630249"/>
              <a:gd name="connsiteY723" fmla="*/ 5044996 h 6750795"/>
              <a:gd name="connsiteX724" fmla="*/ 2438357 w 6630249"/>
              <a:gd name="connsiteY724" fmla="*/ 5062084 h 6750795"/>
              <a:gd name="connsiteX725" fmla="*/ 2401060 w 6630249"/>
              <a:gd name="connsiteY725" fmla="*/ 5110546 h 6750795"/>
              <a:gd name="connsiteX726" fmla="*/ 2395045 w 6630249"/>
              <a:gd name="connsiteY726" fmla="*/ 5115894 h 6750795"/>
              <a:gd name="connsiteX727" fmla="*/ 2314772 w 6630249"/>
              <a:gd name="connsiteY727" fmla="*/ 5041154 h 6750795"/>
              <a:gd name="connsiteX728" fmla="*/ 2292053 w 6630249"/>
              <a:gd name="connsiteY728" fmla="*/ 5071752 h 6750795"/>
              <a:gd name="connsiteX729" fmla="*/ 2282526 w 6630249"/>
              <a:gd name="connsiteY729" fmla="*/ 5079907 h 6750795"/>
              <a:gd name="connsiteX730" fmla="*/ 4442396 w 6630249"/>
              <a:gd name="connsiteY730" fmla="*/ 5032316 h 6750795"/>
              <a:gd name="connsiteX731" fmla="*/ 4442396 w 6630249"/>
              <a:gd name="connsiteY731" fmla="*/ 5101569 h 6750795"/>
              <a:gd name="connsiteX732" fmla="*/ 4429572 w 6630249"/>
              <a:gd name="connsiteY732" fmla="*/ 5111829 h 6750795"/>
              <a:gd name="connsiteX733" fmla="*/ 4442396 w 6630249"/>
              <a:gd name="connsiteY733" fmla="*/ 5032316 h 6750795"/>
              <a:gd name="connsiteX734" fmla="*/ 4427006 w 6630249"/>
              <a:gd name="connsiteY734" fmla="*/ 5029751 h 6750795"/>
              <a:gd name="connsiteX735" fmla="*/ 4409052 w 6630249"/>
              <a:gd name="connsiteY735" fmla="*/ 5101569 h 6750795"/>
              <a:gd name="connsiteX736" fmla="*/ 4406487 w 6630249"/>
              <a:gd name="connsiteY736" fmla="*/ 5086179 h 6750795"/>
              <a:gd name="connsiteX737" fmla="*/ 4396227 w 6630249"/>
              <a:gd name="connsiteY737" fmla="*/ 5093874 h 6750795"/>
              <a:gd name="connsiteX738" fmla="*/ 4393662 w 6630249"/>
              <a:gd name="connsiteY738" fmla="*/ 5078485 h 6750795"/>
              <a:gd name="connsiteX739" fmla="*/ 4385968 w 6630249"/>
              <a:gd name="connsiteY739" fmla="*/ 5081050 h 6750795"/>
              <a:gd name="connsiteX740" fmla="*/ 4393662 w 6630249"/>
              <a:gd name="connsiteY740" fmla="*/ 5034880 h 6750795"/>
              <a:gd name="connsiteX741" fmla="*/ 4427006 w 6630249"/>
              <a:gd name="connsiteY741" fmla="*/ 5029751 h 6750795"/>
              <a:gd name="connsiteX742" fmla="*/ 2329211 w 6630249"/>
              <a:gd name="connsiteY742" fmla="*/ 5021708 h 6750795"/>
              <a:gd name="connsiteX743" fmla="*/ 2324194 w 6630249"/>
              <a:gd name="connsiteY743" fmla="*/ 5029832 h 6750795"/>
              <a:gd name="connsiteX744" fmla="*/ 2314772 w 6630249"/>
              <a:gd name="connsiteY744" fmla="*/ 5041154 h 6750795"/>
              <a:gd name="connsiteX745" fmla="*/ 1900587 w 6630249"/>
              <a:gd name="connsiteY745" fmla="*/ 4998972 h 6750795"/>
              <a:gd name="connsiteX746" fmla="*/ 1915976 w 6630249"/>
              <a:gd name="connsiteY746" fmla="*/ 5081049 h 6750795"/>
              <a:gd name="connsiteX747" fmla="*/ 1910846 w 6630249"/>
              <a:gd name="connsiteY747" fmla="*/ 5088744 h 6750795"/>
              <a:gd name="connsiteX748" fmla="*/ 1908281 w 6630249"/>
              <a:gd name="connsiteY748" fmla="*/ 5086179 h 6750795"/>
              <a:gd name="connsiteX749" fmla="*/ 1900587 w 6630249"/>
              <a:gd name="connsiteY749" fmla="*/ 4998972 h 6750795"/>
              <a:gd name="connsiteX750" fmla="*/ 4342365 w 6630249"/>
              <a:gd name="connsiteY750" fmla="*/ 4983584 h 6750795"/>
              <a:gd name="connsiteX751" fmla="*/ 4339801 w 6630249"/>
              <a:gd name="connsiteY751" fmla="*/ 4991278 h 6750795"/>
              <a:gd name="connsiteX752" fmla="*/ 4342365 w 6630249"/>
              <a:gd name="connsiteY752" fmla="*/ 4983584 h 6750795"/>
              <a:gd name="connsiteX753" fmla="*/ 2428954 w 6630249"/>
              <a:gd name="connsiteY753" fmla="*/ 4973323 h 6750795"/>
              <a:gd name="connsiteX754" fmla="*/ 2278908 w 6630249"/>
              <a:gd name="connsiteY754" fmla="*/ 5152946 h 6750795"/>
              <a:gd name="connsiteX755" fmla="*/ 2231886 w 6630249"/>
              <a:gd name="connsiteY755" fmla="*/ 5188900 h 6750795"/>
              <a:gd name="connsiteX756" fmla="*/ 2249412 w 6630249"/>
              <a:gd name="connsiteY756" fmla="*/ 5173384 h 6750795"/>
              <a:gd name="connsiteX757" fmla="*/ 2251977 w 6630249"/>
              <a:gd name="connsiteY757" fmla="*/ 5170819 h 6750795"/>
              <a:gd name="connsiteX758" fmla="*/ 2428954 w 6630249"/>
              <a:gd name="connsiteY758" fmla="*/ 4973323 h 6750795"/>
              <a:gd name="connsiteX759" fmla="*/ 2057046 w 6630249"/>
              <a:gd name="connsiteY759" fmla="*/ 4950239 h 6750795"/>
              <a:gd name="connsiteX760" fmla="*/ 2013443 w 6630249"/>
              <a:gd name="connsiteY760" fmla="*/ 5006667 h 6750795"/>
              <a:gd name="connsiteX761" fmla="*/ 2010878 w 6630249"/>
              <a:gd name="connsiteY761" fmla="*/ 4988713 h 6750795"/>
              <a:gd name="connsiteX762" fmla="*/ 2057046 w 6630249"/>
              <a:gd name="connsiteY762" fmla="*/ 4950239 h 6750795"/>
              <a:gd name="connsiteX763" fmla="*/ 2613627 w 6630249"/>
              <a:gd name="connsiteY763" fmla="*/ 4924591 h 6750795"/>
              <a:gd name="connsiteX764" fmla="*/ 2457167 w 6630249"/>
              <a:gd name="connsiteY764" fmla="*/ 5088745 h 6750795"/>
              <a:gd name="connsiteX765" fmla="*/ 2277625 w 6630249"/>
              <a:gd name="connsiteY765" fmla="*/ 5263157 h 6750795"/>
              <a:gd name="connsiteX766" fmla="*/ 2280190 w 6630249"/>
              <a:gd name="connsiteY766" fmla="*/ 5275982 h 6750795"/>
              <a:gd name="connsiteX767" fmla="*/ 2503335 w 6630249"/>
              <a:gd name="connsiteY767" fmla="*/ 5081050 h 6750795"/>
              <a:gd name="connsiteX768" fmla="*/ 2621320 w 6630249"/>
              <a:gd name="connsiteY768" fmla="*/ 4934851 h 6750795"/>
              <a:gd name="connsiteX769" fmla="*/ 2478030 w 6630249"/>
              <a:gd name="connsiteY769" fmla="*/ 4923250 h 6750795"/>
              <a:gd name="connsiteX770" fmla="*/ 2465824 w 6630249"/>
              <a:gd name="connsiteY770" fmla="*/ 4964988 h 6750795"/>
              <a:gd name="connsiteX771" fmla="*/ 2418694 w 6630249"/>
              <a:gd name="connsiteY771" fmla="*/ 5047706 h 6750795"/>
              <a:gd name="connsiteX772" fmla="*/ 2464863 w 6630249"/>
              <a:gd name="connsiteY772" fmla="*/ 4945110 h 6750795"/>
              <a:gd name="connsiteX773" fmla="*/ 2474801 w 6630249"/>
              <a:gd name="connsiteY773" fmla="*/ 4932606 h 6750795"/>
              <a:gd name="connsiteX774" fmla="*/ 2484382 w 6630249"/>
              <a:gd name="connsiteY774" fmla="*/ 4901533 h 6750795"/>
              <a:gd name="connsiteX775" fmla="*/ 2481814 w 6630249"/>
              <a:gd name="connsiteY775" fmla="*/ 4912287 h 6750795"/>
              <a:gd name="connsiteX776" fmla="*/ 2478030 w 6630249"/>
              <a:gd name="connsiteY776" fmla="*/ 4923250 h 6750795"/>
              <a:gd name="connsiteX777" fmla="*/ 1985229 w 6630249"/>
              <a:gd name="connsiteY777" fmla="*/ 4886117 h 6750795"/>
              <a:gd name="connsiteX778" fmla="*/ 1985229 w 6630249"/>
              <a:gd name="connsiteY778" fmla="*/ 4893812 h 6750795"/>
              <a:gd name="connsiteX779" fmla="*/ 1941626 w 6630249"/>
              <a:gd name="connsiteY779" fmla="*/ 4947675 h 6750795"/>
              <a:gd name="connsiteX780" fmla="*/ 1969839 w 6630249"/>
              <a:gd name="connsiteY780" fmla="*/ 4901507 h 6750795"/>
              <a:gd name="connsiteX781" fmla="*/ 1985229 w 6630249"/>
              <a:gd name="connsiteY781" fmla="*/ 4886117 h 6750795"/>
              <a:gd name="connsiteX782" fmla="*/ 1692832 w 6630249"/>
              <a:gd name="connsiteY782" fmla="*/ 4868163 h 6750795"/>
              <a:gd name="connsiteX783" fmla="*/ 1692832 w 6630249"/>
              <a:gd name="connsiteY783" fmla="*/ 4880987 h 6750795"/>
              <a:gd name="connsiteX784" fmla="*/ 1713350 w 6630249"/>
              <a:gd name="connsiteY784" fmla="*/ 4968193 h 6750795"/>
              <a:gd name="connsiteX785" fmla="*/ 1718480 w 6630249"/>
              <a:gd name="connsiteY785" fmla="*/ 5106698 h 6750795"/>
              <a:gd name="connsiteX786" fmla="*/ 1692832 w 6630249"/>
              <a:gd name="connsiteY786" fmla="*/ 5088744 h 6750795"/>
              <a:gd name="connsiteX787" fmla="*/ 1682571 w 6630249"/>
              <a:gd name="connsiteY787" fmla="*/ 4911766 h 6750795"/>
              <a:gd name="connsiteX788" fmla="*/ 1692832 w 6630249"/>
              <a:gd name="connsiteY788" fmla="*/ 4868163 h 6750795"/>
              <a:gd name="connsiteX789" fmla="*/ 1862114 w 6630249"/>
              <a:gd name="connsiteY789" fmla="*/ 4857903 h 6750795"/>
              <a:gd name="connsiteX790" fmla="*/ 1864678 w 6630249"/>
              <a:gd name="connsiteY790" fmla="*/ 4860467 h 6750795"/>
              <a:gd name="connsiteX791" fmla="*/ 1872373 w 6630249"/>
              <a:gd name="connsiteY791" fmla="*/ 5086178 h 6750795"/>
              <a:gd name="connsiteX792" fmla="*/ 1862114 w 6630249"/>
              <a:gd name="connsiteY792" fmla="*/ 5088743 h 6750795"/>
              <a:gd name="connsiteX793" fmla="*/ 1862114 w 6630249"/>
              <a:gd name="connsiteY793" fmla="*/ 4857903 h 6750795"/>
              <a:gd name="connsiteX794" fmla="*/ 5525101 w 6630249"/>
              <a:gd name="connsiteY794" fmla="*/ 4816224 h 6750795"/>
              <a:gd name="connsiteX795" fmla="*/ 5529910 w 6630249"/>
              <a:gd name="connsiteY795" fmla="*/ 4816865 h 6750795"/>
              <a:gd name="connsiteX796" fmla="*/ 5522216 w 6630249"/>
              <a:gd name="connsiteY796" fmla="*/ 4819430 h 6750795"/>
              <a:gd name="connsiteX797" fmla="*/ 5525101 w 6630249"/>
              <a:gd name="connsiteY797" fmla="*/ 4816224 h 6750795"/>
              <a:gd name="connsiteX798" fmla="*/ 5507147 w 6630249"/>
              <a:gd name="connsiteY798" fmla="*/ 4813660 h 6750795"/>
              <a:gd name="connsiteX799" fmla="*/ 5511956 w 6630249"/>
              <a:gd name="connsiteY799" fmla="*/ 4814301 h 6750795"/>
              <a:gd name="connsiteX800" fmla="*/ 5504262 w 6630249"/>
              <a:gd name="connsiteY800" fmla="*/ 4816866 h 6750795"/>
              <a:gd name="connsiteX801" fmla="*/ 5507147 w 6630249"/>
              <a:gd name="connsiteY801" fmla="*/ 4813660 h 6750795"/>
              <a:gd name="connsiteX802" fmla="*/ 5706888 w 6630249"/>
              <a:gd name="connsiteY802" fmla="*/ 4811736 h 6750795"/>
              <a:gd name="connsiteX803" fmla="*/ 5719713 w 6630249"/>
              <a:gd name="connsiteY803" fmla="*/ 4814300 h 6750795"/>
              <a:gd name="connsiteX804" fmla="*/ 5704324 w 6630249"/>
              <a:gd name="connsiteY804" fmla="*/ 4819430 h 6750795"/>
              <a:gd name="connsiteX805" fmla="*/ 5706888 w 6630249"/>
              <a:gd name="connsiteY805" fmla="*/ 4811736 h 6750795"/>
              <a:gd name="connsiteX806" fmla="*/ 5629941 w 6630249"/>
              <a:gd name="connsiteY806" fmla="*/ 4811736 h 6750795"/>
              <a:gd name="connsiteX807" fmla="*/ 5642765 w 6630249"/>
              <a:gd name="connsiteY807" fmla="*/ 4816865 h 6750795"/>
              <a:gd name="connsiteX808" fmla="*/ 5632506 w 6630249"/>
              <a:gd name="connsiteY808" fmla="*/ 4816865 h 6750795"/>
              <a:gd name="connsiteX809" fmla="*/ 5629941 w 6630249"/>
              <a:gd name="connsiteY809" fmla="*/ 4811736 h 6750795"/>
              <a:gd name="connsiteX810" fmla="*/ 4637326 w 6630249"/>
              <a:gd name="connsiteY810" fmla="*/ 4801475 h 6750795"/>
              <a:gd name="connsiteX811" fmla="*/ 4637326 w 6630249"/>
              <a:gd name="connsiteY811" fmla="*/ 4809170 h 6750795"/>
              <a:gd name="connsiteX812" fmla="*/ 4638243 w 6630249"/>
              <a:gd name="connsiteY812" fmla="*/ 4811309 h 6750795"/>
              <a:gd name="connsiteX813" fmla="*/ 4638289 w 6630249"/>
              <a:gd name="connsiteY813" fmla="*/ 4810773 h 6750795"/>
              <a:gd name="connsiteX814" fmla="*/ 4637327 w 6630249"/>
              <a:gd name="connsiteY814" fmla="*/ 4801476 h 6750795"/>
              <a:gd name="connsiteX815" fmla="*/ 1828771 w 6630249"/>
              <a:gd name="connsiteY815" fmla="*/ 4801475 h 6750795"/>
              <a:gd name="connsiteX816" fmla="*/ 1826205 w 6630249"/>
              <a:gd name="connsiteY816" fmla="*/ 4839948 h 6750795"/>
              <a:gd name="connsiteX817" fmla="*/ 1821075 w 6630249"/>
              <a:gd name="connsiteY817" fmla="*/ 4857903 h 6750795"/>
              <a:gd name="connsiteX818" fmla="*/ 1833900 w 6630249"/>
              <a:gd name="connsiteY818" fmla="*/ 5096437 h 6750795"/>
              <a:gd name="connsiteX819" fmla="*/ 1826205 w 6630249"/>
              <a:gd name="connsiteY819" fmla="*/ 5114392 h 6750795"/>
              <a:gd name="connsiteX820" fmla="*/ 1823640 w 6630249"/>
              <a:gd name="connsiteY820" fmla="*/ 5114392 h 6750795"/>
              <a:gd name="connsiteX821" fmla="*/ 1828771 w 6630249"/>
              <a:gd name="connsiteY821" fmla="*/ 4801475 h 6750795"/>
              <a:gd name="connsiteX822" fmla="*/ 5588903 w 6630249"/>
              <a:gd name="connsiteY822" fmla="*/ 4798911 h 6750795"/>
              <a:gd name="connsiteX823" fmla="*/ 5596597 w 6630249"/>
              <a:gd name="connsiteY823" fmla="*/ 4806606 h 6750795"/>
              <a:gd name="connsiteX824" fmla="*/ 5591467 w 6630249"/>
              <a:gd name="connsiteY824" fmla="*/ 4804041 h 6750795"/>
              <a:gd name="connsiteX825" fmla="*/ 5588903 w 6630249"/>
              <a:gd name="connsiteY825" fmla="*/ 4798911 h 6750795"/>
              <a:gd name="connsiteX826" fmla="*/ 3478923 w 6630249"/>
              <a:gd name="connsiteY826" fmla="*/ 4798380 h 6750795"/>
              <a:gd name="connsiteX827" fmla="*/ 3442407 w 6630249"/>
              <a:gd name="connsiteY827" fmla="*/ 4837305 h 6750795"/>
              <a:gd name="connsiteX828" fmla="*/ 3380529 w 6630249"/>
              <a:gd name="connsiteY828" fmla="*/ 4888683 h 6750795"/>
              <a:gd name="connsiteX829" fmla="*/ 3277934 w 6630249"/>
              <a:gd name="connsiteY829" fmla="*/ 4952805 h 6750795"/>
              <a:gd name="connsiteX830" fmla="*/ 3051421 w 6630249"/>
              <a:gd name="connsiteY830" fmla="*/ 5079406 h 6750795"/>
              <a:gd name="connsiteX831" fmla="*/ 3019928 w 6630249"/>
              <a:gd name="connsiteY831" fmla="*/ 5090621 h 6750795"/>
              <a:gd name="connsiteX832" fmla="*/ 3201628 w 6630249"/>
              <a:gd name="connsiteY832" fmla="*/ 4997690 h 6750795"/>
              <a:gd name="connsiteX833" fmla="*/ 3366182 w 6630249"/>
              <a:gd name="connsiteY833" fmla="*/ 4891568 h 6750795"/>
              <a:gd name="connsiteX834" fmla="*/ 5602047 w 6630249"/>
              <a:gd name="connsiteY834" fmla="*/ 4793140 h 6750795"/>
              <a:gd name="connsiteX835" fmla="*/ 5609422 w 6630249"/>
              <a:gd name="connsiteY835" fmla="*/ 4796346 h 6750795"/>
              <a:gd name="connsiteX836" fmla="*/ 5596598 w 6630249"/>
              <a:gd name="connsiteY836" fmla="*/ 4793781 h 6750795"/>
              <a:gd name="connsiteX837" fmla="*/ 5602047 w 6630249"/>
              <a:gd name="connsiteY837" fmla="*/ 4793140 h 6750795"/>
              <a:gd name="connsiteX838" fmla="*/ 2103213 w 6630249"/>
              <a:gd name="connsiteY838" fmla="*/ 4791216 h 6750795"/>
              <a:gd name="connsiteX839" fmla="*/ 2095518 w 6630249"/>
              <a:gd name="connsiteY839" fmla="*/ 4804040 h 6750795"/>
              <a:gd name="connsiteX840" fmla="*/ 2074999 w 6630249"/>
              <a:gd name="connsiteY840" fmla="*/ 4852774 h 6750795"/>
              <a:gd name="connsiteX841" fmla="*/ 2016006 w 6630249"/>
              <a:gd name="connsiteY841" fmla="*/ 4922026 h 6750795"/>
              <a:gd name="connsiteX842" fmla="*/ 2018571 w 6630249"/>
              <a:gd name="connsiteY842" fmla="*/ 4904072 h 6750795"/>
              <a:gd name="connsiteX843" fmla="*/ 2103213 w 6630249"/>
              <a:gd name="connsiteY843" fmla="*/ 4791216 h 6750795"/>
              <a:gd name="connsiteX844" fmla="*/ 1926236 w 6630249"/>
              <a:gd name="connsiteY844" fmla="*/ 4791216 h 6750795"/>
              <a:gd name="connsiteX845" fmla="*/ 1895457 w 6630249"/>
              <a:gd name="connsiteY845" fmla="*/ 4832255 h 6750795"/>
              <a:gd name="connsiteX846" fmla="*/ 1926236 w 6630249"/>
              <a:gd name="connsiteY846" fmla="*/ 4791216 h 6750795"/>
              <a:gd name="connsiteX847" fmla="*/ 1744129 w 6630249"/>
              <a:gd name="connsiteY847" fmla="*/ 4757872 h 6750795"/>
              <a:gd name="connsiteX848" fmla="*/ 1728739 w 6630249"/>
              <a:gd name="connsiteY848" fmla="*/ 4896377 h 6750795"/>
              <a:gd name="connsiteX849" fmla="*/ 1744129 w 6630249"/>
              <a:gd name="connsiteY849" fmla="*/ 4757872 h 6750795"/>
              <a:gd name="connsiteX850" fmla="*/ 5373452 w 6630249"/>
              <a:gd name="connsiteY850" fmla="*/ 4755307 h 6750795"/>
              <a:gd name="connsiteX851" fmla="*/ 5404231 w 6630249"/>
              <a:gd name="connsiteY851" fmla="*/ 4757871 h 6750795"/>
              <a:gd name="connsiteX852" fmla="*/ 5417055 w 6630249"/>
              <a:gd name="connsiteY852" fmla="*/ 4773262 h 6750795"/>
              <a:gd name="connsiteX853" fmla="*/ 5422185 w 6630249"/>
              <a:gd name="connsiteY853" fmla="*/ 4796346 h 6750795"/>
              <a:gd name="connsiteX854" fmla="*/ 5406795 w 6630249"/>
              <a:gd name="connsiteY854" fmla="*/ 4804041 h 6750795"/>
              <a:gd name="connsiteX855" fmla="*/ 5414490 w 6630249"/>
              <a:gd name="connsiteY855" fmla="*/ 4809170 h 6750795"/>
              <a:gd name="connsiteX856" fmla="*/ 5383711 w 6630249"/>
              <a:gd name="connsiteY856" fmla="*/ 4824560 h 6750795"/>
              <a:gd name="connsiteX857" fmla="*/ 5355496 w 6630249"/>
              <a:gd name="connsiteY857" fmla="*/ 4806606 h 6750795"/>
              <a:gd name="connsiteX858" fmla="*/ 5350367 w 6630249"/>
              <a:gd name="connsiteY858" fmla="*/ 4786086 h 6750795"/>
              <a:gd name="connsiteX859" fmla="*/ 5373452 w 6630249"/>
              <a:gd name="connsiteY859" fmla="*/ 4755307 h 6750795"/>
              <a:gd name="connsiteX860" fmla="*/ 1787733 w 6630249"/>
              <a:gd name="connsiteY860" fmla="*/ 4755307 h 6750795"/>
              <a:gd name="connsiteX861" fmla="*/ 1795427 w 6630249"/>
              <a:gd name="connsiteY861" fmla="*/ 4763001 h 6750795"/>
              <a:gd name="connsiteX862" fmla="*/ 1800556 w 6630249"/>
              <a:gd name="connsiteY862" fmla="*/ 4770696 h 6750795"/>
              <a:gd name="connsiteX863" fmla="*/ 1790297 w 6630249"/>
              <a:gd name="connsiteY863" fmla="*/ 5109263 h 6750795"/>
              <a:gd name="connsiteX864" fmla="*/ 1787733 w 6630249"/>
              <a:gd name="connsiteY864" fmla="*/ 5109263 h 6750795"/>
              <a:gd name="connsiteX865" fmla="*/ 1787733 w 6630249"/>
              <a:gd name="connsiteY865" fmla="*/ 4755307 h 6750795"/>
              <a:gd name="connsiteX866" fmla="*/ 4619623 w 6630249"/>
              <a:gd name="connsiteY866" fmla="*/ 4739610 h 6750795"/>
              <a:gd name="connsiteX867" fmla="*/ 4621866 w 6630249"/>
              <a:gd name="connsiteY867" fmla="*/ 4745314 h 6750795"/>
              <a:gd name="connsiteX868" fmla="*/ 4621937 w 6630249"/>
              <a:gd name="connsiteY868" fmla="*/ 4739918 h 6750795"/>
              <a:gd name="connsiteX869" fmla="*/ 1918541 w 6630249"/>
              <a:gd name="connsiteY869" fmla="*/ 4732223 h 6750795"/>
              <a:gd name="connsiteX870" fmla="*/ 1869808 w 6630249"/>
              <a:gd name="connsiteY870" fmla="*/ 4793781 h 6750795"/>
              <a:gd name="connsiteX871" fmla="*/ 1867243 w 6630249"/>
              <a:gd name="connsiteY871" fmla="*/ 4788651 h 6750795"/>
              <a:gd name="connsiteX872" fmla="*/ 1862114 w 6630249"/>
              <a:gd name="connsiteY872" fmla="*/ 4783522 h 6750795"/>
              <a:gd name="connsiteX873" fmla="*/ 1918541 w 6630249"/>
              <a:gd name="connsiteY873" fmla="*/ 4732223 h 6750795"/>
              <a:gd name="connsiteX874" fmla="*/ 5486307 w 6630249"/>
              <a:gd name="connsiteY874" fmla="*/ 4724529 h 6750795"/>
              <a:gd name="connsiteX875" fmla="*/ 5491437 w 6630249"/>
              <a:gd name="connsiteY875" fmla="*/ 4729659 h 6750795"/>
              <a:gd name="connsiteX876" fmla="*/ 5473483 w 6630249"/>
              <a:gd name="connsiteY876" fmla="*/ 4745048 h 6750795"/>
              <a:gd name="connsiteX877" fmla="*/ 5470918 w 6630249"/>
              <a:gd name="connsiteY877" fmla="*/ 4727094 h 6750795"/>
              <a:gd name="connsiteX878" fmla="*/ 5486307 w 6630249"/>
              <a:gd name="connsiteY878" fmla="*/ 4724529 h 6750795"/>
              <a:gd name="connsiteX879" fmla="*/ 5317024 w 6630249"/>
              <a:gd name="connsiteY879" fmla="*/ 4711705 h 6750795"/>
              <a:gd name="connsiteX880" fmla="*/ 5324719 w 6630249"/>
              <a:gd name="connsiteY880" fmla="*/ 4711705 h 6750795"/>
              <a:gd name="connsiteX881" fmla="*/ 5317024 w 6630249"/>
              <a:gd name="connsiteY881" fmla="*/ 4734789 h 6750795"/>
              <a:gd name="connsiteX882" fmla="*/ 5317024 w 6630249"/>
              <a:gd name="connsiteY882" fmla="*/ 4711705 h 6750795"/>
              <a:gd name="connsiteX883" fmla="*/ 3339491 w 6630249"/>
              <a:gd name="connsiteY883" fmla="*/ 4709140 h 6750795"/>
              <a:gd name="connsiteX884" fmla="*/ 3200986 w 6630249"/>
              <a:gd name="connsiteY884" fmla="*/ 4834820 h 6750795"/>
              <a:gd name="connsiteX885" fmla="*/ 3185597 w 6630249"/>
              <a:gd name="connsiteY885" fmla="*/ 4852774 h 6750795"/>
              <a:gd name="connsiteX886" fmla="*/ 3193292 w 6630249"/>
              <a:gd name="connsiteY886" fmla="*/ 4863034 h 6750795"/>
              <a:gd name="connsiteX887" fmla="*/ 3349750 w 6630249"/>
              <a:gd name="connsiteY887" fmla="*/ 4716835 h 6750795"/>
              <a:gd name="connsiteX888" fmla="*/ 4673236 w 6630249"/>
              <a:gd name="connsiteY888" fmla="*/ 4704010 h 6750795"/>
              <a:gd name="connsiteX889" fmla="*/ 4675801 w 6630249"/>
              <a:gd name="connsiteY889" fmla="*/ 4704010 h 6750795"/>
              <a:gd name="connsiteX890" fmla="*/ 4678366 w 6630249"/>
              <a:gd name="connsiteY890" fmla="*/ 4704010 h 6750795"/>
              <a:gd name="connsiteX891" fmla="*/ 4688625 w 6630249"/>
              <a:gd name="connsiteY891" fmla="*/ 4747613 h 6750795"/>
              <a:gd name="connsiteX892" fmla="*/ 4673236 w 6630249"/>
              <a:gd name="connsiteY892" fmla="*/ 4704010 h 6750795"/>
              <a:gd name="connsiteX893" fmla="*/ 4745053 w 6630249"/>
              <a:gd name="connsiteY893" fmla="*/ 4698880 h 6750795"/>
              <a:gd name="connsiteX894" fmla="*/ 4739924 w 6630249"/>
              <a:gd name="connsiteY894" fmla="*/ 4706574 h 6750795"/>
              <a:gd name="connsiteX895" fmla="*/ 4732229 w 6630249"/>
              <a:gd name="connsiteY895" fmla="*/ 4706574 h 6750795"/>
              <a:gd name="connsiteX896" fmla="*/ 4745053 w 6630249"/>
              <a:gd name="connsiteY896" fmla="*/ 4698880 h 6750795"/>
              <a:gd name="connsiteX897" fmla="*/ 4683496 w 6630249"/>
              <a:gd name="connsiteY897" fmla="*/ 4696316 h 6750795"/>
              <a:gd name="connsiteX898" fmla="*/ 4691190 w 6630249"/>
              <a:gd name="connsiteY898" fmla="*/ 4711705 h 6750795"/>
              <a:gd name="connsiteX899" fmla="*/ 4683496 w 6630249"/>
              <a:gd name="connsiteY899" fmla="*/ 4696316 h 6750795"/>
              <a:gd name="connsiteX900" fmla="*/ 4660411 w 6630249"/>
              <a:gd name="connsiteY900" fmla="*/ 4693751 h 6750795"/>
              <a:gd name="connsiteX901" fmla="*/ 4665541 w 6630249"/>
              <a:gd name="connsiteY901" fmla="*/ 4719400 h 6750795"/>
              <a:gd name="connsiteX902" fmla="*/ 4652717 w 6630249"/>
              <a:gd name="connsiteY902" fmla="*/ 4701445 h 6750795"/>
              <a:gd name="connsiteX903" fmla="*/ 4660411 w 6630249"/>
              <a:gd name="connsiteY903" fmla="*/ 4693751 h 6750795"/>
              <a:gd name="connsiteX904" fmla="*/ 1883233 w 6630249"/>
              <a:gd name="connsiteY904" fmla="*/ 4671701 h 6750795"/>
              <a:gd name="connsiteX905" fmla="*/ 1836463 w 6630249"/>
              <a:gd name="connsiteY905" fmla="*/ 4739918 h 6750795"/>
              <a:gd name="connsiteX906" fmla="*/ 1831333 w 6630249"/>
              <a:gd name="connsiteY906" fmla="*/ 4732223 h 6750795"/>
              <a:gd name="connsiteX907" fmla="*/ 1826204 w 6630249"/>
              <a:gd name="connsiteY907" fmla="*/ 4724528 h 6750795"/>
              <a:gd name="connsiteX908" fmla="*/ 1858065 w 6630249"/>
              <a:gd name="connsiteY908" fmla="*/ 4702286 h 6750795"/>
              <a:gd name="connsiteX909" fmla="*/ 1885932 w 6630249"/>
              <a:gd name="connsiteY909" fmla="*/ 4667764 h 6750795"/>
              <a:gd name="connsiteX910" fmla="*/ 1884876 w 6630249"/>
              <a:gd name="connsiteY910" fmla="*/ 4669704 h 6750795"/>
              <a:gd name="connsiteX911" fmla="*/ 1883233 w 6630249"/>
              <a:gd name="connsiteY911" fmla="*/ 4671701 h 6750795"/>
              <a:gd name="connsiteX912" fmla="*/ 5345919 w 6630249"/>
              <a:gd name="connsiteY912" fmla="*/ 4666299 h 6750795"/>
              <a:gd name="connsiteX913" fmla="*/ 5342673 w 6630249"/>
              <a:gd name="connsiteY913" fmla="*/ 4668102 h 6750795"/>
              <a:gd name="connsiteX914" fmla="*/ 5345919 w 6630249"/>
              <a:gd name="connsiteY914" fmla="*/ 4666299 h 6750795"/>
              <a:gd name="connsiteX915" fmla="*/ 5409360 w 6630249"/>
              <a:gd name="connsiteY915" fmla="*/ 4662972 h 6750795"/>
              <a:gd name="connsiteX916" fmla="*/ 5404231 w 6630249"/>
              <a:gd name="connsiteY916" fmla="*/ 4686056 h 6750795"/>
              <a:gd name="connsiteX917" fmla="*/ 5409360 w 6630249"/>
              <a:gd name="connsiteY917" fmla="*/ 4662972 h 6750795"/>
              <a:gd name="connsiteX918" fmla="*/ 3436957 w 6630249"/>
              <a:gd name="connsiteY918" fmla="*/ 4650148 h 6750795"/>
              <a:gd name="connsiteX919" fmla="*/ 3424132 w 6630249"/>
              <a:gd name="connsiteY919" fmla="*/ 4655278 h 6750795"/>
              <a:gd name="connsiteX920" fmla="*/ 3121475 w 6630249"/>
              <a:gd name="connsiteY920" fmla="*/ 4934851 h 6750795"/>
              <a:gd name="connsiteX921" fmla="*/ 3129169 w 6630249"/>
              <a:gd name="connsiteY921" fmla="*/ 4945110 h 6750795"/>
              <a:gd name="connsiteX922" fmla="*/ 3444651 w 6630249"/>
              <a:gd name="connsiteY922" fmla="*/ 4673232 h 6750795"/>
              <a:gd name="connsiteX923" fmla="*/ 3442086 w 6630249"/>
              <a:gd name="connsiteY923" fmla="*/ 4657843 h 6750795"/>
              <a:gd name="connsiteX924" fmla="*/ 3442086 w 6630249"/>
              <a:gd name="connsiteY924" fmla="*/ 4652713 h 6750795"/>
              <a:gd name="connsiteX925" fmla="*/ 3503644 w 6630249"/>
              <a:gd name="connsiteY925" fmla="*/ 4621934 h 6750795"/>
              <a:gd name="connsiteX926" fmla="*/ 3080436 w 6630249"/>
              <a:gd name="connsiteY926" fmla="*/ 4988714 h 6750795"/>
              <a:gd name="connsiteX927" fmla="*/ 3083001 w 6630249"/>
              <a:gd name="connsiteY927" fmla="*/ 5001538 h 6750795"/>
              <a:gd name="connsiteX928" fmla="*/ 3206117 w 6630249"/>
              <a:gd name="connsiteY928" fmla="*/ 4942545 h 6750795"/>
              <a:gd name="connsiteX929" fmla="*/ 3283063 w 6630249"/>
              <a:gd name="connsiteY929" fmla="*/ 4896378 h 6750795"/>
              <a:gd name="connsiteX930" fmla="*/ 3285628 w 6630249"/>
              <a:gd name="connsiteY930" fmla="*/ 4896378 h 6750795"/>
              <a:gd name="connsiteX931" fmla="*/ 3513903 w 6630249"/>
              <a:gd name="connsiteY931" fmla="*/ 4639888 h 6750795"/>
              <a:gd name="connsiteX932" fmla="*/ 3513903 w 6630249"/>
              <a:gd name="connsiteY932" fmla="*/ 4629629 h 6750795"/>
              <a:gd name="connsiteX933" fmla="*/ 3513903 w 6630249"/>
              <a:gd name="connsiteY933" fmla="*/ 4627064 h 6750795"/>
              <a:gd name="connsiteX934" fmla="*/ 1790296 w 6630249"/>
              <a:gd name="connsiteY934" fmla="*/ 4611673 h 6750795"/>
              <a:gd name="connsiteX935" fmla="*/ 1697960 w 6630249"/>
              <a:gd name="connsiteY935" fmla="*/ 4780957 h 6750795"/>
              <a:gd name="connsiteX936" fmla="*/ 1649226 w 6630249"/>
              <a:gd name="connsiteY936" fmla="*/ 5070789 h 6750795"/>
              <a:gd name="connsiteX937" fmla="*/ 1638967 w 6630249"/>
              <a:gd name="connsiteY937" fmla="*/ 5065660 h 6750795"/>
              <a:gd name="connsiteX938" fmla="*/ 1631272 w 6630249"/>
              <a:gd name="connsiteY938" fmla="*/ 4981018 h 6750795"/>
              <a:gd name="connsiteX939" fmla="*/ 1764647 w 6630249"/>
              <a:gd name="connsiteY939" fmla="*/ 4624497 h 6750795"/>
              <a:gd name="connsiteX940" fmla="*/ 1790296 w 6630249"/>
              <a:gd name="connsiteY940" fmla="*/ 4611673 h 6750795"/>
              <a:gd name="connsiteX941" fmla="*/ 1905717 w 6630249"/>
              <a:gd name="connsiteY941" fmla="*/ 4568070 h 6750795"/>
              <a:gd name="connsiteX942" fmla="*/ 1887763 w 6630249"/>
              <a:gd name="connsiteY942" fmla="*/ 4598849 h 6750795"/>
              <a:gd name="connsiteX943" fmla="*/ 1841594 w 6630249"/>
              <a:gd name="connsiteY943" fmla="*/ 4675796 h 6750795"/>
              <a:gd name="connsiteX944" fmla="*/ 1864679 w 6630249"/>
              <a:gd name="connsiteY944" fmla="*/ 4639888 h 6750795"/>
              <a:gd name="connsiteX945" fmla="*/ 1905717 w 6630249"/>
              <a:gd name="connsiteY945" fmla="*/ 4568070 h 6750795"/>
              <a:gd name="connsiteX946" fmla="*/ 2798300 w 6630249"/>
              <a:gd name="connsiteY946" fmla="*/ 4539856 h 6750795"/>
              <a:gd name="connsiteX947" fmla="*/ 2805994 w 6630249"/>
              <a:gd name="connsiteY947" fmla="*/ 4547550 h 6750795"/>
              <a:gd name="connsiteX948" fmla="*/ 2803429 w 6630249"/>
              <a:gd name="connsiteY948" fmla="*/ 4562941 h 6750795"/>
              <a:gd name="connsiteX949" fmla="*/ 2798300 w 6630249"/>
              <a:gd name="connsiteY949" fmla="*/ 4539856 h 6750795"/>
              <a:gd name="connsiteX950" fmla="*/ 4627067 w 6630249"/>
              <a:gd name="connsiteY950" fmla="*/ 4529597 h 6750795"/>
              <a:gd name="connsiteX951" fmla="*/ 4662975 w 6630249"/>
              <a:gd name="connsiteY951" fmla="*/ 4537291 h 6750795"/>
              <a:gd name="connsiteX952" fmla="*/ 4678365 w 6630249"/>
              <a:gd name="connsiteY952" fmla="*/ 4609108 h 6750795"/>
              <a:gd name="connsiteX953" fmla="*/ 4691189 w 6630249"/>
              <a:gd name="connsiteY953" fmla="*/ 4662971 h 6750795"/>
              <a:gd name="connsiteX954" fmla="*/ 4668105 w 6630249"/>
              <a:gd name="connsiteY954" fmla="*/ 4698879 h 6750795"/>
              <a:gd name="connsiteX955" fmla="*/ 4657845 w 6630249"/>
              <a:gd name="connsiteY955" fmla="*/ 4688620 h 6750795"/>
              <a:gd name="connsiteX956" fmla="*/ 4673235 w 6630249"/>
              <a:gd name="connsiteY956" fmla="*/ 4647582 h 6750795"/>
              <a:gd name="connsiteX957" fmla="*/ 4655280 w 6630249"/>
              <a:gd name="connsiteY957" fmla="*/ 4670666 h 6750795"/>
              <a:gd name="connsiteX958" fmla="*/ 4652716 w 6630249"/>
              <a:gd name="connsiteY958" fmla="*/ 4665536 h 6750795"/>
              <a:gd name="connsiteX959" fmla="*/ 4645021 w 6630249"/>
              <a:gd name="connsiteY959" fmla="*/ 4670666 h 6750795"/>
              <a:gd name="connsiteX960" fmla="*/ 4624502 w 6630249"/>
              <a:gd name="connsiteY960" fmla="*/ 4642452 h 6750795"/>
              <a:gd name="connsiteX961" fmla="*/ 4621937 w 6630249"/>
              <a:gd name="connsiteY961" fmla="*/ 4645017 h 6750795"/>
              <a:gd name="connsiteX962" fmla="*/ 4627067 w 6630249"/>
              <a:gd name="connsiteY962" fmla="*/ 4629627 h 6750795"/>
              <a:gd name="connsiteX963" fmla="*/ 4609113 w 6630249"/>
              <a:gd name="connsiteY963" fmla="*/ 4642452 h 6750795"/>
              <a:gd name="connsiteX964" fmla="*/ 4601418 w 6630249"/>
              <a:gd name="connsiteY964" fmla="*/ 4632192 h 6750795"/>
              <a:gd name="connsiteX965" fmla="*/ 4601418 w 6630249"/>
              <a:gd name="connsiteY965" fmla="*/ 4657841 h 6750795"/>
              <a:gd name="connsiteX966" fmla="*/ 4580899 w 6630249"/>
              <a:gd name="connsiteY966" fmla="*/ 4647582 h 6750795"/>
              <a:gd name="connsiteX967" fmla="*/ 4596288 w 6630249"/>
              <a:gd name="connsiteY967" fmla="*/ 4657841 h 6750795"/>
              <a:gd name="connsiteX968" fmla="*/ 4597418 w 6630249"/>
              <a:gd name="connsiteY968" fmla="*/ 4660553 h 6750795"/>
              <a:gd name="connsiteX969" fmla="*/ 4603022 w 6630249"/>
              <a:gd name="connsiteY969" fmla="*/ 4656881 h 6750795"/>
              <a:gd name="connsiteX970" fmla="*/ 4606549 w 6630249"/>
              <a:gd name="connsiteY970" fmla="*/ 4668102 h 6750795"/>
              <a:gd name="connsiteX971" fmla="*/ 4599967 w 6630249"/>
              <a:gd name="connsiteY971" fmla="*/ 4666671 h 6750795"/>
              <a:gd name="connsiteX972" fmla="*/ 4601097 w 6630249"/>
              <a:gd name="connsiteY972" fmla="*/ 4669384 h 6750795"/>
              <a:gd name="connsiteX973" fmla="*/ 4603052 w 6630249"/>
              <a:gd name="connsiteY973" fmla="*/ 4677205 h 6750795"/>
              <a:gd name="connsiteX974" fmla="*/ 4610717 w 6630249"/>
              <a:gd name="connsiteY974" fmla="*/ 4678362 h 6750795"/>
              <a:gd name="connsiteX975" fmla="*/ 4621939 w 6630249"/>
              <a:gd name="connsiteY975" fmla="*/ 4688621 h 6750795"/>
              <a:gd name="connsiteX976" fmla="*/ 4610076 w 6630249"/>
              <a:gd name="connsiteY976" fmla="*/ 4687338 h 6750795"/>
              <a:gd name="connsiteX977" fmla="*/ 4599293 w 6630249"/>
              <a:gd name="connsiteY977" fmla="*/ 4686335 h 6750795"/>
              <a:gd name="connsiteX978" fmla="*/ 4603617 w 6630249"/>
              <a:gd name="connsiteY978" fmla="*/ 4689087 h 6750795"/>
              <a:gd name="connsiteX979" fmla="*/ 4611999 w 6630249"/>
              <a:gd name="connsiteY979" fmla="*/ 4690865 h 6750795"/>
              <a:gd name="connsiteX980" fmla="*/ 4624504 w 6630249"/>
              <a:gd name="connsiteY980" fmla="*/ 4691186 h 6750795"/>
              <a:gd name="connsiteX981" fmla="*/ 4609114 w 6630249"/>
              <a:gd name="connsiteY981" fmla="*/ 4698880 h 6750795"/>
              <a:gd name="connsiteX982" fmla="*/ 4639893 w 6630249"/>
              <a:gd name="connsiteY982" fmla="*/ 4704010 h 6750795"/>
              <a:gd name="connsiteX983" fmla="*/ 4639893 w 6630249"/>
              <a:gd name="connsiteY983" fmla="*/ 4714270 h 6750795"/>
              <a:gd name="connsiteX984" fmla="*/ 4621939 w 6630249"/>
              <a:gd name="connsiteY984" fmla="*/ 4707537 h 6750795"/>
              <a:gd name="connsiteX985" fmla="*/ 4605321 w 6630249"/>
              <a:gd name="connsiteY985" fmla="*/ 4699525 h 6750795"/>
              <a:gd name="connsiteX986" fmla="*/ 4594044 w 6630249"/>
              <a:gd name="connsiteY986" fmla="*/ 4701444 h 6750795"/>
              <a:gd name="connsiteX987" fmla="*/ 4580899 w 6630249"/>
              <a:gd name="connsiteY987" fmla="*/ 4704009 h 6750795"/>
              <a:gd name="connsiteX988" fmla="*/ 4594364 w 6630249"/>
              <a:gd name="connsiteY988" fmla="*/ 4714590 h 6750795"/>
              <a:gd name="connsiteX989" fmla="*/ 4610878 w 6630249"/>
              <a:gd name="connsiteY989" fmla="*/ 4719177 h 6750795"/>
              <a:gd name="connsiteX990" fmla="*/ 4631556 w 6630249"/>
              <a:gd name="connsiteY990" fmla="*/ 4718117 h 6750795"/>
              <a:gd name="connsiteX991" fmla="*/ 4652717 w 6630249"/>
              <a:gd name="connsiteY991" fmla="*/ 4724528 h 6750795"/>
              <a:gd name="connsiteX992" fmla="*/ 4639892 w 6630249"/>
              <a:gd name="connsiteY992" fmla="*/ 4734788 h 6750795"/>
              <a:gd name="connsiteX993" fmla="*/ 4634763 w 6630249"/>
              <a:gd name="connsiteY993" fmla="*/ 4778391 h 6750795"/>
              <a:gd name="connsiteX994" fmla="*/ 4650152 w 6630249"/>
              <a:gd name="connsiteY994" fmla="*/ 4732223 h 6750795"/>
              <a:gd name="connsiteX995" fmla="*/ 4660412 w 6630249"/>
              <a:gd name="connsiteY995" fmla="*/ 4739918 h 6750795"/>
              <a:gd name="connsiteX996" fmla="*/ 4665541 w 6630249"/>
              <a:gd name="connsiteY996" fmla="*/ 4737353 h 6750795"/>
              <a:gd name="connsiteX997" fmla="*/ 4701450 w 6630249"/>
              <a:gd name="connsiteY997" fmla="*/ 4780956 h 6750795"/>
              <a:gd name="connsiteX998" fmla="*/ 4701450 w 6630249"/>
              <a:gd name="connsiteY998" fmla="*/ 4804041 h 6750795"/>
              <a:gd name="connsiteX999" fmla="*/ 4673236 w 6630249"/>
              <a:gd name="connsiteY999" fmla="*/ 4801476 h 6750795"/>
              <a:gd name="connsiteX1000" fmla="*/ 4691190 w 6630249"/>
              <a:gd name="connsiteY1000" fmla="*/ 4811736 h 6750795"/>
              <a:gd name="connsiteX1001" fmla="*/ 4688625 w 6630249"/>
              <a:gd name="connsiteY1001" fmla="*/ 4834820 h 6750795"/>
              <a:gd name="connsiteX1002" fmla="*/ 4709144 w 6630249"/>
              <a:gd name="connsiteY1002" fmla="*/ 4852774 h 6750795"/>
              <a:gd name="connsiteX1003" fmla="*/ 4716839 w 6630249"/>
              <a:gd name="connsiteY1003" fmla="*/ 4847644 h 6750795"/>
              <a:gd name="connsiteX1004" fmla="*/ 4719404 w 6630249"/>
              <a:gd name="connsiteY1004" fmla="*/ 4863034 h 6750795"/>
              <a:gd name="connsiteX1005" fmla="*/ 4714274 w 6630249"/>
              <a:gd name="connsiteY1005" fmla="*/ 4865598 h 6750795"/>
              <a:gd name="connsiteX1006" fmla="*/ 4696320 w 6630249"/>
              <a:gd name="connsiteY1006" fmla="*/ 4857904 h 6750795"/>
              <a:gd name="connsiteX1007" fmla="*/ 4691190 w 6630249"/>
              <a:gd name="connsiteY1007" fmla="*/ 4865598 h 6750795"/>
              <a:gd name="connsiteX1008" fmla="*/ 4670671 w 6630249"/>
              <a:gd name="connsiteY1008" fmla="*/ 4863034 h 6750795"/>
              <a:gd name="connsiteX1009" fmla="*/ 4673236 w 6630249"/>
              <a:gd name="connsiteY1009" fmla="*/ 4875858 h 6750795"/>
              <a:gd name="connsiteX1010" fmla="*/ 4701450 w 6630249"/>
              <a:gd name="connsiteY1010" fmla="*/ 4883553 h 6750795"/>
              <a:gd name="connsiteX1011" fmla="*/ 4696320 w 6630249"/>
              <a:gd name="connsiteY1011" fmla="*/ 4893812 h 6750795"/>
              <a:gd name="connsiteX1012" fmla="*/ 4716839 w 6630249"/>
              <a:gd name="connsiteY1012" fmla="*/ 4893812 h 6750795"/>
              <a:gd name="connsiteX1013" fmla="*/ 4719404 w 6630249"/>
              <a:gd name="connsiteY1013" fmla="*/ 4957935 h 6750795"/>
              <a:gd name="connsiteX1014" fmla="*/ 4721969 w 6630249"/>
              <a:gd name="connsiteY1014" fmla="*/ 4965629 h 6750795"/>
              <a:gd name="connsiteX1015" fmla="*/ 4716839 w 6630249"/>
              <a:gd name="connsiteY1015" fmla="*/ 4996408 h 6750795"/>
              <a:gd name="connsiteX1016" fmla="*/ 4696320 w 6630249"/>
              <a:gd name="connsiteY1016" fmla="*/ 5068225 h 6750795"/>
              <a:gd name="connsiteX1017" fmla="*/ 4691190 w 6630249"/>
              <a:gd name="connsiteY1017" fmla="*/ 5019492 h 6750795"/>
              <a:gd name="connsiteX1018" fmla="*/ 4686061 w 6630249"/>
              <a:gd name="connsiteY1018" fmla="*/ 4983584 h 6750795"/>
              <a:gd name="connsiteX1019" fmla="*/ 4678366 w 6630249"/>
              <a:gd name="connsiteY1019" fmla="*/ 4968194 h 6750795"/>
              <a:gd name="connsiteX1020" fmla="*/ 4696320 w 6630249"/>
              <a:gd name="connsiteY1020" fmla="*/ 4947675 h 6750795"/>
              <a:gd name="connsiteX1021" fmla="*/ 4680930 w 6630249"/>
              <a:gd name="connsiteY1021" fmla="*/ 4945110 h 6750795"/>
              <a:gd name="connsiteX1022" fmla="*/ 4678366 w 6630249"/>
              <a:gd name="connsiteY1022" fmla="*/ 4927156 h 6750795"/>
              <a:gd name="connsiteX1023" fmla="*/ 4675533 w 6630249"/>
              <a:gd name="connsiteY1023" fmla="*/ 4929989 h 6750795"/>
              <a:gd name="connsiteX1024" fmla="*/ 4675800 w 6630249"/>
              <a:gd name="connsiteY1024" fmla="*/ 4930682 h 6750795"/>
              <a:gd name="connsiteX1025" fmla="*/ 4670670 w 6630249"/>
              <a:gd name="connsiteY1025" fmla="*/ 4955369 h 6750795"/>
              <a:gd name="connsiteX1026" fmla="*/ 4657845 w 6630249"/>
              <a:gd name="connsiteY1026" fmla="*/ 4939980 h 6750795"/>
              <a:gd name="connsiteX1027" fmla="*/ 4647586 w 6630249"/>
              <a:gd name="connsiteY1027" fmla="*/ 4927155 h 6750795"/>
              <a:gd name="connsiteX1028" fmla="*/ 4639891 w 6630249"/>
              <a:gd name="connsiteY1028" fmla="*/ 4875857 h 6750795"/>
              <a:gd name="connsiteX1029" fmla="*/ 4637326 w 6630249"/>
              <a:gd name="connsiteY1029" fmla="*/ 4860468 h 6750795"/>
              <a:gd name="connsiteX1030" fmla="*/ 4634761 w 6630249"/>
              <a:gd name="connsiteY1030" fmla="*/ 4865597 h 6750795"/>
              <a:gd name="connsiteX1031" fmla="*/ 4627067 w 6630249"/>
              <a:gd name="connsiteY1031" fmla="*/ 4847643 h 6750795"/>
              <a:gd name="connsiteX1032" fmla="*/ 4637326 w 6630249"/>
              <a:gd name="connsiteY1032" fmla="*/ 4845079 h 6750795"/>
              <a:gd name="connsiteX1033" fmla="*/ 4624502 w 6630249"/>
              <a:gd name="connsiteY1033" fmla="*/ 4842514 h 6750795"/>
              <a:gd name="connsiteX1034" fmla="*/ 4634761 w 6630249"/>
              <a:gd name="connsiteY1034" fmla="*/ 4824559 h 6750795"/>
              <a:gd name="connsiteX1035" fmla="*/ 4624502 w 6630249"/>
              <a:gd name="connsiteY1035" fmla="*/ 4824559 h 6750795"/>
              <a:gd name="connsiteX1036" fmla="*/ 4627067 w 6630249"/>
              <a:gd name="connsiteY1036" fmla="*/ 4809170 h 6750795"/>
              <a:gd name="connsiteX1037" fmla="*/ 4616807 w 6630249"/>
              <a:gd name="connsiteY1037" fmla="*/ 4816865 h 6750795"/>
              <a:gd name="connsiteX1038" fmla="*/ 4601418 w 6630249"/>
              <a:gd name="connsiteY1038" fmla="*/ 4801475 h 6750795"/>
              <a:gd name="connsiteX1039" fmla="*/ 4603982 w 6630249"/>
              <a:gd name="connsiteY1039" fmla="*/ 4814300 h 6750795"/>
              <a:gd name="connsiteX1040" fmla="*/ 4588593 w 6630249"/>
              <a:gd name="connsiteY1040" fmla="*/ 4811735 h 6750795"/>
              <a:gd name="connsiteX1041" fmla="*/ 4591158 w 6630249"/>
              <a:gd name="connsiteY1041" fmla="*/ 4824559 h 6750795"/>
              <a:gd name="connsiteX1042" fmla="*/ 4616807 w 6630249"/>
              <a:gd name="connsiteY1042" fmla="*/ 4842514 h 6750795"/>
              <a:gd name="connsiteX1043" fmla="*/ 4634761 w 6630249"/>
              <a:gd name="connsiteY1043" fmla="*/ 4880987 h 6750795"/>
              <a:gd name="connsiteX1044" fmla="*/ 4642456 w 6630249"/>
              <a:gd name="connsiteY1044" fmla="*/ 4947674 h 6750795"/>
              <a:gd name="connsiteX1045" fmla="*/ 4637328 w 6630249"/>
              <a:gd name="connsiteY1045" fmla="*/ 4947674 h 6750795"/>
              <a:gd name="connsiteX1046" fmla="*/ 4632196 w 6630249"/>
              <a:gd name="connsiteY1046" fmla="*/ 4947674 h 6750795"/>
              <a:gd name="connsiteX1047" fmla="*/ 4619372 w 6630249"/>
              <a:gd name="connsiteY1047" fmla="*/ 4932285 h 6750795"/>
              <a:gd name="connsiteX1048" fmla="*/ 4616807 w 6630249"/>
              <a:gd name="connsiteY1048" fmla="*/ 4952804 h 6750795"/>
              <a:gd name="connsiteX1049" fmla="*/ 4598853 w 6630249"/>
              <a:gd name="connsiteY1049" fmla="*/ 4945109 h 6750795"/>
              <a:gd name="connsiteX1050" fmla="*/ 4611677 w 6630249"/>
              <a:gd name="connsiteY1050" fmla="*/ 4957934 h 6750795"/>
              <a:gd name="connsiteX1051" fmla="*/ 4603982 w 6630249"/>
              <a:gd name="connsiteY1051" fmla="*/ 4965628 h 6750795"/>
              <a:gd name="connsiteX1052" fmla="*/ 4634761 w 6630249"/>
              <a:gd name="connsiteY1052" fmla="*/ 4978453 h 6750795"/>
              <a:gd name="connsiteX1053" fmla="*/ 4635641 w 6630249"/>
              <a:gd name="connsiteY1053" fmla="*/ 4984999 h 6750795"/>
              <a:gd name="connsiteX1054" fmla="*/ 4637328 w 6630249"/>
              <a:gd name="connsiteY1054" fmla="*/ 4947674 h 6750795"/>
              <a:gd name="connsiteX1055" fmla="*/ 4639893 w 6630249"/>
              <a:gd name="connsiteY1055" fmla="*/ 4960498 h 6750795"/>
              <a:gd name="connsiteX1056" fmla="*/ 4655282 w 6630249"/>
              <a:gd name="connsiteY1056" fmla="*/ 4963063 h 6750795"/>
              <a:gd name="connsiteX1057" fmla="*/ 4647588 w 6630249"/>
              <a:gd name="connsiteY1057" fmla="*/ 4975888 h 6750795"/>
              <a:gd name="connsiteX1058" fmla="*/ 4670671 w 6630249"/>
              <a:gd name="connsiteY1058" fmla="*/ 4986148 h 6750795"/>
              <a:gd name="connsiteX1059" fmla="*/ 4686061 w 6630249"/>
              <a:gd name="connsiteY1059" fmla="*/ 5078484 h 6750795"/>
              <a:gd name="connsiteX1060" fmla="*/ 4662977 w 6630249"/>
              <a:gd name="connsiteY1060" fmla="*/ 5068866 h 6750795"/>
              <a:gd name="connsiteX1061" fmla="*/ 4642270 w 6630249"/>
              <a:gd name="connsiteY1061" fmla="*/ 5063690 h 6750795"/>
              <a:gd name="connsiteX1062" fmla="*/ 4642381 w 6630249"/>
              <a:gd name="connsiteY1062" fmla="*/ 5066397 h 6750795"/>
              <a:gd name="connsiteX1063" fmla="*/ 4665862 w 6630249"/>
              <a:gd name="connsiteY1063" fmla="*/ 5073353 h 6750795"/>
              <a:gd name="connsiteX1064" fmla="*/ 4686061 w 6630249"/>
              <a:gd name="connsiteY1064" fmla="*/ 5088744 h 6750795"/>
              <a:gd name="connsiteX1065" fmla="*/ 4665542 w 6630249"/>
              <a:gd name="connsiteY1065" fmla="*/ 5178515 h 6750795"/>
              <a:gd name="connsiteX1066" fmla="*/ 4664292 w 6630249"/>
              <a:gd name="connsiteY1066" fmla="*/ 5175958 h 6750795"/>
              <a:gd name="connsiteX1067" fmla="*/ 4665220 w 6630249"/>
              <a:gd name="connsiteY1067" fmla="*/ 5180759 h 6750795"/>
              <a:gd name="connsiteX1068" fmla="*/ 4670199 w 6630249"/>
              <a:gd name="connsiteY1068" fmla="*/ 5213856 h 6750795"/>
              <a:gd name="connsiteX1069" fmla="*/ 4675481 w 6630249"/>
              <a:gd name="connsiteY1069" fmla="*/ 5186530 h 6750795"/>
              <a:gd name="connsiteX1070" fmla="*/ 4688626 w 6630249"/>
              <a:gd name="connsiteY1070" fmla="*/ 5150301 h 6750795"/>
              <a:gd name="connsiteX1071" fmla="*/ 4693756 w 6630249"/>
              <a:gd name="connsiteY1071" fmla="*/ 5152866 h 6750795"/>
              <a:gd name="connsiteX1072" fmla="*/ 4698886 w 6630249"/>
              <a:gd name="connsiteY1072" fmla="*/ 5237507 h 6750795"/>
              <a:gd name="connsiteX1073" fmla="*/ 4704015 w 6630249"/>
              <a:gd name="connsiteY1073" fmla="*/ 5247767 h 6750795"/>
              <a:gd name="connsiteX1074" fmla="*/ 4709145 w 6630249"/>
              <a:gd name="connsiteY1074" fmla="*/ 5293935 h 6750795"/>
              <a:gd name="connsiteX1075" fmla="*/ 4701450 w 6630249"/>
              <a:gd name="connsiteY1075" fmla="*/ 5337538 h 6750795"/>
              <a:gd name="connsiteX1076" fmla="*/ 4693756 w 6630249"/>
              <a:gd name="connsiteY1076" fmla="*/ 5350362 h 6750795"/>
              <a:gd name="connsiteX1077" fmla="*/ 4680931 w 6630249"/>
              <a:gd name="connsiteY1077" fmla="*/ 5291370 h 6750795"/>
              <a:gd name="connsiteX1078" fmla="*/ 4683496 w 6630249"/>
              <a:gd name="connsiteY1078" fmla="*/ 5281110 h 6750795"/>
              <a:gd name="connsiteX1079" fmla="*/ 4673237 w 6630249"/>
              <a:gd name="connsiteY1079" fmla="*/ 5242637 h 6750795"/>
              <a:gd name="connsiteX1080" fmla="*/ 4688626 w 6630249"/>
              <a:gd name="connsiteY1080" fmla="*/ 5237507 h 6750795"/>
              <a:gd name="connsiteX1081" fmla="*/ 4678367 w 6630249"/>
              <a:gd name="connsiteY1081" fmla="*/ 5234942 h 6750795"/>
              <a:gd name="connsiteX1082" fmla="*/ 4693756 w 6630249"/>
              <a:gd name="connsiteY1082" fmla="*/ 5216988 h 6750795"/>
              <a:gd name="connsiteX1083" fmla="*/ 4680931 w 6630249"/>
              <a:gd name="connsiteY1083" fmla="*/ 5227247 h 6750795"/>
              <a:gd name="connsiteX1084" fmla="*/ 4668106 w 6630249"/>
              <a:gd name="connsiteY1084" fmla="*/ 5224682 h 6750795"/>
              <a:gd name="connsiteX1085" fmla="*/ 4669775 w 6630249"/>
              <a:gd name="connsiteY1085" fmla="*/ 5216047 h 6750795"/>
              <a:gd name="connsiteX1086" fmla="*/ 4658166 w 6630249"/>
              <a:gd name="connsiteY1086" fmla="*/ 5203843 h 6750795"/>
              <a:gd name="connsiteX1087" fmla="*/ 4647586 w 6630249"/>
              <a:gd name="connsiteY1087" fmla="*/ 5188774 h 6750795"/>
              <a:gd name="connsiteX1088" fmla="*/ 4662975 w 6630249"/>
              <a:gd name="connsiteY1088" fmla="*/ 5214423 h 6750795"/>
              <a:gd name="connsiteX1089" fmla="*/ 4665540 w 6630249"/>
              <a:gd name="connsiteY1089" fmla="*/ 5270851 h 6750795"/>
              <a:gd name="connsiteX1090" fmla="*/ 4655280 w 6630249"/>
              <a:gd name="connsiteY1090" fmla="*/ 5265721 h 6750795"/>
              <a:gd name="connsiteX1091" fmla="*/ 4645021 w 6630249"/>
              <a:gd name="connsiteY1091" fmla="*/ 5270851 h 6750795"/>
              <a:gd name="connsiteX1092" fmla="*/ 4650151 w 6630249"/>
              <a:gd name="connsiteY1092" fmla="*/ 5288805 h 6750795"/>
              <a:gd name="connsiteX1093" fmla="*/ 4642456 w 6630249"/>
              <a:gd name="connsiteY1093" fmla="*/ 5299065 h 6750795"/>
              <a:gd name="connsiteX1094" fmla="*/ 4660410 w 6630249"/>
              <a:gd name="connsiteY1094" fmla="*/ 5309324 h 6750795"/>
              <a:gd name="connsiteX1095" fmla="*/ 4662975 w 6630249"/>
              <a:gd name="connsiteY1095" fmla="*/ 5393966 h 6750795"/>
              <a:gd name="connsiteX1096" fmla="*/ 4647586 w 6630249"/>
              <a:gd name="connsiteY1096" fmla="*/ 5442698 h 6750795"/>
              <a:gd name="connsiteX1097" fmla="*/ 4639891 w 6630249"/>
              <a:gd name="connsiteY1097" fmla="*/ 5435004 h 6750795"/>
              <a:gd name="connsiteX1098" fmla="*/ 4627067 w 6630249"/>
              <a:gd name="connsiteY1098" fmla="*/ 5442698 h 6750795"/>
              <a:gd name="connsiteX1099" fmla="*/ 4629631 w 6630249"/>
              <a:gd name="connsiteY1099" fmla="*/ 5417049 h 6750795"/>
              <a:gd name="connsiteX1100" fmla="*/ 4614242 w 6630249"/>
              <a:gd name="connsiteY1100" fmla="*/ 5460653 h 6750795"/>
              <a:gd name="connsiteX1101" fmla="*/ 4601418 w 6630249"/>
              <a:gd name="connsiteY1101" fmla="*/ 5455523 h 6750795"/>
              <a:gd name="connsiteX1102" fmla="*/ 4601418 w 6630249"/>
              <a:gd name="connsiteY1102" fmla="*/ 5459796 h 6750795"/>
              <a:gd name="connsiteX1103" fmla="*/ 4603984 w 6630249"/>
              <a:gd name="connsiteY1103" fmla="*/ 5463218 h 6750795"/>
              <a:gd name="connsiteX1104" fmla="*/ 4601418 w 6630249"/>
              <a:gd name="connsiteY1104" fmla="*/ 5461721 h 6750795"/>
              <a:gd name="connsiteX1105" fmla="*/ 4601418 w 6630249"/>
              <a:gd name="connsiteY1105" fmla="*/ 5465783 h 6750795"/>
              <a:gd name="connsiteX1106" fmla="*/ 4591158 w 6630249"/>
              <a:gd name="connsiteY1106" fmla="*/ 5458088 h 6750795"/>
              <a:gd name="connsiteX1107" fmla="*/ 4583464 w 6630249"/>
              <a:gd name="connsiteY1107" fmla="*/ 5355492 h 6750795"/>
              <a:gd name="connsiteX1108" fmla="*/ 4550120 w 6630249"/>
              <a:gd name="connsiteY1108" fmla="*/ 5406790 h 6750795"/>
              <a:gd name="connsiteX1109" fmla="*/ 4524471 w 6630249"/>
              <a:gd name="connsiteY1109" fmla="*/ 5391400 h 6750795"/>
              <a:gd name="connsiteX1110" fmla="*/ 4557815 w 6630249"/>
              <a:gd name="connsiteY1110" fmla="*/ 5370882 h 6750795"/>
              <a:gd name="connsiteX1111" fmla="*/ 4527036 w 6630249"/>
              <a:gd name="connsiteY1111" fmla="*/ 5373446 h 6750795"/>
              <a:gd name="connsiteX1112" fmla="*/ 4514211 w 6630249"/>
              <a:gd name="connsiteY1112" fmla="*/ 5378576 h 6750795"/>
              <a:gd name="connsiteX1113" fmla="*/ 4509081 w 6630249"/>
              <a:gd name="connsiteY1113" fmla="*/ 5340103 h 6750795"/>
              <a:gd name="connsiteX1114" fmla="*/ 4498822 w 6630249"/>
              <a:gd name="connsiteY1114" fmla="*/ 5355492 h 6750795"/>
              <a:gd name="connsiteX1115" fmla="*/ 4470608 w 6630249"/>
              <a:gd name="connsiteY1115" fmla="*/ 5222118 h 6750795"/>
              <a:gd name="connsiteX1116" fmla="*/ 4488562 w 6630249"/>
              <a:gd name="connsiteY1116" fmla="*/ 5211858 h 6750795"/>
              <a:gd name="connsiteX1117" fmla="*/ 4501387 w 6630249"/>
              <a:gd name="connsiteY1117" fmla="*/ 5222118 h 6750795"/>
              <a:gd name="connsiteX1118" fmla="*/ 4511647 w 6630249"/>
              <a:gd name="connsiteY1118" fmla="*/ 5186209 h 6750795"/>
              <a:gd name="connsiteX1119" fmla="*/ 4555250 w 6630249"/>
              <a:gd name="connsiteY1119" fmla="*/ 5142606 h 6750795"/>
              <a:gd name="connsiteX1120" fmla="*/ 4524471 w 6630249"/>
              <a:gd name="connsiteY1120" fmla="*/ 5145171 h 6750795"/>
              <a:gd name="connsiteX1121" fmla="*/ 4511647 w 6630249"/>
              <a:gd name="connsiteY1121" fmla="*/ 5142606 h 6750795"/>
              <a:gd name="connsiteX1122" fmla="*/ 4488562 w 6630249"/>
              <a:gd name="connsiteY1122" fmla="*/ 5137476 h 6750795"/>
              <a:gd name="connsiteX1123" fmla="*/ 4483433 w 6630249"/>
              <a:gd name="connsiteY1123" fmla="*/ 5129781 h 6750795"/>
              <a:gd name="connsiteX1124" fmla="*/ 4468043 w 6630249"/>
              <a:gd name="connsiteY1124" fmla="*/ 5145171 h 6750795"/>
              <a:gd name="connsiteX1125" fmla="*/ 4457784 w 6630249"/>
              <a:gd name="connsiteY1125" fmla="*/ 5134911 h 6750795"/>
              <a:gd name="connsiteX1126" fmla="*/ 4465478 w 6630249"/>
              <a:gd name="connsiteY1126" fmla="*/ 5168255 h 6750795"/>
              <a:gd name="connsiteX1127" fmla="*/ 4455219 w 6630249"/>
              <a:gd name="connsiteY1127" fmla="*/ 5165690 h 6750795"/>
              <a:gd name="connsiteX1128" fmla="*/ 4450089 w 6630249"/>
              <a:gd name="connsiteY1128" fmla="*/ 5022056 h 6750795"/>
              <a:gd name="connsiteX1129" fmla="*/ 4480868 w 6630249"/>
              <a:gd name="connsiteY1129" fmla="*/ 5011797 h 6750795"/>
              <a:gd name="connsiteX1130" fmla="*/ 4524471 w 6630249"/>
              <a:gd name="connsiteY1130" fmla="*/ 5029751 h 6750795"/>
              <a:gd name="connsiteX1131" fmla="*/ 4529601 w 6630249"/>
              <a:gd name="connsiteY1131" fmla="*/ 5024621 h 6750795"/>
              <a:gd name="connsiteX1132" fmla="*/ 4501387 w 6630249"/>
              <a:gd name="connsiteY1132" fmla="*/ 5004102 h 6750795"/>
              <a:gd name="connsiteX1133" fmla="*/ 4537295 w 6630249"/>
              <a:gd name="connsiteY1133" fmla="*/ 4991277 h 6750795"/>
              <a:gd name="connsiteX1134" fmla="*/ 4568074 w 6630249"/>
              <a:gd name="connsiteY1134" fmla="*/ 4955369 h 6750795"/>
              <a:gd name="connsiteX1135" fmla="*/ 4552685 w 6630249"/>
              <a:gd name="connsiteY1135" fmla="*/ 4945109 h 6750795"/>
              <a:gd name="connsiteX1136" fmla="*/ 4483433 w 6630249"/>
              <a:gd name="connsiteY1136" fmla="*/ 4993842 h 6750795"/>
              <a:gd name="connsiteX1137" fmla="*/ 4478303 w 6630249"/>
              <a:gd name="connsiteY1137" fmla="*/ 4947674 h 6750795"/>
              <a:gd name="connsiteX1138" fmla="*/ 4544990 w 6630249"/>
              <a:gd name="connsiteY1138" fmla="*/ 4750177 h 6750795"/>
              <a:gd name="connsiteX1139" fmla="*/ 4534730 w 6630249"/>
              <a:gd name="connsiteY1139" fmla="*/ 4739918 h 6750795"/>
              <a:gd name="connsiteX1140" fmla="*/ 4596288 w 6630249"/>
              <a:gd name="connsiteY1140" fmla="*/ 4601414 h 6750795"/>
              <a:gd name="connsiteX1141" fmla="*/ 4616807 w 6630249"/>
              <a:gd name="connsiteY1141" fmla="*/ 4588589 h 6750795"/>
              <a:gd name="connsiteX1142" fmla="*/ 4596288 w 6630249"/>
              <a:gd name="connsiteY1142" fmla="*/ 4580895 h 6750795"/>
              <a:gd name="connsiteX1143" fmla="*/ 4609113 w 6630249"/>
              <a:gd name="connsiteY1143" fmla="*/ 4547551 h 6750795"/>
              <a:gd name="connsiteX1144" fmla="*/ 4627067 w 6630249"/>
              <a:gd name="connsiteY1144" fmla="*/ 4529597 h 6750795"/>
              <a:gd name="connsiteX1145" fmla="*/ 3821690 w 6630249"/>
              <a:gd name="connsiteY1145" fmla="*/ 4478299 h 6750795"/>
              <a:gd name="connsiteX1146" fmla="*/ 3683186 w 6630249"/>
              <a:gd name="connsiteY1146" fmla="*/ 4580895 h 6750795"/>
              <a:gd name="connsiteX1147" fmla="*/ 3690881 w 6630249"/>
              <a:gd name="connsiteY1147" fmla="*/ 4591154 h 6750795"/>
              <a:gd name="connsiteX1148" fmla="*/ 3698576 w 6630249"/>
              <a:gd name="connsiteY1148" fmla="*/ 4586024 h 6750795"/>
              <a:gd name="connsiteX1149" fmla="*/ 3678056 w 6630249"/>
              <a:gd name="connsiteY1149" fmla="*/ 4616804 h 6750795"/>
              <a:gd name="connsiteX1150" fmla="*/ 3683186 w 6630249"/>
              <a:gd name="connsiteY1150" fmla="*/ 4619369 h 6750795"/>
              <a:gd name="connsiteX1151" fmla="*/ 3601110 w 6630249"/>
              <a:gd name="connsiteY1151" fmla="*/ 4721965 h 6750795"/>
              <a:gd name="connsiteX1152" fmla="*/ 3611369 w 6630249"/>
              <a:gd name="connsiteY1152" fmla="*/ 4729660 h 6750795"/>
              <a:gd name="connsiteX1153" fmla="*/ 3780652 w 6630249"/>
              <a:gd name="connsiteY1153" fmla="*/ 4565505 h 6750795"/>
              <a:gd name="connsiteX1154" fmla="*/ 3772957 w 6630249"/>
              <a:gd name="connsiteY1154" fmla="*/ 4555246 h 6750795"/>
              <a:gd name="connsiteX1155" fmla="*/ 3757568 w 6630249"/>
              <a:gd name="connsiteY1155" fmla="*/ 4562941 h 6750795"/>
              <a:gd name="connsiteX1156" fmla="*/ 3788347 w 6630249"/>
              <a:gd name="connsiteY1156" fmla="*/ 4539856 h 6750795"/>
              <a:gd name="connsiteX1157" fmla="*/ 3783217 w 6630249"/>
              <a:gd name="connsiteY1157" fmla="*/ 4529597 h 6750795"/>
              <a:gd name="connsiteX1158" fmla="*/ 3765263 w 6630249"/>
              <a:gd name="connsiteY1158" fmla="*/ 4534727 h 6750795"/>
              <a:gd name="connsiteX1159" fmla="*/ 3824255 w 6630249"/>
              <a:gd name="connsiteY1159" fmla="*/ 4491124 h 6750795"/>
              <a:gd name="connsiteX1160" fmla="*/ 4634763 w 6630249"/>
              <a:gd name="connsiteY1160" fmla="*/ 4473169 h 6750795"/>
              <a:gd name="connsiteX1161" fmla="*/ 4639893 w 6630249"/>
              <a:gd name="connsiteY1161" fmla="*/ 4491123 h 6750795"/>
              <a:gd name="connsiteX1162" fmla="*/ 4616809 w 6630249"/>
              <a:gd name="connsiteY1162" fmla="*/ 4506513 h 6750795"/>
              <a:gd name="connsiteX1163" fmla="*/ 4627069 w 6630249"/>
              <a:gd name="connsiteY1163" fmla="*/ 4496254 h 6750795"/>
              <a:gd name="connsiteX1164" fmla="*/ 4621939 w 6630249"/>
              <a:gd name="connsiteY1164" fmla="*/ 4491123 h 6750795"/>
              <a:gd name="connsiteX1165" fmla="*/ 4634763 w 6630249"/>
              <a:gd name="connsiteY1165" fmla="*/ 4473169 h 6750795"/>
              <a:gd name="connsiteX1166" fmla="*/ 4601419 w 6630249"/>
              <a:gd name="connsiteY1166" fmla="*/ 4462910 h 6750795"/>
              <a:gd name="connsiteX1167" fmla="*/ 4593725 w 6630249"/>
              <a:gd name="connsiteY1167" fmla="*/ 4470604 h 6750795"/>
              <a:gd name="connsiteX1168" fmla="*/ 4601419 w 6630249"/>
              <a:gd name="connsiteY1168" fmla="*/ 4462910 h 6750795"/>
              <a:gd name="connsiteX1169" fmla="*/ 3837721 w 6630249"/>
              <a:gd name="connsiteY1169" fmla="*/ 4429886 h 6750795"/>
              <a:gd name="connsiteX1170" fmla="*/ 3855034 w 6630249"/>
              <a:gd name="connsiteY1170" fmla="*/ 4437261 h 6750795"/>
              <a:gd name="connsiteX1171" fmla="*/ 3867858 w 6630249"/>
              <a:gd name="connsiteY1171" fmla="*/ 4475734 h 6750795"/>
              <a:gd name="connsiteX1172" fmla="*/ 3829385 w 6630249"/>
              <a:gd name="connsiteY1172" fmla="*/ 4511643 h 6750795"/>
              <a:gd name="connsiteX1173" fmla="*/ 3821370 w 6630249"/>
              <a:gd name="connsiteY1173" fmla="*/ 4553002 h 6750795"/>
              <a:gd name="connsiteX1174" fmla="*/ 3833870 w 6630249"/>
              <a:gd name="connsiteY1174" fmla="*/ 4594160 h 6750795"/>
              <a:gd name="connsiteX1175" fmla="*/ 3832116 w 6630249"/>
              <a:gd name="connsiteY1175" fmla="*/ 4598685 h 6750795"/>
              <a:gd name="connsiteX1176" fmla="*/ 3824255 w 6630249"/>
              <a:gd name="connsiteY1176" fmla="*/ 4606545 h 6750795"/>
              <a:gd name="connsiteX1177" fmla="*/ 3793477 w 6630249"/>
              <a:gd name="connsiteY1177" fmla="*/ 4665537 h 6750795"/>
              <a:gd name="connsiteX1178" fmla="*/ 3739614 w 6630249"/>
              <a:gd name="connsiteY1178" fmla="*/ 4683492 h 6750795"/>
              <a:gd name="connsiteX1179" fmla="*/ 3642148 w 6630249"/>
              <a:gd name="connsiteY1179" fmla="*/ 4737354 h 6750795"/>
              <a:gd name="connsiteX1180" fmla="*/ 3634453 w 6630249"/>
              <a:gd name="connsiteY1180" fmla="*/ 4752744 h 6750795"/>
              <a:gd name="connsiteX1181" fmla="*/ 3649842 w 6630249"/>
              <a:gd name="connsiteY1181" fmla="*/ 4745049 h 6750795"/>
              <a:gd name="connsiteX1182" fmla="*/ 3839645 w 6630249"/>
              <a:gd name="connsiteY1182" fmla="*/ 4678362 h 6750795"/>
              <a:gd name="connsiteX1183" fmla="*/ 3839645 w 6630249"/>
              <a:gd name="connsiteY1183" fmla="*/ 4747614 h 6750795"/>
              <a:gd name="connsiteX1184" fmla="*/ 3603674 w 6630249"/>
              <a:gd name="connsiteY1184" fmla="*/ 4893813 h 6750795"/>
              <a:gd name="connsiteX1185" fmla="*/ 3595980 w 6630249"/>
              <a:gd name="connsiteY1185" fmla="*/ 4911767 h 6750795"/>
              <a:gd name="connsiteX1186" fmla="*/ 3613934 w 6630249"/>
              <a:gd name="connsiteY1186" fmla="*/ 4898942 h 6750795"/>
              <a:gd name="connsiteX1187" fmla="*/ 3678056 w 6630249"/>
              <a:gd name="connsiteY1187" fmla="*/ 4816866 h 6750795"/>
              <a:gd name="connsiteX1188" fmla="*/ 3716530 w 6630249"/>
              <a:gd name="connsiteY1188" fmla="*/ 4824561 h 6750795"/>
              <a:gd name="connsiteX1189" fmla="*/ 3731919 w 6630249"/>
              <a:gd name="connsiteY1189" fmla="*/ 4839950 h 6750795"/>
              <a:gd name="connsiteX1190" fmla="*/ 3724225 w 6630249"/>
              <a:gd name="connsiteY1190" fmla="*/ 4847644 h 6750795"/>
              <a:gd name="connsiteX1191" fmla="*/ 3716530 w 6630249"/>
              <a:gd name="connsiteY1191" fmla="*/ 4845080 h 6750795"/>
              <a:gd name="connsiteX1192" fmla="*/ 3713965 w 6630249"/>
              <a:gd name="connsiteY1192" fmla="*/ 4845080 h 6750795"/>
              <a:gd name="connsiteX1193" fmla="*/ 3711400 w 6630249"/>
              <a:gd name="connsiteY1193" fmla="*/ 4847644 h 6750795"/>
              <a:gd name="connsiteX1194" fmla="*/ 3690881 w 6630249"/>
              <a:gd name="connsiteY1194" fmla="*/ 4868164 h 6750795"/>
              <a:gd name="connsiteX1195" fmla="*/ 3703705 w 6630249"/>
              <a:gd name="connsiteY1195" fmla="*/ 4832255 h 6750795"/>
              <a:gd name="connsiteX1196" fmla="*/ 3703705 w 6630249"/>
              <a:gd name="connsiteY1196" fmla="*/ 4821996 h 6750795"/>
              <a:gd name="connsiteX1197" fmla="*/ 3696011 w 6630249"/>
              <a:gd name="connsiteY1197" fmla="*/ 4824561 h 6750795"/>
              <a:gd name="connsiteX1198" fmla="*/ 3657537 w 6630249"/>
              <a:gd name="connsiteY1198" fmla="*/ 4860469 h 6750795"/>
              <a:gd name="connsiteX1199" fmla="*/ 3631888 w 6630249"/>
              <a:gd name="connsiteY1199" fmla="*/ 4886118 h 6750795"/>
              <a:gd name="connsiteX1200" fmla="*/ 3637018 w 6630249"/>
              <a:gd name="connsiteY1200" fmla="*/ 4898942 h 6750795"/>
              <a:gd name="connsiteX1201" fmla="*/ 3680621 w 6630249"/>
              <a:gd name="connsiteY1201" fmla="*/ 4880988 h 6750795"/>
              <a:gd name="connsiteX1202" fmla="*/ 3637018 w 6630249"/>
              <a:gd name="connsiteY1202" fmla="*/ 4924591 h 6750795"/>
              <a:gd name="connsiteX1203" fmla="*/ 3593415 w 6630249"/>
              <a:gd name="connsiteY1203" fmla="*/ 4970759 h 6750795"/>
              <a:gd name="connsiteX1204" fmla="*/ 3601110 w 6630249"/>
              <a:gd name="connsiteY1204" fmla="*/ 4973324 h 6750795"/>
              <a:gd name="connsiteX1205" fmla="*/ 3690881 w 6630249"/>
              <a:gd name="connsiteY1205" fmla="*/ 4901507 h 6750795"/>
              <a:gd name="connsiteX1206" fmla="*/ 3693446 w 6630249"/>
              <a:gd name="connsiteY1206" fmla="*/ 4898942 h 6750795"/>
              <a:gd name="connsiteX1207" fmla="*/ 3567766 w 6630249"/>
              <a:gd name="connsiteY1207" fmla="*/ 5009233 h 6750795"/>
              <a:gd name="connsiteX1208" fmla="*/ 3506209 w 6630249"/>
              <a:gd name="connsiteY1208" fmla="*/ 5052836 h 6750795"/>
              <a:gd name="connsiteX1209" fmla="*/ 3511338 w 6630249"/>
              <a:gd name="connsiteY1209" fmla="*/ 5060531 h 6750795"/>
              <a:gd name="connsiteX1210" fmla="*/ 3408743 w 6630249"/>
              <a:gd name="connsiteY1210" fmla="*/ 5096439 h 6750795"/>
              <a:gd name="connsiteX1211" fmla="*/ 3388223 w 6630249"/>
              <a:gd name="connsiteY1211" fmla="*/ 5104134 h 6750795"/>
              <a:gd name="connsiteX1212" fmla="*/ 3390788 w 6630249"/>
              <a:gd name="connsiteY1212" fmla="*/ 5116958 h 6750795"/>
              <a:gd name="connsiteX1213" fmla="*/ 3747308 w 6630249"/>
              <a:gd name="connsiteY1213" fmla="*/ 4914332 h 6750795"/>
              <a:gd name="connsiteX1214" fmla="*/ 3752438 w 6630249"/>
              <a:gd name="connsiteY1214" fmla="*/ 4927156 h 6750795"/>
              <a:gd name="connsiteX1215" fmla="*/ 3757568 w 6630249"/>
              <a:gd name="connsiteY1215" fmla="*/ 4939981 h 6750795"/>
              <a:gd name="connsiteX1216" fmla="*/ 3683186 w 6630249"/>
              <a:gd name="connsiteY1216" fmla="*/ 5016928 h 6750795"/>
              <a:gd name="connsiteX1217" fmla="*/ 3675491 w 6630249"/>
              <a:gd name="connsiteY1217" fmla="*/ 5029752 h 6750795"/>
              <a:gd name="connsiteX1218" fmla="*/ 3688316 w 6630249"/>
              <a:gd name="connsiteY1218" fmla="*/ 5024622 h 6750795"/>
              <a:gd name="connsiteX1219" fmla="*/ 3744743 w 6630249"/>
              <a:gd name="connsiteY1219" fmla="*/ 4981019 h 6750795"/>
              <a:gd name="connsiteX1220" fmla="*/ 3762698 w 6630249"/>
              <a:gd name="connsiteY1220" fmla="*/ 4960500 h 6750795"/>
              <a:gd name="connsiteX1221" fmla="*/ 3755003 w 6630249"/>
              <a:gd name="connsiteY1221" fmla="*/ 4970759 h 6750795"/>
              <a:gd name="connsiteX1222" fmla="*/ 3742179 w 6630249"/>
              <a:gd name="connsiteY1222" fmla="*/ 4998973 h 6750795"/>
              <a:gd name="connsiteX1223" fmla="*/ 3703705 w 6630249"/>
              <a:gd name="connsiteY1223" fmla="*/ 5022057 h 6750795"/>
              <a:gd name="connsiteX1224" fmla="*/ 3590850 w 6630249"/>
              <a:gd name="connsiteY1224" fmla="*/ 5063096 h 6750795"/>
              <a:gd name="connsiteX1225" fmla="*/ 3588285 w 6630249"/>
              <a:gd name="connsiteY1225" fmla="*/ 5075920 h 6750795"/>
              <a:gd name="connsiteX1226" fmla="*/ 3719094 w 6630249"/>
              <a:gd name="connsiteY1226" fmla="*/ 5050271 h 6750795"/>
              <a:gd name="connsiteX1227" fmla="*/ 3742179 w 6630249"/>
              <a:gd name="connsiteY1227" fmla="*/ 5034882 h 6750795"/>
              <a:gd name="connsiteX1228" fmla="*/ 3737049 w 6630249"/>
              <a:gd name="connsiteY1228" fmla="*/ 5119523 h 6750795"/>
              <a:gd name="connsiteX1229" fmla="*/ 3698576 w 6630249"/>
              <a:gd name="connsiteY1229" fmla="*/ 5234943 h 6750795"/>
              <a:gd name="connsiteX1230" fmla="*/ 3598545 w 6630249"/>
              <a:gd name="connsiteY1230" fmla="*/ 5229814 h 6750795"/>
              <a:gd name="connsiteX1231" fmla="*/ 3480560 w 6630249"/>
              <a:gd name="connsiteY1231" fmla="*/ 5206730 h 6750795"/>
              <a:gd name="connsiteX1232" fmla="*/ 3480560 w 6630249"/>
              <a:gd name="connsiteY1232" fmla="*/ 5219554 h 6750795"/>
              <a:gd name="connsiteX1233" fmla="*/ 3516468 w 6630249"/>
              <a:gd name="connsiteY1233" fmla="*/ 5227249 h 6750795"/>
              <a:gd name="connsiteX1234" fmla="*/ 3619064 w 6630249"/>
              <a:gd name="connsiteY1234" fmla="*/ 5268287 h 6750795"/>
              <a:gd name="connsiteX1235" fmla="*/ 3357445 w 6630249"/>
              <a:gd name="connsiteY1235" fmla="*/ 5352928 h 6750795"/>
              <a:gd name="connsiteX1236" fmla="*/ 3298452 w 6630249"/>
              <a:gd name="connsiteY1236" fmla="*/ 5286241 h 6750795"/>
              <a:gd name="connsiteX1237" fmla="*/ 3188162 w 6630249"/>
              <a:gd name="connsiteY1237" fmla="*/ 5206730 h 6750795"/>
              <a:gd name="connsiteX1238" fmla="*/ 3185597 w 6630249"/>
              <a:gd name="connsiteY1238" fmla="*/ 5206730 h 6750795"/>
              <a:gd name="connsiteX1239" fmla="*/ 3183033 w 6630249"/>
              <a:gd name="connsiteY1239" fmla="*/ 5206730 h 6750795"/>
              <a:gd name="connsiteX1240" fmla="*/ 3151848 w 6630249"/>
              <a:gd name="connsiteY1240" fmla="*/ 5235480 h 6750795"/>
              <a:gd name="connsiteX1241" fmla="*/ 3133288 w 6630249"/>
              <a:gd name="connsiteY1241" fmla="*/ 5261808 h 6750795"/>
              <a:gd name="connsiteX1242" fmla="*/ 3126604 w 6630249"/>
              <a:gd name="connsiteY1242" fmla="*/ 5252898 h 6750795"/>
              <a:gd name="connsiteX1243" fmla="*/ 3062482 w 6630249"/>
              <a:gd name="connsiteY1243" fmla="*/ 5340104 h 6750795"/>
              <a:gd name="connsiteX1244" fmla="*/ 3059917 w 6630249"/>
              <a:gd name="connsiteY1244" fmla="*/ 5319585 h 6750795"/>
              <a:gd name="connsiteX1245" fmla="*/ 3052222 w 6630249"/>
              <a:gd name="connsiteY1245" fmla="*/ 5304196 h 6750795"/>
              <a:gd name="connsiteX1246" fmla="*/ 3047094 w 6630249"/>
              <a:gd name="connsiteY1246" fmla="*/ 5319585 h 6750795"/>
              <a:gd name="connsiteX1247" fmla="*/ 2944497 w 6630249"/>
              <a:gd name="connsiteY1247" fmla="*/ 5583769 h 6750795"/>
              <a:gd name="connsiteX1248" fmla="*/ 2908589 w 6630249"/>
              <a:gd name="connsiteY1248" fmla="*/ 5622242 h 6750795"/>
              <a:gd name="connsiteX1249" fmla="*/ 2849596 w 6630249"/>
              <a:gd name="connsiteY1249" fmla="*/ 5704319 h 6750795"/>
              <a:gd name="connsiteX1250" fmla="*/ 2877810 w 6630249"/>
              <a:gd name="connsiteY1250" fmla="*/ 5747922 h 6750795"/>
              <a:gd name="connsiteX1251" fmla="*/ 2885504 w 6630249"/>
              <a:gd name="connsiteY1251" fmla="*/ 5753052 h 6750795"/>
              <a:gd name="connsiteX1252" fmla="*/ 2888069 w 6630249"/>
              <a:gd name="connsiteY1252" fmla="*/ 5742792 h 6750795"/>
              <a:gd name="connsiteX1253" fmla="*/ 2888069 w 6630249"/>
              <a:gd name="connsiteY1253" fmla="*/ 5740227 h 6750795"/>
              <a:gd name="connsiteX1254" fmla="*/ 2890634 w 6630249"/>
              <a:gd name="connsiteY1254" fmla="*/ 5760746 h 6750795"/>
              <a:gd name="connsiteX1255" fmla="*/ 2903459 w 6630249"/>
              <a:gd name="connsiteY1255" fmla="*/ 5758181 h 6750795"/>
              <a:gd name="connsiteX1256" fmla="*/ 2906023 w 6630249"/>
              <a:gd name="connsiteY1256" fmla="*/ 5747922 h 6750795"/>
              <a:gd name="connsiteX1257" fmla="*/ 2908589 w 6630249"/>
              <a:gd name="connsiteY1257" fmla="*/ 5747922 h 6750795"/>
              <a:gd name="connsiteX1258" fmla="*/ 2923978 w 6630249"/>
              <a:gd name="connsiteY1258" fmla="*/ 5742792 h 6750795"/>
              <a:gd name="connsiteX1259" fmla="*/ 2926543 w 6630249"/>
              <a:gd name="connsiteY1259" fmla="*/ 5722273 h 6750795"/>
              <a:gd name="connsiteX1260" fmla="*/ 2923978 w 6630249"/>
              <a:gd name="connsiteY1260" fmla="*/ 5719708 h 6750795"/>
              <a:gd name="connsiteX1261" fmla="*/ 2982970 w 6630249"/>
              <a:gd name="connsiteY1261" fmla="*/ 5622242 h 6750795"/>
              <a:gd name="connsiteX1262" fmla="*/ 3025612 w 6630249"/>
              <a:gd name="connsiteY1262" fmla="*/ 5561967 h 6750795"/>
              <a:gd name="connsiteX1263" fmla="*/ 3040513 w 6630249"/>
              <a:gd name="connsiteY1263" fmla="*/ 5531102 h 6750795"/>
              <a:gd name="connsiteX1264" fmla="*/ 3033948 w 6630249"/>
              <a:gd name="connsiteY1264" fmla="*/ 5551708 h 6750795"/>
              <a:gd name="connsiteX1265" fmla="*/ 2995795 w 6630249"/>
              <a:gd name="connsiteY1265" fmla="*/ 5609418 h 6750795"/>
              <a:gd name="connsiteX1266" fmla="*/ 2939368 w 6630249"/>
              <a:gd name="connsiteY1266" fmla="*/ 5712013 h 6750795"/>
              <a:gd name="connsiteX1267" fmla="*/ 2936802 w 6630249"/>
              <a:gd name="connsiteY1267" fmla="*/ 5719708 h 6750795"/>
              <a:gd name="connsiteX1268" fmla="*/ 2944497 w 6630249"/>
              <a:gd name="connsiteY1268" fmla="*/ 5719708 h 6750795"/>
              <a:gd name="connsiteX1269" fmla="*/ 2972711 w 6630249"/>
              <a:gd name="connsiteY1269" fmla="*/ 5694059 h 6750795"/>
              <a:gd name="connsiteX1270" fmla="*/ 2975276 w 6630249"/>
              <a:gd name="connsiteY1270" fmla="*/ 5681235 h 6750795"/>
              <a:gd name="connsiteX1271" fmla="*/ 3013749 w 6630249"/>
              <a:gd name="connsiteY1271" fmla="*/ 5622242 h 6750795"/>
              <a:gd name="connsiteX1272" fmla="*/ 3070177 w 6630249"/>
              <a:gd name="connsiteY1272" fmla="*/ 5435005 h 6750795"/>
              <a:gd name="connsiteX1273" fmla="*/ 3070177 w 6630249"/>
              <a:gd name="connsiteY1273" fmla="*/ 5432440 h 6750795"/>
              <a:gd name="connsiteX1274" fmla="*/ 3067612 w 6630249"/>
              <a:gd name="connsiteY1274" fmla="*/ 5432440 h 6750795"/>
              <a:gd name="connsiteX1275" fmla="*/ 3062482 w 6630249"/>
              <a:gd name="connsiteY1275" fmla="*/ 5432440 h 6750795"/>
              <a:gd name="connsiteX1276" fmla="*/ 3087811 w 6630249"/>
              <a:gd name="connsiteY1276" fmla="*/ 5342990 h 6750795"/>
              <a:gd name="connsiteX1277" fmla="*/ 3119983 w 6630249"/>
              <a:gd name="connsiteY1277" fmla="*/ 5287742 h 6750795"/>
              <a:gd name="connsiteX1278" fmla="*/ 3091658 w 6630249"/>
              <a:gd name="connsiteY1278" fmla="*/ 5361585 h 6750795"/>
              <a:gd name="connsiteX1279" fmla="*/ 3106085 w 6630249"/>
              <a:gd name="connsiteY1279" fmla="*/ 5545295 h 6750795"/>
              <a:gd name="connsiteX1280" fmla="*/ 3098391 w 6630249"/>
              <a:gd name="connsiteY1280" fmla="*/ 5547860 h 6750795"/>
              <a:gd name="connsiteX1281" fmla="*/ 3070177 w 6630249"/>
              <a:gd name="connsiteY1281" fmla="*/ 5570944 h 6750795"/>
              <a:gd name="connsiteX1282" fmla="*/ 3070177 w 6630249"/>
              <a:gd name="connsiteY1282" fmla="*/ 5573509 h 6750795"/>
              <a:gd name="connsiteX1283" fmla="*/ 3070177 w 6630249"/>
              <a:gd name="connsiteY1283" fmla="*/ 5576074 h 6750795"/>
              <a:gd name="connsiteX1284" fmla="*/ 3062482 w 6630249"/>
              <a:gd name="connsiteY1284" fmla="*/ 5637632 h 6750795"/>
              <a:gd name="connsiteX1285" fmla="*/ 3026574 w 6630249"/>
              <a:gd name="connsiteY1285" fmla="*/ 5647891 h 6750795"/>
              <a:gd name="connsiteX1286" fmla="*/ 3026574 w 6630249"/>
              <a:gd name="connsiteY1286" fmla="*/ 5650456 h 6750795"/>
              <a:gd name="connsiteX1287" fmla="*/ 3026574 w 6630249"/>
              <a:gd name="connsiteY1287" fmla="*/ 5653021 h 6750795"/>
              <a:gd name="connsiteX1288" fmla="*/ 3026574 w 6630249"/>
              <a:gd name="connsiteY1288" fmla="*/ 5670975 h 6750795"/>
              <a:gd name="connsiteX1289" fmla="*/ 3008619 w 6630249"/>
              <a:gd name="connsiteY1289" fmla="*/ 5735098 h 6750795"/>
              <a:gd name="connsiteX1290" fmla="*/ 2913718 w 6630249"/>
              <a:gd name="connsiteY1290" fmla="*/ 5776136 h 6750795"/>
              <a:gd name="connsiteX1291" fmla="*/ 2903459 w 6630249"/>
              <a:gd name="connsiteY1291" fmla="*/ 5788960 h 6750795"/>
              <a:gd name="connsiteX1292" fmla="*/ 2839336 w 6630249"/>
              <a:gd name="connsiteY1292" fmla="*/ 5786395 h 6750795"/>
              <a:gd name="connsiteX1293" fmla="*/ 2808558 w 6630249"/>
              <a:gd name="connsiteY1293" fmla="*/ 5824869 h 6750795"/>
              <a:gd name="connsiteX1294" fmla="*/ 2764954 w 6630249"/>
              <a:gd name="connsiteY1294" fmla="*/ 5824869 h 6750795"/>
              <a:gd name="connsiteX1295" fmla="*/ 2757260 w 6630249"/>
              <a:gd name="connsiteY1295" fmla="*/ 5827433 h 6750795"/>
              <a:gd name="connsiteX1296" fmla="*/ 2800863 w 6630249"/>
              <a:gd name="connsiteY1296" fmla="*/ 5704319 h 6750795"/>
              <a:gd name="connsiteX1297" fmla="*/ 2849596 w 6630249"/>
              <a:gd name="connsiteY1297" fmla="*/ 5552990 h 6750795"/>
              <a:gd name="connsiteX1298" fmla="*/ 2836771 w 6630249"/>
              <a:gd name="connsiteY1298" fmla="*/ 5550425 h 6750795"/>
              <a:gd name="connsiteX1299" fmla="*/ 2788038 w 6630249"/>
              <a:gd name="connsiteY1299" fmla="*/ 5681235 h 6750795"/>
              <a:gd name="connsiteX1300" fmla="*/ 2747000 w 6630249"/>
              <a:gd name="connsiteY1300" fmla="*/ 5863342 h 6750795"/>
              <a:gd name="connsiteX1301" fmla="*/ 2700832 w 6630249"/>
              <a:gd name="connsiteY1301" fmla="*/ 5773571 h 6750795"/>
              <a:gd name="connsiteX1302" fmla="*/ 2703397 w 6630249"/>
              <a:gd name="connsiteY1302" fmla="*/ 5735098 h 6750795"/>
              <a:gd name="connsiteX1303" fmla="*/ 2695702 w 6630249"/>
              <a:gd name="connsiteY1303" fmla="*/ 5727403 h 6750795"/>
              <a:gd name="connsiteX1304" fmla="*/ 2693137 w 6630249"/>
              <a:gd name="connsiteY1304" fmla="*/ 5714578 h 6750795"/>
              <a:gd name="connsiteX1305" fmla="*/ 2585412 w 6630249"/>
              <a:gd name="connsiteY1305" fmla="*/ 5673540 h 6750795"/>
              <a:gd name="connsiteX1306" fmla="*/ 2500770 w 6630249"/>
              <a:gd name="connsiteY1306" fmla="*/ 5604288 h 6750795"/>
              <a:gd name="connsiteX1307" fmla="*/ 2418694 w 6630249"/>
              <a:gd name="connsiteY1307" fmla="*/ 5493997 h 6750795"/>
              <a:gd name="connsiteX1308" fmla="*/ 2485381 w 6630249"/>
              <a:gd name="connsiteY1308" fmla="*/ 5445265 h 6750795"/>
              <a:gd name="connsiteX1309" fmla="*/ 2477686 w 6630249"/>
              <a:gd name="connsiteY1309" fmla="*/ 5435005 h 6750795"/>
              <a:gd name="connsiteX1310" fmla="*/ 2400741 w 6630249"/>
              <a:gd name="connsiteY1310" fmla="*/ 5470914 h 6750795"/>
              <a:gd name="connsiteX1311" fmla="*/ 2393045 w 6630249"/>
              <a:gd name="connsiteY1311" fmla="*/ 5473479 h 6750795"/>
              <a:gd name="connsiteX1312" fmla="*/ 2385350 w 6630249"/>
              <a:gd name="connsiteY1312" fmla="*/ 5458089 h 6750795"/>
              <a:gd name="connsiteX1313" fmla="*/ 2323793 w 6630249"/>
              <a:gd name="connsiteY1313" fmla="*/ 5488868 h 6750795"/>
              <a:gd name="connsiteX1314" fmla="*/ 2854726 w 6630249"/>
              <a:gd name="connsiteY1314" fmla="*/ 5229814 h 6750795"/>
              <a:gd name="connsiteX1315" fmla="*/ 3054787 w 6630249"/>
              <a:gd name="connsiteY1315" fmla="*/ 5132348 h 6750795"/>
              <a:gd name="connsiteX1316" fmla="*/ 3567766 w 6630249"/>
              <a:gd name="connsiteY1316" fmla="*/ 4770698 h 6750795"/>
              <a:gd name="connsiteX1317" fmla="*/ 3557507 w 6630249"/>
              <a:gd name="connsiteY1317" fmla="*/ 4763003 h 6750795"/>
              <a:gd name="connsiteX1318" fmla="*/ 3460041 w 6630249"/>
              <a:gd name="connsiteY1318" fmla="*/ 4850210 h 6750795"/>
              <a:gd name="connsiteX1319" fmla="*/ 3370269 w 6630249"/>
              <a:gd name="connsiteY1319" fmla="*/ 4934851 h 6750795"/>
              <a:gd name="connsiteX1320" fmla="*/ 3224070 w 6630249"/>
              <a:gd name="connsiteY1320" fmla="*/ 5019492 h 6750795"/>
              <a:gd name="connsiteX1321" fmla="*/ 3236896 w 6630249"/>
              <a:gd name="connsiteY1321" fmla="*/ 5006668 h 6750795"/>
              <a:gd name="connsiteX1322" fmla="*/ 3252284 w 6630249"/>
              <a:gd name="connsiteY1322" fmla="*/ 4993843 h 6750795"/>
              <a:gd name="connsiteX1323" fmla="*/ 3516468 w 6630249"/>
              <a:gd name="connsiteY1323" fmla="*/ 4783522 h 6750795"/>
              <a:gd name="connsiteX1324" fmla="*/ 3506209 w 6630249"/>
              <a:gd name="connsiteY1324" fmla="*/ 4775827 h 6750795"/>
              <a:gd name="connsiteX1325" fmla="*/ 3478923 w 6630249"/>
              <a:gd name="connsiteY1325" fmla="*/ 4798380 h 6750795"/>
              <a:gd name="connsiteX1326" fmla="*/ 3494667 w 6630249"/>
              <a:gd name="connsiteY1326" fmla="*/ 4781598 h 6750795"/>
              <a:gd name="connsiteX1327" fmla="*/ 3578025 w 6630249"/>
              <a:gd name="connsiteY1327" fmla="*/ 4647583 h 6750795"/>
              <a:gd name="connsiteX1328" fmla="*/ 3657537 w 6630249"/>
              <a:gd name="connsiteY1328" fmla="*/ 4575765 h 6750795"/>
              <a:gd name="connsiteX1329" fmla="*/ 3701140 w 6630249"/>
              <a:gd name="connsiteY1329" fmla="*/ 4542421 h 6750795"/>
              <a:gd name="connsiteX1330" fmla="*/ 3816561 w 6630249"/>
              <a:gd name="connsiteY1330" fmla="*/ 4432131 h 6750795"/>
              <a:gd name="connsiteX1331" fmla="*/ 3837721 w 6630249"/>
              <a:gd name="connsiteY1331" fmla="*/ 4429886 h 6750795"/>
              <a:gd name="connsiteX1332" fmla="*/ 3608804 w 6630249"/>
              <a:gd name="connsiteY1332" fmla="*/ 4373138 h 6750795"/>
              <a:gd name="connsiteX1333" fmla="*/ 3599186 w 6630249"/>
              <a:gd name="connsiteY1333" fmla="*/ 4395260 h 6750795"/>
              <a:gd name="connsiteX1334" fmla="*/ 3598855 w 6630249"/>
              <a:gd name="connsiteY1334" fmla="*/ 4395662 h 6750795"/>
              <a:gd name="connsiteX1335" fmla="*/ 1202978 w 6630249"/>
              <a:gd name="connsiteY1335" fmla="*/ 4280134 h 6750795"/>
              <a:gd name="connsiteX1336" fmla="*/ 1203016 w 6630249"/>
              <a:gd name="connsiteY1336" fmla="*/ 4280201 h 6750795"/>
              <a:gd name="connsiteX1337" fmla="*/ 1213837 w 6630249"/>
              <a:gd name="connsiteY1337" fmla="*/ 4335627 h 6750795"/>
              <a:gd name="connsiteX1338" fmla="*/ 1213841 w 6630249"/>
              <a:gd name="connsiteY1338" fmla="*/ 4336569 h 6750795"/>
              <a:gd name="connsiteX1339" fmla="*/ 3593417 w 6630249"/>
              <a:gd name="connsiteY1339" fmla="*/ 4262848 h 6750795"/>
              <a:gd name="connsiteX1340" fmla="*/ 3595982 w 6630249"/>
              <a:gd name="connsiteY1340" fmla="*/ 4265413 h 6750795"/>
              <a:gd name="connsiteX1341" fmla="*/ 3593417 w 6630249"/>
              <a:gd name="connsiteY1341" fmla="*/ 4278237 h 6750795"/>
              <a:gd name="connsiteX1342" fmla="*/ 3593417 w 6630249"/>
              <a:gd name="connsiteY1342" fmla="*/ 4262848 h 6750795"/>
              <a:gd name="connsiteX1343" fmla="*/ 1043592 w 6630249"/>
              <a:gd name="connsiteY1343" fmla="*/ 4224374 h 6750795"/>
              <a:gd name="connsiteX1344" fmla="*/ 1069562 w 6630249"/>
              <a:gd name="connsiteY1344" fmla="*/ 4224374 h 6750795"/>
              <a:gd name="connsiteX1345" fmla="*/ 1102905 w 6630249"/>
              <a:gd name="connsiteY1345" fmla="*/ 4239764 h 6750795"/>
              <a:gd name="connsiteX1346" fmla="*/ 1154203 w 6630249"/>
              <a:gd name="connsiteY1346" fmla="*/ 4257718 h 6750795"/>
              <a:gd name="connsiteX1347" fmla="*/ 1167028 w 6630249"/>
              <a:gd name="connsiteY1347" fmla="*/ 4250023 h 6750795"/>
              <a:gd name="connsiteX1348" fmla="*/ 1195241 w 6630249"/>
              <a:gd name="connsiteY1348" fmla="*/ 4450085 h 6750795"/>
              <a:gd name="connsiteX1349" fmla="*/ 1208066 w 6630249"/>
              <a:gd name="connsiteY1349" fmla="*/ 4450085 h 6750795"/>
              <a:gd name="connsiteX1350" fmla="*/ 1214078 w 6630249"/>
              <a:gd name="connsiteY1350" fmla="*/ 4394419 h 6750795"/>
              <a:gd name="connsiteX1351" fmla="*/ 1213841 w 6630249"/>
              <a:gd name="connsiteY1351" fmla="*/ 4336569 h 6750795"/>
              <a:gd name="connsiteX1352" fmla="*/ 1218967 w 6630249"/>
              <a:gd name="connsiteY1352" fmla="*/ 4363199 h 6750795"/>
              <a:gd name="connsiteX1353" fmla="*/ 1218326 w 6630249"/>
              <a:gd name="connsiteY1353" fmla="*/ 4591155 h 6750795"/>
              <a:gd name="connsiteX1354" fmla="*/ 941316 w 6630249"/>
              <a:gd name="connsiteY1354" fmla="*/ 4573201 h 6750795"/>
              <a:gd name="connsiteX1355" fmla="*/ 1092646 w 6630249"/>
              <a:gd name="connsiteY1355" fmla="*/ 4493689 h 6750795"/>
              <a:gd name="connsiteX1356" fmla="*/ 956705 w 6630249"/>
              <a:gd name="connsiteY1356" fmla="*/ 4473169 h 6750795"/>
              <a:gd name="connsiteX1357" fmla="*/ 1036217 w 6630249"/>
              <a:gd name="connsiteY1357" fmla="*/ 4432130 h 6750795"/>
              <a:gd name="connsiteX1358" fmla="*/ 836155 w 6630249"/>
              <a:gd name="connsiteY1358" fmla="*/ 4442390 h 6750795"/>
              <a:gd name="connsiteX1359" fmla="*/ 756644 w 6630249"/>
              <a:gd name="connsiteY1359" fmla="*/ 4411611 h 6750795"/>
              <a:gd name="connsiteX1360" fmla="*/ 966965 w 6630249"/>
              <a:gd name="connsiteY1360" fmla="*/ 4226939 h 6750795"/>
              <a:gd name="connsiteX1361" fmla="*/ 992614 w 6630249"/>
              <a:gd name="connsiteY1361" fmla="*/ 4242329 h 6750795"/>
              <a:gd name="connsiteX1362" fmla="*/ 995179 w 6630249"/>
              <a:gd name="connsiteY1362" fmla="*/ 4242329 h 6750795"/>
              <a:gd name="connsiteX1363" fmla="*/ 1023394 w 6630249"/>
              <a:gd name="connsiteY1363" fmla="*/ 4232069 h 6750795"/>
              <a:gd name="connsiteX1364" fmla="*/ 1043592 w 6630249"/>
              <a:gd name="connsiteY1364" fmla="*/ 4224374 h 6750795"/>
              <a:gd name="connsiteX1365" fmla="*/ 1177077 w 6630249"/>
              <a:gd name="connsiteY1365" fmla="*/ 4220738 h 6750795"/>
              <a:gd name="connsiteX1366" fmla="*/ 1200291 w 6630249"/>
              <a:gd name="connsiteY1366" fmla="*/ 4266174 h 6750795"/>
              <a:gd name="connsiteX1367" fmla="*/ 1202978 w 6630249"/>
              <a:gd name="connsiteY1367" fmla="*/ 4280134 h 6750795"/>
              <a:gd name="connsiteX1368" fmla="*/ 1177287 w 6630249"/>
              <a:gd name="connsiteY1368" fmla="*/ 4234634 h 6750795"/>
              <a:gd name="connsiteX1369" fmla="*/ 1226019 w 6630249"/>
              <a:gd name="connsiteY1369" fmla="*/ 4196161 h 6750795"/>
              <a:gd name="connsiteX1370" fmla="*/ 1264493 w 6630249"/>
              <a:gd name="connsiteY1370" fmla="*/ 4270543 h 6750795"/>
              <a:gd name="connsiteX1371" fmla="*/ 1226019 w 6630249"/>
              <a:gd name="connsiteY1371" fmla="*/ 4196161 h 6750795"/>
              <a:gd name="connsiteX1372" fmla="*/ 1161898 w 6630249"/>
              <a:gd name="connsiteY1372" fmla="*/ 4191031 h 6750795"/>
              <a:gd name="connsiteX1373" fmla="*/ 1167028 w 6630249"/>
              <a:gd name="connsiteY1373" fmla="*/ 4196160 h 6750795"/>
              <a:gd name="connsiteX1374" fmla="*/ 1176966 w 6630249"/>
              <a:gd name="connsiteY1374" fmla="*/ 4213473 h 6750795"/>
              <a:gd name="connsiteX1375" fmla="*/ 1177077 w 6630249"/>
              <a:gd name="connsiteY1375" fmla="*/ 4220738 h 6750795"/>
              <a:gd name="connsiteX1376" fmla="*/ 1272187 w 6630249"/>
              <a:gd name="connsiteY1376" fmla="*/ 4175642 h 6750795"/>
              <a:gd name="connsiteX1377" fmla="*/ 1446599 w 6630249"/>
              <a:gd name="connsiteY1377" fmla="*/ 4185901 h 6750795"/>
              <a:gd name="connsiteX1378" fmla="*/ 1467119 w 6630249"/>
              <a:gd name="connsiteY1378" fmla="*/ 4198726 h 6750795"/>
              <a:gd name="connsiteX1379" fmla="*/ 1533806 w 6630249"/>
              <a:gd name="connsiteY1379" fmla="*/ 4221810 h 6750795"/>
              <a:gd name="connsiteX1380" fmla="*/ 1582539 w 6630249"/>
              <a:gd name="connsiteY1380" fmla="*/ 4260283 h 6750795"/>
              <a:gd name="connsiteX1381" fmla="*/ 1600493 w 6630249"/>
              <a:gd name="connsiteY1381" fmla="*/ 4267978 h 6750795"/>
              <a:gd name="connsiteX1382" fmla="*/ 1605623 w 6630249"/>
              <a:gd name="connsiteY1382" fmla="*/ 4270543 h 6750795"/>
              <a:gd name="connsiteX1383" fmla="*/ 1608188 w 6630249"/>
              <a:gd name="connsiteY1383" fmla="*/ 4267978 h 6750795"/>
              <a:gd name="connsiteX1384" fmla="*/ 1656922 w 6630249"/>
              <a:gd name="connsiteY1384" fmla="*/ 4262848 h 6750795"/>
              <a:gd name="connsiteX1385" fmla="*/ 1695395 w 6630249"/>
              <a:gd name="connsiteY1385" fmla="*/ 4301321 h 6750795"/>
              <a:gd name="connsiteX1386" fmla="*/ 1628708 w 6630249"/>
              <a:gd name="connsiteY1386" fmla="*/ 4429566 h 6750795"/>
              <a:gd name="connsiteX1387" fmla="*/ 1574844 w 6630249"/>
              <a:gd name="connsiteY1387" fmla="*/ 4529597 h 6750795"/>
              <a:gd name="connsiteX1388" fmla="*/ 1574844 w 6630249"/>
              <a:gd name="connsiteY1388" fmla="*/ 4544986 h 6750795"/>
              <a:gd name="connsiteX1389" fmla="*/ 1585104 w 6630249"/>
              <a:gd name="connsiteY1389" fmla="*/ 4534727 h 6750795"/>
              <a:gd name="connsiteX1390" fmla="*/ 1667181 w 6630249"/>
              <a:gd name="connsiteY1390" fmla="*/ 4409047 h 6750795"/>
              <a:gd name="connsiteX1391" fmla="*/ 1697960 w 6630249"/>
              <a:gd name="connsiteY1391" fmla="*/ 4355184 h 6750795"/>
              <a:gd name="connsiteX1392" fmla="*/ 1600493 w 6630249"/>
              <a:gd name="connsiteY1392" fmla="*/ 4529597 h 6750795"/>
              <a:gd name="connsiteX1393" fmla="*/ 1554325 w 6630249"/>
              <a:gd name="connsiteY1393" fmla="*/ 4601414 h 6750795"/>
              <a:gd name="connsiteX1394" fmla="*/ 1564585 w 6630249"/>
              <a:gd name="connsiteY1394" fmla="*/ 4609108 h 6750795"/>
              <a:gd name="connsiteX1395" fmla="*/ 1590233 w 6630249"/>
              <a:gd name="connsiteY1395" fmla="*/ 4578330 h 6750795"/>
              <a:gd name="connsiteX1396" fmla="*/ 1667181 w 6630249"/>
              <a:gd name="connsiteY1396" fmla="*/ 4473169 h 6750795"/>
              <a:gd name="connsiteX1397" fmla="*/ 1754388 w 6630249"/>
              <a:gd name="connsiteY1397" fmla="*/ 4278237 h 6750795"/>
              <a:gd name="connsiteX1398" fmla="*/ 1795426 w 6630249"/>
              <a:gd name="connsiteY1398" fmla="*/ 4301321 h 6750795"/>
              <a:gd name="connsiteX1399" fmla="*/ 1808251 w 6630249"/>
              <a:gd name="connsiteY1399" fmla="*/ 4314146 h 6750795"/>
              <a:gd name="connsiteX1400" fmla="*/ 1900586 w 6630249"/>
              <a:gd name="connsiteY1400" fmla="*/ 4478299 h 6750795"/>
              <a:gd name="connsiteX1401" fmla="*/ 1915976 w 6630249"/>
              <a:gd name="connsiteY1401" fmla="*/ 4491124 h 6750795"/>
              <a:gd name="connsiteX1402" fmla="*/ 1851853 w 6630249"/>
              <a:gd name="connsiteY1402" fmla="*/ 4552681 h 6750795"/>
              <a:gd name="connsiteX1403" fmla="*/ 1844159 w 6630249"/>
              <a:gd name="connsiteY1403" fmla="*/ 4557811 h 6750795"/>
              <a:gd name="connsiteX1404" fmla="*/ 1841594 w 6630249"/>
              <a:gd name="connsiteY1404" fmla="*/ 4555246 h 6750795"/>
              <a:gd name="connsiteX1405" fmla="*/ 1839029 w 6630249"/>
              <a:gd name="connsiteY1405" fmla="*/ 4552681 h 6750795"/>
              <a:gd name="connsiteX1406" fmla="*/ 1836464 w 6630249"/>
              <a:gd name="connsiteY1406" fmla="*/ 4552681 h 6750795"/>
              <a:gd name="connsiteX1407" fmla="*/ 1600493 w 6630249"/>
              <a:gd name="connsiteY1407" fmla="*/ 4957934 h 6750795"/>
              <a:gd name="connsiteX1408" fmla="*/ 1608188 w 6630249"/>
              <a:gd name="connsiteY1408" fmla="*/ 5055400 h 6750795"/>
              <a:gd name="connsiteX1409" fmla="*/ 1595363 w 6630249"/>
              <a:gd name="connsiteY1409" fmla="*/ 5052835 h 6750795"/>
              <a:gd name="connsiteX1410" fmla="*/ 1603058 w 6630249"/>
              <a:gd name="connsiteY1410" fmla="*/ 5063095 h 6750795"/>
              <a:gd name="connsiteX1411" fmla="*/ 1618449 w 6630249"/>
              <a:gd name="connsiteY1411" fmla="*/ 5132347 h 6750795"/>
              <a:gd name="connsiteX1412" fmla="*/ 1613318 w 6630249"/>
              <a:gd name="connsiteY1412" fmla="*/ 5140042 h 6750795"/>
              <a:gd name="connsiteX1413" fmla="*/ 1603058 w 6630249"/>
              <a:gd name="connsiteY1413" fmla="*/ 5119522 h 6750795"/>
              <a:gd name="connsiteX1414" fmla="*/ 1595363 w 6630249"/>
              <a:gd name="connsiteY1414" fmla="*/ 5122087 h 6750795"/>
              <a:gd name="connsiteX1415" fmla="*/ 1569714 w 6630249"/>
              <a:gd name="connsiteY1415" fmla="*/ 4860468 h 6750795"/>
              <a:gd name="connsiteX1416" fmla="*/ 1726174 w 6630249"/>
              <a:gd name="connsiteY1416" fmla="*/ 4570635 h 6750795"/>
              <a:gd name="connsiteX1417" fmla="*/ 1792861 w 6630249"/>
              <a:gd name="connsiteY1417" fmla="*/ 4544986 h 6750795"/>
              <a:gd name="connsiteX1418" fmla="*/ 1859548 w 6630249"/>
              <a:gd name="connsiteY1418" fmla="*/ 4521902 h 6750795"/>
              <a:gd name="connsiteX1419" fmla="*/ 1872373 w 6630249"/>
              <a:gd name="connsiteY1419" fmla="*/ 4514207 h 6750795"/>
              <a:gd name="connsiteX1420" fmla="*/ 1856983 w 6630249"/>
              <a:gd name="connsiteY1420" fmla="*/ 4511643 h 6750795"/>
              <a:gd name="connsiteX1421" fmla="*/ 1700525 w 6630249"/>
              <a:gd name="connsiteY1421" fmla="*/ 4552681 h 6750795"/>
              <a:gd name="connsiteX1422" fmla="*/ 1531241 w 6630249"/>
              <a:gd name="connsiteY1422" fmla="*/ 4888682 h 6750795"/>
              <a:gd name="connsiteX1423" fmla="*/ 1564585 w 6630249"/>
              <a:gd name="connsiteY1423" fmla="*/ 5129782 h 6750795"/>
              <a:gd name="connsiteX1424" fmla="*/ 1526111 w 6630249"/>
              <a:gd name="connsiteY1424" fmla="*/ 5129782 h 6750795"/>
              <a:gd name="connsiteX1425" fmla="*/ 1451729 w 6630249"/>
              <a:gd name="connsiteY1425" fmla="*/ 5083614 h 6750795"/>
              <a:gd name="connsiteX1426" fmla="*/ 1467119 w 6630249"/>
              <a:gd name="connsiteY1426" fmla="*/ 5073354 h 6750795"/>
              <a:gd name="connsiteX1427" fmla="*/ 1415821 w 6630249"/>
              <a:gd name="connsiteY1427" fmla="*/ 5042576 h 6750795"/>
              <a:gd name="connsiteX1428" fmla="*/ 1379912 w 6630249"/>
              <a:gd name="connsiteY1428" fmla="*/ 4957934 h 6750795"/>
              <a:gd name="connsiteX1429" fmla="*/ 1377347 w 6630249"/>
              <a:gd name="connsiteY1429" fmla="*/ 4880987 h 6750795"/>
              <a:gd name="connsiteX1430" fmla="*/ 1385042 w 6630249"/>
              <a:gd name="connsiteY1430" fmla="*/ 4878422 h 6750795"/>
              <a:gd name="connsiteX1431" fmla="*/ 1364523 w 6630249"/>
              <a:gd name="connsiteY1431" fmla="*/ 4688620 h 6750795"/>
              <a:gd name="connsiteX1432" fmla="*/ 1279881 w 6630249"/>
              <a:gd name="connsiteY1432" fmla="*/ 4662971 h 6750795"/>
              <a:gd name="connsiteX1433" fmla="*/ 1231148 w 6630249"/>
              <a:gd name="connsiteY1433" fmla="*/ 4598849 h 6750795"/>
              <a:gd name="connsiteX1434" fmla="*/ 1172156 w 6630249"/>
              <a:gd name="connsiteY1434" fmla="*/ 4178207 h 6750795"/>
              <a:gd name="connsiteX1435" fmla="*/ 1238843 w 6630249"/>
              <a:gd name="connsiteY1435" fmla="*/ 4273108 h 6750795"/>
              <a:gd name="connsiteX1436" fmla="*/ 1254232 w 6630249"/>
              <a:gd name="connsiteY1436" fmla="*/ 4391093 h 6750795"/>
              <a:gd name="connsiteX1437" fmla="*/ 1256797 w 6630249"/>
              <a:gd name="connsiteY1437" fmla="*/ 4442390 h 6750795"/>
              <a:gd name="connsiteX1438" fmla="*/ 1269622 w 6630249"/>
              <a:gd name="connsiteY1438" fmla="*/ 4442390 h 6750795"/>
              <a:gd name="connsiteX1439" fmla="*/ 1274751 w 6630249"/>
              <a:gd name="connsiteY1439" fmla="*/ 4314146 h 6750795"/>
              <a:gd name="connsiteX1440" fmla="*/ 1277316 w 6630249"/>
              <a:gd name="connsiteY1440" fmla="*/ 4319276 h 6750795"/>
              <a:gd name="connsiteX1441" fmla="*/ 1287576 w 6630249"/>
              <a:gd name="connsiteY1441" fmla="*/ 4334665 h 6750795"/>
              <a:gd name="connsiteX1442" fmla="*/ 1287576 w 6630249"/>
              <a:gd name="connsiteY1442" fmla="*/ 4316711 h 6750795"/>
              <a:gd name="connsiteX1443" fmla="*/ 1259362 w 6630249"/>
              <a:gd name="connsiteY1443" fmla="*/ 4193596 h 6750795"/>
              <a:gd name="connsiteX1444" fmla="*/ 1267057 w 6630249"/>
              <a:gd name="connsiteY1444" fmla="*/ 4183336 h 6750795"/>
              <a:gd name="connsiteX1445" fmla="*/ 1272187 w 6630249"/>
              <a:gd name="connsiteY1445" fmla="*/ 4175642 h 6750795"/>
              <a:gd name="connsiteX1446" fmla="*/ 1131119 w 6630249"/>
              <a:gd name="connsiteY1446" fmla="*/ 4165382 h 6750795"/>
              <a:gd name="connsiteX1447" fmla="*/ 1123424 w 6630249"/>
              <a:gd name="connsiteY1447" fmla="*/ 4173076 h 6750795"/>
              <a:gd name="connsiteX1448" fmla="*/ 1120859 w 6630249"/>
              <a:gd name="connsiteY1448" fmla="*/ 4175641 h 6750795"/>
              <a:gd name="connsiteX1449" fmla="*/ 1123424 w 6630249"/>
              <a:gd name="connsiteY1449" fmla="*/ 4178206 h 6750795"/>
              <a:gd name="connsiteX1450" fmla="*/ 1136249 w 6630249"/>
              <a:gd name="connsiteY1450" fmla="*/ 4198725 h 6750795"/>
              <a:gd name="connsiteX1451" fmla="*/ 1149073 w 6630249"/>
              <a:gd name="connsiteY1451" fmla="*/ 4221810 h 6750795"/>
              <a:gd name="connsiteX1452" fmla="*/ 1097774 w 6630249"/>
              <a:gd name="connsiteY1452" fmla="*/ 4208986 h 6750795"/>
              <a:gd name="connsiteX1453" fmla="*/ 1041347 w 6630249"/>
              <a:gd name="connsiteY1453" fmla="*/ 4196160 h 6750795"/>
              <a:gd name="connsiteX1454" fmla="*/ 1131119 w 6630249"/>
              <a:gd name="connsiteY1454" fmla="*/ 4165382 h 6750795"/>
              <a:gd name="connsiteX1455" fmla="*/ 6001917 w 6630249"/>
              <a:gd name="connsiteY1455" fmla="*/ 4150997 h 6750795"/>
              <a:gd name="connsiteX1456" fmla="*/ 6002491 w 6630249"/>
              <a:gd name="connsiteY1456" fmla="*/ 4151596 h 6750795"/>
              <a:gd name="connsiteX1457" fmla="*/ 6006980 w 6630249"/>
              <a:gd name="connsiteY1457" fmla="*/ 4162817 h 6750795"/>
              <a:gd name="connsiteX1458" fmla="*/ 6024935 w 6630249"/>
              <a:gd name="connsiteY1458" fmla="*/ 4165382 h 6750795"/>
              <a:gd name="connsiteX1459" fmla="*/ 6037759 w 6630249"/>
              <a:gd name="connsiteY1459" fmla="*/ 4178206 h 6750795"/>
              <a:gd name="connsiteX1460" fmla="*/ 6032629 w 6630249"/>
              <a:gd name="connsiteY1460" fmla="*/ 4198726 h 6750795"/>
              <a:gd name="connsiteX1461" fmla="*/ 6009544 w 6630249"/>
              <a:gd name="connsiteY1461" fmla="*/ 4201291 h 6750795"/>
              <a:gd name="connsiteX1462" fmla="*/ 5996720 w 6630249"/>
              <a:gd name="connsiteY1462" fmla="*/ 4185901 h 6750795"/>
              <a:gd name="connsiteX1463" fmla="*/ 6003132 w 6630249"/>
              <a:gd name="connsiteY1463" fmla="*/ 4168909 h 6750795"/>
              <a:gd name="connsiteX1464" fmla="*/ 5999765 w 6630249"/>
              <a:gd name="connsiteY1464" fmla="*/ 4148750 h 6750795"/>
              <a:gd name="connsiteX1465" fmla="*/ 6001849 w 6630249"/>
              <a:gd name="connsiteY1465" fmla="*/ 4149992 h 6750795"/>
              <a:gd name="connsiteX1466" fmla="*/ 6001917 w 6630249"/>
              <a:gd name="connsiteY1466" fmla="*/ 4150997 h 6750795"/>
              <a:gd name="connsiteX1467" fmla="*/ 1992923 w 6630249"/>
              <a:gd name="connsiteY1467" fmla="*/ 4116649 h 6750795"/>
              <a:gd name="connsiteX1468" fmla="*/ 1862112 w 6630249"/>
              <a:gd name="connsiteY1468" fmla="*/ 4385962 h 6750795"/>
              <a:gd name="connsiteX1469" fmla="*/ 1862112 w 6630249"/>
              <a:gd name="connsiteY1469" fmla="*/ 4383398 h 6750795"/>
              <a:gd name="connsiteX1470" fmla="*/ 1856983 w 6630249"/>
              <a:gd name="connsiteY1470" fmla="*/ 4362879 h 6750795"/>
              <a:gd name="connsiteX1471" fmla="*/ 1867242 w 6630249"/>
              <a:gd name="connsiteY1471" fmla="*/ 4350054 h 6750795"/>
              <a:gd name="connsiteX1472" fmla="*/ 1908282 w 6630249"/>
              <a:gd name="connsiteY1472" fmla="*/ 4273107 h 6750795"/>
              <a:gd name="connsiteX1473" fmla="*/ 1900587 w 6630249"/>
              <a:gd name="connsiteY1473" fmla="*/ 4270542 h 6750795"/>
              <a:gd name="connsiteX1474" fmla="*/ 1992923 w 6630249"/>
              <a:gd name="connsiteY1474" fmla="*/ 4116649 h 6750795"/>
              <a:gd name="connsiteX1475" fmla="*/ 5755621 w 6630249"/>
              <a:gd name="connsiteY1475" fmla="*/ 4024314 h 6750795"/>
              <a:gd name="connsiteX1476" fmla="*/ 5758185 w 6630249"/>
              <a:gd name="connsiteY1476" fmla="*/ 4032008 h 6750795"/>
              <a:gd name="connsiteX1477" fmla="*/ 5753056 w 6630249"/>
              <a:gd name="connsiteY1477" fmla="*/ 4032008 h 6750795"/>
              <a:gd name="connsiteX1478" fmla="*/ 5755621 w 6630249"/>
              <a:gd name="connsiteY1478" fmla="*/ 4024314 h 6750795"/>
              <a:gd name="connsiteX1479" fmla="*/ 2108342 w 6630249"/>
              <a:gd name="connsiteY1479" fmla="*/ 3960191 h 6750795"/>
              <a:gd name="connsiteX1480" fmla="*/ 1915975 w 6630249"/>
              <a:gd name="connsiteY1480" fmla="*/ 4421872 h 6750795"/>
              <a:gd name="connsiteX1481" fmla="*/ 1892891 w 6630249"/>
              <a:gd name="connsiteY1481" fmla="*/ 4416742 h 6750795"/>
              <a:gd name="connsiteX1482" fmla="*/ 1967274 w 6630249"/>
              <a:gd name="connsiteY1482" fmla="*/ 4244894 h 6750795"/>
              <a:gd name="connsiteX1483" fmla="*/ 2108342 w 6630249"/>
              <a:gd name="connsiteY1483" fmla="*/ 3960191 h 6750795"/>
              <a:gd name="connsiteX1484" fmla="*/ 5973637 w 6630249"/>
              <a:gd name="connsiteY1484" fmla="*/ 3885809 h 6750795"/>
              <a:gd name="connsiteX1485" fmla="*/ 5955682 w 6630249"/>
              <a:gd name="connsiteY1485" fmla="*/ 3937108 h 6750795"/>
              <a:gd name="connsiteX1486" fmla="*/ 5922338 w 6630249"/>
              <a:gd name="connsiteY1486" fmla="*/ 3934543 h 6750795"/>
              <a:gd name="connsiteX1487" fmla="*/ 5919773 w 6630249"/>
              <a:gd name="connsiteY1487" fmla="*/ 3914023 h 6750795"/>
              <a:gd name="connsiteX1488" fmla="*/ 5958247 w 6630249"/>
              <a:gd name="connsiteY1488" fmla="*/ 3896069 h 6750795"/>
              <a:gd name="connsiteX1489" fmla="*/ 5958247 w 6630249"/>
              <a:gd name="connsiteY1489" fmla="*/ 3903763 h 6750795"/>
              <a:gd name="connsiteX1490" fmla="*/ 5973637 w 6630249"/>
              <a:gd name="connsiteY1490" fmla="*/ 3885809 h 6750795"/>
              <a:gd name="connsiteX1491" fmla="*/ 5790488 w 6630249"/>
              <a:gd name="connsiteY1491" fmla="*/ 3880078 h 6750795"/>
              <a:gd name="connsiteX1492" fmla="*/ 5794095 w 6630249"/>
              <a:gd name="connsiteY1492" fmla="*/ 3888374 h 6750795"/>
              <a:gd name="connsiteX1493" fmla="*/ 5788965 w 6630249"/>
              <a:gd name="connsiteY1493" fmla="*/ 3919153 h 6750795"/>
              <a:gd name="connsiteX1494" fmla="*/ 5773574 w 6630249"/>
              <a:gd name="connsiteY1494" fmla="*/ 3885809 h 6750795"/>
              <a:gd name="connsiteX1495" fmla="*/ 5786400 w 6630249"/>
              <a:gd name="connsiteY1495" fmla="*/ 3883244 h 6750795"/>
              <a:gd name="connsiteX1496" fmla="*/ 5790488 w 6630249"/>
              <a:gd name="connsiteY1496" fmla="*/ 3880078 h 6750795"/>
              <a:gd name="connsiteX1497" fmla="*/ 5696628 w 6630249"/>
              <a:gd name="connsiteY1497" fmla="*/ 3870419 h 6750795"/>
              <a:gd name="connsiteX1498" fmla="*/ 5696628 w 6630249"/>
              <a:gd name="connsiteY1498" fmla="*/ 3896069 h 6750795"/>
              <a:gd name="connsiteX1499" fmla="*/ 5696628 w 6630249"/>
              <a:gd name="connsiteY1499" fmla="*/ 3870419 h 6750795"/>
              <a:gd name="connsiteX1500" fmla="*/ 5583773 w 6630249"/>
              <a:gd name="connsiteY1500" fmla="*/ 3844771 h 6750795"/>
              <a:gd name="connsiteX1501" fmla="*/ 5594033 w 6630249"/>
              <a:gd name="connsiteY1501" fmla="*/ 3852465 h 6750795"/>
              <a:gd name="connsiteX1502" fmla="*/ 5586338 w 6630249"/>
              <a:gd name="connsiteY1502" fmla="*/ 3872985 h 6750795"/>
              <a:gd name="connsiteX1503" fmla="*/ 5586338 w 6630249"/>
              <a:gd name="connsiteY1503" fmla="*/ 3852465 h 6750795"/>
              <a:gd name="connsiteX1504" fmla="*/ 5583773 w 6630249"/>
              <a:gd name="connsiteY1504" fmla="*/ 3857595 h 6750795"/>
              <a:gd name="connsiteX1505" fmla="*/ 5583773 w 6630249"/>
              <a:gd name="connsiteY1505" fmla="*/ 3844771 h 6750795"/>
              <a:gd name="connsiteX1506" fmla="*/ 6394279 w 6630249"/>
              <a:gd name="connsiteY1506" fmla="*/ 3829381 h 6750795"/>
              <a:gd name="connsiteX1507" fmla="*/ 6468662 w 6630249"/>
              <a:gd name="connsiteY1507" fmla="*/ 3842205 h 6750795"/>
              <a:gd name="connsiteX1508" fmla="*/ 6394279 w 6630249"/>
              <a:gd name="connsiteY1508" fmla="*/ 3829381 h 6750795"/>
              <a:gd name="connsiteX1509" fmla="*/ 5624811 w 6630249"/>
              <a:gd name="connsiteY1509" fmla="*/ 3806298 h 6750795"/>
              <a:gd name="connsiteX1510" fmla="*/ 5632506 w 6630249"/>
              <a:gd name="connsiteY1510" fmla="*/ 3811428 h 6750795"/>
              <a:gd name="connsiteX1511" fmla="*/ 5624811 w 6630249"/>
              <a:gd name="connsiteY1511" fmla="*/ 3806298 h 6750795"/>
              <a:gd name="connsiteX1512" fmla="*/ 5609423 w 6630249"/>
              <a:gd name="connsiteY1512" fmla="*/ 3793473 h 6750795"/>
              <a:gd name="connsiteX1513" fmla="*/ 5622247 w 6630249"/>
              <a:gd name="connsiteY1513" fmla="*/ 3844771 h 6750795"/>
              <a:gd name="connsiteX1514" fmla="*/ 5622247 w 6630249"/>
              <a:gd name="connsiteY1514" fmla="*/ 3883245 h 6750795"/>
              <a:gd name="connsiteX1515" fmla="*/ 5624812 w 6630249"/>
              <a:gd name="connsiteY1515" fmla="*/ 3898634 h 6750795"/>
              <a:gd name="connsiteX1516" fmla="*/ 5617117 w 6630249"/>
              <a:gd name="connsiteY1516" fmla="*/ 3921718 h 6750795"/>
              <a:gd name="connsiteX1517" fmla="*/ 5596598 w 6630249"/>
              <a:gd name="connsiteY1517" fmla="*/ 3911459 h 6750795"/>
              <a:gd name="connsiteX1518" fmla="*/ 5591468 w 6630249"/>
              <a:gd name="connsiteY1518" fmla="*/ 3844771 h 6750795"/>
              <a:gd name="connsiteX1519" fmla="*/ 5596598 w 6630249"/>
              <a:gd name="connsiteY1519" fmla="*/ 3842206 h 6750795"/>
              <a:gd name="connsiteX1520" fmla="*/ 5609423 w 6630249"/>
              <a:gd name="connsiteY1520" fmla="*/ 3793473 h 6750795"/>
              <a:gd name="connsiteX1521" fmla="*/ 5629941 w 6630249"/>
              <a:gd name="connsiteY1521" fmla="*/ 3785779 h 6750795"/>
              <a:gd name="connsiteX1522" fmla="*/ 5635071 w 6630249"/>
              <a:gd name="connsiteY1522" fmla="*/ 3790908 h 6750795"/>
              <a:gd name="connsiteX1523" fmla="*/ 5632506 w 6630249"/>
              <a:gd name="connsiteY1523" fmla="*/ 3793473 h 6750795"/>
              <a:gd name="connsiteX1524" fmla="*/ 5627377 w 6630249"/>
              <a:gd name="connsiteY1524" fmla="*/ 3793473 h 6750795"/>
              <a:gd name="connsiteX1525" fmla="*/ 5629941 w 6630249"/>
              <a:gd name="connsiteY1525" fmla="*/ 3785779 h 6750795"/>
              <a:gd name="connsiteX1526" fmla="*/ 5940293 w 6630249"/>
              <a:gd name="connsiteY1526" fmla="*/ 3785778 h 6750795"/>
              <a:gd name="connsiteX1527" fmla="*/ 5978767 w 6630249"/>
              <a:gd name="connsiteY1527" fmla="*/ 3806297 h 6750795"/>
              <a:gd name="connsiteX1528" fmla="*/ 5963377 w 6630249"/>
              <a:gd name="connsiteY1528" fmla="*/ 3826817 h 6750795"/>
              <a:gd name="connsiteX1529" fmla="*/ 5945423 w 6630249"/>
              <a:gd name="connsiteY1529" fmla="*/ 3826817 h 6750795"/>
              <a:gd name="connsiteX1530" fmla="*/ 5927468 w 6630249"/>
              <a:gd name="connsiteY1530" fmla="*/ 3808862 h 6750795"/>
              <a:gd name="connsiteX1531" fmla="*/ 5912078 w 6630249"/>
              <a:gd name="connsiteY1531" fmla="*/ 3811427 h 6750795"/>
              <a:gd name="connsiteX1532" fmla="*/ 5932599 w 6630249"/>
              <a:gd name="connsiteY1532" fmla="*/ 3806297 h 6750795"/>
              <a:gd name="connsiteX1533" fmla="*/ 5940293 w 6630249"/>
              <a:gd name="connsiteY1533" fmla="*/ 3785778 h 6750795"/>
              <a:gd name="connsiteX1534" fmla="*/ 5640201 w 6630249"/>
              <a:gd name="connsiteY1534" fmla="*/ 3772953 h 6750795"/>
              <a:gd name="connsiteX1535" fmla="*/ 5642765 w 6630249"/>
              <a:gd name="connsiteY1535" fmla="*/ 3785778 h 6750795"/>
              <a:gd name="connsiteX1536" fmla="*/ 5640201 w 6630249"/>
              <a:gd name="connsiteY1536" fmla="*/ 3772953 h 6750795"/>
              <a:gd name="connsiteX1537" fmla="*/ 5605335 w 6630249"/>
              <a:gd name="connsiteY1537" fmla="*/ 3763455 h 6750795"/>
              <a:gd name="connsiteX1538" fmla="*/ 5601728 w 6630249"/>
              <a:gd name="connsiteY1538" fmla="*/ 3765259 h 6750795"/>
              <a:gd name="connsiteX1539" fmla="*/ 5605335 w 6630249"/>
              <a:gd name="connsiteY1539" fmla="*/ 3763455 h 6750795"/>
              <a:gd name="connsiteX1540" fmla="*/ 5758185 w 6630249"/>
              <a:gd name="connsiteY1540" fmla="*/ 3757565 h 6750795"/>
              <a:gd name="connsiteX1541" fmla="*/ 5758185 w 6630249"/>
              <a:gd name="connsiteY1541" fmla="*/ 3757565 h 6750795"/>
              <a:gd name="connsiteX1542" fmla="*/ 642706 w 6630249"/>
              <a:gd name="connsiteY1542" fmla="*/ 3718639 h 6750795"/>
              <a:gd name="connsiteX1543" fmla="*/ 623269 w 6630249"/>
              <a:gd name="connsiteY1543" fmla="*/ 3721655 h 6750795"/>
              <a:gd name="connsiteX1544" fmla="*/ 684826 w 6630249"/>
              <a:gd name="connsiteY1544" fmla="*/ 3819121 h 6750795"/>
              <a:gd name="connsiteX1545" fmla="*/ 718170 w 6630249"/>
              <a:gd name="connsiteY1545" fmla="*/ 3793472 h 6750795"/>
              <a:gd name="connsiteX1546" fmla="*/ 642706 w 6630249"/>
              <a:gd name="connsiteY1546" fmla="*/ 3718639 h 6750795"/>
              <a:gd name="connsiteX1547" fmla="*/ 5699194 w 6630249"/>
              <a:gd name="connsiteY1547" fmla="*/ 3698572 h 6750795"/>
              <a:gd name="connsiteX1548" fmla="*/ 5704323 w 6630249"/>
              <a:gd name="connsiteY1548" fmla="*/ 3698572 h 6750795"/>
              <a:gd name="connsiteX1549" fmla="*/ 5704323 w 6630249"/>
              <a:gd name="connsiteY1549" fmla="*/ 3703702 h 6750795"/>
              <a:gd name="connsiteX1550" fmla="*/ 5699194 w 6630249"/>
              <a:gd name="connsiteY1550" fmla="*/ 3703702 h 6750795"/>
              <a:gd name="connsiteX1551" fmla="*/ 5699194 w 6630249"/>
              <a:gd name="connsiteY1551" fmla="*/ 3698572 h 6750795"/>
              <a:gd name="connsiteX1552" fmla="*/ 734120 w 6630249"/>
              <a:gd name="connsiteY1552" fmla="*/ 3689113 h 6750795"/>
              <a:gd name="connsiteX1553" fmla="*/ 710475 w 6630249"/>
              <a:gd name="connsiteY1553" fmla="*/ 3701136 h 6750795"/>
              <a:gd name="connsiteX1554" fmla="*/ 792552 w 6630249"/>
              <a:gd name="connsiteY1554" fmla="*/ 3739609 h 6750795"/>
              <a:gd name="connsiteX1555" fmla="*/ 734120 w 6630249"/>
              <a:gd name="connsiteY1555" fmla="*/ 3689113 h 6750795"/>
              <a:gd name="connsiteX1556" fmla="*/ 5758186 w 6630249"/>
              <a:gd name="connsiteY1556" fmla="*/ 3685747 h 6750795"/>
              <a:gd name="connsiteX1557" fmla="*/ 5778705 w 6630249"/>
              <a:gd name="connsiteY1557" fmla="*/ 3703702 h 6750795"/>
              <a:gd name="connsiteX1558" fmla="*/ 5773575 w 6630249"/>
              <a:gd name="connsiteY1558" fmla="*/ 3703702 h 6750795"/>
              <a:gd name="connsiteX1559" fmla="*/ 5758186 w 6630249"/>
              <a:gd name="connsiteY1559" fmla="*/ 3685747 h 6750795"/>
              <a:gd name="connsiteX1560" fmla="*/ 5447834 w 6630249"/>
              <a:gd name="connsiteY1560" fmla="*/ 3672922 h 6750795"/>
              <a:gd name="connsiteX1561" fmla="*/ 5468033 w 6630249"/>
              <a:gd name="connsiteY1561" fmla="*/ 3687991 h 6750795"/>
              <a:gd name="connsiteX1562" fmla="*/ 5469380 w 6630249"/>
              <a:gd name="connsiteY1562" fmla="*/ 3688960 h 6750795"/>
              <a:gd name="connsiteX1563" fmla="*/ 5468353 w 6630249"/>
              <a:gd name="connsiteY1563" fmla="*/ 3690877 h 6750795"/>
              <a:gd name="connsiteX1564" fmla="*/ 5455529 w 6630249"/>
              <a:gd name="connsiteY1564" fmla="*/ 3685747 h 6750795"/>
              <a:gd name="connsiteX1565" fmla="*/ 5459056 w 6630249"/>
              <a:gd name="connsiteY1565" fmla="*/ 3692159 h 6750795"/>
              <a:gd name="connsiteX1566" fmla="*/ 5459454 w 6630249"/>
              <a:gd name="connsiteY1566" fmla="*/ 3693754 h 6750795"/>
              <a:gd name="connsiteX1567" fmla="*/ 5458414 w 6630249"/>
              <a:gd name="connsiteY1567" fmla="*/ 3695365 h 6750795"/>
              <a:gd name="connsiteX1568" fmla="*/ 5452964 w 6630249"/>
              <a:gd name="connsiteY1568" fmla="*/ 3696006 h 6750795"/>
              <a:gd name="connsiteX1569" fmla="*/ 5447834 w 6630249"/>
              <a:gd name="connsiteY1569" fmla="*/ 3672922 h 6750795"/>
              <a:gd name="connsiteX1570" fmla="*/ 5154274 w 6630249"/>
              <a:gd name="connsiteY1570" fmla="*/ 3670037 h 6750795"/>
              <a:gd name="connsiteX1571" fmla="*/ 5150307 w 6630249"/>
              <a:gd name="connsiteY1571" fmla="*/ 3672923 h 6750795"/>
              <a:gd name="connsiteX1572" fmla="*/ 5154274 w 6630249"/>
              <a:gd name="connsiteY1572" fmla="*/ 3670037 h 6750795"/>
              <a:gd name="connsiteX1573" fmla="*/ 2416130 w 6630249"/>
              <a:gd name="connsiteY1573" fmla="*/ 3667792 h 6750795"/>
              <a:gd name="connsiteX1574" fmla="*/ 2411000 w 6630249"/>
              <a:gd name="connsiteY1574" fmla="*/ 3688312 h 6750795"/>
              <a:gd name="connsiteX1575" fmla="*/ 2393046 w 6630249"/>
              <a:gd name="connsiteY1575" fmla="*/ 3688312 h 6750795"/>
              <a:gd name="connsiteX1576" fmla="*/ 2372526 w 6630249"/>
              <a:gd name="connsiteY1576" fmla="*/ 3772953 h 6750795"/>
              <a:gd name="connsiteX1577" fmla="*/ 2341747 w 6630249"/>
              <a:gd name="connsiteY1577" fmla="*/ 3890938 h 6750795"/>
              <a:gd name="connsiteX1578" fmla="*/ 2352007 w 6630249"/>
              <a:gd name="connsiteY1578" fmla="*/ 3898633 h 6750795"/>
              <a:gd name="connsiteX1579" fmla="*/ 2398176 w 6630249"/>
              <a:gd name="connsiteY1579" fmla="*/ 3772953 h 6750795"/>
              <a:gd name="connsiteX1580" fmla="*/ 2408435 w 6630249"/>
              <a:gd name="connsiteY1580" fmla="*/ 3726785 h 6750795"/>
              <a:gd name="connsiteX1581" fmla="*/ 2408435 w 6630249"/>
              <a:gd name="connsiteY1581" fmla="*/ 3721655 h 6750795"/>
              <a:gd name="connsiteX1582" fmla="*/ 2411000 w 6630249"/>
              <a:gd name="connsiteY1582" fmla="*/ 3721655 h 6750795"/>
              <a:gd name="connsiteX1583" fmla="*/ 2416130 w 6630249"/>
              <a:gd name="connsiteY1583" fmla="*/ 3708831 h 6750795"/>
              <a:gd name="connsiteX1584" fmla="*/ 2405870 w 6630249"/>
              <a:gd name="connsiteY1584" fmla="*/ 3690877 h 6750795"/>
              <a:gd name="connsiteX1585" fmla="*/ 2418695 w 6630249"/>
              <a:gd name="connsiteY1585" fmla="*/ 3701136 h 6750795"/>
              <a:gd name="connsiteX1586" fmla="*/ 2428954 w 6630249"/>
              <a:gd name="connsiteY1586" fmla="*/ 3678052 h 6750795"/>
              <a:gd name="connsiteX1587" fmla="*/ 2434084 w 6630249"/>
              <a:gd name="connsiteY1587" fmla="*/ 3672922 h 6750795"/>
              <a:gd name="connsiteX1588" fmla="*/ 2428954 w 6630249"/>
              <a:gd name="connsiteY1588" fmla="*/ 3670357 h 6750795"/>
              <a:gd name="connsiteX1589" fmla="*/ 2416130 w 6630249"/>
              <a:gd name="connsiteY1589" fmla="*/ 3667792 h 6750795"/>
              <a:gd name="connsiteX1590" fmla="*/ 5436291 w 6630249"/>
              <a:gd name="connsiteY1590" fmla="*/ 3665549 h 6750795"/>
              <a:gd name="connsiteX1591" fmla="*/ 5442704 w 6630249"/>
              <a:gd name="connsiteY1591" fmla="*/ 3670359 h 6750795"/>
              <a:gd name="connsiteX1592" fmla="*/ 5429880 w 6630249"/>
              <a:gd name="connsiteY1592" fmla="*/ 3670359 h 6750795"/>
              <a:gd name="connsiteX1593" fmla="*/ 5436291 w 6630249"/>
              <a:gd name="connsiteY1593" fmla="*/ 3665549 h 6750795"/>
              <a:gd name="connsiteX1594" fmla="*/ 2572588 w 6630249"/>
              <a:gd name="connsiteY1594" fmla="*/ 3654968 h 6750795"/>
              <a:gd name="connsiteX1595" fmla="*/ 2567459 w 6630249"/>
              <a:gd name="connsiteY1595" fmla="*/ 3690877 h 6750795"/>
              <a:gd name="connsiteX1596" fmla="*/ 2570025 w 6630249"/>
              <a:gd name="connsiteY1596" fmla="*/ 3696006 h 6750795"/>
              <a:gd name="connsiteX1597" fmla="*/ 2572588 w 6630249"/>
              <a:gd name="connsiteY1597" fmla="*/ 3654968 h 6750795"/>
              <a:gd name="connsiteX1598" fmla="*/ 6168528 w 6630249"/>
              <a:gd name="connsiteY1598" fmla="*/ 3631524 h 6750795"/>
              <a:gd name="connsiteX1599" fmla="*/ 6166004 w 6630249"/>
              <a:gd name="connsiteY1599" fmla="*/ 3631885 h 6750795"/>
              <a:gd name="connsiteX1600" fmla="*/ 6168528 w 6630249"/>
              <a:gd name="connsiteY1600" fmla="*/ 3631524 h 6750795"/>
              <a:gd name="connsiteX1601" fmla="*/ 2544375 w 6630249"/>
              <a:gd name="connsiteY1601" fmla="*/ 3624189 h 6750795"/>
              <a:gd name="connsiteX1602" fmla="*/ 2544375 w 6630249"/>
              <a:gd name="connsiteY1602" fmla="*/ 3629319 h 6750795"/>
              <a:gd name="connsiteX1603" fmla="*/ 2546940 w 6630249"/>
              <a:gd name="connsiteY1603" fmla="*/ 3624189 h 6750795"/>
              <a:gd name="connsiteX1604" fmla="*/ 5409000 w 6630249"/>
              <a:gd name="connsiteY1604" fmla="*/ 3572211 h 6750795"/>
              <a:gd name="connsiteX1605" fmla="*/ 5409361 w 6630249"/>
              <a:gd name="connsiteY1605" fmla="*/ 3575457 h 6750795"/>
              <a:gd name="connsiteX1606" fmla="*/ 5409000 w 6630249"/>
              <a:gd name="connsiteY1606" fmla="*/ 3572211 h 6750795"/>
              <a:gd name="connsiteX1607" fmla="*/ 5406795 w 6630249"/>
              <a:gd name="connsiteY1607" fmla="*/ 3513909 h 6750795"/>
              <a:gd name="connsiteX1608" fmla="*/ 5399101 w 6630249"/>
              <a:gd name="connsiteY1608" fmla="*/ 3519039 h 6750795"/>
              <a:gd name="connsiteX1609" fmla="*/ 5406795 w 6630249"/>
              <a:gd name="connsiteY1609" fmla="*/ 3513909 h 6750795"/>
              <a:gd name="connsiteX1610" fmla="*/ 236010 w 6630249"/>
              <a:gd name="connsiteY1610" fmla="*/ 3456910 h 6750795"/>
              <a:gd name="connsiteX1611" fmla="*/ 225710 w 6630249"/>
              <a:gd name="connsiteY1611" fmla="*/ 3457471 h 6750795"/>
              <a:gd name="connsiteX1612" fmla="*/ 238535 w 6630249"/>
              <a:gd name="connsiteY1612" fmla="*/ 3490815 h 6750795"/>
              <a:gd name="connsiteX1613" fmla="*/ 236010 w 6630249"/>
              <a:gd name="connsiteY1613" fmla="*/ 3456910 h 6750795"/>
              <a:gd name="connsiteX1614" fmla="*/ 5750491 w 6630249"/>
              <a:gd name="connsiteY1614" fmla="*/ 3419009 h 6750795"/>
              <a:gd name="connsiteX1615" fmla="*/ 5737667 w 6630249"/>
              <a:gd name="connsiteY1615" fmla="*/ 3431830 h 6750795"/>
              <a:gd name="connsiteX1616" fmla="*/ 5750491 w 6630249"/>
              <a:gd name="connsiteY1616" fmla="*/ 3419009 h 6750795"/>
              <a:gd name="connsiteX1617" fmla="*/ 5724842 w 6630249"/>
              <a:gd name="connsiteY1617" fmla="*/ 3406179 h 6750795"/>
              <a:gd name="connsiteX1618" fmla="*/ 5724842 w 6630249"/>
              <a:gd name="connsiteY1618" fmla="*/ 3406179 h 6750795"/>
              <a:gd name="connsiteX1619" fmla="*/ 5819743 w 6630249"/>
              <a:gd name="connsiteY1619" fmla="*/ 3352319 h 6750795"/>
              <a:gd name="connsiteX1620" fmla="*/ 5804352 w 6630249"/>
              <a:gd name="connsiteY1620" fmla="*/ 3370275 h 6750795"/>
              <a:gd name="connsiteX1621" fmla="*/ 5819743 w 6630249"/>
              <a:gd name="connsiteY1621" fmla="*/ 3352319 h 6750795"/>
              <a:gd name="connsiteX1622" fmla="*/ 5822308 w 6630249"/>
              <a:gd name="connsiteY1622" fmla="*/ 3295889 h 6750795"/>
              <a:gd name="connsiteX1623" fmla="*/ 5819743 w 6630249"/>
              <a:gd name="connsiteY1623" fmla="*/ 3303579 h 6750795"/>
              <a:gd name="connsiteX1624" fmla="*/ 5822308 w 6630249"/>
              <a:gd name="connsiteY1624" fmla="*/ 3295889 h 6750795"/>
              <a:gd name="connsiteX1625" fmla="*/ 5801388 w 6630249"/>
              <a:gd name="connsiteY1625" fmla="*/ 3278095 h 6750795"/>
              <a:gd name="connsiteX1626" fmla="*/ 5801148 w 6630249"/>
              <a:gd name="connsiteY1626" fmla="*/ 3280499 h 6750795"/>
              <a:gd name="connsiteX1627" fmla="*/ 5799224 w 6630249"/>
              <a:gd name="connsiteY1627" fmla="*/ 3288194 h 6750795"/>
              <a:gd name="connsiteX1628" fmla="*/ 5763315 w 6630249"/>
              <a:gd name="connsiteY1628" fmla="*/ 3324098 h 6750795"/>
              <a:gd name="connsiteX1629" fmla="*/ 5776139 w 6630249"/>
              <a:gd name="connsiteY1629" fmla="*/ 3303580 h 6750795"/>
              <a:gd name="connsiteX1630" fmla="*/ 5799224 w 6630249"/>
              <a:gd name="connsiteY1630" fmla="*/ 3280499 h 6750795"/>
              <a:gd name="connsiteX1631" fmla="*/ 5801388 w 6630249"/>
              <a:gd name="connsiteY1631" fmla="*/ 3278095 h 6750795"/>
              <a:gd name="connsiteX1632" fmla="*/ 5742797 w 6630249"/>
              <a:gd name="connsiteY1632" fmla="*/ 3221512 h 6750795"/>
              <a:gd name="connsiteX1633" fmla="*/ 5742797 w 6630249"/>
              <a:gd name="connsiteY1633" fmla="*/ 3224077 h 6750795"/>
              <a:gd name="connsiteX1634" fmla="*/ 5742797 w 6630249"/>
              <a:gd name="connsiteY1634" fmla="*/ 3221512 h 6750795"/>
              <a:gd name="connsiteX1635" fmla="*/ 5701759 w 6630249"/>
              <a:gd name="connsiteY1635" fmla="*/ 3113795 h 6750795"/>
              <a:gd name="connsiteX1636" fmla="*/ 5706888 w 6630249"/>
              <a:gd name="connsiteY1636" fmla="*/ 3113795 h 6750795"/>
              <a:gd name="connsiteX1637" fmla="*/ 5706888 w 6630249"/>
              <a:gd name="connsiteY1637" fmla="*/ 3118926 h 6750795"/>
              <a:gd name="connsiteX1638" fmla="*/ 5701759 w 6630249"/>
              <a:gd name="connsiteY1638" fmla="*/ 3118926 h 6750795"/>
              <a:gd name="connsiteX1639" fmla="*/ 5701759 w 6630249"/>
              <a:gd name="connsiteY1639" fmla="*/ 3113795 h 6750795"/>
              <a:gd name="connsiteX1640" fmla="*/ 5778304 w 6630249"/>
              <a:gd name="connsiteY1640" fmla="*/ 3030675 h 6750795"/>
              <a:gd name="connsiteX1641" fmla="*/ 5776140 w 6630249"/>
              <a:gd name="connsiteY1641" fmla="*/ 3034278 h 6750795"/>
              <a:gd name="connsiteX1642" fmla="*/ 5778304 w 6630249"/>
              <a:gd name="connsiteY1642" fmla="*/ 3030675 h 6750795"/>
              <a:gd name="connsiteX1643" fmla="*/ 5788965 w 6630249"/>
              <a:gd name="connsiteY1643" fmla="*/ 3000946 h 6750795"/>
              <a:gd name="connsiteX1644" fmla="*/ 5788965 w 6630249"/>
              <a:gd name="connsiteY1644" fmla="*/ 3013762 h 6750795"/>
              <a:gd name="connsiteX1645" fmla="*/ 5788965 w 6630249"/>
              <a:gd name="connsiteY1645" fmla="*/ 3000946 h 6750795"/>
              <a:gd name="connsiteX1646" fmla="*/ 5406795 w 6630249"/>
              <a:gd name="connsiteY1646" fmla="*/ 3000946 h 6750795"/>
              <a:gd name="connsiteX1647" fmla="*/ 5427315 w 6630249"/>
              <a:gd name="connsiteY1647" fmla="*/ 3006074 h 6750795"/>
              <a:gd name="connsiteX1648" fmla="*/ 5414490 w 6630249"/>
              <a:gd name="connsiteY1648" fmla="*/ 3126618 h 6750795"/>
              <a:gd name="connsiteX1649" fmla="*/ 5401666 w 6630249"/>
              <a:gd name="connsiteY1649" fmla="*/ 3085583 h 6750795"/>
              <a:gd name="connsiteX1650" fmla="*/ 5406795 w 6630249"/>
              <a:gd name="connsiteY1650" fmla="*/ 3000946 h 6750795"/>
              <a:gd name="connsiteX1651" fmla="*/ 5614552 w 6630249"/>
              <a:gd name="connsiteY1651" fmla="*/ 2870144 h 6750795"/>
              <a:gd name="connsiteX1652" fmla="*/ 5619681 w 6630249"/>
              <a:gd name="connsiteY1652" fmla="*/ 2875265 h 6750795"/>
              <a:gd name="connsiteX1653" fmla="*/ 5617116 w 6630249"/>
              <a:gd name="connsiteY1653" fmla="*/ 2877832 h 6750795"/>
              <a:gd name="connsiteX1654" fmla="*/ 5614552 w 6630249"/>
              <a:gd name="connsiteY1654" fmla="*/ 2870144 h 6750795"/>
              <a:gd name="connsiteX1655" fmla="*/ 6471226 w 6630249"/>
              <a:gd name="connsiteY1655" fmla="*/ 2775232 h 6750795"/>
              <a:gd name="connsiteX1656" fmla="*/ 6468661 w 6630249"/>
              <a:gd name="connsiteY1656" fmla="*/ 2790617 h 6750795"/>
              <a:gd name="connsiteX1657" fmla="*/ 6471226 w 6630249"/>
              <a:gd name="connsiteY1657" fmla="*/ 2775232 h 6750795"/>
              <a:gd name="connsiteX1658" fmla="*/ 5965942 w 6630249"/>
              <a:gd name="connsiteY1658" fmla="*/ 2677776 h 6750795"/>
              <a:gd name="connsiteX1659" fmla="*/ 5963377 w 6630249"/>
              <a:gd name="connsiteY1659" fmla="*/ 2695733 h 6750795"/>
              <a:gd name="connsiteX1660" fmla="*/ 5965942 w 6630249"/>
              <a:gd name="connsiteY1660" fmla="*/ 2677776 h 6750795"/>
              <a:gd name="connsiteX1661" fmla="*/ 5063100 w 6630249"/>
              <a:gd name="connsiteY1661" fmla="*/ 2662358 h 6750795"/>
              <a:gd name="connsiteX1662" fmla="*/ 5032321 w 6630249"/>
              <a:gd name="connsiteY1662" fmla="*/ 2716221 h 6750795"/>
              <a:gd name="connsiteX1663" fmla="*/ 5065665 w 6630249"/>
              <a:gd name="connsiteY1663" fmla="*/ 2703397 h 6750795"/>
              <a:gd name="connsiteX1664" fmla="*/ 5063100 w 6630249"/>
              <a:gd name="connsiteY1664" fmla="*/ 2662358 h 6750795"/>
              <a:gd name="connsiteX1665" fmla="*/ 4864802 w 6630249"/>
              <a:gd name="connsiteY1665" fmla="*/ 2649316 h 6750795"/>
              <a:gd name="connsiteX1666" fmla="*/ 4860474 w 6630249"/>
              <a:gd name="connsiteY1666" fmla="*/ 2657252 h 6750795"/>
              <a:gd name="connsiteX1667" fmla="*/ 4860474 w 6630249"/>
              <a:gd name="connsiteY1667" fmla="*/ 2649557 h 6750795"/>
              <a:gd name="connsiteX1668" fmla="*/ 4864802 w 6630249"/>
              <a:gd name="connsiteY1668" fmla="*/ 2649316 h 6750795"/>
              <a:gd name="connsiteX1669" fmla="*/ 4973329 w 6630249"/>
              <a:gd name="connsiteY1669" fmla="*/ 2646990 h 6750795"/>
              <a:gd name="connsiteX1670" fmla="*/ 4973329 w 6630249"/>
              <a:gd name="connsiteY1670" fmla="*/ 2646990 h 6750795"/>
              <a:gd name="connsiteX1671" fmla="*/ 6619990 w 6630249"/>
              <a:gd name="connsiteY1671" fmla="*/ 2608505 h 6750795"/>
              <a:gd name="connsiteX1672" fmla="*/ 6596905 w 6630249"/>
              <a:gd name="connsiteY1672" fmla="*/ 2636722 h 6750795"/>
              <a:gd name="connsiteX1673" fmla="*/ 6619990 w 6630249"/>
              <a:gd name="connsiteY1673" fmla="*/ 2608505 h 6750795"/>
              <a:gd name="connsiteX1674" fmla="*/ 6496875 w 6630249"/>
              <a:gd name="connsiteY1674" fmla="*/ 2572610 h 6750795"/>
              <a:gd name="connsiteX1675" fmla="*/ 6489181 w 6630249"/>
              <a:gd name="connsiteY1675" fmla="*/ 2580304 h 6750795"/>
              <a:gd name="connsiteX1676" fmla="*/ 6496875 w 6630249"/>
              <a:gd name="connsiteY1676" fmla="*/ 2572610 h 6750795"/>
              <a:gd name="connsiteX1677" fmla="*/ 5020138 w 6630249"/>
              <a:gd name="connsiteY1677" fmla="*/ 2570047 h 6750795"/>
              <a:gd name="connsiteX1678" fmla="*/ 5032321 w 6630249"/>
              <a:gd name="connsiteY1678" fmla="*/ 2570047 h 6750795"/>
              <a:gd name="connsiteX1679" fmla="*/ 5019496 w 6630249"/>
              <a:gd name="connsiteY1679" fmla="*/ 2590560 h 6750795"/>
              <a:gd name="connsiteX1680" fmla="*/ 5011802 w 6630249"/>
              <a:gd name="connsiteY1680" fmla="*/ 2585431 h 6750795"/>
              <a:gd name="connsiteX1681" fmla="*/ 5020138 w 6630249"/>
              <a:gd name="connsiteY1681" fmla="*/ 2570047 h 6750795"/>
              <a:gd name="connsiteX1682" fmla="*/ 6040324 w 6630249"/>
              <a:gd name="connsiteY1682" fmla="*/ 2562996 h 6750795"/>
              <a:gd name="connsiteX1683" fmla="*/ 6042889 w 6630249"/>
              <a:gd name="connsiteY1683" fmla="*/ 2564920 h 6750795"/>
              <a:gd name="connsiteX1684" fmla="*/ 6037760 w 6630249"/>
              <a:gd name="connsiteY1684" fmla="*/ 2564920 h 6750795"/>
              <a:gd name="connsiteX1685" fmla="*/ 6040324 w 6630249"/>
              <a:gd name="connsiteY1685" fmla="*/ 2562996 h 6750795"/>
              <a:gd name="connsiteX1686" fmla="*/ 6338894 w 6630249"/>
              <a:gd name="connsiteY1686" fmla="*/ 2562034 h 6750795"/>
              <a:gd name="connsiteX1687" fmla="*/ 6335287 w 6630249"/>
              <a:gd name="connsiteY1687" fmla="*/ 2564920 h 6750795"/>
              <a:gd name="connsiteX1688" fmla="*/ 6338894 w 6630249"/>
              <a:gd name="connsiteY1688" fmla="*/ 2562034 h 6750795"/>
              <a:gd name="connsiteX1689" fmla="*/ 5891561 w 6630249"/>
              <a:gd name="connsiteY1689" fmla="*/ 2534138 h 6750795"/>
              <a:gd name="connsiteX1690" fmla="*/ 5886430 w 6630249"/>
              <a:gd name="connsiteY1690" fmla="*/ 2546960 h 6750795"/>
              <a:gd name="connsiteX1691" fmla="*/ 5891561 w 6630249"/>
              <a:gd name="connsiteY1691" fmla="*/ 2534138 h 6750795"/>
              <a:gd name="connsiteX1692" fmla="*/ 6448142 w 6630249"/>
              <a:gd name="connsiteY1692" fmla="*/ 2477734 h 6750795"/>
              <a:gd name="connsiteX1693" fmla="*/ 6427622 w 6630249"/>
              <a:gd name="connsiteY1693" fmla="*/ 2480297 h 6750795"/>
              <a:gd name="connsiteX1694" fmla="*/ 6448142 w 6630249"/>
              <a:gd name="connsiteY1694" fmla="*/ 2477734 h 6750795"/>
              <a:gd name="connsiteX1695" fmla="*/ 6404178 w 6630249"/>
              <a:gd name="connsiteY1695" fmla="*/ 2465291 h 6750795"/>
              <a:gd name="connsiteX1696" fmla="*/ 6404539 w 6630249"/>
              <a:gd name="connsiteY1696" fmla="*/ 2467456 h 6750795"/>
              <a:gd name="connsiteX1697" fmla="*/ 6404178 w 6630249"/>
              <a:gd name="connsiteY1697" fmla="*/ 2465291 h 6750795"/>
              <a:gd name="connsiteX1698" fmla="*/ 6487657 w 6630249"/>
              <a:gd name="connsiteY1698" fmla="*/ 2448816 h 6750795"/>
              <a:gd name="connsiteX1699" fmla="*/ 6484051 w 6630249"/>
              <a:gd name="connsiteY1699" fmla="*/ 2452065 h 6750795"/>
              <a:gd name="connsiteX1700" fmla="*/ 6487657 w 6630249"/>
              <a:gd name="connsiteY1700" fmla="*/ 2448816 h 6750795"/>
              <a:gd name="connsiteX1701" fmla="*/ 5481178 w 6630249"/>
              <a:gd name="connsiteY1701" fmla="*/ 2374807 h 6750795"/>
              <a:gd name="connsiteX1702" fmla="*/ 5483742 w 6630249"/>
              <a:gd name="connsiteY1702" fmla="*/ 2377693 h 6750795"/>
              <a:gd name="connsiteX1703" fmla="*/ 5478613 w 6630249"/>
              <a:gd name="connsiteY1703" fmla="*/ 2377693 h 6750795"/>
              <a:gd name="connsiteX1704" fmla="*/ 5481178 w 6630249"/>
              <a:gd name="connsiteY1704" fmla="*/ 2374807 h 6750795"/>
              <a:gd name="connsiteX1705" fmla="*/ 2131426 w 6630249"/>
              <a:gd name="connsiteY1705" fmla="*/ 2367394 h 6750795"/>
              <a:gd name="connsiteX1706" fmla="*/ 2136556 w 6630249"/>
              <a:gd name="connsiteY1706" fmla="*/ 2408433 h 6750795"/>
              <a:gd name="connsiteX1707" fmla="*/ 2131426 w 6630249"/>
              <a:gd name="connsiteY1707" fmla="*/ 2367394 h 6750795"/>
              <a:gd name="connsiteX1708" fmla="*/ 5024587 w 6630249"/>
              <a:gd name="connsiteY1708" fmla="*/ 2353202 h 6750795"/>
              <a:gd name="connsiteX1709" fmla="*/ 5022062 w 6630249"/>
              <a:gd name="connsiteY1709" fmla="*/ 2357174 h 6750795"/>
              <a:gd name="connsiteX1710" fmla="*/ 5024587 w 6630249"/>
              <a:gd name="connsiteY1710" fmla="*/ 2353202 h 6750795"/>
              <a:gd name="connsiteX1711" fmla="*/ 5073359 w 6630249"/>
              <a:gd name="connsiteY1711" fmla="*/ 2349464 h 6750795"/>
              <a:gd name="connsiteX1712" fmla="*/ 5075924 w 6630249"/>
              <a:gd name="connsiteY1712" fmla="*/ 2354595 h 6750795"/>
              <a:gd name="connsiteX1713" fmla="*/ 5083619 w 6630249"/>
              <a:gd name="connsiteY1713" fmla="*/ 2349464 h 6750795"/>
              <a:gd name="connsiteX1714" fmla="*/ 5078489 w 6630249"/>
              <a:gd name="connsiteY1714" fmla="*/ 2375116 h 6750795"/>
              <a:gd name="connsiteX1715" fmla="*/ 5073359 w 6630249"/>
              <a:gd name="connsiteY1715" fmla="*/ 2349464 h 6750795"/>
              <a:gd name="connsiteX1716" fmla="*/ 6437882 w 6630249"/>
              <a:gd name="connsiteY1716" fmla="*/ 2334085 h 6750795"/>
              <a:gd name="connsiteX1717" fmla="*/ 6425057 w 6630249"/>
              <a:gd name="connsiteY1717" fmla="*/ 2346909 h 6750795"/>
              <a:gd name="connsiteX1718" fmla="*/ 6437882 w 6630249"/>
              <a:gd name="connsiteY1718" fmla="*/ 2334085 h 6750795"/>
              <a:gd name="connsiteX1719" fmla="*/ 2110907 w 6630249"/>
              <a:gd name="connsiteY1719" fmla="*/ 2326357 h 6750795"/>
              <a:gd name="connsiteX1720" fmla="*/ 2116038 w 6630249"/>
              <a:gd name="connsiteY1720" fmla="*/ 2372525 h 6750795"/>
              <a:gd name="connsiteX1721" fmla="*/ 2110907 w 6630249"/>
              <a:gd name="connsiteY1721" fmla="*/ 2326357 h 6750795"/>
              <a:gd name="connsiteX1722" fmla="*/ 5581208 w 6630249"/>
              <a:gd name="connsiteY1722" fmla="*/ 2298167 h 6750795"/>
              <a:gd name="connsiteX1723" fmla="*/ 5599162 w 6630249"/>
              <a:gd name="connsiteY1723" fmla="*/ 2318692 h 6750795"/>
              <a:gd name="connsiteX1724" fmla="*/ 5573513 w 6630249"/>
              <a:gd name="connsiteY1724" fmla="*/ 2349478 h 6750795"/>
              <a:gd name="connsiteX1725" fmla="*/ 5581208 w 6630249"/>
              <a:gd name="connsiteY1725" fmla="*/ 2303298 h 6750795"/>
              <a:gd name="connsiteX1726" fmla="*/ 5581208 w 6630249"/>
              <a:gd name="connsiteY1726" fmla="*/ 2298167 h 6750795"/>
              <a:gd name="connsiteX1727" fmla="*/ 6496875 w 6630249"/>
              <a:gd name="connsiteY1727" fmla="*/ 2298160 h 6750795"/>
              <a:gd name="connsiteX1728" fmla="*/ 6502005 w 6630249"/>
              <a:gd name="connsiteY1728" fmla="*/ 2318681 h 6750795"/>
              <a:gd name="connsiteX1729" fmla="*/ 6494311 w 6630249"/>
              <a:gd name="connsiteY1729" fmla="*/ 2316116 h 6750795"/>
              <a:gd name="connsiteX1730" fmla="*/ 6496875 w 6630249"/>
              <a:gd name="connsiteY1730" fmla="*/ 2298160 h 6750795"/>
              <a:gd name="connsiteX1731" fmla="*/ 2114113 w 6630249"/>
              <a:gd name="connsiteY1731" fmla="*/ 2282114 h 6750795"/>
              <a:gd name="connsiteX1732" fmla="*/ 2116038 w 6630249"/>
              <a:gd name="connsiteY1732" fmla="*/ 2303274 h 6750795"/>
              <a:gd name="connsiteX1733" fmla="*/ 2114113 w 6630249"/>
              <a:gd name="connsiteY1733" fmla="*/ 2282114 h 6750795"/>
              <a:gd name="connsiteX1734" fmla="*/ 6345547 w 6630249"/>
              <a:gd name="connsiteY1734" fmla="*/ 2277645 h 6750795"/>
              <a:gd name="connsiteX1735" fmla="*/ 6340416 w 6630249"/>
              <a:gd name="connsiteY1735" fmla="*/ 2298167 h 6750795"/>
              <a:gd name="connsiteX1736" fmla="*/ 6345547 w 6630249"/>
              <a:gd name="connsiteY1736" fmla="*/ 2277645 h 6750795"/>
              <a:gd name="connsiteX1737" fmla="*/ 5686369 w 6630249"/>
              <a:gd name="connsiteY1737" fmla="*/ 2275080 h 6750795"/>
              <a:gd name="connsiteX1738" fmla="*/ 5691499 w 6630249"/>
              <a:gd name="connsiteY1738" fmla="*/ 2280209 h 6750795"/>
              <a:gd name="connsiteX1739" fmla="*/ 5691499 w 6630249"/>
              <a:gd name="connsiteY1739" fmla="*/ 2287907 h 6750795"/>
              <a:gd name="connsiteX1740" fmla="*/ 5683804 w 6630249"/>
              <a:gd name="connsiteY1740" fmla="*/ 2303298 h 6750795"/>
              <a:gd name="connsiteX1741" fmla="*/ 5678674 w 6630249"/>
              <a:gd name="connsiteY1741" fmla="*/ 2287907 h 6750795"/>
              <a:gd name="connsiteX1742" fmla="*/ 5686369 w 6630249"/>
              <a:gd name="connsiteY1742" fmla="*/ 2275080 h 6750795"/>
              <a:gd name="connsiteX1743" fmla="*/ 5026791 w 6630249"/>
              <a:gd name="connsiteY1743" fmla="*/ 2226736 h 6750795"/>
              <a:gd name="connsiteX1744" fmla="*/ 5024627 w 6630249"/>
              <a:gd name="connsiteY1744" fmla="*/ 2228902 h 6750795"/>
              <a:gd name="connsiteX1745" fmla="*/ 5026791 w 6630249"/>
              <a:gd name="connsiteY1745" fmla="*/ 2226736 h 6750795"/>
              <a:gd name="connsiteX1746" fmla="*/ 2446909 w 6630249"/>
              <a:gd name="connsiteY1746" fmla="*/ 2223762 h 6750795"/>
              <a:gd name="connsiteX1747" fmla="*/ 2418695 w 6630249"/>
              <a:gd name="connsiteY1747" fmla="*/ 2385350 h 6750795"/>
              <a:gd name="connsiteX1748" fmla="*/ 2393046 w 6630249"/>
              <a:gd name="connsiteY1748" fmla="*/ 2405868 h 6750795"/>
              <a:gd name="connsiteX1749" fmla="*/ 2495642 w 6630249"/>
              <a:gd name="connsiteY1749" fmla="*/ 2336616 h 6750795"/>
              <a:gd name="connsiteX1750" fmla="*/ 2446909 w 6630249"/>
              <a:gd name="connsiteY1750" fmla="*/ 2223762 h 6750795"/>
              <a:gd name="connsiteX1751" fmla="*/ 5081054 w 6630249"/>
              <a:gd name="connsiteY1751" fmla="*/ 2187853 h 6750795"/>
              <a:gd name="connsiteX1752" fmla="*/ 5078489 w 6630249"/>
              <a:gd name="connsiteY1752" fmla="*/ 2208377 h 6750795"/>
              <a:gd name="connsiteX1753" fmla="*/ 5081054 w 6630249"/>
              <a:gd name="connsiteY1753" fmla="*/ 2187853 h 6750795"/>
              <a:gd name="connsiteX1754" fmla="*/ 4178212 w 6630249"/>
              <a:gd name="connsiteY1754" fmla="*/ 2177595 h 6750795"/>
              <a:gd name="connsiteX1755" fmla="*/ 4185907 w 6630249"/>
              <a:gd name="connsiteY1755" fmla="*/ 2180160 h 6750795"/>
              <a:gd name="connsiteX1756" fmla="*/ 4175647 w 6630249"/>
              <a:gd name="connsiteY1756" fmla="*/ 2187851 h 6750795"/>
              <a:gd name="connsiteX1757" fmla="*/ 4178212 w 6630249"/>
              <a:gd name="connsiteY1757" fmla="*/ 2177595 h 6750795"/>
              <a:gd name="connsiteX1758" fmla="*/ 5088749 w 6630249"/>
              <a:gd name="connsiteY1758" fmla="*/ 2172478 h 6750795"/>
              <a:gd name="connsiteX1759" fmla="*/ 5086184 w 6630249"/>
              <a:gd name="connsiteY1759" fmla="*/ 2187853 h 6750795"/>
              <a:gd name="connsiteX1760" fmla="*/ 5088749 w 6630249"/>
              <a:gd name="connsiteY1760" fmla="*/ 2172478 h 6750795"/>
              <a:gd name="connsiteX1761" fmla="*/ 4258044 w 6630249"/>
              <a:gd name="connsiteY1761" fmla="*/ 2165427 h 6750795"/>
              <a:gd name="connsiteX1762" fmla="*/ 4262853 w 6630249"/>
              <a:gd name="connsiteY1762" fmla="*/ 2167349 h 6750795"/>
              <a:gd name="connsiteX1763" fmla="*/ 4255159 w 6630249"/>
              <a:gd name="connsiteY1763" fmla="*/ 2167349 h 6750795"/>
              <a:gd name="connsiteX1764" fmla="*/ 4258044 w 6630249"/>
              <a:gd name="connsiteY1764" fmla="*/ 2165427 h 6750795"/>
              <a:gd name="connsiteX1765" fmla="*/ 5840262 w 6630249"/>
              <a:gd name="connsiteY1765" fmla="*/ 2164786 h 6750795"/>
              <a:gd name="connsiteX1766" fmla="*/ 5832568 w 6630249"/>
              <a:gd name="connsiteY1766" fmla="*/ 2167349 h 6750795"/>
              <a:gd name="connsiteX1767" fmla="*/ 5840262 w 6630249"/>
              <a:gd name="connsiteY1767" fmla="*/ 2164786 h 6750795"/>
              <a:gd name="connsiteX1768" fmla="*/ 4998978 w 6630249"/>
              <a:gd name="connsiteY1768" fmla="*/ 2162224 h 6750795"/>
              <a:gd name="connsiteX1769" fmla="*/ 4998978 w 6630249"/>
              <a:gd name="connsiteY1769" fmla="*/ 2187856 h 6750795"/>
              <a:gd name="connsiteX1770" fmla="*/ 4998978 w 6630249"/>
              <a:gd name="connsiteY1770" fmla="*/ 2162224 h 6750795"/>
              <a:gd name="connsiteX1771" fmla="*/ 5101891 w 6630249"/>
              <a:gd name="connsiteY1771" fmla="*/ 2162072 h 6750795"/>
              <a:gd name="connsiteX1772" fmla="*/ 5101573 w 6630249"/>
              <a:gd name="connsiteY1772" fmla="*/ 2162210 h 6750795"/>
              <a:gd name="connsiteX1773" fmla="*/ 5101091 w 6630249"/>
              <a:gd name="connsiteY1773" fmla="*/ 2162133 h 6750795"/>
              <a:gd name="connsiteX1774" fmla="*/ 5201604 w 6630249"/>
              <a:gd name="connsiteY1774" fmla="*/ 2159651 h 6750795"/>
              <a:gd name="connsiteX1775" fmla="*/ 5186215 w 6630249"/>
              <a:gd name="connsiteY1775" fmla="*/ 2172472 h 6750795"/>
              <a:gd name="connsiteX1776" fmla="*/ 5201604 w 6630249"/>
              <a:gd name="connsiteY1776" fmla="*/ 2159651 h 6750795"/>
              <a:gd name="connsiteX1777" fmla="*/ 5132353 w 6630249"/>
              <a:gd name="connsiteY1777" fmla="*/ 2157089 h 6750795"/>
              <a:gd name="connsiteX1778" fmla="*/ 5081055 w 6630249"/>
              <a:gd name="connsiteY1778" fmla="*/ 2293030 h 6750795"/>
              <a:gd name="connsiteX1779" fmla="*/ 5083620 w 6630249"/>
              <a:gd name="connsiteY1779" fmla="*/ 2239161 h 6750795"/>
              <a:gd name="connsiteX1780" fmla="*/ 5081055 w 6630249"/>
              <a:gd name="connsiteY1780" fmla="*/ 2213505 h 6750795"/>
              <a:gd name="connsiteX1781" fmla="*/ 5086184 w 6630249"/>
              <a:gd name="connsiteY1781" fmla="*/ 2218637 h 6750795"/>
              <a:gd name="connsiteX1782" fmla="*/ 5083620 w 6630249"/>
              <a:gd name="connsiteY1782" fmla="*/ 2257119 h 6750795"/>
              <a:gd name="connsiteX1783" fmla="*/ 5132353 w 6630249"/>
              <a:gd name="connsiteY1783" fmla="*/ 2157089 h 6750795"/>
              <a:gd name="connsiteX1784" fmla="*/ 5071635 w 6630249"/>
              <a:gd name="connsiteY1784" fmla="*/ 2156079 h 6750795"/>
              <a:gd name="connsiteX1785" fmla="*/ 5078809 w 6630249"/>
              <a:gd name="connsiteY1785" fmla="*/ 2158683 h 6750795"/>
              <a:gd name="connsiteX1786" fmla="*/ 5101091 w 6630249"/>
              <a:gd name="connsiteY1786" fmla="*/ 2162133 h 6750795"/>
              <a:gd name="connsiteX1787" fmla="*/ 5091674 w 6630249"/>
              <a:gd name="connsiteY1787" fmla="*/ 2162890 h 6750795"/>
              <a:gd name="connsiteX1788" fmla="*/ 5073358 w 6630249"/>
              <a:gd name="connsiteY1788" fmla="*/ 2157081 h 6750795"/>
              <a:gd name="connsiteX1789" fmla="*/ 5071635 w 6630249"/>
              <a:gd name="connsiteY1789" fmla="*/ 2156079 h 6750795"/>
              <a:gd name="connsiteX1790" fmla="*/ 5619682 w 6630249"/>
              <a:gd name="connsiteY1790" fmla="*/ 2152606 h 6750795"/>
              <a:gd name="connsiteX1791" fmla="*/ 5622247 w 6630249"/>
              <a:gd name="connsiteY1791" fmla="*/ 2154529 h 6750795"/>
              <a:gd name="connsiteX1792" fmla="*/ 5617117 w 6630249"/>
              <a:gd name="connsiteY1792" fmla="*/ 2154529 h 6750795"/>
              <a:gd name="connsiteX1793" fmla="*/ 5619682 w 6630249"/>
              <a:gd name="connsiteY1793" fmla="*/ 2152606 h 6750795"/>
              <a:gd name="connsiteX1794" fmla="*/ 5019496 w 6630249"/>
              <a:gd name="connsiteY1794" fmla="*/ 2149398 h 6750795"/>
              <a:gd name="connsiteX1795" fmla="*/ 5006672 w 6630249"/>
              <a:gd name="connsiteY1795" fmla="*/ 2216074 h 6750795"/>
              <a:gd name="connsiteX1796" fmla="*/ 5019496 w 6630249"/>
              <a:gd name="connsiteY1796" fmla="*/ 2149398 h 6750795"/>
              <a:gd name="connsiteX1797" fmla="*/ 4952810 w 6630249"/>
              <a:gd name="connsiteY1797" fmla="*/ 2144257 h 6750795"/>
              <a:gd name="connsiteX1798" fmla="*/ 4952810 w 6630249"/>
              <a:gd name="connsiteY1798" fmla="*/ 2151951 h 6750795"/>
              <a:gd name="connsiteX1799" fmla="*/ 4952810 w 6630249"/>
              <a:gd name="connsiteY1799" fmla="*/ 2144257 h 6750795"/>
              <a:gd name="connsiteX1800" fmla="*/ 6496875 w 6630249"/>
              <a:gd name="connsiteY1800" fmla="*/ 2139143 h 6750795"/>
              <a:gd name="connsiteX1801" fmla="*/ 6491746 w 6630249"/>
              <a:gd name="connsiteY1801" fmla="*/ 2154530 h 6750795"/>
              <a:gd name="connsiteX1802" fmla="*/ 6496875 w 6630249"/>
              <a:gd name="connsiteY1802" fmla="*/ 2139143 h 6750795"/>
              <a:gd name="connsiteX1803" fmla="*/ 5137481 w 6630249"/>
              <a:gd name="connsiteY1803" fmla="*/ 2136563 h 6750795"/>
              <a:gd name="connsiteX1804" fmla="*/ 5112153 w 6630249"/>
              <a:gd name="connsiteY1804" fmla="*/ 2161246 h 6750795"/>
              <a:gd name="connsiteX1805" fmla="*/ 5101891 w 6630249"/>
              <a:gd name="connsiteY1805" fmla="*/ 2162072 h 6750795"/>
              <a:gd name="connsiteX1806" fmla="*/ 5124336 w 6630249"/>
              <a:gd name="connsiteY1806" fmla="*/ 2152274 h 6750795"/>
              <a:gd name="connsiteX1807" fmla="*/ 5137481 w 6630249"/>
              <a:gd name="connsiteY1807" fmla="*/ 2136563 h 6750795"/>
              <a:gd name="connsiteX1808" fmla="*/ 6619990 w 6630249"/>
              <a:gd name="connsiteY1808" fmla="*/ 2134015 h 6750795"/>
              <a:gd name="connsiteX1809" fmla="*/ 6625120 w 6630249"/>
              <a:gd name="connsiteY1809" fmla="*/ 2134015 h 6750795"/>
              <a:gd name="connsiteX1810" fmla="*/ 6625120 w 6630249"/>
              <a:gd name="connsiteY1810" fmla="*/ 2139143 h 6750795"/>
              <a:gd name="connsiteX1811" fmla="*/ 6619990 w 6630249"/>
              <a:gd name="connsiteY1811" fmla="*/ 2139143 h 6750795"/>
              <a:gd name="connsiteX1812" fmla="*/ 6619990 w 6630249"/>
              <a:gd name="connsiteY1812" fmla="*/ 2134015 h 6750795"/>
              <a:gd name="connsiteX1813" fmla="*/ 2836773 w 6630249"/>
              <a:gd name="connsiteY1813" fmla="*/ 2105806 h 6750795"/>
              <a:gd name="connsiteX1814" fmla="*/ 2847032 w 6630249"/>
              <a:gd name="connsiteY1814" fmla="*/ 2118632 h 6750795"/>
              <a:gd name="connsiteX1815" fmla="*/ 2836773 w 6630249"/>
              <a:gd name="connsiteY1815" fmla="*/ 2105806 h 6750795"/>
              <a:gd name="connsiteX1816" fmla="*/ 5147742 w 6630249"/>
              <a:gd name="connsiteY1816" fmla="*/ 2095534 h 6750795"/>
              <a:gd name="connsiteX1817" fmla="*/ 5142612 w 6630249"/>
              <a:gd name="connsiteY1817" fmla="*/ 2108361 h 6750795"/>
              <a:gd name="connsiteX1818" fmla="*/ 5147742 w 6630249"/>
              <a:gd name="connsiteY1818" fmla="*/ 2095534 h 6750795"/>
              <a:gd name="connsiteX1819" fmla="*/ 5255067 w 6630249"/>
              <a:gd name="connsiteY1819" fmla="*/ 2092603 h 6750795"/>
              <a:gd name="connsiteX1820" fmla="*/ 5252902 w 6630249"/>
              <a:gd name="connsiteY1820" fmla="*/ 2092963 h 6750795"/>
              <a:gd name="connsiteX1821" fmla="*/ 5255067 w 6630249"/>
              <a:gd name="connsiteY1821" fmla="*/ 2092603 h 6750795"/>
              <a:gd name="connsiteX1822" fmla="*/ 4129479 w 6630249"/>
              <a:gd name="connsiteY1822" fmla="*/ 2090399 h 6750795"/>
              <a:gd name="connsiteX1823" fmla="*/ 4129479 w 6630249"/>
              <a:gd name="connsiteY1823" fmla="*/ 2092966 h 6750795"/>
              <a:gd name="connsiteX1824" fmla="*/ 4129479 w 6630249"/>
              <a:gd name="connsiteY1824" fmla="*/ 2090399 h 6750795"/>
              <a:gd name="connsiteX1825" fmla="*/ 4119220 w 6630249"/>
              <a:gd name="connsiteY1825" fmla="*/ 2080144 h 6750795"/>
              <a:gd name="connsiteX1826" fmla="*/ 4126914 w 6630249"/>
              <a:gd name="connsiteY1826" fmla="*/ 2085272 h 6750795"/>
              <a:gd name="connsiteX1827" fmla="*/ 4119220 w 6630249"/>
              <a:gd name="connsiteY1827" fmla="*/ 2087840 h 6750795"/>
              <a:gd name="connsiteX1828" fmla="*/ 4119220 w 6630249"/>
              <a:gd name="connsiteY1828" fmla="*/ 2080144 h 6750795"/>
              <a:gd name="connsiteX1829" fmla="*/ 3926852 w 6630249"/>
              <a:gd name="connsiteY1829" fmla="*/ 2080128 h 6750795"/>
              <a:gd name="connsiteX1830" fmla="*/ 3921722 w 6630249"/>
              <a:gd name="connsiteY1830" fmla="*/ 2103211 h 6750795"/>
              <a:gd name="connsiteX1831" fmla="*/ 3960196 w 6630249"/>
              <a:gd name="connsiteY1831" fmla="*/ 2116035 h 6750795"/>
              <a:gd name="connsiteX1832" fmla="*/ 3955066 w 6630249"/>
              <a:gd name="connsiteY1832" fmla="*/ 2110906 h 6750795"/>
              <a:gd name="connsiteX1833" fmla="*/ 3962760 w 6630249"/>
              <a:gd name="connsiteY1833" fmla="*/ 2108341 h 6750795"/>
              <a:gd name="connsiteX1834" fmla="*/ 3955066 w 6630249"/>
              <a:gd name="connsiteY1834" fmla="*/ 2092951 h 6750795"/>
              <a:gd name="connsiteX1835" fmla="*/ 3939677 w 6630249"/>
              <a:gd name="connsiteY1835" fmla="*/ 2098082 h 6750795"/>
              <a:gd name="connsiteX1836" fmla="*/ 3934547 w 6630249"/>
              <a:gd name="connsiteY1836" fmla="*/ 2087822 h 6750795"/>
              <a:gd name="connsiteX1837" fmla="*/ 3929417 w 6630249"/>
              <a:gd name="connsiteY1837" fmla="*/ 2087822 h 6750795"/>
              <a:gd name="connsiteX1838" fmla="*/ 3926852 w 6630249"/>
              <a:gd name="connsiteY1838" fmla="*/ 2080128 h 6750795"/>
              <a:gd name="connsiteX1839" fmla="*/ 3919157 w 6630249"/>
              <a:gd name="connsiteY1839" fmla="*/ 2077563 h 6750795"/>
              <a:gd name="connsiteX1840" fmla="*/ 3918195 w 6630249"/>
              <a:gd name="connsiteY1840" fmla="*/ 2077883 h 6750795"/>
              <a:gd name="connsiteX1841" fmla="*/ 3918302 w 6630249"/>
              <a:gd name="connsiteY1841" fmla="*/ 2078133 h 6750795"/>
              <a:gd name="connsiteX1842" fmla="*/ 3917234 w 6630249"/>
              <a:gd name="connsiteY1842" fmla="*/ 2078845 h 6750795"/>
              <a:gd name="connsiteX1843" fmla="*/ 3919157 w 6630249"/>
              <a:gd name="connsiteY1843" fmla="*/ 2080128 h 6750795"/>
              <a:gd name="connsiteX1844" fmla="*/ 3916593 w 6630249"/>
              <a:gd name="connsiteY1844" fmla="*/ 2080128 h 6750795"/>
              <a:gd name="connsiteX1845" fmla="*/ 3901203 w 6630249"/>
              <a:gd name="connsiteY1845" fmla="*/ 2092951 h 6750795"/>
              <a:gd name="connsiteX1846" fmla="*/ 3903768 w 6630249"/>
              <a:gd name="connsiteY1846" fmla="*/ 2098082 h 6750795"/>
              <a:gd name="connsiteX1847" fmla="*/ 3916593 w 6630249"/>
              <a:gd name="connsiteY1847" fmla="*/ 2103211 h 6750795"/>
              <a:gd name="connsiteX1848" fmla="*/ 3919157 w 6630249"/>
              <a:gd name="connsiteY1848" fmla="*/ 2085258 h 6750795"/>
              <a:gd name="connsiteX1849" fmla="*/ 3919157 w 6630249"/>
              <a:gd name="connsiteY1849" fmla="*/ 2080128 h 6750795"/>
              <a:gd name="connsiteX1850" fmla="*/ 3918302 w 6630249"/>
              <a:gd name="connsiteY1850" fmla="*/ 2078133 h 6750795"/>
              <a:gd name="connsiteX1851" fmla="*/ 4121785 w 6630249"/>
              <a:gd name="connsiteY1851" fmla="*/ 2075009 h 6750795"/>
              <a:gd name="connsiteX1852" fmla="*/ 4130441 w 6630249"/>
              <a:gd name="connsiteY1852" fmla="*/ 2075009 h 6750795"/>
              <a:gd name="connsiteX1853" fmla="*/ 4137174 w 6630249"/>
              <a:gd name="connsiteY1853" fmla="*/ 2082704 h 6750795"/>
              <a:gd name="connsiteX1854" fmla="*/ 4121785 w 6630249"/>
              <a:gd name="connsiteY1854" fmla="*/ 2075009 h 6750795"/>
              <a:gd name="connsiteX1855" fmla="*/ 5140046 w 6630249"/>
              <a:gd name="connsiteY1855" fmla="*/ 2072452 h 6750795"/>
              <a:gd name="connsiteX1856" fmla="*/ 5140046 w 6630249"/>
              <a:gd name="connsiteY1856" fmla="*/ 2090405 h 6750795"/>
              <a:gd name="connsiteX1857" fmla="*/ 5140046 w 6630249"/>
              <a:gd name="connsiteY1857" fmla="*/ 2072452 h 6750795"/>
              <a:gd name="connsiteX1858" fmla="*/ 2364831 w 6630249"/>
              <a:gd name="connsiteY1858" fmla="*/ 2064738 h 6750795"/>
              <a:gd name="connsiteX1859" fmla="*/ 2369962 w 6630249"/>
              <a:gd name="connsiteY1859" fmla="*/ 2103211 h 6750795"/>
              <a:gd name="connsiteX1860" fmla="*/ 2375091 w 6630249"/>
              <a:gd name="connsiteY1860" fmla="*/ 2080128 h 6750795"/>
              <a:gd name="connsiteX1861" fmla="*/ 2364831 w 6630249"/>
              <a:gd name="connsiteY1861" fmla="*/ 2064738 h 6750795"/>
              <a:gd name="connsiteX1862" fmla="*/ 3942242 w 6630249"/>
              <a:gd name="connsiteY1862" fmla="*/ 2059609 h 6750795"/>
              <a:gd name="connsiteX1863" fmla="*/ 3931982 w 6630249"/>
              <a:gd name="connsiteY1863" fmla="*/ 2067302 h 6750795"/>
              <a:gd name="connsiteX1864" fmla="*/ 3939677 w 6630249"/>
              <a:gd name="connsiteY1864" fmla="*/ 2072433 h 6750795"/>
              <a:gd name="connsiteX1865" fmla="*/ 3942242 w 6630249"/>
              <a:gd name="connsiteY1865" fmla="*/ 2059609 h 6750795"/>
              <a:gd name="connsiteX1866" fmla="*/ 3898638 w 6630249"/>
              <a:gd name="connsiteY1866" fmla="*/ 2057044 h 6750795"/>
              <a:gd name="connsiteX1867" fmla="*/ 3896073 w 6630249"/>
              <a:gd name="connsiteY1867" fmla="*/ 2062174 h 6750795"/>
              <a:gd name="connsiteX1868" fmla="*/ 3901203 w 6630249"/>
              <a:gd name="connsiteY1868" fmla="*/ 2057044 h 6750795"/>
              <a:gd name="connsiteX1869" fmla="*/ 3898638 w 6630249"/>
              <a:gd name="connsiteY1869" fmla="*/ 2057044 h 6750795"/>
              <a:gd name="connsiteX1870" fmla="*/ 4437266 w 6630249"/>
              <a:gd name="connsiteY1870" fmla="*/ 2054500 h 6750795"/>
              <a:gd name="connsiteX1871" fmla="*/ 4442396 w 6630249"/>
              <a:gd name="connsiteY1871" fmla="*/ 2054500 h 6750795"/>
              <a:gd name="connsiteX1872" fmla="*/ 4442396 w 6630249"/>
              <a:gd name="connsiteY1872" fmla="*/ 2059635 h 6750795"/>
              <a:gd name="connsiteX1873" fmla="*/ 4437266 w 6630249"/>
              <a:gd name="connsiteY1873" fmla="*/ 2059635 h 6750795"/>
              <a:gd name="connsiteX1874" fmla="*/ 4437266 w 6630249"/>
              <a:gd name="connsiteY1874" fmla="*/ 2054500 h 6750795"/>
              <a:gd name="connsiteX1875" fmla="*/ 5145176 w 6630249"/>
              <a:gd name="connsiteY1875" fmla="*/ 2051935 h 6750795"/>
              <a:gd name="connsiteX1876" fmla="*/ 5145176 w 6630249"/>
              <a:gd name="connsiteY1876" fmla="*/ 2064764 h 6750795"/>
              <a:gd name="connsiteX1877" fmla="*/ 5145176 w 6630249"/>
              <a:gd name="connsiteY1877" fmla="*/ 2051935 h 6750795"/>
              <a:gd name="connsiteX1878" fmla="*/ 3916593 w 6630249"/>
              <a:gd name="connsiteY1878" fmla="*/ 2036525 h 6750795"/>
              <a:gd name="connsiteX1879" fmla="*/ 3911463 w 6630249"/>
              <a:gd name="connsiteY1879" fmla="*/ 2041654 h 6750795"/>
              <a:gd name="connsiteX1880" fmla="*/ 3916593 w 6630249"/>
              <a:gd name="connsiteY1880" fmla="*/ 2039090 h 6750795"/>
              <a:gd name="connsiteX1881" fmla="*/ 3919157 w 6630249"/>
              <a:gd name="connsiteY1881" fmla="*/ 2031396 h 6750795"/>
              <a:gd name="connsiteX1882" fmla="*/ 3916593 w 6630249"/>
              <a:gd name="connsiteY1882" fmla="*/ 2033960 h 6750795"/>
              <a:gd name="connsiteX1883" fmla="*/ 3921722 w 6630249"/>
              <a:gd name="connsiteY1883" fmla="*/ 2039090 h 6750795"/>
              <a:gd name="connsiteX1884" fmla="*/ 3919157 w 6630249"/>
              <a:gd name="connsiteY1884" fmla="*/ 2031396 h 6750795"/>
              <a:gd name="connsiteX1885" fmla="*/ 3885494 w 6630249"/>
              <a:gd name="connsiteY1885" fmla="*/ 2023129 h 6750795"/>
              <a:gd name="connsiteX1886" fmla="*/ 3888379 w 6630249"/>
              <a:gd name="connsiteY1886" fmla="*/ 2031423 h 6750795"/>
              <a:gd name="connsiteX1887" fmla="*/ 3880684 w 6630249"/>
              <a:gd name="connsiteY1887" fmla="*/ 2023727 h 6750795"/>
              <a:gd name="connsiteX1888" fmla="*/ 3885494 w 6630249"/>
              <a:gd name="connsiteY1888" fmla="*/ 2023129 h 6750795"/>
              <a:gd name="connsiteX1889" fmla="*/ 5178521 w 6630249"/>
              <a:gd name="connsiteY1889" fmla="*/ 2013462 h 6750795"/>
              <a:gd name="connsiteX1890" fmla="*/ 5150307 w 6630249"/>
              <a:gd name="connsiteY1890" fmla="*/ 2090399 h 6750795"/>
              <a:gd name="connsiteX1891" fmla="*/ 5178521 w 6630249"/>
              <a:gd name="connsiteY1891" fmla="*/ 2013462 h 6750795"/>
              <a:gd name="connsiteX1892" fmla="*/ 5065665 w 6630249"/>
              <a:gd name="connsiteY1892" fmla="*/ 2008330 h 6750795"/>
              <a:gd name="connsiteX1893" fmla="*/ 5078489 w 6630249"/>
              <a:gd name="connsiteY1893" fmla="*/ 2046798 h 6750795"/>
              <a:gd name="connsiteX1894" fmla="*/ 5055405 w 6630249"/>
              <a:gd name="connsiteY1894" fmla="*/ 2046798 h 6750795"/>
              <a:gd name="connsiteX1895" fmla="*/ 5052840 w 6630249"/>
              <a:gd name="connsiteY1895" fmla="*/ 2044233 h 6750795"/>
              <a:gd name="connsiteX1896" fmla="*/ 5065665 w 6630249"/>
              <a:gd name="connsiteY1896" fmla="*/ 2008330 h 6750795"/>
              <a:gd name="connsiteX1897" fmla="*/ 2334053 w 6630249"/>
              <a:gd name="connsiteY1897" fmla="*/ 2005745 h 6750795"/>
              <a:gd name="connsiteX1898" fmla="*/ 2357578 w 6630249"/>
              <a:gd name="connsiteY1898" fmla="*/ 2042104 h 6750795"/>
              <a:gd name="connsiteX1899" fmla="*/ 2357137 w 6630249"/>
              <a:gd name="connsiteY1899" fmla="*/ 2044219 h 6750795"/>
              <a:gd name="connsiteX1900" fmla="*/ 2334053 w 6630249"/>
              <a:gd name="connsiteY1900" fmla="*/ 2005745 h 6750795"/>
              <a:gd name="connsiteX1901" fmla="*/ 5104138 w 6630249"/>
              <a:gd name="connsiteY1901" fmla="*/ 1995514 h 6750795"/>
              <a:gd name="connsiteX1902" fmla="*/ 5109268 w 6630249"/>
              <a:gd name="connsiteY1902" fmla="*/ 1995514 h 6750795"/>
              <a:gd name="connsiteX1903" fmla="*/ 5109268 w 6630249"/>
              <a:gd name="connsiteY1903" fmla="*/ 2000642 h 6750795"/>
              <a:gd name="connsiteX1904" fmla="*/ 5104138 w 6630249"/>
              <a:gd name="connsiteY1904" fmla="*/ 2000642 h 6750795"/>
              <a:gd name="connsiteX1905" fmla="*/ 5104138 w 6630249"/>
              <a:gd name="connsiteY1905" fmla="*/ 1995514 h 6750795"/>
              <a:gd name="connsiteX1906" fmla="*/ 2375091 w 6630249"/>
              <a:gd name="connsiteY1906" fmla="*/ 1995486 h 6750795"/>
              <a:gd name="connsiteX1907" fmla="*/ 2367396 w 6630249"/>
              <a:gd name="connsiteY1907" fmla="*/ 2046783 h 6750795"/>
              <a:gd name="connsiteX1908" fmla="*/ 2380221 w 6630249"/>
              <a:gd name="connsiteY1908" fmla="*/ 2069868 h 6750795"/>
              <a:gd name="connsiteX1909" fmla="*/ 2400741 w 6630249"/>
              <a:gd name="connsiteY1909" fmla="*/ 2033960 h 6750795"/>
              <a:gd name="connsiteX1910" fmla="*/ 2380221 w 6630249"/>
              <a:gd name="connsiteY1910" fmla="*/ 2018570 h 6750795"/>
              <a:gd name="connsiteX1911" fmla="*/ 2375091 w 6630249"/>
              <a:gd name="connsiteY1911" fmla="*/ 1995486 h 6750795"/>
              <a:gd name="connsiteX1912" fmla="*/ 4732670 w 6630249"/>
              <a:gd name="connsiteY1912" fmla="*/ 1964606 h 6750795"/>
              <a:gd name="connsiteX1913" fmla="*/ 4737358 w 6630249"/>
              <a:gd name="connsiteY1913" fmla="*/ 1980115 h 6750795"/>
              <a:gd name="connsiteX1914" fmla="*/ 4729664 w 6630249"/>
              <a:gd name="connsiteY1914" fmla="*/ 1967290 h 6750795"/>
              <a:gd name="connsiteX1915" fmla="*/ 4732670 w 6630249"/>
              <a:gd name="connsiteY1915" fmla="*/ 1964606 h 6750795"/>
              <a:gd name="connsiteX1916" fmla="*/ 4729664 w 6630249"/>
              <a:gd name="connsiteY1916" fmla="*/ 1957041 h 6750795"/>
              <a:gd name="connsiteX1917" fmla="*/ 4734793 w 6630249"/>
              <a:gd name="connsiteY1917" fmla="*/ 1957041 h 6750795"/>
              <a:gd name="connsiteX1918" fmla="*/ 4734793 w 6630249"/>
              <a:gd name="connsiteY1918" fmla="*/ 1962170 h 6750795"/>
              <a:gd name="connsiteX1919" fmla="*/ 4729664 w 6630249"/>
              <a:gd name="connsiteY1919" fmla="*/ 1962170 h 6750795"/>
              <a:gd name="connsiteX1920" fmla="*/ 4729664 w 6630249"/>
              <a:gd name="connsiteY1920" fmla="*/ 1957041 h 6750795"/>
              <a:gd name="connsiteX1921" fmla="*/ 5070795 w 6630249"/>
              <a:gd name="connsiteY1921" fmla="*/ 1954476 h 6750795"/>
              <a:gd name="connsiteX1922" fmla="*/ 5073359 w 6630249"/>
              <a:gd name="connsiteY1922" fmla="*/ 1980125 h 6750795"/>
              <a:gd name="connsiteX1923" fmla="*/ 5070795 w 6630249"/>
              <a:gd name="connsiteY1923" fmla="*/ 1954476 h 6750795"/>
              <a:gd name="connsiteX1924" fmla="*/ 4047402 w 6630249"/>
              <a:gd name="connsiteY1924" fmla="*/ 1951883 h 6750795"/>
              <a:gd name="connsiteX1925" fmla="*/ 4042272 w 6630249"/>
              <a:gd name="connsiteY1925" fmla="*/ 1957013 h 6750795"/>
              <a:gd name="connsiteX1926" fmla="*/ 4044837 w 6630249"/>
              <a:gd name="connsiteY1926" fmla="*/ 1962143 h 6750795"/>
              <a:gd name="connsiteX1927" fmla="*/ 4047402 w 6630249"/>
              <a:gd name="connsiteY1927" fmla="*/ 1951883 h 6750795"/>
              <a:gd name="connsiteX1928" fmla="*/ 4757878 w 6630249"/>
              <a:gd name="connsiteY1928" fmla="*/ 1946763 h 6750795"/>
              <a:gd name="connsiteX1929" fmla="*/ 4763008 w 6630249"/>
              <a:gd name="connsiteY1929" fmla="*/ 1957025 h 6750795"/>
              <a:gd name="connsiteX1930" fmla="*/ 4757878 w 6630249"/>
              <a:gd name="connsiteY1930" fmla="*/ 1946763 h 6750795"/>
              <a:gd name="connsiteX1931" fmla="*/ 6584081 w 6630249"/>
              <a:gd name="connsiteY1931" fmla="*/ 1941649 h 6750795"/>
              <a:gd name="connsiteX1932" fmla="*/ 6568691 w 6630249"/>
              <a:gd name="connsiteY1932" fmla="*/ 1972431 h 6750795"/>
              <a:gd name="connsiteX1933" fmla="*/ 6584081 w 6630249"/>
              <a:gd name="connsiteY1933" fmla="*/ 1941649 h 6750795"/>
              <a:gd name="connsiteX1934" fmla="*/ 1367088 w 6630249"/>
              <a:gd name="connsiteY1934" fmla="*/ 1939059 h 6750795"/>
              <a:gd name="connsiteX1935" fmla="*/ 1354263 w 6630249"/>
              <a:gd name="connsiteY1935" fmla="*/ 1982662 h 6750795"/>
              <a:gd name="connsiteX1936" fmla="*/ 1367088 w 6630249"/>
              <a:gd name="connsiteY1936" fmla="*/ 1939059 h 6750795"/>
              <a:gd name="connsiteX1937" fmla="*/ 3890944 w 6630249"/>
              <a:gd name="connsiteY1937" fmla="*/ 1936517 h 6750795"/>
              <a:gd name="connsiteX1938" fmla="*/ 3898638 w 6630249"/>
              <a:gd name="connsiteY1938" fmla="*/ 1954476 h 6750795"/>
              <a:gd name="connsiteX1939" fmla="*/ 3890944 w 6630249"/>
              <a:gd name="connsiteY1939" fmla="*/ 1936517 h 6750795"/>
              <a:gd name="connsiteX1940" fmla="*/ 5564893 w 6630249"/>
              <a:gd name="connsiteY1940" fmla="*/ 1920791 h 6750795"/>
              <a:gd name="connsiteX1941" fmla="*/ 5570949 w 6630249"/>
              <a:gd name="connsiteY1941" fmla="*/ 1928799 h 6750795"/>
              <a:gd name="connsiteX1942" fmla="*/ 5565819 w 6630249"/>
              <a:gd name="connsiteY1942" fmla="*/ 1931364 h 6750795"/>
              <a:gd name="connsiteX1943" fmla="*/ 5564266 w 6630249"/>
              <a:gd name="connsiteY1943" fmla="*/ 1929275 h 6750795"/>
              <a:gd name="connsiteX1944" fmla="*/ 5780584 w 6630249"/>
              <a:gd name="connsiteY1944" fmla="*/ 1914603 h 6750795"/>
              <a:gd name="connsiteX1945" fmla="*/ 5783835 w 6630249"/>
              <a:gd name="connsiteY1945" fmla="*/ 1921104 h 6750795"/>
              <a:gd name="connsiteX1946" fmla="*/ 5780079 w 6630249"/>
              <a:gd name="connsiteY1946" fmla="*/ 1920854 h 6750795"/>
              <a:gd name="connsiteX1947" fmla="*/ 5781270 w 6630249"/>
              <a:gd name="connsiteY1947" fmla="*/ 1915975 h 6750795"/>
              <a:gd name="connsiteX1948" fmla="*/ 5775431 w 6630249"/>
              <a:gd name="connsiteY1948" fmla="*/ 1920544 h 6750795"/>
              <a:gd name="connsiteX1949" fmla="*/ 5774216 w 6630249"/>
              <a:gd name="connsiteY1949" fmla="*/ 1920463 h 6750795"/>
              <a:gd name="connsiteX1950" fmla="*/ 5768445 w 6630249"/>
              <a:gd name="connsiteY1950" fmla="*/ 1923669 h 6750795"/>
              <a:gd name="connsiteX1951" fmla="*/ 5773917 w 6630249"/>
              <a:gd name="connsiteY1951" fmla="*/ 1916830 h 6750795"/>
              <a:gd name="connsiteX1952" fmla="*/ 5773575 w 6630249"/>
              <a:gd name="connsiteY1952" fmla="*/ 1918540 h 6750795"/>
              <a:gd name="connsiteX1953" fmla="*/ 3839646 w 6630249"/>
              <a:gd name="connsiteY1953" fmla="*/ 1910845 h 6750795"/>
              <a:gd name="connsiteX1954" fmla="*/ 3829386 w 6630249"/>
              <a:gd name="connsiteY1954" fmla="*/ 1928799 h 6750795"/>
              <a:gd name="connsiteX1955" fmla="*/ 3808867 w 6630249"/>
              <a:gd name="connsiteY1955" fmla="*/ 1959578 h 6750795"/>
              <a:gd name="connsiteX1956" fmla="*/ 3801172 w 6630249"/>
              <a:gd name="connsiteY1956" fmla="*/ 1982662 h 6750795"/>
              <a:gd name="connsiteX1957" fmla="*/ 3819127 w 6630249"/>
              <a:gd name="connsiteY1957" fmla="*/ 1985227 h 6750795"/>
              <a:gd name="connsiteX1958" fmla="*/ 3808867 w 6630249"/>
              <a:gd name="connsiteY1958" fmla="*/ 2023701 h 6750795"/>
              <a:gd name="connsiteX1959" fmla="*/ 3819127 w 6630249"/>
              <a:gd name="connsiteY1959" fmla="*/ 1990357 h 6750795"/>
              <a:gd name="connsiteX1960" fmla="*/ 3839646 w 6630249"/>
              <a:gd name="connsiteY1960" fmla="*/ 1910845 h 6750795"/>
              <a:gd name="connsiteX1961" fmla="*/ 1364523 w 6630249"/>
              <a:gd name="connsiteY1961" fmla="*/ 1908280 h 6750795"/>
              <a:gd name="connsiteX1962" fmla="*/ 1367088 w 6630249"/>
              <a:gd name="connsiteY1962" fmla="*/ 1921104 h 6750795"/>
              <a:gd name="connsiteX1963" fmla="*/ 1367088 w 6630249"/>
              <a:gd name="connsiteY1963" fmla="*/ 1908280 h 6750795"/>
              <a:gd name="connsiteX1964" fmla="*/ 1364523 w 6630249"/>
              <a:gd name="connsiteY1964" fmla="*/ 1908280 h 6750795"/>
              <a:gd name="connsiteX1965" fmla="*/ 4103830 w 6630249"/>
              <a:gd name="connsiteY1965" fmla="*/ 1900595 h 6750795"/>
              <a:gd name="connsiteX1966" fmla="*/ 4098700 w 6630249"/>
              <a:gd name="connsiteY1966" fmla="*/ 1913420 h 6750795"/>
              <a:gd name="connsiteX1967" fmla="*/ 4093571 w 6630249"/>
              <a:gd name="connsiteY1967" fmla="*/ 1903161 h 6750795"/>
              <a:gd name="connsiteX1968" fmla="*/ 4103830 w 6630249"/>
              <a:gd name="connsiteY1968" fmla="*/ 1900595 h 6750795"/>
              <a:gd name="connsiteX1969" fmla="*/ 3903127 w 6630249"/>
              <a:gd name="connsiteY1969" fmla="*/ 1899970 h 6750795"/>
              <a:gd name="connsiteX1970" fmla="*/ 3901203 w 6630249"/>
              <a:gd name="connsiteY1970" fmla="*/ 1905742 h 6750795"/>
              <a:gd name="connsiteX1971" fmla="*/ 3903127 w 6630249"/>
              <a:gd name="connsiteY1971" fmla="*/ 1899970 h 6750795"/>
              <a:gd name="connsiteX1972" fmla="*/ 5122092 w 6630249"/>
              <a:gd name="connsiteY1972" fmla="*/ 1890344 h 6750795"/>
              <a:gd name="connsiteX1973" fmla="*/ 5119527 w 6630249"/>
              <a:gd name="connsiteY1973" fmla="*/ 1905732 h 6750795"/>
              <a:gd name="connsiteX1974" fmla="*/ 5122092 w 6630249"/>
              <a:gd name="connsiteY1974" fmla="*/ 1890344 h 6750795"/>
              <a:gd name="connsiteX1975" fmla="*/ 3880684 w 6630249"/>
              <a:gd name="connsiteY1975" fmla="*/ 1887779 h 6750795"/>
              <a:gd name="connsiteX1976" fmla="*/ 3880684 w 6630249"/>
              <a:gd name="connsiteY1976" fmla="*/ 1887779 h 6750795"/>
              <a:gd name="connsiteX1977" fmla="*/ 2600802 w 6630249"/>
              <a:gd name="connsiteY1977" fmla="*/ 1877501 h 6750795"/>
              <a:gd name="connsiteX1978" fmla="*/ 2534115 w 6630249"/>
              <a:gd name="connsiteY1978" fmla="*/ 1933929 h 6750795"/>
              <a:gd name="connsiteX1979" fmla="*/ 2464863 w 6630249"/>
              <a:gd name="connsiteY1979" fmla="*/ 2118599 h 6750795"/>
              <a:gd name="connsiteX1980" fmla="*/ 2434084 w 6630249"/>
              <a:gd name="connsiteY1980" fmla="*/ 2154509 h 6750795"/>
              <a:gd name="connsiteX1981" fmla="*/ 2441779 w 6630249"/>
              <a:gd name="connsiteY1981" fmla="*/ 2162202 h 6750795"/>
              <a:gd name="connsiteX1982" fmla="*/ 2528985 w 6630249"/>
              <a:gd name="connsiteY1982" fmla="*/ 2141684 h 6750795"/>
              <a:gd name="connsiteX1983" fmla="*/ 2444345 w 6630249"/>
              <a:gd name="connsiteY1983" fmla="*/ 2167332 h 6750795"/>
              <a:gd name="connsiteX1984" fmla="*/ 2464863 w 6630249"/>
              <a:gd name="connsiteY1984" fmla="*/ 2190416 h 6750795"/>
              <a:gd name="connsiteX1985" fmla="*/ 2454604 w 6630249"/>
              <a:gd name="connsiteY1985" fmla="*/ 2205806 h 6750795"/>
              <a:gd name="connsiteX1986" fmla="*/ 2505901 w 6630249"/>
              <a:gd name="connsiteY1986" fmla="*/ 2323792 h 6750795"/>
              <a:gd name="connsiteX1987" fmla="*/ 2618757 w 6630249"/>
              <a:gd name="connsiteY1987" fmla="*/ 2241718 h 6750795"/>
              <a:gd name="connsiteX1988" fmla="*/ 2654665 w 6630249"/>
              <a:gd name="connsiteY1988" fmla="*/ 2272495 h 6750795"/>
              <a:gd name="connsiteX1989" fmla="*/ 2682879 w 6630249"/>
              <a:gd name="connsiteY1989" fmla="*/ 2257108 h 6750795"/>
              <a:gd name="connsiteX1990" fmla="*/ 2680314 w 6630249"/>
              <a:gd name="connsiteY1990" fmla="*/ 2249412 h 6750795"/>
              <a:gd name="connsiteX1991" fmla="*/ 2690574 w 6630249"/>
              <a:gd name="connsiteY1991" fmla="*/ 2244283 h 6750795"/>
              <a:gd name="connsiteX1992" fmla="*/ 2698269 w 6630249"/>
              <a:gd name="connsiteY1992" fmla="*/ 2249412 h 6750795"/>
              <a:gd name="connsiteX1993" fmla="*/ 2759827 w 6630249"/>
              <a:gd name="connsiteY1993" fmla="*/ 2213500 h 6750795"/>
              <a:gd name="connsiteX1994" fmla="*/ 2677749 w 6630249"/>
              <a:gd name="connsiteY1994" fmla="*/ 2023701 h 6750795"/>
              <a:gd name="connsiteX1995" fmla="*/ 2621321 w 6630249"/>
              <a:gd name="connsiteY1995" fmla="*/ 1900585 h 6750795"/>
              <a:gd name="connsiteX1996" fmla="*/ 2600802 w 6630249"/>
              <a:gd name="connsiteY1996" fmla="*/ 1877501 h 6750795"/>
              <a:gd name="connsiteX1997" fmla="*/ 1390172 w 6630249"/>
              <a:gd name="connsiteY1997" fmla="*/ 1877501 h 6750795"/>
              <a:gd name="connsiteX1998" fmla="*/ 1385042 w 6630249"/>
              <a:gd name="connsiteY1998" fmla="*/ 1898020 h 6750795"/>
              <a:gd name="connsiteX1999" fmla="*/ 1410691 w 6630249"/>
              <a:gd name="connsiteY1999" fmla="*/ 1895455 h 6750795"/>
              <a:gd name="connsiteX2000" fmla="*/ 1420950 w 6630249"/>
              <a:gd name="connsiteY2000" fmla="*/ 1882631 h 6750795"/>
              <a:gd name="connsiteX2001" fmla="*/ 1390172 w 6630249"/>
              <a:gd name="connsiteY2001" fmla="*/ 1877501 h 6750795"/>
              <a:gd name="connsiteX2002" fmla="*/ 2841902 w 6630249"/>
              <a:gd name="connsiteY2002" fmla="*/ 1867242 h 6750795"/>
              <a:gd name="connsiteX2003" fmla="*/ 2813688 w 6630249"/>
              <a:gd name="connsiteY2003" fmla="*/ 1921104 h 6750795"/>
              <a:gd name="connsiteX2004" fmla="*/ 2782911 w 6630249"/>
              <a:gd name="connsiteY2004" fmla="*/ 2003181 h 6750795"/>
              <a:gd name="connsiteX2005" fmla="*/ 2859857 w 6630249"/>
              <a:gd name="connsiteY2005" fmla="*/ 2167332 h 6750795"/>
              <a:gd name="connsiteX2006" fmla="*/ 2959887 w 6630249"/>
              <a:gd name="connsiteY2006" fmla="*/ 2126297 h 6750795"/>
              <a:gd name="connsiteX2007" fmla="*/ 2936803 w 6630249"/>
              <a:gd name="connsiteY2007" fmla="*/ 2095517 h 6750795"/>
              <a:gd name="connsiteX2008" fmla="*/ 2918069 w 6630249"/>
              <a:gd name="connsiteY2008" fmla="*/ 2081466 h 6750795"/>
              <a:gd name="connsiteX2009" fmla="*/ 2906441 w 6630249"/>
              <a:gd name="connsiteY2009" fmla="*/ 2067673 h 6750795"/>
              <a:gd name="connsiteX2010" fmla="*/ 2908790 w 6630249"/>
              <a:gd name="connsiteY2010" fmla="*/ 2040812 h 6750795"/>
              <a:gd name="connsiteX2011" fmla="*/ 2875246 w 6630249"/>
              <a:gd name="connsiteY2011" fmla="*/ 1987792 h 6750795"/>
              <a:gd name="connsiteX2012" fmla="*/ 2906025 w 6630249"/>
              <a:gd name="connsiteY2012" fmla="*/ 1998051 h 6750795"/>
              <a:gd name="connsiteX2013" fmla="*/ 2870116 w 6630249"/>
              <a:gd name="connsiteY2013" fmla="*/ 1951883 h 6750795"/>
              <a:gd name="connsiteX2014" fmla="*/ 2875246 w 6630249"/>
              <a:gd name="connsiteY2014" fmla="*/ 1921104 h 6750795"/>
              <a:gd name="connsiteX2015" fmla="*/ 2849597 w 6630249"/>
              <a:gd name="connsiteY2015" fmla="*/ 1885196 h 6750795"/>
              <a:gd name="connsiteX2016" fmla="*/ 2854728 w 6630249"/>
              <a:gd name="connsiteY2016" fmla="*/ 1967273 h 6750795"/>
              <a:gd name="connsiteX2017" fmla="*/ 2887750 w 6630249"/>
              <a:gd name="connsiteY2017" fmla="*/ 2045502 h 6750795"/>
              <a:gd name="connsiteX2018" fmla="*/ 2906441 w 6630249"/>
              <a:gd name="connsiteY2018" fmla="*/ 2067673 h 6750795"/>
              <a:gd name="connsiteX2019" fmla="*/ 2906025 w 6630249"/>
              <a:gd name="connsiteY2019" fmla="*/ 2072433 h 6750795"/>
              <a:gd name="connsiteX2020" fmla="*/ 2918069 w 6630249"/>
              <a:gd name="connsiteY2020" fmla="*/ 2081466 h 6750795"/>
              <a:gd name="connsiteX2021" fmla="*/ 2934239 w 6630249"/>
              <a:gd name="connsiteY2021" fmla="*/ 2100646 h 6750795"/>
              <a:gd name="connsiteX2022" fmla="*/ 2926544 w 6630249"/>
              <a:gd name="connsiteY2022" fmla="*/ 2118599 h 6750795"/>
              <a:gd name="connsiteX2023" fmla="*/ 2847032 w 6630249"/>
              <a:gd name="connsiteY2023" fmla="*/ 1977532 h 6750795"/>
              <a:gd name="connsiteX2024" fmla="*/ 2844467 w 6630249"/>
              <a:gd name="connsiteY2024" fmla="*/ 1872371 h 6750795"/>
              <a:gd name="connsiteX2025" fmla="*/ 2841902 w 6630249"/>
              <a:gd name="connsiteY2025" fmla="*/ 1867242 h 6750795"/>
              <a:gd name="connsiteX2026" fmla="*/ 3931249 w 6630249"/>
              <a:gd name="connsiteY2026" fmla="*/ 1861868 h 6750795"/>
              <a:gd name="connsiteX2027" fmla="*/ 3931982 w 6630249"/>
              <a:gd name="connsiteY2027" fmla="*/ 1862112 h 6750795"/>
              <a:gd name="connsiteX2028" fmla="*/ 3931982 w 6630249"/>
              <a:gd name="connsiteY2028" fmla="*/ 1943272 h 6750795"/>
              <a:gd name="connsiteX2029" fmla="*/ 3929417 w 6630249"/>
              <a:gd name="connsiteY2029" fmla="*/ 1944188 h 6750795"/>
              <a:gd name="connsiteX2030" fmla="*/ 3926852 w 6630249"/>
              <a:gd name="connsiteY2030" fmla="*/ 1864677 h 6750795"/>
              <a:gd name="connsiteX2031" fmla="*/ 2477687 w 6630249"/>
              <a:gd name="connsiteY2031" fmla="*/ 1856982 h 6750795"/>
              <a:gd name="connsiteX2032" fmla="*/ 2426390 w 6630249"/>
              <a:gd name="connsiteY2032" fmla="*/ 1895455 h 6750795"/>
              <a:gd name="connsiteX2033" fmla="*/ 2413565 w 6630249"/>
              <a:gd name="connsiteY2033" fmla="*/ 1908280 h 6750795"/>
              <a:gd name="connsiteX2034" fmla="*/ 2472558 w 6630249"/>
              <a:gd name="connsiteY2034" fmla="*/ 1895455 h 6750795"/>
              <a:gd name="connsiteX2035" fmla="*/ 2477687 w 6630249"/>
              <a:gd name="connsiteY2035" fmla="*/ 1856982 h 6750795"/>
              <a:gd name="connsiteX2036" fmla="*/ 3978831 w 6630249"/>
              <a:gd name="connsiteY2036" fmla="*/ 1856689 h 6750795"/>
              <a:gd name="connsiteX2037" fmla="*/ 3975585 w 6630249"/>
              <a:gd name="connsiteY2037" fmla="*/ 1859576 h 6750795"/>
              <a:gd name="connsiteX2038" fmla="*/ 3978831 w 6630249"/>
              <a:gd name="connsiteY2038" fmla="*/ 1856689 h 6750795"/>
              <a:gd name="connsiteX2039" fmla="*/ 5722277 w 6630249"/>
              <a:gd name="connsiteY2039" fmla="*/ 1849316 h 6750795"/>
              <a:gd name="connsiteX2040" fmla="*/ 5729972 w 6630249"/>
              <a:gd name="connsiteY2040" fmla="*/ 1849316 h 6750795"/>
              <a:gd name="connsiteX2041" fmla="*/ 5712018 w 6630249"/>
              <a:gd name="connsiteY2041" fmla="*/ 1872400 h 6750795"/>
              <a:gd name="connsiteX2042" fmla="*/ 5722277 w 6630249"/>
              <a:gd name="connsiteY2042" fmla="*/ 1849316 h 6750795"/>
              <a:gd name="connsiteX2043" fmla="*/ 5027191 w 6630249"/>
              <a:gd name="connsiteY2043" fmla="*/ 1839056 h 6750795"/>
              <a:gd name="connsiteX2044" fmla="*/ 5011802 w 6630249"/>
              <a:gd name="connsiteY2044" fmla="*/ 1841622 h 6750795"/>
              <a:gd name="connsiteX2045" fmla="*/ 5027191 w 6630249"/>
              <a:gd name="connsiteY2045" fmla="*/ 1839056 h 6750795"/>
              <a:gd name="connsiteX2046" fmla="*/ 4713473 w 6630249"/>
              <a:gd name="connsiteY2046" fmla="*/ 1836892 h 6750795"/>
              <a:gd name="connsiteX2047" fmla="*/ 4709145 w 6630249"/>
              <a:gd name="connsiteY2047" fmla="*/ 1839056 h 6750795"/>
              <a:gd name="connsiteX2048" fmla="*/ 4713473 w 6630249"/>
              <a:gd name="connsiteY2048" fmla="*/ 1836892 h 6750795"/>
              <a:gd name="connsiteX2049" fmla="*/ 3911463 w 6630249"/>
              <a:gd name="connsiteY2049" fmla="*/ 1828769 h 6750795"/>
              <a:gd name="connsiteX2050" fmla="*/ 3908898 w 6630249"/>
              <a:gd name="connsiteY2050" fmla="*/ 1831334 h 6750795"/>
              <a:gd name="connsiteX2051" fmla="*/ 3914028 w 6630249"/>
              <a:gd name="connsiteY2051" fmla="*/ 1831334 h 6750795"/>
              <a:gd name="connsiteX2052" fmla="*/ 3911463 w 6630249"/>
              <a:gd name="connsiteY2052" fmla="*/ 1828769 h 6750795"/>
              <a:gd name="connsiteX2053" fmla="*/ 2190419 w 6630249"/>
              <a:gd name="connsiteY2053" fmla="*/ 1828769 h 6750795"/>
              <a:gd name="connsiteX2054" fmla="*/ 2334053 w 6630249"/>
              <a:gd name="connsiteY2054" fmla="*/ 2005745 h 6750795"/>
              <a:gd name="connsiteX2055" fmla="*/ 2263839 w 6630249"/>
              <a:gd name="connsiteY2055" fmla="*/ 1911807 h 6750795"/>
              <a:gd name="connsiteX2056" fmla="*/ 2188692 w 6630249"/>
              <a:gd name="connsiteY2056" fmla="*/ 1832222 h 6750795"/>
              <a:gd name="connsiteX2057" fmla="*/ 3505729 w 6630249"/>
              <a:gd name="connsiteY2057" fmla="*/ 1818389 h 6750795"/>
              <a:gd name="connsiteX2058" fmla="*/ 3498515 w 6630249"/>
              <a:gd name="connsiteY2058" fmla="*/ 1833898 h 6750795"/>
              <a:gd name="connsiteX2059" fmla="*/ 3498515 w 6630249"/>
              <a:gd name="connsiteY2059" fmla="*/ 1828769 h 6750795"/>
              <a:gd name="connsiteX2060" fmla="*/ 3505729 w 6630249"/>
              <a:gd name="connsiteY2060" fmla="*/ 1818389 h 6750795"/>
              <a:gd name="connsiteX2061" fmla="*/ 6048700 w 6630249"/>
              <a:gd name="connsiteY2061" fmla="*/ 1811603 h 6750795"/>
              <a:gd name="connsiteX2062" fmla="*/ 6045454 w 6630249"/>
              <a:gd name="connsiteY2062" fmla="*/ 1813407 h 6750795"/>
              <a:gd name="connsiteX2063" fmla="*/ 6048700 w 6630249"/>
              <a:gd name="connsiteY2063" fmla="*/ 1811603 h 6750795"/>
              <a:gd name="connsiteX2064" fmla="*/ 4034577 w 6630249"/>
              <a:gd name="connsiteY2064" fmla="*/ 1810815 h 6750795"/>
              <a:gd name="connsiteX2065" fmla="*/ 4011494 w 6630249"/>
              <a:gd name="connsiteY2065" fmla="*/ 1862112 h 6750795"/>
              <a:gd name="connsiteX2066" fmla="*/ 3996104 w 6630249"/>
              <a:gd name="connsiteY2066" fmla="*/ 1892891 h 6750795"/>
              <a:gd name="connsiteX2067" fmla="*/ 4003799 w 6630249"/>
              <a:gd name="connsiteY2067" fmla="*/ 1890326 h 6750795"/>
              <a:gd name="connsiteX2068" fmla="*/ 4029448 w 6630249"/>
              <a:gd name="connsiteY2068" fmla="*/ 1936494 h 6750795"/>
              <a:gd name="connsiteX2069" fmla="*/ 4047402 w 6630249"/>
              <a:gd name="connsiteY2069" fmla="*/ 1913410 h 6750795"/>
              <a:gd name="connsiteX2070" fmla="*/ 4044837 w 6630249"/>
              <a:gd name="connsiteY2070" fmla="*/ 1903150 h 6750795"/>
              <a:gd name="connsiteX2071" fmla="*/ 4034577 w 6630249"/>
              <a:gd name="connsiteY2071" fmla="*/ 1810815 h 6750795"/>
              <a:gd name="connsiteX2072" fmla="*/ 3147125 w 6630249"/>
              <a:gd name="connsiteY2072" fmla="*/ 1810815 h 6750795"/>
              <a:gd name="connsiteX2073" fmla="*/ 3136865 w 6630249"/>
              <a:gd name="connsiteY2073" fmla="*/ 1859547 h 6750795"/>
              <a:gd name="connsiteX2074" fmla="*/ 3129170 w 6630249"/>
              <a:gd name="connsiteY2074" fmla="*/ 1895455 h 6750795"/>
              <a:gd name="connsiteX2075" fmla="*/ 3165079 w 6630249"/>
              <a:gd name="connsiteY2075" fmla="*/ 1918540 h 6750795"/>
              <a:gd name="connsiteX2076" fmla="*/ 3162515 w 6630249"/>
              <a:gd name="connsiteY2076" fmla="*/ 1885196 h 6750795"/>
              <a:gd name="connsiteX2077" fmla="*/ 3147125 w 6630249"/>
              <a:gd name="connsiteY2077" fmla="*/ 1810815 h 6750795"/>
              <a:gd name="connsiteX2078" fmla="*/ 5678674 w 6630249"/>
              <a:gd name="connsiteY2078" fmla="*/ 1800556 h 6750795"/>
              <a:gd name="connsiteX2079" fmla="*/ 5683804 w 6630249"/>
              <a:gd name="connsiteY2079" fmla="*/ 1823639 h 6750795"/>
              <a:gd name="connsiteX2080" fmla="*/ 5678674 w 6630249"/>
              <a:gd name="connsiteY2080" fmla="*/ 1800556 h 6750795"/>
              <a:gd name="connsiteX2081" fmla="*/ 5057971 w 6630249"/>
              <a:gd name="connsiteY2081" fmla="*/ 1795451 h 6750795"/>
              <a:gd name="connsiteX2082" fmla="*/ 5057971 w 6630249"/>
              <a:gd name="connsiteY2082" fmla="*/ 1826233 h 6750795"/>
              <a:gd name="connsiteX2083" fmla="*/ 5057971 w 6630249"/>
              <a:gd name="connsiteY2083" fmla="*/ 1795451 h 6750795"/>
              <a:gd name="connsiteX2084" fmla="*/ 3888379 w 6630249"/>
              <a:gd name="connsiteY2084" fmla="*/ 1790323 h 6750795"/>
              <a:gd name="connsiteX2085" fmla="*/ 3888379 w 6630249"/>
              <a:gd name="connsiteY2085" fmla="*/ 1803147 h 6750795"/>
              <a:gd name="connsiteX2086" fmla="*/ 3888379 w 6630249"/>
              <a:gd name="connsiteY2086" fmla="*/ 1790323 h 6750795"/>
              <a:gd name="connsiteX2087" fmla="*/ 5019497 w 6630249"/>
              <a:gd name="connsiteY2087" fmla="*/ 1782634 h 6750795"/>
              <a:gd name="connsiteX2088" fmla="*/ 5014367 w 6630249"/>
              <a:gd name="connsiteY2088" fmla="*/ 1790326 h 6750795"/>
              <a:gd name="connsiteX2089" fmla="*/ 5019497 w 6630249"/>
              <a:gd name="connsiteY2089" fmla="*/ 1782634 h 6750795"/>
              <a:gd name="connsiteX2090" fmla="*/ 6268600 w 6630249"/>
              <a:gd name="connsiteY2090" fmla="*/ 1782629 h 6750795"/>
              <a:gd name="connsiteX2091" fmla="*/ 6271165 w 6630249"/>
              <a:gd name="connsiteY2091" fmla="*/ 1798016 h 6750795"/>
              <a:gd name="connsiteX2092" fmla="*/ 6268600 w 6630249"/>
              <a:gd name="connsiteY2092" fmla="*/ 1782629 h 6750795"/>
              <a:gd name="connsiteX2093" fmla="*/ 5060535 w 6630249"/>
              <a:gd name="connsiteY2093" fmla="*/ 1772369 h 6750795"/>
              <a:gd name="connsiteX2094" fmla="*/ 5057970 w 6630249"/>
              <a:gd name="connsiteY2094" fmla="*/ 1787759 h 6750795"/>
              <a:gd name="connsiteX2095" fmla="*/ 5060535 w 6630249"/>
              <a:gd name="connsiteY2095" fmla="*/ 1772369 h 6750795"/>
              <a:gd name="connsiteX2096" fmla="*/ 4034577 w 6630249"/>
              <a:gd name="connsiteY2096" fmla="*/ 1764647 h 6750795"/>
              <a:gd name="connsiteX2097" fmla="*/ 3960196 w 6630249"/>
              <a:gd name="connsiteY2097" fmla="*/ 1792861 h 6750795"/>
              <a:gd name="connsiteX2098" fmla="*/ 3970455 w 6630249"/>
              <a:gd name="connsiteY2098" fmla="*/ 1856982 h 6750795"/>
              <a:gd name="connsiteX2099" fmla="*/ 3957631 w 6630249"/>
              <a:gd name="connsiteY2099" fmla="*/ 1859547 h 6750795"/>
              <a:gd name="connsiteX2100" fmla="*/ 3957631 w 6630249"/>
              <a:gd name="connsiteY2100" fmla="*/ 1880066 h 6750795"/>
              <a:gd name="connsiteX2101" fmla="*/ 3949936 w 6630249"/>
              <a:gd name="connsiteY2101" fmla="*/ 1851852 h 6750795"/>
              <a:gd name="connsiteX2102" fmla="*/ 3938394 w 6630249"/>
              <a:gd name="connsiteY2102" fmla="*/ 1857303 h 6750795"/>
              <a:gd name="connsiteX2103" fmla="*/ 3931249 w 6630249"/>
              <a:gd name="connsiteY2103" fmla="*/ 1861868 h 6750795"/>
              <a:gd name="connsiteX2104" fmla="*/ 3924287 w 6630249"/>
              <a:gd name="connsiteY2104" fmla="*/ 1859547 h 6750795"/>
              <a:gd name="connsiteX2105" fmla="*/ 3921722 w 6630249"/>
              <a:gd name="connsiteY2105" fmla="*/ 1844158 h 6750795"/>
              <a:gd name="connsiteX2106" fmla="*/ 3903768 w 6630249"/>
              <a:gd name="connsiteY2106" fmla="*/ 1849289 h 6750795"/>
              <a:gd name="connsiteX2107" fmla="*/ 3911463 w 6630249"/>
              <a:gd name="connsiteY2107" fmla="*/ 1898020 h 6750795"/>
              <a:gd name="connsiteX2108" fmla="*/ 3898638 w 6630249"/>
              <a:gd name="connsiteY2108" fmla="*/ 1882631 h 6750795"/>
              <a:gd name="connsiteX2109" fmla="*/ 3885814 w 6630249"/>
              <a:gd name="connsiteY2109" fmla="*/ 1887761 h 6750795"/>
              <a:gd name="connsiteX2110" fmla="*/ 3883249 w 6630249"/>
              <a:gd name="connsiteY2110" fmla="*/ 1885196 h 6750795"/>
              <a:gd name="connsiteX2111" fmla="*/ 3880684 w 6630249"/>
              <a:gd name="connsiteY2111" fmla="*/ 1882631 h 6750795"/>
              <a:gd name="connsiteX2112" fmla="*/ 3880684 w 6630249"/>
              <a:gd name="connsiteY2112" fmla="*/ 1862112 h 6750795"/>
              <a:gd name="connsiteX2113" fmla="*/ 3872989 w 6630249"/>
              <a:gd name="connsiteY2113" fmla="*/ 1872371 h 6750795"/>
              <a:gd name="connsiteX2114" fmla="*/ 3867859 w 6630249"/>
              <a:gd name="connsiteY2114" fmla="*/ 1885196 h 6750795"/>
              <a:gd name="connsiteX2115" fmla="*/ 3839646 w 6630249"/>
              <a:gd name="connsiteY2115" fmla="*/ 1995486 h 6750795"/>
              <a:gd name="connsiteX2116" fmla="*/ 3813997 w 6630249"/>
              <a:gd name="connsiteY2116" fmla="*/ 2067302 h 6750795"/>
              <a:gd name="connsiteX2117" fmla="*/ 3813997 w 6630249"/>
              <a:gd name="connsiteY2117" fmla="*/ 2072433 h 6750795"/>
              <a:gd name="connsiteX2118" fmla="*/ 3842210 w 6630249"/>
              <a:gd name="connsiteY2118" fmla="*/ 2080128 h 6750795"/>
              <a:gd name="connsiteX2119" fmla="*/ 3839646 w 6630249"/>
              <a:gd name="connsiteY2119" fmla="*/ 2069868 h 6750795"/>
              <a:gd name="connsiteX2120" fmla="*/ 3844776 w 6630249"/>
              <a:gd name="connsiteY2120" fmla="*/ 2080128 h 6750795"/>
              <a:gd name="connsiteX2121" fmla="*/ 3852470 w 6630249"/>
              <a:gd name="connsiteY2121" fmla="*/ 2082693 h 6750795"/>
              <a:gd name="connsiteX2122" fmla="*/ 3857600 w 6630249"/>
              <a:gd name="connsiteY2122" fmla="*/ 2077563 h 6750795"/>
              <a:gd name="connsiteX2123" fmla="*/ 3857600 w 6630249"/>
              <a:gd name="connsiteY2123" fmla="*/ 2074997 h 6750795"/>
              <a:gd name="connsiteX2124" fmla="*/ 3860165 w 6630249"/>
              <a:gd name="connsiteY2124" fmla="*/ 2077563 h 6750795"/>
              <a:gd name="connsiteX2125" fmla="*/ 3865295 w 6630249"/>
              <a:gd name="connsiteY2125" fmla="*/ 2069868 h 6750795"/>
              <a:gd name="connsiteX2126" fmla="*/ 3867859 w 6630249"/>
              <a:gd name="connsiteY2126" fmla="*/ 2067302 h 6750795"/>
              <a:gd name="connsiteX2127" fmla="*/ 3870424 w 6630249"/>
              <a:gd name="connsiteY2127" fmla="*/ 2054480 h 6750795"/>
              <a:gd name="connsiteX2128" fmla="*/ 3875554 w 6630249"/>
              <a:gd name="connsiteY2128" fmla="*/ 2057044 h 6750795"/>
              <a:gd name="connsiteX2129" fmla="*/ 3919157 w 6630249"/>
              <a:gd name="connsiteY2129" fmla="*/ 2016006 h 6750795"/>
              <a:gd name="connsiteX2130" fmla="*/ 3924287 w 6630249"/>
              <a:gd name="connsiteY2130" fmla="*/ 2008311 h 6750795"/>
              <a:gd name="connsiteX2131" fmla="*/ 3916593 w 6630249"/>
              <a:gd name="connsiteY2131" fmla="*/ 1998051 h 6750795"/>
              <a:gd name="connsiteX2132" fmla="*/ 3921722 w 6630249"/>
              <a:gd name="connsiteY2132" fmla="*/ 1985227 h 6750795"/>
              <a:gd name="connsiteX2133" fmla="*/ 3911463 w 6630249"/>
              <a:gd name="connsiteY2133" fmla="*/ 1980097 h 6750795"/>
              <a:gd name="connsiteX2134" fmla="*/ 3924287 w 6630249"/>
              <a:gd name="connsiteY2134" fmla="*/ 1982662 h 6750795"/>
              <a:gd name="connsiteX2135" fmla="*/ 3929417 w 6630249"/>
              <a:gd name="connsiteY2135" fmla="*/ 1967273 h 6750795"/>
              <a:gd name="connsiteX2136" fmla="*/ 3921722 w 6630249"/>
              <a:gd name="connsiteY2136" fmla="*/ 1959578 h 6750795"/>
              <a:gd name="connsiteX2137" fmla="*/ 3929417 w 6630249"/>
              <a:gd name="connsiteY2137" fmla="*/ 1951883 h 6750795"/>
              <a:gd name="connsiteX2138" fmla="*/ 3931982 w 6630249"/>
              <a:gd name="connsiteY2138" fmla="*/ 1951883 h 6750795"/>
              <a:gd name="connsiteX2139" fmla="*/ 3931982 w 6630249"/>
              <a:gd name="connsiteY2139" fmla="*/ 1943272 h 6750795"/>
              <a:gd name="connsiteX2140" fmla="*/ 3938394 w 6630249"/>
              <a:gd name="connsiteY2140" fmla="*/ 1940983 h 6750795"/>
              <a:gd name="connsiteX2141" fmla="*/ 3939677 w 6630249"/>
              <a:gd name="connsiteY2141" fmla="*/ 1933929 h 6750795"/>
              <a:gd name="connsiteX2142" fmla="*/ 3949936 w 6630249"/>
              <a:gd name="connsiteY2142" fmla="*/ 1939059 h 6750795"/>
              <a:gd name="connsiteX2143" fmla="*/ 3955066 w 6630249"/>
              <a:gd name="connsiteY2143" fmla="*/ 1928799 h 6750795"/>
              <a:gd name="connsiteX2144" fmla="*/ 3962760 w 6630249"/>
              <a:gd name="connsiteY2144" fmla="*/ 1928799 h 6750795"/>
              <a:gd name="connsiteX2145" fmla="*/ 3965325 w 6630249"/>
              <a:gd name="connsiteY2145" fmla="*/ 1926234 h 6750795"/>
              <a:gd name="connsiteX2146" fmla="*/ 3980715 w 6630249"/>
              <a:gd name="connsiteY2146" fmla="*/ 1900585 h 6750795"/>
              <a:gd name="connsiteX2147" fmla="*/ 4003799 w 6630249"/>
              <a:gd name="connsiteY2147" fmla="*/ 1849289 h 6750795"/>
              <a:gd name="connsiteX2148" fmla="*/ 4034577 w 6630249"/>
              <a:gd name="connsiteY2148" fmla="*/ 1787730 h 6750795"/>
              <a:gd name="connsiteX2149" fmla="*/ 4034577 w 6630249"/>
              <a:gd name="connsiteY2149" fmla="*/ 1785166 h 6750795"/>
              <a:gd name="connsiteX2150" fmla="*/ 4034577 w 6630249"/>
              <a:gd name="connsiteY2150" fmla="*/ 1764647 h 6750795"/>
              <a:gd name="connsiteX2151" fmla="*/ 3858282 w 6630249"/>
              <a:gd name="connsiteY2151" fmla="*/ 1764354 h 6750795"/>
              <a:gd name="connsiteX2152" fmla="*/ 3855036 w 6630249"/>
              <a:gd name="connsiteY2152" fmla="*/ 1767239 h 6750795"/>
              <a:gd name="connsiteX2153" fmla="*/ 3858282 w 6630249"/>
              <a:gd name="connsiteY2153" fmla="*/ 1764354 h 6750795"/>
              <a:gd name="connsiteX2154" fmla="*/ 4049967 w 6630249"/>
              <a:gd name="connsiteY2154" fmla="*/ 1762082 h 6750795"/>
              <a:gd name="connsiteX2155" fmla="*/ 4042272 w 6630249"/>
              <a:gd name="connsiteY2155" fmla="*/ 1764647 h 6750795"/>
              <a:gd name="connsiteX2156" fmla="*/ 4042272 w 6630249"/>
              <a:gd name="connsiteY2156" fmla="*/ 1777471 h 6750795"/>
              <a:gd name="connsiteX2157" fmla="*/ 4049967 w 6630249"/>
              <a:gd name="connsiteY2157" fmla="*/ 1762082 h 6750795"/>
              <a:gd name="connsiteX2158" fmla="*/ 2657230 w 6630249"/>
              <a:gd name="connsiteY2158" fmla="*/ 1762082 h 6750795"/>
              <a:gd name="connsiteX2159" fmla="*/ 2598237 w 6630249"/>
              <a:gd name="connsiteY2159" fmla="*/ 1841593 h 6750795"/>
              <a:gd name="connsiteX2160" fmla="*/ 2598237 w 6630249"/>
              <a:gd name="connsiteY2160" fmla="*/ 1854417 h 6750795"/>
              <a:gd name="connsiteX2161" fmla="*/ 2626451 w 6630249"/>
              <a:gd name="connsiteY2161" fmla="*/ 1885196 h 6750795"/>
              <a:gd name="connsiteX2162" fmla="*/ 2688009 w 6630249"/>
              <a:gd name="connsiteY2162" fmla="*/ 2008311 h 6750795"/>
              <a:gd name="connsiteX2163" fmla="*/ 2782911 w 6630249"/>
              <a:gd name="connsiteY2163" fmla="*/ 2203241 h 6750795"/>
              <a:gd name="connsiteX2164" fmla="*/ 2847032 w 6630249"/>
              <a:gd name="connsiteY2164" fmla="*/ 2175028 h 6750795"/>
              <a:gd name="connsiteX2165" fmla="*/ 2777780 w 6630249"/>
              <a:gd name="connsiteY2165" fmla="*/ 2026267 h 6750795"/>
              <a:gd name="connsiteX2166" fmla="*/ 2767520 w 6630249"/>
              <a:gd name="connsiteY2166" fmla="*/ 2031396 h 6750795"/>
              <a:gd name="connsiteX2167" fmla="*/ 2775215 w 6630249"/>
              <a:gd name="connsiteY2167" fmla="*/ 2026267 h 6750795"/>
              <a:gd name="connsiteX2168" fmla="*/ 2772650 w 6630249"/>
              <a:gd name="connsiteY2168" fmla="*/ 2010878 h 6750795"/>
              <a:gd name="connsiteX2169" fmla="*/ 2759827 w 6630249"/>
              <a:gd name="connsiteY2169" fmla="*/ 1980097 h 6750795"/>
              <a:gd name="connsiteX2170" fmla="*/ 2752131 w 6630249"/>
              <a:gd name="connsiteY2170" fmla="*/ 1957013 h 6750795"/>
              <a:gd name="connsiteX2171" fmla="*/ 2744436 w 6630249"/>
              <a:gd name="connsiteY2171" fmla="*/ 1969837 h 6750795"/>
              <a:gd name="connsiteX2172" fmla="*/ 2731612 w 6630249"/>
              <a:gd name="connsiteY2172" fmla="*/ 1903150 h 6750795"/>
              <a:gd name="connsiteX2173" fmla="*/ 2677749 w 6630249"/>
              <a:gd name="connsiteY2173" fmla="*/ 1772342 h 6750795"/>
              <a:gd name="connsiteX2174" fmla="*/ 2657230 w 6630249"/>
              <a:gd name="connsiteY2174" fmla="*/ 1762082 h 6750795"/>
              <a:gd name="connsiteX2175" fmla="*/ 5804353 w 6630249"/>
              <a:gd name="connsiteY2175" fmla="*/ 1759545 h 6750795"/>
              <a:gd name="connsiteX2176" fmla="*/ 5796659 w 6630249"/>
              <a:gd name="connsiteY2176" fmla="*/ 1767241 h 6750795"/>
              <a:gd name="connsiteX2177" fmla="*/ 5804353 w 6630249"/>
              <a:gd name="connsiteY2177" fmla="*/ 1759545 h 6750795"/>
              <a:gd name="connsiteX2178" fmla="*/ 5034886 w 6630249"/>
              <a:gd name="connsiteY2178" fmla="*/ 1746721 h 6750795"/>
              <a:gd name="connsiteX2179" fmla="*/ 5032321 w 6630249"/>
              <a:gd name="connsiteY2179" fmla="*/ 1759547 h 6750795"/>
              <a:gd name="connsiteX2180" fmla="*/ 5034886 w 6630249"/>
              <a:gd name="connsiteY2180" fmla="*/ 1746721 h 6750795"/>
              <a:gd name="connsiteX2181" fmla="*/ 3893508 w 6630249"/>
              <a:gd name="connsiteY2181" fmla="*/ 1746693 h 6750795"/>
              <a:gd name="connsiteX2182" fmla="*/ 3880684 w 6630249"/>
              <a:gd name="connsiteY2182" fmla="*/ 1797991 h 6750795"/>
              <a:gd name="connsiteX2183" fmla="*/ 3870424 w 6630249"/>
              <a:gd name="connsiteY2183" fmla="*/ 1839029 h 6750795"/>
              <a:gd name="connsiteX2184" fmla="*/ 3872989 w 6630249"/>
              <a:gd name="connsiteY2184" fmla="*/ 1839029 h 6750795"/>
              <a:gd name="connsiteX2185" fmla="*/ 3875554 w 6630249"/>
              <a:gd name="connsiteY2185" fmla="*/ 1836463 h 6750795"/>
              <a:gd name="connsiteX2186" fmla="*/ 3875554 w 6630249"/>
              <a:gd name="connsiteY2186" fmla="*/ 1831334 h 6750795"/>
              <a:gd name="connsiteX2187" fmla="*/ 3878119 w 6630249"/>
              <a:gd name="connsiteY2187" fmla="*/ 1833898 h 6750795"/>
              <a:gd name="connsiteX2188" fmla="*/ 3883249 w 6630249"/>
              <a:gd name="connsiteY2188" fmla="*/ 1828769 h 6750795"/>
              <a:gd name="connsiteX2189" fmla="*/ 3901203 w 6630249"/>
              <a:gd name="connsiteY2189" fmla="*/ 1813380 h 6750795"/>
              <a:gd name="connsiteX2190" fmla="*/ 3898638 w 6630249"/>
              <a:gd name="connsiteY2190" fmla="*/ 1813380 h 6750795"/>
              <a:gd name="connsiteX2191" fmla="*/ 3898638 w 6630249"/>
              <a:gd name="connsiteY2191" fmla="*/ 1751823 h 6750795"/>
              <a:gd name="connsiteX2192" fmla="*/ 3893508 w 6630249"/>
              <a:gd name="connsiteY2192" fmla="*/ 1746693 h 6750795"/>
              <a:gd name="connsiteX2193" fmla="*/ 3870425 w 6630249"/>
              <a:gd name="connsiteY2193" fmla="*/ 1733896 h 6750795"/>
              <a:gd name="connsiteX2194" fmla="*/ 3875554 w 6630249"/>
              <a:gd name="connsiteY2194" fmla="*/ 1749286 h 6750795"/>
              <a:gd name="connsiteX2195" fmla="*/ 3870425 w 6630249"/>
              <a:gd name="connsiteY2195" fmla="*/ 1733896 h 6750795"/>
              <a:gd name="connsiteX2196" fmla="*/ 5083620 w 6630249"/>
              <a:gd name="connsiteY2196" fmla="*/ 1723636 h 6750795"/>
              <a:gd name="connsiteX2197" fmla="*/ 5068230 w 6630249"/>
              <a:gd name="connsiteY2197" fmla="*/ 1731331 h 6750795"/>
              <a:gd name="connsiteX2198" fmla="*/ 5083620 w 6630249"/>
              <a:gd name="connsiteY2198" fmla="*/ 1723636 h 6750795"/>
              <a:gd name="connsiteX2199" fmla="*/ 2726482 w 6630249"/>
              <a:gd name="connsiteY2199" fmla="*/ 1721044 h 6750795"/>
              <a:gd name="connsiteX2200" fmla="*/ 2688009 w 6630249"/>
              <a:gd name="connsiteY2200" fmla="*/ 1769777 h 6750795"/>
              <a:gd name="connsiteX2201" fmla="*/ 2739307 w 6630249"/>
              <a:gd name="connsiteY2201" fmla="*/ 1892891 h 6750795"/>
              <a:gd name="connsiteX2202" fmla="*/ 2754696 w 6630249"/>
              <a:gd name="connsiteY2202" fmla="*/ 1898020 h 6750795"/>
              <a:gd name="connsiteX2203" fmla="*/ 2721352 w 6630249"/>
              <a:gd name="connsiteY2203" fmla="*/ 1821075 h 6750795"/>
              <a:gd name="connsiteX2204" fmla="*/ 2739307 w 6630249"/>
              <a:gd name="connsiteY2204" fmla="*/ 1741563 h 6750795"/>
              <a:gd name="connsiteX2205" fmla="*/ 2726482 w 6630249"/>
              <a:gd name="connsiteY2205" fmla="*/ 1721044 h 6750795"/>
              <a:gd name="connsiteX2206" fmla="*/ 3075308 w 6630249"/>
              <a:gd name="connsiteY2206" fmla="*/ 1715914 h 6750795"/>
              <a:gd name="connsiteX2207" fmla="*/ 3049659 w 6630249"/>
              <a:gd name="connsiteY2207" fmla="*/ 1772342 h 6750795"/>
              <a:gd name="connsiteX2208" fmla="*/ 3034269 w 6630249"/>
              <a:gd name="connsiteY2208" fmla="*/ 1808250 h 6750795"/>
              <a:gd name="connsiteX2209" fmla="*/ 3062483 w 6630249"/>
              <a:gd name="connsiteY2209" fmla="*/ 1815944 h 6750795"/>
              <a:gd name="connsiteX2210" fmla="*/ 3075308 w 6630249"/>
              <a:gd name="connsiteY2210" fmla="*/ 1715914 h 6750795"/>
              <a:gd name="connsiteX2211" fmla="*/ 2929109 w 6630249"/>
              <a:gd name="connsiteY2211" fmla="*/ 1710784 h 6750795"/>
              <a:gd name="connsiteX2212" fmla="*/ 2926544 w 6630249"/>
              <a:gd name="connsiteY2212" fmla="*/ 1738998 h 6750795"/>
              <a:gd name="connsiteX2213" fmla="*/ 2929109 w 6630249"/>
              <a:gd name="connsiteY2213" fmla="*/ 1738998 h 6750795"/>
              <a:gd name="connsiteX2214" fmla="*/ 2929109 w 6630249"/>
              <a:gd name="connsiteY2214" fmla="*/ 1710784 h 6750795"/>
              <a:gd name="connsiteX2215" fmla="*/ 5078489 w 6630249"/>
              <a:gd name="connsiteY2215" fmla="*/ 1700553 h 6750795"/>
              <a:gd name="connsiteX2216" fmla="*/ 5093878 w 6630249"/>
              <a:gd name="connsiteY2216" fmla="*/ 1708247 h 6750795"/>
              <a:gd name="connsiteX2217" fmla="*/ 5078489 w 6630249"/>
              <a:gd name="connsiteY2217" fmla="*/ 1700553 h 6750795"/>
              <a:gd name="connsiteX2218" fmla="*/ 4052889 w 6630249"/>
              <a:gd name="connsiteY2218" fmla="*/ 1700334 h 6750795"/>
              <a:gd name="connsiteX2219" fmla="*/ 4050063 w 6630249"/>
              <a:gd name="connsiteY2219" fmla="*/ 1711991 h 6750795"/>
              <a:gd name="connsiteX2220" fmla="*/ 4051250 w 6630249"/>
              <a:gd name="connsiteY2220" fmla="*/ 1704693 h 6750795"/>
              <a:gd name="connsiteX2221" fmla="*/ 5119528 w 6630249"/>
              <a:gd name="connsiteY2221" fmla="*/ 1697989 h 6750795"/>
              <a:gd name="connsiteX2222" fmla="*/ 5096444 w 6630249"/>
              <a:gd name="connsiteY2222" fmla="*/ 1713378 h 6750795"/>
              <a:gd name="connsiteX2223" fmla="*/ 5111833 w 6630249"/>
              <a:gd name="connsiteY2223" fmla="*/ 1700553 h 6750795"/>
              <a:gd name="connsiteX2224" fmla="*/ 5119528 w 6630249"/>
              <a:gd name="connsiteY2224" fmla="*/ 1697989 h 6750795"/>
              <a:gd name="connsiteX2225" fmla="*/ 3352317 w 6630249"/>
              <a:gd name="connsiteY2225" fmla="*/ 1696066 h 6750795"/>
              <a:gd name="connsiteX2226" fmla="*/ 3354881 w 6630249"/>
              <a:gd name="connsiteY2226" fmla="*/ 1697989 h 6750795"/>
              <a:gd name="connsiteX2227" fmla="*/ 3349752 w 6630249"/>
              <a:gd name="connsiteY2227" fmla="*/ 1697989 h 6750795"/>
              <a:gd name="connsiteX2228" fmla="*/ 3352317 w 6630249"/>
              <a:gd name="connsiteY2228" fmla="*/ 1696066 h 6750795"/>
              <a:gd name="connsiteX2229" fmla="*/ 4728702 w 6630249"/>
              <a:gd name="connsiteY2229" fmla="*/ 1695745 h 6750795"/>
              <a:gd name="connsiteX2230" fmla="*/ 4729663 w 6630249"/>
              <a:gd name="connsiteY2230" fmla="*/ 1703119 h 6750795"/>
              <a:gd name="connsiteX2231" fmla="*/ 4721969 w 6630249"/>
              <a:gd name="connsiteY2231" fmla="*/ 1697989 h 6750795"/>
              <a:gd name="connsiteX2232" fmla="*/ 4728702 w 6630249"/>
              <a:gd name="connsiteY2232" fmla="*/ 1695745 h 6750795"/>
              <a:gd name="connsiteX2233" fmla="*/ 4149998 w 6630249"/>
              <a:gd name="connsiteY2233" fmla="*/ 1692830 h 6750795"/>
              <a:gd name="connsiteX2234" fmla="*/ 4098700 w 6630249"/>
              <a:gd name="connsiteY2234" fmla="*/ 1736433 h 6750795"/>
              <a:gd name="connsiteX2235" fmla="*/ 4065356 w 6630249"/>
              <a:gd name="connsiteY2235" fmla="*/ 1754387 h 6750795"/>
              <a:gd name="connsiteX2236" fmla="*/ 4047402 w 6630249"/>
              <a:gd name="connsiteY2236" fmla="*/ 1795426 h 6750795"/>
              <a:gd name="connsiteX2237" fmla="*/ 4057662 w 6630249"/>
              <a:gd name="connsiteY2237" fmla="*/ 1898020 h 6750795"/>
              <a:gd name="connsiteX2238" fmla="*/ 4057662 w 6630249"/>
              <a:gd name="connsiteY2238" fmla="*/ 1903150 h 6750795"/>
              <a:gd name="connsiteX2239" fmla="*/ 4101265 w 6630249"/>
              <a:gd name="connsiteY2239" fmla="*/ 1828769 h 6750795"/>
              <a:gd name="connsiteX2240" fmla="*/ 4149998 w 6630249"/>
              <a:gd name="connsiteY2240" fmla="*/ 1692830 h 6750795"/>
              <a:gd name="connsiteX2241" fmla="*/ 3859725 w 6630249"/>
              <a:gd name="connsiteY2241" fmla="*/ 1683710 h 6750795"/>
              <a:gd name="connsiteX2242" fmla="*/ 3855035 w 6630249"/>
              <a:gd name="connsiteY2242" fmla="*/ 1685153 h 6750795"/>
              <a:gd name="connsiteX2243" fmla="*/ 3859725 w 6630249"/>
              <a:gd name="connsiteY2243" fmla="*/ 1683710 h 6750795"/>
              <a:gd name="connsiteX2244" fmla="*/ 5163131 w 6630249"/>
              <a:gd name="connsiteY2244" fmla="*/ 1677470 h 6750795"/>
              <a:gd name="connsiteX2245" fmla="*/ 5168260 w 6630249"/>
              <a:gd name="connsiteY2245" fmla="*/ 1690295 h 6750795"/>
              <a:gd name="connsiteX2246" fmla="*/ 5160566 w 6630249"/>
              <a:gd name="connsiteY2246" fmla="*/ 1690295 h 6750795"/>
              <a:gd name="connsiteX2247" fmla="*/ 5163131 w 6630249"/>
              <a:gd name="connsiteY2247" fmla="*/ 1677470 h 6750795"/>
              <a:gd name="connsiteX2248" fmla="*/ 3365141 w 6630249"/>
              <a:gd name="connsiteY2248" fmla="*/ 1674906 h 6750795"/>
              <a:gd name="connsiteX2249" fmla="*/ 3365141 w 6630249"/>
              <a:gd name="connsiteY2249" fmla="*/ 1674906 h 6750795"/>
              <a:gd name="connsiteX2250" fmla="*/ 4755312 w 6630249"/>
              <a:gd name="connsiteY2250" fmla="*/ 1659516 h 6750795"/>
              <a:gd name="connsiteX2251" fmla="*/ 4763007 w 6630249"/>
              <a:gd name="connsiteY2251" fmla="*/ 1664646 h 6750795"/>
              <a:gd name="connsiteX2252" fmla="*/ 4755312 w 6630249"/>
              <a:gd name="connsiteY2252" fmla="*/ 1659516 h 6750795"/>
              <a:gd name="connsiteX2253" fmla="*/ 4769901 w 6630249"/>
              <a:gd name="connsiteY2253" fmla="*/ 1654787 h 6750795"/>
              <a:gd name="connsiteX2254" fmla="*/ 4765573 w 6630249"/>
              <a:gd name="connsiteY2254" fmla="*/ 1656951 h 6750795"/>
              <a:gd name="connsiteX2255" fmla="*/ 4769901 w 6630249"/>
              <a:gd name="connsiteY2255" fmla="*/ 1654787 h 6750795"/>
              <a:gd name="connsiteX2256" fmla="*/ 6296813 w 6630249"/>
              <a:gd name="connsiteY2256" fmla="*/ 1654385 h 6750795"/>
              <a:gd name="connsiteX2257" fmla="*/ 6294249 w 6630249"/>
              <a:gd name="connsiteY2257" fmla="*/ 1667211 h 6750795"/>
              <a:gd name="connsiteX2258" fmla="*/ 6296813 w 6630249"/>
              <a:gd name="connsiteY2258" fmla="*/ 1654385 h 6750795"/>
              <a:gd name="connsiteX2259" fmla="*/ 5260597 w 6630249"/>
              <a:gd name="connsiteY2259" fmla="*/ 1644115 h 6750795"/>
              <a:gd name="connsiteX2260" fmla="*/ 5258032 w 6630249"/>
              <a:gd name="connsiteY2260" fmla="*/ 1687718 h 6750795"/>
              <a:gd name="connsiteX2261" fmla="*/ 5237513 w 6630249"/>
              <a:gd name="connsiteY2261" fmla="*/ 1690283 h 6750795"/>
              <a:gd name="connsiteX2262" fmla="*/ 5240078 w 6630249"/>
              <a:gd name="connsiteY2262" fmla="*/ 1649244 h 6750795"/>
              <a:gd name="connsiteX2263" fmla="*/ 5260597 w 6630249"/>
              <a:gd name="connsiteY2263" fmla="*/ 1644115 h 6750795"/>
              <a:gd name="connsiteX2264" fmla="*/ 3121476 w 6630249"/>
              <a:gd name="connsiteY2264" fmla="*/ 1631273 h 6750795"/>
              <a:gd name="connsiteX2265" fmla="*/ 3103521 w 6630249"/>
              <a:gd name="connsiteY2265" fmla="*/ 1664616 h 6750795"/>
              <a:gd name="connsiteX2266" fmla="*/ 3080437 w 6630249"/>
              <a:gd name="connsiteY2266" fmla="*/ 1828769 h 6750795"/>
              <a:gd name="connsiteX2267" fmla="*/ 3093262 w 6630249"/>
              <a:gd name="connsiteY2267" fmla="*/ 1869807 h 6750795"/>
              <a:gd name="connsiteX2268" fmla="*/ 3111216 w 6630249"/>
              <a:gd name="connsiteY2268" fmla="*/ 1882631 h 6750795"/>
              <a:gd name="connsiteX2269" fmla="*/ 3121476 w 6630249"/>
              <a:gd name="connsiteY2269" fmla="*/ 1849289 h 6750795"/>
              <a:gd name="connsiteX2270" fmla="*/ 3139430 w 6630249"/>
              <a:gd name="connsiteY2270" fmla="*/ 1772342 h 6750795"/>
              <a:gd name="connsiteX2271" fmla="*/ 3139430 w 6630249"/>
              <a:gd name="connsiteY2271" fmla="*/ 1769777 h 6750795"/>
              <a:gd name="connsiteX2272" fmla="*/ 3121476 w 6630249"/>
              <a:gd name="connsiteY2272" fmla="*/ 1641532 h 6750795"/>
              <a:gd name="connsiteX2273" fmla="*/ 3121476 w 6630249"/>
              <a:gd name="connsiteY2273" fmla="*/ 1631273 h 6750795"/>
              <a:gd name="connsiteX2274" fmla="*/ 1292706 w 6630249"/>
              <a:gd name="connsiteY2274" fmla="*/ 1623578 h 6750795"/>
              <a:gd name="connsiteX2275" fmla="*/ 1313225 w 6630249"/>
              <a:gd name="connsiteY2275" fmla="*/ 1638967 h 6750795"/>
              <a:gd name="connsiteX2276" fmla="*/ 1292706 w 6630249"/>
              <a:gd name="connsiteY2276" fmla="*/ 1623578 h 6750795"/>
              <a:gd name="connsiteX2277" fmla="*/ 5237512 w 6630249"/>
              <a:gd name="connsiteY2277" fmla="*/ 1618477 h 6750795"/>
              <a:gd name="connsiteX2278" fmla="*/ 5224688 w 6630249"/>
              <a:gd name="connsiteY2278" fmla="*/ 1633868 h 6750795"/>
              <a:gd name="connsiteX2279" fmla="*/ 5237512 w 6630249"/>
              <a:gd name="connsiteY2279" fmla="*/ 1618477 h 6750795"/>
              <a:gd name="connsiteX2280" fmla="*/ 5177879 w 6630249"/>
              <a:gd name="connsiteY2280" fmla="*/ 1610463 h 6750795"/>
              <a:gd name="connsiteX2281" fmla="*/ 5183650 w 6630249"/>
              <a:gd name="connsiteY2281" fmla="*/ 1613348 h 6750795"/>
              <a:gd name="connsiteX2282" fmla="*/ 5177879 w 6630249"/>
              <a:gd name="connsiteY2282" fmla="*/ 1610463 h 6750795"/>
              <a:gd name="connsiteX2283" fmla="*/ 5899255 w 6630249"/>
              <a:gd name="connsiteY2283" fmla="*/ 1608859 h 6750795"/>
              <a:gd name="connsiteX2284" fmla="*/ 5901820 w 6630249"/>
              <a:gd name="connsiteY2284" fmla="*/ 1610783 h 6750795"/>
              <a:gd name="connsiteX2285" fmla="*/ 5896691 w 6630249"/>
              <a:gd name="connsiteY2285" fmla="*/ 1610783 h 6750795"/>
              <a:gd name="connsiteX2286" fmla="*/ 5899255 w 6630249"/>
              <a:gd name="connsiteY2286" fmla="*/ 1608859 h 6750795"/>
              <a:gd name="connsiteX2287" fmla="*/ 1275313 w 6630249"/>
              <a:gd name="connsiteY2287" fmla="*/ 1597809 h 6750795"/>
              <a:gd name="connsiteX2288" fmla="*/ 1272187 w 6630249"/>
              <a:gd name="connsiteY2288" fmla="*/ 1603059 h 6750795"/>
              <a:gd name="connsiteX2289" fmla="*/ 1287576 w 6630249"/>
              <a:gd name="connsiteY2289" fmla="*/ 1613318 h 6750795"/>
              <a:gd name="connsiteX2290" fmla="*/ 1275313 w 6630249"/>
              <a:gd name="connsiteY2290" fmla="*/ 1597809 h 6750795"/>
              <a:gd name="connsiteX2291" fmla="*/ 5332414 w 6630249"/>
              <a:gd name="connsiteY2291" fmla="*/ 1592817 h 6750795"/>
              <a:gd name="connsiteX2292" fmla="*/ 5317024 w 6630249"/>
              <a:gd name="connsiteY2292" fmla="*/ 1600513 h 6750795"/>
              <a:gd name="connsiteX2293" fmla="*/ 5332414 w 6630249"/>
              <a:gd name="connsiteY2293" fmla="*/ 1592817 h 6750795"/>
              <a:gd name="connsiteX2294" fmla="*/ 2998361 w 6630249"/>
              <a:gd name="connsiteY2294" fmla="*/ 1592799 h 6750795"/>
              <a:gd name="connsiteX2295" fmla="*/ 2967582 w 6630249"/>
              <a:gd name="connsiteY2295" fmla="*/ 1641532 h 6750795"/>
              <a:gd name="connsiteX2296" fmla="*/ 2939368 w 6630249"/>
              <a:gd name="connsiteY2296" fmla="*/ 1664616 h 6750795"/>
              <a:gd name="connsiteX2297" fmla="*/ 2936803 w 6630249"/>
              <a:gd name="connsiteY2297" fmla="*/ 1738998 h 6750795"/>
              <a:gd name="connsiteX2298" fmla="*/ 2967582 w 6630249"/>
              <a:gd name="connsiteY2298" fmla="*/ 1746693 h 6750795"/>
              <a:gd name="connsiteX2299" fmla="*/ 2975277 w 6630249"/>
              <a:gd name="connsiteY2299" fmla="*/ 1700525 h 6750795"/>
              <a:gd name="connsiteX2300" fmla="*/ 2998361 w 6630249"/>
              <a:gd name="connsiteY2300" fmla="*/ 1592799 h 6750795"/>
              <a:gd name="connsiteX2301" fmla="*/ 3867860 w 6630249"/>
              <a:gd name="connsiteY2301" fmla="*/ 1587701 h 6750795"/>
              <a:gd name="connsiteX2302" fmla="*/ 3872989 w 6630249"/>
              <a:gd name="connsiteY2302" fmla="*/ 1592831 h 6750795"/>
              <a:gd name="connsiteX2303" fmla="*/ 3870425 w 6630249"/>
              <a:gd name="connsiteY2303" fmla="*/ 1595395 h 6750795"/>
              <a:gd name="connsiteX2304" fmla="*/ 3867860 w 6630249"/>
              <a:gd name="connsiteY2304" fmla="*/ 1587701 h 6750795"/>
              <a:gd name="connsiteX2305" fmla="*/ 4842519 w 6630249"/>
              <a:gd name="connsiteY2305" fmla="*/ 1587700 h 6750795"/>
              <a:gd name="connsiteX2306" fmla="*/ 4824565 w 6630249"/>
              <a:gd name="connsiteY2306" fmla="*/ 1600524 h 6750795"/>
              <a:gd name="connsiteX2307" fmla="*/ 4842519 w 6630249"/>
              <a:gd name="connsiteY2307" fmla="*/ 1587700 h 6750795"/>
              <a:gd name="connsiteX2308" fmla="*/ 5659197 w 6630249"/>
              <a:gd name="connsiteY2308" fmla="*/ 1580808 h 6750795"/>
              <a:gd name="connsiteX2309" fmla="*/ 5655590 w 6630249"/>
              <a:gd name="connsiteY2309" fmla="*/ 1585136 h 6750795"/>
              <a:gd name="connsiteX2310" fmla="*/ 5659197 w 6630249"/>
              <a:gd name="connsiteY2310" fmla="*/ 1580808 h 6750795"/>
              <a:gd name="connsiteX2311" fmla="*/ 5132993 w 6630249"/>
              <a:gd name="connsiteY2311" fmla="*/ 1578723 h 6750795"/>
              <a:gd name="connsiteX2312" fmla="*/ 5140047 w 6630249"/>
              <a:gd name="connsiteY2312" fmla="*/ 1587700 h 6750795"/>
              <a:gd name="connsiteX2313" fmla="*/ 5122093 w 6630249"/>
              <a:gd name="connsiteY2313" fmla="*/ 1585136 h 6750795"/>
              <a:gd name="connsiteX2314" fmla="*/ 5132993 w 6630249"/>
              <a:gd name="connsiteY2314" fmla="*/ 1578723 h 6750795"/>
              <a:gd name="connsiteX2315" fmla="*/ 4845084 w 6630249"/>
              <a:gd name="connsiteY2315" fmla="*/ 1577441 h 6750795"/>
              <a:gd name="connsiteX2316" fmla="*/ 4852779 w 6630249"/>
              <a:gd name="connsiteY2316" fmla="*/ 1577441 h 6750795"/>
              <a:gd name="connsiteX2317" fmla="*/ 4842519 w 6630249"/>
              <a:gd name="connsiteY2317" fmla="*/ 1585135 h 6750795"/>
              <a:gd name="connsiteX2318" fmla="*/ 4845084 w 6630249"/>
              <a:gd name="connsiteY2318" fmla="*/ 1577441 h 6750795"/>
              <a:gd name="connsiteX2319" fmla="*/ 2908591 w 6630249"/>
              <a:gd name="connsiteY2319" fmla="*/ 1572318 h 6750795"/>
              <a:gd name="connsiteX2320" fmla="*/ 2906025 w 6630249"/>
              <a:gd name="connsiteY2320" fmla="*/ 1582579 h 6750795"/>
              <a:gd name="connsiteX2321" fmla="*/ 2908591 w 6630249"/>
              <a:gd name="connsiteY2321" fmla="*/ 1572318 h 6750795"/>
              <a:gd name="connsiteX2322" fmla="*/ 5229818 w 6630249"/>
              <a:gd name="connsiteY2322" fmla="*/ 1564617 h 6750795"/>
              <a:gd name="connsiteX2323" fmla="*/ 5242642 w 6630249"/>
              <a:gd name="connsiteY2323" fmla="*/ 1564617 h 6750795"/>
              <a:gd name="connsiteX2324" fmla="*/ 5240077 w 6630249"/>
              <a:gd name="connsiteY2324" fmla="*/ 1580006 h 6750795"/>
              <a:gd name="connsiteX2325" fmla="*/ 5229818 w 6630249"/>
              <a:gd name="connsiteY2325" fmla="*/ 1564617 h 6750795"/>
              <a:gd name="connsiteX2326" fmla="*/ 5266688 w 6630249"/>
              <a:gd name="connsiteY2326" fmla="*/ 1558846 h 6750795"/>
              <a:gd name="connsiteX2327" fmla="*/ 5275986 w 6630249"/>
              <a:gd name="connsiteY2327" fmla="*/ 1562052 h 6750795"/>
              <a:gd name="connsiteX2328" fmla="*/ 5268291 w 6630249"/>
              <a:gd name="connsiteY2328" fmla="*/ 1585136 h 6750795"/>
              <a:gd name="connsiteX2329" fmla="*/ 5260597 w 6630249"/>
              <a:gd name="connsiteY2329" fmla="*/ 1585136 h 6750795"/>
              <a:gd name="connsiteX2330" fmla="*/ 5255467 w 6630249"/>
              <a:gd name="connsiteY2330" fmla="*/ 1559487 h 6750795"/>
              <a:gd name="connsiteX2331" fmla="*/ 5266688 w 6630249"/>
              <a:gd name="connsiteY2331" fmla="*/ 1558846 h 6750795"/>
              <a:gd name="connsiteX2332" fmla="*/ 3124040 w 6630249"/>
              <a:gd name="connsiteY2332" fmla="*/ 1554326 h 6750795"/>
              <a:gd name="connsiteX2333" fmla="*/ 3106086 w 6630249"/>
              <a:gd name="connsiteY2333" fmla="*/ 1636402 h 6750795"/>
              <a:gd name="connsiteX2334" fmla="*/ 3118911 w 6630249"/>
              <a:gd name="connsiteY2334" fmla="*/ 1613318 h 6750795"/>
              <a:gd name="connsiteX2335" fmla="*/ 3124040 w 6630249"/>
              <a:gd name="connsiteY2335" fmla="*/ 1554326 h 6750795"/>
              <a:gd name="connsiteX2336" fmla="*/ 3878120 w 6630249"/>
              <a:gd name="connsiteY2336" fmla="*/ 1551771 h 6750795"/>
              <a:gd name="connsiteX2337" fmla="*/ 3880684 w 6630249"/>
              <a:gd name="connsiteY2337" fmla="*/ 1579984 h 6750795"/>
              <a:gd name="connsiteX2338" fmla="*/ 3878120 w 6630249"/>
              <a:gd name="connsiteY2338" fmla="*/ 1551771 h 6750795"/>
              <a:gd name="connsiteX2339" fmla="*/ 6532142 w 6630249"/>
              <a:gd name="connsiteY2339" fmla="*/ 1546984 h 6750795"/>
              <a:gd name="connsiteX2340" fmla="*/ 6540478 w 6630249"/>
              <a:gd name="connsiteY2340" fmla="*/ 1549228 h 6750795"/>
              <a:gd name="connsiteX2341" fmla="*/ 6527653 w 6630249"/>
              <a:gd name="connsiteY2341" fmla="*/ 1554358 h 6750795"/>
              <a:gd name="connsiteX2342" fmla="*/ 6532142 w 6630249"/>
              <a:gd name="connsiteY2342" fmla="*/ 1546984 h 6750795"/>
              <a:gd name="connsiteX2343" fmla="*/ 4932291 w 6630249"/>
              <a:gd name="connsiteY2343" fmla="*/ 1541534 h 6750795"/>
              <a:gd name="connsiteX2344" fmla="*/ 4934856 w 6630249"/>
              <a:gd name="connsiteY2344" fmla="*/ 1559488 h 6750795"/>
              <a:gd name="connsiteX2345" fmla="*/ 4932291 w 6630249"/>
              <a:gd name="connsiteY2345" fmla="*/ 1541534 h 6750795"/>
              <a:gd name="connsiteX2346" fmla="*/ 3924648 w 6630249"/>
              <a:gd name="connsiteY2346" fmla="*/ 1536021 h 6750795"/>
              <a:gd name="connsiteX2347" fmla="*/ 3924287 w 6630249"/>
              <a:gd name="connsiteY2347" fmla="*/ 1536381 h 6750795"/>
              <a:gd name="connsiteX2348" fmla="*/ 3924648 w 6630249"/>
              <a:gd name="connsiteY2348" fmla="*/ 1536021 h 6750795"/>
              <a:gd name="connsiteX2349" fmla="*/ 4065997 w 6630249"/>
              <a:gd name="connsiteY2349" fmla="*/ 1535741 h 6750795"/>
              <a:gd name="connsiteX2350" fmla="*/ 4070486 w 6630249"/>
              <a:gd name="connsiteY2350" fmla="*/ 1546641 h 6750795"/>
              <a:gd name="connsiteX2351" fmla="*/ 4057662 w 6630249"/>
              <a:gd name="connsiteY2351" fmla="*/ 1536382 h 6750795"/>
              <a:gd name="connsiteX2352" fmla="*/ 4065997 w 6630249"/>
              <a:gd name="connsiteY2352" fmla="*/ 1535741 h 6750795"/>
              <a:gd name="connsiteX2353" fmla="*/ 4960505 w 6630249"/>
              <a:gd name="connsiteY2353" fmla="*/ 1533839 h 6750795"/>
              <a:gd name="connsiteX2354" fmla="*/ 4957940 w 6630249"/>
              <a:gd name="connsiteY2354" fmla="*/ 1541534 h 6750795"/>
              <a:gd name="connsiteX2355" fmla="*/ 4957940 w 6630249"/>
              <a:gd name="connsiteY2355" fmla="*/ 1536404 h 6750795"/>
              <a:gd name="connsiteX2356" fmla="*/ 4960505 w 6630249"/>
              <a:gd name="connsiteY2356" fmla="*/ 1533839 h 6750795"/>
              <a:gd name="connsiteX2357" fmla="*/ 4791341 w 6630249"/>
              <a:gd name="connsiteY2357" fmla="*/ 1528749 h 6750795"/>
              <a:gd name="connsiteX2358" fmla="*/ 4798916 w 6630249"/>
              <a:gd name="connsiteY2358" fmla="*/ 1554358 h 6750795"/>
              <a:gd name="connsiteX2359" fmla="*/ 4783527 w 6630249"/>
              <a:gd name="connsiteY2359" fmla="*/ 1531274 h 6750795"/>
              <a:gd name="connsiteX2360" fmla="*/ 4791341 w 6630249"/>
              <a:gd name="connsiteY2360" fmla="*/ 1528749 h 6750795"/>
              <a:gd name="connsiteX2361" fmla="*/ 6625120 w 6630249"/>
              <a:gd name="connsiteY2361" fmla="*/ 1528709 h 6750795"/>
              <a:gd name="connsiteX2362" fmla="*/ 6630249 w 6630249"/>
              <a:gd name="connsiteY2362" fmla="*/ 1528709 h 6750795"/>
              <a:gd name="connsiteX2363" fmla="*/ 6627684 w 6630249"/>
              <a:gd name="connsiteY2363" fmla="*/ 1536404 h 6750795"/>
              <a:gd name="connsiteX2364" fmla="*/ 6622555 w 6630249"/>
              <a:gd name="connsiteY2364" fmla="*/ 1536404 h 6750795"/>
              <a:gd name="connsiteX2365" fmla="*/ 6625120 w 6630249"/>
              <a:gd name="connsiteY2365" fmla="*/ 1528709 h 6750795"/>
              <a:gd name="connsiteX2366" fmla="*/ 4191036 w 6630249"/>
              <a:gd name="connsiteY2366" fmla="*/ 1526112 h 6750795"/>
              <a:gd name="connsiteX2367" fmla="*/ 4142303 w 6630249"/>
              <a:gd name="connsiteY2367" fmla="*/ 1567150 h 6750795"/>
              <a:gd name="connsiteX2368" fmla="*/ 4073051 w 6630249"/>
              <a:gd name="connsiteY2368" fmla="*/ 1731303 h 6750795"/>
              <a:gd name="connsiteX2369" fmla="*/ 4096135 w 6630249"/>
              <a:gd name="connsiteY2369" fmla="*/ 1718479 h 6750795"/>
              <a:gd name="connsiteX2370" fmla="*/ 4157692 w 6630249"/>
              <a:gd name="connsiteY2370" fmla="*/ 1667181 h 6750795"/>
              <a:gd name="connsiteX2371" fmla="*/ 4191036 w 6630249"/>
              <a:gd name="connsiteY2371" fmla="*/ 1526112 h 6750795"/>
              <a:gd name="connsiteX2372" fmla="*/ 3170209 w 6630249"/>
              <a:gd name="connsiteY2372" fmla="*/ 1526112 h 6750795"/>
              <a:gd name="connsiteX2373" fmla="*/ 3126605 w 6630249"/>
              <a:gd name="connsiteY2373" fmla="*/ 1613318 h 6750795"/>
              <a:gd name="connsiteX2374" fmla="*/ 3126605 w 6630249"/>
              <a:gd name="connsiteY2374" fmla="*/ 1638967 h 6750795"/>
              <a:gd name="connsiteX2375" fmla="*/ 3141995 w 6630249"/>
              <a:gd name="connsiteY2375" fmla="*/ 1751823 h 6750795"/>
              <a:gd name="connsiteX2376" fmla="*/ 3165079 w 6630249"/>
              <a:gd name="connsiteY2376" fmla="*/ 1636402 h 6750795"/>
              <a:gd name="connsiteX2377" fmla="*/ 3149689 w 6630249"/>
              <a:gd name="connsiteY2377" fmla="*/ 1631273 h 6750795"/>
              <a:gd name="connsiteX2378" fmla="*/ 3154819 w 6630249"/>
              <a:gd name="connsiteY2378" fmla="*/ 1608189 h 6750795"/>
              <a:gd name="connsiteX2379" fmla="*/ 3167644 w 6630249"/>
              <a:gd name="connsiteY2379" fmla="*/ 1608189 h 6750795"/>
              <a:gd name="connsiteX2380" fmla="*/ 3170209 w 6630249"/>
              <a:gd name="connsiteY2380" fmla="*/ 1526112 h 6750795"/>
              <a:gd name="connsiteX2381" fmla="*/ 3957631 w 6630249"/>
              <a:gd name="connsiteY2381" fmla="*/ 1520993 h 6750795"/>
              <a:gd name="connsiteX2382" fmla="*/ 3962760 w 6630249"/>
              <a:gd name="connsiteY2382" fmla="*/ 1531252 h 6750795"/>
              <a:gd name="connsiteX2383" fmla="*/ 3957631 w 6630249"/>
              <a:gd name="connsiteY2383" fmla="*/ 1520993 h 6750795"/>
              <a:gd name="connsiteX2384" fmla="*/ 4937420 w 6630249"/>
              <a:gd name="connsiteY2384" fmla="*/ 1505626 h 6750795"/>
              <a:gd name="connsiteX2385" fmla="*/ 4934855 w 6630249"/>
              <a:gd name="connsiteY2385" fmla="*/ 1518450 h 6750795"/>
              <a:gd name="connsiteX2386" fmla="*/ 4929726 w 6630249"/>
              <a:gd name="connsiteY2386" fmla="*/ 1518450 h 6750795"/>
              <a:gd name="connsiteX2387" fmla="*/ 4937420 w 6630249"/>
              <a:gd name="connsiteY2387" fmla="*/ 1505626 h 6750795"/>
              <a:gd name="connsiteX2388" fmla="*/ 5501697 w 6630249"/>
              <a:gd name="connsiteY2388" fmla="*/ 1503061 h 6750795"/>
              <a:gd name="connsiteX2389" fmla="*/ 5506827 w 6630249"/>
              <a:gd name="connsiteY2389" fmla="*/ 1503061 h 6750795"/>
              <a:gd name="connsiteX2390" fmla="*/ 5506827 w 6630249"/>
              <a:gd name="connsiteY2390" fmla="*/ 1508191 h 6750795"/>
              <a:gd name="connsiteX2391" fmla="*/ 5501697 w 6630249"/>
              <a:gd name="connsiteY2391" fmla="*/ 1508191 h 6750795"/>
              <a:gd name="connsiteX2392" fmla="*/ 5501697 w 6630249"/>
              <a:gd name="connsiteY2392" fmla="*/ 1503061 h 6750795"/>
              <a:gd name="connsiteX2393" fmla="*/ 4370579 w 6630249"/>
              <a:gd name="connsiteY2393" fmla="*/ 1497265 h 6750795"/>
              <a:gd name="connsiteX2394" fmla="*/ 4383404 w 6630249"/>
              <a:gd name="connsiteY2394" fmla="*/ 1500471 h 6750795"/>
              <a:gd name="connsiteX2395" fmla="*/ 4380839 w 6630249"/>
              <a:gd name="connsiteY2395" fmla="*/ 1510730 h 6750795"/>
              <a:gd name="connsiteX2396" fmla="*/ 4388533 w 6630249"/>
              <a:gd name="connsiteY2396" fmla="*/ 1572289 h 6750795"/>
              <a:gd name="connsiteX2397" fmla="*/ 4378274 w 6630249"/>
              <a:gd name="connsiteY2397" fmla="*/ 1577419 h 6750795"/>
              <a:gd name="connsiteX2398" fmla="*/ 4365449 w 6630249"/>
              <a:gd name="connsiteY2398" fmla="*/ 1582549 h 6750795"/>
              <a:gd name="connsiteX2399" fmla="*/ 4347495 w 6630249"/>
              <a:gd name="connsiteY2399" fmla="*/ 1577419 h 6750795"/>
              <a:gd name="connsiteX2400" fmla="*/ 4337235 w 6630249"/>
              <a:gd name="connsiteY2400" fmla="*/ 1567159 h 6750795"/>
              <a:gd name="connsiteX2401" fmla="*/ 4342365 w 6630249"/>
              <a:gd name="connsiteY2401" fmla="*/ 1556900 h 6750795"/>
              <a:gd name="connsiteX2402" fmla="*/ 4332105 w 6630249"/>
              <a:gd name="connsiteY2402" fmla="*/ 1549205 h 6750795"/>
              <a:gd name="connsiteX2403" fmla="*/ 4329540 w 6630249"/>
              <a:gd name="connsiteY2403" fmla="*/ 1538944 h 6750795"/>
              <a:gd name="connsiteX2404" fmla="*/ 4337235 w 6630249"/>
              <a:gd name="connsiteY2404" fmla="*/ 1533816 h 6750795"/>
              <a:gd name="connsiteX2405" fmla="*/ 4334669 w 6630249"/>
              <a:gd name="connsiteY2405" fmla="*/ 1518425 h 6750795"/>
              <a:gd name="connsiteX2406" fmla="*/ 4344930 w 6630249"/>
              <a:gd name="connsiteY2406" fmla="*/ 1505601 h 6750795"/>
              <a:gd name="connsiteX2407" fmla="*/ 4357755 w 6630249"/>
              <a:gd name="connsiteY2407" fmla="*/ 1497906 h 6750795"/>
              <a:gd name="connsiteX2408" fmla="*/ 4370579 w 6630249"/>
              <a:gd name="connsiteY2408" fmla="*/ 1497265 h 6750795"/>
              <a:gd name="connsiteX2409" fmla="*/ 4078181 w 6630249"/>
              <a:gd name="connsiteY2409" fmla="*/ 1479943 h 6750795"/>
              <a:gd name="connsiteX2410" fmla="*/ 4052532 w 6630249"/>
              <a:gd name="connsiteY2410" fmla="*/ 1500462 h 6750795"/>
              <a:gd name="connsiteX2411" fmla="*/ 3944806 w 6630249"/>
              <a:gd name="connsiteY2411" fmla="*/ 1615883 h 6750795"/>
              <a:gd name="connsiteX2412" fmla="*/ 3903768 w 6630249"/>
              <a:gd name="connsiteY2412" fmla="*/ 1721044 h 6750795"/>
              <a:gd name="connsiteX2413" fmla="*/ 3931982 w 6630249"/>
              <a:gd name="connsiteY2413" fmla="*/ 1728738 h 6750795"/>
              <a:gd name="connsiteX2414" fmla="*/ 3937111 w 6630249"/>
              <a:gd name="connsiteY2414" fmla="*/ 1746693 h 6750795"/>
              <a:gd name="connsiteX2415" fmla="*/ 3985845 w 6630249"/>
              <a:gd name="connsiteY2415" fmla="*/ 1605624 h 6750795"/>
              <a:gd name="connsiteX2416" fmla="*/ 4078181 w 6630249"/>
              <a:gd name="connsiteY2416" fmla="*/ 1479943 h 6750795"/>
              <a:gd name="connsiteX2417" fmla="*/ 3967891 w 6630249"/>
              <a:gd name="connsiteY2417" fmla="*/ 1477389 h 6750795"/>
              <a:gd name="connsiteX2418" fmla="*/ 3973021 w 6630249"/>
              <a:gd name="connsiteY2418" fmla="*/ 1490214 h 6750795"/>
              <a:gd name="connsiteX2419" fmla="*/ 3967891 w 6630249"/>
              <a:gd name="connsiteY2419" fmla="*/ 1477389 h 6750795"/>
              <a:gd name="connsiteX2420" fmla="*/ 2982972 w 6630249"/>
              <a:gd name="connsiteY2420" fmla="*/ 1472248 h 6750795"/>
              <a:gd name="connsiteX2421" fmla="*/ 2949629 w 6630249"/>
              <a:gd name="connsiteY2421" fmla="*/ 1554326 h 6750795"/>
              <a:gd name="connsiteX2422" fmla="*/ 2957322 w 6630249"/>
              <a:gd name="connsiteY2422" fmla="*/ 1549196 h 6750795"/>
              <a:gd name="connsiteX2423" fmla="*/ 2957322 w 6630249"/>
              <a:gd name="connsiteY2423" fmla="*/ 1546631 h 6750795"/>
              <a:gd name="connsiteX2424" fmla="*/ 2982972 w 6630249"/>
              <a:gd name="connsiteY2424" fmla="*/ 1472248 h 6750795"/>
              <a:gd name="connsiteX2425" fmla="*/ 3916593 w 6630249"/>
              <a:gd name="connsiteY2425" fmla="*/ 1469696 h 6750795"/>
              <a:gd name="connsiteX2426" fmla="*/ 3924287 w 6630249"/>
              <a:gd name="connsiteY2426" fmla="*/ 1472261 h 6750795"/>
              <a:gd name="connsiteX2427" fmla="*/ 3919157 w 6630249"/>
              <a:gd name="connsiteY2427" fmla="*/ 1482520 h 6750795"/>
              <a:gd name="connsiteX2428" fmla="*/ 3916593 w 6630249"/>
              <a:gd name="connsiteY2428" fmla="*/ 1469696 h 6750795"/>
              <a:gd name="connsiteX2429" fmla="*/ 4934855 w 6630249"/>
              <a:gd name="connsiteY2429" fmla="*/ 1454329 h 6750795"/>
              <a:gd name="connsiteX2430" fmla="*/ 4934855 w 6630249"/>
              <a:gd name="connsiteY2430" fmla="*/ 1454329 h 6750795"/>
              <a:gd name="connsiteX2431" fmla="*/ 4752748 w 6630249"/>
              <a:gd name="connsiteY2431" fmla="*/ 1444071 h 6750795"/>
              <a:gd name="connsiteX2432" fmla="*/ 4752748 w 6630249"/>
              <a:gd name="connsiteY2432" fmla="*/ 1451764 h 6750795"/>
              <a:gd name="connsiteX2433" fmla="*/ 4752748 w 6630249"/>
              <a:gd name="connsiteY2433" fmla="*/ 1444071 h 6750795"/>
              <a:gd name="connsiteX2434" fmla="*/ 4950245 w 6630249"/>
              <a:gd name="connsiteY2434" fmla="*/ 1442146 h 6750795"/>
              <a:gd name="connsiteX2435" fmla="*/ 4952809 w 6630249"/>
              <a:gd name="connsiteY2435" fmla="*/ 1444070 h 6750795"/>
              <a:gd name="connsiteX2436" fmla="*/ 4947680 w 6630249"/>
              <a:gd name="connsiteY2436" fmla="*/ 1444070 h 6750795"/>
              <a:gd name="connsiteX2437" fmla="*/ 4950245 w 6630249"/>
              <a:gd name="connsiteY2437" fmla="*/ 1442146 h 6750795"/>
              <a:gd name="connsiteX2438" fmla="*/ 5476008 w 6630249"/>
              <a:gd name="connsiteY2438" fmla="*/ 1438620 h 6750795"/>
              <a:gd name="connsiteX2439" fmla="*/ 5473483 w 6630249"/>
              <a:gd name="connsiteY2439" fmla="*/ 1441505 h 6750795"/>
              <a:gd name="connsiteX2440" fmla="*/ 5476008 w 6630249"/>
              <a:gd name="connsiteY2440" fmla="*/ 1438620 h 6750795"/>
              <a:gd name="connsiteX2441" fmla="*/ 5891561 w 6630249"/>
              <a:gd name="connsiteY2441" fmla="*/ 1436376 h 6750795"/>
              <a:gd name="connsiteX2442" fmla="*/ 5876170 w 6630249"/>
              <a:gd name="connsiteY2442" fmla="*/ 1485108 h 6750795"/>
              <a:gd name="connsiteX2443" fmla="*/ 5891561 w 6630249"/>
              <a:gd name="connsiteY2443" fmla="*/ 1436376 h 6750795"/>
              <a:gd name="connsiteX2444" fmla="*/ 5178520 w 6630249"/>
              <a:gd name="connsiteY2444" fmla="*/ 1433811 h 6750795"/>
              <a:gd name="connsiteX2445" fmla="*/ 5155436 w 6630249"/>
              <a:gd name="connsiteY2445" fmla="*/ 1449200 h 6750795"/>
              <a:gd name="connsiteX2446" fmla="*/ 5178520 w 6630249"/>
              <a:gd name="connsiteY2446" fmla="*/ 1433811 h 6750795"/>
              <a:gd name="connsiteX2447" fmla="*/ 4503953 w 6630249"/>
              <a:gd name="connsiteY2447" fmla="*/ 1431246 h 6750795"/>
              <a:gd name="connsiteX2448" fmla="*/ 4506518 w 6630249"/>
              <a:gd name="connsiteY2448" fmla="*/ 1449200 h 6750795"/>
              <a:gd name="connsiteX2449" fmla="*/ 4491129 w 6630249"/>
              <a:gd name="connsiteY2449" fmla="*/ 1436376 h 6750795"/>
              <a:gd name="connsiteX2450" fmla="*/ 4503953 w 6630249"/>
              <a:gd name="connsiteY2450" fmla="*/ 1431246 h 6750795"/>
              <a:gd name="connsiteX2451" fmla="*/ 3031704 w 6630249"/>
              <a:gd name="connsiteY2451" fmla="*/ 1426080 h 6750795"/>
              <a:gd name="connsiteX2452" fmla="*/ 3003492 w 6630249"/>
              <a:gd name="connsiteY2452" fmla="*/ 1479943 h 6750795"/>
              <a:gd name="connsiteX2453" fmla="*/ 2980406 w 6630249"/>
              <a:gd name="connsiteY2453" fmla="*/ 1533807 h 6750795"/>
              <a:gd name="connsiteX2454" fmla="*/ 2995796 w 6630249"/>
              <a:gd name="connsiteY2454" fmla="*/ 1523547 h 6750795"/>
              <a:gd name="connsiteX2455" fmla="*/ 3013751 w 6630249"/>
              <a:gd name="connsiteY2455" fmla="*/ 1518416 h 6750795"/>
              <a:gd name="connsiteX2456" fmla="*/ 3031704 w 6630249"/>
              <a:gd name="connsiteY2456" fmla="*/ 1426080 h 6750795"/>
              <a:gd name="connsiteX2457" fmla="*/ 3914028 w 6630249"/>
              <a:gd name="connsiteY2457" fmla="*/ 1415832 h 6750795"/>
              <a:gd name="connsiteX2458" fmla="*/ 3928135 w 6630249"/>
              <a:gd name="connsiteY2458" fmla="*/ 1415832 h 6750795"/>
              <a:gd name="connsiteX2459" fmla="*/ 3934547 w 6630249"/>
              <a:gd name="connsiteY2459" fmla="*/ 1431222 h 6750795"/>
              <a:gd name="connsiteX2460" fmla="*/ 3914028 w 6630249"/>
              <a:gd name="connsiteY2460" fmla="*/ 1415832 h 6750795"/>
              <a:gd name="connsiteX2461" fmla="*/ 4693755 w 6630249"/>
              <a:gd name="connsiteY2461" fmla="*/ 1405597 h 6750795"/>
              <a:gd name="connsiteX2462" fmla="*/ 4698885 w 6630249"/>
              <a:gd name="connsiteY2462" fmla="*/ 1420987 h 6750795"/>
              <a:gd name="connsiteX2463" fmla="*/ 4693755 w 6630249"/>
              <a:gd name="connsiteY2463" fmla="*/ 1405597 h 6750795"/>
              <a:gd name="connsiteX2464" fmla="*/ 5619682 w 6630249"/>
              <a:gd name="connsiteY2464" fmla="*/ 1397882 h 6750795"/>
              <a:gd name="connsiteX2465" fmla="*/ 5642765 w 6630249"/>
              <a:gd name="connsiteY2465" fmla="*/ 1426095 h 6750795"/>
              <a:gd name="connsiteX2466" fmla="*/ 5637636 w 6630249"/>
              <a:gd name="connsiteY2466" fmla="*/ 1469699 h 6750795"/>
              <a:gd name="connsiteX2467" fmla="*/ 5617117 w 6630249"/>
              <a:gd name="connsiteY2467" fmla="*/ 1487653 h 6750795"/>
              <a:gd name="connsiteX2468" fmla="*/ 5578643 w 6630249"/>
              <a:gd name="connsiteY2468" fmla="*/ 1482523 h 6750795"/>
              <a:gd name="connsiteX2469" fmla="*/ 5568383 w 6630249"/>
              <a:gd name="connsiteY2469" fmla="*/ 1464569 h 6750795"/>
              <a:gd name="connsiteX2470" fmla="*/ 5576078 w 6630249"/>
              <a:gd name="connsiteY2470" fmla="*/ 1420966 h 6750795"/>
              <a:gd name="connsiteX2471" fmla="*/ 5619682 w 6630249"/>
              <a:gd name="connsiteY2471" fmla="*/ 1397882 h 6750795"/>
              <a:gd name="connsiteX2472" fmla="*/ 5188780 w 6630249"/>
              <a:gd name="connsiteY2472" fmla="*/ 1392774 h 6750795"/>
              <a:gd name="connsiteX2473" fmla="*/ 5196474 w 6630249"/>
              <a:gd name="connsiteY2473" fmla="*/ 1392774 h 6750795"/>
              <a:gd name="connsiteX2474" fmla="*/ 5196474 w 6630249"/>
              <a:gd name="connsiteY2474" fmla="*/ 1397904 h 6750795"/>
              <a:gd name="connsiteX2475" fmla="*/ 5188780 w 6630249"/>
              <a:gd name="connsiteY2475" fmla="*/ 1397904 h 6750795"/>
              <a:gd name="connsiteX2476" fmla="*/ 5188780 w 6630249"/>
              <a:gd name="connsiteY2476" fmla="*/ 1392774 h 6750795"/>
              <a:gd name="connsiteX2477" fmla="*/ 2898330 w 6630249"/>
              <a:gd name="connsiteY2477" fmla="*/ 1387649 h 6750795"/>
              <a:gd name="connsiteX2478" fmla="*/ 2913719 w 6630249"/>
              <a:gd name="connsiteY2478" fmla="*/ 1395342 h 6750795"/>
              <a:gd name="connsiteX2479" fmla="*/ 2918850 w 6630249"/>
              <a:gd name="connsiteY2479" fmla="*/ 1387649 h 6750795"/>
              <a:gd name="connsiteX2480" fmla="*/ 2926544 w 6630249"/>
              <a:gd name="connsiteY2480" fmla="*/ 1390214 h 6750795"/>
              <a:gd name="connsiteX2481" fmla="*/ 2926544 w 6630249"/>
              <a:gd name="connsiteY2481" fmla="*/ 1400473 h 6750795"/>
              <a:gd name="connsiteX2482" fmla="*/ 2921414 w 6630249"/>
              <a:gd name="connsiteY2482" fmla="*/ 1392779 h 6750795"/>
              <a:gd name="connsiteX2483" fmla="*/ 2921414 w 6630249"/>
              <a:gd name="connsiteY2483" fmla="*/ 1405603 h 6750795"/>
              <a:gd name="connsiteX2484" fmla="*/ 2929109 w 6630249"/>
              <a:gd name="connsiteY2484" fmla="*/ 1408167 h 6750795"/>
              <a:gd name="connsiteX2485" fmla="*/ 2921414 w 6630249"/>
              <a:gd name="connsiteY2485" fmla="*/ 1415862 h 6750795"/>
              <a:gd name="connsiteX2486" fmla="*/ 2936803 w 6630249"/>
              <a:gd name="connsiteY2486" fmla="*/ 1413298 h 6750795"/>
              <a:gd name="connsiteX2487" fmla="*/ 2929109 w 6630249"/>
              <a:gd name="connsiteY2487" fmla="*/ 1428687 h 6750795"/>
              <a:gd name="connsiteX2488" fmla="*/ 2911154 w 6630249"/>
              <a:gd name="connsiteY2488" fmla="*/ 1426122 h 6750795"/>
              <a:gd name="connsiteX2489" fmla="*/ 2908591 w 6630249"/>
              <a:gd name="connsiteY2489" fmla="*/ 1418427 h 6750795"/>
              <a:gd name="connsiteX2490" fmla="*/ 2921414 w 6630249"/>
              <a:gd name="connsiteY2490" fmla="*/ 1408167 h 6750795"/>
              <a:gd name="connsiteX2491" fmla="*/ 2916284 w 6630249"/>
              <a:gd name="connsiteY2491" fmla="*/ 1413298 h 6750795"/>
              <a:gd name="connsiteX2492" fmla="*/ 2903460 w 6630249"/>
              <a:gd name="connsiteY2492" fmla="*/ 1410732 h 6750795"/>
              <a:gd name="connsiteX2493" fmla="*/ 2906025 w 6630249"/>
              <a:gd name="connsiteY2493" fmla="*/ 1397908 h 6750795"/>
              <a:gd name="connsiteX2494" fmla="*/ 2900895 w 6630249"/>
              <a:gd name="connsiteY2494" fmla="*/ 1405603 h 6750795"/>
              <a:gd name="connsiteX2495" fmla="*/ 2898330 w 6630249"/>
              <a:gd name="connsiteY2495" fmla="*/ 1387649 h 6750795"/>
              <a:gd name="connsiteX2496" fmla="*/ 2908591 w 6630249"/>
              <a:gd name="connsiteY2496" fmla="*/ 1379955 h 6750795"/>
              <a:gd name="connsiteX2497" fmla="*/ 2916284 w 6630249"/>
              <a:gd name="connsiteY2497" fmla="*/ 1390215 h 6750795"/>
              <a:gd name="connsiteX2498" fmla="*/ 2908591 w 6630249"/>
              <a:gd name="connsiteY2498" fmla="*/ 1379955 h 6750795"/>
              <a:gd name="connsiteX2499" fmla="*/ 4224380 w 6630249"/>
              <a:gd name="connsiteY2499" fmla="*/ 1377347 h 6750795"/>
              <a:gd name="connsiteX2500" fmla="*/ 4149998 w 6630249"/>
              <a:gd name="connsiteY2500" fmla="*/ 1551761 h 6750795"/>
              <a:gd name="connsiteX2501" fmla="*/ 4193601 w 6630249"/>
              <a:gd name="connsiteY2501" fmla="*/ 1515852 h 6750795"/>
              <a:gd name="connsiteX2502" fmla="*/ 4224380 w 6630249"/>
              <a:gd name="connsiteY2502" fmla="*/ 1377347 h 6750795"/>
              <a:gd name="connsiteX2503" fmla="*/ 4637328 w 6630249"/>
              <a:gd name="connsiteY2503" fmla="*/ 1374820 h 6750795"/>
              <a:gd name="connsiteX2504" fmla="*/ 4642457 w 6630249"/>
              <a:gd name="connsiteY2504" fmla="*/ 1374820 h 6750795"/>
              <a:gd name="connsiteX2505" fmla="*/ 4642457 w 6630249"/>
              <a:gd name="connsiteY2505" fmla="*/ 1379951 h 6750795"/>
              <a:gd name="connsiteX2506" fmla="*/ 4637328 w 6630249"/>
              <a:gd name="connsiteY2506" fmla="*/ 1379951 h 6750795"/>
              <a:gd name="connsiteX2507" fmla="*/ 4637328 w 6630249"/>
              <a:gd name="connsiteY2507" fmla="*/ 1374820 h 6750795"/>
              <a:gd name="connsiteX2508" fmla="*/ 3867860 w 6630249"/>
              <a:gd name="connsiteY2508" fmla="*/ 1372228 h 6750795"/>
              <a:gd name="connsiteX2509" fmla="*/ 3857600 w 6630249"/>
              <a:gd name="connsiteY2509" fmla="*/ 1390182 h 6750795"/>
              <a:gd name="connsiteX2510" fmla="*/ 3860165 w 6630249"/>
              <a:gd name="connsiteY2510" fmla="*/ 1397877 h 6750795"/>
              <a:gd name="connsiteX2511" fmla="*/ 3872989 w 6630249"/>
              <a:gd name="connsiteY2511" fmla="*/ 1382487 h 6750795"/>
              <a:gd name="connsiteX2512" fmla="*/ 3867860 w 6630249"/>
              <a:gd name="connsiteY2512" fmla="*/ 1410701 h 6750795"/>
              <a:gd name="connsiteX2513" fmla="*/ 3865295 w 6630249"/>
              <a:gd name="connsiteY2513" fmla="*/ 1400441 h 6750795"/>
              <a:gd name="connsiteX2514" fmla="*/ 3857600 w 6630249"/>
              <a:gd name="connsiteY2514" fmla="*/ 1410701 h 6750795"/>
              <a:gd name="connsiteX2515" fmla="*/ 3852470 w 6630249"/>
              <a:gd name="connsiteY2515" fmla="*/ 1413266 h 6750795"/>
              <a:gd name="connsiteX2516" fmla="*/ 3844776 w 6630249"/>
              <a:gd name="connsiteY2516" fmla="*/ 1413266 h 6750795"/>
              <a:gd name="connsiteX2517" fmla="*/ 3852470 w 6630249"/>
              <a:gd name="connsiteY2517" fmla="*/ 1374793 h 6750795"/>
              <a:gd name="connsiteX2518" fmla="*/ 3855035 w 6630249"/>
              <a:gd name="connsiteY2518" fmla="*/ 1382487 h 6750795"/>
              <a:gd name="connsiteX2519" fmla="*/ 3867860 w 6630249"/>
              <a:gd name="connsiteY2519" fmla="*/ 1372228 h 6750795"/>
              <a:gd name="connsiteX2520" fmla="*/ 5965943 w 6630249"/>
              <a:gd name="connsiteY2520" fmla="*/ 1370331 h 6750795"/>
              <a:gd name="connsiteX2521" fmla="*/ 5968508 w 6630249"/>
              <a:gd name="connsiteY2521" fmla="*/ 1372255 h 6750795"/>
              <a:gd name="connsiteX2522" fmla="*/ 5963378 w 6630249"/>
              <a:gd name="connsiteY2522" fmla="*/ 1372255 h 6750795"/>
              <a:gd name="connsiteX2523" fmla="*/ 5965943 w 6630249"/>
              <a:gd name="connsiteY2523" fmla="*/ 1370331 h 6750795"/>
              <a:gd name="connsiteX2524" fmla="*/ 2908591 w 6630249"/>
              <a:gd name="connsiteY2524" fmla="*/ 1369697 h 6750795"/>
              <a:gd name="connsiteX2525" fmla="*/ 2913719 w 6630249"/>
              <a:gd name="connsiteY2525" fmla="*/ 1369697 h 6750795"/>
              <a:gd name="connsiteX2526" fmla="*/ 2911155 w 6630249"/>
              <a:gd name="connsiteY2526" fmla="*/ 1377391 h 6750795"/>
              <a:gd name="connsiteX2527" fmla="*/ 2906025 w 6630249"/>
              <a:gd name="connsiteY2527" fmla="*/ 1377391 h 6750795"/>
              <a:gd name="connsiteX2528" fmla="*/ 2908591 w 6630249"/>
              <a:gd name="connsiteY2528" fmla="*/ 1369697 h 6750795"/>
              <a:gd name="connsiteX2529" fmla="*/ 3118911 w 6630249"/>
              <a:gd name="connsiteY2529" fmla="*/ 1367130 h 6750795"/>
              <a:gd name="connsiteX2530" fmla="*/ 3113781 w 6630249"/>
              <a:gd name="connsiteY2530" fmla="*/ 1374825 h 6750795"/>
              <a:gd name="connsiteX2531" fmla="*/ 3118911 w 6630249"/>
              <a:gd name="connsiteY2531" fmla="*/ 1367130 h 6750795"/>
              <a:gd name="connsiteX2532" fmla="*/ 3911462 w 6630249"/>
              <a:gd name="connsiteY2532" fmla="*/ 1367098 h 6750795"/>
              <a:gd name="connsiteX2533" fmla="*/ 3916593 w 6630249"/>
              <a:gd name="connsiteY2533" fmla="*/ 1372228 h 6750795"/>
              <a:gd name="connsiteX2534" fmla="*/ 3908898 w 6630249"/>
              <a:gd name="connsiteY2534" fmla="*/ 1374792 h 6750795"/>
              <a:gd name="connsiteX2535" fmla="*/ 3906333 w 6630249"/>
              <a:gd name="connsiteY2535" fmla="*/ 1379922 h 6750795"/>
              <a:gd name="connsiteX2536" fmla="*/ 3911462 w 6630249"/>
              <a:gd name="connsiteY2536" fmla="*/ 1367098 h 6750795"/>
              <a:gd name="connsiteX2537" fmla="*/ 2895765 w 6630249"/>
              <a:gd name="connsiteY2537" fmla="*/ 1364566 h 6750795"/>
              <a:gd name="connsiteX2538" fmla="*/ 2900895 w 6630249"/>
              <a:gd name="connsiteY2538" fmla="*/ 1379955 h 6750795"/>
              <a:gd name="connsiteX2539" fmla="*/ 2885506 w 6630249"/>
              <a:gd name="connsiteY2539" fmla="*/ 1379955 h 6750795"/>
              <a:gd name="connsiteX2540" fmla="*/ 2895765 w 6630249"/>
              <a:gd name="connsiteY2540" fmla="*/ 1364566 h 6750795"/>
              <a:gd name="connsiteX2541" fmla="*/ 3911463 w 6630249"/>
              <a:gd name="connsiteY2541" fmla="*/ 1359405 h 6750795"/>
              <a:gd name="connsiteX2542" fmla="*/ 3921723 w 6630249"/>
              <a:gd name="connsiteY2542" fmla="*/ 1361970 h 6750795"/>
              <a:gd name="connsiteX2543" fmla="*/ 3919157 w 6630249"/>
              <a:gd name="connsiteY2543" fmla="*/ 1372229 h 6750795"/>
              <a:gd name="connsiteX2544" fmla="*/ 3911463 w 6630249"/>
              <a:gd name="connsiteY2544" fmla="*/ 1359405 h 6750795"/>
              <a:gd name="connsiteX2545" fmla="*/ 6212172 w 6630249"/>
              <a:gd name="connsiteY2545" fmla="*/ 1356865 h 6750795"/>
              <a:gd name="connsiteX2546" fmla="*/ 6186523 w 6630249"/>
              <a:gd name="connsiteY2546" fmla="*/ 1392774 h 6750795"/>
              <a:gd name="connsiteX2547" fmla="*/ 6212172 w 6630249"/>
              <a:gd name="connsiteY2547" fmla="*/ 1356865 h 6750795"/>
              <a:gd name="connsiteX2548" fmla="*/ 3106087 w 6630249"/>
              <a:gd name="connsiteY2548" fmla="*/ 1354307 h 6750795"/>
              <a:gd name="connsiteX2549" fmla="*/ 3111216 w 6630249"/>
              <a:gd name="connsiteY2549" fmla="*/ 1369696 h 6750795"/>
              <a:gd name="connsiteX2550" fmla="*/ 3106087 w 6630249"/>
              <a:gd name="connsiteY2550" fmla="*/ 1354307 h 6750795"/>
              <a:gd name="connsiteX2551" fmla="*/ 2570025 w 6630249"/>
              <a:gd name="connsiteY2551" fmla="*/ 1341483 h 6750795"/>
              <a:gd name="connsiteX2552" fmla="*/ 2572589 w 6630249"/>
              <a:gd name="connsiteY2552" fmla="*/ 1359437 h 6750795"/>
              <a:gd name="connsiteX2553" fmla="*/ 2570025 w 6630249"/>
              <a:gd name="connsiteY2553" fmla="*/ 1341483 h 6750795"/>
              <a:gd name="connsiteX2554" fmla="*/ 5037451 w 6630249"/>
              <a:gd name="connsiteY2554" fmla="*/ 1341459 h 6750795"/>
              <a:gd name="connsiteX2555" fmla="*/ 5050275 w 6630249"/>
              <a:gd name="connsiteY2555" fmla="*/ 1392757 h 6750795"/>
              <a:gd name="connsiteX2556" fmla="*/ 5065664 w 6630249"/>
              <a:gd name="connsiteY2556" fmla="*/ 1390192 h 6750795"/>
              <a:gd name="connsiteX2557" fmla="*/ 5052840 w 6630249"/>
              <a:gd name="connsiteY2557" fmla="*/ 1449184 h 6750795"/>
              <a:gd name="connsiteX2558" fmla="*/ 5034886 w 6630249"/>
              <a:gd name="connsiteY2558" fmla="*/ 1462009 h 6750795"/>
              <a:gd name="connsiteX2559" fmla="*/ 5083619 w 6630249"/>
              <a:gd name="connsiteY2559" fmla="*/ 1436359 h 6750795"/>
              <a:gd name="connsiteX2560" fmla="*/ 5083619 w 6630249"/>
              <a:gd name="connsiteY2560" fmla="*/ 1408146 h 6750795"/>
              <a:gd name="connsiteX2561" fmla="*/ 5091313 w 6630249"/>
              <a:gd name="connsiteY2561" fmla="*/ 1405581 h 6750795"/>
              <a:gd name="connsiteX2562" fmla="*/ 5088749 w 6630249"/>
              <a:gd name="connsiteY2562" fmla="*/ 1469702 h 6750795"/>
              <a:gd name="connsiteX2563" fmla="*/ 5101573 w 6630249"/>
              <a:gd name="connsiteY2563" fmla="*/ 1469702 h 6750795"/>
              <a:gd name="connsiteX2564" fmla="*/ 5104138 w 6630249"/>
              <a:gd name="connsiteY2564" fmla="*/ 1523565 h 6750795"/>
              <a:gd name="connsiteX2565" fmla="*/ 5088749 w 6630249"/>
              <a:gd name="connsiteY2565" fmla="*/ 1577428 h 6750795"/>
              <a:gd name="connsiteX2566" fmla="*/ 5070794 w 6630249"/>
              <a:gd name="connsiteY2566" fmla="*/ 1582558 h 6750795"/>
              <a:gd name="connsiteX2567" fmla="*/ 5088749 w 6630249"/>
              <a:gd name="connsiteY2567" fmla="*/ 1587686 h 6750795"/>
              <a:gd name="connsiteX2568" fmla="*/ 5057970 w 6630249"/>
              <a:gd name="connsiteY2568" fmla="*/ 1636419 h 6750795"/>
              <a:gd name="connsiteX2569" fmla="*/ 5070794 w 6630249"/>
              <a:gd name="connsiteY2569" fmla="*/ 1644114 h 6750795"/>
              <a:gd name="connsiteX2570" fmla="*/ 5055405 w 6630249"/>
              <a:gd name="connsiteY2570" fmla="*/ 1674893 h 6750795"/>
              <a:gd name="connsiteX2571" fmla="*/ 5104138 w 6630249"/>
              <a:gd name="connsiteY2571" fmla="*/ 1638984 h 6750795"/>
              <a:gd name="connsiteX2572" fmla="*/ 5083619 w 6630249"/>
              <a:gd name="connsiteY2572" fmla="*/ 1651810 h 6750795"/>
              <a:gd name="connsiteX2573" fmla="*/ 5122092 w 6630249"/>
              <a:gd name="connsiteY2573" fmla="*/ 1608206 h 6750795"/>
              <a:gd name="connsiteX2574" fmla="*/ 5104138 w 6630249"/>
              <a:gd name="connsiteY2574" fmla="*/ 1633855 h 6750795"/>
              <a:gd name="connsiteX2575" fmla="*/ 5116962 w 6630249"/>
              <a:gd name="connsiteY2575" fmla="*/ 1638984 h 6750795"/>
              <a:gd name="connsiteX2576" fmla="*/ 5111833 w 6630249"/>
              <a:gd name="connsiteY2576" fmla="*/ 1656939 h 6750795"/>
              <a:gd name="connsiteX2577" fmla="*/ 5106703 w 6630249"/>
              <a:gd name="connsiteY2577" fmla="*/ 1649245 h 6750795"/>
              <a:gd name="connsiteX2578" fmla="*/ 5070794 w 6630249"/>
              <a:gd name="connsiteY2578" fmla="*/ 1690283 h 6750795"/>
              <a:gd name="connsiteX2579" fmla="*/ 5068229 w 6630249"/>
              <a:gd name="connsiteY2579" fmla="*/ 1682589 h 6750795"/>
              <a:gd name="connsiteX2580" fmla="*/ 5070794 w 6630249"/>
              <a:gd name="connsiteY2580" fmla="*/ 1680023 h 6750795"/>
              <a:gd name="connsiteX2581" fmla="*/ 5060535 w 6630249"/>
              <a:gd name="connsiteY2581" fmla="*/ 1685152 h 6750795"/>
              <a:gd name="connsiteX2582" fmla="*/ 5040015 w 6630249"/>
              <a:gd name="connsiteY2582" fmla="*/ 1723626 h 6750795"/>
              <a:gd name="connsiteX2583" fmla="*/ 4996412 w 6630249"/>
              <a:gd name="connsiteY2583" fmla="*/ 1774924 h 6750795"/>
              <a:gd name="connsiteX2584" fmla="*/ 4970763 w 6630249"/>
              <a:gd name="connsiteY2584" fmla="*/ 1777488 h 6750795"/>
              <a:gd name="connsiteX2585" fmla="*/ 4973328 w 6630249"/>
              <a:gd name="connsiteY2585" fmla="*/ 1790313 h 6750795"/>
              <a:gd name="connsiteX2586" fmla="*/ 4978458 w 6630249"/>
              <a:gd name="connsiteY2586" fmla="*/ 1790313 h 6750795"/>
              <a:gd name="connsiteX2587" fmla="*/ 5004107 w 6630249"/>
              <a:gd name="connsiteY2587" fmla="*/ 1774924 h 6750795"/>
              <a:gd name="connsiteX2588" fmla="*/ 5006672 w 6630249"/>
              <a:gd name="connsiteY2588" fmla="*/ 1780054 h 6750795"/>
              <a:gd name="connsiteX2589" fmla="*/ 4983588 w 6630249"/>
              <a:gd name="connsiteY2589" fmla="*/ 1798007 h 6750795"/>
              <a:gd name="connsiteX2590" fmla="*/ 4988718 w 6630249"/>
              <a:gd name="connsiteY2590" fmla="*/ 1813397 h 6750795"/>
              <a:gd name="connsiteX2591" fmla="*/ 4960504 w 6630249"/>
              <a:gd name="connsiteY2591" fmla="*/ 1826221 h 6750795"/>
              <a:gd name="connsiteX2592" fmla="*/ 4942550 w 6630249"/>
              <a:gd name="connsiteY2592" fmla="*/ 1846741 h 6750795"/>
              <a:gd name="connsiteX2593" fmla="*/ 4955374 w 6630249"/>
              <a:gd name="connsiteY2593" fmla="*/ 1851870 h 6750795"/>
              <a:gd name="connsiteX2594" fmla="*/ 4896382 w 6630249"/>
              <a:gd name="connsiteY2594" fmla="*/ 1880084 h 6750795"/>
              <a:gd name="connsiteX2595" fmla="*/ 4924595 w 6630249"/>
              <a:gd name="connsiteY2595" fmla="*/ 1880084 h 6750795"/>
              <a:gd name="connsiteX2596" fmla="*/ 4888687 w 6630249"/>
              <a:gd name="connsiteY2596" fmla="*/ 1887779 h 6750795"/>
              <a:gd name="connsiteX2597" fmla="*/ 4896382 w 6630249"/>
              <a:gd name="connsiteY2597" fmla="*/ 1892909 h 6750795"/>
              <a:gd name="connsiteX2598" fmla="*/ 4870733 w 6630249"/>
              <a:gd name="connsiteY2598" fmla="*/ 1915992 h 6750795"/>
              <a:gd name="connsiteX2599" fmla="*/ 4798915 w 6630249"/>
              <a:gd name="connsiteY2599" fmla="*/ 1872389 h 6750795"/>
              <a:gd name="connsiteX2600" fmla="*/ 4796350 w 6630249"/>
              <a:gd name="connsiteY2600" fmla="*/ 1828786 h 6750795"/>
              <a:gd name="connsiteX2601" fmla="*/ 4778395 w 6630249"/>
              <a:gd name="connsiteY2601" fmla="*/ 1780054 h 6750795"/>
              <a:gd name="connsiteX2602" fmla="*/ 4796350 w 6630249"/>
              <a:gd name="connsiteY2602" fmla="*/ 1792876 h 6750795"/>
              <a:gd name="connsiteX2603" fmla="*/ 4775831 w 6630249"/>
              <a:gd name="connsiteY2603" fmla="*/ 1764664 h 6750795"/>
              <a:gd name="connsiteX2604" fmla="*/ 4780960 w 6630249"/>
              <a:gd name="connsiteY2604" fmla="*/ 1772359 h 6750795"/>
              <a:gd name="connsiteX2605" fmla="*/ 4793785 w 6630249"/>
              <a:gd name="connsiteY2605" fmla="*/ 1744145 h 6750795"/>
              <a:gd name="connsiteX2606" fmla="*/ 4770701 w 6630249"/>
              <a:gd name="connsiteY2606" fmla="*/ 1739015 h 6750795"/>
              <a:gd name="connsiteX2607" fmla="*/ 4765571 w 6630249"/>
              <a:gd name="connsiteY2607" fmla="*/ 1703107 h 6750795"/>
              <a:gd name="connsiteX2608" fmla="*/ 4773266 w 6630249"/>
              <a:gd name="connsiteY2608" fmla="*/ 1690283 h 6750795"/>
              <a:gd name="connsiteX2609" fmla="*/ 4765571 w 6630249"/>
              <a:gd name="connsiteY2609" fmla="*/ 1690283 h 6750795"/>
              <a:gd name="connsiteX2610" fmla="*/ 4778395 w 6630249"/>
              <a:gd name="connsiteY2610" fmla="*/ 1672329 h 6750795"/>
              <a:gd name="connsiteX2611" fmla="*/ 4783525 w 6630249"/>
              <a:gd name="connsiteY2611" fmla="*/ 1680023 h 6750795"/>
              <a:gd name="connsiteX2612" fmla="*/ 4788655 w 6630249"/>
              <a:gd name="connsiteY2612" fmla="*/ 1618465 h 6750795"/>
              <a:gd name="connsiteX2613" fmla="*/ 4773266 w 6630249"/>
              <a:gd name="connsiteY2613" fmla="*/ 1636419 h 6750795"/>
              <a:gd name="connsiteX2614" fmla="*/ 4745052 w 6630249"/>
              <a:gd name="connsiteY2614" fmla="*/ 1636419 h 6750795"/>
              <a:gd name="connsiteX2615" fmla="*/ 4747617 w 6630249"/>
              <a:gd name="connsiteY2615" fmla="*/ 1585123 h 6750795"/>
              <a:gd name="connsiteX2616" fmla="*/ 4765571 w 6630249"/>
              <a:gd name="connsiteY2616" fmla="*/ 1582558 h 6750795"/>
              <a:gd name="connsiteX2617" fmla="*/ 4783606 w 6630249"/>
              <a:gd name="connsiteY2617" fmla="*/ 1590493 h 6750795"/>
              <a:gd name="connsiteX2618" fmla="*/ 4785518 w 6630249"/>
              <a:gd name="connsiteY2618" fmla="*/ 1584385 h 6750795"/>
              <a:gd name="connsiteX2619" fmla="*/ 4781923 w 6630249"/>
              <a:gd name="connsiteY2619" fmla="*/ 1579685 h 6750795"/>
              <a:gd name="connsiteX2620" fmla="*/ 4783526 w 6630249"/>
              <a:gd name="connsiteY2620" fmla="*/ 1572311 h 6750795"/>
              <a:gd name="connsiteX2621" fmla="*/ 4785776 w 6630249"/>
              <a:gd name="connsiteY2621" fmla="*/ 1583560 h 6750795"/>
              <a:gd name="connsiteX2622" fmla="*/ 4786090 w 6630249"/>
              <a:gd name="connsiteY2622" fmla="*/ 1582558 h 6750795"/>
              <a:gd name="connsiteX2623" fmla="*/ 4801480 w 6630249"/>
              <a:gd name="connsiteY2623" fmla="*/ 1623595 h 6750795"/>
              <a:gd name="connsiteX2624" fmla="*/ 4832259 w 6630249"/>
              <a:gd name="connsiteY2624" fmla="*/ 1608206 h 6750795"/>
              <a:gd name="connsiteX2625" fmla="*/ 4847648 w 6630249"/>
              <a:gd name="connsiteY2625" fmla="*/ 1623595 h 6750795"/>
              <a:gd name="connsiteX2626" fmla="*/ 4863038 w 6630249"/>
              <a:gd name="connsiteY2626" fmla="*/ 1592817 h 6750795"/>
              <a:gd name="connsiteX2627" fmla="*/ 4870733 w 6630249"/>
              <a:gd name="connsiteY2627" fmla="*/ 1597946 h 6750795"/>
              <a:gd name="connsiteX2628" fmla="*/ 4888687 w 6630249"/>
              <a:gd name="connsiteY2628" fmla="*/ 1582558 h 6750795"/>
              <a:gd name="connsiteX2629" fmla="*/ 4883557 w 6630249"/>
              <a:gd name="connsiteY2629" fmla="*/ 1567168 h 6750795"/>
              <a:gd name="connsiteX2630" fmla="*/ 4860473 w 6630249"/>
              <a:gd name="connsiteY2630" fmla="*/ 1567168 h 6750795"/>
              <a:gd name="connsiteX2631" fmla="*/ 4839954 w 6630249"/>
              <a:gd name="connsiteY2631" fmla="*/ 1538954 h 6750795"/>
              <a:gd name="connsiteX2632" fmla="*/ 4852779 w 6630249"/>
              <a:gd name="connsiteY2632" fmla="*/ 1531260 h 6750795"/>
              <a:gd name="connsiteX2633" fmla="*/ 4865603 w 6630249"/>
              <a:gd name="connsiteY2633" fmla="*/ 1526130 h 6750795"/>
              <a:gd name="connsiteX2634" fmla="*/ 4893817 w 6630249"/>
              <a:gd name="connsiteY2634" fmla="*/ 1579993 h 6750795"/>
              <a:gd name="connsiteX2635" fmla="*/ 4893817 w 6630249"/>
              <a:gd name="connsiteY2635" fmla="*/ 1562038 h 6750795"/>
              <a:gd name="connsiteX2636" fmla="*/ 4909206 w 6630249"/>
              <a:gd name="connsiteY2636" fmla="*/ 1585123 h 6750795"/>
              <a:gd name="connsiteX2637" fmla="*/ 4927160 w 6630249"/>
              <a:gd name="connsiteY2637" fmla="*/ 1559474 h 6750795"/>
              <a:gd name="connsiteX2638" fmla="*/ 4934855 w 6630249"/>
              <a:gd name="connsiteY2638" fmla="*/ 1577428 h 6750795"/>
              <a:gd name="connsiteX2639" fmla="*/ 4937420 w 6630249"/>
              <a:gd name="connsiteY2639" fmla="*/ 1551779 h 6750795"/>
              <a:gd name="connsiteX2640" fmla="*/ 4955374 w 6630249"/>
              <a:gd name="connsiteY2640" fmla="*/ 1572298 h 6750795"/>
              <a:gd name="connsiteX2641" fmla="*/ 4968199 w 6630249"/>
              <a:gd name="connsiteY2641" fmla="*/ 1615901 h 6750795"/>
              <a:gd name="connsiteX2642" fmla="*/ 4981023 w 6630249"/>
              <a:gd name="connsiteY2642" fmla="*/ 1613335 h 6750795"/>
              <a:gd name="connsiteX2643" fmla="*/ 4993848 w 6630249"/>
              <a:gd name="connsiteY2643" fmla="*/ 1585123 h 6750795"/>
              <a:gd name="connsiteX2644" fmla="*/ 4988718 w 6630249"/>
              <a:gd name="connsiteY2644" fmla="*/ 1608206 h 6750795"/>
              <a:gd name="connsiteX2645" fmla="*/ 5001542 w 6630249"/>
              <a:gd name="connsiteY2645" fmla="*/ 1605641 h 6750795"/>
              <a:gd name="connsiteX2646" fmla="*/ 5006672 w 6630249"/>
              <a:gd name="connsiteY2646" fmla="*/ 1564603 h 6750795"/>
              <a:gd name="connsiteX2647" fmla="*/ 5011802 w 6630249"/>
              <a:gd name="connsiteY2647" fmla="*/ 1556909 h 6750795"/>
              <a:gd name="connsiteX2648" fmla="*/ 5032321 w 6630249"/>
              <a:gd name="connsiteY2648" fmla="*/ 1559474 h 6750795"/>
              <a:gd name="connsiteX2649" fmla="*/ 5009237 w 6630249"/>
              <a:gd name="connsiteY2649" fmla="*/ 1544084 h 6750795"/>
              <a:gd name="connsiteX2650" fmla="*/ 5029756 w 6630249"/>
              <a:gd name="connsiteY2650" fmla="*/ 1541519 h 6750795"/>
              <a:gd name="connsiteX2651" fmla="*/ 5024626 w 6630249"/>
              <a:gd name="connsiteY2651" fmla="*/ 1497916 h 6750795"/>
              <a:gd name="connsiteX2652" fmla="*/ 5032321 w 6630249"/>
              <a:gd name="connsiteY2652" fmla="*/ 1497916 h 6750795"/>
              <a:gd name="connsiteX2653" fmla="*/ 5024626 w 6630249"/>
              <a:gd name="connsiteY2653" fmla="*/ 1479962 h 6750795"/>
              <a:gd name="connsiteX2654" fmla="*/ 5032321 w 6630249"/>
              <a:gd name="connsiteY2654" fmla="*/ 1449184 h 6750795"/>
              <a:gd name="connsiteX2655" fmla="*/ 5016932 w 6630249"/>
              <a:gd name="connsiteY2655" fmla="*/ 1433795 h 6750795"/>
              <a:gd name="connsiteX2656" fmla="*/ 5029756 w 6630249"/>
              <a:gd name="connsiteY2656" fmla="*/ 1405581 h 6750795"/>
              <a:gd name="connsiteX2657" fmla="*/ 5016932 w 6630249"/>
              <a:gd name="connsiteY2657" fmla="*/ 1369672 h 6750795"/>
              <a:gd name="connsiteX2658" fmla="*/ 5037451 w 6630249"/>
              <a:gd name="connsiteY2658" fmla="*/ 1341459 h 6750795"/>
              <a:gd name="connsiteX2659" fmla="*/ 3090697 w 6630249"/>
              <a:gd name="connsiteY2659" fmla="*/ 1333789 h 6750795"/>
              <a:gd name="connsiteX2660" fmla="*/ 3080438 w 6630249"/>
              <a:gd name="connsiteY2660" fmla="*/ 1341483 h 6750795"/>
              <a:gd name="connsiteX2661" fmla="*/ 3090697 w 6630249"/>
              <a:gd name="connsiteY2661" fmla="*/ 1333789 h 6750795"/>
              <a:gd name="connsiteX2662" fmla="*/ 6097433 w 6630249"/>
              <a:gd name="connsiteY2662" fmla="*/ 1327931 h 6750795"/>
              <a:gd name="connsiteX2663" fmla="*/ 6094187 w 6630249"/>
              <a:gd name="connsiteY2663" fmla="*/ 1328653 h 6750795"/>
              <a:gd name="connsiteX2664" fmla="*/ 6097433 w 6630249"/>
              <a:gd name="connsiteY2664" fmla="*/ 1327931 h 6750795"/>
              <a:gd name="connsiteX2665" fmla="*/ 3129170 w 6630249"/>
              <a:gd name="connsiteY2665" fmla="*/ 1323528 h 6750795"/>
              <a:gd name="connsiteX2666" fmla="*/ 3131736 w 6630249"/>
              <a:gd name="connsiteY2666" fmla="*/ 1338918 h 6750795"/>
              <a:gd name="connsiteX2667" fmla="*/ 3129170 w 6630249"/>
              <a:gd name="connsiteY2667" fmla="*/ 1323528 h 6750795"/>
              <a:gd name="connsiteX2668" fmla="*/ 3921723 w 6630249"/>
              <a:gd name="connsiteY2668" fmla="*/ 1315802 h 6750795"/>
              <a:gd name="connsiteX2669" fmla="*/ 3944807 w 6630249"/>
              <a:gd name="connsiteY2669" fmla="*/ 1333757 h 6750795"/>
              <a:gd name="connsiteX2670" fmla="*/ 3919158 w 6630249"/>
              <a:gd name="connsiteY2670" fmla="*/ 1323496 h 6750795"/>
              <a:gd name="connsiteX2671" fmla="*/ 3921723 w 6630249"/>
              <a:gd name="connsiteY2671" fmla="*/ 1315802 h 6750795"/>
              <a:gd name="connsiteX2672" fmla="*/ 5216993 w 6630249"/>
              <a:gd name="connsiteY2672" fmla="*/ 1313262 h 6750795"/>
              <a:gd name="connsiteX2673" fmla="*/ 5299070 w 6630249"/>
              <a:gd name="connsiteY2673" fmla="*/ 1418421 h 6750795"/>
              <a:gd name="connsiteX2674" fmla="*/ 5275986 w 6630249"/>
              <a:gd name="connsiteY2674" fmla="*/ 1469719 h 6750795"/>
              <a:gd name="connsiteX2675" fmla="*/ 5245207 w 6630249"/>
              <a:gd name="connsiteY2675" fmla="*/ 1485108 h 6750795"/>
              <a:gd name="connsiteX2676" fmla="*/ 5209298 w 6630249"/>
              <a:gd name="connsiteY2676" fmla="*/ 1387644 h 6750795"/>
              <a:gd name="connsiteX2677" fmla="*/ 5214428 w 6630249"/>
              <a:gd name="connsiteY2677" fmla="*/ 1392773 h 6750795"/>
              <a:gd name="connsiteX2678" fmla="*/ 5229818 w 6630249"/>
              <a:gd name="connsiteY2678" fmla="*/ 1374819 h 6750795"/>
              <a:gd name="connsiteX2679" fmla="*/ 5216993 w 6630249"/>
              <a:gd name="connsiteY2679" fmla="*/ 1313262 h 6750795"/>
              <a:gd name="connsiteX2680" fmla="*/ 4237204 w 6630249"/>
              <a:gd name="connsiteY2680" fmla="*/ 1310660 h 6750795"/>
              <a:gd name="connsiteX2681" fmla="*/ 4167952 w 6630249"/>
              <a:gd name="connsiteY2681" fmla="*/ 1395301 h 6750795"/>
              <a:gd name="connsiteX2682" fmla="*/ 4106395 w 6630249"/>
              <a:gd name="connsiteY2682" fmla="*/ 1454294 h 6750795"/>
              <a:gd name="connsiteX2683" fmla="*/ 4106395 w 6630249"/>
              <a:gd name="connsiteY2683" fmla="*/ 1461989 h 6750795"/>
              <a:gd name="connsiteX2684" fmla="*/ 3993539 w 6630249"/>
              <a:gd name="connsiteY2684" fmla="*/ 1610753 h 6750795"/>
              <a:gd name="connsiteX2685" fmla="*/ 3944806 w 6630249"/>
              <a:gd name="connsiteY2685" fmla="*/ 1756952 h 6750795"/>
              <a:gd name="connsiteX2686" fmla="*/ 3957631 w 6630249"/>
              <a:gd name="connsiteY2686" fmla="*/ 1777471 h 6750795"/>
              <a:gd name="connsiteX2687" fmla="*/ 3960196 w 6630249"/>
              <a:gd name="connsiteY2687" fmla="*/ 1774907 h 6750795"/>
              <a:gd name="connsiteX2688" fmla="*/ 3996104 w 6630249"/>
              <a:gd name="connsiteY2688" fmla="*/ 1759517 h 6750795"/>
              <a:gd name="connsiteX2689" fmla="*/ 3993539 w 6630249"/>
              <a:gd name="connsiteY2689" fmla="*/ 1754387 h 6750795"/>
              <a:gd name="connsiteX2690" fmla="*/ 4001234 w 6630249"/>
              <a:gd name="connsiteY2690" fmla="*/ 1756952 h 6750795"/>
              <a:gd name="connsiteX2691" fmla="*/ 4042272 w 6630249"/>
              <a:gd name="connsiteY2691" fmla="*/ 1744128 h 6750795"/>
              <a:gd name="connsiteX2692" fmla="*/ 4050063 w 6630249"/>
              <a:gd name="connsiteY2692" fmla="*/ 1711991 h 6750795"/>
              <a:gd name="connsiteX2693" fmla="*/ 4044837 w 6630249"/>
              <a:gd name="connsiteY2693" fmla="*/ 1744128 h 6750795"/>
              <a:gd name="connsiteX2694" fmla="*/ 4062791 w 6630249"/>
              <a:gd name="connsiteY2694" fmla="*/ 1736433 h 6750795"/>
              <a:gd name="connsiteX2695" fmla="*/ 4134609 w 6630249"/>
              <a:gd name="connsiteY2695" fmla="*/ 1574845 h 6750795"/>
              <a:gd name="connsiteX2696" fmla="*/ 4129478 w 6630249"/>
              <a:gd name="connsiteY2696" fmla="*/ 1579975 h 6750795"/>
              <a:gd name="connsiteX2697" fmla="*/ 4065356 w 6630249"/>
              <a:gd name="connsiteY2697" fmla="*/ 1667181 h 6750795"/>
              <a:gd name="connsiteX2698" fmla="*/ 4052889 w 6630249"/>
              <a:gd name="connsiteY2698" fmla="*/ 1700334 h 6750795"/>
              <a:gd name="connsiteX2699" fmla="*/ 4062791 w 6630249"/>
              <a:gd name="connsiteY2699" fmla="*/ 1659486 h 6750795"/>
              <a:gd name="connsiteX2700" fmla="*/ 4121784 w 6630249"/>
              <a:gd name="connsiteY2700" fmla="*/ 1577410 h 6750795"/>
              <a:gd name="connsiteX2701" fmla="*/ 4103830 w 6630249"/>
              <a:gd name="connsiteY2701" fmla="*/ 1562020 h 6750795"/>
              <a:gd name="connsiteX2702" fmla="*/ 4124349 w 6630249"/>
              <a:gd name="connsiteY2702" fmla="*/ 1574845 h 6750795"/>
              <a:gd name="connsiteX2703" fmla="*/ 4126914 w 6630249"/>
              <a:gd name="connsiteY2703" fmla="*/ 1572280 h 6750795"/>
              <a:gd name="connsiteX2704" fmla="*/ 4139738 w 6630249"/>
              <a:gd name="connsiteY2704" fmla="*/ 1559456 h 6750795"/>
              <a:gd name="connsiteX2705" fmla="*/ 4224380 w 6630249"/>
              <a:gd name="connsiteY2705" fmla="*/ 1369652 h 6750795"/>
              <a:gd name="connsiteX2706" fmla="*/ 4237204 w 6630249"/>
              <a:gd name="connsiteY2706" fmla="*/ 1310660 h 6750795"/>
              <a:gd name="connsiteX2707" fmla="*/ 5319588 w 6630249"/>
              <a:gd name="connsiteY2707" fmla="*/ 1308115 h 6750795"/>
              <a:gd name="connsiteX2708" fmla="*/ 5345237 w 6630249"/>
              <a:gd name="connsiteY2708" fmla="*/ 1333765 h 6750795"/>
              <a:gd name="connsiteX2709" fmla="*/ 5352932 w 6630249"/>
              <a:gd name="connsiteY2709" fmla="*/ 1320940 h 6750795"/>
              <a:gd name="connsiteX2710" fmla="*/ 5383710 w 6630249"/>
              <a:gd name="connsiteY2710" fmla="*/ 1341458 h 6750795"/>
              <a:gd name="connsiteX2711" fmla="*/ 5383710 w 6630249"/>
              <a:gd name="connsiteY2711" fmla="*/ 1338894 h 6750795"/>
              <a:gd name="connsiteX2712" fmla="*/ 5445268 w 6630249"/>
              <a:gd name="connsiteY2712" fmla="*/ 1405581 h 6750795"/>
              <a:gd name="connsiteX2713" fmla="*/ 5470917 w 6630249"/>
              <a:gd name="connsiteY2713" fmla="*/ 1605641 h 6750795"/>
              <a:gd name="connsiteX2714" fmla="*/ 5483741 w 6630249"/>
              <a:gd name="connsiteY2714" fmla="*/ 1677458 h 6750795"/>
              <a:gd name="connsiteX2715" fmla="*/ 5470917 w 6630249"/>
              <a:gd name="connsiteY2715" fmla="*/ 1690284 h 6750795"/>
              <a:gd name="connsiteX2716" fmla="*/ 5470917 w 6630249"/>
              <a:gd name="connsiteY2716" fmla="*/ 1708237 h 6750795"/>
              <a:gd name="connsiteX2717" fmla="*/ 5404230 w 6630249"/>
              <a:gd name="connsiteY2717" fmla="*/ 1649245 h 6750795"/>
              <a:gd name="connsiteX2718" fmla="*/ 5381145 w 6630249"/>
              <a:gd name="connsiteY2718" fmla="*/ 1605641 h 6750795"/>
              <a:gd name="connsiteX2719" fmla="*/ 5411924 w 6630249"/>
              <a:gd name="connsiteY2719" fmla="*/ 1590252 h 6750795"/>
              <a:gd name="connsiteX2720" fmla="*/ 5406794 w 6630249"/>
              <a:gd name="connsiteY2720" fmla="*/ 1562038 h 6750795"/>
              <a:gd name="connsiteX2721" fmla="*/ 5309328 w 6630249"/>
              <a:gd name="connsiteY2721" fmla="*/ 1541520 h 6750795"/>
              <a:gd name="connsiteX2722" fmla="*/ 5317023 w 6630249"/>
              <a:gd name="connsiteY2722" fmla="*/ 1518436 h 6750795"/>
              <a:gd name="connsiteX2723" fmla="*/ 5347802 w 6630249"/>
              <a:gd name="connsiteY2723" fmla="*/ 1513306 h 6750795"/>
              <a:gd name="connsiteX2724" fmla="*/ 5355496 w 6630249"/>
              <a:gd name="connsiteY2724" fmla="*/ 1485092 h 6750795"/>
              <a:gd name="connsiteX2725" fmla="*/ 5363191 w 6630249"/>
              <a:gd name="connsiteY2725" fmla="*/ 1492787 h 6750795"/>
              <a:gd name="connsiteX2726" fmla="*/ 5360626 w 6630249"/>
              <a:gd name="connsiteY2726" fmla="*/ 1456878 h 6750795"/>
              <a:gd name="connsiteX2727" fmla="*/ 5296504 w 6630249"/>
              <a:gd name="connsiteY2727" fmla="*/ 1495352 h 6750795"/>
              <a:gd name="connsiteX2728" fmla="*/ 5332412 w 6630249"/>
              <a:gd name="connsiteY2728" fmla="*/ 1454314 h 6750795"/>
              <a:gd name="connsiteX2729" fmla="*/ 5352932 w 6630249"/>
              <a:gd name="connsiteY2729" fmla="*/ 1449184 h 6750795"/>
              <a:gd name="connsiteX2730" fmla="*/ 5314458 w 6630249"/>
              <a:gd name="connsiteY2730" fmla="*/ 1344024 h 6750795"/>
              <a:gd name="connsiteX2731" fmla="*/ 5322153 w 6630249"/>
              <a:gd name="connsiteY2731" fmla="*/ 1351718 h 6750795"/>
              <a:gd name="connsiteX2732" fmla="*/ 5319588 w 6630249"/>
              <a:gd name="connsiteY2732" fmla="*/ 1308115 h 6750795"/>
              <a:gd name="connsiteX2733" fmla="*/ 5175955 w 6630249"/>
              <a:gd name="connsiteY2733" fmla="*/ 1303004 h 6750795"/>
              <a:gd name="connsiteX2734" fmla="*/ 5173390 w 6630249"/>
              <a:gd name="connsiteY2734" fmla="*/ 1318394 h 6750795"/>
              <a:gd name="connsiteX2735" fmla="*/ 5175955 w 6630249"/>
              <a:gd name="connsiteY2735" fmla="*/ 1303004 h 6750795"/>
              <a:gd name="connsiteX2736" fmla="*/ 5158001 w 6630249"/>
              <a:gd name="connsiteY2736" fmla="*/ 1300422 h 6750795"/>
              <a:gd name="connsiteX2737" fmla="*/ 5145177 w 6630249"/>
              <a:gd name="connsiteY2737" fmla="*/ 1320941 h 6750795"/>
              <a:gd name="connsiteX2738" fmla="*/ 5158001 w 6630249"/>
              <a:gd name="connsiteY2738" fmla="*/ 1300422 h 6750795"/>
              <a:gd name="connsiteX2739" fmla="*/ 3770393 w 6630249"/>
              <a:gd name="connsiteY2739" fmla="*/ 1295283 h 6750795"/>
              <a:gd name="connsiteX2740" fmla="*/ 3778088 w 6630249"/>
              <a:gd name="connsiteY2740" fmla="*/ 1297849 h 6750795"/>
              <a:gd name="connsiteX2741" fmla="*/ 3767829 w 6630249"/>
              <a:gd name="connsiteY2741" fmla="*/ 1323497 h 6750795"/>
              <a:gd name="connsiteX2742" fmla="*/ 3770393 w 6630249"/>
              <a:gd name="connsiteY2742" fmla="*/ 1295283 h 6750795"/>
              <a:gd name="connsiteX2743" fmla="*/ 3106086 w 6630249"/>
              <a:gd name="connsiteY2743" fmla="*/ 1290141 h 6750795"/>
              <a:gd name="connsiteX2744" fmla="*/ 3103521 w 6630249"/>
              <a:gd name="connsiteY2744" fmla="*/ 1295271 h 6750795"/>
              <a:gd name="connsiteX2745" fmla="*/ 3103521 w 6630249"/>
              <a:gd name="connsiteY2745" fmla="*/ 1297835 h 6750795"/>
              <a:gd name="connsiteX2746" fmla="*/ 3100957 w 6630249"/>
              <a:gd name="connsiteY2746" fmla="*/ 1302965 h 6750795"/>
              <a:gd name="connsiteX2747" fmla="*/ 3103521 w 6630249"/>
              <a:gd name="connsiteY2747" fmla="*/ 1305530 h 6750795"/>
              <a:gd name="connsiteX2748" fmla="*/ 3098393 w 6630249"/>
              <a:gd name="connsiteY2748" fmla="*/ 1305530 h 6750795"/>
              <a:gd name="connsiteX2749" fmla="*/ 3054788 w 6630249"/>
              <a:gd name="connsiteY2749" fmla="*/ 1387607 h 6750795"/>
              <a:gd name="connsiteX2750" fmla="*/ 3031704 w 6630249"/>
              <a:gd name="connsiteY2750" fmla="*/ 1510722 h 6750795"/>
              <a:gd name="connsiteX2751" fmla="*/ 3041964 w 6630249"/>
              <a:gd name="connsiteY2751" fmla="*/ 1497898 h 6750795"/>
              <a:gd name="connsiteX2752" fmla="*/ 3029139 w 6630249"/>
              <a:gd name="connsiteY2752" fmla="*/ 1549196 h 6750795"/>
              <a:gd name="connsiteX2753" fmla="*/ 3024010 w 6630249"/>
              <a:gd name="connsiteY2753" fmla="*/ 1549196 h 6750795"/>
              <a:gd name="connsiteX2754" fmla="*/ 2993231 w 6630249"/>
              <a:gd name="connsiteY2754" fmla="*/ 1700525 h 6750795"/>
              <a:gd name="connsiteX2755" fmla="*/ 2985536 w 6630249"/>
              <a:gd name="connsiteY2755" fmla="*/ 1749258 h 6750795"/>
              <a:gd name="connsiteX2756" fmla="*/ 2988101 w 6630249"/>
              <a:gd name="connsiteY2756" fmla="*/ 1751823 h 6750795"/>
              <a:gd name="connsiteX2757" fmla="*/ 3024010 w 6630249"/>
              <a:gd name="connsiteY2757" fmla="*/ 1805684 h 6750795"/>
              <a:gd name="connsiteX2758" fmla="*/ 3041964 w 6630249"/>
              <a:gd name="connsiteY2758" fmla="*/ 1764647 h 6750795"/>
              <a:gd name="connsiteX2759" fmla="*/ 3085567 w 6630249"/>
              <a:gd name="connsiteY2759" fmla="*/ 1690265 h 6750795"/>
              <a:gd name="connsiteX2760" fmla="*/ 3113781 w 6630249"/>
              <a:gd name="connsiteY2760" fmla="*/ 1546631 h 6750795"/>
              <a:gd name="connsiteX2761" fmla="*/ 3134300 w 6630249"/>
              <a:gd name="connsiteY2761" fmla="*/ 1456859 h 6750795"/>
              <a:gd name="connsiteX2762" fmla="*/ 3129170 w 6630249"/>
              <a:gd name="connsiteY2762" fmla="*/ 1372217 h 6750795"/>
              <a:gd name="connsiteX2763" fmla="*/ 3126605 w 6630249"/>
              <a:gd name="connsiteY2763" fmla="*/ 1361958 h 6750795"/>
              <a:gd name="connsiteX2764" fmla="*/ 3118911 w 6630249"/>
              <a:gd name="connsiteY2764" fmla="*/ 1359393 h 6750795"/>
              <a:gd name="connsiteX2765" fmla="*/ 3118590 w 6630249"/>
              <a:gd name="connsiteY2765" fmla="*/ 1350095 h 6750795"/>
              <a:gd name="connsiteX2766" fmla="*/ 3121931 w 6630249"/>
              <a:gd name="connsiteY2766" fmla="*/ 1347933 h 6750795"/>
              <a:gd name="connsiteX2767" fmla="*/ 3124040 w 6630249"/>
              <a:gd name="connsiteY2767" fmla="*/ 1346568 h 6750795"/>
              <a:gd name="connsiteX2768" fmla="*/ 3106086 w 6630249"/>
              <a:gd name="connsiteY2768" fmla="*/ 1290141 h 6750795"/>
              <a:gd name="connsiteX2769" fmla="*/ 3124040 w 6630249"/>
              <a:gd name="connsiteY2769" fmla="*/ 1285056 h 6750795"/>
              <a:gd name="connsiteX2770" fmla="*/ 3129170 w 6630249"/>
              <a:gd name="connsiteY2770" fmla="*/ 1300446 h 6750795"/>
              <a:gd name="connsiteX2771" fmla="*/ 3121476 w 6630249"/>
              <a:gd name="connsiteY2771" fmla="*/ 1300446 h 6750795"/>
              <a:gd name="connsiteX2772" fmla="*/ 3124040 w 6630249"/>
              <a:gd name="connsiteY2772" fmla="*/ 1285056 h 6750795"/>
              <a:gd name="connsiteX2773" fmla="*/ 3739615 w 6630249"/>
              <a:gd name="connsiteY2773" fmla="*/ 1277329 h 6750795"/>
              <a:gd name="connsiteX2774" fmla="*/ 3752439 w 6630249"/>
              <a:gd name="connsiteY2774" fmla="*/ 1300414 h 6750795"/>
              <a:gd name="connsiteX2775" fmla="*/ 3739615 w 6630249"/>
              <a:gd name="connsiteY2775" fmla="*/ 1277329 h 6750795"/>
              <a:gd name="connsiteX2776" fmla="*/ 6422494 w 6630249"/>
              <a:gd name="connsiteY2776" fmla="*/ 1256838 h 6750795"/>
              <a:gd name="connsiteX2777" fmla="*/ 6427623 w 6630249"/>
              <a:gd name="connsiteY2777" fmla="*/ 1256838 h 6750795"/>
              <a:gd name="connsiteX2778" fmla="*/ 6427623 w 6630249"/>
              <a:gd name="connsiteY2778" fmla="*/ 1261968 h 6750795"/>
              <a:gd name="connsiteX2779" fmla="*/ 6422494 w 6630249"/>
              <a:gd name="connsiteY2779" fmla="*/ 1261968 h 6750795"/>
              <a:gd name="connsiteX2780" fmla="*/ 6422494 w 6630249"/>
              <a:gd name="connsiteY2780" fmla="*/ 1256838 h 6750795"/>
              <a:gd name="connsiteX2781" fmla="*/ 4721969 w 6630249"/>
              <a:gd name="connsiteY2781" fmla="*/ 1246578 h 6750795"/>
              <a:gd name="connsiteX2782" fmla="*/ 4727098 w 6630249"/>
              <a:gd name="connsiteY2782" fmla="*/ 1246578 h 6750795"/>
              <a:gd name="connsiteX2783" fmla="*/ 4727098 w 6630249"/>
              <a:gd name="connsiteY2783" fmla="*/ 1259402 h 6750795"/>
              <a:gd name="connsiteX2784" fmla="*/ 4721969 w 6630249"/>
              <a:gd name="connsiteY2784" fmla="*/ 1259402 h 6750795"/>
              <a:gd name="connsiteX2785" fmla="*/ 4721969 w 6630249"/>
              <a:gd name="connsiteY2785" fmla="*/ 1246578 h 6750795"/>
              <a:gd name="connsiteX2786" fmla="*/ 3883250 w 6630249"/>
              <a:gd name="connsiteY2786" fmla="*/ 1246548 h 6750795"/>
              <a:gd name="connsiteX2787" fmla="*/ 3896074 w 6630249"/>
              <a:gd name="connsiteY2787" fmla="*/ 1269633 h 6750795"/>
              <a:gd name="connsiteX2788" fmla="*/ 3890944 w 6630249"/>
              <a:gd name="connsiteY2788" fmla="*/ 1279892 h 6750795"/>
              <a:gd name="connsiteX2789" fmla="*/ 3878120 w 6630249"/>
              <a:gd name="connsiteY2789" fmla="*/ 1267068 h 6750795"/>
              <a:gd name="connsiteX2790" fmla="*/ 3885814 w 6630249"/>
              <a:gd name="connsiteY2790" fmla="*/ 1282457 h 6750795"/>
              <a:gd name="connsiteX2791" fmla="*/ 3875555 w 6630249"/>
              <a:gd name="connsiteY2791" fmla="*/ 1254242 h 6750795"/>
              <a:gd name="connsiteX2792" fmla="*/ 3883250 w 6630249"/>
              <a:gd name="connsiteY2792" fmla="*/ 1246548 h 6750795"/>
              <a:gd name="connsiteX2793" fmla="*/ 2857292 w 6630249"/>
              <a:gd name="connsiteY2793" fmla="*/ 1243973 h 6750795"/>
              <a:gd name="connsiteX2794" fmla="*/ 2859857 w 6630249"/>
              <a:gd name="connsiteY2794" fmla="*/ 1279881 h 6750795"/>
              <a:gd name="connsiteX2795" fmla="*/ 2836773 w 6630249"/>
              <a:gd name="connsiteY2795" fmla="*/ 1559456 h 6750795"/>
              <a:gd name="connsiteX2796" fmla="*/ 2829078 w 6630249"/>
              <a:gd name="connsiteY2796" fmla="*/ 1697960 h 6750795"/>
              <a:gd name="connsiteX2797" fmla="*/ 2872681 w 6630249"/>
              <a:gd name="connsiteY2797" fmla="*/ 1633837 h 6750795"/>
              <a:gd name="connsiteX2798" fmla="*/ 2872681 w 6630249"/>
              <a:gd name="connsiteY2798" fmla="*/ 1618448 h 6750795"/>
              <a:gd name="connsiteX2799" fmla="*/ 2870116 w 6630249"/>
              <a:gd name="connsiteY2799" fmla="*/ 1623578 h 6750795"/>
              <a:gd name="connsiteX2800" fmla="*/ 2859857 w 6630249"/>
              <a:gd name="connsiteY2800" fmla="*/ 1615883 h 6750795"/>
              <a:gd name="connsiteX2801" fmla="*/ 2875246 w 6630249"/>
              <a:gd name="connsiteY2801" fmla="*/ 1608189 h 6750795"/>
              <a:gd name="connsiteX2802" fmla="*/ 2877812 w 6630249"/>
              <a:gd name="connsiteY2802" fmla="*/ 1582540 h 6750795"/>
              <a:gd name="connsiteX2803" fmla="*/ 2880376 w 6630249"/>
              <a:gd name="connsiteY2803" fmla="*/ 1518416 h 6750795"/>
              <a:gd name="connsiteX2804" fmla="*/ 2880376 w 6630249"/>
              <a:gd name="connsiteY2804" fmla="*/ 1397866 h 6750795"/>
              <a:gd name="connsiteX2805" fmla="*/ 2877812 w 6630249"/>
              <a:gd name="connsiteY2805" fmla="*/ 1390172 h 6750795"/>
              <a:gd name="connsiteX2806" fmla="*/ 2880376 w 6630249"/>
              <a:gd name="connsiteY2806" fmla="*/ 1390172 h 6750795"/>
              <a:gd name="connsiteX2807" fmla="*/ 2864986 w 6630249"/>
              <a:gd name="connsiteY2807" fmla="*/ 1272187 h 6750795"/>
              <a:gd name="connsiteX2808" fmla="*/ 2857292 w 6630249"/>
              <a:gd name="connsiteY2808" fmla="*/ 1243973 h 6750795"/>
              <a:gd name="connsiteX2809" fmla="*/ 3752440 w 6630249"/>
              <a:gd name="connsiteY2809" fmla="*/ 1238856 h 6750795"/>
              <a:gd name="connsiteX2810" fmla="*/ 3752440 w 6630249"/>
              <a:gd name="connsiteY2810" fmla="*/ 1249116 h 6750795"/>
              <a:gd name="connsiteX2811" fmla="*/ 3752440 w 6630249"/>
              <a:gd name="connsiteY2811" fmla="*/ 1238856 h 6750795"/>
              <a:gd name="connsiteX2812" fmla="*/ 3072743 w 6630249"/>
              <a:gd name="connsiteY2812" fmla="*/ 1238843 h 6750795"/>
              <a:gd name="connsiteX2813" fmla="*/ 3065048 w 6630249"/>
              <a:gd name="connsiteY2813" fmla="*/ 1302965 h 6750795"/>
              <a:gd name="connsiteX2814" fmla="*/ 3057353 w 6630249"/>
              <a:gd name="connsiteY2814" fmla="*/ 1351698 h 6750795"/>
              <a:gd name="connsiteX2815" fmla="*/ 3095827 w 6630249"/>
              <a:gd name="connsiteY2815" fmla="*/ 1279881 h 6750795"/>
              <a:gd name="connsiteX2816" fmla="*/ 3095827 w 6630249"/>
              <a:gd name="connsiteY2816" fmla="*/ 1277316 h 6750795"/>
              <a:gd name="connsiteX2817" fmla="*/ 3072743 w 6630249"/>
              <a:gd name="connsiteY2817" fmla="*/ 1238843 h 6750795"/>
              <a:gd name="connsiteX2818" fmla="*/ 5730934 w 6630249"/>
              <a:gd name="connsiteY2818" fmla="*/ 1237182 h 6750795"/>
              <a:gd name="connsiteX2819" fmla="*/ 5742797 w 6630249"/>
              <a:gd name="connsiteY2819" fmla="*/ 1241430 h 6750795"/>
              <a:gd name="connsiteX2820" fmla="*/ 5760751 w 6630249"/>
              <a:gd name="connsiteY2820" fmla="*/ 1272209 h 6750795"/>
              <a:gd name="connsiteX2821" fmla="*/ 5758186 w 6630249"/>
              <a:gd name="connsiteY2821" fmla="*/ 1297858 h 6750795"/>
              <a:gd name="connsiteX2822" fmla="*/ 5742797 w 6630249"/>
              <a:gd name="connsiteY2822" fmla="*/ 1313246 h 6750795"/>
              <a:gd name="connsiteX2823" fmla="*/ 5735102 w 6630249"/>
              <a:gd name="connsiteY2823" fmla="*/ 1310681 h 6750795"/>
              <a:gd name="connsiteX2824" fmla="*/ 5719712 w 6630249"/>
              <a:gd name="connsiteY2824" fmla="*/ 1338896 h 6750795"/>
              <a:gd name="connsiteX2825" fmla="*/ 5701758 w 6630249"/>
              <a:gd name="connsiteY2825" fmla="*/ 1341461 h 6750795"/>
              <a:gd name="connsiteX2826" fmla="*/ 5699193 w 6630249"/>
              <a:gd name="connsiteY2826" fmla="*/ 1349156 h 6750795"/>
              <a:gd name="connsiteX2827" fmla="*/ 5681239 w 6630249"/>
              <a:gd name="connsiteY2827" fmla="*/ 1346591 h 6750795"/>
              <a:gd name="connsiteX2828" fmla="*/ 5678674 w 6630249"/>
              <a:gd name="connsiteY2828" fmla="*/ 1331201 h 6750795"/>
              <a:gd name="connsiteX2829" fmla="*/ 5683804 w 6630249"/>
              <a:gd name="connsiteY2829" fmla="*/ 1274774 h 6750795"/>
              <a:gd name="connsiteX2830" fmla="*/ 5683804 w 6630249"/>
              <a:gd name="connsiteY2830" fmla="*/ 1254255 h 6750795"/>
              <a:gd name="connsiteX2831" fmla="*/ 5699193 w 6630249"/>
              <a:gd name="connsiteY2831" fmla="*/ 1246559 h 6750795"/>
              <a:gd name="connsiteX2832" fmla="*/ 5730934 w 6630249"/>
              <a:gd name="connsiteY2832" fmla="*/ 1237182 h 6750795"/>
              <a:gd name="connsiteX2833" fmla="*/ 4260288 w 6630249"/>
              <a:gd name="connsiteY2833" fmla="*/ 1233713 h 6750795"/>
              <a:gd name="connsiteX2834" fmla="*/ 4216685 w 6630249"/>
              <a:gd name="connsiteY2834" fmla="*/ 1313225 h 6750795"/>
              <a:gd name="connsiteX2835" fmla="*/ 4157692 w 6630249"/>
              <a:gd name="connsiteY2835" fmla="*/ 1397866 h 6750795"/>
              <a:gd name="connsiteX2836" fmla="*/ 4167952 w 6630249"/>
              <a:gd name="connsiteY2836" fmla="*/ 1387607 h 6750795"/>
              <a:gd name="connsiteX2837" fmla="*/ 4242334 w 6630249"/>
              <a:gd name="connsiteY2837" fmla="*/ 1300400 h 6750795"/>
              <a:gd name="connsiteX2838" fmla="*/ 4260288 w 6630249"/>
              <a:gd name="connsiteY2838" fmla="*/ 1233713 h 6750795"/>
              <a:gd name="connsiteX2839" fmla="*/ 3062483 w 6630249"/>
              <a:gd name="connsiteY2839" fmla="*/ 1231148 h 6750795"/>
              <a:gd name="connsiteX2840" fmla="*/ 3034269 w 6630249"/>
              <a:gd name="connsiteY2840" fmla="*/ 1331179 h 6750795"/>
              <a:gd name="connsiteX2841" fmla="*/ 3026575 w 6630249"/>
              <a:gd name="connsiteY2841" fmla="*/ 1351698 h 6750795"/>
              <a:gd name="connsiteX2842" fmla="*/ 3006055 w 6630249"/>
              <a:gd name="connsiteY2842" fmla="*/ 1438905 h 6750795"/>
              <a:gd name="connsiteX2843" fmla="*/ 3000926 w 6630249"/>
              <a:gd name="connsiteY2843" fmla="*/ 1454294 h 6750795"/>
              <a:gd name="connsiteX2844" fmla="*/ 3039399 w 6630249"/>
              <a:gd name="connsiteY2844" fmla="*/ 1385042 h 6750795"/>
              <a:gd name="connsiteX2845" fmla="*/ 3052224 w 6630249"/>
              <a:gd name="connsiteY2845" fmla="*/ 1305530 h 6750795"/>
              <a:gd name="connsiteX2846" fmla="*/ 3062483 w 6630249"/>
              <a:gd name="connsiteY2846" fmla="*/ 1231148 h 6750795"/>
              <a:gd name="connsiteX2847" fmla="*/ 3739615 w 6630249"/>
              <a:gd name="connsiteY2847" fmla="*/ 1228594 h 6750795"/>
              <a:gd name="connsiteX2848" fmla="*/ 3747310 w 6630249"/>
              <a:gd name="connsiteY2848" fmla="*/ 1228594 h 6750795"/>
              <a:gd name="connsiteX2849" fmla="*/ 3744745 w 6630249"/>
              <a:gd name="connsiteY2849" fmla="*/ 1256808 h 6750795"/>
              <a:gd name="connsiteX2850" fmla="*/ 3737051 w 6630249"/>
              <a:gd name="connsiteY2850" fmla="*/ 1254244 h 6750795"/>
              <a:gd name="connsiteX2851" fmla="*/ 3739615 w 6630249"/>
              <a:gd name="connsiteY2851" fmla="*/ 1228594 h 6750795"/>
              <a:gd name="connsiteX2852" fmla="*/ 3323301 w 6630249"/>
              <a:gd name="connsiteY2852" fmla="*/ 1215565 h 6750795"/>
              <a:gd name="connsiteX2853" fmla="*/ 3318973 w 6630249"/>
              <a:gd name="connsiteY2853" fmla="*/ 1223501 h 6750795"/>
              <a:gd name="connsiteX2854" fmla="*/ 3318973 w 6630249"/>
              <a:gd name="connsiteY2854" fmla="*/ 1215806 h 6750795"/>
              <a:gd name="connsiteX2855" fmla="*/ 3323301 w 6630249"/>
              <a:gd name="connsiteY2855" fmla="*/ 1215565 h 6750795"/>
              <a:gd name="connsiteX2856" fmla="*/ 3318973 w 6630249"/>
              <a:gd name="connsiteY2856" fmla="*/ 1208113 h 6750795"/>
              <a:gd name="connsiteX2857" fmla="*/ 3308713 w 6630249"/>
              <a:gd name="connsiteY2857" fmla="*/ 1215806 h 6750795"/>
              <a:gd name="connsiteX2858" fmla="*/ 3318973 w 6630249"/>
              <a:gd name="connsiteY2858" fmla="*/ 1208113 h 6750795"/>
              <a:gd name="connsiteX2859" fmla="*/ 4919466 w 6630249"/>
              <a:gd name="connsiteY2859" fmla="*/ 1208106 h 6750795"/>
              <a:gd name="connsiteX2860" fmla="*/ 4932290 w 6630249"/>
              <a:gd name="connsiteY2860" fmla="*/ 1231190 h 6750795"/>
              <a:gd name="connsiteX2861" fmla="*/ 4919466 w 6630249"/>
              <a:gd name="connsiteY2861" fmla="*/ 1208106 h 6750795"/>
              <a:gd name="connsiteX2862" fmla="*/ 4857908 w 6630249"/>
              <a:gd name="connsiteY2862" fmla="*/ 1208106 h 6750795"/>
              <a:gd name="connsiteX2863" fmla="*/ 4873298 w 6630249"/>
              <a:gd name="connsiteY2863" fmla="*/ 1231190 h 6750795"/>
              <a:gd name="connsiteX2864" fmla="*/ 4857908 w 6630249"/>
              <a:gd name="connsiteY2864" fmla="*/ 1208106 h 6750795"/>
              <a:gd name="connsiteX2865" fmla="*/ 3036835 w 6630249"/>
              <a:gd name="connsiteY2865" fmla="*/ 1200370 h 6750795"/>
              <a:gd name="connsiteX2866" fmla="*/ 3031704 w 6630249"/>
              <a:gd name="connsiteY2866" fmla="*/ 1315790 h 6750795"/>
              <a:gd name="connsiteX2867" fmla="*/ 3059918 w 6630249"/>
              <a:gd name="connsiteY2867" fmla="*/ 1223454 h 6750795"/>
              <a:gd name="connsiteX2868" fmla="*/ 3036835 w 6630249"/>
              <a:gd name="connsiteY2868" fmla="*/ 1200370 h 6750795"/>
              <a:gd name="connsiteX2869" fmla="*/ 3912104 w 6630249"/>
              <a:gd name="connsiteY2869" fmla="*/ 1197819 h 6750795"/>
              <a:gd name="connsiteX2870" fmla="*/ 3916593 w 6630249"/>
              <a:gd name="connsiteY2870" fmla="*/ 1202948 h 6750795"/>
              <a:gd name="connsiteX2871" fmla="*/ 3903769 w 6630249"/>
              <a:gd name="connsiteY2871" fmla="*/ 1200384 h 6750795"/>
              <a:gd name="connsiteX2872" fmla="*/ 3912104 w 6630249"/>
              <a:gd name="connsiteY2872" fmla="*/ 1197819 h 6750795"/>
              <a:gd name="connsiteX2873" fmla="*/ 3924288 w 6630249"/>
              <a:gd name="connsiteY2873" fmla="*/ 1196216 h 6750795"/>
              <a:gd name="connsiteX2874" fmla="*/ 3929418 w 6630249"/>
              <a:gd name="connsiteY2874" fmla="*/ 1200384 h 6750795"/>
              <a:gd name="connsiteX2875" fmla="*/ 3919158 w 6630249"/>
              <a:gd name="connsiteY2875" fmla="*/ 1197818 h 6750795"/>
              <a:gd name="connsiteX2876" fmla="*/ 3924288 w 6630249"/>
              <a:gd name="connsiteY2876" fmla="*/ 1196216 h 6750795"/>
              <a:gd name="connsiteX2877" fmla="*/ 3831951 w 6630249"/>
              <a:gd name="connsiteY2877" fmla="*/ 1195251 h 6750795"/>
              <a:gd name="connsiteX2878" fmla="*/ 3849906 w 6630249"/>
              <a:gd name="connsiteY2878" fmla="*/ 1231159 h 6750795"/>
              <a:gd name="connsiteX2879" fmla="*/ 3839646 w 6630249"/>
              <a:gd name="connsiteY2879" fmla="*/ 1231159 h 6750795"/>
              <a:gd name="connsiteX2880" fmla="*/ 3837722 w 6630249"/>
              <a:gd name="connsiteY2880" fmla="*/ 1224106 h 6750795"/>
              <a:gd name="connsiteX2881" fmla="*/ 3831952 w 6630249"/>
              <a:gd name="connsiteY2881" fmla="*/ 1220901 h 6750795"/>
              <a:gd name="connsiteX2882" fmla="*/ 3831951 w 6630249"/>
              <a:gd name="connsiteY2882" fmla="*/ 1220900 h 6750795"/>
              <a:gd name="connsiteX2883" fmla="*/ 3826822 w 6630249"/>
              <a:gd name="connsiteY2883" fmla="*/ 1205510 h 6750795"/>
              <a:gd name="connsiteX2884" fmla="*/ 3831951 w 6630249"/>
              <a:gd name="connsiteY2884" fmla="*/ 1195251 h 6750795"/>
              <a:gd name="connsiteX2885" fmla="*/ 3865295 w 6630249"/>
              <a:gd name="connsiteY2885" fmla="*/ 1187559 h 6750795"/>
              <a:gd name="connsiteX2886" fmla="*/ 3883249 w 6630249"/>
              <a:gd name="connsiteY2886" fmla="*/ 1208078 h 6750795"/>
              <a:gd name="connsiteX2887" fmla="*/ 3875554 w 6630249"/>
              <a:gd name="connsiteY2887" fmla="*/ 1213208 h 6750795"/>
              <a:gd name="connsiteX2888" fmla="*/ 3865295 w 6630249"/>
              <a:gd name="connsiteY2888" fmla="*/ 1187559 h 6750795"/>
              <a:gd name="connsiteX2889" fmla="*/ 3878120 w 6630249"/>
              <a:gd name="connsiteY2889" fmla="*/ 1185636 h 6750795"/>
              <a:gd name="connsiteX2890" fmla="*/ 3883250 w 6630249"/>
              <a:gd name="connsiteY2890" fmla="*/ 1187560 h 6750795"/>
              <a:gd name="connsiteX2891" fmla="*/ 3872990 w 6630249"/>
              <a:gd name="connsiteY2891" fmla="*/ 1187560 h 6750795"/>
              <a:gd name="connsiteX2892" fmla="*/ 3878120 w 6630249"/>
              <a:gd name="connsiteY2892" fmla="*/ 1185636 h 6750795"/>
              <a:gd name="connsiteX2893" fmla="*/ 5068230 w 6630249"/>
              <a:gd name="connsiteY2893" fmla="*/ 1185023 h 6750795"/>
              <a:gd name="connsiteX2894" fmla="*/ 5078490 w 6630249"/>
              <a:gd name="connsiteY2894" fmla="*/ 1187588 h 6750795"/>
              <a:gd name="connsiteX2895" fmla="*/ 5078490 w 6630249"/>
              <a:gd name="connsiteY2895" fmla="*/ 1202977 h 6750795"/>
              <a:gd name="connsiteX2896" fmla="*/ 5073360 w 6630249"/>
              <a:gd name="connsiteY2896" fmla="*/ 1208107 h 6750795"/>
              <a:gd name="connsiteX2897" fmla="*/ 5068230 w 6630249"/>
              <a:gd name="connsiteY2897" fmla="*/ 1185023 h 6750795"/>
              <a:gd name="connsiteX2898" fmla="*/ 3719096 w 6630249"/>
              <a:gd name="connsiteY2898" fmla="*/ 1184996 h 6750795"/>
              <a:gd name="connsiteX2899" fmla="*/ 3729356 w 6630249"/>
              <a:gd name="connsiteY2899" fmla="*/ 1197819 h 6750795"/>
              <a:gd name="connsiteX2900" fmla="*/ 3719096 w 6630249"/>
              <a:gd name="connsiteY2900" fmla="*/ 1184996 h 6750795"/>
              <a:gd name="connsiteX2901" fmla="*/ 3812074 w 6630249"/>
              <a:gd name="connsiteY2901" fmla="*/ 1183071 h 6750795"/>
              <a:gd name="connsiteX2902" fmla="*/ 3813997 w 6630249"/>
              <a:gd name="connsiteY2902" fmla="*/ 1190125 h 6750795"/>
              <a:gd name="connsiteX2903" fmla="*/ 3806303 w 6630249"/>
              <a:gd name="connsiteY2903" fmla="*/ 1187560 h 6750795"/>
              <a:gd name="connsiteX2904" fmla="*/ 3812074 w 6630249"/>
              <a:gd name="connsiteY2904" fmla="*/ 1183071 h 6750795"/>
              <a:gd name="connsiteX2905" fmla="*/ 5681240 w 6630249"/>
              <a:gd name="connsiteY2905" fmla="*/ 1180533 h 6750795"/>
              <a:gd name="connsiteX2906" fmla="*/ 5683804 w 6630249"/>
              <a:gd name="connsiteY2906" fmla="*/ 1182458 h 6750795"/>
              <a:gd name="connsiteX2907" fmla="*/ 5678675 w 6630249"/>
              <a:gd name="connsiteY2907" fmla="*/ 1182458 h 6750795"/>
              <a:gd name="connsiteX2908" fmla="*/ 5681240 w 6630249"/>
              <a:gd name="connsiteY2908" fmla="*/ 1180533 h 6750795"/>
              <a:gd name="connsiteX2909" fmla="*/ 2411000 w 6630249"/>
              <a:gd name="connsiteY2909" fmla="*/ 1172156 h 6750795"/>
              <a:gd name="connsiteX2910" fmla="*/ 2428954 w 6630249"/>
              <a:gd name="connsiteY2910" fmla="*/ 1205499 h 6750795"/>
              <a:gd name="connsiteX2911" fmla="*/ 2477854 w 6630249"/>
              <a:gd name="connsiteY2911" fmla="*/ 1306569 h 6750795"/>
              <a:gd name="connsiteX2912" fmla="*/ 2426390 w 6630249"/>
              <a:gd name="connsiteY2912" fmla="*/ 1202934 h 6750795"/>
              <a:gd name="connsiteX2913" fmla="*/ 2409792 w 6630249"/>
              <a:gd name="connsiteY2913" fmla="*/ 1174483 h 6750795"/>
              <a:gd name="connsiteX2914" fmla="*/ 3639585 w 6630249"/>
              <a:gd name="connsiteY2914" fmla="*/ 1169605 h 6750795"/>
              <a:gd name="connsiteX2915" fmla="*/ 3662669 w 6630249"/>
              <a:gd name="connsiteY2915" fmla="*/ 1179866 h 6750795"/>
              <a:gd name="connsiteX2916" fmla="*/ 3639585 w 6630249"/>
              <a:gd name="connsiteY2916" fmla="*/ 1169605 h 6750795"/>
              <a:gd name="connsiteX2917" fmla="*/ 3157384 w 6630249"/>
              <a:gd name="connsiteY2917" fmla="*/ 1169591 h 6750795"/>
              <a:gd name="connsiteX2918" fmla="*/ 3108652 w 6630249"/>
              <a:gd name="connsiteY2918" fmla="*/ 1274752 h 6750795"/>
              <a:gd name="connsiteX2919" fmla="*/ 3113781 w 6630249"/>
              <a:gd name="connsiteY2919" fmla="*/ 1277316 h 6750795"/>
              <a:gd name="connsiteX2920" fmla="*/ 3113781 w 6630249"/>
              <a:gd name="connsiteY2920" fmla="*/ 1285011 h 6750795"/>
              <a:gd name="connsiteX2921" fmla="*/ 3108652 w 6630249"/>
              <a:gd name="connsiteY2921" fmla="*/ 1282446 h 6750795"/>
              <a:gd name="connsiteX2922" fmla="*/ 3131736 w 6630249"/>
              <a:gd name="connsiteY2922" fmla="*/ 1364523 h 6750795"/>
              <a:gd name="connsiteX2923" fmla="*/ 3136865 w 6630249"/>
              <a:gd name="connsiteY2923" fmla="*/ 1420950 h 6750795"/>
              <a:gd name="connsiteX2924" fmla="*/ 3157384 w 6630249"/>
              <a:gd name="connsiteY2924" fmla="*/ 1300400 h 6750795"/>
              <a:gd name="connsiteX2925" fmla="*/ 3154819 w 6630249"/>
              <a:gd name="connsiteY2925" fmla="*/ 1300400 h 6750795"/>
              <a:gd name="connsiteX2926" fmla="*/ 3154819 w 6630249"/>
              <a:gd name="connsiteY2926" fmla="*/ 1295271 h 6750795"/>
              <a:gd name="connsiteX2927" fmla="*/ 3157384 w 6630249"/>
              <a:gd name="connsiteY2927" fmla="*/ 1295271 h 6750795"/>
              <a:gd name="connsiteX2928" fmla="*/ 3159949 w 6630249"/>
              <a:gd name="connsiteY2928" fmla="*/ 1241408 h 6750795"/>
              <a:gd name="connsiteX2929" fmla="*/ 3157384 w 6630249"/>
              <a:gd name="connsiteY2929" fmla="*/ 1169591 h 6750795"/>
              <a:gd name="connsiteX2930" fmla="*/ 5009237 w 6630249"/>
              <a:gd name="connsiteY2930" fmla="*/ 1161919 h 6750795"/>
              <a:gd name="connsiteX2931" fmla="*/ 5016932 w 6630249"/>
              <a:gd name="connsiteY2931" fmla="*/ 1169614 h 6750795"/>
              <a:gd name="connsiteX2932" fmla="*/ 5004108 w 6630249"/>
              <a:gd name="connsiteY2932" fmla="*/ 1169614 h 6750795"/>
              <a:gd name="connsiteX2933" fmla="*/ 5006673 w 6630249"/>
              <a:gd name="connsiteY2933" fmla="*/ 1164485 h 6750795"/>
              <a:gd name="connsiteX2934" fmla="*/ 5009237 w 6630249"/>
              <a:gd name="connsiteY2934" fmla="*/ 1161919 h 6750795"/>
              <a:gd name="connsiteX2935" fmla="*/ 4442396 w 6630249"/>
              <a:gd name="connsiteY2935" fmla="*/ 1156808 h 6750795"/>
              <a:gd name="connsiteX2936" fmla="*/ 4455220 w 6630249"/>
              <a:gd name="connsiteY2936" fmla="*/ 1161938 h 6750795"/>
              <a:gd name="connsiteX2937" fmla="*/ 4442396 w 6630249"/>
              <a:gd name="connsiteY2937" fmla="*/ 1156808 h 6750795"/>
              <a:gd name="connsiteX2938" fmla="*/ 5161528 w 6630249"/>
              <a:gd name="connsiteY2938" fmla="*/ 1151358 h 6750795"/>
              <a:gd name="connsiteX2939" fmla="*/ 5168260 w 6630249"/>
              <a:gd name="connsiteY2939" fmla="*/ 1151678 h 6750795"/>
              <a:gd name="connsiteX2940" fmla="*/ 5165697 w 6630249"/>
              <a:gd name="connsiteY2940" fmla="*/ 1156808 h 6750795"/>
              <a:gd name="connsiteX2941" fmla="*/ 5174031 w 6630249"/>
              <a:gd name="connsiteY2941" fmla="*/ 1159694 h 6750795"/>
              <a:gd name="connsiteX2942" fmla="*/ 5178520 w 6630249"/>
              <a:gd name="connsiteY2942" fmla="*/ 1164503 h 6750795"/>
              <a:gd name="connsiteX2943" fmla="*/ 5170184 w 6630249"/>
              <a:gd name="connsiteY2943" fmla="*/ 1165466 h 6750795"/>
              <a:gd name="connsiteX2944" fmla="*/ 5165696 w 6630249"/>
              <a:gd name="connsiteY2944" fmla="*/ 1156808 h 6750795"/>
              <a:gd name="connsiteX2945" fmla="*/ 5160566 w 6630249"/>
              <a:gd name="connsiteY2945" fmla="*/ 1156808 h 6750795"/>
              <a:gd name="connsiteX2946" fmla="*/ 5161528 w 6630249"/>
              <a:gd name="connsiteY2946" fmla="*/ 1151358 h 6750795"/>
              <a:gd name="connsiteX2947" fmla="*/ 3825499 w 6630249"/>
              <a:gd name="connsiteY2947" fmla="*/ 1143994 h 6750795"/>
              <a:gd name="connsiteX2948" fmla="*/ 3829066 w 6630249"/>
              <a:gd name="connsiteY2948" fmla="*/ 1145557 h 6750795"/>
              <a:gd name="connsiteX2949" fmla="*/ 3834516 w 6630249"/>
              <a:gd name="connsiteY2949" fmla="*/ 1146519 h 6750795"/>
              <a:gd name="connsiteX2950" fmla="*/ 3824257 w 6630249"/>
              <a:gd name="connsiteY2950" fmla="*/ 1151648 h 6750795"/>
              <a:gd name="connsiteX2951" fmla="*/ 3821692 w 6630249"/>
              <a:gd name="connsiteY2951" fmla="*/ 1146519 h 6750795"/>
              <a:gd name="connsiteX2952" fmla="*/ 3825499 w 6630249"/>
              <a:gd name="connsiteY2952" fmla="*/ 1143994 h 6750795"/>
              <a:gd name="connsiteX2953" fmla="*/ 3783218 w 6630249"/>
              <a:gd name="connsiteY2953" fmla="*/ 1141391 h 6750795"/>
              <a:gd name="connsiteX2954" fmla="*/ 3790913 w 6630249"/>
              <a:gd name="connsiteY2954" fmla="*/ 1141391 h 6750795"/>
              <a:gd name="connsiteX2955" fmla="*/ 3785783 w 6630249"/>
              <a:gd name="connsiteY2955" fmla="*/ 1143956 h 6750795"/>
              <a:gd name="connsiteX2956" fmla="*/ 3793478 w 6630249"/>
              <a:gd name="connsiteY2956" fmla="*/ 1151651 h 6750795"/>
              <a:gd name="connsiteX2957" fmla="*/ 3780653 w 6630249"/>
              <a:gd name="connsiteY2957" fmla="*/ 1154215 h 6750795"/>
              <a:gd name="connsiteX2958" fmla="*/ 3775524 w 6630249"/>
              <a:gd name="connsiteY2958" fmla="*/ 1143956 h 6750795"/>
              <a:gd name="connsiteX2959" fmla="*/ 3780653 w 6630249"/>
              <a:gd name="connsiteY2959" fmla="*/ 1146521 h 6750795"/>
              <a:gd name="connsiteX2960" fmla="*/ 3783218 w 6630249"/>
              <a:gd name="connsiteY2960" fmla="*/ 1141391 h 6750795"/>
              <a:gd name="connsiteX2961" fmla="*/ 3650806 w 6630249"/>
              <a:gd name="connsiteY2961" fmla="*/ 1137865 h 6750795"/>
              <a:gd name="connsiteX2962" fmla="*/ 3654973 w 6630249"/>
              <a:gd name="connsiteY2962" fmla="*/ 1143957 h 6750795"/>
              <a:gd name="connsiteX2963" fmla="*/ 3644714 w 6630249"/>
              <a:gd name="connsiteY2963" fmla="*/ 1141392 h 6750795"/>
              <a:gd name="connsiteX2964" fmla="*/ 3650806 w 6630249"/>
              <a:gd name="connsiteY2964" fmla="*/ 1137865 h 6750795"/>
              <a:gd name="connsiteX2965" fmla="*/ 3657539 w 6630249"/>
              <a:gd name="connsiteY2965" fmla="*/ 1123437 h 6750795"/>
              <a:gd name="connsiteX2966" fmla="*/ 3667798 w 6630249"/>
              <a:gd name="connsiteY2966" fmla="*/ 1133698 h 6750795"/>
              <a:gd name="connsiteX2967" fmla="*/ 3657539 w 6630249"/>
              <a:gd name="connsiteY2967" fmla="*/ 1123437 h 6750795"/>
              <a:gd name="connsiteX2968" fmla="*/ 5981331 w 6630249"/>
              <a:gd name="connsiteY2968" fmla="*/ 1118333 h 6750795"/>
              <a:gd name="connsiteX2969" fmla="*/ 5981331 w 6630249"/>
              <a:gd name="connsiteY2969" fmla="*/ 1146548 h 6750795"/>
              <a:gd name="connsiteX2970" fmla="*/ 5973636 w 6630249"/>
              <a:gd name="connsiteY2970" fmla="*/ 1123463 h 6750795"/>
              <a:gd name="connsiteX2971" fmla="*/ 5981331 w 6630249"/>
              <a:gd name="connsiteY2971" fmla="*/ 1118333 h 6750795"/>
              <a:gd name="connsiteX2972" fmla="*/ 3782257 w 6630249"/>
              <a:gd name="connsiteY2972" fmla="*/ 1117022 h 6750795"/>
              <a:gd name="connsiteX2973" fmla="*/ 3788349 w 6630249"/>
              <a:gd name="connsiteY2973" fmla="*/ 1120869 h 6750795"/>
              <a:gd name="connsiteX2974" fmla="*/ 3778089 w 6630249"/>
              <a:gd name="connsiteY2974" fmla="*/ 1120869 h 6750795"/>
              <a:gd name="connsiteX2975" fmla="*/ 3782257 w 6630249"/>
              <a:gd name="connsiteY2975" fmla="*/ 1117022 h 6750795"/>
              <a:gd name="connsiteX2976" fmla="*/ 6366066 w 6630249"/>
              <a:gd name="connsiteY2976" fmla="*/ 1115768 h 6750795"/>
              <a:gd name="connsiteX2977" fmla="*/ 6371195 w 6630249"/>
              <a:gd name="connsiteY2977" fmla="*/ 1115768 h 6750795"/>
              <a:gd name="connsiteX2978" fmla="*/ 6371195 w 6630249"/>
              <a:gd name="connsiteY2978" fmla="*/ 1120899 h 6750795"/>
              <a:gd name="connsiteX2979" fmla="*/ 6366066 w 6630249"/>
              <a:gd name="connsiteY2979" fmla="*/ 1120899 h 6750795"/>
              <a:gd name="connsiteX2980" fmla="*/ 6366066 w 6630249"/>
              <a:gd name="connsiteY2980" fmla="*/ 1115768 h 6750795"/>
              <a:gd name="connsiteX2981" fmla="*/ 2923979 w 6630249"/>
              <a:gd name="connsiteY2981" fmla="*/ 1115728 h 6750795"/>
              <a:gd name="connsiteX2982" fmla="*/ 3016156 w 6630249"/>
              <a:gd name="connsiteY2982" fmla="*/ 1184271 h 6750795"/>
              <a:gd name="connsiteX2983" fmla="*/ 3016315 w 6630249"/>
              <a:gd name="connsiteY2983" fmla="*/ 1184980 h 6750795"/>
              <a:gd name="connsiteX2984" fmla="*/ 2966299 w 6630249"/>
              <a:gd name="connsiteY2984" fmla="*/ 1148751 h 6750795"/>
              <a:gd name="connsiteX2985" fmla="*/ 2924075 w 6630249"/>
              <a:gd name="connsiteY2985" fmla="*/ 1116540 h 6750795"/>
              <a:gd name="connsiteX2986" fmla="*/ 2915643 w 6630249"/>
              <a:gd name="connsiteY2986" fmla="*/ 1107391 h 6750795"/>
              <a:gd name="connsiteX2987" fmla="*/ 2916284 w 6630249"/>
              <a:gd name="connsiteY2987" fmla="*/ 1108033 h 6750795"/>
              <a:gd name="connsiteX2988" fmla="*/ 2916695 w 6630249"/>
              <a:gd name="connsiteY2988" fmla="*/ 1110911 h 6750795"/>
              <a:gd name="connsiteX2989" fmla="*/ 2916284 w 6630249"/>
              <a:gd name="connsiteY2989" fmla="*/ 1110598 h 6750795"/>
              <a:gd name="connsiteX2990" fmla="*/ 4451373 w 6630249"/>
              <a:gd name="connsiteY2990" fmla="*/ 1106149 h 6750795"/>
              <a:gd name="connsiteX2991" fmla="*/ 4455220 w 6630249"/>
              <a:gd name="connsiteY2991" fmla="*/ 1108073 h 6750795"/>
              <a:gd name="connsiteX2992" fmla="*/ 4447525 w 6630249"/>
              <a:gd name="connsiteY2992" fmla="*/ 1108073 h 6750795"/>
              <a:gd name="connsiteX2993" fmla="*/ 4451373 w 6630249"/>
              <a:gd name="connsiteY2993" fmla="*/ 1106149 h 6750795"/>
              <a:gd name="connsiteX2994" fmla="*/ 5001542 w 6630249"/>
              <a:gd name="connsiteY2994" fmla="*/ 1100379 h 6750795"/>
              <a:gd name="connsiteX2995" fmla="*/ 4998978 w 6630249"/>
              <a:gd name="connsiteY2995" fmla="*/ 1108073 h 6750795"/>
              <a:gd name="connsiteX2996" fmla="*/ 4998978 w 6630249"/>
              <a:gd name="connsiteY2996" fmla="*/ 1102944 h 6750795"/>
              <a:gd name="connsiteX2997" fmla="*/ 5001542 w 6630249"/>
              <a:gd name="connsiteY2997" fmla="*/ 1100379 h 6750795"/>
              <a:gd name="connsiteX2998" fmla="*/ 5096444 w 6630249"/>
              <a:gd name="connsiteY2998" fmla="*/ 1097796 h 6750795"/>
              <a:gd name="connsiteX2999" fmla="*/ 5096444 w 6630249"/>
              <a:gd name="connsiteY2999" fmla="*/ 1097796 h 6750795"/>
              <a:gd name="connsiteX3000" fmla="*/ 3624195 w 6630249"/>
              <a:gd name="connsiteY3000" fmla="*/ 1097788 h 6750795"/>
              <a:gd name="connsiteX3001" fmla="*/ 3637020 w 6630249"/>
              <a:gd name="connsiteY3001" fmla="*/ 1108047 h 6750795"/>
              <a:gd name="connsiteX3002" fmla="*/ 3626760 w 6630249"/>
              <a:gd name="connsiteY3002" fmla="*/ 1113177 h 6750795"/>
              <a:gd name="connsiteX3003" fmla="*/ 3624195 w 6630249"/>
              <a:gd name="connsiteY3003" fmla="*/ 1097788 h 6750795"/>
              <a:gd name="connsiteX3004" fmla="*/ 3637019 w 6630249"/>
              <a:gd name="connsiteY3004" fmla="*/ 1090094 h 6750795"/>
              <a:gd name="connsiteX3005" fmla="*/ 3652409 w 6630249"/>
              <a:gd name="connsiteY3005" fmla="*/ 1100353 h 6750795"/>
              <a:gd name="connsiteX3006" fmla="*/ 3637019 w 6630249"/>
              <a:gd name="connsiteY3006" fmla="*/ 1090094 h 6750795"/>
              <a:gd name="connsiteX3007" fmla="*/ 5369044 w 6630249"/>
              <a:gd name="connsiteY3007" fmla="*/ 1089799 h 6750795"/>
              <a:gd name="connsiteX3008" fmla="*/ 5368322 w 6630249"/>
              <a:gd name="connsiteY3008" fmla="*/ 1092685 h 6750795"/>
              <a:gd name="connsiteX3009" fmla="*/ 5369044 w 6630249"/>
              <a:gd name="connsiteY3009" fmla="*/ 1089799 h 6750795"/>
              <a:gd name="connsiteX3010" fmla="*/ 3803737 w 6630249"/>
              <a:gd name="connsiteY3010" fmla="*/ 1087529 h 6750795"/>
              <a:gd name="connsiteX3011" fmla="*/ 3813997 w 6630249"/>
              <a:gd name="connsiteY3011" fmla="*/ 1092659 h 6750795"/>
              <a:gd name="connsiteX3012" fmla="*/ 3803737 w 6630249"/>
              <a:gd name="connsiteY3012" fmla="*/ 1102918 h 6750795"/>
              <a:gd name="connsiteX3013" fmla="*/ 3803737 w 6630249"/>
              <a:gd name="connsiteY3013" fmla="*/ 1087529 h 6750795"/>
              <a:gd name="connsiteX3014" fmla="*/ 5478613 w 6630249"/>
              <a:gd name="connsiteY3014" fmla="*/ 1082424 h 6750795"/>
              <a:gd name="connsiteX3015" fmla="*/ 5483742 w 6630249"/>
              <a:gd name="connsiteY3015" fmla="*/ 1087554 h 6750795"/>
              <a:gd name="connsiteX3016" fmla="*/ 5481178 w 6630249"/>
              <a:gd name="connsiteY3016" fmla="*/ 1090119 h 6750795"/>
              <a:gd name="connsiteX3017" fmla="*/ 5478613 w 6630249"/>
              <a:gd name="connsiteY3017" fmla="*/ 1082424 h 6750795"/>
              <a:gd name="connsiteX3018" fmla="*/ 3647280 w 6630249"/>
              <a:gd name="connsiteY3018" fmla="*/ 1077269 h 6750795"/>
              <a:gd name="connsiteX3019" fmla="*/ 3649844 w 6630249"/>
              <a:gd name="connsiteY3019" fmla="*/ 1082399 h 6750795"/>
              <a:gd name="connsiteX3020" fmla="*/ 3637020 w 6630249"/>
              <a:gd name="connsiteY3020" fmla="*/ 1079834 h 6750795"/>
              <a:gd name="connsiteX3021" fmla="*/ 3647280 w 6630249"/>
              <a:gd name="connsiteY3021" fmla="*/ 1077269 h 6750795"/>
              <a:gd name="connsiteX3022" fmla="*/ 3257416 w 6630249"/>
              <a:gd name="connsiteY3022" fmla="*/ 1077255 h 6750795"/>
              <a:gd name="connsiteX3023" fmla="*/ 3259980 w 6630249"/>
              <a:gd name="connsiteY3023" fmla="*/ 1133682 h 6750795"/>
              <a:gd name="connsiteX3024" fmla="*/ 3255827 w 6630249"/>
              <a:gd name="connsiteY3024" fmla="*/ 1081769 h 6750795"/>
              <a:gd name="connsiteX3025" fmla="*/ 6384020 w 6630249"/>
              <a:gd name="connsiteY3025" fmla="*/ 1049079 h 6750795"/>
              <a:gd name="connsiteX3026" fmla="*/ 6389149 w 6630249"/>
              <a:gd name="connsiteY3026" fmla="*/ 1049079 h 6750795"/>
              <a:gd name="connsiteX3027" fmla="*/ 6389149 w 6630249"/>
              <a:gd name="connsiteY3027" fmla="*/ 1054210 h 6750795"/>
              <a:gd name="connsiteX3028" fmla="*/ 6384020 w 6630249"/>
              <a:gd name="connsiteY3028" fmla="*/ 1054210 h 6750795"/>
              <a:gd name="connsiteX3029" fmla="*/ 6384020 w 6630249"/>
              <a:gd name="connsiteY3029" fmla="*/ 1049079 h 6750795"/>
              <a:gd name="connsiteX3030" fmla="*/ 4683496 w 6630249"/>
              <a:gd name="connsiteY3030" fmla="*/ 1046490 h 6750795"/>
              <a:gd name="connsiteX3031" fmla="*/ 4709145 w 6630249"/>
              <a:gd name="connsiteY3031" fmla="*/ 1074703 h 6750795"/>
              <a:gd name="connsiteX3032" fmla="*/ 4678366 w 6630249"/>
              <a:gd name="connsiteY3032" fmla="*/ 1097789 h 6750795"/>
              <a:gd name="connsiteX3033" fmla="*/ 4668106 w 6630249"/>
              <a:gd name="connsiteY3033" fmla="*/ 1090093 h 6750795"/>
              <a:gd name="connsiteX3034" fmla="*/ 4665541 w 6630249"/>
              <a:gd name="connsiteY3034" fmla="*/ 1069573 h 6750795"/>
              <a:gd name="connsiteX3035" fmla="*/ 4670671 w 6630249"/>
              <a:gd name="connsiteY3035" fmla="*/ 1056749 h 6750795"/>
              <a:gd name="connsiteX3036" fmla="*/ 4683496 w 6630249"/>
              <a:gd name="connsiteY3036" fmla="*/ 1046490 h 6750795"/>
              <a:gd name="connsiteX3037" fmla="*/ 3726790 w 6630249"/>
              <a:gd name="connsiteY3037" fmla="*/ 1038796 h 6750795"/>
              <a:gd name="connsiteX3038" fmla="*/ 3726790 w 6630249"/>
              <a:gd name="connsiteY3038" fmla="*/ 1046490 h 6750795"/>
              <a:gd name="connsiteX3039" fmla="*/ 3716531 w 6630249"/>
              <a:gd name="connsiteY3039" fmla="*/ 1043926 h 6750795"/>
              <a:gd name="connsiteX3040" fmla="*/ 3726790 w 6630249"/>
              <a:gd name="connsiteY3040" fmla="*/ 1038796 h 6750795"/>
              <a:gd name="connsiteX3041" fmla="*/ 3831631 w 6630249"/>
              <a:gd name="connsiteY3041" fmla="*/ 1021804 h 6750795"/>
              <a:gd name="connsiteX3042" fmla="*/ 3842211 w 6630249"/>
              <a:gd name="connsiteY3042" fmla="*/ 1023406 h 6750795"/>
              <a:gd name="connsiteX3043" fmla="*/ 3837081 w 6630249"/>
              <a:gd name="connsiteY3043" fmla="*/ 1033667 h 6750795"/>
              <a:gd name="connsiteX3044" fmla="*/ 3826822 w 6630249"/>
              <a:gd name="connsiteY3044" fmla="*/ 1025972 h 6750795"/>
              <a:gd name="connsiteX3045" fmla="*/ 3831631 w 6630249"/>
              <a:gd name="connsiteY3045" fmla="*/ 1021804 h 6750795"/>
              <a:gd name="connsiteX3046" fmla="*/ 3755005 w 6630249"/>
              <a:gd name="connsiteY3046" fmla="*/ 1018277 h 6750795"/>
              <a:gd name="connsiteX3047" fmla="*/ 3744745 w 6630249"/>
              <a:gd name="connsiteY3047" fmla="*/ 1028537 h 6750795"/>
              <a:gd name="connsiteX3048" fmla="*/ 3755005 w 6630249"/>
              <a:gd name="connsiteY3048" fmla="*/ 1018277 h 6750795"/>
              <a:gd name="connsiteX3049" fmla="*/ 2693139 w 6630249"/>
              <a:gd name="connsiteY3049" fmla="*/ 1013173 h 6750795"/>
              <a:gd name="connsiteX3050" fmla="*/ 2675185 w 6630249"/>
              <a:gd name="connsiteY3050" fmla="*/ 1074731 h 6750795"/>
              <a:gd name="connsiteX3051" fmla="*/ 2639276 w 6630249"/>
              <a:gd name="connsiteY3051" fmla="*/ 1120901 h 6750795"/>
              <a:gd name="connsiteX3052" fmla="*/ 2644406 w 6630249"/>
              <a:gd name="connsiteY3052" fmla="*/ 1118336 h 6750795"/>
              <a:gd name="connsiteX3053" fmla="*/ 2587978 w 6630249"/>
              <a:gd name="connsiteY3053" fmla="*/ 1226064 h 6750795"/>
              <a:gd name="connsiteX3054" fmla="*/ 2549505 w 6630249"/>
              <a:gd name="connsiteY3054" fmla="*/ 1161941 h 6750795"/>
              <a:gd name="connsiteX3055" fmla="*/ 2582848 w 6630249"/>
              <a:gd name="connsiteY3055" fmla="*/ 1149116 h 6750795"/>
              <a:gd name="connsiteX3056" fmla="*/ 2659795 w 6630249"/>
              <a:gd name="connsiteY3056" fmla="*/ 1028562 h 6750795"/>
              <a:gd name="connsiteX3057" fmla="*/ 2693139 w 6630249"/>
              <a:gd name="connsiteY3057" fmla="*/ 1013173 h 6750795"/>
              <a:gd name="connsiteX3058" fmla="*/ 4411616 w 6630249"/>
              <a:gd name="connsiteY3058" fmla="*/ 1008017 h 6750795"/>
              <a:gd name="connsiteX3059" fmla="*/ 4411616 w 6630249"/>
              <a:gd name="connsiteY3059" fmla="*/ 1018277 h 6750795"/>
              <a:gd name="connsiteX3060" fmla="*/ 4411616 w 6630249"/>
              <a:gd name="connsiteY3060" fmla="*/ 1008017 h 6750795"/>
              <a:gd name="connsiteX3061" fmla="*/ 5646172 w 6630249"/>
              <a:gd name="connsiteY3061" fmla="*/ 1000105 h 6750795"/>
              <a:gd name="connsiteX3062" fmla="*/ 5653025 w 6630249"/>
              <a:gd name="connsiteY3062" fmla="*/ 1008040 h 6750795"/>
              <a:gd name="connsiteX3063" fmla="*/ 5645330 w 6630249"/>
              <a:gd name="connsiteY3063" fmla="*/ 1031125 h 6750795"/>
              <a:gd name="connsiteX3064" fmla="*/ 5632506 w 6630249"/>
              <a:gd name="connsiteY3064" fmla="*/ 1025995 h 6750795"/>
              <a:gd name="connsiteX3065" fmla="*/ 5640200 w 6630249"/>
              <a:gd name="connsiteY3065" fmla="*/ 1000345 h 6750795"/>
              <a:gd name="connsiteX3066" fmla="*/ 5646172 w 6630249"/>
              <a:gd name="connsiteY3066" fmla="*/ 1000105 h 6750795"/>
              <a:gd name="connsiteX3067" fmla="*/ 3698577 w 6630249"/>
              <a:gd name="connsiteY3067" fmla="*/ 997757 h 6750795"/>
              <a:gd name="connsiteX3068" fmla="*/ 3703706 w 6630249"/>
              <a:gd name="connsiteY3068" fmla="*/ 1002888 h 6750795"/>
              <a:gd name="connsiteX3069" fmla="*/ 3698577 w 6630249"/>
              <a:gd name="connsiteY3069" fmla="*/ 997757 h 6750795"/>
              <a:gd name="connsiteX3070" fmla="*/ 3241403 w 6630249"/>
              <a:gd name="connsiteY3070" fmla="*/ 989826 h 6750795"/>
              <a:gd name="connsiteX3071" fmla="*/ 3242346 w 6630249"/>
              <a:gd name="connsiteY3071" fmla="*/ 993255 h 6750795"/>
              <a:gd name="connsiteX3072" fmla="*/ 3244828 w 6630249"/>
              <a:gd name="connsiteY3072" fmla="*/ 1008466 h 6750795"/>
              <a:gd name="connsiteX3073" fmla="*/ 5306765 w 6630249"/>
              <a:gd name="connsiteY3073" fmla="*/ 984940 h 6750795"/>
              <a:gd name="connsiteX3074" fmla="*/ 5286245 w 6630249"/>
              <a:gd name="connsiteY3074" fmla="*/ 1025978 h 6750795"/>
              <a:gd name="connsiteX3075" fmla="*/ 5306765 w 6630249"/>
              <a:gd name="connsiteY3075" fmla="*/ 984940 h 6750795"/>
              <a:gd name="connsiteX3076" fmla="*/ 5637636 w 6630249"/>
              <a:gd name="connsiteY3076" fmla="*/ 977245 h 6750795"/>
              <a:gd name="connsiteX3077" fmla="*/ 5622247 w 6630249"/>
              <a:gd name="connsiteY3077" fmla="*/ 995199 h 6750795"/>
              <a:gd name="connsiteX3078" fmla="*/ 5637636 w 6630249"/>
              <a:gd name="connsiteY3078" fmla="*/ 977245 h 6750795"/>
              <a:gd name="connsiteX3079" fmla="*/ 5519651 w 6630249"/>
              <a:gd name="connsiteY3079" fmla="*/ 964437 h 6750795"/>
              <a:gd name="connsiteX3080" fmla="*/ 5504262 w 6630249"/>
              <a:gd name="connsiteY3080" fmla="*/ 974697 h 6750795"/>
              <a:gd name="connsiteX3081" fmla="*/ 5504262 w 6630249"/>
              <a:gd name="connsiteY3081" fmla="*/ 967002 h 6750795"/>
              <a:gd name="connsiteX3082" fmla="*/ 5519651 w 6630249"/>
              <a:gd name="connsiteY3082" fmla="*/ 964437 h 6750795"/>
              <a:gd name="connsiteX3083" fmla="*/ 3629324 w 6630249"/>
              <a:gd name="connsiteY3083" fmla="*/ 954150 h 6750795"/>
              <a:gd name="connsiteX3084" fmla="*/ 3631890 w 6630249"/>
              <a:gd name="connsiteY3084" fmla="*/ 959283 h 6750795"/>
              <a:gd name="connsiteX3085" fmla="*/ 3629324 w 6630249"/>
              <a:gd name="connsiteY3085" fmla="*/ 954150 h 6750795"/>
              <a:gd name="connsiteX3086" fmla="*/ 3095827 w 6630249"/>
              <a:gd name="connsiteY3086" fmla="*/ 954139 h 6750795"/>
              <a:gd name="connsiteX3087" fmla="*/ 3083002 w 6630249"/>
              <a:gd name="connsiteY3087" fmla="*/ 1131117 h 6750795"/>
              <a:gd name="connsiteX3088" fmla="*/ 3072743 w 6630249"/>
              <a:gd name="connsiteY3088" fmla="*/ 1226019 h 6750795"/>
              <a:gd name="connsiteX3089" fmla="*/ 3100957 w 6630249"/>
              <a:gd name="connsiteY3089" fmla="*/ 1267057 h 6750795"/>
              <a:gd name="connsiteX3090" fmla="*/ 3154819 w 6630249"/>
              <a:gd name="connsiteY3090" fmla="*/ 1151637 h 6750795"/>
              <a:gd name="connsiteX3091" fmla="*/ 3108652 w 6630249"/>
              <a:gd name="connsiteY3091" fmla="*/ 984920 h 6750795"/>
              <a:gd name="connsiteX3092" fmla="*/ 3095827 w 6630249"/>
              <a:gd name="connsiteY3092" fmla="*/ 954139 h 6750795"/>
              <a:gd name="connsiteX3093" fmla="*/ 5178520 w 6630249"/>
              <a:gd name="connsiteY3093" fmla="*/ 951603 h 6750795"/>
              <a:gd name="connsiteX3094" fmla="*/ 5173391 w 6630249"/>
              <a:gd name="connsiteY3094" fmla="*/ 967001 h 6750795"/>
              <a:gd name="connsiteX3095" fmla="*/ 5178520 w 6630249"/>
              <a:gd name="connsiteY3095" fmla="*/ 951603 h 6750795"/>
              <a:gd name="connsiteX3096" fmla="*/ 3678058 w 6630249"/>
              <a:gd name="connsiteY3096" fmla="*/ 951585 h 6750795"/>
              <a:gd name="connsiteX3097" fmla="*/ 3667798 w 6630249"/>
              <a:gd name="connsiteY3097" fmla="*/ 961849 h 6750795"/>
              <a:gd name="connsiteX3098" fmla="*/ 3678058 w 6630249"/>
              <a:gd name="connsiteY3098" fmla="*/ 951585 h 6750795"/>
              <a:gd name="connsiteX3099" fmla="*/ 3088132 w 6630249"/>
              <a:gd name="connsiteY3099" fmla="*/ 938749 h 6750795"/>
              <a:gd name="connsiteX3100" fmla="*/ 3085567 w 6630249"/>
              <a:gd name="connsiteY3100" fmla="*/ 1069559 h 6750795"/>
              <a:gd name="connsiteX3101" fmla="*/ 3090697 w 6630249"/>
              <a:gd name="connsiteY3101" fmla="*/ 943879 h 6750795"/>
              <a:gd name="connsiteX3102" fmla="*/ 3088132 w 6630249"/>
              <a:gd name="connsiteY3102" fmla="*/ 938749 h 6750795"/>
              <a:gd name="connsiteX3103" fmla="*/ 6381455 w 6630249"/>
              <a:gd name="connsiteY3103" fmla="*/ 936854 h 6750795"/>
              <a:gd name="connsiteX3104" fmla="*/ 6384020 w 6630249"/>
              <a:gd name="connsiteY3104" fmla="*/ 938778 h 6750795"/>
              <a:gd name="connsiteX3105" fmla="*/ 6378891 w 6630249"/>
              <a:gd name="connsiteY3105" fmla="*/ 938778 h 6750795"/>
              <a:gd name="connsiteX3106" fmla="*/ 6381455 w 6630249"/>
              <a:gd name="connsiteY3106" fmla="*/ 936854 h 6750795"/>
              <a:gd name="connsiteX3107" fmla="*/ 3226637 w 6630249"/>
              <a:gd name="connsiteY3107" fmla="*/ 936185 h 6750795"/>
              <a:gd name="connsiteX3108" fmla="*/ 3241385 w 6630249"/>
              <a:gd name="connsiteY3108" fmla="*/ 989729 h 6750795"/>
              <a:gd name="connsiteX3109" fmla="*/ 3241403 w 6630249"/>
              <a:gd name="connsiteY3109" fmla="*/ 989826 h 6750795"/>
              <a:gd name="connsiteX3110" fmla="*/ 2205810 w 6630249"/>
              <a:gd name="connsiteY3110" fmla="*/ 908003 h 6750795"/>
              <a:gd name="connsiteX3111" fmla="*/ 2210939 w 6630249"/>
              <a:gd name="connsiteY3111" fmla="*/ 915699 h 6750795"/>
              <a:gd name="connsiteX3112" fmla="*/ 2203245 w 6630249"/>
              <a:gd name="connsiteY3112" fmla="*/ 915699 h 6750795"/>
              <a:gd name="connsiteX3113" fmla="*/ 2205810 w 6630249"/>
              <a:gd name="connsiteY3113" fmla="*/ 908003 h 6750795"/>
              <a:gd name="connsiteX3114" fmla="*/ 5862946 w 6630249"/>
              <a:gd name="connsiteY3114" fmla="*/ 896297 h 6750795"/>
              <a:gd name="connsiteX3115" fmla="*/ 5860782 w 6630249"/>
              <a:gd name="connsiteY3115" fmla="*/ 897741 h 6750795"/>
              <a:gd name="connsiteX3116" fmla="*/ 5862946 w 6630249"/>
              <a:gd name="connsiteY3116" fmla="*/ 896297 h 6750795"/>
              <a:gd name="connsiteX3117" fmla="*/ 5193910 w 6630249"/>
              <a:gd name="connsiteY3117" fmla="*/ 887482 h 6750795"/>
              <a:gd name="connsiteX3118" fmla="*/ 5201604 w 6630249"/>
              <a:gd name="connsiteY3118" fmla="*/ 895176 h 6750795"/>
              <a:gd name="connsiteX3119" fmla="*/ 5193910 w 6630249"/>
              <a:gd name="connsiteY3119" fmla="*/ 895176 h 6750795"/>
              <a:gd name="connsiteX3120" fmla="*/ 5193910 w 6630249"/>
              <a:gd name="connsiteY3120" fmla="*/ 887482 h 6750795"/>
              <a:gd name="connsiteX3121" fmla="*/ 2228894 w 6630249"/>
              <a:gd name="connsiteY3121" fmla="*/ 882353 h 6750795"/>
              <a:gd name="connsiteX3122" fmla="*/ 2228894 w 6630249"/>
              <a:gd name="connsiteY3122" fmla="*/ 902872 h 6750795"/>
              <a:gd name="connsiteX3123" fmla="*/ 2218634 w 6630249"/>
              <a:gd name="connsiteY3123" fmla="*/ 892612 h 6750795"/>
              <a:gd name="connsiteX3124" fmla="*/ 2216069 w 6630249"/>
              <a:gd name="connsiteY3124" fmla="*/ 905437 h 6750795"/>
              <a:gd name="connsiteX3125" fmla="*/ 2203245 w 6630249"/>
              <a:gd name="connsiteY3125" fmla="*/ 900307 h 6750795"/>
              <a:gd name="connsiteX3126" fmla="*/ 2205810 w 6630249"/>
              <a:gd name="connsiteY3126" fmla="*/ 887483 h 6750795"/>
              <a:gd name="connsiteX3127" fmla="*/ 2208374 w 6630249"/>
              <a:gd name="connsiteY3127" fmla="*/ 900307 h 6750795"/>
              <a:gd name="connsiteX3128" fmla="*/ 2228894 w 6630249"/>
              <a:gd name="connsiteY3128" fmla="*/ 882353 h 6750795"/>
              <a:gd name="connsiteX3129" fmla="*/ 4893817 w 6630249"/>
              <a:gd name="connsiteY3129" fmla="*/ 882031 h 6750795"/>
              <a:gd name="connsiteX3130" fmla="*/ 4893817 w 6630249"/>
              <a:gd name="connsiteY3130" fmla="*/ 892612 h 6750795"/>
              <a:gd name="connsiteX3131" fmla="*/ 4893817 w 6630249"/>
              <a:gd name="connsiteY3131" fmla="*/ 882031 h 6750795"/>
              <a:gd name="connsiteX3132" fmla="*/ 2408436 w 6630249"/>
              <a:gd name="connsiteY3132" fmla="*/ 879789 h 6750795"/>
              <a:gd name="connsiteX3133" fmla="*/ 2413565 w 6630249"/>
              <a:gd name="connsiteY3133" fmla="*/ 884920 h 6750795"/>
              <a:gd name="connsiteX3134" fmla="*/ 2411002 w 6630249"/>
              <a:gd name="connsiteY3134" fmla="*/ 887484 h 6750795"/>
              <a:gd name="connsiteX3135" fmla="*/ 2405871 w 6630249"/>
              <a:gd name="connsiteY3135" fmla="*/ 887484 h 6750795"/>
              <a:gd name="connsiteX3136" fmla="*/ 2408436 w 6630249"/>
              <a:gd name="connsiteY3136" fmla="*/ 879789 h 6750795"/>
              <a:gd name="connsiteX3137" fmla="*/ 5287328 w 6630249"/>
              <a:gd name="connsiteY3137" fmla="*/ 879106 h 6750795"/>
              <a:gd name="connsiteX3138" fmla="*/ 5286246 w 6630249"/>
              <a:gd name="connsiteY3138" fmla="*/ 882352 h 6750795"/>
              <a:gd name="connsiteX3139" fmla="*/ 5287328 w 6630249"/>
              <a:gd name="connsiteY3139" fmla="*/ 879106 h 6750795"/>
              <a:gd name="connsiteX3140" fmla="*/ 4906642 w 6630249"/>
              <a:gd name="connsiteY3140" fmla="*/ 874658 h 6750795"/>
              <a:gd name="connsiteX3141" fmla="*/ 4906642 w 6630249"/>
              <a:gd name="connsiteY3141" fmla="*/ 874658 h 6750795"/>
              <a:gd name="connsiteX3142" fmla="*/ 2093595 w 6630249"/>
              <a:gd name="connsiteY3142" fmla="*/ 856385 h 6750795"/>
              <a:gd name="connsiteX3143" fmla="*/ 2098083 w 6630249"/>
              <a:gd name="connsiteY3143" fmla="*/ 864400 h 6750795"/>
              <a:gd name="connsiteX3144" fmla="*/ 2085259 w 6630249"/>
              <a:gd name="connsiteY3144" fmla="*/ 861836 h 6750795"/>
              <a:gd name="connsiteX3145" fmla="*/ 2093595 w 6630249"/>
              <a:gd name="connsiteY3145" fmla="*/ 856385 h 6750795"/>
              <a:gd name="connsiteX3146" fmla="*/ 2657230 w 6630249"/>
              <a:gd name="connsiteY3146" fmla="*/ 849011 h 6750795"/>
              <a:gd name="connsiteX3147" fmla="*/ 2672619 w 6630249"/>
              <a:gd name="connsiteY3147" fmla="*/ 859270 h 6750795"/>
              <a:gd name="connsiteX3148" fmla="*/ 2657230 w 6630249"/>
              <a:gd name="connsiteY3148" fmla="*/ 849011 h 6750795"/>
              <a:gd name="connsiteX3149" fmla="*/ 2646970 w 6630249"/>
              <a:gd name="connsiteY3149" fmla="*/ 846446 h 6750795"/>
              <a:gd name="connsiteX3150" fmla="*/ 2652100 w 6630249"/>
              <a:gd name="connsiteY3150" fmla="*/ 859271 h 6750795"/>
              <a:gd name="connsiteX3151" fmla="*/ 2641841 w 6630249"/>
              <a:gd name="connsiteY3151" fmla="*/ 856706 h 6750795"/>
              <a:gd name="connsiteX3152" fmla="*/ 2646970 w 6630249"/>
              <a:gd name="connsiteY3152" fmla="*/ 846446 h 6750795"/>
              <a:gd name="connsiteX3153" fmla="*/ 2659796 w 6630249"/>
              <a:gd name="connsiteY3153" fmla="*/ 836187 h 6750795"/>
              <a:gd name="connsiteX3154" fmla="*/ 2667490 w 6630249"/>
              <a:gd name="connsiteY3154" fmla="*/ 846446 h 6750795"/>
              <a:gd name="connsiteX3155" fmla="*/ 2657231 w 6630249"/>
              <a:gd name="connsiteY3155" fmla="*/ 846446 h 6750795"/>
              <a:gd name="connsiteX3156" fmla="*/ 2659796 w 6630249"/>
              <a:gd name="connsiteY3156" fmla="*/ 836187 h 6750795"/>
              <a:gd name="connsiteX3157" fmla="*/ 3075661 w 6630249"/>
              <a:gd name="connsiteY3157" fmla="*/ 832780 h 6750795"/>
              <a:gd name="connsiteX3158" fmla="*/ 3077873 w 6630249"/>
              <a:gd name="connsiteY3158" fmla="*/ 841284 h 6750795"/>
              <a:gd name="connsiteX3159" fmla="*/ 3079035 w 6630249"/>
              <a:gd name="connsiteY3159" fmla="*/ 858709 h 6750795"/>
              <a:gd name="connsiteX3160" fmla="*/ 4555251 w 6630249"/>
              <a:gd name="connsiteY3160" fmla="*/ 825925 h 6750795"/>
              <a:gd name="connsiteX3161" fmla="*/ 4560381 w 6630249"/>
              <a:gd name="connsiteY3161" fmla="*/ 838749 h 6750795"/>
              <a:gd name="connsiteX3162" fmla="*/ 4555251 w 6630249"/>
              <a:gd name="connsiteY3162" fmla="*/ 825925 h 6750795"/>
              <a:gd name="connsiteX3163" fmla="*/ 4414182 w 6630249"/>
              <a:gd name="connsiteY3163" fmla="*/ 825925 h 6750795"/>
              <a:gd name="connsiteX3164" fmla="*/ 4419311 w 6630249"/>
              <a:gd name="connsiteY3164" fmla="*/ 838749 h 6750795"/>
              <a:gd name="connsiteX3165" fmla="*/ 4414182 w 6630249"/>
              <a:gd name="connsiteY3165" fmla="*/ 825925 h 6750795"/>
              <a:gd name="connsiteX3166" fmla="*/ 2613627 w 6630249"/>
              <a:gd name="connsiteY3166" fmla="*/ 823362 h 6750795"/>
              <a:gd name="connsiteX3167" fmla="*/ 2611062 w 6630249"/>
              <a:gd name="connsiteY3167" fmla="*/ 843881 h 6750795"/>
              <a:gd name="connsiteX3168" fmla="*/ 2613627 w 6630249"/>
              <a:gd name="connsiteY3168" fmla="*/ 823362 h 6750795"/>
              <a:gd name="connsiteX3169" fmla="*/ 5570949 w 6630249"/>
              <a:gd name="connsiteY3169" fmla="*/ 823360 h 6750795"/>
              <a:gd name="connsiteX3170" fmla="*/ 5558125 w 6630249"/>
              <a:gd name="connsiteY3170" fmla="*/ 843879 h 6750795"/>
              <a:gd name="connsiteX3171" fmla="*/ 5570949 w 6630249"/>
              <a:gd name="connsiteY3171" fmla="*/ 823360 h 6750795"/>
              <a:gd name="connsiteX3172" fmla="*/ 6548173 w 6630249"/>
              <a:gd name="connsiteY3172" fmla="*/ 820795 h 6750795"/>
              <a:gd name="connsiteX3173" fmla="*/ 6553302 w 6630249"/>
              <a:gd name="connsiteY3173" fmla="*/ 820795 h 6750795"/>
              <a:gd name="connsiteX3174" fmla="*/ 6553302 w 6630249"/>
              <a:gd name="connsiteY3174" fmla="*/ 825926 h 6750795"/>
              <a:gd name="connsiteX3175" fmla="*/ 6548173 w 6630249"/>
              <a:gd name="connsiteY3175" fmla="*/ 825926 h 6750795"/>
              <a:gd name="connsiteX3176" fmla="*/ 6548173 w 6630249"/>
              <a:gd name="connsiteY3176" fmla="*/ 820795 h 6750795"/>
              <a:gd name="connsiteX3177" fmla="*/ 4473254 w 6630249"/>
              <a:gd name="connsiteY3177" fmla="*/ 815691 h 6750795"/>
              <a:gd name="connsiteX3178" fmla="*/ 4478304 w 6630249"/>
              <a:gd name="connsiteY3178" fmla="*/ 818216 h 6750795"/>
              <a:gd name="connsiteX3179" fmla="*/ 4473254 w 6630249"/>
              <a:gd name="connsiteY3179" fmla="*/ 815691 h 6750795"/>
              <a:gd name="connsiteX3180" fmla="*/ 4482633 w 6630249"/>
              <a:gd name="connsiteY3180" fmla="*/ 805085 h 6750795"/>
              <a:gd name="connsiteX3181" fmla="*/ 4478305 w 6630249"/>
              <a:gd name="connsiteY3181" fmla="*/ 807971 h 6750795"/>
              <a:gd name="connsiteX3182" fmla="*/ 4482633 w 6630249"/>
              <a:gd name="connsiteY3182" fmla="*/ 805085 h 6750795"/>
              <a:gd name="connsiteX3183" fmla="*/ 4398632 w 6630249"/>
              <a:gd name="connsiteY3183" fmla="*/ 799915 h 6750795"/>
              <a:gd name="connsiteX3184" fmla="*/ 4411617 w 6630249"/>
              <a:gd name="connsiteY3184" fmla="*/ 823360 h 6750795"/>
              <a:gd name="connsiteX3185" fmla="*/ 4393663 w 6630249"/>
              <a:gd name="connsiteY3185" fmla="*/ 800275 h 6750795"/>
              <a:gd name="connsiteX3186" fmla="*/ 4398632 w 6630249"/>
              <a:gd name="connsiteY3186" fmla="*/ 799915 h 6750795"/>
              <a:gd name="connsiteX3187" fmla="*/ 2621322 w 6630249"/>
              <a:gd name="connsiteY3187" fmla="*/ 797713 h 6750795"/>
              <a:gd name="connsiteX3188" fmla="*/ 2621322 w 6630249"/>
              <a:gd name="connsiteY3188" fmla="*/ 810537 h 6750795"/>
              <a:gd name="connsiteX3189" fmla="*/ 2652100 w 6630249"/>
              <a:gd name="connsiteY3189" fmla="*/ 823362 h 6750795"/>
              <a:gd name="connsiteX3190" fmla="*/ 2634147 w 6630249"/>
              <a:gd name="connsiteY3190" fmla="*/ 843881 h 6750795"/>
              <a:gd name="connsiteX3191" fmla="*/ 2629016 w 6630249"/>
              <a:gd name="connsiteY3191" fmla="*/ 836186 h 6750795"/>
              <a:gd name="connsiteX3192" fmla="*/ 2634147 w 6630249"/>
              <a:gd name="connsiteY3192" fmla="*/ 825927 h 6750795"/>
              <a:gd name="connsiteX3193" fmla="*/ 2626452 w 6630249"/>
              <a:gd name="connsiteY3193" fmla="*/ 831057 h 6750795"/>
              <a:gd name="connsiteX3194" fmla="*/ 2616192 w 6630249"/>
              <a:gd name="connsiteY3194" fmla="*/ 818232 h 6750795"/>
              <a:gd name="connsiteX3195" fmla="*/ 2621322 w 6630249"/>
              <a:gd name="connsiteY3195" fmla="*/ 797713 h 6750795"/>
              <a:gd name="connsiteX3196" fmla="*/ 5599163 w 6630249"/>
              <a:gd name="connsiteY3196" fmla="*/ 792582 h 6750795"/>
              <a:gd name="connsiteX3197" fmla="*/ 5601728 w 6630249"/>
              <a:gd name="connsiteY3197" fmla="*/ 805406 h 6750795"/>
              <a:gd name="connsiteX3198" fmla="*/ 5583773 w 6630249"/>
              <a:gd name="connsiteY3198" fmla="*/ 820796 h 6750795"/>
              <a:gd name="connsiteX3199" fmla="*/ 5599163 w 6630249"/>
              <a:gd name="connsiteY3199" fmla="*/ 792582 h 6750795"/>
              <a:gd name="connsiteX3200" fmla="*/ 2531550 w 6630249"/>
              <a:gd name="connsiteY3200" fmla="*/ 790017 h 6750795"/>
              <a:gd name="connsiteX3201" fmla="*/ 2534115 w 6630249"/>
              <a:gd name="connsiteY3201" fmla="*/ 802842 h 6750795"/>
              <a:gd name="connsiteX3202" fmla="*/ 2523855 w 6630249"/>
              <a:gd name="connsiteY3202" fmla="*/ 810537 h 6750795"/>
              <a:gd name="connsiteX3203" fmla="*/ 2531550 w 6630249"/>
              <a:gd name="connsiteY3203" fmla="*/ 790017 h 6750795"/>
              <a:gd name="connsiteX3204" fmla="*/ 2372528 w 6630249"/>
              <a:gd name="connsiteY3204" fmla="*/ 764371 h 6750795"/>
              <a:gd name="connsiteX3205" fmla="*/ 2375092 w 6630249"/>
              <a:gd name="connsiteY3205" fmla="*/ 772065 h 6750795"/>
              <a:gd name="connsiteX3206" fmla="*/ 2369964 w 6630249"/>
              <a:gd name="connsiteY3206" fmla="*/ 766936 h 6750795"/>
              <a:gd name="connsiteX3207" fmla="*/ 2372528 w 6630249"/>
              <a:gd name="connsiteY3207" fmla="*/ 764371 h 6750795"/>
              <a:gd name="connsiteX3208" fmla="*/ 4929726 w 6630249"/>
              <a:gd name="connsiteY3208" fmla="*/ 756673 h 6750795"/>
              <a:gd name="connsiteX3209" fmla="*/ 4932290 w 6630249"/>
              <a:gd name="connsiteY3209" fmla="*/ 769497 h 6750795"/>
              <a:gd name="connsiteX3210" fmla="*/ 4929726 w 6630249"/>
              <a:gd name="connsiteY3210" fmla="*/ 756673 h 6750795"/>
              <a:gd name="connsiteX3211" fmla="*/ 4360319 w 6630249"/>
              <a:gd name="connsiteY3211" fmla="*/ 751528 h 6750795"/>
              <a:gd name="connsiteX3212" fmla="*/ 4388533 w 6630249"/>
              <a:gd name="connsiteY3212" fmla="*/ 795133 h 6750795"/>
              <a:gd name="connsiteX3213" fmla="*/ 4360319 w 6630249"/>
              <a:gd name="connsiteY3213" fmla="*/ 751528 h 6750795"/>
              <a:gd name="connsiteX3214" fmla="*/ 2762391 w 6630249"/>
              <a:gd name="connsiteY3214" fmla="*/ 741254 h 6750795"/>
              <a:gd name="connsiteX3215" fmla="*/ 2795734 w 6630249"/>
              <a:gd name="connsiteY3215" fmla="*/ 900276 h 6750795"/>
              <a:gd name="connsiteX3216" fmla="*/ 2777780 w 6630249"/>
              <a:gd name="connsiteY3216" fmla="*/ 795117 h 6750795"/>
              <a:gd name="connsiteX3217" fmla="*/ 2762391 w 6630249"/>
              <a:gd name="connsiteY3217" fmla="*/ 741254 h 6750795"/>
              <a:gd name="connsiteX3218" fmla="*/ 5447834 w 6630249"/>
              <a:gd name="connsiteY3218" fmla="*/ 731025 h 6750795"/>
              <a:gd name="connsiteX3219" fmla="*/ 5452964 w 6630249"/>
              <a:gd name="connsiteY3219" fmla="*/ 751544 h 6750795"/>
              <a:gd name="connsiteX3220" fmla="*/ 5435010 w 6630249"/>
              <a:gd name="connsiteY3220" fmla="*/ 759238 h 6750795"/>
              <a:gd name="connsiteX3221" fmla="*/ 5447834 w 6630249"/>
              <a:gd name="connsiteY3221" fmla="*/ 731025 h 6750795"/>
              <a:gd name="connsiteX3222" fmla="*/ 4378274 w 6630249"/>
              <a:gd name="connsiteY3222" fmla="*/ 731010 h 6750795"/>
              <a:gd name="connsiteX3223" fmla="*/ 4414182 w 6630249"/>
              <a:gd name="connsiteY3223" fmla="*/ 795133 h 6750795"/>
              <a:gd name="connsiteX3224" fmla="*/ 4378274 w 6630249"/>
              <a:gd name="connsiteY3224" fmla="*/ 731010 h 6750795"/>
              <a:gd name="connsiteX3225" fmla="*/ 5150307 w 6630249"/>
              <a:gd name="connsiteY3225" fmla="*/ 728460 h 6750795"/>
              <a:gd name="connsiteX3226" fmla="*/ 5155436 w 6630249"/>
              <a:gd name="connsiteY3226" fmla="*/ 746414 h 6750795"/>
              <a:gd name="connsiteX3227" fmla="*/ 5150307 w 6630249"/>
              <a:gd name="connsiteY3227" fmla="*/ 728460 h 6750795"/>
              <a:gd name="connsiteX3228" fmla="*/ 5519650 w 6630249"/>
              <a:gd name="connsiteY3228" fmla="*/ 723330 h 6750795"/>
              <a:gd name="connsiteX3229" fmla="*/ 5565818 w 6630249"/>
              <a:gd name="connsiteY3229" fmla="*/ 820796 h 6750795"/>
              <a:gd name="connsiteX3230" fmla="*/ 5519650 w 6630249"/>
              <a:gd name="connsiteY3230" fmla="*/ 723330 h 6750795"/>
              <a:gd name="connsiteX3231" fmla="*/ 4406488 w 6630249"/>
              <a:gd name="connsiteY3231" fmla="*/ 702792 h 6750795"/>
              <a:gd name="connsiteX3232" fmla="*/ 4455221 w 6630249"/>
              <a:gd name="connsiteY3232" fmla="*/ 754090 h 6750795"/>
              <a:gd name="connsiteX3233" fmla="*/ 4447526 w 6630249"/>
              <a:gd name="connsiteY3233" fmla="*/ 725876 h 6750795"/>
              <a:gd name="connsiteX3234" fmla="*/ 4491129 w 6630249"/>
              <a:gd name="connsiteY3234" fmla="*/ 766914 h 6750795"/>
              <a:gd name="connsiteX3235" fmla="*/ 4485999 w 6630249"/>
              <a:gd name="connsiteY3235" fmla="*/ 784868 h 6750795"/>
              <a:gd name="connsiteX3236" fmla="*/ 4493694 w 6630249"/>
              <a:gd name="connsiteY3236" fmla="*/ 792563 h 6750795"/>
              <a:gd name="connsiteX3237" fmla="*/ 4485679 w 6630249"/>
              <a:gd name="connsiteY3237" fmla="*/ 791280 h 6750795"/>
              <a:gd name="connsiteX3238" fmla="*/ 4477656 w 6630249"/>
              <a:gd name="connsiteY3238" fmla="*/ 790245 h 6750795"/>
              <a:gd name="connsiteX3239" fmla="*/ 4475341 w 6630249"/>
              <a:gd name="connsiteY3239" fmla="*/ 787467 h 6750795"/>
              <a:gd name="connsiteX3240" fmla="*/ 4473816 w 6630249"/>
              <a:gd name="connsiteY3240" fmla="*/ 777815 h 6750795"/>
              <a:gd name="connsiteX3241" fmla="*/ 4468045 w 6630249"/>
              <a:gd name="connsiteY3241" fmla="*/ 769479 h 6750795"/>
              <a:gd name="connsiteX3242" fmla="*/ 4473175 w 6630249"/>
              <a:gd name="connsiteY3242" fmla="*/ 784868 h 6750795"/>
              <a:gd name="connsiteX3243" fmla="*/ 4475341 w 6630249"/>
              <a:gd name="connsiteY3243" fmla="*/ 787467 h 6750795"/>
              <a:gd name="connsiteX3244" fmla="*/ 4475740 w 6630249"/>
              <a:gd name="connsiteY3244" fmla="*/ 789998 h 6750795"/>
              <a:gd name="connsiteX3245" fmla="*/ 4477656 w 6630249"/>
              <a:gd name="connsiteY3245" fmla="*/ 790245 h 6750795"/>
              <a:gd name="connsiteX3246" fmla="*/ 4485999 w 6630249"/>
              <a:gd name="connsiteY3246" fmla="*/ 800258 h 6750795"/>
              <a:gd name="connsiteX3247" fmla="*/ 4462915 w 6630249"/>
              <a:gd name="connsiteY3247" fmla="*/ 787433 h 6750795"/>
              <a:gd name="connsiteX3248" fmla="*/ 4465480 w 6630249"/>
              <a:gd name="connsiteY3248" fmla="*/ 831036 h 6750795"/>
              <a:gd name="connsiteX3249" fmla="*/ 4439831 w 6630249"/>
              <a:gd name="connsiteY3249" fmla="*/ 792563 h 6750795"/>
              <a:gd name="connsiteX3250" fmla="*/ 4432137 w 6630249"/>
              <a:gd name="connsiteY3250" fmla="*/ 764349 h 6750795"/>
              <a:gd name="connsiteX3251" fmla="*/ 4432137 w 6630249"/>
              <a:gd name="connsiteY3251" fmla="*/ 805387 h 6750795"/>
              <a:gd name="connsiteX3252" fmla="*/ 4380838 w 6630249"/>
              <a:gd name="connsiteY3252" fmla="*/ 713051 h 6750795"/>
              <a:gd name="connsiteX3253" fmla="*/ 4401358 w 6630249"/>
              <a:gd name="connsiteY3253" fmla="*/ 731006 h 6750795"/>
              <a:gd name="connsiteX3254" fmla="*/ 4393662 w 6630249"/>
              <a:gd name="connsiteY3254" fmla="*/ 718181 h 6750795"/>
              <a:gd name="connsiteX3255" fmla="*/ 4406488 w 6630249"/>
              <a:gd name="connsiteY3255" fmla="*/ 702792 h 6750795"/>
              <a:gd name="connsiteX3256" fmla="*/ 3016315 w 6630249"/>
              <a:gd name="connsiteY3256" fmla="*/ 656612 h 6750795"/>
              <a:gd name="connsiteX3257" fmla="*/ 3052865 w 6630249"/>
              <a:gd name="connsiteY3257" fmla="*/ 745101 h 6750795"/>
              <a:gd name="connsiteX3258" fmla="*/ 3071411 w 6630249"/>
              <a:gd name="connsiteY3258" fmla="*/ 816435 h 6750795"/>
              <a:gd name="connsiteX3259" fmla="*/ 3072743 w 6630249"/>
              <a:gd name="connsiteY3259" fmla="*/ 825894 h 6750795"/>
              <a:gd name="connsiteX3260" fmla="*/ 3046132 w 6630249"/>
              <a:gd name="connsiteY3260" fmla="*/ 737406 h 6750795"/>
              <a:gd name="connsiteX3261" fmla="*/ 3019398 w 6630249"/>
              <a:gd name="connsiteY3261" fmla="*/ 670701 h 6750795"/>
              <a:gd name="connsiteX3262" fmla="*/ 2884224 w 6630249"/>
              <a:gd name="connsiteY3262" fmla="*/ 644463 h 6750795"/>
              <a:gd name="connsiteX3263" fmla="*/ 2888071 w 6630249"/>
              <a:gd name="connsiteY3263" fmla="*/ 646387 h 6750795"/>
              <a:gd name="connsiteX3264" fmla="*/ 2877812 w 6630249"/>
              <a:gd name="connsiteY3264" fmla="*/ 656646 h 6750795"/>
              <a:gd name="connsiteX3265" fmla="*/ 2880376 w 6630249"/>
              <a:gd name="connsiteY3265" fmla="*/ 646387 h 6750795"/>
              <a:gd name="connsiteX3266" fmla="*/ 2884224 w 6630249"/>
              <a:gd name="connsiteY3266" fmla="*/ 644463 h 6750795"/>
              <a:gd name="connsiteX3267" fmla="*/ 2754696 w 6630249"/>
              <a:gd name="connsiteY3267" fmla="*/ 628398 h 6750795"/>
              <a:gd name="connsiteX3268" fmla="*/ 2831643 w 6630249"/>
              <a:gd name="connsiteY3268" fmla="*/ 774597 h 6750795"/>
              <a:gd name="connsiteX3269" fmla="*/ 2916284 w 6630249"/>
              <a:gd name="connsiteY3269" fmla="*/ 1097773 h 6750795"/>
              <a:gd name="connsiteX3270" fmla="*/ 2913207 w 6630249"/>
              <a:gd name="connsiteY3270" fmla="*/ 1095209 h 6750795"/>
              <a:gd name="connsiteX3271" fmla="*/ 2881018 w 6630249"/>
              <a:gd name="connsiteY3271" fmla="*/ 934261 h 6750795"/>
              <a:gd name="connsiteX3272" fmla="*/ 2826513 w 6630249"/>
              <a:gd name="connsiteY3272" fmla="*/ 777161 h 6750795"/>
              <a:gd name="connsiteX3273" fmla="*/ 2788681 w 6630249"/>
              <a:gd name="connsiteY3273" fmla="*/ 700215 h 6750795"/>
              <a:gd name="connsiteX3274" fmla="*/ 2755847 w 6630249"/>
              <a:gd name="connsiteY3274" fmla="*/ 645660 h 6750795"/>
              <a:gd name="connsiteX3275" fmla="*/ 3003492 w 6630249"/>
              <a:gd name="connsiteY3275" fmla="*/ 623269 h 6750795"/>
              <a:gd name="connsiteX3276" fmla="*/ 3006055 w 6630249"/>
              <a:gd name="connsiteY3276" fmla="*/ 710475 h 6750795"/>
              <a:gd name="connsiteX3277" fmla="*/ 2988101 w 6630249"/>
              <a:gd name="connsiteY3277" fmla="*/ 841284 h 6750795"/>
              <a:gd name="connsiteX3278" fmla="*/ 2985536 w 6630249"/>
              <a:gd name="connsiteY3278" fmla="*/ 964399 h 6750795"/>
              <a:gd name="connsiteX3279" fmla="*/ 3031704 w 6630249"/>
              <a:gd name="connsiteY3279" fmla="*/ 1174721 h 6750795"/>
              <a:gd name="connsiteX3280" fmla="*/ 3031704 w 6630249"/>
              <a:gd name="connsiteY3280" fmla="*/ 1184980 h 6750795"/>
              <a:gd name="connsiteX3281" fmla="*/ 3059918 w 6630249"/>
              <a:gd name="connsiteY3281" fmla="*/ 1210629 h 6750795"/>
              <a:gd name="connsiteX3282" fmla="*/ 3067614 w 6630249"/>
              <a:gd name="connsiteY3282" fmla="*/ 1179850 h 6750795"/>
              <a:gd name="connsiteX3283" fmla="*/ 3080437 w 6630249"/>
              <a:gd name="connsiteY3283" fmla="*/ 918230 h 6750795"/>
              <a:gd name="connsiteX3284" fmla="*/ 3026575 w 6630249"/>
              <a:gd name="connsiteY3284" fmla="*/ 746384 h 6750795"/>
              <a:gd name="connsiteX3285" fmla="*/ 3006055 w 6630249"/>
              <a:gd name="connsiteY3285" fmla="*/ 628398 h 6750795"/>
              <a:gd name="connsiteX3286" fmla="*/ 3003492 w 6630249"/>
              <a:gd name="connsiteY3286" fmla="*/ 623269 h 6750795"/>
              <a:gd name="connsiteX3287" fmla="*/ 2900895 w 6630249"/>
              <a:gd name="connsiteY3287" fmla="*/ 618172 h 6750795"/>
              <a:gd name="connsiteX3288" fmla="*/ 2895766 w 6630249"/>
              <a:gd name="connsiteY3288" fmla="*/ 636127 h 6750795"/>
              <a:gd name="connsiteX3289" fmla="*/ 2900895 w 6630249"/>
              <a:gd name="connsiteY3289" fmla="*/ 618172 h 6750795"/>
              <a:gd name="connsiteX3290" fmla="*/ 2747105 w 6630249"/>
              <a:gd name="connsiteY3290" fmla="*/ 616528 h 6750795"/>
              <a:gd name="connsiteX3291" fmla="*/ 2752131 w 6630249"/>
              <a:gd name="connsiteY3291" fmla="*/ 623269 h 6750795"/>
              <a:gd name="connsiteX3292" fmla="*/ 2752724 w 6630249"/>
              <a:gd name="connsiteY3292" fmla="*/ 640472 h 6750795"/>
              <a:gd name="connsiteX3293" fmla="*/ 2747001 w 6630249"/>
              <a:gd name="connsiteY3293" fmla="*/ 630963 h 6750795"/>
              <a:gd name="connsiteX3294" fmla="*/ 2747001 w 6630249"/>
              <a:gd name="connsiteY3294" fmla="*/ 628398 h 6750795"/>
              <a:gd name="connsiteX3295" fmla="*/ 2913719 w 6630249"/>
              <a:gd name="connsiteY3295" fmla="*/ 589959 h 6750795"/>
              <a:gd name="connsiteX3296" fmla="*/ 2906025 w 6630249"/>
              <a:gd name="connsiteY3296" fmla="*/ 613043 h 6750795"/>
              <a:gd name="connsiteX3297" fmla="*/ 2913719 w 6630249"/>
              <a:gd name="connsiteY3297" fmla="*/ 589959 h 6750795"/>
              <a:gd name="connsiteX3298" fmla="*/ 3769754 w 6630249"/>
              <a:gd name="connsiteY3298" fmla="*/ 576174 h 6750795"/>
              <a:gd name="connsiteX3299" fmla="*/ 3772959 w 6630249"/>
              <a:gd name="connsiteY3299" fmla="*/ 582266 h 6750795"/>
              <a:gd name="connsiteX3300" fmla="*/ 3762700 w 6630249"/>
              <a:gd name="connsiteY3300" fmla="*/ 579701 h 6750795"/>
              <a:gd name="connsiteX3301" fmla="*/ 3769754 w 6630249"/>
              <a:gd name="connsiteY3301" fmla="*/ 576174 h 6750795"/>
              <a:gd name="connsiteX3302" fmla="*/ 3752439 w 6630249"/>
              <a:gd name="connsiteY3302" fmla="*/ 569440 h 6750795"/>
              <a:gd name="connsiteX3303" fmla="*/ 3770394 w 6630249"/>
              <a:gd name="connsiteY3303" fmla="*/ 584829 h 6750795"/>
              <a:gd name="connsiteX3304" fmla="*/ 3752439 w 6630249"/>
              <a:gd name="connsiteY3304" fmla="*/ 582264 h 6750795"/>
              <a:gd name="connsiteX3305" fmla="*/ 3752439 w 6630249"/>
              <a:gd name="connsiteY3305" fmla="*/ 579699 h 6750795"/>
              <a:gd name="connsiteX3306" fmla="*/ 3747310 w 6630249"/>
              <a:gd name="connsiteY3306" fmla="*/ 574570 h 6750795"/>
              <a:gd name="connsiteX3307" fmla="*/ 3752439 w 6630249"/>
              <a:gd name="connsiteY3307" fmla="*/ 569440 h 6750795"/>
              <a:gd name="connsiteX3308" fmla="*/ 3024010 w 6630249"/>
              <a:gd name="connsiteY3308" fmla="*/ 569406 h 6750795"/>
              <a:gd name="connsiteX3309" fmla="*/ 3059918 w 6630249"/>
              <a:gd name="connsiteY3309" fmla="*/ 711757 h 6750795"/>
              <a:gd name="connsiteX3310" fmla="*/ 3075661 w 6630249"/>
              <a:gd name="connsiteY3310" fmla="*/ 832780 h 6750795"/>
              <a:gd name="connsiteX3311" fmla="*/ 3071411 w 6630249"/>
              <a:gd name="connsiteY3311" fmla="*/ 816435 h 6750795"/>
              <a:gd name="connsiteX3312" fmla="*/ 3054147 w 6630249"/>
              <a:gd name="connsiteY3312" fmla="*/ 693803 h 6750795"/>
              <a:gd name="connsiteX3313" fmla="*/ 3024010 w 6630249"/>
              <a:gd name="connsiteY3313" fmla="*/ 569406 h 6750795"/>
              <a:gd name="connsiteX3314" fmla="*/ 2941933 w 6630249"/>
              <a:gd name="connsiteY3314" fmla="*/ 541226 h 6750795"/>
              <a:gd name="connsiteX3315" fmla="*/ 2923979 w 6630249"/>
              <a:gd name="connsiteY3315" fmla="*/ 592525 h 6750795"/>
              <a:gd name="connsiteX3316" fmla="*/ 2929109 w 6630249"/>
              <a:gd name="connsiteY3316" fmla="*/ 543791 h 6750795"/>
              <a:gd name="connsiteX3317" fmla="*/ 2941933 w 6630249"/>
              <a:gd name="connsiteY3317" fmla="*/ 541226 h 6750795"/>
              <a:gd name="connsiteX3318" fmla="*/ 3721661 w 6630249"/>
              <a:gd name="connsiteY3318" fmla="*/ 538663 h 6750795"/>
              <a:gd name="connsiteX3319" fmla="*/ 3726790 w 6630249"/>
              <a:gd name="connsiteY3319" fmla="*/ 538663 h 6750795"/>
              <a:gd name="connsiteX3320" fmla="*/ 3719096 w 6630249"/>
              <a:gd name="connsiteY3320" fmla="*/ 543792 h 6750795"/>
              <a:gd name="connsiteX3321" fmla="*/ 3721661 w 6630249"/>
              <a:gd name="connsiteY3321" fmla="*/ 538663 h 6750795"/>
              <a:gd name="connsiteX3322" fmla="*/ 2667490 w 6630249"/>
              <a:gd name="connsiteY3322" fmla="*/ 520673 h 6750795"/>
              <a:gd name="connsiteX3323" fmla="*/ 2711734 w 6630249"/>
              <a:gd name="connsiteY3323" fmla="*/ 569085 h 6750795"/>
              <a:gd name="connsiteX3324" fmla="*/ 2747001 w 6630249"/>
              <a:gd name="connsiteY3324" fmla="*/ 616388 h 6750795"/>
              <a:gd name="connsiteX3325" fmla="*/ 2747001 w 6630249"/>
              <a:gd name="connsiteY3325" fmla="*/ 628398 h 6750795"/>
              <a:gd name="connsiteX3326" fmla="*/ 2706604 w 6630249"/>
              <a:gd name="connsiteY3326" fmla="*/ 574535 h 6750795"/>
              <a:gd name="connsiteX3327" fmla="*/ 2685069 w 6630249"/>
              <a:gd name="connsiteY3327" fmla="*/ 552064 h 6750795"/>
              <a:gd name="connsiteX3328" fmla="*/ 3821692 w 6630249"/>
              <a:gd name="connsiteY3328" fmla="*/ 513014 h 6750795"/>
              <a:gd name="connsiteX3329" fmla="*/ 3824257 w 6630249"/>
              <a:gd name="connsiteY3329" fmla="*/ 533533 h 6750795"/>
              <a:gd name="connsiteX3330" fmla="*/ 3821692 w 6630249"/>
              <a:gd name="connsiteY3330" fmla="*/ 513014 h 6750795"/>
              <a:gd name="connsiteX3331" fmla="*/ 3821692 w 6630249"/>
              <a:gd name="connsiteY3331" fmla="*/ 438632 h 6750795"/>
              <a:gd name="connsiteX3332" fmla="*/ 3821692 w 6630249"/>
              <a:gd name="connsiteY3332" fmla="*/ 497625 h 6750795"/>
              <a:gd name="connsiteX3333" fmla="*/ 3821692 w 6630249"/>
              <a:gd name="connsiteY3333" fmla="*/ 438632 h 6750795"/>
              <a:gd name="connsiteX3334" fmla="*/ 2754696 w 6630249"/>
              <a:gd name="connsiteY3334" fmla="*/ 407818 h 6750795"/>
              <a:gd name="connsiteX3335" fmla="*/ 2747964 w 6630249"/>
              <a:gd name="connsiteY3335" fmla="*/ 519070 h 6750795"/>
              <a:gd name="connsiteX3336" fmla="*/ 2747105 w 6630249"/>
              <a:gd name="connsiteY3336" fmla="*/ 616528 h 6750795"/>
              <a:gd name="connsiteX3337" fmla="*/ 2747001 w 6630249"/>
              <a:gd name="connsiteY3337" fmla="*/ 616388 h 6750795"/>
              <a:gd name="connsiteX3338" fmla="*/ 2747001 w 6630249"/>
              <a:gd name="connsiteY3338" fmla="*/ 520352 h 6750795"/>
              <a:gd name="connsiteX3339" fmla="*/ 2754696 w 6630249"/>
              <a:gd name="connsiteY3339" fmla="*/ 407818 h 6750795"/>
              <a:gd name="connsiteX3340" fmla="*/ 3821691 w 6630249"/>
              <a:gd name="connsiteY3340" fmla="*/ 395029 h 6750795"/>
              <a:gd name="connsiteX3341" fmla="*/ 3826821 w 6630249"/>
              <a:gd name="connsiteY3341" fmla="*/ 402724 h 6750795"/>
              <a:gd name="connsiteX3342" fmla="*/ 3819127 w 6630249"/>
              <a:gd name="connsiteY3342" fmla="*/ 402724 h 6750795"/>
              <a:gd name="connsiteX3343" fmla="*/ 3821691 w 6630249"/>
              <a:gd name="connsiteY3343" fmla="*/ 395029 h 6750795"/>
              <a:gd name="connsiteX3344" fmla="*/ 2729048 w 6630249"/>
              <a:gd name="connsiteY3344" fmla="*/ 389900 h 6750795"/>
              <a:gd name="connsiteX3345" fmla="*/ 2736742 w 6630249"/>
              <a:gd name="connsiteY3345" fmla="*/ 407854 h 6750795"/>
              <a:gd name="connsiteX3346" fmla="*/ 2729048 w 6630249"/>
              <a:gd name="connsiteY3346" fmla="*/ 407854 h 6750795"/>
              <a:gd name="connsiteX3347" fmla="*/ 2731612 w 6630249"/>
              <a:gd name="connsiteY3347" fmla="*/ 402724 h 6750795"/>
              <a:gd name="connsiteX3348" fmla="*/ 2729048 w 6630249"/>
              <a:gd name="connsiteY3348" fmla="*/ 389900 h 6750795"/>
              <a:gd name="connsiteX3349" fmla="*/ 2729048 w 6630249"/>
              <a:gd name="connsiteY3349" fmla="*/ 359122 h 6750795"/>
              <a:gd name="connsiteX3350" fmla="*/ 2736742 w 6630249"/>
              <a:gd name="connsiteY3350" fmla="*/ 364251 h 6750795"/>
              <a:gd name="connsiteX3351" fmla="*/ 2734177 w 6630249"/>
              <a:gd name="connsiteY3351" fmla="*/ 366816 h 6750795"/>
              <a:gd name="connsiteX3352" fmla="*/ 2729048 w 6630249"/>
              <a:gd name="connsiteY3352" fmla="*/ 366816 h 6750795"/>
              <a:gd name="connsiteX3353" fmla="*/ 2729048 w 6630249"/>
              <a:gd name="connsiteY3353" fmla="*/ 359122 h 6750795"/>
              <a:gd name="connsiteX3354" fmla="*/ 2839337 w 6630249"/>
              <a:gd name="connsiteY3354" fmla="*/ 0 h 6750795"/>
              <a:gd name="connsiteX3355" fmla="*/ 2941933 w 6630249"/>
              <a:gd name="connsiteY3355" fmla="*/ 205191 h 6750795"/>
              <a:gd name="connsiteX3356" fmla="*/ 2995796 w 6630249"/>
              <a:gd name="connsiteY3356" fmla="*/ 469375 h 6750795"/>
              <a:gd name="connsiteX3357" fmla="*/ 3013751 w 6630249"/>
              <a:gd name="connsiteY3357" fmla="*/ 656612 h 6750795"/>
              <a:gd name="connsiteX3358" fmla="*/ 3019398 w 6630249"/>
              <a:gd name="connsiteY3358" fmla="*/ 670701 h 6750795"/>
              <a:gd name="connsiteX3359" fmla="*/ 3034269 w 6630249"/>
              <a:gd name="connsiteY3359" fmla="*/ 738689 h 6750795"/>
              <a:gd name="connsiteX3360" fmla="*/ 3080437 w 6630249"/>
              <a:gd name="connsiteY3360" fmla="*/ 879757 h 6750795"/>
              <a:gd name="connsiteX3361" fmla="*/ 3079035 w 6630249"/>
              <a:gd name="connsiteY3361" fmla="*/ 858709 h 6750795"/>
              <a:gd name="connsiteX3362" fmla="*/ 3080437 w 6630249"/>
              <a:gd name="connsiteY3362" fmla="*/ 869497 h 6750795"/>
              <a:gd name="connsiteX3363" fmla="*/ 3083002 w 6630249"/>
              <a:gd name="connsiteY3363" fmla="*/ 887452 h 6750795"/>
              <a:gd name="connsiteX3364" fmla="*/ 3085567 w 6630249"/>
              <a:gd name="connsiteY3364" fmla="*/ 913101 h 6750795"/>
              <a:gd name="connsiteX3365" fmla="*/ 3111216 w 6630249"/>
              <a:gd name="connsiteY3365" fmla="*/ 977225 h 6750795"/>
              <a:gd name="connsiteX3366" fmla="*/ 3159949 w 6630249"/>
              <a:gd name="connsiteY3366" fmla="*/ 1131117 h 6750795"/>
              <a:gd name="connsiteX3367" fmla="*/ 3177903 w 6630249"/>
              <a:gd name="connsiteY3367" fmla="*/ 1082384 h 6750795"/>
              <a:gd name="connsiteX3368" fmla="*/ 3216378 w 6630249"/>
              <a:gd name="connsiteY3368" fmla="*/ 923360 h 6750795"/>
              <a:gd name="connsiteX3369" fmla="*/ 3070178 w 6630249"/>
              <a:gd name="connsiteY3369" fmla="*/ 641223 h 6750795"/>
              <a:gd name="connsiteX3370" fmla="*/ 3218942 w 6630249"/>
              <a:gd name="connsiteY3370" fmla="*/ 918230 h 6750795"/>
              <a:gd name="connsiteX3371" fmla="*/ 3226637 w 6630249"/>
              <a:gd name="connsiteY3371" fmla="*/ 864368 h 6750795"/>
              <a:gd name="connsiteX3372" fmla="*/ 3206117 w 6630249"/>
              <a:gd name="connsiteY3372" fmla="*/ 443726 h 6750795"/>
              <a:gd name="connsiteX3373" fmla="*/ 3231766 w 6630249"/>
              <a:gd name="connsiteY3373" fmla="*/ 861803 h 6750795"/>
              <a:gd name="connsiteX3374" fmla="*/ 3224071 w 6630249"/>
              <a:gd name="connsiteY3374" fmla="*/ 928490 h 6750795"/>
              <a:gd name="connsiteX3375" fmla="*/ 3226637 w 6630249"/>
              <a:gd name="connsiteY3375" fmla="*/ 936185 h 6750795"/>
              <a:gd name="connsiteX3376" fmla="*/ 3224071 w 6630249"/>
              <a:gd name="connsiteY3376" fmla="*/ 931055 h 6750795"/>
              <a:gd name="connsiteX3377" fmla="*/ 3188163 w 6630249"/>
              <a:gd name="connsiteY3377" fmla="*/ 1082384 h 6750795"/>
              <a:gd name="connsiteX3378" fmla="*/ 3167644 w 6630249"/>
              <a:gd name="connsiteY3378" fmla="*/ 1143942 h 6750795"/>
              <a:gd name="connsiteX3379" fmla="*/ 3172774 w 6630249"/>
              <a:gd name="connsiteY3379" fmla="*/ 1233713 h 6750795"/>
              <a:gd name="connsiteX3380" fmla="*/ 3134300 w 6630249"/>
              <a:gd name="connsiteY3380" fmla="*/ 1500462 h 6750795"/>
              <a:gd name="connsiteX3381" fmla="*/ 3126605 w 6630249"/>
              <a:gd name="connsiteY3381" fmla="*/ 1597929 h 6750795"/>
              <a:gd name="connsiteX3382" fmla="*/ 3170209 w 6630249"/>
              <a:gd name="connsiteY3382" fmla="*/ 1513288 h 6750795"/>
              <a:gd name="connsiteX3383" fmla="*/ 3170209 w 6630249"/>
              <a:gd name="connsiteY3383" fmla="*/ 1500462 h 6750795"/>
              <a:gd name="connsiteX3384" fmla="*/ 3167644 w 6630249"/>
              <a:gd name="connsiteY3384" fmla="*/ 1385042 h 6750795"/>
              <a:gd name="connsiteX3385" fmla="*/ 3183033 w 6630249"/>
              <a:gd name="connsiteY3385" fmla="*/ 1259362 h 6750795"/>
              <a:gd name="connsiteX3386" fmla="*/ 3221506 w 6630249"/>
              <a:gd name="connsiteY3386" fmla="*/ 1141377 h 6750795"/>
              <a:gd name="connsiteX3387" fmla="*/ 3252285 w 6630249"/>
              <a:gd name="connsiteY3387" fmla="*/ 1054171 h 6750795"/>
              <a:gd name="connsiteX3388" fmla="*/ 3244828 w 6630249"/>
              <a:gd name="connsiteY3388" fmla="*/ 1008466 h 6750795"/>
              <a:gd name="connsiteX3389" fmla="*/ 3252285 w 6630249"/>
              <a:gd name="connsiteY3389" fmla="*/ 1049041 h 6750795"/>
              <a:gd name="connsiteX3390" fmla="*/ 3290758 w 6630249"/>
              <a:gd name="connsiteY3390" fmla="*/ 913101 h 6750795"/>
              <a:gd name="connsiteX3391" fmla="*/ 3303583 w 6630249"/>
              <a:gd name="connsiteY3391" fmla="*/ 679696 h 6750795"/>
              <a:gd name="connsiteX3392" fmla="*/ 3190728 w 6630249"/>
              <a:gd name="connsiteY3392" fmla="*/ 305222 h 6750795"/>
              <a:gd name="connsiteX3393" fmla="*/ 3308713 w 6630249"/>
              <a:gd name="connsiteY3393" fmla="*/ 674567 h 6750795"/>
              <a:gd name="connsiteX3394" fmla="*/ 3298453 w 6630249"/>
              <a:gd name="connsiteY3394" fmla="*/ 913101 h 6750795"/>
              <a:gd name="connsiteX3395" fmla="*/ 3254850 w 6630249"/>
              <a:gd name="connsiteY3395" fmla="*/ 1069559 h 6750795"/>
              <a:gd name="connsiteX3396" fmla="*/ 3255827 w 6630249"/>
              <a:gd name="connsiteY3396" fmla="*/ 1081769 h 6750795"/>
              <a:gd name="connsiteX3397" fmla="*/ 3245232 w 6630249"/>
              <a:gd name="connsiteY3397" fmla="*/ 1111881 h 6750795"/>
              <a:gd name="connsiteX3398" fmla="*/ 3229201 w 6630249"/>
              <a:gd name="connsiteY3398" fmla="*/ 1146507 h 6750795"/>
              <a:gd name="connsiteX3399" fmla="*/ 3180468 w 6630249"/>
              <a:gd name="connsiteY3399" fmla="*/ 1377347 h 6750795"/>
              <a:gd name="connsiteX3400" fmla="*/ 3185598 w 6630249"/>
              <a:gd name="connsiteY3400" fmla="*/ 1479943 h 6750795"/>
              <a:gd name="connsiteX3401" fmla="*/ 3229201 w 6630249"/>
              <a:gd name="connsiteY3401" fmla="*/ 1359393 h 6750795"/>
              <a:gd name="connsiteX3402" fmla="*/ 3259980 w 6630249"/>
              <a:gd name="connsiteY3402" fmla="*/ 1133682 h 6750795"/>
              <a:gd name="connsiteX3403" fmla="*/ 3231766 w 6630249"/>
              <a:gd name="connsiteY3403" fmla="*/ 1364523 h 6750795"/>
              <a:gd name="connsiteX3404" fmla="*/ 3183033 w 6630249"/>
              <a:gd name="connsiteY3404" fmla="*/ 1495333 h 6750795"/>
              <a:gd name="connsiteX3405" fmla="*/ 3180468 w 6630249"/>
              <a:gd name="connsiteY3405" fmla="*/ 1613318 h 6750795"/>
              <a:gd name="connsiteX3406" fmla="*/ 3180468 w 6630249"/>
              <a:gd name="connsiteY3406" fmla="*/ 1621013 h 6750795"/>
              <a:gd name="connsiteX3407" fmla="*/ 3183033 w 6630249"/>
              <a:gd name="connsiteY3407" fmla="*/ 1628708 h 6750795"/>
              <a:gd name="connsiteX3408" fmla="*/ 3180468 w 6630249"/>
              <a:gd name="connsiteY3408" fmla="*/ 1628708 h 6750795"/>
              <a:gd name="connsiteX3409" fmla="*/ 3152254 w 6630249"/>
              <a:gd name="connsiteY3409" fmla="*/ 1785166 h 6750795"/>
              <a:gd name="connsiteX3410" fmla="*/ 3172774 w 6630249"/>
              <a:gd name="connsiteY3410" fmla="*/ 1874936 h 6750795"/>
              <a:gd name="connsiteX3411" fmla="*/ 3172774 w 6630249"/>
              <a:gd name="connsiteY3411" fmla="*/ 1921104 h 6750795"/>
              <a:gd name="connsiteX3412" fmla="*/ 3331797 w 6630249"/>
              <a:gd name="connsiteY3412" fmla="*/ 2041654 h 6750795"/>
              <a:gd name="connsiteX3413" fmla="*/ 3336927 w 6630249"/>
              <a:gd name="connsiteY3413" fmla="*/ 2041654 h 6750795"/>
              <a:gd name="connsiteX3414" fmla="*/ 3352317 w 6630249"/>
              <a:gd name="connsiteY3414" fmla="*/ 2016006 h 6750795"/>
              <a:gd name="connsiteX3415" fmla="*/ 3347186 w 6630249"/>
              <a:gd name="connsiteY3415" fmla="*/ 2010878 h 6750795"/>
              <a:gd name="connsiteX3416" fmla="*/ 3372835 w 6630249"/>
              <a:gd name="connsiteY3416" fmla="*/ 1985227 h 6750795"/>
              <a:gd name="connsiteX3417" fmla="*/ 3367705 w 6630249"/>
              <a:gd name="connsiteY3417" fmla="*/ 1905715 h 6750795"/>
              <a:gd name="connsiteX3418" fmla="*/ 3447218 w 6630249"/>
              <a:gd name="connsiteY3418" fmla="*/ 1831334 h 6750795"/>
              <a:gd name="connsiteX3419" fmla="*/ 3557508 w 6630249"/>
              <a:gd name="connsiteY3419" fmla="*/ 1751823 h 6750795"/>
              <a:gd name="connsiteX3420" fmla="*/ 3552378 w 6630249"/>
              <a:gd name="connsiteY3420" fmla="*/ 1726174 h 6750795"/>
              <a:gd name="connsiteX3421" fmla="*/ 3616500 w 6630249"/>
              <a:gd name="connsiteY3421" fmla="*/ 1667181 h 6750795"/>
              <a:gd name="connsiteX3422" fmla="*/ 3616500 w 6630249"/>
              <a:gd name="connsiteY3422" fmla="*/ 1636402 h 6750795"/>
              <a:gd name="connsiteX3423" fmla="*/ 3657538 w 6630249"/>
              <a:gd name="connsiteY3423" fmla="*/ 1600494 h 6750795"/>
              <a:gd name="connsiteX3424" fmla="*/ 3621630 w 6630249"/>
              <a:gd name="connsiteY3424" fmla="*/ 1541501 h 6750795"/>
              <a:gd name="connsiteX3425" fmla="*/ 3557508 w 6630249"/>
              <a:gd name="connsiteY3425" fmla="*/ 1505593 h 6750795"/>
              <a:gd name="connsiteX3426" fmla="*/ 3488255 w 6630249"/>
              <a:gd name="connsiteY3426" fmla="*/ 1526112 h 6750795"/>
              <a:gd name="connsiteX3427" fmla="*/ 3419003 w 6630249"/>
              <a:gd name="connsiteY3427" fmla="*/ 1490202 h 6750795"/>
              <a:gd name="connsiteX3428" fmla="*/ 3367705 w 6630249"/>
              <a:gd name="connsiteY3428" fmla="*/ 1420950 h 6750795"/>
              <a:gd name="connsiteX3429" fmla="*/ 3552378 w 6630249"/>
              <a:gd name="connsiteY3429" fmla="*/ 1426080 h 6750795"/>
              <a:gd name="connsiteX3430" fmla="*/ 3616500 w 6630249"/>
              <a:gd name="connsiteY3430" fmla="*/ 1400431 h 6750795"/>
              <a:gd name="connsiteX3431" fmla="*/ 3767829 w 6630249"/>
              <a:gd name="connsiteY3431" fmla="*/ 1431210 h 6750795"/>
              <a:gd name="connsiteX3432" fmla="*/ 3867859 w 6630249"/>
              <a:gd name="connsiteY3432" fmla="*/ 1587669 h 6750795"/>
              <a:gd name="connsiteX3433" fmla="*/ 3837081 w 6630249"/>
              <a:gd name="connsiteY3433" fmla="*/ 1697960 h 6750795"/>
              <a:gd name="connsiteX3434" fmla="*/ 3857600 w 6630249"/>
              <a:gd name="connsiteY3434" fmla="*/ 1703090 h 6750795"/>
              <a:gd name="connsiteX3435" fmla="*/ 3837081 w 6630249"/>
              <a:gd name="connsiteY3435" fmla="*/ 1877501 h 6750795"/>
              <a:gd name="connsiteX3436" fmla="*/ 3821691 w 6630249"/>
              <a:gd name="connsiteY3436" fmla="*/ 1903150 h 6750795"/>
              <a:gd name="connsiteX3437" fmla="*/ 3855035 w 6630249"/>
              <a:gd name="connsiteY3437" fmla="*/ 1856982 h 6750795"/>
              <a:gd name="connsiteX3438" fmla="*/ 3870424 w 6630249"/>
              <a:gd name="connsiteY3438" fmla="*/ 1787730 h 6750795"/>
              <a:gd name="connsiteX3439" fmla="*/ 3883249 w 6630249"/>
              <a:gd name="connsiteY3439" fmla="*/ 1733868 h 6750795"/>
              <a:gd name="connsiteX3440" fmla="*/ 3888379 w 6630249"/>
              <a:gd name="connsiteY3440" fmla="*/ 1708219 h 6750795"/>
              <a:gd name="connsiteX3441" fmla="*/ 3890944 w 6630249"/>
              <a:gd name="connsiteY3441" fmla="*/ 1708219 h 6750795"/>
              <a:gd name="connsiteX3442" fmla="*/ 3939677 w 6630249"/>
              <a:gd name="connsiteY3442" fmla="*/ 1597929 h 6750795"/>
              <a:gd name="connsiteX3443" fmla="*/ 4052532 w 6630249"/>
              <a:gd name="connsiteY3443" fmla="*/ 1479943 h 6750795"/>
              <a:gd name="connsiteX3444" fmla="*/ 4126914 w 6630249"/>
              <a:gd name="connsiteY3444" fmla="*/ 1418385 h 6750795"/>
              <a:gd name="connsiteX3445" fmla="*/ 4216685 w 6630249"/>
              <a:gd name="connsiteY3445" fmla="*/ 1302965 h 6750795"/>
              <a:gd name="connsiteX3446" fmla="*/ 4267983 w 6630249"/>
              <a:gd name="connsiteY3446" fmla="*/ 1210629 h 6750795"/>
              <a:gd name="connsiteX3447" fmla="*/ 4291067 w 6630249"/>
              <a:gd name="connsiteY3447" fmla="*/ 1151637 h 6750795"/>
              <a:gd name="connsiteX3448" fmla="*/ 4301327 w 6630249"/>
              <a:gd name="connsiteY3448" fmla="*/ 1110598 h 6750795"/>
              <a:gd name="connsiteX3449" fmla="*/ 4321846 w 6630249"/>
              <a:gd name="connsiteY3449" fmla="*/ 897711 h 6750795"/>
              <a:gd name="connsiteX3450" fmla="*/ 4303891 w 6630249"/>
              <a:gd name="connsiteY3450" fmla="*/ 1110598 h 6750795"/>
              <a:gd name="connsiteX3451" fmla="*/ 4298762 w 6630249"/>
              <a:gd name="connsiteY3451" fmla="*/ 1133682 h 6750795"/>
              <a:gd name="connsiteX3452" fmla="*/ 4301327 w 6630249"/>
              <a:gd name="connsiteY3452" fmla="*/ 1128553 h 6750795"/>
              <a:gd name="connsiteX3453" fmla="*/ 4665541 w 6630249"/>
              <a:gd name="connsiteY3453" fmla="*/ 613009 h 6750795"/>
              <a:gd name="connsiteX3454" fmla="*/ 4852779 w 6630249"/>
              <a:gd name="connsiteY3454" fmla="*/ 369344 h 6750795"/>
              <a:gd name="connsiteX3455" fmla="*/ 4996412 w 6630249"/>
              <a:gd name="connsiteY3455" fmla="*/ 53862 h 6750795"/>
              <a:gd name="connsiteX3456" fmla="*/ 4852779 w 6630249"/>
              <a:gd name="connsiteY3456" fmla="*/ 371909 h 6750795"/>
              <a:gd name="connsiteX3457" fmla="*/ 4665541 w 6630249"/>
              <a:gd name="connsiteY3457" fmla="*/ 620704 h 6750795"/>
              <a:gd name="connsiteX3458" fmla="*/ 4473174 w 6630249"/>
              <a:gd name="connsiteY3458" fmla="*/ 854108 h 6750795"/>
              <a:gd name="connsiteX3459" fmla="*/ 4306456 w 6630249"/>
              <a:gd name="connsiteY3459" fmla="*/ 1138812 h 6750795"/>
              <a:gd name="connsiteX3460" fmla="*/ 4260288 w 6630249"/>
              <a:gd name="connsiteY3460" fmla="*/ 1272187 h 6750795"/>
              <a:gd name="connsiteX3461" fmla="*/ 4375708 w 6630249"/>
              <a:gd name="connsiteY3461" fmla="*/ 1108033 h 6750795"/>
              <a:gd name="connsiteX3462" fmla="*/ 4257723 w 6630249"/>
              <a:gd name="connsiteY3462" fmla="*/ 1282446 h 6750795"/>
              <a:gd name="connsiteX3463" fmla="*/ 4250029 w 6630249"/>
              <a:gd name="connsiteY3463" fmla="*/ 1315790 h 6750795"/>
              <a:gd name="connsiteX3464" fmla="*/ 4211555 w 6630249"/>
              <a:gd name="connsiteY3464" fmla="*/ 1497898 h 6750795"/>
              <a:gd name="connsiteX3465" fmla="*/ 4344930 w 6630249"/>
              <a:gd name="connsiteY3465" fmla="*/ 1382477 h 6750795"/>
              <a:gd name="connsiteX3466" fmla="*/ 4611679 w 6630249"/>
              <a:gd name="connsiteY3466" fmla="*/ 1036216 h 6750795"/>
              <a:gd name="connsiteX3467" fmla="*/ 4347494 w 6630249"/>
              <a:gd name="connsiteY3467" fmla="*/ 1387607 h 6750795"/>
              <a:gd name="connsiteX3468" fmla="*/ 4211555 w 6630249"/>
              <a:gd name="connsiteY3468" fmla="*/ 1508157 h 6750795"/>
              <a:gd name="connsiteX3469" fmla="*/ 4183341 w 6630249"/>
              <a:gd name="connsiteY3469" fmla="*/ 1641532 h 6750795"/>
              <a:gd name="connsiteX3470" fmla="*/ 4229510 w 6630249"/>
              <a:gd name="connsiteY3470" fmla="*/ 1579975 h 6750795"/>
              <a:gd name="connsiteX3471" fmla="*/ 4350060 w 6630249"/>
              <a:gd name="connsiteY3471" fmla="*/ 1405561 h 6750795"/>
              <a:gd name="connsiteX3472" fmla="*/ 4556012 w 6630249"/>
              <a:gd name="connsiteY3472" fmla="*/ 1227381 h 6750795"/>
              <a:gd name="connsiteX3473" fmla="*/ 4617869 w 6630249"/>
              <a:gd name="connsiteY3473" fmla="*/ 1192702 h 6750795"/>
              <a:gd name="connsiteX3474" fmla="*/ 4616849 w 6630249"/>
              <a:gd name="connsiteY3474" fmla="*/ 1191977 h 6750795"/>
              <a:gd name="connsiteX3475" fmla="*/ 4618382 w 6630249"/>
              <a:gd name="connsiteY3475" fmla="*/ 1192414 h 6750795"/>
              <a:gd name="connsiteX3476" fmla="*/ 4627068 w 6630249"/>
              <a:gd name="connsiteY3476" fmla="*/ 1187545 h 6750795"/>
              <a:gd name="connsiteX3477" fmla="*/ 4618703 w 6630249"/>
              <a:gd name="connsiteY3477" fmla="*/ 1192506 h 6750795"/>
              <a:gd name="connsiteX3478" fmla="*/ 4619374 w 6630249"/>
              <a:gd name="connsiteY3478" fmla="*/ 1192698 h 6750795"/>
              <a:gd name="connsiteX3479" fmla="*/ 4622305 w 6630249"/>
              <a:gd name="connsiteY3479" fmla="*/ 1195854 h 6750795"/>
              <a:gd name="connsiteX3480" fmla="*/ 4618099 w 6630249"/>
              <a:gd name="connsiteY3480" fmla="*/ 1192865 h 6750795"/>
              <a:gd name="connsiteX3481" fmla="*/ 4596387 w 6630249"/>
              <a:gd name="connsiteY3481" fmla="*/ 1205742 h 6750795"/>
              <a:gd name="connsiteX3482" fmla="*/ 4604625 w 6630249"/>
              <a:gd name="connsiteY3482" fmla="*/ 1224438 h 6750795"/>
              <a:gd name="connsiteX3483" fmla="*/ 4609114 w 6630249"/>
              <a:gd name="connsiteY3483" fmla="*/ 1249125 h 6750795"/>
              <a:gd name="connsiteX3484" fmla="*/ 4599816 w 6630249"/>
              <a:gd name="connsiteY3484" fmla="*/ 1229247 h 6750795"/>
              <a:gd name="connsiteX3485" fmla="*/ 4596328 w 6630249"/>
              <a:gd name="connsiteY3485" fmla="*/ 1205777 h 6750795"/>
              <a:gd name="connsiteX3486" fmla="*/ 4556052 w 6630249"/>
              <a:gd name="connsiteY3486" fmla="*/ 1229665 h 6750795"/>
              <a:gd name="connsiteX3487" fmla="*/ 4352625 w 6630249"/>
              <a:gd name="connsiteY3487" fmla="*/ 1413256 h 6750795"/>
              <a:gd name="connsiteX3488" fmla="*/ 4234639 w 6630249"/>
              <a:gd name="connsiteY3488" fmla="*/ 1590234 h 6750795"/>
              <a:gd name="connsiteX3489" fmla="*/ 4178212 w 6630249"/>
              <a:gd name="connsiteY3489" fmla="*/ 1667181 h 6750795"/>
              <a:gd name="connsiteX3490" fmla="*/ 4119219 w 6630249"/>
              <a:gd name="connsiteY3490" fmla="*/ 1841593 h 6750795"/>
              <a:gd name="connsiteX3491" fmla="*/ 4060226 w 6630249"/>
              <a:gd name="connsiteY3491" fmla="*/ 1939059 h 6750795"/>
              <a:gd name="connsiteX3492" fmla="*/ 4055097 w 6630249"/>
              <a:gd name="connsiteY3492" fmla="*/ 1974967 h 6750795"/>
              <a:gd name="connsiteX3493" fmla="*/ 4103830 w 6630249"/>
              <a:gd name="connsiteY3493" fmla="*/ 2167332 h 6750795"/>
              <a:gd name="connsiteX3494" fmla="*/ 4096135 w 6630249"/>
              <a:gd name="connsiteY3494" fmla="*/ 2172463 h 6750795"/>
              <a:gd name="connsiteX3495" fmla="*/ 4332105 w 6630249"/>
              <a:gd name="connsiteY3495" fmla="*/ 2313533 h 6750795"/>
              <a:gd name="connsiteX3496" fmla="*/ 4391098 w 6630249"/>
              <a:gd name="connsiteY3496" fmla="*/ 2216066 h 6750795"/>
              <a:gd name="connsiteX3497" fmla="*/ 4675801 w 6630249"/>
              <a:gd name="connsiteY3497" fmla="*/ 1662051 h 6750795"/>
              <a:gd name="connsiteX3498" fmla="*/ 4957939 w 6630249"/>
              <a:gd name="connsiteY3498" fmla="*/ 1246538 h 6750795"/>
              <a:gd name="connsiteX3499" fmla="*/ 4947680 w 6630249"/>
              <a:gd name="connsiteY3499" fmla="*/ 1241408 h 6750795"/>
              <a:gd name="connsiteX3500" fmla="*/ 4950244 w 6630249"/>
              <a:gd name="connsiteY3500" fmla="*/ 1223454 h 6750795"/>
              <a:gd name="connsiteX3501" fmla="*/ 4963069 w 6630249"/>
              <a:gd name="connsiteY3501" fmla="*/ 1241408 h 6750795"/>
              <a:gd name="connsiteX3502" fmla="*/ 4973329 w 6630249"/>
              <a:gd name="connsiteY3502" fmla="*/ 1231148 h 6750795"/>
              <a:gd name="connsiteX3503" fmla="*/ 4978458 w 6630249"/>
              <a:gd name="connsiteY3503" fmla="*/ 1205499 h 6750795"/>
              <a:gd name="connsiteX3504" fmla="*/ 4993848 w 6630249"/>
              <a:gd name="connsiteY3504" fmla="*/ 1200370 h 6750795"/>
              <a:gd name="connsiteX3505" fmla="*/ 4993848 w 6630249"/>
              <a:gd name="connsiteY3505" fmla="*/ 1184980 h 6750795"/>
              <a:gd name="connsiteX3506" fmla="*/ 5009237 w 6630249"/>
              <a:gd name="connsiteY3506" fmla="*/ 1172156 h 6750795"/>
              <a:gd name="connsiteX3507" fmla="*/ 5019497 w 6630249"/>
              <a:gd name="connsiteY3507" fmla="*/ 1190110 h 6750795"/>
              <a:gd name="connsiteX3508" fmla="*/ 5373452 w 6630249"/>
              <a:gd name="connsiteY3508" fmla="*/ 1128553 h 6750795"/>
              <a:gd name="connsiteX3509" fmla="*/ 5024626 w 6630249"/>
              <a:gd name="connsiteY3509" fmla="*/ 1200370 h 6750795"/>
              <a:gd name="connsiteX3510" fmla="*/ 5029756 w 6630249"/>
              <a:gd name="connsiteY3510" fmla="*/ 1200370 h 6750795"/>
              <a:gd name="connsiteX3511" fmla="*/ 5024626 w 6630249"/>
              <a:gd name="connsiteY3511" fmla="*/ 1215759 h 6750795"/>
              <a:gd name="connsiteX3512" fmla="*/ 5029756 w 6630249"/>
              <a:gd name="connsiteY3512" fmla="*/ 1210629 h 6750795"/>
              <a:gd name="connsiteX3513" fmla="*/ 5024626 w 6630249"/>
              <a:gd name="connsiteY3513" fmla="*/ 1277316 h 6750795"/>
              <a:gd name="connsiteX3514" fmla="*/ 5012443 w 6630249"/>
              <a:gd name="connsiteY3514" fmla="*/ 1286614 h 6750795"/>
              <a:gd name="connsiteX3515" fmla="*/ 5004124 w 6630249"/>
              <a:gd name="connsiteY3515" fmla="*/ 1297813 h 6750795"/>
              <a:gd name="connsiteX3516" fmla="*/ 5012122 w 6630249"/>
              <a:gd name="connsiteY3516" fmla="*/ 1313567 h 6750795"/>
              <a:gd name="connsiteX3517" fmla="*/ 5009237 w 6630249"/>
              <a:gd name="connsiteY3517" fmla="*/ 1344026 h 6750795"/>
              <a:gd name="connsiteX3518" fmla="*/ 4991283 w 6630249"/>
              <a:gd name="connsiteY3518" fmla="*/ 1338896 h 6750795"/>
              <a:gd name="connsiteX3519" fmla="*/ 4988718 w 6630249"/>
              <a:gd name="connsiteY3519" fmla="*/ 1320941 h 6750795"/>
              <a:gd name="connsiteX3520" fmla="*/ 5004107 w 6630249"/>
              <a:gd name="connsiteY3520" fmla="*/ 1310681 h 6750795"/>
              <a:gd name="connsiteX3521" fmla="*/ 5000901 w 6630249"/>
              <a:gd name="connsiteY3521" fmla="*/ 1301704 h 6750795"/>
              <a:gd name="connsiteX3522" fmla="*/ 5001328 w 6630249"/>
              <a:gd name="connsiteY3522" fmla="*/ 1295722 h 6750795"/>
              <a:gd name="connsiteX3523" fmla="*/ 4995411 w 6630249"/>
              <a:gd name="connsiteY3523" fmla="*/ 1291223 h 6750795"/>
              <a:gd name="connsiteX3524" fmla="*/ 4978458 w 6630249"/>
              <a:gd name="connsiteY3524" fmla="*/ 1267057 h 6750795"/>
              <a:gd name="connsiteX3525" fmla="*/ 4975893 w 6630249"/>
              <a:gd name="connsiteY3525" fmla="*/ 1249103 h 6750795"/>
              <a:gd name="connsiteX3526" fmla="*/ 4897865 w 6630249"/>
              <a:gd name="connsiteY3526" fmla="*/ 1338794 h 6750795"/>
              <a:gd name="connsiteX3527" fmla="*/ 4829711 w 6630249"/>
              <a:gd name="connsiteY3527" fmla="*/ 1436477 h 6750795"/>
              <a:gd name="connsiteX3528" fmla="*/ 4834355 w 6630249"/>
              <a:gd name="connsiteY3528" fmla="*/ 1449784 h 6750795"/>
              <a:gd name="connsiteX3529" fmla="*/ 4829695 w 6630249"/>
              <a:gd name="connsiteY3529" fmla="*/ 1462023 h 6750795"/>
              <a:gd name="connsiteX3530" fmla="*/ 4820917 w 6630249"/>
              <a:gd name="connsiteY3530" fmla="*/ 1456934 h 6750795"/>
              <a:gd name="connsiteX3531" fmla="*/ 4819651 w 6630249"/>
              <a:gd name="connsiteY3531" fmla="*/ 1452176 h 6750795"/>
              <a:gd name="connsiteX3532" fmla="*/ 4756234 w 6630249"/>
              <a:gd name="connsiteY3532" fmla="*/ 1558573 h 6750795"/>
              <a:gd name="connsiteX3533" fmla="*/ 4691190 w 6630249"/>
              <a:gd name="connsiteY3533" fmla="*/ 1680005 h 6750795"/>
              <a:gd name="connsiteX3534" fmla="*/ 4414182 w 6630249"/>
              <a:gd name="connsiteY3534" fmla="*/ 2241718 h 6750795"/>
              <a:gd name="connsiteX3535" fmla="*/ 4385968 w 6630249"/>
              <a:gd name="connsiteY3535" fmla="*/ 2293014 h 6750795"/>
              <a:gd name="connsiteX3536" fmla="*/ 4506518 w 6630249"/>
              <a:gd name="connsiteY3536" fmla="*/ 2226327 h 6750795"/>
              <a:gd name="connsiteX3537" fmla="*/ 4516778 w 6630249"/>
              <a:gd name="connsiteY3537" fmla="*/ 2195544 h 6750795"/>
              <a:gd name="connsiteX3538" fmla="*/ 4591159 w 6630249"/>
              <a:gd name="connsiteY3538" fmla="*/ 2126297 h 6750795"/>
              <a:gd name="connsiteX3539" fmla="*/ 4706579 w 6630249"/>
              <a:gd name="connsiteY3539" fmla="*/ 2016006 h 6750795"/>
              <a:gd name="connsiteX3540" fmla="*/ 4837389 w 6630249"/>
              <a:gd name="connsiteY3540" fmla="*/ 2136555 h 6750795"/>
              <a:gd name="connsiteX3541" fmla="*/ 4883557 w 6630249"/>
              <a:gd name="connsiteY3541" fmla="*/ 2167332 h 6750795"/>
              <a:gd name="connsiteX3542" fmla="*/ 4919466 w 6630249"/>
              <a:gd name="connsiteY3542" fmla="*/ 2226327 h 6750795"/>
              <a:gd name="connsiteX3543" fmla="*/ 4996412 w 6630249"/>
              <a:gd name="connsiteY3543" fmla="*/ 2331486 h 6750795"/>
              <a:gd name="connsiteX3544" fmla="*/ 5009237 w 6630249"/>
              <a:gd name="connsiteY3544" fmla="*/ 2305838 h 6750795"/>
              <a:gd name="connsiteX3545" fmla="*/ 5001542 w 6630249"/>
              <a:gd name="connsiteY3545" fmla="*/ 2339180 h 6750795"/>
              <a:gd name="connsiteX3546" fmla="*/ 5009237 w 6630249"/>
              <a:gd name="connsiteY3546" fmla="*/ 2487945 h 6750795"/>
              <a:gd name="connsiteX3547" fmla="*/ 4947680 w 6630249"/>
              <a:gd name="connsiteY3547" fmla="*/ 2562327 h 6750795"/>
              <a:gd name="connsiteX3548" fmla="*/ 4952809 w 6630249"/>
              <a:gd name="connsiteY3548" fmla="*/ 2562327 h 6750795"/>
              <a:gd name="connsiteX3549" fmla="*/ 4932290 w 6630249"/>
              <a:gd name="connsiteY3549" fmla="*/ 2585411 h 6750795"/>
              <a:gd name="connsiteX3550" fmla="*/ 4932290 w 6630249"/>
              <a:gd name="connsiteY3550" fmla="*/ 2577716 h 6750795"/>
              <a:gd name="connsiteX3551" fmla="*/ 4901512 w 6630249"/>
              <a:gd name="connsiteY3551" fmla="*/ 2629015 h 6750795"/>
              <a:gd name="connsiteX3552" fmla="*/ 4852779 w 6630249"/>
              <a:gd name="connsiteY3552" fmla="*/ 2652099 h 6750795"/>
              <a:gd name="connsiteX3553" fmla="*/ 4860473 w 6630249"/>
              <a:gd name="connsiteY3553" fmla="*/ 2682878 h 6750795"/>
              <a:gd name="connsiteX3554" fmla="*/ 4870733 w 6630249"/>
              <a:gd name="connsiteY3554" fmla="*/ 2685443 h 6750795"/>
              <a:gd name="connsiteX3555" fmla="*/ 4868168 w 6630249"/>
              <a:gd name="connsiteY3555" fmla="*/ 2713656 h 6750795"/>
              <a:gd name="connsiteX3556" fmla="*/ 4878428 w 6630249"/>
              <a:gd name="connsiteY3556" fmla="*/ 2757259 h 6750795"/>
              <a:gd name="connsiteX3557" fmla="*/ 4896382 w 6630249"/>
              <a:gd name="connsiteY3557" fmla="*/ 2723916 h 6750795"/>
              <a:gd name="connsiteX3558" fmla="*/ 5042581 w 6630249"/>
              <a:gd name="connsiteY3558" fmla="*/ 2649534 h 6750795"/>
              <a:gd name="connsiteX3559" fmla="*/ 5063100 w 6630249"/>
              <a:gd name="connsiteY3559" fmla="*/ 2639273 h 6750795"/>
              <a:gd name="connsiteX3560" fmla="*/ 5063100 w 6630249"/>
              <a:gd name="connsiteY3560" fmla="*/ 2646968 h 6750795"/>
              <a:gd name="connsiteX3561" fmla="*/ 5070795 w 6630249"/>
              <a:gd name="connsiteY3561" fmla="*/ 2646968 h 6750795"/>
              <a:gd name="connsiteX3562" fmla="*/ 5070795 w 6630249"/>
              <a:gd name="connsiteY3562" fmla="*/ 2644403 h 6750795"/>
              <a:gd name="connsiteX3563" fmla="*/ 5055405 w 6630249"/>
              <a:gd name="connsiteY3563" fmla="*/ 2626449 h 6750795"/>
              <a:gd name="connsiteX3564" fmla="*/ 5042581 w 6630249"/>
              <a:gd name="connsiteY3564" fmla="*/ 2495638 h 6750795"/>
              <a:gd name="connsiteX3565" fmla="*/ 5086184 w 6630249"/>
              <a:gd name="connsiteY3565" fmla="*/ 2544372 h 6750795"/>
              <a:gd name="connsiteX3566" fmla="*/ 5093878 w 6630249"/>
              <a:gd name="connsiteY3566" fmla="*/ 2562327 h 6750795"/>
              <a:gd name="connsiteX3567" fmla="*/ 5093878 w 6630249"/>
              <a:gd name="connsiteY3567" fmla="*/ 2564892 h 6750795"/>
              <a:gd name="connsiteX3568" fmla="*/ 5101573 w 6630249"/>
              <a:gd name="connsiteY3568" fmla="*/ 2582846 h 6750795"/>
              <a:gd name="connsiteX3569" fmla="*/ 5104138 w 6630249"/>
              <a:gd name="connsiteY3569" fmla="*/ 2585411 h 6750795"/>
              <a:gd name="connsiteX3570" fmla="*/ 5114398 w 6630249"/>
              <a:gd name="connsiteY3570" fmla="*/ 2603365 h 6750795"/>
              <a:gd name="connsiteX3571" fmla="*/ 5127222 w 6630249"/>
              <a:gd name="connsiteY3571" fmla="*/ 2621320 h 6750795"/>
              <a:gd name="connsiteX3572" fmla="*/ 5129787 w 6630249"/>
              <a:gd name="connsiteY3572" fmla="*/ 2621320 h 6750795"/>
              <a:gd name="connsiteX3573" fmla="*/ 5137482 w 6630249"/>
              <a:gd name="connsiteY3573" fmla="*/ 2629015 h 6750795"/>
              <a:gd name="connsiteX3574" fmla="*/ 5129787 w 6630249"/>
              <a:gd name="connsiteY3574" fmla="*/ 2626449 h 6750795"/>
              <a:gd name="connsiteX3575" fmla="*/ 5134917 w 6630249"/>
              <a:gd name="connsiteY3575" fmla="*/ 2657229 h 6750795"/>
              <a:gd name="connsiteX3576" fmla="*/ 5152871 w 6630249"/>
              <a:gd name="connsiteY3576" fmla="*/ 2649534 h 6750795"/>
              <a:gd name="connsiteX3577" fmla="*/ 5127222 w 6630249"/>
              <a:gd name="connsiteY3577" fmla="*/ 2570021 h 6750795"/>
              <a:gd name="connsiteX3578" fmla="*/ 5158001 w 6630249"/>
              <a:gd name="connsiteY3578" fmla="*/ 2570021 h 6750795"/>
              <a:gd name="connsiteX3579" fmla="*/ 5163131 w 6630249"/>
              <a:gd name="connsiteY3579" fmla="*/ 2528982 h 6750795"/>
              <a:gd name="connsiteX3580" fmla="*/ 5209299 w 6630249"/>
              <a:gd name="connsiteY3580" fmla="*/ 2503334 h 6750795"/>
              <a:gd name="connsiteX3581" fmla="*/ 5183650 w 6630249"/>
              <a:gd name="connsiteY3581" fmla="*/ 2457166 h 6750795"/>
              <a:gd name="connsiteX3582" fmla="*/ 5199039 w 6630249"/>
              <a:gd name="connsiteY3582" fmla="*/ 2421258 h 6750795"/>
              <a:gd name="connsiteX3583" fmla="*/ 5152871 w 6630249"/>
              <a:gd name="connsiteY3583" fmla="*/ 2395610 h 6750795"/>
              <a:gd name="connsiteX3584" fmla="*/ 5188779 w 6630249"/>
              <a:gd name="connsiteY3584" fmla="*/ 2300709 h 6750795"/>
              <a:gd name="connsiteX3585" fmla="*/ 5234948 w 6630249"/>
              <a:gd name="connsiteY3585" fmla="*/ 2254542 h 6750795"/>
              <a:gd name="connsiteX3586" fmla="*/ 5214428 w 6630249"/>
              <a:gd name="connsiteY3586" fmla="*/ 2213500 h 6750795"/>
              <a:gd name="connsiteX3587" fmla="*/ 5260597 w 6630249"/>
              <a:gd name="connsiteY3587" fmla="*/ 2192979 h 6750795"/>
              <a:gd name="connsiteX3588" fmla="*/ 5301635 w 6630249"/>
              <a:gd name="connsiteY3588" fmla="*/ 2192979 h 6750795"/>
              <a:gd name="connsiteX3589" fmla="*/ 5327284 w 6630249"/>
              <a:gd name="connsiteY3589" fmla="*/ 2103211 h 6750795"/>
              <a:gd name="connsiteX3590" fmla="*/ 5306765 w 6630249"/>
              <a:gd name="connsiteY3590" fmla="*/ 2087822 h 6750795"/>
              <a:gd name="connsiteX3591" fmla="*/ 5301635 w 6630249"/>
              <a:gd name="connsiteY3591" fmla="*/ 1998051 h 6750795"/>
              <a:gd name="connsiteX3592" fmla="*/ 5401666 w 6630249"/>
              <a:gd name="connsiteY3592" fmla="*/ 1962143 h 6750795"/>
              <a:gd name="connsiteX3593" fmla="*/ 5401666 w 6630249"/>
              <a:gd name="connsiteY3593" fmla="*/ 1959578 h 6750795"/>
              <a:gd name="connsiteX3594" fmla="*/ 5391406 w 6630249"/>
              <a:gd name="connsiteY3594" fmla="*/ 1964708 h 6750795"/>
              <a:gd name="connsiteX3595" fmla="*/ 5388841 w 6630249"/>
              <a:gd name="connsiteY3595" fmla="*/ 1944188 h 6750795"/>
              <a:gd name="connsiteX3596" fmla="*/ 5391406 w 6630249"/>
              <a:gd name="connsiteY3596" fmla="*/ 1939059 h 6750795"/>
              <a:gd name="connsiteX3597" fmla="*/ 5401666 w 6630249"/>
              <a:gd name="connsiteY3597" fmla="*/ 1939059 h 6750795"/>
              <a:gd name="connsiteX3598" fmla="*/ 5452964 w 6630249"/>
              <a:gd name="connsiteY3598" fmla="*/ 1854417 h 6750795"/>
              <a:gd name="connsiteX3599" fmla="*/ 5506826 w 6630249"/>
              <a:gd name="connsiteY3599" fmla="*/ 1828769 h 6750795"/>
              <a:gd name="connsiteX3600" fmla="*/ 5522216 w 6630249"/>
              <a:gd name="connsiteY3600" fmla="*/ 1795426 h 6750795"/>
              <a:gd name="connsiteX3601" fmla="*/ 5537605 w 6630249"/>
              <a:gd name="connsiteY3601" fmla="*/ 1836463 h 6750795"/>
              <a:gd name="connsiteX3602" fmla="*/ 5570949 w 6630249"/>
              <a:gd name="connsiteY3602" fmla="*/ 1826203 h 6750795"/>
              <a:gd name="connsiteX3603" fmla="*/ 5622247 w 6630249"/>
              <a:gd name="connsiteY3603" fmla="*/ 1751823 h 6750795"/>
              <a:gd name="connsiteX3604" fmla="*/ 5617117 w 6630249"/>
              <a:gd name="connsiteY3604" fmla="*/ 1692830 h 6750795"/>
              <a:gd name="connsiteX3605" fmla="*/ 5647896 w 6630249"/>
              <a:gd name="connsiteY3605" fmla="*/ 1677441 h 6750795"/>
              <a:gd name="connsiteX3606" fmla="*/ 5722277 w 6630249"/>
              <a:gd name="connsiteY3606" fmla="*/ 1687700 h 6750795"/>
              <a:gd name="connsiteX3607" fmla="*/ 5722277 w 6630249"/>
              <a:gd name="connsiteY3607" fmla="*/ 1772342 h 6750795"/>
              <a:gd name="connsiteX3608" fmla="*/ 5773575 w 6630249"/>
              <a:gd name="connsiteY3608" fmla="*/ 1772342 h 6750795"/>
              <a:gd name="connsiteX3609" fmla="*/ 5788965 w 6630249"/>
              <a:gd name="connsiteY3609" fmla="*/ 1813380 h 6750795"/>
              <a:gd name="connsiteX3610" fmla="*/ 5909515 w 6630249"/>
              <a:gd name="connsiteY3610" fmla="*/ 1818510 h 6750795"/>
              <a:gd name="connsiteX3611" fmla="*/ 5983896 w 6630249"/>
              <a:gd name="connsiteY3611" fmla="*/ 1882631 h 6750795"/>
              <a:gd name="connsiteX3612" fmla="*/ 5983896 w 6630249"/>
              <a:gd name="connsiteY3612" fmla="*/ 1877501 h 6750795"/>
              <a:gd name="connsiteX3613" fmla="*/ 5989026 w 6630249"/>
              <a:gd name="connsiteY3613" fmla="*/ 1885196 h 6750795"/>
              <a:gd name="connsiteX3614" fmla="*/ 6014675 w 6630249"/>
              <a:gd name="connsiteY3614" fmla="*/ 1933929 h 6750795"/>
              <a:gd name="connsiteX3615" fmla="*/ 6330157 w 6630249"/>
              <a:gd name="connsiteY3615" fmla="*/ 2208371 h 6750795"/>
              <a:gd name="connsiteX3616" fmla="*/ 6304508 w 6630249"/>
              <a:gd name="connsiteY3616" fmla="*/ 2239152 h 6750795"/>
              <a:gd name="connsiteX3617" fmla="*/ 6317332 w 6630249"/>
              <a:gd name="connsiteY3617" fmla="*/ 2254542 h 6750795"/>
              <a:gd name="connsiteX3618" fmla="*/ 6342981 w 6630249"/>
              <a:gd name="connsiteY3618" fmla="*/ 2221197 h 6750795"/>
              <a:gd name="connsiteX3619" fmla="*/ 6353241 w 6630249"/>
              <a:gd name="connsiteY3619" fmla="*/ 2262236 h 6750795"/>
              <a:gd name="connsiteX3620" fmla="*/ 6358371 w 6630249"/>
              <a:gd name="connsiteY3620" fmla="*/ 2275060 h 6750795"/>
              <a:gd name="connsiteX3621" fmla="*/ 6345546 w 6630249"/>
              <a:gd name="connsiteY3621" fmla="*/ 2275060 h 6750795"/>
              <a:gd name="connsiteX3622" fmla="*/ 6337852 w 6630249"/>
              <a:gd name="connsiteY3622" fmla="*/ 2285320 h 6750795"/>
              <a:gd name="connsiteX3623" fmla="*/ 6340417 w 6630249"/>
              <a:gd name="connsiteY3623" fmla="*/ 2275060 h 6750795"/>
              <a:gd name="connsiteX3624" fmla="*/ 6325027 w 6630249"/>
              <a:gd name="connsiteY3624" fmla="*/ 2275060 h 6750795"/>
              <a:gd name="connsiteX3625" fmla="*/ 6325027 w 6630249"/>
              <a:gd name="connsiteY3625" fmla="*/ 2321228 h 6750795"/>
              <a:gd name="connsiteX3626" fmla="*/ 6283989 w 6630249"/>
              <a:gd name="connsiteY3626" fmla="*/ 2367394 h 6750795"/>
              <a:gd name="connsiteX3627" fmla="*/ 6253210 w 6630249"/>
              <a:gd name="connsiteY3627" fmla="*/ 2398174 h 6750795"/>
              <a:gd name="connsiteX3628" fmla="*/ 6227561 w 6630249"/>
              <a:gd name="connsiteY3628" fmla="*/ 2387914 h 6750795"/>
              <a:gd name="connsiteX3629" fmla="*/ 6132660 w 6630249"/>
              <a:gd name="connsiteY3629" fmla="*/ 2428952 h 6750795"/>
              <a:gd name="connsiteX3630" fmla="*/ 6073668 w 6630249"/>
              <a:gd name="connsiteY3630" fmla="*/ 2382784 h 6750795"/>
              <a:gd name="connsiteX3631" fmla="*/ 5958247 w 6630249"/>
              <a:gd name="connsiteY3631" fmla="*/ 2362264 h 6750795"/>
              <a:gd name="connsiteX3632" fmla="*/ 5963377 w 6630249"/>
              <a:gd name="connsiteY3632" fmla="*/ 2321228 h 6750795"/>
              <a:gd name="connsiteX3633" fmla="*/ 5883866 w 6630249"/>
              <a:gd name="connsiteY3633" fmla="*/ 2331486 h 6750795"/>
              <a:gd name="connsiteX3634" fmla="*/ 5930034 w 6630249"/>
              <a:gd name="connsiteY3634" fmla="*/ 2310968 h 6750795"/>
              <a:gd name="connsiteX3635" fmla="*/ 5914644 w 6630249"/>
              <a:gd name="connsiteY3635" fmla="*/ 2246846 h 6750795"/>
              <a:gd name="connsiteX3636" fmla="*/ 5924904 w 6630249"/>
              <a:gd name="connsiteY3636" fmla="*/ 2210934 h 6750795"/>
              <a:gd name="connsiteX3637" fmla="*/ 5860781 w 6630249"/>
              <a:gd name="connsiteY3637" fmla="*/ 2141684 h 6750795"/>
              <a:gd name="connsiteX3638" fmla="*/ 5855652 w 6630249"/>
              <a:gd name="connsiteY3638" fmla="*/ 2095516 h 6750795"/>
              <a:gd name="connsiteX3639" fmla="*/ 5824873 w 6630249"/>
              <a:gd name="connsiteY3639" fmla="*/ 2095516 h 6750795"/>
              <a:gd name="connsiteX3640" fmla="*/ 5827438 w 6630249"/>
              <a:gd name="connsiteY3640" fmla="*/ 2087822 h 6750795"/>
              <a:gd name="connsiteX3641" fmla="*/ 5853087 w 6630249"/>
              <a:gd name="connsiteY3641" fmla="*/ 2092951 h 6750795"/>
              <a:gd name="connsiteX3642" fmla="*/ 5827438 w 6630249"/>
              <a:gd name="connsiteY3642" fmla="*/ 2059609 h 6750795"/>
              <a:gd name="connsiteX3643" fmla="*/ 5858217 w 6630249"/>
              <a:gd name="connsiteY3643" fmla="*/ 2069868 h 6750795"/>
              <a:gd name="connsiteX3644" fmla="*/ 5822308 w 6630249"/>
              <a:gd name="connsiteY3644" fmla="*/ 2023701 h 6750795"/>
              <a:gd name="connsiteX3645" fmla="*/ 5830003 w 6630249"/>
              <a:gd name="connsiteY3645" fmla="*/ 1980097 h 6750795"/>
              <a:gd name="connsiteX3646" fmla="*/ 5824873 w 6630249"/>
              <a:gd name="connsiteY3646" fmla="*/ 1982662 h 6750795"/>
              <a:gd name="connsiteX3647" fmla="*/ 5822308 w 6630249"/>
              <a:gd name="connsiteY3647" fmla="*/ 1977532 h 6750795"/>
              <a:gd name="connsiteX3648" fmla="*/ 5827438 w 6630249"/>
              <a:gd name="connsiteY3648" fmla="*/ 1967273 h 6750795"/>
              <a:gd name="connsiteX3649" fmla="*/ 5825818 w 6630249"/>
              <a:gd name="connsiteY3649" fmla="*/ 1962413 h 6750795"/>
              <a:gd name="connsiteX3650" fmla="*/ 5827438 w 6630249"/>
              <a:gd name="connsiteY3650" fmla="*/ 1957013 h 6750795"/>
              <a:gd name="connsiteX3651" fmla="*/ 5824569 w 6630249"/>
              <a:gd name="connsiteY3651" fmla="*/ 1958666 h 6750795"/>
              <a:gd name="connsiteX3652" fmla="*/ 5817178 w 6630249"/>
              <a:gd name="connsiteY3652" fmla="*/ 1936494 h 6750795"/>
              <a:gd name="connsiteX3653" fmla="*/ 5812049 w 6630249"/>
              <a:gd name="connsiteY3653" fmla="*/ 1939059 h 6750795"/>
              <a:gd name="connsiteX3654" fmla="*/ 5786400 w 6630249"/>
              <a:gd name="connsiteY3654" fmla="*/ 1939059 h 6750795"/>
              <a:gd name="connsiteX3655" fmla="*/ 5806919 w 6630249"/>
              <a:gd name="connsiteY3655" fmla="*/ 1910845 h 6750795"/>
              <a:gd name="connsiteX3656" fmla="*/ 5799224 w 6630249"/>
              <a:gd name="connsiteY3656" fmla="*/ 1892891 h 6750795"/>
              <a:gd name="connsiteX3657" fmla="*/ 5799224 w 6630249"/>
              <a:gd name="connsiteY3657" fmla="*/ 1895455 h 6750795"/>
              <a:gd name="connsiteX3658" fmla="*/ 5794094 w 6630249"/>
              <a:gd name="connsiteY3658" fmla="*/ 1898020 h 6750795"/>
              <a:gd name="connsiteX3659" fmla="*/ 5791529 w 6630249"/>
              <a:gd name="connsiteY3659" fmla="*/ 1892891 h 6750795"/>
              <a:gd name="connsiteX3660" fmla="*/ 5780709 w 6630249"/>
              <a:gd name="connsiteY3660" fmla="*/ 1914533 h 6750795"/>
              <a:gd name="connsiteX3661" fmla="*/ 5780584 w 6630249"/>
              <a:gd name="connsiteY3661" fmla="*/ 1914603 h 6750795"/>
              <a:gd name="connsiteX3662" fmla="*/ 5778705 w 6630249"/>
              <a:gd name="connsiteY3662" fmla="*/ 1910845 h 6750795"/>
              <a:gd name="connsiteX3663" fmla="*/ 5773917 w 6630249"/>
              <a:gd name="connsiteY3663" fmla="*/ 1916830 h 6750795"/>
              <a:gd name="connsiteX3664" fmla="*/ 5776461 w 6630249"/>
              <a:gd name="connsiteY3664" fmla="*/ 1904112 h 6750795"/>
              <a:gd name="connsiteX3665" fmla="*/ 5781270 w 6630249"/>
              <a:gd name="connsiteY3665" fmla="*/ 1887761 h 6750795"/>
              <a:gd name="connsiteX3666" fmla="*/ 5794094 w 6630249"/>
              <a:gd name="connsiteY3666" fmla="*/ 1890326 h 6750795"/>
              <a:gd name="connsiteX3667" fmla="*/ 5796659 w 6630249"/>
              <a:gd name="connsiteY3667" fmla="*/ 1882631 h 6750795"/>
              <a:gd name="connsiteX3668" fmla="*/ 5791529 w 6630249"/>
              <a:gd name="connsiteY3668" fmla="*/ 1849289 h 6750795"/>
              <a:gd name="connsiteX3669" fmla="*/ 5763316 w 6630249"/>
              <a:gd name="connsiteY3669" fmla="*/ 1836463 h 6750795"/>
              <a:gd name="connsiteX3670" fmla="*/ 5755621 w 6630249"/>
              <a:gd name="connsiteY3670" fmla="*/ 1846722 h 6750795"/>
              <a:gd name="connsiteX3671" fmla="*/ 5758186 w 6630249"/>
              <a:gd name="connsiteY3671" fmla="*/ 1831334 h 6750795"/>
              <a:gd name="connsiteX3672" fmla="*/ 5740231 w 6630249"/>
              <a:gd name="connsiteY3672" fmla="*/ 1810815 h 6750795"/>
              <a:gd name="connsiteX3673" fmla="*/ 5681239 w 6630249"/>
              <a:gd name="connsiteY3673" fmla="*/ 1790296 h 6750795"/>
              <a:gd name="connsiteX3674" fmla="*/ 5678674 w 6630249"/>
              <a:gd name="connsiteY3674" fmla="*/ 1800556 h 6750795"/>
              <a:gd name="connsiteX3675" fmla="*/ 5614552 w 6630249"/>
              <a:gd name="connsiteY3675" fmla="*/ 1831334 h 6750795"/>
              <a:gd name="connsiteX3676" fmla="*/ 5591468 w 6630249"/>
              <a:gd name="connsiteY3676" fmla="*/ 1872371 h 6750795"/>
              <a:gd name="connsiteX3677" fmla="*/ 5673544 w 6630249"/>
              <a:gd name="connsiteY3677" fmla="*/ 1841593 h 6750795"/>
              <a:gd name="connsiteX3678" fmla="*/ 5696628 w 6630249"/>
              <a:gd name="connsiteY3678" fmla="*/ 1849289 h 6750795"/>
              <a:gd name="connsiteX3679" fmla="*/ 5755621 w 6630249"/>
              <a:gd name="connsiteY3679" fmla="*/ 1926234 h 6750795"/>
              <a:gd name="connsiteX3680" fmla="*/ 5768445 w 6630249"/>
              <a:gd name="connsiteY3680" fmla="*/ 1931364 h 6750795"/>
              <a:gd name="connsiteX3681" fmla="*/ 5773896 w 6630249"/>
              <a:gd name="connsiteY3681" fmla="*/ 1921746 h 6750795"/>
              <a:gd name="connsiteX3682" fmla="*/ 5775431 w 6630249"/>
              <a:gd name="connsiteY3682" fmla="*/ 1920544 h 6750795"/>
              <a:gd name="connsiteX3683" fmla="*/ 5780079 w 6630249"/>
              <a:gd name="connsiteY3683" fmla="*/ 1920854 h 6750795"/>
              <a:gd name="connsiteX3684" fmla="*/ 5774537 w 6630249"/>
              <a:gd name="connsiteY3684" fmla="*/ 1943547 h 6750795"/>
              <a:gd name="connsiteX3685" fmla="*/ 5788965 w 6630249"/>
              <a:gd name="connsiteY3685" fmla="*/ 1967273 h 6750795"/>
              <a:gd name="connsiteX3686" fmla="*/ 5796659 w 6630249"/>
              <a:gd name="connsiteY3686" fmla="*/ 1962143 h 6750795"/>
              <a:gd name="connsiteX3687" fmla="*/ 5791529 w 6630249"/>
              <a:gd name="connsiteY3687" fmla="*/ 1974967 h 6750795"/>
              <a:gd name="connsiteX3688" fmla="*/ 5808522 w 6630249"/>
              <a:gd name="connsiteY3688" fmla="*/ 1967914 h 6750795"/>
              <a:gd name="connsiteX3689" fmla="*/ 5824569 w 6630249"/>
              <a:gd name="connsiteY3689" fmla="*/ 1958666 h 6750795"/>
              <a:gd name="connsiteX3690" fmla="*/ 5825818 w 6630249"/>
              <a:gd name="connsiteY3690" fmla="*/ 1962413 h 6750795"/>
              <a:gd name="connsiteX3691" fmla="*/ 5825154 w 6630249"/>
              <a:gd name="connsiteY3691" fmla="*/ 1964627 h 6750795"/>
              <a:gd name="connsiteX3692" fmla="*/ 5796659 w 6630249"/>
              <a:gd name="connsiteY3692" fmla="*/ 1982662 h 6750795"/>
              <a:gd name="connsiteX3693" fmla="*/ 5812049 w 6630249"/>
              <a:gd name="connsiteY3693" fmla="*/ 1977532 h 6750795"/>
              <a:gd name="connsiteX3694" fmla="*/ 5794094 w 6630249"/>
              <a:gd name="connsiteY3694" fmla="*/ 1998051 h 6750795"/>
              <a:gd name="connsiteX3695" fmla="*/ 5812049 w 6630249"/>
              <a:gd name="connsiteY3695" fmla="*/ 1998051 h 6750795"/>
              <a:gd name="connsiteX3696" fmla="*/ 5786400 w 6630249"/>
              <a:gd name="connsiteY3696" fmla="*/ 2021137 h 6750795"/>
              <a:gd name="connsiteX3697" fmla="*/ 5822308 w 6630249"/>
              <a:gd name="connsiteY3697" fmla="*/ 2018570 h 6750795"/>
              <a:gd name="connsiteX3698" fmla="*/ 5783835 w 6630249"/>
              <a:gd name="connsiteY3698" fmla="*/ 2036525 h 6750795"/>
              <a:gd name="connsiteX3699" fmla="*/ 5796659 w 6630249"/>
              <a:gd name="connsiteY3699" fmla="*/ 2049349 h 6750795"/>
              <a:gd name="connsiteX3700" fmla="*/ 5755621 w 6630249"/>
              <a:gd name="connsiteY3700" fmla="*/ 2077563 h 6750795"/>
              <a:gd name="connsiteX3701" fmla="*/ 5727407 w 6630249"/>
              <a:gd name="connsiteY3701" fmla="*/ 2090386 h 6750795"/>
              <a:gd name="connsiteX3702" fmla="*/ 5712018 w 6630249"/>
              <a:gd name="connsiteY3702" fmla="*/ 2086540 h 6750795"/>
              <a:gd name="connsiteX3703" fmla="*/ 5705327 w 6630249"/>
              <a:gd name="connsiteY3703" fmla="*/ 2088212 h 6750795"/>
              <a:gd name="connsiteX3704" fmla="*/ 5708491 w 6630249"/>
              <a:gd name="connsiteY3704" fmla="*/ 2097460 h 6750795"/>
              <a:gd name="connsiteX3705" fmla="*/ 5699193 w 6630249"/>
              <a:gd name="connsiteY3705" fmla="*/ 2105797 h 6750795"/>
              <a:gd name="connsiteX3706" fmla="*/ 5691499 w 6630249"/>
              <a:gd name="connsiteY3706" fmla="*/ 2098101 h 6750795"/>
              <a:gd name="connsiteX3707" fmla="*/ 5695761 w 6630249"/>
              <a:gd name="connsiteY3707" fmla="*/ 2089270 h 6750795"/>
              <a:gd name="connsiteX3708" fmla="*/ 5687972 w 6630249"/>
              <a:gd name="connsiteY3708" fmla="*/ 2079245 h 6750795"/>
              <a:gd name="connsiteX3709" fmla="*/ 5650460 w 6630249"/>
              <a:gd name="connsiteY3709" fmla="*/ 2046783 h 6750795"/>
              <a:gd name="connsiteX3710" fmla="*/ 5635071 w 6630249"/>
              <a:gd name="connsiteY3710" fmla="*/ 2039090 h 6750795"/>
              <a:gd name="connsiteX3711" fmla="*/ 5629941 w 6630249"/>
              <a:gd name="connsiteY3711" fmla="*/ 2010878 h 6750795"/>
              <a:gd name="connsiteX3712" fmla="*/ 5637636 w 6630249"/>
              <a:gd name="connsiteY3712" fmla="*/ 2010878 h 6750795"/>
              <a:gd name="connsiteX3713" fmla="*/ 5622247 w 6630249"/>
              <a:gd name="connsiteY3713" fmla="*/ 1992921 h 6750795"/>
              <a:gd name="connsiteX3714" fmla="*/ 5617117 w 6630249"/>
              <a:gd name="connsiteY3714" fmla="*/ 1980097 h 6750795"/>
              <a:gd name="connsiteX3715" fmla="*/ 5594033 w 6630249"/>
              <a:gd name="connsiteY3715" fmla="*/ 1918540 h 6750795"/>
              <a:gd name="connsiteX3716" fmla="*/ 5586338 w 6630249"/>
              <a:gd name="connsiteY3716" fmla="*/ 1923669 h 6750795"/>
              <a:gd name="connsiteX3717" fmla="*/ 5570949 w 6630249"/>
              <a:gd name="connsiteY3717" fmla="*/ 1905715 h 6750795"/>
              <a:gd name="connsiteX3718" fmla="*/ 5565819 w 6630249"/>
              <a:gd name="connsiteY3718" fmla="*/ 1908280 h 6750795"/>
              <a:gd name="connsiteX3719" fmla="*/ 5564893 w 6630249"/>
              <a:gd name="connsiteY3719" fmla="*/ 1920791 h 6750795"/>
              <a:gd name="connsiteX3720" fmla="*/ 5561010 w 6630249"/>
              <a:gd name="connsiteY3720" fmla="*/ 1915654 h 6750795"/>
              <a:gd name="connsiteX3721" fmla="*/ 5552994 w 6630249"/>
              <a:gd name="connsiteY3721" fmla="*/ 1908280 h 6750795"/>
              <a:gd name="connsiteX3722" fmla="*/ 5547864 w 6630249"/>
              <a:gd name="connsiteY3722" fmla="*/ 1890326 h 6750795"/>
              <a:gd name="connsiteX3723" fmla="*/ 5535040 w 6630249"/>
              <a:gd name="connsiteY3723" fmla="*/ 1903150 h 6750795"/>
              <a:gd name="connsiteX3724" fmla="*/ 5542735 w 6630249"/>
              <a:gd name="connsiteY3724" fmla="*/ 1913410 h 6750795"/>
              <a:gd name="connsiteX3725" fmla="*/ 5545300 w 6630249"/>
              <a:gd name="connsiteY3725" fmla="*/ 1908280 h 6750795"/>
              <a:gd name="connsiteX3726" fmla="*/ 5556521 w 6630249"/>
              <a:gd name="connsiteY3726" fmla="*/ 1918860 h 6750795"/>
              <a:gd name="connsiteX3727" fmla="*/ 5564266 w 6630249"/>
              <a:gd name="connsiteY3727" fmla="*/ 1929275 h 6750795"/>
              <a:gd name="connsiteX3728" fmla="*/ 5562933 w 6630249"/>
              <a:gd name="connsiteY3728" fmla="*/ 1947274 h 6750795"/>
              <a:gd name="connsiteX3729" fmla="*/ 5496567 w 6630249"/>
              <a:gd name="connsiteY3729" fmla="*/ 2003181 h 6750795"/>
              <a:gd name="connsiteX3730" fmla="*/ 5427315 w 6630249"/>
              <a:gd name="connsiteY3730" fmla="*/ 2187851 h 6750795"/>
              <a:gd name="connsiteX3731" fmla="*/ 5396536 w 6630249"/>
              <a:gd name="connsiteY3731" fmla="*/ 2223762 h 6750795"/>
              <a:gd name="connsiteX3732" fmla="*/ 5427315 w 6630249"/>
              <a:gd name="connsiteY3732" fmla="*/ 2259670 h 6750795"/>
              <a:gd name="connsiteX3733" fmla="*/ 5386276 w 6630249"/>
              <a:gd name="connsiteY3733" fmla="*/ 2449470 h 6750795"/>
              <a:gd name="connsiteX3734" fmla="*/ 5350368 w 6630249"/>
              <a:gd name="connsiteY3734" fmla="*/ 2590540 h 6750795"/>
              <a:gd name="connsiteX3735" fmla="*/ 5376017 w 6630249"/>
              <a:gd name="connsiteY3735" fmla="*/ 2585411 h 6750795"/>
              <a:gd name="connsiteX3736" fmla="*/ 5381146 w 6630249"/>
              <a:gd name="connsiteY3736" fmla="*/ 2690572 h 6750795"/>
              <a:gd name="connsiteX3737" fmla="*/ 5411925 w 6630249"/>
              <a:gd name="connsiteY3737" fmla="*/ 2682878 h 6750795"/>
              <a:gd name="connsiteX3738" fmla="*/ 5409360 w 6630249"/>
              <a:gd name="connsiteY3738" fmla="*/ 2680313 h 6750795"/>
              <a:gd name="connsiteX3739" fmla="*/ 5417055 w 6630249"/>
              <a:gd name="connsiteY3739" fmla="*/ 2667488 h 6750795"/>
              <a:gd name="connsiteX3740" fmla="*/ 5435009 w 6630249"/>
              <a:gd name="connsiteY3740" fmla="*/ 2672618 h 6750795"/>
              <a:gd name="connsiteX3741" fmla="*/ 5460658 w 6630249"/>
              <a:gd name="connsiteY3741" fmla="*/ 2672618 h 6750795"/>
              <a:gd name="connsiteX3742" fmla="*/ 5460658 w 6630249"/>
              <a:gd name="connsiteY3742" fmla="*/ 2698267 h 6750795"/>
              <a:gd name="connsiteX3743" fmla="*/ 5414490 w 6630249"/>
              <a:gd name="connsiteY3743" fmla="*/ 2777779 h 6750795"/>
              <a:gd name="connsiteX3744" fmla="*/ 5388841 w 6630249"/>
              <a:gd name="connsiteY3744" fmla="*/ 2813687 h 6750795"/>
              <a:gd name="connsiteX3745" fmla="*/ 5404231 w 6630249"/>
              <a:gd name="connsiteY3745" fmla="*/ 2844466 h 6750795"/>
              <a:gd name="connsiteX3746" fmla="*/ 5411925 w 6630249"/>
              <a:gd name="connsiteY3746" fmla="*/ 2841900 h 6750795"/>
              <a:gd name="connsiteX3747" fmla="*/ 5411925 w 6630249"/>
              <a:gd name="connsiteY3747" fmla="*/ 2854725 h 6750795"/>
              <a:gd name="connsiteX3748" fmla="*/ 5406795 w 6630249"/>
              <a:gd name="connsiteY3748" fmla="*/ 2852160 h 6750795"/>
              <a:gd name="connsiteX3749" fmla="*/ 5427315 w 6630249"/>
              <a:gd name="connsiteY3749" fmla="*/ 2872679 h 6750795"/>
              <a:gd name="connsiteX3750" fmla="*/ 5422185 w 6630249"/>
              <a:gd name="connsiteY3750" fmla="*/ 2947062 h 6750795"/>
              <a:gd name="connsiteX3751" fmla="*/ 5370887 w 6630249"/>
              <a:gd name="connsiteY3751" fmla="*/ 3006054 h 6750795"/>
              <a:gd name="connsiteX3752" fmla="*/ 5381146 w 6630249"/>
              <a:gd name="connsiteY3752" fmla="*/ 3031703 h 6750795"/>
              <a:gd name="connsiteX3753" fmla="*/ 5340108 w 6630249"/>
              <a:gd name="connsiteY3753" fmla="*/ 3077872 h 6750795"/>
              <a:gd name="connsiteX3754" fmla="*/ 5319589 w 6630249"/>
              <a:gd name="connsiteY3754" fmla="*/ 3083001 h 6750795"/>
              <a:gd name="connsiteX3755" fmla="*/ 5293940 w 6630249"/>
              <a:gd name="connsiteY3755" fmla="*/ 3077872 h 6750795"/>
              <a:gd name="connsiteX3756" fmla="*/ 5268291 w 6630249"/>
              <a:gd name="connsiteY3756" fmla="*/ 3141993 h 6750795"/>
              <a:gd name="connsiteX3757" fmla="*/ 5309329 w 6630249"/>
              <a:gd name="connsiteY3757" fmla="*/ 3177902 h 6750795"/>
              <a:gd name="connsiteX3758" fmla="*/ 5288811 w 6630249"/>
              <a:gd name="connsiteY3758" fmla="*/ 3172771 h 6750795"/>
              <a:gd name="connsiteX3759" fmla="*/ 5293940 w 6630249"/>
              <a:gd name="connsiteY3759" fmla="*/ 3236895 h 6750795"/>
              <a:gd name="connsiteX3760" fmla="*/ 5268291 w 6630249"/>
              <a:gd name="connsiteY3760" fmla="*/ 3247154 h 6750795"/>
              <a:gd name="connsiteX3761" fmla="*/ 5304200 w 6630249"/>
              <a:gd name="connsiteY3761" fmla="*/ 3326664 h 6750795"/>
              <a:gd name="connsiteX3762" fmla="*/ 5240077 w 6630249"/>
              <a:gd name="connsiteY3762" fmla="*/ 3301016 h 6750795"/>
              <a:gd name="connsiteX3763" fmla="*/ 5240077 w 6630249"/>
              <a:gd name="connsiteY3763" fmla="*/ 3442082 h 6750795"/>
              <a:gd name="connsiteX3764" fmla="*/ 5193909 w 6630249"/>
              <a:gd name="connsiteY3764" fmla="*/ 3488250 h 6750795"/>
              <a:gd name="connsiteX3765" fmla="*/ 5173390 w 6630249"/>
              <a:gd name="connsiteY3765" fmla="*/ 3483120 h 6750795"/>
              <a:gd name="connsiteX3766" fmla="*/ 5132352 w 6630249"/>
              <a:gd name="connsiteY3766" fmla="*/ 3534418 h 6750795"/>
              <a:gd name="connsiteX3767" fmla="*/ 5063100 w 6630249"/>
              <a:gd name="connsiteY3767" fmla="*/ 3778083 h 6750795"/>
              <a:gd name="connsiteX3768" fmla="*/ 5127222 w 6630249"/>
              <a:gd name="connsiteY3768" fmla="*/ 3844770 h 6750795"/>
              <a:gd name="connsiteX3769" fmla="*/ 5160566 w 6630249"/>
              <a:gd name="connsiteY3769" fmla="*/ 3780648 h 6750795"/>
              <a:gd name="connsiteX3770" fmla="*/ 5199039 w 6630249"/>
              <a:gd name="connsiteY3770" fmla="*/ 3762693 h 6750795"/>
              <a:gd name="connsiteX3771" fmla="*/ 5150306 w 6630249"/>
              <a:gd name="connsiteY3771" fmla="*/ 3857595 h 6750795"/>
              <a:gd name="connsiteX3772" fmla="*/ 5165696 w 6630249"/>
              <a:gd name="connsiteY3772" fmla="*/ 3865289 h 6750795"/>
              <a:gd name="connsiteX3773" fmla="*/ 5163131 w 6630249"/>
              <a:gd name="connsiteY3773" fmla="*/ 3872984 h 6750795"/>
              <a:gd name="connsiteX3774" fmla="*/ 5309329 w 6630249"/>
              <a:gd name="connsiteY3774" fmla="*/ 3642143 h 6750795"/>
              <a:gd name="connsiteX3775" fmla="*/ 5288811 w 6630249"/>
              <a:gd name="connsiteY3775" fmla="*/ 3619060 h 6750795"/>
              <a:gd name="connsiteX3776" fmla="*/ 5286245 w 6630249"/>
              <a:gd name="connsiteY3776" fmla="*/ 3619060 h 6750795"/>
              <a:gd name="connsiteX3777" fmla="*/ 5278551 w 6630249"/>
              <a:gd name="connsiteY3777" fmla="*/ 3570326 h 6750795"/>
              <a:gd name="connsiteX3778" fmla="*/ 5322154 w 6630249"/>
              <a:gd name="connsiteY3778" fmla="*/ 3642143 h 6750795"/>
              <a:gd name="connsiteX3779" fmla="*/ 5381146 w 6630249"/>
              <a:gd name="connsiteY3779" fmla="*/ 3583151 h 6750795"/>
              <a:gd name="connsiteX3780" fmla="*/ 5409360 w 6630249"/>
              <a:gd name="connsiteY3780" fmla="*/ 3744739 h 6750795"/>
              <a:gd name="connsiteX3781" fmla="*/ 5414490 w 6630249"/>
              <a:gd name="connsiteY3781" fmla="*/ 3747304 h 6750795"/>
              <a:gd name="connsiteX3782" fmla="*/ 5429880 w 6630249"/>
              <a:gd name="connsiteY3782" fmla="*/ 3731915 h 6750795"/>
              <a:gd name="connsiteX3783" fmla="*/ 5432444 w 6630249"/>
              <a:gd name="connsiteY3783" fmla="*/ 3711396 h 6750795"/>
              <a:gd name="connsiteX3784" fmla="*/ 5460658 w 6630249"/>
              <a:gd name="connsiteY3784" fmla="*/ 3698571 h 6750795"/>
              <a:gd name="connsiteX3785" fmla="*/ 5459454 w 6630249"/>
              <a:gd name="connsiteY3785" fmla="*/ 3693754 h 6750795"/>
              <a:gd name="connsiteX3786" fmla="*/ 5461259 w 6630249"/>
              <a:gd name="connsiteY3786" fmla="*/ 3690957 h 6750795"/>
              <a:gd name="connsiteX3787" fmla="*/ 5465788 w 6630249"/>
              <a:gd name="connsiteY3787" fmla="*/ 3690877 h 6750795"/>
              <a:gd name="connsiteX3788" fmla="*/ 5465788 w 6630249"/>
              <a:gd name="connsiteY3788" fmla="*/ 3716526 h 6750795"/>
              <a:gd name="connsiteX3789" fmla="*/ 5478612 w 6630249"/>
              <a:gd name="connsiteY3789" fmla="*/ 3711396 h 6750795"/>
              <a:gd name="connsiteX3790" fmla="*/ 5465788 w 6630249"/>
              <a:gd name="connsiteY3790" fmla="*/ 3742175 h 6750795"/>
              <a:gd name="connsiteX3791" fmla="*/ 5481177 w 6630249"/>
              <a:gd name="connsiteY3791" fmla="*/ 3742175 h 6750795"/>
              <a:gd name="connsiteX3792" fmla="*/ 5465788 w 6630249"/>
              <a:gd name="connsiteY3792" fmla="*/ 3754999 h 6750795"/>
              <a:gd name="connsiteX3793" fmla="*/ 5481177 w 6630249"/>
              <a:gd name="connsiteY3793" fmla="*/ 3760129 h 6750795"/>
              <a:gd name="connsiteX3794" fmla="*/ 5460658 w 6630249"/>
              <a:gd name="connsiteY3794" fmla="*/ 3775518 h 6750795"/>
              <a:gd name="connsiteX3795" fmla="*/ 5473483 w 6630249"/>
              <a:gd name="connsiteY3795" fmla="*/ 3780648 h 6750795"/>
              <a:gd name="connsiteX3796" fmla="*/ 5447834 w 6630249"/>
              <a:gd name="connsiteY3796" fmla="*/ 3806297 h 6750795"/>
              <a:gd name="connsiteX3797" fmla="*/ 5429880 w 6630249"/>
              <a:gd name="connsiteY3797" fmla="*/ 3811427 h 6750795"/>
              <a:gd name="connsiteX3798" fmla="*/ 5368322 w 6630249"/>
              <a:gd name="connsiteY3798" fmla="*/ 3793472 h 6750795"/>
              <a:gd name="connsiteX3799" fmla="*/ 5358063 w 6630249"/>
              <a:gd name="connsiteY3799" fmla="*/ 3752434 h 6750795"/>
              <a:gd name="connsiteX3800" fmla="*/ 5360627 w 6630249"/>
              <a:gd name="connsiteY3800" fmla="*/ 3980709 h 6750795"/>
              <a:gd name="connsiteX3801" fmla="*/ 5504261 w 6630249"/>
              <a:gd name="connsiteY3801" fmla="*/ 3693441 h 6750795"/>
              <a:gd name="connsiteX3802" fmla="*/ 5486307 w 6630249"/>
              <a:gd name="connsiteY3802" fmla="*/ 3701136 h 6750795"/>
              <a:gd name="connsiteX3803" fmla="*/ 5469380 w 6630249"/>
              <a:gd name="connsiteY3803" fmla="*/ 3688960 h 6750795"/>
              <a:gd name="connsiteX3804" fmla="*/ 5473162 w 6630249"/>
              <a:gd name="connsiteY3804" fmla="*/ 3681900 h 6750795"/>
              <a:gd name="connsiteX3805" fmla="*/ 5476047 w 6630249"/>
              <a:gd name="connsiteY3805" fmla="*/ 3665228 h 6750795"/>
              <a:gd name="connsiteX3806" fmla="*/ 5488872 w 6630249"/>
              <a:gd name="connsiteY3806" fmla="*/ 3678052 h 6750795"/>
              <a:gd name="connsiteX3807" fmla="*/ 5481177 w 6630249"/>
              <a:gd name="connsiteY3807" fmla="*/ 3690877 h 6750795"/>
              <a:gd name="connsiteX3808" fmla="*/ 5494002 w 6630249"/>
              <a:gd name="connsiteY3808" fmla="*/ 3690877 h 6750795"/>
              <a:gd name="connsiteX3809" fmla="*/ 5506826 w 6630249"/>
              <a:gd name="connsiteY3809" fmla="*/ 3662663 h 6750795"/>
              <a:gd name="connsiteX3810" fmla="*/ 5499132 w 6630249"/>
              <a:gd name="connsiteY3810" fmla="*/ 3654968 h 6750795"/>
              <a:gd name="connsiteX3811" fmla="*/ 5511956 w 6630249"/>
              <a:gd name="connsiteY3811" fmla="*/ 3660098 h 6750795"/>
              <a:gd name="connsiteX3812" fmla="*/ 5509391 w 6630249"/>
              <a:gd name="connsiteY3812" fmla="*/ 3647273 h 6750795"/>
              <a:gd name="connsiteX3813" fmla="*/ 5496567 w 6630249"/>
              <a:gd name="connsiteY3813" fmla="*/ 3644709 h 6750795"/>
              <a:gd name="connsiteX3814" fmla="*/ 5494002 w 6630249"/>
              <a:gd name="connsiteY3814" fmla="*/ 3606235 h 6750795"/>
              <a:gd name="connsiteX3815" fmla="*/ 5481177 w 6630249"/>
              <a:gd name="connsiteY3815" fmla="*/ 3567762 h 6750795"/>
              <a:gd name="connsiteX3816" fmla="*/ 5476047 w 6630249"/>
              <a:gd name="connsiteY3816" fmla="*/ 3562632 h 6750795"/>
              <a:gd name="connsiteX3817" fmla="*/ 5514521 w 6630249"/>
              <a:gd name="connsiteY3817" fmla="*/ 3539548 h 6750795"/>
              <a:gd name="connsiteX3818" fmla="*/ 5517086 w 6630249"/>
              <a:gd name="connsiteY3818" fmla="*/ 3503639 h 6750795"/>
              <a:gd name="connsiteX3819" fmla="*/ 5501696 w 6630249"/>
              <a:gd name="connsiteY3819" fmla="*/ 3485685 h 6750795"/>
              <a:gd name="connsiteX3820" fmla="*/ 5478612 w 6630249"/>
              <a:gd name="connsiteY3820" fmla="*/ 3498510 h 6750795"/>
              <a:gd name="connsiteX3821" fmla="*/ 5481177 w 6630249"/>
              <a:gd name="connsiteY3821" fmla="*/ 3454906 h 6750795"/>
              <a:gd name="connsiteX3822" fmla="*/ 5458093 w 6630249"/>
              <a:gd name="connsiteY3822" fmla="*/ 3470296 h 6750795"/>
              <a:gd name="connsiteX3823" fmla="*/ 5476047 w 6630249"/>
              <a:gd name="connsiteY3823" fmla="*/ 3454906 h 6750795"/>
              <a:gd name="connsiteX3824" fmla="*/ 5496567 w 6630249"/>
              <a:gd name="connsiteY3824" fmla="*/ 3365141 h 6750795"/>
              <a:gd name="connsiteX3825" fmla="*/ 5524781 w 6630249"/>
              <a:gd name="connsiteY3825" fmla="*/ 3365141 h 6750795"/>
              <a:gd name="connsiteX3826" fmla="*/ 5542735 w 6630249"/>
              <a:gd name="connsiteY3826" fmla="*/ 3357444 h 6750795"/>
              <a:gd name="connsiteX3827" fmla="*/ 5535040 w 6630249"/>
              <a:gd name="connsiteY3827" fmla="*/ 3370266 h 6750795"/>
              <a:gd name="connsiteX3828" fmla="*/ 5555559 w 6630249"/>
              <a:gd name="connsiteY3828" fmla="*/ 3357444 h 6750795"/>
              <a:gd name="connsiteX3829" fmla="*/ 5578643 w 6630249"/>
              <a:gd name="connsiteY3829" fmla="*/ 3236895 h 6750795"/>
              <a:gd name="connsiteX3830" fmla="*/ 5599162 w 6630249"/>
              <a:gd name="connsiteY3830" fmla="*/ 3193291 h 6750795"/>
              <a:gd name="connsiteX3831" fmla="*/ 5611987 w 6630249"/>
              <a:gd name="connsiteY3831" fmla="*/ 3193291 h 6750795"/>
              <a:gd name="connsiteX3832" fmla="*/ 5588903 w 6630249"/>
              <a:gd name="connsiteY3832" fmla="*/ 3254848 h 6750795"/>
              <a:gd name="connsiteX3833" fmla="*/ 5594033 w 6630249"/>
              <a:gd name="connsiteY3833" fmla="*/ 3267672 h 6750795"/>
              <a:gd name="connsiteX3834" fmla="*/ 5573513 w 6630249"/>
              <a:gd name="connsiteY3834" fmla="*/ 3344616 h 6750795"/>
              <a:gd name="connsiteX3835" fmla="*/ 5588903 w 6630249"/>
              <a:gd name="connsiteY3835" fmla="*/ 3344616 h 6750795"/>
              <a:gd name="connsiteX3836" fmla="*/ 5576078 w 6630249"/>
              <a:gd name="connsiteY3836" fmla="*/ 3360007 h 6750795"/>
              <a:gd name="connsiteX3837" fmla="*/ 5591468 w 6630249"/>
              <a:gd name="connsiteY3837" fmla="*/ 3381806 h 6750795"/>
              <a:gd name="connsiteX3838" fmla="*/ 5592665 w 6630249"/>
              <a:gd name="connsiteY3838" fmla="*/ 3383710 h 6750795"/>
              <a:gd name="connsiteX3839" fmla="*/ 5594033 w 6630249"/>
              <a:gd name="connsiteY3839" fmla="*/ 3383095 h 6750795"/>
              <a:gd name="connsiteX3840" fmla="*/ 5596357 w 6630249"/>
              <a:gd name="connsiteY3840" fmla="*/ 3385740 h 6750795"/>
              <a:gd name="connsiteX3841" fmla="*/ 5594905 w 6630249"/>
              <a:gd name="connsiteY3841" fmla="*/ 3387271 h 6750795"/>
              <a:gd name="connsiteX3842" fmla="*/ 5597720 w 6630249"/>
              <a:gd name="connsiteY3842" fmla="*/ 3391745 h 6750795"/>
              <a:gd name="connsiteX3843" fmla="*/ 5599162 w 6630249"/>
              <a:gd name="connsiteY3843" fmla="*/ 3403608 h 6750795"/>
              <a:gd name="connsiteX3844" fmla="*/ 5617117 w 6630249"/>
              <a:gd name="connsiteY3844" fmla="*/ 3401044 h 6750795"/>
              <a:gd name="connsiteX3845" fmla="*/ 5619682 w 6630249"/>
              <a:gd name="connsiteY3845" fmla="*/ 3418998 h 6750795"/>
              <a:gd name="connsiteX3846" fmla="*/ 5606857 w 6630249"/>
              <a:gd name="connsiteY3846" fmla="*/ 3431822 h 6750795"/>
              <a:gd name="connsiteX3847" fmla="*/ 5622247 w 6630249"/>
              <a:gd name="connsiteY3847" fmla="*/ 3454906 h 6750795"/>
              <a:gd name="connsiteX3848" fmla="*/ 5617117 w 6630249"/>
              <a:gd name="connsiteY3848" fmla="*/ 3454906 h 6750795"/>
              <a:gd name="connsiteX3849" fmla="*/ 5619682 w 6630249"/>
              <a:gd name="connsiteY3849" fmla="*/ 3472861 h 6750795"/>
              <a:gd name="connsiteX3850" fmla="*/ 5611987 w 6630249"/>
              <a:gd name="connsiteY3850" fmla="*/ 3539548 h 6750795"/>
              <a:gd name="connsiteX3851" fmla="*/ 5611987 w 6630249"/>
              <a:gd name="connsiteY3851" fmla="*/ 3575457 h 6750795"/>
              <a:gd name="connsiteX3852" fmla="*/ 5617117 w 6630249"/>
              <a:gd name="connsiteY3852" fmla="*/ 3570326 h 6750795"/>
              <a:gd name="connsiteX3853" fmla="*/ 5619682 w 6630249"/>
              <a:gd name="connsiteY3853" fmla="*/ 3624189 h 6750795"/>
              <a:gd name="connsiteX3854" fmla="*/ 5632506 w 6630249"/>
              <a:gd name="connsiteY3854" fmla="*/ 3621624 h 6750795"/>
              <a:gd name="connsiteX3855" fmla="*/ 5629941 w 6630249"/>
              <a:gd name="connsiteY3855" fmla="*/ 3629319 h 6750795"/>
              <a:gd name="connsiteX3856" fmla="*/ 5637636 w 6630249"/>
              <a:gd name="connsiteY3856" fmla="*/ 3624189 h 6750795"/>
              <a:gd name="connsiteX3857" fmla="*/ 5622247 w 6630249"/>
              <a:gd name="connsiteY3857" fmla="*/ 3642143 h 6750795"/>
              <a:gd name="connsiteX3858" fmla="*/ 5634430 w 6630249"/>
              <a:gd name="connsiteY3858" fmla="*/ 3637655 h 6750795"/>
              <a:gd name="connsiteX3859" fmla="*/ 5639752 w 6630249"/>
              <a:gd name="connsiteY3859" fmla="*/ 3634888 h 6750795"/>
              <a:gd name="connsiteX3860" fmla="*/ 5645215 w 6630249"/>
              <a:gd name="connsiteY3860" fmla="*/ 3630837 h 6750795"/>
              <a:gd name="connsiteX3861" fmla="*/ 5647989 w 6630249"/>
              <a:gd name="connsiteY3861" fmla="*/ 3630604 h 6750795"/>
              <a:gd name="connsiteX3862" fmla="*/ 5650460 w 6630249"/>
              <a:gd name="connsiteY3862" fmla="*/ 3629319 h 6750795"/>
              <a:gd name="connsiteX3863" fmla="*/ 5648774 w 6630249"/>
              <a:gd name="connsiteY3863" fmla="*/ 3630538 h 6750795"/>
              <a:gd name="connsiteX3864" fmla="*/ 5663285 w 6630249"/>
              <a:gd name="connsiteY3864" fmla="*/ 3629319 h 6750795"/>
              <a:gd name="connsiteX3865" fmla="*/ 5676110 w 6630249"/>
              <a:gd name="connsiteY3865" fmla="*/ 3652403 h 6750795"/>
              <a:gd name="connsiteX3866" fmla="*/ 5637957 w 6630249"/>
              <a:gd name="connsiteY3866" fmla="*/ 3657213 h 6750795"/>
              <a:gd name="connsiteX3867" fmla="*/ 5636262 w 6630249"/>
              <a:gd name="connsiteY3867" fmla="*/ 3639583 h 6750795"/>
              <a:gd name="connsiteX3868" fmla="*/ 5623850 w 6630249"/>
              <a:gd name="connsiteY3868" fmla="*/ 3648556 h 6750795"/>
              <a:gd name="connsiteX3869" fmla="*/ 5599162 w 6630249"/>
              <a:gd name="connsiteY3869" fmla="*/ 3667792 h 6750795"/>
              <a:gd name="connsiteX3870" fmla="*/ 5601727 w 6630249"/>
              <a:gd name="connsiteY3870" fmla="*/ 3672922 h 6750795"/>
              <a:gd name="connsiteX3871" fmla="*/ 5619682 w 6630249"/>
              <a:gd name="connsiteY3871" fmla="*/ 3667792 h 6750795"/>
              <a:gd name="connsiteX3872" fmla="*/ 5606857 w 6630249"/>
              <a:gd name="connsiteY3872" fmla="*/ 3680617 h 6750795"/>
              <a:gd name="connsiteX3873" fmla="*/ 5586338 w 6630249"/>
              <a:gd name="connsiteY3873" fmla="*/ 3688312 h 6750795"/>
              <a:gd name="connsiteX3874" fmla="*/ 5565819 w 6630249"/>
              <a:gd name="connsiteY3874" fmla="*/ 3693441 h 6750795"/>
              <a:gd name="connsiteX3875" fmla="*/ 5573513 w 6630249"/>
              <a:gd name="connsiteY3875" fmla="*/ 3788342 h 6750795"/>
              <a:gd name="connsiteX3876" fmla="*/ 5581208 w 6630249"/>
              <a:gd name="connsiteY3876" fmla="*/ 3796037 h 6750795"/>
              <a:gd name="connsiteX3877" fmla="*/ 5573513 w 6630249"/>
              <a:gd name="connsiteY3877" fmla="*/ 3796037 h 6750795"/>
              <a:gd name="connsiteX3878" fmla="*/ 5470918 w 6630249"/>
              <a:gd name="connsiteY3878" fmla="*/ 4034572 h 6750795"/>
              <a:gd name="connsiteX3879" fmla="*/ 5501696 w 6630249"/>
              <a:gd name="connsiteY3879" fmla="*/ 4057656 h 6750795"/>
              <a:gd name="connsiteX3880" fmla="*/ 5465788 w 6630249"/>
              <a:gd name="connsiteY3880" fmla="*/ 4132038 h 6750795"/>
              <a:gd name="connsiteX3881" fmla="*/ 5419620 w 6630249"/>
              <a:gd name="connsiteY3881" fmla="*/ 4121778 h 6750795"/>
              <a:gd name="connsiteX3882" fmla="*/ 5388841 w 6630249"/>
              <a:gd name="connsiteY3882" fmla="*/ 4183336 h 6750795"/>
              <a:gd name="connsiteX3883" fmla="*/ 5632506 w 6630249"/>
              <a:gd name="connsiteY3883" fmla="*/ 4155122 h 6750795"/>
              <a:gd name="connsiteX3884" fmla="*/ 5647896 w 6630249"/>
              <a:gd name="connsiteY3884" fmla="*/ 4147427 h 6750795"/>
              <a:gd name="connsiteX3885" fmla="*/ 5655590 w 6630249"/>
              <a:gd name="connsiteY3885" fmla="*/ 4124343 h 6750795"/>
              <a:gd name="connsiteX3886" fmla="*/ 5660720 w 6630249"/>
              <a:gd name="connsiteY3886" fmla="*/ 4129473 h 6750795"/>
              <a:gd name="connsiteX3887" fmla="*/ 5645330 w 6630249"/>
              <a:gd name="connsiteY3887" fmla="*/ 4083305 h 6750795"/>
              <a:gd name="connsiteX3888" fmla="*/ 5653025 w 6630249"/>
              <a:gd name="connsiteY3888" fmla="*/ 4016618 h 6750795"/>
              <a:gd name="connsiteX3889" fmla="*/ 5640201 w 6630249"/>
              <a:gd name="connsiteY3889" fmla="*/ 4014053 h 6750795"/>
              <a:gd name="connsiteX3890" fmla="*/ 5658155 w 6630249"/>
              <a:gd name="connsiteY3890" fmla="*/ 3939671 h 6750795"/>
              <a:gd name="connsiteX3891" fmla="*/ 5663285 w 6630249"/>
              <a:gd name="connsiteY3891" fmla="*/ 3967885 h 6750795"/>
              <a:gd name="connsiteX3892" fmla="*/ 5650460 w 6630249"/>
              <a:gd name="connsiteY3892" fmla="*/ 4008923 h 6750795"/>
              <a:gd name="connsiteX3893" fmla="*/ 5652849 w 6630249"/>
              <a:gd name="connsiteY3893" fmla="*/ 4006773 h 6750795"/>
              <a:gd name="connsiteX3894" fmla="*/ 5653827 w 6630249"/>
              <a:gd name="connsiteY3894" fmla="*/ 4000989 h 6750795"/>
              <a:gd name="connsiteX3895" fmla="*/ 5658155 w 6630249"/>
              <a:gd name="connsiteY3895" fmla="*/ 4001230 h 6750795"/>
              <a:gd name="connsiteX3896" fmla="*/ 5658155 w 6630249"/>
              <a:gd name="connsiteY3896" fmla="*/ 4001997 h 6750795"/>
              <a:gd name="connsiteX3897" fmla="*/ 5660479 w 6630249"/>
              <a:gd name="connsiteY3897" fmla="*/ 3999906 h 6750795"/>
              <a:gd name="connsiteX3898" fmla="*/ 5668414 w 6630249"/>
              <a:gd name="connsiteY3898" fmla="*/ 3962755 h 6750795"/>
              <a:gd name="connsiteX3899" fmla="*/ 5653025 w 6630249"/>
              <a:gd name="connsiteY3899" fmla="*/ 4021748 h 6750795"/>
              <a:gd name="connsiteX3900" fmla="*/ 5660720 w 6630249"/>
              <a:gd name="connsiteY3900" fmla="*/ 4070480 h 6750795"/>
              <a:gd name="connsiteX3901" fmla="*/ 5696628 w 6630249"/>
              <a:gd name="connsiteY3901" fmla="*/ 4047397 h 6750795"/>
              <a:gd name="connsiteX3902" fmla="*/ 5683804 w 6630249"/>
              <a:gd name="connsiteY3902" fmla="*/ 4039702 h 6750795"/>
              <a:gd name="connsiteX3903" fmla="*/ 5683804 w 6630249"/>
              <a:gd name="connsiteY3903" fmla="*/ 4021748 h 6750795"/>
              <a:gd name="connsiteX3904" fmla="*/ 5691499 w 6630249"/>
              <a:gd name="connsiteY3904" fmla="*/ 4014053 h 6750795"/>
              <a:gd name="connsiteX3905" fmla="*/ 5691499 w 6630249"/>
              <a:gd name="connsiteY3905" fmla="*/ 4039702 h 6750795"/>
              <a:gd name="connsiteX3906" fmla="*/ 5722277 w 6630249"/>
              <a:gd name="connsiteY3906" fmla="*/ 3967885 h 6750795"/>
              <a:gd name="connsiteX3907" fmla="*/ 5706888 w 6630249"/>
              <a:gd name="connsiteY3907" fmla="*/ 3924282 h 6750795"/>
              <a:gd name="connsiteX3908" fmla="*/ 5694063 w 6630249"/>
              <a:gd name="connsiteY3908" fmla="*/ 3916587 h 6750795"/>
              <a:gd name="connsiteX3909" fmla="*/ 5705285 w 6630249"/>
              <a:gd name="connsiteY3909" fmla="*/ 3890617 h 6750795"/>
              <a:gd name="connsiteX3910" fmla="*/ 5708365 w 6630249"/>
              <a:gd name="connsiteY3910" fmla="*/ 3881378 h 6750795"/>
              <a:gd name="connsiteX3911" fmla="*/ 5707209 w 6630249"/>
              <a:gd name="connsiteY3911" fmla="*/ 3873947 h 6750795"/>
              <a:gd name="connsiteX3912" fmla="*/ 5706888 w 6630249"/>
              <a:gd name="connsiteY3912" fmla="*/ 3857595 h 6750795"/>
              <a:gd name="connsiteX3913" fmla="*/ 5712303 w 6630249"/>
              <a:gd name="connsiteY3913" fmla="*/ 3869564 h 6750795"/>
              <a:gd name="connsiteX3914" fmla="*/ 5714583 w 6630249"/>
              <a:gd name="connsiteY3914" fmla="*/ 3862724 h 6750795"/>
              <a:gd name="connsiteX3915" fmla="*/ 5712018 w 6630249"/>
              <a:gd name="connsiteY3915" fmla="*/ 3903762 h 6750795"/>
              <a:gd name="connsiteX3916" fmla="*/ 5704323 w 6630249"/>
              <a:gd name="connsiteY3916" fmla="*/ 3906328 h 6750795"/>
              <a:gd name="connsiteX3917" fmla="*/ 5717148 w 6630249"/>
              <a:gd name="connsiteY3917" fmla="*/ 3911457 h 6750795"/>
              <a:gd name="connsiteX3918" fmla="*/ 5729972 w 6630249"/>
              <a:gd name="connsiteY3918" fmla="*/ 3885808 h 6750795"/>
              <a:gd name="connsiteX3919" fmla="*/ 5732537 w 6630249"/>
              <a:gd name="connsiteY3919" fmla="*/ 3890938 h 6750795"/>
              <a:gd name="connsiteX3920" fmla="*/ 5727407 w 6630249"/>
              <a:gd name="connsiteY3920" fmla="*/ 3898633 h 6750795"/>
              <a:gd name="connsiteX3921" fmla="*/ 5727407 w 6630249"/>
              <a:gd name="connsiteY3921" fmla="*/ 3929411 h 6750795"/>
              <a:gd name="connsiteX3922" fmla="*/ 5735102 w 6630249"/>
              <a:gd name="connsiteY3922" fmla="*/ 3908893 h 6750795"/>
              <a:gd name="connsiteX3923" fmla="*/ 5729972 w 6630249"/>
              <a:gd name="connsiteY3923" fmla="*/ 3934541 h 6750795"/>
              <a:gd name="connsiteX3924" fmla="*/ 5732537 w 6630249"/>
              <a:gd name="connsiteY3924" fmla="*/ 3957625 h 6750795"/>
              <a:gd name="connsiteX3925" fmla="*/ 5750491 w 6630249"/>
              <a:gd name="connsiteY3925" fmla="*/ 3914022 h 6750795"/>
              <a:gd name="connsiteX3926" fmla="*/ 5755621 w 6630249"/>
              <a:gd name="connsiteY3926" fmla="*/ 3931976 h 6750795"/>
              <a:gd name="connsiteX3927" fmla="*/ 5763316 w 6630249"/>
              <a:gd name="connsiteY3927" fmla="*/ 3919152 h 6750795"/>
              <a:gd name="connsiteX3928" fmla="*/ 5763316 w 6630249"/>
              <a:gd name="connsiteY3928" fmla="*/ 3973015 h 6750795"/>
              <a:gd name="connsiteX3929" fmla="*/ 5750491 w 6630249"/>
              <a:gd name="connsiteY3929" fmla="*/ 4047397 h 6750795"/>
              <a:gd name="connsiteX3930" fmla="*/ 5747926 w 6630249"/>
              <a:gd name="connsiteY3930" fmla="*/ 4067916 h 6750795"/>
              <a:gd name="connsiteX3931" fmla="*/ 5742797 w 6630249"/>
              <a:gd name="connsiteY3931" fmla="*/ 4083305 h 6750795"/>
              <a:gd name="connsiteX3932" fmla="*/ 5760751 w 6630249"/>
              <a:gd name="connsiteY3932" fmla="*/ 4098694 h 6750795"/>
              <a:gd name="connsiteX3933" fmla="*/ 5737667 w 6630249"/>
              <a:gd name="connsiteY3933" fmla="*/ 4134603 h 6750795"/>
              <a:gd name="connsiteX3934" fmla="*/ 5732537 w 6630249"/>
              <a:gd name="connsiteY3934" fmla="*/ 4155122 h 6750795"/>
              <a:gd name="connsiteX3935" fmla="*/ 5819743 w 6630249"/>
              <a:gd name="connsiteY3935" fmla="*/ 4116649 h 6750795"/>
              <a:gd name="connsiteX3936" fmla="*/ 5847957 w 6630249"/>
              <a:gd name="connsiteY3936" fmla="*/ 4047397 h 6750795"/>
              <a:gd name="connsiteX3937" fmla="*/ 5814614 w 6630249"/>
              <a:gd name="connsiteY3937" fmla="*/ 4011488 h 6750795"/>
              <a:gd name="connsiteX3938" fmla="*/ 5837697 w 6630249"/>
              <a:gd name="connsiteY3938" fmla="*/ 3996099 h 6750795"/>
              <a:gd name="connsiteX3939" fmla="*/ 5863346 w 6630249"/>
              <a:gd name="connsiteY3939" fmla="*/ 4042267 h 6750795"/>
              <a:gd name="connsiteX3940" fmla="*/ 5947988 w 6630249"/>
              <a:gd name="connsiteY3940" fmla="*/ 4080740 h 6750795"/>
              <a:gd name="connsiteX3941" fmla="*/ 5953118 w 6630249"/>
              <a:gd name="connsiteY3941" fmla="*/ 4039702 h 6750795"/>
              <a:gd name="connsiteX3942" fmla="*/ 5976202 w 6630249"/>
              <a:gd name="connsiteY3942" fmla="*/ 4103824 h 6750795"/>
              <a:gd name="connsiteX3943" fmla="*/ 5950553 w 6630249"/>
              <a:gd name="connsiteY3943" fmla="*/ 4098694 h 6750795"/>
              <a:gd name="connsiteX3944" fmla="*/ 5965942 w 6630249"/>
              <a:gd name="connsiteY3944" fmla="*/ 4173076 h 6750795"/>
              <a:gd name="connsiteX3945" fmla="*/ 5989026 w 6630249"/>
              <a:gd name="connsiteY3945" fmla="*/ 4144863 h 6750795"/>
              <a:gd name="connsiteX3946" fmla="*/ 5996721 w 6630249"/>
              <a:gd name="connsiteY3946" fmla="*/ 4216680 h 6750795"/>
              <a:gd name="connsiteX3947" fmla="*/ 6030064 w 6630249"/>
              <a:gd name="connsiteY3947" fmla="*/ 4239764 h 6750795"/>
              <a:gd name="connsiteX3948" fmla="*/ 6027499 w 6630249"/>
              <a:gd name="connsiteY3948" fmla="*/ 4232069 h 6750795"/>
              <a:gd name="connsiteX3949" fmla="*/ 6053148 w 6630249"/>
              <a:gd name="connsiteY3949" fmla="*/ 4234634 h 6750795"/>
              <a:gd name="connsiteX3950" fmla="*/ 6040324 w 6630249"/>
              <a:gd name="connsiteY3950" fmla="*/ 4255153 h 6750795"/>
              <a:gd name="connsiteX3951" fmla="*/ 6037759 w 6630249"/>
              <a:gd name="connsiteY3951" fmla="*/ 4255153 h 6750795"/>
              <a:gd name="connsiteX3952" fmla="*/ 6063408 w 6630249"/>
              <a:gd name="connsiteY3952" fmla="*/ 4270542 h 6750795"/>
              <a:gd name="connsiteX3953" fmla="*/ 6119836 w 6630249"/>
              <a:gd name="connsiteY3953" fmla="*/ 4239764 h 6750795"/>
              <a:gd name="connsiteX3954" fmla="*/ 6112855 w 6630249"/>
              <a:gd name="connsiteY3954" fmla="*/ 4251065 h 6750795"/>
              <a:gd name="connsiteX3955" fmla="*/ 6126409 w 6630249"/>
              <a:gd name="connsiteY3955" fmla="*/ 4248180 h 6750795"/>
              <a:gd name="connsiteX3956" fmla="*/ 6140356 w 6630249"/>
              <a:gd name="connsiteY3956" fmla="*/ 4257718 h 6750795"/>
              <a:gd name="connsiteX3957" fmla="*/ 6137790 w 6630249"/>
              <a:gd name="connsiteY3957" fmla="*/ 4273108 h 6750795"/>
              <a:gd name="connsiteX3958" fmla="*/ 6101881 w 6630249"/>
              <a:gd name="connsiteY3958" fmla="*/ 4270543 h 6750795"/>
              <a:gd name="connsiteX3959" fmla="*/ 6104829 w 6630249"/>
              <a:gd name="connsiteY3959" fmla="*/ 4261911 h 6750795"/>
              <a:gd name="connsiteX3960" fmla="*/ 6080080 w 6630249"/>
              <a:gd name="connsiteY3960" fmla="*/ 4273428 h 6750795"/>
              <a:gd name="connsiteX3961" fmla="*/ 6053469 w 6630249"/>
              <a:gd name="connsiteY3961" fmla="*/ 4286293 h 6750795"/>
              <a:gd name="connsiteX3962" fmla="*/ 6052018 w 6630249"/>
              <a:gd name="connsiteY3962" fmla="*/ 4288801 h 6750795"/>
              <a:gd name="connsiteX3963" fmla="*/ 6053149 w 6630249"/>
              <a:gd name="connsiteY3963" fmla="*/ 4291062 h 6750795"/>
              <a:gd name="connsiteX3964" fmla="*/ 6055714 w 6630249"/>
              <a:gd name="connsiteY3964" fmla="*/ 4296191 h 6750795"/>
              <a:gd name="connsiteX3965" fmla="*/ 6053149 w 6630249"/>
              <a:gd name="connsiteY3965" fmla="*/ 4303887 h 6750795"/>
              <a:gd name="connsiteX3966" fmla="*/ 6043490 w 6630249"/>
              <a:gd name="connsiteY3966" fmla="*/ 4306451 h 6750795"/>
              <a:gd name="connsiteX3967" fmla="*/ 6042264 w 6630249"/>
              <a:gd name="connsiteY3967" fmla="*/ 4305663 h 6750795"/>
              <a:gd name="connsiteX3968" fmla="*/ 6040324 w 6630249"/>
              <a:gd name="connsiteY3968" fmla="*/ 4309016 h 6750795"/>
              <a:gd name="connsiteX3969" fmla="*/ 6065973 w 6630249"/>
              <a:gd name="connsiteY3969" fmla="*/ 4314145 h 6750795"/>
              <a:gd name="connsiteX3970" fmla="*/ 6012110 w 6630249"/>
              <a:gd name="connsiteY3970" fmla="*/ 4429566 h 6750795"/>
              <a:gd name="connsiteX3971" fmla="*/ 5981332 w 6630249"/>
              <a:gd name="connsiteY3971" fmla="*/ 4437260 h 6750795"/>
              <a:gd name="connsiteX3972" fmla="*/ 5955683 w 6630249"/>
              <a:gd name="connsiteY3972" fmla="*/ 4493688 h 6750795"/>
              <a:gd name="connsiteX3973" fmla="*/ 5971072 w 6630249"/>
              <a:gd name="connsiteY3973" fmla="*/ 4583459 h 6750795"/>
              <a:gd name="connsiteX3974" fmla="*/ 5953118 w 6630249"/>
              <a:gd name="connsiteY3974" fmla="*/ 4580895 h 6750795"/>
              <a:gd name="connsiteX3975" fmla="*/ 5912079 w 6630249"/>
              <a:gd name="connsiteY3975" fmla="*/ 4655276 h 6750795"/>
              <a:gd name="connsiteX3976" fmla="*/ 5863346 w 6630249"/>
              <a:gd name="connsiteY3976" fmla="*/ 4665536 h 6750795"/>
              <a:gd name="connsiteX3977" fmla="*/ 5865911 w 6630249"/>
              <a:gd name="connsiteY3977" fmla="*/ 4686055 h 6750795"/>
              <a:gd name="connsiteX3978" fmla="*/ 5765880 w 6630249"/>
              <a:gd name="connsiteY3978" fmla="*/ 4693750 h 6750795"/>
              <a:gd name="connsiteX3979" fmla="*/ 5773575 w 6630249"/>
              <a:gd name="connsiteY3979" fmla="*/ 4775826 h 6750795"/>
              <a:gd name="connsiteX3980" fmla="*/ 5765880 w 6630249"/>
              <a:gd name="connsiteY3980" fmla="*/ 4786086 h 6750795"/>
              <a:gd name="connsiteX3981" fmla="*/ 5732537 w 6630249"/>
              <a:gd name="connsiteY3981" fmla="*/ 4773261 h 6750795"/>
              <a:gd name="connsiteX3982" fmla="*/ 5709453 w 6630249"/>
              <a:gd name="connsiteY3982" fmla="*/ 4798910 h 6750795"/>
              <a:gd name="connsiteX3983" fmla="*/ 5704323 w 6630249"/>
              <a:gd name="connsiteY3983" fmla="*/ 4796345 h 6750795"/>
              <a:gd name="connsiteX3984" fmla="*/ 5714583 w 6630249"/>
              <a:gd name="connsiteY3984" fmla="*/ 4783521 h 6750795"/>
              <a:gd name="connsiteX3985" fmla="*/ 5658155 w 6630249"/>
              <a:gd name="connsiteY3985" fmla="*/ 4788651 h 6750795"/>
              <a:gd name="connsiteX3986" fmla="*/ 5640201 w 6630249"/>
              <a:gd name="connsiteY3986" fmla="*/ 4786086 h 6750795"/>
              <a:gd name="connsiteX3987" fmla="*/ 5655590 w 6630249"/>
              <a:gd name="connsiteY3987" fmla="*/ 4778391 h 6750795"/>
              <a:gd name="connsiteX3988" fmla="*/ 5678674 w 6630249"/>
              <a:gd name="connsiteY3988" fmla="*/ 4727093 h 6750795"/>
              <a:gd name="connsiteX3989" fmla="*/ 5637636 w 6630249"/>
              <a:gd name="connsiteY3989" fmla="*/ 4763002 h 6750795"/>
              <a:gd name="connsiteX3990" fmla="*/ 5627376 w 6630249"/>
              <a:gd name="connsiteY3990" fmla="*/ 4783521 h 6750795"/>
              <a:gd name="connsiteX3991" fmla="*/ 5629941 w 6630249"/>
              <a:gd name="connsiteY3991" fmla="*/ 4770696 h 6750795"/>
              <a:gd name="connsiteX3992" fmla="*/ 5627376 w 6630249"/>
              <a:gd name="connsiteY3992" fmla="*/ 4745048 h 6750795"/>
              <a:gd name="connsiteX3993" fmla="*/ 5619682 w 6630249"/>
              <a:gd name="connsiteY3993" fmla="*/ 4739918 h 6750795"/>
              <a:gd name="connsiteX3994" fmla="*/ 5640201 w 6630249"/>
              <a:gd name="connsiteY3994" fmla="*/ 4698879 h 6750795"/>
              <a:gd name="connsiteX3995" fmla="*/ 5668414 w 6630249"/>
              <a:gd name="connsiteY3995" fmla="*/ 4680925 h 6750795"/>
              <a:gd name="connsiteX3996" fmla="*/ 5635071 w 6630249"/>
              <a:gd name="connsiteY3996" fmla="*/ 4696315 h 6750795"/>
              <a:gd name="connsiteX3997" fmla="*/ 5645330 w 6630249"/>
              <a:gd name="connsiteY3997" fmla="*/ 4670666 h 6750795"/>
              <a:gd name="connsiteX3998" fmla="*/ 5658155 w 6630249"/>
              <a:gd name="connsiteY3998" fmla="*/ 4662971 h 6750795"/>
              <a:gd name="connsiteX3999" fmla="*/ 5653025 w 6630249"/>
              <a:gd name="connsiteY3999" fmla="*/ 4660406 h 6750795"/>
              <a:gd name="connsiteX4000" fmla="*/ 5663285 w 6630249"/>
              <a:gd name="connsiteY4000" fmla="*/ 4650147 h 6750795"/>
              <a:gd name="connsiteX4001" fmla="*/ 5729972 w 6630249"/>
              <a:gd name="connsiteY4001" fmla="*/ 4627063 h 6750795"/>
              <a:gd name="connsiteX4002" fmla="*/ 5712018 w 6630249"/>
              <a:gd name="connsiteY4002" fmla="*/ 4621933 h 6750795"/>
              <a:gd name="connsiteX4003" fmla="*/ 5653025 w 6630249"/>
              <a:gd name="connsiteY4003" fmla="*/ 4645017 h 6750795"/>
              <a:gd name="connsiteX4004" fmla="*/ 5755621 w 6630249"/>
              <a:gd name="connsiteY4004" fmla="*/ 4568070 h 6750795"/>
              <a:gd name="connsiteX4005" fmla="*/ 5676109 w 6630249"/>
              <a:gd name="connsiteY4005" fmla="*/ 4588589 h 6750795"/>
              <a:gd name="connsiteX4006" fmla="*/ 5727407 w 6630249"/>
              <a:gd name="connsiteY4006" fmla="*/ 4544986 h 6750795"/>
              <a:gd name="connsiteX4007" fmla="*/ 5688934 w 6630249"/>
              <a:gd name="connsiteY4007" fmla="*/ 4560375 h 6750795"/>
              <a:gd name="connsiteX4008" fmla="*/ 5699193 w 6630249"/>
              <a:gd name="connsiteY4008" fmla="*/ 4509077 h 6750795"/>
              <a:gd name="connsiteX4009" fmla="*/ 5658155 w 6630249"/>
              <a:gd name="connsiteY4009" fmla="*/ 4575765 h 6750795"/>
              <a:gd name="connsiteX4010" fmla="*/ 5640201 w 6630249"/>
              <a:gd name="connsiteY4010" fmla="*/ 4534726 h 6750795"/>
              <a:gd name="connsiteX4011" fmla="*/ 5673544 w 6630249"/>
              <a:gd name="connsiteY4011" fmla="*/ 4496253 h 6750795"/>
              <a:gd name="connsiteX4012" fmla="*/ 5694063 w 6630249"/>
              <a:gd name="connsiteY4012" fmla="*/ 4498818 h 6750795"/>
              <a:gd name="connsiteX4013" fmla="*/ 5676109 w 6630249"/>
              <a:gd name="connsiteY4013" fmla="*/ 4493688 h 6750795"/>
              <a:gd name="connsiteX4014" fmla="*/ 5701758 w 6630249"/>
              <a:gd name="connsiteY4014" fmla="*/ 4460345 h 6750795"/>
              <a:gd name="connsiteX4015" fmla="*/ 5683804 w 6630249"/>
              <a:gd name="connsiteY4015" fmla="*/ 4460345 h 6750795"/>
              <a:gd name="connsiteX4016" fmla="*/ 5681239 w 6630249"/>
              <a:gd name="connsiteY4016" fmla="*/ 4439825 h 6750795"/>
              <a:gd name="connsiteX4017" fmla="*/ 5665850 w 6630249"/>
              <a:gd name="connsiteY4017" fmla="*/ 4485994 h 6750795"/>
              <a:gd name="connsiteX4018" fmla="*/ 5660720 w 6630249"/>
              <a:gd name="connsiteY4018" fmla="*/ 4483429 h 6750795"/>
              <a:gd name="connsiteX4019" fmla="*/ 5655590 w 6630249"/>
              <a:gd name="connsiteY4019" fmla="*/ 4491123 h 6750795"/>
              <a:gd name="connsiteX4020" fmla="*/ 5647896 w 6630249"/>
              <a:gd name="connsiteY4020" fmla="*/ 4396222 h 6750795"/>
              <a:gd name="connsiteX4021" fmla="*/ 5635071 w 6630249"/>
              <a:gd name="connsiteY4021" fmla="*/ 4524467 h 6750795"/>
              <a:gd name="connsiteX4022" fmla="*/ 5622247 w 6630249"/>
              <a:gd name="connsiteY4022" fmla="*/ 4516772 h 6750795"/>
              <a:gd name="connsiteX4023" fmla="*/ 5627376 w 6630249"/>
              <a:gd name="connsiteY4023" fmla="*/ 4544986 h 6750795"/>
              <a:gd name="connsiteX4024" fmla="*/ 5614552 w 6630249"/>
              <a:gd name="connsiteY4024" fmla="*/ 4537291 h 6750795"/>
              <a:gd name="connsiteX4025" fmla="*/ 5611987 w 6630249"/>
              <a:gd name="connsiteY4025" fmla="*/ 4555246 h 6750795"/>
              <a:gd name="connsiteX4026" fmla="*/ 5604292 w 6630249"/>
              <a:gd name="connsiteY4026" fmla="*/ 4550116 h 6750795"/>
              <a:gd name="connsiteX4027" fmla="*/ 5616796 w 6630249"/>
              <a:gd name="connsiteY4027" fmla="*/ 4574482 h 6750795"/>
              <a:gd name="connsiteX4028" fmla="*/ 5619338 w 6630249"/>
              <a:gd name="connsiteY4028" fmla="*/ 4595944 h 6750795"/>
              <a:gd name="connsiteX4029" fmla="*/ 5624812 w 6630249"/>
              <a:gd name="connsiteY4029" fmla="*/ 4591154 h 6750795"/>
              <a:gd name="connsiteX4030" fmla="*/ 5642766 w 6630249"/>
              <a:gd name="connsiteY4030" fmla="*/ 4588589 h 6750795"/>
              <a:gd name="connsiteX4031" fmla="*/ 5619682 w 6630249"/>
              <a:gd name="connsiteY4031" fmla="*/ 4614239 h 6750795"/>
              <a:gd name="connsiteX4032" fmla="*/ 5609423 w 6630249"/>
              <a:gd name="connsiteY4032" fmla="*/ 4606544 h 6750795"/>
              <a:gd name="connsiteX4033" fmla="*/ 5617117 w 6630249"/>
              <a:gd name="connsiteY4033" fmla="*/ 4597887 h 6750795"/>
              <a:gd name="connsiteX4034" fmla="*/ 5617904 w 6630249"/>
              <a:gd name="connsiteY4034" fmla="*/ 4597198 h 6750795"/>
              <a:gd name="connsiteX4035" fmla="*/ 5606755 w 6630249"/>
              <a:gd name="connsiteY4035" fmla="*/ 4586845 h 6750795"/>
              <a:gd name="connsiteX4036" fmla="*/ 5606857 w 6630249"/>
              <a:gd name="connsiteY4036" fmla="*/ 4588589 h 6750795"/>
              <a:gd name="connsiteX4037" fmla="*/ 5605630 w 6630249"/>
              <a:gd name="connsiteY4037" fmla="*/ 4585801 h 6750795"/>
              <a:gd name="connsiteX4038" fmla="*/ 5583773 w 6630249"/>
              <a:gd name="connsiteY4038" fmla="*/ 4565505 h 6750795"/>
              <a:gd name="connsiteX4039" fmla="*/ 5537605 w 6630249"/>
              <a:gd name="connsiteY4039" fmla="*/ 4542421 h 6750795"/>
              <a:gd name="connsiteX4040" fmla="*/ 5578643 w 6630249"/>
              <a:gd name="connsiteY4040" fmla="*/ 4583459 h 6750795"/>
              <a:gd name="connsiteX4041" fmla="*/ 5617117 w 6630249"/>
              <a:gd name="connsiteY4041" fmla="*/ 4614238 h 6750795"/>
              <a:gd name="connsiteX4042" fmla="*/ 5606857 w 6630249"/>
              <a:gd name="connsiteY4042" fmla="*/ 4683490 h 6750795"/>
              <a:gd name="connsiteX4043" fmla="*/ 5599162 w 6630249"/>
              <a:gd name="connsiteY4043" fmla="*/ 4680925 h 6750795"/>
              <a:gd name="connsiteX4044" fmla="*/ 5604292 w 6630249"/>
              <a:gd name="connsiteY4044" fmla="*/ 4698879 h 6750795"/>
              <a:gd name="connsiteX4045" fmla="*/ 5601727 w 6630249"/>
              <a:gd name="connsiteY4045" fmla="*/ 4763002 h 6750795"/>
              <a:gd name="connsiteX4046" fmla="*/ 5578643 w 6630249"/>
              <a:gd name="connsiteY4046" fmla="*/ 4737353 h 6750795"/>
              <a:gd name="connsiteX4047" fmla="*/ 5570949 w 6630249"/>
              <a:gd name="connsiteY4047" fmla="*/ 4680925 h 6750795"/>
              <a:gd name="connsiteX4048" fmla="*/ 5552994 w 6630249"/>
              <a:gd name="connsiteY4048" fmla="*/ 4711704 h 6750795"/>
              <a:gd name="connsiteX4049" fmla="*/ 5547864 w 6630249"/>
              <a:gd name="connsiteY4049" fmla="*/ 4704009 h 6750795"/>
              <a:gd name="connsiteX4050" fmla="*/ 5550430 w 6630249"/>
              <a:gd name="connsiteY4050" fmla="*/ 4668101 h 6750795"/>
              <a:gd name="connsiteX4051" fmla="*/ 5532475 w 6630249"/>
              <a:gd name="connsiteY4051" fmla="*/ 4693750 h 6750795"/>
              <a:gd name="connsiteX4052" fmla="*/ 5524781 w 6630249"/>
              <a:gd name="connsiteY4052" fmla="*/ 4691185 h 6750795"/>
              <a:gd name="connsiteX4053" fmla="*/ 5522216 w 6630249"/>
              <a:gd name="connsiteY4053" fmla="*/ 4691185 h 6750795"/>
              <a:gd name="connsiteX4054" fmla="*/ 5519651 w 6630249"/>
              <a:gd name="connsiteY4054" fmla="*/ 4691185 h 6750795"/>
              <a:gd name="connsiteX4055" fmla="*/ 5496567 w 6630249"/>
              <a:gd name="connsiteY4055" fmla="*/ 4665536 h 6750795"/>
              <a:gd name="connsiteX4056" fmla="*/ 5491437 w 6630249"/>
              <a:gd name="connsiteY4056" fmla="*/ 4683490 h 6750795"/>
              <a:gd name="connsiteX4057" fmla="*/ 5440139 w 6630249"/>
              <a:gd name="connsiteY4057" fmla="*/ 4655276 h 6750795"/>
              <a:gd name="connsiteX4058" fmla="*/ 5222123 w 6630249"/>
              <a:gd name="connsiteY4058" fmla="*/ 4634757 h 6750795"/>
              <a:gd name="connsiteX4059" fmla="*/ 5224688 w 6630249"/>
              <a:gd name="connsiteY4059" fmla="*/ 4922025 h 6750795"/>
              <a:gd name="connsiteX4060" fmla="*/ 5283680 w 6630249"/>
              <a:gd name="connsiteY4060" fmla="*/ 4950239 h 6750795"/>
              <a:gd name="connsiteX4061" fmla="*/ 5181085 w 6630249"/>
              <a:gd name="connsiteY4061" fmla="*/ 5022056 h 6750795"/>
              <a:gd name="connsiteX4062" fmla="*/ 5355498 w 6630249"/>
              <a:gd name="connsiteY4062" fmla="*/ 5152866 h 6750795"/>
              <a:gd name="connsiteX4063" fmla="*/ 5355498 w 6630249"/>
              <a:gd name="connsiteY4063" fmla="*/ 5255461 h 6750795"/>
              <a:gd name="connsiteX4064" fmla="*/ 5237513 w 6630249"/>
              <a:gd name="connsiteY4064" fmla="*/ 5327278 h 6750795"/>
              <a:gd name="connsiteX4065" fmla="*/ 5281116 w 6630249"/>
              <a:gd name="connsiteY4065" fmla="*/ 5355492 h 6750795"/>
              <a:gd name="connsiteX4066" fmla="*/ 5193909 w 6630249"/>
              <a:gd name="connsiteY4066" fmla="*/ 5447828 h 6750795"/>
              <a:gd name="connsiteX4067" fmla="*/ 5196474 w 6630249"/>
              <a:gd name="connsiteY4067" fmla="*/ 5417049 h 6750795"/>
              <a:gd name="connsiteX4068" fmla="*/ 5216993 w 6630249"/>
              <a:gd name="connsiteY4068" fmla="*/ 5401660 h 6750795"/>
              <a:gd name="connsiteX4069" fmla="*/ 5209299 w 6630249"/>
              <a:gd name="connsiteY4069" fmla="*/ 5391400 h 6750795"/>
              <a:gd name="connsiteX4070" fmla="*/ 5201604 w 6630249"/>
              <a:gd name="connsiteY4070" fmla="*/ 5396531 h 6750795"/>
              <a:gd name="connsiteX4071" fmla="*/ 5201604 w 6630249"/>
              <a:gd name="connsiteY4071" fmla="*/ 5386271 h 6750795"/>
              <a:gd name="connsiteX4072" fmla="*/ 5191345 w 6630249"/>
              <a:gd name="connsiteY4072" fmla="*/ 5393965 h 6750795"/>
              <a:gd name="connsiteX4073" fmla="*/ 5186215 w 6630249"/>
              <a:gd name="connsiteY4073" fmla="*/ 5383706 h 6750795"/>
              <a:gd name="connsiteX4074" fmla="*/ 5191345 w 6630249"/>
              <a:gd name="connsiteY4074" fmla="*/ 5409355 h 6750795"/>
              <a:gd name="connsiteX4075" fmla="*/ 5188779 w 6630249"/>
              <a:gd name="connsiteY4075" fmla="*/ 5455523 h 6750795"/>
              <a:gd name="connsiteX4076" fmla="*/ 5170825 w 6630249"/>
              <a:gd name="connsiteY4076" fmla="*/ 5470912 h 6750795"/>
              <a:gd name="connsiteX4077" fmla="*/ 5170825 w 6630249"/>
              <a:gd name="connsiteY4077" fmla="*/ 5465783 h 6750795"/>
              <a:gd name="connsiteX4078" fmla="*/ 5160566 w 6630249"/>
              <a:gd name="connsiteY4078" fmla="*/ 5455523 h 6750795"/>
              <a:gd name="connsiteX4079" fmla="*/ 5152871 w 6630249"/>
              <a:gd name="connsiteY4079" fmla="*/ 5476042 h 6750795"/>
              <a:gd name="connsiteX4080" fmla="*/ 5140047 w 6630249"/>
              <a:gd name="connsiteY4080" fmla="*/ 5468347 h 6750795"/>
              <a:gd name="connsiteX4081" fmla="*/ 5152871 w 6630249"/>
              <a:gd name="connsiteY4081" fmla="*/ 5491431 h 6750795"/>
              <a:gd name="connsiteX4082" fmla="*/ 5132352 w 6630249"/>
              <a:gd name="connsiteY4082" fmla="*/ 5522210 h 6750795"/>
              <a:gd name="connsiteX4083" fmla="*/ 5145176 w 6630249"/>
              <a:gd name="connsiteY4083" fmla="*/ 5596592 h 6750795"/>
              <a:gd name="connsiteX4084" fmla="*/ 5140047 w 6630249"/>
              <a:gd name="connsiteY4084" fmla="*/ 5619676 h 6750795"/>
              <a:gd name="connsiteX4085" fmla="*/ 5134917 w 6630249"/>
              <a:gd name="connsiteY4085" fmla="*/ 5627371 h 6750795"/>
              <a:gd name="connsiteX4086" fmla="*/ 5127222 w 6630249"/>
              <a:gd name="connsiteY4086" fmla="*/ 5640195 h 6750795"/>
              <a:gd name="connsiteX4087" fmla="*/ 5127222 w 6630249"/>
              <a:gd name="connsiteY4087" fmla="*/ 5642760 h 6750795"/>
              <a:gd name="connsiteX4088" fmla="*/ 5122092 w 6630249"/>
              <a:gd name="connsiteY4088" fmla="*/ 5668409 h 6750795"/>
              <a:gd name="connsiteX4089" fmla="*/ 4824565 w 6630249"/>
              <a:gd name="connsiteY4089" fmla="*/ 5783829 h 6750795"/>
              <a:gd name="connsiteX4090" fmla="*/ 4804046 w 6630249"/>
              <a:gd name="connsiteY4090" fmla="*/ 5776134 h 6750795"/>
              <a:gd name="connsiteX4091" fmla="*/ 4793786 w 6630249"/>
              <a:gd name="connsiteY4091" fmla="*/ 5688928 h 6750795"/>
              <a:gd name="connsiteX4092" fmla="*/ 4793786 w 6630249"/>
              <a:gd name="connsiteY4092" fmla="*/ 5686363 h 6750795"/>
              <a:gd name="connsiteX4093" fmla="*/ 4883557 w 6630249"/>
              <a:gd name="connsiteY4093" fmla="*/ 5650455 h 6750795"/>
              <a:gd name="connsiteX4094" fmla="*/ 4778397 w 6630249"/>
              <a:gd name="connsiteY4094" fmla="*/ 5617111 h 6750795"/>
              <a:gd name="connsiteX4095" fmla="*/ 4770702 w 6630249"/>
              <a:gd name="connsiteY4095" fmla="*/ 5555554 h 6750795"/>
              <a:gd name="connsiteX4096" fmla="*/ 4785451 w 6630249"/>
              <a:gd name="connsiteY4096" fmla="*/ 5554913 h 6750795"/>
              <a:gd name="connsiteX4097" fmla="*/ 4791994 w 6630249"/>
              <a:gd name="connsiteY4097" fmla="*/ 5552219 h 6750795"/>
              <a:gd name="connsiteX4098" fmla="*/ 4791221 w 6630249"/>
              <a:gd name="connsiteY4098" fmla="*/ 5560683 h 6750795"/>
              <a:gd name="connsiteX4099" fmla="*/ 4863038 w 6630249"/>
              <a:gd name="connsiteY4099" fmla="*/ 5560683 h 6750795"/>
              <a:gd name="connsiteX4100" fmla="*/ 4834824 w 6630249"/>
              <a:gd name="connsiteY4100" fmla="*/ 5501691 h 6750795"/>
              <a:gd name="connsiteX4101" fmla="*/ 4793346 w 6630249"/>
              <a:gd name="connsiteY4101" fmla="*/ 5537399 h 6750795"/>
              <a:gd name="connsiteX4102" fmla="*/ 4792552 w 6630249"/>
              <a:gd name="connsiteY4102" fmla="*/ 5546095 h 6750795"/>
              <a:gd name="connsiteX4103" fmla="*/ 4782565 w 6630249"/>
              <a:gd name="connsiteY4103" fmla="*/ 5534715 h 6750795"/>
              <a:gd name="connsiteX4104" fmla="*/ 4763007 w 6630249"/>
              <a:gd name="connsiteY4104" fmla="*/ 5524775 h 6750795"/>
              <a:gd name="connsiteX4105" fmla="*/ 4757877 w 6630249"/>
              <a:gd name="connsiteY4105" fmla="*/ 5488866 h 6750795"/>
              <a:gd name="connsiteX4106" fmla="*/ 4788656 w 6630249"/>
              <a:gd name="connsiteY4106" fmla="*/ 5476042 h 6750795"/>
              <a:gd name="connsiteX4107" fmla="*/ 4796351 w 6630249"/>
              <a:gd name="connsiteY4107" fmla="*/ 5458088 h 6750795"/>
              <a:gd name="connsiteX4108" fmla="*/ 4780962 w 6630249"/>
              <a:gd name="connsiteY4108" fmla="*/ 5458088 h 6750795"/>
              <a:gd name="connsiteX4109" fmla="*/ 4780962 w 6630249"/>
              <a:gd name="connsiteY4109" fmla="*/ 5447828 h 6750795"/>
              <a:gd name="connsiteX4110" fmla="*/ 4752748 w 6630249"/>
              <a:gd name="connsiteY4110" fmla="*/ 5481172 h 6750795"/>
              <a:gd name="connsiteX4111" fmla="*/ 4750183 w 6630249"/>
              <a:gd name="connsiteY4111" fmla="*/ 5468347 h 6750795"/>
              <a:gd name="connsiteX4112" fmla="*/ 4770702 w 6630249"/>
              <a:gd name="connsiteY4112" fmla="*/ 5447828 h 6750795"/>
              <a:gd name="connsiteX4113" fmla="*/ 4763007 w 6630249"/>
              <a:gd name="connsiteY4113" fmla="*/ 5447828 h 6750795"/>
              <a:gd name="connsiteX4114" fmla="*/ 4773267 w 6630249"/>
              <a:gd name="connsiteY4114" fmla="*/ 5424744 h 6750795"/>
              <a:gd name="connsiteX4115" fmla="*/ 4757877 w 6630249"/>
              <a:gd name="connsiteY4115" fmla="*/ 5419614 h 6750795"/>
              <a:gd name="connsiteX4116" fmla="*/ 4757877 w 6630249"/>
              <a:gd name="connsiteY4116" fmla="*/ 5350362 h 6750795"/>
              <a:gd name="connsiteX4117" fmla="*/ 4804046 w 6630249"/>
              <a:gd name="connsiteY4117" fmla="*/ 5355492 h 6750795"/>
              <a:gd name="connsiteX4118" fmla="*/ 4786091 w 6630249"/>
              <a:gd name="connsiteY4118" fmla="*/ 5342668 h 6750795"/>
              <a:gd name="connsiteX4119" fmla="*/ 4796351 w 6630249"/>
              <a:gd name="connsiteY4119" fmla="*/ 5327278 h 6750795"/>
              <a:gd name="connsiteX4120" fmla="*/ 4780962 w 6630249"/>
              <a:gd name="connsiteY4120" fmla="*/ 5324713 h 6750795"/>
              <a:gd name="connsiteX4121" fmla="*/ 4791221 w 6630249"/>
              <a:gd name="connsiteY4121" fmla="*/ 5317019 h 6750795"/>
              <a:gd name="connsiteX4122" fmla="*/ 4773267 w 6630249"/>
              <a:gd name="connsiteY4122" fmla="*/ 5314454 h 6750795"/>
              <a:gd name="connsiteX4123" fmla="*/ 4780962 w 6630249"/>
              <a:gd name="connsiteY4123" fmla="*/ 5304194 h 6750795"/>
              <a:gd name="connsiteX4124" fmla="*/ 4760442 w 6630249"/>
              <a:gd name="connsiteY4124" fmla="*/ 5311889 h 6750795"/>
              <a:gd name="connsiteX4125" fmla="*/ 4763007 w 6630249"/>
              <a:gd name="connsiteY4125" fmla="*/ 5278545 h 6750795"/>
              <a:gd name="connsiteX4126" fmla="*/ 4755313 w 6630249"/>
              <a:gd name="connsiteY4126" fmla="*/ 5288805 h 6750795"/>
              <a:gd name="connsiteX4127" fmla="*/ 4755313 w 6630249"/>
              <a:gd name="connsiteY4127" fmla="*/ 5270851 h 6750795"/>
              <a:gd name="connsiteX4128" fmla="*/ 4770702 w 6630249"/>
              <a:gd name="connsiteY4128" fmla="*/ 5240072 h 6750795"/>
              <a:gd name="connsiteX4129" fmla="*/ 4763007 w 6630249"/>
              <a:gd name="connsiteY4129" fmla="*/ 5252896 h 6750795"/>
              <a:gd name="connsiteX4130" fmla="*/ 4757877 w 6630249"/>
              <a:gd name="connsiteY4130" fmla="*/ 5224682 h 6750795"/>
              <a:gd name="connsiteX4131" fmla="*/ 4747618 w 6630249"/>
              <a:gd name="connsiteY4131" fmla="*/ 5232377 h 6750795"/>
              <a:gd name="connsiteX4132" fmla="*/ 4752748 w 6630249"/>
              <a:gd name="connsiteY4132" fmla="*/ 5173385 h 6750795"/>
              <a:gd name="connsiteX4133" fmla="*/ 4745053 w 6630249"/>
              <a:gd name="connsiteY4133" fmla="*/ 5170820 h 6750795"/>
              <a:gd name="connsiteX4134" fmla="*/ 4739923 w 6630249"/>
              <a:gd name="connsiteY4134" fmla="*/ 5140041 h 6750795"/>
              <a:gd name="connsiteX4135" fmla="*/ 4770702 w 6630249"/>
              <a:gd name="connsiteY4135" fmla="*/ 5134911 h 6750795"/>
              <a:gd name="connsiteX4136" fmla="*/ 4739923 w 6630249"/>
              <a:gd name="connsiteY4136" fmla="*/ 5134911 h 6750795"/>
              <a:gd name="connsiteX4137" fmla="*/ 4760442 w 6630249"/>
              <a:gd name="connsiteY4137" fmla="*/ 5014361 h 6750795"/>
              <a:gd name="connsiteX4138" fmla="*/ 4778397 w 6630249"/>
              <a:gd name="connsiteY4138" fmla="*/ 4983583 h 6750795"/>
              <a:gd name="connsiteX4139" fmla="*/ 4788656 w 6630249"/>
              <a:gd name="connsiteY4139" fmla="*/ 4988712 h 6750795"/>
              <a:gd name="connsiteX4140" fmla="*/ 4775832 w 6630249"/>
              <a:gd name="connsiteY4140" fmla="*/ 4978453 h 6750795"/>
              <a:gd name="connsiteX4141" fmla="*/ 4786091 w 6630249"/>
              <a:gd name="connsiteY4141" fmla="*/ 4965628 h 6750795"/>
              <a:gd name="connsiteX4142" fmla="*/ 4811740 w 6630249"/>
              <a:gd name="connsiteY4142" fmla="*/ 4955369 h 6750795"/>
              <a:gd name="connsiteX4143" fmla="*/ 4834824 w 6630249"/>
              <a:gd name="connsiteY4143" fmla="*/ 4939980 h 6750795"/>
              <a:gd name="connsiteX4144" fmla="*/ 4798916 w 6630249"/>
              <a:gd name="connsiteY4144" fmla="*/ 4942544 h 6750795"/>
              <a:gd name="connsiteX4145" fmla="*/ 4804046 w 6630249"/>
              <a:gd name="connsiteY4145" fmla="*/ 4916895 h 6750795"/>
              <a:gd name="connsiteX4146" fmla="*/ 4775832 w 6630249"/>
              <a:gd name="connsiteY4146" fmla="*/ 4955369 h 6750795"/>
              <a:gd name="connsiteX4147" fmla="*/ 4773267 w 6630249"/>
              <a:gd name="connsiteY4147" fmla="*/ 4919460 h 6750795"/>
              <a:gd name="connsiteX4148" fmla="*/ 4765572 w 6630249"/>
              <a:gd name="connsiteY4148" fmla="*/ 4981018 h 6750795"/>
              <a:gd name="connsiteX4149" fmla="*/ 4763007 w 6630249"/>
              <a:gd name="connsiteY4149" fmla="*/ 4965628 h 6750795"/>
              <a:gd name="connsiteX4150" fmla="*/ 4765572 w 6630249"/>
              <a:gd name="connsiteY4150" fmla="*/ 4914331 h 6750795"/>
              <a:gd name="connsiteX4151" fmla="*/ 4775832 w 6630249"/>
              <a:gd name="connsiteY4151" fmla="*/ 4901506 h 6750795"/>
              <a:gd name="connsiteX4152" fmla="*/ 4765572 w 6630249"/>
              <a:gd name="connsiteY4152" fmla="*/ 4898941 h 6750795"/>
              <a:gd name="connsiteX4153" fmla="*/ 4763007 w 6630249"/>
              <a:gd name="connsiteY4153" fmla="*/ 4878422 h 6750795"/>
              <a:gd name="connsiteX4154" fmla="*/ 4775832 w 6630249"/>
              <a:gd name="connsiteY4154" fmla="*/ 4873292 h 6750795"/>
              <a:gd name="connsiteX4155" fmla="*/ 4760442 w 6630249"/>
              <a:gd name="connsiteY4155" fmla="*/ 4860468 h 6750795"/>
              <a:gd name="connsiteX4156" fmla="*/ 4763007 w 6630249"/>
              <a:gd name="connsiteY4156" fmla="*/ 4819430 h 6750795"/>
              <a:gd name="connsiteX4157" fmla="*/ 4775832 w 6630249"/>
              <a:gd name="connsiteY4157" fmla="*/ 4821994 h 6750795"/>
              <a:gd name="connsiteX4158" fmla="*/ 4780962 w 6630249"/>
              <a:gd name="connsiteY4158" fmla="*/ 4816865 h 6750795"/>
              <a:gd name="connsiteX4159" fmla="*/ 4750183 w 6630249"/>
              <a:gd name="connsiteY4159" fmla="*/ 4793781 h 6750795"/>
              <a:gd name="connsiteX4160" fmla="*/ 4775832 w 6630249"/>
              <a:gd name="connsiteY4160" fmla="*/ 4791216 h 6750795"/>
              <a:gd name="connsiteX4161" fmla="*/ 4770702 w 6630249"/>
              <a:gd name="connsiteY4161" fmla="*/ 4775826 h 6750795"/>
              <a:gd name="connsiteX4162" fmla="*/ 4747618 w 6630249"/>
              <a:gd name="connsiteY4162" fmla="*/ 4780956 h 6750795"/>
              <a:gd name="connsiteX4163" fmla="*/ 4732228 w 6630249"/>
              <a:gd name="connsiteY4163" fmla="*/ 4709139 h 6750795"/>
              <a:gd name="connsiteX4164" fmla="*/ 4752748 w 6630249"/>
              <a:gd name="connsiteY4164" fmla="*/ 4706574 h 6750795"/>
              <a:gd name="connsiteX4165" fmla="*/ 4763007 w 6630249"/>
              <a:gd name="connsiteY4165" fmla="*/ 4752742 h 6750795"/>
              <a:gd name="connsiteX4166" fmla="*/ 4755313 w 6630249"/>
              <a:gd name="connsiteY4166" fmla="*/ 4704009 h 6750795"/>
              <a:gd name="connsiteX4167" fmla="*/ 4773267 w 6630249"/>
              <a:gd name="connsiteY4167" fmla="*/ 4701444 h 6750795"/>
              <a:gd name="connsiteX4168" fmla="*/ 4793786 w 6630249"/>
              <a:gd name="connsiteY4168" fmla="*/ 4727093 h 6750795"/>
              <a:gd name="connsiteX4169" fmla="*/ 4775832 w 6630249"/>
              <a:gd name="connsiteY4169" fmla="*/ 4698879 h 6750795"/>
              <a:gd name="connsiteX4170" fmla="*/ 4796351 w 6630249"/>
              <a:gd name="connsiteY4170" fmla="*/ 4704009 h 6750795"/>
              <a:gd name="connsiteX4171" fmla="*/ 4827130 w 6630249"/>
              <a:gd name="connsiteY4171" fmla="*/ 4691185 h 6750795"/>
              <a:gd name="connsiteX4172" fmla="*/ 4793786 w 6630249"/>
              <a:gd name="connsiteY4172" fmla="*/ 4680925 h 6750795"/>
              <a:gd name="connsiteX4173" fmla="*/ 4806611 w 6630249"/>
              <a:gd name="connsiteY4173" fmla="*/ 4665536 h 6750795"/>
              <a:gd name="connsiteX4174" fmla="*/ 4801481 w 6630249"/>
              <a:gd name="connsiteY4174" fmla="*/ 4650147 h 6750795"/>
              <a:gd name="connsiteX4175" fmla="*/ 4768137 w 6630249"/>
              <a:gd name="connsiteY4175" fmla="*/ 4665536 h 6750795"/>
              <a:gd name="connsiteX4176" fmla="*/ 4760442 w 6630249"/>
              <a:gd name="connsiteY4176" fmla="*/ 4655276 h 6750795"/>
              <a:gd name="connsiteX4177" fmla="*/ 4755313 w 6630249"/>
              <a:gd name="connsiteY4177" fmla="*/ 4680925 h 6750795"/>
              <a:gd name="connsiteX4178" fmla="*/ 4747618 w 6630249"/>
              <a:gd name="connsiteY4178" fmla="*/ 4680925 h 6750795"/>
              <a:gd name="connsiteX4179" fmla="*/ 4742488 w 6630249"/>
              <a:gd name="connsiteY4179" fmla="*/ 4688620 h 6750795"/>
              <a:gd name="connsiteX4180" fmla="*/ 4732228 w 6630249"/>
              <a:gd name="connsiteY4180" fmla="*/ 4686055 h 6750795"/>
              <a:gd name="connsiteX4181" fmla="*/ 4714274 w 6630249"/>
              <a:gd name="connsiteY4181" fmla="*/ 4665536 h 6750795"/>
              <a:gd name="connsiteX4182" fmla="*/ 4721969 w 6630249"/>
              <a:gd name="connsiteY4182" fmla="*/ 4627063 h 6750795"/>
              <a:gd name="connsiteX4183" fmla="*/ 4709145 w 6630249"/>
              <a:gd name="connsiteY4183" fmla="*/ 4632192 h 6750795"/>
              <a:gd name="connsiteX4184" fmla="*/ 4680931 w 6630249"/>
              <a:gd name="connsiteY4184" fmla="*/ 4514207 h 6750795"/>
              <a:gd name="connsiteX4185" fmla="*/ 4716839 w 6630249"/>
              <a:gd name="connsiteY4185" fmla="*/ 4501383 h 6750795"/>
              <a:gd name="connsiteX4186" fmla="*/ 4678366 w 6630249"/>
              <a:gd name="connsiteY4186" fmla="*/ 4480863 h 6750795"/>
              <a:gd name="connsiteX4187" fmla="*/ 4696320 w 6630249"/>
              <a:gd name="connsiteY4187" fmla="*/ 4447520 h 6750795"/>
              <a:gd name="connsiteX4188" fmla="*/ 4688625 w 6630249"/>
              <a:gd name="connsiteY4188" fmla="*/ 4439825 h 6750795"/>
              <a:gd name="connsiteX4189" fmla="*/ 4755313 w 6630249"/>
              <a:gd name="connsiteY4189" fmla="*/ 4419306 h 6750795"/>
              <a:gd name="connsiteX4190" fmla="*/ 4709145 w 6630249"/>
              <a:gd name="connsiteY4190" fmla="*/ 4414176 h 6750795"/>
              <a:gd name="connsiteX4191" fmla="*/ 4750183 w 6630249"/>
              <a:gd name="connsiteY4191" fmla="*/ 4396222 h 6750795"/>
              <a:gd name="connsiteX4192" fmla="*/ 4721969 w 6630249"/>
              <a:gd name="connsiteY4192" fmla="*/ 4398787 h 6750795"/>
              <a:gd name="connsiteX4193" fmla="*/ 4737359 w 6630249"/>
              <a:gd name="connsiteY4193" fmla="*/ 4370573 h 6750795"/>
              <a:gd name="connsiteX4194" fmla="*/ 4711710 w 6630249"/>
              <a:gd name="connsiteY4194" fmla="*/ 4383398 h 6750795"/>
              <a:gd name="connsiteX4195" fmla="*/ 4698885 w 6630249"/>
              <a:gd name="connsiteY4195" fmla="*/ 4406482 h 6750795"/>
              <a:gd name="connsiteX4196" fmla="*/ 4701450 w 6630249"/>
              <a:gd name="connsiteY4196" fmla="*/ 4370573 h 6750795"/>
              <a:gd name="connsiteX4197" fmla="*/ 4719404 w 6630249"/>
              <a:gd name="connsiteY4197" fmla="*/ 4326970 h 6750795"/>
              <a:gd name="connsiteX4198" fmla="*/ 4691190 w 6630249"/>
              <a:gd name="connsiteY4198" fmla="*/ 4375703 h 6750795"/>
              <a:gd name="connsiteX4199" fmla="*/ 4688625 w 6630249"/>
              <a:gd name="connsiteY4199" fmla="*/ 4360314 h 6750795"/>
              <a:gd name="connsiteX4200" fmla="*/ 4668106 w 6630249"/>
              <a:gd name="connsiteY4200" fmla="*/ 4411611 h 6750795"/>
              <a:gd name="connsiteX4201" fmla="*/ 4662976 w 6630249"/>
              <a:gd name="connsiteY4201" fmla="*/ 4373138 h 6750795"/>
              <a:gd name="connsiteX4202" fmla="*/ 4655282 w 6630249"/>
              <a:gd name="connsiteY4202" fmla="*/ 4350054 h 6750795"/>
              <a:gd name="connsiteX4203" fmla="*/ 4652717 w 6630249"/>
              <a:gd name="connsiteY4203" fmla="*/ 4311581 h 6750795"/>
              <a:gd name="connsiteX4204" fmla="*/ 4650152 w 6630249"/>
              <a:gd name="connsiteY4204" fmla="*/ 4221810 h 6750795"/>
              <a:gd name="connsiteX4205" fmla="*/ 4642457 w 6630249"/>
              <a:gd name="connsiteY4205" fmla="*/ 4216680 h 6750795"/>
              <a:gd name="connsiteX4206" fmla="*/ 4634763 w 6630249"/>
              <a:gd name="connsiteY4206" fmla="*/ 4165382 h 6750795"/>
              <a:gd name="connsiteX4207" fmla="*/ 4660412 w 6630249"/>
              <a:gd name="connsiteY4207" fmla="*/ 4160252 h 6750795"/>
              <a:gd name="connsiteX4208" fmla="*/ 4634763 w 6630249"/>
              <a:gd name="connsiteY4208" fmla="*/ 4162817 h 6750795"/>
              <a:gd name="connsiteX4209" fmla="*/ 4655282 w 6630249"/>
              <a:gd name="connsiteY4209" fmla="*/ 4134603 h 6750795"/>
              <a:gd name="connsiteX4210" fmla="*/ 4637327 w 6630249"/>
              <a:gd name="connsiteY4210" fmla="*/ 4147427 h 6750795"/>
              <a:gd name="connsiteX4211" fmla="*/ 4624503 w 6630249"/>
              <a:gd name="connsiteY4211" fmla="*/ 4124343 h 6750795"/>
              <a:gd name="connsiteX4212" fmla="*/ 4624503 w 6630249"/>
              <a:gd name="connsiteY4212" fmla="*/ 4155122 h 6750795"/>
              <a:gd name="connsiteX4213" fmla="*/ 4611679 w 6630249"/>
              <a:gd name="connsiteY4213" fmla="*/ 4147427 h 6750795"/>
              <a:gd name="connsiteX4214" fmla="*/ 4606549 w 6630249"/>
              <a:gd name="connsiteY4214" fmla="*/ 4152557 h 6750795"/>
              <a:gd name="connsiteX4215" fmla="*/ 4621938 w 6630249"/>
              <a:gd name="connsiteY4215" fmla="*/ 4160252 h 6750795"/>
              <a:gd name="connsiteX4216" fmla="*/ 4619373 w 6630249"/>
              <a:gd name="connsiteY4216" fmla="*/ 4178206 h 6750795"/>
              <a:gd name="connsiteX4217" fmla="*/ 4634763 w 6630249"/>
              <a:gd name="connsiteY4217" fmla="*/ 4237199 h 6750795"/>
              <a:gd name="connsiteX4218" fmla="*/ 4627068 w 6630249"/>
              <a:gd name="connsiteY4218" fmla="*/ 4237199 h 6750795"/>
              <a:gd name="connsiteX4219" fmla="*/ 4634763 w 6630249"/>
              <a:gd name="connsiteY4219" fmla="*/ 4255153 h 6750795"/>
              <a:gd name="connsiteX4220" fmla="*/ 4645022 w 6630249"/>
              <a:gd name="connsiteY4220" fmla="*/ 4347489 h 6750795"/>
              <a:gd name="connsiteX4221" fmla="*/ 4655282 w 6630249"/>
              <a:gd name="connsiteY4221" fmla="*/ 4380833 h 6750795"/>
              <a:gd name="connsiteX4222" fmla="*/ 4645022 w 6630249"/>
              <a:gd name="connsiteY4222" fmla="*/ 4398787 h 6750795"/>
              <a:gd name="connsiteX4223" fmla="*/ 4637327 w 6630249"/>
              <a:gd name="connsiteY4223" fmla="*/ 4414176 h 6750795"/>
              <a:gd name="connsiteX4224" fmla="*/ 4619373 w 6630249"/>
              <a:gd name="connsiteY4224" fmla="*/ 4409047 h 6750795"/>
              <a:gd name="connsiteX4225" fmla="*/ 4586030 w 6630249"/>
              <a:gd name="connsiteY4225" fmla="*/ 4437260 h 6750795"/>
              <a:gd name="connsiteX4226" fmla="*/ 4575770 w 6630249"/>
              <a:gd name="connsiteY4226" fmla="*/ 4432131 h 6750795"/>
              <a:gd name="connsiteX4227" fmla="*/ 4583465 w 6630249"/>
              <a:gd name="connsiteY4227" fmla="*/ 4470604 h 6750795"/>
              <a:gd name="connsiteX4228" fmla="*/ 4593724 w 6630249"/>
              <a:gd name="connsiteY4228" fmla="*/ 4478299 h 6750795"/>
              <a:gd name="connsiteX4229" fmla="*/ 4588595 w 6630249"/>
              <a:gd name="connsiteY4229" fmla="*/ 4488558 h 6750795"/>
              <a:gd name="connsiteX4230" fmla="*/ 4501388 w 6630249"/>
              <a:gd name="connsiteY4230" fmla="*/ 4478299 h 6750795"/>
              <a:gd name="connsiteX4231" fmla="*/ 4588595 w 6630249"/>
              <a:gd name="connsiteY4231" fmla="*/ 4498818 h 6750795"/>
              <a:gd name="connsiteX4232" fmla="*/ 4583465 w 6630249"/>
              <a:gd name="connsiteY4232" fmla="*/ 4506512 h 6750795"/>
              <a:gd name="connsiteX4233" fmla="*/ 4598854 w 6630249"/>
              <a:gd name="connsiteY4233" fmla="*/ 4516772 h 6750795"/>
              <a:gd name="connsiteX4234" fmla="*/ 4550121 w 6630249"/>
              <a:gd name="connsiteY4234" fmla="*/ 4632192 h 6750795"/>
              <a:gd name="connsiteX4235" fmla="*/ 4539861 w 6630249"/>
              <a:gd name="connsiteY4235" fmla="*/ 4627063 h 6750795"/>
              <a:gd name="connsiteX4236" fmla="*/ 4534732 w 6630249"/>
              <a:gd name="connsiteY4236" fmla="*/ 4629627 h 6750795"/>
              <a:gd name="connsiteX4237" fmla="*/ 4539861 w 6630249"/>
              <a:gd name="connsiteY4237" fmla="*/ 4642452 h 6750795"/>
              <a:gd name="connsiteX4238" fmla="*/ 4496258 w 6630249"/>
              <a:gd name="connsiteY4238" fmla="*/ 4796345 h 6750795"/>
              <a:gd name="connsiteX4239" fmla="*/ 4485999 w 6630249"/>
              <a:gd name="connsiteY4239" fmla="*/ 4804040 h 6750795"/>
              <a:gd name="connsiteX4240" fmla="*/ 4462915 w 6630249"/>
              <a:gd name="connsiteY4240" fmla="*/ 4909201 h 6750795"/>
              <a:gd name="connsiteX4241" fmla="*/ 4452655 w 6630249"/>
              <a:gd name="connsiteY4241" fmla="*/ 4906636 h 6750795"/>
              <a:gd name="connsiteX4242" fmla="*/ 4457785 w 6630249"/>
              <a:gd name="connsiteY4242" fmla="*/ 4932285 h 6750795"/>
              <a:gd name="connsiteX4243" fmla="*/ 4406487 w 6630249"/>
              <a:gd name="connsiteY4243" fmla="*/ 4993842 h 6750795"/>
              <a:gd name="connsiteX4244" fmla="*/ 4385968 w 6630249"/>
              <a:gd name="connsiteY4244" fmla="*/ 5001537 h 6750795"/>
              <a:gd name="connsiteX4245" fmla="*/ 4378273 w 6630249"/>
              <a:gd name="connsiteY4245" fmla="*/ 4998972 h 6750795"/>
              <a:gd name="connsiteX4246" fmla="*/ 4360319 w 6630249"/>
              <a:gd name="connsiteY4246" fmla="*/ 4998972 h 6750795"/>
              <a:gd name="connsiteX4247" fmla="*/ 4368014 w 6630249"/>
              <a:gd name="connsiteY4247" fmla="*/ 4988712 h 6750795"/>
              <a:gd name="connsiteX4248" fmla="*/ 4362884 w 6630249"/>
              <a:gd name="connsiteY4248" fmla="*/ 4975888 h 6750795"/>
              <a:gd name="connsiteX4249" fmla="*/ 4419312 w 6630249"/>
              <a:gd name="connsiteY4249" fmla="*/ 4898941 h 6750795"/>
              <a:gd name="connsiteX4250" fmla="*/ 4373143 w 6630249"/>
              <a:gd name="connsiteY4250" fmla="*/ 4929720 h 6750795"/>
              <a:gd name="connsiteX4251" fmla="*/ 4350060 w 6630249"/>
              <a:gd name="connsiteY4251" fmla="*/ 4845079 h 6750795"/>
              <a:gd name="connsiteX4252" fmla="*/ 4329540 w 6630249"/>
              <a:gd name="connsiteY4252" fmla="*/ 4924590 h 6750795"/>
              <a:gd name="connsiteX4253" fmla="*/ 4309021 w 6630249"/>
              <a:gd name="connsiteY4253" fmla="*/ 4906636 h 6750795"/>
              <a:gd name="connsiteX4254" fmla="*/ 4306456 w 6630249"/>
              <a:gd name="connsiteY4254" fmla="*/ 4924590 h 6750795"/>
              <a:gd name="connsiteX4255" fmla="*/ 4252594 w 6630249"/>
              <a:gd name="connsiteY4255" fmla="*/ 4896376 h 6750795"/>
              <a:gd name="connsiteX4256" fmla="*/ 4247464 w 6630249"/>
              <a:gd name="connsiteY4256" fmla="*/ 4898941 h 6750795"/>
              <a:gd name="connsiteX4257" fmla="*/ 4321846 w 6630249"/>
              <a:gd name="connsiteY4257" fmla="*/ 4973323 h 6750795"/>
              <a:gd name="connsiteX4258" fmla="*/ 4321846 w 6630249"/>
              <a:gd name="connsiteY4258" fmla="*/ 4981018 h 6750795"/>
              <a:gd name="connsiteX4259" fmla="*/ 4334670 w 6630249"/>
              <a:gd name="connsiteY4259" fmla="*/ 4983583 h 6750795"/>
              <a:gd name="connsiteX4260" fmla="*/ 4321846 w 6630249"/>
              <a:gd name="connsiteY4260" fmla="*/ 4986148 h 6750795"/>
              <a:gd name="connsiteX4261" fmla="*/ 4324411 w 6630249"/>
              <a:gd name="connsiteY4261" fmla="*/ 4993842 h 6750795"/>
              <a:gd name="connsiteX4262" fmla="*/ 4293632 w 6630249"/>
              <a:gd name="connsiteY4262" fmla="*/ 4960499 h 6750795"/>
              <a:gd name="connsiteX4263" fmla="*/ 4201296 w 6630249"/>
              <a:gd name="connsiteY4263" fmla="*/ 4924590 h 6750795"/>
              <a:gd name="connsiteX4264" fmla="*/ 4221815 w 6630249"/>
              <a:gd name="connsiteY4264" fmla="*/ 4968193 h 6750795"/>
              <a:gd name="connsiteX4265" fmla="*/ 4250029 w 6630249"/>
              <a:gd name="connsiteY4265" fmla="*/ 4986148 h 6750795"/>
              <a:gd name="connsiteX4266" fmla="*/ 4257723 w 6630249"/>
              <a:gd name="connsiteY4266" fmla="*/ 4998972 h 6750795"/>
              <a:gd name="connsiteX4267" fmla="*/ 4278242 w 6630249"/>
              <a:gd name="connsiteY4267" fmla="*/ 5004102 h 6750795"/>
              <a:gd name="connsiteX4268" fmla="*/ 4342365 w 6630249"/>
              <a:gd name="connsiteY4268" fmla="*/ 5029751 h 6750795"/>
              <a:gd name="connsiteX4269" fmla="*/ 4342365 w 6630249"/>
              <a:gd name="connsiteY4269" fmla="*/ 5040010 h 6750795"/>
              <a:gd name="connsiteX4270" fmla="*/ 4357754 w 6630249"/>
              <a:gd name="connsiteY4270" fmla="*/ 5040010 h 6750795"/>
              <a:gd name="connsiteX4271" fmla="*/ 4370579 w 6630249"/>
              <a:gd name="connsiteY4271" fmla="*/ 5055400 h 6750795"/>
              <a:gd name="connsiteX4272" fmla="*/ 4355189 w 6630249"/>
              <a:gd name="connsiteY4272" fmla="*/ 5057964 h 6750795"/>
              <a:gd name="connsiteX4273" fmla="*/ 4370579 w 6630249"/>
              <a:gd name="connsiteY4273" fmla="*/ 5068224 h 6750795"/>
              <a:gd name="connsiteX4274" fmla="*/ 4337235 w 6630249"/>
              <a:gd name="connsiteY4274" fmla="*/ 5073354 h 6750795"/>
              <a:gd name="connsiteX4275" fmla="*/ 4319281 w 6630249"/>
              <a:gd name="connsiteY4275" fmla="*/ 5065659 h 6750795"/>
              <a:gd name="connsiteX4276" fmla="*/ 4265418 w 6630249"/>
              <a:gd name="connsiteY4276" fmla="*/ 5101568 h 6750795"/>
              <a:gd name="connsiteX4277" fmla="*/ 4291067 w 6630249"/>
              <a:gd name="connsiteY4277" fmla="*/ 5109262 h 6750795"/>
              <a:gd name="connsiteX4278" fmla="*/ 4319281 w 6630249"/>
              <a:gd name="connsiteY4278" fmla="*/ 5099003 h 6750795"/>
              <a:gd name="connsiteX4279" fmla="*/ 4350060 w 6630249"/>
              <a:gd name="connsiteY4279" fmla="*/ 5078484 h 6750795"/>
              <a:gd name="connsiteX4280" fmla="*/ 4378273 w 6630249"/>
              <a:gd name="connsiteY4280" fmla="*/ 5073354 h 6750795"/>
              <a:gd name="connsiteX4281" fmla="*/ 4380838 w 6630249"/>
              <a:gd name="connsiteY4281" fmla="*/ 5093873 h 6750795"/>
              <a:gd name="connsiteX4282" fmla="*/ 4370579 w 6630249"/>
              <a:gd name="connsiteY4282" fmla="*/ 5101568 h 6750795"/>
              <a:gd name="connsiteX4283" fmla="*/ 4347494 w 6630249"/>
              <a:gd name="connsiteY4283" fmla="*/ 5104132 h 6750795"/>
              <a:gd name="connsiteX4284" fmla="*/ 4360319 w 6630249"/>
              <a:gd name="connsiteY4284" fmla="*/ 5111827 h 6750795"/>
              <a:gd name="connsiteX4285" fmla="*/ 4380838 w 6630249"/>
              <a:gd name="connsiteY4285" fmla="*/ 5137476 h 6750795"/>
              <a:gd name="connsiteX4286" fmla="*/ 4411617 w 6630249"/>
              <a:gd name="connsiteY4286" fmla="*/ 5127217 h 6750795"/>
              <a:gd name="connsiteX4287" fmla="*/ 4416747 w 6630249"/>
              <a:gd name="connsiteY4287" fmla="*/ 5150301 h 6750795"/>
              <a:gd name="connsiteX4288" fmla="*/ 4421877 w 6630249"/>
              <a:gd name="connsiteY4288" fmla="*/ 5155430 h 6750795"/>
              <a:gd name="connsiteX4289" fmla="*/ 4424441 w 6630249"/>
              <a:gd name="connsiteY4289" fmla="*/ 5286240 h 6750795"/>
              <a:gd name="connsiteX4290" fmla="*/ 4419312 w 6630249"/>
              <a:gd name="connsiteY4290" fmla="*/ 5291370 h 6750795"/>
              <a:gd name="connsiteX4291" fmla="*/ 4403922 w 6630249"/>
              <a:gd name="connsiteY4291" fmla="*/ 5288805 h 6750795"/>
              <a:gd name="connsiteX4292" fmla="*/ 4401357 w 6630249"/>
              <a:gd name="connsiteY4292" fmla="*/ 5306759 h 6750795"/>
              <a:gd name="connsiteX4293" fmla="*/ 4393663 w 6630249"/>
              <a:gd name="connsiteY4293" fmla="*/ 5288805 h 6750795"/>
              <a:gd name="connsiteX4294" fmla="*/ 4398792 w 6630249"/>
              <a:gd name="connsiteY4294" fmla="*/ 5278545 h 6750795"/>
              <a:gd name="connsiteX4295" fmla="*/ 4391098 w 6630249"/>
              <a:gd name="connsiteY4295" fmla="*/ 5273416 h 6750795"/>
              <a:gd name="connsiteX4296" fmla="*/ 4411617 w 6630249"/>
              <a:gd name="connsiteY4296" fmla="*/ 5245202 h 6750795"/>
              <a:gd name="connsiteX4297" fmla="*/ 4393663 w 6630249"/>
              <a:gd name="connsiteY4297" fmla="*/ 5237507 h 6750795"/>
              <a:gd name="connsiteX4298" fmla="*/ 4388533 w 6630249"/>
              <a:gd name="connsiteY4298" fmla="*/ 5168255 h 6750795"/>
              <a:gd name="connsiteX4299" fmla="*/ 4380838 w 6630249"/>
              <a:gd name="connsiteY4299" fmla="*/ 5191339 h 6750795"/>
              <a:gd name="connsiteX4300" fmla="*/ 4360319 w 6630249"/>
              <a:gd name="connsiteY4300" fmla="*/ 5168255 h 6750795"/>
              <a:gd name="connsiteX4301" fmla="*/ 4352625 w 6630249"/>
              <a:gd name="connsiteY4301" fmla="*/ 5181079 h 6750795"/>
              <a:gd name="connsiteX4302" fmla="*/ 4342365 w 6630249"/>
              <a:gd name="connsiteY4302" fmla="*/ 5175950 h 6750795"/>
              <a:gd name="connsiteX4303" fmla="*/ 4342365 w 6630249"/>
              <a:gd name="connsiteY4303" fmla="*/ 5216988 h 6750795"/>
              <a:gd name="connsiteX4304" fmla="*/ 4296197 w 6630249"/>
              <a:gd name="connsiteY4304" fmla="*/ 5191339 h 6750795"/>
              <a:gd name="connsiteX4305" fmla="*/ 4296197 w 6630249"/>
              <a:gd name="connsiteY4305" fmla="*/ 5209293 h 6750795"/>
              <a:gd name="connsiteX4306" fmla="*/ 4362884 w 6630249"/>
              <a:gd name="connsiteY4306" fmla="*/ 5273416 h 6750795"/>
              <a:gd name="connsiteX4307" fmla="*/ 4373143 w 6630249"/>
              <a:gd name="connsiteY4307" fmla="*/ 5283675 h 6750795"/>
              <a:gd name="connsiteX4308" fmla="*/ 4368014 w 6630249"/>
              <a:gd name="connsiteY4308" fmla="*/ 5293935 h 6750795"/>
              <a:gd name="connsiteX4309" fmla="*/ 4288502 w 6630249"/>
              <a:gd name="connsiteY4309" fmla="*/ 5229812 h 6750795"/>
              <a:gd name="connsiteX4310" fmla="*/ 4296197 w 6630249"/>
              <a:gd name="connsiteY4310" fmla="*/ 5227247 h 6750795"/>
              <a:gd name="connsiteX4311" fmla="*/ 4275678 w 6630249"/>
              <a:gd name="connsiteY4311" fmla="*/ 5216988 h 6750795"/>
              <a:gd name="connsiteX4312" fmla="*/ 4293632 w 6630249"/>
              <a:gd name="connsiteY4312" fmla="*/ 5199033 h 6750795"/>
              <a:gd name="connsiteX4313" fmla="*/ 4278242 w 6630249"/>
              <a:gd name="connsiteY4313" fmla="*/ 5199033 h 6750795"/>
              <a:gd name="connsiteX4314" fmla="*/ 4280807 w 6630249"/>
              <a:gd name="connsiteY4314" fmla="*/ 5191339 h 6750795"/>
              <a:gd name="connsiteX4315" fmla="*/ 4252594 w 6630249"/>
              <a:gd name="connsiteY4315" fmla="*/ 5219553 h 6750795"/>
              <a:gd name="connsiteX4316" fmla="*/ 4242334 w 6630249"/>
              <a:gd name="connsiteY4316" fmla="*/ 5224682 h 6750795"/>
              <a:gd name="connsiteX4317" fmla="*/ 4239769 w 6630249"/>
              <a:gd name="connsiteY4317" fmla="*/ 5104132 h 6750795"/>
              <a:gd name="connsiteX4318" fmla="*/ 4250029 w 6630249"/>
              <a:gd name="connsiteY4318" fmla="*/ 5104132 h 6750795"/>
              <a:gd name="connsiteX4319" fmla="*/ 4247464 w 6630249"/>
              <a:gd name="connsiteY4319" fmla="*/ 5096438 h 6750795"/>
              <a:gd name="connsiteX4320" fmla="*/ 4255159 w 6630249"/>
              <a:gd name="connsiteY4320" fmla="*/ 5086178 h 6750795"/>
              <a:gd name="connsiteX4321" fmla="*/ 4247464 w 6630249"/>
              <a:gd name="connsiteY4321" fmla="*/ 5078484 h 6750795"/>
              <a:gd name="connsiteX4322" fmla="*/ 4239769 w 6630249"/>
              <a:gd name="connsiteY4322" fmla="*/ 5088743 h 6750795"/>
              <a:gd name="connsiteX4323" fmla="*/ 4232074 w 6630249"/>
              <a:gd name="connsiteY4323" fmla="*/ 5086178 h 6750795"/>
              <a:gd name="connsiteX4324" fmla="*/ 4226945 w 6630249"/>
              <a:gd name="connsiteY4324" fmla="*/ 5104132 h 6750795"/>
              <a:gd name="connsiteX4325" fmla="*/ 4232074 w 6630249"/>
              <a:gd name="connsiteY4325" fmla="*/ 5111827 h 6750795"/>
              <a:gd name="connsiteX4326" fmla="*/ 4237204 w 6630249"/>
              <a:gd name="connsiteY4326" fmla="*/ 5127217 h 6750795"/>
              <a:gd name="connsiteX4327" fmla="*/ 4229510 w 6630249"/>
              <a:gd name="connsiteY4327" fmla="*/ 5175950 h 6750795"/>
              <a:gd name="connsiteX4328" fmla="*/ 4219250 w 6630249"/>
              <a:gd name="connsiteY4328" fmla="*/ 5168255 h 6750795"/>
              <a:gd name="connsiteX4329" fmla="*/ 4216685 w 6630249"/>
              <a:gd name="connsiteY4329" fmla="*/ 5191339 h 6750795"/>
              <a:gd name="connsiteX4330" fmla="*/ 4232074 w 6630249"/>
              <a:gd name="connsiteY4330" fmla="*/ 5209293 h 6750795"/>
              <a:gd name="connsiteX4331" fmla="*/ 4235280 w 6630249"/>
              <a:gd name="connsiteY4331" fmla="*/ 5234301 h 6750795"/>
              <a:gd name="connsiteX4332" fmla="*/ 4234904 w 6630249"/>
              <a:gd name="connsiteY4332" fmla="*/ 5246725 h 6750795"/>
              <a:gd name="connsiteX4333" fmla="*/ 4250349 w 6630249"/>
              <a:gd name="connsiteY4333" fmla="*/ 5241034 h 6750795"/>
              <a:gd name="connsiteX4334" fmla="*/ 4270547 w 6630249"/>
              <a:gd name="connsiteY4334" fmla="*/ 5240072 h 6750795"/>
              <a:gd name="connsiteX4335" fmla="*/ 4375708 w 6630249"/>
              <a:gd name="connsiteY4335" fmla="*/ 5324714 h 6750795"/>
              <a:gd name="connsiteX4336" fmla="*/ 4337235 w 6630249"/>
              <a:gd name="connsiteY4336" fmla="*/ 5352928 h 6750795"/>
              <a:gd name="connsiteX4337" fmla="*/ 4370578 w 6630249"/>
              <a:gd name="connsiteY4337" fmla="*/ 5332409 h 6750795"/>
              <a:gd name="connsiteX4338" fmla="*/ 4398792 w 6630249"/>
              <a:gd name="connsiteY4338" fmla="*/ 5350363 h 6750795"/>
              <a:gd name="connsiteX4339" fmla="*/ 4398792 w 6630249"/>
              <a:gd name="connsiteY4339" fmla="*/ 5358058 h 6750795"/>
              <a:gd name="connsiteX4340" fmla="*/ 4409052 w 6630249"/>
              <a:gd name="connsiteY4340" fmla="*/ 5376012 h 6750795"/>
              <a:gd name="connsiteX4341" fmla="*/ 4414181 w 6630249"/>
              <a:gd name="connsiteY4341" fmla="*/ 5452959 h 6750795"/>
              <a:gd name="connsiteX4342" fmla="*/ 4409052 w 6630249"/>
              <a:gd name="connsiteY4342" fmla="*/ 5463219 h 6750795"/>
              <a:gd name="connsiteX4343" fmla="*/ 4416746 w 6630249"/>
              <a:gd name="connsiteY4343" fmla="*/ 5473478 h 6750795"/>
              <a:gd name="connsiteX4344" fmla="*/ 4421876 w 6630249"/>
              <a:gd name="connsiteY4344" fmla="*/ 5542730 h 6750795"/>
              <a:gd name="connsiteX4345" fmla="*/ 4432136 w 6630249"/>
              <a:gd name="connsiteY4345" fmla="*/ 5601723 h 6750795"/>
              <a:gd name="connsiteX4346" fmla="*/ 4414181 w 6630249"/>
              <a:gd name="connsiteY4346" fmla="*/ 5596593 h 6750795"/>
              <a:gd name="connsiteX4347" fmla="*/ 4406487 w 6630249"/>
              <a:gd name="connsiteY4347" fmla="*/ 5588899 h 6750795"/>
              <a:gd name="connsiteX4348" fmla="*/ 4419311 w 6630249"/>
              <a:gd name="connsiteY4348" fmla="*/ 5552990 h 6750795"/>
              <a:gd name="connsiteX4349" fmla="*/ 4391097 w 6630249"/>
              <a:gd name="connsiteY4349" fmla="*/ 5581204 h 6750795"/>
              <a:gd name="connsiteX4350" fmla="*/ 4393662 w 6630249"/>
              <a:gd name="connsiteY4350" fmla="*/ 5552990 h 6750795"/>
              <a:gd name="connsiteX4351" fmla="*/ 4380838 w 6630249"/>
              <a:gd name="connsiteY4351" fmla="*/ 5578639 h 6750795"/>
              <a:gd name="connsiteX4352" fmla="*/ 4375708 w 6630249"/>
              <a:gd name="connsiteY4352" fmla="*/ 5601723 h 6750795"/>
              <a:gd name="connsiteX4353" fmla="*/ 4360318 w 6630249"/>
              <a:gd name="connsiteY4353" fmla="*/ 5614547 h 6750795"/>
              <a:gd name="connsiteX4354" fmla="*/ 4360318 w 6630249"/>
              <a:gd name="connsiteY4354" fmla="*/ 5573509 h 6750795"/>
              <a:gd name="connsiteX4355" fmla="*/ 4355189 w 6630249"/>
              <a:gd name="connsiteY4355" fmla="*/ 5506822 h 6750795"/>
              <a:gd name="connsiteX4356" fmla="*/ 4370578 w 6630249"/>
              <a:gd name="connsiteY4356" fmla="*/ 5478608 h 6750795"/>
              <a:gd name="connsiteX4357" fmla="*/ 4350059 w 6630249"/>
              <a:gd name="connsiteY4357" fmla="*/ 5483738 h 6750795"/>
              <a:gd name="connsiteX4358" fmla="*/ 4355189 w 6630249"/>
              <a:gd name="connsiteY4358" fmla="*/ 5411921 h 6750795"/>
              <a:gd name="connsiteX4359" fmla="*/ 4329540 w 6630249"/>
              <a:gd name="connsiteY4359" fmla="*/ 5440135 h 6750795"/>
              <a:gd name="connsiteX4360" fmla="*/ 4309021 w 6630249"/>
              <a:gd name="connsiteY4360" fmla="*/ 5419615 h 6750795"/>
              <a:gd name="connsiteX4361" fmla="*/ 4303891 w 6630249"/>
              <a:gd name="connsiteY4361" fmla="*/ 5424745 h 6750795"/>
              <a:gd name="connsiteX4362" fmla="*/ 4324410 w 6630249"/>
              <a:gd name="connsiteY4362" fmla="*/ 5455524 h 6750795"/>
              <a:gd name="connsiteX4363" fmla="*/ 4301326 w 6630249"/>
              <a:gd name="connsiteY4363" fmla="*/ 5460654 h 6750795"/>
              <a:gd name="connsiteX4364" fmla="*/ 4332105 w 6630249"/>
              <a:gd name="connsiteY4364" fmla="*/ 5468348 h 6750795"/>
              <a:gd name="connsiteX4365" fmla="*/ 4344929 w 6630249"/>
              <a:gd name="connsiteY4365" fmla="*/ 5499127 h 6750795"/>
              <a:gd name="connsiteX4366" fmla="*/ 4334670 w 6630249"/>
              <a:gd name="connsiteY4366" fmla="*/ 5506822 h 6750795"/>
              <a:gd name="connsiteX4367" fmla="*/ 4347494 w 6630249"/>
              <a:gd name="connsiteY4367" fmla="*/ 5509387 h 6750795"/>
              <a:gd name="connsiteX4368" fmla="*/ 4352624 w 6630249"/>
              <a:gd name="connsiteY4368" fmla="*/ 5647891 h 6750795"/>
              <a:gd name="connsiteX4369" fmla="*/ 4334670 w 6630249"/>
              <a:gd name="connsiteY4369" fmla="*/ 5609417 h 6750795"/>
              <a:gd name="connsiteX4370" fmla="*/ 4316715 w 6630249"/>
              <a:gd name="connsiteY4370" fmla="*/ 5552990 h 6750795"/>
              <a:gd name="connsiteX4371" fmla="*/ 4273112 w 6630249"/>
              <a:gd name="connsiteY4371" fmla="*/ 5460654 h 6750795"/>
              <a:gd name="connsiteX4372" fmla="*/ 4275677 w 6630249"/>
              <a:gd name="connsiteY4372" fmla="*/ 5450394 h 6750795"/>
              <a:gd name="connsiteX4373" fmla="*/ 4267983 w 6630249"/>
              <a:gd name="connsiteY4373" fmla="*/ 5447829 h 6750795"/>
              <a:gd name="connsiteX4374" fmla="*/ 4252593 w 6630249"/>
              <a:gd name="connsiteY4374" fmla="*/ 5401661 h 6750795"/>
              <a:gd name="connsiteX4375" fmla="*/ 4248986 w 6630249"/>
              <a:gd name="connsiteY4375" fmla="*/ 5386975 h 6750795"/>
              <a:gd name="connsiteX4376" fmla="*/ 4247464 w 6630249"/>
              <a:gd name="connsiteY4376" fmla="*/ 5388836 h 6750795"/>
              <a:gd name="connsiteX4377" fmla="*/ 4237204 w 6630249"/>
              <a:gd name="connsiteY4377" fmla="*/ 5340103 h 6750795"/>
              <a:gd name="connsiteX4378" fmla="*/ 4221815 w 6630249"/>
              <a:gd name="connsiteY4378" fmla="*/ 5342668 h 6750795"/>
              <a:gd name="connsiteX4379" fmla="*/ 4180776 w 6630249"/>
              <a:gd name="connsiteY4379" fmla="*/ 5252896 h 6750795"/>
              <a:gd name="connsiteX4380" fmla="*/ 4160257 w 6630249"/>
              <a:gd name="connsiteY4380" fmla="*/ 5196469 h 6750795"/>
              <a:gd name="connsiteX4381" fmla="*/ 4152563 w 6630249"/>
              <a:gd name="connsiteY4381" fmla="*/ 5196469 h 6750795"/>
              <a:gd name="connsiteX4382" fmla="*/ 4129478 w 6630249"/>
              <a:gd name="connsiteY4382" fmla="*/ 5091308 h 6750795"/>
              <a:gd name="connsiteX4383" fmla="*/ 4121784 w 6630249"/>
              <a:gd name="connsiteY4383" fmla="*/ 5096438 h 6750795"/>
              <a:gd name="connsiteX4384" fmla="*/ 4103830 w 6630249"/>
              <a:gd name="connsiteY4384" fmla="*/ 5027186 h 6750795"/>
              <a:gd name="connsiteX4385" fmla="*/ 4098700 w 6630249"/>
              <a:gd name="connsiteY4385" fmla="*/ 5019491 h 6750795"/>
              <a:gd name="connsiteX4386" fmla="*/ 4093570 w 6630249"/>
              <a:gd name="connsiteY4386" fmla="*/ 4924590 h 6750795"/>
              <a:gd name="connsiteX4387" fmla="*/ 4096135 w 6630249"/>
              <a:gd name="connsiteY4387" fmla="*/ 4839948 h 6750795"/>
              <a:gd name="connsiteX4388" fmla="*/ 4101265 w 6630249"/>
              <a:gd name="connsiteY4388" fmla="*/ 4829689 h 6750795"/>
              <a:gd name="connsiteX4389" fmla="*/ 4093570 w 6630249"/>
              <a:gd name="connsiteY4389" fmla="*/ 4827124 h 6750795"/>
              <a:gd name="connsiteX4390" fmla="*/ 4088440 w 6630249"/>
              <a:gd name="connsiteY4390" fmla="*/ 4786086 h 6750795"/>
              <a:gd name="connsiteX4391" fmla="*/ 4111524 w 6630249"/>
              <a:gd name="connsiteY4391" fmla="*/ 4793781 h 6750795"/>
              <a:gd name="connsiteX4392" fmla="*/ 4088440 w 6630249"/>
              <a:gd name="connsiteY4392" fmla="*/ 4780956 h 6750795"/>
              <a:gd name="connsiteX4393" fmla="*/ 4101265 w 6630249"/>
              <a:gd name="connsiteY4393" fmla="*/ 4773261 h 6750795"/>
              <a:gd name="connsiteX4394" fmla="*/ 4124349 w 6630249"/>
              <a:gd name="connsiteY4394" fmla="*/ 4763002 h 6750795"/>
              <a:gd name="connsiteX4395" fmla="*/ 4103830 w 6630249"/>
              <a:gd name="connsiteY4395" fmla="*/ 4760437 h 6750795"/>
              <a:gd name="connsiteX4396" fmla="*/ 4108960 w 6630249"/>
              <a:gd name="connsiteY4396" fmla="*/ 4727093 h 6750795"/>
              <a:gd name="connsiteX4397" fmla="*/ 4091005 w 6630249"/>
              <a:gd name="connsiteY4397" fmla="*/ 4750177 h 6750795"/>
              <a:gd name="connsiteX4398" fmla="*/ 4083311 w 6630249"/>
              <a:gd name="connsiteY4398" fmla="*/ 4734788 h 6750795"/>
              <a:gd name="connsiteX4399" fmla="*/ 4080746 w 6630249"/>
              <a:gd name="connsiteY4399" fmla="*/ 4752742 h 6750795"/>
              <a:gd name="connsiteX4400" fmla="*/ 4078181 w 6630249"/>
              <a:gd name="connsiteY4400" fmla="*/ 4778391 h 6750795"/>
              <a:gd name="connsiteX4401" fmla="*/ 4062791 w 6630249"/>
              <a:gd name="connsiteY4401" fmla="*/ 4773261 h 6750795"/>
              <a:gd name="connsiteX4402" fmla="*/ 4073051 w 6630249"/>
              <a:gd name="connsiteY4402" fmla="*/ 4780956 h 6750795"/>
              <a:gd name="connsiteX4403" fmla="*/ 4078181 w 6630249"/>
              <a:gd name="connsiteY4403" fmla="*/ 4878422 h 6750795"/>
              <a:gd name="connsiteX4404" fmla="*/ 4080746 w 6630249"/>
              <a:gd name="connsiteY4404" fmla="*/ 4937414 h 6750795"/>
              <a:gd name="connsiteX4405" fmla="*/ 4070486 w 6630249"/>
              <a:gd name="connsiteY4405" fmla="*/ 4919460 h 6750795"/>
              <a:gd name="connsiteX4406" fmla="*/ 4060226 w 6630249"/>
              <a:gd name="connsiteY4406" fmla="*/ 4939980 h 6750795"/>
              <a:gd name="connsiteX4407" fmla="*/ 4083311 w 6630249"/>
              <a:gd name="connsiteY4407" fmla="*/ 5022056 h 6750795"/>
              <a:gd name="connsiteX4408" fmla="*/ 4073051 w 6630249"/>
              <a:gd name="connsiteY4408" fmla="*/ 5045140 h 6750795"/>
              <a:gd name="connsiteX4409" fmla="*/ 4093570 w 6630249"/>
              <a:gd name="connsiteY4409" fmla="*/ 5068224 h 6750795"/>
              <a:gd name="connsiteX4410" fmla="*/ 4101265 w 6630249"/>
              <a:gd name="connsiteY4410" fmla="*/ 5088743 h 6750795"/>
              <a:gd name="connsiteX4411" fmla="*/ 4121784 w 6630249"/>
              <a:gd name="connsiteY4411" fmla="*/ 5150301 h 6750795"/>
              <a:gd name="connsiteX4412" fmla="*/ 4116654 w 6630249"/>
              <a:gd name="connsiteY4412" fmla="*/ 5155430 h 6750795"/>
              <a:gd name="connsiteX4413" fmla="*/ 4175647 w 6630249"/>
              <a:gd name="connsiteY4413" fmla="*/ 5288805 h 6750795"/>
              <a:gd name="connsiteX4414" fmla="*/ 4167952 w 6630249"/>
              <a:gd name="connsiteY4414" fmla="*/ 5296499 h 6750795"/>
              <a:gd name="connsiteX4415" fmla="*/ 4203861 w 6630249"/>
              <a:gd name="connsiteY4415" fmla="*/ 5342668 h 6750795"/>
              <a:gd name="connsiteX4416" fmla="*/ 4173082 w 6630249"/>
              <a:gd name="connsiteY4416" fmla="*/ 5386271 h 6750795"/>
              <a:gd name="connsiteX4417" fmla="*/ 4191036 w 6630249"/>
              <a:gd name="connsiteY4417" fmla="*/ 5373446 h 6750795"/>
              <a:gd name="connsiteX4418" fmla="*/ 4196166 w 6630249"/>
              <a:gd name="connsiteY4418" fmla="*/ 5388836 h 6750795"/>
              <a:gd name="connsiteX4419" fmla="*/ 4178212 w 6630249"/>
              <a:gd name="connsiteY4419" fmla="*/ 5391400 h 6750795"/>
              <a:gd name="connsiteX4420" fmla="*/ 4198731 w 6630249"/>
              <a:gd name="connsiteY4420" fmla="*/ 5406790 h 6750795"/>
              <a:gd name="connsiteX4421" fmla="*/ 4196166 w 6630249"/>
              <a:gd name="connsiteY4421" fmla="*/ 5417049 h 6750795"/>
              <a:gd name="connsiteX4422" fmla="*/ 4216685 w 6630249"/>
              <a:gd name="connsiteY4422" fmla="*/ 5404225 h 6750795"/>
              <a:gd name="connsiteX4423" fmla="*/ 4237204 w 6630249"/>
              <a:gd name="connsiteY4423" fmla="*/ 5435004 h 6750795"/>
              <a:gd name="connsiteX4424" fmla="*/ 4244899 w 6630249"/>
              <a:gd name="connsiteY4424" fmla="*/ 5435004 h 6750795"/>
              <a:gd name="connsiteX4425" fmla="*/ 4293632 w 6630249"/>
              <a:gd name="connsiteY4425" fmla="*/ 5550424 h 6750795"/>
              <a:gd name="connsiteX4426" fmla="*/ 4311586 w 6630249"/>
              <a:gd name="connsiteY4426" fmla="*/ 5586332 h 6750795"/>
              <a:gd name="connsiteX4427" fmla="*/ 4303891 w 6630249"/>
              <a:gd name="connsiteY4427" fmla="*/ 5591462 h 6750795"/>
              <a:gd name="connsiteX4428" fmla="*/ 4309021 w 6630249"/>
              <a:gd name="connsiteY4428" fmla="*/ 5617111 h 6750795"/>
              <a:gd name="connsiteX4429" fmla="*/ 4293632 w 6630249"/>
              <a:gd name="connsiteY4429" fmla="*/ 5609416 h 6750795"/>
              <a:gd name="connsiteX4430" fmla="*/ 4306456 w 6630249"/>
              <a:gd name="connsiteY4430" fmla="*/ 5645325 h 6750795"/>
              <a:gd name="connsiteX4431" fmla="*/ 4324411 w 6630249"/>
              <a:gd name="connsiteY4431" fmla="*/ 5632501 h 6750795"/>
              <a:gd name="connsiteX4432" fmla="*/ 4329540 w 6630249"/>
              <a:gd name="connsiteY4432" fmla="*/ 5635065 h 6750795"/>
              <a:gd name="connsiteX4433" fmla="*/ 4324411 w 6630249"/>
              <a:gd name="connsiteY4433" fmla="*/ 5650455 h 6750795"/>
              <a:gd name="connsiteX4434" fmla="*/ 4329540 w 6630249"/>
              <a:gd name="connsiteY4434" fmla="*/ 5655584 h 6750795"/>
              <a:gd name="connsiteX4435" fmla="*/ 4339800 w 6630249"/>
              <a:gd name="connsiteY4435" fmla="*/ 5676104 h 6750795"/>
              <a:gd name="connsiteX4436" fmla="*/ 4355189 w 6630249"/>
              <a:gd name="connsiteY4436" fmla="*/ 5729967 h 6750795"/>
              <a:gd name="connsiteX4437" fmla="*/ 4344930 w 6630249"/>
              <a:gd name="connsiteY4437" fmla="*/ 5724836 h 6750795"/>
              <a:gd name="connsiteX4438" fmla="*/ 4326976 w 6630249"/>
              <a:gd name="connsiteY4438" fmla="*/ 5742791 h 6750795"/>
              <a:gd name="connsiteX4439" fmla="*/ 4329540 w 6630249"/>
              <a:gd name="connsiteY4439" fmla="*/ 5768440 h 6750795"/>
              <a:gd name="connsiteX4440" fmla="*/ 4319281 w 6630249"/>
              <a:gd name="connsiteY4440" fmla="*/ 5768440 h 6750795"/>
              <a:gd name="connsiteX4441" fmla="*/ 4332105 w 6630249"/>
              <a:gd name="connsiteY4441" fmla="*/ 5786394 h 6750795"/>
              <a:gd name="connsiteX4442" fmla="*/ 4319281 w 6630249"/>
              <a:gd name="connsiteY4442" fmla="*/ 5788959 h 6750795"/>
              <a:gd name="connsiteX4443" fmla="*/ 4316716 w 6630249"/>
              <a:gd name="connsiteY4443" fmla="*/ 5773570 h 6750795"/>
              <a:gd name="connsiteX4444" fmla="*/ 4309021 w 6630249"/>
              <a:gd name="connsiteY4444" fmla="*/ 5778699 h 6750795"/>
              <a:gd name="connsiteX4445" fmla="*/ 4303891 w 6630249"/>
              <a:gd name="connsiteY4445" fmla="*/ 5771005 h 6750795"/>
              <a:gd name="connsiteX4446" fmla="*/ 4288502 w 6630249"/>
              <a:gd name="connsiteY4446" fmla="*/ 5773570 h 6750795"/>
              <a:gd name="connsiteX4447" fmla="*/ 4291067 w 6630249"/>
              <a:gd name="connsiteY4447" fmla="*/ 5804348 h 6750795"/>
              <a:gd name="connsiteX4448" fmla="*/ 4280807 w 6630249"/>
              <a:gd name="connsiteY4448" fmla="*/ 5801783 h 6750795"/>
              <a:gd name="connsiteX4449" fmla="*/ 4293632 w 6630249"/>
              <a:gd name="connsiteY4449" fmla="*/ 5819738 h 6750795"/>
              <a:gd name="connsiteX4450" fmla="*/ 4260288 w 6630249"/>
              <a:gd name="connsiteY4450" fmla="*/ 5765875 h 6750795"/>
              <a:gd name="connsiteX4451" fmla="*/ 4250029 w 6630249"/>
              <a:gd name="connsiteY4451" fmla="*/ 5763310 h 6750795"/>
              <a:gd name="connsiteX4452" fmla="*/ 4203861 w 6630249"/>
              <a:gd name="connsiteY4452" fmla="*/ 5683798 h 6750795"/>
              <a:gd name="connsiteX4453" fmla="*/ 4208990 w 6630249"/>
              <a:gd name="connsiteY4453" fmla="*/ 5670974 h 6750795"/>
              <a:gd name="connsiteX4454" fmla="*/ 4198731 w 6630249"/>
              <a:gd name="connsiteY4454" fmla="*/ 5673539 h 6750795"/>
              <a:gd name="connsiteX4455" fmla="*/ 4152563 w 6630249"/>
              <a:gd name="connsiteY4455" fmla="*/ 5609416 h 6750795"/>
              <a:gd name="connsiteX4456" fmla="*/ 4091005 w 6630249"/>
              <a:gd name="connsiteY4456" fmla="*/ 5529905 h 6750795"/>
              <a:gd name="connsiteX4457" fmla="*/ 4119219 w 6630249"/>
              <a:gd name="connsiteY4457" fmla="*/ 5517080 h 6750795"/>
              <a:gd name="connsiteX4458" fmla="*/ 4106395 w 6630249"/>
              <a:gd name="connsiteY4458" fmla="*/ 5509386 h 6750795"/>
              <a:gd name="connsiteX4459" fmla="*/ 4134609 w 6630249"/>
              <a:gd name="connsiteY4459" fmla="*/ 5496561 h 6750795"/>
              <a:gd name="connsiteX4460" fmla="*/ 4132043 w 6630249"/>
              <a:gd name="connsiteY4460" fmla="*/ 5488866 h 6750795"/>
              <a:gd name="connsiteX4461" fmla="*/ 4144868 w 6630249"/>
              <a:gd name="connsiteY4461" fmla="*/ 5481172 h 6750795"/>
              <a:gd name="connsiteX4462" fmla="*/ 4134609 w 6630249"/>
              <a:gd name="connsiteY4462" fmla="*/ 5478607 h 6750795"/>
              <a:gd name="connsiteX4463" fmla="*/ 4137173 w 6630249"/>
              <a:gd name="connsiteY4463" fmla="*/ 5465783 h 6750795"/>
              <a:gd name="connsiteX4464" fmla="*/ 4121784 w 6630249"/>
              <a:gd name="connsiteY4464" fmla="*/ 5468347 h 6750795"/>
              <a:gd name="connsiteX4465" fmla="*/ 4119219 w 6630249"/>
              <a:gd name="connsiteY4465" fmla="*/ 5458088 h 6750795"/>
              <a:gd name="connsiteX4466" fmla="*/ 4103830 w 6630249"/>
              <a:gd name="connsiteY4466" fmla="*/ 5478607 h 6750795"/>
              <a:gd name="connsiteX4467" fmla="*/ 4093570 w 6630249"/>
              <a:gd name="connsiteY4467" fmla="*/ 5455523 h 6750795"/>
              <a:gd name="connsiteX4468" fmla="*/ 4096135 w 6630249"/>
              <a:gd name="connsiteY4468" fmla="*/ 5496561 h 6750795"/>
              <a:gd name="connsiteX4469" fmla="*/ 4088440 w 6630249"/>
              <a:gd name="connsiteY4469" fmla="*/ 5493996 h 6750795"/>
              <a:gd name="connsiteX4470" fmla="*/ 4080746 w 6630249"/>
              <a:gd name="connsiteY4470" fmla="*/ 5511951 h 6750795"/>
              <a:gd name="connsiteX4471" fmla="*/ 4080746 w 6630249"/>
              <a:gd name="connsiteY4471" fmla="*/ 5522210 h 6750795"/>
              <a:gd name="connsiteX4472" fmla="*/ 4044837 w 6630249"/>
              <a:gd name="connsiteY4472" fmla="*/ 5478607 h 6750795"/>
              <a:gd name="connsiteX4473" fmla="*/ 4026883 w 6630249"/>
              <a:gd name="connsiteY4473" fmla="*/ 5450393 h 6750795"/>
              <a:gd name="connsiteX4474" fmla="*/ 4026883 w 6630249"/>
              <a:gd name="connsiteY4474" fmla="*/ 5437569 h 6750795"/>
              <a:gd name="connsiteX4475" fmla="*/ 4019188 w 6630249"/>
              <a:gd name="connsiteY4475" fmla="*/ 5437569 h 6750795"/>
              <a:gd name="connsiteX4476" fmla="*/ 4006364 w 6630249"/>
              <a:gd name="connsiteY4476" fmla="*/ 5404225 h 6750795"/>
              <a:gd name="connsiteX4477" fmla="*/ 3990974 w 6630249"/>
              <a:gd name="connsiteY4477" fmla="*/ 5386271 h 6750795"/>
              <a:gd name="connsiteX4478" fmla="*/ 3998669 w 6630249"/>
              <a:gd name="connsiteY4478" fmla="*/ 5368317 h 6750795"/>
              <a:gd name="connsiteX4479" fmla="*/ 4014058 w 6630249"/>
              <a:gd name="connsiteY4479" fmla="*/ 5355492 h 6750795"/>
              <a:gd name="connsiteX4480" fmla="*/ 3998669 w 6630249"/>
              <a:gd name="connsiteY4480" fmla="*/ 5358057 h 6750795"/>
              <a:gd name="connsiteX4481" fmla="*/ 3996104 w 6630249"/>
              <a:gd name="connsiteY4481" fmla="*/ 5345233 h 6750795"/>
              <a:gd name="connsiteX4482" fmla="*/ 3985845 w 6630249"/>
              <a:gd name="connsiteY4482" fmla="*/ 5355492 h 6750795"/>
              <a:gd name="connsiteX4483" fmla="*/ 3978150 w 6630249"/>
              <a:gd name="connsiteY4483" fmla="*/ 5347797 h 6750795"/>
              <a:gd name="connsiteX4484" fmla="*/ 3980715 w 6630249"/>
              <a:gd name="connsiteY4484" fmla="*/ 5370882 h 6750795"/>
              <a:gd name="connsiteX4485" fmla="*/ 3957631 w 6630249"/>
              <a:gd name="connsiteY4485" fmla="*/ 5368317 h 6750795"/>
              <a:gd name="connsiteX4486" fmla="*/ 3985845 w 6630249"/>
              <a:gd name="connsiteY4486" fmla="*/ 5388836 h 6750795"/>
              <a:gd name="connsiteX4487" fmla="*/ 3978150 w 6630249"/>
              <a:gd name="connsiteY4487" fmla="*/ 5386271 h 6750795"/>
              <a:gd name="connsiteX4488" fmla="*/ 3967890 w 6630249"/>
              <a:gd name="connsiteY4488" fmla="*/ 5404225 h 6750795"/>
              <a:gd name="connsiteX4489" fmla="*/ 3978150 w 6630249"/>
              <a:gd name="connsiteY4489" fmla="*/ 5419614 h 6750795"/>
              <a:gd name="connsiteX4490" fmla="*/ 3988409 w 6630249"/>
              <a:gd name="connsiteY4490" fmla="*/ 5419614 h 6750795"/>
              <a:gd name="connsiteX4491" fmla="*/ 4003799 w 6630249"/>
              <a:gd name="connsiteY4491" fmla="*/ 5427309 h 6750795"/>
              <a:gd name="connsiteX4492" fmla="*/ 4062791 w 6630249"/>
              <a:gd name="connsiteY4492" fmla="*/ 5509386 h 6750795"/>
              <a:gd name="connsiteX4493" fmla="*/ 4073051 w 6630249"/>
              <a:gd name="connsiteY4493" fmla="*/ 5522210 h 6750795"/>
              <a:gd name="connsiteX4494" fmla="*/ 4093570 w 6630249"/>
              <a:gd name="connsiteY4494" fmla="*/ 5550424 h 6750795"/>
              <a:gd name="connsiteX4495" fmla="*/ 4111524 w 6630249"/>
              <a:gd name="connsiteY4495" fmla="*/ 5573508 h 6750795"/>
              <a:gd name="connsiteX4496" fmla="*/ 4170517 w 6630249"/>
              <a:gd name="connsiteY4496" fmla="*/ 5650455 h 6750795"/>
              <a:gd name="connsiteX4497" fmla="*/ 4162822 w 6630249"/>
              <a:gd name="connsiteY4497" fmla="*/ 5660714 h 6750795"/>
              <a:gd name="connsiteX4498" fmla="*/ 4165387 w 6630249"/>
              <a:gd name="connsiteY4498" fmla="*/ 5663279 h 6750795"/>
              <a:gd name="connsiteX4499" fmla="*/ 4175647 w 6630249"/>
              <a:gd name="connsiteY4499" fmla="*/ 5660714 h 6750795"/>
              <a:gd name="connsiteX4500" fmla="*/ 4211555 w 6630249"/>
              <a:gd name="connsiteY4500" fmla="*/ 5706882 h 6750795"/>
              <a:gd name="connsiteX4501" fmla="*/ 4226945 w 6630249"/>
              <a:gd name="connsiteY4501" fmla="*/ 5732531 h 6750795"/>
              <a:gd name="connsiteX4502" fmla="*/ 4265418 w 6630249"/>
              <a:gd name="connsiteY4502" fmla="*/ 5794089 h 6750795"/>
              <a:gd name="connsiteX4503" fmla="*/ 4262853 w 6630249"/>
              <a:gd name="connsiteY4503" fmla="*/ 5804348 h 6750795"/>
              <a:gd name="connsiteX4504" fmla="*/ 4273113 w 6630249"/>
              <a:gd name="connsiteY4504" fmla="*/ 5806913 h 6750795"/>
              <a:gd name="connsiteX4505" fmla="*/ 4306456 w 6630249"/>
              <a:gd name="connsiteY4505" fmla="*/ 5845387 h 6750795"/>
              <a:gd name="connsiteX4506" fmla="*/ 4283372 w 6630249"/>
              <a:gd name="connsiteY4506" fmla="*/ 5842822 h 6750795"/>
              <a:gd name="connsiteX4507" fmla="*/ 4288502 w 6630249"/>
              <a:gd name="connsiteY4507" fmla="*/ 5868471 h 6750795"/>
              <a:gd name="connsiteX4508" fmla="*/ 4257723 w 6630249"/>
              <a:gd name="connsiteY4508" fmla="*/ 5863341 h 6750795"/>
              <a:gd name="connsiteX4509" fmla="*/ 4252594 w 6630249"/>
              <a:gd name="connsiteY4509" fmla="*/ 5871036 h 6750795"/>
              <a:gd name="connsiteX4510" fmla="*/ 4283372 w 6630249"/>
              <a:gd name="connsiteY4510" fmla="*/ 5891554 h 6750795"/>
              <a:gd name="connsiteX4511" fmla="*/ 4260288 w 6630249"/>
              <a:gd name="connsiteY4511" fmla="*/ 5917203 h 6750795"/>
              <a:gd name="connsiteX4512" fmla="*/ 4270548 w 6630249"/>
              <a:gd name="connsiteY4512" fmla="*/ 5917203 h 6750795"/>
              <a:gd name="connsiteX4513" fmla="*/ 4262853 w 6630249"/>
              <a:gd name="connsiteY4513" fmla="*/ 5922334 h 6750795"/>
              <a:gd name="connsiteX4514" fmla="*/ 4267983 w 6630249"/>
              <a:gd name="connsiteY4514" fmla="*/ 5935158 h 6750795"/>
              <a:gd name="connsiteX4515" fmla="*/ 4319281 w 6630249"/>
              <a:gd name="connsiteY4515" fmla="*/ 5914639 h 6750795"/>
              <a:gd name="connsiteX4516" fmla="*/ 4316716 w 6630249"/>
              <a:gd name="connsiteY4516" fmla="*/ 5919768 h 6750795"/>
              <a:gd name="connsiteX4517" fmla="*/ 4344930 w 6630249"/>
              <a:gd name="connsiteY4517" fmla="*/ 5924898 h 6750795"/>
              <a:gd name="connsiteX4518" fmla="*/ 4355189 w 6630249"/>
              <a:gd name="connsiteY4518" fmla="*/ 5940288 h 6750795"/>
              <a:gd name="connsiteX4519" fmla="*/ 4337235 w 6630249"/>
              <a:gd name="connsiteY4519" fmla="*/ 5927463 h 6750795"/>
              <a:gd name="connsiteX4520" fmla="*/ 4350060 w 6630249"/>
              <a:gd name="connsiteY4520" fmla="*/ 5981326 h 6750795"/>
              <a:gd name="connsiteX4521" fmla="*/ 4309021 w 6630249"/>
              <a:gd name="connsiteY4521" fmla="*/ 5996715 h 6750795"/>
              <a:gd name="connsiteX4522" fmla="*/ 4175647 w 6630249"/>
              <a:gd name="connsiteY4522" fmla="*/ 5971066 h 6750795"/>
              <a:gd name="connsiteX4523" fmla="*/ 4424441 w 6630249"/>
              <a:gd name="connsiteY4523" fmla="*/ 6204472 h 6750795"/>
              <a:gd name="connsiteX4524" fmla="*/ 4044837 w 6630249"/>
              <a:gd name="connsiteY4524" fmla="*/ 5940288 h 6750795"/>
              <a:gd name="connsiteX4525" fmla="*/ 3980715 w 6630249"/>
              <a:gd name="connsiteY4525" fmla="*/ 5891554 h 6750795"/>
              <a:gd name="connsiteX4526" fmla="*/ 3980715 w 6630249"/>
              <a:gd name="connsiteY4526" fmla="*/ 5896685 h 6750795"/>
              <a:gd name="connsiteX4527" fmla="*/ 3978150 w 6630249"/>
              <a:gd name="connsiteY4527" fmla="*/ 5899249 h 6750795"/>
              <a:gd name="connsiteX4528" fmla="*/ 3916593 w 6630249"/>
              <a:gd name="connsiteY4528" fmla="*/ 5747921 h 6750795"/>
              <a:gd name="connsiteX4529" fmla="*/ 3908898 w 6630249"/>
              <a:gd name="connsiteY4529" fmla="*/ 5747921 h 6750795"/>
              <a:gd name="connsiteX4530" fmla="*/ 3885814 w 6630249"/>
              <a:gd name="connsiteY4530" fmla="*/ 5678669 h 6750795"/>
              <a:gd name="connsiteX4531" fmla="*/ 3898638 w 6630249"/>
              <a:gd name="connsiteY4531" fmla="*/ 5673539 h 6750795"/>
              <a:gd name="connsiteX4532" fmla="*/ 3880684 w 6630249"/>
              <a:gd name="connsiteY4532" fmla="*/ 5658149 h 6750795"/>
              <a:gd name="connsiteX4533" fmla="*/ 3890944 w 6630249"/>
              <a:gd name="connsiteY4533" fmla="*/ 5635065 h 6750795"/>
              <a:gd name="connsiteX4534" fmla="*/ 3878119 w 6630249"/>
              <a:gd name="connsiteY4534" fmla="*/ 5640195 h 6750795"/>
              <a:gd name="connsiteX4535" fmla="*/ 3875554 w 6630249"/>
              <a:gd name="connsiteY4535" fmla="*/ 5632501 h 6750795"/>
              <a:gd name="connsiteX4536" fmla="*/ 3849905 w 6630249"/>
              <a:gd name="connsiteY4536" fmla="*/ 5555554 h 6750795"/>
              <a:gd name="connsiteX4537" fmla="*/ 3852470 w 6630249"/>
              <a:gd name="connsiteY4537" fmla="*/ 5547859 h 6750795"/>
              <a:gd name="connsiteX4538" fmla="*/ 3849905 w 6630249"/>
              <a:gd name="connsiteY4538" fmla="*/ 5537600 h 6750795"/>
              <a:gd name="connsiteX4539" fmla="*/ 3865295 w 6630249"/>
              <a:gd name="connsiteY4539" fmla="*/ 5524775 h 6750795"/>
              <a:gd name="connsiteX4540" fmla="*/ 3852470 w 6630249"/>
              <a:gd name="connsiteY4540" fmla="*/ 5514515 h 6750795"/>
              <a:gd name="connsiteX4541" fmla="*/ 3842210 w 6630249"/>
              <a:gd name="connsiteY4541" fmla="*/ 5524775 h 6750795"/>
              <a:gd name="connsiteX4542" fmla="*/ 3831951 w 6630249"/>
              <a:gd name="connsiteY4542" fmla="*/ 5517080 h 6750795"/>
              <a:gd name="connsiteX4543" fmla="*/ 3839646 w 6630249"/>
              <a:gd name="connsiteY4543" fmla="*/ 5537600 h 6750795"/>
              <a:gd name="connsiteX4544" fmla="*/ 3834516 w 6630249"/>
              <a:gd name="connsiteY4544" fmla="*/ 5550424 h 6750795"/>
              <a:gd name="connsiteX4545" fmla="*/ 3844776 w 6630249"/>
              <a:gd name="connsiteY4545" fmla="*/ 5570943 h 6750795"/>
              <a:gd name="connsiteX4546" fmla="*/ 3847340 w 6630249"/>
              <a:gd name="connsiteY4546" fmla="*/ 5568378 h 6750795"/>
              <a:gd name="connsiteX4547" fmla="*/ 3862730 w 6630249"/>
              <a:gd name="connsiteY4547" fmla="*/ 5629936 h 6750795"/>
              <a:gd name="connsiteX4548" fmla="*/ 3855035 w 6630249"/>
              <a:gd name="connsiteY4548" fmla="*/ 5637630 h 6750795"/>
              <a:gd name="connsiteX4549" fmla="*/ 3834516 w 6630249"/>
              <a:gd name="connsiteY4549" fmla="*/ 5637630 h 6750795"/>
              <a:gd name="connsiteX4550" fmla="*/ 3852470 w 6630249"/>
              <a:gd name="connsiteY4550" fmla="*/ 5655584 h 6750795"/>
              <a:gd name="connsiteX4551" fmla="*/ 3847340 w 6630249"/>
              <a:gd name="connsiteY4551" fmla="*/ 5665844 h 6750795"/>
              <a:gd name="connsiteX4552" fmla="*/ 3872989 w 6630249"/>
              <a:gd name="connsiteY4552" fmla="*/ 5673539 h 6750795"/>
              <a:gd name="connsiteX4553" fmla="*/ 3883249 w 6630249"/>
              <a:gd name="connsiteY4553" fmla="*/ 5699188 h 6750795"/>
              <a:gd name="connsiteX4554" fmla="*/ 3893508 w 6630249"/>
              <a:gd name="connsiteY4554" fmla="*/ 5735096 h 6750795"/>
              <a:gd name="connsiteX4555" fmla="*/ 3906333 w 6630249"/>
              <a:gd name="connsiteY4555" fmla="*/ 5765875 h 6750795"/>
              <a:gd name="connsiteX4556" fmla="*/ 3934547 w 6630249"/>
              <a:gd name="connsiteY4556" fmla="*/ 5832562 h 6750795"/>
              <a:gd name="connsiteX4557" fmla="*/ 3939677 w 6630249"/>
              <a:gd name="connsiteY4557" fmla="*/ 5847951 h 6750795"/>
              <a:gd name="connsiteX4558" fmla="*/ 3934547 w 6630249"/>
              <a:gd name="connsiteY4558" fmla="*/ 5860776 h 6750795"/>
              <a:gd name="connsiteX4559" fmla="*/ 3926852 w 6630249"/>
              <a:gd name="connsiteY4559" fmla="*/ 5860776 h 6750795"/>
              <a:gd name="connsiteX4560" fmla="*/ 3921722 w 6630249"/>
              <a:gd name="connsiteY4560" fmla="*/ 5845387 h 6750795"/>
              <a:gd name="connsiteX4561" fmla="*/ 3908898 w 6630249"/>
              <a:gd name="connsiteY4561" fmla="*/ 5860776 h 6750795"/>
              <a:gd name="connsiteX4562" fmla="*/ 3883249 w 6630249"/>
              <a:gd name="connsiteY4562" fmla="*/ 5865906 h 6750795"/>
              <a:gd name="connsiteX4563" fmla="*/ 3893508 w 6630249"/>
              <a:gd name="connsiteY4563" fmla="*/ 5878730 h 6750795"/>
              <a:gd name="connsiteX4564" fmla="*/ 3914028 w 6630249"/>
              <a:gd name="connsiteY4564" fmla="*/ 5881295 h 6750795"/>
              <a:gd name="connsiteX4565" fmla="*/ 3896073 w 6630249"/>
              <a:gd name="connsiteY4565" fmla="*/ 5888990 h 6750795"/>
              <a:gd name="connsiteX4566" fmla="*/ 3898638 w 6630249"/>
              <a:gd name="connsiteY4566" fmla="*/ 5899249 h 6750795"/>
              <a:gd name="connsiteX4567" fmla="*/ 3921722 w 6630249"/>
              <a:gd name="connsiteY4567" fmla="*/ 5886425 h 6750795"/>
              <a:gd name="connsiteX4568" fmla="*/ 3934547 w 6630249"/>
              <a:gd name="connsiteY4568" fmla="*/ 5881295 h 6750795"/>
              <a:gd name="connsiteX4569" fmla="*/ 3931982 w 6630249"/>
              <a:gd name="connsiteY4569" fmla="*/ 5886425 h 6750795"/>
              <a:gd name="connsiteX4570" fmla="*/ 3947371 w 6630249"/>
              <a:gd name="connsiteY4570" fmla="*/ 5886425 h 6750795"/>
              <a:gd name="connsiteX4571" fmla="*/ 3970455 w 6630249"/>
              <a:gd name="connsiteY4571" fmla="*/ 5919768 h 6750795"/>
              <a:gd name="connsiteX4572" fmla="*/ 3962760 w 6630249"/>
              <a:gd name="connsiteY4572" fmla="*/ 5958242 h 6750795"/>
              <a:gd name="connsiteX4573" fmla="*/ 3824256 w 6630249"/>
              <a:gd name="connsiteY4573" fmla="*/ 6245510 h 6750795"/>
              <a:gd name="connsiteX4574" fmla="*/ 3775524 w 6630249"/>
              <a:gd name="connsiteY4574" fmla="*/ 6268594 h 6750795"/>
              <a:gd name="connsiteX4575" fmla="*/ 3760134 w 6630249"/>
              <a:gd name="connsiteY4575" fmla="*/ 6322457 h 6750795"/>
              <a:gd name="connsiteX4576" fmla="*/ 3513904 w 6630249"/>
              <a:gd name="connsiteY4576" fmla="*/ 6312197 h 6750795"/>
              <a:gd name="connsiteX4577" fmla="*/ 3413873 w 6630249"/>
              <a:gd name="connsiteY4577" fmla="*/ 6176258 h 6750795"/>
              <a:gd name="connsiteX4578" fmla="*/ 3354881 w 6630249"/>
              <a:gd name="connsiteY4578" fmla="*/ 6096746 h 6750795"/>
              <a:gd name="connsiteX4579" fmla="*/ 3136865 w 6630249"/>
              <a:gd name="connsiteY4579" fmla="*/ 5906944 h 6750795"/>
              <a:gd name="connsiteX4580" fmla="*/ 3077873 w 6630249"/>
              <a:gd name="connsiteY4580" fmla="*/ 5899249 h 6750795"/>
              <a:gd name="connsiteX4581" fmla="*/ 3003492 w 6630249"/>
              <a:gd name="connsiteY4581" fmla="*/ 5886425 h 6750795"/>
              <a:gd name="connsiteX4582" fmla="*/ 2931673 w 6630249"/>
              <a:gd name="connsiteY4582" fmla="*/ 5796654 h 6750795"/>
              <a:gd name="connsiteX4583" fmla="*/ 2985536 w 6630249"/>
              <a:gd name="connsiteY4583" fmla="*/ 5755615 h 6750795"/>
              <a:gd name="connsiteX4584" fmla="*/ 3047094 w 6630249"/>
              <a:gd name="connsiteY4584" fmla="*/ 5653020 h 6750795"/>
              <a:gd name="connsiteX4585" fmla="*/ 3059918 w 6630249"/>
              <a:gd name="connsiteY4585" fmla="*/ 5650455 h 6750795"/>
              <a:gd name="connsiteX4586" fmla="*/ 3077873 w 6630249"/>
              <a:gd name="connsiteY4586" fmla="*/ 5645325 h 6750795"/>
              <a:gd name="connsiteX4587" fmla="*/ 3093262 w 6630249"/>
              <a:gd name="connsiteY4587" fmla="*/ 5570943 h 6750795"/>
              <a:gd name="connsiteX4588" fmla="*/ 3108652 w 6630249"/>
              <a:gd name="connsiteY4588" fmla="*/ 5563249 h 6750795"/>
              <a:gd name="connsiteX4589" fmla="*/ 3124040 w 6630249"/>
              <a:gd name="connsiteY4589" fmla="*/ 5558118 h 6750795"/>
              <a:gd name="connsiteX4590" fmla="*/ 3126605 w 6630249"/>
              <a:gd name="connsiteY4590" fmla="*/ 5555554 h 6750795"/>
              <a:gd name="connsiteX4591" fmla="*/ 3126605 w 6630249"/>
              <a:gd name="connsiteY4591" fmla="*/ 5552989 h 6750795"/>
              <a:gd name="connsiteX4592" fmla="*/ 3116346 w 6630249"/>
              <a:gd name="connsiteY4592" fmla="*/ 5468347 h 6750795"/>
              <a:gd name="connsiteX4593" fmla="*/ 3106086 w 6630249"/>
              <a:gd name="connsiteY4593" fmla="*/ 5373446 h 6750795"/>
              <a:gd name="connsiteX4594" fmla="*/ 3177903 w 6630249"/>
              <a:gd name="connsiteY4594" fmla="*/ 5240072 h 6750795"/>
              <a:gd name="connsiteX4595" fmla="*/ 3218942 w 6630249"/>
              <a:gd name="connsiteY4595" fmla="*/ 5229812 h 6750795"/>
              <a:gd name="connsiteX4596" fmla="*/ 3259980 w 6630249"/>
              <a:gd name="connsiteY4596" fmla="*/ 5283675 h 6750795"/>
              <a:gd name="connsiteX4597" fmla="*/ 3283064 w 6630249"/>
              <a:gd name="connsiteY4597" fmla="*/ 5327278 h 6750795"/>
              <a:gd name="connsiteX4598" fmla="*/ 3493385 w 6630249"/>
              <a:gd name="connsiteY4598" fmla="*/ 5393965 h 6750795"/>
              <a:gd name="connsiteX4599" fmla="*/ 3585721 w 6630249"/>
              <a:gd name="connsiteY4599" fmla="*/ 5329843 h 6750795"/>
              <a:gd name="connsiteX4600" fmla="*/ 3642149 w 6630249"/>
              <a:gd name="connsiteY4600" fmla="*/ 5275980 h 6750795"/>
              <a:gd name="connsiteX4601" fmla="*/ 3667798 w 6630249"/>
              <a:gd name="connsiteY4601" fmla="*/ 5268286 h 6750795"/>
              <a:gd name="connsiteX4602" fmla="*/ 3724226 w 6630249"/>
              <a:gd name="connsiteY4602" fmla="*/ 5240072 h 6750795"/>
              <a:gd name="connsiteX4603" fmla="*/ 3737050 w 6630249"/>
              <a:gd name="connsiteY4603" fmla="*/ 5186209 h 6750795"/>
              <a:gd name="connsiteX4604" fmla="*/ 3747310 w 6630249"/>
              <a:gd name="connsiteY4604" fmla="*/ 5134911 h 6750795"/>
              <a:gd name="connsiteX4605" fmla="*/ 3767829 w 6630249"/>
              <a:gd name="connsiteY4605" fmla="*/ 5116957 h 6750795"/>
              <a:gd name="connsiteX4606" fmla="*/ 3796042 w 6630249"/>
              <a:gd name="connsiteY4606" fmla="*/ 5086178 h 6750795"/>
              <a:gd name="connsiteX4607" fmla="*/ 3783218 w 6630249"/>
              <a:gd name="connsiteY4607" fmla="*/ 5037446 h 6750795"/>
              <a:gd name="connsiteX4608" fmla="*/ 3770393 w 6630249"/>
              <a:gd name="connsiteY4608" fmla="*/ 4996407 h 6750795"/>
              <a:gd name="connsiteX4609" fmla="*/ 3780653 w 6630249"/>
              <a:gd name="connsiteY4609" fmla="*/ 4978453 h 6750795"/>
              <a:gd name="connsiteX4610" fmla="*/ 3790913 w 6630249"/>
              <a:gd name="connsiteY4610" fmla="*/ 4955369 h 6750795"/>
              <a:gd name="connsiteX4611" fmla="*/ 3778088 w 6630249"/>
              <a:gd name="connsiteY4611" fmla="*/ 4911766 h 6750795"/>
              <a:gd name="connsiteX4612" fmla="*/ 3775524 w 6630249"/>
              <a:gd name="connsiteY4612" fmla="*/ 4855338 h 6750795"/>
              <a:gd name="connsiteX4613" fmla="*/ 3778088 w 6630249"/>
              <a:gd name="connsiteY4613" fmla="*/ 4850208 h 6750795"/>
              <a:gd name="connsiteX4614" fmla="*/ 3775524 w 6630249"/>
              <a:gd name="connsiteY4614" fmla="*/ 4845079 h 6750795"/>
              <a:gd name="connsiteX4615" fmla="*/ 3762699 w 6630249"/>
              <a:gd name="connsiteY4615" fmla="*/ 4824559 h 6750795"/>
              <a:gd name="connsiteX4616" fmla="*/ 3716531 w 6630249"/>
              <a:gd name="connsiteY4616" fmla="*/ 4778391 h 6750795"/>
              <a:gd name="connsiteX4617" fmla="*/ 3780653 w 6630249"/>
              <a:gd name="connsiteY4617" fmla="*/ 4765567 h 6750795"/>
              <a:gd name="connsiteX4618" fmla="*/ 3857600 w 6630249"/>
              <a:gd name="connsiteY4618" fmla="*/ 4739918 h 6750795"/>
              <a:gd name="connsiteX4619" fmla="*/ 3844776 w 6630249"/>
              <a:gd name="connsiteY4619" fmla="*/ 4691185 h 6750795"/>
              <a:gd name="connsiteX4620" fmla="*/ 3857600 w 6630249"/>
              <a:gd name="connsiteY4620" fmla="*/ 4650147 h 6750795"/>
              <a:gd name="connsiteX4621" fmla="*/ 3855035 w 6630249"/>
              <a:gd name="connsiteY4621" fmla="*/ 4645017 h 6750795"/>
              <a:gd name="connsiteX4622" fmla="*/ 3844776 w 6630249"/>
              <a:gd name="connsiteY4622" fmla="*/ 4632192 h 6750795"/>
              <a:gd name="connsiteX4623" fmla="*/ 3842210 w 6630249"/>
              <a:gd name="connsiteY4623" fmla="*/ 4632192 h 6750795"/>
              <a:gd name="connsiteX4624" fmla="*/ 3819127 w 6630249"/>
              <a:gd name="connsiteY4624" fmla="*/ 4632192 h 6750795"/>
              <a:gd name="connsiteX4625" fmla="*/ 3832116 w 6630249"/>
              <a:gd name="connsiteY4625" fmla="*/ 4598685 h 6750795"/>
              <a:gd name="connsiteX4626" fmla="*/ 3834515 w 6630249"/>
              <a:gd name="connsiteY4626" fmla="*/ 4596285 h 6750795"/>
              <a:gd name="connsiteX4627" fmla="*/ 3833870 w 6630249"/>
              <a:gd name="connsiteY4627" fmla="*/ 4594160 h 6750795"/>
              <a:gd name="connsiteX4628" fmla="*/ 3841249 w 6630249"/>
              <a:gd name="connsiteY4628" fmla="*/ 4575124 h 6750795"/>
              <a:gd name="connsiteX4629" fmla="*/ 3834516 w 6630249"/>
              <a:gd name="connsiteY4629" fmla="*/ 4514207 h 6750795"/>
              <a:gd name="connsiteX4630" fmla="*/ 3872989 w 6630249"/>
              <a:gd name="connsiteY4630" fmla="*/ 4473169 h 6750795"/>
              <a:gd name="connsiteX4631" fmla="*/ 3852470 w 6630249"/>
              <a:gd name="connsiteY4631" fmla="*/ 4401352 h 6750795"/>
              <a:gd name="connsiteX4632" fmla="*/ 3790913 w 6630249"/>
              <a:gd name="connsiteY4632" fmla="*/ 4393657 h 6750795"/>
              <a:gd name="connsiteX4633" fmla="*/ 3762699 w 6630249"/>
              <a:gd name="connsiteY4633" fmla="*/ 4329535 h 6750795"/>
              <a:gd name="connsiteX4634" fmla="*/ 3762699 w 6630249"/>
              <a:gd name="connsiteY4634" fmla="*/ 4326970 h 6750795"/>
              <a:gd name="connsiteX4635" fmla="*/ 3760134 w 6630249"/>
              <a:gd name="connsiteY4635" fmla="*/ 4324405 h 6750795"/>
              <a:gd name="connsiteX4636" fmla="*/ 3698577 w 6630249"/>
              <a:gd name="connsiteY4636" fmla="*/ 4309016 h 6750795"/>
              <a:gd name="connsiteX4637" fmla="*/ 3621630 w 6630249"/>
              <a:gd name="connsiteY4637" fmla="*/ 4250023 h 6750795"/>
              <a:gd name="connsiteX4638" fmla="*/ 3621630 w 6630249"/>
              <a:gd name="connsiteY4638" fmla="*/ 4247458 h 6750795"/>
              <a:gd name="connsiteX4639" fmla="*/ 3619065 w 6630249"/>
              <a:gd name="connsiteY4639" fmla="*/ 4244893 h 6750795"/>
              <a:gd name="connsiteX4640" fmla="*/ 3506210 w 6630249"/>
              <a:gd name="connsiteY4640" fmla="*/ 4149992 h 6750795"/>
              <a:gd name="connsiteX4641" fmla="*/ 3505876 w 6630249"/>
              <a:gd name="connsiteY4641" fmla="*/ 4142298 h 6750795"/>
              <a:gd name="connsiteX4642" fmla="*/ 3503644 w 6630249"/>
              <a:gd name="connsiteY4642" fmla="*/ 4142298 h 6750795"/>
              <a:gd name="connsiteX4643" fmla="*/ 3490819 w 6630249"/>
              <a:gd name="connsiteY4643" fmla="*/ 4155122 h 6750795"/>
              <a:gd name="connsiteX4644" fmla="*/ 3413872 w 6630249"/>
              <a:gd name="connsiteY4644" fmla="*/ 4314146 h 6750795"/>
              <a:gd name="connsiteX4645" fmla="*/ 3383094 w 6630249"/>
              <a:gd name="connsiteY4645" fmla="*/ 4360314 h 6750795"/>
              <a:gd name="connsiteX4646" fmla="*/ 3393353 w 6630249"/>
              <a:gd name="connsiteY4646" fmla="*/ 4368009 h 6750795"/>
              <a:gd name="connsiteX4647" fmla="*/ 3516468 w 6630249"/>
              <a:gd name="connsiteY4647" fmla="*/ 4196161 h 6750795"/>
              <a:gd name="connsiteX4648" fmla="*/ 3593415 w 6630249"/>
              <a:gd name="connsiteY4648" fmla="*/ 4252588 h 6750795"/>
              <a:gd name="connsiteX4649" fmla="*/ 3585720 w 6630249"/>
              <a:gd name="connsiteY4649" fmla="*/ 4280802 h 6750795"/>
              <a:gd name="connsiteX4650" fmla="*/ 3529293 w 6630249"/>
              <a:gd name="connsiteY4650" fmla="*/ 4442390 h 6750795"/>
              <a:gd name="connsiteX4651" fmla="*/ 3539552 w 6630249"/>
              <a:gd name="connsiteY4651" fmla="*/ 4450085 h 6750795"/>
              <a:gd name="connsiteX4652" fmla="*/ 3588285 w 6630249"/>
              <a:gd name="connsiteY4652" fmla="*/ 4360314 h 6750795"/>
              <a:gd name="connsiteX4653" fmla="*/ 3575461 w 6630249"/>
              <a:gd name="connsiteY4653" fmla="*/ 4403917 h 6750795"/>
              <a:gd name="connsiteX4654" fmla="*/ 3585720 w 6630249"/>
              <a:gd name="connsiteY4654" fmla="*/ 4411612 h 6750795"/>
              <a:gd name="connsiteX4655" fmla="*/ 3598855 w 6630249"/>
              <a:gd name="connsiteY4655" fmla="*/ 4395662 h 6750795"/>
              <a:gd name="connsiteX4656" fmla="*/ 3585721 w 6630249"/>
              <a:gd name="connsiteY4656" fmla="*/ 4425398 h 6750795"/>
              <a:gd name="connsiteX4657" fmla="*/ 3562636 w 6630249"/>
              <a:gd name="connsiteY4657" fmla="*/ 4468039 h 6750795"/>
              <a:gd name="connsiteX4658" fmla="*/ 3557507 w 6630249"/>
              <a:gd name="connsiteY4658" fmla="*/ 4475734 h 6750795"/>
              <a:gd name="connsiteX4659" fmla="*/ 3565201 w 6630249"/>
              <a:gd name="connsiteY4659" fmla="*/ 4475734 h 6750795"/>
              <a:gd name="connsiteX4660" fmla="*/ 3554941 w 6630249"/>
              <a:gd name="connsiteY4660" fmla="*/ 4488558 h 6750795"/>
              <a:gd name="connsiteX4661" fmla="*/ 3526728 w 6630249"/>
              <a:gd name="connsiteY4661" fmla="*/ 4534727 h 6750795"/>
              <a:gd name="connsiteX4662" fmla="*/ 3536987 w 6630249"/>
              <a:gd name="connsiteY4662" fmla="*/ 4542421 h 6750795"/>
              <a:gd name="connsiteX4663" fmla="*/ 3647278 w 6630249"/>
              <a:gd name="connsiteY4663" fmla="*/ 4342360 h 6750795"/>
              <a:gd name="connsiteX4664" fmla="*/ 3708835 w 6630249"/>
              <a:gd name="connsiteY4664" fmla="*/ 4352619 h 6750795"/>
              <a:gd name="connsiteX4665" fmla="*/ 3755003 w 6630249"/>
              <a:gd name="connsiteY4665" fmla="*/ 4357749 h 6750795"/>
              <a:gd name="connsiteX4666" fmla="*/ 3762698 w 6630249"/>
              <a:gd name="connsiteY4666" fmla="*/ 4375703 h 6750795"/>
              <a:gd name="connsiteX4667" fmla="*/ 3790912 w 6630249"/>
              <a:gd name="connsiteY4667" fmla="*/ 4427001 h 6750795"/>
              <a:gd name="connsiteX4668" fmla="*/ 3703705 w 6630249"/>
              <a:gd name="connsiteY4668" fmla="*/ 4509078 h 6750795"/>
              <a:gd name="connsiteX4669" fmla="*/ 3611369 w 6630249"/>
              <a:gd name="connsiteY4669" fmla="*/ 4593720 h 6750795"/>
              <a:gd name="connsiteX4670" fmla="*/ 3616499 w 6630249"/>
              <a:gd name="connsiteY4670" fmla="*/ 4555246 h 6750795"/>
              <a:gd name="connsiteX4671" fmla="*/ 3595980 w 6630249"/>
              <a:gd name="connsiteY4671" fmla="*/ 4537292 h 6750795"/>
              <a:gd name="connsiteX4672" fmla="*/ 3590850 w 6630249"/>
              <a:gd name="connsiteY4672" fmla="*/ 4534727 h 6750795"/>
              <a:gd name="connsiteX4673" fmla="*/ 3588285 w 6630249"/>
              <a:gd name="connsiteY4673" fmla="*/ 4539856 h 6750795"/>
              <a:gd name="connsiteX4674" fmla="*/ 3065047 w 6630249"/>
              <a:gd name="connsiteY4674" fmla="*/ 5037447 h 6750795"/>
              <a:gd name="connsiteX4675" fmla="*/ 2890634 w 6630249"/>
              <a:gd name="connsiteY4675" fmla="*/ 5132348 h 6750795"/>
              <a:gd name="connsiteX4676" fmla="*/ 2895051 w 6630249"/>
              <a:gd name="connsiteY4676" fmla="*/ 5143389 h 6750795"/>
              <a:gd name="connsiteX4677" fmla="*/ 2785474 w 6630249"/>
              <a:gd name="connsiteY4677" fmla="*/ 5188775 h 6750795"/>
              <a:gd name="connsiteX4678" fmla="*/ 2782909 w 6630249"/>
              <a:gd name="connsiteY4678" fmla="*/ 5188775 h 6750795"/>
              <a:gd name="connsiteX4679" fmla="*/ 2777779 w 6630249"/>
              <a:gd name="connsiteY4679" fmla="*/ 5191340 h 6750795"/>
              <a:gd name="connsiteX4680" fmla="*/ 2772649 w 6630249"/>
              <a:gd name="connsiteY4680" fmla="*/ 5193905 h 6750795"/>
              <a:gd name="connsiteX4681" fmla="*/ 2772649 w 6630249"/>
              <a:gd name="connsiteY4681" fmla="*/ 5199035 h 6750795"/>
              <a:gd name="connsiteX4682" fmla="*/ 2772649 w 6630249"/>
              <a:gd name="connsiteY4682" fmla="*/ 5201600 h 6750795"/>
              <a:gd name="connsiteX4683" fmla="*/ 2767519 w 6630249"/>
              <a:gd name="connsiteY4683" fmla="*/ 5204165 h 6750795"/>
              <a:gd name="connsiteX4684" fmla="*/ 2736741 w 6630249"/>
              <a:gd name="connsiteY4684" fmla="*/ 5222119 h 6750795"/>
              <a:gd name="connsiteX4685" fmla="*/ 2729046 w 6630249"/>
              <a:gd name="connsiteY4685" fmla="*/ 5237508 h 6750795"/>
              <a:gd name="connsiteX4686" fmla="*/ 2744435 w 6630249"/>
              <a:gd name="connsiteY4686" fmla="*/ 5232378 h 6750795"/>
              <a:gd name="connsiteX4687" fmla="*/ 2772649 w 6630249"/>
              <a:gd name="connsiteY4687" fmla="*/ 5222119 h 6750795"/>
              <a:gd name="connsiteX4688" fmla="*/ 2554633 w 6630249"/>
              <a:gd name="connsiteY4688" fmla="*/ 5311890 h 6750795"/>
              <a:gd name="connsiteX4689" fmla="*/ 2552068 w 6630249"/>
              <a:gd name="connsiteY4689" fmla="*/ 5311890 h 6750795"/>
              <a:gd name="connsiteX4690" fmla="*/ 2441778 w 6630249"/>
              <a:gd name="connsiteY4690" fmla="*/ 5378577 h 6750795"/>
              <a:gd name="connsiteX4691" fmla="*/ 2439213 w 6630249"/>
              <a:gd name="connsiteY4691" fmla="*/ 5373448 h 6750795"/>
              <a:gd name="connsiteX4692" fmla="*/ 2452037 w 6630249"/>
              <a:gd name="connsiteY4692" fmla="*/ 5365753 h 6750795"/>
              <a:gd name="connsiteX4693" fmla="*/ 2605931 w 6630249"/>
              <a:gd name="connsiteY4693" fmla="*/ 5270852 h 6750795"/>
              <a:gd name="connsiteX4694" fmla="*/ 2600802 w 6630249"/>
              <a:gd name="connsiteY4694" fmla="*/ 5260592 h 6750795"/>
              <a:gd name="connsiteX4695" fmla="*/ 2326358 w 6630249"/>
              <a:gd name="connsiteY4695" fmla="*/ 5401662 h 6750795"/>
              <a:gd name="connsiteX4696" fmla="*/ 2295579 w 6630249"/>
              <a:gd name="connsiteY4696" fmla="*/ 5386272 h 6750795"/>
              <a:gd name="connsiteX4697" fmla="*/ 2316099 w 6630249"/>
              <a:gd name="connsiteY4697" fmla="*/ 5365753 h 6750795"/>
              <a:gd name="connsiteX4698" fmla="*/ 2236586 w 6630249"/>
              <a:gd name="connsiteY4698" fmla="*/ 5263157 h 6750795"/>
              <a:gd name="connsiteX4699" fmla="*/ 2226327 w 6630249"/>
              <a:gd name="connsiteY4699" fmla="*/ 5240073 h 6750795"/>
              <a:gd name="connsiteX4700" fmla="*/ 2315497 w 6630249"/>
              <a:gd name="connsiteY4700" fmla="*/ 5186611 h 6750795"/>
              <a:gd name="connsiteX4701" fmla="*/ 2395045 w 6630249"/>
              <a:gd name="connsiteY4701" fmla="*/ 5115894 h 6750795"/>
              <a:gd name="connsiteX4702" fmla="*/ 2370602 w 6630249"/>
              <a:gd name="connsiteY4702" fmla="*/ 5148698 h 6750795"/>
              <a:gd name="connsiteX4703" fmla="*/ 2241716 w 6630249"/>
              <a:gd name="connsiteY4703" fmla="*/ 5247768 h 6750795"/>
              <a:gd name="connsiteX4704" fmla="*/ 2246846 w 6630249"/>
              <a:gd name="connsiteY4704" fmla="*/ 5258027 h 6750795"/>
              <a:gd name="connsiteX4705" fmla="*/ 2490511 w 6630249"/>
              <a:gd name="connsiteY4705" fmla="*/ 5006668 h 6750795"/>
              <a:gd name="connsiteX4706" fmla="*/ 2480251 w 6630249"/>
              <a:gd name="connsiteY4706" fmla="*/ 5001538 h 6750795"/>
              <a:gd name="connsiteX4707" fmla="*/ 2447871 w 6630249"/>
              <a:gd name="connsiteY4707" fmla="*/ 5044996 h 6750795"/>
              <a:gd name="connsiteX4708" fmla="*/ 2469791 w 6630249"/>
              <a:gd name="connsiteY4708" fmla="*/ 5005626 h 6750795"/>
              <a:gd name="connsiteX4709" fmla="*/ 2508465 w 6630249"/>
              <a:gd name="connsiteY4709" fmla="*/ 4865599 h 6750795"/>
              <a:gd name="connsiteX4710" fmla="*/ 2495642 w 6630249"/>
              <a:gd name="connsiteY4710" fmla="*/ 4863034 h 6750795"/>
              <a:gd name="connsiteX4711" fmla="*/ 2484382 w 6630249"/>
              <a:gd name="connsiteY4711" fmla="*/ 4901533 h 6750795"/>
              <a:gd name="connsiteX4712" fmla="*/ 2490511 w 6630249"/>
              <a:gd name="connsiteY4712" fmla="*/ 4875858 h 6750795"/>
              <a:gd name="connsiteX4713" fmla="*/ 2493076 w 6630249"/>
              <a:gd name="connsiteY4713" fmla="*/ 4863034 h 6750795"/>
              <a:gd name="connsiteX4714" fmla="*/ 2480251 w 6630249"/>
              <a:gd name="connsiteY4714" fmla="*/ 4870729 h 6750795"/>
              <a:gd name="connsiteX4715" fmla="*/ 2472557 w 6630249"/>
              <a:gd name="connsiteY4715" fmla="*/ 4875858 h 6750795"/>
              <a:gd name="connsiteX4716" fmla="*/ 2482816 w 6630249"/>
              <a:gd name="connsiteY4716" fmla="*/ 4832255 h 6750795"/>
              <a:gd name="connsiteX4717" fmla="*/ 2467427 w 6630249"/>
              <a:gd name="connsiteY4717" fmla="*/ 4778392 h 6750795"/>
              <a:gd name="connsiteX4718" fmla="*/ 2459732 w 6630249"/>
              <a:gd name="connsiteY4718" fmla="*/ 4775827 h 6750795"/>
              <a:gd name="connsiteX4719" fmla="*/ 2459732 w 6630249"/>
              <a:gd name="connsiteY4719" fmla="*/ 4783522 h 6750795"/>
              <a:gd name="connsiteX4720" fmla="*/ 2303274 w 6630249"/>
              <a:gd name="connsiteY4720" fmla="*/ 5099004 h 6750795"/>
              <a:gd name="connsiteX4721" fmla="*/ 2405869 w 6630249"/>
              <a:gd name="connsiteY4721" fmla="*/ 4937416 h 6750795"/>
              <a:gd name="connsiteX4722" fmla="*/ 2395610 w 6630249"/>
              <a:gd name="connsiteY4722" fmla="*/ 4932286 h 6750795"/>
              <a:gd name="connsiteX4723" fmla="*/ 2329211 w 6630249"/>
              <a:gd name="connsiteY4723" fmla="*/ 5021708 h 6750795"/>
              <a:gd name="connsiteX4724" fmla="*/ 2362266 w 6630249"/>
              <a:gd name="connsiteY4724" fmla="*/ 4968194 h 6750795"/>
              <a:gd name="connsiteX4725" fmla="*/ 2352007 w 6630249"/>
              <a:gd name="connsiteY4725" fmla="*/ 4960500 h 6750795"/>
              <a:gd name="connsiteX4726" fmla="*/ 2318663 w 6630249"/>
              <a:gd name="connsiteY4726" fmla="*/ 5001538 h 6750795"/>
              <a:gd name="connsiteX4727" fmla="*/ 2269930 w 6630249"/>
              <a:gd name="connsiteY4727" fmla="*/ 5060531 h 6750795"/>
              <a:gd name="connsiteX4728" fmla="*/ 2269930 w 6630249"/>
              <a:gd name="connsiteY4728" fmla="*/ 5047706 h 6750795"/>
              <a:gd name="connsiteX4729" fmla="*/ 2257106 w 6630249"/>
              <a:gd name="connsiteY4729" fmla="*/ 5063096 h 6750795"/>
              <a:gd name="connsiteX4730" fmla="*/ 2151945 w 6630249"/>
              <a:gd name="connsiteY4730" fmla="*/ 5152867 h 6750795"/>
              <a:gd name="connsiteX4731" fmla="*/ 2087823 w 6630249"/>
              <a:gd name="connsiteY4731" fmla="*/ 5068225 h 6750795"/>
              <a:gd name="connsiteX4732" fmla="*/ 2095518 w 6630249"/>
              <a:gd name="connsiteY4732" fmla="*/ 5055401 h 6750795"/>
              <a:gd name="connsiteX4733" fmla="*/ 2113472 w 6630249"/>
              <a:gd name="connsiteY4733" fmla="*/ 5022057 h 6750795"/>
              <a:gd name="connsiteX4734" fmla="*/ 2154510 w 6630249"/>
              <a:gd name="connsiteY4734" fmla="*/ 4927156 h 6750795"/>
              <a:gd name="connsiteX4735" fmla="*/ 2162204 w 6630249"/>
              <a:gd name="connsiteY4735" fmla="*/ 4860469 h 6750795"/>
              <a:gd name="connsiteX4736" fmla="*/ 2226327 w 6630249"/>
              <a:gd name="connsiteY4736" fmla="*/ 4709140 h 6750795"/>
              <a:gd name="connsiteX4737" fmla="*/ 2259670 w 6630249"/>
              <a:gd name="connsiteY4737" fmla="*/ 4706575 h 6750795"/>
              <a:gd name="connsiteX4738" fmla="*/ 2269930 w 6630249"/>
              <a:gd name="connsiteY4738" fmla="*/ 4706575 h 6750795"/>
              <a:gd name="connsiteX4739" fmla="*/ 2272495 w 6630249"/>
              <a:gd name="connsiteY4739" fmla="*/ 4706575 h 6750795"/>
              <a:gd name="connsiteX4740" fmla="*/ 2277625 w 6630249"/>
              <a:gd name="connsiteY4740" fmla="*/ 4701446 h 6750795"/>
              <a:gd name="connsiteX4741" fmla="*/ 2434084 w 6630249"/>
              <a:gd name="connsiteY4741" fmla="*/ 4596285 h 6750795"/>
              <a:gd name="connsiteX4742" fmla="*/ 2457167 w 6630249"/>
              <a:gd name="connsiteY4742" fmla="*/ 4601415 h 6750795"/>
              <a:gd name="connsiteX4743" fmla="*/ 2480251 w 6630249"/>
              <a:gd name="connsiteY4743" fmla="*/ 4606545 h 6750795"/>
              <a:gd name="connsiteX4744" fmla="*/ 2605931 w 6630249"/>
              <a:gd name="connsiteY4744" fmla="*/ 4578330 h 6750795"/>
              <a:gd name="connsiteX4745" fmla="*/ 2731611 w 6630249"/>
              <a:gd name="connsiteY4745" fmla="*/ 4560376 h 6750795"/>
              <a:gd name="connsiteX4746" fmla="*/ 2675183 w 6630249"/>
              <a:gd name="connsiteY4746" fmla="*/ 4742484 h 6750795"/>
              <a:gd name="connsiteX4747" fmla="*/ 2659794 w 6630249"/>
              <a:gd name="connsiteY4747" fmla="*/ 4778392 h 6750795"/>
              <a:gd name="connsiteX4748" fmla="*/ 2652099 w 6630249"/>
              <a:gd name="connsiteY4748" fmla="*/ 4796347 h 6750795"/>
              <a:gd name="connsiteX4749" fmla="*/ 2667489 w 6630249"/>
              <a:gd name="connsiteY4749" fmla="*/ 4788652 h 6750795"/>
              <a:gd name="connsiteX4750" fmla="*/ 2741870 w 6630249"/>
              <a:gd name="connsiteY4750" fmla="*/ 4642453 h 6750795"/>
              <a:gd name="connsiteX4751" fmla="*/ 2764954 w 6630249"/>
              <a:gd name="connsiteY4751" fmla="*/ 4565505 h 6750795"/>
              <a:gd name="connsiteX4752" fmla="*/ 2700832 w 6630249"/>
              <a:gd name="connsiteY4752" fmla="*/ 4783522 h 6750795"/>
              <a:gd name="connsiteX4753" fmla="*/ 2711092 w 6630249"/>
              <a:gd name="connsiteY4753" fmla="*/ 4791217 h 6750795"/>
              <a:gd name="connsiteX4754" fmla="*/ 2780344 w 6630249"/>
              <a:gd name="connsiteY4754" fmla="*/ 4645018 h 6750795"/>
              <a:gd name="connsiteX4755" fmla="*/ 2780344 w 6630249"/>
              <a:gd name="connsiteY4755" fmla="*/ 4642453 h 6750795"/>
              <a:gd name="connsiteX4756" fmla="*/ 2795733 w 6630249"/>
              <a:gd name="connsiteY4756" fmla="*/ 4609109 h 6750795"/>
              <a:gd name="connsiteX4757" fmla="*/ 2795733 w 6630249"/>
              <a:gd name="connsiteY4757" fmla="*/ 4596285 h 6750795"/>
              <a:gd name="connsiteX4758" fmla="*/ 2803429 w 6630249"/>
              <a:gd name="connsiteY4758" fmla="*/ 4593720 h 6750795"/>
              <a:gd name="connsiteX4759" fmla="*/ 2795733 w 6630249"/>
              <a:gd name="connsiteY4759" fmla="*/ 4637323 h 6750795"/>
              <a:gd name="connsiteX4760" fmla="*/ 2749566 w 6630249"/>
              <a:gd name="connsiteY4760" fmla="*/ 4788652 h 6750795"/>
              <a:gd name="connsiteX4761" fmla="*/ 2723916 w 6630249"/>
              <a:gd name="connsiteY4761" fmla="*/ 4816866 h 6750795"/>
              <a:gd name="connsiteX4762" fmla="*/ 2693137 w 6630249"/>
              <a:gd name="connsiteY4762" fmla="*/ 4870729 h 6750795"/>
              <a:gd name="connsiteX4763" fmla="*/ 2693137 w 6630249"/>
              <a:gd name="connsiteY4763" fmla="*/ 4880988 h 6750795"/>
              <a:gd name="connsiteX4764" fmla="*/ 2703397 w 6630249"/>
              <a:gd name="connsiteY4764" fmla="*/ 4873293 h 6750795"/>
              <a:gd name="connsiteX4765" fmla="*/ 2831642 w 6630249"/>
              <a:gd name="connsiteY4765" fmla="*/ 4591154 h 6750795"/>
              <a:gd name="connsiteX4766" fmla="*/ 2713656 w 6630249"/>
              <a:gd name="connsiteY4766" fmla="*/ 4870729 h 6750795"/>
              <a:gd name="connsiteX4767" fmla="*/ 2721351 w 6630249"/>
              <a:gd name="connsiteY4767" fmla="*/ 4880988 h 6750795"/>
              <a:gd name="connsiteX4768" fmla="*/ 2844467 w 6630249"/>
              <a:gd name="connsiteY4768" fmla="*/ 4714270 h 6750795"/>
              <a:gd name="connsiteX4769" fmla="*/ 2854726 w 6630249"/>
              <a:gd name="connsiteY4769" fmla="*/ 4557811 h 6750795"/>
              <a:gd name="connsiteX4770" fmla="*/ 2852161 w 6630249"/>
              <a:gd name="connsiteY4770" fmla="*/ 4457780 h 6750795"/>
              <a:gd name="connsiteX4771" fmla="*/ 3095826 w 6630249"/>
              <a:gd name="connsiteY4771" fmla="*/ 4103825 h 6750795"/>
              <a:gd name="connsiteX4772" fmla="*/ 3098391 w 6630249"/>
              <a:gd name="connsiteY4772" fmla="*/ 4103825 h 6750795"/>
              <a:gd name="connsiteX4773" fmla="*/ 3093261 w 6630249"/>
              <a:gd name="connsiteY4773" fmla="*/ 4147428 h 6750795"/>
              <a:gd name="connsiteX4774" fmla="*/ 3088132 w 6630249"/>
              <a:gd name="connsiteY4774" fmla="*/ 4208985 h 6750795"/>
              <a:gd name="connsiteX4775" fmla="*/ 3090696 w 6630249"/>
              <a:gd name="connsiteY4775" fmla="*/ 4224374 h 6750795"/>
              <a:gd name="connsiteX4776" fmla="*/ 3100955 w 6630249"/>
              <a:gd name="connsiteY4776" fmla="*/ 4211550 h 6750795"/>
              <a:gd name="connsiteX4777" fmla="*/ 3116345 w 6630249"/>
              <a:gd name="connsiteY4777" fmla="*/ 4142298 h 6750795"/>
              <a:gd name="connsiteX4778" fmla="*/ 3126604 w 6630249"/>
              <a:gd name="connsiteY4778" fmla="*/ 4096130 h 6750795"/>
              <a:gd name="connsiteX4779" fmla="*/ 3121475 w 6630249"/>
              <a:gd name="connsiteY4779" fmla="*/ 4147428 h 6750795"/>
              <a:gd name="connsiteX4780" fmla="*/ 3116345 w 6630249"/>
              <a:gd name="connsiteY4780" fmla="*/ 4203856 h 6750795"/>
              <a:gd name="connsiteX4781" fmla="*/ 3121475 w 6630249"/>
              <a:gd name="connsiteY4781" fmla="*/ 4224374 h 6750795"/>
              <a:gd name="connsiteX4782" fmla="*/ 3129169 w 6630249"/>
              <a:gd name="connsiteY4782" fmla="*/ 4203856 h 6750795"/>
              <a:gd name="connsiteX4783" fmla="*/ 3147123 w 6630249"/>
              <a:gd name="connsiteY4783" fmla="*/ 4139733 h 6750795"/>
              <a:gd name="connsiteX4784" fmla="*/ 3188162 w 6630249"/>
              <a:gd name="connsiteY4784" fmla="*/ 4052527 h 6750795"/>
              <a:gd name="connsiteX4785" fmla="*/ 3239460 w 6630249"/>
              <a:gd name="connsiteY4785" fmla="*/ 4049962 h 6750795"/>
              <a:gd name="connsiteX4786" fmla="*/ 3057353 w 6630249"/>
              <a:gd name="connsiteY4786" fmla="*/ 4447520 h 6750795"/>
              <a:gd name="connsiteX4787" fmla="*/ 3067612 w 6630249"/>
              <a:gd name="connsiteY4787" fmla="*/ 4457780 h 6750795"/>
              <a:gd name="connsiteX4788" fmla="*/ 3275368 w 6630249"/>
              <a:gd name="connsiteY4788" fmla="*/ 4060221 h 6750795"/>
              <a:gd name="connsiteX4789" fmla="*/ 3277934 w 6630249"/>
              <a:gd name="connsiteY4789" fmla="*/ 4062786 h 6750795"/>
              <a:gd name="connsiteX4790" fmla="*/ 3275368 w 6630249"/>
              <a:gd name="connsiteY4790" fmla="*/ 4116649 h 6750795"/>
              <a:gd name="connsiteX4791" fmla="*/ 3272803 w 6630249"/>
              <a:gd name="connsiteY4791" fmla="*/ 4160252 h 6750795"/>
              <a:gd name="connsiteX4792" fmla="*/ 3275368 w 6630249"/>
              <a:gd name="connsiteY4792" fmla="*/ 4162817 h 6750795"/>
              <a:gd name="connsiteX4793" fmla="*/ 3272803 w 6630249"/>
              <a:gd name="connsiteY4793" fmla="*/ 4165382 h 6750795"/>
              <a:gd name="connsiteX4794" fmla="*/ 3272803 w 6630249"/>
              <a:gd name="connsiteY4794" fmla="*/ 4188466 h 6750795"/>
              <a:gd name="connsiteX4795" fmla="*/ 3277934 w 6630249"/>
              <a:gd name="connsiteY4795" fmla="*/ 4191031 h 6750795"/>
              <a:gd name="connsiteX4796" fmla="*/ 3283063 w 6630249"/>
              <a:gd name="connsiteY4796" fmla="*/ 4188466 h 6750795"/>
              <a:gd name="connsiteX4797" fmla="*/ 3324101 w 6630249"/>
              <a:gd name="connsiteY4797" fmla="*/ 4060221 h 6750795"/>
              <a:gd name="connsiteX4798" fmla="*/ 3377964 w 6630249"/>
              <a:gd name="connsiteY4798" fmla="*/ 4034573 h 6750795"/>
              <a:gd name="connsiteX4799" fmla="*/ 3419002 w 6630249"/>
              <a:gd name="connsiteY4799" fmla="*/ 4014053 h 6750795"/>
              <a:gd name="connsiteX4800" fmla="*/ 3496551 w 6630249"/>
              <a:gd name="connsiteY4800" fmla="*/ 4098454 h 6750795"/>
              <a:gd name="connsiteX4801" fmla="*/ 3505795 w 6630249"/>
              <a:gd name="connsiteY4801" fmla="*/ 4140415 h 6750795"/>
              <a:gd name="connsiteX4802" fmla="*/ 3503244 w 6630249"/>
              <a:gd name="connsiteY4802" fmla="*/ 4081582 h 6750795"/>
              <a:gd name="connsiteX4803" fmla="*/ 3385660 w 6630249"/>
              <a:gd name="connsiteY4803" fmla="*/ 3973015 h 6750795"/>
              <a:gd name="connsiteX4804" fmla="*/ 3380530 w 6630249"/>
              <a:gd name="connsiteY4804" fmla="*/ 3973015 h 6750795"/>
              <a:gd name="connsiteX4805" fmla="*/ 3377965 w 6630249"/>
              <a:gd name="connsiteY4805" fmla="*/ 3975580 h 6750795"/>
              <a:gd name="connsiteX4806" fmla="*/ 3229201 w 6630249"/>
              <a:gd name="connsiteY4806" fmla="*/ 4014053 h 6750795"/>
              <a:gd name="connsiteX4807" fmla="*/ 3206117 w 6630249"/>
              <a:gd name="connsiteY4807" fmla="*/ 4011488 h 6750795"/>
              <a:gd name="connsiteX4808" fmla="*/ 3121476 w 6630249"/>
              <a:gd name="connsiteY4808" fmla="*/ 4047397 h 6750795"/>
              <a:gd name="connsiteX4809" fmla="*/ 3106086 w 6630249"/>
              <a:gd name="connsiteY4809" fmla="*/ 4060221 h 6750795"/>
              <a:gd name="connsiteX4810" fmla="*/ 2939368 w 6630249"/>
              <a:gd name="connsiteY4810" fmla="*/ 4124343 h 6750795"/>
              <a:gd name="connsiteX4811" fmla="*/ 2808559 w 6630249"/>
              <a:gd name="connsiteY4811" fmla="*/ 4509077 h 6750795"/>
              <a:gd name="connsiteX4812" fmla="*/ 2752131 w 6630249"/>
              <a:gd name="connsiteY4812" fmla="*/ 4493688 h 6750795"/>
              <a:gd name="connsiteX4813" fmla="*/ 2739307 w 6630249"/>
              <a:gd name="connsiteY4813" fmla="*/ 4501383 h 6750795"/>
              <a:gd name="connsiteX4814" fmla="*/ 2739307 w 6630249"/>
              <a:gd name="connsiteY4814" fmla="*/ 4498818 h 6750795"/>
              <a:gd name="connsiteX4815" fmla="*/ 2736742 w 6630249"/>
              <a:gd name="connsiteY4815" fmla="*/ 4480863 h 6750795"/>
              <a:gd name="connsiteX4816" fmla="*/ 2734177 w 6630249"/>
              <a:gd name="connsiteY4816" fmla="*/ 4478299 h 6750795"/>
              <a:gd name="connsiteX4817" fmla="*/ 2731612 w 6630249"/>
              <a:gd name="connsiteY4817" fmla="*/ 4478299 h 6750795"/>
              <a:gd name="connsiteX4818" fmla="*/ 2721352 w 6630249"/>
              <a:gd name="connsiteY4818" fmla="*/ 4483429 h 6750795"/>
              <a:gd name="connsiteX4819" fmla="*/ 2716223 w 6630249"/>
              <a:gd name="connsiteY4819" fmla="*/ 4514207 h 6750795"/>
              <a:gd name="connsiteX4820" fmla="*/ 2618757 w 6630249"/>
              <a:gd name="connsiteY4820" fmla="*/ 4519337 h 6750795"/>
              <a:gd name="connsiteX4821" fmla="*/ 2636711 w 6630249"/>
              <a:gd name="connsiteY4821" fmla="*/ 3644709 h 6750795"/>
              <a:gd name="connsiteX4822" fmla="*/ 2631581 w 6630249"/>
              <a:gd name="connsiteY4822" fmla="*/ 3647273 h 6750795"/>
              <a:gd name="connsiteX4823" fmla="*/ 2598237 w 6630249"/>
              <a:gd name="connsiteY4823" fmla="*/ 3590846 h 6750795"/>
              <a:gd name="connsiteX4824" fmla="*/ 2580284 w 6630249"/>
              <a:gd name="connsiteY4824" fmla="*/ 3580586 h 6750795"/>
              <a:gd name="connsiteX4825" fmla="*/ 2570025 w 6630249"/>
              <a:gd name="connsiteY4825" fmla="*/ 3608800 h 6750795"/>
              <a:gd name="connsiteX4826" fmla="*/ 2582848 w 6630249"/>
              <a:gd name="connsiteY4826" fmla="*/ 3611365 h 6750795"/>
              <a:gd name="connsiteX4827" fmla="*/ 2634147 w 6630249"/>
              <a:gd name="connsiteY4827" fmla="*/ 4373138 h 6750795"/>
              <a:gd name="connsiteX4828" fmla="*/ 2631581 w 6630249"/>
              <a:gd name="connsiteY4828" fmla="*/ 4373138 h 6750795"/>
              <a:gd name="connsiteX4829" fmla="*/ 2629016 w 6630249"/>
              <a:gd name="connsiteY4829" fmla="*/ 4380833 h 6750795"/>
              <a:gd name="connsiteX4830" fmla="*/ 2621321 w 6630249"/>
              <a:gd name="connsiteY4830" fmla="*/ 4406482 h 6750795"/>
              <a:gd name="connsiteX4831" fmla="*/ 2567459 w 6630249"/>
              <a:gd name="connsiteY4831" fmla="*/ 4521902 h 6750795"/>
              <a:gd name="connsiteX4832" fmla="*/ 2575153 w 6630249"/>
              <a:gd name="connsiteY4832" fmla="*/ 4503948 h 6750795"/>
              <a:gd name="connsiteX4833" fmla="*/ 2603367 w 6630249"/>
              <a:gd name="connsiteY4833" fmla="*/ 4380833 h 6750795"/>
              <a:gd name="connsiteX4834" fmla="*/ 2598237 w 6630249"/>
              <a:gd name="connsiteY4834" fmla="*/ 4360314 h 6750795"/>
              <a:gd name="connsiteX4835" fmla="*/ 2590543 w 6630249"/>
              <a:gd name="connsiteY4835" fmla="*/ 4380833 h 6750795"/>
              <a:gd name="connsiteX4836" fmla="*/ 2554634 w 6630249"/>
              <a:gd name="connsiteY4836" fmla="*/ 4460345 h 6750795"/>
              <a:gd name="connsiteX4837" fmla="*/ 2516162 w 6630249"/>
              <a:gd name="connsiteY4837" fmla="*/ 4550116 h 6750795"/>
              <a:gd name="connsiteX4838" fmla="*/ 2511031 w 6630249"/>
              <a:gd name="connsiteY4838" fmla="*/ 4550116 h 6750795"/>
              <a:gd name="connsiteX4839" fmla="*/ 2498207 w 6630249"/>
              <a:gd name="connsiteY4839" fmla="*/ 4550116 h 6750795"/>
              <a:gd name="connsiteX4840" fmla="*/ 2552069 w 6630249"/>
              <a:gd name="connsiteY4840" fmla="*/ 4416741 h 6750795"/>
              <a:gd name="connsiteX4841" fmla="*/ 2585413 w 6630249"/>
              <a:gd name="connsiteY4841" fmla="*/ 4321840 h 6750795"/>
              <a:gd name="connsiteX4842" fmla="*/ 2605932 w 6630249"/>
              <a:gd name="connsiteY4842" fmla="*/ 4285932 h 6750795"/>
              <a:gd name="connsiteX4843" fmla="*/ 2626451 w 6630249"/>
              <a:gd name="connsiteY4843" fmla="*/ 4175641 h 6750795"/>
              <a:gd name="connsiteX4844" fmla="*/ 2618757 w 6630249"/>
              <a:gd name="connsiteY4844" fmla="*/ 4165382 h 6750795"/>
              <a:gd name="connsiteX4845" fmla="*/ 2616192 w 6630249"/>
              <a:gd name="connsiteY4845" fmla="*/ 4178206 h 6750795"/>
              <a:gd name="connsiteX4846" fmla="*/ 2498207 w 6630249"/>
              <a:gd name="connsiteY4846" fmla="*/ 4483429 h 6750795"/>
              <a:gd name="connsiteX4847" fmla="*/ 2469993 w 6630249"/>
              <a:gd name="connsiteY4847" fmla="*/ 4550116 h 6750795"/>
              <a:gd name="connsiteX4848" fmla="*/ 2454604 w 6630249"/>
              <a:gd name="connsiteY4848" fmla="*/ 4550116 h 6750795"/>
              <a:gd name="connsiteX4849" fmla="*/ 2452039 w 6630249"/>
              <a:gd name="connsiteY4849" fmla="*/ 4550116 h 6750795"/>
              <a:gd name="connsiteX4850" fmla="*/ 2485383 w 6630249"/>
              <a:gd name="connsiteY4850" fmla="*/ 4491123 h 6750795"/>
              <a:gd name="connsiteX4851" fmla="*/ 2495642 w 6630249"/>
              <a:gd name="connsiteY4851" fmla="*/ 4468039 h 6750795"/>
              <a:gd name="connsiteX4852" fmla="*/ 2495642 w 6630249"/>
              <a:gd name="connsiteY4852" fmla="*/ 4465474 h 6750795"/>
              <a:gd name="connsiteX4853" fmla="*/ 2490512 w 6630249"/>
              <a:gd name="connsiteY4853" fmla="*/ 4450085 h 6750795"/>
              <a:gd name="connsiteX4854" fmla="*/ 2487947 w 6630249"/>
              <a:gd name="connsiteY4854" fmla="*/ 4447520 h 6750795"/>
              <a:gd name="connsiteX4855" fmla="*/ 2587978 w 6630249"/>
              <a:gd name="connsiteY4855" fmla="*/ 4198725 h 6750795"/>
              <a:gd name="connsiteX4856" fmla="*/ 2608497 w 6630249"/>
              <a:gd name="connsiteY4856" fmla="*/ 4139733 h 6750795"/>
              <a:gd name="connsiteX4857" fmla="*/ 2641841 w 6630249"/>
              <a:gd name="connsiteY4857" fmla="*/ 4042267 h 6750795"/>
              <a:gd name="connsiteX4858" fmla="*/ 2641841 w 6630249"/>
              <a:gd name="connsiteY4858" fmla="*/ 4039702 h 6750795"/>
              <a:gd name="connsiteX4859" fmla="*/ 2639276 w 6630249"/>
              <a:gd name="connsiteY4859" fmla="*/ 4003794 h 6750795"/>
              <a:gd name="connsiteX4860" fmla="*/ 2618757 w 6630249"/>
              <a:gd name="connsiteY4860" fmla="*/ 3996099 h 6750795"/>
              <a:gd name="connsiteX4861" fmla="*/ 2613627 w 6630249"/>
              <a:gd name="connsiteY4861" fmla="*/ 3996099 h 6750795"/>
              <a:gd name="connsiteX4862" fmla="*/ 2613627 w 6630249"/>
              <a:gd name="connsiteY4862" fmla="*/ 4001228 h 6750795"/>
              <a:gd name="connsiteX4863" fmla="*/ 2416130 w 6630249"/>
              <a:gd name="connsiteY4863" fmla="*/ 4542421 h 6750795"/>
              <a:gd name="connsiteX4864" fmla="*/ 2390482 w 6630249"/>
              <a:gd name="connsiteY4864" fmla="*/ 4544986 h 6750795"/>
              <a:gd name="connsiteX4865" fmla="*/ 2639276 w 6630249"/>
              <a:gd name="connsiteY4865" fmla="*/ 3839640 h 6750795"/>
              <a:gd name="connsiteX4866" fmla="*/ 2639276 w 6630249"/>
              <a:gd name="connsiteY4866" fmla="*/ 3837075 h 6750795"/>
              <a:gd name="connsiteX4867" fmla="*/ 2636711 w 6630249"/>
              <a:gd name="connsiteY4867" fmla="*/ 3834510 h 6750795"/>
              <a:gd name="connsiteX4868" fmla="*/ 2613627 w 6630249"/>
              <a:gd name="connsiteY4868" fmla="*/ 3808862 h 6750795"/>
              <a:gd name="connsiteX4869" fmla="*/ 2608497 w 6630249"/>
              <a:gd name="connsiteY4869" fmla="*/ 3831946 h 6750795"/>
              <a:gd name="connsiteX4870" fmla="*/ 2608497 w 6630249"/>
              <a:gd name="connsiteY4870" fmla="*/ 3855030 h 6750795"/>
              <a:gd name="connsiteX4871" fmla="*/ 2595673 w 6630249"/>
              <a:gd name="connsiteY4871" fmla="*/ 3893503 h 6750795"/>
              <a:gd name="connsiteX4872" fmla="*/ 2587978 w 6630249"/>
              <a:gd name="connsiteY4872" fmla="*/ 3914022 h 6750795"/>
              <a:gd name="connsiteX4873" fmla="*/ 2352007 w 6630249"/>
              <a:gd name="connsiteY4873" fmla="*/ 4542421 h 6750795"/>
              <a:gd name="connsiteX4874" fmla="*/ 2326358 w 6630249"/>
              <a:gd name="connsiteY4874" fmla="*/ 4562940 h 6750795"/>
              <a:gd name="connsiteX4875" fmla="*/ 2316099 w 6630249"/>
              <a:gd name="connsiteY4875" fmla="*/ 4573200 h 6750795"/>
              <a:gd name="connsiteX4876" fmla="*/ 2336617 w 6630249"/>
              <a:gd name="connsiteY4876" fmla="*/ 4527032 h 6750795"/>
              <a:gd name="connsiteX4877" fmla="*/ 2598237 w 6630249"/>
              <a:gd name="connsiteY4877" fmla="*/ 3696006 h 6750795"/>
              <a:gd name="connsiteX4878" fmla="*/ 2585413 w 6630249"/>
              <a:gd name="connsiteY4878" fmla="*/ 3693441 h 6750795"/>
              <a:gd name="connsiteX4879" fmla="*/ 2575153 w 6630249"/>
              <a:gd name="connsiteY4879" fmla="*/ 3721655 h 6750795"/>
              <a:gd name="connsiteX4880" fmla="*/ 2572588 w 6630249"/>
              <a:gd name="connsiteY4880" fmla="*/ 3731915 h 6750795"/>
              <a:gd name="connsiteX4881" fmla="*/ 2564894 w 6630249"/>
              <a:gd name="connsiteY4881" fmla="*/ 3767823 h 6750795"/>
              <a:gd name="connsiteX4882" fmla="*/ 2549505 w 6630249"/>
              <a:gd name="connsiteY4882" fmla="*/ 3831946 h 6750795"/>
              <a:gd name="connsiteX4883" fmla="*/ 2534115 w 6630249"/>
              <a:gd name="connsiteY4883" fmla="*/ 3903762 h 6750795"/>
              <a:gd name="connsiteX4884" fmla="*/ 2518726 w 6630249"/>
              <a:gd name="connsiteY4884" fmla="*/ 3975580 h 6750795"/>
              <a:gd name="connsiteX4885" fmla="*/ 2308404 w 6630249"/>
              <a:gd name="connsiteY4885" fmla="*/ 4532161 h 6750795"/>
              <a:gd name="connsiteX4886" fmla="*/ 2267365 w 6630249"/>
              <a:gd name="connsiteY4886" fmla="*/ 4591154 h 6750795"/>
              <a:gd name="connsiteX4887" fmla="*/ 2231457 w 6630249"/>
              <a:gd name="connsiteY4887" fmla="*/ 4645017 h 6750795"/>
              <a:gd name="connsiteX4888" fmla="*/ 2498207 w 6630249"/>
              <a:gd name="connsiteY4888" fmla="*/ 3957625 h 6750795"/>
              <a:gd name="connsiteX4889" fmla="*/ 2546940 w 6630249"/>
              <a:gd name="connsiteY4889" fmla="*/ 3757564 h 6750795"/>
              <a:gd name="connsiteX4890" fmla="*/ 2541810 w 6630249"/>
              <a:gd name="connsiteY4890" fmla="*/ 3760129 h 6750795"/>
              <a:gd name="connsiteX4891" fmla="*/ 2528985 w 6630249"/>
              <a:gd name="connsiteY4891" fmla="*/ 3754999 h 6750795"/>
              <a:gd name="connsiteX4892" fmla="*/ 2518726 w 6630249"/>
              <a:gd name="connsiteY4892" fmla="*/ 3734480 h 6750795"/>
              <a:gd name="connsiteX4893" fmla="*/ 2516162 w 6630249"/>
              <a:gd name="connsiteY4893" fmla="*/ 3734480 h 6750795"/>
              <a:gd name="connsiteX4894" fmla="*/ 2187853 w 6630249"/>
              <a:gd name="connsiteY4894" fmla="*/ 4652712 h 6750795"/>
              <a:gd name="connsiteX4895" fmla="*/ 2154510 w 6630249"/>
              <a:gd name="connsiteY4895" fmla="*/ 4691185 h 6750795"/>
              <a:gd name="connsiteX4896" fmla="*/ 2139121 w 6630249"/>
              <a:gd name="connsiteY4896" fmla="*/ 4706574 h 6750795"/>
              <a:gd name="connsiteX4897" fmla="*/ 2500772 w 6630249"/>
              <a:gd name="connsiteY4897" fmla="*/ 3729350 h 6750795"/>
              <a:gd name="connsiteX4898" fmla="*/ 2485383 w 6630249"/>
              <a:gd name="connsiteY4898" fmla="*/ 3711396 h 6750795"/>
              <a:gd name="connsiteX4899" fmla="*/ 2486477 w 6630249"/>
              <a:gd name="connsiteY4899" fmla="*/ 3689136 h 6750795"/>
              <a:gd name="connsiteX4900" fmla="*/ 2489681 w 6630249"/>
              <a:gd name="connsiteY4900" fmla="*/ 3676732 h 6750795"/>
              <a:gd name="connsiteX4901" fmla="*/ 2496282 w 6630249"/>
              <a:gd name="connsiteY4901" fmla="*/ 3661059 h 6750795"/>
              <a:gd name="connsiteX4902" fmla="*/ 2526420 w 6630249"/>
              <a:gd name="connsiteY4902" fmla="*/ 3624189 h 6750795"/>
              <a:gd name="connsiteX4903" fmla="*/ 2513596 w 6630249"/>
              <a:gd name="connsiteY4903" fmla="*/ 3611365 h 6750795"/>
              <a:gd name="connsiteX4904" fmla="*/ 2539246 w 6630249"/>
              <a:gd name="connsiteY4904" fmla="*/ 3608800 h 6750795"/>
              <a:gd name="connsiteX4905" fmla="*/ 2554634 w 6630249"/>
              <a:gd name="connsiteY4905" fmla="*/ 3575457 h 6750795"/>
              <a:gd name="connsiteX4906" fmla="*/ 2518726 w 6630249"/>
              <a:gd name="connsiteY4906" fmla="*/ 3588281 h 6750795"/>
              <a:gd name="connsiteX4907" fmla="*/ 2411000 w 6630249"/>
              <a:gd name="connsiteY4907" fmla="*/ 3624189 h 6750795"/>
              <a:gd name="connsiteX4908" fmla="*/ 2411000 w 6630249"/>
              <a:gd name="connsiteY4908" fmla="*/ 3652403 h 6750795"/>
              <a:gd name="connsiteX4909" fmla="*/ 2449474 w 6630249"/>
              <a:gd name="connsiteY4909" fmla="*/ 3631884 h 6750795"/>
              <a:gd name="connsiteX4910" fmla="*/ 2431520 w 6630249"/>
              <a:gd name="connsiteY4910" fmla="*/ 3701136 h 6750795"/>
              <a:gd name="connsiteX4911" fmla="*/ 2416130 w 6630249"/>
              <a:gd name="connsiteY4911" fmla="*/ 3778083 h 6750795"/>
              <a:gd name="connsiteX4912" fmla="*/ 2426390 w 6630249"/>
              <a:gd name="connsiteY4912" fmla="*/ 3783213 h 6750795"/>
              <a:gd name="connsiteX4913" fmla="*/ 2457168 w 6630249"/>
              <a:gd name="connsiteY4913" fmla="*/ 3706266 h 6750795"/>
              <a:gd name="connsiteX4914" fmla="*/ 2482817 w 6630249"/>
              <a:gd name="connsiteY4914" fmla="*/ 3642143 h 6750795"/>
              <a:gd name="connsiteX4915" fmla="*/ 2485383 w 6630249"/>
              <a:gd name="connsiteY4915" fmla="*/ 3639579 h 6750795"/>
              <a:gd name="connsiteX4916" fmla="*/ 2482817 w 6630249"/>
              <a:gd name="connsiteY4916" fmla="*/ 3629319 h 6750795"/>
              <a:gd name="connsiteX4917" fmla="*/ 2472558 w 6630249"/>
              <a:gd name="connsiteY4917" fmla="*/ 3624189 h 6750795"/>
              <a:gd name="connsiteX4918" fmla="*/ 2467428 w 6630249"/>
              <a:gd name="connsiteY4918" fmla="*/ 3624189 h 6750795"/>
              <a:gd name="connsiteX4919" fmla="*/ 2505901 w 6630249"/>
              <a:gd name="connsiteY4919" fmla="*/ 3613930 h 6750795"/>
              <a:gd name="connsiteX4920" fmla="*/ 2489681 w 6630249"/>
              <a:gd name="connsiteY4920" fmla="*/ 3676732 h 6750795"/>
              <a:gd name="connsiteX4921" fmla="*/ 2486744 w 6630249"/>
              <a:gd name="connsiteY4921" fmla="*/ 3683703 h 6750795"/>
              <a:gd name="connsiteX4922" fmla="*/ 2486477 w 6630249"/>
              <a:gd name="connsiteY4922" fmla="*/ 3689136 h 6750795"/>
              <a:gd name="connsiteX4923" fmla="*/ 2480894 w 6630249"/>
              <a:gd name="connsiteY4923" fmla="*/ 3710755 h 6750795"/>
              <a:gd name="connsiteX4924" fmla="*/ 2459733 w 6630249"/>
              <a:gd name="connsiteY4924" fmla="*/ 3803732 h 6750795"/>
              <a:gd name="connsiteX4925" fmla="*/ 2395611 w 6630249"/>
              <a:gd name="connsiteY4925" fmla="*/ 4055091 h 6750795"/>
              <a:gd name="connsiteX4926" fmla="*/ 2121166 w 6630249"/>
              <a:gd name="connsiteY4926" fmla="*/ 4675795 h 6750795"/>
              <a:gd name="connsiteX4927" fmla="*/ 2062175 w 6630249"/>
              <a:gd name="connsiteY4927" fmla="*/ 4745048 h 6750795"/>
              <a:gd name="connsiteX4928" fmla="*/ 2044220 w 6630249"/>
              <a:gd name="connsiteY4928" fmla="*/ 4765567 h 6750795"/>
              <a:gd name="connsiteX4929" fmla="*/ 2044220 w 6630249"/>
              <a:gd name="connsiteY4929" fmla="*/ 4763002 h 6750795"/>
              <a:gd name="connsiteX4930" fmla="*/ 2039091 w 6630249"/>
              <a:gd name="connsiteY4930" fmla="*/ 4760437 h 6750795"/>
              <a:gd name="connsiteX4931" fmla="*/ 2367396 w 6630249"/>
              <a:gd name="connsiteY4931" fmla="*/ 4042267 h 6750795"/>
              <a:gd name="connsiteX4932" fmla="*/ 2354572 w 6630249"/>
              <a:gd name="connsiteY4932" fmla="*/ 4037137 h 6750795"/>
              <a:gd name="connsiteX4933" fmla="*/ 1910845 w 6630249"/>
              <a:gd name="connsiteY4933" fmla="*/ 4888682 h 6750795"/>
              <a:gd name="connsiteX4934" fmla="*/ 1931364 w 6630249"/>
              <a:gd name="connsiteY4934" fmla="*/ 4845079 h 6750795"/>
              <a:gd name="connsiteX4935" fmla="*/ 1951883 w 6630249"/>
              <a:gd name="connsiteY4935" fmla="*/ 4819430 h 6750795"/>
              <a:gd name="connsiteX4936" fmla="*/ 2033961 w 6630249"/>
              <a:gd name="connsiteY4936" fmla="*/ 4673230 h 6750795"/>
              <a:gd name="connsiteX4937" fmla="*/ 2295579 w 6630249"/>
              <a:gd name="connsiteY4937" fmla="*/ 4088435 h 6750795"/>
              <a:gd name="connsiteX4938" fmla="*/ 2282755 w 6630249"/>
              <a:gd name="connsiteY4938" fmla="*/ 4085870 h 6750795"/>
              <a:gd name="connsiteX4939" fmla="*/ 1982663 w 6630249"/>
              <a:gd name="connsiteY4939" fmla="*/ 4686055 h 6750795"/>
              <a:gd name="connsiteX4940" fmla="*/ 1974967 w 6630249"/>
              <a:gd name="connsiteY4940" fmla="*/ 4693750 h 6750795"/>
              <a:gd name="connsiteX4941" fmla="*/ 2049350 w 6630249"/>
              <a:gd name="connsiteY4941" fmla="*/ 4542421 h 6750795"/>
              <a:gd name="connsiteX4942" fmla="*/ 2234022 w 6630249"/>
              <a:gd name="connsiteY4942" fmla="*/ 4119214 h 6750795"/>
              <a:gd name="connsiteX4943" fmla="*/ 2223762 w 6630249"/>
              <a:gd name="connsiteY4943" fmla="*/ 4114084 h 6750795"/>
              <a:gd name="connsiteX4944" fmla="*/ 2157076 w 6630249"/>
              <a:gd name="connsiteY4944" fmla="*/ 4257718 h 6750795"/>
              <a:gd name="connsiteX4945" fmla="*/ 2123731 w 6630249"/>
              <a:gd name="connsiteY4945" fmla="*/ 4339794 h 6750795"/>
              <a:gd name="connsiteX4946" fmla="*/ 1998053 w 6630249"/>
              <a:gd name="connsiteY4946" fmla="*/ 4565505 h 6750795"/>
              <a:gd name="connsiteX4947" fmla="*/ 1985228 w 6630249"/>
              <a:gd name="connsiteY4947" fmla="*/ 4586024 h 6750795"/>
              <a:gd name="connsiteX4948" fmla="*/ 1982663 w 6630249"/>
              <a:gd name="connsiteY4948" fmla="*/ 4586024 h 6750795"/>
              <a:gd name="connsiteX4949" fmla="*/ 1980098 w 6630249"/>
              <a:gd name="connsiteY4949" fmla="*/ 4586024 h 6750795"/>
              <a:gd name="connsiteX4950" fmla="*/ 2177594 w 6630249"/>
              <a:gd name="connsiteY4950" fmla="*/ 4119214 h 6750795"/>
              <a:gd name="connsiteX4951" fmla="*/ 2164770 w 6630249"/>
              <a:gd name="connsiteY4951" fmla="*/ 4114084 h 6750795"/>
              <a:gd name="connsiteX4952" fmla="*/ 2113472 w 6630249"/>
              <a:gd name="connsiteY4952" fmla="*/ 4226939 h 6750795"/>
              <a:gd name="connsiteX4953" fmla="*/ 1912930 w 6630249"/>
              <a:gd name="connsiteY4953" fmla="*/ 4628385 h 6750795"/>
              <a:gd name="connsiteX4954" fmla="*/ 1885932 w 6630249"/>
              <a:gd name="connsiteY4954" fmla="*/ 4667764 h 6750795"/>
              <a:gd name="connsiteX4955" fmla="*/ 1926234 w 6630249"/>
              <a:gd name="connsiteY4955" fmla="*/ 4593719 h 6750795"/>
              <a:gd name="connsiteX4956" fmla="*/ 1941624 w 6630249"/>
              <a:gd name="connsiteY4956" fmla="*/ 4562940 h 6750795"/>
              <a:gd name="connsiteX4957" fmla="*/ 1946754 w 6630249"/>
              <a:gd name="connsiteY4957" fmla="*/ 4555246 h 6750795"/>
              <a:gd name="connsiteX4958" fmla="*/ 1939059 w 6630249"/>
              <a:gd name="connsiteY4958" fmla="*/ 4555246 h 6750795"/>
              <a:gd name="connsiteX4959" fmla="*/ 2131426 w 6630249"/>
              <a:gd name="connsiteY4959" fmla="*/ 4114084 h 6750795"/>
              <a:gd name="connsiteX4960" fmla="*/ 2118601 w 6630249"/>
              <a:gd name="connsiteY4960" fmla="*/ 4108954 h 6750795"/>
              <a:gd name="connsiteX4961" fmla="*/ 2041657 w 6630249"/>
              <a:gd name="connsiteY4961" fmla="*/ 4275672 h 6750795"/>
              <a:gd name="connsiteX4962" fmla="*/ 1951883 w 6630249"/>
              <a:gd name="connsiteY4962" fmla="*/ 4468039 h 6750795"/>
              <a:gd name="connsiteX4963" fmla="*/ 1936495 w 6630249"/>
              <a:gd name="connsiteY4963" fmla="*/ 4429566 h 6750795"/>
              <a:gd name="connsiteX4964" fmla="*/ 2059610 w 6630249"/>
              <a:gd name="connsiteY4964" fmla="*/ 4144863 h 6750795"/>
              <a:gd name="connsiteX4965" fmla="*/ 2108342 w 6630249"/>
              <a:gd name="connsiteY4965" fmla="*/ 4021748 h 6750795"/>
              <a:gd name="connsiteX4966" fmla="*/ 2113472 w 6630249"/>
              <a:gd name="connsiteY4966" fmla="*/ 4021748 h 6750795"/>
              <a:gd name="connsiteX4967" fmla="*/ 2118601 w 6630249"/>
              <a:gd name="connsiteY4967" fmla="*/ 4021748 h 6750795"/>
              <a:gd name="connsiteX4968" fmla="*/ 2118601 w 6630249"/>
              <a:gd name="connsiteY4968" fmla="*/ 4016618 h 6750795"/>
              <a:gd name="connsiteX4969" fmla="*/ 2203243 w 6630249"/>
              <a:gd name="connsiteY4969" fmla="*/ 3826816 h 6750795"/>
              <a:gd name="connsiteX4970" fmla="*/ 2175029 w 6630249"/>
              <a:gd name="connsiteY4970" fmla="*/ 3914022 h 6750795"/>
              <a:gd name="connsiteX4971" fmla="*/ 2146815 w 6630249"/>
              <a:gd name="connsiteY4971" fmla="*/ 4011488 h 6750795"/>
              <a:gd name="connsiteX4972" fmla="*/ 2141686 w 6630249"/>
              <a:gd name="connsiteY4972" fmla="*/ 4034572 h 6750795"/>
              <a:gd name="connsiteX4973" fmla="*/ 2157076 w 6630249"/>
              <a:gd name="connsiteY4973" fmla="*/ 4016618 h 6750795"/>
              <a:gd name="connsiteX4974" fmla="*/ 2213502 w 6630249"/>
              <a:gd name="connsiteY4974" fmla="*/ 3885808 h 6750795"/>
              <a:gd name="connsiteX4975" fmla="*/ 2272495 w 6630249"/>
              <a:gd name="connsiteY4975" fmla="*/ 3754999 h 6750795"/>
              <a:gd name="connsiteX4976" fmla="*/ 2241716 w 6630249"/>
              <a:gd name="connsiteY4976" fmla="*/ 3862724 h 6750795"/>
              <a:gd name="connsiteX4977" fmla="*/ 2216067 w 6630249"/>
              <a:gd name="connsiteY4977" fmla="*/ 3980709 h 6750795"/>
              <a:gd name="connsiteX4978" fmla="*/ 2218632 w 6630249"/>
              <a:gd name="connsiteY4978" fmla="*/ 3998664 h 6750795"/>
              <a:gd name="connsiteX4979" fmla="*/ 2228892 w 6630249"/>
              <a:gd name="connsiteY4979" fmla="*/ 3980709 h 6750795"/>
              <a:gd name="connsiteX4980" fmla="*/ 2267365 w 6630249"/>
              <a:gd name="connsiteY4980" fmla="*/ 3857595 h 6750795"/>
              <a:gd name="connsiteX4981" fmla="*/ 2339182 w 6630249"/>
              <a:gd name="connsiteY4981" fmla="*/ 3696006 h 6750795"/>
              <a:gd name="connsiteX4982" fmla="*/ 2295579 w 6630249"/>
              <a:gd name="connsiteY4982" fmla="*/ 3862724 h 6750795"/>
              <a:gd name="connsiteX4983" fmla="*/ 2280190 w 6630249"/>
              <a:gd name="connsiteY4983" fmla="*/ 3934541 h 6750795"/>
              <a:gd name="connsiteX4984" fmla="*/ 2293014 w 6630249"/>
              <a:gd name="connsiteY4984" fmla="*/ 3939671 h 6750795"/>
              <a:gd name="connsiteX4985" fmla="*/ 2367396 w 6630249"/>
              <a:gd name="connsiteY4985" fmla="*/ 3680617 h 6750795"/>
              <a:gd name="connsiteX4986" fmla="*/ 2375091 w 6630249"/>
              <a:gd name="connsiteY4986" fmla="*/ 3675487 h 6750795"/>
              <a:gd name="connsiteX4987" fmla="*/ 2359701 w 6630249"/>
              <a:gd name="connsiteY4987" fmla="*/ 3652403 h 6750795"/>
              <a:gd name="connsiteX4988" fmla="*/ 2359701 w 6630249"/>
              <a:gd name="connsiteY4988" fmla="*/ 3649838 h 6750795"/>
              <a:gd name="connsiteX4989" fmla="*/ 2100647 w 6630249"/>
              <a:gd name="connsiteY4989" fmla="*/ 3898633 h 6750795"/>
              <a:gd name="connsiteX4990" fmla="*/ 2051916 w 6630249"/>
              <a:gd name="connsiteY4990" fmla="*/ 3957625 h 6750795"/>
              <a:gd name="connsiteX4991" fmla="*/ 1985228 w 6630249"/>
              <a:gd name="connsiteY4991" fmla="*/ 4060221 h 6750795"/>
              <a:gd name="connsiteX4992" fmla="*/ 1892891 w 6630249"/>
              <a:gd name="connsiteY4992" fmla="*/ 4211550 h 6750795"/>
              <a:gd name="connsiteX4993" fmla="*/ 1846723 w 6630249"/>
              <a:gd name="connsiteY4993" fmla="*/ 4283367 h 6750795"/>
              <a:gd name="connsiteX4994" fmla="*/ 1836463 w 6630249"/>
              <a:gd name="connsiteY4994" fmla="*/ 4306451 h 6750795"/>
              <a:gd name="connsiteX4995" fmla="*/ 1736432 w 6630249"/>
              <a:gd name="connsiteY4995" fmla="*/ 4229504 h 6750795"/>
              <a:gd name="connsiteX4996" fmla="*/ 1733868 w 6630249"/>
              <a:gd name="connsiteY4996" fmla="*/ 4229504 h 6750795"/>
              <a:gd name="connsiteX4997" fmla="*/ 1731303 w 6630249"/>
              <a:gd name="connsiteY4997" fmla="*/ 4232069 h 6750795"/>
              <a:gd name="connsiteX4998" fmla="*/ 1718478 w 6630249"/>
              <a:gd name="connsiteY4998" fmla="*/ 4265413 h 6750795"/>
              <a:gd name="connsiteX4999" fmla="*/ 1710783 w 6630249"/>
              <a:gd name="connsiteY4999" fmla="*/ 4255153 h 6750795"/>
              <a:gd name="connsiteX5000" fmla="*/ 1631272 w 6630249"/>
              <a:gd name="connsiteY5000" fmla="*/ 4206420 h 6750795"/>
              <a:gd name="connsiteX5001" fmla="*/ 1605623 w 6630249"/>
              <a:gd name="connsiteY5001" fmla="*/ 4211550 h 6750795"/>
              <a:gd name="connsiteX5002" fmla="*/ 1577409 w 6630249"/>
              <a:gd name="connsiteY5002" fmla="*/ 4214115 h 6750795"/>
              <a:gd name="connsiteX5003" fmla="*/ 1564585 w 6630249"/>
              <a:gd name="connsiteY5003" fmla="*/ 4198725 h 6750795"/>
              <a:gd name="connsiteX5004" fmla="*/ 1544065 w 6630249"/>
              <a:gd name="connsiteY5004" fmla="*/ 4178206 h 6750795"/>
              <a:gd name="connsiteX5005" fmla="*/ 1541500 w 6630249"/>
              <a:gd name="connsiteY5005" fmla="*/ 4178206 h 6750795"/>
              <a:gd name="connsiteX5006" fmla="*/ 1538936 w 6630249"/>
              <a:gd name="connsiteY5006" fmla="*/ 4178206 h 6750795"/>
              <a:gd name="connsiteX5007" fmla="*/ 1469683 w 6630249"/>
              <a:gd name="connsiteY5007" fmla="*/ 4155122 h 6750795"/>
              <a:gd name="connsiteX5008" fmla="*/ 1444035 w 6630249"/>
              <a:gd name="connsiteY5008" fmla="*/ 4139733 h 6750795"/>
              <a:gd name="connsiteX5009" fmla="*/ 1438905 w 6630249"/>
              <a:gd name="connsiteY5009" fmla="*/ 4137168 h 6750795"/>
              <a:gd name="connsiteX5010" fmla="*/ 1436340 w 6630249"/>
              <a:gd name="connsiteY5010" fmla="*/ 4142298 h 6750795"/>
              <a:gd name="connsiteX5011" fmla="*/ 1264492 w 6630249"/>
              <a:gd name="connsiteY5011" fmla="*/ 4134603 h 6750795"/>
              <a:gd name="connsiteX5012" fmla="*/ 1261927 w 6630249"/>
              <a:gd name="connsiteY5012" fmla="*/ 4132038 h 6750795"/>
              <a:gd name="connsiteX5013" fmla="*/ 1259362 w 6630249"/>
              <a:gd name="connsiteY5013" fmla="*/ 4134603 h 6750795"/>
              <a:gd name="connsiteX5014" fmla="*/ 1241408 w 6630249"/>
              <a:gd name="connsiteY5014" fmla="*/ 4157687 h 6750795"/>
              <a:gd name="connsiteX5015" fmla="*/ 1220889 w 6630249"/>
              <a:gd name="connsiteY5015" fmla="*/ 4149992 h 6750795"/>
              <a:gd name="connsiteX5016" fmla="*/ 1177286 w 6630249"/>
              <a:gd name="connsiteY5016" fmla="*/ 4137168 h 6750795"/>
              <a:gd name="connsiteX5017" fmla="*/ 1305530 w 6630249"/>
              <a:gd name="connsiteY5017" fmla="*/ 4111519 h 6750795"/>
              <a:gd name="connsiteX5018" fmla="*/ 800246 w 6630249"/>
              <a:gd name="connsiteY5018" fmla="*/ 3890938 h 6750795"/>
              <a:gd name="connsiteX5019" fmla="*/ 818201 w 6630249"/>
              <a:gd name="connsiteY5019" fmla="*/ 3855030 h 6750795"/>
              <a:gd name="connsiteX5020" fmla="*/ 728429 w 6630249"/>
              <a:gd name="connsiteY5020" fmla="*/ 3790907 h 6750795"/>
              <a:gd name="connsiteX5021" fmla="*/ 479635 w 6630249"/>
              <a:gd name="connsiteY5021" fmla="*/ 3734480 h 6750795"/>
              <a:gd name="connsiteX5022" fmla="*/ 554017 w 6630249"/>
              <a:gd name="connsiteY5022" fmla="*/ 3657533 h 6750795"/>
              <a:gd name="connsiteX5023" fmla="*/ 371909 w 6630249"/>
              <a:gd name="connsiteY5023" fmla="*/ 3529288 h 6750795"/>
              <a:gd name="connsiteX5024" fmla="*/ 325741 w 6630249"/>
              <a:gd name="connsiteY5024" fmla="*/ 3542113 h 6750795"/>
              <a:gd name="connsiteX5025" fmla="*/ 0 w 6630249"/>
              <a:gd name="connsiteY5025" fmla="*/ 3334356 h 6750795"/>
              <a:gd name="connsiteX5026" fmla="*/ 58992 w 6630249"/>
              <a:gd name="connsiteY5026" fmla="*/ 3311275 h 6750795"/>
              <a:gd name="connsiteX5027" fmla="*/ 64122 w 6630249"/>
              <a:gd name="connsiteY5027" fmla="*/ 3362570 h 6750795"/>
              <a:gd name="connsiteX5028" fmla="*/ 117985 w 6630249"/>
              <a:gd name="connsiteY5028" fmla="*/ 3344616 h 6750795"/>
              <a:gd name="connsiteX5029" fmla="*/ 361650 w 6630249"/>
              <a:gd name="connsiteY5029" fmla="*/ 3483120 h 6750795"/>
              <a:gd name="connsiteX5030" fmla="*/ 854109 w 6630249"/>
              <a:gd name="connsiteY5030" fmla="*/ 3680617 h 6750795"/>
              <a:gd name="connsiteX5031" fmla="*/ 1015697 w 6630249"/>
              <a:gd name="connsiteY5031" fmla="*/ 3767823 h 6750795"/>
              <a:gd name="connsiteX5032" fmla="*/ 1436340 w 6630249"/>
              <a:gd name="connsiteY5032" fmla="*/ 4016618 h 6750795"/>
              <a:gd name="connsiteX5033" fmla="*/ 1508157 w 6630249"/>
              <a:gd name="connsiteY5033" fmla="*/ 4085870 h 6750795"/>
              <a:gd name="connsiteX5034" fmla="*/ 1697959 w 6630249"/>
              <a:gd name="connsiteY5034" fmla="*/ 4073046 h 6750795"/>
              <a:gd name="connsiteX5035" fmla="*/ 1841594 w 6630249"/>
              <a:gd name="connsiteY5035" fmla="*/ 4047397 h 6750795"/>
              <a:gd name="connsiteX5036" fmla="*/ 1749257 w 6630249"/>
              <a:gd name="connsiteY5036" fmla="*/ 4014053 h 6750795"/>
              <a:gd name="connsiteX5037" fmla="*/ 1764646 w 6630249"/>
              <a:gd name="connsiteY5037" fmla="*/ 3793472 h 6750795"/>
              <a:gd name="connsiteX5038" fmla="*/ 1623577 w 6630249"/>
              <a:gd name="connsiteY5038" fmla="*/ 3724220 h 6750795"/>
              <a:gd name="connsiteX5039" fmla="*/ 1669745 w 6630249"/>
              <a:gd name="connsiteY5039" fmla="*/ 3744739 h 6750795"/>
              <a:gd name="connsiteX5040" fmla="*/ 1654356 w 6630249"/>
              <a:gd name="connsiteY5040" fmla="*/ 3780648 h 6750795"/>
              <a:gd name="connsiteX5041" fmla="*/ 1700524 w 6630249"/>
              <a:gd name="connsiteY5041" fmla="*/ 3790907 h 6750795"/>
              <a:gd name="connsiteX5042" fmla="*/ 1649226 w 6630249"/>
              <a:gd name="connsiteY5042" fmla="*/ 3816556 h 6750795"/>
              <a:gd name="connsiteX5043" fmla="*/ 1638967 w 6630249"/>
              <a:gd name="connsiteY5043" fmla="*/ 3796037 h 6750795"/>
              <a:gd name="connsiteX5044" fmla="*/ 1559455 w 6630249"/>
              <a:gd name="connsiteY5044" fmla="*/ 3806297 h 6750795"/>
              <a:gd name="connsiteX5045" fmla="*/ 1485073 w 6630249"/>
              <a:gd name="connsiteY5045" fmla="*/ 3760129 h 6750795"/>
              <a:gd name="connsiteX5046" fmla="*/ 1500462 w 6630249"/>
              <a:gd name="connsiteY5046" fmla="*/ 3749869 h 6750795"/>
              <a:gd name="connsiteX5047" fmla="*/ 1449164 w 6630249"/>
              <a:gd name="connsiteY5047" fmla="*/ 3719090 h 6750795"/>
              <a:gd name="connsiteX5048" fmla="*/ 1413256 w 6630249"/>
              <a:gd name="connsiteY5048" fmla="*/ 3634449 h 6750795"/>
              <a:gd name="connsiteX5049" fmla="*/ 1410691 w 6630249"/>
              <a:gd name="connsiteY5049" fmla="*/ 3557502 h 6750795"/>
              <a:gd name="connsiteX5050" fmla="*/ 1418386 w 6630249"/>
              <a:gd name="connsiteY5050" fmla="*/ 3554937 h 6750795"/>
              <a:gd name="connsiteX5051" fmla="*/ 1397866 w 6630249"/>
              <a:gd name="connsiteY5051" fmla="*/ 3365141 h 6750795"/>
              <a:gd name="connsiteX5052" fmla="*/ 1313225 w 6630249"/>
              <a:gd name="connsiteY5052" fmla="*/ 3339489 h 6750795"/>
              <a:gd name="connsiteX5053" fmla="*/ 972094 w 6630249"/>
              <a:gd name="connsiteY5053" fmla="*/ 3244587 h 6750795"/>
              <a:gd name="connsiteX5054" fmla="*/ 1123423 w 6630249"/>
              <a:gd name="connsiteY5054" fmla="*/ 3165076 h 6750795"/>
              <a:gd name="connsiteX5055" fmla="*/ 987484 w 6630249"/>
              <a:gd name="connsiteY5055" fmla="*/ 3144557 h 6750795"/>
              <a:gd name="connsiteX5056" fmla="*/ 1066995 w 6630249"/>
              <a:gd name="connsiteY5056" fmla="*/ 3103520 h 6750795"/>
              <a:gd name="connsiteX5057" fmla="*/ 866934 w 6630249"/>
              <a:gd name="connsiteY5057" fmla="*/ 3113779 h 6750795"/>
              <a:gd name="connsiteX5058" fmla="*/ 787422 w 6630249"/>
              <a:gd name="connsiteY5058" fmla="*/ 3083001 h 6750795"/>
              <a:gd name="connsiteX5059" fmla="*/ 1202935 w 6630249"/>
              <a:gd name="connsiteY5059" fmla="*/ 2826512 h 6750795"/>
              <a:gd name="connsiteX5060" fmla="*/ 1249103 w 6630249"/>
              <a:gd name="connsiteY5060" fmla="*/ 2726481 h 6750795"/>
              <a:gd name="connsiteX5061" fmla="*/ 1208064 w 6630249"/>
              <a:gd name="connsiteY5061" fmla="*/ 2716221 h 6750795"/>
              <a:gd name="connsiteX5062" fmla="*/ 1138812 w 6630249"/>
              <a:gd name="connsiteY5062" fmla="*/ 2605930 h 6750795"/>
              <a:gd name="connsiteX5063" fmla="*/ 1108034 w 6630249"/>
              <a:gd name="connsiteY5063" fmla="*/ 2575151 h 6750795"/>
              <a:gd name="connsiteX5064" fmla="*/ 1100339 w 6630249"/>
              <a:gd name="connsiteY5064" fmla="*/ 2564892 h 6750795"/>
              <a:gd name="connsiteX5065" fmla="*/ 1036217 w 6630249"/>
              <a:gd name="connsiteY5065" fmla="*/ 2595670 h 6750795"/>
              <a:gd name="connsiteX5066" fmla="*/ 1082385 w 6630249"/>
              <a:gd name="connsiteY5066" fmla="*/ 2449470 h 6750795"/>
              <a:gd name="connsiteX5067" fmla="*/ 1061865 w 6630249"/>
              <a:gd name="connsiteY5067" fmla="*/ 2428952 h 6750795"/>
              <a:gd name="connsiteX5068" fmla="*/ 1272187 w 6630249"/>
              <a:gd name="connsiteY5068" fmla="*/ 2108341 h 6750795"/>
              <a:gd name="connsiteX5069" fmla="*/ 1267057 w 6630249"/>
              <a:gd name="connsiteY5069" fmla="*/ 2082693 h 6750795"/>
              <a:gd name="connsiteX5070" fmla="*/ 1333744 w 6630249"/>
              <a:gd name="connsiteY5070" fmla="*/ 1998051 h 6750795"/>
              <a:gd name="connsiteX5071" fmla="*/ 1300400 w 6630249"/>
              <a:gd name="connsiteY5071" fmla="*/ 2003181 h 6750795"/>
              <a:gd name="connsiteX5072" fmla="*/ 1310660 w 6630249"/>
              <a:gd name="connsiteY5072" fmla="*/ 1982662 h 6750795"/>
              <a:gd name="connsiteX5073" fmla="*/ 1251668 w 6630249"/>
              <a:gd name="connsiteY5073" fmla="*/ 2082693 h 6750795"/>
              <a:gd name="connsiteX5074" fmla="*/ 1226019 w 6630249"/>
              <a:gd name="connsiteY5074" fmla="*/ 2041654 h 6750795"/>
              <a:gd name="connsiteX5075" fmla="*/ 1115728 w 6630249"/>
              <a:gd name="connsiteY5075" fmla="*/ 2087822 h 6750795"/>
              <a:gd name="connsiteX5076" fmla="*/ 1100339 w 6630249"/>
              <a:gd name="connsiteY5076" fmla="*/ 2046783 h 6750795"/>
              <a:gd name="connsiteX5077" fmla="*/ 1059301 w 6630249"/>
              <a:gd name="connsiteY5077" fmla="*/ 2082693 h 6750795"/>
              <a:gd name="connsiteX5078" fmla="*/ 990048 w 6630249"/>
              <a:gd name="connsiteY5078" fmla="*/ 1998051 h 6750795"/>
              <a:gd name="connsiteX5079" fmla="*/ 984919 w 6630249"/>
              <a:gd name="connsiteY5079" fmla="*/ 2013442 h 6750795"/>
              <a:gd name="connsiteX5080" fmla="*/ 949010 w 6630249"/>
              <a:gd name="connsiteY5080" fmla="*/ 2018570 h 6750795"/>
              <a:gd name="connsiteX5081" fmla="*/ 969529 w 6630249"/>
              <a:gd name="connsiteY5081" fmla="*/ 1972402 h 6750795"/>
              <a:gd name="connsiteX5082" fmla="*/ 923361 w 6630249"/>
              <a:gd name="connsiteY5082" fmla="*/ 1946753 h 6750795"/>
              <a:gd name="connsiteX5083" fmla="*/ 933621 w 6630249"/>
              <a:gd name="connsiteY5083" fmla="*/ 1905715 h 6750795"/>
              <a:gd name="connsiteX5084" fmla="*/ 864369 w 6630249"/>
              <a:gd name="connsiteY5084" fmla="*/ 1841593 h 6750795"/>
              <a:gd name="connsiteX5085" fmla="*/ 915666 w 6630249"/>
              <a:gd name="connsiteY5085" fmla="*/ 1800556 h 6750795"/>
              <a:gd name="connsiteX5086" fmla="*/ 856674 w 6630249"/>
              <a:gd name="connsiteY5086" fmla="*/ 1780036 h 6750795"/>
              <a:gd name="connsiteX5087" fmla="*/ 920796 w 6630249"/>
              <a:gd name="connsiteY5087" fmla="*/ 1744128 h 6750795"/>
              <a:gd name="connsiteX5088" fmla="*/ 884888 w 6630249"/>
              <a:gd name="connsiteY5088" fmla="*/ 1674876 h 6750795"/>
              <a:gd name="connsiteX5089" fmla="*/ 954140 w 6630249"/>
              <a:gd name="connsiteY5089" fmla="*/ 1615883 h 6750795"/>
              <a:gd name="connsiteX5090" fmla="*/ 959270 w 6630249"/>
              <a:gd name="connsiteY5090" fmla="*/ 1590234 h 6750795"/>
              <a:gd name="connsiteX5091" fmla="*/ 943880 w 6630249"/>
              <a:gd name="connsiteY5091" fmla="*/ 1538935 h 6750795"/>
              <a:gd name="connsiteX5092" fmla="*/ 995178 w 6630249"/>
              <a:gd name="connsiteY5092" fmla="*/ 1497898 h 6750795"/>
              <a:gd name="connsiteX5093" fmla="*/ 964400 w 6630249"/>
              <a:gd name="connsiteY5093" fmla="*/ 1433775 h 6750795"/>
              <a:gd name="connsiteX5094" fmla="*/ 990048 w 6630249"/>
              <a:gd name="connsiteY5094" fmla="*/ 1408126 h 6750795"/>
              <a:gd name="connsiteX5095" fmla="*/ 920796 w 6630249"/>
              <a:gd name="connsiteY5095" fmla="*/ 1367088 h 6750795"/>
              <a:gd name="connsiteX5096" fmla="*/ 1010568 w 6630249"/>
              <a:gd name="connsiteY5096" fmla="*/ 1167026 h 6750795"/>
              <a:gd name="connsiteX5097" fmla="*/ 1131118 w 6630249"/>
              <a:gd name="connsiteY5097" fmla="*/ 1341439 h 6750795"/>
              <a:gd name="connsiteX5098" fmla="*/ 1210629 w 6630249"/>
              <a:gd name="connsiteY5098" fmla="*/ 1510722 h 6750795"/>
              <a:gd name="connsiteX5099" fmla="*/ 1290141 w 6630249"/>
              <a:gd name="connsiteY5099" fmla="*/ 1610753 h 6750795"/>
              <a:gd name="connsiteX5100" fmla="*/ 1359393 w 6630249"/>
              <a:gd name="connsiteY5100" fmla="*/ 1705654 h 6750795"/>
              <a:gd name="connsiteX5101" fmla="*/ 1395302 w 6630249"/>
              <a:gd name="connsiteY5101" fmla="*/ 1751823 h 6750795"/>
              <a:gd name="connsiteX5102" fmla="*/ 1423515 w 6630249"/>
              <a:gd name="connsiteY5102" fmla="*/ 1862112 h 6750795"/>
              <a:gd name="connsiteX5103" fmla="*/ 1556890 w 6630249"/>
              <a:gd name="connsiteY5103" fmla="*/ 1662051 h 6750795"/>
              <a:gd name="connsiteX5104" fmla="*/ 1731303 w 6630249"/>
              <a:gd name="connsiteY5104" fmla="*/ 1823639 h 6750795"/>
              <a:gd name="connsiteX5105" fmla="*/ 1795425 w 6630249"/>
              <a:gd name="connsiteY5105" fmla="*/ 2013442 h 6750795"/>
              <a:gd name="connsiteX5106" fmla="*/ 1626142 w 6630249"/>
              <a:gd name="connsiteY5106" fmla="*/ 2213500 h 6750795"/>
              <a:gd name="connsiteX5107" fmla="*/ 1636402 w 6630249"/>
              <a:gd name="connsiteY5107" fmla="*/ 2231456 h 6750795"/>
              <a:gd name="connsiteX5108" fmla="*/ 1705654 w 6630249"/>
              <a:gd name="connsiteY5108" fmla="*/ 2180157 h 6750795"/>
              <a:gd name="connsiteX5109" fmla="*/ 1710783 w 6630249"/>
              <a:gd name="connsiteY5109" fmla="*/ 2139120 h 6750795"/>
              <a:gd name="connsiteX5110" fmla="*/ 1826204 w 6630249"/>
              <a:gd name="connsiteY5110" fmla="*/ 2177592 h 6750795"/>
              <a:gd name="connsiteX5111" fmla="*/ 1800555 w 6630249"/>
              <a:gd name="connsiteY5111" fmla="*/ 2046783 h 6750795"/>
              <a:gd name="connsiteX5112" fmla="*/ 1810814 w 6630249"/>
              <a:gd name="connsiteY5112" fmla="*/ 2031396 h 6750795"/>
              <a:gd name="connsiteX5113" fmla="*/ 1808249 w 6630249"/>
              <a:gd name="connsiteY5113" fmla="*/ 2018570 h 6750795"/>
              <a:gd name="connsiteX5114" fmla="*/ 1882632 w 6630249"/>
              <a:gd name="connsiteY5114" fmla="*/ 1898020 h 6750795"/>
              <a:gd name="connsiteX5115" fmla="*/ 1813379 w 6630249"/>
              <a:gd name="connsiteY5115" fmla="*/ 1900585 h 6750795"/>
              <a:gd name="connsiteX5116" fmla="*/ 1800555 w 6630249"/>
              <a:gd name="connsiteY5116" fmla="*/ 1869807 h 6750795"/>
              <a:gd name="connsiteX5117" fmla="*/ 1790295 w 6630249"/>
              <a:gd name="connsiteY5117" fmla="*/ 1872371 h 6750795"/>
              <a:gd name="connsiteX5118" fmla="*/ 1780036 w 6630249"/>
              <a:gd name="connsiteY5118" fmla="*/ 1867242 h 6750795"/>
              <a:gd name="connsiteX5119" fmla="*/ 1738997 w 6630249"/>
              <a:gd name="connsiteY5119" fmla="*/ 1723609 h 6750795"/>
              <a:gd name="connsiteX5120" fmla="*/ 1749257 w 6630249"/>
              <a:gd name="connsiteY5120" fmla="*/ 1715914 h 6750795"/>
              <a:gd name="connsiteX5121" fmla="*/ 1736432 w 6630249"/>
              <a:gd name="connsiteY5121" fmla="*/ 1692830 h 6750795"/>
              <a:gd name="connsiteX5122" fmla="*/ 1723609 w 6630249"/>
              <a:gd name="connsiteY5122" fmla="*/ 1690265 h 6750795"/>
              <a:gd name="connsiteX5123" fmla="*/ 1721043 w 6630249"/>
              <a:gd name="connsiteY5123" fmla="*/ 1680005 h 6750795"/>
              <a:gd name="connsiteX5124" fmla="*/ 1733868 w 6630249"/>
              <a:gd name="connsiteY5124" fmla="*/ 1605624 h 6750795"/>
              <a:gd name="connsiteX5125" fmla="*/ 1741562 w 6630249"/>
              <a:gd name="connsiteY5125" fmla="*/ 1541501 h 6750795"/>
              <a:gd name="connsiteX5126" fmla="*/ 1733868 w 6630249"/>
              <a:gd name="connsiteY5126" fmla="*/ 1482508 h 6750795"/>
              <a:gd name="connsiteX5127" fmla="*/ 1923670 w 6630249"/>
              <a:gd name="connsiteY5127" fmla="*/ 1120858 h 6750795"/>
              <a:gd name="connsiteX5128" fmla="*/ 1923670 w 6630249"/>
              <a:gd name="connsiteY5128" fmla="*/ 1105469 h 6750795"/>
              <a:gd name="connsiteX5129" fmla="*/ 1987794 w 6630249"/>
              <a:gd name="connsiteY5129" fmla="*/ 1043911 h 6750795"/>
              <a:gd name="connsiteX5130" fmla="*/ 2026266 w 6630249"/>
              <a:gd name="connsiteY5130" fmla="*/ 972095 h 6750795"/>
              <a:gd name="connsiteX5131" fmla="*/ 2005747 w 6630249"/>
              <a:gd name="connsiteY5131" fmla="*/ 1066995 h 6750795"/>
              <a:gd name="connsiteX5132" fmla="*/ 2041657 w 6630249"/>
              <a:gd name="connsiteY5132" fmla="*/ 1018262 h 6750795"/>
              <a:gd name="connsiteX5133" fmla="*/ 2031396 w 6630249"/>
              <a:gd name="connsiteY5133" fmla="*/ 1051606 h 6750795"/>
              <a:gd name="connsiteX5134" fmla="*/ 2041657 w 6630249"/>
              <a:gd name="connsiteY5134" fmla="*/ 1049041 h 6750795"/>
              <a:gd name="connsiteX5135" fmla="*/ 2026266 w 6630249"/>
              <a:gd name="connsiteY5135" fmla="*/ 1082384 h 6750795"/>
              <a:gd name="connsiteX5136" fmla="*/ 2072434 w 6630249"/>
              <a:gd name="connsiteY5136" fmla="*/ 1013132 h 6750795"/>
              <a:gd name="connsiteX5137" fmla="*/ 2087823 w 6630249"/>
              <a:gd name="connsiteY5137" fmla="*/ 990049 h 6750795"/>
              <a:gd name="connsiteX5138" fmla="*/ 2085258 w 6630249"/>
              <a:gd name="connsiteY5138" fmla="*/ 1015697 h 6750795"/>
              <a:gd name="connsiteX5139" fmla="*/ 2103212 w 6630249"/>
              <a:gd name="connsiteY5139" fmla="*/ 1015697 h 6750795"/>
              <a:gd name="connsiteX5140" fmla="*/ 2159640 w 6630249"/>
              <a:gd name="connsiteY5140" fmla="*/ 964399 h 6750795"/>
              <a:gd name="connsiteX5141" fmla="*/ 2159640 w 6630249"/>
              <a:gd name="connsiteY5141" fmla="*/ 982355 h 6750795"/>
              <a:gd name="connsiteX5142" fmla="*/ 2210939 w 6630249"/>
              <a:gd name="connsiteY5142" fmla="*/ 936185 h 6750795"/>
              <a:gd name="connsiteX5143" fmla="*/ 2198113 w 6630249"/>
              <a:gd name="connsiteY5143" fmla="*/ 992614 h 6750795"/>
              <a:gd name="connsiteX5144" fmla="*/ 2221198 w 6630249"/>
              <a:gd name="connsiteY5144" fmla="*/ 949009 h 6750795"/>
              <a:gd name="connsiteX5145" fmla="*/ 2216067 w 6630249"/>
              <a:gd name="connsiteY5145" fmla="*/ 1000308 h 6750795"/>
              <a:gd name="connsiteX5146" fmla="*/ 2244281 w 6630249"/>
              <a:gd name="connsiteY5146" fmla="*/ 954139 h 6750795"/>
              <a:gd name="connsiteX5147" fmla="*/ 2262235 w 6630249"/>
              <a:gd name="connsiteY5147" fmla="*/ 920795 h 6750795"/>
              <a:gd name="connsiteX5148" fmla="*/ 2308404 w 6630249"/>
              <a:gd name="connsiteY5148" fmla="*/ 866932 h 6750795"/>
              <a:gd name="connsiteX5149" fmla="*/ 2326358 w 6630249"/>
              <a:gd name="connsiteY5149" fmla="*/ 846413 h 6750795"/>
              <a:gd name="connsiteX5150" fmla="*/ 2339182 w 6630249"/>
              <a:gd name="connsiteY5150" fmla="*/ 856673 h 6750795"/>
              <a:gd name="connsiteX5151" fmla="*/ 2334053 w 6630249"/>
              <a:gd name="connsiteY5151" fmla="*/ 841284 h 6750795"/>
              <a:gd name="connsiteX5152" fmla="*/ 2344312 w 6630249"/>
              <a:gd name="connsiteY5152" fmla="*/ 856673 h 6750795"/>
              <a:gd name="connsiteX5153" fmla="*/ 2390482 w 6630249"/>
              <a:gd name="connsiteY5153" fmla="*/ 887452 h 6750795"/>
              <a:gd name="connsiteX5154" fmla="*/ 2377657 w 6630249"/>
              <a:gd name="connsiteY5154" fmla="*/ 872062 h 6750795"/>
              <a:gd name="connsiteX5155" fmla="*/ 2380221 w 6630249"/>
              <a:gd name="connsiteY5155" fmla="*/ 859238 h 6750795"/>
              <a:gd name="connsiteX5156" fmla="*/ 2364831 w 6630249"/>
              <a:gd name="connsiteY5156" fmla="*/ 869497 h 6750795"/>
              <a:gd name="connsiteX5157" fmla="*/ 2372526 w 6630249"/>
              <a:gd name="connsiteY5157" fmla="*/ 851543 h 6750795"/>
              <a:gd name="connsiteX5158" fmla="*/ 2367396 w 6630249"/>
              <a:gd name="connsiteY5158" fmla="*/ 861803 h 6750795"/>
              <a:gd name="connsiteX5159" fmla="*/ 2375091 w 6630249"/>
              <a:gd name="connsiteY5159" fmla="*/ 848978 h 6750795"/>
              <a:gd name="connsiteX5160" fmla="*/ 2372526 w 6630249"/>
              <a:gd name="connsiteY5160" fmla="*/ 823329 h 6750795"/>
              <a:gd name="connsiteX5161" fmla="*/ 2362266 w 6630249"/>
              <a:gd name="connsiteY5161" fmla="*/ 854108 h 6750795"/>
              <a:gd name="connsiteX5162" fmla="*/ 2344312 w 6630249"/>
              <a:gd name="connsiteY5162" fmla="*/ 823329 h 6750795"/>
              <a:gd name="connsiteX5163" fmla="*/ 2354572 w 6630249"/>
              <a:gd name="connsiteY5163" fmla="*/ 823329 h 6750795"/>
              <a:gd name="connsiteX5164" fmla="*/ 2372526 w 6630249"/>
              <a:gd name="connsiteY5164" fmla="*/ 777161 h 6750795"/>
              <a:gd name="connsiteX5165" fmla="*/ 2380221 w 6630249"/>
              <a:gd name="connsiteY5165" fmla="*/ 782292 h 6750795"/>
              <a:gd name="connsiteX5166" fmla="*/ 2380221 w 6630249"/>
              <a:gd name="connsiteY5166" fmla="*/ 772031 h 6750795"/>
              <a:gd name="connsiteX5167" fmla="*/ 2395611 w 6630249"/>
              <a:gd name="connsiteY5167" fmla="*/ 746384 h 6750795"/>
              <a:gd name="connsiteX5168" fmla="*/ 2400741 w 6630249"/>
              <a:gd name="connsiteY5168" fmla="*/ 748947 h 6750795"/>
              <a:gd name="connsiteX5169" fmla="*/ 2408435 w 6630249"/>
              <a:gd name="connsiteY5169" fmla="*/ 728428 h 6750795"/>
              <a:gd name="connsiteX5170" fmla="*/ 2428954 w 6630249"/>
              <a:gd name="connsiteY5170" fmla="*/ 713040 h 6750795"/>
              <a:gd name="connsiteX5171" fmla="*/ 2428954 w 6630249"/>
              <a:gd name="connsiteY5171" fmla="*/ 695086 h 6750795"/>
              <a:gd name="connsiteX5172" fmla="*/ 2446909 w 6630249"/>
              <a:gd name="connsiteY5172" fmla="*/ 689956 h 6750795"/>
              <a:gd name="connsiteX5173" fmla="*/ 2454604 w 6630249"/>
              <a:gd name="connsiteY5173" fmla="*/ 679696 h 6750795"/>
              <a:gd name="connsiteX5174" fmla="*/ 2444345 w 6630249"/>
              <a:gd name="connsiteY5174" fmla="*/ 661742 h 6750795"/>
              <a:gd name="connsiteX5175" fmla="*/ 2449474 w 6630249"/>
              <a:gd name="connsiteY5175" fmla="*/ 669437 h 6750795"/>
              <a:gd name="connsiteX5176" fmla="*/ 2480252 w 6630249"/>
              <a:gd name="connsiteY5176" fmla="*/ 615574 h 6750795"/>
              <a:gd name="connsiteX5177" fmla="*/ 2477687 w 6630249"/>
              <a:gd name="connsiteY5177" fmla="*/ 674567 h 6750795"/>
              <a:gd name="connsiteX5178" fmla="*/ 2462298 w 6630249"/>
              <a:gd name="connsiteY5178" fmla="*/ 666872 h 6750795"/>
              <a:gd name="connsiteX5179" fmla="*/ 2467428 w 6630249"/>
              <a:gd name="connsiteY5179" fmla="*/ 679696 h 6750795"/>
              <a:gd name="connsiteX5180" fmla="*/ 2452039 w 6630249"/>
              <a:gd name="connsiteY5180" fmla="*/ 682261 h 6750795"/>
              <a:gd name="connsiteX5181" fmla="*/ 2428954 w 6630249"/>
              <a:gd name="connsiteY5181" fmla="*/ 738689 h 6750795"/>
              <a:gd name="connsiteX5182" fmla="*/ 2403306 w 6630249"/>
              <a:gd name="connsiteY5182" fmla="*/ 761773 h 6750795"/>
              <a:gd name="connsiteX5183" fmla="*/ 2390482 w 6630249"/>
              <a:gd name="connsiteY5183" fmla="*/ 784856 h 6750795"/>
              <a:gd name="connsiteX5184" fmla="*/ 2387916 w 6630249"/>
              <a:gd name="connsiteY5184" fmla="*/ 836154 h 6750795"/>
              <a:gd name="connsiteX5185" fmla="*/ 2398176 w 6630249"/>
              <a:gd name="connsiteY5185" fmla="*/ 838720 h 6750795"/>
              <a:gd name="connsiteX5186" fmla="*/ 2390482 w 6630249"/>
              <a:gd name="connsiteY5186" fmla="*/ 859238 h 6750795"/>
              <a:gd name="connsiteX5187" fmla="*/ 2405870 w 6630249"/>
              <a:gd name="connsiteY5187" fmla="*/ 856673 h 6750795"/>
              <a:gd name="connsiteX5188" fmla="*/ 2393046 w 6630249"/>
              <a:gd name="connsiteY5188" fmla="*/ 874627 h 6750795"/>
              <a:gd name="connsiteX5189" fmla="*/ 2413565 w 6630249"/>
              <a:gd name="connsiteY5189" fmla="*/ 928490 h 6750795"/>
              <a:gd name="connsiteX5190" fmla="*/ 2423825 w 6630249"/>
              <a:gd name="connsiteY5190" fmla="*/ 918230 h 6750795"/>
              <a:gd name="connsiteX5191" fmla="*/ 2449474 w 6630249"/>
              <a:gd name="connsiteY5191" fmla="*/ 918230 h 6750795"/>
              <a:gd name="connsiteX5192" fmla="*/ 2498207 w 6630249"/>
              <a:gd name="connsiteY5192" fmla="*/ 982355 h 6750795"/>
              <a:gd name="connsiteX5193" fmla="*/ 2503336 w 6630249"/>
              <a:gd name="connsiteY5193" fmla="*/ 1005439 h 6750795"/>
              <a:gd name="connsiteX5194" fmla="*/ 2472558 w 6630249"/>
              <a:gd name="connsiteY5194" fmla="*/ 1108033 h 6750795"/>
              <a:gd name="connsiteX5195" fmla="*/ 2434084 w 6630249"/>
              <a:gd name="connsiteY5195" fmla="*/ 1167026 h 6750795"/>
              <a:gd name="connsiteX5196" fmla="*/ 2408435 w 6630249"/>
              <a:gd name="connsiteY5196" fmla="*/ 1172156 h 6750795"/>
              <a:gd name="connsiteX5197" fmla="*/ 2409792 w 6630249"/>
              <a:gd name="connsiteY5197" fmla="*/ 1174483 h 6750795"/>
              <a:gd name="connsiteX5198" fmla="*/ 2397856 w 6630249"/>
              <a:gd name="connsiteY5198" fmla="*/ 1197484 h 6750795"/>
              <a:gd name="connsiteX5199" fmla="*/ 2390482 w 6630249"/>
              <a:gd name="connsiteY5199" fmla="*/ 1228583 h 6750795"/>
              <a:gd name="connsiteX5200" fmla="*/ 2372526 w 6630249"/>
              <a:gd name="connsiteY5200" fmla="*/ 1233713 h 6750795"/>
              <a:gd name="connsiteX5201" fmla="*/ 2385351 w 6630249"/>
              <a:gd name="connsiteY5201" fmla="*/ 1279881 h 6750795"/>
              <a:gd name="connsiteX5202" fmla="*/ 2321228 w 6630249"/>
              <a:gd name="connsiteY5202" fmla="*/ 1428645 h 6750795"/>
              <a:gd name="connsiteX5203" fmla="*/ 2316099 w 6630249"/>
              <a:gd name="connsiteY5203" fmla="*/ 1428645 h 6750795"/>
              <a:gd name="connsiteX5204" fmla="*/ 2310968 w 6630249"/>
              <a:gd name="connsiteY5204" fmla="*/ 1546631 h 6750795"/>
              <a:gd name="connsiteX5205" fmla="*/ 2239151 w 6630249"/>
              <a:gd name="connsiteY5205" fmla="*/ 1685135 h 6750795"/>
              <a:gd name="connsiteX5206" fmla="*/ 2241716 w 6630249"/>
              <a:gd name="connsiteY5206" fmla="*/ 1695395 h 6750795"/>
              <a:gd name="connsiteX5207" fmla="*/ 2236586 w 6630249"/>
              <a:gd name="connsiteY5207" fmla="*/ 1692830 h 6750795"/>
              <a:gd name="connsiteX5208" fmla="*/ 2200678 w 6630249"/>
              <a:gd name="connsiteY5208" fmla="*/ 1756952 h 6750795"/>
              <a:gd name="connsiteX5209" fmla="*/ 2205808 w 6630249"/>
              <a:gd name="connsiteY5209" fmla="*/ 1777471 h 6750795"/>
              <a:gd name="connsiteX5210" fmla="*/ 2187853 w 6630249"/>
              <a:gd name="connsiteY5210" fmla="*/ 1831334 h 6750795"/>
              <a:gd name="connsiteX5211" fmla="*/ 2188692 w 6630249"/>
              <a:gd name="connsiteY5211" fmla="*/ 1832222 h 6750795"/>
              <a:gd name="connsiteX5212" fmla="*/ 2160923 w 6630249"/>
              <a:gd name="connsiteY5212" fmla="*/ 1887761 h 6750795"/>
              <a:gd name="connsiteX5213" fmla="*/ 2131426 w 6630249"/>
              <a:gd name="connsiteY5213" fmla="*/ 1946753 h 6750795"/>
              <a:gd name="connsiteX5214" fmla="*/ 2085258 w 6630249"/>
              <a:gd name="connsiteY5214" fmla="*/ 2033960 h 6750795"/>
              <a:gd name="connsiteX5215" fmla="*/ 2085258 w 6630249"/>
              <a:gd name="connsiteY5215" fmla="*/ 2080128 h 6750795"/>
              <a:gd name="connsiteX5216" fmla="*/ 2072434 w 6630249"/>
              <a:gd name="connsiteY5216" fmla="*/ 2105776 h 6750795"/>
              <a:gd name="connsiteX5217" fmla="*/ 2139121 w 6630249"/>
              <a:gd name="connsiteY5217" fmla="*/ 2328922 h 6750795"/>
              <a:gd name="connsiteX5218" fmla="*/ 2149380 w 6630249"/>
              <a:gd name="connsiteY5218" fmla="*/ 2570021 h 6750795"/>
              <a:gd name="connsiteX5219" fmla="*/ 2149380 w 6630249"/>
              <a:gd name="connsiteY5219" fmla="*/ 2575151 h 6750795"/>
              <a:gd name="connsiteX5220" fmla="*/ 2162205 w 6630249"/>
              <a:gd name="connsiteY5220" fmla="*/ 2575151 h 6750795"/>
              <a:gd name="connsiteX5221" fmla="*/ 2149380 w 6630249"/>
              <a:gd name="connsiteY5221" fmla="*/ 2585411 h 6750795"/>
              <a:gd name="connsiteX5222" fmla="*/ 2133991 w 6630249"/>
              <a:gd name="connsiteY5222" fmla="*/ 2634144 h 6750795"/>
              <a:gd name="connsiteX5223" fmla="*/ 2162205 w 6630249"/>
              <a:gd name="connsiteY5223" fmla="*/ 2634144 h 6750795"/>
              <a:gd name="connsiteX5224" fmla="*/ 2177594 w 6630249"/>
              <a:gd name="connsiteY5224" fmla="*/ 2598235 h 6750795"/>
              <a:gd name="connsiteX5225" fmla="*/ 2223762 w 6630249"/>
              <a:gd name="connsiteY5225" fmla="*/ 2582846 h 6750795"/>
              <a:gd name="connsiteX5226" fmla="*/ 2198113 w 6630249"/>
              <a:gd name="connsiteY5226" fmla="*/ 2503334 h 6750795"/>
              <a:gd name="connsiteX5227" fmla="*/ 2228892 w 6630249"/>
              <a:gd name="connsiteY5227" fmla="*/ 2503334 h 6750795"/>
              <a:gd name="connsiteX5228" fmla="*/ 2234022 w 6630249"/>
              <a:gd name="connsiteY5228" fmla="*/ 2462296 h 6750795"/>
              <a:gd name="connsiteX5229" fmla="*/ 2280190 w 6630249"/>
              <a:gd name="connsiteY5229" fmla="*/ 2436647 h 6750795"/>
              <a:gd name="connsiteX5230" fmla="*/ 2254541 w 6630249"/>
              <a:gd name="connsiteY5230" fmla="*/ 2390479 h 6750795"/>
              <a:gd name="connsiteX5231" fmla="*/ 2269930 w 6630249"/>
              <a:gd name="connsiteY5231" fmla="*/ 2354569 h 6750795"/>
              <a:gd name="connsiteX5232" fmla="*/ 2223762 w 6630249"/>
              <a:gd name="connsiteY5232" fmla="*/ 2328922 h 6750795"/>
              <a:gd name="connsiteX5233" fmla="*/ 2259671 w 6630249"/>
              <a:gd name="connsiteY5233" fmla="*/ 2234021 h 6750795"/>
              <a:gd name="connsiteX5234" fmla="*/ 2305840 w 6630249"/>
              <a:gd name="connsiteY5234" fmla="*/ 2187851 h 6750795"/>
              <a:gd name="connsiteX5235" fmla="*/ 2285320 w 6630249"/>
              <a:gd name="connsiteY5235" fmla="*/ 2146814 h 6750795"/>
              <a:gd name="connsiteX5236" fmla="*/ 2331488 w 6630249"/>
              <a:gd name="connsiteY5236" fmla="*/ 2126297 h 6750795"/>
              <a:gd name="connsiteX5237" fmla="*/ 2375091 w 6630249"/>
              <a:gd name="connsiteY5237" fmla="*/ 2121164 h 6750795"/>
              <a:gd name="connsiteX5238" fmla="*/ 2362266 w 6630249"/>
              <a:gd name="connsiteY5238" fmla="*/ 2049349 h 6750795"/>
              <a:gd name="connsiteX5239" fmla="*/ 2357578 w 6630249"/>
              <a:gd name="connsiteY5239" fmla="*/ 2042104 h 6750795"/>
              <a:gd name="connsiteX5240" fmla="*/ 2369962 w 6630249"/>
              <a:gd name="connsiteY5240" fmla="*/ 1982662 h 6750795"/>
              <a:gd name="connsiteX5241" fmla="*/ 2372526 w 6630249"/>
              <a:gd name="connsiteY5241" fmla="*/ 1936494 h 6750795"/>
              <a:gd name="connsiteX5242" fmla="*/ 2400741 w 6630249"/>
              <a:gd name="connsiteY5242" fmla="*/ 1915975 h 6750795"/>
              <a:gd name="connsiteX5243" fmla="*/ 2421261 w 6630249"/>
              <a:gd name="connsiteY5243" fmla="*/ 1887761 h 6750795"/>
              <a:gd name="connsiteX5244" fmla="*/ 2485383 w 6630249"/>
              <a:gd name="connsiteY5244" fmla="*/ 1841593 h 6750795"/>
              <a:gd name="connsiteX5245" fmla="*/ 2523856 w 6630249"/>
              <a:gd name="connsiteY5245" fmla="*/ 1787730 h 6750795"/>
              <a:gd name="connsiteX5246" fmla="*/ 2582848 w 6630249"/>
              <a:gd name="connsiteY5246" fmla="*/ 1756952 h 6750795"/>
              <a:gd name="connsiteX5247" fmla="*/ 2608497 w 6630249"/>
              <a:gd name="connsiteY5247" fmla="*/ 1772342 h 6750795"/>
              <a:gd name="connsiteX5248" fmla="*/ 2644406 w 6630249"/>
              <a:gd name="connsiteY5248" fmla="*/ 1762082 h 6750795"/>
              <a:gd name="connsiteX5249" fmla="*/ 2644406 w 6630249"/>
              <a:gd name="connsiteY5249" fmla="*/ 1700525 h 6750795"/>
              <a:gd name="connsiteX5250" fmla="*/ 2603367 w 6630249"/>
              <a:gd name="connsiteY5250" fmla="*/ 1595364 h 6750795"/>
              <a:gd name="connsiteX5251" fmla="*/ 2520008 w 6630249"/>
              <a:gd name="connsiteY5251" fmla="*/ 1393698 h 6750795"/>
              <a:gd name="connsiteX5252" fmla="*/ 2477854 w 6630249"/>
              <a:gd name="connsiteY5252" fmla="*/ 1306569 h 6750795"/>
              <a:gd name="connsiteX5253" fmla="*/ 2519688 w 6630249"/>
              <a:gd name="connsiteY5253" fmla="*/ 1390813 h 6750795"/>
              <a:gd name="connsiteX5254" fmla="*/ 2603367 w 6630249"/>
              <a:gd name="connsiteY5254" fmla="*/ 1590234 h 6750795"/>
              <a:gd name="connsiteX5255" fmla="*/ 2646970 w 6630249"/>
              <a:gd name="connsiteY5255" fmla="*/ 1695395 h 6750795"/>
              <a:gd name="connsiteX5256" fmla="*/ 2693139 w 6630249"/>
              <a:gd name="connsiteY5256" fmla="*/ 1690265 h 6750795"/>
              <a:gd name="connsiteX5257" fmla="*/ 2688009 w 6630249"/>
              <a:gd name="connsiteY5257" fmla="*/ 1631273 h 6750795"/>
              <a:gd name="connsiteX5258" fmla="*/ 2718787 w 6630249"/>
              <a:gd name="connsiteY5258" fmla="*/ 1615883 h 6750795"/>
              <a:gd name="connsiteX5259" fmla="*/ 2793170 w 6630249"/>
              <a:gd name="connsiteY5259" fmla="*/ 1626143 h 6750795"/>
              <a:gd name="connsiteX5260" fmla="*/ 2793170 w 6630249"/>
              <a:gd name="connsiteY5260" fmla="*/ 1710784 h 6750795"/>
              <a:gd name="connsiteX5261" fmla="*/ 2800864 w 6630249"/>
              <a:gd name="connsiteY5261" fmla="*/ 1708219 h 6750795"/>
              <a:gd name="connsiteX5262" fmla="*/ 2800864 w 6630249"/>
              <a:gd name="connsiteY5262" fmla="*/ 1705654 h 6750795"/>
              <a:gd name="connsiteX5263" fmla="*/ 2813688 w 6630249"/>
              <a:gd name="connsiteY5263" fmla="*/ 1564585 h 6750795"/>
              <a:gd name="connsiteX5264" fmla="*/ 2839337 w 6630249"/>
              <a:gd name="connsiteY5264" fmla="*/ 1292706 h 6750795"/>
              <a:gd name="connsiteX5265" fmla="*/ 2831643 w 6630249"/>
              <a:gd name="connsiteY5265" fmla="*/ 1174721 h 6750795"/>
              <a:gd name="connsiteX5266" fmla="*/ 2793170 w 6630249"/>
              <a:gd name="connsiteY5266" fmla="*/ 1069559 h 6750795"/>
              <a:gd name="connsiteX5267" fmla="*/ 2723917 w 6630249"/>
              <a:gd name="connsiteY5267" fmla="*/ 869497 h 6750795"/>
              <a:gd name="connsiteX5268" fmla="*/ 2567459 w 6630249"/>
              <a:gd name="connsiteY5268" fmla="*/ 497589 h 6750795"/>
              <a:gd name="connsiteX5269" fmla="*/ 2729048 w 6630249"/>
              <a:gd name="connsiteY5269" fmla="*/ 866932 h 6750795"/>
              <a:gd name="connsiteX5270" fmla="*/ 2798299 w 6630249"/>
              <a:gd name="connsiteY5270" fmla="*/ 1066995 h 6750795"/>
              <a:gd name="connsiteX5271" fmla="*/ 2829078 w 6630249"/>
              <a:gd name="connsiteY5271" fmla="*/ 1149072 h 6750795"/>
              <a:gd name="connsiteX5272" fmla="*/ 2813688 w 6630249"/>
              <a:gd name="connsiteY5272" fmla="*/ 1041346 h 6750795"/>
              <a:gd name="connsiteX5273" fmla="*/ 2795734 w 6630249"/>
              <a:gd name="connsiteY5273" fmla="*/ 928490 h 6750795"/>
              <a:gd name="connsiteX5274" fmla="*/ 2793170 w 6630249"/>
              <a:gd name="connsiteY5274" fmla="*/ 923360 h 6750795"/>
              <a:gd name="connsiteX5275" fmla="*/ 2754696 w 6630249"/>
              <a:gd name="connsiteY5275" fmla="*/ 738689 h 6750795"/>
              <a:gd name="connsiteX5276" fmla="*/ 2744436 w 6630249"/>
              <a:gd name="connsiteY5276" fmla="*/ 710475 h 6750795"/>
              <a:gd name="connsiteX5277" fmla="*/ 2713658 w 6630249"/>
              <a:gd name="connsiteY5277" fmla="*/ 782292 h 6750795"/>
              <a:gd name="connsiteX5278" fmla="*/ 2721352 w 6630249"/>
              <a:gd name="connsiteY5278" fmla="*/ 684826 h 6750795"/>
              <a:gd name="connsiteX5279" fmla="*/ 2726482 w 6630249"/>
              <a:gd name="connsiteY5279" fmla="*/ 669437 h 6750795"/>
              <a:gd name="connsiteX5280" fmla="*/ 2729048 w 6630249"/>
              <a:gd name="connsiteY5280" fmla="*/ 669437 h 6750795"/>
              <a:gd name="connsiteX5281" fmla="*/ 2695703 w 6630249"/>
              <a:gd name="connsiteY5281" fmla="*/ 600185 h 6750795"/>
              <a:gd name="connsiteX5282" fmla="*/ 2646970 w 6630249"/>
              <a:gd name="connsiteY5282" fmla="*/ 512978 h 6750795"/>
              <a:gd name="connsiteX5283" fmla="*/ 2505901 w 6630249"/>
              <a:gd name="connsiteY5283" fmla="*/ 243665 h 6750795"/>
              <a:gd name="connsiteX5284" fmla="*/ 2662360 w 6630249"/>
              <a:gd name="connsiteY5284" fmla="*/ 528368 h 6750795"/>
              <a:gd name="connsiteX5285" fmla="*/ 2685069 w 6630249"/>
              <a:gd name="connsiteY5285" fmla="*/ 552064 h 6750795"/>
              <a:gd name="connsiteX5286" fmla="*/ 2703398 w 6630249"/>
              <a:gd name="connsiteY5286" fmla="*/ 584795 h 6750795"/>
              <a:gd name="connsiteX5287" fmla="*/ 2739307 w 6630249"/>
              <a:gd name="connsiteY5287" fmla="*/ 656612 h 6750795"/>
              <a:gd name="connsiteX5288" fmla="*/ 2741872 w 6630249"/>
              <a:gd name="connsiteY5288" fmla="*/ 654047 h 6750795"/>
              <a:gd name="connsiteX5289" fmla="*/ 2744436 w 6630249"/>
              <a:gd name="connsiteY5289" fmla="*/ 669437 h 6750795"/>
              <a:gd name="connsiteX5290" fmla="*/ 2754696 w 6630249"/>
              <a:gd name="connsiteY5290" fmla="*/ 697651 h 6750795"/>
              <a:gd name="connsiteX5291" fmla="*/ 2752724 w 6630249"/>
              <a:gd name="connsiteY5291" fmla="*/ 640472 h 6750795"/>
              <a:gd name="connsiteX5292" fmla="*/ 2755847 w 6630249"/>
              <a:gd name="connsiteY5292" fmla="*/ 645660 h 6750795"/>
              <a:gd name="connsiteX5293" fmla="*/ 2759827 w 6630249"/>
              <a:gd name="connsiteY5293" fmla="*/ 705345 h 6750795"/>
              <a:gd name="connsiteX5294" fmla="*/ 2785475 w 6630249"/>
              <a:gd name="connsiteY5294" fmla="*/ 787421 h 6750795"/>
              <a:gd name="connsiteX5295" fmla="*/ 2808559 w 6630249"/>
              <a:gd name="connsiteY5295" fmla="*/ 907971 h 6750795"/>
              <a:gd name="connsiteX5296" fmla="*/ 2816253 w 6630249"/>
              <a:gd name="connsiteY5296" fmla="*/ 956706 h 6750795"/>
              <a:gd name="connsiteX5297" fmla="*/ 2900895 w 6630249"/>
              <a:gd name="connsiteY5297" fmla="*/ 1084949 h 6750795"/>
              <a:gd name="connsiteX5298" fmla="*/ 2913207 w 6630249"/>
              <a:gd name="connsiteY5298" fmla="*/ 1095209 h 6750795"/>
              <a:gd name="connsiteX5299" fmla="*/ 2915643 w 6630249"/>
              <a:gd name="connsiteY5299" fmla="*/ 1107391 h 6750795"/>
              <a:gd name="connsiteX5300" fmla="*/ 2898330 w 6630249"/>
              <a:gd name="connsiteY5300" fmla="*/ 1090079 h 6750795"/>
              <a:gd name="connsiteX5301" fmla="*/ 2818818 w 6630249"/>
              <a:gd name="connsiteY5301" fmla="*/ 972095 h 6750795"/>
              <a:gd name="connsiteX5302" fmla="*/ 2829078 w 6630249"/>
              <a:gd name="connsiteY5302" fmla="*/ 1025957 h 6750795"/>
              <a:gd name="connsiteX5303" fmla="*/ 2852162 w 6630249"/>
              <a:gd name="connsiteY5303" fmla="*/ 1202934 h 6750795"/>
              <a:gd name="connsiteX5304" fmla="*/ 2867551 w 6630249"/>
              <a:gd name="connsiteY5304" fmla="*/ 1261927 h 6750795"/>
              <a:gd name="connsiteX5305" fmla="*/ 2882941 w 6630249"/>
              <a:gd name="connsiteY5305" fmla="*/ 1385042 h 6750795"/>
              <a:gd name="connsiteX5306" fmla="*/ 2888071 w 6630249"/>
              <a:gd name="connsiteY5306" fmla="*/ 1385042 h 6750795"/>
              <a:gd name="connsiteX5307" fmla="*/ 2890635 w 6630249"/>
              <a:gd name="connsiteY5307" fmla="*/ 1390172 h 6750795"/>
              <a:gd name="connsiteX5308" fmla="*/ 2882941 w 6630249"/>
              <a:gd name="connsiteY5308" fmla="*/ 1395301 h 6750795"/>
              <a:gd name="connsiteX5309" fmla="*/ 2882941 w 6630249"/>
              <a:gd name="connsiteY5309" fmla="*/ 1510722 h 6750795"/>
              <a:gd name="connsiteX5310" fmla="*/ 2880376 w 6630249"/>
              <a:gd name="connsiteY5310" fmla="*/ 1567150 h 6750795"/>
              <a:gd name="connsiteX5311" fmla="*/ 2888071 w 6630249"/>
              <a:gd name="connsiteY5311" fmla="*/ 1559456 h 6750795"/>
              <a:gd name="connsiteX5312" fmla="*/ 2880376 w 6630249"/>
              <a:gd name="connsiteY5312" fmla="*/ 1574845 h 6750795"/>
              <a:gd name="connsiteX5313" fmla="*/ 2880376 w 6630249"/>
              <a:gd name="connsiteY5313" fmla="*/ 1597178 h 6750795"/>
              <a:gd name="connsiteX5314" fmla="*/ 2888071 w 6630249"/>
              <a:gd name="connsiteY5314" fmla="*/ 1595402 h 6750795"/>
              <a:gd name="connsiteX5315" fmla="*/ 2882941 w 6630249"/>
              <a:gd name="connsiteY5315" fmla="*/ 1603097 h 6750795"/>
              <a:gd name="connsiteX5316" fmla="*/ 2880376 w 6630249"/>
              <a:gd name="connsiteY5316" fmla="*/ 1598480 h 6750795"/>
              <a:gd name="connsiteX5317" fmla="*/ 2880376 w 6630249"/>
              <a:gd name="connsiteY5317" fmla="*/ 1600494 h 6750795"/>
              <a:gd name="connsiteX5318" fmla="*/ 2880376 w 6630249"/>
              <a:gd name="connsiteY5318" fmla="*/ 1605624 h 6750795"/>
              <a:gd name="connsiteX5319" fmla="*/ 2880376 w 6630249"/>
              <a:gd name="connsiteY5319" fmla="*/ 1615883 h 6750795"/>
              <a:gd name="connsiteX5320" fmla="*/ 2885506 w 6630249"/>
              <a:gd name="connsiteY5320" fmla="*/ 1600494 h 6750795"/>
              <a:gd name="connsiteX5321" fmla="*/ 2900895 w 6630249"/>
              <a:gd name="connsiteY5321" fmla="*/ 1587669 h 6750795"/>
              <a:gd name="connsiteX5322" fmla="*/ 2939368 w 6630249"/>
              <a:gd name="connsiteY5322" fmla="*/ 1559456 h 6750795"/>
              <a:gd name="connsiteX5323" fmla="*/ 2941933 w 6630249"/>
              <a:gd name="connsiteY5323" fmla="*/ 1469683 h 6750795"/>
              <a:gd name="connsiteX5324" fmla="*/ 2934239 w 6630249"/>
              <a:gd name="connsiteY5324" fmla="*/ 1482508 h 6750795"/>
              <a:gd name="connsiteX5325" fmla="*/ 2929109 w 6630249"/>
              <a:gd name="connsiteY5325" fmla="*/ 1469683 h 6750795"/>
              <a:gd name="connsiteX5326" fmla="*/ 2926544 w 6630249"/>
              <a:gd name="connsiteY5326" fmla="*/ 1479943 h 6750795"/>
              <a:gd name="connsiteX5327" fmla="*/ 2923979 w 6630249"/>
              <a:gd name="connsiteY5327" fmla="*/ 1464554 h 6750795"/>
              <a:gd name="connsiteX5328" fmla="*/ 2934239 w 6630249"/>
              <a:gd name="connsiteY5328" fmla="*/ 1446599 h 6750795"/>
              <a:gd name="connsiteX5329" fmla="*/ 2941933 w 6630249"/>
              <a:gd name="connsiteY5329" fmla="*/ 1446599 h 6750795"/>
              <a:gd name="connsiteX5330" fmla="*/ 2923979 w 6630249"/>
              <a:gd name="connsiteY5330" fmla="*/ 1161896 h 6750795"/>
              <a:gd name="connsiteX5331" fmla="*/ 2916695 w 6630249"/>
              <a:gd name="connsiteY5331" fmla="*/ 1110911 h 6750795"/>
              <a:gd name="connsiteX5332" fmla="*/ 2924075 w 6630249"/>
              <a:gd name="connsiteY5332" fmla="*/ 1116540 h 6750795"/>
              <a:gd name="connsiteX5333" fmla="*/ 2929109 w 6630249"/>
              <a:gd name="connsiteY5333" fmla="*/ 1159331 h 6750795"/>
              <a:gd name="connsiteX5334" fmla="*/ 2947063 w 6630249"/>
              <a:gd name="connsiteY5334" fmla="*/ 1538935 h 6750795"/>
              <a:gd name="connsiteX5335" fmla="*/ 3003492 w 6630249"/>
              <a:gd name="connsiteY5335" fmla="*/ 1400431 h 6750795"/>
              <a:gd name="connsiteX5336" fmla="*/ 3024010 w 6630249"/>
              <a:gd name="connsiteY5336" fmla="*/ 1190110 h 6750795"/>
              <a:gd name="connsiteX5337" fmla="*/ 3016156 w 6630249"/>
              <a:gd name="connsiteY5337" fmla="*/ 1184271 h 6750795"/>
              <a:gd name="connsiteX5338" fmla="*/ 2993551 w 6630249"/>
              <a:gd name="connsiteY5338" fmla="*/ 1083025 h 6750795"/>
              <a:gd name="connsiteX5339" fmla="*/ 2972713 w 6630249"/>
              <a:gd name="connsiteY5339" fmla="*/ 977225 h 6750795"/>
              <a:gd name="connsiteX5340" fmla="*/ 2975277 w 6630249"/>
              <a:gd name="connsiteY5340" fmla="*/ 848978 h 6750795"/>
              <a:gd name="connsiteX5341" fmla="*/ 2995796 w 6630249"/>
              <a:gd name="connsiteY5341" fmla="*/ 720735 h 6750795"/>
              <a:gd name="connsiteX5342" fmla="*/ 2993231 w 6630249"/>
              <a:gd name="connsiteY5342" fmla="*/ 618139 h 6750795"/>
              <a:gd name="connsiteX5343" fmla="*/ 2962452 w 6630249"/>
              <a:gd name="connsiteY5343" fmla="*/ 554017 h 6750795"/>
              <a:gd name="connsiteX5344" fmla="*/ 2993231 w 6630249"/>
              <a:gd name="connsiteY5344" fmla="*/ 615574 h 6750795"/>
              <a:gd name="connsiteX5345" fmla="*/ 2967582 w 6630249"/>
              <a:gd name="connsiteY5345" fmla="*/ 492459 h 6750795"/>
              <a:gd name="connsiteX5346" fmla="*/ 2895765 w 6630249"/>
              <a:gd name="connsiteY5346" fmla="*/ 302657 h 6750795"/>
              <a:gd name="connsiteX5347" fmla="*/ 2970147 w 6630249"/>
              <a:gd name="connsiteY5347" fmla="*/ 487329 h 6750795"/>
              <a:gd name="connsiteX5348" fmla="*/ 2998361 w 6630249"/>
              <a:gd name="connsiteY5348" fmla="*/ 628398 h 6750795"/>
              <a:gd name="connsiteX5349" fmla="*/ 3000926 w 6630249"/>
              <a:gd name="connsiteY5349" fmla="*/ 633528 h 6750795"/>
              <a:gd name="connsiteX5350" fmla="*/ 2988101 w 6630249"/>
              <a:gd name="connsiteY5350" fmla="*/ 474505 h 6750795"/>
              <a:gd name="connsiteX5351" fmla="*/ 2936803 w 6630249"/>
              <a:gd name="connsiteY5351" fmla="*/ 210321 h 6750795"/>
              <a:gd name="connsiteX5352" fmla="*/ 2839337 w 6630249"/>
              <a:gd name="connsiteY5352" fmla="*/ 0 h 67507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  <a:cxn ang="0">
                <a:pos x="connsiteX4801" y="connsiteY4801"/>
              </a:cxn>
              <a:cxn ang="0">
                <a:pos x="connsiteX4802" y="connsiteY4802"/>
              </a:cxn>
              <a:cxn ang="0">
                <a:pos x="connsiteX4803" y="connsiteY4803"/>
              </a:cxn>
              <a:cxn ang="0">
                <a:pos x="connsiteX4804" y="connsiteY4804"/>
              </a:cxn>
              <a:cxn ang="0">
                <a:pos x="connsiteX4805" y="connsiteY4805"/>
              </a:cxn>
              <a:cxn ang="0">
                <a:pos x="connsiteX4806" y="connsiteY4806"/>
              </a:cxn>
              <a:cxn ang="0">
                <a:pos x="connsiteX4807" y="connsiteY4807"/>
              </a:cxn>
              <a:cxn ang="0">
                <a:pos x="connsiteX4808" y="connsiteY4808"/>
              </a:cxn>
              <a:cxn ang="0">
                <a:pos x="connsiteX4809" y="connsiteY4809"/>
              </a:cxn>
              <a:cxn ang="0">
                <a:pos x="connsiteX4810" y="connsiteY4810"/>
              </a:cxn>
              <a:cxn ang="0">
                <a:pos x="connsiteX4811" y="connsiteY4811"/>
              </a:cxn>
              <a:cxn ang="0">
                <a:pos x="connsiteX4812" y="connsiteY4812"/>
              </a:cxn>
              <a:cxn ang="0">
                <a:pos x="connsiteX4813" y="connsiteY4813"/>
              </a:cxn>
              <a:cxn ang="0">
                <a:pos x="connsiteX4814" y="connsiteY4814"/>
              </a:cxn>
              <a:cxn ang="0">
                <a:pos x="connsiteX4815" y="connsiteY4815"/>
              </a:cxn>
              <a:cxn ang="0">
                <a:pos x="connsiteX4816" y="connsiteY4816"/>
              </a:cxn>
              <a:cxn ang="0">
                <a:pos x="connsiteX4817" y="connsiteY4817"/>
              </a:cxn>
              <a:cxn ang="0">
                <a:pos x="connsiteX4818" y="connsiteY4818"/>
              </a:cxn>
              <a:cxn ang="0">
                <a:pos x="connsiteX4819" y="connsiteY4819"/>
              </a:cxn>
              <a:cxn ang="0">
                <a:pos x="connsiteX4820" y="connsiteY4820"/>
              </a:cxn>
              <a:cxn ang="0">
                <a:pos x="connsiteX4821" y="connsiteY4821"/>
              </a:cxn>
              <a:cxn ang="0">
                <a:pos x="connsiteX4822" y="connsiteY4822"/>
              </a:cxn>
              <a:cxn ang="0">
                <a:pos x="connsiteX4823" y="connsiteY4823"/>
              </a:cxn>
              <a:cxn ang="0">
                <a:pos x="connsiteX4824" y="connsiteY4824"/>
              </a:cxn>
              <a:cxn ang="0">
                <a:pos x="connsiteX4825" y="connsiteY4825"/>
              </a:cxn>
              <a:cxn ang="0">
                <a:pos x="connsiteX4826" y="connsiteY4826"/>
              </a:cxn>
              <a:cxn ang="0">
                <a:pos x="connsiteX4827" y="connsiteY4827"/>
              </a:cxn>
              <a:cxn ang="0">
                <a:pos x="connsiteX4828" y="connsiteY4828"/>
              </a:cxn>
              <a:cxn ang="0">
                <a:pos x="connsiteX4829" y="connsiteY4829"/>
              </a:cxn>
              <a:cxn ang="0">
                <a:pos x="connsiteX4830" y="connsiteY4830"/>
              </a:cxn>
              <a:cxn ang="0">
                <a:pos x="connsiteX4831" y="connsiteY4831"/>
              </a:cxn>
              <a:cxn ang="0">
                <a:pos x="connsiteX4832" y="connsiteY4832"/>
              </a:cxn>
              <a:cxn ang="0">
                <a:pos x="connsiteX4833" y="connsiteY4833"/>
              </a:cxn>
              <a:cxn ang="0">
                <a:pos x="connsiteX4834" y="connsiteY4834"/>
              </a:cxn>
              <a:cxn ang="0">
                <a:pos x="connsiteX4835" y="connsiteY4835"/>
              </a:cxn>
              <a:cxn ang="0">
                <a:pos x="connsiteX4836" y="connsiteY4836"/>
              </a:cxn>
              <a:cxn ang="0">
                <a:pos x="connsiteX4837" y="connsiteY4837"/>
              </a:cxn>
              <a:cxn ang="0">
                <a:pos x="connsiteX4838" y="connsiteY4838"/>
              </a:cxn>
              <a:cxn ang="0">
                <a:pos x="connsiteX4839" y="connsiteY4839"/>
              </a:cxn>
              <a:cxn ang="0">
                <a:pos x="connsiteX4840" y="connsiteY4840"/>
              </a:cxn>
              <a:cxn ang="0">
                <a:pos x="connsiteX4841" y="connsiteY4841"/>
              </a:cxn>
              <a:cxn ang="0">
                <a:pos x="connsiteX4842" y="connsiteY4842"/>
              </a:cxn>
              <a:cxn ang="0">
                <a:pos x="connsiteX4843" y="connsiteY4843"/>
              </a:cxn>
              <a:cxn ang="0">
                <a:pos x="connsiteX4844" y="connsiteY4844"/>
              </a:cxn>
              <a:cxn ang="0">
                <a:pos x="connsiteX4845" y="connsiteY4845"/>
              </a:cxn>
              <a:cxn ang="0">
                <a:pos x="connsiteX4846" y="connsiteY4846"/>
              </a:cxn>
              <a:cxn ang="0">
                <a:pos x="connsiteX4847" y="connsiteY4847"/>
              </a:cxn>
              <a:cxn ang="0">
                <a:pos x="connsiteX4848" y="connsiteY4848"/>
              </a:cxn>
              <a:cxn ang="0">
                <a:pos x="connsiteX4849" y="connsiteY4849"/>
              </a:cxn>
              <a:cxn ang="0">
                <a:pos x="connsiteX4850" y="connsiteY4850"/>
              </a:cxn>
              <a:cxn ang="0">
                <a:pos x="connsiteX4851" y="connsiteY4851"/>
              </a:cxn>
              <a:cxn ang="0">
                <a:pos x="connsiteX4852" y="connsiteY4852"/>
              </a:cxn>
              <a:cxn ang="0">
                <a:pos x="connsiteX4853" y="connsiteY4853"/>
              </a:cxn>
              <a:cxn ang="0">
                <a:pos x="connsiteX4854" y="connsiteY4854"/>
              </a:cxn>
              <a:cxn ang="0">
                <a:pos x="connsiteX4855" y="connsiteY4855"/>
              </a:cxn>
              <a:cxn ang="0">
                <a:pos x="connsiteX4856" y="connsiteY4856"/>
              </a:cxn>
              <a:cxn ang="0">
                <a:pos x="connsiteX4857" y="connsiteY4857"/>
              </a:cxn>
              <a:cxn ang="0">
                <a:pos x="connsiteX4858" y="connsiteY4858"/>
              </a:cxn>
              <a:cxn ang="0">
                <a:pos x="connsiteX4859" y="connsiteY4859"/>
              </a:cxn>
              <a:cxn ang="0">
                <a:pos x="connsiteX4860" y="connsiteY4860"/>
              </a:cxn>
              <a:cxn ang="0">
                <a:pos x="connsiteX4861" y="connsiteY4861"/>
              </a:cxn>
              <a:cxn ang="0">
                <a:pos x="connsiteX4862" y="connsiteY4862"/>
              </a:cxn>
              <a:cxn ang="0">
                <a:pos x="connsiteX4863" y="connsiteY4863"/>
              </a:cxn>
              <a:cxn ang="0">
                <a:pos x="connsiteX4864" y="connsiteY4864"/>
              </a:cxn>
              <a:cxn ang="0">
                <a:pos x="connsiteX4865" y="connsiteY4865"/>
              </a:cxn>
              <a:cxn ang="0">
                <a:pos x="connsiteX4866" y="connsiteY4866"/>
              </a:cxn>
              <a:cxn ang="0">
                <a:pos x="connsiteX4867" y="connsiteY4867"/>
              </a:cxn>
              <a:cxn ang="0">
                <a:pos x="connsiteX4868" y="connsiteY4868"/>
              </a:cxn>
              <a:cxn ang="0">
                <a:pos x="connsiteX4869" y="connsiteY4869"/>
              </a:cxn>
              <a:cxn ang="0">
                <a:pos x="connsiteX4870" y="connsiteY4870"/>
              </a:cxn>
              <a:cxn ang="0">
                <a:pos x="connsiteX4871" y="connsiteY4871"/>
              </a:cxn>
              <a:cxn ang="0">
                <a:pos x="connsiteX4872" y="connsiteY4872"/>
              </a:cxn>
              <a:cxn ang="0">
                <a:pos x="connsiteX4873" y="connsiteY4873"/>
              </a:cxn>
              <a:cxn ang="0">
                <a:pos x="connsiteX4874" y="connsiteY4874"/>
              </a:cxn>
              <a:cxn ang="0">
                <a:pos x="connsiteX4875" y="connsiteY4875"/>
              </a:cxn>
              <a:cxn ang="0">
                <a:pos x="connsiteX4876" y="connsiteY4876"/>
              </a:cxn>
              <a:cxn ang="0">
                <a:pos x="connsiteX4877" y="connsiteY4877"/>
              </a:cxn>
              <a:cxn ang="0">
                <a:pos x="connsiteX4878" y="connsiteY4878"/>
              </a:cxn>
              <a:cxn ang="0">
                <a:pos x="connsiteX4879" y="connsiteY4879"/>
              </a:cxn>
              <a:cxn ang="0">
                <a:pos x="connsiteX4880" y="connsiteY4880"/>
              </a:cxn>
              <a:cxn ang="0">
                <a:pos x="connsiteX4881" y="connsiteY4881"/>
              </a:cxn>
              <a:cxn ang="0">
                <a:pos x="connsiteX4882" y="connsiteY4882"/>
              </a:cxn>
              <a:cxn ang="0">
                <a:pos x="connsiteX4883" y="connsiteY4883"/>
              </a:cxn>
              <a:cxn ang="0">
                <a:pos x="connsiteX4884" y="connsiteY4884"/>
              </a:cxn>
              <a:cxn ang="0">
                <a:pos x="connsiteX4885" y="connsiteY4885"/>
              </a:cxn>
              <a:cxn ang="0">
                <a:pos x="connsiteX4886" y="connsiteY4886"/>
              </a:cxn>
              <a:cxn ang="0">
                <a:pos x="connsiteX4887" y="connsiteY4887"/>
              </a:cxn>
              <a:cxn ang="0">
                <a:pos x="connsiteX4888" y="connsiteY4888"/>
              </a:cxn>
              <a:cxn ang="0">
                <a:pos x="connsiteX4889" y="connsiteY4889"/>
              </a:cxn>
              <a:cxn ang="0">
                <a:pos x="connsiteX4890" y="connsiteY4890"/>
              </a:cxn>
              <a:cxn ang="0">
                <a:pos x="connsiteX4891" y="connsiteY4891"/>
              </a:cxn>
              <a:cxn ang="0">
                <a:pos x="connsiteX4892" y="connsiteY4892"/>
              </a:cxn>
              <a:cxn ang="0">
                <a:pos x="connsiteX4893" y="connsiteY4893"/>
              </a:cxn>
              <a:cxn ang="0">
                <a:pos x="connsiteX4894" y="connsiteY4894"/>
              </a:cxn>
              <a:cxn ang="0">
                <a:pos x="connsiteX4895" y="connsiteY4895"/>
              </a:cxn>
              <a:cxn ang="0">
                <a:pos x="connsiteX4896" y="connsiteY4896"/>
              </a:cxn>
              <a:cxn ang="0">
                <a:pos x="connsiteX4897" y="connsiteY4897"/>
              </a:cxn>
              <a:cxn ang="0">
                <a:pos x="connsiteX4898" y="connsiteY4898"/>
              </a:cxn>
              <a:cxn ang="0">
                <a:pos x="connsiteX4899" y="connsiteY4899"/>
              </a:cxn>
              <a:cxn ang="0">
                <a:pos x="connsiteX4900" y="connsiteY4900"/>
              </a:cxn>
              <a:cxn ang="0">
                <a:pos x="connsiteX4901" y="connsiteY4901"/>
              </a:cxn>
              <a:cxn ang="0">
                <a:pos x="connsiteX4902" y="connsiteY4902"/>
              </a:cxn>
              <a:cxn ang="0">
                <a:pos x="connsiteX4903" y="connsiteY4903"/>
              </a:cxn>
              <a:cxn ang="0">
                <a:pos x="connsiteX4904" y="connsiteY4904"/>
              </a:cxn>
              <a:cxn ang="0">
                <a:pos x="connsiteX4905" y="connsiteY4905"/>
              </a:cxn>
              <a:cxn ang="0">
                <a:pos x="connsiteX4906" y="connsiteY4906"/>
              </a:cxn>
              <a:cxn ang="0">
                <a:pos x="connsiteX4907" y="connsiteY4907"/>
              </a:cxn>
              <a:cxn ang="0">
                <a:pos x="connsiteX4908" y="connsiteY4908"/>
              </a:cxn>
              <a:cxn ang="0">
                <a:pos x="connsiteX4909" y="connsiteY4909"/>
              </a:cxn>
              <a:cxn ang="0">
                <a:pos x="connsiteX4910" y="connsiteY4910"/>
              </a:cxn>
              <a:cxn ang="0">
                <a:pos x="connsiteX4911" y="connsiteY4911"/>
              </a:cxn>
              <a:cxn ang="0">
                <a:pos x="connsiteX4912" y="connsiteY4912"/>
              </a:cxn>
              <a:cxn ang="0">
                <a:pos x="connsiteX4913" y="connsiteY4913"/>
              </a:cxn>
              <a:cxn ang="0">
                <a:pos x="connsiteX4914" y="connsiteY4914"/>
              </a:cxn>
              <a:cxn ang="0">
                <a:pos x="connsiteX4915" y="connsiteY4915"/>
              </a:cxn>
              <a:cxn ang="0">
                <a:pos x="connsiteX4916" y="connsiteY4916"/>
              </a:cxn>
              <a:cxn ang="0">
                <a:pos x="connsiteX4917" y="connsiteY4917"/>
              </a:cxn>
              <a:cxn ang="0">
                <a:pos x="connsiteX4918" y="connsiteY4918"/>
              </a:cxn>
              <a:cxn ang="0">
                <a:pos x="connsiteX4919" y="connsiteY4919"/>
              </a:cxn>
              <a:cxn ang="0">
                <a:pos x="connsiteX4920" y="connsiteY4920"/>
              </a:cxn>
              <a:cxn ang="0">
                <a:pos x="connsiteX4921" y="connsiteY4921"/>
              </a:cxn>
              <a:cxn ang="0">
                <a:pos x="connsiteX4922" y="connsiteY4922"/>
              </a:cxn>
              <a:cxn ang="0">
                <a:pos x="connsiteX4923" y="connsiteY4923"/>
              </a:cxn>
              <a:cxn ang="0">
                <a:pos x="connsiteX4924" y="connsiteY4924"/>
              </a:cxn>
              <a:cxn ang="0">
                <a:pos x="connsiteX4925" y="connsiteY4925"/>
              </a:cxn>
              <a:cxn ang="0">
                <a:pos x="connsiteX4926" y="connsiteY4926"/>
              </a:cxn>
              <a:cxn ang="0">
                <a:pos x="connsiteX4927" y="connsiteY4927"/>
              </a:cxn>
              <a:cxn ang="0">
                <a:pos x="connsiteX4928" y="connsiteY4928"/>
              </a:cxn>
              <a:cxn ang="0">
                <a:pos x="connsiteX4929" y="connsiteY4929"/>
              </a:cxn>
              <a:cxn ang="0">
                <a:pos x="connsiteX4930" y="connsiteY4930"/>
              </a:cxn>
              <a:cxn ang="0">
                <a:pos x="connsiteX4931" y="connsiteY4931"/>
              </a:cxn>
              <a:cxn ang="0">
                <a:pos x="connsiteX4932" y="connsiteY4932"/>
              </a:cxn>
              <a:cxn ang="0">
                <a:pos x="connsiteX4933" y="connsiteY4933"/>
              </a:cxn>
              <a:cxn ang="0">
                <a:pos x="connsiteX4934" y="connsiteY4934"/>
              </a:cxn>
              <a:cxn ang="0">
                <a:pos x="connsiteX4935" y="connsiteY4935"/>
              </a:cxn>
              <a:cxn ang="0">
                <a:pos x="connsiteX4936" y="connsiteY4936"/>
              </a:cxn>
              <a:cxn ang="0">
                <a:pos x="connsiteX4937" y="connsiteY4937"/>
              </a:cxn>
              <a:cxn ang="0">
                <a:pos x="connsiteX4938" y="connsiteY4938"/>
              </a:cxn>
              <a:cxn ang="0">
                <a:pos x="connsiteX4939" y="connsiteY4939"/>
              </a:cxn>
              <a:cxn ang="0">
                <a:pos x="connsiteX4940" y="connsiteY4940"/>
              </a:cxn>
              <a:cxn ang="0">
                <a:pos x="connsiteX4941" y="connsiteY4941"/>
              </a:cxn>
              <a:cxn ang="0">
                <a:pos x="connsiteX4942" y="connsiteY4942"/>
              </a:cxn>
              <a:cxn ang="0">
                <a:pos x="connsiteX4943" y="connsiteY4943"/>
              </a:cxn>
              <a:cxn ang="0">
                <a:pos x="connsiteX4944" y="connsiteY4944"/>
              </a:cxn>
              <a:cxn ang="0">
                <a:pos x="connsiteX4945" y="connsiteY4945"/>
              </a:cxn>
              <a:cxn ang="0">
                <a:pos x="connsiteX4946" y="connsiteY4946"/>
              </a:cxn>
              <a:cxn ang="0">
                <a:pos x="connsiteX4947" y="connsiteY4947"/>
              </a:cxn>
              <a:cxn ang="0">
                <a:pos x="connsiteX4948" y="connsiteY4948"/>
              </a:cxn>
              <a:cxn ang="0">
                <a:pos x="connsiteX4949" y="connsiteY4949"/>
              </a:cxn>
              <a:cxn ang="0">
                <a:pos x="connsiteX4950" y="connsiteY4950"/>
              </a:cxn>
              <a:cxn ang="0">
                <a:pos x="connsiteX4951" y="connsiteY4951"/>
              </a:cxn>
              <a:cxn ang="0">
                <a:pos x="connsiteX4952" y="connsiteY4952"/>
              </a:cxn>
              <a:cxn ang="0">
                <a:pos x="connsiteX4953" y="connsiteY4953"/>
              </a:cxn>
              <a:cxn ang="0">
                <a:pos x="connsiteX4954" y="connsiteY4954"/>
              </a:cxn>
              <a:cxn ang="0">
                <a:pos x="connsiteX4955" y="connsiteY4955"/>
              </a:cxn>
              <a:cxn ang="0">
                <a:pos x="connsiteX4956" y="connsiteY4956"/>
              </a:cxn>
              <a:cxn ang="0">
                <a:pos x="connsiteX4957" y="connsiteY4957"/>
              </a:cxn>
              <a:cxn ang="0">
                <a:pos x="connsiteX4958" y="connsiteY4958"/>
              </a:cxn>
              <a:cxn ang="0">
                <a:pos x="connsiteX4959" y="connsiteY4959"/>
              </a:cxn>
              <a:cxn ang="0">
                <a:pos x="connsiteX4960" y="connsiteY4960"/>
              </a:cxn>
              <a:cxn ang="0">
                <a:pos x="connsiteX4961" y="connsiteY4961"/>
              </a:cxn>
              <a:cxn ang="0">
                <a:pos x="connsiteX4962" y="connsiteY4962"/>
              </a:cxn>
              <a:cxn ang="0">
                <a:pos x="connsiteX4963" y="connsiteY4963"/>
              </a:cxn>
              <a:cxn ang="0">
                <a:pos x="connsiteX4964" y="connsiteY4964"/>
              </a:cxn>
              <a:cxn ang="0">
                <a:pos x="connsiteX4965" y="connsiteY4965"/>
              </a:cxn>
              <a:cxn ang="0">
                <a:pos x="connsiteX4966" y="connsiteY4966"/>
              </a:cxn>
              <a:cxn ang="0">
                <a:pos x="connsiteX4967" y="connsiteY4967"/>
              </a:cxn>
              <a:cxn ang="0">
                <a:pos x="connsiteX4968" y="connsiteY4968"/>
              </a:cxn>
              <a:cxn ang="0">
                <a:pos x="connsiteX4969" y="connsiteY4969"/>
              </a:cxn>
              <a:cxn ang="0">
                <a:pos x="connsiteX4970" y="connsiteY4970"/>
              </a:cxn>
              <a:cxn ang="0">
                <a:pos x="connsiteX4971" y="connsiteY4971"/>
              </a:cxn>
              <a:cxn ang="0">
                <a:pos x="connsiteX4972" y="connsiteY4972"/>
              </a:cxn>
              <a:cxn ang="0">
                <a:pos x="connsiteX4973" y="connsiteY4973"/>
              </a:cxn>
              <a:cxn ang="0">
                <a:pos x="connsiteX4974" y="connsiteY4974"/>
              </a:cxn>
              <a:cxn ang="0">
                <a:pos x="connsiteX4975" y="connsiteY4975"/>
              </a:cxn>
              <a:cxn ang="0">
                <a:pos x="connsiteX4976" y="connsiteY4976"/>
              </a:cxn>
              <a:cxn ang="0">
                <a:pos x="connsiteX4977" y="connsiteY4977"/>
              </a:cxn>
              <a:cxn ang="0">
                <a:pos x="connsiteX4978" y="connsiteY4978"/>
              </a:cxn>
              <a:cxn ang="0">
                <a:pos x="connsiteX4979" y="connsiteY4979"/>
              </a:cxn>
              <a:cxn ang="0">
                <a:pos x="connsiteX4980" y="connsiteY4980"/>
              </a:cxn>
              <a:cxn ang="0">
                <a:pos x="connsiteX4981" y="connsiteY4981"/>
              </a:cxn>
              <a:cxn ang="0">
                <a:pos x="connsiteX4982" y="connsiteY4982"/>
              </a:cxn>
              <a:cxn ang="0">
                <a:pos x="connsiteX4983" y="connsiteY4983"/>
              </a:cxn>
              <a:cxn ang="0">
                <a:pos x="connsiteX4984" y="connsiteY4984"/>
              </a:cxn>
              <a:cxn ang="0">
                <a:pos x="connsiteX4985" y="connsiteY4985"/>
              </a:cxn>
              <a:cxn ang="0">
                <a:pos x="connsiteX4986" y="connsiteY4986"/>
              </a:cxn>
              <a:cxn ang="0">
                <a:pos x="connsiteX4987" y="connsiteY4987"/>
              </a:cxn>
              <a:cxn ang="0">
                <a:pos x="connsiteX4988" y="connsiteY4988"/>
              </a:cxn>
              <a:cxn ang="0">
                <a:pos x="connsiteX4989" y="connsiteY4989"/>
              </a:cxn>
              <a:cxn ang="0">
                <a:pos x="connsiteX4990" y="connsiteY4990"/>
              </a:cxn>
              <a:cxn ang="0">
                <a:pos x="connsiteX4991" y="connsiteY4991"/>
              </a:cxn>
              <a:cxn ang="0">
                <a:pos x="connsiteX4992" y="connsiteY4992"/>
              </a:cxn>
              <a:cxn ang="0">
                <a:pos x="connsiteX4993" y="connsiteY4993"/>
              </a:cxn>
              <a:cxn ang="0">
                <a:pos x="connsiteX4994" y="connsiteY4994"/>
              </a:cxn>
              <a:cxn ang="0">
                <a:pos x="connsiteX4995" y="connsiteY4995"/>
              </a:cxn>
              <a:cxn ang="0">
                <a:pos x="connsiteX4996" y="connsiteY4996"/>
              </a:cxn>
              <a:cxn ang="0">
                <a:pos x="connsiteX4997" y="connsiteY4997"/>
              </a:cxn>
              <a:cxn ang="0">
                <a:pos x="connsiteX4998" y="connsiteY4998"/>
              </a:cxn>
              <a:cxn ang="0">
                <a:pos x="connsiteX4999" y="connsiteY4999"/>
              </a:cxn>
              <a:cxn ang="0">
                <a:pos x="connsiteX5000" y="connsiteY5000"/>
              </a:cxn>
              <a:cxn ang="0">
                <a:pos x="connsiteX5001" y="connsiteY5001"/>
              </a:cxn>
              <a:cxn ang="0">
                <a:pos x="connsiteX5002" y="connsiteY5002"/>
              </a:cxn>
              <a:cxn ang="0">
                <a:pos x="connsiteX5003" y="connsiteY5003"/>
              </a:cxn>
              <a:cxn ang="0">
                <a:pos x="connsiteX5004" y="connsiteY5004"/>
              </a:cxn>
              <a:cxn ang="0">
                <a:pos x="connsiteX5005" y="connsiteY5005"/>
              </a:cxn>
              <a:cxn ang="0">
                <a:pos x="connsiteX5006" y="connsiteY5006"/>
              </a:cxn>
              <a:cxn ang="0">
                <a:pos x="connsiteX5007" y="connsiteY5007"/>
              </a:cxn>
              <a:cxn ang="0">
                <a:pos x="connsiteX5008" y="connsiteY5008"/>
              </a:cxn>
              <a:cxn ang="0">
                <a:pos x="connsiteX5009" y="connsiteY5009"/>
              </a:cxn>
              <a:cxn ang="0">
                <a:pos x="connsiteX5010" y="connsiteY5010"/>
              </a:cxn>
              <a:cxn ang="0">
                <a:pos x="connsiteX5011" y="connsiteY5011"/>
              </a:cxn>
              <a:cxn ang="0">
                <a:pos x="connsiteX5012" y="connsiteY5012"/>
              </a:cxn>
              <a:cxn ang="0">
                <a:pos x="connsiteX5013" y="connsiteY5013"/>
              </a:cxn>
              <a:cxn ang="0">
                <a:pos x="connsiteX5014" y="connsiteY5014"/>
              </a:cxn>
              <a:cxn ang="0">
                <a:pos x="connsiteX5015" y="connsiteY5015"/>
              </a:cxn>
              <a:cxn ang="0">
                <a:pos x="connsiteX5016" y="connsiteY5016"/>
              </a:cxn>
              <a:cxn ang="0">
                <a:pos x="connsiteX5017" y="connsiteY5017"/>
              </a:cxn>
              <a:cxn ang="0">
                <a:pos x="connsiteX5018" y="connsiteY5018"/>
              </a:cxn>
              <a:cxn ang="0">
                <a:pos x="connsiteX5019" y="connsiteY5019"/>
              </a:cxn>
              <a:cxn ang="0">
                <a:pos x="connsiteX5020" y="connsiteY5020"/>
              </a:cxn>
              <a:cxn ang="0">
                <a:pos x="connsiteX5021" y="connsiteY5021"/>
              </a:cxn>
              <a:cxn ang="0">
                <a:pos x="connsiteX5022" y="connsiteY5022"/>
              </a:cxn>
              <a:cxn ang="0">
                <a:pos x="connsiteX5023" y="connsiteY5023"/>
              </a:cxn>
              <a:cxn ang="0">
                <a:pos x="connsiteX5024" y="connsiteY5024"/>
              </a:cxn>
              <a:cxn ang="0">
                <a:pos x="connsiteX5025" y="connsiteY5025"/>
              </a:cxn>
              <a:cxn ang="0">
                <a:pos x="connsiteX5026" y="connsiteY5026"/>
              </a:cxn>
              <a:cxn ang="0">
                <a:pos x="connsiteX5027" y="connsiteY5027"/>
              </a:cxn>
              <a:cxn ang="0">
                <a:pos x="connsiteX5028" y="connsiteY5028"/>
              </a:cxn>
              <a:cxn ang="0">
                <a:pos x="connsiteX5029" y="connsiteY5029"/>
              </a:cxn>
              <a:cxn ang="0">
                <a:pos x="connsiteX5030" y="connsiteY5030"/>
              </a:cxn>
              <a:cxn ang="0">
                <a:pos x="connsiteX5031" y="connsiteY5031"/>
              </a:cxn>
              <a:cxn ang="0">
                <a:pos x="connsiteX5032" y="connsiteY5032"/>
              </a:cxn>
              <a:cxn ang="0">
                <a:pos x="connsiteX5033" y="connsiteY5033"/>
              </a:cxn>
              <a:cxn ang="0">
                <a:pos x="connsiteX5034" y="connsiteY5034"/>
              </a:cxn>
              <a:cxn ang="0">
                <a:pos x="connsiteX5035" y="connsiteY5035"/>
              </a:cxn>
              <a:cxn ang="0">
                <a:pos x="connsiteX5036" y="connsiteY5036"/>
              </a:cxn>
              <a:cxn ang="0">
                <a:pos x="connsiteX5037" y="connsiteY5037"/>
              </a:cxn>
              <a:cxn ang="0">
                <a:pos x="connsiteX5038" y="connsiteY5038"/>
              </a:cxn>
              <a:cxn ang="0">
                <a:pos x="connsiteX5039" y="connsiteY5039"/>
              </a:cxn>
              <a:cxn ang="0">
                <a:pos x="connsiteX5040" y="connsiteY5040"/>
              </a:cxn>
              <a:cxn ang="0">
                <a:pos x="connsiteX5041" y="connsiteY5041"/>
              </a:cxn>
              <a:cxn ang="0">
                <a:pos x="connsiteX5042" y="connsiteY5042"/>
              </a:cxn>
              <a:cxn ang="0">
                <a:pos x="connsiteX5043" y="connsiteY5043"/>
              </a:cxn>
              <a:cxn ang="0">
                <a:pos x="connsiteX5044" y="connsiteY5044"/>
              </a:cxn>
              <a:cxn ang="0">
                <a:pos x="connsiteX5045" y="connsiteY5045"/>
              </a:cxn>
              <a:cxn ang="0">
                <a:pos x="connsiteX5046" y="connsiteY5046"/>
              </a:cxn>
              <a:cxn ang="0">
                <a:pos x="connsiteX5047" y="connsiteY5047"/>
              </a:cxn>
              <a:cxn ang="0">
                <a:pos x="connsiteX5048" y="connsiteY5048"/>
              </a:cxn>
              <a:cxn ang="0">
                <a:pos x="connsiteX5049" y="connsiteY5049"/>
              </a:cxn>
              <a:cxn ang="0">
                <a:pos x="connsiteX5050" y="connsiteY5050"/>
              </a:cxn>
              <a:cxn ang="0">
                <a:pos x="connsiteX5051" y="connsiteY5051"/>
              </a:cxn>
              <a:cxn ang="0">
                <a:pos x="connsiteX5052" y="connsiteY5052"/>
              </a:cxn>
              <a:cxn ang="0">
                <a:pos x="connsiteX5053" y="connsiteY5053"/>
              </a:cxn>
              <a:cxn ang="0">
                <a:pos x="connsiteX5054" y="connsiteY5054"/>
              </a:cxn>
              <a:cxn ang="0">
                <a:pos x="connsiteX5055" y="connsiteY5055"/>
              </a:cxn>
              <a:cxn ang="0">
                <a:pos x="connsiteX5056" y="connsiteY5056"/>
              </a:cxn>
              <a:cxn ang="0">
                <a:pos x="connsiteX5057" y="connsiteY5057"/>
              </a:cxn>
              <a:cxn ang="0">
                <a:pos x="connsiteX5058" y="connsiteY5058"/>
              </a:cxn>
              <a:cxn ang="0">
                <a:pos x="connsiteX5059" y="connsiteY5059"/>
              </a:cxn>
              <a:cxn ang="0">
                <a:pos x="connsiteX5060" y="connsiteY5060"/>
              </a:cxn>
              <a:cxn ang="0">
                <a:pos x="connsiteX5061" y="connsiteY5061"/>
              </a:cxn>
              <a:cxn ang="0">
                <a:pos x="connsiteX5062" y="connsiteY5062"/>
              </a:cxn>
              <a:cxn ang="0">
                <a:pos x="connsiteX5063" y="connsiteY5063"/>
              </a:cxn>
              <a:cxn ang="0">
                <a:pos x="connsiteX5064" y="connsiteY5064"/>
              </a:cxn>
              <a:cxn ang="0">
                <a:pos x="connsiteX5065" y="connsiteY5065"/>
              </a:cxn>
              <a:cxn ang="0">
                <a:pos x="connsiteX5066" y="connsiteY5066"/>
              </a:cxn>
              <a:cxn ang="0">
                <a:pos x="connsiteX5067" y="connsiteY5067"/>
              </a:cxn>
              <a:cxn ang="0">
                <a:pos x="connsiteX5068" y="connsiteY5068"/>
              </a:cxn>
              <a:cxn ang="0">
                <a:pos x="connsiteX5069" y="connsiteY5069"/>
              </a:cxn>
              <a:cxn ang="0">
                <a:pos x="connsiteX5070" y="connsiteY5070"/>
              </a:cxn>
              <a:cxn ang="0">
                <a:pos x="connsiteX5071" y="connsiteY5071"/>
              </a:cxn>
              <a:cxn ang="0">
                <a:pos x="connsiteX5072" y="connsiteY5072"/>
              </a:cxn>
              <a:cxn ang="0">
                <a:pos x="connsiteX5073" y="connsiteY5073"/>
              </a:cxn>
              <a:cxn ang="0">
                <a:pos x="connsiteX5074" y="connsiteY5074"/>
              </a:cxn>
              <a:cxn ang="0">
                <a:pos x="connsiteX5075" y="connsiteY5075"/>
              </a:cxn>
              <a:cxn ang="0">
                <a:pos x="connsiteX5076" y="connsiteY5076"/>
              </a:cxn>
              <a:cxn ang="0">
                <a:pos x="connsiteX5077" y="connsiteY5077"/>
              </a:cxn>
              <a:cxn ang="0">
                <a:pos x="connsiteX5078" y="connsiteY5078"/>
              </a:cxn>
              <a:cxn ang="0">
                <a:pos x="connsiteX5079" y="connsiteY5079"/>
              </a:cxn>
              <a:cxn ang="0">
                <a:pos x="connsiteX5080" y="connsiteY5080"/>
              </a:cxn>
              <a:cxn ang="0">
                <a:pos x="connsiteX5081" y="connsiteY5081"/>
              </a:cxn>
              <a:cxn ang="0">
                <a:pos x="connsiteX5082" y="connsiteY5082"/>
              </a:cxn>
              <a:cxn ang="0">
                <a:pos x="connsiteX5083" y="connsiteY5083"/>
              </a:cxn>
              <a:cxn ang="0">
                <a:pos x="connsiteX5084" y="connsiteY5084"/>
              </a:cxn>
              <a:cxn ang="0">
                <a:pos x="connsiteX5085" y="connsiteY5085"/>
              </a:cxn>
              <a:cxn ang="0">
                <a:pos x="connsiteX5086" y="connsiteY5086"/>
              </a:cxn>
              <a:cxn ang="0">
                <a:pos x="connsiteX5087" y="connsiteY5087"/>
              </a:cxn>
              <a:cxn ang="0">
                <a:pos x="connsiteX5088" y="connsiteY5088"/>
              </a:cxn>
              <a:cxn ang="0">
                <a:pos x="connsiteX5089" y="connsiteY5089"/>
              </a:cxn>
              <a:cxn ang="0">
                <a:pos x="connsiteX5090" y="connsiteY5090"/>
              </a:cxn>
              <a:cxn ang="0">
                <a:pos x="connsiteX5091" y="connsiteY5091"/>
              </a:cxn>
              <a:cxn ang="0">
                <a:pos x="connsiteX5092" y="connsiteY5092"/>
              </a:cxn>
              <a:cxn ang="0">
                <a:pos x="connsiteX5093" y="connsiteY5093"/>
              </a:cxn>
              <a:cxn ang="0">
                <a:pos x="connsiteX5094" y="connsiteY5094"/>
              </a:cxn>
              <a:cxn ang="0">
                <a:pos x="connsiteX5095" y="connsiteY5095"/>
              </a:cxn>
              <a:cxn ang="0">
                <a:pos x="connsiteX5096" y="connsiteY5096"/>
              </a:cxn>
              <a:cxn ang="0">
                <a:pos x="connsiteX5097" y="connsiteY5097"/>
              </a:cxn>
              <a:cxn ang="0">
                <a:pos x="connsiteX5098" y="connsiteY5098"/>
              </a:cxn>
              <a:cxn ang="0">
                <a:pos x="connsiteX5099" y="connsiteY5099"/>
              </a:cxn>
              <a:cxn ang="0">
                <a:pos x="connsiteX5100" y="connsiteY5100"/>
              </a:cxn>
              <a:cxn ang="0">
                <a:pos x="connsiteX5101" y="connsiteY5101"/>
              </a:cxn>
              <a:cxn ang="0">
                <a:pos x="connsiteX5102" y="connsiteY5102"/>
              </a:cxn>
              <a:cxn ang="0">
                <a:pos x="connsiteX5103" y="connsiteY5103"/>
              </a:cxn>
              <a:cxn ang="0">
                <a:pos x="connsiteX5104" y="connsiteY5104"/>
              </a:cxn>
              <a:cxn ang="0">
                <a:pos x="connsiteX5105" y="connsiteY5105"/>
              </a:cxn>
              <a:cxn ang="0">
                <a:pos x="connsiteX5106" y="connsiteY5106"/>
              </a:cxn>
              <a:cxn ang="0">
                <a:pos x="connsiteX5107" y="connsiteY5107"/>
              </a:cxn>
              <a:cxn ang="0">
                <a:pos x="connsiteX5108" y="connsiteY5108"/>
              </a:cxn>
              <a:cxn ang="0">
                <a:pos x="connsiteX5109" y="connsiteY5109"/>
              </a:cxn>
              <a:cxn ang="0">
                <a:pos x="connsiteX5110" y="connsiteY5110"/>
              </a:cxn>
              <a:cxn ang="0">
                <a:pos x="connsiteX5111" y="connsiteY5111"/>
              </a:cxn>
              <a:cxn ang="0">
                <a:pos x="connsiteX5112" y="connsiteY5112"/>
              </a:cxn>
              <a:cxn ang="0">
                <a:pos x="connsiteX5113" y="connsiteY5113"/>
              </a:cxn>
              <a:cxn ang="0">
                <a:pos x="connsiteX5114" y="connsiteY5114"/>
              </a:cxn>
              <a:cxn ang="0">
                <a:pos x="connsiteX5115" y="connsiteY5115"/>
              </a:cxn>
              <a:cxn ang="0">
                <a:pos x="connsiteX5116" y="connsiteY5116"/>
              </a:cxn>
              <a:cxn ang="0">
                <a:pos x="connsiteX5117" y="connsiteY5117"/>
              </a:cxn>
              <a:cxn ang="0">
                <a:pos x="connsiteX5118" y="connsiteY5118"/>
              </a:cxn>
              <a:cxn ang="0">
                <a:pos x="connsiteX5119" y="connsiteY5119"/>
              </a:cxn>
              <a:cxn ang="0">
                <a:pos x="connsiteX5120" y="connsiteY5120"/>
              </a:cxn>
              <a:cxn ang="0">
                <a:pos x="connsiteX5121" y="connsiteY5121"/>
              </a:cxn>
              <a:cxn ang="0">
                <a:pos x="connsiteX5122" y="connsiteY5122"/>
              </a:cxn>
              <a:cxn ang="0">
                <a:pos x="connsiteX5123" y="connsiteY5123"/>
              </a:cxn>
              <a:cxn ang="0">
                <a:pos x="connsiteX5124" y="connsiteY5124"/>
              </a:cxn>
              <a:cxn ang="0">
                <a:pos x="connsiteX5125" y="connsiteY5125"/>
              </a:cxn>
              <a:cxn ang="0">
                <a:pos x="connsiteX5126" y="connsiteY5126"/>
              </a:cxn>
              <a:cxn ang="0">
                <a:pos x="connsiteX5127" y="connsiteY5127"/>
              </a:cxn>
              <a:cxn ang="0">
                <a:pos x="connsiteX5128" y="connsiteY5128"/>
              </a:cxn>
              <a:cxn ang="0">
                <a:pos x="connsiteX5129" y="connsiteY5129"/>
              </a:cxn>
              <a:cxn ang="0">
                <a:pos x="connsiteX5130" y="connsiteY5130"/>
              </a:cxn>
              <a:cxn ang="0">
                <a:pos x="connsiteX5131" y="connsiteY5131"/>
              </a:cxn>
              <a:cxn ang="0">
                <a:pos x="connsiteX5132" y="connsiteY5132"/>
              </a:cxn>
              <a:cxn ang="0">
                <a:pos x="connsiteX5133" y="connsiteY5133"/>
              </a:cxn>
              <a:cxn ang="0">
                <a:pos x="connsiteX5134" y="connsiteY5134"/>
              </a:cxn>
              <a:cxn ang="0">
                <a:pos x="connsiteX5135" y="connsiteY5135"/>
              </a:cxn>
              <a:cxn ang="0">
                <a:pos x="connsiteX5136" y="connsiteY5136"/>
              </a:cxn>
              <a:cxn ang="0">
                <a:pos x="connsiteX5137" y="connsiteY5137"/>
              </a:cxn>
              <a:cxn ang="0">
                <a:pos x="connsiteX5138" y="connsiteY5138"/>
              </a:cxn>
              <a:cxn ang="0">
                <a:pos x="connsiteX5139" y="connsiteY5139"/>
              </a:cxn>
              <a:cxn ang="0">
                <a:pos x="connsiteX5140" y="connsiteY5140"/>
              </a:cxn>
              <a:cxn ang="0">
                <a:pos x="connsiteX5141" y="connsiteY5141"/>
              </a:cxn>
              <a:cxn ang="0">
                <a:pos x="connsiteX5142" y="connsiteY5142"/>
              </a:cxn>
              <a:cxn ang="0">
                <a:pos x="connsiteX5143" y="connsiteY5143"/>
              </a:cxn>
              <a:cxn ang="0">
                <a:pos x="connsiteX5144" y="connsiteY5144"/>
              </a:cxn>
              <a:cxn ang="0">
                <a:pos x="connsiteX5145" y="connsiteY5145"/>
              </a:cxn>
              <a:cxn ang="0">
                <a:pos x="connsiteX5146" y="connsiteY5146"/>
              </a:cxn>
              <a:cxn ang="0">
                <a:pos x="connsiteX5147" y="connsiteY5147"/>
              </a:cxn>
              <a:cxn ang="0">
                <a:pos x="connsiteX5148" y="connsiteY5148"/>
              </a:cxn>
              <a:cxn ang="0">
                <a:pos x="connsiteX5149" y="connsiteY5149"/>
              </a:cxn>
              <a:cxn ang="0">
                <a:pos x="connsiteX5150" y="connsiteY5150"/>
              </a:cxn>
              <a:cxn ang="0">
                <a:pos x="connsiteX5151" y="connsiteY5151"/>
              </a:cxn>
              <a:cxn ang="0">
                <a:pos x="connsiteX5152" y="connsiteY5152"/>
              </a:cxn>
              <a:cxn ang="0">
                <a:pos x="connsiteX5153" y="connsiteY5153"/>
              </a:cxn>
              <a:cxn ang="0">
                <a:pos x="connsiteX5154" y="connsiteY5154"/>
              </a:cxn>
              <a:cxn ang="0">
                <a:pos x="connsiteX5155" y="connsiteY5155"/>
              </a:cxn>
              <a:cxn ang="0">
                <a:pos x="connsiteX5156" y="connsiteY5156"/>
              </a:cxn>
              <a:cxn ang="0">
                <a:pos x="connsiteX5157" y="connsiteY5157"/>
              </a:cxn>
              <a:cxn ang="0">
                <a:pos x="connsiteX5158" y="connsiteY5158"/>
              </a:cxn>
              <a:cxn ang="0">
                <a:pos x="connsiteX5159" y="connsiteY5159"/>
              </a:cxn>
              <a:cxn ang="0">
                <a:pos x="connsiteX5160" y="connsiteY5160"/>
              </a:cxn>
              <a:cxn ang="0">
                <a:pos x="connsiteX5161" y="connsiteY5161"/>
              </a:cxn>
              <a:cxn ang="0">
                <a:pos x="connsiteX5162" y="connsiteY5162"/>
              </a:cxn>
              <a:cxn ang="0">
                <a:pos x="connsiteX5163" y="connsiteY5163"/>
              </a:cxn>
              <a:cxn ang="0">
                <a:pos x="connsiteX5164" y="connsiteY5164"/>
              </a:cxn>
              <a:cxn ang="0">
                <a:pos x="connsiteX5165" y="connsiteY5165"/>
              </a:cxn>
              <a:cxn ang="0">
                <a:pos x="connsiteX5166" y="connsiteY5166"/>
              </a:cxn>
              <a:cxn ang="0">
                <a:pos x="connsiteX5167" y="connsiteY5167"/>
              </a:cxn>
              <a:cxn ang="0">
                <a:pos x="connsiteX5168" y="connsiteY5168"/>
              </a:cxn>
              <a:cxn ang="0">
                <a:pos x="connsiteX5169" y="connsiteY5169"/>
              </a:cxn>
              <a:cxn ang="0">
                <a:pos x="connsiteX5170" y="connsiteY5170"/>
              </a:cxn>
              <a:cxn ang="0">
                <a:pos x="connsiteX5171" y="connsiteY5171"/>
              </a:cxn>
              <a:cxn ang="0">
                <a:pos x="connsiteX5172" y="connsiteY5172"/>
              </a:cxn>
              <a:cxn ang="0">
                <a:pos x="connsiteX5173" y="connsiteY5173"/>
              </a:cxn>
              <a:cxn ang="0">
                <a:pos x="connsiteX5174" y="connsiteY5174"/>
              </a:cxn>
              <a:cxn ang="0">
                <a:pos x="connsiteX5175" y="connsiteY5175"/>
              </a:cxn>
              <a:cxn ang="0">
                <a:pos x="connsiteX5176" y="connsiteY5176"/>
              </a:cxn>
              <a:cxn ang="0">
                <a:pos x="connsiteX5177" y="connsiteY5177"/>
              </a:cxn>
              <a:cxn ang="0">
                <a:pos x="connsiteX5178" y="connsiteY5178"/>
              </a:cxn>
              <a:cxn ang="0">
                <a:pos x="connsiteX5179" y="connsiteY5179"/>
              </a:cxn>
              <a:cxn ang="0">
                <a:pos x="connsiteX5180" y="connsiteY5180"/>
              </a:cxn>
              <a:cxn ang="0">
                <a:pos x="connsiteX5181" y="connsiteY5181"/>
              </a:cxn>
              <a:cxn ang="0">
                <a:pos x="connsiteX5182" y="connsiteY5182"/>
              </a:cxn>
              <a:cxn ang="0">
                <a:pos x="connsiteX5183" y="connsiteY5183"/>
              </a:cxn>
              <a:cxn ang="0">
                <a:pos x="connsiteX5184" y="connsiteY5184"/>
              </a:cxn>
              <a:cxn ang="0">
                <a:pos x="connsiteX5185" y="connsiteY5185"/>
              </a:cxn>
              <a:cxn ang="0">
                <a:pos x="connsiteX5186" y="connsiteY5186"/>
              </a:cxn>
              <a:cxn ang="0">
                <a:pos x="connsiteX5187" y="connsiteY5187"/>
              </a:cxn>
              <a:cxn ang="0">
                <a:pos x="connsiteX5188" y="connsiteY5188"/>
              </a:cxn>
              <a:cxn ang="0">
                <a:pos x="connsiteX5189" y="connsiteY5189"/>
              </a:cxn>
              <a:cxn ang="0">
                <a:pos x="connsiteX5190" y="connsiteY5190"/>
              </a:cxn>
              <a:cxn ang="0">
                <a:pos x="connsiteX5191" y="connsiteY5191"/>
              </a:cxn>
              <a:cxn ang="0">
                <a:pos x="connsiteX5192" y="connsiteY5192"/>
              </a:cxn>
              <a:cxn ang="0">
                <a:pos x="connsiteX5193" y="connsiteY5193"/>
              </a:cxn>
              <a:cxn ang="0">
                <a:pos x="connsiteX5194" y="connsiteY5194"/>
              </a:cxn>
              <a:cxn ang="0">
                <a:pos x="connsiteX5195" y="connsiteY5195"/>
              </a:cxn>
              <a:cxn ang="0">
                <a:pos x="connsiteX5196" y="connsiteY5196"/>
              </a:cxn>
              <a:cxn ang="0">
                <a:pos x="connsiteX5197" y="connsiteY5197"/>
              </a:cxn>
              <a:cxn ang="0">
                <a:pos x="connsiteX5198" y="connsiteY5198"/>
              </a:cxn>
              <a:cxn ang="0">
                <a:pos x="connsiteX5199" y="connsiteY5199"/>
              </a:cxn>
              <a:cxn ang="0">
                <a:pos x="connsiteX5200" y="connsiteY5200"/>
              </a:cxn>
              <a:cxn ang="0">
                <a:pos x="connsiteX5201" y="connsiteY5201"/>
              </a:cxn>
              <a:cxn ang="0">
                <a:pos x="connsiteX5202" y="connsiteY5202"/>
              </a:cxn>
              <a:cxn ang="0">
                <a:pos x="connsiteX5203" y="connsiteY5203"/>
              </a:cxn>
              <a:cxn ang="0">
                <a:pos x="connsiteX5204" y="connsiteY5204"/>
              </a:cxn>
              <a:cxn ang="0">
                <a:pos x="connsiteX5205" y="connsiteY5205"/>
              </a:cxn>
              <a:cxn ang="0">
                <a:pos x="connsiteX5206" y="connsiteY5206"/>
              </a:cxn>
              <a:cxn ang="0">
                <a:pos x="connsiteX5207" y="connsiteY5207"/>
              </a:cxn>
              <a:cxn ang="0">
                <a:pos x="connsiteX5208" y="connsiteY5208"/>
              </a:cxn>
              <a:cxn ang="0">
                <a:pos x="connsiteX5209" y="connsiteY5209"/>
              </a:cxn>
              <a:cxn ang="0">
                <a:pos x="connsiteX5210" y="connsiteY5210"/>
              </a:cxn>
              <a:cxn ang="0">
                <a:pos x="connsiteX5211" y="connsiteY5211"/>
              </a:cxn>
              <a:cxn ang="0">
                <a:pos x="connsiteX5212" y="connsiteY5212"/>
              </a:cxn>
              <a:cxn ang="0">
                <a:pos x="connsiteX5213" y="connsiteY5213"/>
              </a:cxn>
              <a:cxn ang="0">
                <a:pos x="connsiteX5214" y="connsiteY5214"/>
              </a:cxn>
              <a:cxn ang="0">
                <a:pos x="connsiteX5215" y="connsiteY5215"/>
              </a:cxn>
              <a:cxn ang="0">
                <a:pos x="connsiteX5216" y="connsiteY5216"/>
              </a:cxn>
              <a:cxn ang="0">
                <a:pos x="connsiteX5217" y="connsiteY5217"/>
              </a:cxn>
              <a:cxn ang="0">
                <a:pos x="connsiteX5218" y="connsiteY5218"/>
              </a:cxn>
              <a:cxn ang="0">
                <a:pos x="connsiteX5219" y="connsiteY5219"/>
              </a:cxn>
              <a:cxn ang="0">
                <a:pos x="connsiteX5220" y="connsiteY5220"/>
              </a:cxn>
              <a:cxn ang="0">
                <a:pos x="connsiteX5221" y="connsiteY5221"/>
              </a:cxn>
              <a:cxn ang="0">
                <a:pos x="connsiteX5222" y="connsiteY5222"/>
              </a:cxn>
              <a:cxn ang="0">
                <a:pos x="connsiteX5223" y="connsiteY5223"/>
              </a:cxn>
              <a:cxn ang="0">
                <a:pos x="connsiteX5224" y="connsiteY5224"/>
              </a:cxn>
              <a:cxn ang="0">
                <a:pos x="connsiteX5225" y="connsiteY5225"/>
              </a:cxn>
              <a:cxn ang="0">
                <a:pos x="connsiteX5226" y="connsiteY5226"/>
              </a:cxn>
              <a:cxn ang="0">
                <a:pos x="connsiteX5227" y="connsiteY5227"/>
              </a:cxn>
              <a:cxn ang="0">
                <a:pos x="connsiteX5228" y="connsiteY5228"/>
              </a:cxn>
              <a:cxn ang="0">
                <a:pos x="connsiteX5229" y="connsiteY5229"/>
              </a:cxn>
              <a:cxn ang="0">
                <a:pos x="connsiteX5230" y="connsiteY5230"/>
              </a:cxn>
              <a:cxn ang="0">
                <a:pos x="connsiteX5231" y="connsiteY5231"/>
              </a:cxn>
              <a:cxn ang="0">
                <a:pos x="connsiteX5232" y="connsiteY5232"/>
              </a:cxn>
              <a:cxn ang="0">
                <a:pos x="connsiteX5233" y="connsiteY5233"/>
              </a:cxn>
              <a:cxn ang="0">
                <a:pos x="connsiteX5234" y="connsiteY5234"/>
              </a:cxn>
              <a:cxn ang="0">
                <a:pos x="connsiteX5235" y="connsiteY5235"/>
              </a:cxn>
              <a:cxn ang="0">
                <a:pos x="connsiteX5236" y="connsiteY5236"/>
              </a:cxn>
              <a:cxn ang="0">
                <a:pos x="connsiteX5237" y="connsiteY5237"/>
              </a:cxn>
              <a:cxn ang="0">
                <a:pos x="connsiteX5238" y="connsiteY5238"/>
              </a:cxn>
              <a:cxn ang="0">
                <a:pos x="connsiteX5239" y="connsiteY5239"/>
              </a:cxn>
              <a:cxn ang="0">
                <a:pos x="connsiteX5240" y="connsiteY5240"/>
              </a:cxn>
              <a:cxn ang="0">
                <a:pos x="connsiteX5241" y="connsiteY5241"/>
              </a:cxn>
              <a:cxn ang="0">
                <a:pos x="connsiteX5242" y="connsiteY5242"/>
              </a:cxn>
              <a:cxn ang="0">
                <a:pos x="connsiteX5243" y="connsiteY5243"/>
              </a:cxn>
              <a:cxn ang="0">
                <a:pos x="connsiteX5244" y="connsiteY5244"/>
              </a:cxn>
              <a:cxn ang="0">
                <a:pos x="connsiteX5245" y="connsiteY5245"/>
              </a:cxn>
              <a:cxn ang="0">
                <a:pos x="connsiteX5246" y="connsiteY5246"/>
              </a:cxn>
              <a:cxn ang="0">
                <a:pos x="connsiteX5247" y="connsiteY5247"/>
              </a:cxn>
              <a:cxn ang="0">
                <a:pos x="connsiteX5248" y="connsiteY5248"/>
              </a:cxn>
              <a:cxn ang="0">
                <a:pos x="connsiteX5249" y="connsiteY5249"/>
              </a:cxn>
              <a:cxn ang="0">
                <a:pos x="connsiteX5250" y="connsiteY5250"/>
              </a:cxn>
              <a:cxn ang="0">
                <a:pos x="connsiteX5251" y="connsiteY5251"/>
              </a:cxn>
              <a:cxn ang="0">
                <a:pos x="connsiteX5252" y="connsiteY5252"/>
              </a:cxn>
              <a:cxn ang="0">
                <a:pos x="connsiteX5253" y="connsiteY5253"/>
              </a:cxn>
              <a:cxn ang="0">
                <a:pos x="connsiteX5254" y="connsiteY5254"/>
              </a:cxn>
              <a:cxn ang="0">
                <a:pos x="connsiteX5255" y="connsiteY5255"/>
              </a:cxn>
              <a:cxn ang="0">
                <a:pos x="connsiteX5256" y="connsiteY5256"/>
              </a:cxn>
              <a:cxn ang="0">
                <a:pos x="connsiteX5257" y="connsiteY5257"/>
              </a:cxn>
              <a:cxn ang="0">
                <a:pos x="connsiteX5258" y="connsiteY5258"/>
              </a:cxn>
              <a:cxn ang="0">
                <a:pos x="connsiteX5259" y="connsiteY5259"/>
              </a:cxn>
              <a:cxn ang="0">
                <a:pos x="connsiteX5260" y="connsiteY5260"/>
              </a:cxn>
              <a:cxn ang="0">
                <a:pos x="connsiteX5261" y="connsiteY5261"/>
              </a:cxn>
              <a:cxn ang="0">
                <a:pos x="connsiteX5262" y="connsiteY5262"/>
              </a:cxn>
              <a:cxn ang="0">
                <a:pos x="connsiteX5263" y="connsiteY5263"/>
              </a:cxn>
              <a:cxn ang="0">
                <a:pos x="connsiteX5264" y="connsiteY5264"/>
              </a:cxn>
              <a:cxn ang="0">
                <a:pos x="connsiteX5265" y="connsiteY5265"/>
              </a:cxn>
              <a:cxn ang="0">
                <a:pos x="connsiteX5266" y="connsiteY5266"/>
              </a:cxn>
              <a:cxn ang="0">
                <a:pos x="connsiteX5267" y="connsiteY5267"/>
              </a:cxn>
              <a:cxn ang="0">
                <a:pos x="connsiteX5268" y="connsiteY5268"/>
              </a:cxn>
              <a:cxn ang="0">
                <a:pos x="connsiteX5269" y="connsiteY5269"/>
              </a:cxn>
              <a:cxn ang="0">
                <a:pos x="connsiteX5270" y="connsiteY5270"/>
              </a:cxn>
              <a:cxn ang="0">
                <a:pos x="connsiteX5271" y="connsiteY5271"/>
              </a:cxn>
              <a:cxn ang="0">
                <a:pos x="connsiteX5272" y="connsiteY5272"/>
              </a:cxn>
              <a:cxn ang="0">
                <a:pos x="connsiteX5273" y="connsiteY5273"/>
              </a:cxn>
              <a:cxn ang="0">
                <a:pos x="connsiteX5274" y="connsiteY5274"/>
              </a:cxn>
              <a:cxn ang="0">
                <a:pos x="connsiteX5275" y="connsiteY5275"/>
              </a:cxn>
              <a:cxn ang="0">
                <a:pos x="connsiteX5276" y="connsiteY5276"/>
              </a:cxn>
              <a:cxn ang="0">
                <a:pos x="connsiteX5277" y="connsiteY5277"/>
              </a:cxn>
              <a:cxn ang="0">
                <a:pos x="connsiteX5278" y="connsiteY5278"/>
              </a:cxn>
              <a:cxn ang="0">
                <a:pos x="connsiteX5279" y="connsiteY5279"/>
              </a:cxn>
              <a:cxn ang="0">
                <a:pos x="connsiteX5280" y="connsiteY5280"/>
              </a:cxn>
              <a:cxn ang="0">
                <a:pos x="connsiteX5281" y="connsiteY5281"/>
              </a:cxn>
              <a:cxn ang="0">
                <a:pos x="connsiteX5282" y="connsiteY5282"/>
              </a:cxn>
              <a:cxn ang="0">
                <a:pos x="connsiteX5283" y="connsiteY5283"/>
              </a:cxn>
              <a:cxn ang="0">
                <a:pos x="connsiteX5284" y="connsiteY5284"/>
              </a:cxn>
              <a:cxn ang="0">
                <a:pos x="connsiteX5285" y="connsiteY5285"/>
              </a:cxn>
              <a:cxn ang="0">
                <a:pos x="connsiteX5286" y="connsiteY5286"/>
              </a:cxn>
              <a:cxn ang="0">
                <a:pos x="connsiteX5287" y="connsiteY5287"/>
              </a:cxn>
              <a:cxn ang="0">
                <a:pos x="connsiteX5288" y="connsiteY5288"/>
              </a:cxn>
              <a:cxn ang="0">
                <a:pos x="connsiteX5289" y="connsiteY5289"/>
              </a:cxn>
              <a:cxn ang="0">
                <a:pos x="connsiteX5290" y="connsiteY5290"/>
              </a:cxn>
              <a:cxn ang="0">
                <a:pos x="connsiteX5291" y="connsiteY5291"/>
              </a:cxn>
              <a:cxn ang="0">
                <a:pos x="connsiteX5292" y="connsiteY5292"/>
              </a:cxn>
              <a:cxn ang="0">
                <a:pos x="connsiteX5293" y="connsiteY5293"/>
              </a:cxn>
              <a:cxn ang="0">
                <a:pos x="connsiteX5294" y="connsiteY5294"/>
              </a:cxn>
              <a:cxn ang="0">
                <a:pos x="connsiteX5295" y="connsiteY5295"/>
              </a:cxn>
              <a:cxn ang="0">
                <a:pos x="connsiteX5296" y="connsiteY5296"/>
              </a:cxn>
              <a:cxn ang="0">
                <a:pos x="connsiteX5297" y="connsiteY5297"/>
              </a:cxn>
              <a:cxn ang="0">
                <a:pos x="connsiteX5298" y="connsiteY5298"/>
              </a:cxn>
              <a:cxn ang="0">
                <a:pos x="connsiteX5299" y="connsiteY5299"/>
              </a:cxn>
              <a:cxn ang="0">
                <a:pos x="connsiteX5300" y="connsiteY5300"/>
              </a:cxn>
              <a:cxn ang="0">
                <a:pos x="connsiteX5301" y="connsiteY5301"/>
              </a:cxn>
              <a:cxn ang="0">
                <a:pos x="connsiteX5302" y="connsiteY5302"/>
              </a:cxn>
              <a:cxn ang="0">
                <a:pos x="connsiteX5303" y="connsiteY5303"/>
              </a:cxn>
              <a:cxn ang="0">
                <a:pos x="connsiteX5304" y="connsiteY5304"/>
              </a:cxn>
              <a:cxn ang="0">
                <a:pos x="connsiteX5305" y="connsiteY5305"/>
              </a:cxn>
              <a:cxn ang="0">
                <a:pos x="connsiteX5306" y="connsiteY5306"/>
              </a:cxn>
              <a:cxn ang="0">
                <a:pos x="connsiteX5307" y="connsiteY5307"/>
              </a:cxn>
              <a:cxn ang="0">
                <a:pos x="connsiteX5308" y="connsiteY5308"/>
              </a:cxn>
              <a:cxn ang="0">
                <a:pos x="connsiteX5309" y="connsiteY5309"/>
              </a:cxn>
              <a:cxn ang="0">
                <a:pos x="connsiteX5310" y="connsiteY5310"/>
              </a:cxn>
              <a:cxn ang="0">
                <a:pos x="connsiteX5311" y="connsiteY5311"/>
              </a:cxn>
              <a:cxn ang="0">
                <a:pos x="connsiteX5312" y="connsiteY5312"/>
              </a:cxn>
              <a:cxn ang="0">
                <a:pos x="connsiteX5313" y="connsiteY5313"/>
              </a:cxn>
              <a:cxn ang="0">
                <a:pos x="connsiteX5314" y="connsiteY5314"/>
              </a:cxn>
              <a:cxn ang="0">
                <a:pos x="connsiteX5315" y="connsiteY5315"/>
              </a:cxn>
              <a:cxn ang="0">
                <a:pos x="connsiteX5316" y="connsiteY5316"/>
              </a:cxn>
              <a:cxn ang="0">
                <a:pos x="connsiteX5317" y="connsiteY5317"/>
              </a:cxn>
              <a:cxn ang="0">
                <a:pos x="connsiteX5318" y="connsiteY5318"/>
              </a:cxn>
              <a:cxn ang="0">
                <a:pos x="connsiteX5319" y="connsiteY5319"/>
              </a:cxn>
              <a:cxn ang="0">
                <a:pos x="connsiteX5320" y="connsiteY5320"/>
              </a:cxn>
              <a:cxn ang="0">
                <a:pos x="connsiteX5321" y="connsiteY5321"/>
              </a:cxn>
              <a:cxn ang="0">
                <a:pos x="connsiteX5322" y="connsiteY5322"/>
              </a:cxn>
              <a:cxn ang="0">
                <a:pos x="connsiteX5323" y="connsiteY5323"/>
              </a:cxn>
              <a:cxn ang="0">
                <a:pos x="connsiteX5324" y="connsiteY5324"/>
              </a:cxn>
              <a:cxn ang="0">
                <a:pos x="connsiteX5325" y="connsiteY5325"/>
              </a:cxn>
              <a:cxn ang="0">
                <a:pos x="connsiteX5326" y="connsiteY5326"/>
              </a:cxn>
              <a:cxn ang="0">
                <a:pos x="connsiteX5327" y="connsiteY5327"/>
              </a:cxn>
              <a:cxn ang="0">
                <a:pos x="connsiteX5328" y="connsiteY5328"/>
              </a:cxn>
              <a:cxn ang="0">
                <a:pos x="connsiteX5329" y="connsiteY5329"/>
              </a:cxn>
              <a:cxn ang="0">
                <a:pos x="connsiteX5330" y="connsiteY5330"/>
              </a:cxn>
              <a:cxn ang="0">
                <a:pos x="connsiteX5331" y="connsiteY5331"/>
              </a:cxn>
              <a:cxn ang="0">
                <a:pos x="connsiteX5332" y="connsiteY5332"/>
              </a:cxn>
              <a:cxn ang="0">
                <a:pos x="connsiteX5333" y="connsiteY5333"/>
              </a:cxn>
              <a:cxn ang="0">
                <a:pos x="connsiteX5334" y="connsiteY5334"/>
              </a:cxn>
              <a:cxn ang="0">
                <a:pos x="connsiteX5335" y="connsiteY5335"/>
              </a:cxn>
              <a:cxn ang="0">
                <a:pos x="connsiteX5336" y="connsiteY5336"/>
              </a:cxn>
              <a:cxn ang="0">
                <a:pos x="connsiteX5337" y="connsiteY5337"/>
              </a:cxn>
              <a:cxn ang="0">
                <a:pos x="connsiteX5338" y="connsiteY5338"/>
              </a:cxn>
              <a:cxn ang="0">
                <a:pos x="connsiteX5339" y="connsiteY5339"/>
              </a:cxn>
              <a:cxn ang="0">
                <a:pos x="connsiteX5340" y="connsiteY5340"/>
              </a:cxn>
              <a:cxn ang="0">
                <a:pos x="connsiteX5341" y="connsiteY5341"/>
              </a:cxn>
              <a:cxn ang="0">
                <a:pos x="connsiteX5342" y="connsiteY5342"/>
              </a:cxn>
              <a:cxn ang="0">
                <a:pos x="connsiteX5343" y="connsiteY5343"/>
              </a:cxn>
              <a:cxn ang="0">
                <a:pos x="connsiteX5344" y="connsiteY5344"/>
              </a:cxn>
              <a:cxn ang="0">
                <a:pos x="connsiteX5345" y="connsiteY5345"/>
              </a:cxn>
              <a:cxn ang="0">
                <a:pos x="connsiteX5346" y="connsiteY5346"/>
              </a:cxn>
              <a:cxn ang="0">
                <a:pos x="connsiteX5347" y="connsiteY5347"/>
              </a:cxn>
              <a:cxn ang="0">
                <a:pos x="connsiteX5348" y="connsiteY5348"/>
              </a:cxn>
              <a:cxn ang="0">
                <a:pos x="connsiteX5349" y="connsiteY5349"/>
              </a:cxn>
              <a:cxn ang="0">
                <a:pos x="connsiteX5350" y="connsiteY5350"/>
              </a:cxn>
              <a:cxn ang="0">
                <a:pos x="connsiteX5351" y="connsiteY5351"/>
              </a:cxn>
              <a:cxn ang="0">
                <a:pos x="connsiteX5352" y="connsiteY5352"/>
              </a:cxn>
            </a:cxnLst>
            <a:rect l="l" t="t" r="r" b="b"/>
            <a:pathLst>
              <a:path w="6630249" h="6750795">
                <a:moveTo>
                  <a:pt x="3165080" y="6730276"/>
                </a:moveTo>
                <a:cubicBezTo>
                  <a:pt x="3172774" y="6737970"/>
                  <a:pt x="3177904" y="6743100"/>
                  <a:pt x="3185599" y="6750795"/>
                </a:cubicBezTo>
                <a:cubicBezTo>
                  <a:pt x="3175339" y="6750795"/>
                  <a:pt x="3167644" y="6740535"/>
                  <a:pt x="3159950" y="6735405"/>
                </a:cubicBezTo>
                <a:cubicBezTo>
                  <a:pt x="3162515" y="6732841"/>
                  <a:pt x="3162515" y="6730276"/>
                  <a:pt x="3165080" y="6730276"/>
                </a:cubicBezTo>
                <a:close/>
                <a:moveTo>
                  <a:pt x="3093261" y="6596900"/>
                </a:moveTo>
                <a:cubicBezTo>
                  <a:pt x="3126605" y="6630245"/>
                  <a:pt x="3159949" y="6666153"/>
                  <a:pt x="3188163" y="6702061"/>
                </a:cubicBezTo>
                <a:cubicBezTo>
                  <a:pt x="3190728" y="6707192"/>
                  <a:pt x="3193294" y="6714886"/>
                  <a:pt x="3193294" y="6720016"/>
                </a:cubicBezTo>
                <a:cubicBezTo>
                  <a:pt x="3175338" y="6704627"/>
                  <a:pt x="3162515" y="6686672"/>
                  <a:pt x="3147124" y="6668718"/>
                </a:cubicBezTo>
                <a:cubicBezTo>
                  <a:pt x="3136865" y="6655894"/>
                  <a:pt x="3126605" y="6645634"/>
                  <a:pt x="3116346" y="6632809"/>
                </a:cubicBezTo>
                <a:cubicBezTo>
                  <a:pt x="3111216" y="6625115"/>
                  <a:pt x="3103520" y="6617420"/>
                  <a:pt x="3095826" y="6609724"/>
                </a:cubicBezTo>
                <a:cubicBezTo>
                  <a:pt x="3095826" y="6604595"/>
                  <a:pt x="3093261" y="6602030"/>
                  <a:pt x="3093261" y="6596900"/>
                </a:cubicBezTo>
                <a:close/>
                <a:moveTo>
                  <a:pt x="3057353" y="6509694"/>
                </a:moveTo>
                <a:cubicBezTo>
                  <a:pt x="3062483" y="6512259"/>
                  <a:pt x="3065048" y="6514823"/>
                  <a:pt x="3070178" y="6517389"/>
                </a:cubicBezTo>
                <a:cubicBezTo>
                  <a:pt x="3083003" y="6525084"/>
                  <a:pt x="3095827" y="6532779"/>
                  <a:pt x="3106087" y="6540473"/>
                </a:cubicBezTo>
                <a:cubicBezTo>
                  <a:pt x="3113781" y="6545603"/>
                  <a:pt x="3121476" y="6553298"/>
                  <a:pt x="3126606" y="6558428"/>
                </a:cubicBezTo>
                <a:cubicBezTo>
                  <a:pt x="3129171" y="6568687"/>
                  <a:pt x="3134300" y="6578947"/>
                  <a:pt x="3136865" y="6586641"/>
                </a:cubicBezTo>
                <a:cubicBezTo>
                  <a:pt x="3111216" y="6560993"/>
                  <a:pt x="3085567" y="6535344"/>
                  <a:pt x="3057353" y="6509694"/>
                </a:cubicBezTo>
                <a:close/>
                <a:moveTo>
                  <a:pt x="3067614" y="6468657"/>
                </a:moveTo>
                <a:cubicBezTo>
                  <a:pt x="3070178" y="6473787"/>
                  <a:pt x="3075307" y="6476351"/>
                  <a:pt x="3080437" y="6481481"/>
                </a:cubicBezTo>
                <a:cubicBezTo>
                  <a:pt x="3083002" y="6484046"/>
                  <a:pt x="3083002" y="6484046"/>
                  <a:pt x="3083002" y="6486611"/>
                </a:cubicBezTo>
                <a:cubicBezTo>
                  <a:pt x="3077873" y="6481481"/>
                  <a:pt x="3072742" y="6476351"/>
                  <a:pt x="3067614" y="6468657"/>
                </a:cubicBezTo>
                <a:close/>
                <a:moveTo>
                  <a:pt x="2959888" y="6319893"/>
                </a:moveTo>
                <a:cubicBezTo>
                  <a:pt x="2962454" y="6322457"/>
                  <a:pt x="2967582" y="6325022"/>
                  <a:pt x="2972713" y="6325022"/>
                </a:cubicBezTo>
                <a:cubicBezTo>
                  <a:pt x="2962454" y="6332717"/>
                  <a:pt x="2959888" y="6342977"/>
                  <a:pt x="2957323" y="6353236"/>
                </a:cubicBezTo>
                <a:cubicBezTo>
                  <a:pt x="2959888" y="6340412"/>
                  <a:pt x="2959888" y="6330152"/>
                  <a:pt x="2959888" y="6319893"/>
                </a:cubicBezTo>
                <a:close/>
                <a:moveTo>
                  <a:pt x="3008620" y="6276289"/>
                </a:moveTo>
                <a:cubicBezTo>
                  <a:pt x="3011185" y="6296808"/>
                  <a:pt x="2995795" y="6335282"/>
                  <a:pt x="3029139" y="6345541"/>
                </a:cubicBezTo>
                <a:cubicBezTo>
                  <a:pt x="3044528" y="6325022"/>
                  <a:pt x="3034269" y="6309633"/>
                  <a:pt x="3034269" y="6276289"/>
                </a:cubicBezTo>
                <a:cubicBezTo>
                  <a:pt x="3026574" y="6276289"/>
                  <a:pt x="3016314" y="6276289"/>
                  <a:pt x="3008620" y="6276289"/>
                </a:cubicBezTo>
                <a:close/>
                <a:moveTo>
                  <a:pt x="3385660" y="6217296"/>
                </a:moveTo>
                <a:cubicBezTo>
                  <a:pt x="3408744" y="6227556"/>
                  <a:pt x="3426698" y="6248075"/>
                  <a:pt x="3444652" y="6268595"/>
                </a:cubicBezTo>
                <a:cubicBezTo>
                  <a:pt x="3439523" y="6266030"/>
                  <a:pt x="3436959" y="6263464"/>
                  <a:pt x="3434393" y="6260900"/>
                </a:cubicBezTo>
                <a:cubicBezTo>
                  <a:pt x="3419003" y="6245510"/>
                  <a:pt x="3401049" y="6232686"/>
                  <a:pt x="3385660" y="6217296"/>
                </a:cubicBezTo>
                <a:close/>
                <a:moveTo>
                  <a:pt x="3318972" y="6201907"/>
                </a:moveTo>
                <a:cubicBezTo>
                  <a:pt x="3357446" y="6227557"/>
                  <a:pt x="3398484" y="6258335"/>
                  <a:pt x="3434393" y="6291679"/>
                </a:cubicBezTo>
                <a:cubicBezTo>
                  <a:pt x="3424133" y="6286549"/>
                  <a:pt x="3413874" y="6281420"/>
                  <a:pt x="3403614" y="6276289"/>
                </a:cubicBezTo>
                <a:cubicBezTo>
                  <a:pt x="3377965" y="6250641"/>
                  <a:pt x="3349751" y="6227557"/>
                  <a:pt x="3318972" y="6201907"/>
                </a:cubicBezTo>
                <a:close/>
                <a:moveTo>
                  <a:pt x="3206118" y="6109571"/>
                </a:moveTo>
                <a:cubicBezTo>
                  <a:pt x="3216378" y="6122396"/>
                  <a:pt x="3213812" y="6137786"/>
                  <a:pt x="3208682" y="6150610"/>
                </a:cubicBezTo>
                <a:cubicBezTo>
                  <a:pt x="3198423" y="6142915"/>
                  <a:pt x="3185598" y="6132656"/>
                  <a:pt x="3175339" y="6124961"/>
                </a:cubicBezTo>
                <a:cubicBezTo>
                  <a:pt x="3188163" y="6122396"/>
                  <a:pt x="3198423" y="6117266"/>
                  <a:pt x="3206118" y="6109571"/>
                </a:cubicBezTo>
                <a:close/>
                <a:moveTo>
                  <a:pt x="3254850" y="6104441"/>
                </a:moveTo>
                <a:cubicBezTo>
                  <a:pt x="3272805" y="6122396"/>
                  <a:pt x="3290759" y="6137785"/>
                  <a:pt x="3308713" y="6153175"/>
                </a:cubicBezTo>
                <a:cubicBezTo>
                  <a:pt x="3293324" y="6140350"/>
                  <a:pt x="3277936" y="6130091"/>
                  <a:pt x="3259980" y="6117266"/>
                </a:cubicBezTo>
                <a:cubicBezTo>
                  <a:pt x="3259980" y="6114702"/>
                  <a:pt x="3257416" y="6109571"/>
                  <a:pt x="3254850" y="6104441"/>
                </a:cubicBezTo>
                <a:close/>
                <a:moveTo>
                  <a:pt x="3121476" y="6078793"/>
                </a:moveTo>
                <a:cubicBezTo>
                  <a:pt x="3124041" y="6081358"/>
                  <a:pt x="3129170" y="6081358"/>
                  <a:pt x="3131736" y="6083922"/>
                </a:cubicBezTo>
                <a:cubicBezTo>
                  <a:pt x="3136865" y="6086487"/>
                  <a:pt x="3144560" y="6091617"/>
                  <a:pt x="3149689" y="6094182"/>
                </a:cubicBezTo>
                <a:cubicBezTo>
                  <a:pt x="3147125" y="6094182"/>
                  <a:pt x="3144560" y="6096747"/>
                  <a:pt x="3141995" y="6096747"/>
                </a:cubicBezTo>
                <a:cubicBezTo>
                  <a:pt x="3136865" y="6091617"/>
                  <a:pt x="3129170" y="6086487"/>
                  <a:pt x="3124041" y="6081358"/>
                </a:cubicBezTo>
                <a:cubicBezTo>
                  <a:pt x="3121476" y="6078793"/>
                  <a:pt x="3121476" y="6078793"/>
                  <a:pt x="3121476" y="6078793"/>
                </a:cubicBezTo>
                <a:close/>
                <a:moveTo>
                  <a:pt x="2898330" y="6048013"/>
                </a:moveTo>
                <a:cubicBezTo>
                  <a:pt x="2903459" y="6050578"/>
                  <a:pt x="2906024" y="6055707"/>
                  <a:pt x="2911154" y="6063402"/>
                </a:cubicBezTo>
                <a:cubicBezTo>
                  <a:pt x="2916284" y="6073662"/>
                  <a:pt x="2923978" y="6086486"/>
                  <a:pt x="2947062" y="6089051"/>
                </a:cubicBezTo>
                <a:cubicBezTo>
                  <a:pt x="2949627" y="6091616"/>
                  <a:pt x="2952193" y="6089051"/>
                  <a:pt x="2954757" y="6089051"/>
                </a:cubicBezTo>
                <a:cubicBezTo>
                  <a:pt x="2975276" y="6122394"/>
                  <a:pt x="2990665" y="6155739"/>
                  <a:pt x="3006055" y="6191648"/>
                </a:cubicBezTo>
                <a:cubicBezTo>
                  <a:pt x="3003490" y="6199342"/>
                  <a:pt x="2985536" y="6191648"/>
                  <a:pt x="2985536" y="6201907"/>
                </a:cubicBezTo>
                <a:cubicBezTo>
                  <a:pt x="2988101" y="6230121"/>
                  <a:pt x="2995795" y="6250640"/>
                  <a:pt x="3006055" y="6266030"/>
                </a:cubicBezTo>
                <a:cubicBezTo>
                  <a:pt x="3021444" y="6263465"/>
                  <a:pt x="3031704" y="6263465"/>
                  <a:pt x="3041963" y="6268595"/>
                </a:cubicBezTo>
                <a:cubicBezTo>
                  <a:pt x="3049658" y="6278854"/>
                  <a:pt x="3057353" y="6286549"/>
                  <a:pt x="3065047" y="6291679"/>
                </a:cubicBezTo>
                <a:cubicBezTo>
                  <a:pt x="3067612" y="6291679"/>
                  <a:pt x="3067612" y="6294244"/>
                  <a:pt x="3070177" y="6294244"/>
                </a:cubicBezTo>
                <a:cubicBezTo>
                  <a:pt x="3077873" y="6307068"/>
                  <a:pt x="3085566" y="6322457"/>
                  <a:pt x="3090696" y="6337847"/>
                </a:cubicBezTo>
                <a:cubicBezTo>
                  <a:pt x="3080437" y="6342976"/>
                  <a:pt x="3070177" y="6348106"/>
                  <a:pt x="3059917" y="6350671"/>
                </a:cubicBezTo>
                <a:cubicBezTo>
                  <a:pt x="3047094" y="6360931"/>
                  <a:pt x="3041963" y="6373755"/>
                  <a:pt x="3036835" y="6384015"/>
                </a:cubicBezTo>
                <a:cubicBezTo>
                  <a:pt x="3031704" y="6394274"/>
                  <a:pt x="3026574" y="6404534"/>
                  <a:pt x="3013751" y="6414793"/>
                </a:cubicBezTo>
                <a:cubicBezTo>
                  <a:pt x="3006055" y="6412228"/>
                  <a:pt x="2998360" y="6412228"/>
                  <a:pt x="2993231" y="6412228"/>
                </a:cubicBezTo>
                <a:cubicBezTo>
                  <a:pt x="2990665" y="6412228"/>
                  <a:pt x="2990665" y="6412228"/>
                  <a:pt x="2988101" y="6412228"/>
                </a:cubicBezTo>
                <a:cubicBezTo>
                  <a:pt x="2982972" y="6391709"/>
                  <a:pt x="2977841" y="6360931"/>
                  <a:pt x="2982972" y="6327587"/>
                </a:cubicBezTo>
                <a:lnTo>
                  <a:pt x="2985536" y="6312198"/>
                </a:lnTo>
                <a:lnTo>
                  <a:pt x="2980406" y="6317327"/>
                </a:lnTo>
                <a:cubicBezTo>
                  <a:pt x="2982972" y="6294244"/>
                  <a:pt x="2975276" y="6278854"/>
                  <a:pt x="2954757" y="6276289"/>
                </a:cubicBezTo>
                <a:cubicBezTo>
                  <a:pt x="2954757" y="6283984"/>
                  <a:pt x="2954757" y="6289113"/>
                  <a:pt x="2954757" y="6296808"/>
                </a:cubicBezTo>
                <a:lnTo>
                  <a:pt x="2952193" y="6299373"/>
                </a:lnTo>
                <a:cubicBezTo>
                  <a:pt x="2947062" y="6301938"/>
                  <a:pt x="2941932" y="6309633"/>
                  <a:pt x="2939368" y="6314762"/>
                </a:cubicBezTo>
                <a:cubicBezTo>
                  <a:pt x="2939368" y="6314762"/>
                  <a:pt x="2939368" y="6312198"/>
                  <a:pt x="2939368" y="6312198"/>
                </a:cubicBezTo>
                <a:cubicBezTo>
                  <a:pt x="2947062" y="6283984"/>
                  <a:pt x="2957322" y="6255770"/>
                  <a:pt x="2965017" y="6227556"/>
                </a:cubicBezTo>
                <a:lnTo>
                  <a:pt x="2967581" y="6217297"/>
                </a:lnTo>
                <a:lnTo>
                  <a:pt x="2957322" y="6209602"/>
                </a:lnTo>
                <a:cubicBezTo>
                  <a:pt x="2936803" y="6227556"/>
                  <a:pt x="2926543" y="6253205"/>
                  <a:pt x="2918848" y="6281419"/>
                </a:cubicBezTo>
                <a:cubicBezTo>
                  <a:pt x="2918848" y="6281419"/>
                  <a:pt x="2916284" y="6278854"/>
                  <a:pt x="2916284" y="6278854"/>
                </a:cubicBezTo>
                <a:cubicBezTo>
                  <a:pt x="2921413" y="6263465"/>
                  <a:pt x="2929109" y="6250640"/>
                  <a:pt x="2934238" y="6235251"/>
                </a:cubicBezTo>
                <a:cubicBezTo>
                  <a:pt x="2949627" y="6194213"/>
                  <a:pt x="2967581" y="6155739"/>
                  <a:pt x="2957322" y="6119830"/>
                </a:cubicBezTo>
                <a:lnTo>
                  <a:pt x="2952193" y="6101876"/>
                </a:lnTo>
                <a:lnTo>
                  <a:pt x="2944497" y="6119830"/>
                </a:lnTo>
                <a:cubicBezTo>
                  <a:pt x="2931673" y="6148044"/>
                  <a:pt x="2913719" y="6191648"/>
                  <a:pt x="2900894" y="6240381"/>
                </a:cubicBezTo>
                <a:cubicBezTo>
                  <a:pt x="2893199" y="6212167"/>
                  <a:pt x="2880375" y="6191648"/>
                  <a:pt x="2862421" y="6173693"/>
                </a:cubicBezTo>
                <a:cubicBezTo>
                  <a:pt x="2854726" y="6142915"/>
                  <a:pt x="2836772" y="6107005"/>
                  <a:pt x="2818818" y="6071097"/>
                </a:cubicBezTo>
                <a:cubicBezTo>
                  <a:pt x="2834208" y="6071097"/>
                  <a:pt x="2857291" y="6063402"/>
                  <a:pt x="2875245" y="6055707"/>
                </a:cubicBezTo>
                <a:cubicBezTo>
                  <a:pt x="2882940" y="6053142"/>
                  <a:pt x="2895764" y="6048013"/>
                  <a:pt x="2898330" y="6048013"/>
                </a:cubicBezTo>
                <a:close/>
                <a:moveTo>
                  <a:pt x="2829078" y="6030060"/>
                </a:moveTo>
                <a:cubicBezTo>
                  <a:pt x="2834208" y="6032624"/>
                  <a:pt x="2836772" y="6037754"/>
                  <a:pt x="2836772" y="6042884"/>
                </a:cubicBezTo>
                <a:cubicBezTo>
                  <a:pt x="2836772" y="6042884"/>
                  <a:pt x="2834208" y="6040319"/>
                  <a:pt x="2834208" y="6040319"/>
                </a:cubicBezTo>
                <a:cubicBezTo>
                  <a:pt x="2831643" y="6037754"/>
                  <a:pt x="2831643" y="6032624"/>
                  <a:pt x="2829078" y="6030060"/>
                </a:cubicBezTo>
                <a:close/>
                <a:moveTo>
                  <a:pt x="4393663" y="6009541"/>
                </a:moveTo>
                <a:cubicBezTo>
                  <a:pt x="4396228" y="6012106"/>
                  <a:pt x="4396228" y="6017235"/>
                  <a:pt x="4393663" y="6019800"/>
                </a:cubicBezTo>
                <a:cubicBezTo>
                  <a:pt x="4398793" y="6024930"/>
                  <a:pt x="4403923" y="6030060"/>
                  <a:pt x="4406488" y="6035190"/>
                </a:cubicBezTo>
                <a:cubicBezTo>
                  <a:pt x="4383404" y="6027495"/>
                  <a:pt x="4362885" y="6019800"/>
                  <a:pt x="4339800" y="6014670"/>
                </a:cubicBezTo>
                <a:cubicBezTo>
                  <a:pt x="4357755" y="6012106"/>
                  <a:pt x="4378274" y="6012106"/>
                  <a:pt x="4393663" y="6009541"/>
                </a:cubicBezTo>
                <a:close/>
                <a:moveTo>
                  <a:pt x="3057353" y="5989021"/>
                </a:moveTo>
                <a:cubicBezTo>
                  <a:pt x="3072743" y="6001846"/>
                  <a:pt x="3088132" y="6014671"/>
                  <a:pt x="3103521" y="6024930"/>
                </a:cubicBezTo>
                <a:cubicBezTo>
                  <a:pt x="3116346" y="6032625"/>
                  <a:pt x="3126605" y="6042885"/>
                  <a:pt x="3136865" y="6050579"/>
                </a:cubicBezTo>
                <a:cubicBezTo>
                  <a:pt x="3106086" y="6032625"/>
                  <a:pt x="3075308" y="6014671"/>
                  <a:pt x="3049658" y="5991587"/>
                </a:cubicBezTo>
                <a:cubicBezTo>
                  <a:pt x="3052223" y="5991587"/>
                  <a:pt x="3054787" y="5989021"/>
                  <a:pt x="3057353" y="5989021"/>
                </a:cubicBezTo>
                <a:close/>
                <a:moveTo>
                  <a:pt x="4491129" y="5986457"/>
                </a:moveTo>
                <a:cubicBezTo>
                  <a:pt x="4493694" y="5986457"/>
                  <a:pt x="4493694" y="5989021"/>
                  <a:pt x="4493694" y="5989021"/>
                </a:cubicBezTo>
                <a:cubicBezTo>
                  <a:pt x="4485999" y="5989021"/>
                  <a:pt x="4475739" y="5989021"/>
                  <a:pt x="4465480" y="5989021"/>
                </a:cubicBezTo>
                <a:cubicBezTo>
                  <a:pt x="4475739" y="5989021"/>
                  <a:pt x="4485999" y="5989021"/>
                  <a:pt x="4491129" y="5986457"/>
                </a:cubicBezTo>
                <a:close/>
                <a:moveTo>
                  <a:pt x="2821384" y="5981326"/>
                </a:moveTo>
                <a:cubicBezTo>
                  <a:pt x="2818819" y="5983892"/>
                  <a:pt x="2816254" y="5989021"/>
                  <a:pt x="2813690" y="5991587"/>
                </a:cubicBezTo>
                <a:cubicBezTo>
                  <a:pt x="2803429" y="6004411"/>
                  <a:pt x="2795735" y="6014670"/>
                  <a:pt x="2793170" y="6027495"/>
                </a:cubicBezTo>
                <a:cubicBezTo>
                  <a:pt x="2785475" y="6014670"/>
                  <a:pt x="2780345" y="5999281"/>
                  <a:pt x="2772650" y="5983892"/>
                </a:cubicBezTo>
                <a:cubicBezTo>
                  <a:pt x="2788040" y="5986457"/>
                  <a:pt x="2803429" y="5983892"/>
                  <a:pt x="2821384" y="5981326"/>
                </a:cubicBezTo>
                <a:close/>
                <a:moveTo>
                  <a:pt x="4393662" y="5968502"/>
                </a:moveTo>
                <a:cubicBezTo>
                  <a:pt x="4398792" y="5971067"/>
                  <a:pt x="4403922" y="5976196"/>
                  <a:pt x="4406487" y="5978762"/>
                </a:cubicBezTo>
                <a:cubicBezTo>
                  <a:pt x="4401357" y="5978762"/>
                  <a:pt x="4396227" y="5976196"/>
                  <a:pt x="4391098" y="5973632"/>
                </a:cubicBezTo>
                <a:cubicBezTo>
                  <a:pt x="4391098" y="5971067"/>
                  <a:pt x="4393662" y="5971067"/>
                  <a:pt x="4393662" y="5968502"/>
                </a:cubicBezTo>
                <a:close/>
                <a:moveTo>
                  <a:pt x="4550121" y="5953113"/>
                </a:moveTo>
                <a:cubicBezTo>
                  <a:pt x="4555251" y="5960807"/>
                  <a:pt x="4547556" y="5968502"/>
                  <a:pt x="4544992" y="5973632"/>
                </a:cubicBezTo>
                <a:cubicBezTo>
                  <a:pt x="4547556" y="5973632"/>
                  <a:pt x="4550121" y="5973632"/>
                  <a:pt x="4550121" y="5976197"/>
                </a:cubicBezTo>
                <a:cubicBezTo>
                  <a:pt x="4539862" y="5978762"/>
                  <a:pt x="4529602" y="5981326"/>
                  <a:pt x="4519343" y="5983891"/>
                </a:cubicBezTo>
                <a:cubicBezTo>
                  <a:pt x="4529602" y="5973632"/>
                  <a:pt x="4542427" y="5968502"/>
                  <a:pt x="4550121" y="5953113"/>
                </a:cubicBezTo>
                <a:close/>
                <a:moveTo>
                  <a:pt x="4429571" y="5950548"/>
                </a:moveTo>
                <a:cubicBezTo>
                  <a:pt x="4429571" y="5953113"/>
                  <a:pt x="4429571" y="5955677"/>
                  <a:pt x="4432136" y="5958242"/>
                </a:cubicBezTo>
                <a:cubicBezTo>
                  <a:pt x="4432136" y="5960808"/>
                  <a:pt x="4424441" y="5950548"/>
                  <a:pt x="4429571" y="5950548"/>
                </a:cubicBezTo>
                <a:close/>
                <a:moveTo>
                  <a:pt x="4483434" y="5945419"/>
                </a:moveTo>
                <a:cubicBezTo>
                  <a:pt x="4488564" y="5947984"/>
                  <a:pt x="4485999" y="5955678"/>
                  <a:pt x="4488564" y="5960808"/>
                </a:cubicBezTo>
                <a:cubicBezTo>
                  <a:pt x="4478304" y="5963373"/>
                  <a:pt x="4468045" y="5965938"/>
                  <a:pt x="4462915" y="5971068"/>
                </a:cubicBezTo>
                <a:cubicBezTo>
                  <a:pt x="4465480" y="5960808"/>
                  <a:pt x="4483434" y="5958243"/>
                  <a:pt x="4483434" y="5945419"/>
                </a:cubicBezTo>
                <a:close/>
                <a:moveTo>
                  <a:pt x="4362884" y="5942853"/>
                </a:moveTo>
                <a:cubicBezTo>
                  <a:pt x="4373143" y="5950547"/>
                  <a:pt x="4380838" y="5958242"/>
                  <a:pt x="4391098" y="5963372"/>
                </a:cubicBezTo>
                <a:cubicBezTo>
                  <a:pt x="4388533" y="5965937"/>
                  <a:pt x="4385968" y="5968502"/>
                  <a:pt x="4383403" y="5971067"/>
                </a:cubicBezTo>
                <a:cubicBezTo>
                  <a:pt x="4383403" y="5968502"/>
                  <a:pt x="4380838" y="5968502"/>
                  <a:pt x="4380838" y="5968502"/>
                </a:cubicBezTo>
                <a:cubicBezTo>
                  <a:pt x="4373143" y="5960807"/>
                  <a:pt x="4368013" y="5953113"/>
                  <a:pt x="4362884" y="5942853"/>
                </a:cubicBezTo>
                <a:close/>
                <a:moveTo>
                  <a:pt x="4457785" y="5935158"/>
                </a:moveTo>
                <a:cubicBezTo>
                  <a:pt x="4455221" y="5947983"/>
                  <a:pt x="4457785" y="5965937"/>
                  <a:pt x="4452656" y="5976197"/>
                </a:cubicBezTo>
                <a:cubicBezTo>
                  <a:pt x="4439831" y="5963372"/>
                  <a:pt x="4450091" y="5947983"/>
                  <a:pt x="4457785" y="5935158"/>
                </a:cubicBezTo>
                <a:close/>
                <a:moveTo>
                  <a:pt x="2739307" y="5883861"/>
                </a:moveTo>
                <a:lnTo>
                  <a:pt x="2741872" y="5883861"/>
                </a:lnTo>
                <a:cubicBezTo>
                  <a:pt x="2747001" y="5883861"/>
                  <a:pt x="2749566" y="5886425"/>
                  <a:pt x="2754696" y="5886425"/>
                </a:cubicBezTo>
                <a:cubicBezTo>
                  <a:pt x="2775215" y="5891555"/>
                  <a:pt x="2790605" y="5894120"/>
                  <a:pt x="2793170" y="5904380"/>
                </a:cubicBezTo>
                <a:cubicBezTo>
                  <a:pt x="2788040" y="5906945"/>
                  <a:pt x="2782911" y="5904380"/>
                  <a:pt x="2775215" y="5906945"/>
                </a:cubicBezTo>
                <a:cubicBezTo>
                  <a:pt x="2764956" y="5904380"/>
                  <a:pt x="2752131" y="5904380"/>
                  <a:pt x="2744437" y="5912074"/>
                </a:cubicBezTo>
                <a:cubicBezTo>
                  <a:pt x="2744437" y="5909510"/>
                  <a:pt x="2744437" y="5909510"/>
                  <a:pt x="2744437" y="5909510"/>
                </a:cubicBezTo>
                <a:cubicBezTo>
                  <a:pt x="2741872" y="5899250"/>
                  <a:pt x="2741872" y="5891555"/>
                  <a:pt x="2739307" y="5883861"/>
                </a:cubicBezTo>
                <a:close/>
                <a:moveTo>
                  <a:pt x="4596770" y="5882497"/>
                </a:moveTo>
                <a:cubicBezTo>
                  <a:pt x="4613121" y="5880333"/>
                  <a:pt x="4630915" y="5888989"/>
                  <a:pt x="4650152" y="5888989"/>
                </a:cubicBezTo>
                <a:cubicBezTo>
                  <a:pt x="4650152" y="5909510"/>
                  <a:pt x="4645023" y="5927464"/>
                  <a:pt x="4645023" y="5945418"/>
                </a:cubicBezTo>
                <a:cubicBezTo>
                  <a:pt x="4637328" y="5942853"/>
                  <a:pt x="4632198" y="5940288"/>
                  <a:pt x="4627068" y="5945418"/>
                </a:cubicBezTo>
                <a:cubicBezTo>
                  <a:pt x="4629633" y="5947983"/>
                  <a:pt x="4632198" y="5950548"/>
                  <a:pt x="4634763" y="5953113"/>
                </a:cubicBezTo>
                <a:cubicBezTo>
                  <a:pt x="4609114" y="5960808"/>
                  <a:pt x="4586030" y="5965937"/>
                  <a:pt x="4562945" y="5973632"/>
                </a:cubicBezTo>
                <a:cubicBezTo>
                  <a:pt x="4560380" y="5960808"/>
                  <a:pt x="4557815" y="5950548"/>
                  <a:pt x="4560380" y="5937723"/>
                </a:cubicBezTo>
                <a:cubicBezTo>
                  <a:pt x="4562945" y="5922334"/>
                  <a:pt x="4575771" y="5909510"/>
                  <a:pt x="4573205" y="5894119"/>
                </a:cubicBezTo>
                <a:cubicBezTo>
                  <a:pt x="4598854" y="5888989"/>
                  <a:pt x="4619374" y="5919769"/>
                  <a:pt x="4645023" y="5909510"/>
                </a:cubicBezTo>
                <a:cubicBezTo>
                  <a:pt x="4634763" y="5883860"/>
                  <a:pt x="4606549" y="5891554"/>
                  <a:pt x="4580900" y="5888989"/>
                </a:cubicBezTo>
                <a:cubicBezTo>
                  <a:pt x="4586029" y="5885142"/>
                  <a:pt x="4591320" y="5883218"/>
                  <a:pt x="4596770" y="5882497"/>
                </a:cubicBezTo>
                <a:close/>
                <a:moveTo>
                  <a:pt x="4627709" y="5873281"/>
                </a:moveTo>
                <a:cubicBezTo>
                  <a:pt x="4634763" y="5873601"/>
                  <a:pt x="4642458" y="5874884"/>
                  <a:pt x="4647587" y="5873601"/>
                </a:cubicBezTo>
                <a:lnTo>
                  <a:pt x="4647587" y="5883861"/>
                </a:lnTo>
                <a:cubicBezTo>
                  <a:pt x="4634763" y="5881296"/>
                  <a:pt x="4627068" y="5878731"/>
                  <a:pt x="4611679" y="5878731"/>
                </a:cubicBezTo>
                <a:cubicBezTo>
                  <a:pt x="4614243" y="5873601"/>
                  <a:pt x="4620656" y="5872960"/>
                  <a:pt x="4627709" y="5873281"/>
                </a:cubicBezTo>
                <a:close/>
                <a:moveTo>
                  <a:pt x="4596289" y="5863342"/>
                </a:moveTo>
                <a:cubicBezTo>
                  <a:pt x="4598854" y="5868471"/>
                  <a:pt x="4593724" y="5881296"/>
                  <a:pt x="4588595" y="5876166"/>
                </a:cubicBezTo>
                <a:cubicBezTo>
                  <a:pt x="4588595" y="5868471"/>
                  <a:pt x="4596289" y="5868471"/>
                  <a:pt x="4596289" y="5863342"/>
                </a:cubicBezTo>
                <a:close/>
                <a:moveTo>
                  <a:pt x="4642137" y="5860136"/>
                </a:moveTo>
                <a:cubicBezTo>
                  <a:pt x="4643740" y="5859495"/>
                  <a:pt x="4645022" y="5859495"/>
                  <a:pt x="4645022" y="5860777"/>
                </a:cubicBezTo>
                <a:lnTo>
                  <a:pt x="4645022" y="5863342"/>
                </a:lnTo>
                <a:lnTo>
                  <a:pt x="4637328" y="5863342"/>
                </a:lnTo>
                <a:cubicBezTo>
                  <a:pt x="4638611" y="5862060"/>
                  <a:pt x="4640534" y="5860777"/>
                  <a:pt x="4642137" y="5860136"/>
                </a:cubicBezTo>
                <a:close/>
                <a:moveTo>
                  <a:pt x="4609114" y="5853082"/>
                </a:moveTo>
                <a:cubicBezTo>
                  <a:pt x="4609114" y="5853082"/>
                  <a:pt x="4611679" y="5853082"/>
                  <a:pt x="4611679" y="5853082"/>
                </a:cubicBezTo>
                <a:cubicBezTo>
                  <a:pt x="4611679" y="5855647"/>
                  <a:pt x="4609114" y="5858212"/>
                  <a:pt x="4609114" y="5860776"/>
                </a:cubicBezTo>
                <a:cubicBezTo>
                  <a:pt x="4606549" y="5858212"/>
                  <a:pt x="4603984" y="5860776"/>
                  <a:pt x="4606549" y="5865906"/>
                </a:cubicBezTo>
                <a:cubicBezTo>
                  <a:pt x="4603984" y="5865906"/>
                  <a:pt x="4603984" y="5863342"/>
                  <a:pt x="4601420" y="5863342"/>
                </a:cubicBezTo>
                <a:cubicBezTo>
                  <a:pt x="4601420" y="5858212"/>
                  <a:pt x="4606549" y="5855647"/>
                  <a:pt x="4609114" y="5853082"/>
                </a:cubicBezTo>
                <a:close/>
                <a:moveTo>
                  <a:pt x="4403923" y="5850517"/>
                </a:moveTo>
                <a:cubicBezTo>
                  <a:pt x="4414182" y="5876167"/>
                  <a:pt x="4421877" y="5909510"/>
                  <a:pt x="4427007" y="5937724"/>
                </a:cubicBezTo>
                <a:cubicBezTo>
                  <a:pt x="4414182" y="5914640"/>
                  <a:pt x="4409052" y="5878731"/>
                  <a:pt x="4403923" y="5850517"/>
                </a:cubicBezTo>
                <a:close/>
                <a:moveTo>
                  <a:pt x="4550121" y="5845388"/>
                </a:moveTo>
                <a:cubicBezTo>
                  <a:pt x="4565511" y="5845388"/>
                  <a:pt x="4580900" y="5847952"/>
                  <a:pt x="4596290" y="5850517"/>
                </a:cubicBezTo>
                <a:cubicBezTo>
                  <a:pt x="4591160" y="5863342"/>
                  <a:pt x="4586030" y="5873601"/>
                  <a:pt x="4578335" y="5878731"/>
                </a:cubicBezTo>
                <a:cubicBezTo>
                  <a:pt x="4573206" y="5868472"/>
                  <a:pt x="4568076" y="5860777"/>
                  <a:pt x="4562946" y="5853082"/>
                </a:cubicBezTo>
                <a:cubicBezTo>
                  <a:pt x="4557816" y="5853082"/>
                  <a:pt x="4555251" y="5855647"/>
                  <a:pt x="4552686" y="5858212"/>
                </a:cubicBezTo>
                <a:cubicBezTo>
                  <a:pt x="4552686" y="5853082"/>
                  <a:pt x="4550121" y="5850517"/>
                  <a:pt x="4550121" y="5845388"/>
                </a:cubicBezTo>
                <a:close/>
                <a:moveTo>
                  <a:pt x="4537297" y="5845387"/>
                </a:moveTo>
                <a:cubicBezTo>
                  <a:pt x="4537297" y="5853081"/>
                  <a:pt x="4539862" y="5860777"/>
                  <a:pt x="4544992" y="5868472"/>
                </a:cubicBezTo>
                <a:cubicBezTo>
                  <a:pt x="4527038" y="5891555"/>
                  <a:pt x="4516778" y="5922334"/>
                  <a:pt x="4511649" y="5958243"/>
                </a:cubicBezTo>
                <a:cubicBezTo>
                  <a:pt x="4509083" y="5942853"/>
                  <a:pt x="4501388" y="5930029"/>
                  <a:pt x="4501388" y="5917204"/>
                </a:cubicBezTo>
                <a:cubicBezTo>
                  <a:pt x="4503954" y="5909510"/>
                  <a:pt x="4509083" y="5899250"/>
                  <a:pt x="4511649" y="5888991"/>
                </a:cubicBezTo>
                <a:cubicBezTo>
                  <a:pt x="4514213" y="5878731"/>
                  <a:pt x="4516778" y="5863342"/>
                  <a:pt x="4516778" y="5850516"/>
                </a:cubicBezTo>
                <a:cubicBezTo>
                  <a:pt x="4524473" y="5847951"/>
                  <a:pt x="4529603" y="5845387"/>
                  <a:pt x="4537297" y="5845387"/>
                </a:cubicBezTo>
                <a:close/>
                <a:moveTo>
                  <a:pt x="4316715" y="5822302"/>
                </a:moveTo>
                <a:cubicBezTo>
                  <a:pt x="4329541" y="5829997"/>
                  <a:pt x="4350060" y="5817172"/>
                  <a:pt x="4365449" y="5829997"/>
                </a:cubicBezTo>
                <a:cubicBezTo>
                  <a:pt x="4370579" y="5827432"/>
                  <a:pt x="4373144" y="5829997"/>
                  <a:pt x="4378274" y="5832562"/>
                </a:cubicBezTo>
                <a:cubicBezTo>
                  <a:pt x="4378274" y="5842822"/>
                  <a:pt x="4355190" y="5850517"/>
                  <a:pt x="4368014" y="5863342"/>
                </a:cubicBezTo>
                <a:cubicBezTo>
                  <a:pt x="4378274" y="5860777"/>
                  <a:pt x="4378274" y="5847952"/>
                  <a:pt x="4383403" y="5840257"/>
                </a:cubicBezTo>
                <a:cubicBezTo>
                  <a:pt x="4393663" y="5840257"/>
                  <a:pt x="4388533" y="5853082"/>
                  <a:pt x="4388533" y="5858212"/>
                </a:cubicBezTo>
                <a:cubicBezTo>
                  <a:pt x="4391098" y="5873601"/>
                  <a:pt x="4398793" y="5891555"/>
                  <a:pt x="4401358" y="5904380"/>
                </a:cubicBezTo>
                <a:cubicBezTo>
                  <a:pt x="4398793" y="5906945"/>
                  <a:pt x="4398793" y="5909510"/>
                  <a:pt x="4396228" y="5912074"/>
                </a:cubicBezTo>
                <a:cubicBezTo>
                  <a:pt x="4401358" y="5919769"/>
                  <a:pt x="4406487" y="5924899"/>
                  <a:pt x="4406487" y="5935159"/>
                </a:cubicBezTo>
                <a:cubicBezTo>
                  <a:pt x="4391098" y="5914639"/>
                  <a:pt x="4378274" y="5899250"/>
                  <a:pt x="4357755" y="5886426"/>
                </a:cubicBezTo>
                <a:cubicBezTo>
                  <a:pt x="4355190" y="5886426"/>
                  <a:pt x="4355190" y="5888991"/>
                  <a:pt x="4355190" y="5891555"/>
                </a:cubicBezTo>
                <a:cubicBezTo>
                  <a:pt x="4334670" y="5881296"/>
                  <a:pt x="4319280" y="5865906"/>
                  <a:pt x="4306456" y="5847952"/>
                </a:cubicBezTo>
                <a:cubicBezTo>
                  <a:pt x="4306456" y="5832562"/>
                  <a:pt x="4311585" y="5829997"/>
                  <a:pt x="4316715" y="5822302"/>
                </a:cubicBezTo>
                <a:close/>
                <a:moveTo>
                  <a:pt x="4347495" y="5812044"/>
                </a:moveTo>
                <a:cubicBezTo>
                  <a:pt x="4347495" y="5814608"/>
                  <a:pt x="4355189" y="5814608"/>
                  <a:pt x="4360319" y="5814608"/>
                </a:cubicBezTo>
                <a:cubicBezTo>
                  <a:pt x="4357755" y="5817173"/>
                  <a:pt x="4360319" y="5817173"/>
                  <a:pt x="4360319" y="5819738"/>
                </a:cubicBezTo>
                <a:cubicBezTo>
                  <a:pt x="4355189" y="5817173"/>
                  <a:pt x="4347495" y="5819738"/>
                  <a:pt x="4347495" y="5812044"/>
                </a:cubicBezTo>
                <a:close/>
                <a:moveTo>
                  <a:pt x="4657846" y="5812043"/>
                </a:moveTo>
                <a:cubicBezTo>
                  <a:pt x="4683496" y="5837693"/>
                  <a:pt x="4727099" y="5853082"/>
                  <a:pt x="4763007" y="5853082"/>
                </a:cubicBezTo>
                <a:cubicBezTo>
                  <a:pt x="4765572" y="5876166"/>
                  <a:pt x="4763007" y="5896685"/>
                  <a:pt x="4763007" y="5917204"/>
                </a:cubicBezTo>
                <a:cubicBezTo>
                  <a:pt x="4763007" y="5922334"/>
                  <a:pt x="4750183" y="5912074"/>
                  <a:pt x="4747618" y="5919769"/>
                </a:cubicBezTo>
                <a:cubicBezTo>
                  <a:pt x="4747618" y="5924899"/>
                  <a:pt x="4752748" y="5927464"/>
                  <a:pt x="4757877" y="5930029"/>
                </a:cubicBezTo>
                <a:cubicBezTo>
                  <a:pt x="4724534" y="5930029"/>
                  <a:pt x="4691190" y="5937723"/>
                  <a:pt x="4660411" y="5945418"/>
                </a:cubicBezTo>
                <a:cubicBezTo>
                  <a:pt x="4660411" y="5930029"/>
                  <a:pt x="4662975" y="5912074"/>
                  <a:pt x="4665540" y="5896685"/>
                </a:cubicBezTo>
                <a:cubicBezTo>
                  <a:pt x="4670670" y="5894120"/>
                  <a:pt x="4678366" y="5891555"/>
                  <a:pt x="4680931" y="5883861"/>
                </a:cubicBezTo>
                <a:cubicBezTo>
                  <a:pt x="4680931" y="5881296"/>
                  <a:pt x="4678366" y="5881296"/>
                  <a:pt x="4678366" y="5878731"/>
                </a:cubicBezTo>
                <a:cubicBezTo>
                  <a:pt x="4675801" y="5878731"/>
                  <a:pt x="4670670" y="5878731"/>
                  <a:pt x="4665540" y="5878731"/>
                </a:cubicBezTo>
                <a:cubicBezTo>
                  <a:pt x="4665540" y="5873601"/>
                  <a:pt x="4662975" y="5865906"/>
                  <a:pt x="4662975" y="5858212"/>
                </a:cubicBezTo>
                <a:cubicBezTo>
                  <a:pt x="4675801" y="5858212"/>
                  <a:pt x="4688625" y="5855647"/>
                  <a:pt x="4701450" y="5850517"/>
                </a:cubicBezTo>
                <a:cubicBezTo>
                  <a:pt x="4691190" y="5845387"/>
                  <a:pt x="4675801" y="5842822"/>
                  <a:pt x="4660411" y="5837693"/>
                </a:cubicBezTo>
                <a:cubicBezTo>
                  <a:pt x="4660411" y="5829997"/>
                  <a:pt x="4660411" y="5822302"/>
                  <a:pt x="4657846" y="5812043"/>
                </a:cubicBezTo>
                <a:close/>
                <a:moveTo>
                  <a:pt x="4614244" y="5806914"/>
                </a:moveTo>
                <a:cubicBezTo>
                  <a:pt x="4621938" y="5809478"/>
                  <a:pt x="4632198" y="5809478"/>
                  <a:pt x="4639893" y="5814608"/>
                </a:cubicBezTo>
                <a:cubicBezTo>
                  <a:pt x="4642457" y="5819738"/>
                  <a:pt x="4642457" y="5827433"/>
                  <a:pt x="4642457" y="5835127"/>
                </a:cubicBezTo>
                <a:cubicBezTo>
                  <a:pt x="4637328" y="5832563"/>
                  <a:pt x="4632198" y="5829998"/>
                  <a:pt x="4627068" y="5827433"/>
                </a:cubicBezTo>
                <a:cubicBezTo>
                  <a:pt x="4627068" y="5822303"/>
                  <a:pt x="4624503" y="5819738"/>
                  <a:pt x="4621938" y="5817173"/>
                </a:cubicBezTo>
                <a:cubicBezTo>
                  <a:pt x="4621938" y="5817173"/>
                  <a:pt x="4619373" y="5819738"/>
                  <a:pt x="4619373" y="5819738"/>
                </a:cubicBezTo>
                <a:cubicBezTo>
                  <a:pt x="4616808" y="5814608"/>
                  <a:pt x="4614244" y="5812043"/>
                  <a:pt x="4614244" y="5806914"/>
                </a:cubicBezTo>
                <a:close/>
                <a:moveTo>
                  <a:pt x="4832258" y="5794089"/>
                </a:moveTo>
                <a:cubicBezTo>
                  <a:pt x="4860472" y="5817173"/>
                  <a:pt x="4880991" y="5853081"/>
                  <a:pt x="4950243" y="5837692"/>
                </a:cubicBezTo>
                <a:cubicBezTo>
                  <a:pt x="4952808" y="5909509"/>
                  <a:pt x="4829693" y="5855646"/>
                  <a:pt x="4847647" y="5940288"/>
                </a:cubicBezTo>
                <a:cubicBezTo>
                  <a:pt x="4821998" y="5932593"/>
                  <a:pt x="4798915" y="5930028"/>
                  <a:pt x="4775831" y="5930028"/>
                </a:cubicBezTo>
                <a:cubicBezTo>
                  <a:pt x="4775831" y="5909509"/>
                  <a:pt x="4775831" y="5888990"/>
                  <a:pt x="4775831" y="5871035"/>
                </a:cubicBezTo>
                <a:cubicBezTo>
                  <a:pt x="4778395" y="5868470"/>
                  <a:pt x="4780960" y="5868470"/>
                  <a:pt x="4780960" y="5865905"/>
                </a:cubicBezTo>
                <a:cubicBezTo>
                  <a:pt x="4780960" y="5860776"/>
                  <a:pt x="4775831" y="5860776"/>
                  <a:pt x="4775831" y="5858211"/>
                </a:cubicBezTo>
                <a:cubicBezTo>
                  <a:pt x="4775831" y="5855646"/>
                  <a:pt x="4775831" y="5855646"/>
                  <a:pt x="4775831" y="5853081"/>
                </a:cubicBezTo>
                <a:cubicBezTo>
                  <a:pt x="4809174" y="5850516"/>
                  <a:pt x="4834823" y="5832562"/>
                  <a:pt x="4832258" y="5794089"/>
                </a:cubicBezTo>
                <a:close/>
                <a:moveTo>
                  <a:pt x="4411617" y="5791525"/>
                </a:moveTo>
                <a:cubicBezTo>
                  <a:pt x="4416747" y="5791525"/>
                  <a:pt x="4414182" y="5794090"/>
                  <a:pt x="4416747" y="5794090"/>
                </a:cubicBezTo>
                <a:cubicBezTo>
                  <a:pt x="4416747" y="5796654"/>
                  <a:pt x="4411617" y="5794090"/>
                  <a:pt x="4411617" y="5796654"/>
                </a:cubicBezTo>
                <a:cubicBezTo>
                  <a:pt x="4409052" y="5796654"/>
                  <a:pt x="4411617" y="5791525"/>
                  <a:pt x="4411617" y="5791525"/>
                </a:cubicBezTo>
                <a:close/>
                <a:moveTo>
                  <a:pt x="4373144" y="5786395"/>
                </a:moveTo>
                <a:cubicBezTo>
                  <a:pt x="4378274" y="5791524"/>
                  <a:pt x="4373144" y="5812044"/>
                  <a:pt x="4380838" y="5817173"/>
                </a:cubicBezTo>
                <a:cubicBezTo>
                  <a:pt x="4378274" y="5819738"/>
                  <a:pt x="4375709" y="5817173"/>
                  <a:pt x="4378274" y="5822303"/>
                </a:cubicBezTo>
                <a:cubicBezTo>
                  <a:pt x="4365449" y="5817173"/>
                  <a:pt x="4370579" y="5799219"/>
                  <a:pt x="4373144" y="5786395"/>
                </a:cubicBezTo>
                <a:close/>
                <a:moveTo>
                  <a:pt x="4427006" y="5778701"/>
                </a:moveTo>
                <a:cubicBezTo>
                  <a:pt x="4424441" y="5781266"/>
                  <a:pt x="4419311" y="5783830"/>
                  <a:pt x="4416747" y="5783830"/>
                </a:cubicBezTo>
                <a:cubicBezTo>
                  <a:pt x="4419311" y="5778701"/>
                  <a:pt x="4421876" y="5778701"/>
                  <a:pt x="4427006" y="5778701"/>
                </a:cubicBezTo>
                <a:close/>
                <a:moveTo>
                  <a:pt x="4468044" y="5763310"/>
                </a:moveTo>
                <a:cubicBezTo>
                  <a:pt x="4475739" y="5760745"/>
                  <a:pt x="4485999" y="5768440"/>
                  <a:pt x="4496258" y="5768440"/>
                </a:cubicBezTo>
                <a:cubicBezTo>
                  <a:pt x="4493694" y="5776136"/>
                  <a:pt x="4488564" y="5776136"/>
                  <a:pt x="4485999" y="5781266"/>
                </a:cubicBezTo>
                <a:cubicBezTo>
                  <a:pt x="4493694" y="5786395"/>
                  <a:pt x="4498823" y="5773571"/>
                  <a:pt x="4503953" y="5773571"/>
                </a:cubicBezTo>
                <a:cubicBezTo>
                  <a:pt x="4511648" y="5776136"/>
                  <a:pt x="4516778" y="5778701"/>
                  <a:pt x="4519343" y="5783830"/>
                </a:cubicBezTo>
                <a:cubicBezTo>
                  <a:pt x="4503953" y="5804349"/>
                  <a:pt x="4534732" y="5819739"/>
                  <a:pt x="4514212" y="5845388"/>
                </a:cubicBezTo>
                <a:cubicBezTo>
                  <a:pt x="4514212" y="5840258"/>
                  <a:pt x="4514212" y="5837693"/>
                  <a:pt x="4511648" y="5832563"/>
                </a:cubicBezTo>
                <a:cubicBezTo>
                  <a:pt x="4498823" y="5835128"/>
                  <a:pt x="4496258" y="5842823"/>
                  <a:pt x="4488564" y="5847953"/>
                </a:cubicBezTo>
                <a:cubicBezTo>
                  <a:pt x="4488564" y="5827433"/>
                  <a:pt x="4485999" y="5817174"/>
                  <a:pt x="4488564" y="5799220"/>
                </a:cubicBezTo>
                <a:cubicBezTo>
                  <a:pt x="4475739" y="5794090"/>
                  <a:pt x="4470609" y="5778701"/>
                  <a:pt x="4468044" y="5763310"/>
                </a:cubicBezTo>
                <a:close/>
                <a:moveTo>
                  <a:pt x="4368013" y="5763310"/>
                </a:moveTo>
                <a:cubicBezTo>
                  <a:pt x="4370578" y="5768441"/>
                  <a:pt x="4370578" y="5773570"/>
                  <a:pt x="4373143" y="5778700"/>
                </a:cubicBezTo>
                <a:cubicBezTo>
                  <a:pt x="4362884" y="5783830"/>
                  <a:pt x="4362884" y="5796654"/>
                  <a:pt x="4357754" y="5801784"/>
                </a:cubicBezTo>
                <a:cubicBezTo>
                  <a:pt x="4352624" y="5788959"/>
                  <a:pt x="4347494" y="5760745"/>
                  <a:pt x="4368013" y="5763310"/>
                </a:cubicBezTo>
                <a:close/>
                <a:moveTo>
                  <a:pt x="4447526" y="5758180"/>
                </a:moveTo>
                <a:cubicBezTo>
                  <a:pt x="4455220" y="5783829"/>
                  <a:pt x="4465480" y="5819737"/>
                  <a:pt x="4470610" y="5853081"/>
                </a:cubicBezTo>
                <a:cubicBezTo>
                  <a:pt x="4473175" y="5865905"/>
                  <a:pt x="4475739" y="5881295"/>
                  <a:pt x="4468045" y="5896684"/>
                </a:cubicBezTo>
                <a:cubicBezTo>
                  <a:pt x="4450090" y="5904379"/>
                  <a:pt x="4444961" y="5922333"/>
                  <a:pt x="4434701" y="5935158"/>
                </a:cubicBezTo>
                <a:cubicBezTo>
                  <a:pt x="4432136" y="5917203"/>
                  <a:pt x="4427007" y="5901814"/>
                  <a:pt x="4424441" y="5883860"/>
                </a:cubicBezTo>
                <a:cubicBezTo>
                  <a:pt x="4416747" y="5865905"/>
                  <a:pt x="4409051" y="5837692"/>
                  <a:pt x="4409051" y="5822302"/>
                </a:cubicBezTo>
                <a:cubicBezTo>
                  <a:pt x="4403922" y="5819737"/>
                  <a:pt x="4403922" y="5812043"/>
                  <a:pt x="4406486" y="5806913"/>
                </a:cubicBezTo>
                <a:cubicBezTo>
                  <a:pt x="4416747" y="5806913"/>
                  <a:pt x="4421877" y="5806913"/>
                  <a:pt x="4427007" y="5804348"/>
                </a:cubicBezTo>
                <a:cubicBezTo>
                  <a:pt x="4427007" y="5799218"/>
                  <a:pt x="4424441" y="5799218"/>
                  <a:pt x="4424441" y="5794088"/>
                </a:cubicBezTo>
                <a:cubicBezTo>
                  <a:pt x="4432136" y="5791523"/>
                  <a:pt x="4439831" y="5788958"/>
                  <a:pt x="4442396" y="5781264"/>
                </a:cubicBezTo>
                <a:cubicBezTo>
                  <a:pt x="4437266" y="5776134"/>
                  <a:pt x="4434701" y="5783829"/>
                  <a:pt x="4427007" y="5781264"/>
                </a:cubicBezTo>
                <a:cubicBezTo>
                  <a:pt x="4429572" y="5778699"/>
                  <a:pt x="4434701" y="5776134"/>
                  <a:pt x="4439831" y="5776134"/>
                </a:cubicBezTo>
                <a:cubicBezTo>
                  <a:pt x="4439831" y="5768440"/>
                  <a:pt x="4444961" y="5765874"/>
                  <a:pt x="4447526" y="5758180"/>
                </a:cubicBezTo>
                <a:close/>
                <a:moveTo>
                  <a:pt x="4485038" y="5753692"/>
                </a:moveTo>
                <a:cubicBezTo>
                  <a:pt x="4487282" y="5753692"/>
                  <a:pt x="4489847" y="5754334"/>
                  <a:pt x="4491129" y="5755616"/>
                </a:cubicBezTo>
                <a:cubicBezTo>
                  <a:pt x="4491129" y="5755616"/>
                  <a:pt x="4488564" y="5758181"/>
                  <a:pt x="4491129" y="5760746"/>
                </a:cubicBezTo>
                <a:cubicBezTo>
                  <a:pt x="4483434" y="5760746"/>
                  <a:pt x="4483434" y="5755616"/>
                  <a:pt x="4480870" y="5755616"/>
                </a:cubicBezTo>
                <a:cubicBezTo>
                  <a:pt x="4480870" y="5754334"/>
                  <a:pt x="4482794" y="5753692"/>
                  <a:pt x="4485038" y="5753692"/>
                </a:cubicBezTo>
                <a:close/>
                <a:moveTo>
                  <a:pt x="4424442" y="5742792"/>
                </a:moveTo>
                <a:cubicBezTo>
                  <a:pt x="4432136" y="5745356"/>
                  <a:pt x="4434701" y="5750486"/>
                  <a:pt x="4439831" y="5753051"/>
                </a:cubicBezTo>
                <a:cubicBezTo>
                  <a:pt x="4434701" y="5755616"/>
                  <a:pt x="4424442" y="5755616"/>
                  <a:pt x="4424442" y="5763311"/>
                </a:cubicBezTo>
                <a:cubicBezTo>
                  <a:pt x="4421877" y="5760746"/>
                  <a:pt x="4424442" y="5750486"/>
                  <a:pt x="4424442" y="5742792"/>
                </a:cubicBezTo>
                <a:close/>
                <a:moveTo>
                  <a:pt x="4501388" y="5737662"/>
                </a:moveTo>
                <a:cubicBezTo>
                  <a:pt x="4506518" y="5742792"/>
                  <a:pt x="4503953" y="5753051"/>
                  <a:pt x="4506518" y="5753051"/>
                </a:cubicBezTo>
                <a:cubicBezTo>
                  <a:pt x="4509084" y="5758181"/>
                  <a:pt x="4501388" y="5753051"/>
                  <a:pt x="4498824" y="5758181"/>
                </a:cubicBezTo>
                <a:cubicBezTo>
                  <a:pt x="4491129" y="5753051"/>
                  <a:pt x="4498824" y="5742792"/>
                  <a:pt x="4501388" y="5737662"/>
                </a:cubicBezTo>
                <a:close/>
                <a:moveTo>
                  <a:pt x="4424442" y="5704318"/>
                </a:moveTo>
                <a:cubicBezTo>
                  <a:pt x="4429572" y="5699188"/>
                  <a:pt x="4437266" y="5709448"/>
                  <a:pt x="4434702" y="5712013"/>
                </a:cubicBezTo>
                <a:cubicBezTo>
                  <a:pt x="4429572" y="5709448"/>
                  <a:pt x="4429572" y="5704318"/>
                  <a:pt x="4424442" y="5704318"/>
                </a:cubicBezTo>
                <a:close/>
                <a:moveTo>
                  <a:pt x="4352625" y="5686364"/>
                </a:moveTo>
                <a:cubicBezTo>
                  <a:pt x="4357754" y="5686364"/>
                  <a:pt x="4357754" y="5691494"/>
                  <a:pt x="4357754" y="5696624"/>
                </a:cubicBezTo>
                <a:cubicBezTo>
                  <a:pt x="4352625" y="5696624"/>
                  <a:pt x="4355189" y="5688929"/>
                  <a:pt x="4352625" y="5686364"/>
                </a:cubicBezTo>
                <a:close/>
                <a:moveTo>
                  <a:pt x="4424441" y="5670974"/>
                </a:moveTo>
                <a:cubicBezTo>
                  <a:pt x="4429572" y="5668409"/>
                  <a:pt x="4432136" y="5676104"/>
                  <a:pt x="4434701" y="5670974"/>
                </a:cubicBezTo>
                <a:cubicBezTo>
                  <a:pt x="4437266" y="5673539"/>
                  <a:pt x="4434701" y="5683799"/>
                  <a:pt x="4432136" y="5686363"/>
                </a:cubicBezTo>
                <a:cubicBezTo>
                  <a:pt x="4427006" y="5681234"/>
                  <a:pt x="4424441" y="5683799"/>
                  <a:pt x="4419312" y="5681234"/>
                </a:cubicBezTo>
                <a:cubicBezTo>
                  <a:pt x="4421877" y="5676104"/>
                  <a:pt x="4421877" y="5673539"/>
                  <a:pt x="4424441" y="5670974"/>
                </a:cubicBezTo>
                <a:close/>
                <a:moveTo>
                  <a:pt x="4432457" y="5661677"/>
                </a:moveTo>
                <a:cubicBezTo>
                  <a:pt x="4434060" y="5661356"/>
                  <a:pt x="4435984" y="5661997"/>
                  <a:pt x="4437266" y="5663280"/>
                </a:cubicBezTo>
                <a:cubicBezTo>
                  <a:pt x="4434701" y="5665845"/>
                  <a:pt x="4432136" y="5665845"/>
                  <a:pt x="4429572" y="5665845"/>
                </a:cubicBezTo>
                <a:cubicBezTo>
                  <a:pt x="4429572" y="5663280"/>
                  <a:pt x="4430855" y="5661997"/>
                  <a:pt x="4432457" y="5661677"/>
                </a:cubicBezTo>
                <a:close/>
                <a:moveTo>
                  <a:pt x="4539862" y="5660715"/>
                </a:moveTo>
                <a:cubicBezTo>
                  <a:pt x="4539862" y="5665845"/>
                  <a:pt x="4537297" y="5665845"/>
                  <a:pt x="4537297" y="5668409"/>
                </a:cubicBezTo>
                <a:cubicBezTo>
                  <a:pt x="4532168" y="5668409"/>
                  <a:pt x="4532168" y="5665845"/>
                  <a:pt x="4532168" y="5663280"/>
                </a:cubicBezTo>
                <a:cubicBezTo>
                  <a:pt x="4534732" y="5665845"/>
                  <a:pt x="4534732" y="5663280"/>
                  <a:pt x="4539862" y="5660715"/>
                </a:cubicBezTo>
                <a:close/>
                <a:moveTo>
                  <a:pt x="4670670" y="5660714"/>
                </a:moveTo>
                <a:cubicBezTo>
                  <a:pt x="4670670" y="5658149"/>
                  <a:pt x="4675800" y="5663279"/>
                  <a:pt x="4678366" y="5660714"/>
                </a:cubicBezTo>
                <a:cubicBezTo>
                  <a:pt x="4686061" y="5668409"/>
                  <a:pt x="4691191" y="5681234"/>
                  <a:pt x="4686061" y="5691494"/>
                </a:cubicBezTo>
                <a:cubicBezTo>
                  <a:pt x="4704015" y="5681234"/>
                  <a:pt x="4724534" y="5681234"/>
                  <a:pt x="4742489" y="5681234"/>
                </a:cubicBezTo>
                <a:cubicBezTo>
                  <a:pt x="4747618" y="5699188"/>
                  <a:pt x="4752748" y="5717143"/>
                  <a:pt x="4752748" y="5735097"/>
                </a:cubicBezTo>
                <a:cubicBezTo>
                  <a:pt x="4755313" y="5740227"/>
                  <a:pt x="4750183" y="5740227"/>
                  <a:pt x="4747618" y="5745357"/>
                </a:cubicBezTo>
                <a:cubicBezTo>
                  <a:pt x="4750183" y="5750486"/>
                  <a:pt x="4752748" y="5758181"/>
                  <a:pt x="4755313" y="5765876"/>
                </a:cubicBezTo>
                <a:cubicBezTo>
                  <a:pt x="4729664" y="5755616"/>
                  <a:pt x="4701450" y="5745357"/>
                  <a:pt x="4662976" y="5747922"/>
                </a:cubicBezTo>
                <a:cubicBezTo>
                  <a:pt x="4665541" y="5722273"/>
                  <a:pt x="4665541" y="5696624"/>
                  <a:pt x="4668105" y="5670974"/>
                </a:cubicBezTo>
                <a:cubicBezTo>
                  <a:pt x="4668105" y="5668409"/>
                  <a:pt x="4675800" y="5665844"/>
                  <a:pt x="4670670" y="5660714"/>
                </a:cubicBezTo>
                <a:close/>
                <a:moveTo>
                  <a:pt x="3875555" y="5653021"/>
                </a:moveTo>
                <a:cubicBezTo>
                  <a:pt x="3880684" y="5653021"/>
                  <a:pt x="3878120" y="5660715"/>
                  <a:pt x="3872990" y="5660715"/>
                </a:cubicBezTo>
                <a:cubicBezTo>
                  <a:pt x="3872990" y="5658150"/>
                  <a:pt x="3875555" y="5658150"/>
                  <a:pt x="3875555" y="5653021"/>
                </a:cubicBezTo>
                <a:close/>
                <a:moveTo>
                  <a:pt x="4368013" y="5653020"/>
                </a:moveTo>
                <a:cubicBezTo>
                  <a:pt x="4375708" y="5653020"/>
                  <a:pt x="4383403" y="5658149"/>
                  <a:pt x="4391098" y="5660714"/>
                </a:cubicBezTo>
                <a:cubicBezTo>
                  <a:pt x="4396227" y="5660714"/>
                  <a:pt x="4396227" y="5658149"/>
                  <a:pt x="4398792" y="5655584"/>
                </a:cubicBezTo>
                <a:cubicBezTo>
                  <a:pt x="4398792" y="5663279"/>
                  <a:pt x="4396227" y="5681234"/>
                  <a:pt x="4406487" y="5683799"/>
                </a:cubicBezTo>
                <a:cubicBezTo>
                  <a:pt x="4403922" y="5688929"/>
                  <a:pt x="4396227" y="5686364"/>
                  <a:pt x="4393662" y="5686364"/>
                </a:cubicBezTo>
                <a:cubicBezTo>
                  <a:pt x="4396227" y="5706883"/>
                  <a:pt x="4406487" y="5722273"/>
                  <a:pt x="4419311" y="5735097"/>
                </a:cubicBezTo>
                <a:cubicBezTo>
                  <a:pt x="4411617" y="5737662"/>
                  <a:pt x="4414182" y="5750486"/>
                  <a:pt x="4409052" y="5758181"/>
                </a:cubicBezTo>
                <a:cubicBezTo>
                  <a:pt x="4409052" y="5747922"/>
                  <a:pt x="4398792" y="5742792"/>
                  <a:pt x="4393662" y="5750486"/>
                </a:cubicBezTo>
                <a:cubicBezTo>
                  <a:pt x="4393662" y="5765876"/>
                  <a:pt x="4409052" y="5776135"/>
                  <a:pt x="4401357" y="5791525"/>
                </a:cubicBezTo>
                <a:cubicBezTo>
                  <a:pt x="4393662" y="5788960"/>
                  <a:pt x="4398792" y="5778700"/>
                  <a:pt x="4396227" y="5771006"/>
                </a:cubicBezTo>
                <a:cubicBezTo>
                  <a:pt x="4393662" y="5771006"/>
                  <a:pt x="4391098" y="5771006"/>
                  <a:pt x="4391098" y="5773571"/>
                </a:cubicBezTo>
                <a:cubicBezTo>
                  <a:pt x="4380838" y="5753051"/>
                  <a:pt x="4378273" y="5724837"/>
                  <a:pt x="4370578" y="5704319"/>
                </a:cubicBezTo>
                <a:cubicBezTo>
                  <a:pt x="4368013" y="5694059"/>
                  <a:pt x="4362883" y="5686364"/>
                  <a:pt x="4365449" y="5678670"/>
                </a:cubicBezTo>
                <a:cubicBezTo>
                  <a:pt x="4370578" y="5676105"/>
                  <a:pt x="4378273" y="5676105"/>
                  <a:pt x="4378273" y="5665844"/>
                </a:cubicBezTo>
                <a:cubicBezTo>
                  <a:pt x="4375708" y="5660714"/>
                  <a:pt x="4368013" y="5668409"/>
                  <a:pt x="4362883" y="5663279"/>
                </a:cubicBezTo>
                <a:cubicBezTo>
                  <a:pt x="4365449" y="5660714"/>
                  <a:pt x="4373143" y="5658149"/>
                  <a:pt x="4368013" y="5653020"/>
                </a:cubicBezTo>
                <a:close/>
                <a:moveTo>
                  <a:pt x="4455220" y="5647890"/>
                </a:moveTo>
                <a:cubicBezTo>
                  <a:pt x="4462915" y="5668410"/>
                  <a:pt x="4498824" y="5673540"/>
                  <a:pt x="4521908" y="5665844"/>
                </a:cubicBezTo>
                <a:cubicBezTo>
                  <a:pt x="4527037" y="5668410"/>
                  <a:pt x="4529602" y="5676105"/>
                  <a:pt x="4534732" y="5678670"/>
                </a:cubicBezTo>
                <a:cubicBezTo>
                  <a:pt x="4534732" y="5706883"/>
                  <a:pt x="4534732" y="5750486"/>
                  <a:pt x="4534732" y="5768441"/>
                </a:cubicBezTo>
                <a:cubicBezTo>
                  <a:pt x="4529602" y="5768441"/>
                  <a:pt x="4527037" y="5765876"/>
                  <a:pt x="4524473" y="5765876"/>
                </a:cubicBezTo>
                <a:cubicBezTo>
                  <a:pt x="4521908" y="5755617"/>
                  <a:pt x="4527037" y="5745357"/>
                  <a:pt x="4521908" y="5740227"/>
                </a:cubicBezTo>
                <a:cubicBezTo>
                  <a:pt x="4514213" y="5737662"/>
                  <a:pt x="4516778" y="5747922"/>
                  <a:pt x="4511648" y="5750486"/>
                </a:cubicBezTo>
                <a:cubicBezTo>
                  <a:pt x="4511648" y="5737662"/>
                  <a:pt x="4524473" y="5722273"/>
                  <a:pt x="4514213" y="5712013"/>
                </a:cubicBezTo>
                <a:cubicBezTo>
                  <a:pt x="4503954" y="5719708"/>
                  <a:pt x="4493694" y="5724837"/>
                  <a:pt x="4493694" y="5740227"/>
                </a:cubicBezTo>
                <a:cubicBezTo>
                  <a:pt x="4480870" y="5729968"/>
                  <a:pt x="4501388" y="5706883"/>
                  <a:pt x="4496259" y="5696624"/>
                </a:cubicBezTo>
                <a:cubicBezTo>
                  <a:pt x="4488564" y="5701754"/>
                  <a:pt x="4485999" y="5714578"/>
                  <a:pt x="4483434" y="5724837"/>
                </a:cubicBezTo>
                <a:cubicBezTo>
                  <a:pt x="4480870" y="5719708"/>
                  <a:pt x="4473175" y="5714578"/>
                  <a:pt x="4470610" y="5706883"/>
                </a:cubicBezTo>
                <a:cubicBezTo>
                  <a:pt x="4468045" y="5706883"/>
                  <a:pt x="4465480" y="5712013"/>
                  <a:pt x="4462915" y="5709448"/>
                </a:cubicBezTo>
                <a:cubicBezTo>
                  <a:pt x="4457784" y="5691494"/>
                  <a:pt x="4457784" y="5668410"/>
                  <a:pt x="4455220" y="5647890"/>
                </a:cubicBezTo>
                <a:close/>
                <a:moveTo>
                  <a:pt x="4427007" y="5642761"/>
                </a:moveTo>
                <a:cubicBezTo>
                  <a:pt x="4429572" y="5645326"/>
                  <a:pt x="4424442" y="5645326"/>
                  <a:pt x="4424442" y="5650455"/>
                </a:cubicBezTo>
                <a:cubicBezTo>
                  <a:pt x="4419312" y="5647890"/>
                  <a:pt x="4421877" y="5642761"/>
                  <a:pt x="4427007" y="5642761"/>
                </a:cubicBezTo>
                <a:close/>
                <a:moveTo>
                  <a:pt x="4360320" y="5642761"/>
                </a:moveTo>
                <a:cubicBezTo>
                  <a:pt x="4362885" y="5642761"/>
                  <a:pt x="4360320" y="5650455"/>
                  <a:pt x="4368014" y="5647890"/>
                </a:cubicBezTo>
                <a:cubicBezTo>
                  <a:pt x="4365450" y="5653021"/>
                  <a:pt x="4362885" y="5647890"/>
                  <a:pt x="4360320" y="5650455"/>
                </a:cubicBezTo>
                <a:cubicBezTo>
                  <a:pt x="4357755" y="5647890"/>
                  <a:pt x="4360320" y="5647890"/>
                  <a:pt x="4360320" y="5642761"/>
                </a:cubicBezTo>
                <a:close/>
                <a:moveTo>
                  <a:pt x="4680930" y="5611982"/>
                </a:moveTo>
                <a:cubicBezTo>
                  <a:pt x="4691190" y="5611982"/>
                  <a:pt x="4691190" y="5617111"/>
                  <a:pt x="4701450" y="5614547"/>
                </a:cubicBezTo>
                <a:cubicBezTo>
                  <a:pt x="4693755" y="5617111"/>
                  <a:pt x="4686060" y="5619676"/>
                  <a:pt x="4678366" y="5624806"/>
                </a:cubicBezTo>
                <a:cubicBezTo>
                  <a:pt x="4680930" y="5619676"/>
                  <a:pt x="4680930" y="5617111"/>
                  <a:pt x="4680930" y="5611982"/>
                </a:cubicBezTo>
                <a:close/>
                <a:moveTo>
                  <a:pt x="4655282" y="5606853"/>
                </a:moveTo>
                <a:cubicBezTo>
                  <a:pt x="4660412" y="5609417"/>
                  <a:pt x="4665542" y="5609417"/>
                  <a:pt x="4670671" y="5609417"/>
                </a:cubicBezTo>
                <a:cubicBezTo>
                  <a:pt x="4670671" y="5622242"/>
                  <a:pt x="4665542" y="5627372"/>
                  <a:pt x="4665542" y="5637631"/>
                </a:cubicBezTo>
                <a:cubicBezTo>
                  <a:pt x="4657847" y="5632502"/>
                  <a:pt x="4655282" y="5624807"/>
                  <a:pt x="4655282" y="5606853"/>
                </a:cubicBezTo>
                <a:close/>
                <a:moveTo>
                  <a:pt x="4686061" y="5605569"/>
                </a:moveTo>
                <a:cubicBezTo>
                  <a:pt x="4687343" y="5605569"/>
                  <a:pt x="4688625" y="5606852"/>
                  <a:pt x="4688625" y="5609417"/>
                </a:cubicBezTo>
                <a:lnTo>
                  <a:pt x="4683496" y="5609417"/>
                </a:lnTo>
                <a:cubicBezTo>
                  <a:pt x="4683496" y="5606852"/>
                  <a:pt x="4684779" y="5605569"/>
                  <a:pt x="4686061" y="5605569"/>
                </a:cubicBezTo>
                <a:close/>
                <a:moveTo>
                  <a:pt x="5052840" y="5604287"/>
                </a:moveTo>
                <a:cubicBezTo>
                  <a:pt x="5027191" y="5601722"/>
                  <a:pt x="5014367" y="5614546"/>
                  <a:pt x="5009237" y="5632501"/>
                </a:cubicBezTo>
                <a:cubicBezTo>
                  <a:pt x="5032321" y="5632501"/>
                  <a:pt x="5060535" y="5635065"/>
                  <a:pt x="5052840" y="5604287"/>
                </a:cubicBezTo>
                <a:close/>
                <a:moveTo>
                  <a:pt x="4401358" y="5601723"/>
                </a:moveTo>
                <a:cubicBezTo>
                  <a:pt x="4409052" y="5606852"/>
                  <a:pt x="4419312" y="5606852"/>
                  <a:pt x="4429572" y="5604287"/>
                </a:cubicBezTo>
                <a:cubicBezTo>
                  <a:pt x="4432136" y="5611982"/>
                  <a:pt x="4429572" y="5624807"/>
                  <a:pt x="4429572" y="5629936"/>
                </a:cubicBezTo>
                <a:cubicBezTo>
                  <a:pt x="4424442" y="5619677"/>
                  <a:pt x="4411617" y="5622242"/>
                  <a:pt x="4409052" y="5629936"/>
                </a:cubicBezTo>
                <a:cubicBezTo>
                  <a:pt x="4409052" y="5617112"/>
                  <a:pt x="4401358" y="5611982"/>
                  <a:pt x="4401358" y="5601723"/>
                </a:cubicBezTo>
                <a:close/>
                <a:moveTo>
                  <a:pt x="4570641" y="5599157"/>
                </a:moveTo>
                <a:cubicBezTo>
                  <a:pt x="4596290" y="5617111"/>
                  <a:pt x="4614244" y="5645325"/>
                  <a:pt x="4642457" y="5660714"/>
                </a:cubicBezTo>
                <a:cubicBezTo>
                  <a:pt x="4645022" y="5678669"/>
                  <a:pt x="4645022" y="5696623"/>
                  <a:pt x="4645022" y="5714577"/>
                </a:cubicBezTo>
                <a:cubicBezTo>
                  <a:pt x="4642457" y="5704317"/>
                  <a:pt x="4624503" y="5696623"/>
                  <a:pt x="4598854" y="5719707"/>
                </a:cubicBezTo>
                <a:cubicBezTo>
                  <a:pt x="4629633" y="5735096"/>
                  <a:pt x="4645022" y="5729966"/>
                  <a:pt x="4647588" y="5722272"/>
                </a:cubicBezTo>
                <a:cubicBezTo>
                  <a:pt x="4647588" y="5732531"/>
                  <a:pt x="4647588" y="5740226"/>
                  <a:pt x="4647588" y="5755615"/>
                </a:cubicBezTo>
                <a:cubicBezTo>
                  <a:pt x="4647588" y="5755615"/>
                  <a:pt x="4645022" y="5755615"/>
                  <a:pt x="4645022" y="5755615"/>
                </a:cubicBezTo>
                <a:cubicBezTo>
                  <a:pt x="4639893" y="5771004"/>
                  <a:pt x="4639893" y="5781264"/>
                  <a:pt x="4645022" y="5794089"/>
                </a:cubicBezTo>
                <a:cubicBezTo>
                  <a:pt x="4642457" y="5799218"/>
                  <a:pt x="4642457" y="5804348"/>
                  <a:pt x="4642457" y="5809478"/>
                </a:cubicBezTo>
                <a:cubicBezTo>
                  <a:pt x="4632198" y="5809478"/>
                  <a:pt x="4621939" y="5809478"/>
                  <a:pt x="4614244" y="5806913"/>
                </a:cubicBezTo>
                <a:cubicBezTo>
                  <a:pt x="4616808" y="5801783"/>
                  <a:pt x="4619374" y="5794089"/>
                  <a:pt x="4627068" y="5786394"/>
                </a:cubicBezTo>
                <a:cubicBezTo>
                  <a:pt x="4601419" y="5786394"/>
                  <a:pt x="4573205" y="5786394"/>
                  <a:pt x="4547555" y="5786394"/>
                </a:cubicBezTo>
                <a:cubicBezTo>
                  <a:pt x="4544991" y="5786394"/>
                  <a:pt x="4542426" y="5783829"/>
                  <a:pt x="4539861" y="5783829"/>
                </a:cubicBezTo>
                <a:cubicBezTo>
                  <a:pt x="4539861" y="5763310"/>
                  <a:pt x="4542426" y="5745356"/>
                  <a:pt x="4552685" y="5732531"/>
                </a:cubicBezTo>
                <a:cubicBezTo>
                  <a:pt x="4550121" y="5727401"/>
                  <a:pt x="4542426" y="5735096"/>
                  <a:pt x="4542426" y="5732531"/>
                </a:cubicBezTo>
                <a:cubicBezTo>
                  <a:pt x="4544991" y="5714577"/>
                  <a:pt x="4539861" y="5686363"/>
                  <a:pt x="4544991" y="5665844"/>
                </a:cubicBezTo>
                <a:cubicBezTo>
                  <a:pt x="4547555" y="5658149"/>
                  <a:pt x="4568076" y="5640195"/>
                  <a:pt x="4544991" y="5640195"/>
                </a:cubicBezTo>
                <a:cubicBezTo>
                  <a:pt x="4547555" y="5632500"/>
                  <a:pt x="4560381" y="5637630"/>
                  <a:pt x="4560381" y="5632500"/>
                </a:cubicBezTo>
                <a:cubicBezTo>
                  <a:pt x="4557816" y="5627371"/>
                  <a:pt x="4555251" y="5624806"/>
                  <a:pt x="4550121" y="5624806"/>
                </a:cubicBezTo>
                <a:cubicBezTo>
                  <a:pt x="4555251" y="5617111"/>
                  <a:pt x="4555251" y="5609416"/>
                  <a:pt x="4560381" y="5604286"/>
                </a:cubicBezTo>
                <a:cubicBezTo>
                  <a:pt x="4565511" y="5604286"/>
                  <a:pt x="4565511" y="5609416"/>
                  <a:pt x="4568076" y="5606851"/>
                </a:cubicBezTo>
                <a:cubicBezTo>
                  <a:pt x="4568076" y="5604286"/>
                  <a:pt x="4570641" y="5601722"/>
                  <a:pt x="4568076" y="5601722"/>
                </a:cubicBezTo>
                <a:cubicBezTo>
                  <a:pt x="4568076" y="5599157"/>
                  <a:pt x="4570641" y="5599157"/>
                  <a:pt x="4570641" y="5599157"/>
                </a:cubicBezTo>
                <a:close/>
                <a:moveTo>
                  <a:pt x="4655282" y="5596592"/>
                </a:moveTo>
                <a:cubicBezTo>
                  <a:pt x="4657847" y="5594028"/>
                  <a:pt x="4662977" y="5594028"/>
                  <a:pt x="4665542" y="5596592"/>
                </a:cubicBezTo>
                <a:cubicBezTo>
                  <a:pt x="4665542" y="5599157"/>
                  <a:pt x="4662977" y="5601722"/>
                  <a:pt x="4657847" y="5601722"/>
                </a:cubicBezTo>
                <a:cubicBezTo>
                  <a:pt x="4655282" y="5601722"/>
                  <a:pt x="4652717" y="5601722"/>
                  <a:pt x="4655282" y="5596592"/>
                </a:cubicBezTo>
                <a:close/>
                <a:moveTo>
                  <a:pt x="4470609" y="5581204"/>
                </a:moveTo>
                <a:cubicBezTo>
                  <a:pt x="4475740" y="5588898"/>
                  <a:pt x="4460350" y="5591463"/>
                  <a:pt x="4465479" y="5596593"/>
                </a:cubicBezTo>
                <a:cubicBezTo>
                  <a:pt x="4460350" y="5596593"/>
                  <a:pt x="4462914" y="5588898"/>
                  <a:pt x="4460350" y="5586333"/>
                </a:cubicBezTo>
                <a:cubicBezTo>
                  <a:pt x="4468044" y="5586333"/>
                  <a:pt x="4468044" y="5583768"/>
                  <a:pt x="4470609" y="5581204"/>
                </a:cubicBezTo>
                <a:close/>
                <a:moveTo>
                  <a:pt x="4527038" y="5578639"/>
                </a:moveTo>
                <a:cubicBezTo>
                  <a:pt x="4527038" y="5583768"/>
                  <a:pt x="4534732" y="5591463"/>
                  <a:pt x="4532168" y="5596593"/>
                </a:cubicBezTo>
                <a:cubicBezTo>
                  <a:pt x="4524473" y="5596593"/>
                  <a:pt x="4511649" y="5596593"/>
                  <a:pt x="4501389" y="5596593"/>
                </a:cubicBezTo>
                <a:cubicBezTo>
                  <a:pt x="4509083" y="5588899"/>
                  <a:pt x="4521908" y="5586333"/>
                  <a:pt x="4527038" y="5578639"/>
                </a:cubicBezTo>
                <a:close/>
                <a:moveTo>
                  <a:pt x="4627069" y="5576074"/>
                </a:moveTo>
                <a:cubicBezTo>
                  <a:pt x="4639893" y="5583768"/>
                  <a:pt x="4639893" y="5596593"/>
                  <a:pt x="4642458" y="5609417"/>
                </a:cubicBezTo>
                <a:cubicBezTo>
                  <a:pt x="4637328" y="5609417"/>
                  <a:pt x="4634763" y="5604287"/>
                  <a:pt x="4629633" y="5601723"/>
                </a:cubicBezTo>
                <a:cubicBezTo>
                  <a:pt x="4634763" y="5591463"/>
                  <a:pt x="4629633" y="5583768"/>
                  <a:pt x="4627069" y="5576074"/>
                </a:cubicBezTo>
                <a:close/>
                <a:moveTo>
                  <a:pt x="4537297" y="5573509"/>
                </a:moveTo>
                <a:cubicBezTo>
                  <a:pt x="4547556" y="5578638"/>
                  <a:pt x="4552686" y="5581203"/>
                  <a:pt x="4560381" y="5586333"/>
                </a:cubicBezTo>
                <a:cubicBezTo>
                  <a:pt x="4560381" y="5596593"/>
                  <a:pt x="4550121" y="5596593"/>
                  <a:pt x="4550121" y="5606852"/>
                </a:cubicBezTo>
                <a:cubicBezTo>
                  <a:pt x="4537297" y="5599158"/>
                  <a:pt x="4547556" y="5581203"/>
                  <a:pt x="4537297" y="5573509"/>
                </a:cubicBezTo>
                <a:close/>
                <a:moveTo>
                  <a:pt x="5968508" y="5555555"/>
                </a:moveTo>
                <a:cubicBezTo>
                  <a:pt x="5973637" y="5565814"/>
                  <a:pt x="5963377" y="5563249"/>
                  <a:pt x="5963377" y="5568379"/>
                </a:cubicBezTo>
                <a:cubicBezTo>
                  <a:pt x="5960813" y="5568379"/>
                  <a:pt x="5960813" y="5565814"/>
                  <a:pt x="5963377" y="5565814"/>
                </a:cubicBezTo>
                <a:cubicBezTo>
                  <a:pt x="5965942" y="5560684"/>
                  <a:pt x="5960813" y="5560684"/>
                  <a:pt x="5958248" y="5560684"/>
                </a:cubicBezTo>
                <a:cubicBezTo>
                  <a:pt x="5960813" y="5555555"/>
                  <a:pt x="5965942" y="5558119"/>
                  <a:pt x="5968508" y="5555555"/>
                </a:cubicBezTo>
                <a:close/>
                <a:moveTo>
                  <a:pt x="4460350" y="5555554"/>
                </a:moveTo>
                <a:cubicBezTo>
                  <a:pt x="4462914" y="5552989"/>
                  <a:pt x="4470609" y="5558119"/>
                  <a:pt x="4475739" y="5555554"/>
                </a:cubicBezTo>
                <a:cubicBezTo>
                  <a:pt x="4478304" y="5563249"/>
                  <a:pt x="4470609" y="5563249"/>
                  <a:pt x="4462914" y="5568379"/>
                </a:cubicBezTo>
                <a:cubicBezTo>
                  <a:pt x="4462914" y="5560684"/>
                  <a:pt x="4460350" y="5558119"/>
                  <a:pt x="4460350" y="5555554"/>
                </a:cubicBezTo>
                <a:close/>
                <a:moveTo>
                  <a:pt x="4573205" y="5552990"/>
                </a:moveTo>
                <a:cubicBezTo>
                  <a:pt x="4575770" y="5552990"/>
                  <a:pt x="4575770" y="5555555"/>
                  <a:pt x="4578335" y="5555555"/>
                </a:cubicBezTo>
                <a:cubicBezTo>
                  <a:pt x="4575770" y="5563250"/>
                  <a:pt x="4575770" y="5570944"/>
                  <a:pt x="4575770" y="5578639"/>
                </a:cubicBezTo>
                <a:cubicBezTo>
                  <a:pt x="4573205" y="5576074"/>
                  <a:pt x="4573205" y="5578639"/>
                  <a:pt x="4568076" y="5576074"/>
                </a:cubicBezTo>
                <a:cubicBezTo>
                  <a:pt x="4568076" y="5568379"/>
                  <a:pt x="4573205" y="5563250"/>
                  <a:pt x="4573205" y="5552990"/>
                </a:cubicBezTo>
                <a:close/>
                <a:moveTo>
                  <a:pt x="5973637" y="5550425"/>
                </a:moveTo>
                <a:cubicBezTo>
                  <a:pt x="5986461" y="5550425"/>
                  <a:pt x="5978766" y="5558119"/>
                  <a:pt x="5976201" y="5563249"/>
                </a:cubicBezTo>
                <a:cubicBezTo>
                  <a:pt x="5971072" y="5560684"/>
                  <a:pt x="5976201" y="5558119"/>
                  <a:pt x="5973637" y="5550425"/>
                </a:cubicBezTo>
                <a:close/>
                <a:moveTo>
                  <a:pt x="4792552" y="5546095"/>
                </a:moveTo>
                <a:lnTo>
                  <a:pt x="4796351" y="5550424"/>
                </a:lnTo>
                <a:lnTo>
                  <a:pt x="4791994" y="5552219"/>
                </a:lnTo>
                <a:close/>
                <a:moveTo>
                  <a:pt x="4552686" y="5545295"/>
                </a:moveTo>
                <a:cubicBezTo>
                  <a:pt x="4552686" y="5560684"/>
                  <a:pt x="4565511" y="5563249"/>
                  <a:pt x="4562946" y="5578638"/>
                </a:cubicBezTo>
                <a:cubicBezTo>
                  <a:pt x="4557816" y="5573509"/>
                  <a:pt x="4550122" y="5570944"/>
                  <a:pt x="4539862" y="5570944"/>
                </a:cubicBezTo>
                <a:cubicBezTo>
                  <a:pt x="4539862" y="5568379"/>
                  <a:pt x="4542427" y="5565814"/>
                  <a:pt x="4539862" y="5565814"/>
                </a:cubicBezTo>
                <a:cubicBezTo>
                  <a:pt x="4542427" y="5560684"/>
                  <a:pt x="4550122" y="5560684"/>
                  <a:pt x="4552686" y="5555555"/>
                </a:cubicBezTo>
                <a:cubicBezTo>
                  <a:pt x="4550122" y="5550425"/>
                  <a:pt x="4542427" y="5552989"/>
                  <a:pt x="4544992" y="5547860"/>
                </a:cubicBezTo>
                <a:cubicBezTo>
                  <a:pt x="4547556" y="5545295"/>
                  <a:pt x="4550122" y="5545295"/>
                  <a:pt x="4552686" y="5545295"/>
                </a:cubicBezTo>
                <a:close/>
                <a:moveTo>
                  <a:pt x="4698886" y="5545294"/>
                </a:moveTo>
                <a:cubicBezTo>
                  <a:pt x="4709145" y="5545294"/>
                  <a:pt x="4714275" y="5550424"/>
                  <a:pt x="4727099" y="5552989"/>
                </a:cubicBezTo>
                <a:cubicBezTo>
                  <a:pt x="4727099" y="5573509"/>
                  <a:pt x="4732229" y="5591463"/>
                  <a:pt x="4732229" y="5614547"/>
                </a:cubicBezTo>
                <a:cubicBezTo>
                  <a:pt x="4729664" y="5614547"/>
                  <a:pt x="4729664" y="5614547"/>
                  <a:pt x="4727099" y="5614547"/>
                </a:cubicBezTo>
                <a:cubicBezTo>
                  <a:pt x="4727099" y="5611982"/>
                  <a:pt x="4727099" y="5609417"/>
                  <a:pt x="4729664" y="5606852"/>
                </a:cubicBezTo>
                <a:cubicBezTo>
                  <a:pt x="4727099" y="5601723"/>
                  <a:pt x="4724535" y="5599158"/>
                  <a:pt x="4721970" y="5599158"/>
                </a:cubicBezTo>
                <a:cubicBezTo>
                  <a:pt x="4714275" y="5601723"/>
                  <a:pt x="4711710" y="5606852"/>
                  <a:pt x="4709145" y="5609417"/>
                </a:cubicBezTo>
                <a:cubicBezTo>
                  <a:pt x="4701450" y="5601723"/>
                  <a:pt x="4696321" y="5596593"/>
                  <a:pt x="4696321" y="5586333"/>
                </a:cubicBezTo>
                <a:cubicBezTo>
                  <a:pt x="4696321" y="5581203"/>
                  <a:pt x="4704015" y="5578638"/>
                  <a:pt x="4704015" y="5573509"/>
                </a:cubicBezTo>
                <a:cubicBezTo>
                  <a:pt x="4706580" y="5560684"/>
                  <a:pt x="4701450" y="5555555"/>
                  <a:pt x="4698886" y="5545294"/>
                </a:cubicBezTo>
                <a:close/>
                <a:moveTo>
                  <a:pt x="4645022" y="5542729"/>
                </a:moveTo>
                <a:cubicBezTo>
                  <a:pt x="4647587" y="5552989"/>
                  <a:pt x="4642457" y="5573508"/>
                  <a:pt x="4639893" y="5581203"/>
                </a:cubicBezTo>
                <a:cubicBezTo>
                  <a:pt x="4629633" y="5568379"/>
                  <a:pt x="4642457" y="5555554"/>
                  <a:pt x="4645022" y="5542729"/>
                </a:cubicBezTo>
                <a:close/>
                <a:moveTo>
                  <a:pt x="5961494" y="5542410"/>
                </a:moveTo>
                <a:cubicBezTo>
                  <a:pt x="5964018" y="5543372"/>
                  <a:pt x="5964018" y="5552991"/>
                  <a:pt x="5958248" y="5545295"/>
                </a:cubicBezTo>
                <a:cubicBezTo>
                  <a:pt x="5959530" y="5542730"/>
                  <a:pt x="5960652" y="5542089"/>
                  <a:pt x="5961494" y="5542410"/>
                </a:cubicBezTo>
                <a:close/>
                <a:moveTo>
                  <a:pt x="4668106" y="5529905"/>
                </a:moveTo>
                <a:cubicBezTo>
                  <a:pt x="4678366" y="5532470"/>
                  <a:pt x="4683496" y="5540165"/>
                  <a:pt x="4693755" y="5542730"/>
                </a:cubicBezTo>
                <a:cubicBezTo>
                  <a:pt x="4691190" y="5545295"/>
                  <a:pt x="4691190" y="5555555"/>
                  <a:pt x="4688625" y="5560684"/>
                </a:cubicBezTo>
                <a:cubicBezTo>
                  <a:pt x="4686061" y="5565814"/>
                  <a:pt x="4683496" y="5576074"/>
                  <a:pt x="4683496" y="5570944"/>
                </a:cubicBezTo>
                <a:cubicBezTo>
                  <a:pt x="4683496" y="5560684"/>
                  <a:pt x="4688625" y="5547860"/>
                  <a:pt x="4680931" y="5545295"/>
                </a:cubicBezTo>
                <a:cubicBezTo>
                  <a:pt x="4673236" y="5545295"/>
                  <a:pt x="4670671" y="5552990"/>
                  <a:pt x="4668106" y="5560684"/>
                </a:cubicBezTo>
                <a:cubicBezTo>
                  <a:pt x="4662976" y="5558119"/>
                  <a:pt x="4660412" y="5558119"/>
                  <a:pt x="4657847" y="5558119"/>
                </a:cubicBezTo>
                <a:cubicBezTo>
                  <a:pt x="4660412" y="5545295"/>
                  <a:pt x="4662976" y="5537600"/>
                  <a:pt x="4668106" y="5529905"/>
                </a:cubicBezTo>
                <a:close/>
                <a:moveTo>
                  <a:pt x="4586029" y="5524776"/>
                </a:moveTo>
                <a:cubicBezTo>
                  <a:pt x="4591159" y="5527340"/>
                  <a:pt x="4596289" y="5532470"/>
                  <a:pt x="4593724" y="5537600"/>
                </a:cubicBezTo>
                <a:cubicBezTo>
                  <a:pt x="4593724" y="5532470"/>
                  <a:pt x="4583465" y="5529905"/>
                  <a:pt x="4586029" y="5524776"/>
                </a:cubicBezTo>
                <a:close/>
                <a:moveTo>
                  <a:pt x="4293632" y="5522210"/>
                </a:moveTo>
                <a:cubicBezTo>
                  <a:pt x="4306456" y="5540165"/>
                  <a:pt x="4314151" y="5573509"/>
                  <a:pt x="4324410" y="5596592"/>
                </a:cubicBezTo>
                <a:cubicBezTo>
                  <a:pt x="4309021" y="5578638"/>
                  <a:pt x="4303891" y="5550425"/>
                  <a:pt x="4293632" y="5522210"/>
                </a:cubicBezTo>
                <a:close/>
                <a:moveTo>
                  <a:pt x="4614564" y="5518043"/>
                </a:moveTo>
                <a:cubicBezTo>
                  <a:pt x="4618091" y="5519005"/>
                  <a:pt x="4621938" y="5520929"/>
                  <a:pt x="4624503" y="5522211"/>
                </a:cubicBezTo>
                <a:cubicBezTo>
                  <a:pt x="4621938" y="5524776"/>
                  <a:pt x="4621938" y="5527340"/>
                  <a:pt x="4619373" y="5527340"/>
                </a:cubicBezTo>
                <a:cubicBezTo>
                  <a:pt x="4619373" y="5522211"/>
                  <a:pt x="4616808" y="5522211"/>
                  <a:pt x="4616808" y="5519646"/>
                </a:cubicBezTo>
                <a:cubicBezTo>
                  <a:pt x="4611678" y="5519646"/>
                  <a:pt x="4611678" y="5522211"/>
                  <a:pt x="4606549" y="5519646"/>
                </a:cubicBezTo>
                <a:cubicBezTo>
                  <a:pt x="4607831" y="5517081"/>
                  <a:pt x="4611037" y="5517081"/>
                  <a:pt x="4614564" y="5518043"/>
                </a:cubicBezTo>
                <a:close/>
                <a:moveTo>
                  <a:pt x="4632197" y="5517081"/>
                </a:moveTo>
                <a:cubicBezTo>
                  <a:pt x="4637327" y="5519646"/>
                  <a:pt x="4645022" y="5519646"/>
                  <a:pt x="4647587" y="5522211"/>
                </a:cubicBezTo>
                <a:cubicBezTo>
                  <a:pt x="4645022" y="5532471"/>
                  <a:pt x="4634763" y="5545295"/>
                  <a:pt x="4634763" y="5558120"/>
                </a:cubicBezTo>
                <a:lnTo>
                  <a:pt x="4627068" y="5558120"/>
                </a:lnTo>
                <a:cubicBezTo>
                  <a:pt x="4624503" y="5547860"/>
                  <a:pt x="4634763" y="5540166"/>
                  <a:pt x="4629632" y="5535036"/>
                </a:cubicBezTo>
                <a:cubicBezTo>
                  <a:pt x="4627068" y="5537601"/>
                  <a:pt x="4624503" y="5537601"/>
                  <a:pt x="4624503" y="5537601"/>
                </a:cubicBezTo>
                <a:cubicBezTo>
                  <a:pt x="4624503" y="5532471"/>
                  <a:pt x="4629632" y="5524776"/>
                  <a:pt x="4632197" y="5517081"/>
                </a:cubicBezTo>
                <a:close/>
                <a:moveTo>
                  <a:pt x="4645022" y="5506822"/>
                </a:moveTo>
                <a:cubicBezTo>
                  <a:pt x="4645022" y="5511952"/>
                  <a:pt x="4645022" y="5511952"/>
                  <a:pt x="4645022" y="5514516"/>
                </a:cubicBezTo>
                <a:cubicBezTo>
                  <a:pt x="4639892" y="5514516"/>
                  <a:pt x="4637327" y="5517082"/>
                  <a:pt x="4634763" y="5511952"/>
                </a:cubicBezTo>
                <a:cubicBezTo>
                  <a:pt x="4637327" y="5509387"/>
                  <a:pt x="4639892" y="5506822"/>
                  <a:pt x="4645022" y="5506822"/>
                </a:cubicBezTo>
                <a:close/>
                <a:moveTo>
                  <a:pt x="4709145" y="5491433"/>
                </a:moveTo>
                <a:cubicBezTo>
                  <a:pt x="4714274" y="5499127"/>
                  <a:pt x="4714274" y="5509387"/>
                  <a:pt x="4716840" y="5519646"/>
                </a:cubicBezTo>
                <a:cubicBezTo>
                  <a:pt x="4711710" y="5517082"/>
                  <a:pt x="4711710" y="5514517"/>
                  <a:pt x="4706580" y="5514517"/>
                </a:cubicBezTo>
                <a:cubicBezTo>
                  <a:pt x="4706580" y="5506822"/>
                  <a:pt x="4709145" y="5501692"/>
                  <a:pt x="4709145" y="5491433"/>
                </a:cubicBezTo>
                <a:close/>
                <a:moveTo>
                  <a:pt x="3054787" y="5486303"/>
                </a:moveTo>
                <a:cubicBezTo>
                  <a:pt x="3051581" y="5501051"/>
                  <a:pt x="3047413" y="5514517"/>
                  <a:pt x="3042484" y="5527021"/>
                </a:cubicBezTo>
                <a:lnTo>
                  <a:pt x="3040513" y="5531102"/>
                </a:lnTo>
                <a:close/>
                <a:moveTo>
                  <a:pt x="4934855" y="5486302"/>
                </a:moveTo>
                <a:cubicBezTo>
                  <a:pt x="4950244" y="5522210"/>
                  <a:pt x="4891252" y="5555554"/>
                  <a:pt x="4934855" y="5573508"/>
                </a:cubicBezTo>
                <a:cubicBezTo>
                  <a:pt x="4939985" y="5555554"/>
                  <a:pt x="4998978" y="5522210"/>
                  <a:pt x="5009237" y="5558118"/>
                </a:cubicBezTo>
                <a:cubicBezTo>
                  <a:pt x="4983588" y="5570943"/>
                  <a:pt x="4929725" y="5558118"/>
                  <a:pt x="4934855" y="5601722"/>
                </a:cubicBezTo>
                <a:cubicBezTo>
                  <a:pt x="4960504" y="5601722"/>
                  <a:pt x="4983588" y="5601722"/>
                  <a:pt x="5009237" y="5601722"/>
                </a:cubicBezTo>
                <a:cubicBezTo>
                  <a:pt x="5022061" y="5583767"/>
                  <a:pt x="5022061" y="5550424"/>
                  <a:pt x="5037451" y="5529905"/>
                </a:cubicBezTo>
                <a:cubicBezTo>
                  <a:pt x="5004107" y="5488866"/>
                  <a:pt x="4973329" y="5529905"/>
                  <a:pt x="4934855" y="5486302"/>
                </a:cubicBezTo>
                <a:close/>
                <a:moveTo>
                  <a:pt x="4619373" y="5481173"/>
                </a:moveTo>
                <a:cubicBezTo>
                  <a:pt x="4627068" y="5486303"/>
                  <a:pt x="4616808" y="5486303"/>
                  <a:pt x="4616808" y="5493997"/>
                </a:cubicBezTo>
                <a:cubicBezTo>
                  <a:pt x="4614244" y="5491433"/>
                  <a:pt x="4614244" y="5488867"/>
                  <a:pt x="4614244" y="5486303"/>
                </a:cubicBezTo>
                <a:cubicBezTo>
                  <a:pt x="4619373" y="5486303"/>
                  <a:pt x="4619373" y="5483738"/>
                  <a:pt x="4619373" y="5481173"/>
                </a:cubicBezTo>
                <a:close/>
                <a:moveTo>
                  <a:pt x="4698885" y="5476042"/>
                </a:moveTo>
                <a:cubicBezTo>
                  <a:pt x="4706580" y="5483737"/>
                  <a:pt x="4701450" y="5501692"/>
                  <a:pt x="4698885" y="5511951"/>
                </a:cubicBezTo>
                <a:cubicBezTo>
                  <a:pt x="4686061" y="5511951"/>
                  <a:pt x="4668106" y="5509386"/>
                  <a:pt x="4657846" y="5514516"/>
                </a:cubicBezTo>
                <a:cubicBezTo>
                  <a:pt x="4662976" y="5499127"/>
                  <a:pt x="4688625" y="5514516"/>
                  <a:pt x="4696320" y="5506821"/>
                </a:cubicBezTo>
                <a:cubicBezTo>
                  <a:pt x="4693755" y="5499127"/>
                  <a:pt x="4686061" y="5499127"/>
                  <a:pt x="4680931" y="5496562"/>
                </a:cubicBezTo>
                <a:cubicBezTo>
                  <a:pt x="4680931" y="5493997"/>
                  <a:pt x="4683496" y="5491432"/>
                  <a:pt x="4680931" y="5491432"/>
                </a:cubicBezTo>
                <a:cubicBezTo>
                  <a:pt x="4686061" y="5483737"/>
                  <a:pt x="4696320" y="5483737"/>
                  <a:pt x="4698885" y="5476042"/>
                </a:cubicBezTo>
                <a:close/>
                <a:moveTo>
                  <a:pt x="4601419" y="5473477"/>
                </a:moveTo>
                <a:cubicBezTo>
                  <a:pt x="4606549" y="5476042"/>
                  <a:pt x="4601419" y="5481172"/>
                  <a:pt x="4601419" y="5483737"/>
                </a:cubicBezTo>
                <a:cubicBezTo>
                  <a:pt x="4588595" y="5483737"/>
                  <a:pt x="4573205" y="5501691"/>
                  <a:pt x="4583465" y="5514516"/>
                </a:cubicBezTo>
                <a:cubicBezTo>
                  <a:pt x="4575770" y="5527340"/>
                  <a:pt x="4562946" y="5522211"/>
                  <a:pt x="4552686" y="5524776"/>
                </a:cubicBezTo>
                <a:cubicBezTo>
                  <a:pt x="4552686" y="5519645"/>
                  <a:pt x="4555251" y="5514516"/>
                  <a:pt x="4552686" y="5511951"/>
                </a:cubicBezTo>
                <a:cubicBezTo>
                  <a:pt x="4547556" y="5514516"/>
                  <a:pt x="4547556" y="5517081"/>
                  <a:pt x="4542426" y="5517081"/>
                </a:cubicBezTo>
                <a:cubicBezTo>
                  <a:pt x="4547556" y="5506821"/>
                  <a:pt x="4552686" y="5493997"/>
                  <a:pt x="4557816" y="5483737"/>
                </a:cubicBezTo>
                <a:cubicBezTo>
                  <a:pt x="4578335" y="5483737"/>
                  <a:pt x="4591160" y="5486302"/>
                  <a:pt x="4601419" y="5473477"/>
                </a:cubicBezTo>
                <a:close/>
                <a:moveTo>
                  <a:pt x="4632198" y="5460654"/>
                </a:moveTo>
                <a:cubicBezTo>
                  <a:pt x="4632198" y="5463219"/>
                  <a:pt x="4629633" y="5465784"/>
                  <a:pt x="4629633" y="5468348"/>
                </a:cubicBezTo>
                <a:cubicBezTo>
                  <a:pt x="4624503" y="5465784"/>
                  <a:pt x="4627068" y="5458089"/>
                  <a:pt x="4632198" y="5460654"/>
                </a:cubicBezTo>
                <a:close/>
                <a:moveTo>
                  <a:pt x="4344930" y="5460654"/>
                </a:moveTo>
                <a:cubicBezTo>
                  <a:pt x="4347494" y="5460654"/>
                  <a:pt x="4344930" y="5468348"/>
                  <a:pt x="4347494" y="5473478"/>
                </a:cubicBezTo>
                <a:cubicBezTo>
                  <a:pt x="4339800" y="5470913"/>
                  <a:pt x="4344930" y="5463218"/>
                  <a:pt x="4344930" y="5460654"/>
                </a:cubicBezTo>
                <a:close/>
                <a:moveTo>
                  <a:pt x="3036835" y="5460653"/>
                </a:moveTo>
                <a:cubicBezTo>
                  <a:pt x="3034269" y="5509386"/>
                  <a:pt x="3013751" y="5552989"/>
                  <a:pt x="2993231" y="5581203"/>
                </a:cubicBezTo>
                <a:cubicBezTo>
                  <a:pt x="2988101" y="5586332"/>
                  <a:pt x="2980406" y="5594027"/>
                  <a:pt x="2970147" y="5604286"/>
                </a:cubicBezTo>
                <a:cubicBezTo>
                  <a:pt x="2936803" y="5637630"/>
                  <a:pt x="2890634" y="5683798"/>
                  <a:pt x="2890634" y="5737661"/>
                </a:cubicBezTo>
                <a:cubicBezTo>
                  <a:pt x="2888069" y="5727401"/>
                  <a:pt x="2882939" y="5722272"/>
                  <a:pt x="2882939" y="5722272"/>
                </a:cubicBezTo>
                <a:cubicBezTo>
                  <a:pt x="2877810" y="5717142"/>
                  <a:pt x="2875245" y="5714577"/>
                  <a:pt x="2875245" y="5709447"/>
                </a:cubicBezTo>
                <a:lnTo>
                  <a:pt x="2875245" y="5706882"/>
                </a:lnTo>
                <a:cubicBezTo>
                  <a:pt x="2936803" y="5640195"/>
                  <a:pt x="3000926" y="5570943"/>
                  <a:pt x="3036835" y="5460653"/>
                </a:cubicBezTo>
                <a:close/>
                <a:moveTo>
                  <a:pt x="4247463" y="5424744"/>
                </a:moveTo>
                <a:cubicBezTo>
                  <a:pt x="4262853" y="5447829"/>
                  <a:pt x="4275678" y="5473478"/>
                  <a:pt x="4285937" y="5504257"/>
                </a:cubicBezTo>
                <a:cubicBezTo>
                  <a:pt x="4273113" y="5481172"/>
                  <a:pt x="4260288" y="5450394"/>
                  <a:pt x="4247463" y="5424744"/>
                </a:cubicBezTo>
                <a:close/>
                <a:moveTo>
                  <a:pt x="4247463" y="5409356"/>
                </a:moveTo>
                <a:cubicBezTo>
                  <a:pt x="4250029" y="5409356"/>
                  <a:pt x="4247463" y="5414485"/>
                  <a:pt x="4247463" y="5419615"/>
                </a:cubicBezTo>
                <a:cubicBezTo>
                  <a:pt x="4242334" y="5419615"/>
                  <a:pt x="4239769" y="5419615"/>
                  <a:pt x="4239769" y="5414485"/>
                </a:cubicBezTo>
                <a:cubicBezTo>
                  <a:pt x="4244898" y="5411920"/>
                  <a:pt x="4247463" y="5411920"/>
                  <a:pt x="4247463" y="5409356"/>
                </a:cubicBezTo>
                <a:close/>
                <a:moveTo>
                  <a:pt x="4511648" y="5393966"/>
                </a:moveTo>
                <a:cubicBezTo>
                  <a:pt x="4511648" y="5409355"/>
                  <a:pt x="4534732" y="5417051"/>
                  <a:pt x="4542427" y="5409355"/>
                </a:cubicBezTo>
                <a:cubicBezTo>
                  <a:pt x="4534732" y="5442700"/>
                  <a:pt x="4550121" y="5493997"/>
                  <a:pt x="4534732" y="5519646"/>
                </a:cubicBezTo>
                <a:cubicBezTo>
                  <a:pt x="4527037" y="5519646"/>
                  <a:pt x="4532167" y="5514517"/>
                  <a:pt x="4529602" y="5509387"/>
                </a:cubicBezTo>
                <a:cubicBezTo>
                  <a:pt x="4521907" y="5496562"/>
                  <a:pt x="4521907" y="5470913"/>
                  <a:pt x="4516778" y="5447830"/>
                </a:cubicBezTo>
                <a:cubicBezTo>
                  <a:pt x="4511648" y="5427310"/>
                  <a:pt x="4498823" y="5406790"/>
                  <a:pt x="4511648" y="5393966"/>
                </a:cubicBezTo>
                <a:close/>
                <a:moveTo>
                  <a:pt x="2411002" y="5393966"/>
                </a:moveTo>
                <a:cubicBezTo>
                  <a:pt x="2375092" y="5419616"/>
                  <a:pt x="2334054" y="5445265"/>
                  <a:pt x="2295581" y="5470913"/>
                </a:cubicBezTo>
                <a:cubicBezTo>
                  <a:pt x="2295581" y="5470913"/>
                  <a:pt x="2295581" y="5468348"/>
                  <a:pt x="2295581" y="5468348"/>
                </a:cubicBezTo>
                <a:cubicBezTo>
                  <a:pt x="2331489" y="5442700"/>
                  <a:pt x="2372527" y="5417051"/>
                  <a:pt x="2411002" y="5393966"/>
                </a:cubicBezTo>
                <a:close/>
                <a:moveTo>
                  <a:pt x="4704015" y="5391402"/>
                </a:moveTo>
                <a:cubicBezTo>
                  <a:pt x="4714274" y="5393967"/>
                  <a:pt x="4714274" y="5417051"/>
                  <a:pt x="4709144" y="5427310"/>
                </a:cubicBezTo>
                <a:cubicBezTo>
                  <a:pt x="4704015" y="5419616"/>
                  <a:pt x="4704015" y="5404226"/>
                  <a:pt x="4704015" y="5391402"/>
                </a:cubicBezTo>
                <a:close/>
                <a:moveTo>
                  <a:pt x="4691191" y="5383705"/>
                </a:moveTo>
                <a:cubicBezTo>
                  <a:pt x="4696320" y="5396531"/>
                  <a:pt x="4698885" y="5414485"/>
                  <a:pt x="4698885" y="5429874"/>
                </a:cubicBezTo>
                <a:cubicBezTo>
                  <a:pt x="4688626" y="5432439"/>
                  <a:pt x="4673236" y="5440134"/>
                  <a:pt x="4665542" y="5447829"/>
                </a:cubicBezTo>
                <a:cubicBezTo>
                  <a:pt x="4670671" y="5427310"/>
                  <a:pt x="4655281" y="5376011"/>
                  <a:pt x="4691191" y="5383705"/>
                </a:cubicBezTo>
                <a:close/>
                <a:moveTo>
                  <a:pt x="4683496" y="5376012"/>
                </a:moveTo>
                <a:cubicBezTo>
                  <a:pt x="4688625" y="5376012"/>
                  <a:pt x="4686061" y="5376012"/>
                  <a:pt x="4688625" y="5376012"/>
                </a:cubicBezTo>
                <a:cubicBezTo>
                  <a:pt x="4688625" y="5378576"/>
                  <a:pt x="4691190" y="5378576"/>
                  <a:pt x="4691190" y="5381141"/>
                </a:cubicBezTo>
                <a:lnTo>
                  <a:pt x="4683496" y="5381141"/>
                </a:lnTo>
                <a:close/>
                <a:moveTo>
                  <a:pt x="4211555" y="5373447"/>
                </a:moveTo>
                <a:cubicBezTo>
                  <a:pt x="4219250" y="5378576"/>
                  <a:pt x="4221815" y="5386271"/>
                  <a:pt x="4221815" y="5396531"/>
                </a:cubicBezTo>
                <a:cubicBezTo>
                  <a:pt x="4219250" y="5396531"/>
                  <a:pt x="4219250" y="5396531"/>
                  <a:pt x="4219250" y="5399096"/>
                </a:cubicBezTo>
                <a:cubicBezTo>
                  <a:pt x="4216685" y="5393966"/>
                  <a:pt x="4211555" y="5388836"/>
                  <a:pt x="4203861" y="5388836"/>
                </a:cubicBezTo>
                <a:cubicBezTo>
                  <a:pt x="4206425" y="5381141"/>
                  <a:pt x="4211555" y="5381141"/>
                  <a:pt x="4211555" y="5373447"/>
                </a:cubicBezTo>
                <a:close/>
                <a:moveTo>
                  <a:pt x="4496259" y="5370883"/>
                </a:moveTo>
                <a:cubicBezTo>
                  <a:pt x="4498824" y="5370883"/>
                  <a:pt x="4496259" y="5376012"/>
                  <a:pt x="4501388" y="5378577"/>
                </a:cubicBezTo>
                <a:cubicBezTo>
                  <a:pt x="4496259" y="5381142"/>
                  <a:pt x="4496259" y="5373447"/>
                  <a:pt x="4496259" y="5370883"/>
                </a:cubicBezTo>
                <a:close/>
                <a:moveTo>
                  <a:pt x="4714045" y="5365602"/>
                </a:moveTo>
                <a:lnTo>
                  <a:pt x="4715878" y="5371523"/>
                </a:lnTo>
                <a:cubicBezTo>
                  <a:pt x="4715557" y="5377936"/>
                  <a:pt x="4714275" y="5384989"/>
                  <a:pt x="4714275" y="5388836"/>
                </a:cubicBezTo>
                <a:cubicBezTo>
                  <a:pt x="4709145" y="5388836"/>
                  <a:pt x="4709145" y="5386271"/>
                  <a:pt x="4706580" y="5386271"/>
                </a:cubicBezTo>
                <a:cubicBezTo>
                  <a:pt x="4706580" y="5376012"/>
                  <a:pt x="4706580" y="5373447"/>
                  <a:pt x="4698886" y="5370882"/>
                </a:cubicBezTo>
                <a:cubicBezTo>
                  <a:pt x="4701450" y="5363187"/>
                  <a:pt x="4706580" y="5373447"/>
                  <a:pt x="4714275" y="5370882"/>
                </a:cubicBezTo>
                <a:close/>
                <a:moveTo>
                  <a:pt x="4711710" y="5358058"/>
                </a:moveTo>
                <a:cubicBezTo>
                  <a:pt x="4711710" y="5360622"/>
                  <a:pt x="4712992" y="5361905"/>
                  <a:pt x="4713954" y="5363508"/>
                </a:cubicBezTo>
                <a:lnTo>
                  <a:pt x="4714045" y="5365602"/>
                </a:lnTo>
                <a:close/>
                <a:moveTo>
                  <a:pt x="4481297" y="5334832"/>
                </a:moveTo>
                <a:lnTo>
                  <a:pt x="4480870" y="5334974"/>
                </a:lnTo>
                <a:lnTo>
                  <a:pt x="4480532" y="5336616"/>
                </a:lnTo>
                <a:close/>
                <a:moveTo>
                  <a:pt x="4421875" y="5332408"/>
                </a:moveTo>
                <a:cubicBezTo>
                  <a:pt x="4429570" y="5332408"/>
                  <a:pt x="4432135" y="5337537"/>
                  <a:pt x="4439830" y="5337537"/>
                </a:cubicBezTo>
                <a:cubicBezTo>
                  <a:pt x="4432135" y="5345232"/>
                  <a:pt x="4429570" y="5365751"/>
                  <a:pt x="4442396" y="5368316"/>
                </a:cubicBezTo>
                <a:cubicBezTo>
                  <a:pt x="4452655" y="5365751"/>
                  <a:pt x="4452655" y="5355492"/>
                  <a:pt x="4452655" y="5347797"/>
                </a:cubicBezTo>
                <a:cubicBezTo>
                  <a:pt x="4462914" y="5352927"/>
                  <a:pt x="4478304" y="5355492"/>
                  <a:pt x="4483434" y="5365751"/>
                </a:cubicBezTo>
                <a:cubicBezTo>
                  <a:pt x="4473174" y="5370881"/>
                  <a:pt x="4460350" y="5360621"/>
                  <a:pt x="4452655" y="5368316"/>
                </a:cubicBezTo>
                <a:cubicBezTo>
                  <a:pt x="4452655" y="5388835"/>
                  <a:pt x="4470609" y="5401660"/>
                  <a:pt x="4485999" y="5388835"/>
                </a:cubicBezTo>
                <a:cubicBezTo>
                  <a:pt x="4488563" y="5393965"/>
                  <a:pt x="4480869" y="5401660"/>
                  <a:pt x="4488563" y="5406789"/>
                </a:cubicBezTo>
                <a:cubicBezTo>
                  <a:pt x="4480869" y="5417049"/>
                  <a:pt x="4475739" y="5429873"/>
                  <a:pt x="4485999" y="5440133"/>
                </a:cubicBezTo>
                <a:cubicBezTo>
                  <a:pt x="4493693" y="5440133"/>
                  <a:pt x="4496258" y="5432438"/>
                  <a:pt x="4498823" y="5427309"/>
                </a:cubicBezTo>
                <a:cubicBezTo>
                  <a:pt x="4509082" y="5458087"/>
                  <a:pt x="4509082" y="5488866"/>
                  <a:pt x="4519342" y="5519645"/>
                </a:cubicBezTo>
                <a:cubicBezTo>
                  <a:pt x="4509082" y="5527339"/>
                  <a:pt x="4506518" y="5537599"/>
                  <a:pt x="4496258" y="5542729"/>
                </a:cubicBezTo>
                <a:cubicBezTo>
                  <a:pt x="4493693" y="5532469"/>
                  <a:pt x="4493693" y="5522210"/>
                  <a:pt x="4493693" y="5514515"/>
                </a:cubicBezTo>
                <a:cubicBezTo>
                  <a:pt x="4483434" y="5519645"/>
                  <a:pt x="4483434" y="5535034"/>
                  <a:pt x="4478304" y="5545293"/>
                </a:cubicBezTo>
                <a:cubicBezTo>
                  <a:pt x="4473174" y="5540164"/>
                  <a:pt x="4468044" y="5529904"/>
                  <a:pt x="4462914" y="5524775"/>
                </a:cubicBezTo>
                <a:cubicBezTo>
                  <a:pt x="4462914" y="5509385"/>
                  <a:pt x="4473174" y="5496561"/>
                  <a:pt x="4465479" y="5486301"/>
                </a:cubicBezTo>
                <a:cubicBezTo>
                  <a:pt x="4450090" y="5488866"/>
                  <a:pt x="4444960" y="5501690"/>
                  <a:pt x="4434701" y="5509385"/>
                </a:cubicBezTo>
                <a:cubicBezTo>
                  <a:pt x="4434701" y="5488866"/>
                  <a:pt x="4424440" y="5463217"/>
                  <a:pt x="4432135" y="5450393"/>
                </a:cubicBezTo>
                <a:cubicBezTo>
                  <a:pt x="4432135" y="5447828"/>
                  <a:pt x="4427005" y="5450393"/>
                  <a:pt x="4427005" y="5447828"/>
                </a:cubicBezTo>
                <a:cubicBezTo>
                  <a:pt x="4424440" y="5411919"/>
                  <a:pt x="4416746" y="5370881"/>
                  <a:pt x="4421875" y="5332408"/>
                </a:cubicBezTo>
                <a:close/>
                <a:moveTo>
                  <a:pt x="4403923" y="5317020"/>
                </a:moveTo>
                <a:cubicBezTo>
                  <a:pt x="4406487" y="5317020"/>
                  <a:pt x="4406487" y="5322149"/>
                  <a:pt x="4409053" y="5324714"/>
                </a:cubicBezTo>
                <a:cubicBezTo>
                  <a:pt x="4401358" y="5324714"/>
                  <a:pt x="4401358" y="5319585"/>
                  <a:pt x="4403923" y="5317020"/>
                </a:cubicBezTo>
                <a:close/>
                <a:moveTo>
                  <a:pt x="4668106" y="5309324"/>
                </a:moveTo>
                <a:cubicBezTo>
                  <a:pt x="4680930" y="5319585"/>
                  <a:pt x="4680930" y="5342668"/>
                  <a:pt x="4686060" y="5360623"/>
                </a:cubicBezTo>
                <a:cubicBezTo>
                  <a:pt x="4680930" y="5363188"/>
                  <a:pt x="4680930" y="5368317"/>
                  <a:pt x="4678366" y="5370882"/>
                </a:cubicBezTo>
                <a:cubicBezTo>
                  <a:pt x="4665541" y="5355493"/>
                  <a:pt x="4665541" y="5332409"/>
                  <a:pt x="4668106" y="5309324"/>
                </a:cubicBezTo>
                <a:close/>
                <a:moveTo>
                  <a:pt x="4427007" y="5299066"/>
                </a:moveTo>
                <a:cubicBezTo>
                  <a:pt x="4432136" y="5304195"/>
                  <a:pt x="4432136" y="5314455"/>
                  <a:pt x="4437266" y="5317020"/>
                </a:cubicBezTo>
                <a:cubicBezTo>
                  <a:pt x="4429572" y="5322150"/>
                  <a:pt x="4427007" y="5309325"/>
                  <a:pt x="4427007" y="5299066"/>
                </a:cubicBezTo>
                <a:close/>
                <a:moveTo>
                  <a:pt x="3342303" y="5277838"/>
                </a:moveTo>
                <a:lnTo>
                  <a:pt x="3357723" y="5294453"/>
                </a:lnTo>
                <a:lnTo>
                  <a:pt x="3343018" y="5280470"/>
                </a:lnTo>
                <a:close/>
                <a:moveTo>
                  <a:pt x="3133288" y="5261808"/>
                </a:moveTo>
                <a:lnTo>
                  <a:pt x="3134299" y="5263157"/>
                </a:lnTo>
                <a:lnTo>
                  <a:pt x="3119983" y="5287742"/>
                </a:lnTo>
                <a:lnTo>
                  <a:pt x="3125923" y="5272255"/>
                </a:lnTo>
                <a:close/>
                <a:moveTo>
                  <a:pt x="4668106" y="5252896"/>
                </a:moveTo>
                <a:cubicBezTo>
                  <a:pt x="4673236" y="5268286"/>
                  <a:pt x="4673236" y="5286240"/>
                  <a:pt x="4675801" y="5304195"/>
                </a:cubicBezTo>
                <a:cubicBezTo>
                  <a:pt x="4660412" y="5293935"/>
                  <a:pt x="4668106" y="5273416"/>
                  <a:pt x="4668106" y="5252896"/>
                </a:cubicBezTo>
                <a:close/>
                <a:moveTo>
                  <a:pt x="4226945" y="5252896"/>
                </a:moveTo>
                <a:lnTo>
                  <a:pt x="4230912" y="5266501"/>
                </a:lnTo>
                <a:lnTo>
                  <a:pt x="4231659" y="5254468"/>
                </a:lnTo>
                <a:lnTo>
                  <a:pt x="4230792" y="5254179"/>
                </a:lnTo>
                <a:cubicBezTo>
                  <a:pt x="4230151" y="5253537"/>
                  <a:pt x="4229509" y="5252896"/>
                  <a:pt x="4226945" y="5252896"/>
                </a:cubicBezTo>
                <a:close/>
                <a:moveTo>
                  <a:pt x="4462915" y="5222118"/>
                </a:moveTo>
                <a:cubicBezTo>
                  <a:pt x="4475739" y="5258027"/>
                  <a:pt x="4485999" y="5293936"/>
                  <a:pt x="4488564" y="5332409"/>
                </a:cubicBezTo>
                <a:lnTo>
                  <a:pt x="4483848" y="5333981"/>
                </a:lnTo>
                <a:lnTo>
                  <a:pt x="4486000" y="5355493"/>
                </a:lnTo>
                <a:lnTo>
                  <a:pt x="4478446" y="5349827"/>
                </a:lnTo>
                <a:lnTo>
                  <a:pt x="4478305" y="5352928"/>
                </a:lnTo>
                <a:cubicBezTo>
                  <a:pt x="4468045" y="5347799"/>
                  <a:pt x="4455221" y="5334974"/>
                  <a:pt x="4447526" y="5324715"/>
                </a:cubicBezTo>
                <a:cubicBezTo>
                  <a:pt x="4452656" y="5314455"/>
                  <a:pt x="4460350" y="5304195"/>
                  <a:pt x="4460350" y="5293936"/>
                </a:cubicBezTo>
                <a:cubicBezTo>
                  <a:pt x="4452656" y="5293936"/>
                  <a:pt x="4455221" y="5301630"/>
                  <a:pt x="4447526" y="5301630"/>
                </a:cubicBezTo>
                <a:cubicBezTo>
                  <a:pt x="4447526" y="5296501"/>
                  <a:pt x="4444961" y="5293936"/>
                  <a:pt x="4442396" y="5291371"/>
                </a:cubicBezTo>
                <a:cubicBezTo>
                  <a:pt x="4450091" y="5283676"/>
                  <a:pt x="4465480" y="5283676"/>
                  <a:pt x="4473175" y="5273417"/>
                </a:cubicBezTo>
                <a:cubicBezTo>
                  <a:pt x="4460350" y="5268287"/>
                  <a:pt x="4442396" y="5278546"/>
                  <a:pt x="4429571" y="5278546"/>
                </a:cubicBezTo>
                <a:cubicBezTo>
                  <a:pt x="4429571" y="5260592"/>
                  <a:pt x="4437266" y="5250333"/>
                  <a:pt x="4437266" y="5237507"/>
                </a:cubicBezTo>
                <a:cubicBezTo>
                  <a:pt x="4450091" y="5234942"/>
                  <a:pt x="4447526" y="5219553"/>
                  <a:pt x="4462915" y="5222118"/>
                </a:cubicBezTo>
                <a:close/>
                <a:moveTo>
                  <a:pt x="2214364" y="5202591"/>
                </a:moveTo>
                <a:lnTo>
                  <a:pt x="2203244" y="5211857"/>
                </a:lnTo>
                <a:cubicBezTo>
                  <a:pt x="2203244" y="5209293"/>
                  <a:pt x="2200680" y="5209293"/>
                  <a:pt x="2200680" y="5206728"/>
                </a:cubicBezTo>
                <a:close/>
                <a:moveTo>
                  <a:pt x="3252284" y="5193905"/>
                </a:moveTo>
                <a:cubicBezTo>
                  <a:pt x="3249719" y="5193905"/>
                  <a:pt x="3242025" y="5196470"/>
                  <a:pt x="3239460" y="5204165"/>
                </a:cubicBezTo>
                <a:cubicBezTo>
                  <a:pt x="3239460" y="5206730"/>
                  <a:pt x="3239460" y="5209295"/>
                  <a:pt x="3244589" y="5211859"/>
                </a:cubicBezTo>
                <a:cubicBezTo>
                  <a:pt x="3262544" y="5224684"/>
                  <a:pt x="3277934" y="5242638"/>
                  <a:pt x="3293322" y="5263157"/>
                </a:cubicBezTo>
                <a:cubicBezTo>
                  <a:pt x="3324101" y="5301630"/>
                  <a:pt x="3357445" y="5345234"/>
                  <a:pt x="3419002" y="5358058"/>
                </a:cubicBezTo>
                <a:cubicBezTo>
                  <a:pt x="3426698" y="5360623"/>
                  <a:pt x="3436957" y="5360623"/>
                  <a:pt x="3444651" y="5360623"/>
                </a:cubicBezTo>
                <a:cubicBezTo>
                  <a:pt x="3480560" y="5360623"/>
                  <a:pt x="3511338" y="5345234"/>
                  <a:pt x="3539552" y="5329844"/>
                </a:cubicBezTo>
                <a:lnTo>
                  <a:pt x="3547247" y="5327279"/>
                </a:lnTo>
                <a:lnTo>
                  <a:pt x="3544682" y="5314455"/>
                </a:lnTo>
                <a:cubicBezTo>
                  <a:pt x="3524163" y="5311890"/>
                  <a:pt x="3508773" y="5319585"/>
                  <a:pt x="3493384" y="5324715"/>
                </a:cubicBezTo>
                <a:cubicBezTo>
                  <a:pt x="3475430" y="5329844"/>
                  <a:pt x="3457475" y="5337539"/>
                  <a:pt x="3431827" y="5332409"/>
                </a:cubicBezTo>
                <a:cubicBezTo>
                  <a:pt x="3404897" y="5328562"/>
                  <a:pt x="3384377" y="5318303"/>
                  <a:pt x="3367063" y="5304516"/>
                </a:cubicBezTo>
                <a:lnTo>
                  <a:pt x="3357723" y="5294453"/>
                </a:lnTo>
                <a:lnTo>
                  <a:pt x="3362576" y="5299066"/>
                </a:lnTo>
                <a:cubicBezTo>
                  <a:pt x="3380529" y="5311890"/>
                  <a:pt x="3406178" y="5319585"/>
                  <a:pt x="3429262" y="5319585"/>
                </a:cubicBezTo>
                <a:cubicBezTo>
                  <a:pt x="3442086" y="5319585"/>
                  <a:pt x="3452346" y="5319585"/>
                  <a:pt x="3460041" y="5314455"/>
                </a:cubicBezTo>
                <a:lnTo>
                  <a:pt x="3457475" y="5301630"/>
                </a:lnTo>
                <a:cubicBezTo>
                  <a:pt x="3419002" y="5299066"/>
                  <a:pt x="3377964" y="5278547"/>
                  <a:pt x="3352315" y="5260592"/>
                </a:cubicBezTo>
                <a:cubicBezTo>
                  <a:pt x="3354880" y="5255463"/>
                  <a:pt x="3357445" y="5247768"/>
                  <a:pt x="3360009" y="5242638"/>
                </a:cubicBezTo>
                <a:cubicBezTo>
                  <a:pt x="3357445" y="5245203"/>
                  <a:pt x="3352315" y="5245203"/>
                  <a:pt x="3347185" y="5245203"/>
                </a:cubicBezTo>
                <a:cubicBezTo>
                  <a:pt x="3347185" y="5250333"/>
                  <a:pt x="3347185" y="5255463"/>
                  <a:pt x="3349750" y="5258027"/>
                </a:cubicBezTo>
                <a:cubicBezTo>
                  <a:pt x="3349750" y="5258027"/>
                  <a:pt x="3347185" y="5255463"/>
                  <a:pt x="3347185" y="5255463"/>
                </a:cubicBezTo>
                <a:lnTo>
                  <a:pt x="3336926" y="5245203"/>
                </a:lnTo>
                <a:lnTo>
                  <a:pt x="3336926" y="5258027"/>
                </a:lnTo>
                <a:lnTo>
                  <a:pt x="3342303" y="5277838"/>
                </a:lnTo>
                <a:lnTo>
                  <a:pt x="3321536" y="5255463"/>
                </a:lnTo>
                <a:cubicBezTo>
                  <a:pt x="3303582" y="5232378"/>
                  <a:pt x="3283063" y="5209295"/>
                  <a:pt x="3257414" y="5193905"/>
                </a:cubicBezTo>
                <a:close/>
                <a:moveTo>
                  <a:pt x="2231886" y="5188900"/>
                </a:moveTo>
                <a:lnTo>
                  <a:pt x="2228453" y="5191940"/>
                </a:lnTo>
                <a:cubicBezTo>
                  <a:pt x="2222721" y="5196709"/>
                  <a:pt x="2218152" y="5200156"/>
                  <a:pt x="2214466" y="5202560"/>
                </a:cubicBezTo>
                <a:lnTo>
                  <a:pt x="2214364" y="5202591"/>
                </a:lnTo>
                <a:lnTo>
                  <a:pt x="2218633" y="5199033"/>
                </a:lnTo>
                <a:close/>
                <a:moveTo>
                  <a:pt x="4462915" y="5183645"/>
                </a:moveTo>
                <a:cubicBezTo>
                  <a:pt x="4473175" y="5186209"/>
                  <a:pt x="4473175" y="5201599"/>
                  <a:pt x="4465480" y="5206729"/>
                </a:cubicBezTo>
                <a:cubicBezTo>
                  <a:pt x="4465480" y="5199034"/>
                  <a:pt x="4462915" y="5191339"/>
                  <a:pt x="4462915" y="5183645"/>
                </a:cubicBezTo>
                <a:close/>
                <a:moveTo>
                  <a:pt x="2205820" y="5145570"/>
                </a:moveTo>
                <a:lnTo>
                  <a:pt x="2167335" y="5178516"/>
                </a:lnTo>
                <a:cubicBezTo>
                  <a:pt x="2167335" y="5178516"/>
                  <a:pt x="2164769" y="5175951"/>
                  <a:pt x="2164769" y="5173386"/>
                </a:cubicBezTo>
                <a:close/>
                <a:moveTo>
                  <a:pt x="4427007" y="5145171"/>
                </a:moveTo>
                <a:cubicBezTo>
                  <a:pt x="4455221" y="5145171"/>
                  <a:pt x="4450091" y="5186210"/>
                  <a:pt x="4460351" y="5209294"/>
                </a:cubicBezTo>
                <a:cubicBezTo>
                  <a:pt x="4455221" y="5216989"/>
                  <a:pt x="4434702" y="5216989"/>
                  <a:pt x="4429572" y="5219553"/>
                </a:cubicBezTo>
                <a:cubicBezTo>
                  <a:pt x="4424442" y="5199034"/>
                  <a:pt x="4427007" y="5163126"/>
                  <a:pt x="4427007" y="5145171"/>
                </a:cubicBezTo>
                <a:close/>
                <a:moveTo>
                  <a:pt x="4688626" y="5134912"/>
                </a:moveTo>
                <a:cubicBezTo>
                  <a:pt x="4691191" y="5134912"/>
                  <a:pt x="4691191" y="5140042"/>
                  <a:pt x="4691191" y="5142606"/>
                </a:cubicBezTo>
                <a:cubicBezTo>
                  <a:pt x="4686061" y="5142606"/>
                  <a:pt x="4688626" y="5137477"/>
                  <a:pt x="4688626" y="5134912"/>
                </a:cubicBezTo>
                <a:close/>
                <a:moveTo>
                  <a:pt x="1654357" y="5119523"/>
                </a:moveTo>
                <a:cubicBezTo>
                  <a:pt x="1656922" y="5119523"/>
                  <a:pt x="1659487" y="5119523"/>
                  <a:pt x="1664616" y="5119523"/>
                </a:cubicBezTo>
                <a:cubicBezTo>
                  <a:pt x="1664616" y="5124652"/>
                  <a:pt x="1667181" y="5127217"/>
                  <a:pt x="1667181" y="5132347"/>
                </a:cubicBezTo>
                <a:cubicBezTo>
                  <a:pt x="1664616" y="5132347"/>
                  <a:pt x="1662051" y="5134912"/>
                  <a:pt x="1656922" y="5134912"/>
                </a:cubicBezTo>
                <a:cubicBezTo>
                  <a:pt x="1656922" y="5129782"/>
                  <a:pt x="1654357" y="5124652"/>
                  <a:pt x="1654357" y="5119523"/>
                </a:cubicBezTo>
                <a:close/>
                <a:moveTo>
                  <a:pt x="2953772" y="5119068"/>
                </a:moveTo>
                <a:lnTo>
                  <a:pt x="2935520" y="5132027"/>
                </a:lnTo>
                <a:cubicBezTo>
                  <a:pt x="2923978" y="5138760"/>
                  <a:pt x="2911154" y="5143889"/>
                  <a:pt x="2895764" y="5145172"/>
                </a:cubicBezTo>
                <a:lnTo>
                  <a:pt x="2895051" y="5143389"/>
                </a:lnTo>
                <a:close/>
                <a:moveTo>
                  <a:pt x="4442396" y="5111828"/>
                </a:moveTo>
                <a:cubicBezTo>
                  <a:pt x="4444961" y="5119522"/>
                  <a:pt x="4442396" y="5129782"/>
                  <a:pt x="4444961" y="5137477"/>
                </a:cubicBezTo>
                <a:cubicBezTo>
                  <a:pt x="4427007" y="5134912"/>
                  <a:pt x="4439831" y="5119522"/>
                  <a:pt x="4442396" y="5111828"/>
                </a:cubicBezTo>
                <a:close/>
                <a:moveTo>
                  <a:pt x="4651117" y="5110086"/>
                </a:moveTo>
                <a:lnTo>
                  <a:pt x="4653136" y="5119845"/>
                </a:lnTo>
                <a:lnTo>
                  <a:pt x="4652717" y="5114393"/>
                </a:lnTo>
                <a:close/>
                <a:moveTo>
                  <a:pt x="1751823" y="5093874"/>
                </a:moveTo>
                <a:cubicBezTo>
                  <a:pt x="1754388" y="5101568"/>
                  <a:pt x="1759517" y="5111828"/>
                  <a:pt x="1762082" y="5122087"/>
                </a:cubicBezTo>
                <a:cubicBezTo>
                  <a:pt x="1762082" y="5122087"/>
                  <a:pt x="1759517" y="5122087"/>
                  <a:pt x="1759517" y="5122087"/>
                </a:cubicBezTo>
                <a:cubicBezTo>
                  <a:pt x="1756954" y="5111828"/>
                  <a:pt x="1754388" y="5101568"/>
                  <a:pt x="1751823" y="5093874"/>
                </a:cubicBezTo>
                <a:close/>
                <a:moveTo>
                  <a:pt x="3019928" y="5090621"/>
                </a:moveTo>
                <a:lnTo>
                  <a:pt x="3009181" y="5096118"/>
                </a:lnTo>
                <a:lnTo>
                  <a:pt x="2953772" y="5119068"/>
                </a:lnTo>
                <a:lnTo>
                  <a:pt x="2967581" y="5109263"/>
                </a:lnTo>
                <a:close/>
                <a:moveTo>
                  <a:pt x="2282526" y="5079907"/>
                </a:moveTo>
                <a:lnTo>
                  <a:pt x="2278907" y="5084256"/>
                </a:lnTo>
                <a:cubicBezTo>
                  <a:pt x="2262556" y="5101248"/>
                  <a:pt x="2244923" y="5117118"/>
                  <a:pt x="2225927" y="5131947"/>
                </a:cubicBezTo>
                <a:lnTo>
                  <a:pt x="2205820" y="5145570"/>
                </a:lnTo>
                <a:close/>
                <a:moveTo>
                  <a:pt x="2447871" y="5044996"/>
                </a:moveTo>
                <a:lnTo>
                  <a:pt x="2438357" y="5062084"/>
                </a:lnTo>
                <a:cubicBezTo>
                  <a:pt x="2426809" y="5079527"/>
                  <a:pt x="2414286" y="5095638"/>
                  <a:pt x="2401060" y="5110546"/>
                </a:cubicBezTo>
                <a:lnTo>
                  <a:pt x="2395045" y="5115894"/>
                </a:lnTo>
                <a:close/>
                <a:moveTo>
                  <a:pt x="2314772" y="5041154"/>
                </a:moveTo>
                <a:lnTo>
                  <a:pt x="2292053" y="5071752"/>
                </a:lnTo>
                <a:lnTo>
                  <a:pt x="2282526" y="5079907"/>
                </a:lnTo>
                <a:close/>
                <a:moveTo>
                  <a:pt x="4442396" y="5032316"/>
                </a:moveTo>
                <a:cubicBezTo>
                  <a:pt x="4447526" y="5055401"/>
                  <a:pt x="4439831" y="5086180"/>
                  <a:pt x="4442396" y="5101569"/>
                </a:cubicBezTo>
                <a:cubicBezTo>
                  <a:pt x="4437266" y="5104134"/>
                  <a:pt x="4434701" y="5109263"/>
                  <a:pt x="4429572" y="5111829"/>
                </a:cubicBezTo>
                <a:cubicBezTo>
                  <a:pt x="4432136" y="5083615"/>
                  <a:pt x="4437266" y="5057966"/>
                  <a:pt x="4442396" y="5032316"/>
                </a:cubicBezTo>
                <a:close/>
                <a:moveTo>
                  <a:pt x="4427006" y="5029751"/>
                </a:moveTo>
                <a:cubicBezTo>
                  <a:pt x="4421876" y="5055401"/>
                  <a:pt x="4424441" y="5086179"/>
                  <a:pt x="4409052" y="5101569"/>
                </a:cubicBezTo>
                <a:cubicBezTo>
                  <a:pt x="4406487" y="5096439"/>
                  <a:pt x="4409052" y="5091309"/>
                  <a:pt x="4406487" y="5086179"/>
                </a:cubicBezTo>
                <a:cubicBezTo>
                  <a:pt x="4398792" y="5086179"/>
                  <a:pt x="4398792" y="5091309"/>
                  <a:pt x="4396227" y="5093874"/>
                </a:cubicBezTo>
                <a:cubicBezTo>
                  <a:pt x="4391098" y="5093874"/>
                  <a:pt x="4393662" y="5086179"/>
                  <a:pt x="4393662" y="5078485"/>
                </a:cubicBezTo>
                <a:cubicBezTo>
                  <a:pt x="4391098" y="5075920"/>
                  <a:pt x="4388533" y="5081050"/>
                  <a:pt x="4385968" y="5081050"/>
                </a:cubicBezTo>
                <a:cubicBezTo>
                  <a:pt x="4385968" y="5065660"/>
                  <a:pt x="4383402" y="5050271"/>
                  <a:pt x="4393662" y="5034880"/>
                </a:cubicBezTo>
                <a:cubicBezTo>
                  <a:pt x="4406487" y="5034880"/>
                  <a:pt x="4416747" y="5032315"/>
                  <a:pt x="4427006" y="5029751"/>
                </a:cubicBezTo>
                <a:close/>
                <a:moveTo>
                  <a:pt x="2329211" y="5021708"/>
                </a:moveTo>
                <a:lnTo>
                  <a:pt x="2324194" y="5029832"/>
                </a:lnTo>
                <a:lnTo>
                  <a:pt x="2314772" y="5041154"/>
                </a:lnTo>
                <a:close/>
                <a:moveTo>
                  <a:pt x="1900587" y="4998972"/>
                </a:moveTo>
                <a:cubicBezTo>
                  <a:pt x="1903152" y="5024622"/>
                  <a:pt x="1910846" y="5052835"/>
                  <a:pt x="1915976" y="5081049"/>
                </a:cubicBezTo>
                <a:cubicBezTo>
                  <a:pt x="1913411" y="5083614"/>
                  <a:pt x="1913411" y="5086179"/>
                  <a:pt x="1910846" y="5088744"/>
                </a:cubicBezTo>
                <a:cubicBezTo>
                  <a:pt x="1910846" y="5088744"/>
                  <a:pt x="1908281" y="5086179"/>
                  <a:pt x="1908281" y="5086179"/>
                </a:cubicBezTo>
                <a:cubicBezTo>
                  <a:pt x="1900587" y="5057965"/>
                  <a:pt x="1898022" y="5027186"/>
                  <a:pt x="1900587" y="4998972"/>
                </a:cubicBezTo>
                <a:close/>
                <a:moveTo>
                  <a:pt x="4342365" y="4983584"/>
                </a:moveTo>
                <a:cubicBezTo>
                  <a:pt x="4344930" y="4986149"/>
                  <a:pt x="4342365" y="4991278"/>
                  <a:pt x="4339801" y="4991278"/>
                </a:cubicBezTo>
                <a:cubicBezTo>
                  <a:pt x="4339801" y="4986149"/>
                  <a:pt x="4342365" y="4986149"/>
                  <a:pt x="4342365" y="4983584"/>
                </a:cubicBezTo>
                <a:close/>
                <a:moveTo>
                  <a:pt x="2428954" y="4973323"/>
                </a:moveTo>
                <a:cubicBezTo>
                  <a:pt x="2390482" y="5054117"/>
                  <a:pt x="2337580" y="5106056"/>
                  <a:pt x="2278908" y="5152946"/>
                </a:cubicBezTo>
                <a:lnTo>
                  <a:pt x="2231886" y="5188900"/>
                </a:lnTo>
                <a:lnTo>
                  <a:pt x="2249412" y="5173384"/>
                </a:lnTo>
                <a:cubicBezTo>
                  <a:pt x="2249412" y="5170819"/>
                  <a:pt x="2251977" y="5170819"/>
                  <a:pt x="2251977" y="5170819"/>
                </a:cubicBezTo>
                <a:cubicBezTo>
                  <a:pt x="2303274" y="5132346"/>
                  <a:pt x="2377656" y="5063094"/>
                  <a:pt x="2428954" y="4973323"/>
                </a:cubicBezTo>
                <a:close/>
                <a:moveTo>
                  <a:pt x="2057046" y="4950239"/>
                </a:moveTo>
                <a:cubicBezTo>
                  <a:pt x="2041657" y="4968194"/>
                  <a:pt x="2028832" y="4988713"/>
                  <a:pt x="2013443" y="5006667"/>
                </a:cubicBezTo>
                <a:cubicBezTo>
                  <a:pt x="2010878" y="5001538"/>
                  <a:pt x="2010878" y="4993843"/>
                  <a:pt x="2010878" y="4988713"/>
                </a:cubicBezTo>
                <a:cubicBezTo>
                  <a:pt x="2023702" y="4975889"/>
                  <a:pt x="2041657" y="4963064"/>
                  <a:pt x="2057046" y="4950239"/>
                </a:cubicBezTo>
                <a:close/>
                <a:moveTo>
                  <a:pt x="2613627" y="4924591"/>
                </a:moveTo>
                <a:cubicBezTo>
                  <a:pt x="2546938" y="4960500"/>
                  <a:pt x="2500770" y="5024622"/>
                  <a:pt x="2457167" y="5088745"/>
                </a:cubicBezTo>
                <a:cubicBezTo>
                  <a:pt x="2405869" y="5160561"/>
                  <a:pt x="2354571" y="5234943"/>
                  <a:pt x="2277625" y="5263157"/>
                </a:cubicBezTo>
                <a:lnTo>
                  <a:pt x="2280190" y="5275982"/>
                </a:lnTo>
                <a:cubicBezTo>
                  <a:pt x="2387915" y="5260592"/>
                  <a:pt x="2446908" y="5168256"/>
                  <a:pt x="2503335" y="5081050"/>
                </a:cubicBezTo>
                <a:cubicBezTo>
                  <a:pt x="2536679" y="5027187"/>
                  <a:pt x="2572587" y="4973324"/>
                  <a:pt x="2621320" y="4934851"/>
                </a:cubicBezTo>
                <a:close/>
                <a:moveTo>
                  <a:pt x="2478030" y="4923250"/>
                </a:moveTo>
                <a:lnTo>
                  <a:pt x="2465824" y="4964988"/>
                </a:lnTo>
                <a:cubicBezTo>
                  <a:pt x="2452679" y="4995767"/>
                  <a:pt x="2436648" y="5023339"/>
                  <a:pt x="2418694" y="5047706"/>
                </a:cubicBezTo>
                <a:cubicBezTo>
                  <a:pt x="2439213" y="5014363"/>
                  <a:pt x="2454602" y="4981019"/>
                  <a:pt x="2464863" y="4945110"/>
                </a:cubicBezTo>
                <a:cubicBezTo>
                  <a:pt x="2467427" y="4943827"/>
                  <a:pt x="2470633" y="4941904"/>
                  <a:pt x="2474801" y="4932606"/>
                </a:cubicBezTo>
                <a:close/>
                <a:moveTo>
                  <a:pt x="2484382" y="4901533"/>
                </a:moveTo>
                <a:lnTo>
                  <a:pt x="2481814" y="4912287"/>
                </a:lnTo>
                <a:lnTo>
                  <a:pt x="2478030" y="4923250"/>
                </a:lnTo>
                <a:close/>
                <a:moveTo>
                  <a:pt x="1985229" y="4886117"/>
                </a:moveTo>
                <a:cubicBezTo>
                  <a:pt x="1985229" y="4888683"/>
                  <a:pt x="1985229" y="4891247"/>
                  <a:pt x="1985229" y="4893812"/>
                </a:cubicBezTo>
                <a:cubicBezTo>
                  <a:pt x="1974969" y="4911767"/>
                  <a:pt x="1959580" y="4929721"/>
                  <a:pt x="1941626" y="4947675"/>
                </a:cubicBezTo>
                <a:cubicBezTo>
                  <a:pt x="1939060" y="4934851"/>
                  <a:pt x="1951885" y="4919461"/>
                  <a:pt x="1969839" y="4901507"/>
                </a:cubicBezTo>
                <a:cubicBezTo>
                  <a:pt x="1974969" y="4896378"/>
                  <a:pt x="1980099" y="4891247"/>
                  <a:pt x="1985229" y="4886117"/>
                </a:cubicBezTo>
                <a:close/>
                <a:moveTo>
                  <a:pt x="1692832" y="4868163"/>
                </a:moveTo>
                <a:cubicBezTo>
                  <a:pt x="1692832" y="4873292"/>
                  <a:pt x="1692832" y="4875857"/>
                  <a:pt x="1692832" y="4880987"/>
                </a:cubicBezTo>
                <a:cubicBezTo>
                  <a:pt x="1695396" y="4911766"/>
                  <a:pt x="1697960" y="4945109"/>
                  <a:pt x="1713350" y="4968193"/>
                </a:cubicBezTo>
                <a:cubicBezTo>
                  <a:pt x="1705655" y="5019491"/>
                  <a:pt x="1710785" y="5065659"/>
                  <a:pt x="1718480" y="5106698"/>
                </a:cubicBezTo>
                <a:cubicBezTo>
                  <a:pt x="1710785" y="5101568"/>
                  <a:pt x="1700525" y="5093873"/>
                  <a:pt x="1692832" y="5088744"/>
                </a:cubicBezTo>
                <a:cubicBezTo>
                  <a:pt x="1680006" y="5032316"/>
                  <a:pt x="1674875" y="4970758"/>
                  <a:pt x="1682571" y="4911766"/>
                </a:cubicBezTo>
                <a:cubicBezTo>
                  <a:pt x="1685136" y="4904071"/>
                  <a:pt x="1687701" y="4886117"/>
                  <a:pt x="1692832" y="4868163"/>
                </a:cubicBezTo>
                <a:close/>
                <a:moveTo>
                  <a:pt x="1862114" y="4857903"/>
                </a:moveTo>
                <a:cubicBezTo>
                  <a:pt x="1862114" y="4857903"/>
                  <a:pt x="1864678" y="4860467"/>
                  <a:pt x="1864678" y="4860467"/>
                </a:cubicBezTo>
                <a:cubicBezTo>
                  <a:pt x="1849288" y="4945109"/>
                  <a:pt x="1856983" y="5019491"/>
                  <a:pt x="1872373" y="5086178"/>
                </a:cubicBezTo>
                <a:cubicBezTo>
                  <a:pt x="1869808" y="5086178"/>
                  <a:pt x="1864678" y="5088743"/>
                  <a:pt x="1862114" y="5088743"/>
                </a:cubicBezTo>
                <a:cubicBezTo>
                  <a:pt x="1846724" y="5016926"/>
                  <a:pt x="1844159" y="4939979"/>
                  <a:pt x="1862114" y="4857903"/>
                </a:cubicBezTo>
                <a:close/>
                <a:moveTo>
                  <a:pt x="5525101" y="4816224"/>
                </a:moveTo>
                <a:cubicBezTo>
                  <a:pt x="5526704" y="4816224"/>
                  <a:pt x="5528628" y="4816865"/>
                  <a:pt x="5529910" y="4816865"/>
                </a:cubicBezTo>
                <a:cubicBezTo>
                  <a:pt x="5529910" y="4819430"/>
                  <a:pt x="5524781" y="4819430"/>
                  <a:pt x="5522216" y="4819430"/>
                </a:cubicBezTo>
                <a:cubicBezTo>
                  <a:pt x="5522216" y="4816865"/>
                  <a:pt x="5523499" y="4816224"/>
                  <a:pt x="5525101" y="4816224"/>
                </a:cubicBezTo>
                <a:close/>
                <a:moveTo>
                  <a:pt x="5507147" y="4813660"/>
                </a:moveTo>
                <a:cubicBezTo>
                  <a:pt x="5508750" y="4813660"/>
                  <a:pt x="5510674" y="4814301"/>
                  <a:pt x="5511956" y="4814301"/>
                </a:cubicBezTo>
                <a:cubicBezTo>
                  <a:pt x="5511956" y="4816866"/>
                  <a:pt x="5506827" y="4816866"/>
                  <a:pt x="5504262" y="4816866"/>
                </a:cubicBezTo>
                <a:cubicBezTo>
                  <a:pt x="5504262" y="4814301"/>
                  <a:pt x="5505544" y="4813660"/>
                  <a:pt x="5507147" y="4813660"/>
                </a:cubicBezTo>
                <a:close/>
                <a:moveTo>
                  <a:pt x="5706888" y="4811736"/>
                </a:moveTo>
                <a:cubicBezTo>
                  <a:pt x="5712018" y="4811736"/>
                  <a:pt x="5714583" y="4814300"/>
                  <a:pt x="5719713" y="4814300"/>
                </a:cubicBezTo>
                <a:cubicBezTo>
                  <a:pt x="5717148" y="4819430"/>
                  <a:pt x="5712018" y="4819430"/>
                  <a:pt x="5704324" y="4819430"/>
                </a:cubicBezTo>
                <a:cubicBezTo>
                  <a:pt x="5704324" y="4816865"/>
                  <a:pt x="5706888" y="4816865"/>
                  <a:pt x="5706888" y="4811736"/>
                </a:cubicBezTo>
                <a:close/>
                <a:moveTo>
                  <a:pt x="5629941" y="4811736"/>
                </a:moveTo>
                <a:cubicBezTo>
                  <a:pt x="5632506" y="4814300"/>
                  <a:pt x="5637635" y="4816865"/>
                  <a:pt x="5642765" y="4816865"/>
                </a:cubicBezTo>
                <a:cubicBezTo>
                  <a:pt x="5640201" y="4816865"/>
                  <a:pt x="5635071" y="4816865"/>
                  <a:pt x="5632506" y="4816865"/>
                </a:cubicBezTo>
                <a:cubicBezTo>
                  <a:pt x="5632506" y="4816865"/>
                  <a:pt x="5629941" y="4814300"/>
                  <a:pt x="5629941" y="4811736"/>
                </a:cubicBezTo>
                <a:close/>
                <a:moveTo>
                  <a:pt x="4637326" y="4801475"/>
                </a:moveTo>
                <a:lnTo>
                  <a:pt x="4637326" y="4809170"/>
                </a:lnTo>
                <a:lnTo>
                  <a:pt x="4638243" y="4811309"/>
                </a:lnTo>
                <a:lnTo>
                  <a:pt x="4638289" y="4810773"/>
                </a:lnTo>
                <a:cubicBezTo>
                  <a:pt x="4638609" y="4807247"/>
                  <a:pt x="4638609" y="4804041"/>
                  <a:pt x="4637327" y="4801476"/>
                </a:cubicBezTo>
                <a:close/>
                <a:moveTo>
                  <a:pt x="1828771" y="4801475"/>
                </a:moveTo>
                <a:cubicBezTo>
                  <a:pt x="1836465" y="4811735"/>
                  <a:pt x="1831335" y="4824559"/>
                  <a:pt x="1826205" y="4839948"/>
                </a:cubicBezTo>
                <a:cubicBezTo>
                  <a:pt x="1823640" y="4847643"/>
                  <a:pt x="1821075" y="4852773"/>
                  <a:pt x="1821075" y="4857903"/>
                </a:cubicBezTo>
                <a:cubicBezTo>
                  <a:pt x="1810816" y="4934849"/>
                  <a:pt x="1815946" y="5016926"/>
                  <a:pt x="1833900" y="5096437"/>
                </a:cubicBezTo>
                <a:cubicBezTo>
                  <a:pt x="1828771" y="5099002"/>
                  <a:pt x="1826205" y="5104132"/>
                  <a:pt x="1826205" y="5114392"/>
                </a:cubicBezTo>
                <a:cubicBezTo>
                  <a:pt x="1826205" y="5114392"/>
                  <a:pt x="1823640" y="5114392"/>
                  <a:pt x="1823640" y="5114392"/>
                </a:cubicBezTo>
                <a:cubicBezTo>
                  <a:pt x="1795427" y="5029750"/>
                  <a:pt x="1785166" y="4922025"/>
                  <a:pt x="1828771" y="4801475"/>
                </a:cubicBezTo>
                <a:close/>
                <a:moveTo>
                  <a:pt x="5588903" y="4798911"/>
                </a:moveTo>
                <a:cubicBezTo>
                  <a:pt x="5591467" y="4796346"/>
                  <a:pt x="5594032" y="4801476"/>
                  <a:pt x="5596597" y="4806606"/>
                </a:cubicBezTo>
                <a:cubicBezTo>
                  <a:pt x="5594032" y="4806606"/>
                  <a:pt x="5594032" y="4804041"/>
                  <a:pt x="5591467" y="4804041"/>
                </a:cubicBezTo>
                <a:cubicBezTo>
                  <a:pt x="5591467" y="4801476"/>
                  <a:pt x="5588903" y="4798911"/>
                  <a:pt x="5588903" y="4798911"/>
                </a:cubicBezTo>
                <a:close/>
                <a:moveTo>
                  <a:pt x="3478923" y="4798380"/>
                </a:moveTo>
                <a:lnTo>
                  <a:pt x="3442407" y="4837305"/>
                </a:lnTo>
                <a:cubicBezTo>
                  <a:pt x="3423491" y="4855019"/>
                  <a:pt x="3402972" y="4872011"/>
                  <a:pt x="3380529" y="4888683"/>
                </a:cubicBezTo>
                <a:cubicBezTo>
                  <a:pt x="3344620" y="4909202"/>
                  <a:pt x="3311277" y="4929721"/>
                  <a:pt x="3277934" y="4952805"/>
                </a:cubicBezTo>
                <a:cubicBezTo>
                  <a:pt x="3206757" y="4998973"/>
                  <a:pt x="3132696" y="5045141"/>
                  <a:pt x="3051421" y="5079406"/>
                </a:cubicBezTo>
                <a:lnTo>
                  <a:pt x="3019928" y="5090621"/>
                </a:lnTo>
                <a:lnTo>
                  <a:pt x="3201628" y="4997690"/>
                </a:lnTo>
                <a:cubicBezTo>
                  <a:pt x="3260941" y="4963706"/>
                  <a:pt x="3315605" y="4928438"/>
                  <a:pt x="3366182" y="4891568"/>
                </a:cubicBezTo>
                <a:close/>
                <a:moveTo>
                  <a:pt x="5602047" y="4793140"/>
                </a:moveTo>
                <a:cubicBezTo>
                  <a:pt x="5604292" y="4793781"/>
                  <a:pt x="5606857" y="4795064"/>
                  <a:pt x="5609422" y="4796346"/>
                </a:cubicBezTo>
                <a:cubicBezTo>
                  <a:pt x="5604292" y="4796346"/>
                  <a:pt x="5596598" y="4798911"/>
                  <a:pt x="5596598" y="4793781"/>
                </a:cubicBezTo>
                <a:cubicBezTo>
                  <a:pt x="5597880" y="4792499"/>
                  <a:pt x="5599803" y="4792499"/>
                  <a:pt x="5602047" y="4793140"/>
                </a:cubicBezTo>
                <a:close/>
                <a:moveTo>
                  <a:pt x="2103213" y="4791216"/>
                </a:moveTo>
                <a:cubicBezTo>
                  <a:pt x="2100648" y="4796345"/>
                  <a:pt x="2098083" y="4801475"/>
                  <a:pt x="2095518" y="4804040"/>
                </a:cubicBezTo>
                <a:cubicBezTo>
                  <a:pt x="2090389" y="4821995"/>
                  <a:pt x="2082695" y="4837385"/>
                  <a:pt x="2074999" y="4852774"/>
                </a:cubicBezTo>
                <a:cubicBezTo>
                  <a:pt x="2059610" y="4878423"/>
                  <a:pt x="2039091" y="4901507"/>
                  <a:pt x="2016006" y="4922026"/>
                </a:cubicBezTo>
                <a:cubicBezTo>
                  <a:pt x="2018571" y="4916896"/>
                  <a:pt x="2018571" y="4911767"/>
                  <a:pt x="2018571" y="4904072"/>
                </a:cubicBezTo>
                <a:cubicBezTo>
                  <a:pt x="2049350" y="4868163"/>
                  <a:pt x="2074999" y="4832255"/>
                  <a:pt x="2103213" y="4791216"/>
                </a:cubicBezTo>
                <a:close/>
                <a:moveTo>
                  <a:pt x="1926236" y="4791216"/>
                </a:moveTo>
                <a:cubicBezTo>
                  <a:pt x="1915976" y="4809171"/>
                  <a:pt x="1908281" y="4824560"/>
                  <a:pt x="1895457" y="4832255"/>
                </a:cubicBezTo>
                <a:cubicBezTo>
                  <a:pt x="1900586" y="4819431"/>
                  <a:pt x="1913411" y="4804041"/>
                  <a:pt x="1926236" y="4791216"/>
                </a:cubicBezTo>
                <a:close/>
                <a:moveTo>
                  <a:pt x="1744129" y="4757872"/>
                </a:moveTo>
                <a:cubicBezTo>
                  <a:pt x="1736433" y="4801476"/>
                  <a:pt x="1728739" y="4850209"/>
                  <a:pt x="1728739" y="4896377"/>
                </a:cubicBezTo>
                <a:cubicBezTo>
                  <a:pt x="1723609" y="4855339"/>
                  <a:pt x="1726174" y="4798911"/>
                  <a:pt x="1744129" y="4757872"/>
                </a:cubicBezTo>
                <a:close/>
                <a:moveTo>
                  <a:pt x="5373452" y="4755307"/>
                </a:moveTo>
                <a:cubicBezTo>
                  <a:pt x="5381146" y="4763002"/>
                  <a:pt x="5393971" y="4755307"/>
                  <a:pt x="5404231" y="4757871"/>
                </a:cubicBezTo>
                <a:cubicBezTo>
                  <a:pt x="5411925" y="4768132"/>
                  <a:pt x="5406795" y="4775827"/>
                  <a:pt x="5417055" y="4773262"/>
                </a:cubicBezTo>
                <a:cubicBezTo>
                  <a:pt x="5411925" y="4780957"/>
                  <a:pt x="5411925" y="4791216"/>
                  <a:pt x="5422185" y="4796346"/>
                </a:cubicBezTo>
                <a:cubicBezTo>
                  <a:pt x="5417055" y="4798911"/>
                  <a:pt x="5409360" y="4798911"/>
                  <a:pt x="5406795" y="4804041"/>
                </a:cubicBezTo>
                <a:cubicBezTo>
                  <a:pt x="5406795" y="4806606"/>
                  <a:pt x="5409360" y="4809170"/>
                  <a:pt x="5414490" y="4809170"/>
                </a:cubicBezTo>
                <a:cubicBezTo>
                  <a:pt x="5406795" y="4824560"/>
                  <a:pt x="5388841" y="4809170"/>
                  <a:pt x="5383711" y="4824560"/>
                </a:cubicBezTo>
                <a:cubicBezTo>
                  <a:pt x="5376017" y="4806606"/>
                  <a:pt x="5373452" y="4821995"/>
                  <a:pt x="5355496" y="4806606"/>
                </a:cubicBezTo>
                <a:cubicBezTo>
                  <a:pt x="5363192" y="4798911"/>
                  <a:pt x="5358062" y="4786086"/>
                  <a:pt x="5350367" y="4786086"/>
                </a:cubicBezTo>
                <a:cubicBezTo>
                  <a:pt x="5358062" y="4778392"/>
                  <a:pt x="5368322" y="4768132"/>
                  <a:pt x="5373452" y="4755307"/>
                </a:cubicBezTo>
                <a:close/>
                <a:moveTo>
                  <a:pt x="1787733" y="4755307"/>
                </a:moveTo>
                <a:cubicBezTo>
                  <a:pt x="1790297" y="4755307"/>
                  <a:pt x="1792862" y="4760436"/>
                  <a:pt x="1795427" y="4763001"/>
                </a:cubicBezTo>
                <a:cubicBezTo>
                  <a:pt x="1797992" y="4765566"/>
                  <a:pt x="1797992" y="4768131"/>
                  <a:pt x="1800556" y="4770696"/>
                </a:cubicBezTo>
                <a:cubicBezTo>
                  <a:pt x="1749257" y="4891247"/>
                  <a:pt x="1756952" y="5004102"/>
                  <a:pt x="1790297" y="5109263"/>
                </a:cubicBezTo>
                <a:cubicBezTo>
                  <a:pt x="1790297" y="5109263"/>
                  <a:pt x="1787733" y="5109263"/>
                  <a:pt x="1787733" y="5109263"/>
                </a:cubicBezTo>
                <a:cubicBezTo>
                  <a:pt x="1749257" y="4996407"/>
                  <a:pt x="1749257" y="4878422"/>
                  <a:pt x="1787733" y="4755307"/>
                </a:cubicBezTo>
                <a:close/>
                <a:moveTo>
                  <a:pt x="4619623" y="4739610"/>
                </a:moveTo>
                <a:lnTo>
                  <a:pt x="4621866" y="4745314"/>
                </a:lnTo>
                <a:lnTo>
                  <a:pt x="4621937" y="4739918"/>
                </a:lnTo>
                <a:close/>
                <a:moveTo>
                  <a:pt x="1918541" y="4732223"/>
                </a:moveTo>
                <a:cubicBezTo>
                  <a:pt x="1903152" y="4752743"/>
                  <a:pt x="1885198" y="4773262"/>
                  <a:pt x="1869808" y="4793781"/>
                </a:cubicBezTo>
                <a:cubicBezTo>
                  <a:pt x="1867243" y="4791216"/>
                  <a:pt x="1867243" y="4791216"/>
                  <a:pt x="1867243" y="4788651"/>
                </a:cubicBezTo>
                <a:cubicBezTo>
                  <a:pt x="1864679" y="4786087"/>
                  <a:pt x="1862114" y="4786087"/>
                  <a:pt x="1862114" y="4783522"/>
                </a:cubicBezTo>
                <a:cubicBezTo>
                  <a:pt x="1880068" y="4770697"/>
                  <a:pt x="1900587" y="4752743"/>
                  <a:pt x="1918541" y="4732223"/>
                </a:cubicBezTo>
                <a:close/>
                <a:moveTo>
                  <a:pt x="5486307" y="4724529"/>
                </a:moveTo>
                <a:cubicBezTo>
                  <a:pt x="5486307" y="4727094"/>
                  <a:pt x="5488872" y="4729659"/>
                  <a:pt x="5491437" y="4729659"/>
                </a:cubicBezTo>
                <a:cubicBezTo>
                  <a:pt x="5488872" y="4737353"/>
                  <a:pt x="5486307" y="4747613"/>
                  <a:pt x="5473483" y="4745048"/>
                </a:cubicBezTo>
                <a:cubicBezTo>
                  <a:pt x="5473483" y="4737353"/>
                  <a:pt x="5468353" y="4734789"/>
                  <a:pt x="5470918" y="4727094"/>
                </a:cubicBezTo>
                <a:cubicBezTo>
                  <a:pt x="5478613" y="4724529"/>
                  <a:pt x="5476047" y="4727094"/>
                  <a:pt x="5486307" y="4724529"/>
                </a:cubicBezTo>
                <a:close/>
                <a:moveTo>
                  <a:pt x="5317024" y="4711705"/>
                </a:moveTo>
                <a:cubicBezTo>
                  <a:pt x="5319589" y="4711705"/>
                  <a:pt x="5322154" y="4711705"/>
                  <a:pt x="5324719" y="4711705"/>
                </a:cubicBezTo>
                <a:cubicBezTo>
                  <a:pt x="5319589" y="4721965"/>
                  <a:pt x="5329850" y="4729659"/>
                  <a:pt x="5317024" y="4734789"/>
                </a:cubicBezTo>
                <a:cubicBezTo>
                  <a:pt x="5306765" y="4727094"/>
                  <a:pt x="5317024" y="4724529"/>
                  <a:pt x="5317024" y="4711705"/>
                </a:cubicBezTo>
                <a:close/>
                <a:moveTo>
                  <a:pt x="3339491" y="4709140"/>
                </a:moveTo>
                <a:cubicBezTo>
                  <a:pt x="3288193" y="4745049"/>
                  <a:pt x="3244589" y="4791217"/>
                  <a:pt x="3200986" y="4834820"/>
                </a:cubicBezTo>
                <a:lnTo>
                  <a:pt x="3185597" y="4852774"/>
                </a:lnTo>
                <a:lnTo>
                  <a:pt x="3193292" y="4863034"/>
                </a:lnTo>
                <a:cubicBezTo>
                  <a:pt x="3257414" y="4827125"/>
                  <a:pt x="3308712" y="4778392"/>
                  <a:pt x="3349750" y="4716835"/>
                </a:cubicBezTo>
                <a:close/>
                <a:moveTo>
                  <a:pt x="4673236" y="4704010"/>
                </a:moveTo>
                <a:cubicBezTo>
                  <a:pt x="4674518" y="4702727"/>
                  <a:pt x="4675160" y="4703368"/>
                  <a:pt x="4675801" y="4704010"/>
                </a:cubicBezTo>
                <a:cubicBezTo>
                  <a:pt x="4676442" y="4704651"/>
                  <a:pt x="4677083" y="4705292"/>
                  <a:pt x="4678366" y="4704010"/>
                </a:cubicBezTo>
                <a:cubicBezTo>
                  <a:pt x="4683495" y="4719399"/>
                  <a:pt x="4688625" y="4732224"/>
                  <a:pt x="4688625" y="4747613"/>
                </a:cubicBezTo>
                <a:cubicBezTo>
                  <a:pt x="4680930" y="4734789"/>
                  <a:pt x="4660410" y="4721964"/>
                  <a:pt x="4673236" y="4704010"/>
                </a:cubicBezTo>
                <a:close/>
                <a:moveTo>
                  <a:pt x="4745053" y="4698880"/>
                </a:moveTo>
                <a:cubicBezTo>
                  <a:pt x="4747618" y="4701445"/>
                  <a:pt x="4739924" y="4704010"/>
                  <a:pt x="4739924" y="4706574"/>
                </a:cubicBezTo>
                <a:cubicBezTo>
                  <a:pt x="4734794" y="4706574"/>
                  <a:pt x="4734794" y="4698880"/>
                  <a:pt x="4732229" y="4706574"/>
                </a:cubicBezTo>
                <a:cubicBezTo>
                  <a:pt x="4729664" y="4698880"/>
                  <a:pt x="4742489" y="4701445"/>
                  <a:pt x="4745053" y="4698880"/>
                </a:cubicBezTo>
                <a:close/>
                <a:moveTo>
                  <a:pt x="4683496" y="4696316"/>
                </a:moveTo>
                <a:cubicBezTo>
                  <a:pt x="4688625" y="4698880"/>
                  <a:pt x="4691190" y="4704010"/>
                  <a:pt x="4691190" y="4711705"/>
                </a:cubicBezTo>
                <a:cubicBezTo>
                  <a:pt x="4686061" y="4709140"/>
                  <a:pt x="4686061" y="4701445"/>
                  <a:pt x="4683496" y="4696316"/>
                </a:cubicBezTo>
                <a:close/>
                <a:moveTo>
                  <a:pt x="4660411" y="4693751"/>
                </a:moveTo>
                <a:cubicBezTo>
                  <a:pt x="4665541" y="4698880"/>
                  <a:pt x="4668106" y="4711705"/>
                  <a:pt x="4665541" y="4719400"/>
                </a:cubicBezTo>
                <a:cubicBezTo>
                  <a:pt x="4657846" y="4716835"/>
                  <a:pt x="4657846" y="4706575"/>
                  <a:pt x="4652717" y="4701445"/>
                </a:cubicBezTo>
                <a:cubicBezTo>
                  <a:pt x="4655281" y="4698880"/>
                  <a:pt x="4657846" y="4696316"/>
                  <a:pt x="4660411" y="4693751"/>
                </a:cubicBezTo>
                <a:close/>
                <a:moveTo>
                  <a:pt x="1883233" y="4671701"/>
                </a:moveTo>
                <a:lnTo>
                  <a:pt x="1836463" y="4739918"/>
                </a:lnTo>
                <a:cubicBezTo>
                  <a:pt x="1836463" y="4737353"/>
                  <a:pt x="1833898" y="4734788"/>
                  <a:pt x="1831333" y="4732223"/>
                </a:cubicBezTo>
                <a:cubicBezTo>
                  <a:pt x="1831333" y="4729658"/>
                  <a:pt x="1828769" y="4727093"/>
                  <a:pt x="1826204" y="4724528"/>
                </a:cubicBezTo>
                <a:cubicBezTo>
                  <a:pt x="1837746" y="4719399"/>
                  <a:pt x="1848326" y="4711704"/>
                  <a:pt x="1858065" y="4702286"/>
                </a:cubicBezTo>
                <a:close/>
                <a:moveTo>
                  <a:pt x="1885932" y="4667764"/>
                </a:moveTo>
                <a:lnTo>
                  <a:pt x="1884876" y="4669704"/>
                </a:lnTo>
                <a:lnTo>
                  <a:pt x="1883233" y="4671701"/>
                </a:lnTo>
                <a:close/>
                <a:moveTo>
                  <a:pt x="5345919" y="4666299"/>
                </a:moveTo>
                <a:cubicBezTo>
                  <a:pt x="5345559" y="4667621"/>
                  <a:pt x="5336902" y="4675797"/>
                  <a:pt x="5342673" y="4668102"/>
                </a:cubicBezTo>
                <a:cubicBezTo>
                  <a:pt x="5345238" y="4666178"/>
                  <a:pt x="5346040" y="4665858"/>
                  <a:pt x="5345919" y="4666299"/>
                </a:cubicBezTo>
                <a:close/>
                <a:moveTo>
                  <a:pt x="5409360" y="4662972"/>
                </a:moveTo>
                <a:cubicBezTo>
                  <a:pt x="5435009" y="4660407"/>
                  <a:pt x="5429880" y="4698880"/>
                  <a:pt x="5404231" y="4686056"/>
                </a:cubicBezTo>
                <a:cubicBezTo>
                  <a:pt x="5406795" y="4673231"/>
                  <a:pt x="5404231" y="4673231"/>
                  <a:pt x="5409360" y="4662972"/>
                </a:cubicBezTo>
                <a:close/>
                <a:moveTo>
                  <a:pt x="3436957" y="4650148"/>
                </a:moveTo>
                <a:cubicBezTo>
                  <a:pt x="3431827" y="4647583"/>
                  <a:pt x="3426698" y="4652713"/>
                  <a:pt x="3424132" y="4655278"/>
                </a:cubicBezTo>
                <a:cubicBezTo>
                  <a:pt x="3331797" y="4773263"/>
                  <a:pt x="3221505" y="4863034"/>
                  <a:pt x="3121475" y="4934851"/>
                </a:cubicBezTo>
                <a:lnTo>
                  <a:pt x="3129169" y="4945110"/>
                </a:lnTo>
                <a:cubicBezTo>
                  <a:pt x="3239460" y="4893813"/>
                  <a:pt x="3339491" y="4809171"/>
                  <a:pt x="3444651" y="4673232"/>
                </a:cubicBezTo>
                <a:cubicBezTo>
                  <a:pt x="3449781" y="4665537"/>
                  <a:pt x="3444651" y="4660407"/>
                  <a:pt x="3442086" y="4657843"/>
                </a:cubicBezTo>
                <a:lnTo>
                  <a:pt x="3442086" y="4652713"/>
                </a:lnTo>
                <a:close/>
                <a:moveTo>
                  <a:pt x="3503644" y="4621934"/>
                </a:moveTo>
                <a:cubicBezTo>
                  <a:pt x="3372835" y="4793782"/>
                  <a:pt x="3236896" y="4914332"/>
                  <a:pt x="3080436" y="4988714"/>
                </a:cubicBezTo>
                <a:lnTo>
                  <a:pt x="3083001" y="5001538"/>
                </a:lnTo>
                <a:cubicBezTo>
                  <a:pt x="3129169" y="4996408"/>
                  <a:pt x="3167643" y="4968194"/>
                  <a:pt x="3206117" y="4942545"/>
                </a:cubicBezTo>
                <a:cubicBezTo>
                  <a:pt x="3231765" y="4924591"/>
                  <a:pt x="3257414" y="4906637"/>
                  <a:pt x="3283063" y="4896378"/>
                </a:cubicBezTo>
                <a:lnTo>
                  <a:pt x="3285628" y="4896378"/>
                </a:lnTo>
                <a:cubicBezTo>
                  <a:pt x="3380529" y="4816866"/>
                  <a:pt x="3454911" y="4747614"/>
                  <a:pt x="3513903" y="4639888"/>
                </a:cubicBezTo>
                <a:cubicBezTo>
                  <a:pt x="3516468" y="4634758"/>
                  <a:pt x="3513903" y="4632194"/>
                  <a:pt x="3513903" y="4629629"/>
                </a:cubicBezTo>
                <a:cubicBezTo>
                  <a:pt x="3513903" y="4627064"/>
                  <a:pt x="3513903" y="4627064"/>
                  <a:pt x="3513903" y="4627064"/>
                </a:cubicBezTo>
                <a:close/>
                <a:moveTo>
                  <a:pt x="1790296" y="4611673"/>
                </a:moveTo>
                <a:cubicBezTo>
                  <a:pt x="1749258" y="4652711"/>
                  <a:pt x="1713350" y="4701444"/>
                  <a:pt x="1697960" y="4780957"/>
                </a:cubicBezTo>
                <a:cubicBezTo>
                  <a:pt x="1644097" y="4878422"/>
                  <a:pt x="1636402" y="4975888"/>
                  <a:pt x="1649226" y="5070789"/>
                </a:cubicBezTo>
                <a:cubicBezTo>
                  <a:pt x="1646661" y="5068225"/>
                  <a:pt x="1641532" y="5065660"/>
                  <a:pt x="1638967" y="5065660"/>
                </a:cubicBezTo>
                <a:cubicBezTo>
                  <a:pt x="1633837" y="5037446"/>
                  <a:pt x="1631272" y="5009232"/>
                  <a:pt x="1631272" y="4981018"/>
                </a:cubicBezTo>
                <a:cubicBezTo>
                  <a:pt x="1628708" y="4837384"/>
                  <a:pt x="1677441" y="4709139"/>
                  <a:pt x="1764647" y="4624497"/>
                </a:cubicBezTo>
                <a:cubicBezTo>
                  <a:pt x="1774907" y="4621932"/>
                  <a:pt x="1782602" y="4616802"/>
                  <a:pt x="1790296" y="4611673"/>
                </a:cubicBezTo>
                <a:close/>
                <a:moveTo>
                  <a:pt x="1905717" y="4568070"/>
                </a:moveTo>
                <a:cubicBezTo>
                  <a:pt x="1898022" y="4578329"/>
                  <a:pt x="1892893" y="4588589"/>
                  <a:pt x="1887763" y="4598849"/>
                </a:cubicBezTo>
                <a:cubicBezTo>
                  <a:pt x="1874938" y="4624498"/>
                  <a:pt x="1859549" y="4652712"/>
                  <a:pt x="1841594" y="4675796"/>
                </a:cubicBezTo>
                <a:cubicBezTo>
                  <a:pt x="1849289" y="4665537"/>
                  <a:pt x="1856984" y="4650147"/>
                  <a:pt x="1864679" y="4639888"/>
                </a:cubicBezTo>
                <a:cubicBezTo>
                  <a:pt x="1877503" y="4614239"/>
                  <a:pt x="1890328" y="4588589"/>
                  <a:pt x="1905717" y="4568070"/>
                </a:cubicBezTo>
                <a:close/>
                <a:moveTo>
                  <a:pt x="2798300" y="4539856"/>
                </a:moveTo>
                <a:cubicBezTo>
                  <a:pt x="2800865" y="4542421"/>
                  <a:pt x="2803429" y="4542421"/>
                  <a:pt x="2805994" y="4547550"/>
                </a:cubicBezTo>
                <a:cubicBezTo>
                  <a:pt x="2805994" y="4552680"/>
                  <a:pt x="2803429" y="4557810"/>
                  <a:pt x="2803429" y="4562941"/>
                </a:cubicBezTo>
                <a:cubicBezTo>
                  <a:pt x="2800865" y="4552680"/>
                  <a:pt x="2800865" y="4544985"/>
                  <a:pt x="2798300" y="4539856"/>
                </a:cubicBezTo>
                <a:close/>
                <a:moveTo>
                  <a:pt x="4627067" y="4529597"/>
                </a:moveTo>
                <a:cubicBezTo>
                  <a:pt x="4639891" y="4532161"/>
                  <a:pt x="4650151" y="4537291"/>
                  <a:pt x="4662975" y="4537291"/>
                </a:cubicBezTo>
                <a:cubicBezTo>
                  <a:pt x="4668105" y="4557810"/>
                  <a:pt x="4673235" y="4583459"/>
                  <a:pt x="4678365" y="4609108"/>
                </a:cubicBezTo>
                <a:cubicBezTo>
                  <a:pt x="4680929" y="4627063"/>
                  <a:pt x="4693754" y="4647582"/>
                  <a:pt x="4691189" y="4662971"/>
                </a:cubicBezTo>
                <a:cubicBezTo>
                  <a:pt x="4688624" y="4680925"/>
                  <a:pt x="4670670" y="4680925"/>
                  <a:pt x="4668105" y="4698879"/>
                </a:cubicBezTo>
                <a:cubicBezTo>
                  <a:pt x="4660410" y="4698879"/>
                  <a:pt x="4662975" y="4688620"/>
                  <a:pt x="4657845" y="4688620"/>
                </a:cubicBezTo>
                <a:cubicBezTo>
                  <a:pt x="4660410" y="4670666"/>
                  <a:pt x="4675800" y="4665536"/>
                  <a:pt x="4673235" y="4647582"/>
                </a:cubicBezTo>
                <a:cubicBezTo>
                  <a:pt x="4662975" y="4652712"/>
                  <a:pt x="4657845" y="4660406"/>
                  <a:pt x="4655280" y="4670666"/>
                </a:cubicBezTo>
                <a:cubicBezTo>
                  <a:pt x="4650151" y="4670666"/>
                  <a:pt x="4652716" y="4668101"/>
                  <a:pt x="4652716" y="4665536"/>
                </a:cubicBezTo>
                <a:cubicBezTo>
                  <a:pt x="4647586" y="4665536"/>
                  <a:pt x="4650151" y="4670666"/>
                  <a:pt x="4645021" y="4670666"/>
                </a:cubicBezTo>
                <a:cubicBezTo>
                  <a:pt x="4639891" y="4657841"/>
                  <a:pt x="4629631" y="4650147"/>
                  <a:pt x="4624502" y="4642452"/>
                </a:cubicBezTo>
                <a:cubicBezTo>
                  <a:pt x="4621937" y="4642452"/>
                  <a:pt x="4621937" y="4645017"/>
                  <a:pt x="4621937" y="4645017"/>
                </a:cubicBezTo>
                <a:cubicBezTo>
                  <a:pt x="4619372" y="4639887"/>
                  <a:pt x="4627067" y="4634757"/>
                  <a:pt x="4627067" y="4629627"/>
                </a:cubicBezTo>
                <a:cubicBezTo>
                  <a:pt x="4616807" y="4627063"/>
                  <a:pt x="4611677" y="4637322"/>
                  <a:pt x="4609113" y="4642452"/>
                </a:cubicBezTo>
                <a:cubicBezTo>
                  <a:pt x="4603982" y="4639887"/>
                  <a:pt x="4609113" y="4629627"/>
                  <a:pt x="4601418" y="4632192"/>
                </a:cubicBezTo>
                <a:cubicBezTo>
                  <a:pt x="4598853" y="4637322"/>
                  <a:pt x="4601418" y="4650147"/>
                  <a:pt x="4601418" y="4657841"/>
                </a:cubicBezTo>
                <a:cubicBezTo>
                  <a:pt x="4593723" y="4652712"/>
                  <a:pt x="4591158" y="4645017"/>
                  <a:pt x="4580899" y="4647582"/>
                </a:cubicBezTo>
                <a:cubicBezTo>
                  <a:pt x="4580899" y="4657841"/>
                  <a:pt x="4588593" y="4655276"/>
                  <a:pt x="4596288" y="4657841"/>
                </a:cubicBezTo>
                <a:lnTo>
                  <a:pt x="4597418" y="4660553"/>
                </a:lnTo>
                <a:lnTo>
                  <a:pt x="4603022" y="4656881"/>
                </a:lnTo>
                <a:cubicBezTo>
                  <a:pt x="4605908" y="4657843"/>
                  <a:pt x="4607831" y="4661690"/>
                  <a:pt x="4606549" y="4668102"/>
                </a:cubicBezTo>
                <a:lnTo>
                  <a:pt x="4599967" y="4666671"/>
                </a:lnTo>
                <a:lnTo>
                  <a:pt x="4601097" y="4669384"/>
                </a:lnTo>
                <a:lnTo>
                  <a:pt x="4603052" y="4677205"/>
                </a:lnTo>
                <a:lnTo>
                  <a:pt x="4610717" y="4678362"/>
                </a:lnTo>
                <a:cubicBezTo>
                  <a:pt x="4615527" y="4680285"/>
                  <a:pt x="4619374" y="4683491"/>
                  <a:pt x="4621939" y="4688621"/>
                </a:cubicBezTo>
                <a:cubicBezTo>
                  <a:pt x="4620657" y="4689903"/>
                  <a:pt x="4615527" y="4688621"/>
                  <a:pt x="4610076" y="4687338"/>
                </a:cubicBezTo>
                <a:lnTo>
                  <a:pt x="4599293" y="4686335"/>
                </a:lnTo>
                <a:lnTo>
                  <a:pt x="4603617" y="4689087"/>
                </a:lnTo>
                <a:lnTo>
                  <a:pt x="4611999" y="4690865"/>
                </a:lnTo>
                <a:cubicBezTo>
                  <a:pt x="4616168" y="4691827"/>
                  <a:pt x="4620656" y="4692468"/>
                  <a:pt x="4624504" y="4691186"/>
                </a:cubicBezTo>
                <a:cubicBezTo>
                  <a:pt x="4619374" y="4693750"/>
                  <a:pt x="4611679" y="4696315"/>
                  <a:pt x="4609114" y="4698880"/>
                </a:cubicBezTo>
                <a:cubicBezTo>
                  <a:pt x="4624504" y="4698880"/>
                  <a:pt x="4629633" y="4704010"/>
                  <a:pt x="4639893" y="4704010"/>
                </a:cubicBezTo>
                <a:lnTo>
                  <a:pt x="4639893" y="4714270"/>
                </a:lnTo>
                <a:cubicBezTo>
                  <a:pt x="4632199" y="4714270"/>
                  <a:pt x="4627069" y="4711064"/>
                  <a:pt x="4621939" y="4707537"/>
                </a:cubicBezTo>
                <a:lnTo>
                  <a:pt x="4605321" y="4699525"/>
                </a:lnTo>
                <a:lnTo>
                  <a:pt x="4594044" y="4701444"/>
                </a:lnTo>
                <a:cubicBezTo>
                  <a:pt x="4588594" y="4701444"/>
                  <a:pt x="4583464" y="4701444"/>
                  <a:pt x="4580899" y="4704009"/>
                </a:cubicBezTo>
                <a:cubicBezTo>
                  <a:pt x="4584746" y="4710422"/>
                  <a:pt x="4589235" y="4712987"/>
                  <a:pt x="4594364" y="4714590"/>
                </a:cubicBezTo>
                <a:lnTo>
                  <a:pt x="4610878" y="4719177"/>
                </a:lnTo>
                <a:lnTo>
                  <a:pt x="4631556" y="4718117"/>
                </a:lnTo>
                <a:cubicBezTo>
                  <a:pt x="4639251" y="4718758"/>
                  <a:pt x="4646304" y="4720681"/>
                  <a:pt x="4652717" y="4724528"/>
                </a:cubicBezTo>
                <a:cubicBezTo>
                  <a:pt x="4650152" y="4729658"/>
                  <a:pt x="4642457" y="4729658"/>
                  <a:pt x="4639892" y="4734788"/>
                </a:cubicBezTo>
                <a:cubicBezTo>
                  <a:pt x="4637327" y="4747613"/>
                  <a:pt x="4627068" y="4768132"/>
                  <a:pt x="4634763" y="4778391"/>
                </a:cubicBezTo>
                <a:cubicBezTo>
                  <a:pt x="4650152" y="4770696"/>
                  <a:pt x="4657847" y="4750177"/>
                  <a:pt x="4650152" y="4732223"/>
                </a:cubicBezTo>
                <a:cubicBezTo>
                  <a:pt x="4657847" y="4732223"/>
                  <a:pt x="4657847" y="4737353"/>
                  <a:pt x="4660412" y="4739918"/>
                </a:cubicBezTo>
                <a:cubicBezTo>
                  <a:pt x="4660412" y="4737353"/>
                  <a:pt x="4665541" y="4739918"/>
                  <a:pt x="4665541" y="4737353"/>
                </a:cubicBezTo>
                <a:cubicBezTo>
                  <a:pt x="4680930" y="4747613"/>
                  <a:pt x="4691190" y="4763002"/>
                  <a:pt x="4701450" y="4780956"/>
                </a:cubicBezTo>
                <a:cubicBezTo>
                  <a:pt x="4693755" y="4786086"/>
                  <a:pt x="4696320" y="4801476"/>
                  <a:pt x="4701450" y="4804041"/>
                </a:cubicBezTo>
                <a:cubicBezTo>
                  <a:pt x="4698885" y="4806606"/>
                  <a:pt x="4683495" y="4796346"/>
                  <a:pt x="4673236" y="4801476"/>
                </a:cubicBezTo>
                <a:cubicBezTo>
                  <a:pt x="4675801" y="4809171"/>
                  <a:pt x="4683495" y="4811736"/>
                  <a:pt x="4691190" y="4811736"/>
                </a:cubicBezTo>
                <a:cubicBezTo>
                  <a:pt x="4686061" y="4821995"/>
                  <a:pt x="4688625" y="4824560"/>
                  <a:pt x="4688625" y="4834820"/>
                </a:cubicBezTo>
                <a:cubicBezTo>
                  <a:pt x="4698885" y="4842514"/>
                  <a:pt x="4704015" y="4845080"/>
                  <a:pt x="4709144" y="4852774"/>
                </a:cubicBezTo>
                <a:cubicBezTo>
                  <a:pt x="4711709" y="4850209"/>
                  <a:pt x="4716839" y="4850209"/>
                  <a:pt x="4716839" y="4847644"/>
                </a:cubicBezTo>
                <a:cubicBezTo>
                  <a:pt x="4719404" y="4850209"/>
                  <a:pt x="4719404" y="4857904"/>
                  <a:pt x="4719404" y="4863034"/>
                </a:cubicBezTo>
                <a:cubicBezTo>
                  <a:pt x="4716839" y="4863034"/>
                  <a:pt x="4716839" y="4865598"/>
                  <a:pt x="4714274" y="4865598"/>
                </a:cubicBezTo>
                <a:cubicBezTo>
                  <a:pt x="4709144" y="4860469"/>
                  <a:pt x="4704015" y="4857904"/>
                  <a:pt x="4696320" y="4857904"/>
                </a:cubicBezTo>
                <a:cubicBezTo>
                  <a:pt x="4693755" y="4857904"/>
                  <a:pt x="4691190" y="4860469"/>
                  <a:pt x="4691190" y="4865598"/>
                </a:cubicBezTo>
                <a:cubicBezTo>
                  <a:pt x="4683495" y="4863034"/>
                  <a:pt x="4678366" y="4857904"/>
                  <a:pt x="4670671" y="4863034"/>
                </a:cubicBezTo>
                <a:cubicBezTo>
                  <a:pt x="4675801" y="4868163"/>
                  <a:pt x="4670671" y="4873293"/>
                  <a:pt x="4673236" y="4875858"/>
                </a:cubicBezTo>
                <a:cubicBezTo>
                  <a:pt x="4680930" y="4880988"/>
                  <a:pt x="4691190" y="4880988"/>
                  <a:pt x="4701450" y="4883553"/>
                </a:cubicBezTo>
                <a:cubicBezTo>
                  <a:pt x="4701450" y="4888683"/>
                  <a:pt x="4696320" y="4888683"/>
                  <a:pt x="4696320" y="4893812"/>
                </a:cubicBezTo>
                <a:cubicBezTo>
                  <a:pt x="4698885" y="4906637"/>
                  <a:pt x="4714274" y="4904072"/>
                  <a:pt x="4716839" y="4893812"/>
                </a:cubicBezTo>
                <a:cubicBezTo>
                  <a:pt x="4727099" y="4904072"/>
                  <a:pt x="4732228" y="4945110"/>
                  <a:pt x="4719404" y="4957935"/>
                </a:cubicBezTo>
                <a:cubicBezTo>
                  <a:pt x="4716839" y="4963064"/>
                  <a:pt x="4721969" y="4960500"/>
                  <a:pt x="4721969" y="4965629"/>
                </a:cubicBezTo>
                <a:cubicBezTo>
                  <a:pt x="4719404" y="4978454"/>
                  <a:pt x="4721969" y="4988713"/>
                  <a:pt x="4716839" y="4996408"/>
                </a:cubicBezTo>
                <a:cubicBezTo>
                  <a:pt x="4714274" y="5019492"/>
                  <a:pt x="4709144" y="5052836"/>
                  <a:pt x="4696320" y="5068225"/>
                </a:cubicBezTo>
                <a:cubicBezTo>
                  <a:pt x="4691190" y="5052836"/>
                  <a:pt x="4693755" y="5034881"/>
                  <a:pt x="4691190" y="5019492"/>
                </a:cubicBezTo>
                <a:cubicBezTo>
                  <a:pt x="4688625" y="5006667"/>
                  <a:pt x="4675801" y="4993843"/>
                  <a:pt x="4686061" y="4983584"/>
                </a:cubicBezTo>
                <a:cubicBezTo>
                  <a:pt x="4680930" y="4975889"/>
                  <a:pt x="4678366" y="4975889"/>
                  <a:pt x="4678366" y="4968194"/>
                </a:cubicBezTo>
                <a:cubicBezTo>
                  <a:pt x="4686061" y="4963064"/>
                  <a:pt x="4696320" y="4957935"/>
                  <a:pt x="4696320" y="4947675"/>
                </a:cubicBezTo>
                <a:cubicBezTo>
                  <a:pt x="4693755" y="4942545"/>
                  <a:pt x="4686061" y="4945110"/>
                  <a:pt x="4680930" y="4945110"/>
                </a:cubicBezTo>
                <a:cubicBezTo>
                  <a:pt x="4680930" y="4937415"/>
                  <a:pt x="4678366" y="4934851"/>
                  <a:pt x="4678366" y="4927156"/>
                </a:cubicBezTo>
                <a:lnTo>
                  <a:pt x="4675533" y="4929989"/>
                </a:lnTo>
                <a:lnTo>
                  <a:pt x="4675800" y="4930682"/>
                </a:lnTo>
                <a:cubicBezTo>
                  <a:pt x="4677082" y="4939979"/>
                  <a:pt x="4675800" y="4948957"/>
                  <a:pt x="4670670" y="4955369"/>
                </a:cubicBezTo>
                <a:cubicBezTo>
                  <a:pt x="4668105" y="4947674"/>
                  <a:pt x="4662975" y="4945109"/>
                  <a:pt x="4657845" y="4939980"/>
                </a:cubicBezTo>
                <a:cubicBezTo>
                  <a:pt x="4655280" y="4937415"/>
                  <a:pt x="4657845" y="4927155"/>
                  <a:pt x="4647586" y="4927155"/>
                </a:cubicBezTo>
                <a:cubicBezTo>
                  <a:pt x="4642456" y="4911766"/>
                  <a:pt x="4645021" y="4888682"/>
                  <a:pt x="4639891" y="4875857"/>
                </a:cubicBezTo>
                <a:cubicBezTo>
                  <a:pt x="4639891" y="4868162"/>
                  <a:pt x="4642456" y="4863033"/>
                  <a:pt x="4637326" y="4860468"/>
                </a:cubicBezTo>
                <a:cubicBezTo>
                  <a:pt x="4632196" y="4857903"/>
                  <a:pt x="4634761" y="4863033"/>
                  <a:pt x="4634761" y="4865597"/>
                </a:cubicBezTo>
                <a:cubicBezTo>
                  <a:pt x="4629631" y="4860468"/>
                  <a:pt x="4629631" y="4852773"/>
                  <a:pt x="4627067" y="4847643"/>
                </a:cubicBezTo>
                <a:cubicBezTo>
                  <a:pt x="4629631" y="4845079"/>
                  <a:pt x="4634761" y="4847643"/>
                  <a:pt x="4637326" y="4845079"/>
                </a:cubicBezTo>
                <a:cubicBezTo>
                  <a:pt x="4637326" y="4834819"/>
                  <a:pt x="4629631" y="4842514"/>
                  <a:pt x="4624502" y="4842514"/>
                </a:cubicBezTo>
                <a:cubicBezTo>
                  <a:pt x="4619372" y="4832254"/>
                  <a:pt x="4634761" y="4834819"/>
                  <a:pt x="4634761" y="4824559"/>
                </a:cubicBezTo>
                <a:cubicBezTo>
                  <a:pt x="4629631" y="4819430"/>
                  <a:pt x="4627067" y="4829689"/>
                  <a:pt x="4624502" y="4824559"/>
                </a:cubicBezTo>
                <a:cubicBezTo>
                  <a:pt x="4627067" y="4819430"/>
                  <a:pt x="4629631" y="4811735"/>
                  <a:pt x="4627067" y="4809170"/>
                </a:cubicBezTo>
                <a:cubicBezTo>
                  <a:pt x="4619372" y="4806605"/>
                  <a:pt x="4621937" y="4816865"/>
                  <a:pt x="4616807" y="4816865"/>
                </a:cubicBezTo>
                <a:cubicBezTo>
                  <a:pt x="4609113" y="4811735"/>
                  <a:pt x="4609113" y="4804040"/>
                  <a:pt x="4601418" y="4801475"/>
                </a:cubicBezTo>
                <a:cubicBezTo>
                  <a:pt x="4598853" y="4806605"/>
                  <a:pt x="4601418" y="4811735"/>
                  <a:pt x="4603982" y="4814300"/>
                </a:cubicBezTo>
                <a:cubicBezTo>
                  <a:pt x="4598853" y="4816865"/>
                  <a:pt x="4593723" y="4811735"/>
                  <a:pt x="4588593" y="4811735"/>
                </a:cubicBezTo>
                <a:cubicBezTo>
                  <a:pt x="4583464" y="4816865"/>
                  <a:pt x="4596288" y="4819430"/>
                  <a:pt x="4591158" y="4824559"/>
                </a:cubicBezTo>
                <a:cubicBezTo>
                  <a:pt x="4598853" y="4832254"/>
                  <a:pt x="4606547" y="4839949"/>
                  <a:pt x="4616807" y="4842514"/>
                </a:cubicBezTo>
                <a:cubicBezTo>
                  <a:pt x="4621937" y="4860468"/>
                  <a:pt x="4627067" y="4868162"/>
                  <a:pt x="4634761" y="4880987"/>
                </a:cubicBezTo>
                <a:cubicBezTo>
                  <a:pt x="4634761" y="4906636"/>
                  <a:pt x="4639891" y="4924590"/>
                  <a:pt x="4642456" y="4947674"/>
                </a:cubicBezTo>
                <a:lnTo>
                  <a:pt x="4637328" y="4947674"/>
                </a:lnTo>
                <a:lnTo>
                  <a:pt x="4632196" y="4947674"/>
                </a:lnTo>
                <a:cubicBezTo>
                  <a:pt x="4637326" y="4937415"/>
                  <a:pt x="4627067" y="4934850"/>
                  <a:pt x="4619372" y="4932285"/>
                </a:cubicBezTo>
                <a:cubicBezTo>
                  <a:pt x="4614242" y="4937415"/>
                  <a:pt x="4614242" y="4945109"/>
                  <a:pt x="4616807" y="4952804"/>
                </a:cubicBezTo>
                <a:cubicBezTo>
                  <a:pt x="4609113" y="4950239"/>
                  <a:pt x="4606547" y="4945109"/>
                  <a:pt x="4598853" y="4945109"/>
                </a:cubicBezTo>
                <a:cubicBezTo>
                  <a:pt x="4601418" y="4952804"/>
                  <a:pt x="4606547" y="4955369"/>
                  <a:pt x="4611677" y="4957934"/>
                </a:cubicBezTo>
                <a:cubicBezTo>
                  <a:pt x="4609113" y="4963063"/>
                  <a:pt x="4603982" y="4963063"/>
                  <a:pt x="4603982" y="4965628"/>
                </a:cubicBezTo>
                <a:cubicBezTo>
                  <a:pt x="4609113" y="4975888"/>
                  <a:pt x="4629631" y="4970758"/>
                  <a:pt x="4634761" y="4978453"/>
                </a:cubicBezTo>
                <a:lnTo>
                  <a:pt x="4635641" y="4984999"/>
                </a:lnTo>
                <a:lnTo>
                  <a:pt x="4637328" y="4947674"/>
                </a:lnTo>
                <a:cubicBezTo>
                  <a:pt x="4639893" y="4952803"/>
                  <a:pt x="4645023" y="4955368"/>
                  <a:pt x="4639893" y="4960498"/>
                </a:cubicBezTo>
                <a:cubicBezTo>
                  <a:pt x="4642457" y="4963063"/>
                  <a:pt x="4652717" y="4963063"/>
                  <a:pt x="4655282" y="4963063"/>
                </a:cubicBezTo>
                <a:cubicBezTo>
                  <a:pt x="4655282" y="4965628"/>
                  <a:pt x="4647588" y="4970759"/>
                  <a:pt x="4647588" y="4975888"/>
                </a:cubicBezTo>
                <a:cubicBezTo>
                  <a:pt x="4655282" y="4975888"/>
                  <a:pt x="4662977" y="4983583"/>
                  <a:pt x="4670671" y="4986148"/>
                </a:cubicBezTo>
                <a:cubicBezTo>
                  <a:pt x="4675801" y="5016927"/>
                  <a:pt x="4683496" y="5047705"/>
                  <a:pt x="4686061" y="5078484"/>
                </a:cubicBezTo>
                <a:cubicBezTo>
                  <a:pt x="4679649" y="5074637"/>
                  <a:pt x="4671313" y="5071431"/>
                  <a:pt x="4662977" y="5068866"/>
                </a:cubicBezTo>
                <a:lnTo>
                  <a:pt x="4642270" y="5063690"/>
                </a:lnTo>
                <a:lnTo>
                  <a:pt x="4642381" y="5066397"/>
                </a:lnTo>
                <a:lnTo>
                  <a:pt x="4665862" y="5073353"/>
                </a:lnTo>
                <a:cubicBezTo>
                  <a:pt x="4674519" y="5076560"/>
                  <a:pt x="4682214" y="5081049"/>
                  <a:pt x="4686061" y="5088744"/>
                </a:cubicBezTo>
                <a:cubicBezTo>
                  <a:pt x="4678366" y="5119523"/>
                  <a:pt x="4678366" y="5155431"/>
                  <a:pt x="4665542" y="5178515"/>
                </a:cubicBezTo>
                <a:lnTo>
                  <a:pt x="4664292" y="5175958"/>
                </a:lnTo>
                <a:lnTo>
                  <a:pt x="4665220" y="5180759"/>
                </a:lnTo>
                <a:lnTo>
                  <a:pt x="4670199" y="5213856"/>
                </a:lnTo>
                <a:lnTo>
                  <a:pt x="4675481" y="5186530"/>
                </a:lnTo>
                <a:cubicBezTo>
                  <a:pt x="4679008" y="5173385"/>
                  <a:pt x="4683496" y="5160561"/>
                  <a:pt x="4688626" y="5150301"/>
                </a:cubicBezTo>
                <a:cubicBezTo>
                  <a:pt x="4691191" y="5150301"/>
                  <a:pt x="4691191" y="5152866"/>
                  <a:pt x="4693756" y="5152866"/>
                </a:cubicBezTo>
                <a:cubicBezTo>
                  <a:pt x="4696321" y="5181079"/>
                  <a:pt x="4709145" y="5216988"/>
                  <a:pt x="4698886" y="5237507"/>
                </a:cubicBezTo>
                <a:cubicBezTo>
                  <a:pt x="4698886" y="5242637"/>
                  <a:pt x="4704015" y="5242637"/>
                  <a:pt x="4704015" y="5247767"/>
                </a:cubicBezTo>
                <a:cubicBezTo>
                  <a:pt x="4701450" y="5263156"/>
                  <a:pt x="4709145" y="5278545"/>
                  <a:pt x="4709145" y="5293935"/>
                </a:cubicBezTo>
                <a:cubicBezTo>
                  <a:pt x="4701450" y="5306759"/>
                  <a:pt x="4698886" y="5319584"/>
                  <a:pt x="4701450" y="5337538"/>
                </a:cubicBezTo>
                <a:cubicBezTo>
                  <a:pt x="4698886" y="5342668"/>
                  <a:pt x="4691191" y="5342668"/>
                  <a:pt x="4693756" y="5350362"/>
                </a:cubicBezTo>
                <a:cubicBezTo>
                  <a:pt x="4688626" y="5332408"/>
                  <a:pt x="4678367" y="5311889"/>
                  <a:pt x="4680931" y="5291370"/>
                </a:cubicBezTo>
                <a:cubicBezTo>
                  <a:pt x="4680931" y="5288805"/>
                  <a:pt x="4683496" y="5283675"/>
                  <a:pt x="4683496" y="5281110"/>
                </a:cubicBezTo>
                <a:cubicBezTo>
                  <a:pt x="4680931" y="5265721"/>
                  <a:pt x="4673237" y="5255461"/>
                  <a:pt x="4673237" y="5242637"/>
                </a:cubicBezTo>
                <a:cubicBezTo>
                  <a:pt x="4678367" y="5237507"/>
                  <a:pt x="4686061" y="5242637"/>
                  <a:pt x="4688626" y="5237507"/>
                </a:cubicBezTo>
                <a:cubicBezTo>
                  <a:pt x="4686061" y="5232377"/>
                  <a:pt x="4680931" y="5232377"/>
                  <a:pt x="4678367" y="5234942"/>
                </a:cubicBezTo>
                <a:cubicBezTo>
                  <a:pt x="4680931" y="5227247"/>
                  <a:pt x="4701450" y="5229813"/>
                  <a:pt x="4693756" y="5216988"/>
                </a:cubicBezTo>
                <a:cubicBezTo>
                  <a:pt x="4688626" y="5219553"/>
                  <a:pt x="4683496" y="5224682"/>
                  <a:pt x="4680931" y="5227247"/>
                </a:cubicBezTo>
                <a:cubicBezTo>
                  <a:pt x="4678367" y="5222118"/>
                  <a:pt x="4673237" y="5222118"/>
                  <a:pt x="4668106" y="5224682"/>
                </a:cubicBezTo>
                <a:lnTo>
                  <a:pt x="4669775" y="5216047"/>
                </a:lnTo>
                <a:lnTo>
                  <a:pt x="4658166" y="5203843"/>
                </a:lnTo>
                <a:cubicBezTo>
                  <a:pt x="4653999" y="5199034"/>
                  <a:pt x="4650151" y="5193904"/>
                  <a:pt x="4647586" y="5188774"/>
                </a:cubicBezTo>
                <a:cubicBezTo>
                  <a:pt x="4637326" y="5199034"/>
                  <a:pt x="4657845" y="5206728"/>
                  <a:pt x="4662975" y="5214423"/>
                </a:cubicBezTo>
                <a:cubicBezTo>
                  <a:pt x="4668105" y="5229813"/>
                  <a:pt x="4668105" y="5252896"/>
                  <a:pt x="4665540" y="5270851"/>
                </a:cubicBezTo>
                <a:cubicBezTo>
                  <a:pt x="4660410" y="5270851"/>
                  <a:pt x="4657845" y="5265721"/>
                  <a:pt x="4655280" y="5265721"/>
                </a:cubicBezTo>
                <a:cubicBezTo>
                  <a:pt x="4650151" y="5265721"/>
                  <a:pt x="4650151" y="5270851"/>
                  <a:pt x="4645021" y="5270851"/>
                </a:cubicBezTo>
                <a:cubicBezTo>
                  <a:pt x="4645021" y="5281110"/>
                  <a:pt x="4647586" y="5283675"/>
                  <a:pt x="4650151" y="5288805"/>
                </a:cubicBezTo>
                <a:cubicBezTo>
                  <a:pt x="4647586" y="5293935"/>
                  <a:pt x="4642456" y="5293935"/>
                  <a:pt x="4642456" y="5299065"/>
                </a:cubicBezTo>
                <a:cubicBezTo>
                  <a:pt x="4645021" y="5306759"/>
                  <a:pt x="4652716" y="5306759"/>
                  <a:pt x="4660410" y="5309324"/>
                </a:cubicBezTo>
                <a:cubicBezTo>
                  <a:pt x="4657845" y="5334973"/>
                  <a:pt x="4665540" y="5365752"/>
                  <a:pt x="4662975" y="5393966"/>
                </a:cubicBezTo>
                <a:cubicBezTo>
                  <a:pt x="4660410" y="5411920"/>
                  <a:pt x="4650151" y="5427309"/>
                  <a:pt x="4647586" y="5442698"/>
                </a:cubicBezTo>
                <a:cubicBezTo>
                  <a:pt x="4642456" y="5440134"/>
                  <a:pt x="4645021" y="5435004"/>
                  <a:pt x="4639891" y="5435004"/>
                </a:cubicBezTo>
                <a:cubicBezTo>
                  <a:pt x="4632196" y="5435004"/>
                  <a:pt x="4629631" y="5440134"/>
                  <a:pt x="4627067" y="5442698"/>
                </a:cubicBezTo>
                <a:cubicBezTo>
                  <a:pt x="4624502" y="5435004"/>
                  <a:pt x="4629631" y="5424744"/>
                  <a:pt x="4629631" y="5417049"/>
                </a:cubicBezTo>
                <a:cubicBezTo>
                  <a:pt x="4616807" y="5424744"/>
                  <a:pt x="4619372" y="5445263"/>
                  <a:pt x="4614242" y="5460653"/>
                </a:cubicBezTo>
                <a:cubicBezTo>
                  <a:pt x="4609113" y="5458088"/>
                  <a:pt x="4606547" y="5455523"/>
                  <a:pt x="4601418" y="5455523"/>
                </a:cubicBezTo>
                <a:lnTo>
                  <a:pt x="4601418" y="5459796"/>
                </a:lnTo>
                <a:lnTo>
                  <a:pt x="4603984" y="5463218"/>
                </a:lnTo>
                <a:lnTo>
                  <a:pt x="4601418" y="5461721"/>
                </a:lnTo>
                <a:lnTo>
                  <a:pt x="4601418" y="5465783"/>
                </a:lnTo>
                <a:cubicBezTo>
                  <a:pt x="4598853" y="5463218"/>
                  <a:pt x="4593723" y="5455523"/>
                  <a:pt x="4591158" y="5458088"/>
                </a:cubicBezTo>
                <a:cubicBezTo>
                  <a:pt x="4601418" y="5432439"/>
                  <a:pt x="4609113" y="5373446"/>
                  <a:pt x="4583464" y="5355492"/>
                </a:cubicBezTo>
                <a:cubicBezTo>
                  <a:pt x="4565509" y="5365752"/>
                  <a:pt x="4557815" y="5386271"/>
                  <a:pt x="4550120" y="5406790"/>
                </a:cubicBezTo>
                <a:cubicBezTo>
                  <a:pt x="4544990" y="5396531"/>
                  <a:pt x="4532166" y="5396531"/>
                  <a:pt x="4524471" y="5391400"/>
                </a:cubicBezTo>
                <a:cubicBezTo>
                  <a:pt x="4539860" y="5388836"/>
                  <a:pt x="4552685" y="5383706"/>
                  <a:pt x="4557815" y="5370882"/>
                </a:cubicBezTo>
                <a:cubicBezTo>
                  <a:pt x="4550120" y="5365752"/>
                  <a:pt x="4534730" y="5370882"/>
                  <a:pt x="4527036" y="5373446"/>
                </a:cubicBezTo>
                <a:cubicBezTo>
                  <a:pt x="4521906" y="5376011"/>
                  <a:pt x="4516776" y="5383706"/>
                  <a:pt x="4514211" y="5378576"/>
                </a:cubicBezTo>
                <a:cubicBezTo>
                  <a:pt x="4514211" y="5373446"/>
                  <a:pt x="4519341" y="5345233"/>
                  <a:pt x="4509081" y="5340103"/>
                </a:cubicBezTo>
                <a:cubicBezTo>
                  <a:pt x="4501387" y="5342668"/>
                  <a:pt x="4498822" y="5347797"/>
                  <a:pt x="4498822" y="5355492"/>
                </a:cubicBezTo>
                <a:cubicBezTo>
                  <a:pt x="4493692" y="5311889"/>
                  <a:pt x="4483433" y="5263156"/>
                  <a:pt x="4470608" y="5222118"/>
                </a:cubicBezTo>
                <a:cubicBezTo>
                  <a:pt x="4480868" y="5222118"/>
                  <a:pt x="4480868" y="5214423"/>
                  <a:pt x="4488562" y="5211858"/>
                </a:cubicBezTo>
                <a:cubicBezTo>
                  <a:pt x="4493692" y="5214423"/>
                  <a:pt x="4496257" y="5219553"/>
                  <a:pt x="4501387" y="5222118"/>
                </a:cubicBezTo>
                <a:cubicBezTo>
                  <a:pt x="4509081" y="5214423"/>
                  <a:pt x="4514211" y="5196469"/>
                  <a:pt x="4511647" y="5186209"/>
                </a:cubicBezTo>
                <a:cubicBezTo>
                  <a:pt x="4537295" y="5181079"/>
                  <a:pt x="4544990" y="5160560"/>
                  <a:pt x="4555250" y="5142606"/>
                </a:cubicBezTo>
                <a:cubicBezTo>
                  <a:pt x="4550120" y="5127217"/>
                  <a:pt x="4532166" y="5140041"/>
                  <a:pt x="4524471" y="5145171"/>
                </a:cubicBezTo>
                <a:cubicBezTo>
                  <a:pt x="4521906" y="5142606"/>
                  <a:pt x="4516776" y="5140041"/>
                  <a:pt x="4511647" y="5142606"/>
                </a:cubicBezTo>
                <a:cubicBezTo>
                  <a:pt x="4509081" y="5127217"/>
                  <a:pt x="4491127" y="5122087"/>
                  <a:pt x="4488562" y="5137476"/>
                </a:cubicBezTo>
                <a:cubicBezTo>
                  <a:pt x="4480868" y="5134911"/>
                  <a:pt x="4488562" y="5129781"/>
                  <a:pt x="4483433" y="5129781"/>
                </a:cubicBezTo>
                <a:cubicBezTo>
                  <a:pt x="4475738" y="5132347"/>
                  <a:pt x="4470608" y="5137476"/>
                  <a:pt x="4468043" y="5145171"/>
                </a:cubicBezTo>
                <a:cubicBezTo>
                  <a:pt x="4462913" y="5142606"/>
                  <a:pt x="4462913" y="5134911"/>
                  <a:pt x="4457784" y="5134911"/>
                </a:cubicBezTo>
                <a:cubicBezTo>
                  <a:pt x="4450089" y="5147736"/>
                  <a:pt x="4462913" y="5157995"/>
                  <a:pt x="4465478" y="5168255"/>
                </a:cubicBezTo>
                <a:cubicBezTo>
                  <a:pt x="4460349" y="5168255"/>
                  <a:pt x="4460349" y="5163125"/>
                  <a:pt x="4455219" y="5165690"/>
                </a:cubicBezTo>
                <a:cubicBezTo>
                  <a:pt x="4442394" y="5122087"/>
                  <a:pt x="4450089" y="5057964"/>
                  <a:pt x="4450089" y="5022056"/>
                </a:cubicBezTo>
                <a:cubicBezTo>
                  <a:pt x="4462913" y="5016926"/>
                  <a:pt x="4468043" y="5009232"/>
                  <a:pt x="4480868" y="5011797"/>
                </a:cubicBezTo>
                <a:cubicBezTo>
                  <a:pt x="4491127" y="5014361"/>
                  <a:pt x="4493692" y="5024621"/>
                  <a:pt x="4524471" y="5029751"/>
                </a:cubicBezTo>
                <a:cubicBezTo>
                  <a:pt x="4527036" y="5027186"/>
                  <a:pt x="4529601" y="5027186"/>
                  <a:pt x="4529601" y="5024621"/>
                </a:cubicBezTo>
                <a:cubicBezTo>
                  <a:pt x="4524471" y="5014361"/>
                  <a:pt x="4506517" y="5014361"/>
                  <a:pt x="4501387" y="5004102"/>
                </a:cubicBezTo>
                <a:cubicBezTo>
                  <a:pt x="4521906" y="5009232"/>
                  <a:pt x="4527036" y="4998972"/>
                  <a:pt x="4537295" y="4991277"/>
                </a:cubicBezTo>
                <a:cubicBezTo>
                  <a:pt x="4552685" y="4978453"/>
                  <a:pt x="4565509" y="4973323"/>
                  <a:pt x="4568074" y="4955369"/>
                </a:cubicBezTo>
                <a:cubicBezTo>
                  <a:pt x="4568074" y="4945109"/>
                  <a:pt x="4550120" y="4955369"/>
                  <a:pt x="4552685" y="4945109"/>
                </a:cubicBezTo>
                <a:cubicBezTo>
                  <a:pt x="4516776" y="4950239"/>
                  <a:pt x="4509081" y="4981018"/>
                  <a:pt x="4483433" y="4993842"/>
                </a:cubicBezTo>
                <a:cubicBezTo>
                  <a:pt x="4480868" y="4983583"/>
                  <a:pt x="4491127" y="4955369"/>
                  <a:pt x="4478303" y="4947674"/>
                </a:cubicBezTo>
                <a:cubicBezTo>
                  <a:pt x="4498822" y="4880987"/>
                  <a:pt x="4503952" y="4796345"/>
                  <a:pt x="4544990" y="4750177"/>
                </a:cubicBezTo>
                <a:cubicBezTo>
                  <a:pt x="4542425" y="4745048"/>
                  <a:pt x="4542425" y="4739918"/>
                  <a:pt x="4534730" y="4739918"/>
                </a:cubicBezTo>
                <a:cubicBezTo>
                  <a:pt x="4547555" y="4683490"/>
                  <a:pt x="4565509" y="4637322"/>
                  <a:pt x="4596288" y="4601414"/>
                </a:cubicBezTo>
                <a:cubicBezTo>
                  <a:pt x="4603982" y="4598849"/>
                  <a:pt x="4614242" y="4596284"/>
                  <a:pt x="4616807" y="4588589"/>
                </a:cubicBezTo>
                <a:cubicBezTo>
                  <a:pt x="4614242" y="4578330"/>
                  <a:pt x="4603982" y="4578330"/>
                  <a:pt x="4596288" y="4580895"/>
                </a:cubicBezTo>
                <a:cubicBezTo>
                  <a:pt x="4601418" y="4568070"/>
                  <a:pt x="4606547" y="4560375"/>
                  <a:pt x="4609113" y="4547551"/>
                </a:cubicBezTo>
                <a:cubicBezTo>
                  <a:pt x="4616807" y="4544986"/>
                  <a:pt x="4627067" y="4542421"/>
                  <a:pt x="4627067" y="4529597"/>
                </a:cubicBezTo>
                <a:close/>
                <a:moveTo>
                  <a:pt x="3821690" y="4478299"/>
                </a:moveTo>
                <a:cubicBezTo>
                  <a:pt x="3765263" y="4480864"/>
                  <a:pt x="3719094" y="4532162"/>
                  <a:pt x="3683186" y="4580895"/>
                </a:cubicBezTo>
                <a:lnTo>
                  <a:pt x="3690881" y="4591154"/>
                </a:lnTo>
                <a:cubicBezTo>
                  <a:pt x="3693446" y="4588590"/>
                  <a:pt x="3696011" y="4588590"/>
                  <a:pt x="3698576" y="4586024"/>
                </a:cubicBezTo>
                <a:cubicBezTo>
                  <a:pt x="3690881" y="4596285"/>
                  <a:pt x="3683186" y="4606545"/>
                  <a:pt x="3678056" y="4616804"/>
                </a:cubicBezTo>
                <a:lnTo>
                  <a:pt x="3683186" y="4619369"/>
                </a:lnTo>
                <a:cubicBezTo>
                  <a:pt x="3649842" y="4650148"/>
                  <a:pt x="3621629" y="4688621"/>
                  <a:pt x="3601110" y="4721965"/>
                </a:cubicBezTo>
                <a:lnTo>
                  <a:pt x="3611369" y="4729660"/>
                </a:lnTo>
                <a:cubicBezTo>
                  <a:pt x="3672927" y="4673232"/>
                  <a:pt x="3737049" y="4611674"/>
                  <a:pt x="3780652" y="4565505"/>
                </a:cubicBezTo>
                <a:lnTo>
                  <a:pt x="3772957" y="4555246"/>
                </a:lnTo>
                <a:cubicBezTo>
                  <a:pt x="3767828" y="4557811"/>
                  <a:pt x="3762698" y="4560376"/>
                  <a:pt x="3757568" y="4562941"/>
                </a:cubicBezTo>
                <a:cubicBezTo>
                  <a:pt x="3767828" y="4555246"/>
                  <a:pt x="3778087" y="4547551"/>
                  <a:pt x="3788347" y="4539856"/>
                </a:cubicBezTo>
                <a:lnTo>
                  <a:pt x="3783217" y="4529597"/>
                </a:lnTo>
                <a:cubicBezTo>
                  <a:pt x="3778087" y="4532162"/>
                  <a:pt x="3770392" y="4532162"/>
                  <a:pt x="3765263" y="4534727"/>
                </a:cubicBezTo>
                <a:cubicBezTo>
                  <a:pt x="3783217" y="4516772"/>
                  <a:pt x="3803736" y="4501383"/>
                  <a:pt x="3824255" y="4491124"/>
                </a:cubicBezTo>
                <a:close/>
                <a:moveTo>
                  <a:pt x="4634763" y="4473169"/>
                </a:moveTo>
                <a:cubicBezTo>
                  <a:pt x="4639893" y="4475733"/>
                  <a:pt x="4639893" y="4485993"/>
                  <a:pt x="4639893" y="4491123"/>
                </a:cubicBezTo>
                <a:cubicBezTo>
                  <a:pt x="4629633" y="4493689"/>
                  <a:pt x="4629633" y="4506513"/>
                  <a:pt x="4616809" y="4506513"/>
                </a:cubicBezTo>
                <a:cubicBezTo>
                  <a:pt x="4619374" y="4501383"/>
                  <a:pt x="4624503" y="4501383"/>
                  <a:pt x="4627069" y="4496254"/>
                </a:cubicBezTo>
                <a:cubicBezTo>
                  <a:pt x="4627069" y="4491123"/>
                  <a:pt x="4624503" y="4491123"/>
                  <a:pt x="4621939" y="4491123"/>
                </a:cubicBezTo>
                <a:cubicBezTo>
                  <a:pt x="4624503" y="4483428"/>
                  <a:pt x="4632198" y="4480863"/>
                  <a:pt x="4634763" y="4473169"/>
                </a:cubicBezTo>
                <a:close/>
                <a:moveTo>
                  <a:pt x="4601419" y="4462910"/>
                </a:moveTo>
                <a:cubicBezTo>
                  <a:pt x="4601419" y="4468039"/>
                  <a:pt x="4596290" y="4470604"/>
                  <a:pt x="4593725" y="4470604"/>
                </a:cubicBezTo>
                <a:cubicBezTo>
                  <a:pt x="4596290" y="4468039"/>
                  <a:pt x="4596290" y="4462910"/>
                  <a:pt x="4601419" y="4462910"/>
                </a:cubicBezTo>
                <a:close/>
                <a:moveTo>
                  <a:pt x="3837721" y="4429886"/>
                </a:moveTo>
                <a:cubicBezTo>
                  <a:pt x="3844133" y="4430848"/>
                  <a:pt x="3849904" y="4433413"/>
                  <a:pt x="3855034" y="4437261"/>
                </a:cubicBezTo>
                <a:cubicBezTo>
                  <a:pt x="3862729" y="4444955"/>
                  <a:pt x="3867858" y="4460345"/>
                  <a:pt x="3867858" y="4475734"/>
                </a:cubicBezTo>
                <a:cubicBezTo>
                  <a:pt x="3849904" y="4483429"/>
                  <a:pt x="3837080" y="4493688"/>
                  <a:pt x="3829385" y="4511643"/>
                </a:cubicBezTo>
                <a:cubicBezTo>
                  <a:pt x="3822973" y="4523185"/>
                  <a:pt x="3820409" y="4537933"/>
                  <a:pt x="3821370" y="4553002"/>
                </a:cubicBezTo>
                <a:lnTo>
                  <a:pt x="3833870" y="4594160"/>
                </a:lnTo>
                <a:lnTo>
                  <a:pt x="3832116" y="4598685"/>
                </a:lnTo>
                <a:lnTo>
                  <a:pt x="3824255" y="4606545"/>
                </a:lnTo>
                <a:cubicBezTo>
                  <a:pt x="3811431" y="4621934"/>
                  <a:pt x="3796041" y="4634758"/>
                  <a:pt x="3793477" y="4665537"/>
                </a:cubicBezTo>
                <a:cubicBezTo>
                  <a:pt x="3778087" y="4673232"/>
                  <a:pt x="3757568" y="4678362"/>
                  <a:pt x="3739614" y="4683492"/>
                </a:cubicBezTo>
                <a:cubicBezTo>
                  <a:pt x="3698576" y="4691186"/>
                  <a:pt x="3657537" y="4701446"/>
                  <a:pt x="3642148" y="4737354"/>
                </a:cubicBezTo>
                <a:lnTo>
                  <a:pt x="3634453" y="4752744"/>
                </a:lnTo>
                <a:lnTo>
                  <a:pt x="3649842" y="4745049"/>
                </a:lnTo>
                <a:cubicBezTo>
                  <a:pt x="3706270" y="4716835"/>
                  <a:pt x="3778087" y="4691186"/>
                  <a:pt x="3839645" y="4678362"/>
                </a:cubicBezTo>
                <a:cubicBezTo>
                  <a:pt x="3826820" y="4706575"/>
                  <a:pt x="3831950" y="4727095"/>
                  <a:pt x="3839645" y="4747614"/>
                </a:cubicBezTo>
                <a:cubicBezTo>
                  <a:pt x="3711400" y="4750178"/>
                  <a:pt x="3639583" y="4793782"/>
                  <a:pt x="3603674" y="4893813"/>
                </a:cubicBezTo>
                <a:lnTo>
                  <a:pt x="3595980" y="4911767"/>
                </a:lnTo>
                <a:lnTo>
                  <a:pt x="3613934" y="4898942"/>
                </a:lnTo>
                <a:cubicBezTo>
                  <a:pt x="3644713" y="4875858"/>
                  <a:pt x="3665232" y="4850210"/>
                  <a:pt x="3678056" y="4816866"/>
                </a:cubicBezTo>
                <a:cubicBezTo>
                  <a:pt x="3688316" y="4814301"/>
                  <a:pt x="3703705" y="4816866"/>
                  <a:pt x="3716530" y="4824561"/>
                </a:cubicBezTo>
                <a:cubicBezTo>
                  <a:pt x="3724225" y="4827125"/>
                  <a:pt x="3729354" y="4834820"/>
                  <a:pt x="3731919" y="4839950"/>
                </a:cubicBezTo>
                <a:cubicBezTo>
                  <a:pt x="3729354" y="4839950"/>
                  <a:pt x="3726789" y="4845080"/>
                  <a:pt x="3724225" y="4847644"/>
                </a:cubicBezTo>
                <a:cubicBezTo>
                  <a:pt x="3724225" y="4845080"/>
                  <a:pt x="3719094" y="4845080"/>
                  <a:pt x="3716530" y="4845080"/>
                </a:cubicBezTo>
                <a:lnTo>
                  <a:pt x="3713965" y="4845080"/>
                </a:lnTo>
                <a:lnTo>
                  <a:pt x="3711400" y="4847644"/>
                </a:lnTo>
                <a:cubicBezTo>
                  <a:pt x="3703705" y="4855339"/>
                  <a:pt x="3698576" y="4860469"/>
                  <a:pt x="3690881" y="4868164"/>
                </a:cubicBezTo>
                <a:cubicBezTo>
                  <a:pt x="3698576" y="4857904"/>
                  <a:pt x="3703705" y="4845080"/>
                  <a:pt x="3703705" y="4832255"/>
                </a:cubicBezTo>
                <a:lnTo>
                  <a:pt x="3703705" y="4821996"/>
                </a:lnTo>
                <a:lnTo>
                  <a:pt x="3696011" y="4824561"/>
                </a:lnTo>
                <a:cubicBezTo>
                  <a:pt x="3678056" y="4832255"/>
                  <a:pt x="3667797" y="4845080"/>
                  <a:pt x="3657537" y="4860469"/>
                </a:cubicBezTo>
                <a:cubicBezTo>
                  <a:pt x="3647278" y="4870729"/>
                  <a:pt x="3642148" y="4880988"/>
                  <a:pt x="3631888" y="4886118"/>
                </a:cubicBezTo>
                <a:lnTo>
                  <a:pt x="3637018" y="4898942"/>
                </a:lnTo>
                <a:cubicBezTo>
                  <a:pt x="3652408" y="4898942"/>
                  <a:pt x="3667797" y="4891248"/>
                  <a:pt x="3680621" y="4880988"/>
                </a:cubicBezTo>
                <a:cubicBezTo>
                  <a:pt x="3665232" y="4893813"/>
                  <a:pt x="3652408" y="4909202"/>
                  <a:pt x="3637018" y="4924591"/>
                </a:cubicBezTo>
                <a:cubicBezTo>
                  <a:pt x="3621629" y="4942545"/>
                  <a:pt x="3606239" y="4957935"/>
                  <a:pt x="3593415" y="4970759"/>
                </a:cubicBezTo>
                <a:lnTo>
                  <a:pt x="3601110" y="4973324"/>
                </a:lnTo>
                <a:cubicBezTo>
                  <a:pt x="3637018" y="4957935"/>
                  <a:pt x="3665232" y="4929721"/>
                  <a:pt x="3690881" y="4901507"/>
                </a:cubicBezTo>
                <a:cubicBezTo>
                  <a:pt x="3690881" y="4901507"/>
                  <a:pt x="3693446" y="4898942"/>
                  <a:pt x="3693446" y="4898942"/>
                </a:cubicBezTo>
                <a:cubicBezTo>
                  <a:pt x="3665232" y="4945110"/>
                  <a:pt x="3613934" y="4978454"/>
                  <a:pt x="3567766" y="5009233"/>
                </a:cubicBezTo>
                <a:cubicBezTo>
                  <a:pt x="3544682" y="5024622"/>
                  <a:pt x="3524163" y="5037447"/>
                  <a:pt x="3506209" y="5052836"/>
                </a:cubicBezTo>
                <a:lnTo>
                  <a:pt x="3511338" y="5060531"/>
                </a:lnTo>
                <a:cubicBezTo>
                  <a:pt x="3477995" y="5073355"/>
                  <a:pt x="3442086" y="5086180"/>
                  <a:pt x="3408743" y="5096439"/>
                </a:cubicBezTo>
                <a:lnTo>
                  <a:pt x="3388223" y="5104134"/>
                </a:lnTo>
                <a:lnTo>
                  <a:pt x="3390788" y="5116958"/>
                </a:lnTo>
                <a:cubicBezTo>
                  <a:pt x="3542117" y="5101569"/>
                  <a:pt x="3662667" y="5032317"/>
                  <a:pt x="3747308" y="4914332"/>
                </a:cubicBezTo>
                <a:cubicBezTo>
                  <a:pt x="3747308" y="4919462"/>
                  <a:pt x="3749874" y="4922027"/>
                  <a:pt x="3752438" y="4927156"/>
                </a:cubicBezTo>
                <a:cubicBezTo>
                  <a:pt x="3755003" y="4932286"/>
                  <a:pt x="3755003" y="4934851"/>
                  <a:pt x="3757568" y="4939981"/>
                </a:cubicBezTo>
                <a:cubicBezTo>
                  <a:pt x="3726789" y="4955370"/>
                  <a:pt x="3696011" y="4991279"/>
                  <a:pt x="3683186" y="5016928"/>
                </a:cubicBezTo>
                <a:lnTo>
                  <a:pt x="3675491" y="5029752"/>
                </a:lnTo>
                <a:lnTo>
                  <a:pt x="3688316" y="5024622"/>
                </a:lnTo>
                <a:cubicBezTo>
                  <a:pt x="3713965" y="5016928"/>
                  <a:pt x="3729354" y="4998973"/>
                  <a:pt x="3744743" y="4981019"/>
                </a:cubicBezTo>
                <a:cubicBezTo>
                  <a:pt x="3749874" y="4973324"/>
                  <a:pt x="3757568" y="4965630"/>
                  <a:pt x="3762698" y="4960500"/>
                </a:cubicBezTo>
                <a:cubicBezTo>
                  <a:pt x="3760133" y="4963065"/>
                  <a:pt x="3757568" y="4965630"/>
                  <a:pt x="3755003" y="4970759"/>
                </a:cubicBezTo>
                <a:cubicBezTo>
                  <a:pt x="3749874" y="4978454"/>
                  <a:pt x="3742179" y="4986149"/>
                  <a:pt x="3742179" y="4998973"/>
                </a:cubicBezTo>
                <a:cubicBezTo>
                  <a:pt x="3729354" y="5006668"/>
                  <a:pt x="3716530" y="5014363"/>
                  <a:pt x="3703705" y="5022057"/>
                </a:cubicBezTo>
                <a:cubicBezTo>
                  <a:pt x="3670362" y="5042576"/>
                  <a:pt x="3634453" y="5065660"/>
                  <a:pt x="3590850" y="5063096"/>
                </a:cubicBezTo>
                <a:lnTo>
                  <a:pt x="3588285" y="5075920"/>
                </a:lnTo>
                <a:cubicBezTo>
                  <a:pt x="3652408" y="5099004"/>
                  <a:pt x="3685751" y="5075920"/>
                  <a:pt x="3719094" y="5050271"/>
                </a:cubicBezTo>
                <a:cubicBezTo>
                  <a:pt x="3726789" y="5045141"/>
                  <a:pt x="3734484" y="5040011"/>
                  <a:pt x="3742179" y="5034882"/>
                </a:cubicBezTo>
                <a:cubicBezTo>
                  <a:pt x="3772957" y="5065660"/>
                  <a:pt x="3760133" y="5086180"/>
                  <a:pt x="3737049" y="5119523"/>
                </a:cubicBezTo>
                <a:cubicBezTo>
                  <a:pt x="3716530" y="5147737"/>
                  <a:pt x="3693446" y="5183646"/>
                  <a:pt x="3698576" y="5234943"/>
                </a:cubicBezTo>
                <a:cubicBezTo>
                  <a:pt x="3667797" y="5260592"/>
                  <a:pt x="3637018" y="5247768"/>
                  <a:pt x="3598545" y="5229814"/>
                </a:cubicBezTo>
                <a:cubicBezTo>
                  <a:pt x="3565201" y="5214424"/>
                  <a:pt x="3526728" y="5196470"/>
                  <a:pt x="3480560" y="5206730"/>
                </a:cubicBezTo>
                <a:lnTo>
                  <a:pt x="3480560" y="5219554"/>
                </a:lnTo>
                <a:cubicBezTo>
                  <a:pt x="3493384" y="5222119"/>
                  <a:pt x="3503644" y="5224684"/>
                  <a:pt x="3516468" y="5227249"/>
                </a:cubicBezTo>
                <a:cubicBezTo>
                  <a:pt x="3554941" y="5237508"/>
                  <a:pt x="3593415" y="5245203"/>
                  <a:pt x="3619064" y="5268287"/>
                </a:cubicBezTo>
                <a:cubicBezTo>
                  <a:pt x="3542117" y="5370883"/>
                  <a:pt x="3454911" y="5399096"/>
                  <a:pt x="3357445" y="5352928"/>
                </a:cubicBezTo>
                <a:cubicBezTo>
                  <a:pt x="3329231" y="5340104"/>
                  <a:pt x="3313842" y="5314455"/>
                  <a:pt x="3298452" y="5286241"/>
                </a:cubicBezTo>
                <a:cubicBezTo>
                  <a:pt x="3275368" y="5247768"/>
                  <a:pt x="3252284" y="5206730"/>
                  <a:pt x="3188162" y="5206730"/>
                </a:cubicBezTo>
                <a:lnTo>
                  <a:pt x="3185597" y="5206730"/>
                </a:lnTo>
                <a:lnTo>
                  <a:pt x="3183033" y="5206730"/>
                </a:lnTo>
                <a:cubicBezTo>
                  <a:pt x="3171811" y="5214745"/>
                  <a:pt x="3161391" y="5224444"/>
                  <a:pt x="3151848" y="5235480"/>
                </a:cubicBezTo>
                <a:lnTo>
                  <a:pt x="3133288" y="5261808"/>
                </a:lnTo>
                <a:lnTo>
                  <a:pt x="3126604" y="5252898"/>
                </a:lnTo>
                <a:cubicBezTo>
                  <a:pt x="3095826" y="5268287"/>
                  <a:pt x="3075307" y="5301630"/>
                  <a:pt x="3062482" y="5340104"/>
                </a:cubicBezTo>
                <a:cubicBezTo>
                  <a:pt x="3065047" y="5332409"/>
                  <a:pt x="3062482" y="5324715"/>
                  <a:pt x="3059917" y="5319585"/>
                </a:cubicBezTo>
                <a:lnTo>
                  <a:pt x="3052222" y="5304196"/>
                </a:lnTo>
                <a:lnTo>
                  <a:pt x="3047094" y="5319585"/>
                </a:lnTo>
                <a:cubicBezTo>
                  <a:pt x="3021444" y="5422181"/>
                  <a:pt x="2985535" y="5517082"/>
                  <a:pt x="2944497" y="5583769"/>
                </a:cubicBezTo>
                <a:cubicBezTo>
                  <a:pt x="2939368" y="5596593"/>
                  <a:pt x="2923978" y="5609418"/>
                  <a:pt x="2908589" y="5622242"/>
                </a:cubicBezTo>
                <a:cubicBezTo>
                  <a:pt x="2880375" y="5645326"/>
                  <a:pt x="2849596" y="5673540"/>
                  <a:pt x="2849596" y="5704319"/>
                </a:cubicBezTo>
                <a:cubicBezTo>
                  <a:pt x="2849596" y="5719708"/>
                  <a:pt x="2859855" y="5735098"/>
                  <a:pt x="2877810" y="5747922"/>
                </a:cubicBezTo>
                <a:lnTo>
                  <a:pt x="2885504" y="5753052"/>
                </a:lnTo>
                <a:lnTo>
                  <a:pt x="2888069" y="5742792"/>
                </a:lnTo>
                <a:cubicBezTo>
                  <a:pt x="2888069" y="5742792"/>
                  <a:pt x="2888069" y="5740227"/>
                  <a:pt x="2888069" y="5740227"/>
                </a:cubicBezTo>
                <a:cubicBezTo>
                  <a:pt x="2888069" y="5747922"/>
                  <a:pt x="2888069" y="5753052"/>
                  <a:pt x="2890634" y="5760746"/>
                </a:cubicBezTo>
                <a:lnTo>
                  <a:pt x="2903459" y="5758181"/>
                </a:lnTo>
                <a:cubicBezTo>
                  <a:pt x="2903459" y="5750487"/>
                  <a:pt x="2906023" y="5747922"/>
                  <a:pt x="2906023" y="5747922"/>
                </a:cubicBezTo>
                <a:cubicBezTo>
                  <a:pt x="2906023" y="5747922"/>
                  <a:pt x="2908589" y="5747922"/>
                  <a:pt x="2908589" y="5747922"/>
                </a:cubicBezTo>
                <a:cubicBezTo>
                  <a:pt x="2913718" y="5747922"/>
                  <a:pt x="2918848" y="5747922"/>
                  <a:pt x="2923978" y="5742792"/>
                </a:cubicBezTo>
                <a:cubicBezTo>
                  <a:pt x="2934237" y="5732533"/>
                  <a:pt x="2931672" y="5727403"/>
                  <a:pt x="2926543" y="5722273"/>
                </a:cubicBezTo>
                <a:cubicBezTo>
                  <a:pt x="2923978" y="5722273"/>
                  <a:pt x="2923978" y="5722273"/>
                  <a:pt x="2923978" y="5719708"/>
                </a:cubicBezTo>
                <a:cubicBezTo>
                  <a:pt x="2939368" y="5681235"/>
                  <a:pt x="2962452" y="5650456"/>
                  <a:pt x="2982970" y="5622242"/>
                </a:cubicBezTo>
                <a:cubicBezTo>
                  <a:pt x="2998360" y="5603006"/>
                  <a:pt x="3013108" y="5583769"/>
                  <a:pt x="3025612" y="5561967"/>
                </a:cubicBezTo>
                <a:lnTo>
                  <a:pt x="3040513" y="5531102"/>
                </a:lnTo>
                <a:lnTo>
                  <a:pt x="3033948" y="5551708"/>
                </a:lnTo>
                <a:cubicBezTo>
                  <a:pt x="3023368" y="5571586"/>
                  <a:pt x="3009902" y="5590181"/>
                  <a:pt x="2995795" y="5609418"/>
                </a:cubicBezTo>
                <a:cubicBezTo>
                  <a:pt x="2972711" y="5640197"/>
                  <a:pt x="2947062" y="5670975"/>
                  <a:pt x="2939368" y="5712013"/>
                </a:cubicBezTo>
                <a:lnTo>
                  <a:pt x="2936802" y="5719708"/>
                </a:lnTo>
                <a:lnTo>
                  <a:pt x="2944497" y="5719708"/>
                </a:lnTo>
                <a:cubicBezTo>
                  <a:pt x="2970146" y="5719708"/>
                  <a:pt x="2972711" y="5704319"/>
                  <a:pt x="2972711" y="5694059"/>
                </a:cubicBezTo>
                <a:cubicBezTo>
                  <a:pt x="2972711" y="5688929"/>
                  <a:pt x="2972711" y="5683800"/>
                  <a:pt x="2975276" y="5681235"/>
                </a:cubicBezTo>
                <a:cubicBezTo>
                  <a:pt x="2982970" y="5663280"/>
                  <a:pt x="2998360" y="5642761"/>
                  <a:pt x="3013749" y="5622242"/>
                </a:cubicBezTo>
                <a:cubicBezTo>
                  <a:pt x="3052222" y="5570944"/>
                  <a:pt x="3098391" y="5511952"/>
                  <a:pt x="3070177" y="5435005"/>
                </a:cubicBezTo>
                <a:lnTo>
                  <a:pt x="3070177" y="5432440"/>
                </a:lnTo>
                <a:lnTo>
                  <a:pt x="3067612" y="5432440"/>
                </a:lnTo>
                <a:cubicBezTo>
                  <a:pt x="3065047" y="5432440"/>
                  <a:pt x="3065047" y="5432440"/>
                  <a:pt x="3062482" y="5432440"/>
                </a:cubicBezTo>
                <a:cubicBezTo>
                  <a:pt x="3066331" y="5402944"/>
                  <a:pt x="3075307" y="5372166"/>
                  <a:pt x="3087811" y="5342990"/>
                </a:cubicBezTo>
                <a:lnTo>
                  <a:pt x="3119983" y="5287742"/>
                </a:lnTo>
                <a:lnTo>
                  <a:pt x="3091658" y="5361585"/>
                </a:lnTo>
                <a:cubicBezTo>
                  <a:pt x="3077230" y="5425387"/>
                  <a:pt x="3080436" y="5493998"/>
                  <a:pt x="3106085" y="5545295"/>
                </a:cubicBezTo>
                <a:cubicBezTo>
                  <a:pt x="3103520" y="5545295"/>
                  <a:pt x="3100955" y="5547860"/>
                  <a:pt x="3098391" y="5547860"/>
                </a:cubicBezTo>
                <a:cubicBezTo>
                  <a:pt x="3088132" y="5550425"/>
                  <a:pt x="3075307" y="5555555"/>
                  <a:pt x="3070177" y="5570944"/>
                </a:cubicBezTo>
                <a:lnTo>
                  <a:pt x="3070177" y="5573509"/>
                </a:lnTo>
                <a:lnTo>
                  <a:pt x="3070177" y="5576074"/>
                </a:lnTo>
                <a:cubicBezTo>
                  <a:pt x="3072741" y="5596593"/>
                  <a:pt x="3075307" y="5622242"/>
                  <a:pt x="3062482" y="5637632"/>
                </a:cubicBezTo>
                <a:cubicBezTo>
                  <a:pt x="3049658" y="5635067"/>
                  <a:pt x="3036833" y="5637632"/>
                  <a:pt x="3026574" y="5647891"/>
                </a:cubicBezTo>
                <a:lnTo>
                  <a:pt x="3026574" y="5650456"/>
                </a:lnTo>
                <a:lnTo>
                  <a:pt x="3026574" y="5653021"/>
                </a:lnTo>
                <a:cubicBezTo>
                  <a:pt x="3026574" y="5658151"/>
                  <a:pt x="3026574" y="5665846"/>
                  <a:pt x="3026574" y="5670975"/>
                </a:cubicBezTo>
                <a:cubicBezTo>
                  <a:pt x="3026574" y="5696624"/>
                  <a:pt x="3024010" y="5719708"/>
                  <a:pt x="3008619" y="5735098"/>
                </a:cubicBezTo>
                <a:cubicBezTo>
                  <a:pt x="2959886" y="5724838"/>
                  <a:pt x="2936802" y="5753052"/>
                  <a:pt x="2913718" y="5776136"/>
                </a:cubicBezTo>
                <a:cubicBezTo>
                  <a:pt x="2911153" y="5781266"/>
                  <a:pt x="2908589" y="5783830"/>
                  <a:pt x="2903459" y="5788960"/>
                </a:cubicBezTo>
                <a:cubicBezTo>
                  <a:pt x="2877810" y="5778701"/>
                  <a:pt x="2854726" y="5778701"/>
                  <a:pt x="2839336" y="5786395"/>
                </a:cubicBezTo>
                <a:cubicBezTo>
                  <a:pt x="2826512" y="5794090"/>
                  <a:pt x="2816252" y="5806915"/>
                  <a:pt x="2808558" y="5824869"/>
                </a:cubicBezTo>
                <a:cubicBezTo>
                  <a:pt x="2790603" y="5817174"/>
                  <a:pt x="2777779" y="5822304"/>
                  <a:pt x="2764954" y="5824869"/>
                </a:cubicBezTo>
                <a:cubicBezTo>
                  <a:pt x="2762389" y="5827433"/>
                  <a:pt x="2759825" y="5827433"/>
                  <a:pt x="2757260" y="5827433"/>
                </a:cubicBezTo>
                <a:cubicBezTo>
                  <a:pt x="2762389" y="5781266"/>
                  <a:pt x="2780344" y="5742792"/>
                  <a:pt x="2800863" y="5704319"/>
                </a:cubicBezTo>
                <a:cubicBezTo>
                  <a:pt x="2823947" y="5660715"/>
                  <a:pt x="2847031" y="5614548"/>
                  <a:pt x="2849596" y="5552990"/>
                </a:cubicBezTo>
                <a:lnTo>
                  <a:pt x="2836771" y="5550425"/>
                </a:lnTo>
                <a:cubicBezTo>
                  <a:pt x="2829077" y="5596593"/>
                  <a:pt x="2808558" y="5640197"/>
                  <a:pt x="2788038" y="5681235"/>
                </a:cubicBezTo>
                <a:cubicBezTo>
                  <a:pt x="2757260" y="5742792"/>
                  <a:pt x="2731611" y="5799220"/>
                  <a:pt x="2747000" y="5863342"/>
                </a:cubicBezTo>
                <a:cubicBezTo>
                  <a:pt x="2741870" y="5827433"/>
                  <a:pt x="2736741" y="5796655"/>
                  <a:pt x="2700832" y="5773571"/>
                </a:cubicBezTo>
                <a:cubicBezTo>
                  <a:pt x="2705962" y="5758181"/>
                  <a:pt x="2705962" y="5745357"/>
                  <a:pt x="2703397" y="5735098"/>
                </a:cubicBezTo>
                <a:cubicBezTo>
                  <a:pt x="2700832" y="5732533"/>
                  <a:pt x="2698267" y="5729968"/>
                  <a:pt x="2695702" y="5727403"/>
                </a:cubicBezTo>
                <a:cubicBezTo>
                  <a:pt x="2695702" y="5722273"/>
                  <a:pt x="2693137" y="5719708"/>
                  <a:pt x="2693137" y="5714578"/>
                </a:cubicBezTo>
                <a:cubicBezTo>
                  <a:pt x="2672618" y="5691494"/>
                  <a:pt x="2623886" y="5691494"/>
                  <a:pt x="2585412" y="5673540"/>
                </a:cubicBezTo>
                <a:cubicBezTo>
                  <a:pt x="2544374" y="5653021"/>
                  <a:pt x="2534114" y="5614548"/>
                  <a:pt x="2500770" y="5604288"/>
                </a:cubicBezTo>
                <a:cubicBezTo>
                  <a:pt x="2482816" y="5558120"/>
                  <a:pt x="2441778" y="5535036"/>
                  <a:pt x="2418694" y="5493997"/>
                </a:cubicBezTo>
                <a:cubicBezTo>
                  <a:pt x="2441778" y="5478608"/>
                  <a:pt x="2464863" y="5463219"/>
                  <a:pt x="2485381" y="5445265"/>
                </a:cubicBezTo>
                <a:lnTo>
                  <a:pt x="2477686" y="5435005"/>
                </a:lnTo>
                <a:cubicBezTo>
                  <a:pt x="2454602" y="5450394"/>
                  <a:pt x="2426389" y="5460654"/>
                  <a:pt x="2400741" y="5470914"/>
                </a:cubicBezTo>
                <a:cubicBezTo>
                  <a:pt x="2398175" y="5470914"/>
                  <a:pt x="2395610" y="5473479"/>
                  <a:pt x="2393045" y="5473479"/>
                </a:cubicBezTo>
                <a:cubicBezTo>
                  <a:pt x="2390480" y="5468348"/>
                  <a:pt x="2387915" y="5463219"/>
                  <a:pt x="2385350" y="5458089"/>
                </a:cubicBezTo>
                <a:cubicBezTo>
                  <a:pt x="2369962" y="5470914"/>
                  <a:pt x="2349442" y="5483738"/>
                  <a:pt x="2323793" y="5488868"/>
                </a:cubicBezTo>
                <a:cubicBezTo>
                  <a:pt x="2480251" y="5383707"/>
                  <a:pt x="2654665" y="5286241"/>
                  <a:pt x="2854726" y="5229814"/>
                </a:cubicBezTo>
                <a:cubicBezTo>
                  <a:pt x="2918848" y="5193905"/>
                  <a:pt x="2988100" y="5163126"/>
                  <a:pt x="3054787" y="5132348"/>
                </a:cubicBezTo>
                <a:cubicBezTo>
                  <a:pt x="3247155" y="5045141"/>
                  <a:pt x="3444651" y="4955370"/>
                  <a:pt x="3567766" y="4770698"/>
                </a:cubicBezTo>
                <a:lnTo>
                  <a:pt x="3557507" y="4763003"/>
                </a:lnTo>
                <a:cubicBezTo>
                  <a:pt x="3521598" y="4788652"/>
                  <a:pt x="3490819" y="4819431"/>
                  <a:pt x="3460041" y="4850210"/>
                </a:cubicBezTo>
                <a:cubicBezTo>
                  <a:pt x="3431827" y="4880988"/>
                  <a:pt x="3403613" y="4909202"/>
                  <a:pt x="3370269" y="4934851"/>
                </a:cubicBezTo>
                <a:cubicBezTo>
                  <a:pt x="3324101" y="4968194"/>
                  <a:pt x="3275368" y="4996408"/>
                  <a:pt x="3224070" y="5019492"/>
                </a:cubicBezTo>
                <a:cubicBezTo>
                  <a:pt x="3226635" y="5011798"/>
                  <a:pt x="3231765" y="5009233"/>
                  <a:pt x="3236896" y="5006668"/>
                </a:cubicBezTo>
                <a:cubicBezTo>
                  <a:pt x="3242025" y="5004103"/>
                  <a:pt x="3247155" y="5001538"/>
                  <a:pt x="3252284" y="4993843"/>
                </a:cubicBezTo>
                <a:cubicBezTo>
                  <a:pt x="3360009" y="4952805"/>
                  <a:pt x="3439521" y="4870729"/>
                  <a:pt x="3516468" y="4783522"/>
                </a:cubicBezTo>
                <a:lnTo>
                  <a:pt x="3506209" y="4775827"/>
                </a:lnTo>
                <a:lnTo>
                  <a:pt x="3478923" y="4798380"/>
                </a:lnTo>
                <a:lnTo>
                  <a:pt x="3494667" y="4781598"/>
                </a:lnTo>
                <a:cubicBezTo>
                  <a:pt x="3526728" y="4742484"/>
                  <a:pt x="3553659" y="4698880"/>
                  <a:pt x="3578025" y="4647583"/>
                </a:cubicBezTo>
                <a:cubicBezTo>
                  <a:pt x="3588285" y="4627064"/>
                  <a:pt x="3624194" y="4598850"/>
                  <a:pt x="3657537" y="4575765"/>
                </a:cubicBezTo>
                <a:cubicBezTo>
                  <a:pt x="3675491" y="4562941"/>
                  <a:pt x="3690881" y="4552681"/>
                  <a:pt x="3701140" y="4542421"/>
                </a:cubicBezTo>
                <a:cubicBezTo>
                  <a:pt x="3739614" y="4509078"/>
                  <a:pt x="3780652" y="4470604"/>
                  <a:pt x="3816561" y="4432131"/>
                </a:cubicBezTo>
                <a:cubicBezTo>
                  <a:pt x="3824256" y="4429566"/>
                  <a:pt x="3831309" y="4428925"/>
                  <a:pt x="3837721" y="4429886"/>
                </a:cubicBezTo>
                <a:close/>
                <a:moveTo>
                  <a:pt x="3608804" y="4373138"/>
                </a:moveTo>
                <a:cubicBezTo>
                  <a:pt x="3606239" y="4380833"/>
                  <a:pt x="3603033" y="4388528"/>
                  <a:pt x="3599186" y="4395260"/>
                </a:cubicBezTo>
                <a:lnTo>
                  <a:pt x="3598855" y="4395662"/>
                </a:lnTo>
                <a:close/>
                <a:moveTo>
                  <a:pt x="1202978" y="4280134"/>
                </a:moveTo>
                <a:lnTo>
                  <a:pt x="1203016" y="4280201"/>
                </a:lnTo>
                <a:cubicBezTo>
                  <a:pt x="1208867" y="4297394"/>
                  <a:pt x="1212234" y="4316230"/>
                  <a:pt x="1213837" y="4335627"/>
                </a:cubicBezTo>
                <a:lnTo>
                  <a:pt x="1213841" y="4336569"/>
                </a:lnTo>
                <a:close/>
                <a:moveTo>
                  <a:pt x="3593417" y="4262848"/>
                </a:moveTo>
                <a:cubicBezTo>
                  <a:pt x="3593417" y="4262848"/>
                  <a:pt x="3595982" y="4265413"/>
                  <a:pt x="3595982" y="4265413"/>
                </a:cubicBezTo>
                <a:lnTo>
                  <a:pt x="3593417" y="4278237"/>
                </a:lnTo>
                <a:cubicBezTo>
                  <a:pt x="3593417" y="4273108"/>
                  <a:pt x="3593417" y="4267978"/>
                  <a:pt x="3593417" y="4262848"/>
                </a:cubicBezTo>
                <a:close/>
                <a:moveTo>
                  <a:pt x="1043592" y="4224374"/>
                </a:moveTo>
                <a:cubicBezTo>
                  <a:pt x="1050966" y="4222450"/>
                  <a:pt x="1059302" y="4221809"/>
                  <a:pt x="1069562" y="4224374"/>
                </a:cubicBezTo>
                <a:cubicBezTo>
                  <a:pt x="1079821" y="4226939"/>
                  <a:pt x="1092646" y="4232069"/>
                  <a:pt x="1102905" y="4239764"/>
                </a:cubicBezTo>
                <a:cubicBezTo>
                  <a:pt x="1120859" y="4252588"/>
                  <a:pt x="1138814" y="4262847"/>
                  <a:pt x="1154203" y="4257718"/>
                </a:cubicBezTo>
                <a:cubicBezTo>
                  <a:pt x="1159333" y="4255153"/>
                  <a:pt x="1164463" y="4252588"/>
                  <a:pt x="1167028" y="4250023"/>
                </a:cubicBezTo>
                <a:cubicBezTo>
                  <a:pt x="1184982" y="4306451"/>
                  <a:pt x="1192677" y="4370573"/>
                  <a:pt x="1195241" y="4450085"/>
                </a:cubicBezTo>
                <a:lnTo>
                  <a:pt x="1208066" y="4450085"/>
                </a:lnTo>
                <a:cubicBezTo>
                  <a:pt x="1210631" y="4432772"/>
                  <a:pt x="1212875" y="4413856"/>
                  <a:pt x="1214078" y="4394419"/>
                </a:cubicBezTo>
                <a:lnTo>
                  <a:pt x="1213841" y="4336569"/>
                </a:lnTo>
                <a:lnTo>
                  <a:pt x="1218967" y="4363199"/>
                </a:lnTo>
                <a:cubicBezTo>
                  <a:pt x="1226020" y="4433414"/>
                  <a:pt x="1223455" y="4512926"/>
                  <a:pt x="1218326" y="4591155"/>
                </a:cubicBezTo>
                <a:cubicBezTo>
                  <a:pt x="1149073" y="4547552"/>
                  <a:pt x="1038782" y="4539857"/>
                  <a:pt x="941316" y="4573201"/>
                </a:cubicBezTo>
                <a:cubicBezTo>
                  <a:pt x="959271" y="4514208"/>
                  <a:pt x="1064432" y="4529597"/>
                  <a:pt x="1092646" y="4493689"/>
                </a:cubicBezTo>
                <a:cubicBezTo>
                  <a:pt x="1056737" y="4444955"/>
                  <a:pt x="1002874" y="4485993"/>
                  <a:pt x="956705" y="4473169"/>
                </a:cubicBezTo>
                <a:cubicBezTo>
                  <a:pt x="977226" y="4452650"/>
                  <a:pt x="1020829" y="4457779"/>
                  <a:pt x="1036217" y="4432130"/>
                </a:cubicBezTo>
                <a:cubicBezTo>
                  <a:pt x="961835" y="4411611"/>
                  <a:pt x="910537" y="4475734"/>
                  <a:pt x="836155" y="4442390"/>
                </a:cubicBezTo>
                <a:cubicBezTo>
                  <a:pt x="820766" y="4419306"/>
                  <a:pt x="789987" y="4414176"/>
                  <a:pt x="756644" y="4411611"/>
                </a:cubicBezTo>
                <a:cubicBezTo>
                  <a:pt x="802812" y="4332100"/>
                  <a:pt x="877194" y="4273107"/>
                  <a:pt x="966965" y="4226939"/>
                </a:cubicBezTo>
                <a:cubicBezTo>
                  <a:pt x="974661" y="4232069"/>
                  <a:pt x="982354" y="4237198"/>
                  <a:pt x="992614" y="4242329"/>
                </a:cubicBezTo>
                <a:lnTo>
                  <a:pt x="995179" y="4242329"/>
                </a:lnTo>
                <a:cubicBezTo>
                  <a:pt x="1005438" y="4242329"/>
                  <a:pt x="1015699" y="4237198"/>
                  <a:pt x="1023394" y="4232069"/>
                </a:cubicBezTo>
                <a:cubicBezTo>
                  <a:pt x="1029805" y="4229504"/>
                  <a:pt x="1036218" y="4226298"/>
                  <a:pt x="1043592" y="4224374"/>
                </a:cubicBezTo>
                <a:close/>
                <a:moveTo>
                  <a:pt x="1177077" y="4220738"/>
                </a:moveTo>
                <a:lnTo>
                  <a:pt x="1200291" y="4266174"/>
                </a:lnTo>
                <a:lnTo>
                  <a:pt x="1202978" y="4280134"/>
                </a:lnTo>
                <a:lnTo>
                  <a:pt x="1177287" y="4234634"/>
                </a:lnTo>
                <a:close/>
                <a:moveTo>
                  <a:pt x="1226019" y="4196161"/>
                </a:moveTo>
                <a:cubicBezTo>
                  <a:pt x="1254232" y="4208985"/>
                  <a:pt x="1259363" y="4239764"/>
                  <a:pt x="1264493" y="4270543"/>
                </a:cubicBezTo>
                <a:cubicBezTo>
                  <a:pt x="1254232" y="4242329"/>
                  <a:pt x="1238843" y="4216680"/>
                  <a:pt x="1226019" y="4196161"/>
                </a:cubicBezTo>
                <a:close/>
                <a:moveTo>
                  <a:pt x="1161898" y="4191031"/>
                </a:moveTo>
                <a:cubicBezTo>
                  <a:pt x="1164463" y="4193595"/>
                  <a:pt x="1164463" y="4196160"/>
                  <a:pt x="1167028" y="4196160"/>
                </a:cubicBezTo>
                <a:cubicBezTo>
                  <a:pt x="1170875" y="4201290"/>
                  <a:pt x="1174722" y="4207061"/>
                  <a:pt x="1176966" y="4213473"/>
                </a:cubicBezTo>
                <a:lnTo>
                  <a:pt x="1177077" y="4220738"/>
                </a:lnTo>
                <a:close/>
                <a:moveTo>
                  <a:pt x="1272187" y="4175642"/>
                </a:moveTo>
                <a:cubicBezTo>
                  <a:pt x="1323484" y="4211550"/>
                  <a:pt x="1400431" y="4216680"/>
                  <a:pt x="1446599" y="4185901"/>
                </a:cubicBezTo>
                <a:cubicBezTo>
                  <a:pt x="1454294" y="4191031"/>
                  <a:pt x="1459425" y="4193596"/>
                  <a:pt x="1467119" y="4198726"/>
                </a:cubicBezTo>
                <a:cubicBezTo>
                  <a:pt x="1485073" y="4211550"/>
                  <a:pt x="1508157" y="4224375"/>
                  <a:pt x="1533806" y="4221810"/>
                </a:cubicBezTo>
                <a:cubicBezTo>
                  <a:pt x="1541500" y="4242329"/>
                  <a:pt x="1562020" y="4252588"/>
                  <a:pt x="1582539" y="4260283"/>
                </a:cubicBezTo>
                <a:cubicBezTo>
                  <a:pt x="1590233" y="4262848"/>
                  <a:pt x="1595363" y="4265413"/>
                  <a:pt x="1600493" y="4267978"/>
                </a:cubicBezTo>
                <a:lnTo>
                  <a:pt x="1605623" y="4270543"/>
                </a:lnTo>
                <a:lnTo>
                  <a:pt x="1608188" y="4267978"/>
                </a:lnTo>
                <a:cubicBezTo>
                  <a:pt x="1623578" y="4252588"/>
                  <a:pt x="1646662" y="4260283"/>
                  <a:pt x="1656922" y="4262848"/>
                </a:cubicBezTo>
                <a:cubicBezTo>
                  <a:pt x="1677441" y="4270543"/>
                  <a:pt x="1695395" y="4288497"/>
                  <a:pt x="1695395" y="4301321"/>
                </a:cubicBezTo>
                <a:cubicBezTo>
                  <a:pt x="1697960" y="4337230"/>
                  <a:pt x="1659487" y="4385963"/>
                  <a:pt x="1628708" y="4429566"/>
                </a:cubicBezTo>
                <a:cubicBezTo>
                  <a:pt x="1600493" y="4470604"/>
                  <a:pt x="1574844" y="4503948"/>
                  <a:pt x="1574844" y="4529597"/>
                </a:cubicBezTo>
                <a:lnTo>
                  <a:pt x="1574844" y="4544986"/>
                </a:lnTo>
                <a:lnTo>
                  <a:pt x="1585104" y="4534727"/>
                </a:lnTo>
                <a:cubicBezTo>
                  <a:pt x="1615883" y="4501383"/>
                  <a:pt x="1641532" y="4455215"/>
                  <a:pt x="1667181" y="4409047"/>
                </a:cubicBezTo>
                <a:cubicBezTo>
                  <a:pt x="1677441" y="4388528"/>
                  <a:pt x="1687700" y="4370574"/>
                  <a:pt x="1697960" y="4355184"/>
                </a:cubicBezTo>
                <a:cubicBezTo>
                  <a:pt x="1674876" y="4421872"/>
                  <a:pt x="1636402" y="4478299"/>
                  <a:pt x="1600493" y="4529597"/>
                </a:cubicBezTo>
                <a:cubicBezTo>
                  <a:pt x="1585104" y="4555246"/>
                  <a:pt x="1567150" y="4578330"/>
                  <a:pt x="1554325" y="4601414"/>
                </a:cubicBezTo>
                <a:lnTo>
                  <a:pt x="1564585" y="4609108"/>
                </a:lnTo>
                <a:cubicBezTo>
                  <a:pt x="1572279" y="4598849"/>
                  <a:pt x="1579974" y="4588590"/>
                  <a:pt x="1590233" y="4578330"/>
                </a:cubicBezTo>
                <a:cubicBezTo>
                  <a:pt x="1615883" y="4547551"/>
                  <a:pt x="1644097" y="4514207"/>
                  <a:pt x="1667181" y="4473169"/>
                </a:cubicBezTo>
                <a:cubicBezTo>
                  <a:pt x="1703091" y="4450085"/>
                  <a:pt x="1780036" y="4342360"/>
                  <a:pt x="1754388" y="4278237"/>
                </a:cubicBezTo>
                <a:cubicBezTo>
                  <a:pt x="1769777" y="4275672"/>
                  <a:pt x="1780036" y="4285932"/>
                  <a:pt x="1795426" y="4301321"/>
                </a:cubicBezTo>
                <a:cubicBezTo>
                  <a:pt x="1800556" y="4306451"/>
                  <a:pt x="1803120" y="4311581"/>
                  <a:pt x="1808251" y="4314146"/>
                </a:cubicBezTo>
                <a:cubicBezTo>
                  <a:pt x="1805685" y="4391093"/>
                  <a:pt x="1854418" y="4434696"/>
                  <a:pt x="1900586" y="4478299"/>
                </a:cubicBezTo>
                <a:cubicBezTo>
                  <a:pt x="1905716" y="4480864"/>
                  <a:pt x="1910846" y="4485994"/>
                  <a:pt x="1915976" y="4491124"/>
                </a:cubicBezTo>
                <a:cubicBezTo>
                  <a:pt x="1905716" y="4524467"/>
                  <a:pt x="1874937" y="4539856"/>
                  <a:pt x="1851853" y="4552681"/>
                </a:cubicBezTo>
                <a:cubicBezTo>
                  <a:pt x="1849289" y="4555246"/>
                  <a:pt x="1846724" y="4555246"/>
                  <a:pt x="1844159" y="4557811"/>
                </a:cubicBezTo>
                <a:cubicBezTo>
                  <a:pt x="1844159" y="4557811"/>
                  <a:pt x="1841594" y="4555246"/>
                  <a:pt x="1841594" y="4555246"/>
                </a:cubicBezTo>
                <a:lnTo>
                  <a:pt x="1839029" y="4552681"/>
                </a:lnTo>
                <a:lnTo>
                  <a:pt x="1836464" y="4552681"/>
                </a:lnTo>
                <a:cubicBezTo>
                  <a:pt x="1700525" y="4606544"/>
                  <a:pt x="1603058" y="4778392"/>
                  <a:pt x="1600493" y="4957934"/>
                </a:cubicBezTo>
                <a:cubicBezTo>
                  <a:pt x="1600493" y="4991278"/>
                  <a:pt x="1603058" y="5022056"/>
                  <a:pt x="1608188" y="5055400"/>
                </a:cubicBezTo>
                <a:cubicBezTo>
                  <a:pt x="1603058" y="5055400"/>
                  <a:pt x="1600493" y="5052835"/>
                  <a:pt x="1595363" y="5052835"/>
                </a:cubicBezTo>
                <a:cubicBezTo>
                  <a:pt x="1595363" y="5063095"/>
                  <a:pt x="1600493" y="5068224"/>
                  <a:pt x="1603058" y="5063095"/>
                </a:cubicBezTo>
                <a:cubicBezTo>
                  <a:pt x="1605623" y="5086179"/>
                  <a:pt x="1610752" y="5109263"/>
                  <a:pt x="1618449" y="5132347"/>
                </a:cubicBezTo>
                <a:cubicBezTo>
                  <a:pt x="1615883" y="5134911"/>
                  <a:pt x="1613318" y="5137477"/>
                  <a:pt x="1613318" y="5140042"/>
                </a:cubicBezTo>
                <a:cubicBezTo>
                  <a:pt x="1597929" y="5142606"/>
                  <a:pt x="1595363" y="5127217"/>
                  <a:pt x="1603058" y="5119522"/>
                </a:cubicBezTo>
                <a:cubicBezTo>
                  <a:pt x="1600493" y="5119522"/>
                  <a:pt x="1597929" y="5122087"/>
                  <a:pt x="1595363" y="5122087"/>
                </a:cubicBezTo>
                <a:cubicBezTo>
                  <a:pt x="1569714" y="5045140"/>
                  <a:pt x="1556890" y="4957934"/>
                  <a:pt x="1569714" y="4860468"/>
                </a:cubicBezTo>
                <a:cubicBezTo>
                  <a:pt x="1582539" y="4750178"/>
                  <a:pt x="1641532" y="4639887"/>
                  <a:pt x="1726174" y="4570635"/>
                </a:cubicBezTo>
                <a:cubicBezTo>
                  <a:pt x="1746693" y="4552681"/>
                  <a:pt x="1769777" y="4550116"/>
                  <a:pt x="1792861" y="4544986"/>
                </a:cubicBezTo>
                <a:cubicBezTo>
                  <a:pt x="1815945" y="4539856"/>
                  <a:pt x="1839029" y="4537292"/>
                  <a:pt x="1859548" y="4521902"/>
                </a:cubicBezTo>
                <a:lnTo>
                  <a:pt x="1872373" y="4514207"/>
                </a:lnTo>
                <a:lnTo>
                  <a:pt x="1856983" y="4511643"/>
                </a:lnTo>
                <a:cubicBezTo>
                  <a:pt x="1805685" y="4501383"/>
                  <a:pt x="1749258" y="4514207"/>
                  <a:pt x="1700525" y="4552681"/>
                </a:cubicBezTo>
                <a:cubicBezTo>
                  <a:pt x="1613318" y="4619368"/>
                  <a:pt x="1544065" y="4755308"/>
                  <a:pt x="1531241" y="4888682"/>
                </a:cubicBezTo>
                <a:cubicBezTo>
                  <a:pt x="1523546" y="4975888"/>
                  <a:pt x="1538935" y="5055400"/>
                  <a:pt x="1564585" y="5129782"/>
                </a:cubicBezTo>
                <a:cubicBezTo>
                  <a:pt x="1551760" y="5129782"/>
                  <a:pt x="1538935" y="5132347"/>
                  <a:pt x="1526111" y="5129782"/>
                </a:cubicBezTo>
                <a:cubicBezTo>
                  <a:pt x="1520982" y="5106698"/>
                  <a:pt x="1479943" y="5099003"/>
                  <a:pt x="1451729" y="5083614"/>
                </a:cubicBezTo>
                <a:cubicBezTo>
                  <a:pt x="1454294" y="5078484"/>
                  <a:pt x="1456859" y="5073354"/>
                  <a:pt x="1467119" y="5073354"/>
                </a:cubicBezTo>
                <a:cubicBezTo>
                  <a:pt x="1456859" y="5057965"/>
                  <a:pt x="1436340" y="5050270"/>
                  <a:pt x="1415821" y="5042576"/>
                </a:cubicBezTo>
                <a:cubicBezTo>
                  <a:pt x="1400431" y="5006667"/>
                  <a:pt x="1410691" y="4978453"/>
                  <a:pt x="1379912" y="4957934"/>
                </a:cubicBezTo>
                <a:cubicBezTo>
                  <a:pt x="1415821" y="4934850"/>
                  <a:pt x="1400431" y="4893812"/>
                  <a:pt x="1377347" y="4880987"/>
                </a:cubicBezTo>
                <a:cubicBezTo>
                  <a:pt x="1379912" y="4880987"/>
                  <a:pt x="1382478" y="4878422"/>
                  <a:pt x="1385042" y="4878422"/>
                </a:cubicBezTo>
                <a:cubicBezTo>
                  <a:pt x="1390172" y="4801475"/>
                  <a:pt x="1344004" y="4752743"/>
                  <a:pt x="1364523" y="4688620"/>
                </a:cubicBezTo>
                <a:cubicBezTo>
                  <a:pt x="1349133" y="4670666"/>
                  <a:pt x="1292706" y="4665536"/>
                  <a:pt x="1279881" y="4662971"/>
                </a:cubicBezTo>
                <a:cubicBezTo>
                  <a:pt x="1269622" y="4637322"/>
                  <a:pt x="1254232" y="4616803"/>
                  <a:pt x="1231148" y="4598849"/>
                </a:cubicBezTo>
                <a:cubicBezTo>
                  <a:pt x="1254232" y="4450085"/>
                  <a:pt x="1261927" y="4278237"/>
                  <a:pt x="1172156" y="4178207"/>
                </a:cubicBezTo>
                <a:cubicBezTo>
                  <a:pt x="1197805" y="4188466"/>
                  <a:pt x="1223454" y="4234634"/>
                  <a:pt x="1238843" y="4273108"/>
                </a:cubicBezTo>
                <a:cubicBezTo>
                  <a:pt x="1254232" y="4311581"/>
                  <a:pt x="1254232" y="4352619"/>
                  <a:pt x="1254232" y="4391093"/>
                </a:cubicBezTo>
                <a:cubicBezTo>
                  <a:pt x="1254232" y="4409047"/>
                  <a:pt x="1254232" y="4427001"/>
                  <a:pt x="1256797" y="4442390"/>
                </a:cubicBezTo>
                <a:lnTo>
                  <a:pt x="1269622" y="4442390"/>
                </a:lnTo>
                <a:cubicBezTo>
                  <a:pt x="1282446" y="4393658"/>
                  <a:pt x="1282446" y="4352619"/>
                  <a:pt x="1274751" y="4314146"/>
                </a:cubicBezTo>
                <a:cubicBezTo>
                  <a:pt x="1274751" y="4316711"/>
                  <a:pt x="1277316" y="4316711"/>
                  <a:pt x="1277316" y="4319276"/>
                </a:cubicBezTo>
                <a:lnTo>
                  <a:pt x="1287576" y="4334665"/>
                </a:lnTo>
                <a:lnTo>
                  <a:pt x="1287576" y="4316711"/>
                </a:lnTo>
                <a:cubicBezTo>
                  <a:pt x="1290141" y="4270543"/>
                  <a:pt x="1279881" y="4229505"/>
                  <a:pt x="1259362" y="4193596"/>
                </a:cubicBezTo>
                <a:cubicBezTo>
                  <a:pt x="1264492" y="4191031"/>
                  <a:pt x="1264492" y="4185901"/>
                  <a:pt x="1267057" y="4183336"/>
                </a:cubicBezTo>
                <a:cubicBezTo>
                  <a:pt x="1269622" y="4180771"/>
                  <a:pt x="1269622" y="4175642"/>
                  <a:pt x="1272187" y="4175642"/>
                </a:cubicBezTo>
                <a:close/>
                <a:moveTo>
                  <a:pt x="1131119" y="4165382"/>
                </a:moveTo>
                <a:cubicBezTo>
                  <a:pt x="1131119" y="4167946"/>
                  <a:pt x="1128554" y="4170511"/>
                  <a:pt x="1123424" y="4173076"/>
                </a:cubicBezTo>
                <a:lnTo>
                  <a:pt x="1120859" y="4175641"/>
                </a:lnTo>
                <a:lnTo>
                  <a:pt x="1123424" y="4178206"/>
                </a:lnTo>
                <a:cubicBezTo>
                  <a:pt x="1125989" y="4185901"/>
                  <a:pt x="1131119" y="4191031"/>
                  <a:pt x="1136249" y="4198725"/>
                </a:cubicBezTo>
                <a:cubicBezTo>
                  <a:pt x="1141379" y="4206421"/>
                  <a:pt x="1146508" y="4214116"/>
                  <a:pt x="1149073" y="4221810"/>
                </a:cubicBezTo>
                <a:cubicBezTo>
                  <a:pt x="1131119" y="4221810"/>
                  <a:pt x="1115730" y="4216681"/>
                  <a:pt x="1097774" y="4208986"/>
                </a:cubicBezTo>
                <a:cubicBezTo>
                  <a:pt x="1079821" y="4203856"/>
                  <a:pt x="1061866" y="4196160"/>
                  <a:pt x="1041347" y="4196160"/>
                </a:cubicBezTo>
                <a:cubicBezTo>
                  <a:pt x="1069560" y="4183336"/>
                  <a:pt x="1100339" y="4173076"/>
                  <a:pt x="1131119" y="4165382"/>
                </a:cubicBezTo>
                <a:close/>
                <a:moveTo>
                  <a:pt x="6001917" y="4150997"/>
                </a:moveTo>
                <a:lnTo>
                  <a:pt x="6002491" y="4151596"/>
                </a:lnTo>
                <a:cubicBezTo>
                  <a:pt x="6005056" y="4154481"/>
                  <a:pt x="6008262" y="4158970"/>
                  <a:pt x="6006980" y="4162817"/>
                </a:cubicBezTo>
                <a:cubicBezTo>
                  <a:pt x="6019805" y="4157687"/>
                  <a:pt x="6019805" y="4175641"/>
                  <a:pt x="6024935" y="4165382"/>
                </a:cubicBezTo>
                <a:cubicBezTo>
                  <a:pt x="6037759" y="4167947"/>
                  <a:pt x="6022370" y="4178206"/>
                  <a:pt x="6037759" y="4178206"/>
                </a:cubicBezTo>
                <a:cubicBezTo>
                  <a:pt x="6035194" y="4185901"/>
                  <a:pt x="6032629" y="4191032"/>
                  <a:pt x="6032629" y="4198726"/>
                </a:cubicBezTo>
                <a:cubicBezTo>
                  <a:pt x="6022370" y="4196162"/>
                  <a:pt x="6019805" y="4203856"/>
                  <a:pt x="6009544" y="4201291"/>
                </a:cubicBezTo>
                <a:cubicBezTo>
                  <a:pt x="6004414" y="4193597"/>
                  <a:pt x="6006980" y="4191032"/>
                  <a:pt x="5996720" y="4185901"/>
                </a:cubicBezTo>
                <a:cubicBezTo>
                  <a:pt x="5998003" y="4179489"/>
                  <a:pt x="6001209" y="4174359"/>
                  <a:pt x="6003132" y="4168909"/>
                </a:cubicBezTo>
                <a:close/>
                <a:moveTo>
                  <a:pt x="5999765" y="4148750"/>
                </a:moveTo>
                <a:cubicBezTo>
                  <a:pt x="5999445" y="4148389"/>
                  <a:pt x="5999926" y="4148710"/>
                  <a:pt x="6001849" y="4149992"/>
                </a:cubicBezTo>
                <a:lnTo>
                  <a:pt x="6001917" y="4150997"/>
                </a:lnTo>
                <a:close/>
                <a:moveTo>
                  <a:pt x="1992923" y="4116649"/>
                </a:moveTo>
                <a:cubicBezTo>
                  <a:pt x="1957015" y="4214115"/>
                  <a:pt x="1915976" y="4314145"/>
                  <a:pt x="1862112" y="4385962"/>
                </a:cubicBezTo>
                <a:cubicBezTo>
                  <a:pt x="1862112" y="4383398"/>
                  <a:pt x="1862112" y="4383398"/>
                  <a:pt x="1862112" y="4383398"/>
                </a:cubicBezTo>
                <a:cubicBezTo>
                  <a:pt x="1859548" y="4375703"/>
                  <a:pt x="1856983" y="4370573"/>
                  <a:pt x="1856983" y="4362879"/>
                </a:cubicBezTo>
                <a:cubicBezTo>
                  <a:pt x="1859548" y="4357749"/>
                  <a:pt x="1864677" y="4355184"/>
                  <a:pt x="1867242" y="4350054"/>
                </a:cubicBezTo>
                <a:cubicBezTo>
                  <a:pt x="1885197" y="4326970"/>
                  <a:pt x="1905717" y="4301321"/>
                  <a:pt x="1908282" y="4273107"/>
                </a:cubicBezTo>
                <a:lnTo>
                  <a:pt x="1900587" y="4270542"/>
                </a:lnTo>
                <a:cubicBezTo>
                  <a:pt x="1928801" y="4214115"/>
                  <a:pt x="1959579" y="4162817"/>
                  <a:pt x="1992923" y="4116649"/>
                </a:cubicBezTo>
                <a:close/>
                <a:moveTo>
                  <a:pt x="5755621" y="4024314"/>
                </a:moveTo>
                <a:cubicBezTo>
                  <a:pt x="5763316" y="4024314"/>
                  <a:pt x="5763316" y="4026878"/>
                  <a:pt x="5758185" y="4032008"/>
                </a:cubicBezTo>
                <a:cubicBezTo>
                  <a:pt x="5758185" y="4032008"/>
                  <a:pt x="5755621" y="4032008"/>
                  <a:pt x="5753056" y="4032008"/>
                </a:cubicBezTo>
                <a:cubicBezTo>
                  <a:pt x="5753056" y="4029443"/>
                  <a:pt x="5755621" y="4029443"/>
                  <a:pt x="5755621" y="4024314"/>
                </a:cubicBezTo>
                <a:close/>
                <a:moveTo>
                  <a:pt x="2108342" y="3960191"/>
                </a:moveTo>
                <a:cubicBezTo>
                  <a:pt x="2062175" y="4132038"/>
                  <a:pt x="1998051" y="4265413"/>
                  <a:pt x="1915975" y="4421872"/>
                </a:cubicBezTo>
                <a:cubicBezTo>
                  <a:pt x="1905715" y="4419307"/>
                  <a:pt x="1898021" y="4416742"/>
                  <a:pt x="1892891" y="4416742"/>
                </a:cubicBezTo>
                <a:cubicBezTo>
                  <a:pt x="1915975" y="4368010"/>
                  <a:pt x="1941624" y="4309017"/>
                  <a:pt x="1967274" y="4244894"/>
                </a:cubicBezTo>
                <a:cubicBezTo>
                  <a:pt x="2008311" y="4147428"/>
                  <a:pt x="2051914" y="4037137"/>
                  <a:pt x="2108342" y="3960191"/>
                </a:cubicBezTo>
                <a:close/>
                <a:moveTo>
                  <a:pt x="5973637" y="3885809"/>
                </a:moveTo>
                <a:cubicBezTo>
                  <a:pt x="5971072" y="3890938"/>
                  <a:pt x="5965942" y="3921718"/>
                  <a:pt x="5955682" y="3937108"/>
                </a:cubicBezTo>
                <a:cubicBezTo>
                  <a:pt x="5945423" y="3934543"/>
                  <a:pt x="5937727" y="3934543"/>
                  <a:pt x="5922338" y="3934543"/>
                </a:cubicBezTo>
                <a:cubicBezTo>
                  <a:pt x="5922338" y="3924283"/>
                  <a:pt x="5927467" y="3921718"/>
                  <a:pt x="5919773" y="3914023"/>
                </a:cubicBezTo>
                <a:cubicBezTo>
                  <a:pt x="5927467" y="3896069"/>
                  <a:pt x="5950552" y="3898633"/>
                  <a:pt x="5958247" y="3896069"/>
                </a:cubicBezTo>
                <a:cubicBezTo>
                  <a:pt x="5963377" y="3896069"/>
                  <a:pt x="5958247" y="3901198"/>
                  <a:pt x="5958247" y="3903763"/>
                </a:cubicBezTo>
                <a:cubicBezTo>
                  <a:pt x="5968507" y="3901198"/>
                  <a:pt x="5968507" y="3890938"/>
                  <a:pt x="5973637" y="3885809"/>
                </a:cubicBezTo>
                <a:close/>
                <a:moveTo>
                  <a:pt x="5790488" y="3880078"/>
                </a:moveTo>
                <a:cubicBezTo>
                  <a:pt x="5793133" y="3882122"/>
                  <a:pt x="5792171" y="3896069"/>
                  <a:pt x="5794095" y="3888374"/>
                </a:cubicBezTo>
                <a:cubicBezTo>
                  <a:pt x="5806919" y="3898633"/>
                  <a:pt x="5791530" y="3908894"/>
                  <a:pt x="5788965" y="3919153"/>
                </a:cubicBezTo>
                <a:cubicBezTo>
                  <a:pt x="5771009" y="3903763"/>
                  <a:pt x="5765880" y="3906328"/>
                  <a:pt x="5773574" y="3885809"/>
                </a:cubicBezTo>
                <a:cubicBezTo>
                  <a:pt x="5778705" y="3885809"/>
                  <a:pt x="5796659" y="3885809"/>
                  <a:pt x="5786400" y="3883244"/>
                </a:cubicBezTo>
                <a:cubicBezTo>
                  <a:pt x="5788324" y="3880038"/>
                  <a:pt x="5789606" y="3879397"/>
                  <a:pt x="5790488" y="3880078"/>
                </a:cubicBezTo>
                <a:close/>
                <a:moveTo>
                  <a:pt x="5696628" y="3870419"/>
                </a:moveTo>
                <a:cubicBezTo>
                  <a:pt x="5709454" y="3865289"/>
                  <a:pt x="5701758" y="3888374"/>
                  <a:pt x="5696628" y="3896069"/>
                </a:cubicBezTo>
                <a:cubicBezTo>
                  <a:pt x="5686369" y="3890939"/>
                  <a:pt x="5704323" y="3875549"/>
                  <a:pt x="5696628" y="3870419"/>
                </a:cubicBezTo>
                <a:close/>
                <a:moveTo>
                  <a:pt x="5583773" y="3844771"/>
                </a:moveTo>
                <a:cubicBezTo>
                  <a:pt x="5586338" y="3844771"/>
                  <a:pt x="5583773" y="3852465"/>
                  <a:pt x="5594033" y="3852465"/>
                </a:cubicBezTo>
                <a:cubicBezTo>
                  <a:pt x="5588903" y="3857595"/>
                  <a:pt x="5599162" y="3870421"/>
                  <a:pt x="5586338" y="3872985"/>
                </a:cubicBezTo>
                <a:cubicBezTo>
                  <a:pt x="5591468" y="3862726"/>
                  <a:pt x="5586338" y="3862726"/>
                  <a:pt x="5586338" y="3852465"/>
                </a:cubicBezTo>
                <a:cubicBezTo>
                  <a:pt x="5583773" y="3852465"/>
                  <a:pt x="5583773" y="3855030"/>
                  <a:pt x="5583773" y="3857595"/>
                </a:cubicBezTo>
                <a:cubicBezTo>
                  <a:pt x="5576079" y="3855030"/>
                  <a:pt x="5586338" y="3849900"/>
                  <a:pt x="5583773" y="3844771"/>
                </a:cubicBezTo>
                <a:close/>
                <a:moveTo>
                  <a:pt x="6394279" y="3829381"/>
                </a:moveTo>
                <a:cubicBezTo>
                  <a:pt x="6404539" y="3839640"/>
                  <a:pt x="6445578" y="3862725"/>
                  <a:pt x="6468662" y="3842205"/>
                </a:cubicBezTo>
                <a:cubicBezTo>
                  <a:pt x="6448143" y="3865290"/>
                  <a:pt x="6407103" y="3852466"/>
                  <a:pt x="6394279" y="3829381"/>
                </a:cubicBezTo>
                <a:close/>
                <a:moveTo>
                  <a:pt x="5624811" y="3806298"/>
                </a:moveTo>
                <a:cubicBezTo>
                  <a:pt x="5632506" y="3803733"/>
                  <a:pt x="5629941" y="3811428"/>
                  <a:pt x="5632506" y="3811428"/>
                </a:cubicBezTo>
                <a:cubicBezTo>
                  <a:pt x="5632506" y="3819123"/>
                  <a:pt x="5622247" y="3811428"/>
                  <a:pt x="5624811" y="3806298"/>
                </a:cubicBezTo>
                <a:close/>
                <a:moveTo>
                  <a:pt x="5609423" y="3793473"/>
                </a:moveTo>
                <a:cubicBezTo>
                  <a:pt x="5624812" y="3808862"/>
                  <a:pt x="5622247" y="3824251"/>
                  <a:pt x="5622247" y="3844771"/>
                </a:cubicBezTo>
                <a:cubicBezTo>
                  <a:pt x="5606858" y="3842206"/>
                  <a:pt x="5609423" y="3883245"/>
                  <a:pt x="5622247" y="3883245"/>
                </a:cubicBezTo>
                <a:cubicBezTo>
                  <a:pt x="5622247" y="3890939"/>
                  <a:pt x="5614552" y="3896069"/>
                  <a:pt x="5624812" y="3898634"/>
                </a:cubicBezTo>
                <a:cubicBezTo>
                  <a:pt x="5619682" y="3903764"/>
                  <a:pt x="5622247" y="3908894"/>
                  <a:pt x="5617117" y="3921718"/>
                </a:cubicBezTo>
                <a:cubicBezTo>
                  <a:pt x="5604293" y="3926848"/>
                  <a:pt x="5609423" y="3911459"/>
                  <a:pt x="5596598" y="3911459"/>
                </a:cubicBezTo>
                <a:cubicBezTo>
                  <a:pt x="5599163" y="3898634"/>
                  <a:pt x="5617117" y="3852465"/>
                  <a:pt x="5591468" y="3844771"/>
                </a:cubicBezTo>
                <a:cubicBezTo>
                  <a:pt x="5588903" y="3842206"/>
                  <a:pt x="5596598" y="3842206"/>
                  <a:pt x="5596598" y="3842206"/>
                </a:cubicBezTo>
                <a:cubicBezTo>
                  <a:pt x="5591468" y="3821686"/>
                  <a:pt x="5591468" y="3819122"/>
                  <a:pt x="5609423" y="3793473"/>
                </a:cubicBezTo>
                <a:close/>
                <a:moveTo>
                  <a:pt x="5629941" y="3785779"/>
                </a:moveTo>
                <a:cubicBezTo>
                  <a:pt x="5632506" y="3785779"/>
                  <a:pt x="5629941" y="3790908"/>
                  <a:pt x="5635071" y="3790908"/>
                </a:cubicBezTo>
                <a:cubicBezTo>
                  <a:pt x="5635071" y="3793473"/>
                  <a:pt x="5635071" y="3793473"/>
                  <a:pt x="5632506" y="3793473"/>
                </a:cubicBezTo>
                <a:cubicBezTo>
                  <a:pt x="5632506" y="3793473"/>
                  <a:pt x="5629941" y="3793473"/>
                  <a:pt x="5627377" y="3793473"/>
                </a:cubicBezTo>
                <a:cubicBezTo>
                  <a:pt x="5627377" y="3790908"/>
                  <a:pt x="5629941" y="3788343"/>
                  <a:pt x="5629941" y="3785779"/>
                </a:cubicBezTo>
                <a:close/>
                <a:moveTo>
                  <a:pt x="5940293" y="3785778"/>
                </a:moveTo>
                <a:cubicBezTo>
                  <a:pt x="5968507" y="3783213"/>
                  <a:pt x="5960813" y="3801167"/>
                  <a:pt x="5978767" y="3806297"/>
                </a:cubicBezTo>
                <a:cubicBezTo>
                  <a:pt x="5971072" y="3811427"/>
                  <a:pt x="5968507" y="3821687"/>
                  <a:pt x="5963377" y="3826817"/>
                </a:cubicBezTo>
                <a:cubicBezTo>
                  <a:pt x="5953118" y="3824252"/>
                  <a:pt x="5947988" y="3824252"/>
                  <a:pt x="5945423" y="3826817"/>
                </a:cubicBezTo>
                <a:cubicBezTo>
                  <a:pt x="5940293" y="3819123"/>
                  <a:pt x="5935164" y="3811427"/>
                  <a:pt x="5927468" y="3808862"/>
                </a:cubicBezTo>
                <a:cubicBezTo>
                  <a:pt x="5919773" y="3806297"/>
                  <a:pt x="5914643" y="3811427"/>
                  <a:pt x="5912078" y="3811427"/>
                </a:cubicBezTo>
                <a:cubicBezTo>
                  <a:pt x="5878735" y="3813992"/>
                  <a:pt x="5904384" y="3803732"/>
                  <a:pt x="5932599" y="3806297"/>
                </a:cubicBezTo>
                <a:cubicBezTo>
                  <a:pt x="5940293" y="3798602"/>
                  <a:pt x="5932599" y="3793473"/>
                  <a:pt x="5940293" y="3785778"/>
                </a:cubicBezTo>
                <a:close/>
                <a:moveTo>
                  <a:pt x="5640201" y="3772953"/>
                </a:moveTo>
                <a:cubicBezTo>
                  <a:pt x="5650460" y="3770388"/>
                  <a:pt x="5645330" y="3783212"/>
                  <a:pt x="5642765" y="3785778"/>
                </a:cubicBezTo>
                <a:cubicBezTo>
                  <a:pt x="5640201" y="3785778"/>
                  <a:pt x="5640201" y="3778083"/>
                  <a:pt x="5640201" y="3772953"/>
                </a:cubicBezTo>
                <a:close/>
                <a:moveTo>
                  <a:pt x="5605335" y="3763455"/>
                </a:moveTo>
                <a:cubicBezTo>
                  <a:pt x="5605575" y="3764777"/>
                  <a:pt x="5597880" y="3772953"/>
                  <a:pt x="5601728" y="3765259"/>
                </a:cubicBezTo>
                <a:cubicBezTo>
                  <a:pt x="5604293" y="3763335"/>
                  <a:pt x="5605255" y="3763014"/>
                  <a:pt x="5605335" y="3763455"/>
                </a:cubicBezTo>
                <a:close/>
                <a:moveTo>
                  <a:pt x="5758185" y="3757565"/>
                </a:moveTo>
                <a:cubicBezTo>
                  <a:pt x="5758185" y="3770389"/>
                  <a:pt x="5745361" y="3760130"/>
                  <a:pt x="5758185" y="3757565"/>
                </a:cubicBezTo>
                <a:close/>
                <a:moveTo>
                  <a:pt x="642706" y="3718639"/>
                </a:moveTo>
                <a:cubicBezTo>
                  <a:pt x="636775" y="3718489"/>
                  <a:pt x="630322" y="3719411"/>
                  <a:pt x="623269" y="3721655"/>
                </a:cubicBezTo>
                <a:cubicBezTo>
                  <a:pt x="623269" y="3765258"/>
                  <a:pt x="654047" y="3778083"/>
                  <a:pt x="684826" y="3819121"/>
                </a:cubicBezTo>
                <a:cubicBezTo>
                  <a:pt x="697651" y="3808862"/>
                  <a:pt x="707910" y="3801167"/>
                  <a:pt x="718170" y="3793472"/>
                </a:cubicBezTo>
                <a:cubicBezTo>
                  <a:pt x="700216" y="3773273"/>
                  <a:pt x="684225" y="3719691"/>
                  <a:pt x="642706" y="3718639"/>
                </a:cubicBezTo>
                <a:close/>
                <a:moveTo>
                  <a:pt x="5699194" y="3698572"/>
                </a:moveTo>
                <a:cubicBezTo>
                  <a:pt x="5699194" y="3698572"/>
                  <a:pt x="5701758" y="3698572"/>
                  <a:pt x="5704323" y="3698572"/>
                </a:cubicBezTo>
                <a:cubicBezTo>
                  <a:pt x="5704323" y="3701137"/>
                  <a:pt x="5704323" y="3703702"/>
                  <a:pt x="5704323" y="3703702"/>
                </a:cubicBezTo>
                <a:cubicBezTo>
                  <a:pt x="5704323" y="3703702"/>
                  <a:pt x="5701758" y="3703702"/>
                  <a:pt x="5699194" y="3703702"/>
                </a:cubicBezTo>
                <a:cubicBezTo>
                  <a:pt x="5699194" y="3703702"/>
                  <a:pt x="5699194" y="3701137"/>
                  <a:pt x="5699194" y="3698572"/>
                </a:cubicBezTo>
                <a:close/>
                <a:moveTo>
                  <a:pt x="734120" y="3689113"/>
                </a:moveTo>
                <a:cubicBezTo>
                  <a:pt x="726666" y="3689754"/>
                  <a:pt x="718811" y="3693441"/>
                  <a:pt x="710475" y="3701136"/>
                </a:cubicBezTo>
                <a:cubicBezTo>
                  <a:pt x="733559" y="3742175"/>
                  <a:pt x="759208" y="3757564"/>
                  <a:pt x="792552" y="3739609"/>
                </a:cubicBezTo>
                <a:cubicBezTo>
                  <a:pt x="775239" y="3712678"/>
                  <a:pt x="756483" y="3687189"/>
                  <a:pt x="734120" y="3689113"/>
                </a:cubicBezTo>
                <a:close/>
                <a:moveTo>
                  <a:pt x="5758186" y="3685747"/>
                </a:moveTo>
                <a:cubicBezTo>
                  <a:pt x="5765880" y="3690877"/>
                  <a:pt x="5778705" y="3690877"/>
                  <a:pt x="5778705" y="3703702"/>
                </a:cubicBezTo>
                <a:cubicBezTo>
                  <a:pt x="5776140" y="3701137"/>
                  <a:pt x="5773575" y="3701137"/>
                  <a:pt x="5773575" y="3703702"/>
                </a:cubicBezTo>
                <a:cubicBezTo>
                  <a:pt x="5771010" y="3696007"/>
                  <a:pt x="5758186" y="3698571"/>
                  <a:pt x="5758186" y="3685747"/>
                </a:cubicBezTo>
                <a:close/>
                <a:moveTo>
                  <a:pt x="5447834" y="3672922"/>
                </a:moveTo>
                <a:cubicBezTo>
                  <a:pt x="5455529" y="3678052"/>
                  <a:pt x="5461941" y="3683182"/>
                  <a:pt x="5468033" y="3687991"/>
                </a:cubicBezTo>
                <a:lnTo>
                  <a:pt x="5469380" y="3688960"/>
                </a:lnTo>
                <a:lnTo>
                  <a:pt x="5468353" y="3690877"/>
                </a:lnTo>
                <a:cubicBezTo>
                  <a:pt x="5458093" y="3693441"/>
                  <a:pt x="5465788" y="3680617"/>
                  <a:pt x="5455529" y="3685747"/>
                </a:cubicBezTo>
                <a:cubicBezTo>
                  <a:pt x="5454247" y="3690876"/>
                  <a:pt x="5456812" y="3691518"/>
                  <a:pt x="5459056" y="3692159"/>
                </a:cubicBezTo>
                <a:lnTo>
                  <a:pt x="5459454" y="3693754"/>
                </a:lnTo>
                <a:lnTo>
                  <a:pt x="5458414" y="3695365"/>
                </a:lnTo>
                <a:cubicBezTo>
                  <a:pt x="5456811" y="3698571"/>
                  <a:pt x="5455529" y="3701136"/>
                  <a:pt x="5452964" y="3696006"/>
                </a:cubicBezTo>
                <a:cubicBezTo>
                  <a:pt x="5460658" y="3685747"/>
                  <a:pt x="5455529" y="3678052"/>
                  <a:pt x="5447834" y="3672922"/>
                </a:cubicBezTo>
                <a:close/>
                <a:moveTo>
                  <a:pt x="5154274" y="3670037"/>
                </a:moveTo>
                <a:cubicBezTo>
                  <a:pt x="5156559" y="3670999"/>
                  <a:pt x="5154154" y="3680618"/>
                  <a:pt x="5150307" y="3672923"/>
                </a:cubicBezTo>
                <a:cubicBezTo>
                  <a:pt x="5152231" y="3670358"/>
                  <a:pt x="5153513" y="3669717"/>
                  <a:pt x="5154274" y="3670037"/>
                </a:cubicBezTo>
                <a:close/>
                <a:moveTo>
                  <a:pt x="2416130" y="3667792"/>
                </a:moveTo>
                <a:cubicBezTo>
                  <a:pt x="2413565" y="3672922"/>
                  <a:pt x="2413565" y="3680617"/>
                  <a:pt x="2411000" y="3688312"/>
                </a:cubicBezTo>
                <a:cubicBezTo>
                  <a:pt x="2403306" y="3688312"/>
                  <a:pt x="2398176" y="3688312"/>
                  <a:pt x="2393046" y="3688312"/>
                </a:cubicBezTo>
                <a:cubicBezTo>
                  <a:pt x="2385351" y="3713961"/>
                  <a:pt x="2377657" y="3742175"/>
                  <a:pt x="2372526" y="3772953"/>
                </a:cubicBezTo>
                <a:cubicBezTo>
                  <a:pt x="2364831" y="3813991"/>
                  <a:pt x="2357137" y="3857595"/>
                  <a:pt x="2341747" y="3890938"/>
                </a:cubicBezTo>
                <a:lnTo>
                  <a:pt x="2352007" y="3898633"/>
                </a:lnTo>
                <a:cubicBezTo>
                  <a:pt x="2377657" y="3875549"/>
                  <a:pt x="2387916" y="3821686"/>
                  <a:pt x="2398176" y="3772953"/>
                </a:cubicBezTo>
                <a:cubicBezTo>
                  <a:pt x="2400741" y="3757564"/>
                  <a:pt x="2405870" y="3742175"/>
                  <a:pt x="2408435" y="3726785"/>
                </a:cubicBezTo>
                <a:cubicBezTo>
                  <a:pt x="2408435" y="3726785"/>
                  <a:pt x="2408435" y="3724220"/>
                  <a:pt x="2408435" y="3721655"/>
                </a:cubicBezTo>
                <a:cubicBezTo>
                  <a:pt x="2411000" y="3721655"/>
                  <a:pt x="2411000" y="3721655"/>
                  <a:pt x="2411000" y="3721655"/>
                </a:cubicBezTo>
                <a:cubicBezTo>
                  <a:pt x="2413565" y="3716526"/>
                  <a:pt x="2413565" y="3713961"/>
                  <a:pt x="2416130" y="3708831"/>
                </a:cubicBezTo>
                <a:cubicBezTo>
                  <a:pt x="2411000" y="3703701"/>
                  <a:pt x="2403306" y="3703701"/>
                  <a:pt x="2405870" y="3690877"/>
                </a:cubicBezTo>
                <a:cubicBezTo>
                  <a:pt x="2413565" y="3690877"/>
                  <a:pt x="2418695" y="3693441"/>
                  <a:pt x="2418695" y="3701136"/>
                </a:cubicBezTo>
                <a:cubicBezTo>
                  <a:pt x="2421261" y="3690877"/>
                  <a:pt x="2423825" y="3683182"/>
                  <a:pt x="2428954" y="3678052"/>
                </a:cubicBezTo>
                <a:lnTo>
                  <a:pt x="2434084" y="3672922"/>
                </a:lnTo>
                <a:lnTo>
                  <a:pt x="2428954" y="3670357"/>
                </a:lnTo>
                <a:cubicBezTo>
                  <a:pt x="2423825" y="3667792"/>
                  <a:pt x="2421261" y="3667792"/>
                  <a:pt x="2416130" y="3667792"/>
                </a:cubicBezTo>
                <a:close/>
                <a:moveTo>
                  <a:pt x="5436291" y="3665549"/>
                </a:moveTo>
                <a:cubicBezTo>
                  <a:pt x="5438215" y="3666511"/>
                  <a:pt x="5440139" y="3669076"/>
                  <a:pt x="5442704" y="3670359"/>
                </a:cubicBezTo>
                <a:cubicBezTo>
                  <a:pt x="5442704" y="3678054"/>
                  <a:pt x="5437574" y="3665229"/>
                  <a:pt x="5429880" y="3670359"/>
                </a:cubicBezTo>
                <a:cubicBezTo>
                  <a:pt x="5432444" y="3665229"/>
                  <a:pt x="5434368" y="3664587"/>
                  <a:pt x="5436291" y="3665549"/>
                </a:cubicBezTo>
                <a:close/>
                <a:moveTo>
                  <a:pt x="2572588" y="3654968"/>
                </a:moveTo>
                <a:cubicBezTo>
                  <a:pt x="2570025" y="3665228"/>
                  <a:pt x="2567459" y="3678052"/>
                  <a:pt x="2567459" y="3690877"/>
                </a:cubicBezTo>
                <a:cubicBezTo>
                  <a:pt x="2567459" y="3693441"/>
                  <a:pt x="2570025" y="3696006"/>
                  <a:pt x="2570025" y="3696006"/>
                </a:cubicBezTo>
                <a:cubicBezTo>
                  <a:pt x="2572588" y="3683182"/>
                  <a:pt x="2575153" y="3667792"/>
                  <a:pt x="2572588" y="3654968"/>
                </a:cubicBezTo>
                <a:close/>
                <a:moveTo>
                  <a:pt x="6168528" y="3631524"/>
                </a:moveTo>
                <a:cubicBezTo>
                  <a:pt x="6166965" y="3633809"/>
                  <a:pt x="6156385" y="3641504"/>
                  <a:pt x="6166004" y="3631885"/>
                </a:cubicBezTo>
                <a:cubicBezTo>
                  <a:pt x="6168569" y="3630602"/>
                  <a:pt x="6169050" y="3630763"/>
                  <a:pt x="6168528" y="3631524"/>
                </a:cubicBezTo>
                <a:close/>
                <a:moveTo>
                  <a:pt x="2544375" y="3624189"/>
                </a:moveTo>
                <a:lnTo>
                  <a:pt x="2544375" y="3629319"/>
                </a:lnTo>
                <a:cubicBezTo>
                  <a:pt x="2546940" y="3626754"/>
                  <a:pt x="2546940" y="3626754"/>
                  <a:pt x="2546940" y="3624189"/>
                </a:cubicBezTo>
                <a:close/>
                <a:moveTo>
                  <a:pt x="5409000" y="3572211"/>
                </a:moveTo>
                <a:cubicBezTo>
                  <a:pt x="5409201" y="3571610"/>
                  <a:pt x="5409361" y="3572251"/>
                  <a:pt x="5409361" y="3575457"/>
                </a:cubicBezTo>
                <a:cubicBezTo>
                  <a:pt x="5407437" y="3586999"/>
                  <a:pt x="5408399" y="3574014"/>
                  <a:pt x="5409000" y="3572211"/>
                </a:cubicBezTo>
                <a:close/>
                <a:moveTo>
                  <a:pt x="5406795" y="3513909"/>
                </a:moveTo>
                <a:cubicBezTo>
                  <a:pt x="5406795" y="3516474"/>
                  <a:pt x="5404231" y="3519039"/>
                  <a:pt x="5399101" y="3519039"/>
                </a:cubicBezTo>
                <a:cubicBezTo>
                  <a:pt x="5399101" y="3513909"/>
                  <a:pt x="5404231" y="3513909"/>
                  <a:pt x="5406795" y="3513909"/>
                </a:cubicBezTo>
                <a:close/>
                <a:moveTo>
                  <a:pt x="236010" y="3456910"/>
                </a:moveTo>
                <a:cubicBezTo>
                  <a:pt x="232122" y="3454586"/>
                  <a:pt x="228275" y="3454265"/>
                  <a:pt x="225710" y="3457471"/>
                </a:cubicBezTo>
                <a:cubicBezTo>
                  <a:pt x="233405" y="3470296"/>
                  <a:pt x="238535" y="3480555"/>
                  <a:pt x="238535" y="3490815"/>
                </a:cubicBezTo>
                <a:cubicBezTo>
                  <a:pt x="259695" y="3488891"/>
                  <a:pt x="247672" y="3463884"/>
                  <a:pt x="236010" y="3456910"/>
                </a:cubicBezTo>
                <a:close/>
                <a:moveTo>
                  <a:pt x="5750491" y="3419009"/>
                </a:moveTo>
                <a:cubicBezTo>
                  <a:pt x="5750491" y="3424133"/>
                  <a:pt x="5747926" y="3431830"/>
                  <a:pt x="5737667" y="3431830"/>
                </a:cubicBezTo>
                <a:cubicBezTo>
                  <a:pt x="5742796" y="3426700"/>
                  <a:pt x="5740231" y="3416444"/>
                  <a:pt x="5750491" y="3419009"/>
                </a:cubicBezTo>
                <a:close/>
                <a:moveTo>
                  <a:pt x="5724842" y="3406179"/>
                </a:moveTo>
                <a:cubicBezTo>
                  <a:pt x="5732536" y="3416442"/>
                  <a:pt x="5712018" y="3421570"/>
                  <a:pt x="5724842" y="3406179"/>
                </a:cubicBezTo>
                <a:close/>
                <a:moveTo>
                  <a:pt x="5819743" y="3352319"/>
                </a:moveTo>
                <a:cubicBezTo>
                  <a:pt x="5827438" y="3360016"/>
                  <a:pt x="5812048" y="3370275"/>
                  <a:pt x="5804352" y="3370275"/>
                </a:cubicBezTo>
                <a:cubicBezTo>
                  <a:pt x="5799223" y="3372837"/>
                  <a:pt x="5817178" y="3357444"/>
                  <a:pt x="5819743" y="3352319"/>
                </a:cubicBezTo>
                <a:close/>
                <a:moveTo>
                  <a:pt x="5822308" y="3295889"/>
                </a:moveTo>
                <a:cubicBezTo>
                  <a:pt x="5832568" y="3301016"/>
                  <a:pt x="5819743" y="3303579"/>
                  <a:pt x="5819743" y="3303579"/>
                </a:cubicBezTo>
                <a:cubicBezTo>
                  <a:pt x="5812048" y="3303579"/>
                  <a:pt x="5824873" y="3301016"/>
                  <a:pt x="5822308" y="3295889"/>
                </a:cubicBezTo>
                <a:close/>
                <a:moveTo>
                  <a:pt x="5801388" y="3278095"/>
                </a:moveTo>
                <a:cubicBezTo>
                  <a:pt x="5801629" y="3278255"/>
                  <a:pt x="5801468" y="3279216"/>
                  <a:pt x="5801148" y="3280499"/>
                </a:cubicBezTo>
                <a:cubicBezTo>
                  <a:pt x="5800506" y="3283063"/>
                  <a:pt x="5799224" y="3286910"/>
                  <a:pt x="5799224" y="3288194"/>
                </a:cubicBezTo>
                <a:cubicBezTo>
                  <a:pt x="5781270" y="3301016"/>
                  <a:pt x="5768444" y="3318971"/>
                  <a:pt x="5763315" y="3324098"/>
                </a:cubicBezTo>
                <a:cubicBezTo>
                  <a:pt x="5753055" y="3336926"/>
                  <a:pt x="5765879" y="3316408"/>
                  <a:pt x="5776139" y="3303580"/>
                </a:cubicBezTo>
                <a:cubicBezTo>
                  <a:pt x="5783835" y="3295887"/>
                  <a:pt x="5791529" y="3293321"/>
                  <a:pt x="5799224" y="3280499"/>
                </a:cubicBezTo>
                <a:cubicBezTo>
                  <a:pt x="5800506" y="3278576"/>
                  <a:pt x="5801148" y="3277935"/>
                  <a:pt x="5801388" y="3278095"/>
                </a:cubicBezTo>
                <a:close/>
                <a:moveTo>
                  <a:pt x="5742797" y="3221512"/>
                </a:moveTo>
                <a:cubicBezTo>
                  <a:pt x="5755622" y="3218949"/>
                  <a:pt x="5727407" y="3239467"/>
                  <a:pt x="5742797" y="3224077"/>
                </a:cubicBezTo>
                <a:cubicBezTo>
                  <a:pt x="5742797" y="3224077"/>
                  <a:pt x="5742797" y="3221512"/>
                  <a:pt x="5742797" y="3221512"/>
                </a:cubicBezTo>
                <a:close/>
                <a:moveTo>
                  <a:pt x="5701759" y="3113795"/>
                </a:moveTo>
                <a:cubicBezTo>
                  <a:pt x="5704324" y="3113795"/>
                  <a:pt x="5704324" y="3113795"/>
                  <a:pt x="5706888" y="3113795"/>
                </a:cubicBezTo>
                <a:cubicBezTo>
                  <a:pt x="5706888" y="3116359"/>
                  <a:pt x="5706888" y="3118926"/>
                  <a:pt x="5706888" y="3118926"/>
                </a:cubicBezTo>
                <a:cubicBezTo>
                  <a:pt x="5706888" y="3118926"/>
                  <a:pt x="5704324" y="3118926"/>
                  <a:pt x="5701759" y="3118926"/>
                </a:cubicBezTo>
                <a:cubicBezTo>
                  <a:pt x="5701759" y="3118926"/>
                  <a:pt x="5701759" y="3116359"/>
                  <a:pt x="5701759" y="3113795"/>
                </a:cubicBezTo>
                <a:close/>
                <a:moveTo>
                  <a:pt x="5778304" y="3030675"/>
                </a:moveTo>
                <a:cubicBezTo>
                  <a:pt x="5779025" y="3029794"/>
                  <a:pt x="5778705" y="3030433"/>
                  <a:pt x="5776140" y="3034278"/>
                </a:cubicBezTo>
                <a:cubicBezTo>
                  <a:pt x="5764597" y="3049670"/>
                  <a:pt x="5776139" y="3033318"/>
                  <a:pt x="5778304" y="3030675"/>
                </a:cubicBezTo>
                <a:close/>
                <a:moveTo>
                  <a:pt x="5788965" y="3000946"/>
                </a:moveTo>
                <a:cubicBezTo>
                  <a:pt x="5796659" y="3003510"/>
                  <a:pt x="5786400" y="3008633"/>
                  <a:pt x="5788965" y="3013762"/>
                </a:cubicBezTo>
                <a:cubicBezTo>
                  <a:pt x="5781270" y="3011197"/>
                  <a:pt x="5788965" y="3003510"/>
                  <a:pt x="5788965" y="3000946"/>
                </a:cubicBezTo>
                <a:close/>
                <a:moveTo>
                  <a:pt x="5406795" y="3000946"/>
                </a:moveTo>
                <a:cubicBezTo>
                  <a:pt x="5414490" y="3006074"/>
                  <a:pt x="5417055" y="3000946"/>
                  <a:pt x="5427315" y="3006074"/>
                </a:cubicBezTo>
                <a:cubicBezTo>
                  <a:pt x="5409360" y="3039417"/>
                  <a:pt x="5429880" y="3090712"/>
                  <a:pt x="5414490" y="3126618"/>
                </a:cubicBezTo>
                <a:cubicBezTo>
                  <a:pt x="5393970" y="3118926"/>
                  <a:pt x="5406795" y="3100972"/>
                  <a:pt x="5401666" y="3085583"/>
                </a:cubicBezTo>
                <a:cubicBezTo>
                  <a:pt x="5424750" y="3062499"/>
                  <a:pt x="5399101" y="3029155"/>
                  <a:pt x="5406795" y="3000946"/>
                </a:cubicBezTo>
                <a:close/>
                <a:moveTo>
                  <a:pt x="5614552" y="2870144"/>
                </a:moveTo>
                <a:cubicBezTo>
                  <a:pt x="5619681" y="2867575"/>
                  <a:pt x="5619681" y="2872704"/>
                  <a:pt x="5619681" y="2875265"/>
                </a:cubicBezTo>
                <a:cubicBezTo>
                  <a:pt x="5617116" y="2875265"/>
                  <a:pt x="5617116" y="2875265"/>
                  <a:pt x="5617116" y="2877832"/>
                </a:cubicBezTo>
                <a:cubicBezTo>
                  <a:pt x="5614552" y="2877832"/>
                  <a:pt x="5614552" y="2872704"/>
                  <a:pt x="5614552" y="2870144"/>
                </a:cubicBezTo>
                <a:close/>
                <a:moveTo>
                  <a:pt x="6471226" y="2775232"/>
                </a:moveTo>
                <a:cubicBezTo>
                  <a:pt x="6484050" y="2780360"/>
                  <a:pt x="6471226" y="2785488"/>
                  <a:pt x="6468661" y="2790617"/>
                </a:cubicBezTo>
                <a:cubicBezTo>
                  <a:pt x="6460966" y="2788053"/>
                  <a:pt x="6473791" y="2782924"/>
                  <a:pt x="6471226" y="2775232"/>
                </a:cubicBezTo>
                <a:close/>
                <a:moveTo>
                  <a:pt x="5965942" y="2677776"/>
                </a:moveTo>
                <a:cubicBezTo>
                  <a:pt x="5978766" y="2680341"/>
                  <a:pt x="5960812" y="2688030"/>
                  <a:pt x="5963377" y="2695733"/>
                </a:cubicBezTo>
                <a:cubicBezTo>
                  <a:pt x="5955682" y="2690603"/>
                  <a:pt x="5968507" y="2685468"/>
                  <a:pt x="5965942" y="2677776"/>
                </a:cubicBezTo>
                <a:close/>
                <a:moveTo>
                  <a:pt x="5063100" y="2662358"/>
                </a:moveTo>
                <a:cubicBezTo>
                  <a:pt x="5045146" y="2672618"/>
                  <a:pt x="5029756" y="2685443"/>
                  <a:pt x="5032321" y="2716221"/>
                </a:cubicBezTo>
                <a:cubicBezTo>
                  <a:pt x="5042581" y="2711092"/>
                  <a:pt x="5050275" y="2705962"/>
                  <a:pt x="5065665" y="2703397"/>
                </a:cubicBezTo>
                <a:cubicBezTo>
                  <a:pt x="5065665" y="2690572"/>
                  <a:pt x="5063100" y="2677748"/>
                  <a:pt x="5063100" y="2662358"/>
                </a:cubicBezTo>
                <a:close/>
                <a:moveTo>
                  <a:pt x="4864802" y="2649316"/>
                </a:moveTo>
                <a:cubicBezTo>
                  <a:pt x="4867687" y="2651961"/>
                  <a:pt x="4866245" y="2661101"/>
                  <a:pt x="4860474" y="2657252"/>
                </a:cubicBezTo>
                <a:cubicBezTo>
                  <a:pt x="4860474" y="2654687"/>
                  <a:pt x="4860474" y="2652122"/>
                  <a:pt x="4860474" y="2649557"/>
                </a:cubicBezTo>
                <a:cubicBezTo>
                  <a:pt x="4862398" y="2648274"/>
                  <a:pt x="4863840" y="2648433"/>
                  <a:pt x="4864802" y="2649316"/>
                </a:cubicBezTo>
                <a:close/>
                <a:moveTo>
                  <a:pt x="4973329" y="2646990"/>
                </a:moveTo>
                <a:cubicBezTo>
                  <a:pt x="4986153" y="2688032"/>
                  <a:pt x="4929725" y="2652120"/>
                  <a:pt x="4973329" y="2646990"/>
                </a:cubicBezTo>
                <a:close/>
                <a:moveTo>
                  <a:pt x="6619990" y="2608505"/>
                </a:moveTo>
                <a:cubicBezTo>
                  <a:pt x="6612295" y="2616200"/>
                  <a:pt x="6609730" y="2631593"/>
                  <a:pt x="6596905" y="2636722"/>
                </a:cubicBezTo>
                <a:cubicBezTo>
                  <a:pt x="6607165" y="2629028"/>
                  <a:pt x="6604600" y="2611071"/>
                  <a:pt x="6619990" y="2608505"/>
                </a:cubicBezTo>
                <a:close/>
                <a:moveTo>
                  <a:pt x="6496875" y="2572610"/>
                </a:moveTo>
                <a:cubicBezTo>
                  <a:pt x="6499441" y="2577741"/>
                  <a:pt x="6494311" y="2580304"/>
                  <a:pt x="6489181" y="2580304"/>
                </a:cubicBezTo>
                <a:cubicBezTo>
                  <a:pt x="6491746" y="2577741"/>
                  <a:pt x="6489181" y="2567485"/>
                  <a:pt x="6496875" y="2572610"/>
                </a:cubicBezTo>
                <a:close/>
                <a:moveTo>
                  <a:pt x="5020138" y="2570047"/>
                </a:moveTo>
                <a:cubicBezTo>
                  <a:pt x="5024626" y="2568124"/>
                  <a:pt x="5029756" y="2568766"/>
                  <a:pt x="5032321" y="2570047"/>
                </a:cubicBezTo>
                <a:cubicBezTo>
                  <a:pt x="5040015" y="2577741"/>
                  <a:pt x="5029756" y="2590560"/>
                  <a:pt x="5019496" y="2590560"/>
                </a:cubicBezTo>
                <a:cubicBezTo>
                  <a:pt x="5019496" y="2587997"/>
                  <a:pt x="5014366" y="2587997"/>
                  <a:pt x="5011802" y="2585431"/>
                </a:cubicBezTo>
                <a:cubicBezTo>
                  <a:pt x="5011802" y="2576457"/>
                  <a:pt x="5015649" y="2571971"/>
                  <a:pt x="5020138" y="2570047"/>
                </a:cubicBezTo>
                <a:close/>
                <a:moveTo>
                  <a:pt x="6040324" y="2562996"/>
                </a:moveTo>
                <a:cubicBezTo>
                  <a:pt x="6041607" y="2562996"/>
                  <a:pt x="6042889" y="2563638"/>
                  <a:pt x="6042889" y="2564920"/>
                </a:cubicBezTo>
                <a:cubicBezTo>
                  <a:pt x="6040324" y="2570047"/>
                  <a:pt x="6040324" y="2564920"/>
                  <a:pt x="6037760" y="2564920"/>
                </a:cubicBezTo>
                <a:cubicBezTo>
                  <a:pt x="6037760" y="2563638"/>
                  <a:pt x="6039042" y="2562996"/>
                  <a:pt x="6040324" y="2562996"/>
                </a:cubicBezTo>
                <a:close/>
                <a:moveTo>
                  <a:pt x="6338894" y="2562034"/>
                </a:moveTo>
                <a:cubicBezTo>
                  <a:pt x="6340577" y="2562996"/>
                  <a:pt x="6337211" y="2572613"/>
                  <a:pt x="6335287" y="2564920"/>
                </a:cubicBezTo>
                <a:cubicBezTo>
                  <a:pt x="6337211" y="2562357"/>
                  <a:pt x="6338333" y="2561714"/>
                  <a:pt x="6338894" y="2562034"/>
                </a:cubicBezTo>
                <a:close/>
                <a:moveTo>
                  <a:pt x="5891561" y="2534138"/>
                </a:moveTo>
                <a:cubicBezTo>
                  <a:pt x="5891561" y="2539266"/>
                  <a:pt x="5888995" y="2541832"/>
                  <a:pt x="5886430" y="2546960"/>
                </a:cubicBezTo>
                <a:cubicBezTo>
                  <a:pt x="5881301" y="2549525"/>
                  <a:pt x="5883866" y="2534138"/>
                  <a:pt x="5891561" y="2534138"/>
                </a:cubicBezTo>
                <a:close/>
                <a:moveTo>
                  <a:pt x="6448142" y="2477734"/>
                </a:moveTo>
                <a:cubicBezTo>
                  <a:pt x="6445577" y="2482858"/>
                  <a:pt x="6432751" y="2477734"/>
                  <a:pt x="6427622" y="2480297"/>
                </a:cubicBezTo>
                <a:cubicBezTo>
                  <a:pt x="6427622" y="2475144"/>
                  <a:pt x="6440447" y="2480297"/>
                  <a:pt x="6448142" y="2477734"/>
                </a:cubicBezTo>
                <a:close/>
                <a:moveTo>
                  <a:pt x="6404178" y="2465291"/>
                </a:moveTo>
                <a:cubicBezTo>
                  <a:pt x="6406463" y="2467456"/>
                  <a:pt x="6414158" y="2478999"/>
                  <a:pt x="6404539" y="2467456"/>
                </a:cubicBezTo>
                <a:cubicBezTo>
                  <a:pt x="6403257" y="2464890"/>
                  <a:pt x="6403417" y="2464569"/>
                  <a:pt x="6404178" y="2465291"/>
                </a:cubicBezTo>
                <a:close/>
                <a:moveTo>
                  <a:pt x="6487657" y="2448816"/>
                </a:moveTo>
                <a:cubicBezTo>
                  <a:pt x="6486455" y="2450622"/>
                  <a:pt x="6474431" y="2463607"/>
                  <a:pt x="6484051" y="2452065"/>
                </a:cubicBezTo>
                <a:cubicBezTo>
                  <a:pt x="6487257" y="2448856"/>
                  <a:pt x="6488058" y="2448215"/>
                  <a:pt x="6487657" y="2448816"/>
                </a:cubicBezTo>
                <a:close/>
                <a:moveTo>
                  <a:pt x="5481178" y="2374807"/>
                </a:moveTo>
                <a:cubicBezTo>
                  <a:pt x="5482460" y="2375129"/>
                  <a:pt x="5483742" y="2376413"/>
                  <a:pt x="5483742" y="2377693"/>
                </a:cubicBezTo>
                <a:cubicBezTo>
                  <a:pt x="5483742" y="2382825"/>
                  <a:pt x="5481178" y="2377693"/>
                  <a:pt x="5478613" y="2377693"/>
                </a:cubicBezTo>
                <a:cubicBezTo>
                  <a:pt x="5478613" y="2375129"/>
                  <a:pt x="5479896" y="2374487"/>
                  <a:pt x="5481178" y="2374807"/>
                </a:cubicBezTo>
                <a:close/>
                <a:moveTo>
                  <a:pt x="2131426" y="2367394"/>
                </a:moveTo>
                <a:cubicBezTo>
                  <a:pt x="2139121" y="2375089"/>
                  <a:pt x="2136556" y="2393045"/>
                  <a:pt x="2136556" y="2408433"/>
                </a:cubicBezTo>
                <a:cubicBezTo>
                  <a:pt x="2162205" y="2408433"/>
                  <a:pt x="2133991" y="2354569"/>
                  <a:pt x="2131426" y="2367394"/>
                </a:cubicBezTo>
                <a:close/>
                <a:moveTo>
                  <a:pt x="5024587" y="2353202"/>
                </a:moveTo>
                <a:cubicBezTo>
                  <a:pt x="5025909" y="2353806"/>
                  <a:pt x="5023986" y="2364869"/>
                  <a:pt x="5022062" y="2357174"/>
                </a:cubicBezTo>
                <a:cubicBezTo>
                  <a:pt x="5023344" y="2353967"/>
                  <a:pt x="5024146" y="2353003"/>
                  <a:pt x="5024587" y="2353202"/>
                </a:cubicBezTo>
                <a:close/>
                <a:moveTo>
                  <a:pt x="5073359" y="2349464"/>
                </a:moveTo>
                <a:cubicBezTo>
                  <a:pt x="5075924" y="2349464"/>
                  <a:pt x="5075924" y="2352031"/>
                  <a:pt x="5075924" y="2354595"/>
                </a:cubicBezTo>
                <a:cubicBezTo>
                  <a:pt x="5078489" y="2352031"/>
                  <a:pt x="5078489" y="2346898"/>
                  <a:pt x="5083619" y="2349464"/>
                </a:cubicBezTo>
                <a:cubicBezTo>
                  <a:pt x="5078489" y="2354595"/>
                  <a:pt x="5078489" y="2364854"/>
                  <a:pt x="5078489" y="2375116"/>
                </a:cubicBezTo>
                <a:cubicBezTo>
                  <a:pt x="5060535" y="2372550"/>
                  <a:pt x="5081054" y="2359723"/>
                  <a:pt x="5073359" y="2349464"/>
                </a:cubicBezTo>
                <a:close/>
                <a:moveTo>
                  <a:pt x="6437882" y="2334085"/>
                </a:moveTo>
                <a:cubicBezTo>
                  <a:pt x="6437882" y="2341778"/>
                  <a:pt x="6435318" y="2344344"/>
                  <a:pt x="6425057" y="2346909"/>
                </a:cubicBezTo>
                <a:cubicBezTo>
                  <a:pt x="6430187" y="2341778"/>
                  <a:pt x="6430187" y="2334085"/>
                  <a:pt x="6437882" y="2334085"/>
                </a:cubicBezTo>
                <a:close/>
                <a:moveTo>
                  <a:pt x="2110907" y="2326357"/>
                </a:moveTo>
                <a:cubicBezTo>
                  <a:pt x="2108342" y="2334051"/>
                  <a:pt x="2092953" y="2372525"/>
                  <a:pt x="2116038" y="2372525"/>
                </a:cubicBezTo>
                <a:cubicBezTo>
                  <a:pt x="2118601" y="2359701"/>
                  <a:pt x="2128861" y="2328922"/>
                  <a:pt x="2110907" y="2326357"/>
                </a:cubicBezTo>
                <a:close/>
                <a:moveTo>
                  <a:pt x="5581208" y="2298167"/>
                </a:moveTo>
                <a:cubicBezTo>
                  <a:pt x="5591467" y="2303298"/>
                  <a:pt x="5588903" y="2316126"/>
                  <a:pt x="5599162" y="2318692"/>
                </a:cubicBezTo>
                <a:cubicBezTo>
                  <a:pt x="5596597" y="2334085"/>
                  <a:pt x="5581208" y="2339212"/>
                  <a:pt x="5573513" y="2349478"/>
                </a:cubicBezTo>
                <a:cubicBezTo>
                  <a:pt x="5537604" y="2331518"/>
                  <a:pt x="5542734" y="2300732"/>
                  <a:pt x="5581208" y="2303298"/>
                </a:cubicBezTo>
                <a:cubicBezTo>
                  <a:pt x="5581208" y="2303298"/>
                  <a:pt x="5581208" y="2298167"/>
                  <a:pt x="5581208" y="2298167"/>
                </a:cubicBezTo>
                <a:close/>
                <a:moveTo>
                  <a:pt x="6496875" y="2298160"/>
                </a:moveTo>
                <a:cubicBezTo>
                  <a:pt x="6507135" y="2303290"/>
                  <a:pt x="6496875" y="2310984"/>
                  <a:pt x="6502005" y="2318681"/>
                </a:cubicBezTo>
                <a:cubicBezTo>
                  <a:pt x="6499440" y="2321246"/>
                  <a:pt x="6496875" y="2308418"/>
                  <a:pt x="6494311" y="2316116"/>
                </a:cubicBezTo>
                <a:cubicBezTo>
                  <a:pt x="6489181" y="2316116"/>
                  <a:pt x="6494311" y="2300723"/>
                  <a:pt x="6496875" y="2298160"/>
                </a:cubicBezTo>
                <a:close/>
                <a:moveTo>
                  <a:pt x="2114113" y="2282114"/>
                </a:moveTo>
                <a:cubicBezTo>
                  <a:pt x="2110266" y="2283397"/>
                  <a:pt x="2107060" y="2291732"/>
                  <a:pt x="2116038" y="2303274"/>
                </a:cubicBezTo>
                <a:cubicBezTo>
                  <a:pt x="2122449" y="2286602"/>
                  <a:pt x="2117961" y="2280831"/>
                  <a:pt x="2114113" y="2282114"/>
                </a:cubicBezTo>
                <a:close/>
                <a:moveTo>
                  <a:pt x="6345547" y="2277645"/>
                </a:moveTo>
                <a:cubicBezTo>
                  <a:pt x="6358371" y="2280209"/>
                  <a:pt x="6340416" y="2293039"/>
                  <a:pt x="6340416" y="2298167"/>
                </a:cubicBezTo>
                <a:cubicBezTo>
                  <a:pt x="6330156" y="2293039"/>
                  <a:pt x="6348112" y="2285341"/>
                  <a:pt x="6345547" y="2277645"/>
                </a:cubicBezTo>
                <a:close/>
                <a:moveTo>
                  <a:pt x="5686369" y="2275080"/>
                </a:moveTo>
                <a:cubicBezTo>
                  <a:pt x="5688934" y="2275080"/>
                  <a:pt x="5688934" y="2277645"/>
                  <a:pt x="5691499" y="2280209"/>
                </a:cubicBezTo>
                <a:cubicBezTo>
                  <a:pt x="5694063" y="2287907"/>
                  <a:pt x="5678674" y="2287907"/>
                  <a:pt x="5691499" y="2287907"/>
                </a:cubicBezTo>
                <a:cubicBezTo>
                  <a:pt x="5691499" y="2295602"/>
                  <a:pt x="5686369" y="2298167"/>
                  <a:pt x="5683804" y="2303298"/>
                </a:cubicBezTo>
                <a:cubicBezTo>
                  <a:pt x="5670978" y="2300732"/>
                  <a:pt x="5686369" y="2290471"/>
                  <a:pt x="5678674" y="2287907"/>
                </a:cubicBezTo>
                <a:cubicBezTo>
                  <a:pt x="5681239" y="2282775"/>
                  <a:pt x="5686369" y="2280209"/>
                  <a:pt x="5686369" y="2275080"/>
                </a:cubicBezTo>
                <a:close/>
                <a:moveTo>
                  <a:pt x="5026791" y="2226736"/>
                </a:moveTo>
                <a:cubicBezTo>
                  <a:pt x="5027032" y="2226496"/>
                  <a:pt x="5026551" y="2226979"/>
                  <a:pt x="5024627" y="2228902"/>
                </a:cubicBezTo>
                <a:cubicBezTo>
                  <a:pt x="5018856" y="2234675"/>
                  <a:pt x="5026070" y="2227458"/>
                  <a:pt x="5026791" y="2226736"/>
                </a:cubicBezTo>
                <a:close/>
                <a:moveTo>
                  <a:pt x="2446909" y="2223762"/>
                </a:moveTo>
                <a:cubicBezTo>
                  <a:pt x="2423825" y="2272495"/>
                  <a:pt x="2423825" y="2318662"/>
                  <a:pt x="2418695" y="2385350"/>
                </a:cubicBezTo>
                <a:cubicBezTo>
                  <a:pt x="2408435" y="2387914"/>
                  <a:pt x="2398176" y="2395610"/>
                  <a:pt x="2393046" y="2405868"/>
                </a:cubicBezTo>
                <a:cubicBezTo>
                  <a:pt x="2426390" y="2377654"/>
                  <a:pt x="2462298" y="2357134"/>
                  <a:pt x="2495642" y="2336616"/>
                </a:cubicBezTo>
                <a:cubicBezTo>
                  <a:pt x="2480252" y="2298143"/>
                  <a:pt x="2464863" y="2259670"/>
                  <a:pt x="2446909" y="2223762"/>
                </a:cubicBezTo>
                <a:close/>
                <a:moveTo>
                  <a:pt x="5081054" y="2187853"/>
                </a:moveTo>
                <a:cubicBezTo>
                  <a:pt x="5088749" y="2185291"/>
                  <a:pt x="5086184" y="2210943"/>
                  <a:pt x="5078489" y="2208377"/>
                </a:cubicBezTo>
                <a:cubicBezTo>
                  <a:pt x="5075924" y="2198112"/>
                  <a:pt x="5083619" y="2198112"/>
                  <a:pt x="5081054" y="2187853"/>
                </a:cubicBezTo>
                <a:close/>
                <a:moveTo>
                  <a:pt x="4178212" y="2177595"/>
                </a:moveTo>
                <a:cubicBezTo>
                  <a:pt x="4183341" y="2177595"/>
                  <a:pt x="4183341" y="2180160"/>
                  <a:pt x="4185907" y="2180160"/>
                </a:cubicBezTo>
                <a:cubicBezTo>
                  <a:pt x="4188471" y="2185288"/>
                  <a:pt x="4183341" y="2187851"/>
                  <a:pt x="4175647" y="2187851"/>
                </a:cubicBezTo>
                <a:cubicBezTo>
                  <a:pt x="4178212" y="2185288"/>
                  <a:pt x="4178212" y="2182726"/>
                  <a:pt x="4178212" y="2177595"/>
                </a:cubicBezTo>
                <a:close/>
                <a:moveTo>
                  <a:pt x="5088749" y="2172478"/>
                </a:moveTo>
                <a:cubicBezTo>
                  <a:pt x="5091313" y="2169911"/>
                  <a:pt x="5093878" y="2190416"/>
                  <a:pt x="5086184" y="2187853"/>
                </a:cubicBezTo>
                <a:cubicBezTo>
                  <a:pt x="5086184" y="2180169"/>
                  <a:pt x="5086184" y="2175038"/>
                  <a:pt x="5088749" y="2172478"/>
                </a:cubicBezTo>
                <a:close/>
                <a:moveTo>
                  <a:pt x="4258044" y="2165427"/>
                </a:moveTo>
                <a:cubicBezTo>
                  <a:pt x="4259647" y="2166064"/>
                  <a:pt x="4261571" y="2167349"/>
                  <a:pt x="4262853" y="2167349"/>
                </a:cubicBezTo>
                <a:cubicBezTo>
                  <a:pt x="4260288" y="2172478"/>
                  <a:pt x="4257723" y="2169914"/>
                  <a:pt x="4255159" y="2167349"/>
                </a:cubicBezTo>
                <a:cubicBezTo>
                  <a:pt x="4255159" y="2164786"/>
                  <a:pt x="4256441" y="2164786"/>
                  <a:pt x="4258044" y="2165427"/>
                </a:cubicBezTo>
                <a:close/>
                <a:moveTo>
                  <a:pt x="5840262" y="2164786"/>
                </a:moveTo>
                <a:cubicBezTo>
                  <a:pt x="5840262" y="2167349"/>
                  <a:pt x="5835132" y="2167349"/>
                  <a:pt x="5832568" y="2167349"/>
                </a:cubicBezTo>
                <a:cubicBezTo>
                  <a:pt x="5832568" y="2164786"/>
                  <a:pt x="5837697" y="2167349"/>
                  <a:pt x="5840262" y="2164786"/>
                </a:cubicBezTo>
                <a:close/>
                <a:moveTo>
                  <a:pt x="4998978" y="2162224"/>
                </a:moveTo>
                <a:cubicBezTo>
                  <a:pt x="5004107" y="2164786"/>
                  <a:pt x="5001542" y="2185291"/>
                  <a:pt x="4998978" y="2187856"/>
                </a:cubicBezTo>
                <a:cubicBezTo>
                  <a:pt x="4988718" y="2182731"/>
                  <a:pt x="5001542" y="2172478"/>
                  <a:pt x="4998978" y="2162224"/>
                </a:cubicBezTo>
                <a:close/>
                <a:moveTo>
                  <a:pt x="5101891" y="2162072"/>
                </a:moveTo>
                <a:lnTo>
                  <a:pt x="5101573" y="2162210"/>
                </a:lnTo>
                <a:lnTo>
                  <a:pt x="5101091" y="2162133"/>
                </a:lnTo>
                <a:close/>
                <a:moveTo>
                  <a:pt x="5201604" y="2159651"/>
                </a:moveTo>
                <a:cubicBezTo>
                  <a:pt x="5204169" y="2162215"/>
                  <a:pt x="5196474" y="2172472"/>
                  <a:pt x="5186215" y="2172472"/>
                </a:cubicBezTo>
                <a:cubicBezTo>
                  <a:pt x="5191344" y="2164781"/>
                  <a:pt x="5199039" y="2164781"/>
                  <a:pt x="5201604" y="2159651"/>
                </a:cubicBezTo>
                <a:close/>
                <a:moveTo>
                  <a:pt x="5132353" y="2157089"/>
                </a:moveTo>
                <a:cubicBezTo>
                  <a:pt x="5111833" y="2203244"/>
                  <a:pt x="5101574" y="2246854"/>
                  <a:pt x="5081055" y="2293030"/>
                </a:cubicBezTo>
                <a:cubicBezTo>
                  <a:pt x="5083620" y="2275074"/>
                  <a:pt x="5068229" y="2257119"/>
                  <a:pt x="5083620" y="2239161"/>
                </a:cubicBezTo>
                <a:cubicBezTo>
                  <a:pt x="5075924" y="2236595"/>
                  <a:pt x="5075924" y="2218637"/>
                  <a:pt x="5081055" y="2213505"/>
                </a:cubicBezTo>
                <a:cubicBezTo>
                  <a:pt x="5086184" y="2213505"/>
                  <a:pt x="5083620" y="2234027"/>
                  <a:pt x="5086184" y="2218637"/>
                </a:cubicBezTo>
                <a:cubicBezTo>
                  <a:pt x="5088749" y="2223768"/>
                  <a:pt x="5086184" y="2246854"/>
                  <a:pt x="5083620" y="2257119"/>
                </a:cubicBezTo>
                <a:cubicBezTo>
                  <a:pt x="5106704" y="2239161"/>
                  <a:pt x="5104139" y="2190416"/>
                  <a:pt x="5132353" y="2157089"/>
                </a:cubicBezTo>
                <a:close/>
                <a:moveTo>
                  <a:pt x="5071635" y="2156079"/>
                </a:moveTo>
                <a:cubicBezTo>
                  <a:pt x="5072798" y="2156518"/>
                  <a:pt x="5075443" y="2157560"/>
                  <a:pt x="5078809" y="2158683"/>
                </a:cubicBezTo>
                <a:lnTo>
                  <a:pt x="5101091" y="2162133"/>
                </a:lnTo>
                <a:lnTo>
                  <a:pt x="5091674" y="2162890"/>
                </a:lnTo>
                <a:cubicBezTo>
                  <a:pt x="5084900" y="2162210"/>
                  <a:pt x="5078488" y="2160287"/>
                  <a:pt x="5073358" y="2157081"/>
                </a:cubicBezTo>
                <a:cubicBezTo>
                  <a:pt x="5070793" y="2155796"/>
                  <a:pt x="5070473" y="2155638"/>
                  <a:pt x="5071635" y="2156079"/>
                </a:cubicBezTo>
                <a:close/>
                <a:moveTo>
                  <a:pt x="5619682" y="2152606"/>
                </a:moveTo>
                <a:cubicBezTo>
                  <a:pt x="5620965" y="2152606"/>
                  <a:pt x="5622247" y="2153251"/>
                  <a:pt x="5622247" y="2154529"/>
                </a:cubicBezTo>
                <a:cubicBezTo>
                  <a:pt x="5622247" y="2157099"/>
                  <a:pt x="5619682" y="2154529"/>
                  <a:pt x="5617117" y="2154529"/>
                </a:cubicBezTo>
                <a:cubicBezTo>
                  <a:pt x="5617117" y="2153251"/>
                  <a:pt x="5618400" y="2152606"/>
                  <a:pt x="5619682" y="2152606"/>
                </a:cubicBezTo>
                <a:close/>
                <a:moveTo>
                  <a:pt x="5019496" y="2149398"/>
                </a:moveTo>
                <a:cubicBezTo>
                  <a:pt x="5022061" y="2164783"/>
                  <a:pt x="5016931" y="2198112"/>
                  <a:pt x="5006672" y="2216074"/>
                </a:cubicBezTo>
                <a:cubicBezTo>
                  <a:pt x="4991281" y="2190416"/>
                  <a:pt x="5019496" y="2172478"/>
                  <a:pt x="5019496" y="2149398"/>
                </a:cubicBezTo>
                <a:close/>
                <a:moveTo>
                  <a:pt x="4952810" y="2144257"/>
                </a:moveTo>
                <a:cubicBezTo>
                  <a:pt x="4960504" y="2139126"/>
                  <a:pt x="4960504" y="2151951"/>
                  <a:pt x="4952810" y="2151951"/>
                </a:cubicBezTo>
                <a:cubicBezTo>
                  <a:pt x="4952810" y="2149389"/>
                  <a:pt x="4952810" y="2146825"/>
                  <a:pt x="4952810" y="2144257"/>
                </a:cubicBezTo>
                <a:close/>
                <a:moveTo>
                  <a:pt x="6496875" y="2139143"/>
                </a:moveTo>
                <a:cubicBezTo>
                  <a:pt x="6507135" y="2141711"/>
                  <a:pt x="6499440" y="2154530"/>
                  <a:pt x="6491746" y="2154530"/>
                </a:cubicBezTo>
                <a:cubicBezTo>
                  <a:pt x="6491746" y="2146842"/>
                  <a:pt x="6496875" y="2146842"/>
                  <a:pt x="6496875" y="2139143"/>
                </a:cubicBezTo>
                <a:close/>
                <a:moveTo>
                  <a:pt x="5137481" y="2136563"/>
                </a:moveTo>
                <a:cubicBezTo>
                  <a:pt x="5136199" y="2149387"/>
                  <a:pt x="5125298" y="2157723"/>
                  <a:pt x="5112153" y="2161246"/>
                </a:cubicBezTo>
                <a:lnTo>
                  <a:pt x="5101891" y="2162072"/>
                </a:lnTo>
                <a:lnTo>
                  <a:pt x="5124336" y="2152274"/>
                </a:lnTo>
                <a:cubicBezTo>
                  <a:pt x="5129787" y="2147465"/>
                  <a:pt x="5133634" y="2141692"/>
                  <a:pt x="5137481" y="2136563"/>
                </a:cubicBezTo>
                <a:close/>
                <a:moveTo>
                  <a:pt x="6619990" y="2134015"/>
                </a:moveTo>
                <a:cubicBezTo>
                  <a:pt x="6619990" y="2134015"/>
                  <a:pt x="6622555" y="2134015"/>
                  <a:pt x="6625120" y="2134015"/>
                </a:cubicBezTo>
                <a:cubicBezTo>
                  <a:pt x="6625120" y="2134015"/>
                  <a:pt x="6625120" y="2136576"/>
                  <a:pt x="6625120" y="2139143"/>
                </a:cubicBezTo>
                <a:cubicBezTo>
                  <a:pt x="6622555" y="2139143"/>
                  <a:pt x="6622555" y="2139143"/>
                  <a:pt x="6619990" y="2139143"/>
                </a:cubicBezTo>
                <a:cubicBezTo>
                  <a:pt x="6619990" y="2136576"/>
                  <a:pt x="6619990" y="2136576"/>
                  <a:pt x="6619990" y="2134015"/>
                </a:cubicBezTo>
                <a:close/>
                <a:moveTo>
                  <a:pt x="2836773" y="2105806"/>
                </a:moveTo>
                <a:cubicBezTo>
                  <a:pt x="2844467" y="2103240"/>
                  <a:pt x="2847032" y="2110938"/>
                  <a:pt x="2847032" y="2118632"/>
                </a:cubicBezTo>
                <a:cubicBezTo>
                  <a:pt x="2836773" y="2121198"/>
                  <a:pt x="2836773" y="2116067"/>
                  <a:pt x="2836773" y="2105806"/>
                </a:cubicBezTo>
                <a:close/>
                <a:moveTo>
                  <a:pt x="5147742" y="2095534"/>
                </a:moveTo>
                <a:cubicBezTo>
                  <a:pt x="5147742" y="2100666"/>
                  <a:pt x="5145177" y="2103231"/>
                  <a:pt x="5142612" y="2108361"/>
                </a:cubicBezTo>
                <a:cubicBezTo>
                  <a:pt x="5134917" y="2105796"/>
                  <a:pt x="5140047" y="2092970"/>
                  <a:pt x="5147742" y="2095534"/>
                </a:cubicBezTo>
                <a:close/>
                <a:moveTo>
                  <a:pt x="5255067" y="2092603"/>
                </a:moveTo>
                <a:cubicBezTo>
                  <a:pt x="5252903" y="2094888"/>
                  <a:pt x="5241360" y="2102583"/>
                  <a:pt x="5252902" y="2092963"/>
                </a:cubicBezTo>
                <a:cubicBezTo>
                  <a:pt x="5255467" y="2091680"/>
                  <a:pt x="5255788" y="2091841"/>
                  <a:pt x="5255067" y="2092603"/>
                </a:cubicBezTo>
                <a:close/>
                <a:moveTo>
                  <a:pt x="4129479" y="2090399"/>
                </a:moveTo>
                <a:cubicBezTo>
                  <a:pt x="4137174" y="2095530"/>
                  <a:pt x="4129479" y="2110921"/>
                  <a:pt x="4129479" y="2092966"/>
                </a:cubicBezTo>
                <a:cubicBezTo>
                  <a:pt x="4121785" y="2092966"/>
                  <a:pt x="4124349" y="2090399"/>
                  <a:pt x="4129479" y="2090399"/>
                </a:cubicBezTo>
                <a:close/>
                <a:moveTo>
                  <a:pt x="4119220" y="2080144"/>
                </a:moveTo>
                <a:cubicBezTo>
                  <a:pt x="4121785" y="2080144"/>
                  <a:pt x="4121785" y="2085272"/>
                  <a:pt x="4126914" y="2085272"/>
                </a:cubicBezTo>
                <a:cubicBezTo>
                  <a:pt x="4126914" y="2087840"/>
                  <a:pt x="4121785" y="2087840"/>
                  <a:pt x="4119220" y="2087840"/>
                </a:cubicBezTo>
                <a:cubicBezTo>
                  <a:pt x="4119220" y="2085272"/>
                  <a:pt x="4119220" y="2082712"/>
                  <a:pt x="4119220" y="2080144"/>
                </a:cubicBezTo>
                <a:close/>
                <a:moveTo>
                  <a:pt x="3926852" y="2080128"/>
                </a:moveTo>
                <a:cubicBezTo>
                  <a:pt x="3924287" y="2087822"/>
                  <a:pt x="3924287" y="2095516"/>
                  <a:pt x="3921722" y="2103211"/>
                </a:cubicBezTo>
                <a:cubicBezTo>
                  <a:pt x="3934547" y="2108341"/>
                  <a:pt x="3947371" y="2110906"/>
                  <a:pt x="3960196" y="2116035"/>
                </a:cubicBezTo>
                <a:cubicBezTo>
                  <a:pt x="3960196" y="2116035"/>
                  <a:pt x="3960196" y="2113470"/>
                  <a:pt x="3955066" y="2110906"/>
                </a:cubicBezTo>
                <a:cubicBezTo>
                  <a:pt x="3957631" y="2108341"/>
                  <a:pt x="3960196" y="2108341"/>
                  <a:pt x="3962760" y="2108341"/>
                </a:cubicBezTo>
                <a:cubicBezTo>
                  <a:pt x="3960196" y="2103211"/>
                  <a:pt x="3952501" y="2103211"/>
                  <a:pt x="3955066" y="2092951"/>
                </a:cubicBezTo>
                <a:cubicBezTo>
                  <a:pt x="3947371" y="2095516"/>
                  <a:pt x="3942242" y="2090386"/>
                  <a:pt x="3939677" y="2098082"/>
                </a:cubicBezTo>
                <a:cubicBezTo>
                  <a:pt x="3937111" y="2095516"/>
                  <a:pt x="3934547" y="2090386"/>
                  <a:pt x="3934547" y="2087822"/>
                </a:cubicBezTo>
                <a:cubicBezTo>
                  <a:pt x="3931982" y="2087822"/>
                  <a:pt x="3931982" y="2087822"/>
                  <a:pt x="3929417" y="2087822"/>
                </a:cubicBezTo>
                <a:cubicBezTo>
                  <a:pt x="3929417" y="2085258"/>
                  <a:pt x="3926852" y="2082693"/>
                  <a:pt x="3926852" y="2080128"/>
                </a:cubicBezTo>
                <a:close/>
                <a:moveTo>
                  <a:pt x="3919157" y="2077563"/>
                </a:moveTo>
                <a:cubicBezTo>
                  <a:pt x="3919157" y="2077563"/>
                  <a:pt x="3918516" y="2077563"/>
                  <a:pt x="3918195" y="2077883"/>
                </a:cubicBezTo>
                <a:lnTo>
                  <a:pt x="3918302" y="2078133"/>
                </a:lnTo>
                <a:lnTo>
                  <a:pt x="3917234" y="2078845"/>
                </a:lnTo>
                <a:cubicBezTo>
                  <a:pt x="3917234" y="2078845"/>
                  <a:pt x="3917875" y="2078845"/>
                  <a:pt x="3919157" y="2080128"/>
                </a:cubicBezTo>
                <a:cubicBezTo>
                  <a:pt x="3919157" y="2080128"/>
                  <a:pt x="3916593" y="2080128"/>
                  <a:pt x="3916593" y="2080128"/>
                </a:cubicBezTo>
                <a:cubicBezTo>
                  <a:pt x="3911463" y="2085258"/>
                  <a:pt x="3906333" y="2087822"/>
                  <a:pt x="3901203" y="2092951"/>
                </a:cubicBezTo>
                <a:cubicBezTo>
                  <a:pt x="3901203" y="2095516"/>
                  <a:pt x="3903768" y="2095516"/>
                  <a:pt x="3903768" y="2098082"/>
                </a:cubicBezTo>
                <a:cubicBezTo>
                  <a:pt x="3908898" y="2100646"/>
                  <a:pt x="3911463" y="2100646"/>
                  <a:pt x="3916593" y="2103211"/>
                </a:cubicBezTo>
                <a:cubicBezTo>
                  <a:pt x="3916593" y="2098082"/>
                  <a:pt x="3919157" y="2090386"/>
                  <a:pt x="3919157" y="2085258"/>
                </a:cubicBezTo>
                <a:cubicBezTo>
                  <a:pt x="3919157" y="2082693"/>
                  <a:pt x="3919157" y="2082693"/>
                  <a:pt x="3919157" y="2080128"/>
                </a:cubicBezTo>
                <a:lnTo>
                  <a:pt x="3918302" y="2078133"/>
                </a:lnTo>
                <a:close/>
                <a:moveTo>
                  <a:pt x="4121785" y="2075009"/>
                </a:moveTo>
                <a:cubicBezTo>
                  <a:pt x="4121785" y="2073729"/>
                  <a:pt x="4126273" y="2073729"/>
                  <a:pt x="4130441" y="2075009"/>
                </a:cubicBezTo>
                <a:cubicBezTo>
                  <a:pt x="4134609" y="2076293"/>
                  <a:pt x="4138456" y="2078855"/>
                  <a:pt x="4137174" y="2082704"/>
                </a:cubicBezTo>
                <a:cubicBezTo>
                  <a:pt x="4132044" y="2080138"/>
                  <a:pt x="4126914" y="2077575"/>
                  <a:pt x="4121785" y="2075009"/>
                </a:cubicBezTo>
                <a:close/>
                <a:moveTo>
                  <a:pt x="5140046" y="2072452"/>
                </a:moveTo>
                <a:cubicBezTo>
                  <a:pt x="5147741" y="2075015"/>
                  <a:pt x="5140046" y="2085272"/>
                  <a:pt x="5140046" y="2090405"/>
                </a:cubicBezTo>
                <a:cubicBezTo>
                  <a:pt x="5132352" y="2087840"/>
                  <a:pt x="5142611" y="2080143"/>
                  <a:pt x="5140046" y="2072452"/>
                </a:cubicBezTo>
                <a:close/>
                <a:moveTo>
                  <a:pt x="2364831" y="2064738"/>
                </a:moveTo>
                <a:cubicBezTo>
                  <a:pt x="2364831" y="2080128"/>
                  <a:pt x="2367396" y="2092951"/>
                  <a:pt x="2369962" y="2103211"/>
                </a:cubicBezTo>
                <a:cubicBezTo>
                  <a:pt x="2369962" y="2095516"/>
                  <a:pt x="2372526" y="2087822"/>
                  <a:pt x="2375091" y="2080128"/>
                </a:cubicBezTo>
                <a:cubicBezTo>
                  <a:pt x="2372526" y="2074997"/>
                  <a:pt x="2367396" y="2069868"/>
                  <a:pt x="2364831" y="2064738"/>
                </a:cubicBezTo>
                <a:close/>
                <a:moveTo>
                  <a:pt x="3942242" y="2059609"/>
                </a:moveTo>
                <a:cubicBezTo>
                  <a:pt x="3937111" y="2062174"/>
                  <a:pt x="3934547" y="2064738"/>
                  <a:pt x="3931982" y="2067302"/>
                </a:cubicBezTo>
                <a:cubicBezTo>
                  <a:pt x="3931982" y="2069868"/>
                  <a:pt x="3934547" y="2074997"/>
                  <a:pt x="3939677" y="2072433"/>
                </a:cubicBezTo>
                <a:cubicBezTo>
                  <a:pt x="3939677" y="2069868"/>
                  <a:pt x="3942242" y="2064738"/>
                  <a:pt x="3942242" y="2059609"/>
                </a:cubicBezTo>
                <a:close/>
                <a:moveTo>
                  <a:pt x="3898638" y="2057044"/>
                </a:moveTo>
                <a:cubicBezTo>
                  <a:pt x="3898638" y="2059609"/>
                  <a:pt x="3896073" y="2059609"/>
                  <a:pt x="3896073" y="2062174"/>
                </a:cubicBezTo>
                <a:cubicBezTo>
                  <a:pt x="3898638" y="2059609"/>
                  <a:pt x="3901203" y="2057044"/>
                  <a:pt x="3901203" y="2057044"/>
                </a:cubicBezTo>
                <a:cubicBezTo>
                  <a:pt x="3901203" y="2057044"/>
                  <a:pt x="3898638" y="2057044"/>
                  <a:pt x="3898638" y="2057044"/>
                </a:cubicBezTo>
                <a:close/>
                <a:moveTo>
                  <a:pt x="4437266" y="2054500"/>
                </a:moveTo>
                <a:cubicBezTo>
                  <a:pt x="4437266" y="2054500"/>
                  <a:pt x="4439831" y="2054500"/>
                  <a:pt x="4442396" y="2054500"/>
                </a:cubicBezTo>
                <a:cubicBezTo>
                  <a:pt x="4442396" y="2054500"/>
                  <a:pt x="4442396" y="2057066"/>
                  <a:pt x="4442396" y="2059635"/>
                </a:cubicBezTo>
                <a:cubicBezTo>
                  <a:pt x="4439831" y="2059635"/>
                  <a:pt x="4439831" y="2059635"/>
                  <a:pt x="4437266" y="2059635"/>
                </a:cubicBezTo>
                <a:cubicBezTo>
                  <a:pt x="4437266" y="2059635"/>
                  <a:pt x="4437266" y="2057066"/>
                  <a:pt x="4437266" y="2054500"/>
                </a:cubicBezTo>
                <a:close/>
                <a:moveTo>
                  <a:pt x="5145176" y="2051935"/>
                </a:moveTo>
                <a:cubicBezTo>
                  <a:pt x="5155437" y="2054500"/>
                  <a:pt x="5147741" y="2059629"/>
                  <a:pt x="5145176" y="2064764"/>
                </a:cubicBezTo>
                <a:cubicBezTo>
                  <a:pt x="5137482" y="2062199"/>
                  <a:pt x="5147741" y="2057066"/>
                  <a:pt x="5145176" y="2051935"/>
                </a:cubicBezTo>
                <a:close/>
                <a:moveTo>
                  <a:pt x="3916593" y="2036525"/>
                </a:moveTo>
                <a:cubicBezTo>
                  <a:pt x="3914028" y="2036525"/>
                  <a:pt x="3914028" y="2039090"/>
                  <a:pt x="3911463" y="2041654"/>
                </a:cubicBezTo>
                <a:cubicBezTo>
                  <a:pt x="3914028" y="2039090"/>
                  <a:pt x="3914028" y="2039090"/>
                  <a:pt x="3916593" y="2039090"/>
                </a:cubicBezTo>
                <a:close/>
                <a:moveTo>
                  <a:pt x="3919157" y="2031396"/>
                </a:moveTo>
                <a:cubicBezTo>
                  <a:pt x="3919157" y="2031396"/>
                  <a:pt x="3916593" y="2033960"/>
                  <a:pt x="3916593" y="2033960"/>
                </a:cubicBezTo>
                <a:cubicBezTo>
                  <a:pt x="3919157" y="2033960"/>
                  <a:pt x="3921722" y="2036525"/>
                  <a:pt x="3921722" y="2039090"/>
                </a:cubicBezTo>
                <a:cubicBezTo>
                  <a:pt x="3921722" y="2036525"/>
                  <a:pt x="3919157" y="2033960"/>
                  <a:pt x="3919157" y="2031396"/>
                </a:cubicBezTo>
                <a:close/>
                <a:moveTo>
                  <a:pt x="3885494" y="2023129"/>
                </a:moveTo>
                <a:cubicBezTo>
                  <a:pt x="3887898" y="2025174"/>
                  <a:pt x="3884532" y="2033346"/>
                  <a:pt x="3888379" y="2031423"/>
                </a:cubicBezTo>
                <a:cubicBezTo>
                  <a:pt x="3885814" y="2039113"/>
                  <a:pt x="3878119" y="2031423"/>
                  <a:pt x="3880684" y="2023727"/>
                </a:cubicBezTo>
                <a:cubicBezTo>
                  <a:pt x="3883249" y="2022446"/>
                  <a:pt x="3884692" y="2022447"/>
                  <a:pt x="3885494" y="2023129"/>
                </a:cubicBezTo>
                <a:close/>
                <a:moveTo>
                  <a:pt x="5178521" y="2013462"/>
                </a:moveTo>
                <a:cubicBezTo>
                  <a:pt x="5168261" y="2036542"/>
                  <a:pt x="5163131" y="2075009"/>
                  <a:pt x="5150307" y="2090399"/>
                </a:cubicBezTo>
                <a:cubicBezTo>
                  <a:pt x="5150307" y="2075009"/>
                  <a:pt x="5168261" y="2031414"/>
                  <a:pt x="5178521" y="2013462"/>
                </a:cubicBezTo>
                <a:close/>
                <a:moveTo>
                  <a:pt x="5065665" y="2008330"/>
                </a:moveTo>
                <a:cubicBezTo>
                  <a:pt x="5091314" y="2010899"/>
                  <a:pt x="5086184" y="2031414"/>
                  <a:pt x="5078489" y="2046798"/>
                </a:cubicBezTo>
                <a:cubicBezTo>
                  <a:pt x="5063100" y="2049363"/>
                  <a:pt x="5060535" y="2044233"/>
                  <a:pt x="5055405" y="2046798"/>
                </a:cubicBezTo>
                <a:cubicBezTo>
                  <a:pt x="5052840" y="2046798"/>
                  <a:pt x="5055405" y="2044233"/>
                  <a:pt x="5052840" y="2044233"/>
                </a:cubicBezTo>
                <a:cubicBezTo>
                  <a:pt x="5050276" y="2023718"/>
                  <a:pt x="5055405" y="2021155"/>
                  <a:pt x="5065665" y="2008330"/>
                </a:cubicBezTo>
                <a:close/>
                <a:moveTo>
                  <a:pt x="2334053" y="2005745"/>
                </a:moveTo>
                <a:lnTo>
                  <a:pt x="2357578" y="2042104"/>
                </a:lnTo>
                <a:lnTo>
                  <a:pt x="2357137" y="2044219"/>
                </a:lnTo>
                <a:cubicBezTo>
                  <a:pt x="2349442" y="2031396"/>
                  <a:pt x="2341747" y="2018570"/>
                  <a:pt x="2334053" y="2005745"/>
                </a:cubicBezTo>
                <a:close/>
                <a:moveTo>
                  <a:pt x="5104138" y="1995514"/>
                </a:moveTo>
                <a:cubicBezTo>
                  <a:pt x="5106703" y="1995514"/>
                  <a:pt x="5106703" y="1995514"/>
                  <a:pt x="5109268" y="1995514"/>
                </a:cubicBezTo>
                <a:cubicBezTo>
                  <a:pt x="5109268" y="1995514"/>
                  <a:pt x="5109268" y="1998079"/>
                  <a:pt x="5109268" y="2000642"/>
                </a:cubicBezTo>
                <a:cubicBezTo>
                  <a:pt x="5106703" y="2000642"/>
                  <a:pt x="5104138" y="2000642"/>
                  <a:pt x="5104138" y="2000642"/>
                </a:cubicBezTo>
                <a:cubicBezTo>
                  <a:pt x="5104138" y="2000642"/>
                  <a:pt x="5104138" y="1998079"/>
                  <a:pt x="5104138" y="1995514"/>
                </a:cubicBezTo>
                <a:close/>
                <a:moveTo>
                  <a:pt x="2375091" y="1995486"/>
                </a:moveTo>
                <a:cubicBezTo>
                  <a:pt x="2372526" y="2013442"/>
                  <a:pt x="2367396" y="2028830"/>
                  <a:pt x="2367396" y="2046783"/>
                </a:cubicBezTo>
                <a:cubicBezTo>
                  <a:pt x="2369962" y="2054480"/>
                  <a:pt x="2375091" y="2062174"/>
                  <a:pt x="2380221" y="2069868"/>
                </a:cubicBezTo>
                <a:cubicBezTo>
                  <a:pt x="2385351" y="2059609"/>
                  <a:pt x="2395611" y="2049349"/>
                  <a:pt x="2400741" y="2033960"/>
                </a:cubicBezTo>
                <a:cubicBezTo>
                  <a:pt x="2403306" y="2021137"/>
                  <a:pt x="2393046" y="2016006"/>
                  <a:pt x="2380221" y="2018570"/>
                </a:cubicBezTo>
                <a:cubicBezTo>
                  <a:pt x="2377657" y="2010878"/>
                  <a:pt x="2375091" y="2003181"/>
                  <a:pt x="2375091" y="1995486"/>
                </a:cubicBezTo>
                <a:close/>
                <a:moveTo>
                  <a:pt x="4732670" y="1964606"/>
                </a:moveTo>
                <a:cubicBezTo>
                  <a:pt x="4734954" y="1966168"/>
                  <a:pt x="4735434" y="1978191"/>
                  <a:pt x="4737358" y="1980115"/>
                </a:cubicBezTo>
                <a:cubicBezTo>
                  <a:pt x="4734793" y="1987810"/>
                  <a:pt x="4734793" y="1969855"/>
                  <a:pt x="4729664" y="1967290"/>
                </a:cubicBezTo>
                <a:cubicBezTo>
                  <a:pt x="4730946" y="1964725"/>
                  <a:pt x="4731908" y="1964085"/>
                  <a:pt x="4732670" y="1964606"/>
                </a:cubicBezTo>
                <a:close/>
                <a:moveTo>
                  <a:pt x="4729664" y="1957041"/>
                </a:moveTo>
                <a:cubicBezTo>
                  <a:pt x="4729664" y="1957041"/>
                  <a:pt x="4732228" y="1957041"/>
                  <a:pt x="4734793" y="1957041"/>
                </a:cubicBezTo>
                <a:cubicBezTo>
                  <a:pt x="4734793" y="1957041"/>
                  <a:pt x="4734793" y="1959605"/>
                  <a:pt x="4734793" y="1962170"/>
                </a:cubicBezTo>
                <a:cubicBezTo>
                  <a:pt x="4732228" y="1962170"/>
                  <a:pt x="4732228" y="1962170"/>
                  <a:pt x="4729664" y="1962170"/>
                </a:cubicBezTo>
                <a:cubicBezTo>
                  <a:pt x="4729664" y="1962170"/>
                  <a:pt x="4729664" y="1959605"/>
                  <a:pt x="4729664" y="1957041"/>
                </a:cubicBezTo>
                <a:close/>
                <a:moveTo>
                  <a:pt x="5070795" y="1954476"/>
                </a:moveTo>
                <a:cubicBezTo>
                  <a:pt x="5081055" y="1957041"/>
                  <a:pt x="5073359" y="1967302"/>
                  <a:pt x="5073359" y="1980125"/>
                </a:cubicBezTo>
                <a:cubicBezTo>
                  <a:pt x="5055405" y="1980125"/>
                  <a:pt x="5070795" y="1962170"/>
                  <a:pt x="5070795" y="1954476"/>
                </a:cubicBezTo>
                <a:close/>
                <a:moveTo>
                  <a:pt x="4047402" y="1951883"/>
                </a:moveTo>
                <a:cubicBezTo>
                  <a:pt x="4044837" y="1951883"/>
                  <a:pt x="4044837" y="1954448"/>
                  <a:pt x="4042272" y="1957013"/>
                </a:cubicBezTo>
                <a:cubicBezTo>
                  <a:pt x="4042272" y="1957013"/>
                  <a:pt x="4044837" y="1959578"/>
                  <a:pt x="4044837" y="1962143"/>
                </a:cubicBezTo>
                <a:cubicBezTo>
                  <a:pt x="4044837" y="1959578"/>
                  <a:pt x="4044837" y="1954448"/>
                  <a:pt x="4047402" y="1951883"/>
                </a:cubicBezTo>
                <a:close/>
                <a:moveTo>
                  <a:pt x="4757878" y="1946763"/>
                </a:moveTo>
                <a:cubicBezTo>
                  <a:pt x="4760443" y="1946763"/>
                  <a:pt x="4763008" y="1951895"/>
                  <a:pt x="4763008" y="1957025"/>
                </a:cubicBezTo>
                <a:cubicBezTo>
                  <a:pt x="4755313" y="1957025"/>
                  <a:pt x="4757878" y="1951895"/>
                  <a:pt x="4757878" y="1946763"/>
                </a:cubicBezTo>
                <a:close/>
                <a:moveTo>
                  <a:pt x="6584081" y="1941649"/>
                </a:moveTo>
                <a:cubicBezTo>
                  <a:pt x="6591776" y="1949344"/>
                  <a:pt x="6578951" y="1964737"/>
                  <a:pt x="6568691" y="1972431"/>
                </a:cubicBezTo>
                <a:cubicBezTo>
                  <a:pt x="6571256" y="1959607"/>
                  <a:pt x="6578951" y="1949344"/>
                  <a:pt x="6584081" y="1941649"/>
                </a:cubicBezTo>
                <a:close/>
                <a:moveTo>
                  <a:pt x="1367088" y="1939059"/>
                </a:moveTo>
                <a:cubicBezTo>
                  <a:pt x="1361958" y="1954448"/>
                  <a:pt x="1349133" y="1964708"/>
                  <a:pt x="1354263" y="1982662"/>
                </a:cubicBezTo>
                <a:cubicBezTo>
                  <a:pt x="1359393" y="1969837"/>
                  <a:pt x="1364523" y="1954448"/>
                  <a:pt x="1367088" y="1939059"/>
                </a:cubicBezTo>
                <a:close/>
                <a:moveTo>
                  <a:pt x="3890944" y="1936517"/>
                </a:moveTo>
                <a:cubicBezTo>
                  <a:pt x="3896073" y="1939084"/>
                  <a:pt x="3901204" y="1944214"/>
                  <a:pt x="3898638" y="1954476"/>
                </a:cubicBezTo>
                <a:cubicBezTo>
                  <a:pt x="3893508" y="1951911"/>
                  <a:pt x="3883249" y="1944214"/>
                  <a:pt x="3890944" y="1936517"/>
                </a:cubicBezTo>
                <a:close/>
                <a:moveTo>
                  <a:pt x="5564893" y="1920791"/>
                </a:moveTo>
                <a:lnTo>
                  <a:pt x="5570949" y="1928799"/>
                </a:lnTo>
                <a:cubicBezTo>
                  <a:pt x="5568384" y="1928799"/>
                  <a:pt x="5568384" y="1931364"/>
                  <a:pt x="5565819" y="1931364"/>
                </a:cubicBezTo>
                <a:lnTo>
                  <a:pt x="5564266" y="1929275"/>
                </a:lnTo>
                <a:close/>
                <a:moveTo>
                  <a:pt x="5780584" y="1914603"/>
                </a:moveTo>
                <a:lnTo>
                  <a:pt x="5783835" y="1921104"/>
                </a:lnTo>
                <a:lnTo>
                  <a:pt x="5780079" y="1920854"/>
                </a:lnTo>
                <a:lnTo>
                  <a:pt x="5781270" y="1915975"/>
                </a:lnTo>
                <a:lnTo>
                  <a:pt x="5775431" y="1920544"/>
                </a:lnTo>
                <a:lnTo>
                  <a:pt x="5774216" y="1920463"/>
                </a:lnTo>
                <a:cubicBezTo>
                  <a:pt x="5771651" y="1921105"/>
                  <a:pt x="5769727" y="1922387"/>
                  <a:pt x="5768445" y="1923669"/>
                </a:cubicBezTo>
                <a:lnTo>
                  <a:pt x="5773917" y="1916830"/>
                </a:lnTo>
                <a:lnTo>
                  <a:pt x="5773575" y="1918540"/>
                </a:lnTo>
                <a:close/>
                <a:moveTo>
                  <a:pt x="3839646" y="1910845"/>
                </a:moveTo>
                <a:cubicBezTo>
                  <a:pt x="3837081" y="1918540"/>
                  <a:pt x="3831951" y="1923669"/>
                  <a:pt x="3829386" y="1928799"/>
                </a:cubicBezTo>
                <a:cubicBezTo>
                  <a:pt x="3821691" y="1939059"/>
                  <a:pt x="3816562" y="1949318"/>
                  <a:pt x="3808867" y="1959578"/>
                </a:cubicBezTo>
                <a:cubicBezTo>
                  <a:pt x="3806302" y="1967273"/>
                  <a:pt x="3803737" y="1974967"/>
                  <a:pt x="3801172" y="1982662"/>
                </a:cubicBezTo>
                <a:cubicBezTo>
                  <a:pt x="3806302" y="1982662"/>
                  <a:pt x="3811432" y="1982662"/>
                  <a:pt x="3819127" y="1985227"/>
                </a:cubicBezTo>
                <a:cubicBezTo>
                  <a:pt x="3813997" y="1998051"/>
                  <a:pt x="3811432" y="2010878"/>
                  <a:pt x="3808867" y="2023701"/>
                </a:cubicBezTo>
                <a:cubicBezTo>
                  <a:pt x="3811432" y="2013442"/>
                  <a:pt x="3816562" y="2000616"/>
                  <a:pt x="3819127" y="1990357"/>
                </a:cubicBezTo>
                <a:cubicBezTo>
                  <a:pt x="3826821" y="1964708"/>
                  <a:pt x="3831951" y="1936494"/>
                  <a:pt x="3839646" y="1910845"/>
                </a:cubicBezTo>
                <a:close/>
                <a:moveTo>
                  <a:pt x="1364523" y="1908280"/>
                </a:moveTo>
                <a:cubicBezTo>
                  <a:pt x="1367088" y="1913410"/>
                  <a:pt x="1367088" y="1918540"/>
                  <a:pt x="1367088" y="1921104"/>
                </a:cubicBezTo>
                <a:cubicBezTo>
                  <a:pt x="1367088" y="1915975"/>
                  <a:pt x="1369653" y="1913410"/>
                  <a:pt x="1367088" y="1908280"/>
                </a:cubicBezTo>
                <a:cubicBezTo>
                  <a:pt x="1367088" y="1908280"/>
                  <a:pt x="1367088" y="1908280"/>
                  <a:pt x="1364523" y="1908280"/>
                </a:cubicBezTo>
                <a:close/>
                <a:moveTo>
                  <a:pt x="4103830" y="1900595"/>
                </a:moveTo>
                <a:cubicBezTo>
                  <a:pt x="4101265" y="1905724"/>
                  <a:pt x="4101265" y="1910855"/>
                  <a:pt x="4098700" y="1913420"/>
                </a:cubicBezTo>
                <a:cubicBezTo>
                  <a:pt x="4096136" y="1910855"/>
                  <a:pt x="4093571" y="1908289"/>
                  <a:pt x="4093571" y="1903161"/>
                </a:cubicBezTo>
                <a:cubicBezTo>
                  <a:pt x="4098700" y="1903161"/>
                  <a:pt x="4098700" y="1900595"/>
                  <a:pt x="4103830" y="1900595"/>
                </a:cubicBezTo>
                <a:close/>
                <a:moveTo>
                  <a:pt x="3903127" y="1899970"/>
                </a:moveTo>
                <a:cubicBezTo>
                  <a:pt x="3906334" y="1899971"/>
                  <a:pt x="3908898" y="1901894"/>
                  <a:pt x="3901203" y="1905742"/>
                </a:cubicBezTo>
                <a:cubicBezTo>
                  <a:pt x="3896073" y="1901894"/>
                  <a:pt x="3899921" y="1899971"/>
                  <a:pt x="3903127" y="1899970"/>
                </a:cubicBezTo>
                <a:close/>
                <a:moveTo>
                  <a:pt x="5122092" y="1890344"/>
                </a:moveTo>
                <a:cubicBezTo>
                  <a:pt x="5127222" y="1890344"/>
                  <a:pt x="5119527" y="1903167"/>
                  <a:pt x="5119527" y="1905732"/>
                </a:cubicBezTo>
                <a:cubicBezTo>
                  <a:pt x="5111833" y="1903167"/>
                  <a:pt x="5122092" y="1895472"/>
                  <a:pt x="5122092" y="1890344"/>
                </a:cubicBezTo>
                <a:close/>
                <a:moveTo>
                  <a:pt x="3880684" y="1887779"/>
                </a:moveTo>
                <a:cubicBezTo>
                  <a:pt x="3893508" y="1905732"/>
                  <a:pt x="3885813" y="1915992"/>
                  <a:pt x="3880684" y="1887779"/>
                </a:cubicBezTo>
                <a:close/>
                <a:moveTo>
                  <a:pt x="2600802" y="1877501"/>
                </a:moveTo>
                <a:cubicBezTo>
                  <a:pt x="2590543" y="1908280"/>
                  <a:pt x="2559764" y="1918540"/>
                  <a:pt x="2534115" y="1933929"/>
                </a:cubicBezTo>
                <a:cubicBezTo>
                  <a:pt x="2570025" y="2039090"/>
                  <a:pt x="2449474" y="2018570"/>
                  <a:pt x="2464863" y="2118599"/>
                </a:cubicBezTo>
                <a:cubicBezTo>
                  <a:pt x="2452039" y="2128861"/>
                  <a:pt x="2444345" y="2141684"/>
                  <a:pt x="2434084" y="2154509"/>
                </a:cubicBezTo>
                <a:cubicBezTo>
                  <a:pt x="2436649" y="2157073"/>
                  <a:pt x="2439214" y="2159638"/>
                  <a:pt x="2441779" y="2162202"/>
                </a:cubicBezTo>
                <a:cubicBezTo>
                  <a:pt x="2469993" y="2167332"/>
                  <a:pt x="2498207" y="2159638"/>
                  <a:pt x="2528985" y="2141684"/>
                </a:cubicBezTo>
                <a:cubicBezTo>
                  <a:pt x="2500772" y="2159638"/>
                  <a:pt x="2472558" y="2167332"/>
                  <a:pt x="2444345" y="2167332"/>
                </a:cubicBezTo>
                <a:cubicBezTo>
                  <a:pt x="2449474" y="2175028"/>
                  <a:pt x="2454604" y="2185285"/>
                  <a:pt x="2464863" y="2190416"/>
                </a:cubicBezTo>
                <a:cubicBezTo>
                  <a:pt x="2459733" y="2195544"/>
                  <a:pt x="2457168" y="2200675"/>
                  <a:pt x="2454604" y="2205806"/>
                </a:cubicBezTo>
                <a:cubicBezTo>
                  <a:pt x="2472558" y="2244283"/>
                  <a:pt x="2490512" y="2282755"/>
                  <a:pt x="2505901" y="2323792"/>
                </a:cubicBezTo>
                <a:cubicBezTo>
                  <a:pt x="2546940" y="2298143"/>
                  <a:pt x="2585413" y="2272495"/>
                  <a:pt x="2618757" y="2241718"/>
                </a:cubicBezTo>
                <a:cubicBezTo>
                  <a:pt x="2629016" y="2254542"/>
                  <a:pt x="2641841" y="2264801"/>
                  <a:pt x="2654665" y="2272495"/>
                </a:cubicBezTo>
                <a:cubicBezTo>
                  <a:pt x="2664926" y="2267366"/>
                  <a:pt x="2672619" y="2262236"/>
                  <a:pt x="2682879" y="2257108"/>
                </a:cubicBezTo>
                <a:cubicBezTo>
                  <a:pt x="2682879" y="2254542"/>
                  <a:pt x="2680314" y="2251977"/>
                  <a:pt x="2680314" y="2249412"/>
                </a:cubicBezTo>
                <a:cubicBezTo>
                  <a:pt x="2680314" y="2246846"/>
                  <a:pt x="2690574" y="2249412"/>
                  <a:pt x="2690574" y="2244283"/>
                </a:cubicBezTo>
                <a:cubicBezTo>
                  <a:pt x="2695703" y="2244283"/>
                  <a:pt x="2698269" y="2246846"/>
                  <a:pt x="2698269" y="2249412"/>
                </a:cubicBezTo>
                <a:cubicBezTo>
                  <a:pt x="2716223" y="2239152"/>
                  <a:pt x="2736742" y="2228893"/>
                  <a:pt x="2759827" y="2213500"/>
                </a:cubicBezTo>
                <a:cubicBezTo>
                  <a:pt x="2723917" y="2162202"/>
                  <a:pt x="2700833" y="2090386"/>
                  <a:pt x="2677749" y="2023701"/>
                </a:cubicBezTo>
                <a:cubicBezTo>
                  <a:pt x="2662360" y="1977532"/>
                  <a:pt x="2644406" y="1933929"/>
                  <a:pt x="2621321" y="1900585"/>
                </a:cubicBezTo>
                <a:cubicBezTo>
                  <a:pt x="2613627" y="1892891"/>
                  <a:pt x="2608497" y="1885196"/>
                  <a:pt x="2600802" y="1877501"/>
                </a:cubicBezTo>
                <a:close/>
                <a:moveTo>
                  <a:pt x="1390172" y="1877501"/>
                </a:moveTo>
                <a:cubicBezTo>
                  <a:pt x="1385042" y="1880066"/>
                  <a:pt x="1385042" y="1890326"/>
                  <a:pt x="1385042" y="1898020"/>
                </a:cubicBezTo>
                <a:cubicBezTo>
                  <a:pt x="1392737" y="1895455"/>
                  <a:pt x="1400431" y="1895455"/>
                  <a:pt x="1410691" y="1895455"/>
                </a:cubicBezTo>
                <a:cubicBezTo>
                  <a:pt x="1415821" y="1890326"/>
                  <a:pt x="1418386" y="1885196"/>
                  <a:pt x="1420950" y="1882631"/>
                </a:cubicBezTo>
                <a:cubicBezTo>
                  <a:pt x="1410691" y="1880066"/>
                  <a:pt x="1402996" y="1877501"/>
                  <a:pt x="1390172" y="1877501"/>
                </a:cubicBezTo>
                <a:close/>
                <a:moveTo>
                  <a:pt x="2841902" y="1867242"/>
                </a:moveTo>
                <a:cubicBezTo>
                  <a:pt x="2831643" y="1882631"/>
                  <a:pt x="2821383" y="1900585"/>
                  <a:pt x="2813688" y="1921104"/>
                </a:cubicBezTo>
                <a:cubicBezTo>
                  <a:pt x="2803429" y="1949318"/>
                  <a:pt x="2803429" y="1982662"/>
                  <a:pt x="2782911" y="2003181"/>
                </a:cubicBezTo>
                <a:cubicBezTo>
                  <a:pt x="2805994" y="2062174"/>
                  <a:pt x="2831643" y="2118599"/>
                  <a:pt x="2859857" y="2167332"/>
                </a:cubicBezTo>
                <a:cubicBezTo>
                  <a:pt x="2893200" y="2154509"/>
                  <a:pt x="2929109" y="2139120"/>
                  <a:pt x="2959887" y="2126297"/>
                </a:cubicBezTo>
                <a:cubicBezTo>
                  <a:pt x="2953475" y="2114753"/>
                  <a:pt x="2945780" y="2104493"/>
                  <a:pt x="2936803" y="2095517"/>
                </a:cubicBezTo>
                <a:lnTo>
                  <a:pt x="2918069" y="2081466"/>
                </a:lnTo>
                <a:lnTo>
                  <a:pt x="2906441" y="2067673"/>
                </a:lnTo>
                <a:lnTo>
                  <a:pt x="2908790" y="2040812"/>
                </a:lnTo>
                <a:cubicBezTo>
                  <a:pt x="2904102" y="2016647"/>
                  <a:pt x="2881018" y="2010876"/>
                  <a:pt x="2875246" y="1987792"/>
                </a:cubicBezTo>
                <a:cubicBezTo>
                  <a:pt x="2890635" y="1985227"/>
                  <a:pt x="2895765" y="1995486"/>
                  <a:pt x="2906025" y="1998051"/>
                </a:cubicBezTo>
                <a:cubicBezTo>
                  <a:pt x="2903460" y="1974967"/>
                  <a:pt x="2877812" y="1972402"/>
                  <a:pt x="2870116" y="1951883"/>
                </a:cubicBezTo>
                <a:cubicBezTo>
                  <a:pt x="2872681" y="1939059"/>
                  <a:pt x="2875246" y="1931364"/>
                  <a:pt x="2875246" y="1921104"/>
                </a:cubicBezTo>
                <a:cubicBezTo>
                  <a:pt x="2864986" y="1910845"/>
                  <a:pt x="2857292" y="1898020"/>
                  <a:pt x="2849597" y="1885196"/>
                </a:cubicBezTo>
                <a:cubicBezTo>
                  <a:pt x="2847032" y="1913410"/>
                  <a:pt x="2849597" y="1941624"/>
                  <a:pt x="2854728" y="1967273"/>
                </a:cubicBezTo>
                <a:cubicBezTo>
                  <a:pt x="2862421" y="1998052"/>
                  <a:pt x="2873963" y="2023701"/>
                  <a:pt x="2887750" y="2045502"/>
                </a:cubicBezTo>
                <a:lnTo>
                  <a:pt x="2906441" y="2067673"/>
                </a:lnTo>
                <a:lnTo>
                  <a:pt x="2906025" y="2072433"/>
                </a:lnTo>
                <a:lnTo>
                  <a:pt x="2918069" y="2081466"/>
                </a:lnTo>
                <a:lnTo>
                  <a:pt x="2934239" y="2100646"/>
                </a:lnTo>
                <a:lnTo>
                  <a:pt x="2926544" y="2118599"/>
                </a:lnTo>
                <a:cubicBezTo>
                  <a:pt x="2893200" y="2087822"/>
                  <a:pt x="2859857" y="2044219"/>
                  <a:pt x="2847032" y="1977532"/>
                </a:cubicBezTo>
                <a:cubicBezTo>
                  <a:pt x="2841902" y="1946753"/>
                  <a:pt x="2839337" y="1908280"/>
                  <a:pt x="2844467" y="1872371"/>
                </a:cubicBezTo>
                <a:cubicBezTo>
                  <a:pt x="2844467" y="1869807"/>
                  <a:pt x="2841902" y="1869807"/>
                  <a:pt x="2841902" y="1867242"/>
                </a:cubicBezTo>
                <a:close/>
                <a:moveTo>
                  <a:pt x="3931249" y="1861868"/>
                </a:moveTo>
                <a:lnTo>
                  <a:pt x="3931982" y="1862112"/>
                </a:lnTo>
                <a:lnTo>
                  <a:pt x="3931982" y="1943272"/>
                </a:lnTo>
                <a:lnTo>
                  <a:pt x="3929417" y="1944188"/>
                </a:lnTo>
                <a:cubicBezTo>
                  <a:pt x="3929417" y="1918540"/>
                  <a:pt x="3926852" y="1892891"/>
                  <a:pt x="3926852" y="1864677"/>
                </a:cubicBezTo>
                <a:close/>
                <a:moveTo>
                  <a:pt x="2477687" y="1856982"/>
                </a:moveTo>
                <a:cubicBezTo>
                  <a:pt x="2459733" y="1864677"/>
                  <a:pt x="2441779" y="1877501"/>
                  <a:pt x="2426390" y="1895455"/>
                </a:cubicBezTo>
                <a:cubicBezTo>
                  <a:pt x="2421261" y="1898020"/>
                  <a:pt x="2416130" y="1903150"/>
                  <a:pt x="2413565" y="1908280"/>
                </a:cubicBezTo>
                <a:cubicBezTo>
                  <a:pt x="2431520" y="1905715"/>
                  <a:pt x="2449474" y="1905715"/>
                  <a:pt x="2472558" y="1895455"/>
                </a:cubicBezTo>
                <a:cubicBezTo>
                  <a:pt x="2472558" y="1880066"/>
                  <a:pt x="2475124" y="1867242"/>
                  <a:pt x="2477687" y="1856982"/>
                </a:cubicBezTo>
                <a:close/>
                <a:moveTo>
                  <a:pt x="3978831" y="1856689"/>
                </a:moveTo>
                <a:cubicBezTo>
                  <a:pt x="3981356" y="1857652"/>
                  <a:pt x="3981356" y="1867271"/>
                  <a:pt x="3975585" y="1859576"/>
                </a:cubicBezTo>
                <a:cubicBezTo>
                  <a:pt x="3976868" y="1857010"/>
                  <a:pt x="3977990" y="1856369"/>
                  <a:pt x="3978831" y="1856689"/>
                </a:cubicBezTo>
                <a:close/>
                <a:moveTo>
                  <a:pt x="5722277" y="1849316"/>
                </a:moveTo>
                <a:cubicBezTo>
                  <a:pt x="5724842" y="1849316"/>
                  <a:pt x="5727407" y="1849316"/>
                  <a:pt x="5729972" y="1849316"/>
                </a:cubicBezTo>
                <a:cubicBezTo>
                  <a:pt x="5727407" y="1854445"/>
                  <a:pt x="5729972" y="1874965"/>
                  <a:pt x="5712018" y="1872400"/>
                </a:cubicBezTo>
                <a:cubicBezTo>
                  <a:pt x="5714582" y="1864705"/>
                  <a:pt x="5722277" y="1859576"/>
                  <a:pt x="5722277" y="1849316"/>
                </a:cubicBezTo>
                <a:close/>
                <a:moveTo>
                  <a:pt x="5027191" y="1839056"/>
                </a:moveTo>
                <a:cubicBezTo>
                  <a:pt x="5027191" y="1844185"/>
                  <a:pt x="5016931" y="1839056"/>
                  <a:pt x="5011802" y="1841622"/>
                </a:cubicBezTo>
                <a:cubicBezTo>
                  <a:pt x="5011802" y="1836491"/>
                  <a:pt x="5022061" y="1841622"/>
                  <a:pt x="5027191" y="1839056"/>
                </a:cubicBezTo>
                <a:close/>
                <a:moveTo>
                  <a:pt x="4713473" y="1836892"/>
                </a:moveTo>
                <a:cubicBezTo>
                  <a:pt x="4716358" y="1839057"/>
                  <a:pt x="4714916" y="1850600"/>
                  <a:pt x="4709145" y="1839056"/>
                </a:cubicBezTo>
                <a:cubicBezTo>
                  <a:pt x="4711069" y="1836492"/>
                  <a:pt x="4712511" y="1836171"/>
                  <a:pt x="4713473" y="1836892"/>
                </a:cubicBezTo>
                <a:close/>
                <a:moveTo>
                  <a:pt x="3911463" y="1828769"/>
                </a:moveTo>
                <a:cubicBezTo>
                  <a:pt x="3911463" y="1828769"/>
                  <a:pt x="3908898" y="1831334"/>
                  <a:pt x="3908898" y="1831334"/>
                </a:cubicBezTo>
                <a:cubicBezTo>
                  <a:pt x="3911463" y="1831334"/>
                  <a:pt x="3911463" y="1831334"/>
                  <a:pt x="3914028" y="1831334"/>
                </a:cubicBezTo>
                <a:cubicBezTo>
                  <a:pt x="3911463" y="1828769"/>
                  <a:pt x="3911463" y="1828769"/>
                  <a:pt x="3911463" y="1828769"/>
                </a:cubicBezTo>
                <a:close/>
                <a:moveTo>
                  <a:pt x="2190419" y="1828769"/>
                </a:moveTo>
                <a:cubicBezTo>
                  <a:pt x="2241716" y="1880066"/>
                  <a:pt x="2290449" y="1939059"/>
                  <a:pt x="2334053" y="2005745"/>
                </a:cubicBezTo>
                <a:cubicBezTo>
                  <a:pt x="2312251" y="1972403"/>
                  <a:pt x="2288526" y="1940983"/>
                  <a:pt x="2263839" y="1911807"/>
                </a:cubicBezTo>
                <a:lnTo>
                  <a:pt x="2188692" y="1832222"/>
                </a:lnTo>
                <a:close/>
                <a:moveTo>
                  <a:pt x="3505729" y="1818389"/>
                </a:moveTo>
                <a:cubicBezTo>
                  <a:pt x="3503324" y="1817067"/>
                  <a:pt x="3479278" y="1837746"/>
                  <a:pt x="3498515" y="1833898"/>
                </a:cubicBezTo>
                <a:cubicBezTo>
                  <a:pt x="3501080" y="1833898"/>
                  <a:pt x="3498515" y="1828769"/>
                  <a:pt x="3498515" y="1828769"/>
                </a:cubicBezTo>
                <a:cubicBezTo>
                  <a:pt x="3504927" y="1821715"/>
                  <a:pt x="3506530" y="1818830"/>
                  <a:pt x="3505729" y="1818389"/>
                </a:cubicBezTo>
                <a:close/>
                <a:moveTo>
                  <a:pt x="6048700" y="1811603"/>
                </a:moveTo>
                <a:cubicBezTo>
                  <a:pt x="6048339" y="1812925"/>
                  <a:pt x="6039683" y="1821102"/>
                  <a:pt x="6045454" y="1813407"/>
                </a:cubicBezTo>
                <a:cubicBezTo>
                  <a:pt x="6048019" y="1811483"/>
                  <a:pt x="6048820" y="1811163"/>
                  <a:pt x="6048700" y="1811603"/>
                </a:cubicBezTo>
                <a:close/>
                <a:moveTo>
                  <a:pt x="4034577" y="1810815"/>
                </a:moveTo>
                <a:cubicBezTo>
                  <a:pt x="4026883" y="1828769"/>
                  <a:pt x="4019188" y="1844158"/>
                  <a:pt x="4011494" y="1862112"/>
                </a:cubicBezTo>
                <a:cubicBezTo>
                  <a:pt x="4006364" y="1872371"/>
                  <a:pt x="4001234" y="1882631"/>
                  <a:pt x="3996104" y="1892891"/>
                </a:cubicBezTo>
                <a:cubicBezTo>
                  <a:pt x="3998669" y="1890326"/>
                  <a:pt x="4001234" y="1890326"/>
                  <a:pt x="4003799" y="1890326"/>
                </a:cubicBezTo>
                <a:cubicBezTo>
                  <a:pt x="4014058" y="1905715"/>
                  <a:pt x="4021753" y="1921104"/>
                  <a:pt x="4029448" y="1936494"/>
                </a:cubicBezTo>
                <a:cubicBezTo>
                  <a:pt x="4034577" y="1928799"/>
                  <a:pt x="4042272" y="1921104"/>
                  <a:pt x="4047402" y="1913410"/>
                </a:cubicBezTo>
                <a:cubicBezTo>
                  <a:pt x="4047402" y="1910845"/>
                  <a:pt x="4049967" y="1905715"/>
                  <a:pt x="4044837" y="1903150"/>
                </a:cubicBezTo>
                <a:cubicBezTo>
                  <a:pt x="4042272" y="1872371"/>
                  <a:pt x="4037143" y="1841593"/>
                  <a:pt x="4034577" y="1810815"/>
                </a:cubicBezTo>
                <a:close/>
                <a:moveTo>
                  <a:pt x="3147125" y="1810815"/>
                </a:moveTo>
                <a:cubicBezTo>
                  <a:pt x="3144560" y="1828769"/>
                  <a:pt x="3139430" y="1844158"/>
                  <a:pt x="3136865" y="1859547"/>
                </a:cubicBezTo>
                <a:cubicBezTo>
                  <a:pt x="3134300" y="1872371"/>
                  <a:pt x="3131736" y="1882631"/>
                  <a:pt x="3129170" y="1895455"/>
                </a:cubicBezTo>
                <a:cubicBezTo>
                  <a:pt x="3141995" y="1903150"/>
                  <a:pt x="3152254" y="1910845"/>
                  <a:pt x="3165079" y="1918540"/>
                </a:cubicBezTo>
                <a:cubicBezTo>
                  <a:pt x="3165079" y="1905715"/>
                  <a:pt x="3165079" y="1895455"/>
                  <a:pt x="3162515" y="1885196"/>
                </a:cubicBezTo>
                <a:cubicBezTo>
                  <a:pt x="3162515" y="1856982"/>
                  <a:pt x="3154819" y="1833898"/>
                  <a:pt x="3147125" y="1810815"/>
                </a:cubicBezTo>
                <a:close/>
                <a:moveTo>
                  <a:pt x="5678674" y="1800556"/>
                </a:moveTo>
                <a:cubicBezTo>
                  <a:pt x="5686369" y="1805684"/>
                  <a:pt x="5686369" y="1815944"/>
                  <a:pt x="5683804" y="1823639"/>
                </a:cubicBezTo>
                <a:cubicBezTo>
                  <a:pt x="5670979" y="1821075"/>
                  <a:pt x="5681239" y="1813380"/>
                  <a:pt x="5678674" y="1800556"/>
                </a:cubicBezTo>
                <a:close/>
                <a:moveTo>
                  <a:pt x="5057971" y="1795451"/>
                </a:moveTo>
                <a:cubicBezTo>
                  <a:pt x="5063100" y="1798017"/>
                  <a:pt x="5060535" y="1821102"/>
                  <a:pt x="5057971" y="1826233"/>
                </a:cubicBezTo>
                <a:cubicBezTo>
                  <a:pt x="5050276" y="1821102"/>
                  <a:pt x="5057971" y="1803146"/>
                  <a:pt x="5057971" y="1795451"/>
                </a:cubicBezTo>
                <a:close/>
                <a:moveTo>
                  <a:pt x="3888379" y="1790323"/>
                </a:moveTo>
                <a:cubicBezTo>
                  <a:pt x="3896073" y="1790323"/>
                  <a:pt x="3883249" y="1795450"/>
                  <a:pt x="3888379" y="1803147"/>
                </a:cubicBezTo>
                <a:cubicBezTo>
                  <a:pt x="3880684" y="1800581"/>
                  <a:pt x="3888379" y="1792887"/>
                  <a:pt x="3888379" y="1790323"/>
                </a:cubicBezTo>
                <a:close/>
                <a:moveTo>
                  <a:pt x="5019497" y="1782634"/>
                </a:moveTo>
                <a:cubicBezTo>
                  <a:pt x="5024627" y="1785199"/>
                  <a:pt x="5019497" y="1795455"/>
                  <a:pt x="5014367" y="1790326"/>
                </a:cubicBezTo>
                <a:cubicBezTo>
                  <a:pt x="5011802" y="1785199"/>
                  <a:pt x="5019497" y="1787763"/>
                  <a:pt x="5019497" y="1782634"/>
                </a:cubicBezTo>
                <a:close/>
                <a:moveTo>
                  <a:pt x="6268600" y="1782629"/>
                </a:moveTo>
                <a:cubicBezTo>
                  <a:pt x="6276295" y="1782629"/>
                  <a:pt x="6276295" y="1795451"/>
                  <a:pt x="6271165" y="1798016"/>
                </a:cubicBezTo>
                <a:cubicBezTo>
                  <a:pt x="6260905" y="1795451"/>
                  <a:pt x="6268600" y="1790322"/>
                  <a:pt x="6268600" y="1782629"/>
                </a:cubicBezTo>
                <a:close/>
                <a:moveTo>
                  <a:pt x="5060535" y="1772369"/>
                </a:moveTo>
                <a:cubicBezTo>
                  <a:pt x="5065664" y="1772369"/>
                  <a:pt x="5068229" y="1790323"/>
                  <a:pt x="5057970" y="1787759"/>
                </a:cubicBezTo>
                <a:cubicBezTo>
                  <a:pt x="5055405" y="1780064"/>
                  <a:pt x="5063100" y="1780064"/>
                  <a:pt x="5060535" y="1772369"/>
                </a:cubicBezTo>
                <a:close/>
                <a:moveTo>
                  <a:pt x="4034577" y="1764647"/>
                </a:moveTo>
                <a:cubicBezTo>
                  <a:pt x="4008929" y="1774907"/>
                  <a:pt x="3983280" y="1782601"/>
                  <a:pt x="3960196" y="1792861"/>
                </a:cubicBezTo>
                <a:cubicBezTo>
                  <a:pt x="3967890" y="1810815"/>
                  <a:pt x="3975585" y="1831334"/>
                  <a:pt x="3970455" y="1856982"/>
                </a:cubicBezTo>
                <a:cubicBezTo>
                  <a:pt x="3962760" y="1856982"/>
                  <a:pt x="3962760" y="1859547"/>
                  <a:pt x="3957631" y="1859547"/>
                </a:cubicBezTo>
                <a:cubicBezTo>
                  <a:pt x="3957631" y="1869807"/>
                  <a:pt x="3962760" y="1869807"/>
                  <a:pt x="3957631" y="1880066"/>
                </a:cubicBezTo>
                <a:cubicBezTo>
                  <a:pt x="3947371" y="1869807"/>
                  <a:pt x="3965325" y="1856982"/>
                  <a:pt x="3949936" y="1851852"/>
                </a:cubicBezTo>
                <a:cubicBezTo>
                  <a:pt x="3946089" y="1855700"/>
                  <a:pt x="3942241" y="1856341"/>
                  <a:pt x="3938394" y="1857303"/>
                </a:cubicBezTo>
                <a:lnTo>
                  <a:pt x="3931249" y="1861868"/>
                </a:lnTo>
                <a:lnTo>
                  <a:pt x="3924287" y="1859547"/>
                </a:lnTo>
                <a:cubicBezTo>
                  <a:pt x="3924287" y="1851852"/>
                  <a:pt x="3924287" y="1846722"/>
                  <a:pt x="3921722" y="1844158"/>
                </a:cubicBezTo>
                <a:cubicBezTo>
                  <a:pt x="3908898" y="1841593"/>
                  <a:pt x="3914028" y="1836463"/>
                  <a:pt x="3903768" y="1849289"/>
                </a:cubicBezTo>
                <a:cubicBezTo>
                  <a:pt x="3906333" y="1869807"/>
                  <a:pt x="3916593" y="1880066"/>
                  <a:pt x="3911463" y="1898020"/>
                </a:cubicBezTo>
                <a:cubicBezTo>
                  <a:pt x="3898638" y="1898020"/>
                  <a:pt x="3903768" y="1887761"/>
                  <a:pt x="3898638" y="1882631"/>
                </a:cubicBezTo>
                <a:cubicBezTo>
                  <a:pt x="3893508" y="1890326"/>
                  <a:pt x="3888379" y="1882631"/>
                  <a:pt x="3885814" y="1887761"/>
                </a:cubicBezTo>
                <a:cubicBezTo>
                  <a:pt x="3883249" y="1887761"/>
                  <a:pt x="3883249" y="1887761"/>
                  <a:pt x="3883249" y="1885196"/>
                </a:cubicBezTo>
                <a:cubicBezTo>
                  <a:pt x="3883249" y="1882631"/>
                  <a:pt x="3883249" y="1882631"/>
                  <a:pt x="3880684" y="1882631"/>
                </a:cubicBezTo>
                <a:cubicBezTo>
                  <a:pt x="3888379" y="1877501"/>
                  <a:pt x="3883249" y="1869807"/>
                  <a:pt x="3880684" y="1862112"/>
                </a:cubicBezTo>
                <a:cubicBezTo>
                  <a:pt x="3878119" y="1864677"/>
                  <a:pt x="3875554" y="1869807"/>
                  <a:pt x="3872989" y="1872371"/>
                </a:cubicBezTo>
                <a:cubicBezTo>
                  <a:pt x="3872989" y="1877501"/>
                  <a:pt x="3870424" y="1880066"/>
                  <a:pt x="3867859" y="1885196"/>
                </a:cubicBezTo>
                <a:cubicBezTo>
                  <a:pt x="3860165" y="1921104"/>
                  <a:pt x="3849905" y="1957013"/>
                  <a:pt x="3839646" y="1995486"/>
                </a:cubicBezTo>
                <a:cubicBezTo>
                  <a:pt x="3831951" y="2018570"/>
                  <a:pt x="3824256" y="2044219"/>
                  <a:pt x="3813997" y="2067302"/>
                </a:cubicBezTo>
                <a:cubicBezTo>
                  <a:pt x="3813997" y="2069868"/>
                  <a:pt x="3813997" y="2069868"/>
                  <a:pt x="3813997" y="2072433"/>
                </a:cubicBezTo>
                <a:cubicBezTo>
                  <a:pt x="3821691" y="2074997"/>
                  <a:pt x="3831951" y="2077563"/>
                  <a:pt x="3842210" y="2080128"/>
                </a:cubicBezTo>
                <a:cubicBezTo>
                  <a:pt x="3839646" y="2077563"/>
                  <a:pt x="3839646" y="2072433"/>
                  <a:pt x="3839646" y="2069868"/>
                </a:cubicBezTo>
                <a:cubicBezTo>
                  <a:pt x="3844776" y="2069868"/>
                  <a:pt x="3842210" y="2074997"/>
                  <a:pt x="3844776" y="2080128"/>
                </a:cubicBezTo>
                <a:cubicBezTo>
                  <a:pt x="3847340" y="2082693"/>
                  <a:pt x="3849905" y="2082693"/>
                  <a:pt x="3852470" y="2082693"/>
                </a:cubicBezTo>
                <a:cubicBezTo>
                  <a:pt x="3855035" y="2080128"/>
                  <a:pt x="3855035" y="2080128"/>
                  <a:pt x="3857600" y="2077563"/>
                </a:cubicBezTo>
                <a:cubicBezTo>
                  <a:pt x="3857600" y="2077563"/>
                  <a:pt x="3857600" y="2074997"/>
                  <a:pt x="3857600" y="2074997"/>
                </a:cubicBezTo>
                <a:cubicBezTo>
                  <a:pt x="3860165" y="2077563"/>
                  <a:pt x="3860165" y="2077563"/>
                  <a:pt x="3860165" y="2077563"/>
                </a:cubicBezTo>
                <a:cubicBezTo>
                  <a:pt x="3860165" y="2074997"/>
                  <a:pt x="3862730" y="2072433"/>
                  <a:pt x="3865295" y="2069868"/>
                </a:cubicBezTo>
                <a:cubicBezTo>
                  <a:pt x="3865295" y="2069868"/>
                  <a:pt x="3867859" y="2067302"/>
                  <a:pt x="3867859" y="2067302"/>
                </a:cubicBezTo>
                <a:cubicBezTo>
                  <a:pt x="3865295" y="2064738"/>
                  <a:pt x="3867859" y="2059609"/>
                  <a:pt x="3870424" y="2054480"/>
                </a:cubicBezTo>
                <a:cubicBezTo>
                  <a:pt x="3872989" y="2054480"/>
                  <a:pt x="3875554" y="2057044"/>
                  <a:pt x="3875554" y="2057044"/>
                </a:cubicBezTo>
                <a:cubicBezTo>
                  <a:pt x="3888379" y="2044219"/>
                  <a:pt x="3898638" y="2026267"/>
                  <a:pt x="3919157" y="2016006"/>
                </a:cubicBezTo>
                <a:cubicBezTo>
                  <a:pt x="3919157" y="2013442"/>
                  <a:pt x="3921722" y="2010878"/>
                  <a:pt x="3924287" y="2008311"/>
                </a:cubicBezTo>
                <a:cubicBezTo>
                  <a:pt x="3924287" y="2000616"/>
                  <a:pt x="3914028" y="2005745"/>
                  <a:pt x="3916593" y="1998051"/>
                </a:cubicBezTo>
                <a:cubicBezTo>
                  <a:pt x="3929417" y="1995486"/>
                  <a:pt x="3916593" y="1990357"/>
                  <a:pt x="3921722" y="1985227"/>
                </a:cubicBezTo>
                <a:cubicBezTo>
                  <a:pt x="3919157" y="1982662"/>
                  <a:pt x="3908898" y="1987792"/>
                  <a:pt x="3911463" y="1980097"/>
                </a:cubicBezTo>
                <a:cubicBezTo>
                  <a:pt x="3916593" y="1982662"/>
                  <a:pt x="3919157" y="1980097"/>
                  <a:pt x="3924287" y="1982662"/>
                </a:cubicBezTo>
                <a:cubicBezTo>
                  <a:pt x="3921722" y="1977532"/>
                  <a:pt x="3924287" y="1969837"/>
                  <a:pt x="3929417" y="1967273"/>
                </a:cubicBezTo>
                <a:cubicBezTo>
                  <a:pt x="3929417" y="1962143"/>
                  <a:pt x="3919157" y="1967273"/>
                  <a:pt x="3921722" y="1959578"/>
                </a:cubicBezTo>
                <a:cubicBezTo>
                  <a:pt x="3929417" y="1959578"/>
                  <a:pt x="3931982" y="1957013"/>
                  <a:pt x="3929417" y="1951883"/>
                </a:cubicBezTo>
                <a:cubicBezTo>
                  <a:pt x="3929417" y="1951883"/>
                  <a:pt x="3931982" y="1951883"/>
                  <a:pt x="3931982" y="1951883"/>
                </a:cubicBezTo>
                <a:lnTo>
                  <a:pt x="3931982" y="1943272"/>
                </a:lnTo>
                <a:lnTo>
                  <a:pt x="3938394" y="1940983"/>
                </a:lnTo>
                <a:cubicBezTo>
                  <a:pt x="3940959" y="1939701"/>
                  <a:pt x="3942241" y="1937777"/>
                  <a:pt x="3939677" y="1933929"/>
                </a:cubicBezTo>
                <a:cubicBezTo>
                  <a:pt x="3944806" y="1933929"/>
                  <a:pt x="3944806" y="1941624"/>
                  <a:pt x="3949936" y="1939059"/>
                </a:cubicBezTo>
                <a:cubicBezTo>
                  <a:pt x="3952501" y="1936494"/>
                  <a:pt x="3949936" y="1933929"/>
                  <a:pt x="3955066" y="1928799"/>
                </a:cubicBezTo>
                <a:cubicBezTo>
                  <a:pt x="3960196" y="1928799"/>
                  <a:pt x="3960196" y="1928799"/>
                  <a:pt x="3962760" y="1928799"/>
                </a:cubicBezTo>
                <a:cubicBezTo>
                  <a:pt x="3965325" y="1928799"/>
                  <a:pt x="3965325" y="1926234"/>
                  <a:pt x="3965325" y="1926234"/>
                </a:cubicBezTo>
                <a:cubicBezTo>
                  <a:pt x="3967890" y="1915975"/>
                  <a:pt x="3970455" y="1908280"/>
                  <a:pt x="3980715" y="1900585"/>
                </a:cubicBezTo>
                <a:cubicBezTo>
                  <a:pt x="3988409" y="1885196"/>
                  <a:pt x="3998669" y="1867242"/>
                  <a:pt x="4003799" y="1849289"/>
                </a:cubicBezTo>
                <a:cubicBezTo>
                  <a:pt x="4014058" y="1828769"/>
                  <a:pt x="4024318" y="1808250"/>
                  <a:pt x="4034577" y="1787730"/>
                </a:cubicBezTo>
                <a:cubicBezTo>
                  <a:pt x="4034577" y="1785166"/>
                  <a:pt x="4034577" y="1785166"/>
                  <a:pt x="4034577" y="1785166"/>
                </a:cubicBezTo>
                <a:cubicBezTo>
                  <a:pt x="4034577" y="1780036"/>
                  <a:pt x="4034577" y="1772342"/>
                  <a:pt x="4034577" y="1764647"/>
                </a:cubicBezTo>
                <a:close/>
                <a:moveTo>
                  <a:pt x="3858282" y="1764354"/>
                </a:moveTo>
                <a:cubicBezTo>
                  <a:pt x="3860807" y="1765316"/>
                  <a:pt x="3860807" y="1774934"/>
                  <a:pt x="3855036" y="1767239"/>
                </a:cubicBezTo>
                <a:cubicBezTo>
                  <a:pt x="3856318" y="1764674"/>
                  <a:pt x="3857440" y="1764033"/>
                  <a:pt x="3858282" y="1764354"/>
                </a:cubicBezTo>
                <a:close/>
                <a:moveTo>
                  <a:pt x="4049967" y="1762082"/>
                </a:moveTo>
                <a:cubicBezTo>
                  <a:pt x="4047402" y="1762082"/>
                  <a:pt x="4044837" y="1762082"/>
                  <a:pt x="4042272" y="1764647"/>
                </a:cubicBezTo>
                <a:cubicBezTo>
                  <a:pt x="4042272" y="1769777"/>
                  <a:pt x="4042272" y="1772342"/>
                  <a:pt x="4042272" y="1777471"/>
                </a:cubicBezTo>
                <a:cubicBezTo>
                  <a:pt x="4044837" y="1772342"/>
                  <a:pt x="4047402" y="1767212"/>
                  <a:pt x="4049967" y="1762082"/>
                </a:cubicBezTo>
                <a:close/>
                <a:moveTo>
                  <a:pt x="2657230" y="1762082"/>
                </a:moveTo>
                <a:cubicBezTo>
                  <a:pt x="2629016" y="1782601"/>
                  <a:pt x="2636711" y="1833898"/>
                  <a:pt x="2598237" y="1841593"/>
                </a:cubicBezTo>
                <a:cubicBezTo>
                  <a:pt x="2598237" y="1846722"/>
                  <a:pt x="2598237" y="1851852"/>
                  <a:pt x="2598237" y="1854417"/>
                </a:cubicBezTo>
                <a:cubicBezTo>
                  <a:pt x="2608497" y="1864677"/>
                  <a:pt x="2618757" y="1874936"/>
                  <a:pt x="2626451" y="1885196"/>
                </a:cubicBezTo>
                <a:cubicBezTo>
                  <a:pt x="2652100" y="1918540"/>
                  <a:pt x="2670054" y="1962143"/>
                  <a:pt x="2688009" y="2008311"/>
                </a:cubicBezTo>
                <a:cubicBezTo>
                  <a:pt x="2716223" y="2080128"/>
                  <a:pt x="2741872" y="2157073"/>
                  <a:pt x="2782911" y="2203241"/>
                </a:cubicBezTo>
                <a:cubicBezTo>
                  <a:pt x="2805994" y="2192979"/>
                  <a:pt x="2826513" y="2182720"/>
                  <a:pt x="2847032" y="2175028"/>
                </a:cubicBezTo>
                <a:cubicBezTo>
                  <a:pt x="2821383" y="2128861"/>
                  <a:pt x="2798299" y="2077563"/>
                  <a:pt x="2777780" y="2026267"/>
                </a:cubicBezTo>
                <a:cubicBezTo>
                  <a:pt x="2777780" y="2031396"/>
                  <a:pt x="2772650" y="2036525"/>
                  <a:pt x="2767520" y="2031396"/>
                </a:cubicBezTo>
                <a:cubicBezTo>
                  <a:pt x="2764955" y="2026267"/>
                  <a:pt x="2770086" y="2026267"/>
                  <a:pt x="2775215" y="2026267"/>
                </a:cubicBezTo>
                <a:cubicBezTo>
                  <a:pt x="2772650" y="2018570"/>
                  <a:pt x="2770086" y="2013442"/>
                  <a:pt x="2772650" y="2010878"/>
                </a:cubicBezTo>
                <a:cubicBezTo>
                  <a:pt x="2764955" y="2013442"/>
                  <a:pt x="2749566" y="1990357"/>
                  <a:pt x="2759827" y="1980097"/>
                </a:cubicBezTo>
                <a:cubicBezTo>
                  <a:pt x="2757261" y="1972402"/>
                  <a:pt x="2754696" y="1964708"/>
                  <a:pt x="2752131" y="1957013"/>
                </a:cubicBezTo>
                <a:cubicBezTo>
                  <a:pt x="2749566" y="1962143"/>
                  <a:pt x="2749566" y="1967273"/>
                  <a:pt x="2744436" y="1969837"/>
                </a:cubicBezTo>
                <a:cubicBezTo>
                  <a:pt x="2718787" y="1964708"/>
                  <a:pt x="2721352" y="1923669"/>
                  <a:pt x="2731612" y="1903150"/>
                </a:cubicBezTo>
                <a:cubicBezTo>
                  <a:pt x="2713658" y="1859547"/>
                  <a:pt x="2695703" y="1815944"/>
                  <a:pt x="2677749" y="1772342"/>
                </a:cubicBezTo>
                <a:cubicBezTo>
                  <a:pt x="2672619" y="1769777"/>
                  <a:pt x="2664926" y="1767212"/>
                  <a:pt x="2657230" y="1762082"/>
                </a:cubicBezTo>
                <a:close/>
                <a:moveTo>
                  <a:pt x="5804353" y="1759545"/>
                </a:moveTo>
                <a:cubicBezTo>
                  <a:pt x="5806919" y="1767241"/>
                  <a:pt x="5801789" y="1769804"/>
                  <a:pt x="5796659" y="1767241"/>
                </a:cubicBezTo>
                <a:cubicBezTo>
                  <a:pt x="5799224" y="1764676"/>
                  <a:pt x="5796659" y="1756981"/>
                  <a:pt x="5804353" y="1759545"/>
                </a:cubicBezTo>
                <a:close/>
                <a:moveTo>
                  <a:pt x="5034886" y="1746721"/>
                </a:moveTo>
                <a:cubicBezTo>
                  <a:pt x="5040015" y="1744155"/>
                  <a:pt x="5040015" y="1762111"/>
                  <a:pt x="5032321" y="1759547"/>
                </a:cubicBezTo>
                <a:cubicBezTo>
                  <a:pt x="5029756" y="1751851"/>
                  <a:pt x="5034886" y="1751851"/>
                  <a:pt x="5034886" y="1746721"/>
                </a:cubicBezTo>
                <a:close/>
                <a:moveTo>
                  <a:pt x="3893508" y="1746693"/>
                </a:moveTo>
                <a:cubicBezTo>
                  <a:pt x="3888379" y="1762082"/>
                  <a:pt x="3885814" y="1780036"/>
                  <a:pt x="3880684" y="1797991"/>
                </a:cubicBezTo>
                <a:cubicBezTo>
                  <a:pt x="3878119" y="1808250"/>
                  <a:pt x="3875554" y="1821075"/>
                  <a:pt x="3870424" y="1839029"/>
                </a:cubicBezTo>
                <a:cubicBezTo>
                  <a:pt x="3872989" y="1839029"/>
                  <a:pt x="3872989" y="1839029"/>
                  <a:pt x="3872989" y="1839029"/>
                </a:cubicBezTo>
                <a:cubicBezTo>
                  <a:pt x="3872989" y="1839029"/>
                  <a:pt x="3875554" y="1836463"/>
                  <a:pt x="3875554" y="1836463"/>
                </a:cubicBezTo>
                <a:cubicBezTo>
                  <a:pt x="3875554" y="1836463"/>
                  <a:pt x="3875554" y="1833898"/>
                  <a:pt x="3875554" y="1831334"/>
                </a:cubicBezTo>
                <a:cubicBezTo>
                  <a:pt x="3875554" y="1831334"/>
                  <a:pt x="3878119" y="1833898"/>
                  <a:pt x="3878119" y="1833898"/>
                </a:cubicBezTo>
                <a:cubicBezTo>
                  <a:pt x="3880684" y="1831334"/>
                  <a:pt x="3880684" y="1831334"/>
                  <a:pt x="3883249" y="1828769"/>
                </a:cubicBezTo>
                <a:cubicBezTo>
                  <a:pt x="3890944" y="1823639"/>
                  <a:pt x="3896073" y="1818510"/>
                  <a:pt x="3901203" y="1813380"/>
                </a:cubicBezTo>
                <a:cubicBezTo>
                  <a:pt x="3901203" y="1813380"/>
                  <a:pt x="3898638" y="1813380"/>
                  <a:pt x="3898638" y="1813380"/>
                </a:cubicBezTo>
                <a:cubicBezTo>
                  <a:pt x="3901203" y="1787730"/>
                  <a:pt x="3896073" y="1777471"/>
                  <a:pt x="3898638" y="1751823"/>
                </a:cubicBezTo>
                <a:cubicBezTo>
                  <a:pt x="3896073" y="1749258"/>
                  <a:pt x="3896073" y="1746693"/>
                  <a:pt x="3893508" y="1746693"/>
                </a:cubicBezTo>
                <a:close/>
                <a:moveTo>
                  <a:pt x="3870425" y="1733896"/>
                </a:moveTo>
                <a:cubicBezTo>
                  <a:pt x="3883249" y="1733896"/>
                  <a:pt x="3875554" y="1739026"/>
                  <a:pt x="3875554" y="1749286"/>
                </a:cubicBezTo>
                <a:cubicBezTo>
                  <a:pt x="3872989" y="1746721"/>
                  <a:pt x="3870425" y="1741591"/>
                  <a:pt x="3870425" y="1733896"/>
                </a:cubicBezTo>
                <a:close/>
                <a:moveTo>
                  <a:pt x="5083620" y="1723636"/>
                </a:moveTo>
                <a:cubicBezTo>
                  <a:pt x="5088749" y="1736461"/>
                  <a:pt x="5070795" y="1723636"/>
                  <a:pt x="5068230" y="1731331"/>
                </a:cubicBezTo>
                <a:cubicBezTo>
                  <a:pt x="5063100" y="1723636"/>
                  <a:pt x="5073360" y="1726201"/>
                  <a:pt x="5083620" y="1723636"/>
                </a:cubicBezTo>
                <a:close/>
                <a:moveTo>
                  <a:pt x="2726482" y="1721044"/>
                </a:moveTo>
                <a:cubicBezTo>
                  <a:pt x="2718787" y="1746693"/>
                  <a:pt x="2705963" y="1767212"/>
                  <a:pt x="2688009" y="1769777"/>
                </a:cubicBezTo>
                <a:cubicBezTo>
                  <a:pt x="2705963" y="1810815"/>
                  <a:pt x="2721352" y="1851852"/>
                  <a:pt x="2739307" y="1892891"/>
                </a:cubicBezTo>
                <a:cubicBezTo>
                  <a:pt x="2744436" y="1890326"/>
                  <a:pt x="2749566" y="1890326"/>
                  <a:pt x="2754696" y="1898020"/>
                </a:cubicBezTo>
                <a:cubicBezTo>
                  <a:pt x="2767520" y="1869807"/>
                  <a:pt x="2726482" y="1851852"/>
                  <a:pt x="2721352" y="1821075"/>
                </a:cubicBezTo>
                <a:cubicBezTo>
                  <a:pt x="2718787" y="1792861"/>
                  <a:pt x="2718787" y="1762082"/>
                  <a:pt x="2739307" y="1741563"/>
                </a:cubicBezTo>
                <a:cubicBezTo>
                  <a:pt x="2734177" y="1736433"/>
                  <a:pt x="2729048" y="1731303"/>
                  <a:pt x="2726482" y="1721044"/>
                </a:cubicBezTo>
                <a:close/>
                <a:moveTo>
                  <a:pt x="3075308" y="1715914"/>
                </a:moveTo>
                <a:cubicBezTo>
                  <a:pt x="3067614" y="1733868"/>
                  <a:pt x="3057353" y="1754387"/>
                  <a:pt x="3049659" y="1772342"/>
                </a:cubicBezTo>
                <a:cubicBezTo>
                  <a:pt x="3044529" y="1782601"/>
                  <a:pt x="3039399" y="1795426"/>
                  <a:pt x="3034269" y="1808250"/>
                </a:cubicBezTo>
                <a:cubicBezTo>
                  <a:pt x="3044529" y="1810815"/>
                  <a:pt x="3052224" y="1813380"/>
                  <a:pt x="3062483" y="1815944"/>
                </a:cubicBezTo>
                <a:cubicBezTo>
                  <a:pt x="3065048" y="1782601"/>
                  <a:pt x="3070178" y="1749258"/>
                  <a:pt x="3075308" y="1715914"/>
                </a:cubicBezTo>
                <a:close/>
                <a:moveTo>
                  <a:pt x="2929109" y="1710784"/>
                </a:moveTo>
                <a:cubicBezTo>
                  <a:pt x="2926544" y="1721044"/>
                  <a:pt x="2926544" y="1728738"/>
                  <a:pt x="2926544" y="1738998"/>
                </a:cubicBezTo>
                <a:cubicBezTo>
                  <a:pt x="2926544" y="1738998"/>
                  <a:pt x="2929109" y="1738998"/>
                  <a:pt x="2929109" y="1738998"/>
                </a:cubicBezTo>
                <a:cubicBezTo>
                  <a:pt x="2929109" y="1728738"/>
                  <a:pt x="2929109" y="1721044"/>
                  <a:pt x="2929109" y="1710784"/>
                </a:cubicBezTo>
                <a:close/>
                <a:moveTo>
                  <a:pt x="5078489" y="1700553"/>
                </a:moveTo>
                <a:cubicBezTo>
                  <a:pt x="5086183" y="1700553"/>
                  <a:pt x="5093878" y="1700553"/>
                  <a:pt x="5093878" y="1708247"/>
                </a:cubicBezTo>
                <a:cubicBezTo>
                  <a:pt x="5086183" y="1708247"/>
                  <a:pt x="5078489" y="1708247"/>
                  <a:pt x="5078489" y="1700553"/>
                </a:cubicBezTo>
                <a:close/>
                <a:moveTo>
                  <a:pt x="4052889" y="1700334"/>
                </a:moveTo>
                <a:lnTo>
                  <a:pt x="4050063" y="1711991"/>
                </a:lnTo>
                <a:lnTo>
                  <a:pt x="4051250" y="1704693"/>
                </a:lnTo>
                <a:close/>
                <a:moveTo>
                  <a:pt x="5119528" y="1697989"/>
                </a:moveTo>
                <a:cubicBezTo>
                  <a:pt x="5119528" y="1708247"/>
                  <a:pt x="5106703" y="1710813"/>
                  <a:pt x="5096444" y="1713378"/>
                </a:cubicBezTo>
                <a:cubicBezTo>
                  <a:pt x="5096444" y="1703117"/>
                  <a:pt x="5119528" y="1705682"/>
                  <a:pt x="5111833" y="1700553"/>
                </a:cubicBezTo>
                <a:cubicBezTo>
                  <a:pt x="5111833" y="1697989"/>
                  <a:pt x="5116963" y="1697989"/>
                  <a:pt x="5119528" y="1697989"/>
                </a:cubicBezTo>
                <a:close/>
                <a:moveTo>
                  <a:pt x="3352317" y="1696066"/>
                </a:moveTo>
                <a:cubicBezTo>
                  <a:pt x="3353600" y="1696066"/>
                  <a:pt x="3354881" y="1696707"/>
                  <a:pt x="3354881" y="1697989"/>
                </a:cubicBezTo>
                <a:cubicBezTo>
                  <a:pt x="3352317" y="1700553"/>
                  <a:pt x="3352317" y="1697989"/>
                  <a:pt x="3349752" y="1697989"/>
                </a:cubicBezTo>
                <a:cubicBezTo>
                  <a:pt x="3349752" y="1696707"/>
                  <a:pt x="3351035" y="1696066"/>
                  <a:pt x="3352317" y="1696066"/>
                </a:cubicBezTo>
                <a:close/>
                <a:moveTo>
                  <a:pt x="4728702" y="1695745"/>
                </a:moveTo>
                <a:cubicBezTo>
                  <a:pt x="4730946" y="1697348"/>
                  <a:pt x="4732228" y="1700554"/>
                  <a:pt x="4729663" y="1703119"/>
                </a:cubicBezTo>
                <a:cubicBezTo>
                  <a:pt x="4727098" y="1703119"/>
                  <a:pt x="4727098" y="1697989"/>
                  <a:pt x="4721969" y="1697989"/>
                </a:cubicBezTo>
                <a:cubicBezTo>
                  <a:pt x="4723252" y="1694142"/>
                  <a:pt x="4726458" y="1694142"/>
                  <a:pt x="4728702" y="1695745"/>
                </a:cubicBezTo>
                <a:close/>
                <a:moveTo>
                  <a:pt x="4149998" y="1692830"/>
                </a:moveTo>
                <a:cubicBezTo>
                  <a:pt x="4134609" y="1710784"/>
                  <a:pt x="4116654" y="1723609"/>
                  <a:pt x="4098700" y="1736433"/>
                </a:cubicBezTo>
                <a:cubicBezTo>
                  <a:pt x="4088440" y="1744128"/>
                  <a:pt x="4075616" y="1749258"/>
                  <a:pt x="4065356" y="1754387"/>
                </a:cubicBezTo>
                <a:cubicBezTo>
                  <a:pt x="4060226" y="1767212"/>
                  <a:pt x="4052532" y="1782601"/>
                  <a:pt x="4047402" y="1795426"/>
                </a:cubicBezTo>
                <a:cubicBezTo>
                  <a:pt x="4049967" y="1828769"/>
                  <a:pt x="4055097" y="1862112"/>
                  <a:pt x="4057662" y="1898020"/>
                </a:cubicBezTo>
                <a:cubicBezTo>
                  <a:pt x="4057662" y="1900585"/>
                  <a:pt x="4057662" y="1900585"/>
                  <a:pt x="4057662" y="1903150"/>
                </a:cubicBezTo>
                <a:cubicBezTo>
                  <a:pt x="4073051" y="1880066"/>
                  <a:pt x="4088440" y="1856982"/>
                  <a:pt x="4101265" y="1828769"/>
                </a:cubicBezTo>
                <a:cubicBezTo>
                  <a:pt x="4121784" y="1785166"/>
                  <a:pt x="4137173" y="1738998"/>
                  <a:pt x="4149998" y="1692830"/>
                </a:cubicBezTo>
                <a:close/>
                <a:moveTo>
                  <a:pt x="3859725" y="1683710"/>
                </a:moveTo>
                <a:cubicBezTo>
                  <a:pt x="3858883" y="1684192"/>
                  <a:pt x="3845417" y="1689001"/>
                  <a:pt x="3855035" y="1685153"/>
                </a:cubicBezTo>
                <a:cubicBezTo>
                  <a:pt x="3858883" y="1683872"/>
                  <a:pt x="3860005" y="1683551"/>
                  <a:pt x="3859725" y="1683710"/>
                </a:cubicBezTo>
                <a:close/>
                <a:moveTo>
                  <a:pt x="5163131" y="1677470"/>
                </a:moveTo>
                <a:cubicBezTo>
                  <a:pt x="5168260" y="1680035"/>
                  <a:pt x="5168260" y="1682600"/>
                  <a:pt x="5168260" y="1690295"/>
                </a:cubicBezTo>
                <a:cubicBezTo>
                  <a:pt x="5165696" y="1690295"/>
                  <a:pt x="5163131" y="1690295"/>
                  <a:pt x="5160566" y="1690295"/>
                </a:cubicBezTo>
                <a:cubicBezTo>
                  <a:pt x="5158001" y="1685163"/>
                  <a:pt x="5163131" y="1682600"/>
                  <a:pt x="5163131" y="1677470"/>
                </a:cubicBezTo>
                <a:close/>
                <a:moveTo>
                  <a:pt x="3365141" y="1674906"/>
                </a:moveTo>
                <a:cubicBezTo>
                  <a:pt x="3380531" y="1674906"/>
                  <a:pt x="3365141" y="1690296"/>
                  <a:pt x="3365141" y="1674906"/>
                </a:cubicBezTo>
                <a:close/>
                <a:moveTo>
                  <a:pt x="4755312" y="1659516"/>
                </a:moveTo>
                <a:cubicBezTo>
                  <a:pt x="4760442" y="1656950"/>
                  <a:pt x="4760442" y="1664646"/>
                  <a:pt x="4763007" y="1664646"/>
                </a:cubicBezTo>
                <a:cubicBezTo>
                  <a:pt x="4763007" y="1672340"/>
                  <a:pt x="4752747" y="1664646"/>
                  <a:pt x="4755312" y="1659516"/>
                </a:cubicBezTo>
                <a:close/>
                <a:moveTo>
                  <a:pt x="4769901" y="1654787"/>
                </a:moveTo>
                <a:cubicBezTo>
                  <a:pt x="4772786" y="1656952"/>
                  <a:pt x="4771344" y="1668494"/>
                  <a:pt x="4765573" y="1656951"/>
                </a:cubicBezTo>
                <a:cubicBezTo>
                  <a:pt x="4767497" y="1654386"/>
                  <a:pt x="4768939" y="1654065"/>
                  <a:pt x="4769901" y="1654787"/>
                </a:cubicBezTo>
                <a:close/>
                <a:moveTo>
                  <a:pt x="6296813" y="1654385"/>
                </a:moveTo>
                <a:cubicBezTo>
                  <a:pt x="6301943" y="1651820"/>
                  <a:pt x="6301943" y="1669776"/>
                  <a:pt x="6294249" y="1667211"/>
                </a:cubicBezTo>
                <a:cubicBezTo>
                  <a:pt x="6294249" y="1659515"/>
                  <a:pt x="6296813" y="1659515"/>
                  <a:pt x="6296813" y="1654385"/>
                </a:cubicBezTo>
                <a:close/>
                <a:moveTo>
                  <a:pt x="5260597" y="1644115"/>
                </a:moveTo>
                <a:cubicBezTo>
                  <a:pt x="5265727" y="1649244"/>
                  <a:pt x="5268292" y="1672329"/>
                  <a:pt x="5258032" y="1687718"/>
                </a:cubicBezTo>
                <a:cubicBezTo>
                  <a:pt x="5247772" y="1690283"/>
                  <a:pt x="5242643" y="1687718"/>
                  <a:pt x="5237513" y="1690283"/>
                </a:cubicBezTo>
                <a:cubicBezTo>
                  <a:pt x="5227253" y="1674893"/>
                  <a:pt x="5237513" y="1664634"/>
                  <a:pt x="5240078" y="1649244"/>
                </a:cubicBezTo>
                <a:cubicBezTo>
                  <a:pt x="5250338" y="1644115"/>
                  <a:pt x="5258032" y="1656939"/>
                  <a:pt x="5260597" y="1644115"/>
                </a:cubicBezTo>
                <a:close/>
                <a:moveTo>
                  <a:pt x="3121476" y="1631273"/>
                </a:moveTo>
                <a:cubicBezTo>
                  <a:pt x="3113781" y="1644097"/>
                  <a:pt x="3108652" y="1654357"/>
                  <a:pt x="3103521" y="1664616"/>
                </a:cubicBezTo>
                <a:cubicBezTo>
                  <a:pt x="3093262" y="1721044"/>
                  <a:pt x="3085567" y="1774907"/>
                  <a:pt x="3080437" y="1828769"/>
                </a:cubicBezTo>
                <a:cubicBezTo>
                  <a:pt x="3088132" y="1839029"/>
                  <a:pt x="3093262" y="1851852"/>
                  <a:pt x="3093262" y="1869807"/>
                </a:cubicBezTo>
                <a:cubicBezTo>
                  <a:pt x="3098393" y="1874936"/>
                  <a:pt x="3106086" y="1877501"/>
                  <a:pt x="3111216" y="1882631"/>
                </a:cubicBezTo>
                <a:cubicBezTo>
                  <a:pt x="3113781" y="1872371"/>
                  <a:pt x="3116346" y="1862112"/>
                  <a:pt x="3121476" y="1849289"/>
                </a:cubicBezTo>
                <a:cubicBezTo>
                  <a:pt x="3126605" y="1823639"/>
                  <a:pt x="3134300" y="1797991"/>
                  <a:pt x="3139430" y="1772342"/>
                </a:cubicBezTo>
                <a:cubicBezTo>
                  <a:pt x="3139430" y="1772342"/>
                  <a:pt x="3139430" y="1769777"/>
                  <a:pt x="3139430" y="1769777"/>
                </a:cubicBezTo>
                <a:cubicBezTo>
                  <a:pt x="3126605" y="1733868"/>
                  <a:pt x="3121476" y="1687700"/>
                  <a:pt x="3121476" y="1641532"/>
                </a:cubicBezTo>
                <a:cubicBezTo>
                  <a:pt x="3121476" y="1638967"/>
                  <a:pt x="3121476" y="1633837"/>
                  <a:pt x="3121476" y="1631273"/>
                </a:cubicBezTo>
                <a:close/>
                <a:moveTo>
                  <a:pt x="1292706" y="1623578"/>
                </a:moveTo>
                <a:cubicBezTo>
                  <a:pt x="1287576" y="1638967"/>
                  <a:pt x="1308095" y="1631273"/>
                  <a:pt x="1313225" y="1638967"/>
                </a:cubicBezTo>
                <a:cubicBezTo>
                  <a:pt x="1318355" y="1623578"/>
                  <a:pt x="1295271" y="1633837"/>
                  <a:pt x="1292706" y="1623578"/>
                </a:cubicBezTo>
                <a:close/>
                <a:moveTo>
                  <a:pt x="5237512" y="1618477"/>
                </a:moveTo>
                <a:cubicBezTo>
                  <a:pt x="5232382" y="1623607"/>
                  <a:pt x="5234947" y="1636433"/>
                  <a:pt x="5224688" y="1633868"/>
                </a:cubicBezTo>
                <a:cubicBezTo>
                  <a:pt x="5216993" y="1626172"/>
                  <a:pt x="5222123" y="1615913"/>
                  <a:pt x="5237512" y="1618477"/>
                </a:cubicBezTo>
                <a:close/>
                <a:moveTo>
                  <a:pt x="5177879" y="1610463"/>
                </a:moveTo>
                <a:cubicBezTo>
                  <a:pt x="5179162" y="1610142"/>
                  <a:pt x="5181085" y="1610783"/>
                  <a:pt x="5183650" y="1613348"/>
                </a:cubicBezTo>
                <a:cubicBezTo>
                  <a:pt x="5175956" y="1621043"/>
                  <a:pt x="5174032" y="1611425"/>
                  <a:pt x="5177879" y="1610463"/>
                </a:cubicBezTo>
                <a:close/>
                <a:moveTo>
                  <a:pt x="5899255" y="1608859"/>
                </a:moveTo>
                <a:cubicBezTo>
                  <a:pt x="5900538" y="1608859"/>
                  <a:pt x="5901820" y="1609501"/>
                  <a:pt x="5901820" y="1610783"/>
                </a:cubicBezTo>
                <a:cubicBezTo>
                  <a:pt x="5899255" y="1613348"/>
                  <a:pt x="5899255" y="1610783"/>
                  <a:pt x="5896691" y="1610783"/>
                </a:cubicBezTo>
                <a:cubicBezTo>
                  <a:pt x="5896691" y="1609501"/>
                  <a:pt x="5897973" y="1608859"/>
                  <a:pt x="5899255" y="1608859"/>
                </a:cubicBezTo>
                <a:close/>
                <a:moveTo>
                  <a:pt x="1275313" y="1597809"/>
                </a:moveTo>
                <a:cubicBezTo>
                  <a:pt x="1273470" y="1598249"/>
                  <a:pt x="1272187" y="1599853"/>
                  <a:pt x="1272187" y="1603059"/>
                </a:cubicBezTo>
                <a:cubicBezTo>
                  <a:pt x="1279881" y="1603059"/>
                  <a:pt x="1274752" y="1615883"/>
                  <a:pt x="1287576" y="1613318"/>
                </a:cubicBezTo>
                <a:cubicBezTo>
                  <a:pt x="1291424" y="1605624"/>
                  <a:pt x="1280844" y="1596486"/>
                  <a:pt x="1275313" y="1597809"/>
                </a:cubicBezTo>
                <a:close/>
                <a:moveTo>
                  <a:pt x="5332414" y="1592817"/>
                </a:moveTo>
                <a:cubicBezTo>
                  <a:pt x="5329849" y="1597947"/>
                  <a:pt x="5322154" y="1597947"/>
                  <a:pt x="5317024" y="1600513"/>
                </a:cubicBezTo>
                <a:cubicBezTo>
                  <a:pt x="5311894" y="1600513"/>
                  <a:pt x="5322154" y="1590252"/>
                  <a:pt x="5332414" y="1592817"/>
                </a:cubicBezTo>
                <a:close/>
                <a:moveTo>
                  <a:pt x="2998361" y="1592799"/>
                </a:moveTo>
                <a:cubicBezTo>
                  <a:pt x="2993231" y="1610753"/>
                  <a:pt x="2982972" y="1628708"/>
                  <a:pt x="2967582" y="1641532"/>
                </a:cubicBezTo>
                <a:cubicBezTo>
                  <a:pt x="2957322" y="1636402"/>
                  <a:pt x="2947063" y="1646662"/>
                  <a:pt x="2939368" y="1664616"/>
                </a:cubicBezTo>
                <a:cubicBezTo>
                  <a:pt x="2936803" y="1690265"/>
                  <a:pt x="2936803" y="1713349"/>
                  <a:pt x="2936803" y="1738998"/>
                </a:cubicBezTo>
                <a:cubicBezTo>
                  <a:pt x="2947063" y="1741563"/>
                  <a:pt x="2957322" y="1744128"/>
                  <a:pt x="2967582" y="1746693"/>
                </a:cubicBezTo>
                <a:cubicBezTo>
                  <a:pt x="2970147" y="1731303"/>
                  <a:pt x="2972713" y="1715914"/>
                  <a:pt x="2975277" y="1700525"/>
                </a:cubicBezTo>
                <a:cubicBezTo>
                  <a:pt x="2982972" y="1664616"/>
                  <a:pt x="2990666" y="1628708"/>
                  <a:pt x="2998361" y="1592799"/>
                </a:cubicBezTo>
                <a:close/>
                <a:moveTo>
                  <a:pt x="3867860" y="1587701"/>
                </a:moveTo>
                <a:cubicBezTo>
                  <a:pt x="3872989" y="1585135"/>
                  <a:pt x="3872989" y="1590266"/>
                  <a:pt x="3872989" y="1592831"/>
                </a:cubicBezTo>
                <a:cubicBezTo>
                  <a:pt x="3870425" y="1592831"/>
                  <a:pt x="3870425" y="1592831"/>
                  <a:pt x="3870425" y="1595395"/>
                </a:cubicBezTo>
                <a:cubicBezTo>
                  <a:pt x="3867860" y="1595395"/>
                  <a:pt x="3867860" y="1590266"/>
                  <a:pt x="3867860" y="1587701"/>
                </a:cubicBezTo>
                <a:close/>
                <a:moveTo>
                  <a:pt x="4842519" y="1587700"/>
                </a:moveTo>
                <a:cubicBezTo>
                  <a:pt x="4842519" y="1605654"/>
                  <a:pt x="4834824" y="1605654"/>
                  <a:pt x="4824565" y="1600524"/>
                </a:cubicBezTo>
                <a:cubicBezTo>
                  <a:pt x="4827130" y="1595394"/>
                  <a:pt x="4829694" y="1587700"/>
                  <a:pt x="4842519" y="1587700"/>
                </a:cubicBezTo>
                <a:close/>
                <a:moveTo>
                  <a:pt x="5659197" y="1580808"/>
                </a:moveTo>
                <a:cubicBezTo>
                  <a:pt x="5660880" y="1580808"/>
                  <a:pt x="5657514" y="1590907"/>
                  <a:pt x="5655590" y="1585136"/>
                </a:cubicBezTo>
                <a:cubicBezTo>
                  <a:pt x="5657514" y="1581930"/>
                  <a:pt x="5658636" y="1580808"/>
                  <a:pt x="5659197" y="1580808"/>
                </a:cubicBezTo>
                <a:close/>
                <a:moveTo>
                  <a:pt x="5132993" y="1578723"/>
                </a:moveTo>
                <a:cubicBezTo>
                  <a:pt x="5137482" y="1578082"/>
                  <a:pt x="5141330" y="1580006"/>
                  <a:pt x="5140047" y="1587700"/>
                </a:cubicBezTo>
                <a:cubicBezTo>
                  <a:pt x="5134917" y="1585136"/>
                  <a:pt x="5129787" y="1585136"/>
                  <a:pt x="5122093" y="1585136"/>
                </a:cubicBezTo>
                <a:cubicBezTo>
                  <a:pt x="5123375" y="1582571"/>
                  <a:pt x="5128505" y="1579365"/>
                  <a:pt x="5132993" y="1578723"/>
                </a:cubicBezTo>
                <a:close/>
                <a:moveTo>
                  <a:pt x="4845084" y="1577441"/>
                </a:moveTo>
                <a:cubicBezTo>
                  <a:pt x="4847648" y="1577441"/>
                  <a:pt x="4850213" y="1577441"/>
                  <a:pt x="4852779" y="1577441"/>
                </a:cubicBezTo>
                <a:cubicBezTo>
                  <a:pt x="4850213" y="1582571"/>
                  <a:pt x="4850213" y="1587700"/>
                  <a:pt x="4842519" y="1585135"/>
                </a:cubicBezTo>
                <a:cubicBezTo>
                  <a:pt x="4842519" y="1582571"/>
                  <a:pt x="4845084" y="1582571"/>
                  <a:pt x="4845084" y="1577441"/>
                </a:cubicBezTo>
                <a:close/>
                <a:moveTo>
                  <a:pt x="2908591" y="1572318"/>
                </a:moveTo>
                <a:cubicBezTo>
                  <a:pt x="2913719" y="1569753"/>
                  <a:pt x="2913719" y="1585144"/>
                  <a:pt x="2906025" y="1582579"/>
                </a:cubicBezTo>
                <a:cubicBezTo>
                  <a:pt x="2906025" y="1577449"/>
                  <a:pt x="2908591" y="1577449"/>
                  <a:pt x="2908591" y="1572318"/>
                </a:cubicBezTo>
                <a:close/>
                <a:moveTo>
                  <a:pt x="5229818" y="1564617"/>
                </a:moveTo>
                <a:cubicBezTo>
                  <a:pt x="5234947" y="1564617"/>
                  <a:pt x="5237512" y="1564617"/>
                  <a:pt x="5242642" y="1564617"/>
                </a:cubicBezTo>
                <a:cubicBezTo>
                  <a:pt x="5242642" y="1572311"/>
                  <a:pt x="5242642" y="1577441"/>
                  <a:pt x="5240077" y="1580006"/>
                </a:cubicBezTo>
                <a:cubicBezTo>
                  <a:pt x="5232382" y="1582571"/>
                  <a:pt x="5232382" y="1574876"/>
                  <a:pt x="5229818" y="1564617"/>
                </a:cubicBezTo>
                <a:close/>
                <a:moveTo>
                  <a:pt x="5266688" y="1558846"/>
                </a:moveTo>
                <a:cubicBezTo>
                  <a:pt x="5268932" y="1559487"/>
                  <a:pt x="5270856" y="1560770"/>
                  <a:pt x="5275986" y="1562052"/>
                </a:cubicBezTo>
                <a:cubicBezTo>
                  <a:pt x="5278551" y="1572312"/>
                  <a:pt x="5273421" y="1577442"/>
                  <a:pt x="5268291" y="1585136"/>
                </a:cubicBezTo>
                <a:cubicBezTo>
                  <a:pt x="5265726" y="1582571"/>
                  <a:pt x="5260597" y="1580006"/>
                  <a:pt x="5260597" y="1585136"/>
                </a:cubicBezTo>
                <a:cubicBezTo>
                  <a:pt x="5250337" y="1577442"/>
                  <a:pt x="5252902" y="1569747"/>
                  <a:pt x="5255467" y="1559487"/>
                </a:cubicBezTo>
                <a:cubicBezTo>
                  <a:pt x="5261879" y="1558205"/>
                  <a:pt x="5264444" y="1558205"/>
                  <a:pt x="5266688" y="1558846"/>
                </a:cubicBezTo>
                <a:close/>
                <a:moveTo>
                  <a:pt x="3124040" y="1554326"/>
                </a:moveTo>
                <a:cubicBezTo>
                  <a:pt x="3118911" y="1582540"/>
                  <a:pt x="3111216" y="1610753"/>
                  <a:pt x="3106086" y="1636402"/>
                </a:cubicBezTo>
                <a:cubicBezTo>
                  <a:pt x="3111216" y="1628708"/>
                  <a:pt x="3113781" y="1621013"/>
                  <a:pt x="3118911" y="1613318"/>
                </a:cubicBezTo>
                <a:cubicBezTo>
                  <a:pt x="3121476" y="1595364"/>
                  <a:pt x="3121476" y="1574845"/>
                  <a:pt x="3124040" y="1554326"/>
                </a:cubicBezTo>
                <a:close/>
                <a:moveTo>
                  <a:pt x="3878120" y="1551771"/>
                </a:moveTo>
                <a:cubicBezTo>
                  <a:pt x="3890945" y="1556901"/>
                  <a:pt x="3878120" y="1569725"/>
                  <a:pt x="3880684" y="1579984"/>
                </a:cubicBezTo>
                <a:cubicBezTo>
                  <a:pt x="3875555" y="1572290"/>
                  <a:pt x="3875555" y="1556901"/>
                  <a:pt x="3878120" y="1551771"/>
                </a:cubicBezTo>
                <a:close/>
                <a:moveTo>
                  <a:pt x="6532142" y="1546984"/>
                </a:moveTo>
                <a:cubicBezTo>
                  <a:pt x="6534707" y="1546022"/>
                  <a:pt x="6537913" y="1546663"/>
                  <a:pt x="6540478" y="1549228"/>
                </a:cubicBezTo>
                <a:cubicBezTo>
                  <a:pt x="6537914" y="1554358"/>
                  <a:pt x="6535348" y="1554358"/>
                  <a:pt x="6527653" y="1554358"/>
                </a:cubicBezTo>
                <a:cubicBezTo>
                  <a:pt x="6527653" y="1550511"/>
                  <a:pt x="6529577" y="1547946"/>
                  <a:pt x="6532142" y="1546984"/>
                </a:cubicBezTo>
                <a:close/>
                <a:moveTo>
                  <a:pt x="4932291" y="1541534"/>
                </a:moveTo>
                <a:cubicBezTo>
                  <a:pt x="4942550" y="1544099"/>
                  <a:pt x="4932291" y="1546664"/>
                  <a:pt x="4934856" y="1559488"/>
                </a:cubicBezTo>
                <a:cubicBezTo>
                  <a:pt x="4932291" y="1554358"/>
                  <a:pt x="4927161" y="1546664"/>
                  <a:pt x="4932291" y="1541534"/>
                </a:cubicBezTo>
                <a:close/>
                <a:moveTo>
                  <a:pt x="3924648" y="1536021"/>
                </a:moveTo>
                <a:cubicBezTo>
                  <a:pt x="3923806" y="1539749"/>
                  <a:pt x="3920439" y="1551772"/>
                  <a:pt x="3924287" y="1536381"/>
                </a:cubicBezTo>
                <a:cubicBezTo>
                  <a:pt x="3924929" y="1534458"/>
                  <a:pt x="3924928" y="1534779"/>
                  <a:pt x="3924648" y="1536021"/>
                </a:cubicBezTo>
                <a:close/>
                <a:moveTo>
                  <a:pt x="4065997" y="1535741"/>
                </a:moveTo>
                <a:cubicBezTo>
                  <a:pt x="4068562" y="1538305"/>
                  <a:pt x="4070486" y="1542794"/>
                  <a:pt x="4070486" y="1546641"/>
                </a:cubicBezTo>
                <a:cubicBezTo>
                  <a:pt x="4065356" y="1546641"/>
                  <a:pt x="4062791" y="1538947"/>
                  <a:pt x="4057662" y="1536382"/>
                </a:cubicBezTo>
                <a:cubicBezTo>
                  <a:pt x="4060226" y="1532534"/>
                  <a:pt x="4063432" y="1533175"/>
                  <a:pt x="4065997" y="1535741"/>
                </a:cubicBezTo>
                <a:close/>
                <a:moveTo>
                  <a:pt x="4960505" y="1533839"/>
                </a:moveTo>
                <a:cubicBezTo>
                  <a:pt x="4965634" y="1533839"/>
                  <a:pt x="4965634" y="1549229"/>
                  <a:pt x="4957940" y="1541534"/>
                </a:cubicBezTo>
                <a:cubicBezTo>
                  <a:pt x="4957940" y="1541534"/>
                  <a:pt x="4957940" y="1538969"/>
                  <a:pt x="4957940" y="1536404"/>
                </a:cubicBezTo>
                <a:cubicBezTo>
                  <a:pt x="4960505" y="1536404"/>
                  <a:pt x="4960505" y="1536404"/>
                  <a:pt x="4960505" y="1533839"/>
                </a:cubicBezTo>
                <a:close/>
                <a:moveTo>
                  <a:pt x="4791341" y="1528749"/>
                </a:moveTo>
                <a:cubicBezTo>
                  <a:pt x="4797473" y="1533678"/>
                  <a:pt x="4798916" y="1556282"/>
                  <a:pt x="4798916" y="1554358"/>
                </a:cubicBezTo>
                <a:cubicBezTo>
                  <a:pt x="4798916" y="1603091"/>
                  <a:pt x="4788657" y="1538969"/>
                  <a:pt x="4783527" y="1531274"/>
                </a:cubicBezTo>
                <a:cubicBezTo>
                  <a:pt x="4786733" y="1527427"/>
                  <a:pt x="4789298" y="1527106"/>
                  <a:pt x="4791341" y="1528749"/>
                </a:cubicBezTo>
                <a:close/>
                <a:moveTo>
                  <a:pt x="6625120" y="1528709"/>
                </a:moveTo>
                <a:cubicBezTo>
                  <a:pt x="6625120" y="1528709"/>
                  <a:pt x="6627684" y="1528709"/>
                  <a:pt x="6630249" y="1528709"/>
                </a:cubicBezTo>
                <a:cubicBezTo>
                  <a:pt x="6630249" y="1531275"/>
                  <a:pt x="6627684" y="1533840"/>
                  <a:pt x="6627684" y="1536404"/>
                </a:cubicBezTo>
                <a:cubicBezTo>
                  <a:pt x="6625120" y="1536404"/>
                  <a:pt x="6625120" y="1536404"/>
                  <a:pt x="6622555" y="1536404"/>
                </a:cubicBezTo>
                <a:cubicBezTo>
                  <a:pt x="6622555" y="1533840"/>
                  <a:pt x="6625120" y="1531275"/>
                  <a:pt x="6625120" y="1528709"/>
                </a:cubicBezTo>
                <a:close/>
                <a:moveTo>
                  <a:pt x="4191036" y="1526112"/>
                </a:moveTo>
                <a:cubicBezTo>
                  <a:pt x="4173082" y="1538935"/>
                  <a:pt x="4157692" y="1551761"/>
                  <a:pt x="4142303" y="1567150"/>
                </a:cubicBezTo>
                <a:cubicBezTo>
                  <a:pt x="4119219" y="1621013"/>
                  <a:pt x="4096135" y="1677441"/>
                  <a:pt x="4073051" y="1731303"/>
                </a:cubicBezTo>
                <a:cubicBezTo>
                  <a:pt x="4080746" y="1726174"/>
                  <a:pt x="4088440" y="1723609"/>
                  <a:pt x="4096135" y="1718479"/>
                </a:cubicBezTo>
                <a:cubicBezTo>
                  <a:pt x="4116654" y="1705654"/>
                  <a:pt x="4137173" y="1687700"/>
                  <a:pt x="4157692" y="1667181"/>
                </a:cubicBezTo>
                <a:cubicBezTo>
                  <a:pt x="4170517" y="1621013"/>
                  <a:pt x="4180776" y="1572280"/>
                  <a:pt x="4191036" y="1526112"/>
                </a:cubicBezTo>
                <a:close/>
                <a:moveTo>
                  <a:pt x="3170209" y="1526112"/>
                </a:moveTo>
                <a:cubicBezTo>
                  <a:pt x="3157384" y="1556891"/>
                  <a:pt x="3141995" y="1585104"/>
                  <a:pt x="3126605" y="1613318"/>
                </a:cubicBezTo>
                <a:cubicBezTo>
                  <a:pt x="3126605" y="1623578"/>
                  <a:pt x="3126605" y="1631273"/>
                  <a:pt x="3126605" y="1638967"/>
                </a:cubicBezTo>
                <a:cubicBezTo>
                  <a:pt x="3126605" y="1680005"/>
                  <a:pt x="3131736" y="1718479"/>
                  <a:pt x="3141995" y="1751823"/>
                </a:cubicBezTo>
                <a:cubicBezTo>
                  <a:pt x="3152254" y="1713349"/>
                  <a:pt x="3159949" y="1674876"/>
                  <a:pt x="3165079" y="1636402"/>
                </a:cubicBezTo>
                <a:cubicBezTo>
                  <a:pt x="3159949" y="1636402"/>
                  <a:pt x="3154819" y="1636402"/>
                  <a:pt x="3149689" y="1631273"/>
                </a:cubicBezTo>
                <a:cubicBezTo>
                  <a:pt x="3154819" y="1623578"/>
                  <a:pt x="3154819" y="1623578"/>
                  <a:pt x="3154819" y="1608189"/>
                </a:cubicBezTo>
                <a:cubicBezTo>
                  <a:pt x="3159949" y="1610753"/>
                  <a:pt x="3165079" y="1608189"/>
                  <a:pt x="3167644" y="1608189"/>
                </a:cubicBezTo>
                <a:cubicBezTo>
                  <a:pt x="3170209" y="1582540"/>
                  <a:pt x="3172774" y="1554326"/>
                  <a:pt x="3170209" y="1526112"/>
                </a:cubicBezTo>
                <a:close/>
                <a:moveTo>
                  <a:pt x="3957631" y="1520993"/>
                </a:moveTo>
                <a:cubicBezTo>
                  <a:pt x="3962760" y="1518427"/>
                  <a:pt x="3960196" y="1528688"/>
                  <a:pt x="3962760" y="1531252"/>
                </a:cubicBezTo>
                <a:cubicBezTo>
                  <a:pt x="3957631" y="1531252"/>
                  <a:pt x="3957631" y="1526123"/>
                  <a:pt x="3957631" y="1520993"/>
                </a:cubicBezTo>
                <a:close/>
                <a:moveTo>
                  <a:pt x="4937420" y="1505626"/>
                </a:moveTo>
                <a:cubicBezTo>
                  <a:pt x="4937420" y="1510755"/>
                  <a:pt x="4939985" y="1518450"/>
                  <a:pt x="4934855" y="1518450"/>
                </a:cubicBezTo>
                <a:cubicBezTo>
                  <a:pt x="4932290" y="1518450"/>
                  <a:pt x="4929726" y="1518450"/>
                  <a:pt x="4929726" y="1518450"/>
                </a:cubicBezTo>
                <a:cubicBezTo>
                  <a:pt x="4934855" y="1513320"/>
                  <a:pt x="4924596" y="1505626"/>
                  <a:pt x="4937420" y="1505626"/>
                </a:cubicBezTo>
                <a:close/>
                <a:moveTo>
                  <a:pt x="5501697" y="1503061"/>
                </a:moveTo>
                <a:cubicBezTo>
                  <a:pt x="5501697" y="1503061"/>
                  <a:pt x="5504262" y="1503061"/>
                  <a:pt x="5506827" y="1503061"/>
                </a:cubicBezTo>
                <a:cubicBezTo>
                  <a:pt x="5506827" y="1505626"/>
                  <a:pt x="5506827" y="1508191"/>
                  <a:pt x="5506827" y="1508191"/>
                </a:cubicBezTo>
                <a:cubicBezTo>
                  <a:pt x="5504262" y="1508191"/>
                  <a:pt x="5504262" y="1508191"/>
                  <a:pt x="5501697" y="1508191"/>
                </a:cubicBezTo>
                <a:cubicBezTo>
                  <a:pt x="5501697" y="1508191"/>
                  <a:pt x="5501697" y="1505626"/>
                  <a:pt x="5501697" y="1503061"/>
                </a:cubicBezTo>
                <a:close/>
                <a:moveTo>
                  <a:pt x="4370579" y="1497265"/>
                </a:moveTo>
                <a:cubicBezTo>
                  <a:pt x="4373785" y="1498547"/>
                  <a:pt x="4376991" y="1500471"/>
                  <a:pt x="4383404" y="1500471"/>
                </a:cubicBezTo>
                <a:cubicBezTo>
                  <a:pt x="4380839" y="1503036"/>
                  <a:pt x="4380839" y="1505601"/>
                  <a:pt x="4380839" y="1510730"/>
                </a:cubicBezTo>
                <a:cubicBezTo>
                  <a:pt x="4411617" y="1520991"/>
                  <a:pt x="4396228" y="1556900"/>
                  <a:pt x="4388533" y="1572289"/>
                </a:cubicBezTo>
                <a:cubicBezTo>
                  <a:pt x="4375709" y="1572289"/>
                  <a:pt x="4373144" y="1562029"/>
                  <a:pt x="4378274" y="1577419"/>
                </a:cubicBezTo>
                <a:cubicBezTo>
                  <a:pt x="4375709" y="1574854"/>
                  <a:pt x="4362884" y="1574854"/>
                  <a:pt x="4365449" y="1582549"/>
                </a:cubicBezTo>
                <a:cubicBezTo>
                  <a:pt x="4362884" y="1574854"/>
                  <a:pt x="4352625" y="1569724"/>
                  <a:pt x="4347495" y="1577419"/>
                </a:cubicBezTo>
                <a:cubicBezTo>
                  <a:pt x="4342365" y="1574854"/>
                  <a:pt x="4339801" y="1572289"/>
                  <a:pt x="4337235" y="1567159"/>
                </a:cubicBezTo>
                <a:cubicBezTo>
                  <a:pt x="4337235" y="1562029"/>
                  <a:pt x="4337235" y="1556900"/>
                  <a:pt x="4342365" y="1556900"/>
                </a:cubicBezTo>
                <a:cubicBezTo>
                  <a:pt x="4339801" y="1551770"/>
                  <a:pt x="4337235" y="1549205"/>
                  <a:pt x="4332105" y="1549205"/>
                </a:cubicBezTo>
                <a:cubicBezTo>
                  <a:pt x="4329540" y="1546640"/>
                  <a:pt x="4334669" y="1538944"/>
                  <a:pt x="4329540" y="1538944"/>
                </a:cubicBezTo>
                <a:cubicBezTo>
                  <a:pt x="4332105" y="1536380"/>
                  <a:pt x="4334669" y="1533816"/>
                  <a:pt x="4337235" y="1533816"/>
                </a:cubicBezTo>
                <a:cubicBezTo>
                  <a:pt x="4332105" y="1528685"/>
                  <a:pt x="4334669" y="1526121"/>
                  <a:pt x="4334669" y="1518425"/>
                </a:cubicBezTo>
                <a:cubicBezTo>
                  <a:pt x="4339801" y="1528685"/>
                  <a:pt x="4337235" y="1510730"/>
                  <a:pt x="4344930" y="1505601"/>
                </a:cubicBezTo>
                <a:cubicBezTo>
                  <a:pt x="4350060" y="1508166"/>
                  <a:pt x="4360319" y="1505601"/>
                  <a:pt x="4357755" y="1497906"/>
                </a:cubicBezTo>
                <a:cubicBezTo>
                  <a:pt x="4364167" y="1495341"/>
                  <a:pt x="4367373" y="1495983"/>
                  <a:pt x="4370579" y="1497265"/>
                </a:cubicBezTo>
                <a:close/>
                <a:moveTo>
                  <a:pt x="4078181" y="1479943"/>
                </a:moveTo>
                <a:cubicBezTo>
                  <a:pt x="4070486" y="1487638"/>
                  <a:pt x="4060226" y="1492767"/>
                  <a:pt x="4052532" y="1500462"/>
                </a:cubicBezTo>
                <a:cubicBezTo>
                  <a:pt x="4014058" y="1531242"/>
                  <a:pt x="3973020" y="1562020"/>
                  <a:pt x="3944806" y="1615883"/>
                </a:cubicBezTo>
                <a:cubicBezTo>
                  <a:pt x="3926852" y="1646662"/>
                  <a:pt x="3914028" y="1682570"/>
                  <a:pt x="3903768" y="1721044"/>
                </a:cubicBezTo>
                <a:cubicBezTo>
                  <a:pt x="3911463" y="1726174"/>
                  <a:pt x="3919157" y="1733868"/>
                  <a:pt x="3931982" y="1728738"/>
                </a:cubicBezTo>
                <a:cubicBezTo>
                  <a:pt x="3931982" y="1733868"/>
                  <a:pt x="3934547" y="1741563"/>
                  <a:pt x="3937111" y="1746693"/>
                </a:cubicBezTo>
                <a:cubicBezTo>
                  <a:pt x="3947371" y="1695395"/>
                  <a:pt x="3962760" y="1646662"/>
                  <a:pt x="3985845" y="1605624"/>
                </a:cubicBezTo>
                <a:cubicBezTo>
                  <a:pt x="4014058" y="1554326"/>
                  <a:pt x="4044837" y="1515852"/>
                  <a:pt x="4078181" y="1479943"/>
                </a:cubicBezTo>
                <a:close/>
                <a:moveTo>
                  <a:pt x="3967891" y="1477389"/>
                </a:moveTo>
                <a:cubicBezTo>
                  <a:pt x="3973021" y="1477389"/>
                  <a:pt x="3973021" y="1485084"/>
                  <a:pt x="3973021" y="1490214"/>
                </a:cubicBezTo>
                <a:cubicBezTo>
                  <a:pt x="3967891" y="1490214"/>
                  <a:pt x="3965326" y="1479954"/>
                  <a:pt x="3967891" y="1477389"/>
                </a:cubicBezTo>
                <a:close/>
                <a:moveTo>
                  <a:pt x="2982972" y="1472248"/>
                </a:moveTo>
                <a:cubicBezTo>
                  <a:pt x="2970147" y="1500462"/>
                  <a:pt x="2959887" y="1526112"/>
                  <a:pt x="2949629" y="1554326"/>
                </a:cubicBezTo>
                <a:cubicBezTo>
                  <a:pt x="2952193" y="1551761"/>
                  <a:pt x="2954758" y="1551761"/>
                  <a:pt x="2957322" y="1549196"/>
                </a:cubicBezTo>
                <a:cubicBezTo>
                  <a:pt x="2957322" y="1549196"/>
                  <a:pt x="2957322" y="1546631"/>
                  <a:pt x="2957322" y="1546631"/>
                </a:cubicBezTo>
                <a:cubicBezTo>
                  <a:pt x="2965017" y="1520981"/>
                  <a:pt x="2972713" y="1497898"/>
                  <a:pt x="2982972" y="1472248"/>
                </a:cubicBezTo>
                <a:close/>
                <a:moveTo>
                  <a:pt x="3916593" y="1469696"/>
                </a:moveTo>
                <a:cubicBezTo>
                  <a:pt x="3919157" y="1472261"/>
                  <a:pt x="3921722" y="1472261"/>
                  <a:pt x="3924287" y="1472261"/>
                </a:cubicBezTo>
                <a:cubicBezTo>
                  <a:pt x="3921722" y="1477390"/>
                  <a:pt x="3919157" y="1479955"/>
                  <a:pt x="3919157" y="1482520"/>
                </a:cubicBezTo>
                <a:cubicBezTo>
                  <a:pt x="3916593" y="1482520"/>
                  <a:pt x="3919157" y="1474826"/>
                  <a:pt x="3916593" y="1469696"/>
                </a:cubicBezTo>
                <a:close/>
                <a:moveTo>
                  <a:pt x="4934855" y="1454329"/>
                </a:moveTo>
                <a:cubicBezTo>
                  <a:pt x="4947681" y="1456894"/>
                  <a:pt x="4932290" y="1472284"/>
                  <a:pt x="4934855" y="1454329"/>
                </a:cubicBezTo>
                <a:close/>
                <a:moveTo>
                  <a:pt x="4752748" y="1444071"/>
                </a:moveTo>
                <a:cubicBezTo>
                  <a:pt x="4760442" y="1441505"/>
                  <a:pt x="4760442" y="1459460"/>
                  <a:pt x="4752748" y="1451764"/>
                </a:cubicBezTo>
                <a:cubicBezTo>
                  <a:pt x="4752748" y="1449200"/>
                  <a:pt x="4752748" y="1446635"/>
                  <a:pt x="4752748" y="1444071"/>
                </a:cubicBezTo>
                <a:close/>
                <a:moveTo>
                  <a:pt x="4950245" y="1442146"/>
                </a:moveTo>
                <a:cubicBezTo>
                  <a:pt x="4951527" y="1442146"/>
                  <a:pt x="4952809" y="1442787"/>
                  <a:pt x="4952809" y="1444070"/>
                </a:cubicBezTo>
                <a:cubicBezTo>
                  <a:pt x="4950244" y="1449200"/>
                  <a:pt x="4950244" y="1444070"/>
                  <a:pt x="4947680" y="1444070"/>
                </a:cubicBezTo>
                <a:cubicBezTo>
                  <a:pt x="4947680" y="1442787"/>
                  <a:pt x="4948963" y="1442146"/>
                  <a:pt x="4950245" y="1442146"/>
                </a:cubicBezTo>
                <a:close/>
                <a:moveTo>
                  <a:pt x="5476008" y="1438620"/>
                </a:moveTo>
                <a:cubicBezTo>
                  <a:pt x="5477330" y="1439581"/>
                  <a:pt x="5475406" y="1449200"/>
                  <a:pt x="5473483" y="1441505"/>
                </a:cubicBezTo>
                <a:cubicBezTo>
                  <a:pt x="5474766" y="1438940"/>
                  <a:pt x="5475567" y="1438299"/>
                  <a:pt x="5476008" y="1438620"/>
                </a:cubicBezTo>
                <a:close/>
                <a:moveTo>
                  <a:pt x="5891561" y="1436376"/>
                </a:moveTo>
                <a:cubicBezTo>
                  <a:pt x="5904385" y="1446634"/>
                  <a:pt x="5881300" y="1464588"/>
                  <a:pt x="5876170" y="1485108"/>
                </a:cubicBezTo>
                <a:cubicBezTo>
                  <a:pt x="5871040" y="1469718"/>
                  <a:pt x="5886431" y="1449199"/>
                  <a:pt x="5891561" y="1436376"/>
                </a:cubicBezTo>
                <a:close/>
                <a:moveTo>
                  <a:pt x="5178520" y="1433811"/>
                </a:moveTo>
                <a:cubicBezTo>
                  <a:pt x="5168260" y="1438940"/>
                  <a:pt x="5168260" y="1456895"/>
                  <a:pt x="5155436" y="1449200"/>
                </a:cubicBezTo>
                <a:cubicBezTo>
                  <a:pt x="5160566" y="1441505"/>
                  <a:pt x="5168260" y="1428680"/>
                  <a:pt x="5178520" y="1433811"/>
                </a:cubicBezTo>
                <a:close/>
                <a:moveTo>
                  <a:pt x="4503953" y="1431246"/>
                </a:moveTo>
                <a:cubicBezTo>
                  <a:pt x="4496258" y="1438940"/>
                  <a:pt x="4509083" y="1438940"/>
                  <a:pt x="4506518" y="1449200"/>
                </a:cubicBezTo>
                <a:cubicBezTo>
                  <a:pt x="4498823" y="1446635"/>
                  <a:pt x="4501388" y="1433811"/>
                  <a:pt x="4491129" y="1436376"/>
                </a:cubicBezTo>
                <a:cubicBezTo>
                  <a:pt x="4493694" y="1431246"/>
                  <a:pt x="4496258" y="1431246"/>
                  <a:pt x="4503953" y="1431246"/>
                </a:cubicBezTo>
                <a:close/>
                <a:moveTo>
                  <a:pt x="3031704" y="1426080"/>
                </a:moveTo>
                <a:cubicBezTo>
                  <a:pt x="3021445" y="1444034"/>
                  <a:pt x="3011185" y="1461989"/>
                  <a:pt x="3003492" y="1479943"/>
                </a:cubicBezTo>
                <a:cubicBezTo>
                  <a:pt x="2995796" y="1497898"/>
                  <a:pt x="2988101" y="1515852"/>
                  <a:pt x="2980406" y="1533807"/>
                </a:cubicBezTo>
                <a:cubicBezTo>
                  <a:pt x="2985536" y="1531242"/>
                  <a:pt x="2990666" y="1526112"/>
                  <a:pt x="2995796" y="1523547"/>
                </a:cubicBezTo>
                <a:cubicBezTo>
                  <a:pt x="3000926" y="1520981"/>
                  <a:pt x="3008620" y="1518416"/>
                  <a:pt x="3013751" y="1518416"/>
                </a:cubicBezTo>
                <a:cubicBezTo>
                  <a:pt x="3018880" y="1487638"/>
                  <a:pt x="3026575" y="1456859"/>
                  <a:pt x="3031704" y="1426080"/>
                </a:cubicBezTo>
                <a:close/>
                <a:moveTo>
                  <a:pt x="3914028" y="1415832"/>
                </a:moveTo>
                <a:cubicBezTo>
                  <a:pt x="3919157" y="1411984"/>
                  <a:pt x="3924287" y="1412626"/>
                  <a:pt x="3928135" y="1415832"/>
                </a:cubicBezTo>
                <a:cubicBezTo>
                  <a:pt x="3931982" y="1419038"/>
                  <a:pt x="3934547" y="1424809"/>
                  <a:pt x="3934547" y="1431222"/>
                </a:cubicBezTo>
                <a:cubicBezTo>
                  <a:pt x="3921722" y="1433786"/>
                  <a:pt x="3916593" y="1426092"/>
                  <a:pt x="3914028" y="1415832"/>
                </a:cubicBezTo>
                <a:close/>
                <a:moveTo>
                  <a:pt x="4693755" y="1405597"/>
                </a:moveTo>
                <a:cubicBezTo>
                  <a:pt x="4701449" y="1403033"/>
                  <a:pt x="4691190" y="1420987"/>
                  <a:pt x="4698885" y="1420987"/>
                </a:cubicBezTo>
                <a:cubicBezTo>
                  <a:pt x="4693755" y="1431246"/>
                  <a:pt x="4693755" y="1410727"/>
                  <a:pt x="4693755" y="1405597"/>
                </a:cubicBezTo>
                <a:close/>
                <a:moveTo>
                  <a:pt x="5619682" y="1397882"/>
                </a:moveTo>
                <a:cubicBezTo>
                  <a:pt x="5627376" y="1408141"/>
                  <a:pt x="5629941" y="1428660"/>
                  <a:pt x="5642765" y="1426095"/>
                </a:cubicBezTo>
                <a:cubicBezTo>
                  <a:pt x="5645330" y="1438920"/>
                  <a:pt x="5635071" y="1456874"/>
                  <a:pt x="5637636" y="1469699"/>
                </a:cubicBezTo>
                <a:cubicBezTo>
                  <a:pt x="5624811" y="1477393"/>
                  <a:pt x="5622247" y="1479958"/>
                  <a:pt x="5617117" y="1487653"/>
                </a:cubicBezTo>
                <a:cubicBezTo>
                  <a:pt x="5601727" y="1492783"/>
                  <a:pt x="5586338" y="1482523"/>
                  <a:pt x="5578643" y="1482523"/>
                </a:cubicBezTo>
                <a:cubicBezTo>
                  <a:pt x="5578643" y="1474828"/>
                  <a:pt x="5578643" y="1469699"/>
                  <a:pt x="5568383" y="1464569"/>
                </a:cubicBezTo>
                <a:cubicBezTo>
                  <a:pt x="5576078" y="1454309"/>
                  <a:pt x="5573512" y="1433790"/>
                  <a:pt x="5576078" y="1420966"/>
                </a:cubicBezTo>
                <a:cubicBezTo>
                  <a:pt x="5588903" y="1423531"/>
                  <a:pt x="5601727" y="1405576"/>
                  <a:pt x="5619682" y="1397882"/>
                </a:cubicBezTo>
                <a:close/>
                <a:moveTo>
                  <a:pt x="5188780" y="1392774"/>
                </a:moveTo>
                <a:cubicBezTo>
                  <a:pt x="5191345" y="1392774"/>
                  <a:pt x="5193909" y="1392774"/>
                  <a:pt x="5196474" y="1392774"/>
                </a:cubicBezTo>
                <a:cubicBezTo>
                  <a:pt x="5196474" y="1395339"/>
                  <a:pt x="5196474" y="1397904"/>
                  <a:pt x="5196474" y="1397904"/>
                </a:cubicBezTo>
                <a:cubicBezTo>
                  <a:pt x="5193909" y="1397904"/>
                  <a:pt x="5191345" y="1397904"/>
                  <a:pt x="5188780" y="1397904"/>
                </a:cubicBezTo>
                <a:cubicBezTo>
                  <a:pt x="5188780" y="1397904"/>
                  <a:pt x="5188780" y="1395339"/>
                  <a:pt x="5188780" y="1392774"/>
                </a:cubicBezTo>
                <a:close/>
                <a:moveTo>
                  <a:pt x="2898330" y="1387649"/>
                </a:moveTo>
                <a:cubicBezTo>
                  <a:pt x="2906025" y="1387649"/>
                  <a:pt x="2908591" y="1392779"/>
                  <a:pt x="2913719" y="1395342"/>
                </a:cubicBezTo>
                <a:cubicBezTo>
                  <a:pt x="2916284" y="1392779"/>
                  <a:pt x="2916284" y="1390214"/>
                  <a:pt x="2918850" y="1387649"/>
                </a:cubicBezTo>
                <a:cubicBezTo>
                  <a:pt x="2921414" y="1390214"/>
                  <a:pt x="2923979" y="1390214"/>
                  <a:pt x="2926544" y="1390214"/>
                </a:cubicBezTo>
                <a:cubicBezTo>
                  <a:pt x="2921414" y="1395342"/>
                  <a:pt x="2926544" y="1392779"/>
                  <a:pt x="2926544" y="1400473"/>
                </a:cubicBezTo>
                <a:cubicBezTo>
                  <a:pt x="2921414" y="1403038"/>
                  <a:pt x="2921414" y="1397908"/>
                  <a:pt x="2921414" y="1392779"/>
                </a:cubicBezTo>
                <a:cubicBezTo>
                  <a:pt x="2913719" y="1395342"/>
                  <a:pt x="2923979" y="1400473"/>
                  <a:pt x="2921414" y="1405603"/>
                </a:cubicBezTo>
                <a:cubicBezTo>
                  <a:pt x="2931673" y="1397908"/>
                  <a:pt x="2918850" y="1410732"/>
                  <a:pt x="2929109" y="1408167"/>
                </a:cubicBezTo>
                <a:cubicBezTo>
                  <a:pt x="2929109" y="1413298"/>
                  <a:pt x="2926544" y="1415862"/>
                  <a:pt x="2921414" y="1415862"/>
                </a:cubicBezTo>
                <a:cubicBezTo>
                  <a:pt x="2923979" y="1423556"/>
                  <a:pt x="2929109" y="1410732"/>
                  <a:pt x="2936803" y="1413298"/>
                </a:cubicBezTo>
                <a:cubicBezTo>
                  <a:pt x="2939368" y="1431251"/>
                  <a:pt x="2929109" y="1413298"/>
                  <a:pt x="2929109" y="1428687"/>
                </a:cubicBezTo>
                <a:cubicBezTo>
                  <a:pt x="2921414" y="1426122"/>
                  <a:pt x="2921414" y="1420991"/>
                  <a:pt x="2911154" y="1426122"/>
                </a:cubicBezTo>
                <a:cubicBezTo>
                  <a:pt x="2906025" y="1423556"/>
                  <a:pt x="2913719" y="1420991"/>
                  <a:pt x="2908591" y="1418427"/>
                </a:cubicBezTo>
                <a:cubicBezTo>
                  <a:pt x="2911154" y="1413298"/>
                  <a:pt x="2923979" y="1418427"/>
                  <a:pt x="2921414" y="1408167"/>
                </a:cubicBezTo>
                <a:cubicBezTo>
                  <a:pt x="2918850" y="1408167"/>
                  <a:pt x="2918850" y="1413298"/>
                  <a:pt x="2916284" y="1413298"/>
                </a:cubicBezTo>
                <a:cubicBezTo>
                  <a:pt x="2908591" y="1413298"/>
                  <a:pt x="2913719" y="1405603"/>
                  <a:pt x="2903460" y="1410732"/>
                </a:cubicBezTo>
                <a:cubicBezTo>
                  <a:pt x="2900895" y="1403038"/>
                  <a:pt x="2906025" y="1405603"/>
                  <a:pt x="2906025" y="1397908"/>
                </a:cubicBezTo>
                <a:cubicBezTo>
                  <a:pt x="2903460" y="1400473"/>
                  <a:pt x="2903460" y="1403038"/>
                  <a:pt x="2900895" y="1405603"/>
                </a:cubicBezTo>
                <a:cubicBezTo>
                  <a:pt x="2890634" y="1403038"/>
                  <a:pt x="2906025" y="1397908"/>
                  <a:pt x="2898330" y="1387649"/>
                </a:cubicBezTo>
                <a:close/>
                <a:moveTo>
                  <a:pt x="2908591" y="1379955"/>
                </a:moveTo>
                <a:cubicBezTo>
                  <a:pt x="2916284" y="1377390"/>
                  <a:pt x="2916284" y="1382520"/>
                  <a:pt x="2916284" y="1390215"/>
                </a:cubicBezTo>
                <a:cubicBezTo>
                  <a:pt x="2908591" y="1390215"/>
                  <a:pt x="2903460" y="1385085"/>
                  <a:pt x="2908591" y="1379955"/>
                </a:cubicBezTo>
                <a:close/>
                <a:moveTo>
                  <a:pt x="4224380" y="1377347"/>
                </a:moveTo>
                <a:cubicBezTo>
                  <a:pt x="4198731" y="1433775"/>
                  <a:pt x="4173082" y="1492767"/>
                  <a:pt x="4149998" y="1551761"/>
                </a:cubicBezTo>
                <a:cubicBezTo>
                  <a:pt x="4162822" y="1538935"/>
                  <a:pt x="4178212" y="1526112"/>
                  <a:pt x="4193601" y="1515852"/>
                </a:cubicBezTo>
                <a:cubicBezTo>
                  <a:pt x="4201296" y="1469683"/>
                  <a:pt x="4211555" y="1423515"/>
                  <a:pt x="4224380" y="1377347"/>
                </a:cubicBezTo>
                <a:close/>
                <a:moveTo>
                  <a:pt x="4637328" y="1374820"/>
                </a:moveTo>
                <a:cubicBezTo>
                  <a:pt x="4637328" y="1374820"/>
                  <a:pt x="4639893" y="1374820"/>
                  <a:pt x="4642457" y="1374820"/>
                </a:cubicBezTo>
                <a:cubicBezTo>
                  <a:pt x="4642457" y="1374820"/>
                  <a:pt x="4642457" y="1377385"/>
                  <a:pt x="4642457" y="1379951"/>
                </a:cubicBezTo>
                <a:cubicBezTo>
                  <a:pt x="4639893" y="1379951"/>
                  <a:pt x="4637328" y="1379951"/>
                  <a:pt x="4637328" y="1379951"/>
                </a:cubicBezTo>
                <a:cubicBezTo>
                  <a:pt x="4637328" y="1379951"/>
                  <a:pt x="4637328" y="1377385"/>
                  <a:pt x="4637328" y="1374820"/>
                </a:cubicBezTo>
                <a:close/>
                <a:moveTo>
                  <a:pt x="3867860" y="1372228"/>
                </a:moveTo>
                <a:cubicBezTo>
                  <a:pt x="3867860" y="1379922"/>
                  <a:pt x="3867860" y="1390182"/>
                  <a:pt x="3857600" y="1390182"/>
                </a:cubicBezTo>
                <a:cubicBezTo>
                  <a:pt x="3860165" y="1395312"/>
                  <a:pt x="3865295" y="1392747"/>
                  <a:pt x="3860165" y="1397877"/>
                </a:cubicBezTo>
                <a:cubicBezTo>
                  <a:pt x="3865295" y="1395312"/>
                  <a:pt x="3867860" y="1387617"/>
                  <a:pt x="3872989" y="1382487"/>
                </a:cubicBezTo>
                <a:cubicBezTo>
                  <a:pt x="3872989" y="1382487"/>
                  <a:pt x="3862730" y="1405571"/>
                  <a:pt x="3867860" y="1410701"/>
                </a:cubicBezTo>
                <a:cubicBezTo>
                  <a:pt x="3865295" y="1418396"/>
                  <a:pt x="3860165" y="1403006"/>
                  <a:pt x="3865295" y="1400441"/>
                </a:cubicBezTo>
                <a:cubicBezTo>
                  <a:pt x="3855035" y="1400441"/>
                  <a:pt x="3855035" y="1405571"/>
                  <a:pt x="3857600" y="1410701"/>
                </a:cubicBezTo>
                <a:cubicBezTo>
                  <a:pt x="3852470" y="1408136"/>
                  <a:pt x="3847340" y="1408136"/>
                  <a:pt x="3852470" y="1413266"/>
                </a:cubicBezTo>
                <a:cubicBezTo>
                  <a:pt x="3849905" y="1420961"/>
                  <a:pt x="3844776" y="1405571"/>
                  <a:pt x="3844776" y="1413266"/>
                </a:cubicBezTo>
                <a:cubicBezTo>
                  <a:pt x="3844776" y="1403006"/>
                  <a:pt x="3849905" y="1395312"/>
                  <a:pt x="3852470" y="1374793"/>
                </a:cubicBezTo>
                <a:cubicBezTo>
                  <a:pt x="3857600" y="1377358"/>
                  <a:pt x="3857600" y="1379922"/>
                  <a:pt x="3855035" y="1382487"/>
                </a:cubicBezTo>
                <a:cubicBezTo>
                  <a:pt x="3860165" y="1379922"/>
                  <a:pt x="3860165" y="1372228"/>
                  <a:pt x="3867860" y="1372228"/>
                </a:cubicBezTo>
                <a:close/>
                <a:moveTo>
                  <a:pt x="5965943" y="1370331"/>
                </a:moveTo>
                <a:cubicBezTo>
                  <a:pt x="5967226" y="1370331"/>
                  <a:pt x="5968508" y="1370972"/>
                  <a:pt x="5968508" y="1372255"/>
                </a:cubicBezTo>
                <a:cubicBezTo>
                  <a:pt x="5965943" y="1377385"/>
                  <a:pt x="5965943" y="1372255"/>
                  <a:pt x="5963378" y="1372255"/>
                </a:cubicBezTo>
                <a:cubicBezTo>
                  <a:pt x="5963378" y="1370972"/>
                  <a:pt x="5964661" y="1370331"/>
                  <a:pt x="5965943" y="1370331"/>
                </a:cubicBezTo>
                <a:close/>
                <a:moveTo>
                  <a:pt x="2908591" y="1369697"/>
                </a:moveTo>
                <a:cubicBezTo>
                  <a:pt x="2911155" y="1369697"/>
                  <a:pt x="2911155" y="1369697"/>
                  <a:pt x="2913719" y="1369697"/>
                </a:cubicBezTo>
                <a:cubicBezTo>
                  <a:pt x="2913719" y="1374827"/>
                  <a:pt x="2911155" y="1374827"/>
                  <a:pt x="2911155" y="1377391"/>
                </a:cubicBezTo>
                <a:cubicBezTo>
                  <a:pt x="2908591" y="1377391"/>
                  <a:pt x="2908591" y="1377391"/>
                  <a:pt x="2906025" y="1377391"/>
                </a:cubicBezTo>
                <a:cubicBezTo>
                  <a:pt x="2906025" y="1372262"/>
                  <a:pt x="2908591" y="1372262"/>
                  <a:pt x="2908591" y="1369697"/>
                </a:cubicBezTo>
                <a:close/>
                <a:moveTo>
                  <a:pt x="3118911" y="1367130"/>
                </a:moveTo>
                <a:cubicBezTo>
                  <a:pt x="3121476" y="1372260"/>
                  <a:pt x="3113781" y="1369695"/>
                  <a:pt x="3113781" y="1374825"/>
                </a:cubicBezTo>
                <a:cubicBezTo>
                  <a:pt x="3111216" y="1374825"/>
                  <a:pt x="3113781" y="1364564"/>
                  <a:pt x="3118911" y="1367130"/>
                </a:cubicBezTo>
                <a:close/>
                <a:moveTo>
                  <a:pt x="3911462" y="1367098"/>
                </a:moveTo>
                <a:cubicBezTo>
                  <a:pt x="3914027" y="1367098"/>
                  <a:pt x="3916593" y="1369663"/>
                  <a:pt x="3916593" y="1372228"/>
                </a:cubicBezTo>
                <a:cubicBezTo>
                  <a:pt x="3914027" y="1374792"/>
                  <a:pt x="3911462" y="1374792"/>
                  <a:pt x="3908898" y="1374792"/>
                </a:cubicBezTo>
                <a:cubicBezTo>
                  <a:pt x="3911462" y="1377357"/>
                  <a:pt x="3911462" y="1379922"/>
                  <a:pt x="3906333" y="1379922"/>
                </a:cubicBezTo>
                <a:cubicBezTo>
                  <a:pt x="3906333" y="1374792"/>
                  <a:pt x="3911462" y="1374792"/>
                  <a:pt x="3911462" y="1367098"/>
                </a:cubicBezTo>
                <a:close/>
                <a:moveTo>
                  <a:pt x="2895765" y="1364566"/>
                </a:moveTo>
                <a:cubicBezTo>
                  <a:pt x="2895765" y="1369695"/>
                  <a:pt x="2888071" y="1382520"/>
                  <a:pt x="2900895" y="1379955"/>
                </a:cubicBezTo>
                <a:cubicBezTo>
                  <a:pt x="2898330" y="1387650"/>
                  <a:pt x="2888071" y="1379955"/>
                  <a:pt x="2885506" y="1379955"/>
                </a:cubicBezTo>
                <a:cubicBezTo>
                  <a:pt x="2888071" y="1374826"/>
                  <a:pt x="2885506" y="1364566"/>
                  <a:pt x="2895765" y="1364566"/>
                </a:cubicBezTo>
                <a:close/>
                <a:moveTo>
                  <a:pt x="3911463" y="1359405"/>
                </a:moveTo>
                <a:cubicBezTo>
                  <a:pt x="3916593" y="1359405"/>
                  <a:pt x="3919157" y="1361970"/>
                  <a:pt x="3921723" y="1361970"/>
                </a:cubicBezTo>
                <a:cubicBezTo>
                  <a:pt x="3921723" y="1367099"/>
                  <a:pt x="3919157" y="1367099"/>
                  <a:pt x="3919157" y="1372229"/>
                </a:cubicBezTo>
                <a:cubicBezTo>
                  <a:pt x="3916593" y="1369664"/>
                  <a:pt x="3911463" y="1367099"/>
                  <a:pt x="3911463" y="1359405"/>
                </a:cubicBezTo>
                <a:close/>
                <a:moveTo>
                  <a:pt x="6212172" y="1356865"/>
                </a:moveTo>
                <a:cubicBezTo>
                  <a:pt x="6209607" y="1372255"/>
                  <a:pt x="6194218" y="1377385"/>
                  <a:pt x="6186523" y="1392774"/>
                </a:cubicBezTo>
                <a:cubicBezTo>
                  <a:pt x="6181392" y="1377385"/>
                  <a:pt x="6201913" y="1364560"/>
                  <a:pt x="6212172" y="1356865"/>
                </a:cubicBezTo>
                <a:close/>
                <a:moveTo>
                  <a:pt x="3106087" y="1354307"/>
                </a:moveTo>
                <a:cubicBezTo>
                  <a:pt x="3116346" y="1354307"/>
                  <a:pt x="3113781" y="1362000"/>
                  <a:pt x="3111216" y="1369696"/>
                </a:cubicBezTo>
                <a:cubicBezTo>
                  <a:pt x="3103522" y="1367131"/>
                  <a:pt x="3111216" y="1362000"/>
                  <a:pt x="3106087" y="1354307"/>
                </a:cubicBezTo>
                <a:close/>
                <a:moveTo>
                  <a:pt x="2570025" y="1341483"/>
                </a:moveTo>
                <a:cubicBezTo>
                  <a:pt x="2580286" y="1341483"/>
                  <a:pt x="2572589" y="1354307"/>
                  <a:pt x="2572589" y="1359437"/>
                </a:cubicBezTo>
                <a:cubicBezTo>
                  <a:pt x="2557200" y="1359437"/>
                  <a:pt x="2570025" y="1346613"/>
                  <a:pt x="2570025" y="1341483"/>
                </a:cubicBezTo>
                <a:close/>
                <a:moveTo>
                  <a:pt x="5037451" y="1341459"/>
                </a:moveTo>
                <a:cubicBezTo>
                  <a:pt x="5047710" y="1349153"/>
                  <a:pt x="5032321" y="1382497"/>
                  <a:pt x="5050275" y="1392757"/>
                </a:cubicBezTo>
                <a:cubicBezTo>
                  <a:pt x="5055405" y="1392757"/>
                  <a:pt x="5065664" y="1395321"/>
                  <a:pt x="5065664" y="1390192"/>
                </a:cubicBezTo>
                <a:cubicBezTo>
                  <a:pt x="5065664" y="1410711"/>
                  <a:pt x="5063100" y="1426100"/>
                  <a:pt x="5052840" y="1449184"/>
                </a:cubicBezTo>
                <a:cubicBezTo>
                  <a:pt x="5042580" y="1449184"/>
                  <a:pt x="5037451" y="1454314"/>
                  <a:pt x="5034886" y="1462009"/>
                </a:cubicBezTo>
                <a:cubicBezTo>
                  <a:pt x="5055405" y="1459443"/>
                  <a:pt x="5060535" y="1438925"/>
                  <a:pt x="5083619" y="1436359"/>
                </a:cubicBezTo>
                <a:cubicBezTo>
                  <a:pt x="5081054" y="1426100"/>
                  <a:pt x="5081054" y="1423535"/>
                  <a:pt x="5083619" y="1408146"/>
                </a:cubicBezTo>
                <a:cubicBezTo>
                  <a:pt x="5086184" y="1408146"/>
                  <a:pt x="5091313" y="1408146"/>
                  <a:pt x="5091313" y="1405581"/>
                </a:cubicBezTo>
                <a:cubicBezTo>
                  <a:pt x="5096443" y="1431230"/>
                  <a:pt x="5088749" y="1451749"/>
                  <a:pt x="5088749" y="1469702"/>
                </a:cubicBezTo>
                <a:cubicBezTo>
                  <a:pt x="5091313" y="1477397"/>
                  <a:pt x="5093878" y="1464574"/>
                  <a:pt x="5101573" y="1469702"/>
                </a:cubicBezTo>
                <a:cubicBezTo>
                  <a:pt x="5101573" y="1492786"/>
                  <a:pt x="5088749" y="1513306"/>
                  <a:pt x="5104138" y="1523565"/>
                </a:cubicBezTo>
                <a:cubicBezTo>
                  <a:pt x="5101573" y="1538954"/>
                  <a:pt x="5093878" y="1567168"/>
                  <a:pt x="5088749" y="1577428"/>
                </a:cubicBezTo>
                <a:cubicBezTo>
                  <a:pt x="5081054" y="1579993"/>
                  <a:pt x="5078489" y="1577428"/>
                  <a:pt x="5070794" y="1582558"/>
                </a:cubicBezTo>
                <a:cubicBezTo>
                  <a:pt x="5078489" y="1590251"/>
                  <a:pt x="5081054" y="1585123"/>
                  <a:pt x="5088749" y="1587686"/>
                </a:cubicBezTo>
                <a:cubicBezTo>
                  <a:pt x="5096443" y="1608206"/>
                  <a:pt x="5078489" y="1626160"/>
                  <a:pt x="5057970" y="1636419"/>
                </a:cubicBezTo>
                <a:cubicBezTo>
                  <a:pt x="5057970" y="1649245"/>
                  <a:pt x="5070794" y="1638984"/>
                  <a:pt x="5070794" y="1644114"/>
                </a:cubicBezTo>
                <a:cubicBezTo>
                  <a:pt x="5063100" y="1651810"/>
                  <a:pt x="5045146" y="1656939"/>
                  <a:pt x="5055405" y="1674893"/>
                </a:cubicBezTo>
                <a:cubicBezTo>
                  <a:pt x="5070794" y="1659503"/>
                  <a:pt x="5091313" y="1654375"/>
                  <a:pt x="5104138" y="1638984"/>
                </a:cubicBezTo>
                <a:cubicBezTo>
                  <a:pt x="5091313" y="1638984"/>
                  <a:pt x="5093878" y="1651810"/>
                  <a:pt x="5083619" y="1651810"/>
                </a:cubicBezTo>
                <a:cubicBezTo>
                  <a:pt x="5093878" y="1633855"/>
                  <a:pt x="5106703" y="1621030"/>
                  <a:pt x="5122092" y="1608206"/>
                </a:cubicBezTo>
                <a:cubicBezTo>
                  <a:pt x="5129787" y="1618465"/>
                  <a:pt x="5109268" y="1626160"/>
                  <a:pt x="5104138" y="1633855"/>
                </a:cubicBezTo>
                <a:cubicBezTo>
                  <a:pt x="5109268" y="1633855"/>
                  <a:pt x="5109268" y="1636419"/>
                  <a:pt x="5116962" y="1638984"/>
                </a:cubicBezTo>
                <a:cubicBezTo>
                  <a:pt x="5111833" y="1646679"/>
                  <a:pt x="5109268" y="1644114"/>
                  <a:pt x="5111833" y="1656939"/>
                </a:cubicBezTo>
                <a:cubicBezTo>
                  <a:pt x="5106703" y="1659503"/>
                  <a:pt x="5106703" y="1654375"/>
                  <a:pt x="5106703" y="1649245"/>
                </a:cubicBezTo>
                <a:cubicBezTo>
                  <a:pt x="5091313" y="1662068"/>
                  <a:pt x="5088749" y="1685152"/>
                  <a:pt x="5070794" y="1690283"/>
                </a:cubicBezTo>
                <a:cubicBezTo>
                  <a:pt x="5070794" y="1685152"/>
                  <a:pt x="5068229" y="1685152"/>
                  <a:pt x="5068229" y="1682589"/>
                </a:cubicBezTo>
                <a:cubicBezTo>
                  <a:pt x="5070794" y="1682589"/>
                  <a:pt x="5070794" y="1680023"/>
                  <a:pt x="5070794" y="1680023"/>
                </a:cubicBezTo>
                <a:cubicBezTo>
                  <a:pt x="5068229" y="1682589"/>
                  <a:pt x="5068229" y="1682589"/>
                  <a:pt x="5060535" y="1685152"/>
                </a:cubicBezTo>
                <a:cubicBezTo>
                  <a:pt x="5052840" y="1697977"/>
                  <a:pt x="5032321" y="1715931"/>
                  <a:pt x="5040015" y="1723626"/>
                </a:cubicBezTo>
                <a:cubicBezTo>
                  <a:pt x="5032321" y="1746710"/>
                  <a:pt x="5009237" y="1751840"/>
                  <a:pt x="4996412" y="1774924"/>
                </a:cubicBezTo>
                <a:cubicBezTo>
                  <a:pt x="4986153" y="1777488"/>
                  <a:pt x="4983588" y="1774924"/>
                  <a:pt x="4970763" y="1777488"/>
                </a:cubicBezTo>
                <a:cubicBezTo>
                  <a:pt x="4970763" y="1785183"/>
                  <a:pt x="4973328" y="1785183"/>
                  <a:pt x="4973328" y="1790313"/>
                </a:cubicBezTo>
                <a:cubicBezTo>
                  <a:pt x="4975893" y="1787749"/>
                  <a:pt x="4978458" y="1787749"/>
                  <a:pt x="4978458" y="1790313"/>
                </a:cubicBezTo>
                <a:cubicBezTo>
                  <a:pt x="4988718" y="1774924"/>
                  <a:pt x="4986153" y="1782619"/>
                  <a:pt x="5004107" y="1774924"/>
                </a:cubicBezTo>
                <a:cubicBezTo>
                  <a:pt x="5004107" y="1777488"/>
                  <a:pt x="5004107" y="1780054"/>
                  <a:pt x="5006672" y="1780054"/>
                </a:cubicBezTo>
                <a:cubicBezTo>
                  <a:pt x="4998977" y="1787749"/>
                  <a:pt x="4996412" y="1795442"/>
                  <a:pt x="4983588" y="1798007"/>
                </a:cubicBezTo>
                <a:cubicBezTo>
                  <a:pt x="4983588" y="1803136"/>
                  <a:pt x="4983588" y="1810832"/>
                  <a:pt x="4988718" y="1813397"/>
                </a:cubicBezTo>
                <a:cubicBezTo>
                  <a:pt x="4983588" y="1826221"/>
                  <a:pt x="4973328" y="1836481"/>
                  <a:pt x="4960504" y="1826221"/>
                </a:cubicBezTo>
                <a:cubicBezTo>
                  <a:pt x="4957939" y="1833916"/>
                  <a:pt x="4950244" y="1833916"/>
                  <a:pt x="4942550" y="1846741"/>
                </a:cubicBezTo>
                <a:cubicBezTo>
                  <a:pt x="4945114" y="1849306"/>
                  <a:pt x="4950244" y="1851870"/>
                  <a:pt x="4955374" y="1851870"/>
                </a:cubicBezTo>
                <a:cubicBezTo>
                  <a:pt x="4937420" y="1864695"/>
                  <a:pt x="4916901" y="1872389"/>
                  <a:pt x="4896382" y="1880084"/>
                </a:cubicBezTo>
                <a:cubicBezTo>
                  <a:pt x="4904076" y="1882649"/>
                  <a:pt x="4909206" y="1874955"/>
                  <a:pt x="4924595" y="1880084"/>
                </a:cubicBezTo>
                <a:cubicBezTo>
                  <a:pt x="4914336" y="1882649"/>
                  <a:pt x="4898946" y="1882649"/>
                  <a:pt x="4888687" y="1887779"/>
                </a:cubicBezTo>
                <a:cubicBezTo>
                  <a:pt x="4886122" y="1892909"/>
                  <a:pt x="4891252" y="1892909"/>
                  <a:pt x="4896382" y="1892909"/>
                </a:cubicBezTo>
                <a:cubicBezTo>
                  <a:pt x="4888687" y="1900602"/>
                  <a:pt x="4870733" y="1900602"/>
                  <a:pt x="4870733" y="1915992"/>
                </a:cubicBezTo>
                <a:cubicBezTo>
                  <a:pt x="4834824" y="1915992"/>
                  <a:pt x="4814304" y="1903167"/>
                  <a:pt x="4798915" y="1872389"/>
                </a:cubicBezTo>
                <a:cubicBezTo>
                  <a:pt x="4796350" y="1859565"/>
                  <a:pt x="4816869" y="1836481"/>
                  <a:pt x="4796350" y="1828786"/>
                </a:cubicBezTo>
                <a:cubicBezTo>
                  <a:pt x="4801480" y="1805702"/>
                  <a:pt x="4786090" y="1798007"/>
                  <a:pt x="4778395" y="1780054"/>
                </a:cubicBezTo>
                <a:cubicBezTo>
                  <a:pt x="4786090" y="1782619"/>
                  <a:pt x="4786090" y="1792876"/>
                  <a:pt x="4796350" y="1792876"/>
                </a:cubicBezTo>
                <a:cubicBezTo>
                  <a:pt x="4786090" y="1787749"/>
                  <a:pt x="4780960" y="1774924"/>
                  <a:pt x="4775831" y="1764664"/>
                </a:cubicBezTo>
                <a:cubicBezTo>
                  <a:pt x="4778395" y="1754404"/>
                  <a:pt x="4783525" y="1767228"/>
                  <a:pt x="4780960" y="1772359"/>
                </a:cubicBezTo>
                <a:cubicBezTo>
                  <a:pt x="4796350" y="1767228"/>
                  <a:pt x="4788655" y="1751840"/>
                  <a:pt x="4793785" y="1744145"/>
                </a:cubicBezTo>
                <a:cubicBezTo>
                  <a:pt x="4788655" y="1744145"/>
                  <a:pt x="4780960" y="1741580"/>
                  <a:pt x="4770701" y="1739015"/>
                </a:cubicBezTo>
                <a:cubicBezTo>
                  <a:pt x="4770701" y="1718496"/>
                  <a:pt x="4765571" y="1718496"/>
                  <a:pt x="4765571" y="1703107"/>
                </a:cubicBezTo>
                <a:cubicBezTo>
                  <a:pt x="4775831" y="1703107"/>
                  <a:pt x="4763006" y="1692848"/>
                  <a:pt x="4773266" y="1690283"/>
                </a:cubicBezTo>
                <a:cubicBezTo>
                  <a:pt x="4773266" y="1685152"/>
                  <a:pt x="4770701" y="1690283"/>
                  <a:pt x="4765571" y="1690283"/>
                </a:cubicBezTo>
                <a:cubicBezTo>
                  <a:pt x="4768136" y="1680023"/>
                  <a:pt x="4775831" y="1680023"/>
                  <a:pt x="4778395" y="1672329"/>
                </a:cubicBezTo>
                <a:cubicBezTo>
                  <a:pt x="4780960" y="1672329"/>
                  <a:pt x="4783525" y="1674893"/>
                  <a:pt x="4783525" y="1680023"/>
                </a:cubicBezTo>
                <a:cubicBezTo>
                  <a:pt x="4786090" y="1659503"/>
                  <a:pt x="4796350" y="1638984"/>
                  <a:pt x="4788655" y="1618465"/>
                </a:cubicBezTo>
                <a:cubicBezTo>
                  <a:pt x="4783525" y="1626160"/>
                  <a:pt x="4775831" y="1628725"/>
                  <a:pt x="4773266" y="1636419"/>
                </a:cubicBezTo>
                <a:cubicBezTo>
                  <a:pt x="4765571" y="1636419"/>
                  <a:pt x="4755312" y="1636419"/>
                  <a:pt x="4745052" y="1636419"/>
                </a:cubicBezTo>
                <a:cubicBezTo>
                  <a:pt x="4737357" y="1621030"/>
                  <a:pt x="4734792" y="1603076"/>
                  <a:pt x="4747617" y="1585123"/>
                </a:cubicBezTo>
                <a:cubicBezTo>
                  <a:pt x="4752746" y="1585123"/>
                  <a:pt x="4763006" y="1590251"/>
                  <a:pt x="4765571" y="1582558"/>
                </a:cubicBezTo>
                <a:cubicBezTo>
                  <a:pt x="4769419" y="1584481"/>
                  <a:pt x="4779037" y="1593618"/>
                  <a:pt x="4783606" y="1590493"/>
                </a:cubicBezTo>
                <a:lnTo>
                  <a:pt x="4785518" y="1584385"/>
                </a:lnTo>
                <a:lnTo>
                  <a:pt x="4781923" y="1579685"/>
                </a:lnTo>
                <a:cubicBezTo>
                  <a:pt x="4781603" y="1577441"/>
                  <a:pt x="4782244" y="1574876"/>
                  <a:pt x="4783526" y="1572311"/>
                </a:cubicBezTo>
                <a:lnTo>
                  <a:pt x="4785776" y="1583560"/>
                </a:lnTo>
                <a:lnTo>
                  <a:pt x="4786090" y="1582558"/>
                </a:lnTo>
                <a:cubicBezTo>
                  <a:pt x="4798915" y="1585123"/>
                  <a:pt x="4778395" y="1623595"/>
                  <a:pt x="4801480" y="1623595"/>
                </a:cubicBezTo>
                <a:cubicBezTo>
                  <a:pt x="4809174" y="1608206"/>
                  <a:pt x="4814304" y="1603076"/>
                  <a:pt x="4832259" y="1608206"/>
                </a:cubicBezTo>
                <a:cubicBezTo>
                  <a:pt x="4837389" y="1615901"/>
                  <a:pt x="4837389" y="1623595"/>
                  <a:pt x="4847648" y="1623595"/>
                </a:cubicBezTo>
                <a:cubicBezTo>
                  <a:pt x="4839954" y="1613335"/>
                  <a:pt x="4868168" y="1608206"/>
                  <a:pt x="4863038" y="1592817"/>
                </a:cubicBezTo>
                <a:cubicBezTo>
                  <a:pt x="4868168" y="1590251"/>
                  <a:pt x="4870733" y="1592817"/>
                  <a:pt x="4870733" y="1597946"/>
                </a:cubicBezTo>
                <a:cubicBezTo>
                  <a:pt x="4875862" y="1592817"/>
                  <a:pt x="4875862" y="1579993"/>
                  <a:pt x="4888687" y="1582558"/>
                </a:cubicBezTo>
                <a:cubicBezTo>
                  <a:pt x="4883557" y="1574863"/>
                  <a:pt x="4886122" y="1574863"/>
                  <a:pt x="4883557" y="1567168"/>
                </a:cubicBezTo>
                <a:cubicBezTo>
                  <a:pt x="4875862" y="1582558"/>
                  <a:pt x="4865603" y="1559474"/>
                  <a:pt x="4860473" y="1567168"/>
                </a:cubicBezTo>
                <a:cubicBezTo>
                  <a:pt x="4850214" y="1562038"/>
                  <a:pt x="4850214" y="1546649"/>
                  <a:pt x="4839954" y="1538954"/>
                </a:cubicBezTo>
                <a:cubicBezTo>
                  <a:pt x="4850214" y="1538954"/>
                  <a:pt x="4852779" y="1546649"/>
                  <a:pt x="4852779" y="1531260"/>
                </a:cubicBezTo>
                <a:cubicBezTo>
                  <a:pt x="4863038" y="1536390"/>
                  <a:pt x="4860473" y="1526130"/>
                  <a:pt x="4865603" y="1526130"/>
                </a:cubicBezTo>
                <a:cubicBezTo>
                  <a:pt x="4886122" y="1538954"/>
                  <a:pt x="4880992" y="1562038"/>
                  <a:pt x="4893817" y="1579993"/>
                </a:cubicBezTo>
                <a:cubicBezTo>
                  <a:pt x="4904076" y="1572298"/>
                  <a:pt x="4893817" y="1569733"/>
                  <a:pt x="4893817" y="1562038"/>
                </a:cubicBezTo>
                <a:cubicBezTo>
                  <a:pt x="4911771" y="1564603"/>
                  <a:pt x="4901511" y="1574863"/>
                  <a:pt x="4909206" y="1585123"/>
                </a:cubicBezTo>
                <a:cubicBezTo>
                  <a:pt x="4924595" y="1587686"/>
                  <a:pt x="4922031" y="1569733"/>
                  <a:pt x="4927160" y="1559474"/>
                </a:cubicBezTo>
                <a:cubicBezTo>
                  <a:pt x="4929725" y="1564603"/>
                  <a:pt x="4932290" y="1572298"/>
                  <a:pt x="4934855" y="1577428"/>
                </a:cubicBezTo>
                <a:cubicBezTo>
                  <a:pt x="4939985" y="1574863"/>
                  <a:pt x="4934855" y="1559474"/>
                  <a:pt x="4937420" y="1551779"/>
                </a:cubicBezTo>
                <a:cubicBezTo>
                  <a:pt x="4950244" y="1556909"/>
                  <a:pt x="4934855" y="1574863"/>
                  <a:pt x="4955374" y="1572298"/>
                </a:cubicBezTo>
                <a:cubicBezTo>
                  <a:pt x="4952809" y="1597946"/>
                  <a:pt x="4973328" y="1592817"/>
                  <a:pt x="4968199" y="1615901"/>
                </a:cubicBezTo>
                <a:cubicBezTo>
                  <a:pt x="4978458" y="1610770"/>
                  <a:pt x="4968199" y="1605641"/>
                  <a:pt x="4981023" y="1613335"/>
                </a:cubicBezTo>
                <a:cubicBezTo>
                  <a:pt x="4978458" y="1597946"/>
                  <a:pt x="4981023" y="1590251"/>
                  <a:pt x="4993848" y="1585123"/>
                </a:cubicBezTo>
                <a:cubicBezTo>
                  <a:pt x="4991283" y="1590251"/>
                  <a:pt x="4991283" y="1600512"/>
                  <a:pt x="4988718" y="1608206"/>
                </a:cubicBezTo>
                <a:cubicBezTo>
                  <a:pt x="4991283" y="1605641"/>
                  <a:pt x="5001542" y="1592817"/>
                  <a:pt x="5001542" y="1605641"/>
                </a:cubicBezTo>
                <a:cubicBezTo>
                  <a:pt x="5006672" y="1592817"/>
                  <a:pt x="5019497" y="1572298"/>
                  <a:pt x="5006672" y="1564603"/>
                </a:cubicBezTo>
                <a:cubicBezTo>
                  <a:pt x="5006672" y="1562038"/>
                  <a:pt x="5011802" y="1562038"/>
                  <a:pt x="5011802" y="1556909"/>
                </a:cubicBezTo>
                <a:cubicBezTo>
                  <a:pt x="5022061" y="1554344"/>
                  <a:pt x="5022061" y="1562038"/>
                  <a:pt x="5032321" y="1559474"/>
                </a:cubicBezTo>
                <a:cubicBezTo>
                  <a:pt x="5034886" y="1544084"/>
                  <a:pt x="5009237" y="1556909"/>
                  <a:pt x="5009237" y="1544084"/>
                </a:cubicBezTo>
                <a:cubicBezTo>
                  <a:pt x="5016932" y="1549214"/>
                  <a:pt x="5024626" y="1546649"/>
                  <a:pt x="5029756" y="1541519"/>
                </a:cubicBezTo>
                <a:cubicBezTo>
                  <a:pt x="5027191" y="1521000"/>
                  <a:pt x="5029756" y="1521000"/>
                  <a:pt x="5024626" y="1497916"/>
                </a:cubicBezTo>
                <a:cubicBezTo>
                  <a:pt x="5027191" y="1500481"/>
                  <a:pt x="5027191" y="1497916"/>
                  <a:pt x="5032321" y="1497916"/>
                </a:cubicBezTo>
                <a:cubicBezTo>
                  <a:pt x="5032321" y="1487657"/>
                  <a:pt x="5032321" y="1479962"/>
                  <a:pt x="5024626" y="1479962"/>
                </a:cubicBezTo>
                <a:cubicBezTo>
                  <a:pt x="5024626" y="1464574"/>
                  <a:pt x="5032321" y="1459443"/>
                  <a:pt x="5032321" y="1449184"/>
                </a:cubicBezTo>
                <a:cubicBezTo>
                  <a:pt x="5024626" y="1444054"/>
                  <a:pt x="5022061" y="1438925"/>
                  <a:pt x="5016932" y="1433795"/>
                </a:cubicBezTo>
                <a:cubicBezTo>
                  <a:pt x="5024626" y="1423535"/>
                  <a:pt x="5027191" y="1423535"/>
                  <a:pt x="5029756" y="1405581"/>
                </a:cubicBezTo>
                <a:cubicBezTo>
                  <a:pt x="5011802" y="1395321"/>
                  <a:pt x="5014367" y="1385062"/>
                  <a:pt x="5016932" y="1369672"/>
                </a:cubicBezTo>
                <a:cubicBezTo>
                  <a:pt x="5032321" y="1367108"/>
                  <a:pt x="5029756" y="1356848"/>
                  <a:pt x="5037451" y="1341459"/>
                </a:cubicBezTo>
                <a:close/>
                <a:moveTo>
                  <a:pt x="3090697" y="1333789"/>
                </a:moveTo>
                <a:cubicBezTo>
                  <a:pt x="3088132" y="1336354"/>
                  <a:pt x="3088132" y="1341483"/>
                  <a:pt x="3080438" y="1341483"/>
                </a:cubicBezTo>
                <a:cubicBezTo>
                  <a:pt x="3080438" y="1336354"/>
                  <a:pt x="3083003" y="1333789"/>
                  <a:pt x="3090697" y="1333789"/>
                </a:cubicBezTo>
                <a:close/>
                <a:moveTo>
                  <a:pt x="6097433" y="1327931"/>
                </a:moveTo>
                <a:cubicBezTo>
                  <a:pt x="6097072" y="1329614"/>
                  <a:pt x="6088416" y="1336347"/>
                  <a:pt x="6094187" y="1328653"/>
                </a:cubicBezTo>
                <a:cubicBezTo>
                  <a:pt x="6096752" y="1327370"/>
                  <a:pt x="6097553" y="1327370"/>
                  <a:pt x="6097433" y="1327931"/>
                </a:cubicBezTo>
                <a:close/>
                <a:moveTo>
                  <a:pt x="3129170" y="1323528"/>
                </a:moveTo>
                <a:cubicBezTo>
                  <a:pt x="3139430" y="1320965"/>
                  <a:pt x="3126606" y="1331223"/>
                  <a:pt x="3131736" y="1338918"/>
                </a:cubicBezTo>
                <a:cubicBezTo>
                  <a:pt x="3126606" y="1333789"/>
                  <a:pt x="3126606" y="1331223"/>
                  <a:pt x="3129170" y="1323528"/>
                </a:cubicBezTo>
                <a:close/>
                <a:moveTo>
                  <a:pt x="3921723" y="1315802"/>
                </a:moveTo>
                <a:cubicBezTo>
                  <a:pt x="3934547" y="1315802"/>
                  <a:pt x="3939677" y="1323496"/>
                  <a:pt x="3944807" y="1333757"/>
                </a:cubicBezTo>
                <a:cubicBezTo>
                  <a:pt x="3934547" y="1328627"/>
                  <a:pt x="3929418" y="1328627"/>
                  <a:pt x="3919158" y="1323496"/>
                </a:cubicBezTo>
                <a:cubicBezTo>
                  <a:pt x="3921723" y="1320932"/>
                  <a:pt x="3921723" y="1318367"/>
                  <a:pt x="3921723" y="1315802"/>
                </a:cubicBezTo>
                <a:close/>
                <a:moveTo>
                  <a:pt x="5216993" y="1313262"/>
                </a:moveTo>
                <a:cubicBezTo>
                  <a:pt x="5242643" y="1351735"/>
                  <a:pt x="5304200" y="1354301"/>
                  <a:pt x="5299070" y="1418421"/>
                </a:cubicBezTo>
                <a:cubicBezTo>
                  <a:pt x="5296505" y="1438940"/>
                  <a:pt x="5281116" y="1446635"/>
                  <a:pt x="5275986" y="1469719"/>
                </a:cubicBezTo>
                <a:cubicBezTo>
                  <a:pt x="5268292" y="1477413"/>
                  <a:pt x="5245207" y="1469719"/>
                  <a:pt x="5245207" y="1485108"/>
                </a:cubicBezTo>
                <a:cubicBezTo>
                  <a:pt x="5201603" y="1467154"/>
                  <a:pt x="5199038" y="1423552"/>
                  <a:pt x="5209298" y="1387644"/>
                </a:cubicBezTo>
                <a:cubicBezTo>
                  <a:pt x="5214428" y="1385079"/>
                  <a:pt x="5214428" y="1390208"/>
                  <a:pt x="5214428" y="1392773"/>
                </a:cubicBezTo>
                <a:cubicBezTo>
                  <a:pt x="5219558" y="1385079"/>
                  <a:pt x="5211863" y="1372254"/>
                  <a:pt x="5229818" y="1374819"/>
                </a:cubicBezTo>
                <a:cubicBezTo>
                  <a:pt x="5227253" y="1351735"/>
                  <a:pt x="5211863" y="1336347"/>
                  <a:pt x="5216993" y="1313262"/>
                </a:cubicBezTo>
                <a:close/>
                <a:moveTo>
                  <a:pt x="4237204" y="1310660"/>
                </a:moveTo>
                <a:cubicBezTo>
                  <a:pt x="4214120" y="1341439"/>
                  <a:pt x="4191036" y="1369652"/>
                  <a:pt x="4167952" y="1395301"/>
                </a:cubicBezTo>
                <a:cubicBezTo>
                  <a:pt x="4147433" y="1415821"/>
                  <a:pt x="4126914" y="1436340"/>
                  <a:pt x="4106395" y="1454294"/>
                </a:cubicBezTo>
                <a:cubicBezTo>
                  <a:pt x="4106395" y="1456859"/>
                  <a:pt x="4103830" y="1459424"/>
                  <a:pt x="4106395" y="1461989"/>
                </a:cubicBezTo>
                <a:cubicBezTo>
                  <a:pt x="4065356" y="1505593"/>
                  <a:pt x="4026883" y="1551761"/>
                  <a:pt x="3993539" y="1610753"/>
                </a:cubicBezTo>
                <a:cubicBezTo>
                  <a:pt x="3967890" y="1654357"/>
                  <a:pt x="3952501" y="1705654"/>
                  <a:pt x="3944806" y="1756952"/>
                </a:cubicBezTo>
                <a:cubicBezTo>
                  <a:pt x="3949936" y="1762082"/>
                  <a:pt x="3952501" y="1769777"/>
                  <a:pt x="3957631" y="1777471"/>
                </a:cubicBezTo>
                <a:cubicBezTo>
                  <a:pt x="3957631" y="1774907"/>
                  <a:pt x="3960196" y="1774907"/>
                  <a:pt x="3960196" y="1774907"/>
                </a:cubicBezTo>
                <a:cubicBezTo>
                  <a:pt x="3970455" y="1767212"/>
                  <a:pt x="3983280" y="1764647"/>
                  <a:pt x="3996104" y="1759517"/>
                </a:cubicBezTo>
                <a:cubicBezTo>
                  <a:pt x="3996104" y="1756952"/>
                  <a:pt x="3996104" y="1754387"/>
                  <a:pt x="3993539" y="1754387"/>
                </a:cubicBezTo>
                <a:cubicBezTo>
                  <a:pt x="3998669" y="1749258"/>
                  <a:pt x="4001234" y="1751823"/>
                  <a:pt x="4001234" y="1756952"/>
                </a:cubicBezTo>
                <a:cubicBezTo>
                  <a:pt x="4014058" y="1754387"/>
                  <a:pt x="4029448" y="1749258"/>
                  <a:pt x="4042272" y="1744128"/>
                </a:cubicBezTo>
                <a:lnTo>
                  <a:pt x="4050063" y="1711991"/>
                </a:lnTo>
                <a:lnTo>
                  <a:pt x="4044837" y="1744128"/>
                </a:lnTo>
                <a:cubicBezTo>
                  <a:pt x="4049967" y="1741563"/>
                  <a:pt x="4055097" y="1738998"/>
                  <a:pt x="4062791" y="1736433"/>
                </a:cubicBezTo>
                <a:cubicBezTo>
                  <a:pt x="4088440" y="1682570"/>
                  <a:pt x="4111524" y="1628708"/>
                  <a:pt x="4134609" y="1574845"/>
                </a:cubicBezTo>
                <a:cubicBezTo>
                  <a:pt x="4134609" y="1577410"/>
                  <a:pt x="4132043" y="1577410"/>
                  <a:pt x="4129478" y="1579975"/>
                </a:cubicBezTo>
                <a:cubicBezTo>
                  <a:pt x="4106395" y="1603059"/>
                  <a:pt x="4080746" y="1628708"/>
                  <a:pt x="4065356" y="1667181"/>
                </a:cubicBezTo>
                <a:lnTo>
                  <a:pt x="4052889" y="1700334"/>
                </a:lnTo>
                <a:lnTo>
                  <a:pt x="4062791" y="1659486"/>
                </a:lnTo>
                <a:cubicBezTo>
                  <a:pt x="4078181" y="1623578"/>
                  <a:pt x="4101265" y="1597929"/>
                  <a:pt x="4121784" y="1577410"/>
                </a:cubicBezTo>
                <a:cubicBezTo>
                  <a:pt x="4114089" y="1577410"/>
                  <a:pt x="4106395" y="1569715"/>
                  <a:pt x="4103830" y="1562020"/>
                </a:cubicBezTo>
                <a:cubicBezTo>
                  <a:pt x="4119219" y="1562020"/>
                  <a:pt x="4116654" y="1572280"/>
                  <a:pt x="4124349" y="1574845"/>
                </a:cubicBezTo>
                <a:cubicBezTo>
                  <a:pt x="4124349" y="1574845"/>
                  <a:pt x="4126914" y="1572280"/>
                  <a:pt x="4126914" y="1572280"/>
                </a:cubicBezTo>
                <a:cubicBezTo>
                  <a:pt x="4129478" y="1567150"/>
                  <a:pt x="4134609" y="1564585"/>
                  <a:pt x="4139738" y="1559456"/>
                </a:cubicBezTo>
                <a:cubicBezTo>
                  <a:pt x="4167952" y="1495333"/>
                  <a:pt x="4193601" y="1431210"/>
                  <a:pt x="4224380" y="1369652"/>
                </a:cubicBezTo>
                <a:cubicBezTo>
                  <a:pt x="4226945" y="1349133"/>
                  <a:pt x="4232074" y="1331179"/>
                  <a:pt x="4237204" y="1310660"/>
                </a:cubicBezTo>
                <a:close/>
                <a:moveTo>
                  <a:pt x="5319588" y="1308115"/>
                </a:moveTo>
                <a:cubicBezTo>
                  <a:pt x="5334977" y="1310681"/>
                  <a:pt x="5332412" y="1328635"/>
                  <a:pt x="5345237" y="1333765"/>
                </a:cubicBezTo>
                <a:cubicBezTo>
                  <a:pt x="5347802" y="1323505"/>
                  <a:pt x="5350367" y="1328635"/>
                  <a:pt x="5352932" y="1320940"/>
                </a:cubicBezTo>
                <a:cubicBezTo>
                  <a:pt x="5368321" y="1320940"/>
                  <a:pt x="5368321" y="1336328"/>
                  <a:pt x="5383710" y="1341458"/>
                </a:cubicBezTo>
                <a:cubicBezTo>
                  <a:pt x="5383710" y="1338894"/>
                  <a:pt x="5383710" y="1338894"/>
                  <a:pt x="5383710" y="1338894"/>
                </a:cubicBezTo>
                <a:cubicBezTo>
                  <a:pt x="5409359" y="1349153"/>
                  <a:pt x="5422184" y="1387626"/>
                  <a:pt x="5445268" y="1405581"/>
                </a:cubicBezTo>
                <a:cubicBezTo>
                  <a:pt x="5442703" y="1477398"/>
                  <a:pt x="5517085" y="1549215"/>
                  <a:pt x="5470917" y="1605641"/>
                </a:cubicBezTo>
                <a:cubicBezTo>
                  <a:pt x="5478611" y="1636420"/>
                  <a:pt x="5491436" y="1646680"/>
                  <a:pt x="5483741" y="1677458"/>
                </a:cubicBezTo>
                <a:cubicBezTo>
                  <a:pt x="5481176" y="1685153"/>
                  <a:pt x="5473482" y="1685153"/>
                  <a:pt x="5470917" y="1690284"/>
                </a:cubicBezTo>
                <a:cubicBezTo>
                  <a:pt x="5468352" y="1697977"/>
                  <a:pt x="5478611" y="1703107"/>
                  <a:pt x="5470917" y="1708237"/>
                </a:cubicBezTo>
                <a:cubicBezTo>
                  <a:pt x="5450397" y="1726190"/>
                  <a:pt x="5391405" y="1703107"/>
                  <a:pt x="5404230" y="1649245"/>
                </a:cubicBezTo>
                <a:cubicBezTo>
                  <a:pt x="5386275" y="1644115"/>
                  <a:pt x="5376016" y="1631290"/>
                  <a:pt x="5381145" y="1605641"/>
                </a:cubicBezTo>
                <a:cubicBezTo>
                  <a:pt x="5391405" y="1600511"/>
                  <a:pt x="5396535" y="1590252"/>
                  <a:pt x="5411924" y="1590252"/>
                </a:cubicBezTo>
                <a:cubicBezTo>
                  <a:pt x="5411924" y="1582557"/>
                  <a:pt x="5406794" y="1577427"/>
                  <a:pt x="5406794" y="1562038"/>
                </a:cubicBezTo>
                <a:cubicBezTo>
                  <a:pt x="5363191" y="1572298"/>
                  <a:pt x="5314458" y="1600511"/>
                  <a:pt x="5309328" y="1541520"/>
                </a:cubicBezTo>
                <a:cubicBezTo>
                  <a:pt x="5311893" y="1536389"/>
                  <a:pt x="5322153" y="1526130"/>
                  <a:pt x="5317023" y="1518436"/>
                </a:cubicBezTo>
                <a:cubicBezTo>
                  <a:pt x="5327283" y="1513306"/>
                  <a:pt x="5334977" y="1503047"/>
                  <a:pt x="5347802" y="1513306"/>
                </a:cubicBezTo>
                <a:cubicBezTo>
                  <a:pt x="5358061" y="1508176"/>
                  <a:pt x="5365756" y="1495352"/>
                  <a:pt x="5355496" y="1485092"/>
                </a:cubicBezTo>
                <a:cubicBezTo>
                  <a:pt x="5358061" y="1474833"/>
                  <a:pt x="5358061" y="1492787"/>
                  <a:pt x="5363191" y="1492787"/>
                </a:cubicBezTo>
                <a:cubicBezTo>
                  <a:pt x="5368321" y="1479963"/>
                  <a:pt x="5363191" y="1469703"/>
                  <a:pt x="5360626" y="1456878"/>
                </a:cubicBezTo>
                <a:cubicBezTo>
                  <a:pt x="5334977" y="1467138"/>
                  <a:pt x="5317023" y="1482527"/>
                  <a:pt x="5296504" y="1495352"/>
                </a:cubicBezTo>
                <a:cubicBezTo>
                  <a:pt x="5301634" y="1474833"/>
                  <a:pt x="5337542" y="1474833"/>
                  <a:pt x="5332412" y="1454314"/>
                </a:cubicBezTo>
                <a:cubicBezTo>
                  <a:pt x="5345237" y="1459443"/>
                  <a:pt x="5345237" y="1454314"/>
                  <a:pt x="5352932" y="1449184"/>
                </a:cubicBezTo>
                <a:cubicBezTo>
                  <a:pt x="5342672" y="1408145"/>
                  <a:pt x="5324718" y="1387626"/>
                  <a:pt x="5314458" y="1344024"/>
                </a:cubicBezTo>
                <a:cubicBezTo>
                  <a:pt x="5319588" y="1341458"/>
                  <a:pt x="5317023" y="1351718"/>
                  <a:pt x="5322153" y="1351718"/>
                </a:cubicBezTo>
                <a:cubicBezTo>
                  <a:pt x="5324718" y="1346588"/>
                  <a:pt x="5317023" y="1326070"/>
                  <a:pt x="5319588" y="1308115"/>
                </a:cubicBezTo>
                <a:close/>
                <a:moveTo>
                  <a:pt x="5175955" y="1303004"/>
                </a:moveTo>
                <a:cubicBezTo>
                  <a:pt x="5186216" y="1308135"/>
                  <a:pt x="5173390" y="1315829"/>
                  <a:pt x="5173390" y="1318394"/>
                </a:cubicBezTo>
                <a:cubicBezTo>
                  <a:pt x="5165695" y="1315829"/>
                  <a:pt x="5178520" y="1308135"/>
                  <a:pt x="5175955" y="1303004"/>
                </a:cubicBezTo>
                <a:close/>
                <a:moveTo>
                  <a:pt x="5158001" y="1300422"/>
                </a:moveTo>
                <a:cubicBezTo>
                  <a:pt x="5158001" y="1313246"/>
                  <a:pt x="5145177" y="1310681"/>
                  <a:pt x="5145177" y="1320941"/>
                </a:cubicBezTo>
                <a:cubicBezTo>
                  <a:pt x="5142612" y="1318376"/>
                  <a:pt x="5150307" y="1300422"/>
                  <a:pt x="5158001" y="1300422"/>
                </a:cubicBezTo>
                <a:close/>
                <a:moveTo>
                  <a:pt x="3770393" y="1295283"/>
                </a:moveTo>
                <a:cubicBezTo>
                  <a:pt x="3775523" y="1295283"/>
                  <a:pt x="3775523" y="1297849"/>
                  <a:pt x="3778088" y="1297849"/>
                </a:cubicBezTo>
                <a:cubicBezTo>
                  <a:pt x="3778088" y="1310673"/>
                  <a:pt x="3767829" y="1313238"/>
                  <a:pt x="3767829" y="1323497"/>
                </a:cubicBezTo>
                <a:cubicBezTo>
                  <a:pt x="3762699" y="1318368"/>
                  <a:pt x="3767829" y="1302977"/>
                  <a:pt x="3770393" y="1295283"/>
                </a:cubicBezTo>
                <a:close/>
                <a:moveTo>
                  <a:pt x="3106086" y="1290141"/>
                </a:moveTo>
                <a:cubicBezTo>
                  <a:pt x="3106086" y="1292706"/>
                  <a:pt x="3103521" y="1292706"/>
                  <a:pt x="3103521" y="1295271"/>
                </a:cubicBezTo>
                <a:cubicBezTo>
                  <a:pt x="3103521" y="1297835"/>
                  <a:pt x="3103521" y="1297835"/>
                  <a:pt x="3103521" y="1297835"/>
                </a:cubicBezTo>
                <a:cubicBezTo>
                  <a:pt x="3103521" y="1300400"/>
                  <a:pt x="3100957" y="1300400"/>
                  <a:pt x="3100957" y="1302965"/>
                </a:cubicBezTo>
                <a:cubicBezTo>
                  <a:pt x="3100957" y="1302965"/>
                  <a:pt x="3103521" y="1302965"/>
                  <a:pt x="3103521" y="1305530"/>
                </a:cubicBezTo>
                <a:cubicBezTo>
                  <a:pt x="3100957" y="1305530"/>
                  <a:pt x="3098393" y="1305530"/>
                  <a:pt x="3098393" y="1305530"/>
                </a:cubicBezTo>
                <a:cubicBezTo>
                  <a:pt x="3083002" y="1333744"/>
                  <a:pt x="3070178" y="1359393"/>
                  <a:pt x="3054788" y="1387607"/>
                </a:cubicBezTo>
                <a:cubicBezTo>
                  <a:pt x="3047094" y="1428645"/>
                  <a:pt x="3039399" y="1469683"/>
                  <a:pt x="3031704" y="1510722"/>
                </a:cubicBezTo>
                <a:cubicBezTo>
                  <a:pt x="3034269" y="1505593"/>
                  <a:pt x="3039399" y="1503028"/>
                  <a:pt x="3041964" y="1497898"/>
                </a:cubicBezTo>
                <a:cubicBezTo>
                  <a:pt x="3044529" y="1513288"/>
                  <a:pt x="3039399" y="1533807"/>
                  <a:pt x="3029139" y="1549196"/>
                </a:cubicBezTo>
                <a:cubicBezTo>
                  <a:pt x="3026575" y="1549196"/>
                  <a:pt x="3026575" y="1549196"/>
                  <a:pt x="3024010" y="1549196"/>
                </a:cubicBezTo>
                <a:cubicBezTo>
                  <a:pt x="3013751" y="1600494"/>
                  <a:pt x="3003492" y="1651792"/>
                  <a:pt x="2993231" y="1700525"/>
                </a:cubicBezTo>
                <a:cubicBezTo>
                  <a:pt x="2990666" y="1715914"/>
                  <a:pt x="2988101" y="1733868"/>
                  <a:pt x="2985536" y="1749258"/>
                </a:cubicBezTo>
                <a:cubicBezTo>
                  <a:pt x="2985536" y="1751823"/>
                  <a:pt x="2985536" y="1751823"/>
                  <a:pt x="2988101" y="1751823"/>
                </a:cubicBezTo>
                <a:cubicBezTo>
                  <a:pt x="2975277" y="1790296"/>
                  <a:pt x="2995796" y="1797991"/>
                  <a:pt x="3024010" y="1805684"/>
                </a:cubicBezTo>
                <a:cubicBezTo>
                  <a:pt x="3029139" y="1790296"/>
                  <a:pt x="3036835" y="1777471"/>
                  <a:pt x="3041964" y="1764647"/>
                </a:cubicBezTo>
                <a:cubicBezTo>
                  <a:pt x="3054788" y="1738998"/>
                  <a:pt x="3065048" y="1715914"/>
                  <a:pt x="3085567" y="1690265"/>
                </a:cubicBezTo>
                <a:cubicBezTo>
                  <a:pt x="3093262" y="1641532"/>
                  <a:pt x="3103521" y="1595364"/>
                  <a:pt x="3113781" y="1546631"/>
                </a:cubicBezTo>
                <a:cubicBezTo>
                  <a:pt x="3118911" y="1518416"/>
                  <a:pt x="3126605" y="1487638"/>
                  <a:pt x="3134300" y="1456859"/>
                </a:cubicBezTo>
                <a:cubicBezTo>
                  <a:pt x="3134300" y="1428645"/>
                  <a:pt x="3131736" y="1397866"/>
                  <a:pt x="3129170" y="1372217"/>
                </a:cubicBezTo>
                <a:cubicBezTo>
                  <a:pt x="3126605" y="1369652"/>
                  <a:pt x="3126605" y="1364523"/>
                  <a:pt x="3126605" y="1361958"/>
                </a:cubicBezTo>
                <a:cubicBezTo>
                  <a:pt x="3126605" y="1359393"/>
                  <a:pt x="3124040" y="1356828"/>
                  <a:pt x="3118911" y="1359393"/>
                </a:cubicBezTo>
                <a:cubicBezTo>
                  <a:pt x="3117628" y="1355546"/>
                  <a:pt x="3117628" y="1352339"/>
                  <a:pt x="3118590" y="1350095"/>
                </a:cubicBezTo>
                <a:lnTo>
                  <a:pt x="3121931" y="1347933"/>
                </a:lnTo>
                <a:lnTo>
                  <a:pt x="3124040" y="1346568"/>
                </a:lnTo>
                <a:cubicBezTo>
                  <a:pt x="3118911" y="1326049"/>
                  <a:pt x="3113781" y="1308095"/>
                  <a:pt x="3106086" y="1290141"/>
                </a:cubicBezTo>
                <a:close/>
                <a:moveTo>
                  <a:pt x="3124040" y="1285056"/>
                </a:moveTo>
                <a:cubicBezTo>
                  <a:pt x="3129170" y="1287621"/>
                  <a:pt x="3126605" y="1295316"/>
                  <a:pt x="3129170" y="1300446"/>
                </a:cubicBezTo>
                <a:cubicBezTo>
                  <a:pt x="3126605" y="1300446"/>
                  <a:pt x="3121476" y="1290186"/>
                  <a:pt x="3121476" y="1300446"/>
                </a:cubicBezTo>
                <a:cubicBezTo>
                  <a:pt x="3113781" y="1295316"/>
                  <a:pt x="3121476" y="1287621"/>
                  <a:pt x="3124040" y="1285056"/>
                </a:cubicBezTo>
                <a:close/>
                <a:moveTo>
                  <a:pt x="3739615" y="1277329"/>
                </a:moveTo>
                <a:cubicBezTo>
                  <a:pt x="3747310" y="1279894"/>
                  <a:pt x="3749875" y="1290154"/>
                  <a:pt x="3752439" y="1300414"/>
                </a:cubicBezTo>
                <a:cubicBezTo>
                  <a:pt x="3729355" y="1310673"/>
                  <a:pt x="3726790" y="1287589"/>
                  <a:pt x="3739615" y="1277329"/>
                </a:cubicBezTo>
                <a:close/>
                <a:moveTo>
                  <a:pt x="6422494" y="1256838"/>
                </a:moveTo>
                <a:cubicBezTo>
                  <a:pt x="6425058" y="1256838"/>
                  <a:pt x="6425058" y="1256838"/>
                  <a:pt x="6427623" y="1256838"/>
                </a:cubicBezTo>
                <a:cubicBezTo>
                  <a:pt x="6427623" y="1259402"/>
                  <a:pt x="6427623" y="1261968"/>
                  <a:pt x="6427623" y="1261968"/>
                </a:cubicBezTo>
                <a:cubicBezTo>
                  <a:pt x="6427623" y="1261968"/>
                  <a:pt x="6425058" y="1261968"/>
                  <a:pt x="6422494" y="1261968"/>
                </a:cubicBezTo>
                <a:cubicBezTo>
                  <a:pt x="6422494" y="1261968"/>
                  <a:pt x="6422494" y="1259402"/>
                  <a:pt x="6422494" y="1256838"/>
                </a:cubicBezTo>
                <a:close/>
                <a:moveTo>
                  <a:pt x="4721969" y="1246578"/>
                </a:moveTo>
                <a:cubicBezTo>
                  <a:pt x="4724534" y="1246578"/>
                  <a:pt x="4724534" y="1246578"/>
                  <a:pt x="4727098" y="1246578"/>
                </a:cubicBezTo>
                <a:cubicBezTo>
                  <a:pt x="4727098" y="1251708"/>
                  <a:pt x="4727098" y="1254272"/>
                  <a:pt x="4727098" y="1259402"/>
                </a:cubicBezTo>
                <a:cubicBezTo>
                  <a:pt x="4724534" y="1259402"/>
                  <a:pt x="4721969" y="1259402"/>
                  <a:pt x="4721969" y="1259402"/>
                </a:cubicBezTo>
                <a:cubicBezTo>
                  <a:pt x="4721969" y="1254272"/>
                  <a:pt x="4721969" y="1251708"/>
                  <a:pt x="4721969" y="1246578"/>
                </a:cubicBezTo>
                <a:close/>
                <a:moveTo>
                  <a:pt x="3883250" y="1246548"/>
                </a:moveTo>
                <a:cubicBezTo>
                  <a:pt x="3885814" y="1254242"/>
                  <a:pt x="3883250" y="1272198"/>
                  <a:pt x="3896074" y="1269633"/>
                </a:cubicBezTo>
                <a:cubicBezTo>
                  <a:pt x="3896074" y="1274763"/>
                  <a:pt x="3888379" y="1274763"/>
                  <a:pt x="3890944" y="1279892"/>
                </a:cubicBezTo>
                <a:cubicBezTo>
                  <a:pt x="3885814" y="1277327"/>
                  <a:pt x="3880685" y="1272198"/>
                  <a:pt x="3878120" y="1267068"/>
                </a:cubicBezTo>
                <a:cubicBezTo>
                  <a:pt x="3872990" y="1272198"/>
                  <a:pt x="3880685" y="1279892"/>
                  <a:pt x="3885814" y="1282457"/>
                </a:cubicBezTo>
                <a:cubicBezTo>
                  <a:pt x="3867859" y="1287587"/>
                  <a:pt x="3878120" y="1264503"/>
                  <a:pt x="3875555" y="1254242"/>
                </a:cubicBezTo>
                <a:cubicBezTo>
                  <a:pt x="3880685" y="1254242"/>
                  <a:pt x="3885814" y="1254242"/>
                  <a:pt x="3883250" y="1246548"/>
                </a:cubicBezTo>
                <a:close/>
                <a:moveTo>
                  <a:pt x="2857292" y="1243973"/>
                </a:moveTo>
                <a:cubicBezTo>
                  <a:pt x="2857292" y="1254232"/>
                  <a:pt x="2859857" y="1267057"/>
                  <a:pt x="2859857" y="1279881"/>
                </a:cubicBezTo>
                <a:cubicBezTo>
                  <a:pt x="2864986" y="1369652"/>
                  <a:pt x="2849597" y="1467118"/>
                  <a:pt x="2836773" y="1559456"/>
                </a:cubicBezTo>
                <a:cubicBezTo>
                  <a:pt x="2829078" y="1608189"/>
                  <a:pt x="2823949" y="1654357"/>
                  <a:pt x="2829078" y="1697960"/>
                </a:cubicBezTo>
                <a:cubicBezTo>
                  <a:pt x="2841902" y="1672311"/>
                  <a:pt x="2859857" y="1654357"/>
                  <a:pt x="2872681" y="1633837"/>
                </a:cubicBezTo>
                <a:cubicBezTo>
                  <a:pt x="2872681" y="1628708"/>
                  <a:pt x="2872681" y="1623578"/>
                  <a:pt x="2872681" y="1618448"/>
                </a:cubicBezTo>
                <a:cubicBezTo>
                  <a:pt x="2872681" y="1618448"/>
                  <a:pt x="2870116" y="1621013"/>
                  <a:pt x="2870116" y="1623578"/>
                </a:cubicBezTo>
                <a:cubicBezTo>
                  <a:pt x="2862421" y="1626143"/>
                  <a:pt x="2864986" y="1615883"/>
                  <a:pt x="2859857" y="1615883"/>
                </a:cubicBezTo>
                <a:cubicBezTo>
                  <a:pt x="2864986" y="1613318"/>
                  <a:pt x="2872681" y="1610753"/>
                  <a:pt x="2875246" y="1608189"/>
                </a:cubicBezTo>
                <a:cubicBezTo>
                  <a:pt x="2877812" y="1600494"/>
                  <a:pt x="2877812" y="1590234"/>
                  <a:pt x="2877812" y="1582540"/>
                </a:cubicBezTo>
                <a:cubicBezTo>
                  <a:pt x="2877812" y="1562020"/>
                  <a:pt x="2880376" y="1538935"/>
                  <a:pt x="2880376" y="1518416"/>
                </a:cubicBezTo>
                <a:cubicBezTo>
                  <a:pt x="2880376" y="1477379"/>
                  <a:pt x="2882941" y="1436340"/>
                  <a:pt x="2880376" y="1397866"/>
                </a:cubicBezTo>
                <a:cubicBezTo>
                  <a:pt x="2877812" y="1395301"/>
                  <a:pt x="2877812" y="1392737"/>
                  <a:pt x="2877812" y="1390172"/>
                </a:cubicBezTo>
                <a:cubicBezTo>
                  <a:pt x="2880376" y="1390172"/>
                  <a:pt x="2880376" y="1390172"/>
                  <a:pt x="2880376" y="1390172"/>
                </a:cubicBezTo>
                <a:cubicBezTo>
                  <a:pt x="2877812" y="1349133"/>
                  <a:pt x="2872681" y="1308095"/>
                  <a:pt x="2864986" y="1272187"/>
                </a:cubicBezTo>
                <a:cubicBezTo>
                  <a:pt x="2862421" y="1261927"/>
                  <a:pt x="2859857" y="1254232"/>
                  <a:pt x="2857292" y="1243973"/>
                </a:cubicBezTo>
                <a:close/>
                <a:moveTo>
                  <a:pt x="3752440" y="1238856"/>
                </a:moveTo>
                <a:cubicBezTo>
                  <a:pt x="3757570" y="1241421"/>
                  <a:pt x="3752440" y="1246550"/>
                  <a:pt x="3752440" y="1249116"/>
                </a:cubicBezTo>
                <a:cubicBezTo>
                  <a:pt x="3747310" y="1249116"/>
                  <a:pt x="3755005" y="1243987"/>
                  <a:pt x="3752440" y="1238856"/>
                </a:cubicBezTo>
                <a:close/>
                <a:moveTo>
                  <a:pt x="3072743" y="1238843"/>
                </a:moveTo>
                <a:cubicBezTo>
                  <a:pt x="3070178" y="1261927"/>
                  <a:pt x="3067614" y="1282446"/>
                  <a:pt x="3065048" y="1302965"/>
                </a:cubicBezTo>
                <a:cubicBezTo>
                  <a:pt x="3062483" y="1318355"/>
                  <a:pt x="3059918" y="1333744"/>
                  <a:pt x="3057353" y="1351698"/>
                </a:cubicBezTo>
                <a:cubicBezTo>
                  <a:pt x="3070178" y="1328614"/>
                  <a:pt x="3083002" y="1302965"/>
                  <a:pt x="3095827" y="1279881"/>
                </a:cubicBezTo>
                <a:cubicBezTo>
                  <a:pt x="3095827" y="1279881"/>
                  <a:pt x="3095827" y="1277316"/>
                  <a:pt x="3095827" y="1277316"/>
                </a:cubicBezTo>
                <a:cubicBezTo>
                  <a:pt x="3088132" y="1261927"/>
                  <a:pt x="3080437" y="1249103"/>
                  <a:pt x="3072743" y="1238843"/>
                </a:cubicBezTo>
                <a:close/>
                <a:moveTo>
                  <a:pt x="5730934" y="1237182"/>
                </a:moveTo>
                <a:cubicBezTo>
                  <a:pt x="5734461" y="1236621"/>
                  <a:pt x="5738308" y="1237582"/>
                  <a:pt x="5742797" y="1241430"/>
                </a:cubicBezTo>
                <a:cubicBezTo>
                  <a:pt x="5745361" y="1264514"/>
                  <a:pt x="5750491" y="1254255"/>
                  <a:pt x="5760751" y="1272209"/>
                </a:cubicBezTo>
                <a:cubicBezTo>
                  <a:pt x="5758186" y="1282469"/>
                  <a:pt x="5760751" y="1282469"/>
                  <a:pt x="5758186" y="1297858"/>
                </a:cubicBezTo>
                <a:cubicBezTo>
                  <a:pt x="5750491" y="1302988"/>
                  <a:pt x="5745361" y="1305553"/>
                  <a:pt x="5742797" y="1313246"/>
                </a:cubicBezTo>
                <a:cubicBezTo>
                  <a:pt x="5740232" y="1313246"/>
                  <a:pt x="5737667" y="1310681"/>
                  <a:pt x="5735102" y="1310681"/>
                </a:cubicBezTo>
                <a:cubicBezTo>
                  <a:pt x="5740232" y="1318377"/>
                  <a:pt x="5706888" y="1333766"/>
                  <a:pt x="5719712" y="1338896"/>
                </a:cubicBezTo>
                <a:cubicBezTo>
                  <a:pt x="5717148" y="1344026"/>
                  <a:pt x="5704323" y="1351721"/>
                  <a:pt x="5701758" y="1341461"/>
                </a:cubicBezTo>
                <a:cubicBezTo>
                  <a:pt x="5699193" y="1341461"/>
                  <a:pt x="5699193" y="1346591"/>
                  <a:pt x="5699193" y="1349156"/>
                </a:cubicBezTo>
                <a:cubicBezTo>
                  <a:pt x="5694063" y="1349156"/>
                  <a:pt x="5686369" y="1344026"/>
                  <a:pt x="5681239" y="1346591"/>
                </a:cubicBezTo>
                <a:cubicBezTo>
                  <a:pt x="5676108" y="1344026"/>
                  <a:pt x="5673544" y="1336331"/>
                  <a:pt x="5678674" y="1331201"/>
                </a:cubicBezTo>
                <a:cubicBezTo>
                  <a:pt x="5658154" y="1338896"/>
                  <a:pt x="5663284" y="1274774"/>
                  <a:pt x="5683804" y="1274774"/>
                </a:cubicBezTo>
                <a:cubicBezTo>
                  <a:pt x="5683804" y="1264514"/>
                  <a:pt x="5678674" y="1264514"/>
                  <a:pt x="5683804" y="1254255"/>
                </a:cubicBezTo>
                <a:cubicBezTo>
                  <a:pt x="5696628" y="1267078"/>
                  <a:pt x="5694063" y="1251689"/>
                  <a:pt x="5699193" y="1246559"/>
                </a:cubicBezTo>
                <a:cubicBezTo>
                  <a:pt x="5712659" y="1254255"/>
                  <a:pt x="5720353" y="1238866"/>
                  <a:pt x="5730934" y="1237182"/>
                </a:cubicBezTo>
                <a:close/>
                <a:moveTo>
                  <a:pt x="4260288" y="1233713"/>
                </a:moveTo>
                <a:cubicBezTo>
                  <a:pt x="4247464" y="1261927"/>
                  <a:pt x="4232074" y="1290141"/>
                  <a:pt x="4216685" y="1313225"/>
                </a:cubicBezTo>
                <a:cubicBezTo>
                  <a:pt x="4196166" y="1344004"/>
                  <a:pt x="4175647" y="1369652"/>
                  <a:pt x="4157692" y="1397866"/>
                </a:cubicBezTo>
                <a:cubicBezTo>
                  <a:pt x="4160257" y="1395301"/>
                  <a:pt x="4165387" y="1390172"/>
                  <a:pt x="4167952" y="1387607"/>
                </a:cubicBezTo>
                <a:cubicBezTo>
                  <a:pt x="4193601" y="1359393"/>
                  <a:pt x="4216685" y="1331179"/>
                  <a:pt x="4242334" y="1300400"/>
                </a:cubicBezTo>
                <a:cubicBezTo>
                  <a:pt x="4247464" y="1277316"/>
                  <a:pt x="4252594" y="1256797"/>
                  <a:pt x="4260288" y="1233713"/>
                </a:cubicBezTo>
                <a:close/>
                <a:moveTo>
                  <a:pt x="3062483" y="1231148"/>
                </a:moveTo>
                <a:cubicBezTo>
                  <a:pt x="3054788" y="1264492"/>
                  <a:pt x="3044529" y="1297835"/>
                  <a:pt x="3034269" y="1331179"/>
                </a:cubicBezTo>
                <a:cubicBezTo>
                  <a:pt x="3031704" y="1338874"/>
                  <a:pt x="3029139" y="1344004"/>
                  <a:pt x="3026575" y="1351698"/>
                </a:cubicBezTo>
                <a:cubicBezTo>
                  <a:pt x="3021445" y="1379912"/>
                  <a:pt x="3013751" y="1410691"/>
                  <a:pt x="3006055" y="1438905"/>
                </a:cubicBezTo>
                <a:cubicBezTo>
                  <a:pt x="3003492" y="1444034"/>
                  <a:pt x="3003492" y="1449164"/>
                  <a:pt x="3000926" y="1454294"/>
                </a:cubicBezTo>
                <a:cubicBezTo>
                  <a:pt x="3013751" y="1428645"/>
                  <a:pt x="3026575" y="1405561"/>
                  <a:pt x="3039399" y="1385042"/>
                </a:cubicBezTo>
                <a:cubicBezTo>
                  <a:pt x="3044529" y="1356828"/>
                  <a:pt x="3047094" y="1331179"/>
                  <a:pt x="3052224" y="1305530"/>
                </a:cubicBezTo>
                <a:cubicBezTo>
                  <a:pt x="3054788" y="1279881"/>
                  <a:pt x="3059918" y="1256797"/>
                  <a:pt x="3062483" y="1231148"/>
                </a:cubicBezTo>
                <a:close/>
                <a:moveTo>
                  <a:pt x="3739615" y="1228594"/>
                </a:moveTo>
                <a:cubicBezTo>
                  <a:pt x="3744745" y="1228594"/>
                  <a:pt x="3747310" y="1233725"/>
                  <a:pt x="3747310" y="1228594"/>
                </a:cubicBezTo>
                <a:cubicBezTo>
                  <a:pt x="3755006" y="1236289"/>
                  <a:pt x="3742180" y="1251679"/>
                  <a:pt x="3744745" y="1256808"/>
                </a:cubicBezTo>
                <a:cubicBezTo>
                  <a:pt x="3742180" y="1264503"/>
                  <a:pt x="3742180" y="1249114"/>
                  <a:pt x="3737051" y="1254244"/>
                </a:cubicBezTo>
                <a:cubicBezTo>
                  <a:pt x="3739615" y="1241419"/>
                  <a:pt x="3737051" y="1238853"/>
                  <a:pt x="3739615" y="1228594"/>
                </a:cubicBezTo>
                <a:close/>
                <a:moveTo>
                  <a:pt x="3323301" y="1215565"/>
                </a:moveTo>
                <a:cubicBezTo>
                  <a:pt x="3326186" y="1218211"/>
                  <a:pt x="3324744" y="1227348"/>
                  <a:pt x="3318973" y="1223501"/>
                </a:cubicBezTo>
                <a:cubicBezTo>
                  <a:pt x="3318973" y="1220937"/>
                  <a:pt x="3318973" y="1218371"/>
                  <a:pt x="3318973" y="1215806"/>
                </a:cubicBezTo>
                <a:cubicBezTo>
                  <a:pt x="3320897" y="1214523"/>
                  <a:pt x="3322339" y="1214683"/>
                  <a:pt x="3323301" y="1215565"/>
                </a:cubicBezTo>
                <a:close/>
                <a:moveTo>
                  <a:pt x="3318973" y="1208113"/>
                </a:moveTo>
                <a:cubicBezTo>
                  <a:pt x="3321538" y="1215806"/>
                  <a:pt x="3316407" y="1215806"/>
                  <a:pt x="3308713" y="1215806"/>
                </a:cubicBezTo>
                <a:cubicBezTo>
                  <a:pt x="3308713" y="1208113"/>
                  <a:pt x="3311279" y="1208113"/>
                  <a:pt x="3318973" y="1208113"/>
                </a:cubicBezTo>
                <a:close/>
                <a:moveTo>
                  <a:pt x="4919466" y="1208106"/>
                </a:moveTo>
                <a:cubicBezTo>
                  <a:pt x="4932290" y="1210671"/>
                  <a:pt x="4937420" y="1220930"/>
                  <a:pt x="4932290" y="1231190"/>
                </a:cubicBezTo>
                <a:cubicBezTo>
                  <a:pt x="4919466" y="1226060"/>
                  <a:pt x="4922031" y="1218365"/>
                  <a:pt x="4919466" y="1208106"/>
                </a:cubicBezTo>
                <a:close/>
                <a:moveTo>
                  <a:pt x="4857908" y="1208106"/>
                </a:moveTo>
                <a:cubicBezTo>
                  <a:pt x="4870733" y="1208106"/>
                  <a:pt x="4880992" y="1220930"/>
                  <a:pt x="4873298" y="1231190"/>
                </a:cubicBezTo>
                <a:cubicBezTo>
                  <a:pt x="4865603" y="1226060"/>
                  <a:pt x="4855343" y="1213236"/>
                  <a:pt x="4857908" y="1208106"/>
                </a:cubicBezTo>
                <a:close/>
                <a:moveTo>
                  <a:pt x="3036835" y="1200370"/>
                </a:moveTo>
                <a:cubicBezTo>
                  <a:pt x="3039399" y="1238843"/>
                  <a:pt x="3039399" y="1277316"/>
                  <a:pt x="3031704" y="1315790"/>
                </a:cubicBezTo>
                <a:cubicBezTo>
                  <a:pt x="3041964" y="1285011"/>
                  <a:pt x="3052224" y="1254232"/>
                  <a:pt x="3059918" y="1223454"/>
                </a:cubicBezTo>
                <a:cubicBezTo>
                  <a:pt x="3052224" y="1213194"/>
                  <a:pt x="3044529" y="1208064"/>
                  <a:pt x="3036835" y="1200370"/>
                </a:cubicBezTo>
                <a:close/>
                <a:moveTo>
                  <a:pt x="3912104" y="1197819"/>
                </a:moveTo>
                <a:cubicBezTo>
                  <a:pt x="3915952" y="1197819"/>
                  <a:pt x="3919158" y="1199101"/>
                  <a:pt x="3916593" y="1202948"/>
                </a:cubicBezTo>
                <a:cubicBezTo>
                  <a:pt x="3908898" y="1200384"/>
                  <a:pt x="3911463" y="1202948"/>
                  <a:pt x="3903769" y="1200384"/>
                </a:cubicBezTo>
                <a:cubicBezTo>
                  <a:pt x="3903769" y="1199101"/>
                  <a:pt x="3908257" y="1197819"/>
                  <a:pt x="3912104" y="1197819"/>
                </a:cubicBezTo>
                <a:close/>
                <a:moveTo>
                  <a:pt x="3924288" y="1196216"/>
                </a:moveTo>
                <a:cubicBezTo>
                  <a:pt x="3926212" y="1197818"/>
                  <a:pt x="3928135" y="1200384"/>
                  <a:pt x="3929418" y="1200384"/>
                </a:cubicBezTo>
                <a:cubicBezTo>
                  <a:pt x="3926852" y="1208078"/>
                  <a:pt x="3924287" y="1197818"/>
                  <a:pt x="3919158" y="1197818"/>
                </a:cubicBezTo>
                <a:cubicBezTo>
                  <a:pt x="3920441" y="1193971"/>
                  <a:pt x="3922364" y="1194612"/>
                  <a:pt x="3924288" y="1196216"/>
                </a:cubicBezTo>
                <a:close/>
                <a:moveTo>
                  <a:pt x="3831951" y="1195251"/>
                </a:moveTo>
                <a:cubicBezTo>
                  <a:pt x="3855035" y="1197816"/>
                  <a:pt x="3847341" y="1218335"/>
                  <a:pt x="3849906" y="1231159"/>
                </a:cubicBezTo>
                <a:cubicBezTo>
                  <a:pt x="3844776" y="1228594"/>
                  <a:pt x="3844776" y="1231159"/>
                  <a:pt x="3839646" y="1231159"/>
                </a:cubicBezTo>
                <a:cubicBezTo>
                  <a:pt x="3838363" y="1228594"/>
                  <a:pt x="3838363" y="1226030"/>
                  <a:pt x="3837722" y="1224106"/>
                </a:cubicBezTo>
                <a:lnTo>
                  <a:pt x="3831952" y="1220901"/>
                </a:lnTo>
                <a:lnTo>
                  <a:pt x="3831951" y="1220900"/>
                </a:lnTo>
                <a:cubicBezTo>
                  <a:pt x="3831951" y="1215771"/>
                  <a:pt x="3831951" y="1205510"/>
                  <a:pt x="3826822" y="1205510"/>
                </a:cubicBezTo>
                <a:cubicBezTo>
                  <a:pt x="3829386" y="1200381"/>
                  <a:pt x="3831951" y="1197816"/>
                  <a:pt x="3831951" y="1195251"/>
                </a:cubicBezTo>
                <a:close/>
                <a:moveTo>
                  <a:pt x="3865295" y="1187559"/>
                </a:moveTo>
                <a:cubicBezTo>
                  <a:pt x="3878119" y="1192689"/>
                  <a:pt x="3883249" y="1195253"/>
                  <a:pt x="3883249" y="1208078"/>
                </a:cubicBezTo>
                <a:cubicBezTo>
                  <a:pt x="3883249" y="1213208"/>
                  <a:pt x="3875554" y="1210643"/>
                  <a:pt x="3875554" y="1213208"/>
                </a:cubicBezTo>
                <a:cubicBezTo>
                  <a:pt x="3870424" y="1202948"/>
                  <a:pt x="3865295" y="1197818"/>
                  <a:pt x="3865295" y="1187559"/>
                </a:cubicBezTo>
                <a:close/>
                <a:moveTo>
                  <a:pt x="3878120" y="1185636"/>
                </a:moveTo>
                <a:cubicBezTo>
                  <a:pt x="3880044" y="1186277"/>
                  <a:pt x="3881967" y="1187560"/>
                  <a:pt x="3883250" y="1187560"/>
                </a:cubicBezTo>
                <a:cubicBezTo>
                  <a:pt x="3883250" y="1192690"/>
                  <a:pt x="3875555" y="1187560"/>
                  <a:pt x="3872990" y="1187560"/>
                </a:cubicBezTo>
                <a:cubicBezTo>
                  <a:pt x="3874273" y="1184996"/>
                  <a:pt x="3876196" y="1184996"/>
                  <a:pt x="3878120" y="1185636"/>
                </a:cubicBezTo>
                <a:close/>
                <a:moveTo>
                  <a:pt x="5068230" y="1185023"/>
                </a:moveTo>
                <a:cubicBezTo>
                  <a:pt x="5073360" y="1185023"/>
                  <a:pt x="5073360" y="1187588"/>
                  <a:pt x="5078490" y="1187588"/>
                </a:cubicBezTo>
                <a:cubicBezTo>
                  <a:pt x="5075925" y="1197847"/>
                  <a:pt x="5075925" y="1195282"/>
                  <a:pt x="5078490" y="1202977"/>
                </a:cubicBezTo>
                <a:cubicBezTo>
                  <a:pt x="5073360" y="1200411"/>
                  <a:pt x="5073360" y="1205541"/>
                  <a:pt x="5073360" y="1208107"/>
                </a:cubicBezTo>
                <a:cubicBezTo>
                  <a:pt x="5063100" y="1202977"/>
                  <a:pt x="5068230" y="1197847"/>
                  <a:pt x="5068230" y="1185023"/>
                </a:cubicBezTo>
                <a:close/>
                <a:moveTo>
                  <a:pt x="3719096" y="1184996"/>
                </a:moveTo>
                <a:cubicBezTo>
                  <a:pt x="3726790" y="1184996"/>
                  <a:pt x="3726790" y="1192689"/>
                  <a:pt x="3729356" y="1197819"/>
                </a:cubicBezTo>
                <a:cubicBezTo>
                  <a:pt x="3724226" y="1195254"/>
                  <a:pt x="3719096" y="1192689"/>
                  <a:pt x="3719096" y="1184996"/>
                </a:cubicBezTo>
                <a:close/>
                <a:moveTo>
                  <a:pt x="3812074" y="1183071"/>
                </a:moveTo>
                <a:cubicBezTo>
                  <a:pt x="3813997" y="1183712"/>
                  <a:pt x="3815280" y="1186277"/>
                  <a:pt x="3813997" y="1190125"/>
                </a:cubicBezTo>
                <a:cubicBezTo>
                  <a:pt x="3811432" y="1187560"/>
                  <a:pt x="3808867" y="1187560"/>
                  <a:pt x="3806303" y="1187560"/>
                </a:cubicBezTo>
                <a:cubicBezTo>
                  <a:pt x="3807585" y="1183712"/>
                  <a:pt x="3810150" y="1182430"/>
                  <a:pt x="3812074" y="1183071"/>
                </a:cubicBezTo>
                <a:close/>
                <a:moveTo>
                  <a:pt x="5681240" y="1180533"/>
                </a:moveTo>
                <a:cubicBezTo>
                  <a:pt x="5682522" y="1180533"/>
                  <a:pt x="5683804" y="1181175"/>
                  <a:pt x="5683804" y="1182458"/>
                </a:cubicBezTo>
                <a:cubicBezTo>
                  <a:pt x="5681239" y="1185022"/>
                  <a:pt x="5681239" y="1182458"/>
                  <a:pt x="5678675" y="1182458"/>
                </a:cubicBezTo>
                <a:cubicBezTo>
                  <a:pt x="5678675" y="1181175"/>
                  <a:pt x="5679957" y="1180533"/>
                  <a:pt x="5681240" y="1180533"/>
                </a:cubicBezTo>
                <a:close/>
                <a:moveTo>
                  <a:pt x="2411000" y="1172156"/>
                </a:moveTo>
                <a:cubicBezTo>
                  <a:pt x="2416130" y="1182416"/>
                  <a:pt x="2423825" y="1192675"/>
                  <a:pt x="2428954" y="1205499"/>
                </a:cubicBezTo>
                <a:lnTo>
                  <a:pt x="2477854" y="1306569"/>
                </a:lnTo>
                <a:lnTo>
                  <a:pt x="2426390" y="1202934"/>
                </a:lnTo>
                <a:lnTo>
                  <a:pt x="2409792" y="1174483"/>
                </a:lnTo>
                <a:close/>
                <a:moveTo>
                  <a:pt x="3639585" y="1169605"/>
                </a:moveTo>
                <a:cubicBezTo>
                  <a:pt x="3647279" y="1172170"/>
                  <a:pt x="3657539" y="1174736"/>
                  <a:pt x="3662669" y="1179866"/>
                </a:cubicBezTo>
                <a:cubicBezTo>
                  <a:pt x="3654974" y="1184996"/>
                  <a:pt x="3642149" y="1177300"/>
                  <a:pt x="3639585" y="1169605"/>
                </a:cubicBezTo>
                <a:close/>
                <a:moveTo>
                  <a:pt x="3157384" y="1169591"/>
                </a:moveTo>
                <a:cubicBezTo>
                  <a:pt x="3141995" y="1205499"/>
                  <a:pt x="3126605" y="1241408"/>
                  <a:pt x="3108652" y="1274752"/>
                </a:cubicBezTo>
                <a:cubicBezTo>
                  <a:pt x="3111216" y="1277316"/>
                  <a:pt x="3113781" y="1282446"/>
                  <a:pt x="3113781" y="1277316"/>
                </a:cubicBezTo>
                <a:cubicBezTo>
                  <a:pt x="3118911" y="1277316"/>
                  <a:pt x="3113781" y="1279881"/>
                  <a:pt x="3113781" y="1285011"/>
                </a:cubicBezTo>
                <a:cubicBezTo>
                  <a:pt x="3111216" y="1285011"/>
                  <a:pt x="3111216" y="1282446"/>
                  <a:pt x="3108652" y="1282446"/>
                </a:cubicBezTo>
                <a:cubicBezTo>
                  <a:pt x="3118911" y="1305530"/>
                  <a:pt x="3126605" y="1333744"/>
                  <a:pt x="3131736" y="1364523"/>
                </a:cubicBezTo>
                <a:cubicBezTo>
                  <a:pt x="3134300" y="1382477"/>
                  <a:pt x="3136865" y="1400431"/>
                  <a:pt x="3136865" y="1420950"/>
                </a:cubicBezTo>
                <a:cubicBezTo>
                  <a:pt x="3147125" y="1379912"/>
                  <a:pt x="3152254" y="1341439"/>
                  <a:pt x="3157384" y="1300400"/>
                </a:cubicBezTo>
                <a:cubicBezTo>
                  <a:pt x="3157384" y="1300400"/>
                  <a:pt x="3154819" y="1300400"/>
                  <a:pt x="3154819" y="1300400"/>
                </a:cubicBezTo>
                <a:cubicBezTo>
                  <a:pt x="3154819" y="1297835"/>
                  <a:pt x="3154819" y="1297835"/>
                  <a:pt x="3154819" y="1295271"/>
                </a:cubicBezTo>
                <a:cubicBezTo>
                  <a:pt x="3154819" y="1295271"/>
                  <a:pt x="3157384" y="1295271"/>
                  <a:pt x="3157384" y="1295271"/>
                </a:cubicBezTo>
                <a:cubicBezTo>
                  <a:pt x="3159949" y="1277316"/>
                  <a:pt x="3159949" y="1259362"/>
                  <a:pt x="3159949" y="1241408"/>
                </a:cubicBezTo>
                <a:cubicBezTo>
                  <a:pt x="3162515" y="1215759"/>
                  <a:pt x="3159949" y="1192675"/>
                  <a:pt x="3157384" y="1169591"/>
                </a:cubicBezTo>
                <a:close/>
                <a:moveTo>
                  <a:pt x="5009237" y="1161919"/>
                </a:moveTo>
                <a:cubicBezTo>
                  <a:pt x="5014367" y="1159354"/>
                  <a:pt x="5011802" y="1169614"/>
                  <a:pt x="5016932" y="1169614"/>
                </a:cubicBezTo>
                <a:cubicBezTo>
                  <a:pt x="5014367" y="1177311"/>
                  <a:pt x="5011802" y="1164485"/>
                  <a:pt x="5004108" y="1169614"/>
                </a:cubicBezTo>
                <a:cubicBezTo>
                  <a:pt x="5004108" y="1169614"/>
                  <a:pt x="5004108" y="1167049"/>
                  <a:pt x="5006673" y="1164485"/>
                </a:cubicBezTo>
                <a:cubicBezTo>
                  <a:pt x="5009237" y="1164485"/>
                  <a:pt x="5009237" y="1164485"/>
                  <a:pt x="5009237" y="1161919"/>
                </a:cubicBezTo>
                <a:close/>
                <a:moveTo>
                  <a:pt x="4442396" y="1156808"/>
                </a:moveTo>
                <a:cubicBezTo>
                  <a:pt x="4447525" y="1156808"/>
                  <a:pt x="4447525" y="1164503"/>
                  <a:pt x="4455220" y="1161938"/>
                </a:cubicBezTo>
                <a:cubicBezTo>
                  <a:pt x="4452655" y="1172199"/>
                  <a:pt x="4442396" y="1164503"/>
                  <a:pt x="4442396" y="1156808"/>
                </a:cubicBezTo>
                <a:close/>
                <a:moveTo>
                  <a:pt x="5161528" y="1151358"/>
                </a:moveTo>
                <a:cubicBezTo>
                  <a:pt x="5163131" y="1151037"/>
                  <a:pt x="5165696" y="1151678"/>
                  <a:pt x="5168260" y="1151678"/>
                </a:cubicBezTo>
                <a:lnTo>
                  <a:pt x="5165697" y="1156808"/>
                </a:lnTo>
                <a:lnTo>
                  <a:pt x="5174031" y="1159694"/>
                </a:lnTo>
                <a:cubicBezTo>
                  <a:pt x="5175314" y="1161938"/>
                  <a:pt x="5175955" y="1164503"/>
                  <a:pt x="5178520" y="1164503"/>
                </a:cubicBezTo>
                <a:cubicBezTo>
                  <a:pt x="5175955" y="1168351"/>
                  <a:pt x="5172749" y="1167709"/>
                  <a:pt x="5170184" y="1165466"/>
                </a:cubicBezTo>
                <a:lnTo>
                  <a:pt x="5165696" y="1156808"/>
                </a:lnTo>
                <a:cubicBezTo>
                  <a:pt x="5163131" y="1156808"/>
                  <a:pt x="5163131" y="1156808"/>
                  <a:pt x="5160566" y="1156808"/>
                </a:cubicBezTo>
                <a:cubicBezTo>
                  <a:pt x="5159284" y="1152961"/>
                  <a:pt x="5159925" y="1151678"/>
                  <a:pt x="5161528" y="1151358"/>
                </a:cubicBezTo>
                <a:close/>
                <a:moveTo>
                  <a:pt x="3825499" y="1143994"/>
                </a:moveTo>
                <a:cubicBezTo>
                  <a:pt x="3826742" y="1144034"/>
                  <a:pt x="3827944" y="1144755"/>
                  <a:pt x="3829066" y="1145557"/>
                </a:cubicBezTo>
                <a:cubicBezTo>
                  <a:pt x="3831310" y="1147160"/>
                  <a:pt x="3833234" y="1149084"/>
                  <a:pt x="3834516" y="1146519"/>
                </a:cubicBezTo>
                <a:cubicBezTo>
                  <a:pt x="3839646" y="1151648"/>
                  <a:pt x="3829386" y="1149084"/>
                  <a:pt x="3824257" y="1151648"/>
                </a:cubicBezTo>
                <a:cubicBezTo>
                  <a:pt x="3824257" y="1149084"/>
                  <a:pt x="3821692" y="1149084"/>
                  <a:pt x="3821692" y="1146519"/>
                </a:cubicBezTo>
                <a:cubicBezTo>
                  <a:pt x="3822974" y="1144595"/>
                  <a:pt x="3824257" y="1143954"/>
                  <a:pt x="3825499" y="1143994"/>
                </a:cubicBezTo>
                <a:close/>
                <a:moveTo>
                  <a:pt x="3783218" y="1141391"/>
                </a:moveTo>
                <a:cubicBezTo>
                  <a:pt x="3785783" y="1141391"/>
                  <a:pt x="3788348" y="1141391"/>
                  <a:pt x="3790913" y="1141391"/>
                </a:cubicBezTo>
                <a:cubicBezTo>
                  <a:pt x="3790913" y="1143956"/>
                  <a:pt x="3788348" y="1143956"/>
                  <a:pt x="3785783" y="1143956"/>
                </a:cubicBezTo>
                <a:cubicBezTo>
                  <a:pt x="3785783" y="1149085"/>
                  <a:pt x="3788348" y="1151651"/>
                  <a:pt x="3793478" y="1151651"/>
                </a:cubicBezTo>
                <a:cubicBezTo>
                  <a:pt x="3790913" y="1159345"/>
                  <a:pt x="3783218" y="1154215"/>
                  <a:pt x="3780653" y="1154215"/>
                </a:cubicBezTo>
                <a:cubicBezTo>
                  <a:pt x="3775524" y="1154215"/>
                  <a:pt x="3775524" y="1149085"/>
                  <a:pt x="3775524" y="1143956"/>
                </a:cubicBezTo>
                <a:cubicBezTo>
                  <a:pt x="3778088" y="1143956"/>
                  <a:pt x="3780653" y="1143956"/>
                  <a:pt x="3780653" y="1146521"/>
                </a:cubicBezTo>
                <a:cubicBezTo>
                  <a:pt x="3783218" y="1146521"/>
                  <a:pt x="3783218" y="1143956"/>
                  <a:pt x="3783218" y="1141391"/>
                </a:cubicBezTo>
                <a:close/>
                <a:moveTo>
                  <a:pt x="3650806" y="1137865"/>
                </a:moveTo>
                <a:cubicBezTo>
                  <a:pt x="3653050" y="1138185"/>
                  <a:pt x="3654973" y="1140109"/>
                  <a:pt x="3654973" y="1143957"/>
                </a:cubicBezTo>
                <a:cubicBezTo>
                  <a:pt x="3649843" y="1143957"/>
                  <a:pt x="3649843" y="1141392"/>
                  <a:pt x="3644714" y="1141392"/>
                </a:cubicBezTo>
                <a:cubicBezTo>
                  <a:pt x="3645997" y="1138827"/>
                  <a:pt x="3648562" y="1137544"/>
                  <a:pt x="3650806" y="1137865"/>
                </a:cubicBezTo>
                <a:close/>
                <a:moveTo>
                  <a:pt x="3657539" y="1123437"/>
                </a:moveTo>
                <a:cubicBezTo>
                  <a:pt x="3667798" y="1120872"/>
                  <a:pt x="3667798" y="1126003"/>
                  <a:pt x="3667798" y="1133698"/>
                </a:cubicBezTo>
                <a:cubicBezTo>
                  <a:pt x="3662668" y="1131133"/>
                  <a:pt x="3660104" y="1128568"/>
                  <a:pt x="3657539" y="1123437"/>
                </a:cubicBezTo>
                <a:close/>
                <a:moveTo>
                  <a:pt x="5981331" y="1118333"/>
                </a:moveTo>
                <a:cubicBezTo>
                  <a:pt x="5999286" y="1120898"/>
                  <a:pt x="5981331" y="1133723"/>
                  <a:pt x="5981331" y="1146548"/>
                </a:cubicBezTo>
                <a:cubicBezTo>
                  <a:pt x="5971071" y="1146548"/>
                  <a:pt x="5973636" y="1136288"/>
                  <a:pt x="5973636" y="1123463"/>
                </a:cubicBezTo>
                <a:cubicBezTo>
                  <a:pt x="5978765" y="1126027"/>
                  <a:pt x="5981331" y="1123463"/>
                  <a:pt x="5981331" y="1118333"/>
                </a:cubicBezTo>
                <a:close/>
                <a:moveTo>
                  <a:pt x="3782257" y="1117022"/>
                </a:moveTo>
                <a:cubicBezTo>
                  <a:pt x="3784501" y="1117663"/>
                  <a:pt x="3787066" y="1119587"/>
                  <a:pt x="3788349" y="1120869"/>
                </a:cubicBezTo>
                <a:cubicBezTo>
                  <a:pt x="3785783" y="1123434"/>
                  <a:pt x="3785783" y="1120869"/>
                  <a:pt x="3778089" y="1120869"/>
                </a:cubicBezTo>
                <a:cubicBezTo>
                  <a:pt x="3778089" y="1117022"/>
                  <a:pt x="3780013" y="1116380"/>
                  <a:pt x="3782257" y="1117022"/>
                </a:cubicBezTo>
                <a:close/>
                <a:moveTo>
                  <a:pt x="6366066" y="1115768"/>
                </a:moveTo>
                <a:cubicBezTo>
                  <a:pt x="6366066" y="1115768"/>
                  <a:pt x="6368630" y="1115768"/>
                  <a:pt x="6371195" y="1115768"/>
                </a:cubicBezTo>
                <a:cubicBezTo>
                  <a:pt x="6371195" y="1115768"/>
                  <a:pt x="6371195" y="1118333"/>
                  <a:pt x="6371195" y="1120899"/>
                </a:cubicBezTo>
                <a:cubicBezTo>
                  <a:pt x="6368630" y="1120899"/>
                  <a:pt x="6368630" y="1120899"/>
                  <a:pt x="6366066" y="1120899"/>
                </a:cubicBezTo>
                <a:cubicBezTo>
                  <a:pt x="6366066" y="1118333"/>
                  <a:pt x="6366066" y="1118333"/>
                  <a:pt x="6366066" y="1115768"/>
                </a:cubicBezTo>
                <a:close/>
                <a:moveTo>
                  <a:pt x="2923979" y="1115728"/>
                </a:moveTo>
                <a:lnTo>
                  <a:pt x="3016156" y="1184271"/>
                </a:lnTo>
                <a:lnTo>
                  <a:pt x="3016315" y="1184980"/>
                </a:lnTo>
                <a:cubicBezTo>
                  <a:pt x="2999643" y="1172156"/>
                  <a:pt x="2982972" y="1160613"/>
                  <a:pt x="2966299" y="1148751"/>
                </a:cubicBezTo>
                <a:lnTo>
                  <a:pt x="2924075" y="1116540"/>
                </a:lnTo>
                <a:close/>
                <a:moveTo>
                  <a:pt x="2915643" y="1107391"/>
                </a:moveTo>
                <a:lnTo>
                  <a:pt x="2916284" y="1108033"/>
                </a:lnTo>
                <a:lnTo>
                  <a:pt x="2916695" y="1110911"/>
                </a:lnTo>
                <a:lnTo>
                  <a:pt x="2916284" y="1110598"/>
                </a:lnTo>
                <a:close/>
                <a:moveTo>
                  <a:pt x="4451373" y="1106149"/>
                </a:moveTo>
                <a:cubicBezTo>
                  <a:pt x="4453296" y="1106149"/>
                  <a:pt x="4455220" y="1106790"/>
                  <a:pt x="4455220" y="1108073"/>
                </a:cubicBezTo>
                <a:cubicBezTo>
                  <a:pt x="4457785" y="1113203"/>
                  <a:pt x="4442395" y="1113203"/>
                  <a:pt x="4447525" y="1108073"/>
                </a:cubicBezTo>
                <a:cubicBezTo>
                  <a:pt x="4447525" y="1106790"/>
                  <a:pt x="4449449" y="1106149"/>
                  <a:pt x="4451373" y="1106149"/>
                </a:cubicBezTo>
                <a:close/>
                <a:moveTo>
                  <a:pt x="5001542" y="1100379"/>
                </a:moveTo>
                <a:cubicBezTo>
                  <a:pt x="5006672" y="1100379"/>
                  <a:pt x="5004107" y="1113204"/>
                  <a:pt x="4998978" y="1108073"/>
                </a:cubicBezTo>
                <a:cubicBezTo>
                  <a:pt x="4998978" y="1108073"/>
                  <a:pt x="4998978" y="1105509"/>
                  <a:pt x="4998978" y="1102944"/>
                </a:cubicBezTo>
                <a:cubicBezTo>
                  <a:pt x="5001542" y="1102944"/>
                  <a:pt x="5001542" y="1102944"/>
                  <a:pt x="5001542" y="1100379"/>
                </a:cubicBezTo>
                <a:close/>
                <a:moveTo>
                  <a:pt x="5096444" y="1097796"/>
                </a:moveTo>
                <a:cubicBezTo>
                  <a:pt x="5109268" y="1102926"/>
                  <a:pt x="5101573" y="1113186"/>
                  <a:pt x="5096444" y="1097796"/>
                </a:cubicBezTo>
                <a:close/>
                <a:moveTo>
                  <a:pt x="3624195" y="1097788"/>
                </a:moveTo>
                <a:cubicBezTo>
                  <a:pt x="3634455" y="1097788"/>
                  <a:pt x="3639585" y="1100353"/>
                  <a:pt x="3637020" y="1108047"/>
                </a:cubicBezTo>
                <a:cubicBezTo>
                  <a:pt x="3634455" y="1113177"/>
                  <a:pt x="3629325" y="1110612"/>
                  <a:pt x="3626760" y="1113177"/>
                </a:cubicBezTo>
                <a:cubicBezTo>
                  <a:pt x="3621631" y="1108047"/>
                  <a:pt x="3621631" y="1102918"/>
                  <a:pt x="3624195" y="1097788"/>
                </a:cubicBezTo>
                <a:close/>
                <a:moveTo>
                  <a:pt x="3637019" y="1090094"/>
                </a:moveTo>
                <a:cubicBezTo>
                  <a:pt x="3644714" y="1090094"/>
                  <a:pt x="3647279" y="1097788"/>
                  <a:pt x="3652409" y="1100353"/>
                </a:cubicBezTo>
                <a:cubicBezTo>
                  <a:pt x="3647279" y="1105484"/>
                  <a:pt x="3634454" y="1100353"/>
                  <a:pt x="3637019" y="1090094"/>
                </a:cubicBezTo>
                <a:close/>
                <a:moveTo>
                  <a:pt x="5369044" y="1089799"/>
                </a:moveTo>
                <a:cubicBezTo>
                  <a:pt x="5368803" y="1092203"/>
                  <a:pt x="5366398" y="1106151"/>
                  <a:pt x="5368322" y="1092685"/>
                </a:cubicBezTo>
                <a:cubicBezTo>
                  <a:pt x="5368963" y="1089478"/>
                  <a:pt x="5369124" y="1088997"/>
                  <a:pt x="5369044" y="1089799"/>
                </a:cubicBezTo>
                <a:close/>
                <a:moveTo>
                  <a:pt x="3803737" y="1087529"/>
                </a:moveTo>
                <a:cubicBezTo>
                  <a:pt x="3808867" y="1087529"/>
                  <a:pt x="3808867" y="1092659"/>
                  <a:pt x="3813997" y="1092659"/>
                </a:cubicBezTo>
                <a:cubicBezTo>
                  <a:pt x="3811432" y="1097788"/>
                  <a:pt x="3808867" y="1102918"/>
                  <a:pt x="3803737" y="1102918"/>
                </a:cubicBezTo>
                <a:cubicBezTo>
                  <a:pt x="3798607" y="1100353"/>
                  <a:pt x="3796042" y="1090094"/>
                  <a:pt x="3803737" y="1087529"/>
                </a:cubicBezTo>
                <a:close/>
                <a:moveTo>
                  <a:pt x="5478613" y="1082424"/>
                </a:moveTo>
                <a:cubicBezTo>
                  <a:pt x="5483742" y="1079859"/>
                  <a:pt x="5483742" y="1084989"/>
                  <a:pt x="5483742" y="1087554"/>
                </a:cubicBezTo>
                <a:cubicBezTo>
                  <a:pt x="5481178" y="1087554"/>
                  <a:pt x="5481178" y="1087554"/>
                  <a:pt x="5481178" y="1090119"/>
                </a:cubicBezTo>
                <a:cubicBezTo>
                  <a:pt x="5478613" y="1090119"/>
                  <a:pt x="5478613" y="1084989"/>
                  <a:pt x="5478613" y="1082424"/>
                </a:cubicBezTo>
                <a:close/>
                <a:moveTo>
                  <a:pt x="3647280" y="1077269"/>
                </a:moveTo>
                <a:cubicBezTo>
                  <a:pt x="3647280" y="1079834"/>
                  <a:pt x="3647280" y="1082399"/>
                  <a:pt x="3649844" y="1082399"/>
                </a:cubicBezTo>
                <a:cubicBezTo>
                  <a:pt x="3647280" y="1087529"/>
                  <a:pt x="3637020" y="1087529"/>
                  <a:pt x="3637020" y="1079834"/>
                </a:cubicBezTo>
                <a:cubicBezTo>
                  <a:pt x="3639585" y="1077269"/>
                  <a:pt x="3642149" y="1077269"/>
                  <a:pt x="3647280" y="1077269"/>
                </a:cubicBezTo>
                <a:close/>
                <a:moveTo>
                  <a:pt x="3257416" y="1077255"/>
                </a:moveTo>
                <a:cubicBezTo>
                  <a:pt x="3259980" y="1095209"/>
                  <a:pt x="3259980" y="1115728"/>
                  <a:pt x="3259980" y="1133682"/>
                </a:cubicBezTo>
                <a:lnTo>
                  <a:pt x="3255827" y="1081769"/>
                </a:lnTo>
                <a:close/>
                <a:moveTo>
                  <a:pt x="6384020" y="1049079"/>
                </a:moveTo>
                <a:cubicBezTo>
                  <a:pt x="6384020" y="1049079"/>
                  <a:pt x="6386584" y="1049079"/>
                  <a:pt x="6389149" y="1049079"/>
                </a:cubicBezTo>
                <a:cubicBezTo>
                  <a:pt x="6389149" y="1049079"/>
                  <a:pt x="6389149" y="1051645"/>
                  <a:pt x="6389149" y="1054210"/>
                </a:cubicBezTo>
                <a:cubicBezTo>
                  <a:pt x="6389149" y="1054210"/>
                  <a:pt x="6386584" y="1054210"/>
                  <a:pt x="6384020" y="1054210"/>
                </a:cubicBezTo>
                <a:cubicBezTo>
                  <a:pt x="6384020" y="1051645"/>
                  <a:pt x="6384020" y="1051645"/>
                  <a:pt x="6384020" y="1049079"/>
                </a:cubicBezTo>
                <a:close/>
                <a:moveTo>
                  <a:pt x="4683496" y="1046490"/>
                </a:moveTo>
                <a:cubicBezTo>
                  <a:pt x="4691191" y="1051619"/>
                  <a:pt x="4711710" y="1056749"/>
                  <a:pt x="4709145" y="1074703"/>
                </a:cubicBezTo>
                <a:cubicBezTo>
                  <a:pt x="4706580" y="1087528"/>
                  <a:pt x="4693755" y="1090093"/>
                  <a:pt x="4678366" y="1097789"/>
                </a:cubicBezTo>
                <a:cubicBezTo>
                  <a:pt x="4675801" y="1095223"/>
                  <a:pt x="4673236" y="1090093"/>
                  <a:pt x="4668106" y="1090093"/>
                </a:cubicBezTo>
                <a:cubicBezTo>
                  <a:pt x="4668106" y="1079833"/>
                  <a:pt x="4673236" y="1077267"/>
                  <a:pt x="4665541" y="1069573"/>
                </a:cubicBezTo>
                <a:cubicBezTo>
                  <a:pt x="4673236" y="1067009"/>
                  <a:pt x="4668106" y="1064444"/>
                  <a:pt x="4670671" y="1056749"/>
                </a:cubicBezTo>
                <a:cubicBezTo>
                  <a:pt x="4678366" y="1056749"/>
                  <a:pt x="4675801" y="1054183"/>
                  <a:pt x="4683496" y="1046490"/>
                </a:cubicBezTo>
                <a:close/>
                <a:moveTo>
                  <a:pt x="3726790" y="1038796"/>
                </a:moveTo>
                <a:cubicBezTo>
                  <a:pt x="3726790" y="1038796"/>
                  <a:pt x="3726790" y="1041361"/>
                  <a:pt x="3726790" y="1046490"/>
                </a:cubicBezTo>
                <a:cubicBezTo>
                  <a:pt x="3721660" y="1046490"/>
                  <a:pt x="3719095" y="1043926"/>
                  <a:pt x="3716531" y="1043926"/>
                </a:cubicBezTo>
                <a:cubicBezTo>
                  <a:pt x="3719095" y="1041361"/>
                  <a:pt x="3721660" y="1038796"/>
                  <a:pt x="3726790" y="1038796"/>
                </a:cubicBezTo>
                <a:close/>
                <a:moveTo>
                  <a:pt x="3831631" y="1021804"/>
                </a:moveTo>
                <a:cubicBezTo>
                  <a:pt x="3834516" y="1021483"/>
                  <a:pt x="3838363" y="1022125"/>
                  <a:pt x="3842211" y="1023406"/>
                </a:cubicBezTo>
                <a:cubicBezTo>
                  <a:pt x="3839646" y="1025972"/>
                  <a:pt x="3837081" y="1028536"/>
                  <a:pt x="3837081" y="1033667"/>
                </a:cubicBezTo>
                <a:cubicBezTo>
                  <a:pt x="3831951" y="1033667"/>
                  <a:pt x="3829386" y="1028536"/>
                  <a:pt x="3826822" y="1025972"/>
                </a:cubicBezTo>
                <a:cubicBezTo>
                  <a:pt x="3826822" y="1023407"/>
                  <a:pt x="3828745" y="1022125"/>
                  <a:pt x="3831631" y="1021804"/>
                </a:cubicBezTo>
                <a:close/>
                <a:moveTo>
                  <a:pt x="3755005" y="1018277"/>
                </a:moveTo>
                <a:cubicBezTo>
                  <a:pt x="3757569" y="1025972"/>
                  <a:pt x="3752439" y="1028537"/>
                  <a:pt x="3744745" y="1028537"/>
                </a:cubicBezTo>
                <a:cubicBezTo>
                  <a:pt x="3744745" y="1020843"/>
                  <a:pt x="3749875" y="1018277"/>
                  <a:pt x="3755005" y="1018277"/>
                </a:cubicBezTo>
                <a:close/>
                <a:moveTo>
                  <a:pt x="2693139" y="1013173"/>
                </a:moveTo>
                <a:cubicBezTo>
                  <a:pt x="2685444" y="1033692"/>
                  <a:pt x="2685444" y="1056777"/>
                  <a:pt x="2675185" y="1074731"/>
                </a:cubicBezTo>
                <a:cubicBezTo>
                  <a:pt x="2662360" y="1064472"/>
                  <a:pt x="2654665" y="1110641"/>
                  <a:pt x="2639276" y="1120901"/>
                </a:cubicBezTo>
                <a:cubicBezTo>
                  <a:pt x="2639276" y="1126032"/>
                  <a:pt x="2644406" y="1120901"/>
                  <a:pt x="2644406" y="1118336"/>
                </a:cubicBezTo>
                <a:cubicBezTo>
                  <a:pt x="2636711" y="1149116"/>
                  <a:pt x="2605932" y="1187590"/>
                  <a:pt x="2587978" y="1226064"/>
                </a:cubicBezTo>
                <a:cubicBezTo>
                  <a:pt x="2544374" y="1226064"/>
                  <a:pt x="2552069" y="1192720"/>
                  <a:pt x="2549505" y="1161941"/>
                </a:cubicBezTo>
                <a:cubicBezTo>
                  <a:pt x="2559764" y="1156811"/>
                  <a:pt x="2564893" y="1146552"/>
                  <a:pt x="2582848" y="1149116"/>
                </a:cubicBezTo>
                <a:cubicBezTo>
                  <a:pt x="2618757" y="1123466"/>
                  <a:pt x="2634147" y="1064472"/>
                  <a:pt x="2659795" y="1028562"/>
                </a:cubicBezTo>
                <a:cubicBezTo>
                  <a:pt x="2667490" y="1020867"/>
                  <a:pt x="2680314" y="1008043"/>
                  <a:pt x="2693139" y="1013173"/>
                </a:cubicBezTo>
                <a:close/>
                <a:moveTo>
                  <a:pt x="4411616" y="1008017"/>
                </a:moveTo>
                <a:cubicBezTo>
                  <a:pt x="4411616" y="1013148"/>
                  <a:pt x="4411616" y="1015712"/>
                  <a:pt x="4411616" y="1018277"/>
                </a:cubicBezTo>
                <a:cubicBezTo>
                  <a:pt x="4403922" y="1020842"/>
                  <a:pt x="4403922" y="1008017"/>
                  <a:pt x="4411616" y="1008017"/>
                </a:cubicBezTo>
                <a:close/>
                <a:moveTo>
                  <a:pt x="5646172" y="1000105"/>
                </a:moveTo>
                <a:cubicBezTo>
                  <a:pt x="5649178" y="1002750"/>
                  <a:pt x="5645330" y="1011887"/>
                  <a:pt x="5653025" y="1008040"/>
                </a:cubicBezTo>
                <a:cubicBezTo>
                  <a:pt x="5650460" y="1013170"/>
                  <a:pt x="5653025" y="1025995"/>
                  <a:pt x="5645330" y="1031125"/>
                </a:cubicBezTo>
                <a:cubicBezTo>
                  <a:pt x="5642765" y="1031125"/>
                  <a:pt x="5637635" y="1028560"/>
                  <a:pt x="5632506" y="1025995"/>
                </a:cubicBezTo>
                <a:cubicBezTo>
                  <a:pt x="5635071" y="1018301"/>
                  <a:pt x="5635071" y="1005476"/>
                  <a:pt x="5640200" y="1000345"/>
                </a:cubicBezTo>
                <a:cubicBezTo>
                  <a:pt x="5643406" y="999063"/>
                  <a:pt x="5645170" y="999223"/>
                  <a:pt x="5646172" y="1000105"/>
                </a:cubicBezTo>
                <a:close/>
                <a:moveTo>
                  <a:pt x="3698577" y="997757"/>
                </a:moveTo>
                <a:cubicBezTo>
                  <a:pt x="3703706" y="997757"/>
                  <a:pt x="3703706" y="1000323"/>
                  <a:pt x="3703706" y="1002888"/>
                </a:cubicBezTo>
                <a:cubicBezTo>
                  <a:pt x="3698577" y="1005452"/>
                  <a:pt x="3698577" y="1002888"/>
                  <a:pt x="3698577" y="997757"/>
                </a:cubicBezTo>
                <a:close/>
                <a:moveTo>
                  <a:pt x="3241403" y="989826"/>
                </a:moveTo>
                <a:lnTo>
                  <a:pt x="3242346" y="993255"/>
                </a:lnTo>
                <a:lnTo>
                  <a:pt x="3244828" y="1008466"/>
                </a:lnTo>
                <a:close/>
                <a:moveTo>
                  <a:pt x="5306765" y="984940"/>
                </a:moveTo>
                <a:cubicBezTo>
                  <a:pt x="5301635" y="1013154"/>
                  <a:pt x="5299070" y="1008024"/>
                  <a:pt x="5286245" y="1025978"/>
                </a:cubicBezTo>
                <a:cubicBezTo>
                  <a:pt x="5283680" y="1015718"/>
                  <a:pt x="5293940" y="990070"/>
                  <a:pt x="5306765" y="984940"/>
                </a:cubicBezTo>
                <a:close/>
                <a:moveTo>
                  <a:pt x="5637636" y="977245"/>
                </a:moveTo>
                <a:cubicBezTo>
                  <a:pt x="5637636" y="987504"/>
                  <a:pt x="5624812" y="984939"/>
                  <a:pt x="5622247" y="995199"/>
                </a:cubicBezTo>
                <a:cubicBezTo>
                  <a:pt x="5619682" y="992634"/>
                  <a:pt x="5627377" y="974680"/>
                  <a:pt x="5637636" y="977245"/>
                </a:cubicBezTo>
                <a:close/>
                <a:moveTo>
                  <a:pt x="5519651" y="964437"/>
                </a:moveTo>
                <a:cubicBezTo>
                  <a:pt x="5514521" y="969567"/>
                  <a:pt x="5514521" y="979827"/>
                  <a:pt x="5504262" y="974697"/>
                </a:cubicBezTo>
                <a:cubicBezTo>
                  <a:pt x="5504262" y="972131"/>
                  <a:pt x="5504262" y="969567"/>
                  <a:pt x="5504262" y="967002"/>
                </a:cubicBezTo>
                <a:cubicBezTo>
                  <a:pt x="5509391" y="964437"/>
                  <a:pt x="5511956" y="964437"/>
                  <a:pt x="5519651" y="964437"/>
                </a:cubicBezTo>
                <a:close/>
                <a:moveTo>
                  <a:pt x="3629324" y="954150"/>
                </a:moveTo>
                <a:cubicBezTo>
                  <a:pt x="3629324" y="956719"/>
                  <a:pt x="3629324" y="959283"/>
                  <a:pt x="3631890" y="959283"/>
                </a:cubicBezTo>
                <a:cubicBezTo>
                  <a:pt x="3626760" y="969544"/>
                  <a:pt x="3616500" y="954150"/>
                  <a:pt x="3629324" y="954150"/>
                </a:cubicBezTo>
                <a:close/>
                <a:moveTo>
                  <a:pt x="3095827" y="954139"/>
                </a:moveTo>
                <a:cubicBezTo>
                  <a:pt x="3098393" y="1010568"/>
                  <a:pt x="3093262" y="1072124"/>
                  <a:pt x="3083002" y="1131117"/>
                </a:cubicBezTo>
                <a:cubicBezTo>
                  <a:pt x="3080437" y="1161896"/>
                  <a:pt x="3075308" y="1195240"/>
                  <a:pt x="3072743" y="1226019"/>
                </a:cubicBezTo>
                <a:cubicBezTo>
                  <a:pt x="3083002" y="1238843"/>
                  <a:pt x="3093262" y="1251667"/>
                  <a:pt x="3100957" y="1267057"/>
                </a:cubicBezTo>
                <a:cubicBezTo>
                  <a:pt x="3121476" y="1228583"/>
                  <a:pt x="3139430" y="1190110"/>
                  <a:pt x="3154819" y="1151637"/>
                </a:cubicBezTo>
                <a:cubicBezTo>
                  <a:pt x="3147125" y="1090079"/>
                  <a:pt x="3129170" y="1036216"/>
                  <a:pt x="3108652" y="984920"/>
                </a:cubicBezTo>
                <a:cubicBezTo>
                  <a:pt x="3103521" y="974660"/>
                  <a:pt x="3100957" y="964399"/>
                  <a:pt x="3095827" y="954139"/>
                </a:cubicBezTo>
                <a:close/>
                <a:moveTo>
                  <a:pt x="5178520" y="951603"/>
                </a:moveTo>
                <a:cubicBezTo>
                  <a:pt x="5178520" y="959305"/>
                  <a:pt x="5173391" y="959305"/>
                  <a:pt x="5173391" y="967001"/>
                </a:cubicBezTo>
                <a:cubicBezTo>
                  <a:pt x="5168261" y="967001"/>
                  <a:pt x="5173391" y="951603"/>
                  <a:pt x="5178520" y="951603"/>
                </a:cubicBezTo>
                <a:close/>
                <a:moveTo>
                  <a:pt x="3678058" y="951585"/>
                </a:moveTo>
                <a:cubicBezTo>
                  <a:pt x="3680623" y="959284"/>
                  <a:pt x="3678058" y="964414"/>
                  <a:pt x="3667798" y="961849"/>
                </a:cubicBezTo>
                <a:cubicBezTo>
                  <a:pt x="3665233" y="959284"/>
                  <a:pt x="3667798" y="949020"/>
                  <a:pt x="3678058" y="951585"/>
                </a:cubicBezTo>
                <a:close/>
                <a:moveTo>
                  <a:pt x="3088132" y="938749"/>
                </a:moveTo>
                <a:cubicBezTo>
                  <a:pt x="3090697" y="982355"/>
                  <a:pt x="3090697" y="1025957"/>
                  <a:pt x="3085567" y="1069559"/>
                </a:cubicBezTo>
                <a:cubicBezTo>
                  <a:pt x="3090697" y="1025957"/>
                  <a:pt x="3093262" y="984920"/>
                  <a:pt x="3090697" y="943879"/>
                </a:cubicBezTo>
                <a:cubicBezTo>
                  <a:pt x="3090697" y="943879"/>
                  <a:pt x="3088132" y="941314"/>
                  <a:pt x="3088132" y="938749"/>
                </a:cubicBezTo>
                <a:close/>
                <a:moveTo>
                  <a:pt x="6381455" y="936854"/>
                </a:moveTo>
                <a:cubicBezTo>
                  <a:pt x="6382738" y="936854"/>
                  <a:pt x="6384020" y="937496"/>
                  <a:pt x="6384020" y="938778"/>
                </a:cubicBezTo>
                <a:cubicBezTo>
                  <a:pt x="6384020" y="943908"/>
                  <a:pt x="6381455" y="938778"/>
                  <a:pt x="6378891" y="938778"/>
                </a:cubicBezTo>
                <a:cubicBezTo>
                  <a:pt x="6378891" y="937496"/>
                  <a:pt x="6380173" y="936854"/>
                  <a:pt x="6381455" y="936854"/>
                </a:cubicBezTo>
                <a:close/>
                <a:moveTo>
                  <a:pt x="3226637" y="936185"/>
                </a:moveTo>
                <a:cubicBezTo>
                  <a:pt x="3231766" y="952857"/>
                  <a:pt x="3236896" y="970812"/>
                  <a:pt x="3241385" y="989729"/>
                </a:cubicBezTo>
                <a:lnTo>
                  <a:pt x="3241403" y="989826"/>
                </a:lnTo>
                <a:close/>
                <a:moveTo>
                  <a:pt x="2205810" y="908003"/>
                </a:moveTo>
                <a:cubicBezTo>
                  <a:pt x="2213504" y="905438"/>
                  <a:pt x="2210939" y="910568"/>
                  <a:pt x="2210939" y="915699"/>
                </a:cubicBezTo>
                <a:cubicBezTo>
                  <a:pt x="2208374" y="915699"/>
                  <a:pt x="2205810" y="915699"/>
                  <a:pt x="2203245" y="915699"/>
                </a:cubicBezTo>
                <a:cubicBezTo>
                  <a:pt x="2205810" y="913134"/>
                  <a:pt x="2205810" y="910568"/>
                  <a:pt x="2205810" y="908003"/>
                </a:cubicBezTo>
                <a:close/>
                <a:moveTo>
                  <a:pt x="5862946" y="896297"/>
                </a:moveTo>
                <a:cubicBezTo>
                  <a:pt x="5865110" y="898221"/>
                  <a:pt x="5866553" y="907359"/>
                  <a:pt x="5860782" y="897741"/>
                </a:cubicBezTo>
                <a:cubicBezTo>
                  <a:pt x="5861423" y="895817"/>
                  <a:pt x="5862225" y="895656"/>
                  <a:pt x="5862946" y="896297"/>
                </a:cubicBezTo>
                <a:close/>
                <a:moveTo>
                  <a:pt x="5193910" y="887482"/>
                </a:moveTo>
                <a:cubicBezTo>
                  <a:pt x="5201604" y="887482"/>
                  <a:pt x="5204170" y="890047"/>
                  <a:pt x="5201604" y="895176"/>
                </a:cubicBezTo>
                <a:cubicBezTo>
                  <a:pt x="5199040" y="895176"/>
                  <a:pt x="5196475" y="895176"/>
                  <a:pt x="5193910" y="895176"/>
                </a:cubicBezTo>
                <a:cubicBezTo>
                  <a:pt x="5193910" y="892612"/>
                  <a:pt x="5193910" y="890047"/>
                  <a:pt x="5193910" y="887482"/>
                </a:cubicBezTo>
                <a:close/>
                <a:moveTo>
                  <a:pt x="2228894" y="882353"/>
                </a:moveTo>
                <a:cubicBezTo>
                  <a:pt x="2226329" y="887483"/>
                  <a:pt x="2226329" y="895177"/>
                  <a:pt x="2228894" y="902872"/>
                </a:cubicBezTo>
                <a:cubicBezTo>
                  <a:pt x="2218634" y="905437"/>
                  <a:pt x="2223764" y="895177"/>
                  <a:pt x="2218634" y="892612"/>
                </a:cubicBezTo>
                <a:cubicBezTo>
                  <a:pt x="2213504" y="895177"/>
                  <a:pt x="2221200" y="897742"/>
                  <a:pt x="2216069" y="905437"/>
                </a:cubicBezTo>
                <a:cubicBezTo>
                  <a:pt x="2205810" y="908002"/>
                  <a:pt x="2210939" y="897742"/>
                  <a:pt x="2203245" y="900307"/>
                </a:cubicBezTo>
                <a:cubicBezTo>
                  <a:pt x="2203245" y="895177"/>
                  <a:pt x="2203245" y="890047"/>
                  <a:pt x="2205810" y="887483"/>
                </a:cubicBezTo>
                <a:cubicBezTo>
                  <a:pt x="2210939" y="887483"/>
                  <a:pt x="2205810" y="895177"/>
                  <a:pt x="2208374" y="900307"/>
                </a:cubicBezTo>
                <a:cubicBezTo>
                  <a:pt x="2210939" y="890047"/>
                  <a:pt x="2218634" y="884918"/>
                  <a:pt x="2228894" y="882353"/>
                </a:cubicBezTo>
                <a:close/>
                <a:moveTo>
                  <a:pt x="4893817" y="882031"/>
                </a:moveTo>
                <a:cubicBezTo>
                  <a:pt x="4895741" y="881070"/>
                  <a:pt x="4897665" y="883635"/>
                  <a:pt x="4893817" y="892612"/>
                </a:cubicBezTo>
                <a:cubicBezTo>
                  <a:pt x="4889970" y="887482"/>
                  <a:pt x="4891893" y="882993"/>
                  <a:pt x="4893817" y="882031"/>
                </a:cubicBezTo>
                <a:close/>
                <a:moveTo>
                  <a:pt x="2408436" y="879789"/>
                </a:moveTo>
                <a:cubicBezTo>
                  <a:pt x="2411002" y="882355"/>
                  <a:pt x="2411002" y="884920"/>
                  <a:pt x="2413565" y="884920"/>
                </a:cubicBezTo>
                <a:cubicBezTo>
                  <a:pt x="2413565" y="887484"/>
                  <a:pt x="2413565" y="887484"/>
                  <a:pt x="2411002" y="887484"/>
                </a:cubicBezTo>
                <a:cubicBezTo>
                  <a:pt x="2408436" y="887484"/>
                  <a:pt x="2408436" y="887484"/>
                  <a:pt x="2405871" y="887484"/>
                </a:cubicBezTo>
                <a:cubicBezTo>
                  <a:pt x="2405871" y="882355"/>
                  <a:pt x="2408436" y="882355"/>
                  <a:pt x="2408436" y="879789"/>
                </a:cubicBezTo>
                <a:close/>
                <a:moveTo>
                  <a:pt x="5287328" y="879106"/>
                </a:moveTo>
                <a:cubicBezTo>
                  <a:pt x="5287689" y="880910"/>
                  <a:pt x="5286246" y="893895"/>
                  <a:pt x="5286246" y="882352"/>
                </a:cubicBezTo>
                <a:cubicBezTo>
                  <a:pt x="5286887" y="879146"/>
                  <a:pt x="5287208" y="878505"/>
                  <a:pt x="5287328" y="879106"/>
                </a:cubicBezTo>
                <a:close/>
                <a:moveTo>
                  <a:pt x="4906642" y="874658"/>
                </a:moveTo>
                <a:cubicBezTo>
                  <a:pt x="4909207" y="890047"/>
                  <a:pt x="4891253" y="879788"/>
                  <a:pt x="4906642" y="874658"/>
                </a:cubicBezTo>
                <a:close/>
                <a:moveTo>
                  <a:pt x="2093595" y="856385"/>
                </a:moveTo>
                <a:cubicBezTo>
                  <a:pt x="2097442" y="856705"/>
                  <a:pt x="2100648" y="859270"/>
                  <a:pt x="2098083" y="864400"/>
                </a:cubicBezTo>
                <a:cubicBezTo>
                  <a:pt x="2092953" y="864400"/>
                  <a:pt x="2087824" y="864400"/>
                  <a:pt x="2085259" y="861836"/>
                </a:cubicBezTo>
                <a:cubicBezTo>
                  <a:pt x="2085259" y="857988"/>
                  <a:pt x="2089748" y="856065"/>
                  <a:pt x="2093595" y="856385"/>
                </a:cubicBezTo>
                <a:close/>
                <a:moveTo>
                  <a:pt x="2657230" y="849011"/>
                </a:moveTo>
                <a:cubicBezTo>
                  <a:pt x="2667490" y="846446"/>
                  <a:pt x="2672619" y="851576"/>
                  <a:pt x="2672619" y="859270"/>
                </a:cubicBezTo>
                <a:cubicBezTo>
                  <a:pt x="2659795" y="861835"/>
                  <a:pt x="2654665" y="856706"/>
                  <a:pt x="2657230" y="849011"/>
                </a:cubicBezTo>
                <a:close/>
                <a:moveTo>
                  <a:pt x="2646970" y="846446"/>
                </a:moveTo>
                <a:cubicBezTo>
                  <a:pt x="2649535" y="849012"/>
                  <a:pt x="2649535" y="854141"/>
                  <a:pt x="2652100" y="859271"/>
                </a:cubicBezTo>
                <a:cubicBezTo>
                  <a:pt x="2646970" y="859271"/>
                  <a:pt x="2646970" y="856706"/>
                  <a:pt x="2641841" y="856706"/>
                </a:cubicBezTo>
                <a:cubicBezTo>
                  <a:pt x="2641841" y="854141"/>
                  <a:pt x="2644406" y="851577"/>
                  <a:pt x="2646970" y="846446"/>
                </a:cubicBezTo>
                <a:close/>
                <a:moveTo>
                  <a:pt x="2659796" y="836187"/>
                </a:moveTo>
                <a:cubicBezTo>
                  <a:pt x="2667490" y="833622"/>
                  <a:pt x="2670055" y="838752"/>
                  <a:pt x="2667490" y="846446"/>
                </a:cubicBezTo>
                <a:cubicBezTo>
                  <a:pt x="2664926" y="846446"/>
                  <a:pt x="2659796" y="846446"/>
                  <a:pt x="2657231" y="846446"/>
                </a:cubicBezTo>
                <a:cubicBezTo>
                  <a:pt x="2657231" y="841317"/>
                  <a:pt x="2659796" y="838752"/>
                  <a:pt x="2659796" y="836187"/>
                </a:cubicBezTo>
                <a:close/>
                <a:moveTo>
                  <a:pt x="3075661" y="832780"/>
                </a:moveTo>
                <a:lnTo>
                  <a:pt x="3077873" y="841284"/>
                </a:lnTo>
                <a:lnTo>
                  <a:pt x="3079035" y="858709"/>
                </a:lnTo>
                <a:close/>
                <a:moveTo>
                  <a:pt x="4555251" y="825925"/>
                </a:moveTo>
                <a:cubicBezTo>
                  <a:pt x="4557816" y="828490"/>
                  <a:pt x="4560381" y="833619"/>
                  <a:pt x="4560381" y="838749"/>
                </a:cubicBezTo>
                <a:cubicBezTo>
                  <a:pt x="4552686" y="841314"/>
                  <a:pt x="4555251" y="831054"/>
                  <a:pt x="4555251" y="825925"/>
                </a:cubicBezTo>
                <a:close/>
                <a:moveTo>
                  <a:pt x="4414182" y="825925"/>
                </a:moveTo>
                <a:cubicBezTo>
                  <a:pt x="4419311" y="828490"/>
                  <a:pt x="4419311" y="831054"/>
                  <a:pt x="4419311" y="838749"/>
                </a:cubicBezTo>
                <a:cubicBezTo>
                  <a:pt x="4416747" y="836184"/>
                  <a:pt x="4414182" y="831054"/>
                  <a:pt x="4414182" y="825925"/>
                </a:cubicBezTo>
                <a:close/>
                <a:moveTo>
                  <a:pt x="2613627" y="823362"/>
                </a:moveTo>
                <a:cubicBezTo>
                  <a:pt x="2626452" y="820797"/>
                  <a:pt x="2623886" y="846446"/>
                  <a:pt x="2611062" y="843881"/>
                </a:cubicBezTo>
                <a:cubicBezTo>
                  <a:pt x="2611062" y="836187"/>
                  <a:pt x="2613627" y="831057"/>
                  <a:pt x="2613627" y="823362"/>
                </a:cubicBezTo>
                <a:close/>
                <a:moveTo>
                  <a:pt x="5570949" y="823360"/>
                </a:moveTo>
                <a:cubicBezTo>
                  <a:pt x="5568384" y="833619"/>
                  <a:pt x="5560689" y="833619"/>
                  <a:pt x="5558125" y="843879"/>
                </a:cubicBezTo>
                <a:cubicBezTo>
                  <a:pt x="5552995" y="838749"/>
                  <a:pt x="5560689" y="823360"/>
                  <a:pt x="5570949" y="823360"/>
                </a:cubicBezTo>
                <a:close/>
                <a:moveTo>
                  <a:pt x="6548173" y="820795"/>
                </a:moveTo>
                <a:cubicBezTo>
                  <a:pt x="6548173" y="820795"/>
                  <a:pt x="6550738" y="820795"/>
                  <a:pt x="6553302" y="820795"/>
                </a:cubicBezTo>
                <a:cubicBezTo>
                  <a:pt x="6553302" y="820795"/>
                  <a:pt x="6553302" y="823361"/>
                  <a:pt x="6553302" y="825926"/>
                </a:cubicBezTo>
                <a:cubicBezTo>
                  <a:pt x="6553302" y="825926"/>
                  <a:pt x="6550738" y="825926"/>
                  <a:pt x="6548173" y="825926"/>
                </a:cubicBezTo>
                <a:cubicBezTo>
                  <a:pt x="6548173" y="823361"/>
                  <a:pt x="6548173" y="823361"/>
                  <a:pt x="6548173" y="820795"/>
                </a:cubicBezTo>
                <a:close/>
                <a:moveTo>
                  <a:pt x="4473254" y="815691"/>
                </a:moveTo>
                <a:cubicBezTo>
                  <a:pt x="4473174" y="815651"/>
                  <a:pt x="4474457" y="816292"/>
                  <a:pt x="4478304" y="818216"/>
                </a:cubicBezTo>
                <a:cubicBezTo>
                  <a:pt x="4485999" y="822063"/>
                  <a:pt x="4473494" y="815812"/>
                  <a:pt x="4473254" y="815691"/>
                </a:cubicBezTo>
                <a:close/>
                <a:moveTo>
                  <a:pt x="4482633" y="805085"/>
                </a:moveTo>
                <a:cubicBezTo>
                  <a:pt x="4485518" y="806048"/>
                  <a:pt x="4484076" y="815666"/>
                  <a:pt x="4478305" y="807971"/>
                </a:cubicBezTo>
                <a:cubicBezTo>
                  <a:pt x="4480229" y="805406"/>
                  <a:pt x="4481671" y="804765"/>
                  <a:pt x="4482633" y="805085"/>
                </a:cubicBezTo>
                <a:close/>
                <a:moveTo>
                  <a:pt x="4398632" y="799915"/>
                </a:moveTo>
                <a:cubicBezTo>
                  <a:pt x="4404403" y="802680"/>
                  <a:pt x="4411617" y="813742"/>
                  <a:pt x="4411617" y="823360"/>
                </a:cubicBezTo>
                <a:cubicBezTo>
                  <a:pt x="4401357" y="820795"/>
                  <a:pt x="4401357" y="805405"/>
                  <a:pt x="4393663" y="800275"/>
                </a:cubicBezTo>
                <a:cubicBezTo>
                  <a:pt x="4394945" y="798993"/>
                  <a:pt x="4396708" y="798993"/>
                  <a:pt x="4398632" y="799915"/>
                </a:cubicBezTo>
                <a:close/>
                <a:moveTo>
                  <a:pt x="2621322" y="797713"/>
                </a:moveTo>
                <a:cubicBezTo>
                  <a:pt x="2631581" y="795148"/>
                  <a:pt x="2626452" y="807973"/>
                  <a:pt x="2621322" y="810537"/>
                </a:cubicBezTo>
                <a:cubicBezTo>
                  <a:pt x="2629016" y="813102"/>
                  <a:pt x="2636711" y="815667"/>
                  <a:pt x="2652100" y="823362"/>
                </a:cubicBezTo>
                <a:cubicBezTo>
                  <a:pt x="2644406" y="831057"/>
                  <a:pt x="2652100" y="843881"/>
                  <a:pt x="2634147" y="843881"/>
                </a:cubicBezTo>
                <a:cubicBezTo>
                  <a:pt x="2634147" y="838751"/>
                  <a:pt x="2634147" y="836186"/>
                  <a:pt x="2629016" y="836186"/>
                </a:cubicBezTo>
                <a:cubicBezTo>
                  <a:pt x="2626452" y="828492"/>
                  <a:pt x="2634147" y="831057"/>
                  <a:pt x="2634147" y="825927"/>
                </a:cubicBezTo>
                <a:cubicBezTo>
                  <a:pt x="2629016" y="825927"/>
                  <a:pt x="2626452" y="828492"/>
                  <a:pt x="2626452" y="831057"/>
                </a:cubicBezTo>
                <a:cubicBezTo>
                  <a:pt x="2621322" y="828492"/>
                  <a:pt x="2626452" y="815667"/>
                  <a:pt x="2616192" y="818232"/>
                </a:cubicBezTo>
                <a:cubicBezTo>
                  <a:pt x="2613627" y="807973"/>
                  <a:pt x="2623886" y="807973"/>
                  <a:pt x="2621322" y="797713"/>
                </a:cubicBezTo>
                <a:close/>
                <a:moveTo>
                  <a:pt x="5599163" y="792582"/>
                </a:moveTo>
                <a:cubicBezTo>
                  <a:pt x="5601728" y="795147"/>
                  <a:pt x="5601728" y="800276"/>
                  <a:pt x="5601728" y="805406"/>
                </a:cubicBezTo>
                <a:cubicBezTo>
                  <a:pt x="5591468" y="805406"/>
                  <a:pt x="5591468" y="818231"/>
                  <a:pt x="5583773" y="820796"/>
                </a:cubicBezTo>
                <a:cubicBezTo>
                  <a:pt x="5581208" y="815666"/>
                  <a:pt x="5591468" y="797711"/>
                  <a:pt x="5599163" y="792582"/>
                </a:cubicBezTo>
                <a:close/>
                <a:moveTo>
                  <a:pt x="2531550" y="790017"/>
                </a:moveTo>
                <a:cubicBezTo>
                  <a:pt x="2523855" y="805407"/>
                  <a:pt x="2531550" y="792582"/>
                  <a:pt x="2534115" y="802842"/>
                </a:cubicBezTo>
                <a:cubicBezTo>
                  <a:pt x="2526420" y="802842"/>
                  <a:pt x="2523855" y="802842"/>
                  <a:pt x="2523855" y="810537"/>
                </a:cubicBezTo>
                <a:cubicBezTo>
                  <a:pt x="2518726" y="805407"/>
                  <a:pt x="2526420" y="790017"/>
                  <a:pt x="2531550" y="790017"/>
                </a:cubicBezTo>
                <a:close/>
                <a:moveTo>
                  <a:pt x="2372528" y="764371"/>
                </a:moveTo>
                <a:cubicBezTo>
                  <a:pt x="2377657" y="764371"/>
                  <a:pt x="2375092" y="769501"/>
                  <a:pt x="2375092" y="772065"/>
                </a:cubicBezTo>
                <a:cubicBezTo>
                  <a:pt x="2369964" y="772065"/>
                  <a:pt x="2369964" y="769501"/>
                  <a:pt x="2369964" y="766936"/>
                </a:cubicBezTo>
                <a:cubicBezTo>
                  <a:pt x="2372528" y="766936"/>
                  <a:pt x="2372528" y="766936"/>
                  <a:pt x="2372528" y="764371"/>
                </a:cubicBezTo>
                <a:close/>
                <a:moveTo>
                  <a:pt x="4929726" y="756673"/>
                </a:moveTo>
                <a:cubicBezTo>
                  <a:pt x="4934855" y="756673"/>
                  <a:pt x="4934855" y="764367"/>
                  <a:pt x="4932290" y="769497"/>
                </a:cubicBezTo>
                <a:cubicBezTo>
                  <a:pt x="4929726" y="766932"/>
                  <a:pt x="4929726" y="761802"/>
                  <a:pt x="4929726" y="756673"/>
                </a:cubicBezTo>
                <a:close/>
                <a:moveTo>
                  <a:pt x="4360319" y="751528"/>
                </a:moveTo>
                <a:cubicBezTo>
                  <a:pt x="4373143" y="748964"/>
                  <a:pt x="4388533" y="784873"/>
                  <a:pt x="4388533" y="795133"/>
                </a:cubicBezTo>
                <a:cubicBezTo>
                  <a:pt x="4375708" y="784873"/>
                  <a:pt x="4375708" y="761789"/>
                  <a:pt x="4360319" y="751528"/>
                </a:cubicBezTo>
                <a:close/>
                <a:moveTo>
                  <a:pt x="2762391" y="741254"/>
                </a:moveTo>
                <a:cubicBezTo>
                  <a:pt x="2767520" y="797680"/>
                  <a:pt x="2780345" y="851543"/>
                  <a:pt x="2795734" y="900276"/>
                </a:cubicBezTo>
                <a:cubicBezTo>
                  <a:pt x="2790604" y="864368"/>
                  <a:pt x="2785475" y="828459"/>
                  <a:pt x="2777780" y="795117"/>
                </a:cubicBezTo>
                <a:cubicBezTo>
                  <a:pt x="2772650" y="777161"/>
                  <a:pt x="2767520" y="759208"/>
                  <a:pt x="2762391" y="741254"/>
                </a:cubicBezTo>
                <a:close/>
                <a:moveTo>
                  <a:pt x="5447834" y="731025"/>
                </a:moveTo>
                <a:cubicBezTo>
                  <a:pt x="5460659" y="733590"/>
                  <a:pt x="5450399" y="738719"/>
                  <a:pt x="5452964" y="751544"/>
                </a:cubicBezTo>
                <a:cubicBezTo>
                  <a:pt x="5445269" y="751544"/>
                  <a:pt x="5442704" y="756674"/>
                  <a:pt x="5435010" y="759238"/>
                </a:cubicBezTo>
                <a:cubicBezTo>
                  <a:pt x="5440139" y="748979"/>
                  <a:pt x="5442704" y="738719"/>
                  <a:pt x="5447834" y="731025"/>
                </a:cubicBezTo>
                <a:close/>
                <a:moveTo>
                  <a:pt x="4378274" y="731010"/>
                </a:moveTo>
                <a:cubicBezTo>
                  <a:pt x="4398793" y="746400"/>
                  <a:pt x="4401358" y="774614"/>
                  <a:pt x="4414182" y="795133"/>
                </a:cubicBezTo>
                <a:cubicBezTo>
                  <a:pt x="4398793" y="787438"/>
                  <a:pt x="4388533" y="751530"/>
                  <a:pt x="4378274" y="731010"/>
                </a:cubicBezTo>
                <a:close/>
                <a:moveTo>
                  <a:pt x="5150307" y="728460"/>
                </a:moveTo>
                <a:cubicBezTo>
                  <a:pt x="5155436" y="731025"/>
                  <a:pt x="5158001" y="736154"/>
                  <a:pt x="5155436" y="746414"/>
                </a:cubicBezTo>
                <a:cubicBezTo>
                  <a:pt x="5152872" y="741284"/>
                  <a:pt x="5150307" y="736154"/>
                  <a:pt x="5150307" y="728460"/>
                </a:cubicBezTo>
                <a:close/>
                <a:moveTo>
                  <a:pt x="5519650" y="723330"/>
                </a:moveTo>
                <a:cubicBezTo>
                  <a:pt x="5545300" y="736154"/>
                  <a:pt x="5568384" y="774628"/>
                  <a:pt x="5565818" y="820796"/>
                </a:cubicBezTo>
                <a:cubicBezTo>
                  <a:pt x="5527345" y="802841"/>
                  <a:pt x="5532475" y="756673"/>
                  <a:pt x="5519650" y="723330"/>
                </a:cubicBezTo>
                <a:close/>
                <a:moveTo>
                  <a:pt x="4406488" y="702792"/>
                </a:moveTo>
                <a:cubicBezTo>
                  <a:pt x="4424442" y="718181"/>
                  <a:pt x="4444961" y="728441"/>
                  <a:pt x="4455221" y="754090"/>
                </a:cubicBezTo>
                <a:cubicBezTo>
                  <a:pt x="4465480" y="743830"/>
                  <a:pt x="4444961" y="738700"/>
                  <a:pt x="4447526" y="725876"/>
                </a:cubicBezTo>
                <a:cubicBezTo>
                  <a:pt x="4468045" y="733570"/>
                  <a:pt x="4475740" y="754090"/>
                  <a:pt x="4491129" y="766914"/>
                </a:cubicBezTo>
                <a:cubicBezTo>
                  <a:pt x="4491129" y="774609"/>
                  <a:pt x="4491129" y="782303"/>
                  <a:pt x="4485999" y="784868"/>
                </a:cubicBezTo>
                <a:cubicBezTo>
                  <a:pt x="4485999" y="789998"/>
                  <a:pt x="4496259" y="779738"/>
                  <a:pt x="4493694" y="792563"/>
                </a:cubicBezTo>
                <a:cubicBezTo>
                  <a:pt x="4489847" y="791280"/>
                  <a:pt x="4487923" y="791280"/>
                  <a:pt x="4485679" y="791280"/>
                </a:cubicBezTo>
                <a:lnTo>
                  <a:pt x="4477656" y="790245"/>
                </a:lnTo>
                <a:lnTo>
                  <a:pt x="4475341" y="787467"/>
                </a:lnTo>
                <a:lnTo>
                  <a:pt x="4473816" y="777815"/>
                </a:lnTo>
                <a:cubicBezTo>
                  <a:pt x="4473175" y="773967"/>
                  <a:pt x="4471893" y="770761"/>
                  <a:pt x="4468045" y="769479"/>
                </a:cubicBezTo>
                <a:cubicBezTo>
                  <a:pt x="4465480" y="774608"/>
                  <a:pt x="4468687" y="779738"/>
                  <a:pt x="4473175" y="784868"/>
                </a:cubicBezTo>
                <a:lnTo>
                  <a:pt x="4475341" y="787467"/>
                </a:lnTo>
                <a:lnTo>
                  <a:pt x="4475740" y="789998"/>
                </a:lnTo>
                <a:lnTo>
                  <a:pt x="4477656" y="790245"/>
                </a:lnTo>
                <a:lnTo>
                  <a:pt x="4485999" y="800258"/>
                </a:lnTo>
                <a:cubicBezTo>
                  <a:pt x="4473175" y="810517"/>
                  <a:pt x="4473175" y="787433"/>
                  <a:pt x="4462915" y="787433"/>
                </a:cubicBezTo>
                <a:cubicBezTo>
                  <a:pt x="4457785" y="797693"/>
                  <a:pt x="4473175" y="813082"/>
                  <a:pt x="4465480" y="831036"/>
                </a:cubicBezTo>
                <a:cubicBezTo>
                  <a:pt x="4452656" y="823342"/>
                  <a:pt x="4455221" y="797693"/>
                  <a:pt x="4439831" y="792563"/>
                </a:cubicBezTo>
                <a:cubicBezTo>
                  <a:pt x="4444961" y="787433"/>
                  <a:pt x="4439831" y="769479"/>
                  <a:pt x="4432137" y="764349"/>
                </a:cubicBezTo>
                <a:cubicBezTo>
                  <a:pt x="4427007" y="774609"/>
                  <a:pt x="4442396" y="789998"/>
                  <a:pt x="4432137" y="805387"/>
                </a:cubicBezTo>
                <a:cubicBezTo>
                  <a:pt x="4411617" y="777174"/>
                  <a:pt x="4388532" y="748960"/>
                  <a:pt x="4380838" y="713051"/>
                </a:cubicBezTo>
                <a:cubicBezTo>
                  <a:pt x="4393662" y="713051"/>
                  <a:pt x="4393662" y="728441"/>
                  <a:pt x="4401358" y="731006"/>
                </a:cubicBezTo>
                <a:cubicBezTo>
                  <a:pt x="4409053" y="725876"/>
                  <a:pt x="4398793" y="718181"/>
                  <a:pt x="4393662" y="718181"/>
                </a:cubicBezTo>
                <a:cubicBezTo>
                  <a:pt x="4403923" y="713051"/>
                  <a:pt x="4414182" y="720746"/>
                  <a:pt x="4406488" y="702792"/>
                </a:cubicBezTo>
                <a:close/>
                <a:moveTo>
                  <a:pt x="3016315" y="656612"/>
                </a:moveTo>
                <a:cubicBezTo>
                  <a:pt x="3030422" y="684826"/>
                  <a:pt x="3042605" y="714322"/>
                  <a:pt x="3052865" y="745101"/>
                </a:cubicBezTo>
                <a:lnTo>
                  <a:pt x="3071411" y="816435"/>
                </a:lnTo>
                <a:lnTo>
                  <a:pt x="3072743" y="825894"/>
                </a:lnTo>
                <a:cubicBezTo>
                  <a:pt x="3065048" y="795116"/>
                  <a:pt x="3056072" y="765620"/>
                  <a:pt x="3046132" y="737406"/>
                </a:cubicBezTo>
                <a:lnTo>
                  <a:pt x="3019398" y="670701"/>
                </a:lnTo>
                <a:close/>
                <a:moveTo>
                  <a:pt x="2884224" y="644463"/>
                </a:moveTo>
                <a:cubicBezTo>
                  <a:pt x="2885506" y="645104"/>
                  <a:pt x="2886788" y="646387"/>
                  <a:pt x="2888071" y="646387"/>
                </a:cubicBezTo>
                <a:cubicBezTo>
                  <a:pt x="2888071" y="651516"/>
                  <a:pt x="2885506" y="656646"/>
                  <a:pt x="2877812" y="656646"/>
                </a:cubicBezTo>
                <a:cubicBezTo>
                  <a:pt x="2875246" y="651516"/>
                  <a:pt x="2888071" y="648951"/>
                  <a:pt x="2880376" y="646387"/>
                </a:cubicBezTo>
                <a:cubicBezTo>
                  <a:pt x="2881659" y="643822"/>
                  <a:pt x="2882941" y="643822"/>
                  <a:pt x="2884224" y="644463"/>
                </a:cubicBezTo>
                <a:close/>
                <a:moveTo>
                  <a:pt x="2754696" y="628398"/>
                </a:moveTo>
                <a:cubicBezTo>
                  <a:pt x="2782911" y="672002"/>
                  <a:pt x="2811124" y="720735"/>
                  <a:pt x="2831643" y="774597"/>
                </a:cubicBezTo>
                <a:cubicBezTo>
                  <a:pt x="2870116" y="869497"/>
                  <a:pt x="2898330" y="979790"/>
                  <a:pt x="2916284" y="1097773"/>
                </a:cubicBezTo>
                <a:lnTo>
                  <a:pt x="2913207" y="1095209"/>
                </a:lnTo>
                <a:lnTo>
                  <a:pt x="2881018" y="934261"/>
                </a:lnTo>
                <a:cubicBezTo>
                  <a:pt x="2866270" y="878475"/>
                  <a:pt x="2848314" y="825894"/>
                  <a:pt x="2826513" y="777161"/>
                </a:cubicBezTo>
                <a:cubicBezTo>
                  <a:pt x="2814971" y="750230"/>
                  <a:pt x="2802146" y="724581"/>
                  <a:pt x="2788681" y="700215"/>
                </a:cubicBezTo>
                <a:lnTo>
                  <a:pt x="2755847" y="645660"/>
                </a:lnTo>
                <a:close/>
                <a:moveTo>
                  <a:pt x="3003492" y="623269"/>
                </a:moveTo>
                <a:cubicBezTo>
                  <a:pt x="3006055" y="651483"/>
                  <a:pt x="3008620" y="679696"/>
                  <a:pt x="3006055" y="710475"/>
                </a:cubicBezTo>
                <a:cubicBezTo>
                  <a:pt x="3003492" y="754078"/>
                  <a:pt x="2993231" y="797680"/>
                  <a:pt x="2988101" y="841284"/>
                </a:cubicBezTo>
                <a:cubicBezTo>
                  <a:pt x="2980406" y="884887"/>
                  <a:pt x="2980406" y="925925"/>
                  <a:pt x="2985536" y="964399"/>
                </a:cubicBezTo>
                <a:cubicBezTo>
                  <a:pt x="2993231" y="1041346"/>
                  <a:pt x="3024010" y="1097773"/>
                  <a:pt x="3031704" y="1174721"/>
                </a:cubicBezTo>
                <a:cubicBezTo>
                  <a:pt x="3031704" y="1177287"/>
                  <a:pt x="3031704" y="1182416"/>
                  <a:pt x="3031704" y="1184980"/>
                </a:cubicBezTo>
                <a:cubicBezTo>
                  <a:pt x="3041964" y="1192675"/>
                  <a:pt x="3052224" y="1200370"/>
                  <a:pt x="3059918" y="1210629"/>
                </a:cubicBezTo>
                <a:cubicBezTo>
                  <a:pt x="3062483" y="1200370"/>
                  <a:pt x="3065048" y="1190110"/>
                  <a:pt x="3067614" y="1179850"/>
                </a:cubicBezTo>
                <a:cubicBezTo>
                  <a:pt x="3077873" y="1090079"/>
                  <a:pt x="3083002" y="1002874"/>
                  <a:pt x="3080437" y="918230"/>
                </a:cubicBezTo>
                <a:cubicBezTo>
                  <a:pt x="3059918" y="864368"/>
                  <a:pt x="3039399" y="807940"/>
                  <a:pt x="3026575" y="746384"/>
                </a:cubicBezTo>
                <a:cubicBezTo>
                  <a:pt x="3016315" y="710475"/>
                  <a:pt x="3011185" y="669437"/>
                  <a:pt x="3006055" y="628398"/>
                </a:cubicBezTo>
                <a:cubicBezTo>
                  <a:pt x="3006055" y="625834"/>
                  <a:pt x="3003492" y="625834"/>
                  <a:pt x="3003492" y="623269"/>
                </a:cubicBezTo>
                <a:close/>
                <a:moveTo>
                  <a:pt x="2900895" y="618172"/>
                </a:moveTo>
                <a:cubicBezTo>
                  <a:pt x="2911156" y="618172"/>
                  <a:pt x="2900895" y="636127"/>
                  <a:pt x="2895766" y="636127"/>
                </a:cubicBezTo>
                <a:cubicBezTo>
                  <a:pt x="2895766" y="628432"/>
                  <a:pt x="2903460" y="628432"/>
                  <a:pt x="2900895" y="618172"/>
                </a:cubicBezTo>
                <a:close/>
                <a:moveTo>
                  <a:pt x="2747105" y="616528"/>
                </a:moveTo>
                <a:lnTo>
                  <a:pt x="2752131" y="623269"/>
                </a:lnTo>
                <a:lnTo>
                  <a:pt x="2752724" y="640472"/>
                </a:lnTo>
                <a:lnTo>
                  <a:pt x="2747001" y="630963"/>
                </a:lnTo>
                <a:lnTo>
                  <a:pt x="2747001" y="628398"/>
                </a:lnTo>
                <a:close/>
                <a:moveTo>
                  <a:pt x="2913719" y="589959"/>
                </a:moveTo>
                <a:cubicBezTo>
                  <a:pt x="2926544" y="592524"/>
                  <a:pt x="2913719" y="613043"/>
                  <a:pt x="2906025" y="613043"/>
                </a:cubicBezTo>
                <a:cubicBezTo>
                  <a:pt x="2906025" y="605348"/>
                  <a:pt x="2913719" y="600218"/>
                  <a:pt x="2913719" y="589959"/>
                </a:cubicBezTo>
                <a:close/>
                <a:moveTo>
                  <a:pt x="3769754" y="576174"/>
                </a:moveTo>
                <a:cubicBezTo>
                  <a:pt x="3772960" y="576494"/>
                  <a:pt x="3775525" y="578418"/>
                  <a:pt x="3772959" y="582266"/>
                </a:cubicBezTo>
                <a:cubicBezTo>
                  <a:pt x="3767829" y="582266"/>
                  <a:pt x="3767829" y="579701"/>
                  <a:pt x="3762700" y="579701"/>
                </a:cubicBezTo>
                <a:cubicBezTo>
                  <a:pt x="3762700" y="577135"/>
                  <a:pt x="3766548" y="575853"/>
                  <a:pt x="3769754" y="576174"/>
                </a:cubicBezTo>
                <a:close/>
                <a:moveTo>
                  <a:pt x="3752439" y="569440"/>
                </a:moveTo>
                <a:cubicBezTo>
                  <a:pt x="3760134" y="572005"/>
                  <a:pt x="3757569" y="587394"/>
                  <a:pt x="3770394" y="584829"/>
                </a:cubicBezTo>
                <a:cubicBezTo>
                  <a:pt x="3765264" y="597655"/>
                  <a:pt x="3755004" y="574570"/>
                  <a:pt x="3752439" y="582264"/>
                </a:cubicBezTo>
                <a:cubicBezTo>
                  <a:pt x="3749875" y="582264"/>
                  <a:pt x="3749875" y="579699"/>
                  <a:pt x="3752439" y="579699"/>
                </a:cubicBezTo>
                <a:cubicBezTo>
                  <a:pt x="3752439" y="574570"/>
                  <a:pt x="3749875" y="574570"/>
                  <a:pt x="3747310" y="574570"/>
                </a:cubicBezTo>
                <a:cubicBezTo>
                  <a:pt x="3747310" y="572005"/>
                  <a:pt x="3752439" y="572005"/>
                  <a:pt x="3752439" y="569440"/>
                </a:cubicBezTo>
                <a:close/>
                <a:moveTo>
                  <a:pt x="3024010" y="569406"/>
                </a:moveTo>
                <a:cubicBezTo>
                  <a:pt x="3038117" y="614291"/>
                  <a:pt x="3050300" y="661742"/>
                  <a:pt x="3059918" y="711757"/>
                </a:cubicBezTo>
                <a:lnTo>
                  <a:pt x="3075661" y="832780"/>
                </a:lnTo>
                <a:lnTo>
                  <a:pt x="3071411" y="816435"/>
                </a:lnTo>
                <a:lnTo>
                  <a:pt x="3054147" y="693803"/>
                </a:lnTo>
                <a:cubicBezTo>
                  <a:pt x="3045811" y="650841"/>
                  <a:pt x="3035552" y="609162"/>
                  <a:pt x="3024010" y="569406"/>
                </a:cubicBezTo>
                <a:close/>
                <a:moveTo>
                  <a:pt x="2941933" y="541226"/>
                </a:moveTo>
                <a:cubicBezTo>
                  <a:pt x="2939368" y="559180"/>
                  <a:pt x="2936804" y="577135"/>
                  <a:pt x="2923979" y="592525"/>
                </a:cubicBezTo>
                <a:cubicBezTo>
                  <a:pt x="2916284" y="577135"/>
                  <a:pt x="2934239" y="561745"/>
                  <a:pt x="2929109" y="543791"/>
                </a:cubicBezTo>
                <a:cubicBezTo>
                  <a:pt x="2934239" y="543791"/>
                  <a:pt x="2934239" y="538661"/>
                  <a:pt x="2941933" y="541226"/>
                </a:cubicBezTo>
                <a:close/>
                <a:moveTo>
                  <a:pt x="3721661" y="538663"/>
                </a:moveTo>
                <a:cubicBezTo>
                  <a:pt x="3724226" y="538663"/>
                  <a:pt x="3724226" y="538663"/>
                  <a:pt x="3726790" y="538663"/>
                </a:cubicBezTo>
                <a:cubicBezTo>
                  <a:pt x="3729356" y="546357"/>
                  <a:pt x="3724226" y="543792"/>
                  <a:pt x="3719096" y="543792"/>
                </a:cubicBezTo>
                <a:cubicBezTo>
                  <a:pt x="3719096" y="541228"/>
                  <a:pt x="3721661" y="541228"/>
                  <a:pt x="3721661" y="538663"/>
                </a:cubicBezTo>
                <a:close/>
                <a:moveTo>
                  <a:pt x="2667490" y="520673"/>
                </a:moveTo>
                <a:cubicBezTo>
                  <a:pt x="2682879" y="536062"/>
                  <a:pt x="2697627" y="552093"/>
                  <a:pt x="2711734" y="569085"/>
                </a:cubicBezTo>
                <a:lnTo>
                  <a:pt x="2747001" y="616388"/>
                </a:lnTo>
                <a:lnTo>
                  <a:pt x="2747001" y="628398"/>
                </a:lnTo>
                <a:cubicBezTo>
                  <a:pt x="2734176" y="609161"/>
                  <a:pt x="2720711" y="591207"/>
                  <a:pt x="2706604" y="574535"/>
                </a:cubicBezTo>
                <a:lnTo>
                  <a:pt x="2685069" y="552064"/>
                </a:lnTo>
                <a:close/>
                <a:moveTo>
                  <a:pt x="3821692" y="513014"/>
                </a:moveTo>
                <a:cubicBezTo>
                  <a:pt x="3826822" y="515579"/>
                  <a:pt x="3829386" y="528403"/>
                  <a:pt x="3824257" y="533533"/>
                </a:cubicBezTo>
                <a:cubicBezTo>
                  <a:pt x="3813997" y="530968"/>
                  <a:pt x="3821692" y="518143"/>
                  <a:pt x="3821692" y="513014"/>
                </a:cubicBezTo>
                <a:close/>
                <a:moveTo>
                  <a:pt x="3821692" y="438632"/>
                </a:moveTo>
                <a:cubicBezTo>
                  <a:pt x="3829386" y="446326"/>
                  <a:pt x="3829386" y="489931"/>
                  <a:pt x="3821692" y="497625"/>
                </a:cubicBezTo>
                <a:cubicBezTo>
                  <a:pt x="3821692" y="477105"/>
                  <a:pt x="3821692" y="456586"/>
                  <a:pt x="3821692" y="438632"/>
                </a:cubicBezTo>
                <a:close/>
                <a:moveTo>
                  <a:pt x="2754696" y="407818"/>
                </a:moveTo>
                <a:cubicBezTo>
                  <a:pt x="2752131" y="445009"/>
                  <a:pt x="2749566" y="482199"/>
                  <a:pt x="2747964" y="519070"/>
                </a:cubicBezTo>
                <a:lnTo>
                  <a:pt x="2747105" y="616528"/>
                </a:lnTo>
                <a:lnTo>
                  <a:pt x="2747001" y="616388"/>
                </a:lnTo>
                <a:lnTo>
                  <a:pt x="2747001" y="520352"/>
                </a:lnTo>
                <a:cubicBezTo>
                  <a:pt x="2748283" y="482841"/>
                  <a:pt x="2750849" y="445009"/>
                  <a:pt x="2754696" y="407818"/>
                </a:cubicBezTo>
                <a:close/>
                <a:moveTo>
                  <a:pt x="3821691" y="395029"/>
                </a:moveTo>
                <a:cubicBezTo>
                  <a:pt x="3826821" y="392464"/>
                  <a:pt x="3826821" y="397594"/>
                  <a:pt x="3826821" y="402724"/>
                </a:cubicBezTo>
                <a:cubicBezTo>
                  <a:pt x="3824256" y="402724"/>
                  <a:pt x="3821691" y="402724"/>
                  <a:pt x="3819127" y="402724"/>
                </a:cubicBezTo>
                <a:cubicBezTo>
                  <a:pt x="3821691" y="400159"/>
                  <a:pt x="3821691" y="397594"/>
                  <a:pt x="3821691" y="395029"/>
                </a:cubicBezTo>
                <a:close/>
                <a:moveTo>
                  <a:pt x="2729048" y="389900"/>
                </a:moveTo>
                <a:cubicBezTo>
                  <a:pt x="2739307" y="392465"/>
                  <a:pt x="2739307" y="397594"/>
                  <a:pt x="2736742" y="407854"/>
                </a:cubicBezTo>
                <a:cubicBezTo>
                  <a:pt x="2731612" y="407854"/>
                  <a:pt x="2729048" y="402724"/>
                  <a:pt x="2729048" y="407854"/>
                </a:cubicBezTo>
                <a:cubicBezTo>
                  <a:pt x="2723917" y="405289"/>
                  <a:pt x="2726482" y="402724"/>
                  <a:pt x="2731612" y="402724"/>
                </a:cubicBezTo>
                <a:cubicBezTo>
                  <a:pt x="2734177" y="395030"/>
                  <a:pt x="2729048" y="397594"/>
                  <a:pt x="2729048" y="389900"/>
                </a:cubicBezTo>
                <a:close/>
                <a:moveTo>
                  <a:pt x="2729048" y="359122"/>
                </a:moveTo>
                <a:cubicBezTo>
                  <a:pt x="2731613" y="359122"/>
                  <a:pt x="2734177" y="364251"/>
                  <a:pt x="2736742" y="364251"/>
                </a:cubicBezTo>
                <a:cubicBezTo>
                  <a:pt x="2736742" y="366816"/>
                  <a:pt x="2734177" y="366816"/>
                  <a:pt x="2734177" y="366816"/>
                </a:cubicBezTo>
                <a:cubicBezTo>
                  <a:pt x="2731613" y="366816"/>
                  <a:pt x="2731613" y="366816"/>
                  <a:pt x="2729048" y="366816"/>
                </a:cubicBezTo>
                <a:cubicBezTo>
                  <a:pt x="2729048" y="364251"/>
                  <a:pt x="2729048" y="361687"/>
                  <a:pt x="2729048" y="359122"/>
                </a:cubicBezTo>
                <a:close/>
                <a:moveTo>
                  <a:pt x="2839337" y="0"/>
                </a:moveTo>
                <a:cubicBezTo>
                  <a:pt x="2877812" y="61557"/>
                  <a:pt x="2913719" y="128244"/>
                  <a:pt x="2941933" y="205191"/>
                </a:cubicBezTo>
                <a:cubicBezTo>
                  <a:pt x="2970147" y="284703"/>
                  <a:pt x="2985536" y="374474"/>
                  <a:pt x="2995796" y="469375"/>
                </a:cubicBezTo>
                <a:cubicBezTo>
                  <a:pt x="2998361" y="533497"/>
                  <a:pt x="3003492" y="597620"/>
                  <a:pt x="3013751" y="656612"/>
                </a:cubicBezTo>
                <a:lnTo>
                  <a:pt x="3019398" y="670701"/>
                </a:lnTo>
                <a:lnTo>
                  <a:pt x="3034269" y="738689"/>
                </a:lnTo>
                <a:cubicBezTo>
                  <a:pt x="3047094" y="789987"/>
                  <a:pt x="3062483" y="836154"/>
                  <a:pt x="3080437" y="879757"/>
                </a:cubicBezTo>
                <a:lnTo>
                  <a:pt x="3079035" y="858709"/>
                </a:lnTo>
                <a:lnTo>
                  <a:pt x="3080437" y="869497"/>
                </a:lnTo>
                <a:cubicBezTo>
                  <a:pt x="3080437" y="874627"/>
                  <a:pt x="3083002" y="882322"/>
                  <a:pt x="3083002" y="887452"/>
                </a:cubicBezTo>
                <a:cubicBezTo>
                  <a:pt x="3083002" y="897711"/>
                  <a:pt x="3085567" y="905406"/>
                  <a:pt x="3085567" y="913101"/>
                </a:cubicBezTo>
                <a:cubicBezTo>
                  <a:pt x="3093262" y="933620"/>
                  <a:pt x="3103521" y="956706"/>
                  <a:pt x="3111216" y="977225"/>
                </a:cubicBezTo>
                <a:cubicBezTo>
                  <a:pt x="3131736" y="1023392"/>
                  <a:pt x="3149689" y="1074689"/>
                  <a:pt x="3159949" y="1131117"/>
                </a:cubicBezTo>
                <a:cubicBezTo>
                  <a:pt x="3167644" y="1113163"/>
                  <a:pt x="3172774" y="1097773"/>
                  <a:pt x="3177903" y="1082384"/>
                </a:cubicBezTo>
                <a:cubicBezTo>
                  <a:pt x="3193294" y="1031087"/>
                  <a:pt x="3206117" y="977225"/>
                  <a:pt x="3216378" y="923360"/>
                </a:cubicBezTo>
                <a:cubicBezTo>
                  <a:pt x="3180468" y="813070"/>
                  <a:pt x="3124040" y="728428"/>
                  <a:pt x="3070178" y="641223"/>
                </a:cubicBezTo>
                <a:cubicBezTo>
                  <a:pt x="3124040" y="725864"/>
                  <a:pt x="3180468" y="810506"/>
                  <a:pt x="3218942" y="918230"/>
                </a:cubicBezTo>
                <a:cubicBezTo>
                  <a:pt x="3221506" y="900276"/>
                  <a:pt x="3224071" y="882322"/>
                  <a:pt x="3226637" y="864368"/>
                </a:cubicBezTo>
                <a:cubicBezTo>
                  <a:pt x="3242026" y="713040"/>
                  <a:pt x="3226637" y="574536"/>
                  <a:pt x="3206117" y="443726"/>
                </a:cubicBezTo>
                <a:cubicBezTo>
                  <a:pt x="3229201" y="571971"/>
                  <a:pt x="3247155" y="710475"/>
                  <a:pt x="3231766" y="861803"/>
                </a:cubicBezTo>
                <a:cubicBezTo>
                  <a:pt x="3231766" y="884887"/>
                  <a:pt x="3226637" y="905406"/>
                  <a:pt x="3224071" y="928490"/>
                </a:cubicBezTo>
                <a:cubicBezTo>
                  <a:pt x="3224071" y="931055"/>
                  <a:pt x="3226637" y="933620"/>
                  <a:pt x="3226637" y="936185"/>
                </a:cubicBezTo>
                <a:cubicBezTo>
                  <a:pt x="3224071" y="933620"/>
                  <a:pt x="3224071" y="933620"/>
                  <a:pt x="3224071" y="931055"/>
                </a:cubicBezTo>
                <a:cubicBezTo>
                  <a:pt x="3216378" y="982355"/>
                  <a:pt x="3203553" y="1033652"/>
                  <a:pt x="3188163" y="1082384"/>
                </a:cubicBezTo>
                <a:cubicBezTo>
                  <a:pt x="3183033" y="1102904"/>
                  <a:pt x="3175338" y="1123423"/>
                  <a:pt x="3167644" y="1143942"/>
                </a:cubicBezTo>
                <a:cubicBezTo>
                  <a:pt x="3172774" y="1172156"/>
                  <a:pt x="3175338" y="1202934"/>
                  <a:pt x="3172774" y="1233713"/>
                </a:cubicBezTo>
                <a:cubicBezTo>
                  <a:pt x="3175338" y="1323484"/>
                  <a:pt x="3154819" y="1413256"/>
                  <a:pt x="3134300" y="1500462"/>
                </a:cubicBezTo>
                <a:cubicBezTo>
                  <a:pt x="3131736" y="1533807"/>
                  <a:pt x="3129170" y="1567150"/>
                  <a:pt x="3126605" y="1597929"/>
                </a:cubicBezTo>
                <a:cubicBezTo>
                  <a:pt x="3141995" y="1569715"/>
                  <a:pt x="3157384" y="1541501"/>
                  <a:pt x="3170209" y="1513288"/>
                </a:cubicBezTo>
                <a:cubicBezTo>
                  <a:pt x="3170209" y="1508157"/>
                  <a:pt x="3170209" y="1505593"/>
                  <a:pt x="3170209" y="1500462"/>
                </a:cubicBezTo>
                <a:cubicBezTo>
                  <a:pt x="3170209" y="1464554"/>
                  <a:pt x="3165079" y="1426080"/>
                  <a:pt x="3167644" y="1385042"/>
                </a:cubicBezTo>
                <a:cubicBezTo>
                  <a:pt x="3167644" y="1344004"/>
                  <a:pt x="3172774" y="1300400"/>
                  <a:pt x="3183033" y="1259362"/>
                </a:cubicBezTo>
                <a:cubicBezTo>
                  <a:pt x="3193294" y="1218324"/>
                  <a:pt x="3206117" y="1179850"/>
                  <a:pt x="3221506" y="1141377"/>
                </a:cubicBezTo>
                <a:cubicBezTo>
                  <a:pt x="3231766" y="1113163"/>
                  <a:pt x="3242026" y="1082384"/>
                  <a:pt x="3252285" y="1054171"/>
                </a:cubicBezTo>
                <a:lnTo>
                  <a:pt x="3244828" y="1008466"/>
                </a:lnTo>
                <a:lnTo>
                  <a:pt x="3252285" y="1049041"/>
                </a:lnTo>
                <a:cubicBezTo>
                  <a:pt x="3267675" y="1002874"/>
                  <a:pt x="3280499" y="959270"/>
                  <a:pt x="3290758" y="913101"/>
                </a:cubicBezTo>
                <a:cubicBezTo>
                  <a:pt x="3308713" y="833589"/>
                  <a:pt x="3311279" y="751513"/>
                  <a:pt x="3303583" y="679696"/>
                </a:cubicBezTo>
                <a:cubicBezTo>
                  <a:pt x="3288195" y="533497"/>
                  <a:pt x="3236896" y="420642"/>
                  <a:pt x="3190728" y="305222"/>
                </a:cubicBezTo>
                <a:cubicBezTo>
                  <a:pt x="3236896" y="415512"/>
                  <a:pt x="3290758" y="528368"/>
                  <a:pt x="3308713" y="674567"/>
                </a:cubicBezTo>
                <a:cubicBezTo>
                  <a:pt x="3318972" y="748947"/>
                  <a:pt x="3316407" y="831025"/>
                  <a:pt x="3298453" y="913101"/>
                </a:cubicBezTo>
                <a:cubicBezTo>
                  <a:pt x="3288195" y="966964"/>
                  <a:pt x="3272804" y="1018262"/>
                  <a:pt x="3254850" y="1069559"/>
                </a:cubicBezTo>
                <a:lnTo>
                  <a:pt x="3255827" y="1081769"/>
                </a:lnTo>
                <a:lnTo>
                  <a:pt x="3245232" y="1111881"/>
                </a:lnTo>
                <a:cubicBezTo>
                  <a:pt x="3240743" y="1123423"/>
                  <a:pt x="3235613" y="1134965"/>
                  <a:pt x="3229201" y="1146507"/>
                </a:cubicBezTo>
                <a:cubicBezTo>
                  <a:pt x="3200987" y="1220889"/>
                  <a:pt x="3180468" y="1300400"/>
                  <a:pt x="3180468" y="1377347"/>
                </a:cubicBezTo>
                <a:cubicBezTo>
                  <a:pt x="3180468" y="1413256"/>
                  <a:pt x="3183033" y="1444034"/>
                  <a:pt x="3185598" y="1479943"/>
                </a:cubicBezTo>
                <a:cubicBezTo>
                  <a:pt x="3200987" y="1441470"/>
                  <a:pt x="3216378" y="1400431"/>
                  <a:pt x="3229201" y="1359393"/>
                </a:cubicBezTo>
                <a:cubicBezTo>
                  <a:pt x="3252285" y="1285011"/>
                  <a:pt x="3259980" y="1208064"/>
                  <a:pt x="3259980" y="1133682"/>
                </a:cubicBezTo>
                <a:cubicBezTo>
                  <a:pt x="3262545" y="1208064"/>
                  <a:pt x="3252285" y="1287576"/>
                  <a:pt x="3231766" y="1364523"/>
                </a:cubicBezTo>
                <a:cubicBezTo>
                  <a:pt x="3218942" y="1410691"/>
                  <a:pt x="3200987" y="1454294"/>
                  <a:pt x="3183033" y="1495333"/>
                </a:cubicBezTo>
                <a:cubicBezTo>
                  <a:pt x="3185598" y="1533807"/>
                  <a:pt x="3185598" y="1572280"/>
                  <a:pt x="3180468" y="1613318"/>
                </a:cubicBezTo>
                <a:cubicBezTo>
                  <a:pt x="3180468" y="1615883"/>
                  <a:pt x="3180468" y="1618448"/>
                  <a:pt x="3180468" y="1621013"/>
                </a:cubicBezTo>
                <a:cubicBezTo>
                  <a:pt x="3183033" y="1623578"/>
                  <a:pt x="3183033" y="1623578"/>
                  <a:pt x="3183033" y="1628708"/>
                </a:cubicBezTo>
                <a:cubicBezTo>
                  <a:pt x="3183033" y="1628708"/>
                  <a:pt x="3180468" y="1628708"/>
                  <a:pt x="3180468" y="1628708"/>
                </a:cubicBezTo>
                <a:cubicBezTo>
                  <a:pt x="3175338" y="1680005"/>
                  <a:pt x="3165079" y="1733868"/>
                  <a:pt x="3152254" y="1785166"/>
                </a:cubicBezTo>
                <a:cubicBezTo>
                  <a:pt x="3159949" y="1813380"/>
                  <a:pt x="3170209" y="1839029"/>
                  <a:pt x="3172774" y="1874936"/>
                </a:cubicBezTo>
                <a:cubicBezTo>
                  <a:pt x="3175338" y="1890326"/>
                  <a:pt x="3175338" y="1905715"/>
                  <a:pt x="3172774" y="1921104"/>
                </a:cubicBezTo>
                <a:cubicBezTo>
                  <a:pt x="3229201" y="1957013"/>
                  <a:pt x="3285629" y="1995486"/>
                  <a:pt x="3331797" y="2041654"/>
                </a:cubicBezTo>
                <a:cubicBezTo>
                  <a:pt x="3334362" y="2041654"/>
                  <a:pt x="3334362" y="2041654"/>
                  <a:pt x="3336927" y="2041654"/>
                </a:cubicBezTo>
                <a:cubicBezTo>
                  <a:pt x="3342056" y="2033960"/>
                  <a:pt x="3347186" y="2023701"/>
                  <a:pt x="3352317" y="2016006"/>
                </a:cubicBezTo>
                <a:cubicBezTo>
                  <a:pt x="3352317" y="2013442"/>
                  <a:pt x="3349751" y="2013442"/>
                  <a:pt x="3347186" y="2010878"/>
                </a:cubicBezTo>
                <a:cubicBezTo>
                  <a:pt x="3354881" y="2000616"/>
                  <a:pt x="3362576" y="1992921"/>
                  <a:pt x="3372835" y="1985227"/>
                </a:cubicBezTo>
                <a:cubicBezTo>
                  <a:pt x="3352317" y="1969837"/>
                  <a:pt x="3375400" y="1939059"/>
                  <a:pt x="3367705" y="1905715"/>
                </a:cubicBezTo>
                <a:cubicBezTo>
                  <a:pt x="3403614" y="1890326"/>
                  <a:pt x="3444652" y="1880066"/>
                  <a:pt x="3447218" y="1831334"/>
                </a:cubicBezTo>
                <a:cubicBezTo>
                  <a:pt x="3495950" y="1818510"/>
                  <a:pt x="3519034" y="1756952"/>
                  <a:pt x="3557508" y="1751823"/>
                </a:cubicBezTo>
                <a:cubicBezTo>
                  <a:pt x="3549813" y="1738998"/>
                  <a:pt x="3557508" y="1741563"/>
                  <a:pt x="3552378" y="1726174"/>
                </a:cubicBezTo>
                <a:cubicBezTo>
                  <a:pt x="3560072" y="1715914"/>
                  <a:pt x="3608805" y="1685135"/>
                  <a:pt x="3616500" y="1667181"/>
                </a:cubicBezTo>
                <a:cubicBezTo>
                  <a:pt x="3621630" y="1659486"/>
                  <a:pt x="3611370" y="1644097"/>
                  <a:pt x="3616500" y="1636402"/>
                </a:cubicBezTo>
                <a:cubicBezTo>
                  <a:pt x="3624195" y="1621013"/>
                  <a:pt x="3657538" y="1615883"/>
                  <a:pt x="3657538" y="1600494"/>
                </a:cubicBezTo>
                <a:cubicBezTo>
                  <a:pt x="3657538" y="1608189"/>
                  <a:pt x="3626760" y="1546631"/>
                  <a:pt x="3621630" y="1541501"/>
                </a:cubicBezTo>
                <a:cubicBezTo>
                  <a:pt x="3626760" y="1546631"/>
                  <a:pt x="3547248" y="1505593"/>
                  <a:pt x="3557508" y="1505593"/>
                </a:cubicBezTo>
                <a:cubicBezTo>
                  <a:pt x="3547248" y="1505593"/>
                  <a:pt x="3521599" y="1528676"/>
                  <a:pt x="3488255" y="1526112"/>
                </a:cubicBezTo>
                <a:cubicBezTo>
                  <a:pt x="3460042" y="1526112"/>
                  <a:pt x="3442087" y="1500462"/>
                  <a:pt x="3419003" y="1490202"/>
                </a:cubicBezTo>
                <a:cubicBezTo>
                  <a:pt x="3398484" y="1479943"/>
                  <a:pt x="3354881" y="1469683"/>
                  <a:pt x="3367705" y="1420950"/>
                </a:cubicBezTo>
                <a:cubicBezTo>
                  <a:pt x="3383095" y="1372217"/>
                  <a:pt x="3506210" y="1397866"/>
                  <a:pt x="3552378" y="1426080"/>
                </a:cubicBezTo>
                <a:cubicBezTo>
                  <a:pt x="3562637" y="1405561"/>
                  <a:pt x="3590851" y="1387607"/>
                  <a:pt x="3616500" y="1400431"/>
                </a:cubicBezTo>
                <a:cubicBezTo>
                  <a:pt x="3660103" y="1351698"/>
                  <a:pt x="3739615" y="1390172"/>
                  <a:pt x="3767829" y="1431210"/>
                </a:cubicBezTo>
                <a:cubicBezTo>
                  <a:pt x="3757569" y="1528676"/>
                  <a:pt x="3824256" y="1551761"/>
                  <a:pt x="3867859" y="1587669"/>
                </a:cubicBezTo>
                <a:cubicBezTo>
                  <a:pt x="3860165" y="1638967"/>
                  <a:pt x="3852470" y="1674876"/>
                  <a:pt x="3837081" y="1697960"/>
                </a:cubicBezTo>
                <a:cubicBezTo>
                  <a:pt x="3842210" y="1713349"/>
                  <a:pt x="3849905" y="1690265"/>
                  <a:pt x="3857600" y="1703090"/>
                </a:cubicBezTo>
                <a:cubicBezTo>
                  <a:pt x="3844776" y="1777471"/>
                  <a:pt x="3811432" y="1818510"/>
                  <a:pt x="3837081" y="1877501"/>
                </a:cubicBezTo>
                <a:cubicBezTo>
                  <a:pt x="3829386" y="1885196"/>
                  <a:pt x="3824256" y="1892891"/>
                  <a:pt x="3821691" y="1903150"/>
                </a:cubicBezTo>
                <a:cubicBezTo>
                  <a:pt x="3831951" y="1887761"/>
                  <a:pt x="3844776" y="1872371"/>
                  <a:pt x="3855035" y="1856982"/>
                </a:cubicBezTo>
                <a:cubicBezTo>
                  <a:pt x="3860165" y="1833898"/>
                  <a:pt x="3865295" y="1810815"/>
                  <a:pt x="3870424" y="1787730"/>
                </a:cubicBezTo>
                <a:cubicBezTo>
                  <a:pt x="3872989" y="1769777"/>
                  <a:pt x="3878119" y="1751823"/>
                  <a:pt x="3883249" y="1733868"/>
                </a:cubicBezTo>
                <a:cubicBezTo>
                  <a:pt x="3880684" y="1726174"/>
                  <a:pt x="3883249" y="1715914"/>
                  <a:pt x="3888379" y="1708219"/>
                </a:cubicBezTo>
                <a:cubicBezTo>
                  <a:pt x="3888379" y="1708219"/>
                  <a:pt x="3890944" y="1708219"/>
                  <a:pt x="3890944" y="1708219"/>
                </a:cubicBezTo>
                <a:cubicBezTo>
                  <a:pt x="3903768" y="1669746"/>
                  <a:pt x="3919157" y="1631273"/>
                  <a:pt x="3939677" y="1597929"/>
                </a:cubicBezTo>
                <a:cubicBezTo>
                  <a:pt x="3973020" y="1538935"/>
                  <a:pt x="4014058" y="1508157"/>
                  <a:pt x="4052532" y="1479943"/>
                </a:cubicBezTo>
                <a:cubicBezTo>
                  <a:pt x="4078181" y="1461989"/>
                  <a:pt x="4101265" y="1441470"/>
                  <a:pt x="4126914" y="1418385"/>
                </a:cubicBezTo>
                <a:cubicBezTo>
                  <a:pt x="4157692" y="1382477"/>
                  <a:pt x="4188471" y="1346568"/>
                  <a:pt x="4216685" y="1302965"/>
                </a:cubicBezTo>
                <a:cubicBezTo>
                  <a:pt x="4237204" y="1274752"/>
                  <a:pt x="4252594" y="1243973"/>
                  <a:pt x="4267983" y="1210629"/>
                </a:cubicBezTo>
                <a:cubicBezTo>
                  <a:pt x="4275678" y="1190110"/>
                  <a:pt x="4283372" y="1172156"/>
                  <a:pt x="4291067" y="1151637"/>
                </a:cubicBezTo>
                <a:cubicBezTo>
                  <a:pt x="4293632" y="1136247"/>
                  <a:pt x="4298762" y="1123423"/>
                  <a:pt x="4301327" y="1110598"/>
                </a:cubicBezTo>
                <a:cubicBezTo>
                  <a:pt x="4319281" y="1038781"/>
                  <a:pt x="4324411" y="966964"/>
                  <a:pt x="4321846" y="897711"/>
                </a:cubicBezTo>
                <a:cubicBezTo>
                  <a:pt x="4324411" y="964399"/>
                  <a:pt x="4321846" y="1038781"/>
                  <a:pt x="4303891" y="1110598"/>
                </a:cubicBezTo>
                <a:cubicBezTo>
                  <a:pt x="4303891" y="1118293"/>
                  <a:pt x="4301327" y="1125988"/>
                  <a:pt x="4298762" y="1133682"/>
                </a:cubicBezTo>
                <a:cubicBezTo>
                  <a:pt x="4298762" y="1133682"/>
                  <a:pt x="4301327" y="1131117"/>
                  <a:pt x="4301327" y="1128553"/>
                </a:cubicBezTo>
                <a:cubicBezTo>
                  <a:pt x="4396228" y="907971"/>
                  <a:pt x="4537297" y="759208"/>
                  <a:pt x="4665541" y="613009"/>
                </a:cubicBezTo>
                <a:cubicBezTo>
                  <a:pt x="4729664" y="538627"/>
                  <a:pt x="4793786" y="461680"/>
                  <a:pt x="4852779" y="369344"/>
                </a:cubicBezTo>
                <a:cubicBezTo>
                  <a:pt x="4909206" y="277008"/>
                  <a:pt x="4960504" y="169283"/>
                  <a:pt x="4996412" y="53862"/>
                </a:cubicBezTo>
                <a:cubicBezTo>
                  <a:pt x="4960504" y="169283"/>
                  <a:pt x="4911771" y="279573"/>
                  <a:pt x="4852779" y="371909"/>
                </a:cubicBezTo>
                <a:cubicBezTo>
                  <a:pt x="4796351" y="466810"/>
                  <a:pt x="4729664" y="546322"/>
                  <a:pt x="4665541" y="620704"/>
                </a:cubicBezTo>
                <a:cubicBezTo>
                  <a:pt x="4601419" y="697651"/>
                  <a:pt x="4534732" y="769468"/>
                  <a:pt x="4473174" y="854108"/>
                </a:cubicBezTo>
                <a:cubicBezTo>
                  <a:pt x="4411617" y="938749"/>
                  <a:pt x="4350060" y="1031087"/>
                  <a:pt x="4306456" y="1138812"/>
                </a:cubicBezTo>
                <a:cubicBezTo>
                  <a:pt x="4288502" y="1182416"/>
                  <a:pt x="4273113" y="1226019"/>
                  <a:pt x="4260288" y="1272187"/>
                </a:cubicBezTo>
                <a:cubicBezTo>
                  <a:pt x="4301327" y="1220889"/>
                  <a:pt x="4339800" y="1164461"/>
                  <a:pt x="4375708" y="1108033"/>
                </a:cubicBezTo>
                <a:cubicBezTo>
                  <a:pt x="4337235" y="1169591"/>
                  <a:pt x="4298762" y="1228583"/>
                  <a:pt x="4257723" y="1282446"/>
                </a:cubicBezTo>
                <a:cubicBezTo>
                  <a:pt x="4255159" y="1292706"/>
                  <a:pt x="4252594" y="1302965"/>
                  <a:pt x="4250029" y="1315790"/>
                </a:cubicBezTo>
                <a:cubicBezTo>
                  <a:pt x="4234639" y="1374782"/>
                  <a:pt x="4224380" y="1436340"/>
                  <a:pt x="4211555" y="1497898"/>
                </a:cubicBezTo>
                <a:cubicBezTo>
                  <a:pt x="4257723" y="1464554"/>
                  <a:pt x="4303891" y="1433775"/>
                  <a:pt x="4344930" y="1382477"/>
                </a:cubicBezTo>
                <a:cubicBezTo>
                  <a:pt x="4439831" y="1279881"/>
                  <a:pt x="4527037" y="1161896"/>
                  <a:pt x="4611679" y="1036216"/>
                </a:cubicBezTo>
                <a:cubicBezTo>
                  <a:pt x="4527037" y="1164461"/>
                  <a:pt x="4439831" y="1282446"/>
                  <a:pt x="4347494" y="1387607"/>
                </a:cubicBezTo>
                <a:cubicBezTo>
                  <a:pt x="4306456" y="1441470"/>
                  <a:pt x="4257723" y="1472248"/>
                  <a:pt x="4211555" y="1508157"/>
                </a:cubicBezTo>
                <a:cubicBezTo>
                  <a:pt x="4203861" y="1554326"/>
                  <a:pt x="4193601" y="1597929"/>
                  <a:pt x="4183341" y="1641532"/>
                </a:cubicBezTo>
                <a:cubicBezTo>
                  <a:pt x="4198731" y="1623578"/>
                  <a:pt x="4214120" y="1603059"/>
                  <a:pt x="4229510" y="1579975"/>
                </a:cubicBezTo>
                <a:cubicBezTo>
                  <a:pt x="4267983" y="1520981"/>
                  <a:pt x="4306456" y="1456859"/>
                  <a:pt x="4350060" y="1405561"/>
                </a:cubicBezTo>
                <a:cubicBezTo>
                  <a:pt x="4415464" y="1326690"/>
                  <a:pt x="4485197" y="1270904"/>
                  <a:pt x="4556012" y="1227381"/>
                </a:cubicBezTo>
                <a:lnTo>
                  <a:pt x="4617869" y="1192702"/>
                </a:lnTo>
                <a:lnTo>
                  <a:pt x="4616849" y="1191977"/>
                </a:lnTo>
                <a:lnTo>
                  <a:pt x="4618382" y="1192414"/>
                </a:lnTo>
                <a:lnTo>
                  <a:pt x="4627068" y="1187545"/>
                </a:lnTo>
                <a:lnTo>
                  <a:pt x="4618703" y="1192506"/>
                </a:lnTo>
                <a:lnTo>
                  <a:pt x="4619374" y="1192698"/>
                </a:lnTo>
                <a:cubicBezTo>
                  <a:pt x="4624183" y="1196545"/>
                  <a:pt x="4623943" y="1196786"/>
                  <a:pt x="4622305" y="1195854"/>
                </a:cubicBezTo>
                <a:lnTo>
                  <a:pt x="4618099" y="1192865"/>
                </a:lnTo>
                <a:lnTo>
                  <a:pt x="4596387" y="1205742"/>
                </a:lnTo>
                <a:lnTo>
                  <a:pt x="4604625" y="1224438"/>
                </a:lnTo>
                <a:cubicBezTo>
                  <a:pt x="4606549" y="1230530"/>
                  <a:pt x="4607831" y="1237583"/>
                  <a:pt x="4609114" y="1249125"/>
                </a:cubicBezTo>
                <a:cubicBezTo>
                  <a:pt x="4602702" y="1245278"/>
                  <a:pt x="4600778" y="1237583"/>
                  <a:pt x="4599816" y="1229247"/>
                </a:cubicBezTo>
                <a:lnTo>
                  <a:pt x="4596328" y="1205777"/>
                </a:lnTo>
                <a:lnTo>
                  <a:pt x="4556052" y="1229665"/>
                </a:lnTo>
                <a:cubicBezTo>
                  <a:pt x="4485357" y="1275713"/>
                  <a:pt x="4416105" y="1334385"/>
                  <a:pt x="4352625" y="1413256"/>
                </a:cubicBezTo>
                <a:cubicBezTo>
                  <a:pt x="4311586" y="1464554"/>
                  <a:pt x="4273113" y="1528676"/>
                  <a:pt x="4234639" y="1590234"/>
                </a:cubicBezTo>
                <a:cubicBezTo>
                  <a:pt x="4216685" y="1618448"/>
                  <a:pt x="4198731" y="1644097"/>
                  <a:pt x="4178212" y="1667181"/>
                </a:cubicBezTo>
                <a:cubicBezTo>
                  <a:pt x="4162822" y="1726174"/>
                  <a:pt x="4144868" y="1785166"/>
                  <a:pt x="4119219" y="1841593"/>
                </a:cubicBezTo>
                <a:cubicBezTo>
                  <a:pt x="4101265" y="1877501"/>
                  <a:pt x="4080746" y="1910845"/>
                  <a:pt x="4060226" y="1939059"/>
                </a:cubicBezTo>
                <a:cubicBezTo>
                  <a:pt x="4060226" y="1951883"/>
                  <a:pt x="4057662" y="1962143"/>
                  <a:pt x="4055097" y="1974967"/>
                </a:cubicBezTo>
                <a:cubicBezTo>
                  <a:pt x="4083311" y="2036525"/>
                  <a:pt x="4106395" y="2100646"/>
                  <a:pt x="4103830" y="2167332"/>
                </a:cubicBezTo>
                <a:cubicBezTo>
                  <a:pt x="4101265" y="2169897"/>
                  <a:pt x="4098700" y="2172463"/>
                  <a:pt x="4096135" y="2172463"/>
                </a:cubicBezTo>
                <a:cubicBezTo>
                  <a:pt x="4178212" y="2210934"/>
                  <a:pt x="4257723" y="2257108"/>
                  <a:pt x="4332105" y="2313533"/>
                </a:cubicBezTo>
                <a:cubicBezTo>
                  <a:pt x="4352625" y="2282755"/>
                  <a:pt x="4373143" y="2249412"/>
                  <a:pt x="4391098" y="2216066"/>
                </a:cubicBezTo>
                <a:cubicBezTo>
                  <a:pt x="4488564" y="2036525"/>
                  <a:pt x="4578335" y="1844158"/>
                  <a:pt x="4675801" y="1662051"/>
                </a:cubicBezTo>
                <a:cubicBezTo>
                  <a:pt x="4760442" y="1505593"/>
                  <a:pt x="4852779" y="1351698"/>
                  <a:pt x="4957939" y="1246538"/>
                </a:cubicBezTo>
                <a:cubicBezTo>
                  <a:pt x="4955374" y="1246538"/>
                  <a:pt x="4952809" y="1241408"/>
                  <a:pt x="4947680" y="1241408"/>
                </a:cubicBezTo>
                <a:cubicBezTo>
                  <a:pt x="4945115" y="1231148"/>
                  <a:pt x="4952809" y="1231148"/>
                  <a:pt x="4950244" y="1223454"/>
                </a:cubicBezTo>
                <a:cubicBezTo>
                  <a:pt x="4963069" y="1223454"/>
                  <a:pt x="4965634" y="1231148"/>
                  <a:pt x="4963069" y="1241408"/>
                </a:cubicBezTo>
                <a:cubicBezTo>
                  <a:pt x="4968199" y="1236278"/>
                  <a:pt x="4970764" y="1233713"/>
                  <a:pt x="4973329" y="1231148"/>
                </a:cubicBezTo>
                <a:cubicBezTo>
                  <a:pt x="4968199" y="1220889"/>
                  <a:pt x="4975893" y="1218324"/>
                  <a:pt x="4978458" y="1205499"/>
                </a:cubicBezTo>
                <a:cubicBezTo>
                  <a:pt x="4986153" y="1208064"/>
                  <a:pt x="4993848" y="1195240"/>
                  <a:pt x="4993848" y="1200370"/>
                </a:cubicBezTo>
                <a:cubicBezTo>
                  <a:pt x="4998978" y="1200370"/>
                  <a:pt x="4998978" y="1182416"/>
                  <a:pt x="4993848" y="1184980"/>
                </a:cubicBezTo>
                <a:cubicBezTo>
                  <a:pt x="5001542" y="1182416"/>
                  <a:pt x="5006672" y="1179850"/>
                  <a:pt x="5009237" y="1172156"/>
                </a:cubicBezTo>
                <a:cubicBezTo>
                  <a:pt x="5022061" y="1174721"/>
                  <a:pt x="5016932" y="1184980"/>
                  <a:pt x="5019497" y="1190110"/>
                </a:cubicBezTo>
                <a:cubicBezTo>
                  <a:pt x="5142611" y="1092643"/>
                  <a:pt x="5265726" y="1087513"/>
                  <a:pt x="5373452" y="1128553"/>
                </a:cubicBezTo>
                <a:cubicBezTo>
                  <a:pt x="5265726" y="1090079"/>
                  <a:pt x="5142611" y="1102904"/>
                  <a:pt x="5024626" y="1200370"/>
                </a:cubicBezTo>
                <a:cubicBezTo>
                  <a:pt x="5027191" y="1200370"/>
                  <a:pt x="5027191" y="1200370"/>
                  <a:pt x="5029756" y="1200370"/>
                </a:cubicBezTo>
                <a:cubicBezTo>
                  <a:pt x="5029756" y="1208064"/>
                  <a:pt x="5024626" y="1210629"/>
                  <a:pt x="5024626" y="1215759"/>
                </a:cubicBezTo>
                <a:cubicBezTo>
                  <a:pt x="5029756" y="1218324"/>
                  <a:pt x="5029756" y="1213194"/>
                  <a:pt x="5029756" y="1210629"/>
                </a:cubicBezTo>
                <a:cubicBezTo>
                  <a:pt x="5032321" y="1238843"/>
                  <a:pt x="5032321" y="1246538"/>
                  <a:pt x="5024626" y="1277316"/>
                </a:cubicBezTo>
                <a:cubicBezTo>
                  <a:pt x="5019497" y="1282446"/>
                  <a:pt x="5015650" y="1284370"/>
                  <a:pt x="5012443" y="1286614"/>
                </a:cubicBezTo>
                <a:lnTo>
                  <a:pt x="5004124" y="1297813"/>
                </a:lnTo>
                <a:lnTo>
                  <a:pt x="5012122" y="1313567"/>
                </a:lnTo>
                <a:cubicBezTo>
                  <a:pt x="5015008" y="1322224"/>
                  <a:pt x="5015649" y="1332483"/>
                  <a:pt x="5009237" y="1344026"/>
                </a:cubicBezTo>
                <a:cubicBezTo>
                  <a:pt x="5001542" y="1341461"/>
                  <a:pt x="4998978" y="1344026"/>
                  <a:pt x="4991283" y="1338896"/>
                </a:cubicBezTo>
                <a:cubicBezTo>
                  <a:pt x="4993848" y="1326070"/>
                  <a:pt x="4991283" y="1331201"/>
                  <a:pt x="4988718" y="1320941"/>
                </a:cubicBezTo>
                <a:cubicBezTo>
                  <a:pt x="5001542" y="1323505"/>
                  <a:pt x="4993848" y="1308117"/>
                  <a:pt x="5004107" y="1310681"/>
                </a:cubicBezTo>
                <a:cubicBezTo>
                  <a:pt x="5002824" y="1306834"/>
                  <a:pt x="5001542" y="1304269"/>
                  <a:pt x="5000901" y="1301704"/>
                </a:cubicBezTo>
                <a:lnTo>
                  <a:pt x="5001328" y="1295722"/>
                </a:lnTo>
                <a:lnTo>
                  <a:pt x="4995411" y="1291223"/>
                </a:lnTo>
                <a:cubicBezTo>
                  <a:pt x="4990482" y="1282446"/>
                  <a:pt x="4993848" y="1268981"/>
                  <a:pt x="4978458" y="1267057"/>
                </a:cubicBezTo>
                <a:cubicBezTo>
                  <a:pt x="4981023" y="1259362"/>
                  <a:pt x="4978458" y="1254232"/>
                  <a:pt x="4975893" y="1249103"/>
                </a:cubicBezTo>
                <a:cubicBezTo>
                  <a:pt x="4948962" y="1276034"/>
                  <a:pt x="4922993" y="1306172"/>
                  <a:pt x="4897865" y="1338794"/>
                </a:cubicBezTo>
                <a:lnTo>
                  <a:pt x="4829711" y="1436477"/>
                </a:lnTo>
                <a:lnTo>
                  <a:pt x="4834355" y="1449784"/>
                </a:lnTo>
                <a:cubicBezTo>
                  <a:pt x="4836322" y="1472228"/>
                  <a:pt x="4829695" y="1505787"/>
                  <a:pt x="4829695" y="1462023"/>
                </a:cubicBezTo>
                <a:cubicBezTo>
                  <a:pt x="4825206" y="1460741"/>
                  <a:pt x="4822481" y="1458978"/>
                  <a:pt x="4820917" y="1456934"/>
                </a:cubicBezTo>
                <a:lnTo>
                  <a:pt x="4819651" y="1452176"/>
                </a:lnTo>
                <a:lnTo>
                  <a:pt x="4756234" y="1558573"/>
                </a:lnTo>
                <a:cubicBezTo>
                  <a:pt x="4733992" y="1598249"/>
                  <a:pt x="4712350" y="1638967"/>
                  <a:pt x="4691190" y="1680005"/>
                </a:cubicBezTo>
                <a:cubicBezTo>
                  <a:pt x="4596289" y="1862112"/>
                  <a:pt x="4509083" y="2054480"/>
                  <a:pt x="4414182" y="2241718"/>
                </a:cubicBezTo>
                <a:cubicBezTo>
                  <a:pt x="4403922" y="2259670"/>
                  <a:pt x="4396228" y="2277626"/>
                  <a:pt x="4385968" y="2293014"/>
                </a:cubicBezTo>
                <a:cubicBezTo>
                  <a:pt x="4427006" y="2269932"/>
                  <a:pt x="4468045" y="2249412"/>
                  <a:pt x="4506518" y="2226327"/>
                </a:cubicBezTo>
                <a:cubicBezTo>
                  <a:pt x="4514213" y="2221197"/>
                  <a:pt x="4511648" y="2205806"/>
                  <a:pt x="4516778" y="2195544"/>
                </a:cubicBezTo>
                <a:cubicBezTo>
                  <a:pt x="4555251" y="2185285"/>
                  <a:pt x="4570640" y="2151944"/>
                  <a:pt x="4591159" y="2126297"/>
                </a:cubicBezTo>
                <a:cubicBezTo>
                  <a:pt x="4655282" y="2113470"/>
                  <a:pt x="4678366" y="2064738"/>
                  <a:pt x="4706579" y="2016006"/>
                </a:cubicBezTo>
                <a:cubicBezTo>
                  <a:pt x="4786091" y="2016006"/>
                  <a:pt x="4798916" y="2087822"/>
                  <a:pt x="4837389" y="2136555"/>
                </a:cubicBezTo>
                <a:cubicBezTo>
                  <a:pt x="4850214" y="2151944"/>
                  <a:pt x="4868168" y="2154509"/>
                  <a:pt x="4883557" y="2167332"/>
                </a:cubicBezTo>
                <a:cubicBezTo>
                  <a:pt x="4893817" y="2180157"/>
                  <a:pt x="4904077" y="2205806"/>
                  <a:pt x="4919466" y="2226327"/>
                </a:cubicBezTo>
                <a:cubicBezTo>
                  <a:pt x="4942550" y="2257108"/>
                  <a:pt x="4975893" y="2290449"/>
                  <a:pt x="4996412" y="2331486"/>
                </a:cubicBezTo>
                <a:cubicBezTo>
                  <a:pt x="5004107" y="2323792"/>
                  <a:pt x="5009237" y="2313533"/>
                  <a:pt x="5009237" y="2305838"/>
                </a:cubicBezTo>
                <a:cubicBezTo>
                  <a:pt x="5014367" y="2313533"/>
                  <a:pt x="5006672" y="2328922"/>
                  <a:pt x="5001542" y="2339180"/>
                </a:cubicBezTo>
                <a:cubicBezTo>
                  <a:pt x="5019497" y="2377654"/>
                  <a:pt x="5029756" y="2426387"/>
                  <a:pt x="5009237" y="2487945"/>
                </a:cubicBezTo>
                <a:cubicBezTo>
                  <a:pt x="4998978" y="2521288"/>
                  <a:pt x="4970764" y="2539244"/>
                  <a:pt x="4947680" y="2562327"/>
                </a:cubicBezTo>
                <a:cubicBezTo>
                  <a:pt x="4947680" y="2564892"/>
                  <a:pt x="4950244" y="2562327"/>
                  <a:pt x="4952809" y="2562327"/>
                </a:cubicBezTo>
                <a:cubicBezTo>
                  <a:pt x="4957939" y="2572586"/>
                  <a:pt x="4945115" y="2593105"/>
                  <a:pt x="4932290" y="2585411"/>
                </a:cubicBezTo>
                <a:cubicBezTo>
                  <a:pt x="4932290" y="2582846"/>
                  <a:pt x="4932290" y="2580281"/>
                  <a:pt x="4932290" y="2577716"/>
                </a:cubicBezTo>
                <a:cubicBezTo>
                  <a:pt x="4919466" y="2590540"/>
                  <a:pt x="4906641" y="2608495"/>
                  <a:pt x="4901512" y="2629015"/>
                </a:cubicBezTo>
                <a:cubicBezTo>
                  <a:pt x="4883557" y="2631580"/>
                  <a:pt x="4868168" y="2641839"/>
                  <a:pt x="4852779" y="2652099"/>
                </a:cubicBezTo>
                <a:cubicBezTo>
                  <a:pt x="4855343" y="2662358"/>
                  <a:pt x="4857908" y="2672618"/>
                  <a:pt x="4860473" y="2682878"/>
                </a:cubicBezTo>
                <a:cubicBezTo>
                  <a:pt x="4863038" y="2682878"/>
                  <a:pt x="4865603" y="2682878"/>
                  <a:pt x="4870733" y="2685443"/>
                </a:cubicBezTo>
                <a:cubicBezTo>
                  <a:pt x="4875863" y="2698267"/>
                  <a:pt x="4873298" y="2705962"/>
                  <a:pt x="4868168" y="2713656"/>
                </a:cubicBezTo>
                <a:cubicBezTo>
                  <a:pt x="4870733" y="2729046"/>
                  <a:pt x="4875863" y="2741870"/>
                  <a:pt x="4878428" y="2757259"/>
                </a:cubicBezTo>
                <a:cubicBezTo>
                  <a:pt x="4886122" y="2747000"/>
                  <a:pt x="4891252" y="2736740"/>
                  <a:pt x="4896382" y="2723916"/>
                </a:cubicBezTo>
                <a:cubicBezTo>
                  <a:pt x="4947680" y="2716221"/>
                  <a:pt x="4981023" y="2664922"/>
                  <a:pt x="5042581" y="2649534"/>
                </a:cubicBezTo>
                <a:cubicBezTo>
                  <a:pt x="5040016" y="2639273"/>
                  <a:pt x="5050275" y="2626449"/>
                  <a:pt x="5063100" y="2639273"/>
                </a:cubicBezTo>
                <a:cubicBezTo>
                  <a:pt x="5063100" y="2641839"/>
                  <a:pt x="5063100" y="2644403"/>
                  <a:pt x="5063100" y="2646968"/>
                </a:cubicBezTo>
                <a:cubicBezTo>
                  <a:pt x="5065665" y="2646968"/>
                  <a:pt x="5068230" y="2646968"/>
                  <a:pt x="5070795" y="2646968"/>
                </a:cubicBezTo>
                <a:cubicBezTo>
                  <a:pt x="5070795" y="2646968"/>
                  <a:pt x="5070795" y="2644403"/>
                  <a:pt x="5070795" y="2644403"/>
                </a:cubicBezTo>
                <a:cubicBezTo>
                  <a:pt x="5065665" y="2636709"/>
                  <a:pt x="5060535" y="2631580"/>
                  <a:pt x="5055405" y="2626449"/>
                </a:cubicBezTo>
                <a:cubicBezTo>
                  <a:pt x="5063100" y="2580281"/>
                  <a:pt x="5045146" y="2554632"/>
                  <a:pt x="5042581" y="2495638"/>
                </a:cubicBezTo>
                <a:cubicBezTo>
                  <a:pt x="5065665" y="2500768"/>
                  <a:pt x="5068230" y="2541808"/>
                  <a:pt x="5086184" y="2544372"/>
                </a:cubicBezTo>
                <a:cubicBezTo>
                  <a:pt x="5088749" y="2549502"/>
                  <a:pt x="5091313" y="2557197"/>
                  <a:pt x="5093878" y="2562327"/>
                </a:cubicBezTo>
                <a:cubicBezTo>
                  <a:pt x="5093878" y="2562327"/>
                  <a:pt x="5093878" y="2564892"/>
                  <a:pt x="5093878" y="2564892"/>
                </a:cubicBezTo>
                <a:cubicBezTo>
                  <a:pt x="5096444" y="2570021"/>
                  <a:pt x="5099008" y="2577716"/>
                  <a:pt x="5101573" y="2582846"/>
                </a:cubicBezTo>
                <a:cubicBezTo>
                  <a:pt x="5104138" y="2582846"/>
                  <a:pt x="5104138" y="2585411"/>
                  <a:pt x="5104138" y="2585411"/>
                </a:cubicBezTo>
                <a:cubicBezTo>
                  <a:pt x="5106703" y="2590540"/>
                  <a:pt x="5111833" y="2598235"/>
                  <a:pt x="5114398" y="2603365"/>
                </a:cubicBezTo>
                <a:cubicBezTo>
                  <a:pt x="5119527" y="2611060"/>
                  <a:pt x="5122092" y="2616189"/>
                  <a:pt x="5127222" y="2621320"/>
                </a:cubicBezTo>
                <a:cubicBezTo>
                  <a:pt x="5127222" y="2621320"/>
                  <a:pt x="5129787" y="2621320"/>
                  <a:pt x="5129787" y="2621320"/>
                </a:cubicBezTo>
                <a:cubicBezTo>
                  <a:pt x="5132352" y="2623885"/>
                  <a:pt x="5134917" y="2626449"/>
                  <a:pt x="5137482" y="2629015"/>
                </a:cubicBezTo>
                <a:cubicBezTo>
                  <a:pt x="5134917" y="2629015"/>
                  <a:pt x="5132352" y="2626449"/>
                  <a:pt x="5129787" y="2626449"/>
                </a:cubicBezTo>
                <a:cubicBezTo>
                  <a:pt x="5132352" y="2634144"/>
                  <a:pt x="5134917" y="2646968"/>
                  <a:pt x="5134917" y="2657229"/>
                </a:cubicBezTo>
                <a:cubicBezTo>
                  <a:pt x="5140047" y="2657229"/>
                  <a:pt x="5147741" y="2654664"/>
                  <a:pt x="5152871" y="2649534"/>
                </a:cubicBezTo>
                <a:cubicBezTo>
                  <a:pt x="5155436" y="2611060"/>
                  <a:pt x="5134917" y="2598235"/>
                  <a:pt x="5127222" y="2570021"/>
                </a:cubicBezTo>
                <a:cubicBezTo>
                  <a:pt x="5134917" y="2554632"/>
                  <a:pt x="5150306" y="2559763"/>
                  <a:pt x="5158001" y="2570021"/>
                </a:cubicBezTo>
                <a:cubicBezTo>
                  <a:pt x="5165696" y="2562327"/>
                  <a:pt x="5163131" y="2544372"/>
                  <a:pt x="5163131" y="2528982"/>
                </a:cubicBezTo>
                <a:cubicBezTo>
                  <a:pt x="5183650" y="2526418"/>
                  <a:pt x="5183650" y="2503334"/>
                  <a:pt x="5209299" y="2503334"/>
                </a:cubicBezTo>
                <a:cubicBezTo>
                  <a:pt x="5214428" y="2475120"/>
                  <a:pt x="5204169" y="2459731"/>
                  <a:pt x="5183650" y="2457166"/>
                </a:cubicBezTo>
                <a:cubicBezTo>
                  <a:pt x="5181085" y="2436647"/>
                  <a:pt x="5196474" y="2436647"/>
                  <a:pt x="5199039" y="2421258"/>
                </a:cubicBezTo>
                <a:cubicBezTo>
                  <a:pt x="5196474" y="2395610"/>
                  <a:pt x="5145176" y="2439212"/>
                  <a:pt x="5152871" y="2395610"/>
                </a:cubicBezTo>
                <a:cubicBezTo>
                  <a:pt x="5219558" y="2410997"/>
                  <a:pt x="5186215" y="2331486"/>
                  <a:pt x="5188779" y="2300709"/>
                </a:cubicBezTo>
                <a:cubicBezTo>
                  <a:pt x="5216993" y="2305838"/>
                  <a:pt x="5224688" y="2280189"/>
                  <a:pt x="5234948" y="2254542"/>
                </a:cubicBezTo>
                <a:cubicBezTo>
                  <a:pt x="5234948" y="2236587"/>
                  <a:pt x="5214428" y="2236587"/>
                  <a:pt x="5214428" y="2213500"/>
                </a:cubicBezTo>
                <a:cubicBezTo>
                  <a:pt x="5237513" y="2234021"/>
                  <a:pt x="5250337" y="2213500"/>
                  <a:pt x="5260597" y="2192979"/>
                </a:cubicBezTo>
                <a:cubicBezTo>
                  <a:pt x="5281116" y="2198110"/>
                  <a:pt x="5278551" y="2192979"/>
                  <a:pt x="5301635" y="2192979"/>
                </a:cubicBezTo>
                <a:cubicBezTo>
                  <a:pt x="5283680" y="2151944"/>
                  <a:pt x="5314459" y="2131425"/>
                  <a:pt x="5327284" y="2103211"/>
                </a:cubicBezTo>
                <a:cubicBezTo>
                  <a:pt x="5329849" y="2090386"/>
                  <a:pt x="5319589" y="2085258"/>
                  <a:pt x="5306765" y="2087822"/>
                </a:cubicBezTo>
                <a:cubicBezTo>
                  <a:pt x="5296505" y="2054480"/>
                  <a:pt x="5301635" y="2036525"/>
                  <a:pt x="5301635" y="1998051"/>
                </a:cubicBezTo>
                <a:cubicBezTo>
                  <a:pt x="5334978" y="1962143"/>
                  <a:pt x="5358063" y="1980097"/>
                  <a:pt x="5401666" y="1962143"/>
                </a:cubicBezTo>
                <a:cubicBezTo>
                  <a:pt x="5401666" y="1962143"/>
                  <a:pt x="5401666" y="1959578"/>
                  <a:pt x="5401666" y="1959578"/>
                </a:cubicBezTo>
                <a:cubicBezTo>
                  <a:pt x="5396536" y="1959578"/>
                  <a:pt x="5399101" y="1964708"/>
                  <a:pt x="5391406" y="1964708"/>
                </a:cubicBezTo>
                <a:cubicBezTo>
                  <a:pt x="5393971" y="1954448"/>
                  <a:pt x="5386276" y="1954448"/>
                  <a:pt x="5388841" y="1944188"/>
                </a:cubicBezTo>
                <a:cubicBezTo>
                  <a:pt x="5391406" y="1944188"/>
                  <a:pt x="5391406" y="1941624"/>
                  <a:pt x="5391406" y="1939059"/>
                </a:cubicBezTo>
                <a:cubicBezTo>
                  <a:pt x="5396536" y="1936494"/>
                  <a:pt x="5399101" y="1939059"/>
                  <a:pt x="5401666" y="1939059"/>
                </a:cubicBezTo>
                <a:cubicBezTo>
                  <a:pt x="5409360" y="1900585"/>
                  <a:pt x="5432444" y="1880066"/>
                  <a:pt x="5452964" y="1854417"/>
                </a:cubicBezTo>
                <a:cubicBezTo>
                  <a:pt x="5478612" y="1882631"/>
                  <a:pt x="5494002" y="1854417"/>
                  <a:pt x="5506826" y="1828769"/>
                </a:cubicBezTo>
                <a:cubicBezTo>
                  <a:pt x="5501696" y="1815944"/>
                  <a:pt x="5506826" y="1800556"/>
                  <a:pt x="5522216" y="1795426"/>
                </a:cubicBezTo>
                <a:cubicBezTo>
                  <a:pt x="5547864" y="1787730"/>
                  <a:pt x="5555559" y="1823639"/>
                  <a:pt x="5537605" y="1836463"/>
                </a:cubicBezTo>
                <a:cubicBezTo>
                  <a:pt x="5552994" y="1833898"/>
                  <a:pt x="5555559" y="1810815"/>
                  <a:pt x="5570949" y="1826203"/>
                </a:cubicBezTo>
                <a:cubicBezTo>
                  <a:pt x="5542735" y="1787730"/>
                  <a:pt x="5576078" y="1731303"/>
                  <a:pt x="5622247" y="1751823"/>
                </a:cubicBezTo>
                <a:cubicBezTo>
                  <a:pt x="5627376" y="1744128"/>
                  <a:pt x="5619682" y="1708219"/>
                  <a:pt x="5617117" y="1692830"/>
                </a:cubicBezTo>
                <a:cubicBezTo>
                  <a:pt x="5632506" y="1692830"/>
                  <a:pt x="5650460" y="1695395"/>
                  <a:pt x="5647896" y="1677441"/>
                </a:cubicBezTo>
                <a:cubicBezTo>
                  <a:pt x="5673544" y="1692830"/>
                  <a:pt x="5699193" y="1680005"/>
                  <a:pt x="5722277" y="1687700"/>
                </a:cubicBezTo>
                <a:cubicBezTo>
                  <a:pt x="5712018" y="1715914"/>
                  <a:pt x="5712018" y="1741563"/>
                  <a:pt x="5722277" y="1772342"/>
                </a:cubicBezTo>
                <a:cubicBezTo>
                  <a:pt x="5742797" y="1764647"/>
                  <a:pt x="5747926" y="1772342"/>
                  <a:pt x="5773575" y="1772342"/>
                </a:cubicBezTo>
                <a:cubicBezTo>
                  <a:pt x="5776140" y="1787730"/>
                  <a:pt x="5794094" y="1790296"/>
                  <a:pt x="5788965" y="1813380"/>
                </a:cubicBezTo>
                <a:cubicBezTo>
                  <a:pt x="5840263" y="1797991"/>
                  <a:pt x="5865911" y="1800556"/>
                  <a:pt x="5909515" y="1818510"/>
                </a:cubicBezTo>
                <a:cubicBezTo>
                  <a:pt x="5888995" y="1874936"/>
                  <a:pt x="5945423" y="1864677"/>
                  <a:pt x="5983896" y="1882631"/>
                </a:cubicBezTo>
                <a:cubicBezTo>
                  <a:pt x="5983896" y="1880066"/>
                  <a:pt x="5983896" y="1880066"/>
                  <a:pt x="5983896" y="1877501"/>
                </a:cubicBezTo>
                <a:cubicBezTo>
                  <a:pt x="5991591" y="1880066"/>
                  <a:pt x="5991591" y="1882631"/>
                  <a:pt x="5989026" y="1885196"/>
                </a:cubicBezTo>
                <a:cubicBezTo>
                  <a:pt x="6004416" y="1892891"/>
                  <a:pt x="6014675" y="1908280"/>
                  <a:pt x="6014675" y="1933929"/>
                </a:cubicBezTo>
                <a:cubicBezTo>
                  <a:pt x="6130095" y="2016006"/>
                  <a:pt x="6260905" y="2080128"/>
                  <a:pt x="6330157" y="2208371"/>
                </a:cubicBezTo>
                <a:cubicBezTo>
                  <a:pt x="6327592" y="2223762"/>
                  <a:pt x="6322462" y="2239152"/>
                  <a:pt x="6304508" y="2239152"/>
                </a:cubicBezTo>
                <a:cubicBezTo>
                  <a:pt x="6307073" y="2246846"/>
                  <a:pt x="6312203" y="2249412"/>
                  <a:pt x="6317332" y="2254542"/>
                </a:cubicBezTo>
                <a:cubicBezTo>
                  <a:pt x="6322462" y="2241718"/>
                  <a:pt x="6332722" y="2228893"/>
                  <a:pt x="6342981" y="2221197"/>
                </a:cubicBezTo>
                <a:cubicBezTo>
                  <a:pt x="6335287" y="2231456"/>
                  <a:pt x="6327592" y="2244283"/>
                  <a:pt x="6353241" y="2262236"/>
                </a:cubicBezTo>
                <a:cubicBezTo>
                  <a:pt x="6355806" y="2264801"/>
                  <a:pt x="6358371" y="2269932"/>
                  <a:pt x="6358371" y="2275060"/>
                </a:cubicBezTo>
                <a:cubicBezTo>
                  <a:pt x="6353241" y="2275060"/>
                  <a:pt x="6350676" y="2275060"/>
                  <a:pt x="6345546" y="2275060"/>
                </a:cubicBezTo>
                <a:cubicBezTo>
                  <a:pt x="6342981" y="2277626"/>
                  <a:pt x="6340417" y="2282755"/>
                  <a:pt x="6337852" y="2285320"/>
                </a:cubicBezTo>
                <a:cubicBezTo>
                  <a:pt x="6337852" y="2282755"/>
                  <a:pt x="6337852" y="2277626"/>
                  <a:pt x="6340417" y="2275060"/>
                </a:cubicBezTo>
                <a:cubicBezTo>
                  <a:pt x="6335287" y="2275060"/>
                  <a:pt x="6330157" y="2275060"/>
                  <a:pt x="6325027" y="2275060"/>
                </a:cubicBezTo>
                <a:cubicBezTo>
                  <a:pt x="6317332" y="2290449"/>
                  <a:pt x="6327592" y="2295579"/>
                  <a:pt x="6325027" y="2321228"/>
                </a:cubicBezTo>
                <a:cubicBezTo>
                  <a:pt x="6299378" y="2321228"/>
                  <a:pt x="6299378" y="2354569"/>
                  <a:pt x="6283989" y="2367394"/>
                </a:cubicBezTo>
                <a:cubicBezTo>
                  <a:pt x="6266035" y="2367394"/>
                  <a:pt x="6240386" y="2369962"/>
                  <a:pt x="6253210" y="2398174"/>
                </a:cubicBezTo>
                <a:cubicBezTo>
                  <a:pt x="6237821" y="2403303"/>
                  <a:pt x="6242951" y="2382784"/>
                  <a:pt x="6227561" y="2387914"/>
                </a:cubicBezTo>
                <a:cubicBezTo>
                  <a:pt x="6199348" y="2423822"/>
                  <a:pt x="6166004" y="2408433"/>
                  <a:pt x="6132660" y="2428952"/>
                </a:cubicBezTo>
                <a:cubicBezTo>
                  <a:pt x="6107011" y="2418693"/>
                  <a:pt x="6091622" y="2400739"/>
                  <a:pt x="6073668" y="2382784"/>
                </a:cubicBezTo>
                <a:cubicBezTo>
                  <a:pt x="6022370" y="2403303"/>
                  <a:pt x="5996721" y="2380220"/>
                  <a:pt x="5958247" y="2362264"/>
                </a:cubicBezTo>
                <a:cubicBezTo>
                  <a:pt x="5963377" y="2346875"/>
                  <a:pt x="5973637" y="2339180"/>
                  <a:pt x="5963377" y="2321228"/>
                </a:cubicBezTo>
                <a:cubicBezTo>
                  <a:pt x="5922339" y="2308403"/>
                  <a:pt x="5912079" y="2349442"/>
                  <a:pt x="5883866" y="2331486"/>
                </a:cubicBezTo>
                <a:cubicBezTo>
                  <a:pt x="5883866" y="2310968"/>
                  <a:pt x="5912079" y="2298143"/>
                  <a:pt x="5930034" y="2310968"/>
                </a:cubicBezTo>
                <a:cubicBezTo>
                  <a:pt x="5958247" y="2293014"/>
                  <a:pt x="5924904" y="2259670"/>
                  <a:pt x="5914644" y="2246846"/>
                </a:cubicBezTo>
                <a:cubicBezTo>
                  <a:pt x="5914644" y="2231456"/>
                  <a:pt x="5919774" y="2223762"/>
                  <a:pt x="5924904" y="2210934"/>
                </a:cubicBezTo>
                <a:cubicBezTo>
                  <a:pt x="5909515" y="2180157"/>
                  <a:pt x="5886430" y="2159638"/>
                  <a:pt x="5860781" y="2141684"/>
                </a:cubicBezTo>
                <a:cubicBezTo>
                  <a:pt x="5865911" y="2118599"/>
                  <a:pt x="5863346" y="2105776"/>
                  <a:pt x="5855652" y="2095516"/>
                </a:cubicBezTo>
                <a:cubicBezTo>
                  <a:pt x="5850522" y="2105776"/>
                  <a:pt x="5832568" y="2098082"/>
                  <a:pt x="5824873" y="2095516"/>
                </a:cubicBezTo>
                <a:cubicBezTo>
                  <a:pt x="5824873" y="2092951"/>
                  <a:pt x="5827438" y="2092951"/>
                  <a:pt x="5827438" y="2087822"/>
                </a:cubicBezTo>
                <a:cubicBezTo>
                  <a:pt x="5835132" y="2092951"/>
                  <a:pt x="5845392" y="2092951"/>
                  <a:pt x="5853087" y="2092951"/>
                </a:cubicBezTo>
                <a:cubicBezTo>
                  <a:pt x="5842827" y="2082693"/>
                  <a:pt x="5832568" y="2074997"/>
                  <a:pt x="5827438" y="2059609"/>
                </a:cubicBezTo>
                <a:cubicBezTo>
                  <a:pt x="5842827" y="2057044"/>
                  <a:pt x="5847957" y="2067302"/>
                  <a:pt x="5858217" y="2069868"/>
                </a:cubicBezTo>
                <a:cubicBezTo>
                  <a:pt x="5855652" y="2046783"/>
                  <a:pt x="5830003" y="2044219"/>
                  <a:pt x="5822308" y="2023701"/>
                </a:cubicBezTo>
                <a:cubicBezTo>
                  <a:pt x="5830003" y="2005745"/>
                  <a:pt x="5830003" y="1992921"/>
                  <a:pt x="5830003" y="1980097"/>
                </a:cubicBezTo>
                <a:cubicBezTo>
                  <a:pt x="5827438" y="1982662"/>
                  <a:pt x="5827438" y="1982662"/>
                  <a:pt x="5824873" y="1982662"/>
                </a:cubicBezTo>
                <a:cubicBezTo>
                  <a:pt x="5827438" y="1980097"/>
                  <a:pt x="5827438" y="1977532"/>
                  <a:pt x="5822308" y="1977532"/>
                </a:cubicBezTo>
                <a:cubicBezTo>
                  <a:pt x="5822308" y="1972402"/>
                  <a:pt x="5827438" y="1969837"/>
                  <a:pt x="5827438" y="1967273"/>
                </a:cubicBezTo>
                <a:lnTo>
                  <a:pt x="5825818" y="1962413"/>
                </a:lnTo>
                <a:lnTo>
                  <a:pt x="5827438" y="1957013"/>
                </a:lnTo>
                <a:lnTo>
                  <a:pt x="5824569" y="1958666"/>
                </a:lnTo>
                <a:lnTo>
                  <a:pt x="5817178" y="1936494"/>
                </a:lnTo>
                <a:cubicBezTo>
                  <a:pt x="5817178" y="1936494"/>
                  <a:pt x="5814614" y="1936494"/>
                  <a:pt x="5812049" y="1939059"/>
                </a:cubicBezTo>
                <a:cubicBezTo>
                  <a:pt x="5801789" y="1936494"/>
                  <a:pt x="5799224" y="1936494"/>
                  <a:pt x="5786400" y="1939059"/>
                </a:cubicBezTo>
                <a:cubicBezTo>
                  <a:pt x="5791529" y="1928799"/>
                  <a:pt x="5804354" y="1921104"/>
                  <a:pt x="5806919" y="1910845"/>
                </a:cubicBezTo>
                <a:cubicBezTo>
                  <a:pt x="5804354" y="1905715"/>
                  <a:pt x="5801789" y="1898020"/>
                  <a:pt x="5799224" y="1892891"/>
                </a:cubicBezTo>
                <a:cubicBezTo>
                  <a:pt x="5799224" y="1895455"/>
                  <a:pt x="5799224" y="1895455"/>
                  <a:pt x="5799224" y="1895455"/>
                </a:cubicBezTo>
                <a:cubicBezTo>
                  <a:pt x="5796659" y="1895455"/>
                  <a:pt x="5794094" y="1895455"/>
                  <a:pt x="5794094" y="1898020"/>
                </a:cubicBezTo>
                <a:cubicBezTo>
                  <a:pt x="5791529" y="1898020"/>
                  <a:pt x="5791529" y="1895455"/>
                  <a:pt x="5791529" y="1892891"/>
                </a:cubicBezTo>
                <a:cubicBezTo>
                  <a:pt x="5779987" y="1892891"/>
                  <a:pt x="5784316" y="1907319"/>
                  <a:pt x="5780709" y="1914533"/>
                </a:cubicBezTo>
                <a:lnTo>
                  <a:pt x="5780584" y="1914603"/>
                </a:lnTo>
                <a:lnTo>
                  <a:pt x="5778705" y="1910845"/>
                </a:lnTo>
                <a:lnTo>
                  <a:pt x="5773917" y="1916830"/>
                </a:lnTo>
                <a:lnTo>
                  <a:pt x="5776461" y="1904112"/>
                </a:lnTo>
                <a:cubicBezTo>
                  <a:pt x="5778705" y="1899303"/>
                  <a:pt x="5781270" y="1894173"/>
                  <a:pt x="5781270" y="1887761"/>
                </a:cubicBezTo>
                <a:cubicBezTo>
                  <a:pt x="5788965" y="1885196"/>
                  <a:pt x="5788965" y="1890326"/>
                  <a:pt x="5794094" y="1890326"/>
                </a:cubicBezTo>
                <a:cubicBezTo>
                  <a:pt x="5788965" y="1882631"/>
                  <a:pt x="5794094" y="1885196"/>
                  <a:pt x="5796659" y="1882631"/>
                </a:cubicBezTo>
                <a:cubicBezTo>
                  <a:pt x="5794094" y="1872371"/>
                  <a:pt x="5791529" y="1862112"/>
                  <a:pt x="5791529" y="1849289"/>
                </a:cubicBezTo>
                <a:cubicBezTo>
                  <a:pt x="5778705" y="1846722"/>
                  <a:pt x="5771010" y="1841593"/>
                  <a:pt x="5763316" y="1836463"/>
                </a:cubicBezTo>
                <a:cubicBezTo>
                  <a:pt x="5760751" y="1839029"/>
                  <a:pt x="5758186" y="1844158"/>
                  <a:pt x="5755621" y="1846722"/>
                </a:cubicBezTo>
                <a:cubicBezTo>
                  <a:pt x="5750491" y="1841593"/>
                  <a:pt x="5753056" y="1836463"/>
                  <a:pt x="5758186" y="1831334"/>
                </a:cubicBezTo>
                <a:cubicBezTo>
                  <a:pt x="5750491" y="1823639"/>
                  <a:pt x="5745361" y="1815944"/>
                  <a:pt x="5740231" y="1810815"/>
                </a:cubicBezTo>
                <a:cubicBezTo>
                  <a:pt x="5712018" y="1821075"/>
                  <a:pt x="5688934" y="1813380"/>
                  <a:pt x="5681239" y="1790296"/>
                </a:cubicBezTo>
                <a:cubicBezTo>
                  <a:pt x="5681239" y="1792861"/>
                  <a:pt x="5681239" y="1797991"/>
                  <a:pt x="5678674" y="1800556"/>
                </a:cubicBezTo>
                <a:cubicBezTo>
                  <a:pt x="5665850" y="1831334"/>
                  <a:pt x="5645330" y="1854417"/>
                  <a:pt x="5614552" y="1831334"/>
                </a:cubicBezTo>
                <a:cubicBezTo>
                  <a:pt x="5601727" y="1839029"/>
                  <a:pt x="5596598" y="1856982"/>
                  <a:pt x="5591468" y="1872371"/>
                </a:cubicBezTo>
                <a:cubicBezTo>
                  <a:pt x="5611987" y="1856982"/>
                  <a:pt x="5658155" y="1854417"/>
                  <a:pt x="5673544" y="1841593"/>
                </a:cubicBezTo>
                <a:cubicBezTo>
                  <a:pt x="5683804" y="1846722"/>
                  <a:pt x="5686369" y="1846722"/>
                  <a:pt x="5696628" y="1849289"/>
                </a:cubicBezTo>
                <a:cubicBezTo>
                  <a:pt x="5704323" y="1885196"/>
                  <a:pt x="5755621" y="1900585"/>
                  <a:pt x="5755621" y="1926234"/>
                </a:cubicBezTo>
                <a:cubicBezTo>
                  <a:pt x="5768445" y="1921104"/>
                  <a:pt x="5763316" y="1926234"/>
                  <a:pt x="5768445" y="1931364"/>
                </a:cubicBezTo>
                <a:cubicBezTo>
                  <a:pt x="5772293" y="1930082"/>
                  <a:pt x="5772934" y="1925593"/>
                  <a:pt x="5773896" y="1921746"/>
                </a:cubicBezTo>
                <a:lnTo>
                  <a:pt x="5775431" y="1920544"/>
                </a:lnTo>
                <a:lnTo>
                  <a:pt x="5780079" y="1920854"/>
                </a:lnTo>
                <a:lnTo>
                  <a:pt x="5774537" y="1943547"/>
                </a:lnTo>
                <a:cubicBezTo>
                  <a:pt x="5775499" y="1952525"/>
                  <a:pt x="5779988" y="1960861"/>
                  <a:pt x="5788965" y="1967273"/>
                </a:cubicBezTo>
                <a:cubicBezTo>
                  <a:pt x="5791529" y="1967273"/>
                  <a:pt x="5791529" y="1962143"/>
                  <a:pt x="5796659" y="1962143"/>
                </a:cubicBezTo>
                <a:cubicBezTo>
                  <a:pt x="5796659" y="1969837"/>
                  <a:pt x="5788965" y="1967273"/>
                  <a:pt x="5791529" y="1974967"/>
                </a:cubicBezTo>
                <a:cubicBezTo>
                  <a:pt x="5796659" y="1976250"/>
                  <a:pt x="5802430" y="1972402"/>
                  <a:pt x="5808522" y="1967914"/>
                </a:cubicBezTo>
                <a:lnTo>
                  <a:pt x="5824569" y="1958666"/>
                </a:lnTo>
                <a:lnTo>
                  <a:pt x="5825818" y="1962413"/>
                </a:lnTo>
                <a:lnTo>
                  <a:pt x="5825154" y="1964627"/>
                </a:lnTo>
                <a:cubicBezTo>
                  <a:pt x="5819263" y="1970639"/>
                  <a:pt x="5804354" y="1973043"/>
                  <a:pt x="5796659" y="1982662"/>
                </a:cubicBezTo>
                <a:cubicBezTo>
                  <a:pt x="5799224" y="1990357"/>
                  <a:pt x="5812049" y="1982662"/>
                  <a:pt x="5812049" y="1977532"/>
                </a:cubicBezTo>
                <a:cubicBezTo>
                  <a:pt x="5819743" y="1985227"/>
                  <a:pt x="5796659" y="1987792"/>
                  <a:pt x="5794094" y="1998051"/>
                </a:cubicBezTo>
                <a:cubicBezTo>
                  <a:pt x="5796659" y="2008311"/>
                  <a:pt x="5804354" y="1998051"/>
                  <a:pt x="5812049" y="1998051"/>
                </a:cubicBezTo>
                <a:cubicBezTo>
                  <a:pt x="5801789" y="2003181"/>
                  <a:pt x="5796659" y="2016006"/>
                  <a:pt x="5786400" y="2021137"/>
                </a:cubicBezTo>
                <a:cubicBezTo>
                  <a:pt x="5796659" y="2036525"/>
                  <a:pt x="5809483" y="2018570"/>
                  <a:pt x="5822308" y="2018570"/>
                </a:cubicBezTo>
                <a:cubicBezTo>
                  <a:pt x="5817178" y="2036525"/>
                  <a:pt x="5801789" y="2028830"/>
                  <a:pt x="5783835" y="2036525"/>
                </a:cubicBezTo>
                <a:cubicBezTo>
                  <a:pt x="5788965" y="2041654"/>
                  <a:pt x="5788965" y="2049349"/>
                  <a:pt x="5796659" y="2049349"/>
                </a:cubicBezTo>
                <a:cubicBezTo>
                  <a:pt x="5783835" y="2059609"/>
                  <a:pt x="5755621" y="2067302"/>
                  <a:pt x="5755621" y="2077563"/>
                </a:cubicBezTo>
                <a:cubicBezTo>
                  <a:pt x="5745361" y="2085258"/>
                  <a:pt x="5732537" y="2077563"/>
                  <a:pt x="5727407" y="2090386"/>
                </a:cubicBezTo>
                <a:cubicBezTo>
                  <a:pt x="5720995" y="2089105"/>
                  <a:pt x="5716507" y="2087181"/>
                  <a:pt x="5712018" y="2086540"/>
                </a:cubicBezTo>
                <a:lnTo>
                  <a:pt x="5705327" y="2088212"/>
                </a:lnTo>
                <a:lnTo>
                  <a:pt x="5708491" y="2097460"/>
                </a:lnTo>
                <a:cubicBezTo>
                  <a:pt x="5708812" y="2101950"/>
                  <a:pt x="5706888" y="2105797"/>
                  <a:pt x="5699193" y="2105797"/>
                </a:cubicBezTo>
                <a:cubicBezTo>
                  <a:pt x="5701758" y="2098101"/>
                  <a:pt x="5699193" y="2095534"/>
                  <a:pt x="5691499" y="2098101"/>
                </a:cubicBezTo>
                <a:lnTo>
                  <a:pt x="5695761" y="2089270"/>
                </a:lnTo>
                <a:lnTo>
                  <a:pt x="5687972" y="2079245"/>
                </a:lnTo>
                <a:cubicBezTo>
                  <a:pt x="5674025" y="2069868"/>
                  <a:pt x="5648537" y="2064097"/>
                  <a:pt x="5650460" y="2046783"/>
                </a:cubicBezTo>
                <a:cubicBezTo>
                  <a:pt x="5647896" y="2041654"/>
                  <a:pt x="5640201" y="2041654"/>
                  <a:pt x="5635071" y="2039090"/>
                </a:cubicBezTo>
                <a:cubicBezTo>
                  <a:pt x="5645330" y="2026267"/>
                  <a:pt x="5627376" y="2026267"/>
                  <a:pt x="5629941" y="2010878"/>
                </a:cubicBezTo>
                <a:cubicBezTo>
                  <a:pt x="5632506" y="2010878"/>
                  <a:pt x="5635071" y="2010878"/>
                  <a:pt x="5637636" y="2010878"/>
                </a:cubicBezTo>
                <a:cubicBezTo>
                  <a:pt x="5637636" y="1998051"/>
                  <a:pt x="5635071" y="1990357"/>
                  <a:pt x="5622247" y="1992921"/>
                </a:cubicBezTo>
                <a:cubicBezTo>
                  <a:pt x="5632506" y="1987792"/>
                  <a:pt x="5624811" y="1972402"/>
                  <a:pt x="5617117" y="1980097"/>
                </a:cubicBezTo>
                <a:cubicBezTo>
                  <a:pt x="5614552" y="1967273"/>
                  <a:pt x="5609422" y="1936494"/>
                  <a:pt x="5594033" y="1918540"/>
                </a:cubicBezTo>
                <a:cubicBezTo>
                  <a:pt x="5591468" y="1918540"/>
                  <a:pt x="5591468" y="1923669"/>
                  <a:pt x="5586338" y="1923669"/>
                </a:cubicBezTo>
                <a:cubicBezTo>
                  <a:pt x="5583773" y="1913410"/>
                  <a:pt x="5576078" y="1910845"/>
                  <a:pt x="5570949" y="1905715"/>
                </a:cubicBezTo>
                <a:cubicBezTo>
                  <a:pt x="5570949" y="1905715"/>
                  <a:pt x="5568384" y="1908280"/>
                  <a:pt x="5565819" y="1908280"/>
                </a:cubicBezTo>
                <a:lnTo>
                  <a:pt x="5564893" y="1920791"/>
                </a:lnTo>
                <a:lnTo>
                  <a:pt x="5561010" y="1915654"/>
                </a:lnTo>
                <a:cubicBezTo>
                  <a:pt x="5556842" y="1913410"/>
                  <a:pt x="5552994" y="1912128"/>
                  <a:pt x="5552994" y="1908280"/>
                </a:cubicBezTo>
                <a:cubicBezTo>
                  <a:pt x="5550430" y="1900585"/>
                  <a:pt x="5547864" y="1895455"/>
                  <a:pt x="5547864" y="1890326"/>
                </a:cubicBezTo>
                <a:cubicBezTo>
                  <a:pt x="5542735" y="1895455"/>
                  <a:pt x="5540170" y="1900585"/>
                  <a:pt x="5535040" y="1903150"/>
                </a:cubicBezTo>
                <a:cubicBezTo>
                  <a:pt x="5537605" y="1905715"/>
                  <a:pt x="5540170" y="1910845"/>
                  <a:pt x="5542735" y="1913410"/>
                </a:cubicBezTo>
                <a:cubicBezTo>
                  <a:pt x="5545300" y="1913410"/>
                  <a:pt x="5545300" y="1910845"/>
                  <a:pt x="5545300" y="1908280"/>
                </a:cubicBezTo>
                <a:cubicBezTo>
                  <a:pt x="5550430" y="1910845"/>
                  <a:pt x="5553636" y="1914693"/>
                  <a:pt x="5556521" y="1918860"/>
                </a:cubicBezTo>
                <a:lnTo>
                  <a:pt x="5564266" y="1929275"/>
                </a:lnTo>
                <a:lnTo>
                  <a:pt x="5562933" y="1947274"/>
                </a:lnTo>
                <a:cubicBezTo>
                  <a:pt x="5552353" y="1978173"/>
                  <a:pt x="5521574" y="1987792"/>
                  <a:pt x="5496567" y="2003181"/>
                </a:cubicBezTo>
                <a:cubicBezTo>
                  <a:pt x="5532475" y="2108341"/>
                  <a:pt x="5411925" y="2087822"/>
                  <a:pt x="5427315" y="2187851"/>
                </a:cubicBezTo>
                <a:cubicBezTo>
                  <a:pt x="5414490" y="2198110"/>
                  <a:pt x="5406795" y="2210934"/>
                  <a:pt x="5396536" y="2223762"/>
                </a:cubicBezTo>
                <a:cubicBezTo>
                  <a:pt x="5409360" y="2234021"/>
                  <a:pt x="5414490" y="2249412"/>
                  <a:pt x="5427315" y="2259670"/>
                </a:cubicBezTo>
                <a:cubicBezTo>
                  <a:pt x="5388841" y="2318662"/>
                  <a:pt x="5391406" y="2369962"/>
                  <a:pt x="5386276" y="2449470"/>
                </a:cubicBezTo>
                <a:cubicBezTo>
                  <a:pt x="5334978" y="2464861"/>
                  <a:pt x="5350368" y="2552067"/>
                  <a:pt x="5350368" y="2590540"/>
                </a:cubicBezTo>
                <a:cubicBezTo>
                  <a:pt x="5365757" y="2595670"/>
                  <a:pt x="5363192" y="2582846"/>
                  <a:pt x="5376017" y="2585411"/>
                </a:cubicBezTo>
                <a:cubicBezTo>
                  <a:pt x="5355498" y="2623885"/>
                  <a:pt x="5365757" y="2659794"/>
                  <a:pt x="5381146" y="2690572"/>
                </a:cubicBezTo>
                <a:cubicBezTo>
                  <a:pt x="5393971" y="2690572"/>
                  <a:pt x="5401666" y="2685443"/>
                  <a:pt x="5411925" y="2682878"/>
                </a:cubicBezTo>
                <a:cubicBezTo>
                  <a:pt x="5411925" y="2682878"/>
                  <a:pt x="5409360" y="2680313"/>
                  <a:pt x="5409360" y="2680313"/>
                </a:cubicBezTo>
                <a:cubicBezTo>
                  <a:pt x="5411925" y="2675183"/>
                  <a:pt x="5417055" y="2672618"/>
                  <a:pt x="5417055" y="2667488"/>
                </a:cubicBezTo>
                <a:cubicBezTo>
                  <a:pt x="5427315" y="2664922"/>
                  <a:pt x="5427315" y="2672618"/>
                  <a:pt x="5435009" y="2672618"/>
                </a:cubicBezTo>
                <a:cubicBezTo>
                  <a:pt x="5442704" y="2672618"/>
                  <a:pt x="5450398" y="2672618"/>
                  <a:pt x="5460658" y="2672618"/>
                </a:cubicBezTo>
                <a:cubicBezTo>
                  <a:pt x="5460658" y="2680313"/>
                  <a:pt x="5460658" y="2690572"/>
                  <a:pt x="5460658" y="2698267"/>
                </a:cubicBezTo>
                <a:cubicBezTo>
                  <a:pt x="5419620" y="2695702"/>
                  <a:pt x="5381146" y="2739306"/>
                  <a:pt x="5414490" y="2777779"/>
                </a:cubicBezTo>
                <a:cubicBezTo>
                  <a:pt x="5409360" y="2793168"/>
                  <a:pt x="5404231" y="2808557"/>
                  <a:pt x="5388841" y="2813687"/>
                </a:cubicBezTo>
                <a:cubicBezTo>
                  <a:pt x="5399101" y="2823947"/>
                  <a:pt x="5401666" y="2834206"/>
                  <a:pt x="5404231" y="2844466"/>
                </a:cubicBezTo>
                <a:cubicBezTo>
                  <a:pt x="5406795" y="2841900"/>
                  <a:pt x="5409360" y="2841900"/>
                  <a:pt x="5411925" y="2841900"/>
                </a:cubicBezTo>
                <a:cubicBezTo>
                  <a:pt x="5411925" y="2847031"/>
                  <a:pt x="5411925" y="2849596"/>
                  <a:pt x="5411925" y="2854725"/>
                </a:cubicBezTo>
                <a:cubicBezTo>
                  <a:pt x="5411925" y="2854725"/>
                  <a:pt x="5409360" y="2852160"/>
                  <a:pt x="5406795" y="2852160"/>
                </a:cubicBezTo>
                <a:cubicBezTo>
                  <a:pt x="5409360" y="2862419"/>
                  <a:pt x="5414490" y="2870114"/>
                  <a:pt x="5427315" y="2872679"/>
                </a:cubicBezTo>
                <a:cubicBezTo>
                  <a:pt x="5411925" y="2885504"/>
                  <a:pt x="5381146" y="2939367"/>
                  <a:pt x="5422185" y="2947062"/>
                </a:cubicBezTo>
                <a:cubicBezTo>
                  <a:pt x="5381146" y="2954756"/>
                  <a:pt x="5406795" y="2995795"/>
                  <a:pt x="5370887" y="3006054"/>
                </a:cubicBezTo>
                <a:cubicBezTo>
                  <a:pt x="5365757" y="3021444"/>
                  <a:pt x="5386276" y="3016314"/>
                  <a:pt x="5381146" y="3031703"/>
                </a:cubicBezTo>
                <a:cubicBezTo>
                  <a:pt x="5363192" y="3041963"/>
                  <a:pt x="5334978" y="3041963"/>
                  <a:pt x="5340108" y="3077872"/>
                </a:cubicBezTo>
                <a:cubicBezTo>
                  <a:pt x="5324719" y="3080436"/>
                  <a:pt x="5317024" y="3054786"/>
                  <a:pt x="5319589" y="3083001"/>
                </a:cubicBezTo>
                <a:cubicBezTo>
                  <a:pt x="5304200" y="3088131"/>
                  <a:pt x="5306765" y="3075306"/>
                  <a:pt x="5293940" y="3077872"/>
                </a:cubicBezTo>
                <a:cubicBezTo>
                  <a:pt x="5273421" y="3088131"/>
                  <a:pt x="5296505" y="3139429"/>
                  <a:pt x="5268291" y="3141993"/>
                </a:cubicBezTo>
                <a:cubicBezTo>
                  <a:pt x="5281116" y="3154818"/>
                  <a:pt x="5306765" y="3154818"/>
                  <a:pt x="5309329" y="3177902"/>
                </a:cubicBezTo>
                <a:cubicBezTo>
                  <a:pt x="5309329" y="3203551"/>
                  <a:pt x="5296505" y="3172771"/>
                  <a:pt x="5288811" y="3172771"/>
                </a:cubicBezTo>
                <a:cubicBezTo>
                  <a:pt x="5273421" y="3195855"/>
                  <a:pt x="5281116" y="3218940"/>
                  <a:pt x="5293940" y="3236895"/>
                </a:cubicBezTo>
                <a:cubicBezTo>
                  <a:pt x="5286245" y="3247154"/>
                  <a:pt x="5273421" y="3226634"/>
                  <a:pt x="5268291" y="3247154"/>
                </a:cubicBezTo>
                <a:cubicBezTo>
                  <a:pt x="5270856" y="3283061"/>
                  <a:pt x="5311894" y="3280497"/>
                  <a:pt x="5304200" y="3326664"/>
                </a:cubicBezTo>
                <a:cubicBezTo>
                  <a:pt x="5286245" y="3313837"/>
                  <a:pt x="5265726" y="3306143"/>
                  <a:pt x="5240077" y="3301016"/>
                </a:cubicBezTo>
                <a:cubicBezTo>
                  <a:pt x="5204169" y="3336926"/>
                  <a:pt x="5229818" y="3395914"/>
                  <a:pt x="5240077" y="3442082"/>
                </a:cubicBezTo>
                <a:cubicBezTo>
                  <a:pt x="5219558" y="3449777"/>
                  <a:pt x="5204169" y="3467731"/>
                  <a:pt x="5193909" y="3488250"/>
                </a:cubicBezTo>
                <a:cubicBezTo>
                  <a:pt x="5183650" y="3477991"/>
                  <a:pt x="5183650" y="3493380"/>
                  <a:pt x="5173390" y="3483120"/>
                </a:cubicBezTo>
                <a:cubicBezTo>
                  <a:pt x="5160566" y="3498510"/>
                  <a:pt x="5150306" y="3521594"/>
                  <a:pt x="5132352" y="3534418"/>
                </a:cubicBezTo>
                <a:cubicBezTo>
                  <a:pt x="5124657" y="3631884"/>
                  <a:pt x="5096444" y="3706266"/>
                  <a:pt x="5063100" y="3778083"/>
                </a:cubicBezTo>
                <a:cubicBezTo>
                  <a:pt x="5078489" y="3803732"/>
                  <a:pt x="5099008" y="3826816"/>
                  <a:pt x="5127222" y="3844770"/>
                </a:cubicBezTo>
                <a:cubicBezTo>
                  <a:pt x="5140047" y="3821686"/>
                  <a:pt x="5147741" y="3801167"/>
                  <a:pt x="5160566" y="3780648"/>
                </a:cubicBezTo>
                <a:cubicBezTo>
                  <a:pt x="5168260" y="3762693"/>
                  <a:pt x="5170825" y="3754999"/>
                  <a:pt x="5199039" y="3762693"/>
                </a:cubicBezTo>
                <a:cubicBezTo>
                  <a:pt x="5191345" y="3788342"/>
                  <a:pt x="5155436" y="3824251"/>
                  <a:pt x="5150306" y="3857595"/>
                </a:cubicBezTo>
                <a:cubicBezTo>
                  <a:pt x="5155436" y="3860159"/>
                  <a:pt x="5160566" y="3862724"/>
                  <a:pt x="5165696" y="3865289"/>
                </a:cubicBezTo>
                <a:cubicBezTo>
                  <a:pt x="5163131" y="3867854"/>
                  <a:pt x="5163131" y="3870419"/>
                  <a:pt x="5163131" y="3872984"/>
                </a:cubicBezTo>
                <a:cubicBezTo>
                  <a:pt x="5240077" y="3839640"/>
                  <a:pt x="5273421" y="3713961"/>
                  <a:pt x="5309329" y="3642143"/>
                </a:cubicBezTo>
                <a:cubicBezTo>
                  <a:pt x="5306765" y="3631884"/>
                  <a:pt x="5296505" y="3624189"/>
                  <a:pt x="5288811" y="3619060"/>
                </a:cubicBezTo>
                <a:cubicBezTo>
                  <a:pt x="5286245" y="3621624"/>
                  <a:pt x="5281116" y="3624189"/>
                  <a:pt x="5286245" y="3619060"/>
                </a:cubicBezTo>
                <a:cubicBezTo>
                  <a:pt x="5268291" y="3606235"/>
                  <a:pt x="5250337" y="3598540"/>
                  <a:pt x="5278551" y="3570326"/>
                </a:cubicBezTo>
                <a:cubicBezTo>
                  <a:pt x="5324719" y="3562632"/>
                  <a:pt x="5324719" y="3601105"/>
                  <a:pt x="5322154" y="3642143"/>
                </a:cubicBezTo>
                <a:cubicBezTo>
                  <a:pt x="5376017" y="3657533"/>
                  <a:pt x="5350368" y="3593411"/>
                  <a:pt x="5381146" y="3583151"/>
                </a:cubicBezTo>
                <a:cubicBezTo>
                  <a:pt x="5419620" y="3619060"/>
                  <a:pt x="5417055" y="3678052"/>
                  <a:pt x="5409360" y="3744739"/>
                </a:cubicBezTo>
                <a:cubicBezTo>
                  <a:pt x="5411925" y="3744739"/>
                  <a:pt x="5411925" y="3747304"/>
                  <a:pt x="5414490" y="3747304"/>
                </a:cubicBezTo>
                <a:cubicBezTo>
                  <a:pt x="5414490" y="3742175"/>
                  <a:pt x="5414490" y="3731915"/>
                  <a:pt x="5429880" y="3731915"/>
                </a:cubicBezTo>
                <a:cubicBezTo>
                  <a:pt x="5424750" y="3721655"/>
                  <a:pt x="5432444" y="3724220"/>
                  <a:pt x="5432444" y="3711396"/>
                </a:cubicBezTo>
                <a:cubicBezTo>
                  <a:pt x="5450398" y="3719090"/>
                  <a:pt x="5445269" y="3701136"/>
                  <a:pt x="5460658" y="3698571"/>
                </a:cubicBezTo>
                <a:lnTo>
                  <a:pt x="5459454" y="3693754"/>
                </a:lnTo>
                <a:lnTo>
                  <a:pt x="5461259" y="3690957"/>
                </a:lnTo>
                <a:cubicBezTo>
                  <a:pt x="5462422" y="3689915"/>
                  <a:pt x="5463865" y="3689594"/>
                  <a:pt x="5465788" y="3690877"/>
                </a:cubicBezTo>
                <a:cubicBezTo>
                  <a:pt x="5460658" y="3701136"/>
                  <a:pt x="5460658" y="3706266"/>
                  <a:pt x="5465788" y="3716526"/>
                </a:cubicBezTo>
                <a:cubicBezTo>
                  <a:pt x="5473483" y="3716526"/>
                  <a:pt x="5470918" y="3708831"/>
                  <a:pt x="5478612" y="3711396"/>
                </a:cubicBezTo>
                <a:cubicBezTo>
                  <a:pt x="5463223" y="3719090"/>
                  <a:pt x="5478612" y="3734480"/>
                  <a:pt x="5465788" y="3742175"/>
                </a:cubicBezTo>
                <a:cubicBezTo>
                  <a:pt x="5468353" y="3749869"/>
                  <a:pt x="5476047" y="3739609"/>
                  <a:pt x="5481177" y="3742175"/>
                </a:cubicBezTo>
                <a:cubicBezTo>
                  <a:pt x="5478612" y="3749869"/>
                  <a:pt x="5470918" y="3752434"/>
                  <a:pt x="5465788" y="3754999"/>
                </a:cubicBezTo>
                <a:cubicBezTo>
                  <a:pt x="5473483" y="3760129"/>
                  <a:pt x="5470918" y="3765258"/>
                  <a:pt x="5481177" y="3760129"/>
                </a:cubicBezTo>
                <a:cubicBezTo>
                  <a:pt x="5478612" y="3770388"/>
                  <a:pt x="5463223" y="3767823"/>
                  <a:pt x="5460658" y="3775518"/>
                </a:cubicBezTo>
                <a:cubicBezTo>
                  <a:pt x="5458093" y="3783213"/>
                  <a:pt x="5468353" y="3780648"/>
                  <a:pt x="5473483" y="3780648"/>
                </a:cubicBezTo>
                <a:cubicBezTo>
                  <a:pt x="5460658" y="3790907"/>
                  <a:pt x="5450398" y="3793472"/>
                  <a:pt x="5447834" y="3806297"/>
                </a:cubicBezTo>
                <a:cubicBezTo>
                  <a:pt x="5437574" y="3796037"/>
                  <a:pt x="5437574" y="3808862"/>
                  <a:pt x="5429880" y="3811427"/>
                </a:cubicBezTo>
                <a:cubicBezTo>
                  <a:pt x="5404231" y="3816556"/>
                  <a:pt x="5391406" y="3808862"/>
                  <a:pt x="5368322" y="3793472"/>
                </a:cubicBezTo>
                <a:cubicBezTo>
                  <a:pt x="5365757" y="3783213"/>
                  <a:pt x="5365757" y="3767823"/>
                  <a:pt x="5358063" y="3752434"/>
                </a:cubicBezTo>
                <a:cubicBezTo>
                  <a:pt x="5347803" y="3824251"/>
                  <a:pt x="5334978" y="3906328"/>
                  <a:pt x="5360627" y="3980709"/>
                </a:cubicBezTo>
                <a:cubicBezTo>
                  <a:pt x="5409360" y="3885808"/>
                  <a:pt x="5481177" y="3813991"/>
                  <a:pt x="5504261" y="3693441"/>
                </a:cubicBezTo>
                <a:cubicBezTo>
                  <a:pt x="5496567" y="3696006"/>
                  <a:pt x="5491437" y="3698571"/>
                  <a:pt x="5486307" y="3701136"/>
                </a:cubicBezTo>
                <a:lnTo>
                  <a:pt x="5469380" y="3688960"/>
                </a:lnTo>
                <a:lnTo>
                  <a:pt x="5473162" y="3681900"/>
                </a:lnTo>
                <a:cubicBezTo>
                  <a:pt x="5473483" y="3679335"/>
                  <a:pt x="5473483" y="3675487"/>
                  <a:pt x="5476047" y="3665228"/>
                </a:cubicBezTo>
                <a:cubicBezTo>
                  <a:pt x="5483742" y="3667792"/>
                  <a:pt x="5476047" y="3683182"/>
                  <a:pt x="5488872" y="3678052"/>
                </a:cubicBezTo>
                <a:cubicBezTo>
                  <a:pt x="5486307" y="3683182"/>
                  <a:pt x="5486307" y="3688312"/>
                  <a:pt x="5481177" y="3690877"/>
                </a:cubicBezTo>
                <a:cubicBezTo>
                  <a:pt x="5483742" y="3698571"/>
                  <a:pt x="5486307" y="3685747"/>
                  <a:pt x="5494002" y="3690877"/>
                </a:cubicBezTo>
                <a:cubicBezTo>
                  <a:pt x="5494002" y="3675487"/>
                  <a:pt x="5506826" y="3675487"/>
                  <a:pt x="5506826" y="3662663"/>
                </a:cubicBezTo>
                <a:cubicBezTo>
                  <a:pt x="5509391" y="3657533"/>
                  <a:pt x="5494002" y="3665228"/>
                  <a:pt x="5499132" y="3654968"/>
                </a:cubicBezTo>
                <a:cubicBezTo>
                  <a:pt x="5509391" y="3652403"/>
                  <a:pt x="5506826" y="3660098"/>
                  <a:pt x="5511956" y="3660098"/>
                </a:cubicBezTo>
                <a:cubicBezTo>
                  <a:pt x="5511956" y="3652403"/>
                  <a:pt x="5509391" y="3652403"/>
                  <a:pt x="5509391" y="3647273"/>
                </a:cubicBezTo>
                <a:cubicBezTo>
                  <a:pt x="5506826" y="3642143"/>
                  <a:pt x="5504261" y="3647273"/>
                  <a:pt x="5496567" y="3644709"/>
                </a:cubicBezTo>
                <a:cubicBezTo>
                  <a:pt x="5491437" y="3631884"/>
                  <a:pt x="5511956" y="3616495"/>
                  <a:pt x="5494002" y="3606235"/>
                </a:cubicBezTo>
                <a:cubicBezTo>
                  <a:pt x="5509391" y="3595975"/>
                  <a:pt x="5501696" y="3549808"/>
                  <a:pt x="5481177" y="3567762"/>
                </a:cubicBezTo>
                <a:cubicBezTo>
                  <a:pt x="5473483" y="3567762"/>
                  <a:pt x="5488872" y="3560067"/>
                  <a:pt x="5476047" y="3562632"/>
                </a:cubicBezTo>
                <a:cubicBezTo>
                  <a:pt x="5488872" y="3554937"/>
                  <a:pt x="5499132" y="3544677"/>
                  <a:pt x="5514521" y="3539548"/>
                </a:cubicBezTo>
                <a:cubicBezTo>
                  <a:pt x="5509391" y="3529288"/>
                  <a:pt x="5517086" y="3516464"/>
                  <a:pt x="5517086" y="3503639"/>
                </a:cubicBezTo>
                <a:cubicBezTo>
                  <a:pt x="5511956" y="3495945"/>
                  <a:pt x="5504261" y="3493380"/>
                  <a:pt x="5501696" y="3485685"/>
                </a:cubicBezTo>
                <a:cubicBezTo>
                  <a:pt x="5488872" y="3485685"/>
                  <a:pt x="5483742" y="3493380"/>
                  <a:pt x="5478612" y="3498510"/>
                </a:cubicBezTo>
                <a:cubicBezTo>
                  <a:pt x="5486307" y="3488250"/>
                  <a:pt x="5494002" y="3467731"/>
                  <a:pt x="5481177" y="3454906"/>
                </a:cubicBezTo>
                <a:cubicBezTo>
                  <a:pt x="5468353" y="3454906"/>
                  <a:pt x="5473483" y="3472861"/>
                  <a:pt x="5458093" y="3470296"/>
                </a:cubicBezTo>
                <a:cubicBezTo>
                  <a:pt x="5460658" y="3462601"/>
                  <a:pt x="5470918" y="3460036"/>
                  <a:pt x="5476047" y="3454906"/>
                </a:cubicBezTo>
                <a:cubicBezTo>
                  <a:pt x="5468353" y="3421563"/>
                  <a:pt x="5486307" y="3393349"/>
                  <a:pt x="5496567" y="3365141"/>
                </a:cubicBezTo>
                <a:cubicBezTo>
                  <a:pt x="5509391" y="3365141"/>
                  <a:pt x="5517086" y="3354882"/>
                  <a:pt x="5524781" y="3365141"/>
                </a:cubicBezTo>
                <a:cubicBezTo>
                  <a:pt x="5532475" y="3365141"/>
                  <a:pt x="5532475" y="3354882"/>
                  <a:pt x="5542735" y="3357444"/>
                </a:cubicBezTo>
                <a:cubicBezTo>
                  <a:pt x="5540170" y="3365141"/>
                  <a:pt x="5545300" y="3367704"/>
                  <a:pt x="5535040" y="3370266"/>
                </a:cubicBezTo>
                <a:cubicBezTo>
                  <a:pt x="5542735" y="3380524"/>
                  <a:pt x="5552994" y="3367704"/>
                  <a:pt x="5555559" y="3357444"/>
                </a:cubicBezTo>
                <a:cubicBezTo>
                  <a:pt x="5527345" y="3321534"/>
                  <a:pt x="5583773" y="3277931"/>
                  <a:pt x="5578643" y="3236895"/>
                </a:cubicBezTo>
                <a:cubicBezTo>
                  <a:pt x="5599162" y="3229200"/>
                  <a:pt x="5586338" y="3206115"/>
                  <a:pt x="5599162" y="3193291"/>
                </a:cubicBezTo>
                <a:cubicBezTo>
                  <a:pt x="5604292" y="3193291"/>
                  <a:pt x="5606857" y="3193291"/>
                  <a:pt x="5611987" y="3193291"/>
                </a:cubicBezTo>
                <a:cubicBezTo>
                  <a:pt x="5624811" y="3216373"/>
                  <a:pt x="5601727" y="3239459"/>
                  <a:pt x="5588903" y="3254848"/>
                </a:cubicBezTo>
                <a:cubicBezTo>
                  <a:pt x="5588903" y="3262541"/>
                  <a:pt x="5588903" y="3265107"/>
                  <a:pt x="5594033" y="3267672"/>
                </a:cubicBezTo>
                <a:cubicBezTo>
                  <a:pt x="5578643" y="3290756"/>
                  <a:pt x="5578643" y="3306143"/>
                  <a:pt x="5573513" y="3344616"/>
                </a:cubicBezTo>
                <a:cubicBezTo>
                  <a:pt x="5576078" y="3352311"/>
                  <a:pt x="5583773" y="3342051"/>
                  <a:pt x="5588903" y="3344616"/>
                </a:cubicBezTo>
                <a:cubicBezTo>
                  <a:pt x="5586338" y="3354882"/>
                  <a:pt x="5586338" y="3362570"/>
                  <a:pt x="5576078" y="3360007"/>
                </a:cubicBezTo>
                <a:cubicBezTo>
                  <a:pt x="5579926" y="3368989"/>
                  <a:pt x="5586338" y="3375397"/>
                  <a:pt x="5591468" y="3381806"/>
                </a:cubicBezTo>
                <a:lnTo>
                  <a:pt x="5592665" y="3383710"/>
                </a:lnTo>
                <a:lnTo>
                  <a:pt x="5594033" y="3383095"/>
                </a:lnTo>
                <a:cubicBezTo>
                  <a:pt x="5595957" y="3383736"/>
                  <a:pt x="5596598" y="3384698"/>
                  <a:pt x="5596357" y="3385740"/>
                </a:cubicBezTo>
                <a:lnTo>
                  <a:pt x="5594905" y="3387271"/>
                </a:lnTo>
                <a:lnTo>
                  <a:pt x="5597720" y="3391745"/>
                </a:lnTo>
                <a:cubicBezTo>
                  <a:pt x="5599162" y="3395272"/>
                  <a:pt x="5599804" y="3399119"/>
                  <a:pt x="5599162" y="3403608"/>
                </a:cubicBezTo>
                <a:cubicBezTo>
                  <a:pt x="5609422" y="3406173"/>
                  <a:pt x="5609422" y="3398479"/>
                  <a:pt x="5617117" y="3401044"/>
                </a:cubicBezTo>
                <a:cubicBezTo>
                  <a:pt x="5622247" y="3408738"/>
                  <a:pt x="5614552" y="3411303"/>
                  <a:pt x="5619682" y="3418998"/>
                </a:cubicBezTo>
                <a:cubicBezTo>
                  <a:pt x="5609422" y="3418998"/>
                  <a:pt x="5611987" y="3429257"/>
                  <a:pt x="5606857" y="3431822"/>
                </a:cubicBezTo>
                <a:cubicBezTo>
                  <a:pt x="5614552" y="3436952"/>
                  <a:pt x="5619682" y="3444647"/>
                  <a:pt x="5622247" y="3454906"/>
                </a:cubicBezTo>
                <a:cubicBezTo>
                  <a:pt x="5619682" y="3454906"/>
                  <a:pt x="5619682" y="3454906"/>
                  <a:pt x="5617117" y="3454906"/>
                </a:cubicBezTo>
                <a:cubicBezTo>
                  <a:pt x="5619682" y="3465166"/>
                  <a:pt x="5617117" y="3462601"/>
                  <a:pt x="5619682" y="3472861"/>
                </a:cubicBezTo>
                <a:cubicBezTo>
                  <a:pt x="5611987" y="3490815"/>
                  <a:pt x="5591468" y="3519029"/>
                  <a:pt x="5611987" y="3539548"/>
                </a:cubicBezTo>
                <a:cubicBezTo>
                  <a:pt x="5609422" y="3554937"/>
                  <a:pt x="5611987" y="3562632"/>
                  <a:pt x="5611987" y="3575457"/>
                </a:cubicBezTo>
                <a:cubicBezTo>
                  <a:pt x="5614552" y="3575457"/>
                  <a:pt x="5617117" y="3572891"/>
                  <a:pt x="5617117" y="3570326"/>
                </a:cubicBezTo>
                <a:cubicBezTo>
                  <a:pt x="5622247" y="3585716"/>
                  <a:pt x="5601727" y="3611365"/>
                  <a:pt x="5619682" y="3624189"/>
                </a:cubicBezTo>
                <a:cubicBezTo>
                  <a:pt x="5622247" y="3621624"/>
                  <a:pt x="5627376" y="3621624"/>
                  <a:pt x="5632506" y="3621624"/>
                </a:cubicBezTo>
                <a:cubicBezTo>
                  <a:pt x="5632506" y="3624189"/>
                  <a:pt x="5629941" y="3624189"/>
                  <a:pt x="5629941" y="3629319"/>
                </a:cubicBezTo>
                <a:cubicBezTo>
                  <a:pt x="5629941" y="3637014"/>
                  <a:pt x="5637636" y="3626754"/>
                  <a:pt x="5637636" y="3624189"/>
                </a:cubicBezTo>
                <a:cubicBezTo>
                  <a:pt x="5645330" y="3631884"/>
                  <a:pt x="5624811" y="3634449"/>
                  <a:pt x="5622247" y="3642143"/>
                </a:cubicBezTo>
                <a:cubicBezTo>
                  <a:pt x="5624812" y="3643426"/>
                  <a:pt x="5629300" y="3640861"/>
                  <a:pt x="5634430" y="3637655"/>
                </a:cubicBezTo>
                <a:lnTo>
                  <a:pt x="5639752" y="3634888"/>
                </a:lnTo>
                <a:lnTo>
                  <a:pt x="5645215" y="3630837"/>
                </a:lnTo>
                <a:lnTo>
                  <a:pt x="5647989" y="3630604"/>
                </a:lnTo>
                <a:lnTo>
                  <a:pt x="5650460" y="3629319"/>
                </a:lnTo>
                <a:lnTo>
                  <a:pt x="5648774" y="3630538"/>
                </a:lnTo>
                <a:lnTo>
                  <a:pt x="5663285" y="3629319"/>
                </a:lnTo>
                <a:cubicBezTo>
                  <a:pt x="5668415" y="3639579"/>
                  <a:pt x="5676110" y="3644708"/>
                  <a:pt x="5676110" y="3652403"/>
                </a:cubicBezTo>
                <a:cubicBezTo>
                  <a:pt x="5664568" y="3676770"/>
                  <a:pt x="5645972" y="3669717"/>
                  <a:pt x="5637957" y="3657213"/>
                </a:cubicBezTo>
                <a:lnTo>
                  <a:pt x="5636262" y="3639583"/>
                </a:lnTo>
                <a:lnTo>
                  <a:pt x="5623850" y="3648556"/>
                </a:lnTo>
                <a:cubicBezTo>
                  <a:pt x="5614552" y="3654327"/>
                  <a:pt x="5605575" y="3660097"/>
                  <a:pt x="5599162" y="3667792"/>
                </a:cubicBezTo>
                <a:cubicBezTo>
                  <a:pt x="5599162" y="3670357"/>
                  <a:pt x="5601727" y="3670357"/>
                  <a:pt x="5601727" y="3672922"/>
                </a:cubicBezTo>
                <a:cubicBezTo>
                  <a:pt x="5611987" y="3675487"/>
                  <a:pt x="5609422" y="3665228"/>
                  <a:pt x="5619682" y="3667792"/>
                </a:cubicBezTo>
                <a:cubicBezTo>
                  <a:pt x="5619682" y="3678052"/>
                  <a:pt x="5604292" y="3670357"/>
                  <a:pt x="5606857" y="3680617"/>
                </a:cubicBezTo>
                <a:cubicBezTo>
                  <a:pt x="5599162" y="3670357"/>
                  <a:pt x="5586338" y="3672922"/>
                  <a:pt x="5586338" y="3688312"/>
                </a:cubicBezTo>
                <a:cubicBezTo>
                  <a:pt x="5581208" y="3688312"/>
                  <a:pt x="5573513" y="3690877"/>
                  <a:pt x="5565819" y="3693441"/>
                </a:cubicBezTo>
                <a:cubicBezTo>
                  <a:pt x="5576078" y="3721655"/>
                  <a:pt x="5578643" y="3752434"/>
                  <a:pt x="5573513" y="3788342"/>
                </a:cubicBezTo>
                <a:cubicBezTo>
                  <a:pt x="5578643" y="3788342"/>
                  <a:pt x="5576078" y="3796037"/>
                  <a:pt x="5581208" y="3796037"/>
                </a:cubicBezTo>
                <a:cubicBezTo>
                  <a:pt x="5581208" y="3801167"/>
                  <a:pt x="5576078" y="3798602"/>
                  <a:pt x="5573513" y="3796037"/>
                </a:cubicBezTo>
                <a:cubicBezTo>
                  <a:pt x="5558124" y="3872984"/>
                  <a:pt x="5514521" y="3957625"/>
                  <a:pt x="5470918" y="4034572"/>
                </a:cubicBezTo>
                <a:cubicBezTo>
                  <a:pt x="5481177" y="4042267"/>
                  <a:pt x="5491437" y="4049962"/>
                  <a:pt x="5501696" y="4057656"/>
                </a:cubicBezTo>
                <a:cubicBezTo>
                  <a:pt x="5476047" y="4073046"/>
                  <a:pt x="5470918" y="4103824"/>
                  <a:pt x="5465788" y="4132038"/>
                </a:cubicBezTo>
                <a:cubicBezTo>
                  <a:pt x="5450398" y="4129473"/>
                  <a:pt x="5435009" y="4124343"/>
                  <a:pt x="5419620" y="4121778"/>
                </a:cubicBezTo>
                <a:cubicBezTo>
                  <a:pt x="5406795" y="4144863"/>
                  <a:pt x="5396536" y="4165382"/>
                  <a:pt x="5388841" y="4183336"/>
                </a:cubicBezTo>
                <a:cubicBezTo>
                  <a:pt x="5468353" y="4162817"/>
                  <a:pt x="5552994" y="4157687"/>
                  <a:pt x="5632506" y="4155122"/>
                </a:cubicBezTo>
                <a:cubicBezTo>
                  <a:pt x="5637636" y="4149992"/>
                  <a:pt x="5640201" y="4142298"/>
                  <a:pt x="5647896" y="4147427"/>
                </a:cubicBezTo>
                <a:cubicBezTo>
                  <a:pt x="5642765" y="4142298"/>
                  <a:pt x="5655590" y="4134603"/>
                  <a:pt x="5655590" y="4124343"/>
                </a:cubicBezTo>
                <a:cubicBezTo>
                  <a:pt x="5658155" y="4124343"/>
                  <a:pt x="5658155" y="4129473"/>
                  <a:pt x="5660720" y="4129473"/>
                </a:cubicBezTo>
                <a:cubicBezTo>
                  <a:pt x="5670979" y="4111519"/>
                  <a:pt x="5676109" y="4091000"/>
                  <a:pt x="5645330" y="4083305"/>
                </a:cubicBezTo>
                <a:cubicBezTo>
                  <a:pt x="5645330" y="4065351"/>
                  <a:pt x="5645330" y="4039702"/>
                  <a:pt x="5653025" y="4016618"/>
                </a:cubicBezTo>
                <a:cubicBezTo>
                  <a:pt x="5650460" y="4011488"/>
                  <a:pt x="5647896" y="4016618"/>
                  <a:pt x="5640201" y="4014053"/>
                </a:cubicBezTo>
                <a:cubicBezTo>
                  <a:pt x="5653025" y="3990969"/>
                  <a:pt x="5650460" y="3967885"/>
                  <a:pt x="5658155" y="3939671"/>
                </a:cubicBezTo>
                <a:cubicBezTo>
                  <a:pt x="5668414" y="3949931"/>
                  <a:pt x="5642765" y="3965320"/>
                  <a:pt x="5663285" y="3967885"/>
                </a:cubicBezTo>
                <a:cubicBezTo>
                  <a:pt x="5653025" y="3978145"/>
                  <a:pt x="5653025" y="4001228"/>
                  <a:pt x="5650460" y="4008923"/>
                </a:cubicBezTo>
                <a:lnTo>
                  <a:pt x="5652849" y="4006773"/>
                </a:lnTo>
                <a:lnTo>
                  <a:pt x="5653827" y="4000989"/>
                </a:lnTo>
                <a:cubicBezTo>
                  <a:pt x="5654788" y="4000107"/>
                  <a:pt x="5656231" y="3999947"/>
                  <a:pt x="5658155" y="4001230"/>
                </a:cubicBezTo>
                <a:lnTo>
                  <a:pt x="5658155" y="4001997"/>
                </a:lnTo>
                <a:lnTo>
                  <a:pt x="5660479" y="3999906"/>
                </a:lnTo>
                <a:cubicBezTo>
                  <a:pt x="5667453" y="3989686"/>
                  <a:pt x="5666491" y="3976220"/>
                  <a:pt x="5668414" y="3962755"/>
                </a:cubicBezTo>
                <a:cubicBezTo>
                  <a:pt x="5670979" y="3967885"/>
                  <a:pt x="5676109" y="4019183"/>
                  <a:pt x="5653025" y="4021748"/>
                </a:cubicBezTo>
                <a:cubicBezTo>
                  <a:pt x="5642765" y="4047397"/>
                  <a:pt x="5660720" y="4044832"/>
                  <a:pt x="5660720" y="4070480"/>
                </a:cubicBezTo>
                <a:cubicBezTo>
                  <a:pt x="5673544" y="4062786"/>
                  <a:pt x="5681239" y="4052526"/>
                  <a:pt x="5696628" y="4047397"/>
                </a:cubicBezTo>
                <a:cubicBezTo>
                  <a:pt x="5694063" y="4044832"/>
                  <a:pt x="5694063" y="4037137"/>
                  <a:pt x="5683804" y="4039702"/>
                </a:cubicBezTo>
                <a:cubicBezTo>
                  <a:pt x="5683804" y="4029442"/>
                  <a:pt x="5686369" y="4032007"/>
                  <a:pt x="5683804" y="4021748"/>
                </a:cubicBezTo>
                <a:cubicBezTo>
                  <a:pt x="5688934" y="4024313"/>
                  <a:pt x="5691499" y="4019183"/>
                  <a:pt x="5691499" y="4014053"/>
                </a:cubicBezTo>
                <a:cubicBezTo>
                  <a:pt x="5696628" y="4021748"/>
                  <a:pt x="5691499" y="4026877"/>
                  <a:pt x="5691499" y="4039702"/>
                </a:cubicBezTo>
                <a:cubicBezTo>
                  <a:pt x="5709453" y="4019183"/>
                  <a:pt x="5709453" y="3990969"/>
                  <a:pt x="5722277" y="3967885"/>
                </a:cubicBezTo>
                <a:cubicBezTo>
                  <a:pt x="5712018" y="3952496"/>
                  <a:pt x="5696628" y="3934541"/>
                  <a:pt x="5706888" y="3924282"/>
                </a:cubicBezTo>
                <a:cubicBezTo>
                  <a:pt x="5704323" y="3921717"/>
                  <a:pt x="5701758" y="3916587"/>
                  <a:pt x="5694063" y="3916587"/>
                </a:cubicBezTo>
                <a:cubicBezTo>
                  <a:pt x="5695346" y="3906327"/>
                  <a:pt x="5700476" y="3898633"/>
                  <a:pt x="5705285" y="3890617"/>
                </a:cubicBezTo>
                <a:lnTo>
                  <a:pt x="5708365" y="3881378"/>
                </a:lnTo>
                <a:lnTo>
                  <a:pt x="5707209" y="3873947"/>
                </a:lnTo>
                <a:cubicBezTo>
                  <a:pt x="5707529" y="3867855"/>
                  <a:pt x="5708171" y="3861442"/>
                  <a:pt x="5706888" y="3857595"/>
                </a:cubicBezTo>
                <a:lnTo>
                  <a:pt x="5712303" y="3869564"/>
                </a:lnTo>
                <a:lnTo>
                  <a:pt x="5714583" y="3862724"/>
                </a:lnTo>
                <a:cubicBezTo>
                  <a:pt x="5722277" y="3878114"/>
                  <a:pt x="5704323" y="3890938"/>
                  <a:pt x="5712018" y="3903762"/>
                </a:cubicBezTo>
                <a:cubicBezTo>
                  <a:pt x="5709453" y="3901198"/>
                  <a:pt x="5706888" y="3901198"/>
                  <a:pt x="5704323" y="3906328"/>
                </a:cubicBezTo>
                <a:cubicBezTo>
                  <a:pt x="5704323" y="3914022"/>
                  <a:pt x="5719712" y="3898633"/>
                  <a:pt x="5717148" y="3911457"/>
                </a:cubicBezTo>
                <a:cubicBezTo>
                  <a:pt x="5724842" y="3906328"/>
                  <a:pt x="5724842" y="3893503"/>
                  <a:pt x="5729972" y="3885808"/>
                </a:cubicBezTo>
                <a:cubicBezTo>
                  <a:pt x="5732537" y="3883244"/>
                  <a:pt x="5727407" y="3906328"/>
                  <a:pt x="5732537" y="3890938"/>
                </a:cubicBezTo>
                <a:cubicBezTo>
                  <a:pt x="5740231" y="3890938"/>
                  <a:pt x="5732537" y="3901198"/>
                  <a:pt x="5727407" y="3898633"/>
                </a:cubicBezTo>
                <a:cubicBezTo>
                  <a:pt x="5732537" y="3908893"/>
                  <a:pt x="5727407" y="3916587"/>
                  <a:pt x="5727407" y="3929411"/>
                </a:cubicBezTo>
                <a:cubicBezTo>
                  <a:pt x="5729972" y="3924282"/>
                  <a:pt x="5732537" y="3916587"/>
                  <a:pt x="5735102" y="3908893"/>
                </a:cubicBezTo>
                <a:cubicBezTo>
                  <a:pt x="5742797" y="3914022"/>
                  <a:pt x="5732537" y="3926847"/>
                  <a:pt x="5729972" y="3934541"/>
                </a:cubicBezTo>
                <a:cubicBezTo>
                  <a:pt x="5740231" y="3942236"/>
                  <a:pt x="5732537" y="3947366"/>
                  <a:pt x="5732537" y="3957625"/>
                </a:cubicBezTo>
                <a:cubicBezTo>
                  <a:pt x="5742797" y="3942236"/>
                  <a:pt x="5745361" y="3937106"/>
                  <a:pt x="5750491" y="3914022"/>
                </a:cubicBezTo>
                <a:cubicBezTo>
                  <a:pt x="5758186" y="3911457"/>
                  <a:pt x="5745361" y="3929411"/>
                  <a:pt x="5755621" y="3931976"/>
                </a:cubicBezTo>
                <a:cubicBezTo>
                  <a:pt x="5760751" y="3929411"/>
                  <a:pt x="5755621" y="3919152"/>
                  <a:pt x="5763316" y="3919152"/>
                </a:cubicBezTo>
                <a:cubicBezTo>
                  <a:pt x="5760751" y="3929411"/>
                  <a:pt x="5750491" y="3957625"/>
                  <a:pt x="5763316" y="3973015"/>
                </a:cubicBezTo>
                <a:cubicBezTo>
                  <a:pt x="5755621" y="4006358"/>
                  <a:pt x="5750491" y="4008923"/>
                  <a:pt x="5750491" y="4047397"/>
                </a:cubicBezTo>
                <a:cubicBezTo>
                  <a:pt x="5745361" y="4044832"/>
                  <a:pt x="5735102" y="4062786"/>
                  <a:pt x="5747926" y="4067916"/>
                </a:cubicBezTo>
                <a:cubicBezTo>
                  <a:pt x="5742797" y="4075611"/>
                  <a:pt x="5737667" y="4073046"/>
                  <a:pt x="5742797" y="4083305"/>
                </a:cubicBezTo>
                <a:cubicBezTo>
                  <a:pt x="5750491" y="4085870"/>
                  <a:pt x="5747926" y="4093565"/>
                  <a:pt x="5760751" y="4098694"/>
                </a:cubicBezTo>
                <a:cubicBezTo>
                  <a:pt x="5753056" y="4108954"/>
                  <a:pt x="5750491" y="4137168"/>
                  <a:pt x="5737667" y="4134603"/>
                </a:cubicBezTo>
                <a:cubicBezTo>
                  <a:pt x="5737667" y="4142298"/>
                  <a:pt x="5735102" y="4147427"/>
                  <a:pt x="5732537" y="4155122"/>
                </a:cubicBezTo>
                <a:cubicBezTo>
                  <a:pt x="5758186" y="4155122"/>
                  <a:pt x="5796659" y="4155122"/>
                  <a:pt x="5819743" y="4116649"/>
                </a:cubicBezTo>
                <a:cubicBezTo>
                  <a:pt x="5830003" y="4093565"/>
                  <a:pt x="5835132" y="4067916"/>
                  <a:pt x="5847957" y="4047397"/>
                </a:cubicBezTo>
                <a:cubicBezTo>
                  <a:pt x="5835132" y="4039702"/>
                  <a:pt x="5830003" y="4011488"/>
                  <a:pt x="5814614" y="4011488"/>
                </a:cubicBezTo>
                <a:cubicBezTo>
                  <a:pt x="5830003" y="4006358"/>
                  <a:pt x="5832568" y="4021748"/>
                  <a:pt x="5837697" y="3996099"/>
                </a:cubicBezTo>
                <a:cubicBezTo>
                  <a:pt x="5863346" y="3993534"/>
                  <a:pt x="5853087" y="4019183"/>
                  <a:pt x="5863346" y="4042267"/>
                </a:cubicBezTo>
                <a:cubicBezTo>
                  <a:pt x="5891560" y="4055091"/>
                  <a:pt x="5912079" y="4088435"/>
                  <a:pt x="5947988" y="4080740"/>
                </a:cubicBezTo>
                <a:cubicBezTo>
                  <a:pt x="5968507" y="4075611"/>
                  <a:pt x="5950553" y="4052526"/>
                  <a:pt x="5953118" y="4039702"/>
                </a:cubicBezTo>
                <a:cubicBezTo>
                  <a:pt x="5976202" y="4039702"/>
                  <a:pt x="5989026" y="4091000"/>
                  <a:pt x="5976202" y="4103824"/>
                </a:cubicBezTo>
                <a:cubicBezTo>
                  <a:pt x="5963377" y="4116649"/>
                  <a:pt x="5958247" y="4103824"/>
                  <a:pt x="5950553" y="4098694"/>
                </a:cubicBezTo>
                <a:cubicBezTo>
                  <a:pt x="5935163" y="4116649"/>
                  <a:pt x="5937728" y="4160252"/>
                  <a:pt x="5965942" y="4173076"/>
                </a:cubicBezTo>
                <a:cubicBezTo>
                  <a:pt x="5981332" y="4165382"/>
                  <a:pt x="5971072" y="4149992"/>
                  <a:pt x="5989026" y="4144863"/>
                </a:cubicBezTo>
                <a:cubicBezTo>
                  <a:pt x="5981332" y="4165382"/>
                  <a:pt x="6006981" y="4198725"/>
                  <a:pt x="5996721" y="4216680"/>
                </a:cubicBezTo>
                <a:cubicBezTo>
                  <a:pt x="6009545" y="4208985"/>
                  <a:pt x="6019805" y="4224374"/>
                  <a:pt x="6030064" y="4239764"/>
                </a:cubicBezTo>
                <a:cubicBezTo>
                  <a:pt x="6030064" y="4237199"/>
                  <a:pt x="6027499" y="4234634"/>
                  <a:pt x="6027499" y="4232069"/>
                </a:cubicBezTo>
                <a:cubicBezTo>
                  <a:pt x="6037759" y="4229504"/>
                  <a:pt x="6048019" y="4226939"/>
                  <a:pt x="6053148" y="4234634"/>
                </a:cubicBezTo>
                <a:cubicBezTo>
                  <a:pt x="6053148" y="4247458"/>
                  <a:pt x="6048019" y="4252588"/>
                  <a:pt x="6040324" y="4255153"/>
                </a:cubicBezTo>
                <a:cubicBezTo>
                  <a:pt x="6040324" y="4255153"/>
                  <a:pt x="6037759" y="4255153"/>
                  <a:pt x="6037759" y="4255153"/>
                </a:cubicBezTo>
                <a:cubicBezTo>
                  <a:pt x="6045454" y="4265413"/>
                  <a:pt x="6053148" y="4273107"/>
                  <a:pt x="6063408" y="4270542"/>
                </a:cubicBezTo>
                <a:cubicBezTo>
                  <a:pt x="6086492" y="4250023"/>
                  <a:pt x="6096752" y="4242329"/>
                  <a:pt x="6119836" y="4239764"/>
                </a:cubicBezTo>
                <a:lnTo>
                  <a:pt x="6112855" y="4251065"/>
                </a:lnTo>
                <a:lnTo>
                  <a:pt x="6126409" y="4248180"/>
                </a:lnTo>
                <a:cubicBezTo>
                  <a:pt x="6131058" y="4249542"/>
                  <a:pt x="6135867" y="4252588"/>
                  <a:pt x="6140356" y="4257718"/>
                </a:cubicBezTo>
                <a:cubicBezTo>
                  <a:pt x="6130096" y="4257718"/>
                  <a:pt x="6137790" y="4273108"/>
                  <a:pt x="6137790" y="4273108"/>
                </a:cubicBezTo>
                <a:cubicBezTo>
                  <a:pt x="6127531" y="4291063"/>
                  <a:pt x="6104446" y="4285933"/>
                  <a:pt x="6101881" y="4270543"/>
                </a:cubicBezTo>
                <a:lnTo>
                  <a:pt x="6104829" y="4261911"/>
                </a:lnTo>
                <a:lnTo>
                  <a:pt x="6080080" y="4273428"/>
                </a:lnTo>
                <a:cubicBezTo>
                  <a:pt x="6070462" y="4277115"/>
                  <a:pt x="6060843" y="4280882"/>
                  <a:pt x="6053469" y="4286293"/>
                </a:cubicBezTo>
                <a:lnTo>
                  <a:pt x="6052018" y="4288801"/>
                </a:lnTo>
                <a:lnTo>
                  <a:pt x="6053149" y="4291062"/>
                </a:lnTo>
                <a:cubicBezTo>
                  <a:pt x="6052508" y="4292986"/>
                  <a:pt x="6051867" y="4294909"/>
                  <a:pt x="6055714" y="4296191"/>
                </a:cubicBezTo>
                <a:cubicBezTo>
                  <a:pt x="6055714" y="4298756"/>
                  <a:pt x="6042889" y="4301321"/>
                  <a:pt x="6053149" y="4303887"/>
                </a:cubicBezTo>
                <a:cubicBezTo>
                  <a:pt x="6049943" y="4306451"/>
                  <a:pt x="6046576" y="4307093"/>
                  <a:pt x="6043490" y="4306451"/>
                </a:cubicBezTo>
                <a:lnTo>
                  <a:pt x="6042264" y="4305663"/>
                </a:lnTo>
                <a:lnTo>
                  <a:pt x="6040324" y="4309016"/>
                </a:lnTo>
                <a:cubicBezTo>
                  <a:pt x="6045454" y="4321840"/>
                  <a:pt x="6065973" y="4291062"/>
                  <a:pt x="6065973" y="4314145"/>
                </a:cubicBezTo>
                <a:cubicBezTo>
                  <a:pt x="6042889" y="4352619"/>
                  <a:pt x="6017240" y="4385963"/>
                  <a:pt x="6012110" y="4429566"/>
                </a:cubicBezTo>
                <a:cubicBezTo>
                  <a:pt x="5999286" y="4439825"/>
                  <a:pt x="5991591" y="4432131"/>
                  <a:pt x="5981332" y="4437260"/>
                </a:cubicBezTo>
                <a:cubicBezTo>
                  <a:pt x="5981332" y="4457780"/>
                  <a:pt x="5965942" y="4475734"/>
                  <a:pt x="5955683" y="4493688"/>
                </a:cubicBezTo>
                <a:cubicBezTo>
                  <a:pt x="5971072" y="4527032"/>
                  <a:pt x="5976202" y="4557810"/>
                  <a:pt x="5971072" y="4583459"/>
                </a:cubicBezTo>
                <a:cubicBezTo>
                  <a:pt x="5958247" y="4591154"/>
                  <a:pt x="5947988" y="4596284"/>
                  <a:pt x="5953118" y="4580895"/>
                </a:cubicBezTo>
                <a:cubicBezTo>
                  <a:pt x="5917209" y="4596284"/>
                  <a:pt x="5930034" y="4632192"/>
                  <a:pt x="5912079" y="4655276"/>
                </a:cubicBezTo>
                <a:cubicBezTo>
                  <a:pt x="5891560" y="4668101"/>
                  <a:pt x="5876171" y="4668101"/>
                  <a:pt x="5863346" y="4665536"/>
                </a:cubicBezTo>
                <a:cubicBezTo>
                  <a:pt x="5850522" y="4675795"/>
                  <a:pt x="5860781" y="4673230"/>
                  <a:pt x="5865911" y="4686055"/>
                </a:cubicBezTo>
                <a:cubicBezTo>
                  <a:pt x="5824873" y="4691185"/>
                  <a:pt x="5804354" y="4701444"/>
                  <a:pt x="5765880" y="4693750"/>
                </a:cubicBezTo>
                <a:cubicBezTo>
                  <a:pt x="5755621" y="4721964"/>
                  <a:pt x="5747926" y="4742483"/>
                  <a:pt x="5773575" y="4775826"/>
                </a:cubicBezTo>
                <a:cubicBezTo>
                  <a:pt x="5768445" y="4778391"/>
                  <a:pt x="5765880" y="4780956"/>
                  <a:pt x="5765880" y="4786086"/>
                </a:cubicBezTo>
                <a:cubicBezTo>
                  <a:pt x="5750491" y="4796345"/>
                  <a:pt x="5742797" y="4780956"/>
                  <a:pt x="5732537" y="4773261"/>
                </a:cubicBezTo>
                <a:cubicBezTo>
                  <a:pt x="5727407" y="4783521"/>
                  <a:pt x="5717148" y="4791216"/>
                  <a:pt x="5709453" y="4798910"/>
                </a:cubicBezTo>
                <a:cubicBezTo>
                  <a:pt x="5706888" y="4798910"/>
                  <a:pt x="5706888" y="4796345"/>
                  <a:pt x="5704323" y="4796345"/>
                </a:cubicBezTo>
                <a:cubicBezTo>
                  <a:pt x="5704323" y="4788651"/>
                  <a:pt x="5714583" y="4791216"/>
                  <a:pt x="5714583" y="4783521"/>
                </a:cubicBezTo>
                <a:cubicBezTo>
                  <a:pt x="5701758" y="4775826"/>
                  <a:pt x="5668414" y="4778391"/>
                  <a:pt x="5658155" y="4788651"/>
                </a:cubicBezTo>
                <a:cubicBezTo>
                  <a:pt x="5653025" y="4786086"/>
                  <a:pt x="5645330" y="4780956"/>
                  <a:pt x="5640201" y="4786086"/>
                </a:cubicBezTo>
                <a:cubicBezTo>
                  <a:pt x="5637636" y="4780956"/>
                  <a:pt x="5647896" y="4778391"/>
                  <a:pt x="5655590" y="4778391"/>
                </a:cubicBezTo>
                <a:cubicBezTo>
                  <a:pt x="5665850" y="4775826"/>
                  <a:pt x="5696628" y="4737353"/>
                  <a:pt x="5678674" y="4727093"/>
                </a:cubicBezTo>
                <a:cubicBezTo>
                  <a:pt x="5660720" y="4729658"/>
                  <a:pt x="5640201" y="4745048"/>
                  <a:pt x="5637636" y="4763002"/>
                </a:cubicBezTo>
                <a:cubicBezTo>
                  <a:pt x="5635071" y="4770696"/>
                  <a:pt x="5637636" y="4783521"/>
                  <a:pt x="5627376" y="4783521"/>
                </a:cubicBezTo>
                <a:cubicBezTo>
                  <a:pt x="5622247" y="4778391"/>
                  <a:pt x="5627376" y="4775826"/>
                  <a:pt x="5629941" y="4770696"/>
                </a:cubicBezTo>
                <a:cubicBezTo>
                  <a:pt x="5632506" y="4760437"/>
                  <a:pt x="5627376" y="4755307"/>
                  <a:pt x="5627376" y="4745048"/>
                </a:cubicBezTo>
                <a:cubicBezTo>
                  <a:pt x="5624811" y="4739918"/>
                  <a:pt x="5622247" y="4739918"/>
                  <a:pt x="5619682" y="4739918"/>
                </a:cubicBezTo>
                <a:cubicBezTo>
                  <a:pt x="5629941" y="4724528"/>
                  <a:pt x="5629941" y="4711704"/>
                  <a:pt x="5640201" y="4698879"/>
                </a:cubicBezTo>
                <a:cubicBezTo>
                  <a:pt x="5653025" y="4696315"/>
                  <a:pt x="5665850" y="4693750"/>
                  <a:pt x="5668414" y="4680925"/>
                </a:cubicBezTo>
                <a:cubicBezTo>
                  <a:pt x="5655590" y="4678361"/>
                  <a:pt x="5642765" y="4688620"/>
                  <a:pt x="5635071" y="4696315"/>
                </a:cubicBezTo>
                <a:cubicBezTo>
                  <a:pt x="5640201" y="4688620"/>
                  <a:pt x="5642765" y="4680925"/>
                  <a:pt x="5645330" y="4670666"/>
                </a:cubicBezTo>
                <a:cubicBezTo>
                  <a:pt x="5650460" y="4668101"/>
                  <a:pt x="5655590" y="4668101"/>
                  <a:pt x="5658155" y="4662971"/>
                </a:cubicBezTo>
                <a:cubicBezTo>
                  <a:pt x="5658155" y="4660406"/>
                  <a:pt x="5653025" y="4657841"/>
                  <a:pt x="5653025" y="4660406"/>
                </a:cubicBezTo>
                <a:cubicBezTo>
                  <a:pt x="5650460" y="4655276"/>
                  <a:pt x="5660720" y="4655276"/>
                  <a:pt x="5663285" y="4650147"/>
                </a:cubicBezTo>
                <a:cubicBezTo>
                  <a:pt x="5691499" y="4652712"/>
                  <a:pt x="5712018" y="4637322"/>
                  <a:pt x="5729972" y="4627063"/>
                </a:cubicBezTo>
                <a:cubicBezTo>
                  <a:pt x="5724842" y="4619368"/>
                  <a:pt x="5717148" y="4621933"/>
                  <a:pt x="5712018" y="4621933"/>
                </a:cubicBezTo>
                <a:cubicBezTo>
                  <a:pt x="5688934" y="4624498"/>
                  <a:pt x="5673544" y="4645017"/>
                  <a:pt x="5653025" y="4645017"/>
                </a:cubicBezTo>
                <a:cubicBezTo>
                  <a:pt x="5673544" y="4603978"/>
                  <a:pt x="5742797" y="4614238"/>
                  <a:pt x="5755621" y="4568070"/>
                </a:cubicBezTo>
                <a:cubicBezTo>
                  <a:pt x="5727407" y="4562940"/>
                  <a:pt x="5706888" y="4596284"/>
                  <a:pt x="5676109" y="4588589"/>
                </a:cubicBezTo>
                <a:cubicBezTo>
                  <a:pt x="5688934" y="4570635"/>
                  <a:pt x="5712018" y="4560375"/>
                  <a:pt x="5727407" y="4544986"/>
                </a:cubicBezTo>
                <a:cubicBezTo>
                  <a:pt x="5712018" y="4542421"/>
                  <a:pt x="5699193" y="4552681"/>
                  <a:pt x="5688934" y="4560375"/>
                </a:cubicBezTo>
                <a:cubicBezTo>
                  <a:pt x="5694063" y="4544986"/>
                  <a:pt x="5704323" y="4529597"/>
                  <a:pt x="5699193" y="4509077"/>
                </a:cubicBezTo>
                <a:cubicBezTo>
                  <a:pt x="5676109" y="4521902"/>
                  <a:pt x="5668414" y="4550116"/>
                  <a:pt x="5658155" y="4575765"/>
                </a:cubicBezTo>
                <a:cubicBezTo>
                  <a:pt x="5655590" y="4557810"/>
                  <a:pt x="5650460" y="4544986"/>
                  <a:pt x="5640201" y="4534726"/>
                </a:cubicBezTo>
                <a:cubicBezTo>
                  <a:pt x="5647896" y="4519337"/>
                  <a:pt x="5655590" y="4501383"/>
                  <a:pt x="5673544" y="4496253"/>
                </a:cubicBezTo>
                <a:cubicBezTo>
                  <a:pt x="5678674" y="4498818"/>
                  <a:pt x="5688934" y="4501383"/>
                  <a:pt x="5694063" y="4498818"/>
                </a:cubicBezTo>
                <a:cubicBezTo>
                  <a:pt x="5694063" y="4491123"/>
                  <a:pt x="5683804" y="4493688"/>
                  <a:pt x="5676109" y="4493688"/>
                </a:cubicBezTo>
                <a:cubicBezTo>
                  <a:pt x="5688934" y="4485994"/>
                  <a:pt x="5704323" y="4478299"/>
                  <a:pt x="5701758" y="4460345"/>
                </a:cubicBezTo>
                <a:cubicBezTo>
                  <a:pt x="5699193" y="4455215"/>
                  <a:pt x="5691499" y="4462909"/>
                  <a:pt x="5683804" y="4460345"/>
                </a:cubicBezTo>
                <a:cubicBezTo>
                  <a:pt x="5683804" y="4450085"/>
                  <a:pt x="5686369" y="4444955"/>
                  <a:pt x="5681239" y="4439825"/>
                </a:cubicBezTo>
                <a:cubicBezTo>
                  <a:pt x="5665850" y="4447520"/>
                  <a:pt x="5668414" y="4468039"/>
                  <a:pt x="5665850" y="4485994"/>
                </a:cubicBezTo>
                <a:cubicBezTo>
                  <a:pt x="5660720" y="4488558"/>
                  <a:pt x="5663285" y="4485994"/>
                  <a:pt x="5660720" y="4483429"/>
                </a:cubicBezTo>
                <a:cubicBezTo>
                  <a:pt x="5658155" y="4485994"/>
                  <a:pt x="5660720" y="4491123"/>
                  <a:pt x="5655590" y="4491123"/>
                </a:cubicBezTo>
                <a:cubicBezTo>
                  <a:pt x="5658155" y="4457780"/>
                  <a:pt x="5665850" y="4419306"/>
                  <a:pt x="5647896" y="4396222"/>
                </a:cubicBezTo>
                <a:cubicBezTo>
                  <a:pt x="5655590" y="4432131"/>
                  <a:pt x="5653025" y="4493688"/>
                  <a:pt x="5635071" y="4524467"/>
                </a:cubicBezTo>
                <a:cubicBezTo>
                  <a:pt x="5629941" y="4521902"/>
                  <a:pt x="5627376" y="4519337"/>
                  <a:pt x="5622247" y="4516772"/>
                </a:cubicBezTo>
                <a:cubicBezTo>
                  <a:pt x="5619682" y="4524467"/>
                  <a:pt x="5629941" y="4532161"/>
                  <a:pt x="5627376" y="4544986"/>
                </a:cubicBezTo>
                <a:cubicBezTo>
                  <a:pt x="5622247" y="4542421"/>
                  <a:pt x="5619682" y="4539856"/>
                  <a:pt x="5614552" y="4537291"/>
                </a:cubicBezTo>
                <a:cubicBezTo>
                  <a:pt x="5606857" y="4542421"/>
                  <a:pt x="5611987" y="4547551"/>
                  <a:pt x="5611987" y="4555246"/>
                </a:cubicBezTo>
                <a:cubicBezTo>
                  <a:pt x="5606857" y="4555246"/>
                  <a:pt x="5606857" y="4550116"/>
                  <a:pt x="5604292" y="4550116"/>
                </a:cubicBezTo>
                <a:cubicBezTo>
                  <a:pt x="5608140" y="4557810"/>
                  <a:pt x="5613270" y="4566146"/>
                  <a:pt x="5616796" y="4574482"/>
                </a:cubicBezTo>
                <a:lnTo>
                  <a:pt x="5619338" y="4595944"/>
                </a:lnTo>
                <a:lnTo>
                  <a:pt x="5624812" y="4591154"/>
                </a:lnTo>
                <a:cubicBezTo>
                  <a:pt x="5635072" y="4591154"/>
                  <a:pt x="5637636" y="4586024"/>
                  <a:pt x="5642766" y="4588589"/>
                </a:cubicBezTo>
                <a:cubicBezTo>
                  <a:pt x="5632507" y="4596284"/>
                  <a:pt x="5629942" y="4609109"/>
                  <a:pt x="5619682" y="4614239"/>
                </a:cubicBezTo>
                <a:cubicBezTo>
                  <a:pt x="5619682" y="4611674"/>
                  <a:pt x="5619682" y="4603979"/>
                  <a:pt x="5609423" y="4606544"/>
                </a:cubicBezTo>
                <a:cubicBezTo>
                  <a:pt x="5610705" y="4601414"/>
                  <a:pt x="5613911" y="4599490"/>
                  <a:pt x="5617117" y="4597887"/>
                </a:cubicBezTo>
                <a:lnTo>
                  <a:pt x="5617904" y="4597198"/>
                </a:lnTo>
                <a:lnTo>
                  <a:pt x="5606755" y="4586845"/>
                </a:lnTo>
                <a:lnTo>
                  <a:pt x="5606857" y="4588589"/>
                </a:lnTo>
                <a:lnTo>
                  <a:pt x="5605630" y="4585801"/>
                </a:lnTo>
                <a:lnTo>
                  <a:pt x="5583773" y="4565505"/>
                </a:lnTo>
                <a:cubicBezTo>
                  <a:pt x="5568384" y="4555246"/>
                  <a:pt x="5555559" y="4547551"/>
                  <a:pt x="5537605" y="4542421"/>
                </a:cubicBezTo>
                <a:cubicBezTo>
                  <a:pt x="5540170" y="4557810"/>
                  <a:pt x="5563254" y="4570635"/>
                  <a:pt x="5578643" y="4583459"/>
                </a:cubicBezTo>
                <a:cubicBezTo>
                  <a:pt x="5591468" y="4593719"/>
                  <a:pt x="5604292" y="4606543"/>
                  <a:pt x="5617117" y="4614238"/>
                </a:cubicBezTo>
                <a:cubicBezTo>
                  <a:pt x="5609422" y="4632192"/>
                  <a:pt x="5611987" y="4662971"/>
                  <a:pt x="5606857" y="4683490"/>
                </a:cubicBezTo>
                <a:cubicBezTo>
                  <a:pt x="5601727" y="4683490"/>
                  <a:pt x="5604292" y="4680925"/>
                  <a:pt x="5599162" y="4680925"/>
                </a:cubicBezTo>
                <a:cubicBezTo>
                  <a:pt x="5596598" y="4688620"/>
                  <a:pt x="5601727" y="4691185"/>
                  <a:pt x="5604292" y="4698879"/>
                </a:cubicBezTo>
                <a:cubicBezTo>
                  <a:pt x="5609422" y="4719399"/>
                  <a:pt x="5604292" y="4742483"/>
                  <a:pt x="5601727" y="4763002"/>
                </a:cubicBezTo>
                <a:cubicBezTo>
                  <a:pt x="5594033" y="4752742"/>
                  <a:pt x="5594033" y="4737353"/>
                  <a:pt x="5578643" y="4737353"/>
                </a:cubicBezTo>
                <a:cubicBezTo>
                  <a:pt x="5583773" y="4721964"/>
                  <a:pt x="5583773" y="4688620"/>
                  <a:pt x="5570949" y="4680925"/>
                </a:cubicBezTo>
                <a:cubicBezTo>
                  <a:pt x="5560689" y="4688620"/>
                  <a:pt x="5555559" y="4698879"/>
                  <a:pt x="5552994" y="4711704"/>
                </a:cubicBezTo>
                <a:cubicBezTo>
                  <a:pt x="5550430" y="4709139"/>
                  <a:pt x="5550430" y="4706574"/>
                  <a:pt x="5547864" y="4704009"/>
                </a:cubicBezTo>
                <a:cubicBezTo>
                  <a:pt x="5550430" y="4691185"/>
                  <a:pt x="5552994" y="4680925"/>
                  <a:pt x="5550430" y="4668101"/>
                </a:cubicBezTo>
                <a:cubicBezTo>
                  <a:pt x="5537605" y="4670666"/>
                  <a:pt x="5535040" y="4683490"/>
                  <a:pt x="5532475" y="4693750"/>
                </a:cubicBezTo>
                <a:cubicBezTo>
                  <a:pt x="5529910" y="4693750"/>
                  <a:pt x="5527345" y="4691185"/>
                  <a:pt x="5524781" y="4691185"/>
                </a:cubicBezTo>
                <a:cubicBezTo>
                  <a:pt x="5522216" y="4693750"/>
                  <a:pt x="5522216" y="4693750"/>
                  <a:pt x="5522216" y="4691185"/>
                </a:cubicBezTo>
                <a:cubicBezTo>
                  <a:pt x="5522216" y="4691185"/>
                  <a:pt x="5519651" y="4691185"/>
                  <a:pt x="5519651" y="4691185"/>
                </a:cubicBezTo>
                <a:cubicBezTo>
                  <a:pt x="5514521" y="4680925"/>
                  <a:pt x="5509391" y="4670666"/>
                  <a:pt x="5496567" y="4665536"/>
                </a:cubicBezTo>
                <a:cubicBezTo>
                  <a:pt x="5494002" y="4670666"/>
                  <a:pt x="5491437" y="4675795"/>
                  <a:pt x="5491437" y="4683490"/>
                </a:cubicBezTo>
                <a:cubicBezTo>
                  <a:pt x="5473483" y="4678361"/>
                  <a:pt x="5455529" y="4670666"/>
                  <a:pt x="5440139" y="4655276"/>
                </a:cubicBezTo>
                <a:cubicBezTo>
                  <a:pt x="5368322" y="4647581"/>
                  <a:pt x="5296505" y="4642452"/>
                  <a:pt x="5222123" y="4634757"/>
                </a:cubicBezTo>
                <a:cubicBezTo>
                  <a:pt x="5281116" y="4721964"/>
                  <a:pt x="5322154" y="4855338"/>
                  <a:pt x="5224688" y="4922025"/>
                </a:cubicBezTo>
                <a:cubicBezTo>
                  <a:pt x="5229818" y="4947674"/>
                  <a:pt x="5250337" y="4955369"/>
                  <a:pt x="5283680" y="4950239"/>
                </a:cubicBezTo>
                <a:cubicBezTo>
                  <a:pt x="5242642" y="4970758"/>
                  <a:pt x="5188779" y="4942544"/>
                  <a:pt x="5181085" y="5022056"/>
                </a:cubicBezTo>
                <a:cubicBezTo>
                  <a:pt x="5224688" y="5106698"/>
                  <a:pt x="5332414" y="5073354"/>
                  <a:pt x="5355498" y="5152866"/>
                </a:cubicBezTo>
                <a:cubicBezTo>
                  <a:pt x="5365757" y="5186209"/>
                  <a:pt x="5260597" y="5240072"/>
                  <a:pt x="5355498" y="5255461"/>
                </a:cubicBezTo>
                <a:cubicBezTo>
                  <a:pt x="5342673" y="5306759"/>
                  <a:pt x="5237513" y="5263156"/>
                  <a:pt x="5237513" y="5327278"/>
                </a:cubicBezTo>
                <a:cubicBezTo>
                  <a:pt x="5229818" y="5358057"/>
                  <a:pt x="5258031" y="5352927"/>
                  <a:pt x="5281116" y="5355492"/>
                </a:cubicBezTo>
                <a:cubicBezTo>
                  <a:pt x="5263162" y="5396531"/>
                  <a:pt x="5227253" y="5422179"/>
                  <a:pt x="5193909" y="5447828"/>
                </a:cubicBezTo>
                <a:cubicBezTo>
                  <a:pt x="5196474" y="5437569"/>
                  <a:pt x="5199039" y="5424744"/>
                  <a:pt x="5196474" y="5417049"/>
                </a:cubicBezTo>
                <a:cubicBezTo>
                  <a:pt x="5204169" y="5411920"/>
                  <a:pt x="5214428" y="5409355"/>
                  <a:pt x="5216993" y="5401660"/>
                </a:cubicBezTo>
                <a:cubicBezTo>
                  <a:pt x="5214428" y="5396531"/>
                  <a:pt x="5204169" y="5399095"/>
                  <a:pt x="5209299" y="5391400"/>
                </a:cubicBezTo>
                <a:cubicBezTo>
                  <a:pt x="5204169" y="5393965"/>
                  <a:pt x="5204169" y="5393965"/>
                  <a:pt x="5201604" y="5396531"/>
                </a:cubicBezTo>
                <a:cubicBezTo>
                  <a:pt x="5196474" y="5393965"/>
                  <a:pt x="5204169" y="5391400"/>
                  <a:pt x="5201604" y="5386271"/>
                </a:cubicBezTo>
                <a:cubicBezTo>
                  <a:pt x="5193909" y="5386271"/>
                  <a:pt x="5196474" y="5393965"/>
                  <a:pt x="5191345" y="5393965"/>
                </a:cubicBezTo>
                <a:cubicBezTo>
                  <a:pt x="5191345" y="5388836"/>
                  <a:pt x="5188779" y="5386271"/>
                  <a:pt x="5186215" y="5383706"/>
                </a:cubicBezTo>
                <a:cubicBezTo>
                  <a:pt x="5181085" y="5391400"/>
                  <a:pt x="5186215" y="5404225"/>
                  <a:pt x="5191345" y="5409355"/>
                </a:cubicBezTo>
                <a:cubicBezTo>
                  <a:pt x="5191345" y="5422179"/>
                  <a:pt x="5191345" y="5440134"/>
                  <a:pt x="5188779" y="5455523"/>
                </a:cubicBezTo>
                <a:cubicBezTo>
                  <a:pt x="5183650" y="5460653"/>
                  <a:pt x="5175955" y="5465783"/>
                  <a:pt x="5170825" y="5470912"/>
                </a:cubicBezTo>
                <a:cubicBezTo>
                  <a:pt x="5170825" y="5470912"/>
                  <a:pt x="5168260" y="5468347"/>
                  <a:pt x="5170825" y="5465783"/>
                </a:cubicBezTo>
                <a:cubicBezTo>
                  <a:pt x="5165696" y="5468347"/>
                  <a:pt x="5163131" y="5460653"/>
                  <a:pt x="5160566" y="5455523"/>
                </a:cubicBezTo>
                <a:cubicBezTo>
                  <a:pt x="5155436" y="5460653"/>
                  <a:pt x="5150306" y="5468347"/>
                  <a:pt x="5152871" y="5476042"/>
                </a:cubicBezTo>
                <a:cubicBezTo>
                  <a:pt x="5150306" y="5481172"/>
                  <a:pt x="5145176" y="5468347"/>
                  <a:pt x="5140047" y="5468347"/>
                </a:cubicBezTo>
                <a:cubicBezTo>
                  <a:pt x="5132352" y="5478607"/>
                  <a:pt x="5145176" y="5486302"/>
                  <a:pt x="5152871" y="5491431"/>
                </a:cubicBezTo>
                <a:cubicBezTo>
                  <a:pt x="5145176" y="5501691"/>
                  <a:pt x="5137482" y="5509386"/>
                  <a:pt x="5132352" y="5522210"/>
                </a:cubicBezTo>
                <a:cubicBezTo>
                  <a:pt x="5137482" y="5545294"/>
                  <a:pt x="5119527" y="5594027"/>
                  <a:pt x="5145176" y="5596592"/>
                </a:cubicBezTo>
                <a:cubicBezTo>
                  <a:pt x="5142611" y="5604287"/>
                  <a:pt x="5142611" y="5611981"/>
                  <a:pt x="5140047" y="5619676"/>
                </a:cubicBezTo>
                <a:cubicBezTo>
                  <a:pt x="5137482" y="5622241"/>
                  <a:pt x="5137482" y="5624806"/>
                  <a:pt x="5134917" y="5627371"/>
                </a:cubicBezTo>
                <a:cubicBezTo>
                  <a:pt x="5129787" y="5629936"/>
                  <a:pt x="5127222" y="5635065"/>
                  <a:pt x="5127222" y="5640195"/>
                </a:cubicBezTo>
                <a:cubicBezTo>
                  <a:pt x="5127222" y="5640195"/>
                  <a:pt x="5127222" y="5642760"/>
                  <a:pt x="5127222" y="5642760"/>
                </a:cubicBezTo>
                <a:cubicBezTo>
                  <a:pt x="5124657" y="5653020"/>
                  <a:pt x="5124657" y="5660714"/>
                  <a:pt x="5122092" y="5668409"/>
                </a:cubicBezTo>
                <a:cubicBezTo>
                  <a:pt x="5022061" y="5665844"/>
                  <a:pt x="4927160" y="5717142"/>
                  <a:pt x="4824565" y="5783829"/>
                </a:cubicBezTo>
                <a:cubicBezTo>
                  <a:pt x="4816870" y="5781264"/>
                  <a:pt x="4811740" y="5778699"/>
                  <a:pt x="4804046" y="5776134"/>
                </a:cubicBezTo>
                <a:cubicBezTo>
                  <a:pt x="4798916" y="5747921"/>
                  <a:pt x="4796351" y="5719707"/>
                  <a:pt x="4793786" y="5688928"/>
                </a:cubicBezTo>
                <a:cubicBezTo>
                  <a:pt x="4793786" y="5686363"/>
                  <a:pt x="4793786" y="5686363"/>
                  <a:pt x="4793786" y="5686363"/>
                </a:cubicBezTo>
                <a:cubicBezTo>
                  <a:pt x="4829694" y="5688928"/>
                  <a:pt x="4863038" y="5691493"/>
                  <a:pt x="4883557" y="5650455"/>
                </a:cubicBezTo>
                <a:cubicBezTo>
                  <a:pt x="4850214" y="5635065"/>
                  <a:pt x="4811740" y="5622241"/>
                  <a:pt x="4778397" y="5617111"/>
                </a:cubicBezTo>
                <a:cubicBezTo>
                  <a:pt x="4775832" y="5594027"/>
                  <a:pt x="4775832" y="5573508"/>
                  <a:pt x="4770702" y="5555554"/>
                </a:cubicBezTo>
                <a:cubicBezTo>
                  <a:pt x="4775832" y="5555554"/>
                  <a:pt x="4780962" y="5555554"/>
                  <a:pt x="4785451" y="5554913"/>
                </a:cubicBezTo>
                <a:lnTo>
                  <a:pt x="4791994" y="5552219"/>
                </a:lnTo>
                <a:lnTo>
                  <a:pt x="4791221" y="5560683"/>
                </a:lnTo>
                <a:cubicBezTo>
                  <a:pt x="4834824" y="5550424"/>
                  <a:pt x="4816870" y="5550424"/>
                  <a:pt x="4863038" y="5560683"/>
                </a:cubicBezTo>
                <a:cubicBezTo>
                  <a:pt x="4865603" y="5527340"/>
                  <a:pt x="4857908" y="5504256"/>
                  <a:pt x="4834824" y="5501691"/>
                </a:cubicBezTo>
                <a:cubicBezTo>
                  <a:pt x="4838672" y="5530546"/>
                  <a:pt x="4805008" y="5523332"/>
                  <a:pt x="4793346" y="5537399"/>
                </a:cubicBezTo>
                <a:lnTo>
                  <a:pt x="4792552" y="5546095"/>
                </a:lnTo>
                <a:lnTo>
                  <a:pt x="4782565" y="5534715"/>
                </a:lnTo>
                <a:cubicBezTo>
                  <a:pt x="4776473" y="5531188"/>
                  <a:pt x="4769419" y="5528623"/>
                  <a:pt x="4763007" y="5524775"/>
                </a:cubicBezTo>
                <a:cubicBezTo>
                  <a:pt x="4757877" y="5511951"/>
                  <a:pt x="4757877" y="5499126"/>
                  <a:pt x="4757877" y="5488866"/>
                </a:cubicBezTo>
                <a:cubicBezTo>
                  <a:pt x="4765572" y="5481172"/>
                  <a:pt x="4778397" y="5481172"/>
                  <a:pt x="4788656" y="5476042"/>
                </a:cubicBezTo>
                <a:cubicBezTo>
                  <a:pt x="4791221" y="5468347"/>
                  <a:pt x="4791221" y="5465783"/>
                  <a:pt x="4796351" y="5458088"/>
                </a:cubicBezTo>
                <a:cubicBezTo>
                  <a:pt x="4793786" y="5452958"/>
                  <a:pt x="4786091" y="5458088"/>
                  <a:pt x="4780962" y="5458088"/>
                </a:cubicBezTo>
                <a:cubicBezTo>
                  <a:pt x="4783526" y="5452958"/>
                  <a:pt x="4786091" y="5450393"/>
                  <a:pt x="4780962" y="5447828"/>
                </a:cubicBezTo>
                <a:cubicBezTo>
                  <a:pt x="4763007" y="5450393"/>
                  <a:pt x="4768137" y="5476042"/>
                  <a:pt x="4752748" y="5481172"/>
                </a:cubicBezTo>
                <a:cubicBezTo>
                  <a:pt x="4755313" y="5476042"/>
                  <a:pt x="4752748" y="5470912"/>
                  <a:pt x="4750183" y="5468347"/>
                </a:cubicBezTo>
                <a:cubicBezTo>
                  <a:pt x="4757877" y="5460653"/>
                  <a:pt x="4768137" y="5458088"/>
                  <a:pt x="4770702" y="5447828"/>
                </a:cubicBezTo>
                <a:cubicBezTo>
                  <a:pt x="4770702" y="5445263"/>
                  <a:pt x="4765572" y="5447828"/>
                  <a:pt x="4763007" y="5447828"/>
                </a:cubicBezTo>
                <a:cubicBezTo>
                  <a:pt x="4768137" y="5440134"/>
                  <a:pt x="4773267" y="5435004"/>
                  <a:pt x="4773267" y="5424744"/>
                </a:cubicBezTo>
                <a:cubicBezTo>
                  <a:pt x="4770702" y="5419614"/>
                  <a:pt x="4765572" y="5419614"/>
                  <a:pt x="4757877" y="5419614"/>
                </a:cubicBezTo>
                <a:cubicBezTo>
                  <a:pt x="4755313" y="5393965"/>
                  <a:pt x="4757877" y="5373446"/>
                  <a:pt x="4757877" y="5350362"/>
                </a:cubicBezTo>
                <a:cubicBezTo>
                  <a:pt x="4773267" y="5347797"/>
                  <a:pt x="4788656" y="5352927"/>
                  <a:pt x="4804046" y="5355492"/>
                </a:cubicBezTo>
                <a:cubicBezTo>
                  <a:pt x="4804046" y="5345233"/>
                  <a:pt x="4793786" y="5345233"/>
                  <a:pt x="4786091" y="5342668"/>
                </a:cubicBezTo>
                <a:cubicBezTo>
                  <a:pt x="4791221" y="5337538"/>
                  <a:pt x="4796351" y="5334973"/>
                  <a:pt x="4796351" y="5327278"/>
                </a:cubicBezTo>
                <a:cubicBezTo>
                  <a:pt x="4791221" y="5322148"/>
                  <a:pt x="4788656" y="5324713"/>
                  <a:pt x="4780962" y="5324713"/>
                </a:cubicBezTo>
                <a:cubicBezTo>
                  <a:pt x="4780962" y="5319584"/>
                  <a:pt x="4788656" y="5322148"/>
                  <a:pt x="4791221" y="5317019"/>
                </a:cubicBezTo>
                <a:cubicBezTo>
                  <a:pt x="4788656" y="5311889"/>
                  <a:pt x="4775832" y="5317019"/>
                  <a:pt x="4773267" y="5314454"/>
                </a:cubicBezTo>
                <a:cubicBezTo>
                  <a:pt x="4775832" y="5309324"/>
                  <a:pt x="4780962" y="5309324"/>
                  <a:pt x="4780962" y="5304194"/>
                </a:cubicBezTo>
                <a:cubicBezTo>
                  <a:pt x="4770702" y="5299064"/>
                  <a:pt x="4768137" y="5311889"/>
                  <a:pt x="4760442" y="5311889"/>
                </a:cubicBezTo>
                <a:cubicBezTo>
                  <a:pt x="4768137" y="5301629"/>
                  <a:pt x="4763007" y="5288805"/>
                  <a:pt x="4763007" y="5278545"/>
                </a:cubicBezTo>
                <a:cubicBezTo>
                  <a:pt x="4757877" y="5281110"/>
                  <a:pt x="4757877" y="5286240"/>
                  <a:pt x="4755313" y="5288805"/>
                </a:cubicBezTo>
                <a:cubicBezTo>
                  <a:pt x="4752748" y="5281110"/>
                  <a:pt x="4757877" y="5278545"/>
                  <a:pt x="4755313" y="5270851"/>
                </a:cubicBezTo>
                <a:cubicBezTo>
                  <a:pt x="4757877" y="5260591"/>
                  <a:pt x="4775832" y="5250331"/>
                  <a:pt x="4770702" y="5240072"/>
                </a:cubicBezTo>
                <a:cubicBezTo>
                  <a:pt x="4765572" y="5242637"/>
                  <a:pt x="4765572" y="5250331"/>
                  <a:pt x="4763007" y="5252896"/>
                </a:cubicBezTo>
                <a:cubicBezTo>
                  <a:pt x="4760442" y="5247767"/>
                  <a:pt x="4768137" y="5229812"/>
                  <a:pt x="4757877" y="5224682"/>
                </a:cubicBezTo>
                <a:cubicBezTo>
                  <a:pt x="4750183" y="5222118"/>
                  <a:pt x="4752748" y="5232377"/>
                  <a:pt x="4747618" y="5232377"/>
                </a:cubicBezTo>
                <a:cubicBezTo>
                  <a:pt x="4750183" y="5211858"/>
                  <a:pt x="4742488" y="5191339"/>
                  <a:pt x="4752748" y="5173385"/>
                </a:cubicBezTo>
                <a:cubicBezTo>
                  <a:pt x="4750183" y="5168255"/>
                  <a:pt x="4750183" y="5170820"/>
                  <a:pt x="4745053" y="5170820"/>
                </a:cubicBezTo>
                <a:cubicBezTo>
                  <a:pt x="4742488" y="5157995"/>
                  <a:pt x="4739923" y="5152866"/>
                  <a:pt x="4739923" y="5140041"/>
                </a:cubicBezTo>
                <a:cubicBezTo>
                  <a:pt x="4750183" y="5137476"/>
                  <a:pt x="4763007" y="5137476"/>
                  <a:pt x="4770702" y="5134911"/>
                </a:cubicBezTo>
                <a:cubicBezTo>
                  <a:pt x="4763007" y="5132346"/>
                  <a:pt x="4752748" y="5134911"/>
                  <a:pt x="4739923" y="5134911"/>
                </a:cubicBezTo>
                <a:cubicBezTo>
                  <a:pt x="4724534" y="5083613"/>
                  <a:pt x="4747618" y="5052835"/>
                  <a:pt x="4760442" y="5014361"/>
                </a:cubicBezTo>
                <a:cubicBezTo>
                  <a:pt x="4765572" y="5001537"/>
                  <a:pt x="4765572" y="4988712"/>
                  <a:pt x="4778397" y="4983583"/>
                </a:cubicBezTo>
                <a:cubicBezTo>
                  <a:pt x="4783526" y="4986148"/>
                  <a:pt x="4788656" y="4983583"/>
                  <a:pt x="4788656" y="4988712"/>
                </a:cubicBezTo>
                <a:cubicBezTo>
                  <a:pt x="4793786" y="4983583"/>
                  <a:pt x="4783526" y="4975888"/>
                  <a:pt x="4775832" y="4978453"/>
                </a:cubicBezTo>
                <a:cubicBezTo>
                  <a:pt x="4775832" y="4968193"/>
                  <a:pt x="4788656" y="4975888"/>
                  <a:pt x="4786091" y="4965628"/>
                </a:cubicBezTo>
                <a:cubicBezTo>
                  <a:pt x="4793786" y="4965628"/>
                  <a:pt x="4811740" y="4965628"/>
                  <a:pt x="4811740" y="4955369"/>
                </a:cubicBezTo>
                <a:cubicBezTo>
                  <a:pt x="4822000" y="4952804"/>
                  <a:pt x="4829694" y="4947674"/>
                  <a:pt x="4834824" y="4939980"/>
                </a:cubicBezTo>
                <a:cubicBezTo>
                  <a:pt x="4822000" y="4932285"/>
                  <a:pt x="4809175" y="4947674"/>
                  <a:pt x="4798916" y="4942544"/>
                </a:cubicBezTo>
                <a:cubicBezTo>
                  <a:pt x="4798916" y="4932285"/>
                  <a:pt x="4806611" y="4924590"/>
                  <a:pt x="4804046" y="4916895"/>
                </a:cubicBezTo>
                <a:cubicBezTo>
                  <a:pt x="4783526" y="4919460"/>
                  <a:pt x="4788656" y="4945109"/>
                  <a:pt x="4775832" y="4955369"/>
                </a:cubicBezTo>
                <a:cubicBezTo>
                  <a:pt x="4778397" y="4942544"/>
                  <a:pt x="4773267" y="4932285"/>
                  <a:pt x="4773267" y="4919460"/>
                </a:cubicBezTo>
                <a:cubicBezTo>
                  <a:pt x="4763007" y="4932285"/>
                  <a:pt x="4768137" y="4963063"/>
                  <a:pt x="4765572" y="4981018"/>
                </a:cubicBezTo>
                <a:cubicBezTo>
                  <a:pt x="4757877" y="4981018"/>
                  <a:pt x="4757877" y="4968193"/>
                  <a:pt x="4763007" y="4965628"/>
                </a:cubicBezTo>
                <a:cubicBezTo>
                  <a:pt x="4757877" y="4952804"/>
                  <a:pt x="4765572" y="4932285"/>
                  <a:pt x="4765572" y="4914331"/>
                </a:cubicBezTo>
                <a:cubicBezTo>
                  <a:pt x="4768137" y="4909201"/>
                  <a:pt x="4775832" y="4909201"/>
                  <a:pt x="4775832" y="4901506"/>
                </a:cubicBezTo>
                <a:cubicBezTo>
                  <a:pt x="4775832" y="4893811"/>
                  <a:pt x="4765572" y="4901506"/>
                  <a:pt x="4765572" y="4898941"/>
                </a:cubicBezTo>
                <a:cubicBezTo>
                  <a:pt x="4763007" y="4893811"/>
                  <a:pt x="4763007" y="4886117"/>
                  <a:pt x="4763007" y="4878422"/>
                </a:cubicBezTo>
                <a:cubicBezTo>
                  <a:pt x="4770702" y="4878422"/>
                  <a:pt x="4773267" y="4878422"/>
                  <a:pt x="4775832" y="4873292"/>
                </a:cubicBezTo>
                <a:cubicBezTo>
                  <a:pt x="4775832" y="4863033"/>
                  <a:pt x="4765572" y="4863033"/>
                  <a:pt x="4760442" y="4860468"/>
                </a:cubicBezTo>
                <a:cubicBezTo>
                  <a:pt x="4760442" y="4847643"/>
                  <a:pt x="4755313" y="4827124"/>
                  <a:pt x="4763007" y="4819430"/>
                </a:cubicBezTo>
                <a:cubicBezTo>
                  <a:pt x="4768137" y="4821994"/>
                  <a:pt x="4773267" y="4819430"/>
                  <a:pt x="4775832" y="4821994"/>
                </a:cubicBezTo>
                <a:cubicBezTo>
                  <a:pt x="4778397" y="4819430"/>
                  <a:pt x="4778397" y="4816865"/>
                  <a:pt x="4780962" y="4816865"/>
                </a:cubicBezTo>
                <a:cubicBezTo>
                  <a:pt x="4775832" y="4804040"/>
                  <a:pt x="4763007" y="4793781"/>
                  <a:pt x="4750183" y="4793781"/>
                </a:cubicBezTo>
                <a:cubicBezTo>
                  <a:pt x="4752748" y="4783521"/>
                  <a:pt x="4770702" y="4796345"/>
                  <a:pt x="4775832" y="4791216"/>
                </a:cubicBezTo>
                <a:cubicBezTo>
                  <a:pt x="4773267" y="4786086"/>
                  <a:pt x="4768137" y="4780956"/>
                  <a:pt x="4770702" y="4775826"/>
                </a:cubicBezTo>
                <a:cubicBezTo>
                  <a:pt x="4760442" y="4775826"/>
                  <a:pt x="4755313" y="4778391"/>
                  <a:pt x="4747618" y="4780956"/>
                </a:cubicBezTo>
                <a:cubicBezTo>
                  <a:pt x="4742488" y="4757872"/>
                  <a:pt x="4734793" y="4737353"/>
                  <a:pt x="4732228" y="4709139"/>
                </a:cubicBezTo>
                <a:cubicBezTo>
                  <a:pt x="4739923" y="4711704"/>
                  <a:pt x="4747618" y="4711704"/>
                  <a:pt x="4752748" y="4706574"/>
                </a:cubicBezTo>
                <a:cubicBezTo>
                  <a:pt x="4750183" y="4721964"/>
                  <a:pt x="4747618" y="4745048"/>
                  <a:pt x="4763007" y="4752742"/>
                </a:cubicBezTo>
                <a:cubicBezTo>
                  <a:pt x="4778397" y="4742483"/>
                  <a:pt x="4768137" y="4711704"/>
                  <a:pt x="4755313" y="4704009"/>
                </a:cubicBezTo>
                <a:cubicBezTo>
                  <a:pt x="4760442" y="4698879"/>
                  <a:pt x="4765572" y="4704009"/>
                  <a:pt x="4773267" y="4701444"/>
                </a:cubicBezTo>
                <a:cubicBezTo>
                  <a:pt x="4778397" y="4711704"/>
                  <a:pt x="4780962" y="4724528"/>
                  <a:pt x="4793786" y="4727093"/>
                </a:cubicBezTo>
                <a:cubicBezTo>
                  <a:pt x="4798916" y="4716834"/>
                  <a:pt x="4788656" y="4698879"/>
                  <a:pt x="4775832" y="4698879"/>
                </a:cubicBezTo>
                <a:cubicBezTo>
                  <a:pt x="4780962" y="4693750"/>
                  <a:pt x="4788656" y="4704009"/>
                  <a:pt x="4796351" y="4704009"/>
                </a:cubicBezTo>
                <a:cubicBezTo>
                  <a:pt x="4809175" y="4704009"/>
                  <a:pt x="4822000" y="4701444"/>
                  <a:pt x="4827130" y="4691185"/>
                </a:cubicBezTo>
                <a:cubicBezTo>
                  <a:pt x="4819435" y="4680925"/>
                  <a:pt x="4809175" y="4683490"/>
                  <a:pt x="4793786" y="4680925"/>
                </a:cubicBezTo>
                <a:cubicBezTo>
                  <a:pt x="4798916" y="4675795"/>
                  <a:pt x="4804046" y="4670666"/>
                  <a:pt x="4806611" y="4665536"/>
                </a:cubicBezTo>
                <a:cubicBezTo>
                  <a:pt x="4798916" y="4660406"/>
                  <a:pt x="4801481" y="4657841"/>
                  <a:pt x="4801481" y="4650147"/>
                </a:cubicBezTo>
                <a:cubicBezTo>
                  <a:pt x="4788656" y="4650147"/>
                  <a:pt x="4775832" y="4657841"/>
                  <a:pt x="4768137" y="4665536"/>
                </a:cubicBezTo>
                <a:cubicBezTo>
                  <a:pt x="4765572" y="4662971"/>
                  <a:pt x="4763007" y="4657841"/>
                  <a:pt x="4760442" y="4655276"/>
                </a:cubicBezTo>
                <a:cubicBezTo>
                  <a:pt x="4747618" y="4657841"/>
                  <a:pt x="4752748" y="4673230"/>
                  <a:pt x="4755313" y="4680925"/>
                </a:cubicBezTo>
                <a:cubicBezTo>
                  <a:pt x="4750183" y="4680925"/>
                  <a:pt x="4750183" y="4686055"/>
                  <a:pt x="4747618" y="4680925"/>
                </a:cubicBezTo>
                <a:cubicBezTo>
                  <a:pt x="4742488" y="4680925"/>
                  <a:pt x="4747618" y="4688620"/>
                  <a:pt x="4742488" y="4688620"/>
                </a:cubicBezTo>
                <a:cubicBezTo>
                  <a:pt x="4737359" y="4688620"/>
                  <a:pt x="4734793" y="4686055"/>
                  <a:pt x="4732228" y="4686055"/>
                </a:cubicBezTo>
                <a:cubicBezTo>
                  <a:pt x="4734793" y="4673230"/>
                  <a:pt x="4719404" y="4665536"/>
                  <a:pt x="4714274" y="4665536"/>
                </a:cubicBezTo>
                <a:cubicBezTo>
                  <a:pt x="4716839" y="4652712"/>
                  <a:pt x="4724534" y="4639887"/>
                  <a:pt x="4721969" y="4627063"/>
                </a:cubicBezTo>
                <a:cubicBezTo>
                  <a:pt x="4714274" y="4627063"/>
                  <a:pt x="4714274" y="4634757"/>
                  <a:pt x="4709145" y="4632192"/>
                </a:cubicBezTo>
                <a:cubicBezTo>
                  <a:pt x="4701450" y="4591154"/>
                  <a:pt x="4691190" y="4552681"/>
                  <a:pt x="4680931" y="4514207"/>
                </a:cubicBezTo>
                <a:cubicBezTo>
                  <a:pt x="4696320" y="4516772"/>
                  <a:pt x="4709145" y="4509077"/>
                  <a:pt x="4716839" y="4501383"/>
                </a:cubicBezTo>
                <a:cubicBezTo>
                  <a:pt x="4716839" y="4480863"/>
                  <a:pt x="4696320" y="4478299"/>
                  <a:pt x="4678366" y="4480863"/>
                </a:cubicBezTo>
                <a:cubicBezTo>
                  <a:pt x="4675801" y="4462909"/>
                  <a:pt x="4683496" y="4450085"/>
                  <a:pt x="4696320" y="4447520"/>
                </a:cubicBezTo>
                <a:cubicBezTo>
                  <a:pt x="4696320" y="4439825"/>
                  <a:pt x="4688625" y="4444955"/>
                  <a:pt x="4688625" y="4439825"/>
                </a:cubicBezTo>
                <a:cubicBezTo>
                  <a:pt x="4706579" y="4416741"/>
                  <a:pt x="4739923" y="4444955"/>
                  <a:pt x="4755313" y="4419306"/>
                </a:cubicBezTo>
                <a:cubicBezTo>
                  <a:pt x="4747618" y="4401352"/>
                  <a:pt x="4721969" y="4419306"/>
                  <a:pt x="4709145" y="4414176"/>
                </a:cubicBezTo>
                <a:cubicBezTo>
                  <a:pt x="4716839" y="4401352"/>
                  <a:pt x="4739923" y="4403917"/>
                  <a:pt x="4750183" y="4396222"/>
                </a:cubicBezTo>
                <a:cubicBezTo>
                  <a:pt x="4742488" y="4391092"/>
                  <a:pt x="4732228" y="4396222"/>
                  <a:pt x="4721969" y="4398787"/>
                </a:cubicBezTo>
                <a:cubicBezTo>
                  <a:pt x="4729664" y="4391092"/>
                  <a:pt x="4739923" y="4383398"/>
                  <a:pt x="4737359" y="4370573"/>
                </a:cubicBezTo>
                <a:cubicBezTo>
                  <a:pt x="4724534" y="4370573"/>
                  <a:pt x="4724534" y="4385963"/>
                  <a:pt x="4711710" y="4383398"/>
                </a:cubicBezTo>
                <a:cubicBezTo>
                  <a:pt x="4704015" y="4388528"/>
                  <a:pt x="4706579" y="4401352"/>
                  <a:pt x="4698885" y="4406482"/>
                </a:cubicBezTo>
                <a:cubicBezTo>
                  <a:pt x="4688625" y="4396222"/>
                  <a:pt x="4696320" y="4383398"/>
                  <a:pt x="4701450" y="4370573"/>
                </a:cubicBezTo>
                <a:cubicBezTo>
                  <a:pt x="4709145" y="4352619"/>
                  <a:pt x="4709145" y="4337230"/>
                  <a:pt x="4719404" y="4326970"/>
                </a:cubicBezTo>
                <a:cubicBezTo>
                  <a:pt x="4698885" y="4329535"/>
                  <a:pt x="4698885" y="4360314"/>
                  <a:pt x="4691190" y="4375703"/>
                </a:cubicBezTo>
                <a:cubicBezTo>
                  <a:pt x="4686061" y="4373138"/>
                  <a:pt x="4688625" y="4365443"/>
                  <a:pt x="4688625" y="4360314"/>
                </a:cubicBezTo>
                <a:cubicBezTo>
                  <a:pt x="4680931" y="4375703"/>
                  <a:pt x="4678366" y="4398787"/>
                  <a:pt x="4668106" y="4411611"/>
                </a:cubicBezTo>
                <a:cubicBezTo>
                  <a:pt x="4665541" y="4398787"/>
                  <a:pt x="4665541" y="4383398"/>
                  <a:pt x="4662976" y="4373138"/>
                </a:cubicBezTo>
                <a:cubicBezTo>
                  <a:pt x="4660412" y="4365443"/>
                  <a:pt x="4657847" y="4357749"/>
                  <a:pt x="4655282" y="4350054"/>
                </a:cubicBezTo>
                <a:cubicBezTo>
                  <a:pt x="4652717" y="4337230"/>
                  <a:pt x="4655282" y="4324405"/>
                  <a:pt x="4652717" y="4311581"/>
                </a:cubicBezTo>
                <a:cubicBezTo>
                  <a:pt x="4647587" y="4278237"/>
                  <a:pt x="4637327" y="4244893"/>
                  <a:pt x="4650152" y="4221810"/>
                </a:cubicBezTo>
                <a:cubicBezTo>
                  <a:pt x="4650152" y="4216680"/>
                  <a:pt x="4645022" y="4219244"/>
                  <a:pt x="4642457" y="4216680"/>
                </a:cubicBezTo>
                <a:cubicBezTo>
                  <a:pt x="4642457" y="4196161"/>
                  <a:pt x="4629633" y="4183336"/>
                  <a:pt x="4634763" y="4165382"/>
                </a:cubicBezTo>
                <a:cubicBezTo>
                  <a:pt x="4645022" y="4165382"/>
                  <a:pt x="4655282" y="4167947"/>
                  <a:pt x="4660412" y="4160252"/>
                </a:cubicBezTo>
                <a:cubicBezTo>
                  <a:pt x="4650152" y="4155122"/>
                  <a:pt x="4642457" y="4157687"/>
                  <a:pt x="4634763" y="4162817"/>
                </a:cubicBezTo>
                <a:cubicBezTo>
                  <a:pt x="4639893" y="4152557"/>
                  <a:pt x="4657847" y="4147427"/>
                  <a:pt x="4655282" y="4134603"/>
                </a:cubicBezTo>
                <a:cubicBezTo>
                  <a:pt x="4645022" y="4137168"/>
                  <a:pt x="4642457" y="4147427"/>
                  <a:pt x="4637327" y="4147427"/>
                </a:cubicBezTo>
                <a:cubicBezTo>
                  <a:pt x="4632198" y="4139733"/>
                  <a:pt x="4632198" y="4129473"/>
                  <a:pt x="4624503" y="4124343"/>
                </a:cubicBezTo>
                <a:cubicBezTo>
                  <a:pt x="4616808" y="4134603"/>
                  <a:pt x="4627068" y="4142298"/>
                  <a:pt x="4624503" y="4155122"/>
                </a:cubicBezTo>
                <a:cubicBezTo>
                  <a:pt x="4619373" y="4152557"/>
                  <a:pt x="4619373" y="4147427"/>
                  <a:pt x="4611679" y="4147427"/>
                </a:cubicBezTo>
                <a:cubicBezTo>
                  <a:pt x="4606549" y="4147427"/>
                  <a:pt x="4609114" y="4152557"/>
                  <a:pt x="4606549" y="4152557"/>
                </a:cubicBezTo>
                <a:cubicBezTo>
                  <a:pt x="4609114" y="4157687"/>
                  <a:pt x="4614244" y="4160252"/>
                  <a:pt x="4621938" y="4160252"/>
                </a:cubicBezTo>
                <a:cubicBezTo>
                  <a:pt x="4619373" y="4165382"/>
                  <a:pt x="4624503" y="4170512"/>
                  <a:pt x="4619373" y="4178206"/>
                </a:cubicBezTo>
                <a:cubicBezTo>
                  <a:pt x="4632198" y="4191031"/>
                  <a:pt x="4632198" y="4216680"/>
                  <a:pt x="4634763" y="4237199"/>
                </a:cubicBezTo>
                <a:cubicBezTo>
                  <a:pt x="4634763" y="4244893"/>
                  <a:pt x="4632198" y="4234634"/>
                  <a:pt x="4627068" y="4237199"/>
                </a:cubicBezTo>
                <a:cubicBezTo>
                  <a:pt x="4624503" y="4247458"/>
                  <a:pt x="4632198" y="4250023"/>
                  <a:pt x="4634763" y="4255153"/>
                </a:cubicBezTo>
                <a:cubicBezTo>
                  <a:pt x="4642457" y="4283367"/>
                  <a:pt x="4642457" y="4316710"/>
                  <a:pt x="4645022" y="4347489"/>
                </a:cubicBezTo>
                <a:cubicBezTo>
                  <a:pt x="4647587" y="4360314"/>
                  <a:pt x="4655282" y="4370573"/>
                  <a:pt x="4655282" y="4380833"/>
                </a:cubicBezTo>
                <a:cubicBezTo>
                  <a:pt x="4652717" y="4388528"/>
                  <a:pt x="4647587" y="4393657"/>
                  <a:pt x="4645022" y="4398787"/>
                </a:cubicBezTo>
                <a:cubicBezTo>
                  <a:pt x="4639893" y="4406482"/>
                  <a:pt x="4642457" y="4409047"/>
                  <a:pt x="4637327" y="4414176"/>
                </a:cubicBezTo>
                <a:cubicBezTo>
                  <a:pt x="4629633" y="4416741"/>
                  <a:pt x="4624503" y="4409047"/>
                  <a:pt x="4619373" y="4409047"/>
                </a:cubicBezTo>
                <a:cubicBezTo>
                  <a:pt x="4603984" y="4411611"/>
                  <a:pt x="4591159" y="4427001"/>
                  <a:pt x="4586030" y="4437260"/>
                </a:cubicBezTo>
                <a:cubicBezTo>
                  <a:pt x="4580900" y="4437260"/>
                  <a:pt x="4578335" y="4434696"/>
                  <a:pt x="4575770" y="4432131"/>
                </a:cubicBezTo>
                <a:cubicBezTo>
                  <a:pt x="4562946" y="4444955"/>
                  <a:pt x="4588595" y="4457780"/>
                  <a:pt x="4583465" y="4470604"/>
                </a:cubicBezTo>
                <a:cubicBezTo>
                  <a:pt x="4588595" y="4473169"/>
                  <a:pt x="4588595" y="4478299"/>
                  <a:pt x="4593724" y="4478299"/>
                </a:cubicBezTo>
                <a:cubicBezTo>
                  <a:pt x="4591159" y="4480863"/>
                  <a:pt x="4591159" y="4485994"/>
                  <a:pt x="4588595" y="4488558"/>
                </a:cubicBezTo>
                <a:cubicBezTo>
                  <a:pt x="4573205" y="4473169"/>
                  <a:pt x="4519343" y="4447520"/>
                  <a:pt x="4501388" y="4478299"/>
                </a:cubicBezTo>
                <a:cubicBezTo>
                  <a:pt x="4511648" y="4503948"/>
                  <a:pt x="4565510" y="4509077"/>
                  <a:pt x="4588595" y="4498818"/>
                </a:cubicBezTo>
                <a:cubicBezTo>
                  <a:pt x="4588595" y="4503948"/>
                  <a:pt x="4583465" y="4503948"/>
                  <a:pt x="4583465" y="4506512"/>
                </a:cubicBezTo>
                <a:cubicBezTo>
                  <a:pt x="4583465" y="4514207"/>
                  <a:pt x="4593724" y="4514207"/>
                  <a:pt x="4598854" y="4516772"/>
                </a:cubicBezTo>
                <a:cubicBezTo>
                  <a:pt x="4588595" y="4562940"/>
                  <a:pt x="4568075" y="4593719"/>
                  <a:pt x="4550121" y="4632192"/>
                </a:cubicBezTo>
                <a:cubicBezTo>
                  <a:pt x="4544992" y="4632192"/>
                  <a:pt x="4547556" y="4624498"/>
                  <a:pt x="4539861" y="4627063"/>
                </a:cubicBezTo>
                <a:cubicBezTo>
                  <a:pt x="4537297" y="4627063"/>
                  <a:pt x="4537297" y="4629627"/>
                  <a:pt x="4534732" y="4629627"/>
                </a:cubicBezTo>
                <a:cubicBezTo>
                  <a:pt x="4534732" y="4637322"/>
                  <a:pt x="4537297" y="4639887"/>
                  <a:pt x="4539861" y="4642452"/>
                </a:cubicBezTo>
                <a:cubicBezTo>
                  <a:pt x="4529602" y="4698879"/>
                  <a:pt x="4514213" y="4747613"/>
                  <a:pt x="4496258" y="4796345"/>
                </a:cubicBezTo>
                <a:cubicBezTo>
                  <a:pt x="4491129" y="4798910"/>
                  <a:pt x="4488564" y="4801475"/>
                  <a:pt x="4485999" y="4804040"/>
                </a:cubicBezTo>
                <a:cubicBezTo>
                  <a:pt x="4483434" y="4837384"/>
                  <a:pt x="4475739" y="4878422"/>
                  <a:pt x="4462915" y="4909201"/>
                </a:cubicBezTo>
                <a:cubicBezTo>
                  <a:pt x="4457785" y="4911766"/>
                  <a:pt x="4457785" y="4906636"/>
                  <a:pt x="4452655" y="4906636"/>
                </a:cubicBezTo>
                <a:cubicBezTo>
                  <a:pt x="4452655" y="4914331"/>
                  <a:pt x="4460350" y="4922025"/>
                  <a:pt x="4457785" y="4932285"/>
                </a:cubicBezTo>
                <a:cubicBezTo>
                  <a:pt x="4429571" y="4942544"/>
                  <a:pt x="4414182" y="4965628"/>
                  <a:pt x="4406487" y="4993842"/>
                </a:cubicBezTo>
                <a:cubicBezTo>
                  <a:pt x="4398792" y="4993842"/>
                  <a:pt x="4393663" y="4998972"/>
                  <a:pt x="4385968" y="5001537"/>
                </a:cubicBezTo>
                <a:cubicBezTo>
                  <a:pt x="4383403" y="5001537"/>
                  <a:pt x="4380838" y="4998972"/>
                  <a:pt x="4378273" y="4998972"/>
                </a:cubicBezTo>
                <a:cubicBezTo>
                  <a:pt x="4370579" y="5001537"/>
                  <a:pt x="4368014" y="5009232"/>
                  <a:pt x="4360319" y="4998972"/>
                </a:cubicBezTo>
                <a:cubicBezTo>
                  <a:pt x="4360319" y="4991277"/>
                  <a:pt x="4365449" y="4991277"/>
                  <a:pt x="4368014" y="4988712"/>
                </a:cubicBezTo>
                <a:cubicBezTo>
                  <a:pt x="4365449" y="4983583"/>
                  <a:pt x="4368014" y="4978453"/>
                  <a:pt x="4362884" y="4975888"/>
                </a:cubicBezTo>
                <a:cubicBezTo>
                  <a:pt x="4378273" y="4952804"/>
                  <a:pt x="4421877" y="4932285"/>
                  <a:pt x="4419312" y="4898941"/>
                </a:cubicBezTo>
                <a:cubicBezTo>
                  <a:pt x="4398792" y="4904071"/>
                  <a:pt x="4385968" y="4924590"/>
                  <a:pt x="4373143" y="4929720"/>
                </a:cubicBezTo>
                <a:cubicBezTo>
                  <a:pt x="4378273" y="4911766"/>
                  <a:pt x="4373143" y="4845079"/>
                  <a:pt x="4350060" y="4845079"/>
                </a:cubicBezTo>
                <a:cubicBezTo>
                  <a:pt x="4332105" y="4847643"/>
                  <a:pt x="4329540" y="4898941"/>
                  <a:pt x="4329540" y="4924590"/>
                </a:cubicBezTo>
                <a:cubicBezTo>
                  <a:pt x="4321846" y="4919460"/>
                  <a:pt x="4321846" y="4906636"/>
                  <a:pt x="4309021" y="4906636"/>
                </a:cubicBezTo>
                <a:cubicBezTo>
                  <a:pt x="4303891" y="4911766"/>
                  <a:pt x="4306456" y="4919460"/>
                  <a:pt x="4306456" y="4924590"/>
                </a:cubicBezTo>
                <a:cubicBezTo>
                  <a:pt x="4291067" y="4914331"/>
                  <a:pt x="4275678" y="4901506"/>
                  <a:pt x="4252594" y="4896376"/>
                </a:cubicBezTo>
                <a:cubicBezTo>
                  <a:pt x="4250029" y="4896376"/>
                  <a:pt x="4250029" y="4898941"/>
                  <a:pt x="4247464" y="4898941"/>
                </a:cubicBezTo>
                <a:cubicBezTo>
                  <a:pt x="4260288" y="4937414"/>
                  <a:pt x="4296197" y="4950239"/>
                  <a:pt x="4321846" y="4973323"/>
                </a:cubicBezTo>
                <a:cubicBezTo>
                  <a:pt x="4324411" y="4975888"/>
                  <a:pt x="4316716" y="4978453"/>
                  <a:pt x="4321846" y="4981018"/>
                </a:cubicBezTo>
                <a:cubicBezTo>
                  <a:pt x="4324411" y="4983583"/>
                  <a:pt x="4329540" y="4983583"/>
                  <a:pt x="4334670" y="4983583"/>
                </a:cubicBezTo>
                <a:cubicBezTo>
                  <a:pt x="4332105" y="4986148"/>
                  <a:pt x="4326976" y="4986148"/>
                  <a:pt x="4321846" y="4986148"/>
                </a:cubicBezTo>
                <a:cubicBezTo>
                  <a:pt x="4321846" y="4991277"/>
                  <a:pt x="4321846" y="4993842"/>
                  <a:pt x="4324411" y="4993842"/>
                </a:cubicBezTo>
                <a:cubicBezTo>
                  <a:pt x="4311586" y="4988712"/>
                  <a:pt x="4303891" y="4970758"/>
                  <a:pt x="4293632" y="4960499"/>
                </a:cubicBezTo>
                <a:cubicBezTo>
                  <a:pt x="4267983" y="4942544"/>
                  <a:pt x="4239769" y="4919460"/>
                  <a:pt x="4201296" y="4924590"/>
                </a:cubicBezTo>
                <a:cubicBezTo>
                  <a:pt x="4201296" y="4945109"/>
                  <a:pt x="4211555" y="4957934"/>
                  <a:pt x="4221815" y="4968193"/>
                </a:cubicBezTo>
                <a:cubicBezTo>
                  <a:pt x="4232074" y="4975888"/>
                  <a:pt x="4242334" y="4978453"/>
                  <a:pt x="4250029" y="4986148"/>
                </a:cubicBezTo>
                <a:cubicBezTo>
                  <a:pt x="4252594" y="4991277"/>
                  <a:pt x="4255159" y="4996407"/>
                  <a:pt x="4257723" y="4998972"/>
                </a:cubicBezTo>
                <a:cubicBezTo>
                  <a:pt x="4265418" y="5004102"/>
                  <a:pt x="4270548" y="5001537"/>
                  <a:pt x="4278242" y="5004102"/>
                </a:cubicBezTo>
                <a:cubicBezTo>
                  <a:pt x="4301327" y="5009232"/>
                  <a:pt x="4324411" y="5022056"/>
                  <a:pt x="4342365" y="5029751"/>
                </a:cubicBezTo>
                <a:cubicBezTo>
                  <a:pt x="4339800" y="5034880"/>
                  <a:pt x="4339800" y="5037446"/>
                  <a:pt x="4342365" y="5040010"/>
                </a:cubicBezTo>
                <a:cubicBezTo>
                  <a:pt x="4347494" y="5042575"/>
                  <a:pt x="4352625" y="5040010"/>
                  <a:pt x="4357754" y="5040010"/>
                </a:cubicBezTo>
                <a:cubicBezTo>
                  <a:pt x="4362884" y="5045140"/>
                  <a:pt x="4368014" y="5047705"/>
                  <a:pt x="4370579" y="5055400"/>
                </a:cubicBezTo>
                <a:cubicBezTo>
                  <a:pt x="4365449" y="5052835"/>
                  <a:pt x="4357754" y="5055400"/>
                  <a:pt x="4355189" y="5057964"/>
                </a:cubicBezTo>
                <a:cubicBezTo>
                  <a:pt x="4357754" y="5065659"/>
                  <a:pt x="4362884" y="5068224"/>
                  <a:pt x="4370579" y="5068224"/>
                </a:cubicBezTo>
                <a:cubicBezTo>
                  <a:pt x="4360319" y="5070789"/>
                  <a:pt x="4350060" y="5075919"/>
                  <a:pt x="4337235" y="5073354"/>
                </a:cubicBezTo>
                <a:cubicBezTo>
                  <a:pt x="4332105" y="5073354"/>
                  <a:pt x="4326976" y="5065659"/>
                  <a:pt x="4319281" y="5065659"/>
                </a:cubicBezTo>
                <a:cubicBezTo>
                  <a:pt x="4291067" y="5060529"/>
                  <a:pt x="4260288" y="5073354"/>
                  <a:pt x="4265418" y="5101568"/>
                </a:cubicBezTo>
                <a:cubicBezTo>
                  <a:pt x="4275678" y="5106698"/>
                  <a:pt x="4283372" y="5109262"/>
                  <a:pt x="4291067" y="5109262"/>
                </a:cubicBezTo>
                <a:cubicBezTo>
                  <a:pt x="4301327" y="5109262"/>
                  <a:pt x="4309021" y="5104132"/>
                  <a:pt x="4319281" y="5099003"/>
                </a:cubicBezTo>
                <a:cubicBezTo>
                  <a:pt x="4329540" y="5091308"/>
                  <a:pt x="4347494" y="5091308"/>
                  <a:pt x="4350060" y="5078484"/>
                </a:cubicBezTo>
                <a:cubicBezTo>
                  <a:pt x="4360319" y="5078484"/>
                  <a:pt x="4365449" y="5073354"/>
                  <a:pt x="4378273" y="5073354"/>
                </a:cubicBezTo>
                <a:cubicBezTo>
                  <a:pt x="4375708" y="5081049"/>
                  <a:pt x="4378273" y="5088743"/>
                  <a:pt x="4380838" y="5093873"/>
                </a:cubicBezTo>
                <a:cubicBezTo>
                  <a:pt x="4373143" y="5093873"/>
                  <a:pt x="4373143" y="5099003"/>
                  <a:pt x="4370579" y="5101568"/>
                </a:cubicBezTo>
                <a:cubicBezTo>
                  <a:pt x="4362884" y="5099003"/>
                  <a:pt x="4355189" y="5101568"/>
                  <a:pt x="4347494" y="5104132"/>
                </a:cubicBezTo>
                <a:cubicBezTo>
                  <a:pt x="4350060" y="5111827"/>
                  <a:pt x="4352625" y="5111827"/>
                  <a:pt x="4360319" y="5111827"/>
                </a:cubicBezTo>
                <a:cubicBezTo>
                  <a:pt x="4334670" y="5122087"/>
                  <a:pt x="4360319" y="5134911"/>
                  <a:pt x="4380838" y="5137476"/>
                </a:cubicBezTo>
                <a:cubicBezTo>
                  <a:pt x="4393663" y="5137476"/>
                  <a:pt x="4398792" y="5124652"/>
                  <a:pt x="4411617" y="5127217"/>
                </a:cubicBezTo>
                <a:cubicBezTo>
                  <a:pt x="4416747" y="5132346"/>
                  <a:pt x="4414182" y="5142606"/>
                  <a:pt x="4416747" y="5150301"/>
                </a:cubicBezTo>
                <a:cubicBezTo>
                  <a:pt x="4419312" y="5152866"/>
                  <a:pt x="4421877" y="5152866"/>
                  <a:pt x="4421877" y="5155430"/>
                </a:cubicBezTo>
                <a:cubicBezTo>
                  <a:pt x="4429571" y="5199033"/>
                  <a:pt x="4421877" y="5247767"/>
                  <a:pt x="4424441" y="5286240"/>
                </a:cubicBezTo>
                <a:cubicBezTo>
                  <a:pt x="4419312" y="5286240"/>
                  <a:pt x="4419312" y="5288805"/>
                  <a:pt x="4419312" y="5291370"/>
                </a:cubicBezTo>
                <a:cubicBezTo>
                  <a:pt x="4414182" y="5291370"/>
                  <a:pt x="4411617" y="5288805"/>
                  <a:pt x="4403922" y="5288805"/>
                </a:cubicBezTo>
                <a:cubicBezTo>
                  <a:pt x="4401357" y="5293935"/>
                  <a:pt x="4403922" y="5299064"/>
                  <a:pt x="4401357" y="5306759"/>
                </a:cubicBezTo>
                <a:cubicBezTo>
                  <a:pt x="4398792" y="5301629"/>
                  <a:pt x="4396228" y="5293935"/>
                  <a:pt x="4393663" y="5288805"/>
                </a:cubicBezTo>
                <a:cubicBezTo>
                  <a:pt x="4393663" y="5283675"/>
                  <a:pt x="4401357" y="5283675"/>
                  <a:pt x="4398792" y="5278545"/>
                </a:cubicBezTo>
                <a:cubicBezTo>
                  <a:pt x="4398792" y="5273416"/>
                  <a:pt x="4396228" y="5273416"/>
                  <a:pt x="4391098" y="5273416"/>
                </a:cubicBezTo>
                <a:cubicBezTo>
                  <a:pt x="4393663" y="5258026"/>
                  <a:pt x="4403922" y="5252896"/>
                  <a:pt x="4411617" y="5245202"/>
                </a:cubicBezTo>
                <a:cubicBezTo>
                  <a:pt x="4411617" y="5237507"/>
                  <a:pt x="4396228" y="5234942"/>
                  <a:pt x="4393663" y="5237507"/>
                </a:cubicBezTo>
                <a:cubicBezTo>
                  <a:pt x="4385968" y="5219553"/>
                  <a:pt x="4401357" y="5183644"/>
                  <a:pt x="4388533" y="5168255"/>
                </a:cubicBezTo>
                <a:cubicBezTo>
                  <a:pt x="4383403" y="5175950"/>
                  <a:pt x="4383403" y="5183644"/>
                  <a:pt x="4380838" y="5191339"/>
                </a:cubicBezTo>
                <a:cubicBezTo>
                  <a:pt x="4375708" y="5183644"/>
                  <a:pt x="4373143" y="5170820"/>
                  <a:pt x="4360319" y="5168255"/>
                </a:cubicBezTo>
                <a:cubicBezTo>
                  <a:pt x="4355189" y="5170820"/>
                  <a:pt x="4352625" y="5175950"/>
                  <a:pt x="4352625" y="5181079"/>
                </a:cubicBezTo>
                <a:cubicBezTo>
                  <a:pt x="4347494" y="5178515"/>
                  <a:pt x="4344930" y="5175950"/>
                  <a:pt x="4342365" y="5175950"/>
                </a:cubicBezTo>
                <a:cubicBezTo>
                  <a:pt x="4334670" y="5186209"/>
                  <a:pt x="4339800" y="5206728"/>
                  <a:pt x="4342365" y="5216988"/>
                </a:cubicBezTo>
                <a:cubicBezTo>
                  <a:pt x="4326976" y="5206728"/>
                  <a:pt x="4314151" y="5196469"/>
                  <a:pt x="4296197" y="5191339"/>
                </a:cubicBezTo>
                <a:cubicBezTo>
                  <a:pt x="4293632" y="5196469"/>
                  <a:pt x="4301327" y="5201598"/>
                  <a:pt x="4296197" y="5209293"/>
                </a:cubicBezTo>
                <a:cubicBezTo>
                  <a:pt x="4309021" y="5240072"/>
                  <a:pt x="4350060" y="5242637"/>
                  <a:pt x="4362884" y="5273416"/>
                </a:cubicBezTo>
                <a:cubicBezTo>
                  <a:pt x="4365449" y="5278545"/>
                  <a:pt x="4373143" y="5278545"/>
                  <a:pt x="4373143" y="5283675"/>
                </a:cubicBezTo>
                <a:cubicBezTo>
                  <a:pt x="4370579" y="5288805"/>
                  <a:pt x="4365449" y="5286240"/>
                  <a:pt x="4368014" y="5293935"/>
                </a:cubicBezTo>
                <a:cubicBezTo>
                  <a:pt x="4344930" y="5268286"/>
                  <a:pt x="4319281" y="5245202"/>
                  <a:pt x="4288502" y="5229812"/>
                </a:cubicBezTo>
                <a:cubicBezTo>
                  <a:pt x="4291067" y="5227247"/>
                  <a:pt x="4293632" y="5229812"/>
                  <a:pt x="4296197" y="5227247"/>
                </a:cubicBezTo>
                <a:cubicBezTo>
                  <a:pt x="4291067" y="5216988"/>
                  <a:pt x="4280807" y="5222118"/>
                  <a:pt x="4275678" y="5216988"/>
                </a:cubicBezTo>
                <a:cubicBezTo>
                  <a:pt x="4280807" y="5209293"/>
                  <a:pt x="4293632" y="5209293"/>
                  <a:pt x="4293632" y="5199033"/>
                </a:cubicBezTo>
                <a:cubicBezTo>
                  <a:pt x="4291067" y="5193904"/>
                  <a:pt x="4285937" y="5201598"/>
                  <a:pt x="4278242" y="5199033"/>
                </a:cubicBezTo>
                <a:cubicBezTo>
                  <a:pt x="4278242" y="5193904"/>
                  <a:pt x="4280807" y="5196469"/>
                  <a:pt x="4280807" y="5191339"/>
                </a:cubicBezTo>
                <a:cubicBezTo>
                  <a:pt x="4265418" y="5191339"/>
                  <a:pt x="4260288" y="5209293"/>
                  <a:pt x="4252594" y="5219553"/>
                </a:cubicBezTo>
                <a:cubicBezTo>
                  <a:pt x="4247464" y="5216988"/>
                  <a:pt x="4247464" y="5222118"/>
                  <a:pt x="4242334" y="5224682"/>
                </a:cubicBezTo>
                <a:cubicBezTo>
                  <a:pt x="4234639" y="5178515"/>
                  <a:pt x="4250029" y="5145171"/>
                  <a:pt x="4239769" y="5104132"/>
                </a:cubicBezTo>
                <a:lnTo>
                  <a:pt x="4250029" y="5104132"/>
                </a:lnTo>
                <a:cubicBezTo>
                  <a:pt x="4252594" y="5101568"/>
                  <a:pt x="4250029" y="5096438"/>
                  <a:pt x="4247464" y="5096438"/>
                </a:cubicBezTo>
                <a:cubicBezTo>
                  <a:pt x="4247464" y="5091308"/>
                  <a:pt x="4255159" y="5091308"/>
                  <a:pt x="4255159" y="5086178"/>
                </a:cubicBezTo>
                <a:cubicBezTo>
                  <a:pt x="4252594" y="5081049"/>
                  <a:pt x="4247464" y="5086178"/>
                  <a:pt x="4247464" y="5078484"/>
                </a:cubicBezTo>
                <a:cubicBezTo>
                  <a:pt x="4242334" y="5081049"/>
                  <a:pt x="4239769" y="5083613"/>
                  <a:pt x="4239769" y="5088743"/>
                </a:cubicBezTo>
                <a:cubicBezTo>
                  <a:pt x="4234639" y="5088743"/>
                  <a:pt x="4237204" y="5083613"/>
                  <a:pt x="4232074" y="5086178"/>
                </a:cubicBezTo>
                <a:cubicBezTo>
                  <a:pt x="4229510" y="5093873"/>
                  <a:pt x="4234639" y="5099003"/>
                  <a:pt x="4226945" y="5104132"/>
                </a:cubicBezTo>
                <a:cubicBezTo>
                  <a:pt x="4226945" y="5109262"/>
                  <a:pt x="4232074" y="5109262"/>
                  <a:pt x="4232074" y="5111827"/>
                </a:cubicBezTo>
                <a:cubicBezTo>
                  <a:pt x="4234639" y="5116957"/>
                  <a:pt x="4234639" y="5124652"/>
                  <a:pt x="4237204" y="5127217"/>
                </a:cubicBezTo>
                <a:cubicBezTo>
                  <a:pt x="4229510" y="5142606"/>
                  <a:pt x="4237204" y="5165690"/>
                  <a:pt x="4229510" y="5175950"/>
                </a:cubicBezTo>
                <a:cubicBezTo>
                  <a:pt x="4221815" y="5175950"/>
                  <a:pt x="4224380" y="5168255"/>
                  <a:pt x="4219250" y="5168255"/>
                </a:cubicBezTo>
                <a:cubicBezTo>
                  <a:pt x="4208990" y="5168255"/>
                  <a:pt x="4221815" y="5186209"/>
                  <a:pt x="4216685" y="5191339"/>
                </a:cubicBezTo>
                <a:cubicBezTo>
                  <a:pt x="4221815" y="5199033"/>
                  <a:pt x="4226945" y="5204164"/>
                  <a:pt x="4232074" y="5209293"/>
                </a:cubicBezTo>
                <a:cubicBezTo>
                  <a:pt x="4233356" y="5219553"/>
                  <a:pt x="4234639" y="5227248"/>
                  <a:pt x="4235280" y="5234301"/>
                </a:cubicBezTo>
                <a:lnTo>
                  <a:pt x="4234904" y="5246725"/>
                </a:lnTo>
                <a:lnTo>
                  <a:pt x="4250349" y="5241034"/>
                </a:lnTo>
                <a:cubicBezTo>
                  <a:pt x="4257082" y="5239431"/>
                  <a:pt x="4264135" y="5238790"/>
                  <a:pt x="4270547" y="5240072"/>
                </a:cubicBezTo>
                <a:cubicBezTo>
                  <a:pt x="4296196" y="5278545"/>
                  <a:pt x="4339800" y="5296500"/>
                  <a:pt x="4375708" y="5324714"/>
                </a:cubicBezTo>
                <a:cubicBezTo>
                  <a:pt x="4355189" y="5322148"/>
                  <a:pt x="4347494" y="5342669"/>
                  <a:pt x="4337235" y="5352928"/>
                </a:cubicBezTo>
                <a:cubicBezTo>
                  <a:pt x="4355189" y="5363188"/>
                  <a:pt x="4352624" y="5334974"/>
                  <a:pt x="4370578" y="5332409"/>
                </a:cubicBezTo>
                <a:cubicBezTo>
                  <a:pt x="4380838" y="5332409"/>
                  <a:pt x="4393662" y="5342669"/>
                  <a:pt x="4398792" y="5350363"/>
                </a:cubicBezTo>
                <a:cubicBezTo>
                  <a:pt x="4398792" y="5352928"/>
                  <a:pt x="4398792" y="5355493"/>
                  <a:pt x="4398792" y="5358058"/>
                </a:cubicBezTo>
                <a:cubicBezTo>
                  <a:pt x="4401357" y="5363188"/>
                  <a:pt x="4406487" y="5368318"/>
                  <a:pt x="4409052" y="5376012"/>
                </a:cubicBezTo>
                <a:cubicBezTo>
                  <a:pt x="4414181" y="5401661"/>
                  <a:pt x="4411616" y="5429875"/>
                  <a:pt x="4414181" y="5452959"/>
                </a:cubicBezTo>
                <a:cubicBezTo>
                  <a:pt x="4414181" y="5458089"/>
                  <a:pt x="4406487" y="5458089"/>
                  <a:pt x="4409052" y="5463219"/>
                </a:cubicBezTo>
                <a:cubicBezTo>
                  <a:pt x="4409052" y="5468348"/>
                  <a:pt x="4414181" y="5470913"/>
                  <a:pt x="4416746" y="5473478"/>
                </a:cubicBezTo>
                <a:cubicBezTo>
                  <a:pt x="4416746" y="5499127"/>
                  <a:pt x="4427006" y="5522211"/>
                  <a:pt x="4421876" y="5542730"/>
                </a:cubicBezTo>
                <a:cubicBezTo>
                  <a:pt x="4432136" y="5555555"/>
                  <a:pt x="4427006" y="5583768"/>
                  <a:pt x="4432136" y="5601723"/>
                </a:cubicBezTo>
                <a:cubicBezTo>
                  <a:pt x="4427006" y="5596593"/>
                  <a:pt x="4421876" y="5594028"/>
                  <a:pt x="4414181" y="5596593"/>
                </a:cubicBezTo>
                <a:cubicBezTo>
                  <a:pt x="4414181" y="5591463"/>
                  <a:pt x="4411616" y="5588899"/>
                  <a:pt x="4406487" y="5588899"/>
                </a:cubicBezTo>
                <a:cubicBezTo>
                  <a:pt x="4411616" y="5576074"/>
                  <a:pt x="4424441" y="5568379"/>
                  <a:pt x="4419311" y="5552990"/>
                </a:cubicBezTo>
                <a:cubicBezTo>
                  <a:pt x="4406487" y="5558120"/>
                  <a:pt x="4403922" y="5576074"/>
                  <a:pt x="4391097" y="5581204"/>
                </a:cubicBezTo>
                <a:cubicBezTo>
                  <a:pt x="4396227" y="5573509"/>
                  <a:pt x="4396227" y="5560685"/>
                  <a:pt x="4393662" y="5552990"/>
                </a:cubicBezTo>
                <a:cubicBezTo>
                  <a:pt x="4380838" y="5555555"/>
                  <a:pt x="4380838" y="5565814"/>
                  <a:pt x="4380838" y="5578639"/>
                </a:cubicBezTo>
                <a:cubicBezTo>
                  <a:pt x="4375708" y="5586334"/>
                  <a:pt x="4373143" y="5594028"/>
                  <a:pt x="4375708" y="5601723"/>
                </a:cubicBezTo>
                <a:cubicBezTo>
                  <a:pt x="4368013" y="5604288"/>
                  <a:pt x="4368013" y="5611982"/>
                  <a:pt x="4360318" y="5614547"/>
                </a:cubicBezTo>
                <a:cubicBezTo>
                  <a:pt x="4357754" y="5604288"/>
                  <a:pt x="4355189" y="5583768"/>
                  <a:pt x="4360318" y="5573509"/>
                </a:cubicBezTo>
                <a:cubicBezTo>
                  <a:pt x="4350059" y="5550425"/>
                  <a:pt x="4355189" y="5532471"/>
                  <a:pt x="4355189" y="5506822"/>
                </a:cubicBezTo>
                <a:cubicBezTo>
                  <a:pt x="4373143" y="5509387"/>
                  <a:pt x="4375708" y="5488868"/>
                  <a:pt x="4370578" y="5478608"/>
                </a:cubicBezTo>
                <a:cubicBezTo>
                  <a:pt x="4362883" y="5476043"/>
                  <a:pt x="4360318" y="5486303"/>
                  <a:pt x="4350059" y="5483738"/>
                </a:cubicBezTo>
                <a:cubicBezTo>
                  <a:pt x="4350059" y="5460654"/>
                  <a:pt x="4355189" y="5429875"/>
                  <a:pt x="4355189" y="5411921"/>
                </a:cubicBezTo>
                <a:cubicBezTo>
                  <a:pt x="4350059" y="5424745"/>
                  <a:pt x="4342364" y="5435005"/>
                  <a:pt x="4329540" y="5440135"/>
                </a:cubicBezTo>
                <a:cubicBezTo>
                  <a:pt x="4321845" y="5435005"/>
                  <a:pt x="4319280" y="5422181"/>
                  <a:pt x="4309021" y="5419615"/>
                </a:cubicBezTo>
                <a:cubicBezTo>
                  <a:pt x="4303891" y="5419615"/>
                  <a:pt x="4306456" y="5424745"/>
                  <a:pt x="4303891" y="5424745"/>
                </a:cubicBezTo>
                <a:cubicBezTo>
                  <a:pt x="4306456" y="5440135"/>
                  <a:pt x="4319280" y="5442699"/>
                  <a:pt x="4324410" y="5455524"/>
                </a:cubicBezTo>
                <a:cubicBezTo>
                  <a:pt x="4316715" y="5452959"/>
                  <a:pt x="4303891" y="5450394"/>
                  <a:pt x="4301326" y="5460654"/>
                </a:cubicBezTo>
                <a:cubicBezTo>
                  <a:pt x="4303891" y="5473478"/>
                  <a:pt x="4324410" y="5463219"/>
                  <a:pt x="4332105" y="5468348"/>
                </a:cubicBezTo>
                <a:cubicBezTo>
                  <a:pt x="4334670" y="5478608"/>
                  <a:pt x="4339800" y="5491433"/>
                  <a:pt x="4344929" y="5499127"/>
                </a:cubicBezTo>
                <a:cubicBezTo>
                  <a:pt x="4342364" y="5504257"/>
                  <a:pt x="4337235" y="5501692"/>
                  <a:pt x="4334670" y="5506822"/>
                </a:cubicBezTo>
                <a:cubicBezTo>
                  <a:pt x="4337235" y="5509387"/>
                  <a:pt x="4342364" y="5509387"/>
                  <a:pt x="4347494" y="5509387"/>
                </a:cubicBezTo>
                <a:cubicBezTo>
                  <a:pt x="4350059" y="5545295"/>
                  <a:pt x="4352624" y="5599158"/>
                  <a:pt x="4352624" y="5647891"/>
                </a:cubicBezTo>
                <a:cubicBezTo>
                  <a:pt x="4342364" y="5637631"/>
                  <a:pt x="4352624" y="5614547"/>
                  <a:pt x="4334670" y="5609417"/>
                </a:cubicBezTo>
                <a:cubicBezTo>
                  <a:pt x="4329540" y="5591463"/>
                  <a:pt x="4316715" y="5568379"/>
                  <a:pt x="4316715" y="5552990"/>
                </a:cubicBezTo>
                <a:cubicBezTo>
                  <a:pt x="4296196" y="5524776"/>
                  <a:pt x="4285937" y="5491433"/>
                  <a:pt x="4273112" y="5460654"/>
                </a:cubicBezTo>
                <a:cubicBezTo>
                  <a:pt x="4273112" y="5455524"/>
                  <a:pt x="4275677" y="5455524"/>
                  <a:pt x="4275677" y="5450394"/>
                </a:cubicBezTo>
                <a:cubicBezTo>
                  <a:pt x="4275677" y="5447829"/>
                  <a:pt x="4267983" y="5450394"/>
                  <a:pt x="4267983" y="5447829"/>
                </a:cubicBezTo>
                <a:cubicBezTo>
                  <a:pt x="4255158" y="5435005"/>
                  <a:pt x="4255158" y="5419615"/>
                  <a:pt x="4252593" y="5401661"/>
                </a:cubicBezTo>
                <a:lnTo>
                  <a:pt x="4248986" y="5386975"/>
                </a:lnTo>
                <a:lnTo>
                  <a:pt x="4247464" y="5388836"/>
                </a:lnTo>
                <a:cubicBezTo>
                  <a:pt x="4239769" y="5376011"/>
                  <a:pt x="4224380" y="5352927"/>
                  <a:pt x="4237204" y="5340103"/>
                </a:cubicBezTo>
                <a:cubicBezTo>
                  <a:pt x="4234639" y="5334973"/>
                  <a:pt x="4224380" y="5342668"/>
                  <a:pt x="4221815" y="5342668"/>
                </a:cubicBezTo>
                <a:cubicBezTo>
                  <a:pt x="4206425" y="5314454"/>
                  <a:pt x="4188471" y="5288805"/>
                  <a:pt x="4180776" y="5252896"/>
                </a:cubicBezTo>
                <a:cubicBezTo>
                  <a:pt x="4170517" y="5237507"/>
                  <a:pt x="4160257" y="5216988"/>
                  <a:pt x="4160257" y="5196469"/>
                </a:cubicBezTo>
                <a:cubicBezTo>
                  <a:pt x="4157692" y="5193904"/>
                  <a:pt x="4155127" y="5199033"/>
                  <a:pt x="4152563" y="5196469"/>
                </a:cubicBezTo>
                <a:cubicBezTo>
                  <a:pt x="4142303" y="5165690"/>
                  <a:pt x="4129478" y="5124652"/>
                  <a:pt x="4129478" y="5091308"/>
                </a:cubicBezTo>
                <a:cubicBezTo>
                  <a:pt x="4124349" y="5091308"/>
                  <a:pt x="4121784" y="5093873"/>
                  <a:pt x="4121784" y="5096438"/>
                </a:cubicBezTo>
                <a:cubicBezTo>
                  <a:pt x="4111524" y="5075919"/>
                  <a:pt x="4103830" y="5055400"/>
                  <a:pt x="4103830" y="5027186"/>
                </a:cubicBezTo>
                <a:cubicBezTo>
                  <a:pt x="4103830" y="5022056"/>
                  <a:pt x="4098700" y="5022056"/>
                  <a:pt x="4098700" y="5019491"/>
                </a:cubicBezTo>
                <a:cubicBezTo>
                  <a:pt x="4098700" y="4988712"/>
                  <a:pt x="4085875" y="4952804"/>
                  <a:pt x="4093570" y="4924590"/>
                </a:cubicBezTo>
                <a:cubicBezTo>
                  <a:pt x="4088440" y="4901506"/>
                  <a:pt x="4096135" y="4868162"/>
                  <a:pt x="4096135" y="4839948"/>
                </a:cubicBezTo>
                <a:cubicBezTo>
                  <a:pt x="4096135" y="4834819"/>
                  <a:pt x="4101265" y="4832254"/>
                  <a:pt x="4101265" y="4829689"/>
                </a:cubicBezTo>
                <a:cubicBezTo>
                  <a:pt x="4098700" y="4827124"/>
                  <a:pt x="4096135" y="4824559"/>
                  <a:pt x="4093570" y="4827124"/>
                </a:cubicBezTo>
                <a:cubicBezTo>
                  <a:pt x="4096135" y="4809170"/>
                  <a:pt x="4080746" y="4798910"/>
                  <a:pt x="4088440" y="4786086"/>
                </a:cubicBezTo>
                <a:cubicBezTo>
                  <a:pt x="4091005" y="4793781"/>
                  <a:pt x="4103830" y="4798910"/>
                  <a:pt x="4111524" y="4793781"/>
                </a:cubicBezTo>
                <a:cubicBezTo>
                  <a:pt x="4108960" y="4783521"/>
                  <a:pt x="4098700" y="4780956"/>
                  <a:pt x="4088440" y="4780956"/>
                </a:cubicBezTo>
                <a:cubicBezTo>
                  <a:pt x="4091005" y="4770696"/>
                  <a:pt x="4093570" y="4770696"/>
                  <a:pt x="4101265" y="4773261"/>
                </a:cubicBezTo>
                <a:cubicBezTo>
                  <a:pt x="4108960" y="4765567"/>
                  <a:pt x="4116654" y="4768132"/>
                  <a:pt x="4124349" y="4763002"/>
                </a:cubicBezTo>
                <a:cubicBezTo>
                  <a:pt x="4121784" y="4752742"/>
                  <a:pt x="4111524" y="4760437"/>
                  <a:pt x="4103830" y="4760437"/>
                </a:cubicBezTo>
                <a:cubicBezTo>
                  <a:pt x="4103830" y="4747613"/>
                  <a:pt x="4114089" y="4739918"/>
                  <a:pt x="4108960" y="4727093"/>
                </a:cubicBezTo>
                <a:cubicBezTo>
                  <a:pt x="4093570" y="4727093"/>
                  <a:pt x="4091005" y="4742483"/>
                  <a:pt x="4091005" y="4750177"/>
                </a:cubicBezTo>
                <a:cubicBezTo>
                  <a:pt x="4085875" y="4747613"/>
                  <a:pt x="4088440" y="4737353"/>
                  <a:pt x="4083311" y="4734788"/>
                </a:cubicBezTo>
                <a:cubicBezTo>
                  <a:pt x="4075616" y="4737353"/>
                  <a:pt x="4078181" y="4750177"/>
                  <a:pt x="4080746" y="4752742"/>
                </a:cubicBezTo>
                <a:cubicBezTo>
                  <a:pt x="4073051" y="4763002"/>
                  <a:pt x="4080746" y="4768132"/>
                  <a:pt x="4078181" y="4778391"/>
                </a:cubicBezTo>
                <a:cubicBezTo>
                  <a:pt x="4070486" y="4775826"/>
                  <a:pt x="4067921" y="4768132"/>
                  <a:pt x="4062791" y="4773261"/>
                </a:cubicBezTo>
                <a:cubicBezTo>
                  <a:pt x="4062791" y="4780956"/>
                  <a:pt x="4070486" y="4778391"/>
                  <a:pt x="4073051" y="4780956"/>
                </a:cubicBezTo>
                <a:cubicBezTo>
                  <a:pt x="4070486" y="4814300"/>
                  <a:pt x="4093570" y="4845079"/>
                  <a:pt x="4078181" y="4878422"/>
                </a:cubicBezTo>
                <a:cubicBezTo>
                  <a:pt x="4083311" y="4896376"/>
                  <a:pt x="4080746" y="4916895"/>
                  <a:pt x="4080746" y="4937414"/>
                </a:cubicBezTo>
                <a:cubicBezTo>
                  <a:pt x="4075616" y="4932285"/>
                  <a:pt x="4078181" y="4916895"/>
                  <a:pt x="4070486" y="4919460"/>
                </a:cubicBezTo>
                <a:cubicBezTo>
                  <a:pt x="4062791" y="4922025"/>
                  <a:pt x="4065356" y="4932285"/>
                  <a:pt x="4060226" y="4939980"/>
                </a:cubicBezTo>
                <a:cubicBezTo>
                  <a:pt x="4083311" y="4957934"/>
                  <a:pt x="4083311" y="4993842"/>
                  <a:pt x="4083311" y="5022056"/>
                </a:cubicBezTo>
                <a:cubicBezTo>
                  <a:pt x="4078181" y="5027186"/>
                  <a:pt x="4073051" y="5037446"/>
                  <a:pt x="4073051" y="5045140"/>
                </a:cubicBezTo>
                <a:cubicBezTo>
                  <a:pt x="4075616" y="5055400"/>
                  <a:pt x="4088440" y="5060529"/>
                  <a:pt x="4093570" y="5068224"/>
                </a:cubicBezTo>
                <a:cubicBezTo>
                  <a:pt x="4098700" y="5073354"/>
                  <a:pt x="4098700" y="5081049"/>
                  <a:pt x="4101265" y="5088743"/>
                </a:cubicBezTo>
                <a:cubicBezTo>
                  <a:pt x="4108960" y="5109262"/>
                  <a:pt x="4119219" y="5129781"/>
                  <a:pt x="4121784" y="5150301"/>
                </a:cubicBezTo>
                <a:cubicBezTo>
                  <a:pt x="4121784" y="5152866"/>
                  <a:pt x="4116654" y="5152866"/>
                  <a:pt x="4116654" y="5155430"/>
                </a:cubicBezTo>
                <a:cubicBezTo>
                  <a:pt x="4139738" y="5196469"/>
                  <a:pt x="4155127" y="5245202"/>
                  <a:pt x="4175647" y="5288805"/>
                </a:cubicBezTo>
                <a:cubicBezTo>
                  <a:pt x="4173082" y="5293935"/>
                  <a:pt x="4167952" y="5291370"/>
                  <a:pt x="4167952" y="5296499"/>
                </a:cubicBezTo>
                <a:cubicBezTo>
                  <a:pt x="4188471" y="5304194"/>
                  <a:pt x="4191036" y="5327278"/>
                  <a:pt x="4203861" y="5342668"/>
                </a:cubicBezTo>
                <a:cubicBezTo>
                  <a:pt x="4196166" y="5358057"/>
                  <a:pt x="4173082" y="5365751"/>
                  <a:pt x="4173082" y="5386271"/>
                </a:cubicBezTo>
                <a:cubicBezTo>
                  <a:pt x="4180776" y="5381141"/>
                  <a:pt x="4183341" y="5376011"/>
                  <a:pt x="4191036" y="5373446"/>
                </a:cubicBezTo>
                <a:cubicBezTo>
                  <a:pt x="4188471" y="5381141"/>
                  <a:pt x="4196166" y="5383706"/>
                  <a:pt x="4196166" y="5388836"/>
                </a:cubicBezTo>
                <a:cubicBezTo>
                  <a:pt x="4188471" y="5391400"/>
                  <a:pt x="4183341" y="5388836"/>
                  <a:pt x="4178212" y="5391400"/>
                </a:cubicBezTo>
                <a:cubicBezTo>
                  <a:pt x="4178212" y="5404225"/>
                  <a:pt x="4188471" y="5406790"/>
                  <a:pt x="4198731" y="5406790"/>
                </a:cubicBezTo>
                <a:cubicBezTo>
                  <a:pt x="4196166" y="5411920"/>
                  <a:pt x="4196166" y="5411920"/>
                  <a:pt x="4196166" y="5417049"/>
                </a:cubicBezTo>
                <a:cubicBezTo>
                  <a:pt x="4206425" y="5419614"/>
                  <a:pt x="4214120" y="5411920"/>
                  <a:pt x="4216685" y="5404225"/>
                </a:cubicBezTo>
                <a:cubicBezTo>
                  <a:pt x="4224380" y="5411920"/>
                  <a:pt x="4247464" y="5419614"/>
                  <a:pt x="4237204" y="5435004"/>
                </a:cubicBezTo>
                <a:cubicBezTo>
                  <a:pt x="4239769" y="5437569"/>
                  <a:pt x="4239769" y="5437569"/>
                  <a:pt x="4244899" y="5435004"/>
                </a:cubicBezTo>
                <a:cubicBezTo>
                  <a:pt x="4260288" y="5473477"/>
                  <a:pt x="4283372" y="5506821"/>
                  <a:pt x="4293632" y="5550424"/>
                </a:cubicBezTo>
                <a:cubicBezTo>
                  <a:pt x="4301327" y="5563249"/>
                  <a:pt x="4309021" y="5576073"/>
                  <a:pt x="4311586" y="5586332"/>
                </a:cubicBezTo>
                <a:cubicBezTo>
                  <a:pt x="4306456" y="5583767"/>
                  <a:pt x="4306456" y="5588897"/>
                  <a:pt x="4303891" y="5591462"/>
                </a:cubicBezTo>
                <a:cubicBezTo>
                  <a:pt x="4306456" y="5604287"/>
                  <a:pt x="4309021" y="5604287"/>
                  <a:pt x="4309021" y="5617111"/>
                </a:cubicBezTo>
                <a:cubicBezTo>
                  <a:pt x="4303891" y="5614546"/>
                  <a:pt x="4298762" y="5609416"/>
                  <a:pt x="4293632" y="5609416"/>
                </a:cubicBezTo>
                <a:cubicBezTo>
                  <a:pt x="4280807" y="5622241"/>
                  <a:pt x="4306456" y="5632501"/>
                  <a:pt x="4306456" y="5645325"/>
                </a:cubicBezTo>
                <a:cubicBezTo>
                  <a:pt x="4316716" y="5642760"/>
                  <a:pt x="4319281" y="5637630"/>
                  <a:pt x="4324411" y="5632501"/>
                </a:cubicBezTo>
                <a:cubicBezTo>
                  <a:pt x="4324411" y="5635065"/>
                  <a:pt x="4326976" y="5635065"/>
                  <a:pt x="4329540" y="5635065"/>
                </a:cubicBezTo>
                <a:cubicBezTo>
                  <a:pt x="4326976" y="5640195"/>
                  <a:pt x="4321846" y="5642760"/>
                  <a:pt x="4324411" y="5650455"/>
                </a:cubicBezTo>
                <a:cubicBezTo>
                  <a:pt x="4321846" y="5655584"/>
                  <a:pt x="4329540" y="5653020"/>
                  <a:pt x="4329540" y="5655584"/>
                </a:cubicBezTo>
                <a:cubicBezTo>
                  <a:pt x="4326976" y="5665844"/>
                  <a:pt x="4334670" y="5676104"/>
                  <a:pt x="4339800" y="5676104"/>
                </a:cubicBezTo>
                <a:cubicBezTo>
                  <a:pt x="4344930" y="5691493"/>
                  <a:pt x="4355189" y="5712012"/>
                  <a:pt x="4355189" y="5729967"/>
                </a:cubicBezTo>
                <a:cubicBezTo>
                  <a:pt x="4350060" y="5732531"/>
                  <a:pt x="4350060" y="5722272"/>
                  <a:pt x="4344930" y="5724836"/>
                </a:cubicBezTo>
                <a:cubicBezTo>
                  <a:pt x="4339800" y="5732531"/>
                  <a:pt x="4334670" y="5740226"/>
                  <a:pt x="4326976" y="5742791"/>
                </a:cubicBezTo>
                <a:cubicBezTo>
                  <a:pt x="4329540" y="5755615"/>
                  <a:pt x="4326976" y="5760745"/>
                  <a:pt x="4329540" y="5768440"/>
                </a:cubicBezTo>
                <a:lnTo>
                  <a:pt x="4319281" y="5768440"/>
                </a:lnTo>
                <a:cubicBezTo>
                  <a:pt x="4319281" y="5778699"/>
                  <a:pt x="4329540" y="5778699"/>
                  <a:pt x="4332105" y="5786394"/>
                </a:cubicBezTo>
                <a:cubicBezTo>
                  <a:pt x="4329540" y="5788959"/>
                  <a:pt x="4321846" y="5786394"/>
                  <a:pt x="4319281" y="5788959"/>
                </a:cubicBezTo>
                <a:cubicBezTo>
                  <a:pt x="4316716" y="5783829"/>
                  <a:pt x="4319281" y="5776134"/>
                  <a:pt x="4316716" y="5773570"/>
                </a:cubicBezTo>
                <a:cubicBezTo>
                  <a:pt x="4311586" y="5776134"/>
                  <a:pt x="4306456" y="5773570"/>
                  <a:pt x="4309021" y="5778699"/>
                </a:cubicBezTo>
                <a:cubicBezTo>
                  <a:pt x="4303891" y="5778699"/>
                  <a:pt x="4306456" y="5773570"/>
                  <a:pt x="4303891" y="5771005"/>
                </a:cubicBezTo>
                <a:cubicBezTo>
                  <a:pt x="4298762" y="5771005"/>
                  <a:pt x="4293632" y="5773570"/>
                  <a:pt x="4288502" y="5773570"/>
                </a:cubicBezTo>
                <a:cubicBezTo>
                  <a:pt x="4288502" y="5788959"/>
                  <a:pt x="4291067" y="5796654"/>
                  <a:pt x="4291067" y="5804348"/>
                </a:cubicBezTo>
                <a:cubicBezTo>
                  <a:pt x="4288502" y="5809478"/>
                  <a:pt x="4285937" y="5796654"/>
                  <a:pt x="4280807" y="5801783"/>
                </a:cubicBezTo>
                <a:cubicBezTo>
                  <a:pt x="4280807" y="5809478"/>
                  <a:pt x="4293632" y="5812043"/>
                  <a:pt x="4293632" y="5819738"/>
                </a:cubicBezTo>
                <a:cubicBezTo>
                  <a:pt x="4280807" y="5809478"/>
                  <a:pt x="4257723" y="5788959"/>
                  <a:pt x="4260288" y="5765875"/>
                </a:cubicBezTo>
                <a:cubicBezTo>
                  <a:pt x="4257723" y="5758180"/>
                  <a:pt x="4252594" y="5765875"/>
                  <a:pt x="4250029" y="5763310"/>
                </a:cubicBezTo>
                <a:cubicBezTo>
                  <a:pt x="4234639" y="5740226"/>
                  <a:pt x="4221815" y="5709447"/>
                  <a:pt x="4203861" y="5683798"/>
                </a:cubicBezTo>
                <a:cubicBezTo>
                  <a:pt x="4206425" y="5678669"/>
                  <a:pt x="4206425" y="5676104"/>
                  <a:pt x="4208990" y="5670974"/>
                </a:cubicBezTo>
                <a:cubicBezTo>
                  <a:pt x="4203861" y="5668409"/>
                  <a:pt x="4201296" y="5670974"/>
                  <a:pt x="4198731" y="5673539"/>
                </a:cubicBezTo>
                <a:cubicBezTo>
                  <a:pt x="4178212" y="5658149"/>
                  <a:pt x="4170517" y="5627371"/>
                  <a:pt x="4152563" y="5609416"/>
                </a:cubicBezTo>
                <a:cubicBezTo>
                  <a:pt x="4134609" y="5586332"/>
                  <a:pt x="4106395" y="5563249"/>
                  <a:pt x="4091005" y="5529905"/>
                </a:cubicBezTo>
                <a:cubicBezTo>
                  <a:pt x="4096135" y="5519645"/>
                  <a:pt x="4103830" y="5519645"/>
                  <a:pt x="4119219" y="5517080"/>
                </a:cubicBezTo>
                <a:cubicBezTo>
                  <a:pt x="4116654" y="5509386"/>
                  <a:pt x="4111524" y="5509386"/>
                  <a:pt x="4106395" y="5509386"/>
                </a:cubicBezTo>
                <a:cubicBezTo>
                  <a:pt x="4106395" y="5496561"/>
                  <a:pt x="4126914" y="5501691"/>
                  <a:pt x="4134609" y="5496561"/>
                </a:cubicBezTo>
                <a:cubicBezTo>
                  <a:pt x="4137173" y="5493996"/>
                  <a:pt x="4129478" y="5491431"/>
                  <a:pt x="4132043" y="5488866"/>
                </a:cubicBezTo>
                <a:cubicBezTo>
                  <a:pt x="4137173" y="5486302"/>
                  <a:pt x="4142303" y="5483737"/>
                  <a:pt x="4144868" y="5481172"/>
                </a:cubicBezTo>
                <a:cubicBezTo>
                  <a:pt x="4144868" y="5476042"/>
                  <a:pt x="4137173" y="5476042"/>
                  <a:pt x="4134609" y="5478607"/>
                </a:cubicBezTo>
                <a:cubicBezTo>
                  <a:pt x="4132043" y="5476042"/>
                  <a:pt x="4137173" y="5470912"/>
                  <a:pt x="4137173" y="5465783"/>
                </a:cubicBezTo>
                <a:cubicBezTo>
                  <a:pt x="4134609" y="5460653"/>
                  <a:pt x="4124349" y="5463217"/>
                  <a:pt x="4121784" y="5468347"/>
                </a:cubicBezTo>
                <a:cubicBezTo>
                  <a:pt x="4116654" y="5465783"/>
                  <a:pt x="4121784" y="5460653"/>
                  <a:pt x="4119219" y="5458088"/>
                </a:cubicBezTo>
                <a:cubicBezTo>
                  <a:pt x="4108960" y="5460653"/>
                  <a:pt x="4106395" y="5470912"/>
                  <a:pt x="4103830" y="5478607"/>
                </a:cubicBezTo>
                <a:cubicBezTo>
                  <a:pt x="4096135" y="5473477"/>
                  <a:pt x="4098700" y="5460653"/>
                  <a:pt x="4093570" y="5455523"/>
                </a:cubicBezTo>
                <a:cubicBezTo>
                  <a:pt x="4083311" y="5468347"/>
                  <a:pt x="4096135" y="5486302"/>
                  <a:pt x="4096135" y="5496561"/>
                </a:cubicBezTo>
                <a:cubicBezTo>
                  <a:pt x="4093570" y="5491431"/>
                  <a:pt x="4093570" y="5493996"/>
                  <a:pt x="4088440" y="5493996"/>
                </a:cubicBezTo>
                <a:cubicBezTo>
                  <a:pt x="4088440" y="5501691"/>
                  <a:pt x="4088440" y="5511951"/>
                  <a:pt x="4080746" y="5511951"/>
                </a:cubicBezTo>
                <a:cubicBezTo>
                  <a:pt x="4078181" y="5514515"/>
                  <a:pt x="4080746" y="5517080"/>
                  <a:pt x="4080746" y="5522210"/>
                </a:cubicBezTo>
                <a:cubicBezTo>
                  <a:pt x="4067921" y="5514515"/>
                  <a:pt x="4055097" y="5493996"/>
                  <a:pt x="4044837" y="5478607"/>
                </a:cubicBezTo>
                <a:cubicBezTo>
                  <a:pt x="4037143" y="5470912"/>
                  <a:pt x="4032013" y="5458088"/>
                  <a:pt x="4026883" y="5450393"/>
                </a:cubicBezTo>
                <a:lnTo>
                  <a:pt x="4026883" y="5437569"/>
                </a:lnTo>
                <a:cubicBezTo>
                  <a:pt x="4024318" y="5432439"/>
                  <a:pt x="4024318" y="5440134"/>
                  <a:pt x="4019188" y="5437569"/>
                </a:cubicBezTo>
                <a:cubicBezTo>
                  <a:pt x="4011494" y="5427309"/>
                  <a:pt x="4006364" y="5419614"/>
                  <a:pt x="4006364" y="5404225"/>
                </a:cubicBezTo>
                <a:cubicBezTo>
                  <a:pt x="4003799" y="5396531"/>
                  <a:pt x="3993539" y="5393965"/>
                  <a:pt x="3990974" y="5386271"/>
                </a:cubicBezTo>
                <a:cubicBezTo>
                  <a:pt x="3996104" y="5383706"/>
                  <a:pt x="4001234" y="5373446"/>
                  <a:pt x="3998669" y="5368317"/>
                </a:cubicBezTo>
                <a:cubicBezTo>
                  <a:pt x="4003799" y="5363187"/>
                  <a:pt x="4016623" y="5363187"/>
                  <a:pt x="4014058" y="5355492"/>
                </a:cubicBezTo>
                <a:cubicBezTo>
                  <a:pt x="4008929" y="5352927"/>
                  <a:pt x="4006364" y="5358057"/>
                  <a:pt x="3998669" y="5358057"/>
                </a:cubicBezTo>
                <a:cubicBezTo>
                  <a:pt x="3996104" y="5355492"/>
                  <a:pt x="3998669" y="5347797"/>
                  <a:pt x="3996104" y="5345233"/>
                </a:cubicBezTo>
                <a:cubicBezTo>
                  <a:pt x="3988409" y="5345233"/>
                  <a:pt x="3988409" y="5350362"/>
                  <a:pt x="3985845" y="5355492"/>
                </a:cubicBezTo>
                <a:cubicBezTo>
                  <a:pt x="3980715" y="5352927"/>
                  <a:pt x="3983280" y="5347797"/>
                  <a:pt x="3978150" y="5347797"/>
                </a:cubicBezTo>
                <a:cubicBezTo>
                  <a:pt x="3970455" y="5355492"/>
                  <a:pt x="3988409" y="5365751"/>
                  <a:pt x="3980715" y="5370882"/>
                </a:cubicBezTo>
                <a:cubicBezTo>
                  <a:pt x="3973020" y="5370882"/>
                  <a:pt x="3965325" y="5355492"/>
                  <a:pt x="3957631" y="5368317"/>
                </a:cubicBezTo>
                <a:cubicBezTo>
                  <a:pt x="3965325" y="5378576"/>
                  <a:pt x="3983280" y="5373446"/>
                  <a:pt x="3985845" y="5388836"/>
                </a:cubicBezTo>
                <a:cubicBezTo>
                  <a:pt x="3980715" y="5383706"/>
                  <a:pt x="3980715" y="5388836"/>
                  <a:pt x="3978150" y="5386271"/>
                </a:cubicBezTo>
                <a:cubicBezTo>
                  <a:pt x="3975585" y="5393965"/>
                  <a:pt x="3970455" y="5396531"/>
                  <a:pt x="3967890" y="5404225"/>
                </a:cubicBezTo>
                <a:cubicBezTo>
                  <a:pt x="3970455" y="5411920"/>
                  <a:pt x="3975585" y="5414485"/>
                  <a:pt x="3978150" y="5419614"/>
                </a:cubicBezTo>
                <a:lnTo>
                  <a:pt x="3988409" y="5419614"/>
                </a:lnTo>
                <a:cubicBezTo>
                  <a:pt x="3993539" y="5424744"/>
                  <a:pt x="3996104" y="5429874"/>
                  <a:pt x="4003799" y="5427309"/>
                </a:cubicBezTo>
                <a:cubicBezTo>
                  <a:pt x="4026883" y="5452958"/>
                  <a:pt x="4039707" y="5486302"/>
                  <a:pt x="4062791" y="5509386"/>
                </a:cubicBezTo>
                <a:cubicBezTo>
                  <a:pt x="4060226" y="5519645"/>
                  <a:pt x="4067921" y="5517080"/>
                  <a:pt x="4073051" y="5522210"/>
                </a:cubicBezTo>
                <a:cubicBezTo>
                  <a:pt x="4080746" y="5527340"/>
                  <a:pt x="4088440" y="5542729"/>
                  <a:pt x="4093570" y="5550424"/>
                </a:cubicBezTo>
                <a:cubicBezTo>
                  <a:pt x="4101265" y="5560683"/>
                  <a:pt x="4108960" y="5563249"/>
                  <a:pt x="4111524" y="5573508"/>
                </a:cubicBezTo>
                <a:cubicBezTo>
                  <a:pt x="4129478" y="5591462"/>
                  <a:pt x="4155127" y="5624806"/>
                  <a:pt x="4170517" y="5650455"/>
                </a:cubicBezTo>
                <a:cubicBezTo>
                  <a:pt x="4165387" y="5653020"/>
                  <a:pt x="4162822" y="5655584"/>
                  <a:pt x="4162822" y="5660714"/>
                </a:cubicBezTo>
                <a:cubicBezTo>
                  <a:pt x="4165387" y="5660714"/>
                  <a:pt x="4165387" y="5660714"/>
                  <a:pt x="4165387" y="5663279"/>
                </a:cubicBezTo>
                <a:cubicBezTo>
                  <a:pt x="4170517" y="5665844"/>
                  <a:pt x="4173082" y="5658149"/>
                  <a:pt x="4175647" y="5660714"/>
                </a:cubicBezTo>
                <a:cubicBezTo>
                  <a:pt x="4191036" y="5673539"/>
                  <a:pt x="4208990" y="5686363"/>
                  <a:pt x="4211555" y="5706882"/>
                </a:cubicBezTo>
                <a:cubicBezTo>
                  <a:pt x="4219250" y="5714577"/>
                  <a:pt x="4232074" y="5732531"/>
                  <a:pt x="4226945" y="5732531"/>
                </a:cubicBezTo>
                <a:cubicBezTo>
                  <a:pt x="4242334" y="5750485"/>
                  <a:pt x="4252594" y="5773570"/>
                  <a:pt x="4265418" y="5794089"/>
                </a:cubicBezTo>
                <a:cubicBezTo>
                  <a:pt x="4265418" y="5799219"/>
                  <a:pt x="4262853" y="5799219"/>
                  <a:pt x="4262853" y="5804348"/>
                </a:cubicBezTo>
                <a:cubicBezTo>
                  <a:pt x="4262853" y="5809478"/>
                  <a:pt x="4267983" y="5806913"/>
                  <a:pt x="4273113" y="5806913"/>
                </a:cubicBezTo>
                <a:cubicBezTo>
                  <a:pt x="4285937" y="5822302"/>
                  <a:pt x="4303891" y="5837692"/>
                  <a:pt x="4306456" y="5845387"/>
                </a:cubicBezTo>
                <a:cubicBezTo>
                  <a:pt x="4301327" y="5845387"/>
                  <a:pt x="4293632" y="5842822"/>
                  <a:pt x="4283372" y="5842822"/>
                </a:cubicBezTo>
                <a:cubicBezTo>
                  <a:pt x="4280807" y="5853081"/>
                  <a:pt x="4283372" y="5863341"/>
                  <a:pt x="4288502" y="5868471"/>
                </a:cubicBezTo>
                <a:cubicBezTo>
                  <a:pt x="4280807" y="5868471"/>
                  <a:pt x="4267983" y="5865906"/>
                  <a:pt x="4257723" y="5863341"/>
                </a:cubicBezTo>
                <a:cubicBezTo>
                  <a:pt x="4252594" y="5865906"/>
                  <a:pt x="4255159" y="5868471"/>
                  <a:pt x="4252594" y="5871036"/>
                </a:cubicBezTo>
                <a:cubicBezTo>
                  <a:pt x="4262853" y="5883860"/>
                  <a:pt x="4270548" y="5883860"/>
                  <a:pt x="4283372" y="5891554"/>
                </a:cubicBezTo>
                <a:cubicBezTo>
                  <a:pt x="4273113" y="5896685"/>
                  <a:pt x="4262853" y="5904379"/>
                  <a:pt x="4260288" y="5917203"/>
                </a:cubicBezTo>
                <a:cubicBezTo>
                  <a:pt x="4262853" y="5919768"/>
                  <a:pt x="4265418" y="5917203"/>
                  <a:pt x="4270548" y="5917203"/>
                </a:cubicBezTo>
                <a:cubicBezTo>
                  <a:pt x="4265418" y="5917203"/>
                  <a:pt x="4265418" y="5922334"/>
                  <a:pt x="4262853" y="5922334"/>
                </a:cubicBezTo>
                <a:cubicBezTo>
                  <a:pt x="4265418" y="5927463"/>
                  <a:pt x="4262853" y="5932593"/>
                  <a:pt x="4267983" y="5935158"/>
                </a:cubicBezTo>
                <a:cubicBezTo>
                  <a:pt x="4288502" y="5924898"/>
                  <a:pt x="4296197" y="5917203"/>
                  <a:pt x="4319281" y="5914639"/>
                </a:cubicBezTo>
                <a:cubicBezTo>
                  <a:pt x="4316716" y="5917203"/>
                  <a:pt x="4316716" y="5914639"/>
                  <a:pt x="4316716" y="5919768"/>
                </a:cubicBezTo>
                <a:cubicBezTo>
                  <a:pt x="4321846" y="5927463"/>
                  <a:pt x="4337235" y="5922334"/>
                  <a:pt x="4344930" y="5924898"/>
                </a:cubicBezTo>
                <a:cubicBezTo>
                  <a:pt x="4347494" y="5930028"/>
                  <a:pt x="4352625" y="5935158"/>
                  <a:pt x="4355189" y="5940288"/>
                </a:cubicBezTo>
                <a:cubicBezTo>
                  <a:pt x="4350060" y="5937723"/>
                  <a:pt x="4342365" y="5932593"/>
                  <a:pt x="4337235" y="5927463"/>
                </a:cubicBezTo>
                <a:cubicBezTo>
                  <a:pt x="4329540" y="5958242"/>
                  <a:pt x="4337235" y="5973631"/>
                  <a:pt x="4350060" y="5981326"/>
                </a:cubicBezTo>
                <a:cubicBezTo>
                  <a:pt x="4332105" y="5983891"/>
                  <a:pt x="4319281" y="5989020"/>
                  <a:pt x="4309021" y="5996715"/>
                </a:cubicBezTo>
                <a:cubicBezTo>
                  <a:pt x="4265418" y="5989020"/>
                  <a:pt x="4219250" y="5981326"/>
                  <a:pt x="4175647" y="5971066"/>
                </a:cubicBezTo>
                <a:cubicBezTo>
                  <a:pt x="4201296" y="6107006"/>
                  <a:pt x="4388533" y="6081357"/>
                  <a:pt x="4424441" y="6204472"/>
                </a:cubicBezTo>
                <a:cubicBezTo>
                  <a:pt x="4283372" y="6130090"/>
                  <a:pt x="4165387" y="6035189"/>
                  <a:pt x="4044837" y="5940288"/>
                </a:cubicBezTo>
                <a:cubicBezTo>
                  <a:pt x="4021753" y="5924898"/>
                  <a:pt x="4001234" y="5906944"/>
                  <a:pt x="3980715" y="5891554"/>
                </a:cubicBezTo>
                <a:cubicBezTo>
                  <a:pt x="3980715" y="5891554"/>
                  <a:pt x="3980715" y="5894120"/>
                  <a:pt x="3980715" y="5896685"/>
                </a:cubicBezTo>
                <a:cubicBezTo>
                  <a:pt x="3978150" y="5896685"/>
                  <a:pt x="3978150" y="5896685"/>
                  <a:pt x="3978150" y="5899249"/>
                </a:cubicBezTo>
                <a:cubicBezTo>
                  <a:pt x="3949936" y="5855646"/>
                  <a:pt x="3926852" y="5809478"/>
                  <a:pt x="3916593" y="5747921"/>
                </a:cubicBezTo>
                <a:cubicBezTo>
                  <a:pt x="3914028" y="5742791"/>
                  <a:pt x="3908898" y="5750485"/>
                  <a:pt x="3908898" y="5747921"/>
                </a:cubicBezTo>
                <a:cubicBezTo>
                  <a:pt x="3898638" y="5724836"/>
                  <a:pt x="3898638" y="5694058"/>
                  <a:pt x="3885814" y="5678669"/>
                </a:cubicBezTo>
                <a:cubicBezTo>
                  <a:pt x="3888379" y="5676104"/>
                  <a:pt x="3896073" y="5678669"/>
                  <a:pt x="3898638" y="5673539"/>
                </a:cubicBezTo>
                <a:cubicBezTo>
                  <a:pt x="3898638" y="5660714"/>
                  <a:pt x="3890944" y="5658149"/>
                  <a:pt x="3880684" y="5658149"/>
                </a:cubicBezTo>
                <a:cubicBezTo>
                  <a:pt x="3890944" y="5655584"/>
                  <a:pt x="3908898" y="5642760"/>
                  <a:pt x="3890944" y="5635065"/>
                </a:cubicBezTo>
                <a:cubicBezTo>
                  <a:pt x="3885814" y="5635065"/>
                  <a:pt x="3883249" y="5640195"/>
                  <a:pt x="3878119" y="5640195"/>
                </a:cubicBezTo>
                <a:cubicBezTo>
                  <a:pt x="3875554" y="5637630"/>
                  <a:pt x="3878119" y="5635065"/>
                  <a:pt x="3875554" y="5632501"/>
                </a:cubicBezTo>
                <a:cubicBezTo>
                  <a:pt x="3855035" y="5619676"/>
                  <a:pt x="3862730" y="5573508"/>
                  <a:pt x="3849905" y="5555554"/>
                </a:cubicBezTo>
                <a:cubicBezTo>
                  <a:pt x="3849905" y="5550424"/>
                  <a:pt x="3852470" y="5550424"/>
                  <a:pt x="3852470" y="5547859"/>
                </a:cubicBezTo>
                <a:cubicBezTo>
                  <a:pt x="3852470" y="5542729"/>
                  <a:pt x="3849905" y="5542729"/>
                  <a:pt x="3849905" y="5537600"/>
                </a:cubicBezTo>
                <a:cubicBezTo>
                  <a:pt x="3852470" y="5535035"/>
                  <a:pt x="3862730" y="5532470"/>
                  <a:pt x="3865295" y="5524775"/>
                </a:cubicBezTo>
                <a:cubicBezTo>
                  <a:pt x="3860165" y="5519645"/>
                  <a:pt x="3855035" y="5519645"/>
                  <a:pt x="3852470" y="5514515"/>
                </a:cubicBezTo>
                <a:cubicBezTo>
                  <a:pt x="3849905" y="5519645"/>
                  <a:pt x="3844776" y="5522210"/>
                  <a:pt x="3842210" y="5524775"/>
                </a:cubicBezTo>
                <a:cubicBezTo>
                  <a:pt x="3837081" y="5522210"/>
                  <a:pt x="3837081" y="5517080"/>
                  <a:pt x="3831951" y="5517080"/>
                </a:cubicBezTo>
                <a:cubicBezTo>
                  <a:pt x="3824256" y="5524775"/>
                  <a:pt x="3834516" y="5532470"/>
                  <a:pt x="3839646" y="5537600"/>
                </a:cubicBezTo>
                <a:cubicBezTo>
                  <a:pt x="3839646" y="5545294"/>
                  <a:pt x="3837081" y="5547859"/>
                  <a:pt x="3834516" y="5550424"/>
                </a:cubicBezTo>
                <a:cubicBezTo>
                  <a:pt x="3837081" y="5560683"/>
                  <a:pt x="3849905" y="5560683"/>
                  <a:pt x="3844776" y="5570943"/>
                </a:cubicBezTo>
                <a:cubicBezTo>
                  <a:pt x="3847340" y="5570943"/>
                  <a:pt x="3847340" y="5568378"/>
                  <a:pt x="3847340" y="5568378"/>
                </a:cubicBezTo>
                <a:cubicBezTo>
                  <a:pt x="3857600" y="5581203"/>
                  <a:pt x="3852470" y="5617111"/>
                  <a:pt x="3862730" y="5629936"/>
                </a:cubicBezTo>
                <a:cubicBezTo>
                  <a:pt x="3857600" y="5629936"/>
                  <a:pt x="3852470" y="5635065"/>
                  <a:pt x="3855035" y="5637630"/>
                </a:cubicBezTo>
                <a:cubicBezTo>
                  <a:pt x="3852470" y="5637630"/>
                  <a:pt x="3842210" y="5629936"/>
                  <a:pt x="3834516" y="5637630"/>
                </a:cubicBezTo>
                <a:cubicBezTo>
                  <a:pt x="3834516" y="5650455"/>
                  <a:pt x="3842210" y="5655584"/>
                  <a:pt x="3852470" y="5655584"/>
                </a:cubicBezTo>
                <a:cubicBezTo>
                  <a:pt x="3852470" y="5660714"/>
                  <a:pt x="3847340" y="5660714"/>
                  <a:pt x="3847340" y="5665844"/>
                </a:cubicBezTo>
                <a:cubicBezTo>
                  <a:pt x="3852470" y="5676104"/>
                  <a:pt x="3862730" y="5673539"/>
                  <a:pt x="3872989" y="5673539"/>
                </a:cubicBezTo>
                <a:cubicBezTo>
                  <a:pt x="3872989" y="5678669"/>
                  <a:pt x="3883249" y="5686363"/>
                  <a:pt x="3883249" y="5699188"/>
                </a:cubicBezTo>
                <a:cubicBezTo>
                  <a:pt x="3888379" y="5706882"/>
                  <a:pt x="3893508" y="5719707"/>
                  <a:pt x="3893508" y="5735096"/>
                </a:cubicBezTo>
                <a:cubicBezTo>
                  <a:pt x="3898638" y="5745356"/>
                  <a:pt x="3906333" y="5755615"/>
                  <a:pt x="3906333" y="5765875"/>
                </a:cubicBezTo>
                <a:cubicBezTo>
                  <a:pt x="3919157" y="5788959"/>
                  <a:pt x="3921722" y="5819738"/>
                  <a:pt x="3934547" y="5832562"/>
                </a:cubicBezTo>
                <a:cubicBezTo>
                  <a:pt x="3934547" y="5840257"/>
                  <a:pt x="3937111" y="5842822"/>
                  <a:pt x="3939677" y="5847951"/>
                </a:cubicBezTo>
                <a:cubicBezTo>
                  <a:pt x="3939677" y="5855646"/>
                  <a:pt x="3929417" y="5853081"/>
                  <a:pt x="3934547" y="5860776"/>
                </a:cubicBezTo>
                <a:cubicBezTo>
                  <a:pt x="3931982" y="5860776"/>
                  <a:pt x="3929417" y="5858211"/>
                  <a:pt x="3926852" y="5860776"/>
                </a:cubicBezTo>
                <a:cubicBezTo>
                  <a:pt x="3926852" y="5855646"/>
                  <a:pt x="3921722" y="5850516"/>
                  <a:pt x="3921722" y="5845387"/>
                </a:cubicBezTo>
                <a:cubicBezTo>
                  <a:pt x="3911463" y="5845387"/>
                  <a:pt x="3908898" y="5855646"/>
                  <a:pt x="3908898" y="5860776"/>
                </a:cubicBezTo>
                <a:cubicBezTo>
                  <a:pt x="3903768" y="5853081"/>
                  <a:pt x="3885814" y="5855646"/>
                  <a:pt x="3883249" y="5865906"/>
                </a:cubicBezTo>
                <a:cubicBezTo>
                  <a:pt x="3885814" y="5873600"/>
                  <a:pt x="3893508" y="5873600"/>
                  <a:pt x="3893508" y="5878730"/>
                </a:cubicBezTo>
                <a:cubicBezTo>
                  <a:pt x="3903768" y="5881295"/>
                  <a:pt x="3911463" y="5876165"/>
                  <a:pt x="3914028" y="5881295"/>
                </a:cubicBezTo>
                <a:cubicBezTo>
                  <a:pt x="3911463" y="5888990"/>
                  <a:pt x="3898638" y="5883860"/>
                  <a:pt x="3896073" y="5888990"/>
                </a:cubicBezTo>
                <a:cubicBezTo>
                  <a:pt x="3898638" y="5891554"/>
                  <a:pt x="3896073" y="5896685"/>
                  <a:pt x="3898638" y="5899249"/>
                </a:cubicBezTo>
                <a:cubicBezTo>
                  <a:pt x="3908898" y="5901814"/>
                  <a:pt x="3914028" y="5894120"/>
                  <a:pt x="3921722" y="5886425"/>
                </a:cubicBezTo>
                <a:cubicBezTo>
                  <a:pt x="3929417" y="5886425"/>
                  <a:pt x="3931982" y="5886425"/>
                  <a:pt x="3934547" y="5881295"/>
                </a:cubicBezTo>
                <a:cubicBezTo>
                  <a:pt x="3937111" y="5883860"/>
                  <a:pt x="3934547" y="5886425"/>
                  <a:pt x="3931982" y="5886425"/>
                </a:cubicBezTo>
                <a:cubicBezTo>
                  <a:pt x="3937111" y="5886425"/>
                  <a:pt x="3942242" y="5883860"/>
                  <a:pt x="3947371" y="5886425"/>
                </a:cubicBezTo>
                <a:cubicBezTo>
                  <a:pt x="3955066" y="5896685"/>
                  <a:pt x="3962760" y="5906944"/>
                  <a:pt x="3970455" y="5919768"/>
                </a:cubicBezTo>
                <a:cubicBezTo>
                  <a:pt x="3967890" y="5932593"/>
                  <a:pt x="3965325" y="5945417"/>
                  <a:pt x="3962760" y="5958242"/>
                </a:cubicBezTo>
                <a:cubicBezTo>
                  <a:pt x="3942242" y="6073662"/>
                  <a:pt x="3890944" y="6150609"/>
                  <a:pt x="3824256" y="6245510"/>
                </a:cubicBezTo>
                <a:cubicBezTo>
                  <a:pt x="3806302" y="6255770"/>
                  <a:pt x="3793478" y="6248075"/>
                  <a:pt x="3775524" y="6268594"/>
                </a:cubicBezTo>
                <a:cubicBezTo>
                  <a:pt x="3755004" y="6283983"/>
                  <a:pt x="3772958" y="6304502"/>
                  <a:pt x="3760134" y="6322457"/>
                </a:cubicBezTo>
                <a:cubicBezTo>
                  <a:pt x="3675492" y="6342976"/>
                  <a:pt x="3593416" y="6335281"/>
                  <a:pt x="3513904" y="6312197"/>
                </a:cubicBezTo>
                <a:cubicBezTo>
                  <a:pt x="3483125" y="6263464"/>
                  <a:pt x="3449782" y="6217296"/>
                  <a:pt x="3413873" y="6176258"/>
                </a:cubicBezTo>
                <a:cubicBezTo>
                  <a:pt x="3393354" y="6150609"/>
                  <a:pt x="3375400" y="6124960"/>
                  <a:pt x="3354881" y="6096746"/>
                </a:cubicBezTo>
                <a:cubicBezTo>
                  <a:pt x="3295888" y="6014669"/>
                  <a:pt x="3236896" y="5930028"/>
                  <a:pt x="3136865" y="5906944"/>
                </a:cubicBezTo>
                <a:cubicBezTo>
                  <a:pt x="3116346" y="5901814"/>
                  <a:pt x="3095827" y="5899249"/>
                  <a:pt x="3077873" y="5899249"/>
                </a:cubicBezTo>
                <a:cubicBezTo>
                  <a:pt x="3052224" y="5899249"/>
                  <a:pt x="3026575" y="5896685"/>
                  <a:pt x="3003492" y="5886425"/>
                </a:cubicBezTo>
                <a:cubicBezTo>
                  <a:pt x="2965017" y="5868471"/>
                  <a:pt x="2949629" y="5840257"/>
                  <a:pt x="2931673" y="5796654"/>
                </a:cubicBezTo>
                <a:cubicBezTo>
                  <a:pt x="2941933" y="5776134"/>
                  <a:pt x="2962452" y="5765875"/>
                  <a:pt x="2985536" y="5755615"/>
                </a:cubicBezTo>
                <a:cubicBezTo>
                  <a:pt x="3021445" y="5737661"/>
                  <a:pt x="3062483" y="5717142"/>
                  <a:pt x="3047094" y="5653020"/>
                </a:cubicBezTo>
                <a:cubicBezTo>
                  <a:pt x="3049659" y="5650455"/>
                  <a:pt x="3052224" y="5650455"/>
                  <a:pt x="3059918" y="5650455"/>
                </a:cubicBezTo>
                <a:cubicBezTo>
                  <a:pt x="3065048" y="5650455"/>
                  <a:pt x="3072743" y="5650455"/>
                  <a:pt x="3077873" y="5645325"/>
                </a:cubicBezTo>
                <a:cubicBezTo>
                  <a:pt x="3090697" y="5632501"/>
                  <a:pt x="3100957" y="5591462"/>
                  <a:pt x="3093262" y="5570943"/>
                </a:cubicBezTo>
                <a:cubicBezTo>
                  <a:pt x="3095827" y="5565813"/>
                  <a:pt x="3100957" y="5565813"/>
                  <a:pt x="3108652" y="5563249"/>
                </a:cubicBezTo>
                <a:cubicBezTo>
                  <a:pt x="3113781" y="5563249"/>
                  <a:pt x="3118911" y="5560683"/>
                  <a:pt x="3124040" y="5558118"/>
                </a:cubicBezTo>
                <a:lnTo>
                  <a:pt x="3126605" y="5555554"/>
                </a:lnTo>
                <a:lnTo>
                  <a:pt x="3126605" y="5552989"/>
                </a:lnTo>
                <a:cubicBezTo>
                  <a:pt x="3131736" y="5519645"/>
                  <a:pt x="3124040" y="5493996"/>
                  <a:pt x="3116346" y="5468347"/>
                </a:cubicBezTo>
                <a:cubicBezTo>
                  <a:pt x="3108652" y="5440134"/>
                  <a:pt x="3100957" y="5411920"/>
                  <a:pt x="3106086" y="5373446"/>
                </a:cubicBezTo>
                <a:cubicBezTo>
                  <a:pt x="3111216" y="5327278"/>
                  <a:pt x="3141995" y="5265721"/>
                  <a:pt x="3177903" y="5240072"/>
                </a:cubicBezTo>
                <a:cubicBezTo>
                  <a:pt x="3193294" y="5229812"/>
                  <a:pt x="3206117" y="5227247"/>
                  <a:pt x="3218942" y="5229812"/>
                </a:cubicBezTo>
                <a:cubicBezTo>
                  <a:pt x="3242026" y="5234942"/>
                  <a:pt x="3249720" y="5260591"/>
                  <a:pt x="3259980" y="5283675"/>
                </a:cubicBezTo>
                <a:cubicBezTo>
                  <a:pt x="3267675" y="5301629"/>
                  <a:pt x="3272804" y="5317019"/>
                  <a:pt x="3283064" y="5327278"/>
                </a:cubicBezTo>
                <a:cubicBezTo>
                  <a:pt x="3324102" y="5373446"/>
                  <a:pt x="3421568" y="5404225"/>
                  <a:pt x="3493385" y="5393965"/>
                </a:cubicBezTo>
                <a:cubicBezTo>
                  <a:pt x="3539553" y="5386271"/>
                  <a:pt x="3562637" y="5358057"/>
                  <a:pt x="3585721" y="5329843"/>
                </a:cubicBezTo>
                <a:cubicBezTo>
                  <a:pt x="3601111" y="5309324"/>
                  <a:pt x="3616500" y="5288805"/>
                  <a:pt x="3642149" y="5275980"/>
                </a:cubicBezTo>
                <a:cubicBezTo>
                  <a:pt x="3649844" y="5273416"/>
                  <a:pt x="3657538" y="5270851"/>
                  <a:pt x="3667798" y="5268286"/>
                </a:cubicBezTo>
                <a:cubicBezTo>
                  <a:pt x="3688317" y="5263156"/>
                  <a:pt x="3711401" y="5258026"/>
                  <a:pt x="3724226" y="5240072"/>
                </a:cubicBezTo>
                <a:cubicBezTo>
                  <a:pt x="3737050" y="5224682"/>
                  <a:pt x="3737050" y="5204164"/>
                  <a:pt x="3737050" y="5186209"/>
                </a:cubicBezTo>
                <a:cubicBezTo>
                  <a:pt x="3739615" y="5168255"/>
                  <a:pt x="3739615" y="5150301"/>
                  <a:pt x="3747310" y="5134911"/>
                </a:cubicBezTo>
                <a:cubicBezTo>
                  <a:pt x="3752439" y="5127217"/>
                  <a:pt x="3760134" y="5122087"/>
                  <a:pt x="3767829" y="5116957"/>
                </a:cubicBezTo>
                <a:cubicBezTo>
                  <a:pt x="3778088" y="5109262"/>
                  <a:pt x="3790913" y="5101568"/>
                  <a:pt x="3796042" y="5086178"/>
                </a:cubicBezTo>
                <a:cubicBezTo>
                  <a:pt x="3801172" y="5065659"/>
                  <a:pt x="3790913" y="5050270"/>
                  <a:pt x="3783218" y="5037446"/>
                </a:cubicBezTo>
                <a:cubicBezTo>
                  <a:pt x="3775524" y="5024621"/>
                  <a:pt x="3767829" y="5011797"/>
                  <a:pt x="3770393" y="4996407"/>
                </a:cubicBezTo>
                <a:cubicBezTo>
                  <a:pt x="3770393" y="4991277"/>
                  <a:pt x="3775524" y="4983583"/>
                  <a:pt x="3780653" y="4978453"/>
                </a:cubicBezTo>
                <a:cubicBezTo>
                  <a:pt x="3785783" y="4970758"/>
                  <a:pt x="3790913" y="4963063"/>
                  <a:pt x="3790913" y="4955369"/>
                </a:cubicBezTo>
                <a:cubicBezTo>
                  <a:pt x="3793478" y="4939980"/>
                  <a:pt x="3785783" y="4924590"/>
                  <a:pt x="3778088" y="4911766"/>
                </a:cubicBezTo>
                <a:cubicBezTo>
                  <a:pt x="3767829" y="4891246"/>
                  <a:pt x="3757569" y="4875857"/>
                  <a:pt x="3775524" y="4855338"/>
                </a:cubicBezTo>
                <a:lnTo>
                  <a:pt x="3778088" y="4850208"/>
                </a:lnTo>
                <a:lnTo>
                  <a:pt x="3775524" y="4845079"/>
                </a:lnTo>
                <a:cubicBezTo>
                  <a:pt x="3770393" y="4839948"/>
                  <a:pt x="3767829" y="4832254"/>
                  <a:pt x="3762699" y="4824559"/>
                </a:cubicBezTo>
                <a:cubicBezTo>
                  <a:pt x="3752439" y="4806605"/>
                  <a:pt x="3742180" y="4786086"/>
                  <a:pt x="3716531" y="4778391"/>
                </a:cubicBezTo>
                <a:cubicBezTo>
                  <a:pt x="3729355" y="4770696"/>
                  <a:pt x="3755004" y="4768132"/>
                  <a:pt x="3780653" y="4765567"/>
                </a:cubicBezTo>
                <a:cubicBezTo>
                  <a:pt x="3813997" y="4763002"/>
                  <a:pt x="3847340" y="4760437"/>
                  <a:pt x="3857600" y="4739918"/>
                </a:cubicBezTo>
                <a:cubicBezTo>
                  <a:pt x="3862730" y="4727093"/>
                  <a:pt x="3860165" y="4711704"/>
                  <a:pt x="3844776" y="4691185"/>
                </a:cubicBezTo>
                <a:cubicBezTo>
                  <a:pt x="3852470" y="4678361"/>
                  <a:pt x="3860165" y="4662971"/>
                  <a:pt x="3857600" y="4650147"/>
                </a:cubicBezTo>
                <a:cubicBezTo>
                  <a:pt x="3857600" y="4650147"/>
                  <a:pt x="3855035" y="4647581"/>
                  <a:pt x="3855035" y="4645017"/>
                </a:cubicBezTo>
                <a:cubicBezTo>
                  <a:pt x="3852470" y="4639887"/>
                  <a:pt x="3849905" y="4634757"/>
                  <a:pt x="3844776" y="4632192"/>
                </a:cubicBezTo>
                <a:lnTo>
                  <a:pt x="3842210" y="4632192"/>
                </a:lnTo>
                <a:cubicBezTo>
                  <a:pt x="3831951" y="4629627"/>
                  <a:pt x="3824256" y="4629627"/>
                  <a:pt x="3819127" y="4632192"/>
                </a:cubicBezTo>
                <a:lnTo>
                  <a:pt x="3832116" y="4598685"/>
                </a:lnTo>
                <a:lnTo>
                  <a:pt x="3834515" y="4596285"/>
                </a:lnTo>
                <a:lnTo>
                  <a:pt x="3833870" y="4594160"/>
                </a:lnTo>
                <a:lnTo>
                  <a:pt x="3841249" y="4575124"/>
                </a:lnTo>
                <a:cubicBezTo>
                  <a:pt x="3843493" y="4555887"/>
                  <a:pt x="3840928" y="4536009"/>
                  <a:pt x="3834516" y="4514207"/>
                </a:cubicBezTo>
                <a:cubicBezTo>
                  <a:pt x="3855035" y="4509077"/>
                  <a:pt x="3867859" y="4493688"/>
                  <a:pt x="3872989" y="4473169"/>
                </a:cubicBezTo>
                <a:cubicBezTo>
                  <a:pt x="3880684" y="4444955"/>
                  <a:pt x="3870424" y="4416741"/>
                  <a:pt x="3852470" y="4401352"/>
                </a:cubicBezTo>
                <a:cubicBezTo>
                  <a:pt x="3837081" y="4385963"/>
                  <a:pt x="3813997" y="4383398"/>
                  <a:pt x="3790913" y="4393657"/>
                </a:cubicBezTo>
                <a:cubicBezTo>
                  <a:pt x="3775524" y="4380833"/>
                  <a:pt x="3765264" y="4360314"/>
                  <a:pt x="3762699" y="4329535"/>
                </a:cubicBezTo>
                <a:lnTo>
                  <a:pt x="3762699" y="4326970"/>
                </a:lnTo>
                <a:lnTo>
                  <a:pt x="3760134" y="4324405"/>
                </a:lnTo>
                <a:cubicBezTo>
                  <a:pt x="3742180" y="4314145"/>
                  <a:pt x="3719096" y="4311581"/>
                  <a:pt x="3698577" y="4309016"/>
                </a:cubicBezTo>
                <a:cubicBezTo>
                  <a:pt x="3647279" y="4301321"/>
                  <a:pt x="3619065" y="4296191"/>
                  <a:pt x="3621630" y="4250023"/>
                </a:cubicBezTo>
                <a:lnTo>
                  <a:pt x="3621630" y="4247458"/>
                </a:lnTo>
                <a:lnTo>
                  <a:pt x="3619065" y="4244893"/>
                </a:lnTo>
                <a:cubicBezTo>
                  <a:pt x="3588286" y="4214115"/>
                  <a:pt x="3552378" y="4183336"/>
                  <a:pt x="3506210" y="4149992"/>
                </a:cubicBezTo>
                <a:lnTo>
                  <a:pt x="3505876" y="4142298"/>
                </a:lnTo>
                <a:lnTo>
                  <a:pt x="3503644" y="4142298"/>
                </a:lnTo>
                <a:cubicBezTo>
                  <a:pt x="3498514" y="4142298"/>
                  <a:pt x="3490819" y="4144863"/>
                  <a:pt x="3490819" y="4155122"/>
                </a:cubicBezTo>
                <a:cubicBezTo>
                  <a:pt x="3472865" y="4229505"/>
                  <a:pt x="3444651" y="4267978"/>
                  <a:pt x="3413872" y="4314146"/>
                </a:cubicBezTo>
                <a:cubicBezTo>
                  <a:pt x="3403613" y="4329535"/>
                  <a:pt x="3393353" y="4344925"/>
                  <a:pt x="3383094" y="4360314"/>
                </a:cubicBezTo>
                <a:lnTo>
                  <a:pt x="3393353" y="4368009"/>
                </a:lnTo>
                <a:cubicBezTo>
                  <a:pt x="3439521" y="4321840"/>
                  <a:pt x="3485689" y="4270543"/>
                  <a:pt x="3516468" y="4196161"/>
                </a:cubicBezTo>
                <a:cubicBezTo>
                  <a:pt x="3547247" y="4206420"/>
                  <a:pt x="3570331" y="4229505"/>
                  <a:pt x="3593415" y="4252588"/>
                </a:cubicBezTo>
                <a:cubicBezTo>
                  <a:pt x="3590850" y="4260283"/>
                  <a:pt x="3588285" y="4270543"/>
                  <a:pt x="3585720" y="4280802"/>
                </a:cubicBezTo>
                <a:cubicBezTo>
                  <a:pt x="3570331" y="4334665"/>
                  <a:pt x="3552376" y="4396223"/>
                  <a:pt x="3529293" y="4442390"/>
                </a:cubicBezTo>
                <a:lnTo>
                  <a:pt x="3539552" y="4450085"/>
                </a:lnTo>
                <a:cubicBezTo>
                  <a:pt x="3554941" y="4429566"/>
                  <a:pt x="3575461" y="4396223"/>
                  <a:pt x="3588285" y="4360314"/>
                </a:cubicBezTo>
                <a:cubicBezTo>
                  <a:pt x="3583155" y="4375703"/>
                  <a:pt x="3580590" y="4391092"/>
                  <a:pt x="3575461" y="4403917"/>
                </a:cubicBezTo>
                <a:lnTo>
                  <a:pt x="3585720" y="4411612"/>
                </a:lnTo>
                <a:lnTo>
                  <a:pt x="3598855" y="4395662"/>
                </a:lnTo>
                <a:lnTo>
                  <a:pt x="3585721" y="4425398"/>
                </a:lnTo>
                <a:cubicBezTo>
                  <a:pt x="3577385" y="4441749"/>
                  <a:pt x="3569049" y="4456497"/>
                  <a:pt x="3562636" y="4468039"/>
                </a:cubicBezTo>
                <a:lnTo>
                  <a:pt x="3557507" y="4475734"/>
                </a:lnTo>
                <a:lnTo>
                  <a:pt x="3565201" y="4475734"/>
                </a:lnTo>
                <a:cubicBezTo>
                  <a:pt x="3562636" y="4480864"/>
                  <a:pt x="3557507" y="4483429"/>
                  <a:pt x="3554941" y="4488558"/>
                </a:cubicBezTo>
                <a:cubicBezTo>
                  <a:pt x="3544682" y="4501383"/>
                  <a:pt x="3534422" y="4514207"/>
                  <a:pt x="3526728" y="4534727"/>
                </a:cubicBezTo>
                <a:lnTo>
                  <a:pt x="3536987" y="4542421"/>
                </a:lnTo>
                <a:cubicBezTo>
                  <a:pt x="3578025" y="4503948"/>
                  <a:pt x="3626759" y="4447520"/>
                  <a:pt x="3647278" y="4342360"/>
                </a:cubicBezTo>
                <a:cubicBezTo>
                  <a:pt x="3665232" y="4352619"/>
                  <a:pt x="3685751" y="4352619"/>
                  <a:pt x="3708835" y="4352619"/>
                </a:cubicBezTo>
                <a:cubicBezTo>
                  <a:pt x="3724225" y="4352619"/>
                  <a:pt x="3742179" y="4352619"/>
                  <a:pt x="3755003" y="4357749"/>
                </a:cubicBezTo>
                <a:cubicBezTo>
                  <a:pt x="3757568" y="4362879"/>
                  <a:pt x="3760133" y="4370574"/>
                  <a:pt x="3762698" y="4375703"/>
                </a:cubicBezTo>
                <a:cubicBezTo>
                  <a:pt x="3767828" y="4393658"/>
                  <a:pt x="3775522" y="4414177"/>
                  <a:pt x="3790912" y="4427001"/>
                </a:cubicBezTo>
                <a:cubicBezTo>
                  <a:pt x="3760133" y="4450085"/>
                  <a:pt x="3731919" y="4480864"/>
                  <a:pt x="3703705" y="4509078"/>
                </a:cubicBezTo>
                <a:cubicBezTo>
                  <a:pt x="3672927" y="4539856"/>
                  <a:pt x="3642148" y="4570635"/>
                  <a:pt x="3611369" y="4593720"/>
                </a:cubicBezTo>
                <a:cubicBezTo>
                  <a:pt x="3616499" y="4580895"/>
                  <a:pt x="3621629" y="4565505"/>
                  <a:pt x="3616499" y="4555246"/>
                </a:cubicBezTo>
                <a:cubicBezTo>
                  <a:pt x="3613934" y="4547551"/>
                  <a:pt x="3608804" y="4539856"/>
                  <a:pt x="3595980" y="4537292"/>
                </a:cubicBezTo>
                <a:lnTo>
                  <a:pt x="3590850" y="4534727"/>
                </a:lnTo>
                <a:lnTo>
                  <a:pt x="3588285" y="4539856"/>
                </a:lnTo>
                <a:cubicBezTo>
                  <a:pt x="3483124" y="4821996"/>
                  <a:pt x="3280498" y="4927156"/>
                  <a:pt x="3065047" y="5037447"/>
                </a:cubicBezTo>
                <a:cubicBezTo>
                  <a:pt x="3008619" y="5068225"/>
                  <a:pt x="2947062" y="5099004"/>
                  <a:pt x="2890634" y="5132348"/>
                </a:cubicBezTo>
                <a:lnTo>
                  <a:pt x="2895051" y="5143389"/>
                </a:lnTo>
                <a:lnTo>
                  <a:pt x="2785474" y="5188775"/>
                </a:lnTo>
                <a:lnTo>
                  <a:pt x="2782909" y="5188775"/>
                </a:lnTo>
                <a:cubicBezTo>
                  <a:pt x="2782909" y="5188775"/>
                  <a:pt x="2780344" y="5191340"/>
                  <a:pt x="2777779" y="5191340"/>
                </a:cubicBezTo>
                <a:lnTo>
                  <a:pt x="2772649" y="5193905"/>
                </a:lnTo>
                <a:lnTo>
                  <a:pt x="2772649" y="5199035"/>
                </a:lnTo>
                <a:cubicBezTo>
                  <a:pt x="2772649" y="5199035"/>
                  <a:pt x="2772649" y="5201600"/>
                  <a:pt x="2772649" y="5201600"/>
                </a:cubicBezTo>
                <a:cubicBezTo>
                  <a:pt x="2772649" y="5201600"/>
                  <a:pt x="2770084" y="5204165"/>
                  <a:pt x="2767519" y="5204165"/>
                </a:cubicBezTo>
                <a:cubicBezTo>
                  <a:pt x="2754695" y="5209295"/>
                  <a:pt x="2741870" y="5211859"/>
                  <a:pt x="2736741" y="5222119"/>
                </a:cubicBezTo>
                <a:lnTo>
                  <a:pt x="2729046" y="5237508"/>
                </a:lnTo>
                <a:lnTo>
                  <a:pt x="2744435" y="5232378"/>
                </a:lnTo>
                <a:cubicBezTo>
                  <a:pt x="2754695" y="5229814"/>
                  <a:pt x="2762389" y="5224684"/>
                  <a:pt x="2772649" y="5222119"/>
                </a:cubicBezTo>
                <a:cubicBezTo>
                  <a:pt x="2698267" y="5255463"/>
                  <a:pt x="2626450" y="5283676"/>
                  <a:pt x="2554633" y="5311890"/>
                </a:cubicBezTo>
                <a:lnTo>
                  <a:pt x="2552068" y="5311890"/>
                </a:lnTo>
                <a:cubicBezTo>
                  <a:pt x="2518725" y="5337539"/>
                  <a:pt x="2475122" y="5363188"/>
                  <a:pt x="2441778" y="5378577"/>
                </a:cubicBezTo>
                <a:lnTo>
                  <a:pt x="2439213" y="5373448"/>
                </a:lnTo>
                <a:cubicBezTo>
                  <a:pt x="2441778" y="5370883"/>
                  <a:pt x="2446908" y="5368318"/>
                  <a:pt x="2452037" y="5365753"/>
                </a:cubicBezTo>
                <a:cubicBezTo>
                  <a:pt x="2503335" y="5334974"/>
                  <a:pt x="2554633" y="5304196"/>
                  <a:pt x="2605931" y="5270852"/>
                </a:cubicBezTo>
                <a:lnTo>
                  <a:pt x="2600802" y="5260592"/>
                </a:lnTo>
                <a:cubicBezTo>
                  <a:pt x="2513595" y="5291371"/>
                  <a:pt x="2418694" y="5340104"/>
                  <a:pt x="2326358" y="5401662"/>
                </a:cubicBezTo>
                <a:cubicBezTo>
                  <a:pt x="2326358" y="5386272"/>
                  <a:pt x="2303274" y="5396532"/>
                  <a:pt x="2295579" y="5386272"/>
                </a:cubicBezTo>
                <a:cubicBezTo>
                  <a:pt x="2295579" y="5370883"/>
                  <a:pt x="2305840" y="5368318"/>
                  <a:pt x="2316099" y="5365753"/>
                </a:cubicBezTo>
                <a:cubicBezTo>
                  <a:pt x="2287884" y="5332409"/>
                  <a:pt x="2259670" y="5299066"/>
                  <a:pt x="2236586" y="5263157"/>
                </a:cubicBezTo>
                <a:cubicBezTo>
                  <a:pt x="2234022" y="5255463"/>
                  <a:pt x="2228892" y="5247768"/>
                  <a:pt x="2226327" y="5240073"/>
                </a:cubicBezTo>
                <a:cubicBezTo>
                  <a:pt x="2255182" y="5225325"/>
                  <a:pt x="2285640" y="5207851"/>
                  <a:pt x="2315497" y="5186611"/>
                </a:cubicBezTo>
                <a:lnTo>
                  <a:pt x="2395045" y="5115894"/>
                </a:lnTo>
                <a:lnTo>
                  <a:pt x="2370602" y="5148698"/>
                </a:lnTo>
                <a:cubicBezTo>
                  <a:pt x="2330846" y="5189416"/>
                  <a:pt x="2287884" y="5222119"/>
                  <a:pt x="2241716" y="5247768"/>
                </a:cubicBezTo>
                <a:lnTo>
                  <a:pt x="2246846" y="5258027"/>
                </a:lnTo>
                <a:cubicBezTo>
                  <a:pt x="2354571" y="5222119"/>
                  <a:pt x="2434084" y="5140043"/>
                  <a:pt x="2490511" y="5006668"/>
                </a:cubicBezTo>
                <a:lnTo>
                  <a:pt x="2480251" y="5001538"/>
                </a:lnTo>
                <a:lnTo>
                  <a:pt x="2447871" y="5044996"/>
                </a:lnTo>
                <a:lnTo>
                  <a:pt x="2469791" y="5005626"/>
                </a:lnTo>
                <a:cubicBezTo>
                  <a:pt x="2488427" y="4965149"/>
                  <a:pt x="2502053" y="4918820"/>
                  <a:pt x="2508465" y="4865599"/>
                </a:cubicBezTo>
                <a:lnTo>
                  <a:pt x="2495642" y="4863034"/>
                </a:lnTo>
                <a:lnTo>
                  <a:pt x="2484382" y="4901533"/>
                </a:lnTo>
                <a:lnTo>
                  <a:pt x="2490511" y="4875858"/>
                </a:lnTo>
                <a:lnTo>
                  <a:pt x="2493076" y="4863034"/>
                </a:lnTo>
                <a:lnTo>
                  <a:pt x="2480251" y="4870729"/>
                </a:lnTo>
                <a:cubicBezTo>
                  <a:pt x="2475122" y="4873293"/>
                  <a:pt x="2475122" y="4873293"/>
                  <a:pt x="2472557" y="4875858"/>
                </a:cubicBezTo>
                <a:cubicBezTo>
                  <a:pt x="2477686" y="4863034"/>
                  <a:pt x="2480251" y="4847644"/>
                  <a:pt x="2482816" y="4832255"/>
                </a:cubicBezTo>
                <a:cubicBezTo>
                  <a:pt x="2490511" y="4796347"/>
                  <a:pt x="2477686" y="4783522"/>
                  <a:pt x="2467427" y="4778392"/>
                </a:cubicBezTo>
                <a:lnTo>
                  <a:pt x="2459732" y="4775827"/>
                </a:lnTo>
                <a:lnTo>
                  <a:pt x="2459732" y="4783522"/>
                </a:lnTo>
                <a:cubicBezTo>
                  <a:pt x="2444343" y="4924591"/>
                  <a:pt x="2385350" y="5024622"/>
                  <a:pt x="2303274" y="5099004"/>
                </a:cubicBezTo>
                <a:cubicBezTo>
                  <a:pt x="2346877" y="5052836"/>
                  <a:pt x="2382785" y="4998973"/>
                  <a:pt x="2405869" y="4937416"/>
                </a:cubicBezTo>
                <a:lnTo>
                  <a:pt x="2395610" y="4932286"/>
                </a:lnTo>
                <a:lnTo>
                  <a:pt x="2329211" y="5021708"/>
                </a:lnTo>
                <a:lnTo>
                  <a:pt x="2362266" y="4968194"/>
                </a:lnTo>
                <a:lnTo>
                  <a:pt x="2352007" y="4960500"/>
                </a:lnTo>
                <a:cubicBezTo>
                  <a:pt x="2341747" y="4973324"/>
                  <a:pt x="2328922" y="4986149"/>
                  <a:pt x="2318663" y="5001538"/>
                </a:cubicBezTo>
                <a:cubicBezTo>
                  <a:pt x="2303274" y="5022057"/>
                  <a:pt x="2285320" y="5042576"/>
                  <a:pt x="2269930" y="5060531"/>
                </a:cubicBezTo>
                <a:lnTo>
                  <a:pt x="2269930" y="5047706"/>
                </a:lnTo>
                <a:lnTo>
                  <a:pt x="2257106" y="5063096"/>
                </a:lnTo>
                <a:cubicBezTo>
                  <a:pt x="2226327" y="5099004"/>
                  <a:pt x="2190419" y="5127218"/>
                  <a:pt x="2151945" y="5152867"/>
                </a:cubicBezTo>
                <a:cubicBezTo>
                  <a:pt x="2131426" y="5124653"/>
                  <a:pt x="2110907" y="5096439"/>
                  <a:pt x="2087823" y="5068225"/>
                </a:cubicBezTo>
                <a:cubicBezTo>
                  <a:pt x="2090388" y="5065660"/>
                  <a:pt x="2092952" y="5060531"/>
                  <a:pt x="2095518" y="5055401"/>
                </a:cubicBezTo>
                <a:cubicBezTo>
                  <a:pt x="2100647" y="5045141"/>
                  <a:pt x="2108342" y="5032317"/>
                  <a:pt x="2113472" y="5022057"/>
                </a:cubicBezTo>
                <a:cubicBezTo>
                  <a:pt x="2131426" y="4988714"/>
                  <a:pt x="2149380" y="4957935"/>
                  <a:pt x="2154510" y="4927156"/>
                </a:cubicBezTo>
                <a:cubicBezTo>
                  <a:pt x="2159640" y="4906637"/>
                  <a:pt x="2159640" y="4883553"/>
                  <a:pt x="2162204" y="4860469"/>
                </a:cubicBezTo>
                <a:cubicBezTo>
                  <a:pt x="2167335" y="4793782"/>
                  <a:pt x="2172464" y="4732224"/>
                  <a:pt x="2226327" y="4709140"/>
                </a:cubicBezTo>
                <a:cubicBezTo>
                  <a:pt x="2236586" y="4704011"/>
                  <a:pt x="2246846" y="4706575"/>
                  <a:pt x="2259670" y="4706575"/>
                </a:cubicBezTo>
                <a:cubicBezTo>
                  <a:pt x="2262235" y="4706575"/>
                  <a:pt x="2267365" y="4706575"/>
                  <a:pt x="2269930" y="4706575"/>
                </a:cubicBezTo>
                <a:lnTo>
                  <a:pt x="2272495" y="4706575"/>
                </a:lnTo>
                <a:lnTo>
                  <a:pt x="2277625" y="4701446"/>
                </a:lnTo>
                <a:cubicBezTo>
                  <a:pt x="2313533" y="4655278"/>
                  <a:pt x="2359701" y="4591154"/>
                  <a:pt x="2434084" y="4596285"/>
                </a:cubicBezTo>
                <a:cubicBezTo>
                  <a:pt x="2441778" y="4596285"/>
                  <a:pt x="2449473" y="4598850"/>
                  <a:pt x="2457167" y="4601415"/>
                </a:cubicBezTo>
                <a:cubicBezTo>
                  <a:pt x="2464863" y="4603980"/>
                  <a:pt x="2472557" y="4606545"/>
                  <a:pt x="2480251" y="4606545"/>
                </a:cubicBezTo>
                <a:cubicBezTo>
                  <a:pt x="2528985" y="4611674"/>
                  <a:pt x="2567458" y="4593720"/>
                  <a:pt x="2605931" y="4578330"/>
                </a:cubicBezTo>
                <a:cubicBezTo>
                  <a:pt x="2649534" y="4560376"/>
                  <a:pt x="2685444" y="4544986"/>
                  <a:pt x="2731611" y="4560376"/>
                </a:cubicBezTo>
                <a:cubicBezTo>
                  <a:pt x="2729046" y="4624499"/>
                  <a:pt x="2700832" y="4688621"/>
                  <a:pt x="2675183" y="4742484"/>
                </a:cubicBezTo>
                <a:cubicBezTo>
                  <a:pt x="2670053" y="4755309"/>
                  <a:pt x="2664924" y="4768133"/>
                  <a:pt x="2659794" y="4778392"/>
                </a:cubicBezTo>
                <a:lnTo>
                  <a:pt x="2652099" y="4796347"/>
                </a:lnTo>
                <a:lnTo>
                  <a:pt x="2667489" y="4788652"/>
                </a:lnTo>
                <a:cubicBezTo>
                  <a:pt x="2711092" y="4765568"/>
                  <a:pt x="2726481" y="4704011"/>
                  <a:pt x="2741870" y="4642453"/>
                </a:cubicBezTo>
                <a:cubicBezTo>
                  <a:pt x="2749566" y="4614239"/>
                  <a:pt x="2754695" y="4588590"/>
                  <a:pt x="2764954" y="4565505"/>
                </a:cubicBezTo>
                <a:cubicBezTo>
                  <a:pt x="2759825" y="4637323"/>
                  <a:pt x="2729046" y="4721965"/>
                  <a:pt x="2700832" y="4783522"/>
                </a:cubicBezTo>
                <a:lnTo>
                  <a:pt x="2711092" y="4791217"/>
                </a:lnTo>
                <a:cubicBezTo>
                  <a:pt x="2749566" y="4763003"/>
                  <a:pt x="2764954" y="4701446"/>
                  <a:pt x="2780344" y="4645018"/>
                </a:cubicBezTo>
                <a:lnTo>
                  <a:pt x="2780344" y="4642453"/>
                </a:lnTo>
                <a:cubicBezTo>
                  <a:pt x="2795733" y="4637323"/>
                  <a:pt x="2795733" y="4621934"/>
                  <a:pt x="2795733" y="4609109"/>
                </a:cubicBezTo>
                <a:cubicBezTo>
                  <a:pt x="2795733" y="4603980"/>
                  <a:pt x="2795733" y="4598850"/>
                  <a:pt x="2795733" y="4596285"/>
                </a:cubicBezTo>
                <a:cubicBezTo>
                  <a:pt x="2798298" y="4596285"/>
                  <a:pt x="2800863" y="4596285"/>
                  <a:pt x="2803429" y="4593720"/>
                </a:cubicBezTo>
                <a:cubicBezTo>
                  <a:pt x="2800863" y="4606545"/>
                  <a:pt x="2798298" y="4621934"/>
                  <a:pt x="2795733" y="4637323"/>
                </a:cubicBezTo>
                <a:cubicBezTo>
                  <a:pt x="2785474" y="4693751"/>
                  <a:pt x="2777779" y="4750178"/>
                  <a:pt x="2749566" y="4788652"/>
                </a:cubicBezTo>
                <a:cubicBezTo>
                  <a:pt x="2741870" y="4801476"/>
                  <a:pt x="2734176" y="4809171"/>
                  <a:pt x="2723916" y="4816866"/>
                </a:cubicBezTo>
                <a:cubicBezTo>
                  <a:pt x="2708528" y="4829690"/>
                  <a:pt x="2690573" y="4845080"/>
                  <a:pt x="2693137" y="4870729"/>
                </a:cubicBezTo>
                <a:lnTo>
                  <a:pt x="2693137" y="4880988"/>
                </a:lnTo>
                <a:lnTo>
                  <a:pt x="2703397" y="4873293"/>
                </a:lnTo>
                <a:cubicBezTo>
                  <a:pt x="2777779" y="4819431"/>
                  <a:pt x="2818817" y="4698881"/>
                  <a:pt x="2831642" y="4591154"/>
                </a:cubicBezTo>
                <a:cubicBezTo>
                  <a:pt x="2841901" y="4693751"/>
                  <a:pt x="2764954" y="4837385"/>
                  <a:pt x="2713656" y="4870729"/>
                </a:cubicBezTo>
                <a:lnTo>
                  <a:pt x="2721351" y="4880988"/>
                </a:lnTo>
                <a:cubicBezTo>
                  <a:pt x="2777779" y="4847644"/>
                  <a:pt x="2818817" y="4791217"/>
                  <a:pt x="2844467" y="4714270"/>
                </a:cubicBezTo>
                <a:cubicBezTo>
                  <a:pt x="2862420" y="4657843"/>
                  <a:pt x="2859855" y="4606545"/>
                  <a:pt x="2854726" y="4557811"/>
                </a:cubicBezTo>
                <a:cubicBezTo>
                  <a:pt x="2852161" y="4524467"/>
                  <a:pt x="2849596" y="4491124"/>
                  <a:pt x="2852161" y="4457780"/>
                </a:cubicBezTo>
                <a:cubicBezTo>
                  <a:pt x="2870115" y="4285932"/>
                  <a:pt x="2952193" y="4103825"/>
                  <a:pt x="3095826" y="4103825"/>
                </a:cubicBezTo>
                <a:cubicBezTo>
                  <a:pt x="3095826" y="4103825"/>
                  <a:pt x="3098391" y="4103825"/>
                  <a:pt x="3098391" y="4103825"/>
                </a:cubicBezTo>
                <a:cubicBezTo>
                  <a:pt x="3098391" y="4116649"/>
                  <a:pt x="3095826" y="4132039"/>
                  <a:pt x="3093261" y="4147428"/>
                </a:cubicBezTo>
                <a:cubicBezTo>
                  <a:pt x="3088132" y="4167947"/>
                  <a:pt x="3085566" y="4191031"/>
                  <a:pt x="3088132" y="4208985"/>
                </a:cubicBezTo>
                <a:lnTo>
                  <a:pt x="3090696" y="4224374"/>
                </a:lnTo>
                <a:lnTo>
                  <a:pt x="3100955" y="4211550"/>
                </a:lnTo>
                <a:cubicBezTo>
                  <a:pt x="3113780" y="4193596"/>
                  <a:pt x="3116345" y="4165382"/>
                  <a:pt x="3116345" y="4142298"/>
                </a:cubicBezTo>
                <a:cubicBezTo>
                  <a:pt x="3116345" y="4119214"/>
                  <a:pt x="3118911" y="4101260"/>
                  <a:pt x="3126604" y="4096130"/>
                </a:cubicBezTo>
                <a:cubicBezTo>
                  <a:pt x="3129169" y="4111519"/>
                  <a:pt x="3126604" y="4129473"/>
                  <a:pt x="3121475" y="4147428"/>
                </a:cubicBezTo>
                <a:cubicBezTo>
                  <a:pt x="3116345" y="4167947"/>
                  <a:pt x="3113780" y="4188466"/>
                  <a:pt x="3116345" y="4203856"/>
                </a:cubicBezTo>
                <a:lnTo>
                  <a:pt x="3121475" y="4224374"/>
                </a:lnTo>
                <a:lnTo>
                  <a:pt x="3129169" y="4203856"/>
                </a:lnTo>
                <a:cubicBezTo>
                  <a:pt x="3136864" y="4183336"/>
                  <a:pt x="3141995" y="4162817"/>
                  <a:pt x="3147123" y="4139733"/>
                </a:cubicBezTo>
                <a:cubicBezTo>
                  <a:pt x="3157383" y="4101260"/>
                  <a:pt x="3165078" y="4065351"/>
                  <a:pt x="3188162" y="4052527"/>
                </a:cubicBezTo>
                <a:cubicBezTo>
                  <a:pt x="3200986" y="4044832"/>
                  <a:pt x="3216376" y="4044832"/>
                  <a:pt x="3239460" y="4049962"/>
                </a:cubicBezTo>
                <a:cubicBezTo>
                  <a:pt x="3242025" y="4183336"/>
                  <a:pt x="3183033" y="4314146"/>
                  <a:pt x="3057353" y="4447520"/>
                </a:cubicBezTo>
                <a:lnTo>
                  <a:pt x="3067612" y="4457780"/>
                </a:lnTo>
                <a:cubicBezTo>
                  <a:pt x="3172772" y="4355184"/>
                  <a:pt x="3270238" y="4247459"/>
                  <a:pt x="3275368" y="4060221"/>
                </a:cubicBezTo>
                <a:cubicBezTo>
                  <a:pt x="3277934" y="4060221"/>
                  <a:pt x="3277934" y="4062786"/>
                  <a:pt x="3277934" y="4062786"/>
                </a:cubicBezTo>
                <a:cubicBezTo>
                  <a:pt x="3285628" y="4073046"/>
                  <a:pt x="3280498" y="4096130"/>
                  <a:pt x="3275368" y="4116649"/>
                </a:cubicBezTo>
                <a:cubicBezTo>
                  <a:pt x="3270238" y="4137168"/>
                  <a:pt x="3267675" y="4152558"/>
                  <a:pt x="3272803" y="4160252"/>
                </a:cubicBezTo>
                <a:cubicBezTo>
                  <a:pt x="3272803" y="4160252"/>
                  <a:pt x="3275368" y="4162817"/>
                  <a:pt x="3275368" y="4162817"/>
                </a:cubicBezTo>
                <a:cubicBezTo>
                  <a:pt x="3275368" y="4162817"/>
                  <a:pt x="3272803" y="4165382"/>
                  <a:pt x="3272803" y="4165382"/>
                </a:cubicBezTo>
                <a:cubicBezTo>
                  <a:pt x="3270238" y="4170512"/>
                  <a:pt x="3265109" y="4180771"/>
                  <a:pt x="3272803" y="4188466"/>
                </a:cubicBezTo>
                <a:lnTo>
                  <a:pt x="3277934" y="4191031"/>
                </a:lnTo>
                <a:lnTo>
                  <a:pt x="3283063" y="4188466"/>
                </a:lnTo>
                <a:cubicBezTo>
                  <a:pt x="3306147" y="4170512"/>
                  <a:pt x="3324101" y="4103825"/>
                  <a:pt x="3324101" y="4060221"/>
                </a:cubicBezTo>
                <a:cubicBezTo>
                  <a:pt x="3349750" y="4062786"/>
                  <a:pt x="3365140" y="4047397"/>
                  <a:pt x="3377964" y="4034573"/>
                </a:cubicBezTo>
                <a:cubicBezTo>
                  <a:pt x="3390788" y="4021748"/>
                  <a:pt x="3401048" y="4011489"/>
                  <a:pt x="3419002" y="4014053"/>
                </a:cubicBezTo>
                <a:cubicBezTo>
                  <a:pt x="3463247" y="4019824"/>
                  <a:pt x="3484407" y="4055893"/>
                  <a:pt x="3496551" y="4098454"/>
                </a:cubicBezTo>
                <a:lnTo>
                  <a:pt x="3505795" y="4140415"/>
                </a:lnTo>
                <a:lnTo>
                  <a:pt x="3503244" y="4081582"/>
                </a:lnTo>
                <a:cubicBezTo>
                  <a:pt x="3491461" y="4021587"/>
                  <a:pt x="3452988" y="3986480"/>
                  <a:pt x="3385660" y="3973015"/>
                </a:cubicBezTo>
                <a:lnTo>
                  <a:pt x="3380530" y="3973015"/>
                </a:lnTo>
                <a:lnTo>
                  <a:pt x="3377965" y="3975580"/>
                </a:lnTo>
                <a:cubicBezTo>
                  <a:pt x="3342056" y="4024313"/>
                  <a:pt x="3293324" y="4019183"/>
                  <a:pt x="3229201" y="4014053"/>
                </a:cubicBezTo>
                <a:cubicBezTo>
                  <a:pt x="3221506" y="4011488"/>
                  <a:pt x="3213812" y="4011488"/>
                  <a:pt x="3206117" y="4011488"/>
                </a:cubicBezTo>
                <a:cubicBezTo>
                  <a:pt x="3167644" y="4008923"/>
                  <a:pt x="3144560" y="4029442"/>
                  <a:pt x="3121476" y="4047397"/>
                </a:cubicBezTo>
                <a:cubicBezTo>
                  <a:pt x="3116346" y="4052526"/>
                  <a:pt x="3111216" y="4055091"/>
                  <a:pt x="3106086" y="4060221"/>
                </a:cubicBezTo>
                <a:cubicBezTo>
                  <a:pt x="3044529" y="4055091"/>
                  <a:pt x="2988101" y="4078175"/>
                  <a:pt x="2939368" y="4124343"/>
                </a:cubicBezTo>
                <a:cubicBezTo>
                  <a:pt x="2857292" y="4206420"/>
                  <a:pt x="2803429" y="4357749"/>
                  <a:pt x="2808559" y="4509077"/>
                </a:cubicBezTo>
                <a:cubicBezTo>
                  <a:pt x="2790604" y="4498818"/>
                  <a:pt x="2770086" y="4488558"/>
                  <a:pt x="2752131" y="4493688"/>
                </a:cubicBezTo>
                <a:cubicBezTo>
                  <a:pt x="2747001" y="4493688"/>
                  <a:pt x="2741872" y="4498818"/>
                  <a:pt x="2739307" y="4501383"/>
                </a:cubicBezTo>
                <a:cubicBezTo>
                  <a:pt x="2739307" y="4498818"/>
                  <a:pt x="2739307" y="4498818"/>
                  <a:pt x="2739307" y="4498818"/>
                </a:cubicBezTo>
                <a:cubicBezTo>
                  <a:pt x="2739307" y="4491123"/>
                  <a:pt x="2741872" y="4485994"/>
                  <a:pt x="2736742" y="4480863"/>
                </a:cubicBezTo>
                <a:lnTo>
                  <a:pt x="2734177" y="4478299"/>
                </a:lnTo>
                <a:lnTo>
                  <a:pt x="2731612" y="4478299"/>
                </a:lnTo>
                <a:cubicBezTo>
                  <a:pt x="2729048" y="4478299"/>
                  <a:pt x="2723917" y="4480863"/>
                  <a:pt x="2721352" y="4483429"/>
                </a:cubicBezTo>
                <a:cubicBezTo>
                  <a:pt x="2716223" y="4491123"/>
                  <a:pt x="2716223" y="4501383"/>
                  <a:pt x="2716223" y="4514207"/>
                </a:cubicBezTo>
                <a:cubicBezTo>
                  <a:pt x="2682879" y="4501383"/>
                  <a:pt x="2652100" y="4503948"/>
                  <a:pt x="2618757" y="4519337"/>
                </a:cubicBezTo>
                <a:cubicBezTo>
                  <a:pt x="2705963" y="4250023"/>
                  <a:pt x="2736742" y="3855030"/>
                  <a:pt x="2636711" y="3644709"/>
                </a:cubicBezTo>
                <a:cubicBezTo>
                  <a:pt x="2634147" y="3647273"/>
                  <a:pt x="2634147" y="3647273"/>
                  <a:pt x="2631581" y="3647273"/>
                </a:cubicBezTo>
                <a:cubicBezTo>
                  <a:pt x="2600802" y="3639579"/>
                  <a:pt x="2590543" y="3613930"/>
                  <a:pt x="2598237" y="3590846"/>
                </a:cubicBezTo>
                <a:cubicBezTo>
                  <a:pt x="2593108" y="3588281"/>
                  <a:pt x="2585413" y="3583151"/>
                  <a:pt x="2580284" y="3580586"/>
                </a:cubicBezTo>
                <a:cubicBezTo>
                  <a:pt x="2577718" y="3588281"/>
                  <a:pt x="2572588" y="3598540"/>
                  <a:pt x="2570025" y="3608800"/>
                </a:cubicBezTo>
                <a:cubicBezTo>
                  <a:pt x="2575153" y="3611365"/>
                  <a:pt x="2577718" y="3611365"/>
                  <a:pt x="2582848" y="3611365"/>
                </a:cubicBezTo>
                <a:cubicBezTo>
                  <a:pt x="2680314" y="3772953"/>
                  <a:pt x="2698269" y="4029442"/>
                  <a:pt x="2634147" y="4373138"/>
                </a:cubicBezTo>
                <a:lnTo>
                  <a:pt x="2631581" y="4373138"/>
                </a:lnTo>
                <a:lnTo>
                  <a:pt x="2629016" y="4380833"/>
                </a:lnTo>
                <a:cubicBezTo>
                  <a:pt x="2626451" y="4388528"/>
                  <a:pt x="2623886" y="4398787"/>
                  <a:pt x="2621321" y="4406482"/>
                </a:cubicBezTo>
                <a:cubicBezTo>
                  <a:pt x="2608497" y="4447520"/>
                  <a:pt x="2593108" y="4493688"/>
                  <a:pt x="2567459" y="4521902"/>
                </a:cubicBezTo>
                <a:cubicBezTo>
                  <a:pt x="2570025" y="4516772"/>
                  <a:pt x="2572588" y="4509077"/>
                  <a:pt x="2575153" y="4503948"/>
                </a:cubicBezTo>
                <a:cubicBezTo>
                  <a:pt x="2593108" y="4462909"/>
                  <a:pt x="2611062" y="4421871"/>
                  <a:pt x="2603367" y="4380833"/>
                </a:cubicBezTo>
                <a:lnTo>
                  <a:pt x="2598237" y="4360314"/>
                </a:lnTo>
                <a:lnTo>
                  <a:pt x="2590543" y="4380833"/>
                </a:lnTo>
                <a:cubicBezTo>
                  <a:pt x="2580284" y="4409047"/>
                  <a:pt x="2567459" y="4434696"/>
                  <a:pt x="2554634" y="4460345"/>
                </a:cubicBezTo>
                <a:cubicBezTo>
                  <a:pt x="2541810" y="4488558"/>
                  <a:pt x="2526420" y="4516772"/>
                  <a:pt x="2516162" y="4550116"/>
                </a:cubicBezTo>
                <a:cubicBezTo>
                  <a:pt x="2513596" y="4550116"/>
                  <a:pt x="2513596" y="4550116"/>
                  <a:pt x="2511031" y="4550116"/>
                </a:cubicBezTo>
                <a:cubicBezTo>
                  <a:pt x="2508466" y="4550116"/>
                  <a:pt x="2503336" y="4550116"/>
                  <a:pt x="2498207" y="4550116"/>
                </a:cubicBezTo>
                <a:cubicBezTo>
                  <a:pt x="2523856" y="4511642"/>
                  <a:pt x="2536680" y="4462909"/>
                  <a:pt x="2552069" y="4416741"/>
                </a:cubicBezTo>
                <a:cubicBezTo>
                  <a:pt x="2562329" y="4383398"/>
                  <a:pt x="2572588" y="4350054"/>
                  <a:pt x="2585413" y="4321840"/>
                </a:cubicBezTo>
                <a:cubicBezTo>
                  <a:pt x="2590543" y="4309016"/>
                  <a:pt x="2598237" y="4298756"/>
                  <a:pt x="2605932" y="4285932"/>
                </a:cubicBezTo>
                <a:cubicBezTo>
                  <a:pt x="2629016" y="4252588"/>
                  <a:pt x="2654665" y="4214115"/>
                  <a:pt x="2626451" y="4175641"/>
                </a:cubicBezTo>
                <a:lnTo>
                  <a:pt x="2618757" y="4165382"/>
                </a:lnTo>
                <a:lnTo>
                  <a:pt x="2616192" y="4178206"/>
                </a:lnTo>
                <a:cubicBezTo>
                  <a:pt x="2590543" y="4267978"/>
                  <a:pt x="2541810" y="4380833"/>
                  <a:pt x="2498207" y="4483429"/>
                </a:cubicBezTo>
                <a:cubicBezTo>
                  <a:pt x="2487947" y="4506512"/>
                  <a:pt x="2477687" y="4529597"/>
                  <a:pt x="2469993" y="4550116"/>
                </a:cubicBezTo>
                <a:cubicBezTo>
                  <a:pt x="2464863" y="4550116"/>
                  <a:pt x="2459733" y="4550116"/>
                  <a:pt x="2454604" y="4550116"/>
                </a:cubicBezTo>
                <a:cubicBezTo>
                  <a:pt x="2454604" y="4550116"/>
                  <a:pt x="2452039" y="4550116"/>
                  <a:pt x="2452039" y="4550116"/>
                </a:cubicBezTo>
                <a:cubicBezTo>
                  <a:pt x="2467428" y="4534726"/>
                  <a:pt x="2475124" y="4511642"/>
                  <a:pt x="2485383" y="4491123"/>
                </a:cubicBezTo>
                <a:cubicBezTo>
                  <a:pt x="2487947" y="4483429"/>
                  <a:pt x="2493077" y="4475734"/>
                  <a:pt x="2495642" y="4468039"/>
                </a:cubicBezTo>
                <a:lnTo>
                  <a:pt x="2495642" y="4465474"/>
                </a:lnTo>
                <a:cubicBezTo>
                  <a:pt x="2498207" y="4457780"/>
                  <a:pt x="2493077" y="4452650"/>
                  <a:pt x="2490512" y="4450085"/>
                </a:cubicBezTo>
                <a:cubicBezTo>
                  <a:pt x="2487947" y="4450085"/>
                  <a:pt x="2487947" y="4447520"/>
                  <a:pt x="2487947" y="4447520"/>
                </a:cubicBezTo>
                <a:cubicBezTo>
                  <a:pt x="2521291" y="4373138"/>
                  <a:pt x="2559764" y="4283367"/>
                  <a:pt x="2587978" y="4198725"/>
                </a:cubicBezTo>
                <a:cubicBezTo>
                  <a:pt x="2593108" y="4178206"/>
                  <a:pt x="2600802" y="4157687"/>
                  <a:pt x="2608497" y="4139733"/>
                </a:cubicBezTo>
                <a:cubicBezTo>
                  <a:pt x="2623886" y="4101260"/>
                  <a:pt x="2636711" y="4067916"/>
                  <a:pt x="2641841" y="4042267"/>
                </a:cubicBezTo>
                <a:lnTo>
                  <a:pt x="2641841" y="4039702"/>
                </a:lnTo>
                <a:cubicBezTo>
                  <a:pt x="2644406" y="4029442"/>
                  <a:pt x="2646970" y="4014053"/>
                  <a:pt x="2639276" y="4003794"/>
                </a:cubicBezTo>
                <a:cubicBezTo>
                  <a:pt x="2634147" y="3998664"/>
                  <a:pt x="2629016" y="3996099"/>
                  <a:pt x="2618757" y="3996099"/>
                </a:cubicBezTo>
                <a:lnTo>
                  <a:pt x="2613627" y="3996099"/>
                </a:lnTo>
                <a:lnTo>
                  <a:pt x="2613627" y="4001228"/>
                </a:lnTo>
                <a:cubicBezTo>
                  <a:pt x="2585413" y="4144863"/>
                  <a:pt x="2518726" y="4321840"/>
                  <a:pt x="2416130" y="4542421"/>
                </a:cubicBezTo>
                <a:cubicBezTo>
                  <a:pt x="2405870" y="4542421"/>
                  <a:pt x="2398176" y="4542421"/>
                  <a:pt x="2390482" y="4544986"/>
                </a:cubicBezTo>
                <a:cubicBezTo>
                  <a:pt x="2469993" y="4360314"/>
                  <a:pt x="2570025" y="4116649"/>
                  <a:pt x="2639276" y="3839640"/>
                </a:cubicBezTo>
                <a:lnTo>
                  <a:pt x="2639276" y="3837075"/>
                </a:lnTo>
                <a:lnTo>
                  <a:pt x="2636711" y="3834510"/>
                </a:lnTo>
                <a:cubicBezTo>
                  <a:pt x="2626451" y="3813991"/>
                  <a:pt x="2621321" y="3806297"/>
                  <a:pt x="2613627" y="3808862"/>
                </a:cubicBezTo>
                <a:cubicBezTo>
                  <a:pt x="2608497" y="3808862"/>
                  <a:pt x="2608497" y="3819121"/>
                  <a:pt x="2608497" y="3831946"/>
                </a:cubicBezTo>
                <a:cubicBezTo>
                  <a:pt x="2608497" y="3839640"/>
                  <a:pt x="2608497" y="3847335"/>
                  <a:pt x="2608497" y="3855030"/>
                </a:cubicBezTo>
                <a:cubicBezTo>
                  <a:pt x="2605932" y="3867854"/>
                  <a:pt x="2600802" y="3880679"/>
                  <a:pt x="2595673" y="3893503"/>
                </a:cubicBezTo>
                <a:cubicBezTo>
                  <a:pt x="2593108" y="3898633"/>
                  <a:pt x="2590543" y="3906328"/>
                  <a:pt x="2587978" y="3914022"/>
                </a:cubicBezTo>
                <a:cubicBezTo>
                  <a:pt x="2523856" y="4121778"/>
                  <a:pt x="2441779" y="4380833"/>
                  <a:pt x="2352007" y="4542421"/>
                </a:cubicBezTo>
                <a:cubicBezTo>
                  <a:pt x="2341747" y="4547551"/>
                  <a:pt x="2334053" y="4555246"/>
                  <a:pt x="2326358" y="4562940"/>
                </a:cubicBezTo>
                <a:cubicBezTo>
                  <a:pt x="2323793" y="4568070"/>
                  <a:pt x="2318663" y="4570635"/>
                  <a:pt x="2316099" y="4573200"/>
                </a:cubicBezTo>
                <a:cubicBezTo>
                  <a:pt x="2323793" y="4557810"/>
                  <a:pt x="2328923" y="4542421"/>
                  <a:pt x="2336617" y="4527032"/>
                </a:cubicBezTo>
                <a:cubicBezTo>
                  <a:pt x="2444345" y="4280802"/>
                  <a:pt x="2567459" y="3998664"/>
                  <a:pt x="2598237" y="3696006"/>
                </a:cubicBezTo>
                <a:lnTo>
                  <a:pt x="2585413" y="3693441"/>
                </a:lnTo>
                <a:cubicBezTo>
                  <a:pt x="2580284" y="3703701"/>
                  <a:pt x="2577718" y="3711396"/>
                  <a:pt x="2575153" y="3721655"/>
                </a:cubicBezTo>
                <a:cubicBezTo>
                  <a:pt x="2575153" y="3724220"/>
                  <a:pt x="2572588" y="3729350"/>
                  <a:pt x="2572588" y="3731915"/>
                </a:cubicBezTo>
                <a:cubicBezTo>
                  <a:pt x="2570025" y="3742175"/>
                  <a:pt x="2567459" y="3754999"/>
                  <a:pt x="2564894" y="3767823"/>
                </a:cubicBezTo>
                <a:cubicBezTo>
                  <a:pt x="2559764" y="3788342"/>
                  <a:pt x="2557199" y="3808862"/>
                  <a:pt x="2549505" y="3831946"/>
                </a:cubicBezTo>
                <a:cubicBezTo>
                  <a:pt x="2541810" y="3855030"/>
                  <a:pt x="2539246" y="3880679"/>
                  <a:pt x="2534115" y="3903762"/>
                </a:cubicBezTo>
                <a:cubicBezTo>
                  <a:pt x="2531550" y="3926847"/>
                  <a:pt x="2526420" y="3952496"/>
                  <a:pt x="2518726" y="3975580"/>
                </a:cubicBezTo>
                <a:cubicBezTo>
                  <a:pt x="2467428" y="4142298"/>
                  <a:pt x="2395611" y="4329535"/>
                  <a:pt x="2308404" y="4532161"/>
                </a:cubicBezTo>
                <a:cubicBezTo>
                  <a:pt x="2290449" y="4547551"/>
                  <a:pt x="2280190" y="4568070"/>
                  <a:pt x="2267365" y="4591154"/>
                </a:cubicBezTo>
                <a:cubicBezTo>
                  <a:pt x="2254541" y="4611673"/>
                  <a:pt x="2244281" y="4629627"/>
                  <a:pt x="2231457" y="4645017"/>
                </a:cubicBezTo>
                <a:cubicBezTo>
                  <a:pt x="2334053" y="4455215"/>
                  <a:pt x="2421261" y="4201290"/>
                  <a:pt x="2498207" y="3957625"/>
                </a:cubicBezTo>
                <a:cubicBezTo>
                  <a:pt x="2516162" y="3901198"/>
                  <a:pt x="2534115" y="3826816"/>
                  <a:pt x="2546940" y="3757564"/>
                </a:cubicBezTo>
                <a:cubicBezTo>
                  <a:pt x="2544375" y="3760129"/>
                  <a:pt x="2544375" y="3760129"/>
                  <a:pt x="2541810" y="3760129"/>
                </a:cubicBezTo>
                <a:cubicBezTo>
                  <a:pt x="2539246" y="3757564"/>
                  <a:pt x="2534115" y="3757564"/>
                  <a:pt x="2528985" y="3754999"/>
                </a:cubicBezTo>
                <a:cubicBezTo>
                  <a:pt x="2531550" y="3744739"/>
                  <a:pt x="2521291" y="3742175"/>
                  <a:pt x="2518726" y="3734480"/>
                </a:cubicBezTo>
                <a:cubicBezTo>
                  <a:pt x="2516162" y="3734480"/>
                  <a:pt x="2516162" y="3734480"/>
                  <a:pt x="2516162" y="3734480"/>
                </a:cubicBezTo>
                <a:cubicBezTo>
                  <a:pt x="2452039" y="4085870"/>
                  <a:pt x="2328923" y="4437260"/>
                  <a:pt x="2187853" y="4652712"/>
                </a:cubicBezTo>
                <a:cubicBezTo>
                  <a:pt x="2180160" y="4668101"/>
                  <a:pt x="2167335" y="4678361"/>
                  <a:pt x="2154510" y="4691185"/>
                </a:cubicBezTo>
                <a:cubicBezTo>
                  <a:pt x="2149380" y="4696315"/>
                  <a:pt x="2144250" y="4701444"/>
                  <a:pt x="2139121" y="4706574"/>
                </a:cubicBezTo>
                <a:cubicBezTo>
                  <a:pt x="2282755" y="4468039"/>
                  <a:pt x="2398176" y="4155122"/>
                  <a:pt x="2500772" y="3729350"/>
                </a:cubicBezTo>
                <a:cubicBezTo>
                  <a:pt x="2495642" y="3724220"/>
                  <a:pt x="2490512" y="3716526"/>
                  <a:pt x="2485383" y="3711396"/>
                </a:cubicBezTo>
                <a:lnTo>
                  <a:pt x="2486477" y="3689136"/>
                </a:lnTo>
                <a:lnTo>
                  <a:pt x="2489681" y="3676732"/>
                </a:lnTo>
                <a:lnTo>
                  <a:pt x="2496282" y="3661059"/>
                </a:lnTo>
                <a:cubicBezTo>
                  <a:pt x="2504618" y="3647273"/>
                  <a:pt x="2516160" y="3635731"/>
                  <a:pt x="2526420" y="3624189"/>
                </a:cubicBezTo>
                <a:cubicBezTo>
                  <a:pt x="2523856" y="3619060"/>
                  <a:pt x="2521291" y="3616495"/>
                  <a:pt x="2513596" y="3611365"/>
                </a:cubicBezTo>
                <a:cubicBezTo>
                  <a:pt x="2521291" y="3608800"/>
                  <a:pt x="2531550" y="3608800"/>
                  <a:pt x="2539246" y="3608800"/>
                </a:cubicBezTo>
                <a:cubicBezTo>
                  <a:pt x="2546940" y="3598540"/>
                  <a:pt x="2552069" y="3588281"/>
                  <a:pt x="2554634" y="3575457"/>
                </a:cubicBezTo>
                <a:cubicBezTo>
                  <a:pt x="2541810" y="3575457"/>
                  <a:pt x="2528985" y="3580586"/>
                  <a:pt x="2518726" y="3588281"/>
                </a:cubicBezTo>
                <a:cubicBezTo>
                  <a:pt x="2480252" y="3595975"/>
                  <a:pt x="2444345" y="3608800"/>
                  <a:pt x="2411000" y="3624189"/>
                </a:cubicBezTo>
                <a:cubicBezTo>
                  <a:pt x="2413565" y="3634449"/>
                  <a:pt x="2413565" y="3642143"/>
                  <a:pt x="2411000" y="3652403"/>
                </a:cubicBezTo>
                <a:cubicBezTo>
                  <a:pt x="2421261" y="3644709"/>
                  <a:pt x="2436649" y="3637014"/>
                  <a:pt x="2449474" y="3631884"/>
                </a:cubicBezTo>
                <a:cubicBezTo>
                  <a:pt x="2436649" y="3649838"/>
                  <a:pt x="2434084" y="3672922"/>
                  <a:pt x="2431520" y="3701136"/>
                </a:cubicBezTo>
                <a:cubicBezTo>
                  <a:pt x="2428954" y="3724220"/>
                  <a:pt x="2426390" y="3752434"/>
                  <a:pt x="2416130" y="3778083"/>
                </a:cubicBezTo>
                <a:lnTo>
                  <a:pt x="2426390" y="3783213"/>
                </a:lnTo>
                <a:cubicBezTo>
                  <a:pt x="2441779" y="3765258"/>
                  <a:pt x="2449474" y="3734480"/>
                  <a:pt x="2457168" y="3706266"/>
                </a:cubicBezTo>
                <a:cubicBezTo>
                  <a:pt x="2464863" y="3680617"/>
                  <a:pt x="2472558" y="3652403"/>
                  <a:pt x="2482817" y="3642143"/>
                </a:cubicBezTo>
                <a:lnTo>
                  <a:pt x="2485383" y="3639579"/>
                </a:lnTo>
                <a:cubicBezTo>
                  <a:pt x="2485383" y="3637014"/>
                  <a:pt x="2485383" y="3631884"/>
                  <a:pt x="2482817" y="3629319"/>
                </a:cubicBezTo>
                <a:cubicBezTo>
                  <a:pt x="2480252" y="3624189"/>
                  <a:pt x="2475124" y="3624189"/>
                  <a:pt x="2472558" y="3624189"/>
                </a:cubicBezTo>
                <a:cubicBezTo>
                  <a:pt x="2469993" y="3624189"/>
                  <a:pt x="2467428" y="3624189"/>
                  <a:pt x="2467428" y="3624189"/>
                </a:cubicBezTo>
                <a:cubicBezTo>
                  <a:pt x="2480252" y="3619060"/>
                  <a:pt x="2493077" y="3616495"/>
                  <a:pt x="2505901" y="3613930"/>
                </a:cubicBezTo>
                <a:lnTo>
                  <a:pt x="2489681" y="3676732"/>
                </a:lnTo>
                <a:lnTo>
                  <a:pt x="2486744" y="3683703"/>
                </a:lnTo>
                <a:lnTo>
                  <a:pt x="2486477" y="3689136"/>
                </a:lnTo>
                <a:lnTo>
                  <a:pt x="2480894" y="3710755"/>
                </a:lnTo>
                <a:cubicBezTo>
                  <a:pt x="2473199" y="3742175"/>
                  <a:pt x="2466145" y="3772953"/>
                  <a:pt x="2459733" y="3803732"/>
                </a:cubicBezTo>
                <a:cubicBezTo>
                  <a:pt x="2441779" y="3890938"/>
                  <a:pt x="2421261" y="3973015"/>
                  <a:pt x="2395611" y="4055091"/>
                </a:cubicBezTo>
                <a:cubicBezTo>
                  <a:pt x="2303274" y="4339794"/>
                  <a:pt x="2213502" y="4542421"/>
                  <a:pt x="2121166" y="4675795"/>
                </a:cubicBezTo>
                <a:cubicBezTo>
                  <a:pt x="2103212" y="4701444"/>
                  <a:pt x="2082693" y="4721964"/>
                  <a:pt x="2062175" y="4745048"/>
                </a:cubicBezTo>
                <a:cubicBezTo>
                  <a:pt x="2057045" y="4752742"/>
                  <a:pt x="2049350" y="4757872"/>
                  <a:pt x="2044220" y="4765567"/>
                </a:cubicBezTo>
                <a:cubicBezTo>
                  <a:pt x="2044220" y="4763002"/>
                  <a:pt x="2044220" y="4763002"/>
                  <a:pt x="2044220" y="4763002"/>
                </a:cubicBezTo>
                <a:lnTo>
                  <a:pt x="2039091" y="4760437"/>
                </a:lnTo>
                <a:cubicBezTo>
                  <a:pt x="2177594" y="4555246"/>
                  <a:pt x="2298144" y="4296191"/>
                  <a:pt x="2367396" y="4042267"/>
                </a:cubicBezTo>
                <a:lnTo>
                  <a:pt x="2354572" y="4037137"/>
                </a:lnTo>
                <a:cubicBezTo>
                  <a:pt x="2244281" y="4342359"/>
                  <a:pt x="2092953" y="4629627"/>
                  <a:pt x="1910845" y="4888682"/>
                </a:cubicBezTo>
                <a:cubicBezTo>
                  <a:pt x="1905715" y="4875857"/>
                  <a:pt x="1915975" y="4863033"/>
                  <a:pt x="1931364" y="4845079"/>
                </a:cubicBezTo>
                <a:cubicBezTo>
                  <a:pt x="1939059" y="4837384"/>
                  <a:pt x="1946754" y="4829689"/>
                  <a:pt x="1951883" y="4819430"/>
                </a:cubicBezTo>
                <a:cubicBezTo>
                  <a:pt x="1977533" y="4773261"/>
                  <a:pt x="2005747" y="4724528"/>
                  <a:pt x="2033961" y="4673230"/>
                </a:cubicBezTo>
                <a:cubicBezTo>
                  <a:pt x="2131426" y="4503948"/>
                  <a:pt x="2241716" y="4311581"/>
                  <a:pt x="2295579" y="4088435"/>
                </a:cubicBezTo>
                <a:lnTo>
                  <a:pt x="2282755" y="4085870"/>
                </a:lnTo>
                <a:cubicBezTo>
                  <a:pt x="2203243" y="4288497"/>
                  <a:pt x="2105777" y="4485994"/>
                  <a:pt x="1982663" y="4686055"/>
                </a:cubicBezTo>
                <a:cubicBezTo>
                  <a:pt x="1980098" y="4688620"/>
                  <a:pt x="1977533" y="4691185"/>
                  <a:pt x="1974967" y="4693750"/>
                </a:cubicBezTo>
                <a:cubicBezTo>
                  <a:pt x="1998053" y="4645017"/>
                  <a:pt x="2023701" y="4596284"/>
                  <a:pt x="2049350" y="4542421"/>
                </a:cubicBezTo>
                <a:cubicBezTo>
                  <a:pt x="2116038" y="4406482"/>
                  <a:pt x="2187853" y="4265413"/>
                  <a:pt x="2234022" y="4119214"/>
                </a:cubicBezTo>
                <a:lnTo>
                  <a:pt x="2223762" y="4114084"/>
                </a:lnTo>
                <a:cubicBezTo>
                  <a:pt x="2192983" y="4157687"/>
                  <a:pt x="2175029" y="4208985"/>
                  <a:pt x="2157076" y="4257718"/>
                </a:cubicBezTo>
                <a:cubicBezTo>
                  <a:pt x="2146815" y="4285932"/>
                  <a:pt x="2136556" y="4314145"/>
                  <a:pt x="2123731" y="4339794"/>
                </a:cubicBezTo>
                <a:cubicBezTo>
                  <a:pt x="2087823" y="4421871"/>
                  <a:pt x="2041657" y="4496253"/>
                  <a:pt x="1998053" y="4565505"/>
                </a:cubicBezTo>
                <a:cubicBezTo>
                  <a:pt x="1992923" y="4573200"/>
                  <a:pt x="1990358" y="4580895"/>
                  <a:pt x="1985228" y="4586024"/>
                </a:cubicBezTo>
                <a:lnTo>
                  <a:pt x="1982663" y="4586024"/>
                </a:lnTo>
                <a:cubicBezTo>
                  <a:pt x="1982663" y="4586024"/>
                  <a:pt x="1980098" y="4586024"/>
                  <a:pt x="1980098" y="4586024"/>
                </a:cubicBezTo>
                <a:cubicBezTo>
                  <a:pt x="2044220" y="4470604"/>
                  <a:pt x="2105777" y="4319276"/>
                  <a:pt x="2177594" y="4119214"/>
                </a:cubicBezTo>
                <a:lnTo>
                  <a:pt x="2164770" y="4114084"/>
                </a:lnTo>
                <a:cubicBezTo>
                  <a:pt x="2146815" y="4149992"/>
                  <a:pt x="2131426" y="4188466"/>
                  <a:pt x="2113472" y="4226939"/>
                </a:cubicBezTo>
                <a:cubicBezTo>
                  <a:pt x="2048067" y="4371214"/>
                  <a:pt x="1985548" y="4509719"/>
                  <a:pt x="1912930" y="4628385"/>
                </a:cubicBezTo>
                <a:lnTo>
                  <a:pt x="1885932" y="4667764"/>
                </a:lnTo>
                <a:lnTo>
                  <a:pt x="1926234" y="4593719"/>
                </a:lnTo>
                <a:cubicBezTo>
                  <a:pt x="1931364" y="4583459"/>
                  <a:pt x="1936495" y="4573200"/>
                  <a:pt x="1941624" y="4562940"/>
                </a:cubicBezTo>
                <a:lnTo>
                  <a:pt x="1946754" y="4555246"/>
                </a:lnTo>
                <a:lnTo>
                  <a:pt x="1939059" y="4555246"/>
                </a:lnTo>
                <a:cubicBezTo>
                  <a:pt x="2013442" y="4409047"/>
                  <a:pt x="2085258" y="4265413"/>
                  <a:pt x="2131426" y="4114084"/>
                </a:cubicBezTo>
                <a:lnTo>
                  <a:pt x="2118601" y="4108954"/>
                </a:lnTo>
                <a:cubicBezTo>
                  <a:pt x="2090388" y="4160252"/>
                  <a:pt x="2064740" y="4219244"/>
                  <a:pt x="2041657" y="4275672"/>
                </a:cubicBezTo>
                <a:cubicBezTo>
                  <a:pt x="2013442" y="4342359"/>
                  <a:pt x="1985228" y="4409047"/>
                  <a:pt x="1951883" y="4468039"/>
                </a:cubicBezTo>
                <a:cubicBezTo>
                  <a:pt x="1949318" y="4452650"/>
                  <a:pt x="1944189" y="4439825"/>
                  <a:pt x="1936495" y="4429566"/>
                </a:cubicBezTo>
                <a:cubicBezTo>
                  <a:pt x="1985228" y="4344924"/>
                  <a:pt x="2023701" y="4244893"/>
                  <a:pt x="2059610" y="4144863"/>
                </a:cubicBezTo>
                <a:cubicBezTo>
                  <a:pt x="2074999" y="4103824"/>
                  <a:pt x="2092953" y="4062786"/>
                  <a:pt x="2108342" y="4021748"/>
                </a:cubicBezTo>
                <a:cubicBezTo>
                  <a:pt x="2108342" y="4021748"/>
                  <a:pt x="2110907" y="4021748"/>
                  <a:pt x="2113472" y="4021748"/>
                </a:cubicBezTo>
                <a:lnTo>
                  <a:pt x="2118601" y="4021748"/>
                </a:lnTo>
                <a:lnTo>
                  <a:pt x="2118601" y="4016618"/>
                </a:lnTo>
                <a:cubicBezTo>
                  <a:pt x="2136556" y="3934541"/>
                  <a:pt x="2157076" y="3857595"/>
                  <a:pt x="2203243" y="3826816"/>
                </a:cubicBezTo>
                <a:cubicBezTo>
                  <a:pt x="2195548" y="3855030"/>
                  <a:pt x="2185289" y="3885808"/>
                  <a:pt x="2175029" y="3914022"/>
                </a:cubicBezTo>
                <a:cubicBezTo>
                  <a:pt x="2164770" y="3947366"/>
                  <a:pt x="2154510" y="3980709"/>
                  <a:pt x="2146815" y="4011488"/>
                </a:cubicBezTo>
                <a:lnTo>
                  <a:pt x="2141686" y="4034572"/>
                </a:lnTo>
                <a:lnTo>
                  <a:pt x="2157076" y="4016618"/>
                </a:lnTo>
                <a:cubicBezTo>
                  <a:pt x="2185289" y="3988404"/>
                  <a:pt x="2200678" y="3934541"/>
                  <a:pt x="2213502" y="3885808"/>
                </a:cubicBezTo>
                <a:cubicBezTo>
                  <a:pt x="2226327" y="3834510"/>
                  <a:pt x="2241716" y="3780648"/>
                  <a:pt x="2272495" y="3754999"/>
                </a:cubicBezTo>
                <a:cubicBezTo>
                  <a:pt x="2267365" y="3790907"/>
                  <a:pt x="2254541" y="3826816"/>
                  <a:pt x="2241716" y="3862724"/>
                </a:cubicBezTo>
                <a:cubicBezTo>
                  <a:pt x="2226327" y="3906328"/>
                  <a:pt x="2210939" y="3947366"/>
                  <a:pt x="2216067" y="3980709"/>
                </a:cubicBezTo>
                <a:lnTo>
                  <a:pt x="2218632" y="3998664"/>
                </a:lnTo>
                <a:lnTo>
                  <a:pt x="2228892" y="3980709"/>
                </a:lnTo>
                <a:cubicBezTo>
                  <a:pt x="2246846" y="3947366"/>
                  <a:pt x="2257106" y="3901198"/>
                  <a:pt x="2267365" y="3857595"/>
                </a:cubicBezTo>
                <a:cubicBezTo>
                  <a:pt x="2282755" y="3790907"/>
                  <a:pt x="2298144" y="3721655"/>
                  <a:pt x="2339182" y="3696006"/>
                </a:cubicBezTo>
                <a:cubicBezTo>
                  <a:pt x="2321228" y="3739609"/>
                  <a:pt x="2308404" y="3801167"/>
                  <a:pt x="2295579" y="3862724"/>
                </a:cubicBezTo>
                <a:cubicBezTo>
                  <a:pt x="2290449" y="3888373"/>
                  <a:pt x="2285320" y="3914022"/>
                  <a:pt x="2280190" y="3934541"/>
                </a:cubicBezTo>
                <a:lnTo>
                  <a:pt x="2293014" y="3939671"/>
                </a:lnTo>
                <a:cubicBezTo>
                  <a:pt x="2328923" y="3865289"/>
                  <a:pt x="2357137" y="3754999"/>
                  <a:pt x="2367396" y="3680617"/>
                </a:cubicBezTo>
                <a:cubicBezTo>
                  <a:pt x="2369962" y="3678052"/>
                  <a:pt x="2372526" y="3678052"/>
                  <a:pt x="2375091" y="3675487"/>
                </a:cubicBezTo>
                <a:cubicBezTo>
                  <a:pt x="2369962" y="3667792"/>
                  <a:pt x="2364831" y="3660098"/>
                  <a:pt x="2359701" y="3652403"/>
                </a:cubicBezTo>
                <a:cubicBezTo>
                  <a:pt x="2359701" y="3649838"/>
                  <a:pt x="2359701" y="3649838"/>
                  <a:pt x="2359701" y="3649838"/>
                </a:cubicBezTo>
                <a:cubicBezTo>
                  <a:pt x="2259671" y="3711396"/>
                  <a:pt x="2177594" y="3806297"/>
                  <a:pt x="2100647" y="3898633"/>
                </a:cubicBezTo>
                <a:cubicBezTo>
                  <a:pt x="2085258" y="3919152"/>
                  <a:pt x="2069869" y="3937106"/>
                  <a:pt x="2051916" y="3957625"/>
                </a:cubicBezTo>
                <a:cubicBezTo>
                  <a:pt x="2031396" y="3993534"/>
                  <a:pt x="2008312" y="4026877"/>
                  <a:pt x="1985228" y="4060221"/>
                </a:cubicBezTo>
                <a:cubicBezTo>
                  <a:pt x="1954448" y="4106389"/>
                  <a:pt x="1921105" y="4155122"/>
                  <a:pt x="1892891" y="4211550"/>
                </a:cubicBezTo>
                <a:cubicBezTo>
                  <a:pt x="1872373" y="4221810"/>
                  <a:pt x="1859547" y="4252588"/>
                  <a:pt x="1846723" y="4283367"/>
                </a:cubicBezTo>
                <a:cubicBezTo>
                  <a:pt x="1844158" y="4291062"/>
                  <a:pt x="1839028" y="4298756"/>
                  <a:pt x="1836463" y="4306451"/>
                </a:cubicBezTo>
                <a:cubicBezTo>
                  <a:pt x="1826204" y="4267978"/>
                  <a:pt x="1795425" y="4232069"/>
                  <a:pt x="1736432" y="4229504"/>
                </a:cubicBezTo>
                <a:lnTo>
                  <a:pt x="1733868" y="4229504"/>
                </a:lnTo>
                <a:lnTo>
                  <a:pt x="1731303" y="4232069"/>
                </a:lnTo>
                <a:cubicBezTo>
                  <a:pt x="1723609" y="4239764"/>
                  <a:pt x="1718478" y="4252588"/>
                  <a:pt x="1718478" y="4265413"/>
                </a:cubicBezTo>
                <a:cubicBezTo>
                  <a:pt x="1715913" y="4262848"/>
                  <a:pt x="1713348" y="4257718"/>
                  <a:pt x="1710783" y="4255153"/>
                </a:cubicBezTo>
                <a:cubicBezTo>
                  <a:pt x="1690264" y="4232069"/>
                  <a:pt x="1672310" y="4206420"/>
                  <a:pt x="1631272" y="4206420"/>
                </a:cubicBezTo>
                <a:cubicBezTo>
                  <a:pt x="1621012" y="4206420"/>
                  <a:pt x="1613317" y="4208985"/>
                  <a:pt x="1605623" y="4211550"/>
                </a:cubicBezTo>
                <a:cubicBezTo>
                  <a:pt x="1595363" y="4216680"/>
                  <a:pt x="1590233" y="4219244"/>
                  <a:pt x="1577409" y="4214115"/>
                </a:cubicBezTo>
                <a:cubicBezTo>
                  <a:pt x="1572279" y="4211550"/>
                  <a:pt x="1567149" y="4206420"/>
                  <a:pt x="1564585" y="4198725"/>
                </a:cubicBezTo>
                <a:cubicBezTo>
                  <a:pt x="1559455" y="4193596"/>
                  <a:pt x="1554325" y="4183336"/>
                  <a:pt x="1544065" y="4178206"/>
                </a:cubicBezTo>
                <a:lnTo>
                  <a:pt x="1541500" y="4178206"/>
                </a:lnTo>
                <a:lnTo>
                  <a:pt x="1538936" y="4178206"/>
                </a:lnTo>
                <a:cubicBezTo>
                  <a:pt x="1513287" y="4183336"/>
                  <a:pt x="1492767" y="4170512"/>
                  <a:pt x="1469683" y="4155122"/>
                </a:cubicBezTo>
                <a:cubicBezTo>
                  <a:pt x="1461989" y="4149992"/>
                  <a:pt x="1451729" y="4144863"/>
                  <a:pt x="1444035" y="4139733"/>
                </a:cubicBezTo>
                <a:lnTo>
                  <a:pt x="1438905" y="4137168"/>
                </a:lnTo>
                <a:lnTo>
                  <a:pt x="1436340" y="4142298"/>
                </a:lnTo>
                <a:cubicBezTo>
                  <a:pt x="1395302" y="4188466"/>
                  <a:pt x="1326049" y="4160252"/>
                  <a:pt x="1264492" y="4134603"/>
                </a:cubicBezTo>
                <a:lnTo>
                  <a:pt x="1261927" y="4132038"/>
                </a:lnTo>
                <a:lnTo>
                  <a:pt x="1259362" y="4134603"/>
                </a:lnTo>
                <a:cubicBezTo>
                  <a:pt x="1251668" y="4142298"/>
                  <a:pt x="1246538" y="4149992"/>
                  <a:pt x="1241408" y="4157687"/>
                </a:cubicBezTo>
                <a:cubicBezTo>
                  <a:pt x="1233713" y="4155122"/>
                  <a:pt x="1228583" y="4152557"/>
                  <a:pt x="1220889" y="4149992"/>
                </a:cubicBezTo>
                <a:cubicBezTo>
                  <a:pt x="1208064" y="4144863"/>
                  <a:pt x="1192675" y="4139733"/>
                  <a:pt x="1177286" y="4137168"/>
                </a:cubicBezTo>
                <a:cubicBezTo>
                  <a:pt x="1218324" y="4126908"/>
                  <a:pt x="1261927" y="4119214"/>
                  <a:pt x="1305530" y="4111519"/>
                </a:cubicBezTo>
                <a:cubicBezTo>
                  <a:pt x="1138812" y="4042267"/>
                  <a:pt x="961835" y="3990969"/>
                  <a:pt x="800246" y="3890938"/>
                </a:cubicBezTo>
                <a:cubicBezTo>
                  <a:pt x="797681" y="3878114"/>
                  <a:pt x="825895" y="3867854"/>
                  <a:pt x="818201" y="3855030"/>
                </a:cubicBezTo>
                <a:cubicBezTo>
                  <a:pt x="789987" y="3821686"/>
                  <a:pt x="759208" y="3801167"/>
                  <a:pt x="728429" y="3790907"/>
                </a:cubicBezTo>
                <a:cubicBezTo>
                  <a:pt x="651483" y="3883244"/>
                  <a:pt x="556582" y="3775518"/>
                  <a:pt x="479635" y="3734480"/>
                </a:cubicBezTo>
                <a:cubicBezTo>
                  <a:pt x="495024" y="3690877"/>
                  <a:pt x="497589" y="3647273"/>
                  <a:pt x="554017" y="3657533"/>
                </a:cubicBezTo>
                <a:cubicBezTo>
                  <a:pt x="497589" y="3585716"/>
                  <a:pt x="407818" y="3601105"/>
                  <a:pt x="371909" y="3529288"/>
                </a:cubicBezTo>
                <a:cubicBezTo>
                  <a:pt x="346260" y="3508769"/>
                  <a:pt x="346260" y="3547243"/>
                  <a:pt x="325741" y="3542113"/>
                </a:cubicBezTo>
                <a:cubicBezTo>
                  <a:pt x="200061" y="3460036"/>
                  <a:pt x="69252" y="3429257"/>
                  <a:pt x="0" y="3334356"/>
                </a:cubicBezTo>
                <a:cubicBezTo>
                  <a:pt x="5129" y="3298451"/>
                  <a:pt x="38473" y="3313837"/>
                  <a:pt x="58992" y="3311275"/>
                </a:cubicBezTo>
                <a:cubicBezTo>
                  <a:pt x="61557" y="3329230"/>
                  <a:pt x="38473" y="3342051"/>
                  <a:pt x="64122" y="3362570"/>
                </a:cubicBezTo>
                <a:cubicBezTo>
                  <a:pt x="64122" y="3377959"/>
                  <a:pt x="146199" y="3344616"/>
                  <a:pt x="117985" y="3344616"/>
                </a:cubicBezTo>
                <a:cubicBezTo>
                  <a:pt x="202626" y="3344616"/>
                  <a:pt x="300092" y="3452342"/>
                  <a:pt x="361650" y="3483120"/>
                </a:cubicBezTo>
                <a:cubicBezTo>
                  <a:pt x="536062" y="3418998"/>
                  <a:pt x="674567" y="3672922"/>
                  <a:pt x="854109" y="3680617"/>
                </a:cubicBezTo>
                <a:cubicBezTo>
                  <a:pt x="902842" y="3731915"/>
                  <a:pt x="959270" y="3760129"/>
                  <a:pt x="1015697" y="3767823"/>
                </a:cubicBezTo>
                <a:cubicBezTo>
                  <a:pt x="1120858" y="3855030"/>
                  <a:pt x="1315790" y="3914022"/>
                  <a:pt x="1436340" y="4016618"/>
                </a:cubicBezTo>
                <a:cubicBezTo>
                  <a:pt x="1464554" y="4039702"/>
                  <a:pt x="1485073" y="4065351"/>
                  <a:pt x="1508157" y="4085870"/>
                </a:cubicBezTo>
                <a:cubicBezTo>
                  <a:pt x="1572279" y="4080740"/>
                  <a:pt x="1636402" y="4075611"/>
                  <a:pt x="1697959" y="4073046"/>
                </a:cubicBezTo>
                <a:cubicBezTo>
                  <a:pt x="1751822" y="4070480"/>
                  <a:pt x="1800555" y="4062786"/>
                  <a:pt x="1841594" y="4047397"/>
                </a:cubicBezTo>
                <a:cubicBezTo>
                  <a:pt x="1810814" y="4032007"/>
                  <a:pt x="1780036" y="4021748"/>
                  <a:pt x="1749257" y="4014053"/>
                </a:cubicBezTo>
                <a:cubicBezTo>
                  <a:pt x="1769776" y="3952496"/>
                  <a:pt x="1762081" y="3870419"/>
                  <a:pt x="1764646" y="3793472"/>
                </a:cubicBezTo>
                <a:cubicBezTo>
                  <a:pt x="1718478" y="3760129"/>
                  <a:pt x="1685134" y="3731915"/>
                  <a:pt x="1623577" y="3724220"/>
                </a:cubicBezTo>
                <a:cubicBezTo>
                  <a:pt x="1621012" y="3747304"/>
                  <a:pt x="1641531" y="3739609"/>
                  <a:pt x="1669745" y="3744739"/>
                </a:cubicBezTo>
                <a:cubicBezTo>
                  <a:pt x="1664615" y="3754999"/>
                  <a:pt x="1646661" y="3757564"/>
                  <a:pt x="1654356" y="3780648"/>
                </a:cubicBezTo>
                <a:cubicBezTo>
                  <a:pt x="1664615" y="3788342"/>
                  <a:pt x="1680005" y="3790907"/>
                  <a:pt x="1700524" y="3790907"/>
                </a:cubicBezTo>
                <a:cubicBezTo>
                  <a:pt x="1703089" y="3819121"/>
                  <a:pt x="1654356" y="3796037"/>
                  <a:pt x="1649226" y="3816556"/>
                </a:cubicBezTo>
                <a:cubicBezTo>
                  <a:pt x="1633837" y="3819121"/>
                  <a:pt x="1631272" y="3803732"/>
                  <a:pt x="1638967" y="3796037"/>
                </a:cubicBezTo>
                <a:cubicBezTo>
                  <a:pt x="1610753" y="3803732"/>
                  <a:pt x="1582539" y="3808862"/>
                  <a:pt x="1559455" y="3806297"/>
                </a:cubicBezTo>
                <a:cubicBezTo>
                  <a:pt x="1554325" y="3783213"/>
                  <a:pt x="1513287" y="3775518"/>
                  <a:pt x="1485073" y="3760129"/>
                </a:cubicBezTo>
                <a:cubicBezTo>
                  <a:pt x="1487638" y="3754999"/>
                  <a:pt x="1490203" y="3749869"/>
                  <a:pt x="1500462" y="3749869"/>
                </a:cubicBezTo>
                <a:cubicBezTo>
                  <a:pt x="1490203" y="3734480"/>
                  <a:pt x="1469683" y="3726785"/>
                  <a:pt x="1449164" y="3719090"/>
                </a:cubicBezTo>
                <a:cubicBezTo>
                  <a:pt x="1433775" y="3683182"/>
                  <a:pt x="1444035" y="3654968"/>
                  <a:pt x="1413256" y="3634449"/>
                </a:cubicBezTo>
                <a:cubicBezTo>
                  <a:pt x="1449164" y="3611365"/>
                  <a:pt x="1433775" y="3570326"/>
                  <a:pt x="1410691" y="3557502"/>
                </a:cubicBezTo>
                <a:cubicBezTo>
                  <a:pt x="1413256" y="3557502"/>
                  <a:pt x="1415821" y="3554937"/>
                  <a:pt x="1418386" y="3554937"/>
                </a:cubicBezTo>
                <a:cubicBezTo>
                  <a:pt x="1423515" y="3477991"/>
                  <a:pt x="1377347" y="3429257"/>
                  <a:pt x="1397866" y="3365141"/>
                </a:cubicBezTo>
                <a:cubicBezTo>
                  <a:pt x="1382477" y="3347185"/>
                  <a:pt x="1326049" y="3342051"/>
                  <a:pt x="1313225" y="3339489"/>
                </a:cubicBezTo>
                <a:cubicBezTo>
                  <a:pt x="1277317" y="3231764"/>
                  <a:pt x="1110598" y="3198421"/>
                  <a:pt x="972094" y="3244587"/>
                </a:cubicBezTo>
                <a:cubicBezTo>
                  <a:pt x="990048" y="3185597"/>
                  <a:pt x="1095209" y="3200986"/>
                  <a:pt x="1123423" y="3165076"/>
                </a:cubicBezTo>
                <a:cubicBezTo>
                  <a:pt x="1087514" y="3116343"/>
                  <a:pt x="1033652" y="3157383"/>
                  <a:pt x="987484" y="3144557"/>
                </a:cubicBezTo>
                <a:cubicBezTo>
                  <a:pt x="1008003" y="3124038"/>
                  <a:pt x="1051606" y="3129169"/>
                  <a:pt x="1066995" y="3103520"/>
                </a:cubicBezTo>
                <a:cubicBezTo>
                  <a:pt x="992613" y="3083001"/>
                  <a:pt x="943880" y="3147123"/>
                  <a:pt x="866934" y="3113779"/>
                </a:cubicBezTo>
                <a:cubicBezTo>
                  <a:pt x="851544" y="3090696"/>
                  <a:pt x="820765" y="3085566"/>
                  <a:pt x="787422" y="3083001"/>
                </a:cubicBezTo>
                <a:cubicBezTo>
                  <a:pt x="866934" y="2949626"/>
                  <a:pt x="1020827" y="2872679"/>
                  <a:pt x="1202935" y="2826512"/>
                </a:cubicBezTo>
                <a:cubicBezTo>
                  <a:pt x="1184980" y="2800864"/>
                  <a:pt x="1220889" y="2747000"/>
                  <a:pt x="1249103" y="2726481"/>
                </a:cubicBezTo>
                <a:cubicBezTo>
                  <a:pt x="1249103" y="2711092"/>
                  <a:pt x="1223454" y="2718786"/>
                  <a:pt x="1208064" y="2716221"/>
                </a:cubicBezTo>
                <a:cubicBezTo>
                  <a:pt x="1190110" y="2667488"/>
                  <a:pt x="1197805" y="2577716"/>
                  <a:pt x="1138812" y="2605930"/>
                </a:cubicBezTo>
                <a:cubicBezTo>
                  <a:pt x="1123423" y="2600800"/>
                  <a:pt x="1108034" y="2590540"/>
                  <a:pt x="1108034" y="2575151"/>
                </a:cubicBezTo>
                <a:cubicBezTo>
                  <a:pt x="1105469" y="2572586"/>
                  <a:pt x="1102904" y="2567457"/>
                  <a:pt x="1100339" y="2564892"/>
                </a:cubicBezTo>
                <a:cubicBezTo>
                  <a:pt x="1074690" y="2575151"/>
                  <a:pt x="1082385" y="2598235"/>
                  <a:pt x="1036217" y="2595670"/>
                </a:cubicBezTo>
                <a:cubicBezTo>
                  <a:pt x="1018262" y="2541808"/>
                  <a:pt x="1079820" y="2505899"/>
                  <a:pt x="1082385" y="2449470"/>
                </a:cubicBezTo>
                <a:cubicBezTo>
                  <a:pt x="1087514" y="2431518"/>
                  <a:pt x="1059301" y="2444342"/>
                  <a:pt x="1061865" y="2428952"/>
                </a:cubicBezTo>
                <a:cubicBezTo>
                  <a:pt x="1123423" y="2310968"/>
                  <a:pt x="1190110" y="2203241"/>
                  <a:pt x="1272187" y="2108341"/>
                </a:cubicBezTo>
                <a:cubicBezTo>
                  <a:pt x="1274752" y="2095516"/>
                  <a:pt x="1261927" y="2098082"/>
                  <a:pt x="1267057" y="2082693"/>
                </a:cubicBezTo>
                <a:cubicBezTo>
                  <a:pt x="1290141" y="2057044"/>
                  <a:pt x="1315790" y="2031396"/>
                  <a:pt x="1333744" y="1998051"/>
                </a:cubicBezTo>
                <a:cubicBezTo>
                  <a:pt x="1326049" y="2000616"/>
                  <a:pt x="1315790" y="2000616"/>
                  <a:pt x="1300400" y="2003181"/>
                </a:cubicBezTo>
                <a:cubicBezTo>
                  <a:pt x="1300400" y="1992921"/>
                  <a:pt x="1315790" y="1998051"/>
                  <a:pt x="1310660" y="1982662"/>
                </a:cubicBezTo>
                <a:cubicBezTo>
                  <a:pt x="1290141" y="2018570"/>
                  <a:pt x="1246538" y="2039090"/>
                  <a:pt x="1251668" y="2082693"/>
                </a:cubicBezTo>
                <a:cubicBezTo>
                  <a:pt x="1233713" y="2080128"/>
                  <a:pt x="1231148" y="2059609"/>
                  <a:pt x="1226019" y="2041654"/>
                </a:cubicBezTo>
                <a:cubicBezTo>
                  <a:pt x="1182415" y="2033960"/>
                  <a:pt x="1143942" y="2064738"/>
                  <a:pt x="1115728" y="2087822"/>
                </a:cubicBezTo>
                <a:cubicBezTo>
                  <a:pt x="1100339" y="2074997"/>
                  <a:pt x="1105469" y="2064738"/>
                  <a:pt x="1100339" y="2046783"/>
                </a:cubicBezTo>
                <a:cubicBezTo>
                  <a:pt x="1074690" y="2046783"/>
                  <a:pt x="1069560" y="2067302"/>
                  <a:pt x="1059301" y="2082693"/>
                </a:cubicBezTo>
                <a:cubicBezTo>
                  <a:pt x="1056736" y="2044219"/>
                  <a:pt x="1023392" y="2018570"/>
                  <a:pt x="990048" y="1998051"/>
                </a:cubicBezTo>
                <a:cubicBezTo>
                  <a:pt x="984919" y="1995486"/>
                  <a:pt x="972094" y="2013442"/>
                  <a:pt x="984919" y="2013442"/>
                </a:cubicBezTo>
                <a:cubicBezTo>
                  <a:pt x="982354" y="2018570"/>
                  <a:pt x="959270" y="2008311"/>
                  <a:pt x="949010" y="2018570"/>
                </a:cubicBezTo>
                <a:cubicBezTo>
                  <a:pt x="941315" y="1990357"/>
                  <a:pt x="969529" y="1995486"/>
                  <a:pt x="969529" y="1972402"/>
                </a:cubicBezTo>
                <a:cubicBezTo>
                  <a:pt x="959270" y="1959578"/>
                  <a:pt x="933621" y="1959578"/>
                  <a:pt x="923361" y="1946753"/>
                </a:cubicBezTo>
                <a:cubicBezTo>
                  <a:pt x="923361" y="1921104"/>
                  <a:pt x="933621" y="1921104"/>
                  <a:pt x="933621" y="1905715"/>
                </a:cubicBezTo>
                <a:cubicBezTo>
                  <a:pt x="900277" y="1892891"/>
                  <a:pt x="902842" y="1846722"/>
                  <a:pt x="864369" y="1841593"/>
                </a:cubicBezTo>
                <a:cubicBezTo>
                  <a:pt x="866934" y="1815944"/>
                  <a:pt x="923361" y="1841593"/>
                  <a:pt x="915666" y="1800556"/>
                </a:cubicBezTo>
                <a:cubicBezTo>
                  <a:pt x="902842" y="1785166"/>
                  <a:pt x="874628" y="1790296"/>
                  <a:pt x="856674" y="1780036"/>
                </a:cubicBezTo>
                <a:cubicBezTo>
                  <a:pt x="864369" y="1754387"/>
                  <a:pt x="902842" y="1759517"/>
                  <a:pt x="920796" y="1744128"/>
                </a:cubicBezTo>
                <a:cubicBezTo>
                  <a:pt x="910537" y="1708219"/>
                  <a:pt x="882323" y="1710784"/>
                  <a:pt x="884888" y="1674876"/>
                </a:cubicBezTo>
                <a:cubicBezTo>
                  <a:pt x="890018" y="1638967"/>
                  <a:pt x="928491" y="1638967"/>
                  <a:pt x="954140" y="1615883"/>
                </a:cubicBezTo>
                <a:cubicBezTo>
                  <a:pt x="949010" y="1600494"/>
                  <a:pt x="961835" y="1603059"/>
                  <a:pt x="959270" y="1590234"/>
                </a:cubicBezTo>
                <a:cubicBezTo>
                  <a:pt x="959270" y="1569715"/>
                  <a:pt x="938751" y="1567150"/>
                  <a:pt x="943880" y="1538935"/>
                </a:cubicBezTo>
                <a:cubicBezTo>
                  <a:pt x="974659" y="1541501"/>
                  <a:pt x="982354" y="1518416"/>
                  <a:pt x="995178" y="1497898"/>
                </a:cubicBezTo>
                <a:cubicBezTo>
                  <a:pt x="987484" y="1474813"/>
                  <a:pt x="982354" y="1449164"/>
                  <a:pt x="964400" y="1433775"/>
                </a:cubicBezTo>
                <a:cubicBezTo>
                  <a:pt x="969529" y="1423515"/>
                  <a:pt x="982354" y="1436340"/>
                  <a:pt x="990048" y="1408126"/>
                </a:cubicBezTo>
                <a:cubicBezTo>
                  <a:pt x="972094" y="1390172"/>
                  <a:pt x="941315" y="1382477"/>
                  <a:pt x="920796" y="1367088"/>
                </a:cubicBezTo>
                <a:cubicBezTo>
                  <a:pt x="895147" y="1269622"/>
                  <a:pt x="907972" y="1146507"/>
                  <a:pt x="1010568" y="1167026"/>
                </a:cubicBezTo>
                <a:cubicBezTo>
                  <a:pt x="1051606" y="1174721"/>
                  <a:pt x="1161896" y="1261927"/>
                  <a:pt x="1131118" y="1341439"/>
                </a:cubicBezTo>
                <a:cubicBezTo>
                  <a:pt x="1169591" y="1385042"/>
                  <a:pt x="1220889" y="1438905"/>
                  <a:pt x="1210629" y="1510722"/>
                </a:cubicBezTo>
                <a:cubicBezTo>
                  <a:pt x="1226019" y="1554326"/>
                  <a:pt x="1287576" y="1574845"/>
                  <a:pt x="1290141" y="1610753"/>
                </a:cubicBezTo>
                <a:cubicBezTo>
                  <a:pt x="1369653" y="1577410"/>
                  <a:pt x="1308095" y="1718479"/>
                  <a:pt x="1359393" y="1705654"/>
                </a:cubicBezTo>
                <a:cubicBezTo>
                  <a:pt x="1377347" y="1713349"/>
                  <a:pt x="1379912" y="1738998"/>
                  <a:pt x="1395302" y="1751823"/>
                </a:cubicBezTo>
                <a:cubicBezTo>
                  <a:pt x="1349133" y="1803120"/>
                  <a:pt x="1395302" y="1831334"/>
                  <a:pt x="1423515" y="1862112"/>
                </a:cubicBezTo>
                <a:cubicBezTo>
                  <a:pt x="1469683" y="1795426"/>
                  <a:pt x="1500462" y="1715914"/>
                  <a:pt x="1556890" y="1662051"/>
                </a:cubicBezTo>
                <a:cubicBezTo>
                  <a:pt x="1651791" y="1680005"/>
                  <a:pt x="1656921" y="1787730"/>
                  <a:pt x="1731303" y="1823639"/>
                </a:cubicBezTo>
                <a:cubicBezTo>
                  <a:pt x="1762081" y="1880066"/>
                  <a:pt x="1803119" y="1933929"/>
                  <a:pt x="1795425" y="2013442"/>
                </a:cubicBezTo>
                <a:cubicBezTo>
                  <a:pt x="1744127" y="2085258"/>
                  <a:pt x="1690264" y="2154509"/>
                  <a:pt x="1626142" y="2213500"/>
                </a:cubicBezTo>
                <a:cubicBezTo>
                  <a:pt x="1628708" y="2218631"/>
                  <a:pt x="1633837" y="2226327"/>
                  <a:pt x="1636402" y="2231456"/>
                </a:cubicBezTo>
                <a:cubicBezTo>
                  <a:pt x="1659487" y="2213500"/>
                  <a:pt x="1680005" y="2195544"/>
                  <a:pt x="1705654" y="2180157"/>
                </a:cubicBezTo>
                <a:cubicBezTo>
                  <a:pt x="1703089" y="2162202"/>
                  <a:pt x="1708219" y="2151944"/>
                  <a:pt x="1710783" y="2139120"/>
                </a:cubicBezTo>
                <a:cubicBezTo>
                  <a:pt x="1762081" y="2133992"/>
                  <a:pt x="1792860" y="2159638"/>
                  <a:pt x="1826204" y="2177592"/>
                </a:cubicBezTo>
                <a:cubicBezTo>
                  <a:pt x="1810814" y="2136555"/>
                  <a:pt x="1803119" y="2090386"/>
                  <a:pt x="1800555" y="2046783"/>
                </a:cubicBezTo>
                <a:cubicBezTo>
                  <a:pt x="1800555" y="2039090"/>
                  <a:pt x="1808249" y="2036525"/>
                  <a:pt x="1810814" y="2031396"/>
                </a:cubicBezTo>
                <a:cubicBezTo>
                  <a:pt x="1810814" y="2026267"/>
                  <a:pt x="1805685" y="2026267"/>
                  <a:pt x="1808249" y="2018570"/>
                </a:cubicBezTo>
                <a:cubicBezTo>
                  <a:pt x="1839028" y="1985227"/>
                  <a:pt x="1854417" y="1936494"/>
                  <a:pt x="1882632" y="1898020"/>
                </a:cubicBezTo>
                <a:cubicBezTo>
                  <a:pt x="1862112" y="1905715"/>
                  <a:pt x="1839028" y="1900585"/>
                  <a:pt x="1813379" y="1900585"/>
                </a:cubicBezTo>
                <a:cubicBezTo>
                  <a:pt x="1803119" y="1887761"/>
                  <a:pt x="1803119" y="1885196"/>
                  <a:pt x="1800555" y="1869807"/>
                </a:cubicBezTo>
                <a:cubicBezTo>
                  <a:pt x="1797990" y="1872371"/>
                  <a:pt x="1795425" y="1872371"/>
                  <a:pt x="1790295" y="1872371"/>
                </a:cubicBezTo>
                <a:cubicBezTo>
                  <a:pt x="1797990" y="1864677"/>
                  <a:pt x="1787731" y="1864677"/>
                  <a:pt x="1780036" y="1867242"/>
                </a:cubicBezTo>
                <a:cubicBezTo>
                  <a:pt x="1774906" y="1813380"/>
                  <a:pt x="1741562" y="1785166"/>
                  <a:pt x="1738997" y="1723609"/>
                </a:cubicBezTo>
                <a:cubicBezTo>
                  <a:pt x="1741562" y="1721044"/>
                  <a:pt x="1746693" y="1718479"/>
                  <a:pt x="1749257" y="1715914"/>
                </a:cubicBezTo>
                <a:cubicBezTo>
                  <a:pt x="1746693" y="1708219"/>
                  <a:pt x="1736432" y="1705654"/>
                  <a:pt x="1736432" y="1692830"/>
                </a:cubicBezTo>
                <a:cubicBezTo>
                  <a:pt x="1731303" y="1692830"/>
                  <a:pt x="1731303" y="1687700"/>
                  <a:pt x="1723609" y="1690265"/>
                </a:cubicBezTo>
                <a:cubicBezTo>
                  <a:pt x="1723609" y="1685135"/>
                  <a:pt x="1721043" y="1682570"/>
                  <a:pt x="1721043" y="1680005"/>
                </a:cubicBezTo>
                <a:cubicBezTo>
                  <a:pt x="1672310" y="1667181"/>
                  <a:pt x="1723609" y="1633837"/>
                  <a:pt x="1733868" y="1605624"/>
                </a:cubicBezTo>
                <a:cubicBezTo>
                  <a:pt x="1741562" y="1582540"/>
                  <a:pt x="1726173" y="1562020"/>
                  <a:pt x="1741562" y="1541501"/>
                </a:cubicBezTo>
                <a:cubicBezTo>
                  <a:pt x="1736432" y="1520981"/>
                  <a:pt x="1741562" y="1495333"/>
                  <a:pt x="1733868" y="1482508"/>
                </a:cubicBezTo>
                <a:cubicBezTo>
                  <a:pt x="1792860" y="1359393"/>
                  <a:pt x="1854417" y="1236278"/>
                  <a:pt x="1923670" y="1120858"/>
                </a:cubicBezTo>
                <a:cubicBezTo>
                  <a:pt x="1923670" y="1115728"/>
                  <a:pt x="1923670" y="1110598"/>
                  <a:pt x="1923670" y="1105469"/>
                </a:cubicBezTo>
                <a:cubicBezTo>
                  <a:pt x="1946754" y="1087513"/>
                  <a:pt x="1946754" y="1049041"/>
                  <a:pt x="1987794" y="1043911"/>
                </a:cubicBezTo>
                <a:cubicBezTo>
                  <a:pt x="2005747" y="1020828"/>
                  <a:pt x="2028831" y="1010568"/>
                  <a:pt x="2026266" y="972095"/>
                </a:cubicBezTo>
                <a:cubicBezTo>
                  <a:pt x="2036526" y="1000308"/>
                  <a:pt x="2013442" y="1038781"/>
                  <a:pt x="2005747" y="1066995"/>
                </a:cubicBezTo>
                <a:cubicBezTo>
                  <a:pt x="2018572" y="1049041"/>
                  <a:pt x="2026266" y="1031087"/>
                  <a:pt x="2041657" y="1018262"/>
                </a:cubicBezTo>
                <a:cubicBezTo>
                  <a:pt x="2049350" y="1028522"/>
                  <a:pt x="2036526" y="1043911"/>
                  <a:pt x="2031396" y="1051606"/>
                </a:cubicBezTo>
                <a:cubicBezTo>
                  <a:pt x="2033961" y="1059300"/>
                  <a:pt x="2033961" y="1046476"/>
                  <a:pt x="2041657" y="1049041"/>
                </a:cubicBezTo>
                <a:cubicBezTo>
                  <a:pt x="2036526" y="1061865"/>
                  <a:pt x="2028831" y="1069559"/>
                  <a:pt x="2026266" y="1082384"/>
                </a:cubicBezTo>
                <a:cubicBezTo>
                  <a:pt x="2046785" y="1059300"/>
                  <a:pt x="2051916" y="1033652"/>
                  <a:pt x="2072434" y="1013132"/>
                </a:cubicBezTo>
                <a:cubicBezTo>
                  <a:pt x="2072434" y="1002874"/>
                  <a:pt x="2074999" y="992614"/>
                  <a:pt x="2087823" y="990049"/>
                </a:cubicBezTo>
                <a:cubicBezTo>
                  <a:pt x="2087823" y="1000308"/>
                  <a:pt x="2087823" y="1008003"/>
                  <a:pt x="2085258" y="1015697"/>
                </a:cubicBezTo>
                <a:cubicBezTo>
                  <a:pt x="2092953" y="1018262"/>
                  <a:pt x="2100647" y="995179"/>
                  <a:pt x="2103212" y="1015697"/>
                </a:cubicBezTo>
                <a:cubicBezTo>
                  <a:pt x="2133991" y="1002874"/>
                  <a:pt x="2149380" y="1000308"/>
                  <a:pt x="2159640" y="964399"/>
                </a:cubicBezTo>
                <a:cubicBezTo>
                  <a:pt x="2167335" y="966964"/>
                  <a:pt x="2159640" y="977225"/>
                  <a:pt x="2159640" y="982355"/>
                </a:cubicBezTo>
                <a:cubicBezTo>
                  <a:pt x="2177594" y="969530"/>
                  <a:pt x="2180160" y="931055"/>
                  <a:pt x="2210939" y="936185"/>
                </a:cubicBezTo>
                <a:cubicBezTo>
                  <a:pt x="2218632" y="959270"/>
                  <a:pt x="2208373" y="972095"/>
                  <a:pt x="2198113" y="992614"/>
                </a:cubicBezTo>
                <a:cubicBezTo>
                  <a:pt x="2210939" y="984920"/>
                  <a:pt x="2216067" y="966964"/>
                  <a:pt x="2221198" y="949009"/>
                </a:cubicBezTo>
                <a:cubicBezTo>
                  <a:pt x="2231457" y="959270"/>
                  <a:pt x="2218632" y="984920"/>
                  <a:pt x="2216067" y="1000308"/>
                </a:cubicBezTo>
                <a:cubicBezTo>
                  <a:pt x="2223762" y="987483"/>
                  <a:pt x="2234022" y="972095"/>
                  <a:pt x="2244281" y="954139"/>
                </a:cubicBezTo>
                <a:cubicBezTo>
                  <a:pt x="2251977" y="943879"/>
                  <a:pt x="2257106" y="931055"/>
                  <a:pt x="2262235" y="920795"/>
                </a:cubicBezTo>
                <a:cubicBezTo>
                  <a:pt x="2282755" y="907971"/>
                  <a:pt x="2295579" y="887452"/>
                  <a:pt x="2308404" y="866932"/>
                </a:cubicBezTo>
                <a:cubicBezTo>
                  <a:pt x="2318663" y="874627"/>
                  <a:pt x="2326358" y="859238"/>
                  <a:pt x="2326358" y="846413"/>
                </a:cubicBezTo>
                <a:cubicBezTo>
                  <a:pt x="2334053" y="846413"/>
                  <a:pt x="2331488" y="856673"/>
                  <a:pt x="2339182" y="856673"/>
                </a:cubicBezTo>
                <a:cubicBezTo>
                  <a:pt x="2339182" y="848978"/>
                  <a:pt x="2334053" y="848978"/>
                  <a:pt x="2334053" y="841284"/>
                </a:cubicBezTo>
                <a:cubicBezTo>
                  <a:pt x="2346877" y="843848"/>
                  <a:pt x="2346877" y="846413"/>
                  <a:pt x="2344312" y="856673"/>
                </a:cubicBezTo>
                <a:cubicBezTo>
                  <a:pt x="2359701" y="869497"/>
                  <a:pt x="2377657" y="874627"/>
                  <a:pt x="2390482" y="887452"/>
                </a:cubicBezTo>
                <a:cubicBezTo>
                  <a:pt x="2393046" y="882322"/>
                  <a:pt x="2385351" y="866932"/>
                  <a:pt x="2377657" y="872062"/>
                </a:cubicBezTo>
                <a:cubicBezTo>
                  <a:pt x="2377657" y="866932"/>
                  <a:pt x="2382787" y="866932"/>
                  <a:pt x="2380221" y="859238"/>
                </a:cubicBezTo>
                <a:cubicBezTo>
                  <a:pt x="2372526" y="859238"/>
                  <a:pt x="2375091" y="872062"/>
                  <a:pt x="2364831" y="869497"/>
                </a:cubicBezTo>
                <a:cubicBezTo>
                  <a:pt x="2364831" y="861803"/>
                  <a:pt x="2372526" y="861803"/>
                  <a:pt x="2372526" y="851543"/>
                </a:cubicBezTo>
                <a:cubicBezTo>
                  <a:pt x="2369962" y="851543"/>
                  <a:pt x="2367396" y="856673"/>
                  <a:pt x="2367396" y="861803"/>
                </a:cubicBezTo>
                <a:cubicBezTo>
                  <a:pt x="2357137" y="859238"/>
                  <a:pt x="2367396" y="848978"/>
                  <a:pt x="2375091" y="848978"/>
                </a:cubicBezTo>
                <a:cubicBezTo>
                  <a:pt x="2364831" y="841284"/>
                  <a:pt x="2372526" y="836154"/>
                  <a:pt x="2372526" y="823329"/>
                </a:cubicBezTo>
                <a:cubicBezTo>
                  <a:pt x="2357137" y="825894"/>
                  <a:pt x="2364831" y="843848"/>
                  <a:pt x="2362266" y="854108"/>
                </a:cubicBezTo>
                <a:cubicBezTo>
                  <a:pt x="2346877" y="848978"/>
                  <a:pt x="2359701" y="831025"/>
                  <a:pt x="2344312" y="823329"/>
                </a:cubicBezTo>
                <a:cubicBezTo>
                  <a:pt x="2346877" y="815635"/>
                  <a:pt x="2349442" y="825894"/>
                  <a:pt x="2354572" y="823329"/>
                </a:cubicBezTo>
                <a:cubicBezTo>
                  <a:pt x="2344312" y="807940"/>
                  <a:pt x="2362266" y="787421"/>
                  <a:pt x="2372526" y="777161"/>
                </a:cubicBezTo>
                <a:cubicBezTo>
                  <a:pt x="2377657" y="774597"/>
                  <a:pt x="2375091" y="782292"/>
                  <a:pt x="2380221" y="782292"/>
                </a:cubicBezTo>
                <a:cubicBezTo>
                  <a:pt x="2387916" y="782292"/>
                  <a:pt x="2377657" y="777161"/>
                  <a:pt x="2380221" y="772031"/>
                </a:cubicBezTo>
                <a:cubicBezTo>
                  <a:pt x="2393046" y="774597"/>
                  <a:pt x="2390482" y="754078"/>
                  <a:pt x="2395611" y="746384"/>
                </a:cubicBezTo>
                <a:cubicBezTo>
                  <a:pt x="2395611" y="746384"/>
                  <a:pt x="2400741" y="748947"/>
                  <a:pt x="2400741" y="748947"/>
                </a:cubicBezTo>
                <a:cubicBezTo>
                  <a:pt x="2395611" y="751513"/>
                  <a:pt x="2411000" y="730994"/>
                  <a:pt x="2408435" y="728428"/>
                </a:cubicBezTo>
                <a:cubicBezTo>
                  <a:pt x="2421261" y="730994"/>
                  <a:pt x="2418695" y="707909"/>
                  <a:pt x="2428954" y="713040"/>
                </a:cubicBezTo>
                <a:cubicBezTo>
                  <a:pt x="2421261" y="707909"/>
                  <a:pt x="2434084" y="697651"/>
                  <a:pt x="2428954" y="695086"/>
                </a:cubicBezTo>
                <a:cubicBezTo>
                  <a:pt x="2431520" y="692521"/>
                  <a:pt x="2441779" y="684826"/>
                  <a:pt x="2446909" y="689956"/>
                </a:cubicBezTo>
                <a:cubicBezTo>
                  <a:pt x="2444345" y="682261"/>
                  <a:pt x="2441779" y="677131"/>
                  <a:pt x="2454604" y="679696"/>
                </a:cubicBezTo>
                <a:cubicBezTo>
                  <a:pt x="2449474" y="674567"/>
                  <a:pt x="2441779" y="674567"/>
                  <a:pt x="2444345" y="661742"/>
                </a:cubicBezTo>
                <a:cubicBezTo>
                  <a:pt x="2449474" y="659177"/>
                  <a:pt x="2449474" y="664307"/>
                  <a:pt x="2449474" y="669437"/>
                </a:cubicBezTo>
                <a:cubicBezTo>
                  <a:pt x="2452039" y="648918"/>
                  <a:pt x="2467428" y="630963"/>
                  <a:pt x="2480252" y="615574"/>
                </a:cubicBezTo>
                <a:cubicBezTo>
                  <a:pt x="2508466" y="630963"/>
                  <a:pt x="2464863" y="648918"/>
                  <a:pt x="2477687" y="674567"/>
                </a:cubicBezTo>
                <a:cubicBezTo>
                  <a:pt x="2469993" y="674567"/>
                  <a:pt x="2475124" y="661742"/>
                  <a:pt x="2462298" y="666872"/>
                </a:cubicBezTo>
                <a:cubicBezTo>
                  <a:pt x="2459733" y="674567"/>
                  <a:pt x="2472558" y="669437"/>
                  <a:pt x="2467428" y="679696"/>
                </a:cubicBezTo>
                <a:cubicBezTo>
                  <a:pt x="2464863" y="682261"/>
                  <a:pt x="2457168" y="687391"/>
                  <a:pt x="2452039" y="682261"/>
                </a:cubicBezTo>
                <a:cubicBezTo>
                  <a:pt x="2459733" y="705345"/>
                  <a:pt x="2421261" y="715604"/>
                  <a:pt x="2428954" y="738689"/>
                </a:cubicBezTo>
                <a:cubicBezTo>
                  <a:pt x="2418695" y="741254"/>
                  <a:pt x="2418695" y="769468"/>
                  <a:pt x="2403306" y="761773"/>
                </a:cubicBezTo>
                <a:cubicBezTo>
                  <a:pt x="2400741" y="769468"/>
                  <a:pt x="2405870" y="787421"/>
                  <a:pt x="2390482" y="784856"/>
                </a:cubicBezTo>
                <a:cubicBezTo>
                  <a:pt x="2382787" y="800245"/>
                  <a:pt x="2405870" y="825894"/>
                  <a:pt x="2387916" y="836154"/>
                </a:cubicBezTo>
                <a:cubicBezTo>
                  <a:pt x="2387916" y="841284"/>
                  <a:pt x="2395611" y="831025"/>
                  <a:pt x="2398176" y="838720"/>
                </a:cubicBezTo>
                <a:cubicBezTo>
                  <a:pt x="2398176" y="851543"/>
                  <a:pt x="2395611" y="848978"/>
                  <a:pt x="2390482" y="859238"/>
                </a:cubicBezTo>
                <a:cubicBezTo>
                  <a:pt x="2398176" y="861803"/>
                  <a:pt x="2395611" y="856673"/>
                  <a:pt x="2405870" y="856673"/>
                </a:cubicBezTo>
                <a:cubicBezTo>
                  <a:pt x="2411000" y="861803"/>
                  <a:pt x="2400741" y="872062"/>
                  <a:pt x="2393046" y="874627"/>
                </a:cubicBezTo>
                <a:cubicBezTo>
                  <a:pt x="2403306" y="890017"/>
                  <a:pt x="2403306" y="913101"/>
                  <a:pt x="2413565" y="928490"/>
                </a:cubicBezTo>
                <a:cubicBezTo>
                  <a:pt x="2421261" y="920795"/>
                  <a:pt x="2428954" y="931055"/>
                  <a:pt x="2423825" y="918230"/>
                </a:cubicBezTo>
                <a:cubicBezTo>
                  <a:pt x="2431520" y="920795"/>
                  <a:pt x="2439214" y="920795"/>
                  <a:pt x="2449474" y="918230"/>
                </a:cubicBezTo>
                <a:cubicBezTo>
                  <a:pt x="2464863" y="941314"/>
                  <a:pt x="2485383" y="966964"/>
                  <a:pt x="2498207" y="982355"/>
                </a:cubicBezTo>
                <a:cubicBezTo>
                  <a:pt x="2495642" y="990049"/>
                  <a:pt x="2493077" y="1002874"/>
                  <a:pt x="2503336" y="1005439"/>
                </a:cubicBezTo>
                <a:cubicBezTo>
                  <a:pt x="2495642" y="1043911"/>
                  <a:pt x="2487947" y="1066995"/>
                  <a:pt x="2472558" y="1108033"/>
                </a:cubicBezTo>
                <a:cubicBezTo>
                  <a:pt x="2441779" y="1108033"/>
                  <a:pt x="2452039" y="1143942"/>
                  <a:pt x="2434084" y="1167026"/>
                </a:cubicBezTo>
                <a:cubicBezTo>
                  <a:pt x="2421261" y="1164461"/>
                  <a:pt x="2413565" y="1167026"/>
                  <a:pt x="2408435" y="1172156"/>
                </a:cubicBezTo>
                <a:lnTo>
                  <a:pt x="2409792" y="1174483"/>
                </a:lnTo>
                <a:lnTo>
                  <a:pt x="2397856" y="1197484"/>
                </a:lnTo>
                <a:cubicBezTo>
                  <a:pt x="2394971" y="1207423"/>
                  <a:pt x="2393046" y="1218324"/>
                  <a:pt x="2390482" y="1228583"/>
                </a:cubicBezTo>
                <a:cubicBezTo>
                  <a:pt x="2380221" y="1231148"/>
                  <a:pt x="2382787" y="1231148"/>
                  <a:pt x="2372526" y="1233713"/>
                </a:cubicBezTo>
                <a:cubicBezTo>
                  <a:pt x="2372526" y="1249103"/>
                  <a:pt x="2377657" y="1264492"/>
                  <a:pt x="2385351" y="1279881"/>
                </a:cubicBezTo>
                <a:cubicBezTo>
                  <a:pt x="2382787" y="1341439"/>
                  <a:pt x="2334053" y="1379912"/>
                  <a:pt x="2321228" y="1428645"/>
                </a:cubicBezTo>
                <a:cubicBezTo>
                  <a:pt x="2321228" y="1428645"/>
                  <a:pt x="2316099" y="1428645"/>
                  <a:pt x="2316099" y="1428645"/>
                </a:cubicBezTo>
                <a:cubicBezTo>
                  <a:pt x="2305840" y="1467118"/>
                  <a:pt x="2323793" y="1503028"/>
                  <a:pt x="2310968" y="1546631"/>
                </a:cubicBezTo>
                <a:cubicBezTo>
                  <a:pt x="2293014" y="1597929"/>
                  <a:pt x="2272495" y="1646662"/>
                  <a:pt x="2239151" y="1685135"/>
                </a:cubicBezTo>
                <a:cubicBezTo>
                  <a:pt x="2239151" y="1690265"/>
                  <a:pt x="2241716" y="1690265"/>
                  <a:pt x="2241716" y="1695395"/>
                </a:cubicBezTo>
                <a:cubicBezTo>
                  <a:pt x="2239151" y="1695395"/>
                  <a:pt x="2239151" y="1692830"/>
                  <a:pt x="2236586" y="1692830"/>
                </a:cubicBezTo>
                <a:cubicBezTo>
                  <a:pt x="2218632" y="1710784"/>
                  <a:pt x="2216067" y="1738998"/>
                  <a:pt x="2200678" y="1756952"/>
                </a:cubicBezTo>
                <a:cubicBezTo>
                  <a:pt x="2205808" y="1762082"/>
                  <a:pt x="2205808" y="1769777"/>
                  <a:pt x="2205808" y="1777471"/>
                </a:cubicBezTo>
                <a:cubicBezTo>
                  <a:pt x="2200678" y="1797991"/>
                  <a:pt x="2195548" y="1815944"/>
                  <a:pt x="2187853" y="1831334"/>
                </a:cubicBezTo>
                <a:lnTo>
                  <a:pt x="2188692" y="1832222"/>
                </a:lnTo>
                <a:lnTo>
                  <a:pt x="2160923" y="1887761"/>
                </a:lnTo>
                <a:cubicBezTo>
                  <a:pt x="2150663" y="1906998"/>
                  <a:pt x="2140403" y="1926234"/>
                  <a:pt x="2131426" y="1946753"/>
                </a:cubicBezTo>
                <a:cubicBezTo>
                  <a:pt x="2118601" y="1972402"/>
                  <a:pt x="2092953" y="2005745"/>
                  <a:pt x="2085258" y="2033960"/>
                </a:cubicBezTo>
                <a:cubicBezTo>
                  <a:pt x="2080128" y="2049349"/>
                  <a:pt x="2087823" y="2064738"/>
                  <a:pt x="2085258" y="2080128"/>
                </a:cubicBezTo>
                <a:cubicBezTo>
                  <a:pt x="2085258" y="2087822"/>
                  <a:pt x="2074999" y="2095516"/>
                  <a:pt x="2072434" y="2105776"/>
                </a:cubicBezTo>
                <a:cubicBezTo>
                  <a:pt x="2116038" y="2167332"/>
                  <a:pt x="2136556" y="2251977"/>
                  <a:pt x="2139121" y="2328922"/>
                </a:cubicBezTo>
                <a:cubicBezTo>
                  <a:pt x="2182724" y="2380220"/>
                  <a:pt x="2210939" y="2513594"/>
                  <a:pt x="2149380" y="2570021"/>
                </a:cubicBezTo>
                <a:cubicBezTo>
                  <a:pt x="2149380" y="2570021"/>
                  <a:pt x="2149380" y="2572586"/>
                  <a:pt x="2149380" y="2575151"/>
                </a:cubicBezTo>
                <a:cubicBezTo>
                  <a:pt x="2154510" y="2575151"/>
                  <a:pt x="2157076" y="2575151"/>
                  <a:pt x="2162205" y="2575151"/>
                </a:cubicBezTo>
                <a:cubicBezTo>
                  <a:pt x="2159640" y="2577716"/>
                  <a:pt x="2154510" y="2582846"/>
                  <a:pt x="2149380" y="2585411"/>
                </a:cubicBezTo>
                <a:cubicBezTo>
                  <a:pt x="2146815" y="2605930"/>
                  <a:pt x="2141686" y="2621320"/>
                  <a:pt x="2133991" y="2634144"/>
                </a:cubicBezTo>
                <a:cubicBezTo>
                  <a:pt x="2141686" y="2634144"/>
                  <a:pt x="2149380" y="2631580"/>
                  <a:pt x="2162205" y="2634144"/>
                </a:cubicBezTo>
                <a:cubicBezTo>
                  <a:pt x="2169899" y="2626449"/>
                  <a:pt x="2177594" y="2616189"/>
                  <a:pt x="2177594" y="2598235"/>
                </a:cubicBezTo>
                <a:cubicBezTo>
                  <a:pt x="2195548" y="2585411"/>
                  <a:pt x="2208373" y="2598235"/>
                  <a:pt x="2223762" y="2582846"/>
                </a:cubicBezTo>
                <a:cubicBezTo>
                  <a:pt x="2226327" y="2544372"/>
                  <a:pt x="2205808" y="2531548"/>
                  <a:pt x="2198113" y="2503334"/>
                </a:cubicBezTo>
                <a:cubicBezTo>
                  <a:pt x="2205808" y="2487945"/>
                  <a:pt x="2221198" y="2493074"/>
                  <a:pt x="2228892" y="2503334"/>
                </a:cubicBezTo>
                <a:cubicBezTo>
                  <a:pt x="2236586" y="2495638"/>
                  <a:pt x="2234022" y="2477685"/>
                  <a:pt x="2234022" y="2462296"/>
                </a:cubicBezTo>
                <a:cubicBezTo>
                  <a:pt x="2254541" y="2459731"/>
                  <a:pt x="2254541" y="2436647"/>
                  <a:pt x="2280190" y="2436647"/>
                </a:cubicBezTo>
                <a:cubicBezTo>
                  <a:pt x="2285320" y="2408433"/>
                  <a:pt x="2275061" y="2393045"/>
                  <a:pt x="2254541" y="2390479"/>
                </a:cubicBezTo>
                <a:cubicBezTo>
                  <a:pt x="2251977" y="2369962"/>
                  <a:pt x="2267365" y="2369962"/>
                  <a:pt x="2269930" y="2354569"/>
                </a:cubicBezTo>
                <a:cubicBezTo>
                  <a:pt x="2267365" y="2328922"/>
                  <a:pt x="2216067" y="2372525"/>
                  <a:pt x="2223762" y="2328922"/>
                </a:cubicBezTo>
                <a:cubicBezTo>
                  <a:pt x="2290449" y="2344310"/>
                  <a:pt x="2257106" y="2264801"/>
                  <a:pt x="2259671" y="2234021"/>
                </a:cubicBezTo>
                <a:cubicBezTo>
                  <a:pt x="2287884" y="2239152"/>
                  <a:pt x="2295579" y="2213500"/>
                  <a:pt x="2305840" y="2187851"/>
                </a:cubicBezTo>
                <a:cubicBezTo>
                  <a:pt x="2305840" y="2169897"/>
                  <a:pt x="2285320" y="2169897"/>
                  <a:pt x="2285320" y="2146814"/>
                </a:cubicBezTo>
                <a:cubicBezTo>
                  <a:pt x="2308404" y="2167332"/>
                  <a:pt x="2321228" y="2146814"/>
                  <a:pt x="2331488" y="2126297"/>
                </a:cubicBezTo>
                <a:cubicBezTo>
                  <a:pt x="2352007" y="2131425"/>
                  <a:pt x="2349442" y="2126297"/>
                  <a:pt x="2375091" y="2121164"/>
                </a:cubicBezTo>
                <a:cubicBezTo>
                  <a:pt x="2364831" y="2103211"/>
                  <a:pt x="2359701" y="2077563"/>
                  <a:pt x="2362266" y="2049349"/>
                </a:cubicBezTo>
                <a:lnTo>
                  <a:pt x="2357578" y="2042104"/>
                </a:lnTo>
                <a:lnTo>
                  <a:pt x="2369962" y="1982662"/>
                </a:lnTo>
                <a:cubicBezTo>
                  <a:pt x="2372526" y="1969837"/>
                  <a:pt x="2372526" y="1954448"/>
                  <a:pt x="2372526" y="1936494"/>
                </a:cubicBezTo>
                <a:cubicBezTo>
                  <a:pt x="2382787" y="1926234"/>
                  <a:pt x="2393046" y="1918540"/>
                  <a:pt x="2400741" y="1915975"/>
                </a:cubicBezTo>
                <a:cubicBezTo>
                  <a:pt x="2405870" y="1905715"/>
                  <a:pt x="2413565" y="1895455"/>
                  <a:pt x="2421261" y="1887761"/>
                </a:cubicBezTo>
                <a:cubicBezTo>
                  <a:pt x="2441779" y="1864677"/>
                  <a:pt x="2464863" y="1849289"/>
                  <a:pt x="2485383" y="1841593"/>
                </a:cubicBezTo>
                <a:cubicBezTo>
                  <a:pt x="2495642" y="1821075"/>
                  <a:pt x="2511031" y="1805684"/>
                  <a:pt x="2523856" y="1787730"/>
                </a:cubicBezTo>
                <a:cubicBezTo>
                  <a:pt x="2554634" y="1818510"/>
                  <a:pt x="2567459" y="1782601"/>
                  <a:pt x="2582848" y="1756952"/>
                </a:cubicBezTo>
                <a:cubicBezTo>
                  <a:pt x="2598237" y="1754387"/>
                  <a:pt x="2595673" y="1769777"/>
                  <a:pt x="2608497" y="1772342"/>
                </a:cubicBezTo>
                <a:cubicBezTo>
                  <a:pt x="2626451" y="1774907"/>
                  <a:pt x="2626451" y="1746693"/>
                  <a:pt x="2644406" y="1762082"/>
                </a:cubicBezTo>
                <a:cubicBezTo>
                  <a:pt x="2631581" y="1741563"/>
                  <a:pt x="2631581" y="1715914"/>
                  <a:pt x="2644406" y="1700525"/>
                </a:cubicBezTo>
                <a:cubicBezTo>
                  <a:pt x="2631581" y="1664616"/>
                  <a:pt x="2616192" y="1631273"/>
                  <a:pt x="2603367" y="1595364"/>
                </a:cubicBezTo>
                <a:cubicBezTo>
                  <a:pt x="2576436" y="1527394"/>
                  <a:pt x="2548863" y="1459424"/>
                  <a:pt x="2520008" y="1393698"/>
                </a:cubicBezTo>
                <a:lnTo>
                  <a:pt x="2477854" y="1306569"/>
                </a:lnTo>
                <a:lnTo>
                  <a:pt x="2519688" y="1390813"/>
                </a:lnTo>
                <a:cubicBezTo>
                  <a:pt x="2548863" y="1456218"/>
                  <a:pt x="2576436" y="1523547"/>
                  <a:pt x="2603367" y="1590234"/>
                </a:cubicBezTo>
                <a:cubicBezTo>
                  <a:pt x="2618757" y="1626143"/>
                  <a:pt x="2631581" y="1662051"/>
                  <a:pt x="2646970" y="1695395"/>
                </a:cubicBezTo>
                <a:cubicBezTo>
                  <a:pt x="2657230" y="1685135"/>
                  <a:pt x="2675185" y="1682570"/>
                  <a:pt x="2693139" y="1690265"/>
                </a:cubicBezTo>
                <a:cubicBezTo>
                  <a:pt x="2698269" y="1682570"/>
                  <a:pt x="2690574" y="1646662"/>
                  <a:pt x="2688009" y="1631273"/>
                </a:cubicBezTo>
                <a:cubicBezTo>
                  <a:pt x="2703398" y="1631273"/>
                  <a:pt x="2721352" y="1633837"/>
                  <a:pt x="2718787" y="1615883"/>
                </a:cubicBezTo>
                <a:cubicBezTo>
                  <a:pt x="2744436" y="1631273"/>
                  <a:pt x="2770086" y="1618448"/>
                  <a:pt x="2793170" y="1626143"/>
                </a:cubicBezTo>
                <a:cubicBezTo>
                  <a:pt x="2782911" y="1654357"/>
                  <a:pt x="2782911" y="1680005"/>
                  <a:pt x="2793170" y="1710784"/>
                </a:cubicBezTo>
                <a:cubicBezTo>
                  <a:pt x="2795734" y="1708219"/>
                  <a:pt x="2798299" y="1708219"/>
                  <a:pt x="2800864" y="1708219"/>
                </a:cubicBezTo>
                <a:cubicBezTo>
                  <a:pt x="2800864" y="1705654"/>
                  <a:pt x="2800864" y="1705654"/>
                  <a:pt x="2800864" y="1705654"/>
                </a:cubicBezTo>
                <a:cubicBezTo>
                  <a:pt x="2800864" y="1659486"/>
                  <a:pt x="2805994" y="1610753"/>
                  <a:pt x="2813688" y="1564585"/>
                </a:cubicBezTo>
                <a:cubicBezTo>
                  <a:pt x="2829078" y="1472248"/>
                  <a:pt x="2844467" y="1379912"/>
                  <a:pt x="2839337" y="1292706"/>
                </a:cubicBezTo>
                <a:cubicBezTo>
                  <a:pt x="2839337" y="1251667"/>
                  <a:pt x="2836773" y="1213194"/>
                  <a:pt x="2831643" y="1174721"/>
                </a:cubicBezTo>
                <a:cubicBezTo>
                  <a:pt x="2818818" y="1138812"/>
                  <a:pt x="2805994" y="1102904"/>
                  <a:pt x="2793170" y="1069559"/>
                </a:cubicBezTo>
                <a:cubicBezTo>
                  <a:pt x="2767520" y="1005439"/>
                  <a:pt x="2747001" y="936185"/>
                  <a:pt x="2723917" y="869497"/>
                </a:cubicBezTo>
                <a:cubicBezTo>
                  <a:pt x="2680314" y="733559"/>
                  <a:pt x="2634147" y="600185"/>
                  <a:pt x="2567459" y="497589"/>
                </a:cubicBezTo>
                <a:cubicBezTo>
                  <a:pt x="2636711" y="597620"/>
                  <a:pt x="2685444" y="733559"/>
                  <a:pt x="2729048" y="866932"/>
                </a:cubicBezTo>
                <a:cubicBezTo>
                  <a:pt x="2752131" y="936185"/>
                  <a:pt x="2772650" y="1002874"/>
                  <a:pt x="2798299" y="1066995"/>
                </a:cubicBezTo>
                <a:cubicBezTo>
                  <a:pt x="2808559" y="1095209"/>
                  <a:pt x="2818818" y="1120858"/>
                  <a:pt x="2829078" y="1149072"/>
                </a:cubicBezTo>
                <a:cubicBezTo>
                  <a:pt x="2823949" y="1113163"/>
                  <a:pt x="2818818" y="1077255"/>
                  <a:pt x="2813688" y="1041346"/>
                </a:cubicBezTo>
                <a:cubicBezTo>
                  <a:pt x="2808559" y="1005439"/>
                  <a:pt x="2800864" y="966964"/>
                  <a:pt x="2795734" y="928490"/>
                </a:cubicBezTo>
                <a:cubicBezTo>
                  <a:pt x="2793170" y="925925"/>
                  <a:pt x="2793170" y="925925"/>
                  <a:pt x="2793170" y="923360"/>
                </a:cubicBezTo>
                <a:cubicBezTo>
                  <a:pt x="2772650" y="866932"/>
                  <a:pt x="2762391" y="805375"/>
                  <a:pt x="2754696" y="738689"/>
                </a:cubicBezTo>
                <a:cubicBezTo>
                  <a:pt x="2752131" y="728428"/>
                  <a:pt x="2747001" y="720735"/>
                  <a:pt x="2744436" y="710475"/>
                </a:cubicBezTo>
                <a:cubicBezTo>
                  <a:pt x="2747001" y="741254"/>
                  <a:pt x="2741872" y="777161"/>
                  <a:pt x="2713658" y="782292"/>
                </a:cubicBezTo>
                <a:cubicBezTo>
                  <a:pt x="2718787" y="751513"/>
                  <a:pt x="2721352" y="718170"/>
                  <a:pt x="2721352" y="684826"/>
                </a:cubicBezTo>
                <a:cubicBezTo>
                  <a:pt x="2731612" y="689956"/>
                  <a:pt x="2731612" y="679696"/>
                  <a:pt x="2726482" y="669437"/>
                </a:cubicBezTo>
                <a:cubicBezTo>
                  <a:pt x="2729048" y="669437"/>
                  <a:pt x="2729048" y="669437"/>
                  <a:pt x="2729048" y="669437"/>
                </a:cubicBezTo>
                <a:cubicBezTo>
                  <a:pt x="2718787" y="646353"/>
                  <a:pt x="2705963" y="623269"/>
                  <a:pt x="2695703" y="600185"/>
                </a:cubicBezTo>
                <a:cubicBezTo>
                  <a:pt x="2680314" y="571971"/>
                  <a:pt x="2662360" y="541192"/>
                  <a:pt x="2646970" y="512978"/>
                </a:cubicBezTo>
                <a:cubicBezTo>
                  <a:pt x="2595673" y="428337"/>
                  <a:pt x="2544375" y="346260"/>
                  <a:pt x="2505901" y="243665"/>
                </a:cubicBezTo>
                <a:cubicBezTo>
                  <a:pt x="2549505" y="351390"/>
                  <a:pt x="2608497" y="436032"/>
                  <a:pt x="2662360" y="528368"/>
                </a:cubicBezTo>
                <a:lnTo>
                  <a:pt x="2685069" y="552064"/>
                </a:lnTo>
                <a:lnTo>
                  <a:pt x="2703398" y="584795"/>
                </a:lnTo>
                <a:cubicBezTo>
                  <a:pt x="2716223" y="607879"/>
                  <a:pt x="2729048" y="630963"/>
                  <a:pt x="2739307" y="656612"/>
                </a:cubicBezTo>
                <a:cubicBezTo>
                  <a:pt x="2741872" y="656612"/>
                  <a:pt x="2741872" y="656612"/>
                  <a:pt x="2741872" y="654047"/>
                </a:cubicBezTo>
                <a:cubicBezTo>
                  <a:pt x="2741872" y="656612"/>
                  <a:pt x="2744436" y="661742"/>
                  <a:pt x="2744436" y="669437"/>
                </a:cubicBezTo>
                <a:cubicBezTo>
                  <a:pt x="2749566" y="679696"/>
                  <a:pt x="2752131" y="687391"/>
                  <a:pt x="2754696" y="697651"/>
                </a:cubicBezTo>
                <a:lnTo>
                  <a:pt x="2752724" y="640472"/>
                </a:lnTo>
                <a:lnTo>
                  <a:pt x="2755847" y="645660"/>
                </a:lnTo>
                <a:lnTo>
                  <a:pt x="2759827" y="705345"/>
                </a:lnTo>
                <a:cubicBezTo>
                  <a:pt x="2767520" y="730994"/>
                  <a:pt x="2777780" y="759208"/>
                  <a:pt x="2785475" y="787421"/>
                </a:cubicBezTo>
                <a:cubicBezTo>
                  <a:pt x="2795734" y="825894"/>
                  <a:pt x="2800864" y="866932"/>
                  <a:pt x="2808559" y="907971"/>
                </a:cubicBezTo>
                <a:cubicBezTo>
                  <a:pt x="2811124" y="923360"/>
                  <a:pt x="2813688" y="941314"/>
                  <a:pt x="2816253" y="956706"/>
                </a:cubicBezTo>
                <a:cubicBezTo>
                  <a:pt x="2839337" y="1008003"/>
                  <a:pt x="2867551" y="1049041"/>
                  <a:pt x="2900895" y="1084949"/>
                </a:cubicBezTo>
                <a:lnTo>
                  <a:pt x="2913207" y="1095209"/>
                </a:lnTo>
                <a:lnTo>
                  <a:pt x="2915643" y="1107391"/>
                </a:lnTo>
                <a:lnTo>
                  <a:pt x="2898330" y="1090079"/>
                </a:lnTo>
                <a:cubicBezTo>
                  <a:pt x="2867551" y="1059300"/>
                  <a:pt x="2841902" y="1018262"/>
                  <a:pt x="2818818" y="972095"/>
                </a:cubicBezTo>
                <a:cubicBezTo>
                  <a:pt x="2823949" y="990049"/>
                  <a:pt x="2826513" y="1008003"/>
                  <a:pt x="2829078" y="1025957"/>
                </a:cubicBezTo>
                <a:cubicBezTo>
                  <a:pt x="2839337" y="1084949"/>
                  <a:pt x="2847032" y="1143942"/>
                  <a:pt x="2852162" y="1202934"/>
                </a:cubicBezTo>
                <a:cubicBezTo>
                  <a:pt x="2857292" y="1223454"/>
                  <a:pt x="2862421" y="1241408"/>
                  <a:pt x="2867551" y="1261927"/>
                </a:cubicBezTo>
                <a:cubicBezTo>
                  <a:pt x="2875246" y="1300400"/>
                  <a:pt x="2880376" y="1341439"/>
                  <a:pt x="2882941" y="1385042"/>
                </a:cubicBezTo>
                <a:cubicBezTo>
                  <a:pt x="2885506" y="1385042"/>
                  <a:pt x="2885506" y="1385042"/>
                  <a:pt x="2888071" y="1385042"/>
                </a:cubicBezTo>
                <a:cubicBezTo>
                  <a:pt x="2888071" y="1387607"/>
                  <a:pt x="2888071" y="1390172"/>
                  <a:pt x="2890635" y="1390172"/>
                </a:cubicBezTo>
                <a:cubicBezTo>
                  <a:pt x="2890635" y="1395301"/>
                  <a:pt x="2885506" y="1395301"/>
                  <a:pt x="2882941" y="1395301"/>
                </a:cubicBezTo>
                <a:cubicBezTo>
                  <a:pt x="2885506" y="1433775"/>
                  <a:pt x="2885506" y="1472248"/>
                  <a:pt x="2882941" y="1510722"/>
                </a:cubicBezTo>
                <a:cubicBezTo>
                  <a:pt x="2882941" y="1528676"/>
                  <a:pt x="2880376" y="1549196"/>
                  <a:pt x="2880376" y="1567150"/>
                </a:cubicBezTo>
                <a:cubicBezTo>
                  <a:pt x="2882941" y="1567150"/>
                  <a:pt x="2885506" y="1564585"/>
                  <a:pt x="2888071" y="1559456"/>
                </a:cubicBezTo>
                <a:cubicBezTo>
                  <a:pt x="2893200" y="1564585"/>
                  <a:pt x="2888071" y="1569715"/>
                  <a:pt x="2880376" y="1574845"/>
                </a:cubicBezTo>
                <a:lnTo>
                  <a:pt x="2880376" y="1597178"/>
                </a:lnTo>
                <a:lnTo>
                  <a:pt x="2888071" y="1595402"/>
                </a:lnTo>
                <a:cubicBezTo>
                  <a:pt x="2888071" y="1597967"/>
                  <a:pt x="2882941" y="1597967"/>
                  <a:pt x="2882941" y="1603097"/>
                </a:cubicBezTo>
                <a:lnTo>
                  <a:pt x="2880376" y="1598480"/>
                </a:lnTo>
                <a:lnTo>
                  <a:pt x="2880376" y="1600494"/>
                </a:lnTo>
                <a:cubicBezTo>
                  <a:pt x="2880376" y="1603059"/>
                  <a:pt x="2880376" y="1603059"/>
                  <a:pt x="2880376" y="1605624"/>
                </a:cubicBezTo>
                <a:cubicBezTo>
                  <a:pt x="2880376" y="1608189"/>
                  <a:pt x="2880376" y="1613318"/>
                  <a:pt x="2880376" y="1615883"/>
                </a:cubicBezTo>
                <a:cubicBezTo>
                  <a:pt x="2882941" y="1610753"/>
                  <a:pt x="2882941" y="1605624"/>
                  <a:pt x="2885506" y="1600494"/>
                </a:cubicBezTo>
                <a:cubicBezTo>
                  <a:pt x="2890635" y="1595364"/>
                  <a:pt x="2895765" y="1592799"/>
                  <a:pt x="2900895" y="1587669"/>
                </a:cubicBezTo>
                <a:cubicBezTo>
                  <a:pt x="2913719" y="1577410"/>
                  <a:pt x="2926544" y="1569715"/>
                  <a:pt x="2939368" y="1559456"/>
                </a:cubicBezTo>
                <a:cubicBezTo>
                  <a:pt x="2939368" y="1528676"/>
                  <a:pt x="2941933" y="1500462"/>
                  <a:pt x="2941933" y="1469683"/>
                </a:cubicBezTo>
                <a:cubicBezTo>
                  <a:pt x="2939368" y="1472248"/>
                  <a:pt x="2934239" y="1474813"/>
                  <a:pt x="2934239" y="1482508"/>
                </a:cubicBezTo>
                <a:cubicBezTo>
                  <a:pt x="2931673" y="1479943"/>
                  <a:pt x="2931673" y="1474813"/>
                  <a:pt x="2929109" y="1469683"/>
                </a:cubicBezTo>
                <a:cubicBezTo>
                  <a:pt x="2926544" y="1469683"/>
                  <a:pt x="2926544" y="1474813"/>
                  <a:pt x="2926544" y="1479943"/>
                </a:cubicBezTo>
                <a:cubicBezTo>
                  <a:pt x="2921414" y="1479943"/>
                  <a:pt x="2926544" y="1469683"/>
                  <a:pt x="2923979" y="1464554"/>
                </a:cubicBezTo>
                <a:cubicBezTo>
                  <a:pt x="2939368" y="1472248"/>
                  <a:pt x="2936803" y="1459424"/>
                  <a:pt x="2934239" y="1446599"/>
                </a:cubicBezTo>
                <a:cubicBezTo>
                  <a:pt x="2936803" y="1446599"/>
                  <a:pt x="2939368" y="1446599"/>
                  <a:pt x="2941933" y="1446599"/>
                </a:cubicBezTo>
                <a:cubicBezTo>
                  <a:pt x="2941933" y="1349133"/>
                  <a:pt x="2934239" y="1254232"/>
                  <a:pt x="2923979" y="1161896"/>
                </a:cubicBezTo>
                <a:lnTo>
                  <a:pt x="2916695" y="1110911"/>
                </a:lnTo>
                <a:lnTo>
                  <a:pt x="2924075" y="1116540"/>
                </a:lnTo>
                <a:lnTo>
                  <a:pt x="2929109" y="1159331"/>
                </a:lnTo>
                <a:cubicBezTo>
                  <a:pt x="2944498" y="1279881"/>
                  <a:pt x="2954758" y="1405561"/>
                  <a:pt x="2947063" y="1538935"/>
                </a:cubicBezTo>
                <a:cubicBezTo>
                  <a:pt x="2967582" y="1492767"/>
                  <a:pt x="2985536" y="1446599"/>
                  <a:pt x="3003492" y="1400431"/>
                </a:cubicBezTo>
                <a:cubicBezTo>
                  <a:pt x="3021445" y="1328614"/>
                  <a:pt x="3031704" y="1254232"/>
                  <a:pt x="3024010" y="1190110"/>
                </a:cubicBezTo>
                <a:lnTo>
                  <a:pt x="3016156" y="1184271"/>
                </a:lnTo>
                <a:lnTo>
                  <a:pt x="2993551" y="1083025"/>
                </a:lnTo>
                <a:cubicBezTo>
                  <a:pt x="2984895" y="1049682"/>
                  <a:pt x="2976559" y="1015698"/>
                  <a:pt x="2972713" y="977225"/>
                </a:cubicBezTo>
                <a:cubicBezTo>
                  <a:pt x="2967582" y="936185"/>
                  <a:pt x="2967582" y="892581"/>
                  <a:pt x="2975277" y="848978"/>
                </a:cubicBezTo>
                <a:cubicBezTo>
                  <a:pt x="2982972" y="805375"/>
                  <a:pt x="2993231" y="761773"/>
                  <a:pt x="2995796" y="720735"/>
                </a:cubicBezTo>
                <a:cubicBezTo>
                  <a:pt x="2998361" y="684826"/>
                  <a:pt x="2995796" y="651483"/>
                  <a:pt x="2993231" y="618139"/>
                </a:cubicBezTo>
                <a:cubicBezTo>
                  <a:pt x="2982972" y="595055"/>
                  <a:pt x="2972713" y="574536"/>
                  <a:pt x="2962452" y="554017"/>
                </a:cubicBezTo>
                <a:cubicBezTo>
                  <a:pt x="2972713" y="574536"/>
                  <a:pt x="2982972" y="595055"/>
                  <a:pt x="2993231" y="615574"/>
                </a:cubicBezTo>
                <a:cubicBezTo>
                  <a:pt x="2988101" y="571971"/>
                  <a:pt x="2977842" y="530933"/>
                  <a:pt x="2967582" y="492459"/>
                </a:cubicBezTo>
                <a:cubicBezTo>
                  <a:pt x="2947063" y="423207"/>
                  <a:pt x="2921414" y="364214"/>
                  <a:pt x="2895765" y="302657"/>
                </a:cubicBezTo>
                <a:cubicBezTo>
                  <a:pt x="2921414" y="361650"/>
                  <a:pt x="2949629" y="420642"/>
                  <a:pt x="2970147" y="487329"/>
                </a:cubicBezTo>
                <a:cubicBezTo>
                  <a:pt x="2982972" y="530933"/>
                  <a:pt x="2993231" y="577101"/>
                  <a:pt x="2998361" y="628398"/>
                </a:cubicBezTo>
                <a:cubicBezTo>
                  <a:pt x="2998361" y="630963"/>
                  <a:pt x="3000926" y="630963"/>
                  <a:pt x="3000926" y="633528"/>
                </a:cubicBezTo>
                <a:cubicBezTo>
                  <a:pt x="2995796" y="582230"/>
                  <a:pt x="2990666" y="528368"/>
                  <a:pt x="2988101" y="474505"/>
                </a:cubicBezTo>
                <a:cubicBezTo>
                  <a:pt x="2980406" y="379604"/>
                  <a:pt x="2962452" y="289833"/>
                  <a:pt x="2936803" y="210321"/>
                </a:cubicBezTo>
                <a:cubicBezTo>
                  <a:pt x="2911154" y="130809"/>
                  <a:pt x="2877812" y="64122"/>
                  <a:pt x="283933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rtlCol="0" anchor="ctr">
            <a:noAutofit/>
          </a:bodyPr>
          <a:lstStyle>
            <a:lvl1pPr marL="0" indent="0" algn="ctr">
              <a:buNone/>
              <a:defRPr sz="12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rtl="0"/>
            <a:r>
              <a:rPr lang="pt-BR" noProof="0"/>
              <a:t>Insira ou Arraste e Solte sua foto</a:t>
            </a:r>
          </a:p>
        </p:txBody>
      </p:sp>
      <p:sp>
        <p:nvSpPr>
          <p:cNvPr id="1037" name="Título 1036">
            <a:extLst>
              <a:ext uri="{FF2B5EF4-FFF2-40B4-BE49-F238E27FC236}">
                <a16:creationId xmlns:a16="http://schemas.microsoft.com/office/drawing/2014/main" id="{7CFB29AA-1F81-4E9B-95E2-10E4A241093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-5208"/>
            <a:ext cx="8090452" cy="6863208"/>
          </a:xfrm>
          <a:custGeom>
            <a:avLst/>
            <a:gdLst>
              <a:gd name="connsiteX0" fmla="*/ 128735 w 8090452"/>
              <a:gd name="connsiteY0" fmla="*/ 2168229 h 6863208"/>
              <a:gd name="connsiteX1" fmla="*/ 136888 w 8090452"/>
              <a:gd name="connsiteY1" fmla="*/ 2173664 h 6863208"/>
              <a:gd name="connsiteX2" fmla="*/ 128735 w 8090452"/>
              <a:gd name="connsiteY2" fmla="*/ 2168229 h 6863208"/>
              <a:gd name="connsiteX3" fmla="*/ 293829 w 8090452"/>
              <a:gd name="connsiteY3" fmla="*/ 1933496 h 6863208"/>
              <a:gd name="connsiteX4" fmla="*/ 289074 w 8090452"/>
              <a:gd name="connsiteY4" fmla="*/ 1934516 h 6863208"/>
              <a:gd name="connsiteX5" fmla="*/ 298585 w 8090452"/>
              <a:gd name="connsiteY5" fmla="*/ 1938592 h 6863208"/>
              <a:gd name="connsiteX6" fmla="*/ 293829 w 8090452"/>
              <a:gd name="connsiteY6" fmla="*/ 1933496 h 6863208"/>
              <a:gd name="connsiteX7" fmla="*/ 361285 w 8090452"/>
              <a:gd name="connsiteY7" fmla="*/ 1916622 h 6863208"/>
              <a:gd name="connsiteX8" fmla="*/ 363808 w 8090452"/>
              <a:gd name="connsiteY8" fmla="*/ 1916851 h 6863208"/>
              <a:gd name="connsiteX9" fmla="*/ 374678 w 8090452"/>
              <a:gd name="connsiteY9" fmla="*/ 1922286 h 6863208"/>
              <a:gd name="connsiteX10" fmla="*/ 367205 w 8090452"/>
              <a:gd name="connsiteY10" fmla="*/ 1920926 h 6863208"/>
              <a:gd name="connsiteX11" fmla="*/ 359731 w 8090452"/>
              <a:gd name="connsiteY11" fmla="*/ 1915491 h 6863208"/>
              <a:gd name="connsiteX12" fmla="*/ 361285 w 8090452"/>
              <a:gd name="connsiteY12" fmla="*/ 1916622 h 6863208"/>
              <a:gd name="connsiteX13" fmla="*/ 358584 w 8090452"/>
              <a:gd name="connsiteY13" fmla="*/ 1916376 h 6863208"/>
              <a:gd name="connsiteX14" fmla="*/ 348861 w 8090452"/>
              <a:gd name="connsiteY14" fmla="*/ 1907340 h 6863208"/>
              <a:gd name="connsiteX15" fmla="*/ 348861 w 8090452"/>
              <a:gd name="connsiteY15" fmla="*/ 1907340 h 6863208"/>
              <a:gd name="connsiteX16" fmla="*/ 347439 w 8090452"/>
              <a:gd name="connsiteY16" fmla="*/ 1900568 h 6863208"/>
              <a:gd name="connsiteX17" fmla="*/ 343426 w 8090452"/>
              <a:gd name="connsiteY17" fmla="*/ 1901905 h 6863208"/>
              <a:gd name="connsiteX18" fmla="*/ 347439 w 8090452"/>
              <a:gd name="connsiteY18" fmla="*/ 1900568 h 6863208"/>
              <a:gd name="connsiteX19" fmla="*/ 374678 w 8090452"/>
              <a:gd name="connsiteY19" fmla="*/ 1884240 h 6863208"/>
              <a:gd name="connsiteX20" fmla="*/ 396419 w 8090452"/>
              <a:gd name="connsiteY20" fmla="*/ 1905981 h 6863208"/>
              <a:gd name="connsiteX21" fmla="*/ 377395 w 8090452"/>
              <a:gd name="connsiteY21" fmla="*/ 1895110 h 6863208"/>
              <a:gd name="connsiteX22" fmla="*/ 343425 w 8090452"/>
              <a:gd name="connsiteY22" fmla="*/ 1888315 h 6863208"/>
              <a:gd name="connsiteX23" fmla="*/ 367884 w 8090452"/>
              <a:gd name="connsiteY23" fmla="*/ 1910056 h 6863208"/>
              <a:gd name="connsiteX24" fmla="*/ 348861 w 8090452"/>
              <a:gd name="connsiteY24" fmla="*/ 1915492 h 6863208"/>
              <a:gd name="connsiteX25" fmla="*/ 358584 w 8090452"/>
              <a:gd name="connsiteY25" fmla="*/ 1916376 h 6863208"/>
              <a:gd name="connsiteX26" fmla="*/ 353787 w 8090452"/>
              <a:gd name="connsiteY26" fmla="*/ 1920078 h 6863208"/>
              <a:gd name="connsiteX27" fmla="*/ 348861 w 8090452"/>
              <a:gd name="connsiteY27" fmla="*/ 1923644 h 6863208"/>
              <a:gd name="connsiteX28" fmla="*/ 357014 w 8090452"/>
              <a:gd name="connsiteY28" fmla="*/ 1923644 h 6863208"/>
              <a:gd name="connsiteX29" fmla="*/ 363808 w 8090452"/>
              <a:gd name="connsiteY29" fmla="*/ 1935874 h 6863208"/>
              <a:gd name="connsiteX30" fmla="*/ 408648 w 8090452"/>
              <a:gd name="connsiteY30" fmla="*/ 1934516 h 6863208"/>
              <a:gd name="connsiteX31" fmla="*/ 389625 w 8090452"/>
              <a:gd name="connsiteY31" fmla="*/ 1923645 h 6863208"/>
              <a:gd name="connsiteX32" fmla="*/ 442619 w 8090452"/>
              <a:gd name="connsiteY32" fmla="*/ 1925004 h 6863208"/>
              <a:gd name="connsiteX33" fmla="*/ 441260 w 8090452"/>
              <a:gd name="connsiteY33" fmla="*/ 1910057 h 6863208"/>
              <a:gd name="connsiteX34" fmla="*/ 430390 w 8090452"/>
              <a:gd name="connsiteY34" fmla="*/ 1907339 h 6863208"/>
              <a:gd name="connsiteX35" fmla="*/ 450771 w 8090452"/>
              <a:gd name="connsiteY35" fmla="*/ 1905980 h 6863208"/>
              <a:gd name="connsiteX36" fmla="*/ 374678 w 8090452"/>
              <a:gd name="connsiteY36" fmla="*/ 1884240 h 6863208"/>
              <a:gd name="connsiteX37" fmla="*/ 389623 w 8090452"/>
              <a:gd name="connsiteY37" fmla="*/ 1880165 h 6863208"/>
              <a:gd name="connsiteX38" fmla="*/ 442617 w 8090452"/>
              <a:gd name="connsiteY38" fmla="*/ 1895111 h 6863208"/>
              <a:gd name="connsiteX39" fmla="*/ 389623 w 8090452"/>
              <a:gd name="connsiteY39" fmla="*/ 1880165 h 6863208"/>
              <a:gd name="connsiteX40" fmla="*/ 403212 w 8090452"/>
              <a:gd name="connsiteY40" fmla="*/ 1866577 h 6863208"/>
              <a:gd name="connsiteX41" fmla="*/ 441259 w 8090452"/>
              <a:gd name="connsiteY41" fmla="*/ 1874729 h 6863208"/>
              <a:gd name="connsiteX42" fmla="*/ 403212 w 8090452"/>
              <a:gd name="connsiteY42" fmla="*/ 1866577 h 6863208"/>
              <a:gd name="connsiteX43" fmla="*/ 376036 w 8090452"/>
              <a:gd name="connsiteY43" fmla="*/ 1863859 h 6863208"/>
              <a:gd name="connsiteX44" fmla="*/ 397778 w 8090452"/>
              <a:gd name="connsiteY44" fmla="*/ 1866576 h 6863208"/>
              <a:gd name="connsiteX45" fmla="*/ 376036 w 8090452"/>
              <a:gd name="connsiteY45" fmla="*/ 1863859 h 6863208"/>
              <a:gd name="connsiteX46" fmla="*/ 98841 w 8090452"/>
              <a:gd name="connsiteY46" fmla="*/ 1858423 h 6863208"/>
              <a:gd name="connsiteX47" fmla="*/ 89330 w 8090452"/>
              <a:gd name="connsiteY47" fmla="*/ 1859781 h 6863208"/>
              <a:gd name="connsiteX48" fmla="*/ 85253 w 8090452"/>
              <a:gd name="connsiteY48" fmla="*/ 1888317 h 6863208"/>
              <a:gd name="connsiteX49" fmla="*/ 113789 w 8090452"/>
              <a:gd name="connsiteY49" fmla="*/ 1889677 h 6863208"/>
              <a:gd name="connsiteX50" fmla="*/ 115148 w 8090452"/>
              <a:gd name="connsiteY50" fmla="*/ 1877446 h 6863208"/>
              <a:gd name="connsiteX51" fmla="*/ 111071 w 8090452"/>
              <a:gd name="connsiteY51" fmla="*/ 1867934 h 6863208"/>
              <a:gd name="connsiteX52" fmla="*/ 98841 w 8090452"/>
              <a:gd name="connsiteY52" fmla="*/ 1858423 h 6863208"/>
              <a:gd name="connsiteX53" fmla="*/ 912761 w 8090452"/>
              <a:gd name="connsiteY53" fmla="*/ 1772820 h 6863208"/>
              <a:gd name="connsiteX54" fmla="*/ 908685 w 8090452"/>
              <a:gd name="connsiteY54" fmla="*/ 1776897 h 6863208"/>
              <a:gd name="connsiteX55" fmla="*/ 915479 w 8090452"/>
              <a:gd name="connsiteY55" fmla="*/ 1778256 h 6863208"/>
              <a:gd name="connsiteX56" fmla="*/ 912761 w 8090452"/>
              <a:gd name="connsiteY56" fmla="*/ 1772820 h 6863208"/>
              <a:gd name="connsiteX57" fmla="*/ 278034 w 8090452"/>
              <a:gd name="connsiteY57" fmla="*/ 1759742 h 6863208"/>
              <a:gd name="connsiteX58" fmla="*/ 272768 w 8090452"/>
              <a:gd name="connsiteY58" fmla="*/ 1760591 h 6863208"/>
              <a:gd name="connsiteX59" fmla="*/ 278204 w 8090452"/>
              <a:gd name="connsiteY59" fmla="*/ 1766026 h 6863208"/>
              <a:gd name="connsiteX60" fmla="*/ 278034 w 8090452"/>
              <a:gd name="connsiteY60" fmla="*/ 1759742 h 6863208"/>
              <a:gd name="connsiteX61" fmla="*/ 202620 w 8090452"/>
              <a:gd name="connsiteY61" fmla="*/ 1731546 h 6863208"/>
              <a:gd name="connsiteX62" fmla="*/ 202111 w 8090452"/>
              <a:gd name="connsiteY62" fmla="*/ 1736132 h 6863208"/>
              <a:gd name="connsiteX63" fmla="*/ 206188 w 8090452"/>
              <a:gd name="connsiteY63" fmla="*/ 1732055 h 6863208"/>
              <a:gd name="connsiteX64" fmla="*/ 202620 w 8090452"/>
              <a:gd name="connsiteY64" fmla="*/ 1731546 h 6863208"/>
              <a:gd name="connsiteX65" fmla="*/ 861127 w 8090452"/>
              <a:gd name="connsiteY65" fmla="*/ 1723901 h 6863208"/>
              <a:gd name="connsiteX66" fmla="*/ 892380 w 8090452"/>
              <a:gd name="connsiteY66" fmla="*/ 1755154 h 6863208"/>
              <a:gd name="connsiteX67" fmla="*/ 861127 w 8090452"/>
              <a:gd name="connsiteY67" fmla="*/ 1723901 h 6863208"/>
              <a:gd name="connsiteX68" fmla="*/ 840745 w 8090452"/>
              <a:gd name="connsiteY68" fmla="*/ 1706238 h 6863208"/>
              <a:gd name="connsiteX69" fmla="*/ 852974 w 8090452"/>
              <a:gd name="connsiteY69" fmla="*/ 1715749 h 6863208"/>
              <a:gd name="connsiteX70" fmla="*/ 840745 w 8090452"/>
              <a:gd name="connsiteY70" fmla="*/ 1706238 h 6863208"/>
              <a:gd name="connsiteX71" fmla="*/ 175275 w 8090452"/>
              <a:gd name="connsiteY71" fmla="*/ 1701483 h 6863208"/>
              <a:gd name="connsiteX72" fmla="*/ 173576 w 8090452"/>
              <a:gd name="connsiteY72" fmla="*/ 1707598 h 6863208"/>
              <a:gd name="connsiteX73" fmla="*/ 183087 w 8090452"/>
              <a:gd name="connsiteY73" fmla="*/ 1703521 h 6863208"/>
              <a:gd name="connsiteX74" fmla="*/ 175275 w 8090452"/>
              <a:gd name="connsiteY74" fmla="*/ 1701483 h 6863208"/>
              <a:gd name="connsiteX75" fmla="*/ 848898 w 8090452"/>
              <a:gd name="connsiteY75" fmla="*/ 1649169 h 6863208"/>
              <a:gd name="connsiteX76" fmla="*/ 842104 w 8090452"/>
              <a:gd name="connsiteY76" fmla="*/ 1653246 h 6863208"/>
              <a:gd name="connsiteX77" fmla="*/ 848898 w 8090452"/>
              <a:gd name="connsiteY77" fmla="*/ 1649169 h 6863208"/>
              <a:gd name="connsiteX78" fmla="*/ 891021 w 8090452"/>
              <a:gd name="connsiteY78" fmla="*/ 1645093 h 6863208"/>
              <a:gd name="connsiteX79" fmla="*/ 889662 w 8090452"/>
              <a:gd name="connsiteY79" fmla="*/ 1651886 h 6863208"/>
              <a:gd name="connsiteX80" fmla="*/ 892379 w 8090452"/>
              <a:gd name="connsiteY80" fmla="*/ 1649169 h 6863208"/>
              <a:gd name="connsiteX81" fmla="*/ 891021 w 8090452"/>
              <a:gd name="connsiteY81" fmla="*/ 1645093 h 6863208"/>
              <a:gd name="connsiteX82" fmla="*/ 852974 w 8090452"/>
              <a:gd name="connsiteY82" fmla="*/ 1642374 h 6863208"/>
              <a:gd name="connsiteX83" fmla="*/ 842102 w 8090452"/>
              <a:gd name="connsiteY83" fmla="*/ 1650528 h 6863208"/>
              <a:gd name="connsiteX84" fmla="*/ 859767 w 8090452"/>
              <a:gd name="connsiteY84" fmla="*/ 1649169 h 6863208"/>
              <a:gd name="connsiteX85" fmla="*/ 859768 w 8090452"/>
              <a:gd name="connsiteY85" fmla="*/ 1643733 h 6863208"/>
              <a:gd name="connsiteX86" fmla="*/ 854332 w 8090452"/>
              <a:gd name="connsiteY86" fmla="*/ 1643733 h 6863208"/>
              <a:gd name="connsiteX87" fmla="*/ 852974 w 8090452"/>
              <a:gd name="connsiteY87" fmla="*/ 1642374 h 6863208"/>
              <a:gd name="connsiteX88" fmla="*/ 578497 w 8090452"/>
              <a:gd name="connsiteY88" fmla="*/ 1446709 h 6863208"/>
              <a:gd name="connsiteX89" fmla="*/ 568985 w 8090452"/>
              <a:gd name="connsiteY89" fmla="*/ 1448068 h 6863208"/>
              <a:gd name="connsiteX90" fmla="*/ 571703 w 8090452"/>
              <a:gd name="connsiteY90" fmla="*/ 1456221 h 6863208"/>
              <a:gd name="connsiteX91" fmla="*/ 578497 w 8090452"/>
              <a:gd name="connsiteY91" fmla="*/ 1446709 h 6863208"/>
              <a:gd name="connsiteX92" fmla="*/ 206186 w 8090452"/>
              <a:gd name="connsiteY92" fmla="*/ 1424969 h 6863208"/>
              <a:gd name="connsiteX93" fmla="*/ 219775 w 8090452"/>
              <a:gd name="connsiteY93" fmla="*/ 1501061 h 6863208"/>
              <a:gd name="connsiteX94" fmla="*/ 238797 w 8090452"/>
              <a:gd name="connsiteY94" fmla="*/ 1566283 h 6863208"/>
              <a:gd name="connsiteX95" fmla="*/ 212980 w 8090452"/>
              <a:gd name="connsiteY95" fmla="*/ 1521444 h 6863208"/>
              <a:gd name="connsiteX96" fmla="*/ 206187 w 8090452"/>
              <a:gd name="connsiteY96" fmla="*/ 1435839 h 6863208"/>
              <a:gd name="connsiteX97" fmla="*/ 206186 w 8090452"/>
              <a:gd name="connsiteY97" fmla="*/ 1424969 h 6863208"/>
              <a:gd name="connsiteX98" fmla="*/ 438542 w 8090452"/>
              <a:gd name="connsiteY98" fmla="*/ 1404586 h 6863208"/>
              <a:gd name="connsiteX99" fmla="*/ 431747 w 8090452"/>
              <a:gd name="connsiteY99" fmla="*/ 1408662 h 6863208"/>
              <a:gd name="connsiteX100" fmla="*/ 438542 w 8090452"/>
              <a:gd name="connsiteY100" fmla="*/ 1404586 h 6863208"/>
              <a:gd name="connsiteX101" fmla="*/ 620620 w 8090452"/>
              <a:gd name="connsiteY101" fmla="*/ 1401868 h 6863208"/>
              <a:gd name="connsiteX102" fmla="*/ 620620 w 8090452"/>
              <a:gd name="connsiteY102" fmla="*/ 1412739 h 6863208"/>
              <a:gd name="connsiteX103" fmla="*/ 620620 w 8090452"/>
              <a:gd name="connsiteY103" fmla="*/ 1401868 h 6863208"/>
              <a:gd name="connsiteX104" fmla="*/ 696712 w 8090452"/>
              <a:gd name="connsiteY104" fmla="*/ 1396433 h 6863208"/>
              <a:gd name="connsiteX105" fmla="*/ 696712 w 8090452"/>
              <a:gd name="connsiteY105" fmla="*/ 1407304 h 6863208"/>
              <a:gd name="connsiteX106" fmla="*/ 696712 w 8090452"/>
              <a:gd name="connsiteY106" fmla="*/ 1396433 h 6863208"/>
              <a:gd name="connsiteX107" fmla="*/ 445334 w 8090452"/>
              <a:gd name="connsiteY107" fmla="*/ 1395075 h 6863208"/>
              <a:gd name="connsiteX108" fmla="*/ 437182 w 8090452"/>
              <a:gd name="connsiteY108" fmla="*/ 1400511 h 6863208"/>
              <a:gd name="connsiteX109" fmla="*/ 445334 w 8090452"/>
              <a:gd name="connsiteY109" fmla="*/ 1395075 h 6863208"/>
              <a:gd name="connsiteX110" fmla="*/ 549961 w 8090452"/>
              <a:gd name="connsiteY110" fmla="*/ 1393715 h 6863208"/>
              <a:gd name="connsiteX111" fmla="*/ 549962 w 8090452"/>
              <a:gd name="connsiteY111" fmla="*/ 1404586 h 6863208"/>
              <a:gd name="connsiteX112" fmla="*/ 558114 w 8090452"/>
              <a:gd name="connsiteY112" fmla="*/ 1401868 h 6863208"/>
              <a:gd name="connsiteX113" fmla="*/ 549961 w 8090452"/>
              <a:gd name="connsiteY113" fmla="*/ 1393715 h 6863208"/>
              <a:gd name="connsiteX114" fmla="*/ 468435 w 8090452"/>
              <a:gd name="connsiteY114" fmla="*/ 1385563 h 6863208"/>
              <a:gd name="connsiteX115" fmla="*/ 463000 w 8090452"/>
              <a:gd name="connsiteY115" fmla="*/ 1390999 h 6863208"/>
              <a:gd name="connsiteX116" fmla="*/ 468435 w 8090452"/>
              <a:gd name="connsiteY116" fmla="*/ 1385563 h 6863208"/>
              <a:gd name="connsiteX117" fmla="*/ 627414 w 8090452"/>
              <a:gd name="connsiteY117" fmla="*/ 1378769 h 6863208"/>
              <a:gd name="connsiteX118" fmla="*/ 620620 w 8090452"/>
              <a:gd name="connsiteY118" fmla="*/ 1382846 h 6863208"/>
              <a:gd name="connsiteX119" fmla="*/ 624696 w 8090452"/>
              <a:gd name="connsiteY119" fmla="*/ 1386922 h 6863208"/>
              <a:gd name="connsiteX120" fmla="*/ 627414 w 8090452"/>
              <a:gd name="connsiteY120" fmla="*/ 1378769 h 6863208"/>
              <a:gd name="connsiteX121" fmla="*/ 513276 w 8090452"/>
              <a:gd name="connsiteY121" fmla="*/ 1378769 h 6863208"/>
              <a:gd name="connsiteX122" fmla="*/ 510558 w 8090452"/>
              <a:gd name="connsiteY122" fmla="*/ 1386921 h 6863208"/>
              <a:gd name="connsiteX123" fmla="*/ 517352 w 8090452"/>
              <a:gd name="connsiteY123" fmla="*/ 1380128 h 6863208"/>
              <a:gd name="connsiteX124" fmla="*/ 513276 w 8090452"/>
              <a:gd name="connsiteY124" fmla="*/ 1378769 h 6863208"/>
              <a:gd name="connsiteX125" fmla="*/ 720662 w 8090452"/>
              <a:gd name="connsiteY125" fmla="*/ 1373844 h 6863208"/>
              <a:gd name="connsiteX126" fmla="*/ 717094 w 8090452"/>
              <a:gd name="connsiteY126" fmla="*/ 1378770 h 6863208"/>
              <a:gd name="connsiteX127" fmla="*/ 721171 w 8090452"/>
              <a:gd name="connsiteY127" fmla="*/ 1380128 h 6863208"/>
              <a:gd name="connsiteX128" fmla="*/ 720662 w 8090452"/>
              <a:gd name="connsiteY128" fmla="*/ 1373844 h 6863208"/>
              <a:gd name="connsiteX129" fmla="*/ 453488 w 8090452"/>
              <a:gd name="connsiteY129" fmla="*/ 1373334 h 6863208"/>
              <a:gd name="connsiteX130" fmla="*/ 452128 w 8090452"/>
              <a:gd name="connsiteY130" fmla="*/ 1380128 h 6863208"/>
              <a:gd name="connsiteX131" fmla="*/ 472511 w 8090452"/>
              <a:gd name="connsiteY131" fmla="*/ 1381486 h 6863208"/>
              <a:gd name="connsiteX132" fmla="*/ 453488 w 8090452"/>
              <a:gd name="connsiteY132" fmla="*/ 1373334 h 6863208"/>
              <a:gd name="connsiteX133" fmla="*/ 554038 w 8090452"/>
              <a:gd name="connsiteY133" fmla="*/ 1370616 h 6863208"/>
              <a:gd name="connsiteX134" fmla="*/ 548603 w 8090452"/>
              <a:gd name="connsiteY134" fmla="*/ 1376051 h 6863208"/>
              <a:gd name="connsiteX135" fmla="*/ 554038 w 8090452"/>
              <a:gd name="connsiteY135" fmla="*/ 1370616 h 6863208"/>
              <a:gd name="connsiteX136" fmla="*/ 539092 w 8090452"/>
              <a:gd name="connsiteY136" fmla="*/ 1353630 h 6863208"/>
              <a:gd name="connsiteX137" fmla="*/ 535016 w 8090452"/>
              <a:gd name="connsiteY137" fmla="*/ 1354310 h 6863208"/>
              <a:gd name="connsiteX138" fmla="*/ 529580 w 8090452"/>
              <a:gd name="connsiteY138" fmla="*/ 1362463 h 6863208"/>
              <a:gd name="connsiteX139" fmla="*/ 537733 w 8090452"/>
              <a:gd name="connsiteY139" fmla="*/ 1362463 h 6863208"/>
              <a:gd name="connsiteX140" fmla="*/ 536374 w 8090452"/>
              <a:gd name="connsiteY140" fmla="*/ 1366539 h 6863208"/>
              <a:gd name="connsiteX141" fmla="*/ 540451 w 8090452"/>
              <a:gd name="connsiteY141" fmla="*/ 1362463 h 6863208"/>
              <a:gd name="connsiteX142" fmla="*/ 539092 w 8090452"/>
              <a:gd name="connsiteY142" fmla="*/ 1358386 h 6863208"/>
              <a:gd name="connsiteX143" fmla="*/ 543168 w 8090452"/>
              <a:gd name="connsiteY143" fmla="*/ 1357027 h 6863208"/>
              <a:gd name="connsiteX144" fmla="*/ 539092 w 8090452"/>
              <a:gd name="connsiteY144" fmla="*/ 1353630 h 6863208"/>
              <a:gd name="connsiteX145" fmla="*/ 503764 w 8090452"/>
              <a:gd name="connsiteY145" fmla="*/ 1350233 h 6863208"/>
              <a:gd name="connsiteX146" fmla="*/ 498328 w 8090452"/>
              <a:gd name="connsiteY146" fmla="*/ 1352951 h 6863208"/>
              <a:gd name="connsiteX147" fmla="*/ 503764 w 8090452"/>
              <a:gd name="connsiteY147" fmla="*/ 1350233 h 6863208"/>
              <a:gd name="connsiteX148" fmla="*/ 462998 w 8090452"/>
              <a:gd name="connsiteY148" fmla="*/ 1344799 h 6863208"/>
              <a:gd name="connsiteX149" fmla="*/ 457563 w 8090452"/>
              <a:gd name="connsiteY149" fmla="*/ 1350235 h 6863208"/>
              <a:gd name="connsiteX150" fmla="*/ 486099 w 8090452"/>
              <a:gd name="connsiteY150" fmla="*/ 1359745 h 6863208"/>
              <a:gd name="connsiteX151" fmla="*/ 483381 w 8090452"/>
              <a:gd name="connsiteY151" fmla="*/ 1351592 h 6863208"/>
              <a:gd name="connsiteX152" fmla="*/ 472511 w 8090452"/>
              <a:gd name="connsiteY152" fmla="*/ 1346157 h 6863208"/>
              <a:gd name="connsiteX153" fmla="*/ 462998 w 8090452"/>
              <a:gd name="connsiteY153" fmla="*/ 1344799 h 6863208"/>
              <a:gd name="connsiteX154" fmla="*/ 128735 w 8090452"/>
              <a:gd name="connsiteY154" fmla="*/ 1339364 h 6863208"/>
              <a:gd name="connsiteX155" fmla="*/ 181728 w 8090452"/>
              <a:gd name="connsiteY155" fmla="*/ 1471168 h 6863208"/>
              <a:gd name="connsiteX156" fmla="*/ 124658 w 8090452"/>
              <a:gd name="connsiteY156" fmla="*/ 1381487 h 6863208"/>
              <a:gd name="connsiteX157" fmla="*/ 128735 w 8090452"/>
              <a:gd name="connsiteY157" fmla="*/ 1339364 h 6863208"/>
              <a:gd name="connsiteX158" fmla="*/ 371960 w 8090452"/>
              <a:gd name="connsiteY158" fmla="*/ 1338004 h 6863208"/>
              <a:gd name="connsiteX159" fmla="*/ 352936 w 8090452"/>
              <a:gd name="connsiteY159" fmla="*/ 1346157 h 6863208"/>
              <a:gd name="connsiteX160" fmla="*/ 374677 w 8090452"/>
              <a:gd name="connsiteY160" fmla="*/ 1343439 h 6863208"/>
              <a:gd name="connsiteX161" fmla="*/ 371960 w 8090452"/>
              <a:gd name="connsiteY161" fmla="*/ 1338004 h 6863208"/>
              <a:gd name="connsiteX162" fmla="*/ 416460 w 8090452"/>
              <a:gd name="connsiteY162" fmla="*/ 1337835 h 6863208"/>
              <a:gd name="connsiteX163" fmla="*/ 411365 w 8090452"/>
              <a:gd name="connsiteY163" fmla="*/ 1342080 h 6863208"/>
              <a:gd name="connsiteX164" fmla="*/ 423594 w 8090452"/>
              <a:gd name="connsiteY164" fmla="*/ 1346157 h 6863208"/>
              <a:gd name="connsiteX165" fmla="*/ 410006 w 8090452"/>
              <a:gd name="connsiteY165" fmla="*/ 1346157 h 6863208"/>
              <a:gd name="connsiteX166" fmla="*/ 412722 w 8090452"/>
              <a:gd name="connsiteY166" fmla="*/ 1354310 h 6863208"/>
              <a:gd name="connsiteX167" fmla="*/ 431747 w 8090452"/>
              <a:gd name="connsiteY167" fmla="*/ 1359746 h 6863208"/>
              <a:gd name="connsiteX168" fmla="*/ 431747 w 8090452"/>
              <a:gd name="connsiteY168" fmla="*/ 1351593 h 6863208"/>
              <a:gd name="connsiteX169" fmla="*/ 416460 w 8090452"/>
              <a:gd name="connsiteY169" fmla="*/ 1337835 h 6863208"/>
              <a:gd name="connsiteX170" fmla="*/ 644399 w 8090452"/>
              <a:gd name="connsiteY170" fmla="*/ 1317283 h 6863208"/>
              <a:gd name="connsiteX171" fmla="*/ 642361 w 8090452"/>
              <a:gd name="connsiteY171" fmla="*/ 1323059 h 6863208"/>
              <a:gd name="connsiteX172" fmla="*/ 646437 w 8090452"/>
              <a:gd name="connsiteY172" fmla="*/ 1324418 h 6863208"/>
              <a:gd name="connsiteX173" fmla="*/ 650514 w 8090452"/>
              <a:gd name="connsiteY173" fmla="*/ 1317623 h 6863208"/>
              <a:gd name="connsiteX174" fmla="*/ 644399 w 8090452"/>
              <a:gd name="connsiteY174" fmla="*/ 1317283 h 6863208"/>
              <a:gd name="connsiteX175" fmla="*/ 351069 w 8090452"/>
              <a:gd name="connsiteY175" fmla="*/ 1312018 h 6863208"/>
              <a:gd name="connsiteX176" fmla="*/ 346143 w 8090452"/>
              <a:gd name="connsiteY176" fmla="*/ 1312187 h 6863208"/>
              <a:gd name="connsiteX177" fmla="*/ 350220 w 8090452"/>
              <a:gd name="connsiteY177" fmla="*/ 1318982 h 6863208"/>
              <a:gd name="connsiteX178" fmla="*/ 357014 w 8090452"/>
              <a:gd name="connsiteY178" fmla="*/ 1314905 h 6863208"/>
              <a:gd name="connsiteX179" fmla="*/ 351069 w 8090452"/>
              <a:gd name="connsiteY179" fmla="*/ 1312018 h 6863208"/>
              <a:gd name="connsiteX180" fmla="*/ 636754 w 8090452"/>
              <a:gd name="connsiteY180" fmla="*/ 1308960 h 6863208"/>
              <a:gd name="connsiteX181" fmla="*/ 631489 w 8090452"/>
              <a:gd name="connsiteY181" fmla="*/ 1314905 h 6863208"/>
              <a:gd name="connsiteX182" fmla="*/ 645078 w 8090452"/>
              <a:gd name="connsiteY182" fmla="*/ 1312187 h 6863208"/>
              <a:gd name="connsiteX183" fmla="*/ 636754 w 8090452"/>
              <a:gd name="connsiteY183" fmla="*/ 1308960 h 6863208"/>
              <a:gd name="connsiteX184" fmla="*/ 605673 w 8090452"/>
              <a:gd name="connsiteY184" fmla="*/ 1305393 h 6863208"/>
              <a:gd name="connsiteX185" fmla="*/ 616544 w 8090452"/>
              <a:gd name="connsiteY185" fmla="*/ 1305393 h 6863208"/>
              <a:gd name="connsiteX186" fmla="*/ 605673 w 8090452"/>
              <a:gd name="connsiteY186" fmla="*/ 1305393 h 6863208"/>
              <a:gd name="connsiteX187" fmla="*/ 545207 w 8090452"/>
              <a:gd name="connsiteY187" fmla="*/ 1302675 h 6863208"/>
              <a:gd name="connsiteX188" fmla="*/ 539092 w 8090452"/>
              <a:gd name="connsiteY188" fmla="*/ 1304035 h 6863208"/>
              <a:gd name="connsiteX189" fmla="*/ 551322 w 8090452"/>
              <a:gd name="connsiteY189" fmla="*/ 1305393 h 6863208"/>
              <a:gd name="connsiteX190" fmla="*/ 545207 w 8090452"/>
              <a:gd name="connsiteY190" fmla="*/ 1302675 h 6863208"/>
              <a:gd name="connsiteX191" fmla="*/ 348861 w 8090452"/>
              <a:gd name="connsiteY191" fmla="*/ 1301317 h 6863208"/>
              <a:gd name="connsiteX192" fmla="*/ 350219 w 8090452"/>
              <a:gd name="connsiteY192" fmla="*/ 1305393 h 6863208"/>
              <a:gd name="connsiteX193" fmla="*/ 347502 w 8090452"/>
              <a:gd name="connsiteY193" fmla="*/ 1310829 h 6863208"/>
              <a:gd name="connsiteX194" fmla="*/ 352938 w 8090452"/>
              <a:gd name="connsiteY194" fmla="*/ 1310829 h 6863208"/>
              <a:gd name="connsiteX195" fmla="*/ 348861 w 8090452"/>
              <a:gd name="connsiteY195" fmla="*/ 1301317 h 6863208"/>
              <a:gd name="connsiteX196" fmla="*/ 185805 w 8090452"/>
              <a:gd name="connsiteY196" fmla="*/ 1298600 h 6863208"/>
              <a:gd name="connsiteX197" fmla="*/ 173577 w 8090452"/>
              <a:gd name="connsiteY197" fmla="*/ 1299959 h 6863208"/>
              <a:gd name="connsiteX198" fmla="*/ 185805 w 8090452"/>
              <a:gd name="connsiteY198" fmla="*/ 1298600 h 6863208"/>
              <a:gd name="connsiteX199" fmla="*/ 638284 w 8090452"/>
              <a:gd name="connsiteY199" fmla="*/ 1294523 h 6863208"/>
              <a:gd name="connsiteX200" fmla="*/ 635566 w 8090452"/>
              <a:gd name="connsiteY200" fmla="*/ 1302676 h 6863208"/>
              <a:gd name="connsiteX201" fmla="*/ 647797 w 8090452"/>
              <a:gd name="connsiteY201" fmla="*/ 1301318 h 6863208"/>
              <a:gd name="connsiteX202" fmla="*/ 638284 w 8090452"/>
              <a:gd name="connsiteY202" fmla="*/ 1294523 h 6863208"/>
              <a:gd name="connsiteX203" fmla="*/ 613826 w 8090452"/>
              <a:gd name="connsiteY203" fmla="*/ 1289088 h 6863208"/>
              <a:gd name="connsiteX204" fmla="*/ 607032 w 8090452"/>
              <a:gd name="connsiteY204" fmla="*/ 1293165 h 6863208"/>
              <a:gd name="connsiteX205" fmla="*/ 613826 w 8090452"/>
              <a:gd name="connsiteY205" fmla="*/ 1289088 h 6863208"/>
              <a:gd name="connsiteX206" fmla="*/ 499688 w 8090452"/>
              <a:gd name="connsiteY206" fmla="*/ 1289087 h 6863208"/>
              <a:gd name="connsiteX207" fmla="*/ 505124 w 8090452"/>
              <a:gd name="connsiteY207" fmla="*/ 1294522 h 6863208"/>
              <a:gd name="connsiteX208" fmla="*/ 499688 w 8090452"/>
              <a:gd name="connsiteY208" fmla="*/ 1289087 h 6863208"/>
              <a:gd name="connsiteX209" fmla="*/ 315740 w 8090452"/>
              <a:gd name="connsiteY209" fmla="*/ 1283144 h 6863208"/>
              <a:gd name="connsiteX210" fmla="*/ 306737 w 8090452"/>
              <a:gd name="connsiteY210" fmla="*/ 1289088 h 6863208"/>
              <a:gd name="connsiteX211" fmla="*/ 325761 w 8090452"/>
              <a:gd name="connsiteY211" fmla="*/ 1286372 h 6863208"/>
              <a:gd name="connsiteX212" fmla="*/ 315740 w 8090452"/>
              <a:gd name="connsiteY212" fmla="*/ 1283144 h 6863208"/>
              <a:gd name="connsiteX213" fmla="*/ 505122 w 8090452"/>
              <a:gd name="connsiteY213" fmla="*/ 1278219 h 6863208"/>
              <a:gd name="connsiteX214" fmla="*/ 499686 w 8090452"/>
              <a:gd name="connsiteY214" fmla="*/ 1280936 h 6863208"/>
              <a:gd name="connsiteX215" fmla="*/ 513274 w 8090452"/>
              <a:gd name="connsiteY215" fmla="*/ 1297242 h 6863208"/>
              <a:gd name="connsiteX216" fmla="*/ 517351 w 8090452"/>
              <a:gd name="connsiteY216" fmla="*/ 1293165 h 6863208"/>
              <a:gd name="connsiteX217" fmla="*/ 505122 w 8090452"/>
              <a:gd name="connsiteY217" fmla="*/ 1278219 h 6863208"/>
              <a:gd name="connsiteX218" fmla="*/ 260878 w 8090452"/>
              <a:gd name="connsiteY218" fmla="*/ 1278218 h 6863208"/>
              <a:gd name="connsiteX219" fmla="*/ 255103 w 8090452"/>
              <a:gd name="connsiteY219" fmla="*/ 1278218 h 6863208"/>
              <a:gd name="connsiteX220" fmla="*/ 264615 w 8090452"/>
              <a:gd name="connsiteY220" fmla="*/ 1282294 h 6863208"/>
              <a:gd name="connsiteX221" fmla="*/ 260878 w 8090452"/>
              <a:gd name="connsiteY221" fmla="*/ 1278218 h 6863208"/>
              <a:gd name="connsiteX222" fmla="*/ 591235 w 8090452"/>
              <a:gd name="connsiteY222" fmla="*/ 1271254 h 6863208"/>
              <a:gd name="connsiteX223" fmla="*/ 583931 w 8090452"/>
              <a:gd name="connsiteY223" fmla="*/ 1278218 h 6863208"/>
              <a:gd name="connsiteX224" fmla="*/ 601596 w 8090452"/>
              <a:gd name="connsiteY224" fmla="*/ 1271423 h 6863208"/>
              <a:gd name="connsiteX225" fmla="*/ 591235 w 8090452"/>
              <a:gd name="connsiteY225" fmla="*/ 1271254 h 6863208"/>
              <a:gd name="connsiteX226" fmla="*/ 452128 w 8090452"/>
              <a:gd name="connsiteY226" fmla="*/ 1257836 h 6863208"/>
              <a:gd name="connsiteX227" fmla="*/ 460282 w 8090452"/>
              <a:gd name="connsiteY227" fmla="*/ 1276859 h 6863208"/>
              <a:gd name="connsiteX228" fmla="*/ 465717 w 8090452"/>
              <a:gd name="connsiteY228" fmla="*/ 1274141 h 6863208"/>
              <a:gd name="connsiteX229" fmla="*/ 452128 w 8090452"/>
              <a:gd name="connsiteY229" fmla="*/ 1257836 h 6863208"/>
              <a:gd name="connsiteX230" fmla="*/ 287715 w 8090452"/>
              <a:gd name="connsiteY230" fmla="*/ 1253761 h 6863208"/>
              <a:gd name="connsiteX231" fmla="*/ 290433 w 8090452"/>
              <a:gd name="connsiteY231" fmla="*/ 1261913 h 6863208"/>
              <a:gd name="connsiteX232" fmla="*/ 295868 w 8090452"/>
              <a:gd name="connsiteY232" fmla="*/ 1259195 h 6863208"/>
              <a:gd name="connsiteX233" fmla="*/ 287715 w 8090452"/>
              <a:gd name="connsiteY233" fmla="*/ 1253761 h 6863208"/>
              <a:gd name="connsiteX234" fmla="*/ 485080 w 8090452"/>
              <a:gd name="connsiteY234" fmla="*/ 1253420 h 6863208"/>
              <a:gd name="connsiteX235" fmla="*/ 472511 w 8090452"/>
              <a:gd name="connsiteY235" fmla="*/ 1261913 h 6863208"/>
              <a:gd name="connsiteX236" fmla="*/ 491534 w 8090452"/>
              <a:gd name="connsiteY236" fmla="*/ 1267348 h 6863208"/>
              <a:gd name="connsiteX237" fmla="*/ 485080 w 8090452"/>
              <a:gd name="connsiteY237" fmla="*/ 1253420 h 6863208"/>
              <a:gd name="connsiteX238" fmla="*/ 363807 w 8090452"/>
              <a:gd name="connsiteY238" fmla="*/ 1251041 h 6863208"/>
              <a:gd name="connsiteX239" fmla="*/ 359730 w 8090452"/>
              <a:gd name="connsiteY239" fmla="*/ 1255117 h 6863208"/>
              <a:gd name="connsiteX240" fmla="*/ 358371 w 8090452"/>
              <a:gd name="connsiteY240" fmla="*/ 1259193 h 6863208"/>
              <a:gd name="connsiteX241" fmla="*/ 359731 w 8090452"/>
              <a:gd name="connsiteY241" fmla="*/ 1268706 h 6863208"/>
              <a:gd name="connsiteX242" fmla="*/ 352937 w 8090452"/>
              <a:gd name="connsiteY242" fmla="*/ 1264629 h 6863208"/>
              <a:gd name="connsiteX243" fmla="*/ 365166 w 8090452"/>
              <a:gd name="connsiteY243" fmla="*/ 1282294 h 6863208"/>
              <a:gd name="connsiteX244" fmla="*/ 363808 w 8090452"/>
              <a:gd name="connsiteY244" fmla="*/ 1267348 h 6863208"/>
              <a:gd name="connsiteX245" fmla="*/ 369242 w 8090452"/>
              <a:gd name="connsiteY245" fmla="*/ 1270064 h 6863208"/>
              <a:gd name="connsiteX246" fmla="*/ 373319 w 8090452"/>
              <a:gd name="connsiteY246" fmla="*/ 1285012 h 6863208"/>
              <a:gd name="connsiteX247" fmla="*/ 374677 w 8090452"/>
              <a:gd name="connsiteY247" fmla="*/ 1272782 h 6863208"/>
              <a:gd name="connsiteX248" fmla="*/ 380113 w 8090452"/>
              <a:gd name="connsiteY248" fmla="*/ 1275500 h 6863208"/>
              <a:gd name="connsiteX249" fmla="*/ 363807 w 8090452"/>
              <a:gd name="connsiteY249" fmla="*/ 1251041 h 6863208"/>
              <a:gd name="connsiteX250" fmla="*/ 242875 w 8090452"/>
              <a:gd name="connsiteY250" fmla="*/ 1250363 h 6863208"/>
              <a:gd name="connsiteX251" fmla="*/ 238799 w 8090452"/>
              <a:gd name="connsiteY251" fmla="*/ 1251041 h 6863208"/>
              <a:gd name="connsiteX252" fmla="*/ 246952 w 8090452"/>
              <a:gd name="connsiteY252" fmla="*/ 1253759 h 6863208"/>
              <a:gd name="connsiteX253" fmla="*/ 242875 w 8090452"/>
              <a:gd name="connsiteY253" fmla="*/ 1250363 h 6863208"/>
              <a:gd name="connsiteX254" fmla="*/ 253406 w 8090452"/>
              <a:gd name="connsiteY254" fmla="*/ 1222974 h 6863208"/>
              <a:gd name="connsiteX255" fmla="*/ 256463 w 8090452"/>
              <a:gd name="connsiteY255" fmla="*/ 1227942 h 6863208"/>
              <a:gd name="connsiteX256" fmla="*/ 253406 w 8090452"/>
              <a:gd name="connsiteY256" fmla="*/ 1222974 h 6863208"/>
              <a:gd name="connsiteX257" fmla="*/ 1509273 w 8090452"/>
              <a:gd name="connsiteY257" fmla="*/ 1214354 h 6863208"/>
              <a:gd name="connsiteX258" fmla="*/ 1506555 w 8090452"/>
              <a:gd name="connsiteY258" fmla="*/ 1217072 h 6863208"/>
              <a:gd name="connsiteX259" fmla="*/ 1506555 w 8090452"/>
              <a:gd name="connsiteY259" fmla="*/ 1219790 h 6863208"/>
              <a:gd name="connsiteX260" fmla="*/ 1513349 w 8090452"/>
              <a:gd name="connsiteY260" fmla="*/ 1218431 h 6863208"/>
              <a:gd name="connsiteX261" fmla="*/ 1509273 w 8090452"/>
              <a:gd name="connsiteY261" fmla="*/ 1214354 h 6863208"/>
              <a:gd name="connsiteX262" fmla="*/ 74384 w 8090452"/>
              <a:gd name="connsiteY262" fmla="*/ 1203485 h 6863208"/>
              <a:gd name="connsiteX263" fmla="*/ 124659 w 8090452"/>
              <a:gd name="connsiteY263" fmla="*/ 1327136 h 6863208"/>
              <a:gd name="connsiteX264" fmla="*/ 120583 w 8090452"/>
              <a:gd name="connsiteY264" fmla="*/ 1374693 h 6863208"/>
              <a:gd name="connsiteX265" fmla="*/ 63513 w 8090452"/>
              <a:gd name="connsiteY265" fmla="*/ 1282295 h 6863208"/>
              <a:gd name="connsiteX266" fmla="*/ 68948 w 8090452"/>
              <a:gd name="connsiteY266" fmla="*/ 1222509 h 6863208"/>
              <a:gd name="connsiteX267" fmla="*/ 74384 w 8090452"/>
              <a:gd name="connsiteY267" fmla="*/ 1203485 h 6863208"/>
              <a:gd name="connsiteX268" fmla="*/ 1286429 w 8090452"/>
              <a:gd name="connsiteY268" fmla="*/ 1198048 h 6863208"/>
              <a:gd name="connsiteX269" fmla="*/ 1304094 w 8090452"/>
              <a:gd name="connsiteY269" fmla="*/ 1234737 h 6863208"/>
              <a:gd name="connsiteX270" fmla="*/ 1309529 w 8090452"/>
              <a:gd name="connsiteY270" fmla="*/ 1226584 h 6863208"/>
              <a:gd name="connsiteX271" fmla="*/ 1286429 w 8090452"/>
              <a:gd name="connsiteY271" fmla="*/ 1198048 h 6863208"/>
              <a:gd name="connsiteX272" fmla="*/ 1487531 w 8090452"/>
              <a:gd name="connsiteY272" fmla="*/ 1192613 h 6863208"/>
              <a:gd name="connsiteX273" fmla="*/ 1483454 w 8090452"/>
              <a:gd name="connsiteY273" fmla="*/ 1196690 h 6863208"/>
              <a:gd name="connsiteX274" fmla="*/ 1497042 w 8090452"/>
              <a:gd name="connsiteY274" fmla="*/ 1202125 h 6863208"/>
              <a:gd name="connsiteX275" fmla="*/ 1488890 w 8090452"/>
              <a:gd name="connsiteY275" fmla="*/ 1196691 h 6863208"/>
              <a:gd name="connsiteX276" fmla="*/ 1487531 w 8090452"/>
              <a:gd name="connsiteY276" fmla="*/ 1192613 h 6863208"/>
              <a:gd name="connsiteX277" fmla="*/ 82536 w 8090452"/>
              <a:gd name="connsiteY277" fmla="*/ 1181744 h 6863208"/>
              <a:gd name="connsiteX278" fmla="*/ 96788 w 8090452"/>
              <a:gd name="connsiteY278" fmla="*/ 1201529 h 6863208"/>
              <a:gd name="connsiteX279" fmla="*/ 101475 w 8090452"/>
              <a:gd name="connsiteY279" fmla="*/ 1209216 h 6863208"/>
              <a:gd name="connsiteX280" fmla="*/ 112430 w 8090452"/>
              <a:gd name="connsiteY280" fmla="*/ 1233378 h 6863208"/>
              <a:gd name="connsiteX281" fmla="*/ 124659 w 8090452"/>
              <a:gd name="connsiteY281" fmla="*/ 1313548 h 6863208"/>
              <a:gd name="connsiteX282" fmla="*/ 124659 w 8090452"/>
              <a:gd name="connsiteY282" fmla="*/ 1318983 h 6863208"/>
              <a:gd name="connsiteX283" fmla="*/ 77100 w 8090452"/>
              <a:gd name="connsiteY283" fmla="*/ 1195332 h 6863208"/>
              <a:gd name="connsiteX284" fmla="*/ 82536 w 8090452"/>
              <a:gd name="connsiteY284" fmla="*/ 1181744 h 6863208"/>
              <a:gd name="connsiteX285" fmla="*/ 256462 w 8090452"/>
              <a:gd name="connsiteY285" fmla="*/ 1181742 h 6863208"/>
              <a:gd name="connsiteX286" fmla="*/ 272768 w 8090452"/>
              <a:gd name="connsiteY286" fmla="*/ 1195332 h 6863208"/>
              <a:gd name="connsiteX287" fmla="*/ 256462 w 8090452"/>
              <a:gd name="connsiteY287" fmla="*/ 1181742 h 6863208"/>
              <a:gd name="connsiteX288" fmla="*/ 1285070 w 8090452"/>
              <a:gd name="connsiteY288" fmla="*/ 1177667 h 6863208"/>
              <a:gd name="connsiteX289" fmla="*/ 1293223 w 8090452"/>
              <a:gd name="connsiteY289" fmla="*/ 1193973 h 6863208"/>
              <a:gd name="connsiteX290" fmla="*/ 1285070 w 8090452"/>
              <a:gd name="connsiteY290" fmla="*/ 1177667 h 6863208"/>
              <a:gd name="connsiteX291" fmla="*/ 66230 w 8090452"/>
              <a:gd name="connsiteY291" fmla="*/ 1162721 h 6863208"/>
              <a:gd name="connsiteX292" fmla="*/ 73024 w 8090452"/>
              <a:gd name="connsiteY292" fmla="*/ 1169515 h 6863208"/>
              <a:gd name="connsiteX293" fmla="*/ 70307 w 8090452"/>
              <a:gd name="connsiteY293" fmla="*/ 1174951 h 6863208"/>
              <a:gd name="connsiteX294" fmla="*/ 66230 w 8090452"/>
              <a:gd name="connsiteY294" fmla="*/ 1162721 h 6863208"/>
              <a:gd name="connsiteX295" fmla="*/ 1278277 w 8090452"/>
              <a:gd name="connsiteY295" fmla="*/ 1160002 h 6863208"/>
              <a:gd name="connsiteX296" fmla="*/ 1285072 w 8090452"/>
              <a:gd name="connsiteY296" fmla="*/ 1172232 h 6863208"/>
              <a:gd name="connsiteX297" fmla="*/ 1278277 w 8090452"/>
              <a:gd name="connsiteY297" fmla="*/ 1160002 h 6863208"/>
              <a:gd name="connsiteX298" fmla="*/ 1276918 w 8090452"/>
              <a:gd name="connsiteY298" fmla="*/ 1139621 h 6863208"/>
              <a:gd name="connsiteX299" fmla="*/ 1276919 w 8090452"/>
              <a:gd name="connsiteY299" fmla="*/ 1150491 h 6863208"/>
              <a:gd name="connsiteX300" fmla="*/ 1280995 w 8090452"/>
              <a:gd name="connsiteY300" fmla="*/ 1146415 h 6863208"/>
              <a:gd name="connsiteX301" fmla="*/ 1276918 w 8090452"/>
              <a:gd name="connsiteY301" fmla="*/ 1139621 h 6863208"/>
              <a:gd name="connsiteX302" fmla="*/ 1051358 w 8090452"/>
              <a:gd name="connsiteY302" fmla="*/ 1128751 h 6863208"/>
              <a:gd name="connsiteX303" fmla="*/ 1150550 w 8090452"/>
              <a:gd name="connsiteY303" fmla="*/ 1179026 h 6863208"/>
              <a:gd name="connsiteX304" fmla="*/ 1194445 w 8090452"/>
              <a:gd name="connsiteY304" fmla="*/ 1207165 h 6863208"/>
              <a:gd name="connsiteX305" fmla="*/ 1144945 w 8090452"/>
              <a:gd name="connsiteY305" fmla="*/ 1185990 h 6863208"/>
              <a:gd name="connsiteX306" fmla="*/ 1083969 w 8090452"/>
              <a:gd name="connsiteY306" fmla="*/ 1153209 h 6863208"/>
              <a:gd name="connsiteX307" fmla="*/ 1089688 w 8090452"/>
              <a:gd name="connsiteY307" fmla="*/ 1157517 h 6863208"/>
              <a:gd name="connsiteX308" fmla="*/ 1078775 w 8090452"/>
              <a:gd name="connsiteY308" fmla="*/ 1151108 h 6863208"/>
              <a:gd name="connsiteX309" fmla="*/ 1063252 w 8090452"/>
              <a:gd name="connsiteY309" fmla="*/ 1139159 h 6863208"/>
              <a:gd name="connsiteX310" fmla="*/ 169500 w 8090452"/>
              <a:gd name="connsiteY310" fmla="*/ 1119239 h 6863208"/>
              <a:gd name="connsiteX311" fmla="*/ 203470 w 8090452"/>
              <a:gd name="connsiteY311" fmla="*/ 1196691 h 6863208"/>
              <a:gd name="connsiteX312" fmla="*/ 207545 w 8090452"/>
              <a:gd name="connsiteY312" fmla="*/ 1314906 h 6863208"/>
              <a:gd name="connsiteX313" fmla="*/ 204828 w 8090452"/>
              <a:gd name="connsiteY313" fmla="*/ 1339364 h 6863208"/>
              <a:gd name="connsiteX314" fmla="*/ 187163 w 8090452"/>
              <a:gd name="connsiteY314" fmla="*/ 1223867 h 6863208"/>
              <a:gd name="connsiteX315" fmla="*/ 138248 w 8090452"/>
              <a:gd name="connsiteY315" fmla="*/ 1123316 h 6863208"/>
              <a:gd name="connsiteX316" fmla="*/ 150476 w 8090452"/>
              <a:gd name="connsiteY316" fmla="*/ 1130109 h 6863208"/>
              <a:gd name="connsiteX317" fmla="*/ 169500 w 8090452"/>
              <a:gd name="connsiteY317" fmla="*/ 1119239 h 6863208"/>
              <a:gd name="connsiteX318" fmla="*/ 111071 w 8090452"/>
              <a:gd name="connsiteY318" fmla="*/ 1117880 h 6863208"/>
              <a:gd name="connsiteX319" fmla="*/ 128736 w 8090452"/>
              <a:gd name="connsiteY319" fmla="*/ 1121957 h 6863208"/>
              <a:gd name="connsiteX320" fmla="*/ 180369 w 8090452"/>
              <a:gd name="connsiteY320" fmla="*/ 1225226 h 6863208"/>
              <a:gd name="connsiteX321" fmla="*/ 199393 w 8090452"/>
              <a:gd name="connsiteY321" fmla="*/ 1363822 h 6863208"/>
              <a:gd name="connsiteX322" fmla="*/ 203469 w 8090452"/>
              <a:gd name="connsiteY322" fmla="*/ 1367899 h 6863208"/>
              <a:gd name="connsiteX323" fmla="*/ 202111 w 8090452"/>
              <a:gd name="connsiteY323" fmla="*/ 1431763 h 6863208"/>
              <a:gd name="connsiteX324" fmla="*/ 210263 w 8090452"/>
              <a:gd name="connsiteY324" fmla="*/ 1513290 h 6863208"/>
              <a:gd name="connsiteX325" fmla="*/ 185805 w 8090452"/>
              <a:gd name="connsiteY325" fmla="*/ 1475244 h 6863208"/>
              <a:gd name="connsiteX326" fmla="*/ 130094 w 8090452"/>
              <a:gd name="connsiteY326" fmla="*/ 1329854 h 6863208"/>
              <a:gd name="connsiteX327" fmla="*/ 130094 w 8090452"/>
              <a:gd name="connsiteY327" fmla="*/ 1316265 h 6863208"/>
              <a:gd name="connsiteX328" fmla="*/ 130094 w 8090452"/>
              <a:gd name="connsiteY328" fmla="*/ 1313548 h 6863208"/>
              <a:gd name="connsiteX329" fmla="*/ 147758 w 8090452"/>
              <a:gd name="connsiteY329" fmla="*/ 1309471 h 6863208"/>
              <a:gd name="connsiteX330" fmla="*/ 130094 w 8090452"/>
              <a:gd name="connsiteY330" fmla="*/ 1310830 h 6863208"/>
              <a:gd name="connsiteX331" fmla="*/ 117865 w 8090452"/>
              <a:gd name="connsiteY331" fmla="*/ 1236096 h 6863208"/>
              <a:gd name="connsiteX332" fmla="*/ 101475 w 8090452"/>
              <a:gd name="connsiteY332" fmla="*/ 1209216 h 6863208"/>
              <a:gd name="connsiteX333" fmla="*/ 100031 w 8090452"/>
              <a:gd name="connsiteY333" fmla="*/ 1206033 h 6863208"/>
              <a:gd name="connsiteX334" fmla="*/ 96788 w 8090452"/>
              <a:gd name="connsiteY334" fmla="*/ 1201529 h 6863208"/>
              <a:gd name="connsiteX335" fmla="*/ 83894 w 8090452"/>
              <a:gd name="connsiteY335" fmla="*/ 1180385 h 6863208"/>
              <a:gd name="connsiteX336" fmla="*/ 98841 w 8090452"/>
              <a:gd name="connsiteY336" fmla="*/ 1151851 h 6863208"/>
              <a:gd name="connsiteX337" fmla="*/ 104277 w 8090452"/>
              <a:gd name="connsiteY337" fmla="*/ 1149133 h 6863208"/>
              <a:gd name="connsiteX338" fmla="*/ 100201 w 8090452"/>
              <a:gd name="connsiteY338" fmla="*/ 1147774 h 6863208"/>
              <a:gd name="connsiteX339" fmla="*/ 111071 w 8090452"/>
              <a:gd name="connsiteY339" fmla="*/ 1120598 h 6863208"/>
              <a:gd name="connsiteX340" fmla="*/ 111071 w 8090452"/>
              <a:gd name="connsiteY340" fmla="*/ 1117880 h 6863208"/>
              <a:gd name="connsiteX341" fmla="*/ 0 w 8090452"/>
              <a:gd name="connsiteY341" fmla="*/ 1111745 h 6863208"/>
              <a:gd name="connsiteX342" fmla="*/ 54001 w 8090452"/>
              <a:gd name="connsiteY342" fmla="*/ 1155927 h 6863208"/>
              <a:gd name="connsiteX343" fmla="*/ 66231 w 8090452"/>
              <a:gd name="connsiteY343" fmla="*/ 1187179 h 6863208"/>
              <a:gd name="connsiteX344" fmla="*/ 58078 w 8090452"/>
              <a:gd name="connsiteY344" fmla="*/ 1214355 h 6863208"/>
              <a:gd name="connsiteX345" fmla="*/ 54001 w 8090452"/>
              <a:gd name="connsiteY345" fmla="*/ 1264631 h 6863208"/>
              <a:gd name="connsiteX346" fmla="*/ 7803 w 8090452"/>
              <a:gd name="connsiteY346" fmla="*/ 1166798 h 6863208"/>
              <a:gd name="connsiteX347" fmla="*/ 0 w 8090452"/>
              <a:gd name="connsiteY347" fmla="*/ 1136890 h 6863208"/>
              <a:gd name="connsiteX348" fmla="*/ 215295 w 8090452"/>
              <a:gd name="connsiteY348" fmla="*/ 1109960 h 6863208"/>
              <a:gd name="connsiteX349" fmla="*/ 214340 w 8090452"/>
              <a:gd name="connsiteY349" fmla="*/ 1112444 h 6863208"/>
              <a:gd name="connsiteX350" fmla="*/ 215295 w 8090452"/>
              <a:gd name="connsiteY350" fmla="*/ 1109960 h 6863208"/>
              <a:gd name="connsiteX351" fmla="*/ 169499 w 8090452"/>
              <a:gd name="connsiteY351" fmla="*/ 1089345 h 6863208"/>
              <a:gd name="connsiteX352" fmla="*/ 180369 w 8090452"/>
              <a:gd name="connsiteY352" fmla="*/ 1094780 h 6863208"/>
              <a:gd name="connsiteX353" fmla="*/ 169499 w 8090452"/>
              <a:gd name="connsiteY353" fmla="*/ 1089345 h 6863208"/>
              <a:gd name="connsiteX354" fmla="*/ 1361166 w 8090452"/>
              <a:gd name="connsiteY354" fmla="*/ 1085272 h 6863208"/>
              <a:gd name="connsiteX355" fmla="*/ 1367175 w 8090452"/>
              <a:gd name="connsiteY355" fmla="*/ 1091281 h 6863208"/>
              <a:gd name="connsiteX356" fmla="*/ 1367059 w 8090452"/>
              <a:gd name="connsiteY356" fmla="*/ 1091270 h 6863208"/>
              <a:gd name="connsiteX357" fmla="*/ 0 w 8090452"/>
              <a:gd name="connsiteY357" fmla="*/ 1074888 h 6863208"/>
              <a:gd name="connsiteX358" fmla="*/ 26826 w 8090452"/>
              <a:gd name="connsiteY358" fmla="*/ 1082552 h 6863208"/>
              <a:gd name="connsiteX359" fmla="*/ 29543 w 8090452"/>
              <a:gd name="connsiteY359" fmla="*/ 1077117 h 6863208"/>
              <a:gd name="connsiteX360" fmla="*/ 37696 w 8090452"/>
              <a:gd name="connsiteY360" fmla="*/ 1101575 h 6863208"/>
              <a:gd name="connsiteX361" fmla="*/ 52642 w 8090452"/>
              <a:gd name="connsiteY361" fmla="*/ 1140981 h 6863208"/>
              <a:gd name="connsiteX362" fmla="*/ 0 w 8090452"/>
              <a:gd name="connsiteY362" fmla="*/ 1098866 h 6863208"/>
              <a:gd name="connsiteX363" fmla="*/ 742912 w 8090452"/>
              <a:gd name="connsiteY363" fmla="*/ 1073040 h 6863208"/>
              <a:gd name="connsiteX364" fmla="*/ 746989 w 8090452"/>
              <a:gd name="connsiteY364" fmla="*/ 1077116 h 6863208"/>
              <a:gd name="connsiteX365" fmla="*/ 742912 w 8090452"/>
              <a:gd name="connsiteY365" fmla="*/ 1073040 h 6863208"/>
              <a:gd name="connsiteX366" fmla="*/ 752424 w 8090452"/>
              <a:gd name="connsiteY366" fmla="*/ 1071681 h 6863208"/>
              <a:gd name="connsiteX367" fmla="*/ 751065 w 8090452"/>
              <a:gd name="connsiteY367" fmla="*/ 1081193 h 6863208"/>
              <a:gd name="connsiteX368" fmla="*/ 752424 w 8090452"/>
              <a:gd name="connsiteY368" fmla="*/ 1071681 h 6863208"/>
              <a:gd name="connsiteX369" fmla="*/ 134170 w 8090452"/>
              <a:gd name="connsiteY369" fmla="*/ 1067604 h 6863208"/>
              <a:gd name="connsiteX370" fmla="*/ 140964 w 8090452"/>
              <a:gd name="connsiteY370" fmla="*/ 1074398 h 6863208"/>
              <a:gd name="connsiteX371" fmla="*/ 134170 w 8090452"/>
              <a:gd name="connsiteY371" fmla="*/ 1067604 h 6863208"/>
              <a:gd name="connsiteX372" fmla="*/ 108354 w 8090452"/>
              <a:gd name="connsiteY372" fmla="*/ 1063528 h 6863208"/>
              <a:gd name="connsiteX373" fmla="*/ 108354 w 8090452"/>
              <a:gd name="connsiteY373" fmla="*/ 1066246 h 6863208"/>
              <a:gd name="connsiteX374" fmla="*/ 105636 w 8090452"/>
              <a:gd name="connsiteY374" fmla="*/ 1066246 h 6863208"/>
              <a:gd name="connsiteX375" fmla="*/ 108354 w 8090452"/>
              <a:gd name="connsiteY375" fmla="*/ 1063528 h 6863208"/>
              <a:gd name="connsiteX376" fmla="*/ 1320399 w 8090452"/>
              <a:gd name="connsiteY376" fmla="*/ 1052658 h 6863208"/>
              <a:gd name="connsiteX377" fmla="*/ 1340782 w 8090452"/>
              <a:gd name="connsiteY377" fmla="*/ 1062169 h 6863208"/>
              <a:gd name="connsiteX378" fmla="*/ 1350293 w 8090452"/>
              <a:gd name="connsiteY378" fmla="*/ 1068964 h 6863208"/>
              <a:gd name="connsiteX379" fmla="*/ 1350293 w 8090452"/>
              <a:gd name="connsiteY379" fmla="*/ 1066246 h 6863208"/>
              <a:gd name="connsiteX380" fmla="*/ 1407363 w 8090452"/>
              <a:gd name="connsiteY380" fmla="*/ 1085269 h 6863208"/>
              <a:gd name="connsiteX381" fmla="*/ 1426735 w 8090452"/>
              <a:gd name="connsiteY381" fmla="*/ 1090734 h 6863208"/>
              <a:gd name="connsiteX382" fmla="*/ 1361163 w 8090452"/>
              <a:gd name="connsiteY382" fmla="*/ 1085269 h 6863208"/>
              <a:gd name="connsiteX383" fmla="*/ 1361166 w 8090452"/>
              <a:gd name="connsiteY383" fmla="*/ 1085272 h 6863208"/>
              <a:gd name="connsiteX384" fmla="*/ 1359805 w 8090452"/>
              <a:gd name="connsiteY384" fmla="*/ 1083911 h 6863208"/>
              <a:gd name="connsiteX385" fmla="*/ 1351736 w 8090452"/>
              <a:gd name="connsiteY385" fmla="*/ 1081906 h 6863208"/>
              <a:gd name="connsiteX386" fmla="*/ 124659 w 8090452"/>
              <a:gd name="connsiteY386" fmla="*/ 1039070 h 6863208"/>
              <a:gd name="connsiteX387" fmla="*/ 140965 w 8090452"/>
              <a:gd name="connsiteY387" fmla="*/ 1066246 h 6863208"/>
              <a:gd name="connsiteX388" fmla="*/ 161347 w 8090452"/>
              <a:gd name="connsiteY388" fmla="*/ 1100216 h 6863208"/>
              <a:gd name="connsiteX389" fmla="*/ 155912 w 8090452"/>
              <a:gd name="connsiteY389" fmla="*/ 1100215 h 6863208"/>
              <a:gd name="connsiteX390" fmla="*/ 123301 w 8090452"/>
              <a:gd name="connsiteY390" fmla="*/ 1067604 h 6863208"/>
              <a:gd name="connsiteX391" fmla="*/ 121942 w 8090452"/>
              <a:gd name="connsiteY391" fmla="*/ 1068963 h 6863208"/>
              <a:gd name="connsiteX392" fmla="*/ 123301 w 8090452"/>
              <a:gd name="connsiteY392" fmla="*/ 1051300 h 6863208"/>
              <a:gd name="connsiteX393" fmla="*/ 123300 w 8090452"/>
              <a:gd name="connsiteY393" fmla="*/ 1045864 h 6863208"/>
              <a:gd name="connsiteX394" fmla="*/ 126018 w 8090452"/>
              <a:gd name="connsiteY394" fmla="*/ 1045864 h 6863208"/>
              <a:gd name="connsiteX395" fmla="*/ 123301 w 8090452"/>
              <a:gd name="connsiteY395" fmla="*/ 1043147 h 6863208"/>
              <a:gd name="connsiteX396" fmla="*/ 123301 w 8090452"/>
              <a:gd name="connsiteY396" fmla="*/ 1040429 h 6863208"/>
              <a:gd name="connsiteX397" fmla="*/ 124659 w 8090452"/>
              <a:gd name="connsiteY397" fmla="*/ 1039070 h 6863208"/>
              <a:gd name="connsiteX398" fmla="*/ 948089 w 8090452"/>
              <a:gd name="connsiteY398" fmla="*/ 1030917 h 6863208"/>
              <a:gd name="connsiteX399" fmla="*/ 1016030 w 8090452"/>
              <a:gd name="connsiteY399" fmla="*/ 1101574 h 6863208"/>
              <a:gd name="connsiteX400" fmla="*/ 1011953 w 8090452"/>
              <a:gd name="connsiteY400" fmla="*/ 1100216 h 6863208"/>
              <a:gd name="connsiteX401" fmla="*/ 948089 w 8090452"/>
              <a:gd name="connsiteY401" fmla="*/ 1030917 h 6863208"/>
              <a:gd name="connsiteX402" fmla="*/ 73026 w 8090452"/>
              <a:gd name="connsiteY402" fmla="*/ 1020047 h 6863208"/>
              <a:gd name="connsiteX403" fmla="*/ 73026 w 8090452"/>
              <a:gd name="connsiteY403" fmla="*/ 1020047 h 6863208"/>
              <a:gd name="connsiteX404" fmla="*/ 36823 w 8090452"/>
              <a:gd name="connsiteY404" fmla="*/ 1016456 h 6863208"/>
              <a:gd name="connsiteX405" fmla="*/ 79819 w 8090452"/>
              <a:gd name="connsiteY405" fmla="*/ 1059452 h 6863208"/>
              <a:gd name="connsiteX406" fmla="*/ 80338 w 8090452"/>
              <a:gd name="connsiteY406" fmla="*/ 1059193 h 6863208"/>
              <a:gd name="connsiteX407" fmla="*/ 78970 w 8090452"/>
              <a:gd name="connsiteY407" fmla="*/ 1065397 h 6863208"/>
              <a:gd name="connsiteX408" fmla="*/ 75743 w 8090452"/>
              <a:gd name="connsiteY408" fmla="*/ 1074399 h 6863208"/>
              <a:gd name="connsiteX409" fmla="*/ 56720 w 8090452"/>
              <a:gd name="connsiteY409" fmla="*/ 1063528 h 6863208"/>
              <a:gd name="connsiteX410" fmla="*/ 67590 w 8090452"/>
              <a:gd name="connsiteY410" fmla="*/ 1074399 h 6863208"/>
              <a:gd name="connsiteX411" fmla="*/ 62155 w 8090452"/>
              <a:gd name="connsiteY411" fmla="*/ 1082552 h 6863208"/>
              <a:gd name="connsiteX412" fmla="*/ 101559 w 8090452"/>
              <a:gd name="connsiteY412" fmla="*/ 1111086 h 6863208"/>
              <a:gd name="connsiteX413" fmla="*/ 77100 w 8090452"/>
              <a:gd name="connsiteY413" fmla="*/ 1165439 h 6863208"/>
              <a:gd name="connsiteX414" fmla="*/ 66230 w 8090452"/>
              <a:gd name="connsiteY414" fmla="*/ 1154568 h 6863208"/>
              <a:gd name="connsiteX415" fmla="*/ 64872 w 8090452"/>
              <a:gd name="connsiteY415" fmla="*/ 1153210 h 6863208"/>
              <a:gd name="connsiteX416" fmla="*/ 48567 w 8090452"/>
              <a:gd name="connsiteY416" fmla="*/ 1104293 h 6863208"/>
              <a:gd name="connsiteX417" fmla="*/ 33619 w 8090452"/>
              <a:gd name="connsiteY417" fmla="*/ 1064888 h 6863208"/>
              <a:gd name="connsiteX418" fmla="*/ 28185 w 8090452"/>
              <a:gd name="connsiteY418" fmla="*/ 1043147 h 6863208"/>
              <a:gd name="connsiteX419" fmla="*/ 28185 w 8090452"/>
              <a:gd name="connsiteY419" fmla="*/ 1040429 h 6863208"/>
              <a:gd name="connsiteX420" fmla="*/ 32262 w 8090452"/>
              <a:gd name="connsiteY420" fmla="*/ 1036352 h 6863208"/>
              <a:gd name="connsiteX421" fmla="*/ 29544 w 8090452"/>
              <a:gd name="connsiteY421" fmla="*/ 1028200 h 6863208"/>
              <a:gd name="connsiteX422" fmla="*/ 37696 w 8090452"/>
              <a:gd name="connsiteY422" fmla="*/ 1025482 h 6863208"/>
              <a:gd name="connsiteX423" fmla="*/ 34639 w 8090452"/>
              <a:gd name="connsiteY423" fmla="*/ 1021067 h 6863208"/>
              <a:gd name="connsiteX424" fmla="*/ 56889 w 8090452"/>
              <a:gd name="connsiteY424" fmla="*/ 992021 h 6863208"/>
              <a:gd name="connsiteX425" fmla="*/ 48566 w 8090452"/>
              <a:gd name="connsiteY425" fmla="*/ 992871 h 6863208"/>
              <a:gd name="connsiteX426" fmla="*/ 62154 w 8090452"/>
              <a:gd name="connsiteY426" fmla="*/ 998306 h 6863208"/>
              <a:gd name="connsiteX427" fmla="*/ 56889 w 8090452"/>
              <a:gd name="connsiteY427" fmla="*/ 992021 h 6863208"/>
              <a:gd name="connsiteX428" fmla="*/ 1191314 w 8090452"/>
              <a:gd name="connsiteY428" fmla="*/ 967054 h 6863208"/>
              <a:gd name="connsiteX429" fmla="*/ 1293224 w 8090452"/>
              <a:gd name="connsiteY429" fmla="*/ 1033635 h 6863208"/>
              <a:gd name="connsiteX430" fmla="*/ 1256536 w 8090452"/>
              <a:gd name="connsiteY430" fmla="*/ 1013252 h 6863208"/>
              <a:gd name="connsiteX431" fmla="*/ 1191314 w 8090452"/>
              <a:gd name="connsiteY431" fmla="*/ 967054 h 6863208"/>
              <a:gd name="connsiteX432" fmla="*/ 15276 w 8090452"/>
              <a:gd name="connsiteY432" fmla="*/ 942595 h 6863208"/>
              <a:gd name="connsiteX433" fmla="*/ 13238 w 8090452"/>
              <a:gd name="connsiteY433" fmla="*/ 946672 h 6863208"/>
              <a:gd name="connsiteX434" fmla="*/ 21391 w 8090452"/>
              <a:gd name="connsiteY434" fmla="*/ 946672 h 6863208"/>
              <a:gd name="connsiteX435" fmla="*/ 15276 w 8090452"/>
              <a:gd name="connsiteY435" fmla="*/ 942595 h 6863208"/>
              <a:gd name="connsiteX436" fmla="*/ 915478 w 8090452"/>
              <a:gd name="connsiteY436" fmla="*/ 941237 h 6863208"/>
              <a:gd name="connsiteX437" fmla="*/ 920914 w 8090452"/>
              <a:gd name="connsiteY437" fmla="*/ 946673 h 6863208"/>
              <a:gd name="connsiteX438" fmla="*/ 1056793 w 8090452"/>
              <a:gd name="connsiteY438" fmla="*/ 1033635 h 6863208"/>
              <a:gd name="connsiteX439" fmla="*/ 1120657 w 8090452"/>
              <a:gd name="connsiteY439" fmla="*/ 1100216 h 6863208"/>
              <a:gd name="connsiteX440" fmla="*/ 1180444 w 8090452"/>
              <a:gd name="connsiteY440" fmla="*/ 1179026 h 6863208"/>
              <a:gd name="connsiteX441" fmla="*/ 1228001 w 8090452"/>
              <a:gd name="connsiteY441" fmla="*/ 1223866 h 6863208"/>
              <a:gd name="connsiteX442" fmla="*/ 1223925 w 8090452"/>
              <a:gd name="connsiteY442" fmla="*/ 1222507 h 6863208"/>
              <a:gd name="connsiteX443" fmla="*/ 1150550 w 8090452"/>
              <a:gd name="connsiteY443" fmla="*/ 1170873 h 6863208"/>
              <a:gd name="connsiteX444" fmla="*/ 1030976 w 8090452"/>
              <a:gd name="connsiteY444" fmla="*/ 1108369 h 6863208"/>
              <a:gd name="connsiteX445" fmla="*/ 899173 w 8090452"/>
              <a:gd name="connsiteY445" fmla="*/ 962977 h 6863208"/>
              <a:gd name="connsiteX446" fmla="*/ 886944 w 8090452"/>
              <a:gd name="connsiteY446" fmla="*/ 942595 h 6863208"/>
              <a:gd name="connsiteX447" fmla="*/ 915478 w 8090452"/>
              <a:gd name="connsiteY447" fmla="*/ 941237 h 6863208"/>
              <a:gd name="connsiteX448" fmla="*/ 835309 w 8090452"/>
              <a:gd name="connsiteY448" fmla="*/ 934443 h 6863208"/>
              <a:gd name="connsiteX449" fmla="*/ 871997 w 8090452"/>
              <a:gd name="connsiteY449" fmla="*/ 941237 h 6863208"/>
              <a:gd name="connsiteX450" fmla="*/ 916837 w 8090452"/>
              <a:gd name="connsiteY450" fmla="*/ 996947 h 6863208"/>
              <a:gd name="connsiteX451" fmla="*/ 1003800 w 8090452"/>
              <a:gd name="connsiteY451" fmla="*/ 1097498 h 6863208"/>
              <a:gd name="connsiteX452" fmla="*/ 980701 w 8090452"/>
              <a:gd name="connsiteY452" fmla="*/ 1087986 h 6863208"/>
              <a:gd name="connsiteX453" fmla="*/ 867920 w 8090452"/>
              <a:gd name="connsiteY453" fmla="*/ 1024123 h 6863208"/>
              <a:gd name="connsiteX454" fmla="*/ 835309 w 8090452"/>
              <a:gd name="connsiteY454" fmla="*/ 934443 h 6863208"/>
              <a:gd name="connsiteX455" fmla="*/ 806775 w 8090452"/>
              <a:gd name="connsiteY455" fmla="*/ 927648 h 6863208"/>
              <a:gd name="connsiteX456" fmla="*/ 802698 w 8090452"/>
              <a:gd name="connsiteY456" fmla="*/ 931724 h 6863208"/>
              <a:gd name="connsiteX457" fmla="*/ 813569 w 8090452"/>
              <a:gd name="connsiteY457" fmla="*/ 937160 h 6863208"/>
              <a:gd name="connsiteX458" fmla="*/ 806775 w 8090452"/>
              <a:gd name="connsiteY458" fmla="*/ 927648 h 6863208"/>
              <a:gd name="connsiteX459" fmla="*/ 1037770 w 8090452"/>
              <a:gd name="connsiteY459" fmla="*/ 924932 h 6863208"/>
              <a:gd name="connsiteX460" fmla="*/ 1150550 w 8090452"/>
              <a:gd name="connsiteY460" fmla="*/ 948031 h 6863208"/>
              <a:gd name="connsiteX461" fmla="*/ 1180444 w 8090452"/>
              <a:gd name="connsiteY461" fmla="*/ 969771 h 6863208"/>
              <a:gd name="connsiteX462" fmla="*/ 1256536 w 8090452"/>
              <a:gd name="connsiteY462" fmla="*/ 1021405 h 6863208"/>
              <a:gd name="connsiteX463" fmla="*/ 1313605 w 8090452"/>
              <a:gd name="connsiteY463" fmla="*/ 1051299 h 6863208"/>
              <a:gd name="connsiteX464" fmla="*/ 1347333 w 8090452"/>
              <a:gd name="connsiteY464" fmla="*/ 1080811 h 6863208"/>
              <a:gd name="connsiteX465" fmla="*/ 1301037 w 8090452"/>
              <a:gd name="connsiteY465" fmla="*/ 1069304 h 6863208"/>
              <a:gd name="connsiteX466" fmla="*/ 1240231 w 8090452"/>
              <a:gd name="connsiteY466" fmla="*/ 1048581 h 6863208"/>
              <a:gd name="connsiteX467" fmla="*/ 1128130 w 8090452"/>
              <a:gd name="connsiteY467" fmla="*/ 994230 h 6863208"/>
              <a:gd name="connsiteX468" fmla="*/ 1025813 w 8090452"/>
              <a:gd name="connsiteY468" fmla="*/ 926018 h 6863208"/>
              <a:gd name="connsiteX469" fmla="*/ 1293223 w 8090452"/>
              <a:gd name="connsiteY469" fmla="*/ 922213 h 6863208"/>
              <a:gd name="connsiteX470" fmla="*/ 1287788 w 8090452"/>
              <a:gd name="connsiteY470" fmla="*/ 927649 h 6863208"/>
              <a:gd name="connsiteX471" fmla="*/ 1297300 w 8090452"/>
              <a:gd name="connsiteY471" fmla="*/ 929008 h 6863208"/>
              <a:gd name="connsiteX472" fmla="*/ 1293223 w 8090452"/>
              <a:gd name="connsiteY472" fmla="*/ 922213 h 6863208"/>
              <a:gd name="connsiteX473" fmla="*/ 1286090 w 8090452"/>
              <a:gd name="connsiteY473" fmla="*/ 917118 h 6863208"/>
              <a:gd name="connsiteX474" fmla="*/ 1278277 w 8090452"/>
              <a:gd name="connsiteY474" fmla="*/ 923571 h 6863208"/>
              <a:gd name="connsiteX475" fmla="*/ 1291865 w 8090452"/>
              <a:gd name="connsiteY475" fmla="*/ 920855 h 6863208"/>
              <a:gd name="connsiteX476" fmla="*/ 1286090 w 8090452"/>
              <a:gd name="connsiteY476" fmla="*/ 917118 h 6863208"/>
              <a:gd name="connsiteX477" fmla="*/ 780957 w 8090452"/>
              <a:gd name="connsiteY477" fmla="*/ 912700 h 6863208"/>
              <a:gd name="connsiteX478" fmla="*/ 790470 w 8090452"/>
              <a:gd name="connsiteY478" fmla="*/ 919495 h 6863208"/>
              <a:gd name="connsiteX479" fmla="*/ 780957 w 8090452"/>
              <a:gd name="connsiteY479" fmla="*/ 912700 h 6863208"/>
              <a:gd name="connsiteX480" fmla="*/ 1306810 w 8090452"/>
              <a:gd name="connsiteY480" fmla="*/ 911344 h 6863208"/>
              <a:gd name="connsiteX481" fmla="*/ 1308170 w 8090452"/>
              <a:gd name="connsiteY481" fmla="*/ 931726 h 6863208"/>
              <a:gd name="connsiteX482" fmla="*/ 1331270 w 8090452"/>
              <a:gd name="connsiteY482" fmla="*/ 922214 h 6863208"/>
              <a:gd name="connsiteX483" fmla="*/ 1338064 w 8090452"/>
              <a:gd name="connsiteY483" fmla="*/ 929008 h 6863208"/>
              <a:gd name="connsiteX484" fmla="*/ 1329911 w 8090452"/>
              <a:gd name="connsiteY484" fmla="*/ 915420 h 6863208"/>
              <a:gd name="connsiteX485" fmla="*/ 1317682 w 8090452"/>
              <a:gd name="connsiteY485" fmla="*/ 914061 h 6863208"/>
              <a:gd name="connsiteX486" fmla="*/ 1316322 w 8090452"/>
              <a:gd name="connsiteY486" fmla="*/ 920856 h 6863208"/>
              <a:gd name="connsiteX487" fmla="*/ 1313605 w 8090452"/>
              <a:gd name="connsiteY487" fmla="*/ 912703 h 6863208"/>
              <a:gd name="connsiteX488" fmla="*/ 1306810 w 8090452"/>
              <a:gd name="connsiteY488" fmla="*/ 911344 h 6863208"/>
              <a:gd name="connsiteX489" fmla="*/ 59437 w 8090452"/>
              <a:gd name="connsiteY489" fmla="*/ 908626 h 6863208"/>
              <a:gd name="connsiteX490" fmla="*/ 74384 w 8090452"/>
              <a:gd name="connsiteY490" fmla="*/ 934442 h 6863208"/>
              <a:gd name="connsiteX491" fmla="*/ 85254 w 8090452"/>
              <a:gd name="connsiteY491" fmla="*/ 926290 h 6863208"/>
              <a:gd name="connsiteX492" fmla="*/ 93407 w 8090452"/>
              <a:gd name="connsiteY492" fmla="*/ 942596 h 6863208"/>
              <a:gd name="connsiteX493" fmla="*/ 98842 w 8090452"/>
              <a:gd name="connsiteY493" fmla="*/ 969771 h 6863208"/>
              <a:gd name="connsiteX494" fmla="*/ 102919 w 8090452"/>
              <a:gd name="connsiteY494" fmla="*/ 984718 h 6863208"/>
              <a:gd name="connsiteX495" fmla="*/ 71666 w 8090452"/>
              <a:gd name="connsiteY495" fmla="*/ 931725 h 6863208"/>
              <a:gd name="connsiteX496" fmla="*/ 59437 w 8090452"/>
              <a:gd name="connsiteY496" fmla="*/ 908626 h 6863208"/>
              <a:gd name="connsiteX497" fmla="*/ 1295941 w 8090452"/>
              <a:gd name="connsiteY497" fmla="*/ 908625 h 6863208"/>
              <a:gd name="connsiteX498" fmla="*/ 1289147 w 8090452"/>
              <a:gd name="connsiteY498" fmla="*/ 912702 h 6863208"/>
              <a:gd name="connsiteX499" fmla="*/ 1298659 w 8090452"/>
              <a:gd name="connsiteY499" fmla="*/ 916778 h 6863208"/>
              <a:gd name="connsiteX500" fmla="*/ 1295941 w 8090452"/>
              <a:gd name="connsiteY500" fmla="*/ 908625 h 6863208"/>
              <a:gd name="connsiteX501" fmla="*/ 1319041 w 8090452"/>
              <a:gd name="connsiteY501" fmla="*/ 899115 h 6863208"/>
              <a:gd name="connsiteX502" fmla="*/ 1328552 w 8090452"/>
              <a:gd name="connsiteY502" fmla="*/ 911344 h 6863208"/>
              <a:gd name="connsiteX503" fmla="*/ 1319041 w 8090452"/>
              <a:gd name="connsiteY503" fmla="*/ 899115 h 6863208"/>
              <a:gd name="connsiteX504" fmla="*/ 30902 w 8090452"/>
              <a:gd name="connsiteY504" fmla="*/ 885526 h 6863208"/>
              <a:gd name="connsiteX505" fmla="*/ 33620 w 8090452"/>
              <a:gd name="connsiteY505" fmla="*/ 888244 h 6863208"/>
              <a:gd name="connsiteX506" fmla="*/ 58079 w 8090452"/>
              <a:gd name="connsiteY506" fmla="*/ 939878 h 6863208"/>
              <a:gd name="connsiteX507" fmla="*/ 101560 w 8090452"/>
              <a:gd name="connsiteY507" fmla="*/ 1013253 h 6863208"/>
              <a:gd name="connsiteX508" fmla="*/ 105636 w 8090452"/>
              <a:gd name="connsiteY508" fmla="*/ 1022764 h 6863208"/>
              <a:gd name="connsiteX509" fmla="*/ 106995 w 8090452"/>
              <a:gd name="connsiteY509" fmla="*/ 1032276 h 6863208"/>
              <a:gd name="connsiteX510" fmla="*/ 96125 w 8090452"/>
              <a:gd name="connsiteY510" fmla="*/ 1021406 h 6863208"/>
              <a:gd name="connsiteX511" fmla="*/ 93407 w 8090452"/>
              <a:gd name="connsiteY511" fmla="*/ 1021406 h 6863208"/>
              <a:gd name="connsiteX512" fmla="*/ 90690 w 8090452"/>
              <a:gd name="connsiteY512" fmla="*/ 1021405 h 6863208"/>
              <a:gd name="connsiteX513" fmla="*/ 86614 w 8090452"/>
              <a:gd name="connsiteY513" fmla="*/ 1030917 h 6863208"/>
              <a:gd name="connsiteX514" fmla="*/ 71666 w 8090452"/>
              <a:gd name="connsiteY514" fmla="*/ 1029559 h 6863208"/>
              <a:gd name="connsiteX515" fmla="*/ 101560 w 8090452"/>
              <a:gd name="connsiteY515" fmla="*/ 1051300 h 6863208"/>
              <a:gd name="connsiteX516" fmla="*/ 94766 w 8090452"/>
              <a:gd name="connsiteY516" fmla="*/ 1063528 h 6863208"/>
              <a:gd name="connsiteX517" fmla="*/ 85254 w 8090452"/>
              <a:gd name="connsiteY517" fmla="*/ 1056734 h 6863208"/>
              <a:gd name="connsiteX518" fmla="*/ 80338 w 8090452"/>
              <a:gd name="connsiteY518" fmla="*/ 1059193 h 6863208"/>
              <a:gd name="connsiteX519" fmla="*/ 81179 w 8090452"/>
              <a:gd name="connsiteY519" fmla="*/ 1055375 h 6863208"/>
              <a:gd name="connsiteX520" fmla="*/ 37696 w 8090452"/>
              <a:gd name="connsiteY520" fmla="*/ 1014611 h 6863208"/>
              <a:gd name="connsiteX521" fmla="*/ 36823 w 8090452"/>
              <a:gd name="connsiteY521" fmla="*/ 1016456 h 6863208"/>
              <a:gd name="connsiteX522" fmla="*/ 32262 w 8090452"/>
              <a:gd name="connsiteY522" fmla="*/ 1011895 h 6863208"/>
              <a:gd name="connsiteX523" fmla="*/ 33621 w 8090452"/>
              <a:gd name="connsiteY523" fmla="*/ 1010536 h 6863208"/>
              <a:gd name="connsiteX524" fmla="*/ 33621 w 8090452"/>
              <a:gd name="connsiteY524" fmla="*/ 1002383 h 6863208"/>
              <a:gd name="connsiteX525" fmla="*/ 25468 w 8090452"/>
              <a:gd name="connsiteY525" fmla="*/ 1002383 h 6863208"/>
              <a:gd name="connsiteX526" fmla="*/ 20032 w 8090452"/>
              <a:gd name="connsiteY526" fmla="*/ 991512 h 6863208"/>
              <a:gd name="connsiteX527" fmla="*/ 28185 w 8090452"/>
              <a:gd name="connsiteY527" fmla="*/ 986078 h 6863208"/>
              <a:gd name="connsiteX528" fmla="*/ 20032 w 8090452"/>
              <a:gd name="connsiteY528" fmla="*/ 988794 h 6863208"/>
              <a:gd name="connsiteX529" fmla="*/ 15956 w 8090452"/>
              <a:gd name="connsiteY529" fmla="*/ 979283 h 6863208"/>
              <a:gd name="connsiteX530" fmla="*/ 6444 w 8090452"/>
              <a:gd name="connsiteY530" fmla="*/ 977925 h 6863208"/>
              <a:gd name="connsiteX531" fmla="*/ 5085 w 8090452"/>
              <a:gd name="connsiteY531" fmla="*/ 971131 h 6863208"/>
              <a:gd name="connsiteX532" fmla="*/ 6444 w 8090452"/>
              <a:gd name="connsiteY532" fmla="*/ 926290 h 6863208"/>
              <a:gd name="connsiteX533" fmla="*/ 10520 w 8090452"/>
              <a:gd name="connsiteY533" fmla="*/ 924931 h 6863208"/>
              <a:gd name="connsiteX534" fmla="*/ 5085 w 8090452"/>
              <a:gd name="connsiteY534" fmla="*/ 916778 h 6863208"/>
              <a:gd name="connsiteX535" fmla="*/ 5085 w 8090452"/>
              <a:gd name="connsiteY535" fmla="*/ 914061 h 6863208"/>
              <a:gd name="connsiteX536" fmla="*/ 3727 w 8090452"/>
              <a:gd name="connsiteY536" fmla="*/ 907267 h 6863208"/>
              <a:gd name="connsiteX537" fmla="*/ 6444 w 8090452"/>
              <a:gd name="connsiteY537" fmla="*/ 907268 h 6863208"/>
              <a:gd name="connsiteX538" fmla="*/ 5085 w 8090452"/>
              <a:gd name="connsiteY538" fmla="*/ 905909 h 6863208"/>
              <a:gd name="connsiteX539" fmla="*/ 5086 w 8090452"/>
              <a:gd name="connsiteY539" fmla="*/ 900473 h 6863208"/>
              <a:gd name="connsiteX540" fmla="*/ 10521 w 8090452"/>
              <a:gd name="connsiteY540" fmla="*/ 897755 h 6863208"/>
              <a:gd name="connsiteX541" fmla="*/ 18674 w 8090452"/>
              <a:gd name="connsiteY541" fmla="*/ 900473 h 6863208"/>
              <a:gd name="connsiteX542" fmla="*/ 11879 w 8090452"/>
              <a:gd name="connsiteY542" fmla="*/ 896397 h 6863208"/>
              <a:gd name="connsiteX543" fmla="*/ 30902 w 8090452"/>
              <a:gd name="connsiteY543" fmla="*/ 885526 h 6863208"/>
              <a:gd name="connsiteX544" fmla="*/ 775522 w 8090452"/>
              <a:gd name="connsiteY544" fmla="*/ 885526 h 6863208"/>
              <a:gd name="connsiteX545" fmla="*/ 786393 w 8090452"/>
              <a:gd name="connsiteY545" fmla="*/ 890962 h 6863208"/>
              <a:gd name="connsiteX546" fmla="*/ 775522 w 8090452"/>
              <a:gd name="connsiteY546" fmla="*/ 885526 h 6863208"/>
              <a:gd name="connsiteX547" fmla="*/ 771446 w 8090452"/>
              <a:gd name="connsiteY547" fmla="*/ 884168 h 6863208"/>
              <a:gd name="connsiteX548" fmla="*/ 772805 w 8090452"/>
              <a:gd name="connsiteY548" fmla="*/ 890961 h 6863208"/>
              <a:gd name="connsiteX549" fmla="*/ 771446 w 8090452"/>
              <a:gd name="connsiteY549" fmla="*/ 884168 h 6863208"/>
              <a:gd name="connsiteX550" fmla="*/ 806775 w 8090452"/>
              <a:gd name="connsiteY550" fmla="*/ 884167 h 6863208"/>
              <a:gd name="connsiteX551" fmla="*/ 805416 w 8090452"/>
              <a:gd name="connsiteY551" fmla="*/ 893679 h 6863208"/>
              <a:gd name="connsiteX552" fmla="*/ 806775 w 8090452"/>
              <a:gd name="connsiteY552" fmla="*/ 884167 h 6863208"/>
              <a:gd name="connsiteX553" fmla="*/ 846180 w 8090452"/>
              <a:gd name="connsiteY553" fmla="*/ 871938 h 6863208"/>
              <a:gd name="connsiteX554" fmla="*/ 904608 w 8090452"/>
              <a:gd name="connsiteY554" fmla="*/ 935801 h 6863208"/>
              <a:gd name="connsiteX555" fmla="*/ 880151 w 8090452"/>
              <a:gd name="connsiteY555" fmla="*/ 935801 h 6863208"/>
              <a:gd name="connsiteX556" fmla="*/ 846180 w 8090452"/>
              <a:gd name="connsiteY556" fmla="*/ 871938 h 6863208"/>
              <a:gd name="connsiteX557" fmla="*/ 734759 w 8090452"/>
              <a:gd name="connsiteY557" fmla="*/ 871938 h 6863208"/>
              <a:gd name="connsiteX558" fmla="*/ 767370 w 8090452"/>
              <a:gd name="connsiteY558" fmla="*/ 899114 h 6863208"/>
              <a:gd name="connsiteX559" fmla="*/ 823081 w 8090452"/>
              <a:gd name="connsiteY559" fmla="*/ 930366 h 6863208"/>
              <a:gd name="connsiteX560" fmla="*/ 819004 w 8090452"/>
              <a:gd name="connsiteY560" fmla="*/ 931726 h 6863208"/>
              <a:gd name="connsiteX561" fmla="*/ 823081 w 8090452"/>
              <a:gd name="connsiteY561" fmla="*/ 935802 h 6863208"/>
              <a:gd name="connsiteX562" fmla="*/ 827157 w 8090452"/>
              <a:gd name="connsiteY562" fmla="*/ 934442 h 6863208"/>
              <a:gd name="connsiteX563" fmla="*/ 857051 w 8090452"/>
              <a:gd name="connsiteY563" fmla="*/ 1015970 h 6863208"/>
              <a:gd name="connsiteX564" fmla="*/ 817645 w 8090452"/>
              <a:gd name="connsiteY564" fmla="*/ 979283 h 6863208"/>
              <a:gd name="connsiteX565" fmla="*/ 790470 w 8090452"/>
              <a:gd name="connsiteY565" fmla="*/ 949389 h 6863208"/>
              <a:gd name="connsiteX566" fmla="*/ 791828 w 8090452"/>
              <a:gd name="connsiteY566" fmla="*/ 948031 h 6863208"/>
              <a:gd name="connsiteX567" fmla="*/ 789110 w 8090452"/>
              <a:gd name="connsiteY567" fmla="*/ 945313 h 6863208"/>
              <a:gd name="connsiteX568" fmla="*/ 787752 w 8090452"/>
              <a:gd name="connsiteY568" fmla="*/ 946672 h 6863208"/>
              <a:gd name="connsiteX569" fmla="*/ 734759 w 8090452"/>
              <a:gd name="connsiteY569" fmla="*/ 871938 h 6863208"/>
              <a:gd name="connsiteX570" fmla="*/ 1382903 w 8090452"/>
              <a:gd name="connsiteY570" fmla="*/ 870579 h 6863208"/>
              <a:gd name="connsiteX571" fmla="*/ 1381545 w 8090452"/>
              <a:gd name="connsiteY571" fmla="*/ 880091 h 6863208"/>
              <a:gd name="connsiteX572" fmla="*/ 1389699 w 8090452"/>
              <a:gd name="connsiteY572" fmla="*/ 885526 h 6863208"/>
              <a:gd name="connsiteX573" fmla="*/ 1382903 w 8090452"/>
              <a:gd name="connsiteY573" fmla="*/ 870579 h 6863208"/>
              <a:gd name="connsiteX574" fmla="*/ 813569 w 8090452"/>
              <a:gd name="connsiteY574" fmla="*/ 866503 h 6863208"/>
              <a:gd name="connsiteX575" fmla="*/ 835309 w 8090452"/>
              <a:gd name="connsiteY575" fmla="*/ 896397 h 6863208"/>
              <a:gd name="connsiteX576" fmla="*/ 865203 w 8090452"/>
              <a:gd name="connsiteY576" fmla="*/ 934443 h 6863208"/>
              <a:gd name="connsiteX577" fmla="*/ 832593 w 8090452"/>
              <a:gd name="connsiteY577" fmla="*/ 926290 h 6863208"/>
              <a:gd name="connsiteX578" fmla="*/ 831234 w 8090452"/>
              <a:gd name="connsiteY578" fmla="*/ 924931 h 6863208"/>
              <a:gd name="connsiteX579" fmla="*/ 813569 w 8090452"/>
              <a:gd name="connsiteY579" fmla="*/ 866503 h 6863208"/>
              <a:gd name="connsiteX580" fmla="*/ 677690 w 8090452"/>
              <a:gd name="connsiteY580" fmla="*/ 866503 h 6863208"/>
              <a:gd name="connsiteX581" fmla="*/ 734759 w 8090452"/>
              <a:gd name="connsiteY581" fmla="*/ 918137 h 6863208"/>
              <a:gd name="connsiteX582" fmla="*/ 831233 w 8090452"/>
              <a:gd name="connsiteY582" fmla="*/ 1066246 h 6863208"/>
              <a:gd name="connsiteX583" fmla="*/ 851718 w 8090452"/>
              <a:gd name="connsiteY583" fmla="*/ 1114897 h 6863208"/>
              <a:gd name="connsiteX584" fmla="*/ 821722 w 8090452"/>
              <a:gd name="connsiteY584" fmla="*/ 1089345 h 6863208"/>
              <a:gd name="connsiteX585" fmla="*/ 718453 w 8090452"/>
              <a:gd name="connsiteY585" fmla="*/ 953466 h 6863208"/>
              <a:gd name="connsiteX586" fmla="*/ 677690 w 8090452"/>
              <a:gd name="connsiteY586" fmla="*/ 866503 h 6863208"/>
              <a:gd name="connsiteX587" fmla="*/ 329603 w 8090452"/>
              <a:gd name="connsiteY587" fmla="*/ 842321 h 6863208"/>
              <a:gd name="connsiteX588" fmla="*/ 327120 w 8090452"/>
              <a:gd name="connsiteY588" fmla="*/ 847480 h 6863208"/>
              <a:gd name="connsiteX589" fmla="*/ 324402 w 8090452"/>
              <a:gd name="connsiteY589" fmla="*/ 844762 h 6863208"/>
              <a:gd name="connsiteX590" fmla="*/ 329603 w 8090452"/>
              <a:gd name="connsiteY590" fmla="*/ 842321 h 6863208"/>
              <a:gd name="connsiteX591" fmla="*/ 1482096 w 8090452"/>
              <a:gd name="connsiteY591" fmla="*/ 812151 h 6863208"/>
              <a:gd name="connsiteX592" fmla="*/ 1487531 w 8090452"/>
              <a:gd name="connsiteY592" fmla="*/ 814869 h 6863208"/>
              <a:gd name="connsiteX593" fmla="*/ 1487531 w 8090452"/>
              <a:gd name="connsiteY593" fmla="*/ 812151 h 6863208"/>
              <a:gd name="connsiteX594" fmla="*/ 1482096 w 8090452"/>
              <a:gd name="connsiteY594" fmla="*/ 812151 h 6863208"/>
              <a:gd name="connsiteX595" fmla="*/ 789110 w 8090452"/>
              <a:gd name="connsiteY595" fmla="*/ 782258 h 6863208"/>
              <a:gd name="connsiteX596" fmla="*/ 794546 w 8090452"/>
              <a:gd name="connsiteY596" fmla="*/ 793128 h 6863208"/>
              <a:gd name="connsiteX597" fmla="*/ 829874 w 8090452"/>
              <a:gd name="connsiteY597" fmla="*/ 850197 h 6863208"/>
              <a:gd name="connsiteX598" fmla="*/ 836668 w 8090452"/>
              <a:gd name="connsiteY598" fmla="*/ 865144 h 6863208"/>
              <a:gd name="connsiteX599" fmla="*/ 874715 w 8090452"/>
              <a:gd name="connsiteY599" fmla="*/ 933084 h 6863208"/>
              <a:gd name="connsiteX600" fmla="*/ 840745 w 8090452"/>
              <a:gd name="connsiteY600" fmla="*/ 888244 h 6863208"/>
              <a:gd name="connsiteX601" fmla="*/ 805416 w 8090452"/>
              <a:gd name="connsiteY601" fmla="*/ 839327 h 6863208"/>
              <a:gd name="connsiteX602" fmla="*/ 789110 w 8090452"/>
              <a:gd name="connsiteY602" fmla="*/ 782258 h 6863208"/>
              <a:gd name="connsiteX603" fmla="*/ 880150 w 8090452"/>
              <a:gd name="connsiteY603" fmla="*/ 772746 h 6863208"/>
              <a:gd name="connsiteX604" fmla="*/ 877432 w 8090452"/>
              <a:gd name="connsiteY604" fmla="*/ 775464 h 6863208"/>
              <a:gd name="connsiteX605" fmla="*/ 880150 w 8090452"/>
              <a:gd name="connsiteY605" fmla="*/ 780899 h 6863208"/>
              <a:gd name="connsiteX606" fmla="*/ 882867 w 8090452"/>
              <a:gd name="connsiteY606" fmla="*/ 778182 h 6863208"/>
              <a:gd name="connsiteX607" fmla="*/ 880150 w 8090452"/>
              <a:gd name="connsiteY607" fmla="*/ 772746 h 6863208"/>
              <a:gd name="connsiteX608" fmla="*/ 646437 w 8090452"/>
              <a:gd name="connsiteY608" fmla="*/ 772746 h 6863208"/>
              <a:gd name="connsiteX609" fmla="*/ 693995 w 8090452"/>
              <a:gd name="connsiteY609" fmla="*/ 828457 h 6863208"/>
              <a:gd name="connsiteX610" fmla="*/ 814928 w 8090452"/>
              <a:gd name="connsiteY610" fmla="*/ 990153 h 6863208"/>
              <a:gd name="connsiteX611" fmla="*/ 865203 w 8090452"/>
              <a:gd name="connsiteY611" fmla="*/ 1034994 h 6863208"/>
              <a:gd name="connsiteX612" fmla="*/ 886944 w 8090452"/>
              <a:gd name="connsiteY612" fmla="*/ 1078475 h 6863208"/>
              <a:gd name="connsiteX613" fmla="*/ 948089 w 8090452"/>
              <a:gd name="connsiteY613" fmla="*/ 1177667 h 6863208"/>
              <a:gd name="connsiteX614" fmla="*/ 944014 w 8090452"/>
              <a:gd name="connsiteY614" fmla="*/ 1176308 h 6863208"/>
              <a:gd name="connsiteX615" fmla="*/ 879124 w 8090452"/>
              <a:gd name="connsiteY615" fmla="*/ 1135452 h 6863208"/>
              <a:gd name="connsiteX616" fmla="*/ 867921 w 8090452"/>
              <a:gd name="connsiteY616" fmla="*/ 1127391 h 6863208"/>
              <a:gd name="connsiteX617" fmla="*/ 838027 w 8090452"/>
              <a:gd name="connsiteY617" fmla="*/ 1064887 h 6863208"/>
              <a:gd name="connsiteX618" fmla="*/ 795904 w 8090452"/>
              <a:gd name="connsiteY618" fmla="*/ 982001 h 6863208"/>
              <a:gd name="connsiteX619" fmla="*/ 737476 w 8090452"/>
              <a:gd name="connsiteY619" fmla="*/ 907267 h 6863208"/>
              <a:gd name="connsiteX620" fmla="*/ 674972 w 8090452"/>
              <a:gd name="connsiteY620" fmla="*/ 847480 h 6863208"/>
              <a:gd name="connsiteX621" fmla="*/ 668178 w 8090452"/>
              <a:gd name="connsiteY621" fmla="*/ 840686 h 6863208"/>
              <a:gd name="connsiteX622" fmla="*/ 646437 w 8090452"/>
              <a:gd name="connsiteY622" fmla="*/ 772746 h 6863208"/>
              <a:gd name="connsiteX623" fmla="*/ 874205 w 8090452"/>
              <a:gd name="connsiteY623" fmla="*/ 768499 h 6863208"/>
              <a:gd name="connsiteX624" fmla="*/ 867920 w 8090452"/>
              <a:gd name="connsiteY624" fmla="*/ 771386 h 6863208"/>
              <a:gd name="connsiteX625" fmla="*/ 877432 w 8090452"/>
              <a:gd name="connsiteY625" fmla="*/ 772746 h 6863208"/>
              <a:gd name="connsiteX626" fmla="*/ 874205 w 8090452"/>
              <a:gd name="connsiteY626" fmla="*/ 768499 h 6863208"/>
              <a:gd name="connsiteX627" fmla="*/ 1404646 w 8090452"/>
              <a:gd name="connsiteY627" fmla="*/ 767311 h 6863208"/>
              <a:gd name="connsiteX628" fmla="*/ 1401927 w 8090452"/>
              <a:gd name="connsiteY628" fmla="*/ 770029 h 6863208"/>
              <a:gd name="connsiteX629" fmla="*/ 1401928 w 8090452"/>
              <a:gd name="connsiteY629" fmla="*/ 772746 h 6863208"/>
              <a:gd name="connsiteX630" fmla="*/ 1407363 w 8090452"/>
              <a:gd name="connsiteY630" fmla="*/ 772746 h 6863208"/>
              <a:gd name="connsiteX631" fmla="*/ 1404646 w 8090452"/>
              <a:gd name="connsiteY631" fmla="*/ 767311 h 6863208"/>
              <a:gd name="connsiteX632" fmla="*/ 889660 w 8090452"/>
              <a:gd name="connsiteY632" fmla="*/ 760516 h 6863208"/>
              <a:gd name="connsiteX633" fmla="*/ 881507 w 8090452"/>
              <a:gd name="connsiteY633" fmla="*/ 768669 h 6863208"/>
              <a:gd name="connsiteX634" fmla="*/ 892378 w 8090452"/>
              <a:gd name="connsiteY634" fmla="*/ 774105 h 6863208"/>
              <a:gd name="connsiteX635" fmla="*/ 889660 w 8090452"/>
              <a:gd name="connsiteY635" fmla="*/ 760516 h 6863208"/>
              <a:gd name="connsiteX636" fmla="*/ 851614 w 8090452"/>
              <a:gd name="connsiteY636" fmla="*/ 749646 h 6863208"/>
              <a:gd name="connsiteX637" fmla="*/ 840744 w 8090452"/>
              <a:gd name="connsiteY637" fmla="*/ 757799 h 6863208"/>
              <a:gd name="connsiteX638" fmla="*/ 844821 w 8090452"/>
              <a:gd name="connsiteY638" fmla="*/ 770029 h 6863208"/>
              <a:gd name="connsiteX639" fmla="*/ 851614 w 8090452"/>
              <a:gd name="connsiteY639" fmla="*/ 760517 h 6863208"/>
              <a:gd name="connsiteX640" fmla="*/ 851614 w 8090452"/>
              <a:gd name="connsiteY640" fmla="*/ 768670 h 6863208"/>
              <a:gd name="connsiteX641" fmla="*/ 857049 w 8090452"/>
              <a:gd name="connsiteY641" fmla="*/ 765952 h 6863208"/>
              <a:gd name="connsiteX642" fmla="*/ 863845 w 8090452"/>
              <a:gd name="connsiteY642" fmla="*/ 772747 h 6863208"/>
              <a:gd name="connsiteX643" fmla="*/ 857049 w 8090452"/>
              <a:gd name="connsiteY643" fmla="*/ 771388 h 6863208"/>
              <a:gd name="connsiteX644" fmla="*/ 862485 w 8090452"/>
              <a:gd name="connsiteY644" fmla="*/ 776823 h 6863208"/>
              <a:gd name="connsiteX645" fmla="*/ 867920 w 8090452"/>
              <a:gd name="connsiteY645" fmla="*/ 774106 h 6863208"/>
              <a:gd name="connsiteX646" fmla="*/ 866561 w 8090452"/>
              <a:gd name="connsiteY646" fmla="*/ 767311 h 6863208"/>
              <a:gd name="connsiteX647" fmla="*/ 878791 w 8090452"/>
              <a:gd name="connsiteY647" fmla="*/ 763235 h 6863208"/>
              <a:gd name="connsiteX648" fmla="*/ 867920 w 8090452"/>
              <a:gd name="connsiteY648" fmla="*/ 755080 h 6863208"/>
              <a:gd name="connsiteX649" fmla="*/ 869279 w 8090452"/>
              <a:gd name="connsiteY649" fmla="*/ 761875 h 6863208"/>
              <a:gd name="connsiteX650" fmla="*/ 863844 w 8090452"/>
              <a:gd name="connsiteY650" fmla="*/ 753722 h 6863208"/>
              <a:gd name="connsiteX651" fmla="*/ 855691 w 8090452"/>
              <a:gd name="connsiteY651" fmla="*/ 759158 h 6863208"/>
              <a:gd name="connsiteX652" fmla="*/ 855691 w 8090452"/>
              <a:gd name="connsiteY652" fmla="*/ 764593 h 6863208"/>
              <a:gd name="connsiteX653" fmla="*/ 857049 w 8090452"/>
              <a:gd name="connsiteY653" fmla="*/ 752364 h 6863208"/>
              <a:gd name="connsiteX654" fmla="*/ 851614 w 8090452"/>
              <a:gd name="connsiteY654" fmla="*/ 749646 h 6863208"/>
              <a:gd name="connsiteX655" fmla="*/ 636925 w 8090452"/>
              <a:gd name="connsiteY655" fmla="*/ 741494 h 6863208"/>
              <a:gd name="connsiteX656" fmla="*/ 670896 w 8090452"/>
              <a:gd name="connsiteY656" fmla="*/ 794487 h 6863208"/>
              <a:gd name="connsiteX657" fmla="*/ 642360 w 8090452"/>
              <a:gd name="connsiteY657" fmla="*/ 760517 h 6863208"/>
              <a:gd name="connsiteX658" fmla="*/ 636925 w 8090452"/>
              <a:gd name="connsiteY658" fmla="*/ 741494 h 6863208"/>
              <a:gd name="connsiteX659" fmla="*/ 757858 w 8090452"/>
              <a:gd name="connsiteY659" fmla="*/ 729265 h 6863208"/>
              <a:gd name="connsiteX660" fmla="*/ 774164 w 8090452"/>
              <a:gd name="connsiteY660" fmla="*/ 770029 h 6863208"/>
              <a:gd name="connsiteX661" fmla="*/ 787751 w 8090452"/>
              <a:gd name="connsiteY661" fmla="*/ 813510 h 6863208"/>
              <a:gd name="connsiteX662" fmla="*/ 748347 w 8090452"/>
              <a:gd name="connsiteY662" fmla="*/ 755082 h 6863208"/>
              <a:gd name="connsiteX663" fmla="*/ 755140 w 8090452"/>
              <a:gd name="connsiteY663" fmla="*/ 742853 h 6863208"/>
              <a:gd name="connsiteX664" fmla="*/ 757858 w 8090452"/>
              <a:gd name="connsiteY664" fmla="*/ 729265 h 6863208"/>
              <a:gd name="connsiteX665" fmla="*/ 772805 w 8090452"/>
              <a:gd name="connsiteY665" fmla="*/ 708883 h 6863208"/>
              <a:gd name="connsiteX666" fmla="*/ 983418 w 8090452"/>
              <a:gd name="connsiteY666" fmla="*/ 900472 h 6863208"/>
              <a:gd name="connsiteX667" fmla="*/ 1008851 w 8090452"/>
              <a:gd name="connsiteY667" fmla="*/ 920552 h 6863208"/>
              <a:gd name="connsiteX668" fmla="*/ 923631 w 8090452"/>
              <a:gd name="connsiteY668" fmla="*/ 933084 h 6863208"/>
              <a:gd name="connsiteX669" fmla="*/ 924091 w 8090452"/>
              <a:gd name="connsiteY669" fmla="*/ 933377 h 6863208"/>
              <a:gd name="connsiteX670" fmla="*/ 916837 w 8090452"/>
              <a:gd name="connsiteY670" fmla="*/ 934443 h 6863208"/>
              <a:gd name="connsiteX671" fmla="*/ 816286 w 8090452"/>
              <a:gd name="connsiteY671" fmla="*/ 812151 h 6863208"/>
              <a:gd name="connsiteX672" fmla="*/ 772805 w 8090452"/>
              <a:gd name="connsiteY672" fmla="*/ 708883 h 6863208"/>
              <a:gd name="connsiteX673" fmla="*/ 763293 w 8090452"/>
              <a:gd name="connsiteY673" fmla="*/ 702089 h 6863208"/>
              <a:gd name="connsiteX674" fmla="*/ 789110 w 8090452"/>
              <a:gd name="connsiteY674" fmla="*/ 763235 h 6863208"/>
              <a:gd name="connsiteX675" fmla="*/ 763294 w 8090452"/>
              <a:gd name="connsiteY675" fmla="*/ 710241 h 6863208"/>
              <a:gd name="connsiteX676" fmla="*/ 761935 w 8090452"/>
              <a:gd name="connsiteY676" fmla="*/ 708882 h 6863208"/>
              <a:gd name="connsiteX677" fmla="*/ 763293 w 8090452"/>
              <a:gd name="connsiteY677" fmla="*/ 702089 h 6863208"/>
              <a:gd name="connsiteX678" fmla="*/ 556756 w 8090452"/>
              <a:gd name="connsiteY678" fmla="*/ 699371 h 6863208"/>
              <a:gd name="connsiteX679" fmla="*/ 624696 w 8090452"/>
              <a:gd name="connsiteY679" fmla="*/ 751006 h 6863208"/>
              <a:gd name="connsiteX680" fmla="*/ 638284 w 8090452"/>
              <a:gd name="connsiteY680" fmla="*/ 764593 h 6863208"/>
              <a:gd name="connsiteX681" fmla="*/ 661384 w 8090452"/>
              <a:gd name="connsiteY681" fmla="*/ 833892 h 6863208"/>
              <a:gd name="connsiteX682" fmla="*/ 619261 w 8090452"/>
              <a:gd name="connsiteY682" fmla="*/ 789052 h 6863208"/>
              <a:gd name="connsiteX683" fmla="*/ 626055 w 8090452"/>
              <a:gd name="connsiteY683" fmla="*/ 782258 h 6863208"/>
              <a:gd name="connsiteX684" fmla="*/ 616544 w 8090452"/>
              <a:gd name="connsiteY684" fmla="*/ 767311 h 6863208"/>
              <a:gd name="connsiteX685" fmla="*/ 605674 w 8090452"/>
              <a:gd name="connsiteY685" fmla="*/ 772746 h 6863208"/>
              <a:gd name="connsiteX686" fmla="*/ 556756 w 8090452"/>
              <a:gd name="connsiteY686" fmla="*/ 699371 h 6863208"/>
              <a:gd name="connsiteX687" fmla="*/ 1144562 w 8090452"/>
              <a:gd name="connsiteY687" fmla="*/ 674700 h 6863208"/>
              <a:gd name="connsiteX688" fmla="*/ 1128809 w 8090452"/>
              <a:gd name="connsiteY688" fmla="*/ 684425 h 6863208"/>
              <a:gd name="connsiteX689" fmla="*/ 1155986 w 8090452"/>
              <a:gd name="connsiteY689" fmla="*/ 771388 h 6863208"/>
              <a:gd name="connsiteX690" fmla="*/ 1157344 w 8090452"/>
              <a:gd name="connsiteY690" fmla="*/ 767311 h 6863208"/>
              <a:gd name="connsiteX691" fmla="*/ 1162779 w 8090452"/>
              <a:gd name="connsiteY691" fmla="*/ 810793 h 6863208"/>
              <a:gd name="connsiteX692" fmla="*/ 1185879 w 8090452"/>
              <a:gd name="connsiteY692" fmla="*/ 852915 h 6863208"/>
              <a:gd name="connsiteX693" fmla="*/ 1195390 w 8090452"/>
              <a:gd name="connsiteY693" fmla="*/ 827098 h 6863208"/>
              <a:gd name="connsiteX694" fmla="*/ 1172291 w 8090452"/>
              <a:gd name="connsiteY694" fmla="*/ 722471 h 6863208"/>
              <a:gd name="connsiteX695" fmla="*/ 1183161 w 8090452"/>
              <a:gd name="connsiteY695" fmla="*/ 698013 h 6863208"/>
              <a:gd name="connsiteX696" fmla="*/ 1144562 w 8090452"/>
              <a:gd name="connsiteY696" fmla="*/ 674700 h 6863208"/>
              <a:gd name="connsiteX697" fmla="*/ 771446 w 8090452"/>
              <a:gd name="connsiteY697" fmla="*/ 664043 h 6863208"/>
              <a:gd name="connsiteX698" fmla="*/ 775523 w 8090452"/>
              <a:gd name="connsiteY698" fmla="*/ 670837 h 6863208"/>
              <a:gd name="connsiteX699" fmla="*/ 771446 w 8090452"/>
              <a:gd name="connsiteY699" fmla="*/ 664043 h 6863208"/>
              <a:gd name="connsiteX700" fmla="*/ 1505194 w 8090452"/>
              <a:gd name="connsiteY700" fmla="*/ 653172 h 6863208"/>
              <a:gd name="connsiteX701" fmla="*/ 1495683 w 8090452"/>
              <a:gd name="connsiteY701" fmla="*/ 657248 h 6863208"/>
              <a:gd name="connsiteX702" fmla="*/ 1501118 w 8090452"/>
              <a:gd name="connsiteY702" fmla="*/ 665401 h 6863208"/>
              <a:gd name="connsiteX703" fmla="*/ 1490248 w 8090452"/>
              <a:gd name="connsiteY703" fmla="*/ 665401 h 6863208"/>
              <a:gd name="connsiteX704" fmla="*/ 1501118 w 8090452"/>
              <a:gd name="connsiteY704" fmla="*/ 676271 h 6863208"/>
              <a:gd name="connsiteX705" fmla="*/ 1502477 w 8090452"/>
              <a:gd name="connsiteY705" fmla="*/ 655889 h 6863208"/>
              <a:gd name="connsiteX706" fmla="*/ 1510629 w 8090452"/>
              <a:gd name="connsiteY706" fmla="*/ 661325 h 6863208"/>
              <a:gd name="connsiteX707" fmla="*/ 1505194 w 8090452"/>
              <a:gd name="connsiteY707" fmla="*/ 653172 h 6863208"/>
              <a:gd name="connsiteX708" fmla="*/ 1497043 w 8090452"/>
              <a:gd name="connsiteY708" fmla="*/ 645019 h 6863208"/>
              <a:gd name="connsiteX709" fmla="*/ 1492967 w 8090452"/>
              <a:gd name="connsiteY709" fmla="*/ 649096 h 6863208"/>
              <a:gd name="connsiteX710" fmla="*/ 1499761 w 8090452"/>
              <a:gd name="connsiteY710" fmla="*/ 650455 h 6863208"/>
              <a:gd name="connsiteX711" fmla="*/ 1497043 w 8090452"/>
              <a:gd name="connsiteY711" fmla="*/ 645019 h 6863208"/>
              <a:gd name="connsiteX712" fmla="*/ 767370 w 8090452"/>
              <a:gd name="connsiteY712" fmla="*/ 632791 h 6863208"/>
              <a:gd name="connsiteX713" fmla="*/ 772805 w 8090452"/>
              <a:gd name="connsiteY713" fmla="*/ 638226 h 6863208"/>
              <a:gd name="connsiteX714" fmla="*/ 775523 w 8090452"/>
              <a:gd name="connsiteY714" fmla="*/ 640944 h 6863208"/>
              <a:gd name="connsiteX715" fmla="*/ 776607 w 8090452"/>
              <a:gd name="connsiteY715" fmla="*/ 642028 h 6863208"/>
              <a:gd name="connsiteX716" fmla="*/ 772805 w 8090452"/>
              <a:gd name="connsiteY716" fmla="*/ 640942 h 6863208"/>
              <a:gd name="connsiteX717" fmla="*/ 774164 w 8090452"/>
              <a:gd name="connsiteY717" fmla="*/ 647736 h 6863208"/>
              <a:gd name="connsiteX718" fmla="*/ 777299 w 8090452"/>
              <a:gd name="connsiteY718" fmla="*/ 642720 h 6863208"/>
              <a:gd name="connsiteX719" fmla="*/ 789110 w 8090452"/>
              <a:gd name="connsiteY719" fmla="*/ 654531 h 6863208"/>
              <a:gd name="connsiteX720" fmla="*/ 793188 w 8090452"/>
              <a:gd name="connsiteY720" fmla="*/ 666760 h 6863208"/>
              <a:gd name="connsiteX721" fmla="*/ 793187 w 8090452"/>
              <a:gd name="connsiteY721" fmla="*/ 658608 h 6863208"/>
              <a:gd name="connsiteX722" fmla="*/ 821721 w 8090452"/>
              <a:gd name="connsiteY722" fmla="*/ 689859 h 6863208"/>
              <a:gd name="connsiteX723" fmla="*/ 882868 w 8090452"/>
              <a:gd name="connsiteY723" fmla="*/ 751006 h 6863208"/>
              <a:gd name="connsiteX724" fmla="*/ 881509 w 8090452"/>
              <a:gd name="connsiteY724" fmla="*/ 757799 h 6863208"/>
              <a:gd name="connsiteX725" fmla="*/ 885585 w 8090452"/>
              <a:gd name="connsiteY725" fmla="*/ 759158 h 6863208"/>
              <a:gd name="connsiteX726" fmla="*/ 888303 w 8090452"/>
              <a:gd name="connsiteY726" fmla="*/ 756440 h 6863208"/>
              <a:gd name="connsiteX727" fmla="*/ 961678 w 8090452"/>
              <a:gd name="connsiteY727" fmla="*/ 813509 h 6863208"/>
              <a:gd name="connsiteX728" fmla="*/ 1001083 w 8090452"/>
              <a:gd name="connsiteY728" fmla="*/ 836610 h 6863208"/>
              <a:gd name="connsiteX729" fmla="*/ 1107069 w 8090452"/>
              <a:gd name="connsiteY729" fmla="*/ 918137 h 6863208"/>
              <a:gd name="connsiteX730" fmla="*/ 1141038 w 8090452"/>
              <a:gd name="connsiteY730" fmla="*/ 941237 h 6863208"/>
              <a:gd name="connsiteX731" fmla="*/ 1036411 w 8090452"/>
              <a:gd name="connsiteY731" fmla="*/ 920855 h 6863208"/>
              <a:gd name="connsiteX732" fmla="*/ 1018068 w 8090452"/>
              <a:gd name="connsiteY732" fmla="*/ 920855 h 6863208"/>
              <a:gd name="connsiteX733" fmla="*/ 1016030 w 8090452"/>
              <a:gd name="connsiteY733" fmla="*/ 919496 h 6863208"/>
              <a:gd name="connsiteX734" fmla="*/ 1015651 w 8090452"/>
              <a:gd name="connsiteY734" fmla="*/ 919552 h 6863208"/>
              <a:gd name="connsiteX735" fmla="*/ 984778 w 8090452"/>
              <a:gd name="connsiteY735" fmla="*/ 896397 h 6863208"/>
              <a:gd name="connsiteX736" fmla="*/ 824439 w 8090452"/>
              <a:gd name="connsiteY736" fmla="*/ 755082 h 6863208"/>
              <a:gd name="connsiteX737" fmla="*/ 828515 w 8090452"/>
              <a:gd name="connsiteY737" fmla="*/ 751006 h 6863208"/>
              <a:gd name="connsiteX738" fmla="*/ 824440 w 8090452"/>
              <a:gd name="connsiteY738" fmla="*/ 736059 h 6863208"/>
              <a:gd name="connsiteX739" fmla="*/ 814928 w 8090452"/>
              <a:gd name="connsiteY739" fmla="*/ 729265 h 6863208"/>
              <a:gd name="connsiteX740" fmla="*/ 819004 w 8090452"/>
              <a:gd name="connsiteY740" fmla="*/ 736058 h 6863208"/>
              <a:gd name="connsiteX741" fmla="*/ 809492 w 8090452"/>
              <a:gd name="connsiteY741" fmla="*/ 731982 h 6863208"/>
              <a:gd name="connsiteX742" fmla="*/ 812210 w 8090452"/>
              <a:gd name="connsiteY742" fmla="*/ 742853 h 6863208"/>
              <a:gd name="connsiteX743" fmla="*/ 766011 w 8090452"/>
              <a:gd name="connsiteY743" fmla="*/ 693936 h 6863208"/>
              <a:gd name="connsiteX744" fmla="*/ 771446 w 8090452"/>
              <a:gd name="connsiteY744" fmla="*/ 658608 h 6863208"/>
              <a:gd name="connsiteX745" fmla="*/ 772805 w 8090452"/>
              <a:gd name="connsiteY745" fmla="*/ 643661 h 6863208"/>
              <a:gd name="connsiteX746" fmla="*/ 767370 w 8090452"/>
              <a:gd name="connsiteY746" fmla="*/ 632791 h 6863208"/>
              <a:gd name="connsiteX747" fmla="*/ 487458 w 8090452"/>
              <a:gd name="connsiteY747" fmla="*/ 616484 h 6863208"/>
              <a:gd name="connsiteX748" fmla="*/ 502405 w 8090452"/>
              <a:gd name="connsiteY748" fmla="*/ 639584 h 6863208"/>
              <a:gd name="connsiteX749" fmla="*/ 522787 w 8090452"/>
              <a:gd name="connsiteY749" fmla="*/ 670837 h 6863208"/>
              <a:gd name="connsiteX750" fmla="*/ 475229 w 8090452"/>
              <a:gd name="connsiteY750" fmla="*/ 639585 h 6863208"/>
              <a:gd name="connsiteX751" fmla="*/ 456206 w 8090452"/>
              <a:gd name="connsiteY751" fmla="*/ 623279 h 6863208"/>
              <a:gd name="connsiteX752" fmla="*/ 487458 w 8090452"/>
              <a:gd name="connsiteY752" fmla="*/ 616484 h 6863208"/>
              <a:gd name="connsiteX753" fmla="*/ 583933 w 8090452"/>
              <a:gd name="connsiteY753" fmla="*/ 612408 h 6863208"/>
              <a:gd name="connsiteX754" fmla="*/ 594803 w 8090452"/>
              <a:gd name="connsiteY754" fmla="*/ 639584 h 6863208"/>
              <a:gd name="connsiteX755" fmla="*/ 611108 w 8090452"/>
              <a:gd name="connsiteY755" fmla="*/ 683065 h 6863208"/>
              <a:gd name="connsiteX756" fmla="*/ 564910 w 8090452"/>
              <a:gd name="connsiteY756" fmla="*/ 623279 h 6863208"/>
              <a:gd name="connsiteX757" fmla="*/ 583933 w 8090452"/>
              <a:gd name="connsiteY757" fmla="*/ 612408 h 6863208"/>
              <a:gd name="connsiteX758" fmla="*/ 1588083 w 8090452"/>
              <a:gd name="connsiteY758" fmla="*/ 611050 h 6863208"/>
              <a:gd name="connsiteX759" fmla="*/ 1579929 w 8090452"/>
              <a:gd name="connsiteY759" fmla="*/ 616486 h 6863208"/>
              <a:gd name="connsiteX760" fmla="*/ 1588083 w 8090452"/>
              <a:gd name="connsiteY760" fmla="*/ 611050 h 6863208"/>
              <a:gd name="connsiteX761" fmla="*/ 520069 w 8090452"/>
              <a:gd name="connsiteY761" fmla="*/ 611050 h 6863208"/>
              <a:gd name="connsiteX762" fmla="*/ 548604 w 8090452"/>
              <a:gd name="connsiteY762" fmla="*/ 625997 h 6863208"/>
              <a:gd name="connsiteX763" fmla="*/ 623338 w 8090452"/>
              <a:gd name="connsiteY763" fmla="*/ 725188 h 6863208"/>
              <a:gd name="connsiteX764" fmla="*/ 631490 w 8090452"/>
              <a:gd name="connsiteY764" fmla="*/ 752365 h 6863208"/>
              <a:gd name="connsiteX765" fmla="*/ 626055 w 8090452"/>
              <a:gd name="connsiteY765" fmla="*/ 746930 h 6863208"/>
              <a:gd name="connsiteX766" fmla="*/ 548604 w 8090452"/>
              <a:gd name="connsiteY766" fmla="*/ 688501 h 6863208"/>
              <a:gd name="connsiteX767" fmla="*/ 547245 w 8090452"/>
              <a:gd name="connsiteY767" fmla="*/ 687142 h 6863208"/>
              <a:gd name="connsiteX768" fmla="*/ 515993 w 8090452"/>
              <a:gd name="connsiteY768" fmla="*/ 636867 h 6863208"/>
              <a:gd name="connsiteX769" fmla="*/ 503764 w 8090452"/>
              <a:gd name="connsiteY769" fmla="*/ 613767 h 6863208"/>
              <a:gd name="connsiteX770" fmla="*/ 520069 w 8090452"/>
              <a:gd name="connsiteY770" fmla="*/ 611050 h 6863208"/>
              <a:gd name="connsiteX771" fmla="*/ 1071059 w 8090452"/>
              <a:gd name="connsiteY771" fmla="*/ 603065 h 6863208"/>
              <a:gd name="connsiteX772" fmla="*/ 1066304 w 8090452"/>
              <a:gd name="connsiteY772" fmla="*/ 605613 h 6863208"/>
              <a:gd name="connsiteX773" fmla="*/ 1077175 w 8090452"/>
              <a:gd name="connsiteY773" fmla="*/ 613766 h 6863208"/>
              <a:gd name="connsiteX774" fmla="*/ 1071059 w 8090452"/>
              <a:gd name="connsiteY774" fmla="*/ 603065 h 6863208"/>
              <a:gd name="connsiteX775" fmla="*/ 616543 w 8090452"/>
              <a:gd name="connsiteY775" fmla="*/ 598821 h 6863208"/>
              <a:gd name="connsiteX776" fmla="*/ 638284 w 8090452"/>
              <a:gd name="connsiteY776" fmla="*/ 617843 h 6863208"/>
              <a:gd name="connsiteX777" fmla="*/ 641002 w 8090452"/>
              <a:gd name="connsiteY777" fmla="*/ 617843 h 6863208"/>
              <a:gd name="connsiteX778" fmla="*/ 662743 w 8090452"/>
              <a:gd name="connsiteY778" fmla="*/ 647737 h 6863208"/>
              <a:gd name="connsiteX779" fmla="*/ 726606 w 8090452"/>
              <a:gd name="connsiteY779" fmla="*/ 744212 h 6863208"/>
              <a:gd name="connsiteX780" fmla="*/ 723888 w 8090452"/>
              <a:gd name="connsiteY780" fmla="*/ 746929 h 6863208"/>
              <a:gd name="connsiteX781" fmla="*/ 744271 w 8090452"/>
              <a:gd name="connsiteY781" fmla="*/ 780899 h 6863208"/>
              <a:gd name="connsiteX782" fmla="*/ 742911 w 8090452"/>
              <a:gd name="connsiteY782" fmla="*/ 768670 h 6863208"/>
              <a:gd name="connsiteX783" fmla="*/ 795905 w 8090452"/>
              <a:gd name="connsiteY783" fmla="*/ 846121 h 6863208"/>
              <a:gd name="connsiteX784" fmla="*/ 816287 w 8090452"/>
              <a:gd name="connsiteY784" fmla="*/ 912702 h 6863208"/>
              <a:gd name="connsiteX785" fmla="*/ 813569 w 8090452"/>
              <a:gd name="connsiteY785" fmla="*/ 915420 h 6863208"/>
              <a:gd name="connsiteX786" fmla="*/ 816286 w 8090452"/>
              <a:gd name="connsiteY786" fmla="*/ 915420 h 6863208"/>
              <a:gd name="connsiteX787" fmla="*/ 817646 w 8090452"/>
              <a:gd name="connsiteY787" fmla="*/ 919496 h 6863208"/>
              <a:gd name="connsiteX788" fmla="*/ 819004 w 8090452"/>
              <a:gd name="connsiteY788" fmla="*/ 920855 h 6863208"/>
              <a:gd name="connsiteX789" fmla="*/ 820363 w 8090452"/>
              <a:gd name="connsiteY789" fmla="*/ 924931 h 6863208"/>
              <a:gd name="connsiteX790" fmla="*/ 780958 w 8090452"/>
              <a:gd name="connsiteY790" fmla="*/ 904549 h 6863208"/>
              <a:gd name="connsiteX791" fmla="*/ 779847 w 8090452"/>
              <a:gd name="connsiteY791" fmla="*/ 901956 h 6863208"/>
              <a:gd name="connsiteX792" fmla="*/ 776881 w 8090452"/>
              <a:gd name="connsiteY792" fmla="*/ 895038 h 6863208"/>
              <a:gd name="connsiteX793" fmla="*/ 771446 w 8090452"/>
              <a:gd name="connsiteY793" fmla="*/ 897756 h 6863208"/>
              <a:gd name="connsiteX794" fmla="*/ 764652 w 8090452"/>
              <a:gd name="connsiteY794" fmla="*/ 893678 h 6863208"/>
              <a:gd name="connsiteX795" fmla="*/ 717094 w 8090452"/>
              <a:gd name="connsiteY795" fmla="*/ 851557 h 6863208"/>
              <a:gd name="connsiteX796" fmla="*/ 680407 w 8090452"/>
              <a:gd name="connsiteY796" fmla="*/ 793128 h 6863208"/>
              <a:gd name="connsiteX797" fmla="*/ 619261 w 8090452"/>
              <a:gd name="connsiteY797" fmla="*/ 702089 h 6863208"/>
              <a:gd name="connsiteX798" fmla="*/ 602955 w 8090452"/>
              <a:gd name="connsiteY798" fmla="*/ 639584 h 6863208"/>
              <a:gd name="connsiteX799" fmla="*/ 590726 w 8090452"/>
              <a:gd name="connsiteY799" fmla="*/ 608332 h 6863208"/>
              <a:gd name="connsiteX800" fmla="*/ 616543 w 8090452"/>
              <a:gd name="connsiteY800" fmla="*/ 598821 h 6863208"/>
              <a:gd name="connsiteX801" fmla="*/ 672255 w 8090452"/>
              <a:gd name="connsiteY801" fmla="*/ 597461 h 6863208"/>
              <a:gd name="connsiteX802" fmla="*/ 710301 w 8090452"/>
              <a:gd name="connsiteY802" fmla="*/ 638226 h 6863208"/>
              <a:gd name="connsiteX803" fmla="*/ 707583 w 8090452"/>
              <a:gd name="connsiteY803" fmla="*/ 665402 h 6863208"/>
              <a:gd name="connsiteX804" fmla="*/ 717094 w 8090452"/>
              <a:gd name="connsiteY804" fmla="*/ 707524 h 6863208"/>
              <a:gd name="connsiteX805" fmla="*/ 672254 w 8090452"/>
              <a:gd name="connsiteY805" fmla="*/ 638226 h 6863208"/>
              <a:gd name="connsiteX806" fmla="*/ 651872 w 8090452"/>
              <a:gd name="connsiteY806" fmla="*/ 609691 h 6863208"/>
              <a:gd name="connsiteX807" fmla="*/ 672255 w 8090452"/>
              <a:gd name="connsiteY807" fmla="*/ 597461 h 6863208"/>
              <a:gd name="connsiteX808" fmla="*/ 677690 w 8090452"/>
              <a:gd name="connsiteY808" fmla="*/ 592027 h 6863208"/>
              <a:gd name="connsiteX809" fmla="*/ 691277 w 8090452"/>
              <a:gd name="connsiteY809" fmla="*/ 608331 h 6863208"/>
              <a:gd name="connsiteX810" fmla="*/ 676331 w 8090452"/>
              <a:gd name="connsiteY810" fmla="*/ 593385 h 6863208"/>
              <a:gd name="connsiteX811" fmla="*/ 677690 w 8090452"/>
              <a:gd name="connsiteY811" fmla="*/ 592027 h 6863208"/>
              <a:gd name="connsiteX812" fmla="*/ 751065 w 8090452"/>
              <a:gd name="connsiteY812" fmla="*/ 562133 h 6863208"/>
              <a:gd name="connsiteX813" fmla="*/ 820363 w 8090452"/>
              <a:gd name="connsiteY813" fmla="*/ 639585 h 6863208"/>
              <a:gd name="connsiteX814" fmla="*/ 956242 w 8090452"/>
              <a:gd name="connsiteY814" fmla="*/ 799922 h 6863208"/>
              <a:gd name="connsiteX815" fmla="*/ 976625 w 8090452"/>
              <a:gd name="connsiteY815" fmla="*/ 817587 h 6863208"/>
              <a:gd name="connsiteX816" fmla="*/ 957601 w 8090452"/>
              <a:gd name="connsiteY816" fmla="*/ 806716 h 6863208"/>
              <a:gd name="connsiteX817" fmla="*/ 886944 w 8090452"/>
              <a:gd name="connsiteY817" fmla="*/ 752365 h 6863208"/>
              <a:gd name="connsiteX818" fmla="*/ 888303 w 8090452"/>
              <a:gd name="connsiteY818" fmla="*/ 751006 h 6863208"/>
              <a:gd name="connsiteX819" fmla="*/ 882867 w 8090452"/>
              <a:gd name="connsiteY819" fmla="*/ 748288 h 6863208"/>
              <a:gd name="connsiteX820" fmla="*/ 819004 w 8090452"/>
              <a:gd name="connsiteY820" fmla="*/ 684425 h 6863208"/>
              <a:gd name="connsiteX821" fmla="*/ 786393 w 8090452"/>
              <a:gd name="connsiteY821" fmla="*/ 649096 h 6863208"/>
              <a:gd name="connsiteX822" fmla="*/ 774164 w 8090452"/>
              <a:gd name="connsiteY822" fmla="*/ 634149 h 6863208"/>
              <a:gd name="connsiteX823" fmla="*/ 778240 w 8090452"/>
              <a:gd name="connsiteY823" fmla="*/ 621920 h 6863208"/>
              <a:gd name="connsiteX824" fmla="*/ 768729 w 8090452"/>
              <a:gd name="connsiteY824" fmla="*/ 623279 h 6863208"/>
              <a:gd name="connsiteX825" fmla="*/ 770087 w 8090452"/>
              <a:gd name="connsiteY825" fmla="*/ 627355 h 6863208"/>
              <a:gd name="connsiteX826" fmla="*/ 761934 w 8090452"/>
              <a:gd name="connsiteY826" fmla="*/ 619202 h 6863208"/>
              <a:gd name="connsiteX827" fmla="*/ 751065 w 8090452"/>
              <a:gd name="connsiteY827" fmla="*/ 562133 h 6863208"/>
              <a:gd name="connsiteX828" fmla="*/ 695354 w 8090452"/>
              <a:gd name="connsiteY828" fmla="*/ 411309 h 6863208"/>
              <a:gd name="connsiteX829" fmla="*/ 787752 w 8090452"/>
              <a:gd name="connsiteY829" fmla="*/ 449355 h 6863208"/>
              <a:gd name="connsiteX830" fmla="*/ 793187 w 8090452"/>
              <a:gd name="connsiteY830" fmla="*/ 495555 h 6863208"/>
              <a:gd name="connsiteX831" fmla="*/ 775523 w 8090452"/>
              <a:gd name="connsiteY831" fmla="*/ 491478 h 6863208"/>
              <a:gd name="connsiteX832" fmla="*/ 742912 w 8090452"/>
              <a:gd name="connsiteY832" fmla="*/ 439844 h 6863208"/>
              <a:gd name="connsiteX833" fmla="*/ 684483 w 8090452"/>
              <a:gd name="connsiteY833" fmla="*/ 416745 h 6863208"/>
              <a:gd name="connsiteX834" fmla="*/ 695354 w 8090452"/>
              <a:gd name="connsiteY834" fmla="*/ 411309 h 6863208"/>
              <a:gd name="connsiteX835" fmla="*/ 514217 w 8090452"/>
              <a:gd name="connsiteY835" fmla="*/ 407257 h 6863208"/>
              <a:gd name="connsiteX836" fmla="*/ 535865 w 8090452"/>
              <a:gd name="connsiteY836" fmla="*/ 409102 h 6863208"/>
              <a:gd name="connsiteX837" fmla="*/ 594803 w 8090452"/>
              <a:gd name="connsiteY837" fmla="*/ 433050 h 6863208"/>
              <a:gd name="connsiteX838" fmla="*/ 641001 w 8090452"/>
              <a:gd name="connsiteY838" fmla="*/ 473815 h 6863208"/>
              <a:gd name="connsiteX839" fmla="*/ 608391 w 8090452"/>
              <a:gd name="connsiteY839" fmla="*/ 468378 h 6863208"/>
              <a:gd name="connsiteX840" fmla="*/ 594803 w 8090452"/>
              <a:gd name="connsiteY840" fmla="*/ 449356 h 6863208"/>
              <a:gd name="connsiteX841" fmla="*/ 551321 w 8090452"/>
              <a:gd name="connsiteY841" fmla="*/ 443920 h 6863208"/>
              <a:gd name="connsiteX842" fmla="*/ 573062 w 8090452"/>
              <a:gd name="connsiteY842" fmla="*/ 433050 h 6863208"/>
              <a:gd name="connsiteX843" fmla="*/ 527202 w 8090452"/>
              <a:gd name="connsiteY843" fmla="*/ 422732 h 6863208"/>
              <a:gd name="connsiteX844" fmla="*/ 511916 w 8090452"/>
              <a:gd name="connsiteY844" fmla="*/ 404515 h 6863208"/>
              <a:gd name="connsiteX845" fmla="*/ 514217 w 8090452"/>
              <a:gd name="connsiteY845" fmla="*/ 407257 h 6863208"/>
              <a:gd name="connsiteX846" fmla="*/ 500750 w 8090452"/>
              <a:gd name="connsiteY846" fmla="*/ 406111 h 6863208"/>
              <a:gd name="connsiteX847" fmla="*/ 524314 w 8090452"/>
              <a:gd name="connsiteY847" fmla="*/ 344925 h 6863208"/>
              <a:gd name="connsiteX848" fmla="*/ 518709 w 8090452"/>
              <a:gd name="connsiteY848" fmla="*/ 348831 h 6863208"/>
              <a:gd name="connsiteX849" fmla="*/ 530939 w 8090452"/>
              <a:gd name="connsiteY849" fmla="*/ 350191 h 6863208"/>
              <a:gd name="connsiteX850" fmla="*/ 524314 w 8090452"/>
              <a:gd name="connsiteY850" fmla="*/ 344925 h 6863208"/>
              <a:gd name="connsiteX851" fmla="*/ 486099 w 8090452"/>
              <a:gd name="connsiteY851" fmla="*/ 329782 h 6863208"/>
              <a:gd name="connsiteX852" fmla="*/ 613825 w 8090452"/>
              <a:gd name="connsiteY852" fmla="*/ 375982 h 6863208"/>
              <a:gd name="connsiteX853" fmla="*/ 641002 w 8090452"/>
              <a:gd name="connsiteY853" fmla="*/ 435767 h 6863208"/>
              <a:gd name="connsiteX854" fmla="*/ 654590 w 8090452"/>
              <a:gd name="connsiteY854" fmla="*/ 479249 h 6863208"/>
              <a:gd name="connsiteX855" fmla="*/ 650513 w 8090452"/>
              <a:gd name="connsiteY855" fmla="*/ 477890 h 6863208"/>
              <a:gd name="connsiteX856" fmla="*/ 593444 w 8090452"/>
              <a:gd name="connsiteY856" fmla="*/ 423538 h 6863208"/>
              <a:gd name="connsiteX857" fmla="*/ 476587 w 8090452"/>
              <a:gd name="connsiteY857" fmla="*/ 390928 h 6863208"/>
              <a:gd name="connsiteX858" fmla="*/ 482022 w 8090452"/>
              <a:gd name="connsiteY858" fmla="*/ 404515 h 6863208"/>
              <a:gd name="connsiteX859" fmla="*/ 500750 w 8090452"/>
              <a:gd name="connsiteY859" fmla="*/ 406111 h 6863208"/>
              <a:gd name="connsiteX860" fmla="*/ 483381 w 8090452"/>
              <a:gd name="connsiteY860" fmla="*/ 408593 h 6863208"/>
              <a:gd name="connsiteX861" fmla="*/ 454847 w 8090452"/>
              <a:gd name="connsiteY861" fmla="*/ 404515 h 6863208"/>
              <a:gd name="connsiteX862" fmla="*/ 486099 w 8090452"/>
              <a:gd name="connsiteY862" fmla="*/ 329782 h 6863208"/>
              <a:gd name="connsiteX863" fmla="*/ 507840 w 8090452"/>
              <a:gd name="connsiteY863" fmla="*/ 269995 h 6863208"/>
              <a:gd name="connsiteX864" fmla="*/ 661384 w 8090452"/>
              <a:gd name="connsiteY864" fmla="*/ 322987 h 6863208"/>
              <a:gd name="connsiteX865" fmla="*/ 759217 w 8090452"/>
              <a:gd name="connsiteY865" fmla="*/ 355599 h 6863208"/>
              <a:gd name="connsiteX866" fmla="*/ 790470 w 8090452"/>
              <a:gd name="connsiteY866" fmla="*/ 356957 h 6863208"/>
              <a:gd name="connsiteX867" fmla="*/ 797264 w 8090452"/>
              <a:gd name="connsiteY867" fmla="*/ 363751 h 6863208"/>
              <a:gd name="connsiteX868" fmla="*/ 808134 w 8090452"/>
              <a:gd name="connsiteY868" fmla="*/ 437126 h 6863208"/>
              <a:gd name="connsiteX869" fmla="*/ 791828 w 8090452"/>
              <a:gd name="connsiteY869" fmla="*/ 442561 h 6863208"/>
              <a:gd name="connsiteX870" fmla="*/ 693995 w 8090452"/>
              <a:gd name="connsiteY870" fmla="*/ 401797 h 6863208"/>
              <a:gd name="connsiteX871" fmla="*/ 651872 w 8090452"/>
              <a:gd name="connsiteY871" fmla="*/ 373263 h 6863208"/>
              <a:gd name="connsiteX872" fmla="*/ 654590 w 8090452"/>
              <a:gd name="connsiteY872" fmla="*/ 384133 h 6863208"/>
              <a:gd name="connsiteX873" fmla="*/ 638285 w 8090452"/>
              <a:gd name="connsiteY873" fmla="*/ 375981 h 6863208"/>
              <a:gd name="connsiteX874" fmla="*/ 615185 w 8090452"/>
              <a:gd name="connsiteY874" fmla="*/ 366469 h 6863208"/>
              <a:gd name="connsiteX875" fmla="*/ 605673 w 8090452"/>
              <a:gd name="connsiteY875" fmla="*/ 359675 h 6863208"/>
              <a:gd name="connsiteX876" fmla="*/ 607032 w 8090452"/>
              <a:gd name="connsiteY876" fmla="*/ 352881 h 6863208"/>
              <a:gd name="connsiteX877" fmla="*/ 604314 w 8090452"/>
              <a:gd name="connsiteY877" fmla="*/ 361033 h 6863208"/>
              <a:gd name="connsiteX878" fmla="*/ 488817 w 8090452"/>
              <a:gd name="connsiteY878" fmla="*/ 318911 h 6863208"/>
              <a:gd name="connsiteX879" fmla="*/ 507840 w 8090452"/>
              <a:gd name="connsiteY879" fmla="*/ 269995 h 6863208"/>
              <a:gd name="connsiteX880" fmla="*/ 859768 w 8090452"/>
              <a:gd name="connsiteY880" fmla="*/ 230589 h 6863208"/>
              <a:gd name="connsiteX881" fmla="*/ 859767 w 8090452"/>
              <a:gd name="connsiteY881" fmla="*/ 244177 h 6863208"/>
              <a:gd name="connsiteX882" fmla="*/ 852974 w 8090452"/>
              <a:gd name="connsiteY882" fmla="*/ 291735 h 6863208"/>
              <a:gd name="connsiteX883" fmla="*/ 835309 w 8090452"/>
              <a:gd name="connsiteY883" fmla="*/ 268636 h 6863208"/>
              <a:gd name="connsiteX884" fmla="*/ 859768 w 8090452"/>
              <a:gd name="connsiteY884" fmla="*/ 230589 h 6863208"/>
              <a:gd name="connsiteX885" fmla="*/ 818532 w 8090452"/>
              <a:gd name="connsiteY885" fmla="*/ 130036 h 6863208"/>
              <a:gd name="connsiteX886" fmla="*/ 850256 w 8090452"/>
              <a:gd name="connsiteY886" fmla="*/ 136832 h 6863208"/>
              <a:gd name="connsiteX887" fmla="*/ 1020106 w 8090452"/>
              <a:gd name="connsiteY887" fmla="*/ 154497 h 6863208"/>
              <a:gd name="connsiteX888" fmla="*/ 1019191 w 8090452"/>
              <a:gd name="connsiteY888" fmla="*/ 151754 h 6863208"/>
              <a:gd name="connsiteX889" fmla="*/ 1020106 w 8090452"/>
              <a:gd name="connsiteY889" fmla="*/ 151779 h 6863208"/>
              <a:gd name="connsiteX890" fmla="*/ 1039129 w 8090452"/>
              <a:gd name="connsiteY890" fmla="*/ 189826 h 6863208"/>
              <a:gd name="connsiteX891" fmla="*/ 1052717 w 8090452"/>
              <a:gd name="connsiteY891" fmla="*/ 197978 h 6863208"/>
              <a:gd name="connsiteX892" fmla="*/ 1067664 w 8090452"/>
              <a:gd name="connsiteY892" fmla="*/ 250971 h 6863208"/>
              <a:gd name="connsiteX893" fmla="*/ 1063587 w 8090452"/>
              <a:gd name="connsiteY893" fmla="*/ 252330 h 6863208"/>
              <a:gd name="connsiteX894" fmla="*/ 1070381 w 8090452"/>
              <a:gd name="connsiteY894" fmla="*/ 256407 h 6863208"/>
              <a:gd name="connsiteX895" fmla="*/ 1105710 w 8090452"/>
              <a:gd name="connsiteY895" fmla="*/ 367828 h 6863208"/>
              <a:gd name="connsiteX896" fmla="*/ 1165496 w 8090452"/>
              <a:gd name="connsiteY896" fmla="*/ 433050 h 6863208"/>
              <a:gd name="connsiteX897" fmla="*/ 1162779 w 8090452"/>
              <a:gd name="connsiteY897" fmla="*/ 435767 h 6863208"/>
              <a:gd name="connsiteX898" fmla="*/ 1207619 w 8090452"/>
              <a:gd name="connsiteY898" fmla="*/ 548545 h 6863208"/>
              <a:gd name="connsiteX899" fmla="*/ 1238872 w 8090452"/>
              <a:gd name="connsiteY899" fmla="*/ 566209 h 6863208"/>
              <a:gd name="connsiteX900" fmla="*/ 1232078 w 8090452"/>
              <a:gd name="connsiteY900" fmla="*/ 578438 h 6863208"/>
              <a:gd name="connsiteX901" fmla="*/ 1244646 w 8090452"/>
              <a:gd name="connsiteY901" fmla="*/ 598821 h 6863208"/>
              <a:gd name="connsiteX902" fmla="*/ 1250508 w 8090452"/>
              <a:gd name="connsiteY902" fmla="*/ 617330 h 6863208"/>
              <a:gd name="connsiteX903" fmla="*/ 1226643 w 8090452"/>
              <a:gd name="connsiteY903" fmla="*/ 611050 h 6863208"/>
              <a:gd name="connsiteX904" fmla="*/ 1144488 w 8090452"/>
              <a:gd name="connsiteY904" fmla="*/ 583415 h 6863208"/>
              <a:gd name="connsiteX905" fmla="*/ 1075986 w 8090452"/>
              <a:gd name="connsiteY905" fmla="*/ 559585 h 6863208"/>
              <a:gd name="connsiteX906" fmla="*/ 924990 w 8090452"/>
              <a:gd name="connsiteY906" fmla="*/ 496914 h 6863208"/>
              <a:gd name="connsiteX907" fmla="*/ 847539 w 8090452"/>
              <a:gd name="connsiteY907" fmla="*/ 462944 h 6863208"/>
              <a:gd name="connsiteX908" fmla="*/ 814928 w 8090452"/>
              <a:gd name="connsiteY908" fmla="*/ 430333 h 6863208"/>
              <a:gd name="connsiteX909" fmla="*/ 828515 w 8090452"/>
              <a:gd name="connsiteY909" fmla="*/ 405874 h 6863208"/>
              <a:gd name="connsiteX910" fmla="*/ 850256 w 8090452"/>
              <a:gd name="connsiteY910" fmla="*/ 400439 h 6863208"/>
              <a:gd name="connsiteX911" fmla="*/ 865204 w 8090452"/>
              <a:gd name="connsiteY911" fmla="*/ 352881 h 6863208"/>
              <a:gd name="connsiteX912" fmla="*/ 857051 w 8090452"/>
              <a:gd name="connsiteY912" fmla="*/ 303965 h 6863208"/>
              <a:gd name="connsiteX913" fmla="*/ 866562 w 8090452"/>
              <a:gd name="connsiteY913" fmla="*/ 245536 h 6863208"/>
              <a:gd name="connsiteX914" fmla="*/ 862486 w 8090452"/>
              <a:gd name="connsiteY914" fmla="*/ 219719 h 6863208"/>
              <a:gd name="connsiteX915" fmla="*/ 866562 w 8090452"/>
              <a:gd name="connsiteY915" fmla="*/ 193901 h 6863208"/>
              <a:gd name="connsiteX916" fmla="*/ 843462 w 8090452"/>
              <a:gd name="connsiteY916" fmla="*/ 168085 h 6863208"/>
              <a:gd name="connsiteX917" fmla="*/ 791829 w 8090452"/>
              <a:gd name="connsiteY917" fmla="*/ 127321 h 6863208"/>
              <a:gd name="connsiteX918" fmla="*/ 810851 w 8090452"/>
              <a:gd name="connsiteY918" fmla="*/ 132756 h 6863208"/>
              <a:gd name="connsiteX919" fmla="*/ 833951 w 8090452"/>
              <a:gd name="connsiteY919" fmla="*/ 164009 h 6863208"/>
              <a:gd name="connsiteX920" fmla="*/ 819004 w 8090452"/>
              <a:gd name="connsiteY920" fmla="*/ 154496 h 6863208"/>
              <a:gd name="connsiteX921" fmla="*/ 799982 w 8090452"/>
              <a:gd name="connsiteY921" fmla="*/ 157215 h 6863208"/>
              <a:gd name="connsiteX922" fmla="*/ 791829 w 8090452"/>
              <a:gd name="connsiteY922" fmla="*/ 127321 h 6863208"/>
              <a:gd name="connsiteX923" fmla="*/ 779599 w 8090452"/>
              <a:gd name="connsiteY923" fmla="*/ 104222 h 6863208"/>
              <a:gd name="connsiteX924" fmla="*/ 802699 w 8090452"/>
              <a:gd name="connsiteY924" fmla="*/ 121885 h 6863208"/>
              <a:gd name="connsiteX925" fmla="*/ 789110 w 8090452"/>
              <a:gd name="connsiteY925" fmla="*/ 119168 h 6863208"/>
              <a:gd name="connsiteX926" fmla="*/ 779599 w 8090452"/>
              <a:gd name="connsiteY926" fmla="*/ 104222 h 6863208"/>
              <a:gd name="connsiteX927" fmla="*/ 590727 w 8090452"/>
              <a:gd name="connsiteY927" fmla="*/ 59382 h 6863208"/>
              <a:gd name="connsiteX928" fmla="*/ 680408 w 8090452"/>
              <a:gd name="connsiteY928" fmla="*/ 94710 h 6863208"/>
              <a:gd name="connsiteX929" fmla="*/ 683124 w 8090452"/>
              <a:gd name="connsiteY929" fmla="*/ 108298 h 6863208"/>
              <a:gd name="connsiteX930" fmla="*/ 706224 w 8090452"/>
              <a:gd name="connsiteY930" fmla="*/ 109657 h 6863208"/>
              <a:gd name="connsiteX931" fmla="*/ 674971 w 8090452"/>
              <a:gd name="connsiteY931" fmla="*/ 168085 h 6863208"/>
              <a:gd name="connsiteX932" fmla="*/ 710301 w 8090452"/>
              <a:gd name="connsiteY932" fmla="*/ 111015 h 6863208"/>
              <a:gd name="connsiteX933" fmla="*/ 718454 w 8090452"/>
              <a:gd name="connsiteY933" fmla="*/ 111015 h 6863208"/>
              <a:gd name="connsiteX934" fmla="*/ 721171 w 8090452"/>
              <a:gd name="connsiteY934" fmla="*/ 146344 h 6863208"/>
              <a:gd name="connsiteX935" fmla="*/ 782317 w 8090452"/>
              <a:gd name="connsiteY935" fmla="*/ 280865 h 6863208"/>
              <a:gd name="connsiteX936" fmla="*/ 776882 w 8090452"/>
              <a:gd name="connsiteY936" fmla="*/ 346087 h 6863208"/>
              <a:gd name="connsiteX937" fmla="*/ 753782 w 8090452"/>
              <a:gd name="connsiteY937" fmla="*/ 344728 h 6863208"/>
              <a:gd name="connsiteX938" fmla="*/ 658666 w 8090452"/>
              <a:gd name="connsiteY938" fmla="*/ 309400 h 6863208"/>
              <a:gd name="connsiteX939" fmla="*/ 514634 w 8090452"/>
              <a:gd name="connsiteY939" fmla="*/ 252330 h 6863208"/>
              <a:gd name="connsiteX940" fmla="*/ 528222 w 8090452"/>
              <a:gd name="connsiteY940" fmla="*/ 200696 h 6863208"/>
              <a:gd name="connsiteX941" fmla="*/ 535016 w 8090452"/>
              <a:gd name="connsiteY941" fmla="*/ 199337 h 6863208"/>
              <a:gd name="connsiteX942" fmla="*/ 537733 w 8090452"/>
              <a:gd name="connsiteY942" fmla="*/ 191185 h 6863208"/>
              <a:gd name="connsiteX943" fmla="*/ 532298 w 8090452"/>
              <a:gd name="connsiteY943" fmla="*/ 188467 h 6863208"/>
              <a:gd name="connsiteX944" fmla="*/ 539092 w 8090452"/>
              <a:gd name="connsiteY944" fmla="*/ 165367 h 6863208"/>
              <a:gd name="connsiteX945" fmla="*/ 574421 w 8090452"/>
              <a:gd name="connsiteY945" fmla="*/ 162650 h 6863208"/>
              <a:gd name="connsiteX946" fmla="*/ 590727 w 8090452"/>
              <a:gd name="connsiteY946" fmla="*/ 59382 h 6863208"/>
              <a:gd name="connsiteX947" fmla="*/ 1373675 w 8090452"/>
              <a:gd name="connsiteY947" fmla="*/ 0 h 6863208"/>
              <a:gd name="connsiteX948" fmla="*/ 8090452 w 8090452"/>
              <a:gd name="connsiteY948" fmla="*/ 0 h 6863208"/>
              <a:gd name="connsiteX949" fmla="*/ 8090452 w 8090452"/>
              <a:gd name="connsiteY949" fmla="*/ 6863208 h 6863208"/>
              <a:gd name="connsiteX950" fmla="*/ 0 w 8090452"/>
              <a:gd name="connsiteY950" fmla="*/ 6863208 h 6863208"/>
              <a:gd name="connsiteX951" fmla="*/ 0 w 8090452"/>
              <a:gd name="connsiteY951" fmla="*/ 1585551 h 6863208"/>
              <a:gd name="connsiteX952" fmla="*/ 1178 w 8090452"/>
              <a:gd name="connsiteY952" fmla="*/ 1586154 h 6863208"/>
              <a:gd name="connsiteX953" fmla="*/ 5085 w 8090452"/>
              <a:gd name="connsiteY953" fmla="*/ 1590740 h 6863208"/>
              <a:gd name="connsiteX954" fmla="*/ 9162 w 8090452"/>
              <a:gd name="connsiteY954" fmla="*/ 1581229 h 6863208"/>
              <a:gd name="connsiteX955" fmla="*/ 2197 w 8090452"/>
              <a:gd name="connsiteY955" fmla="*/ 1583437 h 6863208"/>
              <a:gd name="connsiteX956" fmla="*/ 0 w 8090452"/>
              <a:gd name="connsiteY956" fmla="*/ 1583203 h 6863208"/>
              <a:gd name="connsiteX957" fmla="*/ 0 w 8090452"/>
              <a:gd name="connsiteY957" fmla="*/ 1471498 h 6863208"/>
              <a:gd name="connsiteX958" fmla="*/ 3217 w 8090452"/>
              <a:gd name="connsiteY958" fmla="*/ 1477791 h 6863208"/>
              <a:gd name="connsiteX959" fmla="*/ 28185 w 8090452"/>
              <a:gd name="connsiteY959" fmla="*/ 1483397 h 6863208"/>
              <a:gd name="connsiteX960" fmla="*/ 32262 w 8090452"/>
              <a:gd name="connsiteY960" fmla="*/ 1490190 h 6863208"/>
              <a:gd name="connsiteX961" fmla="*/ 47208 w 8090452"/>
              <a:gd name="connsiteY961" fmla="*/ 1477961 h 6863208"/>
              <a:gd name="connsiteX962" fmla="*/ 49926 w 8090452"/>
              <a:gd name="connsiteY962" fmla="*/ 1467091 h 6863208"/>
              <a:gd name="connsiteX963" fmla="*/ 48567 w 8090452"/>
              <a:gd name="connsiteY963" fmla="*/ 1454862 h 6863208"/>
              <a:gd name="connsiteX964" fmla="*/ 39055 w 8090452"/>
              <a:gd name="connsiteY964" fmla="*/ 1448068 h 6863208"/>
              <a:gd name="connsiteX965" fmla="*/ 40414 w 8090452"/>
              <a:gd name="connsiteY965" fmla="*/ 1441274 h 6863208"/>
              <a:gd name="connsiteX966" fmla="*/ 33620 w 8090452"/>
              <a:gd name="connsiteY966" fmla="*/ 1437197 h 6863208"/>
              <a:gd name="connsiteX967" fmla="*/ 24109 w 8090452"/>
              <a:gd name="connsiteY967" fmla="*/ 1438556 h 6863208"/>
              <a:gd name="connsiteX968" fmla="*/ 21391 w 8090452"/>
              <a:gd name="connsiteY968" fmla="*/ 1430404 h 6863208"/>
              <a:gd name="connsiteX969" fmla="*/ 10520 w 8090452"/>
              <a:gd name="connsiteY969" fmla="*/ 1430404 h 6863208"/>
              <a:gd name="connsiteX970" fmla="*/ 6954 w 8090452"/>
              <a:gd name="connsiteY970" fmla="*/ 1437367 h 6863208"/>
              <a:gd name="connsiteX971" fmla="*/ 0 w 8090452"/>
              <a:gd name="connsiteY971" fmla="*/ 1437231 h 6863208"/>
              <a:gd name="connsiteX972" fmla="*/ 0 w 8090452"/>
              <a:gd name="connsiteY972" fmla="*/ 1186711 h 6863208"/>
              <a:gd name="connsiteX973" fmla="*/ 52642 w 8090452"/>
              <a:gd name="connsiteY973" fmla="*/ 1293165 h 6863208"/>
              <a:gd name="connsiteX974" fmla="*/ 63513 w 8090452"/>
              <a:gd name="connsiteY974" fmla="*/ 1363823 h 6863208"/>
              <a:gd name="connsiteX975" fmla="*/ 94765 w 8090452"/>
              <a:gd name="connsiteY975" fmla="*/ 1520085 h 6863208"/>
              <a:gd name="connsiteX976" fmla="*/ 94596 w 8090452"/>
              <a:gd name="connsiteY976" fmla="*/ 1661229 h 6863208"/>
              <a:gd name="connsiteX977" fmla="*/ 74488 w 8090452"/>
              <a:gd name="connsiteY977" fmla="*/ 1758302 h 6863208"/>
              <a:gd name="connsiteX978" fmla="*/ 61305 w 8090452"/>
              <a:gd name="connsiteY978" fmla="*/ 1748530 h 6863208"/>
              <a:gd name="connsiteX979" fmla="*/ 45849 w 8090452"/>
              <a:gd name="connsiteY979" fmla="*/ 1742925 h 6863208"/>
              <a:gd name="connsiteX980" fmla="*/ 61304 w 8090452"/>
              <a:gd name="connsiteY980" fmla="*/ 1753626 h 6863208"/>
              <a:gd name="connsiteX981" fmla="*/ 74404 w 8090452"/>
              <a:gd name="connsiteY981" fmla="*/ 1758711 h 6863208"/>
              <a:gd name="connsiteX982" fmla="*/ 70500 w 8090452"/>
              <a:gd name="connsiteY982" fmla="*/ 1777558 h 6863208"/>
              <a:gd name="connsiteX983" fmla="*/ 67083 w 8090452"/>
              <a:gd name="connsiteY983" fmla="*/ 1778136 h 6863208"/>
              <a:gd name="connsiteX984" fmla="*/ 70307 w 8090452"/>
              <a:gd name="connsiteY984" fmla="*/ 1778255 h 6863208"/>
              <a:gd name="connsiteX985" fmla="*/ 70362 w 8090452"/>
              <a:gd name="connsiteY985" fmla="*/ 1778224 h 6863208"/>
              <a:gd name="connsiteX986" fmla="*/ 68948 w 8090452"/>
              <a:gd name="connsiteY986" fmla="*/ 1785049 h 6863208"/>
              <a:gd name="connsiteX987" fmla="*/ 70569 w 8090452"/>
              <a:gd name="connsiteY987" fmla="*/ 1778109 h 6863208"/>
              <a:gd name="connsiteX988" fmla="*/ 72027 w 8090452"/>
              <a:gd name="connsiteY988" fmla="*/ 1777300 h 6863208"/>
              <a:gd name="connsiteX989" fmla="*/ 70705 w 8090452"/>
              <a:gd name="connsiteY989" fmla="*/ 1777523 h 6863208"/>
              <a:gd name="connsiteX990" fmla="*/ 75042 w 8090452"/>
              <a:gd name="connsiteY990" fmla="*/ 1758959 h 6863208"/>
              <a:gd name="connsiteX991" fmla="*/ 75742 w 8090452"/>
              <a:gd name="connsiteY991" fmla="*/ 1759231 h 6863208"/>
              <a:gd name="connsiteX992" fmla="*/ 75092 w 8090452"/>
              <a:gd name="connsiteY992" fmla="*/ 1758749 h 6863208"/>
              <a:gd name="connsiteX993" fmla="*/ 97313 w 8090452"/>
              <a:gd name="connsiteY993" fmla="*/ 1663607 h 6863208"/>
              <a:gd name="connsiteX994" fmla="*/ 100200 w 8090452"/>
              <a:gd name="connsiteY994" fmla="*/ 1522802 h 6863208"/>
              <a:gd name="connsiteX995" fmla="*/ 71666 w 8090452"/>
              <a:gd name="connsiteY995" fmla="*/ 1366541 h 6863208"/>
              <a:gd name="connsiteX996" fmla="*/ 63514 w 8090452"/>
              <a:gd name="connsiteY996" fmla="*/ 1309471 h 6863208"/>
              <a:gd name="connsiteX997" fmla="*/ 119224 w 8090452"/>
              <a:gd name="connsiteY997" fmla="*/ 1395075 h 6863208"/>
              <a:gd name="connsiteX998" fmla="*/ 111071 w 8090452"/>
              <a:gd name="connsiteY998" fmla="*/ 1530955 h 6863208"/>
              <a:gd name="connsiteX999" fmla="*/ 157270 w 8090452"/>
              <a:gd name="connsiteY999" fmla="*/ 1857065 h 6863208"/>
              <a:gd name="connsiteX1000" fmla="*/ 115147 w 8090452"/>
              <a:gd name="connsiteY1000" fmla="*/ 1532314 h 6863208"/>
              <a:gd name="connsiteX1001" fmla="*/ 124659 w 8090452"/>
              <a:gd name="connsiteY1001" fmla="*/ 1400511 h 6863208"/>
              <a:gd name="connsiteX1002" fmla="*/ 200751 w 8090452"/>
              <a:gd name="connsiteY1002" fmla="*/ 1517367 h 6863208"/>
              <a:gd name="connsiteX1003" fmla="*/ 214339 w 8090452"/>
              <a:gd name="connsiteY1003" fmla="*/ 1539107 h 6863208"/>
              <a:gd name="connsiteX1004" fmla="*/ 244233 w 8090452"/>
              <a:gd name="connsiteY1004" fmla="*/ 1694010 h 6863208"/>
              <a:gd name="connsiteX1005" fmla="*/ 218416 w 8090452"/>
              <a:gd name="connsiteY1005" fmla="*/ 1545902 h 6863208"/>
              <a:gd name="connsiteX1006" fmla="*/ 264615 w 8090452"/>
              <a:gd name="connsiteY1006" fmla="*/ 1641017 h 6863208"/>
              <a:gd name="connsiteX1007" fmla="*/ 327119 w 8090452"/>
              <a:gd name="connsiteY1007" fmla="*/ 1880165 h 6863208"/>
              <a:gd name="connsiteX1008" fmla="*/ 348860 w 8090452"/>
              <a:gd name="connsiteY1008" fmla="*/ 2105725 h 6863208"/>
              <a:gd name="connsiteX1009" fmla="*/ 381472 w 8090452"/>
              <a:gd name="connsiteY1009" fmla="*/ 2336722 h 6863208"/>
              <a:gd name="connsiteX1010" fmla="*/ 473870 w 8090452"/>
              <a:gd name="connsiteY1010" fmla="*/ 2581305 h 6863208"/>
              <a:gd name="connsiteX1011" fmla="*/ 382829 w 8090452"/>
              <a:gd name="connsiteY1011" fmla="*/ 2338079 h 6863208"/>
              <a:gd name="connsiteX1012" fmla="*/ 352937 w 8090452"/>
              <a:gd name="connsiteY1012" fmla="*/ 2109802 h 6863208"/>
              <a:gd name="connsiteX1013" fmla="*/ 272768 w 8090452"/>
              <a:gd name="connsiteY1013" fmla="*/ 1643735 h 6863208"/>
              <a:gd name="connsiteX1014" fmla="*/ 271409 w 8090452"/>
              <a:gd name="connsiteY1014" fmla="*/ 1639658 h 6863208"/>
              <a:gd name="connsiteX1015" fmla="*/ 280920 w 8090452"/>
              <a:gd name="connsiteY1015" fmla="*/ 1654605 h 6863208"/>
              <a:gd name="connsiteX1016" fmla="*/ 384189 w 8090452"/>
              <a:gd name="connsiteY1016" fmla="*/ 1776897 h 6863208"/>
              <a:gd name="connsiteX1017" fmla="*/ 282279 w 8090452"/>
              <a:gd name="connsiteY1017" fmla="*/ 1653246 h 6863208"/>
              <a:gd name="connsiteX1018" fmla="*/ 265974 w 8090452"/>
              <a:gd name="connsiteY1018" fmla="*/ 1626070 h 6863208"/>
              <a:gd name="connsiteX1019" fmla="*/ 246950 w 8090452"/>
              <a:gd name="connsiteY1019" fmla="*/ 1582589 h 6863208"/>
              <a:gd name="connsiteX1020" fmla="*/ 225210 w 8090452"/>
              <a:gd name="connsiteY1020" fmla="*/ 1506496 h 6863208"/>
              <a:gd name="connsiteX1021" fmla="*/ 211622 w 8090452"/>
              <a:gd name="connsiteY1021" fmla="*/ 1397793 h 6863208"/>
              <a:gd name="connsiteX1022" fmla="*/ 218416 w 8090452"/>
              <a:gd name="connsiteY1022" fmla="*/ 1325777 h 6863208"/>
              <a:gd name="connsiteX1023" fmla="*/ 215698 w 8090452"/>
              <a:gd name="connsiteY1023" fmla="*/ 1203485 h 6863208"/>
              <a:gd name="connsiteX1024" fmla="*/ 183087 w 8090452"/>
              <a:gd name="connsiteY1024" fmla="*/ 1119239 h 6863208"/>
              <a:gd name="connsiteX1025" fmla="*/ 184446 w 8090452"/>
              <a:gd name="connsiteY1025" fmla="*/ 1117880 h 6863208"/>
              <a:gd name="connsiteX1026" fmla="*/ 173576 w 8090452"/>
              <a:gd name="connsiteY1026" fmla="*/ 1101575 h 6863208"/>
              <a:gd name="connsiteX1027" fmla="*/ 151835 w 8090452"/>
              <a:gd name="connsiteY1027" fmla="*/ 1066246 h 6863208"/>
              <a:gd name="connsiteX1028" fmla="*/ 123301 w 8090452"/>
              <a:gd name="connsiteY1028" fmla="*/ 1021406 h 6863208"/>
              <a:gd name="connsiteX1029" fmla="*/ 116506 w 8090452"/>
              <a:gd name="connsiteY1029" fmla="*/ 979283 h 6863208"/>
              <a:gd name="connsiteX1030" fmla="*/ 121942 w 8090452"/>
              <a:gd name="connsiteY1030" fmla="*/ 1001024 h 6863208"/>
              <a:gd name="connsiteX1031" fmla="*/ 203469 w 8090452"/>
              <a:gd name="connsiteY1031" fmla="*/ 1104292 h 6863208"/>
              <a:gd name="connsiteX1032" fmla="*/ 217058 w 8090452"/>
              <a:gd name="connsiteY1032" fmla="*/ 1096140 h 6863208"/>
              <a:gd name="connsiteX1033" fmla="*/ 230985 w 8090452"/>
              <a:gd name="connsiteY1033" fmla="*/ 1129430 h 6863208"/>
              <a:gd name="connsiteX1034" fmla="*/ 259180 w 8090452"/>
              <a:gd name="connsiteY1034" fmla="*/ 1170873 h 6863208"/>
              <a:gd name="connsiteX1035" fmla="*/ 253745 w 8090452"/>
              <a:gd name="connsiteY1035" fmla="*/ 1168156 h 6863208"/>
              <a:gd name="connsiteX1036" fmla="*/ 253746 w 8090452"/>
              <a:gd name="connsiteY1036" fmla="*/ 1170873 h 6863208"/>
              <a:gd name="connsiteX1037" fmla="*/ 256462 w 8090452"/>
              <a:gd name="connsiteY1037" fmla="*/ 1172911 h 6863208"/>
              <a:gd name="connsiteX1038" fmla="*/ 259181 w 8090452"/>
              <a:gd name="connsiteY1038" fmla="*/ 1170873 h 6863208"/>
              <a:gd name="connsiteX1039" fmla="*/ 395060 w 8090452"/>
              <a:gd name="connsiteY1039" fmla="*/ 1200767 h 6863208"/>
              <a:gd name="connsiteX1040" fmla="*/ 491534 w 8090452"/>
              <a:gd name="connsiteY1040" fmla="*/ 1136903 h 6863208"/>
              <a:gd name="connsiteX1041" fmla="*/ 511916 w 8090452"/>
              <a:gd name="connsiteY1041" fmla="*/ 1089345 h 6863208"/>
              <a:gd name="connsiteX1042" fmla="*/ 612467 w 8090452"/>
              <a:gd name="connsiteY1042" fmla="*/ 994230 h 6863208"/>
              <a:gd name="connsiteX1043" fmla="*/ 548604 w 8090452"/>
              <a:gd name="connsiteY1043" fmla="*/ 984718 h 6863208"/>
              <a:gd name="connsiteX1044" fmla="*/ 492894 w 8090452"/>
              <a:gd name="connsiteY1044" fmla="*/ 1002383 h 6863208"/>
              <a:gd name="connsiteX1045" fmla="*/ 467076 w 8090452"/>
              <a:gd name="connsiteY1045" fmla="*/ 1049940 h 6863208"/>
              <a:gd name="connsiteX1046" fmla="*/ 414083 w 8090452"/>
              <a:gd name="connsiteY1046" fmla="*/ 1064887 h 6863208"/>
              <a:gd name="connsiteX1047" fmla="*/ 363808 w 8090452"/>
              <a:gd name="connsiteY1047" fmla="*/ 1052659 h 6863208"/>
              <a:gd name="connsiteX1048" fmla="*/ 366526 w 8090452"/>
              <a:gd name="connsiteY1048" fmla="*/ 1011894 h 6863208"/>
              <a:gd name="connsiteX1049" fmla="*/ 350220 w 8090452"/>
              <a:gd name="connsiteY1049" fmla="*/ 995588 h 6863208"/>
              <a:gd name="connsiteX1050" fmla="*/ 352937 w 8090452"/>
              <a:gd name="connsiteY1050" fmla="*/ 930367 h 6863208"/>
              <a:gd name="connsiteX1051" fmla="*/ 336631 w 8090452"/>
              <a:gd name="connsiteY1051" fmla="*/ 919496 h 6863208"/>
              <a:gd name="connsiteX1052" fmla="*/ 352937 w 8090452"/>
              <a:gd name="connsiteY1052" fmla="*/ 818945 h 6863208"/>
              <a:gd name="connsiteX1053" fmla="*/ 355655 w 8090452"/>
              <a:gd name="connsiteY1053" fmla="*/ 737418 h 6863208"/>
              <a:gd name="connsiteX1054" fmla="*/ 310814 w 8090452"/>
              <a:gd name="connsiteY1054" fmla="*/ 698012 h 6863208"/>
              <a:gd name="connsiteX1055" fmla="*/ 310814 w 8090452"/>
              <a:gd name="connsiteY1055" fmla="*/ 670837 h 6863208"/>
              <a:gd name="connsiteX1056" fmla="*/ 305379 w 8090452"/>
              <a:gd name="connsiteY1056" fmla="*/ 670837 h 6863208"/>
              <a:gd name="connsiteX1057" fmla="*/ 299945 w 8090452"/>
              <a:gd name="connsiteY1057" fmla="*/ 649096 h 6863208"/>
              <a:gd name="connsiteX1058" fmla="*/ 302662 w 8090452"/>
              <a:gd name="connsiteY1058" fmla="*/ 646378 h 6863208"/>
              <a:gd name="connsiteX1059" fmla="*/ 450770 w 8090452"/>
              <a:gd name="connsiteY1059" fmla="*/ 625996 h 6863208"/>
              <a:gd name="connsiteX1060" fmla="*/ 475229 w 8090452"/>
              <a:gd name="connsiteY1060" fmla="*/ 650454 h 6863208"/>
              <a:gd name="connsiteX1061" fmla="*/ 533657 w 8090452"/>
              <a:gd name="connsiteY1061" fmla="*/ 687142 h 6863208"/>
              <a:gd name="connsiteX1062" fmla="*/ 601597 w 8090452"/>
              <a:gd name="connsiteY1062" fmla="*/ 784976 h 6863208"/>
              <a:gd name="connsiteX1063" fmla="*/ 600238 w 8090452"/>
              <a:gd name="connsiteY1063" fmla="*/ 786335 h 6863208"/>
              <a:gd name="connsiteX1064" fmla="*/ 605673 w 8090452"/>
              <a:gd name="connsiteY1064" fmla="*/ 789051 h 6863208"/>
              <a:gd name="connsiteX1065" fmla="*/ 609749 w 8090452"/>
              <a:gd name="connsiteY1065" fmla="*/ 793128 h 6863208"/>
              <a:gd name="connsiteX1066" fmla="*/ 670895 w 8090452"/>
              <a:gd name="connsiteY1066" fmla="*/ 856992 h 6863208"/>
              <a:gd name="connsiteX1067" fmla="*/ 714376 w 8090452"/>
              <a:gd name="connsiteY1067" fmla="*/ 952107 h 6863208"/>
              <a:gd name="connsiteX1068" fmla="*/ 821722 w 8090452"/>
              <a:gd name="connsiteY1068" fmla="*/ 1089345 h 6863208"/>
              <a:gd name="connsiteX1069" fmla="*/ 852973 w 8090452"/>
              <a:gd name="connsiteY1069" fmla="*/ 1117880 h 6863208"/>
              <a:gd name="connsiteX1070" fmla="*/ 851718 w 8090452"/>
              <a:gd name="connsiteY1070" fmla="*/ 1114897 h 6863208"/>
              <a:gd name="connsiteX1071" fmla="*/ 858409 w 8090452"/>
              <a:gd name="connsiteY1071" fmla="*/ 1120597 h 6863208"/>
              <a:gd name="connsiteX1072" fmla="*/ 918196 w 8090452"/>
              <a:gd name="connsiteY1072" fmla="*/ 1226584 h 6863208"/>
              <a:gd name="connsiteX1073" fmla="*/ 1039129 w 8090452"/>
              <a:gd name="connsiteY1073" fmla="*/ 1358387 h 6863208"/>
              <a:gd name="connsiteX1074" fmla="*/ 1297300 w 8090452"/>
              <a:gd name="connsiteY1074" fmla="*/ 1491549 h 6863208"/>
              <a:gd name="connsiteX1075" fmla="*/ 1039129 w 8090452"/>
              <a:gd name="connsiteY1075" fmla="*/ 1352952 h 6863208"/>
              <a:gd name="connsiteX1076" fmla="*/ 922273 w 8090452"/>
              <a:gd name="connsiteY1076" fmla="*/ 1222508 h 6863208"/>
              <a:gd name="connsiteX1077" fmla="*/ 870638 w 8090452"/>
              <a:gd name="connsiteY1077" fmla="*/ 1130109 h 6863208"/>
              <a:gd name="connsiteX1078" fmla="*/ 879124 w 8090452"/>
              <a:gd name="connsiteY1078" fmla="*/ 1135452 h 6863208"/>
              <a:gd name="connsiteX1079" fmla="*/ 905458 w 8090452"/>
              <a:gd name="connsiteY1079" fmla="*/ 1154398 h 6863208"/>
              <a:gd name="connsiteX1080" fmla="*/ 944014 w 8090452"/>
              <a:gd name="connsiteY1080" fmla="*/ 1176308 h 6863208"/>
              <a:gd name="connsiteX1081" fmla="*/ 949448 w 8090452"/>
              <a:gd name="connsiteY1081" fmla="*/ 1179026 h 6863208"/>
              <a:gd name="connsiteX1082" fmla="*/ 980700 w 8090452"/>
              <a:gd name="connsiteY1082" fmla="*/ 1218431 h 6863208"/>
              <a:gd name="connsiteX1083" fmla="*/ 1215772 w 8090452"/>
              <a:gd name="connsiteY1083" fmla="*/ 1426326 h 6863208"/>
              <a:gd name="connsiteX1084" fmla="*/ 982059 w 8090452"/>
              <a:gd name="connsiteY1084" fmla="*/ 1214354 h 6863208"/>
              <a:gd name="connsiteX1085" fmla="*/ 957601 w 8090452"/>
              <a:gd name="connsiteY1085" fmla="*/ 1181743 h 6863208"/>
              <a:gd name="connsiteX1086" fmla="*/ 1183161 w 8090452"/>
              <a:gd name="connsiteY1086" fmla="*/ 1249683 h 6863208"/>
              <a:gd name="connsiteX1087" fmla="*/ 956242 w 8090452"/>
              <a:gd name="connsiteY1087" fmla="*/ 1177667 h 6863208"/>
              <a:gd name="connsiteX1088" fmla="*/ 892379 w 8090452"/>
              <a:gd name="connsiteY1088" fmla="*/ 1073040 h 6863208"/>
              <a:gd name="connsiteX1089" fmla="*/ 876073 w 8090452"/>
              <a:gd name="connsiteY1089" fmla="*/ 1037711 h 6863208"/>
              <a:gd name="connsiteX1090" fmla="*/ 983418 w 8090452"/>
              <a:gd name="connsiteY1090" fmla="*/ 1093422 h 6863208"/>
              <a:gd name="connsiteX1091" fmla="*/ 1030976 w 8090452"/>
              <a:gd name="connsiteY1091" fmla="*/ 1113804 h 6863208"/>
              <a:gd name="connsiteX1092" fmla="*/ 1045923 w 8090452"/>
              <a:gd name="connsiteY1092" fmla="*/ 1126033 h 6863208"/>
              <a:gd name="connsiteX1093" fmla="*/ 1056793 w 8090452"/>
              <a:gd name="connsiteY1093" fmla="*/ 1134186 h 6863208"/>
              <a:gd name="connsiteX1094" fmla="*/ 1063252 w 8090452"/>
              <a:gd name="connsiteY1094" fmla="*/ 1139159 h 6863208"/>
              <a:gd name="connsiteX1095" fmla="*/ 1073099 w 8090452"/>
              <a:gd name="connsiteY1095" fmla="*/ 1147774 h 6863208"/>
              <a:gd name="connsiteX1096" fmla="*/ 1078775 w 8090452"/>
              <a:gd name="connsiteY1096" fmla="*/ 1151108 h 6863208"/>
              <a:gd name="connsiteX1097" fmla="*/ 1151230 w 8090452"/>
              <a:gd name="connsiteY1097" fmla="*/ 1206882 h 6863208"/>
              <a:gd name="connsiteX1098" fmla="*/ 1245666 w 8090452"/>
              <a:gd name="connsiteY1098" fmla="*/ 1263272 h 6863208"/>
              <a:gd name="connsiteX1099" fmla="*/ 1163799 w 8090452"/>
              <a:gd name="connsiteY1099" fmla="*/ 1213336 h 6863208"/>
              <a:gd name="connsiteX1100" fmla="*/ 1089688 w 8090452"/>
              <a:gd name="connsiteY1100" fmla="*/ 1157517 h 6863208"/>
              <a:gd name="connsiteX1101" fmla="*/ 1137301 w 8090452"/>
              <a:gd name="connsiteY1101" fmla="*/ 1185481 h 6863208"/>
              <a:gd name="connsiteX1102" fmla="*/ 1203543 w 8090452"/>
              <a:gd name="connsiteY1102" fmla="*/ 1212996 h 6863208"/>
              <a:gd name="connsiteX1103" fmla="*/ 1194445 w 8090452"/>
              <a:gd name="connsiteY1103" fmla="*/ 1207165 h 6863208"/>
              <a:gd name="connsiteX1104" fmla="*/ 1204902 w 8090452"/>
              <a:gd name="connsiteY1104" fmla="*/ 1211637 h 6863208"/>
              <a:gd name="connsiteX1105" fmla="*/ 1313605 w 8090452"/>
              <a:gd name="connsiteY1105" fmla="*/ 1301318 h 6863208"/>
              <a:gd name="connsiteX1106" fmla="*/ 1482096 w 8090452"/>
              <a:gd name="connsiteY1106" fmla="*/ 1412739 h 6863208"/>
              <a:gd name="connsiteX1107" fmla="*/ 1645152 w 8090452"/>
              <a:gd name="connsiteY1107" fmla="*/ 1467092 h 6863208"/>
              <a:gd name="connsiteX1108" fmla="*/ 1482096 w 8090452"/>
              <a:gd name="connsiteY1108" fmla="*/ 1407303 h 6863208"/>
              <a:gd name="connsiteX1109" fmla="*/ 1314965 w 8090452"/>
              <a:gd name="connsiteY1109" fmla="*/ 1294524 h 6863208"/>
              <a:gd name="connsiteX1110" fmla="*/ 1223925 w 8090452"/>
              <a:gd name="connsiteY1110" fmla="*/ 1217072 h 6863208"/>
              <a:gd name="connsiteX1111" fmla="*/ 1228001 w 8090452"/>
              <a:gd name="connsiteY1111" fmla="*/ 1218431 h 6863208"/>
              <a:gd name="connsiteX1112" fmla="*/ 1317683 w 8090452"/>
              <a:gd name="connsiteY1112" fmla="*/ 1278218 h 6863208"/>
              <a:gd name="connsiteX1113" fmla="*/ 1454921 w 8090452"/>
              <a:gd name="connsiteY1113" fmla="*/ 1336646 h 6863208"/>
              <a:gd name="connsiteX1114" fmla="*/ 1316323 w 8090452"/>
              <a:gd name="connsiteY1114" fmla="*/ 1274141 h 6863208"/>
              <a:gd name="connsiteX1115" fmla="*/ 1237513 w 8090452"/>
              <a:gd name="connsiteY1115" fmla="*/ 1222507 h 6863208"/>
              <a:gd name="connsiteX1116" fmla="*/ 1286429 w 8090452"/>
              <a:gd name="connsiteY1116" fmla="*/ 1238813 h 6863208"/>
              <a:gd name="connsiteX1117" fmla="*/ 1236155 w 8090452"/>
              <a:gd name="connsiteY1117" fmla="*/ 1221149 h 6863208"/>
              <a:gd name="connsiteX1118" fmla="*/ 1180444 w 8090452"/>
              <a:gd name="connsiteY1118" fmla="*/ 1168156 h 6863208"/>
              <a:gd name="connsiteX1119" fmla="*/ 1123374 w 8090452"/>
              <a:gd name="connsiteY1119" fmla="*/ 1089345 h 6863208"/>
              <a:gd name="connsiteX1120" fmla="*/ 1056793 w 8090452"/>
              <a:gd name="connsiteY1120" fmla="*/ 1020047 h 6863208"/>
              <a:gd name="connsiteX1121" fmla="*/ 989702 w 8090452"/>
              <a:gd name="connsiteY1121" fmla="*/ 975037 h 6863208"/>
              <a:gd name="connsiteX1122" fmla="*/ 924091 w 8090452"/>
              <a:gd name="connsiteY1122" fmla="*/ 933377 h 6863208"/>
              <a:gd name="connsiteX1123" fmla="*/ 1009236 w 8090452"/>
              <a:gd name="connsiteY1123" fmla="*/ 920855 h 6863208"/>
              <a:gd name="connsiteX1124" fmla="*/ 1008851 w 8090452"/>
              <a:gd name="connsiteY1124" fmla="*/ 920552 h 6863208"/>
              <a:gd name="connsiteX1125" fmla="*/ 1015651 w 8090452"/>
              <a:gd name="connsiteY1125" fmla="*/ 919552 h 6863208"/>
              <a:gd name="connsiteX1126" fmla="*/ 1017389 w 8090452"/>
              <a:gd name="connsiteY1126" fmla="*/ 920855 h 6863208"/>
              <a:gd name="connsiteX1127" fmla="*/ 1018068 w 8090452"/>
              <a:gd name="connsiteY1127" fmla="*/ 920855 h 6863208"/>
              <a:gd name="connsiteX1128" fmla="*/ 1025813 w 8090452"/>
              <a:gd name="connsiteY1128" fmla="*/ 926018 h 6863208"/>
              <a:gd name="connsiteX1129" fmla="*/ 1022823 w 8090452"/>
              <a:gd name="connsiteY1129" fmla="*/ 926289 h 6863208"/>
              <a:gd name="connsiteX1130" fmla="*/ 1238871 w 8090452"/>
              <a:gd name="connsiteY1130" fmla="*/ 1052658 h 6863208"/>
              <a:gd name="connsiteX1131" fmla="*/ 1357087 w 8090452"/>
              <a:gd name="connsiteY1131" fmla="*/ 1089345 h 6863208"/>
              <a:gd name="connsiteX1132" fmla="*/ 1347333 w 8090452"/>
              <a:gd name="connsiteY1132" fmla="*/ 1080811 h 6863208"/>
              <a:gd name="connsiteX1133" fmla="*/ 1351736 w 8090452"/>
              <a:gd name="connsiteY1133" fmla="*/ 1081906 h 6863208"/>
              <a:gd name="connsiteX1134" fmla="*/ 1361163 w 8090452"/>
              <a:gd name="connsiteY1134" fmla="*/ 1090704 h 6863208"/>
              <a:gd name="connsiteX1135" fmla="*/ 1367059 w 8090452"/>
              <a:gd name="connsiteY1135" fmla="*/ 1091270 h 6863208"/>
              <a:gd name="connsiteX1136" fmla="*/ 1418573 w 8090452"/>
              <a:gd name="connsiteY1136" fmla="*/ 1143698 h 6863208"/>
              <a:gd name="connsiteX1137" fmla="*/ 1473943 w 8090452"/>
              <a:gd name="connsiteY1137" fmla="*/ 1206202 h 6863208"/>
              <a:gd name="connsiteX1138" fmla="*/ 1418403 w 8090452"/>
              <a:gd name="connsiteY1138" fmla="*/ 1142509 h 6863208"/>
              <a:gd name="connsiteX1139" fmla="*/ 1367175 w 8090452"/>
              <a:gd name="connsiteY1139" fmla="*/ 1091281 h 6863208"/>
              <a:gd name="connsiteX1140" fmla="*/ 1460356 w 8090452"/>
              <a:gd name="connsiteY1140" fmla="*/ 1100217 h 6863208"/>
              <a:gd name="connsiteX1141" fmla="*/ 1426735 w 8090452"/>
              <a:gd name="connsiteY1141" fmla="*/ 1090734 h 6863208"/>
              <a:gd name="connsiteX1142" fmla="*/ 1458997 w 8090452"/>
              <a:gd name="connsiteY1142" fmla="*/ 1093422 h 6863208"/>
              <a:gd name="connsiteX1143" fmla="*/ 1574834 w 8090452"/>
              <a:gd name="connsiteY1143" fmla="*/ 1122297 h 6863208"/>
              <a:gd name="connsiteX1144" fmla="*/ 1628404 w 8090452"/>
              <a:gd name="connsiteY1144" fmla="*/ 1137869 h 6863208"/>
              <a:gd name="connsiteX1145" fmla="*/ 1692709 w 8090452"/>
              <a:gd name="connsiteY1145" fmla="*/ 1161361 h 6863208"/>
              <a:gd name="connsiteX1146" fmla="*/ 1633262 w 8090452"/>
              <a:gd name="connsiteY1146" fmla="*/ 1139282 h 6863208"/>
              <a:gd name="connsiteX1147" fmla="*/ 1628404 w 8090452"/>
              <a:gd name="connsiteY1147" fmla="*/ 1137869 h 6863208"/>
              <a:gd name="connsiteX1148" fmla="*/ 1582987 w 8090452"/>
              <a:gd name="connsiteY1148" fmla="*/ 1121278 h 6863208"/>
              <a:gd name="connsiteX1149" fmla="*/ 1475303 w 8090452"/>
              <a:gd name="connsiteY1149" fmla="*/ 1093421 h 6863208"/>
              <a:gd name="connsiteX1150" fmla="*/ 1403286 w 8090452"/>
              <a:gd name="connsiteY1150" fmla="*/ 1073040 h 6863208"/>
              <a:gd name="connsiteX1151" fmla="*/ 1348934 w 8090452"/>
              <a:gd name="connsiteY1151" fmla="*/ 1054017 h 6863208"/>
              <a:gd name="connsiteX1152" fmla="*/ 1350293 w 8090452"/>
              <a:gd name="connsiteY1152" fmla="*/ 1052658 h 6863208"/>
              <a:gd name="connsiteX1153" fmla="*/ 1344858 w 8090452"/>
              <a:gd name="connsiteY1153" fmla="*/ 1041788 h 6863208"/>
              <a:gd name="connsiteX1154" fmla="*/ 1297300 w 8090452"/>
              <a:gd name="connsiteY1154" fmla="*/ 986078 h 6863208"/>
              <a:gd name="connsiteX1155" fmla="*/ 1319041 w 8090452"/>
              <a:gd name="connsiteY1155" fmla="*/ 1040429 h 6863208"/>
              <a:gd name="connsiteX1156" fmla="*/ 1298659 w 8090452"/>
              <a:gd name="connsiteY1156" fmla="*/ 1030917 h 6863208"/>
              <a:gd name="connsiteX1157" fmla="*/ 1180444 w 8090452"/>
              <a:gd name="connsiteY1157" fmla="*/ 953466 h 6863208"/>
              <a:gd name="connsiteX1158" fmla="*/ 1176367 w 8090452"/>
              <a:gd name="connsiteY1158" fmla="*/ 952107 h 6863208"/>
              <a:gd name="connsiteX1159" fmla="*/ 1107069 w 8090452"/>
              <a:gd name="connsiteY1159" fmla="*/ 901831 h 6863208"/>
              <a:gd name="connsiteX1160" fmla="*/ 1041847 w 8090452"/>
              <a:gd name="connsiteY1160" fmla="*/ 852915 h 6863208"/>
              <a:gd name="connsiteX1161" fmla="*/ 1101633 w 8090452"/>
              <a:gd name="connsiteY1161" fmla="*/ 880091 h 6863208"/>
              <a:gd name="connsiteX1162" fmla="*/ 1244307 w 8090452"/>
              <a:gd name="connsiteY1162" fmla="*/ 949390 h 6863208"/>
              <a:gd name="connsiteX1163" fmla="*/ 1525578 w 8090452"/>
              <a:gd name="connsiteY1163" fmla="*/ 1059452 h 6863208"/>
              <a:gd name="connsiteX1164" fmla="*/ 1245666 w 8090452"/>
              <a:gd name="connsiteY1164" fmla="*/ 945313 h 6863208"/>
              <a:gd name="connsiteX1165" fmla="*/ 1102992 w 8090452"/>
              <a:gd name="connsiteY1165" fmla="*/ 876014 h 6863208"/>
              <a:gd name="connsiteX1166" fmla="*/ 1026900 w 8090452"/>
              <a:gd name="connsiteY1166" fmla="*/ 840686 h 6863208"/>
              <a:gd name="connsiteX1167" fmla="*/ 960319 w 8090452"/>
              <a:gd name="connsiteY1167" fmla="*/ 782258 h 6863208"/>
              <a:gd name="connsiteX1168" fmla="*/ 829874 w 8090452"/>
              <a:gd name="connsiteY1168" fmla="*/ 624637 h 6863208"/>
              <a:gd name="connsiteX1169" fmla="*/ 761935 w 8090452"/>
              <a:gd name="connsiteY1169" fmla="*/ 543110 h 6863208"/>
              <a:gd name="connsiteX1170" fmla="*/ 760576 w 8090452"/>
              <a:gd name="connsiteY1170" fmla="*/ 541751 h 6863208"/>
              <a:gd name="connsiteX1171" fmla="*/ 763293 w 8090452"/>
              <a:gd name="connsiteY1171" fmla="*/ 536315 h 6863208"/>
              <a:gd name="connsiteX1172" fmla="*/ 808134 w 8090452"/>
              <a:gd name="connsiteY1172" fmla="*/ 581156 h 6863208"/>
              <a:gd name="connsiteX1173" fmla="*/ 852974 w 8090452"/>
              <a:gd name="connsiteY1173" fmla="*/ 547186 h 6863208"/>
              <a:gd name="connsiteX1174" fmla="*/ 861127 w 8090452"/>
              <a:gd name="connsiteY1174" fmla="*/ 522727 h 6863208"/>
              <a:gd name="connsiteX1175" fmla="*/ 827157 w 8090452"/>
              <a:gd name="connsiteY1175" fmla="*/ 494196 h 6863208"/>
              <a:gd name="connsiteX1176" fmla="*/ 848898 w 8090452"/>
              <a:gd name="connsiteY1176" fmla="*/ 467019 h 6863208"/>
              <a:gd name="connsiteX1177" fmla="*/ 927708 w 8090452"/>
              <a:gd name="connsiteY1177" fmla="*/ 499631 h 6863208"/>
              <a:gd name="connsiteX1178" fmla="*/ 1077685 w 8090452"/>
              <a:gd name="connsiteY1178" fmla="*/ 560944 h 6863208"/>
              <a:gd name="connsiteX1179" fmla="*/ 1144488 w 8090452"/>
              <a:gd name="connsiteY1179" fmla="*/ 583415 h 6863208"/>
              <a:gd name="connsiteX1180" fmla="*/ 1223925 w 8090452"/>
              <a:gd name="connsiteY1180" fmla="*/ 611049 h 6863208"/>
              <a:gd name="connsiteX1181" fmla="*/ 1251101 w 8090452"/>
              <a:gd name="connsiteY1181" fmla="*/ 619202 h 6863208"/>
              <a:gd name="connsiteX1182" fmla="*/ 1250508 w 8090452"/>
              <a:gd name="connsiteY1182" fmla="*/ 617330 h 6863208"/>
              <a:gd name="connsiteX1183" fmla="*/ 1252460 w 8090452"/>
              <a:gd name="connsiteY1183" fmla="*/ 617843 h 6863208"/>
              <a:gd name="connsiteX1184" fmla="*/ 1241589 w 8090452"/>
              <a:gd name="connsiteY1184" fmla="*/ 634148 h 6863208"/>
              <a:gd name="connsiteX1185" fmla="*/ 1252460 w 8090452"/>
              <a:gd name="connsiteY1185" fmla="*/ 685783 h 6863208"/>
              <a:gd name="connsiteX1186" fmla="*/ 1290507 w 8090452"/>
              <a:gd name="connsiteY1186" fmla="*/ 756440 h 6863208"/>
              <a:gd name="connsiteX1187" fmla="*/ 1305453 w 8090452"/>
              <a:gd name="connsiteY1187" fmla="*/ 765952 h 6863208"/>
              <a:gd name="connsiteX1188" fmla="*/ 1365240 w 8090452"/>
              <a:gd name="connsiteY1188" fmla="*/ 774105 h 6863208"/>
              <a:gd name="connsiteX1189" fmla="*/ 1378828 w 8090452"/>
              <a:gd name="connsiteY1189" fmla="*/ 760517 h 6863208"/>
              <a:gd name="connsiteX1190" fmla="*/ 1378828 w 8090452"/>
              <a:gd name="connsiteY1190" fmla="*/ 749646 h 6863208"/>
              <a:gd name="connsiteX1191" fmla="*/ 1418233 w 8090452"/>
              <a:gd name="connsiteY1191" fmla="*/ 767311 h 6863208"/>
              <a:gd name="connsiteX1192" fmla="*/ 1420951 w 8090452"/>
              <a:gd name="connsiteY1192" fmla="*/ 783616 h 6863208"/>
              <a:gd name="connsiteX1193" fmla="*/ 1427745 w 8090452"/>
              <a:gd name="connsiteY1193" fmla="*/ 774105 h 6863208"/>
              <a:gd name="connsiteX1194" fmla="*/ 1434539 w 8090452"/>
              <a:gd name="connsiteY1194" fmla="*/ 789052 h 6863208"/>
              <a:gd name="connsiteX1195" fmla="*/ 1441332 w 8090452"/>
              <a:gd name="connsiteY1195" fmla="*/ 784975 h 6863208"/>
              <a:gd name="connsiteX1196" fmla="*/ 1467149 w 8090452"/>
              <a:gd name="connsiteY1196" fmla="*/ 813510 h 6863208"/>
              <a:gd name="connsiteX1197" fmla="*/ 1472585 w 8090452"/>
              <a:gd name="connsiteY1197" fmla="*/ 832533 h 6863208"/>
              <a:gd name="connsiteX1198" fmla="*/ 1471226 w 8090452"/>
              <a:gd name="connsiteY1198" fmla="*/ 858350 h 6863208"/>
              <a:gd name="connsiteX1199" fmla="*/ 1488890 w 8090452"/>
              <a:gd name="connsiteY1199" fmla="*/ 900473 h 6863208"/>
              <a:gd name="connsiteX1200" fmla="*/ 1482096 w 8090452"/>
              <a:gd name="connsiteY1200" fmla="*/ 909985 h 6863208"/>
              <a:gd name="connsiteX1201" fmla="*/ 1491608 w 8090452"/>
              <a:gd name="connsiteY1201" fmla="*/ 914061 h 6863208"/>
              <a:gd name="connsiteX1202" fmla="*/ 1479379 w 8090452"/>
              <a:gd name="connsiteY1202" fmla="*/ 918137 h 6863208"/>
              <a:gd name="connsiteX1203" fmla="*/ 1509272 w 8090452"/>
              <a:gd name="connsiteY1203" fmla="*/ 950748 h 6863208"/>
              <a:gd name="connsiteX1204" fmla="*/ 1497043 w 8090452"/>
              <a:gd name="connsiteY1204" fmla="*/ 905908 h 6863208"/>
              <a:gd name="connsiteX1205" fmla="*/ 1503837 w 8090452"/>
              <a:gd name="connsiteY1205" fmla="*/ 907267 h 6863208"/>
              <a:gd name="connsiteX1206" fmla="*/ 1488891 w 8090452"/>
              <a:gd name="connsiteY1206" fmla="*/ 903190 h 6863208"/>
              <a:gd name="connsiteX1207" fmla="*/ 1487531 w 8090452"/>
              <a:gd name="connsiteY1207" fmla="*/ 893679 h 6863208"/>
              <a:gd name="connsiteX1208" fmla="*/ 1494326 w 8090452"/>
              <a:gd name="connsiteY1208" fmla="*/ 881450 h 6863208"/>
              <a:gd name="connsiteX1209" fmla="*/ 1484814 w 8090452"/>
              <a:gd name="connsiteY1209" fmla="*/ 871938 h 6863208"/>
              <a:gd name="connsiteX1210" fmla="*/ 1487532 w 8090452"/>
              <a:gd name="connsiteY1210" fmla="*/ 852915 h 6863208"/>
              <a:gd name="connsiteX1211" fmla="*/ 1480738 w 8090452"/>
              <a:gd name="connsiteY1211" fmla="*/ 837968 h 6863208"/>
              <a:gd name="connsiteX1212" fmla="*/ 1484814 w 8090452"/>
              <a:gd name="connsiteY1212" fmla="*/ 836609 h 6863208"/>
              <a:gd name="connsiteX1213" fmla="*/ 1479379 w 8090452"/>
              <a:gd name="connsiteY1213" fmla="*/ 814869 h 6863208"/>
              <a:gd name="connsiteX1214" fmla="*/ 1473944 w 8090452"/>
              <a:gd name="connsiteY1214" fmla="*/ 809434 h 6863208"/>
              <a:gd name="connsiteX1215" fmla="*/ 1480738 w 8090452"/>
              <a:gd name="connsiteY1215" fmla="*/ 808075 h 6863208"/>
              <a:gd name="connsiteX1216" fmla="*/ 1465791 w 8090452"/>
              <a:gd name="connsiteY1216" fmla="*/ 774105 h 6863208"/>
              <a:gd name="connsiteX1217" fmla="*/ 1471226 w 8090452"/>
              <a:gd name="connsiteY1217" fmla="*/ 768670 h 6863208"/>
              <a:gd name="connsiteX1218" fmla="*/ 1445409 w 8090452"/>
              <a:gd name="connsiteY1218" fmla="*/ 761876 h 6863208"/>
              <a:gd name="connsiteX1219" fmla="*/ 1456280 w 8090452"/>
              <a:gd name="connsiteY1219" fmla="*/ 783617 h 6863208"/>
              <a:gd name="connsiteX1220" fmla="*/ 1441332 w 8090452"/>
              <a:gd name="connsiteY1220" fmla="*/ 771387 h 6863208"/>
              <a:gd name="connsiteX1221" fmla="*/ 1438615 w 8090452"/>
              <a:gd name="connsiteY1221" fmla="*/ 760517 h 6863208"/>
              <a:gd name="connsiteX1222" fmla="*/ 1441333 w 8090452"/>
              <a:gd name="connsiteY1222" fmla="*/ 768670 h 6863208"/>
              <a:gd name="connsiteX1223" fmla="*/ 1435897 w 8090452"/>
              <a:gd name="connsiteY1223" fmla="*/ 755081 h 6863208"/>
              <a:gd name="connsiteX1224" fmla="*/ 1433180 w 8090452"/>
              <a:gd name="connsiteY1224" fmla="*/ 768670 h 6863208"/>
              <a:gd name="connsiteX1225" fmla="*/ 1427745 w 8090452"/>
              <a:gd name="connsiteY1225" fmla="*/ 760517 h 6863208"/>
              <a:gd name="connsiteX1226" fmla="*/ 1412798 w 8090452"/>
              <a:gd name="connsiteY1226" fmla="*/ 759158 h 6863208"/>
              <a:gd name="connsiteX1227" fmla="*/ 1453561 w 8090452"/>
              <a:gd name="connsiteY1227" fmla="*/ 751006 h 6863208"/>
              <a:gd name="connsiteX1228" fmla="*/ 1467149 w 8090452"/>
              <a:gd name="connsiteY1228" fmla="*/ 753723 h 6863208"/>
              <a:gd name="connsiteX1229" fmla="*/ 1456279 w 8090452"/>
              <a:gd name="connsiteY1229" fmla="*/ 748287 h 6863208"/>
              <a:gd name="connsiteX1230" fmla="*/ 1468509 w 8090452"/>
              <a:gd name="connsiteY1230" fmla="*/ 746929 h 6863208"/>
              <a:gd name="connsiteX1231" fmla="*/ 1467149 w 8090452"/>
              <a:gd name="connsiteY1231" fmla="*/ 726547 h 6863208"/>
              <a:gd name="connsiteX1232" fmla="*/ 1463074 w 8090452"/>
              <a:gd name="connsiteY1232" fmla="*/ 673554 h 6863208"/>
              <a:gd name="connsiteX1233" fmla="*/ 1454920 w 8090452"/>
              <a:gd name="connsiteY1233" fmla="*/ 646378 h 6863208"/>
              <a:gd name="connsiteX1234" fmla="*/ 1445409 w 8090452"/>
              <a:gd name="connsiteY1234" fmla="*/ 606973 h 6863208"/>
              <a:gd name="connsiteX1235" fmla="*/ 1469868 w 8090452"/>
              <a:gd name="connsiteY1235" fmla="*/ 636866 h 6863208"/>
              <a:gd name="connsiteX1236" fmla="*/ 1458997 w 8090452"/>
              <a:gd name="connsiteY1236" fmla="*/ 601538 h 6863208"/>
              <a:gd name="connsiteX1237" fmla="*/ 1482096 w 8090452"/>
              <a:gd name="connsiteY1237" fmla="*/ 638226 h 6863208"/>
              <a:gd name="connsiteX1238" fmla="*/ 1484814 w 8090452"/>
              <a:gd name="connsiteY1238" fmla="*/ 586591 h 6863208"/>
              <a:gd name="connsiteX1239" fmla="*/ 1494326 w 8090452"/>
              <a:gd name="connsiteY1239" fmla="*/ 596102 h 6863208"/>
              <a:gd name="connsiteX1240" fmla="*/ 1497042 w 8090452"/>
              <a:gd name="connsiteY1240" fmla="*/ 539033 h 6863208"/>
              <a:gd name="connsiteX1241" fmla="*/ 1506555 w 8090452"/>
              <a:gd name="connsiteY1241" fmla="*/ 529521 h 6863208"/>
              <a:gd name="connsiteX1242" fmla="*/ 1518784 w 8090452"/>
              <a:gd name="connsiteY1242" fmla="*/ 544469 h 6863208"/>
              <a:gd name="connsiteX1243" fmla="*/ 1514707 w 8090452"/>
              <a:gd name="connsiteY1243" fmla="*/ 524086 h 6863208"/>
              <a:gd name="connsiteX1244" fmla="*/ 1502478 w 8090452"/>
              <a:gd name="connsiteY1244" fmla="*/ 462944 h 6863208"/>
              <a:gd name="connsiteX1245" fmla="*/ 1511990 w 8090452"/>
              <a:gd name="connsiteY1245" fmla="*/ 488760 h 6863208"/>
              <a:gd name="connsiteX1246" fmla="*/ 1516066 w 8090452"/>
              <a:gd name="connsiteY1246" fmla="*/ 481967 h 6863208"/>
              <a:gd name="connsiteX1247" fmla="*/ 1528296 w 8090452"/>
              <a:gd name="connsiteY1247" fmla="*/ 505066 h 6863208"/>
              <a:gd name="connsiteX1248" fmla="*/ 1521501 w 8090452"/>
              <a:gd name="connsiteY1248" fmla="*/ 460226 h 6863208"/>
              <a:gd name="connsiteX1249" fmla="*/ 1560906 w 8090452"/>
              <a:gd name="connsiteY1249" fmla="*/ 521369 h 6863208"/>
              <a:gd name="connsiteX1250" fmla="*/ 1543243 w 8090452"/>
              <a:gd name="connsiteY1250" fmla="*/ 462944 h 6863208"/>
              <a:gd name="connsiteX1251" fmla="*/ 1544601 w 8090452"/>
              <a:gd name="connsiteY1251" fmla="*/ 396363 h 6863208"/>
              <a:gd name="connsiteX1252" fmla="*/ 1536448 w 8090452"/>
              <a:gd name="connsiteY1252" fmla="*/ 388210 h 6863208"/>
              <a:gd name="connsiteX1253" fmla="*/ 1445409 w 8090452"/>
              <a:gd name="connsiteY1253" fmla="*/ 96068 h 6863208"/>
              <a:gd name="connsiteX1254" fmla="*/ 1410080 w 8090452"/>
              <a:gd name="connsiteY1254" fmla="*/ 68893 h 6863208"/>
              <a:gd name="connsiteX1255" fmla="*/ 1380187 w 8090452"/>
              <a:gd name="connsiteY1255" fmla="*/ 30846 h 6863208"/>
              <a:gd name="connsiteX1256" fmla="*/ 1375664 w 8090452"/>
              <a:gd name="connsiteY1256" fmla="*/ 12354 h 6863208"/>
              <a:gd name="connsiteX1257" fmla="*/ 759619 w 8090452"/>
              <a:gd name="connsiteY1257" fmla="*/ 0 h 6863208"/>
              <a:gd name="connsiteX1258" fmla="*/ 970645 w 8090452"/>
              <a:gd name="connsiteY1258" fmla="*/ 0 h 6863208"/>
              <a:gd name="connsiteX1259" fmla="*/ 979512 w 8090452"/>
              <a:gd name="connsiteY1259" fmla="*/ 24902 h 6863208"/>
              <a:gd name="connsiteX1260" fmla="*/ 988854 w 8090452"/>
              <a:gd name="connsiteY1260" fmla="*/ 60740 h 6863208"/>
              <a:gd name="connsiteX1261" fmla="*/ 1004480 w 8090452"/>
              <a:gd name="connsiteY1261" fmla="*/ 107619 h 6863208"/>
              <a:gd name="connsiteX1262" fmla="*/ 1019191 w 8090452"/>
              <a:gd name="connsiteY1262" fmla="*/ 151754 h 6863208"/>
              <a:gd name="connsiteX1263" fmla="*/ 937219 w 8090452"/>
              <a:gd name="connsiteY1263" fmla="*/ 149402 h 6863208"/>
              <a:gd name="connsiteX1264" fmla="*/ 850256 w 8090452"/>
              <a:gd name="connsiteY1264" fmla="*/ 136832 h 6863208"/>
              <a:gd name="connsiteX1265" fmla="*/ 817645 w 8090452"/>
              <a:gd name="connsiteY1265" fmla="*/ 128680 h 6863208"/>
              <a:gd name="connsiteX1266" fmla="*/ 818532 w 8090452"/>
              <a:gd name="connsiteY1266" fmla="*/ 130036 h 6863208"/>
              <a:gd name="connsiteX1267" fmla="*/ 812210 w 8090452"/>
              <a:gd name="connsiteY1267" fmla="*/ 128680 h 6863208"/>
              <a:gd name="connsiteX1268" fmla="*/ 767370 w 8090452"/>
              <a:gd name="connsiteY1268" fmla="*/ 97427 h 6863208"/>
              <a:gd name="connsiteX1269" fmla="*/ 787752 w 8090452"/>
              <a:gd name="connsiteY1269" fmla="*/ 71610 h 6863208"/>
              <a:gd name="connsiteX1270" fmla="*/ 801340 w 8090452"/>
              <a:gd name="connsiteY1270" fmla="*/ 36282 h 6863208"/>
              <a:gd name="connsiteX1271" fmla="*/ 768729 w 8090452"/>
              <a:gd name="connsiteY1271" fmla="*/ 25411 h 6863208"/>
              <a:gd name="connsiteX1272" fmla="*/ 598517 w 8090452"/>
              <a:gd name="connsiteY1272" fmla="*/ 0 h 6863208"/>
              <a:gd name="connsiteX1273" fmla="*/ 620724 w 8090452"/>
              <a:gd name="connsiteY1273" fmla="*/ 0 h 6863208"/>
              <a:gd name="connsiteX1274" fmla="*/ 646777 w 8090452"/>
              <a:gd name="connsiteY1274" fmla="*/ 30847 h 6863208"/>
              <a:gd name="connsiteX1275" fmla="*/ 674971 w 8090452"/>
              <a:gd name="connsiteY1275" fmla="*/ 81122 h 6863208"/>
              <a:gd name="connsiteX1276" fmla="*/ 589368 w 8090452"/>
              <a:gd name="connsiteY1276" fmla="*/ 47151 h 6863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</a:cxnLst>
            <a:rect l="l" t="t" r="r" b="b"/>
            <a:pathLst>
              <a:path w="8090452" h="6863208">
                <a:moveTo>
                  <a:pt x="128735" y="2168229"/>
                </a:moveTo>
                <a:cubicBezTo>
                  <a:pt x="130094" y="2172305"/>
                  <a:pt x="134170" y="2176381"/>
                  <a:pt x="136888" y="2173664"/>
                </a:cubicBezTo>
                <a:cubicBezTo>
                  <a:pt x="134170" y="2170947"/>
                  <a:pt x="131452" y="2168228"/>
                  <a:pt x="128735" y="2168229"/>
                </a:cubicBezTo>
                <a:close/>
                <a:moveTo>
                  <a:pt x="293829" y="1933496"/>
                </a:moveTo>
                <a:cubicBezTo>
                  <a:pt x="292130" y="1932138"/>
                  <a:pt x="290433" y="1931797"/>
                  <a:pt x="289074" y="1934516"/>
                </a:cubicBezTo>
                <a:cubicBezTo>
                  <a:pt x="291791" y="1937233"/>
                  <a:pt x="295867" y="1938591"/>
                  <a:pt x="298585" y="1938592"/>
                </a:cubicBezTo>
                <a:cubicBezTo>
                  <a:pt x="297226" y="1937234"/>
                  <a:pt x="295528" y="1934855"/>
                  <a:pt x="293829" y="1933496"/>
                </a:cubicBezTo>
                <a:close/>
                <a:moveTo>
                  <a:pt x="361285" y="1916622"/>
                </a:moveTo>
                <a:lnTo>
                  <a:pt x="363808" y="1916851"/>
                </a:lnTo>
                <a:cubicBezTo>
                  <a:pt x="368903" y="1917190"/>
                  <a:pt x="373319" y="1918209"/>
                  <a:pt x="374678" y="1922286"/>
                </a:cubicBezTo>
                <a:cubicBezTo>
                  <a:pt x="371961" y="1923644"/>
                  <a:pt x="369583" y="1922626"/>
                  <a:pt x="367205" y="1920926"/>
                </a:cubicBezTo>
                <a:close/>
                <a:moveTo>
                  <a:pt x="359731" y="1915491"/>
                </a:moveTo>
                <a:lnTo>
                  <a:pt x="361285" y="1916622"/>
                </a:lnTo>
                <a:lnTo>
                  <a:pt x="358584" y="1916376"/>
                </a:lnTo>
                <a:close/>
                <a:moveTo>
                  <a:pt x="348861" y="1907340"/>
                </a:moveTo>
                <a:cubicBezTo>
                  <a:pt x="339349" y="1905981"/>
                  <a:pt x="350219" y="1916851"/>
                  <a:pt x="348861" y="1907340"/>
                </a:cubicBezTo>
                <a:close/>
                <a:moveTo>
                  <a:pt x="347439" y="1900568"/>
                </a:moveTo>
                <a:cubicBezTo>
                  <a:pt x="347502" y="1900547"/>
                  <a:pt x="346484" y="1900886"/>
                  <a:pt x="343426" y="1901905"/>
                </a:cubicBezTo>
                <a:cubicBezTo>
                  <a:pt x="337312" y="1903943"/>
                  <a:pt x="347248" y="1900632"/>
                  <a:pt x="347439" y="1900568"/>
                </a:cubicBezTo>
                <a:close/>
                <a:moveTo>
                  <a:pt x="374678" y="1884240"/>
                </a:moveTo>
                <a:cubicBezTo>
                  <a:pt x="377395" y="1897827"/>
                  <a:pt x="393701" y="1897827"/>
                  <a:pt x="396419" y="1905981"/>
                </a:cubicBezTo>
                <a:cubicBezTo>
                  <a:pt x="389624" y="1907339"/>
                  <a:pt x="377395" y="1900545"/>
                  <a:pt x="377395" y="1895110"/>
                </a:cubicBezTo>
                <a:cubicBezTo>
                  <a:pt x="366525" y="1900545"/>
                  <a:pt x="354296" y="1885598"/>
                  <a:pt x="343425" y="1888315"/>
                </a:cubicBezTo>
                <a:cubicBezTo>
                  <a:pt x="348861" y="1901904"/>
                  <a:pt x="365167" y="1901904"/>
                  <a:pt x="367884" y="1910056"/>
                </a:cubicBezTo>
                <a:cubicBezTo>
                  <a:pt x="362448" y="1915492"/>
                  <a:pt x="350219" y="1903262"/>
                  <a:pt x="348861" y="1915492"/>
                </a:cubicBezTo>
                <a:lnTo>
                  <a:pt x="358584" y="1916376"/>
                </a:lnTo>
                <a:lnTo>
                  <a:pt x="353787" y="1920078"/>
                </a:lnTo>
                <a:cubicBezTo>
                  <a:pt x="352597" y="1921267"/>
                  <a:pt x="351578" y="1922286"/>
                  <a:pt x="348861" y="1923644"/>
                </a:cubicBezTo>
                <a:cubicBezTo>
                  <a:pt x="354296" y="1931797"/>
                  <a:pt x="354296" y="1920926"/>
                  <a:pt x="357014" y="1923644"/>
                </a:cubicBezTo>
                <a:cubicBezTo>
                  <a:pt x="355655" y="1927720"/>
                  <a:pt x="359731" y="1931797"/>
                  <a:pt x="363808" y="1935874"/>
                </a:cubicBezTo>
                <a:cubicBezTo>
                  <a:pt x="378755" y="1934515"/>
                  <a:pt x="393701" y="1941309"/>
                  <a:pt x="408648" y="1934516"/>
                </a:cubicBezTo>
                <a:cubicBezTo>
                  <a:pt x="403213" y="1926363"/>
                  <a:pt x="389626" y="1934516"/>
                  <a:pt x="389625" y="1923645"/>
                </a:cubicBezTo>
                <a:cubicBezTo>
                  <a:pt x="408649" y="1931798"/>
                  <a:pt x="424954" y="1926363"/>
                  <a:pt x="442619" y="1925004"/>
                </a:cubicBezTo>
                <a:cubicBezTo>
                  <a:pt x="429030" y="1919568"/>
                  <a:pt x="438542" y="1918210"/>
                  <a:pt x="441260" y="1910057"/>
                </a:cubicBezTo>
                <a:cubicBezTo>
                  <a:pt x="438542" y="1912775"/>
                  <a:pt x="429030" y="1914133"/>
                  <a:pt x="430390" y="1907339"/>
                </a:cubicBezTo>
                <a:cubicBezTo>
                  <a:pt x="435825" y="1904622"/>
                  <a:pt x="443977" y="1912774"/>
                  <a:pt x="450771" y="1905980"/>
                </a:cubicBezTo>
                <a:cubicBezTo>
                  <a:pt x="427672" y="1891034"/>
                  <a:pt x="400495" y="1888316"/>
                  <a:pt x="374678" y="1884240"/>
                </a:cubicBezTo>
                <a:close/>
                <a:moveTo>
                  <a:pt x="389623" y="1880165"/>
                </a:moveTo>
                <a:cubicBezTo>
                  <a:pt x="407288" y="1884242"/>
                  <a:pt x="423594" y="1897829"/>
                  <a:pt x="442617" y="1895111"/>
                </a:cubicBezTo>
                <a:cubicBezTo>
                  <a:pt x="426312" y="1889677"/>
                  <a:pt x="401854" y="1876088"/>
                  <a:pt x="389623" y="1880165"/>
                </a:cubicBezTo>
                <a:close/>
                <a:moveTo>
                  <a:pt x="403212" y="1866577"/>
                </a:moveTo>
                <a:cubicBezTo>
                  <a:pt x="408647" y="1872012"/>
                  <a:pt x="435824" y="1882881"/>
                  <a:pt x="441259" y="1874729"/>
                </a:cubicBezTo>
                <a:cubicBezTo>
                  <a:pt x="427671" y="1877446"/>
                  <a:pt x="415441" y="1865217"/>
                  <a:pt x="403212" y="1866577"/>
                </a:cubicBezTo>
                <a:close/>
                <a:moveTo>
                  <a:pt x="376036" y="1863859"/>
                </a:moveTo>
                <a:cubicBezTo>
                  <a:pt x="382831" y="1870653"/>
                  <a:pt x="397778" y="1872011"/>
                  <a:pt x="397778" y="1866576"/>
                </a:cubicBezTo>
                <a:cubicBezTo>
                  <a:pt x="390984" y="1867935"/>
                  <a:pt x="382830" y="1859781"/>
                  <a:pt x="376036" y="1863859"/>
                </a:cubicBezTo>
                <a:close/>
                <a:moveTo>
                  <a:pt x="98841" y="1858423"/>
                </a:moveTo>
                <a:cubicBezTo>
                  <a:pt x="96124" y="1861141"/>
                  <a:pt x="92047" y="1859782"/>
                  <a:pt x="89330" y="1859781"/>
                </a:cubicBezTo>
                <a:cubicBezTo>
                  <a:pt x="85253" y="1872012"/>
                  <a:pt x="79818" y="1880165"/>
                  <a:pt x="85253" y="1888317"/>
                </a:cubicBezTo>
                <a:cubicBezTo>
                  <a:pt x="93405" y="1899188"/>
                  <a:pt x="106994" y="1891035"/>
                  <a:pt x="113789" y="1889677"/>
                </a:cubicBezTo>
                <a:cubicBezTo>
                  <a:pt x="113788" y="1881523"/>
                  <a:pt x="111071" y="1881522"/>
                  <a:pt x="115148" y="1877446"/>
                </a:cubicBezTo>
                <a:cubicBezTo>
                  <a:pt x="112429" y="1872011"/>
                  <a:pt x="108353" y="1873370"/>
                  <a:pt x="111071" y="1867934"/>
                </a:cubicBezTo>
                <a:cubicBezTo>
                  <a:pt x="102918" y="1867934"/>
                  <a:pt x="104277" y="1863859"/>
                  <a:pt x="98841" y="1858423"/>
                </a:cubicBezTo>
                <a:close/>
                <a:moveTo>
                  <a:pt x="912761" y="1772820"/>
                </a:moveTo>
                <a:cubicBezTo>
                  <a:pt x="911402" y="1774179"/>
                  <a:pt x="910044" y="1775537"/>
                  <a:pt x="908685" y="1776897"/>
                </a:cubicBezTo>
                <a:cubicBezTo>
                  <a:pt x="911402" y="1779614"/>
                  <a:pt x="914120" y="1782331"/>
                  <a:pt x="915479" y="1778256"/>
                </a:cubicBezTo>
                <a:cubicBezTo>
                  <a:pt x="914120" y="1776897"/>
                  <a:pt x="912761" y="1775537"/>
                  <a:pt x="912761" y="1772820"/>
                </a:cubicBezTo>
                <a:close/>
                <a:moveTo>
                  <a:pt x="278034" y="1759742"/>
                </a:moveTo>
                <a:cubicBezTo>
                  <a:pt x="276505" y="1758213"/>
                  <a:pt x="274127" y="1757873"/>
                  <a:pt x="272768" y="1760591"/>
                </a:cubicBezTo>
                <a:cubicBezTo>
                  <a:pt x="274127" y="1761950"/>
                  <a:pt x="275486" y="1763309"/>
                  <a:pt x="278204" y="1766026"/>
                </a:cubicBezTo>
                <a:cubicBezTo>
                  <a:pt x="280242" y="1763988"/>
                  <a:pt x="279562" y="1761271"/>
                  <a:pt x="278034" y="1759742"/>
                </a:cubicBezTo>
                <a:close/>
                <a:moveTo>
                  <a:pt x="202620" y="1731546"/>
                </a:moveTo>
                <a:cubicBezTo>
                  <a:pt x="201091" y="1733075"/>
                  <a:pt x="200073" y="1735452"/>
                  <a:pt x="202111" y="1736132"/>
                </a:cubicBezTo>
                <a:cubicBezTo>
                  <a:pt x="203469" y="1737491"/>
                  <a:pt x="207546" y="1733414"/>
                  <a:pt x="206188" y="1732055"/>
                </a:cubicBezTo>
                <a:cubicBezTo>
                  <a:pt x="206187" y="1729338"/>
                  <a:pt x="204149" y="1730017"/>
                  <a:pt x="202620" y="1731546"/>
                </a:cubicBezTo>
                <a:close/>
                <a:moveTo>
                  <a:pt x="861127" y="1723901"/>
                </a:moveTo>
                <a:cubicBezTo>
                  <a:pt x="861127" y="1732054"/>
                  <a:pt x="884227" y="1755154"/>
                  <a:pt x="892380" y="1755154"/>
                </a:cubicBezTo>
                <a:cubicBezTo>
                  <a:pt x="882868" y="1745642"/>
                  <a:pt x="871998" y="1734771"/>
                  <a:pt x="861127" y="1723901"/>
                </a:cubicBezTo>
                <a:close/>
                <a:moveTo>
                  <a:pt x="840745" y="1706238"/>
                </a:moveTo>
                <a:cubicBezTo>
                  <a:pt x="840745" y="1711673"/>
                  <a:pt x="848897" y="1717109"/>
                  <a:pt x="852974" y="1715749"/>
                </a:cubicBezTo>
                <a:cubicBezTo>
                  <a:pt x="850257" y="1713032"/>
                  <a:pt x="847538" y="1702162"/>
                  <a:pt x="840745" y="1706238"/>
                </a:cubicBezTo>
                <a:close/>
                <a:moveTo>
                  <a:pt x="175275" y="1701483"/>
                </a:moveTo>
                <a:cubicBezTo>
                  <a:pt x="172897" y="1702162"/>
                  <a:pt x="171537" y="1704200"/>
                  <a:pt x="173576" y="1707598"/>
                </a:cubicBezTo>
                <a:cubicBezTo>
                  <a:pt x="176294" y="1702162"/>
                  <a:pt x="180370" y="1706239"/>
                  <a:pt x="183087" y="1703521"/>
                </a:cubicBezTo>
                <a:cubicBezTo>
                  <a:pt x="181049" y="1701483"/>
                  <a:pt x="177652" y="1700803"/>
                  <a:pt x="175275" y="1701483"/>
                </a:cubicBezTo>
                <a:close/>
                <a:moveTo>
                  <a:pt x="848898" y="1649169"/>
                </a:moveTo>
                <a:cubicBezTo>
                  <a:pt x="846180" y="1651886"/>
                  <a:pt x="844822" y="1650528"/>
                  <a:pt x="842104" y="1653246"/>
                </a:cubicBezTo>
                <a:cubicBezTo>
                  <a:pt x="843463" y="1660040"/>
                  <a:pt x="851616" y="1651887"/>
                  <a:pt x="848898" y="1649169"/>
                </a:cubicBezTo>
                <a:close/>
                <a:moveTo>
                  <a:pt x="891021" y="1645093"/>
                </a:moveTo>
                <a:cubicBezTo>
                  <a:pt x="888303" y="1647811"/>
                  <a:pt x="884226" y="1649169"/>
                  <a:pt x="889662" y="1651886"/>
                </a:cubicBezTo>
                <a:cubicBezTo>
                  <a:pt x="891020" y="1650528"/>
                  <a:pt x="891020" y="1650528"/>
                  <a:pt x="892379" y="1649169"/>
                </a:cubicBezTo>
                <a:cubicBezTo>
                  <a:pt x="891020" y="1647810"/>
                  <a:pt x="892379" y="1646451"/>
                  <a:pt x="891021" y="1645093"/>
                </a:cubicBezTo>
                <a:close/>
                <a:moveTo>
                  <a:pt x="852974" y="1642374"/>
                </a:moveTo>
                <a:cubicBezTo>
                  <a:pt x="855691" y="1647811"/>
                  <a:pt x="838026" y="1641017"/>
                  <a:pt x="842102" y="1650528"/>
                </a:cubicBezTo>
                <a:cubicBezTo>
                  <a:pt x="847537" y="1642375"/>
                  <a:pt x="854332" y="1651886"/>
                  <a:pt x="859767" y="1649169"/>
                </a:cubicBezTo>
                <a:cubicBezTo>
                  <a:pt x="858408" y="1647810"/>
                  <a:pt x="861126" y="1645092"/>
                  <a:pt x="859768" y="1643733"/>
                </a:cubicBezTo>
                <a:cubicBezTo>
                  <a:pt x="858408" y="1645093"/>
                  <a:pt x="857051" y="1646451"/>
                  <a:pt x="854332" y="1643733"/>
                </a:cubicBezTo>
                <a:cubicBezTo>
                  <a:pt x="855691" y="1642374"/>
                  <a:pt x="854333" y="1641016"/>
                  <a:pt x="852974" y="1642374"/>
                </a:cubicBezTo>
                <a:close/>
                <a:moveTo>
                  <a:pt x="578497" y="1446709"/>
                </a:moveTo>
                <a:cubicBezTo>
                  <a:pt x="575779" y="1446709"/>
                  <a:pt x="571703" y="1445350"/>
                  <a:pt x="568985" y="1448068"/>
                </a:cubicBezTo>
                <a:cubicBezTo>
                  <a:pt x="571703" y="1450785"/>
                  <a:pt x="571703" y="1453503"/>
                  <a:pt x="571703" y="1456221"/>
                </a:cubicBezTo>
                <a:cubicBezTo>
                  <a:pt x="577138" y="1453503"/>
                  <a:pt x="581215" y="1449426"/>
                  <a:pt x="578497" y="1446709"/>
                </a:cubicBezTo>
                <a:close/>
                <a:moveTo>
                  <a:pt x="206186" y="1424969"/>
                </a:moveTo>
                <a:cubicBezTo>
                  <a:pt x="211622" y="1449427"/>
                  <a:pt x="214339" y="1473885"/>
                  <a:pt x="219775" y="1501061"/>
                </a:cubicBezTo>
                <a:cubicBezTo>
                  <a:pt x="223851" y="1521443"/>
                  <a:pt x="230645" y="1544543"/>
                  <a:pt x="238797" y="1566283"/>
                </a:cubicBezTo>
                <a:cubicBezTo>
                  <a:pt x="230645" y="1549978"/>
                  <a:pt x="222492" y="1536390"/>
                  <a:pt x="212980" y="1521444"/>
                </a:cubicBezTo>
                <a:cubicBezTo>
                  <a:pt x="210263" y="1491549"/>
                  <a:pt x="207545" y="1464374"/>
                  <a:pt x="206187" y="1435839"/>
                </a:cubicBezTo>
                <a:cubicBezTo>
                  <a:pt x="206186" y="1433122"/>
                  <a:pt x="206186" y="1427687"/>
                  <a:pt x="206186" y="1424969"/>
                </a:cubicBezTo>
                <a:close/>
                <a:moveTo>
                  <a:pt x="438542" y="1404586"/>
                </a:moveTo>
                <a:cubicBezTo>
                  <a:pt x="435824" y="1407303"/>
                  <a:pt x="429030" y="1403227"/>
                  <a:pt x="431747" y="1408662"/>
                </a:cubicBezTo>
                <a:cubicBezTo>
                  <a:pt x="433106" y="1407303"/>
                  <a:pt x="441259" y="1410021"/>
                  <a:pt x="438542" y="1404586"/>
                </a:cubicBezTo>
                <a:close/>
                <a:moveTo>
                  <a:pt x="620620" y="1401868"/>
                </a:moveTo>
                <a:cubicBezTo>
                  <a:pt x="616543" y="1405945"/>
                  <a:pt x="615185" y="1410021"/>
                  <a:pt x="620620" y="1412739"/>
                </a:cubicBezTo>
                <a:cubicBezTo>
                  <a:pt x="623337" y="1410022"/>
                  <a:pt x="624696" y="1405945"/>
                  <a:pt x="620620" y="1401868"/>
                </a:cubicBezTo>
                <a:close/>
                <a:moveTo>
                  <a:pt x="696712" y="1396433"/>
                </a:moveTo>
                <a:cubicBezTo>
                  <a:pt x="689918" y="1400510"/>
                  <a:pt x="691277" y="1404586"/>
                  <a:pt x="696712" y="1407304"/>
                </a:cubicBezTo>
                <a:cubicBezTo>
                  <a:pt x="703507" y="1403227"/>
                  <a:pt x="699430" y="1396433"/>
                  <a:pt x="696712" y="1396433"/>
                </a:cubicBezTo>
                <a:close/>
                <a:moveTo>
                  <a:pt x="445334" y="1395075"/>
                </a:moveTo>
                <a:cubicBezTo>
                  <a:pt x="439899" y="1397793"/>
                  <a:pt x="442617" y="1397793"/>
                  <a:pt x="437182" y="1400511"/>
                </a:cubicBezTo>
                <a:cubicBezTo>
                  <a:pt x="438540" y="1407305"/>
                  <a:pt x="446693" y="1396434"/>
                  <a:pt x="445334" y="1395075"/>
                </a:cubicBezTo>
                <a:close/>
                <a:moveTo>
                  <a:pt x="549961" y="1393715"/>
                </a:moveTo>
                <a:cubicBezTo>
                  <a:pt x="547244" y="1396433"/>
                  <a:pt x="548602" y="1400509"/>
                  <a:pt x="549962" y="1404586"/>
                </a:cubicBezTo>
                <a:cubicBezTo>
                  <a:pt x="552679" y="1401868"/>
                  <a:pt x="555397" y="1404586"/>
                  <a:pt x="558114" y="1401868"/>
                </a:cubicBezTo>
                <a:cubicBezTo>
                  <a:pt x="560832" y="1396433"/>
                  <a:pt x="554038" y="1392356"/>
                  <a:pt x="549961" y="1393715"/>
                </a:cubicBezTo>
                <a:close/>
                <a:moveTo>
                  <a:pt x="468435" y="1385563"/>
                </a:moveTo>
                <a:cubicBezTo>
                  <a:pt x="467076" y="1386922"/>
                  <a:pt x="460282" y="1388281"/>
                  <a:pt x="463000" y="1390999"/>
                </a:cubicBezTo>
                <a:cubicBezTo>
                  <a:pt x="464359" y="1389640"/>
                  <a:pt x="469794" y="1389640"/>
                  <a:pt x="468435" y="1385563"/>
                </a:cubicBezTo>
                <a:close/>
                <a:moveTo>
                  <a:pt x="627414" y="1378769"/>
                </a:moveTo>
                <a:cubicBezTo>
                  <a:pt x="626055" y="1380128"/>
                  <a:pt x="623338" y="1380128"/>
                  <a:pt x="620620" y="1382846"/>
                </a:cubicBezTo>
                <a:cubicBezTo>
                  <a:pt x="623337" y="1385563"/>
                  <a:pt x="624696" y="1386922"/>
                  <a:pt x="624696" y="1386922"/>
                </a:cubicBezTo>
                <a:cubicBezTo>
                  <a:pt x="627414" y="1384204"/>
                  <a:pt x="627413" y="1381487"/>
                  <a:pt x="627414" y="1378769"/>
                </a:cubicBezTo>
                <a:close/>
                <a:moveTo>
                  <a:pt x="513276" y="1378769"/>
                </a:moveTo>
                <a:cubicBezTo>
                  <a:pt x="511917" y="1382845"/>
                  <a:pt x="505122" y="1386923"/>
                  <a:pt x="510558" y="1386921"/>
                </a:cubicBezTo>
                <a:cubicBezTo>
                  <a:pt x="509199" y="1382846"/>
                  <a:pt x="518710" y="1386921"/>
                  <a:pt x="517352" y="1380128"/>
                </a:cubicBezTo>
                <a:cubicBezTo>
                  <a:pt x="515993" y="1378769"/>
                  <a:pt x="514634" y="1380128"/>
                  <a:pt x="513276" y="1378769"/>
                </a:cubicBezTo>
                <a:close/>
                <a:moveTo>
                  <a:pt x="720662" y="1373844"/>
                </a:moveTo>
                <a:cubicBezTo>
                  <a:pt x="718454" y="1373334"/>
                  <a:pt x="715735" y="1374693"/>
                  <a:pt x="717094" y="1378770"/>
                </a:cubicBezTo>
                <a:cubicBezTo>
                  <a:pt x="718454" y="1377411"/>
                  <a:pt x="719812" y="1378769"/>
                  <a:pt x="721171" y="1380128"/>
                </a:cubicBezTo>
                <a:cubicBezTo>
                  <a:pt x="724568" y="1376731"/>
                  <a:pt x="722869" y="1374353"/>
                  <a:pt x="720662" y="1373844"/>
                </a:cubicBezTo>
                <a:close/>
                <a:moveTo>
                  <a:pt x="453488" y="1373334"/>
                </a:moveTo>
                <a:cubicBezTo>
                  <a:pt x="454846" y="1374692"/>
                  <a:pt x="449411" y="1377410"/>
                  <a:pt x="452128" y="1380128"/>
                </a:cubicBezTo>
                <a:cubicBezTo>
                  <a:pt x="458923" y="1386921"/>
                  <a:pt x="463000" y="1385562"/>
                  <a:pt x="472511" y="1381486"/>
                </a:cubicBezTo>
                <a:cubicBezTo>
                  <a:pt x="467076" y="1376051"/>
                  <a:pt x="461641" y="1376051"/>
                  <a:pt x="453488" y="1373334"/>
                </a:cubicBezTo>
                <a:close/>
                <a:moveTo>
                  <a:pt x="554038" y="1370616"/>
                </a:moveTo>
                <a:cubicBezTo>
                  <a:pt x="549962" y="1374692"/>
                  <a:pt x="548603" y="1373333"/>
                  <a:pt x="548603" y="1376051"/>
                </a:cubicBezTo>
                <a:cubicBezTo>
                  <a:pt x="551321" y="1376051"/>
                  <a:pt x="558115" y="1374692"/>
                  <a:pt x="554038" y="1370616"/>
                </a:cubicBezTo>
                <a:close/>
                <a:moveTo>
                  <a:pt x="539092" y="1353630"/>
                </a:moveTo>
                <a:cubicBezTo>
                  <a:pt x="537733" y="1352951"/>
                  <a:pt x="536374" y="1352951"/>
                  <a:pt x="535016" y="1354310"/>
                </a:cubicBezTo>
                <a:cubicBezTo>
                  <a:pt x="533657" y="1355669"/>
                  <a:pt x="526862" y="1357027"/>
                  <a:pt x="529580" y="1362463"/>
                </a:cubicBezTo>
                <a:cubicBezTo>
                  <a:pt x="532298" y="1359745"/>
                  <a:pt x="535015" y="1359745"/>
                  <a:pt x="537733" y="1362463"/>
                </a:cubicBezTo>
                <a:cubicBezTo>
                  <a:pt x="536374" y="1363821"/>
                  <a:pt x="535015" y="1365180"/>
                  <a:pt x="536374" y="1366539"/>
                </a:cubicBezTo>
                <a:cubicBezTo>
                  <a:pt x="537733" y="1365180"/>
                  <a:pt x="539092" y="1363822"/>
                  <a:pt x="540451" y="1362463"/>
                </a:cubicBezTo>
                <a:cubicBezTo>
                  <a:pt x="539092" y="1361104"/>
                  <a:pt x="537733" y="1359745"/>
                  <a:pt x="539092" y="1358386"/>
                </a:cubicBezTo>
                <a:cubicBezTo>
                  <a:pt x="540451" y="1359745"/>
                  <a:pt x="541809" y="1358386"/>
                  <a:pt x="543168" y="1357027"/>
                </a:cubicBezTo>
                <a:cubicBezTo>
                  <a:pt x="541810" y="1355669"/>
                  <a:pt x="540451" y="1354310"/>
                  <a:pt x="539092" y="1353630"/>
                </a:cubicBezTo>
                <a:close/>
                <a:moveTo>
                  <a:pt x="503764" y="1350233"/>
                </a:moveTo>
                <a:cubicBezTo>
                  <a:pt x="502405" y="1351592"/>
                  <a:pt x="501046" y="1352951"/>
                  <a:pt x="498328" y="1352951"/>
                </a:cubicBezTo>
                <a:cubicBezTo>
                  <a:pt x="501046" y="1358386"/>
                  <a:pt x="506481" y="1355669"/>
                  <a:pt x="503764" y="1350233"/>
                </a:cubicBezTo>
                <a:close/>
                <a:moveTo>
                  <a:pt x="462998" y="1344799"/>
                </a:moveTo>
                <a:cubicBezTo>
                  <a:pt x="460280" y="1347517"/>
                  <a:pt x="461639" y="1348876"/>
                  <a:pt x="457563" y="1350235"/>
                </a:cubicBezTo>
                <a:cubicBezTo>
                  <a:pt x="465716" y="1355669"/>
                  <a:pt x="472510" y="1370616"/>
                  <a:pt x="486099" y="1359745"/>
                </a:cubicBezTo>
                <a:cubicBezTo>
                  <a:pt x="484740" y="1358386"/>
                  <a:pt x="484740" y="1355669"/>
                  <a:pt x="483381" y="1351592"/>
                </a:cubicBezTo>
                <a:cubicBezTo>
                  <a:pt x="480663" y="1354310"/>
                  <a:pt x="475229" y="1348875"/>
                  <a:pt x="472511" y="1346157"/>
                </a:cubicBezTo>
                <a:cubicBezTo>
                  <a:pt x="468434" y="1350235"/>
                  <a:pt x="467075" y="1346157"/>
                  <a:pt x="462998" y="1344799"/>
                </a:cubicBezTo>
                <a:close/>
                <a:moveTo>
                  <a:pt x="128735" y="1339364"/>
                </a:moveTo>
                <a:cubicBezTo>
                  <a:pt x="147758" y="1382846"/>
                  <a:pt x="165423" y="1427686"/>
                  <a:pt x="181728" y="1471168"/>
                </a:cubicBezTo>
                <a:cubicBezTo>
                  <a:pt x="164064" y="1439916"/>
                  <a:pt x="145040" y="1410022"/>
                  <a:pt x="124658" y="1381487"/>
                </a:cubicBezTo>
                <a:cubicBezTo>
                  <a:pt x="127377" y="1367900"/>
                  <a:pt x="128736" y="1352953"/>
                  <a:pt x="128735" y="1339364"/>
                </a:cubicBezTo>
                <a:close/>
                <a:moveTo>
                  <a:pt x="371960" y="1338004"/>
                </a:moveTo>
                <a:cubicBezTo>
                  <a:pt x="363807" y="1340722"/>
                  <a:pt x="361090" y="1343439"/>
                  <a:pt x="352936" y="1346157"/>
                </a:cubicBezTo>
                <a:cubicBezTo>
                  <a:pt x="361090" y="1348874"/>
                  <a:pt x="367883" y="1350233"/>
                  <a:pt x="374677" y="1343439"/>
                </a:cubicBezTo>
                <a:cubicBezTo>
                  <a:pt x="373318" y="1342080"/>
                  <a:pt x="371960" y="1340722"/>
                  <a:pt x="371960" y="1338004"/>
                </a:cubicBezTo>
                <a:close/>
                <a:moveTo>
                  <a:pt x="416460" y="1337835"/>
                </a:moveTo>
                <a:cubicBezTo>
                  <a:pt x="414762" y="1337835"/>
                  <a:pt x="413063" y="1339024"/>
                  <a:pt x="411365" y="1342080"/>
                </a:cubicBezTo>
                <a:cubicBezTo>
                  <a:pt x="415441" y="1340722"/>
                  <a:pt x="423594" y="1340722"/>
                  <a:pt x="423594" y="1346157"/>
                </a:cubicBezTo>
                <a:cubicBezTo>
                  <a:pt x="419518" y="1344798"/>
                  <a:pt x="414082" y="1344798"/>
                  <a:pt x="410006" y="1346157"/>
                </a:cubicBezTo>
                <a:cubicBezTo>
                  <a:pt x="414082" y="1347517"/>
                  <a:pt x="410005" y="1351593"/>
                  <a:pt x="412722" y="1354310"/>
                </a:cubicBezTo>
                <a:cubicBezTo>
                  <a:pt x="418159" y="1346157"/>
                  <a:pt x="426312" y="1357028"/>
                  <a:pt x="431747" y="1359746"/>
                </a:cubicBezTo>
                <a:cubicBezTo>
                  <a:pt x="426312" y="1357028"/>
                  <a:pt x="429030" y="1354310"/>
                  <a:pt x="431747" y="1351593"/>
                </a:cubicBezTo>
                <a:cubicBezTo>
                  <a:pt x="426651" y="1348535"/>
                  <a:pt x="421556" y="1337835"/>
                  <a:pt x="416460" y="1337835"/>
                </a:cubicBezTo>
                <a:close/>
                <a:moveTo>
                  <a:pt x="644399" y="1317283"/>
                </a:moveTo>
                <a:cubicBezTo>
                  <a:pt x="642700" y="1318643"/>
                  <a:pt x="641682" y="1321021"/>
                  <a:pt x="642361" y="1323059"/>
                </a:cubicBezTo>
                <a:cubicBezTo>
                  <a:pt x="643719" y="1321701"/>
                  <a:pt x="645078" y="1323059"/>
                  <a:pt x="646437" y="1324418"/>
                </a:cubicBezTo>
                <a:cubicBezTo>
                  <a:pt x="649156" y="1321699"/>
                  <a:pt x="650514" y="1320341"/>
                  <a:pt x="650514" y="1317623"/>
                </a:cubicBezTo>
                <a:cubicBezTo>
                  <a:pt x="648475" y="1315584"/>
                  <a:pt x="646097" y="1315924"/>
                  <a:pt x="644399" y="1317283"/>
                </a:cubicBezTo>
                <a:close/>
                <a:moveTo>
                  <a:pt x="351069" y="1312018"/>
                </a:moveTo>
                <a:cubicBezTo>
                  <a:pt x="349201" y="1311848"/>
                  <a:pt x="347502" y="1312188"/>
                  <a:pt x="346143" y="1312187"/>
                </a:cubicBezTo>
                <a:cubicBezTo>
                  <a:pt x="348861" y="1314905"/>
                  <a:pt x="347502" y="1316264"/>
                  <a:pt x="350220" y="1318982"/>
                </a:cubicBezTo>
                <a:cubicBezTo>
                  <a:pt x="351579" y="1317623"/>
                  <a:pt x="354296" y="1317624"/>
                  <a:pt x="357014" y="1314905"/>
                </a:cubicBezTo>
                <a:cubicBezTo>
                  <a:pt x="354976" y="1312867"/>
                  <a:pt x="352937" y="1312187"/>
                  <a:pt x="351069" y="1312018"/>
                </a:cubicBezTo>
                <a:close/>
                <a:moveTo>
                  <a:pt x="636754" y="1308960"/>
                </a:moveTo>
                <a:cubicBezTo>
                  <a:pt x="633867" y="1309809"/>
                  <a:pt x="631489" y="1312187"/>
                  <a:pt x="631489" y="1314905"/>
                </a:cubicBezTo>
                <a:cubicBezTo>
                  <a:pt x="635566" y="1313547"/>
                  <a:pt x="641001" y="1316265"/>
                  <a:pt x="645078" y="1312187"/>
                </a:cubicBezTo>
                <a:cubicBezTo>
                  <a:pt x="643039" y="1308790"/>
                  <a:pt x="639642" y="1308112"/>
                  <a:pt x="636754" y="1308960"/>
                </a:cubicBezTo>
                <a:close/>
                <a:moveTo>
                  <a:pt x="605673" y="1305393"/>
                </a:moveTo>
                <a:cubicBezTo>
                  <a:pt x="609749" y="1309470"/>
                  <a:pt x="612467" y="1312188"/>
                  <a:pt x="616544" y="1305393"/>
                </a:cubicBezTo>
                <a:cubicBezTo>
                  <a:pt x="612467" y="1304035"/>
                  <a:pt x="609750" y="1304034"/>
                  <a:pt x="605673" y="1305393"/>
                </a:cubicBezTo>
                <a:close/>
                <a:moveTo>
                  <a:pt x="545207" y="1302675"/>
                </a:moveTo>
                <a:cubicBezTo>
                  <a:pt x="543168" y="1302676"/>
                  <a:pt x="541130" y="1303355"/>
                  <a:pt x="539092" y="1304035"/>
                </a:cubicBezTo>
                <a:cubicBezTo>
                  <a:pt x="543169" y="1305393"/>
                  <a:pt x="547245" y="1309470"/>
                  <a:pt x="551322" y="1305393"/>
                </a:cubicBezTo>
                <a:cubicBezTo>
                  <a:pt x="549283" y="1303355"/>
                  <a:pt x="547245" y="1302676"/>
                  <a:pt x="545207" y="1302675"/>
                </a:cubicBezTo>
                <a:close/>
                <a:moveTo>
                  <a:pt x="348861" y="1301317"/>
                </a:moveTo>
                <a:cubicBezTo>
                  <a:pt x="346143" y="1304034"/>
                  <a:pt x="347502" y="1305393"/>
                  <a:pt x="350219" y="1305393"/>
                </a:cubicBezTo>
                <a:cubicBezTo>
                  <a:pt x="348861" y="1306752"/>
                  <a:pt x="347502" y="1308111"/>
                  <a:pt x="347502" y="1310829"/>
                </a:cubicBezTo>
                <a:cubicBezTo>
                  <a:pt x="348860" y="1312187"/>
                  <a:pt x="351579" y="1312188"/>
                  <a:pt x="352938" y="1310829"/>
                </a:cubicBezTo>
                <a:cubicBezTo>
                  <a:pt x="348861" y="1306752"/>
                  <a:pt x="351578" y="1304034"/>
                  <a:pt x="348861" y="1301317"/>
                </a:cubicBezTo>
                <a:close/>
                <a:moveTo>
                  <a:pt x="185805" y="1298600"/>
                </a:moveTo>
                <a:cubicBezTo>
                  <a:pt x="181729" y="1299958"/>
                  <a:pt x="176294" y="1297241"/>
                  <a:pt x="173577" y="1299959"/>
                </a:cubicBezTo>
                <a:cubicBezTo>
                  <a:pt x="177652" y="1304034"/>
                  <a:pt x="187165" y="1305393"/>
                  <a:pt x="185805" y="1298600"/>
                </a:cubicBezTo>
                <a:close/>
                <a:moveTo>
                  <a:pt x="638284" y="1294523"/>
                </a:moveTo>
                <a:cubicBezTo>
                  <a:pt x="638284" y="1297241"/>
                  <a:pt x="634207" y="1298600"/>
                  <a:pt x="635566" y="1302676"/>
                </a:cubicBezTo>
                <a:cubicBezTo>
                  <a:pt x="638284" y="1308112"/>
                  <a:pt x="642360" y="1306754"/>
                  <a:pt x="647797" y="1301318"/>
                </a:cubicBezTo>
                <a:cubicBezTo>
                  <a:pt x="646437" y="1297241"/>
                  <a:pt x="643719" y="1294523"/>
                  <a:pt x="638284" y="1294523"/>
                </a:cubicBezTo>
                <a:close/>
                <a:moveTo>
                  <a:pt x="613826" y="1289088"/>
                </a:moveTo>
                <a:cubicBezTo>
                  <a:pt x="611108" y="1291805"/>
                  <a:pt x="609750" y="1290447"/>
                  <a:pt x="607032" y="1293165"/>
                </a:cubicBezTo>
                <a:cubicBezTo>
                  <a:pt x="611108" y="1297241"/>
                  <a:pt x="615185" y="1293165"/>
                  <a:pt x="613826" y="1289088"/>
                </a:cubicBezTo>
                <a:close/>
                <a:moveTo>
                  <a:pt x="499688" y="1289087"/>
                </a:moveTo>
                <a:cubicBezTo>
                  <a:pt x="501047" y="1290446"/>
                  <a:pt x="501046" y="1295882"/>
                  <a:pt x="505124" y="1294522"/>
                </a:cubicBezTo>
                <a:cubicBezTo>
                  <a:pt x="501047" y="1293164"/>
                  <a:pt x="502406" y="1286369"/>
                  <a:pt x="499688" y="1289087"/>
                </a:cubicBezTo>
                <a:close/>
                <a:moveTo>
                  <a:pt x="315740" y="1283144"/>
                </a:moveTo>
                <a:cubicBezTo>
                  <a:pt x="312513" y="1283314"/>
                  <a:pt x="309455" y="1285013"/>
                  <a:pt x="306737" y="1289088"/>
                </a:cubicBezTo>
                <a:cubicBezTo>
                  <a:pt x="313532" y="1295883"/>
                  <a:pt x="324402" y="1295884"/>
                  <a:pt x="325761" y="1286372"/>
                </a:cubicBezTo>
                <a:cubicBezTo>
                  <a:pt x="322363" y="1284333"/>
                  <a:pt x="318967" y="1282975"/>
                  <a:pt x="315740" y="1283144"/>
                </a:cubicBezTo>
                <a:close/>
                <a:moveTo>
                  <a:pt x="505122" y="1278219"/>
                </a:moveTo>
                <a:cubicBezTo>
                  <a:pt x="505122" y="1283653"/>
                  <a:pt x="496969" y="1275501"/>
                  <a:pt x="499686" y="1280936"/>
                </a:cubicBezTo>
                <a:cubicBezTo>
                  <a:pt x="503763" y="1282294"/>
                  <a:pt x="505122" y="1297241"/>
                  <a:pt x="513274" y="1297242"/>
                </a:cubicBezTo>
                <a:cubicBezTo>
                  <a:pt x="510557" y="1294524"/>
                  <a:pt x="514633" y="1295883"/>
                  <a:pt x="517351" y="1293165"/>
                </a:cubicBezTo>
                <a:cubicBezTo>
                  <a:pt x="513274" y="1286370"/>
                  <a:pt x="510557" y="1286371"/>
                  <a:pt x="505122" y="1278219"/>
                </a:cubicBezTo>
                <a:close/>
                <a:moveTo>
                  <a:pt x="260878" y="1278218"/>
                </a:moveTo>
                <a:cubicBezTo>
                  <a:pt x="258840" y="1277199"/>
                  <a:pt x="256462" y="1276859"/>
                  <a:pt x="255103" y="1278218"/>
                </a:cubicBezTo>
                <a:cubicBezTo>
                  <a:pt x="257821" y="1280935"/>
                  <a:pt x="261897" y="1285012"/>
                  <a:pt x="264615" y="1282294"/>
                </a:cubicBezTo>
                <a:cubicBezTo>
                  <a:pt x="264615" y="1280935"/>
                  <a:pt x="262916" y="1279237"/>
                  <a:pt x="260878" y="1278218"/>
                </a:cubicBezTo>
                <a:close/>
                <a:moveTo>
                  <a:pt x="591235" y="1271254"/>
                </a:moveTo>
                <a:cubicBezTo>
                  <a:pt x="587668" y="1272443"/>
                  <a:pt x="584611" y="1274821"/>
                  <a:pt x="583931" y="1278218"/>
                </a:cubicBezTo>
                <a:cubicBezTo>
                  <a:pt x="589366" y="1278219"/>
                  <a:pt x="596161" y="1274141"/>
                  <a:pt x="601596" y="1271423"/>
                </a:cubicBezTo>
                <a:cubicBezTo>
                  <a:pt x="598879" y="1270065"/>
                  <a:pt x="594802" y="1270065"/>
                  <a:pt x="591235" y="1271254"/>
                </a:cubicBezTo>
                <a:close/>
                <a:moveTo>
                  <a:pt x="452128" y="1257836"/>
                </a:moveTo>
                <a:cubicBezTo>
                  <a:pt x="457563" y="1263271"/>
                  <a:pt x="453487" y="1270064"/>
                  <a:pt x="460282" y="1276859"/>
                </a:cubicBezTo>
                <a:cubicBezTo>
                  <a:pt x="461641" y="1275500"/>
                  <a:pt x="463000" y="1276859"/>
                  <a:pt x="465717" y="1274141"/>
                </a:cubicBezTo>
                <a:cubicBezTo>
                  <a:pt x="462999" y="1268707"/>
                  <a:pt x="457564" y="1257834"/>
                  <a:pt x="452128" y="1257836"/>
                </a:cubicBezTo>
                <a:close/>
                <a:moveTo>
                  <a:pt x="287715" y="1253761"/>
                </a:moveTo>
                <a:cubicBezTo>
                  <a:pt x="289074" y="1255119"/>
                  <a:pt x="289074" y="1257836"/>
                  <a:pt x="290433" y="1261913"/>
                </a:cubicBezTo>
                <a:cubicBezTo>
                  <a:pt x="291792" y="1260554"/>
                  <a:pt x="293150" y="1259195"/>
                  <a:pt x="295868" y="1259195"/>
                </a:cubicBezTo>
                <a:cubicBezTo>
                  <a:pt x="291792" y="1257837"/>
                  <a:pt x="289074" y="1252401"/>
                  <a:pt x="287715" y="1253761"/>
                </a:cubicBezTo>
                <a:close/>
                <a:moveTo>
                  <a:pt x="485080" y="1253420"/>
                </a:moveTo>
                <a:cubicBezTo>
                  <a:pt x="481004" y="1251383"/>
                  <a:pt x="475907" y="1253080"/>
                  <a:pt x="472511" y="1261913"/>
                </a:cubicBezTo>
                <a:cubicBezTo>
                  <a:pt x="479306" y="1265989"/>
                  <a:pt x="486099" y="1270066"/>
                  <a:pt x="491534" y="1267348"/>
                </a:cubicBezTo>
                <a:cubicBezTo>
                  <a:pt x="492213" y="1261233"/>
                  <a:pt x="489156" y="1255458"/>
                  <a:pt x="485080" y="1253420"/>
                </a:cubicBezTo>
                <a:close/>
                <a:moveTo>
                  <a:pt x="363807" y="1251041"/>
                </a:moveTo>
                <a:cubicBezTo>
                  <a:pt x="367884" y="1255118"/>
                  <a:pt x="357013" y="1249682"/>
                  <a:pt x="359730" y="1255117"/>
                </a:cubicBezTo>
                <a:cubicBezTo>
                  <a:pt x="365166" y="1255118"/>
                  <a:pt x="362448" y="1257836"/>
                  <a:pt x="358371" y="1259193"/>
                </a:cubicBezTo>
                <a:cubicBezTo>
                  <a:pt x="362448" y="1260554"/>
                  <a:pt x="365166" y="1263271"/>
                  <a:pt x="359731" y="1268706"/>
                </a:cubicBezTo>
                <a:cubicBezTo>
                  <a:pt x="361090" y="1264629"/>
                  <a:pt x="350219" y="1259194"/>
                  <a:pt x="352937" y="1264629"/>
                </a:cubicBezTo>
                <a:cubicBezTo>
                  <a:pt x="358371" y="1264629"/>
                  <a:pt x="365166" y="1282294"/>
                  <a:pt x="365166" y="1282294"/>
                </a:cubicBezTo>
                <a:cubicBezTo>
                  <a:pt x="365166" y="1276859"/>
                  <a:pt x="362448" y="1271423"/>
                  <a:pt x="363808" y="1267348"/>
                </a:cubicBezTo>
                <a:cubicBezTo>
                  <a:pt x="363808" y="1272782"/>
                  <a:pt x="365166" y="1268706"/>
                  <a:pt x="369242" y="1270064"/>
                </a:cubicBezTo>
                <a:cubicBezTo>
                  <a:pt x="363807" y="1275500"/>
                  <a:pt x="369242" y="1280935"/>
                  <a:pt x="373319" y="1285012"/>
                </a:cubicBezTo>
                <a:cubicBezTo>
                  <a:pt x="377395" y="1280935"/>
                  <a:pt x="373319" y="1276859"/>
                  <a:pt x="374677" y="1272782"/>
                </a:cubicBezTo>
                <a:cubicBezTo>
                  <a:pt x="374678" y="1275500"/>
                  <a:pt x="376037" y="1276859"/>
                  <a:pt x="380113" y="1275500"/>
                </a:cubicBezTo>
                <a:cubicBezTo>
                  <a:pt x="370601" y="1263271"/>
                  <a:pt x="369242" y="1256477"/>
                  <a:pt x="363807" y="1251041"/>
                </a:cubicBezTo>
                <a:close/>
                <a:moveTo>
                  <a:pt x="242875" y="1250363"/>
                </a:moveTo>
                <a:cubicBezTo>
                  <a:pt x="241516" y="1249683"/>
                  <a:pt x="240157" y="1249683"/>
                  <a:pt x="238799" y="1251041"/>
                </a:cubicBezTo>
                <a:cubicBezTo>
                  <a:pt x="241516" y="1251042"/>
                  <a:pt x="245594" y="1257836"/>
                  <a:pt x="246952" y="1253759"/>
                </a:cubicBezTo>
                <a:cubicBezTo>
                  <a:pt x="245593" y="1252401"/>
                  <a:pt x="244234" y="1251042"/>
                  <a:pt x="242875" y="1250363"/>
                </a:cubicBezTo>
                <a:close/>
                <a:moveTo>
                  <a:pt x="253406" y="1222974"/>
                </a:moveTo>
                <a:cubicBezTo>
                  <a:pt x="252897" y="1222337"/>
                  <a:pt x="258502" y="1232018"/>
                  <a:pt x="256463" y="1227942"/>
                </a:cubicBezTo>
                <a:cubicBezTo>
                  <a:pt x="254425" y="1224545"/>
                  <a:pt x="253576" y="1223187"/>
                  <a:pt x="253406" y="1222974"/>
                </a:cubicBezTo>
                <a:close/>
                <a:moveTo>
                  <a:pt x="1509273" y="1214354"/>
                </a:moveTo>
                <a:cubicBezTo>
                  <a:pt x="1507913" y="1215713"/>
                  <a:pt x="1507913" y="1215713"/>
                  <a:pt x="1506555" y="1217072"/>
                </a:cubicBezTo>
                <a:cubicBezTo>
                  <a:pt x="1506555" y="1217072"/>
                  <a:pt x="1505196" y="1218431"/>
                  <a:pt x="1506555" y="1219790"/>
                </a:cubicBezTo>
                <a:cubicBezTo>
                  <a:pt x="1507914" y="1218431"/>
                  <a:pt x="1511990" y="1219790"/>
                  <a:pt x="1513349" y="1218431"/>
                </a:cubicBezTo>
                <a:cubicBezTo>
                  <a:pt x="1511990" y="1217072"/>
                  <a:pt x="1510632" y="1215713"/>
                  <a:pt x="1509273" y="1214354"/>
                </a:cubicBezTo>
                <a:close/>
                <a:moveTo>
                  <a:pt x="74384" y="1203485"/>
                </a:moveTo>
                <a:cubicBezTo>
                  <a:pt x="90689" y="1244249"/>
                  <a:pt x="108353" y="1286372"/>
                  <a:pt x="124659" y="1327136"/>
                </a:cubicBezTo>
                <a:cubicBezTo>
                  <a:pt x="124658" y="1343441"/>
                  <a:pt x="123300" y="1358388"/>
                  <a:pt x="120583" y="1374693"/>
                </a:cubicBezTo>
                <a:cubicBezTo>
                  <a:pt x="101559" y="1344799"/>
                  <a:pt x="81177" y="1313547"/>
                  <a:pt x="63513" y="1282295"/>
                </a:cubicBezTo>
                <a:cubicBezTo>
                  <a:pt x="63513" y="1260554"/>
                  <a:pt x="64872" y="1240173"/>
                  <a:pt x="68948" y="1222509"/>
                </a:cubicBezTo>
                <a:cubicBezTo>
                  <a:pt x="70307" y="1215714"/>
                  <a:pt x="73025" y="1210279"/>
                  <a:pt x="74384" y="1203485"/>
                </a:cubicBezTo>
                <a:close/>
                <a:moveTo>
                  <a:pt x="1286429" y="1198048"/>
                </a:moveTo>
                <a:cubicBezTo>
                  <a:pt x="1287788" y="1212996"/>
                  <a:pt x="1295941" y="1223865"/>
                  <a:pt x="1304094" y="1234737"/>
                </a:cubicBezTo>
                <a:cubicBezTo>
                  <a:pt x="1309529" y="1232019"/>
                  <a:pt x="1306812" y="1229302"/>
                  <a:pt x="1309529" y="1226584"/>
                </a:cubicBezTo>
                <a:cubicBezTo>
                  <a:pt x="1297300" y="1219790"/>
                  <a:pt x="1298659" y="1202125"/>
                  <a:pt x="1286429" y="1198048"/>
                </a:cubicBezTo>
                <a:close/>
                <a:moveTo>
                  <a:pt x="1487531" y="1192613"/>
                </a:moveTo>
                <a:cubicBezTo>
                  <a:pt x="1490249" y="1195332"/>
                  <a:pt x="1486171" y="1193973"/>
                  <a:pt x="1483454" y="1196690"/>
                </a:cubicBezTo>
                <a:cubicBezTo>
                  <a:pt x="1487531" y="1203485"/>
                  <a:pt x="1490248" y="1206202"/>
                  <a:pt x="1497042" y="1202125"/>
                </a:cubicBezTo>
                <a:cubicBezTo>
                  <a:pt x="1492966" y="1198049"/>
                  <a:pt x="1491608" y="1202125"/>
                  <a:pt x="1488890" y="1196691"/>
                </a:cubicBezTo>
                <a:cubicBezTo>
                  <a:pt x="1491608" y="1193973"/>
                  <a:pt x="1491607" y="1191255"/>
                  <a:pt x="1487531" y="1192613"/>
                </a:cubicBezTo>
                <a:close/>
                <a:moveTo>
                  <a:pt x="82536" y="1181744"/>
                </a:moveTo>
                <a:lnTo>
                  <a:pt x="96788" y="1201529"/>
                </a:lnTo>
                <a:lnTo>
                  <a:pt x="101475" y="1209216"/>
                </a:lnTo>
                <a:lnTo>
                  <a:pt x="112430" y="1233378"/>
                </a:lnTo>
                <a:cubicBezTo>
                  <a:pt x="124659" y="1261913"/>
                  <a:pt x="124659" y="1289089"/>
                  <a:pt x="124659" y="1313548"/>
                </a:cubicBezTo>
                <a:cubicBezTo>
                  <a:pt x="124658" y="1316265"/>
                  <a:pt x="123300" y="1317624"/>
                  <a:pt x="124659" y="1318983"/>
                </a:cubicBezTo>
                <a:cubicBezTo>
                  <a:pt x="108353" y="1278219"/>
                  <a:pt x="92047" y="1237455"/>
                  <a:pt x="77100" y="1195332"/>
                </a:cubicBezTo>
                <a:cubicBezTo>
                  <a:pt x="79819" y="1189897"/>
                  <a:pt x="81177" y="1185821"/>
                  <a:pt x="82536" y="1181744"/>
                </a:cubicBezTo>
                <a:close/>
                <a:moveTo>
                  <a:pt x="256462" y="1181742"/>
                </a:moveTo>
                <a:cubicBezTo>
                  <a:pt x="263256" y="1185820"/>
                  <a:pt x="263256" y="1199408"/>
                  <a:pt x="272768" y="1195332"/>
                </a:cubicBezTo>
                <a:cubicBezTo>
                  <a:pt x="271409" y="1191255"/>
                  <a:pt x="263256" y="1183102"/>
                  <a:pt x="256462" y="1181742"/>
                </a:cubicBezTo>
                <a:close/>
                <a:moveTo>
                  <a:pt x="1285070" y="1177667"/>
                </a:moveTo>
                <a:cubicBezTo>
                  <a:pt x="1280993" y="1181744"/>
                  <a:pt x="1285069" y="1199408"/>
                  <a:pt x="1293223" y="1193973"/>
                </a:cubicBezTo>
                <a:cubicBezTo>
                  <a:pt x="1287787" y="1188538"/>
                  <a:pt x="1289147" y="1181743"/>
                  <a:pt x="1285070" y="1177667"/>
                </a:cubicBezTo>
                <a:close/>
                <a:moveTo>
                  <a:pt x="66230" y="1162721"/>
                </a:moveTo>
                <a:cubicBezTo>
                  <a:pt x="68948" y="1165439"/>
                  <a:pt x="70307" y="1166798"/>
                  <a:pt x="73024" y="1169515"/>
                </a:cubicBezTo>
                <a:cubicBezTo>
                  <a:pt x="73025" y="1172233"/>
                  <a:pt x="71666" y="1173592"/>
                  <a:pt x="70307" y="1174951"/>
                </a:cubicBezTo>
                <a:cubicBezTo>
                  <a:pt x="68948" y="1170874"/>
                  <a:pt x="67589" y="1166797"/>
                  <a:pt x="66230" y="1162721"/>
                </a:cubicBezTo>
                <a:close/>
                <a:moveTo>
                  <a:pt x="1278277" y="1160002"/>
                </a:moveTo>
                <a:cubicBezTo>
                  <a:pt x="1275560" y="1162720"/>
                  <a:pt x="1279636" y="1177667"/>
                  <a:pt x="1285072" y="1172232"/>
                </a:cubicBezTo>
                <a:cubicBezTo>
                  <a:pt x="1278277" y="1168155"/>
                  <a:pt x="1282353" y="1164079"/>
                  <a:pt x="1278277" y="1160002"/>
                </a:cubicBezTo>
                <a:close/>
                <a:moveTo>
                  <a:pt x="1276918" y="1139621"/>
                </a:moveTo>
                <a:cubicBezTo>
                  <a:pt x="1272842" y="1143697"/>
                  <a:pt x="1274201" y="1147773"/>
                  <a:pt x="1276919" y="1150491"/>
                </a:cubicBezTo>
                <a:cubicBezTo>
                  <a:pt x="1278277" y="1149133"/>
                  <a:pt x="1282353" y="1150491"/>
                  <a:pt x="1280995" y="1146415"/>
                </a:cubicBezTo>
                <a:cubicBezTo>
                  <a:pt x="1275560" y="1149132"/>
                  <a:pt x="1280994" y="1140979"/>
                  <a:pt x="1276918" y="1139621"/>
                </a:cubicBezTo>
                <a:close/>
                <a:moveTo>
                  <a:pt x="1051358" y="1128751"/>
                </a:moveTo>
                <a:cubicBezTo>
                  <a:pt x="1083969" y="1142338"/>
                  <a:pt x="1116581" y="1158644"/>
                  <a:pt x="1150550" y="1179026"/>
                </a:cubicBezTo>
                <a:lnTo>
                  <a:pt x="1194445" y="1207165"/>
                </a:lnTo>
                <a:lnTo>
                  <a:pt x="1144945" y="1185990"/>
                </a:lnTo>
                <a:cubicBezTo>
                  <a:pt x="1124733" y="1176310"/>
                  <a:pt x="1104351" y="1165439"/>
                  <a:pt x="1083969" y="1153209"/>
                </a:cubicBezTo>
                <a:lnTo>
                  <a:pt x="1089688" y="1157517"/>
                </a:lnTo>
                <a:lnTo>
                  <a:pt x="1078775" y="1151108"/>
                </a:lnTo>
                <a:lnTo>
                  <a:pt x="1063252" y="1139159"/>
                </a:lnTo>
                <a:close/>
                <a:moveTo>
                  <a:pt x="169500" y="1119239"/>
                </a:moveTo>
                <a:cubicBezTo>
                  <a:pt x="184446" y="1145056"/>
                  <a:pt x="196676" y="1170873"/>
                  <a:pt x="203470" y="1196691"/>
                </a:cubicBezTo>
                <a:cubicBezTo>
                  <a:pt x="217057" y="1240173"/>
                  <a:pt x="211621" y="1278219"/>
                  <a:pt x="207545" y="1314906"/>
                </a:cubicBezTo>
                <a:cubicBezTo>
                  <a:pt x="207545" y="1323059"/>
                  <a:pt x="204827" y="1331212"/>
                  <a:pt x="204828" y="1339364"/>
                </a:cubicBezTo>
                <a:cubicBezTo>
                  <a:pt x="203469" y="1302677"/>
                  <a:pt x="199393" y="1265990"/>
                  <a:pt x="187163" y="1223867"/>
                </a:cubicBezTo>
                <a:cubicBezTo>
                  <a:pt x="177652" y="1189896"/>
                  <a:pt x="159988" y="1155927"/>
                  <a:pt x="138248" y="1123316"/>
                </a:cubicBezTo>
                <a:cubicBezTo>
                  <a:pt x="142324" y="1124674"/>
                  <a:pt x="147759" y="1127392"/>
                  <a:pt x="150476" y="1130109"/>
                </a:cubicBezTo>
                <a:cubicBezTo>
                  <a:pt x="154553" y="1120598"/>
                  <a:pt x="162706" y="1120598"/>
                  <a:pt x="169500" y="1119239"/>
                </a:cubicBezTo>
                <a:close/>
                <a:moveTo>
                  <a:pt x="111071" y="1117880"/>
                </a:moveTo>
                <a:cubicBezTo>
                  <a:pt x="117865" y="1119239"/>
                  <a:pt x="123301" y="1121957"/>
                  <a:pt x="128736" y="1121957"/>
                </a:cubicBezTo>
                <a:cubicBezTo>
                  <a:pt x="151835" y="1153209"/>
                  <a:pt x="170858" y="1188538"/>
                  <a:pt x="180369" y="1225226"/>
                </a:cubicBezTo>
                <a:cubicBezTo>
                  <a:pt x="193957" y="1274142"/>
                  <a:pt x="198034" y="1318983"/>
                  <a:pt x="199393" y="1363822"/>
                </a:cubicBezTo>
                <a:cubicBezTo>
                  <a:pt x="202110" y="1363823"/>
                  <a:pt x="202111" y="1366541"/>
                  <a:pt x="203469" y="1367899"/>
                </a:cubicBezTo>
                <a:cubicBezTo>
                  <a:pt x="202111" y="1388281"/>
                  <a:pt x="202110" y="1410023"/>
                  <a:pt x="202111" y="1431763"/>
                </a:cubicBezTo>
                <a:cubicBezTo>
                  <a:pt x="203469" y="1457580"/>
                  <a:pt x="206186" y="1484756"/>
                  <a:pt x="210263" y="1513290"/>
                </a:cubicBezTo>
                <a:cubicBezTo>
                  <a:pt x="202110" y="1499702"/>
                  <a:pt x="195316" y="1487473"/>
                  <a:pt x="185805" y="1475244"/>
                </a:cubicBezTo>
                <a:cubicBezTo>
                  <a:pt x="169499" y="1426328"/>
                  <a:pt x="149117" y="1378769"/>
                  <a:pt x="130094" y="1329854"/>
                </a:cubicBezTo>
                <a:cubicBezTo>
                  <a:pt x="130094" y="1324417"/>
                  <a:pt x="131453" y="1320342"/>
                  <a:pt x="130094" y="1316265"/>
                </a:cubicBezTo>
                <a:cubicBezTo>
                  <a:pt x="130094" y="1316265"/>
                  <a:pt x="130094" y="1313548"/>
                  <a:pt x="130094" y="1313548"/>
                </a:cubicBezTo>
                <a:cubicBezTo>
                  <a:pt x="135529" y="1310830"/>
                  <a:pt x="139605" y="1317624"/>
                  <a:pt x="147758" y="1309471"/>
                </a:cubicBezTo>
                <a:cubicBezTo>
                  <a:pt x="142323" y="1306753"/>
                  <a:pt x="134170" y="1306753"/>
                  <a:pt x="130094" y="1310830"/>
                </a:cubicBezTo>
                <a:cubicBezTo>
                  <a:pt x="130094" y="1289089"/>
                  <a:pt x="128736" y="1263272"/>
                  <a:pt x="117865" y="1236096"/>
                </a:cubicBezTo>
                <a:lnTo>
                  <a:pt x="101475" y="1209216"/>
                </a:lnTo>
                <a:lnTo>
                  <a:pt x="100031" y="1206033"/>
                </a:lnTo>
                <a:lnTo>
                  <a:pt x="96788" y="1201529"/>
                </a:lnTo>
                <a:lnTo>
                  <a:pt x="83894" y="1180385"/>
                </a:lnTo>
                <a:cubicBezTo>
                  <a:pt x="87971" y="1170874"/>
                  <a:pt x="93407" y="1160004"/>
                  <a:pt x="98841" y="1151851"/>
                </a:cubicBezTo>
                <a:cubicBezTo>
                  <a:pt x="101559" y="1154568"/>
                  <a:pt x="104277" y="1154568"/>
                  <a:pt x="104277" y="1149133"/>
                </a:cubicBezTo>
                <a:cubicBezTo>
                  <a:pt x="102918" y="1150492"/>
                  <a:pt x="101559" y="1149133"/>
                  <a:pt x="100201" y="1147774"/>
                </a:cubicBezTo>
                <a:cubicBezTo>
                  <a:pt x="104277" y="1138262"/>
                  <a:pt x="109713" y="1130109"/>
                  <a:pt x="111071" y="1120598"/>
                </a:cubicBezTo>
                <a:cubicBezTo>
                  <a:pt x="111071" y="1120598"/>
                  <a:pt x="112430" y="1119239"/>
                  <a:pt x="111071" y="1117880"/>
                </a:cubicBezTo>
                <a:close/>
                <a:moveTo>
                  <a:pt x="0" y="1111745"/>
                </a:moveTo>
                <a:lnTo>
                  <a:pt x="54001" y="1155927"/>
                </a:lnTo>
                <a:cubicBezTo>
                  <a:pt x="58078" y="1165439"/>
                  <a:pt x="62154" y="1177668"/>
                  <a:pt x="66231" y="1187179"/>
                </a:cubicBezTo>
                <a:cubicBezTo>
                  <a:pt x="63513" y="1195332"/>
                  <a:pt x="59436" y="1204844"/>
                  <a:pt x="58078" y="1214355"/>
                </a:cubicBezTo>
                <a:cubicBezTo>
                  <a:pt x="55360" y="1230661"/>
                  <a:pt x="52642" y="1246966"/>
                  <a:pt x="54001" y="1264631"/>
                </a:cubicBezTo>
                <a:cubicBezTo>
                  <a:pt x="36337" y="1233379"/>
                  <a:pt x="20031" y="1200767"/>
                  <a:pt x="7803" y="1166798"/>
                </a:cubicBezTo>
                <a:lnTo>
                  <a:pt x="0" y="1136890"/>
                </a:lnTo>
                <a:close/>
                <a:moveTo>
                  <a:pt x="215295" y="1109960"/>
                </a:moveTo>
                <a:cubicBezTo>
                  <a:pt x="214595" y="1111171"/>
                  <a:pt x="210264" y="1120597"/>
                  <a:pt x="214340" y="1112444"/>
                </a:cubicBezTo>
                <a:cubicBezTo>
                  <a:pt x="215359" y="1110066"/>
                  <a:pt x="215529" y="1109557"/>
                  <a:pt x="215295" y="1109960"/>
                </a:cubicBezTo>
                <a:close/>
                <a:moveTo>
                  <a:pt x="169499" y="1089345"/>
                </a:moveTo>
                <a:cubicBezTo>
                  <a:pt x="174934" y="1094780"/>
                  <a:pt x="173575" y="1101574"/>
                  <a:pt x="180369" y="1094780"/>
                </a:cubicBezTo>
                <a:cubicBezTo>
                  <a:pt x="176293" y="1090704"/>
                  <a:pt x="172216" y="1089345"/>
                  <a:pt x="169499" y="1089345"/>
                </a:cubicBezTo>
                <a:close/>
                <a:moveTo>
                  <a:pt x="1361166" y="1085272"/>
                </a:moveTo>
                <a:lnTo>
                  <a:pt x="1367175" y="1091281"/>
                </a:lnTo>
                <a:lnTo>
                  <a:pt x="1367059" y="1091270"/>
                </a:lnTo>
                <a:close/>
                <a:moveTo>
                  <a:pt x="0" y="1074888"/>
                </a:moveTo>
                <a:lnTo>
                  <a:pt x="26826" y="1082552"/>
                </a:lnTo>
                <a:cubicBezTo>
                  <a:pt x="28184" y="1081194"/>
                  <a:pt x="29543" y="1079835"/>
                  <a:pt x="29543" y="1077117"/>
                </a:cubicBezTo>
                <a:cubicBezTo>
                  <a:pt x="32261" y="1085270"/>
                  <a:pt x="34978" y="1093423"/>
                  <a:pt x="37696" y="1101575"/>
                </a:cubicBezTo>
                <a:cubicBezTo>
                  <a:pt x="43131" y="1115163"/>
                  <a:pt x="47208" y="1127393"/>
                  <a:pt x="52642" y="1140981"/>
                </a:cubicBezTo>
                <a:lnTo>
                  <a:pt x="0" y="1098866"/>
                </a:lnTo>
                <a:close/>
                <a:moveTo>
                  <a:pt x="742912" y="1073040"/>
                </a:moveTo>
                <a:cubicBezTo>
                  <a:pt x="736118" y="1074398"/>
                  <a:pt x="745630" y="1083910"/>
                  <a:pt x="746989" y="1077116"/>
                </a:cubicBezTo>
                <a:cubicBezTo>
                  <a:pt x="745630" y="1075757"/>
                  <a:pt x="744271" y="1074398"/>
                  <a:pt x="742912" y="1073040"/>
                </a:cubicBezTo>
                <a:close/>
                <a:moveTo>
                  <a:pt x="752424" y="1071681"/>
                </a:moveTo>
                <a:cubicBezTo>
                  <a:pt x="748347" y="1075758"/>
                  <a:pt x="745630" y="1078475"/>
                  <a:pt x="751065" y="1081193"/>
                </a:cubicBezTo>
                <a:cubicBezTo>
                  <a:pt x="755141" y="1077117"/>
                  <a:pt x="756500" y="1075758"/>
                  <a:pt x="752424" y="1071681"/>
                </a:cubicBezTo>
                <a:close/>
                <a:moveTo>
                  <a:pt x="134170" y="1067604"/>
                </a:moveTo>
                <a:cubicBezTo>
                  <a:pt x="140964" y="1068963"/>
                  <a:pt x="136888" y="1078474"/>
                  <a:pt x="140964" y="1074398"/>
                </a:cubicBezTo>
                <a:cubicBezTo>
                  <a:pt x="139605" y="1073039"/>
                  <a:pt x="139605" y="1064886"/>
                  <a:pt x="134170" y="1067604"/>
                </a:cubicBezTo>
                <a:close/>
                <a:moveTo>
                  <a:pt x="108354" y="1063528"/>
                </a:moveTo>
                <a:cubicBezTo>
                  <a:pt x="108354" y="1063528"/>
                  <a:pt x="108354" y="1066246"/>
                  <a:pt x="108354" y="1066246"/>
                </a:cubicBezTo>
                <a:cubicBezTo>
                  <a:pt x="108354" y="1066246"/>
                  <a:pt x="108354" y="1066246"/>
                  <a:pt x="105636" y="1066246"/>
                </a:cubicBezTo>
                <a:cubicBezTo>
                  <a:pt x="106995" y="1064887"/>
                  <a:pt x="106995" y="1064887"/>
                  <a:pt x="108354" y="1063528"/>
                </a:cubicBezTo>
                <a:close/>
                <a:moveTo>
                  <a:pt x="1320399" y="1052658"/>
                </a:moveTo>
                <a:cubicBezTo>
                  <a:pt x="1327194" y="1056734"/>
                  <a:pt x="1332629" y="1059453"/>
                  <a:pt x="1340782" y="1062169"/>
                </a:cubicBezTo>
                <a:cubicBezTo>
                  <a:pt x="1344858" y="1066246"/>
                  <a:pt x="1348934" y="1067605"/>
                  <a:pt x="1350293" y="1068964"/>
                </a:cubicBezTo>
                <a:cubicBezTo>
                  <a:pt x="1348934" y="1067605"/>
                  <a:pt x="1348934" y="1067605"/>
                  <a:pt x="1350293" y="1066246"/>
                </a:cubicBezTo>
                <a:cubicBezTo>
                  <a:pt x="1369316" y="1074399"/>
                  <a:pt x="1388340" y="1079833"/>
                  <a:pt x="1407363" y="1085269"/>
                </a:cubicBezTo>
                <a:lnTo>
                  <a:pt x="1426735" y="1090734"/>
                </a:lnTo>
                <a:lnTo>
                  <a:pt x="1361163" y="1085269"/>
                </a:lnTo>
                <a:lnTo>
                  <a:pt x="1361166" y="1085272"/>
                </a:lnTo>
                <a:lnTo>
                  <a:pt x="1359805" y="1083911"/>
                </a:lnTo>
                <a:lnTo>
                  <a:pt x="1351736" y="1081906"/>
                </a:lnTo>
                <a:close/>
                <a:moveTo>
                  <a:pt x="124659" y="1039070"/>
                </a:moveTo>
                <a:cubicBezTo>
                  <a:pt x="131454" y="1051300"/>
                  <a:pt x="136889" y="1059453"/>
                  <a:pt x="140965" y="1066246"/>
                </a:cubicBezTo>
                <a:cubicBezTo>
                  <a:pt x="147760" y="1078475"/>
                  <a:pt x="155912" y="1089345"/>
                  <a:pt x="161347" y="1100216"/>
                </a:cubicBezTo>
                <a:cubicBezTo>
                  <a:pt x="159988" y="1101575"/>
                  <a:pt x="158629" y="1100216"/>
                  <a:pt x="155912" y="1100215"/>
                </a:cubicBezTo>
                <a:cubicBezTo>
                  <a:pt x="143682" y="1085269"/>
                  <a:pt x="135530" y="1082552"/>
                  <a:pt x="123301" y="1067604"/>
                </a:cubicBezTo>
                <a:cubicBezTo>
                  <a:pt x="123301" y="1067604"/>
                  <a:pt x="121942" y="1068963"/>
                  <a:pt x="121942" y="1068963"/>
                </a:cubicBezTo>
                <a:cubicBezTo>
                  <a:pt x="121942" y="1063528"/>
                  <a:pt x="121942" y="1058093"/>
                  <a:pt x="123301" y="1051300"/>
                </a:cubicBezTo>
                <a:cubicBezTo>
                  <a:pt x="123301" y="1048581"/>
                  <a:pt x="123301" y="1048581"/>
                  <a:pt x="123300" y="1045864"/>
                </a:cubicBezTo>
                <a:cubicBezTo>
                  <a:pt x="123300" y="1045864"/>
                  <a:pt x="126018" y="1045864"/>
                  <a:pt x="126018" y="1045864"/>
                </a:cubicBezTo>
                <a:cubicBezTo>
                  <a:pt x="124659" y="1044505"/>
                  <a:pt x="123301" y="1043147"/>
                  <a:pt x="123301" y="1043147"/>
                </a:cubicBezTo>
                <a:cubicBezTo>
                  <a:pt x="123301" y="1043147"/>
                  <a:pt x="123301" y="1040429"/>
                  <a:pt x="123301" y="1040429"/>
                </a:cubicBezTo>
                <a:cubicBezTo>
                  <a:pt x="123301" y="1040429"/>
                  <a:pt x="123301" y="1040429"/>
                  <a:pt x="124659" y="1039070"/>
                </a:cubicBezTo>
                <a:close/>
                <a:moveTo>
                  <a:pt x="948089" y="1030917"/>
                </a:moveTo>
                <a:cubicBezTo>
                  <a:pt x="968472" y="1056734"/>
                  <a:pt x="991571" y="1079834"/>
                  <a:pt x="1016030" y="1101574"/>
                </a:cubicBezTo>
                <a:cubicBezTo>
                  <a:pt x="1014671" y="1100216"/>
                  <a:pt x="1011953" y="1100216"/>
                  <a:pt x="1011953" y="1100216"/>
                </a:cubicBezTo>
                <a:cubicBezTo>
                  <a:pt x="988853" y="1079834"/>
                  <a:pt x="968472" y="1056734"/>
                  <a:pt x="948089" y="1030917"/>
                </a:cubicBezTo>
                <a:close/>
                <a:moveTo>
                  <a:pt x="73026" y="1020047"/>
                </a:moveTo>
                <a:cubicBezTo>
                  <a:pt x="68949" y="1032276"/>
                  <a:pt x="82537" y="1018688"/>
                  <a:pt x="73026" y="1020047"/>
                </a:cubicBezTo>
                <a:close/>
                <a:moveTo>
                  <a:pt x="36823" y="1016456"/>
                </a:moveTo>
                <a:lnTo>
                  <a:pt x="79819" y="1059452"/>
                </a:lnTo>
                <a:lnTo>
                  <a:pt x="80338" y="1059193"/>
                </a:lnTo>
                <a:lnTo>
                  <a:pt x="78970" y="1065397"/>
                </a:lnTo>
                <a:cubicBezTo>
                  <a:pt x="77441" y="1067944"/>
                  <a:pt x="75743" y="1070323"/>
                  <a:pt x="75743" y="1074399"/>
                </a:cubicBezTo>
                <a:cubicBezTo>
                  <a:pt x="64873" y="1079834"/>
                  <a:pt x="67590" y="1063529"/>
                  <a:pt x="56720" y="1063528"/>
                </a:cubicBezTo>
                <a:cubicBezTo>
                  <a:pt x="59438" y="1071681"/>
                  <a:pt x="62155" y="1068964"/>
                  <a:pt x="67590" y="1074399"/>
                </a:cubicBezTo>
                <a:cubicBezTo>
                  <a:pt x="64873" y="1077116"/>
                  <a:pt x="66232" y="1078475"/>
                  <a:pt x="62155" y="1082552"/>
                </a:cubicBezTo>
                <a:cubicBezTo>
                  <a:pt x="73025" y="1098857"/>
                  <a:pt x="87972" y="1105651"/>
                  <a:pt x="101559" y="1111086"/>
                </a:cubicBezTo>
                <a:cubicBezTo>
                  <a:pt x="94765" y="1128751"/>
                  <a:pt x="85254" y="1146415"/>
                  <a:pt x="77100" y="1165439"/>
                </a:cubicBezTo>
                <a:cubicBezTo>
                  <a:pt x="73024" y="1161362"/>
                  <a:pt x="68948" y="1157286"/>
                  <a:pt x="66230" y="1154568"/>
                </a:cubicBezTo>
                <a:cubicBezTo>
                  <a:pt x="66230" y="1154568"/>
                  <a:pt x="66230" y="1154568"/>
                  <a:pt x="64872" y="1153210"/>
                </a:cubicBezTo>
                <a:cubicBezTo>
                  <a:pt x="59437" y="1136904"/>
                  <a:pt x="54001" y="1120599"/>
                  <a:pt x="48567" y="1104293"/>
                </a:cubicBezTo>
                <a:cubicBezTo>
                  <a:pt x="41772" y="1092064"/>
                  <a:pt x="37696" y="1077117"/>
                  <a:pt x="33619" y="1064888"/>
                </a:cubicBezTo>
                <a:cubicBezTo>
                  <a:pt x="34979" y="1055375"/>
                  <a:pt x="32261" y="1049940"/>
                  <a:pt x="28185" y="1043147"/>
                </a:cubicBezTo>
                <a:cubicBezTo>
                  <a:pt x="28185" y="1043147"/>
                  <a:pt x="26826" y="1041788"/>
                  <a:pt x="28185" y="1040429"/>
                </a:cubicBezTo>
                <a:cubicBezTo>
                  <a:pt x="29543" y="1039070"/>
                  <a:pt x="29543" y="1039070"/>
                  <a:pt x="32262" y="1036352"/>
                </a:cubicBezTo>
                <a:cubicBezTo>
                  <a:pt x="32262" y="1030917"/>
                  <a:pt x="29543" y="1030917"/>
                  <a:pt x="29544" y="1028200"/>
                </a:cubicBezTo>
                <a:cubicBezTo>
                  <a:pt x="30902" y="1024123"/>
                  <a:pt x="34979" y="1028200"/>
                  <a:pt x="37696" y="1025482"/>
                </a:cubicBezTo>
                <a:cubicBezTo>
                  <a:pt x="34299" y="1024804"/>
                  <a:pt x="33960" y="1023105"/>
                  <a:pt x="34639" y="1021067"/>
                </a:cubicBezTo>
                <a:close/>
                <a:moveTo>
                  <a:pt x="56889" y="992021"/>
                </a:moveTo>
                <a:cubicBezTo>
                  <a:pt x="54001" y="991512"/>
                  <a:pt x="50605" y="992191"/>
                  <a:pt x="48566" y="992871"/>
                </a:cubicBezTo>
                <a:cubicBezTo>
                  <a:pt x="52642" y="999665"/>
                  <a:pt x="58078" y="999665"/>
                  <a:pt x="62154" y="998306"/>
                </a:cubicBezTo>
                <a:cubicBezTo>
                  <a:pt x="62155" y="994230"/>
                  <a:pt x="59777" y="992531"/>
                  <a:pt x="56889" y="992021"/>
                </a:cubicBezTo>
                <a:close/>
                <a:moveTo>
                  <a:pt x="1191314" y="967054"/>
                </a:moveTo>
                <a:cubicBezTo>
                  <a:pt x="1225284" y="984718"/>
                  <a:pt x="1260613" y="1006459"/>
                  <a:pt x="1293224" y="1033635"/>
                </a:cubicBezTo>
                <a:cubicBezTo>
                  <a:pt x="1280994" y="1026841"/>
                  <a:pt x="1268766" y="1020047"/>
                  <a:pt x="1256536" y="1013252"/>
                </a:cubicBezTo>
                <a:cubicBezTo>
                  <a:pt x="1234796" y="999665"/>
                  <a:pt x="1213054" y="983359"/>
                  <a:pt x="1191314" y="967054"/>
                </a:cubicBezTo>
                <a:close/>
                <a:moveTo>
                  <a:pt x="15276" y="942595"/>
                </a:moveTo>
                <a:cubicBezTo>
                  <a:pt x="13237" y="942595"/>
                  <a:pt x="11879" y="943954"/>
                  <a:pt x="13238" y="946672"/>
                </a:cubicBezTo>
                <a:cubicBezTo>
                  <a:pt x="14597" y="942595"/>
                  <a:pt x="18673" y="954825"/>
                  <a:pt x="21391" y="946672"/>
                </a:cubicBezTo>
                <a:cubicBezTo>
                  <a:pt x="20032" y="943954"/>
                  <a:pt x="17315" y="942595"/>
                  <a:pt x="15276" y="942595"/>
                </a:cubicBezTo>
                <a:close/>
                <a:moveTo>
                  <a:pt x="915478" y="941237"/>
                </a:moveTo>
                <a:cubicBezTo>
                  <a:pt x="916837" y="942596"/>
                  <a:pt x="919555" y="945313"/>
                  <a:pt x="920914" y="946673"/>
                </a:cubicBezTo>
                <a:cubicBezTo>
                  <a:pt x="965753" y="983359"/>
                  <a:pt x="1011953" y="996947"/>
                  <a:pt x="1056793" y="1033635"/>
                </a:cubicBezTo>
                <a:cubicBezTo>
                  <a:pt x="1079893" y="1051299"/>
                  <a:pt x="1101633" y="1073040"/>
                  <a:pt x="1120657" y="1100216"/>
                </a:cubicBezTo>
                <a:cubicBezTo>
                  <a:pt x="1141039" y="1126033"/>
                  <a:pt x="1158702" y="1154568"/>
                  <a:pt x="1180444" y="1179026"/>
                </a:cubicBezTo>
                <a:cubicBezTo>
                  <a:pt x="1195391" y="1196691"/>
                  <a:pt x="1211697" y="1210278"/>
                  <a:pt x="1228001" y="1223866"/>
                </a:cubicBezTo>
                <a:cubicBezTo>
                  <a:pt x="1226643" y="1222508"/>
                  <a:pt x="1225284" y="1223866"/>
                  <a:pt x="1223925" y="1222507"/>
                </a:cubicBezTo>
                <a:cubicBezTo>
                  <a:pt x="1199466" y="1203485"/>
                  <a:pt x="1175008" y="1184461"/>
                  <a:pt x="1150550" y="1170873"/>
                </a:cubicBezTo>
                <a:cubicBezTo>
                  <a:pt x="1111145" y="1145056"/>
                  <a:pt x="1070381" y="1126032"/>
                  <a:pt x="1030976" y="1108369"/>
                </a:cubicBezTo>
                <a:cubicBezTo>
                  <a:pt x="984778" y="1064887"/>
                  <a:pt x="941295" y="1015970"/>
                  <a:pt x="899173" y="962977"/>
                </a:cubicBezTo>
                <a:cubicBezTo>
                  <a:pt x="895097" y="956184"/>
                  <a:pt x="891020" y="949389"/>
                  <a:pt x="886944" y="942595"/>
                </a:cubicBezTo>
                <a:cubicBezTo>
                  <a:pt x="896455" y="943954"/>
                  <a:pt x="905967" y="942595"/>
                  <a:pt x="915478" y="941237"/>
                </a:cubicBezTo>
                <a:close/>
                <a:moveTo>
                  <a:pt x="835309" y="934443"/>
                </a:moveTo>
                <a:cubicBezTo>
                  <a:pt x="847539" y="938520"/>
                  <a:pt x="859768" y="939878"/>
                  <a:pt x="871997" y="941237"/>
                </a:cubicBezTo>
                <a:cubicBezTo>
                  <a:pt x="886944" y="958901"/>
                  <a:pt x="901890" y="979284"/>
                  <a:pt x="916837" y="996947"/>
                </a:cubicBezTo>
                <a:cubicBezTo>
                  <a:pt x="942654" y="1033635"/>
                  <a:pt x="972548" y="1068964"/>
                  <a:pt x="1003800" y="1097498"/>
                </a:cubicBezTo>
                <a:cubicBezTo>
                  <a:pt x="995647" y="1094781"/>
                  <a:pt x="988853" y="1090704"/>
                  <a:pt x="980701" y="1087986"/>
                </a:cubicBezTo>
                <a:cubicBezTo>
                  <a:pt x="942654" y="1071681"/>
                  <a:pt x="904608" y="1052658"/>
                  <a:pt x="867920" y="1024123"/>
                </a:cubicBezTo>
                <a:cubicBezTo>
                  <a:pt x="855692" y="995589"/>
                  <a:pt x="844821" y="965695"/>
                  <a:pt x="835309" y="934443"/>
                </a:cubicBezTo>
                <a:close/>
                <a:moveTo>
                  <a:pt x="806775" y="927648"/>
                </a:moveTo>
                <a:cubicBezTo>
                  <a:pt x="812211" y="933084"/>
                  <a:pt x="804057" y="930366"/>
                  <a:pt x="802698" y="931724"/>
                </a:cubicBezTo>
                <a:cubicBezTo>
                  <a:pt x="806774" y="933083"/>
                  <a:pt x="809493" y="938519"/>
                  <a:pt x="813569" y="937160"/>
                </a:cubicBezTo>
                <a:cubicBezTo>
                  <a:pt x="813569" y="934442"/>
                  <a:pt x="813568" y="926289"/>
                  <a:pt x="806775" y="927648"/>
                </a:cubicBezTo>
                <a:close/>
                <a:moveTo>
                  <a:pt x="1037770" y="924932"/>
                </a:moveTo>
                <a:cubicBezTo>
                  <a:pt x="1074458" y="926289"/>
                  <a:pt x="1111145" y="933084"/>
                  <a:pt x="1150550" y="948031"/>
                </a:cubicBezTo>
                <a:cubicBezTo>
                  <a:pt x="1160062" y="954825"/>
                  <a:pt x="1170932" y="962978"/>
                  <a:pt x="1180444" y="969771"/>
                </a:cubicBezTo>
                <a:cubicBezTo>
                  <a:pt x="1206261" y="987436"/>
                  <a:pt x="1230719" y="1006459"/>
                  <a:pt x="1256536" y="1021405"/>
                </a:cubicBezTo>
                <a:cubicBezTo>
                  <a:pt x="1275560" y="1032276"/>
                  <a:pt x="1295941" y="1041788"/>
                  <a:pt x="1313605" y="1051299"/>
                </a:cubicBezTo>
                <a:lnTo>
                  <a:pt x="1347333" y="1080811"/>
                </a:lnTo>
                <a:lnTo>
                  <a:pt x="1301037" y="1069304"/>
                </a:lnTo>
                <a:cubicBezTo>
                  <a:pt x="1280995" y="1063529"/>
                  <a:pt x="1260613" y="1056734"/>
                  <a:pt x="1240231" y="1048581"/>
                </a:cubicBezTo>
                <a:cubicBezTo>
                  <a:pt x="1202864" y="1034314"/>
                  <a:pt x="1165497" y="1015971"/>
                  <a:pt x="1128130" y="994230"/>
                </a:cubicBezTo>
                <a:lnTo>
                  <a:pt x="1025813" y="926018"/>
                </a:lnTo>
                <a:close/>
                <a:moveTo>
                  <a:pt x="1293223" y="922213"/>
                </a:moveTo>
                <a:cubicBezTo>
                  <a:pt x="1291864" y="923572"/>
                  <a:pt x="1289147" y="926289"/>
                  <a:pt x="1287788" y="927649"/>
                </a:cubicBezTo>
                <a:cubicBezTo>
                  <a:pt x="1290506" y="933083"/>
                  <a:pt x="1294582" y="934443"/>
                  <a:pt x="1297300" y="929008"/>
                </a:cubicBezTo>
                <a:cubicBezTo>
                  <a:pt x="1295941" y="927649"/>
                  <a:pt x="1295941" y="924931"/>
                  <a:pt x="1293223" y="922213"/>
                </a:cubicBezTo>
                <a:close/>
                <a:moveTo>
                  <a:pt x="1286090" y="917118"/>
                </a:moveTo>
                <a:cubicBezTo>
                  <a:pt x="1283713" y="917457"/>
                  <a:pt x="1280994" y="919495"/>
                  <a:pt x="1278277" y="923571"/>
                </a:cubicBezTo>
                <a:cubicBezTo>
                  <a:pt x="1282353" y="927648"/>
                  <a:pt x="1287789" y="927649"/>
                  <a:pt x="1291865" y="920855"/>
                </a:cubicBezTo>
                <a:cubicBezTo>
                  <a:pt x="1290506" y="918137"/>
                  <a:pt x="1288468" y="916778"/>
                  <a:pt x="1286090" y="917118"/>
                </a:cubicBezTo>
                <a:close/>
                <a:moveTo>
                  <a:pt x="780957" y="912700"/>
                </a:moveTo>
                <a:cubicBezTo>
                  <a:pt x="787752" y="914060"/>
                  <a:pt x="786393" y="926289"/>
                  <a:pt x="790470" y="919495"/>
                </a:cubicBezTo>
                <a:cubicBezTo>
                  <a:pt x="787752" y="914060"/>
                  <a:pt x="786393" y="912701"/>
                  <a:pt x="780957" y="912700"/>
                </a:cubicBezTo>
                <a:close/>
                <a:moveTo>
                  <a:pt x="1306810" y="911344"/>
                </a:moveTo>
                <a:cubicBezTo>
                  <a:pt x="1297299" y="920855"/>
                  <a:pt x="1308170" y="923573"/>
                  <a:pt x="1308170" y="931726"/>
                </a:cubicBezTo>
                <a:cubicBezTo>
                  <a:pt x="1320399" y="927650"/>
                  <a:pt x="1325835" y="924931"/>
                  <a:pt x="1331270" y="922214"/>
                </a:cubicBezTo>
                <a:cubicBezTo>
                  <a:pt x="1329911" y="926291"/>
                  <a:pt x="1333987" y="935803"/>
                  <a:pt x="1338064" y="929008"/>
                </a:cubicBezTo>
                <a:cubicBezTo>
                  <a:pt x="1331270" y="924932"/>
                  <a:pt x="1336705" y="919497"/>
                  <a:pt x="1329911" y="915420"/>
                </a:cubicBezTo>
                <a:cubicBezTo>
                  <a:pt x="1325835" y="922214"/>
                  <a:pt x="1321759" y="912702"/>
                  <a:pt x="1317682" y="914061"/>
                </a:cubicBezTo>
                <a:cubicBezTo>
                  <a:pt x="1319041" y="915421"/>
                  <a:pt x="1319041" y="918137"/>
                  <a:pt x="1316322" y="920856"/>
                </a:cubicBezTo>
                <a:cubicBezTo>
                  <a:pt x="1313605" y="918139"/>
                  <a:pt x="1319041" y="915421"/>
                  <a:pt x="1313605" y="912703"/>
                </a:cubicBezTo>
                <a:cubicBezTo>
                  <a:pt x="1310887" y="915421"/>
                  <a:pt x="1309528" y="914061"/>
                  <a:pt x="1306810" y="911344"/>
                </a:cubicBezTo>
                <a:close/>
                <a:moveTo>
                  <a:pt x="59437" y="908626"/>
                </a:moveTo>
                <a:cubicBezTo>
                  <a:pt x="64873" y="916778"/>
                  <a:pt x="70307" y="924931"/>
                  <a:pt x="74384" y="934442"/>
                </a:cubicBezTo>
                <a:cubicBezTo>
                  <a:pt x="79819" y="931725"/>
                  <a:pt x="82537" y="929008"/>
                  <a:pt x="85254" y="926290"/>
                </a:cubicBezTo>
                <a:cubicBezTo>
                  <a:pt x="87972" y="931725"/>
                  <a:pt x="90690" y="937160"/>
                  <a:pt x="93407" y="942596"/>
                </a:cubicBezTo>
                <a:cubicBezTo>
                  <a:pt x="94766" y="952107"/>
                  <a:pt x="97484" y="960260"/>
                  <a:pt x="98842" y="969771"/>
                </a:cubicBezTo>
                <a:cubicBezTo>
                  <a:pt x="100202" y="973848"/>
                  <a:pt x="100201" y="979284"/>
                  <a:pt x="102919" y="984718"/>
                </a:cubicBezTo>
                <a:cubicBezTo>
                  <a:pt x="93407" y="967053"/>
                  <a:pt x="81178" y="949389"/>
                  <a:pt x="71666" y="931725"/>
                </a:cubicBezTo>
                <a:cubicBezTo>
                  <a:pt x="67591" y="924931"/>
                  <a:pt x="63514" y="915420"/>
                  <a:pt x="59437" y="908626"/>
                </a:cubicBezTo>
                <a:close/>
                <a:moveTo>
                  <a:pt x="1295941" y="908625"/>
                </a:moveTo>
                <a:cubicBezTo>
                  <a:pt x="1293224" y="911343"/>
                  <a:pt x="1291866" y="909984"/>
                  <a:pt x="1289147" y="912702"/>
                </a:cubicBezTo>
                <a:cubicBezTo>
                  <a:pt x="1293224" y="914061"/>
                  <a:pt x="1295941" y="916778"/>
                  <a:pt x="1298659" y="916778"/>
                </a:cubicBezTo>
                <a:cubicBezTo>
                  <a:pt x="1297300" y="912702"/>
                  <a:pt x="1297300" y="909984"/>
                  <a:pt x="1295941" y="908625"/>
                </a:cubicBezTo>
                <a:close/>
                <a:moveTo>
                  <a:pt x="1319041" y="899115"/>
                </a:moveTo>
                <a:cubicBezTo>
                  <a:pt x="1310888" y="904549"/>
                  <a:pt x="1323117" y="919496"/>
                  <a:pt x="1328552" y="911344"/>
                </a:cubicBezTo>
                <a:cubicBezTo>
                  <a:pt x="1324476" y="907268"/>
                  <a:pt x="1323117" y="903190"/>
                  <a:pt x="1319041" y="899115"/>
                </a:cubicBezTo>
                <a:close/>
                <a:moveTo>
                  <a:pt x="30902" y="885526"/>
                </a:moveTo>
                <a:cubicBezTo>
                  <a:pt x="32262" y="886885"/>
                  <a:pt x="32262" y="886885"/>
                  <a:pt x="33620" y="888244"/>
                </a:cubicBezTo>
                <a:cubicBezTo>
                  <a:pt x="40414" y="905908"/>
                  <a:pt x="49926" y="923572"/>
                  <a:pt x="58079" y="939878"/>
                </a:cubicBezTo>
                <a:cubicBezTo>
                  <a:pt x="73025" y="965695"/>
                  <a:pt x="86613" y="990153"/>
                  <a:pt x="101560" y="1013253"/>
                </a:cubicBezTo>
                <a:cubicBezTo>
                  <a:pt x="102918" y="1017329"/>
                  <a:pt x="102919" y="1020047"/>
                  <a:pt x="105636" y="1022764"/>
                </a:cubicBezTo>
                <a:cubicBezTo>
                  <a:pt x="105636" y="1025482"/>
                  <a:pt x="106995" y="1029559"/>
                  <a:pt x="106995" y="1032276"/>
                </a:cubicBezTo>
                <a:cubicBezTo>
                  <a:pt x="101560" y="1029559"/>
                  <a:pt x="94766" y="1028200"/>
                  <a:pt x="96125" y="1021406"/>
                </a:cubicBezTo>
                <a:cubicBezTo>
                  <a:pt x="94766" y="1022765"/>
                  <a:pt x="94766" y="1022765"/>
                  <a:pt x="93407" y="1021406"/>
                </a:cubicBezTo>
                <a:cubicBezTo>
                  <a:pt x="92048" y="1020047"/>
                  <a:pt x="92048" y="1020047"/>
                  <a:pt x="90690" y="1021405"/>
                </a:cubicBezTo>
                <a:cubicBezTo>
                  <a:pt x="92049" y="1025482"/>
                  <a:pt x="85255" y="1024123"/>
                  <a:pt x="86614" y="1030917"/>
                </a:cubicBezTo>
                <a:cubicBezTo>
                  <a:pt x="81178" y="1030917"/>
                  <a:pt x="78461" y="1022764"/>
                  <a:pt x="71666" y="1029559"/>
                </a:cubicBezTo>
                <a:cubicBezTo>
                  <a:pt x="78460" y="1041788"/>
                  <a:pt x="89331" y="1041788"/>
                  <a:pt x="101560" y="1051300"/>
                </a:cubicBezTo>
                <a:cubicBezTo>
                  <a:pt x="102919" y="1063528"/>
                  <a:pt x="102919" y="1058093"/>
                  <a:pt x="94766" y="1063528"/>
                </a:cubicBezTo>
                <a:cubicBezTo>
                  <a:pt x="92048" y="1063528"/>
                  <a:pt x="89331" y="1060811"/>
                  <a:pt x="85254" y="1056734"/>
                </a:cubicBezTo>
                <a:lnTo>
                  <a:pt x="80338" y="1059193"/>
                </a:lnTo>
                <a:lnTo>
                  <a:pt x="81179" y="1055375"/>
                </a:lnTo>
                <a:cubicBezTo>
                  <a:pt x="66232" y="1040429"/>
                  <a:pt x="51285" y="1028200"/>
                  <a:pt x="37696" y="1014611"/>
                </a:cubicBezTo>
                <a:lnTo>
                  <a:pt x="36823" y="1016456"/>
                </a:lnTo>
                <a:lnTo>
                  <a:pt x="32262" y="1011895"/>
                </a:lnTo>
                <a:cubicBezTo>
                  <a:pt x="32262" y="1011895"/>
                  <a:pt x="33621" y="1010536"/>
                  <a:pt x="33621" y="1010536"/>
                </a:cubicBezTo>
                <a:cubicBezTo>
                  <a:pt x="29543" y="1009177"/>
                  <a:pt x="29544" y="1006459"/>
                  <a:pt x="33621" y="1002383"/>
                </a:cubicBezTo>
                <a:cubicBezTo>
                  <a:pt x="30902" y="996948"/>
                  <a:pt x="28185" y="1005100"/>
                  <a:pt x="25468" y="1002383"/>
                </a:cubicBezTo>
                <a:cubicBezTo>
                  <a:pt x="26826" y="998306"/>
                  <a:pt x="24109" y="992871"/>
                  <a:pt x="20032" y="991512"/>
                </a:cubicBezTo>
                <a:cubicBezTo>
                  <a:pt x="24109" y="990154"/>
                  <a:pt x="24109" y="987436"/>
                  <a:pt x="28185" y="986078"/>
                </a:cubicBezTo>
                <a:cubicBezTo>
                  <a:pt x="25468" y="980642"/>
                  <a:pt x="22749" y="988795"/>
                  <a:pt x="20032" y="988794"/>
                </a:cubicBezTo>
                <a:cubicBezTo>
                  <a:pt x="20032" y="983359"/>
                  <a:pt x="10521" y="987436"/>
                  <a:pt x="15956" y="979283"/>
                </a:cubicBezTo>
                <a:cubicBezTo>
                  <a:pt x="13238" y="973847"/>
                  <a:pt x="10521" y="982001"/>
                  <a:pt x="6444" y="977925"/>
                </a:cubicBezTo>
                <a:cubicBezTo>
                  <a:pt x="6444" y="975206"/>
                  <a:pt x="6444" y="972490"/>
                  <a:pt x="5085" y="971131"/>
                </a:cubicBezTo>
                <a:cubicBezTo>
                  <a:pt x="10521" y="954824"/>
                  <a:pt x="6444" y="939878"/>
                  <a:pt x="6444" y="926290"/>
                </a:cubicBezTo>
                <a:cubicBezTo>
                  <a:pt x="6444" y="926290"/>
                  <a:pt x="9162" y="926289"/>
                  <a:pt x="10520" y="924931"/>
                </a:cubicBezTo>
                <a:cubicBezTo>
                  <a:pt x="9162" y="920855"/>
                  <a:pt x="7803" y="916779"/>
                  <a:pt x="5085" y="916778"/>
                </a:cubicBezTo>
                <a:cubicBezTo>
                  <a:pt x="5085" y="916778"/>
                  <a:pt x="5085" y="914061"/>
                  <a:pt x="5085" y="914061"/>
                </a:cubicBezTo>
                <a:cubicBezTo>
                  <a:pt x="5085" y="911343"/>
                  <a:pt x="5086" y="908626"/>
                  <a:pt x="3727" y="907267"/>
                </a:cubicBezTo>
                <a:cubicBezTo>
                  <a:pt x="3727" y="907267"/>
                  <a:pt x="3727" y="907267"/>
                  <a:pt x="6444" y="907268"/>
                </a:cubicBezTo>
                <a:cubicBezTo>
                  <a:pt x="6444" y="907268"/>
                  <a:pt x="5085" y="905909"/>
                  <a:pt x="5085" y="905909"/>
                </a:cubicBezTo>
                <a:cubicBezTo>
                  <a:pt x="5085" y="903190"/>
                  <a:pt x="5085" y="903190"/>
                  <a:pt x="5086" y="900473"/>
                </a:cubicBezTo>
                <a:cubicBezTo>
                  <a:pt x="6444" y="899115"/>
                  <a:pt x="7803" y="897756"/>
                  <a:pt x="10521" y="897755"/>
                </a:cubicBezTo>
                <a:cubicBezTo>
                  <a:pt x="14597" y="899115"/>
                  <a:pt x="15956" y="903190"/>
                  <a:pt x="18674" y="900473"/>
                </a:cubicBezTo>
                <a:cubicBezTo>
                  <a:pt x="17315" y="899114"/>
                  <a:pt x="14597" y="896397"/>
                  <a:pt x="11879" y="896397"/>
                </a:cubicBezTo>
                <a:cubicBezTo>
                  <a:pt x="18674" y="892320"/>
                  <a:pt x="25468" y="888244"/>
                  <a:pt x="30902" y="885526"/>
                </a:cubicBezTo>
                <a:close/>
                <a:moveTo>
                  <a:pt x="775522" y="885526"/>
                </a:moveTo>
                <a:cubicBezTo>
                  <a:pt x="778240" y="890962"/>
                  <a:pt x="780957" y="896397"/>
                  <a:pt x="786393" y="890962"/>
                </a:cubicBezTo>
                <a:cubicBezTo>
                  <a:pt x="779599" y="889603"/>
                  <a:pt x="780957" y="882809"/>
                  <a:pt x="775522" y="885526"/>
                </a:cubicBezTo>
                <a:close/>
                <a:moveTo>
                  <a:pt x="771446" y="884168"/>
                </a:moveTo>
                <a:cubicBezTo>
                  <a:pt x="774164" y="886885"/>
                  <a:pt x="768728" y="889603"/>
                  <a:pt x="772805" y="890961"/>
                </a:cubicBezTo>
                <a:cubicBezTo>
                  <a:pt x="776881" y="889603"/>
                  <a:pt x="772805" y="882809"/>
                  <a:pt x="771446" y="884168"/>
                </a:cubicBezTo>
                <a:close/>
                <a:moveTo>
                  <a:pt x="806775" y="884167"/>
                </a:moveTo>
                <a:cubicBezTo>
                  <a:pt x="802699" y="888244"/>
                  <a:pt x="805416" y="890961"/>
                  <a:pt x="805416" y="893679"/>
                </a:cubicBezTo>
                <a:cubicBezTo>
                  <a:pt x="809493" y="889603"/>
                  <a:pt x="809493" y="886885"/>
                  <a:pt x="806775" y="884167"/>
                </a:cubicBezTo>
                <a:close/>
                <a:moveTo>
                  <a:pt x="846180" y="871938"/>
                </a:moveTo>
                <a:cubicBezTo>
                  <a:pt x="862486" y="896397"/>
                  <a:pt x="882867" y="916779"/>
                  <a:pt x="904608" y="935801"/>
                </a:cubicBezTo>
                <a:cubicBezTo>
                  <a:pt x="896455" y="935801"/>
                  <a:pt x="889661" y="937160"/>
                  <a:pt x="880151" y="935801"/>
                </a:cubicBezTo>
                <a:cubicBezTo>
                  <a:pt x="867920" y="915420"/>
                  <a:pt x="857051" y="893679"/>
                  <a:pt x="846180" y="871938"/>
                </a:cubicBezTo>
                <a:close/>
                <a:moveTo>
                  <a:pt x="734759" y="871938"/>
                </a:moveTo>
                <a:cubicBezTo>
                  <a:pt x="745629" y="882808"/>
                  <a:pt x="756499" y="890962"/>
                  <a:pt x="767370" y="899114"/>
                </a:cubicBezTo>
                <a:cubicBezTo>
                  <a:pt x="786393" y="912702"/>
                  <a:pt x="805416" y="923573"/>
                  <a:pt x="823081" y="930366"/>
                </a:cubicBezTo>
                <a:cubicBezTo>
                  <a:pt x="821721" y="931725"/>
                  <a:pt x="820363" y="930367"/>
                  <a:pt x="819004" y="931726"/>
                </a:cubicBezTo>
                <a:cubicBezTo>
                  <a:pt x="821721" y="934443"/>
                  <a:pt x="820363" y="938520"/>
                  <a:pt x="823081" y="935802"/>
                </a:cubicBezTo>
                <a:cubicBezTo>
                  <a:pt x="820363" y="933084"/>
                  <a:pt x="824440" y="934443"/>
                  <a:pt x="827157" y="934442"/>
                </a:cubicBezTo>
                <a:cubicBezTo>
                  <a:pt x="835309" y="961619"/>
                  <a:pt x="846180" y="988795"/>
                  <a:pt x="857051" y="1015970"/>
                </a:cubicBezTo>
                <a:cubicBezTo>
                  <a:pt x="843462" y="1005100"/>
                  <a:pt x="829874" y="994230"/>
                  <a:pt x="817645" y="979283"/>
                </a:cubicBezTo>
                <a:cubicBezTo>
                  <a:pt x="808134" y="969771"/>
                  <a:pt x="798622" y="960260"/>
                  <a:pt x="790470" y="949389"/>
                </a:cubicBezTo>
                <a:cubicBezTo>
                  <a:pt x="790470" y="949389"/>
                  <a:pt x="791828" y="948031"/>
                  <a:pt x="791828" y="948031"/>
                </a:cubicBezTo>
                <a:cubicBezTo>
                  <a:pt x="790470" y="946673"/>
                  <a:pt x="790470" y="946673"/>
                  <a:pt x="789110" y="945313"/>
                </a:cubicBezTo>
                <a:cubicBezTo>
                  <a:pt x="789110" y="945313"/>
                  <a:pt x="787752" y="946672"/>
                  <a:pt x="787752" y="946672"/>
                </a:cubicBezTo>
                <a:cubicBezTo>
                  <a:pt x="768729" y="922214"/>
                  <a:pt x="751064" y="899114"/>
                  <a:pt x="734759" y="871938"/>
                </a:cubicBezTo>
                <a:close/>
                <a:moveTo>
                  <a:pt x="1382903" y="870579"/>
                </a:moveTo>
                <a:cubicBezTo>
                  <a:pt x="1386980" y="874656"/>
                  <a:pt x="1385621" y="876014"/>
                  <a:pt x="1381545" y="880091"/>
                </a:cubicBezTo>
                <a:cubicBezTo>
                  <a:pt x="1388340" y="884167"/>
                  <a:pt x="1385621" y="873297"/>
                  <a:pt x="1389699" y="885526"/>
                </a:cubicBezTo>
                <a:cubicBezTo>
                  <a:pt x="1392416" y="882809"/>
                  <a:pt x="1388339" y="870579"/>
                  <a:pt x="1382903" y="870579"/>
                </a:cubicBezTo>
                <a:close/>
                <a:moveTo>
                  <a:pt x="813569" y="866503"/>
                </a:moveTo>
                <a:cubicBezTo>
                  <a:pt x="821722" y="877373"/>
                  <a:pt x="828516" y="886885"/>
                  <a:pt x="835309" y="896397"/>
                </a:cubicBezTo>
                <a:cubicBezTo>
                  <a:pt x="844821" y="908625"/>
                  <a:pt x="854333" y="920855"/>
                  <a:pt x="865203" y="934443"/>
                </a:cubicBezTo>
                <a:cubicBezTo>
                  <a:pt x="855691" y="933084"/>
                  <a:pt x="844821" y="930366"/>
                  <a:pt x="832593" y="926290"/>
                </a:cubicBezTo>
                <a:cubicBezTo>
                  <a:pt x="832593" y="926290"/>
                  <a:pt x="831234" y="924931"/>
                  <a:pt x="831234" y="924931"/>
                </a:cubicBezTo>
                <a:cubicBezTo>
                  <a:pt x="825798" y="905908"/>
                  <a:pt x="819004" y="885526"/>
                  <a:pt x="813569" y="866503"/>
                </a:cubicBezTo>
                <a:close/>
                <a:moveTo>
                  <a:pt x="677690" y="866503"/>
                </a:moveTo>
                <a:cubicBezTo>
                  <a:pt x="698071" y="884168"/>
                  <a:pt x="715735" y="899114"/>
                  <a:pt x="734759" y="918137"/>
                </a:cubicBezTo>
                <a:cubicBezTo>
                  <a:pt x="775523" y="958901"/>
                  <a:pt x="806775" y="1011894"/>
                  <a:pt x="831233" y="1066246"/>
                </a:cubicBezTo>
                <a:lnTo>
                  <a:pt x="851718" y="1114897"/>
                </a:lnTo>
                <a:lnTo>
                  <a:pt x="821722" y="1089345"/>
                </a:lnTo>
                <a:cubicBezTo>
                  <a:pt x="782317" y="1049940"/>
                  <a:pt x="745630" y="1005100"/>
                  <a:pt x="718453" y="953466"/>
                </a:cubicBezTo>
                <a:cubicBezTo>
                  <a:pt x="703506" y="924931"/>
                  <a:pt x="689918" y="895038"/>
                  <a:pt x="677690" y="866503"/>
                </a:cubicBezTo>
                <a:close/>
                <a:moveTo>
                  <a:pt x="329603" y="842321"/>
                </a:moveTo>
                <a:cubicBezTo>
                  <a:pt x="332216" y="847480"/>
                  <a:pt x="328140" y="868882"/>
                  <a:pt x="327120" y="847480"/>
                </a:cubicBezTo>
                <a:cubicBezTo>
                  <a:pt x="327120" y="847480"/>
                  <a:pt x="323044" y="846120"/>
                  <a:pt x="324402" y="844762"/>
                </a:cubicBezTo>
                <a:cubicBezTo>
                  <a:pt x="327119" y="840686"/>
                  <a:pt x="328733" y="840601"/>
                  <a:pt x="329603" y="842321"/>
                </a:cubicBezTo>
                <a:close/>
                <a:moveTo>
                  <a:pt x="1482096" y="812151"/>
                </a:moveTo>
                <a:cubicBezTo>
                  <a:pt x="1483455" y="813510"/>
                  <a:pt x="1484814" y="817587"/>
                  <a:pt x="1487531" y="814869"/>
                </a:cubicBezTo>
                <a:cubicBezTo>
                  <a:pt x="1486172" y="813510"/>
                  <a:pt x="1486172" y="813510"/>
                  <a:pt x="1487531" y="812151"/>
                </a:cubicBezTo>
                <a:cubicBezTo>
                  <a:pt x="1486173" y="810793"/>
                  <a:pt x="1484814" y="809434"/>
                  <a:pt x="1482096" y="812151"/>
                </a:cubicBezTo>
                <a:close/>
                <a:moveTo>
                  <a:pt x="789110" y="782258"/>
                </a:moveTo>
                <a:cubicBezTo>
                  <a:pt x="790469" y="786334"/>
                  <a:pt x="793187" y="789052"/>
                  <a:pt x="794546" y="793128"/>
                </a:cubicBezTo>
                <a:cubicBezTo>
                  <a:pt x="805416" y="812151"/>
                  <a:pt x="817645" y="832533"/>
                  <a:pt x="829874" y="850197"/>
                </a:cubicBezTo>
                <a:cubicBezTo>
                  <a:pt x="832592" y="855633"/>
                  <a:pt x="833950" y="859709"/>
                  <a:pt x="836668" y="865144"/>
                </a:cubicBezTo>
                <a:cubicBezTo>
                  <a:pt x="848898" y="888244"/>
                  <a:pt x="861127" y="911343"/>
                  <a:pt x="874715" y="933084"/>
                </a:cubicBezTo>
                <a:cubicBezTo>
                  <a:pt x="862486" y="918137"/>
                  <a:pt x="852974" y="903190"/>
                  <a:pt x="840745" y="888244"/>
                </a:cubicBezTo>
                <a:cubicBezTo>
                  <a:pt x="829874" y="871938"/>
                  <a:pt x="817645" y="856992"/>
                  <a:pt x="805416" y="839327"/>
                </a:cubicBezTo>
                <a:cubicBezTo>
                  <a:pt x="801340" y="821662"/>
                  <a:pt x="795904" y="802639"/>
                  <a:pt x="789110" y="782258"/>
                </a:cubicBezTo>
                <a:close/>
                <a:moveTo>
                  <a:pt x="880150" y="772746"/>
                </a:moveTo>
                <a:cubicBezTo>
                  <a:pt x="878791" y="774105"/>
                  <a:pt x="878791" y="774105"/>
                  <a:pt x="877432" y="775464"/>
                </a:cubicBezTo>
                <a:cubicBezTo>
                  <a:pt x="878791" y="776823"/>
                  <a:pt x="877432" y="778182"/>
                  <a:pt x="880150" y="780899"/>
                </a:cubicBezTo>
                <a:cubicBezTo>
                  <a:pt x="881508" y="779541"/>
                  <a:pt x="881508" y="779541"/>
                  <a:pt x="882867" y="778182"/>
                </a:cubicBezTo>
                <a:cubicBezTo>
                  <a:pt x="881508" y="776823"/>
                  <a:pt x="882867" y="775464"/>
                  <a:pt x="880150" y="772746"/>
                </a:cubicBezTo>
                <a:close/>
                <a:moveTo>
                  <a:pt x="646437" y="772746"/>
                </a:moveTo>
                <a:cubicBezTo>
                  <a:pt x="661384" y="790410"/>
                  <a:pt x="677690" y="809434"/>
                  <a:pt x="693995" y="828457"/>
                </a:cubicBezTo>
                <a:cubicBezTo>
                  <a:pt x="729323" y="885526"/>
                  <a:pt x="766011" y="943954"/>
                  <a:pt x="814928" y="990153"/>
                </a:cubicBezTo>
                <a:cubicBezTo>
                  <a:pt x="829874" y="1007818"/>
                  <a:pt x="847539" y="1022764"/>
                  <a:pt x="865203" y="1034994"/>
                </a:cubicBezTo>
                <a:cubicBezTo>
                  <a:pt x="871997" y="1049940"/>
                  <a:pt x="878791" y="1064887"/>
                  <a:pt x="886944" y="1078475"/>
                </a:cubicBezTo>
                <a:cubicBezTo>
                  <a:pt x="904608" y="1112445"/>
                  <a:pt x="924990" y="1146415"/>
                  <a:pt x="948089" y="1177667"/>
                </a:cubicBezTo>
                <a:cubicBezTo>
                  <a:pt x="946731" y="1176309"/>
                  <a:pt x="946731" y="1176309"/>
                  <a:pt x="944014" y="1176308"/>
                </a:cubicBezTo>
                <a:lnTo>
                  <a:pt x="879124" y="1135452"/>
                </a:lnTo>
                <a:lnTo>
                  <a:pt x="867921" y="1127391"/>
                </a:lnTo>
                <a:cubicBezTo>
                  <a:pt x="858409" y="1107010"/>
                  <a:pt x="847539" y="1085270"/>
                  <a:pt x="838027" y="1064887"/>
                </a:cubicBezTo>
                <a:cubicBezTo>
                  <a:pt x="825798" y="1036352"/>
                  <a:pt x="812210" y="1009177"/>
                  <a:pt x="795904" y="982001"/>
                </a:cubicBezTo>
                <a:cubicBezTo>
                  <a:pt x="779599" y="954825"/>
                  <a:pt x="759217" y="929008"/>
                  <a:pt x="737476" y="907267"/>
                </a:cubicBezTo>
                <a:cubicBezTo>
                  <a:pt x="717094" y="884167"/>
                  <a:pt x="693995" y="866503"/>
                  <a:pt x="674972" y="847480"/>
                </a:cubicBezTo>
                <a:cubicBezTo>
                  <a:pt x="672255" y="844762"/>
                  <a:pt x="670896" y="843403"/>
                  <a:pt x="668178" y="840686"/>
                </a:cubicBezTo>
                <a:cubicBezTo>
                  <a:pt x="660025" y="818945"/>
                  <a:pt x="653231" y="795846"/>
                  <a:pt x="646437" y="772746"/>
                </a:cubicBezTo>
                <a:close/>
                <a:moveTo>
                  <a:pt x="874205" y="768499"/>
                </a:moveTo>
                <a:cubicBezTo>
                  <a:pt x="872337" y="768329"/>
                  <a:pt x="869959" y="769348"/>
                  <a:pt x="867920" y="771386"/>
                </a:cubicBezTo>
                <a:cubicBezTo>
                  <a:pt x="871997" y="775463"/>
                  <a:pt x="874715" y="778181"/>
                  <a:pt x="877432" y="772746"/>
                </a:cubicBezTo>
                <a:cubicBezTo>
                  <a:pt x="877432" y="770027"/>
                  <a:pt x="876074" y="768669"/>
                  <a:pt x="874205" y="768499"/>
                </a:cubicBezTo>
                <a:close/>
                <a:moveTo>
                  <a:pt x="1404646" y="767311"/>
                </a:moveTo>
                <a:cubicBezTo>
                  <a:pt x="1403286" y="768670"/>
                  <a:pt x="1403286" y="768670"/>
                  <a:pt x="1401927" y="770029"/>
                </a:cubicBezTo>
                <a:cubicBezTo>
                  <a:pt x="1400569" y="771387"/>
                  <a:pt x="1400569" y="771387"/>
                  <a:pt x="1401928" y="772746"/>
                </a:cubicBezTo>
                <a:cubicBezTo>
                  <a:pt x="1403286" y="771388"/>
                  <a:pt x="1404645" y="772746"/>
                  <a:pt x="1407363" y="772746"/>
                </a:cubicBezTo>
                <a:cubicBezTo>
                  <a:pt x="1406004" y="771387"/>
                  <a:pt x="1407363" y="770028"/>
                  <a:pt x="1404646" y="767311"/>
                </a:cubicBezTo>
                <a:close/>
                <a:moveTo>
                  <a:pt x="889660" y="760516"/>
                </a:moveTo>
                <a:cubicBezTo>
                  <a:pt x="888301" y="761875"/>
                  <a:pt x="878790" y="763233"/>
                  <a:pt x="881507" y="768669"/>
                </a:cubicBezTo>
                <a:cubicBezTo>
                  <a:pt x="886942" y="760516"/>
                  <a:pt x="889660" y="771387"/>
                  <a:pt x="892378" y="774105"/>
                </a:cubicBezTo>
                <a:cubicBezTo>
                  <a:pt x="897813" y="768669"/>
                  <a:pt x="891019" y="764593"/>
                  <a:pt x="889660" y="760516"/>
                </a:cubicBezTo>
                <a:close/>
                <a:moveTo>
                  <a:pt x="851614" y="749646"/>
                </a:moveTo>
                <a:cubicBezTo>
                  <a:pt x="848897" y="757799"/>
                  <a:pt x="846179" y="755081"/>
                  <a:pt x="840744" y="757799"/>
                </a:cubicBezTo>
                <a:cubicBezTo>
                  <a:pt x="848897" y="765952"/>
                  <a:pt x="833949" y="761876"/>
                  <a:pt x="844821" y="770029"/>
                </a:cubicBezTo>
                <a:cubicBezTo>
                  <a:pt x="850255" y="767311"/>
                  <a:pt x="846179" y="757799"/>
                  <a:pt x="851614" y="760517"/>
                </a:cubicBezTo>
                <a:cubicBezTo>
                  <a:pt x="848896" y="763235"/>
                  <a:pt x="848897" y="765952"/>
                  <a:pt x="851614" y="768670"/>
                </a:cubicBezTo>
                <a:cubicBezTo>
                  <a:pt x="855690" y="761876"/>
                  <a:pt x="855691" y="775464"/>
                  <a:pt x="857049" y="765952"/>
                </a:cubicBezTo>
                <a:cubicBezTo>
                  <a:pt x="858408" y="770029"/>
                  <a:pt x="866561" y="767311"/>
                  <a:pt x="863845" y="772747"/>
                </a:cubicBezTo>
                <a:cubicBezTo>
                  <a:pt x="861126" y="770028"/>
                  <a:pt x="858408" y="767311"/>
                  <a:pt x="857049" y="771388"/>
                </a:cubicBezTo>
                <a:cubicBezTo>
                  <a:pt x="861126" y="775465"/>
                  <a:pt x="862486" y="771388"/>
                  <a:pt x="862485" y="776823"/>
                </a:cubicBezTo>
                <a:cubicBezTo>
                  <a:pt x="863844" y="775464"/>
                  <a:pt x="865203" y="774105"/>
                  <a:pt x="867920" y="774106"/>
                </a:cubicBezTo>
                <a:cubicBezTo>
                  <a:pt x="867920" y="771388"/>
                  <a:pt x="866561" y="770029"/>
                  <a:pt x="866561" y="767311"/>
                </a:cubicBezTo>
                <a:cubicBezTo>
                  <a:pt x="870638" y="765953"/>
                  <a:pt x="874715" y="767311"/>
                  <a:pt x="878791" y="763235"/>
                </a:cubicBezTo>
                <a:cubicBezTo>
                  <a:pt x="869279" y="761875"/>
                  <a:pt x="874714" y="751005"/>
                  <a:pt x="867920" y="755080"/>
                </a:cubicBezTo>
                <a:cubicBezTo>
                  <a:pt x="867920" y="757799"/>
                  <a:pt x="869279" y="759158"/>
                  <a:pt x="869279" y="761875"/>
                </a:cubicBezTo>
                <a:cubicBezTo>
                  <a:pt x="865201" y="757799"/>
                  <a:pt x="869279" y="756440"/>
                  <a:pt x="863844" y="753722"/>
                </a:cubicBezTo>
                <a:cubicBezTo>
                  <a:pt x="861125" y="761876"/>
                  <a:pt x="859767" y="755082"/>
                  <a:pt x="855691" y="759158"/>
                </a:cubicBezTo>
                <a:cubicBezTo>
                  <a:pt x="854332" y="760517"/>
                  <a:pt x="857049" y="763235"/>
                  <a:pt x="855691" y="764593"/>
                </a:cubicBezTo>
                <a:cubicBezTo>
                  <a:pt x="848896" y="760517"/>
                  <a:pt x="858408" y="756441"/>
                  <a:pt x="857049" y="752364"/>
                </a:cubicBezTo>
                <a:cubicBezTo>
                  <a:pt x="852973" y="753724"/>
                  <a:pt x="855691" y="748287"/>
                  <a:pt x="851614" y="749646"/>
                </a:cubicBezTo>
                <a:close/>
                <a:moveTo>
                  <a:pt x="636925" y="741494"/>
                </a:moveTo>
                <a:cubicBezTo>
                  <a:pt x="647796" y="757799"/>
                  <a:pt x="658666" y="776823"/>
                  <a:pt x="670896" y="794487"/>
                </a:cubicBezTo>
                <a:cubicBezTo>
                  <a:pt x="661384" y="782258"/>
                  <a:pt x="650513" y="771388"/>
                  <a:pt x="642360" y="760517"/>
                </a:cubicBezTo>
                <a:cubicBezTo>
                  <a:pt x="641001" y="753723"/>
                  <a:pt x="638285" y="748288"/>
                  <a:pt x="636925" y="741494"/>
                </a:cubicBezTo>
                <a:close/>
                <a:moveTo>
                  <a:pt x="757858" y="729265"/>
                </a:moveTo>
                <a:cubicBezTo>
                  <a:pt x="763293" y="742853"/>
                  <a:pt x="768729" y="756441"/>
                  <a:pt x="774164" y="770029"/>
                </a:cubicBezTo>
                <a:cubicBezTo>
                  <a:pt x="779599" y="783617"/>
                  <a:pt x="783676" y="798563"/>
                  <a:pt x="787751" y="813510"/>
                </a:cubicBezTo>
                <a:cubicBezTo>
                  <a:pt x="774164" y="794487"/>
                  <a:pt x="761935" y="774105"/>
                  <a:pt x="748347" y="755082"/>
                </a:cubicBezTo>
                <a:cubicBezTo>
                  <a:pt x="751065" y="752365"/>
                  <a:pt x="753782" y="746929"/>
                  <a:pt x="755140" y="742853"/>
                </a:cubicBezTo>
                <a:cubicBezTo>
                  <a:pt x="756499" y="738777"/>
                  <a:pt x="756499" y="733340"/>
                  <a:pt x="757858" y="729265"/>
                </a:cubicBezTo>
                <a:close/>
                <a:moveTo>
                  <a:pt x="772805" y="708883"/>
                </a:moveTo>
                <a:cubicBezTo>
                  <a:pt x="839386" y="783617"/>
                  <a:pt x="911402" y="844762"/>
                  <a:pt x="983418" y="900472"/>
                </a:cubicBezTo>
                <a:lnTo>
                  <a:pt x="1008851" y="920552"/>
                </a:lnTo>
                <a:lnTo>
                  <a:pt x="923631" y="933084"/>
                </a:lnTo>
                <a:lnTo>
                  <a:pt x="924091" y="933377"/>
                </a:lnTo>
                <a:lnTo>
                  <a:pt x="916837" y="934443"/>
                </a:lnTo>
                <a:cubicBezTo>
                  <a:pt x="878791" y="904549"/>
                  <a:pt x="844821" y="859709"/>
                  <a:pt x="816286" y="812151"/>
                </a:cubicBezTo>
                <a:cubicBezTo>
                  <a:pt x="801340" y="778181"/>
                  <a:pt x="786393" y="744212"/>
                  <a:pt x="772805" y="708883"/>
                </a:cubicBezTo>
                <a:close/>
                <a:moveTo>
                  <a:pt x="763293" y="702089"/>
                </a:moveTo>
                <a:cubicBezTo>
                  <a:pt x="772805" y="722471"/>
                  <a:pt x="780958" y="741493"/>
                  <a:pt x="789110" y="763235"/>
                </a:cubicBezTo>
                <a:cubicBezTo>
                  <a:pt x="780958" y="744212"/>
                  <a:pt x="772805" y="727906"/>
                  <a:pt x="763294" y="710241"/>
                </a:cubicBezTo>
                <a:cubicBezTo>
                  <a:pt x="763294" y="710241"/>
                  <a:pt x="761935" y="708882"/>
                  <a:pt x="761935" y="708882"/>
                </a:cubicBezTo>
                <a:cubicBezTo>
                  <a:pt x="761934" y="706165"/>
                  <a:pt x="763293" y="704806"/>
                  <a:pt x="763293" y="702089"/>
                </a:cubicBezTo>
                <a:close/>
                <a:moveTo>
                  <a:pt x="556756" y="699371"/>
                </a:moveTo>
                <a:cubicBezTo>
                  <a:pt x="579856" y="711600"/>
                  <a:pt x="602955" y="729265"/>
                  <a:pt x="624696" y="751006"/>
                </a:cubicBezTo>
                <a:cubicBezTo>
                  <a:pt x="628773" y="755082"/>
                  <a:pt x="632849" y="759158"/>
                  <a:pt x="638284" y="764593"/>
                </a:cubicBezTo>
                <a:cubicBezTo>
                  <a:pt x="645078" y="787693"/>
                  <a:pt x="651872" y="810792"/>
                  <a:pt x="661384" y="833892"/>
                </a:cubicBezTo>
                <a:cubicBezTo>
                  <a:pt x="645078" y="820304"/>
                  <a:pt x="631491" y="803998"/>
                  <a:pt x="619261" y="789052"/>
                </a:cubicBezTo>
                <a:cubicBezTo>
                  <a:pt x="620620" y="787693"/>
                  <a:pt x="621979" y="783617"/>
                  <a:pt x="626055" y="782258"/>
                </a:cubicBezTo>
                <a:cubicBezTo>
                  <a:pt x="617902" y="774105"/>
                  <a:pt x="617902" y="774105"/>
                  <a:pt x="616544" y="767311"/>
                </a:cubicBezTo>
                <a:cubicBezTo>
                  <a:pt x="611108" y="767311"/>
                  <a:pt x="608391" y="770029"/>
                  <a:pt x="605674" y="772746"/>
                </a:cubicBezTo>
                <a:cubicBezTo>
                  <a:pt x="588009" y="749646"/>
                  <a:pt x="571703" y="725188"/>
                  <a:pt x="556756" y="699371"/>
                </a:cubicBezTo>
                <a:close/>
                <a:moveTo>
                  <a:pt x="1144562" y="674700"/>
                </a:moveTo>
                <a:cubicBezTo>
                  <a:pt x="1139764" y="675677"/>
                  <a:pt x="1134584" y="678650"/>
                  <a:pt x="1128809" y="684425"/>
                </a:cubicBezTo>
                <a:cubicBezTo>
                  <a:pt x="1139680" y="714319"/>
                  <a:pt x="1143756" y="751006"/>
                  <a:pt x="1155986" y="771388"/>
                </a:cubicBezTo>
                <a:cubicBezTo>
                  <a:pt x="1154627" y="770029"/>
                  <a:pt x="1154627" y="764594"/>
                  <a:pt x="1157344" y="767311"/>
                </a:cubicBezTo>
                <a:cubicBezTo>
                  <a:pt x="1154626" y="780899"/>
                  <a:pt x="1175008" y="809434"/>
                  <a:pt x="1162779" y="810793"/>
                </a:cubicBezTo>
                <a:cubicBezTo>
                  <a:pt x="1166856" y="825740"/>
                  <a:pt x="1179085" y="837968"/>
                  <a:pt x="1185879" y="852915"/>
                </a:cubicBezTo>
                <a:cubicBezTo>
                  <a:pt x="1195391" y="848839"/>
                  <a:pt x="1195390" y="835251"/>
                  <a:pt x="1195390" y="827098"/>
                </a:cubicBezTo>
                <a:cubicBezTo>
                  <a:pt x="1189955" y="794488"/>
                  <a:pt x="1166855" y="755082"/>
                  <a:pt x="1172291" y="722471"/>
                </a:cubicBezTo>
                <a:cubicBezTo>
                  <a:pt x="1183161" y="714319"/>
                  <a:pt x="1180443" y="706166"/>
                  <a:pt x="1183161" y="698013"/>
                </a:cubicBezTo>
                <a:cubicBezTo>
                  <a:pt x="1169913" y="686802"/>
                  <a:pt x="1158957" y="671771"/>
                  <a:pt x="1144562" y="674700"/>
                </a:cubicBezTo>
                <a:close/>
                <a:moveTo>
                  <a:pt x="771446" y="664043"/>
                </a:moveTo>
                <a:cubicBezTo>
                  <a:pt x="766011" y="666761"/>
                  <a:pt x="774164" y="674913"/>
                  <a:pt x="775523" y="670837"/>
                </a:cubicBezTo>
                <a:cubicBezTo>
                  <a:pt x="772805" y="668120"/>
                  <a:pt x="774164" y="666761"/>
                  <a:pt x="771446" y="664043"/>
                </a:cubicBezTo>
                <a:close/>
                <a:moveTo>
                  <a:pt x="1505194" y="653172"/>
                </a:moveTo>
                <a:cubicBezTo>
                  <a:pt x="1502477" y="658607"/>
                  <a:pt x="1499759" y="650455"/>
                  <a:pt x="1495683" y="657248"/>
                </a:cubicBezTo>
                <a:cubicBezTo>
                  <a:pt x="1497041" y="664043"/>
                  <a:pt x="1502477" y="661325"/>
                  <a:pt x="1501118" y="665401"/>
                </a:cubicBezTo>
                <a:cubicBezTo>
                  <a:pt x="1497042" y="666760"/>
                  <a:pt x="1494324" y="658607"/>
                  <a:pt x="1490248" y="665401"/>
                </a:cubicBezTo>
                <a:cubicBezTo>
                  <a:pt x="1495683" y="668119"/>
                  <a:pt x="1499759" y="672196"/>
                  <a:pt x="1501118" y="676271"/>
                </a:cubicBezTo>
                <a:cubicBezTo>
                  <a:pt x="1505194" y="669478"/>
                  <a:pt x="1506553" y="662684"/>
                  <a:pt x="1502477" y="655889"/>
                </a:cubicBezTo>
                <a:cubicBezTo>
                  <a:pt x="1506553" y="657249"/>
                  <a:pt x="1507912" y="664043"/>
                  <a:pt x="1510629" y="661325"/>
                </a:cubicBezTo>
                <a:cubicBezTo>
                  <a:pt x="1510630" y="658606"/>
                  <a:pt x="1507913" y="655889"/>
                  <a:pt x="1505194" y="653172"/>
                </a:cubicBezTo>
                <a:close/>
                <a:moveTo>
                  <a:pt x="1497043" y="645019"/>
                </a:moveTo>
                <a:cubicBezTo>
                  <a:pt x="1495684" y="646378"/>
                  <a:pt x="1494326" y="647737"/>
                  <a:pt x="1492967" y="649096"/>
                </a:cubicBezTo>
                <a:cubicBezTo>
                  <a:pt x="1495684" y="651813"/>
                  <a:pt x="1497042" y="655890"/>
                  <a:pt x="1499761" y="650455"/>
                </a:cubicBezTo>
                <a:cubicBezTo>
                  <a:pt x="1498401" y="649096"/>
                  <a:pt x="1497042" y="647737"/>
                  <a:pt x="1497043" y="645019"/>
                </a:cubicBezTo>
                <a:close/>
                <a:moveTo>
                  <a:pt x="767370" y="632791"/>
                </a:moveTo>
                <a:cubicBezTo>
                  <a:pt x="768728" y="634149"/>
                  <a:pt x="771446" y="636867"/>
                  <a:pt x="772805" y="638226"/>
                </a:cubicBezTo>
                <a:cubicBezTo>
                  <a:pt x="774164" y="639585"/>
                  <a:pt x="774164" y="639585"/>
                  <a:pt x="775523" y="640944"/>
                </a:cubicBezTo>
                <a:lnTo>
                  <a:pt x="776607" y="642028"/>
                </a:lnTo>
                <a:lnTo>
                  <a:pt x="772805" y="640942"/>
                </a:lnTo>
                <a:cubicBezTo>
                  <a:pt x="775523" y="643660"/>
                  <a:pt x="772805" y="646378"/>
                  <a:pt x="774164" y="647736"/>
                </a:cubicBezTo>
                <a:lnTo>
                  <a:pt x="777299" y="642720"/>
                </a:lnTo>
                <a:lnTo>
                  <a:pt x="789110" y="654531"/>
                </a:lnTo>
                <a:cubicBezTo>
                  <a:pt x="787752" y="661325"/>
                  <a:pt x="787751" y="666760"/>
                  <a:pt x="793188" y="666760"/>
                </a:cubicBezTo>
                <a:cubicBezTo>
                  <a:pt x="791828" y="662684"/>
                  <a:pt x="791829" y="659966"/>
                  <a:pt x="793187" y="658608"/>
                </a:cubicBezTo>
                <a:cubicBezTo>
                  <a:pt x="802698" y="668119"/>
                  <a:pt x="812210" y="680348"/>
                  <a:pt x="821721" y="689859"/>
                </a:cubicBezTo>
                <a:cubicBezTo>
                  <a:pt x="840745" y="711600"/>
                  <a:pt x="861126" y="731982"/>
                  <a:pt x="882868" y="751006"/>
                </a:cubicBezTo>
                <a:cubicBezTo>
                  <a:pt x="881509" y="752365"/>
                  <a:pt x="878791" y="755082"/>
                  <a:pt x="881509" y="757799"/>
                </a:cubicBezTo>
                <a:cubicBezTo>
                  <a:pt x="882868" y="756440"/>
                  <a:pt x="884227" y="757799"/>
                  <a:pt x="885585" y="759158"/>
                </a:cubicBezTo>
                <a:cubicBezTo>
                  <a:pt x="886944" y="757799"/>
                  <a:pt x="886944" y="757799"/>
                  <a:pt x="888303" y="756440"/>
                </a:cubicBezTo>
                <a:cubicBezTo>
                  <a:pt x="912761" y="778182"/>
                  <a:pt x="937220" y="797204"/>
                  <a:pt x="961678" y="813509"/>
                </a:cubicBezTo>
                <a:cubicBezTo>
                  <a:pt x="975266" y="821662"/>
                  <a:pt x="987495" y="828457"/>
                  <a:pt x="1001083" y="836610"/>
                </a:cubicBezTo>
                <a:cubicBezTo>
                  <a:pt x="1035053" y="865144"/>
                  <a:pt x="1070381" y="892321"/>
                  <a:pt x="1107069" y="918137"/>
                </a:cubicBezTo>
                <a:cubicBezTo>
                  <a:pt x="1117939" y="926289"/>
                  <a:pt x="1128809" y="934443"/>
                  <a:pt x="1141038" y="941237"/>
                </a:cubicBezTo>
                <a:cubicBezTo>
                  <a:pt x="1104351" y="929008"/>
                  <a:pt x="1069023" y="920855"/>
                  <a:pt x="1036411" y="920855"/>
                </a:cubicBezTo>
                <a:lnTo>
                  <a:pt x="1018068" y="920855"/>
                </a:lnTo>
                <a:lnTo>
                  <a:pt x="1016030" y="919496"/>
                </a:lnTo>
                <a:lnTo>
                  <a:pt x="1015651" y="919552"/>
                </a:lnTo>
                <a:lnTo>
                  <a:pt x="984778" y="896397"/>
                </a:lnTo>
                <a:cubicBezTo>
                  <a:pt x="930425" y="852915"/>
                  <a:pt x="876073" y="806716"/>
                  <a:pt x="824439" y="755082"/>
                </a:cubicBezTo>
                <a:cubicBezTo>
                  <a:pt x="825798" y="753723"/>
                  <a:pt x="827157" y="752364"/>
                  <a:pt x="828515" y="751006"/>
                </a:cubicBezTo>
                <a:cubicBezTo>
                  <a:pt x="820363" y="745570"/>
                  <a:pt x="812210" y="740135"/>
                  <a:pt x="824440" y="736059"/>
                </a:cubicBezTo>
                <a:cubicBezTo>
                  <a:pt x="820363" y="734700"/>
                  <a:pt x="817645" y="726547"/>
                  <a:pt x="814928" y="729265"/>
                </a:cubicBezTo>
                <a:cubicBezTo>
                  <a:pt x="817645" y="731982"/>
                  <a:pt x="820363" y="734700"/>
                  <a:pt x="819004" y="736058"/>
                </a:cubicBezTo>
                <a:cubicBezTo>
                  <a:pt x="814928" y="734700"/>
                  <a:pt x="812210" y="731982"/>
                  <a:pt x="809492" y="731982"/>
                </a:cubicBezTo>
                <a:cubicBezTo>
                  <a:pt x="813569" y="736059"/>
                  <a:pt x="812210" y="740135"/>
                  <a:pt x="812210" y="742853"/>
                </a:cubicBezTo>
                <a:cubicBezTo>
                  <a:pt x="795904" y="726547"/>
                  <a:pt x="782317" y="710241"/>
                  <a:pt x="766011" y="693936"/>
                </a:cubicBezTo>
                <a:cubicBezTo>
                  <a:pt x="767370" y="681707"/>
                  <a:pt x="770087" y="670837"/>
                  <a:pt x="771446" y="658608"/>
                </a:cubicBezTo>
                <a:cubicBezTo>
                  <a:pt x="771446" y="653172"/>
                  <a:pt x="772805" y="649096"/>
                  <a:pt x="772805" y="643661"/>
                </a:cubicBezTo>
                <a:cubicBezTo>
                  <a:pt x="771446" y="639584"/>
                  <a:pt x="768729" y="636866"/>
                  <a:pt x="767370" y="632791"/>
                </a:cubicBezTo>
                <a:close/>
                <a:moveTo>
                  <a:pt x="487458" y="616484"/>
                </a:moveTo>
                <a:cubicBezTo>
                  <a:pt x="492894" y="624638"/>
                  <a:pt x="496969" y="631432"/>
                  <a:pt x="502405" y="639584"/>
                </a:cubicBezTo>
                <a:cubicBezTo>
                  <a:pt x="509199" y="649096"/>
                  <a:pt x="514634" y="659966"/>
                  <a:pt x="522787" y="670837"/>
                </a:cubicBezTo>
                <a:cubicBezTo>
                  <a:pt x="506481" y="662684"/>
                  <a:pt x="490175" y="654531"/>
                  <a:pt x="475229" y="639585"/>
                </a:cubicBezTo>
                <a:cubicBezTo>
                  <a:pt x="468435" y="635507"/>
                  <a:pt x="463000" y="630073"/>
                  <a:pt x="456206" y="623279"/>
                </a:cubicBezTo>
                <a:cubicBezTo>
                  <a:pt x="467076" y="620561"/>
                  <a:pt x="476587" y="619202"/>
                  <a:pt x="487458" y="616484"/>
                </a:cubicBezTo>
                <a:close/>
                <a:moveTo>
                  <a:pt x="583933" y="612408"/>
                </a:moveTo>
                <a:cubicBezTo>
                  <a:pt x="588009" y="621920"/>
                  <a:pt x="592085" y="631432"/>
                  <a:pt x="594803" y="639584"/>
                </a:cubicBezTo>
                <a:cubicBezTo>
                  <a:pt x="600238" y="653172"/>
                  <a:pt x="605674" y="669478"/>
                  <a:pt x="611108" y="683065"/>
                </a:cubicBezTo>
                <a:cubicBezTo>
                  <a:pt x="596161" y="662684"/>
                  <a:pt x="581215" y="642302"/>
                  <a:pt x="564910" y="623279"/>
                </a:cubicBezTo>
                <a:cubicBezTo>
                  <a:pt x="571703" y="619202"/>
                  <a:pt x="577138" y="616485"/>
                  <a:pt x="583933" y="612408"/>
                </a:cubicBezTo>
                <a:close/>
                <a:moveTo>
                  <a:pt x="1588083" y="611050"/>
                </a:moveTo>
                <a:cubicBezTo>
                  <a:pt x="1585364" y="611051"/>
                  <a:pt x="1582647" y="613768"/>
                  <a:pt x="1579929" y="616486"/>
                </a:cubicBezTo>
                <a:cubicBezTo>
                  <a:pt x="1582646" y="624638"/>
                  <a:pt x="1592159" y="615126"/>
                  <a:pt x="1588083" y="611050"/>
                </a:cubicBezTo>
                <a:close/>
                <a:moveTo>
                  <a:pt x="520069" y="611050"/>
                </a:moveTo>
                <a:cubicBezTo>
                  <a:pt x="529580" y="620561"/>
                  <a:pt x="539092" y="624637"/>
                  <a:pt x="548604" y="625997"/>
                </a:cubicBezTo>
                <a:cubicBezTo>
                  <a:pt x="574421" y="657249"/>
                  <a:pt x="598879" y="689860"/>
                  <a:pt x="623338" y="725188"/>
                </a:cubicBezTo>
                <a:cubicBezTo>
                  <a:pt x="626055" y="733340"/>
                  <a:pt x="628773" y="741494"/>
                  <a:pt x="631490" y="752365"/>
                </a:cubicBezTo>
                <a:cubicBezTo>
                  <a:pt x="630131" y="751006"/>
                  <a:pt x="627413" y="748288"/>
                  <a:pt x="626055" y="746930"/>
                </a:cubicBezTo>
                <a:cubicBezTo>
                  <a:pt x="601596" y="722471"/>
                  <a:pt x="574421" y="700730"/>
                  <a:pt x="548604" y="688501"/>
                </a:cubicBezTo>
                <a:cubicBezTo>
                  <a:pt x="548604" y="688501"/>
                  <a:pt x="547245" y="687142"/>
                  <a:pt x="547245" y="687142"/>
                </a:cubicBezTo>
                <a:cubicBezTo>
                  <a:pt x="536374" y="670837"/>
                  <a:pt x="526863" y="653172"/>
                  <a:pt x="515993" y="636867"/>
                </a:cubicBezTo>
                <a:cubicBezTo>
                  <a:pt x="511916" y="627354"/>
                  <a:pt x="507840" y="620561"/>
                  <a:pt x="503764" y="613767"/>
                </a:cubicBezTo>
                <a:cubicBezTo>
                  <a:pt x="509199" y="613767"/>
                  <a:pt x="514634" y="611049"/>
                  <a:pt x="520069" y="611050"/>
                </a:cubicBezTo>
                <a:close/>
                <a:moveTo>
                  <a:pt x="1071059" y="603065"/>
                </a:moveTo>
                <a:cubicBezTo>
                  <a:pt x="1069871" y="602895"/>
                  <a:pt x="1068342" y="603575"/>
                  <a:pt x="1066304" y="605613"/>
                </a:cubicBezTo>
                <a:cubicBezTo>
                  <a:pt x="1069022" y="608331"/>
                  <a:pt x="1071740" y="619201"/>
                  <a:pt x="1077175" y="613766"/>
                </a:cubicBezTo>
                <a:cubicBezTo>
                  <a:pt x="1075137" y="611728"/>
                  <a:pt x="1074627" y="603575"/>
                  <a:pt x="1071059" y="603065"/>
                </a:cubicBezTo>
                <a:close/>
                <a:moveTo>
                  <a:pt x="616543" y="598821"/>
                </a:moveTo>
                <a:cubicBezTo>
                  <a:pt x="624356" y="599161"/>
                  <a:pt x="631490" y="604255"/>
                  <a:pt x="638284" y="617843"/>
                </a:cubicBezTo>
                <a:cubicBezTo>
                  <a:pt x="639643" y="616484"/>
                  <a:pt x="639643" y="616484"/>
                  <a:pt x="641002" y="617843"/>
                </a:cubicBezTo>
                <a:cubicBezTo>
                  <a:pt x="647796" y="627355"/>
                  <a:pt x="655948" y="638226"/>
                  <a:pt x="662743" y="647737"/>
                </a:cubicBezTo>
                <a:cubicBezTo>
                  <a:pt x="683124" y="678989"/>
                  <a:pt x="704866" y="711600"/>
                  <a:pt x="726606" y="744212"/>
                </a:cubicBezTo>
                <a:cubicBezTo>
                  <a:pt x="725247" y="745570"/>
                  <a:pt x="725247" y="745570"/>
                  <a:pt x="723888" y="746929"/>
                </a:cubicBezTo>
                <a:cubicBezTo>
                  <a:pt x="726606" y="760517"/>
                  <a:pt x="734759" y="774105"/>
                  <a:pt x="744271" y="780899"/>
                </a:cubicBezTo>
                <a:cubicBezTo>
                  <a:pt x="742911" y="776823"/>
                  <a:pt x="744271" y="772746"/>
                  <a:pt x="742911" y="768670"/>
                </a:cubicBezTo>
                <a:cubicBezTo>
                  <a:pt x="760575" y="794487"/>
                  <a:pt x="778240" y="820303"/>
                  <a:pt x="795905" y="846121"/>
                </a:cubicBezTo>
                <a:cubicBezTo>
                  <a:pt x="802698" y="869220"/>
                  <a:pt x="809493" y="889603"/>
                  <a:pt x="816287" y="912702"/>
                </a:cubicBezTo>
                <a:cubicBezTo>
                  <a:pt x="816287" y="912702"/>
                  <a:pt x="814928" y="914061"/>
                  <a:pt x="813569" y="915420"/>
                </a:cubicBezTo>
                <a:cubicBezTo>
                  <a:pt x="814928" y="916778"/>
                  <a:pt x="816286" y="915420"/>
                  <a:pt x="816286" y="915420"/>
                </a:cubicBezTo>
                <a:cubicBezTo>
                  <a:pt x="817645" y="916779"/>
                  <a:pt x="816287" y="918137"/>
                  <a:pt x="817646" y="919496"/>
                </a:cubicBezTo>
                <a:cubicBezTo>
                  <a:pt x="817646" y="919496"/>
                  <a:pt x="817646" y="919496"/>
                  <a:pt x="819004" y="920855"/>
                </a:cubicBezTo>
                <a:cubicBezTo>
                  <a:pt x="820363" y="922214"/>
                  <a:pt x="819004" y="923573"/>
                  <a:pt x="820363" y="924931"/>
                </a:cubicBezTo>
                <a:cubicBezTo>
                  <a:pt x="806775" y="919496"/>
                  <a:pt x="794546" y="912702"/>
                  <a:pt x="780958" y="904549"/>
                </a:cubicBezTo>
                <a:lnTo>
                  <a:pt x="779847" y="901956"/>
                </a:lnTo>
                <a:lnTo>
                  <a:pt x="776881" y="895038"/>
                </a:lnTo>
                <a:cubicBezTo>
                  <a:pt x="775523" y="899114"/>
                  <a:pt x="772805" y="899114"/>
                  <a:pt x="771446" y="897756"/>
                </a:cubicBezTo>
                <a:cubicBezTo>
                  <a:pt x="770087" y="896397"/>
                  <a:pt x="767370" y="893679"/>
                  <a:pt x="764652" y="893678"/>
                </a:cubicBezTo>
                <a:cubicBezTo>
                  <a:pt x="749705" y="881450"/>
                  <a:pt x="732041" y="866503"/>
                  <a:pt x="717094" y="851557"/>
                </a:cubicBezTo>
                <a:cubicBezTo>
                  <a:pt x="704865" y="831174"/>
                  <a:pt x="692636" y="810793"/>
                  <a:pt x="680407" y="793128"/>
                </a:cubicBezTo>
                <a:cubicBezTo>
                  <a:pt x="660025" y="761876"/>
                  <a:pt x="641002" y="731983"/>
                  <a:pt x="619261" y="702089"/>
                </a:cubicBezTo>
                <a:cubicBezTo>
                  <a:pt x="616543" y="677630"/>
                  <a:pt x="609750" y="659966"/>
                  <a:pt x="602955" y="639584"/>
                </a:cubicBezTo>
                <a:cubicBezTo>
                  <a:pt x="598879" y="630073"/>
                  <a:pt x="596161" y="619202"/>
                  <a:pt x="590726" y="608332"/>
                </a:cubicBezTo>
                <a:cubicBezTo>
                  <a:pt x="600238" y="602897"/>
                  <a:pt x="608730" y="598481"/>
                  <a:pt x="616543" y="598821"/>
                </a:cubicBezTo>
                <a:close/>
                <a:moveTo>
                  <a:pt x="672255" y="597461"/>
                </a:moveTo>
                <a:cubicBezTo>
                  <a:pt x="685842" y="611049"/>
                  <a:pt x="698072" y="623279"/>
                  <a:pt x="710301" y="638226"/>
                </a:cubicBezTo>
                <a:cubicBezTo>
                  <a:pt x="715735" y="651813"/>
                  <a:pt x="715736" y="662684"/>
                  <a:pt x="707583" y="665402"/>
                </a:cubicBezTo>
                <a:cubicBezTo>
                  <a:pt x="706224" y="680348"/>
                  <a:pt x="710301" y="695295"/>
                  <a:pt x="717094" y="707524"/>
                </a:cubicBezTo>
                <a:cubicBezTo>
                  <a:pt x="702148" y="684425"/>
                  <a:pt x="687201" y="661325"/>
                  <a:pt x="672254" y="638226"/>
                </a:cubicBezTo>
                <a:cubicBezTo>
                  <a:pt x="665460" y="628713"/>
                  <a:pt x="658667" y="619202"/>
                  <a:pt x="651872" y="609691"/>
                </a:cubicBezTo>
                <a:cubicBezTo>
                  <a:pt x="658666" y="605614"/>
                  <a:pt x="665460" y="601538"/>
                  <a:pt x="672255" y="597461"/>
                </a:cubicBezTo>
                <a:close/>
                <a:moveTo>
                  <a:pt x="677690" y="592027"/>
                </a:moveTo>
                <a:cubicBezTo>
                  <a:pt x="683124" y="597461"/>
                  <a:pt x="687201" y="601538"/>
                  <a:pt x="691277" y="608331"/>
                </a:cubicBezTo>
                <a:cubicBezTo>
                  <a:pt x="685842" y="602896"/>
                  <a:pt x="681766" y="598820"/>
                  <a:pt x="676331" y="593385"/>
                </a:cubicBezTo>
                <a:cubicBezTo>
                  <a:pt x="676331" y="593385"/>
                  <a:pt x="677690" y="592027"/>
                  <a:pt x="677690" y="592027"/>
                </a:cubicBezTo>
                <a:close/>
                <a:moveTo>
                  <a:pt x="751065" y="562133"/>
                </a:moveTo>
                <a:cubicBezTo>
                  <a:pt x="776881" y="582515"/>
                  <a:pt x="798622" y="609691"/>
                  <a:pt x="820363" y="639585"/>
                </a:cubicBezTo>
                <a:cubicBezTo>
                  <a:pt x="862486" y="695295"/>
                  <a:pt x="905967" y="755082"/>
                  <a:pt x="956242" y="799922"/>
                </a:cubicBezTo>
                <a:cubicBezTo>
                  <a:pt x="963036" y="806716"/>
                  <a:pt x="971189" y="812151"/>
                  <a:pt x="976625" y="817587"/>
                </a:cubicBezTo>
                <a:cubicBezTo>
                  <a:pt x="969830" y="813510"/>
                  <a:pt x="964395" y="810792"/>
                  <a:pt x="957601" y="806716"/>
                </a:cubicBezTo>
                <a:cubicBezTo>
                  <a:pt x="934501" y="791769"/>
                  <a:pt x="910043" y="772746"/>
                  <a:pt x="886944" y="752365"/>
                </a:cubicBezTo>
                <a:cubicBezTo>
                  <a:pt x="886944" y="752365"/>
                  <a:pt x="886944" y="752365"/>
                  <a:pt x="888303" y="751006"/>
                </a:cubicBezTo>
                <a:cubicBezTo>
                  <a:pt x="886944" y="749646"/>
                  <a:pt x="885585" y="748288"/>
                  <a:pt x="882867" y="748288"/>
                </a:cubicBezTo>
                <a:cubicBezTo>
                  <a:pt x="861127" y="729265"/>
                  <a:pt x="840745" y="706166"/>
                  <a:pt x="819004" y="684425"/>
                </a:cubicBezTo>
                <a:cubicBezTo>
                  <a:pt x="808134" y="673555"/>
                  <a:pt x="797263" y="659966"/>
                  <a:pt x="786393" y="649096"/>
                </a:cubicBezTo>
                <a:cubicBezTo>
                  <a:pt x="782317" y="645019"/>
                  <a:pt x="776882" y="639585"/>
                  <a:pt x="774164" y="634149"/>
                </a:cubicBezTo>
                <a:cubicBezTo>
                  <a:pt x="774164" y="631432"/>
                  <a:pt x="776881" y="625996"/>
                  <a:pt x="778240" y="621920"/>
                </a:cubicBezTo>
                <a:cubicBezTo>
                  <a:pt x="775523" y="624638"/>
                  <a:pt x="771446" y="617843"/>
                  <a:pt x="768729" y="623279"/>
                </a:cubicBezTo>
                <a:cubicBezTo>
                  <a:pt x="770087" y="624637"/>
                  <a:pt x="770087" y="627355"/>
                  <a:pt x="770087" y="627355"/>
                </a:cubicBezTo>
                <a:cubicBezTo>
                  <a:pt x="767370" y="624638"/>
                  <a:pt x="764652" y="621920"/>
                  <a:pt x="761934" y="619202"/>
                </a:cubicBezTo>
                <a:cubicBezTo>
                  <a:pt x="757858" y="601538"/>
                  <a:pt x="757858" y="582515"/>
                  <a:pt x="751065" y="562133"/>
                </a:cubicBezTo>
                <a:close/>
                <a:moveTo>
                  <a:pt x="695354" y="411309"/>
                </a:moveTo>
                <a:cubicBezTo>
                  <a:pt x="726606" y="423539"/>
                  <a:pt x="756499" y="437126"/>
                  <a:pt x="787752" y="449355"/>
                </a:cubicBezTo>
                <a:cubicBezTo>
                  <a:pt x="779599" y="460226"/>
                  <a:pt x="783676" y="477890"/>
                  <a:pt x="793187" y="495555"/>
                </a:cubicBezTo>
                <a:cubicBezTo>
                  <a:pt x="786393" y="491479"/>
                  <a:pt x="780957" y="491478"/>
                  <a:pt x="775523" y="491478"/>
                </a:cubicBezTo>
                <a:cubicBezTo>
                  <a:pt x="775523" y="469737"/>
                  <a:pt x="759217" y="453432"/>
                  <a:pt x="742912" y="439844"/>
                </a:cubicBezTo>
                <a:cubicBezTo>
                  <a:pt x="723888" y="426256"/>
                  <a:pt x="692636" y="438485"/>
                  <a:pt x="684483" y="416745"/>
                </a:cubicBezTo>
                <a:cubicBezTo>
                  <a:pt x="691277" y="418104"/>
                  <a:pt x="693995" y="415386"/>
                  <a:pt x="695354" y="411309"/>
                </a:cubicBezTo>
                <a:close/>
                <a:moveTo>
                  <a:pt x="514217" y="407257"/>
                </a:moveTo>
                <a:lnTo>
                  <a:pt x="535865" y="409102"/>
                </a:lnTo>
                <a:cubicBezTo>
                  <a:pt x="554718" y="413348"/>
                  <a:pt x="574422" y="420821"/>
                  <a:pt x="594803" y="433050"/>
                </a:cubicBezTo>
                <a:cubicBezTo>
                  <a:pt x="611108" y="443920"/>
                  <a:pt x="627414" y="457508"/>
                  <a:pt x="641001" y="473815"/>
                </a:cubicBezTo>
                <a:cubicBezTo>
                  <a:pt x="630132" y="471096"/>
                  <a:pt x="619260" y="468380"/>
                  <a:pt x="608391" y="468378"/>
                </a:cubicBezTo>
                <a:cubicBezTo>
                  <a:pt x="602956" y="462944"/>
                  <a:pt x="600238" y="457509"/>
                  <a:pt x="594803" y="449356"/>
                </a:cubicBezTo>
                <a:cubicBezTo>
                  <a:pt x="579856" y="442562"/>
                  <a:pt x="564910" y="454791"/>
                  <a:pt x="551321" y="443920"/>
                </a:cubicBezTo>
                <a:cubicBezTo>
                  <a:pt x="558116" y="439844"/>
                  <a:pt x="566267" y="442562"/>
                  <a:pt x="573062" y="433050"/>
                </a:cubicBezTo>
                <a:cubicBezTo>
                  <a:pt x="557776" y="423878"/>
                  <a:pt x="542489" y="433050"/>
                  <a:pt x="527202" y="422732"/>
                </a:cubicBezTo>
                <a:close/>
                <a:moveTo>
                  <a:pt x="511916" y="404515"/>
                </a:moveTo>
                <a:lnTo>
                  <a:pt x="514217" y="407257"/>
                </a:lnTo>
                <a:lnTo>
                  <a:pt x="500750" y="406111"/>
                </a:lnTo>
                <a:close/>
                <a:moveTo>
                  <a:pt x="524314" y="344925"/>
                </a:moveTo>
                <a:cubicBezTo>
                  <a:pt x="522447" y="344415"/>
                  <a:pt x="520748" y="345434"/>
                  <a:pt x="518709" y="348831"/>
                </a:cubicBezTo>
                <a:cubicBezTo>
                  <a:pt x="522786" y="352908"/>
                  <a:pt x="528222" y="355626"/>
                  <a:pt x="530939" y="350191"/>
                </a:cubicBezTo>
                <a:cubicBezTo>
                  <a:pt x="528221" y="347472"/>
                  <a:pt x="526183" y="345434"/>
                  <a:pt x="524314" y="344925"/>
                </a:cubicBezTo>
                <a:close/>
                <a:moveTo>
                  <a:pt x="486099" y="329782"/>
                </a:moveTo>
                <a:cubicBezTo>
                  <a:pt x="526863" y="340652"/>
                  <a:pt x="570345" y="356957"/>
                  <a:pt x="613825" y="375982"/>
                </a:cubicBezTo>
                <a:cubicBezTo>
                  <a:pt x="613826" y="397721"/>
                  <a:pt x="631490" y="415386"/>
                  <a:pt x="641002" y="435767"/>
                </a:cubicBezTo>
                <a:cubicBezTo>
                  <a:pt x="647796" y="450714"/>
                  <a:pt x="651872" y="465662"/>
                  <a:pt x="654590" y="479249"/>
                </a:cubicBezTo>
                <a:cubicBezTo>
                  <a:pt x="653231" y="477890"/>
                  <a:pt x="651872" y="479249"/>
                  <a:pt x="650513" y="477890"/>
                </a:cubicBezTo>
                <a:cubicBezTo>
                  <a:pt x="634207" y="456150"/>
                  <a:pt x="612467" y="437126"/>
                  <a:pt x="593444" y="423538"/>
                </a:cubicBezTo>
                <a:cubicBezTo>
                  <a:pt x="551321" y="395004"/>
                  <a:pt x="510557" y="389569"/>
                  <a:pt x="476587" y="390928"/>
                </a:cubicBezTo>
                <a:lnTo>
                  <a:pt x="482022" y="404515"/>
                </a:lnTo>
                <a:lnTo>
                  <a:pt x="500750" y="406111"/>
                </a:lnTo>
                <a:lnTo>
                  <a:pt x="483381" y="408593"/>
                </a:lnTo>
                <a:cubicBezTo>
                  <a:pt x="473870" y="408592"/>
                  <a:pt x="464359" y="407234"/>
                  <a:pt x="454847" y="404515"/>
                </a:cubicBezTo>
                <a:cubicBezTo>
                  <a:pt x="464358" y="381416"/>
                  <a:pt x="475229" y="354240"/>
                  <a:pt x="486099" y="329782"/>
                </a:cubicBezTo>
                <a:close/>
                <a:moveTo>
                  <a:pt x="507840" y="269995"/>
                </a:moveTo>
                <a:cubicBezTo>
                  <a:pt x="554038" y="272712"/>
                  <a:pt x="608391" y="299888"/>
                  <a:pt x="661384" y="322987"/>
                </a:cubicBezTo>
                <a:cubicBezTo>
                  <a:pt x="695354" y="337934"/>
                  <a:pt x="727965" y="351523"/>
                  <a:pt x="759217" y="355599"/>
                </a:cubicBezTo>
                <a:cubicBezTo>
                  <a:pt x="768728" y="356957"/>
                  <a:pt x="779599" y="356957"/>
                  <a:pt x="790470" y="356957"/>
                </a:cubicBezTo>
                <a:cubicBezTo>
                  <a:pt x="791829" y="358316"/>
                  <a:pt x="794546" y="361033"/>
                  <a:pt x="797264" y="363751"/>
                </a:cubicBezTo>
                <a:cubicBezTo>
                  <a:pt x="780957" y="388209"/>
                  <a:pt x="812210" y="411309"/>
                  <a:pt x="808134" y="437126"/>
                </a:cubicBezTo>
                <a:cubicBezTo>
                  <a:pt x="801340" y="438485"/>
                  <a:pt x="795904" y="441203"/>
                  <a:pt x="791828" y="442561"/>
                </a:cubicBezTo>
                <a:cubicBezTo>
                  <a:pt x="759218" y="428974"/>
                  <a:pt x="726606" y="415386"/>
                  <a:pt x="693995" y="401797"/>
                </a:cubicBezTo>
                <a:cubicBezTo>
                  <a:pt x="688560" y="385493"/>
                  <a:pt x="668177" y="362392"/>
                  <a:pt x="651872" y="373263"/>
                </a:cubicBezTo>
                <a:cubicBezTo>
                  <a:pt x="650513" y="377340"/>
                  <a:pt x="653231" y="380057"/>
                  <a:pt x="654590" y="384133"/>
                </a:cubicBezTo>
                <a:cubicBezTo>
                  <a:pt x="649154" y="381416"/>
                  <a:pt x="643720" y="378698"/>
                  <a:pt x="638285" y="375981"/>
                </a:cubicBezTo>
                <a:cubicBezTo>
                  <a:pt x="638284" y="365110"/>
                  <a:pt x="617903" y="361034"/>
                  <a:pt x="615185" y="366469"/>
                </a:cubicBezTo>
                <a:cubicBezTo>
                  <a:pt x="615185" y="363752"/>
                  <a:pt x="611108" y="362392"/>
                  <a:pt x="605673" y="359675"/>
                </a:cubicBezTo>
                <a:cubicBezTo>
                  <a:pt x="608390" y="356957"/>
                  <a:pt x="611108" y="354239"/>
                  <a:pt x="607032" y="352881"/>
                </a:cubicBezTo>
                <a:cubicBezTo>
                  <a:pt x="601597" y="352881"/>
                  <a:pt x="601597" y="358316"/>
                  <a:pt x="604314" y="361033"/>
                </a:cubicBezTo>
                <a:cubicBezTo>
                  <a:pt x="566268" y="344729"/>
                  <a:pt x="526863" y="329781"/>
                  <a:pt x="488817" y="318911"/>
                </a:cubicBezTo>
                <a:cubicBezTo>
                  <a:pt x="495611" y="303964"/>
                  <a:pt x="501046" y="287660"/>
                  <a:pt x="507840" y="269995"/>
                </a:cubicBezTo>
                <a:close/>
                <a:moveTo>
                  <a:pt x="859768" y="230589"/>
                </a:moveTo>
                <a:cubicBezTo>
                  <a:pt x="861126" y="234665"/>
                  <a:pt x="861127" y="240101"/>
                  <a:pt x="859767" y="244177"/>
                </a:cubicBezTo>
                <a:cubicBezTo>
                  <a:pt x="861127" y="261842"/>
                  <a:pt x="858409" y="278148"/>
                  <a:pt x="852974" y="291735"/>
                </a:cubicBezTo>
                <a:cubicBezTo>
                  <a:pt x="848898" y="284941"/>
                  <a:pt x="843462" y="276789"/>
                  <a:pt x="835309" y="268636"/>
                </a:cubicBezTo>
                <a:cubicBezTo>
                  <a:pt x="842104" y="250971"/>
                  <a:pt x="851615" y="241460"/>
                  <a:pt x="859768" y="230589"/>
                </a:cubicBezTo>
                <a:close/>
                <a:moveTo>
                  <a:pt x="818532" y="130036"/>
                </a:moveTo>
                <a:lnTo>
                  <a:pt x="850256" y="136832"/>
                </a:lnTo>
                <a:cubicBezTo>
                  <a:pt x="908685" y="149062"/>
                  <a:pt x="965754" y="154496"/>
                  <a:pt x="1020106" y="154497"/>
                </a:cubicBezTo>
                <a:lnTo>
                  <a:pt x="1019191" y="151754"/>
                </a:lnTo>
                <a:lnTo>
                  <a:pt x="1020106" y="151779"/>
                </a:lnTo>
                <a:cubicBezTo>
                  <a:pt x="1024182" y="164009"/>
                  <a:pt x="1030976" y="176237"/>
                  <a:pt x="1039129" y="189826"/>
                </a:cubicBezTo>
                <a:cubicBezTo>
                  <a:pt x="1043205" y="193902"/>
                  <a:pt x="1047282" y="197979"/>
                  <a:pt x="1052717" y="197978"/>
                </a:cubicBezTo>
                <a:cubicBezTo>
                  <a:pt x="1054076" y="215643"/>
                  <a:pt x="1067663" y="231948"/>
                  <a:pt x="1067664" y="250971"/>
                </a:cubicBezTo>
                <a:cubicBezTo>
                  <a:pt x="1066305" y="252330"/>
                  <a:pt x="1064946" y="250971"/>
                  <a:pt x="1063587" y="252330"/>
                </a:cubicBezTo>
                <a:cubicBezTo>
                  <a:pt x="1066305" y="255048"/>
                  <a:pt x="1067664" y="253689"/>
                  <a:pt x="1070381" y="256407"/>
                </a:cubicBezTo>
                <a:cubicBezTo>
                  <a:pt x="1073099" y="294453"/>
                  <a:pt x="1088045" y="331140"/>
                  <a:pt x="1105710" y="367828"/>
                </a:cubicBezTo>
                <a:cubicBezTo>
                  <a:pt x="1122016" y="397721"/>
                  <a:pt x="1150550" y="407233"/>
                  <a:pt x="1165496" y="433050"/>
                </a:cubicBezTo>
                <a:cubicBezTo>
                  <a:pt x="1165496" y="433050"/>
                  <a:pt x="1162779" y="435767"/>
                  <a:pt x="1162779" y="435767"/>
                </a:cubicBezTo>
                <a:cubicBezTo>
                  <a:pt x="1181802" y="468378"/>
                  <a:pt x="1176367" y="514575"/>
                  <a:pt x="1207619" y="548545"/>
                </a:cubicBezTo>
                <a:cubicBezTo>
                  <a:pt x="1219849" y="552622"/>
                  <a:pt x="1230719" y="558056"/>
                  <a:pt x="1238872" y="566209"/>
                </a:cubicBezTo>
                <a:cubicBezTo>
                  <a:pt x="1234796" y="573003"/>
                  <a:pt x="1236155" y="571644"/>
                  <a:pt x="1232078" y="578438"/>
                </a:cubicBezTo>
                <a:cubicBezTo>
                  <a:pt x="1236154" y="585233"/>
                  <a:pt x="1240910" y="592027"/>
                  <a:pt x="1244646" y="598821"/>
                </a:cubicBezTo>
                <a:lnTo>
                  <a:pt x="1250508" y="617330"/>
                </a:lnTo>
                <a:lnTo>
                  <a:pt x="1226643" y="611050"/>
                </a:lnTo>
                <a:lnTo>
                  <a:pt x="1144488" y="583415"/>
                </a:lnTo>
                <a:lnTo>
                  <a:pt x="1075986" y="559585"/>
                </a:lnTo>
                <a:cubicBezTo>
                  <a:pt x="1025880" y="540053"/>
                  <a:pt x="975266" y="518652"/>
                  <a:pt x="924990" y="496914"/>
                </a:cubicBezTo>
                <a:cubicBezTo>
                  <a:pt x="899173" y="484684"/>
                  <a:pt x="873356" y="475173"/>
                  <a:pt x="847539" y="462944"/>
                </a:cubicBezTo>
                <a:cubicBezTo>
                  <a:pt x="846180" y="447997"/>
                  <a:pt x="832592" y="434409"/>
                  <a:pt x="814928" y="430333"/>
                </a:cubicBezTo>
                <a:cubicBezTo>
                  <a:pt x="832592" y="428974"/>
                  <a:pt x="817645" y="414027"/>
                  <a:pt x="828515" y="405874"/>
                </a:cubicBezTo>
                <a:cubicBezTo>
                  <a:pt x="836668" y="400439"/>
                  <a:pt x="843463" y="409950"/>
                  <a:pt x="850256" y="400439"/>
                </a:cubicBezTo>
                <a:cubicBezTo>
                  <a:pt x="844821" y="378698"/>
                  <a:pt x="832592" y="352881"/>
                  <a:pt x="865204" y="352881"/>
                </a:cubicBezTo>
                <a:cubicBezTo>
                  <a:pt x="862486" y="336575"/>
                  <a:pt x="862486" y="320270"/>
                  <a:pt x="857051" y="303965"/>
                </a:cubicBezTo>
                <a:cubicBezTo>
                  <a:pt x="863845" y="289018"/>
                  <a:pt x="867921" y="268636"/>
                  <a:pt x="866562" y="245536"/>
                </a:cubicBezTo>
                <a:cubicBezTo>
                  <a:pt x="866562" y="237383"/>
                  <a:pt x="865204" y="227872"/>
                  <a:pt x="862486" y="219719"/>
                </a:cubicBezTo>
                <a:cubicBezTo>
                  <a:pt x="865204" y="214284"/>
                  <a:pt x="866562" y="204773"/>
                  <a:pt x="866562" y="193901"/>
                </a:cubicBezTo>
                <a:cubicBezTo>
                  <a:pt x="857051" y="184390"/>
                  <a:pt x="848898" y="176237"/>
                  <a:pt x="843462" y="168085"/>
                </a:cubicBezTo>
                <a:close/>
                <a:moveTo>
                  <a:pt x="791829" y="127321"/>
                </a:moveTo>
                <a:cubicBezTo>
                  <a:pt x="798622" y="128680"/>
                  <a:pt x="805416" y="130038"/>
                  <a:pt x="810851" y="132756"/>
                </a:cubicBezTo>
                <a:cubicBezTo>
                  <a:pt x="820363" y="142268"/>
                  <a:pt x="825799" y="153138"/>
                  <a:pt x="833951" y="164009"/>
                </a:cubicBezTo>
                <a:cubicBezTo>
                  <a:pt x="829874" y="159932"/>
                  <a:pt x="824439" y="157215"/>
                  <a:pt x="819004" y="154496"/>
                </a:cubicBezTo>
                <a:cubicBezTo>
                  <a:pt x="813569" y="162649"/>
                  <a:pt x="805416" y="165368"/>
                  <a:pt x="799982" y="157215"/>
                </a:cubicBezTo>
                <a:cubicBezTo>
                  <a:pt x="794546" y="146344"/>
                  <a:pt x="794545" y="135474"/>
                  <a:pt x="791829" y="127321"/>
                </a:cubicBezTo>
                <a:close/>
                <a:moveTo>
                  <a:pt x="779599" y="104222"/>
                </a:moveTo>
                <a:cubicBezTo>
                  <a:pt x="786393" y="108298"/>
                  <a:pt x="794546" y="113733"/>
                  <a:pt x="802699" y="121885"/>
                </a:cubicBezTo>
                <a:cubicBezTo>
                  <a:pt x="798622" y="120527"/>
                  <a:pt x="793188" y="120527"/>
                  <a:pt x="789110" y="119168"/>
                </a:cubicBezTo>
                <a:cubicBezTo>
                  <a:pt x="786393" y="113733"/>
                  <a:pt x="783675" y="108298"/>
                  <a:pt x="779599" y="104222"/>
                </a:cubicBezTo>
                <a:close/>
                <a:moveTo>
                  <a:pt x="590727" y="59382"/>
                </a:moveTo>
                <a:cubicBezTo>
                  <a:pt x="620620" y="72969"/>
                  <a:pt x="650513" y="83840"/>
                  <a:pt x="680408" y="94710"/>
                </a:cubicBezTo>
                <a:cubicBezTo>
                  <a:pt x="681766" y="98786"/>
                  <a:pt x="683124" y="102863"/>
                  <a:pt x="683124" y="108298"/>
                </a:cubicBezTo>
                <a:cubicBezTo>
                  <a:pt x="691278" y="105580"/>
                  <a:pt x="699430" y="108298"/>
                  <a:pt x="706224" y="109657"/>
                </a:cubicBezTo>
                <a:cubicBezTo>
                  <a:pt x="691277" y="124604"/>
                  <a:pt x="680407" y="143627"/>
                  <a:pt x="674971" y="168085"/>
                </a:cubicBezTo>
                <a:cubicBezTo>
                  <a:pt x="681766" y="142268"/>
                  <a:pt x="692636" y="123244"/>
                  <a:pt x="710301" y="111015"/>
                </a:cubicBezTo>
                <a:cubicBezTo>
                  <a:pt x="713018" y="111016"/>
                  <a:pt x="715735" y="111015"/>
                  <a:pt x="718454" y="111015"/>
                </a:cubicBezTo>
                <a:cubicBezTo>
                  <a:pt x="719812" y="123244"/>
                  <a:pt x="722529" y="134115"/>
                  <a:pt x="721171" y="146344"/>
                </a:cubicBezTo>
                <a:cubicBezTo>
                  <a:pt x="782317" y="191184"/>
                  <a:pt x="707583" y="244177"/>
                  <a:pt x="782317" y="280865"/>
                </a:cubicBezTo>
                <a:cubicBezTo>
                  <a:pt x="776882" y="302606"/>
                  <a:pt x="766011" y="324346"/>
                  <a:pt x="776882" y="346087"/>
                </a:cubicBezTo>
                <a:cubicBezTo>
                  <a:pt x="768729" y="346087"/>
                  <a:pt x="761935" y="344728"/>
                  <a:pt x="753782" y="344728"/>
                </a:cubicBezTo>
                <a:cubicBezTo>
                  <a:pt x="723888" y="339293"/>
                  <a:pt x="691277" y="325705"/>
                  <a:pt x="658666" y="309400"/>
                </a:cubicBezTo>
                <a:cubicBezTo>
                  <a:pt x="611108" y="286301"/>
                  <a:pt x="560833" y="260483"/>
                  <a:pt x="514634" y="252330"/>
                </a:cubicBezTo>
                <a:cubicBezTo>
                  <a:pt x="518711" y="231948"/>
                  <a:pt x="524145" y="215642"/>
                  <a:pt x="528222" y="200696"/>
                </a:cubicBezTo>
                <a:cubicBezTo>
                  <a:pt x="529580" y="202054"/>
                  <a:pt x="532298" y="202054"/>
                  <a:pt x="535016" y="199337"/>
                </a:cubicBezTo>
                <a:cubicBezTo>
                  <a:pt x="532298" y="196620"/>
                  <a:pt x="539092" y="192543"/>
                  <a:pt x="537733" y="191185"/>
                </a:cubicBezTo>
                <a:cubicBezTo>
                  <a:pt x="536374" y="189826"/>
                  <a:pt x="533658" y="189826"/>
                  <a:pt x="532298" y="188467"/>
                </a:cubicBezTo>
                <a:cubicBezTo>
                  <a:pt x="535016" y="180314"/>
                  <a:pt x="536374" y="173520"/>
                  <a:pt x="539092" y="165367"/>
                </a:cubicBezTo>
                <a:cubicBezTo>
                  <a:pt x="549963" y="162649"/>
                  <a:pt x="562192" y="161291"/>
                  <a:pt x="574421" y="162650"/>
                </a:cubicBezTo>
                <a:cubicBezTo>
                  <a:pt x="575780" y="128679"/>
                  <a:pt x="582574" y="94710"/>
                  <a:pt x="590727" y="59382"/>
                </a:cubicBezTo>
                <a:close/>
                <a:moveTo>
                  <a:pt x="1373675" y="0"/>
                </a:moveTo>
                <a:lnTo>
                  <a:pt x="8090452" y="0"/>
                </a:lnTo>
                <a:lnTo>
                  <a:pt x="8090452" y="6863208"/>
                </a:lnTo>
                <a:lnTo>
                  <a:pt x="0" y="6863208"/>
                </a:lnTo>
                <a:lnTo>
                  <a:pt x="0" y="1585551"/>
                </a:lnTo>
                <a:lnTo>
                  <a:pt x="1178" y="1586154"/>
                </a:lnTo>
                <a:cubicBezTo>
                  <a:pt x="3387" y="1586324"/>
                  <a:pt x="5085" y="1586664"/>
                  <a:pt x="5085" y="1590740"/>
                </a:cubicBezTo>
                <a:cubicBezTo>
                  <a:pt x="9162" y="1586664"/>
                  <a:pt x="10520" y="1585305"/>
                  <a:pt x="9162" y="1581229"/>
                </a:cubicBezTo>
                <a:cubicBezTo>
                  <a:pt x="7123" y="1584626"/>
                  <a:pt x="4745" y="1584286"/>
                  <a:pt x="2197" y="1583437"/>
                </a:cubicBezTo>
                <a:lnTo>
                  <a:pt x="0" y="1583203"/>
                </a:lnTo>
                <a:lnTo>
                  <a:pt x="0" y="1471498"/>
                </a:lnTo>
                <a:lnTo>
                  <a:pt x="3217" y="1477791"/>
                </a:lnTo>
                <a:cubicBezTo>
                  <a:pt x="9162" y="1484755"/>
                  <a:pt x="17315" y="1488832"/>
                  <a:pt x="28185" y="1483397"/>
                </a:cubicBezTo>
                <a:cubicBezTo>
                  <a:pt x="30902" y="1486114"/>
                  <a:pt x="32261" y="1487473"/>
                  <a:pt x="32262" y="1490190"/>
                </a:cubicBezTo>
                <a:cubicBezTo>
                  <a:pt x="39055" y="1483396"/>
                  <a:pt x="43132" y="1487473"/>
                  <a:pt x="47208" y="1477961"/>
                </a:cubicBezTo>
                <a:cubicBezTo>
                  <a:pt x="41773" y="1475244"/>
                  <a:pt x="45849" y="1468449"/>
                  <a:pt x="49926" y="1467091"/>
                </a:cubicBezTo>
                <a:cubicBezTo>
                  <a:pt x="51285" y="1460297"/>
                  <a:pt x="40414" y="1452144"/>
                  <a:pt x="48567" y="1454862"/>
                </a:cubicBezTo>
                <a:cubicBezTo>
                  <a:pt x="44491" y="1450785"/>
                  <a:pt x="44490" y="1448068"/>
                  <a:pt x="39055" y="1448068"/>
                </a:cubicBezTo>
                <a:cubicBezTo>
                  <a:pt x="40414" y="1446709"/>
                  <a:pt x="40414" y="1443991"/>
                  <a:pt x="40414" y="1441274"/>
                </a:cubicBezTo>
                <a:cubicBezTo>
                  <a:pt x="37697" y="1443991"/>
                  <a:pt x="36338" y="1437197"/>
                  <a:pt x="33620" y="1437197"/>
                </a:cubicBezTo>
                <a:cubicBezTo>
                  <a:pt x="30902" y="1439915"/>
                  <a:pt x="28184" y="1439915"/>
                  <a:pt x="24109" y="1438556"/>
                </a:cubicBezTo>
                <a:cubicBezTo>
                  <a:pt x="26826" y="1435838"/>
                  <a:pt x="24109" y="1433121"/>
                  <a:pt x="21391" y="1430404"/>
                </a:cubicBezTo>
                <a:cubicBezTo>
                  <a:pt x="17314" y="1429045"/>
                  <a:pt x="14597" y="1429045"/>
                  <a:pt x="10520" y="1430404"/>
                </a:cubicBezTo>
                <a:cubicBezTo>
                  <a:pt x="11200" y="1433801"/>
                  <a:pt x="9501" y="1436178"/>
                  <a:pt x="6954" y="1437367"/>
                </a:cubicBezTo>
                <a:lnTo>
                  <a:pt x="0" y="1437231"/>
                </a:lnTo>
                <a:lnTo>
                  <a:pt x="0" y="1186711"/>
                </a:lnTo>
                <a:lnTo>
                  <a:pt x="52642" y="1293165"/>
                </a:lnTo>
                <a:cubicBezTo>
                  <a:pt x="54001" y="1316265"/>
                  <a:pt x="58078" y="1339364"/>
                  <a:pt x="63513" y="1363823"/>
                </a:cubicBezTo>
                <a:cubicBezTo>
                  <a:pt x="75742" y="1416816"/>
                  <a:pt x="89330" y="1471168"/>
                  <a:pt x="94765" y="1520085"/>
                </a:cubicBezTo>
                <a:cubicBezTo>
                  <a:pt x="100201" y="1570360"/>
                  <a:pt x="99522" y="1617239"/>
                  <a:pt x="94596" y="1661229"/>
                </a:cubicBezTo>
                <a:lnTo>
                  <a:pt x="74488" y="1758302"/>
                </a:lnTo>
                <a:lnTo>
                  <a:pt x="61305" y="1748530"/>
                </a:lnTo>
                <a:cubicBezTo>
                  <a:pt x="56380" y="1744624"/>
                  <a:pt x="51283" y="1741566"/>
                  <a:pt x="45849" y="1742925"/>
                </a:cubicBezTo>
                <a:cubicBezTo>
                  <a:pt x="52642" y="1748361"/>
                  <a:pt x="57058" y="1751418"/>
                  <a:pt x="61304" y="1753626"/>
                </a:cubicBezTo>
                <a:lnTo>
                  <a:pt x="74404" y="1758711"/>
                </a:lnTo>
                <a:lnTo>
                  <a:pt x="70500" y="1777558"/>
                </a:lnTo>
                <a:lnTo>
                  <a:pt x="67083" y="1778136"/>
                </a:lnTo>
                <a:cubicBezTo>
                  <a:pt x="65721" y="1778509"/>
                  <a:pt x="65721" y="1778764"/>
                  <a:pt x="70307" y="1778255"/>
                </a:cubicBezTo>
                <a:lnTo>
                  <a:pt x="70362" y="1778224"/>
                </a:lnTo>
                <a:lnTo>
                  <a:pt x="68948" y="1785049"/>
                </a:lnTo>
                <a:lnTo>
                  <a:pt x="70569" y="1778109"/>
                </a:lnTo>
                <a:lnTo>
                  <a:pt x="72027" y="1777300"/>
                </a:lnTo>
                <a:lnTo>
                  <a:pt x="70705" y="1777523"/>
                </a:lnTo>
                <a:lnTo>
                  <a:pt x="75042" y="1758959"/>
                </a:lnTo>
                <a:lnTo>
                  <a:pt x="75742" y="1759231"/>
                </a:lnTo>
                <a:lnTo>
                  <a:pt x="75092" y="1758749"/>
                </a:lnTo>
                <a:lnTo>
                  <a:pt x="97313" y="1663607"/>
                </a:lnTo>
                <a:cubicBezTo>
                  <a:pt x="103259" y="1620296"/>
                  <a:pt x="104957" y="1573757"/>
                  <a:pt x="100200" y="1522802"/>
                </a:cubicBezTo>
                <a:cubicBezTo>
                  <a:pt x="96125" y="1472527"/>
                  <a:pt x="82536" y="1418175"/>
                  <a:pt x="71666" y="1366541"/>
                </a:cubicBezTo>
                <a:cubicBezTo>
                  <a:pt x="67589" y="1346159"/>
                  <a:pt x="64872" y="1327136"/>
                  <a:pt x="63514" y="1309471"/>
                </a:cubicBezTo>
                <a:cubicBezTo>
                  <a:pt x="81177" y="1338006"/>
                  <a:pt x="98842" y="1366541"/>
                  <a:pt x="119224" y="1395075"/>
                </a:cubicBezTo>
                <a:cubicBezTo>
                  <a:pt x="113789" y="1438557"/>
                  <a:pt x="104277" y="1480679"/>
                  <a:pt x="111071" y="1530955"/>
                </a:cubicBezTo>
                <a:cubicBezTo>
                  <a:pt x="117865" y="1635582"/>
                  <a:pt x="134170" y="1744285"/>
                  <a:pt x="157270" y="1857065"/>
                </a:cubicBezTo>
                <a:cubicBezTo>
                  <a:pt x="135530" y="1745645"/>
                  <a:pt x="119224" y="1636941"/>
                  <a:pt x="115147" y="1532314"/>
                </a:cubicBezTo>
                <a:cubicBezTo>
                  <a:pt x="109712" y="1483397"/>
                  <a:pt x="117865" y="1442633"/>
                  <a:pt x="124659" y="1400511"/>
                </a:cubicBezTo>
                <a:cubicBezTo>
                  <a:pt x="150476" y="1439916"/>
                  <a:pt x="177652" y="1477962"/>
                  <a:pt x="200751" y="1517367"/>
                </a:cubicBezTo>
                <a:cubicBezTo>
                  <a:pt x="206186" y="1525519"/>
                  <a:pt x="210263" y="1532314"/>
                  <a:pt x="214339" y="1539107"/>
                </a:cubicBezTo>
                <a:cubicBezTo>
                  <a:pt x="221133" y="1589382"/>
                  <a:pt x="232004" y="1641017"/>
                  <a:pt x="244233" y="1694010"/>
                </a:cubicBezTo>
                <a:cubicBezTo>
                  <a:pt x="233362" y="1645094"/>
                  <a:pt x="223851" y="1594818"/>
                  <a:pt x="218416" y="1545902"/>
                </a:cubicBezTo>
                <a:cubicBezTo>
                  <a:pt x="236080" y="1577154"/>
                  <a:pt x="251027" y="1608406"/>
                  <a:pt x="264615" y="1641017"/>
                </a:cubicBezTo>
                <a:cubicBezTo>
                  <a:pt x="298585" y="1721186"/>
                  <a:pt x="314890" y="1802714"/>
                  <a:pt x="327119" y="1880165"/>
                </a:cubicBezTo>
                <a:cubicBezTo>
                  <a:pt x="339349" y="1957617"/>
                  <a:pt x="342066" y="2030991"/>
                  <a:pt x="348860" y="2105725"/>
                </a:cubicBezTo>
                <a:cubicBezTo>
                  <a:pt x="354295" y="2179100"/>
                  <a:pt x="361090" y="2256552"/>
                  <a:pt x="381472" y="2336722"/>
                </a:cubicBezTo>
                <a:cubicBezTo>
                  <a:pt x="399136" y="2416890"/>
                  <a:pt x="431746" y="2501134"/>
                  <a:pt x="473870" y="2581305"/>
                </a:cubicBezTo>
                <a:cubicBezTo>
                  <a:pt x="431746" y="2501134"/>
                  <a:pt x="401853" y="2416890"/>
                  <a:pt x="382829" y="2338079"/>
                </a:cubicBezTo>
                <a:cubicBezTo>
                  <a:pt x="365166" y="2257910"/>
                  <a:pt x="358372" y="2183177"/>
                  <a:pt x="352937" y="2109802"/>
                </a:cubicBezTo>
                <a:cubicBezTo>
                  <a:pt x="343425" y="1964411"/>
                  <a:pt x="339349" y="1810867"/>
                  <a:pt x="272768" y="1643735"/>
                </a:cubicBezTo>
                <a:cubicBezTo>
                  <a:pt x="271409" y="1642376"/>
                  <a:pt x="271409" y="1639658"/>
                  <a:pt x="271409" y="1639658"/>
                </a:cubicBezTo>
                <a:cubicBezTo>
                  <a:pt x="274127" y="1645094"/>
                  <a:pt x="276843" y="1650529"/>
                  <a:pt x="280920" y="1654605"/>
                </a:cubicBezTo>
                <a:cubicBezTo>
                  <a:pt x="309455" y="1702163"/>
                  <a:pt x="347501" y="1742927"/>
                  <a:pt x="384189" y="1776897"/>
                </a:cubicBezTo>
                <a:cubicBezTo>
                  <a:pt x="346142" y="1741568"/>
                  <a:pt x="310814" y="1700804"/>
                  <a:pt x="282279" y="1653246"/>
                </a:cubicBezTo>
                <a:cubicBezTo>
                  <a:pt x="276844" y="1645093"/>
                  <a:pt x="272768" y="1635582"/>
                  <a:pt x="265974" y="1626070"/>
                </a:cubicBezTo>
                <a:cubicBezTo>
                  <a:pt x="259179" y="1611124"/>
                  <a:pt x="253744" y="1597536"/>
                  <a:pt x="246950" y="1582589"/>
                </a:cubicBezTo>
                <a:cubicBezTo>
                  <a:pt x="237439" y="1556772"/>
                  <a:pt x="229286" y="1532313"/>
                  <a:pt x="225210" y="1506496"/>
                </a:cubicBezTo>
                <a:cubicBezTo>
                  <a:pt x="217058" y="1468450"/>
                  <a:pt x="214339" y="1433122"/>
                  <a:pt x="211622" y="1397793"/>
                </a:cubicBezTo>
                <a:cubicBezTo>
                  <a:pt x="212980" y="1371975"/>
                  <a:pt x="214339" y="1348876"/>
                  <a:pt x="218416" y="1325777"/>
                </a:cubicBezTo>
                <a:cubicBezTo>
                  <a:pt x="223851" y="1290448"/>
                  <a:pt x="229286" y="1252402"/>
                  <a:pt x="215698" y="1203485"/>
                </a:cubicBezTo>
                <a:cubicBezTo>
                  <a:pt x="208905" y="1174950"/>
                  <a:pt x="196676" y="1146415"/>
                  <a:pt x="183087" y="1119239"/>
                </a:cubicBezTo>
                <a:cubicBezTo>
                  <a:pt x="183087" y="1119239"/>
                  <a:pt x="184446" y="1117880"/>
                  <a:pt x="184446" y="1117880"/>
                </a:cubicBezTo>
                <a:cubicBezTo>
                  <a:pt x="183087" y="1111086"/>
                  <a:pt x="179012" y="1104292"/>
                  <a:pt x="173576" y="1101575"/>
                </a:cubicBezTo>
                <a:cubicBezTo>
                  <a:pt x="166781" y="1089345"/>
                  <a:pt x="159988" y="1077116"/>
                  <a:pt x="151835" y="1066246"/>
                </a:cubicBezTo>
                <a:cubicBezTo>
                  <a:pt x="142323" y="1051300"/>
                  <a:pt x="132812" y="1036352"/>
                  <a:pt x="123301" y="1021406"/>
                </a:cubicBezTo>
                <a:cubicBezTo>
                  <a:pt x="120583" y="1007818"/>
                  <a:pt x="119224" y="992871"/>
                  <a:pt x="116506" y="979283"/>
                </a:cubicBezTo>
                <a:cubicBezTo>
                  <a:pt x="120583" y="986077"/>
                  <a:pt x="121942" y="992871"/>
                  <a:pt x="121942" y="1001024"/>
                </a:cubicBezTo>
                <a:cubicBezTo>
                  <a:pt x="166782" y="1018688"/>
                  <a:pt x="170859" y="1058093"/>
                  <a:pt x="203469" y="1104292"/>
                </a:cubicBezTo>
                <a:cubicBezTo>
                  <a:pt x="214340" y="1107010"/>
                  <a:pt x="206187" y="1090705"/>
                  <a:pt x="217058" y="1096140"/>
                </a:cubicBezTo>
                <a:cubicBezTo>
                  <a:pt x="219095" y="1106331"/>
                  <a:pt x="223851" y="1117201"/>
                  <a:pt x="230985" y="1129430"/>
                </a:cubicBezTo>
                <a:lnTo>
                  <a:pt x="259180" y="1170873"/>
                </a:lnTo>
                <a:lnTo>
                  <a:pt x="253745" y="1168156"/>
                </a:lnTo>
                <a:cubicBezTo>
                  <a:pt x="255104" y="1169515"/>
                  <a:pt x="255104" y="1169515"/>
                  <a:pt x="253746" y="1170873"/>
                </a:cubicBezTo>
                <a:cubicBezTo>
                  <a:pt x="254425" y="1171552"/>
                  <a:pt x="255444" y="1172572"/>
                  <a:pt x="256462" y="1172911"/>
                </a:cubicBezTo>
                <a:lnTo>
                  <a:pt x="259181" y="1170873"/>
                </a:lnTo>
                <a:cubicBezTo>
                  <a:pt x="301303" y="1166796"/>
                  <a:pt x="348861" y="1143697"/>
                  <a:pt x="395060" y="1200767"/>
                </a:cubicBezTo>
                <a:cubicBezTo>
                  <a:pt x="431747" y="1207561"/>
                  <a:pt x="494252" y="1185820"/>
                  <a:pt x="491534" y="1136903"/>
                </a:cubicBezTo>
                <a:cubicBezTo>
                  <a:pt x="511917" y="1130109"/>
                  <a:pt x="517352" y="1105651"/>
                  <a:pt x="511916" y="1089345"/>
                </a:cubicBezTo>
                <a:cubicBezTo>
                  <a:pt x="551321" y="1079834"/>
                  <a:pt x="630131" y="1028200"/>
                  <a:pt x="612467" y="994230"/>
                </a:cubicBezTo>
                <a:cubicBezTo>
                  <a:pt x="593443" y="961619"/>
                  <a:pt x="564910" y="979283"/>
                  <a:pt x="548604" y="984718"/>
                </a:cubicBezTo>
                <a:cubicBezTo>
                  <a:pt x="530939" y="991512"/>
                  <a:pt x="507840" y="987436"/>
                  <a:pt x="492894" y="1002383"/>
                </a:cubicBezTo>
                <a:cubicBezTo>
                  <a:pt x="473870" y="1018688"/>
                  <a:pt x="472511" y="1044506"/>
                  <a:pt x="467076" y="1049940"/>
                </a:cubicBezTo>
                <a:cubicBezTo>
                  <a:pt x="472511" y="1044506"/>
                  <a:pt x="408648" y="1064887"/>
                  <a:pt x="414083" y="1064887"/>
                </a:cubicBezTo>
                <a:cubicBezTo>
                  <a:pt x="408648" y="1064887"/>
                  <a:pt x="359731" y="1048582"/>
                  <a:pt x="363808" y="1052659"/>
                </a:cubicBezTo>
                <a:cubicBezTo>
                  <a:pt x="355655" y="1044506"/>
                  <a:pt x="370601" y="1024123"/>
                  <a:pt x="366526" y="1011894"/>
                </a:cubicBezTo>
                <a:cubicBezTo>
                  <a:pt x="365167" y="1005100"/>
                  <a:pt x="351578" y="1002383"/>
                  <a:pt x="350220" y="995588"/>
                </a:cubicBezTo>
                <a:cubicBezTo>
                  <a:pt x="344784" y="982001"/>
                  <a:pt x="354296" y="939878"/>
                  <a:pt x="352937" y="930367"/>
                </a:cubicBezTo>
                <a:cubicBezTo>
                  <a:pt x="342067" y="924931"/>
                  <a:pt x="347502" y="922214"/>
                  <a:pt x="336631" y="919496"/>
                </a:cubicBezTo>
                <a:cubicBezTo>
                  <a:pt x="354296" y="896397"/>
                  <a:pt x="333914" y="851556"/>
                  <a:pt x="352937" y="818945"/>
                </a:cubicBezTo>
                <a:cubicBezTo>
                  <a:pt x="328478" y="791769"/>
                  <a:pt x="344784" y="764594"/>
                  <a:pt x="355655" y="737418"/>
                </a:cubicBezTo>
                <a:cubicBezTo>
                  <a:pt x="333914" y="723830"/>
                  <a:pt x="329838" y="695295"/>
                  <a:pt x="310814" y="698012"/>
                </a:cubicBezTo>
                <a:cubicBezTo>
                  <a:pt x="312174" y="688501"/>
                  <a:pt x="312173" y="680348"/>
                  <a:pt x="310814" y="670837"/>
                </a:cubicBezTo>
                <a:cubicBezTo>
                  <a:pt x="308098" y="670837"/>
                  <a:pt x="306739" y="672196"/>
                  <a:pt x="305379" y="670837"/>
                </a:cubicBezTo>
                <a:cubicBezTo>
                  <a:pt x="304020" y="664043"/>
                  <a:pt x="301304" y="655890"/>
                  <a:pt x="299945" y="649096"/>
                </a:cubicBezTo>
                <a:cubicBezTo>
                  <a:pt x="301304" y="647737"/>
                  <a:pt x="301304" y="647737"/>
                  <a:pt x="302662" y="646378"/>
                </a:cubicBezTo>
                <a:cubicBezTo>
                  <a:pt x="351578" y="646378"/>
                  <a:pt x="401854" y="636866"/>
                  <a:pt x="450770" y="625996"/>
                </a:cubicBezTo>
                <a:cubicBezTo>
                  <a:pt x="457564" y="635508"/>
                  <a:pt x="465717" y="643661"/>
                  <a:pt x="475229" y="650454"/>
                </a:cubicBezTo>
                <a:cubicBezTo>
                  <a:pt x="495611" y="668118"/>
                  <a:pt x="514634" y="676271"/>
                  <a:pt x="533657" y="687142"/>
                </a:cubicBezTo>
                <a:cubicBezTo>
                  <a:pt x="554039" y="721112"/>
                  <a:pt x="577138" y="755082"/>
                  <a:pt x="601597" y="784976"/>
                </a:cubicBezTo>
                <a:cubicBezTo>
                  <a:pt x="601597" y="784976"/>
                  <a:pt x="600238" y="786335"/>
                  <a:pt x="600238" y="786335"/>
                </a:cubicBezTo>
                <a:cubicBezTo>
                  <a:pt x="602955" y="789052"/>
                  <a:pt x="602955" y="789052"/>
                  <a:pt x="605673" y="789051"/>
                </a:cubicBezTo>
                <a:cubicBezTo>
                  <a:pt x="607032" y="790410"/>
                  <a:pt x="608391" y="791769"/>
                  <a:pt x="609749" y="793128"/>
                </a:cubicBezTo>
                <a:cubicBezTo>
                  <a:pt x="628773" y="817586"/>
                  <a:pt x="649155" y="837968"/>
                  <a:pt x="670895" y="856992"/>
                </a:cubicBezTo>
                <a:cubicBezTo>
                  <a:pt x="683124" y="888244"/>
                  <a:pt x="696713" y="920855"/>
                  <a:pt x="714376" y="952107"/>
                </a:cubicBezTo>
                <a:cubicBezTo>
                  <a:pt x="744271" y="1003741"/>
                  <a:pt x="780957" y="1051299"/>
                  <a:pt x="821722" y="1089345"/>
                </a:cubicBezTo>
                <a:cubicBezTo>
                  <a:pt x="831234" y="1098857"/>
                  <a:pt x="842104" y="1109727"/>
                  <a:pt x="852973" y="1117880"/>
                </a:cubicBezTo>
                <a:lnTo>
                  <a:pt x="851718" y="1114897"/>
                </a:lnTo>
                <a:lnTo>
                  <a:pt x="858409" y="1120597"/>
                </a:lnTo>
                <a:cubicBezTo>
                  <a:pt x="876073" y="1157286"/>
                  <a:pt x="895097" y="1192613"/>
                  <a:pt x="918196" y="1226584"/>
                </a:cubicBezTo>
                <a:cubicBezTo>
                  <a:pt x="952166" y="1279577"/>
                  <a:pt x="994289" y="1324417"/>
                  <a:pt x="1039129" y="1358387"/>
                </a:cubicBezTo>
                <a:cubicBezTo>
                  <a:pt x="1126092" y="1426327"/>
                  <a:pt x="1214413" y="1457579"/>
                  <a:pt x="1297300" y="1491549"/>
                </a:cubicBezTo>
                <a:cubicBezTo>
                  <a:pt x="1211696" y="1454862"/>
                  <a:pt x="1124733" y="1422250"/>
                  <a:pt x="1039129" y="1352952"/>
                </a:cubicBezTo>
                <a:cubicBezTo>
                  <a:pt x="997006" y="1318982"/>
                  <a:pt x="954884" y="1274141"/>
                  <a:pt x="922273" y="1222508"/>
                </a:cubicBezTo>
                <a:cubicBezTo>
                  <a:pt x="903250" y="1192613"/>
                  <a:pt x="886944" y="1162721"/>
                  <a:pt x="870638" y="1130109"/>
                </a:cubicBezTo>
                <a:lnTo>
                  <a:pt x="879124" y="1135452"/>
                </a:lnTo>
                <a:lnTo>
                  <a:pt x="905458" y="1154398"/>
                </a:lnTo>
                <a:cubicBezTo>
                  <a:pt x="918196" y="1162721"/>
                  <a:pt x="931105" y="1170194"/>
                  <a:pt x="944014" y="1176308"/>
                </a:cubicBezTo>
                <a:cubicBezTo>
                  <a:pt x="945373" y="1177667"/>
                  <a:pt x="948089" y="1177667"/>
                  <a:pt x="949448" y="1179026"/>
                </a:cubicBezTo>
                <a:cubicBezTo>
                  <a:pt x="960319" y="1192613"/>
                  <a:pt x="968471" y="1206202"/>
                  <a:pt x="980700" y="1218431"/>
                </a:cubicBezTo>
                <a:cubicBezTo>
                  <a:pt x="1052717" y="1306753"/>
                  <a:pt x="1135603" y="1370616"/>
                  <a:pt x="1215772" y="1426326"/>
                </a:cubicBezTo>
                <a:cubicBezTo>
                  <a:pt x="1135603" y="1367898"/>
                  <a:pt x="1054075" y="1302676"/>
                  <a:pt x="982059" y="1214354"/>
                </a:cubicBezTo>
                <a:cubicBezTo>
                  <a:pt x="973906" y="1203485"/>
                  <a:pt x="965754" y="1192614"/>
                  <a:pt x="957601" y="1181743"/>
                </a:cubicBezTo>
                <a:cubicBezTo>
                  <a:pt x="1035053" y="1218431"/>
                  <a:pt x="1109786" y="1233377"/>
                  <a:pt x="1183161" y="1249683"/>
                </a:cubicBezTo>
                <a:cubicBezTo>
                  <a:pt x="1108428" y="1232019"/>
                  <a:pt x="1033694" y="1217072"/>
                  <a:pt x="956242" y="1177667"/>
                </a:cubicBezTo>
                <a:cubicBezTo>
                  <a:pt x="933143" y="1143697"/>
                  <a:pt x="911402" y="1108369"/>
                  <a:pt x="892379" y="1073040"/>
                </a:cubicBezTo>
                <a:cubicBezTo>
                  <a:pt x="886944" y="1062169"/>
                  <a:pt x="881509" y="1051300"/>
                  <a:pt x="876073" y="1037711"/>
                </a:cubicBezTo>
                <a:cubicBezTo>
                  <a:pt x="911402" y="1062169"/>
                  <a:pt x="948090" y="1079834"/>
                  <a:pt x="983418" y="1093422"/>
                </a:cubicBezTo>
                <a:cubicBezTo>
                  <a:pt x="998365" y="1100216"/>
                  <a:pt x="1016030" y="1107010"/>
                  <a:pt x="1030976" y="1113804"/>
                </a:cubicBezTo>
                <a:cubicBezTo>
                  <a:pt x="1035052" y="1117880"/>
                  <a:pt x="1040488" y="1120597"/>
                  <a:pt x="1045923" y="1126033"/>
                </a:cubicBezTo>
                <a:cubicBezTo>
                  <a:pt x="1048641" y="1128750"/>
                  <a:pt x="1054075" y="1131469"/>
                  <a:pt x="1056793" y="1134186"/>
                </a:cubicBezTo>
                <a:lnTo>
                  <a:pt x="1063252" y="1139159"/>
                </a:lnTo>
                <a:lnTo>
                  <a:pt x="1073099" y="1147774"/>
                </a:lnTo>
                <a:lnTo>
                  <a:pt x="1078775" y="1151108"/>
                </a:lnTo>
                <a:lnTo>
                  <a:pt x="1151230" y="1206882"/>
                </a:lnTo>
                <a:cubicBezTo>
                  <a:pt x="1182822" y="1228283"/>
                  <a:pt x="1214414" y="1246967"/>
                  <a:pt x="1245666" y="1263272"/>
                </a:cubicBezTo>
                <a:cubicBezTo>
                  <a:pt x="1218490" y="1248325"/>
                  <a:pt x="1190974" y="1231680"/>
                  <a:pt x="1163799" y="1213336"/>
                </a:cubicBezTo>
                <a:lnTo>
                  <a:pt x="1089688" y="1157517"/>
                </a:lnTo>
                <a:lnTo>
                  <a:pt x="1137301" y="1185481"/>
                </a:lnTo>
                <a:cubicBezTo>
                  <a:pt x="1159043" y="1196351"/>
                  <a:pt x="1181123" y="1205522"/>
                  <a:pt x="1203543" y="1212996"/>
                </a:cubicBezTo>
                <a:lnTo>
                  <a:pt x="1194445" y="1207165"/>
                </a:lnTo>
                <a:lnTo>
                  <a:pt x="1204902" y="1211637"/>
                </a:lnTo>
                <a:cubicBezTo>
                  <a:pt x="1241589" y="1237455"/>
                  <a:pt x="1278276" y="1268707"/>
                  <a:pt x="1313605" y="1301318"/>
                </a:cubicBezTo>
                <a:cubicBezTo>
                  <a:pt x="1369316" y="1346157"/>
                  <a:pt x="1425027" y="1385562"/>
                  <a:pt x="1482096" y="1412739"/>
                </a:cubicBezTo>
                <a:cubicBezTo>
                  <a:pt x="1537806" y="1438556"/>
                  <a:pt x="1592160" y="1454862"/>
                  <a:pt x="1645152" y="1467092"/>
                </a:cubicBezTo>
                <a:cubicBezTo>
                  <a:pt x="1590800" y="1453503"/>
                  <a:pt x="1537807" y="1435838"/>
                  <a:pt x="1482096" y="1407303"/>
                </a:cubicBezTo>
                <a:cubicBezTo>
                  <a:pt x="1426385" y="1378769"/>
                  <a:pt x="1369316" y="1340723"/>
                  <a:pt x="1314965" y="1294524"/>
                </a:cubicBezTo>
                <a:cubicBezTo>
                  <a:pt x="1285071" y="1267348"/>
                  <a:pt x="1253818" y="1241530"/>
                  <a:pt x="1223925" y="1217072"/>
                </a:cubicBezTo>
                <a:cubicBezTo>
                  <a:pt x="1225284" y="1218431"/>
                  <a:pt x="1226643" y="1217073"/>
                  <a:pt x="1228001" y="1218431"/>
                </a:cubicBezTo>
                <a:cubicBezTo>
                  <a:pt x="1257895" y="1242889"/>
                  <a:pt x="1287788" y="1261913"/>
                  <a:pt x="1317683" y="1278218"/>
                </a:cubicBezTo>
                <a:cubicBezTo>
                  <a:pt x="1363881" y="1302677"/>
                  <a:pt x="1410080" y="1318982"/>
                  <a:pt x="1454921" y="1336646"/>
                </a:cubicBezTo>
                <a:cubicBezTo>
                  <a:pt x="1408721" y="1317624"/>
                  <a:pt x="1363881" y="1299959"/>
                  <a:pt x="1316323" y="1274141"/>
                </a:cubicBezTo>
                <a:cubicBezTo>
                  <a:pt x="1290507" y="1259195"/>
                  <a:pt x="1263330" y="1242889"/>
                  <a:pt x="1237513" y="1222507"/>
                </a:cubicBezTo>
                <a:cubicBezTo>
                  <a:pt x="1253818" y="1227943"/>
                  <a:pt x="1270124" y="1233377"/>
                  <a:pt x="1286429" y="1238813"/>
                </a:cubicBezTo>
                <a:cubicBezTo>
                  <a:pt x="1270124" y="1233377"/>
                  <a:pt x="1253818" y="1227943"/>
                  <a:pt x="1236155" y="1221149"/>
                </a:cubicBezTo>
                <a:cubicBezTo>
                  <a:pt x="1217131" y="1204844"/>
                  <a:pt x="1198107" y="1188538"/>
                  <a:pt x="1180444" y="1168156"/>
                </a:cubicBezTo>
                <a:cubicBezTo>
                  <a:pt x="1160062" y="1145056"/>
                  <a:pt x="1142397" y="1116522"/>
                  <a:pt x="1123374" y="1089345"/>
                </a:cubicBezTo>
                <a:cubicBezTo>
                  <a:pt x="1104351" y="1062170"/>
                  <a:pt x="1081252" y="1039070"/>
                  <a:pt x="1056793" y="1020047"/>
                </a:cubicBezTo>
                <a:cubicBezTo>
                  <a:pt x="1034373" y="1001704"/>
                  <a:pt x="1011953" y="988115"/>
                  <a:pt x="989702" y="975037"/>
                </a:cubicBezTo>
                <a:lnTo>
                  <a:pt x="924091" y="933377"/>
                </a:lnTo>
                <a:lnTo>
                  <a:pt x="1009236" y="920855"/>
                </a:lnTo>
                <a:lnTo>
                  <a:pt x="1008851" y="920552"/>
                </a:lnTo>
                <a:lnTo>
                  <a:pt x="1015651" y="919552"/>
                </a:lnTo>
                <a:lnTo>
                  <a:pt x="1017389" y="920855"/>
                </a:lnTo>
                <a:lnTo>
                  <a:pt x="1018068" y="920855"/>
                </a:lnTo>
                <a:lnTo>
                  <a:pt x="1025813" y="926018"/>
                </a:lnTo>
                <a:lnTo>
                  <a:pt x="1022823" y="926289"/>
                </a:lnTo>
                <a:cubicBezTo>
                  <a:pt x="1094839" y="979283"/>
                  <a:pt x="1168214" y="1022764"/>
                  <a:pt x="1238871" y="1052658"/>
                </a:cubicBezTo>
                <a:cubicBezTo>
                  <a:pt x="1278277" y="1070323"/>
                  <a:pt x="1319041" y="1081193"/>
                  <a:pt x="1357087" y="1089345"/>
                </a:cubicBezTo>
                <a:lnTo>
                  <a:pt x="1347333" y="1080811"/>
                </a:lnTo>
                <a:lnTo>
                  <a:pt x="1351736" y="1081906"/>
                </a:lnTo>
                <a:lnTo>
                  <a:pt x="1361163" y="1090704"/>
                </a:lnTo>
                <a:lnTo>
                  <a:pt x="1367059" y="1091270"/>
                </a:lnTo>
                <a:lnTo>
                  <a:pt x="1418573" y="1143698"/>
                </a:lnTo>
                <a:cubicBezTo>
                  <a:pt x="1437256" y="1164080"/>
                  <a:pt x="1455600" y="1185141"/>
                  <a:pt x="1473943" y="1206202"/>
                </a:cubicBezTo>
                <a:cubicBezTo>
                  <a:pt x="1456279" y="1184462"/>
                  <a:pt x="1437596" y="1163061"/>
                  <a:pt x="1418403" y="1142509"/>
                </a:cubicBezTo>
                <a:lnTo>
                  <a:pt x="1367175" y="1091281"/>
                </a:lnTo>
                <a:lnTo>
                  <a:pt x="1460356" y="1100217"/>
                </a:lnTo>
                <a:lnTo>
                  <a:pt x="1426735" y="1090734"/>
                </a:lnTo>
                <a:lnTo>
                  <a:pt x="1458997" y="1093422"/>
                </a:lnTo>
                <a:cubicBezTo>
                  <a:pt x="1497723" y="1103613"/>
                  <a:pt x="1536109" y="1112105"/>
                  <a:pt x="1574834" y="1122297"/>
                </a:cubicBezTo>
                <a:lnTo>
                  <a:pt x="1628404" y="1137869"/>
                </a:lnTo>
                <a:lnTo>
                  <a:pt x="1692709" y="1161361"/>
                </a:lnTo>
                <a:cubicBezTo>
                  <a:pt x="1672667" y="1152869"/>
                  <a:pt x="1652880" y="1145651"/>
                  <a:pt x="1633262" y="1139282"/>
                </a:cubicBezTo>
                <a:lnTo>
                  <a:pt x="1628404" y="1137869"/>
                </a:lnTo>
                <a:lnTo>
                  <a:pt x="1582987" y="1121278"/>
                </a:lnTo>
                <a:cubicBezTo>
                  <a:pt x="1546979" y="1110747"/>
                  <a:pt x="1511311" y="1102254"/>
                  <a:pt x="1475303" y="1093421"/>
                </a:cubicBezTo>
                <a:cubicBezTo>
                  <a:pt x="1452203" y="1086628"/>
                  <a:pt x="1426385" y="1079834"/>
                  <a:pt x="1403286" y="1073040"/>
                </a:cubicBezTo>
                <a:cubicBezTo>
                  <a:pt x="1385621" y="1066246"/>
                  <a:pt x="1366599" y="1060811"/>
                  <a:pt x="1348934" y="1054017"/>
                </a:cubicBezTo>
                <a:cubicBezTo>
                  <a:pt x="1348934" y="1054017"/>
                  <a:pt x="1348934" y="1054017"/>
                  <a:pt x="1350293" y="1052658"/>
                </a:cubicBezTo>
                <a:cubicBezTo>
                  <a:pt x="1342141" y="1049940"/>
                  <a:pt x="1336705" y="1044505"/>
                  <a:pt x="1344858" y="1041788"/>
                </a:cubicBezTo>
                <a:cubicBezTo>
                  <a:pt x="1327193" y="1024123"/>
                  <a:pt x="1310888" y="1005100"/>
                  <a:pt x="1297300" y="986078"/>
                </a:cubicBezTo>
                <a:cubicBezTo>
                  <a:pt x="1285071" y="1003742"/>
                  <a:pt x="1301377" y="1025482"/>
                  <a:pt x="1319041" y="1040429"/>
                </a:cubicBezTo>
                <a:cubicBezTo>
                  <a:pt x="1312247" y="1036353"/>
                  <a:pt x="1305453" y="1034994"/>
                  <a:pt x="1298659" y="1030917"/>
                </a:cubicBezTo>
                <a:cubicBezTo>
                  <a:pt x="1259254" y="999665"/>
                  <a:pt x="1221208" y="972489"/>
                  <a:pt x="1180444" y="953466"/>
                </a:cubicBezTo>
                <a:cubicBezTo>
                  <a:pt x="1179085" y="952107"/>
                  <a:pt x="1179085" y="952107"/>
                  <a:pt x="1176367" y="952107"/>
                </a:cubicBezTo>
                <a:cubicBezTo>
                  <a:pt x="1153268" y="934442"/>
                  <a:pt x="1128809" y="918137"/>
                  <a:pt x="1107069" y="901831"/>
                </a:cubicBezTo>
                <a:cubicBezTo>
                  <a:pt x="1085327" y="885526"/>
                  <a:pt x="1063587" y="869221"/>
                  <a:pt x="1041847" y="852915"/>
                </a:cubicBezTo>
                <a:cubicBezTo>
                  <a:pt x="1062228" y="862427"/>
                  <a:pt x="1081252" y="870579"/>
                  <a:pt x="1101633" y="880091"/>
                </a:cubicBezTo>
                <a:cubicBezTo>
                  <a:pt x="1149192" y="900473"/>
                  <a:pt x="1195391" y="924931"/>
                  <a:pt x="1244307" y="949390"/>
                </a:cubicBezTo>
                <a:cubicBezTo>
                  <a:pt x="1338064" y="996947"/>
                  <a:pt x="1435897" y="1043147"/>
                  <a:pt x="1525578" y="1059452"/>
                </a:cubicBezTo>
                <a:cubicBezTo>
                  <a:pt x="1435897" y="1040429"/>
                  <a:pt x="1340781" y="994230"/>
                  <a:pt x="1245666" y="945313"/>
                </a:cubicBezTo>
                <a:cubicBezTo>
                  <a:pt x="1198108" y="922214"/>
                  <a:pt x="1150550" y="896397"/>
                  <a:pt x="1102992" y="876014"/>
                </a:cubicBezTo>
                <a:cubicBezTo>
                  <a:pt x="1078534" y="865144"/>
                  <a:pt x="1052716" y="852915"/>
                  <a:pt x="1026900" y="840686"/>
                </a:cubicBezTo>
                <a:cubicBezTo>
                  <a:pt x="1003800" y="823021"/>
                  <a:pt x="982059" y="803999"/>
                  <a:pt x="960319" y="782258"/>
                </a:cubicBezTo>
                <a:cubicBezTo>
                  <a:pt x="911402" y="738776"/>
                  <a:pt x="870638" y="681707"/>
                  <a:pt x="829874" y="624637"/>
                </a:cubicBezTo>
                <a:cubicBezTo>
                  <a:pt x="809493" y="596102"/>
                  <a:pt x="786393" y="567568"/>
                  <a:pt x="761935" y="543110"/>
                </a:cubicBezTo>
                <a:cubicBezTo>
                  <a:pt x="761935" y="543110"/>
                  <a:pt x="761935" y="543110"/>
                  <a:pt x="760576" y="541751"/>
                </a:cubicBezTo>
                <a:cubicBezTo>
                  <a:pt x="761934" y="540392"/>
                  <a:pt x="763293" y="539033"/>
                  <a:pt x="763293" y="536315"/>
                </a:cubicBezTo>
                <a:cubicBezTo>
                  <a:pt x="785034" y="547186"/>
                  <a:pt x="798622" y="560774"/>
                  <a:pt x="808134" y="581156"/>
                </a:cubicBezTo>
                <a:cubicBezTo>
                  <a:pt x="824439" y="573003"/>
                  <a:pt x="831234" y="552621"/>
                  <a:pt x="852974" y="547186"/>
                </a:cubicBezTo>
                <a:cubicBezTo>
                  <a:pt x="842103" y="539033"/>
                  <a:pt x="852974" y="530880"/>
                  <a:pt x="861127" y="522727"/>
                </a:cubicBezTo>
                <a:cubicBezTo>
                  <a:pt x="851615" y="515933"/>
                  <a:pt x="828515" y="500989"/>
                  <a:pt x="827157" y="494196"/>
                </a:cubicBezTo>
                <a:cubicBezTo>
                  <a:pt x="840745" y="488760"/>
                  <a:pt x="848898" y="477890"/>
                  <a:pt x="848898" y="467019"/>
                </a:cubicBezTo>
                <a:cubicBezTo>
                  <a:pt x="874714" y="476531"/>
                  <a:pt x="900531" y="488761"/>
                  <a:pt x="927708" y="499631"/>
                </a:cubicBezTo>
                <a:cubicBezTo>
                  <a:pt x="977304" y="520690"/>
                  <a:pt x="1027579" y="541752"/>
                  <a:pt x="1077685" y="560944"/>
                </a:cubicBezTo>
                <a:lnTo>
                  <a:pt x="1144488" y="583415"/>
                </a:lnTo>
                <a:lnTo>
                  <a:pt x="1223925" y="611049"/>
                </a:lnTo>
                <a:cubicBezTo>
                  <a:pt x="1233437" y="615126"/>
                  <a:pt x="1242949" y="616485"/>
                  <a:pt x="1251101" y="619202"/>
                </a:cubicBezTo>
                <a:lnTo>
                  <a:pt x="1250508" y="617330"/>
                </a:lnTo>
                <a:lnTo>
                  <a:pt x="1252460" y="617843"/>
                </a:lnTo>
                <a:cubicBezTo>
                  <a:pt x="1252460" y="623278"/>
                  <a:pt x="1249743" y="628713"/>
                  <a:pt x="1241589" y="634148"/>
                </a:cubicBezTo>
                <a:cubicBezTo>
                  <a:pt x="1244307" y="655890"/>
                  <a:pt x="1268766" y="669478"/>
                  <a:pt x="1252460" y="685783"/>
                </a:cubicBezTo>
                <a:cubicBezTo>
                  <a:pt x="1266048" y="715677"/>
                  <a:pt x="1274201" y="731982"/>
                  <a:pt x="1290507" y="756440"/>
                </a:cubicBezTo>
                <a:cubicBezTo>
                  <a:pt x="1297300" y="752365"/>
                  <a:pt x="1302736" y="760517"/>
                  <a:pt x="1305453" y="765952"/>
                </a:cubicBezTo>
                <a:cubicBezTo>
                  <a:pt x="1320399" y="767311"/>
                  <a:pt x="1344858" y="770029"/>
                  <a:pt x="1365240" y="774105"/>
                </a:cubicBezTo>
                <a:cubicBezTo>
                  <a:pt x="1369316" y="767311"/>
                  <a:pt x="1373393" y="763235"/>
                  <a:pt x="1378828" y="760517"/>
                </a:cubicBezTo>
                <a:cubicBezTo>
                  <a:pt x="1369316" y="756440"/>
                  <a:pt x="1378828" y="757799"/>
                  <a:pt x="1378828" y="749646"/>
                </a:cubicBezTo>
                <a:cubicBezTo>
                  <a:pt x="1392416" y="752365"/>
                  <a:pt x="1404645" y="764593"/>
                  <a:pt x="1418233" y="767311"/>
                </a:cubicBezTo>
                <a:cubicBezTo>
                  <a:pt x="1415516" y="772746"/>
                  <a:pt x="1415515" y="783617"/>
                  <a:pt x="1420951" y="783616"/>
                </a:cubicBezTo>
                <a:cubicBezTo>
                  <a:pt x="1426385" y="778181"/>
                  <a:pt x="1422309" y="776823"/>
                  <a:pt x="1427745" y="774105"/>
                </a:cubicBezTo>
                <a:cubicBezTo>
                  <a:pt x="1430462" y="782258"/>
                  <a:pt x="1427745" y="782258"/>
                  <a:pt x="1434539" y="789052"/>
                </a:cubicBezTo>
                <a:cubicBezTo>
                  <a:pt x="1439974" y="791769"/>
                  <a:pt x="1438615" y="782258"/>
                  <a:pt x="1441332" y="784975"/>
                </a:cubicBezTo>
                <a:cubicBezTo>
                  <a:pt x="1437257" y="799922"/>
                  <a:pt x="1463073" y="801281"/>
                  <a:pt x="1467149" y="813510"/>
                </a:cubicBezTo>
                <a:cubicBezTo>
                  <a:pt x="1457638" y="820303"/>
                  <a:pt x="1469868" y="827098"/>
                  <a:pt x="1472585" y="832533"/>
                </a:cubicBezTo>
                <a:cubicBezTo>
                  <a:pt x="1460356" y="836610"/>
                  <a:pt x="1475303" y="851557"/>
                  <a:pt x="1471226" y="858350"/>
                </a:cubicBezTo>
                <a:cubicBezTo>
                  <a:pt x="1487532" y="866503"/>
                  <a:pt x="1472584" y="892320"/>
                  <a:pt x="1488890" y="900473"/>
                </a:cubicBezTo>
                <a:cubicBezTo>
                  <a:pt x="1483455" y="900473"/>
                  <a:pt x="1482096" y="907267"/>
                  <a:pt x="1482096" y="909985"/>
                </a:cubicBezTo>
                <a:cubicBezTo>
                  <a:pt x="1484814" y="918137"/>
                  <a:pt x="1488890" y="908626"/>
                  <a:pt x="1491608" y="914061"/>
                </a:cubicBezTo>
                <a:cubicBezTo>
                  <a:pt x="1487532" y="923572"/>
                  <a:pt x="1483455" y="914061"/>
                  <a:pt x="1479379" y="918137"/>
                </a:cubicBezTo>
                <a:cubicBezTo>
                  <a:pt x="1499761" y="924931"/>
                  <a:pt x="1486173" y="957543"/>
                  <a:pt x="1509272" y="950748"/>
                </a:cubicBezTo>
                <a:cubicBezTo>
                  <a:pt x="1507913" y="935802"/>
                  <a:pt x="1506555" y="918137"/>
                  <a:pt x="1497043" y="905908"/>
                </a:cubicBezTo>
                <a:cubicBezTo>
                  <a:pt x="1499761" y="908625"/>
                  <a:pt x="1502479" y="911343"/>
                  <a:pt x="1503837" y="907267"/>
                </a:cubicBezTo>
                <a:cubicBezTo>
                  <a:pt x="1498402" y="899114"/>
                  <a:pt x="1494326" y="903190"/>
                  <a:pt x="1488891" y="903190"/>
                </a:cubicBezTo>
                <a:cubicBezTo>
                  <a:pt x="1497043" y="897755"/>
                  <a:pt x="1492967" y="896397"/>
                  <a:pt x="1487531" y="893679"/>
                </a:cubicBezTo>
                <a:cubicBezTo>
                  <a:pt x="1492967" y="893678"/>
                  <a:pt x="1494325" y="884167"/>
                  <a:pt x="1494326" y="881450"/>
                </a:cubicBezTo>
                <a:cubicBezTo>
                  <a:pt x="1490249" y="882808"/>
                  <a:pt x="1491608" y="870579"/>
                  <a:pt x="1484814" y="871938"/>
                </a:cubicBezTo>
                <a:cubicBezTo>
                  <a:pt x="1492967" y="869221"/>
                  <a:pt x="1479379" y="858350"/>
                  <a:pt x="1487532" y="852915"/>
                </a:cubicBezTo>
                <a:cubicBezTo>
                  <a:pt x="1484814" y="852915"/>
                  <a:pt x="1482096" y="833892"/>
                  <a:pt x="1480738" y="837968"/>
                </a:cubicBezTo>
                <a:cubicBezTo>
                  <a:pt x="1480738" y="837968"/>
                  <a:pt x="1484814" y="836609"/>
                  <a:pt x="1484814" y="836609"/>
                </a:cubicBezTo>
                <a:cubicBezTo>
                  <a:pt x="1483455" y="829815"/>
                  <a:pt x="1471226" y="820303"/>
                  <a:pt x="1479379" y="814869"/>
                </a:cubicBezTo>
                <a:cubicBezTo>
                  <a:pt x="1478020" y="810793"/>
                  <a:pt x="1469868" y="813510"/>
                  <a:pt x="1473944" y="809434"/>
                </a:cubicBezTo>
                <a:cubicBezTo>
                  <a:pt x="1476662" y="806716"/>
                  <a:pt x="1479378" y="812151"/>
                  <a:pt x="1480738" y="808075"/>
                </a:cubicBezTo>
                <a:cubicBezTo>
                  <a:pt x="1480737" y="797204"/>
                  <a:pt x="1479378" y="776823"/>
                  <a:pt x="1465791" y="774105"/>
                </a:cubicBezTo>
                <a:cubicBezTo>
                  <a:pt x="1467149" y="770029"/>
                  <a:pt x="1473943" y="774105"/>
                  <a:pt x="1471226" y="768670"/>
                </a:cubicBezTo>
                <a:cubicBezTo>
                  <a:pt x="1458997" y="772746"/>
                  <a:pt x="1456279" y="756440"/>
                  <a:pt x="1445409" y="761876"/>
                </a:cubicBezTo>
                <a:cubicBezTo>
                  <a:pt x="1449486" y="768670"/>
                  <a:pt x="1463073" y="774105"/>
                  <a:pt x="1456280" y="783617"/>
                </a:cubicBezTo>
                <a:cubicBezTo>
                  <a:pt x="1449485" y="776822"/>
                  <a:pt x="1450844" y="770028"/>
                  <a:pt x="1441332" y="771387"/>
                </a:cubicBezTo>
                <a:cubicBezTo>
                  <a:pt x="1445409" y="767311"/>
                  <a:pt x="1445409" y="756441"/>
                  <a:pt x="1438615" y="760517"/>
                </a:cubicBezTo>
                <a:cubicBezTo>
                  <a:pt x="1441332" y="763234"/>
                  <a:pt x="1442691" y="767311"/>
                  <a:pt x="1441333" y="768670"/>
                </a:cubicBezTo>
                <a:cubicBezTo>
                  <a:pt x="1435897" y="763234"/>
                  <a:pt x="1439974" y="759158"/>
                  <a:pt x="1435897" y="755081"/>
                </a:cubicBezTo>
                <a:cubicBezTo>
                  <a:pt x="1429104" y="759158"/>
                  <a:pt x="1437257" y="764593"/>
                  <a:pt x="1433180" y="768670"/>
                </a:cubicBezTo>
                <a:cubicBezTo>
                  <a:pt x="1427745" y="765952"/>
                  <a:pt x="1430462" y="763235"/>
                  <a:pt x="1427745" y="760517"/>
                </a:cubicBezTo>
                <a:cubicBezTo>
                  <a:pt x="1426385" y="767311"/>
                  <a:pt x="1414157" y="763234"/>
                  <a:pt x="1412798" y="759158"/>
                </a:cubicBezTo>
                <a:cubicBezTo>
                  <a:pt x="1426385" y="759158"/>
                  <a:pt x="1438615" y="752364"/>
                  <a:pt x="1453561" y="751006"/>
                </a:cubicBezTo>
                <a:cubicBezTo>
                  <a:pt x="1457638" y="757799"/>
                  <a:pt x="1458997" y="759158"/>
                  <a:pt x="1467149" y="753723"/>
                </a:cubicBezTo>
                <a:cubicBezTo>
                  <a:pt x="1463073" y="749646"/>
                  <a:pt x="1460356" y="752364"/>
                  <a:pt x="1456279" y="748287"/>
                </a:cubicBezTo>
                <a:cubicBezTo>
                  <a:pt x="1460356" y="744211"/>
                  <a:pt x="1464432" y="751006"/>
                  <a:pt x="1468509" y="746929"/>
                </a:cubicBezTo>
                <a:cubicBezTo>
                  <a:pt x="1461715" y="740135"/>
                  <a:pt x="1457638" y="727906"/>
                  <a:pt x="1467149" y="726547"/>
                </a:cubicBezTo>
                <a:cubicBezTo>
                  <a:pt x="1463073" y="708883"/>
                  <a:pt x="1458997" y="691218"/>
                  <a:pt x="1463074" y="673554"/>
                </a:cubicBezTo>
                <a:cubicBezTo>
                  <a:pt x="1460356" y="665401"/>
                  <a:pt x="1456279" y="655890"/>
                  <a:pt x="1454920" y="646378"/>
                </a:cubicBezTo>
                <a:cubicBezTo>
                  <a:pt x="1450844" y="631431"/>
                  <a:pt x="1448126" y="617843"/>
                  <a:pt x="1445409" y="606973"/>
                </a:cubicBezTo>
                <a:cubicBezTo>
                  <a:pt x="1452203" y="616485"/>
                  <a:pt x="1458997" y="636866"/>
                  <a:pt x="1469868" y="636866"/>
                </a:cubicBezTo>
                <a:cubicBezTo>
                  <a:pt x="1463073" y="624637"/>
                  <a:pt x="1456279" y="612408"/>
                  <a:pt x="1458997" y="601538"/>
                </a:cubicBezTo>
                <a:cubicBezTo>
                  <a:pt x="1464432" y="617843"/>
                  <a:pt x="1465790" y="630073"/>
                  <a:pt x="1482096" y="638226"/>
                </a:cubicBezTo>
                <a:cubicBezTo>
                  <a:pt x="1501120" y="624637"/>
                  <a:pt x="1482096" y="602897"/>
                  <a:pt x="1484814" y="586591"/>
                </a:cubicBezTo>
                <a:cubicBezTo>
                  <a:pt x="1487532" y="589309"/>
                  <a:pt x="1488890" y="598820"/>
                  <a:pt x="1494326" y="596102"/>
                </a:cubicBezTo>
                <a:cubicBezTo>
                  <a:pt x="1480737" y="571644"/>
                  <a:pt x="1487532" y="562133"/>
                  <a:pt x="1497042" y="539033"/>
                </a:cubicBezTo>
                <a:cubicBezTo>
                  <a:pt x="1509272" y="548545"/>
                  <a:pt x="1501120" y="532239"/>
                  <a:pt x="1506555" y="529521"/>
                </a:cubicBezTo>
                <a:cubicBezTo>
                  <a:pt x="1509272" y="534957"/>
                  <a:pt x="1513348" y="539033"/>
                  <a:pt x="1518784" y="544469"/>
                </a:cubicBezTo>
                <a:cubicBezTo>
                  <a:pt x="1524219" y="536316"/>
                  <a:pt x="1520143" y="529522"/>
                  <a:pt x="1514707" y="524086"/>
                </a:cubicBezTo>
                <a:cubicBezTo>
                  <a:pt x="1514707" y="502349"/>
                  <a:pt x="1503837" y="486043"/>
                  <a:pt x="1502478" y="462944"/>
                </a:cubicBezTo>
                <a:cubicBezTo>
                  <a:pt x="1507913" y="471096"/>
                  <a:pt x="1507913" y="479249"/>
                  <a:pt x="1511990" y="488760"/>
                </a:cubicBezTo>
                <a:cubicBezTo>
                  <a:pt x="1517425" y="486043"/>
                  <a:pt x="1510631" y="479249"/>
                  <a:pt x="1516066" y="481967"/>
                </a:cubicBezTo>
                <a:cubicBezTo>
                  <a:pt x="1517426" y="488761"/>
                  <a:pt x="1518784" y="503707"/>
                  <a:pt x="1528296" y="505066"/>
                </a:cubicBezTo>
                <a:cubicBezTo>
                  <a:pt x="1529654" y="490120"/>
                  <a:pt x="1524219" y="476531"/>
                  <a:pt x="1521501" y="460226"/>
                </a:cubicBezTo>
                <a:cubicBezTo>
                  <a:pt x="1532372" y="479249"/>
                  <a:pt x="1540525" y="511860"/>
                  <a:pt x="1560906" y="521369"/>
                </a:cubicBezTo>
                <a:cubicBezTo>
                  <a:pt x="1539166" y="502349"/>
                  <a:pt x="1545959" y="484684"/>
                  <a:pt x="1543243" y="462944"/>
                </a:cubicBezTo>
                <a:cubicBezTo>
                  <a:pt x="1562265" y="438485"/>
                  <a:pt x="1541884" y="418103"/>
                  <a:pt x="1544601" y="396363"/>
                </a:cubicBezTo>
                <a:cubicBezTo>
                  <a:pt x="1541883" y="393645"/>
                  <a:pt x="1539165" y="390928"/>
                  <a:pt x="1536448" y="388210"/>
                </a:cubicBezTo>
                <a:cubicBezTo>
                  <a:pt x="1511990" y="290377"/>
                  <a:pt x="1479378" y="192543"/>
                  <a:pt x="1445409" y="96068"/>
                </a:cubicBezTo>
                <a:cubicBezTo>
                  <a:pt x="1434539" y="93351"/>
                  <a:pt x="1423668" y="77046"/>
                  <a:pt x="1410080" y="68893"/>
                </a:cubicBezTo>
                <a:cubicBezTo>
                  <a:pt x="1407363" y="49869"/>
                  <a:pt x="1388340" y="47152"/>
                  <a:pt x="1380187" y="30846"/>
                </a:cubicBezTo>
                <a:cubicBezTo>
                  <a:pt x="1377809" y="25751"/>
                  <a:pt x="1376620" y="19127"/>
                  <a:pt x="1375664" y="12354"/>
                </a:cubicBezTo>
                <a:close/>
                <a:moveTo>
                  <a:pt x="759619" y="0"/>
                </a:moveTo>
                <a:lnTo>
                  <a:pt x="970645" y="0"/>
                </a:lnTo>
                <a:lnTo>
                  <a:pt x="979512" y="24902"/>
                </a:lnTo>
                <a:cubicBezTo>
                  <a:pt x="982739" y="37640"/>
                  <a:pt x="985457" y="50549"/>
                  <a:pt x="988854" y="60740"/>
                </a:cubicBezTo>
                <a:cubicBezTo>
                  <a:pt x="994968" y="76366"/>
                  <a:pt x="999724" y="91993"/>
                  <a:pt x="1004480" y="107619"/>
                </a:cubicBezTo>
                <a:lnTo>
                  <a:pt x="1019191" y="151754"/>
                </a:lnTo>
                <a:lnTo>
                  <a:pt x="937219" y="149402"/>
                </a:lnTo>
                <a:cubicBezTo>
                  <a:pt x="908685" y="147024"/>
                  <a:pt x="879471" y="142947"/>
                  <a:pt x="850256" y="136832"/>
                </a:cubicBezTo>
                <a:cubicBezTo>
                  <a:pt x="839386" y="134115"/>
                  <a:pt x="828515" y="131397"/>
                  <a:pt x="817645" y="128680"/>
                </a:cubicBezTo>
                <a:lnTo>
                  <a:pt x="818532" y="130036"/>
                </a:lnTo>
                <a:lnTo>
                  <a:pt x="812210" y="128680"/>
                </a:lnTo>
                <a:cubicBezTo>
                  <a:pt x="798622" y="112374"/>
                  <a:pt x="782317" y="101504"/>
                  <a:pt x="767370" y="97427"/>
                </a:cubicBezTo>
                <a:cubicBezTo>
                  <a:pt x="778240" y="81122"/>
                  <a:pt x="774164" y="79763"/>
                  <a:pt x="787752" y="71610"/>
                </a:cubicBezTo>
                <a:cubicBezTo>
                  <a:pt x="782317" y="55305"/>
                  <a:pt x="778240" y="37641"/>
                  <a:pt x="801340" y="36282"/>
                </a:cubicBezTo>
                <a:cubicBezTo>
                  <a:pt x="789110" y="24052"/>
                  <a:pt x="778240" y="34923"/>
                  <a:pt x="768729" y="25411"/>
                </a:cubicBezTo>
                <a:close/>
                <a:moveTo>
                  <a:pt x="598517" y="0"/>
                </a:moveTo>
                <a:lnTo>
                  <a:pt x="620724" y="0"/>
                </a:lnTo>
                <a:lnTo>
                  <a:pt x="646777" y="30847"/>
                </a:lnTo>
                <a:cubicBezTo>
                  <a:pt x="658666" y="46473"/>
                  <a:pt x="668178" y="62099"/>
                  <a:pt x="674971" y="81122"/>
                </a:cubicBezTo>
                <a:cubicBezTo>
                  <a:pt x="646437" y="71610"/>
                  <a:pt x="617902" y="59382"/>
                  <a:pt x="589368" y="47151"/>
                </a:cubicBez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</p:spPr>
        <p:txBody>
          <a:bodyPr wrap="square" lIns="720000" rIns="2088000" bIns="2160000" rtlCol="0" anchor="b">
            <a:noAutofit/>
          </a:bodyPr>
          <a:lstStyle>
            <a:lvl1pPr algn="l">
              <a:defRPr sz="6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r>
              <a:rPr lang="pt-BR" noProof="0"/>
              <a:t>Clique para editar o título da apresentação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C9980B88-3F4A-4688-9ED0-17EF37E62D9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39644" y="4834783"/>
            <a:ext cx="5124443" cy="999487"/>
          </a:xfrm>
        </p:spPr>
        <p:txBody>
          <a:bodyPr rtlCol="0"/>
          <a:lstStyle>
            <a:lvl1pPr marL="0" indent="0" algn="l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rtl="0"/>
            <a:r>
              <a:rPr lang="pt-BR" noProof="0"/>
              <a:t>Clique para editar o estilo de subtítulo Mestre</a:t>
            </a:r>
          </a:p>
        </p:txBody>
      </p:sp>
    </p:spTree>
    <p:extLst>
      <p:ext uri="{BB962C8B-B14F-4D97-AF65-F5344CB8AC3E}">
        <p14:creationId xmlns:p14="http://schemas.microsoft.com/office/powerpoint/2010/main" val="13340384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CFF4C50-933F-41F9-AD11-BD02410AA7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r>
              <a:rPr lang="pt-BR" noProof="0"/>
              <a:t>Clique para editar o título da página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1948E38-8FB0-4E51-A01C-C88794372E5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2000" y="1361872"/>
            <a:ext cx="11340000" cy="4758128"/>
          </a:xfrm>
        </p:spPr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 rtl="0"/>
            <a:r>
              <a:rPr lang="pt-BR" noProof="0"/>
              <a:t>Editar estilos de texto Mestre</a:t>
            </a:r>
          </a:p>
          <a:p>
            <a:pPr lvl="1" rtl="0"/>
            <a:r>
              <a:rPr lang="pt-BR" noProof="0"/>
              <a:t>Segundo nível</a:t>
            </a:r>
          </a:p>
          <a:p>
            <a:pPr lvl="2" rtl="0"/>
            <a:r>
              <a:rPr lang="pt-BR" noProof="0"/>
              <a:t>Terceiro nível</a:t>
            </a:r>
          </a:p>
          <a:p>
            <a:pPr lvl="3" rtl="0"/>
            <a:r>
              <a:rPr lang="pt-BR" noProof="0"/>
              <a:t>Quarto nível</a:t>
            </a:r>
          </a:p>
          <a:p>
            <a:pPr lvl="4" rtl="0"/>
            <a:r>
              <a:rPr lang="pt-BR" noProof="0"/>
              <a:t>Quinto nível</a:t>
            </a:r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E8FE0EB3-0FF4-4285-B9D3-90A5751B7BB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/>
          <a:p>
            <a:pPr rtl="0"/>
            <a:r>
              <a:rPr lang="pt-BR" noProof="0"/>
              <a:t>Adicionar um rodapé</a:t>
            </a:r>
          </a:p>
        </p:txBody>
      </p:sp>
      <p:sp>
        <p:nvSpPr>
          <p:cNvPr id="8" name="Espaço reservado para o número do slide 7">
            <a:extLst>
              <a:ext uri="{FF2B5EF4-FFF2-40B4-BE49-F238E27FC236}">
                <a16:creationId xmlns:a16="http://schemas.microsoft.com/office/drawing/2014/main" id="{86E99B1E-D08C-46BA-9D27-9ED02F4C9B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fld id="{19B51A1E-902D-48AF-9020-955120F399B6}" type="slidenum">
              <a:rPr lang="pt-BR" noProof="0" smtClean="0"/>
              <a:pPr rtl="0"/>
              <a:t>‹nº›</a:t>
            </a:fld>
            <a:endParaRPr lang="pt-BR" noProof="0"/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10A6F137-5592-4719-B358-2A9321B1C38B}"/>
              </a:ext>
            </a:extLst>
          </p:cNvPr>
          <p:cNvSpPr/>
          <p:nvPr userDrawn="1"/>
        </p:nvSpPr>
        <p:spPr>
          <a:xfrm>
            <a:off x="432000" y="432000"/>
            <a:ext cx="84835" cy="6957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 noProof="0"/>
          </a:p>
        </p:txBody>
      </p:sp>
    </p:spTree>
    <p:extLst>
      <p:ext uri="{BB962C8B-B14F-4D97-AF65-F5344CB8AC3E}">
        <p14:creationId xmlns:p14="http://schemas.microsoft.com/office/powerpoint/2010/main" val="17345016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is conteúd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A22238F2-C6EC-476F-8371-119AECBA562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32000" y="1361872"/>
            <a:ext cx="5472000" cy="4758128"/>
          </a:xfrm>
        </p:spPr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 rtl="0"/>
            <a:r>
              <a:rPr lang="pt-BR" noProof="0"/>
              <a:t>Editar estilos de texto Mestre</a:t>
            </a:r>
          </a:p>
          <a:p>
            <a:pPr lvl="1" rtl="0"/>
            <a:r>
              <a:rPr lang="pt-BR" noProof="0"/>
              <a:t>Segundo nível</a:t>
            </a:r>
          </a:p>
          <a:p>
            <a:pPr lvl="2" rtl="0"/>
            <a:r>
              <a:rPr lang="pt-BR" noProof="0"/>
              <a:t>Terceiro nível</a:t>
            </a:r>
          </a:p>
          <a:p>
            <a:pPr lvl="3" rtl="0"/>
            <a:r>
              <a:rPr lang="pt-BR" noProof="0"/>
              <a:t>Quarto nível</a:t>
            </a:r>
          </a:p>
          <a:p>
            <a:pPr lvl="4" rtl="0"/>
            <a:r>
              <a:rPr lang="pt-BR" noProof="0"/>
              <a:t>Quinto nível</a:t>
            </a:r>
          </a:p>
        </p:txBody>
      </p:sp>
      <p:sp>
        <p:nvSpPr>
          <p:cNvPr id="9" name="Espaço Reservado para o Número do Slide 8">
            <a:extLst>
              <a:ext uri="{FF2B5EF4-FFF2-40B4-BE49-F238E27FC236}">
                <a16:creationId xmlns:a16="http://schemas.microsoft.com/office/drawing/2014/main" id="{0A29F8B3-4723-4928-83E5-76C29D05F2F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fld id="{19B51A1E-902D-48AF-9020-955120F399B6}" type="slidenum">
              <a:rPr lang="pt-BR" noProof="0" smtClean="0"/>
              <a:pPr rtl="0"/>
              <a:t>‹nº›</a:t>
            </a:fld>
            <a:endParaRPr lang="pt-BR" noProof="0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57847F90-9DB6-4832-9EB7-393AADAE8B7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 rtlCol="0"/>
          <a:lstStyle/>
          <a:p>
            <a:pPr rtl="0"/>
            <a:r>
              <a:rPr lang="pt-BR" noProof="0"/>
              <a:t>Adicionar um rodapé</a:t>
            </a:r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A3150A03-DB2C-4750-B1AC-5ADFB3062C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/>
          <a:p>
            <a:pPr rtl="0"/>
            <a:r>
              <a:rPr lang="pt-BR" noProof="0"/>
              <a:t>Clique para editar o estilo de título Mestre</a:t>
            </a:r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34048933-130F-4EB2-BCAB-6B5E32460FCF}"/>
              </a:ext>
            </a:extLst>
          </p:cNvPr>
          <p:cNvSpPr/>
          <p:nvPr userDrawn="1"/>
        </p:nvSpPr>
        <p:spPr>
          <a:xfrm>
            <a:off x="432000" y="432000"/>
            <a:ext cx="84835" cy="6957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 noProof="0"/>
          </a:p>
        </p:txBody>
      </p:sp>
      <p:sp>
        <p:nvSpPr>
          <p:cNvPr id="12" name="Espaço reservado para conteúdo 3">
            <a:extLst>
              <a:ext uri="{FF2B5EF4-FFF2-40B4-BE49-F238E27FC236}">
                <a16:creationId xmlns:a16="http://schemas.microsoft.com/office/drawing/2014/main" id="{AB0E06C5-6595-4713-9B55-27F31257EB01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199" y="1361873"/>
            <a:ext cx="5599799" cy="4758128"/>
          </a:xfrm>
        </p:spPr>
        <p:txBody>
          <a:bodyPr rtlCol="0"/>
          <a:lstStyle/>
          <a:p>
            <a:pPr lvl="0" rtl="0"/>
            <a:r>
              <a:rPr lang="pt-BR" noProof="0"/>
              <a:t>Editar estilos de texto Mestre</a:t>
            </a:r>
          </a:p>
          <a:p>
            <a:pPr lvl="1" rtl="0"/>
            <a:r>
              <a:rPr lang="pt-BR" noProof="0"/>
              <a:t>Segundo nível</a:t>
            </a:r>
          </a:p>
          <a:p>
            <a:pPr lvl="2" rtl="0"/>
            <a:r>
              <a:rPr lang="pt-BR" noProof="0"/>
              <a:t>Terceiro nível</a:t>
            </a:r>
          </a:p>
          <a:p>
            <a:pPr lvl="3" rtl="0"/>
            <a:r>
              <a:rPr lang="pt-BR" noProof="0"/>
              <a:t>Quarto nível</a:t>
            </a:r>
          </a:p>
          <a:p>
            <a:pPr lvl="4" rtl="0"/>
            <a:r>
              <a:rPr lang="pt-BR" noProof="0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8915521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un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1948E38-8FB0-4E51-A01C-C88794372E5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2000" y="1656000"/>
            <a:ext cx="3600000" cy="4464000"/>
          </a:xfrm>
        </p:spPr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 rtl="0"/>
            <a:r>
              <a:rPr lang="pt-BR" noProof="0"/>
              <a:t>Editar estilos de texto Mestre</a:t>
            </a:r>
          </a:p>
          <a:p>
            <a:pPr lvl="1" rtl="0"/>
            <a:r>
              <a:rPr lang="pt-BR" noProof="0"/>
              <a:t>Segundo nível</a:t>
            </a:r>
          </a:p>
          <a:p>
            <a:pPr lvl="2" rtl="0"/>
            <a:r>
              <a:rPr lang="pt-BR" noProof="0"/>
              <a:t>Terceiro nível</a:t>
            </a:r>
          </a:p>
          <a:p>
            <a:pPr lvl="3" rtl="0"/>
            <a:r>
              <a:rPr lang="pt-BR" noProof="0"/>
              <a:t>Quarto nível</a:t>
            </a:r>
          </a:p>
          <a:p>
            <a:pPr lvl="4" rtl="0"/>
            <a:r>
              <a:rPr lang="pt-BR" noProof="0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16A38E24-EB1C-472F-B631-5DF32F9C4C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01550" y="1656000"/>
            <a:ext cx="3600450" cy="4464000"/>
          </a:xfrm>
        </p:spPr>
        <p:txBody>
          <a:bodyPr rtlCol="0"/>
          <a:lstStyle/>
          <a:p>
            <a:pPr lvl="0" rtl="0"/>
            <a:r>
              <a:rPr lang="pt-BR" noProof="0"/>
              <a:t>Editar estilos de texto Mestre</a:t>
            </a:r>
          </a:p>
          <a:p>
            <a:pPr lvl="1" rtl="0"/>
            <a:r>
              <a:rPr lang="pt-BR" noProof="0"/>
              <a:t>Segundo nível</a:t>
            </a:r>
          </a:p>
          <a:p>
            <a:pPr lvl="2" rtl="0"/>
            <a:r>
              <a:rPr lang="pt-BR" noProof="0"/>
              <a:t>Terceiro nível</a:t>
            </a:r>
          </a:p>
          <a:p>
            <a:pPr lvl="3" rtl="0"/>
            <a:r>
              <a:rPr lang="pt-BR" noProof="0"/>
              <a:t>Quarto nível</a:t>
            </a:r>
          </a:p>
          <a:p>
            <a:pPr lvl="4" rtl="0"/>
            <a:r>
              <a:rPr lang="pt-BR" noProof="0"/>
              <a:t>Quinto nível</a:t>
            </a:r>
          </a:p>
        </p:txBody>
      </p:sp>
      <p:sp>
        <p:nvSpPr>
          <p:cNvPr id="11" name="Espaço Reservado para Texto 5">
            <a:extLst>
              <a:ext uri="{FF2B5EF4-FFF2-40B4-BE49-F238E27FC236}">
                <a16:creationId xmlns:a16="http://schemas.microsoft.com/office/drawing/2014/main" id="{5B4A252E-78C9-4F76-98A4-A4B580AD07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71550" y="1656000"/>
            <a:ext cx="3600450" cy="4464000"/>
          </a:xfrm>
        </p:spPr>
        <p:txBody>
          <a:bodyPr rtlCol="0"/>
          <a:lstStyle/>
          <a:p>
            <a:pPr lvl="0" rtl="0"/>
            <a:r>
              <a:rPr lang="pt-BR" noProof="0"/>
              <a:t>Editar estilos de texto Mestre</a:t>
            </a:r>
          </a:p>
          <a:p>
            <a:pPr lvl="1" rtl="0"/>
            <a:r>
              <a:rPr lang="pt-BR" noProof="0"/>
              <a:t>Segundo nível</a:t>
            </a:r>
          </a:p>
          <a:p>
            <a:pPr lvl="2" rtl="0"/>
            <a:r>
              <a:rPr lang="pt-BR" noProof="0"/>
              <a:t>Terceiro nível</a:t>
            </a:r>
          </a:p>
          <a:p>
            <a:pPr lvl="3" rtl="0"/>
            <a:r>
              <a:rPr lang="pt-BR" noProof="0"/>
              <a:t>Quarto nível</a:t>
            </a:r>
          </a:p>
          <a:p>
            <a:pPr lvl="4" rtl="0"/>
            <a:r>
              <a:rPr lang="pt-BR" noProof="0"/>
              <a:t>Quinto nível</a:t>
            </a:r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6D4BCA97-F31B-451D-82F8-6E000DF2118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 rtlCol="0"/>
          <a:lstStyle/>
          <a:p>
            <a:pPr rtl="0"/>
            <a:r>
              <a:rPr lang="pt-BR" noProof="0"/>
              <a:t>Adicionar um rodapé</a:t>
            </a:r>
          </a:p>
        </p:txBody>
      </p:sp>
      <p:sp>
        <p:nvSpPr>
          <p:cNvPr id="6" name="Espaço reservado para o número do slide 5">
            <a:extLst>
              <a:ext uri="{FF2B5EF4-FFF2-40B4-BE49-F238E27FC236}">
                <a16:creationId xmlns:a16="http://schemas.microsoft.com/office/drawing/2014/main" id="{0817AAC4-A657-4D75-A527-0307AFF2B17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 rtlCol="0"/>
          <a:lstStyle/>
          <a:p>
            <a:pPr rtl="0"/>
            <a:fld id="{19B51A1E-902D-48AF-9020-955120F399B6}" type="slidenum">
              <a:rPr lang="pt-BR" noProof="0" smtClean="0"/>
              <a:pPr rtl="0"/>
              <a:t>‹nº›</a:t>
            </a:fld>
            <a:endParaRPr lang="pt-BR" noProof="0"/>
          </a:p>
        </p:txBody>
      </p:sp>
      <p:sp>
        <p:nvSpPr>
          <p:cNvPr id="7" name="Título 6">
            <a:extLst>
              <a:ext uri="{FF2B5EF4-FFF2-40B4-BE49-F238E27FC236}">
                <a16:creationId xmlns:a16="http://schemas.microsoft.com/office/drawing/2014/main" id="{2F2CFF35-351B-467F-BD62-64A826D398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/>
          <a:p>
            <a:pPr rtl="0"/>
            <a:r>
              <a:rPr lang="pt-BR" noProof="0"/>
              <a:t>Clique para editar o estilo de título Mestre</a:t>
            </a:r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1D649594-5188-4CA5-B404-7257EDBE7950}"/>
              </a:ext>
            </a:extLst>
          </p:cNvPr>
          <p:cNvSpPr/>
          <p:nvPr userDrawn="1"/>
        </p:nvSpPr>
        <p:spPr>
          <a:xfrm>
            <a:off x="432000" y="432000"/>
            <a:ext cx="84835" cy="6957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 noProof="0"/>
          </a:p>
        </p:txBody>
      </p:sp>
      <p:sp>
        <p:nvSpPr>
          <p:cNvPr id="12" name="Subtítulo 2">
            <a:extLst>
              <a:ext uri="{FF2B5EF4-FFF2-40B4-BE49-F238E27FC236}">
                <a16:creationId xmlns:a16="http://schemas.microsoft.com/office/drawing/2014/main" id="{E72D4787-1516-4E1F-98A6-5C9701F633C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1800" y="1260000"/>
            <a:ext cx="11339513" cy="252000"/>
          </a:xfrm>
        </p:spPr>
        <p:txBody>
          <a:bodyPr rtlCol="0"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 rtl="0"/>
            <a:r>
              <a:rPr lang="pt-BR" noProof="0"/>
              <a:t>Subtítulo</a:t>
            </a:r>
          </a:p>
        </p:txBody>
      </p:sp>
    </p:spTree>
    <p:extLst>
      <p:ext uri="{BB962C8B-B14F-4D97-AF65-F5344CB8AC3E}">
        <p14:creationId xmlns:p14="http://schemas.microsoft.com/office/powerpoint/2010/main" val="26543880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 Colun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1948E38-8FB0-4E51-A01C-C88794372E5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2000" y="1656000"/>
            <a:ext cx="2160000" cy="4464000"/>
          </a:xfrm>
        </p:spPr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 rtl="0"/>
            <a:r>
              <a:rPr lang="pt-BR" noProof="0"/>
              <a:t>Editar estilos de texto Mestre</a:t>
            </a:r>
          </a:p>
          <a:p>
            <a:pPr lvl="1" rtl="0"/>
            <a:r>
              <a:rPr lang="pt-BR" noProof="0"/>
              <a:t>Segundo nível</a:t>
            </a:r>
          </a:p>
          <a:p>
            <a:pPr lvl="2" rtl="0"/>
            <a:r>
              <a:rPr lang="pt-BR" noProof="0"/>
              <a:t>Terceiro nível</a:t>
            </a:r>
          </a:p>
          <a:p>
            <a:pPr lvl="3" rtl="0"/>
            <a:r>
              <a:rPr lang="pt-BR" noProof="0"/>
              <a:t>Quarto nível</a:t>
            </a:r>
          </a:p>
          <a:p>
            <a:pPr lvl="4" rtl="0"/>
            <a:r>
              <a:rPr lang="pt-BR" noProof="0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1F5B3657-F2AE-455A-BF81-1A0C2ACECD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26412" y="1656000"/>
            <a:ext cx="2160588" cy="4464000"/>
          </a:xfrm>
        </p:spPr>
        <p:txBody>
          <a:bodyPr rtlCol="0"/>
          <a:lstStyle/>
          <a:p>
            <a:pPr lvl="0" rtl="0"/>
            <a:r>
              <a:rPr lang="pt-BR" noProof="0"/>
              <a:t>Editar estilos de texto Mestre</a:t>
            </a:r>
          </a:p>
          <a:p>
            <a:pPr lvl="1" rtl="0"/>
            <a:r>
              <a:rPr lang="pt-BR" noProof="0"/>
              <a:t>Segundo nível</a:t>
            </a:r>
          </a:p>
          <a:p>
            <a:pPr lvl="2" rtl="0"/>
            <a:r>
              <a:rPr lang="pt-BR" noProof="0"/>
              <a:t>Terceiro nível</a:t>
            </a:r>
          </a:p>
          <a:p>
            <a:pPr lvl="3" rtl="0"/>
            <a:r>
              <a:rPr lang="pt-BR" noProof="0"/>
              <a:t>Quarto nível</a:t>
            </a:r>
          </a:p>
          <a:p>
            <a:pPr lvl="4" rtl="0"/>
            <a:r>
              <a:rPr lang="pt-BR" noProof="0"/>
              <a:t>Quinto nível</a:t>
            </a:r>
          </a:p>
        </p:txBody>
      </p:sp>
      <p:sp>
        <p:nvSpPr>
          <p:cNvPr id="13" name="Espaço Reservado para Texto 5">
            <a:extLst>
              <a:ext uri="{FF2B5EF4-FFF2-40B4-BE49-F238E27FC236}">
                <a16:creationId xmlns:a16="http://schemas.microsoft.com/office/drawing/2014/main" id="{6A983D98-E0AB-429A-9EC2-B50D4216D6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21412" y="1656000"/>
            <a:ext cx="2160588" cy="4464000"/>
          </a:xfrm>
        </p:spPr>
        <p:txBody>
          <a:bodyPr rtlCol="0"/>
          <a:lstStyle/>
          <a:p>
            <a:pPr lvl="0" rtl="0"/>
            <a:r>
              <a:rPr lang="pt-BR" noProof="0"/>
              <a:t>Editar estilos de texto Mestre</a:t>
            </a:r>
          </a:p>
          <a:p>
            <a:pPr lvl="1" rtl="0"/>
            <a:r>
              <a:rPr lang="pt-BR" noProof="0"/>
              <a:t>Segundo nível</a:t>
            </a:r>
          </a:p>
          <a:p>
            <a:pPr lvl="2" rtl="0"/>
            <a:r>
              <a:rPr lang="pt-BR" noProof="0"/>
              <a:t>Terceiro nível</a:t>
            </a:r>
          </a:p>
          <a:p>
            <a:pPr lvl="3" rtl="0"/>
            <a:r>
              <a:rPr lang="pt-BR" noProof="0"/>
              <a:t>Quarto nível</a:t>
            </a:r>
          </a:p>
          <a:p>
            <a:pPr lvl="4" rtl="0"/>
            <a:r>
              <a:rPr lang="pt-BR" noProof="0"/>
              <a:t>Quinto nível</a:t>
            </a:r>
          </a:p>
        </p:txBody>
      </p:sp>
      <p:sp>
        <p:nvSpPr>
          <p:cNvPr id="15" name="Espaço Reservado para Texto 6">
            <a:extLst>
              <a:ext uri="{FF2B5EF4-FFF2-40B4-BE49-F238E27FC236}">
                <a16:creationId xmlns:a16="http://schemas.microsoft.com/office/drawing/2014/main" id="{755213BF-EF6D-45DC-A01B-DE6C2F23A6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16412" y="1656000"/>
            <a:ext cx="2160588" cy="4464000"/>
          </a:xfrm>
        </p:spPr>
        <p:txBody>
          <a:bodyPr rtlCol="0"/>
          <a:lstStyle/>
          <a:p>
            <a:pPr lvl="0" rtl="0"/>
            <a:r>
              <a:rPr lang="pt-BR" noProof="0"/>
              <a:t>Editar estilos de texto Mestre</a:t>
            </a:r>
          </a:p>
          <a:p>
            <a:pPr lvl="1" rtl="0"/>
            <a:r>
              <a:rPr lang="pt-BR" noProof="0"/>
              <a:t>Segundo nível</a:t>
            </a:r>
          </a:p>
          <a:p>
            <a:pPr lvl="2" rtl="0"/>
            <a:r>
              <a:rPr lang="pt-BR" noProof="0"/>
              <a:t>Terceiro nível</a:t>
            </a:r>
          </a:p>
          <a:p>
            <a:pPr lvl="3" rtl="0"/>
            <a:r>
              <a:rPr lang="pt-BR" noProof="0"/>
              <a:t>Quarto nível</a:t>
            </a:r>
          </a:p>
          <a:p>
            <a:pPr lvl="4" rtl="0"/>
            <a:r>
              <a:rPr lang="pt-BR" noProof="0"/>
              <a:t>Quinto nível</a:t>
            </a:r>
          </a:p>
        </p:txBody>
      </p:sp>
      <p:sp>
        <p:nvSpPr>
          <p:cNvPr id="17" name="Espaço Reservado para Texto 7">
            <a:extLst>
              <a:ext uri="{FF2B5EF4-FFF2-40B4-BE49-F238E27FC236}">
                <a16:creationId xmlns:a16="http://schemas.microsoft.com/office/drawing/2014/main" id="{77D6BBBA-F4A3-45D4-91BC-A405FFDC7C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611412" y="1656000"/>
            <a:ext cx="2160588" cy="4464000"/>
          </a:xfrm>
        </p:spPr>
        <p:txBody>
          <a:bodyPr rtlCol="0"/>
          <a:lstStyle/>
          <a:p>
            <a:pPr lvl="0" rtl="0"/>
            <a:r>
              <a:rPr lang="pt-BR" noProof="0"/>
              <a:t>Editar estilos de texto Mestre</a:t>
            </a:r>
          </a:p>
          <a:p>
            <a:pPr lvl="1" rtl="0"/>
            <a:r>
              <a:rPr lang="pt-BR" noProof="0"/>
              <a:t>Segundo nível</a:t>
            </a:r>
          </a:p>
          <a:p>
            <a:pPr lvl="2" rtl="0"/>
            <a:r>
              <a:rPr lang="pt-BR" noProof="0"/>
              <a:t>Terceiro nível</a:t>
            </a:r>
          </a:p>
          <a:p>
            <a:pPr lvl="3" rtl="0"/>
            <a:r>
              <a:rPr lang="pt-BR" noProof="0"/>
              <a:t>Quarto nível</a:t>
            </a:r>
          </a:p>
          <a:p>
            <a:pPr lvl="4" rtl="0"/>
            <a:r>
              <a:rPr lang="pt-BR" noProof="0"/>
              <a:t>Quinto nível</a:t>
            </a:r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2D09234E-176D-4BBF-9391-7B6F018C51A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 rtlCol="0"/>
          <a:lstStyle/>
          <a:p>
            <a:pPr rtl="0"/>
            <a:r>
              <a:rPr lang="pt-BR" noProof="0"/>
              <a:t>Adicionar um rodapé</a:t>
            </a:r>
          </a:p>
        </p:txBody>
      </p:sp>
      <p:sp>
        <p:nvSpPr>
          <p:cNvPr id="8" name="Espaço reservado para o número do slide 7">
            <a:extLst>
              <a:ext uri="{FF2B5EF4-FFF2-40B4-BE49-F238E27FC236}">
                <a16:creationId xmlns:a16="http://schemas.microsoft.com/office/drawing/2014/main" id="{86E99B1E-D08C-46BA-9D27-9ED02F4C9B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fld id="{19B51A1E-902D-48AF-9020-955120F399B6}" type="slidenum">
              <a:rPr lang="pt-BR" noProof="0" smtClean="0"/>
              <a:pPr rtl="0"/>
              <a:t>‹nº›</a:t>
            </a:fld>
            <a:endParaRPr lang="pt-BR" noProof="0"/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DCDDD99B-E72A-42C6-9197-207284228D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/>
          <a:p>
            <a:pPr rtl="0"/>
            <a:r>
              <a:rPr lang="pt-BR" noProof="0"/>
              <a:t>Clique para editar o estilo de título Mestre</a:t>
            </a:r>
          </a:p>
        </p:txBody>
      </p:sp>
      <p:sp>
        <p:nvSpPr>
          <p:cNvPr id="12" name="Retângulo 11">
            <a:extLst>
              <a:ext uri="{FF2B5EF4-FFF2-40B4-BE49-F238E27FC236}">
                <a16:creationId xmlns:a16="http://schemas.microsoft.com/office/drawing/2014/main" id="{EE676DAB-A125-472A-B76E-CBBFF35F21C6}"/>
              </a:ext>
            </a:extLst>
          </p:cNvPr>
          <p:cNvSpPr/>
          <p:nvPr userDrawn="1"/>
        </p:nvSpPr>
        <p:spPr>
          <a:xfrm>
            <a:off x="432000" y="432000"/>
            <a:ext cx="84835" cy="6957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 noProof="0"/>
          </a:p>
        </p:txBody>
      </p:sp>
      <p:sp>
        <p:nvSpPr>
          <p:cNvPr id="16" name="Subtítulo 2">
            <a:extLst>
              <a:ext uri="{FF2B5EF4-FFF2-40B4-BE49-F238E27FC236}">
                <a16:creationId xmlns:a16="http://schemas.microsoft.com/office/drawing/2014/main" id="{B057B9D1-A6AC-402A-8902-8B3ED5C49F3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1800" y="1260000"/>
            <a:ext cx="11339513" cy="252000"/>
          </a:xfrm>
        </p:spPr>
        <p:txBody>
          <a:bodyPr rtlCol="0"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 rtl="0"/>
            <a:r>
              <a:rPr lang="pt-BR" noProof="0"/>
              <a:t>Subtítulo</a:t>
            </a:r>
          </a:p>
        </p:txBody>
      </p:sp>
    </p:spTree>
    <p:extLst>
      <p:ext uri="{BB962C8B-B14F-4D97-AF65-F5344CB8AC3E}">
        <p14:creationId xmlns:p14="http://schemas.microsoft.com/office/powerpoint/2010/main" val="9748372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7" name="Título 1036">
            <a:extLst>
              <a:ext uri="{FF2B5EF4-FFF2-40B4-BE49-F238E27FC236}">
                <a16:creationId xmlns:a16="http://schemas.microsoft.com/office/drawing/2014/main" id="{7CFB29AA-1F81-4E9B-95E2-10E4A241093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-5208"/>
            <a:ext cx="8090452" cy="6863208"/>
          </a:xfrm>
          <a:custGeom>
            <a:avLst/>
            <a:gdLst>
              <a:gd name="connsiteX0" fmla="*/ 128735 w 8090452"/>
              <a:gd name="connsiteY0" fmla="*/ 2168229 h 6863208"/>
              <a:gd name="connsiteX1" fmla="*/ 136888 w 8090452"/>
              <a:gd name="connsiteY1" fmla="*/ 2173664 h 6863208"/>
              <a:gd name="connsiteX2" fmla="*/ 128735 w 8090452"/>
              <a:gd name="connsiteY2" fmla="*/ 2168229 h 6863208"/>
              <a:gd name="connsiteX3" fmla="*/ 293829 w 8090452"/>
              <a:gd name="connsiteY3" fmla="*/ 1933496 h 6863208"/>
              <a:gd name="connsiteX4" fmla="*/ 289074 w 8090452"/>
              <a:gd name="connsiteY4" fmla="*/ 1934516 h 6863208"/>
              <a:gd name="connsiteX5" fmla="*/ 298585 w 8090452"/>
              <a:gd name="connsiteY5" fmla="*/ 1938592 h 6863208"/>
              <a:gd name="connsiteX6" fmla="*/ 293829 w 8090452"/>
              <a:gd name="connsiteY6" fmla="*/ 1933496 h 6863208"/>
              <a:gd name="connsiteX7" fmla="*/ 361285 w 8090452"/>
              <a:gd name="connsiteY7" fmla="*/ 1916622 h 6863208"/>
              <a:gd name="connsiteX8" fmla="*/ 363808 w 8090452"/>
              <a:gd name="connsiteY8" fmla="*/ 1916851 h 6863208"/>
              <a:gd name="connsiteX9" fmla="*/ 374678 w 8090452"/>
              <a:gd name="connsiteY9" fmla="*/ 1922286 h 6863208"/>
              <a:gd name="connsiteX10" fmla="*/ 367205 w 8090452"/>
              <a:gd name="connsiteY10" fmla="*/ 1920926 h 6863208"/>
              <a:gd name="connsiteX11" fmla="*/ 359731 w 8090452"/>
              <a:gd name="connsiteY11" fmla="*/ 1915491 h 6863208"/>
              <a:gd name="connsiteX12" fmla="*/ 361285 w 8090452"/>
              <a:gd name="connsiteY12" fmla="*/ 1916622 h 6863208"/>
              <a:gd name="connsiteX13" fmla="*/ 358584 w 8090452"/>
              <a:gd name="connsiteY13" fmla="*/ 1916376 h 6863208"/>
              <a:gd name="connsiteX14" fmla="*/ 348861 w 8090452"/>
              <a:gd name="connsiteY14" fmla="*/ 1907340 h 6863208"/>
              <a:gd name="connsiteX15" fmla="*/ 348861 w 8090452"/>
              <a:gd name="connsiteY15" fmla="*/ 1907340 h 6863208"/>
              <a:gd name="connsiteX16" fmla="*/ 347439 w 8090452"/>
              <a:gd name="connsiteY16" fmla="*/ 1900568 h 6863208"/>
              <a:gd name="connsiteX17" fmla="*/ 343426 w 8090452"/>
              <a:gd name="connsiteY17" fmla="*/ 1901905 h 6863208"/>
              <a:gd name="connsiteX18" fmla="*/ 347439 w 8090452"/>
              <a:gd name="connsiteY18" fmla="*/ 1900568 h 6863208"/>
              <a:gd name="connsiteX19" fmla="*/ 374678 w 8090452"/>
              <a:gd name="connsiteY19" fmla="*/ 1884240 h 6863208"/>
              <a:gd name="connsiteX20" fmla="*/ 396419 w 8090452"/>
              <a:gd name="connsiteY20" fmla="*/ 1905981 h 6863208"/>
              <a:gd name="connsiteX21" fmla="*/ 377395 w 8090452"/>
              <a:gd name="connsiteY21" fmla="*/ 1895110 h 6863208"/>
              <a:gd name="connsiteX22" fmla="*/ 343425 w 8090452"/>
              <a:gd name="connsiteY22" fmla="*/ 1888315 h 6863208"/>
              <a:gd name="connsiteX23" fmla="*/ 367884 w 8090452"/>
              <a:gd name="connsiteY23" fmla="*/ 1910056 h 6863208"/>
              <a:gd name="connsiteX24" fmla="*/ 348861 w 8090452"/>
              <a:gd name="connsiteY24" fmla="*/ 1915492 h 6863208"/>
              <a:gd name="connsiteX25" fmla="*/ 358584 w 8090452"/>
              <a:gd name="connsiteY25" fmla="*/ 1916376 h 6863208"/>
              <a:gd name="connsiteX26" fmla="*/ 353787 w 8090452"/>
              <a:gd name="connsiteY26" fmla="*/ 1920078 h 6863208"/>
              <a:gd name="connsiteX27" fmla="*/ 348861 w 8090452"/>
              <a:gd name="connsiteY27" fmla="*/ 1923644 h 6863208"/>
              <a:gd name="connsiteX28" fmla="*/ 357014 w 8090452"/>
              <a:gd name="connsiteY28" fmla="*/ 1923644 h 6863208"/>
              <a:gd name="connsiteX29" fmla="*/ 363808 w 8090452"/>
              <a:gd name="connsiteY29" fmla="*/ 1935874 h 6863208"/>
              <a:gd name="connsiteX30" fmla="*/ 408648 w 8090452"/>
              <a:gd name="connsiteY30" fmla="*/ 1934516 h 6863208"/>
              <a:gd name="connsiteX31" fmla="*/ 389625 w 8090452"/>
              <a:gd name="connsiteY31" fmla="*/ 1923645 h 6863208"/>
              <a:gd name="connsiteX32" fmla="*/ 442619 w 8090452"/>
              <a:gd name="connsiteY32" fmla="*/ 1925004 h 6863208"/>
              <a:gd name="connsiteX33" fmla="*/ 441260 w 8090452"/>
              <a:gd name="connsiteY33" fmla="*/ 1910057 h 6863208"/>
              <a:gd name="connsiteX34" fmla="*/ 430390 w 8090452"/>
              <a:gd name="connsiteY34" fmla="*/ 1907339 h 6863208"/>
              <a:gd name="connsiteX35" fmla="*/ 450771 w 8090452"/>
              <a:gd name="connsiteY35" fmla="*/ 1905980 h 6863208"/>
              <a:gd name="connsiteX36" fmla="*/ 374678 w 8090452"/>
              <a:gd name="connsiteY36" fmla="*/ 1884240 h 6863208"/>
              <a:gd name="connsiteX37" fmla="*/ 389623 w 8090452"/>
              <a:gd name="connsiteY37" fmla="*/ 1880165 h 6863208"/>
              <a:gd name="connsiteX38" fmla="*/ 442617 w 8090452"/>
              <a:gd name="connsiteY38" fmla="*/ 1895111 h 6863208"/>
              <a:gd name="connsiteX39" fmla="*/ 389623 w 8090452"/>
              <a:gd name="connsiteY39" fmla="*/ 1880165 h 6863208"/>
              <a:gd name="connsiteX40" fmla="*/ 403212 w 8090452"/>
              <a:gd name="connsiteY40" fmla="*/ 1866577 h 6863208"/>
              <a:gd name="connsiteX41" fmla="*/ 441259 w 8090452"/>
              <a:gd name="connsiteY41" fmla="*/ 1874729 h 6863208"/>
              <a:gd name="connsiteX42" fmla="*/ 403212 w 8090452"/>
              <a:gd name="connsiteY42" fmla="*/ 1866577 h 6863208"/>
              <a:gd name="connsiteX43" fmla="*/ 376036 w 8090452"/>
              <a:gd name="connsiteY43" fmla="*/ 1863859 h 6863208"/>
              <a:gd name="connsiteX44" fmla="*/ 397778 w 8090452"/>
              <a:gd name="connsiteY44" fmla="*/ 1866576 h 6863208"/>
              <a:gd name="connsiteX45" fmla="*/ 376036 w 8090452"/>
              <a:gd name="connsiteY45" fmla="*/ 1863859 h 6863208"/>
              <a:gd name="connsiteX46" fmla="*/ 98841 w 8090452"/>
              <a:gd name="connsiteY46" fmla="*/ 1858423 h 6863208"/>
              <a:gd name="connsiteX47" fmla="*/ 89330 w 8090452"/>
              <a:gd name="connsiteY47" fmla="*/ 1859781 h 6863208"/>
              <a:gd name="connsiteX48" fmla="*/ 85253 w 8090452"/>
              <a:gd name="connsiteY48" fmla="*/ 1888317 h 6863208"/>
              <a:gd name="connsiteX49" fmla="*/ 113789 w 8090452"/>
              <a:gd name="connsiteY49" fmla="*/ 1889677 h 6863208"/>
              <a:gd name="connsiteX50" fmla="*/ 115148 w 8090452"/>
              <a:gd name="connsiteY50" fmla="*/ 1877446 h 6863208"/>
              <a:gd name="connsiteX51" fmla="*/ 111071 w 8090452"/>
              <a:gd name="connsiteY51" fmla="*/ 1867934 h 6863208"/>
              <a:gd name="connsiteX52" fmla="*/ 98841 w 8090452"/>
              <a:gd name="connsiteY52" fmla="*/ 1858423 h 6863208"/>
              <a:gd name="connsiteX53" fmla="*/ 912761 w 8090452"/>
              <a:gd name="connsiteY53" fmla="*/ 1772820 h 6863208"/>
              <a:gd name="connsiteX54" fmla="*/ 908685 w 8090452"/>
              <a:gd name="connsiteY54" fmla="*/ 1776897 h 6863208"/>
              <a:gd name="connsiteX55" fmla="*/ 915479 w 8090452"/>
              <a:gd name="connsiteY55" fmla="*/ 1778256 h 6863208"/>
              <a:gd name="connsiteX56" fmla="*/ 912761 w 8090452"/>
              <a:gd name="connsiteY56" fmla="*/ 1772820 h 6863208"/>
              <a:gd name="connsiteX57" fmla="*/ 278034 w 8090452"/>
              <a:gd name="connsiteY57" fmla="*/ 1759742 h 6863208"/>
              <a:gd name="connsiteX58" fmla="*/ 272768 w 8090452"/>
              <a:gd name="connsiteY58" fmla="*/ 1760591 h 6863208"/>
              <a:gd name="connsiteX59" fmla="*/ 278204 w 8090452"/>
              <a:gd name="connsiteY59" fmla="*/ 1766026 h 6863208"/>
              <a:gd name="connsiteX60" fmla="*/ 278034 w 8090452"/>
              <a:gd name="connsiteY60" fmla="*/ 1759742 h 6863208"/>
              <a:gd name="connsiteX61" fmla="*/ 202620 w 8090452"/>
              <a:gd name="connsiteY61" fmla="*/ 1731546 h 6863208"/>
              <a:gd name="connsiteX62" fmla="*/ 202111 w 8090452"/>
              <a:gd name="connsiteY62" fmla="*/ 1736132 h 6863208"/>
              <a:gd name="connsiteX63" fmla="*/ 206188 w 8090452"/>
              <a:gd name="connsiteY63" fmla="*/ 1732055 h 6863208"/>
              <a:gd name="connsiteX64" fmla="*/ 202620 w 8090452"/>
              <a:gd name="connsiteY64" fmla="*/ 1731546 h 6863208"/>
              <a:gd name="connsiteX65" fmla="*/ 861127 w 8090452"/>
              <a:gd name="connsiteY65" fmla="*/ 1723901 h 6863208"/>
              <a:gd name="connsiteX66" fmla="*/ 892380 w 8090452"/>
              <a:gd name="connsiteY66" fmla="*/ 1755154 h 6863208"/>
              <a:gd name="connsiteX67" fmla="*/ 861127 w 8090452"/>
              <a:gd name="connsiteY67" fmla="*/ 1723901 h 6863208"/>
              <a:gd name="connsiteX68" fmla="*/ 840745 w 8090452"/>
              <a:gd name="connsiteY68" fmla="*/ 1706238 h 6863208"/>
              <a:gd name="connsiteX69" fmla="*/ 852974 w 8090452"/>
              <a:gd name="connsiteY69" fmla="*/ 1715749 h 6863208"/>
              <a:gd name="connsiteX70" fmla="*/ 840745 w 8090452"/>
              <a:gd name="connsiteY70" fmla="*/ 1706238 h 6863208"/>
              <a:gd name="connsiteX71" fmla="*/ 175275 w 8090452"/>
              <a:gd name="connsiteY71" fmla="*/ 1701483 h 6863208"/>
              <a:gd name="connsiteX72" fmla="*/ 173576 w 8090452"/>
              <a:gd name="connsiteY72" fmla="*/ 1707598 h 6863208"/>
              <a:gd name="connsiteX73" fmla="*/ 183087 w 8090452"/>
              <a:gd name="connsiteY73" fmla="*/ 1703521 h 6863208"/>
              <a:gd name="connsiteX74" fmla="*/ 175275 w 8090452"/>
              <a:gd name="connsiteY74" fmla="*/ 1701483 h 6863208"/>
              <a:gd name="connsiteX75" fmla="*/ 848898 w 8090452"/>
              <a:gd name="connsiteY75" fmla="*/ 1649169 h 6863208"/>
              <a:gd name="connsiteX76" fmla="*/ 842104 w 8090452"/>
              <a:gd name="connsiteY76" fmla="*/ 1653246 h 6863208"/>
              <a:gd name="connsiteX77" fmla="*/ 848898 w 8090452"/>
              <a:gd name="connsiteY77" fmla="*/ 1649169 h 6863208"/>
              <a:gd name="connsiteX78" fmla="*/ 891021 w 8090452"/>
              <a:gd name="connsiteY78" fmla="*/ 1645093 h 6863208"/>
              <a:gd name="connsiteX79" fmla="*/ 889662 w 8090452"/>
              <a:gd name="connsiteY79" fmla="*/ 1651886 h 6863208"/>
              <a:gd name="connsiteX80" fmla="*/ 892379 w 8090452"/>
              <a:gd name="connsiteY80" fmla="*/ 1649169 h 6863208"/>
              <a:gd name="connsiteX81" fmla="*/ 891021 w 8090452"/>
              <a:gd name="connsiteY81" fmla="*/ 1645093 h 6863208"/>
              <a:gd name="connsiteX82" fmla="*/ 852974 w 8090452"/>
              <a:gd name="connsiteY82" fmla="*/ 1642374 h 6863208"/>
              <a:gd name="connsiteX83" fmla="*/ 842102 w 8090452"/>
              <a:gd name="connsiteY83" fmla="*/ 1650528 h 6863208"/>
              <a:gd name="connsiteX84" fmla="*/ 859767 w 8090452"/>
              <a:gd name="connsiteY84" fmla="*/ 1649169 h 6863208"/>
              <a:gd name="connsiteX85" fmla="*/ 859768 w 8090452"/>
              <a:gd name="connsiteY85" fmla="*/ 1643733 h 6863208"/>
              <a:gd name="connsiteX86" fmla="*/ 854332 w 8090452"/>
              <a:gd name="connsiteY86" fmla="*/ 1643733 h 6863208"/>
              <a:gd name="connsiteX87" fmla="*/ 852974 w 8090452"/>
              <a:gd name="connsiteY87" fmla="*/ 1642374 h 6863208"/>
              <a:gd name="connsiteX88" fmla="*/ 578497 w 8090452"/>
              <a:gd name="connsiteY88" fmla="*/ 1446709 h 6863208"/>
              <a:gd name="connsiteX89" fmla="*/ 568985 w 8090452"/>
              <a:gd name="connsiteY89" fmla="*/ 1448068 h 6863208"/>
              <a:gd name="connsiteX90" fmla="*/ 571703 w 8090452"/>
              <a:gd name="connsiteY90" fmla="*/ 1456221 h 6863208"/>
              <a:gd name="connsiteX91" fmla="*/ 578497 w 8090452"/>
              <a:gd name="connsiteY91" fmla="*/ 1446709 h 6863208"/>
              <a:gd name="connsiteX92" fmla="*/ 206186 w 8090452"/>
              <a:gd name="connsiteY92" fmla="*/ 1424969 h 6863208"/>
              <a:gd name="connsiteX93" fmla="*/ 219775 w 8090452"/>
              <a:gd name="connsiteY93" fmla="*/ 1501061 h 6863208"/>
              <a:gd name="connsiteX94" fmla="*/ 238797 w 8090452"/>
              <a:gd name="connsiteY94" fmla="*/ 1566283 h 6863208"/>
              <a:gd name="connsiteX95" fmla="*/ 212980 w 8090452"/>
              <a:gd name="connsiteY95" fmla="*/ 1521444 h 6863208"/>
              <a:gd name="connsiteX96" fmla="*/ 206187 w 8090452"/>
              <a:gd name="connsiteY96" fmla="*/ 1435839 h 6863208"/>
              <a:gd name="connsiteX97" fmla="*/ 206186 w 8090452"/>
              <a:gd name="connsiteY97" fmla="*/ 1424969 h 6863208"/>
              <a:gd name="connsiteX98" fmla="*/ 438542 w 8090452"/>
              <a:gd name="connsiteY98" fmla="*/ 1404586 h 6863208"/>
              <a:gd name="connsiteX99" fmla="*/ 431747 w 8090452"/>
              <a:gd name="connsiteY99" fmla="*/ 1408662 h 6863208"/>
              <a:gd name="connsiteX100" fmla="*/ 438542 w 8090452"/>
              <a:gd name="connsiteY100" fmla="*/ 1404586 h 6863208"/>
              <a:gd name="connsiteX101" fmla="*/ 620620 w 8090452"/>
              <a:gd name="connsiteY101" fmla="*/ 1401868 h 6863208"/>
              <a:gd name="connsiteX102" fmla="*/ 620620 w 8090452"/>
              <a:gd name="connsiteY102" fmla="*/ 1412739 h 6863208"/>
              <a:gd name="connsiteX103" fmla="*/ 620620 w 8090452"/>
              <a:gd name="connsiteY103" fmla="*/ 1401868 h 6863208"/>
              <a:gd name="connsiteX104" fmla="*/ 696712 w 8090452"/>
              <a:gd name="connsiteY104" fmla="*/ 1396433 h 6863208"/>
              <a:gd name="connsiteX105" fmla="*/ 696712 w 8090452"/>
              <a:gd name="connsiteY105" fmla="*/ 1407304 h 6863208"/>
              <a:gd name="connsiteX106" fmla="*/ 696712 w 8090452"/>
              <a:gd name="connsiteY106" fmla="*/ 1396433 h 6863208"/>
              <a:gd name="connsiteX107" fmla="*/ 445334 w 8090452"/>
              <a:gd name="connsiteY107" fmla="*/ 1395075 h 6863208"/>
              <a:gd name="connsiteX108" fmla="*/ 437182 w 8090452"/>
              <a:gd name="connsiteY108" fmla="*/ 1400511 h 6863208"/>
              <a:gd name="connsiteX109" fmla="*/ 445334 w 8090452"/>
              <a:gd name="connsiteY109" fmla="*/ 1395075 h 6863208"/>
              <a:gd name="connsiteX110" fmla="*/ 549961 w 8090452"/>
              <a:gd name="connsiteY110" fmla="*/ 1393715 h 6863208"/>
              <a:gd name="connsiteX111" fmla="*/ 549962 w 8090452"/>
              <a:gd name="connsiteY111" fmla="*/ 1404586 h 6863208"/>
              <a:gd name="connsiteX112" fmla="*/ 558114 w 8090452"/>
              <a:gd name="connsiteY112" fmla="*/ 1401868 h 6863208"/>
              <a:gd name="connsiteX113" fmla="*/ 549961 w 8090452"/>
              <a:gd name="connsiteY113" fmla="*/ 1393715 h 6863208"/>
              <a:gd name="connsiteX114" fmla="*/ 468435 w 8090452"/>
              <a:gd name="connsiteY114" fmla="*/ 1385563 h 6863208"/>
              <a:gd name="connsiteX115" fmla="*/ 463000 w 8090452"/>
              <a:gd name="connsiteY115" fmla="*/ 1390999 h 6863208"/>
              <a:gd name="connsiteX116" fmla="*/ 468435 w 8090452"/>
              <a:gd name="connsiteY116" fmla="*/ 1385563 h 6863208"/>
              <a:gd name="connsiteX117" fmla="*/ 627414 w 8090452"/>
              <a:gd name="connsiteY117" fmla="*/ 1378769 h 6863208"/>
              <a:gd name="connsiteX118" fmla="*/ 620620 w 8090452"/>
              <a:gd name="connsiteY118" fmla="*/ 1382846 h 6863208"/>
              <a:gd name="connsiteX119" fmla="*/ 624696 w 8090452"/>
              <a:gd name="connsiteY119" fmla="*/ 1386922 h 6863208"/>
              <a:gd name="connsiteX120" fmla="*/ 627414 w 8090452"/>
              <a:gd name="connsiteY120" fmla="*/ 1378769 h 6863208"/>
              <a:gd name="connsiteX121" fmla="*/ 513276 w 8090452"/>
              <a:gd name="connsiteY121" fmla="*/ 1378769 h 6863208"/>
              <a:gd name="connsiteX122" fmla="*/ 510558 w 8090452"/>
              <a:gd name="connsiteY122" fmla="*/ 1386921 h 6863208"/>
              <a:gd name="connsiteX123" fmla="*/ 517352 w 8090452"/>
              <a:gd name="connsiteY123" fmla="*/ 1380128 h 6863208"/>
              <a:gd name="connsiteX124" fmla="*/ 513276 w 8090452"/>
              <a:gd name="connsiteY124" fmla="*/ 1378769 h 6863208"/>
              <a:gd name="connsiteX125" fmla="*/ 720662 w 8090452"/>
              <a:gd name="connsiteY125" fmla="*/ 1373844 h 6863208"/>
              <a:gd name="connsiteX126" fmla="*/ 717094 w 8090452"/>
              <a:gd name="connsiteY126" fmla="*/ 1378770 h 6863208"/>
              <a:gd name="connsiteX127" fmla="*/ 721171 w 8090452"/>
              <a:gd name="connsiteY127" fmla="*/ 1380128 h 6863208"/>
              <a:gd name="connsiteX128" fmla="*/ 720662 w 8090452"/>
              <a:gd name="connsiteY128" fmla="*/ 1373844 h 6863208"/>
              <a:gd name="connsiteX129" fmla="*/ 453488 w 8090452"/>
              <a:gd name="connsiteY129" fmla="*/ 1373334 h 6863208"/>
              <a:gd name="connsiteX130" fmla="*/ 452128 w 8090452"/>
              <a:gd name="connsiteY130" fmla="*/ 1380128 h 6863208"/>
              <a:gd name="connsiteX131" fmla="*/ 472511 w 8090452"/>
              <a:gd name="connsiteY131" fmla="*/ 1381486 h 6863208"/>
              <a:gd name="connsiteX132" fmla="*/ 453488 w 8090452"/>
              <a:gd name="connsiteY132" fmla="*/ 1373334 h 6863208"/>
              <a:gd name="connsiteX133" fmla="*/ 554038 w 8090452"/>
              <a:gd name="connsiteY133" fmla="*/ 1370616 h 6863208"/>
              <a:gd name="connsiteX134" fmla="*/ 548603 w 8090452"/>
              <a:gd name="connsiteY134" fmla="*/ 1376051 h 6863208"/>
              <a:gd name="connsiteX135" fmla="*/ 554038 w 8090452"/>
              <a:gd name="connsiteY135" fmla="*/ 1370616 h 6863208"/>
              <a:gd name="connsiteX136" fmla="*/ 539092 w 8090452"/>
              <a:gd name="connsiteY136" fmla="*/ 1353630 h 6863208"/>
              <a:gd name="connsiteX137" fmla="*/ 535016 w 8090452"/>
              <a:gd name="connsiteY137" fmla="*/ 1354310 h 6863208"/>
              <a:gd name="connsiteX138" fmla="*/ 529580 w 8090452"/>
              <a:gd name="connsiteY138" fmla="*/ 1362463 h 6863208"/>
              <a:gd name="connsiteX139" fmla="*/ 537733 w 8090452"/>
              <a:gd name="connsiteY139" fmla="*/ 1362463 h 6863208"/>
              <a:gd name="connsiteX140" fmla="*/ 536374 w 8090452"/>
              <a:gd name="connsiteY140" fmla="*/ 1366539 h 6863208"/>
              <a:gd name="connsiteX141" fmla="*/ 540451 w 8090452"/>
              <a:gd name="connsiteY141" fmla="*/ 1362463 h 6863208"/>
              <a:gd name="connsiteX142" fmla="*/ 539092 w 8090452"/>
              <a:gd name="connsiteY142" fmla="*/ 1358386 h 6863208"/>
              <a:gd name="connsiteX143" fmla="*/ 543168 w 8090452"/>
              <a:gd name="connsiteY143" fmla="*/ 1357027 h 6863208"/>
              <a:gd name="connsiteX144" fmla="*/ 539092 w 8090452"/>
              <a:gd name="connsiteY144" fmla="*/ 1353630 h 6863208"/>
              <a:gd name="connsiteX145" fmla="*/ 503764 w 8090452"/>
              <a:gd name="connsiteY145" fmla="*/ 1350233 h 6863208"/>
              <a:gd name="connsiteX146" fmla="*/ 498328 w 8090452"/>
              <a:gd name="connsiteY146" fmla="*/ 1352951 h 6863208"/>
              <a:gd name="connsiteX147" fmla="*/ 503764 w 8090452"/>
              <a:gd name="connsiteY147" fmla="*/ 1350233 h 6863208"/>
              <a:gd name="connsiteX148" fmla="*/ 462998 w 8090452"/>
              <a:gd name="connsiteY148" fmla="*/ 1344799 h 6863208"/>
              <a:gd name="connsiteX149" fmla="*/ 457563 w 8090452"/>
              <a:gd name="connsiteY149" fmla="*/ 1350235 h 6863208"/>
              <a:gd name="connsiteX150" fmla="*/ 486099 w 8090452"/>
              <a:gd name="connsiteY150" fmla="*/ 1359745 h 6863208"/>
              <a:gd name="connsiteX151" fmla="*/ 483381 w 8090452"/>
              <a:gd name="connsiteY151" fmla="*/ 1351592 h 6863208"/>
              <a:gd name="connsiteX152" fmla="*/ 472511 w 8090452"/>
              <a:gd name="connsiteY152" fmla="*/ 1346157 h 6863208"/>
              <a:gd name="connsiteX153" fmla="*/ 462998 w 8090452"/>
              <a:gd name="connsiteY153" fmla="*/ 1344799 h 6863208"/>
              <a:gd name="connsiteX154" fmla="*/ 128735 w 8090452"/>
              <a:gd name="connsiteY154" fmla="*/ 1339364 h 6863208"/>
              <a:gd name="connsiteX155" fmla="*/ 181728 w 8090452"/>
              <a:gd name="connsiteY155" fmla="*/ 1471168 h 6863208"/>
              <a:gd name="connsiteX156" fmla="*/ 124658 w 8090452"/>
              <a:gd name="connsiteY156" fmla="*/ 1381487 h 6863208"/>
              <a:gd name="connsiteX157" fmla="*/ 128735 w 8090452"/>
              <a:gd name="connsiteY157" fmla="*/ 1339364 h 6863208"/>
              <a:gd name="connsiteX158" fmla="*/ 371960 w 8090452"/>
              <a:gd name="connsiteY158" fmla="*/ 1338004 h 6863208"/>
              <a:gd name="connsiteX159" fmla="*/ 352936 w 8090452"/>
              <a:gd name="connsiteY159" fmla="*/ 1346157 h 6863208"/>
              <a:gd name="connsiteX160" fmla="*/ 374677 w 8090452"/>
              <a:gd name="connsiteY160" fmla="*/ 1343439 h 6863208"/>
              <a:gd name="connsiteX161" fmla="*/ 371960 w 8090452"/>
              <a:gd name="connsiteY161" fmla="*/ 1338004 h 6863208"/>
              <a:gd name="connsiteX162" fmla="*/ 416460 w 8090452"/>
              <a:gd name="connsiteY162" fmla="*/ 1337835 h 6863208"/>
              <a:gd name="connsiteX163" fmla="*/ 411365 w 8090452"/>
              <a:gd name="connsiteY163" fmla="*/ 1342080 h 6863208"/>
              <a:gd name="connsiteX164" fmla="*/ 423594 w 8090452"/>
              <a:gd name="connsiteY164" fmla="*/ 1346157 h 6863208"/>
              <a:gd name="connsiteX165" fmla="*/ 410006 w 8090452"/>
              <a:gd name="connsiteY165" fmla="*/ 1346157 h 6863208"/>
              <a:gd name="connsiteX166" fmla="*/ 412722 w 8090452"/>
              <a:gd name="connsiteY166" fmla="*/ 1354310 h 6863208"/>
              <a:gd name="connsiteX167" fmla="*/ 431747 w 8090452"/>
              <a:gd name="connsiteY167" fmla="*/ 1359746 h 6863208"/>
              <a:gd name="connsiteX168" fmla="*/ 431747 w 8090452"/>
              <a:gd name="connsiteY168" fmla="*/ 1351593 h 6863208"/>
              <a:gd name="connsiteX169" fmla="*/ 416460 w 8090452"/>
              <a:gd name="connsiteY169" fmla="*/ 1337835 h 6863208"/>
              <a:gd name="connsiteX170" fmla="*/ 644399 w 8090452"/>
              <a:gd name="connsiteY170" fmla="*/ 1317283 h 6863208"/>
              <a:gd name="connsiteX171" fmla="*/ 642361 w 8090452"/>
              <a:gd name="connsiteY171" fmla="*/ 1323059 h 6863208"/>
              <a:gd name="connsiteX172" fmla="*/ 646437 w 8090452"/>
              <a:gd name="connsiteY172" fmla="*/ 1324418 h 6863208"/>
              <a:gd name="connsiteX173" fmla="*/ 650514 w 8090452"/>
              <a:gd name="connsiteY173" fmla="*/ 1317623 h 6863208"/>
              <a:gd name="connsiteX174" fmla="*/ 644399 w 8090452"/>
              <a:gd name="connsiteY174" fmla="*/ 1317283 h 6863208"/>
              <a:gd name="connsiteX175" fmla="*/ 351069 w 8090452"/>
              <a:gd name="connsiteY175" fmla="*/ 1312018 h 6863208"/>
              <a:gd name="connsiteX176" fmla="*/ 346143 w 8090452"/>
              <a:gd name="connsiteY176" fmla="*/ 1312187 h 6863208"/>
              <a:gd name="connsiteX177" fmla="*/ 350220 w 8090452"/>
              <a:gd name="connsiteY177" fmla="*/ 1318982 h 6863208"/>
              <a:gd name="connsiteX178" fmla="*/ 357014 w 8090452"/>
              <a:gd name="connsiteY178" fmla="*/ 1314905 h 6863208"/>
              <a:gd name="connsiteX179" fmla="*/ 351069 w 8090452"/>
              <a:gd name="connsiteY179" fmla="*/ 1312018 h 6863208"/>
              <a:gd name="connsiteX180" fmla="*/ 636754 w 8090452"/>
              <a:gd name="connsiteY180" fmla="*/ 1308960 h 6863208"/>
              <a:gd name="connsiteX181" fmla="*/ 631489 w 8090452"/>
              <a:gd name="connsiteY181" fmla="*/ 1314905 h 6863208"/>
              <a:gd name="connsiteX182" fmla="*/ 645078 w 8090452"/>
              <a:gd name="connsiteY182" fmla="*/ 1312187 h 6863208"/>
              <a:gd name="connsiteX183" fmla="*/ 636754 w 8090452"/>
              <a:gd name="connsiteY183" fmla="*/ 1308960 h 6863208"/>
              <a:gd name="connsiteX184" fmla="*/ 605673 w 8090452"/>
              <a:gd name="connsiteY184" fmla="*/ 1305393 h 6863208"/>
              <a:gd name="connsiteX185" fmla="*/ 616544 w 8090452"/>
              <a:gd name="connsiteY185" fmla="*/ 1305393 h 6863208"/>
              <a:gd name="connsiteX186" fmla="*/ 605673 w 8090452"/>
              <a:gd name="connsiteY186" fmla="*/ 1305393 h 6863208"/>
              <a:gd name="connsiteX187" fmla="*/ 545207 w 8090452"/>
              <a:gd name="connsiteY187" fmla="*/ 1302675 h 6863208"/>
              <a:gd name="connsiteX188" fmla="*/ 539092 w 8090452"/>
              <a:gd name="connsiteY188" fmla="*/ 1304035 h 6863208"/>
              <a:gd name="connsiteX189" fmla="*/ 551322 w 8090452"/>
              <a:gd name="connsiteY189" fmla="*/ 1305393 h 6863208"/>
              <a:gd name="connsiteX190" fmla="*/ 545207 w 8090452"/>
              <a:gd name="connsiteY190" fmla="*/ 1302675 h 6863208"/>
              <a:gd name="connsiteX191" fmla="*/ 348861 w 8090452"/>
              <a:gd name="connsiteY191" fmla="*/ 1301317 h 6863208"/>
              <a:gd name="connsiteX192" fmla="*/ 350219 w 8090452"/>
              <a:gd name="connsiteY192" fmla="*/ 1305393 h 6863208"/>
              <a:gd name="connsiteX193" fmla="*/ 347502 w 8090452"/>
              <a:gd name="connsiteY193" fmla="*/ 1310829 h 6863208"/>
              <a:gd name="connsiteX194" fmla="*/ 352938 w 8090452"/>
              <a:gd name="connsiteY194" fmla="*/ 1310829 h 6863208"/>
              <a:gd name="connsiteX195" fmla="*/ 348861 w 8090452"/>
              <a:gd name="connsiteY195" fmla="*/ 1301317 h 6863208"/>
              <a:gd name="connsiteX196" fmla="*/ 185805 w 8090452"/>
              <a:gd name="connsiteY196" fmla="*/ 1298600 h 6863208"/>
              <a:gd name="connsiteX197" fmla="*/ 173577 w 8090452"/>
              <a:gd name="connsiteY197" fmla="*/ 1299959 h 6863208"/>
              <a:gd name="connsiteX198" fmla="*/ 185805 w 8090452"/>
              <a:gd name="connsiteY198" fmla="*/ 1298600 h 6863208"/>
              <a:gd name="connsiteX199" fmla="*/ 638284 w 8090452"/>
              <a:gd name="connsiteY199" fmla="*/ 1294523 h 6863208"/>
              <a:gd name="connsiteX200" fmla="*/ 635566 w 8090452"/>
              <a:gd name="connsiteY200" fmla="*/ 1302676 h 6863208"/>
              <a:gd name="connsiteX201" fmla="*/ 647797 w 8090452"/>
              <a:gd name="connsiteY201" fmla="*/ 1301318 h 6863208"/>
              <a:gd name="connsiteX202" fmla="*/ 638284 w 8090452"/>
              <a:gd name="connsiteY202" fmla="*/ 1294523 h 6863208"/>
              <a:gd name="connsiteX203" fmla="*/ 613826 w 8090452"/>
              <a:gd name="connsiteY203" fmla="*/ 1289088 h 6863208"/>
              <a:gd name="connsiteX204" fmla="*/ 607032 w 8090452"/>
              <a:gd name="connsiteY204" fmla="*/ 1293165 h 6863208"/>
              <a:gd name="connsiteX205" fmla="*/ 613826 w 8090452"/>
              <a:gd name="connsiteY205" fmla="*/ 1289088 h 6863208"/>
              <a:gd name="connsiteX206" fmla="*/ 499688 w 8090452"/>
              <a:gd name="connsiteY206" fmla="*/ 1289087 h 6863208"/>
              <a:gd name="connsiteX207" fmla="*/ 505124 w 8090452"/>
              <a:gd name="connsiteY207" fmla="*/ 1294522 h 6863208"/>
              <a:gd name="connsiteX208" fmla="*/ 499688 w 8090452"/>
              <a:gd name="connsiteY208" fmla="*/ 1289087 h 6863208"/>
              <a:gd name="connsiteX209" fmla="*/ 315740 w 8090452"/>
              <a:gd name="connsiteY209" fmla="*/ 1283144 h 6863208"/>
              <a:gd name="connsiteX210" fmla="*/ 306737 w 8090452"/>
              <a:gd name="connsiteY210" fmla="*/ 1289088 h 6863208"/>
              <a:gd name="connsiteX211" fmla="*/ 325761 w 8090452"/>
              <a:gd name="connsiteY211" fmla="*/ 1286372 h 6863208"/>
              <a:gd name="connsiteX212" fmla="*/ 315740 w 8090452"/>
              <a:gd name="connsiteY212" fmla="*/ 1283144 h 6863208"/>
              <a:gd name="connsiteX213" fmla="*/ 505122 w 8090452"/>
              <a:gd name="connsiteY213" fmla="*/ 1278219 h 6863208"/>
              <a:gd name="connsiteX214" fmla="*/ 499686 w 8090452"/>
              <a:gd name="connsiteY214" fmla="*/ 1280936 h 6863208"/>
              <a:gd name="connsiteX215" fmla="*/ 513274 w 8090452"/>
              <a:gd name="connsiteY215" fmla="*/ 1297242 h 6863208"/>
              <a:gd name="connsiteX216" fmla="*/ 517351 w 8090452"/>
              <a:gd name="connsiteY216" fmla="*/ 1293165 h 6863208"/>
              <a:gd name="connsiteX217" fmla="*/ 505122 w 8090452"/>
              <a:gd name="connsiteY217" fmla="*/ 1278219 h 6863208"/>
              <a:gd name="connsiteX218" fmla="*/ 260878 w 8090452"/>
              <a:gd name="connsiteY218" fmla="*/ 1278218 h 6863208"/>
              <a:gd name="connsiteX219" fmla="*/ 255103 w 8090452"/>
              <a:gd name="connsiteY219" fmla="*/ 1278218 h 6863208"/>
              <a:gd name="connsiteX220" fmla="*/ 264615 w 8090452"/>
              <a:gd name="connsiteY220" fmla="*/ 1282294 h 6863208"/>
              <a:gd name="connsiteX221" fmla="*/ 260878 w 8090452"/>
              <a:gd name="connsiteY221" fmla="*/ 1278218 h 6863208"/>
              <a:gd name="connsiteX222" fmla="*/ 591235 w 8090452"/>
              <a:gd name="connsiteY222" fmla="*/ 1271254 h 6863208"/>
              <a:gd name="connsiteX223" fmla="*/ 583931 w 8090452"/>
              <a:gd name="connsiteY223" fmla="*/ 1278218 h 6863208"/>
              <a:gd name="connsiteX224" fmla="*/ 601596 w 8090452"/>
              <a:gd name="connsiteY224" fmla="*/ 1271423 h 6863208"/>
              <a:gd name="connsiteX225" fmla="*/ 591235 w 8090452"/>
              <a:gd name="connsiteY225" fmla="*/ 1271254 h 6863208"/>
              <a:gd name="connsiteX226" fmla="*/ 452128 w 8090452"/>
              <a:gd name="connsiteY226" fmla="*/ 1257836 h 6863208"/>
              <a:gd name="connsiteX227" fmla="*/ 460282 w 8090452"/>
              <a:gd name="connsiteY227" fmla="*/ 1276859 h 6863208"/>
              <a:gd name="connsiteX228" fmla="*/ 465717 w 8090452"/>
              <a:gd name="connsiteY228" fmla="*/ 1274141 h 6863208"/>
              <a:gd name="connsiteX229" fmla="*/ 452128 w 8090452"/>
              <a:gd name="connsiteY229" fmla="*/ 1257836 h 6863208"/>
              <a:gd name="connsiteX230" fmla="*/ 287715 w 8090452"/>
              <a:gd name="connsiteY230" fmla="*/ 1253761 h 6863208"/>
              <a:gd name="connsiteX231" fmla="*/ 290433 w 8090452"/>
              <a:gd name="connsiteY231" fmla="*/ 1261913 h 6863208"/>
              <a:gd name="connsiteX232" fmla="*/ 295868 w 8090452"/>
              <a:gd name="connsiteY232" fmla="*/ 1259195 h 6863208"/>
              <a:gd name="connsiteX233" fmla="*/ 287715 w 8090452"/>
              <a:gd name="connsiteY233" fmla="*/ 1253761 h 6863208"/>
              <a:gd name="connsiteX234" fmla="*/ 485080 w 8090452"/>
              <a:gd name="connsiteY234" fmla="*/ 1253420 h 6863208"/>
              <a:gd name="connsiteX235" fmla="*/ 472511 w 8090452"/>
              <a:gd name="connsiteY235" fmla="*/ 1261913 h 6863208"/>
              <a:gd name="connsiteX236" fmla="*/ 491534 w 8090452"/>
              <a:gd name="connsiteY236" fmla="*/ 1267348 h 6863208"/>
              <a:gd name="connsiteX237" fmla="*/ 485080 w 8090452"/>
              <a:gd name="connsiteY237" fmla="*/ 1253420 h 6863208"/>
              <a:gd name="connsiteX238" fmla="*/ 363807 w 8090452"/>
              <a:gd name="connsiteY238" fmla="*/ 1251041 h 6863208"/>
              <a:gd name="connsiteX239" fmla="*/ 359730 w 8090452"/>
              <a:gd name="connsiteY239" fmla="*/ 1255117 h 6863208"/>
              <a:gd name="connsiteX240" fmla="*/ 358371 w 8090452"/>
              <a:gd name="connsiteY240" fmla="*/ 1259193 h 6863208"/>
              <a:gd name="connsiteX241" fmla="*/ 359731 w 8090452"/>
              <a:gd name="connsiteY241" fmla="*/ 1268706 h 6863208"/>
              <a:gd name="connsiteX242" fmla="*/ 352937 w 8090452"/>
              <a:gd name="connsiteY242" fmla="*/ 1264629 h 6863208"/>
              <a:gd name="connsiteX243" fmla="*/ 365166 w 8090452"/>
              <a:gd name="connsiteY243" fmla="*/ 1282294 h 6863208"/>
              <a:gd name="connsiteX244" fmla="*/ 363808 w 8090452"/>
              <a:gd name="connsiteY244" fmla="*/ 1267348 h 6863208"/>
              <a:gd name="connsiteX245" fmla="*/ 369242 w 8090452"/>
              <a:gd name="connsiteY245" fmla="*/ 1270064 h 6863208"/>
              <a:gd name="connsiteX246" fmla="*/ 373319 w 8090452"/>
              <a:gd name="connsiteY246" fmla="*/ 1285012 h 6863208"/>
              <a:gd name="connsiteX247" fmla="*/ 374677 w 8090452"/>
              <a:gd name="connsiteY247" fmla="*/ 1272782 h 6863208"/>
              <a:gd name="connsiteX248" fmla="*/ 380113 w 8090452"/>
              <a:gd name="connsiteY248" fmla="*/ 1275500 h 6863208"/>
              <a:gd name="connsiteX249" fmla="*/ 363807 w 8090452"/>
              <a:gd name="connsiteY249" fmla="*/ 1251041 h 6863208"/>
              <a:gd name="connsiteX250" fmla="*/ 242875 w 8090452"/>
              <a:gd name="connsiteY250" fmla="*/ 1250363 h 6863208"/>
              <a:gd name="connsiteX251" fmla="*/ 238799 w 8090452"/>
              <a:gd name="connsiteY251" fmla="*/ 1251041 h 6863208"/>
              <a:gd name="connsiteX252" fmla="*/ 246952 w 8090452"/>
              <a:gd name="connsiteY252" fmla="*/ 1253759 h 6863208"/>
              <a:gd name="connsiteX253" fmla="*/ 242875 w 8090452"/>
              <a:gd name="connsiteY253" fmla="*/ 1250363 h 6863208"/>
              <a:gd name="connsiteX254" fmla="*/ 253406 w 8090452"/>
              <a:gd name="connsiteY254" fmla="*/ 1222974 h 6863208"/>
              <a:gd name="connsiteX255" fmla="*/ 256463 w 8090452"/>
              <a:gd name="connsiteY255" fmla="*/ 1227942 h 6863208"/>
              <a:gd name="connsiteX256" fmla="*/ 253406 w 8090452"/>
              <a:gd name="connsiteY256" fmla="*/ 1222974 h 6863208"/>
              <a:gd name="connsiteX257" fmla="*/ 1509273 w 8090452"/>
              <a:gd name="connsiteY257" fmla="*/ 1214354 h 6863208"/>
              <a:gd name="connsiteX258" fmla="*/ 1506555 w 8090452"/>
              <a:gd name="connsiteY258" fmla="*/ 1217072 h 6863208"/>
              <a:gd name="connsiteX259" fmla="*/ 1506555 w 8090452"/>
              <a:gd name="connsiteY259" fmla="*/ 1219790 h 6863208"/>
              <a:gd name="connsiteX260" fmla="*/ 1513349 w 8090452"/>
              <a:gd name="connsiteY260" fmla="*/ 1218431 h 6863208"/>
              <a:gd name="connsiteX261" fmla="*/ 1509273 w 8090452"/>
              <a:gd name="connsiteY261" fmla="*/ 1214354 h 6863208"/>
              <a:gd name="connsiteX262" fmla="*/ 74384 w 8090452"/>
              <a:gd name="connsiteY262" fmla="*/ 1203485 h 6863208"/>
              <a:gd name="connsiteX263" fmla="*/ 124659 w 8090452"/>
              <a:gd name="connsiteY263" fmla="*/ 1327136 h 6863208"/>
              <a:gd name="connsiteX264" fmla="*/ 120583 w 8090452"/>
              <a:gd name="connsiteY264" fmla="*/ 1374693 h 6863208"/>
              <a:gd name="connsiteX265" fmla="*/ 63513 w 8090452"/>
              <a:gd name="connsiteY265" fmla="*/ 1282295 h 6863208"/>
              <a:gd name="connsiteX266" fmla="*/ 68948 w 8090452"/>
              <a:gd name="connsiteY266" fmla="*/ 1222509 h 6863208"/>
              <a:gd name="connsiteX267" fmla="*/ 74384 w 8090452"/>
              <a:gd name="connsiteY267" fmla="*/ 1203485 h 6863208"/>
              <a:gd name="connsiteX268" fmla="*/ 1286429 w 8090452"/>
              <a:gd name="connsiteY268" fmla="*/ 1198048 h 6863208"/>
              <a:gd name="connsiteX269" fmla="*/ 1304094 w 8090452"/>
              <a:gd name="connsiteY269" fmla="*/ 1234737 h 6863208"/>
              <a:gd name="connsiteX270" fmla="*/ 1309529 w 8090452"/>
              <a:gd name="connsiteY270" fmla="*/ 1226584 h 6863208"/>
              <a:gd name="connsiteX271" fmla="*/ 1286429 w 8090452"/>
              <a:gd name="connsiteY271" fmla="*/ 1198048 h 6863208"/>
              <a:gd name="connsiteX272" fmla="*/ 1487531 w 8090452"/>
              <a:gd name="connsiteY272" fmla="*/ 1192613 h 6863208"/>
              <a:gd name="connsiteX273" fmla="*/ 1483454 w 8090452"/>
              <a:gd name="connsiteY273" fmla="*/ 1196690 h 6863208"/>
              <a:gd name="connsiteX274" fmla="*/ 1497042 w 8090452"/>
              <a:gd name="connsiteY274" fmla="*/ 1202125 h 6863208"/>
              <a:gd name="connsiteX275" fmla="*/ 1488890 w 8090452"/>
              <a:gd name="connsiteY275" fmla="*/ 1196691 h 6863208"/>
              <a:gd name="connsiteX276" fmla="*/ 1487531 w 8090452"/>
              <a:gd name="connsiteY276" fmla="*/ 1192613 h 6863208"/>
              <a:gd name="connsiteX277" fmla="*/ 82536 w 8090452"/>
              <a:gd name="connsiteY277" fmla="*/ 1181744 h 6863208"/>
              <a:gd name="connsiteX278" fmla="*/ 96788 w 8090452"/>
              <a:gd name="connsiteY278" fmla="*/ 1201529 h 6863208"/>
              <a:gd name="connsiteX279" fmla="*/ 101475 w 8090452"/>
              <a:gd name="connsiteY279" fmla="*/ 1209216 h 6863208"/>
              <a:gd name="connsiteX280" fmla="*/ 112430 w 8090452"/>
              <a:gd name="connsiteY280" fmla="*/ 1233378 h 6863208"/>
              <a:gd name="connsiteX281" fmla="*/ 124659 w 8090452"/>
              <a:gd name="connsiteY281" fmla="*/ 1313548 h 6863208"/>
              <a:gd name="connsiteX282" fmla="*/ 124659 w 8090452"/>
              <a:gd name="connsiteY282" fmla="*/ 1318983 h 6863208"/>
              <a:gd name="connsiteX283" fmla="*/ 77100 w 8090452"/>
              <a:gd name="connsiteY283" fmla="*/ 1195332 h 6863208"/>
              <a:gd name="connsiteX284" fmla="*/ 82536 w 8090452"/>
              <a:gd name="connsiteY284" fmla="*/ 1181744 h 6863208"/>
              <a:gd name="connsiteX285" fmla="*/ 256462 w 8090452"/>
              <a:gd name="connsiteY285" fmla="*/ 1181742 h 6863208"/>
              <a:gd name="connsiteX286" fmla="*/ 272768 w 8090452"/>
              <a:gd name="connsiteY286" fmla="*/ 1195332 h 6863208"/>
              <a:gd name="connsiteX287" fmla="*/ 256462 w 8090452"/>
              <a:gd name="connsiteY287" fmla="*/ 1181742 h 6863208"/>
              <a:gd name="connsiteX288" fmla="*/ 1285070 w 8090452"/>
              <a:gd name="connsiteY288" fmla="*/ 1177667 h 6863208"/>
              <a:gd name="connsiteX289" fmla="*/ 1293223 w 8090452"/>
              <a:gd name="connsiteY289" fmla="*/ 1193973 h 6863208"/>
              <a:gd name="connsiteX290" fmla="*/ 1285070 w 8090452"/>
              <a:gd name="connsiteY290" fmla="*/ 1177667 h 6863208"/>
              <a:gd name="connsiteX291" fmla="*/ 66230 w 8090452"/>
              <a:gd name="connsiteY291" fmla="*/ 1162721 h 6863208"/>
              <a:gd name="connsiteX292" fmla="*/ 73024 w 8090452"/>
              <a:gd name="connsiteY292" fmla="*/ 1169515 h 6863208"/>
              <a:gd name="connsiteX293" fmla="*/ 70307 w 8090452"/>
              <a:gd name="connsiteY293" fmla="*/ 1174951 h 6863208"/>
              <a:gd name="connsiteX294" fmla="*/ 66230 w 8090452"/>
              <a:gd name="connsiteY294" fmla="*/ 1162721 h 6863208"/>
              <a:gd name="connsiteX295" fmla="*/ 1278277 w 8090452"/>
              <a:gd name="connsiteY295" fmla="*/ 1160002 h 6863208"/>
              <a:gd name="connsiteX296" fmla="*/ 1285072 w 8090452"/>
              <a:gd name="connsiteY296" fmla="*/ 1172232 h 6863208"/>
              <a:gd name="connsiteX297" fmla="*/ 1278277 w 8090452"/>
              <a:gd name="connsiteY297" fmla="*/ 1160002 h 6863208"/>
              <a:gd name="connsiteX298" fmla="*/ 1276918 w 8090452"/>
              <a:gd name="connsiteY298" fmla="*/ 1139621 h 6863208"/>
              <a:gd name="connsiteX299" fmla="*/ 1276919 w 8090452"/>
              <a:gd name="connsiteY299" fmla="*/ 1150491 h 6863208"/>
              <a:gd name="connsiteX300" fmla="*/ 1280995 w 8090452"/>
              <a:gd name="connsiteY300" fmla="*/ 1146415 h 6863208"/>
              <a:gd name="connsiteX301" fmla="*/ 1276918 w 8090452"/>
              <a:gd name="connsiteY301" fmla="*/ 1139621 h 6863208"/>
              <a:gd name="connsiteX302" fmla="*/ 1051358 w 8090452"/>
              <a:gd name="connsiteY302" fmla="*/ 1128751 h 6863208"/>
              <a:gd name="connsiteX303" fmla="*/ 1150550 w 8090452"/>
              <a:gd name="connsiteY303" fmla="*/ 1179026 h 6863208"/>
              <a:gd name="connsiteX304" fmla="*/ 1194445 w 8090452"/>
              <a:gd name="connsiteY304" fmla="*/ 1207165 h 6863208"/>
              <a:gd name="connsiteX305" fmla="*/ 1144945 w 8090452"/>
              <a:gd name="connsiteY305" fmla="*/ 1185990 h 6863208"/>
              <a:gd name="connsiteX306" fmla="*/ 1083969 w 8090452"/>
              <a:gd name="connsiteY306" fmla="*/ 1153209 h 6863208"/>
              <a:gd name="connsiteX307" fmla="*/ 1089688 w 8090452"/>
              <a:gd name="connsiteY307" fmla="*/ 1157517 h 6863208"/>
              <a:gd name="connsiteX308" fmla="*/ 1078775 w 8090452"/>
              <a:gd name="connsiteY308" fmla="*/ 1151108 h 6863208"/>
              <a:gd name="connsiteX309" fmla="*/ 1063252 w 8090452"/>
              <a:gd name="connsiteY309" fmla="*/ 1139159 h 6863208"/>
              <a:gd name="connsiteX310" fmla="*/ 169500 w 8090452"/>
              <a:gd name="connsiteY310" fmla="*/ 1119239 h 6863208"/>
              <a:gd name="connsiteX311" fmla="*/ 203470 w 8090452"/>
              <a:gd name="connsiteY311" fmla="*/ 1196691 h 6863208"/>
              <a:gd name="connsiteX312" fmla="*/ 207545 w 8090452"/>
              <a:gd name="connsiteY312" fmla="*/ 1314906 h 6863208"/>
              <a:gd name="connsiteX313" fmla="*/ 204828 w 8090452"/>
              <a:gd name="connsiteY313" fmla="*/ 1339364 h 6863208"/>
              <a:gd name="connsiteX314" fmla="*/ 187163 w 8090452"/>
              <a:gd name="connsiteY314" fmla="*/ 1223867 h 6863208"/>
              <a:gd name="connsiteX315" fmla="*/ 138248 w 8090452"/>
              <a:gd name="connsiteY315" fmla="*/ 1123316 h 6863208"/>
              <a:gd name="connsiteX316" fmla="*/ 150476 w 8090452"/>
              <a:gd name="connsiteY316" fmla="*/ 1130109 h 6863208"/>
              <a:gd name="connsiteX317" fmla="*/ 169500 w 8090452"/>
              <a:gd name="connsiteY317" fmla="*/ 1119239 h 6863208"/>
              <a:gd name="connsiteX318" fmla="*/ 111071 w 8090452"/>
              <a:gd name="connsiteY318" fmla="*/ 1117880 h 6863208"/>
              <a:gd name="connsiteX319" fmla="*/ 128736 w 8090452"/>
              <a:gd name="connsiteY319" fmla="*/ 1121957 h 6863208"/>
              <a:gd name="connsiteX320" fmla="*/ 180369 w 8090452"/>
              <a:gd name="connsiteY320" fmla="*/ 1225226 h 6863208"/>
              <a:gd name="connsiteX321" fmla="*/ 199393 w 8090452"/>
              <a:gd name="connsiteY321" fmla="*/ 1363822 h 6863208"/>
              <a:gd name="connsiteX322" fmla="*/ 203469 w 8090452"/>
              <a:gd name="connsiteY322" fmla="*/ 1367899 h 6863208"/>
              <a:gd name="connsiteX323" fmla="*/ 202111 w 8090452"/>
              <a:gd name="connsiteY323" fmla="*/ 1431763 h 6863208"/>
              <a:gd name="connsiteX324" fmla="*/ 210263 w 8090452"/>
              <a:gd name="connsiteY324" fmla="*/ 1513290 h 6863208"/>
              <a:gd name="connsiteX325" fmla="*/ 185805 w 8090452"/>
              <a:gd name="connsiteY325" fmla="*/ 1475244 h 6863208"/>
              <a:gd name="connsiteX326" fmla="*/ 130094 w 8090452"/>
              <a:gd name="connsiteY326" fmla="*/ 1329854 h 6863208"/>
              <a:gd name="connsiteX327" fmla="*/ 130094 w 8090452"/>
              <a:gd name="connsiteY327" fmla="*/ 1316265 h 6863208"/>
              <a:gd name="connsiteX328" fmla="*/ 130094 w 8090452"/>
              <a:gd name="connsiteY328" fmla="*/ 1313548 h 6863208"/>
              <a:gd name="connsiteX329" fmla="*/ 147758 w 8090452"/>
              <a:gd name="connsiteY329" fmla="*/ 1309471 h 6863208"/>
              <a:gd name="connsiteX330" fmla="*/ 130094 w 8090452"/>
              <a:gd name="connsiteY330" fmla="*/ 1310830 h 6863208"/>
              <a:gd name="connsiteX331" fmla="*/ 117865 w 8090452"/>
              <a:gd name="connsiteY331" fmla="*/ 1236096 h 6863208"/>
              <a:gd name="connsiteX332" fmla="*/ 101475 w 8090452"/>
              <a:gd name="connsiteY332" fmla="*/ 1209216 h 6863208"/>
              <a:gd name="connsiteX333" fmla="*/ 100031 w 8090452"/>
              <a:gd name="connsiteY333" fmla="*/ 1206033 h 6863208"/>
              <a:gd name="connsiteX334" fmla="*/ 96788 w 8090452"/>
              <a:gd name="connsiteY334" fmla="*/ 1201529 h 6863208"/>
              <a:gd name="connsiteX335" fmla="*/ 83894 w 8090452"/>
              <a:gd name="connsiteY335" fmla="*/ 1180385 h 6863208"/>
              <a:gd name="connsiteX336" fmla="*/ 98841 w 8090452"/>
              <a:gd name="connsiteY336" fmla="*/ 1151851 h 6863208"/>
              <a:gd name="connsiteX337" fmla="*/ 104277 w 8090452"/>
              <a:gd name="connsiteY337" fmla="*/ 1149133 h 6863208"/>
              <a:gd name="connsiteX338" fmla="*/ 100201 w 8090452"/>
              <a:gd name="connsiteY338" fmla="*/ 1147774 h 6863208"/>
              <a:gd name="connsiteX339" fmla="*/ 111071 w 8090452"/>
              <a:gd name="connsiteY339" fmla="*/ 1120598 h 6863208"/>
              <a:gd name="connsiteX340" fmla="*/ 111071 w 8090452"/>
              <a:gd name="connsiteY340" fmla="*/ 1117880 h 6863208"/>
              <a:gd name="connsiteX341" fmla="*/ 0 w 8090452"/>
              <a:gd name="connsiteY341" fmla="*/ 1111745 h 6863208"/>
              <a:gd name="connsiteX342" fmla="*/ 54001 w 8090452"/>
              <a:gd name="connsiteY342" fmla="*/ 1155927 h 6863208"/>
              <a:gd name="connsiteX343" fmla="*/ 66231 w 8090452"/>
              <a:gd name="connsiteY343" fmla="*/ 1187179 h 6863208"/>
              <a:gd name="connsiteX344" fmla="*/ 58078 w 8090452"/>
              <a:gd name="connsiteY344" fmla="*/ 1214355 h 6863208"/>
              <a:gd name="connsiteX345" fmla="*/ 54001 w 8090452"/>
              <a:gd name="connsiteY345" fmla="*/ 1264631 h 6863208"/>
              <a:gd name="connsiteX346" fmla="*/ 7803 w 8090452"/>
              <a:gd name="connsiteY346" fmla="*/ 1166798 h 6863208"/>
              <a:gd name="connsiteX347" fmla="*/ 0 w 8090452"/>
              <a:gd name="connsiteY347" fmla="*/ 1136890 h 6863208"/>
              <a:gd name="connsiteX348" fmla="*/ 215295 w 8090452"/>
              <a:gd name="connsiteY348" fmla="*/ 1109960 h 6863208"/>
              <a:gd name="connsiteX349" fmla="*/ 214340 w 8090452"/>
              <a:gd name="connsiteY349" fmla="*/ 1112444 h 6863208"/>
              <a:gd name="connsiteX350" fmla="*/ 215295 w 8090452"/>
              <a:gd name="connsiteY350" fmla="*/ 1109960 h 6863208"/>
              <a:gd name="connsiteX351" fmla="*/ 169499 w 8090452"/>
              <a:gd name="connsiteY351" fmla="*/ 1089345 h 6863208"/>
              <a:gd name="connsiteX352" fmla="*/ 180369 w 8090452"/>
              <a:gd name="connsiteY352" fmla="*/ 1094780 h 6863208"/>
              <a:gd name="connsiteX353" fmla="*/ 169499 w 8090452"/>
              <a:gd name="connsiteY353" fmla="*/ 1089345 h 6863208"/>
              <a:gd name="connsiteX354" fmla="*/ 1361166 w 8090452"/>
              <a:gd name="connsiteY354" fmla="*/ 1085272 h 6863208"/>
              <a:gd name="connsiteX355" fmla="*/ 1367175 w 8090452"/>
              <a:gd name="connsiteY355" fmla="*/ 1091281 h 6863208"/>
              <a:gd name="connsiteX356" fmla="*/ 1367059 w 8090452"/>
              <a:gd name="connsiteY356" fmla="*/ 1091270 h 6863208"/>
              <a:gd name="connsiteX357" fmla="*/ 0 w 8090452"/>
              <a:gd name="connsiteY357" fmla="*/ 1074888 h 6863208"/>
              <a:gd name="connsiteX358" fmla="*/ 26826 w 8090452"/>
              <a:gd name="connsiteY358" fmla="*/ 1082552 h 6863208"/>
              <a:gd name="connsiteX359" fmla="*/ 29543 w 8090452"/>
              <a:gd name="connsiteY359" fmla="*/ 1077117 h 6863208"/>
              <a:gd name="connsiteX360" fmla="*/ 37696 w 8090452"/>
              <a:gd name="connsiteY360" fmla="*/ 1101575 h 6863208"/>
              <a:gd name="connsiteX361" fmla="*/ 52642 w 8090452"/>
              <a:gd name="connsiteY361" fmla="*/ 1140981 h 6863208"/>
              <a:gd name="connsiteX362" fmla="*/ 0 w 8090452"/>
              <a:gd name="connsiteY362" fmla="*/ 1098866 h 6863208"/>
              <a:gd name="connsiteX363" fmla="*/ 742912 w 8090452"/>
              <a:gd name="connsiteY363" fmla="*/ 1073040 h 6863208"/>
              <a:gd name="connsiteX364" fmla="*/ 746989 w 8090452"/>
              <a:gd name="connsiteY364" fmla="*/ 1077116 h 6863208"/>
              <a:gd name="connsiteX365" fmla="*/ 742912 w 8090452"/>
              <a:gd name="connsiteY365" fmla="*/ 1073040 h 6863208"/>
              <a:gd name="connsiteX366" fmla="*/ 752424 w 8090452"/>
              <a:gd name="connsiteY366" fmla="*/ 1071681 h 6863208"/>
              <a:gd name="connsiteX367" fmla="*/ 751065 w 8090452"/>
              <a:gd name="connsiteY367" fmla="*/ 1081193 h 6863208"/>
              <a:gd name="connsiteX368" fmla="*/ 752424 w 8090452"/>
              <a:gd name="connsiteY368" fmla="*/ 1071681 h 6863208"/>
              <a:gd name="connsiteX369" fmla="*/ 134170 w 8090452"/>
              <a:gd name="connsiteY369" fmla="*/ 1067604 h 6863208"/>
              <a:gd name="connsiteX370" fmla="*/ 140964 w 8090452"/>
              <a:gd name="connsiteY370" fmla="*/ 1074398 h 6863208"/>
              <a:gd name="connsiteX371" fmla="*/ 134170 w 8090452"/>
              <a:gd name="connsiteY371" fmla="*/ 1067604 h 6863208"/>
              <a:gd name="connsiteX372" fmla="*/ 108354 w 8090452"/>
              <a:gd name="connsiteY372" fmla="*/ 1063528 h 6863208"/>
              <a:gd name="connsiteX373" fmla="*/ 108354 w 8090452"/>
              <a:gd name="connsiteY373" fmla="*/ 1066246 h 6863208"/>
              <a:gd name="connsiteX374" fmla="*/ 105636 w 8090452"/>
              <a:gd name="connsiteY374" fmla="*/ 1066246 h 6863208"/>
              <a:gd name="connsiteX375" fmla="*/ 108354 w 8090452"/>
              <a:gd name="connsiteY375" fmla="*/ 1063528 h 6863208"/>
              <a:gd name="connsiteX376" fmla="*/ 1320399 w 8090452"/>
              <a:gd name="connsiteY376" fmla="*/ 1052658 h 6863208"/>
              <a:gd name="connsiteX377" fmla="*/ 1340782 w 8090452"/>
              <a:gd name="connsiteY377" fmla="*/ 1062169 h 6863208"/>
              <a:gd name="connsiteX378" fmla="*/ 1350293 w 8090452"/>
              <a:gd name="connsiteY378" fmla="*/ 1068964 h 6863208"/>
              <a:gd name="connsiteX379" fmla="*/ 1350293 w 8090452"/>
              <a:gd name="connsiteY379" fmla="*/ 1066246 h 6863208"/>
              <a:gd name="connsiteX380" fmla="*/ 1407363 w 8090452"/>
              <a:gd name="connsiteY380" fmla="*/ 1085269 h 6863208"/>
              <a:gd name="connsiteX381" fmla="*/ 1426735 w 8090452"/>
              <a:gd name="connsiteY381" fmla="*/ 1090734 h 6863208"/>
              <a:gd name="connsiteX382" fmla="*/ 1361163 w 8090452"/>
              <a:gd name="connsiteY382" fmla="*/ 1085269 h 6863208"/>
              <a:gd name="connsiteX383" fmla="*/ 1361166 w 8090452"/>
              <a:gd name="connsiteY383" fmla="*/ 1085272 h 6863208"/>
              <a:gd name="connsiteX384" fmla="*/ 1359805 w 8090452"/>
              <a:gd name="connsiteY384" fmla="*/ 1083911 h 6863208"/>
              <a:gd name="connsiteX385" fmla="*/ 1351736 w 8090452"/>
              <a:gd name="connsiteY385" fmla="*/ 1081906 h 6863208"/>
              <a:gd name="connsiteX386" fmla="*/ 124659 w 8090452"/>
              <a:gd name="connsiteY386" fmla="*/ 1039070 h 6863208"/>
              <a:gd name="connsiteX387" fmla="*/ 140965 w 8090452"/>
              <a:gd name="connsiteY387" fmla="*/ 1066246 h 6863208"/>
              <a:gd name="connsiteX388" fmla="*/ 161347 w 8090452"/>
              <a:gd name="connsiteY388" fmla="*/ 1100216 h 6863208"/>
              <a:gd name="connsiteX389" fmla="*/ 155912 w 8090452"/>
              <a:gd name="connsiteY389" fmla="*/ 1100215 h 6863208"/>
              <a:gd name="connsiteX390" fmla="*/ 123301 w 8090452"/>
              <a:gd name="connsiteY390" fmla="*/ 1067604 h 6863208"/>
              <a:gd name="connsiteX391" fmla="*/ 121942 w 8090452"/>
              <a:gd name="connsiteY391" fmla="*/ 1068963 h 6863208"/>
              <a:gd name="connsiteX392" fmla="*/ 123301 w 8090452"/>
              <a:gd name="connsiteY392" fmla="*/ 1051300 h 6863208"/>
              <a:gd name="connsiteX393" fmla="*/ 123300 w 8090452"/>
              <a:gd name="connsiteY393" fmla="*/ 1045864 h 6863208"/>
              <a:gd name="connsiteX394" fmla="*/ 126018 w 8090452"/>
              <a:gd name="connsiteY394" fmla="*/ 1045864 h 6863208"/>
              <a:gd name="connsiteX395" fmla="*/ 123301 w 8090452"/>
              <a:gd name="connsiteY395" fmla="*/ 1043147 h 6863208"/>
              <a:gd name="connsiteX396" fmla="*/ 123301 w 8090452"/>
              <a:gd name="connsiteY396" fmla="*/ 1040429 h 6863208"/>
              <a:gd name="connsiteX397" fmla="*/ 124659 w 8090452"/>
              <a:gd name="connsiteY397" fmla="*/ 1039070 h 6863208"/>
              <a:gd name="connsiteX398" fmla="*/ 948089 w 8090452"/>
              <a:gd name="connsiteY398" fmla="*/ 1030917 h 6863208"/>
              <a:gd name="connsiteX399" fmla="*/ 1016030 w 8090452"/>
              <a:gd name="connsiteY399" fmla="*/ 1101574 h 6863208"/>
              <a:gd name="connsiteX400" fmla="*/ 1011953 w 8090452"/>
              <a:gd name="connsiteY400" fmla="*/ 1100216 h 6863208"/>
              <a:gd name="connsiteX401" fmla="*/ 948089 w 8090452"/>
              <a:gd name="connsiteY401" fmla="*/ 1030917 h 6863208"/>
              <a:gd name="connsiteX402" fmla="*/ 73026 w 8090452"/>
              <a:gd name="connsiteY402" fmla="*/ 1020047 h 6863208"/>
              <a:gd name="connsiteX403" fmla="*/ 73026 w 8090452"/>
              <a:gd name="connsiteY403" fmla="*/ 1020047 h 6863208"/>
              <a:gd name="connsiteX404" fmla="*/ 36823 w 8090452"/>
              <a:gd name="connsiteY404" fmla="*/ 1016456 h 6863208"/>
              <a:gd name="connsiteX405" fmla="*/ 79819 w 8090452"/>
              <a:gd name="connsiteY405" fmla="*/ 1059452 h 6863208"/>
              <a:gd name="connsiteX406" fmla="*/ 80338 w 8090452"/>
              <a:gd name="connsiteY406" fmla="*/ 1059193 h 6863208"/>
              <a:gd name="connsiteX407" fmla="*/ 78970 w 8090452"/>
              <a:gd name="connsiteY407" fmla="*/ 1065397 h 6863208"/>
              <a:gd name="connsiteX408" fmla="*/ 75743 w 8090452"/>
              <a:gd name="connsiteY408" fmla="*/ 1074399 h 6863208"/>
              <a:gd name="connsiteX409" fmla="*/ 56720 w 8090452"/>
              <a:gd name="connsiteY409" fmla="*/ 1063528 h 6863208"/>
              <a:gd name="connsiteX410" fmla="*/ 67590 w 8090452"/>
              <a:gd name="connsiteY410" fmla="*/ 1074399 h 6863208"/>
              <a:gd name="connsiteX411" fmla="*/ 62155 w 8090452"/>
              <a:gd name="connsiteY411" fmla="*/ 1082552 h 6863208"/>
              <a:gd name="connsiteX412" fmla="*/ 101559 w 8090452"/>
              <a:gd name="connsiteY412" fmla="*/ 1111086 h 6863208"/>
              <a:gd name="connsiteX413" fmla="*/ 77100 w 8090452"/>
              <a:gd name="connsiteY413" fmla="*/ 1165439 h 6863208"/>
              <a:gd name="connsiteX414" fmla="*/ 66230 w 8090452"/>
              <a:gd name="connsiteY414" fmla="*/ 1154568 h 6863208"/>
              <a:gd name="connsiteX415" fmla="*/ 64872 w 8090452"/>
              <a:gd name="connsiteY415" fmla="*/ 1153210 h 6863208"/>
              <a:gd name="connsiteX416" fmla="*/ 48567 w 8090452"/>
              <a:gd name="connsiteY416" fmla="*/ 1104293 h 6863208"/>
              <a:gd name="connsiteX417" fmla="*/ 33619 w 8090452"/>
              <a:gd name="connsiteY417" fmla="*/ 1064888 h 6863208"/>
              <a:gd name="connsiteX418" fmla="*/ 28185 w 8090452"/>
              <a:gd name="connsiteY418" fmla="*/ 1043147 h 6863208"/>
              <a:gd name="connsiteX419" fmla="*/ 28185 w 8090452"/>
              <a:gd name="connsiteY419" fmla="*/ 1040429 h 6863208"/>
              <a:gd name="connsiteX420" fmla="*/ 32262 w 8090452"/>
              <a:gd name="connsiteY420" fmla="*/ 1036352 h 6863208"/>
              <a:gd name="connsiteX421" fmla="*/ 29544 w 8090452"/>
              <a:gd name="connsiteY421" fmla="*/ 1028200 h 6863208"/>
              <a:gd name="connsiteX422" fmla="*/ 37696 w 8090452"/>
              <a:gd name="connsiteY422" fmla="*/ 1025482 h 6863208"/>
              <a:gd name="connsiteX423" fmla="*/ 34639 w 8090452"/>
              <a:gd name="connsiteY423" fmla="*/ 1021067 h 6863208"/>
              <a:gd name="connsiteX424" fmla="*/ 56889 w 8090452"/>
              <a:gd name="connsiteY424" fmla="*/ 992021 h 6863208"/>
              <a:gd name="connsiteX425" fmla="*/ 48566 w 8090452"/>
              <a:gd name="connsiteY425" fmla="*/ 992871 h 6863208"/>
              <a:gd name="connsiteX426" fmla="*/ 62154 w 8090452"/>
              <a:gd name="connsiteY426" fmla="*/ 998306 h 6863208"/>
              <a:gd name="connsiteX427" fmla="*/ 56889 w 8090452"/>
              <a:gd name="connsiteY427" fmla="*/ 992021 h 6863208"/>
              <a:gd name="connsiteX428" fmla="*/ 1191314 w 8090452"/>
              <a:gd name="connsiteY428" fmla="*/ 967054 h 6863208"/>
              <a:gd name="connsiteX429" fmla="*/ 1293224 w 8090452"/>
              <a:gd name="connsiteY429" fmla="*/ 1033635 h 6863208"/>
              <a:gd name="connsiteX430" fmla="*/ 1256536 w 8090452"/>
              <a:gd name="connsiteY430" fmla="*/ 1013252 h 6863208"/>
              <a:gd name="connsiteX431" fmla="*/ 1191314 w 8090452"/>
              <a:gd name="connsiteY431" fmla="*/ 967054 h 6863208"/>
              <a:gd name="connsiteX432" fmla="*/ 15276 w 8090452"/>
              <a:gd name="connsiteY432" fmla="*/ 942595 h 6863208"/>
              <a:gd name="connsiteX433" fmla="*/ 13238 w 8090452"/>
              <a:gd name="connsiteY433" fmla="*/ 946672 h 6863208"/>
              <a:gd name="connsiteX434" fmla="*/ 21391 w 8090452"/>
              <a:gd name="connsiteY434" fmla="*/ 946672 h 6863208"/>
              <a:gd name="connsiteX435" fmla="*/ 15276 w 8090452"/>
              <a:gd name="connsiteY435" fmla="*/ 942595 h 6863208"/>
              <a:gd name="connsiteX436" fmla="*/ 915478 w 8090452"/>
              <a:gd name="connsiteY436" fmla="*/ 941237 h 6863208"/>
              <a:gd name="connsiteX437" fmla="*/ 920914 w 8090452"/>
              <a:gd name="connsiteY437" fmla="*/ 946673 h 6863208"/>
              <a:gd name="connsiteX438" fmla="*/ 1056793 w 8090452"/>
              <a:gd name="connsiteY438" fmla="*/ 1033635 h 6863208"/>
              <a:gd name="connsiteX439" fmla="*/ 1120657 w 8090452"/>
              <a:gd name="connsiteY439" fmla="*/ 1100216 h 6863208"/>
              <a:gd name="connsiteX440" fmla="*/ 1180444 w 8090452"/>
              <a:gd name="connsiteY440" fmla="*/ 1179026 h 6863208"/>
              <a:gd name="connsiteX441" fmla="*/ 1228001 w 8090452"/>
              <a:gd name="connsiteY441" fmla="*/ 1223866 h 6863208"/>
              <a:gd name="connsiteX442" fmla="*/ 1223925 w 8090452"/>
              <a:gd name="connsiteY442" fmla="*/ 1222507 h 6863208"/>
              <a:gd name="connsiteX443" fmla="*/ 1150550 w 8090452"/>
              <a:gd name="connsiteY443" fmla="*/ 1170873 h 6863208"/>
              <a:gd name="connsiteX444" fmla="*/ 1030976 w 8090452"/>
              <a:gd name="connsiteY444" fmla="*/ 1108369 h 6863208"/>
              <a:gd name="connsiteX445" fmla="*/ 899173 w 8090452"/>
              <a:gd name="connsiteY445" fmla="*/ 962977 h 6863208"/>
              <a:gd name="connsiteX446" fmla="*/ 886944 w 8090452"/>
              <a:gd name="connsiteY446" fmla="*/ 942595 h 6863208"/>
              <a:gd name="connsiteX447" fmla="*/ 915478 w 8090452"/>
              <a:gd name="connsiteY447" fmla="*/ 941237 h 6863208"/>
              <a:gd name="connsiteX448" fmla="*/ 835309 w 8090452"/>
              <a:gd name="connsiteY448" fmla="*/ 934443 h 6863208"/>
              <a:gd name="connsiteX449" fmla="*/ 871997 w 8090452"/>
              <a:gd name="connsiteY449" fmla="*/ 941237 h 6863208"/>
              <a:gd name="connsiteX450" fmla="*/ 916837 w 8090452"/>
              <a:gd name="connsiteY450" fmla="*/ 996947 h 6863208"/>
              <a:gd name="connsiteX451" fmla="*/ 1003800 w 8090452"/>
              <a:gd name="connsiteY451" fmla="*/ 1097498 h 6863208"/>
              <a:gd name="connsiteX452" fmla="*/ 980701 w 8090452"/>
              <a:gd name="connsiteY452" fmla="*/ 1087986 h 6863208"/>
              <a:gd name="connsiteX453" fmla="*/ 867920 w 8090452"/>
              <a:gd name="connsiteY453" fmla="*/ 1024123 h 6863208"/>
              <a:gd name="connsiteX454" fmla="*/ 835309 w 8090452"/>
              <a:gd name="connsiteY454" fmla="*/ 934443 h 6863208"/>
              <a:gd name="connsiteX455" fmla="*/ 806775 w 8090452"/>
              <a:gd name="connsiteY455" fmla="*/ 927648 h 6863208"/>
              <a:gd name="connsiteX456" fmla="*/ 802698 w 8090452"/>
              <a:gd name="connsiteY456" fmla="*/ 931724 h 6863208"/>
              <a:gd name="connsiteX457" fmla="*/ 813569 w 8090452"/>
              <a:gd name="connsiteY457" fmla="*/ 937160 h 6863208"/>
              <a:gd name="connsiteX458" fmla="*/ 806775 w 8090452"/>
              <a:gd name="connsiteY458" fmla="*/ 927648 h 6863208"/>
              <a:gd name="connsiteX459" fmla="*/ 1037770 w 8090452"/>
              <a:gd name="connsiteY459" fmla="*/ 924932 h 6863208"/>
              <a:gd name="connsiteX460" fmla="*/ 1150550 w 8090452"/>
              <a:gd name="connsiteY460" fmla="*/ 948031 h 6863208"/>
              <a:gd name="connsiteX461" fmla="*/ 1180444 w 8090452"/>
              <a:gd name="connsiteY461" fmla="*/ 969771 h 6863208"/>
              <a:gd name="connsiteX462" fmla="*/ 1256536 w 8090452"/>
              <a:gd name="connsiteY462" fmla="*/ 1021405 h 6863208"/>
              <a:gd name="connsiteX463" fmla="*/ 1313605 w 8090452"/>
              <a:gd name="connsiteY463" fmla="*/ 1051299 h 6863208"/>
              <a:gd name="connsiteX464" fmla="*/ 1347333 w 8090452"/>
              <a:gd name="connsiteY464" fmla="*/ 1080811 h 6863208"/>
              <a:gd name="connsiteX465" fmla="*/ 1301037 w 8090452"/>
              <a:gd name="connsiteY465" fmla="*/ 1069304 h 6863208"/>
              <a:gd name="connsiteX466" fmla="*/ 1240231 w 8090452"/>
              <a:gd name="connsiteY466" fmla="*/ 1048581 h 6863208"/>
              <a:gd name="connsiteX467" fmla="*/ 1128130 w 8090452"/>
              <a:gd name="connsiteY467" fmla="*/ 994230 h 6863208"/>
              <a:gd name="connsiteX468" fmla="*/ 1025813 w 8090452"/>
              <a:gd name="connsiteY468" fmla="*/ 926018 h 6863208"/>
              <a:gd name="connsiteX469" fmla="*/ 1293223 w 8090452"/>
              <a:gd name="connsiteY469" fmla="*/ 922213 h 6863208"/>
              <a:gd name="connsiteX470" fmla="*/ 1287788 w 8090452"/>
              <a:gd name="connsiteY470" fmla="*/ 927649 h 6863208"/>
              <a:gd name="connsiteX471" fmla="*/ 1297300 w 8090452"/>
              <a:gd name="connsiteY471" fmla="*/ 929008 h 6863208"/>
              <a:gd name="connsiteX472" fmla="*/ 1293223 w 8090452"/>
              <a:gd name="connsiteY472" fmla="*/ 922213 h 6863208"/>
              <a:gd name="connsiteX473" fmla="*/ 1286090 w 8090452"/>
              <a:gd name="connsiteY473" fmla="*/ 917118 h 6863208"/>
              <a:gd name="connsiteX474" fmla="*/ 1278277 w 8090452"/>
              <a:gd name="connsiteY474" fmla="*/ 923571 h 6863208"/>
              <a:gd name="connsiteX475" fmla="*/ 1291865 w 8090452"/>
              <a:gd name="connsiteY475" fmla="*/ 920855 h 6863208"/>
              <a:gd name="connsiteX476" fmla="*/ 1286090 w 8090452"/>
              <a:gd name="connsiteY476" fmla="*/ 917118 h 6863208"/>
              <a:gd name="connsiteX477" fmla="*/ 780957 w 8090452"/>
              <a:gd name="connsiteY477" fmla="*/ 912700 h 6863208"/>
              <a:gd name="connsiteX478" fmla="*/ 790470 w 8090452"/>
              <a:gd name="connsiteY478" fmla="*/ 919495 h 6863208"/>
              <a:gd name="connsiteX479" fmla="*/ 780957 w 8090452"/>
              <a:gd name="connsiteY479" fmla="*/ 912700 h 6863208"/>
              <a:gd name="connsiteX480" fmla="*/ 1306810 w 8090452"/>
              <a:gd name="connsiteY480" fmla="*/ 911344 h 6863208"/>
              <a:gd name="connsiteX481" fmla="*/ 1308170 w 8090452"/>
              <a:gd name="connsiteY481" fmla="*/ 931726 h 6863208"/>
              <a:gd name="connsiteX482" fmla="*/ 1331270 w 8090452"/>
              <a:gd name="connsiteY482" fmla="*/ 922214 h 6863208"/>
              <a:gd name="connsiteX483" fmla="*/ 1338064 w 8090452"/>
              <a:gd name="connsiteY483" fmla="*/ 929008 h 6863208"/>
              <a:gd name="connsiteX484" fmla="*/ 1329911 w 8090452"/>
              <a:gd name="connsiteY484" fmla="*/ 915420 h 6863208"/>
              <a:gd name="connsiteX485" fmla="*/ 1317682 w 8090452"/>
              <a:gd name="connsiteY485" fmla="*/ 914061 h 6863208"/>
              <a:gd name="connsiteX486" fmla="*/ 1316322 w 8090452"/>
              <a:gd name="connsiteY486" fmla="*/ 920856 h 6863208"/>
              <a:gd name="connsiteX487" fmla="*/ 1313605 w 8090452"/>
              <a:gd name="connsiteY487" fmla="*/ 912703 h 6863208"/>
              <a:gd name="connsiteX488" fmla="*/ 1306810 w 8090452"/>
              <a:gd name="connsiteY488" fmla="*/ 911344 h 6863208"/>
              <a:gd name="connsiteX489" fmla="*/ 59437 w 8090452"/>
              <a:gd name="connsiteY489" fmla="*/ 908626 h 6863208"/>
              <a:gd name="connsiteX490" fmla="*/ 74384 w 8090452"/>
              <a:gd name="connsiteY490" fmla="*/ 934442 h 6863208"/>
              <a:gd name="connsiteX491" fmla="*/ 85254 w 8090452"/>
              <a:gd name="connsiteY491" fmla="*/ 926290 h 6863208"/>
              <a:gd name="connsiteX492" fmla="*/ 93407 w 8090452"/>
              <a:gd name="connsiteY492" fmla="*/ 942596 h 6863208"/>
              <a:gd name="connsiteX493" fmla="*/ 98842 w 8090452"/>
              <a:gd name="connsiteY493" fmla="*/ 969771 h 6863208"/>
              <a:gd name="connsiteX494" fmla="*/ 102919 w 8090452"/>
              <a:gd name="connsiteY494" fmla="*/ 984718 h 6863208"/>
              <a:gd name="connsiteX495" fmla="*/ 71666 w 8090452"/>
              <a:gd name="connsiteY495" fmla="*/ 931725 h 6863208"/>
              <a:gd name="connsiteX496" fmla="*/ 59437 w 8090452"/>
              <a:gd name="connsiteY496" fmla="*/ 908626 h 6863208"/>
              <a:gd name="connsiteX497" fmla="*/ 1295941 w 8090452"/>
              <a:gd name="connsiteY497" fmla="*/ 908625 h 6863208"/>
              <a:gd name="connsiteX498" fmla="*/ 1289147 w 8090452"/>
              <a:gd name="connsiteY498" fmla="*/ 912702 h 6863208"/>
              <a:gd name="connsiteX499" fmla="*/ 1298659 w 8090452"/>
              <a:gd name="connsiteY499" fmla="*/ 916778 h 6863208"/>
              <a:gd name="connsiteX500" fmla="*/ 1295941 w 8090452"/>
              <a:gd name="connsiteY500" fmla="*/ 908625 h 6863208"/>
              <a:gd name="connsiteX501" fmla="*/ 1319041 w 8090452"/>
              <a:gd name="connsiteY501" fmla="*/ 899115 h 6863208"/>
              <a:gd name="connsiteX502" fmla="*/ 1328552 w 8090452"/>
              <a:gd name="connsiteY502" fmla="*/ 911344 h 6863208"/>
              <a:gd name="connsiteX503" fmla="*/ 1319041 w 8090452"/>
              <a:gd name="connsiteY503" fmla="*/ 899115 h 6863208"/>
              <a:gd name="connsiteX504" fmla="*/ 30902 w 8090452"/>
              <a:gd name="connsiteY504" fmla="*/ 885526 h 6863208"/>
              <a:gd name="connsiteX505" fmla="*/ 33620 w 8090452"/>
              <a:gd name="connsiteY505" fmla="*/ 888244 h 6863208"/>
              <a:gd name="connsiteX506" fmla="*/ 58079 w 8090452"/>
              <a:gd name="connsiteY506" fmla="*/ 939878 h 6863208"/>
              <a:gd name="connsiteX507" fmla="*/ 101560 w 8090452"/>
              <a:gd name="connsiteY507" fmla="*/ 1013253 h 6863208"/>
              <a:gd name="connsiteX508" fmla="*/ 105636 w 8090452"/>
              <a:gd name="connsiteY508" fmla="*/ 1022764 h 6863208"/>
              <a:gd name="connsiteX509" fmla="*/ 106995 w 8090452"/>
              <a:gd name="connsiteY509" fmla="*/ 1032276 h 6863208"/>
              <a:gd name="connsiteX510" fmla="*/ 96125 w 8090452"/>
              <a:gd name="connsiteY510" fmla="*/ 1021406 h 6863208"/>
              <a:gd name="connsiteX511" fmla="*/ 93407 w 8090452"/>
              <a:gd name="connsiteY511" fmla="*/ 1021406 h 6863208"/>
              <a:gd name="connsiteX512" fmla="*/ 90690 w 8090452"/>
              <a:gd name="connsiteY512" fmla="*/ 1021405 h 6863208"/>
              <a:gd name="connsiteX513" fmla="*/ 86614 w 8090452"/>
              <a:gd name="connsiteY513" fmla="*/ 1030917 h 6863208"/>
              <a:gd name="connsiteX514" fmla="*/ 71666 w 8090452"/>
              <a:gd name="connsiteY514" fmla="*/ 1029559 h 6863208"/>
              <a:gd name="connsiteX515" fmla="*/ 101560 w 8090452"/>
              <a:gd name="connsiteY515" fmla="*/ 1051300 h 6863208"/>
              <a:gd name="connsiteX516" fmla="*/ 94766 w 8090452"/>
              <a:gd name="connsiteY516" fmla="*/ 1063528 h 6863208"/>
              <a:gd name="connsiteX517" fmla="*/ 85254 w 8090452"/>
              <a:gd name="connsiteY517" fmla="*/ 1056734 h 6863208"/>
              <a:gd name="connsiteX518" fmla="*/ 80338 w 8090452"/>
              <a:gd name="connsiteY518" fmla="*/ 1059193 h 6863208"/>
              <a:gd name="connsiteX519" fmla="*/ 81179 w 8090452"/>
              <a:gd name="connsiteY519" fmla="*/ 1055375 h 6863208"/>
              <a:gd name="connsiteX520" fmla="*/ 37696 w 8090452"/>
              <a:gd name="connsiteY520" fmla="*/ 1014611 h 6863208"/>
              <a:gd name="connsiteX521" fmla="*/ 36823 w 8090452"/>
              <a:gd name="connsiteY521" fmla="*/ 1016456 h 6863208"/>
              <a:gd name="connsiteX522" fmla="*/ 32262 w 8090452"/>
              <a:gd name="connsiteY522" fmla="*/ 1011895 h 6863208"/>
              <a:gd name="connsiteX523" fmla="*/ 33621 w 8090452"/>
              <a:gd name="connsiteY523" fmla="*/ 1010536 h 6863208"/>
              <a:gd name="connsiteX524" fmla="*/ 33621 w 8090452"/>
              <a:gd name="connsiteY524" fmla="*/ 1002383 h 6863208"/>
              <a:gd name="connsiteX525" fmla="*/ 25468 w 8090452"/>
              <a:gd name="connsiteY525" fmla="*/ 1002383 h 6863208"/>
              <a:gd name="connsiteX526" fmla="*/ 20032 w 8090452"/>
              <a:gd name="connsiteY526" fmla="*/ 991512 h 6863208"/>
              <a:gd name="connsiteX527" fmla="*/ 28185 w 8090452"/>
              <a:gd name="connsiteY527" fmla="*/ 986078 h 6863208"/>
              <a:gd name="connsiteX528" fmla="*/ 20032 w 8090452"/>
              <a:gd name="connsiteY528" fmla="*/ 988794 h 6863208"/>
              <a:gd name="connsiteX529" fmla="*/ 15956 w 8090452"/>
              <a:gd name="connsiteY529" fmla="*/ 979283 h 6863208"/>
              <a:gd name="connsiteX530" fmla="*/ 6444 w 8090452"/>
              <a:gd name="connsiteY530" fmla="*/ 977925 h 6863208"/>
              <a:gd name="connsiteX531" fmla="*/ 5085 w 8090452"/>
              <a:gd name="connsiteY531" fmla="*/ 971131 h 6863208"/>
              <a:gd name="connsiteX532" fmla="*/ 6444 w 8090452"/>
              <a:gd name="connsiteY532" fmla="*/ 926290 h 6863208"/>
              <a:gd name="connsiteX533" fmla="*/ 10520 w 8090452"/>
              <a:gd name="connsiteY533" fmla="*/ 924931 h 6863208"/>
              <a:gd name="connsiteX534" fmla="*/ 5085 w 8090452"/>
              <a:gd name="connsiteY534" fmla="*/ 916778 h 6863208"/>
              <a:gd name="connsiteX535" fmla="*/ 5085 w 8090452"/>
              <a:gd name="connsiteY535" fmla="*/ 914061 h 6863208"/>
              <a:gd name="connsiteX536" fmla="*/ 3727 w 8090452"/>
              <a:gd name="connsiteY536" fmla="*/ 907267 h 6863208"/>
              <a:gd name="connsiteX537" fmla="*/ 6444 w 8090452"/>
              <a:gd name="connsiteY537" fmla="*/ 907268 h 6863208"/>
              <a:gd name="connsiteX538" fmla="*/ 5085 w 8090452"/>
              <a:gd name="connsiteY538" fmla="*/ 905909 h 6863208"/>
              <a:gd name="connsiteX539" fmla="*/ 5086 w 8090452"/>
              <a:gd name="connsiteY539" fmla="*/ 900473 h 6863208"/>
              <a:gd name="connsiteX540" fmla="*/ 10521 w 8090452"/>
              <a:gd name="connsiteY540" fmla="*/ 897755 h 6863208"/>
              <a:gd name="connsiteX541" fmla="*/ 18674 w 8090452"/>
              <a:gd name="connsiteY541" fmla="*/ 900473 h 6863208"/>
              <a:gd name="connsiteX542" fmla="*/ 11879 w 8090452"/>
              <a:gd name="connsiteY542" fmla="*/ 896397 h 6863208"/>
              <a:gd name="connsiteX543" fmla="*/ 30902 w 8090452"/>
              <a:gd name="connsiteY543" fmla="*/ 885526 h 6863208"/>
              <a:gd name="connsiteX544" fmla="*/ 775522 w 8090452"/>
              <a:gd name="connsiteY544" fmla="*/ 885526 h 6863208"/>
              <a:gd name="connsiteX545" fmla="*/ 786393 w 8090452"/>
              <a:gd name="connsiteY545" fmla="*/ 890962 h 6863208"/>
              <a:gd name="connsiteX546" fmla="*/ 775522 w 8090452"/>
              <a:gd name="connsiteY546" fmla="*/ 885526 h 6863208"/>
              <a:gd name="connsiteX547" fmla="*/ 771446 w 8090452"/>
              <a:gd name="connsiteY547" fmla="*/ 884168 h 6863208"/>
              <a:gd name="connsiteX548" fmla="*/ 772805 w 8090452"/>
              <a:gd name="connsiteY548" fmla="*/ 890961 h 6863208"/>
              <a:gd name="connsiteX549" fmla="*/ 771446 w 8090452"/>
              <a:gd name="connsiteY549" fmla="*/ 884168 h 6863208"/>
              <a:gd name="connsiteX550" fmla="*/ 806775 w 8090452"/>
              <a:gd name="connsiteY550" fmla="*/ 884167 h 6863208"/>
              <a:gd name="connsiteX551" fmla="*/ 805416 w 8090452"/>
              <a:gd name="connsiteY551" fmla="*/ 893679 h 6863208"/>
              <a:gd name="connsiteX552" fmla="*/ 806775 w 8090452"/>
              <a:gd name="connsiteY552" fmla="*/ 884167 h 6863208"/>
              <a:gd name="connsiteX553" fmla="*/ 846180 w 8090452"/>
              <a:gd name="connsiteY553" fmla="*/ 871938 h 6863208"/>
              <a:gd name="connsiteX554" fmla="*/ 904608 w 8090452"/>
              <a:gd name="connsiteY554" fmla="*/ 935801 h 6863208"/>
              <a:gd name="connsiteX555" fmla="*/ 880151 w 8090452"/>
              <a:gd name="connsiteY555" fmla="*/ 935801 h 6863208"/>
              <a:gd name="connsiteX556" fmla="*/ 846180 w 8090452"/>
              <a:gd name="connsiteY556" fmla="*/ 871938 h 6863208"/>
              <a:gd name="connsiteX557" fmla="*/ 734759 w 8090452"/>
              <a:gd name="connsiteY557" fmla="*/ 871938 h 6863208"/>
              <a:gd name="connsiteX558" fmla="*/ 767370 w 8090452"/>
              <a:gd name="connsiteY558" fmla="*/ 899114 h 6863208"/>
              <a:gd name="connsiteX559" fmla="*/ 823081 w 8090452"/>
              <a:gd name="connsiteY559" fmla="*/ 930366 h 6863208"/>
              <a:gd name="connsiteX560" fmla="*/ 819004 w 8090452"/>
              <a:gd name="connsiteY560" fmla="*/ 931726 h 6863208"/>
              <a:gd name="connsiteX561" fmla="*/ 823081 w 8090452"/>
              <a:gd name="connsiteY561" fmla="*/ 935802 h 6863208"/>
              <a:gd name="connsiteX562" fmla="*/ 827157 w 8090452"/>
              <a:gd name="connsiteY562" fmla="*/ 934442 h 6863208"/>
              <a:gd name="connsiteX563" fmla="*/ 857051 w 8090452"/>
              <a:gd name="connsiteY563" fmla="*/ 1015970 h 6863208"/>
              <a:gd name="connsiteX564" fmla="*/ 817645 w 8090452"/>
              <a:gd name="connsiteY564" fmla="*/ 979283 h 6863208"/>
              <a:gd name="connsiteX565" fmla="*/ 790470 w 8090452"/>
              <a:gd name="connsiteY565" fmla="*/ 949389 h 6863208"/>
              <a:gd name="connsiteX566" fmla="*/ 791828 w 8090452"/>
              <a:gd name="connsiteY566" fmla="*/ 948031 h 6863208"/>
              <a:gd name="connsiteX567" fmla="*/ 789110 w 8090452"/>
              <a:gd name="connsiteY567" fmla="*/ 945313 h 6863208"/>
              <a:gd name="connsiteX568" fmla="*/ 787752 w 8090452"/>
              <a:gd name="connsiteY568" fmla="*/ 946672 h 6863208"/>
              <a:gd name="connsiteX569" fmla="*/ 734759 w 8090452"/>
              <a:gd name="connsiteY569" fmla="*/ 871938 h 6863208"/>
              <a:gd name="connsiteX570" fmla="*/ 1382903 w 8090452"/>
              <a:gd name="connsiteY570" fmla="*/ 870579 h 6863208"/>
              <a:gd name="connsiteX571" fmla="*/ 1381545 w 8090452"/>
              <a:gd name="connsiteY571" fmla="*/ 880091 h 6863208"/>
              <a:gd name="connsiteX572" fmla="*/ 1389699 w 8090452"/>
              <a:gd name="connsiteY572" fmla="*/ 885526 h 6863208"/>
              <a:gd name="connsiteX573" fmla="*/ 1382903 w 8090452"/>
              <a:gd name="connsiteY573" fmla="*/ 870579 h 6863208"/>
              <a:gd name="connsiteX574" fmla="*/ 813569 w 8090452"/>
              <a:gd name="connsiteY574" fmla="*/ 866503 h 6863208"/>
              <a:gd name="connsiteX575" fmla="*/ 835309 w 8090452"/>
              <a:gd name="connsiteY575" fmla="*/ 896397 h 6863208"/>
              <a:gd name="connsiteX576" fmla="*/ 865203 w 8090452"/>
              <a:gd name="connsiteY576" fmla="*/ 934443 h 6863208"/>
              <a:gd name="connsiteX577" fmla="*/ 832593 w 8090452"/>
              <a:gd name="connsiteY577" fmla="*/ 926290 h 6863208"/>
              <a:gd name="connsiteX578" fmla="*/ 831234 w 8090452"/>
              <a:gd name="connsiteY578" fmla="*/ 924931 h 6863208"/>
              <a:gd name="connsiteX579" fmla="*/ 813569 w 8090452"/>
              <a:gd name="connsiteY579" fmla="*/ 866503 h 6863208"/>
              <a:gd name="connsiteX580" fmla="*/ 677690 w 8090452"/>
              <a:gd name="connsiteY580" fmla="*/ 866503 h 6863208"/>
              <a:gd name="connsiteX581" fmla="*/ 734759 w 8090452"/>
              <a:gd name="connsiteY581" fmla="*/ 918137 h 6863208"/>
              <a:gd name="connsiteX582" fmla="*/ 831233 w 8090452"/>
              <a:gd name="connsiteY582" fmla="*/ 1066246 h 6863208"/>
              <a:gd name="connsiteX583" fmla="*/ 851718 w 8090452"/>
              <a:gd name="connsiteY583" fmla="*/ 1114897 h 6863208"/>
              <a:gd name="connsiteX584" fmla="*/ 821722 w 8090452"/>
              <a:gd name="connsiteY584" fmla="*/ 1089345 h 6863208"/>
              <a:gd name="connsiteX585" fmla="*/ 718453 w 8090452"/>
              <a:gd name="connsiteY585" fmla="*/ 953466 h 6863208"/>
              <a:gd name="connsiteX586" fmla="*/ 677690 w 8090452"/>
              <a:gd name="connsiteY586" fmla="*/ 866503 h 6863208"/>
              <a:gd name="connsiteX587" fmla="*/ 329603 w 8090452"/>
              <a:gd name="connsiteY587" fmla="*/ 842321 h 6863208"/>
              <a:gd name="connsiteX588" fmla="*/ 327120 w 8090452"/>
              <a:gd name="connsiteY588" fmla="*/ 847480 h 6863208"/>
              <a:gd name="connsiteX589" fmla="*/ 324402 w 8090452"/>
              <a:gd name="connsiteY589" fmla="*/ 844762 h 6863208"/>
              <a:gd name="connsiteX590" fmla="*/ 329603 w 8090452"/>
              <a:gd name="connsiteY590" fmla="*/ 842321 h 6863208"/>
              <a:gd name="connsiteX591" fmla="*/ 1482096 w 8090452"/>
              <a:gd name="connsiteY591" fmla="*/ 812151 h 6863208"/>
              <a:gd name="connsiteX592" fmla="*/ 1487531 w 8090452"/>
              <a:gd name="connsiteY592" fmla="*/ 814869 h 6863208"/>
              <a:gd name="connsiteX593" fmla="*/ 1487531 w 8090452"/>
              <a:gd name="connsiteY593" fmla="*/ 812151 h 6863208"/>
              <a:gd name="connsiteX594" fmla="*/ 1482096 w 8090452"/>
              <a:gd name="connsiteY594" fmla="*/ 812151 h 6863208"/>
              <a:gd name="connsiteX595" fmla="*/ 789110 w 8090452"/>
              <a:gd name="connsiteY595" fmla="*/ 782258 h 6863208"/>
              <a:gd name="connsiteX596" fmla="*/ 794546 w 8090452"/>
              <a:gd name="connsiteY596" fmla="*/ 793128 h 6863208"/>
              <a:gd name="connsiteX597" fmla="*/ 829874 w 8090452"/>
              <a:gd name="connsiteY597" fmla="*/ 850197 h 6863208"/>
              <a:gd name="connsiteX598" fmla="*/ 836668 w 8090452"/>
              <a:gd name="connsiteY598" fmla="*/ 865144 h 6863208"/>
              <a:gd name="connsiteX599" fmla="*/ 874715 w 8090452"/>
              <a:gd name="connsiteY599" fmla="*/ 933084 h 6863208"/>
              <a:gd name="connsiteX600" fmla="*/ 840745 w 8090452"/>
              <a:gd name="connsiteY600" fmla="*/ 888244 h 6863208"/>
              <a:gd name="connsiteX601" fmla="*/ 805416 w 8090452"/>
              <a:gd name="connsiteY601" fmla="*/ 839327 h 6863208"/>
              <a:gd name="connsiteX602" fmla="*/ 789110 w 8090452"/>
              <a:gd name="connsiteY602" fmla="*/ 782258 h 6863208"/>
              <a:gd name="connsiteX603" fmla="*/ 880150 w 8090452"/>
              <a:gd name="connsiteY603" fmla="*/ 772746 h 6863208"/>
              <a:gd name="connsiteX604" fmla="*/ 877432 w 8090452"/>
              <a:gd name="connsiteY604" fmla="*/ 775464 h 6863208"/>
              <a:gd name="connsiteX605" fmla="*/ 880150 w 8090452"/>
              <a:gd name="connsiteY605" fmla="*/ 780899 h 6863208"/>
              <a:gd name="connsiteX606" fmla="*/ 882867 w 8090452"/>
              <a:gd name="connsiteY606" fmla="*/ 778182 h 6863208"/>
              <a:gd name="connsiteX607" fmla="*/ 880150 w 8090452"/>
              <a:gd name="connsiteY607" fmla="*/ 772746 h 6863208"/>
              <a:gd name="connsiteX608" fmla="*/ 646437 w 8090452"/>
              <a:gd name="connsiteY608" fmla="*/ 772746 h 6863208"/>
              <a:gd name="connsiteX609" fmla="*/ 693995 w 8090452"/>
              <a:gd name="connsiteY609" fmla="*/ 828457 h 6863208"/>
              <a:gd name="connsiteX610" fmla="*/ 814928 w 8090452"/>
              <a:gd name="connsiteY610" fmla="*/ 990153 h 6863208"/>
              <a:gd name="connsiteX611" fmla="*/ 865203 w 8090452"/>
              <a:gd name="connsiteY611" fmla="*/ 1034994 h 6863208"/>
              <a:gd name="connsiteX612" fmla="*/ 886944 w 8090452"/>
              <a:gd name="connsiteY612" fmla="*/ 1078475 h 6863208"/>
              <a:gd name="connsiteX613" fmla="*/ 948089 w 8090452"/>
              <a:gd name="connsiteY613" fmla="*/ 1177667 h 6863208"/>
              <a:gd name="connsiteX614" fmla="*/ 944014 w 8090452"/>
              <a:gd name="connsiteY614" fmla="*/ 1176308 h 6863208"/>
              <a:gd name="connsiteX615" fmla="*/ 879124 w 8090452"/>
              <a:gd name="connsiteY615" fmla="*/ 1135452 h 6863208"/>
              <a:gd name="connsiteX616" fmla="*/ 867921 w 8090452"/>
              <a:gd name="connsiteY616" fmla="*/ 1127391 h 6863208"/>
              <a:gd name="connsiteX617" fmla="*/ 838027 w 8090452"/>
              <a:gd name="connsiteY617" fmla="*/ 1064887 h 6863208"/>
              <a:gd name="connsiteX618" fmla="*/ 795904 w 8090452"/>
              <a:gd name="connsiteY618" fmla="*/ 982001 h 6863208"/>
              <a:gd name="connsiteX619" fmla="*/ 737476 w 8090452"/>
              <a:gd name="connsiteY619" fmla="*/ 907267 h 6863208"/>
              <a:gd name="connsiteX620" fmla="*/ 674972 w 8090452"/>
              <a:gd name="connsiteY620" fmla="*/ 847480 h 6863208"/>
              <a:gd name="connsiteX621" fmla="*/ 668178 w 8090452"/>
              <a:gd name="connsiteY621" fmla="*/ 840686 h 6863208"/>
              <a:gd name="connsiteX622" fmla="*/ 646437 w 8090452"/>
              <a:gd name="connsiteY622" fmla="*/ 772746 h 6863208"/>
              <a:gd name="connsiteX623" fmla="*/ 874205 w 8090452"/>
              <a:gd name="connsiteY623" fmla="*/ 768499 h 6863208"/>
              <a:gd name="connsiteX624" fmla="*/ 867920 w 8090452"/>
              <a:gd name="connsiteY624" fmla="*/ 771386 h 6863208"/>
              <a:gd name="connsiteX625" fmla="*/ 877432 w 8090452"/>
              <a:gd name="connsiteY625" fmla="*/ 772746 h 6863208"/>
              <a:gd name="connsiteX626" fmla="*/ 874205 w 8090452"/>
              <a:gd name="connsiteY626" fmla="*/ 768499 h 6863208"/>
              <a:gd name="connsiteX627" fmla="*/ 1404646 w 8090452"/>
              <a:gd name="connsiteY627" fmla="*/ 767311 h 6863208"/>
              <a:gd name="connsiteX628" fmla="*/ 1401927 w 8090452"/>
              <a:gd name="connsiteY628" fmla="*/ 770029 h 6863208"/>
              <a:gd name="connsiteX629" fmla="*/ 1401928 w 8090452"/>
              <a:gd name="connsiteY629" fmla="*/ 772746 h 6863208"/>
              <a:gd name="connsiteX630" fmla="*/ 1407363 w 8090452"/>
              <a:gd name="connsiteY630" fmla="*/ 772746 h 6863208"/>
              <a:gd name="connsiteX631" fmla="*/ 1404646 w 8090452"/>
              <a:gd name="connsiteY631" fmla="*/ 767311 h 6863208"/>
              <a:gd name="connsiteX632" fmla="*/ 889660 w 8090452"/>
              <a:gd name="connsiteY632" fmla="*/ 760516 h 6863208"/>
              <a:gd name="connsiteX633" fmla="*/ 881507 w 8090452"/>
              <a:gd name="connsiteY633" fmla="*/ 768669 h 6863208"/>
              <a:gd name="connsiteX634" fmla="*/ 892378 w 8090452"/>
              <a:gd name="connsiteY634" fmla="*/ 774105 h 6863208"/>
              <a:gd name="connsiteX635" fmla="*/ 889660 w 8090452"/>
              <a:gd name="connsiteY635" fmla="*/ 760516 h 6863208"/>
              <a:gd name="connsiteX636" fmla="*/ 851614 w 8090452"/>
              <a:gd name="connsiteY636" fmla="*/ 749646 h 6863208"/>
              <a:gd name="connsiteX637" fmla="*/ 840744 w 8090452"/>
              <a:gd name="connsiteY637" fmla="*/ 757799 h 6863208"/>
              <a:gd name="connsiteX638" fmla="*/ 844821 w 8090452"/>
              <a:gd name="connsiteY638" fmla="*/ 770029 h 6863208"/>
              <a:gd name="connsiteX639" fmla="*/ 851614 w 8090452"/>
              <a:gd name="connsiteY639" fmla="*/ 760517 h 6863208"/>
              <a:gd name="connsiteX640" fmla="*/ 851614 w 8090452"/>
              <a:gd name="connsiteY640" fmla="*/ 768670 h 6863208"/>
              <a:gd name="connsiteX641" fmla="*/ 857049 w 8090452"/>
              <a:gd name="connsiteY641" fmla="*/ 765952 h 6863208"/>
              <a:gd name="connsiteX642" fmla="*/ 863845 w 8090452"/>
              <a:gd name="connsiteY642" fmla="*/ 772747 h 6863208"/>
              <a:gd name="connsiteX643" fmla="*/ 857049 w 8090452"/>
              <a:gd name="connsiteY643" fmla="*/ 771388 h 6863208"/>
              <a:gd name="connsiteX644" fmla="*/ 862485 w 8090452"/>
              <a:gd name="connsiteY644" fmla="*/ 776823 h 6863208"/>
              <a:gd name="connsiteX645" fmla="*/ 867920 w 8090452"/>
              <a:gd name="connsiteY645" fmla="*/ 774106 h 6863208"/>
              <a:gd name="connsiteX646" fmla="*/ 866561 w 8090452"/>
              <a:gd name="connsiteY646" fmla="*/ 767311 h 6863208"/>
              <a:gd name="connsiteX647" fmla="*/ 878791 w 8090452"/>
              <a:gd name="connsiteY647" fmla="*/ 763235 h 6863208"/>
              <a:gd name="connsiteX648" fmla="*/ 867920 w 8090452"/>
              <a:gd name="connsiteY648" fmla="*/ 755080 h 6863208"/>
              <a:gd name="connsiteX649" fmla="*/ 869279 w 8090452"/>
              <a:gd name="connsiteY649" fmla="*/ 761875 h 6863208"/>
              <a:gd name="connsiteX650" fmla="*/ 863844 w 8090452"/>
              <a:gd name="connsiteY650" fmla="*/ 753722 h 6863208"/>
              <a:gd name="connsiteX651" fmla="*/ 855691 w 8090452"/>
              <a:gd name="connsiteY651" fmla="*/ 759158 h 6863208"/>
              <a:gd name="connsiteX652" fmla="*/ 855691 w 8090452"/>
              <a:gd name="connsiteY652" fmla="*/ 764593 h 6863208"/>
              <a:gd name="connsiteX653" fmla="*/ 857049 w 8090452"/>
              <a:gd name="connsiteY653" fmla="*/ 752364 h 6863208"/>
              <a:gd name="connsiteX654" fmla="*/ 851614 w 8090452"/>
              <a:gd name="connsiteY654" fmla="*/ 749646 h 6863208"/>
              <a:gd name="connsiteX655" fmla="*/ 636925 w 8090452"/>
              <a:gd name="connsiteY655" fmla="*/ 741494 h 6863208"/>
              <a:gd name="connsiteX656" fmla="*/ 670896 w 8090452"/>
              <a:gd name="connsiteY656" fmla="*/ 794487 h 6863208"/>
              <a:gd name="connsiteX657" fmla="*/ 642360 w 8090452"/>
              <a:gd name="connsiteY657" fmla="*/ 760517 h 6863208"/>
              <a:gd name="connsiteX658" fmla="*/ 636925 w 8090452"/>
              <a:gd name="connsiteY658" fmla="*/ 741494 h 6863208"/>
              <a:gd name="connsiteX659" fmla="*/ 757858 w 8090452"/>
              <a:gd name="connsiteY659" fmla="*/ 729265 h 6863208"/>
              <a:gd name="connsiteX660" fmla="*/ 774164 w 8090452"/>
              <a:gd name="connsiteY660" fmla="*/ 770029 h 6863208"/>
              <a:gd name="connsiteX661" fmla="*/ 787751 w 8090452"/>
              <a:gd name="connsiteY661" fmla="*/ 813510 h 6863208"/>
              <a:gd name="connsiteX662" fmla="*/ 748347 w 8090452"/>
              <a:gd name="connsiteY662" fmla="*/ 755082 h 6863208"/>
              <a:gd name="connsiteX663" fmla="*/ 755140 w 8090452"/>
              <a:gd name="connsiteY663" fmla="*/ 742853 h 6863208"/>
              <a:gd name="connsiteX664" fmla="*/ 757858 w 8090452"/>
              <a:gd name="connsiteY664" fmla="*/ 729265 h 6863208"/>
              <a:gd name="connsiteX665" fmla="*/ 772805 w 8090452"/>
              <a:gd name="connsiteY665" fmla="*/ 708883 h 6863208"/>
              <a:gd name="connsiteX666" fmla="*/ 983418 w 8090452"/>
              <a:gd name="connsiteY666" fmla="*/ 900472 h 6863208"/>
              <a:gd name="connsiteX667" fmla="*/ 1008851 w 8090452"/>
              <a:gd name="connsiteY667" fmla="*/ 920552 h 6863208"/>
              <a:gd name="connsiteX668" fmla="*/ 923631 w 8090452"/>
              <a:gd name="connsiteY668" fmla="*/ 933084 h 6863208"/>
              <a:gd name="connsiteX669" fmla="*/ 924091 w 8090452"/>
              <a:gd name="connsiteY669" fmla="*/ 933377 h 6863208"/>
              <a:gd name="connsiteX670" fmla="*/ 916837 w 8090452"/>
              <a:gd name="connsiteY670" fmla="*/ 934443 h 6863208"/>
              <a:gd name="connsiteX671" fmla="*/ 816286 w 8090452"/>
              <a:gd name="connsiteY671" fmla="*/ 812151 h 6863208"/>
              <a:gd name="connsiteX672" fmla="*/ 772805 w 8090452"/>
              <a:gd name="connsiteY672" fmla="*/ 708883 h 6863208"/>
              <a:gd name="connsiteX673" fmla="*/ 763293 w 8090452"/>
              <a:gd name="connsiteY673" fmla="*/ 702089 h 6863208"/>
              <a:gd name="connsiteX674" fmla="*/ 789110 w 8090452"/>
              <a:gd name="connsiteY674" fmla="*/ 763235 h 6863208"/>
              <a:gd name="connsiteX675" fmla="*/ 763294 w 8090452"/>
              <a:gd name="connsiteY675" fmla="*/ 710241 h 6863208"/>
              <a:gd name="connsiteX676" fmla="*/ 761935 w 8090452"/>
              <a:gd name="connsiteY676" fmla="*/ 708882 h 6863208"/>
              <a:gd name="connsiteX677" fmla="*/ 763293 w 8090452"/>
              <a:gd name="connsiteY677" fmla="*/ 702089 h 6863208"/>
              <a:gd name="connsiteX678" fmla="*/ 556756 w 8090452"/>
              <a:gd name="connsiteY678" fmla="*/ 699371 h 6863208"/>
              <a:gd name="connsiteX679" fmla="*/ 624696 w 8090452"/>
              <a:gd name="connsiteY679" fmla="*/ 751006 h 6863208"/>
              <a:gd name="connsiteX680" fmla="*/ 638284 w 8090452"/>
              <a:gd name="connsiteY680" fmla="*/ 764593 h 6863208"/>
              <a:gd name="connsiteX681" fmla="*/ 661384 w 8090452"/>
              <a:gd name="connsiteY681" fmla="*/ 833892 h 6863208"/>
              <a:gd name="connsiteX682" fmla="*/ 619261 w 8090452"/>
              <a:gd name="connsiteY682" fmla="*/ 789052 h 6863208"/>
              <a:gd name="connsiteX683" fmla="*/ 626055 w 8090452"/>
              <a:gd name="connsiteY683" fmla="*/ 782258 h 6863208"/>
              <a:gd name="connsiteX684" fmla="*/ 616544 w 8090452"/>
              <a:gd name="connsiteY684" fmla="*/ 767311 h 6863208"/>
              <a:gd name="connsiteX685" fmla="*/ 605674 w 8090452"/>
              <a:gd name="connsiteY685" fmla="*/ 772746 h 6863208"/>
              <a:gd name="connsiteX686" fmla="*/ 556756 w 8090452"/>
              <a:gd name="connsiteY686" fmla="*/ 699371 h 6863208"/>
              <a:gd name="connsiteX687" fmla="*/ 1144562 w 8090452"/>
              <a:gd name="connsiteY687" fmla="*/ 674700 h 6863208"/>
              <a:gd name="connsiteX688" fmla="*/ 1128809 w 8090452"/>
              <a:gd name="connsiteY688" fmla="*/ 684425 h 6863208"/>
              <a:gd name="connsiteX689" fmla="*/ 1155986 w 8090452"/>
              <a:gd name="connsiteY689" fmla="*/ 771388 h 6863208"/>
              <a:gd name="connsiteX690" fmla="*/ 1157344 w 8090452"/>
              <a:gd name="connsiteY690" fmla="*/ 767311 h 6863208"/>
              <a:gd name="connsiteX691" fmla="*/ 1162779 w 8090452"/>
              <a:gd name="connsiteY691" fmla="*/ 810793 h 6863208"/>
              <a:gd name="connsiteX692" fmla="*/ 1185879 w 8090452"/>
              <a:gd name="connsiteY692" fmla="*/ 852915 h 6863208"/>
              <a:gd name="connsiteX693" fmla="*/ 1195390 w 8090452"/>
              <a:gd name="connsiteY693" fmla="*/ 827098 h 6863208"/>
              <a:gd name="connsiteX694" fmla="*/ 1172291 w 8090452"/>
              <a:gd name="connsiteY694" fmla="*/ 722471 h 6863208"/>
              <a:gd name="connsiteX695" fmla="*/ 1183161 w 8090452"/>
              <a:gd name="connsiteY695" fmla="*/ 698013 h 6863208"/>
              <a:gd name="connsiteX696" fmla="*/ 1144562 w 8090452"/>
              <a:gd name="connsiteY696" fmla="*/ 674700 h 6863208"/>
              <a:gd name="connsiteX697" fmla="*/ 771446 w 8090452"/>
              <a:gd name="connsiteY697" fmla="*/ 664043 h 6863208"/>
              <a:gd name="connsiteX698" fmla="*/ 775523 w 8090452"/>
              <a:gd name="connsiteY698" fmla="*/ 670837 h 6863208"/>
              <a:gd name="connsiteX699" fmla="*/ 771446 w 8090452"/>
              <a:gd name="connsiteY699" fmla="*/ 664043 h 6863208"/>
              <a:gd name="connsiteX700" fmla="*/ 1505194 w 8090452"/>
              <a:gd name="connsiteY700" fmla="*/ 653172 h 6863208"/>
              <a:gd name="connsiteX701" fmla="*/ 1495683 w 8090452"/>
              <a:gd name="connsiteY701" fmla="*/ 657248 h 6863208"/>
              <a:gd name="connsiteX702" fmla="*/ 1501118 w 8090452"/>
              <a:gd name="connsiteY702" fmla="*/ 665401 h 6863208"/>
              <a:gd name="connsiteX703" fmla="*/ 1490248 w 8090452"/>
              <a:gd name="connsiteY703" fmla="*/ 665401 h 6863208"/>
              <a:gd name="connsiteX704" fmla="*/ 1501118 w 8090452"/>
              <a:gd name="connsiteY704" fmla="*/ 676271 h 6863208"/>
              <a:gd name="connsiteX705" fmla="*/ 1502477 w 8090452"/>
              <a:gd name="connsiteY705" fmla="*/ 655889 h 6863208"/>
              <a:gd name="connsiteX706" fmla="*/ 1510629 w 8090452"/>
              <a:gd name="connsiteY706" fmla="*/ 661325 h 6863208"/>
              <a:gd name="connsiteX707" fmla="*/ 1505194 w 8090452"/>
              <a:gd name="connsiteY707" fmla="*/ 653172 h 6863208"/>
              <a:gd name="connsiteX708" fmla="*/ 1497043 w 8090452"/>
              <a:gd name="connsiteY708" fmla="*/ 645019 h 6863208"/>
              <a:gd name="connsiteX709" fmla="*/ 1492967 w 8090452"/>
              <a:gd name="connsiteY709" fmla="*/ 649096 h 6863208"/>
              <a:gd name="connsiteX710" fmla="*/ 1499761 w 8090452"/>
              <a:gd name="connsiteY710" fmla="*/ 650455 h 6863208"/>
              <a:gd name="connsiteX711" fmla="*/ 1497043 w 8090452"/>
              <a:gd name="connsiteY711" fmla="*/ 645019 h 6863208"/>
              <a:gd name="connsiteX712" fmla="*/ 767370 w 8090452"/>
              <a:gd name="connsiteY712" fmla="*/ 632791 h 6863208"/>
              <a:gd name="connsiteX713" fmla="*/ 772805 w 8090452"/>
              <a:gd name="connsiteY713" fmla="*/ 638226 h 6863208"/>
              <a:gd name="connsiteX714" fmla="*/ 775523 w 8090452"/>
              <a:gd name="connsiteY714" fmla="*/ 640944 h 6863208"/>
              <a:gd name="connsiteX715" fmla="*/ 776607 w 8090452"/>
              <a:gd name="connsiteY715" fmla="*/ 642028 h 6863208"/>
              <a:gd name="connsiteX716" fmla="*/ 772805 w 8090452"/>
              <a:gd name="connsiteY716" fmla="*/ 640942 h 6863208"/>
              <a:gd name="connsiteX717" fmla="*/ 774164 w 8090452"/>
              <a:gd name="connsiteY717" fmla="*/ 647736 h 6863208"/>
              <a:gd name="connsiteX718" fmla="*/ 777299 w 8090452"/>
              <a:gd name="connsiteY718" fmla="*/ 642720 h 6863208"/>
              <a:gd name="connsiteX719" fmla="*/ 789110 w 8090452"/>
              <a:gd name="connsiteY719" fmla="*/ 654531 h 6863208"/>
              <a:gd name="connsiteX720" fmla="*/ 793188 w 8090452"/>
              <a:gd name="connsiteY720" fmla="*/ 666760 h 6863208"/>
              <a:gd name="connsiteX721" fmla="*/ 793187 w 8090452"/>
              <a:gd name="connsiteY721" fmla="*/ 658608 h 6863208"/>
              <a:gd name="connsiteX722" fmla="*/ 821721 w 8090452"/>
              <a:gd name="connsiteY722" fmla="*/ 689859 h 6863208"/>
              <a:gd name="connsiteX723" fmla="*/ 882868 w 8090452"/>
              <a:gd name="connsiteY723" fmla="*/ 751006 h 6863208"/>
              <a:gd name="connsiteX724" fmla="*/ 881509 w 8090452"/>
              <a:gd name="connsiteY724" fmla="*/ 757799 h 6863208"/>
              <a:gd name="connsiteX725" fmla="*/ 885585 w 8090452"/>
              <a:gd name="connsiteY725" fmla="*/ 759158 h 6863208"/>
              <a:gd name="connsiteX726" fmla="*/ 888303 w 8090452"/>
              <a:gd name="connsiteY726" fmla="*/ 756440 h 6863208"/>
              <a:gd name="connsiteX727" fmla="*/ 961678 w 8090452"/>
              <a:gd name="connsiteY727" fmla="*/ 813509 h 6863208"/>
              <a:gd name="connsiteX728" fmla="*/ 1001083 w 8090452"/>
              <a:gd name="connsiteY728" fmla="*/ 836610 h 6863208"/>
              <a:gd name="connsiteX729" fmla="*/ 1107069 w 8090452"/>
              <a:gd name="connsiteY729" fmla="*/ 918137 h 6863208"/>
              <a:gd name="connsiteX730" fmla="*/ 1141038 w 8090452"/>
              <a:gd name="connsiteY730" fmla="*/ 941237 h 6863208"/>
              <a:gd name="connsiteX731" fmla="*/ 1036411 w 8090452"/>
              <a:gd name="connsiteY731" fmla="*/ 920855 h 6863208"/>
              <a:gd name="connsiteX732" fmla="*/ 1018068 w 8090452"/>
              <a:gd name="connsiteY732" fmla="*/ 920855 h 6863208"/>
              <a:gd name="connsiteX733" fmla="*/ 1016030 w 8090452"/>
              <a:gd name="connsiteY733" fmla="*/ 919496 h 6863208"/>
              <a:gd name="connsiteX734" fmla="*/ 1015651 w 8090452"/>
              <a:gd name="connsiteY734" fmla="*/ 919552 h 6863208"/>
              <a:gd name="connsiteX735" fmla="*/ 984778 w 8090452"/>
              <a:gd name="connsiteY735" fmla="*/ 896397 h 6863208"/>
              <a:gd name="connsiteX736" fmla="*/ 824439 w 8090452"/>
              <a:gd name="connsiteY736" fmla="*/ 755082 h 6863208"/>
              <a:gd name="connsiteX737" fmla="*/ 828515 w 8090452"/>
              <a:gd name="connsiteY737" fmla="*/ 751006 h 6863208"/>
              <a:gd name="connsiteX738" fmla="*/ 824440 w 8090452"/>
              <a:gd name="connsiteY738" fmla="*/ 736059 h 6863208"/>
              <a:gd name="connsiteX739" fmla="*/ 814928 w 8090452"/>
              <a:gd name="connsiteY739" fmla="*/ 729265 h 6863208"/>
              <a:gd name="connsiteX740" fmla="*/ 819004 w 8090452"/>
              <a:gd name="connsiteY740" fmla="*/ 736058 h 6863208"/>
              <a:gd name="connsiteX741" fmla="*/ 809492 w 8090452"/>
              <a:gd name="connsiteY741" fmla="*/ 731982 h 6863208"/>
              <a:gd name="connsiteX742" fmla="*/ 812210 w 8090452"/>
              <a:gd name="connsiteY742" fmla="*/ 742853 h 6863208"/>
              <a:gd name="connsiteX743" fmla="*/ 766011 w 8090452"/>
              <a:gd name="connsiteY743" fmla="*/ 693936 h 6863208"/>
              <a:gd name="connsiteX744" fmla="*/ 771446 w 8090452"/>
              <a:gd name="connsiteY744" fmla="*/ 658608 h 6863208"/>
              <a:gd name="connsiteX745" fmla="*/ 772805 w 8090452"/>
              <a:gd name="connsiteY745" fmla="*/ 643661 h 6863208"/>
              <a:gd name="connsiteX746" fmla="*/ 767370 w 8090452"/>
              <a:gd name="connsiteY746" fmla="*/ 632791 h 6863208"/>
              <a:gd name="connsiteX747" fmla="*/ 487458 w 8090452"/>
              <a:gd name="connsiteY747" fmla="*/ 616484 h 6863208"/>
              <a:gd name="connsiteX748" fmla="*/ 502405 w 8090452"/>
              <a:gd name="connsiteY748" fmla="*/ 639584 h 6863208"/>
              <a:gd name="connsiteX749" fmla="*/ 522787 w 8090452"/>
              <a:gd name="connsiteY749" fmla="*/ 670837 h 6863208"/>
              <a:gd name="connsiteX750" fmla="*/ 475229 w 8090452"/>
              <a:gd name="connsiteY750" fmla="*/ 639585 h 6863208"/>
              <a:gd name="connsiteX751" fmla="*/ 456206 w 8090452"/>
              <a:gd name="connsiteY751" fmla="*/ 623279 h 6863208"/>
              <a:gd name="connsiteX752" fmla="*/ 487458 w 8090452"/>
              <a:gd name="connsiteY752" fmla="*/ 616484 h 6863208"/>
              <a:gd name="connsiteX753" fmla="*/ 583933 w 8090452"/>
              <a:gd name="connsiteY753" fmla="*/ 612408 h 6863208"/>
              <a:gd name="connsiteX754" fmla="*/ 594803 w 8090452"/>
              <a:gd name="connsiteY754" fmla="*/ 639584 h 6863208"/>
              <a:gd name="connsiteX755" fmla="*/ 611108 w 8090452"/>
              <a:gd name="connsiteY755" fmla="*/ 683065 h 6863208"/>
              <a:gd name="connsiteX756" fmla="*/ 564910 w 8090452"/>
              <a:gd name="connsiteY756" fmla="*/ 623279 h 6863208"/>
              <a:gd name="connsiteX757" fmla="*/ 583933 w 8090452"/>
              <a:gd name="connsiteY757" fmla="*/ 612408 h 6863208"/>
              <a:gd name="connsiteX758" fmla="*/ 1588083 w 8090452"/>
              <a:gd name="connsiteY758" fmla="*/ 611050 h 6863208"/>
              <a:gd name="connsiteX759" fmla="*/ 1579929 w 8090452"/>
              <a:gd name="connsiteY759" fmla="*/ 616486 h 6863208"/>
              <a:gd name="connsiteX760" fmla="*/ 1588083 w 8090452"/>
              <a:gd name="connsiteY760" fmla="*/ 611050 h 6863208"/>
              <a:gd name="connsiteX761" fmla="*/ 520069 w 8090452"/>
              <a:gd name="connsiteY761" fmla="*/ 611050 h 6863208"/>
              <a:gd name="connsiteX762" fmla="*/ 548604 w 8090452"/>
              <a:gd name="connsiteY762" fmla="*/ 625997 h 6863208"/>
              <a:gd name="connsiteX763" fmla="*/ 623338 w 8090452"/>
              <a:gd name="connsiteY763" fmla="*/ 725188 h 6863208"/>
              <a:gd name="connsiteX764" fmla="*/ 631490 w 8090452"/>
              <a:gd name="connsiteY764" fmla="*/ 752365 h 6863208"/>
              <a:gd name="connsiteX765" fmla="*/ 626055 w 8090452"/>
              <a:gd name="connsiteY765" fmla="*/ 746930 h 6863208"/>
              <a:gd name="connsiteX766" fmla="*/ 548604 w 8090452"/>
              <a:gd name="connsiteY766" fmla="*/ 688501 h 6863208"/>
              <a:gd name="connsiteX767" fmla="*/ 547245 w 8090452"/>
              <a:gd name="connsiteY767" fmla="*/ 687142 h 6863208"/>
              <a:gd name="connsiteX768" fmla="*/ 515993 w 8090452"/>
              <a:gd name="connsiteY768" fmla="*/ 636867 h 6863208"/>
              <a:gd name="connsiteX769" fmla="*/ 503764 w 8090452"/>
              <a:gd name="connsiteY769" fmla="*/ 613767 h 6863208"/>
              <a:gd name="connsiteX770" fmla="*/ 520069 w 8090452"/>
              <a:gd name="connsiteY770" fmla="*/ 611050 h 6863208"/>
              <a:gd name="connsiteX771" fmla="*/ 1071059 w 8090452"/>
              <a:gd name="connsiteY771" fmla="*/ 603065 h 6863208"/>
              <a:gd name="connsiteX772" fmla="*/ 1066304 w 8090452"/>
              <a:gd name="connsiteY772" fmla="*/ 605613 h 6863208"/>
              <a:gd name="connsiteX773" fmla="*/ 1077175 w 8090452"/>
              <a:gd name="connsiteY773" fmla="*/ 613766 h 6863208"/>
              <a:gd name="connsiteX774" fmla="*/ 1071059 w 8090452"/>
              <a:gd name="connsiteY774" fmla="*/ 603065 h 6863208"/>
              <a:gd name="connsiteX775" fmla="*/ 616543 w 8090452"/>
              <a:gd name="connsiteY775" fmla="*/ 598821 h 6863208"/>
              <a:gd name="connsiteX776" fmla="*/ 638284 w 8090452"/>
              <a:gd name="connsiteY776" fmla="*/ 617843 h 6863208"/>
              <a:gd name="connsiteX777" fmla="*/ 641002 w 8090452"/>
              <a:gd name="connsiteY777" fmla="*/ 617843 h 6863208"/>
              <a:gd name="connsiteX778" fmla="*/ 662743 w 8090452"/>
              <a:gd name="connsiteY778" fmla="*/ 647737 h 6863208"/>
              <a:gd name="connsiteX779" fmla="*/ 726606 w 8090452"/>
              <a:gd name="connsiteY779" fmla="*/ 744212 h 6863208"/>
              <a:gd name="connsiteX780" fmla="*/ 723888 w 8090452"/>
              <a:gd name="connsiteY780" fmla="*/ 746929 h 6863208"/>
              <a:gd name="connsiteX781" fmla="*/ 744271 w 8090452"/>
              <a:gd name="connsiteY781" fmla="*/ 780899 h 6863208"/>
              <a:gd name="connsiteX782" fmla="*/ 742911 w 8090452"/>
              <a:gd name="connsiteY782" fmla="*/ 768670 h 6863208"/>
              <a:gd name="connsiteX783" fmla="*/ 795905 w 8090452"/>
              <a:gd name="connsiteY783" fmla="*/ 846121 h 6863208"/>
              <a:gd name="connsiteX784" fmla="*/ 816287 w 8090452"/>
              <a:gd name="connsiteY784" fmla="*/ 912702 h 6863208"/>
              <a:gd name="connsiteX785" fmla="*/ 813569 w 8090452"/>
              <a:gd name="connsiteY785" fmla="*/ 915420 h 6863208"/>
              <a:gd name="connsiteX786" fmla="*/ 816286 w 8090452"/>
              <a:gd name="connsiteY786" fmla="*/ 915420 h 6863208"/>
              <a:gd name="connsiteX787" fmla="*/ 817646 w 8090452"/>
              <a:gd name="connsiteY787" fmla="*/ 919496 h 6863208"/>
              <a:gd name="connsiteX788" fmla="*/ 819004 w 8090452"/>
              <a:gd name="connsiteY788" fmla="*/ 920855 h 6863208"/>
              <a:gd name="connsiteX789" fmla="*/ 820363 w 8090452"/>
              <a:gd name="connsiteY789" fmla="*/ 924931 h 6863208"/>
              <a:gd name="connsiteX790" fmla="*/ 780958 w 8090452"/>
              <a:gd name="connsiteY790" fmla="*/ 904549 h 6863208"/>
              <a:gd name="connsiteX791" fmla="*/ 779847 w 8090452"/>
              <a:gd name="connsiteY791" fmla="*/ 901956 h 6863208"/>
              <a:gd name="connsiteX792" fmla="*/ 776881 w 8090452"/>
              <a:gd name="connsiteY792" fmla="*/ 895038 h 6863208"/>
              <a:gd name="connsiteX793" fmla="*/ 771446 w 8090452"/>
              <a:gd name="connsiteY793" fmla="*/ 897756 h 6863208"/>
              <a:gd name="connsiteX794" fmla="*/ 764652 w 8090452"/>
              <a:gd name="connsiteY794" fmla="*/ 893678 h 6863208"/>
              <a:gd name="connsiteX795" fmla="*/ 717094 w 8090452"/>
              <a:gd name="connsiteY795" fmla="*/ 851557 h 6863208"/>
              <a:gd name="connsiteX796" fmla="*/ 680407 w 8090452"/>
              <a:gd name="connsiteY796" fmla="*/ 793128 h 6863208"/>
              <a:gd name="connsiteX797" fmla="*/ 619261 w 8090452"/>
              <a:gd name="connsiteY797" fmla="*/ 702089 h 6863208"/>
              <a:gd name="connsiteX798" fmla="*/ 602955 w 8090452"/>
              <a:gd name="connsiteY798" fmla="*/ 639584 h 6863208"/>
              <a:gd name="connsiteX799" fmla="*/ 590726 w 8090452"/>
              <a:gd name="connsiteY799" fmla="*/ 608332 h 6863208"/>
              <a:gd name="connsiteX800" fmla="*/ 616543 w 8090452"/>
              <a:gd name="connsiteY800" fmla="*/ 598821 h 6863208"/>
              <a:gd name="connsiteX801" fmla="*/ 672255 w 8090452"/>
              <a:gd name="connsiteY801" fmla="*/ 597461 h 6863208"/>
              <a:gd name="connsiteX802" fmla="*/ 710301 w 8090452"/>
              <a:gd name="connsiteY802" fmla="*/ 638226 h 6863208"/>
              <a:gd name="connsiteX803" fmla="*/ 707583 w 8090452"/>
              <a:gd name="connsiteY803" fmla="*/ 665402 h 6863208"/>
              <a:gd name="connsiteX804" fmla="*/ 717094 w 8090452"/>
              <a:gd name="connsiteY804" fmla="*/ 707524 h 6863208"/>
              <a:gd name="connsiteX805" fmla="*/ 672254 w 8090452"/>
              <a:gd name="connsiteY805" fmla="*/ 638226 h 6863208"/>
              <a:gd name="connsiteX806" fmla="*/ 651872 w 8090452"/>
              <a:gd name="connsiteY806" fmla="*/ 609691 h 6863208"/>
              <a:gd name="connsiteX807" fmla="*/ 672255 w 8090452"/>
              <a:gd name="connsiteY807" fmla="*/ 597461 h 6863208"/>
              <a:gd name="connsiteX808" fmla="*/ 677690 w 8090452"/>
              <a:gd name="connsiteY808" fmla="*/ 592027 h 6863208"/>
              <a:gd name="connsiteX809" fmla="*/ 691277 w 8090452"/>
              <a:gd name="connsiteY809" fmla="*/ 608331 h 6863208"/>
              <a:gd name="connsiteX810" fmla="*/ 676331 w 8090452"/>
              <a:gd name="connsiteY810" fmla="*/ 593385 h 6863208"/>
              <a:gd name="connsiteX811" fmla="*/ 677690 w 8090452"/>
              <a:gd name="connsiteY811" fmla="*/ 592027 h 6863208"/>
              <a:gd name="connsiteX812" fmla="*/ 751065 w 8090452"/>
              <a:gd name="connsiteY812" fmla="*/ 562133 h 6863208"/>
              <a:gd name="connsiteX813" fmla="*/ 820363 w 8090452"/>
              <a:gd name="connsiteY813" fmla="*/ 639585 h 6863208"/>
              <a:gd name="connsiteX814" fmla="*/ 956242 w 8090452"/>
              <a:gd name="connsiteY814" fmla="*/ 799922 h 6863208"/>
              <a:gd name="connsiteX815" fmla="*/ 976625 w 8090452"/>
              <a:gd name="connsiteY815" fmla="*/ 817587 h 6863208"/>
              <a:gd name="connsiteX816" fmla="*/ 957601 w 8090452"/>
              <a:gd name="connsiteY816" fmla="*/ 806716 h 6863208"/>
              <a:gd name="connsiteX817" fmla="*/ 886944 w 8090452"/>
              <a:gd name="connsiteY817" fmla="*/ 752365 h 6863208"/>
              <a:gd name="connsiteX818" fmla="*/ 888303 w 8090452"/>
              <a:gd name="connsiteY818" fmla="*/ 751006 h 6863208"/>
              <a:gd name="connsiteX819" fmla="*/ 882867 w 8090452"/>
              <a:gd name="connsiteY819" fmla="*/ 748288 h 6863208"/>
              <a:gd name="connsiteX820" fmla="*/ 819004 w 8090452"/>
              <a:gd name="connsiteY820" fmla="*/ 684425 h 6863208"/>
              <a:gd name="connsiteX821" fmla="*/ 786393 w 8090452"/>
              <a:gd name="connsiteY821" fmla="*/ 649096 h 6863208"/>
              <a:gd name="connsiteX822" fmla="*/ 774164 w 8090452"/>
              <a:gd name="connsiteY822" fmla="*/ 634149 h 6863208"/>
              <a:gd name="connsiteX823" fmla="*/ 778240 w 8090452"/>
              <a:gd name="connsiteY823" fmla="*/ 621920 h 6863208"/>
              <a:gd name="connsiteX824" fmla="*/ 768729 w 8090452"/>
              <a:gd name="connsiteY824" fmla="*/ 623279 h 6863208"/>
              <a:gd name="connsiteX825" fmla="*/ 770087 w 8090452"/>
              <a:gd name="connsiteY825" fmla="*/ 627355 h 6863208"/>
              <a:gd name="connsiteX826" fmla="*/ 761934 w 8090452"/>
              <a:gd name="connsiteY826" fmla="*/ 619202 h 6863208"/>
              <a:gd name="connsiteX827" fmla="*/ 751065 w 8090452"/>
              <a:gd name="connsiteY827" fmla="*/ 562133 h 6863208"/>
              <a:gd name="connsiteX828" fmla="*/ 695354 w 8090452"/>
              <a:gd name="connsiteY828" fmla="*/ 411309 h 6863208"/>
              <a:gd name="connsiteX829" fmla="*/ 787752 w 8090452"/>
              <a:gd name="connsiteY829" fmla="*/ 449355 h 6863208"/>
              <a:gd name="connsiteX830" fmla="*/ 793187 w 8090452"/>
              <a:gd name="connsiteY830" fmla="*/ 495555 h 6863208"/>
              <a:gd name="connsiteX831" fmla="*/ 775523 w 8090452"/>
              <a:gd name="connsiteY831" fmla="*/ 491478 h 6863208"/>
              <a:gd name="connsiteX832" fmla="*/ 742912 w 8090452"/>
              <a:gd name="connsiteY832" fmla="*/ 439844 h 6863208"/>
              <a:gd name="connsiteX833" fmla="*/ 684483 w 8090452"/>
              <a:gd name="connsiteY833" fmla="*/ 416745 h 6863208"/>
              <a:gd name="connsiteX834" fmla="*/ 695354 w 8090452"/>
              <a:gd name="connsiteY834" fmla="*/ 411309 h 6863208"/>
              <a:gd name="connsiteX835" fmla="*/ 514217 w 8090452"/>
              <a:gd name="connsiteY835" fmla="*/ 407257 h 6863208"/>
              <a:gd name="connsiteX836" fmla="*/ 535865 w 8090452"/>
              <a:gd name="connsiteY836" fmla="*/ 409102 h 6863208"/>
              <a:gd name="connsiteX837" fmla="*/ 594803 w 8090452"/>
              <a:gd name="connsiteY837" fmla="*/ 433050 h 6863208"/>
              <a:gd name="connsiteX838" fmla="*/ 641001 w 8090452"/>
              <a:gd name="connsiteY838" fmla="*/ 473815 h 6863208"/>
              <a:gd name="connsiteX839" fmla="*/ 608391 w 8090452"/>
              <a:gd name="connsiteY839" fmla="*/ 468378 h 6863208"/>
              <a:gd name="connsiteX840" fmla="*/ 594803 w 8090452"/>
              <a:gd name="connsiteY840" fmla="*/ 449356 h 6863208"/>
              <a:gd name="connsiteX841" fmla="*/ 551321 w 8090452"/>
              <a:gd name="connsiteY841" fmla="*/ 443920 h 6863208"/>
              <a:gd name="connsiteX842" fmla="*/ 573062 w 8090452"/>
              <a:gd name="connsiteY842" fmla="*/ 433050 h 6863208"/>
              <a:gd name="connsiteX843" fmla="*/ 527202 w 8090452"/>
              <a:gd name="connsiteY843" fmla="*/ 422732 h 6863208"/>
              <a:gd name="connsiteX844" fmla="*/ 511916 w 8090452"/>
              <a:gd name="connsiteY844" fmla="*/ 404515 h 6863208"/>
              <a:gd name="connsiteX845" fmla="*/ 514217 w 8090452"/>
              <a:gd name="connsiteY845" fmla="*/ 407257 h 6863208"/>
              <a:gd name="connsiteX846" fmla="*/ 500750 w 8090452"/>
              <a:gd name="connsiteY846" fmla="*/ 406111 h 6863208"/>
              <a:gd name="connsiteX847" fmla="*/ 524314 w 8090452"/>
              <a:gd name="connsiteY847" fmla="*/ 344925 h 6863208"/>
              <a:gd name="connsiteX848" fmla="*/ 518709 w 8090452"/>
              <a:gd name="connsiteY848" fmla="*/ 348831 h 6863208"/>
              <a:gd name="connsiteX849" fmla="*/ 530939 w 8090452"/>
              <a:gd name="connsiteY849" fmla="*/ 350191 h 6863208"/>
              <a:gd name="connsiteX850" fmla="*/ 524314 w 8090452"/>
              <a:gd name="connsiteY850" fmla="*/ 344925 h 6863208"/>
              <a:gd name="connsiteX851" fmla="*/ 486099 w 8090452"/>
              <a:gd name="connsiteY851" fmla="*/ 329782 h 6863208"/>
              <a:gd name="connsiteX852" fmla="*/ 613825 w 8090452"/>
              <a:gd name="connsiteY852" fmla="*/ 375982 h 6863208"/>
              <a:gd name="connsiteX853" fmla="*/ 641002 w 8090452"/>
              <a:gd name="connsiteY853" fmla="*/ 435767 h 6863208"/>
              <a:gd name="connsiteX854" fmla="*/ 654590 w 8090452"/>
              <a:gd name="connsiteY854" fmla="*/ 479249 h 6863208"/>
              <a:gd name="connsiteX855" fmla="*/ 650513 w 8090452"/>
              <a:gd name="connsiteY855" fmla="*/ 477890 h 6863208"/>
              <a:gd name="connsiteX856" fmla="*/ 593444 w 8090452"/>
              <a:gd name="connsiteY856" fmla="*/ 423538 h 6863208"/>
              <a:gd name="connsiteX857" fmla="*/ 476587 w 8090452"/>
              <a:gd name="connsiteY857" fmla="*/ 390928 h 6863208"/>
              <a:gd name="connsiteX858" fmla="*/ 482022 w 8090452"/>
              <a:gd name="connsiteY858" fmla="*/ 404515 h 6863208"/>
              <a:gd name="connsiteX859" fmla="*/ 500750 w 8090452"/>
              <a:gd name="connsiteY859" fmla="*/ 406111 h 6863208"/>
              <a:gd name="connsiteX860" fmla="*/ 483381 w 8090452"/>
              <a:gd name="connsiteY860" fmla="*/ 408593 h 6863208"/>
              <a:gd name="connsiteX861" fmla="*/ 454847 w 8090452"/>
              <a:gd name="connsiteY861" fmla="*/ 404515 h 6863208"/>
              <a:gd name="connsiteX862" fmla="*/ 486099 w 8090452"/>
              <a:gd name="connsiteY862" fmla="*/ 329782 h 6863208"/>
              <a:gd name="connsiteX863" fmla="*/ 507840 w 8090452"/>
              <a:gd name="connsiteY863" fmla="*/ 269995 h 6863208"/>
              <a:gd name="connsiteX864" fmla="*/ 661384 w 8090452"/>
              <a:gd name="connsiteY864" fmla="*/ 322987 h 6863208"/>
              <a:gd name="connsiteX865" fmla="*/ 759217 w 8090452"/>
              <a:gd name="connsiteY865" fmla="*/ 355599 h 6863208"/>
              <a:gd name="connsiteX866" fmla="*/ 790470 w 8090452"/>
              <a:gd name="connsiteY866" fmla="*/ 356957 h 6863208"/>
              <a:gd name="connsiteX867" fmla="*/ 797264 w 8090452"/>
              <a:gd name="connsiteY867" fmla="*/ 363751 h 6863208"/>
              <a:gd name="connsiteX868" fmla="*/ 808134 w 8090452"/>
              <a:gd name="connsiteY868" fmla="*/ 437126 h 6863208"/>
              <a:gd name="connsiteX869" fmla="*/ 791828 w 8090452"/>
              <a:gd name="connsiteY869" fmla="*/ 442561 h 6863208"/>
              <a:gd name="connsiteX870" fmla="*/ 693995 w 8090452"/>
              <a:gd name="connsiteY870" fmla="*/ 401797 h 6863208"/>
              <a:gd name="connsiteX871" fmla="*/ 651872 w 8090452"/>
              <a:gd name="connsiteY871" fmla="*/ 373263 h 6863208"/>
              <a:gd name="connsiteX872" fmla="*/ 654590 w 8090452"/>
              <a:gd name="connsiteY872" fmla="*/ 384133 h 6863208"/>
              <a:gd name="connsiteX873" fmla="*/ 638285 w 8090452"/>
              <a:gd name="connsiteY873" fmla="*/ 375981 h 6863208"/>
              <a:gd name="connsiteX874" fmla="*/ 615185 w 8090452"/>
              <a:gd name="connsiteY874" fmla="*/ 366469 h 6863208"/>
              <a:gd name="connsiteX875" fmla="*/ 605673 w 8090452"/>
              <a:gd name="connsiteY875" fmla="*/ 359675 h 6863208"/>
              <a:gd name="connsiteX876" fmla="*/ 607032 w 8090452"/>
              <a:gd name="connsiteY876" fmla="*/ 352881 h 6863208"/>
              <a:gd name="connsiteX877" fmla="*/ 604314 w 8090452"/>
              <a:gd name="connsiteY877" fmla="*/ 361033 h 6863208"/>
              <a:gd name="connsiteX878" fmla="*/ 488817 w 8090452"/>
              <a:gd name="connsiteY878" fmla="*/ 318911 h 6863208"/>
              <a:gd name="connsiteX879" fmla="*/ 507840 w 8090452"/>
              <a:gd name="connsiteY879" fmla="*/ 269995 h 6863208"/>
              <a:gd name="connsiteX880" fmla="*/ 859768 w 8090452"/>
              <a:gd name="connsiteY880" fmla="*/ 230589 h 6863208"/>
              <a:gd name="connsiteX881" fmla="*/ 859767 w 8090452"/>
              <a:gd name="connsiteY881" fmla="*/ 244177 h 6863208"/>
              <a:gd name="connsiteX882" fmla="*/ 852974 w 8090452"/>
              <a:gd name="connsiteY882" fmla="*/ 291735 h 6863208"/>
              <a:gd name="connsiteX883" fmla="*/ 835309 w 8090452"/>
              <a:gd name="connsiteY883" fmla="*/ 268636 h 6863208"/>
              <a:gd name="connsiteX884" fmla="*/ 859768 w 8090452"/>
              <a:gd name="connsiteY884" fmla="*/ 230589 h 6863208"/>
              <a:gd name="connsiteX885" fmla="*/ 818532 w 8090452"/>
              <a:gd name="connsiteY885" fmla="*/ 130036 h 6863208"/>
              <a:gd name="connsiteX886" fmla="*/ 850256 w 8090452"/>
              <a:gd name="connsiteY886" fmla="*/ 136832 h 6863208"/>
              <a:gd name="connsiteX887" fmla="*/ 1020106 w 8090452"/>
              <a:gd name="connsiteY887" fmla="*/ 154497 h 6863208"/>
              <a:gd name="connsiteX888" fmla="*/ 1019191 w 8090452"/>
              <a:gd name="connsiteY888" fmla="*/ 151754 h 6863208"/>
              <a:gd name="connsiteX889" fmla="*/ 1020106 w 8090452"/>
              <a:gd name="connsiteY889" fmla="*/ 151779 h 6863208"/>
              <a:gd name="connsiteX890" fmla="*/ 1039129 w 8090452"/>
              <a:gd name="connsiteY890" fmla="*/ 189826 h 6863208"/>
              <a:gd name="connsiteX891" fmla="*/ 1052717 w 8090452"/>
              <a:gd name="connsiteY891" fmla="*/ 197978 h 6863208"/>
              <a:gd name="connsiteX892" fmla="*/ 1067664 w 8090452"/>
              <a:gd name="connsiteY892" fmla="*/ 250971 h 6863208"/>
              <a:gd name="connsiteX893" fmla="*/ 1063587 w 8090452"/>
              <a:gd name="connsiteY893" fmla="*/ 252330 h 6863208"/>
              <a:gd name="connsiteX894" fmla="*/ 1070381 w 8090452"/>
              <a:gd name="connsiteY894" fmla="*/ 256407 h 6863208"/>
              <a:gd name="connsiteX895" fmla="*/ 1105710 w 8090452"/>
              <a:gd name="connsiteY895" fmla="*/ 367828 h 6863208"/>
              <a:gd name="connsiteX896" fmla="*/ 1165496 w 8090452"/>
              <a:gd name="connsiteY896" fmla="*/ 433050 h 6863208"/>
              <a:gd name="connsiteX897" fmla="*/ 1162779 w 8090452"/>
              <a:gd name="connsiteY897" fmla="*/ 435767 h 6863208"/>
              <a:gd name="connsiteX898" fmla="*/ 1207619 w 8090452"/>
              <a:gd name="connsiteY898" fmla="*/ 548545 h 6863208"/>
              <a:gd name="connsiteX899" fmla="*/ 1238872 w 8090452"/>
              <a:gd name="connsiteY899" fmla="*/ 566209 h 6863208"/>
              <a:gd name="connsiteX900" fmla="*/ 1232078 w 8090452"/>
              <a:gd name="connsiteY900" fmla="*/ 578438 h 6863208"/>
              <a:gd name="connsiteX901" fmla="*/ 1244646 w 8090452"/>
              <a:gd name="connsiteY901" fmla="*/ 598821 h 6863208"/>
              <a:gd name="connsiteX902" fmla="*/ 1250508 w 8090452"/>
              <a:gd name="connsiteY902" fmla="*/ 617330 h 6863208"/>
              <a:gd name="connsiteX903" fmla="*/ 1226643 w 8090452"/>
              <a:gd name="connsiteY903" fmla="*/ 611050 h 6863208"/>
              <a:gd name="connsiteX904" fmla="*/ 1144488 w 8090452"/>
              <a:gd name="connsiteY904" fmla="*/ 583415 h 6863208"/>
              <a:gd name="connsiteX905" fmla="*/ 1075986 w 8090452"/>
              <a:gd name="connsiteY905" fmla="*/ 559585 h 6863208"/>
              <a:gd name="connsiteX906" fmla="*/ 924990 w 8090452"/>
              <a:gd name="connsiteY906" fmla="*/ 496914 h 6863208"/>
              <a:gd name="connsiteX907" fmla="*/ 847539 w 8090452"/>
              <a:gd name="connsiteY907" fmla="*/ 462944 h 6863208"/>
              <a:gd name="connsiteX908" fmla="*/ 814928 w 8090452"/>
              <a:gd name="connsiteY908" fmla="*/ 430333 h 6863208"/>
              <a:gd name="connsiteX909" fmla="*/ 828515 w 8090452"/>
              <a:gd name="connsiteY909" fmla="*/ 405874 h 6863208"/>
              <a:gd name="connsiteX910" fmla="*/ 850256 w 8090452"/>
              <a:gd name="connsiteY910" fmla="*/ 400439 h 6863208"/>
              <a:gd name="connsiteX911" fmla="*/ 865204 w 8090452"/>
              <a:gd name="connsiteY911" fmla="*/ 352881 h 6863208"/>
              <a:gd name="connsiteX912" fmla="*/ 857051 w 8090452"/>
              <a:gd name="connsiteY912" fmla="*/ 303965 h 6863208"/>
              <a:gd name="connsiteX913" fmla="*/ 866562 w 8090452"/>
              <a:gd name="connsiteY913" fmla="*/ 245536 h 6863208"/>
              <a:gd name="connsiteX914" fmla="*/ 862486 w 8090452"/>
              <a:gd name="connsiteY914" fmla="*/ 219719 h 6863208"/>
              <a:gd name="connsiteX915" fmla="*/ 866562 w 8090452"/>
              <a:gd name="connsiteY915" fmla="*/ 193901 h 6863208"/>
              <a:gd name="connsiteX916" fmla="*/ 843462 w 8090452"/>
              <a:gd name="connsiteY916" fmla="*/ 168085 h 6863208"/>
              <a:gd name="connsiteX917" fmla="*/ 791829 w 8090452"/>
              <a:gd name="connsiteY917" fmla="*/ 127321 h 6863208"/>
              <a:gd name="connsiteX918" fmla="*/ 810851 w 8090452"/>
              <a:gd name="connsiteY918" fmla="*/ 132756 h 6863208"/>
              <a:gd name="connsiteX919" fmla="*/ 833951 w 8090452"/>
              <a:gd name="connsiteY919" fmla="*/ 164009 h 6863208"/>
              <a:gd name="connsiteX920" fmla="*/ 819004 w 8090452"/>
              <a:gd name="connsiteY920" fmla="*/ 154496 h 6863208"/>
              <a:gd name="connsiteX921" fmla="*/ 799982 w 8090452"/>
              <a:gd name="connsiteY921" fmla="*/ 157215 h 6863208"/>
              <a:gd name="connsiteX922" fmla="*/ 791829 w 8090452"/>
              <a:gd name="connsiteY922" fmla="*/ 127321 h 6863208"/>
              <a:gd name="connsiteX923" fmla="*/ 779599 w 8090452"/>
              <a:gd name="connsiteY923" fmla="*/ 104222 h 6863208"/>
              <a:gd name="connsiteX924" fmla="*/ 802699 w 8090452"/>
              <a:gd name="connsiteY924" fmla="*/ 121885 h 6863208"/>
              <a:gd name="connsiteX925" fmla="*/ 789110 w 8090452"/>
              <a:gd name="connsiteY925" fmla="*/ 119168 h 6863208"/>
              <a:gd name="connsiteX926" fmla="*/ 779599 w 8090452"/>
              <a:gd name="connsiteY926" fmla="*/ 104222 h 6863208"/>
              <a:gd name="connsiteX927" fmla="*/ 590727 w 8090452"/>
              <a:gd name="connsiteY927" fmla="*/ 59382 h 6863208"/>
              <a:gd name="connsiteX928" fmla="*/ 680408 w 8090452"/>
              <a:gd name="connsiteY928" fmla="*/ 94710 h 6863208"/>
              <a:gd name="connsiteX929" fmla="*/ 683124 w 8090452"/>
              <a:gd name="connsiteY929" fmla="*/ 108298 h 6863208"/>
              <a:gd name="connsiteX930" fmla="*/ 706224 w 8090452"/>
              <a:gd name="connsiteY930" fmla="*/ 109657 h 6863208"/>
              <a:gd name="connsiteX931" fmla="*/ 674971 w 8090452"/>
              <a:gd name="connsiteY931" fmla="*/ 168085 h 6863208"/>
              <a:gd name="connsiteX932" fmla="*/ 710301 w 8090452"/>
              <a:gd name="connsiteY932" fmla="*/ 111015 h 6863208"/>
              <a:gd name="connsiteX933" fmla="*/ 718454 w 8090452"/>
              <a:gd name="connsiteY933" fmla="*/ 111015 h 6863208"/>
              <a:gd name="connsiteX934" fmla="*/ 721171 w 8090452"/>
              <a:gd name="connsiteY934" fmla="*/ 146344 h 6863208"/>
              <a:gd name="connsiteX935" fmla="*/ 782317 w 8090452"/>
              <a:gd name="connsiteY935" fmla="*/ 280865 h 6863208"/>
              <a:gd name="connsiteX936" fmla="*/ 776882 w 8090452"/>
              <a:gd name="connsiteY936" fmla="*/ 346087 h 6863208"/>
              <a:gd name="connsiteX937" fmla="*/ 753782 w 8090452"/>
              <a:gd name="connsiteY937" fmla="*/ 344728 h 6863208"/>
              <a:gd name="connsiteX938" fmla="*/ 658666 w 8090452"/>
              <a:gd name="connsiteY938" fmla="*/ 309400 h 6863208"/>
              <a:gd name="connsiteX939" fmla="*/ 514634 w 8090452"/>
              <a:gd name="connsiteY939" fmla="*/ 252330 h 6863208"/>
              <a:gd name="connsiteX940" fmla="*/ 528222 w 8090452"/>
              <a:gd name="connsiteY940" fmla="*/ 200696 h 6863208"/>
              <a:gd name="connsiteX941" fmla="*/ 535016 w 8090452"/>
              <a:gd name="connsiteY941" fmla="*/ 199337 h 6863208"/>
              <a:gd name="connsiteX942" fmla="*/ 537733 w 8090452"/>
              <a:gd name="connsiteY942" fmla="*/ 191185 h 6863208"/>
              <a:gd name="connsiteX943" fmla="*/ 532298 w 8090452"/>
              <a:gd name="connsiteY943" fmla="*/ 188467 h 6863208"/>
              <a:gd name="connsiteX944" fmla="*/ 539092 w 8090452"/>
              <a:gd name="connsiteY944" fmla="*/ 165367 h 6863208"/>
              <a:gd name="connsiteX945" fmla="*/ 574421 w 8090452"/>
              <a:gd name="connsiteY945" fmla="*/ 162650 h 6863208"/>
              <a:gd name="connsiteX946" fmla="*/ 590727 w 8090452"/>
              <a:gd name="connsiteY946" fmla="*/ 59382 h 6863208"/>
              <a:gd name="connsiteX947" fmla="*/ 1373675 w 8090452"/>
              <a:gd name="connsiteY947" fmla="*/ 0 h 6863208"/>
              <a:gd name="connsiteX948" fmla="*/ 8090452 w 8090452"/>
              <a:gd name="connsiteY948" fmla="*/ 0 h 6863208"/>
              <a:gd name="connsiteX949" fmla="*/ 8090452 w 8090452"/>
              <a:gd name="connsiteY949" fmla="*/ 6863208 h 6863208"/>
              <a:gd name="connsiteX950" fmla="*/ 0 w 8090452"/>
              <a:gd name="connsiteY950" fmla="*/ 6863208 h 6863208"/>
              <a:gd name="connsiteX951" fmla="*/ 0 w 8090452"/>
              <a:gd name="connsiteY951" fmla="*/ 1585551 h 6863208"/>
              <a:gd name="connsiteX952" fmla="*/ 1178 w 8090452"/>
              <a:gd name="connsiteY952" fmla="*/ 1586154 h 6863208"/>
              <a:gd name="connsiteX953" fmla="*/ 5085 w 8090452"/>
              <a:gd name="connsiteY953" fmla="*/ 1590740 h 6863208"/>
              <a:gd name="connsiteX954" fmla="*/ 9162 w 8090452"/>
              <a:gd name="connsiteY954" fmla="*/ 1581229 h 6863208"/>
              <a:gd name="connsiteX955" fmla="*/ 2197 w 8090452"/>
              <a:gd name="connsiteY955" fmla="*/ 1583437 h 6863208"/>
              <a:gd name="connsiteX956" fmla="*/ 0 w 8090452"/>
              <a:gd name="connsiteY956" fmla="*/ 1583203 h 6863208"/>
              <a:gd name="connsiteX957" fmla="*/ 0 w 8090452"/>
              <a:gd name="connsiteY957" fmla="*/ 1471498 h 6863208"/>
              <a:gd name="connsiteX958" fmla="*/ 3217 w 8090452"/>
              <a:gd name="connsiteY958" fmla="*/ 1477791 h 6863208"/>
              <a:gd name="connsiteX959" fmla="*/ 28185 w 8090452"/>
              <a:gd name="connsiteY959" fmla="*/ 1483397 h 6863208"/>
              <a:gd name="connsiteX960" fmla="*/ 32262 w 8090452"/>
              <a:gd name="connsiteY960" fmla="*/ 1490190 h 6863208"/>
              <a:gd name="connsiteX961" fmla="*/ 47208 w 8090452"/>
              <a:gd name="connsiteY961" fmla="*/ 1477961 h 6863208"/>
              <a:gd name="connsiteX962" fmla="*/ 49926 w 8090452"/>
              <a:gd name="connsiteY962" fmla="*/ 1467091 h 6863208"/>
              <a:gd name="connsiteX963" fmla="*/ 48567 w 8090452"/>
              <a:gd name="connsiteY963" fmla="*/ 1454862 h 6863208"/>
              <a:gd name="connsiteX964" fmla="*/ 39055 w 8090452"/>
              <a:gd name="connsiteY964" fmla="*/ 1448068 h 6863208"/>
              <a:gd name="connsiteX965" fmla="*/ 40414 w 8090452"/>
              <a:gd name="connsiteY965" fmla="*/ 1441274 h 6863208"/>
              <a:gd name="connsiteX966" fmla="*/ 33620 w 8090452"/>
              <a:gd name="connsiteY966" fmla="*/ 1437197 h 6863208"/>
              <a:gd name="connsiteX967" fmla="*/ 24109 w 8090452"/>
              <a:gd name="connsiteY967" fmla="*/ 1438556 h 6863208"/>
              <a:gd name="connsiteX968" fmla="*/ 21391 w 8090452"/>
              <a:gd name="connsiteY968" fmla="*/ 1430404 h 6863208"/>
              <a:gd name="connsiteX969" fmla="*/ 10520 w 8090452"/>
              <a:gd name="connsiteY969" fmla="*/ 1430404 h 6863208"/>
              <a:gd name="connsiteX970" fmla="*/ 6954 w 8090452"/>
              <a:gd name="connsiteY970" fmla="*/ 1437367 h 6863208"/>
              <a:gd name="connsiteX971" fmla="*/ 0 w 8090452"/>
              <a:gd name="connsiteY971" fmla="*/ 1437231 h 6863208"/>
              <a:gd name="connsiteX972" fmla="*/ 0 w 8090452"/>
              <a:gd name="connsiteY972" fmla="*/ 1186711 h 6863208"/>
              <a:gd name="connsiteX973" fmla="*/ 52642 w 8090452"/>
              <a:gd name="connsiteY973" fmla="*/ 1293165 h 6863208"/>
              <a:gd name="connsiteX974" fmla="*/ 63513 w 8090452"/>
              <a:gd name="connsiteY974" fmla="*/ 1363823 h 6863208"/>
              <a:gd name="connsiteX975" fmla="*/ 94765 w 8090452"/>
              <a:gd name="connsiteY975" fmla="*/ 1520085 h 6863208"/>
              <a:gd name="connsiteX976" fmla="*/ 94596 w 8090452"/>
              <a:gd name="connsiteY976" fmla="*/ 1661229 h 6863208"/>
              <a:gd name="connsiteX977" fmla="*/ 74488 w 8090452"/>
              <a:gd name="connsiteY977" fmla="*/ 1758302 h 6863208"/>
              <a:gd name="connsiteX978" fmla="*/ 61305 w 8090452"/>
              <a:gd name="connsiteY978" fmla="*/ 1748530 h 6863208"/>
              <a:gd name="connsiteX979" fmla="*/ 45849 w 8090452"/>
              <a:gd name="connsiteY979" fmla="*/ 1742925 h 6863208"/>
              <a:gd name="connsiteX980" fmla="*/ 61304 w 8090452"/>
              <a:gd name="connsiteY980" fmla="*/ 1753626 h 6863208"/>
              <a:gd name="connsiteX981" fmla="*/ 74404 w 8090452"/>
              <a:gd name="connsiteY981" fmla="*/ 1758711 h 6863208"/>
              <a:gd name="connsiteX982" fmla="*/ 70500 w 8090452"/>
              <a:gd name="connsiteY982" fmla="*/ 1777558 h 6863208"/>
              <a:gd name="connsiteX983" fmla="*/ 67083 w 8090452"/>
              <a:gd name="connsiteY983" fmla="*/ 1778136 h 6863208"/>
              <a:gd name="connsiteX984" fmla="*/ 70307 w 8090452"/>
              <a:gd name="connsiteY984" fmla="*/ 1778255 h 6863208"/>
              <a:gd name="connsiteX985" fmla="*/ 70362 w 8090452"/>
              <a:gd name="connsiteY985" fmla="*/ 1778224 h 6863208"/>
              <a:gd name="connsiteX986" fmla="*/ 68948 w 8090452"/>
              <a:gd name="connsiteY986" fmla="*/ 1785049 h 6863208"/>
              <a:gd name="connsiteX987" fmla="*/ 70569 w 8090452"/>
              <a:gd name="connsiteY987" fmla="*/ 1778109 h 6863208"/>
              <a:gd name="connsiteX988" fmla="*/ 72027 w 8090452"/>
              <a:gd name="connsiteY988" fmla="*/ 1777300 h 6863208"/>
              <a:gd name="connsiteX989" fmla="*/ 70705 w 8090452"/>
              <a:gd name="connsiteY989" fmla="*/ 1777523 h 6863208"/>
              <a:gd name="connsiteX990" fmla="*/ 75042 w 8090452"/>
              <a:gd name="connsiteY990" fmla="*/ 1758959 h 6863208"/>
              <a:gd name="connsiteX991" fmla="*/ 75742 w 8090452"/>
              <a:gd name="connsiteY991" fmla="*/ 1759231 h 6863208"/>
              <a:gd name="connsiteX992" fmla="*/ 75092 w 8090452"/>
              <a:gd name="connsiteY992" fmla="*/ 1758749 h 6863208"/>
              <a:gd name="connsiteX993" fmla="*/ 97313 w 8090452"/>
              <a:gd name="connsiteY993" fmla="*/ 1663607 h 6863208"/>
              <a:gd name="connsiteX994" fmla="*/ 100200 w 8090452"/>
              <a:gd name="connsiteY994" fmla="*/ 1522802 h 6863208"/>
              <a:gd name="connsiteX995" fmla="*/ 71666 w 8090452"/>
              <a:gd name="connsiteY995" fmla="*/ 1366541 h 6863208"/>
              <a:gd name="connsiteX996" fmla="*/ 63514 w 8090452"/>
              <a:gd name="connsiteY996" fmla="*/ 1309471 h 6863208"/>
              <a:gd name="connsiteX997" fmla="*/ 119224 w 8090452"/>
              <a:gd name="connsiteY997" fmla="*/ 1395075 h 6863208"/>
              <a:gd name="connsiteX998" fmla="*/ 111071 w 8090452"/>
              <a:gd name="connsiteY998" fmla="*/ 1530955 h 6863208"/>
              <a:gd name="connsiteX999" fmla="*/ 157270 w 8090452"/>
              <a:gd name="connsiteY999" fmla="*/ 1857065 h 6863208"/>
              <a:gd name="connsiteX1000" fmla="*/ 115147 w 8090452"/>
              <a:gd name="connsiteY1000" fmla="*/ 1532314 h 6863208"/>
              <a:gd name="connsiteX1001" fmla="*/ 124659 w 8090452"/>
              <a:gd name="connsiteY1001" fmla="*/ 1400511 h 6863208"/>
              <a:gd name="connsiteX1002" fmla="*/ 200751 w 8090452"/>
              <a:gd name="connsiteY1002" fmla="*/ 1517367 h 6863208"/>
              <a:gd name="connsiteX1003" fmla="*/ 214339 w 8090452"/>
              <a:gd name="connsiteY1003" fmla="*/ 1539107 h 6863208"/>
              <a:gd name="connsiteX1004" fmla="*/ 244233 w 8090452"/>
              <a:gd name="connsiteY1004" fmla="*/ 1694010 h 6863208"/>
              <a:gd name="connsiteX1005" fmla="*/ 218416 w 8090452"/>
              <a:gd name="connsiteY1005" fmla="*/ 1545902 h 6863208"/>
              <a:gd name="connsiteX1006" fmla="*/ 264615 w 8090452"/>
              <a:gd name="connsiteY1006" fmla="*/ 1641017 h 6863208"/>
              <a:gd name="connsiteX1007" fmla="*/ 327119 w 8090452"/>
              <a:gd name="connsiteY1007" fmla="*/ 1880165 h 6863208"/>
              <a:gd name="connsiteX1008" fmla="*/ 348860 w 8090452"/>
              <a:gd name="connsiteY1008" fmla="*/ 2105725 h 6863208"/>
              <a:gd name="connsiteX1009" fmla="*/ 381472 w 8090452"/>
              <a:gd name="connsiteY1009" fmla="*/ 2336722 h 6863208"/>
              <a:gd name="connsiteX1010" fmla="*/ 473870 w 8090452"/>
              <a:gd name="connsiteY1010" fmla="*/ 2581305 h 6863208"/>
              <a:gd name="connsiteX1011" fmla="*/ 382829 w 8090452"/>
              <a:gd name="connsiteY1011" fmla="*/ 2338079 h 6863208"/>
              <a:gd name="connsiteX1012" fmla="*/ 352937 w 8090452"/>
              <a:gd name="connsiteY1012" fmla="*/ 2109802 h 6863208"/>
              <a:gd name="connsiteX1013" fmla="*/ 272768 w 8090452"/>
              <a:gd name="connsiteY1013" fmla="*/ 1643735 h 6863208"/>
              <a:gd name="connsiteX1014" fmla="*/ 271409 w 8090452"/>
              <a:gd name="connsiteY1014" fmla="*/ 1639658 h 6863208"/>
              <a:gd name="connsiteX1015" fmla="*/ 280920 w 8090452"/>
              <a:gd name="connsiteY1015" fmla="*/ 1654605 h 6863208"/>
              <a:gd name="connsiteX1016" fmla="*/ 384189 w 8090452"/>
              <a:gd name="connsiteY1016" fmla="*/ 1776897 h 6863208"/>
              <a:gd name="connsiteX1017" fmla="*/ 282279 w 8090452"/>
              <a:gd name="connsiteY1017" fmla="*/ 1653246 h 6863208"/>
              <a:gd name="connsiteX1018" fmla="*/ 265974 w 8090452"/>
              <a:gd name="connsiteY1018" fmla="*/ 1626070 h 6863208"/>
              <a:gd name="connsiteX1019" fmla="*/ 246950 w 8090452"/>
              <a:gd name="connsiteY1019" fmla="*/ 1582589 h 6863208"/>
              <a:gd name="connsiteX1020" fmla="*/ 225210 w 8090452"/>
              <a:gd name="connsiteY1020" fmla="*/ 1506496 h 6863208"/>
              <a:gd name="connsiteX1021" fmla="*/ 211622 w 8090452"/>
              <a:gd name="connsiteY1021" fmla="*/ 1397793 h 6863208"/>
              <a:gd name="connsiteX1022" fmla="*/ 218416 w 8090452"/>
              <a:gd name="connsiteY1022" fmla="*/ 1325777 h 6863208"/>
              <a:gd name="connsiteX1023" fmla="*/ 215698 w 8090452"/>
              <a:gd name="connsiteY1023" fmla="*/ 1203485 h 6863208"/>
              <a:gd name="connsiteX1024" fmla="*/ 183087 w 8090452"/>
              <a:gd name="connsiteY1024" fmla="*/ 1119239 h 6863208"/>
              <a:gd name="connsiteX1025" fmla="*/ 184446 w 8090452"/>
              <a:gd name="connsiteY1025" fmla="*/ 1117880 h 6863208"/>
              <a:gd name="connsiteX1026" fmla="*/ 173576 w 8090452"/>
              <a:gd name="connsiteY1026" fmla="*/ 1101575 h 6863208"/>
              <a:gd name="connsiteX1027" fmla="*/ 151835 w 8090452"/>
              <a:gd name="connsiteY1027" fmla="*/ 1066246 h 6863208"/>
              <a:gd name="connsiteX1028" fmla="*/ 123301 w 8090452"/>
              <a:gd name="connsiteY1028" fmla="*/ 1021406 h 6863208"/>
              <a:gd name="connsiteX1029" fmla="*/ 116506 w 8090452"/>
              <a:gd name="connsiteY1029" fmla="*/ 979283 h 6863208"/>
              <a:gd name="connsiteX1030" fmla="*/ 121942 w 8090452"/>
              <a:gd name="connsiteY1030" fmla="*/ 1001024 h 6863208"/>
              <a:gd name="connsiteX1031" fmla="*/ 203469 w 8090452"/>
              <a:gd name="connsiteY1031" fmla="*/ 1104292 h 6863208"/>
              <a:gd name="connsiteX1032" fmla="*/ 217058 w 8090452"/>
              <a:gd name="connsiteY1032" fmla="*/ 1096140 h 6863208"/>
              <a:gd name="connsiteX1033" fmla="*/ 230985 w 8090452"/>
              <a:gd name="connsiteY1033" fmla="*/ 1129430 h 6863208"/>
              <a:gd name="connsiteX1034" fmla="*/ 259180 w 8090452"/>
              <a:gd name="connsiteY1034" fmla="*/ 1170873 h 6863208"/>
              <a:gd name="connsiteX1035" fmla="*/ 253745 w 8090452"/>
              <a:gd name="connsiteY1035" fmla="*/ 1168156 h 6863208"/>
              <a:gd name="connsiteX1036" fmla="*/ 253746 w 8090452"/>
              <a:gd name="connsiteY1036" fmla="*/ 1170873 h 6863208"/>
              <a:gd name="connsiteX1037" fmla="*/ 256462 w 8090452"/>
              <a:gd name="connsiteY1037" fmla="*/ 1172911 h 6863208"/>
              <a:gd name="connsiteX1038" fmla="*/ 259181 w 8090452"/>
              <a:gd name="connsiteY1038" fmla="*/ 1170873 h 6863208"/>
              <a:gd name="connsiteX1039" fmla="*/ 395060 w 8090452"/>
              <a:gd name="connsiteY1039" fmla="*/ 1200767 h 6863208"/>
              <a:gd name="connsiteX1040" fmla="*/ 491534 w 8090452"/>
              <a:gd name="connsiteY1040" fmla="*/ 1136903 h 6863208"/>
              <a:gd name="connsiteX1041" fmla="*/ 511916 w 8090452"/>
              <a:gd name="connsiteY1041" fmla="*/ 1089345 h 6863208"/>
              <a:gd name="connsiteX1042" fmla="*/ 612467 w 8090452"/>
              <a:gd name="connsiteY1042" fmla="*/ 994230 h 6863208"/>
              <a:gd name="connsiteX1043" fmla="*/ 548604 w 8090452"/>
              <a:gd name="connsiteY1043" fmla="*/ 984718 h 6863208"/>
              <a:gd name="connsiteX1044" fmla="*/ 492894 w 8090452"/>
              <a:gd name="connsiteY1044" fmla="*/ 1002383 h 6863208"/>
              <a:gd name="connsiteX1045" fmla="*/ 467076 w 8090452"/>
              <a:gd name="connsiteY1045" fmla="*/ 1049940 h 6863208"/>
              <a:gd name="connsiteX1046" fmla="*/ 414083 w 8090452"/>
              <a:gd name="connsiteY1046" fmla="*/ 1064887 h 6863208"/>
              <a:gd name="connsiteX1047" fmla="*/ 363808 w 8090452"/>
              <a:gd name="connsiteY1047" fmla="*/ 1052659 h 6863208"/>
              <a:gd name="connsiteX1048" fmla="*/ 366526 w 8090452"/>
              <a:gd name="connsiteY1048" fmla="*/ 1011894 h 6863208"/>
              <a:gd name="connsiteX1049" fmla="*/ 350220 w 8090452"/>
              <a:gd name="connsiteY1049" fmla="*/ 995588 h 6863208"/>
              <a:gd name="connsiteX1050" fmla="*/ 352937 w 8090452"/>
              <a:gd name="connsiteY1050" fmla="*/ 930367 h 6863208"/>
              <a:gd name="connsiteX1051" fmla="*/ 336631 w 8090452"/>
              <a:gd name="connsiteY1051" fmla="*/ 919496 h 6863208"/>
              <a:gd name="connsiteX1052" fmla="*/ 352937 w 8090452"/>
              <a:gd name="connsiteY1052" fmla="*/ 818945 h 6863208"/>
              <a:gd name="connsiteX1053" fmla="*/ 355655 w 8090452"/>
              <a:gd name="connsiteY1053" fmla="*/ 737418 h 6863208"/>
              <a:gd name="connsiteX1054" fmla="*/ 310814 w 8090452"/>
              <a:gd name="connsiteY1054" fmla="*/ 698012 h 6863208"/>
              <a:gd name="connsiteX1055" fmla="*/ 310814 w 8090452"/>
              <a:gd name="connsiteY1055" fmla="*/ 670837 h 6863208"/>
              <a:gd name="connsiteX1056" fmla="*/ 305379 w 8090452"/>
              <a:gd name="connsiteY1056" fmla="*/ 670837 h 6863208"/>
              <a:gd name="connsiteX1057" fmla="*/ 299945 w 8090452"/>
              <a:gd name="connsiteY1057" fmla="*/ 649096 h 6863208"/>
              <a:gd name="connsiteX1058" fmla="*/ 302662 w 8090452"/>
              <a:gd name="connsiteY1058" fmla="*/ 646378 h 6863208"/>
              <a:gd name="connsiteX1059" fmla="*/ 450770 w 8090452"/>
              <a:gd name="connsiteY1059" fmla="*/ 625996 h 6863208"/>
              <a:gd name="connsiteX1060" fmla="*/ 475229 w 8090452"/>
              <a:gd name="connsiteY1060" fmla="*/ 650454 h 6863208"/>
              <a:gd name="connsiteX1061" fmla="*/ 533657 w 8090452"/>
              <a:gd name="connsiteY1061" fmla="*/ 687142 h 6863208"/>
              <a:gd name="connsiteX1062" fmla="*/ 601597 w 8090452"/>
              <a:gd name="connsiteY1062" fmla="*/ 784976 h 6863208"/>
              <a:gd name="connsiteX1063" fmla="*/ 600238 w 8090452"/>
              <a:gd name="connsiteY1063" fmla="*/ 786335 h 6863208"/>
              <a:gd name="connsiteX1064" fmla="*/ 605673 w 8090452"/>
              <a:gd name="connsiteY1064" fmla="*/ 789051 h 6863208"/>
              <a:gd name="connsiteX1065" fmla="*/ 609749 w 8090452"/>
              <a:gd name="connsiteY1065" fmla="*/ 793128 h 6863208"/>
              <a:gd name="connsiteX1066" fmla="*/ 670895 w 8090452"/>
              <a:gd name="connsiteY1066" fmla="*/ 856992 h 6863208"/>
              <a:gd name="connsiteX1067" fmla="*/ 714376 w 8090452"/>
              <a:gd name="connsiteY1067" fmla="*/ 952107 h 6863208"/>
              <a:gd name="connsiteX1068" fmla="*/ 821722 w 8090452"/>
              <a:gd name="connsiteY1068" fmla="*/ 1089345 h 6863208"/>
              <a:gd name="connsiteX1069" fmla="*/ 852973 w 8090452"/>
              <a:gd name="connsiteY1069" fmla="*/ 1117880 h 6863208"/>
              <a:gd name="connsiteX1070" fmla="*/ 851718 w 8090452"/>
              <a:gd name="connsiteY1070" fmla="*/ 1114897 h 6863208"/>
              <a:gd name="connsiteX1071" fmla="*/ 858409 w 8090452"/>
              <a:gd name="connsiteY1071" fmla="*/ 1120597 h 6863208"/>
              <a:gd name="connsiteX1072" fmla="*/ 918196 w 8090452"/>
              <a:gd name="connsiteY1072" fmla="*/ 1226584 h 6863208"/>
              <a:gd name="connsiteX1073" fmla="*/ 1039129 w 8090452"/>
              <a:gd name="connsiteY1073" fmla="*/ 1358387 h 6863208"/>
              <a:gd name="connsiteX1074" fmla="*/ 1297300 w 8090452"/>
              <a:gd name="connsiteY1074" fmla="*/ 1491549 h 6863208"/>
              <a:gd name="connsiteX1075" fmla="*/ 1039129 w 8090452"/>
              <a:gd name="connsiteY1075" fmla="*/ 1352952 h 6863208"/>
              <a:gd name="connsiteX1076" fmla="*/ 922273 w 8090452"/>
              <a:gd name="connsiteY1076" fmla="*/ 1222508 h 6863208"/>
              <a:gd name="connsiteX1077" fmla="*/ 870638 w 8090452"/>
              <a:gd name="connsiteY1077" fmla="*/ 1130109 h 6863208"/>
              <a:gd name="connsiteX1078" fmla="*/ 879124 w 8090452"/>
              <a:gd name="connsiteY1078" fmla="*/ 1135452 h 6863208"/>
              <a:gd name="connsiteX1079" fmla="*/ 905458 w 8090452"/>
              <a:gd name="connsiteY1079" fmla="*/ 1154398 h 6863208"/>
              <a:gd name="connsiteX1080" fmla="*/ 944014 w 8090452"/>
              <a:gd name="connsiteY1080" fmla="*/ 1176308 h 6863208"/>
              <a:gd name="connsiteX1081" fmla="*/ 949448 w 8090452"/>
              <a:gd name="connsiteY1081" fmla="*/ 1179026 h 6863208"/>
              <a:gd name="connsiteX1082" fmla="*/ 980700 w 8090452"/>
              <a:gd name="connsiteY1082" fmla="*/ 1218431 h 6863208"/>
              <a:gd name="connsiteX1083" fmla="*/ 1215772 w 8090452"/>
              <a:gd name="connsiteY1083" fmla="*/ 1426326 h 6863208"/>
              <a:gd name="connsiteX1084" fmla="*/ 982059 w 8090452"/>
              <a:gd name="connsiteY1084" fmla="*/ 1214354 h 6863208"/>
              <a:gd name="connsiteX1085" fmla="*/ 957601 w 8090452"/>
              <a:gd name="connsiteY1085" fmla="*/ 1181743 h 6863208"/>
              <a:gd name="connsiteX1086" fmla="*/ 1183161 w 8090452"/>
              <a:gd name="connsiteY1086" fmla="*/ 1249683 h 6863208"/>
              <a:gd name="connsiteX1087" fmla="*/ 956242 w 8090452"/>
              <a:gd name="connsiteY1087" fmla="*/ 1177667 h 6863208"/>
              <a:gd name="connsiteX1088" fmla="*/ 892379 w 8090452"/>
              <a:gd name="connsiteY1088" fmla="*/ 1073040 h 6863208"/>
              <a:gd name="connsiteX1089" fmla="*/ 876073 w 8090452"/>
              <a:gd name="connsiteY1089" fmla="*/ 1037711 h 6863208"/>
              <a:gd name="connsiteX1090" fmla="*/ 983418 w 8090452"/>
              <a:gd name="connsiteY1090" fmla="*/ 1093422 h 6863208"/>
              <a:gd name="connsiteX1091" fmla="*/ 1030976 w 8090452"/>
              <a:gd name="connsiteY1091" fmla="*/ 1113804 h 6863208"/>
              <a:gd name="connsiteX1092" fmla="*/ 1045923 w 8090452"/>
              <a:gd name="connsiteY1092" fmla="*/ 1126033 h 6863208"/>
              <a:gd name="connsiteX1093" fmla="*/ 1056793 w 8090452"/>
              <a:gd name="connsiteY1093" fmla="*/ 1134186 h 6863208"/>
              <a:gd name="connsiteX1094" fmla="*/ 1063252 w 8090452"/>
              <a:gd name="connsiteY1094" fmla="*/ 1139159 h 6863208"/>
              <a:gd name="connsiteX1095" fmla="*/ 1073099 w 8090452"/>
              <a:gd name="connsiteY1095" fmla="*/ 1147774 h 6863208"/>
              <a:gd name="connsiteX1096" fmla="*/ 1078775 w 8090452"/>
              <a:gd name="connsiteY1096" fmla="*/ 1151108 h 6863208"/>
              <a:gd name="connsiteX1097" fmla="*/ 1151230 w 8090452"/>
              <a:gd name="connsiteY1097" fmla="*/ 1206882 h 6863208"/>
              <a:gd name="connsiteX1098" fmla="*/ 1245666 w 8090452"/>
              <a:gd name="connsiteY1098" fmla="*/ 1263272 h 6863208"/>
              <a:gd name="connsiteX1099" fmla="*/ 1163799 w 8090452"/>
              <a:gd name="connsiteY1099" fmla="*/ 1213336 h 6863208"/>
              <a:gd name="connsiteX1100" fmla="*/ 1089688 w 8090452"/>
              <a:gd name="connsiteY1100" fmla="*/ 1157517 h 6863208"/>
              <a:gd name="connsiteX1101" fmla="*/ 1137301 w 8090452"/>
              <a:gd name="connsiteY1101" fmla="*/ 1185481 h 6863208"/>
              <a:gd name="connsiteX1102" fmla="*/ 1203543 w 8090452"/>
              <a:gd name="connsiteY1102" fmla="*/ 1212996 h 6863208"/>
              <a:gd name="connsiteX1103" fmla="*/ 1194445 w 8090452"/>
              <a:gd name="connsiteY1103" fmla="*/ 1207165 h 6863208"/>
              <a:gd name="connsiteX1104" fmla="*/ 1204902 w 8090452"/>
              <a:gd name="connsiteY1104" fmla="*/ 1211637 h 6863208"/>
              <a:gd name="connsiteX1105" fmla="*/ 1313605 w 8090452"/>
              <a:gd name="connsiteY1105" fmla="*/ 1301318 h 6863208"/>
              <a:gd name="connsiteX1106" fmla="*/ 1482096 w 8090452"/>
              <a:gd name="connsiteY1106" fmla="*/ 1412739 h 6863208"/>
              <a:gd name="connsiteX1107" fmla="*/ 1645152 w 8090452"/>
              <a:gd name="connsiteY1107" fmla="*/ 1467092 h 6863208"/>
              <a:gd name="connsiteX1108" fmla="*/ 1482096 w 8090452"/>
              <a:gd name="connsiteY1108" fmla="*/ 1407303 h 6863208"/>
              <a:gd name="connsiteX1109" fmla="*/ 1314965 w 8090452"/>
              <a:gd name="connsiteY1109" fmla="*/ 1294524 h 6863208"/>
              <a:gd name="connsiteX1110" fmla="*/ 1223925 w 8090452"/>
              <a:gd name="connsiteY1110" fmla="*/ 1217072 h 6863208"/>
              <a:gd name="connsiteX1111" fmla="*/ 1228001 w 8090452"/>
              <a:gd name="connsiteY1111" fmla="*/ 1218431 h 6863208"/>
              <a:gd name="connsiteX1112" fmla="*/ 1317683 w 8090452"/>
              <a:gd name="connsiteY1112" fmla="*/ 1278218 h 6863208"/>
              <a:gd name="connsiteX1113" fmla="*/ 1454921 w 8090452"/>
              <a:gd name="connsiteY1113" fmla="*/ 1336646 h 6863208"/>
              <a:gd name="connsiteX1114" fmla="*/ 1316323 w 8090452"/>
              <a:gd name="connsiteY1114" fmla="*/ 1274141 h 6863208"/>
              <a:gd name="connsiteX1115" fmla="*/ 1237513 w 8090452"/>
              <a:gd name="connsiteY1115" fmla="*/ 1222507 h 6863208"/>
              <a:gd name="connsiteX1116" fmla="*/ 1286429 w 8090452"/>
              <a:gd name="connsiteY1116" fmla="*/ 1238813 h 6863208"/>
              <a:gd name="connsiteX1117" fmla="*/ 1236155 w 8090452"/>
              <a:gd name="connsiteY1117" fmla="*/ 1221149 h 6863208"/>
              <a:gd name="connsiteX1118" fmla="*/ 1180444 w 8090452"/>
              <a:gd name="connsiteY1118" fmla="*/ 1168156 h 6863208"/>
              <a:gd name="connsiteX1119" fmla="*/ 1123374 w 8090452"/>
              <a:gd name="connsiteY1119" fmla="*/ 1089345 h 6863208"/>
              <a:gd name="connsiteX1120" fmla="*/ 1056793 w 8090452"/>
              <a:gd name="connsiteY1120" fmla="*/ 1020047 h 6863208"/>
              <a:gd name="connsiteX1121" fmla="*/ 989702 w 8090452"/>
              <a:gd name="connsiteY1121" fmla="*/ 975037 h 6863208"/>
              <a:gd name="connsiteX1122" fmla="*/ 924091 w 8090452"/>
              <a:gd name="connsiteY1122" fmla="*/ 933377 h 6863208"/>
              <a:gd name="connsiteX1123" fmla="*/ 1009236 w 8090452"/>
              <a:gd name="connsiteY1123" fmla="*/ 920855 h 6863208"/>
              <a:gd name="connsiteX1124" fmla="*/ 1008851 w 8090452"/>
              <a:gd name="connsiteY1124" fmla="*/ 920552 h 6863208"/>
              <a:gd name="connsiteX1125" fmla="*/ 1015651 w 8090452"/>
              <a:gd name="connsiteY1125" fmla="*/ 919552 h 6863208"/>
              <a:gd name="connsiteX1126" fmla="*/ 1017389 w 8090452"/>
              <a:gd name="connsiteY1126" fmla="*/ 920855 h 6863208"/>
              <a:gd name="connsiteX1127" fmla="*/ 1018068 w 8090452"/>
              <a:gd name="connsiteY1127" fmla="*/ 920855 h 6863208"/>
              <a:gd name="connsiteX1128" fmla="*/ 1025813 w 8090452"/>
              <a:gd name="connsiteY1128" fmla="*/ 926018 h 6863208"/>
              <a:gd name="connsiteX1129" fmla="*/ 1022823 w 8090452"/>
              <a:gd name="connsiteY1129" fmla="*/ 926289 h 6863208"/>
              <a:gd name="connsiteX1130" fmla="*/ 1238871 w 8090452"/>
              <a:gd name="connsiteY1130" fmla="*/ 1052658 h 6863208"/>
              <a:gd name="connsiteX1131" fmla="*/ 1357087 w 8090452"/>
              <a:gd name="connsiteY1131" fmla="*/ 1089345 h 6863208"/>
              <a:gd name="connsiteX1132" fmla="*/ 1347333 w 8090452"/>
              <a:gd name="connsiteY1132" fmla="*/ 1080811 h 6863208"/>
              <a:gd name="connsiteX1133" fmla="*/ 1351736 w 8090452"/>
              <a:gd name="connsiteY1133" fmla="*/ 1081906 h 6863208"/>
              <a:gd name="connsiteX1134" fmla="*/ 1361163 w 8090452"/>
              <a:gd name="connsiteY1134" fmla="*/ 1090704 h 6863208"/>
              <a:gd name="connsiteX1135" fmla="*/ 1367059 w 8090452"/>
              <a:gd name="connsiteY1135" fmla="*/ 1091270 h 6863208"/>
              <a:gd name="connsiteX1136" fmla="*/ 1418573 w 8090452"/>
              <a:gd name="connsiteY1136" fmla="*/ 1143698 h 6863208"/>
              <a:gd name="connsiteX1137" fmla="*/ 1473943 w 8090452"/>
              <a:gd name="connsiteY1137" fmla="*/ 1206202 h 6863208"/>
              <a:gd name="connsiteX1138" fmla="*/ 1418403 w 8090452"/>
              <a:gd name="connsiteY1138" fmla="*/ 1142509 h 6863208"/>
              <a:gd name="connsiteX1139" fmla="*/ 1367175 w 8090452"/>
              <a:gd name="connsiteY1139" fmla="*/ 1091281 h 6863208"/>
              <a:gd name="connsiteX1140" fmla="*/ 1460356 w 8090452"/>
              <a:gd name="connsiteY1140" fmla="*/ 1100217 h 6863208"/>
              <a:gd name="connsiteX1141" fmla="*/ 1426735 w 8090452"/>
              <a:gd name="connsiteY1141" fmla="*/ 1090734 h 6863208"/>
              <a:gd name="connsiteX1142" fmla="*/ 1458997 w 8090452"/>
              <a:gd name="connsiteY1142" fmla="*/ 1093422 h 6863208"/>
              <a:gd name="connsiteX1143" fmla="*/ 1574834 w 8090452"/>
              <a:gd name="connsiteY1143" fmla="*/ 1122297 h 6863208"/>
              <a:gd name="connsiteX1144" fmla="*/ 1628404 w 8090452"/>
              <a:gd name="connsiteY1144" fmla="*/ 1137869 h 6863208"/>
              <a:gd name="connsiteX1145" fmla="*/ 1692709 w 8090452"/>
              <a:gd name="connsiteY1145" fmla="*/ 1161361 h 6863208"/>
              <a:gd name="connsiteX1146" fmla="*/ 1633262 w 8090452"/>
              <a:gd name="connsiteY1146" fmla="*/ 1139282 h 6863208"/>
              <a:gd name="connsiteX1147" fmla="*/ 1628404 w 8090452"/>
              <a:gd name="connsiteY1147" fmla="*/ 1137869 h 6863208"/>
              <a:gd name="connsiteX1148" fmla="*/ 1582987 w 8090452"/>
              <a:gd name="connsiteY1148" fmla="*/ 1121278 h 6863208"/>
              <a:gd name="connsiteX1149" fmla="*/ 1475303 w 8090452"/>
              <a:gd name="connsiteY1149" fmla="*/ 1093421 h 6863208"/>
              <a:gd name="connsiteX1150" fmla="*/ 1403286 w 8090452"/>
              <a:gd name="connsiteY1150" fmla="*/ 1073040 h 6863208"/>
              <a:gd name="connsiteX1151" fmla="*/ 1348934 w 8090452"/>
              <a:gd name="connsiteY1151" fmla="*/ 1054017 h 6863208"/>
              <a:gd name="connsiteX1152" fmla="*/ 1350293 w 8090452"/>
              <a:gd name="connsiteY1152" fmla="*/ 1052658 h 6863208"/>
              <a:gd name="connsiteX1153" fmla="*/ 1344858 w 8090452"/>
              <a:gd name="connsiteY1153" fmla="*/ 1041788 h 6863208"/>
              <a:gd name="connsiteX1154" fmla="*/ 1297300 w 8090452"/>
              <a:gd name="connsiteY1154" fmla="*/ 986078 h 6863208"/>
              <a:gd name="connsiteX1155" fmla="*/ 1319041 w 8090452"/>
              <a:gd name="connsiteY1155" fmla="*/ 1040429 h 6863208"/>
              <a:gd name="connsiteX1156" fmla="*/ 1298659 w 8090452"/>
              <a:gd name="connsiteY1156" fmla="*/ 1030917 h 6863208"/>
              <a:gd name="connsiteX1157" fmla="*/ 1180444 w 8090452"/>
              <a:gd name="connsiteY1157" fmla="*/ 953466 h 6863208"/>
              <a:gd name="connsiteX1158" fmla="*/ 1176367 w 8090452"/>
              <a:gd name="connsiteY1158" fmla="*/ 952107 h 6863208"/>
              <a:gd name="connsiteX1159" fmla="*/ 1107069 w 8090452"/>
              <a:gd name="connsiteY1159" fmla="*/ 901831 h 6863208"/>
              <a:gd name="connsiteX1160" fmla="*/ 1041847 w 8090452"/>
              <a:gd name="connsiteY1160" fmla="*/ 852915 h 6863208"/>
              <a:gd name="connsiteX1161" fmla="*/ 1101633 w 8090452"/>
              <a:gd name="connsiteY1161" fmla="*/ 880091 h 6863208"/>
              <a:gd name="connsiteX1162" fmla="*/ 1244307 w 8090452"/>
              <a:gd name="connsiteY1162" fmla="*/ 949390 h 6863208"/>
              <a:gd name="connsiteX1163" fmla="*/ 1525578 w 8090452"/>
              <a:gd name="connsiteY1163" fmla="*/ 1059452 h 6863208"/>
              <a:gd name="connsiteX1164" fmla="*/ 1245666 w 8090452"/>
              <a:gd name="connsiteY1164" fmla="*/ 945313 h 6863208"/>
              <a:gd name="connsiteX1165" fmla="*/ 1102992 w 8090452"/>
              <a:gd name="connsiteY1165" fmla="*/ 876014 h 6863208"/>
              <a:gd name="connsiteX1166" fmla="*/ 1026900 w 8090452"/>
              <a:gd name="connsiteY1166" fmla="*/ 840686 h 6863208"/>
              <a:gd name="connsiteX1167" fmla="*/ 960319 w 8090452"/>
              <a:gd name="connsiteY1167" fmla="*/ 782258 h 6863208"/>
              <a:gd name="connsiteX1168" fmla="*/ 829874 w 8090452"/>
              <a:gd name="connsiteY1168" fmla="*/ 624637 h 6863208"/>
              <a:gd name="connsiteX1169" fmla="*/ 761935 w 8090452"/>
              <a:gd name="connsiteY1169" fmla="*/ 543110 h 6863208"/>
              <a:gd name="connsiteX1170" fmla="*/ 760576 w 8090452"/>
              <a:gd name="connsiteY1170" fmla="*/ 541751 h 6863208"/>
              <a:gd name="connsiteX1171" fmla="*/ 763293 w 8090452"/>
              <a:gd name="connsiteY1171" fmla="*/ 536315 h 6863208"/>
              <a:gd name="connsiteX1172" fmla="*/ 808134 w 8090452"/>
              <a:gd name="connsiteY1172" fmla="*/ 581156 h 6863208"/>
              <a:gd name="connsiteX1173" fmla="*/ 852974 w 8090452"/>
              <a:gd name="connsiteY1173" fmla="*/ 547186 h 6863208"/>
              <a:gd name="connsiteX1174" fmla="*/ 861127 w 8090452"/>
              <a:gd name="connsiteY1174" fmla="*/ 522727 h 6863208"/>
              <a:gd name="connsiteX1175" fmla="*/ 827157 w 8090452"/>
              <a:gd name="connsiteY1175" fmla="*/ 494196 h 6863208"/>
              <a:gd name="connsiteX1176" fmla="*/ 848898 w 8090452"/>
              <a:gd name="connsiteY1176" fmla="*/ 467019 h 6863208"/>
              <a:gd name="connsiteX1177" fmla="*/ 927708 w 8090452"/>
              <a:gd name="connsiteY1177" fmla="*/ 499631 h 6863208"/>
              <a:gd name="connsiteX1178" fmla="*/ 1077685 w 8090452"/>
              <a:gd name="connsiteY1178" fmla="*/ 560944 h 6863208"/>
              <a:gd name="connsiteX1179" fmla="*/ 1144488 w 8090452"/>
              <a:gd name="connsiteY1179" fmla="*/ 583415 h 6863208"/>
              <a:gd name="connsiteX1180" fmla="*/ 1223925 w 8090452"/>
              <a:gd name="connsiteY1180" fmla="*/ 611049 h 6863208"/>
              <a:gd name="connsiteX1181" fmla="*/ 1251101 w 8090452"/>
              <a:gd name="connsiteY1181" fmla="*/ 619202 h 6863208"/>
              <a:gd name="connsiteX1182" fmla="*/ 1250508 w 8090452"/>
              <a:gd name="connsiteY1182" fmla="*/ 617330 h 6863208"/>
              <a:gd name="connsiteX1183" fmla="*/ 1252460 w 8090452"/>
              <a:gd name="connsiteY1183" fmla="*/ 617843 h 6863208"/>
              <a:gd name="connsiteX1184" fmla="*/ 1241589 w 8090452"/>
              <a:gd name="connsiteY1184" fmla="*/ 634148 h 6863208"/>
              <a:gd name="connsiteX1185" fmla="*/ 1252460 w 8090452"/>
              <a:gd name="connsiteY1185" fmla="*/ 685783 h 6863208"/>
              <a:gd name="connsiteX1186" fmla="*/ 1290507 w 8090452"/>
              <a:gd name="connsiteY1186" fmla="*/ 756440 h 6863208"/>
              <a:gd name="connsiteX1187" fmla="*/ 1305453 w 8090452"/>
              <a:gd name="connsiteY1187" fmla="*/ 765952 h 6863208"/>
              <a:gd name="connsiteX1188" fmla="*/ 1365240 w 8090452"/>
              <a:gd name="connsiteY1188" fmla="*/ 774105 h 6863208"/>
              <a:gd name="connsiteX1189" fmla="*/ 1378828 w 8090452"/>
              <a:gd name="connsiteY1189" fmla="*/ 760517 h 6863208"/>
              <a:gd name="connsiteX1190" fmla="*/ 1378828 w 8090452"/>
              <a:gd name="connsiteY1190" fmla="*/ 749646 h 6863208"/>
              <a:gd name="connsiteX1191" fmla="*/ 1418233 w 8090452"/>
              <a:gd name="connsiteY1191" fmla="*/ 767311 h 6863208"/>
              <a:gd name="connsiteX1192" fmla="*/ 1420951 w 8090452"/>
              <a:gd name="connsiteY1192" fmla="*/ 783616 h 6863208"/>
              <a:gd name="connsiteX1193" fmla="*/ 1427745 w 8090452"/>
              <a:gd name="connsiteY1193" fmla="*/ 774105 h 6863208"/>
              <a:gd name="connsiteX1194" fmla="*/ 1434539 w 8090452"/>
              <a:gd name="connsiteY1194" fmla="*/ 789052 h 6863208"/>
              <a:gd name="connsiteX1195" fmla="*/ 1441332 w 8090452"/>
              <a:gd name="connsiteY1195" fmla="*/ 784975 h 6863208"/>
              <a:gd name="connsiteX1196" fmla="*/ 1467149 w 8090452"/>
              <a:gd name="connsiteY1196" fmla="*/ 813510 h 6863208"/>
              <a:gd name="connsiteX1197" fmla="*/ 1472585 w 8090452"/>
              <a:gd name="connsiteY1197" fmla="*/ 832533 h 6863208"/>
              <a:gd name="connsiteX1198" fmla="*/ 1471226 w 8090452"/>
              <a:gd name="connsiteY1198" fmla="*/ 858350 h 6863208"/>
              <a:gd name="connsiteX1199" fmla="*/ 1488890 w 8090452"/>
              <a:gd name="connsiteY1199" fmla="*/ 900473 h 6863208"/>
              <a:gd name="connsiteX1200" fmla="*/ 1482096 w 8090452"/>
              <a:gd name="connsiteY1200" fmla="*/ 909985 h 6863208"/>
              <a:gd name="connsiteX1201" fmla="*/ 1491608 w 8090452"/>
              <a:gd name="connsiteY1201" fmla="*/ 914061 h 6863208"/>
              <a:gd name="connsiteX1202" fmla="*/ 1479379 w 8090452"/>
              <a:gd name="connsiteY1202" fmla="*/ 918137 h 6863208"/>
              <a:gd name="connsiteX1203" fmla="*/ 1509272 w 8090452"/>
              <a:gd name="connsiteY1203" fmla="*/ 950748 h 6863208"/>
              <a:gd name="connsiteX1204" fmla="*/ 1497043 w 8090452"/>
              <a:gd name="connsiteY1204" fmla="*/ 905908 h 6863208"/>
              <a:gd name="connsiteX1205" fmla="*/ 1503837 w 8090452"/>
              <a:gd name="connsiteY1205" fmla="*/ 907267 h 6863208"/>
              <a:gd name="connsiteX1206" fmla="*/ 1488891 w 8090452"/>
              <a:gd name="connsiteY1206" fmla="*/ 903190 h 6863208"/>
              <a:gd name="connsiteX1207" fmla="*/ 1487531 w 8090452"/>
              <a:gd name="connsiteY1207" fmla="*/ 893679 h 6863208"/>
              <a:gd name="connsiteX1208" fmla="*/ 1494326 w 8090452"/>
              <a:gd name="connsiteY1208" fmla="*/ 881450 h 6863208"/>
              <a:gd name="connsiteX1209" fmla="*/ 1484814 w 8090452"/>
              <a:gd name="connsiteY1209" fmla="*/ 871938 h 6863208"/>
              <a:gd name="connsiteX1210" fmla="*/ 1487532 w 8090452"/>
              <a:gd name="connsiteY1210" fmla="*/ 852915 h 6863208"/>
              <a:gd name="connsiteX1211" fmla="*/ 1480738 w 8090452"/>
              <a:gd name="connsiteY1211" fmla="*/ 837968 h 6863208"/>
              <a:gd name="connsiteX1212" fmla="*/ 1484814 w 8090452"/>
              <a:gd name="connsiteY1212" fmla="*/ 836609 h 6863208"/>
              <a:gd name="connsiteX1213" fmla="*/ 1479379 w 8090452"/>
              <a:gd name="connsiteY1213" fmla="*/ 814869 h 6863208"/>
              <a:gd name="connsiteX1214" fmla="*/ 1473944 w 8090452"/>
              <a:gd name="connsiteY1214" fmla="*/ 809434 h 6863208"/>
              <a:gd name="connsiteX1215" fmla="*/ 1480738 w 8090452"/>
              <a:gd name="connsiteY1215" fmla="*/ 808075 h 6863208"/>
              <a:gd name="connsiteX1216" fmla="*/ 1465791 w 8090452"/>
              <a:gd name="connsiteY1216" fmla="*/ 774105 h 6863208"/>
              <a:gd name="connsiteX1217" fmla="*/ 1471226 w 8090452"/>
              <a:gd name="connsiteY1217" fmla="*/ 768670 h 6863208"/>
              <a:gd name="connsiteX1218" fmla="*/ 1445409 w 8090452"/>
              <a:gd name="connsiteY1218" fmla="*/ 761876 h 6863208"/>
              <a:gd name="connsiteX1219" fmla="*/ 1456280 w 8090452"/>
              <a:gd name="connsiteY1219" fmla="*/ 783617 h 6863208"/>
              <a:gd name="connsiteX1220" fmla="*/ 1441332 w 8090452"/>
              <a:gd name="connsiteY1220" fmla="*/ 771387 h 6863208"/>
              <a:gd name="connsiteX1221" fmla="*/ 1438615 w 8090452"/>
              <a:gd name="connsiteY1221" fmla="*/ 760517 h 6863208"/>
              <a:gd name="connsiteX1222" fmla="*/ 1441333 w 8090452"/>
              <a:gd name="connsiteY1222" fmla="*/ 768670 h 6863208"/>
              <a:gd name="connsiteX1223" fmla="*/ 1435897 w 8090452"/>
              <a:gd name="connsiteY1223" fmla="*/ 755081 h 6863208"/>
              <a:gd name="connsiteX1224" fmla="*/ 1433180 w 8090452"/>
              <a:gd name="connsiteY1224" fmla="*/ 768670 h 6863208"/>
              <a:gd name="connsiteX1225" fmla="*/ 1427745 w 8090452"/>
              <a:gd name="connsiteY1225" fmla="*/ 760517 h 6863208"/>
              <a:gd name="connsiteX1226" fmla="*/ 1412798 w 8090452"/>
              <a:gd name="connsiteY1226" fmla="*/ 759158 h 6863208"/>
              <a:gd name="connsiteX1227" fmla="*/ 1453561 w 8090452"/>
              <a:gd name="connsiteY1227" fmla="*/ 751006 h 6863208"/>
              <a:gd name="connsiteX1228" fmla="*/ 1467149 w 8090452"/>
              <a:gd name="connsiteY1228" fmla="*/ 753723 h 6863208"/>
              <a:gd name="connsiteX1229" fmla="*/ 1456279 w 8090452"/>
              <a:gd name="connsiteY1229" fmla="*/ 748287 h 6863208"/>
              <a:gd name="connsiteX1230" fmla="*/ 1468509 w 8090452"/>
              <a:gd name="connsiteY1230" fmla="*/ 746929 h 6863208"/>
              <a:gd name="connsiteX1231" fmla="*/ 1467149 w 8090452"/>
              <a:gd name="connsiteY1231" fmla="*/ 726547 h 6863208"/>
              <a:gd name="connsiteX1232" fmla="*/ 1463074 w 8090452"/>
              <a:gd name="connsiteY1232" fmla="*/ 673554 h 6863208"/>
              <a:gd name="connsiteX1233" fmla="*/ 1454920 w 8090452"/>
              <a:gd name="connsiteY1233" fmla="*/ 646378 h 6863208"/>
              <a:gd name="connsiteX1234" fmla="*/ 1445409 w 8090452"/>
              <a:gd name="connsiteY1234" fmla="*/ 606973 h 6863208"/>
              <a:gd name="connsiteX1235" fmla="*/ 1469868 w 8090452"/>
              <a:gd name="connsiteY1235" fmla="*/ 636866 h 6863208"/>
              <a:gd name="connsiteX1236" fmla="*/ 1458997 w 8090452"/>
              <a:gd name="connsiteY1236" fmla="*/ 601538 h 6863208"/>
              <a:gd name="connsiteX1237" fmla="*/ 1482096 w 8090452"/>
              <a:gd name="connsiteY1237" fmla="*/ 638226 h 6863208"/>
              <a:gd name="connsiteX1238" fmla="*/ 1484814 w 8090452"/>
              <a:gd name="connsiteY1238" fmla="*/ 586591 h 6863208"/>
              <a:gd name="connsiteX1239" fmla="*/ 1494326 w 8090452"/>
              <a:gd name="connsiteY1239" fmla="*/ 596102 h 6863208"/>
              <a:gd name="connsiteX1240" fmla="*/ 1497042 w 8090452"/>
              <a:gd name="connsiteY1240" fmla="*/ 539033 h 6863208"/>
              <a:gd name="connsiteX1241" fmla="*/ 1506555 w 8090452"/>
              <a:gd name="connsiteY1241" fmla="*/ 529521 h 6863208"/>
              <a:gd name="connsiteX1242" fmla="*/ 1518784 w 8090452"/>
              <a:gd name="connsiteY1242" fmla="*/ 544469 h 6863208"/>
              <a:gd name="connsiteX1243" fmla="*/ 1514707 w 8090452"/>
              <a:gd name="connsiteY1243" fmla="*/ 524086 h 6863208"/>
              <a:gd name="connsiteX1244" fmla="*/ 1502478 w 8090452"/>
              <a:gd name="connsiteY1244" fmla="*/ 462944 h 6863208"/>
              <a:gd name="connsiteX1245" fmla="*/ 1511990 w 8090452"/>
              <a:gd name="connsiteY1245" fmla="*/ 488760 h 6863208"/>
              <a:gd name="connsiteX1246" fmla="*/ 1516066 w 8090452"/>
              <a:gd name="connsiteY1246" fmla="*/ 481967 h 6863208"/>
              <a:gd name="connsiteX1247" fmla="*/ 1528296 w 8090452"/>
              <a:gd name="connsiteY1247" fmla="*/ 505066 h 6863208"/>
              <a:gd name="connsiteX1248" fmla="*/ 1521501 w 8090452"/>
              <a:gd name="connsiteY1248" fmla="*/ 460226 h 6863208"/>
              <a:gd name="connsiteX1249" fmla="*/ 1560906 w 8090452"/>
              <a:gd name="connsiteY1249" fmla="*/ 521369 h 6863208"/>
              <a:gd name="connsiteX1250" fmla="*/ 1543243 w 8090452"/>
              <a:gd name="connsiteY1250" fmla="*/ 462944 h 6863208"/>
              <a:gd name="connsiteX1251" fmla="*/ 1544601 w 8090452"/>
              <a:gd name="connsiteY1251" fmla="*/ 396363 h 6863208"/>
              <a:gd name="connsiteX1252" fmla="*/ 1536448 w 8090452"/>
              <a:gd name="connsiteY1252" fmla="*/ 388210 h 6863208"/>
              <a:gd name="connsiteX1253" fmla="*/ 1445409 w 8090452"/>
              <a:gd name="connsiteY1253" fmla="*/ 96068 h 6863208"/>
              <a:gd name="connsiteX1254" fmla="*/ 1410080 w 8090452"/>
              <a:gd name="connsiteY1254" fmla="*/ 68893 h 6863208"/>
              <a:gd name="connsiteX1255" fmla="*/ 1380187 w 8090452"/>
              <a:gd name="connsiteY1255" fmla="*/ 30846 h 6863208"/>
              <a:gd name="connsiteX1256" fmla="*/ 1375664 w 8090452"/>
              <a:gd name="connsiteY1256" fmla="*/ 12354 h 6863208"/>
              <a:gd name="connsiteX1257" fmla="*/ 759619 w 8090452"/>
              <a:gd name="connsiteY1257" fmla="*/ 0 h 6863208"/>
              <a:gd name="connsiteX1258" fmla="*/ 970645 w 8090452"/>
              <a:gd name="connsiteY1258" fmla="*/ 0 h 6863208"/>
              <a:gd name="connsiteX1259" fmla="*/ 979512 w 8090452"/>
              <a:gd name="connsiteY1259" fmla="*/ 24902 h 6863208"/>
              <a:gd name="connsiteX1260" fmla="*/ 988854 w 8090452"/>
              <a:gd name="connsiteY1260" fmla="*/ 60740 h 6863208"/>
              <a:gd name="connsiteX1261" fmla="*/ 1004480 w 8090452"/>
              <a:gd name="connsiteY1261" fmla="*/ 107619 h 6863208"/>
              <a:gd name="connsiteX1262" fmla="*/ 1019191 w 8090452"/>
              <a:gd name="connsiteY1262" fmla="*/ 151754 h 6863208"/>
              <a:gd name="connsiteX1263" fmla="*/ 937219 w 8090452"/>
              <a:gd name="connsiteY1263" fmla="*/ 149402 h 6863208"/>
              <a:gd name="connsiteX1264" fmla="*/ 850256 w 8090452"/>
              <a:gd name="connsiteY1264" fmla="*/ 136832 h 6863208"/>
              <a:gd name="connsiteX1265" fmla="*/ 817645 w 8090452"/>
              <a:gd name="connsiteY1265" fmla="*/ 128680 h 6863208"/>
              <a:gd name="connsiteX1266" fmla="*/ 818532 w 8090452"/>
              <a:gd name="connsiteY1266" fmla="*/ 130036 h 6863208"/>
              <a:gd name="connsiteX1267" fmla="*/ 812210 w 8090452"/>
              <a:gd name="connsiteY1267" fmla="*/ 128680 h 6863208"/>
              <a:gd name="connsiteX1268" fmla="*/ 767370 w 8090452"/>
              <a:gd name="connsiteY1268" fmla="*/ 97427 h 6863208"/>
              <a:gd name="connsiteX1269" fmla="*/ 787752 w 8090452"/>
              <a:gd name="connsiteY1269" fmla="*/ 71610 h 6863208"/>
              <a:gd name="connsiteX1270" fmla="*/ 801340 w 8090452"/>
              <a:gd name="connsiteY1270" fmla="*/ 36282 h 6863208"/>
              <a:gd name="connsiteX1271" fmla="*/ 768729 w 8090452"/>
              <a:gd name="connsiteY1271" fmla="*/ 25411 h 6863208"/>
              <a:gd name="connsiteX1272" fmla="*/ 598517 w 8090452"/>
              <a:gd name="connsiteY1272" fmla="*/ 0 h 6863208"/>
              <a:gd name="connsiteX1273" fmla="*/ 620724 w 8090452"/>
              <a:gd name="connsiteY1273" fmla="*/ 0 h 6863208"/>
              <a:gd name="connsiteX1274" fmla="*/ 646777 w 8090452"/>
              <a:gd name="connsiteY1274" fmla="*/ 30847 h 6863208"/>
              <a:gd name="connsiteX1275" fmla="*/ 674971 w 8090452"/>
              <a:gd name="connsiteY1275" fmla="*/ 81122 h 6863208"/>
              <a:gd name="connsiteX1276" fmla="*/ 589368 w 8090452"/>
              <a:gd name="connsiteY1276" fmla="*/ 47151 h 6863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</a:cxnLst>
            <a:rect l="l" t="t" r="r" b="b"/>
            <a:pathLst>
              <a:path w="8090452" h="6863208">
                <a:moveTo>
                  <a:pt x="128735" y="2168229"/>
                </a:moveTo>
                <a:cubicBezTo>
                  <a:pt x="130094" y="2172305"/>
                  <a:pt x="134170" y="2176381"/>
                  <a:pt x="136888" y="2173664"/>
                </a:cubicBezTo>
                <a:cubicBezTo>
                  <a:pt x="134170" y="2170947"/>
                  <a:pt x="131452" y="2168228"/>
                  <a:pt x="128735" y="2168229"/>
                </a:cubicBezTo>
                <a:close/>
                <a:moveTo>
                  <a:pt x="293829" y="1933496"/>
                </a:moveTo>
                <a:cubicBezTo>
                  <a:pt x="292130" y="1932138"/>
                  <a:pt x="290433" y="1931797"/>
                  <a:pt x="289074" y="1934516"/>
                </a:cubicBezTo>
                <a:cubicBezTo>
                  <a:pt x="291791" y="1937233"/>
                  <a:pt x="295867" y="1938591"/>
                  <a:pt x="298585" y="1938592"/>
                </a:cubicBezTo>
                <a:cubicBezTo>
                  <a:pt x="297226" y="1937234"/>
                  <a:pt x="295528" y="1934855"/>
                  <a:pt x="293829" y="1933496"/>
                </a:cubicBezTo>
                <a:close/>
                <a:moveTo>
                  <a:pt x="361285" y="1916622"/>
                </a:moveTo>
                <a:lnTo>
                  <a:pt x="363808" y="1916851"/>
                </a:lnTo>
                <a:cubicBezTo>
                  <a:pt x="368903" y="1917190"/>
                  <a:pt x="373319" y="1918209"/>
                  <a:pt x="374678" y="1922286"/>
                </a:cubicBezTo>
                <a:cubicBezTo>
                  <a:pt x="371961" y="1923644"/>
                  <a:pt x="369583" y="1922626"/>
                  <a:pt x="367205" y="1920926"/>
                </a:cubicBezTo>
                <a:close/>
                <a:moveTo>
                  <a:pt x="359731" y="1915491"/>
                </a:moveTo>
                <a:lnTo>
                  <a:pt x="361285" y="1916622"/>
                </a:lnTo>
                <a:lnTo>
                  <a:pt x="358584" y="1916376"/>
                </a:lnTo>
                <a:close/>
                <a:moveTo>
                  <a:pt x="348861" y="1907340"/>
                </a:moveTo>
                <a:cubicBezTo>
                  <a:pt x="339349" y="1905981"/>
                  <a:pt x="350219" y="1916851"/>
                  <a:pt x="348861" y="1907340"/>
                </a:cubicBezTo>
                <a:close/>
                <a:moveTo>
                  <a:pt x="347439" y="1900568"/>
                </a:moveTo>
                <a:cubicBezTo>
                  <a:pt x="347502" y="1900547"/>
                  <a:pt x="346484" y="1900886"/>
                  <a:pt x="343426" y="1901905"/>
                </a:cubicBezTo>
                <a:cubicBezTo>
                  <a:pt x="337312" y="1903943"/>
                  <a:pt x="347248" y="1900632"/>
                  <a:pt x="347439" y="1900568"/>
                </a:cubicBezTo>
                <a:close/>
                <a:moveTo>
                  <a:pt x="374678" y="1884240"/>
                </a:moveTo>
                <a:cubicBezTo>
                  <a:pt x="377395" y="1897827"/>
                  <a:pt x="393701" y="1897827"/>
                  <a:pt x="396419" y="1905981"/>
                </a:cubicBezTo>
                <a:cubicBezTo>
                  <a:pt x="389624" y="1907339"/>
                  <a:pt x="377395" y="1900545"/>
                  <a:pt x="377395" y="1895110"/>
                </a:cubicBezTo>
                <a:cubicBezTo>
                  <a:pt x="366525" y="1900545"/>
                  <a:pt x="354296" y="1885598"/>
                  <a:pt x="343425" y="1888315"/>
                </a:cubicBezTo>
                <a:cubicBezTo>
                  <a:pt x="348861" y="1901904"/>
                  <a:pt x="365167" y="1901904"/>
                  <a:pt x="367884" y="1910056"/>
                </a:cubicBezTo>
                <a:cubicBezTo>
                  <a:pt x="362448" y="1915492"/>
                  <a:pt x="350219" y="1903262"/>
                  <a:pt x="348861" y="1915492"/>
                </a:cubicBezTo>
                <a:lnTo>
                  <a:pt x="358584" y="1916376"/>
                </a:lnTo>
                <a:lnTo>
                  <a:pt x="353787" y="1920078"/>
                </a:lnTo>
                <a:cubicBezTo>
                  <a:pt x="352597" y="1921267"/>
                  <a:pt x="351578" y="1922286"/>
                  <a:pt x="348861" y="1923644"/>
                </a:cubicBezTo>
                <a:cubicBezTo>
                  <a:pt x="354296" y="1931797"/>
                  <a:pt x="354296" y="1920926"/>
                  <a:pt x="357014" y="1923644"/>
                </a:cubicBezTo>
                <a:cubicBezTo>
                  <a:pt x="355655" y="1927720"/>
                  <a:pt x="359731" y="1931797"/>
                  <a:pt x="363808" y="1935874"/>
                </a:cubicBezTo>
                <a:cubicBezTo>
                  <a:pt x="378755" y="1934515"/>
                  <a:pt x="393701" y="1941309"/>
                  <a:pt x="408648" y="1934516"/>
                </a:cubicBezTo>
                <a:cubicBezTo>
                  <a:pt x="403213" y="1926363"/>
                  <a:pt x="389626" y="1934516"/>
                  <a:pt x="389625" y="1923645"/>
                </a:cubicBezTo>
                <a:cubicBezTo>
                  <a:pt x="408649" y="1931798"/>
                  <a:pt x="424954" y="1926363"/>
                  <a:pt x="442619" y="1925004"/>
                </a:cubicBezTo>
                <a:cubicBezTo>
                  <a:pt x="429030" y="1919568"/>
                  <a:pt x="438542" y="1918210"/>
                  <a:pt x="441260" y="1910057"/>
                </a:cubicBezTo>
                <a:cubicBezTo>
                  <a:pt x="438542" y="1912775"/>
                  <a:pt x="429030" y="1914133"/>
                  <a:pt x="430390" y="1907339"/>
                </a:cubicBezTo>
                <a:cubicBezTo>
                  <a:pt x="435825" y="1904622"/>
                  <a:pt x="443977" y="1912774"/>
                  <a:pt x="450771" y="1905980"/>
                </a:cubicBezTo>
                <a:cubicBezTo>
                  <a:pt x="427672" y="1891034"/>
                  <a:pt x="400495" y="1888316"/>
                  <a:pt x="374678" y="1884240"/>
                </a:cubicBezTo>
                <a:close/>
                <a:moveTo>
                  <a:pt x="389623" y="1880165"/>
                </a:moveTo>
                <a:cubicBezTo>
                  <a:pt x="407288" y="1884242"/>
                  <a:pt x="423594" y="1897829"/>
                  <a:pt x="442617" y="1895111"/>
                </a:cubicBezTo>
                <a:cubicBezTo>
                  <a:pt x="426312" y="1889677"/>
                  <a:pt x="401854" y="1876088"/>
                  <a:pt x="389623" y="1880165"/>
                </a:cubicBezTo>
                <a:close/>
                <a:moveTo>
                  <a:pt x="403212" y="1866577"/>
                </a:moveTo>
                <a:cubicBezTo>
                  <a:pt x="408647" y="1872012"/>
                  <a:pt x="435824" y="1882881"/>
                  <a:pt x="441259" y="1874729"/>
                </a:cubicBezTo>
                <a:cubicBezTo>
                  <a:pt x="427671" y="1877446"/>
                  <a:pt x="415441" y="1865217"/>
                  <a:pt x="403212" y="1866577"/>
                </a:cubicBezTo>
                <a:close/>
                <a:moveTo>
                  <a:pt x="376036" y="1863859"/>
                </a:moveTo>
                <a:cubicBezTo>
                  <a:pt x="382831" y="1870653"/>
                  <a:pt x="397778" y="1872011"/>
                  <a:pt x="397778" y="1866576"/>
                </a:cubicBezTo>
                <a:cubicBezTo>
                  <a:pt x="390984" y="1867935"/>
                  <a:pt x="382830" y="1859781"/>
                  <a:pt x="376036" y="1863859"/>
                </a:cubicBezTo>
                <a:close/>
                <a:moveTo>
                  <a:pt x="98841" y="1858423"/>
                </a:moveTo>
                <a:cubicBezTo>
                  <a:pt x="96124" y="1861141"/>
                  <a:pt x="92047" y="1859782"/>
                  <a:pt x="89330" y="1859781"/>
                </a:cubicBezTo>
                <a:cubicBezTo>
                  <a:pt x="85253" y="1872012"/>
                  <a:pt x="79818" y="1880165"/>
                  <a:pt x="85253" y="1888317"/>
                </a:cubicBezTo>
                <a:cubicBezTo>
                  <a:pt x="93405" y="1899188"/>
                  <a:pt x="106994" y="1891035"/>
                  <a:pt x="113789" y="1889677"/>
                </a:cubicBezTo>
                <a:cubicBezTo>
                  <a:pt x="113788" y="1881523"/>
                  <a:pt x="111071" y="1881522"/>
                  <a:pt x="115148" y="1877446"/>
                </a:cubicBezTo>
                <a:cubicBezTo>
                  <a:pt x="112429" y="1872011"/>
                  <a:pt x="108353" y="1873370"/>
                  <a:pt x="111071" y="1867934"/>
                </a:cubicBezTo>
                <a:cubicBezTo>
                  <a:pt x="102918" y="1867934"/>
                  <a:pt x="104277" y="1863859"/>
                  <a:pt x="98841" y="1858423"/>
                </a:cubicBezTo>
                <a:close/>
                <a:moveTo>
                  <a:pt x="912761" y="1772820"/>
                </a:moveTo>
                <a:cubicBezTo>
                  <a:pt x="911402" y="1774179"/>
                  <a:pt x="910044" y="1775537"/>
                  <a:pt x="908685" y="1776897"/>
                </a:cubicBezTo>
                <a:cubicBezTo>
                  <a:pt x="911402" y="1779614"/>
                  <a:pt x="914120" y="1782331"/>
                  <a:pt x="915479" y="1778256"/>
                </a:cubicBezTo>
                <a:cubicBezTo>
                  <a:pt x="914120" y="1776897"/>
                  <a:pt x="912761" y="1775537"/>
                  <a:pt x="912761" y="1772820"/>
                </a:cubicBezTo>
                <a:close/>
                <a:moveTo>
                  <a:pt x="278034" y="1759742"/>
                </a:moveTo>
                <a:cubicBezTo>
                  <a:pt x="276505" y="1758213"/>
                  <a:pt x="274127" y="1757873"/>
                  <a:pt x="272768" y="1760591"/>
                </a:cubicBezTo>
                <a:cubicBezTo>
                  <a:pt x="274127" y="1761950"/>
                  <a:pt x="275486" y="1763309"/>
                  <a:pt x="278204" y="1766026"/>
                </a:cubicBezTo>
                <a:cubicBezTo>
                  <a:pt x="280242" y="1763988"/>
                  <a:pt x="279562" y="1761271"/>
                  <a:pt x="278034" y="1759742"/>
                </a:cubicBezTo>
                <a:close/>
                <a:moveTo>
                  <a:pt x="202620" y="1731546"/>
                </a:moveTo>
                <a:cubicBezTo>
                  <a:pt x="201091" y="1733075"/>
                  <a:pt x="200073" y="1735452"/>
                  <a:pt x="202111" y="1736132"/>
                </a:cubicBezTo>
                <a:cubicBezTo>
                  <a:pt x="203469" y="1737491"/>
                  <a:pt x="207546" y="1733414"/>
                  <a:pt x="206188" y="1732055"/>
                </a:cubicBezTo>
                <a:cubicBezTo>
                  <a:pt x="206187" y="1729338"/>
                  <a:pt x="204149" y="1730017"/>
                  <a:pt x="202620" y="1731546"/>
                </a:cubicBezTo>
                <a:close/>
                <a:moveTo>
                  <a:pt x="861127" y="1723901"/>
                </a:moveTo>
                <a:cubicBezTo>
                  <a:pt x="861127" y="1732054"/>
                  <a:pt x="884227" y="1755154"/>
                  <a:pt x="892380" y="1755154"/>
                </a:cubicBezTo>
                <a:cubicBezTo>
                  <a:pt x="882868" y="1745642"/>
                  <a:pt x="871998" y="1734771"/>
                  <a:pt x="861127" y="1723901"/>
                </a:cubicBezTo>
                <a:close/>
                <a:moveTo>
                  <a:pt x="840745" y="1706238"/>
                </a:moveTo>
                <a:cubicBezTo>
                  <a:pt x="840745" y="1711673"/>
                  <a:pt x="848897" y="1717109"/>
                  <a:pt x="852974" y="1715749"/>
                </a:cubicBezTo>
                <a:cubicBezTo>
                  <a:pt x="850257" y="1713032"/>
                  <a:pt x="847538" y="1702162"/>
                  <a:pt x="840745" y="1706238"/>
                </a:cubicBezTo>
                <a:close/>
                <a:moveTo>
                  <a:pt x="175275" y="1701483"/>
                </a:moveTo>
                <a:cubicBezTo>
                  <a:pt x="172897" y="1702162"/>
                  <a:pt x="171537" y="1704200"/>
                  <a:pt x="173576" y="1707598"/>
                </a:cubicBezTo>
                <a:cubicBezTo>
                  <a:pt x="176294" y="1702162"/>
                  <a:pt x="180370" y="1706239"/>
                  <a:pt x="183087" y="1703521"/>
                </a:cubicBezTo>
                <a:cubicBezTo>
                  <a:pt x="181049" y="1701483"/>
                  <a:pt x="177652" y="1700803"/>
                  <a:pt x="175275" y="1701483"/>
                </a:cubicBezTo>
                <a:close/>
                <a:moveTo>
                  <a:pt x="848898" y="1649169"/>
                </a:moveTo>
                <a:cubicBezTo>
                  <a:pt x="846180" y="1651886"/>
                  <a:pt x="844822" y="1650528"/>
                  <a:pt x="842104" y="1653246"/>
                </a:cubicBezTo>
                <a:cubicBezTo>
                  <a:pt x="843463" y="1660040"/>
                  <a:pt x="851616" y="1651887"/>
                  <a:pt x="848898" y="1649169"/>
                </a:cubicBezTo>
                <a:close/>
                <a:moveTo>
                  <a:pt x="891021" y="1645093"/>
                </a:moveTo>
                <a:cubicBezTo>
                  <a:pt x="888303" y="1647811"/>
                  <a:pt x="884226" y="1649169"/>
                  <a:pt x="889662" y="1651886"/>
                </a:cubicBezTo>
                <a:cubicBezTo>
                  <a:pt x="891020" y="1650528"/>
                  <a:pt x="891020" y="1650528"/>
                  <a:pt x="892379" y="1649169"/>
                </a:cubicBezTo>
                <a:cubicBezTo>
                  <a:pt x="891020" y="1647810"/>
                  <a:pt x="892379" y="1646451"/>
                  <a:pt x="891021" y="1645093"/>
                </a:cubicBezTo>
                <a:close/>
                <a:moveTo>
                  <a:pt x="852974" y="1642374"/>
                </a:moveTo>
                <a:cubicBezTo>
                  <a:pt x="855691" y="1647811"/>
                  <a:pt x="838026" y="1641017"/>
                  <a:pt x="842102" y="1650528"/>
                </a:cubicBezTo>
                <a:cubicBezTo>
                  <a:pt x="847537" y="1642375"/>
                  <a:pt x="854332" y="1651886"/>
                  <a:pt x="859767" y="1649169"/>
                </a:cubicBezTo>
                <a:cubicBezTo>
                  <a:pt x="858408" y="1647810"/>
                  <a:pt x="861126" y="1645092"/>
                  <a:pt x="859768" y="1643733"/>
                </a:cubicBezTo>
                <a:cubicBezTo>
                  <a:pt x="858408" y="1645093"/>
                  <a:pt x="857051" y="1646451"/>
                  <a:pt x="854332" y="1643733"/>
                </a:cubicBezTo>
                <a:cubicBezTo>
                  <a:pt x="855691" y="1642374"/>
                  <a:pt x="854333" y="1641016"/>
                  <a:pt x="852974" y="1642374"/>
                </a:cubicBezTo>
                <a:close/>
                <a:moveTo>
                  <a:pt x="578497" y="1446709"/>
                </a:moveTo>
                <a:cubicBezTo>
                  <a:pt x="575779" y="1446709"/>
                  <a:pt x="571703" y="1445350"/>
                  <a:pt x="568985" y="1448068"/>
                </a:cubicBezTo>
                <a:cubicBezTo>
                  <a:pt x="571703" y="1450785"/>
                  <a:pt x="571703" y="1453503"/>
                  <a:pt x="571703" y="1456221"/>
                </a:cubicBezTo>
                <a:cubicBezTo>
                  <a:pt x="577138" y="1453503"/>
                  <a:pt x="581215" y="1449426"/>
                  <a:pt x="578497" y="1446709"/>
                </a:cubicBezTo>
                <a:close/>
                <a:moveTo>
                  <a:pt x="206186" y="1424969"/>
                </a:moveTo>
                <a:cubicBezTo>
                  <a:pt x="211622" y="1449427"/>
                  <a:pt x="214339" y="1473885"/>
                  <a:pt x="219775" y="1501061"/>
                </a:cubicBezTo>
                <a:cubicBezTo>
                  <a:pt x="223851" y="1521443"/>
                  <a:pt x="230645" y="1544543"/>
                  <a:pt x="238797" y="1566283"/>
                </a:cubicBezTo>
                <a:cubicBezTo>
                  <a:pt x="230645" y="1549978"/>
                  <a:pt x="222492" y="1536390"/>
                  <a:pt x="212980" y="1521444"/>
                </a:cubicBezTo>
                <a:cubicBezTo>
                  <a:pt x="210263" y="1491549"/>
                  <a:pt x="207545" y="1464374"/>
                  <a:pt x="206187" y="1435839"/>
                </a:cubicBezTo>
                <a:cubicBezTo>
                  <a:pt x="206186" y="1433122"/>
                  <a:pt x="206186" y="1427687"/>
                  <a:pt x="206186" y="1424969"/>
                </a:cubicBezTo>
                <a:close/>
                <a:moveTo>
                  <a:pt x="438542" y="1404586"/>
                </a:moveTo>
                <a:cubicBezTo>
                  <a:pt x="435824" y="1407303"/>
                  <a:pt x="429030" y="1403227"/>
                  <a:pt x="431747" y="1408662"/>
                </a:cubicBezTo>
                <a:cubicBezTo>
                  <a:pt x="433106" y="1407303"/>
                  <a:pt x="441259" y="1410021"/>
                  <a:pt x="438542" y="1404586"/>
                </a:cubicBezTo>
                <a:close/>
                <a:moveTo>
                  <a:pt x="620620" y="1401868"/>
                </a:moveTo>
                <a:cubicBezTo>
                  <a:pt x="616543" y="1405945"/>
                  <a:pt x="615185" y="1410021"/>
                  <a:pt x="620620" y="1412739"/>
                </a:cubicBezTo>
                <a:cubicBezTo>
                  <a:pt x="623337" y="1410022"/>
                  <a:pt x="624696" y="1405945"/>
                  <a:pt x="620620" y="1401868"/>
                </a:cubicBezTo>
                <a:close/>
                <a:moveTo>
                  <a:pt x="696712" y="1396433"/>
                </a:moveTo>
                <a:cubicBezTo>
                  <a:pt x="689918" y="1400510"/>
                  <a:pt x="691277" y="1404586"/>
                  <a:pt x="696712" y="1407304"/>
                </a:cubicBezTo>
                <a:cubicBezTo>
                  <a:pt x="703507" y="1403227"/>
                  <a:pt x="699430" y="1396433"/>
                  <a:pt x="696712" y="1396433"/>
                </a:cubicBezTo>
                <a:close/>
                <a:moveTo>
                  <a:pt x="445334" y="1395075"/>
                </a:moveTo>
                <a:cubicBezTo>
                  <a:pt x="439899" y="1397793"/>
                  <a:pt x="442617" y="1397793"/>
                  <a:pt x="437182" y="1400511"/>
                </a:cubicBezTo>
                <a:cubicBezTo>
                  <a:pt x="438540" y="1407305"/>
                  <a:pt x="446693" y="1396434"/>
                  <a:pt x="445334" y="1395075"/>
                </a:cubicBezTo>
                <a:close/>
                <a:moveTo>
                  <a:pt x="549961" y="1393715"/>
                </a:moveTo>
                <a:cubicBezTo>
                  <a:pt x="547244" y="1396433"/>
                  <a:pt x="548602" y="1400509"/>
                  <a:pt x="549962" y="1404586"/>
                </a:cubicBezTo>
                <a:cubicBezTo>
                  <a:pt x="552679" y="1401868"/>
                  <a:pt x="555397" y="1404586"/>
                  <a:pt x="558114" y="1401868"/>
                </a:cubicBezTo>
                <a:cubicBezTo>
                  <a:pt x="560832" y="1396433"/>
                  <a:pt x="554038" y="1392356"/>
                  <a:pt x="549961" y="1393715"/>
                </a:cubicBezTo>
                <a:close/>
                <a:moveTo>
                  <a:pt x="468435" y="1385563"/>
                </a:moveTo>
                <a:cubicBezTo>
                  <a:pt x="467076" y="1386922"/>
                  <a:pt x="460282" y="1388281"/>
                  <a:pt x="463000" y="1390999"/>
                </a:cubicBezTo>
                <a:cubicBezTo>
                  <a:pt x="464359" y="1389640"/>
                  <a:pt x="469794" y="1389640"/>
                  <a:pt x="468435" y="1385563"/>
                </a:cubicBezTo>
                <a:close/>
                <a:moveTo>
                  <a:pt x="627414" y="1378769"/>
                </a:moveTo>
                <a:cubicBezTo>
                  <a:pt x="626055" y="1380128"/>
                  <a:pt x="623338" y="1380128"/>
                  <a:pt x="620620" y="1382846"/>
                </a:cubicBezTo>
                <a:cubicBezTo>
                  <a:pt x="623337" y="1385563"/>
                  <a:pt x="624696" y="1386922"/>
                  <a:pt x="624696" y="1386922"/>
                </a:cubicBezTo>
                <a:cubicBezTo>
                  <a:pt x="627414" y="1384204"/>
                  <a:pt x="627413" y="1381487"/>
                  <a:pt x="627414" y="1378769"/>
                </a:cubicBezTo>
                <a:close/>
                <a:moveTo>
                  <a:pt x="513276" y="1378769"/>
                </a:moveTo>
                <a:cubicBezTo>
                  <a:pt x="511917" y="1382845"/>
                  <a:pt x="505122" y="1386923"/>
                  <a:pt x="510558" y="1386921"/>
                </a:cubicBezTo>
                <a:cubicBezTo>
                  <a:pt x="509199" y="1382846"/>
                  <a:pt x="518710" y="1386921"/>
                  <a:pt x="517352" y="1380128"/>
                </a:cubicBezTo>
                <a:cubicBezTo>
                  <a:pt x="515993" y="1378769"/>
                  <a:pt x="514634" y="1380128"/>
                  <a:pt x="513276" y="1378769"/>
                </a:cubicBezTo>
                <a:close/>
                <a:moveTo>
                  <a:pt x="720662" y="1373844"/>
                </a:moveTo>
                <a:cubicBezTo>
                  <a:pt x="718454" y="1373334"/>
                  <a:pt x="715735" y="1374693"/>
                  <a:pt x="717094" y="1378770"/>
                </a:cubicBezTo>
                <a:cubicBezTo>
                  <a:pt x="718454" y="1377411"/>
                  <a:pt x="719812" y="1378769"/>
                  <a:pt x="721171" y="1380128"/>
                </a:cubicBezTo>
                <a:cubicBezTo>
                  <a:pt x="724568" y="1376731"/>
                  <a:pt x="722869" y="1374353"/>
                  <a:pt x="720662" y="1373844"/>
                </a:cubicBezTo>
                <a:close/>
                <a:moveTo>
                  <a:pt x="453488" y="1373334"/>
                </a:moveTo>
                <a:cubicBezTo>
                  <a:pt x="454846" y="1374692"/>
                  <a:pt x="449411" y="1377410"/>
                  <a:pt x="452128" y="1380128"/>
                </a:cubicBezTo>
                <a:cubicBezTo>
                  <a:pt x="458923" y="1386921"/>
                  <a:pt x="463000" y="1385562"/>
                  <a:pt x="472511" y="1381486"/>
                </a:cubicBezTo>
                <a:cubicBezTo>
                  <a:pt x="467076" y="1376051"/>
                  <a:pt x="461641" y="1376051"/>
                  <a:pt x="453488" y="1373334"/>
                </a:cubicBezTo>
                <a:close/>
                <a:moveTo>
                  <a:pt x="554038" y="1370616"/>
                </a:moveTo>
                <a:cubicBezTo>
                  <a:pt x="549962" y="1374692"/>
                  <a:pt x="548603" y="1373333"/>
                  <a:pt x="548603" y="1376051"/>
                </a:cubicBezTo>
                <a:cubicBezTo>
                  <a:pt x="551321" y="1376051"/>
                  <a:pt x="558115" y="1374692"/>
                  <a:pt x="554038" y="1370616"/>
                </a:cubicBezTo>
                <a:close/>
                <a:moveTo>
                  <a:pt x="539092" y="1353630"/>
                </a:moveTo>
                <a:cubicBezTo>
                  <a:pt x="537733" y="1352951"/>
                  <a:pt x="536374" y="1352951"/>
                  <a:pt x="535016" y="1354310"/>
                </a:cubicBezTo>
                <a:cubicBezTo>
                  <a:pt x="533657" y="1355669"/>
                  <a:pt x="526862" y="1357027"/>
                  <a:pt x="529580" y="1362463"/>
                </a:cubicBezTo>
                <a:cubicBezTo>
                  <a:pt x="532298" y="1359745"/>
                  <a:pt x="535015" y="1359745"/>
                  <a:pt x="537733" y="1362463"/>
                </a:cubicBezTo>
                <a:cubicBezTo>
                  <a:pt x="536374" y="1363821"/>
                  <a:pt x="535015" y="1365180"/>
                  <a:pt x="536374" y="1366539"/>
                </a:cubicBezTo>
                <a:cubicBezTo>
                  <a:pt x="537733" y="1365180"/>
                  <a:pt x="539092" y="1363822"/>
                  <a:pt x="540451" y="1362463"/>
                </a:cubicBezTo>
                <a:cubicBezTo>
                  <a:pt x="539092" y="1361104"/>
                  <a:pt x="537733" y="1359745"/>
                  <a:pt x="539092" y="1358386"/>
                </a:cubicBezTo>
                <a:cubicBezTo>
                  <a:pt x="540451" y="1359745"/>
                  <a:pt x="541809" y="1358386"/>
                  <a:pt x="543168" y="1357027"/>
                </a:cubicBezTo>
                <a:cubicBezTo>
                  <a:pt x="541810" y="1355669"/>
                  <a:pt x="540451" y="1354310"/>
                  <a:pt x="539092" y="1353630"/>
                </a:cubicBezTo>
                <a:close/>
                <a:moveTo>
                  <a:pt x="503764" y="1350233"/>
                </a:moveTo>
                <a:cubicBezTo>
                  <a:pt x="502405" y="1351592"/>
                  <a:pt x="501046" y="1352951"/>
                  <a:pt x="498328" y="1352951"/>
                </a:cubicBezTo>
                <a:cubicBezTo>
                  <a:pt x="501046" y="1358386"/>
                  <a:pt x="506481" y="1355669"/>
                  <a:pt x="503764" y="1350233"/>
                </a:cubicBezTo>
                <a:close/>
                <a:moveTo>
                  <a:pt x="462998" y="1344799"/>
                </a:moveTo>
                <a:cubicBezTo>
                  <a:pt x="460280" y="1347517"/>
                  <a:pt x="461639" y="1348876"/>
                  <a:pt x="457563" y="1350235"/>
                </a:cubicBezTo>
                <a:cubicBezTo>
                  <a:pt x="465716" y="1355669"/>
                  <a:pt x="472510" y="1370616"/>
                  <a:pt x="486099" y="1359745"/>
                </a:cubicBezTo>
                <a:cubicBezTo>
                  <a:pt x="484740" y="1358386"/>
                  <a:pt x="484740" y="1355669"/>
                  <a:pt x="483381" y="1351592"/>
                </a:cubicBezTo>
                <a:cubicBezTo>
                  <a:pt x="480663" y="1354310"/>
                  <a:pt x="475229" y="1348875"/>
                  <a:pt x="472511" y="1346157"/>
                </a:cubicBezTo>
                <a:cubicBezTo>
                  <a:pt x="468434" y="1350235"/>
                  <a:pt x="467075" y="1346157"/>
                  <a:pt x="462998" y="1344799"/>
                </a:cubicBezTo>
                <a:close/>
                <a:moveTo>
                  <a:pt x="128735" y="1339364"/>
                </a:moveTo>
                <a:cubicBezTo>
                  <a:pt x="147758" y="1382846"/>
                  <a:pt x="165423" y="1427686"/>
                  <a:pt x="181728" y="1471168"/>
                </a:cubicBezTo>
                <a:cubicBezTo>
                  <a:pt x="164064" y="1439916"/>
                  <a:pt x="145040" y="1410022"/>
                  <a:pt x="124658" y="1381487"/>
                </a:cubicBezTo>
                <a:cubicBezTo>
                  <a:pt x="127377" y="1367900"/>
                  <a:pt x="128736" y="1352953"/>
                  <a:pt x="128735" y="1339364"/>
                </a:cubicBezTo>
                <a:close/>
                <a:moveTo>
                  <a:pt x="371960" y="1338004"/>
                </a:moveTo>
                <a:cubicBezTo>
                  <a:pt x="363807" y="1340722"/>
                  <a:pt x="361090" y="1343439"/>
                  <a:pt x="352936" y="1346157"/>
                </a:cubicBezTo>
                <a:cubicBezTo>
                  <a:pt x="361090" y="1348874"/>
                  <a:pt x="367883" y="1350233"/>
                  <a:pt x="374677" y="1343439"/>
                </a:cubicBezTo>
                <a:cubicBezTo>
                  <a:pt x="373318" y="1342080"/>
                  <a:pt x="371960" y="1340722"/>
                  <a:pt x="371960" y="1338004"/>
                </a:cubicBezTo>
                <a:close/>
                <a:moveTo>
                  <a:pt x="416460" y="1337835"/>
                </a:moveTo>
                <a:cubicBezTo>
                  <a:pt x="414762" y="1337835"/>
                  <a:pt x="413063" y="1339024"/>
                  <a:pt x="411365" y="1342080"/>
                </a:cubicBezTo>
                <a:cubicBezTo>
                  <a:pt x="415441" y="1340722"/>
                  <a:pt x="423594" y="1340722"/>
                  <a:pt x="423594" y="1346157"/>
                </a:cubicBezTo>
                <a:cubicBezTo>
                  <a:pt x="419518" y="1344798"/>
                  <a:pt x="414082" y="1344798"/>
                  <a:pt x="410006" y="1346157"/>
                </a:cubicBezTo>
                <a:cubicBezTo>
                  <a:pt x="414082" y="1347517"/>
                  <a:pt x="410005" y="1351593"/>
                  <a:pt x="412722" y="1354310"/>
                </a:cubicBezTo>
                <a:cubicBezTo>
                  <a:pt x="418159" y="1346157"/>
                  <a:pt x="426312" y="1357028"/>
                  <a:pt x="431747" y="1359746"/>
                </a:cubicBezTo>
                <a:cubicBezTo>
                  <a:pt x="426312" y="1357028"/>
                  <a:pt x="429030" y="1354310"/>
                  <a:pt x="431747" y="1351593"/>
                </a:cubicBezTo>
                <a:cubicBezTo>
                  <a:pt x="426651" y="1348535"/>
                  <a:pt x="421556" y="1337835"/>
                  <a:pt x="416460" y="1337835"/>
                </a:cubicBezTo>
                <a:close/>
                <a:moveTo>
                  <a:pt x="644399" y="1317283"/>
                </a:moveTo>
                <a:cubicBezTo>
                  <a:pt x="642700" y="1318643"/>
                  <a:pt x="641682" y="1321021"/>
                  <a:pt x="642361" y="1323059"/>
                </a:cubicBezTo>
                <a:cubicBezTo>
                  <a:pt x="643719" y="1321701"/>
                  <a:pt x="645078" y="1323059"/>
                  <a:pt x="646437" y="1324418"/>
                </a:cubicBezTo>
                <a:cubicBezTo>
                  <a:pt x="649156" y="1321699"/>
                  <a:pt x="650514" y="1320341"/>
                  <a:pt x="650514" y="1317623"/>
                </a:cubicBezTo>
                <a:cubicBezTo>
                  <a:pt x="648475" y="1315584"/>
                  <a:pt x="646097" y="1315924"/>
                  <a:pt x="644399" y="1317283"/>
                </a:cubicBezTo>
                <a:close/>
                <a:moveTo>
                  <a:pt x="351069" y="1312018"/>
                </a:moveTo>
                <a:cubicBezTo>
                  <a:pt x="349201" y="1311848"/>
                  <a:pt x="347502" y="1312188"/>
                  <a:pt x="346143" y="1312187"/>
                </a:cubicBezTo>
                <a:cubicBezTo>
                  <a:pt x="348861" y="1314905"/>
                  <a:pt x="347502" y="1316264"/>
                  <a:pt x="350220" y="1318982"/>
                </a:cubicBezTo>
                <a:cubicBezTo>
                  <a:pt x="351579" y="1317623"/>
                  <a:pt x="354296" y="1317624"/>
                  <a:pt x="357014" y="1314905"/>
                </a:cubicBezTo>
                <a:cubicBezTo>
                  <a:pt x="354976" y="1312867"/>
                  <a:pt x="352937" y="1312187"/>
                  <a:pt x="351069" y="1312018"/>
                </a:cubicBezTo>
                <a:close/>
                <a:moveTo>
                  <a:pt x="636754" y="1308960"/>
                </a:moveTo>
                <a:cubicBezTo>
                  <a:pt x="633867" y="1309809"/>
                  <a:pt x="631489" y="1312187"/>
                  <a:pt x="631489" y="1314905"/>
                </a:cubicBezTo>
                <a:cubicBezTo>
                  <a:pt x="635566" y="1313547"/>
                  <a:pt x="641001" y="1316265"/>
                  <a:pt x="645078" y="1312187"/>
                </a:cubicBezTo>
                <a:cubicBezTo>
                  <a:pt x="643039" y="1308790"/>
                  <a:pt x="639642" y="1308112"/>
                  <a:pt x="636754" y="1308960"/>
                </a:cubicBezTo>
                <a:close/>
                <a:moveTo>
                  <a:pt x="605673" y="1305393"/>
                </a:moveTo>
                <a:cubicBezTo>
                  <a:pt x="609749" y="1309470"/>
                  <a:pt x="612467" y="1312188"/>
                  <a:pt x="616544" y="1305393"/>
                </a:cubicBezTo>
                <a:cubicBezTo>
                  <a:pt x="612467" y="1304035"/>
                  <a:pt x="609750" y="1304034"/>
                  <a:pt x="605673" y="1305393"/>
                </a:cubicBezTo>
                <a:close/>
                <a:moveTo>
                  <a:pt x="545207" y="1302675"/>
                </a:moveTo>
                <a:cubicBezTo>
                  <a:pt x="543168" y="1302676"/>
                  <a:pt x="541130" y="1303355"/>
                  <a:pt x="539092" y="1304035"/>
                </a:cubicBezTo>
                <a:cubicBezTo>
                  <a:pt x="543169" y="1305393"/>
                  <a:pt x="547245" y="1309470"/>
                  <a:pt x="551322" y="1305393"/>
                </a:cubicBezTo>
                <a:cubicBezTo>
                  <a:pt x="549283" y="1303355"/>
                  <a:pt x="547245" y="1302676"/>
                  <a:pt x="545207" y="1302675"/>
                </a:cubicBezTo>
                <a:close/>
                <a:moveTo>
                  <a:pt x="348861" y="1301317"/>
                </a:moveTo>
                <a:cubicBezTo>
                  <a:pt x="346143" y="1304034"/>
                  <a:pt x="347502" y="1305393"/>
                  <a:pt x="350219" y="1305393"/>
                </a:cubicBezTo>
                <a:cubicBezTo>
                  <a:pt x="348861" y="1306752"/>
                  <a:pt x="347502" y="1308111"/>
                  <a:pt x="347502" y="1310829"/>
                </a:cubicBezTo>
                <a:cubicBezTo>
                  <a:pt x="348860" y="1312187"/>
                  <a:pt x="351579" y="1312188"/>
                  <a:pt x="352938" y="1310829"/>
                </a:cubicBezTo>
                <a:cubicBezTo>
                  <a:pt x="348861" y="1306752"/>
                  <a:pt x="351578" y="1304034"/>
                  <a:pt x="348861" y="1301317"/>
                </a:cubicBezTo>
                <a:close/>
                <a:moveTo>
                  <a:pt x="185805" y="1298600"/>
                </a:moveTo>
                <a:cubicBezTo>
                  <a:pt x="181729" y="1299958"/>
                  <a:pt x="176294" y="1297241"/>
                  <a:pt x="173577" y="1299959"/>
                </a:cubicBezTo>
                <a:cubicBezTo>
                  <a:pt x="177652" y="1304034"/>
                  <a:pt x="187165" y="1305393"/>
                  <a:pt x="185805" y="1298600"/>
                </a:cubicBezTo>
                <a:close/>
                <a:moveTo>
                  <a:pt x="638284" y="1294523"/>
                </a:moveTo>
                <a:cubicBezTo>
                  <a:pt x="638284" y="1297241"/>
                  <a:pt x="634207" y="1298600"/>
                  <a:pt x="635566" y="1302676"/>
                </a:cubicBezTo>
                <a:cubicBezTo>
                  <a:pt x="638284" y="1308112"/>
                  <a:pt x="642360" y="1306754"/>
                  <a:pt x="647797" y="1301318"/>
                </a:cubicBezTo>
                <a:cubicBezTo>
                  <a:pt x="646437" y="1297241"/>
                  <a:pt x="643719" y="1294523"/>
                  <a:pt x="638284" y="1294523"/>
                </a:cubicBezTo>
                <a:close/>
                <a:moveTo>
                  <a:pt x="613826" y="1289088"/>
                </a:moveTo>
                <a:cubicBezTo>
                  <a:pt x="611108" y="1291805"/>
                  <a:pt x="609750" y="1290447"/>
                  <a:pt x="607032" y="1293165"/>
                </a:cubicBezTo>
                <a:cubicBezTo>
                  <a:pt x="611108" y="1297241"/>
                  <a:pt x="615185" y="1293165"/>
                  <a:pt x="613826" y="1289088"/>
                </a:cubicBezTo>
                <a:close/>
                <a:moveTo>
                  <a:pt x="499688" y="1289087"/>
                </a:moveTo>
                <a:cubicBezTo>
                  <a:pt x="501047" y="1290446"/>
                  <a:pt x="501046" y="1295882"/>
                  <a:pt x="505124" y="1294522"/>
                </a:cubicBezTo>
                <a:cubicBezTo>
                  <a:pt x="501047" y="1293164"/>
                  <a:pt x="502406" y="1286369"/>
                  <a:pt x="499688" y="1289087"/>
                </a:cubicBezTo>
                <a:close/>
                <a:moveTo>
                  <a:pt x="315740" y="1283144"/>
                </a:moveTo>
                <a:cubicBezTo>
                  <a:pt x="312513" y="1283314"/>
                  <a:pt x="309455" y="1285013"/>
                  <a:pt x="306737" y="1289088"/>
                </a:cubicBezTo>
                <a:cubicBezTo>
                  <a:pt x="313532" y="1295883"/>
                  <a:pt x="324402" y="1295884"/>
                  <a:pt x="325761" y="1286372"/>
                </a:cubicBezTo>
                <a:cubicBezTo>
                  <a:pt x="322363" y="1284333"/>
                  <a:pt x="318967" y="1282975"/>
                  <a:pt x="315740" y="1283144"/>
                </a:cubicBezTo>
                <a:close/>
                <a:moveTo>
                  <a:pt x="505122" y="1278219"/>
                </a:moveTo>
                <a:cubicBezTo>
                  <a:pt x="505122" y="1283653"/>
                  <a:pt x="496969" y="1275501"/>
                  <a:pt x="499686" y="1280936"/>
                </a:cubicBezTo>
                <a:cubicBezTo>
                  <a:pt x="503763" y="1282294"/>
                  <a:pt x="505122" y="1297241"/>
                  <a:pt x="513274" y="1297242"/>
                </a:cubicBezTo>
                <a:cubicBezTo>
                  <a:pt x="510557" y="1294524"/>
                  <a:pt x="514633" y="1295883"/>
                  <a:pt x="517351" y="1293165"/>
                </a:cubicBezTo>
                <a:cubicBezTo>
                  <a:pt x="513274" y="1286370"/>
                  <a:pt x="510557" y="1286371"/>
                  <a:pt x="505122" y="1278219"/>
                </a:cubicBezTo>
                <a:close/>
                <a:moveTo>
                  <a:pt x="260878" y="1278218"/>
                </a:moveTo>
                <a:cubicBezTo>
                  <a:pt x="258840" y="1277199"/>
                  <a:pt x="256462" y="1276859"/>
                  <a:pt x="255103" y="1278218"/>
                </a:cubicBezTo>
                <a:cubicBezTo>
                  <a:pt x="257821" y="1280935"/>
                  <a:pt x="261897" y="1285012"/>
                  <a:pt x="264615" y="1282294"/>
                </a:cubicBezTo>
                <a:cubicBezTo>
                  <a:pt x="264615" y="1280935"/>
                  <a:pt x="262916" y="1279237"/>
                  <a:pt x="260878" y="1278218"/>
                </a:cubicBezTo>
                <a:close/>
                <a:moveTo>
                  <a:pt x="591235" y="1271254"/>
                </a:moveTo>
                <a:cubicBezTo>
                  <a:pt x="587668" y="1272443"/>
                  <a:pt x="584611" y="1274821"/>
                  <a:pt x="583931" y="1278218"/>
                </a:cubicBezTo>
                <a:cubicBezTo>
                  <a:pt x="589366" y="1278219"/>
                  <a:pt x="596161" y="1274141"/>
                  <a:pt x="601596" y="1271423"/>
                </a:cubicBezTo>
                <a:cubicBezTo>
                  <a:pt x="598879" y="1270065"/>
                  <a:pt x="594802" y="1270065"/>
                  <a:pt x="591235" y="1271254"/>
                </a:cubicBezTo>
                <a:close/>
                <a:moveTo>
                  <a:pt x="452128" y="1257836"/>
                </a:moveTo>
                <a:cubicBezTo>
                  <a:pt x="457563" y="1263271"/>
                  <a:pt x="453487" y="1270064"/>
                  <a:pt x="460282" y="1276859"/>
                </a:cubicBezTo>
                <a:cubicBezTo>
                  <a:pt x="461641" y="1275500"/>
                  <a:pt x="463000" y="1276859"/>
                  <a:pt x="465717" y="1274141"/>
                </a:cubicBezTo>
                <a:cubicBezTo>
                  <a:pt x="462999" y="1268707"/>
                  <a:pt x="457564" y="1257834"/>
                  <a:pt x="452128" y="1257836"/>
                </a:cubicBezTo>
                <a:close/>
                <a:moveTo>
                  <a:pt x="287715" y="1253761"/>
                </a:moveTo>
                <a:cubicBezTo>
                  <a:pt x="289074" y="1255119"/>
                  <a:pt x="289074" y="1257836"/>
                  <a:pt x="290433" y="1261913"/>
                </a:cubicBezTo>
                <a:cubicBezTo>
                  <a:pt x="291792" y="1260554"/>
                  <a:pt x="293150" y="1259195"/>
                  <a:pt x="295868" y="1259195"/>
                </a:cubicBezTo>
                <a:cubicBezTo>
                  <a:pt x="291792" y="1257837"/>
                  <a:pt x="289074" y="1252401"/>
                  <a:pt x="287715" y="1253761"/>
                </a:cubicBezTo>
                <a:close/>
                <a:moveTo>
                  <a:pt x="485080" y="1253420"/>
                </a:moveTo>
                <a:cubicBezTo>
                  <a:pt x="481004" y="1251383"/>
                  <a:pt x="475907" y="1253080"/>
                  <a:pt x="472511" y="1261913"/>
                </a:cubicBezTo>
                <a:cubicBezTo>
                  <a:pt x="479306" y="1265989"/>
                  <a:pt x="486099" y="1270066"/>
                  <a:pt x="491534" y="1267348"/>
                </a:cubicBezTo>
                <a:cubicBezTo>
                  <a:pt x="492213" y="1261233"/>
                  <a:pt x="489156" y="1255458"/>
                  <a:pt x="485080" y="1253420"/>
                </a:cubicBezTo>
                <a:close/>
                <a:moveTo>
                  <a:pt x="363807" y="1251041"/>
                </a:moveTo>
                <a:cubicBezTo>
                  <a:pt x="367884" y="1255118"/>
                  <a:pt x="357013" y="1249682"/>
                  <a:pt x="359730" y="1255117"/>
                </a:cubicBezTo>
                <a:cubicBezTo>
                  <a:pt x="365166" y="1255118"/>
                  <a:pt x="362448" y="1257836"/>
                  <a:pt x="358371" y="1259193"/>
                </a:cubicBezTo>
                <a:cubicBezTo>
                  <a:pt x="362448" y="1260554"/>
                  <a:pt x="365166" y="1263271"/>
                  <a:pt x="359731" y="1268706"/>
                </a:cubicBezTo>
                <a:cubicBezTo>
                  <a:pt x="361090" y="1264629"/>
                  <a:pt x="350219" y="1259194"/>
                  <a:pt x="352937" y="1264629"/>
                </a:cubicBezTo>
                <a:cubicBezTo>
                  <a:pt x="358371" y="1264629"/>
                  <a:pt x="365166" y="1282294"/>
                  <a:pt x="365166" y="1282294"/>
                </a:cubicBezTo>
                <a:cubicBezTo>
                  <a:pt x="365166" y="1276859"/>
                  <a:pt x="362448" y="1271423"/>
                  <a:pt x="363808" y="1267348"/>
                </a:cubicBezTo>
                <a:cubicBezTo>
                  <a:pt x="363808" y="1272782"/>
                  <a:pt x="365166" y="1268706"/>
                  <a:pt x="369242" y="1270064"/>
                </a:cubicBezTo>
                <a:cubicBezTo>
                  <a:pt x="363807" y="1275500"/>
                  <a:pt x="369242" y="1280935"/>
                  <a:pt x="373319" y="1285012"/>
                </a:cubicBezTo>
                <a:cubicBezTo>
                  <a:pt x="377395" y="1280935"/>
                  <a:pt x="373319" y="1276859"/>
                  <a:pt x="374677" y="1272782"/>
                </a:cubicBezTo>
                <a:cubicBezTo>
                  <a:pt x="374678" y="1275500"/>
                  <a:pt x="376037" y="1276859"/>
                  <a:pt x="380113" y="1275500"/>
                </a:cubicBezTo>
                <a:cubicBezTo>
                  <a:pt x="370601" y="1263271"/>
                  <a:pt x="369242" y="1256477"/>
                  <a:pt x="363807" y="1251041"/>
                </a:cubicBezTo>
                <a:close/>
                <a:moveTo>
                  <a:pt x="242875" y="1250363"/>
                </a:moveTo>
                <a:cubicBezTo>
                  <a:pt x="241516" y="1249683"/>
                  <a:pt x="240157" y="1249683"/>
                  <a:pt x="238799" y="1251041"/>
                </a:cubicBezTo>
                <a:cubicBezTo>
                  <a:pt x="241516" y="1251042"/>
                  <a:pt x="245594" y="1257836"/>
                  <a:pt x="246952" y="1253759"/>
                </a:cubicBezTo>
                <a:cubicBezTo>
                  <a:pt x="245593" y="1252401"/>
                  <a:pt x="244234" y="1251042"/>
                  <a:pt x="242875" y="1250363"/>
                </a:cubicBezTo>
                <a:close/>
                <a:moveTo>
                  <a:pt x="253406" y="1222974"/>
                </a:moveTo>
                <a:cubicBezTo>
                  <a:pt x="252897" y="1222337"/>
                  <a:pt x="258502" y="1232018"/>
                  <a:pt x="256463" y="1227942"/>
                </a:cubicBezTo>
                <a:cubicBezTo>
                  <a:pt x="254425" y="1224545"/>
                  <a:pt x="253576" y="1223187"/>
                  <a:pt x="253406" y="1222974"/>
                </a:cubicBezTo>
                <a:close/>
                <a:moveTo>
                  <a:pt x="1509273" y="1214354"/>
                </a:moveTo>
                <a:cubicBezTo>
                  <a:pt x="1507913" y="1215713"/>
                  <a:pt x="1507913" y="1215713"/>
                  <a:pt x="1506555" y="1217072"/>
                </a:cubicBezTo>
                <a:cubicBezTo>
                  <a:pt x="1506555" y="1217072"/>
                  <a:pt x="1505196" y="1218431"/>
                  <a:pt x="1506555" y="1219790"/>
                </a:cubicBezTo>
                <a:cubicBezTo>
                  <a:pt x="1507914" y="1218431"/>
                  <a:pt x="1511990" y="1219790"/>
                  <a:pt x="1513349" y="1218431"/>
                </a:cubicBezTo>
                <a:cubicBezTo>
                  <a:pt x="1511990" y="1217072"/>
                  <a:pt x="1510632" y="1215713"/>
                  <a:pt x="1509273" y="1214354"/>
                </a:cubicBezTo>
                <a:close/>
                <a:moveTo>
                  <a:pt x="74384" y="1203485"/>
                </a:moveTo>
                <a:cubicBezTo>
                  <a:pt x="90689" y="1244249"/>
                  <a:pt x="108353" y="1286372"/>
                  <a:pt x="124659" y="1327136"/>
                </a:cubicBezTo>
                <a:cubicBezTo>
                  <a:pt x="124658" y="1343441"/>
                  <a:pt x="123300" y="1358388"/>
                  <a:pt x="120583" y="1374693"/>
                </a:cubicBezTo>
                <a:cubicBezTo>
                  <a:pt x="101559" y="1344799"/>
                  <a:pt x="81177" y="1313547"/>
                  <a:pt x="63513" y="1282295"/>
                </a:cubicBezTo>
                <a:cubicBezTo>
                  <a:pt x="63513" y="1260554"/>
                  <a:pt x="64872" y="1240173"/>
                  <a:pt x="68948" y="1222509"/>
                </a:cubicBezTo>
                <a:cubicBezTo>
                  <a:pt x="70307" y="1215714"/>
                  <a:pt x="73025" y="1210279"/>
                  <a:pt x="74384" y="1203485"/>
                </a:cubicBezTo>
                <a:close/>
                <a:moveTo>
                  <a:pt x="1286429" y="1198048"/>
                </a:moveTo>
                <a:cubicBezTo>
                  <a:pt x="1287788" y="1212996"/>
                  <a:pt x="1295941" y="1223865"/>
                  <a:pt x="1304094" y="1234737"/>
                </a:cubicBezTo>
                <a:cubicBezTo>
                  <a:pt x="1309529" y="1232019"/>
                  <a:pt x="1306812" y="1229302"/>
                  <a:pt x="1309529" y="1226584"/>
                </a:cubicBezTo>
                <a:cubicBezTo>
                  <a:pt x="1297300" y="1219790"/>
                  <a:pt x="1298659" y="1202125"/>
                  <a:pt x="1286429" y="1198048"/>
                </a:cubicBezTo>
                <a:close/>
                <a:moveTo>
                  <a:pt x="1487531" y="1192613"/>
                </a:moveTo>
                <a:cubicBezTo>
                  <a:pt x="1490249" y="1195332"/>
                  <a:pt x="1486171" y="1193973"/>
                  <a:pt x="1483454" y="1196690"/>
                </a:cubicBezTo>
                <a:cubicBezTo>
                  <a:pt x="1487531" y="1203485"/>
                  <a:pt x="1490248" y="1206202"/>
                  <a:pt x="1497042" y="1202125"/>
                </a:cubicBezTo>
                <a:cubicBezTo>
                  <a:pt x="1492966" y="1198049"/>
                  <a:pt x="1491608" y="1202125"/>
                  <a:pt x="1488890" y="1196691"/>
                </a:cubicBezTo>
                <a:cubicBezTo>
                  <a:pt x="1491608" y="1193973"/>
                  <a:pt x="1491607" y="1191255"/>
                  <a:pt x="1487531" y="1192613"/>
                </a:cubicBezTo>
                <a:close/>
                <a:moveTo>
                  <a:pt x="82536" y="1181744"/>
                </a:moveTo>
                <a:lnTo>
                  <a:pt x="96788" y="1201529"/>
                </a:lnTo>
                <a:lnTo>
                  <a:pt x="101475" y="1209216"/>
                </a:lnTo>
                <a:lnTo>
                  <a:pt x="112430" y="1233378"/>
                </a:lnTo>
                <a:cubicBezTo>
                  <a:pt x="124659" y="1261913"/>
                  <a:pt x="124659" y="1289089"/>
                  <a:pt x="124659" y="1313548"/>
                </a:cubicBezTo>
                <a:cubicBezTo>
                  <a:pt x="124658" y="1316265"/>
                  <a:pt x="123300" y="1317624"/>
                  <a:pt x="124659" y="1318983"/>
                </a:cubicBezTo>
                <a:cubicBezTo>
                  <a:pt x="108353" y="1278219"/>
                  <a:pt x="92047" y="1237455"/>
                  <a:pt x="77100" y="1195332"/>
                </a:cubicBezTo>
                <a:cubicBezTo>
                  <a:pt x="79819" y="1189897"/>
                  <a:pt x="81177" y="1185821"/>
                  <a:pt x="82536" y="1181744"/>
                </a:cubicBezTo>
                <a:close/>
                <a:moveTo>
                  <a:pt x="256462" y="1181742"/>
                </a:moveTo>
                <a:cubicBezTo>
                  <a:pt x="263256" y="1185820"/>
                  <a:pt x="263256" y="1199408"/>
                  <a:pt x="272768" y="1195332"/>
                </a:cubicBezTo>
                <a:cubicBezTo>
                  <a:pt x="271409" y="1191255"/>
                  <a:pt x="263256" y="1183102"/>
                  <a:pt x="256462" y="1181742"/>
                </a:cubicBezTo>
                <a:close/>
                <a:moveTo>
                  <a:pt x="1285070" y="1177667"/>
                </a:moveTo>
                <a:cubicBezTo>
                  <a:pt x="1280993" y="1181744"/>
                  <a:pt x="1285069" y="1199408"/>
                  <a:pt x="1293223" y="1193973"/>
                </a:cubicBezTo>
                <a:cubicBezTo>
                  <a:pt x="1287787" y="1188538"/>
                  <a:pt x="1289147" y="1181743"/>
                  <a:pt x="1285070" y="1177667"/>
                </a:cubicBezTo>
                <a:close/>
                <a:moveTo>
                  <a:pt x="66230" y="1162721"/>
                </a:moveTo>
                <a:cubicBezTo>
                  <a:pt x="68948" y="1165439"/>
                  <a:pt x="70307" y="1166798"/>
                  <a:pt x="73024" y="1169515"/>
                </a:cubicBezTo>
                <a:cubicBezTo>
                  <a:pt x="73025" y="1172233"/>
                  <a:pt x="71666" y="1173592"/>
                  <a:pt x="70307" y="1174951"/>
                </a:cubicBezTo>
                <a:cubicBezTo>
                  <a:pt x="68948" y="1170874"/>
                  <a:pt x="67589" y="1166797"/>
                  <a:pt x="66230" y="1162721"/>
                </a:cubicBezTo>
                <a:close/>
                <a:moveTo>
                  <a:pt x="1278277" y="1160002"/>
                </a:moveTo>
                <a:cubicBezTo>
                  <a:pt x="1275560" y="1162720"/>
                  <a:pt x="1279636" y="1177667"/>
                  <a:pt x="1285072" y="1172232"/>
                </a:cubicBezTo>
                <a:cubicBezTo>
                  <a:pt x="1278277" y="1168155"/>
                  <a:pt x="1282353" y="1164079"/>
                  <a:pt x="1278277" y="1160002"/>
                </a:cubicBezTo>
                <a:close/>
                <a:moveTo>
                  <a:pt x="1276918" y="1139621"/>
                </a:moveTo>
                <a:cubicBezTo>
                  <a:pt x="1272842" y="1143697"/>
                  <a:pt x="1274201" y="1147773"/>
                  <a:pt x="1276919" y="1150491"/>
                </a:cubicBezTo>
                <a:cubicBezTo>
                  <a:pt x="1278277" y="1149133"/>
                  <a:pt x="1282353" y="1150491"/>
                  <a:pt x="1280995" y="1146415"/>
                </a:cubicBezTo>
                <a:cubicBezTo>
                  <a:pt x="1275560" y="1149132"/>
                  <a:pt x="1280994" y="1140979"/>
                  <a:pt x="1276918" y="1139621"/>
                </a:cubicBezTo>
                <a:close/>
                <a:moveTo>
                  <a:pt x="1051358" y="1128751"/>
                </a:moveTo>
                <a:cubicBezTo>
                  <a:pt x="1083969" y="1142338"/>
                  <a:pt x="1116581" y="1158644"/>
                  <a:pt x="1150550" y="1179026"/>
                </a:cubicBezTo>
                <a:lnTo>
                  <a:pt x="1194445" y="1207165"/>
                </a:lnTo>
                <a:lnTo>
                  <a:pt x="1144945" y="1185990"/>
                </a:lnTo>
                <a:cubicBezTo>
                  <a:pt x="1124733" y="1176310"/>
                  <a:pt x="1104351" y="1165439"/>
                  <a:pt x="1083969" y="1153209"/>
                </a:cubicBezTo>
                <a:lnTo>
                  <a:pt x="1089688" y="1157517"/>
                </a:lnTo>
                <a:lnTo>
                  <a:pt x="1078775" y="1151108"/>
                </a:lnTo>
                <a:lnTo>
                  <a:pt x="1063252" y="1139159"/>
                </a:lnTo>
                <a:close/>
                <a:moveTo>
                  <a:pt x="169500" y="1119239"/>
                </a:moveTo>
                <a:cubicBezTo>
                  <a:pt x="184446" y="1145056"/>
                  <a:pt x="196676" y="1170873"/>
                  <a:pt x="203470" y="1196691"/>
                </a:cubicBezTo>
                <a:cubicBezTo>
                  <a:pt x="217057" y="1240173"/>
                  <a:pt x="211621" y="1278219"/>
                  <a:pt x="207545" y="1314906"/>
                </a:cubicBezTo>
                <a:cubicBezTo>
                  <a:pt x="207545" y="1323059"/>
                  <a:pt x="204827" y="1331212"/>
                  <a:pt x="204828" y="1339364"/>
                </a:cubicBezTo>
                <a:cubicBezTo>
                  <a:pt x="203469" y="1302677"/>
                  <a:pt x="199393" y="1265990"/>
                  <a:pt x="187163" y="1223867"/>
                </a:cubicBezTo>
                <a:cubicBezTo>
                  <a:pt x="177652" y="1189896"/>
                  <a:pt x="159988" y="1155927"/>
                  <a:pt x="138248" y="1123316"/>
                </a:cubicBezTo>
                <a:cubicBezTo>
                  <a:pt x="142324" y="1124674"/>
                  <a:pt x="147759" y="1127392"/>
                  <a:pt x="150476" y="1130109"/>
                </a:cubicBezTo>
                <a:cubicBezTo>
                  <a:pt x="154553" y="1120598"/>
                  <a:pt x="162706" y="1120598"/>
                  <a:pt x="169500" y="1119239"/>
                </a:cubicBezTo>
                <a:close/>
                <a:moveTo>
                  <a:pt x="111071" y="1117880"/>
                </a:moveTo>
                <a:cubicBezTo>
                  <a:pt x="117865" y="1119239"/>
                  <a:pt x="123301" y="1121957"/>
                  <a:pt x="128736" y="1121957"/>
                </a:cubicBezTo>
                <a:cubicBezTo>
                  <a:pt x="151835" y="1153209"/>
                  <a:pt x="170858" y="1188538"/>
                  <a:pt x="180369" y="1225226"/>
                </a:cubicBezTo>
                <a:cubicBezTo>
                  <a:pt x="193957" y="1274142"/>
                  <a:pt x="198034" y="1318983"/>
                  <a:pt x="199393" y="1363822"/>
                </a:cubicBezTo>
                <a:cubicBezTo>
                  <a:pt x="202110" y="1363823"/>
                  <a:pt x="202111" y="1366541"/>
                  <a:pt x="203469" y="1367899"/>
                </a:cubicBezTo>
                <a:cubicBezTo>
                  <a:pt x="202111" y="1388281"/>
                  <a:pt x="202110" y="1410023"/>
                  <a:pt x="202111" y="1431763"/>
                </a:cubicBezTo>
                <a:cubicBezTo>
                  <a:pt x="203469" y="1457580"/>
                  <a:pt x="206186" y="1484756"/>
                  <a:pt x="210263" y="1513290"/>
                </a:cubicBezTo>
                <a:cubicBezTo>
                  <a:pt x="202110" y="1499702"/>
                  <a:pt x="195316" y="1487473"/>
                  <a:pt x="185805" y="1475244"/>
                </a:cubicBezTo>
                <a:cubicBezTo>
                  <a:pt x="169499" y="1426328"/>
                  <a:pt x="149117" y="1378769"/>
                  <a:pt x="130094" y="1329854"/>
                </a:cubicBezTo>
                <a:cubicBezTo>
                  <a:pt x="130094" y="1324417"/>
                  <a:pt x="131453" y="1320342"/>
                  <a:pt x="130094" y="1316265"/>
                </a:cubicBezTo>
                <a:cubicBezTo>
                  <a:pt x="130094" y="1316265"/>
                  <a:pt x="130094" y="1313548"/>
                  <a:pt x="130094" y="1313548"/>
                </a:cubicBezTo>
                <a:cubicBezTo>
                  <a:pt x="135529" y="1310830"/>
                  <a:pt x="139605" y="1317624"/>
                  <a:pt x="147758" y="1309471"/>
                </a:cubicBezTo>
                <a:cubicBezTo>
                  <a:pt x="142323" y="1306753"/>
                  <a:pt x="134170" y="1306753"/>
                  <a:pt x="130094" y="1310830"/>
                </a:cubicBezTo>
                <a:cubicBezTo>
                  <a:pt x="130094" y="1289089"/>
                  <a:pt x="128736" y="1263272"/>
                  <a:pt x="117865" y="1236096"/>
                </a:cubicBezTo>
                <a:lnTo>
                  <a:pt x="101475" y="1209216"/>
                </a:lnTo>
                <a:lnTo>
                  <a:pt x="100031" y="1206033"/>
                </a:lnTo>
                <a:lnTo>
                  <a:pt x="96788" y="1201529"/>
                </a:lnTo>
                <a:lnTo>
                  <a:pt x="83894" y="1180385"/>
                </a:lnTo>
                <a:cubicBezTo>
                  <a:pt x="87971" y="1170874"/>
                  <a:pt x="93407" y="1160004"/>
                  <a:pt x="98841" y="1151851"/>
                </a:cubicBezTo>
                <a:cubicBezTo>
                  <a:pt x="101559" y="1154568"/>
                  <a:pt x="104277" y="1154568"/>
                  <a:pt x="104277" y="1149133"/>
                </a:cubicBezTo>
                <a:cubicBezTo>
                  <a:pt x="102918" y="1150492"/>
                  <a:pt x="101559" y="1149133"/>
                  <a:pt x="100201" y="1147774"/>
                </a:cubicBezTo>
                <a:cubicBezTo>
                  <a:pt x="104277" y="1138262"/>
                  <a:pt x="109713" y="1130109"/>
                  <a:pt x="111071" y="1120598"/>
                </a:cubicBezTo>
                <a:cubicBezTo>
                  <a:pt x="111071" y="1120598"/>
                  <a:pt x="112430" y="1119239"/>
                  <a:pt x="111071" y="1117880"/>
                </a:cubicBezTo>
                <a:close/>
                <a:moveTo>
                  <a:pt x="0" y="1111745"/>
                </a:moveTo>
                <a:lnTo>
                  <a:pt x="54001" y="1155927"/>
                </a:lnTo>
                <a:cubicBezTo>
                  <a:pt x="58078" y="1165439"/>
                  <a:pt x="62154" y="1177668"/>
                  <a:pt x="66231" y="1187179"/>
                </a:cubicBezTo>
                <a:cubicBezTo>
                  <a:pt x="63513" y="1195332"/>
                  <a:pt x="59436" y="1204844"/>
                  <a:pt x="58078" y="1214355"/>
                </a:cubicBezTo>
                <a:cubicBezTo>
                  <a:pt x="55360" y="1230661"/>
                  <a:pt x="52642" y="1246966"/>
                  <a:pt x="54001" y="1264631"/>
                </a:cubicBezTo>
                <a:cubicBezTo>
                  <a:pt x="36337" y="1233379"/>
                  <a:pt x="20031" y="1200767"/>
                  <a:pt x="7803" y="1166798"/>
                </a:cubicBezTo>
                <a:lnTo>
                  <a:pt x="0" y="1136890"/>
                </a:lnTo>
                <a:close/>
                <a:moveTo>
                  <a:pt x="215295" y="1109960"/>
                </a:moveTo>
                <a:cubicBezTo>
                  <a:pt x="214595" y="1111171"/>
                  <a:pt x="210264" y="1120597"/>
                  <a:pt x="214340" y="1112444"/>
                </a:cubicBezTo>
                <a:cubicBezTo>
                  <a:pt x="215359" y="1110066"/>
                  <a:pt x="215529" y="1109557"/>
                  <a:pt x="215295" y="1109960"/>
                </a:cubicBezTo>
                <a:close/>
                <a:moveTo>
                  <a:pt x="169499" y="1089345"/>
                </a:moveTo>
                <a:cubicBezTo>
                  <a:pt x="174934" y="1094780"/>
                  <a:pt x="173575" y="1101574"/>
                  <a:pt x="180369" y="1094780"/>
                </a:cubicBezTo>
                <a:cubicBezTo>
                  <a:pt x="176293" y="1090704"/>
                  <a:pt x="172216" y="1089345"/>
                  <a:pt x="169499" y="1089345"/>
                </a:cubicBezTo>
                <a:close/>
                <a:moveTo>
                  <a:pt x="1361166" y="1085272"/>
                </a:moveTo>
                <a:lnTo>
                  <a:pt x="1367175" y="1091281"/>
                </a:lnTo>
                <a:lnTo>
                  <a:pt x="1367059" y="1091270"/>
                </a:lnTo>
                <a:close/>
                <a:moveTo>
                  <a:pt x="0" y="1074888"/>
                </a:moveTo>
                <a:lnTo>
                  <a:pt x="26826" y="1082552"/>
                </a:lnTo>
                <a:cubicBezTo>
                  <a:pt x="28184" y="1081194"/>
                  <a:pt x="29543" y="1079835"/>
                  <a:pt x="29543" y="1077117"/>
                </a:cubicBezTo>
                <a:cubicBezTo>
                  <a:pt x="32261" y="1085270"/>
                  <a:pt x="34978" y="1093423"/>
                  <a:pt x="37696" y="1101575"/>
                </a:cubicBezTo>
                <a:cubicBezTo>
                  <a:pt x="43131" y="1115163"/>
                  <a:pt x="47208" y="1127393"/>
                  <a:pt x="52642" y="1140981"/>
                </a:cubicBezTo>
                <a:lnTo>
                  <a:pt x="0" y="1098866"/>
                </a:lnTo>
                <a:close/>
                <a:moveTo>
                  <a:pt x="742912" y="1073040"/>
                </a:moveTo>
                <a:cubicBezTo>
                  <a:pt x="736118" y="1074398"/>
                  <a:pt x="745630" y="1083910"/>
                  <a:pt x="746989" y="1077116"/>
                </a:cubicBezTo>
                <a:cubicBezTo>
                  <a:pt x="745630" y="1075757"/>
                  <a:pt x="744271" y="1074398"/>
                  <a:pt x="742912" y="1073040"/>
                </a:cubicBezTo>
                <a:close/>
                <a:moveTo>
                  <a:pt x="752424" y="1071681"/>
                </a:moveTo>
                <a:cubicBezTo>
                  <a:pt x="748347" y="1075758"/>
                  <a:pt x="745630" y="1078475"/>
                  <a:pt x="751065" y="1081193"/>
                </a:cubicBezTo>
                <a:cubicBezTo>
                  <a:pt x="755141" y="1077117"/>
                  <a:pt x="756500" y="1075758"/>
                  <a:pt x="752424" y="1071681"/>
                </a:cubicBezTo>
                <a:close/>
                <a:moveTo>
                  <a:pt x="134170" y="1067604"/>
                </a:moveTo>
                <a:cubicBezTo>
                  <a:pt x="140964" y="1068963"/>
                  <a:pt x="136888" y="1078474"/>
                  <a:pt x="140964" y="1074398"/>
                </a:cubicBezTo>
                <a:cubicBezTo>
                  <a:pt x="139605" y="1073039"/>
                  <a:pt x="139605" y="1064886"/>
                  <a:pt x="134170" y="1067604"/>
                </a:cubicBezTo>
                <a:close/>
                <a:moveTo>
                  <a:pt x="108354" y="1063528"/>
                </a:moveTo>
                <a:cubicBezTo>
                  <a:pt x="108354" y="1063528"/>
                  <a:pt x="108354" y="1066246"/>
                  <a:pt x="108354" y="1066246"/>
                </a:cubicBezTo>
                <a:cubicBezTo>
                  <a:pt x="108354" y="1066246"/>
                  <a:pt x="108354" y="1066246"/>
                  <a:pt x="105636" y="1066246"/>
                </a:cubicBezTo>
                <a:cubicBezTo>
                  <a:pt x="106995" y="1064887"/>
                  <a:pt x="106995" y="1064887"/>
                  <a:pt x="108354" y="1063528"/>
                </a:cubicBezTo>
                <a:close/>
                <a:moveTo>
                  <a:pt x="1320399" y="1052658"/>
                </a:moveTo>
                <a:cubicBezTo>
                  <a:pt x="1327194" y="1056734"/>
                  <a:pt x="1332629" y="1059453"/>
                  <a:pt x="1340782" y="1062169"/>
                </a:cubicBezTo>
                <a:cubicBezTo>
                  <a:pt x="1344858" y="1066246"/>
                  <a:pt x="1348934" y="1067605"/>
                  <a:pt x="1350293" y="1068964"/>
                </a:cubicBezTo>
                <a:cubicBezTo>
                  <a:pt x="1348934" y="1067605"/>
                  <a:pt x="1348934" y="1067605"/>
                  <a:pt x="1350293" y="1066246"/>
                </a:cubicBezTo>
                <a:cubicBezTo>
                  <a:pt x="1369316" y="1074399"/>
                  <a:pt x="1388340" y="1079833"/>
                  <a:pt x="1407363" y="1085269"/>
                </a:cubicBezTo>
                <a:lnTo>
                  <a:pt x="1426735" y="1090734"/>
                </a:lnTo>
                <a:lnTo>
                  <a:pt x="1361163" y="1085269"/>
                </a:lnTo>
                <a:lnTo>
                  <a:pt x="1361166" y="1085272"/>
                </a:lnTo>
                <a:lnTo>
                  <a:pt x="1359805" y="1083911"/>
                </a:lnTo>
                <a:lnTo>
                  <a:pt x="1351736" y="1081906"/>
                </a:lnTo>
                <a:close/>
                <a:moveTo>
                  <a:pt x="124659" y="1039070"/>
                </a:moveTo>
                <a:cubicBezTo>
                  <a:pt x="131454" y="1051300"/>
                  <a:pt x="136889" y="1059453"/>
                  <a:pt x="140965" y="1066246"/>
                </a:cubicBezTo>
                <a:cubicBezTo>
                  <a:pt x="147760" y="1078475"/>
                  <a:pt x="155912" y="1089345"/>
                  <a:pt x="161347" y="1100216"/>
                </a:cubicBezTo>
                <a:cubicBezTo>
                  <a:pt x="159988" y="1101575"/>
                  <a:pt x="158629" y="1100216"/>
                  <a:pt x="155912" y="1100215"/>
                </a:cubicBezTo>
                <a:cubicBezTo>
                  <a:pt x="143682" y="1085269"/>
                  <a:pt x="135530" y="1082552"/>
                  <a:pt x="123301" y="1067604"/>
                </a:cubicBezTo>
                <a:cubicBezTo>
                  <a:pt x="123301" y="1067604"/>
                  <a:pt x="121942" y="1068963"/>
                  <a:pt x="121942" y="1068963"/>
                </a:cubicBezTo>
                <a:cubicBezTo>
                  <a:pt x="121942" y="1063528"/>
                  <a:pt x="121942" y="1058093"/>
                  <a:pt x="123301" y="1051300"/>
                </a:cubicBezTo>
                <a:cubicBezTo>
                  <a:pt x="123301" y="1048581"/>
                  <a:pt x="123301" y="1048581"/>
                  <a:pt x="123300" y="1045864"/>
                </a:cubicBezTo>
                <a:cubicBezTo>
                  <a:pt x="123300" y="1045864"/>
                  <a:pt x="126018" y="1045864"/>
                  <a:pt x="126018" y="1045864"/>
                </a:cubicBezTo>
                <a:cubicBezTo>
                  <a:pt x="124659" y="1044505"/>
                  <a:pt x="123301" y="1043147"/>
                  <a:pt x="123301" y="1043147"/>
                </a:cubicBezTo>
                <a:cubicBezTo>
                  <a:pt x="123301" y="1043147"/>
                  <a:pt x="123301" y="1040429"/>
                  <a:pt x="123301" y="1040429"/>
                </a:cubicBezTo>
                <a:cubicBezTo>
                  <a:pt x="123301" y="1040429"/>
                  <a:pt x="123301" y="1040429"/>
                  <a:pt x="124659" y="1039070"/>
                </a:cubicBezTo>
                <a:close/>
                <a:moveTo>
                  <a:pt x="948089" y="1030917"/>
                </a:moveTo>
                <a:cubicBezTo>
                  <a:pt x="968472" y="1056734"/>
                  <a:pt x="991571" y="1079834"/>
                  <a:pt x="1016030" y="1101574"/>
                </a:cubicBezTo>
                <a:cubicBezTo>
                  <a:pt x="1014671" y="1100216"/>
                  <a:pt x="1011953" y="1100216"/>
                  <a:pt x="1011953" y="1100216"/>
                </a:cubicBezTo>
                <a:cubicBezTo>
                  <a:pt x="988853" y="1079834"/>
                  <a:pt x="968472" y="1056734"/>
                  <a:pt x="948089" y="1030917"/>
                </a:cubicBezTo>
                <a:close/>
                <a:moveTo>
                  <a:pt x="73026" y="1020047"/>
                </a:moveTo>
                <a:cubicBezTo>
                  <a:pt x="68949" y="1032276"/>
                  <a:pt x="82537" y="1018688"/>
                  <a:pt x="73026" y="1020047"/>
                </a:cubicBezTo>
                <a:close/>
                <a:moveTo>
                  <a:pt x="36823" y="1016456"/>
                </a:moveTo>
                <a:lnTo>
                  <a:pt x="79819" y="1059452"/>
                </a:lnTo>
                <a:lnTo>
                  <a:pt x="80338" y="1059193"/>
                </a:lnTo>
                <a:lnTo>
                  <a:pt x="78970" y="1065397"/>
                </a:lnTo>
                <a:cubicBezTo>
                  <a:pt x="77441" y="1067944"/>
                  <a:pt x="75743" y="1070323"/>
                  <a:pt x="75743" y="1074399"/>
                </a:cubicBezTo>
                <a:cubicBezTo>
                  <a:pt x="64873" y="1079834"/>
                  <a:pt x="67590" y="1063529"/>
                  <a:pt x="56720" y="1063528"/>
                </a:cubicBezTo>
                <a:cubicBezTo>
                  <a:pt x="59438" y="1071681"/>
                  <a:pt x="62155" y="1068964"/>
                  <a:pt x="67590" y="1074399"/>
                </a:cubicBezTo>
                <a:cubicBezTo>
                  <a:pt x="64873" y="1077116"/>
                  <a:pt x="66232" y="1078475"/>
                  <a:pt x="62155" y="1082552"/>
                </a:cubicBezTo>
                <a:cubicBezTo>
                  <a:pt x="73025" y="1098857"/>
                  <a:pt x="87972" y="1105651"/>
                  <a:pt x="101559" y="1111086"/>
                </a:cubicBezTo>
                <a:cubicBezTo>
                  <a:pt x="94765" y="1128751"/>
                  <a:pt x="85254" y="1146415"/>
                  <a:pt x="77100" y="1165439"/>
                </a:cubicBezTo>
                <a:cubicBezTo>
                  <a:pt x="73024" y="1161362"/>
                  <a:pt x="68948" y="1157286"/>
                  <a:pt x="66230" y="1154568"/>
                </a:cubicBezTo>
                <a:cubicBezTo>
                  <a:pt x="66230" y="1154568"/>
                  <a:pt x="66230" y="1154568"/>
                  <a:pt x="64872" y="1153210"/>
                </a:cubicBezTo>
                <a:cubicBezTo>
                  <a:pt x="59437" y="1136904"/>
                  <a:pt x="54001" y="1120599"/>
                  <a:pt x="48567" y="1104293"/>
                </a:cubicBezTo>
                <a:cubicBezTo>
                  <a:pt x="41772" y="1092064"/>
                  <a:pt x="37696" y="1077117"/>
                  <a:pt x="33619" y="1064888"/>
                </a:cubicBezTo>
                <a:cubicBezTo>
                  <a:pt x="34979" y="1055375"/>
                  <a:pt x="32261" y="1049940"/>
                  <a:pt x="28185" y="1043147"/>
                </a:cubicBezTo>
                <a:cubicBezTo>
                  <a:pt x="28185" y="1043147"/>
                  <a:pt x="26826" y="1041788"/>
                  <a:pt x="28185" y="1040429"/>
                </a:cubicBezTo>
                <a:cubicBezTo>
                  <a:pt x="29543" y="1039070"/>
                  <a:pt x="29543" y="1039070"/>
                  <a:pt x="32262" y="1036352"/>
                </a:cubicBezTo>
                <a:cubicBezTo>
                  <a:pt x="32262" y="1030917"/>
                  <a:pt x="29543" y="1030917"/>
                  <a:pt x="29544" y="1028200"/>
                </a:cubicBezTo>
                <a:cubicBezTo>
                  <a:pt x="30902" y="1024123"/>
                  <a:pt x="34979" y="1028200"/>
                  <a:pt x="37696" y="1025482"/>
                </a:cubicBezTo>
                <a:cubicBezTo>
                  <a:pt x="34299" y="1024804"/>
                  <a:pt x="33960" y="1023105"/>
                  <a:pt x="34639" y="1021067"/>
                </a:cubicBezTo>
                <a:close/>
                <a:moveTo>
                  <a:pt x="56889" y="992021"/>
                </a:moveTo>
                <a:cubicBezTo>
                  <a:pt x="54001" y="991512"/>
                  <a:pt x="50605" y="992191"/>
                  <a:pt x="48566" y="992871"/>
                </a:cubicBezTo>
                <a:cubicBezTo>
                  <a:pt x="52642" y="999665"/>
                  <a:pt x="58078" y="999665"/>
                  <a:pt x="62154" y="998306"/>
                </a:cubicBezTo>
                <a:cubicBezTo>
                  <a:pt x="62155" y="994230"/>
                  <a:pt x="59777" y="992531"/>
                  <a:pt x="56889" y="992021"/>
                </a:cubicBezTo>
                <a:close/>
                <a:moveTo>
                  <a:pt x="1191314" y="967054"/>
                </a:moveTo>
                <a:cubicBezTo>
                  <a:pt x="1225284" y="984718"/>
                  <a:pt x="1260613" y="1006459"/>
                  <a:pt x="1293224" y="1033635"/>
                </a:cubicBezTo>
                <a:cubicBezTo>
                  <a:pt x="1280994" y="1026841"/>
                  <a:pt x="1268766" y="1020047"/>
                  <a:pt x="1256536" y="1013252"/>
                </a:cubicBezTo>
                <a:cubicBezTo>
                  <a:pt x="1234796" y="999665"/>
                  <a:pt x="1213054" y="983359"/>
                  <a:pt x="1191314" y="967054"/>
                </a:cubicBezTo>
                <a:close/>
                <a:moveTo>
                  <a:pt x="15276" y="942595"/>
                </a:moveTo>
                <a:cubicBezTo>
                  <a:pt x="13237" y="942595"/>
                  <a:pt x="11879" y="943954"/>
                  <a:pt x="13238" y="946672"/>
                </a:cubicBezTo>
                <a:cubicBezTo>
                  <a:pt x="14597" y="942595"/>
                  <a:pt x="18673" y="954825"/>
                  <a:pt x="21391" y="946672"/>
                </a:cubicBezTo>
                <a:cubicBezTo>
                  <a:pt x="20032" y="943954"/>
                  <a:pt x="17315" y="942595"/>
                  <a:pt x="15276" y="942595"/>
                </a:cubicBezTo>
                <a:close/>
                <a:moveTo>
                  <a:pt x="915478" y="941237"/>
                </a:moveTo>
                <a:cubicBezTo>
                  <a:pt x="916837" y="942596"/>
                  <a:pt x="919555" y="945313"/>
                  <a:pt x="920914" y="946673"/>
                </a:cubicBezTo>
                <a:cubicBezTo>
                  <a:pt x="965753" y="983359"/>
                  <a:pt x="1011953" y="996947"/>
                  <a:pt x="1056793" y="1033635"/>
                </a:cubicBezTo>
                <a:cubicBezTo>
                  <a:pt x="1079893" y="1051299"/>
                  <a:pt x="1101633" y="1073040"/>
                  <a:pt x="1120657" y="1100216"/>
                </a:cubicBezTo>
                <a:cubicBezTo>
                  <a:pt x="1141039" y="1126033"/>
                  <a:pt x="1158702" y="1154568"/>
                  <a:pt x="1180444" y="1179026"/>
                </a:cubicBezTo>
                <a:cubicBezTo>
                  <a:pt x="1195391" y="1196691"/>
                  <a:pt x="1211697" y="1210278"/>
                  <a:pt x="1228001" y="1223866"/>
                </a:cubicBezTo>
                <a:cubicBezTo>
                  <a:pt x="1226643" y="1222508"/>
                  <a:pt x="1225284" y="1223866"/>
                  <a:pt x="1223925" y="1222507"/>
                </a:cubicBezTo>
                <a:cubicBezTo>
                  <a:pt x="1199466" y="1203485"/>
                  <a:pt x="1175008" y="1184461"/>
                  <a:pt x="1150550" y="1170873"/>
                </a:cubicBezTo>
                <a:cubicBezTo>
                  <a:pt x="1111145" y="1145056"/>
                  <a:pt x="1070381" y="1126032"/>
                  <a:pt x="1030976" y="1108369"/>
                </a:cubicBezTo>
                <a:cubicBezTo>
                  <a:pt x="984778" y="1064887"/>
                  <a:pt x="941295" y="1015970"/>
                  <a:pt x="899173" y="962977"/>
                </a:cubicBezTo>
                <a:cubicBezTo>
                  <a:pt x="895097" y="956184"/>
                  <a:pt x="891020" y="949389"/>
                  <a:pt x="886944" y="942595"/>
                </a:cubicBezTo>
                <a:cubicBezTo>
                  <a:pt x="896455" y="943954"/>
                  <a:pt x="905967" y="942595"/>
                  <a:pt x="915478" y="941237"/>
                </a:cubicBezTo>
                <a:close/>
                <a:moveTo>
                  <a:pt x="835309" y="934443"/>
                </a:moveTo>
                <a:cubicBezTo>
                  <a:pt x="847539" y="938520"/>
                  <a:pt x="859768" y="939878"/>
                  <a:pt x="871997" y="941237"/>
                </a:cubicBezTo>
                <a:cubicBezTo>
                  <a:pt x="886944" y="958901"/>
                  <a:pt x="901890" y="979284"/>
                  <a:pt x="916837" y="996947"/>
                </a:cubicBezTo>
                <a:cubicBezTo>
                  <a:pt x="942654" y="1033635"/>
                  <a:pt x="972548" y="1068964"/>
                  <a:pt x="1003800" y="1097498"/>
                </a:cubicBezTo>
                <a:cubicBezTo>
                  <a:pt x="995647" y="1094781"/>
                  <a:pt x="988853" y="1090704"/>
                  <a:pt x="980701" y="1087986"/>
                </a:cubicBezTo>
                <a:cubicBezTo>
                  <a:pt x="942654" y="1071681"/>
                  <a:pt x="904608" y="1052658"/>
                  <a:pt x="867920" y="1024123"/>
                </a:cubicBezTo>
                <a:cubicBezTo>
                  <a:pt x="855692" y="995589"/>
                  <a:pt x="844821" y="965695"/>
                  <a:pt x="835309" y="934443"/>
                </a:cubicBezTo>
                <a:close/>
                <a:moveTo>
                  <a:pt x="806775" y="927648"/>
                </a:moveTo>
                <a:cubicBezTo>
                  <a:pt x="812211" y="933084"/>
                  <a:pt x="804057" y="930366"/>
                  <a:pt x="802698" y="931724"/>
                </a:cubicBezTo>
                <a:cubicBezTo>
                  <a:pt x="806774" y="933083"/>
                  <a:pt x="809493" y="938519"/>
                  <a:pt x="813569" y="937160"/>
                </a:cubicBezTo>
                <a:cubicBezTo>
                  <a:pt x="813569" y="934442"/>
                  <a:pt x="813568" y="926289"/>
                  <a:pt x="806775" y="927648"/>
                </a:cubicBezTo>
                <a:close/>
                <a:moveTo>
                  <a:pt x="1037770" y="924932"/>
                </a:moveTo>
                <a:cubicBezTo>
                  <a:pt x="1074458" y="926289"/>
                  <a:pt x="1111145" y="933084"/>
                  <a:pt x="1150550" y="948031"/>
                </a:cubicBezTo>
                <a:cubicBezTo>
                  <a:pt x="1160062" y="954825"/>
                  <a:pt x="1170932" y="962978"/>
                  <a:pt x="1180444" y="969771"/>
                </a:cubicBezTo>
                <a:cubicBezTo>
                  <a:pt x="1206261" y="987436"/>
                  <a:pt x="1230719" y="1006459"/>
                  <a:pt x="1256536" y="1021405"/>
                </a:cubicBezTo>
                <a:cubicBezTo>
                  <a:pt x="1275560" y="1032276"/>
                  <a:pt x="1295941" y="1041788"/>
                  <a:pt x="1313605" y="1051299"/>
                </a:cubicBezTo>
                <a:lnTo>
                  <a:pt x="1347333" y="1080811"/>
                </a:lnTo>
                <a:lnTo>
                  <a:pt x="1301037" y="1069304"/>
                </a:lnTo>
                <a:cubicBezTo>
                  <a:pt x="1280995" y="1063529"/>
                  <a:pt x="1260613" y="1056734"/>
                  <a:pt x="1240231" y="1048581"/>
                </a:cubicBezTo>
                <a:cubicBezTo>
                  <a:pt x="1202864" y="1034314"/>
                  <a:pt x="1165497" y="1015971"/>
                  <a:pt x="1128130" y="994230"/>
                </a:cubicBezTo>
                <a:lnTo>
                  <a:pt x="1025813" y="926018"/>
                </a:lnTo>
                <a:close/>
                <a:moveTo>
                  <a:pt x="1293223" y="922213"/>
                </a:moveTo>
                <a:cubicBezTo>
                  <a:pt x="1291864" y="923572"/>
                  <a:pt x="1289147" y="926289"/>
                  <a:pt x="1287788" y="927649"/>
                </a:cubicBezTo>
                <a:cubicBezTo>
                  <a:pt x="1290506" y="933083"/>
                  <a:pt x="1294582" y="934443"/>
                  <a:pt x="1297300" y="929008"/>
                </a:cubicBezTo>
                <a:cubicBezTo>
                  <a:pt x="1295941" y="927649"/>
                  <a:pt x="1295941" y="924931"/>
                  <a:pt x="1293223" y="922213"/>
                </a:cubicBezTo>
                <a:close/>
                <a:moveTo>
                  <a:pt x="1286090" y="917118"/>
                </a:moveTo>
                <a:cubicBezTo>
                  <a:pt x="1283713" y="917457"/>
                  <a:pt x="1280994" y="919495"/>
                  <a:pt x="1278277" y="923571"/>
                </a:cubicBezTo>
                <a:cubicBezTo>
                  <a:pt x="1282353" y="927648"/>
                  <a:pt x="1287789" y="927649"/>
                  <a:pt x="1291865" y="920855"/>
                </a:cubicBezTo>
                <a:cubicBezTo>
                  <a:pt x="1290506" y="918137"/>
                  <a:pt x="1288468" y="916778"/>
                  <a:pt x="1286090" y="917118"/>
                </a:cubicBezTo>
                <a:close/>
                <a:moveTo>
                  <a:pt x="780957" y="912700"/>
                </a:moveTo>
                <a:cubicBezTo>
                  <a:pt x="787752" y="914060"/>
                  <a:pt x="786393" y="926289"/>
                  <a:pt x="790470" y="919495"/>
                </a:cubicBezTo>
                <a:cubicBezTo>
                  <a:pt x="787752" y="914060"/>
                  <a:pt x="786393" y="912701"/>
                  <a:pt x="780957" y="912700"/>
                </a:cubicBezTo>
                <a:close/>
                <a:moveTo>
                  <a:pt x="1306810" y="911344"/>
                </a:moveTo>
                <a:cubicBezTo>
                  <a:pt x="1297299" y="920855"/>
                  <a:pt x="1308170" y="923573"/>
                  <a:pt x="1308170" y="931726"/>
                </a:cubicBezTo>
                <a:cubicBezTo>
                  <a:pt x="1320399" y="927650"/>
                  <a:pt x="1325835" y="924931"/>
                  <a:pt x="1331270" y="922214"/>
                </a:cubicBezTo>
                <a:cubicBezTo>
                  <a:pt x="1329911" y="926291"/>
                  <a:pt x="1333987" y="935803"/>
                  <a:pt x="1338064" y="929008"/>
                </a:cubicBezTo>
                <a:cubicBezTo>
                  <a:pt x="1331270" y="924932"/>
                  <a:pt x="1336705" y="919497"/>
                  <a:pt x="1329911" y="915420"/>
                </a:cubicBezTo>
                <a:cubicBezTo>
                  <a:pt x="1325835" y="922214"/>
                  <a:pt x="1321759" y="912702"/>
                  <a:pt x="1317682" y="914061"/>
                </a:cubicBezTo>
                <a:cubicBezTo>
                  <a:pt x="1319041" y="915421"/>
                  <a:pt x="1319041" y="918137"/>
                  <a:pt x="1316322" y="920856"/>
                </a:cubicBezTo>
                <a:cubicBezTo>
                  <a:pt x="1313605" y="918139"/>
                  <a:pt x="1319041" y="915421"/>
                  <a:pt x="1313605" y="912703"/>
                </a:cubicBezTo>
                <a:cubicBezTo>
                  <a:pt x="1310887" y="915421"/>
                  <a:pt x="1309528" y="914061"/>
                  <a:pt x="1306810" y="911344"/>
                </a:cubicBezTo>
                <a:close/>
                <a:moveTo>
                  <a:pt x="59437" y="908626"/>
                </a:moveTo>
                <a:cubicBezTo>
                  <a:pt x="64873" y="916778"/>
                  <a:pt x="70307" y="924931"/>
                  <a:pt x="74384" y="934442"/>
                </a:cubicBezTo>
                <a:cubicBezTo>
                  <a:pt x="79819" y="931725"/>
                  <a:pt x="82537" y="929008"/>
                  <a:pt x="85254" y="926290"/>
                </a:cubicBezTo>
                <a:cubicBezTo>
                  <a:pt x="87972" y="931725"/>
                  <a:pt x="90690" y="937160"/>
                  <a:pt x="93407" y="942596"/>
                </a:cubicBezTo>
                <a:cubicBezTo>
                  <a:pt x="94766" y="952107"/>
                  <a:pt x="97484" y="960260"/>
                  <a:pt x="98842" y="969771"/>
                </a:cubicBezTo>
                <a:cubicBezTo>
                  <a:pt x="100202" y="973848"/>
                  <a:pt x="100201" y="979284"/>
                  <a:pt x="102919" y="984718"/>
                </a:cubicBezTo>
                <a:cubicBezTo>
                  <a:pt x="93407" y="967053"/>
                  <a:pt x="81178" y="949389"/>
                  <a:pt x="71666" y="931725"/>
                </a:cubicBezTo>
                <a:cubicBezTo>
                  <a:pt x="67591" y="924931"/>
                  <a:pt x="63514" y="915420"/>
                  <a:pt x="59437" y="908626"/>
                </a:cubicBezTo>
                <a:close/>
                <a:moveTo>
                  <a:pt x="1295941" y="908625"/>
                </a:moveTo>
                <a:cubicBezTo>
                  <a:pt x="1293224" y="911343"/>
                  <a:pt x="1291866" y="909984"/>
                  <a:pt x="1289147" y="912702"/>
                </a:cubicBezTo>
                <a:cubicBezTo>
                  <a:pt x="1293224" y="914061"/>
                  <a:pt x="1295941" y="916778"/>
                  <a:pt x="1298659" y="916778"/>
                </a:cubicBezTo>
                <a:cubicBezTo>
                  <a:pt x="1297300" y="912702"/>
                  <a:pt x="1297300" y="909984"/>
                  <a:pt x="1295941" y="908625"/>
                </a:cubicBezTo>
                <a:close/>
                <a:moveTo>
                  <a:pt x="1319041" y="899115"/>
                </a:moveTo>
                <a:cubicBezTo>
                  <a:pt x="1310888" y="904549"/>
                  <a:pt x="1323117" y="919496"/>
                  <a:pt x="1328552" y="911344"/>
                </a:cubicBezTo>
                <a:cubicBezTo>
                  <a:pt x="1324476" y="907268"/>
                  <a:pt x="1323117" y="903190"/>
                  <a:pt x="1319041" y="899115"/>
                </a:cubicBezTo>
                <a:close/>
                <a:moveTo>
                  <a:pt x="30902" y="885526"/>
                </a:moveTo>
                <a:cubicBezTo>
                  <a:pt x="32262" y="886885"/>
                  <a:pt x="32262" y="886885"/>
                  <a:pt x="33620" y="888244"/>
                </a:cubicBezTo>
                <a:cubicBezTo>
                  <a:pt x="40414" y="905908"/>
                  <a:pt x="49926" y="923572"/>
                  <a:pt x="58079" y="939878"/>
                </a:cubicBezTo>
                <a:cubicBezTo>
                  <a:pt x="73025" y="965695"/>
                  <a:pt x="86613" y="990153"/>
                  <a:pt x="101560" y="1013253"/>
                </a:cubicBezTo>
                <a:cubicBezTo>
                  <a:pt x="102918" y="1017329"/>
                  <a:pt x="102919" y="1020047"/>
                  <a:pt x="105636" y="1022764"/>
                </a:cubicBezTo>
                <a:cubicBezTo>
                  <a:pt x="105636" y="1025482"/>
                  <a:pt x="106995" y="1029559"/>
                  <a:pt x="106995" y="1032276"/>
                </a:cubicBezTo>
                <a:cubicBezTo>
                  <a:pt x="101560" y="1029559"/>
                  <a:pt x="94766" y="1028200"/>
                  <a:pt x="96125" y="1021406"/>
                </a:cubicBezTo>
                <a:cubicBezTo>
                  <a:pt x="94766" y="1022765"/>
                  <a:pt x="94766" y="1022765"/>
                  <a:pt x="93407" y="1021406"/>
                </a:cubicBezTo>
                <a:cubicBezTo>
                  <a:pt x="92048" y="1020047"/>
                  <a:pt x="92048" y="1020047"/>
                  <a:pt x="90690" y="1021405"/>
                </a:cubicBezTo>
                <a:cubicBezTo>
                  <a:pt x="92049" y="1025482"/>
                  <a:pt x="85255" y="1024123"/>
                  <a:pt x="86614" y="1030917"/>
                </a:cubicBezTo>
                <a:cubicBezTo>
                  <a:pt x="81178" y="1030917"/>
                  <a:pt x="78461" y="1022764"/>
                  <a:pt x="71666" y="1029559"/>
                </a:cubicBezTo>
                <a:cubicBezTo>
                  <a:pt x="78460" y="1041788"/>
                  <a:pt x="89331" y="1041788"/>
                  <a:pt x="101560" y="1051300"/>
                </a:cubicBezTo>
                <a:cubicBezTo>
                  <a:pt x="102919" y="1063528"/>
                  <a:pt x="102919" y="1058093"/>
                  <a:pt x="94766" y="1063528"/>
                </a:cubicBezTo>
                <a:cubicBezTo>
                  <a:pt x="92048" y="1063528"/>
                  <a:pt x="89331" y="1060811"/>
                  <a:pt x="85254" y="1056734"/>
                </a:cubicBezTo>
                <a:lnTo>
                  <a:pt x="80338" y="1059193"/>
                </a:lnTo>
                <a:lnTo>
                  <a:pt x="81179" y="1055375"/>
                </a:lnTo>
                <a:cubicBezTo>
                  <a:pt x="66232" y="1040429"/>
                  <a:pt x="51285" y="1028200"/>
                  <a:pt x="37696" y="1014611"/>
                </a:cubicBezTo>
                <a:lnTo>
                  <a:pt x="36823" y="1016456"/>
                </a:lnTo>
                <a:lnTo>
                  <a:pt x="32262" y="1011895"/>
                </a:lnTo>
                <a:cubicBezTo>
                  <a:pt x="32262" y="1011895"/>
                  <a:pt x="33621" y="1010536"/>
                  <a:pt x="33621" y="1010536"/>
                </a:cubicBezTo>
                <a:cubicBezTo>
                  <a:pt x="29543" y="1009177"/>
                  <a:pt x="29544" y="1006459"/>
                  <a:pt x="33621" y="1002383"/>
                </a:cubicBezTo>
                <a:cubicBezTo>
                  <a:pt x="30902" y="996948"/>
                  <a:pt x="28185" y="1005100"/>
                  <a:pt x="25468" y="1002383"/>
                </a:cubicBezTo>
                <a:cubicBezTo>
                  <a:pt x="26826" y="998306"/>
                  <a:pt x="24109" y="992871"/>
                  <a:pt x="20032" y="991512"/>
                </a:cubicBezTo>
                <a:cubicBezTo>
                  <a:pt x="24109" y="990154"/>
                  <a:pt x="24109" y="987436"/>
                  <a:pt x="28185" y="986078"/>
                </a:cubicBezTo>
                <a:cubicBezTo>
                  <a:pt x="25468" y="980642"/>
                  <a:pt x="22749" y="988795"/>
                  <a:pt x="20032" y="988794"/>
                </a:cubicBezTo>
                <a:cubicBezTo>
                  <a:pt x="20032" y="983359"/>
                  <a:pt x="10521" y="987436"/>
                  <a:pt x="15956" y="979283"/>
                </a:cubicBezTo>
                <a:cubicBezTo>
                  <a:pt x="13238" y="973847"/>
                  <a:pt x="10521" y="982001"/>
                  <a:pt x="6444" y="977925"/>
                </a:cubicBezTo>
                <a:cubicBezTo>
                  <a:pt x="6444" y="975206"/>
                  <a:pt x="6444" y="972490"/>
                  <a:pt x="5085" y="971131"/>
                </a:cubicBezTo>
                <a:cubicBezTo>
                  <a:pt x="10521" y="954824"/>
                  <a:pt x="6444" y="939878"/>
                  <a:pt x="6444" y="926290"/>
                </a:cubicBezTo>
                <a:cubicBezTo>
                  <a:pt x="6444" y="926290"/>
                  <a:pt x="9162" y="926289"/>
                  <a:pt x="10520" y="924931"/>
                </a:cubicBezTo>
                <a:cubicBezTo>
                  <a:pt x="9162" y="920855"/>
                  <a:pt x="7803" y="916779"/>
                  <a:pt x="5085" y="916778"/>
                </a:cubicBezTo>
                <a:cubicBezTo>
                  <a:pt x="5085" y="916778"/>
                  <a:pt x="5085" y="914061"/>
                  <a:pt x="5085" y="914061"/>
                </a:cubicBezTo>
                <a:cubicBezTo>
                  <a:pt x="5085" y="911343"/>
                  <a:pt x="5086" y="908626"/>
                  <a:pt x="3727" y="907267"/>
                </a:cubicBezTo>
                <a:cubicBezTo>
                  <a:pt x="3727" y="907267"/>
                  <a:pt x="3727" y="907267"/>
                  <a:pt x="6444" y="907268"/>
                </a:cubicBezTo>
                <a:cubicBezTo>
                  <a:pt x="6444" y="907268"/>
                  <a:pt x="5085" y="905909"/>
                  <a:pt x="5085" y="905909"/>
                </a:cubicBezTo>
                <a:cubicBezTo>
                  <a:pt x="5085" y="903190"/>
                  <a:pt x="5085" y="903190"/>
                  <a:pt x="5086" y="900473"/>
                </a:cubicBezTo>
                <a:cubicBezTo>
                  <a:pt x="6444" y="899115"/>
                  <a:pt x="7803" y="897756"/>
                  <a:pt x="10521" y="897755"/>
                </a:cubicBezTo>
                <a:cubicBezTo>
                  <a:pt x="14597" y="899115"/>
                  <a:pt x="15956" y="903190"/>
                  <a:pt x="18674" y="900473"/>
                </a:cubicBezTo>
                <a:cubicBezTo>
                  <a:pt x="17315" y="899114"/>
                  <a:pt x="14597" y="896397"/>
                  <a:pt x="11879" y="896397"/>
                </a:cubicBezTo>
                <a:cubicBezTo>
                  <a:pt x="18674" y="892320"/>
                  <a:pt x="25468" y="888244"/>
                  <a:pt x="30902" y="885526"/>
                </a:cubicBezTo>
                <a:close/>
                <a:moveTo>
                  <a:pt x="775522" y="885526"/>
                </a:moveTo>
                <a:cubicBezTo>
                  <a:pt x="778240" y="890962"/>
                  <a:pt x="780957" y="896397"/>
                  <a:pt x="786393" y="890962"/>
                </a:cubicBezTo>
                <a:cubicBezTo>
                  <a:pt x="779599" y="889603"/>
                  <a:pt x="780957" y="882809"/>
                  <a:pt x="775522" y="885526"/>
                </a:cubicBezTo>
                <a:close/>
                <a:moveTo>
                  <a:pt x="771446" y="884168"/>
                </a:moveTo>
                <a:cubicBezTo>
                  <a:pt x="774164" y="886885"/>
                  <a:pt x="768728" y="889603"/>
                  <a:pt x="772805" y="890961"/>
                </a:cubicBezTo>
                <a:cubicBezTo>
                  <a:pt x="776881" y="889603"/>
                  <a:pt x="772805" y="882809"/>
                  <a:pt x="771446" y="884168"/>
                </a:cubicBezTo>
                <a:close/>
                <a:moveTo>
                  <a:pt x="806775" y="884167"/>
                </a:moveTo>
                <a:cubicBezTo>
                  <a:pt x="802699" y="888244"/>
                  <a:pt x="805416" y="890961"/>
                  <a:pt x="805416" y="893679"/>
                </a:cubicBezTo>
                <a:cubicBezTo>
                  <a:pt x="809493" y="889603"/>
                  <a:pt x="809493" y="886885"/>
                  <a:pt x="806775" y="884167"/>
                </a:cubicBezTo>
                <a:close/>
                <a:moveTo>
                  <a:pt x="846180" y="871938"/>
                </a:moveTo>
                <a:cubicBezTo>
                  <a:pt x="862486" y="896397"/>
                  <a:pt x="882867" y="916779"/>
                  <a:pt x="904608" y="935801"/>
                </a:cubicBezTo>
                <a:cubicBezTo>
                  <a:pt x="896455" y="935801"/>
                  <a:pt x="889661" y="937160"/>
                  <a:pt x="880151" y="935801"/>
                </a:cubicBezTo>
                <a:cubicBezTo>
                  <a:pt x="867920" y="915420"/>
                  <a:pt x="857051" y="893679"/>
                  <a:pt x="846180" y="871938"/>
                </a:cubicBezTo>
                <a:close/>
                <a:moveTo>
                  <a:pt x="734759" y="871938"/>
                </a:moveTo>
                <a:cubicBezTo>
                  <a:pt x="745629" y="882808"/>
                  <a:pt x="756499" y="890962"/>
                  <a:pt x="767370" y="899114"/>
                </a:cubicBezTo>
                <a:cubicBezTo>
                  <a:pt x="786393" y="912702"/>
                  <a:pt x="805416" y="923573"/>
                  <a:pt x="823081" y="930366"/>
                </a:cubicBezTo>
                <a:cubicBezTo>
                  <a:pt x="821721" y="931725"/>
                  <a:pt x="820363" y="930367"/>
                  <a:pt x="819004" y="931726"/>
                </a:cubicBezTo>
                <a:cubicBezTo>
                  <a:pt x="821721" y="934443"/>
                  <a:pt x="820363" y="938520"/>
                  <a:pt x="823081" y="935802"/>
                </a:cubicBezTo>
                <a:cubicBezTo>
                  <a:pt x="820363" y="933084"/>
                  <a:pt x="824440" y="934443"/>
                  <a:pt x="827157" y="934442"/>
                </a:cubicBezTo>
                <a:cubicBezTo>
                  <a:pt x="835309" y="961619"/>
                  <a:pt x="846180" y="988795"/>
                  <a:pt x="857051" y="1015970"/>
                </a:cubicBezTo>
                <a:cubicBezTo>
                  <a:pt x="843462" y="1005100"/>
                  <a:pt x="829874" y="994230"/>
                  <a:pt x="817645" y="979283"/>
                </a:cubicBezTo>
                <a:cubicBezTo>
                  <a:pt x="808134" y="969771"/>
                  <a:pt x="798622" y="960260"/>
                  <a:pt x="790470" y="949389"/>
                </a:cubicBezTo>
                <a:cubicBezTo>
                  <a:pt x="790470" y="949389"/>
                  <a:pt x="791828" y="948031"/>
                  <a:pt x="791828" y="948031"/>
                </a:cubicBezTo>
                <a:cubicBezTo>
                  <a:pt x="790470" y="946673"/>
                  <a:pt x="790470" y="946673"/>
                  <a:pt x="789110" y="945313"/>
                </a:cubicBezTo>
                <a:cubicBezTo>
                  <a:pt x="789110" y="945313"/>
                  <a:pt x="787752" y="946672"/>
                  <a:pt x="787752" y="946672"/>
                </a:cubicBezTo>
                <a:cubicBezTo>
                  <a:pt x="768729" y="922214"/>
                  <a:pt x="751064" y="899114"/>
                  <a:pt x="734759" y="871938"/>
                </a:cubicBezTo>
                <a:close/>
                <a:moveTo>
                  <a:pt x="1382903" y="870579"/>
                </a:moveTo>
                <a:cubicBezTo>
                  <a:pt x="1386980" y="874656"/>
                  <a:pt x="1385621" y="876014"/>
                  <a:pt x="1381545" y="880091"/>
                </a:cubicBezTo>
                <a:cubicBezTo>
                  <a:pt x="1388340" y="884167"/>
                  <a:pt x="1385621" y="873297"/>
                  <a:pt x="1389699" y="885526"/>
                </a:cubicBezTo>
                <a:cubicBezTo>
                  <a:pt x="1392416" y="882809"/>
                  <a:pt x="1388339" y="870579"/>
                  <a:pt x="1382903" y="870579"/>
                </a:cubicBezTo>
                <a:close/>
                <a:moveTo>
                  <a:pt x="813569" y="866503"/>
                </a:moveTo>
                <a:cubicBezTo>
                  <a:pt x="821722" y="877373"/>
                  <a:pt x="828516" y="886885"/>
                  <a:pt x="835309" y="896397"/>
                </a:cubicBezTo>
                <a:cubicBezTo>
                  <a:pt x="844821" y="908625"/>
                  <a:pt x="854333" y="920855"/>
                  <a:pt x="865203" y="934443"/>
                </a:cubicBezTo>
                <a:cubicBezTo>
                  <a:pt x="855691" y="933084"/>
                  <a:pt x="844821" y="930366"/>
                  <a:pt x="832593" y="926290"/>
                </a:cubicBezTo>
                <a:cubicBezTo>
                  <a:pt x="832593" y="926290"/>
                  <a:pt x="831234" y="924931"/>
                  <a:pt x="831234" y="924931"/>
                </a:cubicBezTo>
                <a:cubicBezTo>
                  <a:pt x="825798" y="905908"/>
                  <a:pt x="819004" y="885526"/>
                  <a:pt x="813569" y="866503"/>
                </a:cubicBezTo>
                <a:close/>
                <a:moveTo>
                  <a:pt x="677690" y="866503"/>
                </a:moveTo>
                <a:cubicBezTo>
                  <a:pt x="698071" y="884168"/>
                  <a:pt x="715735" y="899114"/>
                  <a:pt x="734759" y="918137"/>
                </a:cubicBezTo>
                <a:cubicBezTo>
                  <a:pt x="775523" y="958901"/>
                  <a:pt x="806775" y="1011894"/>
                  <a:pt x="831233" y="1066246"/>
                </a:cubicBezTo>
                <a:lnTo>
                  <a:pt x="851718" y="1114897"/>
                </a:lnTo>
                <a:lnTo>
                  <a:pt x="821722" y="1089345"/>
                </a:lnTo>
                <a:cubicBezTo>
                  <a:pt x="782317" y="1049940"/>
                  <a:pt x="745630" y="1005100"/>
                  <a:pt x="718453" y="953466"/>
                </a:cubicBezTo>
                <a:cubicBezTo>
                  <a:pt x="703506" y="924931"/>
                  <a:pt x="689918" y="895038"/>
                  <a:pt x="677690" y="866503"/>
                </a:cubicBezTo>
                <a:close/>
                <a:moveTo>
                  <a:pt x="329603" y="842321"/>
                </a:moveTo>
                <a:cubicBezTo>
                  <a:pt x="332216" y="847480"/>
                  <a:pt x="328140" y="868882"/>
                  <a:pt x="327120" y="847480"/>
                </a:cubicBezTo>
                <a:cubicBezTo>
                  <a:pt x="327120" y="847480"/>
                  <a:pt x="323044" y="846120"/>
                  <a:pt x="324402" y="844762"/>
                </a:cubicBezTo>
                <a:cubicBezTo>
                  <a:pt x="327119" y="840686"/>
                  <a:pt x="328733" y="840601"/>
                  <a:pt x="329603" y="842321"/>
                </a:cubicBezTo>
                <a:close/>
                <a:moveTo>
                  <a:pt x="1482096" y="812151"/>
                </a:moveTo>
                <a:cubicBezTo>
                  <a:pt x="1483455" y="813510"/>
                  <a:pt x="1484814" y="817587"/>
                  <a:pt x="1487531" y="814869"/>
                </a:cubicBezTo>
                <a:cubicBezTo>
                  <a:pt x="1486172" y="813510"/>
                  <a:pt x="1486172" y="813510"/>
                  <a:pt x="1487531" y="812151"/>
                </a:cubicBezTo>
                <a:cubicBezTo>
                  <a:pt x="1486173" y="810793"/>
                  <a:pt x="1484814" y="809434"/>
                  <a:pt x="1482096" y="812151"/>
                </a:cubicBezTo>
                <a:close/>
                <a:moveTo>
                  <a:pt x="789110" y="782258"/>
                </a:moveTo>
                <a:cubicBezTo>
                  <a:pt x="790469" y="786334"/>
                  <a:pt x="793187" y="789052"/>
                  <a:pt x="794546" y="793128"/>
                </a:cubicBezTo>
                <a:cubicBezTo>
                  <a:pt x="805416" y="812151"/>
                  <a:pt x="817645" y="832533"/>
                  <a:pt x="829874" y="850197"/>
                </a:cubicBezTo>
                <a:cubicBezTo>
                  <a:pt x="832592" y="855633"/>
                  <a:pt x="833950" y="859709"/>
                  <a:pt x="836668" y="865144"/>
                </a:cubicBezTo>
                <a:cubicBezTo>
                  <a:pt x="848898" y="888244"/>
                  <a:pt x="861127" y="911343"/>
                  <a:pt x="874715" y="933084"/>
                </a:cubicBezTo>
                <a:cubicBezTo>
                  <a:pt x="862486" y="918137"/>
                  <a:pt x="852974" y="903190"/>
                  <a:pt x="840745" y="888244"/>
                </a:cubicBezTo>
                <a:cubicBezTo>
                  <a:pt x="829874" y="871938"/>
                  <a:pt x="817645" y="856992"/>
                  <a:pt x="805416" y="839327"/>
                </a:cubicBezTo>
                <a:cubicBezTo>
                  <a:pt x="801340" y="821662"/>
                  <a:pt x="795904" y="802639"/>
                  <a:pt x="789110" y="782258"/>
                </a:cubicBezTo>
                <a:close/>
                <a:moveTo>
                  <a:pt x="880150" y="772746"/>
                </a:moveTo>
                <a:cubicBezTo>
                  <a:pt x="878791" y="774105"/>
                  <a:pt x="878791" y="774105"/>
                  <a:pt x="877432" y="775464"/>
                </a:cubicBezTo>
                <a:cubicBezTo>
                  <a:pt x="878791" y="776823"/>
                  <a:pt x="877432" y="778182"/>
                  <a:pt x="880150" y="780899"/>
                </a:cubicBezTo>
                <a:cubicBezTo>
                  <a:pt x="881508" y="779541"/>
                  <a:pt x="881508" y="779541"/>
                  <a:pt x="882867" y="778182"/>
                </a:cubicBezTo>
                <a:cubicBezTo>
                  <a:pt x="881508" y="776823"/>
                  <a:pt x="882867" y="775464"/>
                  <a:pt x="880150" y="772746"/>
                </a:cubicBezTo>
                <a:close/>
                <a:moveTo>
                  <a:pt x="646437" y="772746"/>
                </a:moveTo>
                <a:cubicBezTo>
                  <a:pt x="661384" y="790410"/>
                  <a:pt x="677690" y="809434"/>
                  <a:pt x="693995" y="828457"/>
                </a:cubicBezTo>
                <a:cubicBezTo>
                  <a:pt x="729323" y="885526"/>
                  <a:pt x="766011" y="943954"/>
                  <a:pt x="814928" y="990153"/>
                </a:cubicBezTo>
                <a:cubicBezTo>
                  <a:pt x="829874" y="1007818"/>
                  <a:pt x="847539" y="1022764"/>
                  <a:pt x="865203" y="1034994"/>
                </a:cubicBezTo>
                <a:cubicBezTo>
                  <a:pt x="871997" y="1049940"/>
                  <a:pt x="878791" y="1064887"/>
                  <a:pt x="886944" y="1078475"/>
                </a:cubicBezTo>
                <a:cubicBezTo>
                  <a:pt x="904608" y="1112445"/>
                  <a:pt x="924990" y="1146415"/>
                  <a:pt x="948089" y="1177667"/>
                </a:cubicBezTo>
                <a:cubicBezTo>
                  <a:pt x="946731" y="1176309"/>
                  <a:pt x="946731" y="1176309"/>
                  <a:pt x="944014" y="1176308"/>
                </a:cubicBezTo>
                <a:lnTo>
                  <a:pt x="879124" y="1135452"/>
                </a:lnTo>
                <a:lnTo>
                  <a:pt x="867921" y="1127391"/>
                </a:lnTo>
                <a:cubicBezTo>
                  <a:pt x="858409" y="1107010"/>
                  <a:pt x="847539" y="1085270"/>
                  <a:pt x="838027" y="1064887"/>
                </a:cubicBezTo>
                <a:cubicBezTo>
                  <a:pt x="825798" y="1036352"/>
                  <a:pt x="812210" y="1009177"/>
                  <a:pt x="795904" y="982001"/>
                </a:cubicBezTo>
                <a:cubicBezTo>
                  <a:pt x="779599" y="954825"/>
                  <a:pt x="759217" y="929008"/>
                  <a:pt x="737476" y="907267"/>
                </a:cubicBezTo>
                <a:cubicBezTo>
                  <a:pt x="717094" y="884167"/>
                  <a:pt x="693995" y="866503"/>
                  <a:pt x="674972" y="847480"/>
                </a:cubicBezTo>
                <a:cubicBezTo>
                  <a:pt x="672255" y="844762"/>
                  <a:pt x="670896" y="843403"/>
                  <a:pt x="668178" y="840686"/>
                </a:cubicBezTo>
                <a:cubicBezTo>
                  <a:pt x="660025" y="818945"/>
                  <a:pt x="653231" y="795846"/>
                  <a:pt x="646437" y="772746"/>
                </a:cubicBezTo>
                <a:close/>
                <a:moveTo>
                  <a:pt x="874205" y="768499"/>
                </a:moveTo>
                <a:cubicBezTo>
                  <a:pt x="872337" y="768329"/>
                  <a:pt x="869959" y="769348"/>
                  <a:pt x="867920" y="771386"/>
                </a:cubicBezTo>
                <a:cubicBezTo>
                  <a:pt x="871997" y="775463"/>
                  <a:pt x="874715" y="778181"/>
                  <a:pt x="877432" y="772746"/>
                </a:cubicBezTo>
                <a:cubicBezTo>
                  <a:pt x="877432" y="770027"/>
                  <a:pt x="876074" y="768669"/>
                  <a:pt x="874205" y="768499"/>
                </a:cubicBezTo>
                <a:close/>
                <a:moveTo>
                  <a:pt x="1404646" y="767311"/>
                </a:moveTo>
                <a:cubicBezTo>
                  <a:pt x="1403286" y="768670"/>
                  <a:pt x="1403286" y="768670"/>
                  <a:pt x="1401927" y="770029"/>
                </a:cubicBezTo>
                <a:cubicBezTo>
                  <a:pt x="1400569" y="771387"/>
                  <a:pt x="1400569" y="771387"/>
                  <a:pt x="1401928" y="772746"/>
                </a:cubicBezTo>
                <a:cubicBezTo>
                  <a:pt x="1403286" y="771388"/>
                  <a:pt x="1404645" y="772746"/>
                  <a:pt x="1407363" y="772746"/>
                </a:cubicBezTo>
                <a:cubicBezTo>
                  <a:pt x="1406004" y="771387"/>
                  <a:pt x="1407363" y="770028"/>
                  <a:pt x="1404646" y="767311"/>
                </a:cubicBezTo>
                <a:close/>
                <a:moveTo>
                  <a:pt x="889660" y="760516"/>
                </a:moveTo>
                <a:cubicBezTo>
                  <a:pt x="888301" y="761875"/>
                  <a:pt x="878790" y="763233"/>
                  <a:pt x="881507" y="768669"/>
                </a:cubicBezTo>
                <a:cubicBezTo>
                  <a:pt x="886942" y="760516"/>
                  <a:pt x="889660" y="771387"/>
                  <a:pt x="892378" y="774105"/>
                </a:cubicBezTo>
                <a:cubicBezTo>
                  <a:pt x="897813" y="768669"/>
                  <a:pt x="891019" y="764593"/>
                  <a:pt x="889660" y="760516"/>
                </a:cubicBezTo>
                <a:close/>
                <a:moveTo>
                  <a:pt x="851614" y="749646"/>
                </a:moveTo>
                <a:cubicBezTo>
                  <a:pt x="848897" y="757799"/>
                  <a:pt x="846179" y="755081"/>
                  <a:pt x="840744" y="757799"/>
                </a:cubicBezTo>
                <a:cubicBezTo>
                  <a:pt x="848897" y="765952"/>
                  <a:pt x="833949" y="761876"/>
                  <a:pt x="844821" y="770029"/>
                </a:cubicBezTo>
                <a:cubicBezTo>
                  <a:pt x="850255" y="767311"/>
                  <a:pt x="846179" y="757799"/>
                  <a:pt x="851614" y="760517"/>
                </a:cubicBezTo>
                <a:cubicBezTo>
                  <a:pt x="848896" y="763235"/>
                  <a:pt x="848897" y="765952"/>
                  <a:pt x="851614" y="768670"/>
                </a:cubicBezTo>
                <a:cubicBezTo>
                  <a:pt x="855690" y="761876"/>
                  <a:pt x="855691" y="775464"/>
                  <a:pt x="857049" y="765952"/>
                </a:cubicBezTo>
                <a:cubicBezTo>
                  <a:pt x="858408" y="770029"/>
                  <a:pt x="866561" y="767311"/>
                  <a:pt x="863845" y="772747"/>
                </a:cubicBezTo>
                <a:cubicBezTo>
                  <a:pt x="861126" y="770028"/>
                  <a:pt x="858408" y="767311"/>
                  <a:pt x="857049" y="771388"/>
                </a:cubicBezTo>
                <a:cubicBezTo>
                  <a:pt x="861126" y="775465"/>
                  <a:pt x="862486" y="771388"/>
                  <a:pt x="862485" y="776823"/>
                </a:cubicBezTo>
                <a:cubicBezTo>
                  <a:pt x="863844" y="775464"/>
                  <a:pt x="865203" y="774105"/>
                  <a:pt x="867920" y="774106"/>
                </a:cubicBezTo>
                <a:cubicBezTo>
                  <a:pt x="867920" y="771388"/>
                  <a:pt x="866561" y="770029"/>
                  <a:pt x="866561" y="767311"/>
                </a:cubicBezTo>
                <a:cubicBezTo>
                  <a:pt x="870638" y="765953"/>
                  <a:pt x="874715" y="767311"/>
                  <a:pt x="878791" y="763235"/>
                </a:cubicBezTo>
                <a:cubicBezTo>
                  <a:pt x="869279" y="761875"/>
                  <a:pt x="874714" y="751005"/>
                  <a:pt x="867920" y="755080"/>
                </a:cubicBezTo>
                <a:cubicBezTo>
                  <a:pt x="867920" y="757799"/>
                  <a:pt x="869279" y="759158"/>
                  <a:pt x="869279" y="761875"/>
                </a:cubicBezTo>
                <a:cubicBezTo>
                  <a:pt x="865201" y="757799"/>
                  <a:pt x="869279" y="756440"/>
                  <a:pt x="863844" y="753722"/>
                </a:cubicBezTo>
                <a:cubicBezTo>
                  <a:pt x="861125" y="761876"/>
                  <a:pt x="859767" y="755082"/>
                  <a:pt x="855691" y="759158"/>
                </a:cubicBezTo>
                <a:cubicBezTo>
                  <a:pt x="854332" y="760517"/>
                  <a:pt x="857049" y="763235"/>
                  <a:pt x="855691" y="764593"/>
                </a:cubicBezTo>
                <a:cubicBezTo>
                  <a:pt x="848896" y="760517"/>
                  <a:pt x="858408" y="756441"/>
                  <a:pt x="857049" y="752364"/>
                </a:cubicBezTo>
                <a:cubicBezTo>
                  <a:pt x="852973" y="753724"/>
                  <a:pt x="855691" y="748287"/>
                  <a:pt x="851614" y="749646"/>
                </a:cubicBezTo>
                <a:close/>
                <a:moveTo>
                  <a:pt x="636925" y="741494"/>
                </a:moveTo>
                <a:cubicBezTo>
                  <a:pt x="647796" y="757799"/>
                  <a:pt x="658666" y="776823"/>
                  <a:pt x="670896" y="794487"/>
                </a:cubicBezTo>
                <a:cubicBezTo>
                  <a:pt x="661384" y="782258"/>
                  <a:pt x="650513" y="771388"/>
                  <a:pt x="642360" y="760517"/>
                </a:cubicBezTo>
                <a:cubicBezTo>
                  <a:pt x="641001" y="753723"/>
                  <a:pt x="638285" y="748288"/>
                  <a:pt x="636925" y="741494"/>
                </a:cubicBezTo>
                <a:close/>
                <a:moveTo>
                  <a:pt x="757858" y="729265"/>
                </a:moveTo>
                <a:cubicBezTo>
                  <a:pt x="763293" y="742853"/>
                  <a:pt x="768729" y="756441"/>
                  <a:pt x="774164" y="770029"/>
                </a:cubicBezTo>
                <a:cubicBezTo>
                  <a:pt x="779599" y="783617"/>
                  <a:pt x="783676" y="798563"/>
                  <a:pt x="787751" y="813510"/>
                </a:cubicBezTo>
                <a:cubicBezTo>
                  <a:pt x="774164" y="794487"/>
                  <a:pt x="761935" y="774105"/>
                  <a:pt x="748347" y="755082"/>
                </a:cubicBezTo>
                <a:cubicBezTo>
                  <a:pt x="751065" y="752365"/>
                  <a:pt x="753782" y="746929"/>
                  <a:pt x="755140" y="742853"/>
                </a:cubicBezTo>
                <a:cubicBezTo>
                  <a:pt x="756499" y="738777"/>
                  <a:pt x="756499" y="733340"/>
                  <a:pt x="757858" y="729265"/>
                </a:cubicBezTo>
                <a:close/>
                <a:moveTo>
                  <a:pt x="772805" y="708883"/>
                </a:moveTo>
                <a:cubicBezTo>
                  <a:pt x="839386" y="783617"/>
                  <a:pt x="911402" y="844762"/>
                  <a:pt x="983418" y="900472"/>
                </a:cubicBezTo>
                <a:lnTo>
                  <a:pt x="1008851" y="920552"/>
                </a:lnTo>
                <a:lnTo>
                  <a:pt x="923631" y="933084"/>
                </a:lnTo>
                <a:lnTo>
                  <a:pt x="924091" y="933377"/>
                </a:lnTo>
                <a:lnTo>
                  <a:pt x="916837" y="934443"/>
                </a:lnTo>
                <a:cubicBezTo>
                  <a:pt x="878791" y="904549"/>
                  <a:pt x="844821" y="859709"/>
                  <a:pt x="816286" y="812151"/>
                </a:cubicBezTo>
                <a:cubicBezTo>
                  <a:pt x="801340" y="778181"/>
                  <a:pt x="786393" y="744212"/>
                  <a:pt x="772805" y="708883"/>
                </a:cubicBezTo>
                <a:close/>
                <a:moveTo>
                  <a:pt x="763293" y="702089"/>
                </a:moveTo>
                <a:cubicBezTo>
                  <a:pt x="772805" y="722471"/>
                  <a:pt x="780958" y="741493"/>
                  <a:pt x="789110" y="763235"/>
                </a:cubicBezTo>
                <a:cubicBezTo>
                  <a:pt x="780958" y="744212"/>
                  <a:pt x="772805" y="727906"/>
                  <a:pt x="763294" y="710241"/>
                </a:cubicBezTo>
                <a:cubicBezTo>
                  <a:pt x="763294" y="710241"/>
                  <a:pt x="761935" y="708882"/>
                  <a:pt x="761935" y="708882"/>
                </a:cubicBezTo>
                <a:cubicBezTo>
                  <a:pt x="761934" y="706165"/>
                  <a:pt x="763293" y="704806"/>
                  <a:pt x="763293" y="702089"/>
                </a:cubicBezTo>
                <a:close/>
                <a:moveTo>
                  <a:pt x="556756" y="699371"/>
                </a:moveTo>
                <a:cubicBezTo>
                  <a:pt x="579856" y="711600"/>
                  <a:pt x="602955" y="729265"/>
                  <a:pt x="624696" y="751006"/>
                </a:cubicBezTo>
                <a:cubicBezTo>
                  <a:pt x="628773" y="755082"/>
                  <a:pt x="632849" y="759158"/>
                  <a:pt x="638284" y="764593"/>
                </a:cubicBezTo>
                <a:cubicBezTo>
                  <a:pt x="645078" y="787693"/>
                  <a:pt x="651872" y="810792"/>
                  <a:pt x="661384" y="833892"/>
                </a:cubicBezTo>
                <a:cubicBezTo>
                  <a:pt x="645078" y="820304"/>
                  <a:pt x="631491" y="803998"/>
                  <a:pt x="619261" y="789052"/>
                </a:cubicBezTo>
                <a:cubicBezTo>
                  <a:pt x="620620" y="787693"/>
                  <a:pt x="621979" y="783617"/>
                  <a:pt x="626055" y="782258"/>
                </a:cubicBezTo>
                <a:cubicBezTo>
                  <a:pt x="617902" y="774105"/>
                  <a:pt x="617902" y="774105"/>
                  <a:pt x="616544" y="767311"/>
                </a:cubicBezTo>
                <a:cubicBezTo>
                  <a:pt x="611108" y="767311"/>
                  <a:pt x="608391" y="770029"/>
                  <a:pt x="605674" y="772746"/>
                </a:cubicBezTo>
                <a:cubicBezTo>
                  <a:pt x="588009" y="749646"/>
                  <a:pt x="571703" y="725188"/>
                  <a:pt x="556756" y="699371"/>
                </a:cubicBezTo>
                <a:close/>
                <a:moveTo>
                  <a:pt x="1144562" y="674700"/>
                </a:moveTo>
                <a:cubicBezTo>
                  <a:pt x="1139764" y="675677"/>
                  <a:pt x="1134584" y="678650"/>
                  <a:pt x="1128809" y="684425"/>
                </a:cubicBezTo>
                <a:cubicBezTo>
                  <a:pt x="1139680" y="714319"/>
                  <a:pt x="1143756" y="751006"/>
                  <a:pt x="1155986" y="771388"/>
                </a:cubicBezTo>
                <a:cubicBezTo>
                  <a:pt x="1154627" y="770029"/>
                  <a:pt x="1154627" y="764594"/>
                  <a:pt x="1157344" y="767311"/>
                </a:cubicBezTo>
                <a:cubicBezTo>
                  <a:pt x="1154626" y="780899"/>
                  <a:pt x="1175008" y="809434"/>
                  <a:pt x="1162779" y="810793"/>
                </a:cubicBezTo>
                <a:cubicBezTo>
                  <a:pt x="1166856" y="825740"/>
                  <a:pt x="1179085" y="837968"/>
                  <a:pt x="1185879" y="852915"/>
                </a:cubicBezTo>
                <a:cubicBezTo>
                  <a:pt x="1195391" y="848839"/>
                  <a:pt x="1195390" y="835251"/>
                  <a:pt x="1195390" y="827098"/>
                </a:cubicBezTo>
                <a:cubicBezTo>
                  <a:pt x="1189955" y="794488"/>
                  <a:pt x="1166855" y="755082"/>
                  <a:pt x="1172291" y="722471"/>
                </a:cubicBezTo>
                <a:cubicBezTo>
                  <a:pt x="1183161" y="714319"/>
                  <a:pt x="1180443" y="706166"/>
                  <a:pt x="1183161" y="698013"/>
                </a:cubicBezTo>
                <a:cubicBezTo>
                  <a:pt x="1169913" y="686802"/>
                  <a:pt x="1158957" y="671771"/>
                  <a:pt x="1144562" y="674700"/>
                </a:cubicBezTo>
                <a:close/>
                <a:moveTo>
                  <a:pt x="771446" y="664043"/>
                </a:moveTo>
                <a:cubicBezTo>
                  <a:pt x="766011" y="666761"/>
                  <a:pt x="774164" y="674913"/>
                  <a:pt x="775523" y="670837"/>
                </a:cubicBezTo>
                <a:cubicBezTo>
                  <a:pt x="772805" y="668120"/>
                  <a:pt x="774164" y="666761"/>
                  <a:pt x="771446" y="664043"/>
                </a:cubicBezTo>
                <a:close/>
                <a:moveTo>
                  <a:pt x="1505194" y="653172"/>
                </a:moveTo>
                <a:cubicBezTo>
                  <a:pt x="1502477" y="658607"/>
                  <a:pt x="1499759" y="650455"/>
                  <a:pt x="1495683" y="657248"/>
                </a:cubicBezTo>
                <a:cubicBezTo>
                  <a:pt x="1497041" y="664043"/>
                  <a:pt x="1502477" y="661325"/>
                  <a:pt x="1501118" y="665401"/>
                </a:cubicBezTo>
                <a:cubicBezTo>
                  <a:pt x="1497042" y="666760"/>
                  <a:pt x="1494324" y="658607"/>
                  <a:pt x="1490248" y="665401"/>
                </a:cubicBezTo>
                <a:cubicBezTo>
                  <a:pt x="1495683" y="668119"/>
                  <a:pt x="1499759" y="672196"/>
                  <a:pt x="1501118" y="676271"/>
                </a:cubicBezTo>
                <a:cubicBezTo>
                  <a:pt x="1505194" y="669478"/>
                  <a:pt x="1506553" y="662684"/>
                  <a:pt x="1502477" y="655889"/>
                </a:cubicBezTo>
                <a:cubicBezTo>
                  <a:pt x="1506553" y="657249"/>
                  <a:pt x="1507912" y="664043"/>
                  <a:pt x="1510629" y="661325"/>
                </a:cubicBezTo>
                <a:cubicBezTo>
                  <a:pt x="1510630" y="658606"/>
                  <a:pt x="1507913" y="655889"/>
                  <a:pt x="1505194" y="653172"/>
                </a:cubicBezTo>
                <a:close/>
                <a:moveTo>
                  <a:pt x="1497043" y="645019"/>
                </a:moveTo>
                <a:cubicBezTo>
                  <a:pt x="1495684" y="646378"/>
                  <a:pt x="1494326" y="647737"/>
                  <a:pt x="1492967" y="649096"/>
                </a:cubicBezTo>
                <a:cubicBezTo>
                  <a:pt x="1495684" y="651813"/>
                  <a:pt x="1497042" y="655890"/>
                  <a:pt x="1499761" y="650455"/>
                </a:cubicBezTo>
                <a:cubicBezTo>
                  <a:pt x="1498401" y="649096"/>
                  <a:pt x="1497042" y="647737"/>
                  <a:pt x="1497043" y="645019"/>
                </a:cubicBezTo>
                <a:close/>
                <a:moveTo>
                  <a:pt x="767370" y="632791"/>
                </a:moveTo>
                <a:cubicBezTo>
                  <a:pt x="768728" y="634149"/>
                  <a:pt x="771446" y="636867"/>
                  <a:pt x="772805" y="638226"/>
                </a:cubicBezTo>
                <a:cubicBezTo>
                  <a:pt x="774164" y="639585"/>
                  <a:pt x="774164" y="639585"/>
                  <a:pt x="775523" y="640944"/>
                </a:cubicBezTo>
                <a:lnTo>
                  <a:pt x="776607" y="642028"/>
                </a:lnTo>
                <a:lnTo>
                  <a:pt x="772805" y="640942"/>
                </a:lnTo>
                <a:cubicBezTo>
                  <a:pt x="775523" y="643660"/>
                  <a:pt x="772805" y="646378"/>
                  <a:pt x="774164" y="647736"/>
                </a:cubicBezTo>
                <a:lnTo>
                  <a:pt x="777299" y="642720"/>
                </a:lnTo>
                <a:lnTo>
                  <a:pt x="789110" y="654531"/>
                </a:lnTo>
                <a:cubicBezTo>
                  <a:pt x="787752" y="661325"/>
                  <a:pt x="787751" y="666760"/>
                  <a:pt x="793188" y="666760"/>
                </a:cubicBezTo>
                <a:cubicBezTo>
                  <a:pt x="791828" y="662684"/>
                  <a:pt x="791829" y="659966"/>
                  <a:pt x="793187" y="658608"/>
                </a:cubicBezTo>
                <a:cubicBezTo>
                  <a:pt x="802698" y="668119"/>
                  <a:pt x="812210" y="680348"/>
                  <a:pt x="821721" y="689859"/>
                </a:cubicBezTo>
                <a:cubicBezTo>
                  <a:pt x="840745" y="711600"/>
                  <a:pt x="861126" y="731982"/>
                  <a:pt x="882868" y="751006"/>
                </a:cubicBezTo>
                <a:cubicBezTo>
                  <a:pt x="881509" y="752365"/>
                  <a:pt x="878791" y="755082"/>
                  <a:pt x="881509" y="757799"/>
                </a:cubicBezTo>
                <a:cubicBezTo>
                  <a:pt x="882868" y="756440"/>
                  <a:pt x="884227" y="757799"/>
                  <a:pt x="885585" y="759158"/>
                </a:cubicBezTo>
                <a:cubicBezTo>
                  <a:pt x="886944" y="757799"/>
                  <a:pt x="886944" y="757799"/>
                  <a:pt x="888303" y="756440"/>
                </a:cubicBezTo>
                <a:cubicBezTo>
                  <a:pt x="912761" y="778182"/>
                  <a:pt x="937220" y="797204"/>
                  <a:pt x="961678" y="813509"/>
                </a:cubicBezTo>
                <a:cubicBezTo>
                  <a:pt x="975266" y="821662"/>
                  <a:pt x="987495" y="828457"/>
                  <a:pt x="1001083" y="836610"/>
                </a:cubicBezTo>
                <a:cubicBezTo>
                  <a:pt x="1035053" y="865144"/>
                  <a:pt x="1070381" y="892321"/>
                  <a:pt x="1107069" y="918137"/>
                </a:cubicBezTo>
                <a:cubicBezTo>
                  <a:pt x="1117939" y="926289"/>
                  <a:pt x="1128809" y="934443"/>
                  <a:pt x="1141038" y="941237"/>
                </a:cubicBezTo>
                <a:cubicBezTo>
                  <a:pt x="1104351" y="929008"/>
                  <a:pt x="1069023" y="920855"/>
                  <a:pt x="1036411" y="920855"/>
                </a:cubicBezTo>
                <a:lnTo>
                  <a:pt x="1018068" y="920855"/>
                </a:lnTo>
                <a:lnTo>
                  <a:pt x="1016030" y="919496"/>
                </a:lnTo>
                <a:lnTo>
                  <a:pt x="1015651" y="919552"/>
                </a:lnTo>
                <a:lnTo>
                  <a:pt x="984778" y="896397"/>
                </a:lnTo>
                <a:cubicBezTo>
                  <a:pt x="930425" y="852915"/>
                  <a:pt x="876073" y="806716"/>
                  <a:pt x="824439" y="755082"/>
                </a:cubicBezTo>
                <a:cubicBezTo>
                  <a:pt x="825798" y="753723"/>
                  <a:pt x="827157" y="752364"/>
                  <a:pt x="828515" y="751006"/>
                </a:cubicBezTo>
                <a:cubicBezTo>
                  <a:pt x="820363" y="745570"/>
                  <a:pt x="812210" y="740135"/>
                  <a:pt x="824440" y="736059"/>
                </a:cubicBezTo>
                <a:cubicBezTo>
                  <a:pt x="820363" y="734700"/>
                  <a:pt x="817645" y="726547"/>
                  <a:pt x="814928" y="729265"/>
                </a:cubicBezTo>
                <a:cubicBezTo>
                  <a:pt x="817645" y="731982"/>
                  <a:pt x="820363" y="734700"/>
                  <a:pt x="819004" y="736058"/>
                </a:cubicBezTo>
                <a:cubicBezTo>
                  <a:pt x="814928" y="734700"/>
                  <a:pt x="812210" y="731982"/>
                  <a:pt x="809492" y="731982"/>
                </a:cubicBezTo>
                <a:cubicBezTo>
                  <a:pt x="813569" y="736059"/>
                  <a:pt x="812210" y="740135"/>
                  <a:pt x="812210" y="742853"/>
                </a:cubicBezTo>
                <a:cubicBezTo>
                  <a:pt x="795904" y="726547"/>
                  <a:pt x="782317" y="710241"/>
                  <a:pt x="766011" y="693936"/>
                </a:cubicBezTo>
                <a:cubicBezTo>
                  <a:pt x="767370" y="681707"/>
                  <a:pt x="770087" y="670837"/>
                  <a:pt x="771446" y="658608"/>
                </a:cubicBezTo>
                <a:cubicBezTo>
                  <a:pt x="771446" y="653172"/>
                  <a:pt x="772805" y="649096"/>
                  <a:pt x="772805" y="643661"/>
                </a:cubicBezTo>
                <a:cubicBezTo>
                  <a:pt x="771446" y="639584"/>
                  <a:pt x="768729" y="636866"/>
                  <a:pt x="767370" y="632791"/>
                </a:cubicBezTo>
                <a:close/>
                <a:moveTo>
                  <a:pt x="487458" y="616484"/>
                </a:moveTo>
                <a:cubicBezTo>
                  <a:pt x="492894" y="624638"/>
                  <a:pt x="496969" y="631432"/>
                  <a:pt x="502405" y="639584"/>
                </a:cubicBezTo>
                <a:cubicBezTo>
                  <a:pt x="509199" y="649096"/>
                  <a:pt x="514634" y="659966"/>
                  <a:pt x="522787" y="670837"/>
                </a:cubicBezTo>
                <a:cubicBezTo>
                  <a:pt x="506481" y="662684"/>
                  <a:pt x="490175" y="654531"/>
                  <a:pt x="475229" y="639585"/>
                </a:cubicBezTo>
                <a:cubicBezTo>
                  <a:pt x="468435" y="635507"/>
                  <a:pt x="463000" y="630073"/>
                  <a:pt x="456206" y="623279"/>
                </a:cubicBezTo>
                <a:cubicBezTo>
                  <a:pt x="467076" y="620561"/>
                  <a:pt x="476587" y="619202"/>
                  <a:pt x="487458" y="616484"/>
                </a:cubicBezTo>
                <a:close/>
                <a:moveTo>
                  <a:pt x="583933" y="612408"/>
                </a:moveTo>
                <a:cubicBezTo>
                  <a:pt x="588009" y="621920"/>
                  <a:pt x="592085" y="631432"/>
                  <a:pt x="594803" y="639584"/>
                </a:cubicBezTo>
                <a:cubicBezTo>
                  <a:pt x="600238" y="653172"/>
                  <a:pt x="605674" y="669478"/>
                  <a:pt x="611108" y="683065"/>
                </a:cubicBezTo>
                <a:cubicBezTo>
                  <a:pt x="596161" y="662684"/>
                  <a:pt x="581215" y="642302"/>
                  <a:pt x="564910" y="623279"/>
                </a:cubicBezTo>
                <a:cubicBezTo>
                  <a:pt x="571703" y="619202"/>
                  <a:pt x="577138" y="616485"/>
                  <a:pt x="583933" y="612408"/>
                </a:cubicBezTo>
                <a:close/>
                <a:moveTo>
                  <a:pt x="1588083" y="611050"/>
                </a:moveTo>
                <a:cubicBezTo>
                  <a:pt x="1585364" y="611051"/>
                  <a:pt x="1582647" y="613768"/>
                  <a:pt x="1579929" y="616486"/>
                </a:cubicBezTo>
                <a:cubicBezTo>
                  <a:pt x="1582646" y="624638"/>
                  <a:pt x="1592159" y="615126"/>
                  <a:pt x="1588083" y="611050"/>
                </a:cubicBezTo>
                <a:close/>
                <a:moveTo>
                  <a:pt x="520069" y="611050"/>
                </a:moveTo>
                <a:cubicBezTo>
                  <a:pt x="529580" y="620561"/>
                  <a:pt x="539092" y="624637"/>
                  <a:pt x="548604" y="625997"/>
                </a:cubicBezTo>
                <a:cubicBezTo>
                  <a:pt x="574421" y="657249"/>
                  <a:pt x="598879" y="689860"/>
                  <a:pt x="623338" y="725188"/>
                </a:cubicBezTo>
                <a:cubicBezTo>
                  <a:pt x="626055" y="733340"/>
                  <a:pt x="628773" y="741494"/>
                  <a:pt x="631490" y="752365"/>
                </a:cubicBezTo>
                <a:cubicBezTo>
                  <a:pt x="630131" y="751006"/>
                  <a:pt x="627413" y="748288"/>
                  <a:pt x="626055" y="746930"/>
                </a:cubicBezTo>
                <a:cubicBezTo>
                  <a:pt x="601596" y="722471"/>
                  <a:pt x="574421" y="700730"/>
                  <a:pt x="548604" y="688501"/>
                </a:cubicBezTo>
                <a:cubicBezTo>
                  <a:pt x="548604" y="688501"/>
                  <a:pt x="547245" y="687142"/>
                  <a:pt x="547245" y="687142"/>
                </a:cubicBezTo>
                <a:cubicBezTo>
                  <a:pt x="536374" y="670837"/>
                  <a:pt x="526863" y="653172"/>
                  <a:pt x="515993" y="636867"/>
                </a:cubicBezTo>
                <a:cubicBezTo>
                  <a:pt x="511916" y="627354"/>
                  <a:pt x="507840" y="620561"/>
                  <a:pt x="503764" y="613767"/>
                </a:cubicBezTo>
                <a:cubicBezTo>
                  <a:pt x="509199" y="613767"/>
                  <a:pt x="514634" y="611049"/>
                  <a:pt x="520069" y="611050"/>
                </a:cubicBezTo>
                <a:close/>
                <a:moveTo>
                  <a:pt x="1071059" y="603065"/>
                </a:moveTo>
                <a:cubicBezTo>
                  <a:pt x="1069871" y="602895"/>
                  <a:pt x="1068342" y="603575"/>
                  <a:pt x="1066304" y="605613"/>
                </a:cubicBezTo>
                <a:cubicBezTo>
                  <a:pt x="1069022" y="608331"/>
                  <a:pt x="1071740" y="619201"/>
                  <a:pt x="1077175" y="613766"/>
                </a:cubicBezTo>
                <a:cubicBezTo>
                  <a:pt x="1075137" y="611728"/>
                  <a:pt x="1074627" y="603575"/>
                  <a:pt x="1071059" y="603065"/>
                </a:cubicBezTo>
                <a:close/>
                <a:moveTo>
                  <a:pt x="616543" y="598821"/>
                </a:moveTo>
                <a:cubicBezTo>
                  <a:pt x="624356" y="599161"/>
                  <a:pt x="631490" y="604255"/>
                  <a:pt x="638284" y="617843"/>
                </a:cubicBezTo>
                <a:cubicBezTo>
                  <a:pt x="639643" y="616484"/>
                  <a:pt x="639643" y="616484"/>
                  <a:pt x="641002" y="617843"/>
                </a:cubicBezTo>
                <a:cubicBezTo>
                  <a:pt x="647796" y="627355"/>
                  <a:pt x="655948" y="638226"/>
                  <a:pt x="662743" y="647737"/>
                </a:cubicBezTo>
                <a:cubicBezTo>
                  <a:pt x="683124" y="678989"/>
                  <a:pt x="704866" y="711600"/>
                  <a:pt x="726606" y="744212"/>
                </a:cubicBezTo>
                <a:cubicBezTo>
                  <a:pt x="725247" y="745570"/>
                  <a:pt x="725247" y="745570"/>
                  <a:pt x="723888" y="746929"/>
                </a:cubicBezTo>
                <a:cubicBezTo>
                  <a:pt x="726606" y="760517"/>
                  <a:pt x="734759" y="774105"/>
                  <a:pt x="744271" y="780899"/>
                </a:cubicBezTo>
                <a:cubicBezTo>
                  <a:pt x="742911" y="776823"/>
                  <a:pt x="744271" y="772746"/>
                  <a:pt x="742911" y="768670"/>
                </a:cubicBezTo>
                <a:cubicBezTo>
                  <a:pt x="760575" y="794487"/>
                  <a:pt x="778240" y="820303"/>
                  <a:pt x="795905" y="846121"/>
                </a:cubicBezTo>
                <a:cubicBezTo>
                  <a:pt x="802698" y="869220"/>
                  <a:pt x="809493" y="889603"/>
                  <a:pt x="816287" y="912702"/>
                </a:cubicBezTo>
                <a:cubicBezTo>
                  <a:pt x="816287" y="912702"/>
                  <a:pt x="814928" y="914061"/>
                  <a:pt x="813569" y="915420"/>
                </a:cubicBezTo>
                <a:cubicBezTo>
                  <a:pt x="814928" y="916778"/>
                  <a:pt x="816286" y="915420"/>
                  <a:pt x="816286" y="915420"/>
                </a:cubicBezTo>
                <a:cubicBezTo>
                  <a:pt x="817645" y="916779"/>
                  <a:pt x="816287" y="918137"/>
                  <a:pt x="817646" y="919496"/>
                </a:cubicBezTo>
                <a:cubicBezTo>
                  <a:pt x="817646" y="919496"/>
                  <a:pt x="817646" y="919496"/>
                  <a:pt x="819004" y="920855"/>
                </a:cubicBezTo>
                <a:cubicBezTo>
                  <a:pt x="820363" y="922214"/>
                  <a:pt x="819004" y="923573"/>
                  <a:pt x="820363" y="924931"/>
                </a:cubicBezTo>
                <a:cubicBezTo>
                  <a:pt x="806775" y="919496"/>
                  <a:pt x="794546" y="912702"/>
                  <a:pt x="780958" y="904549"/>
                </a:cubicBezTo>
                <a:lnTo>
                  <a:pt x="779847" y="901956"/>
                </a:lnTo>
                <a:lnTo>
                  <a:pt x="776881" y="895038"/>
                </a:lnTo>
                <a:cubicBezTo>
                  <a:pt x="775523" y="899114"/>
                  <a:pt x="772805" y="899114"/>
                  <a:pt x="771446" y="897756"/>
                </a:cubicBezTo>
                <a:cubicBezTo>
                  <a:pt x="770087" y="896397"/>
                  <a:pt x="767370" y="893679"/>
                  <a:pt x="764652" y="893678"/>
                </a:cubicBezTo>
                <a:cubicBezTo>
                  <a:pt x="749705" y="881450"/>
                  <a:pt x="732041" y="866503"/>
                  <a:pt x="717094" y="851557"/>
                </a:cubicBezTo>
                <a:cubicBezTo>
                  <a:pt x="704865" y="831174"/>
                  <a:pt x="692636" y="810793"/>
                  <a:pt x="680407" y="793128"/>
                </a:cubicBezTo>
                <a:cubicBezTo>
                  <a:pt x="660025" y="761876"/>
                  <a:pt x="641002" y="731983"/>
                  <a:pt x="619261" y="702089"/>
                </a:cubicBezTo>
                <a:cubicBezTo>
                  <a:pt x="616543" y="677630"/>
                  <a:pt x="609750" y="659966"/>
                  <a:pt x="602955" y="639584"/>
                </a:cubicBezTo>
                <a:cubicBezTo>
                  <a:pt x="598879" y="630073"/>
                  <a:pt x="596161" y="619202"/>
                  <a:pt x="590726" y="608332"/>
                </a:cubicBezTo>
                <a:cubicBezTo>
                  <a:pt x="600238" y="602897"/>
                  <a:pt x="608730" y="598481"/>
                  <a:pt x="616543" y="598821"/>
                </a:cubicBezTo>
                <a:close/>
                <a:moveTo>
                  <a:pt x="672255" y="597461"/>
                </a:moveTo>
                <a:cubicBezTo>
                  <a:pt x="685842" y="611049"/>
                  <a:pt x="698072" y="623279"/>
                  <a:pt x="710301" y="638226"/>
                </a:cubicBezTo>
                <a:cubicBezTo>
                  <a:pt x="715735" y="651813"/>
                  <a:pt x="715736" y="662684"/>
                  <a:pt x="707583" y="665402"/>
                </a:cubicBezTo>
                <a:cubicBezTo>
                  <a:pt x="706224" y="680348"/>
                  <a:pt x="710301" y="695295"/>
                  <a:pt x="717094" y="707524"/>
                </a:cubicBezTo>
                <a:cubicBezTo>
                  <a:pt x="702148" y="684425"/>
                  <a:pt x="687201" y="661325"/>
                  <a:pt x="672254" y="638226"/>
                </a:cubicBezTo>
                <a:cubicBezTo>
                  <a:pt x="665460" y="628713"/>
                  <a:pt x="658667" y="619202"/>
                  <a:pt x="651872" y="609691"/>
                </a:cubicBezTo>
                <a:cubicBezTo>
                  <a:pt x="658666" y="605614"/>
                  <a:pt x="665460" y="601538"/>
                  <a:pt x="672255" y="597461"/>
                </a:cubicBezTo>
                <a:close/>
                <a:moveTo>
                  <a:pt x="677690" y="592027"/>
                </a:moveTo>
                <a:cubicBezTo>
                  <a:pt x="683124" y="597461"/>
                  <a:pt x="687201" y="601538"/>
                  <a:pt x="691277" y="608331"/>
                </a:cubicBezTo>
                <a:cubicBezTo>
                  <a:pt x="685842" y="602896"/>
                  <a:pt x="681766" y="598820"/>
                  <a:pt x="676331" y="593385"/>
                </a:cubicBezTo>
                <a:cubicBezTo>
                  <a:pt x="676331" y="593385"/>
                  <a:pt x="677690" y="592027"/>
                  <a:pt x="677690" y="592027"/>
                </a:cubicBezTo>
                <a:close/>
                <a:moveTo>
                  <a:pt x="751065" y="562133"/>
                </a:moveTo>
                <a:cubicBezTo>
                  <a:pt x="776881" y="582515"/>
                  <a:pt x="798622" y="609691"/>
                  <a:pt x="820363" y="639585"/>
                </a:cubicBezTo>
                <a:cubicBezTo>
                  <a:pt x="862486" y="695295"/>
                  <a:pt x="905967" y="755082"/>
                  <a:pt x="956242" y="799922"/>
                </a:cubicBezTo>
                <a:cubicBezTo>
                  <a:pt x="963036" y="806716"/>
                  <a:pt x="971189" y="812151"/>
                  <a:pt x="976625" y="817587"/>
                </a:cubicBezTo>
                <a:cubicBezTo>
                  <a:pt x="969830" y="813510"/>
                  <a:pt x="964395" y="810792"/>
                  <a:pt x="957601" y="806716"/>
                </a:cubicBezTo>
                <a:cubicBezTo>
                  <a:pt x="934501" y="791769"/>
                  <a:pt x="910043" y="772746"/>
                  <a:pt x="886944" y="752365"/>
                </a:cubicBezTo>
                <a:cubicBezTo>
                  <a:pt x="886944" y="752365"/>
                  <a:pt x="886944" y="752365"/>
                  <a:pt x="888303" y="751006"/>
                </a:cubicBezTo>
                <a:cubicBezTo>
                  <a:pt x="886944" y="749646"/>
                  <a:pt x="885585" y="748288"/>
                  <a:pt x="882867" y="748288"/>
                </a:cubicBezTo>
                <a:cubicBezTo>
                  <a:pt x="861127" y="729265"/>
                  <a:pt x="840745" y="706166"/>
                  <a:pt x="819004" y="684425"/>
                </a:cubicBezTo>
                <a:cubicBezTo>
                  <a:pt x="808134" y="673555"/>
                  <a:pt x="797263" y="659966"/>
                  <a:pt x="786393" y="649096"/>
                </a:cubicBezTo>
                <a:cubicBezTo>
                  <a:pt x="782317" y="645019"/>
                  <a:pt x="776882" y="639585"/>
                  <a:pt x="774164" y="634149"/>
                </a:cubicBezTo>
                <a:cubicBezTo>
                  <a:pt x="774164" y="631432"/>
                  <a:pt x="776881" y="625996"/>
                  <a:pt x="778240" y="621920"/>
                </a:cubicBezTo>
                <a:cubicBezTo>
                  <a:pt x="775523" y="624638"/>
                  <a:pt x="771446" y="617843"/>
                  <a:pt x="768729" y="623279"/>
                </a:cubicBezTo>
                <a:cubicBezTo>
                  <a:pt x="770087" y="624637"/>
                  <a:pt x="770087" y="627355"/>
                  <a:pt x="770087" y="627355"/>
                </a:cubicBezTo>
                <a:cubicBezTo>
                  <a:pt x="767370" y="624638"/>
                  <a:pt x="764652" y="621920"/>
                  <a:pt x="761934" y="619202"/>
                </a:cubicBezTo>
                <a:cubicBezTo>
                  <a:pt x="757858" y="601538"/>
                  <a:pt x="757858" y="582515"/>
                  <a:pt x="751065" y="562133"/>
                </a:cubicBezTo>
                <a:close/>
                <a:moveTo>
                  <a:pt x="695354" y="411309"/>
                </a:moveTo>
                <a:cubicBezTo>
                  <a:pt x="726606" y="423539"/>
                  <a:pt x="756499" y="437126"/>
                  <a:pt x="787752" y="449355"/>
                </a:cubicBezTo>
                <a:cubicBezTo>
                  <a:pt x="779599" y="460226"/>
                  <a:pt x="783676" y="477890"/>
                  <a:pt x="793187" y="495555"/>
                </a:cubicBezTo>
                <a:cubicBezTo>
                  <a:pt x="786393" y="491479"/>
                  <a:pt x="780957" y="491478"/>
                  <a:pt x="775523" y="491478"/>
                </a:cubicBezTo>
                <a:cubicBezTo>
                  <a:pt x="775523" y="469737"/>
                  <a:pt x="759217" y="453432"/>
                  <a:pt x="742912" y="439844"/>
                </a:cubicBezTo>
                <a:cubicBezTo>
                  <a:pt x="723888" y="426256"/>
                  <a:pt x="692636" y="438485"/>
                  <a:pt x="684483" y="416745"/>
                </a:cubicBezTo>
                <a:cubicBezTo>
                  <a:pt x="691277" y="418104"/>
                  <a:pt x="693995" y="415386"/>
                  <a:pt x="695354" y="411309"/>
                </a:cubicBezTo>
                <a:close/>
                <a:moveTo>
                  <a:pt x="514217" y="407257"/>
                </a:moveTo>
                <a:lnTo>
                  <a:pt x="535865" y="409102"/>
                </a:lnTo>
                <a:cubicBezTo>
                  <a:pt x="554718" y="413348"/>
                  <a:pt x="574422" y="420821"/>
                  <a:pt x="594803" y="433050"/>
                </a:cubicBezTo>
                <a:cubicBezTo>
                  <a:pt x="611108" y="443920"/>
                  <a:pt x="627414" y="457508"/>
                  <a:pt x="641001" y="473815"/>
                </a:cubicBezTo>
                <a:cubicBezTo>
                  <a:pt x="630132" y="471096"/>
                  <a:pt x="619260" y="468380"/>
                  <a:pt x="608391" y="468378"/>
                </a:cubicBezTo>
                <a:cubicBezTo>
                  <a:pt x="602956" y="462944"/>
                  <a:pt x="600238" y="457509"/>
                  <a:pt x="594803" y="449356"/>
                </a:cubicBezTo>
                <a:cubicBezTo>
                  <a:pt x="579856" y="442562"/>
                  <a:pt x="564910" y="454791"/>
                  <a:pt x="551321" y="443920"/>
                </a:cubicBezTo>
                <a:cubicBezTo>
                  <a:pt x="558116" y="439844"/>
                  <a:pt x="566267" y="442562"/>
                  <a:pt x="573062" y="433050"/>
                </a:cubicBezTo>
                <a:cubicBezTo>
                  <a:pt x="557776" y="423878"/>
                  <a:pt x="542489" y="433050"/>
                  <a:pt x="527202" y="422732"/>
                </a:cubicBezTo>
                <a:close/>
                <a:moveTo>
                  <a:pt x="511916" y="404515"/>
                </a:moveTo>
                <a:lnTo>
                  <a:pt x="514217" y="407257"/>
                </a:lnTo>
                <a:lnTo>
                  <a:pt x="500750" y="406111"/>
                </a:lnTo>
                <a:close/>
                <a:moveTo>
                  <a:pt x="524314" y="344925"/>
                </a:moveTo>
                <a:cubicBezTo>
                  <a:pt x="522447" y="344415"/>
                  <a:pt x="520748" y="345434"/>
                  <a:pt x="518709" y="348831"/>
                </a:cubicBezTo>
                <a:cubicBezTo>
                  <a:pt x="522786" y="352908"/>
                  <a:pt x="528222" y="355626"/>
                  <a:pt x="530939" y="350191"/>
                </a:cubicBezTo>
                <a:cubicBezTo>
                  <a:pt x="528221" y="347472"/>
                  <a:pt x="526183" y="345434"/>
                  <a:pt x="524314" y="344925"/>
                </a:cubicBezTo>
                <a:close/>
                <a:moveTo>
                  <a:pt x="486099" y="329782"/>
                </a:moveTo>
                <a:cubicBezTo>
                  <a:pt x="526863" y="340652"/>
                  <a:pt x="570345" y="356957"/>
                  <a:pt x="613825" y="375982"/>
                </a:cubicBezTo>
                <a:cubicBezTo>
                  <a:pt x="613826" y="397721"/>
                  <a:pt x="631490" y="415386"/>
                  <a:pt x="641002" y="435767"/>
                </a:cubicBezTo>
                <a:cubicBezTo>
                  <a:pt x="647796" y="450714"/>
                  <a:pt x="651872" y="465662"/>
                  <a:pt x="654590" y="479249"/>
                </a:cubicBezTo>
                <a:cubicBezTo>
                  <a:pt x="653231" y="477890"/>
                  <a:pt x="651872" y="479249"/>
                  <a:pt x="650513" y="477890"/>
                </a:cubicBezTo>
                <a:cubicBezTo>
                  <a:pt x="634207" y="456150"/>
                  <a:pt x="612467" y="437126"/>
                  <a:pt x="593444" y="423538"/>
                </a:cubicBezTo>
                <a:cubicBezTo>
                  <a:pt x="551321" y="395004"/>
                  <a:pt x="510557" y="389569"/>
                  <a:pt x="476587" y="390928"/>
                </a:cubicBezTo>
                <a:lnTo>
                  <a:pt x="482022" y="404515"/>
                </a:lnTo>
                <a:lnTo>
                  <a:pt x="500750" y="406111"/>
                </a:lnTo>
                <a:lnTo>
                  <a:pt x="483381" y="408593"/>
                </a:lnTo>
                <a:cubicBezTo>
                  <a:pt x="473870" y="408592"/>
                  <a:pt x="464359" y="407234"/>
                  <a:pt x="454847" y="404515"/>
                </a:cubicBezTo>
                <a:cubicBezTo>
                  <a:pt x="464358" y="381416"/>
                  <a:pt x="475229" y="354240"/>
                  <a:pt x="486099" y="329782"/>
                </a:cubicBezTo>
                <a:close/>
                <a:moveTo>
                  <a:pt x="507840" y="269995"/>
                </a:moveTo>
                <a:cubicBezTo>
                  <a:pt x="554038" y="272712"/>
                  <a:pt x="608391" y="299888"/>
                  <a:pt x="661384" y="322987"/>
                </a:cubicBezTo>
                <a:cubicBezTo>
                  <a:pt x="695354" y="337934"/>
                  <a:pt x="727965" y="351523"/>
                  <a:pt x="759217" y="355599"/>
                </a:cubicBezTo>
                <a:cubicBezTo>
                  <a:pt x="768728" y="356957"/>
                  <a:pt x="779599" y="356957"/>
                  <a:pt x="790470" y="356957"/>
                </a:cubicBezTo>
                <a:cubicBezTo>
                  <a:pt x="791829" y="358316"/>
                  <a:pt x="794546" y="361033"/>
                  <a:pt x="797264" y="363751"/>
                </a:cubicBezTo>
                <a:cubicBezTo>
                  <a:pt x="780957" y="388209"/>
                  <a:pt x="812210" y="411309"/>
                  <a:pt x="808134" y="437126"/>
                </a:cubicBezTo>
                <a:cubicBezTo>
                  <a:pt x="801340" y="438485"/>
                  <a:pt x="795904" y="441203"/>
                  <a:pt x="791828" y="442561"/>
                </a:cubicBezTo>
                <a:cubicBezTo>
                  <a:pt x="759218" y="428974"/>
                  <a:pt x="726606" y="415386"/>
                  <a:pt x="693995" y="401797"/>
                </a:cubicBezTo>
                <a:cubicBezTo>
                  <a:pt x="688560" y="385493"/>
                  <a:pt x="668177" y="362392"/>
                  <a:pt x="651872" y="373263"/>
                </a:cubicBezTo>
                <a:cubicBezTo>
                  <a:pt x="650513" y="377340"/>
                  <a:pt x="653231" y="380057"/>
                  <a:pt x="654590" y="384133"/>
                </a:cubicBezTo>
                <a:cubicBezTo>
                  <a:pt x="649154" y="381416"/>
                  <a:pt x="643720" y="378698"/>
                  <a:pt x="638285" y="375981"/>
                </a:cubicBezTo>
                <a:cubicBezTo>
                  <a:pt x="638284" y="365110"/>
                  <a:pt x="617903" y="361034"/>
                  <a:pt x="615185" y="366469"/>
                </a:cubicBezTo>
                <a:cubicBezTo>
                  <a:pt x="615185" y="363752"/>
                  <a:pt x="611108" y="362392"/>
                  <a:pt x="605673" y="359675"/>
                </a:cubicBezTo>
                <a:cubicBezTo>
                  <a:pt x="608390" y="356957"/>
                  <a:pt x="611108" y="354239"/>
                  <a:pt x="607032" y="352881"/>
                </a:cubicBezTo>
                <a:cubicBezTo>
                  <a:pt x="601597" y="352881"/>
                  <a:pt x="601597" y="358316"/>
                  <a:pt x="604314" y="361033"/>
                </a:cubicBezTo>
                <a:cubicBezTo>
                  <a:pt x="566268" y="344729"/>
                  <a:pt x="526863" y="329781"/>
                  <a:pt x="488817" y="318911"/>
                </a:cubicBezTo>
                <a:cubicBezTo>
                  <a:pt x="495611" y="303964"/>
                  <a:pt x="501046" y="287660"/>
                  <a:pt x="507840" y="269995"/>
                </a:cubicBezTo>
                <a:close/>
                <a:moveTo>
                  <a:pt x="859768" y="230589"/>
                </a:moveTo>
                <a:cubicBezTo>
                  <a:pt x="861126" y="234665"/>
                  <a:pt x="861127" y="240101"/>
                  <a:pt x="859767" y="244177"/>
                </a:cubicBezTo>
                <a:cubicBezTo>
                  <a:pt x="861127" y="261842"/>
                  <a:pt x="858409" y="278148"/>
                  <a:pt x="852974" y="291735"/>
                </a:cubicBezTo>
                <a:cubicBezTo>
                  <a:pt x="848898" y="284941"/>
                  <a:pt x="843462" y="276789"/>
                  <a:pt x="835309" y="268636"/>
                </a:cubicBezTo>
                <a:cubicBezTo>
                  <a:pt x="842104" y="250971"/>
                  <a:pt x="851615" y="241460"/>
                  <a:pt x="859768" y="230589"/>
                </a:cubicBezTo>
                <a:close/>
                <a:moveTo>
                  <a:pt x="818532" y="130036"/>
                </a:moveTo>
                <a:lnTo>
                  <a:pt x="850256" y="136832"/>
                </a:lnTo>
                <a:cubicBezTo>
                  <a:pt x="908685" y="149062"/>
                  <a:pt x="965754" y="154496"/>
                  <a:pt x="1020106" y="154497"/>
                </a:cubicBezTo>
                <a:lnTo>
                  <a:pt x="1019191" y="151754"/>
                </a:lnTo>
                <a:lnTo>
                  <a:pt x="1020106" y="151779"/>
                </a:lnTo>
                <a:cubicBezTo>
                  <a:pt x="1024182" y="164009"/>
                  <a:pt x="1030976" y="176237"/>
                  <a:pt x="1039129" y="189826"/>
                </a:cubicBezTo>
                <a:cubicBezTo>
                  <a:pt x="1043205" y="193902"/>
                  <a:pt x="1047282" y="197979"/>
                  <a:pt x="1052717" y="197978"/>
                </a:cubicBezTo>
                <a:cubicBezTo>
                  <a:pt x="1054076" y="215643"/>
                  <a:pt x="1067663" y="231948"/>
                  <a:pt x="1067664" y="250971"/>
                </a:cubicBezTo>
                <a:cubicBezTo>
                  <a:pt x="1066305" y="252330"/>
                  <a:pt x="1064946" y="250971"/>
                  <a:pt x="1063587" y="252330"/>
                </a:cubicBezTo>
                <a:cubicBezTo>
                  <a:pt x="1066305" y="255048"/>
                  <a:pt x="1067664" y="253689"/>
                  <a:pt x="1070381" y="256407"/>
                </a:cubicBezTo>
                <a:cubicBezTo>
                  <a:pt x="1073099" y="294453"/>
                  <a:pt x="1088045" y="331140"/>
                  <a:pt x="1105710" y="367828"/>
                </a:cubicBezTo>
                <a:cubicBezTo>
                  <a:pt x="1122016" y="397721"/>
                  <a:pt x="1150550" y="407233"/>
                  <a:pt x="1165496" y="433050"/>
                </a:cubicBezTo>
                <a:cubicBezTo>
                  <a:pt x="1165496" y="433050"/>
                  <a:pt x="1162779" y="435767"/>
                  <a:pt x="1162779" y="435767"/>
                </a:cubicBezTo>
                <a:cubicBezTo>
                  <a:pt x="1181802" y="468378"/>
                  <a:pt x="1176367" y="514575"/>
                  <a:pt x="1207619" y="548545"/>
                </a:cubicBezTo>
                <a:cubicBezTo>
                  <a:pt x="1219849" y="552622"/>
                  <a:pt x="1230719" y="558056"/>
                  <a:pt x="1238872" y="566209"/>
                </a:cubicBezTo>
                <a:cubicBezTo>
                  <a:pt x="1234796" y="573003"/>
                  <a:pt x="1236155" y="571644"/>
                  <a:pt x="1232078" y="578438"/>
                </a:cubicBezTo>
                <a:cubicBezTo>
                  <a:pt x="1236154" y="585233"/>
                  <a:pt x="1240910" y="592027"/>
                  <a:pt x="1244646" y="598821"/>
                </a:cubicBezTo>
                <a:lnTo>
                  <a:pt x="1250508" y="617330"/>
                </a:lnTo>
                <a:lnTo>
                  <a:pt x="1226643" y="611050"/>
                </a:lnTo>
                <a:lnTo>
                  <a:pt x="1144488" y="583415"/>
                </a:lnTo>
                <a:lnTo>
                  <a:pt x="1075986" y="559585"/>
                </a:lnTo>
                <a:cubicBezTo>
                  <a:pt x="1025880" y="540053"/>
                  <a:pt x="975266" y="518652"/>
                  <a:pt x="924990" y="496914"/>
                </a:cubicBezTo>
                <a:cubicBezTo>
                  <a:pt x="899173" y="484684"/>
                  <a:pt x="873356" y="475173"/>
                  <a:pt x="847539" y="462944"/>
                </a:cubicBezTo>
                <a:cubicBezTo>
                  <a:pt x="846180" y="447997"/>
                  <a:pt x="832592" y="434409"/>
                  <a:pt x="814928" y="430333"/>
                </a:cubicBezTo>
                <a:cubicBezTo>
                  <a:pt x="832592" y="428974"/>
                  <a:pt x="817645" y="414027"/>
                  <a:pt x="828515" y="405874"/>
                </a:cubicBezTo>
                <a:cubicBezTo>
                  <a:pt x="836668" y="400439"/>
                  <a:pt x="843463" y="409950"/>
                  <a:pt x="850256" y="400439"/>
                </a:cubicBezTo>
                <a:cubicBezTo>
                  <a:pt x="844821" y="378698"/>
                  <a:pt x="832592" y="352881"/>
                  <a:pt x="865204" y="352881"/>
                </a:cubicBezTo>
                <a:cubicBezTo>
                  <a:pt x="862486" y="336575"/>
                  <a:pt x="862486" y="320270"/>
                  <a:pt x="857051" y="303965"/>
                </a:cubicBezTo>
                <a:cubicBezTo>
                  <a:pt x="863845" y="289018"/>
                  <a:pt x="867921" y="268636"/>
                  <a:pt x="866562" y="245536"/>
                </a:cubicBezTo>
                <a:cubicBezTo>
                  <a:pt x="866562" y="237383"/>
                  <a:pt x="865204" y="227872"/>
                  <a:pt x="862486" y="219719"/>
                </a:cubicBezTo>
                <a:cubicBezTo>
                  <a:pt x="865204" y="214284"/>
                  <a:pt x="866562" y="204773"/>
                  <a:pt x="866562" y="193901"/>
                </a:cubicBezTo>
                <a:cubicBezTo>
                  <a:pt x="857051" y="184390"/>
                  <a:pt x="848898" y="176237"/>
                  <a:pt x="843462" y="168085"/>
                </a:cubicBezTo>
                <a:close/>
                <a:moveTo>
                  <a:pt x="791829" y="127321"/>
                </a:moveTo>
                <a:cubicBezTo>
                  <a:pt x="798622" y="128680"/>
                  <a:pt x="805416" y="130038"/>
                  <a:pt x="810851" y="132756"/>
                </a:cubicBezTo>
                <a:cubicBezTo>
                  <a:pt x="820363" y="142268"/>
                  <a:pt x="825799" y="153138"/>
                  <a:pt x="833951" y="164009"/>
                </a:cubicBezTo>
                <a:cubicBezTo>
                  <a:pt x="829874" y="159932"/>
                  <a:pt x="824439" y="157215"/>
                  <a:pt x="819004" y="154496"/>
                </a:cubicBezTo>
                <a:cubicBezTo>
                  <a:pt x="813569" y="162649"/>
                  <a:pt x="805416" y="165368"/>
                  <a:pt x="799982" y="157215"/>
                </a:cubicBezTo>
                <a:cubicBezTo>
                  <a:pt x="794546" y="146344"/>
                  <a:pt x="794545" y="135474"/>
                  <a:pt x="791829" y="127321"/>
                </a:cubicBezTo>
                <a:close/>
                <a:moveTo>
                  <a:pt x="779599" y="104222"/>
                </a:moveTo>
                <a:cubicBezTo>
                  <a:pt x="786393" y="108298"/>
                  <a:pt x="794546" y="113733"/>
                  <a:pt x="802699" y="121885"/>
                </a:cubicBezTo>
                <a:cubicBezTo>
                  <a:pt x="798622" y="120527"/>
                  <a:pt x="793188" y="120527"/>
                  <a:pt x="789110" y="119168"/>
                </a:cubicBezTo>
                <a:cubicBezTo>
                  <a:pt x="786393" y="113733"/>
                  <a:pt x="783675" y="108298"/>
                  <a:pt x="779599" y="104222"/>
                </a:cubicBezTo>
                <a:close/>
                <a:moveTo>
                  <a:pt x="590727" y="59382"/>
                </a:moveTo>
                <a:cubicBezTo>
                  <a:pt x="620620" y="72969"/>
                  <a:pt x="650513" y="83840"/>
                  <a:pt x="680408" y="94710"/>
                </a:cubicBezTo>
                <a:cubicBezTo>
                  <a:pt x="681766" y="98786"/>
                  <a:pt x="683124" y="102863"/>
                  <a:pt x="683124" y="108298"/>
                </a:cubicBezTo>
                <a:cubicBezTo>
                  <a:pt x="691278" y="105580"/>
                  <a:pt x="699430" y="108298"/>
                  <a:pt x="706224" y="109657"/>
                </a:cubicBezTo>
                <a:cubicBezTo>
                  <a:pt x="691277" y="124604"/>
                  <a:pt x="680407" y="143627"/>
                  <a:pt x="674971" y="168085"/>
                </a:cubicBezTo>
                <a:cubicBezTo>
                  <a:pt x="681766" y="142268"/>
                  <a:pt x="692636" y="123244"/>
                  <a:pt x="710301" y="111015"/>
                </a:cubicBezTo>
                <a:cubicBezTo>
                  <a:pt x="713018" y="111016"/>
                  <a:pt x="715735" y="111015"/>
                  <a:pt x="718454" y="111015"/>
                </a:cubicBezTo>
                <a:cubicBezTo>
                  <a:pt x="719812" y="123244"/>
                  <a:pt x="722529" y="134115"/>
                  <a:pt x="721171" y="146344"/>
                </a:cubicBezTo>
                <a:cubicBezTo>
                  <a:pt x="782317" y="191184"/>
                  <a:pt x="707583" y="244177"/>
                  <a:pt x="782317" y="280865"/>
                </a:cubicBezTo>
                <a:cubicBezTo>
                  <a:pt x="776882" y="302606"/>
                  <a:pt x="766011" y="324346"/>
                  <a:pt x="776882" y="346087"/>
                </a:cubicBezTo>
                <a:cubicBezTo>
                  <a:pt x="768729" y="346087"/>
                  <a:pt x="761935" y="344728"/>
                  <a:pt x="753782" y="344728"/>
                </a:cubicBezTo>
                <a:cubicBezTo>
                  <a:pt x="723888" y="339293"/>
                  <a:pt x="691277" y="325705"/>
                  <a:pt x="658666" y="309400"/>
                </a:cubicBezTo>
                <a:cubicBezTo>
                  <a:pt x="611108" y="286301"/>
                  <a:pt x="560833" y="260483"/>
                  <a:pt x="514634" y="252330"/>
                </a:cubicBezTo>
                <a:cubicBezTo>
                  <a:pt x="518711" y="231948"/>
                  <a:pt x="524145" y="215642"/>
                  <a:pt x="528222" y="200696"/>
                </a:cubicBezTo>
                <a:cubicBezTo>
                  <a:pt x="529580" y="202054"/>
                  <a:pt x="532298" y="202054"/>
                  <a:pt x="535016" y="199337"/>
                </a:cubicBezTo>
                <a:cubicBezTo>
                  <a:pt x="532298" y="196620"/>
                  <a:pt x="539092" y="192543"/>
                  <a:pt x="537733" y="191185"/>
                </a:cubicBezTo>
                <a:cubicBezTo>
                  <a:pt x="536374" y="189826"/>
                  <a:pt x="533658" y="189826"/>
                  <a:pt x="532298" y="188467"/>
                </a:cubicBezTo>
                <a:cubicBezTo>
                  <a:pt x="535016" y="180314"/>
                  <a:pt x="536374" y="173520"/>
                  <a:pt x="539092" y="165367"/>
                </a:cubicBezTo>
                <a:cubicBezTo>
                  <a:pt x="549963" y="162649"/>
                  <a:pt x="562192" y="161291"/>
                  <a:pt x="574421" y="162650"/>
                </a:cubicBezTo>
                <a:cubicBezTo>
                  <a:pt x="575780" y="128679"/>
                  <a:pt x="582574" y="94710"/>
                  <a:pt x="590727" y="59382"/>
                </a:cubicBezTo>
                <a:close/>
                <a:moveTo>
                  <a:pt x="1373675" y="0"/>
                </a:moveTo>
                <a:lnTo>
                  <a:pt x="8090452" y="0"/>
                </a:lnTo>
                <a:lnTo>
                  <a:pt x="8090452" y="6863208"/>
                </a:lnTo>
                <a:lnTo>
                  <a:pt x="0" y="6863208"/>
                </a:lnTo>
                <a:lnTo>
                  <a:pt x="0" y="1585551"/>
                </a:lnTo>
                <a:lnTo>
                  <a:pt x="1178" y="1586154"/>
                </a:lnTo>
                <a:cubicBezTo>
                  <a:pt x="3387" y="1586324"/>
                  <a:pt x="5085" y="1586664"/>
                  <a:pt x="5085" y="1590740"/>
                </a:cubicBezTo>
                <a:cubicBezTo>
                  <a:pt x="9162" y="1586664"/>
                  <a:pt x="10520" y="1585305"/>
                  <a:pt x="9162" y="1581229"/>
                </a:cubicBezTo>
                <a:cubicBezTo>
                  <a:pt x="7123" y="1584626"/>
                  <a:pt x="4745" y="1584286"/>
                  <a:pt x="2197" y="1583437"/>
                </a:cubicBezTo>
                <a:lnTo>
                  <a:pt x="0" y="1583203"/>
                </a:lnTo>
                <a:lnTo>
                  <a:pt x="0" y="1471498"/>
                </a:lnTo>
                <a:lnTo>
                  <a:pt x="3217" y="1477791"/>
                </a:lnTo>
                <a:cubicBezTo>
                  <a:pt x="9162" y="1484755"/>
                  <a:pt x="17315" y="1488832"/>
                  <a:pt x="28185" y="1483397"/>
                </a:cubicBezTo>
                <a:cubicBezTo>
                  <a:pt x="30902" y="1486114"/>
                  <a:pt x="32261" y="1487473"/>
                  <a:pt x="32262" y="1490190"/>
                </a:cubicBezTo>
                <a:cubicBezTo>
                  <a:pt x="39055" y="1483396"/>
                  <a:pt x="43132" y="1487473"/>
                  <a:pt x="47208" y="1477961"/>
                </a:cubicBezTo>
                <a:cubicBezTo>
                  <a:pt x="41773" y="1475244"/>
                  <a:pt x="45849" y="1468449"/>
                  <a:pt x="49926" y="1467091"/>
                </a:cubicBezTo>
                <a:cubicBezTo>
                  <a:pt x="51285" y="1460297"/>
                  <a:pt x="40414" y="1452144"/>
                  <a:pt x="48567" y="1454862"/>
                </a:cubicBezTo>
                <a:cubicBezTo>
                  <a:pt x="44491" y="1450785"/>
                  <a:pt x="44490" y="1448068"/>
                  <a:pt x="39055" y="1448068"/>
                </a:cubicBezTo>
                <a:cubicBezTo>
                  <a:pt x="40414" y="1446709"/>
                  <a:pt x="40414" y="1443991"/>
                  <a:pt x="40414" y="1441274"/>
                </a:cubicBezTo>
                <a:cubicBezTo>
                  <a:pt x="37697" y="1443991"/>
                  <a:pt x="36338" y="1437197"/>
                  <a:pt x="33620" y="1437197"/>
                </a:cubicBezTo>
                <a:cubicBezTo>
                  <a:pt x="30902" y="1439915"/>
                  <a:pt x="28184" y="1439915"/>
                  <a:pt x="24109" y="1438556"/>
                </a:cubicBezTo>
                <a:cubicBezTo>
                  <a:pt x="26826" y="1435838"/>
                  <a:pt x="24109" y="1433121"/>
                  <a:pt x="21391" y="1430404"/>
                </a:cubicBezTo>
                <a:cubicBezTo>
                  <a:pt x="17314" y="1429045"/>
                  <a:pt x="14597" y="1429045"/>
                  <a:pt x="10520" y="1430404"/>
                </a:cubicBezTo>
                <a:cubicBezTo>
                  <a:pt x="11200" y="1433801"/>
                  <a:pt x="9501" y="1436178"/>
                  <a:pt x="6954" y="1437367"/>
                </a:cubicBezTo>
                <a:lnTo>
                  <a:pt x="0" y="1437231"/>
                </a:lnTo>
                <a:lnTo>
                  <a:pt x="0" y="1186711"/>
                </a:lnTo>
                <a:lnTo>
                  <a:pt x="52642" y="1293165"/>
                </a:lnTo>
                <a:cubicBezTo>
                  <a:pt x="54001" y="1316265"/>
                  <a:pt x="58078" y="1339364"/>
                  <a:pt x="63513" y="1363823"/>
                </a:cubicBezTo>
                <a:cubicBezTo>
                  <a:pt x="75742" y="1416816"/>
                  <a:pt x="89330" y="1471168"/>
                  <a:pt x="94765" y="1520085"/>
                </a:cubicBezTo>
                <a:cubicBezTo>
                  <a:pt x="100201" y="1570360"/>
                  <a:pt x="99522" y="1617239"/>
                  <a:pt x="94596" y="1661229"/>
                </a:cubicBezTo>
                <a:lnTo>
                  <a:pt x="74488" y="1758302"/>
                </a:lnTo>
                <a:lnTo>
                  <a:pt x="61305" y="1748530"/>
                </a:lnTo>
                <a:cubicBezTo>
                  <a:pt x="56380" y="1744624"/>
                  <a:pt x="51283" y="1741566"/>
                  <a:pt x="45849" y="1742925"/>
                </a:cubicBezTo>
                <a:cubicBezTo>
                  <a:pt x="52642" y="1748361"/>
                  <a:pt x="57058" y="1751418"/>
                  <a:pt x="61304" y="1753626"/>
                </a:cubicBezTo>
                <a:lnTo>
                  <a:pt x="74404" y="1758711"/>
                </a:lnTo>
                <a:lnTo>
                  <a:pt x="70500" y="1777558"/>
                </a:lnTo>
                <a:lnTo>
                  <a:pt x="67083" y="1778136"/>
                </a:lnTo>
                <a:cubicBezTo>
                  <a:pt x="65721" y="1778509"/>
                  <a:pt x="65721" y="1778764"/>
                  <a:pt x="70307" y="1778255"/>
                </a:cubicBezTo>
                <a:lnTo>
                  <a:pt x="70362" y="1778224"/>
                </a:lnTo>
                <a:lnTo>
                  <a:pt x="68948" y="1785049"/>
                </a:lnTo>
                <a:lnTo>
                  <a:pt x="70569" y="1778109"/>
                </a:lnTo>
                <a:lnTo>
                  <a:pt x="72027" y="1777300"/>
                </a:lnTo>
                <a:lnTo>
                  <a:pt x="70705" y="1777523"/>
                </a:lnTo>
                <a:lnTo>
                  <a:pt x="75042" y="1758959"/>
                </a:lnTo>
                <a:lnTo>
                  <a:pt x="75742" y="1759231"/>
                </a:lnTo>
                <a:lnTo>
                  <a:pt x="75092" y="1758749"/>
                </a:lnTo>
                <a:lnTo>
                  <a:pt x="97313" y="1663607"/>
                </a:lnTo>
                <a:cubicBezTo>
                  <a:pt x="103259" y="1620296"/>
                  <a:pt x="104957" y="1573757"/>
                  <a:pt x="100200" y="1522802"/>
                </a:cubicBezTo>
                <a:cubicBezTo>
                  <a:pt x="96125" y="1472527"/>
                  <a:pt x="82536" y="1418175"/>
                  <a:pt x="71666" y="1366541"/>
                </a:cubicBezTo>
                <a:cubicBezTo>
                  <a:pt x="67589" y="1346159"/>
                  <a:pt x="64872" y="1327136"/>
                  <a:pt x="63514" y="1309471"/>
                </a:cubicBezTo>
                <a:cubicBezTo>
                  <a:pt x="81177" y="1338006"/>
                  <a:pt x="98842" y="1366541"/>
                  <a:pt x="119224" y="1395075"/>
                </a:cubicBezTo>
                <a:cubicBezTo>
                  <a:pt x="113789" y="1438557"/>
                  <a:pt x="104277" y="1480679"/>
                  <a:pt x="111071" y="1530955"/>
                </a:cubicBezTo>
                <a:cubicBezTo>
                  <a:pt x="117865" y="1635582"/>
                  <a:pt x="134170" y="1744285"/>
                  <a:pt x="157270" y="1857065"/>
                </a:cubicBezTo>
                <a:cubicBezTo>
                  <a:pt x="135530" y="1745645"/>
                  <a:pt x="119224" y="1636941"/>
                  <a:pt x="115147" y="1532314"/>
                </a:cubicBezTo>
                <a:cubicBezTo>
                  <a:pt x="109712" y="1483397"/>
                  <a:pt x="117865" y="1442633"/>
                  <a:pt x="124659" y="1400511"/>
                </a:cubicBezTo>
                <a:cubicBezTo>
                  <a:pt x="150476" y="1439916"/>
                  <a:pt x="177652" y="1477962"/>
                  <a:pt x="200751" y="1517367"/>
                </a:cubicBezTo>
                <a:cubicBezTo>
                  <a:pt x="206186" y="1525519"/>
                  <a:pt x="210263" y="1532314"/>
                  <a:pt x="214339" y="1539107"/>
                </a:cubicBezTo>
                <a:cubicBezTo>
                  <a:pt x="221133" y="1589382"/>
                  <a:pt x="232004" y="1641017"/>
                  <a:pt x="244233" y="1694010"/>
                </a:cubicBezTo>
                <a:cubicBezTo>
                  <a:pt x="233362" y="1645094"/>
                  <a:pt x="223851" y="1594818"/>
                  <a:pt x="218416" y="1545902"/>
                </a:cubicBezTo>
                <a:cubicBezTo>
                  <a:pt x="236080" y="1577154"/>
                  <a:pt x="251027" y="1608406"/>
                  <a:pt x="264615" y="1641017"/>
                </a:cubicBezTo>
                <a:cubicBezTo>
                  <a:pt x="298585" y="1721186"/>
                  <a:pt x="314890" y="1802714"/>
                  <a:pt x="327119" y="1880165"/>
                </a:cubicBezTo>
                <a:cubicBezTo>
                  <a:pt x="339349" y="1957617"/>
                  <a:pt x="342066" y="2030991"/>
                  <a:pt x="348860" y="2105725"/>
                </a:cubicBezTo>
                <a:cubicBezTo>
                  <a:pt x="354295" y="2179100"/>
                  <a:pt x="361090" y="2256552"/>
                  <a:pt x="381472" y="2336722"/>
                </a:cubicBezTo>
                <a:cubicBezTo>
                  <a:pt x="399136" y="2416890"/>
                  <a:pt x="431746" y="2501134"/>
                  <a:pt x="473870" y="2581305"/>
                </a:cubicBezTo>
                <a:cubicBezTo>
                  <a:pt x="431746" y="2501134"/>
                  <a:pt x="401853" y="2416890"/>
                  <a:pt x="382829" y="2338079"/>
                </a:cubicBezTo>
                <a:cubicBezTo>
                  <a:pt x="365166" y="2257910"/>
                  <a:pt x="358372" y="2183177"/>
                  <a:pt x="352937" y="2109802"/>
                </a:cubicBezTo>
                <a:cubicBezTo>
                  <a:pt x="343425" y="1964411"/>
                  <a:pt x="339349" y="1810867"/>
                  <a:pt x="272768" y="1643735"/>
                </a:cubicBezTo>
                <a:cubicBezTo>
                  <a:pt x="271409" y="1642376"/>
                  <a:pt x="271409" y="1639658"/>
                  <a:pt x="271409" y="1639658"/>
                </a:cubicBezTo>
                <a:cubicBezTo>
                  <a:pt x="274127" y="1645094"/>
                  <a:pt x="276843" y="1650529"/>
                  <a:pt x="280920" y="1654605"/>
                </a:cubicBezTo>
                <a:cubicBezTo>
                  <a:pt x="309455" y="1702163"/>
                  <a:pt x="347501" y="1742927"/>
                  <a:pt x="384189" y="1776897"/>
                </a:cubicBezTo>
                <a:cubicBezTo>
                  <a:pt x="346142" y="1741568"/>
                  <a:pt x="310814" y="1700804"/>
                  <a:pt x="282279" y="1653246"/>
                </a:cubicBezTo>
                <a:cubicBezTo>
                  <a:pt x="276844" y="1645093"/>
                  <a:pt x="272768" y="1635582"/>
                  <a:pt x="265974" y="1626070"/>
                </a:cubicBezTo>
                <a:cubicBezTo>
                  <a:pt x="259179" y="1611124"/>
                  <a:pt x="253744" y="1597536"/>
                  <a:pt x="246950" y="1582589"/>
                </a:cubicBezTo>
                <a:cubicBezTo>
                  <a:pt x="237439" y="1556772"/>
                  <a:pt x="229286" y="1532313"/>
                  <a:pt x="225210" y="1506496"/>
                </a:cubicBezTo>
                <a:cubicBezTo>
                  <a:pt x="217058" y="1468450"/>
                  <a:pt x="214339" y="1433122"/>
                  <a:pt x="211622" y="1397793"/>
                </a:cubicBezTo>
                <a:cubicBezTo>
                  <a:pt x="212980" y="1371975"/>
                  <a:pt x="214339" y="1348876"/>
                  <a:pt x="218416" y="1325777"/>
                </a:cubicBezTo>
                <a:cubicBezTo>
                  <a:pt x="223851" y="1290448"/>
                  <a:pt x="229286" y="1252402"/>
                  <a:pt x="215698" y="1203485"/>
                </a:cubicBezTo>
                <a:cubicBezTo>
                  <a:pt x="208905" y="1174950"/>
                  <a:pt x="196676" y="1146415"/>
                  <a:pt x="183087" y="1119239"/>
                </a:cubicBezTo>
                <a:cubicBezTo>
                  <a:pt x="183087" y="1119239"/>
                  <a:pt x="184446" y="1117880"/>
                  <a:pt x="184446" y="1117880"/>
                </a:cubicBezTo>
                <a:cubicBezTo>
                  <a:pt x="183087" y="1111086"/>
                  <a:pt x="179012" y="1104292"/>
                  <a:pt x="173576" y="1101575"/>
                </a:cubicBezTo>
                <a:cubicBezTo>
                  <a:pt x="166781" y="1089345"/>
                  <a:pt x="159988" y="1077116"/>
                  <a:pt x="151835" y="1066246"/>
                </a:cubicBezTo>
                <a:cubicBezTo>
                  <a:pt x="142323" y="1051300"/>
                  <a:pt x="132812" y="1036352"/>
                  <a:pt x="123301" y="1021406"/>
                </a:cubicBezTo>
                <a:cubicBezTo>
                  <a:pt x="120583" y="1007818"/>
                  <a:pt x="119224" y="992871"/>
                  <a:pt x="116506" y="979283"/>
                </a:cubicBezTo>
                <a:cubicBezTo>
                  <a:pt x="120583" y="986077"/>
                  <a:pt x="121942" y="992871"/>
                  <a:pt x="121942" y="1001024"/>
                </a:cubicBezTo>
                <a:cubicBezTo>
                  <a:pt x="166782" y="1018688"/>
                  <a:pt x="170859" y="1058093"/>
                  <a:pt x="203469" y="1104292"/>
                </a:cubicBezTo>
                <a:cubicBezTo>
                  <a:pt x="214340" y="1107010"/>
                  <a:pt x="206187" y="1090705"/>
                  <a:pt x="217058" y="1096140"/>
                </a:cubicBezTo>
                <a:cubicBezTo>
                  <a:pt x="219095" y="1106331"/>
                  <a:pt x="223851" y="1117201"/>
                  <a:pt x="230985" y="1129430"/>
                </a:cubicBezTo>
                <a:lnTo>
                  <a:pt x="259180" y="1170873"/>
                </a:lnTo>
                <a:lnTo>
                  <a:pt x="253745" y="1168156"/>
                </a:lnTo>
                <a:cubicBezTo>
                  <a:pt x="255104" y="1169515"/>
                  <a:pt x="255104" y="1169515"/>
                  <a:pt x="253746" y="1170873"/>
                </a:cubicBezTo>
                <a:cubicBezTo>
                  <a:pt x="254425" y="1171552"/>
                  <a:pt x="255444" y="1172572"/>
                  <a:pt x="256462" y="1172911"/>
                </a:cubicBezTo>
                <a:lnTo>
                  <a:pt x="259181" y="1170873"/>
                </a:lnTo>
                <a:cubicBezTo>
                  <a:pt x="301303" y="1166796"/>
                  <a:pt x="348861" y="1143697"/>
                  <a:pt x="395060" y="1200767"/>
                </a:cubicBezTo>
                <a:cubicBezTo>
                  <a:pt x="431747" y="1207561"/>
                  <a:pt x="494252" y="1185820"/>
                  <a:pt x="491534" y="1136903"/>
                </a:cubicBezTo>
                <a:cubicBezTo>
                  <a:pt x="511917" y="1130109"/>
                  <a:pt x="517352" y="1105651"/>
                  <a:pt x="511916" y="1089345"/>
                </a:cubicBezTo>
                <a:cubicBezTo>
                  <a:pt x="551321" y="1079834"/>
                  <a:pt x="630131" y="1028200"/>
                  <a:pt x="612467" y="994230"/>
                </a:cubicBezTo>
                <a:cubicBezTo>
                  <a:pt x="593443" y="961619"/>
                  <a:pt x="564910" y="979283"/>
                  <a:pt x="548604" y="984718"/>
                </a:cubicBezTo>
                <a:cubicBezTo>
                  <a:pt x="530939" y="991512"/>
                  <a:pt x="507840" y="987436"/>
                  <a:pt x="492894" y="1002383"/>
                </a:cubicBezTo>
                <a:cubicBezTo>
                  <a:pt x="473870" y="1018688"/>
                  <a:pt x="472511" y="1044506"/>
                  <a:pt x="467076" y="1049940"/>
                </a:cubicBezTo>
                <a:cubicBezTo>
                  <a:pt x="472511" y="1044506"/>
                  <a:pt x="408648" y="1064887"/>
                  <a:pt x="414083" y="1064887"/>
                </a:cubicBezTo>
                <a:cubicBezTo>
                  <a:pt x="408648" y="1064887"/>
                  <a:pt x="359731" y="1048582"/>
                  <a:pt x="363808" y="1052659"/>
                </a:cubicBezTo>
                <a:cubicBezTo>
                  <a:pt x="355655" y="1044506"/>
                  <a:pt x="370601" y="1024123"/>
                  <a:pt x="366526" y="1011894"/>
                </a:cubicBezTo>
                <a:cubicBezTo>
                  <a:pt x="365167" y="1005100"/>
                  <a:pt x="351578" y="1002383"/>
                  <a:pt x="350220" y="995588"/>
                </a:cubicBezTo>
                <a:cubicBezTo>
                  <a:pt x="344784" y="982001"/>
                  <a:pt x="354296" y="939878"/>
                  <a:pt x="352937" y="930367"/>
                </a:cubicBezTo>
                <a:cubicBezTo>
                  <a:pt x="342067" y="924931"/>
                  <a:pt x="347502" y="922214"/>
                  <a:pt x="336631" y="919496"/>
                </a:cubicBezTo>
                <a:cubicBezTo>
                  <a:pt x="354296" y="896397"/>
                  <a:pt x="333914" y="851556"/>
                  <a:pt x="352937" y="818945"/>
                </a:cubicBezTo>
                <a:cubicBezTo>
                  <a:pt x="328478" y="791769"/>
                  <a:pt x="344784" y="764594"/>
                  <a:pt x="355655" y="737418"/>
                </a:cubicBezTo>
                <a:cubicBezTo>
                  <a:pt x="333914" y="723830"/>
                  <a:pt x="329838" y="695295"/>
                  <a:pt x="310814" y="698012"/>
                </a:cubicBezTo>
                <a:cubicBezTo>
                  <a:pt x="312174" y="688501"/>
                  <a:pt x="312173" y="680348"/>
                  <a:pt x="310814" y="670837"/>
                </a:cubicBezTo>
                <a:cubicBezTo>
                  <a:pt x="308098" y="670837"/>
                  <a:pt x="306739" y="672196"/>
                  <a:pt x="305379" y="670837"/>
                </a:cubicBezTo>
                <a:cubicBezTo>
                  <a:pt x="304020" y="664043"/>
                  <a:pt x="301304" y="655890"/>
                  <a:pt x="299945" y="649096"/>
                </a:cubicBezTo>
                <a:cubicBezTo>
                  <a:pt x="301304" y="647737"/>
                  <a:pt x="301304" y="647737"/>
                  <a:pt x="302662" y="646378"/>
                </a:cubicBezTo>
                <a:cubicBezTo>
                  <a:pt x="351578" y="646378"/>
                  <a:pt x="401854" y="636866"/>
                  <a:pt x="450770" y="625996"/>
                </a:cubicBezTo>
                <a:cubicBezTo>
                  <a:pt x="457564" y="635508"/>
                  <a:pt x="465717" y="643661"/>
                  <a:pt x="475229" y="650454"/>
                </a:cubicBezTo>
                <a:cubicBezTo>
                  <a:pt x="495611" y="668118"/>
                  <a:pt x="514634" y="676271"/>
                  <a:pt x="533657" y="687142"/>
                </a:cubicBezTo>
                <a:cubicBezTo>
                  <a:pt x="554039" y="721112"/>
                  <a:pt x="577138" y="755082"/>
                  <a:pt x="601597" y="784976"/>
                </a:cubicBezTo>
                <a:cubicBezTo>
                  <a:pt x="601597" y="784976"/>
                  <a:pt x="600238" y="786335"/>
                  <a:pt x="600238" y="786335"/>
                </a:cubicBezTo>
                <a:cubicBezTo>
                  <a:pt x="602955" y="789052"/>
                  <a:pt x="602955" y="789052"/>
                  <a:pt x="605673" y="789051"/>
                </a:cubicBezTo>
                <a:cubicBezTo>
                  <a:pt x="607032" y="790410"/>
                  <a:pt x="608391" y="791769"/>
                  <a:pt x="609749" y="793128"/>
                </a:cubicBezTo>
                <a:cubicBezTo>
                  <a:pt x="628773" y="817586"/>
                  <a:pt x="649155" y="837968"/>
                  <a:pt x="670895" y="856992"/>
                </a:cubicBezTo>
                <a:cubicBezTo>
                  <a:pt x="683124" y="888244"/>
                  <a:pt x="696713" y="920855"/>
                  <a:pt x="714376" y="952107"/>
                </a:cubicBezTo>
                <a:cubicBezTo>
                  <a:pt x="744271" y="1003741"/>
                  <a:pt x="780957" y="1051299"/>
                  <a:pt x="821722" y="1089345"/>
                </a:cubicBezTo>
                <a:cubicBezTo>
                  <a:pt x="831234" y="1098857"/>
                  <a:pt x="842104" y="1109727"/>
                  <a:pt x="852973" y="1117880"/>
                </a:cubicBezTo>
                <a:lnTo>
                  <a:pt x="851718" y="1114897"/>
                </a:lnTo>
                <a:lnTo>
                  <a:pt x="858409" y="1120597"/>
                </a:lnTo>
                <a:cubicBezTo>
                  <a:pt x="876073" y="1157286"/>
                  <a:pt x="895097" y="1192613"/>
                  <a:pt x="918196" y="1226584"/>
                </a:cubicBezTo>
                <a:cubicBezTo>
                  <a:pt x="952166" y="1279577"/>
                  <a:pt x="994289" y="1324417"/>
                  <a:pt x="1039129" y="1358387"/>
                </a:cubicBezTo>
                <a:cubicBezTo>
                  <a:pt x="1126092" y="1426327"/>
                  <a:pt x="1214413" y="1457579"/>
                  <a:pt x="1297300" y="1491549"/>
                </a:cubicBezTo>
                <a:cubicBezTo>
                  <a:pt x="1211696" y="1454862"/>
                  <a:pt x="1124733" y="1422250"/>
                  <a:pt x="1039129" y="1352952"/>
                </a:cubicBezTo>
                <a:cubicBezTo>
                  <a:pt x="997006" y="1318982"/>
                  <a:pt x="954884" y="1274141"/>
                  <a:pt x="922273" y="1222508"/>
                </a:cubicBezTo>
                <a:cubicBezTo>
                  <a:pt x="903250" y="1192613"/>
                  <a:pt x="886944" y="1162721"/>
                  <a:pt x="870638" y="1130109"/>
                </a:cubicBezTo>
                <a:lnTo>
                  <a:pt x="879124" y="1135452"/>
                </a:lnTo>
                <a:lnTo>
                  <a:pt x="905458" y="1154398"/>
                </a:lnTo>
                <a:cubicBezTo>
                  <a:pt x="918196" y="1162721"/>
                  <a:pt x="931105" y="1170194"/>
                  <a:pt x="944014" y="1176308"/>
                </a:cubicBezTo>
                <a:cubicBezTo>
                  <a:pt x="945373" y="1177667"/>
                  <a:pt x="948089" y="1177667"/>
                  <a:pt x="949448" y="1179026"/>
                </a:cubicBezTo>
                <a:cubicBezTo>
                  <a:pt x="960319" y="1192613"/>
                  <a:pt x="968471" y="1206202"/>
                  <a:pt x="980700" y="1218431"/>
                </a:cubicBezTo>
                <a:cubicBezTo>
                  <a:pt x="1052717" y="1306753"/>
                  <a:pt x="1135603" y="1370616"/>
                  <a:pt x="1215772" y="1426326"/>
                </a:cubicBezTo>
                <a:cubicBezTo>
                  <a:pt x="1135603" y="1367898"/>
                  <a:pt x="1054075" y="1302676"/>
                  <a:pt x="982059" y="1214354"/>
                </a:cubicBezTo>
                <a:cubicBezTo>
                  <a:pt x="973906" y="1203485"/>
                  <a:pt x="965754" y="1192614"/>
                  <a:pt x="957601" y="1181743"/>
                </a:cubicBezTo>
                <a:cubicBezTo>
                  <a:pt x="1035053" y="1218431"/>
                  <a:pt x="1109786" y="1233377"/>
                  <a:pt x="1183161" y="1249683"/>
                </a:cubicBezTo>
                <a:cubicBezTo>
                  <a:pt x="1108428" y="1232019"/>
                  <a:pt x="1033694" y="1217072"/>
                  <a:pt x="956242" y="1177667"/>
                </a:cubicBezTo>
                <a:cubicBezTo>
                  <a:pt x="933143" y="1143697"/>
                  <a:pt x="911402" y="1108369"/>
                  <a:pt x="892379" y="1073040"/>
                </a:cubicBezTo>
                <a:cubicBezTo>
                  <a:pt x="886944" y="1062169"/>
                  <a:pt x="881509" y="1051300"/>
                  <a:pt x="876073" y="1037711"/>
                </a:cubicBezTo>
                <a:cubicBezTo>
                  <a:pt x="911402" y="1062169"/>
                  <a:pt x="948090" y="1079834"/>
                  <a:pt x="983418" y="1093422"/>
                </a:cubicBezTo>
                <a:cubicBezTo>
                  <a:pt x="998365" y="1100216"/>
                  <a:pt x="1016030" y="1107010"/>
                  <a:pt x="1030976" y="1113804"/>
                </a:cubicBezTo>
                <a:cubicBezTo>
                  <a:pt x="1035052" y="1117880"/>
                  <a:pt x="1040488" y="1120597"/>
                  <a:pt x="1045923" y="1126033"/>
                </a:cubicBezTo>
                <a:cubicBezTo>
                  <a:pt x="1048641" y="1128750"/>
                  <a:pt x="1054075" y="1131469"/>
                  <a:pt x="1056793" y="1134186"/>
                </a:cubicBezTo>
                <a:lnTo>
                  <a:pt x="1063252" y="1139159"/>
                </a:lnTo>
                <a:lnTo>
                  <a:pt x="1073099" y="1147774"/>
                </a:lnTo>
                <a:lnTo>
                  <a:pt x="1078775" y="1151108"/>
                </a:lnTo>
                <a:lnTo>
                  <a:pt x="1151230" y="1206882"/>
                </a:lnTo>
                <a:cubicBezTo>
                  <a:pt x="1182822" y="1228283"/>
                  <a:pt x="1214414" y="1246967"/>
                  <a:pt x="1245666" y="1263272"/>
                </a:cubicBezTo>
                <a:cubicBezTo>
                  <a:pt x="1218490" y="1248325"/>
                  <a:pt x="1190974" y="1231680"/>
                  <a:pt x="1163799" y="1213336"/>
                </a:cubicBezTo>
                <a:lnTo>
                  <a:pt x="1089688" y="1157517"/>
                </a:lnTo>
                <a:lnTo>
                  <a:pt x="1137301" y="1185481"/>
                </a:lnTo>
                <a:cubicBezTo>
                  <a:pt x="1159043" y="1196351"/>
                  <a:pt x="1181123" y="1205522"/>
                  <a:pt x="1203543" y="1212996"/>
                </a:cubicBezTo>
                <a:lnTo>
                  <a:pt x="1194445" y="1207165"/>
                </a:lnTo>
                <a:lnTo>
                  <a:pt x="1204902" y="1211637"/>
                </a:lnTo>
                <a:cubicBezTo>
                  <a:pt x="1241589" y="1237455"/>
                  <a:pt x="1278276" y="1268707"/>
                  <a:pt x="1313605" y="1301318"/>
                </a:cubicBezTo>
                <a:cubicBezTo>
                  <a:pt x="1369316" y="1346157"/>
                  <a:pt x="1425027" y="1385562"/>
                  <a:pt x="1482096" y="1412739"/>
                </a:cubicBezTo>
                <a:cubicBezTo>
                  <a:pt x="1537806" y="1438556"/>
                  <a:pt x="1592160" y="1454862"/>
                  <a:pt x="1645152" y="1467092"/>
                </a:cubicBezTo>
                <a:cubicBezTo>
                  <a:pt x="1590800" y="1453503"/>
                  <a:pt x="1537807" y="1435838"/>
                  <a:pt x="1482096" y="1407303"/>
                </a:cubicBezTo>
                <a:cubicBezTo>
                  <a:pt x="1426385" y="1378769"/>
                  <a:pt x="1369316" y="1340723"/>
                  <a:pt x="1314965" y="1294524"/>
                </a:cubicBezTo>
                <a:cubicBezTo>
                  <a:pt x="1285071" y="1267348"/>
                  <a:pt x="1253818" y="1241530"/>
                  <a:pt x="1223925" y="1217072"/>
                </a:cubicBezTo>
                <a:cubicBezTo>
                  <a:pt x="1225284" y="1218431"/>
                  <a:pt x="1226643" y="1217073"/>
                  <a:pt x="1228001" y="1218431"/>
                </a:cubicBezTo>
                <a:cubicBezTo>
                  <a:pt x="1257895" y="1242889"/>
                  <a:pt x="1287788" y="1261913"/>
                  <a:pt x="1317683" y="1278218"/>
                </a:cubicBezTo>
                <a:cubicBezTo>
                  <a:pt x="1363881" y="1302677"/>
                  <a:pt x="1410080" y="1318982"/>
                  <a:pt x="1454921" y="1336646"/>
                </a:cubicBezTo>
                <a:cubicBezTo>
                  <a:pt x="1408721" y="1317624"/>
                  <a:pt x="1363881" y="1299959"/>
                  <a:pt x="1316323" y="1274141"/>
                </a:cubicBezTo>
                <a:cubicBezTo>
                  <a:pt x="1290507" y="1259195"/>
                  <a:pt x="1263330" y="1242889"/>
                  <a:pt x="1237513" y="1222507"/>
                </a:cubicBezTo>
                <a:cubicBezTo>
                  <a:pt x="1253818" y="1227943"/>
                  <a:pt x="1270124" y="1233377"/>
                  <a:pt x="1286429" y="1238813"/>
                </a:cubicBezTo>
                <a:cubicBezTo>
                  <a:pt x="1270124" y="1233377"/>
                  <a:pt x="1253818" y="1227943"/>
                  <a:pt x="1236155" y="1221149"/>
                </a:cubicBezTo>
                <a:cubicBezTo>
                  <a:pt x="1217131" y="1204844"/>
                  <a:pt x="1198107" y="1188538"/>
                  <a:pt x="1180444" y="1168156"/>
                </a:cubicBezTo>
                <a:cubicBezTo>
                  <a:pt x="1160062" y="1145056"/>
                  <a:pt x="1142397" y="1116522"/>
                  <a:pt x="1123374" y="1089345"/>
                </a:cubicBezTo>
                <a:cubicBezTo>
                  <a:pt x="1104351" y="1062170"/>
                  <a:pt x="1081252" y="1039070"/>
                  <a:pt x="1056793" y="1020047"/>
                </a:cubicBezTo>
                <a:cubicBezTo>
                  <a:pt x="1034373" y="1001704"/>
                  <a:pt x="1011953" y="988115"/>
                  <a:pt x="989702" y="975037"/>
                </a:cubicBezTo>
                <a:lnTo>
                  <a:pt x="924091" y="933377"/>
                </a:lnTo>
                <a:lnTo>
                  <a:pt x="1009236" y="920855"/>
                </a:lnTo>
                <a:lnTo>
                  <a:pt x="1008851" y="920552"/>
                </a:lnTo>
                <a:lnTo>
                  <a:pt x="1015651" y="919552"/>
                </a:lnTo>
                <a:lnTo>
                  <a:pt x="1017389" y="920855"/>
                </a:lnTo>
                <a:lnTo>
                  <a:pt x="1018068" y="920855"/>
                </a:lnTo>
                <a:lnTo>
                  <a:pt x="1025813" y="926018"/>
                </a:lnTo>
                <a:lnTo>
                  <a:pt x="1022823" y="926289"/>
                </a:lnTo>
                <a:cubicBezTo>
                  <a:pt x="1094839" y="979283"/>
                  <a:pt x="1168214" y="1022764"/>
                  <a:pt x="1238871" y="1052658"/>
                </a:cubicBezTo>
                <a:cubicBezTo>
                  <a:pt x="1278277" y="1070323"/>
                  <a:pt x="1319041" y="1081193"/>
                  <a:pt x="1357087" y="1089345"/>
                </a:cubicBezTo>
                <a:lnTo>
                  <a:pt x="1347333" y="1080811"/>
                </a:lnTo>
                <a:lnTo>
                  <a:pt x="1351736" y="1081906"/>
                </a:lnTo>
                <a:lnTo>
                  <a:pt x="1361163" y="1090704"/>
                </a:lnTo>
                <a:lnTo>
                  <a:pt x="1367059" y="1091270"/>
                </a:lnTo>
                <a:lnTo>
                  <a:pt x="1418573" y="1143698"/>
                </a:lnTo>
                <a:cubicBezTo>
                  <a:pt x="1437256" y="1164080"/>
                  <a:pt x="1455600" y="1185141"/>
                  <a:pt x="1473943" y="1206202"/>
                </a:cubicBezTo>
                <a:cubicBezTo>
                  <a:pt x="1456279" y="1184462"/>
                  <a:pt x="1437596" y="1163061"/>
                  <a:pt x="1418403" y="1142509"/>
                </a:cubicBezTo>
                <a:lnTo>
                  <a:pt x="1367175" y="1091281"/>
                </a:lnTo>
                <a:lnTo>
                  <a:pt x="1460356" y="1100217"/>
                </a:lnTo>
                <a:lnTo>
                  <a:pt x="1426735" y="1090734"/>
                </a:lnTo>
                <a:lnTo>
                  <a:pt x="1458997" y="1093422"/>
                </a:lnTo>
                <a:cubicBezTo>
                  <a:pt x="1497723" y="1103613"/>
                  <a:pt x="1536109" y="1112105"/>
                  <a:pt x="1574834" y="1122297"/>
                </a:cubicBezTo>
                <a:lnTo>
                  <a:pt x="1628404" y="1137869"/>
                </a:lnTo>
                <a:lnTo>
                  <a:pt x="1692709" y="1161361"/>
                </a:lnTo>
                <a:cubicBezTo>
                  <a:pt x="1672667" y="1152869"/>
                  <a:pt x="1652880" y="1145651"/>
                  <a:pt x="1633262" y="1139282"/>
                </a:cubicBezTo>
                <a:lnTo>
                  <a:pt x="1628404" y="1137869"/>
                </a:lnTo>
                <a:lnTo>
                  <a:pt x="1582987" y="1121278"/>
                </a:lnTo>
                <a:cubicBezTo>
                  <a:pt x="1546979" y="1110747"/>
                  <a:pt x="1511311" y="1102254"/>
                  <a:pt x="1475303" y="1093421"/>
                </a:cubicBezTo>
                <a:cubicBezTo>
                  <a:pt x="1452203" y="1086628"/>
                  <a:pt x="1426385" y="1079834"/>
                  <a:pt x="1403286" y="1073040"/>
                </a:cubicBezTo>
                <a:cubicBezTo>
                  <a:pt x="1385621" y="1066246"/>
                  <a:pt x="1366599" y="1060811"/>
                  <a:pt x="1348934" y="1054017"/>
                </a:cubicBezTo>
                <a:cubicBezTo>
                  <a:pt x="1348934" y="1054017"/>
                  <a:pt x="1348934" y="1054017"/>
                  <a:pt x="1350293" y="1052658"/>
                </a:cubicBezTo>
                <a:cubicBezTo>
                  <a:pt x="1342141" y="1049940"/>
                  <a:pt x="1336705" y="1044505"/>
                  <a:pt x="1344858" y="1041788"/>
                </a:cubicBezTo>
                <a:cubicBezTo>
                  <a:pt x="1327193" y="1024123"/>
                  <a:pt x="1310888" y="1005100"/>
                  <a:pt x="1297300" y="986078"/>
                </a:cubicBezTo>
                <a:cubicBezTo>
                  <a:pt x="1285071" y="1003742"/>
                  <a:pt x="1301377" y="1025482"/>
                  <a:pt x="1319041" y="1040429"/>
                </a:cubicBezTo>
                <a:cubicBezTo>
                  <a:pt x="1312247" y="1036353"/>
                  <a:pt x="1305453" y="1034994"/>
                  <a:pt x="1298659" y="1030917"/>
                </a:cubicBezTo>
                <a:cubicBezTo>
                  <a:pt x="1259254" y="999665"/>
                  <a:pt x="1221208" y="972489"/>
                  <a:pt x="1180444" y="953466"/>
                </a:cubicBezTo>
                <a:cubicBezTo>
                  <a:pt x="1179085" y="952107"/>
                  <a:pt x="1179085" y="952107"/>
                  <a:pt x="1176367" y="952107"/>
                </a:cubicBezTo>
                <a:cubicBezTo>
                  <a:pt x="1153268" y="934442"/>
                  <a:pt x="1128809" y="918137"/>
                  <a:pt x="1107069" y="901831"/>
                </a:cubicBezTo>
                <a:cubicBezTo>
                  <a:pt x="1085327" y="885526"/>
                  <a:pt x="1063587" y="869221"/>
                  <a:pt x="1041847" y="852915"/>
                </a:cubicBezTo>
                <a:cubicBezTo>
                  <a:pt x="1062228" y="862427"/>
                  <a:pt x="1081252" y="870579"/>
                  <a:pt x="1101633" y="880091"/>
                </a:cubicBezTo>
                <a:cubicBezTo>
                  <a:pt x="1149192" y="900473"/>
                  <a:pt x="1195391" y="924931"/>
                  <a:pt x="1244307" y="949390"/>
                </a:cubicBezTo>
                <a:cubicBezTo>
                  <a:pt x="1338064" y="996947"/>
                  <a:pt x="1435897" y="1043147"/>
                  <a:pt x="1525578" y="1059452"/>
                </a:cubicBezTo>
                <a:cubicBezTo>
                  <a:pt x="1435897" y="1040429"/>
                  <a:pt x="1340781" y="994230"/>
                  <a:pt x="1245666" y="945313"/>
                </a:cubicBezTo>
                <a:cubicBezTo>
                  <a:pt x="1198108" y="922214"/>
                  <a:pt x="1150550" y="896397"/>
                  <a:pt x="1102992" y="876014"/>
                </a:cubicBezTo>
                <a:cubicBezTo>
                  <a:pt x="1078534" y="865144"/>
                  <a:pt x="1052716" y="852915"/>
                  <a:pt x="1026900" y="840686"/>
                </a:cubicBezTo>
                <a:cubicBezTo>
                  <a:pt x="1003800" y="823021"/>
                  <a:pt x="982059" y="803999"/>
                  <a:pt x="960319" y="782258"/>
                </a:cubicBezTo>
                <a:cubicBezTo>
                  <a:pt x="911402" y="738776"/>
                  <a:pt x="870638" y="681707"/>
                  <a:pt x="829874" y="624637"/>
                </a:cubicBezTo>
                <a:cubicBezTo>
                  <a:pt x="809493" y="596102"/>
                  <a:pt x="786393" y="567568"/>
                  <a:pt x="761935" y="543110"/>
                </a:cubicBezTo>
                <a:cubicBezTo>
                  <a:pt x="761935" y="543110"/>
                  <a:pt x="761935" y="543110"/>
                  <a:pt x="760576" y="541751"/>
                </a:cubicBezTo>
                <a:cubicBezTo>
                  <a:pt x="761934" y="540392"/>
                  <a:pt x="763293" y="539033"/>
                  <a:pt x="763293" y="536315"/>
                </a:cubicBezTo>
                <a:cubicBezTo>
                  <a:pt x="785034" y="547186"/>
                  <a:pt x="798622" y="560774"/>
                  <a:pt x="808134" y="581156"/>
                </a:cubicBezTo>
                <a:cubicBezTo>
                  <a:pt x="824439" y="573003"/>
                  <a:pt x="831234" y="552621"/>
                  <a:pt x="852974" y="547186"/>
                </a:cubicBezTo>
                <a:cubicBezTo>
                  <a:pt x="842103" y="539033"/>
                  <a:pt x="852974" y="530880"/>
                  <a:pt x="861127" y="522727"/>
                </a:cubicBezTo>
                <a:cubicBezTo>
                  <a:pt x="851615" y="515933"/>
                  <a:pt x="828515" y="500989"/>
                  <a:pt x="827157" y="494196"/>
                </a:cubicBezTo>
                <a:cubicBezTo>
                  <a:pt x="840745" y="488760"/>
                  <a:pt x="848898" y="477890"/>
                  <a:pt x="848898" y="467019"/>
                </a:cubicBezTo>
                <a:cubicBezTo>
                  <a:pt x="874714" y="476531"/>
                  <a:pt x="900531" y="488761"/>
                  <a:pt x="927708" y="499631"/>
                </a:cubicBezTo>
                <a:cubicBezTo>
                  <a:pt x="977304" y="520690"/>
                  <a:pt x="1027579" y="541752"/>
                  <a:pt x="1077685" y="560944"/>
                </a:cubicBezTo>
                <a:lnTo>
                  <a:pt x="1144488" y="583415"/>
                </a:lnTo>
                <a:lnTo>
                  <a:pt x="1223925" y="611049"/>
                </a:lnTo>
                <a:cubicBezTo>
                  <a:pt x="1233437" y="615126"/>
                  <a:pt x="1242949" y="616485"/>
                  <a:pt x="1251101" y="619202"/>
                </a:cubicBezTo>
                <a:lnTo>
                  <a:pt x="1250508" y="617330"/>
                </a:lnTo>
                <a:lnTo>
                  <a:pt x="1252460" y="617843"/>
                </a:lnTo>
                <a:cubicBezTo>
                  <a:pt x="1252460" y="623278"/>
                  <a:pt x="1249743" y="628713"/>
                  <a:pt x="1241589" y="634148"/>
                </a:cubicBezTo>
                <a:cubicBezTo>
                  <a:pt x="1244307" y="655890"/>
                  <a:pt x="1268766" y="669478"/>
                  <a:pt x="1252460" y="685783"/>
                </a:cubicBezTo>
                <a:cubicBezTo>
                  <a:pt x="1266048" y="715677"/>
                  <a:pt x="1274201" y="731982"/>
                  <a:pt x="1290507" y="756440"/>
                </a:cubicBezTo>
                <a:cubicBezTo>
                  <a:pt x="1297300" y="752365"/>
                  <a:pt x="1302736" y="760517"/>
                  <a:pt x="1305453" y="765952"/>
                </a:cubicBezTo>
                <a:cubicBezTo>
                  <a:pt x="1320399" y="767311"/>
                  <a:pt x="1344858" y="770029"/>
                  <a:pt x="1365240" y="774105"/>
                </a:cubicBezTo>
                <a:cubicBezTo>
                  <a:pt x="1369316" y="767311"/>
                  <a:pt x="1373393" y="763235"/>
                  <a:pt x="1378828" y="760517"/>
                </a:cubicBezTo>
                <a:cubicBezTo>
                  <a:pt x="1369316" y="756440"/>
                  <a:pt x="1378828" y="757799"/>
                  <a:pt x="1378828" y="749646"/>
                </a:cubicBezTo>
                <a:cubicBezTo>
                  <a:pt x="1392416" y="752365"/>
                  <a:pt x="1404645" y="764593"/>
                  <a:pt x="1418233" y="767311"/>
                </a:cubicBezTo>
                <a:cubicBezTo>
                  <a:pt x="1415516" y="772746"/>
                  <a:pt x="1415515" y="783617"/>
                  <a:pt x="1420951" y="783616"/>
                </a:cubicBezTo>
                <a:cubicBezTo>
                  <a:pt x="1426385" y="778181"/>
                  <a:pt x="1422309" y="776823"/>
                  <a:pt x="1427745" y="774105"/>
                </a:cubicBezTo>
                <a:cubicBezTo>
                  <a:pt x="1430462" y="782258"/>
                  <a:pt x="1427745" y="782258"/>
                  <a:pt x="1434539" y="789052"/>
                </a:cubicBezTo>
                <a:cubicBezTo>
                  <a:pt x="1439974" y="791769"/>
                  <a:pt x="1438615" y="782258"/>
                  <a:pt x="1441332" y="784975"/>
                </a:cubicBezTo>
                <a:cubicBezTo>
                  <a:pt x="1437257" y="799922"/>
                  <a:pt x="1463073" y="801281"/>
                  <a:pt x="1467149" y="813510"/>
                </a:cubicBezTo>
                <a:cubicBezTo>
                  <a:pt x="1457638" y="820303"/>
                  <a:pt x="1469868" y="827098"/>
                  <a:pt x="1472585" y="832533"/>
                </a:cubicBezTo>
                <a:cubicBezTo>
                  <a:pt x="1460356" y="836610"/>
                  <a:pt x="1475303" y="851557"/>
                  <a:pt x="1471226" y="858350"/>
                </a:cubicBezTo>
                <a:cubicBezTo>
                  <a:pt x="1487532" y="866503"/>
                  <a:pt x="1472584" y="892320"/>
                  <a:pt x="1488890" y="900473"/>
                </a:cubicBezTo>
                <a:cubicBezTo>
                  <a:pt x="1483455" y="900473"/>
                  <a:pt x="1482096" y="907267"/>
                  <a:pt x="1482096" y="909985"/>
                </a:cubicBezTo>
                <a:cubicBezTo>
                  <a:pt x="1484814" y="918137"/>
                  <a:pt x="1488890" y="908626"/>
                  <a:pt x="1491608" y="914061"/>
                </a:cubicBezTo>
                <a:cubicBezTo>
                  <a:pt x="1487532" y="923572"/>
                  <a:pt x="1483455" y="914061"/>
                  <a:pt x="1479379" y="918137"/>
                </a:cubicBezTo>
                <a:cubicBezTo>
                  <a:pt x="1499761" y="924931"/>
                  <a:pt x="1486173" y="957543"/>
                  <a:pt x="1509272" y="950748"/>
                </a:cubicBezTo>
                <a:cubicBezTo>
                  <a:pt x="1507913" y="935802"/>
                  <a:pt x="1506555" y="918137"/>
                  <a:pt x="1497043" y="905908"/>
                </a:cubicBezTo>
                <a:cubicBezTo>
                  <a:pt x="1499761" y="908625"/>
                  <a:pt x="1502479" y="911343"/>
                  <a:pt x="1503837" y="907267"/>
                </a:cubicBezTo>
                <a:cubicBezTo>
                  <a:pt x="1498402" y="899114"/>
                  <a:pt x="1494326" y="903190"/>
                  <a:pt x="1488891" y="903190"/>
                </a:cubicBezTo>
                <a:cubicBezTo>
                  <a:pt x="1497043" y="897755"/>
                  <a:pt x="1492967" y="896397"/>
                  <a:pt x="1487531" y="893679"/>
                </a:cubicBezTo>
                <a:cubicBezTo>
                  <a:pt x="1492967" y="893678"/>
                  <a:pt x="1494325" y="884167"/>
                  <a:pt x="1494326" y="881450"/>
                </a:cubicBezTo>
                <a:cubicBezTo>
                  <a:pt x="1490249" y="882808"/>
                  <a:pt x="1491608" y="870579"/>
                  <a:pt x="1484814" y="871938"/>
                </a:cubicBezTo>
                <a:cubicBezTo>
                  <a:pt x="1492967" y="869221"/>
                  <a:pt x="1479379" y="858350"/>
                  <a:pt x="1487532" y="852915"/>
                </a:cubicBezTo>
                <a:cubicBezTo>
                  <a:pt x="1484814" y="852915"/>
                  <a:pt x="1482096" y="833892"/>
                  <a:pt x="1480738" y="837968"/>
                </a:cubicBezTo>
                <a:cubicBezTo>
                  <a:pt x="1480738" y="837968"/>
                  <a:pt x="1484814" y="836609"/>
                  <a:pt x="1484814" y="836609"/>
                </a:cubicBezTo>
                <a:cubicBezTo>
                  <a:pt x="1483455" y="829815"/>
                  <a:pt x="1471226" y="820303"/>
                  <a:pt x="1479379" y="814869"/>
                </a:cubicBezTo>
                <a:cubicBezTo>
                  <a:pt x="1478020" y="810793"/>
                  <a:pt x="1469868" y="813510"/>
                  <a:pt x="1473944" y="809434"/>
                </a:cubicBezTo>
                <a:cubicBezTo>
                  <a:pt x="1476662" y="806716"/>
                  <a:pt x="1479378" y="812151"/>
                  <a:pt x="1480738" y="808075"/>
                </a:cubicBezTo>
                <a:cubicBezTo>
                  <a:pt x="1480737" y="797204"/>
                  <a:pt x="1479378" y="776823"/>
                  <a:pt x="1465791" y="774105"/>
                </a:cubicBezTo>
                <a:cubicBezTo>
                  <a:pt x="1467149" y="770029"/>
                  <a:pt x="1473943" y="774105"/>
                  <a:pt x="1471226" y="768670"/>
                </a:cubicBezTo>
                <a:cubicBezTo>
                  <a:pt x="1458997" y="772746"/>
                  <a:pt x="1456279" y="756440"/>
                  <a:pt x="1445409" y="761876"/>
                </a:cubicBezTo>
                <a:cubicBezTo>
                  <a:pt x="1449486" y="768670"/>
                  <a:pt x="1463073" y="774105"/>
                  <a:pt x="1456280" y="783617"/>
                </a:cubicBezTo>
                <a:cubicBezTo>
                  <a:pt x="1449485" y="776822"/>
                  <a:pt x="1450844" y="770028"/>
                  <a:pt x="1441332" y="771387"/>
                </a:cubicBezTo>
                <a:cubicBezTo>
                  <a:pt x="1445409" y="767311"/>
                  <a:pt x="1445409" y="756441"/>
                  <a:pt x="1438615" y="760517"/>
                </a:cubicBezTo>
                <a:cubicBezTo>
                  <a:pt x="1441332" y="763234"/>
                  <a:pt x="1442691" y="767311"/>
                  <a:pt x="1441333" y="768670"/>
                </a:cubicBezTo>
                <a:cubicBezTo>
                  <a:pt x="1435897" y="763234"/>
                  <a:pt x="1439974" y="759158"/>
                  <a:pt x="1435897" y="755081"/>
                </a:cubicBezTo>
                <a:cubicBezTo>
                  <a:pt x="1429104" y="759158"/>
                  <a:pt x="1437257" y="764593"/>
                  <a:pt x="1433180" y="768670"/>
                </a:cubicBezTo>
                <a:cubicBezTo>
                  <a:pt x="1427745" y="765952"/>
                  <a:pt x="1430462" y="763235"/>
                  <a:pt x="1427745" y="760517"/>
                </a:cubicBezTo>
                <a:cubicBezTo>
                  <a:pt x="1426385" y="767311"/>
                  <a:pt x="1414157" y="763234"/>
                  <a:pt x="1412798" y="759158"/>
                </a:cubicBezTo>
                <a:cubicBezTo>
                  <a:pt x="1426385" y="759158"/>
                  <a:pt x="1438615" y="752364"/>
                  <a:pt x="1453561" y="751006"/>
                </a:cubicBezTo>
                <a:cubicBezTo>
                  <a:pt x="1457638" y="757799"/>
                  <a:pt x="1458997" y="759158"/>
                  <a:pt x="1467149" y="753723"/>
                </a:cubicBezTo>
                <a:cubicBezTo>
                  <a:pt x="1463073" y="749646"/>
                  <a:pt x="1460356" y="752364"/>
                  <a:pt x="1456279" y="748287"/>
                </a:cubicBezTo>
                <a:cubicBezTo>
                  <a:pt x="1460356" y="744211"/>
                  <a:pt x="1464432" y="751006"/>
                  <a:pt x="1468509" y="746929"/>
                </a:cubicBezTo>
                <a:cubicBezTo>
                  <a:pt x="1461715" y="740135"/>
                  <a:pt x="1457638" y="727906"/>
                  <a:pt x="1467149" y="726547"/>
                </a:cubicBezTo>
                <a:cubicBezTo>
                  <a:pt x="1463073" y="708883"/>
                  <a:pt x="1458997" y="691218"/>
                  <a:pt x="1463074" y="673554"/>
                </a:cubicBezTo>
                <a:cubicBezTo>
                  <a:pt x="1460356" y="665401"/>
                  <a:pt x="1456279" y="655890"/>
                  <a:pt x="1454920" y="646378"/>
                </a:cubicBezTo>
                <a:cubicBezTo>
                  <a:pt x="1450844" y="631431"/>
                  <a:pt x="1448126" y="617843"/>
                  <a:pt x="1445409" y="606973"/>
                </a:cubicBezTo>
                <a:cubicBezTo>
                  <a:pt x="1452203" y="616485"/>
                  <a:pt x="1458997" y="636866"/>
                  <a:pt x="1469868" y="636866"/>
                </a:cubicBezTo>
                <a:cubicBezTo>
                  <a:pt x="1463073" y="624637"/>
                  <a:pt x="1456279" y="612408"/>
                  <a:pt x="1458997" y="601538"/>
                </a:cubicBezTo>
                <a:cubicBezTo>
                  <a:pt x="1464432" y="617843"/>
                  <a:pt x="1465790" y="630073"/>
                  <a:pt x="1482096" y="638226"/>
                </a:cubicBezTo>
                <a:cubicBezTo>
                  <a:pt x="1501120" y="624637"/>
                  <a:pt x="1482096" y="602897"/>
                  <a:pt x="1484814" y="586591"/>
                </a:cubicBezTo>
                <a:cubicBezTo>
                  <a:pt x="1487532" y="589309"/>
                  <a:pt x="1488890" y="598820"/>
                  <a:pt x="1494326" y="596102"/>
                </a:cubicBezTo>
                <a:cubicBezTo>
                  <a:pt x="1480737" y="571644"/>
                  <a:pt x="1487532" y="562133"/>
                  <a:pt x="1497042" y="539033"/>
                </a:cubicBezTo>
                <a:cubicBezTo>
                  <a:pt x="1509272" y="548545"/>
                  <a:pt x="1501120" y="532239"/>
                  <a:pt x="1506555" y="529521"/>
                </a:cubicBezTo>
                <a:cubicBezTo>
                  <a:pt x="1509272" y="534957"/>
                  <a:pt x="1513348" y="539033"/>
                  <a:pt x="1518784" y="544469"/>
                </a:cubicBezTo>
                <a:cubicBezTo>
                  <a:pt x="1524219" y="536316"/>
                  <a:pt x="1520143" y="529522"/>
                  <a:pt x="1514707" y="524086"/>
                </a:cubicBezTo>
                <a:cubicBezTo>
                  <a:pt x="1514707" y="502349"/>
                  <a:pt x="1503837" y="486043"/>
                  <a:pt x="1502478" y="462944"/>
                </a:cubicBezTo>
                <a:cubicBezTo>
                  <a:pt x="1507913" y="471096"/>
                  <a:pt x="1507913" y="479249"/>
                  <a:pt x="1511990" y="488760"/>
                </a:cubicBezTo>
                <a:cubicBezTo>
                  <a:pt x="1517425" y="486043"/>
                  <a:pt x="1510631" y="479249"/>
                  <a:pt x="1516066" y="481967"/>
                </a:cubicBezTo>
                <a:cubicBezTo>
                  <a:pt x="1517426" y="488761"/>
                  <a:pt x="1518784" y="503707"/>
                  <a:pt x="1528296" y="505066"/>
                </a:cubicBezTo>
                <a:cubicBezTo>
                  <a:pt x="1529654" y="490120"/>
                  <a:pt x="1524219" y="476531"/>
                  <a:pt x="1521501" y="460226"/>
                </a:cubicBezTo>
                <a:cubicBezTo>
                  <a:pt x="1532372" y="479249"/>
                  <a:pt x="1540525" y="511860"/>
                  <a:pt x="1560906" y="521369"/>
                </a:cubicBezTo>
                <a:cubicBezTo>
                  <a:pt x="1539166" y="502349"/>
                  <a:pt x="1545959" y="484684"/>
                  <a:pt x="1543243" y="462944"/>
                </a:cubicBezTo>
                <a:cubicBezTo>
                  <a:pt x="1562265" y="438485"/>
                  <a:pt x="1541884" y="418103"/>
                  <a:pt x="1544601" y="396363"/>
                </a:cubicBezTo>
                <a:cubicBezTo>
                  <a:pt x="1541883" y="393645"/>
                  <a:pt x="1539165" y="390928"/>
                  <a:pt x="1536448" y="388210"/>
                </a:cubicBezTo>
                <a:cubicBezTo>
                  <a:pt x="1511990" y="290377"/>
                  <a:pt x="1479378" y="192543"/>
                  <a:pt x="1445409" y="96068"/>
                </a:cubicBezTo>
                <a:cubicBezTo>
                  <a:pt x="1434539" y="93351"/>
                  <a:pt x="1423668" y="77046"/>
                  <a:pt x="1410080" y="68893"/>
                </a:cubicBezTo>
                <a:cubicBezTo>
                  <a:pt x="1407363" y="49869"/>
                  <a:pt x="1388340" y="47152"/>
                  <a:pt x="1380187" y="30846"/>
                </a:cubicBezTo>
                <a:cubicBezTo>
                  <a:pt x="1377809" y="25751"/>
                  <a:pt x="1376620" y="19127"/>
                  <a:pt x="1375664" y="12354"/>
                </a:cubicBezTo>
                <a:close/>
                <a:moveTo>
                  <a:pt x="759619" y="0"/>
                </a:moveTo>
                <a:lnTo>
                  <a:pt x="970645" y="0"/>
                </a:lnTo>
                <a:lnTo>
                  <a:pt x="979512" y="24902"/>
                </a:lnTo>
                <a:cubicBezTo>
                  <a:pt x="982739" y="37640"/>
                  <a:pt x="985457" y="50549"/>
                  <a:pt x="988854" y="60740"/>
                </a:cubicBezTo>
                <a:cubicBezTo>
                  <a:pt x="994968" y="76366"/>
                  <a:pt x="999724" y="91993"/>
                  <a:pt x="1004480" y="107619"/>
                </a:cubicBezTo>
                <a:lnTo>
                  <a:pt x="1019191" y="151754"/>
                </a:lnTo>
                <a:lnTo>
                  <a:pt x="937219" y="149402"/>
                </a:lnTo>
                <a:cubicBezTo>
                  <a:pt x="908685" y="147024"/>
                  <a:pt x="879471" y="142947"/>
                  <a:pt x="850256" y="136832"/>
                </a:cubicBezTo>
                <a:cubicBezTo>
                  <a:pt x="839386" y="134115"/>
                  <a:pt x="828515" y="131397"/>
                  <a:pt x="817645" y="128680"/>
                </a:cubicBezTo>
                <a:lnTo>
                  <a:pt x="818532" y="130036"/>
                </a:lnTo>
                <a:lnTo>
                  <a:pt x="812210" y="128680"/>
                </a:lnTo>
                <a:cubicBezTo>
                  <a:pt x="798622" y="112374"/>
                  <a:pt x="782317" y="101504"/>
                  <a:pt x="767370" y="97427"/>
                </a:cubicBezTo>
                <a:cubicBezTo>
                  <a:pt x="778240" y="81122"/>
                  <a:pt x="774164" y="79763"/>
                  <a:pt x="787752" y="71610"/>
                </a:cubicBezTo>
                <a:cubicBezTo>
                  <a:pt x="782317" y="55305"/>
                  <a:pt x="778240" y="37641"/>
                  <a:pt x="801340" y="36282"/>
                </a:cubicBezTo>
                <a:cubicBezTo>
                  <a:pt x="789110" y="24052"/>
                  <a:pt x="778240" y="34923"/>
                  <a:pt x="768729" y="25411"/>
                </a:cubicBezTo>
                <a:close/>
                <a:moveTo>
                  <a:pt x="598517" y="0"/>
                </a:moveTo>
                <a:lnTo>
                  <a:pt x="620724" y="0"/>
                </a:lnTo>
                <a:lnTo>
                  <a:pt x="646777" y="30847"/>
                </a:lnTo>
                <a:cubicBezTo>
                  <a:pt x="658666" y="46473"/>
                  <a:pt x="668178" y="62099"/>
                  <a:pt x="674971" y="81122"/>
                </a:cubicBezTo>
                <a:cubicBezTo>
                  <a:pt x="646437" y="71610"/>
                  <a:pt x="617902" y="59382"/>
                  <a:pt x="589368" y="47151"/>
                </a:cubicBez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</p:spPr>
        <p:txBody>
          <a:bodyPr wrap="square" lIns="720000" rIns="2088000" bIns="2160000" rtlCol="0" anchor="b">
            <a:noAutofit/>
          </a:bodyPr>
          <a:lstStyle>
            <a:lvl1pPr algn="l">
              <a:defRPr sz="6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r>
              <a:rPr lang="pt-BR" noProof="0"/>
              <a:t>Clique para editar o título da apresentação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C9980B88-3F4A-4688-9ED0-17EF37E62D9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39644" y="4834783"/>
            <a:ext cx="5124443" cy="999487"/>
          </a:xfrm>
        </p:spPr>
        <p:txBody>
          <a:bodyPr rtlCol="0"/>
          <a:lstStyle>
            <a:lvl1pPr marL="0" indent="0" algn="l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rtl="0"/>
            <a:r>
              <a:rPr lang="pt-BR" noProof="0"/>
              <a:t>Clique para editar o estilo de subtítulo Mestre</a:t>
            </a:r>
          </a:p>
        </p:txBody>
      </p:sp>
    </p:spTree>
    <p:extLst>
      <p:ext uri="{BB962C8B-B14F-4D97-AF65-F5344CB8AC3E}">
        <p14:creationId xmlns:p14="http://schemas.microsoft.com/office/powerpoint/2010/main" val="19561512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706E6D59-AED3-4F27-80B9-CFDCD8D016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6600" y="0"/>
            <a:ext cx="5105400" cy="6858000"/>
          </a:xfrm>
          <a:solidFill>
            <a:schemeClr val="bg1">
              <a:lumMod val="95000"/>
              <a:alpha val="50000"/>
            </a:schemeClr>
          </a:solidFill>
        </p:spPr>
        <p:txBody>
          <a:bodyPr vert="horz" lIns="720000" tIns="0" rIns="108000" bIns="2160000" rtlCol="0" anchor="b">
            <a:noAutofit/>
          </a:bodyPr>
          <a:lstStyle>
            <a:lvl1pPr>
              <a:defRPr lang="en-ZA" sz="5000" b="0">
                <a:ea typeface="+mn-ea"/>
                <a:cs typeface="+mn-cs"/>
              </a:defRPr>
            </a:lvl1pPr>
          </a:lstStyle>
          <a:p>
            <a:pPr marL="0" lvl="0" indent="0" rtl="0">
              <a:spcBef>
                <a:spcPts val="1000"/>
              </a:spcBef>
              <a:buClr>
                <a:schemeClr val="accent1"/>
              </a:buClr>
              <a:buFont typeface="Corbel" panose="020B0503020204020204" pitchFamily="34" charset="0"/>
            </a:pPr>
            <a:r>
              <a:rPr lang="pt-BR" noProof="0"/>
              <a:t>Clique para editar o estilo de título Mestre</a:t>
            </a:r>
          </a:p>
        </p:txBody>
      </p:sp>
      <p:sp>
        <p:nvSpPr>
          <p:cNvPr id="2" name="Espaço Reservado para Rodapé 1">
            <a:extLst>
              <a:ext uri="{FF2B5EF4-FFF2-40B4-BE49-F238E27FC236}">
                <a16:creationId xmlns:a16="http://schemas.microsoft.com/office/drawing/2014/main" id="{5CE5A980-FABB-4492-BC75-FA1774A3670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 rtlCol="0"/>
          <a:lstStyle/>
          <a:p>
            <a:pPr rtl="0"/>
            <a:r>
              <a:rPr lang="pt-BR" noProof="0"/>
              <a:t>Adicionar um rodapé</a:t>
            </a:r>
          </a:p>
        </p:txBody>
      </p:sp>
      <p:sp>
        <p:nvSpPr>
          <p:cNvPr id="4" name="Espaço reservado para o número do slide 3">
            <a:extLst>
              <a:ext uri="{FF2B5EF4-FFF2-40B4-BE49-F238E27FC236}">
                <a16:creationId xmlns:a16="http://schemas.microsoft.com/office/drawing/2014/main" id="{B1D58676-E85F-4F30-B1F4-2521D409739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/>
          <a:p>
            <a:pPr rtl="0"/>
            <a:fld id="{19B51A1E-902D-48AF-9020-955120F399B6}" type="slidenum">
              <a:rPr lang="pt-BR" noProof="0" smtClean="0"/>
              <a:pPr rtl="0"/>
              <a:t>‹nº›</a:t>
            </a:fld>
            <a:endParaRPr lang="pt-BR" noProof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C9980B88-3F4A-4688-9ED0-17EF37E62D9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836402" y="4834783"/>
            <a:ext cx="3638852" cy="999487"/>
          </a:xfrm>
        </p:spPr>
        <p:txBody>
          <a:bodyPr rtlCol="0"/>
          <a:lstStyle>
            <a:lvl1pPr marL="0" indent="0" algn="l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rtl="0"/>
            <a:r>
              <a:rPr lang="pt-BR" noProof="0"/>
              <a:t>Clique para editar o estilo de subtítulo Mestre</a:t>
            </a:r>
          </a:p>
        </p:txBody>
      </p:sp>
      <p:sp>
        <p:nvSpPr>
          <p:cNvPr id="8" name="Forma livre: Forma 7">
            <a:extLst>
              <a:ext uri="{FF2B5EF4-FFF2-40B4-BE49-F238E27FC236}">
                <a16:creationId xmlns:a16="http://schemas.microsoft.com/office/drawing/2014/main" id="{1B0A9F0E-ADC2-4EA2-94E8-21A6D1823818}"/>
              </a:ext>
            </a:extLst>
          </p:cNvPr>
          <p:cNvSpPr/>
          <p:nvPr userDrawn="1"/>
        </p:nvSpPr>
        <p:spPr>
          <a:xfrm>
            <a:off x="1101164" y="688675"/>
            <a:ext cx="5610835" cy="5278114"/>
          </a:xfrm>
          <a:custGeom>
            <a:avLst/>
            <a:gdLst>
              <a:gd name="connsiteX0" fmla="*/ 1634002 w 5610835"/>
              <a:gd name="connsiteY0" fmla="*/ 5217421 h 5278114"/>
              <a:gd name="connsiteX1" fmla="*/ 1634002 w 5610835"/>
              <a:gd name="connsiteY1" fmla="*/ 5219012 h 5278114"/>
              <a:gd name="connsiteX2" fmla="*/ 1635593 w 5610835"/>
              <a:gd name="connsiteY2" fmla="*/ 5230146 h 5278114"/>
              <a:gd name="connsiteX3" fmla="*/ 1634002 w 5610835"/>
              <a:gd name="connsiteY3" fmla="*/ 5230146 h 5278114"/>
              <a:gd name="connsiteX4" fmla="*/ 1626047 w 5610835"/>
              <a:gd name="connsiteY4" fmla="*/ 5236509 h 5278114"/>
              <a:gd name="connsiteX5" fmla="*/ 1619685 w 5610835"/>
              <a:gd name="connsiteY5" fmla="*/ 5236509 h 5278114"/>
              <a:gd name="connsiteX6" fmla="*/ 1634002 w 5610835"/>
              <a:gd name="connsiteY6" fmla="*/ 5217421 h 5278114"/>
              <a:gd name="connsiteX7" fmla="*/ 1658004 w 5610835"/>
              <a:gd name="connsiteY7" fmla="*/ 5202541 h 5278114"/>
              <a:gd name="connsiteX8" fmla="*/ 1657862 w 5610835"/>
              <a:gd name="connsiteY8" fmla="*/ 5203104 h 5278114"/>
              <a:gd name="connsiteX9" fmla="*/ 1651499 w 5610835"/>
              <a:gd name="connsiteY9" fmla="*/ 5217421 h 5278114"/>
              <a:gd name="connsiteX10" fmla="*/ 1645137 w 5610835"/>
              <a:gd name="connsiteY10" fmla="*/ 5220602 h 5278114"/>
              <a:gd name="connsiteX11" fmla="*/ 1646728 w 5610835"/>
              <a:gd name="connsiteY11" fmla="*/ 5214240 h 5278114"/>
              <a:gd name="connsiteX12" fmla="*/ 1646728 w 5610835"/>
              <a:gd name="connsiteY12" fmla="*/ 5212649 h 5278114"/>
              <a:gd name="connsiteX13" fmla="*/ 1646728 w 5610835"/>
              <a:gd name="connsiteY13" fmla="*/ 5209467 h 5278114"/>
              <a:gd name="connsiteX14" fmla="*/ 1648319 w 5610835"/>
              <a:gd name="connsiteY14" fmla="*/ 5207876 h 5278114"/>
              <a:gd name="connsiteX15" fmla="*/ 1649909 w 5610835"/>
              <a:gd name="connsiteY15" fmla="*/ 5209467 h 5278114"/>
              <a:gd name="connsiteX16" fmla="*/ 1654681 w 5610835"/>
              <a:gd name="connsiteY16" fmla="*/ 5204893 h 5278114"/>
              <a:gd name="connsiteX17" fmla="*/ 1659454 w 5610835"/>
              <a:gd name="connsiteY17" fmla="*/ 5201513 h 5278114"/>
              <a:gd name="connsiteX18" fmla="*/ 1658004 w 5610835"/>
              <a:gd name="connsiteY18" fmla="*/ 5202541 h 5278114"/>
              <a:gd name="connsiteX19" fmla="*/ 1658245 w 5610835"/>
              <a:gd name="connsiteY19" fmla="*/ 5201575 h 5278114"/>
              <a:gd name="connsiteX20" fmla="*/ 1557647 w 5610835"/>
              <a:gd name="connsiteY20" fmla="*/ 5198332 h 5278114"/>
              <a:gd name="connsiteX21" fmla="*/ 1571965 w 5610835"/>
              <a:gd name="connsiteY21" fmla="*/ 5201514 h 5278114"/>
              <a:gd name="connsiteX22" fmla="*/ 1571965 w 5610835"/>
              <a:gd name="connsiteY22" fmla="*/ 5203105 h 5278114"/>
              <a:gd name="connsiteX23" fmla="*/ 1567191 w 5610835"/>
              <a:gd name="connsiteY23" fmla="*/ 5211059 h 5278114"/>
              <a:gd name="connsiteX24" fmla="*/ 1565600 w 5610835"/>
              <a:gd name="connsiteY24" fmla="*/ 5211059 h 5278114"/>
              <a:gd name="connsiteX25" fmla="*/ 1557647 w 5610835"/>
              <a:gd name="connsiteY25" fmla="*/ 5198332 h 5278114"/>
              <a:gd name="connsiteX26" fmla="*/ 1619685 w 5610835"/>
              <a:gd name="connsiteY26" fmla="*/ 5193560 h 5278114"/>
              <a:gd name="connsiteX27" fmla="*/ 1626049 w 5610835"/>
              <a:gd name="connsiteY27" fmla="*/ 5199923 h 5278114"/>
              <a:gd name="connsiteX28" fmla="*/ 1608550 w 5610835"/>
              <a:gd name="connsiteY28" fmla="*/ 5234920 h 5278114"/>
              <a:gd name="connsiteX29" fmla="*/ 1602187 w 5610835"/>
              <a:gd name="connsiteY29" fmla="*/ 5230147 h 5278114"/>
              <a:gd name="connsiteX30" fmla="*/ 1605368 w 5610835"/>
              <a:gd name="connsiteY30" fmla="*/ 5226966 h 5278114"/>
              <a:gd name="connsiteX31" fmla="*/ 1616504 w 5610835"/>
              <a:gd name="connsiteY31" fmla="*/ 5199923 h 5278114"/>
              <a:gd name="connsiteX32" fmla="*/ 1621275 w 5610835"/>
              <a:gd name="connsiteY32" fmla="*/ 5198332 h 5278114"/>
              <a:gd name="connsiteX33" fmla="*/ 1619685 w 5610835"/>
              <a:gd name="connsiteY33" fmla="*/ 5193560 h 5278114"/>
              <a:gd name="connsiteX34" fmla="*/ 1603777 w 5610835"/>
              <a:gd name="connsiteY34" fmla="*/ 5185606 h 5278114"/>
              <a:gd name="connsiteX35" fmla="*/ 1608549 w 5610835"/>
              <a:gd name="connsiteY35" fmla="*/ 5188788 h 5278114"/>
              <a:gd name="connsiteX36" fmla="*/ 1608549 w 5610835"/>
              <a:gd name="connsiteY36" fmla="*/ 5193560 h 5278114"/>
              <a:gd name="connsiteX37" fmla="*/ 1613323 w 5610835"/>
              <a:gd name="connsiteY37" fmla="*/ 5191969 h 5278114"/>
              <a:gd name="connsiteX38" fmla="*/ 1614913 w 5610835"/>
              <a:gd name="connsiteY38" fmla="*/ 5193560 h 5278114"/>
              <a:gd name="connsiteX39" fmla="*/ 1605368 w 5610835"/>
              <a:gd name="connsiteY39" fmla="*/ 5207877 h 5278114"/>
              <a:gd name="connsiteX40" fmla="*/ 1603777 w 5610835"/>
              <a:gd name="connsiteY40" fmla="*/ 5206286 h 5278114"/>
              <a:gd name="connsiteX41" fmla="*/ 1602187 w 5610835"/>
              <a:gd name="connsiteY41" fmla="*/ 5207877 h 5278114"/>
              <a:gd name="connsiteX42" fmla="*/ 1603777 w 5610835"/>
              <a:gd name="connsiteY42" fmla="*/ 5211059 h 5278114"/>
              <a:gd name="connsiteX43" fmla="*/ 1595823 w 5610835"/>
              <a:gd name="connsiteY43" fmla="*/ 5222193 h 5278114"/>
              <a:gd name="connsiteX44" fmla="*/ 1595823 w 5610835"/>
              <a:gd name="connsiteY44" fmla="*/ 5223784 h 5278114"/>
              <a:gd name="connsiteX45" fmla="*/ 1589461 w 5610835"/>
              <a:gd name="connsiteY45" fmla="*/ 5219012 h 5278114"/>
              <a:gd name="connsiteX46" fmla="*/ 1603777 w 5610835"/>
              <a:gd name="connsiteY46" fmla="*/ 5187198 h 5278114"/>
              <a:gd name="connsiteX47" fmla="*/ 1603777 w 5610835"/>
              <a:gd name="connsiteY47" fmla="*/ 5185606 h 5278114"/>
              <a:gd name="connsiteX48" fmla="*/ 1552874 w 5610835"/>
              <a:gd name="connsiteY48" fmla="*/ 5182425 h 5278114"/>
              <a:gd name="connsiteX49" fmla="*/ 1568782 w 5610835"/>
              <a:gd name="connsiteY49" fmla="*/ 5182425 h 5278114"/>
              <a:gd name="connsiteX50" fmla="*/ 1570373 w 5610835"/>
              <a:gd name="connsiteY50" fmla="*/ 5185607 h 5278114"/>
              <a:gd name="connsiteX51" fmla="*/ 1568782 w 5610835"/>
              <a:gd name="connsiteY51" fmla="*/ 5188788 h 5278114"/>
              <a:gd name="connsiteX52" fmla="*/ 1570373 w 5610835"/>
              <a:gd name="connsiteY52" fmla="*/ 5193560 h 5278114"/>
              <a:gd name="connsiteX53" fmla="*/ 1552874 w 5610835"/>
              <a:gd name="connsiteY53" fmla="*/ 5182425 h 5278114"/>
              <a:gd name="connsiteX54" fmla="*/ 1629230 w 5610835"/>
              <a:gd name="connsiteY54" fmla="*/ 5176062 h 5278114"/>
              <a:gd name="connsiteX55" fmla="*/ 1630821 w 5610835"/>
              <a:gd name="connsiteY55" fmla="*/ 5193560 h 5278114"/>
              <a:gd name="connsiteX56" fmla="*/ 1624458 w 5610835"/>
              <a:gd name="connsiteY56" fmla="*/ 5185607 h 5278114"/>
              <a:gd name="connsiteX57" fmla="*/ 1626049 w 5610835"/>
              <a:gd name="connsiteY57" fmla="*/ 5180834 h 5278114"/>
              <a:gd name="connsiteX58" fmla="*/ 1629230 w 5610835"/>
              <a:gd name="connsiteY58" fmla="*/ 5176062 h 5278114"/>
              <a:gd name="connsiteX59" fmla="*/ 1622867 w 5610835"/>
              <a:gd name="connsiteY59" fmla="*/ 5172880 h 5278114"/>
              <a:gd name="connsiteX60" fmla="*/ 1618095 w 5610835"/>
              <a:gd name="connsiteY60" fmla="*/ 5184016 h 5278114"/>
              <a:gd name="connsiteX61" fmla="*/ 1616504 w 5610835"/>
              <a:gd name="connsiteY61" fmla="*/ 5182425 h 5278114"/>
              <a:gd name="connsiteX62" fmla="*/ 1610141 w 5610835"/>
              <a:gd name="connsiteY62" fmla="*/ 5177653 h 5278114"/>
              <a:gd name="connsiteX63" fmla="*/ 1610141 w 5610835"/>
              <a:gd name="connsiteY63" fmla="*/ 5174471 h 5278114"/>
              <a:gd name="connsiteX64" fmla="*/ 1622867 w 5610835"/>
              <a:gd name="connsiteY64" fmla="*/ 5172880 h 5278114"/>
              <a:gd name="connsiteX65" fmla="*/ 1637183 w 5610835"/>
              <a:gd name="connsiteY65" fmla="*/ 5172879 h 5278114"/>
              <a:gd name="connsiteX66" fmla="*/ 1664226 w 5610835"/>
              <a:gd name="connsiteY66" fmla="*/ 5177653 h 5278114"/>
              <a:gd name="connsiteX67" fmla="*/ 1658245 w 5610835"/>
              <a:gd name="connsiteY67" fmla="*/ 5201575 h 5278114"/>
              <a:gd name="connsiteX68" fmla="*/ 1651699 w 5610835"/>
              <a:gd name="connsiteY68" fmla="*/ 5201911 h 5278114"/>
              <a:gd name="connsiteX69" fmla="*/ 1645137 w 5610835"/>
              <a:gd name="connsiteY69" fmla="*/ 5204695 h 5278114"/>
              <a:gd name="connsiteX70" fmla="*/ 1653090 w 5610835"/>
              <a:gd name="connsiteY70" fmla="*/ 5190379 h 5278114"/>
              <a:gd name="connsiteX71" fmla="*/ 1641955 w 5610835"/>
              <a:gd name="connsiteY71" fmla="*/ 5191969 h 5278114"/>
              <a:gd name="connsiteX72" fmla="*/ 1637183 w 5610835"/>
              <a:gd name="connsiteY72" fmla="*/ 5172879 h 5278114"/>
              <a:gd name="connsiteX73" fmla="*/ 1109060 w 5610835"/>
              <a:gd name="connsiteY73" fmla="*/ 5169698 h 5278114"/>
              <a:gd name="connsiteX74" fmla="*/ 1121786 w 5610835"/>
              <a:gd name="connsiteY74" fmla="*/ 5179244 h 5278114"/>
              <a:gd name="connsiteX75" fmla="*/ 1121786 w 5610835"/>
              <a:gd name="connsiteY75" fmla="*/ 5199923 h 5278114"/>
              <a:gd name="connsiteX76" fmla="*/ 1112242 w 5610835"/>
              <a:gd name="connsiteY76" fmla="*/ 5188788 h 5278114"/>
              <a:gd name="connsiteX77" fmla="*/ 1109060 w 5610835"/>
              <a:gd name="connsiteY77" fmla="*/ 5169698 h 5278114"/>
              <a:gd name="connsiteX78" fmla="*/ 1613322 w 5610835"/>
              <a:gd name="connsiteY78" fmla="*/ 5158564 h 5278114"/>
              <a:gd name="connsiteX79" fmla="*/ 1618095 w 5610835"/>
              <a:gd name="connsiteY79" fmla="*/ 5160155 h 5278114"/>
              <a:gd name="connsiteX80" fmla="*/ 1622867 w 5610835"/>
              <a:gd name="connsiteY80" fmla="*/ 5163336 h 5278114"/>
              <a:gd name="connsiteX81" fmla="*/ 1624458 w 5610835"/>
              <a:gd name="connsiteY81" fmla="*/ 5168108 h 5278114"/>
              <a:gd name="connsiteX82" fmla="*/ 1610141 w 5610835"/>
              <a:gd name="connsiteY82" fmla="*/ 5168108 h 5278114"/>
              <a:gd name="connsiteX83" fmla="*/ 1613322 w 5610835"/>
              <a:gd name="connsiteY83" fmla="*/ 5158564 h 5278114"/>
              <a:gd name="connsiteX84" fmla="*/ 1570372 w 5610835"/>
              <a:gd name="connsiteY84" fmla="*/ 5158563 h 5278114"/>
              <a:gd name="connsiteX85" fmla="*/ 1591052 w 5610835"/>
              <a:gd name="connsiteY85" fmla="*/ 5172880 h 5278114"/>
              <a:gd name="connsiteX86" fmla="*/ 1587871 w 5610835"/>
              <a:gd name="connsiteY86" fmla="*/ 5176062 h 5278114"/>
              <a:gd name="connsiteX87" fmla="*/ 1586280 w 5610835"/>
              <a:gd name="connsiteY87" fmla="*/ 5174471 h 5278114"/>
              <a:gd name="connsiteX88" fmla="*/ 1584690 w 5610835"/>
              <a:gd name="connsiteY88" fmla="*/ 5180834 h 5278114"/>
              <a:gd name="connsiteX89" fmla="*/ 1576735 w 5610835"/>
              <a:gd name="connsiteY89" fmla="*/ 5195150 h 5278114"/>
              <a:gd name="connsiteX90" fmla="*/ 1575144 w 5610835"/>
              <a:gd name="connsiteY90" fmla="*/ 5180834 h 5278114"/>
              <a:gd name="connsiteX91" fmla="*/ 1579917 w 5610835"/>
              <a:gd name="connsiteY91" fmla="*/ 5179244 h 5278114"/>
              <a:gd name="connsiteX92" fmla="*/ 1573553 w 5610835"/>
              <a:gd name="connsiteY92" fmla="*/ 5177653 h 5278114"/>
              <a:gd name="connsiteX93" fmla="*/ 1570372 w 5610835"/>
              <a:gd name="connsiteY93" fmla="*/ 5158563 h 5278114"/>
              <a:gd name="connsiteX94" fmla="*/ 1540148 w 5610835"/>
              <a:gd name="connsiteY94" fmla="*/ 5152201 h 5278114"/>
              <a:gd name="connsiteX95" fmla="*/ 1564010 w 5610835"/>
              <a:gd name="connsiteY95" fmla="*/ 5155383 h 5278114"/>
              <a:gd name="connsiteX96" fmla="*/ 1562418 w 5610835"/>
              <a:gd name="connsiteY96" fmla="*/ 5164926 h 5278114"/>
              <a:gd name="connsiteX97" fmla="*/ 1567191 w 5610835"/>
              <a:gd name="connsiteY97" fmla="*/ 5174471 h 5278114"/>
              <a:gd name="connsiteX98" fmla="*/ 1541739 w 5610835"/>
              <a:gd name="connsiteY98" fmla="*/ 5156973 h 5278114"/>
              <a:gd name="connsiteX99" fmla="*/ 1540148 w 5610835"/>
              <a:gd name="connsiteY99" fmla="*/ 5152201 h 5278114"/>
              <a:gd name="connsiteX100" fmla="*/ 1575144 w 5610835"/>
              <a:gd name="connsiteY100" fmla="*/ 5147429 h 5278114"/>
              <a:gd name="connsiteX101" fmla="*/ 1599006 w 5610835"/>
              <a:gd name="connsiteY101" fmla="*/ 5150610 h 5278114"/>
              <a:gd name="connsiteX102" fmla="*/ 1600597 w 5610835"/>
              <a:gd name="connsiteY102" fmla="*/ 5152201 h 5278114"/>
              <a:gd name="connsiteX103" fmla="*/ 1597415 w 5610835"/>
              <a:gd name="connsiteY103" fmla="*/ 5158564 h 5278114"/>
              <a:gd name="connsiteX104" fmla="*/ 1592643 w 5610835"/>
              <a:gd name="connsiteY104" fmla="*/ 5161745 h 5278114"/>
              <a:gd name="connsiteX105" fmla="*/ 1586280 w 5610835"/>
              <a:gd name="connsiteY105" fmla="*/ 5161745 h 5278114"/>
              <a:gd name="connsiteX106" fmla="*/ 1575144 w 5610835"/>
              <a:gd name="connsiteY106" fmla="*/ 5147429 h 5278114"/>
              <a:gd name="connsiteX107" fmla="*/ 1624458 w 5610835"/>
              <a:gd name="connsiteY107" fmla="*/ 5145838 h 5278114"/>
              <a:gd name="connsiteX108" fmla="*/ 1624458 w 5610835"/>
              <a:gd name="connsiteY108" fmla="*/ 5156973 h 5278114"/>
              <a:gd name="connsiteX109" fmla="*/ 1622867 w 5610835"/>
              <a:gd name="connsiteY109" fmla="*/ 5147429 h 5278114"/>
              <a:gd name="connsiteX110" fmla="*/ 1624458 w 5610835"/>
              <a:gd name="connsiteY110" fmla="*/ 5145838 h 5278114"/>
              <a:gd name="connsiteX111" fmla="*/ 1595825 w 5610835"/>
              <a:gd name="connsiteY111" fmla="*/ 5139475 h 5278114"/>
              <a:gd name="connsiteX112" fmla="*/ 1599006 w 5610835"/>
              <a:gd name="connsiteY112" fmla="*/ 5139475 h 5278114"/>
              <a:gd name="connsiteX113" fmla="*/ 1602189 w 5610835"/>
              <a:gd name="connsiteY113" fmla="*/ 5141065 h 5278114"/>
              <a:gd name="connsiteX114" fmla="*/ 1597417 w 5610835"/>
              <a:gd name="connsiteY114" fmla="*/ 5141065 h 5278114"/>
              <a:gd name="connsiteX115" fmla="*/ 1595825 w 5610835"/>
              <a:gd name="connsiteY115" fmla="*/ 5139475 h 5278114"/>
              <a:gd name="connsiteX116" fmla="*/ 1641956 w 5610835"/>
              <a:gd name="connsiteY116" fmla="*/ 5134702 h 5278114"/>
              <a:gd name="connsiteX117" fmla="*/ 1637184 w 5610835"/>
              <a:gd name="connsiteY117" fmla="*/ 5149019 h 5278114"/>
              <a:gd name="connsiteX118" fmla="*/ 1635593 w 5610835"/>
              <a:gd name="connsiteY118" fmla="*/ 5137884 h 5278114"/>
              <a:gd name="connsiteX119" fmla="*/ 1641956 w 5610835"/>
              <a:gd name="connsiteY119" fmla="*/ 5134702 h 5278114"/>
              <a:gd name="connsiteX120" fmla="*/ 1672180 w 5610835"/>
              <a:gd name="connsiteY120" fmla="*/ 5126748 h 5278114"/>
              <a:gd name="connsiteX121" fmla="*/ 1672180 w 5610835"/>
              <a:gd name="connsiteY121" fmla="*/ 5131521 h 5278114"/>
              <a:gd name="connsiteX122" fmla="*/ 1667408 w 5610835"/>
              <a:gd name="connsiteY122" fmla="*/ 5161745 h 5278114"/>
              <a:gd name="connsiteX123" fmla="*/ 1637183 w 5610835"/>
              <a:gd name="connsiteY123" fmla="*/ 5164926 h 5278114"/>
              <a:gd name="connsiteX124" fmla="*/ 1640365 w 5610835"/>
              <a:gd name="connsiteY124" fmla="*/ 5155382 h 5278114"/>
              <a:gd name="connsiteX125" fmla="*/ 1643546 w 5610835"/>
              <a:gd name="connsiteY125" fmla="*/ 5149019 h 5278114"/>
              <a:gd name="connsiteX126" fmla="*/ 1648319 w 5610835"/>
              <a:gd name="connsiteY126" fmla="*/ 5142656 h 5278114"/>
              <a:gd name="connsiteX127" fmla="*/ 1648319 w 5610835"/>
              <a:gd name="connsiteY127" fmla="*/ 5134702 h 5278114"/>
              <a:gd name="connsiteX128" fmla="*/ 1648319 w 5610835"/>
              <a:gd name="connsiteY128" fmla="*/ 5131521 h 5278114"/>
              <a:gd name="connsiteX129" fmla="*/ 1653090 w 5610835"/>
              <a:gd name="connsiteY129" fmla="*/ 5128340 h 5278114"/>
              <a:gd name="connsiteX130" fmla="*/ 1672180 w 5610835"/>
              <a:gd name="connsiteY130" fmla="*/ 5126748 h 5278114"/>
              <a:gd name="connsiteX131" fmla="*/ 1611732 w 5610835"/>
              <a:gd name="connsiteY131" fmla="*/ 5125158 h 5278114"/>
              <a:gd name="connsiteX132" fmla="*/ 1611732 w 5610835"/>
              <a:gd name="connsiteY132" fmla="*/ 5126749 h 5278114"/>
              <a:gd name="connsiteX133" fmla="*/ 1611732 w 5610835"/>
              <a:gd name="connsiteY133" fmla="*/ 5125158 h 5278114"/>
              <a:gd name="connsiteX134" fmla="*/ 1575145 w 5610835"/>
              <a:gd name="connsiteY134" fmla="*/ 5125158 h 5278114"/>
              <a:gd name="connsiteX135" fmla="*/ 1586280 w 5610835"/>
              <a:gd name="connsiteY135" fmla="*/ 5137884 h 5278114"/>
              <a:gd name="connsiteX136" fmla="*/ 1573554 w 5610835"/>
              <a:gd name="connsiteY136" fmla="*/ 5131521 h 5278114"/>
              <a:gd name="connsiteX137" fmla="*/ 1573554 w 5610835"/>
              <a:gd name="connsiteY137" fmla="*/ 5129931 h 5278114"/>
              <a:gd name="connsiteX138" fmla="*/ 1575145 w 5610835"/>
              <a:gd name="connsiteY138" fmla="*/ 5125158 h 5278114"/>
              <a:gd name="connsiteX139" fmla="*/ 1565601 w 5610835"/>
              <a:gd name="connsiteY139" fmla="*/ 5115614 h 5278114"/>
              <a:gd name="connsiteX140" fmla="*/ 1571965 w 5610835"/>
              <a:gd name="connsiteY140" fmla="*/ 5121977 h 5278114"/>
              <a:gd name="connsiteX141" fmla="*/ 1567192 w 5610835"/>
              <a:gd name="connsiteY141" fmla="*/ 5126749 h 5278114"/>
              <a:gd name="connsiteX142" fmla="*/ 1565601 w 5610835"/>
              <a:gd name="connsiteY142" fmla="*/ 5115614 h 5278114"/>
              <a:gd name="connsiteX143" fmla="*/ 1223592 w 5610835"/>
              <a:gd name="connsiteY143" fmla="*/ 5114022 h 5278114"/>
              <a:gd name="connsiteX144" fmla="*/ 1233137 w 5610835"/>
              <a:gd name="connsiteY144" fmla="*/ 5115613 h 5278114"/>
              <a:gd name="connsiteX145" fmla="*/ 1247454 w 5610835"/>
              <a:gd name="connsiteY145" fmla="*/ 5155383 h 5278114"/>
              <a:gd name="connsiteX146" fmla="*/ 1222001 w 5610835"/>
              <a:gd name="connsiteY146" fmla="*/ 5133112 h 5278114"/>
              <a:gd name="connsiteX147" fmla="*/ 1223592 w 5610835"/>
              <a:gd name="connsiteY147" fmla="*/ 5114022 h 5278114"/>
              <a:gd name="connsiteX148" fmla="*/ 1203908 w 5610835"/>
              <a:gd name="connsiteY148" fmla="*/ 5108058 h 5278114"/>
              <a:gd name="connsiteX149" fmla="*/ 1207685 w 5610835"/>
              <a:gd name="connsiteY149" fmla="*/ 5109251 h 5278114"/>
              <a:gd name="connsiteX150" fmla="*/ 1201323 w 5610835"/>
              <a:gd name="connsiteY150" fmla="*/ 5109251 h 5278114"/>
              <a:gd name="connsiteX151" fmla="*/ 1203908 w 5610835"/>
              <a:gd name="connsiteY151" fmla="*/ 5108058 h 5278114"/>
              <a:gd name="connsiteX152" fmla="*/ 1599006 w 5610835"/>
              <a:gd name="connsiteY152" fmla="*/ 5106069 h 5278114"/>
              <a:gd name="connsiteX153" fmla="*/ 1597415 w 5610835"/>
              <a:gd name="connsiteY153" fmla="*/ 5107660 h 5278114"/>
              <a:gd name="connsiteX154" fmla="*/ 1600597 w 5610835"/>
              <a:gd name="connsiteY154" fmla="*/ 5112432 h 5278114"/>
              <a:gd name="connsiteX155" fmla="*/ 1597415 w 5610835"/>
              <a:gd name="connsiteY155" fmla="*/ 5109250 h 5278114"/>
              <a:gd name="connsiteX156" fmla="*/ 1595825 w 5610835"/>
              <a:gd name="connsiteY156" fmla="*/ 5112432 h 5278114"/>
              <a:gd name="connsiteX157" fmla="*/ 1600597 w 5610835"/>
              <a:gd name="connsiteY157" fmla="*/ 5118795 h 5278114"/>
              <a:gd name="connsiteX158" fmla="*/ 1595825 w 5610835"/>
              <a:gd name="connsiteY158" fmla="*/ 5117204 h 5278114"/>
              <a:gd name="connsiteX159" fmla="*/ 1599006 w 5610835"/>
              <a:gd name="connsiteY159" fmla="*/ 5128340 h 5278114"/>
              <a:gd name="connsiteX160" fmla="*/ 1578326 w 5610835"/>
              <a:gd name="connsiteY160" fmla="*/ 5121977 h 5278114"/>
              <a:gd name="connsiteX161" fmla="*/ 1599006 w 5610835"/>
              <a:gd name="connsiteY161" fmla="*/ 5106069 h 5278114"/>
              <a:gd name="connsiteX162" fmla="*/ 1233137 w 5610835"/>
              <a:gd name="connsiteY162" fmla="*/ 5104479 h 5278114"/>
              <a:gd name="connsiteX163" fmla="*/ 1233137 w 5610835"/>
              <a:gd name="connsiteY163" fmla="*/ 5107660 h 5278114"/>
              <a:gd name="connsiteX164" fmla="*/ 1229956 w 5610835"/>
              <a:gd name="connsiteY164" fmla="*/ 5107660 h 5278114"/>
              <a:gd name="connsiteX165" fmla="*/ 1233137 w 5610835"/>
              <a:gd name="connsiteY165" fmla="*/ 5104479 h 5278114"/>
              <a:gd name="connsiteX166" fmla="*/ 1641161 w 5610835"/>
              <a:gd name="connsiteY166" fmla="*/ 5103285 h 5278114"/>
              <a:gd name="connsiteX167" fmla="*/ 1646728 w 5610835"/>
              <a:gd name="connsiteY167" fmla="*/ 5109250 h 5278114"/>
              <a:gd name="connsiteX168" fmla="*/ 1637183 w 5610835"/>
              <a:gd name="connsiteY168" fmla="*/ 5128340 h 5278114"/>
              <a:gd name="connsiteX169" fmla="*/ 1632411 w 5610835"/>
              <a:gd name="connsiteY169" fmla="*/ 5126749 h 5278114"/>
              <a:gd name="connsiteX170" fmla="*/ 1630820 w 5610835"/>
              <a:gd name="connsiteY170" fmla="*/ 5115614 h 5278114"/>
              <a:gd name="connsiteX171" fmla="*/ 1635592 w 5610835"/>
              <a:gd name="connsiteY171" fmla="*/ 5104479 h 5278114"/>
              <a:gd name="connsiteX172" fmla="*/ 1641161 w 5610835"/>
              <a:gd name="connsiteY172" fmla="*/ 5103285 h 5278114"/>
              <a:gd name="connsiteX173" fmla="*/ 1673771 w 5610835"/>
              <a:gd name="connsiteY173" fmla="*/ 5096525 h 5278114"/>
              <a:gd name="connsiteX174" fmla="*/ 1673771 w 5610835"/>
              <a:gd name="connsiteY174" fmla="*/ 5114024 h 5278114"/>
              <a:gd name="connsiteX175" fmla="*/ 1653090 w 5610835"/>
              <a:gd name="connsiteY175" fmla="*/ 5121978 h 5278114"/>
              <a:gd name="connsiteX176" fmla="*/ 1661043 w 5610835"/>
              <a:gd name="connsiteY176" fmla="*/ 5101298 h 5278114"/>
              <a:gd name="connsiteX177" fmla="*/ 1664226 w 5610835"/>
              <a:gd name="connsiteY177" fmla="*/ 5098117 h 5278114"/>
              <a:gd name="connsiteX178" fmla="*/ 1673771 w 5610835"/>
              <a:gd name="connsiteY178" fmla="*/ 5096525 h 5278114"/>
              <a:gd name="connsiteX179" fmla="*/ 1529013 w 5610835"/>
              <a:gd name="connsiteY179" fmla="*/ 5096525 h 5278114"/>
              <a:gd name="connsiteX180" fmla="*/ 1544921 w 5610835"/>
              <a:gd name="connsiteY180" fmla="*/ 5096525 h 5278114"/>
              <a:gd name="connsiteX181" fmla="*/ 1560830 w 5610835"/>
              <a:gd name="connsiteY181" fmla="*/ 5110842 h 5278114"/>
              <a:gd name="connsiteX182" fmla="*/ 1557647 w 5610835"/>
              <a:gd name="connsiteY182" fmla="*/ 5112433 h 5278114"/>
              <a:gd name="connsiteX183" fmla="*/ 1562419 w 5610835"/>
              <a:gd name="connsiteY183" fmla="*/ 5131521 h 5278114"/>
              <a:gd name="connsiteX184" fmla="*/ 1548102 w 5610835"/>
              <a:gd name="connsiteY184" fmla="*/ 5141066 h 5278114"/>
              <a:gd name="connsiteX185" fmla="*/ 1541739 w 5610835"/>
              <a:gd name="connsiteY185" fmla="*/ 5141066 h 5278114"/>
              <a:gd name="connsiteX186" fmla="*/ 1533785 w 5610835"/>
              <a:gd name="connsiteY186" fmla="*/ 5110842 h 5278114"/>
              <a:gd name="connsiteX187" fmla="*/ 1529013 w 5610835"/>
              <a:gd name="connsiteY187" fmla="*/ 5096525 h 5278114"/>
              <a:gd name="connsiteX188" fmla="*/ 1559237 w 5610835"/>
              <a:gd name="connsiteY188" fmla="*/ 5093344 h 5278114"/>
              <a:gd name="connsiteX189" fmla="*/ 1559237 w 5610835"/>
              <a:gd name="connsiteY189" fmla="*/ 5101298 h 5278114"/>
              <a:gd name="connsiteX190" fmla="*/ 1551283 w 5610835"/>
              <a:gd name="connsiteY190" fmla="*/ 5094935 h 5278114"/>
              <a:gd name="connsiteX191" fmla="*/ 1559237 w 5610835"/>
              <a:gd name="connsiteY191" fmla="*/ 5093344 h 5278114"/>
              <a:gd name="connsiteX192" fmla="*/ 1540150 w 5610835"/>
              <a:gd name="connsiteY192" fmla="*/ 5085390 h 5278114"/>
              <a:gd name="connsiteX193" fmla="*/ 1541739 w 5610835"/>
              <a:gd name="connsiteY193" fmla="*/ 5086981 h 5278114"/>
              <a:gd name="connsiteX194" fmla="*/ 1538558 w 5610835"/>
              <a:gd name="connsiteY194" fmla="*/ 5086981 h 5278114"/>
              <a:gd name="connsiteX195" fmla="*/ 1540150 w 5610835"/>
              <a:gd name="connsiteY195" fmla="*/ 5085390 h 5278114"/>
              <a:gd name="connsiteX196" fmla="*/ 1559237 w 5610835"/>
              <a:gd name="connsiteY196" fmla="*/ 5075846 h 5278114"/>
              <a:gd name="connsiteX197" fmla="*/ 1560828 w 5610835"/>
              <a:gd name="connsiteY197" fmla="*/ 5085390 h 5278114"/>
              <a:gd name="connsiteX198" fmla="*/ 1548101 w 5610835"/>
              <a:gd name="connsiteY198" fmla="*/ 5088572 h 5278114"/>
              <a:gd name="connsiteX199" fmla="*/ 1544920 w 5610835"/>
              <a:gd name="connsiteY199" fmla="*/ 5082209 h 5278114"/>
              <a:gd name="connsiteX200" fmla="*/ 1559237 w 5610835"/>
              <a:gd name="connsiteY200" fmla="*/ 5075846 h 5278114"/>
              <a:gd name="connsiteX201" fmla="*/ 1271314 w 5610835"/>
              <a:gd name="connsiteY201" fmla="*/ 5072664 h 5278114"/>
              <a:gd name="connsiteX202" fmla="*/ 1288813 w 5610835"/>
              <a:gd name="connsiteY202" fmla="*/ 5125159 h 5278114"/>
              <a:gd name="connsiteX203" fmla="*/ 1282451 w 5610835"/>
              <a:gd name="connsiteY203" fmla="*/ 5231738 h 5278114"/>
              <a:gd name="connsiteX204" fmla="*/ 1268132 w 5610835"/>
              <a:gd name="connsiteY204" fmla="*/ 5188788 h 5278114"/>
              <a:gd name="connsiteX205" fmla="*/ 1253816 w 5610835"/>
              <a:gd name="connsiteY205" fmla="*/ 5147429 h 5278114"/>
              <a:gd name="connsiteX206" fmla="*/ 1253816 w 5610835"/>
              <a:gd name="connsiteY206" fmla="*/ 5141066 h 5278114"/>
              <a:gd name="connsiteX207" fmla="*/ 1249044 w 5610835"/>
              <a:gd name="connsiteY207" fmla="*/ 5136293 h 5278114"/>
              <a:gd name="connsiteX208" fmla="*/ 1239499 w 5610835"/>
              <a:gd name="connsiteY208" fmla="*/ 5098116 h 5278114"/>
              <a:gd name="connsiteX209" fmla="*/ 1271314 w 5610835"/>
              <a:gd name="connsiteY209" fmla="*/ 5072664 h 5278114"/>
              <a:gd name="connsiteX210" fmla="*/ 1562418 w 5610835"/>
              <a:gd name="connsiteY210" fmla="*/ 5064710 h 5278114"/>
              <a:gd name="connsiteX211" fmla="*/ 1599006 w 5610835"/>
              <a:gd name="connsiteY211" fmla="*/ 5079026 h 5278114"/>
              <a:gd name="connsiteX212" fmla="*/ 1610142 w 5610835"/>
              <a:gd name="connsiteY212" fmla="*/ 5090162 h 5278114"/>
              <a:gd name="connsiteX213" fmla="*/ 1616504 w 5610835"/>
              <a:gd name="connsiteY213" fmla="*/ 5114022 h 5278114"/>
              <a:gd name="connsiteX214" fmla="*/ 1608551 w 5610835"/>
              <a:gd name="connsiteY214" fmla="*/ 5110841 h 5278114"/>
              <a:gd name="connsiteX215" fmla="*/ 1605369 w 5610835"/>
              <a:gd name="connsiteY215" fmla="*/ 5101297 h 5278114"/>
              <a:gd name="connsiteX216" fmla="*/ 1573553 w 5610835"/>
              <a:gd name="connsiteY216" fmla="*/ 5120385 h 5278114"/>
              <a:gd name="connsiteX217" fmla="*/ 1565600 w 5610835"/>
              <a:gd name="connsiteY217" fmla="*/ 5112432 h 5278114"/>
              <a:gd name="connsiteX218" fmla="*/ 1567190 w 5610835"/>
              <a:gd name="connsiteY218" fmla="*/ 5093343 h 5278114"/>
              <a:gd name="connsiteX219" fmla="*/ 1565600 w 5610835"/>
              <a:gd name="connsiteY219" fmla="*/ 5090162 h 5278114"/>
              <a:gd name="connsiteX220" fmla="*/ 1567190 w 5610835"/>
              <a:gd name="connsiteY220" fmla="*/ 5088571 h 5278114"/>
              <a:gd name="connsiteX221" fmla="*/ 1564009 w 5610835"/>
              <a:gd name="connsiteY221" fmla="*/ 5086980 h 5278114"/>
              <a:gd name="connsiteX222" fmla="*/ 1562418 w 5610835"/>
              <a:gd name="connsiteY222" fmla="*/ 5077436 h 5278114"/>
              <a:gd name="connsiteX223" fmla="*/ 1575144 w 5610835"/>
              <a:gd name="connsiteY223" fmla="*/ 5077436 h 5278114"/>
              <a:gd name="connsiteX224" fmla="*/ 1562418 w 5610835"/>
              <a:gd name="connsiteY224" fmla="*/ 5072664 h 5278114"/>
              <a:gd name="connsiteX225" fmla="*/ 1562418 w 5610835"/>
              <a:gd name="connsiteY225" fmla="*/ 5064710 h 5278114"/>
              <a:gd name="connsiteX226" fmla="*/ 1255408 w 5610835"/>
              <a:gd name="connsiteY226" fmla="*/ 5063119 h 5278114"/>
              <a:gd name="connsiteX227" fmla="*/ 1237909 w 5610835"/>
              <a:gd name="connsiteY227" fmla="*/ 5088572 h 5278114"/>
              <a:gd name="connsiteX228" fmla="*/ 1241090 w 5610835"/>
              <a:gd name="connsiteY228" fmla="*/ 5074255 h 5278114"/>
              <a:gd name="connsiteX229" fmla="*/ 1255408 w 5610835"/>
              <a:gd name="connsiteY229" fmla="*/ 5063119 h 5278114"/>
              <a:gd name="connsiteX230" fmla="*/ 1672179 w 5610835"/>
              <a:gd name="connsiteY230" fmla="*/ 5059938 h 5278114"/>
              <a:gd name="connsiteX231" fmla="*/ 1673770 w 5610835"/>
              <a:gd name="connsiteY231" fmla="*/ 5090163 h 5278114"/>
              <a:gd name="connsiteX232" fmla="*/ 1668998 w 5610835"/>
              <a:gd name="connsiteY232" fmla="*/ 5088572 h 5278114"/>
              <a:gd name="connsiteX233" fmla="*/ 1668998 w 5610835"/>
              <a:gd name="connsiteY233" fmla="*/ 5086981 h 5278114"/>
              <a:gd name="connsiteX234" fmla="*/ 1667406 w 5610835"/>
              <a:gd name="connsiteY234" fmla="*/ 5088572 h 5278114"/>
              <a:gd name="connsiteX235" fmla="*/ 1664226 w 5610835"/>
              <a:gd name="connsiteY235" fmla="*/ 5086981 h 5278114"/>
              <a:gd name="connsiteX236" fmla="*/ 1668998 w 5610835"/>
              <a:gd name="connsiteY236" fmla="*/ 5069483 h 5278114"/>
              <a:gd name="connsiteX237" fmla="*/ 1672179 w 5610835"/>
              <a:gd name="connsiteY237" fmla="*/ 5059938 h 5278114"/>
              <a:gd name="connsiteX238" fmla="*/ 1524242 w 5610835"/>
              <a:gd name="connsiteY238" fmla="*/ 5058348 h 5278114"/>
              <a:gd name="connsiteX239" fmla="*/ 1527423 w 5610835"/>
              <a:gd name="connsiteY239" fmla="*/ 5064711 h 5278114"/>
              <a:gd name="connsiteX240" fmla="*/ 1524242 w 5610835"/>
              <a:gd name="connsiteY240" fmla="*/ 5067893 h 5278114"/>
              <a:gd name="connsiteX241" fmla="*/ 1524242 w 5610835"/>
              <a:gd name="connsiteY241" fmla="*/ 5058348 h 5278114"/>
              <a:gd name="connsiteX242" fmla="*/ 1649909 w 5610835"/>
              <a:gd name="connsiteY242" fmla="*/ 5051985 h 5278114"/>
              <a:gd name="connsiteX243" fmla="*/ 1654681 w 5610835"/>
              <a:gd name="connsiteY243" fmla="*/ 5053575 h 5278114"/>
              <a:gd name="connsiteX244" fmla="*/ 1648319 w 5610835"/>
              <a:gd name="connsiteY244" fmla="*/ 5063120 h 5278114"/>
              <a:gd name="connsiteX245" fmla="*/ 1646728 w 5610835"/>
              <a:gd name="connsiteY245" fmla="*/ 5059939 h 5278114"/>
              <a:gd name="connsiteX246" fmla="*/ 1649909 w 5610835"/>
              <a:gd name="connsiteY246" fmla="*/ 5051985 h 5278114"/>
              <a:gd name="connsiteX247" fmla="*/ 1668998 w 5610835"/>
              <a:gd name="connsiteY247" fmla="*/ 5048802 h 5278114"/>
              <a:gd name="connsiteX248" fmla="*/ 1656271 w 5610835"/>
              <a:gd name="connsiteY248" fmla="*/ 5082209 h 5278114"/>
              <a:gd name="connsiteX249" fmla="*/ 1651499 w 5610835"/>
              <a:gd name="connsiteY249" fmla="*/ 5079027 h 5278114"/>
              <a:gd name="connsiteX250" fmla="*/ 1649909 w 5610835"/>
              <a:gd name="connsiteY250" fmla="*/ 5074255 h 5278114"/>
              <a:gd name="connsiteX251" fmla="*/ 1651499 w 5610835"/>
              <a:gd name="connsiteY251" fmla="*/ 5072664 h 5278114"/>
              <a:gd name="connsiteX252" fmla="*/ 1651499 w 5610835"/>
              <a:gd name="connsiteY252" fmla="*/ 5071074 h 5278114"/>
              <a:gd name="connsiteX253" fmla="*/ 1654680 w 5610835"/>
              <a:gd name="connsiteY253" fmla="*/ 5071074 h 5278114"/>
              <a:gd name="connsiteX254" fmla="*/ 1653090 w 5610835"/>
              <a:gd name="connsiteY254" fmla="*/ 5067893 h 5278114"/>
              <a:gd name="connsiteX255" fmla="*/ 1662635 w 5610835"/>
              <a:gd name="connsiteY255" fmla="*/ 5056757 h 5278114"/>
              <a:gd name="connsiteX256" fmla="*/ 1662635 w 5610835"/>
              <a:gd name="connsiteY256" fmla="*/ 5055166 h 5278114"/>
              <a:gd name="connsiteX257" fmla="*/ 1665817 w 5610835"/>
              <a:gd name="connsiteY257" fmla="*/ 5055166 h 5278114"/>
              <a:gd name="connsiteX258" fmla="*/ 1664226 w 5610835"/>
              <a:gd name="connsiteY258" fmla="*/ 5053575 h 5278114"/>
              <a:gd name="connsiteX259" fmla="*/ 1668998 w 5610835"/>
              <a:gd name="connsiteY259" fmla="*/ 5048802 h 5278114"/>
              <a:gd name="connsiteX260" fmla="*/ 1635593 w 5610835"/>
              <a:gd name="connsiteY260" fmla="*/ 5048802 h 5278114"/>
              <a:gd name="connsiteX261" fmla="*/ 1635593 w 5610835"/>
              <a:gd name="connsiteY261" fmla="*/ 5056757 h 5278114"/>
              <a:gd name="connsiteX262" fmla="*/ 1635593 w 5610835"/>
              <a:gd name="connsiteY262" fmla="*/ 5058348 h 5278114"/>
              <a:gd name="connsiteX263" fmla="*/ 1632412 w 5610835"/>
              <a:gd name="connsiteY263" fmla="*/ 5072664 h 5278114"/>
              <a:gd name="connsiteX264" fmla="*/ 1629230 w 5610835"/>
              <a:gd name="connsiteY264" fmla="*/ 5077436 h 5278114"/>
              <a:gd name="connsiteX265" fmla="*/ 1635593 w 5610835"/>
              <a:gd name="connsiteY265" fmla="*/ 5048802 h 5278114"/>
              <a:gd name="connsiteX266" fmla="*/ 1554466 w 5610835"/>
              <a:gd name="connsiteY266" fmla="*/ 5047212 h 5278114"/>
              <a:gd name="connsiteX267" fmla="*/ 1556056 w 5610835"/>
              <a:gd name="connsiteY267" fmla="*/ 5048803 h 5278114"/>
              <a:gd name="connsiteX268" fmla="*/ 1552875 w 5610835"/>
              <a:gd name="connsiteY268" fmla="*/ 5048803 h 5278114"/>
              <a:gd name="connsiteX269" fmla="*/ 1554466 w 5610835"/>
              <a:gd name="connsiteY269" fmla="*/ 5047212 h 5278114"/>
              <a:gd name="connsiteX270" fmla="*/ 1629230 w 5610835"/>
              <a:gd name="connsiteY270" fmla="*/ 5042440 h 5278114"/>
              <a:gd name="connsiteX271" fmla="*/ 1622867 w 5610835"/>
              <a:gd name="connsiteY271" fmla="*/ 5093344 h 5278114"/>
              <a:gd name="connsiteX272" fmla="*/ 1614913 w 5610835"/>
              <a:gd name="connsiteY272" fmla="*/ 5050394 h 5278114"/>
              <a:gd name="connsiteX273" fmla="*/ 1619685 w 5610835"/>
              <a:gd name="connsiteY273" fmla="*/ 5048803 h 5278114"/>
              <a:gd name="connsiteX274" fmla="*/ 1624457 w 5610835"/>
              <a:gd name="connsiteY274" fmla="*/ 5051985 h 5278114"/>
              <a:gd name="connsiteX275" fmla="*/ 1629230 w 5610835"/>
              <a:gd name="connsiteY275" fmla="*/ 5042440 h 5278114"/>
              <a:gd name="connsiteX276" fmla="*/ 1522650 w 5610835"/>
              <a:gd name="connsiteY276" fmla="*/ 5042440 h 5278114"/>
              <a:gd name="connsiteX277" fmla="*/ 1544920 w 5610835"/>
              <a:gd name="connsiteY277" fmla="*/ 5055166 h 5278114"/>
              <a:gd name="connsiteX278" fmla="*/ 1546512 w 5610835"/>
              <a:gd name="connsiteY278" fmla="*/ 5058348 h 5278114"/>
              <a:gd name="connsiteX279" fmla="*/ 1556056 w 5610835"/>
              <a:gd name="connsiteY279" fmla="*/ 5061529 h 5278114"/>
              <a:gd name="connsiteX280" fmla="*/ 1557647 w 5610835"/>
              <a:gd name="connsiteY280" fmla="*/ 5071074 h 5278114"/>
              <a:gd name="connsiteX281" fmla="*/ 1538557 w 5610835"/>
              <a:gd name="connsiteY281" fmla="*/ 5072664 h 5278114"/>
              <a:gd name="connsiteX282" fmla="*/ 1522650 w 5610835"/>
              <a:gd name="connsiteY282" fmla="*/ 5048803 h 5278114"/>
              <a:gd name="connsiteX283" fmla="*/ 1522650 w 5610835"/>
              <a:gd name="connsiteY283" fmla="*/ 5042440 h 5278114"/>
              <a:gd name="connsiteX284" fmla="*/ 1228365 w 5610835"/>
              <a:gd name="connsiteY284" fmla="*/ 5037667 h 5278114"/>
              <a:gd name="connsiteX285" fmla="*/ 1252227 w 5610835"/>
              <a:gd name="connsiteY285" fmla="*/ 5056757 h 5278114"/>
              <a:gd name="connsiteX286" fmla="*/ 1236318 w 5610835"/>
              <a:gd name="connsiteY286" fmla="*/ 5067892 h 5278114"/>
              <a:gd name="connsiteX287" fmla="*/ 1225183 w 5610835"/>
              <a:gd name="connsiteY287" fmla="*/ 5040850 h 5278114"/>
              <a:gd name="connsiteX288" fmla="*/ 1228365 w 5610835"/>
              <a:gd name="connsiteY288" fmla="*/ 5037667 h 5278114"/>
              <a:gd name="connsiteX289" fmla="*/ 1222002 w 5610835"/>
              <a:gd name="connsiteY289" fmla="*/ 5032896 h 5278114"/>
              <a:gd name="connsiteX290" fmla="*/ 1223593 w 5610835"/>
              <a:gd name="connsiteY290" fmla="*/ 5034487 h 5278114"/>
              <a:gd name="connsiteX291" fmla="*/ 1222002 w 5610835"/>
              <a:gd name="connsiteY291" fmla="*/ 5034487 h 5278114"/>
              <a:gd name="connsiteX292" fmla="*/ 1222002 w 5610835"/>
              <a:gd name="connsiteY292" fmla="*/ 5032896 h 5278114"/>
              <a:gd name="connsiteX293" fmla="*/ 1209276 w 5610835"/>
              <a:gd name="connsiteY293" fmla="*/ 5032896 h 5278114"/>
              <a:gd name="connsiteX294" fmla="*/ 1214048 w 5610835"/>
              <a:gd name="connsiteY294" fmla="*/ 5034487 h 5278114"/>
              <a:gd name="connsiteX295" fmla="*/ 1209276 w 5610835"/>
              <a:gd name="connsiteY295" fmla="*/ 5034487 h 5278114"/>
              <a:gd name="connsiteX296" fmla="*/ 1209276 w 5610835"/>
              <a:gd name="connsiteY296" fmla="*/ 5032896 h 5278114"/>
              <a:gd name="connsiteX297" fmla="*/ 1167917 w 5610835"/>
              <a:gd name="connsiteY297" fmla="*/ 5032895 h 5278114"/>
              <a:gd name="connsiteX298" fmla="*/ 1175870 w 5610835"/>
              <a:gd name="connsiteY298" fmla="*/ 5048802 h 5278114"/>
              <a:gd name="connsiteX299" fmla="*/ 1190188 w 5610835"/>
              <a:gd name="connsiteY299" fmla="*/ 5034486 h 5278114"/>
              <a:gd name="connsiteX300" fmla="*/ 1201322 w 5610835"/>
              <a:gd name="connsiteY300" fmla="*/ 5039258 h 5278114"/>
              <a:gd name="connsiteX301" fmla="*/ 1194959 w 5610835"/>
              <a:gd name="connsiteY301" fmla="*/ 5039258 h 5278114"/>
              <a:gd name="connsiteX302" fmla="*/ 1198142 w 5610835"/>
              <a:gd name="connsiteY302" fmla="*/ 5042440 h 5278114"/>
              <a:gd name="connsiteX303" fmla="*/ 1188597 w 5610835"/>
              <a:gd name="connsiteY303" fmla="*/ 5066301 h 5278114"/>
              <a:gd name="connsiteX304" fmla="*/ 1194959 w 5610835"/>
              <a:gd name="connsiteY304" fmla="*/ 5069482 h 5278114"/>
              <a:gd name="connsiteX305" fmla="*/ 1217230 w 5610835"/>
              <a:gd name="connsiteY305" fmla="*/ 5051984 h 5278114"/>
              <a:gd name="connsiteX306" fmla="*/ 1231547 w 5610835"/>
              <a:gd name="connsiteY306" fmla="*/ 5098115 h 5278114"/>
              <a:gd name="connsiteX307" fmla="*/ 1218820 w 5610835"/>
              <a:gd name="connsiteY307" fmla="*/ 5109250 h 5278114"/>
              <a:gd name="connsiteX308" fmla="*/ 1214048 w 5610835"/>
              <a:gd name="connsiteY308" fmla="*/ 5107660 h 5278114"/>
              <a:gd name="connsiteX309" fmla="*/ 1212457 w 5610835"/>
              <a:gd name="connsiteY309" fmla="*/ 5096524 h 5278114"/>
              <a:gd name="connsiteX310" fmla="*/ 1209275 w 5610835"/>
              <a:gd name="connsiteY310" fmla="*/ 5104478 h 5278114"/>
              <a:gd name="connsiteX311" fmla="*/ 1204504 w 5610835"/>
              <a:gd name="connsiteY311" fmla="*/ 5104478 h 5278114"/>
              <a:gd name="connsiteX312" fmla="*/ 1198142 w 5610835"/>
              <a:gd name="connsiteY312" fmla="*/ 5098115 h 5278114"/>
              <a:gd name="connsiteX313" fmla="*/ 1198142 w 5610835"/>
              <a:gd name="connsiteY313" fmla="*/ 5101297 h 5278114"/>
              <a:gd name="connsiteX314" fmla="*/ 1180642 w 5610835"/>
              <a:gd name="connsiteY314" fmla="*/ 5066301 h 5278114"/>
              <a:gd name="connsiteX315" fmla="*/ 1182234 w 5610835"/>
              <a:gd name="connsiteY315" fmla="*/ 5080617 h 5278114"/>
              <a:gd name="connsiteX316" fmla="*/ 1155192 w 5610835"/>
              <a:gd name="connsiteY316" fmla="*/ 5071073 h 5278114"/>
              <a:gd name="connsiteX317" fmla="*/ 1163145 w 5610835"/>
              <a:gd name="connsiteY317" fmla="*/ 5086980 h 5278114"/>
              <a:gd name="connsiteX318" fmla="*/ 1164735 w 5610835"/>
              <a:gd name="connsiteY318" fmla="*/ 5090161 h 5278114"/>
              <a:gd name="connsiteX319" fmla="*/ 1142465 w 5610835"/>
              <a:gd name="connsiteY319" fmla="*/ 5096524 h 5278114"/>
              <a:gd name="connsiteX320" fmla="*/ 1183825 w 5610835"/>
              <a:gd name="connsiteY320" fmla="*/ 5104478 h 5278114"/>
              <a:gd name="connsiteX321" fmla="*/ 1190188 w 5610835"/>
              <a:gd name="connsiteY321" fmla="*/ 5102887 h 5278114"/>
              <a:gd name="connsiteX322" fmla="*/ 1188597 w 5610835"/>
              <a:gd name="connsiteY322" fmla="*/ 5106069 h 5278114"/>
              <a:gd name="connsiteX323" fmla="*/ 1164735 w 5610835"/>
              <a:gd name="connsiteY323" fmla="*/ 5107660 h 5278114"/>
              <a:gd name="connsiteX324" fmla="*/ 1185415 w 5610835"/>
              <a:gd name="connsiteY324" fmla="*/ 5109250 h 5278114"/>
              <a:gd name="connsiteX325" fmla="*/ 1194959 w 5610835"/>
              <a:gd name="connsiteY325" fmla="*/ 5110841 h 5278114"/>
              <a:gd name="connsiteX326" fmla="*/ 1180642 w 5610835"/>
              <a:gd name="connsiteY326" fmla="*/ 5118794 h 5278114"/>
              <a:gd name="connsiteX327" fmla="*/ 1191778 w 5610835"/>
              <a:gd name="connsiteY327" fmla="*/ 5120385 h 5278114"/>
              <a:gd name="connsiteX328" fmla="*/ 1169508 w 5610835"/>
              <a:gd name="connsiteY328" fmla="*/ 5125157 h 5278114"/>
              <a:gd name="connsiteX329" fmla="*/ 1167917 w 5610835"/>
              <a:gd name="connsiteY329" fmla="*/ 5142655 h 5278114"/>
              <a:gd name="connsiteX330" fmla="*/ 1206094 w 5610835"/>
              <a:gd name="connsiteY330" fmla="*/ 5121976 h 5278114"/>
              <a:gd name="connsiteX331" fmla="*/ 1206094 w 5610835"/>
              <a:gd name="connsiteY331" fmla="*/ 5141064 h 5278114"/>
              <a:gd name="connsiteX332" fmla="*/ 1179052 w 5610835"/>
              <a:gd name="connsiteY332" fmla="*/ 5219011 h 5278114"/>
              <a:gd name="connsiteX333" fmla="*/ 1212457 w 5610835"/>
              <a:gd name="connsiteY333" fmla="*/ 5144246 h 5278114"/>
              <a:gd name="connsiteX334" fmla="*/ 1217230 w 5610835"/>
              <a:gd name="connsiteY334" fmla="*/ 5225374 h 5278114"/>
              <a:gd name="connsiteX335" fmla="*/ 1228366 w 5610835"/>
              <a:gd name="connsiteY335" fmla="*/ 5177652 h 5278114"/>
              <a:gd name="connsiteX336" fmla="*/ 1241090 w 5610835"/>
              <a:gd name="connsiteY336" fmla="*/ 5206285 h 5278114"/>
              <a:gd name="connsiteX337" fmla="*/ 1233137 w 5610835"/>
              <a:gd name="connsiteY337" fmla="*/ 5158563 h 5278114"/>
              <a:gd name="connsiteX338" fmla="*/ 1252227 w 5610835"/>
              <a:gd name="connsiteY338" fmla="*/ 5171289 h 5278114"/>
              <a:gd name="connsiteX339" fmla="*/ 1264952 w 5610835"/>
              <a:gd name="connsiteY339" fmla="*/ 5209466 h 5278114"/>
              <a:gd name="connsiteX340" fmla="*/ 1263361 w 5610835"/>
              <a:gd name="connsiteY340" fmla="*/ 5212648 h 5278114"/>
              <a:gd name="connsiteX341" fmla="*/ 1276088 w 5610835"/>
              <a:gd name="connsiteY341" fmla="*/ 5238099 h 5278114"/>
              <a:gd name="connsiteX342" fmla="*/ 1280860 w 5610835"/>
              <a:gd name="connsiteY342" fmla="*/ 5247644 h 5278114"/>
              <a:gd name="connsiteX343" fmla="*/ 1279269 w 5610835"/>
              <a:gd name="connsiteY343" fmla="*/ 5268323 h 5278114"/>
              <a:gd name="connsiteX344" fmla="*/ 1266544 w 5610835"/>
              <a:gd name="connsiteY344" fmla="*/ 5277868 h 5278114"/>
              <a:gd name="connsiteX345" fmla="*/ 1217230 w 5610835"/>
              <a:gd name="connsiteY345" fmla="*/ 5276277 h 5278114"/>
              <a:gd name="connsiteX346" fmla="*/ 1198142 w 5610835"/>
              <a:gd name="connsiteY346" fmla="*/ 5276277 h 5278114"/>
              <a:gd name="connsiteX347" fmla="*/ 1152009 w 5610835"/>
              <a:gd name="connsiteY347" fmla="*/ 5204694 h 5278114"/>
              <a:gd name="connsiteX348" fmla="*/ 1161554 w 5610835"/>
              <a:gd name="connsiteY348" fmla="*/ 5199922 h 5278114"/>
              <a:gd name="connsiteX349" fmla="*/ 1166326 w 5610835"/>
              <a:gd name="connsiteY349" fmla="*/ 5199922 h 5278114"/>
              <a:gd name="connsiteX350" fmla="*/ 1163145 w 5610835"/>
              <a:gd name="connsiteY350" fmla="*/ 5198331 h 5278114"/>
              <a:gd name="connsiteX351" fmla="*/ 1150418 w 5610835"/>
              <a:gd name="connsiteY351" fmla="*/ 5204694 h 5278114"/>
              <a:gd name="connsiteX352" fmla="*/ 1132921 w 5610835"/>
              <a:gd name="connsiteY352" fmla="*/ 5156972 h 5278114"/>
              <a:gd name="connsiteX353" fmla="*/ 1128148 w 5610835"/>
              <a:gd name="connsiteY353" fmla="*/ 5120385 h 5278114"/>
              <a:gd name="connsiteX354" fmla="*/ 1150418 w 5610835"/>
              <a:gd name="connsiteY354" fmla="*/ 5079026 h 5278114"/>
              <a:gd name="connsiteX355" fmla="*/ 1166326 w 5610835"/>
              <a:gd name="connsiteY355" fmla="*/ 5034486 h 5278114"/>
              <a:gd name="connsiteX356" fmla="*/ 1167917 w 5610835"/>
              <a:gd name="connsiteY356" fmla="*/ 5032895 h 5278114"/>
              <a:gd name="connsiteX357" fmla="*/ 1608551 w 5610835"/>
              <a:gd name="connsiteY357" fmla="*/ 5028124 h 5278114"/>
              <a:gd name="connsiteX358" fmla="*/ 1614913 w 5610835"/>
              <a:gd name="connsiteY358" fmla="*/ 5029714 h 5278114"/>
              <a:gd name="connsiteX359" fmla="*/ 1614913 w 5610835"/>
              <a:gd name="connsiteY359" fmla="*/ 5031305 h 5278114"/>
              <a:gd name="connsiteX360" fmla="*/ 1608551 w 5610835"/>
              <a:gd name="connsiteY360" fmla="*/ 5031305 h 5278114"/>
              <a:gd name="connsiteX361" fmla="*/ 1608551 w 5610835"/>
              <a:gd name="connsiteY361" fmla="*/ 5028124 h 5278114"/>
              <a:gd name="connsiteX362" fmla="*/ 1646728 w 5610835"/>
              <a:gd name="connsiteY362" fmla="*/ 5024942 h 5278114"/>
              <a:gd name="connsiteX363" fmla="*/ 1641957 w 5610835"/>
              <a:gd name="connsiteY363" fmla="*/ 5036078 h 5278114"/>
              <a:gd name="connsiteX364" fmla="*/ 1640366 w 5610835"/>
              <a:gd name="connsiteY364" fmla="*/ 5032896 h 5278114"/>
              <a:gd name="connsiteX365" fmla="*/ 1641957 w 5610835"/>
              <a:gd name="connsiteY365" fmla="*/ 5026533 h 5278114"/>
              <a:gd name="connsiteX366" fmla="*/ 1646728 w 5610835"/>
              <a:gd name="connsiteY366" fmla="*/ 5024942 h 5278114"/>
              <a:gd name="connsiteX367" fmla="*/ 1557647 w 5610835"/>
              <a:gd name="connsiteY367" fmla="*/ 5024941 h 5278114"/>
              <a:gd name="connsiteX368" fmla="*/ 1599006 w 5610835"/>
              <a:gd name="connsiteY368" fmla="*/ 5028123 h 5278114"/>
              <a:gd name="connsiteX369" fmla="*/ 1600597 w 5610835"/>
              <a:gd name="connsiteY369" fmla="*/ 5031305 h 5278114"/>
              <a:gd name="connsiteX370" fmla="*/ 1583098 w 5610835"/>
              <a:gd name="connsiteY370" fmla="*/ 5039259 h 5278114"/>
              <a:gd name="connsiteX371" fmla="*/ 1589461 w 5610835"/>
              <a:gd name="connsiteY371" fmla="*/ 5045621 h 5278114"/>
              <a:gd name="connsiteX372" fmla="*/ 1599006 w 5610835"/>
              <a:gd name="connsiteY372" fmla="*/ 5042440 h 5278114"/>
              <a:gd name="connsiteX373" fmla="*/ 1603779 w 5610835"/>
              <a:gd name="connsiteY373" fmla="*/ 5048803 h 5278114"/>
              <a:gd name="connsiteX374" fmla="*/ 1605370 w 5610835"/>
              <a:gd name="connsiteY374" fmla="*/ 5072664 h 5278114"/>
              <a:gd name="connsiteX375" fmla="*/ 1579917 w 5610835"/>
              <a:gd name="connsiteY375" fmla="*/ 5066302 h 5278114"/>
              <a:gd name="connsiteX376" fmla="*/ 1560828 w 5610835"/>
              <a:gd name="connsiteY376" fmla="*/ 5058348 h 5278114"/>
              <a:gd name="connsiteX377" fmla="*/ 1557647 w 5610835"/>
              <a:gd name="connsiteY377" fmla="*/ 5024941 h 5278114"/>
              <a:gd name="connsiteX378" fmla="*/ 1175870 w 5610835"/>
              <a:gd name="connsiteY378" fmla="*/ 5020170 h 5278114"/>
              <a:gd name="connsiteX379" fmla="*/ 1179052 w 5610835"/>
              <a:gd name="connsiteY379" fmla="*/ 5021760 h 5278114"/>
              <a:gd name="connsiteX380" fmla="*/ 1171098 w 5610835"/>
              <a:gd name="connsiteY380" fmla="*/ 5028124 h 5278114"/>
              <a:gd name="connsiteX381" fmla="*/ 1175870 w 5610835"/>
              <a:gd name="connsiteY381" fmla="*/ 5020170 h 5278114"/>
              <a:gd name="connsiteX382" fmla="*/ 1659454 w 5610835"/>
              <a:gd name="connsiteY382" fmla="*/ 5020169 h 5278114"/>
              <a:gd name="connsiteX383" fmla="*/ 1661044 w 5610835"/>
              <a:gd name="connsiteY383" fmla="*/ 5020169 h 5278114"/>
              <a:gd name="connsiteX384" fmla="*/ 1664226 w 5610835"/>
              <a:gd name="connsiteY384" fmla="*/ 5023351 h 5278114"/>
              <a:gd name="connsiteX385" fmla="*/ 1665817 w 5610835"/>
              <a:gd name="connsiteY385" fmla="*/ 5034487 h 5278114"/>
              <a:gd name="connsiteX386" fmla="*/ 1657862 w 5610835"/>
              <a:gd name="connsiteY386" fmla="*/ 5047212 h 5278114"/>
              <a:gd name="connsiteX387" fmla="*/ 1651499 w 5610835"/>
              <a:gd name="connsiteY387" fmla="*/ 5044031 h 5278114"/>
              <a:gd name="connsiteX388" fmla="*/ 1659454 w 5610835"/>
              <a:gd name="connsiteY388" fmla="*/ 5020169 h 5278114"/>
              <a:gd name="connsiteX389" fmla="*/ 1524241 w 5610835"/>
              <a:gd name="connsiteY389" fmla="*/ 5018579 h 5278114"/>
              <a:gd name="connsiteX390" fmla="*/ 1548103 w 5610835"/>
              <a:gd name="connsiteY390" fmla="*/ 5020170 h 5278114"/>
              <a:gd name="connsiteX391" fmla="*/ 1552875 w 5610835"/>
              <a:gd name="connsiteY391" fmla="*/ 5021760 h 5278114"/>
              <a:gd name="connsiteX392" fmla="*/ 1552875 w 5610835"/>
              <a:gd name="connsiteY392" fmla="*/ 5026533 h 5278114"/>
              <a:gd name="connsiteX393" fmla="*/ 1548103 w 5610835"/>
              <a:gd name="connsiteY393" fmla="*/ 5031305 h 5278114"/>
              <a:gd name="connsiteX394" fmla="*/ 1541739 w 5610835"/>
              <a:gd name="connsiteY394" fmla="*/ 5024942 h 5278114"/>
              <a:gd name="connsiteX395" fmla="*/ 1540148 w 5610835"/>
              <a:gd name="connsiteY395" fmla="*/ 5029714 h 5278114"/>
              <a:gd name="connsiteX396" fmla="*/ 1532194 w 5610835"/>
              <a:gd name="connsiteY396" fmla="*/ 5037668 h 5278114"/>
              <a:gd name="connsiteX397" fmla="*/ 1546511 w 5610835"/>
              <a:gd name="connsiteY397" fmla="*/ 5045621 h 5278114"/>
              <a:gd name="connsiteX398" fmla="*/ 1540148 w 5610835"/>
              <a:gd name="connsiteY398" fmla="*/ 5045621 h 5278114"/>
              <a:gd name="connsiteX399" fmla="*/ 1524241 w 5610835"/>
              <a:gd name="connsiteY399" fmla="*/ 5036078 h 5278114"/>
              <a:gd name="connsiteX400" fmla="*/ 1524241 w 5610835"/>
              <a:gd name="connsiteY400" fmla="*/ 5018579 h 5278114"/>
              <a:gd name="connsiteX401" fmla="*/ 1258590 w 5610835"/>
              <a:gd name="connsiteY401" fmla="*/ 5012217 h 5278114"/>
              <a:gd name="connsiteX402" fmla="*/ 1263361 w 5610835"/>
              <a:gd name="connsiteY402" fmla="*/ 5024942 h 5278114"/>
              <a:gd name="connsiteX403" fmla="*/ 1256999 w 5610835"/>
              <a:gd name="connsiteY403" fmla="*/ 5020170 h 5278114"/>
              <a:gd name="connsiteX404" fmla="*/ 1258590 w 5610835"/>
              <a:gd name="connsiteY404" fmla="*/ 5012217 h 5278114"/>
              <a:gd name="connsiteX405" fmla="*/ 1180643 w 5610835"/>
              <a:gd name="connsiteY405" fmla="*/ 5012217 h 5278114"/>
              <a:gd name="connsiteX406" fmla="*/ 1183824 w 5610835"/>
              <a:gd name="connsiteY406" fmla="*/ 5016988 h 5278114"/>
              <a:gd name="connsiteX407" fmla="*/ 1177461 w 5610835"/>
              <a:gd name="connsiteY407" fmla="*/ 5015398 h 5278114"/>
              <a:gd name="connsiteX408" fmla="*/ 1180643 w 5610835"/>
              <a:gd name="connsiteY408" fmla="*/ 5012217 h 5278114"/>
              <a:gd name="connsiteX409" fmla="*/ 1129739 w 5610835"/>
              <a:gd name="connsiteY409" fmla="*/ 5012216 h 5278114"/>
              <a:gd name="connsiteX410" fmla="*/ 1153601 w 5610835"/>
              <a:gd name="connsiteY410" fmla="*/ 5015397 h 5278114"/>
              <a:gd name="connsiteX411" fmla="*/ 1148829 w 5610835"/>
              <a:gd name="connsiteY411" fmla="*/ 5023350 h 5278114"/>
              <a:gd name="connsiteX412" fmla="*/ 1142466 w 5610835"/>
              <a:gd name="connsiteY412" fmla="*/ 5020169 h 5278114"/>
              <a:gd name="connsiteX413" fmla="*/ 1140875 w 5610835"/>
              <a:gd name="connsiteY413" fmla="*/ 5045621 h 5278114"/>
              <a:gd name="connsiteX414" fmla="*/ 1140875 w 5610835"/>
              <a:gd name="connsiteY414" fmla="*/ 5051984 h 5278114"/>
              <a:gd name="connsiteX415" fmla="*/ 1121785 w 5610835"/>
              <a:gd name="connsiteY415" fmla="*/ 5098115 h 5278114"/>
              <a:gd name="connsiteX416" fmla="*/ 1117013 w 5610835"/>
              <a:gd name="connsiteY416" fmla="*/ 5074255 h 5278114"/>
              <a:gd name="connsiteX417" fmla="*/ 1123377 w 5610835"/>
              <a:gd name="connsiteY417" fmla="*/ 5036077 h 5278114"/>
              <a:gd name="connsiteX418" fmla="*/ 1129739 w 5610835"/>
              <a:gd name="connsiteY418" fmla="*/ 5012216 h 5278114"/>
              <a:gd name="connsiteX419" fmla="*/ 1634002 w 5610835"/>
              <a:gd name="connsiteY419" fmla="*/ 5004263 h 5278114"/>
              <a:gd name="connsiteX420" fmla="*/ 1634002 w 5610835"/>
              <a:gd name="connsiteY420" fmla="*/ 5012217 h 5278114"/>
              <a:gd name="connsiteX421" fmla="*/ 1606959 w 5610835"/>
              <a:gd name="connsiteY421" fmla="*/ 5012217 h 5278114"/>
              <a:gd name="connsiteX422" fmla="*/ 1634002 w 5610835"/>
              <a:gd name="connsiteY422" fmla="*/ 5004263 h 5278114"/>
              <a:gd name="connsiteX423" fmla="*/ 1551285 w 5610835"/>
              <a:gd name="connsiteY423" fmla="*/ 4999490 h 5278114"/>
              <a:gd name="connsiteX424" fmla="*/ 1551285 w 5610835"/>
              <a:gd name="connsiteY424" fmla="*/ 5004263 h 5278114"/>
              <a:gd name="connsiteX425" fmla="*/ 1543330 w 5610835"/>
              <a:gd name="connsiteY425" fmla="*/ 5001081 h 5278114"/>
              <a:gd name="connsiteX426" fmla="*/ 1551285 w 5610835"/>
              <a:gd name="connsiteY426" fmla="*/ 4999490 h 5278114"/>
              <a:gd name="connsiteX427" fmla="*/ 1229955 w 5610835"/>
              <a:gd name="connsiteY427" fmla="*/ 4988355 h 5278114"/>
              <a:gd name="connsiteX428" fmla="*/ 1258590 w 5610835"/>
              <a:gd name="connsiteY428" fmla="*/ 5002672 h 5278114"/>
              <a:gd name="connsiteX429" fmla="*/ 1255408 w 5610835"/>
              <a:gd name="connsiteY429" fmla="*/ 5018579 h 5278114"/>
              <a:gd name="connsiteX430" fmla="*/ 1241090 w 5610835"/>
              <a:gd name="connsiteY430" fmla="*/ 5012217 h 5278114"/>
              <a:gd name="connsiteX431" fmla="*/ 1237909 w 5610835"/>
              <a:gd name="connsiteY431" fmla="*/ 5004263 h 5278114"/>
              <a:gd name="connsiteX432" fmla="*/ 1231547 w 5610835"/>
              <a:gd name="connsiteY432" fmla="*/ 5005853 h 5278114"/>
              <a:gd name="connsiteX433" fmla="*/ 1234728 w 5610835"/>
              <a:gd name="connsiteY433" fmla="*/ 5001081 h 5278114"/>
              <a:gd name="connsiteX434" fmla="*/ 1225183 w 5610835"/>
              <a:gd name="connsiteY434" fmla="*/ 4996309 h 5278114"/>
              <a:gd name="connsiteX435" fmla="*/ 1229955 w 5610835"/>
              <a:gd name="connsiteY435" fmla="*/ 4988355 h 5278114"/>
              <a:gd name="connsiteX436" fmla="*/ 1210867 w 5610835"/>
              <a:gd name="connsiteY436" fmla="*/ 4983583 h 5278114"/>
              <a:gd name="connsiteX437" fmla="*/ 1220411 w 5610835"/>
              <a:gd name="connsiteY437" fmla="*/ 4997899 h 5278114"/>
              <a:gd name="connsiteX438" fmla="*/ 1217230 w 5610835"/>
              <a:gd name="connsiteY438" fmla="*/ 5001081 h 5278114"/>
              <a:gd name="connsiteX439" fmla="*/ 1212456 w 5610835"/>
              <a:gd name="connsiteY439" fmla="*/ 4999490 h 5278114"/>
              <a:gd name="connsiteX440" fmla="*/ 1207685 w 5610835"/>
              <a:gd name="connsiteY440" fmla="*/ 4994718 h 5278114"/>
              <a:gd name="connsiteX441" fmla="*/ 1210867 w 5610835"/>
              <a:gd name="connsiteY441" fmla="*/ 4983583 h 5278114"/>
              <a:gd name="connsiteX442" fmla="*/ 1239499 w 5610835"/>
              <a:gd name="connsiteY442" fmla="*/ 4981993 h 5278114"/>
              <a:gd name="connsiteX443" fmla="*/ 1242681 w 5610835"/>
              <a:gd name="connsiteY443" fmla="*/ 4993128 h 5278114"/>
              <a:gd name="connsiteX444" fmla="*/ 1231547 w 5610835"/>
              <a:gd name="connsiteY444" fmla="*/ 4988356 h 5278114"/>
              <a:gd name="connsiteX445" fmla="*/ 1239499 w 5610835"/>
              <a:gd name="connsiteY445" fmla="*/ 4981993 h 5278114"/>
              <a:gd name="connsiteX446" fmla="*/ 1144055 w 5610835"/>
              <a:gd name="connsiteY446" fmla="*/ 4980402 h 5278114"/>
              <a:gd name="connsiteX447" fmla="*/ 1147237 w 5610835"/>
              <a:gd name="connsiteY447" fmla="*/ 4985174 h 5278114"/>
              <a:gd name="connsiteX448" fmla="*/ 1148828 w 5610835"/>
              <a:gd name="connsiteY448" fmla="*/ 4988355 h 5278114"/>
              <a:gd name="connsiteX449" fmla="*/ 1140875 w 5610835"/>
              <a:gd name="connsiteY449" fmla="*/ 4985174 h 5278114"/>
              <a:gd name="connsiteX450" fmla="*/ 1140875 w 5610835"/>
              <a:gd name="connsiteY450" fmla="*/ 4983583 h 5278114"/>
              <a:gd name="connsiteX451" fmla="*/ 1144055 w 5610835"/>
              <a:gd name="connsiteY451" fmla="*/ 4980402 h 5278114"/>
              <a:gd name="connsiteX452" fmla="*/ 1606959 w 5610835"/>
              <a:gd name="connsiteY452" fmla="*/ 4978811 h 5278114"/>
              <a:gd name="connsiteX453" fmla="*/ 1632411 w 5610835"/>
              <a:gd name="connsiteY453" fmla="*/ 4983583 h 5278114"/>
              <a:gd name="connsiteX454" fmla="*/ 1632411 w 5610835"/>
              <a:gd name="connsiteY454" fmla="*/ 4986764 h 5278114"/>
              <a:gd name="connsiteX455" fmla="*/ 1605368 w 5610835"/>
              <a:gd name="connsiteY455" fmla="*/ 5001081 h 5278114"/>
              <a:gd name="connsiteX456" fmla="*/ 1605368 w 5610835"/>
              <a:gd name="connsiteY456" fmla="*/ 4988355 h 5278114"/>
              <a:gd name="connsiteX457" fmla="*/ 1608550 w 5610835"/>
              <a:gd name="connsiteY457" fmla="*/ 4985174 h 5278114"/>
              <a:gd name="connsiteX458" fmla="*/ 1606959 w 5610835"/>
              <a:gd name="connsiteY458" fmla="*/ 4978811 h 5278114"/>
              <a:gd name="connsiteX459" fmla="*/ 1207685 w 5610835"/>
              <a:gd name="connsiteY459" fmla="*/ 4977220 h 5278114"/>
              <a:gd name="connsiteX460" fmla="*/ 1207685 w 5610835"/>
              <a:gd name="connsiteY460" fmla="*/ 4978811 h 5278114"/>
              <a:gd name="connsiteX461" fmla="*/ 1204504 w 5610835"/>
              <a:gd name="connsiteY461" fmla="*/ 4978811 h 5278114"/>
              <a:gd name="connsiteX462" fmla="*/ 1271315 w 5610835"/>
              <a:gd name="connsiteY462" fmla="*/ 4975630 h 5278114"/>
              <a:gd name="connsiteX463" fmla="*/ 1274496 w 5610835"/>
              <a:gd name="connsiteY463" fmla="*/ 4985174 h 5278114"/>
              <a:gd name="connsiteX464" fmla="*/ 1269724 w 5610835"/>
              <a:gd name="connsiteY464" fmla="*/ 4985174 h 5278114"/>
              <a:gd name="connsiteX465" fmla="*/ 1271315 w 5610835"/>
              <a:gd name="connsiteY465" fmla="*/ 4975630 h 5278114"/>
              <a:gd name="connsiteX466" fmla="*/ 1167917 w 5610835"/>
              <a:gd name="connsiteY466" fmla="*/ 4972448 h 5278114"/>
              <a:gd name="connsiteX467" fmla="*/ 1167917 w 5610835"/>
              <a:gd name="connsiteY467" fmla="*/ 4977220 h 5278114"/>
              <a:gd name="connsiteX468" fmla="*/ 1164736 w 5610835"/>
              <a:gd name="connsiteY468" fmla="*/ 4974038 h 5278114"/>
              <a:gd name="connsiteX469" fmla="*/ 1167917 w 5610835"/>
              <a:gd name="connsiteY469" fmla="*/ 4972448 h 5278114"/>
              <a:gd name="connsiteX470" fmla="*/ 1540150 w 5610835"/>
              <a:gd name="connsiteY470" fmla="*/ 4962902 h 5278114"/>
              <a:gd name="connsiteX471" fmla="*/ 1548103 w 5610835"/>
              <a:gd name="connsiteY471" fmla="*/ 4970857 h 5278114"/>
              <a:gd name="connsiteX472" fmla="*/ 1549694 w 5610835"/>
              <a:gd name="connsiteY472" fmla="*/ 4986764 h 5278114"/>
              <a:gd name="connsiteX473" fmla="*/ 1532194 w 5610835"/>
              <a:gd name="connsiteY473" fmla="*/ 4989945 h 5278114"/>
              <a:gd name="connsiteX474" fmla="*/ 1527423 w 5610835"/>
              <a:gd name="connsiteY474" fmla="*/ 4993127 h 5278114"/>
              <a:gd name="connsiteX475" fmla="*/ 1530604 w 5610835"/>
              <a:gd name="connsiteY475" fmla="*/ 4969266 h 5278114"/>
              <a:gd name="connsiteX476" fmla="*/ 1540150 w 5610835"/>
              <a:gd name="connsiteY476" fmla="*/ 4962902 h 5278114"/>
              <a:gd name="connsiteX477" fmla="*/ 1654681 w 5610835"/>
              <a:gd name="connsiteY477" fmla="*/ 4956540 h 5278114"/>
              <a:gd name="connsiteX478" fmla="*/ 1656272 w 5610835"/>
              <a:gd name="connsiteY478" fmla="*/ 4958131 h 5278114"/>
              <a:gd name="connsiteX479" fmla="*/ 1654681 w 5610835"/>
              <a:gd name="connsiteY479" fmla="*/ 4972448 h 5278114"/>
              <a:gd name="connsiteX480" fmla="*/ 1648319 w 5610835"/>
              <a:gd name="connsiteY480" fmla="*/ 4970857 h 5278114"/>
              <a:gd name="connsiteX481" fmla="*/ 1653090 w 5610835"/>
              <a:gd name="connsiteY481" fmla="*/ 4959721 h 5278114"/>
              <a:gd name="connsiteX482" fmla="*/ 1651499 w 5610835"/>
              <a:gd name="connsiteY482" fmla="*/ 4958131 h 5278114"/>
              <a:gd name="connsiteX483" fmla="*/ 1654681 w 5610835"/>
              <a:gd name="connsiteY483" fmla="*/ 4956540 h 5278114"/>
              <a:gd name="connsiteX484" fmla="*/ 1549693 w 5610835"/>
              <a:gd name="connsiteY484" fmla="*/ 4954950 h 5278114"/>
              <a:gd name="connsiteX485" fmla="*/ 1548102 w 5610835"/>
              <a:gd name="connsiteY485" fmla="*/ 4964495 h 5278114"/>
              <a:gd name="connsiteX486" fmla="*/ 1541739 w 5610835"/>
              <a:gd name="connsiteY486" fmla="*/ 4962904 h 5278114"/>
              <a:gd name="connsiteX487" fmla="*/ 1549693 w 5610835"/>
              <a:gd name="connsiteY487" fmla="*/ 4954950 h 5278114"/>
              <a:gd name="connsiteX488" fmla="*/ 1199731 w 5610835"/>
              <a:gd name="connsiteY488" fmla="*/ 4954950 h 5278114"/>
              <a:gd name="connsiteX489" fmla="*/ 1202913 w 5610835"/>
              <a:gd name="connsiteY489" fmla="*/ 4967676 h 5278114"/>
              <a:gd name="connsiteX490" fmla="*/ 1196551 w 5610835"/>
              <a:gd name="connsiteY490" fmla="*/ 4969267 h 5278114"/>
              <a:gd name="connsiteX491" fmla="*/ 1194959 w 5610835"/>
              <a:gd name="connsiteY491" fmla="*/ 4964495 h 5278114"/>
              <a:gd name="connsiteX492" fmla="*/ 1199731 w 5610835"/>
              <a:gd name="connsiteY492" fmla="*/ 4954950 h 5278114"/>
              <a:gd name="connsiteX493" fmla="*/ 1241090 w 5610835"/>
              <a:gd name="connsiteY493" fmla="*/ 4953359 h 5278114"/>
              <a:gd name="connsiteX494" fmla="*/ 1249045 w 5610835"/>
              <a:gd name="connsiteY494" fmla="*/ 4972449 h 5278114"/>
              <a:gd name="connsiteX495" fmla="*/ 1245864 w 5610835"/>
              <a:gd name="connsiteY495" fmla="*/ 4972449 h 5278114"/>
              <a:gd name="connsiteX496" fmla="*/ 1239499 w 5610835"/>
              <a:gd name="connsiteY496" fmla="*/ 4966085 h 5278114"/>
              <a:gd name="connsiteX497" fmla="*/ 1237909 w 5610835"/>
              <a:gd name="connsiteY497" fmla="*/ 4969267 h 5278114"/>
              <a:gd name="connsiteX498" fmla="*/ 1225183 w 5610835"/>
              <a:gd name="connsiteY498" fmla="*/ 4970858 h 5278114"/>
              <a:gd name="connsiteX499" fmla="*/ 1225183 w 5610835"/>
              <a:gd name="connsiteY499" fmla="*/ 4967676 h 5278114"/>
              <a:gd name="connsiteX500" fmla="*/ 1226774 w 5610835"/>
              <a:gd name="connsiteY500" fmla="*/ 4962904 h 5278114"/>
              <a:gd name="connsiteX501" fmla="*/ 1226774 w 5610835"/>
              <a:gd name="connsiteY501" fmla="*/ 4961313 h 5278114"/>
              <a:gd name="connsiteX502" fmla="*/ 1241090 w 5610835"/>
              <a:gd name="connsiteY502" fmla="*/ 4953359 h 5278114"/>
              <a:gd name="connsiteX503" fmla="*/ 1217230 w 5610835"/>
              <a:gd name="connsiteY503" fmla="*/ 4950178 h 5278114"/>
              <a:gd name="connsiteX504" fmla="*/ 1220412 w 5610835"/>
              <a:gd name="connsiteY504" fmla="*/ 4950178 h 5278114"/>
              <a:gd name="connsiteX505" fmla="*/ 1218821 w 5610835"/>
              <a:gd name="connsiteY505" fmla="*/ 4953359 h 5278114"/>
              <a:gd name="connsiteX506" fmla="*/ 1217230 w 5610835"/>
              <a:gd name="connsiteY506" fmla="*/ 4950178 h 5278114"/>
              <a:gd name="connsiteX507" fmla="*/ 1163144 w 5610835"/>
              <a:gd name="connsiteY507" fmla="*/ 4948587 h 5278114"/>
              <a:gd name="connsiteX508" fmla="*/ 1171099 w 5610835"/>
              <a:gd name="connsiteY508" fmla="*/ 4950177 h 5278114"/>
              <a:gd name="connsiteX509" fmla="*/ 1167918 w 5610835"/>
              <a:gd name="connsiteY509" fmla="*/ 4967675 h 5278114"/>
              <a:gd name="connsiteX510" fmla="*/ 1163144 w 5610835"/>
              <a:gd name="connsiteY510" fmla="*/ 4948587 h 5278114"/>
              <a:gd name="connsiteX511" fmla="*/ 1610141 w 5610835"/>
              <a:gd name="connsiteY511" fmla="*/ 4943814 h 5278114"/>
              <a:gd name="connsiteX512" fmla="*/ 1638775 w 5610835"/>
              <a:gd name="connsiteY512" fmla="*/ 4954950 h 5278114"/>
              <a:gd name="connsiteX513" fmla="*/ 1635594 w 5610835"/>
              <a:gd name="connsiteY513" fmla="*/ 4969267 h 5278114"/>
              <a:gd name="connsiteX514" fmla="*/ 1608550 w 5610835"/>
              <a:gd name="connsiteY514" fmla="*/ 4970858 h 5278114"/>
              <a:gd name="connsiteX515" fmla="*/ 1610141 w 5610835"/>
              <a:gd name="connsiteY515" fmla="*/ 4953359 h 5278114"/>
              <a:gd name="connsiteX516" fmla="*/ 1618095 w 5610835"/>
              <a:gd name="connsiteY516" fmla="*/ 4948588 h 5278114"/>
              <a:gd name="connsiteX517" fmla="*/ 1610141 w 5610835"/>
              <a:gd name="connsiteY517" fmla="*/ 4948588 h 5278114"/>
              <a:gd name="connsiteX518" fmla="*/ 1610141 w 5610835"/>
              <a:gd name="connsiteY518" fmla="*/ 4943814 h 5278114"/>
              <a:gd name="connsiteX519" fmla="*/ 1152009 w 5610835"/>
              <a:gd name="connsiteY519" fmla="*/ 4940634 h 5278114"/>
              <a:gd name="connsiteX520" fmla="*/ 1153600 w 5610835"/>
              <a:gd name="connsiteY520" fmla="*/ 4942224 h 5278114"/>
              <a:gd name="connsiteX521" fmla="*/ 1159964 w 5610835"/>
              <a:gd name="connsiteY521" fmla="*/ 4958131 h 5278114"/>
              <a:gd name="connsiteX522" fmla="*/ 1156781 w 5610835"/>
              <a:gd name="connsiteY522" fmla="*/ 4958131 h 5278114"/>
              <a:gd name="connsiteX523" fmla="*/ 1155192 w 5610835"/>
              <a:gd name="connsiteY523" fmla="*/ 4961313 h 5278114"/>
              <a:gd name="connsiteX524" fmla="*/ 1152009 w 5610835"/>
              <a:gd name="connsiteY524" fmla="*/ 4950178 h 5278114"/>
              <a:gd name="connsiteX525" fmla="*/ 1152009 w 5610835"/>
              <a:gd name="connsiteY525" fmla="*/ 4940634 h 5278114"/>
              <a:gd name="connsiteX526" fmla="*/ 1549694 w 5610835"/>
              <a:gd name="connsiteY526" fmla="*/ 4935861 h 5278114"/>
              <a:gd name="connsiteX527" fmla="*/ 1549694 w 5610835"/>
              <a:gd name="connsiteY527" fmla="*/ 4940634 h 5278114"/>
              <a:gd name="connsiteX528" fmla="*/ 1532194 w 5610835"/>
              <a:gd name="connsiteY528" fmla="*/ 4956541 h 5278114"/>
              <a:gd name="connsiteX529" fmla="*/ 1529013 w 5610835"/>
              <a:gd name="connsiteY529" fmla="*/ 4939043 h 5278114"/>
              <a:gd name="connsiteX530" fmla="*/ 1549694 w 5610835"/>
              <a:gd name="connsiteY530" fmla="*/ 4935861 h 5278114"/>
              <a:gd name="connsiteX531" fmla="*/ 1592643 w 5610835"/>
              <a:gd name="connsiteY531" fmla="*/ 4932679 h 5278114"/>
              <a:gd name="connsiteX532" fmla="*/ 1600597 w 5610835"/>
              <a:gd name="connsiteY532" fmla="*/ 4939042 h 5278114"/>
              <a:gd name="connsiteX533" fmla="*/ 1599006 w 5610835"/>
              <a:gd name="connsiteY533" fmla="*/ 4974038 h 5278114"/>
              <a:gd name="connsiteX534" fmla="*/ 1594233 w 5610835"/>
              <a:gd name="connsiteY534" fmla="*/ 4977219 h 5278114"/>
              <a:gd name="connsiteX535" fmla="*/ 1597415 w 5610835"/>
              <a:gd name="connsiteY535" fmla="*/ 4981991 h 5278114"/>
              <a:gd name="connsiteX536" fmla="*/ 1597415 w 5610835"/>
              <a:gd name="connsiteY536" fmla="*/ 5004262 h 5278114"/>
              <a:gd name="connsiteX537" fmla="*/ 1584689 w 5610835"/>
              <a:gd name="connsiteY537" fmla="*/ 5013806 h 5278114"/>
              <a:gd name="connsiteX538" fmla="*/ 1559237 w 5610835"/>
              <a:gd name="connsiteY538" fmla="*/ 5004262 h 5278114"/>
              <a:gd name="connsiteX539" fmla="*/ 1559237 w 5610835"/>
              <a:gd name="connsiteY539" fmla="*/ 4999489 h 5278114"/>
              <a:gd name="connsiteX540" fmla="*/ 1556055 w 5610835"/>
              <a:gd name="connsiteY540" fmla="*/ 4996308 h 5278114"/>
              <a:gd name="connsiteX541" fmla="*/ 1589461 w 5610835"/>
              <a:gd name="connsiteY541" fmla="*/ 4961312 h 5278114"/>
              <a:gd name="connsiteX542" fmla="*/ 1554465 w 5610835"/>
              <a:gd name="connsiteY542" fmla="*/ 4985173 h 5278114"/>
              <a:gd name="connsiteX543" fmla="*/ 1552874 w 5610835"/>
              <a:gd name="connsiteY543" fmla="*/ 4970856 h 5278114"/>
              <a:gd name="connsiteX544" fmla="*/ 1554465 w 5610835"/>
              <a:gd name="connsiteY544" fmla="*/ 4950177 h 5278114"/>
              <a:gd name="connsiteX545" fmla="*/ 1592643 w 5610835"/>
              <a:gd name="connsiteY545" fmla="*/ 4932679 h 5278114"/>
              <a:gd name="connsiteX546" fmla="*/ 1638774 w 5610835"/>
              <a:gd name="connsiteY546" fmla="*/ 4929498 h 5278114"/>
              <a:gd name="connsiteX547" fmla="*/ 1643547 w 5610835"/>
              <a:gd name="connsiteY547" fmla="*/ 4945406 h 5278114"/>
              <a:gd name="connsiteX548" fmla="*/ 1613322 w 5610835"/>
              <a:gd name="connsiteY548" fmla="*/ 4934270 h 5278114"/>
              <a:gd name="connsiteX549" fmla="*/ 1622867 w 5610835"/>
              <a:gd name="connsiteY549" fmla="*/ 4931089 h 5278114"/>
              <a:gd name="connsiteX550" fmla="*/ 1638774 w 5610835"/>
              <a:gd name="connsiteY550" fmla="*/ 4929498 h 5278114"/>
              <a:gd name="connsiteX551" fmla="*/ 1255407 w 5610835"/>
              <a:gd name="connsiteY551" fmla="*/ 4927907 h 5278114"/>
              <a:gd name="connsiteX552" fmla="*/ 1263361 w 5610835"/>
              <a:gd name="connsiteY552" fmla="*/ 4951769 h 5278114"/>
              <a:gd name="connsiteX553" fmla="*/ 1256999 w 5610835"/>
              <a:gd name="connsiteY553" fmla="*/ 4966085 h 5278114"/>
              <a:gd name="connsiteX554" fmla="*/ 1255407 w 5610835"/>
              <a:gd name="connsiteY554" fmla="*/ 4964494 h 5278114"/>
              <a:gd name="connsiteX555" fmla="*/ 1252227 w 5610835"/>
              <a:gd name="connsiteY555" fmla="*/ 4932680 h 5278114"/>
              <a:gd name="connsiteX556" fmla="*/ 1249044 w 5610835"/>
              <a:gd name="connsiteY556" fmla="*/ 4931089 h 5278114"/>
              <a:gd name="connsiteX557" fmla="*/ 1255407 w 5610835"/>
              <a:gd name="connsiteY557" fmla="*/ 4927907 h 5278114"/>
              <a:gd name="connsiteX558" fmla="*/ 1228366 w 5610835"/>
              <a:gd name="connsiteY558" fmla="*/ 4923135 h 5278114"/>
              <a:gd name="connsiteX559" fmla="*/ 1234728 w 5610835"/>
              <a:gd name="connsiteY559" fmla="*/ 4934270 h 5278114"/>
              <a:gd name="connsiteX560" fmla="*/ 1231547 w 5610835"/>
              <a:gd name="connsiteY560" fmla="*/ 4935861 h 5278114"/>
              <a:gd name="connsiteX561" fmla="*/ 1231547 w 5610835"/>
              <a:gd name="connsiteY561" fmla="*/ 4934270 h 5278114"/>
              <a:gd name="connsiteX562" fmla="*/ 1220411 w 5610835"/>
              <a:gd name="connsiteY562" fmla="*/ 4945406 h 5278114"/>
              <a:gd name="connsiteX563" fmla="*/ 1215639 w 5610835"/>
              <a:gd name="connsiteY563" fmla="*/ 4946997 h 5278114"/>
              <a:gd name="connsiteX564" fmla="*/ 1212457 w 5610835"/>
              <a:gd name="connsiteY564" fmla="*/ 4937452 h 5278114"/>
              <a:gd name="connsiteX565" fmla="*/ 1215639 w 5610835"/>
              <a:gd name="connsiteY565" fmla="*/ 4926317 h 5278114"/>
              <a:gd name="connsiteX566" fmla="*/ 1228366 w 5610835"/>
              <a:gd name="connsiteY566" fmla="*/ 4923135 h 5278114"/>
              <a:gd name="connsiteX567" fmla="*/ 1239500 w 5610835"/>
              <a:gd name="connsiteY567" fmla="*/ 4919954 h 5278114"/>
              <a:gd name="connsiteX568" fmla="*/ 1244272 w 5610835"/>
              <a:gd name="connsiteY568" fmla="*/ 4921545 h 5278114"/>
              <a:gd name="connsiteX569" fmla="*/ 1241092 w 5610835"/>
              <a:gd name="connsiteY569" fmla="*/ 4929498 h 5278114"/>
              <a:gd name="connsiteX570" fmla="*/ 1239500 w 5610835"/>
              <a:gd name="connsiteY570" fmla="*/ 4919954 h 5278114"/>
              <a:gd name="connsiteX571" fmla="*/ 1252227 w 5610835"/>
              <a:gd name="connsiteY571" fmla="*/ 4915182 h 5278114"/>
              <a:gd name="connsiteX572" fmla="*/ 1253817 w 5610835"/>
              <a:gd name="connsiteY572" fmla="*/ 4918363 h 5278114"/>
              <a:gd name="connsiteX573" fmla="*/ 1250636 w 5610835"/>
              <a:gd name="connsiteY573" fmla="*/ 4923136 h 5278114"/>
              <a:gd name="connsiteX574" fmla="*/ 1252227 w 5610835"/>
              <a:gd name="connsiteY574" fmla="*/ 4915182 h 5278114"/>
              <a:gd name="connsiteX575" fmla="*/ 1166326 w 5610835"/>
              <a:gd name="connsiteY575" fmla="*/ 4911999 h 5278114"/>
              <a:gd name="connsiteX576" fmla="*/ 1175871 w 5610835"/>
              <a:gd name="connsiteY576" fmla="*/ 4932680 h 5278114"/>
              <a:gd name="connsiteX577" fmla="*/ 1172690 w 5610835"/>
              <a:gd name="connsiteY577" fmla="*/ 4939043 h 5278114"/>
              <a:gd name="connsiteX578" fmla="*/ 1164736 w 5610835"/>
              <a:gd name="connsiteY578" fmla="*/ 4916773 h 5278114"/>
              <a:gd name="connsiteX579" fmla="*/ 1161555 w 5610835"/>
              <a:gd name="connsiteY579" fmla="*/ 4916773 h 5278114"/>
              <a:gd name="connsiteX580" fmla="*/ 1166326 w 5610835"/>
              <a:gd name="connsiteY580" fmla="*/ 4911999 h 5278114"/>
              <a:gd name="connsiteX581" fmla="*/ 1101106 w 5610835"/>
              <a:gd name="connsiteY581" fmla="*/ 4911999 h 5278114"/>
              <a:gd name="connsiteX582" fmla="*/ 1121786 w 5610835"/>
              <a:gd name="connsiteY582" fmla="*/ 4929498 h 5278114"/>
              <a:gd name="connsiteX583" fmla="*/ 1128149 w 5610835"/>
              <a:gd name="connsiteY583" fmla="*/ 4940633 h 5278114"/>
              <a:gd name="connsiteX584" fmla="*/ 1101106 w 5610835"/>
              <a:gd name="connsiteY584" fmla="*/ 4911999 h 5278114"/>
              <a:gd name="connsiteX585" fmla="*/ 1649910 w 5610835"/>
              <a:gd name="connsiteY585" fmla="*/ 4908819 h 5278114"/>
              <a:gd name="connsiteX586" fmla="*/ 1649910 w 5610835"/>
              <a:gd name="connsiteY586" fmla="*/ 4912000 h 5278114"/>
              <a:gd name="connsiteX587" fmla="*/ 1646728 w 5610835"/>
              <a:gd name="connsiteY587" fmla="*/ 4910409 h 5278114"/>
              <a:gd name="connsiteX588" fmla="*/ 1649910 w 5610835"/>
              <a:gd name="connsiteY588" fmla="*/ 4908819 h 5278114"/>
              <a:gd name="connsiteX589" fmla="*/ 1661044 w 5610835"/>
              <a:gd name="connsiteY589" fmla="*/ 4904046 h 5278114"/>
              <a:gd name="connsiteX590" fmla="*/ 1659454 w 5610835"/>
              <a:gd name="connsiteY590" fmla="*/ 4916773 h 5278114"/>
              <a:gd name="connsiteX591" fmla="*/ 1659454 w 5610835"/>
              <a:gd name="connsiteY591" fmla="*/ 4919954 h 5278114"/>
              <a:gd name="connsiteX592" fmla="*/ 1656272 w 5610835"/>
              <a:gd name="connsiteY592" fmla="*/ 4919954 h 5278114"/>
              <a:gd name="connsiteX593" fmla="*/ 1653090 w 5610835"/>
              <a:gd name="connsiteY593" fmla="*/ 4915182 h 5278114"/>
              <a:gd name="connsiteX594" fmla="*/ 1654681 w 5610835"/>
              <a:gd name="connsiteY594" fmla="*/ 4905637 h 5278114"/>
              <a:gd name="connsiteX595" fmla="*/ 1661044 w 5610835"/>
              <a:gd name="connsiteY595" fmla="*/ 4904046 h 5278114"/>
              <a:gd name="connsiteX596" fmla="*/ 1600596 w 5610835"/>
              <a:gd name="connsiteY596" fmla="*/ 4900865 h 5278114"/>
              <a:gd name="connsiteX597" fmla="*/ 1600596 w 5610835"/>
              <a:gd name="connsiteY597" fmla="*/ 4910409 h 5278114"/>
              <a:gd name="connsiteX598" fmla="*/ 1591052 w 5610835"/>
              <a:gd name="connsiteY598" fmla="*/ 4915182 h 5278114"/>
              <a:gd name="connsiteX599" fmla="*/ 1600596 w 5610835"/>
              <a:gd name="connsiteY599" fmla="*/ 4900865 h 5278114"/>
              <a:gd name="connsiteX600" fmla="*/ 1223593 w 5610835"/>
              <a:gd name="connsiteY600" fmla="*/ 4894502 h 5278114"/>
              <a:gd name="connsiteX601" fmla="*/ 1229956 w 5610835"/>
              <a:gd name="connsiteY601" fmla="*/ 4915182 h 5278114"/>
              <a:gd name="connsiteX602" fmla="*/ 1223593 w 5610835"/>
              <a:gd name="connsiteY602" fmla="*/ 4894502 h 5278114"/>
              <a:gd name="connsiteX603" fmla="*/ 1654682 w 5610835"/>
              <a:gd name="connsiteY603" fmla="*/ 4881775 h 5278114"/>
              <a:gd name="connsiteX604" fmla="*/ 1651500 w 5610835"/>
              <a:gd name="connsiteY604" fmla="*/ 4900865 h 5278114"/>
              <a:gd name="connsiteX605" fmla="*/ 1643546 w 5610835"/>
              <a:gd name="connsiteY605" fmla="*/ 4902455 h 5278114"/>
              <a:gd name="connsiteX606" fmla="*/ 1627639 w 5610835"/>
              <a:gd name="connsiteY606" fmla="*/ 4907228 h 5278114"/>
              <a:gd name="connsiteX607" fmla="*/ 1618095 w 5610835"/>
              <a:gd name="connsiteY607" fmla="*/ 4894502 h 5278114"/>
              <a:gd name="connsiteX608" fmla="*/ 1616504 w 5610835"/>
              <a:gd name="connsiteY608" fmla="*/ 4907228 h 5278114"/>
              <a:gd name="connsiteX609" fmla="*/ 1608550 w 5610835"/>
              <a:gd name="connsiteY609" fmla="*/ 4904046 h 5278114"/>
              <a:gd name="connsiteX610" fmla="*/ 1610141 w 5610835"/>
              <a:gd name="connsiteY610" fmla="*/ 4894502 h 5278114"/>
              <a:gd name="connsiteX611" fmla="*/ 1654682 w 5610835"/>
              <a:gd name="connsiteY611" fmla="*/ 4881775 h 5278114"/>
              <a:gd name="connsiteX612" fmla="*/ 1226774 w 5610835"/>
              <a:gd name="connsiteY612" fmla="*/ 4880184 h 5278114"/>
              <a:gd name="connsiteX613" fmla="*/ 1239500 w 5610835"/>
              <a:gd name="connsiteY613" fmla="*/ 4884958 h 5278114"/>
              <a:gd name="connsiteX614" fmla="*/ 1245864 w 5610835"/>
              <a:gd name="connsiteY614" fmla="*/ 4904046 h 5278114"/>
              <a:gd name="connsiteX615" fmla="*/ 1244273 w 5610835"/>
              <a:gd name="connsiteY615" fmla="*/ 4905637 h 5278114"/>
              <a:gd name="connsiteX616" fmla="*/ 1247454 w 5610835"/>
              <a:gd name="connsiteY616" fmla="*/ 4908818 h 5278114"/>
              <a:gd name="connsiteX617" fmla="*/ 1244273 w 5610835"/>
              <a:gd name="connsiteY617" fmla="*/ 4918363 h 5278114"/>
              <a:gd name="connsiteX618" fmla="*/ 1237909 w 5610835"/>
              <a:gd name="connsiteY618" fmla="*/ 4913591 h 5278114"/>
              <a:gd name="connsiteX619" fmla="*/ 1242682 w 5610835"/>
              <a:gd name="connsiteY619" fmla="*/ 4919954 h 5278114"/>
              <a:gd name="connsiteX620" fmla="*/ 1237909 w 5610835"/>
              <a:gd name="connsiteY620" fmla="*/ 4918363 h 5278114"/>
              <a:gd name="connsiteX621" fmla="*/ 1236318 w 5610835"/>
              <a:gd name="connsiteY621" fmla="*/ 4908818 h 5278114"/>
              <a:gd name="connsiteX622" fmla="*/ 1231547 w 5610835"/>
              <a:gd name="connsiteY622" fmla="*/ 4896093 h 5278114"/>
              <a:gd name="connsiteX623" fmla="*/ 1226774 w 5610835"/>
              <a:gd name="connsiteY623" fmla="*/ 4880184 h 5278114"/>
              <a:gd name="connsiteX624" fmla="*/ 1191777 w 5610835"/>
              <a:gd name="connsiteY624" fmla="*/ 4878593 h 5278114"/>
              <a:gd name="connsiteX625" fmla="*/ 1196550 w 5610835"/>
              <a:gd name="connsiteY625" fmla="*/ 4881775 h 5278114"/>
              <a:gd name="connsiteX626" fmla="*/ 1206094 w 5610835"/>
              <a:gd name="connsiteY626" fmla="*/ 4896092 h 5278114"/>
              <a:gd name="connsiteX627" fmla="*/ 1187005 w 5610835"/>
              <a:gd name="connsiteY627" fmla="*/ 4894501 h 5278114"/>
              <a:gd name="connsiteX628" fmla="*/ 1212457 w 5610835"/>
              <a:gd name="connsiteY628" fmla="*/ 4902455 h 5278114"/>
              <a:gd name="connsiteX629" fmla="*/ 1218820 w 5610835"/>
              <a:gd name="connsiteY629" fmla="*/ 4913589 h 5278114"/>
              <a:gd name="connsiteX630" fmla="*/ 1202913 w 5610835"/>
              <a:gd name="connsiteY630" fmla="*/ 4915180 h 5278114"/>
              <a:gd name="connsiteX631" fmla="*/ 1194959 w 5610835"/>
              <a:gd name="connsiteY631" fmla="*/ 4908817 h 5278114"/>
              <a:gd name="connsiteX632" fmla="*/ 1188596 w 5610835"/>
              <a:gd name="connsiteY632" fmla="*/ 4945404 h 5278114"/>
              <a:gd name="connsiteX633" fmla="*/ 1182233 w 5610835"/>
              <a:gd name="connsiteY633" fmla="*/ 4931088 h 5278114"/>
              <a:gd name="connsiteX634" fmla="*/ 1182233 w 5610835"/>
              <a:gd name="connsiteY634" fmla="*/ 4924725 h 5278114"/>
              <a:gd name="connsiteX635" fmla="*/ 1183823 w 5610835"/>
              <a:gd name="connsiteY635" fmla="*/ 4919953 h 5278114"/>
              <a:gd name="connsiteX636" fmla="*/ 1180642 w 5610835"/>
              <a:gd name="connsiteY636" fmla="*/ 4918362 h 5278114"/>
              <a:gd name="connsiteX637" fmla="*/ 1177461 w 5610835"/>
              <a:gd name="connsiteY637" fmla="*/ 4921543 h 5278114"/>
              <a:gd name="connsiteX638" fmla="*/ 1169507 w 5610835"/>
              <a:gd name="connsiteY638" fmla="*/ 4905636 h 5278114"/>
              <a:gd name="connsiteX639" fmla="*/ 1191777 w 5610835"/>
              <a:gd name="connsiteY639" fmla="*/ 4878593 h 5278114"/>
              <a:gd name="connsiteX640" fmla="*/ 2080999 w 5610835"/>
              <a:gd name="connsiteY640" fmla="*/ 4875413 h 5278114"/>
              <a:gd name="connsiteX641" fmla="*/ 2084180 w 5610835"/>
              <a:gd name="connsiteY641" fmla="*/ 4881776 h 5278114"/>
              <a:gd name="connsiteX642" fmla="*/ 2069862 w 5610835"/>
              <a:gd name="connsiteY642" fmla="*/ 4896093 h 5278114"/>
              <a:gd name="connsiteX643" fmla="*/ 2057137 w 5610835"/>
              <a:gd name="connsiteY643" fmla="*/ 4889730 h 5278114"/>
              <a:gd name="connsiteX644" fmla="*/ 2058728 w 5610835"/>
              <a:gd name="connsiteY644" fmla="*/ 4881776 h 5278114"/>
              <a:gd name="connsiteX645" fmla="*/ 2065090 w 5610835"/>
              <a:gd name="connsiteY645" fmla="*/ 4880185 h 5278114"/>
              <a:gd name="connsiteX646" fmla="*/ 2071453 w 5610835"/>
              <a:gd name="connsiteY646" fmla="*/ 4881776 h 5278114"/>
              <a:gd name="connsiteX647" fmla="*/ 2071453 w 5610835"/>
              <a:gd name="connsiteY647" fmla="*/ 4878594 h 5278114"/>
              <a:gd name="connsiteX648" fmla="*/ 2080999 w 5610835"/>
              <a:gd name="connsiteY648" fmla="*/ 4875413 h 5278114"/>
              <a:gd name="connsiteX649" fmla="*/ 1668999 w 5610835"/>
              <a:gd name="connsiteY649" fmla="*/ 4875413 h 5278114"/>
              <a:gd name="connsiteX650" fmla="*/ 1670590 w 5610835"/>
              <a:gd name="connsiteY650" fmla="*/ 4878594 h 5278114"/>
              <a:gd name="connsiteX651" fmla="*/ 1673771 w 5610835"/>
              <a:gd name="connsiteY651" fmla="*/ 4881776 h 5278114"/>
              <a:gd name="connsiteX652" fmla="*/ 1664226 w 5610835"/>
              <a:gd name="connsiteY652" fmla="*/ 4896093 h 5278114"/>
              <a:gd name="connsiteX653" fmla="*/ 1656272 w 5610835"/>
              <a:gd name="connsiteY653" fmla="*/ 4897683 h 5278114"/>
              <a:gd name="connsiteX654" fmla="*/ 1668999 w 5610835"/>
              <a:gd name="connsiteY654" fmla="*/ 4875413 h 5278114"/>
              <a:gd name="connsiteX655" fmla="*/ 1600597 w 5610835"/>
              <a:gd name="connsiteY655" fmla="*/ 4875412 h 5278114"/>
              <a:gd name="connsiteX656" fmla="*/ 1600597 w 5610835"/>
              <a:gd name="connsiteY656" fmla="*/ 4892912 h 5278114"/>
              <a:gd name="connsiteX657" fmla="*/ 1559237 w 5610835"/>
              <a:gd name="connsiteY657" fmla="*/ 4910409 h 5278114"/>
              <a:gd name="connsiteX658" fmla="*/ 1600597 w 5610835"/>
              <a:gd name="connsiteY658" fmla="*/ 4875412 h 5278114"/>
              <a:gd name="connsiteX659" fmla="*/ 1102697 w 5610835"/>
              <a:gd name="connsiteY659" fmla="*/ 4875412 h 5278114"/>
              <a:gd name="connsiteX660" fmla="*/ 1123376 w 5610835"/>
              <a:gd name="connsiteY660" fmla="*/ 4915182 h 5278114"/>
              <a:gd name="connsiteX661" fmla="*/ 1118604 w 5610835"/>
              <a:gd name="connsiteY661" fmla="*/ 4910409 h 5278114"/>
              <a:gd name="connsiteX662" fmla="*/ 1118604 w 5610835"/>
              <a:gd name="connsiteY662" fmla="*/ 4915182 h 5278114"/>
              <a:gd name="connsiteX663" fmla="*/ 1099516 w 5610835"/>
              <a:gd name="connsiteY663" fmla="*/ 4905637 h 5278114"/>
              <a:gd name="connsiteX664" fmla="*/ 1096333 w 5610835"/>
              <a:gd name="connsiteY664" fmla="*/ 4896093 h 5278114"/>
              <a:gd name="connsiteX665" fmla="*/ 1099516 w 5610835"/>
              <a:gd name="connsiteY665" fmla="*/ 4891321 h 5278114"/>
              <a:gd name="connsiteX666" fmla="*/ 1104287 w 5610835"/>
              <a:gd name="connsiteY666" fmla="*/ 4884958 h 5278114"/>
              <a:gd name="connsiteX667" fmla="*/ 1101105 w 5610835"/>
              <a:gd name="connsiteY667" fmla="*/ 4883367 h 5278114"/>
              <a:gd name="connsiteX668" fmla="*/ 1102697 w 5610835"/>
              <a:gd name="connsiteY668" fmla="*/ 4875412 h 5278114"/>
              <a:gd name="connsiteX669" fmla="*/ 1309492 w 5610835"/>
              <a:gd name="connsiteY669" fmla="*/ 4872231 h 5278114"/>
              <a:gd name="connsiteX670" fmla="*/ 1309492 w 5610835"/>
              <a:gd name="connsiteY670" fmla="*/ 4875412 h 5278114"/>
              <a:gd name="connsiteX671" fmla="*/ 1288812 w 5610835"/>
              <a:gd name="connsiteY671" fmla="*/ 4921544 h 5278114"/>
              <a:gd name="connsiteX672" fmla="*/ 1284040 w 5610835"/>
              <a:gd name="connsiteY672" fmla="*/ 4883367 h 5278114"/>
              <a:gd name="connsiteX673" fmla="*/ 1309492 w 5610835"/>
              <a:gd name="connsiteY673" fmla="*/ 4872231 h 5278114"/>
              <a:gd name="connsiteX674" fmla="*/ 1696041 w 5610835"/>
              <a:gd name="connsiteY674" fmla="*/ 4870640 h 5278114"/>
              <a:gd name="connsiteX675" fmla="*/ 1697631 w 5610835"/>
              <a:gd name="connsiteY675" fmla="*/ 4870640 h 5278114"/>
              <a:gd name="connsiteX676" fmla="*/ 1699222 w 5610835"/>
              <a:gd name="connsiteY676" fmla="*/ 4875413 h 5278114"/>
              <a:gd name="connsiteX677" fmla="*/ 1703994 w 5610835"/>
              <a:gd name="connsiteY677" fmla="*/ 4877004 h 5278114"/>
              <a:gd name="connsiteX678" fmla="*/ 1699222 w 5610835"/>
              <a:gd name="connsiteY678" fmla="*/ 4878594 h 5278114"/>
              <a:gd name="connsiteX679" fmla="*/ 1702404 w 5610835"/>
              <a:gd name="connsiteY679" fmla="*/ 4881776 h 5278114"/>
              <a:gd name="connsiteX680" fmla="*/ 1692859 w 5610835"/>
              <a:gd name="connsiteY680" fmla="*/ 4883367 h 5278114"/>
              <a:gd name="connsiteX681" fmla="*/ 1692859 w 5610835"/>
              <a:gd name="connsiteY681" fmla="*/ 4881776 h 5278114"/>
              <a:gd name="connsiteX682" fmla="*/ 1696041 w 5610835"/>
              <a:gd name="connsiteY682" fmla="*/ 4870640 h 5278114"/>
              <a:gd name="connsiteX683" fmla="*/ 1201322 w 5610835"/>
              <a:gd name="connsiteY683" fmla="*/ 4867459 h 5278114"/>
              <a:gd name="connsiteX684" fmla="*/ 1212458 w 5610835"/>
              <a:gd name="connsiteY684" fmla="*/ 4878594 h 5278114"/>
              <a:gd name="connsiteX685" fmla="*/ 1214048 w 5610835"/>
              <a:gd name="connsiteY685" fmla="*/ 4883367 h 5278114"/>
              <a:gd name="connsiteX686" fmla="*/ 1209275 w 5610835"/>
              <a:gd name="connsiteY686" fmla="*/ 4881776 h 5278114"/>
              <a:gd name="connsiteX687" fmla="*/ 1209275 w 5610835"/>
              <a:gd name="connsiteY687" fmla="*/ 4884958 h 5278114"/>
              <a:gd name="connsiteX688" fmla="*/ 1201322 w 5610835"/>
              <a:gd name="connsiteY688" fmla="*/ 4867459 h 5278114"/>
              <a:gd name="connsiteX689" fmla="*/ 1657863 w 5610835"/>
              <a:gd name="connsiteY689" fmla="*/ 4865869 h 5278114"/>
              <a:gd name="connsiteX690" fmla="*/ 1662635 w 5610835"/>
              <a:gd name="connsiteY690" fmla="*/ 4865869 h 5278114"/>
              <a:gd name="connsiteX691" fmla="*/ 1664226 w 5610835"/>
              <a:gd name="connsiteY691" fmla="*/ 4873822 h 5278114"/>
              <a:gd name="connsiteX692" fmla="*/ 1659454 w 5610835"/>
              <a:gd name="connsiteY692" fmla="*/ 4875413 h 5278114"/>
              <a:gd name="connsiteX693" fmla="*/ 1657863 w 5610835"/>
              <a:gd name="connsiteY693" fmla="*/ 4865869 h 5278114"/>
              <a:gd name="connsiteX694" fmla="*/ 1089970 w 5610835"/>
              <a:gd name="connsiteY694" fmla="*/ 4865869 h 5278114"/>
              <a:gd name="connsiteX695" fmla="*/ 1099516 w 5610835"/>
              <a:gd name="connsiteY695" fmla="*/ 4869050 h 5278114"/>
              <a:gd name="connsiteX696" fmla="*/ 1099516 w 5610835"/>
              <a:gd name="connsiteY696" fmla="*/ 4873822 h 5278114"/>
              <a:gd name="connsiteX697" fmla="*/ 1096333 w 5610835"/>
              <a:gd name="connsiteY697" fmla="*/ 4884958 h 5278114"/>
              <a:gd name="connsiteX698" fmla="*/ 1093152 w 5610835"/>
              <a:gd name="connsiteY698" fmla="*/ 4873822 h 5278114"/>
              <a:gd name="connsiteX699" fmla="*/ 1089970 w 5610835"/>
              <a:gd name="connsiteY699" fmla="*/ 4865869 h 5278114"/>
              <a:gd name="connsiteX700" fmla="*/ 1150418 w 5610835"/>
              <a:gd name="connsiteY700" fmla="*/ 4865868 h 5278114"/>
              <a:gd name="connsiteX701" fmla="*/ 1158372 w 5610835"/>
              <a:gd name="connsiteY701" fmla="*/ 4886548 h 5278114"/>
              <a:gd name="connsiteX702" fmla="*/ 1156781 w 5610835"/>
              <a:gd name="connsiteY702" fmla="*/ 4891321 h 5278114"/>
              <a:gd name="connsiteX703" fmla="*/ 1166327 w 5610835"/>
              <a:gd name="connsiteY703" fmla="*/ 4907228 h 5278114"/>
              <a:gd name="connsiteX704" fmla="*/ 1159964 w 5610835"/>
              <a:gd name="connsiteY704" fmla="*/ 4913591 h 5278114"/>
              <a:gd name="connsiteX705" fmla="*/ 1142465 w 5610835"/>
              <a:gd name="connsiteY705" fmla="*/ 4899274 h 5278114"/>
              <a:gd name="connsiteX706" fmla="*/ 1150418 w 5610835"/>
              <a:gd name="connsiteY706" fmla="*/ 4865868 h 5278114"/>
              <a:gd name="connsiteX707" fmla="*/ 1653091 w 5610835"/>
              <a:gd name="connsiteY707" fmla="*/ 4864278 h 5278114"/>
              <a:gd name="connsiteX708" fmla="*/ 1654682 w 5610835"/>
              <a:gd name="connsiteY708" fmla="*/ 4875413 h 5278114"/>
              <a:gd name="connsiteX709" fmla="*/ 1608550 w 5610835"/>
              <a:gd name="connsiteY709" fmla="*/ 4886548 h 5278114"/>
              <a:gd name="connsiteX710" fmla="*/ 1606959 w 5610835"/>
              <a:gd name="connsiteY710" fmla="*/ 4872231 h 5278114"/>
              <a:gd name="connsiteX711" fmla="*/ 1653091 w 5610835"/>
              <a:gd name="connsiteY711" fmla="*/ 4864278 h 5278114"/>
              <a:gd name="connsiteX712" fmla="*/ 1222002 w 5610835"/>
              <a:gd name="connsiteY712" fmla="*/ 4864278 h 5278114"/>
              <a:gd name="connsiteX713" fmla="*/ 1226775 w 5610835"/>
              <a:gd name="connsiteY713" fmla="*/ 4869050 h 5278114"/>
              <a:gd name="connsiteX714" fmla="*/ 1223593 w 5610835"/>
              <a:gd name="connsiteY714" fmla="*/ 4870640 h 5278114"/>
              <a:gd name="connsiteX715" fmla="*/ 1222002 w 5610835"/>
              <a:gd name="connsiteY715" fmla="*/ 4864278 h 5278114"/>
              <a:gd name="connsiteX716" fmla="*/ 1705585 w 5610835"/>
              <a:gd name="connsiteY716" fmla="*/ 4859507 h 5278114"/>
              <a:gd name="connsiteX717" fmla="*/ 1705585 w 5610835"/>
              <a:gd name="connsiteY717" fmla="*/ 4862688 h 5278114"/>
              <a:gd name="connsiteX718" fmla="*/ 1703994 w 5610835"/>
              <a:gd name="connsiteY718" fmla="*/ 4862688 h 5278114"/>
              <a:gd name="connsiteX719" fmla="*/ 1705585 w 5610835"/>
              <a:gd name="connsiteY719" fmla="*/ 4859507 h 5278114"/>
              <a:gd name="connsiteX720" fmla="*/ 1653090 w 5610835"/>
              <a:gd name="connsiteY720" fmla="*/ 4838826 h 5278114"/>
              <a:gd name="connsiteX721" fmla="*/ 1653090 w 5610835"/>
              <a:gd name="connsiteY721" fmla="*/ 4848371 h 5278114"/>
              <a:gd name="connsiteX722" fmla="*/ 1641955 w 5610835"/>
              <a:gd name="connsiteY722" fmla="*/ 4845190 h 5278114"/>
              <a:gd name="connsiteX723" fmla="*/ 1653090 w 5610835"/>
              <a:gd name="connsiteY723" fmla="*/ 4838826 h 5278114"/>
              <a:gd name="connsiteX724" fmla="*/ 1161555 w 5610835"/>
              <a:gd name="connsiteY724" fmla="*/ 4835644 h 5278114"/>
              <a:gd name="connsiteX725" fmla="*/ 1171099 w 5610835"/>
              <a:gd name="connsiteY725" fmla="*/ 4849960 h 5278114"/>
              <a:gd name="connsiteX726" fmla="*/ 1169509 w 5610835"/>
              <a:gd name="connsiteY726" fmla="*/ 4849960 h 5278114"/>
              <a:gd name="connsiteX727" fmla="*/ 1164735 w 5610835"/>
              <a:gd name="connsiteY727" fmla="*/ 4854732 h 5278114"/>
              <a:gd name="connsiteX728" fmla="*/ 1174280 w 5610835"/>
              <a:gd name="connsiteY728" fmla="*/ 4864277 h 5278114"/>
              <a:gd name="connsiteX729" fmla="*/ 1169509 w 5610835"/>
              <a:gd name="connsiteY729" fmla="*/ 4864277 h 5278114"/>
              <a:gd name="connsiteX730" fmla="*/ 1171099 w 5610835"/>
              <a:gd name="connsiteY730" fmla="*/ 4867459 h 5278114"/>
              <a:gd name="connsiteX731" fmla="*/ 1164735 w 5610835"/>
              <a:gd name="connsiteY731" fmla="*/ 4869050 h 5278114"/>
              <a:gd name="connsiteX732" fmla="*/ 1175871 w 5610835"/>
              <a:gd name="connsiteY732" fmla="*/ 4872231 h 5278114"/>
              <a:gd name="connsiteX733" fmla="*/ 1169509 w 5610835"/>
              <a:gd name="connsiteY733" fmla="*/ 4899273 h 5278114"/>
              <a:gd name="connsiteX734" fmla="*/ 1156781 w 5610835"/>
              <a:gd name="connsiteY734" fmla="*/ 4869050 h 5278114"/>
              <a:gd name="connsiteX735" fmla="*/ 1152009 w 5610835"/>
              <a:gd name="connsiteY735" fmla="*/ 4857914 h 5278114"/>
              <a:gd name="connsiteX736" fmla="*/ 1161555 w 5610835"/>
              <a:gd name="connsiteY736" fmla="*/ 4835644 h 5278114"/>
              <a:gd name="connsiteX737" fmla="*/ 1147238 w 5610835"/>
              <a:gd name="connsiteY737" fmla="*/ 4834055 h 5278114"/>
              <a:gd name="connsiteX738" fmla="*/ 1145647 w 5610835"/>
              <a:gd name="connsiteY738" fmla="*/ 4837236 h 5278114"/>
              <a:gd name="connsiteX739" fmla="*/ 1145647 w 5610835"/>
              <a:gd name="connsiteY739" fmla="*/ 4835645 h 5278114"/>
              <a:gd name="connsiteX740" fmla="*/ 1147238 w 5610835"/>
              <a:gd name="connsiteY740" fmla="*/ 4834055 h 5278114"/>
              <a:gd name="connsiteX741" fmla="*/ 1595824 w 5610835"/>
              <a:gd name="connsiteY741" fmla="*/ 4830872 h 5278114"/>
              <a:gd name="connsiteX742" fmla="*/ 1597415 w 5610835"/>
              <a:gd name="connsiteY742" fmla="*/ 4849962 h 5278114"/>
              <a:gd name="connsiteX743" fmla="*/ 1587871 w 5610835"/>
              <a:gd name="connsiteY743" fmla="*/ 4856325 h 5278114"/>
              <a:gd name="connsiteX744" fmla="*/ 1595824 w 5610835"/>
              <a:gd name="connsiteY744" fmla="*/ 4830872 h 5278114"/>
              <a:gd name="connsiteX745" fmla="*/ 1193369 w 5610835"/>
              <a:gd name="connsiteY745" fmla="*/ 4829282 h 5278114"/>
              <a:gd name="connsiteX746" fmla="*/ 1199732 w 5610835"/>
              <a:gd name="connsiteY746" fmla="*/ 4837236 h 5278114"/>
              <a:gd name="connsiteX747" fmla="*/ 1196551 w 5610835"/>
              <a:gd name="connsiteY747" fmla="*/ 4835645 h 5278114"/>
              <a:gd name="connsiteX748" fmla="*/ 1194960 w 5610835"/>
              <a:gd name="connsiteY748" fmla="*/ 4842007 h 5278114"/>
              <a:gd name="connsiteX749" fmla="*/ 1191778 w 5610835"/>
              <a:gd name="connsiteY749" fmla="*/ 4840417 h 5278114"/>
              <a:gd name="connsiteX750" fmla="*/ 1193369 w 5610835"/>
              <a:gd name="connsiteY750" fmla="*/ 4829282 h 5278114"/>
              <a:gd name="connsiteX751" fmla="*/ 1562418 w 5610835"/>
              <a:gd name="connsiteY751" fmla="*/ 4826100 h 5278114"/>
              <a:gd name="connsiteX752" fmla="*/ 1557647 w 5610835"/>
              <a:gd name="connsiteY752" fmla="*/ 4837236 h 5278114"/>
              <a:gd name="connsiteX753" fmla="*/ 1551283 w 5610835"/>
              <a:gd name="connsiteY753" fmla="*/ 4886548 h 5278114"/>
              <a:gd name="connsiteX754" fmla="*/ 1516287 w 5610835"/>
              <a:gd name="connsiteY754" fmla="*/ 4918362 h 5278114"/>
              <a:gd name="connsiteX755" fmla="*/ 1530604 w 5610835"/>
              <a:gd name="connsiteY755" fmla="*/ 4880185 h 5278114"/>
              <a:gd name="connsiteX756" fmla="*/ 1505152 w 5610835"/>
              <a:gd name="connsiteY756" fmla="*/ 4910408 h 5278114"/>
              <a:gd name="connsiteX757" fmla="*/ 1495608 w 5610835"/>
              <a:gd name="connsiteY757" fmla="*/ 4902455 h 5278114"/>
              <a:gd name="connsiteX758" fmla="*/ 1530604 w 5610835"/>
              <a:gd name="connsiteY758" fmla="*/ 4864278 h 5278114"/>
              <a:gd name="connsiteX759" fmla="*/ 1562418 w 5610835"/>
              <a:gd name="connsiteY759" fmla="*/ 4826100 h 5278114"/>
              <a:gd name="connsiteX760" fmla="*/ 1175871 w 5610835"/>
              <a:gd name="connsiteY760" fmla="*/ 4826100 h 5278114"/>
              <a:gd name="connsiteX761" fmla="*/ 1183825 w 5610835"/>
              <a:gd name="connsiteY761" fmla="*/ 4827691 h 5278114"/>
              <a:gd name="connsiteX762" fmla="*/ 1183825 w 5610835"/>
              <a:gd name="connsiteY762" fmla="*/ 4838826 h 5278114"/>
              <a:gd name="connsiteX763" fmla="*/ 1175871 w 5610835"/>
              <a:gd name="connsiteY763" fmla="*/ 4826100 h 5278114"/>
              <a:gd name="connsiteX764" fmla="*/ 1166326 w 5610835"/>
              <a:gd name="connsiteY764" fmla="*/ 4824509 h 5278114"/>
              <a:gd name="connsiteX765" fmla="*/ 1177461 w 5610835"/>
              <a:gd name="connsiteY765" fmla="*/ 4838826 h 5278114"/>
              <a:gd name="connsiteX766" fmla="*/ 1183825 w 5610835"/>
              <a:gd name="connsiteY766" fmla="*/ 4848371 h 5278114"/>
              <a:gd name="connsiteX767" fmla="*/ 1183825 w 5610835"/>
              <a:gd name="connsiteY767" fmla="*/ 4853143 h 5278114"/>
              <a:gd name="connsiteX768" fmla="*/ 1179052 w 5610835"/>
              <a:gd name="connsiteY768" fmla="*/ 4851553 h 5278114"/>
              <a:gd name="connsiteX769" fmla="*/ 1182234 w 5610835"/>
              <a:gd name="connsiteY769" fmla="*/ 4856325 h 5278114"/>
              <a:gd name="connsiteX770" fmla="*/ 1179052 w 5610835"/>
              <a:gd name="connsiteY770" fmla="*/ 4854734 h 5278114"/>
              <a:gd name="connsiteX771" fmla="*/ 1163145 w 5610835"/>
              <a:gd name="connsiteY771" fmla="*/ 4829283 h 5278114"/>
              <a:gd name="connsiteX772" fmla="*/ 1159963 w 5610835"/>
              <a:gd name="connsiteY772" fmla="*/ 4834055 h 5278114"/>
              <a:gd name="connsiteX773" fmla="*/ 1159963 w 5610835"/>
              <a:gd name="connsiteY773" fmla="*/ 4827692 h 5278114"/>
              <a:gd name="connsiteX774" fmla="*/ 1166326 w 5610835"/>
              <a:gd name="connsiteY774" fmla="*/ 4824509 h 5278114"/>
              <a:gd name="connsiteX775" fmla="*/ 1212458 w 5610835"/>
              <a:gd name="connsiteY775" fmla="*/ 4821328 h 5278114"/>
              <a:gd name="connsiteX776" fmla="*/ 1217230 w 5610835"/>
              <a:gd name="connsiteY776" fmla="*/ 4829282 h 5278114"/>
              <a:gd name="connsiteX777" fmla="*/ 1212458 w 5610835"/>
              <a:gd name="connsiteY777" fmla="*/ 4829282 h 5278114"/>
              <a:gd name="connsiteX778" fmla="*/ 1212458 w 5610835"/>
              <a:gd name="connsiteY778" fmla="*/ 4821328 h 5278114"/>
              <a:gd name="connsiteX779" fmla="*/ 1163146 w 5610835"/>
              <a:gd name="connsiteY779" fmla="*/ 4811784 h 5278114"/>
              <a:gd name="connsiteX780" fmla="*/ 1164737 w 5610835"/>
              <a:gd name="connsiteY780" fmla="*/ 4816556 h 5278114"/>
              <a:gd name="connsiteX781" fmla="*/ 1161555 w 5610835"/>
              <a:gd name="connsiteY781" fmla="*/ 4814965 h 5278114"/>
              <a:gd name="connsiteX782" fmla="*/ 1163146 w 5610835"/>
              <a:gd name="connsiteY782" fmla="*/ 4811784 h 5278114"/>
              <a:gd name="connsiteX783" fmla="*/ 1167918 w 5610835"/>
              <a:gd name="connsiteY783" fmla="*/ 4810193 h 5278114"/>
              <a:gd name="connsiteX784" fmla="*/ 1172689 w 5610835"/>
              <a:gd name="connsiteY784" fmla="*/ 4810193 h 5278114"/>
              <a:gd name="connsiteX785" fmla="*/ 1185415 w 5610835"/>
              <a:gd name="connsiteY785" fmla="*/ 4819737 h 5278114"/>
              <a:gd name="connsiteX786" fmla="*/ 1180643 w 5610835"/>
              <a:gd name="connsiteY786" fmla="*/ 4819737 h 5278114"/>
              <a:gd name="connsiteX787" fmla="*/ 1179052 w 5610835"/>
              <a:gd name="connsiteY787" fmla="*/ 4822918 h 5278114"/>
              <a:gd name="connsiteX788" fmla="*/ 1177462 w 5610835"/>
              <a:gd name="connsiteY788" fmla="*/ 4821328 h 5278114"/>
              <a:gd name="connsiteX789" fmla="*/ 1179052 w 5610835"/>
              <a:gd name="connsiteY789" fmla="*/ 4816555 h 5278114"/>
              <a:gd name="connsiteX790" fmla="*/ 1177462 w 5610835"/>
              <a:gd name="connsiteY790" fmla="*/ 4816555 h 5278114"/>
              <a:gd name="connsiteX791" fmla="*/ 1169509 w 5610835"/>
              <a:gd name="connsiteY791" fmla="*/ 4818146 h 5278114"/>
              <a:gd name="connsiteX792" fmla="*/ 1167918 w 5610835"/>
              <a:gd name="connsiteY792" fmla="*/ 4810193 h 5278114"/>
              <a:gd name="connsiteX793" fmla="*/ 1113832 w 5610835"/>
              <a:gd name="connsiteY793" fmla="*/ 4808602 h 5278114"/>
              <a:gd name="connsiteX794" fmla="*/ 1118604 w 5610835"/>
              <a:gd name="connsiteY794" fmla="*/ 4810193 h 5278114"/>
              <a:gd name="connsiteX795" fmla="*/ 1121786 w 5610835"/>
              <a:gd name="connsiteY795" fmla="*/ 4814964 h 5278114"/>
              <a:gd name="connsiteX796" fmla="*/ 1120195 w 5610835"/>
              <a:gd name="connsiteY796" fmla="*/ 4824509 h 5278114"/>
              <a:gd name="connsiteX797" fmla="*/ 1126558 w 5610835"/>
              <a:gd name="connsiteY797" fmla="*/ 4826100 h 5278114"/>
              <a:gd name="connsiteX798" fmla="*/ 1126558 w 5610835"/>
              <a:gd name="connsiteY798" fmla="*/ 4837235 h 5278114"/>
              <a:gd name="connsiteX799" fmla="*/ 1139285 w 5610835"/>
              <a:gd name="connsiteY799" fmla="*/ 4848370 h 5278114"/>
              <a:gd name="connsiteX800" fmla="*/ 1139285 w 5610835"/>
              <a:gd name="connsiteY800" fmla="*/ 4849961 h 5278114"/>
              <a:gd name="connsiteX801" fmla="*/ 1144056 w 5610835"/>
              <a:gd name="connsiteY801" fmla="*/ 4853142 h 5278114"/>
              <a:gd name="connsiteX802" fmla="*/ 1128149 w 5610835"/>
              <a:gd name="connsiteY802" fmla="*/ 4881775 h 5278114"/>
              <a:gd name="connsiteX803" fmla="*/ 1107469 w 5610835"/>
              <a:gd name="connsiteY803" fmla="*/ 4843597 h 5278114"/>
              <a:gd name="connsiteX804" fmla="*/ 1112241 w 5610835"/>
              <a:gd name="connsiteY804" fmla="*/ 4826100 h 5278114"/>
              <a:gd name="connsiteX805" fmla="*/ 1113832 w 5610835"/>
              <a:gd name="connsiteY805" fmla="*/ 4808602 h 5278114"/>
              <a:gd name="connsiteX806" fmla="*/ 1581509 w 5610835"/>
              <a:gd name="connsiteY806" fmla="*/ 4807011 h 5278114"/>
              <a:gd name="connsiteX807" fmla="*/ 1587871 w 5610835"/>
              <a:gd name="connsiteY807" fmla="*/ 4807011 h 5278114"/>
              <a:gd name="connsiteX808" fmla="*/ 1589461 w 5610835"/>
              <a:gd name="connsiteY808" fmla="*/ 4822918 h 5278114"/>
              <a:gd name="connsiteX809" fmla="*/ 1568781 w 5610835"/>
              <a:gd name="connsiteY809" fmla="*/ 4872231 h 5278114"/>
              <a:gd name="connsiteX810" fmla="*/ 1554465 w 5610835"/>
              <a:gd name="connsiteY810" fmla="*/ 4880184 h 5278114"/>
              <a:gd name="connsiteX811" fmla="*/ 1559237 w 5610835"/>
              <a:gd name="connsiteY811" fmla="*/ 4861096 h 5278114"/>
              <a:gd name="connsiteX812" fmla="*/ 1557646 w 5610835"/>
              <a:gd name="connsiteY812" fmla="*/ 4857914 h 5278114"/>
              <a:gd name="connsiteX813" fmla="*/ 1562418 w 5610835"/>
              <a:gd name="connsiteY813" fmla="*/ 4835644 h 5278114"/>
              <a:gd name="connsiteX814" fmla="*/ 1568781 w 5610835"/>
              <a:gd name="connsiteY814" fmla="*/ 4814964 h 5278114"/>
              <a:gd name="connsiteX815" fmla="*/ 1576735 w 5610835"/>
              <a:gd name="connsiteY815" fmla="*/ 4811783 h 5278114"/>
              <a:gd name="connsiteX816" fmla="*/ 1581509 w 5610835"/>
              <a:gd name="connsiteY816" fmla="*/ 4807011 h 5278114"/>
              <a:gd name="connsiteX817" fmla="*/ 1201322 w 5610835"/>
              <a:gd name="connsiteY817" fmla="*/ 4805421 h 5278114"/>
              <a:gd name="connsiteX818" fmla="*/ 1202913 w 5610835"/>
              <a:gd name="connsiteY818" fmla="*/ 4807012 h 5278114"/>
              <a:gd name="connsiteX819" fmla="*/ 1206094 w 5610835"/>
              <a:gd name="connsiteY819" fmla="*/ 4829283 h 5278114"/>
              <a:gd name="connsiteX820" fmla="*/ 1194959 w 5610835"/>
              <a:gd name="connsiteY820" fmla="*/ 4811784 h 5278114"/>
              <a:gd name="connsiteX821" fmla="*/ 1202913 w 5610835"/>
              <a:gd name="connsiteY821" fmla="*/ 4808602 h 5278114"/>
              <a:gd name="connsiteX822" fmla="*/ 1201322 w 5610835"/>
              <a:gd name="connsiteY822" fmla="*/ 4805421 h 5278114"/>
              <a:gd name="connsiteX823" fmla="*/ 1196551 w 5610835"/>
              <a:gd name="connsiteY823" fmla="*/ 4803831 h 5278114"/>
              <a:gd name="connsiteX824" fmla="*/ 1198141 w 5610835"/>
              <a:gd name="connsiteY824" fmla="*/ 4805421 h 5278114"/>
              <a:gd name="connsiteX825" fmla="*/ 1196414 w 5610835"/>
              <a:gd name="connsiteY825" fmla="*/ 4803941 h 5278114"/>
              <a:gd name="connsiteX826" fmla="*/ 1093152 w 5610835"/>
              <a:gd name="connsiteY826" fmla="*/ 4803830 h 5278114"/>
              <a:gd name="connsiteX827" fmla="*/ 1109061 w 5610835"/>
              <a:gd name="connsiteY827" fmla="*/ 4808602 h 5278114"/>
              <a:gd name="connsiteX828" fmla="*/ 1105879 w 5610835"/>
              <a:gd name="connsiteY828" fmla="*/ 4830873 h 5278114"/>
              <a:gd name="connsiteX829" fmla="*/ 1093152 w 5610835"/>
              <a:gd name="connsiteY829" fmla="*/ 4803830 h 5278114"/>
              <a:gd name="connsiteX830" fmla="*/ 1166326 w 5610835"/>
              <a:gd name="connsiteY830" fmla="*/ 4802240 h 5278114"/>
              <a:gd name="connsiteX831" fmla="*/ 1175870 w 5610835"/>
              <a:gd name="connsiteY831" fmla="*/ 4807012 h 5278114"/>
              <a:gd name="connsiteX832" fmla="*/ 1167917 w 5610835"/>
              <a:gd name="connsiteY832" fmla="*/ 4808602 h 5278114"/>
              <a:gd name="connsiteX833" fmla="*/ 1164735 w 5610835"/>
              <a:gd name="connsiteY833" fmla="*/ 4803831 h 5278114"/>
              <a:gd name="connsiteX834" fmla="*/ 1166326 w 5610835"/>
              <a:gd name="connsiteY834" fmla="*/ 4802240 h 5278114"/>
              <a:gd name="connsiteX835" fmla="*/ 1638775 w 5610835"/>
              <a:gd name="connsiteY835" fmla="*/ 4802239 h 5278114"/>
              <a:gd name="connsiteX836" fmla="*/ 1640366 w 5610835"/>
              <a:gd name="connsiteY836" fmla="*/ 4802239 h 5278114"/>
              <a:gd name="connsiteX837" fmla="*/ 1640366 w 5610835"/>
              <a:gd name="connsiteY837" fmla="*/ 4803830 h 5278114"/>
              <a:gd name="connsiteX838" fmla="*/ 1641956 w 5610835"/>
              <a:gd name="connsiteY838" fmla="*/ 4803830 h 5278114"/>
              <a:gd name="connsiteX839" fmla="*/ 1632412 w 5610835"/>
              <a:gd name="connsiteY839" fmla="*/ 4829283 h 5278114"/>
              <a:gd name="connsiteX840" fmla="*/ 1606959 w 5610835"/>
              <a:gd name="connsiteY840" fmla="*/ 4845189 h 5278114"/>
              <a:gd name="connsiteX841" fmla="*/ 1606959 w 5610835"/>
              <a:gd name="connsiteY841" fmla="*/ 4827692 h 5278114"/>
              <a:gd name="connsiteX842" fmla="*/ 1638775 w 5610835"/>
              <a:gd name="connsiteY842" fmla="*/ 4802239 h 5278114"/>
              <a:gd name="connsiteX843" fmla="*/ 1599006 w 5610835"/>
              <a:gd name="connsiteY843" fmla="*/ 4800649 h 5278114"/>
              <a:gd name="connsiteX844" fmla="*/ 1603778 w 5610835"/>
              <a:gd name="connsiteY844" fmla="*/ 4800649 h 5278114"/>
              <a:gd name="connsiteX845" fmla="*/ 1602189 w 5610835"/>
              <a:gd name="connsiteY845" fmla="*/ 4802240 h 5278114"/>
              <a:gd name="connsiteX846" fmla="*/ 1599006 w 5610835"/>
              <a:gd name="connsiteY846" fmla="*/ 4800649 h 5278114"/>
              <a:gd name="connsiteX847" fmla="*/ 1649909 w 5610835"/>
              <a:gd name="connsiteY847" fmla="*/ 4792695 h 5278114"/>
              <a:gd name="connsiteX848" fmla="*/ 1645137 w 5610835"/>
              <a:gd name="connsiteY848" fmla="*/ 4799058 h 5278114"/>
              <a:gd name="connsiteX849" fmla="*/ 1645137 w 5610835"/>
              <a:gd name="connsiteY849" fmla="*/ 4795877 h 5278114"/>
              <a:gd name="connsiteX850" fmla="*/ 1649909 w 5610835"/>
              <a:gd name="connsiteY850" fmla="*/ 4792695 h 5278114"/>
              <a:gd name="connsiteX851" fmla="*/ 1640366 w 5610835"/>
              <a:gd name="connsiteY851" fmla="*/ 4789514 h 5278114"/>
              <a:gd name="connsiteX852" fmla="*/ 1641957 w 5610835"/>
              <a:gd name="connsiteY852" fmla="*/ 4792695 h 5278114"/>
              <a:gd name="connsiteX853" fmla="*/ 1638775 w 5610835"/>
              <a:gd name="connsiteY853" fmla="*/ 4794286 h 5278114"/>
              <a:gd name="connsiteX854" fmla="*/ 1638775 w 5610835"/>
              <a:gd name="connsiteY854" fmla="*/ 4792695 h 5278114"/>
              <a:gd name="connsiteX855" fmla="*/ 1640366 w 5610835"/>
              <a:gd name="connsiteY855" fmla="*/ 4789514 h 5278114"/>
              <a:gd name="connsiteX856" fmla="*/ 1301538 w 5610835"/>
              <a:gd name="connsiteY856" fmla="*/ 4789513 h 5278114"/>
              <a:gd name="connsiteX857" fmla="*/ 1311083 w 5610835"/>
              <a:gd name="connsiteY857" fmla="*/ 4797468 h 5278114"/>
              <a:gd name="connsiteX858" fmla="*/ 1317447 w 5610835"/>
              <a:gd name="connsiteY858" fmla="*/ 4837236 h 5278114"/>
              <a:gd name="connsiteX859" fmla="*/ 1304719 w 5610835"/>
              <a:gd name="connsiteY859" fmla="*/ 4794286 h 5278114"/>
              <a:gd name="connsiteX860" fmla="*/ 1303129 w 5610835"/>
              <a:gd name="connsiteY860" fmla="*/ 4794286 h 5278114"/>
              <a:gd name="connsiteX861" fmla="*/ 1301538 w 5610835"/>
              <a:gd name="connsiteY861" fmla="*/ 4789513 h 5278114"/>
              <a:gd name="connsiteX862" fmla="*/ 1147238 w 5610835"/>
              <a:gd name="connsiteY862" fmla="*/ 4786332 h 5278114"/>
              <a:gd name="connsiteX863" fmla="*/ 1150419 w 5610835"/>
              <a:gd name="connsiteY863" fmla="*/ 4797468 h 5278114"/>
              <a:gd name="connsiteX864" fmla="*/ 1148829 w 5610835"/>
              <a:gd name="connsiteY864" fmla="*/ 4797468 h 5278114"/>
              <a:gd name="connsiteX865" fmla="*/ 1144056 w 5610835"/>
              <a:gd name="connsiteY865" fmla="*/ 4794286 h 5278114"/>
              <a:gd name="connsiteX866" fmla="*/ 1142465 w 5610835"/>
              <a:gd name="connsiteY866" fmla="*/ 4799058 h 5278114"/>
              <a:gd name="connsiteX867" fmla="*/ 1139284 w 5610835"/>
              <a:gd name="connsiteY867" fmla="*/ 4799058 h 5278114"/>
              <a:gd name="connsiteX868" fmla="*/ 1147238 w 5610835"/>
              <a:gd name="connsiteY868" fmla="*/ 4786332 h 5278114"/>
              <a:gd name="connsiteX869" fmla="*/ 1175870 w 5610835"/>
              <a:gd name="connsiteY869" fmla="*/ 4786331 h 5278114"/>
              <a:gd name="connsiteX870" fmla="*/ 1196414 w 5610835"/>
              <a:gd name="connsiteY870" fmla="*/ 4803941 h 5278114"/>
              <a:gd name="connsiteX871" fmla="*/ 1194363 w 5610835"/>
              <a:gd name="connsiteY871" fmla="*/ 4805620 h 5278114"/>
              <a:gd name="connsiteX872" fmla="*/ 1193369 w 5610835"/>
              <a:gd name="connsiteY872" fmla="*/ 4808602 h 5278114"/>
              <a:gd name="connsiteX873" fmla="*/ 1190784 w 5610835"/>
              <a:gd name="connsiteY873" fmla="*/ 4807211 h 5278114"/>
              <a:gd name="connsiteX874" fmla="*/ 1188597 w 5610835"/>
              <a:gd name="connsiteY874" fmla="*/ 4807095 h 5278114"/>
              <a:gd name="connsiteX875" fmla="*/ 1188597 w 5610835"/>
              <a:gd name="connsiteY875" fmla="*/ 4807012 h 5278114"/>
              <a:gd name="connsiteX876" fmla="*/ 1187005 w 5610835"/>
              <a:gd name="connsiteY876" fmla="*/ 4807012 h 5278114"/>
              <a:gd name="connsiteX877" fmla="*/ 1188597 w 5610835"/>
              <a:gd name="connsiteY877" fmla="*/ 4807095 h 5278114"/>
              <a:gd name="connsiteX878" fmla="*/ 1188597 w 5610835"/>
              <a:gd name="connsiteY878" fmla="*/ 4813375 h 5278114"/>
              <a:gd name="connsiteX879" fmla="*/ 1180642 w 5610835"/>
              <a:gd name="connsiteY879" fmla="*/ 4797468 h 5278114"/>
              <a:gd name="connsiteX880" fmla="*/ 1175870 w 5610835"/>
              <a:gd name="connsiteY880" fmla="*/ 4797468 h 5278114"/>
              <a:gd name="connsiteX881" fmla="*/ 1172689 w 5610835"/>
              <a:gd name="connsiteY881" fmla="*/ 4792695 h 5278114"/>
              <a:gd name="connsiteX882" fmla="*/ 1174280 w 5610835"/>
              <a:gd name="connsiteY882" fmla="*/ 4787923 h 5278114"/>
              <a:gd name="connsiteX883" fmla="*/ 1175870 w 5610835"/>
              <a:gd name="connsiteY883" fmla="*/ 4786331 h 5278114"/>
              <a:gd name="connsiteX884" fmla="*/ 1142466 w 5610835"/>
              <a:gd name="connsiteY884" fmla="*/ 4784741 h 5278114"/>
              <a:gd name="connsiteX885" fmla="*/ 1144056 w 5610835"/>
              <a:gd name="connsiteY885" fmla="*/ 4784741 h 5278114"/>
              <a:gd name="connsiteX886" fmla="*/ 1142466 w 5610835"/>
              <a:gd name="connsiteY886" fmla="*/ 4787923 h 5278114"/>
              <a:gd name="connsiteX887" fmla="*/ 1142466 w 5610835"/>
              <a:gd name="connsiteY887" fmla="*/ 4784741 h 5278114"/>
              <a:gd name="connsiteX888" fmla="*/ 1637184 w 5610835"/>
              <a:gd name="connsiteY888" fmla="*/ 4783150 h 5278114"/>
              <a:gd name="connsiteX889" fmla="*/ 1638775 w 5610835"/>
              <a:gd name="connsiteY889" fmla="*/ 4783150 h 5278114"/>
              <a:gd name="connsiteX890" fmla="*/ 1638775 w 5610835"/>
              <a:gd name="connsiteY890" fmla="*/ 4784741 h 5278114"/>
              <a:gd name="connsiteX891" fmla="*/ 1637184 w 5610835"/>
              <a:gd name="connsiteY891" fmla="*/ 4786332 h 5278114"/>
              <a:gd name="connsiteX892" fmla="*/ 1637184 w 5610835"/>
              <a:gd name="connsiteY892" fmla="*/ 4783150 h 5278114"/>
              <a:gd name="connsiteX893" fmla="*/ 1576737 w 5610835"/>
              <a:gd name="connsiteY893" fmla="*/ 4779969 h 5278114"/>
              <a:gd name="connsiteX894" fmla="*/ 1571965 w 5610835"/>
              <a:gd name="connsiteY894" fmla="*/ 4784741 h 5278114"/>
              <a:gd name="connsiteX895" fmla="*/ 1571965 w 5610835"/>
              <a:gd name="connsiteY895" fmla="*/ 4781560 h 5278114"/>
              <a:gd name="connsiteX896" fmla="*/ 1576737 w 5610835"/>
              <a:gd name="connsiteY896" fmla="*/ 4779969 h 5278114"/>
              <a:gd name="connsiteX897" fmla="*/ 1608551 w 5610835"/>
              <a:gd name="connsiteY897" fmla="*/ 4778378 h 5278114"/>
              <a:gd name="connsiteX898" fmla="*/ 1610142 w 5610835"/>
              <a:gd name="connsiteY898" fmla="*/ 4794286 h 5278114"/>
              <a:gd name="connsiteX899" fmla="*/ 1608551 w 5610835"/>
              <a:gd name="connsiteY899" fmla="*/ 4778378 h 5278114"/>
              <a:gd name="connsiteX900" fmla="*/ 1196551 w 5610835"/>
              <a:gd name="connsiteY900" fmla="*/ 4776788 h 5278114"/>
              <a:gd name="connsiteX901" fmla="*/ 1198142 w 5610835"/>
              <a:gd name="connsiteY901" fmla="*/ 4783150 h 5278114"/>
              <a:gd name="connsiteX902" fmla="*/ 1191779 w 5610835"/>
              <a:gd name="connsiteY902" fmla="*/ 4778378 h 5278114"/>
              <a:gd name="connsiteX903" fmla="*/ 1196551 w 5610835"/>
              <a:gd name="connsiteY903" fmla="*/ 4776788 h 5278114"/>
              <a:gd name="connsiteX904" fmla="*/ 1117014 w 5610835"/>
              <a:gd name="connsiteY904" fmla="*/ 4772016 h 5278114"/>
              <a:gd name="connsiteX905" fmla="*/ 1115423 w 5610835"/>
              <a:gd name="connsiteY905" fmla="*/ 4776788 h 5278114"/>
              <a:gd name="connsiteX906" fmla="*/ 1117014 w 5610835"/>
              <a:gd name="connsiteY906" fmla="*/ 4772016 h 5278114"/>
              <a:gd name="connsiteX907" fmla="*/ 1147238 w 5610835"/>
              <a:gd name="connsiteY907" fmla="*/ 4770425 h 5278114"/>
              <a:gd name="connsiteX908" fmla="*/ 1150419 w 5610835"/>
              <a:gd name="connsiteY908" fmla="*/ 4779969 h 5278114"/>
              <a:gd name="connsiteX909" fmla="*/ 1145647 w 5610835"/>
              <a:gd name="connsiteY909" fmla="*/ 4778378 h 5278114"/>
              <a:gd name="connsiteX910" fmla="*/ 1147238 w 5610835"/>
              <a:gd name="connsiteY910" fmla="*/ 4770425 h 5278114"/>
              <a:gd name="connsiteX911" fmla="*/ 1620481 w 5610835"/>
              <a:gd name="connsiteY911" fmla="*/ 4767640 h 5278114"/>
              <a:gd name="connsiteX912" fmla="*/ 1624457 w 5610835"/>
              <a:gd name="connsiteY912" fmla="*/ 4768834 h 5278114"/>
              <a:gd name="connsiteX913" fmla="*/ 1619685 w 5610835"/>
              <a:gd name="connsiteY913" fmla="*/ 4768834 h 5278114"/>
              <a:gd name="connsiteX914" fmla="*/ 1618095 w 5610835"/>
              <a:gd name="connsiteY914" fmla="*/ 4770425 h 5278114"/>
              <a:gd name="connsiteX915" fmla="*/ 1616504 w 5610835"/>
              <a:gd name="connsiteY915" fmla="*/ 4768834 h 5278114"/>
              <a:gd name="connsiteX916" fmla="*/ 1620481 w 5610835"/>
              <a:gd name="connsiteY916" fmla="*/ 4767640 h 5278114"/>
              <a:gd name="connsiteX917" fmla="*/ 1189790 w 5610835"/>
              <a:gd name="connsiteY917" fmla="*/ 4767640 h 5278114"/>
              <a:gd name="connsiteX918" fmla="*/ 1194960 w 5610835"/>
              <a:gd name="connsiteY918" fmla="*/ 4768834 h 5278114"/>
              <a:gd name="connsiteX919" fmla="*/ 1193369 w 5610835"/>
              <a:gd name="connsiteY919" fmla="*/ 4770425 h 5278114"/>
              <a:gd name="connsiteX920" fmla="*/ 1190188 w 5610835"/>
              <a:gd name="connsiteY920" fmla="*/ 4770425 h 5278114"/>
              <a:gd name="connsiteX921" fmla="*/ 1190188 w 5610835"/>
              <a:gd name="connsiteY921" fmla="*/ 4772015 h 5278114"/>
              <a:gd name="connsiteX922" fmla="*/ 1194960 w 5610835"/>
              <a:gd name="connsiteY922" fmla="*/ 4776788 h 5278114"/>
              <a:gd name="connsiteX923" fmla="*/ 1188597 w 5610835"/>
              <a:gd name="connsiteY923" fmla="*/ 4776788 h 5278114"/>
              <a:gd name="connsiteX924" fmla="*/ 1185414 w 5610835"/>
              <a:gd name="connsiteY924" fmla="*/ 4776788 h 5278114"/>
              <a:gd name="connsiteX925" fmla="*/ 1182234 w 5610835"/>
              <a:gd name="connsiteY925" fmla="*/ 4768834 h 5278114"/>
              <a:gd name="connsiteX926" fmla="*/ 1189790 w 5610835"/>
              <a:gd name="connsiteY926" fmla="*/ 4767640 h 5278114"/>
              <a:gd name="connsiteX927" fmla="*/ 1610141 w 5610835"/>
              <a:gd name="connsiteY927" fmla="*/ 4767243 h 5278114"/>
              <a:gd name="connsiteX928" fmla="*/ 1613322 w 5610835"/>
              <a:gd name="connsiteY928" fmla="*/ 4767243 h 5278114"/>
              <a:gd name="connsiteX929" fmla="*/ 1616504 w 5610835"/>
              <a:gd name="connsiteY929" fmla="*/ 4775197 h 5278114"/>
              <a:gd name="connsiteX930" fmla="*/ 1616504 w 5610835"/>
              <a:gd name="connsiteY930" fmla="*/ 4777782 h 5278114"/>
              <a:gd name="connsiteX931" fmla="*/ 1616504 w 5610835"/>
              <a:gd name="connsiteY931" fmla="*/ 4783150 h 5278114"/>
              <a:gd name="connsiteX932" fmla="*/ 1613322 w 5610835"/>
              <a:gd name="connsiteY932" fmla="*/ 4783150 h 5278114"/>
              <a:gd name="connsiteX933" fmla="*/ 1608550 w 5610835"/>
              <a:gd name="connsiteY933" fmla="*/ 4770425 h 5278114"/>
              <a:gd name="connsiteX934" fmla="*/ 1610141 w 5610835"/>
              <a:gd name="connsiteY934" fmla="*/ 4767243 h 5278114"/>
              <a:gd name="connsiteX935" fmla="*/ 1290403 w 5610835"/>
              <a:gd name="connsiteY935" fmla="*/ 4764062 h 5278114"/>
              <a:gd name="connsiteX936" fmla="*/ 1301537 w 5610835"/>
              <a:gd name="connsiteY936" fmla="*/ 4779969 h 5278114"/>
              <a:gd name="connsiteX937" fmla="*/ 1296766 w 5610835"/>
              <a:gd name="connsiteY937" fmla="*/ 4778378 h 5278114"/>
              <a:gd name="connsiteX938" fmla="*/ 1290403 w 5610835"/>
              <a:gd name="connsiteY938" fmla="*/ 4764062 h 5278114"/>
              <a:gd name="connsiteX939" fmla="*/ 1128149 w 5610835"/>
              <a:gd name="connsiteY939" fmla="*/ 4762471 h 5278114"/>
              <a:gd name="connsiteX940" fmla="*/ 1131331 w 5610835"/>
              <a:gd name="connsiteY940" fmla="*/ 4767243 h 5278114"/>
              <a:gd name="connsiteX941" fmla="*/ 1129740 w 5610835"/>
              <a:gd name="connsiteY941" fmla="*/ 4768834 h 5278114"/>
              <a:gd name="connsiteX942" fmla="*/ 1128149 w 5610835"/>
              <a:gd name="connsiteY942" fmla="*/ 4762471 h 5278114"/>
              <a:gd name="connsiteX943" fmla="*/ 1578327 w 5610835"/>
              <a:gd name="connsiteY943" fmla="*/ 4756108 h 5278114"/>
              <a:gd name="connsiteX944" fmla="*/ 1579917 w 5610835"/>
              <a:gd name="connsiteY944" fmla="*/ 4765653 h 5278114"/>
              <a:gd name="connsiteX945" fmla="*/ 1575145 w 5610835"/>
              <a:gd name="connsiteY945" fmla="*/ 4767243 h 5278114"/>
              <a:gd name="connsiteX946" fmla="*/ 1578327 w 5610835"/>
              <a:gd name="connsiteY946" fmla="*/ 4756108 h 5278114"/>
              <a:gd name="connsiteX947" fmla="*/ 1584689 w 5610835"/>
              <a:gd name="connsiteY947" fmla="*/ 4751336 h 5278114"/>
              <a:gd name="connsiteX948" fmla="*/ 1591052 w 5610835"/>
              <a:gd name="connsiteY948" fmla="*/ 4756108 h 5278114"/>
              <a:gd name="connsiteX949" fmla="*/ 1591052 w 5610835"/>
              <a:gd name="connsiteY949" fmla="*/ 4759289 h 5278114"/>
              <a:gd name="connsiteX950" fmla="*/ 1586279 w 5610835"/>
              <a:gd name="connsiteY950" fmla="*/ 4762471 h 5278114"/>
              <a:gd name="connsiteX951" fmla="*/ 1589461 w 5610835"/>
              <a:gd name="connsiteY951" fmla="*/ 4764062 h 5278114"/>
              <a:gd name="connsiteX952" fmla="*/ 1589461 w 5610835"/>
              <a:gd name="connsiteY952" fmla="*/ 4765652 h 5278114"/>
              <a:gd name="connsiteX953" fmla="*/ 1584689 w 5610835"/>
              <a:gd name="connsiteY953" fmla="*/ 4765652 h 5278114"/>
              <a:gd name="connsiteX954" fmla="*/ 1584689 w 5610835"/>
              <a:gd name="connsiteY954" fmla="*/ 4751336 h 5278114"/>
              <a:gd name="connsiteX955" fmla="*/ 1193369 w 5610835"/>
              <a:gd name="connsiteY955" fmla="*/ 4749745 h 5278114"/>
              <a:gd name="connsiteX956" fmla="*/ 1193369 w 5610835"/>
              <a:gd name="connsiteY956" fmla="*/ 4751336 h 5278114"/>
              <a:gd name="connsiteX957" fmla="*/ 1190188 w 5610835"/>
              <a:gd name="connsiteY957" fmla="*/ 4751336 h 5278114"/>
              <a:gd name="connsiteX958" fmla="*/ 1193369 w 5610835"/>
              <a:gd name="connsiteY958" fmla="*/ 4749745 h 5278114"/>
              <a:gd name="connsiteX959" fmla="*/ 1494862 w 5610835"/>
              <a:gd name="connsiteY959" fmla="*/ 4744674 h 5278114"/>
              <a:gd name="connsiteX960" fmla="*/ 1519470 w 5610835"/>
              <a:gd name="connsiteY960" fmla="*/ 4797468 h 5278114"/>
              <a:gd name="connsiteX961" fmla="*/ 1501971 w 5610835"/>
              <a:gd name="connsiteY961" fmla="*/ 4797468 h 5278114"/>
              <a:gd name="connsiteX962" fmla="*/ 1500380 w 5610835"/>
              <a:gd name="connsiteY962" fmla="*/ 4767242 h 5278114"/>
              <a:gd name="connsiteX963" fmla="*/ 1486063 w 5610835"/>
              <a:gd name="connsiteY963" fmla="*/ 4783150 h 5278114"/>
              <a:gd name="connsiteX964" fmla="*/ 1476519 w 5610835"/>
              <a:gd name="connsiteY964" fmla="*/ 4768833 h 5278114"/>
              <a:gd name="connsiteX965" fmla="*/ 1484473 w 5610835"/>
              <a:gd name="connsiteY965" fmla="*/ 4799058 h 5278114"/>
              <a:gd name="connsiteX966" fmla="*/ 1455839 w 5610835"/>
              <a:gd name="connsiteY966" fmla="*/ 4794286 h 5278114"/>
              <a:gd name="connsiteX967" fmla="*/ 1509924 w 5610835"/>
              <a:gd name="connsiteY967" fmla="*/ 4805421 h 5278114"/>
              <a:gd name="connsiteX968" fmla="*/ 1513106 w 5610835"/>
              <a:gd name="connsiteY968" fmla="*/ 4808602 h 5278114"/>
              <a:gd name="connsiteX969" fmla="*/ 1489246 w 5610835"/>
              <a:gd name="connsiteY969" fmla="*/ 4856324 h 5278114"/>
              <a:gd name="connsiteX970" fmla="*/ 1478109 w 5610835"/>
              <a:gd name="connsiteY970" fmla="*/ 4818147 h 5278114"/>
              <a:gd name="connsiteX971" fmla="*/ 1471747 w 5610835"/>
              <a:gd name="connsiteY971" fmla="*/ 4837236 h 5278114"/>
              <a:gd name="connsiteX972" fmla="*/ 1452659 w 5610835"/>
              <a:gd name="connsiteY972" fmla="*/ 4819737 h 5278114"/>
              <a:gd name="connsiteX973" fmla="*/ 1481291 w 5610835"/>
              <a:gd name="connsiteY973" fmla="*/ 4861097 h 5278114"/>
              <a:gd name="connsiteX974" fmla="*/ 1474928 w 5610835"/>
              <a:gd name="connsiteY974" fmla="*/ 4883367 h 5278114"/>
              <a:gd name="connsiteX975" fmla="*/ 1474928 w 5610835"/>
              <a:gd name="connsiteY975" fmla="*/ 4856324 h 5278114"/>
              <a:gd name="connsiteX976" fmla="*/ 1438342 w 5610835"/>
              <a:gd name="connsiteY976" fmla="*/ 4821328 h 5278114"/>
              <a:gd name="connsiteX977" fmla="*/ 1436751 w 5610835"/>
              <a:gd name="connsiteY977" fmla="*/ 4807012 h 5278114"/>
              <a:gd name="connsiteX978" fmla="*/ 1439932 w 5610835"/>
              <a:gd name="connsiteY978" fmla="*/ 4800649 h 5278114"/>
              <a:gd name="connsiteX979" fmla="*/ 1474928 w 5610835"/>
              <a:gd name="connsiteY979" fmla="*/ 4744972 h 5278114"/>
              <a:gd name="connsiteX980" fmla="*/ 1494862 w 5610835"/>
              <a:gd name="connsiteY980" fmla="*/ 4744674 h 5278114"/>
              <a:gd name="connsiteX981" fmla="*/ 1560828 w 5610835"/>
              <a:gd name="connsiteY981" fmla="*/ 4740201 h 5278114"/>
              <a:gd name="connsiteX982" fmla="*/ 1562419 w 5610835"/>
              <a:gd name="connsiteY982" fmla="*/ 4741792 h 5278114"/>
              <a:gd name="connsiteX983" fmla="*/ 1559237 w 5610835"/>
              <a:gd name="connsiteY983" fmla="*/ 4741792 h 5278114"/>
              <a:gd name="connsiteX984" fmla="*/ 1560828 w 5610835"/>
              <a:gd name="connsiteY984" fmla="*/ 4740201 h 5278114"/>
              <a:gd name="connsiteX985" fmla="*/ 1013615 w 5610835"/>
              <a:gd name="connsiteY985" fmla="*/ 4737019 h 5278114"/>
              <a:gd name="connsiteX986" fmla="*/ 1019980 w 5610835"/>
              <a:gd name="connsiteY986" fmla="*/ 4754517 h 5278114"/>
              <a:gd name="connsiteX987" fmla="*/ 1010435 w 5610835"/>
              <a:gd name="connsiteY987" fmla="*/ 4743382 h 5278114"/>
              <a:gd name="connsiteX988" fmla="*/ 1013615 w 5610835"/>
              <a:gd name="connsiteY988" fmla="*/ 4737019 h 5278114"/>
              <a:gd name="connsiteX989" fmla="*/ 1570372 w 5610835"/>
              <a:gd name="connsiteY989" fmla="*/ 4735428 h 5278114"/>
              <a:gd name="connsiteX990" fmla="*/ 1571963 w 5610835"/>
              <a:gd name="connsiteY990" fmla="*/ 4738610 h 5278114"/>
              <a:gd name="connsiteX991" fmla="*/ 1568782 w 5610835"/>
              <a:gd name="connsiteY991" fmla="*/ 4738610 h 5278114"/>
              <a:gd name="connsiteX992" fmla="*/ 1578327 w 5610835"/>
              <a:gd name="connsiteY992" fmla="*/ 4748155 h 5278114"/>
              <a:gd name="connsiteX993" fmla="*/ 1576737 w 5610835"/>
              <a:gd name="connsiteY993" fmla="*/ 4752926 h 5278114"/>
              <a:gd name="connsiteX994" fmla="*/ 1565600 w 5610835"/>
              <a:gd name="connsiteY994" fmla="*/ 4738610 h 5278114"/>
              <a:gd name="connsiteX995" fmla="*/ 1570372 w 5610835"/>
              <a:gd name="connsiteY995" fmla="*/ 4735428 h 5278114"/>
              <a:gd name="connsiteX996" fmla="*/ 1075655 w 5610835"/>
              <a:gd name="connsiteY996" fmla="*/ 4732246 h 5278114"/>
              <a:gd name="connsiteX997" fmla="*/ 1074064 w 5610835"/>
              <a:gd name="connsiteY997" fmla="*/ 4741791 h 5278114"/>
              <a:gd name="connsiteX998" fmla="*/ 1077246 w 5610835"/>
              <a:gd name="connsiteY998" fmla="*/ 4741791 h 5278114"/>
              <a:gd name="connsiteX999" fmla="*/ 1107470 w 5610835"/>
              <a:gd name="connsiteY999" fmla="*/ 4767243 h 5278114"/>
              <a:gd name="connsiteX1000" fmla="*/ 1089970 w 5610835"/>
              <a:gd name="connsiteY1000" fmla="*/ 4765653 h 5278114"/>
              <a:gd name="connsiteX1001" fmla="*/ 1104289 w 5610835"/>
              <a:gd name="connsiteY1001" fmla="*/ 4779969 h 5278114"/>
              <a:gd name="connsiteX1002" fmla="*/ 1085199 w 5610835"/>
              <a:gd name="connsiteY1002" fmla="*/ 4773607 h 5278114"/>
              <a:gd name="connsiteX1003" fmla="*/ 1083609 w 5610835"/>
              <a:gd name="connsiteY1003" fmla="*/ 4775197 h 5278114"/>
              <a:gd name="connsiteX1004" fmla="*/ 1088380 w 5610835"/>
              <a:gd name="connsiteY1004" fmla="*/ 4787922 h 5278114"/>
              <a:gd name="connsiteX1005" fmla="*/ 1077246 w 5610835"/>
              <a:gd name="connsiteY1005" fmla="*/ 4791104 h 5278114"/>
              <a:gd name="connsiteX1006" fmla="*/ 1088380 w 5610835"/>
              <a:gd name="connsiteY1006" fmla="*/ 4800649 h 5278114"/>
              <a:gd name="connsiteX1007" fmla="*/ 1099516 w 5610835"/>
              <a:gd name="connsiteY1007" fmla="*/ 4856324 h 5278114"/>
              <a:gd name="connsiteX1008" fmla="*/ 1097925 w 5610835"/>
              <a:gd name="connsiteY1008" fmla="*/ 4854733 h 5278114"/>
              <a:gd name="connsiteX1009" fmla="*/ 1078837 w 5610835"/>
              <a:gd name="connsiteY1009" fmla="*/ 4837236 h 5278114"/>
              <a:gd name="connsiteX1010" fmla="*/ 1070882 w 5610835"/>
              <a:gd name="connsiteY1010" fmla="*/ 4822918 h 5278114"/>
              <a:gd name="connsiteX1011" fmla="*/ 1064519 w 5610835"/>
              <a:gd name="connsiteY1011" fmla="*/ 4733837 h 5278114"/>
              <a:gd name="connsiteX1012" fmla="*/ 1075655 w 5610835"/>
              <a:gd name="connsiteY1012" fmla="*/ 4732246 h 5278114"/>
              <a:gd name="connsiteX1013" fmla="*/ 1099516 w 5610835"/>
              <a:gd name="connsiteY1013" fmla="*/ 4730656 h 5278114"/>
              <a:gd name="connsiteX1014" fmla="*/ 1102697 w 5610835"/>
              <a:gd name="connsiteY1014" fmla="*/ 4730656 h 5278114"/>
              <a:gd name="connsiteX1015" fmla="*/ 1105879 w 5610835"/>
              <a:gd name="connsiteY1015" fmla="*/ 4735428 h 5278114"/>
              <a:gd name="connsiteX1016" fmla="*/ 1102697 w 5610835"/>
              <a:gd name="connsiteY1016" fmla="*/ 4735428 h 5278114"/>
              <a:gd name="connsiteX1017" fmla="*/ 1099516 w 5610835"/>
              <a:gd name="connsiteY1017" fmla="*/ 4730656 h 5278114"/>
              <a:gd name="connsiteX1018" fmla="*/ 1087784 w 5610835"/>
              <a:gd name="connsiteY1018" fmla="*/ 4730458 h 5278114"/>
              <a:gd name="connsiteX1019" fmla="*/ 1097925 w 5610835"/>
              <a:gd name="connsiteY1019" fmla="*/ 4730656 h 5278114"/>
              <a:gd name="connsiteX1020" fmla="*/ 1096334 w 5610835"/>
              <a:gd name="connsiteY1020" fmla="*/ 4735428 h 5278114"/>
              <a:gd name="connsiteX1021" fmla="*/ 1083609 w 5610835"/>
              <a:gd name="connsiteY1021" fmla="*/ 4733838 h 5278114"/>
              <a:gd name="connsiteX1022" fmla="*/ 1087784 w 5610835"/>
              <a:gd name="connsiteY1022" fmla="*/ 4730458 h 5278114"/>
              <a:gd name="connsiteX1023" fmla="*/ 1185414 w 5610835"/>
              <a:gd name="connsiteY1023" fmla="*/ 4721112 h 5278114"/>
              <a:gd name="connsiteX1024" fmla="*/ 1187005 w 5610835"/>
              <a:gd name="connsiteY1024" fmla="*/ 4725885 h 5278114"/>
              <a:gd name="connsiteX1025" fmla="*/ 1188597 w 5610835"/>
              <a:gd name="connsiteY1025" fmla="*/ 4735429 h 5278114"/>
              <a:gd name="connsiteX1026" fmla="*/ 1179052 w 5610835"/>
              <a:gd name="connsiteY1026" fmla="*/ 4733839 h 5278114"/>
              <a:gd name="connsiteX1027" fmla="*/ 1185414 w 5610835"/>
              <a:gd name="connsiteY1027" fmla="*/ 4721112 h 5278114"/>
              <a:gd name="connsiteX1028" fmla="*/ 1085199 w 5610835"/>
              <a:gd name="connsiteY1028" fmla="*/ 4719521 h 5278114"/>
              <a:gd name="connsiteX1029" fmla="*/ 1085836 w 5610835"/>
              <a:gd name="connsiteY1029" fmla="*/ 4719521 h 5278114"/>
              <a:gd name="connsiteX1030" fmla="*/ 1085199 w 5610835"/>
              <a:gd name="connsiteY1030" fmla="*/ 4722702 h 5278114"/>
              <a:gd name="connsiteX1031" fmla="*/ 1085199 w 5610835"/>
              <a:gd name="connsiteY1031" fmla="*/ 4719521 h 5278114"/>
              <a:gd name="connsiteX1032" fmla="*/ 1599006 w 5610835"/>
              <a:gd name="connsiteY1032" fmla="*/ 4717931 h 5278114"/>
              <a:gd name="connsiteX1033" fmla="*/ 1599006 w 5610835"/>
              <a:gd name="connsiteY1033" fmla="*/ 4730656 h 5278114"/>
              <a:gd name="connsiteX1034" fmla="*/ 1597415 w 5610835"/>
              <a:gd name="connsiteY1034" fmla="*/ 4733838 h 5278114"/>
              <a:gd name="connsiteX1035" fmla="*/ 1584689 w 5610835"/>
              <a:gd name="connsiteY1035" fmla="*/ 4729065 h 5278114"/>
              <a:gd name="connsiteX1036" fmla="*/ 1586280 w 5610835"/>
              <a:gd name="connsiteY1036" fmla="*/ 4725884 h 5278114"/>
              <a:gd name="connsiteX1037" fmla="*/ 1599006 w 5610835"/>
              <a:gd name="connsiteY1037" fmla="*/ 4717931 h 5278114"/>
              <a:gd name="connsiteX1038" fmla="*/ 1061338 w 5610835"/>
              <a:gd name="connsiteY1038" fmla="*/ 4716339 h 5278114"/>
              <a:gd name="connsiteX1039" fmla="*/ 1072474 w 5610835"/>
              <a:gd name="connsiteY1039" fmla="*/ 4721111 h 5278114"/>
              <a:gd name="connsiteX1040" fmla="*/ 1066110 w 5610835"/>
              <a:gd name="connsiteY1040" fmla="*/ 4724293 h 5278114"/>
              <a:gd name="connsiteX1041" fmla="*/ 1058157 w 5610835"/>
              <a:gd name="connsiteY1041" fmla="*/ 4737018 h 5278114"/>
              <a:gd name="connsiteX1042" fmla="*/ 1062929 w 5610835"/>
              <a:gd name="connsiteY1042" fmla="*/ 4737018 h 5278114"/>
              <a:gd name="connsiteX1043" fmla="*/ 1056566 w 5610835"/>
              <a:gd name="connsiteY1043" fmla="*/ 4787921 h 5278114"/>
              <a:gd name="connsiteX1044" fmla="*/ 1040658 w 5610835"/>
              <a:gd name="connsiteY1044" fmla="*/ 4760879 h 5278114"/>
              <a:gd name="connsiteX1045" fmla="*/ 1050204 w 5610835"/>
              <a:gd name="connsiteY1045" fmla="*/ 4724293 h 5278114"/>
              <a:gd name="connsiteX1046" fmla="*/ 1061338 w 5610835"/>
              <a:gd name="connsiteY1046" fmla="*/ 4716339 h 5278114"/>
              <a:gd name="connsiteX1047" fmla="*/ 1047022 w 5610835"/>
              <a:gd name="connsiteY1047" fmla="*/ 4716339 h 5278114"/>
              <a:gd name="connsiteX1048" fmla="*/ 1039067 w 5610835"/>
              <a:gd name="connsiteY1048" fmla="*/ 4740201 h 5278114"/>
              <a:gd name="connsiteX1049" fmla="*/ 1032704 w 5610835"/>
              <a:gd name="connsiteY1049" fmla="*/ 4735428 h 5278114"/>
              <a:gd name="connsiteX1050" fmla="*/ 1032704 w 5610835"/>
              <a:gd name="connsiteY1050" fmla="*/ 4729065 h 5278114"/>
              <a:gd name="connsiteX1051" fmla="*/ 1047022 w 5610835"/>
              <a:gd name="connsiteY1051" fmla="*/ 4716339 h 5278114"/>
              <a:gd name="connsiteX1052" fmla="*/ 1086790 w 5610835"/>
              <a:gd name="connsiteY1052" fmla="*/ 4714749 h 5278114"/>
              <a:gd name="connsiteX1053" fmla="*/ 1089971 w 5610835"/>
              <a:gd name="connsiteY1053" fmla="*/ 4719521 h 5278114"/>
              <a:gd name="connsiteX1054" fmla="*/ 1085836 w 5610835"/>
              <a:gd name="connsiteY1054" fmla="*/ 4719521 h 5278114"/>
              <a:gd name="connsiteX1055" fmla="*/ 986573 w 5610835"/>
              <a:gd name="connsiteY1055" fmla="*/ 4714749 h 5278114"/>
              <a:gd name="connsiteX1056" fmla="*/ 1000890 w 5610835"/>
              <a:gd name="connsiteY1056" fmla="*/ 4722702 h 5278114"/>
              <a:gd name="connsiteX1057" fmla="*/ 1008844 w 5610835"/>
              <a:gd name="connsiteY1057" fmla="*/ 4722702 h 5278114"/>
              <a:gd name="connsiteX1058" fmla="*/ 1012025 w 5610835"/>
              <a:gd name="connsiteY1058" fmla="*/ 4727474 h 5278114"/>
              <a:gd name="connsiteX1059" fmla="*/ 999299 w 5610835"/>
              <a:gd name="connsiteY1059" fmla="*/ 4733838 h 5278114"/>
              <a:gd name="connsiteX1060" fmla="*/ 994527 w 5610835"/>
              <a:gd name="connsiteY1060" fmla="*/ 4730656 h 5278114"/>
              <a:gd name="connsiteX1061" fmla="*/ 989754 w 5610835"/>
              <a:gd name="connsiteY1061" fmla="*/ 4727474 h 5278114"/>
              <a:gd name="connsiteX1062" fmla="*/ 986573 w 5610835"/>
              <a:gd name="connsiteY1062" fmla="*/ 4714749 h 5278114"/>
              <a:gd name="connsiteX1063" fmla="*/ 1252225 w 5610835"/>
              <a:gd name="connsiteY1063" fmla="*/ 4713158 h 5278114"/>
              <a:gd name="connsiteX1064" fmla="*/ 1269723 w 5610835"/>
              <a:gd name="connsiteY1064" fmla="*/ 4721112 h 5278114"/>
              <a:gd name="connsiteX1065" fmla="*/ 1272904 w 5610835"/>
              <a:gd name="connsiteY1065" fmla="*/ 4732247 h 5278114"/>
              <a:gd name="connsiteX1066" fmla="*/ 1271313 w 5610835"/>
              <a:gd name="connsiteY1066" fmla="*/ 4729065 h 5278114"/>
              <a:gd name="connsiteX1067" fmla="*/ 1269723 w 5610835"/>
              <a:gd name="connsiteY1067" fmla="*/ 4733838 h 5278114"/>
              <a:gd name="connsiteX1068" fmla="*/ 1264951 w 5610835"/>
              <a:gd name="connsiteY1068" fmla="*/ 4735428 h 5278114"/>
              <a:gd name="connsiteX1069" fmla="*/ 1266542 w 5610835"/>
              <a:gd name="connsiteY1069" fmla="*/ 4738610 h 5278114"/>
              <a:gd name="connsiteX1070" fmla="*/ 1260179 w 5610835"/>
              <a:gd name="connsiteY1070" fmla="*/ 4740201 h 5278114"/>
              <a:gd name="connsiteX1071" fmla="*/ 1269723 w 5610835"/>
              <a:gd name="connsiteY1071" fmla="*/ 4744973 h 5278114"/>
              <a:gd name="connsiteX1072" fmla="*/ 1261771 w 5610835"/>
              <a:gd name="connsiteY1072" fmla="*/ 4746564 h 5278114"/>
              <a:gd name="connsiteX1073" fmla="*/ 1274495 w 5610835"/>
              <a:gd name="connsiteY1073" fmla="*/ 4749745 h 5278114"/>
              <a:gd name="connsiteX1074" fmla="*/ 1264951 w 5610835"/>
              <a:gd name="connsiteY1074" fmla="*/ 4752927 h 5278114"/>
              <a:gd name="connsiteX1075" fmla="*/ 1285630 w 5610835"/>
              <a:gd name="connsiteY1075" fmla="*/ 4757699 h 5278114"/>
              <a:gd name="connsiteX1076" fmla="*/ 1293584 w 5610835"/>
              <a:gd name="connsiteY1076" fmla="*/ 4776788 h 5278114"/>
              <a:gd name="connsiteX1077" fmla="*/ 1269723 w 5610835"/>
              <a:gd name="connsiteY1077" fmla="*/ 4754518 h 5278114"/>
              <a:gd name="connsiteX1078" fmla="*/ 1296766 w 5610835"/>
              <a:gd name="connsiteY1078" fmla="*/ 4786332 h 5278114"/>
              <a:gd name="connsiteX1079" fmla="*/ 1309491 w 5610835"/>
              <a:gd name="connsiteY1079" fmla="*/ 4829283 h 5278114"/>
              <a:gd name="connsiteX1080" fmla="*/ 1306310 w 5610835"/>
              <a:gd name="connsiteY1080" fmla="*/ 4832464 h 5278114"/>
              <a:gd name="connsiteX1081" fmla="*/ 1315854 w 5610835"/>
              <a:gd name="connsiteY1081" fmla="*/ 4843599 h 5278114"/>
              <a:gd name="connsiteX1082" fmla="*/ 1315854 w 5610835"/>
              <a:gd name="connsiteY1082" fmla="*/ 4848371 h 5278114"/>
              <a:gd name="connsiteX1083" fmla="*/ 1315854 w 5610835"/>
              <a:gd name="connsiteY1083" fmla="*/ 4849962 h 5278114"/>
              <a:gd name="connsiteX1084" fmla="*/ 1314264 w 5610835"/>
              <a:gd name="connsiteY1084" fmla="*/ 4851553 h 5278114"/>
              <a:gd name="connsiteX1085" fmla="*/ 1311082 w 5610835"/>
              <a:gd name="connsiteY1085" fmla="*/ 4861097 h 5278114"/>
              <a:gd name="connsiteX1086" fmla="*/ 1306310 w 5610835"/>
              <a:gd name="connsiteY1086" fmla="*/ 4861097 h 5278114"/>
              <a:gd name="connsiteX1087" fmla="*/ 1282449 w 5610835"/>
              <a:gd name="connsiteY1087" fmla="*/ 4869050 h 5278114"/>
              <a:gd name="connsiteX1088" fmla="*/ 1282449 w 5610835"/>
              <a:gd name="connsiteY1088" fmla="*/ 4865869 h 5278114"/>
              <a:gd name="connsiteX1089" fmla="*/ 1299947 w 5610835"/>
              <a:gd name="connsiteY1089" fmla="*/ 4854734 h 5278114"/>
              <a:gd name="connsiteX1090" fmla="*/ 1280858 w 5610835"/>
              <a:gd name="connsiteY1090" fmla="*/ 4856325 h 5278114"/>
              <a:gd name="connsiteX1091" fmla="*/ 1279267 w 5610835"/>
              <a:gd name="connsiteY1091" fmla="*/ 4822919 h 5278114"/>
              <a:gd name="connsiteX1092" fmla="*/ 1274495 w 5610835"/>
              <a:gd name="connsiteY1092" fmla="*/ 4827692 h 5278114"/>
              <a:gd name="connsiteX1093" fmla="*/ 1252225 w 5610835"/>
              <a:gd name="connsiteY1093" fmla="*/ 4713158 h 5278114"/>
              <a:gd name="connsiteX1094" fmla="*/ 1587871 w 5610835"/>
              <a:gd name="connsiteY1094" fmla="*/ 4706796 h 5278114"/>
              <a:gd name="connsiteX1095" fmla="*/ 1591052 w 5610835"/>
              <a:gd name="connsiteY1095" fmla="*/ 4706796 h 5278114"/>
              <a:gd name="connsiteX1096" fmla="*/ 1591052 w 5610835"/>
              <a:gd name="connsiteY1096" fmla="*/ 4708387 h 5278114"/>
              <a:gd name="connsiteX1097" fmla="*/ 1589461 w 5610835"/>
              <a:gd name="connsiteY1097" fmla="*/ 4708387 h 5278114"/>
              <a:gd name="connsiteX1098" fmla="*/ 1586280 w 5610835"/>
              <a:gd name="connsiteY1098" fmla="*/ 4711567 h 5278114"/>
              <a:gd name="connsiteX1099" fmla="*/ 1586280 w 5610835"/>
              <a:gd name="connsiteY1099" fmla="*/ 4708386 h 5278114"/>
              <a:gd name="connsiteX1100" fmla="*/ 1587871 w 5610835"/>
              <a:gd name="connsiteY1100" fmla="*/ 4708386 h 5278114"/>
              <a:gd name="connsiteX1101" fmla="*/ 1058156 w 5610835"/>
              <a:gd name="connsiteY1101" fmla="*/ 4705205 h 5278114"/>
              <a:gd name="connsiteX1102" fmla="*/ 1078836 w 5610835"/>
              <a:gd name="connsiteY1102" fmla="*/ 4711568 h 5278114"/>
              <a:gd name="connsiteX1103" fmla="*/ 1082018 w 5610835"/>
              <a:gd name="connsiteY1103" fmla="*/ 4719521 h 5278114"/>
              <a:gd name="connsiteX1104" fmla="*/ 1070882 w 5610835"/>
              <a:gd name="connsiteY1104" fmla="*/ 4709977 h 5278114"/>
              <a:gd name="connsiteX1105" fmla="*/ 1058156 w 5610835"/>
              <a:gd name="connsiteY1105" fmla="*/ 4705205 h 5278114"/>
              <a:gd name="connsiteX1106" fmla="*/ 1581509 w 5610835"/>
              <a:gd name="connsiteY1106" fmla="*/ 4703614 h 5278114"/>
              <a:gd name="connsiteX1107" fmla="*/ 1584690 w 5610835"/>
              <a:gd name="connsiteY1107" fmla="*/ 4703614 h 5278114"/>
              <a:gd name="connsiteX1108" fmla="*/ 1581509 w 5610835"/>
              <a:gd name="connsiteY1108" fmla="*/ 4705205 h 5278114"/>
              <a:gd name="connsiteX1109" fmla="*/ 1581509 w 5610835"/>
              <a:gd name="connsiteY1109" fmla="*/ 4703614 h 5278114"/>
              <a:gd name="connsiteX1110" fmla="*/ 1207685 w 5610835"/>
              <a:gd name="connsiteY1110" fmla="*/ 4697251 h 5278114"/>
              <a:gd name="connsiteX1111" fmla="*/ 1209276 w 5610835"/>
              <a:gd name="connsiteY1111" fmla="*/ 4700433 h 5278114"/>
              <a:gd name="connsiteX1112" fmla="*/ 1207685 w 5610835"/>
              <a:gd name="connsiteY1112" fmla="*/ 4700433 h 5278114"/>
              <a:gd name="connsiteX1113" fmla="*/ 1207685 w 5610835"/>
              <a:gd name="connsiteY1113" fmla="*/ 4697251 h 5278114"/>
              <a:gd name="connsiteX1114" fmla="*/ 1223593 w 5610835"/>
              <a:gd name="connsiteY1114" fmla="*/ 4697250 h 5278114"/>
              <a:gd name="connsiteX1115" fmla="*/ 1226775 w 5610835"/>
              <a:gd name="connsiteY1115" fmla="*/ 4711567 h 5278114"/>
              <a:gd name="connsiteX1116" fmla="*/ 1237910 w 5610835"/>
              <a:gd name="connsiteY1116" fmla="*/ 4814964 h 5278114"/>
              <a:gd name="connsiteX1117" fmla="*/ 1207685 w 5610835"/>
              <a:gd name="connsiteY1117" fmla="*/ 4732246 h 5278114"/>
              <a:gd name="connsiteX1118" fmla="*/ 1214048 w 5610835"/>
              <a:gd name="connsiteY1118" fmla="*/ 4721112 h 5278114"/>
              <a:gd name="connsiteX1119" fmla="*/ 1207685 w 5610835"/>
              <a:gd name="connsiteY1119" fmla="*/ 4727474 h 5278114"/>
              <a:gd name="connsiteX1120" fmla="*/ 1206094 w 5610835"/>
              <a:gd name="connsiteY1120" fmla="*/ 4714749 h 5278114"/>
              <a:gd name="connsiteX1121" fmla="*/ 1207685 w 5610835"/>
              <a:gd name="connsiteY1121" fmla="*/ 4708386 h 5278114"/>
              <a:gd name="connsiteX1122" fmla="*/ 1223593 w 5610835"/>
              <a:gd name="connsiteY1122" fmla="*/ 4697250 h 5278114"/>
              <a:gd name="connsiteX1123" fmla="*/ 1634002 w 5610835"/>
              <a:gd name="connsiteY1123" fmla="*/ 4695660 h 5278114"/>
              <a:gd name="connsiteX1124" fmla="*/ 1632411 w 5610835"/>
              <a:gd name="connsiteY1124" fmla="*/ 4697252 h 5278114"/>
              <a:gd name="connsiteX1125" fmla="*/ 1631033 w 5610835"/>
              <a:gd name="connsiteY1125" fmla="*/ 4704994 h 5278114"/>
              <a:gd name="connsiteX1126" fmla="*/ 1269724 w 5610835"/>
              <a:gd name="connsiteY1126" fmla="*/ 4695659 h 5278114"/>
              <a:gd name="connsiteX1127" fmla="*/ 1269724 w 5610835"/>
              <a:gd name="connsiteY1127" fmla="*/ 4697251 h 5278114"/>
              <a:gd name="connsiteX1128" fmla="*/ 1268134 w 5610835"/>
              <a:gd name="connsiteY1128" fmla="*/ 4708387 h 5278114"/>
              <a:gd name="connsiteX1129" fmla="*/ 1268134 w 5610835"/>
              <a:gd name="connsiteY1129" fmla="*/ 4709977 h 5278114"/>
              <a:gd name="connsiteX1130" fmla="*/ 1268134 w 5610835"/>
              <a:gd name="connsiteY1130" fmla="*/ 4719521 h 5278114"/>
              <a:gd name="connsiteX1131" fmla="*/ 1250635 w 5610835"/>
              <a:gd name="connsiteY1131" fmla="*/ 4705205 h 5278114"/>
              <a:gd name="connsiteX1132" fmla="*/ 1252227 w 5610835"/>
              <a:gd name="connsiteY1132" fmla="*/ 4697251 h 5278114"/>
              <a:gd name="connsiteX1133" fmla="*/ 1269724 w 5610835"/>
              <a:gd name="connsiteY1133" fmla="*/ 4695659 h 5278114"/>
              <a:gd name="connsiteX1134" fmla="*/ 1156782 w 5610835"/>
              <a:gd name="connsiteY1134" fmla="*/ 4692479 h 5278114"/>
              <a:gd name="connsiteX1135" fmla="*/ 1159964 w 5610835"/>
              <a:gd name="connsiteY1135" fmla="*/ 4694070 h 5278114"/>
              <a:gd name="connsiteX1136" fmla="*/ 1158373 w 5610835"/>
              <a:gd name="connsiteY1136" fmla="*/ 4698842 h 5278114"/>
              <a:gd name="connsiteX1137" fmla="*/ 1159964 w 5610835"/>
              <a:gd name="connsiteY1137" fmla="*/ 4700433 h 5278114"/>
              <a:gd name="connsiteX1138" fmla="*/ 1158373 w 5610835"/>
              <a:gd name="connsiteY1138" fmla="*/ 4705205 h 5278114"/>
              <a:gd name="connsiteX1139" fmla="*/ 1156782 w 5610835"/>
              <a:gd name="connsiteY1139" fmla="*/ 4692479 h 5278114"/>
              <a:gd name="connsiteX1140" fmla="*/ 1587871 w 5610835"/>
              <a:gd name="connsiteY1140" fmla="*/ 4689297 h 5278114"/>
              <a:gd name="connsiteX1141" fmla="*/ 1586280 w 5610835"/>
              <a:gd name="connsiteY1141" fmla="*/ 4695660 h 5278114"/>
              <a:gd name="connsiteX1142" fmla="*/ 1586280 w 5610835"/>
              <a:gd name="connsiteY1142" fmla="*/ 4692479 h 5278114"/>
              <a:gd name="connsiteX1143" fmla="*/ 1587871 w 5610835"/>
              <a:gd name="connsiteY1143" fmla="*/ 4689297 h 5278114"/>
              <a:gd name="connsiteX1144" fmla="*/ 1222001 w 5610835"/>
              <a:gd name="connsiteY1144" fmla="*/ 4679753 h 5278114"/>
              <a:gd name="connsiteX1145" fmla="*/ 1225184 w 5610835"/>
              <a:gd name="connsiteY1145" fmla="*/ 4687707 h 5278114"/>
              <a:gd name="connsiteX1146" fmla="*/ 1222001 w 5610835"/>
              <a:gd name="connsiteY1146" fmla="*/ 4686116 h 5278114"/>
              <a:gd name="connsiteX1147" fmla="*/ 1218820 w 5610835"/>
              <a:gd name="connsiteY1147" fmla="*/ 4689297 h 5278114"/>
              <a:gd name="connsiteX1148" fmla="*/ 1217230 w 5610835"/>
              <a:gd name="connsiteY1148" fmla="*/ 4686116 h 5278114"/>
              <a:gd name="connsiteX1149" fmla="*/ 1218820 w 5610835"/>
              <a:gd name="connsiteY1149" fmla="*/ 4681344 h 5278114"/>
              <a:gd name="connsiteX1150" fmla="*/ 1222001 w 5610835"/>
              <a:gd name="connsiteY1150" fmla="*/ 4679753 h 5278114"/>
              <a:gd name="connsiteX1151" fmla="*/ 1249044 w 5610835"/>
              <a:gd name="connsiteY1151" fmla="*/ 4678163 h 5278114"/>
              <a:gd name="connsiteX1152" fmla="*/ 1256999 w 5610835"/>
              <a:gd name="connsiteY1152" fmla="*/ 4678163 h 5278114"/>
              <a:gd name="connsiteX1153" fmla="*/ 1252227 w 5610835"/>
              <a:gd name="connsiteY1153" fmla="*/ 4679753 h 5278114"/>
              <a:gd name="connsiteX1154" fmla="*/ 1250635 w 5610835"/>
              <a:gd name="connsiteY1154" fmla="*/ 4682935 h 5278114"/>
              <a:gd name="connsiteX1155" fmla="*/ 1249044 w 5610835"/>
              <a:gd name="connsiteY1155" fmla="*/ 4682935 h 5278114"/>
              <a:gd name="connsiteX1156" fmla="*/ 1249044 w 5610835"/>
              <a:gd name="connsiteY1156" fmla="*/ 4679753 h 5278114"/>
              <a:gd name="connsiteX1157" fmla="*/ 1249044 w 5610835"/>
              <a:gd name="connsiteY1157" fmla="*/ 4678163 h 5278114"/>
              <a:gd name="connsiteX1158" fmla="*/ 1721493 w 5610835"/>
              <a:gd name="connsiteY1158" fmla="*/ 4670209 h 5278114"/>
              <a:gd name="connsiteX1159" fmla="*/ 1723083 w 5610835"/>
              <a:gd name="connsiteY1159" fmla="*/ 4670209 h 5278114"/>
              <a:gd name="connsiteX1160" fmla="*/ 1724674 w 5610835"/>
              <a:gd name="connsiteY1160" fmla="*/ 4673390 h 5278114"/>
              <a:gd name="connsiteX1161" fmla="*/ 1721493 w 5610835"/>
              <a:gd name="connsiteY1161" fmla="*/ 4681344 h 5278114"/>
              <a:gd name="connsiteX1162" fmla="*/ 1721493 w 5610835"/>
              <a:gd name="connsiteY1162" fmla="*/ 4673390 h 5278114"/>
              <a:gd name="connsiteX1163" fmla="*/ 1718311 w 5610835"/>
              <a:gd name="connsiteY1163" fmla="*/ 4673390 h 5278114"/>
              <a:gd name="connsiteX1164" fmla="*/ 1721493 w 5610835"/>
              <a:gd name="connsiteY1164" fmla="*/ 4670209 h 5278114"/>
              <a:gd name="connsiteX1165" fmla="*/ 1101109 w 5610835"/>
              <a:gd name="connsiteY1165" fmla="*/ 4667031 h 5278114"/>
              <a:gd name="connsiteX1166" fmla="*/ 1104288 w 5610835"/>
              <a:gd name="connsiteY1166" fmla="*/ 4676571 h 5278114"/>
              <a:gd name="connsiteX1167" fmla="*/ 1105879 w 5610835"/>
              <a:gd name="connsiteY1167" fmla="*/ 4687706 h 5278114"/>
              <a:gd name="connsiteX1168" fmla="*/ 1249045 w 5610835"/>
              <a:gd name="connsiteY1168" fmla="*/ 4667027 h 5278114"/>
              <a:gd name="connsiteX1169" fmla="*/ 1252227 w 5610835"/>
              <a:gd name="connsiteY1169" fmla="*/ 4670209 h 5278114"/>
              <a:gd name="connsiteX1170" fmla="*/ 1249045 w 5610835"/>
              <a:gd name="connsiteY1170" fmla="*/ 4670209 h 5278114"/>
              <a:gd name="connsiteX1171" fmla="*/ 1249045 w 5610835"/>
              <a:gd name="connsiteY1171" fmla="*/ 4667027 h 5278114"/>
              <a:gd name="connsiteX1172" fmla="*/ 1101107 w 5610835"/>
              <a:gd name="connsiteY1172" fmla="*/ 4667026 h 5278114"/>
              <a:gd name="connsiteX1173" fmla="*/ 1101109 w 5610835"/>
              <a:gd name="connsiteY1173" fmla="*/ 4667031 h 5278114"/>
              <a:gd name="connsiteX1174" fmla="*/ 1101107 w 5610835"/>
              <a:gd name="connsiteY1174" fmla="*/ 4667027 h 5278114"/>
              <a:gd name="connsiteX1175" fmla="*/ 1350851 w 5610835"/>
              <a:gd name="connsiteY1175" fmla="*/ 4665435 h 5278114"/>
              <a:gd name="connsiteX1176" fmla="*/ 1346080 w 5610835"/>
              <a:gd name="connsiteY1176" fmla="*/ 4694069 h 5278114"/>
              <a:gd name="connsiteX1177" fmla="*/ 1346080 w 5610835"/>
              <a:gd name="connsiteY1177" fmla="*/ 4684526 h 5278114"/>
              <a:gd name="connsiteX1178" fmla="*/ 1350851 w 5610835"/>
              <a:gd name="connsiteY1178" fmla="*/ 4665435 h 5278114"/>
              <a:gd name="connsiteX1179" fmla="*/ 986574 w 5610835"/>
              <a:gd name="connsiteY1179" fmla="*/ 4663845 h 5278114"/>
              <a:gd name="connsiteX1180" fmla="*/ 1004072 w 5610835"/>
              <a:gd name="connsiteY1180" fmla="*/ 4711568 h 5278114"/>
              <a:gd name="connsiteX1181" fmla="*/ 983391 w 5610835"/>
              <a:gd name="connsiteY1181" fmla="*/ 4708386 h 5278114"/>
              <a:gd name="connsiteX1182" fmla="*/ 980210 w 5610835"/>
              <a:gd name="connsiteY1182" fmla="*/ 4694069 h 5278114"/>
              <a:gd name="connsiteX1183" fmla="*/ 980210 w 5610835"/>
              <a:gd name="connsiteY1183" fmla="*/ 4678162 h 5278114"/>
              <a:gd name="connsiteX1184" fmla="*/ 983391 w 5610835"/>
              <a:gd name="connsiteY1184" fmla="*/ 4671799 h 5278114"/>
              <a:gd name="connsiteX1185" fmla="*/ 986574 w 5610835"/>
              <a:gd name="connsiteY1185" fmla="*/ 4663845 h 5278114"/>
              <a:gd name="connsiteX1186" fmla="*/ 1252227 w 5610835"/>
              <a:gd name="connsiteY1186" fmla="*/ 4654302 h 5278114"/>
              <a:gd name="connsiteX1187" fmla="*/ 1256999 w 5610835"/>
              <a:gd name="connsiteY1187" fmla="*/ 4667027 h 5278114"/>
              <a:gd name="connsiteX1188" fmla="*/ 1250636 w 5610835"/>
              <a:gd name="connsiteY1188" fmla="*/ 4663845 h 5278114"/>
              <a:gd name="connsiteX1189" fmla="*/ 1252227 w 5610835"/>
              <a:gd name="connsiteY1189" fmla="*/ 4654302 h 5278114"/>
              <a:gd name="connsiteX1190" fmla="*/ 983393 w 5610835"/>
              <a:gd name="connsiteY1190" fmla="*/ 4654302 h 5278114"/>
              <a:gd name="connsiteX1191" fmla="*/ 984983 w 5610835"/>
              <a:gd name="connsiteY1191" fmla="*/ 4659074 h 5278114"/>
              <a:gd name="connsiteX1192" fmla="*/ 981802 w 5610835"/>
              <a:gd name="connsiteY1192" fmla="*/ 4665436 h 5278114"/>
              <a:gd name="connsiteX1193" fmla="*/ 983393 w 5610835"/>
              <a:gd name="connsiteY1193" fmla="*/ 4654302 h 5278114"/>
              <a:gd name="connsiteX1194" fmla="*/ 1226775 w 5610835"/>
              <a:gd name="connsiteY1194" fmla="*/ 4643166 h 5278114"/>
              <a:gd name="connsiteX1195" fmla="*/ 1226775 w 5610835"/>
              <a:gd name="connsiteY1195" fmla="*/ 4654302 h 5278114"/>
              <a:gd name="connsiteX1196" fmla="*/ 1225184 w 5610835"/>
              <a:gd name="connsiteY1196" fmla="*/ 4654302 h 5278114"/>
              <a:gd name="connsiteX1197" fmla="*/ 1215639 w 5610835"/>
              <a:gd name="connsiteY1197" fmla="*/ 4660664 h 5278114"/>
              <a:gd name="connsiteX1198" fmla="*/ 1214048 w 5610835"/>
              <a:gd name="connsiteY1198" fmla="*/ 4659074 h 5278114"/>
              <a:gd name="connsiteX1199" fmla="*/ 1217230 w 5610835"/>
              <a:gd name="connsiteY1199" fmla="*/ 4654302 h 5278114"/>
              <a:gd name="connsiteX1200" fmla="*/ 1212457 w 5610835"/>
              <a:gd name="connsiteY1200" fmla="*/ 4654302 h 5278114"/>
              <a:gd name="connsiteX1201" fmla="*/ 1215639 w 5610835"/>
              <a:gd name="connsiteY1201" fmla="*/ 4652711 h 5278114"/>
              <a:gd name="connsiteX1202" fmla="*/ 1222003 w 5610835"/>
              <a:gd name="connsiteY1202" fmla="*/ 4655892 h 5278114"/>
              <a:gd name="connsiteX1203" fmla="*/ 1223593 w 5610835"/>
              <a:gd name="connsiteY1203" fmla="*/ 4654302 h 5278114"/>
              <a:gd name="connsiteX1204" fmla="*/ 1220411 w 5610835"/>
              <a:gd name="connsiteY1204" fmla="*/ 4646348 h 5278114"/>
              <a:gd name="connsiteX1205" fmla="*/ 1226775 w 5610835"/>
              <a:gd name="connsiteY1205" fmla="*/ 4643166 h 5278114"/>
              <a:gd name="connsiteX1206" fmla="*/ 1062929 w 5610835"/>
              <a:gd name="connsiteY1206" fmla="*/ 4639984 h 5278114"/>
              <a:gd name="connsiteX1207" fmla="*/ 1064520 w 5610835"/>
              <a:gd name="connsiteY1207" fmla="*/ 4639984 h 5278114"/>
              <a:gd name="connsiteX1208" fmla="*/ 1062929 w 5610835"/>
              <a:gd name="connsiteY1208" fmla="*/ 4641575 h 5278114"/>
              <a:gd name="connsiteX1209" fmla="*/ 1062929 w 5610835"/>
              <a:gd name="connsiteY1209" fmla="*/ 4639984 h 5278114"/>
              <a:gd name="connsiteX1210" fmla="*/ 1070883 w 5610835"/>
              <a:gd name="connsiteY1210" fmla="*/ 4638393 h 5278114"/>
              <a:gd name="connsiteX1211" fmla="*/ 1088380 w 5610835"/>
              <a:gd name="connsiteY1211" fmla="*/ 4641574 h 5278114"/>
              <a:gd name="connsiteX1212" fmla="*/ 1080426 w 5610835"/>
              <a:gd name="connsiteY1212" fmla="*/ 4657482 h 5278114"/>
              <a:gd name="connsiteX1213" fmla="*/ 1099516 w 5610835"/>
              <a:gd name="connsiteY1213" fmla="*/ 4643165 h 5278114"/>
              <a:gd name="connsiteX1214" fmla="*/ 1101107 w 5610835"/>
              <a:gd name="connsiteY1214" fmla="*/ 4654301 h 5278114"/>
              <a:gd name="connsiteX1215" fmla="*/ 1097925 w 5610835"/>
              <a:gd name="connsiteY1215" fmla="*/ 4657482 h 5278114"/>
              <a:gd name="connsiteX1216" fmla="*/ 1101107 w 5610835"/>
              <a:gd name="connsiteY1216" fmla="*/ 4667027 h 5278114"/>
              <a:gd name="connsiteX1217" fmla="*/ 1099516 w 5610835"/>
              <a:gd name="connsiteY1217" fmla="*/ 4681343 h 5278114"/>
              <a:gd name="connsiteX1218" fmla="*/ 1070883 w 5610835"/>
              <a:gd name="connsiteY1218" fmla="*/ 4679752 h 5278114"/>
              <a:gd name="connsiteX1219" fmla="*/ 1096334 w 5610835"/>
              <a:gd name="connsiteY1219" fmla="*/ 4690888 h 5278114"/>
              <a:gd name="connsiteX1220" fmla="*/ 1094744 w 5610835"/>
              <a:gd name="connsiteY1220" fmla="*/ 4703613 h 5278114"/>
              <a:gd name="connsiteX1221" fmla="*/ 1089971 w 5610835"/>
              <a:gd name="connsiteY1221" fmla="*/ 4702022 h 5278114"/>
              <a:gd name="connsiteX1222" fmla="*/ 1085199 w 5610835"/>
              <a:gd name="connsiteY1222" fmla="*/ 4686116 h 5278114"/>
              <a:gd name="connsiteX1223" fmla="*/ 1082017 w 5610835"/>
              <a:gd name="connsiteY1223" fmla="*/ 4700432 h 5278114"/>
              <a:gd name="connsiteX1224" fmla="*/ 1054975 w 5610835"/>
              <a:gd name="connsiteY1224" fmla="*/ 4697250 h 5278114"/>
              <a:gd name="connsiteX1225" fmla="*/ 1058156 w 5610835"/>
              <a:gd name="connsiteY1225" fmla="*/ 4686116 h 5278114"/>
              <a:gd name="connsiteX1226" fmla="*/ 1056566 w 5610835"/>
              <a:gd name="connsiteY1226" fmla="*/ 4682934 h 5278114"/>
              <a:gd name="connsiteX1227" fmla="*/ 1066109 w 5610835"/>
              <a:gd name="connsiteY1227" fmla="*/ 4643165 h 5278114"/>
              <a:gd name="connsiteX1228" fmla="*/ 1070883 w 5610835"/>
              <a:gd name="connsiteY1228" fmla="*/ 4638393 h 5278114"/>
              <a:gd name="connsiteX1229" fmla="*/ 1129738 w 5610835"/>
              <a:gd name="connsiteY1229" fmla="*/ 4627258 h 5278114"/>
              <a:gd name="connsiteX1230" fmla="*/ 1174280 w 5610835"/>
              <a:gd name="connsiteY1230" fmla="*/ 4676570 h 5278114"/>
              <a:gd name="connsiteX1231" fmla="*/ 1166326 w 5610835"/>
              <a:gd name="connsiteY1231" fmla="*/ 4687706 h 5278114"/>
              <a:gd name="connsiteX1232" fmla="*/ 1155190 w 5610835"/>
              <a:gd name="connsiteY1232" fmla="*/ 4689297 h 5278114"/>
              <a:gd name="connsiteX1233" fmla="*/ 1153599 w 5610835"/>
              <a:gd name="connsiteY1233" fmla="*/ 4684524 h 5278114"/>
              <a:gd name="connsiteX1234" fmla="*/ 1128148 w 5610835"/>
              <a:gd name="connsiteY1234" fmla="*/ 4638393 h 5278114"/>
              <a:gd name="connsiteX1235" fmla="*/ 1128148 w 5610835"/>
              <a:gd name="connsiteY1235" fmla="*/ 4654301 h 5278114"/>
              <a:gd name="connsiteX1236" fmla="*/ 1121785 w 5610835"/>
              <a:gd name="connsiteY1236" fmla="*/ 4668617 h 5278114"/>
              <a:gd name="connsiteX1237" fmla="*/ 1121785 w 5610835"/>
              <a:gd name="connsiteY1237" fmla="*/ 4670207 h 5278114"/>
              <a:gd name="connsiteX1238" fmla="*/ 1112241 w 5610835"/>
              <a:gd name="connsiteY1238" fmla="*/ 4663845 h 5278114"/>
              <a:gd name="connsiteX1239" fmla="*/ 1123375 w 5610835"/>
              <a:gd name="connsiteY1239" fmla="*/ 4684524 h 5278114"/>
              <a:gd name="connsiteX1240" fmla="*/ 1134511 w 5610835"/>
              <a:gd name="connsiteY1240" fmla="*/ 4706794 h 5278114"/>
              <a:gd name="connsiteX1241" fmla="*/ 1113832 w 5610835"/>
              <a:gd name="connsiteY1241" fmla="*/ 4692478 h 5278114"/>
              <a:gd name="connsiteX1242" fmla="*/ 1109059 w 5610835"/>
              <a:gd name="connsiteY1242" fmla="*/ 4655891 h 5278114"/>
              <a:gd name="connsiteX1243" fmla="*/ 1107469 w 5610835"/>
              <a:gd name="connsiteY1243" fmla="*/ 4638393 h 5278114"/>
              <a:gd name="connsiteX1244" fmla="*/ 1104287 w 5610835"/>
              <a:gd name="connsiteY1244" fmla="*/ 4639983 h 5278114"/>
              <a:gd name="connsiteX1245" fmla="*/ 1104287 w 5610835"/>
              <a:gd name="connsiteY1245" fmla="*/ 4636802 h 5278114"/>
              <a:gd name="connsiteX1246" fmla="*/ 1109059 w 5610835"/>
              <a:gd name="connsiteY1246" fmla="*/ 4628849 h 5278114"/>
              <a:gd name="connsiteX1247" fmla="*/ 1129738 w 5610835"/>
              <a:gd name="connsiteY1247" fmla="*/ 4627258 h 5278114"/>
              <a:gd name="connsiteX1248" fmla="*/ 1228366 w 5610835"/>
              <a:gd name="connsiteY1248" fmla="*/ 4625668 h 5278114"/>
              <a:gd name="connsiteX1249" fmla="*/ 1228366 w 5610835"/>
              <a:gd name="connsiteY1249" fmla="*/ 4632031 h 5278114"/>
              <a:gd name="connsiteX1250" fmla="*/ 1225184 w 5610835"/>
              <a:gd name="connsiteY1250" fmla="*/ 4633621 h 5278114"/>
              <a:gd name="connsiteX1251" fmla="*/ 1228366 w 5610835"/>
              <a:gd name="connsiteY1251" fmla="*/ 4625668 h 5278114"/>
              <a:gd name="connsiteX1252" fmla="*/ 994527 w 5610835"/>
              <a:gd name="connsiteY1252" fmla="*/ 4617714 h 5278114"/>
              <a:gd name="connsiteX1253" fmla="*/ 992937 w 5610835"/>
              <a:gd name="connsiteY1253" fmla="*/ 4620896 h 5278114"/>
              <a:gd name="connsiteX1254" fmla="*/ 992937 w 5610835"/>
              <a:gd name="connsiteY1254" fmla="*/ 4625668 h 5278114"/>
              <a:gd name="connsiteX1255" fmla="*/ 988165 w 5610835"/>
              <a:gd name="connsiteY1255" fmla="*/ 4619305 h 5278114"/>
              <a:gd name="connsiteX1256" fmla="*/ 994527 w 5610835"/>
              <a:gd name="connsiteY1256" fmla="*/ 4617714 h 5278114"/>
              <a:gd name="connsiteX1257" fmla="*/ 1008844 w 5610835"/>
              <a:gd name="connsiteY1257" fmla="*/ 4616122 h 5278114"/>
              <a:gd name="connsiteX1258" fmla="*/ 999299 w 5610835"/>
              <a:gd name="connsiteY1258" fmla="*/ 4647938 h 5278114"/>
              <a:gd name="connsiteX1259" fmla="*/ 994527 w 5610835"/>
              <a:gd name="connsiteY1259" fmla="*/ 4633621 h 5278114"/>
              <a:gd name="connsiteX1260" fmla="*/ 999299 w 5610835"/>
              <a:gd name="connsiteY1260" fmla="*/ 4617714 h 5278114"/>
              <a:gd name="connsiteX1261" fmla="*/ 1008844 w 5610835"/>
              <a:gd name="connsiteY1261" fmla="*/ 4616122 h 5278114"/>
              <a:gd name="connsiteX1262" fmla="*/ 1061337 w 5610835"/>
              <a:gd name="connsiteY1262" fmla="*/ 4611350 h 5278114"/>
              <a:gd name="connsiteX1263" fmla="*/ 1093153 w 5610835"/>
              <a:gd name="connsiteY1263" fmla="*/ 4611350 h 5278114"/>
              <a:gd name="connsiteX1264" fmla="*/ 1096334 w 5610835"/>
              <a:gd name="connsiteY1264" fmla="*/ 4625668 h 5278114"/>
              <a:gd name="connsiteX1265" fmla="*/ 1066109 w 5610835"/>
              <a:gd name="connsiteY1265" fmla="*/ 4635212 h 5278114"/>
              <a:gd name="connsiteX1266" fmla="*/ 1062928 w 5610835"/>
              <a:gd name="connsiteY1266" fmla="*/ 4633621 h 5278114"/>
              <a:gd name="connsiteX1267" fmla="*/ 1064518 w 5610835"/>
              <a:gd name="connsiteY1267" fmla="*/ 4616123 h 5278114"/>
              <a:gd name="connsiteX1268" fmla="*/ 1061337 w 5610835"/>
              <a:gd name="connsiteY1268" fmla="*/ 4611350 h 5278114"/>
              <a:gd name="connsiteX1269" fmla="*/ 1101106 w 5610835"/>
              <a:gd name="connsiteY1269" fmla="*/ 4606579 h 5278114"/>
              <a:gd name="connsiteX1270" fmla="*/ 1113832 w 5610835"/>
              <a:gd name="connsiteY1270" fmla="*/ 4614533 h 5278114"/>
              <a:gd name="connsiteX1271" fmla="*/ 1105879 w 5610835"/>
              <a:gd name="connsiteY1271" fmla="*/ 4620896 h 5278114"/>
              <a:gd name="connsiteX1272" fmla="*/ 1105879 w 5610835"/>
              <a:gd name="connsiteY1272" fmla="*/ 4619305 h 5278114"/>
              <a:gd name="connsiteX1273" fmla="*/ 1101106 w 5610835"/>
              <a:gd name="connsiteY1273" fmla="*/ 4606579 h 5278114"/>
              <a:gd name="connsiteX1274" fmla="*/ 1206094 w 5610835"/>
              <a:gd name="connsiteY1274" fmla="*/ 4604988 h 5278114"/>
              <a:gd name="connsiteX1275" fmla="*/ 1206094 w 5610835"/>
              <a:gd name="connsiteY1275" fmla="*/ 4636803 h 5278114"/>
              <a:gd name="connsiteX1276" fmla="*/ 1202913 w 5610835"/>
              <a:gd name="connsiteY1276" fmla="*/ 4630440 h 5278114"/>
              <a:gd name="connsiteX1277" fmla="*/ 1206094 w 5610835"/>
              <a:gd name="connsiteY1277" fmla="*/ 4604988 h 5278114"/>
              <a:gd name="connsiteX1278" fmla="*/ 1045431 w 5610835"/>
              <a:gd name="connsiteY1278" fmla="*/ 4604988 h 5278114"/>
              <a:gd name="connsiteX1279" fmla="*/ 1056566 w 5610835"/>
              <a:gd name="connsiteY1279" fmla="*/ 4608169 h 5278114"/>
              <a:gd name="connsiteX1280" fmla="*/ 1056566 w 5610835"/>
              <a:gd name="connsiteY1280" fmla="*/ 4628849 h 5278114"/>
              <a:gd name="connsiteX1281" fmla="*/ 1040658 w 5610835"/>
              <a:gd name="connsiteY1281" fmla="*/ 4632031 h 5278114"/>
              <a:gd name="connsiteX1282" fmla="*/ 1058156 w 5610835"/>
              <a:gd name="connsiteY1282" fmla="*/ 4636803 h 5278114"/>
              <a:gd name="connsiteX1283" fmla="*/ 1054975 w 5610835"/>
              <a:gd name="connsiteY1283" fmla="*/ 4668617 h 5278114"/>
              <a:gd name="connsiteX1284" fmla="*/ 1051794 w 5610835"/>
              <a:gd name="connsiteY1284" fmla="*/ 4670208 h 5278114"/>
              <a:gd name="connsiteX1285" fmla="*/ 1048613 w 5610835"/>
              <a:gd name="connsiteY1285" fmla="*/ 4689297 h 5278114"/>
              <a:gd name="connsiteX1286" fmla="*/ 1047022 w 5610835"/>
              <a:gd name="connsiteY1286" fmla="*/ 4713158 h 5278114"/>
              <a:gd name="connsiteX1287" fmla="*/ 1029523 w 5610835"/>
              <a:gd name="connsiteY1287" fmla="*/ 4725884 h 5278114"/>
              <a:gd name="connsiteX1288" fmla="*/ 1027932 w 5610835"/>
              <a:gd name="connsiteY1288" fmla="*/ 4724293 h 5278114"/>
              <a:gd name="connsiteX1289" fmla="*/ 1026342 w 5610835"/>
              <a:gd name="connsiteY1289" fmla="*/ 4721112 h 5278114"/>
              <a:gd name="connsiteX1290" fmla="*/ 1027932 w 5610835"/>
              <a:gd name="connsiteY1290" fmla="*/ 4714749 h 5278114"/>
              <a:gd name="connsiteX1291" fmla="*/ 1024751 w 5610835"/>
              <a:gd name="connsiteY1291" fmla="*/ 4716340 h 5278114"/>
              <a:gd name="connsiteX1292" fmla="*/ 1024751 w 5610835"/>
              <a:gd name="connsiteY1292" fmla="*/ 4714749 h 5278114"/>
              <a:gd name="connsiteX1293" fmla="*/ 1032704 w 5610835"/>
              <a:gd name="connsiteY1293" fmla="*/ 4697250 h 5278114"/>
              <a:gd name="connsiteX1294" fmla="*/ 1021570 w 5610835"/>
              <a:gd name="connsiteY1294" fmla="*/ 4703613 h 5278114"/>
              <a:gd name="connsiteX1295" fmla="*/ 1021570 w 5610835"/>
              <a:gd name="connsiteY1295" fmla="*/ 4611350 h 5278114"/>
              <a:gd name="connsiteX1296" fmla="*/ 1045431 w 5610835"/>
              <a:gd name="connsiteY1296" fmla="*/ 4604988 h 5278114"/>
              <a:gd name="connsiteX1297" fmla="*/ 1536967 w 5610835"/>
              <a:gd name="connsiteY1297" fmla="*/ 4601807 h 5278114"/>
              <a:gd name="connsiteX1298" fmla="*/ 1538558 w 5610835"/>
              <a:gd name="connsiteY1298" fmla="*/ 4611352 h 5278114"/>
              <a:gd name="connsiteX1299" fmla="*/ 1521060 w 5610835"/>
              <a:gd name="connsiteY1299" fmla="*/ 4649530 h 5278114"/>
              <a:gd name="connsiteX1300" fmla="*/ 1498790 w 5610835"/>
              <a:gd name="connsiteY1300" fmla="*/ 4697251 h 5278114"/>
              <a:gd name="connsiteX1301" fmla="*/ 1509924 w 5610835"/>
              <a:gd name="connsiteY1301" fmla="*/ 4711568 h 5278114"/>
              <a:gd name="connsiteX1302" fmla="*/ 1513106 w 5610835"/>
              <a:gd name="connsiteY1302" fmla="*/ 4708387 h 5278114"/>
              <a:gd name="connsiteX1303" fmla="*/ 1513106 w 5610835"/>
              <a:gd name="connsiteY1303" fmla="*/ 4714750 h 5278114"/>
              <a:gd name="connsiteX1304" fmla="*/ 1533785 w 5610835"/>
              <a:gd name="connsiteY1304" fmla="*/ 4741793 h 5278114"/>
              <a:gd name="connsiteX1305" fmla="*/ 1541739 w 5610835"/>
              <a:gd name="connsiteY1305" fmla="*/ 4717931 h 5278114"/>
              <a:gd name="connsiteX1306" fmla="*/ 1549238 w 5610835"/>
              <a:gd name="connsiteY1306" fmla="*/ 4717931 h 5278114"/>
              <a:gd name="connsiteX1307" fmla="*/ 1549494 w 5610835"/>
              <a:gd name="connsiteY1307" fmla="*/ 4716141 h 5278114"/>
              <a:gd name="connsiteX1308" fmla="*/ 1556056 w 5610835"/>
              <a:gd name="connsiteY1308" fmla="*/ 4698841 h 5278114"/>
              <a:gd name="connsiteX1309" fmla="*/ 1564250 w 5610835"/>
              <a:gd name="connsiteY1309" fmla="*/ 4698097 h 5278114"/>
              <a:gd name="connsiteX1310" fmla="*/ 1564805 w 5610835"/>
              <a:gd name="connsiteY1310" fmla="*/ 4685321 h 5278114"/>
              <a:gd name="connsiteX1311" fmla="*/ 1575145 w 5610835"/>
              <a:gd name="connsiteY1311" fmla="*/ 4671799 h 5278114"/>
              <a:gd name="connsiteX1312" fmla="*/ 1575145 w 5610835"/>
              <a:gd name="connsiteY1312" fmla="*/ 4657483 h 5278114"/>
              <a:gd name="connsiteX1313" fmla="*/ 1562418 w 5610835"/>
              <a:gd name="connsiteY1313" fmla="*/ 4673390 h 5278114"/>
              <a:gd name="connsiteX1314" fmla="*/ 1562418 w 5610835"/>
              <a:gd name="connsiteY1314" fmla="*/ 4652711 h 5278114"/>
              <a:gd name="connsiteX1315" fmla="*/ 1546511 w 5610835"/>
              <a:gd name="connsiteY1315" fmla="*/ 4706796 h 5278114"/>
              <a:gd name="connsiteX1316" fmla="*/ 1540148 w 5610835"/>
              <a:gd name="connsiteY1316" fmla="*/ 4698842 h 5278114"/>
              <a:gd name="connsiteX1317" fmla="*/ 1524241 w 5610835"/>
              <a:gd name="connsiteY1317" fmla="*/ 4721112 h 5278114"/>
              <a:gd name="connsiteX1318" fmla="*/ 1524241 w 5610835"/>
              <a:gd name="connsiteY1318" fmla="*/ 4698842 h 5278114"/>
              <a:gd name="connsiteX1319" fmla="*/ 1516287 w 5610835"/>
              <a:gd name="connsiteY1319" fmla="*/ 4697251 h 5278114"/>
              <a:gd name="connsiteX1320" fmla="*/ 1567191 w 5610835"/>
              <a:gd name="connsiteY1320" fmla="*/ 4627259 h 5278114"/>
              <a:gd name="connsiteX1321" fmla="*/ 1552875 w 5610835"/>
              <a:gd name="connsiteY1321" fmla="*/ 4611352 h 5278114"/>
              <a:gd name="connsiteX1322" fmla="*/ 1551285 w 5610835"/>
              <a:gd name="connsiteY1322" fmla="*/ 4612943 h 5278114"/>
              <a:gd name="connsiteX1323" fmla="*/ 1548102 w 5610835"/>
              <a:gd name="connsiteY1323" fmla="*/ 4606580 h 5278114"/>
              <a:gd name="connsiteX1324" fmla="*/ 1536967 w 5610835"/>
              <a:gd name="connsiteY1324" fmla="*/ 4601807 h 5278114"/>
              <a:gd name="connsiteX1325" fmla="*/ 1481291 w 5610835"/>
              <a:gd name="connsiteY1325" fmla="*/ 4597035 h 5278114"/>
              <a:gd name="connsiteX1326" fmla="*/ 1478111 w 5610835"/>
              <a:gd name="connsiteY1326" fmla="*/ 4598626 h 5278114"/>
              <a:gd name="connsiteX1327" fmla="*/ 1476519 w 5610835"/>
              <a:gd name="connsiteY1327" fmla="*/ 4601807 h 5278114"/>
              <a:gd name="connsiteX1328" fmla="*/ 1465384 w 5610835"/>
              <a:gd name="connsiteY1328" fmla="*/ 4641576 h 5278114"/>
              <a:gd name="connsiteX1329" fmla="*/ 1466975 w 5610835"/>
              <a:gd name="connsiteY1329" fmla="*/ 4649530 h 5278114"/>
              <a:gd name="connsiteX1330" fmla="*/ 1495608 w 5610835"/>
              <a:gd name="connsiteY1330" fmla="*/ 4603398 h 5278114"/>
              <a:gd name="connsiteX1331" fmla="*/ 1478111 w 5610835"/>
              <a:gd name="connsiteY1331" fmla="*/ 4609761 h 5278114"/>
              <a:gd name="connsiteX1332" fmla="*/ 1481291 w 5610835"/>
              <a:gd name="connsiteY1332" fmla="*/ 4597035 h 5278114"/>
              <a:gd name="connsiteX1333" fmla="*/ 1078837 w 5610835"/>
              <a:gd name="connsiteY1333" fmla="*/ 4597035 h 5278114"/>
              <a:gd name="connsiteX1334" fmla="*/ 1082018 w 5610835"/>
              <a:gd name="connsiteY1334" fmla="*/ 4601807 h 5278114"/>
              <a:gd name="connsiteX1335" fmla="*/ 1056566 w 5610835"/>
              <a:gd name="connsiteY1335" fmla="*/ 4601807 h 5278114"/>
              <a:gd name="connsiteX1336" fmla="*/ 1078837 w 5610835"/>
              <a:gd name="connsiteY1336" fmla="*/ 4597035 h 5278114"/>
              <a:gd name="connsiteX1337" fmla="*/ 1112242 w 5610835"/>
              <a:gd name="connsiteY1337" fmla="*/ 4589081 h 5278114"/>
              <a:gd name="connsiteX1338" fmla="*/ 1113832 w 5610835"/>
              <a:gd name="connsiteY1338" fmla="*/ 4592262 h 5278114"/>
              <a:gd name="connsiteX1339" fmla="*/ 1109061 w 5610835"/>
              <a:gd name="connsiteY1339" fmla="*/ 4590672 h 5278114"/>
              <a:gd name="connsiteX1340" fmla="*/ 1112242 w 5610835"/>
              <a:gd name="connsiteY1340" fmla="*/ 4589081 h 5278114"/>
              <a:gd name="connsiteX1341" fmla="*/ 1005662 w 5610835"/>
              <a:gd name="connsiteY1341" fmla="*/ 4581127 h 5278114"/>
              <a:gd name="connsiteX1342" fmla="*/ 1007253 w 5610835"/>
              <a:gd name="connsiteY1342" fmla="*/ 4587490 h 5278114"/>
              <a:gd name="connsiteX1343" fmla="*/ 1005662 w 5610835"/>
              <a:gd name="connsiteY1343" fmla="*/ 4587490 h 5278114"/>
              <a:gd name="connsiteX1344" fmla="*/ 1005662 w 5610835"/>
              <a:gd name="connsiteY1344" fmla="*/ 4581127 h 5278114"/>
              <a:gd name="connsiteX1345" fmla="*/ 1155192 w 5610835"/>
              <a:gd name="connsiteY1345" fmla="*/ 4577945 h 5278114"/>
              <a:gd name="connsiteX1346" fmla="*/ 1163145 w 5610835"/>
              <a:gd name="connsiteY1346" fmla="*/ 4616124 h 5278114"/>
              <a:gd name="connsiteX1347" fmla="*/ 1159964 w 5610835"/>
              <a:gd name="connsiteY1347" fmla="*/ 4614533 h 5278114"/>
              <a:gd name="connsiteX1348" fmla="*/ 1158373 w 5610835"/>
              <a:gd name="connsiteY1348" fmla="*/ 4617715 h 5278114"/>
              <a:gd name="connsiteX1349" fmla="*/ 1113832 w 5610835"/>
              <a:gd name="connsiteY1349" fmla="*/ 4595445 h 5278114"/>
              <a:gd name="connsiteX1350" fmla="*/ 1113832 w 5610835"/>
              <a:gd name="connsiteY1350" fmla="*/ 4593854 h 5278114"/>
              <a:gd name="connsiteX1351" fmla="*/ 1120194 w 5610835"/>
              <a:gd name="connsiteY1351" fmla="*/ 4595445 h 5278114"/>
              <a:gd name="connsiteX1352" fmla="*/ 1120194 w 5610835"/>
              <a:gd name="connsiteY1352" fmla="*/ 4587491 h 5278114"/>
              <a:gd name="connsiteX1353" fmla="*/ 1155192 w 5610835"/>
              <a:gd name="connsiteY1353" fmla="*/ 4577945 h 5278114"/>
              <a:gd name="connsiteX1354" fmla="*/ 1529013 w 5610835"/>
              <a:gd name="connsiteY1354" fmla="*/ 4573174 h 5278114"/>
              <a:gd name="connsiteX1355" fmla="*/ 1519470 w 5610835"/>
              <a:gd name="connsiteY1355" fmla="*/ 4574765 h 5278114"/>
              <a:gd name="connsiteX1356" fmla="*/ 1529013 w 5610835"/>
              <a:gd name="connsiteY1356" fmla="*/ 4574765 h 5278114"/>
              <a:gd name="connsiteX1357" fmla="*/ 1529013 w 5610835"/>
              <a:gd name="connsiteY1357" fmla="*/ 4573174 h 5278114"/>
              <a:gd name="connsiteX1358" fmla="*/ 997708 w 5610835"/>
              <a:gd name="connsiteY1358" fmla="*/ 4573174 h 5278114"/>
              <a:gd name="connsiteX1359" fmla="*/ 999299 w 5610835"/>
              <a:gd name="connsiteY1359" fmla="*/ 4574764 h 5278114"/>
              <a:gd name="connsiteX1360" fmla="*/ 999299 w 5610835"/>
              <a:gd name="connsiteY1360" fmla="*/ 4589081 h 5278114"/>
              <a:gd name="connsiteX1361" fmla="*/ 994527 w 5610835"/>
              <a:gd name="connsiteY1361" fmla="*/ 4589081 h 5278114"/>
              <a:gd name="connsiteX1362" fmla="*/ 997708 w 5610835"/>
              <a:gd name="connsiteY1362" fmla="*/ 4573174 h 5278114"/>
              <a:gd name="connsiteX1363" fmla="*/ 1381076 w 5610835"/>
              <a:gd name="connsiteY1363" fmla="*/ 4571583 h 5278114"/>
              <a:gd name="connsiteX1364" fmla="*/ 1366758 w 5610835"/>
              <a:gd name="connsiteY1364" fmla="*/ 4581128 h 5278114"/>
              <a:gd name="connsiteX1365" fmla="*/ 1382666 w 5610835"/>
              <a:gd name="connsiteY1365" fmla="*/ 4576355 h 5278114"/>
              <a:gd name="connsiteX1366" fmla="*/ 1381076 w 5610835"/>
              <a:gd name="connsiteY1366" fmla="*/ 4571583 h 5278114"/>
              <a:gd name="connsiteX1367" fmla="*/ 1180643 w 5610835"/>
              <a:gd name="connsiteY1367" fmla="*/ 4569992 h 5278114"/>
              <a:gd name="connsiteX1368" fmla="*/ 1183824 w 5610835"/>
              <a:gd name="connsiteY1368" fmla="*/ 4603398 h 5278114"/>
              <a:gd name="connsiteX1369" fmla="*/ 1171098 w 5610835"/>
              <a:gd name="connsiteY1369" fmla="*/ 4573174 h 5278114"/>
              <a:gd name="connsiteX1370" fmla="*/ 1180643 w 5610835"/>
              <a:gd name="connsiteY1370" fmla="*/ 4569992 h 5278114"/>
              <a:gd name="connsiteX1371" fmla="*/ 1613322 w 5610835"/>
              <a:gd name="connsiteY1371" fmla="*/ 4568402 h 5278114"/>
              <a:gd name="connsiteX1372" fmla="*/ 1610141 w 5610835"/>
              <a:gd name="connsiteY1372" fmla="*/ 4569993 h 5278114"/>
              <a:gd name="connsiteX1373" fmla="*/ 1610141 w 5610835"/>
              <a:gd name="connsiteY1373" fmla="*/ 4571583 h 5278114"/>
              <a:gd name="connsiteX1374" fmla="*/ 1613322 w 5610835"/>
              <a:gd name="connsiteY1374" fmla="*/ 4569993 h 5278114"/>
              <a:gd name="connsiteX1375" fmla="*/ 1613322 w 5610835"/>
              <a:gd name="connsiteY1375" fmla="*/ 4568402 h 5278114"/>
              <a:gd name="connsiteX1376" fmla="*/ 1393801 w 5610835"/>
              <a:gd name="connsiteY1376" fmla="*/ 4565221 h 5278114"/>
              <a:gd name="connsiteX1377" fmla="*/ 1389028 w 5610835"/>
              <a:gd name="connsiteY1377" fmla="*/ 4574765 h 5278114"/>
              <a:gd name="connsiteX1378" fmla="*/ 1406527 w 5610835"/>
              <a:gd name="connsiteY1378" fmla="*/ 4565221 h 5278114"/>
              <a:gd name="connsiteX1379" fmla="*/ 1393801 w 5610835"/>
              <a:gd name="connsiteY1379" fmla="*/ 4565221 h 5278114"/>
              <a:gd name="connsiteX1380" fmla="*/ 1198142 w 5610835"/>
              <a:gd name="connsiteY1380" fmla="*/ 4565221 h 5278114"/>
              <a:gd name="connsiteX1381" fmla="*/ 1188597 w 5610835"/>
              <a:gd name="connsiteY1381" fmla="*/ 4576355 h 5278114"/>
              <a:gd name="connsiteX1382" fmla="*/ 1188597 w 5610835"/>
              <a:gd name="connsiteY1382" fmla="*/ 4568402 h 5278114"/>
              <a:gd name="connsiteX1383" fmla="*/ 1198142 w 5610835"/>
              <a:gd name="connsiteY1383" fmla="*/ 4565221 h 5278114"/>
              <a:gd name="connsiteX1384" fmla="*/ 1584689 w 5610835"/>
              <a:gd name="connsiteY1384" fmla="*/ 4560448 h 5278114"/>
              <a:gd name="connsiteX1385" fmla="*/ 1568782 w 5610835"/>
              <a:gd name="connsiteY1385" fmla="*/ 4563630 h 5278114"/>
              <a:gd name="connsiteX1386" fmla="*/ 1567191 w 5610835"/>
              <a:gd name="connsiteY1386" fmla="*/ 4566812 h 5278114"/>
              <a:gd name="connsiteX1387" fmla="*/ 1581509 w 5610835"/>
              <a:gd name="connsiteY1387" fmla="*/ 4565221 h 5278114"/>
              <a:gd name="connsiteX1388" fmla="*/ 1584689 w 5610835"/>
              <a:gd name="connsiteY1388" fmla="*/ 4560448 h 5278114"/>
              <a:gd name="connsiteX1389" fmla="*/ 1587871 w 5610835"/>
              <a:gd name="connsiteY1389" fmla="*/ 4558858 h 5278114"/>
              <a:gd name="connsiteX1390" fmla="*/ 1587871 w 5610835"/>
              <a:gd name="connsiteY1390" fmla="*/ 4563630 h 5278114"/>
              <a:gd name="connsiteX1391" fmla="*/ 1591052 w 5610835"/>
              <a:gd name="connsiteY1391" fmla="*/ 4563630 h 5278114"/>
              <a:gd name="connsiteX1392" fmla="*/ 1592643 w 5610835"/>
              <a:gd name="connsiteY1392" fmla="*/ 4558858 h 5278114"/>
              <a:gd name="connsiteX1393" fmla="*/ 1587871 w 5610835"/>
              <a:gd name="connsiteY1393" fmla="*/ 4558858 h 5278114"/>
              <a:gd name="connsiteX1394" fmla="*/ 1657863 w 5610835"/>
              <a:gd name="connsiteY1394" fmla="*/ 4557267 h 5278114"/>
              <a:gd name="connsiteX1395" fmla="*/ 1632411 w 5610835"/>
              <a:gd name="connsiteY1395" fmla="*/ 4563630 h 5278114"/>
              <a:gd name="connsiteX1396" fmla="*/ 1632411 w 5610835"/>
              <a:gd name="connsiteY1396" fmla="*/ 4566812 h 5278114"/>
              <a:gd name="connsiteX1397" fmla="*/ 1649909 w 5610835"/>
              <a:gd name="connsiteY1397" fmla="*/ 4563630 h 5278114"/>
              <a:gd name="connsiteX1398" fmla="*/ 1657863 w 5610835"/>
              <a:gd name="connsiteY1398" fmla="*/ 4557267 h 5278114"/>
              <a:gd name="connsiteX1399" fmla="*/ 1021570 w 5610835"/>
              <a:gd name="connsiteY1399" fmla="*/ 4555676 h 5278114"/>
              <a:gd name="connsiteX1400" fmla="*/ 1018387 w 5610835"/>
              <a:gd name="connsiteY1400" fmla="*/ 4569993 h 5278114"/>
              <a:gd name="connsiteX1401" fmla="*/ 1013615 w 5610835"/>
              <a:gd name="connsiteY1401" fmla="*/ 4557267 h 5278114"/>
              <a:gd name="connsiteX1402" fmla="*/ 1021570 w 5610835"/>
              <a:gd name="connsiteY1402" fmla="*/ 4555676 h 5278114"/>
              <a:gd name="connsiteX1403" fmla="*/ 1237909 w 5610835"/>
              <a:gd name="connsiteY1403" fmla="*/ 4555675 h 5278114"/>
              <a:gd name="connsiteX1404" fmla="*/ 1236318 w 5610835"/>
              <a:gd name="connsiteY1404" fmla="*/ 4565220 h 5278114"/>
              <a:gd name="connsiteX1405" fmla="*/ 1234728 w 5610835"/>
              <a:gd name="connsiteY1405" fmla="*/ 4565220 h 5278114"/>
              <a:gd name="connsiteX1406" fmla="*/ 1236318 w 5610835"/>
              <a:gd name="connsiteY1406" fmla="*/ 4566811 h 5278114"/>
              <a:gd name="connsiteX1407" fmla="*/ 1233137 w 5610835"/>
              <a:gd name="connsiteY1407" fmla="*/ 4589081 h 5278114"/>
              <a:gd name="connsiteX1408" fmla="*/ 1229956 w 5610835"/>
              <a:gd name="connsiteY1408" fmla="*/ 4589081 h 5278114"/>
              <a:gd name="connsiteX1409" fmla="*/ 1231547 w 5610835"/>
              <a:gd name="connsiteY1409" fmla="*/ 4595444 h 5278114"/>
              <a:gd name="connsiteX1410" fmla="*/ 1229956 w 5610835"/>
              <a:gd name="connsiteY1410" fmla="*/ 4606578 h 5278114"/>
              <a:gd name="connsiteX1411" fmla="*/ 1226774 w 5610835"/>
              <a:gd name="connsiteY1411" fmla="*/ 4598625 h 5278114"/>
              <a:gd name="connsiteX1412" fmla="*/ 1214047 w 5610835"/>
              <a:gd name="connsiteY1412" fmla="*/ 4614532 h 5278114"/>
              <a:gd name="connsiteX1413" fmla="*/ 1210867 w 5610835"/>
              <a:gd name="connsiteY1413" fmla="*/ 4584308 h 5278114"/>
              <a:gd name="connsiteX1414" fmla="*/ 1218820 w 5610835"/>
              <a:gd name="connsiteY1414" fmla="*/ 4562038 h 5278114"/>
              <a:gd name="connsiteX1415" fmla="*/ 1237909 w 5610835"/>
              <a:gd name="connsiteY1415" fmla="*/ 4555675 h 5278114"/>
              <a:gd name="connsiteX1416" fmla="*/ 1611732 w 5610835"/>
              <a:gd name="connsiteY1416" fmla="*/ 4554085 h 5278114"/>
              <a:gd name="connsiteX1417" fmla="*/ 1611732 w 5610835"/>
              <a:gd name="connsiteY1417" fmla="*/ 4560448 h 5278114"/>
              <a:gd name="connsiteX1418" fmla="*/ 1614913 w 5610835"/>
              <a:gd name="connsiteY1418" fmla="*/ 4560448 h 5278114"/>
              <a:gd name="connsiteX1419" fmla="*/ 1614913 w 5610835"/>
              <a:gd name="connsiteY1419" fmla="*/ 4554085 h 5278114"/>
              <a:gd name="connsiteX1420" fmla="*/ 1611732 w 5610835"/>
              <a:gd name="connsiteY1420" fmla="*/ 4554085 h 5278114"/>
              <a:gd name="connsiteX1421" fmla="*/ 1082018 w 5610835"/>
              <a:gd name="connsiteY1421" fmla="*/ 4554085 h 5278114"/>
              <a:gd name="connsiteX1422" fmla="*/ 1083609 w 5610835"/>
              <a:gd name="connsiteY1422" fmla="*/ 4562039 h 5278114"/>
              <a:gd name="connsiteX1423" fmla="*/ 1082018 w 5610835"/>
              <a:gd name="connsiteY1423" fmla="*/ 4565221 h 5278114"/>
              <a:gd name="connsiteX1424" fmla="*/ 1078837 w 5610835"/>
              <a:gd name="connsiteY1424" fmla="*/ 4563630 h 5278114"/>
              <a:gd name="connsiteX1425" fmla="*/ 1080428 w 5610835"/>
              <a:gd name="connsiteY1425" fmla="*/ 4558858 h 5278114"/>
              <a:gd name="connsiteX1426" fmla="*/ 1078837 w 5610835"/>
              <a:gd name="connsiteY1426" fmla="*/ 4558858 h 5278114"/>
              <a:gd name="connsiteX1427" fmla="*/ 1082018 w 5610835"/>
              <a:gd name="connsiteY1427" fmla="*/ 4554085 h 5278114"/>
              <a:gd name="connsiteX1428" fmla="*/ 1045431 w 5610835"/>
              <a:gd name="connsiteY1428" fmla="*/ 4549312 h 5278114"/>
              <a:gd name="connsiteX1429" fmla="*/ 1051794 w 5610835"/>
              <a:gd name="connsiteY1429" fmla="*/ 4560448 h 5278114"/>
              <a:gd name="connsiteX1430" fmla="*/ 1047022 w 5610835"/>
              <a:gd name="connsiteY1430" fmla="*/ 4562039 h 5278114"/>
              <a:gd name="connsiteX1431" fmla="*/ 1058157 w 5610835"/>
              <a:gd name="connsiteY1431" fmla="*/ 4568402 h 5278114"/>
              <a:gd name="connsiteX1432" fmla="*/ 1064520 w 5610835"/>
              <a:gd name="connsiteY1432" fmla="*/ 4576355 h 5278114"/>
              <a:gd name="connsiteX1433" fmla="*/ 1034295 w 5610835"/>
              <a:gd name="connsiteY1433" fmla="*/ 4582719 h 5278114"/>
              <a:gd name="connsiteX1434" fmla="*/ 1026342 w 5610835"/>
              <a:gd name="connsiteY1434" fmla="*/ 4554085 h 5278114"/>
              <a:gd name="connsiteX1435" fmla="*/ 1045431 w 5610835"/>
              <a:gd name="connsiteY1435" fmla="*/ 4549312 h 5278114"/>
              <a:gd name="connsiteX1436" fmla="*/ 1976009 w 5610835"/>
              <a:gd name="connsiteY1436" fmla="*/ 4546131 h 5278114"/>
              <a:gd name="connsiteX1437" fmla="*/ 1936241 w 5610835"/>
              <a:gd name="connsiteY1437" fmla="*/ 4597035 h 5278114"/>
              <a:gd name="connsiteX1438" fmla="*/ 1823299 w 5610835"/>
              <a:gd name="connsiteY1438" fmla="*/ 4842008 h 5278114"/>
              <a:gd name="connsiteX1439" fmla="*/ 1820118 w 5610835"/>
              <a:gd name="connsiteY1439" fmla="*/ 4730657 h 5278114"/>
              <a:gd name="connsiteX1440" fmla="*/ 1928685 w 5610835"/>
              <a:gd name="connsiteY1440" fmla="*/ 4582719 h 5278114"/>
              <a:gd name="connsiteX1441" fmla="*/ 1963739 w 5610835"/>
              <a:gd name="connsiteY1441" fmla="*/ 4549821 h 5278114"/>
              <a:gd name="connsiteX1442" fmla="*/ 1964402 w 5610835"/>
              <a:gd name="connsiteY1442" fmla="*/ 4549462 h 5278114"/>
              <a:gd name="connsiteX1443" fmla="*/ 1976009 w 5610835"/>
              <a:gd name="connsiteY1443" fmla="*/ 4546131 h 5278114"/>
              <a:gd name="connsiteX1444" fmla="*/ 1640365 w 5610835"/>
              <a:gd name="connsiteY1444" fmla="*/ 4546131 h 5278114"/>
              <a:gd name="connsiteX1445" fmla="*/ 1630820 w 5610835"/>
              <a:gd name="connsiteY1445" fmla="*/ 4549313 h 5278114"/>
              <a:gd name="connsiteX1446" fmla="*/ 1630820 w 5610835"/>
              <a:gd name="connsiteY1446" fmla="*/ 4555676 h 5278114"/>
              <a:gd name="connsiteX1447" fmla="*/ 1640365 w 5610835"/>
              <a:gd name="connsiteY1447" fmla="*/ 4552494 h 5278114"/>
              <a:gd name="connsiteX1448" fmla="*/ 1640365 w 5610835"/>
              <a:gd name="connsiteY1448" fmla="*/ 4546131 h 5278114"/>
              <a:gd name="connsiteX1449" fmla="*/ 1091562 w 5610835"/>
              <a:gd name="connsiteY1449" fmla="*/ 4546131 h 5278114"/>
              <a:gd name="connsiteX1450" fmla="*/ 1091562 w 5610835"/>
              <a:gd name="connsiteY1450" fmla="*/ 4549313 h 5278114"/>
              <a:gd name="connsiteX1451" fmla="*/ 1089971 w 5610835"/>
              <a:gd name="connsiteY1451" fmla="*/ 4552494 h 5278114"/>
              <a:gd name="connsiteX1452" fmla="*/ 1091562 w 5610835"/>
              <a:gd name="connsiteY1452" fmla="*/ 4546131 h 5278114"/>
              <a:gd name="connsiteX1453" fmla="*/ 1147238 w 5610835"/>
              <a:gd name="connsiteY1453" fmla="*/ 4544540 h 5278114"/>
              <a:gd name="connsiteX1454" fmla="*/ 1148828 w 5610835"/>
              <a:gd name="connsiteY1454" fmla="*/ 4555676 h 5278114"/>
              <a:gd name="connsiteX1455" fmla="*/ 1129739 w 5610835"/>
              <a:gd name="connsiteY1455" fmla="*/ 4560448 h 5278114"/>
              <a:gd name="connsiteX1456" fmla="*/ 1147238 w 5610835"/>
              <a:gd name="connsiteY1456" fmla="*/ 4544540 h 5278114"/>
              <a:gd name="connsiteX1457" fmla="*/ 1970043 w 5610835"/>
              <a:gd name="connsiteY1457" fmla="*/ 4543904 h 5278114"/>
              <a:gd name="connsiteX1458" fmla="*/ 1963739 w 5610835"/>
              <a:gd name="connsiteY1458" fmla="*/ 4549821 h 5278114"/>
              <a:gd name="connsiteX1459" fmla="*/ 1949961 w 5610835"/>
              <a:gd name="connsiteY1459" fmla="*/ 4557267 h 5278114"/>
              <a:gd name="connsiteX1460" fmla="*/ 1920334 w 5610835"/>
              <a:gd name="connsiteY1460" fmla="*/ 4573174 h 5278114"/>
              <a:gd name="connsiteX1461" fmla="*/ 1968792 w 5610835"/>
              <a:gd name="connsiteY1461" fmla="*/ 4544883 h 5278114"/>
              <a:gd name="connsiteX1462" fmla="*/ 1508334 w 5610835"/>
              <a:gd name="connsiteY1462" fmla="*/ 4542950 h 5278114"/>
              <a:gd name="connsiteX1463" fmla="*/ 1503561 w 5610835"/>
              <a:gd name="connsiteY1463" fmla="*/ 4547722 h 5278114"/>
              <a:gd name="connsiteX1464" fmla="*/ 1508334 w 5610835"/>
              <a:gd name="connsiteY1464" fmla="*/ 4552494 h 5278114"/>
              <a:gd name="connsiteX1465" fmla="*/ 1511515 w 5610835"/>
              <a:gd name="connsiteY1465" fmla="*/ 4550904 h 5278114"/>
              <a:gd name="connsiteX1466" fmla="*/ 1508334 w 5610835"/>
              <a:gd name="connsiteY1466" fmla="*/ 4542950 h 5278114"/>
              <a:gd name="connsiteX1467" fmla="*/ 1082018 w 5610835"/>
              <a:gd name="connsiteY1467" fmla="*/ 4542950 h 5278114"/>
              <a:gd name="connsiteX1468" fmla="*/ 1083609 w 5610835"/>
              <a:gd name="connsiteY1468" fmla="*/ 4552494 h 5278114"/>
              <a:gd name="connsiteX1469" fmla="*/ 1080427 w 5610835"/>
              <a:gd name="connsiteY1469" fmla="*/ 4550904 h 5278114"/>
              <a:gd name="connsiteX1470" fmla="*/ 1082018 w 5610835"/>
              <a:gd name="connsiteY1470" fmla="*/ 4542950 h 5278114"/>
              <a:gd name="connsiteX1471" fmla="*/ 1718310 w 5610835"/>
              <a:gd name="connsiteY1471" fmla="*/ 4541359 h 5278114"/>
              <a:gd name="connsiteX1472" fmla="*/ 1670589 w 5610835"/>
              <a:gd name="connsiteY1472" fmla="*/ 4554085 h 5278114"/>
              <a:gd name="connsiteX1473" fmla="*/ 1668998 w 5610835"/>
              <a:gd name="connsiteY1473" fmla="*/ 4555676 h 5278114"/>
              <a:gd name="connsiteX1474" fmla="*/ 1670589 w 5610835"/>
              <a:gd name="connsiteY1474" fmla="*/ 4557267 h 5278114"/>
              <a:gd name="connsiteX1475" fmla="*/ 1676952 w 5610835"/>
              <a:gd name="connsiteY1475" fmla="*/ 4554085 h 5278114"/>
              <a:gd name="connsiteX1476" fmla="*/ 1678542 w 5610835"/>
              <a:gd name="connsiteY1476" fmla="*/ 4557267 h 5278114"/>
              <a:gd name="connsiteX1477" fmla="*/ 1721493 w 5610835"/>
              <a:gd name="connsiteY1477" fmla="*/ 4546131 h 5278114"/>
              <a:gd name="connsiteX1478" fmla="*/ 1718310 w 5610835"/>
              <a:gd name="connsiteY1478" fmla="*/ 4541359 h 5278114"/>
              <a:gd name="connsiteX1479" fmla="*/ 1096334 w 5610835"/>
              <a:gd name="connsiteY1479" fmla="*/ 4538178 h 5278114"/>
              <a:gd name="connsiteX1480" fmla="*/ 1097924 w 5610835"/>
              <a:gd name="connsiteY1480" fmla="*/ 4538178 h 5278114"/>
              <a:gd name="connsiteX1481" fmla="*/ 1097924 w 5610835"/>
              <a:gd name="connsiteY1481" fmla="*/ 4542950 h 5278114"/>
              <a:gd name="connsiteX1482" fmla="*/ 1096334 w 5610835"/>
              <a:gd name="connsiteY1482" fmla="*/ 4542950 h 5278114"/>
              <a:gd name="connsiteX1483" fmla="*/ 1094743 w 5610835"/>
              <a:gd name="connsiteY1483" fmla="*/ 4539769 h 5278114"/>
              <a:gd name="connsiteX1484" fmla="*/ 1096334 w 5610835"/>
              <a:gd name="connsiteY1484" fmla="*/ 4538178 h 5278114"/>
              <a:gd name="connsiteX1485" fmla="*/ 1678542 w 5610835"/>
              <a:gd name="connsiteY1485" fmla="*/ 4534997 h 5278114"/>
              <a:gd name="connsiteX1486" fmla="*/ 1661044 w 5610835"/>
              <a:gd name="connsiteY1486" fmla="*/ 4541359 h 5278114"/>
              <a:gd name="connsiteX1487" fmla="*/ 1667407 w 5610835"/>
              <a:gd name="connsiteY1487" fmla="*/ 4546131 h 5278114"/>
              <a:gd name="connsiteX1488" fmla="*/ 1684906 w 5610835"/>
              <a:gd name="connsiteY1488" fmla="*/ 4541359 h 5278114"/>
              <a:gd name="connsiteX1489" fmla="*/ 1681723 w 5610835"/>
              <a:gd name="connsiteY1489" fmla="*/ 4536587 h 5278114"/>
              <a:gd name="connsiteX1490" fmla="*/ 1681723 w 5610835"/>
              <a:gd name="connsiteY1490" fmla="*/ 4538178 h 5278114"/>
              <a:gd name="connsiteX1491" fmla="*/ 1678542 w 5610835"/>
              <a:gd name="connsiteY1491" fmla="*/ 4534997 h 5278114"/>
              <a:gd name="connsiteX1492" fmla="*/ 1484473 w 5610835"/>
              <a:gd name="connsiteY1492" fmla="*/ 4533406 h 5278114"/>
              <a:gd name="connsiteX1493" fmla="*/ 1478111 w 5610835"/>
              <a:gd name="connsiteY1493" fmla="*/ 4534997 h 5278114"/>
              <a:gd name="connsiteX1494" fmla="*/ 1392210 w 5610835"/>
              <a:gd name="connsiteY1494" fmla="*/ 4611352 h 5278114"/>
              <a:gd name="connsiteX1495" fmla="*/ 1441523 w 5610835"/>
              <a:gd name="connsiteY1495" fmla="*/ 4576355 h 5278114"/>
              <a:gd name="connsiteX1496" fmla="*/ 1443113 w 5610835"/>
              <a:gd name="connsiteY1496" fmla="*/ 4573174 h 5278114"/>
              <a:gd name="connsiteX1497" fmla="*/ 1446295 w 5610835"/>
              <a:gd name="connsiteY1497" fmla="*/ 4573174 h 5278114"/>
              <a:gd name="connsiteX1498" fmla="*/ 1454249 w 5610835"/>
              <a:gd name="connsiteY1498" fmla="*/ 4566812 h 5278114"/>
              <a:gd name="connsiteX1499" fmla="*/ 1447887 w 5610835"/>
              <a:gd name="connsiteY1499" fmla="*/ 4566812 h 5278114"/>
              <a:gd name="connsiteX1500" fmla="*/ 1455839 w 5610835"/>
              <a:gd name="connsiteY1500" fmla="*/ 4555676 h 5278114"/>
              <a:gd name="connsiteX1501" fmla="*/ 1484473 w 5610835"/>
              <a:gd name="connsiteY1501" fmla="*/ 4533406 h 5278114"/>
              <a:gd name="connsiteX1502" fmla="*/ 1145647 w 5610835"/>
              <a:gd name="connsiteY1502" fmla="*/ 4527042 h 5278114"/>
              <a:gd name="connsiteX1503" fmla="*/ 1129739 w 5610835"/>
              <a:gd name="connsiteY1503" fmla="*/ 4554085 h 5278114"/>
              <a:gd name="connsiteX1504" fmla="*/ 1110650 w 5610835"/>
              <a:gd name="connsiteY1504" fmla="*/ 4565221 h 5278114"/>
              <a:gd name="connsiteX1505" fmla="*/ 1118604 w 5610835"/>
              <a:gd name="connsiteY1505" fmla="*/ 4533406 h 5278114"/>
              <a:gd name="connsiteX1506" fmla="*/ 1145647 w 5610835"/>
              <a:gd name="connsiteY1506" fmla="*/ 4527042 h 5278114"/>
              <a:gd name="connsiteX1507" fmla="*/ 2146218 w 5610835"/>
              <a:gd name="connsiteY1507" fmla="*/ 4517498 h 5278114"/>
              <a:gd name="connsiteX1508" fmla="*/ 2033275 w 5610835"/>
              <a:gd name="connsiteY1508" fmla="*/ 4719521 h 5278114"/>
              <a:gd name="connsiteX1509" fmla="*/ 2146218 w 5610835"/>
              <a:gd name="connsiteY1509" fmla="*/ 4517498 h 5278114"/>
              <a:gd name="connsiteX1510" fmla="*/ 1789894 w 5610835"/>
              <a:gd name="connsiteY1510" fmla="*/ 4517498 h 5278114"/>
              <a:gd name="connsiteX1511" fmla="*/ 1731037 w 5610835"/>
              <a:gd name="connsiteY1511" fmla="*/ 4536587 h 5278114"/>
              <a:gd name="connsiteX1512" fmla="*/ 1724674 w 5610835"/>
              <a:gd name="connsiteY1512" fmla="*/ 4544540 h 5278114"/>
              <a:gd name="connsiteX1513" fmla="*/ 1737399 w 5610835"/>
              <a:gd name="connsiteY1513" fmla="*/ 4541359 h 5278114"/>
              <a:gd name="connsiteX1514" fmla="*/ 1780349 w 5610835"/>
              <a:gd name="connsiteY1514" fmla="*/ 4527043 h 5278114"/>
              <a:gd name="connsiteX1515" fmla="*/ 1785122 w 5610835"/>
              <a:gd name="connsiteY1515" fmla="*/ 4523861 h 5278114"/>
              <a:gd name="connsiteX1516" fmla="*/ 1791485 w 5610835"/>
              <a:gd name="connsiteY1516" fmla="*/ 4523861 h 5278114"/>
              <a:gd name="connsiteX1517" fmla="*/ 1801028 w 5610835"/>
              <a:gd name="connsiteY1517" fmla="*/ 4520680 h 5278114"/>
              <a:gd name="connsiteX1518" fmla="*/ 1788304 w 5610835"/>
              <a:gd name="connsiteY1518" fmla="*/ 4520680 h 5278114"/>
              <a:gd name="connsiteX1519" fmla="*/ 1789894 w 5610835"/>
              <a:gd name="connsiteY1519" fmla="*/ 4517498 h 5278114"/>
              <a:gd name="connsiteX1520" fmla="*/ 1191778 w 5610835"/>
              <a:gd name="connsiteY1520" fmla="*/ 4514316 h 5278114"/>
              <a:gd name="connsiteX1521" fmla="*/ 1201323 w 5610835"/>
              <a:gd name="connsiteY1521" fmla="*/ 4539769 h 5278114"/>
              <a:gd name="connsiteX1522" fmla="*/ 1167917 w 5610835"/>
              <a:gd name="connsiteY1522" fmla="*/ 4550903 h 5278114"/>
              <a:gd name="connsiteX1523" fmla="*/ 1166326 w 5610835"/>
              <a:gd name="connsiteY1523" fmla="*/ 4520679 h 5278114"/>
              <a:gd name="connsiteX1524" fmla="*/ 1191778 w 5610835"/>
              <a:gd name="connsiteY1524" fmla="*/ 4514316 h 5278114"/>
              <a:gd name="connsiteX1525" fmla="*/ 1506743 w 5610835"/>
              <a:gd name="connsiteY1525" fmla="*/ 4511135 h 5278114"/>
              <a:gd name="connsiteX1526" fmla="*/ 1487654 w 5610835"/>
              <a:gd name="connsiteY1526" fmla="*/ 4527043 h 5278114"/>
              <a:gd name="connsiteX1527" fmla="*/ 1494018 w 5610835"/>
              <a:gd name="connsiteY1527" fmla="*/ 4534997 h 5278114"/>
              <a:gd name="connsiteX1528" fmla="*/ 1505152 w 5610835"/>
              <a:gd name="connsiteY1528" fmla="*/ 4523861 h 5278114"/>
              <a:gd name="connsiteX1529" fmla="*/ 1506743 w 5610835"/>
              <a:gd name="connsiteY1529" fmla="*/ 4511135 h 5278114"/>
              <a:gd name="connsiteX1530" fmla="*/ 1074063 w 5610835"/>
              <a:gd name="connsiteY1530" fmla="*/ 4511135 h 5278114"/>
              <a:gd name="connsiteX1531" fmla="*/ 1077246 w 5610835"/>
              <a:gd name="connsiteY1531" fmla="*/ 4515907 h 5278114"/>
              <a:gd name="connsiteX1532" fmla="*/ 1070882 w 5610835"/>
              <a:gd name="connsiteY1532" fmla="*/ 4517498 h 5278114"/>
              <a:gd name="connsiteX1533" fmla="*/ 1070882 w 5610835"/>
              <a:gd name="connsiteY1533" fmla="*/ 4520679 h 5278114"/>
              <a:gd name="connsiteX1534" fmla="*/ 1069291 w 5610835"/>
              <a:gd name="connsiteY1534" fmla="*/ 4520679 h 5278114"/>
              <a:gd name="connsiteX1535" fmla="*/ 1067700 w 5610835"/>
              <a:gd name="connsiteY1535" fmla="*/ 4512726 h 5278114"/>
              <a:gd name="connsiteX1536" fmla="*/ 1069291 w 5610835"/>
              <a:gd name="connsiteY1536" fmla="*/ 4514316 h 5278114"/>
              <a:gd name="connsiteX1537" fmla="*/ 1074063 w 5610835"/>
              <a:gd name="connsiteY1537" fmla="*/ 4511135 h 5278114"/>
              <a:gd name="connsiteX1538" fmla="*/ 2804781 w 5610835"/>
              <a:gd name="connsiteY1538" fmla="*/ 4503181 h 5278114"/>
              <a:gd name="connsiteX1539" fmla="*/ 2928859 w 5610835"/>
              <a:gd name="connsiteY1539" fmla="*/ 4601807 h 5278114"/>
              <a:gd name="connsiteX1540" fmla="*/ 2804781 w 5610835"/>
              <a:gd name="connsiteY1540" fmla="*/ 4503181 h 5278114"/>
              <a:gd name="connsiteX1541" fmla="*/ 1234728 w 5610835"/>
              <a:gd name="connsiteY1541" fmla="*/ 4503181 h 5278114"/>
              <a:gd name="connsiteX1542" fmla="*/ 1231547 w 5610835"/>
              <a:gd name="connsiteY1542" fmla="*/ 4506363 h 5278114"/>
              <a:gd name="connsiteX1543" fmla="*/ 1231547 w 5610835"/>
              <a:gd name="connsiteY1543" fmla="*/ 4525452 h 5278114"/>
              <a:gd name="connsiteX1544" fmla="*/ 1233137 w 5610835"/>
              <a:gd name="connsiteY1544" fmla="*/ 4528633 h 5278114"/>
              <a:gd name="connsiteX1545" fmla="*/ 1220411 w 5610835"/>
              <a:gd name="connsiteY1545" fmla="*/ 4533406 h 5278114"/>
              <a:gd name="connsiteX1546" fmla="*/ 1223593 w 5610835"/>
              <a:gd name="connsiteY1546" fmla="*/ 4506363 h 5278114"/>
              <a:gd name="connsiteX1547" fmla="*/ 1234728 w 5610835"/>
              <a:gd name="connsiteY1547" fmla="*/ 4503181 h 5278114"/>
              <a:gd name="connsiteX1548" fmla="*/ 1481291 w 5610835"/>
              <a:gd name="connsiteY1548" fmla="*/ 4501591 h 5278114"/>
              <a:gd name="connsiteX1549" fmla="*/ 1473337 w 5610835"/>
              <a:gd name="connsiteY1549" fmla="*/ 4506364 h 5278114"/>
              <a:gd name="connsiteX1550" fmla="*/ 1471747 w 5610835"/>
              <a:gd name="connsiteY1550" fmla="*/ 4509545 h 5278114"/>
              <a:gd name="connsiteX1551" fmla="*/ 1441523 w 5610835"/>
              <a:gd name="connsiteY1551" fmla="*/ 4528634 h 5278114"/>
              <a:gd name="connsiteX1552" fmla="*/ 1435160 w 5610835"/>
              <a:gd name="connsiteY1552" fmla="*/ 4542950 h 5278114"/>
              <a:gd name="connsiteX1553" fmla="*/ 1482882 w 5610835"/>
              <a:gd name="connsiteY1553" fmla="*/ 4504773 h 5278114"/>
              <a:gd name="connsiteX1554" fmla="*/ 1481291 w 5610835"/>
              <a:gd name="connsiteY1554" fmla="*/ 4504773 h 5278114"/>
              <a:gd name="connsiteX1555" fmla="*/ 1481291 w 5610835"/>
              <a:gd name="connsiteY1555" fmla="*/ 4501591 h 5278114"/>
              <a:gd name="connsiteX1556" fmla="*/ 2766604 w 5610835"/>
              <a:gd name="connsiteY1556" fmla="*/ 4501590 h 5278114"/>
              <a:gd name="connsiteX1557" fmla="*/ 2912952 w 5610835"/>
              <a:gd name="connsiteY1557" fmla="*/ 4641574 h 5278114"/>
              <a:gd name="connsiteX1558" fmla="*/ 2766604 w 5610835"/>
              <a:gd name="connsiteY1558" fmla="*/ 4501590 h 5278114"/>
              <a:gd name="connsiteX1559" fmla="*/ 1245862 w 5610835"/>
              <a:gd name="connsiteY1559" fmla="*/ 4499999 h 5278114"/>
              <a:gd name="connsiteX1560" fmla="*/ 1239499 w 5610835"/>
              <a:gd name="connsiteY1560" fmla="*/ 4527043 h 5278114"/>
              <a:gd name="connsiteX1561" fmla="*/ 1236318 w 5610835"/>
              <a:gd name="connsiteY1561" fmla="*/ 4528633 h 5278114"/>
              <a:gd name="connsiteX1562" fmla="*/ 1237909 w 5610835"/>
              <a:gd name="connsiteY1562" fmla="*/ 4515907 h 5278114"/>
              <a:gd name="connsiteX1563" fmla="*/ 1239499 w 5610835"/>
              <a:gd name="connsiteY1563" fmla="*/ 4501591 h 5278114"/>
              <a:gd name="connsiteX1564" fmla="*/ 1245862 w 5610835"/>
              <a:gd name="connsiteY1564" fmla="*/ 4499999 h 5278114"/>
              <a:gd name="connsiteX1565" fmla="*/ 1495608 w 5610835"/>
              <a:gd name="connsiteY1565" fmla="*/ 4495228 h 5278114"/>
              <a:gd name="connsiteX1566" fmla="*/ 1486063 w 5610835"/>
              <a:gd name="connsiteY1566" fmla="*/ 4500001 h 5278114"/>
              <a:gd name="connsiteX1567" fmla="*/ 1484473 w 5610835"/>
              <a:gd name="connsiteY1567" fmla="*/ 4504773 h 5278114"/>
              <a:gd name="connsiteX1568" fmla="*/ 1495608 w 5610835"/>
              <a:gd name="connsiteY1568" fmla="*/ 4495228 h 5278114"/>
              <a:gd name="connsiteX1569" fmla="*/ 1538558 w 5610835"/>
              <a:gd name="connsiteY1569" fmla="*/ 4487275 h 5278114"/>
              <a:gd name="connsiteX1570" fmla="*/ 1516287 w 5610835"/>
              <a:gd name="connsiteY1570" fmla="*/ 4503182 h 5278114"/>
              <a:gd name="connsiteX1571" fmla="*/ 1524241 w 5610835"/>
              <a:gd name="connsiteY1571" fmla="*/ 4506364 h 5278114"/>
              <a:gd name="connsiteX1572" fmla="*/ 1540148 w 5610835"/>
              <a:gd name="connsiteY1572" fmla="*/ 4493638 h 5278114"/>
              <a:gd name="connsiteX1573" fmla="*/ 1538558 w 5610835"/>
              <a:gd name="connsiteY1573" fmla="*/ 4493638 h 5278114"/>
              <a:gd name="connsiteX1574" fmla="*/ 1538558 w 5610835"/>
              <a:gd name="connsiteY1574" fmla="*/ 4487275 h 5278114"/>
              <a:gd name="connsiteX1575" fmla="*/ 1791485 w 5610835"/>
              <a:gd name="connsiteY1575" fmla="*/ 4485684 h 5278114"/>
              <a:gd name="connsiteX1576" fmla="*/ 1785122 w 5610835"/>
              <a:gd name="connsiteY1576" fmla="*/ 4488865 h 5278114"/>
              <a:gd name="connsiteX1577" fmla="*/ 1756489 w 5610835"/>
              <a:gd name="connsiteY1577" fmla="*/ 4503182 h 5278114"/>
              <a:gd name="connsiteX1578" fmla="*/ 1732628 w 5610835"/>
              <a:gd name="connsiteY1578" fmla="*/ 4514317 h 5278114"/>
              <a:gd name="connsiteX1579" fmla="*/ 1735809 w 5610835"/>
              <a:gd name="connsiteY1579" fmla="*/ 4515907 h 5278114"/>
              <a:gd name="connsiteX1580" fmla="*/ 1735809 w 5610835"/>
              <a:gd name="connsiteY1580" fmla="*/ 4517498 h 5278114"/>
              <a:gd name="connsiteX1581" fmla="*/ 1731037 w 5610835"/>
              <a:gd name="connsiteY1581" fmla="*/ 4515907 h 5278114"/>
              <a:gd name="connsiteX1582" fmla="*/ 1689678 w 5610835"/>
              <a:gd name="connsiteY1582" fmla="*/ 4531815 h 5278114"/>
              <a:gd name="connsiteX1583" fmla="*/ 1689678 w 5610835"/>
              <a:gd name="connsiteY1583" fmla="*/ 4539769 h 5278114"/>
              <a:gd name="connsiteX1584" fmla="*/ 1710356 w 5610835"/>
              <a:gd name="connsiteY1584" fmla="*/ 4533406 h 5278114"/>
              <a:gd name="connsiteX1585" fmla="*/ 1702404 w 5610835"/>
              <a:gd name="connsiteY1585" fmla="*/ 4528634 h 5278114"/>
              <a:gd name="connsiteX1586" fmla="*/ 1719901 w 5610835"/>
              <a:gd name="connsiteY1586" fmla="*/ 4530224 h 5278114"/>
              <a:gd name="connsiteX1587" fmla="*/ 1754898 w 5610835"/>
              <a:gd name="connsiteY1587" fmla="*/ 4517498 h 5278114"/>
              <a:gd name="connsiteX1588" fmla="*/ 1754898 w 5610835"/>
              <a:gd name="connsiteY1588" fmla="*/ 4515907 h 5278114"/>
              <a:gd name="connsiteX1589" fmla="*/ 1761261 w 5610835"/>
              <a:gd name="connsiteY1589" fmla="*/ 4515907 h 5278114"/>
              <a:gd name="connsiteX1590" fmla="*/ 1802619 w 5610835"/>
              <a:gd name="connsiteY1590" fmla="*/ 4496819 h 5278114"/>
              <a:gd name="connsiteX1591" fmla="*/ 1789894 w 5610835"/>
              <a:gd name="connsiteY1591" fmla="*/ 4495228 h 5278114"/>
              <a:gd name="connsiteX1592" fmla="*/ 1791485 w 5610835"/>
              <a:gd name="connsiteY1592" fmla="*/ 4485684 h 5278114"/>
              <a:gd name="connsiteX1593" fmla="*/ 1169509 w 5610835"/>
              <a:gd name="connsiteY1593" fmla="*/ 4485683 h 5278114"/>
              <a:gd name="connsiteX1594" fmla="*/ 1179053 w 5610835"/>
              <a:gd name="connsiteY1594" fmla="*/ 4496818 h 5278114"/>
              <a:gd name="connsiteX1595" fmla="*/ 1167918 w 5610835"/>
              <a:gd name="connsiteY1595" fmla="*/ 4500000 h 5278114"/>
              <a:gd name="connsiteX1596" fmla="*/ 1169509 w 5610835"/>
              <a:gd name="connsiteY1596" fmla="*/ 4485683 h 5278114"/>
              <a:gd name="connsiteX1597" fmla="*/ 1640365 w 5610835"/>
              <a:gd name="connsiteY1597" fmla="*/ 4484093 h 5278114"/>
              <a:gd name="connsiteX1598" fmla="*/ 1629229 w 5610835"/>
              <a:gd name="connsiteY1598" fmla="*/ 4485684 h 5278114"/>
              <a:gd name="connsiteX1599" fmla="*/ 1613322 w 5610835"/>
              <a:gd name="connsiteY1599" fmla="*/ 4493638 h 5278114"/>
              <a:gd name="connsiteX1600" fmla="*/ 1640365 w 5610835"/>
              <a:gd name="connsiteY1600" fmla="*/ 4484093 h 5278114"/>
              <a:gd name="connsiteX1601" fmla="*/ 1326990 w 5610835"/>
              <a:gd name="connsiteY1601" fmla="*/ 4484092 h 5278114"/>
              <a:gd name="connsiteX1602" fmla="*/ 1336534 w 5610835"/>
              <a:gd name="connsiteY1602" fmla="*/ 4488864 h 5278114"/>
              <a:gd name="connsiteX1603" fmla="*/ 1330171 w 5610835"/>
              <a:gd name="connsiteY1603" fmla="*/ 4492046 h 5278114"/>
              <a:gd name="connsiteX1604" fmla="*/ 1326990 w 5610835"/>
              <a:gd name="connsiteY1604" fmla="*/ 4484092 h 5278114"/>
              <a:gd name="connsiteX1605" fmla="*/ 1207686 w 5610835"/>
              <a:gd name="connsiteY1605" fmla="*/ 4476139 h 5278114"/>
              <a:gd name="connsiteX1606" fmla="*/ 1207686 w 5610835"/>
              <a:gd name="connsiteY1606" fmla="*/ 4485683 h 5278114"/>
              <a:gd name="connsiteX1607" fmla="*/ 1206095 w 5610835"/>
              <a:gd name="connsiteY1607" fmla="*/ 4485683 h 5278114"/>
              <a:gd name="connsiteX1608" fmla="*/ 1207686 w 5610835"/>
              <a:gd name="connsiteY1608" fmla="*/ 4476139 h 5278114"/>
              <a:gd name="connsiteX1609" fmla="*/ 1188597 w 5610835"/>
              <a:gd name="connsiteY1609" fmla="*/ 4471367 h 5278114"/>
              <a:gd name="connsiteX1610" fmla="*/ 1196551 w 5610835"/>
              <a:gd name="connsiteY1610" fmla="*/ 4477730 h 5278114"/>
              <a:gd name="connsiteX1611" fmla="*/ 1196551 w 5610835"/>
              <a:gd name="connsiteY1611" fmla="*/ 4471367 h 5278114"/>
              <a:gd name="connsiteX1612" fmla="*/ 1199732 w 5610835"/>
              <a:gd name="connsiteY1612" fmla="*/ 4488864 h 5278114"/>
              <a:gd name="connsiteX1613" fmla="*/ 1191779 w 5610835"/>
              <a:gd name="connsiteY1613" fmla="*/ 4492046 h 5278114"/>
              <a:gd name="connsiteX1614" fmla="*/ 1182234 w 5610835"/>
              <a:gd name="connsiteY1614" fmla="*/ 4480911 h 5278114"/>
              <a:gd name="connsiteX1615" fmla="*/ 1188597 w 5610835"/>
              <a:gd name="connsiteY1615" fmla="*/ 4471367 h 5278114"/>
              <a:gd name="connsiteX1616" fmla="*/ 1565600 w 5610835"/>
              <a:gd name="connsiteY1616" fmla="*/ 4468186 h 5278114"/>
              <a:gd name="connsiteX1617" fmla="*/ 1556056 w 5610835"/>
              <a:gd name="connsiteY1617" fmla="*/ 4474549 h 5278114"/>
              <a:gd name="connsiteX1618" fmla="*/ 1559237 w 5610835"/>
              <a:gd name="connsiteY1618" fmla="*/ 4474549 h 5278114"/>
              <a:gd name="connsiteX1619" fmla="*/ 1565600 w 5610835"/>
              <a:gd name="connsiteY1619" fmla="*/ 4468186 h 5278114"/>
              <a:gd name="connsiteX1620" fmla="*/ 1185415 w 5610835"/>
              <a:gd name="connsiteY1620" fmla="*/ 4461822 h 5278114"/>
              <a:gd name="connsiteX1621" fmla="*/ 1185415 w 5610835"/>
              <a:gd name="connsiteY1621" fmla="*/ 4465003 h 5278114"/>
              <a:gd name="connsiteX1622" fmla="*/ 1182234 w 5610835"/>
              <a:gd name="connsiteY1622" fmla="*/ 4466594 h 5278114"/>
              <a:gd name="connsiteX1623" fmla="*/ 1185415 w 5610835"/>
              <a:gd name="connsiteY1623" fmla="*/ 4461822 h 5278114"/>
              <a:gd name="connsiteX1624" fmla="*/ 1070882 w 5610835"/>
              <a:gd name="connsiteY1624" fmla="*/ 4458640 h 5278114"/>
              <a:gd name="connsiteX1625" fmla="*/ 1099515 w 5610835"/>
              <a:gd name="connsiteY1625" fmla="*/ 4469776 h 5278114"/>
              <a:gd name="connsiteX1626" fmla="*/ 1097924 w 5610835"/>
              <a:gd name="connsiteY1626" fmla="*/ 4474548 h 5278114"/>
              <a:gd name="connsiteX1627" fmla="*/ 1126557 w 5610835"/>
              <a:gd name="connsiteY1627" fmla="*/ 4468185 h 5278114"/>
              <a:gd name="connsiteX1628" fmla="*/ 1129739 w 5610835"/>
              <a:gd name="connsiteY1628" fmla="*/ 4469776 h 5278114"/>
              <a:gd name="connsiteX1629" fmla="*/ 1129739 w 5610835"/>
              <a:gd name="connsiteY1629" fmla="*/ 4468185 h 5278114"/>
              <a:gd name="connsiteX1630" fmla="*/ 1145647 w 5610835"/>
              <a:gd name="connsiteY1630" fmla="*/ 4468185 h 5278114"/>
              <a:gd name="connsiteX1631" fmla="*/ 1145647 w 5610835"/>
              <a:gd name="connsiteY1631" fmla="*/ 4471367 h 5278114"/>
              <a:gd name="connsiteX1632" fmla="*/ 1152009 w 5610835"/>
              <a:gd name="connsiteY1632" fmla="*/ 4474548 h 5278114"/>
              <a:gd name="connsiteX1633" fmla="*/ 1150418 w 5610835"/>
              <a:gd name="connsiteY1633" fmla="*/ 4507953 h 5278114"/>
              <a:gd name="connsiteX1634" fmla="*/ 1144056 w 5610835"/>
              <a:gd name="connsiteY1634" fmla="*/ 4509544 h 5278114"/>
              <a:gd name="connsiteX1635" fmla="*/ 1136102 w 5610835"/>
              <a:gd name="connsiteY1635" fmla="*/ 4511135 h 5278114"/>
              <a:gd name="connsiteX1636" fmla="*/ 1134511 w 5610835"/>
              <a:gd name="connsiteY1636" fmla="*/ 4496818 h 5278114"/>
              <a:gd name="connsiteX1637" fmla="*/ 1126557 w 5610835"/>
              <a:gd name="connsiteY1637" fmla="*/ 4512726 h 5278114"/>
              <a:gd name="connsiteX1638" fmla="*/ 1110651 w 5610835"/>
              <a:gd name="connsiteY1638" fmla="*/ 4515907 h 5278114"/>
              <a:gd name="connsiteX1639" fmla="*/ 1115423 w 5610835"/>
              <a:gd name="connsiteY1639" fmla="*/ 4493636 h 5278114"/>
              <a:gd name="connsiteX1640" fmla="*/ 1104287 w 5610835"/>
              <a:gd name="connsiteY1640" fmla="*/ 4517497 h 5278114"/>
              <a:gd name="connsiteX1641" fmla="*/ 1102697 w 5610835"/>
              <a:gd name="connsiteY1641" fmla="*/ 4517497 h 5278114"/>
              <a:gd name="connsiteX1642" fmla="*/ 1094743 w 5610835"/>
              <a:gd name="connsiteY1642" fmla="*/ 4507953 h 5278114"/>
              <a:gd name="connsiteX1643" fmla="*/ 1091561 w 5610835"/>
              <a:gd name="connsiteY1643" fmla="*/ 4519088 h 5278114"/>
              <a:gd name="connsiteX1644" fmla="*/ 1088380 w 5610835"/>
              <a:gd name="connsiteY1644" fmla="*/ 4519088 h 5278114"/>
              <a:gd name="connsiteX1645" fmla="*/ 1083608 w 5610835"/>
              <a:gd name="connsiteY1645" fmla="*/ 4515907 h 5278114"/>
              <a:gd name="connsiteX1646" fmla="*/ 1089970 w 5610835"/>
              <a:gd name="connsiteY1646" fmla="*/ 4490455 h 5278114"/>
              <a:gd name="connsiteX1647" fmla="*/ 1086789 w 5610835"/>
              <a:gd name="connsiteY1647" fmla="*/ 4487273 h 5278114"/>
              <a:gd name="connsiteX1648" fmla="*/ 1094743 w 5610835"/>
              <a:gd name="connsiteY1648" fmla="*/ 4472957 h 5278114"/>
              <a:gd name="connsiteX1649" fmla="*/ 1088380 w 5610835"/>
              <a:gd name="connsiteY1649" fmla="*/ 4477730 h 5278114"/>
              <a:gd name="connsiteX1650" fmla="*/ 1080427 w 5610835"/>
              <a:gd name="connsiteY1650" fmla="*/ 4469776 h 5278114"/>
              <a:gd name="connsiteX1651" fmla="*/ 1075654 w 5610835"/>
              <a:gd name="connsiteY1651" fmla="*/ 4472957 h 5278114"/>
              <a:gd name="connsiteX1652" fmla="*/ 1080427 w 5610835"/>
              <a:gd name="connsiteY1652" fmla="*/ 4488864 h 5278114"/>
              <a:gd name="connsiteX1653" fmla="*/ 1077245 w 5610835"/>
              <a:gd name="connsiteY1653" fmla="*/ 4482502 h 5278114"/>
              <a:gd name="connsiteX1654" fmla="*/ 1070882 w 5610835"/>
              <a:gd name="connsiteY1654" fmla="*/ 4458640 h 5278114"/>
              <a:gd name="connsiteX1655" fmla="*/ 1341308 w 5610835"/>
              <a:gd name="connsiteY1655" fmla="*/ 4457050 h 5278114"/>
              <a:gd name="connsiteX1656" fmla="*/ 1341308 w 5610835"/>
              <a:gd name="connsiteY1656" fmla="*/ 4458641 h 5278114"/>
              <a:gd name="connsiteX1657" fmla="*/ 1339718 w 5610835"/>
              <a:gd name="connsiteY1657" fmla="*/ 4458641 h 5278114"/>
              <a:gd name="connsiteX1658" fmla="*/ 1341308 w 5610835"/>
              <a:gd name="connsiteY1658" fmla="*/ 4457050 h 5278114"/>
              <a:gd name="connsiteX1659" fmla="*/ 1228366 w 5610835"/>
              <a:gd name="connsiteY1659" fmla="*/ 4455459 h 5278114"/>
              <a:gd name="connsiteX1660" fmla="*/ 1233137 w 5610835"/>
              <a:gd name="connsiteY1660" fmla="*/ 4461822 h 5278114"/>
              <a:gd name="connsiteX1661" fmla="*/ 1228366 w 5610835"/>
              <a:gd name="connsiteY1661" fmla="*/ 4461822 h 5278114"/>
              <a:gd name="connsiteX1662" fmla="*/ 1228366 w 5610835"/>
              <a:gd name="connsiteY1662" fmla="*/ 4455459 h 5278114"/>
              <a:gd name="connsiteX1663" fmla="*/ 1256999 w 5610835"/>
              <a:gd name="connsiteY1663" fmla="*/ 4453869 h 5278114"/>
              <a:gd name="connsiteX1664" fmla="*/ 1253817 w 5610835"/>
              <a:gd name="connsiteY1664" fmla="*/ 4472957 h 5278114"/>
              <a:gd name="connsiteX1665" fmla="*/ 1250636 w 5610835"/>
              <a:gd name="connsiteY1665" fmla="*/ 4474548 h 5278114"/>
              <a:gd name="connsiteX1666" fmla="*/ 1256999 w 5610835"/>
              <a:gd name="connsiteY1666" fmla="*/ 4453869 h 5278114"/>
              <a:gd name="connsiteX1667" fmla="*/ 1206094 w 5610835"/>
              <a:gd name="connsiteY1667" fmla="*/ 4452278 h 5278114"/>
              <a:gd name="connsiteX1668" fmla="*/ 1206094 w 5610835"/>
              <a:gd name="connsiteY1668" fmla="*/ 4453869 h 5278114"/>
              <a:gd name="connsiteX1669" fmla="*/ 1202913 w 5610835"/>
              <a:gd name="connsiteY1669" fmla="*/ 4453869 h 5278114"/>
              <a:gd name="connsiteX1670" fmla="*/ 1206094 w 5610835"/>
              <a:gd name="connsiteY1670" fmla="*/ 4452278 h 5278114"/>
              <a:gd name="connsiteX1671" fmla="*/ 1123375 w 5610835"/>
              <a:gd name="connsiteY1671" fmla="*/ 4449097 h 5278114"/>
              <a:gd name="connsiteX1672" fmla="*/ 1131330 w 5610835"/>
              <a:gd name="connsiteY1672" fmla="*/ 4455460 h 5278114"/>
              <a:gd name="connsiteX1673" fmla="*/ 1124966 w 5610835"/>
              <a:gd name="connsiteY1673" fmla="*/ 4457050 h 5278114"/>
              <a:gd name="connsiteX1674" fmla="*/ 1123375 w 5610835"/>
              <a:gd name="connsiteY1674" fmla="*/ 4449097 h 5278114"/>
              <a:gd name="connsiteX1675" fmla="*/ 2197121 w 5610835"/>
              <a:gd name="connsiteY1675" fmla="*/ 4445916 h 5278114"/>
              <a:gd name="connsiteX1676" fmla="*/ 2197121 w 5610835"/>
              <a:gd name="connsiteY1676" fmla="*/ 4624078 h 5278114"/>
              <a:gd name="connsiteX1677" fmla="*/ 2197121 w 5610835"/>
              <a:gd name="connsiteY1677" fmla="*/ 4445916 h 5278114"/>
              <a:gd name="connsiteX1678" fmla="*/ 1612621 w 5610835"/>
              <a:gd name="connsiteY1678" fmla="*/ 4443892 h 5278114"/>
              <a:gd name="connsiteX1679" fmla="*/ 1612924 w 5610835"/>
              <a:gd name="connsiteY1679" fmla="*/ 4445916 h 5278114"/>
              <a:gd name="connsiteX1680" fmla="*/ 1611983 w 5610835"/>
              <a:gd name="connsiteY1680" fmla="*/ 4452196 h 5278114"/>
              <a:gd name="connsiteX1681" fmla="*/ 1171098 w 5610835"/>
              <a:gd name="connsiteY1681" fmla="*/ 4441143 h 5278114"/>
              <a:gd name="connsiteX1682" fmla="*/ 1179052 w 5610835"/>
              <a:gd name="connsiteY1682" fmla="*/ 4447507 h 5278114"/>
              <a:gd name="connsiteX1683" fmla="*/ 1185415 w 5610835"/>
              <a:gd name="connsiteY1683" fmla="*/ 4450688 h 5278114"/>
              <a:gd name="connsiteX1684" fmla="*/ 1177461 w 5610835"/>
              <a:gd name="connsiteY1684" fmla="*/ 4452278 h 5278114"/>
              <a:gd name="connsiteX1685" fmla="*/ 1169507 w 5610835"/>
              <a:gd name="connsiteY1685" fmla="*/ 4449097 h 5278114"/>
              <a:gd name="connsiteX1686" fmla="*/ 1171098 w 5610835"/>
              <a:gd name="connsiteY1686" fmla="*/ 4441143 h 5278114"/>
              <a:gd name="connsiteX1687" fmla="*/ 1082017 w 5610835"/>
              <a:gd name="connsiteY1687" fmla="*/ 4441143 h 5278114"/>
              <a:gd name="connsiteX1688" fmla="*/ 1085199 w 5610835"/>
              <a:gd name="connsiteY1688" fmla="*/ 4444325 h 5278114"/>
              <a:gd name="connsiteX1689" fmla="*/ 1113832 w 5610835"/>
              <a:gd name="connsiteY1689" fmla="*/ 4460232 h 5278114"/>
              <a:gd name="connsiteX1690" fmla="*/ 1091562 w 5610835"/>
              <a:gd name="connsiteY1690" fmla="*/ 4458641 h 5278114"/>
              <a:gd name="connsiteX1691" fmla="*/ 1082017 w 5610835"/>
              <a:gd name="connsiteY1691" fmla="*/ 4441143 h 5278114"/>
              <a:gd name="connsiteX1692" fmla="*/ 1269723 w 5610835"/>
              <a:gd name="connsiteY1692" fmla="*/ 4436371 h 5278114"/>
              <a:gd name="connsiteX1693" fmla="*/ 1268133 w 5610835"/>
              <a:gd name="connsiteY1693" fmla="*/ 4437962 h 5278114"/>
              <a:gd name="connsiteX1694" fmla="*/ 1268830 w 5610835"/>
              <a:gd name="connsiteY1694" fmla="*/ 4436594 h 5278114"/>
              <a:gd name="connsiteX1695" fmla="*/ 1180642 w 5610835"/>
              <a:gd name="connsiteY1695" fmla="*/ 4434780 h 5278114"/>
              <a:gd name="connsiteX1696" fmla="*/ 1188597 w 5610835"/>
              <a:gd name="connsiteY1696" fmla="*/ 4439553 h 5278114"/>
              <a:gd name="connsiteX1697" fmla="*/ 1188597 w 5610835"/>
              <a:gd name="connsiteY1697" fmla="*/ 4445916 h 5278114"/>
              <a:gd name="connsiteX1698" fmla="*/ 1190188 w 5610835"/>
              <a:gd name="connsiteY1698" fmla="*/ 4450688 h 5278114"/>
              <a:gd name="connsiteX1699" fmla="*/ 1185414 w 5610835"/>
              <a:gd name="connsiteY1699" fmla="*/ 4442734 h 5278114"/>
              <a:gd name="connsiteX1700" fmla="*/ 1180642 w 5610835"/>
              <a:gd name="connsiteY1700" fmla="*/ 4434780 h 5278114"/>
              <a:gd name="connsiteX1701" fmla="*/ 1758079 w 5610835"/>
              <a:gd name="connsiteY1701" fmla="*/ 4428417 h 5278114"/>
              <a:gd name="connsiteX1702" fmla="*/ 1753307 w 5610835"/>
              <a:gd name="connsiteY1702" fmla="*/ 4431599 h 5278114"/>
              <a:gd name="connsiteX1703" fmla="*/ 1748534 w 5610835"/>
              <a:gd name="connsiteY1703" fmla="*/ 4442734 h 5278114"/>
              <a:gd name="connsiteX1704" fmla="*/ 1723083 w 5610835"/>
              <a:gd name="connsiteY1704" fmla="*/ 4449097 h 5278114"/>
              <a:gd name="connsiteX1705" fmla="*/ 1723083 w 5610835"/>
              <a:gd name="connsiteY1705" fmla="*/ 4444325 h 5278114"/>
              <a:gd name="connsiteX1706" fmla="*/ 1718310 w 5610835"/>
              <a:gd name="connsiteY1706" fmla="*/ 4445916 h 5278114"/>
              <a:gd name="connsiteX1707" fmla="*/ 1719901 w 5610835"/>
              <a:gd name="connsiteY1707" fmla="*/ 4449097 h 5278114"/>
              <a:gd name="connsiteX1708" fmla="*/ 1710356 w 5610835"/>
              <a:gd name="connsiteY1708" fmla="*/ 4450688 h 5278114"/>
              <a:gd name="connsiteX1709" fmla="*/ 1676952 w 5610835"/>
              <a:gd name="connsiteY1709" fmla="*/ 4466595 h 5278114"/>
              <a:gd name="connsiteX1710" fmla="*/ 1680134 w 5610835"/>
              <a:gd name="connsiteY1710" fmla="*/ 4474549 h 5278114"/>
              <a:gd name="connsiteX1711" fmla="*/ 1703994 w 5610835"/>
              <a:gd name="connsiteY1711" fmla="*/ 4465004 h 5278114"/>
              <a:gd name="connsiteX1712" fmla="*/ 1703994 w 5610835"/>
              <a:gd name="connsiteY1712" fmla="*/ 4461823 h 5278114"/>
              <a:gd name="connsiteX1713" fmla="*/ 1715129 w 5610835"/>
              <a:gd name="connsiteY1713" fmla="*/ 4460232 h 5278114"/>
              <a:gd name="connsiteX1714" fmla="*/ 1762852 w 5610835"/>
              <a:gd name="connsiteY1714" fmla="*/ 4439553 h 5278114"/>
              <a:gd name="connsiteX1715" fmla="*/ 1764442 w 5610835"/>
              <a:gd name="connsiteY1715" fmla="*/ 4434780 h 5278114"/>
              <a:gd name="connsiteX1716" fmla="*/ 1753307 w 5610835"/>
              <a:gd name="connsiteY1716" fmla="*/ 4441143 h 5278114"/>
              <a:gd name="connsiteX1717" fmla="*/ 1758079 w 5610835"/>
              <a:gd name="connsiteY1717" fmla="*/ 4428417 h 5278114"/>
              <a:gd name="connsiteX1718" fmla="*/ 1624457 w 5610835"/>
              <a:gd name="connsiteY1718" fmla="*/ 4428417 h 5278114"/>
              <a:gd name="connsiteX1719" fmla="*/ 1619685 w 5610835"/>
              <a:gd name="connsiteY1719" fmla="*/ 4437962 h 5278114"/>
              <a:gd name="connsiteX1720" fmla="*/ 1619685 w 5610835"/>
              <a:gd name="connsiteY1720" fmla="*/ 4436371 h 5278114"/>
              <a:gd name="connsiteX1721" fmla="*/ 1624457 w 5610835"/>
              <a:gd name="connsiteY1721" fmla="*/ 4428417 h 5278114"/>
              <a:gd name="connsiteX1722" fmla="*/ 1242681 w 5610835"/>
              <a:gd name="connsiteY1722" fmla="*/ 4428417 h 5278114"/>
              <a:gd name="connsiteX1723" fmla="*/ 1249045 w 5610835"/>
              <a:gd name="connsiteY1723" fmla="*/ 4433189 h 5278114"/>
              <a:gd name="connsiteX1724" fmla="*/ 1237909 w 5610835"/>
              <a:gd name="connsiteY1724" fmla="*/ 4439553 h 5278114"/>
              <a:gd name="connsiteX1725" fmla="*/ 1236318 w 5610835"/>
              <a:gd name="connsiteY1725" fmla="*/ 4436371 h 5278114"/>
              <a:gd name="connsiteX1726" fmla="*/ 1242681 w 5610835"/>
              <a:gd name="connsiteY1726" fmla="*/ 4428417 h 5278114"/>
              <a:gd name="connsiteX1727" fmla="*/ 1632411 w 5610835"/>
              <a:gd name="connsiteY1727" fmla="*/ 4415692 h 5278114"/>
              <a:gd name="connsiteX1728" fmla="*/ 1630820 w 5610835"/>
              <a:gd name="connsiteY1728" fmla="*/ 4417282 h 5278114"/>
              <a:gd name="connsiteX1729" fmla="*/ 1630820 w 5610835"/>
              <a:gd name="connsiteY1729" fmla="*/ 4417283 h 5278114"/>
              <a:gd name="connsiteX1730" fmla="*/ 1613322 w 5610835"/>
              <a:gd name="connsiteY1730" fmla="*/ 4434780 h 5278114"/>
              <a:gd name="connsiteX1731" fmla="*/ 1612621 w 5610835"/>
              <a:gd name="connsiteY1731" fmla="*/ 4443892 h 5278114"/>
              <a:gd name="connsiteX1732" fmla="*/ 1611732 w 5610835"/>
              <a:gd name="connsiteY1732" fmla="*/ 4437962 h 5278114"/>
              <a:gd name="connsiteX1733" fmla="*/ 1605369 w 5610835"/>
              <a:gd name="connsiteY1733" fmla="*/ 4444325 h 5278114"/>
              <a:gd name="connsiteX1734" fmla="*/ 1611732 w 5610835"/>
              <a:gd name="connsiteY1734" fmla="*/ 4453869 h 5278114"/>
              <a:gd name="connsiteX1735" fmla="*/ 1611983 w 5610835"/>
              <a:gd name="connsiteY1735" fmla="*/ 4452196 h 5278114"/>
              <a:gd name="connsiteX1736" fmla="*/ 1611732 w 5610835"/>
              <a:gd name="connsiteY1736" fmla="*/ 4455460 h 5278114"/>
              <a:gd name="connsiteX1737" fmla="*/ 1592643 w 5610835"/>
              <a:gd name="connsiteY1737" fmla="*/ 4455460 h 5278114"/>
              <a:gd name="connsiteX1738" fmla="*/ 1564009 w 5610835"/>
              <a:gd name="connsiteY1738" fmla="*/ 4485684 h 5278114"/>
              <a:gd name="connsiteX1739" fmla="*/ 1567191 w 5610835"/>
              <a:gd name="connsiteY1739" fmla="*/ 4498410 h 5278114"/>
              <a:gd name="connsiteX1740" fmla="*/ 1565600 w 5610835"/>
              <a:gd name="connsiteY1740" fmla="*/ 4500001 h 5278114"/>
              <a:gd name="connsiteX1741" fmla="*/ 1552875 w 5610835"/>
              <a:gd name="connsiteY1741" fmla="*/ 4496819 h 5278114"/>
              <a:gd name="connsiteX1742" fmla="*/ 1521060 w 5610835"/>
              <a:gd name="connsiteY1742" fmla="*/ 4530224 h 5278114"/>
              <a:gd name="connsiteX1743" fmla="*/ 1517878 w 5610835"/>
              <a:gd name="connsiteY1743" fmla="*/ 4546131 h 5278114"/>
              <a:gd name="connsiteX1744" fmla="*/ 1535376 w 5610835"/>
              <a:gd name="connsiteY1744" fmla="*/ 4531815 h 5278114"/>
              <a:gd name="connsiteX1745" fmla="*/ 1543330 w 5610835"/>
              <a:gd name="connsiteY1745" fmla="*/ 4507954 h 5278114"/>
              <a:gd name="connsiteX1746" fmla="*/ 1556056 w 5610835"/>
              <a:gd name="connsiteY1746" fmla="*/ 4509545 h 5278114"/>
              <a:gd name="connsiteX1747" fmla="*/ 1559237 w 5610835"/>
              <a:gd name="connsiteY1747" fmla="*/ 4511135 h 5278114"/>
              <a:gd name="connsiteX1748" fmla="*/ 1584689 w 5610835"/>
              <a:gd name="connsiteY1748" fmla="*/ 4487275 h 5278114"/>
              <a:gd name="connsiteX1749" fmla="*/ 1579917 w 5610835"/>
              <a:gd name="connsiteY1749" fmla="*/ 4490456 h 5278114"/>
              <a:gd name="connsiteX1750" fmla="*/ 1578326 w 5610835"/>
              <a:gd name="connsiteY1750" fmla="*/ 4490456 h 5278114"/>
              <a:gd name="connsiteX1751" fmla="*/ 1579917 w 5610835"/>
              <a:gd name="connsiteY1751" fmla="*/ 4484093 h 5278114"/>
              <a:gd name="connsiteX1752" fmla="*/ 1581509 w 5610835"/>
              <a:gd name="connsiteY1752" fmla="*/ 4485684 h 5278114"/>
              <a:gd name="connsiteX1753" fmla="*/ 1589461 w 5610835"/>
              <a:gd name="connsiteY1753" fmla="*/ 4479321 h 5278114"/>
              <a:gd name="connsiteX1754" fmla="*/ 1589461 w 5610835"/>
              <a:gd name="connsiteY1754" fmla="*/ 4474549 h 5278114"/>
              <a:gd name="connsiteX1755" fmla="*/ 1597415 w 5610835"/>
              <a:gd name="connsiteY1755" fmla="*/ 4474549 h 5278114"/>
              <a:gd name="connsiteX1756" fmla="*/ 1614913 w 5610835"/>
              <a:gd name="connsiteY1756" fmla="*/ 4457050 h 5278114"/>
              <a:gd name="connsiteX1757" fmla="*/ 1618095 w 5610835"/>
              <a:gd name="connsiteY1757" fmla="*/ 4453869 h 5278114"/>
              <a:gd name="connsiteX1758" fmla="*/ 1627639 w 5610835"/>
              <a:gd name="connsiteY1758" fmla="*/ 4431599 h 5278114"/>
              <a:gd name="connsiteX1759" fmla="*/ 1640365 w 5610835"/>
              <a:gd name="connsiteY1759" fmla="*/ 4425235 h 5278114"/>
              <a:gd name="connsiteX1760" fmla="*/ 1627639 w 5610835"/>
              <a:gd name="connsiteY1760" fmla="*/ 4423645 h 5278114"/>
              <a:gd name="connsiteX1761" fmla="*/ 1632411 w 5610835"/>
              <a:gd name="connsiteY1761" fmla="*/ 4418873 h 5278114"/>
              <a:gd name="connsiteX1762" fmla="*/ 1630820 w 5610835"/>
              <a:gd name="connsiteY1762" fmla="*/ 4417283 h 5278114"/>
              <a:gd name="connsiteX1763" fmla="*/ 1179052 w 5610835"/>
              <a:gd name="connsiteY1763" fmla="*/ 4414101 h 5278114"/>
              <a:gd name="connsiteX1764" fmla="*/ 1185414 w 5610835"/>
              <a:gd name="connsiteY1764" fmla="*/ 4415692 h 5278114"/>
              <a:gd name="connsiteX1765" fmla="*/ 1188597 w 5610835"/>
              <a:gd name="connsiteY1765" fmla="*/ 4420464 h 5278114"/>
              <a:gd name="connsiteX1766" fmla="*/ 1177461 w 5610835"/>
              <a:gd name="connsiteY1766" fmla="*/ 4417282 h 5278114"/>
              <a:gd name="connsiteX1767" fmla="*/ 1179052 w 5610835"/>
              <a:gd name="connsiteY1767" fmla="*/ 4414101 h 5278114"/>
              <a:gd name="connsiteX1768" fmla="*/ 1721493 w 5610835"/>
              <a:gd name="connsiteY1768" fmla="*/ 4410919 h 5278114"/>
              <a:gd name="connsiteX1769" fmla="*/ 1718310 w 5610835"/>
              <a:gd name="connsiteY1769" fmla="*/ 4415692 h 5278114"/>
              <a:gd name="connsiteX1770" fmla="*/ 1721493 w 5610835"/>
              <a:gd name="connsiteY1770" fmla="*/ 4414101 h 5278114"/>
              <a:gd name="connsiteX1771" fmla="*/ 1721493 w 5610835"/>
              <a:gd name="connsiteY1771" fmla="*/ 4410919 h 5278114"/>
              <a:gd name="connsiteX1772" fmla="*/ 1140875 w 5610835"/>
              <a:gd name="connsiteY1772" fmla="*/ 4410918 h 5278114"/>
              <a:gd name="connsiteX1773" fmla="*/ 1153601 w 5610835"/>
              <a:gd name="connsiteY1773" fmla="*/ 4418873 h 5278114"/>
              <a:gd name="connsiteX1774" fmla="*/ 1155192 w 5610835"/>
              <a:gd name="connsiteY1774" fmla="*/ 4449097 h 5278114"/>
              <a:gd name="connsiteX1775" fmla="*/ 1152010 w 5610835"/>
              <a:gd name="connsiteY1775" fmla="*/ 4450688 h 5278114"/>
              <a:gd name="connsiteX1776" fmla="*/ 1155192 w 5610835"/>
              <a:gd name="connsiteY1776" fmla="*/ 4453869 h 5278114"/>
              <a:gd name="connsiteX1777" fmla="*/ 1155192 w 5610835"/>
              <a:gd name="connsiteY1777" fmla="*/ 4455459 h 5278114"/>
              <a:gd name="connsiteX1778" fmla="*/ 1136102 w 5610835"/>
              <a:gd name="connsiteY1778" fmla="*/ 4449097 h 5278114"/>
              <a:gd name="connsiteX1779" fmla="*/ 1147238 w 5610835"/>
              <a:gd name="connsiteY1779" fmla="*/ 4447506 h 5278114"/>
              <a:gd name="connsiteX1780" fmla="*/ 1132921 w 5610835"/>
              <a:gd name="connsiteY1780" fmla="*/ 4439552 h 5278114"/>
              <a:gd name="connsiteX1781" fmla="*/ 1140875 w 5610835"/>
              <a:gd name="connsiteY1781" fmla="*/ 4410918 h 5278114"/>
              <a:gd name="connsiteX1782" fmla="*/ 1183824 w 5610835"/>
              <a:gd name="connsiteY1782" fmla="*/ 4407738 h 5278114"/>
              <a:gd name="connsiteX1783" fmla="*/ 1187006 w 5610835"/>
              <a:gd name="connsiteY1783" fmla="*/ 4415692 h 5278114"/>
              <a:gd name="connsiteX1784" fmla="*/ 1180643 w 5610835"/>
              <a:gd name="connsiteY1784" fmla="*/ 4410919 h 5278114"/>
              <a:gd name="connsiteX1785" fmla="*/ 1183824 w 5610835"/>
              <a:gd name="connsiteY1785" fmla="*/ 4407738 h 5278114"/>
              <a:gd name="connsiteX1786" fmla="*/ 1188597 w 5610835"/>
              <a:gd name="connsiteY1786" fmla="*/ 4404556 h 5278114"/>
              <a:gd name="connsiteX1787" fmla="*/ 1193369 w 5610835"/>
              <a:gd name="connsiteY1787" fmla="*/ 4410919 h 5278114"/>
              <a:gd name="connsiteX1788" fmla="*/ 1193369 w 5610835"/>
              <a:gd name="connsiteY1788" fmla="*/ 4412510 h 5278114"/>
              <a:gd name="connsiteX1789" fmla="*/ 1188597 w 5610835"/>
              <a:gd name="connsiteY1789" fmla="*/ 4404556 h 5278114"/>
              <a:gd name="connsiteX1790" fmla="*/ 1487654 w 5610835"/>
              <a:gd name="connsiteY1790" fmla="*/ 4402965 h 5278114"/>
              <a:gd name="connsiteX1791" fmla="*/ 1470156 w 5610835"/>
              <a:gd name="connsiteY1791" fmla="*/ 4417282 h 5278114"/>
              <a:gd name="connsiteX1792" fmla="*/ 1471747 w 5610835"/>
              <a:gd name="connsiteY1792" fmla="*/ 4423645 h 5278114"/>
              <a:gd name="connsiteX1793" fmla="*/ 1476519 w 5610835"/>
              <a:gd name="connsiteY1793" fmla="*/ 4431599 h 5278114"/>
              <a:gd name="connsiteX1794" fmla="*/ 1489246 w 5610835"/>
              <a:gd name="connsiteY1794" fmla="*/ 4420464 h 5278114"/>
              <a:gd name="connsiteX1795" fmla="*/ 1487654 w 5610835"/>
              <a:gd name="connsiteY1795" fmla="*/ 4420464 h 5278114"/>
              <a:gd name="connsiteX1796" fmla="*/ 1487654 w 5610835"/>
              <a:gd name="connsiteY1796" fmla="*/ 4407738 h 5278114"/>
              <a:gd name="connsiteX1797" fmla="*/ 1492427 w 5610835"/>
              <a:gd name="connsiteY1797" fmla="*/ 4407738 h 5278114"/>
              <a:gd name="connsiteX1798" fmla="*/ 1490836 w 5610835"/>
              <a:gd name="connsiteY1798" fmla="*/ 4406147 h 5278114"/>
              <a:gd name="connsiteX1799" fmla="*/ 1487654 w 5610835"/>
              <a:gd name="connsiteY1799" fmla="*/ 4402965 h 5278114"/>
              <a:gd name="connsiteX1800" fmla="*/ 1035886 w 5610835"/>
              <a:gd name="connsiteY1800" fmla="*/ 4396602 h 5278114"/>
              <a:gd name="connsiteX1801" fmla="*/ 1078836 w 5610835"/>
              <a:gd name="connsiteY1801" fmla="*/ 4437962 h 5278114"/>
              <a:gd name="connsiteX1802" fmla="*/ 1072473 w 5610835"/>
              <a:gd name="connsiteY1802" fmla="*/ 4433189 h 5278114"/>
              <a:gd name="connsiteX1803" fmla="*/ 1080427 w 5610835"/>
              <a:gd name="connsiteY1803" fmla="*/ 4453869 h 5278114"/>
              <a:gd name="connsiteX1804" fmla="*/ 1074064 w 5610835"/>
              <a:gd name="connsiteY1804" fmla="*/ 4453869 h 5278114"/>
              <a:gd name="connsiteX1805" fmla="*/ 1072473 w 5610835"/>
              <a:gd name="connsiteY1805" fmla="*/ 4444325 h 5278114"/>
              <a:gd name="connsiteX1806" fmla="*/ 1066110 w 5610835"/>
              <a:gd name="connsiteY1806" fmla="*/ 4420464 h 5278114"/>
              <a:gd name="connsiteX1807" fmla="*/ 1061337 w 5610835"/>
              <a:gd name="connsiteY1807" fmla="*/ 4414100 h 5278114"/>
              <a:gd name="connsiteX1808" fmla="*/ 1062928 w 5610835"/>
              <a:gd name="connsiteY1808" fmla="*/ 4422054 h 5278114"/>
              <a:gd name="connsiteX1809" fmla="*/ 1062928 w 5610835"/>
              <a:gd name="connsiteY1809" fmla="*/ 4430008 h 5278114"/>
              <a:gd name="connsiteX1810" fmla="*/ 1069291 w 5610835"/>
              <a:gd name="connsiteY1810" fmla="*/ 4455459 h 5278114"/>
              <a:gd name="connsiteX1811" fmla="*/ 1067701 w 5610835"/>
              <a:gd name="connsiteY1811" fmla="*/ 4460231 h 5278114"/>
              <a:gd name="connsiteX1812" fmla="*/ 1074064 w 5610835"/>
              <a:gd name="connsiteY1812" fmla="*/ 4487274 h 5278114"/>
              <a:gd name="connsiteX1813" fmla="*/ 1070882 w 5610835"/>
              <a:gd name="connsiteY1813" fmla="*/ 4490455 h 5278114"/>
              <a:gd name="connsiteX1814" fmla="*/ 1074064 w 5610835"/>
              <a:gd name="connsiteY1814" fmla="*/ 4488864 h 5278114"/>
              <a:gd name="connsiteX1815" fmla="*/ 1075654 w 5610835"/>
              <a:gd name="connsiteY1815" fmla="*/ 4503182 h 5278114"/>
              <a:gd name="connsiteX1816" fmla="*/ 1066110 w 5610835"/>
              <a:gd name="connsiteY1816" fmla="*/ 4503182 h 5278114"/>
              <a:gd name="connsiteX1817" fmla="*/ 1069291 w 5610835"/>
              <a:gd name="connsiteY1817" fmla="*/ 4506363 h 5278114"/>
              <a:gd name="connsiteX1818" fmla="*/ 1067701 w 5610835"/>
              <a:gd name="connsiteY1818" fmla="*/ 4509545 h 5278114"/>
              <a:gd name="connsiteX1819" fmla="*/ 1062928 w 5610835"/>
              <a:gd name="connsiteY1819" fmla="*/ 4503182 h 5278114"/>
              <a:gd name="connsiteX1820" fmla="*/ 1061337 w 5610835"/>
              <a:gd name="connsiteY1820" fmla="*/ 4520679 h 5278114"/>
              <a:gd name="connsiteX1821" fmla="*/ 1048612 w 5610835"/>
              <a:gd name="connsiteY1821" fmla="*/ 4500000 h 5278114"/>
              <a:gd name="connsiteX1822" fmla="*/ 1053384 w 5610835"/>
              <a:gd name="connsiteY1822" fmla="*/ 4522270 h 5278114"/>
              <a:gd name="connsiteX1823" fmla="*/ 1047021 w 5610835"/>
              <a:gd name="connsiteY1823" fmla="*/ 4523861 h 5278114"/>
              <a:gd name="connsiteX1824" fmla="*/ 1031113 w 5610835"/>
              <a:gd name="connsiteY1824" fmla="*/ 4484092 h 5278114"/>
              <a:gd name="connsiteX1825" fmla="*/ 1035886 w 5610835"/>
              <a:gd name="connsiteY1825" fmla="*/ 4527043 h 5278114"/>
              <a:gd name="connsiteX1826" fmla="*/ 1012025 w 5610835"/>
              <a:gd name="connsiteY1826" fmla="*/ 4530224 h 5278114"/>
              <a:gd name="connsiteX1827" fmla="*/ 1012025 w 5610835"/>
              <a:gd name="connsiteY1827" fmla="*/ 4519089 h 5278114"/>
              <a:gd name="connsiteX1828" fmla="*/ 1021570 w 5610835"/>
              <a:gd name="connsiteY1828" fmla="*/ 4487274 h 5278114"/>
              <a:gd name="connsiteX1829" fmla="*/ 1035886 w 5610835"/>
              <a:gd name="connsiteY1829" fmla="*/ 4458641 h 5278114"/>
              <a:gd name="connsiteX1830" fmla="*/ 1024751 w 5610835"/>
              <a:gd name="connsiteY1830" fmla="*/ 4471367 h 5278114"/>
              <a:gd name="connsiteX1831" fmla="*/ 1034295 w 5610835"/>
              <a:gd name="connsiteY1831" fmla="*/ 4404555 h 5278114"/>
              <a:gd name="connsiteX1832" fmla="*/ 1035886 w 5610835"/>
              <a:gd name="connsiteY1832" fmla="*/ 4396602 h 5278114"/>
              <a:gd name="connsiteX1833" fmla="*/ 1750125 w 5610835"/>
              <a:gd name="connsiteY1833" fmla="*/ 4390240 h 5278114"/>
              <a:gd name="connsiteX1834" fmla="*/ 1746945 w 5610835"/>
              <a:gd name="connsiteY1834" fmla="*/ 4391831 h 5278114"/>
              <a:gd name="connsiteX1835" fmla="*/ 1748534 w 5610835"/>
              <a:gd name="connsiteY1835" fmla="*/ 4391831 h 5278114"/>
              <a:gd name="connsiteX1836" fmla="*/ 1750125 w 5610835"/>
              <a:gd name="connsiteY1836" fmla="*/ 4390240 h 5278114"/>
              <a:gd name="connsiteX1837" fmla="*/ 1194959 w 5610835"/>
              <a:gd name="connsiteY1837" fmla="*/ 4390240 h 5278114"/>
              <a:gd name="connsiteX1838" fmla="*/ 1204504 w 5610835"/>
              <a:gd name="connsiteY1838" fmla="*/ 4395011 h 5278114"/>
              <a:gd name="connsiteX1839" fmla="*/ 1201322 w 5610835"/>
              <a:gd name="connsiteY1839" fmla="*/ 4398193 h 5278114"/>
              <a:gd name="connsiteX1840" fmla="*/ 1194959 w 5610835"/>
              <a:gd name="connsiteY1840" fmla="*/ 4390240 h 5278114"/>
              <a:gd name="connsiteX1841" fmla="*/ 1107469 w 5610835"/>
              <a:gd name="connsiteY1841" fmla="*/ 4387057 h 5278114"/>
              <a:gd name="connsiteX1842" fmla="*/ 1109059 w 5610835"/>
              <a:gd name="connsiteY1842" fmla="*/ 4398193 h 5278114"/>
              <a:gd name="connsiteX1843" fmla="*/ 1123375 w 5610835"/>
              <a:gd name="connsiteY1843" fmla="*/ 4434780 h 5278114"/>
              <a:gd name="connsiteX1844" fmla="*/ 1102696 w 5610835"/>
              <a:gd name="connsiteY1844" fmla="*/ 4404556 h 5278114"/>
              <a:gd name="connsiteX1845" fmla="*/ 1110650 w 5610835"/>
              <a:gd name="connsiteY1845" fmla="*/ 4434780 h 5278114"/>
              <a:gd name="connsiteX1846" fmla="*/ 1067700 w 5610835"/>
              <a:gd name="connsiteY1846" fmla="*/ 4404556 h 5278114"/>
              <a:gd name="connsiteX1847" fmla="*/ 1107469 w 5610835"/>
              <a:gd name="connsiteY1847" fmla="*/ 4387057 h 5278114"/>
              <a:gd name="connsiteX1848" fmla="*/ 1514698 w 5610835"/>
              <a:gd name="connsiteY1848" fmla="*/ 4385468 h 5278114"/>
              <a:gd name="connsiteX1849" fmla="*/ 1517878 w 5610835"/>
              <a:gd name="connsiteY1849" fmla="*/ 4387058 h 5278114"/>
              <a:gd name="connsiteX1850" fmla="*/ 1519470 w 5610835"/>
              <a:gd name="connsiteY1850" fmla="*/ 4385468 h 5278114"/>
              <a:gd name="connsiteX1851" fmla="*/ 1514698 w 5610835"/>
              <a:gd name="connsiteY1851" fmla="*/ 4385468 h 5278114"/>
              <a:gd name="connsiteX1852" fmla="*/ 1145856 w 5610835"/>
              <a:gd name="connsiteY1852" fmla="*/ 4383993 h 5278114"/>
              <a:gd name="connsiteX1853" fmla="*/ 1157379 w 5610835"/>
              <a:gd name="connsiteY1853" fmla="*/ 4390438 h 5278114"/>
              <a:gd name="connsiteX1854" fmla="*/ 1172690 w 5610835"/>
              <a:gd name="connsiteY1854" fmla="*/ 4393421 h 5278114"/>
              <a:gd name="connsiteX1855" fmla="*/ 1166327 w 5610835"/>
              <a:gd name="connsiteY1855" fmla="*/ 4409328 h 5278114"/>
              <a:gd name="connsiteX1856" fmla="*/ 1149027 w 5610835"/>
              <a:gd name="connsiteY1856" fmla="*/ 4390836 h 5278114"/>
              <a:gd name="connsiteX1857" fmla="*/ 1145647 w 5610835"/>
              <a:gd name="connsiteY1857" fmla="*/ 4383877 h 5278114"/>
              <a:gd name="connsiteX1858" fmla="*/ 1145802 w 5610835"/>
              <a:gd name="connsiteY1858" fmla="*/ 4383877 h 5278114"/>
              <a:gd name="connsiteX1859" fmla="*/ 1145856 w 5610835"/>
              <a:gd name="connsiteY1859" fmla="*/ 4383993 h 5278114"/>
              <a:gd name="connsiteX1860" fmla="*/ 1161555 w 5610835"/>
              <a:gd name="connsiteY1860" fmla="*/ 4372741 h 5278114"/>
              <a:gd name="connsiteX1861" fmla="*/ 1167918 w 5610835"/>
              <a:gd name="connsiteY1861" fmla="*/ 4374332 h 5278114"/>
              <a:gd name="connsiteX1862" fmla="*/ 1171099 w 5610835"/>
              <a:gd name="connsiteY1862" fmla="*/ 4382286 h 5278114"/>
              <a:gd name="connsiteX1863" fmla="*/ 1171099 w 5610835"/>
              <a:gd name="connsiteY1863" fmla="*/ 4383877 h 5278114"/>
              <a:gd name="connsiteX1864" fmla="*/ 1161555 w 5610835"/>
              <a:gd name="connsiteY1864" fmla="*/ 4372741 h 5278114"/>
              <a:gd name="connsiteX1865" fmla="*/ 1137693 w 5610835"/>
              <a:gd name="connsiteY1865" fmla="*/ 4366378 h 5278114"/>
              <a:gd name="connsiteX1866" fmla="*/ 1172690 w 5610835"/>
              <a:gd name="connsiteY1866" fmla="*/ 4385467 h 5278114"/>
              <a:gd name="connsiteX1867" fmla="*/ 1172690 w 5610835"/>
              <a:gd name="connsiteY1867" fmla="*/ 4391831 h 5278114"/>
              <a:gd name="connsiteX1868" fmla="*/ 1153600 w 5610835"/>
              <a:gd name="connsiteY1868" fmla="*/ 4383877 h 5278114"/>
              <a:gd name="connsiteX1869" fmla="*/ 1145802 w 5610835"/>
              <a:gd name="connsiteY1869" fmla="*/ 4383877 h 5278114"/>
              <a:gd name="connsiteX1870" fmla="*/ 2201894 w 5610835"/>
              <a:gd name="connsiteY1870" fmla="*/ 4361607 h 5278114"/>
              <a:gd name="connsiteX1871" fmla="*/ 1980781 w 5610835"/>
              <a:gd name="connsiteY1871" fmla="*/ 4603398 h 5278114"/>
              <a:gd name="connsiteX1872" fmla="*/ 1918742 w 5610835"/>
              <a:gd name="connsiteY1872" fmla="*/ 4789514 h 5278114"/>
              <a:gd name="connsiteX1873" fmla="*/ 2201894 w 5610835"/>
              <a:gd name="connsiteY1873" fmla="*/ 4361607 h 5278114"/>
              <a:gd name="connsiteX1874" fmla="*/ 1129739 w 5610835"/>
              <a:gd name="connsiteY1874" fmla="*/ 4360016 h 5278114"/>
              <a:gd name="connsiteX1875" fmla="*/ 1129739 w 5610835"/>
              <a:gd name="connsiteY1875" fmla="*/ 4374332 h 5278114"/>
              <a:gd name="connsiteX1876" fmla="*/ 1118604 w 5610835"/>
              <a:gd name="connsiteY1876" fmla="*/ 4367969 h 5278114"/>
              <a:gd name="connsiteX1877" fmla="*/ 1129739 w 5610835"/>
              <a:gd name="connsiteY1877" fmla="*/ 4360016 h 5278114"/>
              <a:gd name="connsiteX1878" fmla="*/ 1136102 w 5610835"/>
              <a:gd name="connsiteY1878" fmla="*/ 4358425 h 5278114"/>
              <a:gd name="connsiteX1879" fmla="*/ 1164736 w 5610835"/>
              <a:gd name="connsiteY1879" fmla="*/ 4371150 h 5278114"/>
              <a:gd name="connsiteX1880" fmla="*/ 1134512 w 5610835"/>
              <a:gd name="connsiteY1880" fmla="*/ 4361606 h 5278114"/>
              <a:gd name="connsiteX1881" fmla="*/ 1136102 w 5610835"/>
              <a:gd name="connsiteY1881" fmla="*/ 4358425 h 5278114"/>
              <a:gd name="connsiteX1882" fmla="*/ 1713339 w 5610835"/>
              <a:gd name="connsiteY1882" fmla="*/ 4353454 h 5278114"/>
              <a:gd name="connsiteX1883" fmla="*/ 1705585 w 5610835"/>
              <a:gd name="connsiteY1883" fmla="*/ 4358426 h 5278114"/>
              <a:gd name="connsiteX1884" fmla="*/ 1688087 w 5610835"/>
              <a:gd name="connsiteY1884" fmla="*/ 4364788 h 5278114"/>
              <a:gd name="connsiteX1885" fmla="*/ 1649909 w 5610835"/>
              <a:gd name="connsiteY1885" fmla="*/ 4399784 h 5278114"/>
              <a:gd name="connsiteX1886" fmla="*/ 1657863 w 5610835"/>
              <a:gd name="connsiteY1886" fmla="*/ 4414101 h 5278114"/>
              <a:gd name="connsiteX1887" fmla="*/ 1667407 w 5610835"/>
              <a:gd name="connsiteY1887" fmla="*/ 4404556 h 5278114"/>
              <a:gd name="connsiteX1888" fmla="*/ 1667407 w 5610835"/>
              <a:gd name="connsiteY1888" fmla="*/ 4402965 h 5278114"/>
              <a:gd name="connsiteX1889" fmla="*/ 1665817 w 5610835"/>
              <a:gd name="connsiteY1889" fmla="*/ 4401374 h 5278114"/>
              <a:gd name="connsiteX1890" fmla="*/ 1661044 w 5610835"/>
              <a:gd name="connsiteY1890" fmla="*/ 4402965 h 5278114"/>
              <a:gd name="connsiteX1891" fmla="*/ 1657863 w 5610835"/>
              <a:gd name="connsiteY1891" fmla="*/ 4396602 h 5278114"/>
              <a:gd name="connsiteX1892" fmla="*/ 1675361 w 5610835"/>
              <a:gd name="connsiteY1892" fmla="*/ 4396602 h 5278114"/>
              <a:gd name="connsiteX1893" fmla="*/ 1683314 w 5610835"/>
              <a:gd name="connsiteY1893" fmla="*/ 4388649 h 5278114"/>
              <a:gd name="connsiteX1894" fmla="*/ 1676952 w 5610835"/>
              <a:gd name="connsiteY1894" fmla="*/ 4387058 h 5278114"/>
              <a:gd name="connsiteX1895" fmla="*/ 1688087 w 5610835"/>
              <a:gd name="connsiteY1895" fmla="*/ 4383877 h 5278114"/>
              <a:gd name="connsiteX1896" fmla="*/ 1703994 w 5610835"/>
              <a:gd name="connsiteY1896" fmla="*/ 4369560 h 5278114"/>
              <a:gd name="connsiteX1897" fmla="*/ 1697631 w 5610835"/>
              <a:gd name="connsiteY1897" fmla="*/ 4367969 h 5278114"/>
              <a:gd name="connsiteX1898" fmla="*/ 1710356 w 5610835"/>
              <a:gd name="connsiteY1898" fmla="*/ 4356835 h 5278114"/>
              <a:gd name="connsiteX1899" fmla="*/ 1713339 w 5610835"/>
              <a:gd name="connsiteY1899" fmla="*/ 4353454 h 5278114"/>
              <a:gd name="connsiteX1900" fmla="*/ 1180642 w 5610835"/>
              <a:gd name="connsiteY1900" fmla="*/ 4340926 h 5278114"/>
              <a:gd name="connsiteX1901" fmla="*/ 1183825 w 5610835"/>
              <a:gd name="connsiteY1901" fmla="*/ 4348880 h 5278114"/>
              <a:gd name="connsiteX1902" fmla="*/ 1175871 w 5610835"/>
              <a:gd name="connsiteY1902" fmla="*/ 4364788 h 5278114"/>
              <a:gd name="connsiteX1903" fmla="*/ 1175871 w 5610835"/>
              <a:gd name="connsiteY1903" fmla="*/ 4361606 h 5278114"/>
              <a:gd name="connsiteX1904" fmla="*/ 1180642 w 5610835"/>
              <a:gd name="connsiteY1904" fmla="*/ 4340926 h 5278114"/>
              <a:gd name="connsiteX1905" fmla="*/ 1137693 w 5610835"/>
              <a:gd name="connsiteY1905" fmla="*/ 4339335 h 5278114"/>
              <a:gd name="connsiteX1906" fmla="*/ 1148829 w 5610835"/>
              <a:gd name="connsiteY1906" fmla="*/ 4352062 h 5278114"/>
              <a:gd name="connsiteX1907" fmla="*/ 1145647 w 5610835"/>
              <a:gd name="connsiteY1907" fmla="*/ 4352062 h 5278114"/>
              <a:gd name="connsiteX1908" fmla="*/ 1131330 w 5610835"/>
              <a:gd name="connsiteY1908" fmla="*/ 4342517 h 5278114"/>
              <a:gd name="connsiteX1909" fmla="*/ 1137693 w 5610835"/>
              <a:gd name="connsiteY1909" fmla="*/ 4339335 h 5278114"/>
              <a:gd name="connsiteX1910" fmla="*/ 1047021 w 5610835"/>
              <a:gd name="connsiteY1910" fmla="*/ 4337745 h 5278114"/>
              <a:gd name="connsiteX1911" fmla="*/ 1097924 w 5610835"/>
              <a:gd name="connsiteY1911" fmla="*/ 4366378 h 5278114"/>
              <a:gd name="connsiteX1912" fmla="*/ 1101106 w 5610835"/>
              <a:gd name="connsiteY1912" fmla="*/ 4371151 h 5278114"/>
              <a:gd name="connsiteX1913" fmla="*/ 1096334 w 5610835"/>
              <a:gd name="connsiteY1913" fmla="*/ 4374332 h 5278114"/>
              <a:gd name="connsiteX1914" fmla="*/ 1034295 w 5610835"/>
              <a:gd name="connsiteY1914" fmla="*/ 4380695 h 5278114"/>
              <a:gd name="connsiteX1915" fmla="*/ 1034295 w 5610835"/>
              <a:gd name="connsiteY1915" fmla="*/ 4374332 h 5278114"/>
              <a:gd name="connsiteX1916" fmla="*/ 1047021 w 5610835"/>
              <a:gd name="connsiteY1916" fmla="*/ 4337745 h 5278114"/>
              <a:gd name="connsiteX1917" fmla="*/ 1745353 w 5610835"/>
              <a:gd name="connsiteY1917" fmla="*/ 4325020 h 5278114"/>
              <a:gd name="connsiteX1918" fmla="*/ 1737399 w 5610835"/>
              <a:gd name="connsiteY1918" fmla="*/ 4329792 h 5278114"/>
              <a:gd name="connsiteX1919" fmla="*/ 1742171 w 5610835"/>
              <a:gd name="connsiteY1919" fmla="*/ 4332973 h 5278114"/>
              <a:gd name="connsiteX1920" fmla="*/ 1748534 w 5610835"/>
              <a:gd name="connsiteY1920" fmla="*/ 4326611 h 5278114"/>
              <a:gd name="connsiteX1921" fmla="*/ 1745353 w 5610835"/>
              <a:gd name="connsiteY1921" fmla="*/ 4325020 h 5278114"/>
              <a:gd name="connsiteX1922" fmla="*/ 1271314 w 5610835"/>
              <a:gd name="connsiteY1922" fmla="*/ 4321838 h 5278114"/>
              <a:gd name="connsiteX1923" fmla="*/ 1269723 w 5610835"/>
              <a:gd name="connsiteY1923" fmla="*/ 4323429 h 5278114"/>
              <a:gd name="connsiteX1924" fmla="*/ 1268133 w 5610835"/>
              <a:gd name="connsiteY1924" fmla="*/ 4326611 h 5278114"/>
              <a:gd name="connsiteX1925" fmla="*/ 1266542 w 5610835"/>
              <a:gd name="connsiteY1925" fmla="*/ 4326611 h 5278114"/>
              <a:gd name="connsiteX1926" fmla="*/ 1263361 w 5610835"/>
              <a:gd name="connsiteY1926" fmla="*/ 4329792 h 5278114"/>
              <a:gd name="connsiteX1927" fmla="*/ 1274496 w 5610835"/>
              <a:gd name="connsiteY1927" fmla="*/ 4323429 h 5278114"/>
              <a:gd name="connsiteX1928" fmla="*/ 1271314 w 5610835"/>
              <a:gd name="connsiteY1928" fmla="*/ 4321838 h 5278114"/>
              <a:gd name="connsiteX1929" fmla="*/ 1241090 w 5610835"/>
              <a:gd name="connsiteY1929" fmla="*/ 4309112 h 5278114"/>
              <a:gd name="connsiteX1930" fmla="*/ 1237909 w 5610835"/>
              <a:gd name="connsiteY1930" fmla="*/ 4317066 h 5278114"/>
              <a:gd name="connsiteX1931" fmla="*/ 1245864 w 5610835"/>
              <a:gd name="connsiteY1931" fmla="*/ 4310703 h 5278114"/>
              <a:gd name="connsiteX1932" fmla="*/ 1241090 w 5610835"/>
              <a:gd name="connsiteY1932" fmla="*/ 4309112 h 5278114"/>
              <a:gd name="connsiteX1933" fmla="*/ 1129739 w 5610835"/>
              <a:gd name="connsiteY1933" fmla="*/ 4301158 h 5278114"/>
              <a:gd name="connsiteX1934" fmla="*/ 1132921 w 5610835"/>
              <a:gd name="connsiteY1934" fmla="*/ 4328201 h 5278114"/>
              <a:gd name="connsiteX1935" fmla="*/ 1118604 w 5610835"/>
              <a:gd name="connsiteY1935" fmla="*/ 4339335 h 5278114"/>
              <a:gd name="connsiteX1936" fmla="*/ 1105878 w 5610835"/>
              <a:gd name="connsiteY1936" fmla="*/ 4363197 h 5278114"/>
              <a:gd name="connsiteX1937" fmla="*/ 1101105 w 5610835"/>
              <a:gd name="connsiteY1937" fmla="*/ 4356833 h 5278114"/>
              <a:gd name="connsiteX1938" fmla="*/ 1112242 w 5610835"/>
              <a:gd name="connsiteY1938" fmla="*/ 4334564 h 5278114"/>
              <a:gd name="connsiteX1939" fmla="*/ 1129739 w 5610835"/>
              <a:gd name="connsiteY1939" fmla="*/ 4301158 h 5278114"/>
              <a:gd name="connsiteX1940" fmla="*/ 3006804 w 5610835"/>
              <a:gd name="connsiteY1940" fmla="*/ 4299567 h 5278114"/>
              <a:gd name="connsiteX1941" fmla="*/ 3143608 w 5610835"/>
              <a:gd name="connsiteY1941" fmla="*/ 4453869 h 5278114"/>
              <a:gd name="connsiteX1942" fmla="*/ 3006804 w 5610835"/>
              <a:gd name="connsiteY1942" fmla="*/ 4299567 h 5278114"/>
              <a:gd name="connsiteX1943" fmla="*/ 1490836 w 5610835"/>
              <a:gd name="connsiteY1943" fmla="*/ 4297977 h 5278114"/>
              <a:gd name="connsiteX1944" fmla="*/ 1481291 w 5610835"/>
              <a:gd name="connsiteY1944" fmla="*/ 4304340 h 5278114"/>
              <a:gd name="connsiteX1945" fmla="*/ 1484473 w 5610835"/>
              <a:gd name="connsiteY1945" fmla="*/ 4307521 h 5278114"/>
              <a:gd name="connsiteX1946" fmla="*/ 1490836 w 5610835"/>
              <a:gd name="connsiteY1946" fmla="*/ 4297977 h 5278114"/>
              <a:gd name="connsiteX1947" fmla="*/ 1481291 w 5610835"/>
              <a:gd name="connsiteY1947" fmla="*/ 4296387 h 5278114"/>
              <a:gd name="connsiteX1948" fmla="*/ 1478111 w 5610835"/>
              <a:gd name="connsiteY1948" fmla="*/ 4299568 h 5278114"/>
              <a:gd name="connsiteX1949" fmla="*/ 1479700 w 5610835"/>
              <a:gd name="connsiteY1949" fmla="*/ 4301159 h 5278114"/>
              <a:gd name="connsiteX1950" fmla="*/ 1481291 w 5610835"/>
              <a:gd name="connsiteY1950" fmla="*/ 4296387 h 5278114"/>
              <a:gd name="connsiteX1951" fmla="*/ 1559237 w 5610835"/>
              <a:gd name="connsiteY1951" fmla="*/ 4277297 h 5278114"/>
              <a:gd name="connsiteX1952" fmla="*/ 1552875 w 5610835"/>
              <a:gd name="connsiteY1952" fmla="*/ 4282069 h 5278114"/>
              <a:gd name="connsiteX1953" fmla="*/ 1560828 w 5610835"/>
              <a:gd name="connsiteY1953" fmla="*/ 4290023 h 5278114"/>
              <a:gd name="connsiteX1954" fmla="*/ 1567191 w 5610835"/>
              <a:gd name="connsiteY1954" fmla="*/ 4286842 h 5278114"/>
              <a:gd name="connsiteX1955" fmla="*/ 1559237 w 5610835"/>
              <a:gd name="connsiteY1955" fmla="*/ 4277297 h 5278114"/>
              <a:gd name="connsiteX1956" fmla="*/ 1576735 w 5610835"/>
              <a:gd name="connsiteY1956" fmla="*/ 4267753 h 5278114"/>
              <a:gd name="connsiteX1957" fmla="*/ 1567191 w 5610835"/>
              <a:gd name="connsiteY1957" fmla="*/ 4274116 h 5278114"/>
              <a:gd name="connsiteX1958" fmla="*/ 1583098 w 5610835"/>
              <a:gd name="connsiteY1958" fmla="*/ 4280479 h 5278114"/>
              <a:gd name="connsiteX1959" fmla="*/ 1589461 w 5610835"/>
              <a:gd name="connsiteY1959" fmla="*/ 4275707 h 5278114"/>
              <a:gd name="connsiteX1960" fmla="*/ 1576735 w 5610835"/>
              <a:gd name="connsiteY1960" fmla="*/ 4267753 h 5278114"/>
              <a:gd name="connsiteX1961" fmla="*/ 1599005 w 5610835"/>
              <a:gd name="connsiteY1961" fmla="*/ 4253436 h 5278114"/>
              <a:gd name="connsiteX1962" fmla="*/ 1591052 w 5610835"/>
              <a:gd name="connsiteY1962" fmla="*/ 4258209 h 5278114"/>
              <a:gd name="connsiteX1963" fmla="*/ 1614913 w 5610835"/>
              <a:gd name="connsiteY1963" fmla="*/ 4256618 h 5278114"/>
              <a:gd name="connsiteX1964" fmla="*/ 1599005 w 5610835"/>
              <a:gd name="connsiteY1964" fmla="*/ 4253436 h 5278114"/>
              <a:gd name="connsiteX1965" fmla="*/ 1552875 w 5610835"/>
              <a:gd name="connsiteY1965" fmla="*/ 4253436 h 5278114"/>
              <a:gd name="connsiteX1966" fmla="*/ 1538558 w 5610835"/>
              <a:gd name="connsiteY1966" fmla="*/ 4261390 h 5278114"/>
              <a:gd name="connsiteX1967" fmla="*/ 1541739 w 5610835"/>
              <a:gd name="connsiteY1967" fmla="*/ 4264572 h 5278114"/>
              <a:gd name="connsiteX1968" fmla="*/ 1546511 w 5610835"/>
              <a:gd name="connsiteY1968" fmla="*/ 4272526 h 5278114"/>
              <a:gd name="connsiteX1969" fmla="*/ 1564009 w 5610835"/>
              <a:gd name="connsiteY1969" fmla="*/ 4259799 h 5278114"/>
              <a:gd name="connsiteX1970" fmla="*/ 1552875 w 5610835"/>
              <a:gd name="connsiteY1970" fmla="*/ 4253436 h 5278114"/>
              <a:gd name="connsiteX1971" fmla="*/ 1113832 w 5610835"/>
              <a:gd name="connsiteY1971" fmla="*/ 4251845 h 5278114"/>
              <a:gd name="connsiteX1972" fmla="*/ 1121785 w 5610835"/>
              <a:gd name="connsiteY1972" fmla="*/ 4286840 h 5278114"/>
              <a:gd name="connsiteX1973" fmla="*/ 1083608 w 5610835"/>
              <a:gd name="connsiteY1973" fmla="*/ 4270934 h 5278114"/>
              <a:gd name="connsiteX1974" fmla="*/ 1113832 w 5610835"/>
              <a:gd name="connsiteY1974" fmla="*/ 4297976 h 5278114"/>
              <a:gd name="connsiteX1975" fmla="*/ 1102696 w 5610835"/>
              <a:gd name="connsiteY1975" fmla="*/ 4323427 h 5278114"/>
              <a:gd name="connsiteX1976" fmla="*/ 1091561 w 5610835"/>
              <a:gd name="connsiteY1976" fmla="*/ 4299566 h 5278114"/>
              <a:gd name="connsiteX1977" fmla="*/ 1089970 w 5610835"/>
              <a:gd name="connsiteY1977" fmla="*/ 4321836 h 5278114"/>
              <a:gd name="connsiteX1978" fmla="*/ 1075654 w 5610835"/>
              <a:gd name="connsiteY1978" fmla="*/ 4304339 h 5278114"/>
              <a:gd name="connsiteX1979" fmla="*/ 1089970 w 5610835"/>
              <a:gd name="connsiteY1979" fmla="*/ 4355242 h 5278114"/>
              <a:gd name="connsiteX1980" fmla="*/ 1054975 w 5610835"/>
              <a:gd name="connsiteY1980" fmla="*/ 4318655 h 5278114"/>
              <a:gd name="connsiteX1981" fmla="*/ 1058156 w 5610835"/>
              <a:gd name="connsiteY1981" fmla="*/ 4337744 h 5278114"/>
              <a:gd name="connsiteX1982" fmla="*/ 1047021 w 5610835"/>
              <a:gd name="connsiteY1982" fmla="*/ 4332972 h 5278114"/>
              <a:gd name="connsiteX1983" fmla="*/ 1077245 w 5610835"/>
              <a:gd name="connsiteY1983" fmla="*/ 4261389 h 5278114"/>
              <a:gd name="connsiteX1984" fmla="*/ 1113832 w 5610835"/>
              <a:gd name="connsiteY1984" fmla="*/ 4251845 h 5278114"/>
              <a:gd name="connsiteX1985" fmla="*/ 1571963 w 5610835"/>
              <a:gd name="connsiteY1985" fmla="*/ 4240711 h 5278114"/>
              <a:gd name="connsiteX1986" fmla="*/ 1562418 w 5610835"/>
              <a:gd name="connsiteY1986" fmla="*/ 4245483 h 5278114"/>
              <a:gd name="connsiteX1987" fmla="*/ 1573554 w 5610835"/>
              <a:gd name="connsiteY1987" fmla="*/ 4251846 h 5278114"/>
              <a:gd name="connsiteX1988" fmla="*/ 1581509 w 5610835"/>
              <a:gd name="connsiteY1988" fmla="*/ 4245483 h 5278114"/>
              <a:gd name="connsiteX1989" fmla="*/ 1571963 w 5610835"/>
              <a:gd name="connsiteY1989" fmla="*/ 4240711 h 5278114"/>
              <a:gd name="connsiteX1990" fmla="*/ 1622867 w 5610835"/>
              <a:gd name="connsiteY1990" fmla="*/ 4239120 h 5278114"/>
              <a:gd name="connsiteX1991" fmla="*/ 1619685 w 5610835"/>
              <a:gd name="connsiteY1991" fmla="*/ 4240711 h 5278114"/>
              <a:gd name="connsiteX1992" fmla="*/ 1618095 w 5610835"/>
              <a:gd name="connsiteY1992" fmla="*/ 4256618 h 5278114"/>
              <a:gd name="connsiteX1993" fmla="*/ 1621275 w 5610835"/>
              <a:gd name="connsiteY1993" fmla="*/ 4256618 h 5278114"/>
              <a:gd name="connsiteX1994" fmla="*/ 1622867 w 5610835"/>
              <a:gd name="connsiteY1994" fmla="*/ 4247073 h 5278114"/>
              <a:gd name="connsiteX1995" fmla="*/ 1626048 w 5610835"/>
              <a:gd name="connsiteY1995" fmla="*/ 4240711 h 5278114"/>
              <a:gd name="connsiteX1996" fmla="*/ 1622867 w 5610835"/>
              <a:gd name="connsiteY1996" fmla="*/ 4240711 h 5278114"/>
              <a:gd name="connsiteX1997" fmla="*/ 1622867 w 5610835"/>
              <a:gd name="connsiteY1997" fmla="*/ 4239120 h 5278114"/>
              <a:gd name="connsiteX1998" fmla="*/ 2283022 w 5610835"/>
              <a:gd name="connsiteY1998" fmla="*/ 4223211 h 5278114"/>
              <a:gd name="connsiteX1999" fmla="*/ 2290975 w 5610835"/>
              <a:gd name="connsiteY1999" fmla="*/ 4282069 h 5278114"/>
              <a:gd name="connsiteX2000" fmla="*/ 2283022 w 5610835"/>
              <a:gd name="connsiteY2000" fmla="*/ 4223211 h 5278114"/>
              <a:gd name="connsiteX2001" fmla="*/ 1460612 w 5610835"/>
              <a:gd name="connsiteY2001" fmla="*/ 4221622 h 5278114"/>
              <a:gd name="connsiteX2002" fmla="*/ 1454249 w 5610835"/>
              <a:gd name="connsiteY2002" fmla="*/ 4223213 h 5278114"/>
              <a:gd name="connsiteX2003" fmla="*/ 1454249 w 5610835"/>
              <a:gd name="connsiteY2003" fmla="*/ 4226394 h 5278114"/>
              <a:gd name="connsiteX2004" fmla="*/ 1460612 w 5610835"/>
              <a:gd name="connsiteY2004" fmla="*/ 4221622 h 5278114"/>
              <a:gd name="connsiteX2005" fmla="*/ 1668998 w 5610835"/>
              <a:gd name="connsiteY2005" fmla="*/ 4220031 h 5278114"/>
              <a:gd name="connsiteX2006" fmla="*/ 1645137 w 5610835"/>
              <a:gd name="connsiteY2006" fmla="*/ 4223213 h 5278114"/>
              <a:gd name="connsiteX2007" fmla="*/ 1630820 w 5610835"/>
              <a:gd name="connsiteY2007" fmla="*/ 4232757 h 5278114"/>
              <a:gd name="connsiteX2008" fmla="*/ 1640365 w 5610835"/>
              <a:gd name="connsiteY2008" fmla="*/ 4242302 h 5278114"/>
              <a:gd name="connsiteX2009" fmla="*/ 1653090 w 5610835"/>
              <a:gd name="connsiteY2009" fmla="*/ 4232757 h 5278114"/>
              <a:gd name="connsiteX2010" fmla="*/ 1659454 w 5610835"/>
              <a:gd name="connsiteY2010" fmla="*/ 4227985 h 5278114"/>
              <a:gd name="connsiteX2011" fmla="*/ 1668998 w 5610835"/>
              <a:gd name="connsiteY2011" fmla="*/ 4220031 h 5278114"/>
              <a:gd name="connsiteX2012" fmla="*/ 2734790 w 5610835"/>
              <a:gd name="connsiteY2012" fmla="*/ 4213668 h 5278114"/>
              <a:gd name="connsiteX2013" fmla="*/ 2978171 w 5610835"/>
              <a:gd name="connsiteY2013" fmla="*/ 4417281 h 5278114"/>
              <a:gd name="connsiteX2014" fmla="*/ 2734790 w 5610835"/>
              <a:gd name="connsiteY2014" fmla="*/ 4213668 h 5278114"/>
              <a:gd name="connsiteX2015" fmla="*/ 1621276 w 5610835"/>
              <a:gd name="connsiteY2015" fmla="*/ 4208896 h 5278114"/>
              <a:gd name="connsiteX2016" fmla="*/ 1624458 w 5610835"/>
              <a:gd name="connsiteY2016" fmla="*/ 4208896 h 5278114"/>
              <a:gd name="connsiteX2017" fmla="*/ 1624458 w 5610835"/>
              <a:gd name="connsiteY2017" fmla="*/ 4212077 h 5278114"/>
              <a:gd name="connsiteX2018" fmla="*/ 1621276 w 5610835"/>
              <a:gd name="connsiteY2018" fmla="*/ 4208896 h 5278114"/>
              <a:gd name="connsiteX2019" fmla="*/ 1627639 w 5610835"/>
              <a:gd name="connsiteY2019" fmla="*/ 4202533 h 5278114"/>
              <a:gd name="connsiteX2020" fmla="*/ 1621275 w 5610835"/>
              <a:gd name="connsiteY2020" fmla="*/ 4207306 h 5278114"/>
              <a:gd name="connsiteX2021" fmla="*/ 1606959 w 5610835"/>
              <a:gd name="connsiteY2021" fmla="*/ 4216850 h 5278114"/>
              <a:gd name="connsiteX2022" fmla="*/ 1614913 w 5610835"/>
              <a:gd name="connsiteY2022" fmla="*/ 4221622 h 5278114"/>
              <a:gd name="connsiteX2023" fmla="*/ 1629229 w 5610835"/>
              <a:gd name="connsiteY2023" fmla="*/ 4210487 h 5278114"/>
              <a:gd name="connsiteX2024" fmla="*/ 1629229 w 5610835"/>
              <a:gd name="connsiteY2024" fmla="*/ 4207306 h 5278114"/>
              <a:gd name="connsiteX2025" fmla="*/ 1635593 w 5610835"/>
              <a:gd name="connsiteY2025" fmla="*/ 4204124 h 5278114"/>
              <a:gd name="connsiteX2026" fmla="*/ 1634002 w 5610835"/>
              <a:gd name="connsiteY2026" fmla="*/ 4202533 h 5278114"/>
              <a:gd name="connsiteX2027" fmla="*/ 1627639 w 5610835"/>
              <a:gd name="connsiteY2027" fmla="*/ 4205715 h 5278114"/>
              <a:gd name="connsiteX2028" fmla="*/ 1627639 w 5610835"/>
              <a:gd name="connsiteY2028" fmla="*/ 4202533 h 5278114"/>
              <a:gd name="connsiteX2029" fmla="*/ 1651499 w 5610835"/>
              <a:gd name="connsiteY2029" fmla="*/ 4181853 h 5278114"/>
              <a:gd name="connsiteX2030" fmla="*/ 1645137 w 5610835"/>
              <a:gd name="connsiteY2030" fmla="*/ 4186625 h 5278114"/>
              <a:gd name="connsiteX2031" fmla="*/ 1657863 w 5610835"/>
              <a:gd name="connsiteY2031" fmla="*/ 4186625 h 5278114"/>
              <a:gd name="connsiteX2032" fmla="*/ 1659454 w 5610835"/>
              <a:gd name="connsiteY2032" fmla="*/ 4185035 h 5278114"/>
              <a:gd name="connsiteX2033" fmla="*/ 1651499 w 5610835"/>
              <a:gd name="connsiteY2033" fmla="*/ 4181853 h 5278114"/>
              <a:gd name="connsiteX2034" fmla="*/ 2742744 w 5610835"/>
              <a:gd name="connsiteY2034" fmla="*/ 4175490 h 5278114"/>
              <a:gd name="connsiteX2035" fmla="*/ 3107021 w 5610835"/>
              <a:gd name="connsiteY2035" fmla="*/ 4506362 h 5278114"/>
              <a:gd name="connsiteX2036" fmla="*/ 2742744 w 5610835"/>
              <a:gd name="connsiteY2036" fmla="*/ 4175490 h 5278114"/>
              <a:gd name="connsiteX2037" fmla="*/ 1678542 w 5610835"/>
              <a:gd name="connsiteY2037" fmla="*/ 4157992 h 5278114"/>
              <a:gd name="connsiteX2038" fmla="*/ 1665817 w 5610835"/>
              <a:gd name="connsiteY2038" fmla="*/ 4170718 h 5278114"/>
              <a:gd name="connsiteX2039" fmla="*/ 1662635 w 5610835"/>
              <a:gd name="connsiteY2039" fmla="*/ 4173900 h 5278114"/>
              <a:gd name="connsiteX2040" fmla="*/ 1681723 w 5610835"/>
              <a:gd name="connsiteY2040" fmla="*/ 4165946 h 5278114"/>
              <a:gd name="connsiteX2041" fmla="*/ 1686496 w 5610835"/>
              <a:gd name="connsiteY2041" fmla="*/ 4161174 h 5278114"/>
              <a:gd name="connsiteX2042" fmla="*/ 1678542 w 5610835"/>
              <a:gd name="connsiteY2042" fmla="*/ 4157992 h 5278114"/>
              <a:gd name="connsiteX2043" fmla="*/ 1750125 w 5610835"/>
              <a:gd name="connsiteY2043" fmla="*/ 4132540 h 5278114"/>
              <a:gd name="connsiteX2044" fmla="*/ 1745353 w 5610835"/>
              <a:gd name="connsiteY2044" fmla="*/ 4134131 h 5278114"/>
              <a:gd name="connsiteX2045" fmla="*/ 1746945 w 5610835"/>
              <a:gd name="connsiteY2045" fmla="*/ 4135722 h 5278114"/>
              <a:gd name="connsiteX2046" fmla="*/ 1750125 w 5610835"/>
              <a:gd name="connsiteY2046" fmla="*/ 4132540 h 5278114"/>
              <a:gd name="connsiteX2047" fmla="*/ 3309044 w 5610835"/>
              <a:gd name="connsiteY2047" fmla="*/ 4129358 h 5278114"/>
              <a:gd name="connsiteX2048" fmla="*/ 3304271 w 5610835"/>
              <a:gd name="connsiteY2048" fmla="*/ 4150038 h 5278114"/>
              <a:gd name="connsiteX2049" fmla="*/ 3315407 w 5610835"/>
              <a:gd name="connsiteY2049" fmla="*/ 4135721 h 5278114"/>
              <a:gd name="connsiteX2050" fmla="*/ 3309044 w 5610835"/>
              <a:gd name="connsiteY2050" fmla="*/ 4129358 h 5278114"/>
              <a:gd name="connsiteX2051" fmla="*/ 1718310 w 5610835"/>
              <a:gd name="connsiteY2051" fmla="*/ 4115043 h 5278114"/>
              <a:gd name="connsiteX2052" fmla="*/ 1716720 w 5610835"/>
              <a:gd name="connsiteY2052" fmla="*/ 4116634 h 5278114"/>
              <a:gd name="connsiteX2053" fmla="*/ 1726265 w 5610835"/>
              <a:gd name="connsiteY2053" fmla="*/ 4122996 h 5278114"/>
              <a:gd name="connsiteX2054" fmla="*/ 1729446 w 5610835"/>
              <a:gd name="connsiteY2054" fmla="*/ 4119815 h 5278114"/>
              <a:gd name="connsiteX2055" fmla="*/ 1718310 w 5610835"/>
              <a:gd name="connsiteY2055" fmla="*/ 4115043 h 5278114"/>
              <a:gd name="connsiteX2056" fmla="*/ 1737399 w 5610835"/>
              <a:gd name="connsiteY2056" fmla="*/ 4094363 h 5278114"/>
              <a:gd name="connsiteX2057" fmla="*/ 1735809 w 5610835"/>
              <a:gd name="connsiteY2057" fmla="*/ 4095954 h 5278114"/>
              <a:gd name="connsiteX2058" fmla="*/ 1743762 w 5610835"/>
              <a:gd name="connsiteY2058" fmla="*/ 4099135 h 5278114"/>
              <a:gd name="connsiteX2059" fmla="*/ 1742171 w 5610835"/>
              <a:gd name="connsiteY2059" fmla="*/ 4097544 h 5278114"/>
              <a:gd name="connsiteX2060" fmla="*/ 1737399 w 5610835"/>
              <a:gd name="connsiteY2060" fmla="*/ 4094363 h 5278114"/>
              <a:gd name="connsiteX2061" fmla="*/ 1519470 w 5610835"/>
              <a:gd name="connsiteY2061" fmla="*/ 4083228 h 5278114"/>
              <a:gd name="connsiteX2062" fmla="*/ 1444704 w 5610835"/>
              <a:gd name="connsiteY2062" fmla="*/ 4129359 h 5278114"/>
              <a:gd name="connsiteX2063" fmla="*/ 1451067 w 5610835"/>
              <a:gd name="connsiteY2063" fmla="*/ 4146857 h 5278114"/>
              <a:gd name="connsiteX2064" fmla="*/ 1514698 w 5610835"/>
              <a:gd name="connsiteY2064" fmla="*/ 4108680 h 5278114"/>
              <a:gd name="connsiteX2065" fmla="*/ 1517878 w 5610835"/>
              <a:gd name="connsiteY2065" fmla="*/ 4099135 h 5278114"/>
              <a:gd name="connsiteX2066" fmla="*/ 1522651 w 5610835"/>
              <a:gd name="connsiteY2066" fmla="*/ 4102317 h 5278114"/>
              <a:gd name="connsiteX2067" fmla="*/ 1532194 w 5610835"/>
              <a:gd name="connsiteY2067" fmla="*/ 4094363 h 5278114"/>
              <a:gd name="connsiteX2068" fmla="*/ 1519470 w 5610835"/>
              <a:gd name="connsiteY2068" fmla="*/ 4086410 h 5278114"/>
              <a:gd name="connsiteX2069" fmla="*/ 1519470 w 5610835"/>
              <a:gd name="connsiteY2069" fmla="*/ 4083228 h 5278114"/>
              <a:gd name="connsiteX2070" fmla="*/ 1751717 w 5610835"/>
              <a:gd name="connsiteY2070" fmla="*/ 4076865 h 5278114"/>
              <a:gd name="connsiteX2071" fmla="*/ 1748534 w 5610835"/>
              <a:gd name="connsiteY2071" fmla="*/ 4080047 h 5278114"/>
              <a:gd name="connsiteX2072" fmla="*/ 1754898 w 5610835"/>
              <a:gd name="connsiteY2072" fmla="*/ 4081638 h 5278114"/>
              <a:gd name="connsiteX2073" fmla="*/ 1751717 w 5610835"/>
              <a:gd name="connsiteY2073" fmla="*/ 4076865 h 5278114"/>
              <a:gd name="connsiteX2074" fmla="*/ 3316998 w 5610835"/>
              <a:gd name="connsiteY2074" fmla="*/ 4075273 h 5278114"/>
              <a:gd name="connsiteX2075" fmla="*/ 3297909 w 5610835"/>
              <a:gd name="connsiteY2075" fmla="*/ 4108678 h 5278114"/>
              <a:gd name="connsiteX2076" fmla="*/ 3307453 w 5610835"/>
              <a:gd name="connsiteY2076" fmla="*/ 4121405 h 5278114"/>
              <a:gd name="connsiteX2077" fmla="*/ 3310635 w 5610835"/>
              <a:gd name="connsiteY2077" fmla="*/ 4116632 h 5278114"/>
              <a:gd name="connsiteX2078" fmla="*/ 3315407 w 5610835"/>
              <a:gd name="connsiteY2078" fmla="*/ 4084818 h 5278114"/>
              <a:gd name="connsiteX2079" fmla="*/ 3316998 w 5610835"/>
              <a:gd name="connsiteY2079" fmla="*/ 4075273 h 5278114"/>
              <a:gd name="connsiteX2080" fmla="*/ 1455839 w 5610835"/>
              <a:gd name="connsiteY2080" fmla="*/ 4070502 h 5278114"/>
              <a:gd name="connsiteX2081" fmla="*/ 1430388 w 5610835"/>
              <a:gd name="connsiteY2081" fmla="*/ 4075274 h 5278114"/>
              <a:gd name="connsiteX2082" fmla="*/ 1431979 w 5610835"/>
              <a:gd name="connsiteY2082" fmla="*/ 4083228 h 5278114"/>
              <a:gd name="connsiteX2083" fmla="*/ 1455839 w 5610835"/>
              <a:gd name="connsiteY2083" fmla="*/ 4070502 h 5278114"/>
              <a:gd name="connsiteX2084" fmla="*/ 1562418 w 5610835"/>
              <a:gd name="connsiteY2084" fmla="*/ 4048232 h 5278114"/>
              <a:gd name="connsiteX2085" fmla="*/ 1551285 w 5610835"/>
              <a:gd name="connsiteY2085" fmla="*/ 4057777 h 5278114"/>
              <a:gd name="connsiteX2086" fmla="*/ 1560828 w 5610835"/>
              <a:gd name="connsiteY2086" fmla="*/ 4067320 h 5278114"/>
              <a:gd name="connsiteX2087" fmla="*/ 1575145 w 5610835"/>
              <a:gd name="connsiteY2087" fmla="*/ 4051413 h 5278114"/>
              <a:gd name="connsiteX2088" fmla="*/ 1562418 w 5610835"/>
              <a:gd name="connsiteY2088" fmla="*/ 4048232 h 5278114"/>
              <a:gd name="connsiteX2089" fmla="*/ 1524241 w 5610835"/>
              <a:gd name="connsiteY2089" fmla="*/ 4048232 h 5278114"/>
              <a:gd name="connsiteX2090" fmla="*/ 1436751 w 5610835"/>
              <a:gd name="connsiteY2090" fmla="*/ 4102317 h 5278114"/>
              <a:gd name="connsiteX2091" fmla="*/ 1439932 w 5610835"/>
              <a:gd name="connsiteY2091" fmla="*/ 4116634 h 5278114"/>
              <a:gd name="connsiteX2092" fmla="*/ 1521060 w 5610835"/>
              <a:gd name="connsiteY2092" fmla="*/ 4070502 h 5278114"/>
              <a:gd name="connsiteX2093" fmla="*/ 1524241 w 5610835"/>
              <a:gd name="connsiteY2093" fmla="*/ 4048232 h 5278114"/>
              <a:gd name="connsiteX2094" fmla="*/ 1544921 w 5610835"/>
              <a:gd name="connsiteY2094" fmla="*/ 4032325 h 5278114"/>
              <a:gd name="connsiteX2095" fmla="*/ 1533785 w 5610835"/>
              <a:gd name="connsiteY2095" fmla="*/ 4040278 h 5278114"/>
              <a:gd name="connsiteX2096" fmla="*/ 1544921 w 5610835"/>
              <a:gd name="connsiteY2096" fmla="*/ 4053004 h 5278114"/>
              <a:gd name="connsiteX2097" fmla="*/ 1554465 w 5610835"/>
              <a:gd name="connsiteY2097" fmla="*/ 4045050 h 5278114"/>
              <a:gd name="connsiteX2098" fmla="*/ 1548102 w 5610835"/>
              <a:gd name="connsiteY2098" fmla="*/ 4041869 h 5278114"/>
              <a:gd name="connsiteX2099" fmla="*/ 1544921 w 5610835"/>
              <a:gd name="connsiteY2099" fmla="*/ 4032325 h 5278114"/>
              <a:gd name="connsiteX2100" fmla="*/ 1589461 w 5610835"/>
              <a:gd name="connsiteY2100" fmla="*/ 4024371 h 5278114"/>
              <a:gd name="connsiteX2101" fmla="*/ 1578326 w 5610835"/>
              <a:gd name="connsiteY2101" fmla="*/ 4033915 h 5278114"/>
              <a:gd name="connsiteX2102" fmla="*/ 1587871 w 5610835"/>
              <a:gd name="connsiteY2102" fmla="*/ 4037096 h 5278114"/>
              <a:gd name="connsiteX2103" fmla="*/ 1599005 w 5610835"/>
              <a:gd name="connsiteY2103" fmla="*/ 4024371 h 5278114"/>
              <a:gd name="connsiteX2104" fmla="*/ 1589461 w 5610835"/>
              <a:gd name="connsiteY2104" fmla="*/ 4024371 h 5278114"/>
              <a:gd name="connsiteX2105" fmla="*/ 1567191 w 5610835"/>
              <a:gd name="connsiteY2105" fmla="*/ 4013235 h 5278114"/>
              <a:gd name="connsiteX2106" fmla="*/ 1556056 w 5610835"/>
              <a:gd name="connsiteY2106" fmla="*/ 4022780 h 5278114"/>
              <a:gd name="connsiteX2107" fmla="*/ 1571963 w 5610835"/>
              <a:gd name="connsiteY2107" fmla="*/ 4029143 h 5278114"/>
              <a:gd name="connsiteX2108" fmla="*/ 1581509 w 5610835"/>
              <a:gd name="connsiteY2108" fmla="*/ 4021189 h 5278114"/>
              <a:gd name="connsiteX2109" fmla="*/ 1567191 w 5610835"/>
              <a:gd name="connsiteY2109" fmla="*/ 4013235 h 5278114"/>
              <a:gd name="connsiteX2110" fmla="*/ 1816936 w 5610835"/>
              <a:gd name="connsiteY2110" fmla="*/ 3997329 h 5278114"/>
              <a:gd name="connsiteX2111" fmla="*/ 1812164 w 5610835"/>
              <a:gd name="connsiteY2111" fmla="*/ 4003691 h 5278114"/>
              <a:gd name="connsiteX2112" fmla="*/ 1828071 w 5610835"/>
              <a:gd name="connsiteY2112" fmla="*/ 4011645 h 5278114"/>
              <a:gd name="connsiteX2113" fmla="*/ 1831252 w 5610835"/>
              <a:gd name="connsiteY2113" fmla="*/ 4008463 h 5278114"/>
              <a:gd name="connsiteX2114" fmla="*/ 1816936 w 5610835"/>
              <a:gd name="connsiteY2114" fmla="*/ 3997329 h 5278114"/>
              <a:gd name="connsiteX2115" fmla="*/ 2270294 w 5610835"/>
              <a:gd name="connsiteY2115" fmla="*/ 3981420 h 5278114"/>
              <a:gd name="connsiteX2116" fmla="*/ 2259160 w 5610835"/>
              <a:gd name="connsiteY2116" fmla="*/ 3983010 h 5278114"/>
              <a:gd name="connsiteX2117" fmla="*/ 2343469 w 5610835"/>
              <a:gd name="connsiteY2117" fmla="*/ 4304340 h 5278114"/>
              <a:gd name="connsiteX2118" fmla="*/ 2270294 w 5610835"/>
              <a:gd name="connsiteY2118" fmla="*/ 3981420 h 5278114"/>
              <a:gd name="connsiteX2119" fmla="*/ 1834434 w 5610835"/>
              <a:gd name="connsiteY2119" fmla="*/ 3976649 h 5278114"/>
              <a:gd name="connsiteX2120" fmla="*/ 1831252 w 5610835"/>
              <a:gd name="connsiteY2120" fmla="*/ 3979830 h 5278114"/>
              <a:gd name="connsiteX2121" fmla="*/ 1845569 w 5610835"/>
              <a:gd name="connsiteY2121" fmla="*/ 3989375 h 5278114"/>
              <a:gd name="connsiteX2122" fmla="*/ 1848751 w 5610835"/>
              <a:gd name="connsiteY2122" fmla="*/ 3984602 h 5278114"/>
              <a:gd name="connsiteX2123" fmla="*/ 1834434 w 5610835"/>
              <a:gd name="connsiteY2123" fmla="*/ 3976649 h 5278114"/>
              <a:gd name="connsiteX2124" fmla="*/ 2639345 w 5610835"/>
              <a:gd name="connsiteY2124" fmla="*/ 3971876 h 5278114"/>
              <a:gd name="connsiteX2125" fmla="*/ 2658435 w 5610835"/>
              <a:gd name="connsiteY2125" fmla="*/ 4000510 h 5278114"/>
              <a:gd name="connsiteX2126" fmla="*/ 2639345 w 5610835"/>
              <a:gd name="connsiteY2126" fmla="*/ 3971876 h 5278114"/>
              <a:gd name="connsiteX2127" fmla="*/ 1845569 w 5610835"/>
              <a:gd name="connsiteY2127" fmla="*/ 3963923 h 5278114"/>
              <a:gd name="connsiteX2128" fmla="*/ 1842388 w 5610835"/>
              <a:gd name="connsiteY2128" fmla="*/ 3967105 h 5278114"/>
              <a:gd name="connsiteX2129" fmla="*/ 1855114 w 5610835"/>
              <a:gd name="connsiteY2129" fmla="*/ 3963923 h 5278114"/>
              <a:gd name="connsiteX2130" fmla="*/ 1845569 w 5610835"/>
              <a:gd name="connsiteY2130" fmla="*/ 3963923 h 5278114"/>
              <a:gd name="connsiteX2131" fmla="*/ 1641956 w 5610835"/>
              <a:gd name="connsiteY2131" fmla="*/ 3946425 h 5278114"/>
              <a:gd name="connsiteX2132" fmla="*/ 1638774 w 5610835"/>
              <a:gd name="connsiteY2132" fmla="*/ 3951197 h 5278114"/>
              <a:gd name="connsiteX2133" fmla="*/ 1630820 w 5610835"/>
              <a:gd name="connsiteY2133" fmla="*/ 3957560 h 5278114"/>
              <a:gd name="connsiteX2134" fmla="*/ 1643546 w 5610835"/>
              <a:gd name="connsiteY2134" fmla="*/ 3959151 h 5278114"/>
              <a:gd name="connsiteX2135" fmla="*/ 1653090 w 5610835"/>
              <a:gd name="connsiteY2135" fmla="*/ 3949606 h 5278114"/>
              <a:gd name="connsiteX2136" fmla="*/ 1641956 w 5610835"/>
              <a:gd name="connsiteY2136" fmla="*/ 3946425 h 5278114"/>
              <a:gd name="connsiteX2137" fmla="*/ 1369940 w 5610835"/>
              <a:gd name="connsiteY2137" fmla="*/ 3909838 h 5278114"/>
              <a:gd name="connsiteX2138" fmla="*/ 1339716 w 5610835"/>
              <a:gd name="connsiteY2138" fmla="*/ 3916201 h 5278114"/>
              <a:gd name="connsiteX2139" fmla="*/ 1344488 w 5610835"/>
              <a:gd name="connsiteY2139" fmla="*/ 3932108 h 5278114"/>
              <a:gd name="connsiteX2140" fmla="*/ 1349261 w 5610835"/>
              <a:gd name="connsiteY2140" fmla="*/ 3930517 h 5278114"/>
              <a:gd name="connsiteX2141" fmla="*/ 1369940 w 5610835"/>
              <a:gd name="connsiteY2141" fmla="*/ 3909838 h 5278114"/>
              <a:gd name="connsiteX2142" fmla="*/ 3428349 w 5610835"/>
              <a:gd name="connsiteY2142" fmla="*/ 3905065 h 5278114"/>
              <a:gd name="connsiteX2143" fmla="*/ 3429940 w 5610835"/>
              <a:gd name="connsiteY2143" fmla="*/ 3922563 h 5278114"/>
              <a:gd name="connsiteX2144" fmla="*/ 3428349 w 5610835"/>
              <a:gd name="connsiteY2144" fmla="*/ 3905065 h 5278114"/>
              <a:gd name="connsiteX2145" fmla="*/ 1700813 w 5610835"/>
              <a:gd name="connsiteY2145" fmla="*/ 3895521 h 5278114"/>
              <a:gd name="connsiteX2146" fmla="*/ 1668998 w 5610835"/>
              <a:gd name="connsiteY2146" fmla="*/ 3908248 h 5278114"/>
              <a:gd name="connsiteX2147" fmla="*/ 1661044 w 5610835"/>
              <a:gd name="connsiteY2147" fmla="*/ 3919382 h 5278114"/>
              <a:gd name="connsiteX2148" fmla="*/ 1680134 w 5610835"/>
              <a:gd name="connsiteY2148" fmla="*/ 3919382 h 5278114"/>
              <a:gd name="connsiteX2149" fmla="*/ 1700813 w 5610835"/>
              <a:gd name="connsiteY2149" fmla="*/ 3895521 h 5278114"/>
              <a:gd name="connsiteX2150" fmla="*/ 1145647 w 5610835"/>
              <a:gd name="connsiteY2150" fmla="*/ 3884387 h 5278114"/>
              <a:gd name="connsiteX2151" fmla="*/ 1144056 w 5610835"/>
              <a:gd name="connsiteY2151" fmla="*/ 3900294 h 5278114"/>
              <a:gd name="connsiteX2152" fmla="*/ 1147237 w 5610835"/>
              <a:gd name="connsiteY2152" fmla="*/ 3909838 h 5278114"/>
              <a:gd name="connsiteX2153" fmla="*/ 1190187 w 5610835"/>
              <a:gd name="connsiteY2153" fmla="*/ 3928927 h 5278114"/>
              <a:gd name="connsiteX2154" fmla="*/ 1188596 w 5610835"/>
              <a:gd name="connsiteY2154" fmla="*/ 3900294 h 5278114"/>
              <a:gd name="connsiteX2155" fmla="*/ 1166326 w 5610835"/>
              <a:gd name="connsiteY2155" fmla="*/ 3892340 h 5278114"/>
              <a:gd name="connsiteX2156" fmla="*/ 1161554 w 5610835"/>
              <a:gd name="connsiteY2156" fmla="*/ 3901884 h 5278114"/>
              <a:gd name="connsiteX2157" fmla="*/ 1159963 w 5610835"/>
              <a:gd name="connsiteY2157" fmla="*/ 3890749 h 5278114"/>
              <a:gd name="connsiteX2158" fmla="*/ 1145647 w 5610835"/>
              <a:gd name="connsiteY2158" fmla="*/ 3884387 h 5278114"/>
              <a:gd name="connsiteX2159" fmla="*/ 3261918 w 5610835"/>
              <a:gd name="connsiteY2159" fmla="*/ 3880210 h 5278114"/>
              <a:gd name="connsiteX2160" fmla="*/ 3231098 w 5610835"/>
              <a:gd name="connsiteY2160" fmla="*/ 3882795 h 5278114"/>
              <a:gd name="connsiteX2161" fmla="*/ 3293137 w 5610835"/>
              <a:gd name="connsiteY2161" fmla="*/ 3900292 h 5278114"/>
              <a:gd name="connsiteX2162" fmla="*/ 3291546 w 5610835"/>
              <a:gd name="connsiteY2162" fmla="*/ 3890749 h 5278114"/>
              <a:gd name="connsiteX2163" fmla="*/ 3261918 w 5610835"/>
              <a:gd name="connsiteY2163" fmla="*/ 3880210 h 5278114"/>
              <a:gd name="connsiteX2164" fmla="*/ 1395392 w 5610835"/>
              <a:gd name="connsiteY2164" fmla="*/ 3879614 h 5278114"/>
              <a:gd name="connsiteX2165" fmla="*/ 1366758 w 5610835"/>
              <a:gd name="connsiteY2165" fmla="*/ 3881205 h 5278114"/>
              <a:gd name="connsiteX2166" fmla="*/ 1361986 w 5610835"/>
              <a:gd name="connsiteY2166" fmla="*/ 3890749 h 5278114"/>
              <a:gd name="connsiteX2167" fmla="*/ 1392210 w 5610835"/>
              <a:gd name="connsiteY2167" fmla="*/ 3884387 h 5278114"/>
              <a:gd name="connsiteX2168" fmla="*/ 1395392 w 5610835"/>
              <a:gd name="connsiteY2168" fmla="*/ 3879614 h 5278114"/>
              <a:gd name="connsiteX2169" fmla="*/ 1174280 w 5610835"/>
              <a:gd name="connsiteY2169" fmla="*/ 3871660 h 5278114"/>
              <a:gd name="connsiteX2170" fmla="*/ 1171099 w 5610835"/>
              <a:gd name="connsiteY2170" fmla="*/ 3878023 h 5278114"/>
              <a:gd name="connsiteX2171" fmla="*/ 1182233 w 5610835"/>
              <a:gd name="connsiteY2171" fmla="*/ 3884387 h 5278114"/>
              <a:gd name="connsiteX2172" fmla="*/ 1179052 w 5610835"/>
              <a:gd name="connsiteY2172" fmla="*/ 3873251 h 5278114"/>
              <a:gd name="connsiteX2173" fmla="*/ 1174280 w 5610835"/>
              <a:gd name="connsiteY2173" fmla="*/ 3871660 h 5278114"/>
              <a:gd name="connsiteX2174" fmla="*/ 1152009 w 5610835"/>
              <a:gd name="connsiteY2174" fmla="*/ 3858934 h 5278114"/>
              <a:gd name="connsiteX2175" fmla="*/ 1148828 w 5610835"/>
              <a:gd name="connsiteY2175" fmla="*/ 3863706 h 5278114"/>
              <a:gd name="connsiteX2176" fmla="*/ 1159963 w 5610835"/>
              <a:gd name="connsiteY2176" fmla="*/ 3871660 h 5278114"/>
              <a:gd name="connsiteX2177" fmla="*/ 1161554 w 5610835"/>
              <a:gd name="connsiteY2177" fmla="*/ 3865297 h 5278114"/>
              <a:gd name="connsiteX2178" fmla="*/ 1152009 w 5610835"/>
              <a:gd name="connsiteY2178" fmla="*/ 3858934 h 5278114"/>
              <a:gd name="connsiteX2179" fmla="*/ 1109060 w 5610835"/>
              <a:gd name="connsiteY2179" fmla="*/ 3857344 h 5278114"/>
              <a:gd name="connsiteX2180" fmla="*/ 1096333 w 5610835"/>
              <a:gd name="connsiteY2180" fmla="*/ 3871660 h 5278114"/>
              <a:gd name="connsiteX2181" fmla="*/ 1121785 w 5610835"/>
              <a:gd name="connsiteY2181" fmla="*/ 3892340 h 5278114"/>
              <a:gd name="connsiteX2182" fmla="*/ 1131330 w 5610835"/>
              <a:gd name="connsiteY2182" fmla="*/ 3876433 h 5278114"/>
              <a:gd name="connsiteX2183" fmla="*/ 1107469 w 5610835"/>
              <a:gd name="connsiteY2183" fmla="*/ 3863706 h 5278114"/>
              <a:gd name="connsiteX2184" fmla="*/ 1109060 w 5610835"/>
              <a:gd name="connsiteY2184" fmla="*/ 3857344 h 5278114"/>
              <a:gd name="connsiteX2185" fmla="*/ 1363577 w 5610835"/>
              <a:gd name="connsiteY2185" fmla="*/ 3849391 h 5278114"/>
              <a:gd name="connsiteX2186" fmla="*/ 1319037 w 5610835"/>
              <a:gd name="connsiteY2186" fmla="*/ 3855753 h 5278114"/>
              <a:gd name="connsiteX2187" fmla="*/ 1358804 w 5610835"/>
              <a:gd name="connsiteY2187" fmla="*/ 3865297 h 5278114"/>
              <a:gd name="connsiteX2188" fmla="*/ 1379485 w 5610835"/>
              <a:gd name="connsiteY2188" fmla="*/ 3860525 h 5278114"/>
              <a:gd name="connsiteX2189" fmla="*/ 1361986 w 5610835"/>
              <a:gd name="connsiteY2189" fmla="*/ 3854163 h 5278114"/>
              <a:gd name="connsiteX2190" fmla="*/ 1363577 w 5610835"/>
              <a:gd name="connsiteY2190" fmla="*/ 3849391 h 5278114"/>
              <a:gd name="connsiteX2191" fmla="*/ 1129739 w 5610835"/>
              <a:gd name="connsiteY2191" fmla="*/ 3841437 h 5278114"/>
              <a:gd name="connsiteX2192" fmla="*/ 1144056 w 5610835"/>
              <a:gd name="connsiteY2192" fmla="*/ 3858934 h 5278114"/>
              <a:gd name="connsiteX2193" fmla="*/ 1145647 w 5610835"/>
              <a:gd name="connsiteY2193" fmla="*/ 3855753 h 5278114"/>
              <a:gd name="connsiteX2194" fmla="*/ 1129739 w 5610835"/>
              <a:gd name="connsiteY2194" fmla="*/ 3841437 h 5278114"/>
              <a:gd name="connsiteX2195" fmla="*/ 1419252 w 5610835"/>
              <a:gd name="connsiteY2195" fmla="*/ 3835073 h 5278114"/>
              <a:gd name="connsiteX2196" fmla="*/ 1385848 w 5610835"/>
              <a:gd name="connsiteY2196" fmla="*/ 3844618 h 5278114"/>
              <a:gd name="connsiteX2197" fmla="*/ 1382666 w 5610835"/>
              <a:gd name="connsiteY2197" fmla="*/ 3860525 h 5278114"/>
              <a:gd name="connsiteX2198" fmla="*/ 1411300 w 5610835"/>
              <a:gd name="connsiteY2198" fmla="*/ 3852572 h 5278114"/>
              <a:gd name="connsiteX2199" fmla="*/ 1419252 w 5610835"/>
              <a:gd name="connsiteY2199" fmla="*/ 3835073 h 5278114"/>
              <a:gd name="connsiteX2200" fmla="*/ 1764442 w 5610835"/>
              <a:gd name="connsiteY2200" fmla="*/ 3828710 h 5278114"/>
              <a:gd name="connsiteX2201" fmla="*/ 1742171 w 5610835"/>
              <a:gd name="connsiteY2201" fmla="*/ 3830301 h 5278114"/>
              <a:gd name="connsiteX2202" fmla="*/ 1737399 w 5610835"/>
              <a:gd name="connsiteY2202" fmla="*/ 3835073 h 5278114"/>
              <a:gd name="connsiteX2203" fmla="*/ 1756489 w 5610835"/>
              <a:gd name="connsiteY2203" fmla="*/ 3836664 h 5278114"/>
              <a:gd name="connsiteX2204" fmla="*/ 1764442 w 5610835"/>
              <a:gd name="connsiteY2204" fmla="*/ 3828710 h 5278114"/>
              <a:gd name="connsiteX2205" fmla="*/ 2924086 w 5610835"/>
              <a:gd name="connsiteY2205" fmla="*/ 3825528 h 5278114"/>
              <a:gd name="connsiteX2206" fmla="*/ 3253368 w 5610835"/>
              <a:gd name="connsiteY2206" fmla="*/ 3913019 h 5278114"/>
              <a:gd name="connsiteX2207" fmla="*/ 2924086 w 5610835"/>
              <a:gd name="connsiteY2207" fmla="*/ 3825528 h 5278114"/>
              <a:gd name="connsiteX2208" fmla="*/ 2811144 w 5610835"/>
              <a:gd name="connsiteY2208" fmla="*/ 3825528 h 5278114"/>
              <a:gd name="connsiteX2209" fmla="*/ 2809554 w 5610835"/>
              <a:gd name="connsiteY2209" fmla="*/ 3831891 h 5278114"/>
              <a:gd name="connsiteX2210" fmla="*/ 3138836 w 5610835"/>
              <a:gd name="connsiteY2210" fmla="*/ 3979830 h 5278114"/>
              <a:gd name="connsiteX2211" fmla="*/ 3285183 w 5610835"/>
              <a:gd name="connsiteY2211" fmla="*/ 3981420 h 5278114"/>
              <a:gd name="connsiteX2212" fmla="*/ 3142017 w 5610835"/>
              <a:gd name="connsiteY2212" fmla="*/ 3967103 h 5278114"/>
              <a:gd name="connsiteX2213" fmla="*/ 2811144 w 5610835"/>
              <a:gd name="connsiteY2213" fmla="*/ 3825528 h 5278114"/>
              <a:gd name="connsiteX2214" fmla="*/ 3425665 w 5610835"/>
              <a:gd name="connsiteY2214" fmla="*/ 3792769 h 5278114"/>
              <a:gd name="connsiteX2215" fmla="*/ 3421986 w 5610835"/>
              <a:gd name="connsiteY2215" fmla="*/ 3795304 h 5278114"/>
              <a:gd name="connsiteX2216" fmla="*/ 3418804 w 5610835"/>
              <a:gd name="connsiteY2216" fmla="*/ 3819165 h 5278114"/>
              <a:gd name="connsiteX2217" fmla="*/ 3441075 w 5610835"/>
              <a:gd name="connsiteY2217" fmla="*/ 3822347 h 5278114"/>
              <a:gd name="connsiteX2218" fmla="*/ 3428349 w 5610835"/>
              <a:gd name="connsiteY2218" fmla="*/ 3804848 h 5278114"/>
              <a:gd name="connsiteX2219" fmla="*/ 3425665 w 5610835"/>
              <a:gd name="connsiteY2219" fmla="*/ 3792769 h 5278114"/>
              <a:gd name="connsiteX2220" fmla="*/ 1140875 w 5610835"/>
              <a:gd name="connsiteY2220" fmla="*/ 3785761 h 5278114"/>
              <a:gd name="connsiteX2221" fmla="*/ 1132921 w 5610835"/>
              <a:gd name="connsiteY2221" fmla="*/ 3815985 h 5278114"/>
              <a:gd name="connsiteX2222" fmla="*/ 1150418 w 5610835"/>
              <a:gd name="connsiteY2222" fmla="*/ 3806440 h 5278114"/>
              <a:gd name="connsiteX2223" fmla="*/ 1140875 w 5610835"/>
              <a:gd name="connsiteY2223" fmla="*/ 3785761 h 5278114"/>
              <a:gd name="connsiteX2224" fmla="*/ 1804210 w 5610835"/>
              <a:gd name="connsiteY2224" fmla="*/ 3784170 h 5278114"/>
              <a:gd name="connsiteX2225" fmla="*/ 1785122 w 5610835"/>
              <a:gd name="connsiteY2225" fmla="*/ 3787352 h 5278114"/>
              <a:gd name="connsiteX2226" fmla="*/ 1764442 w 5610835"/>
              <a:gd name="connsiteY2226" fmla="*/ 3808031 h 5278114"/>
              <a:gd name="connsiteX2227" fmla="*/ 1785122 w 5610835"/>
              <a:gd name="connsiteY2227" fmla="*/ 3808031 h 5278114"/>
              <a:gd name="connsiteX2228" fmla="*/ 1789894 w 5610835"/>
              <a:gd name="connsiteY2228" fmla="*/ 3803258 h 5278114"/>
              <a:gd name="connsiteX2229" fmla="*/ 1783532 w 5610835"/>
              <a:gd name="connsiteY2229" fmla="*/ 3800077 h 5278114"/>
              <a:gd name="connsiteX2230" fmla="*/ 1804210 w 5610835"/>
              <a:gd name="connsiteY2230" fmla="*/ 3784170 h 5278114"/>
              <a:gd name="connsiteX2231" fmla="*/ 1557647 w 5610835"/>
              <a:gd name="connsiteY2231" fmla="*/ 3776216 h 5278114"/>
              <a:gd name="connsiteX2232" fmla="*/ 1471747 w 5610835"/>
              <a:gd name="connsiteY2232" fmla="*/ 3815985 h 5278114"/>
              <a:gd name="connsiteX2233" fmla="*/ 1471747 w 5610835"/>
              <a:gd name="connsiteY2233" fmla="*/ 3822348 h 5278114"/>
              <a:gd name="connsiteX2234" fmla="*/ 1471747 w 5610835"/>
              <a:gd name="connsiteY2234" fmla="*/ 3827120 h 5278114"/>
              <a:gd name="connsiteX2235" fmla="*/ 1557647 w 5610835"/>
              <a:gd name="connsiteY2235" fmla="*/ 3776216 h 5278114"/>
              <a:gd name="connsiteX2236" fmla="*/ 1839206 w 5610835"/>
              <a:gd name="connsiteY2236" fmla="*/ 3753946 h 5278114"/>
              <a:gd name="connsiteX2237" fmla="*/ 1820118 w 5610835"/>
              <a:gd name="connsiteY2237" fmla="*/ 3761900 h 5278114"/>
              <a:gd name="connsiteX2238" fmla="*/ 1812164 w 5610835"/>
              <a:gd name="connsiteY2238" fmla="*/ 3760309 h 5278114"/>
              <a:gd name="connsiteX2239" fmla="*/ 1805801 w 5610835"/>
              <a:gd name="connsiteY2239" fmla="*/ 3768263 h 5278114"/>
              <a:gd name="connsiteX2240" fmla="*/ 1823299 w 5610835"/>
              <a:gd name="connsiteY2240" fmla="*/ 3769853 h 5278114"/>
              <a:gd name="connsiteX2241" fmla="*/ 1839206 w 5610835"/>
              <a:gd name="connsiteY2241" fmla="*/ 3753946 h 5278114"/>
              <a:gd name="connsiteX2242" fmla="*/ 2527994 w 5610835"/>
              <a:gd name="connsiteY2242" fmla="*/ 3747583 h 5278114"/>
              <a:gd name="connsiteX2243" fmla="*/ 2534356 w 5610835"/>
              <a:gd name="connsiteY2243" fmla="*/ 3784170 h 5278114"/>
              <a:gd name="connsiteX2244" fmla="*/ 2527994 w 5610835"/>
              <a:gd name="connsiteY2244" fmla="*/ 3747583 h 5278114"/>
              <a:gd name="connsiteX2245" fmla="*/ 2615485 w 5610835"/>
              <a:gd name="connsiteY2245" fmla="*/ 3738038 h 5278114"/>
              <a:gd name="connsiteX2246" fmla="*/ 3259732 w 5610835"/>
              <a:gd name="connsiteY2246" fmla="*/ 4029142 h 5278114"/>
              <a:gd name="connsiteX2247" fmla="*/ 3025894 w 5610835"/>
              <a:gd name="connsiteY2247" fmla="*/ 3990964 h 5278114"/>
              <a:gd name="connsiteX2248" fmla="*/ 2669569 w 5610835"/>
              <a:gd name="connsiteY2248" fmla="*/ 3782578 h 5278114"/>
              <a:gd name="connsiteX2249" fmla="*/ 2621847 w 5610835"/>
              <a:gd name="connsiteY2249" fmla="*/ 3739629 h 5278114"/>
              <a:gd name="connsiteX2250" fmla="*/ 2615485 w 5610835"/>
              <a:gd name="connsiteY2250" fmla="*/ 3738038 h 5278114"/>
              <a:gd name="connsiteX2251" fmla="*/ 2271885 w 5610835"/>
              <a:gd name="connsiteY2251" fmla="*/ 3728493 h 5278114"/>
              <a:gd name="connsiteX2252" fmla="*/ 2263932 w 5610835"/>
              <a:gd name="connsiteY2252" fmla="*/ 3730084 h 5278114"/>
              <a:gd name="connsiteX2253" fmla="*/ 2430959 w 5610835"/>
              <a:gd name="connsiteY2253" fmla="*/ 4340926 h 5278114"/>
              <a:gd name="connsiteX2254" fmla="*/ 2271885 w 5610835"/>
              <a:gd name="connsiteY2254" fmla="*/ 3728493 h 5278114"/>
              <a:gd name="connsiteX2255" fmla="*/ 1872612 w 5610835"/>
              <a:gd name="connsiteY2255" fmla="*/ 3712587 h 5278114"/>
              <a:gd name="connsiteX2256" fmla="*/ 1851933 w 5610835"/>
              <a:gd name="connsiteY2256" fmla="*/ 3715768 h 5278114"/>
              <a:gd name="connsiteX2257" fmla="*/ 1845569 w 5610835"/>
              <a:gd name="connsiteY2257" fmla="*/ 3723722 h 5278114"/>
              <a:gd name="connsiteX2258" fmla="*/ 1864658 w 5610835"/>
              <a:gd name="connsiteY2258" fmla="*/ 3725313 h 5278114"/>
              <a:gd name="connsiteX2259" fmla="*/ 1872612 w 5610835"/>
              <a:gd name="connsiteY2259" fmla="*/ 3712587 h 5278114"/>
              <a:gd name="connsiteX2260" fmla="*/ 1104287 w 5610835"/>
              <a:gd name="connsiteY2260" fmla="*/ 3712587 h 5278114"/>
              <a:gd name="connsiteX2261" fmla="*/ 1124967 w 5610835"/>
              <a:gd name="connsiteY2261" fmla="*/ 3757128 h 5278114"/>
              <a:gd name="connsiteX2262" fmla="*/ 1120194 w 5610835"/>
              <a:gd name="connsiteY2262" fmla="*/ 3744401 h 5278114"/>
              <a:gd name="connsiteX2263" fmla="*/ 1104287 w 5610835"/>
              <a:gd name="connsiteY2263" fmla="*/ 3712587 h 5278114"/>
              <a:gd name="connsiteX2264" fmla="*/ 3269276 w 5610835"/>
              <a:gd name="connsiteY2264" fmla="*/ 3701451 h 5278114"/>
              <a:gd name="connsiteX2265" fmla="*/ 2967037 w 5610835"/>
              <a:gd name="connsiteY2265" fmla="*/ 3757127 h 5278114"/>
              <a:gd name="connsiteX2266" fmla="*/ 3270866 w 5610835"/>
              <a:gd name="connsiteY2266" fmla="*/ 3717358 h 5278114"/>
              <a:gd name="connsiteX2267" fmla="*/ 1721493 w 5610835"/>
              <a:gd name="connsiteY2267" fmla="*/ 3676000 h 5278114"/>
              <a:gd name="connsiteX2268" fmla="*/ 1667407 w 5610835"/>
              <a:gd name="connsiteY2268" fmla="*/ 3712587 h 5278114"/>
              <a:gd name="connsiteX2269" fmla="*/ 1649909 w 5610835"/>
              <a:gd name="connsiteY2269" fmla="*/ 3730085 h 5278114"/>
              <a:gd name="connsiteX2270" fmla="*/ 1654681 w 5610835"/>
              <a:gd name="connsiteY2270" fmla="*/ 3730085 h 5278114"/>
              <a:gd name="connsiteX2271" fmla="*/ 1584689 w 5610835"/>
              <a:gd name="connsiteY2271" fmla="*/ 3803258 h 5278114"/>
              <a:gd name="connsiteX2272" fmla="*/ 1632411 w 5610835"/>
              <a:gd name="connsiteY2272" fmla="*/ 3745992 h 5278114"/>
              <a:gd name="connsiteX2273" fmla="*/ 1575145 w 5610835"/>
              <a:gd name="connsiteY2273" fmla="*/ 3796896 h 5278114"/>
              <a:gd name="connsiteX2274" fmla="*/ 1573554 w 5610835"/>
              <a:gd name="connsiteY2274" fmla="*/ 3804849 h 5278114"/>
              <a:gd name="connsiteX2275" fmla="*/ 1565600 w 5610835"/>
              <a:gd name="connsiteY2275" fmla="*/ 3819166 h 5278114"/>
              <a:gd name="connsiteX2276" fmla="*/ 1564009 w 5610835"/>
              <a:gd name="connsiteY2276" fmla="*/ 3804849 h 5278114"/>
              <a:gd name="connsiteX2277" fmla="*/ 1400164 w 5610835"/>
              <a:gd name="connsiteY2277" fmla="*/ 3900294 h 5278114"/>
              <a:gd name="connsiteX2278" fmla="*/ 1350851 w 5610835"/>
              <a:gd name="connsiteY2278" fmla="*/ 3930517 h 5278114"/>
              <a:gd name="connsiteX2279" fmla="*/ 1654681 w 5610835"/>
              <a:gd name="connsiteY2279" fmla="*/ 3752355 h 5278114"/>
              <a:gd name="connsiteX2280" fmla="*/ 1676952 w 5610835"/>
              <a:gd name="connsiteY2280" fmla="*/ 3726904 h 5278114"/>
              <a:gd name="connsiteX2281" fmla="*/ 1702404 w 5610835"/>
              <a:gd name="connsiteY2281" fmla="*/ 3696680 h 5278114"/>
              <a:gd name="connsiteX2282" fmla="*/ 1721493 w 5610835"/>
              <a:gd name="connsiteY2282" fmla="*/ 3676000 h 5278114"/>
              <a:gd name="connsiteX2283" fmla="*/ 1885337 w 5610835"/>
              <a:gd name="connsiteY2283" fmla="*/ 3669637 h 5278114"/>
              <a:gd name="connsiteX2284" fmla="*/ 1880566 w 5610835"/>
              <a:gd name="connsiteY2284" fmla="*/ 3677591 h 5278114"/>
              <a:gd name="connsiteX2285" fmla="*/ 1885337 w 5610835"/>
              <a:gd name="connsiteY2285" fmla="*/ 3685544 h 5278114"/>
              <a:gd name="connsiteX2286" fmla="*/ 1871021 w 5610835"/>
              <a:gd name="connsiteY2286" fmla="*/ 3690317 h 5278114"/>
              <a:gd name="connsiteX2287" fmla="*/ 1866249 w 5610835"/>
              <a:gd name="connsiteY2287" fmla="*/ 3696680 h 5278114"/>
              <a:gd name="connsiteX2288" fmla="*/ 1886928 w 5610835"/>
              <a:gd name="connsiteY2288" fmla="*/ 3691907 h 5278114"/>
              <a:gd name="connsiteX2289" fmla="*/ 1894882 w 5610835"/>
              <a:gd name="connsiteY2289" fmla="*/ 3683953 h 5278114"/>
              <a:gd name="connsiteX2290" fmla="*/ 1885337 w 5610835"/>
              <a:gd name="connsiteY2290" fmla="*/ 3669637 h 5278114"/>
              <a:gd name="connsiteX2291" fmla="*/ 1129739 w 5610835"/>
              <a:gd name="connsiteY2291" fmla="*/ 3653730 h 5278114"/>
              <a:gd name="connsiteX2292" fmla="*/ 1126557 w 5610835"/>
              <a:gd name="connsiteY2292" fmla="*/ 3661683 h 5278114"/>
              <a:gd name="connsiteX2293" fmla="*/ 1132921 w 5610835"/>
              <a:gd name="connsiteY2293" fmla="*/ 3666456 h 5278114"/>
              <a:gd name="connsiteX2294" fmla="*/ 1129739 w 5610835"/>
              <a:gd name="connsiteY2294" fmla="*/ 3653730 h 5278114"/>
              <a:gd name="connsiteX2295" fmla="*/ 3138165 w 5610835"/>
              <a:gd name="connsiteY2295" fmla="*/ 3623953 h 5278114"/>
              <a:gd name="connsiteX2296" fmla="*/ 2866820 w 5610835"/>
              <a:gd name="connsiteY2296" fmla="*/ 3637821 h 5278114"/>
              <a:gd name="connsiteX2297" fmla="*/ 3227917 w 5610835"/>
              <a:gd name="connsiteY2297" fmla="*/ 3647366 h 5278114"/>
              <a:gd name="connsiteX2298" fmla="*/ 3138165 w 5610835"/>
              <a:gd name="connsiteY2298" fmla="*/ 3623953 h 5278114"/>
              <a:gd name="connsiteX2299" fmla="*/ 1096333 w 5610835"/>
              <a:gd name="connsiteY2299" fmla="*/ 3623505 h 5278114"/>
              <a:gd name="connsiteX2300" fmla="*/ 1110651 w 5610835"/>
              <a:gd name="connsiteY2300" fmla="*/ 3642595 h 5278114"/>
              <a:gd name="connsiteX2301" fmla="*/ 1115423 w 5610835"/>
              <a:gd name="connsiteY2301" fmla="*/ 3626687 h 5278114"/>
              <a:gd name="connsiteX2302" fmla="*/ 1096333 w 5610835"/>
              <a:gd name="connsiteY2302" fmla="*/ 3623505 h 5278114"/>
              <a:gd name="connsiteX2303" fmla="*/ 2410280 w 5610835"/>
              <a:gd name="connsiteY2303" fmla="*/ 3607597 h 5278114"/>
              <a:gd name="connsiteX2304" fmla="*/ 2492998 w 5610835"/>
              <a:gd name="connsiteY2304" fmla="*/ 4127768 h 5278114"/>
              <a:gd name="connsiteX2305" fmla="*/ 2739561 w 5610835"/>
              <a:gd name="connsiteY2305" fmla="*/ 4460231 h 5278114"/>
              <a:gd name="connsiteX2306" fmla="*/ 2558218 w 5610835"/>
              <a:gd name="connsiteY2306" fmla="*/ 4237528 h 5278114"/>
              <a:gd name="connsiteX2307" fmla="*/ 2461183 w 5610835"/>
              <a:gd name="connsiteY2307" fmla="*/ 3828710 h 5278114"/>
              <a:gd name="connsiteX2308" fmla="*/ 2410280 w 5610835"/>
              <a:gd name="connsiteY2308" fmla="*/ 3607597 h 5278114"/>
              <a:gd name="connsiteX2309" fmla="*/ 1807392 w 5610835"/>
              <a:gd name="connsiteY2309" fmla="*/ 3602826 h 5278114"/>
              <a:gd name="connsiteX2310" fmla="*/ 1762852 w 5610835"/>
              <a:gd name="connsiteY2310" fmla="*/ 3606008 h 5278114"/>
              <a:gd name="connsiteX2311" fmla="*/ 1753307 w 5610835"/>
              <a:gd name="connsiteY2311" fmla="*/ 3617143 h 5278114"/>
              <a:gd name="connsiteX2312" fmla="*/ 1770804 w 5610835"/>
              <a:gd name="connsiteY2312" fmla="*/ 3629869 h 5278114"/>
              <a:gd name="connsiteX2313" fmla="*/ 1807392 w 5610835"/>
              <a:gd name="connsiteY2313" fmla="*/ 3602826 h 5278114"/>
              <a:gd name="connsiteX2314" fmla="*/ 1926697 w 5610835"/>
              <a:gd name="connsiteY2314" fmla="*/ 3601236 h 5278114"/>
              <a:gd name="connsiteX2315" fmla="*/ 1915561 w 5610835"/>
              <a:gd name="connsiteY2315" fmla="*/ 3602826 h 5278114"/>
              <a:gd name="connsiteX2316" fmla="*/ 1893291 w 5610835"/>
              <a:gd name="connsiteY2316" fmla="*/ 3650548 h 5278114"/>
              <a:gd name="connsiteX2317" fmla="*/ 1906017 w 5610835"/>
              <a:gd name="connsiteY2317" fmla="*/ 3656911 h 5278114"/>
              <a:gd name="connsiteX2318" fmla="*/ 1926697 w 5610835"/>
              <a:gd name="connsiteY2318" fmla="*/ 3601236 h 5278114"/>
              <a:gd name="connsiteX2319" fmla="*/ 1126557 w 5610835"/>
              <a:gd name="connsiteY2319" fmla="*/ 3601236 h 5278114"/>
              <a:gd name="connsiteX2320" fmla="*/ 1120194 w 5610835"/>
              <a:gd name="connsiteY2320" fmla="*/ 3604417 h 5278114"/>
              <a:gd name="connsiteX2321" fmla="*/ 1121785 w 5610835"/>
              <a:gd name="connsiteY2321" fmla="*/ 3606008 h 5278114"/>
              <a:gd name="connsiteX2322" fmla="*/ 1124967 w 5610835"/>
              <a:gd name="connsiteY2322" fmla="*/ 3604417 h 5278114"/>
              <a:gd name="connsiteX2323" fmla="*/ 1126557 w 5610835"/>
              <a:gd name="connsiteY2323" fmla="*/ 3601236 h 5278114"/>
              <a:gd name="connsiteX2324" fmla="*/ 1560828 w 5610835"/>
              <a:gd name="connsiteY2324" fmla="*/ 3599645 h 5278114"/>
              <a:gd name="connsiteX2325" fmla="*/ 1234728 w 5610835"/>
              <a:gd name="connsiteY2325" fmla="*/ 3607599 h 5278114"/>
              <a:gd name="connsiteX2326" fmla="*/ 1242681 w 5610835"/>
              <a:gd name="connsiteY2326" fmla="*/ 3620325 h 5278114"/>
              <a:gd name="connsiteX2327" fmla="*/ 1560828 w 5610835"/>
              <a:gd name="connsiteY2327" fmla="*/ 3599645 h 5278114"/>
              <a:gd name="connsiteX2328" fmla="*/ 2817508 w 5610835"/>
              <a:gd name="connsiteY2328" fmla="*/ 3585327 h 5278114"/>
              <a:gd name="connsiteX2329" fmla="*/ 3221554 w 5610835"/>
              <a:gd name="connsiteY2329" fmla="*/ 3621915 h 5278114"/>
              <a:gd name="connsiteX2330" fmla="*/ 2817508 w 5610835"/>
              <a:gd name="connsiteY2330" fmla="*/ 3585327 h 5278114"/>
              <a:gd name="connsiteX2331" fmla="*/ 2709337 w 5610835"/>
              <a:gd name="connsiteY2331" fmla="*/ 3585327 h 5278114"/>
              <a:gd name="connsiteX2332" fmla="*/ 2933631 w 5610835"/>
              <a:gd name="connsiteY2332" fmla="*/ 3731675 h 5278114"/>
              <a:gd name="connsiteX2333" fmla="*/ 2709337 w 5610835"/>
              <a:gd name="connsiteY2333" fmla="*/ 3585327 h 5278114"/>
              <a:gd name="connsiteX2334" fmla="*/ 1175870 w 5610835"/>
              <a:gd name="connsiteY2334" fmla="*/ 3582147 h 5278114"/>
              <a:gd name="connsiteX2335" fmla="*/ 1166326 w 5610835"/>
              <a:gd name="connsiteY2335" fmla="*/ 3583738 h 5278114"/>
              <a:gd name="connsiteX2336" fmla="*/ 1167917 w 5610835"/>
              <a:gd name="connsiteY2336" fmla="*/ 3591691 h 5278114"/>
              <a:gd name="connsiteX2337" fmla="*/ 1171099 w 5610835"/>
              <a:gd name="connsiteY2337" fmla="*/ 3591691 h 5278114"/>
              <a:gd name="connsiteX2338" fmla="*/ 1177461 w 5610835"/>
              <a:gd name="connsiteY2338" fmla="*/ 3590101 h 5278114"/>
              <a:gd name="connsiteX2339" fmla="*/ 1175870 w 5610835"/>
              <a:gd name="connsiteY2339" fmla="*/ 3582147 h 5278114"/>
              <a:gd name="connsiteX2340" fmla="*/ 1250635 w 5610835"/>
              <a:gd name="connsiteY2340" fmla="*/ 3580556 h 5278114"/>
              <a:gd name="connsiteX2341" fmla="*/ 1242681 w 5610835"/>
              <a:gd name="connsiteY2341" fmla="*/ 3591691 h 5278114"/>
              <a:gd name="connsiteX2342" fmla="*/ 1463793 w 5610835"/>
              <a:gd name="connsiteY2342" fmla="*/ 3588510 h 5278114"/>
              <a:gd name="connsiteX2343" fmla="*/ 1250635 w 5610835"/>
              <a:gd name="connsiteY2343" fmla="*/ 3580556 h 5278114"/>
              <a:gd name="connsiteX2344" fmla="*/ 1212457 w 5610835"/>
              <a:gd name="connsiteY2344" fmla="*/ 3580556 h 5278114"/>
              <a:gd name="connsiteX2345" fmla="*/ 1190187 w 5610835"/>
              <a:gd name="connsiteY2345" fmla="*/ 3582147 h 5278114"/>
              <a:gd name="connsiteX2346" fmla="*/ 1190187 w 5610835"/>
              <a:gd name="connsiteY2346" fmla="*/ 3590101 h 5278114"/>
              <a:gd name="connsiteX2347" fmla="*/ 1209275 w 5610835"/>
              <a:gd name="connsiteY2347" fmla="*/ 3590101 h 5278114"/>
              <a:gd name="connsiteX2348" fmla="*/ 1212457 w 5610835"/>
              <a:gd name="connsiteY2348" fmla="*/ 3580556 h 5278114"/>
              <a:gd name="connsiteX2349" fmla="*/ 3081768 w 5610835"/>
              <a:gd name="connsiteY2349" fmla="*/ 3568227 h 5278114"/>
              <a:gd name="connsiteX2350" fmla="*/ 2924086 w 5610835"/>
              <a:gd name="connsiteY2350" fmla="*/ 3590100 h 5278114"/>
              <a:gd name="connsiteX2351" fmla="*/ 3256550 w 5610835"/>
              <a:gd name="connsiteY2351" fmla="*/ 3586918 h 5278114"/>
              <a:gd name="connsiteX2352" fmla="*/ 3254959 w 5610835"/>
              <a:gd name="connsiteY2352" fmla="*/ 3577373 h 5278114"/>
              <a:gd name="connsiteX2353" fmla="*/ 3081768 w 5610835"/>
              <a:gd name="connsiteY2353" fmla="*/ 3568227 h 5278114"/>
              <a:gd name="connsiteX2354" fmla="*/ 1166326 w 5610835"/>
              <a:gd name="connsiteY2354" fmla="*/ 3566239 h 5278114"/>
              <a:gd name="connsiteX2355" fmla="*/ 1166326 w 5610835"/>
              <a:gd name="connsiteY2355" fmla="*/ 3569421 h 5278114"/>
              <a:gd name="connsiteX2356" fmla="*/ 1169508 w 5610835"/>
              <a:gd name="connsiteY2356" fmla="*/ 3569421 h 5278114"/>
              <a:gd name="connsiteX2357" fmla="*/ 1166326 w 5610835"/>
              <a:gd name="connsiteY2357" fmla="*/ 3566239 h 5278114"/>
              <a:gd name="connsiteX2358" fmla="*/ 1145647 w 5610835"/>
              <a:gd name="connsiteY2358" fmla="*/ 3563058 h 5278114"/>
              <a:gd name="connsiteX2359" fmla="*/ 1097924 w 5610835"/>
              <a:gd name="connsiteY2359" fmla="*/ 3594872 h 5278114"/>
              <a:gd name="connsiteX2360" fmla="*/ 1096333 w 5610835"/>
              <a:gd name="connsiteY2360" fmla="*/ 3596463 h 5278114"/>
              <a:gd name="connsiteX2361" fmla="*/ 1136102 w 5610835"/>
              <a:gd name="connsiteY2361" fmla="*/ 3578966 h 5278114"/>
              <a:gd name="connsiteX2362" fmla="*/ 1145647 w 5610835"/>
              <a:gd name="connsiteY2362" fmla="*/ 3563058 h 5278114"/>
              <a:gd name="connsiteX2363" fmla="*/ 1979192 w 5610835"/>
              <a:gd name="connsiteY2363" fmla="*/ 3561467 h 5278114"/>
              <a:gd name="connsiteX2364" fmla="*/ 1971237 w 5610835"/>
              <a:gd name="connsiteY2364" fmla="*/ 3563058 h 5278114"/>
              <a:gd name="connsiteX2365" fmla="*/ 1952148 w 5610835"/>
              <a:gd name="connsiteY2365" fmla="*/ 4191398 h 5278114"/>
              <a:gd name="connsiteX2366" fmla="*/ 1804210 w 5610835"/>
              <a:gd name="connsiteY2366" fmla="*/ 4353653 h 5278114"/>
              <a:gd name="connsiteX2367" fmla="*/ 1804210 w 5610835"/>
              <a:gd name="connsiteY2367" fmla="*/ 4367969 h 5278114"/>
              <a:gd name="connsiteX2368" fmla="*/ 1985554 w 5610835"/>
              <a:gd name="connsiteY2368" fmla="*/ 4153220 h 5278114"/>
              <a:gd name="connsiteX2369" fmla="*/ 1979192 w 5610835"/>
              <a:gd name="connsiteY2369" fmla="*/ 3561467 h 5278114"/>
              <a:gd name="connsiteX2370" fmla="*/ 1261771 w 5610835"/>
              <a:gd name="connsiteY2370" fmla="*/ 3559877 h 5278114"/>
              <a:gd name="connsiteX2371" fmla="*/ 1258589 w 5610835"/>
              <a:gd name="connsiteY2371" fmla="*/ 3566239 h 5278114"/>
              <a:gd name="connsiteX2372" fmla="*/ 1306311 w 5610835"/>
              <a:gd name="connsiteY2372" fmla="*/ 3577375 h 5278114"/>
              <a:gd name="connsiteX2373" fmla="*/ 1261771 w 5610835"/>
              <a:gd name="connsiteY2373" fmla="*/ 3559877 h 5278114"/>
              <a:gd name="connsiteX2374" fmla="*/ 1212457 w 5610835"/>
              <a:gd name="connsiteY2374" fmla="*/ 3553514 h 5278114"/>
              <a:gd name="connsiteX2375" fmla="*/ 1206094 w 5610835"/>
              <a:gd name="connsiteY2375" fmla="*/ 3564648 h 5278114"/>
              <a:gd name="connsiteX2376" fmla="*/ 1218820 w 5610835"/>
              <a:gd name="connsiteY2376" fmla="*/ 3563058 h 5278114"/>
              <a:gd name="connsiteX2377" fmla="*/ 1223592 w 5610835"/>
              <a:gd name="connsiteY2377" fmla="*/ 3553514 h 5278114"/>
              <a:gd name="connsiteX2378" fmla="*/ 1212457 w 5610835"/>
              <a:gd name="connsiteY2378" fmla="*/ 3553514 h 5278114"/>
              <a:gd name="connsiteX2379" fmla="*/ 1191778 w 5610835"/>
              <a:gd name="connsiteY2379" fmla="*/ 3551923 h 5278114"/>
              <a:gd name="connsiteX2380" fmla="*/ 1191778 w 5610835"/>
              <a:gd name="connsiteY2380" fmla="*/ 3564648 h 5278114"/>
              <a:gd name="connsiteX2381" fmla="*/ 1202913 w 5610835"/>
              <a:gd name="connsiteY2381" fmla="*/ 3563058 h 5278114"/>
              <a:gd name="connsiteX2382" fmla="*/ 1201322 w 5610835"/>
              <a:gd name="connsiteY2382" fmla="*/ 3551923 h 5278114"/>
              <a:gd name="connsiteX2383" fmla="*/ 1191778 w 5610835"/>
              <a:gd name="connsiteY2383" fmla="*/ 3551923 h 5278114"/>
              <a:gd name="connsiteX2384" fmla="*/ 2074635 w 5610835"/>
              <a:gd name="connsiteY2384" fmla="*/ 3539197 h 5278114"/>
              <a:gd name="connsiteX2385" fmla="*/ 2042820 w 5610835"/>
              <a:gd name="connsiteY2385" fmla="*/ 4269344 h 5278114"/>
              <a:gd name="connsiteX2386" fmla="*/ 2049183 w 5610835"/>
              <a:gd name="connsiteY2386" fmla="*/ 4285251 h 5278114"/>
              <a:gd name="connsiteX2387" fmla="*/ 1812164 w 5610835"/>
              <a:gd name="connsiteY2387" fmla="*/ 4509545 h 5278114"/>
              <a:gd name="connsiteX2388" fmla="*/ 1808982 w 5610835"/>
              <a:gd name="connsiteY2388" fmla="*/ 4517498 h 5278114"/>
              <a:gd name="connsiteX2389" fmla="*/ 2090542 w 5610835"/>
              <a:gd name="connsiteY2389" fmla="*/ 4239120 h 5278114"/>
              <a:gd name="connsiteX2390" fmla="*/ 2115994 w 5610835"/>
              <a:gd name="connsiteY2390" fmla="*/ 4124587 h 5278114"/>
              <a:gd name="connsiteX2391" fmla="*/ 2085770 w 5610835"/>
              <a:gd name="connsiteY2391" fmla="*/ 3652139 h 5278114"/>
              <a:gd name="connsiteX2392" fmla="*/ 2074635 w 5610835"/>
              <a:gd name="connsiteY2392" fmla="*/ 3539197 h 5278114"/>
              <a:gd name="connsiteX2393" fmla="*/ 2217800 w 5610835"/>
              <a:gd name="connsiteY2393" fmla="*/ 3529652 h 5278114"/>
              <a:gd name="connsiteX2394" fmla="*/ 2225754 w 5610835"/>
              <a:gd name="connsiteY2394" fmla="*/ 3698270 h 5278114"/>
              <a:gd name="connsiteX2395" fmla="*/ 2214619 w 5610835"/>
              <a:gd name="connsiteY2395" fmla="*/ 3841435 h 5278114"/>
              <a:gd name="connsiteX2396" fmla="*/ 2230527 w 5610835"/>
              <a:gd name="connsiteY2396" fmla="*/ 4232757 h 5278114"/>
              <a:gd name="connsiteX2397" fmla="*/ 2213028 w 5610835"/>
              <a:gd name="connsiteY2397" fmla="*/ 4328202 h 5278114"/>
              <a:gd name="connsiteX2398" fmla="*/ 2251206 w 5610835"/>
              <a:gd name="connsiteY2398" fmla="*/ 4476140 h 5278114"/>
              <a:gd name="connsiteX2399" fmla="*/ 2300518 w 5610835"/>
              <a:gd name="connsiteY2399" fmla="*/ 4530224 h 5278114"/>
              <a:gd name="connsiteX2400" fmla="*/ 2232118 w 5610835"/>
              <a:gd name="connsiteY2400" fmla="*/ 4646348 h 5278114"/>
              <a:gd name="connsiteX2401" fmla="*/ 2174851 w 5610835"/>
              <a:gd name="connsiteY2401" fmla="*/ 4676572 h 5278114"/>
              <a:gd name="connsiteX2402" fmla="*/ 2108040 w 5610835"/>
              <a:gd name="connsiteY2402" fmla="*/ 4765653 h 5278114"/>
              <a:gd name="connsiteX2403" fmla="*/ 2007823 w 5610835"/>
              <a:gd name="connsiteY2403" fmla="*/ 4768834 h 5278114"/>
              <a:gd name="connsiteX2404" fmla="*/ 1983964 w 5610835"/>
              <a:gd name="connsiteY2404" fmla="*/ 4732248 h 5278114"/>
              <a:gd name="connsiteX2405" fmla="*/ 1847160 w 5610835"/>
              <a:gd name="connsiteY2405" fmla="*/ 4834055 h 5278114"/>
              <a:gd name="connsiteX2406" fmla="*/ 1915561 w 5610835"/>
              <a:gd name="connsiteY2406" fmla="*/ 4639985 h 5278114"/>
              <a:gd name="connsiteX2407" fmla="*/ 2198712 w 5610835"/>
              <a:gd name="connsiteY2407" fmla="*/ 4200943 h 5278114"/>
              <a:gd name="connsiteX2408" fmla="*/ 2171669 w 5610835"/>
              <a:gd name="connsiteY2408" fmla="*/ 3543968 h 5278114"/>
              <a:gd name="connsiteX2409" fmla="*/ 2217800 w 5610835"/>
              <a:gd name="connsiteY2409" fmla="*/ 3529652 h 5278114"/>
              <a:gd name="connsiteX2410" fmla="*/ 744781 w 5610835"/>
              <a:gd name="connsiteY2410" fmla="*/ 3505791 h 5278114"/>
              <a:gd name="connsiteX2411" fmla="*/ 728875 w 5610835"/>
              <a:gd name="connsiteY2411" fmla="*/ 3516927 h 5278114"/>
              <a:gd name="connsiteX2412" fmla="*/ 744781 w 5610835"/>
              <a:gd name="connsiteY2412" fmla="*/ 3505791 h 5278114"/>
              <a:gd name="connsiteX2413" fmla="*/ 3239052 w 5610835"/>
              <a:gd name="connsiteY2413" fmla="*/ 3431026 h 5278114"/>
              <a:gd name="connsiteX2414" fmla="*/ 3199284 w 5610835"/>
              <a:gd name="connsiteY2414" fmla="*/ 3467613 h 5278114"/>
              <a:gd name="connsiteX2415" fmla="*/ 3237461 w 5610835"/>
              <a:gd name="connsiteY2415" fmla="*/ 3446934 h 5278114"/>
              <a:gd name="connsiteX2416" fmla="*/ 3237461 w 5610835"/>
              <a:gd name="connsiteY2416" fmla="*/ 3443752 h 5278114"/>
              <a:gd name="connsiteX2417" fmla="*/ 3239052 w 5610835"/>
              <a:gd name="connsiteY2417" fmla="*/ 3431026 h 5278114"/>
              <a:gd name="connsiteX2418" fmla="*/ 2625028 w 5610835"/>
              <a:gd name="connsiteY2418" fmla="*/ 3410347 h 5278114"/>
              <a:gd name="connsiteX2419" fmla="*/ 2658433 w 5610835"/>
              <a:gd name="connsiteY2419" fmla="*/ 3499428 h 5278114"/>
              <a:gd name="connsiteX2420" fmla="*/ 2617075 w 5610835"/>
              <a:gd name="connsiteY2420" fmla="*/ 3493065 h 5278114"/>
              <a:gd name="connsiteX2421" fmla="*/ 2601167 w 5610835"/>
              <a:gd name="connsiteY2421" fmla="*/ 3467613 h 5278114"/>
              <a:gd name="connsiteX2422" fmla="*/ 2601168 w 5610835"/>
              <a:gd name="connsiteY2422" fmla="*/ 3467614 h 5278114"/>
              <a:gd name="connsiteX2423" fmla="*/ 2617075 w 5610835"/>
              <a:gd name="connsiteY2423" fmla="*/ 3475567 h 5278114"/>
              <a:gd name="connsiteX2424" fmla="*/ 2625028 w 5610835"/>
              <a:gd name="connsiteY2424" fmla="*/ 3410347 h 5278114"/>
              <a:gd name="connsiteX2425" fmla="*/ 1451067 w 5610835"/>
              <a:gd name="connsiteY2425" fmla="*/ 3397622 h 5278114"/>
              <a:gd name="connsiteX2426" fmla="*/ 1443113 w 5610835"/>
              <a:gd name="connsiteY2426" fmla="*/ 3405576 h 5278114"/>
              <a:gd name="connsiteX2427" fmla="*/ 1457431 w 5610835"/>
              <a:gd name="connsiteY2427" fmla="*/ 3407166 h 5278114"/>
              <a:gd name="connsiteX2428" fmla="*/ 1462203 w 5610835"/>
              <a:gd name="connsiteY2428" fmla="*/ 3402394 h 5278114"/>
              <a:gd name="connsiteX2429" fmla="*/ 1451067 w 5610835"/>
              <a:gd name="connsiteY2429" fmla="*/ 3397622 h 5278114"/>
              <a:gd name="connsiteX2430" fmla="*/ 1433570 w 5610835"/>
              <a:gd name="connsiteY2430" fmla="*/ 3394440 h 5278114"/>
              <a:gd name="connsiteX2431" fmla="*/ 1424025 w 5610835"/>
              <a:gd name="connsiteY2431" fmla="*/ 3403985 h 5278114"/>
              <a:gd name="connsiteX2432" fmla="*/ 1433570 w 5610835"/>
              <a:gd name="connsiteY2432" fmla="*/ 3405576 h 5278114"/>
              <a:gd name="connsiteX2433" fmla="*/ 1435160 w 5610835"/>
              <a:gd name="connsiteY2433" fmla="*/ 3394440 h 5278114"/>
              <a:gd name="connsiteX2434" fmla="*/ 1433570 w 5610835"/>
              <a:gd name="connsiteY2434" fmla="*/ 3394440 h 5278114"/>
              <a:gd name="connsiteX2435" fmla="*/ 2329152 w 5610835"/>
              <a:gd name="connsiteY2435" fmla="*/ 3392848 h 5278114"/>
              <a:gd name="connsiteX2436" fmla="*/ 2273476 w 5610835"/>
              <a:gd name="connsiteY2436" fmla="*/ 3690316 h 5278114"/>
              <a:gd name="connsiteX2437" fmla="*/ 2318017 w 5610835"/>
              <a:gd name="connsiteY2437" fmla="*/ 3621915 h 5278114"/>
              <a:gd name="connsiteX2438" fmla="*/ 2359376 w 5610835"/>
              <a:gd name="connsiteY2438" fmla="*/ 3674409 h 5278114"/>
              <a:gd name="connsiteX2439" fmla="*/ 2504132 w 5610835"/>
              <a:gd name="connsiteY2439" fmla="*/ 4269343 h 5278114"/>
              <a:gd name="connsiteX2440" fmla="*/ 2357785 w 5610835"/>
              <a:gd name="connsiteY2440" fmla="*/ 3704633 h 5278114"/>
              <a:gd name="connsiteX2441" fmla="*/ 2378465 w 5610835"/>
              <a:gd name="connsiteY2441" fmla="*/ 3723721 h 5278114"/>
              <a:gd name="connsiteX2442" fmla="*/ 2534356 w 5610835"/>
              <a:gd name="connsiteY2442" fmla="*/ 4239119 h 5278114"/>
              <a:gd name="connsiteX2443" fmla="*/ 2400735 w 5610835"/>
              <a:gd name="connsiteY2443" fmla="*/ 3707814 h 5278114"/>
              <a:gd name="connsiteX2444" fmla="*/ 2321199 w 5610835"/>
              <a:gd name="connsiteY2444" fmla="*/ 3458068 h 5278114"/>
              <a:gd name="connsiteX2445" fmla="*/ 2329152 w 5610835"/>
              <a:gd name="connsiteY2445" fmla="*/ 3392848 h 5278114"/>
              <a:gd name="connsiteX2446" fmla="*/ 3619237 w 5610835"/>
              <a:gd name="connsiteY2446" fmla="*/ 3376941 h 5278114"/>
              <a:gd name="connsiteX2447" fmla="*/ 3612874 w 5610835"/>
              <a:gd name="connsiteY2447" fmla="*/ 3397620 h 5278114"/>
              <a:gd name="connsiteX2448" fmla="*/ 3619237 w 5610835"/>
              <a:gd name="connsiteY2448" fmla="*/ 3419891 h 5278114"/>
              <a:gd name="connsiteX2449" fmla="*/ 3819671 w 5610835"/>
              <a:gd name="connsiteY2449" fmla="*/ 3613961 h 5278114"/>
              <a:gd name="connsiteX2450" fmla="*/ 3802171 w 5610835"/>
              <a:gd name="connsiteY2450" fmla="*/ 3572601 h 5278114"/>
              <a:gd name="connsiteX2451" fmla="*/ 3730589 w 5610835"/>
              <a:gd name="connsiteY2451" fmla="*/ 3494656 h 5278114"/>
              <a:gd name="connsiteX2452" fmla="*/ 3708318 w 5610835"/>
              <a:gd name="connsiteY2452" fmla="*/ 3472385 h 5278114"/>
              <a:gd name="connsiteX2453" fmla="*/ 3703546 w 5610835"/>
              <a:gd name="connsiteY2453" fmla="*/ 3477158 h 5278114"/>
              <a:gd name="connsiteX2454" fmla="*/ 3695592 w 5610835"/>
              <a:gd name="connsiteY2454" fmla="*/ 3459659 h 5278114"/>
              <a:gd name="connsiteX2455" fmla="*/ 3641508 w 5610835"/>
              <a:gd name="connsiteY2455" fmla="*/ 3400802 h 5278114"/>
              <a:gd name="connsiteX2456" fmla="*/ 3646280 w 5610835"/>
              <a:gd name="connsiteY2456" fmla="*/ 3419891 h 5278114"/>
              <a:gd name="connsiteX2457" fmla="*/ 3633554 w 5610835"/>
              <a:gd name="connsiteY2457" fmla="*/ 3392848 h 5278114"/>
              <a:gd name="connsiteX2458" fmla="*/ 3619237 w 5610835"/>
              <a:gd name="connsiteY2458" fmla="*/ 3376941 h 5278114"/>
              <a:gd name="connsiteX2459" fmla="*/ 1361986 w 5610835"/>
              <a:gd name="connsiteY2459" fmla="*/ 3362625 h 5278114"/>
              <a:gd name="connsiteX2460" fmla="*/ 1338125 w 5610835"/>
              <a:gd name="connsiteY2460" fmla="*/ 3367398 h 5278114"/>
              <a:gd name="connsiteX2461" fmla="*/ 1350851 w 5610835"/>
              <a:gd name="connsiteY2461" fmla="*/ 3373761 h 5278114"/>
              <a:gd name="connsiteX2462" fmla="*/ 1352442 w 5610835"/>
              <a:gd name="connsiteY2462" fmla="*/ 3370579 h 5278114"/>
              <a:gd name="connsiteX2463" fmla="*/ 1366758 w 5610835"/>
              <a:gd name="connsiteY2463" fmla="*/ 3381715 h 5278114"/>
              <a:gd name="connsiteX2464" fmla="*/ 1393801 w 5610835"/>
              <a:gd name="connsiteY2464" fmla="*/ 3394440 h 5278114"/>
              <a:gd name="connsiteX2465" fmla="*/ 1412890 w 5610835"/>
              <a:gd name="connsiteY2465" fmla="*/ 3386486 h 5278114"/>
              <a:gd name="connsiteX2466" fmla="*/ 1361986 w 5610835"/>
              <a:gd name="connsiteY2466" fmla="*/ 3362625 h 5278114"/>
              <a:gd name="connsiteX2467" fmla="*/ 1070882 w 5610835"/>
              <a:gd name="connsiteY2467" fmla="*/ 3361034 h 5278114"/>
              <a:gd name="connsiteX2468" fmla="*/ 1012025 w 5610835"/>
              <a:gd name="connsiteY2468" fmla="*/ 3416710 h 5278114"/>
              <a:gd name="connsiteX2469" fmla="*/ 728875 w 5610835"/>
              <a:gd name="connsiteY2469" fmla="*/ 3520108 h 5278114"/>
              <a:gd name="connsiteX2470" fmla="*/ 706604 w 5610835"/>
              <a:gd name="connsiteY2470" fmla="*/ 3536015 h 5278114"/>
              <a:gd name="connsiteX2471" fmla="*/ 1064519 w 5610835"/>
              <a:gd name="connsiteY2471" fmla="*/ 3392849 h 5278114"/>
              <a:gd name="connsiteX2472" fmla="*/ 1061337 w 5610835"/>
              <a:gd name="connsiteY2472" fmla="*/ 3372170 h 5278114"/>
              <a:gd name="connsiteX2473" fmla="*/ 1070882 w 5610835"/>
              <a:gd name="connsiteY2473" fmla="*/ 3361034 h 5278114"/>
              <a:gd name="connsiteX2474" fmla="*/ 4010558 w 5610835"/>
              <a:gd name="connsiteY2474" fmla="*/ 3359443 h 5278114"/>
              <a:gd name="connsiteX2475" fmla="*/ 4010558 w 5610835"/>
              <a:gd name="connsiteY2475" fmla="*/ 3365806 h 5278114"/>
              <a:gd name="connsiteX2476" fmla="*/ 4015331 w 5610835"/>
              <a:gd name="connsiteY2476" fmla="*/ 3370578 h 5278114"/>
              <a:gd name="connsiteX2477" fmla="*/ 4010558 w 5610835"/>
              <a:gd name="connsiteY2477" fmla="*/ 3359443 h 5278114"/>
              <a:gd name="connsiteX2478" fmla="*/ 2445275 w 5610835"/>
              <a:gd name="connsiteY2478" fmla="*/ 3341945 h 5278114"/>
              <a:gd name="connsiteX2479" fmla="*/ 2464366 w 5610835"/>
              <a:gd name="connsiteY2479" fmla="*/ 3413528 h 5278114"/>
              <a:gd name="connsiteX2480" fmla="*/ 2445275 w 5610835"/>
              <a:gd name="connsiteY2480" fmla="*/ 3341945 h 5278114"/>
              <a:gd name="connsiteX2481" fmla="*/ 1315855 w 5610835"/>
              <a:gd name="connsiteY2481" fmla="*/ 3338764 h 5278114"/>
              <a:gd name="connsiteX2482" fmla="*/ 1309492 w 5610835"/>
              <a:gd name="connsiteY2482" fmla="*/ 3351490 h 5278114"/>
              <a:gd name="connsiteX2483" fmla="*/ 1320628 w 5610835"/>
              <a:gd name="connsiteY2483" fmla="*/ 3357853 h 5278114"/>
              <a:gd name="connsiteX2484" fmla="*/ 1333353 w 5610835"/>
              <a:gd name="connsiteY2484" fmla="*/ 3346717 h 5278114"/>
              <a:gd name="connsiteX2485" fmla="*/ 1315855 w 5610835"/>
              <a:gd name="connsiteY2485" fmla="*/ 3338764 h 5278114"/>
              <a:gd name="connsiteX2486" fmla="*/ 1118604 w 5610835"/>
              <a:gd name="connsiteY2486" fmla="*/ 3323056 h 5278114"/>
              <a:gd name="connsiteX2487" fmla="*/ 1110651 w 5610835"/>
              <a:gd name="connsiteY2487" fmla="*/ 3324448 h 5278114"/>
              <a:gd name="connsiteX2488" fmla="*/ 1102697 w 5610835"/>
              <a:gd name="connsiteY2488" fmla="*/ 3330810 h 5278114"/>
              <a:gd name="connsiteX2489" fmla="*/ 1074063 w 5610835"/>
              <a:gd name="connsiteY2489" fmla="*/ 3384896 h 5278114"/>
              <a:gd name="connsiteX2490" fmla="*/ 1093152 w 5610835"/>
              <a:gd name="connsiteY2490" fmla="*/ 3370579 h 5278114"/>
              <a:gd name="connsiteX2491" fmla="*/ 1093152 w 5610835"/>
              <a:gd name="connsiteY2491" fmla="*/ 3399213 h 5278114"/>
              <a:gd name="connsiteX2492" fmla="*/ 813183 w 5610835"/>
              <a:gd name="connsiteY2492" fmla="*/ 3536015 h 5278114"/>
              <a:gd name="connsiteX2493" fmla="*/ 1089970 w 5610835"/>
              <a:gd name="connsiteY2493" fmla="*/ 3424664 h 5278114"/>
              <a:gd name="connsiteX2494" fmla="*/ 1120194 w 5610835"/>
              <a:gd name="connsiteY2494" fmla="*/ 3351490 h 5278114"/>
              <a:gd name="connsiteX2495" fmla="*/ 1126557 w 5610835"/>
              <a:gd name="connsiteY2495" fmla="*/ 3367398 h 5278114"/>
              <a:gd name="connsiteX2496" fmla="*/ 1140875 w 5610835"/>
              <a:gd name="connsiteY2496" fmla="*/ 3361034 h 5278114"/>
              <a:gd name="connsiteX2497" fmla="*/ 1126557 w 5610835"/>
              <a:gd name="connsiteY2497" fmla="*/ 3327629 h 5278114"/>
              <a:gd name="connsiteX2498" fmla="*/ 1118604 w 5610835"/>
              <a:gd name="connsiteY2498" fmla="*/ 3323056 h 5278114"/>
              <a:gd name="connsiteX2499" fmla="*/ 1231546 w 5610835"/>
              <a:gd name="connsiteY2499" fmla="*/ 3313312 h 5278114"/>
              <a:gd name="connsiteX2500" fmla="*/ 1236318 w 5610835"/>
              <a:gd name="connsiteY2500" fmla="*/ 3322857 h 5278114"/>
              <a:gd name="connsiteX2501" fmla="*/ 1269723 w 5610835"/>
              <a:gd name="connsiteY2501" fmla="*/ 3332401 h 5278114"/>
              <a:gd name="connsiteX2502" fmla="*/ 1276087 w 5610835"/>
              <a:gd name="connsiteY2502" fmla="*/ 3322857 h 5278114"/>
              <a:gd name="connsiteX2503" fmla="*/ 1263361 w 5610835"/>
              <a:gd name="connsiteY2503" fmla="*/ 3319675 h 5278114"/>
              <a:gd name="connsiteX2504" fmla="*/ 1252227 w 5610835"/>
              <a:gd name="connsiteY2504" fmla="*/ 3326038 h 5278114"/>
              <a:gd name="connsiteX2505" fmla="*/ 1245864 w 5610835"/>
              <a:gd name="connsiteY2505" fmla="*/ 3316494 h 5278114"/>
              <a:gd name="connsiteX2506" fmla="*/ 1231546 w 5610835"/>
              <a:gd name="connsiteY2506" fmla="*/ 3313312 h 5278114"/>
              <a:gd name="connsiteX2507" fmla="*/ 1099515 w 5610835"/>
              <a:gd name="connsiteY2507" fmla="*/ 3300586 h 5278114"/>
              <a:gd name="connsiteX2508" fmla="*/ 1091561 w 5610835"/>
              <a:gd name="connsiteY2508" fmla="*/ 3308540 h 5278114"/>
              <a:gd name="connsiteX2509" fmla="*/ 1105878 w 5610835"/>
              <a:gd name="connsiteY2509" fmla="*/ 3305358 h 5278114"/>
              <a:gd name="connsiteX2510" fmla="*/ 1099515 w 5610835"/>
              <a:gd name="connsiteY2510" fmla="*/ 3300586 h 5278114"/>
              <a:gd name="connsiteX2511" fmla="*/ 3208828 w 5610835"/>
              <a:gd name="connsiteY2511" fmla="*/ 3300586 h 5278114"/>
              <a:gd name="connsiteX2512" fmla="*/ 3113384 w 5610835"/>
              <a:gd name="connsiteY2512" fmla="*/ 3343536 h 5278114"/>
              <a:gd name="connsiteX2513" fmla="*/ 3208828 w 5610835"/>
              <a:gd name="connsiteY2513" fmla="*/ 3300586 h 5278114"/>
              <a:gd name="connsiteX2514" fmla="*/ 3204056 w 5610835"/>
              <a:gd name="connsiteY2514" fmla="*/ 3267181 h 5278114"/>
              <a:gd name="connsiteX2515" fmla="*/ 3035437 w 5610835"/>
              <a:gd name="connsiteY2515" fmla="*/ 3340354 h 5278114"/>
              <a:gd name="connsiteX2516" fmla="*/ 3204056 w 5610835"/>
              <a:gd name="connsiteY2516" fmla="*/ 3267181 h 5278114"/>
              <a:gd name="connsiteX2517" fmla="*/ 752735 w 5610835"/>
              <a:gd name="connsiteY2517" fmla="*/ 3265590 h 5278114"/>
              <a:gd name="connsiteX2518" fmla="*/ 577755 w 5610835"/>
              <a:gd name="connsiteY2518" fmla="*/ 3329220 h 5278114"/>
              <a:gd name="connsiteX2519" fmla="*/ 752735 w 5610835"/>
              <a:gd name="connsiteY2519" fmla="*/ 3265590 h 5278114"/>
              <a:gd name="connsiteX2520" fmla="*/ 3525384 w 5610835"/>
              <a:gd name="connsiteY2520" fmla="*/ 3263999 h 5278114"/>
              <a:gd name="connsiteX2521" fmla="*/ 3506295 w 5610835"/>
              <a:gd name="connsiteY2521" fmla="*/ 3298996 h 5278114"/>
              <a:gd name="connsiteX2522" fmla="*/ 3608102 w 5610835"/>
              <a:gd name="connsiteY2522" fmla="*/ 3407165 h 5278114"/>
              <a:gd name="connsiteX2523" fmla="*/ 3606511 w 5610835"/>
              <a:gd name="connsiteY2523" fmla="*/ 3402393 h 5278114"/>
              <a:gd name="connsiteX2524" fmla="*/ 3601739 w 5610835"/>
              <a:gd name="connsiteY2524" fmla="*/ 3356262 h 5278114"/>
              <a:gd name="connsiteX2525" fmla="*/ 3525384 w 5610835"/>
              <a:gd name="connsiteY2525" fmla="*/ 3263999 h 5278114"/>
              <a:gd name="connsiteX2526" fmla="*/ 3546461 w 5610835"/>
              <a:gd name="connsiteY2526" fmla="*/ 3236484 h 5278114"/>
              <a:gd name="connsiteX2527" fmla="*/ 3541291 w 5610835"/>
              <a:gd name="connsiteY2527" fmla="*/ 3240138 h 5278114"/>
              <a:gd name="connsiteX2528" fmla="*/ 3539700 w 5610835"/>
              <a:gd name="connsiteY2528" fmla="*/ 3241729 h 5278114"/>
              <a:gd name="connsiteX2529" fmla="*/ 3606511 w 5610835"/>
              <a:gd name="connsiteY2529" fmla="*/ 3310130 h 5278114"/>
              <a:gd name="connsiteX2530" fmla="*/ 3596966 w 5610835"/>
              <a:gd name="connsiteY2530" fmla="*/ 3284679 h 5278114"/>
              <a:gd name="connsiteX2531" fmla="*/ 3608102 w 5610835"/>
              <a:gd name="connsiteY2531" fmla="*/ 3294223 h 5278114"/>
              <a:gd name="connsiteX2532" fmla="*/ 3614465 w 5610835"/>
              <a:gd name="connsiteY2532" fmla="*/ 3319675 h 5278114"/>
              <a:gd name="connsiteX2533" fmla="*/ 3659005 w 5610835"/>
              <a:gd name="connsiteY2533" fmla="*/ 3364215 h 5278114"/>
              <a:gd name="connsiteX2534" fmla="*/ 3636735 w 5610835"/>
              <a:gd name="connsiteY2534" fmla="*/ 3308539 h 5278114"/>
              <a:gd name="connsiteX2535" fmla="*/ 3574696 w 5610835"/>
              <a:gd name="connsiteY2535" fmla="*/ 3246500 h 5278114"/>
              <a:gd name="connsiteX2536" fmla="*/ 3557199 w 5610835"/>
              <a:gd name="connsiteY2536" fmla="*/ 3249682 h 5278114"/>
              <a:gd name="connsiteX2537" fmla="*/ 3546461 w 5610835"/>
              <a:gd name="connsiteY2537" fmla="*/ 3236484 h 5278114"/>
              <a:gd name="connsiteX2538" fmla="*/ 1083608 w 5610835"/>
              <a:gd name="connsiteY2538" fmla="*/ 3235366 h 5278114"/>
              <a:gd name="connsiteX2539" fmla="*/ 1082017 w 5610835"/>
              <a:gd name="connsiteY2539" fmla="*/ 3246501 h 5278114"/>
              <a:gd name="connsiteX2540" fmla="*/ 819546 w 5610835"/>
              <a:gd name="connsiteY2540" fmla="*/ 3383305 h 5278114"/>
              <a:gd name="connsiteX2541" fmla="*/ 762280 w 5610835"/>
              <a:gd name="connsiteY2541" fmla="*/ 3389668 h 5278114"/>
              <a:gd name="connsiteX2542" fmla="*/ 657291 w 5610835"/>
              <a:gd name="connsiteY2542" fmla="*/ 3375352 h 5278114"/>
              <a:gd name="connsiteX2543" fmla="*/ 1074063 w 5610835"/>
              <a:gd name="connsiteY2543" fmla="*/ 3292633 h 5278114"/>
              <a:gd name="connsiteX2544" fmla="*/ 1075654 w 5610835"/>
              <a:gd name="connsiteY2544" fmla="*/ 3281497 h 5278114"/>
              <a:gd name="connsiteX2545" fmla="*/ 1078836 w 5610835"/>
              <a:gd name="connsiteY2545" fmla="*/ 3284679 h 5278114"/>
              <a:gd name="connsiteX2546" fmla="*/ 1088380 w 5610835"/>
              <a:gd name="connsiteY2546" fmla="*/ 3267181 h 5278114"/>
              <a:gd name="connsiteX2547" fmla="*/ 1083608 w 5610835"/>
              <a:gd name="connsiteY2547" fmla="*/ 3235366 h 5278114"/>
              <a:gd name="connsiteX2548" fmla="*/ 3207237 w 5610835"/>
              <a:gd name="connsiteY2548" fmla="*/ 3229003 h 5278114"/>
              <a:gd name="connsiteX2549" fmla="*/ 2943175 w 5610835"/>
              <a:gd name="connsiteY2549" fmla="*/ 3340354 h 5278114"/>
              <a:gd name="connsiteX2550" fmla="*/ 3207237 w 5610835"/>
              <a:gd name="connsiteY2550" fmla="*/ 3229003 h 5278114"/>
              <a:gd name="connsiteX2551" fmla="*/ 1134511 w 5610835"/>
              <a:gd name="connsiteY2551" fmla="*/ 3219458 h 5278114"/>
              <a:gd name="connsiteX2552" fmla="*/ 1121785 w 5610835"/>
              <a:gd name="connsiteY2552" fmla="*/ 3236957 h 5278114"/>
              <a:gd name="connsiteX2553" fmla="*/ 1136102 w 5610835"/>
              <a:gd name="connsiteY2553" fmla="*/ 3232185 h 5278114"/>
              <a:gd name="connsiteX2554" fmla="*/ 1134511 w 5610835"/>
              <a:gd name="connsiteY2554" fmla="*/ 3219458 h 5278114"/>
              <a:gd name="connsiteX2555" fmla="*/ 1051794 w 5610835"/>
              <a:gd name="connsiteY2555" fmla="*/ 3214687 h 5278114"/>
              <a:gd name="connsiteX2556" fmla="*/ 1040658 w 5610835"/>
              <a:gd name="connsiteY2556" fmla="*/ 3233776 h 5278114"/>
              <a:gd name="connsiteX2557" fmla="*/ 1051794 w 5610835"/>
              <a:gd name="connsiteY2557" fmla="*/ 3214687 h 5278114"/>
              <a:gd name="connsiteX2558" fmla="*/ 3038619 w 5610835"/>
              <a:gd name="connsiteY2558" fmla="*/ 3203551 h 5278114"/>
              <a:gd name="connsiteX2559" fmla="*/ 2898635 w 5610835"/>
              <a:gd name="connsiteY2559" fmla="*/ 3254454 h 5278114"/>
              <a:gd name="connsiteX2560" fmla="*/ 3038619 w 5610835"/>
              <a:gd name="connsiteY2560" fmla="*/ 3203551 h 5278114"/>
              <a:gd name="connsiteX2561" fmla="*/ 994527 w 5610835"/>
              <a:gd name="connsiteY2561" fmla="*/ 3201961 h 5278114"/>
              <a:gd name="connsiteX2562" fmla="*/ 983392 w 5610835"/>
              <a:gd name="connsiteY2562" fmla="*/ 3203552 h 5278114"/>
              <a:gd name="connsiteX2563" fmla="*/ 924534 w 5610835"/>
              <a:gd name="connsiteY2563" fmla="*/ 3275134 h 5278114"/>
              <a:gd name="connsiteX2564" fmla="*/ 994527 w 5610835"/>
              <a:gd name="connsiteY2564" fmla="*/ 3201961 h 5278114"/>
              <a:gd name="connsiteX2565" fmla="*/ 3100658 w 5610835"/>
              <a:gd name="connsiteY2565" fmla="*/ 3195597 h 5278114"/>
              <a:gd name="connsiteX2566" fmla="*/ 2974990 w 5610835"/>
              <a:gd name="connsiteY2566" fmla="*/ 3263999 h 5278114"/>
              <a:gd name="connsiteX2567" fmla="*/ 3100658 w 5610835"/>
              <a:gd name="connsiteY2567" fmla="*/ 3195597 h 5278114"/>
              <a:gd name="connsiteX2568" fmla="*/ 3148380 w 5610835"/>
              <a:gd name="connsiteY2568" fmla="*/ 3187643 h 5278114"/>
              <a:gd name="connsiteX2569" fmla="*/ 2884318 w 5610835"/>
              <a:gd name="connsiteY2569" fmla="*/ 3318084 h 5278114"/>
              <a:gd name="connsiteX2570" fmla="*/ 3148380 w 5610835"/>
              <a:gd name="connsiteY2570" fmla="*/ 3187643 h 5278114"/>
              <a:gd name="connsiteX2571" fmla="*/ 2995670 w 5610835"/>
              <a:gd name="connsiteY2571" fmla="*/ 3186053 h 5278114"/>
              <a:gd name="connsiteX2572" fmla="*/ 2844550 w 5610835"/>
              <a:gd name="connsiteY2572" fmla="*/ 3241729 h 5278114"/>
              <a:gd name="connsiteX2573" fmla="*/ 2995670 w 5610835"/>
              <a:gd name="connsiteY2573" fmla="*/ 3186053 h 5278114"/>
              <a:gd name="connsiteX2574" fmla="*/ 3573106 w 5610835"/>
              <a:gd name="connsiteY2574" fmla="*/ 3179690 h 5278114"/>
              <a:gd name="connsiteX2575" fmla="*/ 3582650 w 5610835"/>
              <a:gd name="connsiteY2575" fmla="*/ 3225821 h 5278114"/>
              <a:gd name="connsiteX2576" fmla="*/ 3617647 w 5610835"/>
              <a:gd name="connsiteY2576" fmla="*/ 3259227 h 5278114"/>
              <a:gd name="connsiteX2577" fmla="*/ 3598557 w 5610835"/>
              <a:gd name="connsiteY2577" fmla="*/ 3203551 h 5278114"/>
              <a:gd name="connsiteX2578" fmla="*/ 3573106 w 5610835"/>
              <a:gd name="connsiteY2578" fmla="*/ 3179690 h 5278114"/>
              <a:gd name="connsiteX2579" fmla="*/ 2936813 w 5610835"/>
              <a:gd name="connsiteY2579" fmla="*/ 3176509 h 5278114"/>
              <a:gd name="connsiteX2580" fmla="*/ 2873183 w 5610835"/>
              <a:gd name="connsiteY2580" fmla="*/ 3205142 h 5278114"/>
              <a:gd name="connsiteX2581" fmla="*/ 2936813 w 5610835"/>
              <a:gd name="connsiteY2581" fmla="*/ 3176509 h 5278114"/>
              <a:gd name="connsiteX2582" fmla="*/ 2443685 w 5610835"/>
              <a:gd name="connsiteY2582" fmla="*/ 3141513 h 5278114"/>
              <a:gd name="connsiteX2583" fmla="*/ 2580488 w 5610835"/>
              <a:gd name="connsiteY2583" fmla="*/ 3424663 h 5278114"/>
              <a:gd name="connsiteX2584" fmla="*/ 2594805 w 5610835"/>
              <a:gd name="connsiteY2584" fmla="*/ 3458069 h 5278114"/>
              <a:gd name="connsiteX2585" fmla="*/ 2443685 w 5610835"/>
              <a:gd name="connsiteY2585" fmla="*/ 3141513 h 5278114"/>
              <a:gd name="connsiteX2586" fmla="*/ 833863 w 5610835"/>
              <a:gd name="connsiteY2586" fmla="*/ 3128787 h 5278114"/>
              <a:gd name="connsiteX2587" fmla="*/ 705013 w 5610835"/>
              <a:gd name="connsiteY2587" fmla="*/ 3246501 h 5278114"/>
              <a:gd name="connsiteX2588" fmla="*/ 545940 w 5610835"/>
              <a:gd name="connsiteY2588" fmla="*/ 3318084 h 5278114"/>
              <a:gd name="connsiteX2589" fmla="*/ 603206 w 5610835"/>
              <a:gd name="connsiteY2589" fmla="*/ 3271953 h 5278114"/>
              <a:gd name="connsiteX2590" fmla="*/ 770233 w 5610835"/>
              <a:gd name="connsiteY2590" fmla="*/ 3224231 h 5278114"/>
              <a:gd name="connsiteX2591" fmla="*/ 833863 w 5610835"/>
              <a:gd name="connsiteY2591" fmla="*/ 3128787 h 5278114"/>
              <a:gd name="connsiteX2592" fmla="*/ 2395988 w 5610835"/>
              <a:gd name="connsiteY2592" fmla="*/ 3104105 h 5278114"/>
              <a:gd name="connsiteX2593" fmla="*/ 2403917 w 5610835"/>
              <a:gd name="connsiteY2593" fmla="*/ 3106516 h 5278114"/>
              <a:gd name="connsiteX2594" fmla="*/ 2407098 w 5610835"/>
              <a:gd name="connsiteY2594" fmla="*/ 3114470 h 5278114"/>
              <a:gd name="connsiteX2595" fmla="*/ 2410280 w 5610835"/>
              <a:gd name="connsiteY2595" fmla="*/ 3120834 h 5278114"/>
              <a:gd name="connsiteX2596" fmla="*/ 2413461 w 5610835"/>
              <a:gd name="connsiteY2596" fmla="*/ 3125606 h 5278114"/>
              <a:gd name="connsiteX2597" fmla="*/ 2397553 w 5610835"/>
              <a:gd name="connsiteY2597" fmla="*/ 3122424 h 5278114"/>
              <a:gd name="connsiteX2598" fmla="*/ 2403917 w 5610835"/>
              <a:gd name="connsiteY2598" fmla="*/ 3131969 h 5278114"/>
              <a:gd name="connsiteX2599" fmla="*/ 2402326 w 5610835"/>
              <a:gd name="connsiteY2599" fmla="*/ 3144695 h 5278114"/>
              <a:gd name="connsiteX2600" fmla="*/ 2378465 w 5610835"/>
              <a:gd name="connsiteY2600" fmla="*/ 3151058 h 5278114"/>
              <a:gd name="connsiteX2601" fmla="*/ 2348241 w 5610835"/>
              <a:gd name="connsiteY2601" fmla="*/ 3147877 h 5278114"/>
              <a:gd name="connsiteX2602" fmla="*/ 2338696 w 5610835"/>
              <a:gd name="connsiteY2602" fmla="*/ 3141514 h 5278114"/>
              <a:gd name="connsiteX2603" fmla="*/ 2332333 w 5610835"/>
              <a:gd name="connsiteY2603" fmla="*/ 3135150 h 5278114"/>
              <a:gd name="connsiteX2604" fmla="*/ 2327561 w 5610835"/>
              <a:gd name="connsiteY2604" fmla="*/ 3131969 h 5278114"/>
              <a:gd name="connsiteX2605" fmla="*/ 2332333 w 5610835"/>
              <a:gd name="connsiteY2605" fmla="*/ 3128787 h 5278114"/>
              <a:gd name="connsiteX2606" fmla="*/ 2333924 w 5610835"/>
              <a:gd name="connsiteY2606" fmla="*/ 3125606 h 5278114"/>
              <a:gd name="connsiteX2607" fmla="*/ 2357785 w 5610835"/>
              <a:gd name="connsiteY2607" fmla="*/ 3119243 h 5278114"/>
              <a:gd name="connsiteX2608" fmla="*/ 2383237 w 5610835"/>
              <a:gd name="connsiteY2608" fmla="*/ 3124015 h 5278114"/>
              <a:gd name="connsiteX2609" fmla="*/ 2395988 w 5610835"/>
              <a:gd name="connsiteY2609" fmla="*/ 3104105 h 5278114"/>
              <a:gd name="connsiteX2610" fmla="*/ 1511516 w 5610835"/>
              <a:gd name="connsiteY2610" fmla="*/ 3100153 h 5278114"/>
              <a:gd name="connsiteX2611" fmla="*/ 1517879 w 5610835"/>
              <a:gd name="connsiteY2611" fmla="*/ 3136741 h 5278114"/>
              <a:gd name="connsiteX2612" fmla="*/ 1497199 w 5610835"/>
              <a:gd name="connsiteY2612" fmla="*/ 3131969 h 5278114"/>
              <a:gd name="connsiteX2613" fmla="*/ 1511516 w 5610835"/>
              <a:gd name="connsiteY2613" fmla="*/ 3100153 h 5278114"/>
              <a:gd name="connsiteX2614" fmla="*/ 1465385 w 5610835"/>
              <a:gd name="connsiteY2614" fmla="*/ 3092200 h 5278114"/>
              <a:gd name="connsiteX2615" fmla="*/ 1433569 w 5610835"/>
              <a:gd name="connsiteY2615" fmla="*/ 3151057 h 5278114"/>
              <a:gd name="connsiteX2616" fmla="*/ 1446294 w 5610835"/>
              <a:gd name="connsiteY2616" fmla="*/ 3103334 h 5278114"/>
              <a:gd name="connsiteX2617" fmla="*/ 1465385 w 5610835"/>
              <a:gd name="connsiteY2617" fmla="*/ 3092200 h 5278114"/>
              <a:gd name="connsiteX2618" fmla="*/ 2284637 w 5610835"/>
              <a:gd name="connsiteY2618" fmla="*/ 3085016 h 5278114"/>
              <a:gd name="connsiteX2619" fmla="*/ 2292566 w 5610835"/>
              <a:gd name="connsiteY2619" fmla="*/ 3087427 h 5278114"/>
              <a:gd name="connsiteX2620" fmla="*/ 2295747 w 5610835"/>
              <a:gd name="connsiteY2620" fmla="*/ 3095381 h 5278114"/>
              <a:gd name="connsiteX2621" fmla="*/ 2298928 w 5610835"/>
              <a:gd name="connsiteY2621" fmla="*/ 3101744 h 5278114"/>
              <a:gd name="connsiteX2622" fmla="*/ 2302109 w 5610835"/>
              <a:gd name="connsiteY2622" fmla="*/ 3106516 h 5278114"/>
              <a:gd name="connsiteX2623" fmla="*/ 2286202 w 5610835"/>
              <a:gd name="connsiteY2623" fmla="*/ 3103335 h 5278114"/>
              <a:gd name="connsiteX2624" fmla="*/ 2292566 w 5610835"/>
              <a:gd name="connsiteY2624" fmla="*/ 3112880 h 5278114"/>
              <a:gd name="connsiteX2625" fmla="*/ 2290975 w 5610835"/>
              <a:gd name="connsiteY2625" fmla="*/ 3125605 h 5278114"/>
              <a:gd name="connsiteX2626" fmla="*/ 2267113 w 5610835"/>
              <a:gd name="connsiteY2626" fmla="*/ 3131968 h 5278114"/>
              <a:gd name="connsiteX2627" fmla="*/ 2236889 w 5610835"/>
              <a:gd name="connsiteY2627" fmla="*/ 3128787 h 5278114"/>
              <a:gd name="connsiteX2628" fmla="*/ 2227345 w 5610835"/>
              <a:gd name="connsiteY2628" fmla="*/ 3122424 h 5278114"/>
              <a:gd name="connsiteX2629" fmla="*/ 2220983 w 5610835"/>
              <a:gd name="connsiteY2629" fmla="*/ 3116061 h 5278114"/>
              <a:gd name="connsiteX2630" fmla="*/ 2216211 w 5610835"/>
              <a:gd name="connsiteY2630" fmla="*/ 3112880 h 5278114"/>
              <a:gd name="connsiteX2631" fmla="*/ 2220983 w 5610835"/>
              <a:gd name="connsiteY2631" fmla="*/ 3109698 h 5278114"/>
              <a:gd name="connsiteX2632" fmla="*/ 2222573 w 5610835"/>
              <a:gd name="connsiteY2632" fmla="*/ 3106516 h 5278114"/>
              <a:gd name="connsiteX2633" fmla="*/ 2246434 w 5610835"/>
              <a:gd name="connsiteY2633" fmla="*/ 3100153 h 5278114"/>
              <a:gd name="connsiteX2634" fmla="*/ 2271885 w 5610835"/>
              <a:gd name="connsiteY2634" fmla="*/ 3104926 h 5278114"/>
              <a:gd name="connsiteX2635" fmla="*/ 2284637 w 5610835"/>
              <a:gd name="connsiteY2635" fmla="*/ 3085016 h 5278114"/>
              <a:gd name="connsiteX2636" fmla="*/ 1490835 w 5610835"/>
              <a:gd name="connsiteY2636" fmla="*/ 3060385 h 5278114"/>
              <a:gd name="connsiteX2637" fmla="*/ 1492426 w 5610835"/>
              <a:gd name="connsiteY2637" fmla="*/ 3073110 h 5278114"/>
              <a:gd name="connsiteX2638" fmla="*/ 1505152 w 5610835"/>
              <a:gd name="connsiteY2638" fmla="*/ 3069929 h 5278114"/>
              <a:gd name="connsiteX2639" fmla="*/ 1479700 w 5610835"/>
              <a:gd name="connsiteY2639" fmla="*/ 3117651 h 5278114"/>
              <a:gd name="connsiteX2640" fmla="*/ 1490835 w 5610835"/>
              <a:gd name="connsiteY2640" fmla="*/ 3060385 h 5278114"/>
              <a:gd name="connsiteX2641" fmla="*/ 2984534 w 5610835"/>
              <a:gd name="connsiteY2641" fmla="*/ 3058794 h 5278114"/>
              <a:gd name="connsiteX2642" fmla="*/ 2835005 w 5610835"/>
              <a:gd name="connsiteY2642" fmla="*/ 3200370 h 5278114"/>
              <a:gd name="connsiteX2643" fmla="*/ 2984534 w 5610835"/>
              <a:gd name="connsiteY2643" fmla="*/ 3058794 h 5278114"/>
              <a:gd name="connsiteX2644" fmla="*/ 1369940 w 5610835"/>
              <a:gd name="connsiteY2644" fmla="*/ 3054022 h 5278114"/>
              <a:gd name="connsiteX2645" fmla="*/ 1387438 w 5610835"/>
              <a:gd name="connsiteY2645" fmla="*/ 3068339 h 5278114"/>
              <a:gd name="connsiteX2646" fmla="*/ 1366758 w 5610835"/>
              <a:gd name="connsiteY2646" fmla="*/ 3087428 h 5278114"/>
              <a:gd name="connsiteX2647" fmla="*/ 1349260 w 5610835"/>
              <a:gd name="connsiteY2647" fmla="*/ 3084247 h 5278114"/>
              <a:gd name="connsiteX2648" fmla="*/ 1369940 w 5610835"/>
              <a:gd name="connsiteY2648" fmla="*/ 3054022 h 5278114"/>
              <a:gd name="connsiteX2649" fmla="*/ 2383261 w 5610835"/>
              <a:gd name="connsiteY2649" fmla="*/ 3051611 h 5278114"/>
              <a:gd name="connsiteX2650" fmla="*/ 2391191 w 5610835"/>
              <a:gd name="connsiteY2650" fmla="*/ 3054022 h 5278114"/>
              <a:gd name="connsiteX2651" fmla="*/ 2394371 w 5610835"/>
              <a:gd name="connsiteY2651" fmla="*/ 3061976 h 5278114"/>
              <a:gd name="connsiteX2652" fmla="*/ 2397553 w 5610835"/>
              <a:gd name="connsiteY2652" fmla="*/ 3068339 h 5278114"/>
              <a:gd name="connsiteX2653" fmla="*/ 2400735 w 5610835"/>
              <a:gd name="connsiteY2653" fmla="*/ 3073112 h 5278114"/>
              <a:gd name="connsiteX2654" fmla="*/ 2384828 w 5610835"/>
              <a:gd name="connsiteY2654" fmla="*/ 3069930 h 5278114"/>
              <a:gd name="connsiteX2655" fmla="*/ 2391191 w 5610835"/>
              <a:gd name="connsiteY2655" fmla="*/ 3079475 h 5278114"/>
              <a:gd name="connsiteX2656" fmla="*/ 2389599 w 5610835"/>
              <a:gd name="connsiteY2656" fmla="*/ 3092200 h 5278114"/>
              <a:gd name="connsiteX2657" fmla="*/ 2365739 w 5610835"/>
              <a:gd name="connsiteY2657" fmla="*/ 3098563 h 5278114"/>
              <a:gd name="connsiteX2658" fmla="*/ 2335514 w 5610835"/>
              <a:gd name="connsiteY2658" fmla="*/ 3095381 h 5278114"/>
              <a:gd name="connsiteX2659" fmla="*/ 2325970 w 5610835"/>
              <a:gd name="connsiteY2659" fmla="*/ 3089019 h 5278114"/>
              <a:gd name="connsiteX2660" fmla="*/ 2319607 w 5610835"/>
              <a:gd name="connsiteY2660" fmla="*/ 3082656 h 5278114"/>
              <a:gd name="connsiteX2661" fmla="*/ 2314835 w 5610835"/>
              <a:gd name="connsiteY2661" fmla="*/ 3079475 h 5278114"/>
              <a:gd name="connsiteX2662" fmla="*/ 2319607 w 5610835"/>
              <a:gd name="connsiteY2662" fmla="*/ 3076293 h 5278114"/>
              <a:gd name="connsiteX2663" fmla="*/ 2321198 w 5610835"/>
              <a:gd name="connsiteY2663" fmla="*/ 3073112 h 5278114"/>
              <a:gd name="connsiteX2664" fmla="*/ 2345059 w 5610835"/>
              <a:gd name="connsiteY2664" fmla="*/ 3066748 h 5278114"/>
              <a:gd name="connsiteX2665" fmla="*/ 2370511 w 5610835"/>
              <a:gd name="connsiteY2665" fmla="*/ 3071521 h 5278114"/>
              <a:gd name="connsiteX2666" fmla="*/ 2383261 w 5610835"/>
              <a:gd name="connsiteY2666" fmla="*/ 3051611 h 5278114"/>
              <a:gd name="connsiteX2667" fmla="*/ 1341307 w 5610835"/>
              <a:gd name="connsiteY2667" fmla="*/ 3041296 h 5278114"/>
              <a:gd name="connsiteX2668" fmla="*/ 1357215 w 5610835"/>
              <a:gd name="connsiteY2668" fmla="*/ 3049250 h 5278114"/>
              <a:gd name="connsiteX2669" fmla="*/ 1325399 w 5610835"/>
              <a:gd name="connsiteY2669" fmla="*/ 3081066 h 5278114"/>
              <a:gd name="connsiteX2670" fmla="*/ 1341307 w 5610835"/>
              <a:gd name="connsiteY2670" fmla="*/ 3041296 h 5278114"/>
              <a:gd name="connsiteX2671" fmla="*/ 1468566 w 5610835"/>
              <a:gd name="connsiteY2671" fmla="*/ 3038115 h 5278114"/>
              <a:gd name="connsiteX2672" fmla="*/ 1478111 w 5610835"/>
              <a:gd name="connsiteY2672" fmla="*/ 3063567 h 5278114"/>
              <a:gd name="connsiteX2673" fmla="*/ 1474928 w 5610835"/>
              <a:gd name="connsiteY2673" fmla="*/ 3069930 h 5278114"/>
              <a:gd name="connsiteX2674" fmla="*/ 1465384 w 5610835"/>
              <a:gd name="connsiteY2674" fmla="*/ 3046069 h 5278114"/>
              <a:gd name="connsiteX2675" fmla="*/ 1468566 w 5610835"/>
              <a:gd name="connsiteY2675" fmla="*/ 3038115 h 5278114"/>
              <a:gd name="connsiteX2676" fmla="*/ 2224163 w 5610835"/>
              <a:gd name="connsiteY2676" fmla="*/ 3031752 h 5278114"/>
              <a:gd name="connsiteX2677" fmla="*/ 2228936 w 5610835"/>
              <a:gd name="connsiteY2677" fmla="*/ 3039705 h 5278114"/>
              <a:gd name="connsiteX2678" fmla="*/ 2233708 w 5610835"/>
              <a:gd name="connsiteY2678" fmla="*/ 3044477 h 5278114"/>
              <a:gd name="connsiteX2679" fmla="*/ 2238480 w 5610835"/>
              <a:gd name="connsiteY2679" fmla="*/ 3047659 h 5278114"/>
              <a:gd name="connsiteX2680" fmla="*/ 2222573 w 5610835"/>
              <a:gd name="connsiteY2680" fmla="*/ 3049249 h 5278114"/>
              <a:gd name="connsiteX2681" fmla="*/ 2232118 w 5610835"/>
              <a:gd name="connsiteY2681" fmla="*/ 3055613 h 5278114"/>
              <a:gd name="connsiteX2682" fmla="*/ 2235299 w 5610835"/>
              <a:gd name="connsiteY2682" fmla="*/ 3068338 h 5278114"/>
              <a:gd name="connsiteX2683" fmla="*/ 2214619 w 5610835"/>
              <a:gd name="connsiteY2683" fmla="*/ 3081064 h 5278114"/>
              <a:gd name="connsiteX2684" fmla="*/ 2184395 w 5610835"/>
              <a:gd name="connsiteY2684" fmla="*/ 3087427 h 5278114"/>
              <a:gd name="connsiteX2685" fmla="*/ 2173260 w 5610835"/>
              <a:gd name="connsiteY2685" fmla="*/ 3084246 h 5278114"/>
              <a:gd name="connsiteX2686" fmla="*/ 2165306 w 5610835"/>
              <a:gd name="connsiteY2686" fmla="*/ 3079473 h 5278114"/>
              <a:gd name="connsiteX2687" fmla="*/ 2160534 w 5610835"/>
              <a:gd name="connsiteY2687" fmla="*/ 3077883 h 5278114"/>
              <a:gd name="connsiteX2688" fmla="*/ 2163715 w 5610835"/>
              <a:gd name="connsiteY2688" fmla="*/ 3074701 h 5278114"/>
              <a:gd name="connsiteX2689" fmla="*/ 2163715 w 5610835"/>
              <a:gd name="connsiteY2689" fmla="*/ 3071519 h 5278114"/>
              <a:gd name="connsiteX2690" fmla="*/ 2184395 w 5610835"/>
              <a:gd name="connsiteY2690" fmla="*/ 3057203 h 5278114"/>
              <a:gd name="connsiteX2691" fmla="*/ 2209847 w 5610835"/>
              <a:gd name="connsiteY2691" fmla="*/ 3054022 h 5278114"/>
              <a:gd name="connsiteX2692" fmla="*/ 2224163 w 5610835"/>
              <a:gd name="connsiteY2692" fmla="*/ 3031752 h 5278114"/>
              <a:gd name="connsiteX2693" fmla="*/ 2955901 w 5610835"/>
              <a:gd name="connsiteY2693" fmla="*/ 3028571 h 5278114"/>
              <a:gd name="connsiteX2694" fmla="*/ 2874774 w 5610835"/>
              <a:gd name="connsiteY2694" fmla="*/ 3135149 h 5278114"/>
              <a:gd name="connsiteX2695" fmla="*/ 2955901 w 5610835"/>
              <a:gd name="connsiteY2695" fmla="*/ 3028571 h 5278114"/>
              <a:gd name="connsiteX2696" fmla="*/ 2917723 w 5610835"/>
              <a:gd name="connsiteY2696" fmla="*/ 3026980 h 5278114"/>
              <a:gd name="connsiteX2697" fmla="*/ 2833414 w 5610835"/>
              <a:gd name="connsiteY2697" fmla="*/ 3182872 h 5278114"/>
              <a:gd name="connsiteX2698" fmla="*/ 2917723 w 5610835"/>
              <a:gd name="connsiteY2698" fmla="*/ 3026980 h 5278114"/>
              <a:gd name="connsiteX2699" fmla="*/ 1409237 w 5610835"/>
              <a:gd name="connsiteY2699" fmla="*/ 3024469 h 5278114"/>
              <a:gd name="connsiteX2700" fmla="*/ 1417663 w 5610835"/>
              <a:gd name="connsiteY2700" fmla="*/ 3025389 h 5278114"/>
              <a:gd name="connsiteX2701" fmla="*/ 1412890 w 5610835"/>
              <a:gd name="connsiteY2701" fmla="*/ 3049250 h 5278114"/>
              <a:gd name="connsiteX2702" fmla="*/ 1393801 w 5610835"/>
              <a:gd name="connsiteY2702" fmla="*/ 3038115 h 5278114"/>
              <a:gd name="connsiteX2703" fmla="*/ 1409237 w 5610835"/>
              <a:gd name="connsiteY2703" fmla="*/ 3024469 h 5278114"/>
              <a:gd name="connsiteX2704" fmla="*/ 1816514 w 5610835"/>
              <a:gd name="connsiteY2704" fmla="*/ 3023028 h 5278114"/>
              <a:gd name="connsiteX2705" fmla="*/ 1855114 w 5610835"/>
              <a:gd name="connsiteY2705" fmla="*/ 3063567 h 5278114"/>
              <a:gd name="connsiteX2706" fmla="*/ 1746943 w 5610835"/>
              <a:gd name="connsiteY2706" fmla="*/ 3146286 h 5278114"/>
              <a:gd name="connsiteX2707" fmla="*/ 1816514 w 5610835"/>
              <a:gd name="connsiteY2707" fmla="*/ 3023028 h 5278114"/>
              <a:gd name="connsiteX2708" fmla="*/ 1732628 w 5610835"/>
              <a:gd name="connsiteY2708" fmla="*/ 3015844 h 5278114"/>
              <a:gd name="connsiteX2709" fmla="*/ 1721491 w 5610835"/>
              <a:gd name="connsiteY2709" fmla="*/ 3026980 h 5278114"/>
              <a:gd name="connsiteX2710" fmla="*/ 1708766 w 5610835"/>
              <a:gd name="connsiteY2710" fmla="*/ 3052432 h 5278114"/>
              <a:gd name="connsiteX2711" fmla="*/ 1723082 w 5610835"/>
              <a:gd name="connsiteY2711" fmla="*/ 3020616 h 5278114"/>
              <a:gd name="connsiteX2712" fmla="*/ 1732628 w 5610835"/>
              <a:gd name="connsiteY2712" fmla="*/ 3015844 h 5278114"/>
              <a:gd name="connsiteX2713" fmla="*/ 1630819 w 5610835"/>
              <a:gd name="connsiteY2713" fmla="*/ 3006301 h 5278114"/>
              <a:gd name="connsiteX2714" fmla="*/ 1629229 w 5610835"/>
              <a:gd name="connsiteY2714" fmla="*/ 3012664 h 5278114"/>
              <a:gd name="connsiteX2715" fmla="*/ 1653090 w 5610835"/>
              <a:gd name="connsiteY2715" fmla="*/ 3012664 h 5278114"/>
              <a:gd name="connsiteX2716" fmla="*/ 1624456 w 5610835"/>
              <a:gd name="connsiteY2716" fmla="*/ 3025390 h 5278114"/>
              <a:gd name="connsiteX2717" fmla="*/ 1619685 w 5610835"/>
              <a:gd name="connsiteY2717" fmla="*/ 3017436 h 5278114"/>
              <a:gd name="connsiteX2718" fmla="*/ 1630819 w 5610835"/>
              <a:gd name="connsiteY2718" fmla="*/ 3006301 h 5278114"/>
              <a:gd name="connsiteX2719" fmla="*/ 1583098 w 5610835"/>
              <a:gd name="connsiteY2719" fmla="*/ 3006300 h 5278114"/>
              <a:gd name="connsiteX2720" fmla="*/ 1525832 w 5610835"/>
              <a:gd name="connsiteY2720" fmla="*/ 3073111 h 5278114"/>
              <a:gd name="connsiteX2721" fmla="*/ 1516287 w 5610835"/>
              <a:gd name="connsiteY2721" fmla="*/ 3077883 h 5278114"/>
              <a:gd name="connsiteX2722" fmla="*/ 1538557 w 5610835"/>
              <a:gd name="connsiteY2722" fmla="*/ 3039705 h 5278114"/>
              <a:gd name="connsiteX2723" fmla="*/ 1541738 w 5610835"/>
              <a:gd name="connsiteY2723" fmla="*/ 3042887 h 5278114"/>
              <a:gd name="connsiteX2724" fmla="*/ 1583098 w 5610835"/>
              <a:gd name="connsiteY2724" fmla="*/ 3006300 h 5278114"/>
              <a:gd name="connsiteX2725" fmla="*/ 2884318 w 5610835"/>
              <a:gd name="connsiteY2725" fmla="*/ 2998347 h 5278114"/>
              <a:gd name="connsiteX2726" fmla="*/ 2825461 w 5610835"/>
              <a:gd name="connsiteY2726" fmla="*/ 3066748 h 5278114"/>
              <a:gd name="connsiteX2727" fmla="*/ 2788875 w 5610835"/>
              <a:gd name="connsiteY2727" fmla="*/ 3168555 h 5278114"/>
              <a:gd name="connsiteX2728" fmla="*/ 2725245 w 5610835"/>
              <a:gd name="connsiteY2728" fmla="*/ 3104925 h 5278114"/>
              <a:gd name="connsiteX2729" fmla="*/ 2782511 w 5610835"/>
              <a:gd name="connsiteY2729" fmla="*/ 3184462 h 5278114"/>
              <a:gd name="connsiteX2730" fmla="*/ 2838187 w 5610835"/>
              <a:gd name="connsiteY2730" fmla="*/ 3076292 h 5278114"/>
              <a:gd name="connsiteX2731" fmla="*/ 2884318 w 5610835"/>
              <a:gd name="connsiteY2731" fmla="*/ 2998347 h 5278114"/>
              <a:gd name="connsiteX2732" fmla="*/ 1400165 w 5610835"/>
              <a:gd name="connsiteY2732" fmla="*/ 2996756 h 5278114"/>
              <a:gd name="connsiteX2733" fmla="*/ 1377894 w 5610835"/>
              <a:gd name="connsiteY2733" fmla="*/ 3034934 h 5278114"/>
              <a:gd name="connsiteX2734" fmla="*/ 1361986 w 5610835"/>
              <a:gd name="connsiteY2734" fmla="*/ 3023799 h 5278114"/>
              <a:gd name="connsiteX2735" fmla="*/ 1400165 w 5610835"/>
              <a:gd name="connsiteY2735" fmla="*/ 2996756 h 5278114"/>
              <a:gd name="connsiteX2736" fmla="*/ 1486063 w 5610835"/>
              <a:gd name="connsiteY2736" fmla="*/ 2977667 h 5278114"/>
              <a:gd name="connsiteX2737" fmla="*/ 1492426 w 5610835"/>
              <a:gd name="connsiteY2737" fmla="*/ 2979257 h 5278114"/>
              <a:gd name="connsiteX2738" fmla="*/ 1414480 w 5610835"/>
              <a:gd name="connsiteY2738" fmla="*/ 3139922 h 5278114"/>
              <a:gd name="connsiteX2739" fmla="*/ 1379484 w 5610835"/>
              <a:gd name="connsiteY2739" fmla="*/ 3092200 h 5278114"/>
              <a:gd name="connsiteX2740" fmla="*/ 1392209 w 5610835"/>
              <a:gd name="connsiteY2740" fmla="*/ 3066748 h 5278114"/>
              <a:gd name="connsiteX2741" fmla="*/ 1416071 w 5610835"/>
              <a:gd name="connsiteY2741" fmla="*/ 3068339 h 5278114"/>
              <a:gd name="connsiteX2742" fmla="*/ 1404935 w 5610835"/>
              <a:gd name="connsiteY2742" fmla="*/ 3119243 h 5278114"/>
              <a:gd name="connsiteX2743" fmla="*/ 1486063 w 5610835"/>
              <a:gd name="connsiteY2743" fmla="*/ 2977667 h 5278114"/>
              <a:gd name="connsiteX2744" fmla="*/ 1564010 w 5610835"/>
              <a:gd name="connsiteY2744" fmla="*/ 2976076 h 5278114"/>
              <a:gd name="connsiteX2745" fmla="*/ 1559238 w 5610835"/>
              <a:gd name="connsiteY2745" fmla="*/ 2988802 h 5278114"/>
              <a:gd name="connsiteX2746" fmla="*/ 1538557 w 5610835"/>
              <a:gd name="connsiteY2746" fmla="*/ 3017436 h 5278114"/>
              <a:gd name="connsiteX2747" fmla="*/ 1533785 w 5610835"/>
              <a:gd name="connsiteY2747" fmla="*/ 3023799 h 5278114"/>
              <a:gd name="connsiteX2748" fmla="*/ 1517878 w 5610835"/>
              <a:gd name="connsiteY2748" fmla="*/ 3049250 h 5278114"/>
              <a:gd name="connsiteX2749" fmla="*/ 1522651 w 5610835"/>
              <a:gd name="connsiteY2749" fmla="*/ 3041296 h 5278114"/>
              <a:gd name="connsiteX2750" fmla="*/ 1511515 w 5610835"/>
              <a:gd name="connsiteY2750" fmla="*/ 3028571 h 5278114"/>
              <a:gd name="connsiteX2751" fmla="*/ 1517878 w 5610835"/>
              <a:gd name="connsiteY2751" fmla="*/ 3019026 h 5278114"/>
              <a:gd name="connsiteX2752" fmla="*/ 1521060 w 5610835"/>
              <a:gd name="connsiteY2752" fmla="*/ 3023799 h 5278114"/>
              <a:gd name="connsiteX2753" fmla="*/ 1564010 w 5610835"/>
              <a:gd name="connsiteY2753" fmla="*/ 2976076 h 5278114"/>
              <a:gd name="connsiteX2754" fmla="*/ 2787283 w 5610835"/>
              <a:gd name="connsiteY2754" fmla="*/ 2972895 h 5278114"/>
              <a:gd name="connsiteX2755" fmla="*/ 2814327 w 5610835"/>
              <a:gd name="connsiteY2755" fmla="*/ 3011073 h 5278114"/>
              <a:gd name="connsiteX2756" fmla="*/ 2787283 w 5610835"/>
              <a:gd name="connsiteY2756" fmla="*/ 2972895 h 5278114"/>
              <a:gd name="connsiteX2757" fmla="*/ 1594234 w 5610835"/>
              <a:gd name="connsiteY2757" fmla="*/ 2972895 h 5278114"/>
              <a:gd name="connsiteX2758" fmla="*/ 1571963 w 5610835"/>
              <a:gd name="connsiteY2758" fmla="*/ 2996757 h 5278114"/>
              <a:gd name="connsiteX2759" fmla="*/ 1584690 w 5610835"/>
              <a:gd name="connsiteY2759" fmla="*/ 2980849 h 5278114"/>
              <a:gd name="connsiteX2760" fmla="*/ 1594234 w 5610835"/>
              <a:gd name="connsiteY2760" fmla="*/ 2972895 h 5278114"/>
              <a:gd name="connsiteX2761" fmla="*/ 1451068 w 5610835"/>
              <a:gd name="connsiteY2761" fmla="*/ 2961759 h 5278114"/>
              <a:gd name="connsiteX2762" fmla="*/ 1459022 w 5610835"/>
              <a:gd name="connsiteY2762" fmla="*/ 2974485 h 5278114"/>
              <a:gd name="connsiteX2763" fmla="*/ 1435160 w 5610835"/>
              <a:gd name="connsiteY2763" fmla="*/ 3019025 h 5278114"/>
              <a:gd name="connsiteX2764" fmla="*/ 1451068 w 5610835"/>
              <a:gd name="connsiteY2764" fmla="*/ 2961759 h 5278114"/>
              <a:gd name="connsiteX2765" fmla="*/ 1645137 w 5610835"/>
              <a:gd name="connsiteY2765" fmla="*/ 2953807 h 5278114"/>
              <a:gd name="connsiteX2766" fmla="*/ 1654682 w 5610835"/>
              <a:gd name="connsiteY2766" fmla="*/ 2960170 h 5278114"/>
              <a:gd name="connsiteX2767" fmla="*/ 1640365 w 5610835"/>
              <a:gd name="connsiteY2767" fmla="*/ 2961761 h 5278114"/>
              <a:gd name="connsiteX2768" fmla="*/ 1645137 w 5610835"/>
              <a:gd name="connsiteY2768" fmla="*/ 2953807 h 5278114"/>
              <a:gd name="connsiteX2769" fmla="*/ 2788875 w 5610835"/>
              <a:gd name="connsiteY2769" fmla="*/ 2944262 h 5278114"/>
              <a:gd name="connsiteX2770" fmla="*/ 2825461 w 5610835"/>
              <a:gd name="connsiteY2770" fmla="*/ 2974486 h 5278114"/>
              <a:gd name="connsiteX2771" fmla="*/ 2814326 w 5610835"/>
              <a:gd name="connsiteY2771" fmla="*/ 2988803 h 5278114"/>
              <a:gd name="connsiteX2772" fmla="*/ 2788875 w 5610835"/>
              <a:gd name="connsiteY2772" fmla="*/ 2944262 h 5278114"/>
              <a:gd name="connsiteX2773" fmla="*/ 1645137 w 5610835"/>
              <a:gd name="connsiteY2773" fmla="*/ 2926763 h 5278114"/>
              <a:gd name="connsiteX2774" fmla="*/ 1638775 w 5610835"/>
              <a:gd name="connsiteY2774" fmla="*/ 2934718 h 5278114"/>
              <a:gd name="connsiteX2775" fmla="*/ 1610141 w 5610835"/>
              <a:gd name="connsiteY2775" fmla="*/ 2945853 h 5278114"/>
              <a:gd name="connsiteX2776" fmla="*/ 1626048 w 5610835"/>
              <a:gd name="connsiteY2776" fmla="*/ 2952215 h 5278114"/>
              <a:gd name="connsiteX2777" fmla="*/ 1621275 w 5610835"/>
              <a:gd name="connsiteY2777" fmla="*/ 2958579 h 5278114"/>
              <a:gd name="connsiteX2778" fmla="*/ 1602187 w 5610835"/>
              <a:gd name="connsiteY2778" fmla="*/ 2953806 h 5278114"/>
              <a:gd name="connsiteX2779" fmla="*/ 1611732 w 5610835"/>
              <a:gd name="connsiteY2779" fmla="*/ 2936308 h 5278114"/>
              <a:gd name="connsiteX2780" fmla="*/ 1645137 w 5610835"/>
              <a:gd name="connsiteY2780" fmla="*/ 2926763 h 5278114"/>
              <a:gd name="connsiteX2781" fmla="*/ 1662634 w 5610835"/>
              <a:gd name="connsiteY2781" fmla="*/ 2923582 h 5278114"/>
              <a:gd name="connsiteX2782" fmla="*/ 1670589 w 5610835"/>
              <a:gd name="connsiteY2782" fmla="*/ 2923582 h 5278114"/>
              <a:gd name="connsiteX2783" fmla="*/ 1657862 w 5610835"/>
              <a:gd name="connsiteY2783" fmla="*/ 2931536 h 5278114"/>
              <a:gd name="connsiteX2784" fmla="*/ 1662634 w 5610835"/>
              <a:gd name="connsiteY2784" fmla="*/ 2923582 h 5278114"/>
              <a:gd name="connsiteX2785" fmla="*/ 2835004 w 5610835"/>
              <a:gd name="connsiteY2785" fmla="*/ 2886995 h 5278114"/>
              <a:gd name="connsiteX2786" fmla="*/ 2850913 w 5610835"/>
              <a:gd name="connsiteY2786" fmla="*/ 2926765 h 5278114"/>
              <a:gd name="connsiteX2787" fmla="*/ 2831823 w 5610835"/>
              <a:gd name="connsiteY2787" fmla="*/ 2904494 h 5278114"/>
              <a:gd name="connsiteX2788" fmla="*/ 2835004 w 5610835"/>
              <a:gd name="connsiteY2788" fmla="*/ 2886995 h 5278114"/>
              <a:gd name="connsiteX2789" fmla="*/ 1767623 w 5610835"/>
              <a:gd name="connsiteY2789" fmla="*/ 2877451 h 5278114"/>
              <a:gd name="connsiteX2790" fmla="*/ 1753306 w 5610835"/>
              <a:gd name="connsiteY2790" fmla="*/ 2914038 h 5278114"/>
              <a:gd name="connsiteX2791" fmla="*/ 1777167 w 5610835"/>
              <a:gd name="connsiteY2791" fmla="*/ 2899721 h 5278114"/>
              <a:gd name="connsiteX2792" fmla="*/ 1705585 w 5610835"/>
              <a:gd name="connsiteY2792" fmla="*/ 3019027 h 5278114"/>
              <a:gd name="connsiteX2793" fmla="*/ 1688086 w 5610835"/>
              <a:gd name="connsiteY2793" fmla="*/ 3050842 h 5278114"/>
              <a:gd name="connsiteX2794" fmla="*/ 1667407 w 5610835"/>
              <a:gd name="connsiteY2794" fmla="*/ 3049251 h 5278114"/>
              <a:gd name="connsiteX2795" fmla="*/ 1691268 w 5610835"/>
              <a:gd name="connsiteY2795" fmla="*/ 3020618 h 5278114"/>
              <a:gd name="connsiteX2796" fmla="*/ 1694449 w 5610835"/>
              <a:gd name="connsiteY2796" fmla="*/ 2987212 h 5278114"/>
              <a:gd name="connsiteX2797" fmla="*/ 1767623 w 5610835"/>
              <a:gd name="connsiteY2797" fmla="*/ 2877451 h 5278114"/>
              <a:gd name="connsiteX2798" fmla="*/ 1533785 w 5610835"/>
              <a:gd name="connsiteY2798" fmla="*/ 2877451 h 5278114"/>
              <a:gd name="connsiteX2799" fmla="*/ 1478109 w 5610835"/>
              <a:gd name="connsiteY2799" fmla="*/ 2953806 h 5278114"/>
              <a:gd name="connsiteX2800" fmla="*/ 1455839 w 5610835"/>
              <a:gd name="connsiteY2800" fmla="*/ 2937899 h 5278114"/>
              <a:gd name="connsiteX2801" fmla="*/ 1533785 w 5610835"/>
              <a:gd name="connsiteY2801" fmla="*/ 2877451 h 5278114"/>
              <a:gd name="connsiteX2802" fmla="*/ 2769785 w 5610835"/>
              <a:gd name="connsiteY2802" fmla="*/ 2875860 h 5278114"/>
              <a:gd name="connsiteX2803" fmla="*/ 2838187 w 5610835"/>
              <a:gd name="connsiteY2803" fmla="*/ 2969714 h 5278114"/>
              <a:gd name="connsiteX2804" fmla="*/ 2769785 w 5610835"/>
              <a:gd name="connsiteY2804" fmla="*/ 2875860 h 5278114"/>
              <a:gd name="connsiteX2805" fmla="*/ 1634002 w 5610835"/>
              <a:gd name="connsiteY2805" fmla="*/ 2869497 h 5278114"/>
              <a:gd name="connsiteX2806" fmla="*/ 1605368 w 5610835"/>
              <a:gd name="connsiteY2806" fmla="*/ 2906084 h 5278114"/>
              <a:gd name="connsiteX2807" fmla="*/ 1651500 w 5610835"/>
              <a:gd name="connsiteY2807" fmla="*/ 2893358 h 5278114"/>
              <a:gd name="connsiteX2808" fmla="*/ 1583098 w 5610835"/>
              <a:gd name="connsiteY2808" fmla="*/ 2933126 h 5278114"/>
              <a:gd name="connsiteX2809" fmla="*/ 1606959 w 5610835"/>
              <a:gd name="connsiteY2809" fmla="*/ 2934717 h 5278114"/>
              <a:gd name="connsiteX2810" fmla="*/ 1591052 w 5610835"/>
              <a:gd name="connsiteY2810" fmla="*/ 2950624 h 5278114"/>
              <a:gd name="connsiteX2811" fmla="*/ 1544920 w 5610835"/>
              <a:gd name="connsiteY2811" fmla="*/ 2953806 h 5278114"/>
              <a:gd name="connsiteX2812" fmla="*/ 1509924 w 5610835"/>
              <a:gd name="connsiteY2812" fmla="*/ 2971304 h 5278114"/>
              <a:gd name="connsiteX2813" fmla="*/ 1533785 w 5610835"/>
              <a:gd name="connsiteY2813" fmla="*/ 2936308 h 5278114"/>
              <a:gd name="connsiteX2814" fmla="*/ 1538557 w 5610835"/>
              <a:gd name="connsiteY2814" fmla="*/ 2929945 h 5278114"/>
              <a:gd name="connsiteX2815" fmla="*/ 1541739 w 5610835"/>
              <a:gd name="connsiteY2815" fmla="*/ 2926763 h 5278114"/>
              <a:gd name="connsiteX2816" fmla="*/ 1551283 w 5610835"/>
              <a:gd name="connsiteY2816" fmla="*/ 2918810 h 5278114"/>
              <a:gd name="connsiteX2817" fmla="*/ 1535376 w 5610835"/>
              <a:gd name="connsiteY2817" fmla="*/ 2949034 h 5278114"/>
              <a:gd name="connsiteX2818" fmla="*/ 1634002 w 5610835"/>
              <a:gd name="connsiteY2818" fmla="*/ 2869497 h 5278114"/>
              <a:gd name="connsiteX2819" fmla="*/ 2986125 w 5610835"/>
              <a:gd name="connsiteY2819" fmla="*/ 2859953 h 5278114"/>
              <a:gd name="connsiteX2820" fmla="*/ 3025894 w 5610835"/>
              <a:gd name="connsiteY2820" fmla="*/ 2936308 h 5278114"/>
              <a:gd name="connsiteX2821" fmla="*/ 2986125 w 5610835"/>
              <a:gd name="connsiteY2821" fmla="*/ 2859953 h 5278114"/>
              <a:gd name="connsiteX2822" fmla="*/ 1676952 w 5610835"/>
              <a:gd name="connsiteY2822" fmla="*/ 2855181 h 5278114"/>
              <a:gd name="connsiteX2823" fmla="*/ 1686495 w 5610835"/>
              <a:gd name="connsiteY2823" fmla="*/ 2891767 h 5278114"/>
              <a:gd name="connsiteX2824" fmla="*/ 1707176 w 5610835"/>
              <a:gd name="connsiteY2824" fmla="*/ 2858362 h 5278114"/>
              <a:gd name="connsiteX2825" fmla="*/ 1700813 w 5610835"/>
              <a:gd name="connsiteY2825" fmla="*/ 2896539 h 5278114"/>
              <a:gd name="connsiteX2826" fmla="*/ 1683314 w 5610835"/>
              <a:gd name="connsiteY2826" fmla="*/ 2921991 h 5278114"/>
              <a:gd name="connsiteX2827" fmla="*/ 1676952 w 5610835"/>
              <a:gd name="connsiteY2827" fmla="*/ 2855181 h 5278114"/>
              <a:gd name="connsiteX2828" fmla="*/ 1837616 w 5610835"/>
              <a:gd name="connsiteY2828" fmla="*/ 2851999 h 5278114"/>
              <a:gd name="connsiteX2829" fmla="*/ 1842388 w 5610835"/>
              <a:gd name="connsiteY2829" fmla="*/ 2869497 h 5278114"/>
              <a:gd name="connsiteX2830" fmla="*/ 1856704 w 5610835"/>
              <a:gd name="connsiteY2830" fmla="*/ 2856771 h 5278114"/>
              <a:gd name="connsiteX2831" fmla="*/ 1848751 w 5610835"/>
              <a:gd name="connsiteY2831" fmla="*/ 2871088 h 5278114"/>
              <a:gd name="connsiteX2832" fmla="*/ 1791485 w 5610835"/>
              <a:gd name="connsiteY2832" fmla="*/ 2952216 h 5278114"/>
              <a:gd name="connsiteX2833" fmla="*/ 1775577 w 5610835"/>
              <a:gd name="connsiteY2833" fmla="*/ 2971305 h 5278114"/>
              <a:gd name="connsiteX2834" fmla="*/ 1794666 w 5610835"/>
              <a:gd name="connsiteY2834" fmla="*/ 2914038 h 5278114"/>
              <a:gd name="connsiteX2835" fmla="*/ 1820118 w 5610835"/>
              <a:gd name="connsiteY2835" fmla="*/ 2875860 h 5278114"/>
              <a:gd name="connsiteX2836" fmla="*/ 1837616 w 5610835"/>
              <a:gd name="connsiteY2836" fmla="*/ 2851999 h 5278114"/>
              <a:gd name="connsiteX2837" fmla="*/ 1894883 w 5610835"/>
              <a:gd name="connsiteY2837" fmla="*/ 2844045 h 5278114"/>
              <a:gd name="connsiteX2838" fmla="*/ 1888520 w 5610835"/>
              <a:gd name="connsiteY2838" fmla="*/ 2866315 h 5278114"/>
              <a:gd name="connsiteX2839" fmla="*/ 1866249 w 5610835"/>
              <a:gd name="connsiteY2839" fmla="*/ 2906085 h 5278114"/>
              <a:gd name="connsiteX2840" fmla="*/ 1875794 w 5610835"/>
              <a:gd name="connsiteY2840" fmla="*/ 2902903 h 5278114"/>
              <a:gd name="connsiteX2841" fmla="*/ 1829662 w 5610835"/>
              <a:gd name="connsiteY2841" fmla="*/ 2990394 h 5278114"/>
              <a:gd name="connsiteX2842" fmla="*/ 1775577 w 5610835"/>
              <a:gd name="connsiteY2842" fmla="*/ 2991984 h 5278114"/>
              <a:gd name="connsiteX2843" fmla="*/ 1818528 w 5610835"/>
              <a:gd name="connsiteY2843" fmla="*/ 2944262 h 5278114"/>
              <a:gd name="connsiteX2844" fmla="*/ 1888520 w 5610835"/>
              <a:gd name="connsiteY2844" fmla="*/ 2845636 h 5278114"/>
              <a:gd name="connsiteX2845" fmla="*/ 1894883 w 5610835"/>
              <a:gd name="connsiteY2845" fmla="*/ 2844045 h 5278114"/>
              <a:gd name="connsiteX2846" fmla="*/ 1746943 w 5610835"/>
              <a:gd name="connsiteY2846" fmla="*/ 2840864 h 5278114"/>
              <a:gd name="connsiteX2847" fmla="*/ 1746943 w 5610835"/>
              <a:gd name="connsiteY2847" fmla="*/ 2879042 h 5278114"/>
              <a:gd name="connsiteX2848" fmla="*/ 1692858 w 5610835"/>
              <a:gd name="connsiteY2848" fmla="*/ 2961761 h 5278114"/>
              <a:gd name="connsiteX2849" fmla="*/ 1688086 w 5610835"/>
              <a:gd name="connsiteY2849" fmla="*/ 2942672 h 5278114"/>
              <a:gd name="connsiteX2850" fmla="*/ 1746943 w 5610835"/>
              <a:gd name="connsiteY2850" fmla="*/ 2840864 h 5278114"/>
              <a:gd name="connsiteX2851" fmla="*/ 2757059 w 5610835"/>
              <a:gd name="connsiteY2851" fmla="*/ 2831319 h 5278114"/>
              <a:gd name="connsiteX2852" fmla="*/ 2836595 w 5610835"/>
              <a:gd name="connsiteY2852" fmla="*/ 2955397 h 5278114"/>
              <a:gd name="connsiteX2853" fmla="*/ 2757059 w 5610835"/>
              <a:gd name="connsiteY2853" fmla="*/ 2831319 h 5278114"/>
              <a:gd name="connsiteX2854" fmla="*/ 2626619 w 5610835"/>
              <a:gd name="connsiteY2854" fmla="*/ 2829729 h 5278114"/>
              <a:gd name="connsiteX2855" fmla="*/ 2628210 w 5610835"/>
              <a:gd name="connsiteY2855" fmla="*/ 2855181 h 5278114"/>
              <a:gd name="connsiteX2856" fmla="*/ 2601167 w 5610835"/>
              <a:gd name="connsiteY2856" fmla="*/ 2866315 h 5278114"/>
              <a:gd name="connsiteX2857" fmla="*/ 2660025 w 5610835"/>
              <a:gd name="connsiteY2857" fmla="*/ 2858362 h 5278114"/>
              <a:gd name="connsiteX2858" fmla="*/ 2677523 w 5610835"/>
              <a:gd name="connsiteY2858" fmla="*/ 2890176 h 5278114"/>
              <a:gd name="connsiteX2859" fmla="*/ 2572534 w 5610835"/>
              <a:gd name="connsiteY2859" fmla="*/ 2882223 h 5278114"/>
              <a:gd name="connsiteX2860" fmla="*/ 2626619 w 5610835"/>
              <a:gd name="connsiteY2860" fmla="*/ 2829729 h 5278114"/>
              <a:gd name="connsiteX2861" fmla="*/ 2731608 w 5610835"/>
              <a:gd name="connsiteY2861" fmla="*/ 2823366 h 5278114"/>
              <a:gd name="connsiteX2862" fmla="*/ 2753879 w 5610835"/>
              <a:gd name="connsiteY2862" fmla="*/ 2864725 h 5278114"/>
              <a:gd name="connsiteX2863" fmla="*/ 2731608 w 5610835"/>
              <a:gd name="connsiteY2863" fmla="*/ 2823366 h 5278114"/>
              <a:gd name="connsiteX2864" fmla="*/ 1797847 w 5610835"/>
              <a:gd name="connsiteY2864" fmla="*/ 2820184 h 5278114"/>
              <a:gd name="connsiteX2865" fmla="*/ 1813756 w 5610835"/>
              <a:gd name="connsiteY2865" fmla="*/ 2832910 h 5278114"/>
              <a:gd name="connsiteX2866" fmla="*/ 1805801 w 5610835"/>
              <a:gd name="connsiteY2866" fmla="*/ 2867906 h 5278114"/>
              <a:gd name="connsiteX2867" fmla="*/ 1799437 w 5610835"/>
              <a:gd name="connsiteY2867" fmla="*/ 2877450 h 5278114"/>
              <a:gd name="connsiteX2868" fmla="*/ 1799437 w 5610835"/>
              <a:gd name="connsiteY2868" fmla="*/ 2871087 h 5278114"/>
              <a:gd name="connsiteX2869" fmla="*/ 1791484 w 5610835"/>
              <a:gd name="connsiteY2869" fmla="*/ 2831319 h 5278114"/>
              <a:gd name="connsiteX2870" fmla="*/ 1797847 w 5610835"/>
              <a:gd name="connsiteY2870" fmla="*/ 2820184 h 5278114"/>
              <a:gd name="connsiteX2871" fmla="*/ 1786713 w 5610835"/>
              <a:gd name="connsiteY2871" fmla="*/ 2804277 h 5278114"/>
              <a:gd name="connsiteX2872" fmla="*/ 1788304 w 5610835"/>
              <a:gd name="connsiteY2872" fmla="*/ 2805868 h 5278114"/>
              <a:gd name="connsiteX2873" fmla="*/ 1786713 w 5610835"/>
              <a:gd name="connsiteY2873" fmla="*/ 2809049 h 5278114"/>
              <a:gd name="connsiteX2874" fmla="*/ 1786713 w 5610835"/>
              <a:gd name="connsiteY2874" fmla="*/ 2804277 h 5278114"/>
              <a:gd name="connsiteX2875" fmla="*/ 2675932 w 5610835"/>
              <a:gd name="connsiteY2875" fmla="*/ 2786779 h 5278114"/>
              <a:gd name="connsiteX2876" fmla="*/ 2725246 w 5610835"/>
              <a:gd name="connsiteY2876" fmla="*/ 2869497 h 5278114"/>
              <a:gd name="connsiteX2877" fmla="*/ 2675932 w 5610835"/>
              <a:gd name="connsiteY2877" fmla="*/ 2786779 h 5278114"/>
              <a:gd name="connsiteX2878" fmla="*/ 3003623 w 5610835"/>
              <a:gd name="connsiteY2878" fmla="*/ 2782006 h 5278114"/>
              <a:gd name="connsiteX2879" fmla="*/ 3017941 w 5610835"/>
              <a:gd name="connsiteY2879" fmla="*/ 2810640 h 5278114"/>
              <a:gd name="connsiteX2880" fmla="*/ 3003623 w 5610835"/>
              <a:gd name="connsiteY2880" fmla="*/ 2782006 h 5278114"/>
              <a:gd name="connsiteX2881" fmla="*/ 2819098 w 5610835"/>
              <a:gd name="connsiteY2881" fmla="*/ 2754964 h 5278114"/>
              <a:gd name="connsiteX2882" fmla="*/ 2982944 w 5610835"/>
              <a:gd name="connsiteY2882" fmla="*/ 2958578 h 5278114"/>
              <a:gd name="connsiteX2883" fmla="*/ 2865229 w 5610835"/>
              <a:gd name="connsiteY2883" fmla="*/ 2815412 h 5278114"/>
              <a:gd name="connsiteX2884" fmla="*/ 2863638 w 5610835"/>
              <a:gd name="connsiteY2884" fmla="*/ 2828138 h 5278114"/>
              <a:gd name="connsiteX2885" fmla="*/ 2819098 w 5610835"/>
              <a:gd name="connsiteY2885" fmla="*/ 2754964 h 5278114"/>
              <a:gd name="connsiteX2886" fmla="*/ 2870001 w 5610835"/>
              <a:gd name="connsiteY2886" fmla="*/ 2745419 h 5278114"/>
              <a:gd name="connsiteX2887" fmla="*/ 2965445 w 5610835"/>
              <a:gd name="connsiteY2887" fmla="*/ 2863134 h 5278114"/>
              <a:gd name="connsiteX2888" fmla="*/ 2870001 w 5610835"/>
              <a:gd name="connsiteY2888" fmla="*/ 2745419 h 5278114"/>
              <a:gd name="connsiteX2889" fmla="*/ 2909770 w 5610835"/>
              <a:gd name="connsiteY2889" fmla="*/ 2743829 h 5278114"/>
              <a:gd name="connsiteX2890" fmla="*/ 2943175 w 5610835"/>
              <a:gd name="connsiteY2890" fmla="*/ 2754964 h 5278114"/>
              <a:gd name="connsiteX2891" fmla="*/ 3022713 w 5610835"/>
              <a:gd name="connsiteY2891" fmla="*/ 2861544 h 5278114"/>
              <a:gd name="connsiteX2892" fmla="*/ 3024304 w 5610835"/>
              <a:gd name="connsiteY2892" fmla="*/ 2883815 h 5278114"/>
              <a:gd name="connsiteX2893" fmla="*/ 2909770 w 5610835"/>
              <a:gd name="connsiteY2893" fmla="*/ 2743829 h 5278114"/>
              <a:gd name="connsiteX2894" fmla="*/ 2838187 w 5610835"/>
              <a:gd name="connsiteY2894" fmla="*/ 2742238 h 5278114"/>
              <a:gd name="connsiteX2895" fmla="*/ 3029075 w 5610835"/>
              <a:gd name="connsiteY2895" fmla="*/ 2969715 h 5278114"/>
              <a:gd name="connsiteX2896" fmla="*/ 3030666 w 5610835"/>
              <a:gd name="connsiteY2896" fmla="*/ 3009482 h 5278114"/>
              <a:gd name="connsiteX2897" fmla="*/ 3011577 w 5610835"/>
              <a:gd name="connsiteY2897" fmla="*/ 2969715 h 5278114"/>
              <a:gd name="connsiteX2898" fmla="*/ 2838187 w 5610835"/>
              <a:gd name="connsiteY2898" fmla="*/ 2742238 h 5278114"/>
              <a:gd name="connsiteX2899" fmla="*/ 1312673 w 5610835"/>
              <a:gd name="connsiteY2899" fmla="*/ 2731103 h 5278114"/>
              <a:gd name="connsiteX2900" fmla="*/ 1326990 w 5610835"/>
              <a:gd name="connsiteY2900" fmla="*/ 2734284 h 5278114"/>
              <a:gd name="connsiteX2901" fmla="*/ 1296766 w 5610835"/>
              <a:gd name="connsiteY2901" fmla="*/ 2756555 h 5278114"/>
              <a:gd name="connsiteX2902" fmla="*/ 1312673 w 5610835"/>
              <a:gd name="connsiteY2902" fmla="*/ 2731103 h 5278114"/>
              <a:gd name="connsiteX2903" fmla="*/ 1602187 w 5610835"/>
              <a:gd name="connsiteY2903" fmla="*/ 2715195 h 5278114"/>
              <a:gd name="connsiteX2904" fmla="*/ 1567190 w 5610835"/>
              <a:gd name="connsiteY2904" fmla="*/ 2761328 h 5278114"/>
              <a:gd name="connsiteX2905" fmla="*/ 1602187 w 5610835"/>
              <a:gd name="connsiteY2905" fmla="*/ 2715195 h 5278114"/>
              <a:gd name="connsiteX2906" fmla="*/ 829090 w 5610835"/>
              <a:gd name="connsiteY2906" fmla="*/ 2699289 h 5278114"/>
              <a:gd name="connsiteX2907" fmla="*/ 797275 w 5610835"/>
              <a:gd name="connsiteY2907" fmla="*/ 2745420 h 5278114"/>
              <a:gd name="connsiteX2908" fmla="*/ 833863 w 5610835"/>
              <a:gd name="connsiteY2908" fmla="*/ 2724740 h 5278114"/>
              <a:gd name="connsiteX2909" fmla="*/ 776596 w 5610835"/>
              <a:gd name="connsiteY2909" fmla="*/ 2804277 h 5278114"/>
              <a:gd name="connsiteX2910" fmla="*/ 900674 w 5610835"/>
              <a:gd name="connsiteY2910" fmla="*/ 2710424 h 5278114"/>
              <a:gd name="connsiteX2911" fmla="*/ 830681 w 5610835"/>
              <a:gd name="connsiteY2911" fmla="*/ 2797914 h 5278114"/>
              <a:gd name="connsiteX2912" fmla="*/ 908627 w 5610835"/>
              <a:gd name="connsiteY2912" fmla="*/ 2754964 h 5278114"/>
              <a:gd name="connsiteX2913" fmla="*/ 824318 w 5610835"/>
              <a:gd name="connsiteY2913" fmla="*/ 2842455 h 5278114"/>
              <a:gd name="connsiteX2914" fmla="*/ 927716 w 5610835"/>
              <a:gd name="connsiteY2914" fmla="*/ 2780416 h 5278114"/>
              <a:gd name="connsiteX2915" fmla="*/ 835453 w 5610835"/>
              <a:gd name="connsiteY2915" fmla="*/ 2877451 h 5278114"/>
              <a:gd name="connsiteX2916" fmla="*/ 959531 w 5610835"/>
              <a:gd name="connsiteY2916" fmla="*/ 2780416 h 5278114"/>
              <a:gd name="connsiteX2917" fmla="*/ 988164 w 5610835"/>
              <a:gd name="connsiteY2917" fmla="*/ 2783598 h 5278114"/>
              <a:gd name="connsiteX2918" fmla="*/ 805229 w 5610835"/>
              <a:gd name="connsiteY2918" fmla="*/ 2920400 h 5278114"/>
              <a:gd name="connsiteX2919" fmla="*/ 1089970 w 5610835"/>
              <a:gd name="connsiteY2919" fmla="*/ 2745420 h 5278114"/>
              <a:gd name="connsiteX2920" fmla="*/ 938851 w 5610835"/>
              <a:gd name="connsiteY2920" fmla="*/ 2879042 h 5278114"/>
              <a:gd name="connsiteX2921" fmla="*/ 891129 w 5610835"/>
              <a:gd name="connsiteY2921" fmla="*/ 2918810 h 5278114"/>
              <a:gd name="connsiteX2922" fmla="*/ 1110651 w 5610835"/>
              <a:gd name="connsiteY2922" fmla="*/ 2767691 h 5278114"/>
              <a:gd name="connsiteX2923" fmla="*/ 1005662 w 5610835"/>
              <a:gd name="connsiteY2923" fmla="*/ 2890176 h 5278114"/>
              <a:gd name="connsiteX2924" fmla="*/ 1152009 w 5610835"/>
              <a:gd name="connsiteY2924" fmla="*/ 2791552 h 5278114"/>
              <a:gd name="connsiteX2925" fmla="*/ 1070882 w 5610835"/>
              <a:gd name="connsiteY2925" fmla="*/ 2883814 h 5278114"/>
              <a:gd name="connsiteX2926" fmla="*/ 1164735 w 5610835"/>
              <a:gd name="connsiteY2926" fmla="*/ 2815412 h 5278114"/>
              <a:gd name="connsiteX2927" fmla="*/ 1252227 w 5610835"/>
              <a:gd name="connsiteY2927" fmla="*/ 2759737 h 5278114"/>
              <a:gd name="connsiteX2928" fmla="*/ 1089970 w 5610835"/>
              <a:gd name="connsiteY2928" fmla="*/ 2909266 h 5278114"/>
              <a:gd name="connsiteX2929" fmla="*/ 1295175 w 5610835"/>
              <a:gd name="connsiteY2929" fmla="*/ 2770872 h 5278114"/>
              <a:gd name="connsiteX2930" fmla="*/ 1169508 w 5610835"/>
              <a:gd name="connsiteY2930" fmla="*/ 2902903 h 5278114"/>
              <a:gd name="connsiteX2931" fmla="*/ 1355623 w 5610835"/>
              <a:gd name="connsiteY2931" fmla="*/ 2754964 h 5278114"/>
              <a:gd name="connsiteX2932" fmla="*/ 1220411 w 5610835"/>
              <a:gd name="connsiteY2932" fmla="*/ 2894949 h 5278114"/>
              <a:gd name="connsiteX2933" fmla="*/ 1180642 w 5610835"/>
              <a:gd name="connsiteY2933" fmla="*/ 2931536 h 5278114"/>
              <a:gd name="connsiteX2934" fmla="*/ 1433570 w 5610835"/>
              <a:gd name="connsiteY2934" fmla="*/ 2742238 h 5278114"/>
              <a:gd name="connsiteX2935" fmla="*/ 1086789 w 5610835"/>
              <a:gd name="connsiteY2935" fmla="*/ 3017435 h 5278114"/>
              <a:gd name="connsiteX2936" fmla="*/ 1053384 w 5610835"/>
              <a:gd name="connsiteY2936" fmla="*/ 3038115 h 5278114"/>
              <a:gd name="connsiteX2937" fmla="*/ 1452659 w 5610835"/>
              <a:gd name="connsiteY2937" fmla="*/ 2764509 h 5278114"/>
              <a:gd name="connsiteX2938" fmla="*/ 1497199 w 5610835"/>
              <a:gd name="connsiteY2938" fmla="*/ 2742238 h 5278114"/>
              <a:gd name="connsiteX2939" fmla="*/ 1066110 w 5610835"/>
              <a:gd name="connsiteY2939" fmla="*/ 3108107 h 5278114"/>
              <a:gd name="connsiteX2940" fmla="*/ 1045430 w 5610835"/>
              <a:gd name="connsiteY2940" fmla="*/ 3092200 h 5278114"/>
              <a:gd name="connsiteX2941" fmla="*/ 1047021 w 5610835"/>
              <a:gd name="connsiteY2941" fmla="*/ 3117652 h 5278114"/>
              <a:gd name="connsiteX2942" fmla="*/ 953168 w 5610835"/>
              <a:gd name="connsiteY2942" fmla="*/ 3171737 h 5278114"/>
              <a:gd name="connsiteX2943" fmla="*/ 821136 w 5610835"/>
              <a:gd name="connsiteY2943" fmla="*/ 3256046 h 5278114"/>
              <a:gd name="connsiteX2944" fmla="*/ 821136 w 5610835"/>
              <a:gd name="connsiteY2944" fmla="*/ 3273543 h 5278114"/>
              <a:gd name="connsiteX2945" fmla="*/ 827499 w 5610835"/>
              <a:gd name="connsiteY2945" fmla="*/ 3278316 h 5278114"/>
              <a:gd name="connsiteX2946" fmla="*/ 1026342 w 5610835"/>
              <a:gd name="connsiteY2946" fmla="*/ 3155829 h 5278114"/>
              <a:gd name="connsiteX2947" fmla="*/ 889538 w 5610835"/>
              <a:gd name="connsiteY2947" fmla="*/ 3335582 h 5278114"/>
              <a:gd name="connsiteX2948" fmla="*/ 1029523 w 5610835"/>
              <a:gd name="connsiteY2948" fmla="*/ 3152648 h 5278114"/>
              <a:gd name="connsiteX2949" fmla="*/ 1088380 w 5610835"/>
              <a:gd name="connsiteY2949" fmla="*/ 3203552 h 5278114"/>
              <a:gd name="connsiteX2950" fmla="*/ 1089970 w 5610835"/>
              <a:gd name="connsiteY2950" fmla="*/ 3179691 h 5278114"/>
              <a:gd name="connsiteX2951" fmla="*/ 1093152 w 5610835"/>
              <a:gd name="connsiteY2951" fmla="*/ 3182872 h 5278114"/>
              <a:gd name="connsiteX2952" fmla="*/ 1096333 w 5610835"/>
              <a:gd name="connsiteY2952" fmla="*/ 3222640 h 5278114"/>
              <a:gd name="connsiteX2953" fmla="*/ 1102697 w 5610835"/>
              <a:gd name="connsiteY2953" fmla="*/ 3229003 h 5278114"/>
              <a:gd name="connsiteX2954" fmla="*/ 1075654 w 5610835"/>
              <a:gd name="connsiteY2954" fmla="*/ 3120834 h 5278114"/>
              <a:gd name="connsiteX2955" fmla="*/ 1543330 w 5610835"/>
              <a:gd name="connsiteY2955" fmla="*/ 2745420 h 5278114"/>
              <a:gd name="connsiteX2956" fmla="*/ 1166326 w 5610835"/>
              <a:gd name="connsiteY2956" fmla="*/ 3095381 h 5278114"/>
              <a:gd name="connsiteX2957" fmla="*/ 1179052 w 5610835"/>
              <a:gd name="connsiteY2957" fmla="*/ 3096972 h 5278114"/>
              <a:gd name="connsiteX2958" fmla="*/ 1179052 w 5610835"/>
              <a:gd name="connsiteY2958" fmla="*/ 3090610 h 5278114"/>
              <a:gd name="connsiteX2959" fmla="*/ 1183824 w 5610835"/>
              <a:gd name="connsiteY2959" fmla="*/ 3089019 h 5278114"/>
              <a:gd name="connsiteX2960" fmla="*/ 1187005 w 5610835"/>
              <a:gd name="connsiteY2960" fmla="*/ 3093791 h 5278114"/>
              <a:gd name="connsiteX2961" fmla="*/ 1209275 w 5610835"/>
              <a:gd name="connsiteY2961" fmla="*/ 3069930 h 5278114"/>
              <a:gd name="connsiteX2962" fmla="*/ 1497199 w 5610835"/>
              <a:gd name="connsiteY2962" fmla="*/ 2834501 h 5278114"/>
              <a:gd name="connsiteX2963" fmla="*/ 1516287 w 5610835"/>
              <a:gd name="connsiteY2963" fmla="*/ 2859953 h 5278114"/>
              <a:gd name="connsiteX2964" fmla="*/ 1212457 w 5610835"/>
              <a:gd name="connsiteY2964" fmla="*/ 3116061 h 5278114"/>
              <a:gd name="connsiteX2965" fmla="*/ 1214048 w 5610835"/>
              <a:gd name="connsiteY2965" fmla="*/ 3117652 h 5278114"/>
              <a:gd name="connsiteX2966" fmla="*/ 1198141 w 5610835"/>
              <a:gd name="connsiteY2966" fmla="*/ 3151058 h 5278114"/>
              <a:gd name="connsiteX2967" fmla="*/ 1209275 w 5610835"/>
              <a:gd name="connsiteY2967" fmla="*/ 3146285 h 5278114"/>
              <a:gd name="connsiteX2968" fmla="*/ 1223592 w 5610835"/>
              <a:gd name="connsiteY2968" fmla="*/ 3128787 h 5278114"/>
              <a:gd name="connsiteX2969" fmla="*/ 1226774 w 5610835"/>
              <a:gd name="connsiteY2969" fmla="*/ 3131968 h 5278114"/>
              <a:gd name="connsiteX2970" fmla="*/ 1271314 w 5610835"/>
              <a:gd name="connsiteY2970" fmla="*/ 3104926 h 5278114"/>
              <a:gd name="connsiteX2971" fmla="*/ 1218820 w 5610835"/>
              <a:gd name="connsiteY2971" fmla="*/ 3162192 h 5278114"/>
              <a:gd name="connsiteX2972" fmla="*/ 1212457 w 5610835"/>
              <a:gd name="connsiteY2972" fmla="*/ 3166964 h 5278114"/>
              <a:gd name="connsiteX2973" fmla="*/ 1194959 w 5610835"/>
              <a:gd name="connsiteY2973" fmla="*/ 3179691 h 5278114"/>
              <a:gd name="connsiteX2974" fmla="*/ 1183824 w 5610835"/>
              <a:gd name="connsiteY2974" fmla="*/ 3198779 h 5278114"/>
              <a:gd name="connsiteX2975" fmla="*/ 1175870 w 5610835"/>
              <a:gd name="connsiteY2975" fmla="*/ 3194007 h 5278114"/>
              <a:gd name="connsiteX2976" fmla="*/ 1167917 w 5610835"/>
              <a:gd name="connsiteY2976" fmla="*/ 3200370 h 5278114"/>
              <a:gd name="connsiteX2977" fmla="*/ 1174280 w 5610835"/>
              <a:gd name="connsiteY2977" fmla="*/ 3221049 h 5278114"/>
              <a:gd name="connsiteX2978" fmla="*/ 1256999 w 5610835"/>
              <a:gd name="connsiteY2978" fmla="*/ 3176509 h 5278114"/>
              <a:gd name="connsiteX2979" fmla="*/ 1172689 w 5610835"/>
              <a:gd name="connsiteY2979" fmla="*/ 3243320 h 5278114"/>
              <a:gd name="connsiteX2980" fmla="*/ 1155191 w 5610835"/>
              <a:gd name="connsiteY2980" fmla="*/ 3265590 h 5278114"/>
              <a:gd name="connsiteX2981" fmla="*/ 1152009 w 5610835"/>
              <a:gd name="connsiteY2981" fmla="*/ 3260818 h 5278114"/>
              <a:gd name="connsiteX2982" fmla="*/ 1137693 w 5610835"/>
              <a:gd name="connsiteY2982" fmla="*/ 3273543 h 5278114"/>
              <a:gd name="connsiteX2983" fmla="*/ 1129739 w 5610835"/>
              <a:gd name="connsiteY2983" fmla="*/ 3300586 h 5278114"/>
              <a:gd name="connsiteX2984" fmla="*/ 1174280 w 5610835"/>
              <a:gd name="connsiteY2984" fmla="*/ 3271953 h 5278114"/>
              <a:gd name="connsiteX2985" fmla="*/ 1185415 w 5610835"/>
              <a:gd name="connsiteY2985" fmla="*/ 3267181 h 5278114"/>
              <a:gd name="connsiteX2986" fmla="*/ 1185415 w 5610835"/>
              <a:gd name="connsiteY2986" fmla="*/ 3268772 h 5278114"/>
              <a:gd name="connsiteX2987" fmla="*/ 1193369 w 5610835"/>
              <a:gd name="connsiteY2987" fmla="*/ 3270362 h 5278114"/>
              <a:gd name="connsiteX2988" fmla="*/ 1188596 w 5610835"/>
              <a:gd name="connsiteY2988" fmla="*/ 3287860 h 5278114"/>
              <a:gd name="connsiteX2989" fmla="*/ 1187005 w 5610835"/>
              <a:gd name="connsiteY2989" fmla="*/ 3316494 h 5278114"/>
              <a:gd name="connsiteX2990" fmla="*/ 1206094 w 5610835"/>
              <a:gd name="connsiteY2990" fmla="*/ 3295814 h 5278114"/>
              <a:gd name="connsiteX2991" fmla="*/ 1182233 w 5610835"/>
              <a:gd name="connsiteY2991" fmla="*/ 3333991 h 5278114"/>
              <a:gd name="connsiteX2992" fmla="*/ 1174280 w 5610835"/>
              <a:gd name="connsiteY2992" fmla="*/ 3357853 h 5278114"/>
              <a:gd name="connsiteX2993" fmla="*/ 1204504 w 5610835"/>
              <a:gd name="connsiteY2993" fmla="*/ 3348308 h 5278114"/>
              <a:gd name="connsiteX2994" fmla="*/ 1228365 w 5610835"/>
              <a:gd name="connsiteY2994" fmla="*/ 3318084 h 5278114"/>
              <a:gd name="connsiteX2995" fmla="*/ 1225183 w 5610835"/>
              <a:gd name="connsiteY2995" fmla="*/ 3298996 h 5278114"/>
              <a:gd name="connsiteX2996" fmla="*/ 1209275 w 5610835"/>
              <a:gd name="connsiteY2996" fmla="*/ 3308540 h 5278114"/>
              <a:gd name="connsiteX2997" fmla="*/ 1220411 w 5610835"/>
              <a:gd name="connsiteY2997" fmla="*/ 3284679 h 5278114"/>
              <a:gd name="connsiteX2998" fmla="*/ 1206094 w 5610835"/>
              <a:gd name="connsiteY2998" fmla="*/ 3259227 h 5278114"/>
              <a:gd name="connsiteX2999" fmla="*/ 1266542 w 5610835"/>
              <a:gd name="connsiteY2999" fmla="*/ 3208324 h 5278114"/>
              <a:gd name="connsiteX3000" fmla="*/ 1271314 w 5610835"/>
              <a:gd name="connsiteY3000" fmla="*/ 3189235 h 5278114"/>
              <a:gd name="connsiteX3001" fmla="*/ 1272905 w 5610835"/>
              <a:gd name="connsiteY3001" fmla="*/ 3165374 h 5278114"/>
              <a:gd name="connsiteX3002" fmla="*/ 1263361 w 5610835"/>
              <a:gd name="connsiteY3002" fmla="*/ 3174918 h 5278114"/>
              <a:gd name="connsiteX3003" fmla="*/ 1274496 w 5610835"/>
              <a:gd name="connsiteY3003" fmla="*/ 3127196 h 5278114"/>
              <a:gd name="connsiteX3004" fmla="*/ 1307901 w 5610835"/>
              <a:gd name="connsiteY3004" fmla="*/ 3100153 h 5278114"/>
              <a:gd name="connsiteX3005" fmla="*/ 1333353 w 5610835"/>
              <a:gd name="connsiteY3005" fmla="*/ 3116061 h 5278114"/>
              <a:gd name="connsiteX3006" fmla="*/ 1330171 w 5610835"/>
              <a:gd name="connsiteY3006" fmla="*/ 3096972 h 5278114"/>
              <a:gd name="connsiteX3007" fmla="*/ 1381076 w 5610835"/>
              <a:gd name="connsiteY3007" fmla="*/ 3108107 h 5278114"/>
              <a:gd name="connsiteX3008" fmla="*/ 1465384 w 5610835"/>
              <a:gd name="connsiteY3008" fmla="*/ 3179691 h 5278114"/>
              <a:gd name="connsiteX3009" fmla="*/ 1471747 w 5610835"/>
              <a:gd name="connsiteY3009" fmla="*/ 3138331 h 5278114"/>
              <a:gd name="connsiteX3010" fmla="*/ 1529013 w 5610835"/>
              <a:gd name="connsiteY3010" fmla="*/ 3168555 h 5278114"/>
              <a:gd name="connsiteX3011" fmla="*/ 1551285 w 5610835"/>
              <a:gd name="connsiteY3011" fmla="*/ 3069930 h 5278114"/>
              <a:gd name="connsiteX3012" fmla="*/ 1683041 w 5610835"/>
              <a:gd name="connsiteY3012" fmla="*/ 3113998 h 5278114"/>
              <a:gd name="connsiteX3013" fmla="*/ 1688352 w 5610835"/>
              <a:gd name="connsiteY3013" fmla="*/ 3132096 h 5278114"/>
              <a:gd name="connsiteX3014" fmla="*/ 1683786 w 5610835"/>
              <a:gd name="connsiteY3014" fmla="*/ 3105994 h 5278114"/>
              <a:gd name="connsiteX3015" fmla="*/ 1673770 w 5610835"/>
              <a:gd name="connsiteY3015" fmla="*/ 3076292 h 5278114"/>
              <a:gd name="connsiteX3016" fmla="*/ 1724673 w 5610835"/>
              <a:gd name="connsiteY3016" fmla="*/ 3087427 h 5278114"/>
              <a:gd name="connsiteX3017" fmla="*/ 1729445 w 5610835"/>
              <a:gd name="connsiteY3017" fmla="*/ 3084246 h 5278114"/>
              <a:gd name="connsiteX3018" fmla="*/ 1738990 w 5610835"/>
              <a:gd name="connsiteY3018" fmla="*/ 3154238 h 5278114"/>
              <a:gd name="connsiteX3019" fmla="*/ 1727855 w 5610835"/>
              <a:gd name="connsiteY3019" fmla="*/ 3187643 h 5278114"/>
              <a:gd name="connsiteX3020" fmla="*/ 1700837 w 5610835"/>
              <a:gd name="connsiteY3020" fmla="*/ 3167784 h 5278114"/>
              <a:gd name="connsiteX3021" fmla="*/ 1692358 w 5610835"/>
              <a:gd name="connsiteY3021" fmla="*/ 3145948 h 5278114"/>
              <a:gd name="connsiteX3022" fmla="*/ 1691268 w 5610835"/>
              <a:gd name="connsiteY3022" fmla="*/ 3176509 h 5278114"/>
              <a:gd name="connsiteX3023" fmla="*/ 1738990 w 5610835"/>
              <a:gd name="connsiteY3023" fmla="*/ 3201961 h 5278114"/>
              <a:gd name="connsiteX3024" fmla="*/ 1871021 w 5610835"/>
              <a:gd name="connsiteY3024" fmla="*/ 3074702 h 5278114"/>
              <a:gd name="connsiteX3025" fmla="*/ 1901245 w 5610835"/>
              <a:gd name="connsiteY3025" fmla="*/ 3160601 h 5278114"/>
              <a:gd name="connsiteX3026" fmla="*/ 1756489 w 5610835"/>
              <a:gd name="connsiteY3026" fmla="*/ 3186053 h 5278114"/>
              <a:gd name="connsiteX3027" fmla="*/ 1761261 w 5610835"/>
              <a:gd name="connsiteY3027" fmla="*/ 3214686 h 5278114"/>
              <a:gd name="connsiteX3028" fmla="*/ 1649909 w 5610835"/>
              <a:gd name="connsiteY3028" fmla="*/ 3254455 h 5278114"/>
              <a:gd name="connsiteX3029" fmla="*/ 1878975 w 5610835"/>
              <a:gd name="connsiteY3029" fmla="*/ 3216277 h 5278114"/>
              <a:gd name="connsiteX3030" fmla="*/ 1557647 w 5610835"/>
              <a:gd name="connsiteY3030" fmla="*/ 3361034 h 5278114"/>
              <a:gd name="connsiteX3031" fmla="*/ 1929878 w 5610835"/>
              <a:gd name="connsiteY3031" fmla="*/ 3241729 h 5278114"/>
              <a:gd name="connsiteX3032" fmla="*/ 1681723 w 5610835"/>
              <a:gd name="connsiteY3032" fmla="*/ 3381715 h 5278114"/>
              <a:gd name="connsiteX3033" fmla="*/ 1699222 w 5610835"/>
              <a:gd name="connsiteY3033" fmla="*/ 3399213 h 5278114"/>
              <a:gd name="connsiteX3034" fmla="*/ 2001461 w 5610835"/>
              <a:gd name="connsiteY3034" fmla="*/ 3292633 h 5278114"/>
              <a:gd name="connsiteX3035" fmla="*/ 2004642 w 5610835"/>
              <a:gd name="connsiteY3035" fmla="*/ 3306949 h 5278114"/>
              <a:gd name="connsiteX3036" fmla="*/ 2158944 w 5610835"/>
              <a:gd name="connsiteY3036" fmla="*/ 3187644 h 5278114"/>
              <a:gd name="connsiteX3037" fmla="*/ 2003052 w 5610835"/>
              <a:gd name="connsiteY3037" fmla="*/ 3341945 h 5278114"/>
              <a:gd name="connsiteX3038" fmla="*/ 2003052 w 5610835"/>
              <a:gd name="connsiteY3038" fmla="*/ 3324448 h 5278114"/>
              <a:gd name="connsiteX3039" fmla="*/ 1867839 w 5610835"/>
              <a:gd name="connsiteY3039" fmla="*/ 3400803 h 5278114"/>
              <a:gd name="connsiteX3040" fmla="*/ 1614913 w 5610835"/>
              <a:gd name="connsiteY3040" fmla="*/ 3512154 h 5278114"/>
              <a:gd name="connsiteX3041" fmla="*/ 1675361 w 5610835"/>
              <a:gd name="connsiteY3041" fmla="*/ 3529653 h 5278114"/>
              <a:gd name="connsiteX3042" fmla="*/ 1724674 w 5610835"/>
              <a:gd name="connsiteY3042" fmla="*/ 3529653 h 5278114"/>
              <a:gd name="connsiteX3043" fmla="*/ 1904427 w 5610835"/>
              <a:gd name="connsiteY3043" fmla="*/ 3453297 h 5278114"/>
              <a:gd name="connsiteX3044" fmla="*/ 1794666 w 5610835"/>
              <a:gd name="connsiteY3044" fmla="*/ 3575784 h 5278114"/>
              <a:gd name="connsiteX3045" fmla="*/ 1839206 w 5610835"/>
              <a:gd name="connsiteY3045" fmla="*/ 3590101 h 5278114"/>
              <a:gd name="connsiteX3046" fmla="*/ 1875793 w 5610835"/>
              <a:gd name="connsiteY3046" fmla="*/ 3575784 h 5278114"/>
              <a:gd name="connsiteX3047" fmla="*/ 1925106 w 5610835"/>
              <a:gd name="connsiteY3047" fmla="*/ 3512154 h 5278114"/>
              <a:gd name="connsiteX3048" fmla="*/ 1955330 w 5610835"/>
              <a:gd name="connsiteY3048" fmla="*/ 3501020 h 5278114"/>
              <a:gd name="connsiteX3049" fmla="*/ 2138266 w 5610835"/>
              <a:gd name="connsiteY3049" fmla="*/ 3286269 h 5278114"/>
              <a:gd name="connsiteX3050" fmla="*/ 1979192 w 5610835"/>
              <a:gd name="connsiteY3050" fmla="*/ 3553514 h 5278114"/>
              <a:gd name="connsiteX3051" fmla="*/ 2003052 w 5610835"/>
              <a:gd name="connsiteY3051" fmla="*/ 3555105 h 5278114"/>
              <a:gd name="connsiteX3052" fmla="*/ 2004642 w 5610835"/>
              <a:gd name="connsiteY3052" fmla="*/ 4167537 h 5278114"/>
              <a:gd name="connsiteX3053" fmla="*/ 1985554 w 5610835"/>
              <a:gd name="connsiteY3053" fmla="*/ 4205715 h 5278114"/>
              <a:gd name="connsiteX3054" fmla="*/ 1998280 w 5610835"/>
              <a:gd name="connsiteY3054" fmla="*/ 4197761 h 5278114"/>
              <a:gd name="connsiteX3055" fmla="*/ 1807392 w 5610835"/>
              <a:gd name="connsiteY3055" fmla="*/ 4402965 h 5278114"/>
              <a:gd name="connsiteX3056" fmla="*/ 1808982 w 5610835"/>
              <a:gd name="connsiteY3056" fmla="*/ 4417282 h 5278114"/>
              <a:gd name="connsiteX3057" fmla="*/ 2034866 w 5610835"/>
              <a:gd name="connsiteY3057" fmla="*/ 4138903 h 5278114"/>
              <a:gd name="connsiteX3058" fmla="*/ 2011005 w 5610835"/>
              <a:gd name="connsiteY3058" fmla="*/ 3542378 h 5278114"/>
              <a:gd name="connsiteX3059" fmla="*/ 2049183 w 5610835"/>
              <a:gd name="connsiteY3059" fmla="*/ 3512154 h 5278114"/>
              <a:gd name="connsiteX3060" fmla="*/ 2044411 w 5610835"/>
              <a:gd name="connsiteY3060" fmla="*/ 3742810 h 5278114"/>
              <a:gd name="connsiteX3061" fmla="*/ 1991917 w 5610835"/>
              <a:gd name="connsiteY3061" fmla="*/ 4278888 h 5278114"/>
              <a:gd name="connsiteX3062" fmla="*/ 2003052 w 5610835"/>
              <a:gd name="connsiteY3062" fmla="*/ 4294796 h 5278114"/>
              <a:gd name="connsiteX3063" fmla="*/ 1816936 w 5610835"/>
              <a:gd name="connsiteY3063" fmla="*/ 4476140 h 5278114"/>
              <a:gd name="connsiteX3064" fmla="*/ 1815346 w 5610835"/>
              <a:gd name="connsiteY3064" fmla="*/ 4487275 h 5278114"/>
              <a:gd name="connsiteX3065" fmla="*/ 1813756 w 5610835"/>
              <a:gd name="connsiteY3065" fmla="*/ 4488865 h 5278114"/>
              <a:gd name="connsiteX3066" fmla="*/ 1808982 w 5610835"/>
              <a:gd name="connsiteY3066" fmla="*/ 4493638 h 5278114"/>
              <a:gd name="connsiteX3067" fmla="*/ 2074635 w 5610835"/>
              <a:gd name="connsiteY3067" fmla="*/ 4097544 h 5278114"/>
              <a:gd name="connsiteX3068" fmla="*/ 2057137 w 5610835"/>
              <a:gd name="connsiteY3068" fmla="*/ 3505791 h 5278114"/>
              <a:gd name="connsiteX3069" fmla="*/ 2101677 w 5610835"/>
              <a:gd name="connsiteY3069" fmla="*/ 3483521 h 5278114"/>
              <a:gd name="connsiteX3070" fmla="*/ 2117585 w 5610835"/>
              <a:gd name="connsiteY3070" fmla="*/ 4205715 h 5278114"/>
              <a:gd name="connsiteX3071" fmla="*/ 2084180 w 5610835"/>
              <a:gd name="connsiteY3071" fmla="*/ 4277297 h 5278114"/>
              <a:gd name="connsiteX3072" fmla="*/ 2041229 w 5610835"/>
              <a:gd name="connsiteY3072" fmla="*/ 4391831 h 5278114"/>
              <a:gd name="connsiteX3073" fmla="*/ 1773986 w 5610835"/>
              <a:gd name="connsiteY3073" fmla="*/ 4644757 h 5278114"/>
              <a:gd name="connsiteX3074" fmla="*/ 2088952 w 5610835"/>
              <a:gd name="connsiteY3074" fmla="*/ 4352063 h 5278114"/>
              <a:gd name="connsiteX3075" fmla="*/ 2115994 w 5610835"/>
              <a:gd name="connsiteY3075" fmla="*/ 3464433 h 5278114"/>
              <a:gd name="connsiteX3076" fmla="*/ 2263932 w 5610835"/>
              <a:gd name="connsiteY3076" fmla="*/ 3244910 h 5278114"/>
              <a:gd name="connsiteX3077" fmla="*/ 2166897 w 5610835"/>
              <a:gd name="connsiteY3077" fmla="*/ 3521699 h 5278114"/>
              <a:gd name="connsiteX3078" fmla="*/ 2232118 w 5610835"/>
              <a:gd name="connsiteY3078" fmla="*/ 3407166 h 5278114"/>
              <a:gd name="connsiteX3079" fmla="*/ 2230527 w 5610835"/>
              <a:gd name="connsiteY3079" fmla="*/ 3321266 h 5278114"/>
              <a:gd name="connsiteX3080" fmla="*/ 2133492 w 5610835"/>
              <a:gd name="connsiteY3080" fmla="*/ 3502610 h 5278114"/>
              <a:gd name="connsiteX3081" fmla="*/ 2155762 w 5610835"/>
              <a:gd name="connsiteY3081" fmla="*/ 3515336 h 5278114"/>
              <a:gd name="connsiteX3082" fmla="*/ 2165307 w 5610835"/>
              <a:gd name="connsiteY3082" fmla="*/ 4108680 h 5278114"/>
              <a:gd name="connsiteX3083" fmla="*/ 2178032 w 5610835"/>
              <a:gd name="connsiteY3083" fmla="*/ 4118224 h 5278114"/>
              <a:gd name="connsiteX3084" fmla="*/ 2017195 w 5610835"/>
              <a:gd name="connsiteY3084" fmla="*/ 4507010 h 5278114"/>
              <a:gd name="connsiteX3085" fmla="*/ 1970043 w 5610835"/>
              <a:gd name="connsiteY3085" fmla="*/ 4543904 h 5278114"/>
              <a:gd name="connsiteX3086" fmla="*/ 1994153 w 5610835"/>
              <a:gd name="connsiteY3086" fmla="*/ 4521277 h 5278114"/>
              <a:gd name="connsiteX3087" fmla="*/ 2049183 w 5610835"/>
              <a:gd name="connsiteY3087" fmla="*/ 4453869 h 5278114"/>
              <a:gd name="connsiteX3088" fmla="*/ 1783532 w 5610835"/>
              <a:gd name="connsiteY3088" fmla="*/ 4829283 h 5278114"/>
              <a:gd name="connsiteX3089" fmla="*/ 1799438 w 5610835"/>
              <a:gd name="connsiteY3089" fmla="*/ 4900865 h 5278114"/>
              <a:gd name="connsiteX3090" fmla="*/ 1770804 w 5610835"/>
              <a:gd name="connsiteY3090" fmla="*/ 4886549 h 5278114"/>
              <a:gd name="connsiteX3091" fmla="*/ 1738990 w 5610835"/>
              <a:gd name="connsiteY3091" fmla="*/ 4904047 h 5278114"/>
              <a:gd name="connsiteX3092" fmla="*/ 1705585 w 5610835"/>
              <a:gd name="connsiteY3092" fmla="*/ 4859507 h 5278114"/>
              <a:gd name="connsiteX3093" fmla="*/ 1703994 w 5610835"/>
              <a:gd name="connsiteY3093" fmla="*/ 4857916 h 5278114"/>
              <a:gd name="connsiteX3094" fmla="*/ 1696041 w 5610835"/>
              <a:gd name="connsiteY3094" fmla="*/ 4864278 h 5278114"/>
              <a:gd name="connsiteX3095" fmla="*/ 1694450 w 5610835"/>
              <a:gd name="connsiteY3095" fmla="*/ 4864278 h 5278114"/>
              <a:gd name="connsiteX3096" fmla="*/ 1689678 w 5610835"/>
              <a:gd name="connsiteY3096" fmla="*/ 4857916 h 5278114"/>
              <a:gd name="connsiteX3097" fmla="*/ 1689678 w 5610835"/>
              <a:gd name="connsiteY3097" fmla="*/ 4864278 h 5278114"/>
              <a:gd name="connsiteX3098" fmla="*/ 1670589 w 5610835"/>
              <a:gd name="connsiteY3098" fmla="*/ 4862688 h 5278114"/>
              <a:gd name="connsiteX3099" fmla="*/ 1670589 w 5610835"/>
              <a:gd name="connsiteY3099" fmla="*/ 4849962 h 5278114"/>
              <a:gd name="connsiteX3100" fmla="*/ 1676952 w 5610835"/>
              <a:gd name="connsiteY3100" fmla="*/ 4845190 h 5278114"/>
              <a:gd name="connsiteX3101" fmla="*/ 1686496 w 5610835"/>
              <a:gd name="connsiteY3101" fmla="*/ 4846780 h 5278114"/>
              <a:gd name="connsiteX3102" fmla="*/ 1664226 w 5610835"/>
              <a:gd name="connsiteY3102" fmla="*/ 4830873 h 5278114"/>
              <a:gd name="connsiteX3103" fmla="*/ 1661044 w 5610835"/>
              <a:gd name="connsiteY3103" fmla="*/ 4835645 h 5278114"/>
              <a:gd name="connsiteX3104" fmla="*/ 1657863 w 5610835"/>
              <a:gd name="connsiteY3104" fmla="*/ 4837236 h 5278114"/>
              <a:gd name="connsiteX3105" fmla="*/ 1659454 w 5610835"/>
              <a:gd name="connsiteY3105" fmla="*/ 4829283 h 5278114"/>
              <a:gd name="connsiteX3106" fmla="*/ 1662635 w 5610835"/>
              <a:gd name="connsiteY3106" fmla="*/ 4829283 h 5278114"/>
              <a:gd name="connsiteX3107" fmla="*/ 1665817 w 5610835"/>
              <a:gd name="connsiteY3107" fmla="*/ 4802240 h 5278114"/>
              <a:gd name="connsiteX3108" fmla="*/ 1656272 w 5610835"/>
              <a:gd name="connsiteY3108" fmla="*/ 4807012 h 5278114"/>
              <a:gd name="connsiteX3109" fmla="*/ 1659454 w 5610835"/>
              <a:gd name="connsiteY3109" fmla="*/ 4794286 h 5278114"/>
              <a:gd name="connsiteX3110" fmla="*/ 1653090 w 5610835"/>
              <a:gd name="connsiteY3110" fmla="*/ 4783151 h 5278114"/>
              <a:gd name="connsiteX3111" fmla="*/ 1646728 w 5610835"/>
              <a:gd name="connsiteY3111" fmla="*/ 4779969 h 5278114"/>
              <a:gd name="connsiteX3112" fmla="*/ 1648319 w 5610835"/>
              <a:gd name="connsiteY3112" fmla="*/ 4776788 h 5278114"/>
              <a:gd name="connsiteX3113" fmla="*/ 1651499 w 5610835"/>
              <a:gd name="connsiteY3113" fmla="*/ 4776788 h 5278114"/>
              <a:gd name="connsiteX3114" fmla="*/ 1651499 w 5610835"/>
              <a:gd name="connsiteY3114" fmla="*/ 4768835 h 5278114"/>
              <a:gd name="connsiteX3115" fmla="*/ 1664226 w 5610835"/>
              <a:gd name="connsiteY3115" fmla="*/ 4762472 h 5278114"/>
              <a:gd name="connsiteX3116" fmla="*/ 1664226 w 5610835"/>
              <a:gd name="connsiteY3116" fmla="*/ 4735429 h 5278114"/>
              <a:gd name="connsiteX3117" fmla="*/ 1676952 w 5610835"/>
              <a:gd name="connsiteY3117" fmla="*/ 4729066 h 5278114"/>
              <a:gd name="connsiteX3118" fmla="*/ 1675361 w 5610835"/>
              <a:gd name="connsiteY3118" fmla="*/ 4751336 h 5278114"/>
              <a:gd name="connsiteX3119" fmla="*/ 1673770 w 5610835"/>
              <a:gd name="connsiteY3119" fmla="*/ 4759290 h 5278114"/>
              <a:gd name="connsiteX3120" fmla="*/ 1678542 w 5610835"/>
              <a:gd name="connsiteY3120" fmla="*/ 4757699 h 5278114"/>
              <a:gd name="connsiteX3121" fmla="*/ 1681723 w 5610835"/>
              <a:gd name="connsiteY3121" fmla="*/ 4743383 h 5278114"/>
              <a:gd name="connsiteX3122" fmla="*/ 1686496 w 5610835"/>
              <a:gd name="connsiteY3122" fmla="*/ 4748155 h 5278114"/>
              <a:gd name="connsiteX3123" fmla="*/ 1684906 w 5610835"/>
              <a:gd name="connsiteY3123" fmla="*/ 4733839 h 5278114"/>
              <a:gd name="connsiteX3124" fmla="*/ 1684906 w 5610835"/>
              <a:gd name="connsiteY3124" fmla="*/ 4725885 h 5278114"/>
              <a:gd name="connsiteX3125" fmla="*/ 1699222 w 5610835"/>
              <a:gd name="connsiteY3125" fmla="*/ 4717931 h 5278114"/>
              <a:gd name="connsiteX3126" fmla="*/ 1686496 w 5610835"/>
              <a:gd name="connsiteY3126" fmla="*/ 4717931 h 5278114"/>
              <a:gd name="connsiteX3127" fmla="*/ 1700813 w 5610835"/>
              <a:gd name="connsiteY3127" fmla="*/ 4711568 h 5278114"/>
              <a:gd name="connsiteX3128" fmla="*/ 1705585 w 5610835"/>
              <a:gd name="connsiteY3128" fmla="*/ 4719521 h 5278114"/>
              <a:gd name="connsiteX3129" fmla="*/ 1707175 w 5610835"/>
              <a:gd name="connsiteY3129" fmla="*/ 4706796 h 5278114"/>
              <a:gd name="connsiteX3130" fmla="*/ 1715129 w 5610835"/>
              <a:gd name="connsiteY3130" fmla="*/ 4705205 h 5278114"/>
              <a:gd name="connsiteX3131" fmla="*/ 1713538 w 5610835"/>
              <a:gd name="connsiteY3131" fmla="*/ 4748155 h 5278114"/>
              <a:gd name="connsiteX3132" fmla="*/ 1723083 w 5610835"/>
              <a:gd name="connsiteY3132" fmla="*/ 4744974 h 5278114"/>
              <a:gd name="connsiteX3133" fmla="*/ 1724674 w 5610835"/>
              <a:gd name="connsiteY3133" fmla="*/ 4721112 h 5278114"/>
              <a:gd name="connsiteX3134" fmla="*/ 1729446 w 5610835"/>
              <a:gd name="connsiteY3134" fmla="*/ 4713159 h 5278114"/>
              <a:gd name="connsiteX3135" fmla="*/ 1729446 w 5610835"/>
              <a:gd name="connsiteY3135" fmla="*/ 4709978 h 5278114"/>
              <a:gd name="connsiteX3136" fmla="*/ 1734218 w 5610835"/>
              <a:gd name="connsiteY3136" fmla="*/ 4705205 h 5278114"/>
              <a:gd name="connsiteX3137" fmla="*/ 1748534 w 5610835"/>
              <a:gd name="connsiteY3137" fmla="*/ 4705205 h 5278114"/>
              <a:gd name="connsiteX3138" fmla="*/ 1754898 w 5610835"/>
              <a:gd name="connsiteY3138" fmla="*/ 4711568 h 5278114"/>
              <a:gd name="connsiteX3139" fmla="*/ 1754898 w 5610835"/>
              <a:gd name="connsiteY3139" fmla="*/ 4708387 h 5278114"/>
              <a:gd name="connsiteX3140" fmla="*/ 1751717 w 5610835"/>
              <a:gd name="connsiteY3140" fmla="*/ 4705205 h 5278114"/>
              <a:gd name="connsiteX3141" fmla="*/ 1754898 w 5610835"/>
              <a:gd name="connsiteY3141" fmla="*/ 4705205 h 5278114"/>
              <a:gd name="connsiteX3142" fmla="*/ 1754898 w 5610835"/>
              <a:gd name="connsiteY3142" fmla="*/ 4698842 h 5278114"/>
              <a:gd name="connsiteX3143" fmla="*/ 1742171 w 5610835"/>
              <a:gd name="connsiteY3143" fmla="*/ 4698842 h 5278114"/>
              <a:gd name="connsiteX3144" fmla="*/ 1753307 w 5610835"/>
              <a:gd name="connsiteY3144" fmla="*/ 4690888 h 5278114"/>
              <a:gd name="connsiteX3145" fmla="*/ 1751717 w 5610835"/>
              <a:gd name="connsiteY3145" fmla="*/ 4687707 h 5278114"/>
              <a:gd name="connsiteX3146" fmla="*/ 1746945 w 5610835"/>
              <a:gd name="connsiteY3146" fmla="*/ 4692479 h 5278114"/>
              <a:gd name="connsiteX3147" fmla="*/ 1745353 w 5610835"/>
              <a:gd name="connsiteY3147" fmla="*/ 4689297 h 5278114"/>
              <a:gd name="connsiteX3148" fmla="*/ 1750125 w 5610835"/>
              <a:gd name="connsiteY3148" fmla="*/ 4684526 h 5278114"/>
              <a:gd name="connsiteX3149" fmla="*/ 1748534 w 5610835"/>
              <a:gd name="connsiteY3149" fmla="*/ 4679753 h 5278114"/>
              <a:gd name="connsiteX3150" fmla="*/ 1731037 w 5610835"/>
              <a:gd name="connsiteY3150" fmla="*/ 4670209 h 5278114"/>
              <a:gd name="connsiteX3151" fmla="*/ 1729446 w 5610835"/>
              <a:gd name="connsiteY3151" fmla="*/ 4671799 h 5278114"/>
              <a:gd name="connsiteX3152" fmla="*/ 1735809 w 5610835"/>
              <a:gd name="connsiteY3152" fmla="*/ 4678163 h 5278114"/>
              <a:gd name="connsiteX3153" fmla="*/ 1724674 w 5610835"/>
              <a:gd name="connsiteY3153" fmla="*/ 4687707 h 5278114"/>
              <a:gd name="connsiteX3154" fmla="*/ 1724674 w 5610835"/>
              <a:gd name="connsiteY3154" fmla="*/ 4673390 h 5278114"/>
              <a:gd name="connsiteX3155" fmla="*/ 1724674 w 5610835"/>
              <a:gd name="connsiteY3155" fmla="*/ 4668618 h 5278114"/>
              <a:gd name="connsiteX3156" fmla="*/ 1711947 w 5610835"/>
              <a:gd name="connsiteY3156" fmla="*/ 4665436 h 5278114"/>
              <a:gd name="connsiteX3157" fmla="*/ 1711947 w 5610835"/>
              <a:gd name="connsiteY3157" fmla="*/ 4667027 h 5278114"/>
              <a:gd name="connsiteX3158" fmla="*/ 1700813 w 5610835"/>
              <a:gd name="connsiteY3158" fmla="*/ 4671799 h 5278114"/>
              <a:gd name="connsiteX3159" fmla="*/ 1702176 w 5610835"/>
              <a:gd name="connsiteY3159" fmla="*/ 4664982 h 5278114"/>
              <a:gd name="connsiteX3160" fmla="*/ 1697631 w 5610835"/>
              <a:gd name="connsiteY3160" fmla="*/ 4663845 h 5278114"/>
              <a:gd name="connsiteX3161" fmla="*/ 1690871 w 5610835"/>
              <a:gd name="connsiteY3161" fmla="*/ 4663845 h 5278114"/>
              <a:gd name="connsiteX3162" fmla="*/ 1699222 w 5610835"/>
              <a:gd name="connsiteY3162" fmla="*/ 4668618 h 5278114"/>
              <a:gd name="connsiteX3163" fmla="*/ 1697632 w 5610835"/>
              <a:gd name="connsiteY3163" fmla="*/ 4671799 h 5278114"/>
              <a:gd name="connsiteX3164" fmla="*/ 1691267 w 5610835"/>
              <a:gd name="connsiteY3164" fmla="*/ 4668618 h 5278114"/>
              <a:gd name="connsiteX3165" fmla="*/ 1696041 w 5610835"/>
              <a:gd name="connsiteY3165" fmla="*/ 4679753 h 5278114"/>
              <a:gd name="connsiteX3166" fmla="*/ 1681723 w 5610835"/>
              <a:gd name="connsiteY3166" fmla="*/ 4686116 h 5278114"/>
              <a:gd name="connsiteX3167" fmla="*/ 1680133 w 5610835"/>
              <a:gd name="connsiteY3167" fmla="*/ 4686116 h 5278114"/>
              <a:gd name="connsiteX3168" fmla="*/ 1680628 w 5610835"/>
              <a:gd name="connsiteY3168" fmla="*/ 4683155 h 5278114"/>
              <a:gd name="connsiteX3169" fmla="*/ 1665817 w 5610835"/>
              <a:gd name="connsiteY3169" fmla="*/ 4714750 h 5278114"/>
              <a:gd name="connsiteX3170" fmla="*/ 1669060 w 5610835"/>
              <a:gd name="connsiteY3170" fmla="*/ 4693470 h 5278114"/>
              <a:gd name="connsiteX3171" fmla="*/ 1672324 w 5610835"/>
              <a:gd name="connsiteY3171" fmla="*/ 4688719 h 5278114"/>
              <a:gd name="connsiteX3172" fmla="*/ 1670589 w 5610835"/>
              <a:gd name="connsiteY3172" fmla="*/ 4689297 h 5278114"/>
              <a:gd name="connsiteX3173" fmla="*/ 1678542 w 5610835"/>
              <a:gd name="connsiteY3173" fmla="*/ 4671799 h 5278114"/>
              <a:gd name="connsiteX3174" fmla="*/ 1676323 w 5610835"/>
              <a:gd name="connsiteY3174" fmla="*/ 4682899 h 5278114"/>
              <a:gd name="connsiteX3175" fmla="*/ 1681028 w 5610835"/>
              <a:gd name="connsiteY3175" fmla="*/ 4676050 h 5278114"/>
              <a:gd name="connsiteX3176" fmla="*/ 1682674 w 5610835"/>
              <a:gd name="connsiteY3176" fmla="*/ 4670870 h 5278114"/>
              <a:gd name="connsiteX3177" fmla="*/ 1683313 w 5610835"/>
              <a:gd name="connsiteY3177" fmla="*/ 4667027 h 5278114"/>
              <a:gd name="connsiteX3178" fmla="*/ 1684165 w 5610835"/>
              <a:gd name="connsiteY3178" fmla="*/ 4666176 h 5278114"/>
              <a:gd name="connsiteX3179" fmla="*/ 1684906 w 5610835"/>
              <a:gd name="connsiteY3179" fmla="*/ 4663845 h 5278114"/>
              <a:gd name="connsiteX3180" fmla="*/ 1678542 w 5610835"/>
              <a:gd name="connsiteY3180" fmla="*/ 4665436 h 5278114"/>
              <a:gd name="connsiteX3181" fmla="*/ 1667407 w 5610835"/>
              <a:gd name="connsiteY3181" fmla="*/ 4678163 h 5278114"/>
              <a:gd name="connsiteX3182" fmla="*/ 1667407 w 5610835"/>
              <a:gd name="connsiteY3182" fmla="*/ 4667027 h 5278114"/>
              <a:gd name="connsiteX3183" fmla="*/ 1657863 w 5610835"/>
              <a:gd name="connsiteY3183" fmla="*/ 4670209 h 5278114"/>
              <a:gd name="connsiteX3184" fmla="*/ 1649909 w 5610835"/>
              <a:gd name="connsiteY3184" fmla="*/ 4686116 h 5278114"/>
              <a:gd name="connsiteX3185" fmla="*/ 1643546 w 5610835"/>
              <a:gd name="connsiteY3185" fmla="*/ 4674981 h 5278114"/>
              <a:gd name="connsiteX3186" fmla="*/ 1635593 w 5610835"/>
              <a:gd name="connsiteY3186" fmla="*/ 4678163 h 5278114"/>
              <a:gd name="connsiteX3187" fmla="*/ 1657863 w 5610835"/>
              <a:gd name="connsiteY3187" fmla="*/ 4717931 h 5278114"/>
              <a:gd name="connsiteX3188" fmla="*/ 1649909 w 5610835"/>
              <a:gd name="connsiteY3188" fmla="*/ 4711568 h 5278114"/>
              <a:gd name="connsiteX3189" fmla="*/ 1646728 w 5610835"/>
              <a:gd name="connsiteY3189" fmla="*/ 4714750 h 5278114"/>
              <a:gd name="connsiteX3190" fmla="*/ 1633206 w 5610835"/>
              <a:gd name="connsiteY3190" fmla="*/ 4717136 h 5278114"/>
              <a:gd name="connsiteX3191" fmla="*/ 1630270 w 5610835"/>
              <a:gd name="connsiteY3191" fmla="*/ 4718770 h 5278114"/>
              <a:gd name="connsiteX3192" fmla="*/ 1630820 w 5610835"/>
              <a:gd name="connsiteY3192" fmla="*/ 4727475 h 5278114"/>
              <a:gd name="connsiteX3193" fmla="*/ 1622867 w 5610835"/>
              <a:gd name="connsiteY3193" fmla="*/ 4733838 h 5278114"/>
              <a:gd name="connsiteX3194" fmla="*/ 1618094 w 5610835"/>
              <a:gd name="connsiteY3194" fmla="*/ 4719521 h 5278114"/>
              <a:gd name="connsiteX3195" fmla="*/ 1619685 w 5610835"/>
              <a:gd name="connsiteY3195" fmla="*/ 4730657 h 5278114"/>
              <a:gd name="connsiteX3196" fmla="*/ 1614913 w 5610835"/>
              <a:gd name="connsiteY3196" fmla="*/ 4727475 h 5278114"/>
              <a:gd name="connsiteX3197" fmla="*/ 1611731 w 5610835"/>
              <a:gd name="connsiteY3197" fmla="*/ 4730657 h 5278114"/>
              <a:gd name="connsiteX3198" fmla="*/ 1605368 w 5610835"/>
              <a:gd name="connsiteY3198" fmla="*/ 4714750 h 5278114"/>
              <a:gd name="connsiteX3199" fmla="*/ 1616504 w 5610835"/>
              <a:gd name="connsiteY3199" fmla="*/ 4707544 h 5278114"/>
              <a:gd name="connsiteX3200" fmla="*/ 1616504 w 5610835"/>
              <a:gd name="connsiteY3200" fmla="*/ 4692479 h 5278114"/>
              <a:gd name="connsiteX3201" fmla="*/ 1624457 w 5610835"/>
              <a:gd name="connsiteY3201" fmla="*/ 4687707 h 5278114"/>
              <a:gd name="connsiteX3202" fmla="*/ 1621275 w 5610835"/>
              <a:gd name="connsiteY3202" fmla="*/ 4684526 h 5278114"/>
              <a:gd name="connsiteX3203" fmla="*/ 1602187 w 5610835"/>
              <a:gd name="connsiteY3203" fmla="*/ 4689297 h 5278114"/>
              <a:gd name="connsiteX3204" fmla="*/ 1602187 w 5610835"/>
              <a:gd name="connsiteY3204" fmla="*/ 4690888 h 5278114"/>
              <a:gd name="connsiteX3205" fmla="*/ 1597415 w 5610835"/>
              <a:gd name="connsiteY3205" fmla="*/ 4692479 h 5278114"/>
              <a:gd name="connsiteX3206" fmla="*/ 1597415 w 5610835"/>
              <a:gd name="connsiteY3206" fmla="*/ 4693672 h 5278114"/>
              <a:gd name="connsiteX3207" fmla="*/ 1592643 w 5610835"/>
              <a:gd name="connsiteY3207" fmla="*/ 4705205 h 5278114"/>
              <a:gd name="connsiteX3208" fmla="*/ 1589461 w 5610835"/>
              <a:gd name="connsiteY3208" fmla="*/ 4702023 h 5278114"/>
              <a:gd name="connsiteX3209" fmla="*/ 1591271 w 5610835"/>
              <a:gd name="connsiteY3209" fmla="*/ 4691328 h 5278114"/>
              <a:gd name="connsiteX3210" fmla="*/ 1591052 w 5610835"/>
              <a:gd name="connsiteY3210" fmla="*/ 4690888 h 5278114"/>
              <a:gd name="connsiteX3211" fmla="*/ 1591052 w 5610835"/>
              <a:gd name="connsiteY3211" fmla="*/ 4689297 h 5278114"/>
              <a:gd name="connsiteX3212" fmla="*/ 1587871 w 5610835"/>
              <a:gd name="connsiteY3212" fmla="*/ 4689297 h 5278114"/>
              <a:gd name="connsiteX3213" fmla="*/ 1583098 w 5610835"/>
              <a:gd name="connsiteY3213" fmla="*/ 4689297 h 5278114"/>
              <a:gd name="connsiteX3214" fmla="*/ 1578326 w 5610835"/>
              <a:gd name="connsiteY3214" fmla="*/ 4697251 h 5278114"/>
              <a:gd name="connsiteX3215" fmla="*/ 1575145 w 5610835"/>
              <a:gd name="connsiteY3215" fmla="*/ 4697251 h 5278114"/>
              <a:gd name="connsiteX3216" fmla="*/ 1576735 w 5610835"/>
              <a:gd name="connsiteY3216" fmla="*/ 4698842 h 5278114"/>
              <a:gd name="connsiteX3217" fmla="*/ 1573554 w 5610835"/>
              <a:gd name="connsiteY3217" fmla="*/ 4700433 h 5278114"/>
              <a:gd name="connsiteX3218" fmla="*/ 1573554 w 5610835"/>
              <a:gd name="connsiteY3218" fmla="*/ 4703614 h 5278114"/>
              <a:gd name="connsiteX3219" fmla="*/ 1546511 w 5610835"/>
              <a:gd name="connsiteY3219" fmla="*/ 4737020 h 5278114"/>
              <a:gd name="connsiteX3220" fmla="*/ 1548737 w 5610835"/>
              <a:gd name="connsiteY3220" fmla="*/ 4721433 h 5278114"/>
              <a:gd name="connsiteX3221" fmla="*/ 1540148 w 5610835"/>
              <a:gd name="connsiteY3221" fmla="*/ 4752927 h 5278114"/>
              <a:gd name="connsiteX3222" fmla="*/ 1540763 w 5610835"/>
              <a:gd name="connsiteY3222" fmla="*/ 4754158 h 5278114"/>
              <a:gd name="connsiteX3223" fmla="*/ 1559237 w 5610835"/>
              <a:gd name="connsiteY3223" fmla="*/ 4743381 h 5278114"/>
              <a:gd name="connsiteX3224" fmla="*/ 1560828 w 5610835"/>
              <a:gd name="connsiteY3224" fmla="*/ 4749745 h 5278114"/>
              <a:gd name="connsiteX3225" fmla="*/ 1573553 w 5610835"/>
              <a:gd name="connsiteY3225" fmla="*/ 4754516 h 5278114"/>
              <a:gd name="connsiteX3226" fmla="*/ 1571963 w 5610835"/>
              <a:gd name="connsiteY3226" fmla="*/ 4768833 h 5278114"/>
              <a:gd name="connsiteX3227" fmla="*/ 1557646 w 5610835"/>
              <a:gd name="connsiteY3227" fmla="*/ 4779968 h 5278114"/>
              <a:gd name="connsiteX3228" fmla="*/ 1568781 w 5610835"/>
              <a:gd name="connsiteY3228" fmla="*/ 4781559 h 5278114"/>
              <a:gd name="connsiteX3229" fmla="*/ 1567190 w 5610835"/>
              <a:gd name="connsiteY3229" fmla="*/ 4789512 h 5278114"/>
              <a:gd name="connsiteX3230" fmla="*/ 1564009 w 5610835"/>
              <a:gd name="connsiteY3230" fmla="*/ 4792693 h 5278114"/>
              <a:gd name="connsiteX3231" fmla="*/ 1516287 w 5610835"/>
              <a:gd name="connsiteY3231" fmla="*/ 4856323 h 5278114"/>
              <a:gd name="connsiteX3232" fmla="*/ 1534779 w 5610835"/>
              <a:gd name="connsiteY3232" fmla="*/ 4809596 h 5278114"/>
              <a:gd name="connsiteX3233" fmla="*/ 1539456 w 5610835"/>
              <a:gd name="connsiteY3233" fmla="*/ 4761615 h 5278114"/>
              <a:gd name="connsiteX3234" fmla="*/ 1538359 w 5610835"/>
              <a:gd name="connsiteY3234" fmla="*/ 4762273 h 5278114"/>
              <a:gd name="connsiteX3235" fmla="*/ 1536967 w 5610835"/>
              <a:gd name="connsiteY3235" fmla="*/ 4768835 h 5278114"/>
              <a:gd name="connsiteX3236" fmla="*/ 1457431 w 5610835"/>
              <a:gd name="connsiteY3236" fmla="*/ 4702024 h 5278114"/>
              <a:gd name="connsiteX3237" fmla="*/ 1450152 w 5610835"/>
              <a:gd name="connsiteY3237" fmla="*/ 4708494 h 5278114"/>
              <a:gd name="connsiteX3238" fmla="*/ 1454796 w 5610835"/>
              <a:gd name="connsiteY3238" fmla="*/ 4718502 h 5278114"/>
              <a:gd name="connsiteX3239" fmla="*/ 1431979 w 5610835"/>
              <a:gd name="connsiteY3239" fmla="*/ 4754517 h 5278114"/>
              <a:gd name="connsiteX3240" fmla="*/ 1430388 w 5610835"/>
              <a:gd name="connsiteY3240" fmla="*/ 4713159 h 5278114"/>
              <a:gd name="connsiteX3241" fmla="*/ 1440330 w 5610835"/>
              <a:gd name="connsiteY3241" fmla="*/ 4710176 h 5278114"/>
              <a:gd name="connsiteX3242" fmla="*/ 1443113 w 5610835"/>
              <a:gd name="connsiteY3242" fmla="*/ 4707759 h 5278114"/>
              <a:gd name="connsiteX3243" fmla="*/ 1443113 w 5610835"/>
              <a:gd name="connsiteY3243" fmla="*/ 4690888 h 5278114"/>
              <a:gd name="connsiteX3244" fmla="*/ 1451067 w 5610835"/>
              <a:gd name="connsiteY3244" fmla="*/ 4692479 h 5278114"/>
              <a:gd name="connsiteX3245" fmla="*/ 1406527 w 5610835"/>
              <a:gd name="connsiteY3245" fmla="*/ 4670209 h 5278114"/>
              <a:gd name="connsiteX3246" fmla="*/ 1371531 w 5610835"/>
              <a:gd name="connsiteY3246" fmla="*/ 4608170 h 5278114"/>
              <a:gd name="connsiteX3247" fmla="*/ 1371531 w 5610835"/>
              <a:gd name="connsiteY3247" fmla="*/ 4638394 h 5278114"/>
              <a:gd name="connsiteX3248" fmla="*/ 1363577 w 5610835"/>
              <a:gd name="connsiteY3248" fmla="*/ 4644757 h 5278114"/>
              <a:gd name="connsiteX3249" fmla="*/ 1365168 w 5610835"/>
              <a:gd name="connsiteY3249" fmla="*/ 4598626 h 5278114"/>
              <a:gd name="connsiteX3250" fmla="*/ 1355623 w 5610835"/>
              <a:gd name="connsiteY3250" fmla="*/ 4589082 h 5278114"/>
              <a:gd name="connsiteX3251" fmla="*/ 1349261 w 5610835"/>
              <a:gd name="connsiteY3251" fmla="*/ 4619306 h 5278114"/>
              <a:gd name="connsiteX3252" fmla="*/ 1338125 w 5610835"/>
              <a:gd name="connsiteY3252" fmla="*/ 4676572 h 5278114"/>
              <a:gd name="connsiteX3253" fmla="*/ 1322218 w 5610835"/>
              <a:gd name="connsiteY3253" fmla="*/ 4585900 h 5278114"/>
              <a:gd name="connsiteX3254" fmla="*/ 1311083 w 5610835"/>
              <a:gd name="connsiteY3254" fmla="*/ 4630440 h 5278114"/>
              <a:gd name="connsiteX3255" fmla="*/ 1299947 w 5610835"/>
              <a:gd name="connsiteY3255" fmla="*/ 4579537 h 5278114"/>
              <a:gd name="connsiteX3256" fmla="*/ 1309492 w 5610835"/>
              <a:gd name="connsiteY3256" fmla="*/ 4662255 h 5278114"/>
              <a:gd name="connsiteX3257" fmla="*/ 1282451 w 5610835"/>
              <a:gd name="connsiteY3257" fmla="*/ 4639985 h 5278114"/>
              <a:gd name="connsiteX3258" fmla="*/ 1334944 w 5610835"/>
              <a:gd name="connsiteY3258" fmla="*/ 4692479 h 5278114"/>
              <a:gd name="connsiteX3259" fmla="*/ 1334944 w 5610835"/>
              <a:gd name="connsiteY3259" fmla="*/ 4802240 h 5278114"/>
              <a:gd name="connsiteX3260" fmla="*/ 1312674 w 5610835"/>
              <a:gd name="connsiteY3260" fmla="*/ 4749745 h 5278114"/>
              <a:gd name="connsiteX3261" fmla="*/ 1331762 w 5610835"/>
              <a:gd name="connsiteY3261" fmla="*/ 4708387 h 5278114"/>
              <a:gd name="connsiteX3262" fmla="*/ 1319037 w 5610835"/>
              <a:gd name="connsiteY3262" fmla="*/ 4729066 h 5278114"/>
              <a:gd name="connsiteX3263" fmla="*/ 1312674 w 5610835"/>
              <a:gd name="connsiteY3263" fmla="*/ 4703614 h 5278114"/>
              <a:gd name="connsiteX3264" fmla="*/ 1301538 w 5610835"/>
              <a:gd name="connsiteY3264" fmla="*/ 4748155 h 5278114"/>
              <a:gd name="connsiteX3265" fmla="*/ 1296766 w 5610835"/>
              <a:gd name="connsiteY3265" fmla="*/ 4744974 h 5278114"/>
              <a:gd name="connsiteX3266" fmla="*/ 1295175 w 5610835"/>
              <a:gd name="connsiteY3266" fmla="*/ 4737020 h 5278114"/>
              <a:gd name="connsiteX3267" fmla="*/ 1296766 w 5610835"/>
              <a:gd name="connsiteY3267" fmla="*/ 4732248 h 5278114"/>
              <a:gd name="connsiteX3268" fmla="*/ 1291994 w 5610835"/>
              <a:gd name="connsiteY3268" fmla="*/ 4732248 h 5278114"/>
              <a:gd name="connsiteX3269" fmla="*/ 1293585 w 5610835"/>
              <a:gd name="connsiteY3269" fmla="*/ 4698842 h 5278114"/>
              <a:gd name="connsiteX3270" fmla="*/ 1285631 w 5610835"/>
              <a:gd name="connsiteY3270" fmla="*/ 4714750 h 5278114"/>
              <a:gd name="connsiteX3271" fmla="*/ 1282451 w 5610835"/>
              <a:gd name="connsiteY3271" fmla="*/ 4700433 h 5278114"/>
              <a:gd name="connsiteX3272" fmla="*/ 1284040 w 5610835"/>
              <a:gd name="connsiteY3272" fmla="*/ 4698842 h 5278114"/>
              <a:gd name="connsiteX3273" fmla="*/ 1279268 w 5610835"/>
              <a:gd name="connsiteY3273" fmla="*/ 4686116 h 5278114"/>
              <a:gd name="connsiteX3274" fmla="*/ 1291994 w 5610835"/>
              <a:gd name="connsiteY3274" fmla="*/ 4687707 h 5278114"/>
              <a:gd name="connsiteX3275" fmla="*/ 1280859 w 5610835"/>
              <a:gd name="connsiteY3275" fmla="*/ 4681344 h 5278114"/>
              <a:gd name="connsiteX3276" fmla="*/ 1288813 w 5610835"/>
              <a:gd name="connsiteY3276" fmla="*/ 4678163 h 5278114"/>
              <a:gd name="connsiteX3277" fmla="*/ 1282451 w 5610835"/>
              <a:gd name="connsiteY3277" fmla="*/ 4673390 h 5278114"/>
              <a:gd name="connsiteX3278" fmla="*/ 1277677 w 5610835"/>
              <a:gd name="connsiteY3278" fmla="*/ 4674981 h 5278114"/>
              <a:gd name="connsiteX3279" fmla="*/ 1284040 w 5610835"/>
              <a:gd name="connsiteY3279" fmla="*/ 4659074 h 5278114"/>
              <a:gd name="connsiteX3280" fmla="*/ 1276087 w 5610835"/>
              <a:gd name="connsiteY3280" fmla="*/ 4673390 h 5278114"/>
              <a:gd name="connsiteX3281" fmla="*/ 1274496 w 5610835"/>
              <a:gd name="connsiteY3281" fmla="*/ 4667027 h 5278114"/>
              <a:gd name="connsiteX3282" fmla="*/ 1269723 w 5610835"/>
              <a:gd name="connsiteY3282" fmla="*/ 4668618 h 5278114"/>
              <a:gd name="connsiteX3283" fmla="*/ 1264951 w 5610835"/>
              <a:gd name="connsiteY3283" fmla="*/ 4638394 h 5278114"/>
              <a:gd name="connsiteX3284" fmla="*/ 1264951 w 5610835"/>
              <a:gd name="connsiteY3284" fmla="*/ 4636803 h 5278114"/>
              <a:gd name="connsiteX3285" fmla="*/ 1269723 w 5610835"/>
              <a:gd name="connsiteY3285" fmla="*/ 4616124 h 5278114"/>
              <a:gd name="connsiteX3286" fmla="*/ 1291994 w 5610835"/>
              <a:gd name="connsiteY3286" fmla="*/ 4616124 h 5278114"/>
              <a:gd name="connsiteX3287" fmla="*/ 1276087 w 5610835"/>
              <a:gd name="connsiteY3287" fmla="*/ 4609761 h 5278114"/>
              <a:gd name="connsiteX3288" fmla="*/ 1287223 w 5610835"/>
              <a:gd name="connsiteY3288" fmla="*/ 4598626 h 5278114"/>
              <a:gd name="connsiteX3289" fmla="*/ 1285631 w 5610835"/>
              <a:gd name="connsiteY3289" fmla="*/ 4597035 h 5278114"/>
              <a:gd name="connsiteX3290" fmla="*/ 1276087 w 5610835"/>
              <a:gd name="connsiteY3290" fmla="*/ 4600216 h 5278114"/>
              <a:gd name="connsiteX3291" fmla="*/ 1280859 w 5610835"/>
              <a:gd name="connsiteY3291" fmla="*/ 4590673 h 5278114"/>
              <a:gd name="connsiteX3292" fmla="*/ 1304720 w 5610835"/>
              <a:gd name="connsiteY3292" fmla="*/ 4562039 h 5278114"/>
              <a:gd name="connsiteX3293" fmla="*/ 1296766 w 5610835"/>
              <a:gd name="connsiteY3293" fmla="*/ 4557267 h 5278114"/>
              <a:gd name="connsiteX3294" fmla="*/ 1284040 w 5610835"/>
              <a:gd name="connsiteY3294" fmla="*/ 4568402 h 5278114"/>
              <a:gd name="connsiteX3295" fmla="*/ 1287223 w 5610835"/>
              <a:gd name="connsiteY3295" fmla="*/ 4550904 h 5278114"/>
              <a:gd name="connsiteX3296" fmla="*/ 1284040 w 5610835"/>
              <a:gd name="connsiteY3296" fmla="*/ 4547722 h 5278114"/>
              <a:gd name="connsiteX3297" fmla="*/ 1269723 w 5610835"/>
              <a:gd name="connsiteY3297" fmla="*/ 4581128 h 5278114"/>
              <a:gd name="connsiteX3298" fmla="*/ 1268133 w 5610835"/>
              <a:gd name="connsiteY3298" fmla="*/ 4579537 h 5278114"/>
              <a:gd name="connsiteX3299" fmla="*/ 1255407 w 5610835"/>
              <a:gd name="connsiteY3299" fmla="*/ 4595445 h 5278114"/>
              <a:gd name="connsiteX3300" fmla="*/ 1260180 w 5610835"/>
              <a:gd name="connsiteY3300" fmla="*/ 4554085 h 5278114"/>
              <a:gd name="connsiteX3301" fmla="*/ 1280859 w 5610835"/>
              <a:gd name="connsiteY3301" fmla="*/ 4546131 h 5278114"/>
              <a:gd name="connsiteX3302" fmla="*/ 1274496 w 5610835"/>
              <a:gd name="connsiteY3302" fmla="*/ 4522271 h 5278114"/>
              <a:gd name="connsiteX3303" fmla="*/ 1264951 w 5610835"/>
              <a:gd name="connsiteY3303" fmla="*/ 4525452 h 5278114"/>
              <a:gd name="connsiteX3304" fmla="*/ 1276087 w 5610835"/>
              <a:gd name="connsiteY3304" fmla="*/ 4500001 h 5278114"/>
              <a:gd name="connsiteX3305" fmla="*/ 1304720 w 5610835"/>
              <a:gd name="connsiteY3305" fmla="*/ 4492047 h 5278114"/>
              <a:gd name="connsiteX3306" fmla="*/ 1306311 w 5610835"/>
              <a:gd name="connsiteY3306" fmla="*/ 4503182 h 5278114"/>
              <a:gd name="connsiteX3307" fmla="*/ 1290404 w 5610835"/>
              <a:gd name="connsiteY3307" fmla="*/ 4500001 h 5278114"/>
              <a:gd name="connsiteX3308" fmla="*/ 1293585 w 5610835"/>
              <a:gd name="connsiteY3308" fmla="*/ 4506364 h 5278114"/>
              <a:gd name="connsiteX3309" fmla="*/ 1322218 w 5610835"/>
              <a:gd name="connsiteY3309" fmla="*/ 4503182 h 5278114"/>
              <a:gd name="connsiteX3310" fmla="*/ 1311083 w 5610835"/>
              <a:gd name="connsiteY3310" fmla="*/ 4492047 h 5278114"/>
              <a:gd name="connsiteX3311" fmla="*/ 1325399 w 5610835"/>
              <a:gd name="connsiteY3311" fmla="*/ 4488865 h 5278114"/>
              <a:gd name="connsiteX3312" fmla="*/ 1328581 w 5610835"/>
              <a:gd name="connsiteY3312" fmla="*/ 4490456 h 5278114"/>
              <a:gd name="connsiteX3313" fmla="*/ 1328581 w 5610835"/>
              <a:gd name="connsiteY3313" fmla="*/ 4503182 h 5278114"/>
              <a:gd name="connsiteX3314" fmla="*/ 1325399 w 5610835"/>
              <a:gd name="connsiteY3314" fmla="*/ 4504773 h 5278114"/>
              <a:gd name="connsiteX3315" fmla="*/ 1366758 w 5610835"/>
              <a:gd name="connsiteY3315" fmla="*/ 4511135 h 5278114"/>
              <a:gd name="connsiteX3316" fmla="*/ 1369940 w 5610835"/>
              <a:gd name="connsiteY3316" fmla="*/ 4509545 h 5278114"/>
              <a:gd name="connsiteX3317" fmla="*/ 1363577 w 5610835"/>
              <a:gd name="connsiteY3317" fmla="*/ 4488865 h 5278114"/>
              <a:gd name="connsiteX3318" fmla="*/ 1357214 w 5610835"/>
              <a:gd name="connsiteY3318" fmla="*/ 4490456 h 5278114"/>
              <a:gd name="connsiteX3319" fmla="*/ 1349261 w 5610835"/>
              <a:gd name="connsiteY3319" fmla="*/ 4474549 h 5278114"/>
              <a:gd name="connsiteX3320" fmla="*/ 1355623 w 5610835"/>
              <a:gd name="connsiteY3320" fmla="*/ 4466595 h 5278114"/>
              <a:gd name="connsiteX3321" fmla="*/ 1350851 w 5610835"/>
              <a:gd name="connsiteY3321" fmla="*/ 4455460 h 5278114"/>
              <a:gd name="connsiteX3322" fmla="*/ 1349261 w 5610835"/>
              <a:gd name="connsiteY3322" fmla="*/ 4457050 h 5278114"/>
              <a:gd name="connsiteX3323" fmla="*/ 1347670 w 5610835"/>
              <a:gd name="connsiteY3323" fmla="*/ 4452278 h 5278114"/>
              <a:gd name="connsiteX3324" fmla="*/ 1344488 w 5610835"/>
              <a:gd name="connsiteY3324" fmla="*/ 4444325 h 5278114"/>
              <a:gd name="connsiteX3325" fmla="*/ 1325399 w 5610835"/>
              <a:gd name="connsiteY3325" fmla="*/ 4453869 h 5278114"/>
              <a:gd name="connsiteX3326" fmla="*/ 1336534 w 5610835"/>
              <a:gd name="connsiteY3326" fmla="*/ 4431599 h 5278114"/>
              <a:gd name="connsiteX3327" fmla="*/ 1333353 w 5610835"/>
              <a:gd name="connsiteY3327" fmla="*/ 4426826 h 5278114"/>
              <a:gd name="connsiteX3328" fmla="*/ 1320628 w 5610835"/>
              <a:gd name="connsiteY3328" fmla="*/ 4418873 h 5278114"/>
              <a:gd name="connsiteX3329" fmla="*/ 1320628 w 5610835"/>
              <a:gd name="connsiteY3329" fmla="*/ 4425235 h 5278114"/>
              <a:gd name="connsiteX3330" fmla="*/ 1305176 w 5610835"/>
              <a:gd name="connsiteY3330" fmla="*/ 4430689 h 5278114"/>
              <a:gd name="connsiteX3331" fmla="*/ 1314266 w 5610835"/>
              <a:gd name="connsiteY3331" fmla="*/ 4428416 h 5278114"/>
              <a:gd name="connsiteX3332" fmla="*/ 1312675 w 5610835"/>
              <a:gd name="connsiteY3332" fmla="*/ 4439553 h 5278114"/>
              <a:gd name="connsiteX3333" fmla="*/ 1284041 w 5610835"/>
              <a:gd name="connsiteY3333" fmla="*/ 4465004 h 5278114"/>
              <a:gd name="connsiteX3334" fmla="*/ 1274496 w 5610835"/>
              <a:gd name="connsiteY3334" fmla="*/ 4466595 h 5278114"/>
              <a:gd name="connsiteX3335" fmla="*/ 1276087 w 5610835"/>
              <a:gd name="connsiteY3335" fmla="*/ 4437962 h 5278114"/>
              <a:gd name="connsiteX3336" fmla="*/ 1295585 w 5610835"/>
              <a:gd name="connsiteY3336" fmla="*/ 4433087 h 5278114"/>
              <a:gd name="connsiteX3337" fmla="*/ 1314264 w 5610835"/>
              <a:gd name="connsiteY3337" fmla="*/ 4417282 h 5278114"/>
              <a:gd name="connsiteX3338" fmla="*/ 1295175 w 5610835"/>
              <a:gd name="connsiteY3338" fmla="*/ 4414101 h 5278114"/>
              <a:gd name="connsiteX3339" fmla="*/ 1287223 w 5610835"/>
              <a:gd name="connsiteY3339" fmla="*/ 4422054 h 5278114"/>
              <a:gd name="connsiteX3340" fmla="*/ 1290404 w 5610835"/>
              <a:gd name="connsiteY3340" fmla="*/ 4414101 h 5278114"/>
              <a:gd name="connsiteX3341" fmla="*/ 1271314 w 5610835"/>
              <a:gd name="connsiteY3341" fmla="*/ 4414101 h 5278114"/>
              <a:gd name="connsiteX3342" fmla="*/ 1273304 w 5610835"/>
              <a:gd name="connsiteY3342" fmla="*/ 4427821 h 5278114"/>
              <a:gd name="connsiteX3343" fmla="*/ 1268830 w 5610835"/>
              <a:gd name="connsiteY3343" fmla="*/ 4436594 h 5278114"/>
              <a:gd name="connsiteX3344" fmla="*/ 1263361 w 5610835"/>
              <a:gd name="connsiteY3344" fmla="*/ 4437962 h 5278114"/>
              <a:gd name="connsiteX3345" fmla="*/ 1255407 w 5610835"/>
              <a:gd name="connsiteY3345" fmla="*/ 4417282 h 5278114"/>
              <a:gd name="connsiteX3346" fmla="*/ 1234728 w 5610835"/>
              <a:gd name="connsiteY3346" fmla="*/ 4420464 h 5278114"/>
              <a:gd name="connsiteX3347" fmla="*/ 1233137 w 5610835"/>
              <a:gd name="connsiteY3347" fmla="*/ 4423645 h 5278114"/>
              <a:gd name="connsiteX3348" fmla="*/ 1231546 w 5610835"/>
              <a:gd name="connsiteY3348" fmla="*/ 4420464 h 5278114"/>
              <a:gd name="connsiteX3349" fmla="*/ 1225183 w 5610835"/>
              <a:gd name="connsiteY3349" fmla="*/ 4422054 h 5278114"/>
              <a:gd name="connsiteX3350" fmla="*/ 1226774 w 5610835"/>
              <a:gd name="connsiteY3350" fmla="*/ 4431599 h 5278114"/>
              <a:gd name="connsiteX3351" fmla="*/ 1225183 w 5610835"/>
              <a:gd name="connsiteY3351" fmla="*/ 4433189 h 5278114"/>
              <a:gd name="connsiteX3352" fmla="*/ 1223592 w 5610835"/>
              <a:gd name="connsiteY3352" fmla="*/ 4433189 h 5278114"/>
              <a:gd name="connsiteX3353" fmla="*/ 1222002 w 5610835"/>
              <a:gd name="connsiteY3353" fmla="*/ 4428417 h 5278114"/>
              <a:gd name="connsiteX3354" fmla="*/ 1222002 w 5610835"/>
              <a:gd name="connsiteY3354" fmla="*/ 4422054 h 5278114"/>
              <a:gd name="connsiteX3355" fmla="*/ 1214048 w 5610835"/>
              <a:gd name="connsiteY3355" fmla="*/ 4423645 h 5278114"/>
              <a:gd name="connsiteX3356" fmla="*/ 1212457 w 5610835"/>
              <a:gd name="connsiteY3356" fmla="*/ 4395011 h 5278114"/>
              <a:gd name="connsiteX3357" fmla="*/ 1209275 w 5610835"/>
              <a:gd name="connsiteY3357" fmla="*/ 4390240 h 5278114"/>
              <a:gd name="connsiteX3358" fmla="*/ 1215639 w 5610835"/>
              <a:gd name="connsiteY3358" fmla="*/ 4388649 h 5278114"/>
              <a:gd name="connsiteX3359" fmla="*/ 1239499 w 5610835"/>
              <a:gd name="connsiteY3359" fmla="*/ 4350472 h 5278114"/>
              <a:gd name="connsiteX3360" fmla="*/ 1237909 w 5610835"/>
              <a:gd name="connsiteY3360" fmla="*/ 4347290 h 5278114"/>
              <a:gd name="connsiteX3361" fmla="*/ 1234728 w 5610835"/>
              <a:gd name="connsiteY3361" fmla="*/ 4331383 h 5278114"/>
              <a:gd name="connsiteX3362" fmla="*/ 1231546 w 5610835"/>
              <a:gd name="connsiteY3362" fmla="*/ 4310703 h 5278114"/>
              <a:gd name="connsiteX3363" fmla="*/ 1229956 w 5610835"/>
              <a:gd name="connsiteY3363" fmla="*/ 4309112 h 5278114"/>
              <a:gd name="connsiteX3364" fmla="*/ 1225183 w 5610835"/>
              <a:gd name="connsiteY3364" fmla="*/ 4320248 h 5278114"/>
              <a:gd name="connsiteX3365" fmla="*/ 1218820 w 5610835"/>
              <a:gd name="connsiteY3365" fmla="*/ 4304340 h 5278114"/>
              <a:gd name="connsiteX3366" fmla="*/ 1212457 w 5610835"/>
              <a:gd name="connsiteY3366" fmla="*/ 4301159 h 5278114"/>
              <a:gd name="connsiteX3367" fmla="*/ 1210866 w 5610835"/>
              <a:gd name="connsiteY3367" fmla="*/ 4302750 h 5278114"/>
              <a:gd name="connsiteX3368" fmla="*/ 1212457 w 5610835"/>
              <a:gd name="connsiteY3368" fmla="*/ 4315475 h 5278114"/>
              <a:gd name="connsiteX3369" fmla="*/ 1218820 w 5610835"/>
              <a:gd name="connsiteY3369" fmla="*/ 4340927 h 5278114"/>
              <a:gd name="connsiteX3370" fmla="*/ 1228365 w 5610835"/>
              <a:gd name="connsiteY3370" fmla="*/ 4360016 h 5278114"/>
              <a:gd name="connsiteX3371" fmla="*/ 1226774 w 5610835"/>
              <a:gd name="connsiteY3371" fmla="*/ 4360016 h 5278114"/>
              <a:gd name="connsiteX3372" fmla="*/ 1204504 w 5610835"/>
              <a:gd name="connsiteY3372" fmla="*/ 4361607 h 5278114"/>
              <a:gd name="connsiteX3373" fmla="*/ 1202913 w 5610835"/>
              <a:gd name="connsiteY3373" fmla="*/ 4361607 h 5278114"/>
              <a:gd name="connsiteX3374" fmla="*/ 1202913 w 5610835"/>
              <a:gd name="connsiteY3374" fmla="*/ 4355244 h 5278114"/>
              <a:gd name="connsiteX3375" fmla="*/ 1196550 w 5610835"/>
              <a:gd name="connsiteY3375" fmla="*/ 4358426 h 5278114"/>
              <a:gd name="connsiteX3376" fmla="*/ 1198141 w 5610835"/>
              <a:gd name="connsiteY3376" fmla="*/ 4345699 h 5278114"/>
              <a:gd name="connsiteX3377" fmla="*/ 1193369 w 5610835"/>
              <a:gd name="connsiteY3377" fmla="*/ 4348881 h 5278114"/>
              <a:gd name="connsiteX3378" fmla="*/ 1190187 w 5610835"/>
              <a:gd name="connsiteY3378" fmla="*/ 4340927 h 5278114"/>
              <a:gd name="connsiteX3379" fmla="*/ 1202913 w 5610835"/>
              <a:gd name="connsiteY3379" fmla="*/ 4313884 h 5278114"/>
              <a:gd name="connsiteX3380" fmla="*/ 1202913 w 5610835"/>
              <a:gd name="connsiteY3380" fmla="*/ 4312294 h 5278114"/>
              <a:gd name="connsiteX3381" fmla="*/ 1187005 w 5610835"/>
              <a:gd name="connsiteY3381" fmla="*/ 4334564 h 5278114"/>
              <a:gd name="connsiteX3382" fmla="*/ 1169509 w 5610835"/>
              <a:gd name="connsiteY3382" fmla="*/ 4334187 h 5278114"/>
              <a:gd name="connsiteX3383" fmla="*/ 1169509 w 5610835"/>
              <a:gd name="connsiteY3383" fmla="*/ 4350471 h 5278114"/>
              <a:gd name="connsiteX3384" fmla="*/ 1158372 w 5610835"/>
              <a:gd name="connsiteY3384" fmla="*/ 4337745 h 5278114"/>
              <a:gd name="connsiteX3385" fmla="*/ 1159964 w 5610835"/>
              <a:gd name="connsiteY3385" fmla="*/ 4352062 h 5278114"/>
              <a:gd name="connsiteX3386" fmla="*/ 1145647 w 5610835"/>
              <a:gd name="connsiteY3386" fmla="*/ 4337745 h 5278114"/>
              <a:gd name="connsiteX3387" fmla="*/ 1159964 w 5610835"/>
              <a:gd name="connsiteY3387" fmla="*/ 4334564 h 5278114"/>
              <a:gd name="connsiteX3388" fmla="*/ 1163057 w 5610835"/>
              <a:gd name="connsiteY3388" fmla="*/ 4334048 h 5278114"/>
              <a:gd name="connsiteX3389" fmla="*/ 1159366 w 5610835"/>
              <a:gd name="connsiteY3389" fmla="*/ 4333968 h 5278114"/>
              <a:gd name="connsiteX3390" fmla="*/ 1137693 w 5610835"/>
              <a:gd name="connsiteY3390" fmla="*/ 4320248 h 5278114"/>
              <a:gd name="connsiteX3391" fmla="*/ 1144056 w 5610835"/>
              <a:gd name="connsiteY3391" fmla="*/ 4296387 h 5278114"/>
              <a:gd name="connsiteX3392" fmla="*/ 1140875 w 5610835"/>
              <a:gd name="connsiteY3392" fmla="*/ 4280479 h 5278114"/>
              <a:gd name="connsiteX3393" fmla="*/ 1144056 w 5610835"/>
              <a:gd name="connsiteY3393" fmla="*/ 4277297 h 5278114"/>
              <a:gd name="connsiteX3394" fmla="*/ 1142465 w 5610835"/>
              <a:gd name="connsiteY3394" fmla="*/ 4267753 h 5278114"/>
              <a:gd name="connsiteX3395" fmla="*/ 1132921 w 5610835"/>
              <a:gd name="connsiteY3395" fmla="*/ 4262981 h 5278114"/>
              <a:gd name="connsiteX3396" fmla="*/ 1118604 w 5610835"/>
              <a:gd name="connsiteY3396" fmla="*/ 4253436 h 5278114"/>
              <a:gd name="connsiteX3397" fmla="*/ 1110651 w 5610835"/>
              <a:gd name="connsiteY3397" fmla="*/ 4250255 h 5278114"/>
              <a:gd name="connsiteX3398" fmla="*/ 1112241 w 5610835"/>
              <a:gd name="connsiteY3398" fmla="*/ 4248664 h 5278114"/>
              <a:gd name="connsiteX3399" fmla="*/ 1058156 w 5610835"/>
              <a:gd name="connsiteY3399" fmla="*/ 4208897 h 5278114"/>
              <a:gd name="connsiteX3400" fmla="*/ 1037476 w 5610835"/>
              <a:gd name="connsiteY3400" fmla="*/ 4256618 h 5278114"/>
              <a:gd name="connsiteX3401" fmla="*/ 1035886 w 5610835"/>
              <a:gd name="connsiteY3401" fmla="*/ 4194579 h 5278114"/>
              <a:gd name="connsiteX3402" fmla="*/ 1037476 w 5610835"/>
              <a:gd name="connsiteY3402" fmla="*/ 4192989 h 5278114"/>
              <a:gd name="connsiteX3403" fmla="*/ 986573 w 5610835"/>
              <a:gd name="connsiteY3403" fmla="*/ 4142085 h 5278114"/>
              <a:gd name="connsiteX3404" fmla="*/ 891129 w 5610835"/>
              <a:gd name="connsiteY3404" fmla="*/ 3994147 h 5278114"/>
              <a:gd name="connsiteX3405" fmla="*/ 821136 w 5610835"/>
              <a:gd name="connsiteY3405" fmla="*/ 3876433 h 5278114"/>
              <a:gd name="connsiteX3406" fmla="*/ 954758 w 5610835"/>
              <a:gd name="connsiteY3406" fmla="*/ 3798487 h 5278114"/>
              <a:gd name="connsiteX3407" fmla="*/ 1082017 w 5610835"/>
              <a:gd name="connsiteY3407" fmla="*/ 3780989 h 5278114"/>
              <a:gd name="connsiteX3408" fmla="*/ 996118 w 5610835"/>
              <a:gd name="connsiteY3408" fmla="*/ 3831892 h 5278114"/>
              <a:gd name="connsiteX3409" fmla="*/ 978619 w 5610835"/>
              <a:gd name="connsiteY3409" fmla="*/ 3884387 h 5278114"/>
              <a:gd name="connsiteX3410" fmla="*/ 1067700 w 5610835"/>
              <a:gd name="connsiteY3410" fmla="*/ 3893930 h 5278114"/>
              <a:gd name="connsiteX3411" fmla="*/ 1102697 w 5610835"/>
              <a:gd name="connsiteY3411" fmla="*/ 3699861 h 5278114"/>
              <a:gd name="connsiteX3412" fmla="*/ 1072473 w 5610835"/>
              <a:gd name="connsiteY3412" fmla="*/ 3610780 h 5278114"/>
              <a:gd name="connsiteX3413" fmla="*/ 1085199 w 5610835"/>
              <a:gd name="connsiteY3413" fmla="*/ 3620325 h 5278114"/>
              <a:gd name="connsiteX3414" fmla="*/ 1085199 w 5610835"/>
              <a:gd name="connsiteY3414" fmla="*/ 3613962 h 5278114"/>
              <a:gd name="connsiteX3415" fmla="*/ 1107469 w 5610835"/>
              <a:gd name="connsiteY3415" fmla="*/ 3467614 h 5278114"/>
              <a:gd name="connsiteX3416" fmla="*/ 1102697 w 5610835"/>
              <a:gd name="connsiteY3416" fmla="*/ 3469205 h 5278114"/>
              <a:gd name="connsiteX3417" fmla="*/ 1104287 w 5610835"/>
              <a:gd name="connsiteY3417" fmla="*/ 3437390 h 5278114"/>
              <a:gd name="connsiteX3418" fmla="*/ 1083608 w 5610835"/>
              <a:gd name="connsiteY3418" fmla="*/ 3499429 h 5278114"/>
              <a:gd name="connsiteX3419" fmla="*/ 1085199 w 5610835"/>
              <a:gd name="connsiteY3419" fmla="*/ 3448525 h 5278114"/>
              <a:gd name="connsiteX3420" fmla="*/ 1019979 w 5610835"/>
              <a:gd name="connsiteY3420" fmla="*/ 3477158 h 5278114"/>
              <a:gd name="connsiteX3421" fmla="*/ 692287 w 5610835"/>
              <a:gd name="connsiteY3421" fmla="*/ 3571012 h 5278114"/>
              <a:gd name="connsiteX3422" fmla="*/ 655700 w 5610835"/>
              <a:gd name="connsiteY3422" fmla="*/ 3528062 h 5278114"/>
              <a:gd name="connsiteX3423" fmla="*/ 622295 w 5610835"/>
              <a:gd name="connsiteY3423" fmla="*/ 3453297 h 5278114"/>
              <a:gd name="connsiteX3424" fmla="*/ 630249 w 5610835"/>
              <a:gd name="connsiteY3424" fmla="*/ 3388077 h 5278114"/>
              <a:gd name="connsiteX3425" fmla="*/ 509353 w 5610835"/>
              <a:gd name="connsiteY3425" fmla="*/ 3335582 h 5278114"/>
              <a:gd name="connsiteX3426" fmla="*/ 829090 w 5610835"/>
              <a:gd name="connsiteY3426" fmla="*/ 2699289 h 5278114"/>
              <a:gd name="connsiteX3427" fmla="*/ 2766604 w 5610835"/>
              <a:gd name="connsiteY3427" fmla="*/ 2697698 h 5278114"/>
              <a:gd name="connsiteX3428" fmla="*/ 2803191 w 5610835"/>
              <a:gd name="connsiteY3428" fmla="*/ 2742239 h 5278114"/>
              <a:gd name="connsiteX3429" fmla="*/ 2766604 w 5610835"/>
              <a:gd name="connsiteY3429" fmla="*/ 2697698 h 5278114"/>
              <a:gd name="connsiteX3430" fmla="*/ 2677523 w 5610835"/>
              <a:gd name="connsiteY3430" fmla="*/ 2694516 h 5278114"/>
              <a:gd name="connsiteX3431" fmla="*/ 2691839 w 5610835"/>
              <a:gd name="connsiteY3431" fmla="*/ 2723150 h 5278114"/>
              <a:gd name="connsiteX3432" fmla="*/ 2677523 w 5610835"/>
              <a:gd name="connsiteY3432" fmla="*/ 2694516 h 5278114"/>
              <a:gd name="connsiteX3433" fmla="*/ 2647300 w 5610835"/>
              <a:gd name="connsiteY3433" fmla="*/ 2673837 h 5278114"/>
              <a:gd name="connsiteX3434" fmla="*/ 2373693 w 5610835"/>
              <a:gd name="connsiteY3434" fmla="*/ 2961760 h 5278114"/>
              <a:gd name="connsiteX3435" fmla="*/ 2637756 w 5610835"/>
              <a:gd name="connsiteY3435" fmla="*/ 2739057 h 5278114"/>
              <a:gd name="connsiteX3436" fmla="*/ 2593216 w 5610835"/>
              <a:gd name="connsiteY3436" fmla="*/ 2824957 h 5278114"/>
              <a:gd name="connsiteX3437" fmla="*/ 2423006 w 5610835"/>
              <a:gd name="connsiteY3437" fmla="*/ 2979257 h 5278114"/>
              <a:gd name="connsiteX3438" fmla="*/ 2577308 w 5610835"/>
              <a:gd name="connsiteY3438" fmla="*/ 2861543 h 5278114"/>
              <a:gd name="connsiteX3439" fmla="*/ 2411871 w 5610835"/>
              <a:gd name="connsiteY3439" fmla="*/ 2995165 h 5278114"/>
              <a:gd name="connsiteX3440" fmla="*/ 2359376 w 5610835"/>
              <a:gd name="connsiteY3440" fmla="*/ 2941080 h 5278114"/>
              <a:gd name="connsiteX3441" fmla="*/ 2647300 w 5610835"/>
              <a:gd name="connsiteY3441" fmla="*/ 2673837 h 5278114"/>
              <a:gd name="connsiteX3442" fmla="*/ 1675361 w 5610835"/>
              <a:gd name="connsiteY3442" fmla="*/ 2648385 h 5278114"/>
              <a:gd name="connsiteX3443" fmla="*/ 1662634 w 5610835"/>
              <a:gd name="connsiteY3443" fmla="*/ 2677018 h 5278114"/>
              <a:gd name="connsiteX3444" fmla="*/ 1707175 w 5610835"/>
              <a:gd name="connsiteY3444" fmla="*/ 2661110 h 5278114"/>
              <a:gd name="connsiteX3445" fmla="*/ 1699222 w 5610835"/>
              <a:gd name="connsiteY3445" fmla="*/ 2673836 h 5278114"/>
              <a:gd name="connsiteX3446" fmla="*/ 1731037 w 5610835"/>
              <a:gd name="connsiteY3446" fmla="*/ 2669064 h 5278114"/>
              <a:gd name="connsiteX3447" fmla="*/ 1630820 w 5610835"/>
              <a:gd name="connsiteY3447" fmla="*/ 2718376 h 5278114"/>
              <a:gd name="connsiteX3448" fmla="*/ 1621275 w 5610835"/>
              <a:gd name="connsiteY3448" fmla="*/ 2691334 h 5278114"/>
              <a:gd name="connsiteX3449" fmla="*/ 1675361 w 5610835"/>
              <a:gd name="connsiteY3449" fmla="*/ 2648385 h 5278114"/>
              <a:gd name="connsiteX3450" fmla="*/ 2717291 w 5610835"/>
              <a:gd name="connsiteY3450" fmla="*/ 2646795 h 5278114"/>
              <a:gd name="connsiteX3451" fmla="*/ 2731609 w 5610835"/>
              <a:gd name="connsiteY3451" fmla="*/ 2649976 h 5278114"/>
              <a:gd name="connsiteX3452" fmla="*/ 2734790 w 5610835"/>
              <a:gd name="connsiteY3452" fmla="*/ 2664294 h 5278114"/>
              <a:gd name="connsiteX3453" fmla="*/ 2717291 w 5610835"/>
              <a:gd name="connsiteY3453" fmla="*/ 2646795 h 5278114"/>
              <a:gd name="connsiteX3454" fmla="*/ 1560828 w 5610835"/>
              <a:gd name="connsiteY3454" fmla="*/ 2646795 h 5278114"/>
              <a:gd name="connsiteX3455" fmla="*/ 1581509 w 5610835"/>
              <a:gd name="connsiteY3455" fmla="*/ 2678610 h 5278114"/>
              <a:gd name="connsiteX3456" fmla="*/ 1529013 w 5610835"/>
              <a:gd name="connsiteY3456" fmla="*/ 2659521 h 5278114"/>
              <a:gd name="connsiteX3457" fmla="*/ 1560828 w 5610835"/>
              <a:gd name="connsiteY3457" fmla="*/ 2646795 h 5278114"/>
              <a:gd name="connsiteX3458" fmla="*/ 1783532 w 5610835"/>
              <a:gd name="connsiteY3458" fmla="*/ 2643613 h 5278114"/>
              <a:gd name="connsiteX3459" fmla="*/ 1778759 w 5610835"/>
              <a:gd name="connsiteY3459" fmla="*/ 2653157 h 5278114"/>
              <a:gd name="connsiteX3460" fmla="*/ 1796256 w 5610835"/>
              <a:gd name="connsiteY3460" fmla="*/ 2649976 h 5278114"/>
              <a:gd name="connsiteX3461" fmla="*/ 1778759 w 5610835"/>
              <a:gd name="connsiteY3461" fmla="*/ 2665883 h 5278114"/>
              <a:gd name="connsiteX3462" fmla="*/ 1820118 w 5610835"/>
              <a:gd name="connsiteY3462" fmla="*/ 2664292 h 5278114"/>
              <a:gd name="connsiteX3463" fmla="*/ 1801029 w 5610835"/>
              <a:gd name="connsiteY3463" fmla="*/ 2667474 h 5278114"/>
              <a:gd name="connsiteX3464" fmla="*/ 1697630 w 5610835"/>
              <a:gd name="connsiteY3464" fmla="*/ 2715195 h 5278114"/>
              <a:gd name="connsiteX3465" fmla="*/ 1700813 w 5610835"/>
              <a:gd name="connsiteY3465" fmla="*/ 2723149 h 5278114"/>
              <a:gd name="connsiteX3466" fmla="*/ 1648318 w 5610835"/>
              <a:gd name="connsiteY3466" fmla="*/ 2753373 h 5278114"/>
              <a:gd name="connsiteX3467" fmla="*/ 1716719 w 5610835"/>
              <a:gd name="connsiteY3467" fmla="*/ 2743829 h 5278114"/>
              <a:gd name="connsiteX3468" fmla="*/ 1713537 w 5610835"/>
              <a:gd name="connsiteY3468" fmla="*/ 2756555 h 5278114"/>
              <a:gd name="connsiteX3469" fmla="*/ 1735809 w 5610835"/>
              <a:gd name="connsiteY3469" fmla="*/ 2756555 h 5278114"/>
              <a:gd name="connsiteX3470" fmla="*/ 1700813 w 5610835"/>
              <a:gd name="connsiteY3470" fmla="*/ 2775643 h 5278114"/>
              <a:gd name="connsiteX3471" fmla="*/ 1732627 w 5610835"/>
              <a:gd name="connsiteY3471" fmla="*/ 2797914 h 5278114"/>
              <a:gd name="connsiteX3472" fmla="*/ 1608549 w 5610835"/>
              <a:gd name="connsiteY3472" fmla="*/ 2837682 h 5278114"/>
              <a:gd name="connsiteX3473" fmla="*/ 1656271 w 5610835"/>
              <a:gd name="connsiteY3473" fmla="*/ 2848817 h 5278114"/>
              <a:gd name="connsiteX3474" fmla="*/ 1549692 w 5610835"/>
              <a:gd name="connsiteY3474" fmla="*/ 2861543 h 5278114"/>
              <a:gd name="connsiteX3475" fmla="*/ 1517877 w 5610835"/>
              <a:gd name="connsiteY3475" fmla="*/ 2817003 h 5278114"/>
              <a:gd name="connsiteX3476" fmla="*/ 1613322 w 5610835"/>
              <a:gd name="connsiteY3476" fmla="*/ 2770872 h 5278114"/>
              <a:gd name="connsiteX3477" fmla="*/ 1621275 w 5610835"/>
              <a:gd name="connsiteY3477" fmla="*/ 2758146 h 5278114"/>
              <a:gd name="connsiteX3478" fmla="*/ 1661043 w 5610835"/>
              <a:gd name="connsiteY3478" fmla="*/ 2735876 h 5278114"/>
              <a:gd name="connsiteX3479" fmla="*/ 1672179 w 5610835"/>
              <a:gd name="connsiteY3479" fmla="*/ 2718377 h 5278114"/>
              <a:gd name="connsiteX3480" fmla="*/ 1753307 w 5610835"/>
              <a:gd name="connsiteY3480" fmla="*/ 2659520 h 5278114"/>
              <a:gd name="connsiteX3481" fmla="*/ 1759670 w 5610835"/>
              <a:gd name="connsiteY3481" fmla="*/ 2665883 h 5278114"/>
              <a:gd name="connsiteX3482" fmla="*/ 1783532 w 5610835"/>
              <a:gd name="connsiteY3482" fmla="*/ 2643613 h 5278114"/>
              <a:gd name="connsiteX3483" fmla="*/ 2679113 w 5610835"/>
              <a:gd name="connsiteY3483" fmla="*/ 2637257 h 5278114"/>
              <a:gd name="connsiteX3484" fmla="*/ 2835005 w 5610835"/>
              <a:gd name="connsiteY3484" fmla="*/ 2832911 h 5278114"/>
              <a:gd name="connsiteX3485" fmla="*/ 2828642 w 5610835"/>
              <a:gd name="connsiteY3485" fmla="*/ 2813822 h 5278114"/>
              <a:gd name="connsiteX3486" fmla="*/ 2909770 w 5610835"/>
              <a:gd name="connsiteY3486" fmla="*/ 2931537 h 5278114"/>
              <a:gd name="connsiteX3487" fmla="*/ 2874773 w 5610835"/>
              <a:gd name="connsiteY3487" fmla="*/ 2912448 h 5278114"/>
              <a:gd name="connsiteX3488" fmla="*/ 2677523 w 5610835"/>
              <a:gd name="connsiteY3488" fmla="*/ 2665883 h 5278114"/>
              <a:gd name="connsiteX3489" fmla="*/ 2679113 w 5610835"/>
              <a:gd name="connsiteY3489" fmla="*/ 2637257 h 5278114"/>
              <a:gd name="connsiteX3490" fmla="*/ 4393924 w 5610835"/>
              <a:gd name="connsiteY3490" fmla="*/ 2637256 h 5278114"/>
              <a:gd name="connsiteX3491" fmla="*/ 4397106 w 5610835"/>
              <a:gd name="connsiteY3491" fmla="*/ 2648386 h 5278114"/>
              <a:gd name="connsiteX3492" fmla="*/ 4392334 w 5610835"/>
              <a:gd name="connsiteY3492" fmla="*/ 2646795 h 5278114"/>
              <a:gd name="connsiteX3493" fmla="*/ 4393924 w 5610835"/>
              <a:gd name="connsiteY3493" fmla="*/ 2637256 h 5278114"/>
              <a:gd name="connsiteX3494" fmla="*/ 3329723 w 5610835"/>
              <a:gd name="connsiteY3494" fmla="*/ 2630893 h 5278114"/>
              <a:gd name="connsiteX3495" fmla="*/ 3345632 w 5610835"/>
              <a:gd name="connsiteY3495" fmla="*/ 2670657 h 5278114"/>
              <a:gd name="connsiteX3496" fmla="*/ 3329723 w 5610835"/>
              <a:gd name="connsiteY3496" fmla="*/ 2630893 h 5278114"/>
              <a:gd name="connsiteX3497" fmla="*/ 4156507 w 5610835"/>
              <a:gd name="connsiteY3497" fmla="*/ 2623137 h 5278114"/>
              <a:gd name="connsiteX3498" fmla="*/ 4183947 w 5610835"/>
              <a:gd name="connsiteY3498" fmla="*/ 2629302 h 5278114"/>
              <a:gd name="connsiteX3499" fmla="*/ 4323932 w 5610835"/>
              <a:gd name="connsiteY3499" fmla="*/ 2677018 h 5278114"/>
              <a:gd name="connsiteX3500" fmla="*/ 4328704 w 5610835"/>
              <a:gd name="connsiteY3500" fmla="*/ 2692925 h 5278114"/>
              <a:gd name="connsiteX3501" fmla="*/ 4148951 w 5610835"/>
              <a:gd name="connsiteY3501" fmla="*/ 2640432 h 5278114"/>
              <a:gd name="connsiteX3502" fmla="*/ 4136225 w 5610835"/>
              <a:gd name="connsiteY3502" fmla="*/ 2627711 h 5278114"/>
              <a:gd name="connsiteX3503" fmla="*/ 4156507 w 5610835"/>
              <a:gd name="connsiteY3503" fmla="*/ 2623137 h 5278114"/>
              <a:gd name="connsiteX3504" fmla="*/ 2644118 w 5610835"/>
              <a:gd name="connsiteY3504" fmla="*/ 2622938 h 5278114"/>
              <a:gd name="connsiteX3505" fmla="*/ 2645709 w 5610835"/>
              <a:gd name="connsiteY3505" fmla="*/ 2648386 h 5278114"/>
              <a:gd name="connsiteX3506" fmla="*/ 2359376 w 5610835"/>
              <a:gd name="connsiteY3506" fmla="*/ 2926765 h 5278114"/>
              <a:gd name="connsiteX3507" fmla="*/ 2478682 w 5610835"/>
              <a:gd name="connsiteY3507" fmla="*/ 2804278 h 5278114"/>
              <a:gd name="connsiteX3508" fmla="*/ 2634575 w 5610835"/>
              <a:gd name="connsiteY3508" fmla="*/ 2629302 h 5278114"/>
              <a:gd name="connsiteX3509" fmla="*/ 2639347 w 5610835"/>
              <a:gd name="connsiteY3509" fmla="*/ 2626120 h 5278114"/>
              <a:gd name="connsiteX3510" fmla="*/ 2644118 w 5610835"/>
              <a:gd name="connsiteY3510" fmla="*/ 2622938 h 5278114"/>
              <a:gd name="connsiteX3511" fmla="*/ 1007253 w 5610835"/>
              <a:gd name="connsiteY3511" fmla="*/ 2618162 h 5278114"/>
              <a:gd name="connsiteX3512" fmla="*/ 948395 w 5610835"/>
              <a:gd name="connsiteY3512" fmla="*/ 2726331 h 5278114"/>
              <a:gd name="connsiteX3513" fmla="*/ 1007253 w 5610835"/>
              <a:gd name="connsiteY3513" fmla="*/ 2618162 h 5278114"/>
              <a:gd name="connsiteX3514" fmla="*/ 2679113 w 5610835"/>
              <a:gd name="connsiteY3514" fmla="*/ 2592713 h 5278114"/>
              <a:gd name="connsiteX3515" fmla="*/ 2691840 w 5610835"/>
              <a:gd name="connsiteY3515" fmla="*/ 2616576 h 5278114"/>
              <a:gd name="connsiteX3516" fmla="*/ 2679113 w 5610835"/>
              <a:gd name="connsiteY3516" fmla="*/ 2592713 h 5278114"/>
              <a:gd name="connsiteX3517" fmla="*/ 3334496 w 5610835"/>
              <a:gd name="connsiteY3517" fmla="*/ 2591120 h 5278114"/>
              <a:gd name="connsiteX3518" fmla="*/ 3296318 w 5610835"/>
              <a:gd name="connsiteY3518" fmla="*/ 2651567 h 5278114"/>
              <a:gd name="connsiteX3519" fmla="*/ 3344040 w 5610835"/>
              <a:gd name="connsiteY3519" fmla="*/ 2689744 h 5278114"/>
              <a:gd name="connsiteX3520" fmla="*/ 3361538 w 5610835"/>
              <a:gd name="connsiteY3520" fmla="*/ 2656338 h 5278114"/>
              <a:gd name="connsiteX3521" fmla="*/ 3345631 w 5610835"/>
              <a:gd name="connsiteY3521" fmla="*/ 2624529 h 5278114"/>
              <a:gd name="connsiteX3522" fmla="*/ 3353585 w 5610835"/>
              <a:gd name="connsiteY3522" fmla="*/ 2619756 h 5278114"/>
              <a:gd name="connsiteX3523" fmla="*/ 3367901 w 5610835"/>
              <a:gd name="connsiteY3523" fmla="*/ 2646795 h 5278114"/>
              <a:gd name="connsiteX3524" fmla="*/ 3369492 w 5610835"/>
              <a:gd name="connsiteY3524" fmla="*/ 2643613 h 5278114"/>
              <a:gd name="connsiteX3525" fmla="*/ 3366310 w 5610835"/>
              <a:gd name="connsiteY3525" fmla="*/ 2624529 h 5278114"/>
              <a:gd name="connsiteX3526" fmla="*/ 3334496 w 5610835"/>
              <a:gd name="connsiteY3526" fmla="*/ 2591120 h 5278114"/>
              <a:gd name="connsiteX3527" fmla="*/ 1688086 w 5610835"/>
              <a:gd name="connsiteY3527" fmla="*/ 2591119 h 5278114"/>
              <a:gd name="connsiteX3528" fmla="*/ 1684904 w 5610835"/>
              <a:gd name="connsiteY3528" fmla="*/ 2608619 h 5278114"/>
              <a:gd name="connsiteX3529" fmla="*/ 1703994 w 5610835"/>
              <a:gd name="connsiteY3529" fmla="*/ 2599073 h 5278114"/>
              <a:gd name="connsiteX3530" fmla="*/ 1683313 w 5610835"/>
              <a:gd name="connsiteY3530" fmla="*/ 2630891 h 5278114"/>
              <a:gd name="connsiteX3531" fmla="*/ 1738990 w 5610835"/>
              <a:gd name="connsiteY3531" fmla="*/ 2624528 h 5278114"/>
              <a:gd name="connsiteX3532" fmla="*/ 1602187 w 5610835"/>
              <a:gd name="connsiteY3532" fmla="*/ 2651567 h 5278114"/>
              <a:gd name="connsiteX3533" fmla="*/ 1603777 w 5610835"/>
              <a:gd name="connsiteY3533" fmla="*/ 2667474 h 5278114"/>
              <a:gd name="connsiteX3534" fmla="*/ 1638774 w 5610835"/>
              <a:gd name="connsiteY3534" fmla="*/ 2664292 h 5278114"/>
              <a:gd name="connsiteX3535" fmla="*/ 1610140 w 5610835"/>
              <a:gd name="connsiteY3535" fmla="*/ 2681791 h 5278114"/>
              <a:gd name="connsiteX3536" fmla="*/ 1597415 w 5610835"/>
              <a:gd name="connsiteY3536" fmla="*/ 2678609 h 5278114"/>
              <a:gd name="connsiteX3537" fmla="*/ 1581507 w 5610835"/>
              <a:gd name="connsiteY3537" fmla="*/ 2643613 h 5278114"/>
              <a:gd name="connsiteX3538" fmla="*/ 1638774 w 5610835"/>
              <a:gd name="connsiteY3538" fmla="*/ 2605437 h 5278114"/>
              <a:gd name="connsiteX3539" fmla="*/ 1618094 w 5610835"/>
              <a:gd name="connsiteY3539" fmla="*/ 2632482 h 5278114"/>
              <a:gd name="connsiteX3540" fmla="*/ 1688086 w 5610835"/>
              <a:gd name="connsiteY3540" fmla="*/ 2591119 h 5278114"/>
              <a:gd name="connsiteX3541" fmla="*/ 1050203 w 5610835"/>
              <a:gd name="connsiteY3541" fmla="*/ 2573621 h 5278114"/>
              <a:gd name="connsiteX3542" fmla="*/ 956349 w 5610835"/>
              <a:gd name="connsiteY3542" fmla="*/ 2751783 h 5278114"/>
              <a:gd name="connsiteX3543" fmla="*/ 1050203 w 5610835"/>
              <a:gd name="connsiteY3543" fmla="*/ 2573621 h 5278114"/>
              <a:gd name="connsiteX3544" fmla="*/ 4339839 w 5610835"/>
              <a:gd name="connsiteY3544" fmla="*/ 2554536 h 5278114"/>
              <a:gd name="connsiteX3545" fmla="*/ 4438465 w 5610835"/>
              <a:gd name="connsiteY3545" fmla="*/ 2589530 h 5278114"/>
              <a:gd name="connsiteX3546" fmla="*/ 4400287 w 5610835"/>
              <a:gd name="connsiteY3546" fmla="*/ 2583168 h 5278114"/>
              <a:gd name="connsiteX3547" fmla="*/ 4335067 w 5610835"/>
              <a:gd name="connsiteY3547" fmla="*/ 2564080 h 5278114"/>
              <a:gd name="connsiteX3548" fmla="*/ 4339839 w 5610835"/>
              <a:gd name="connsiteY3548" fmla="*/ 2554536 h 5278114"/>
              <a:gd name="connsiteX3549" fmla="*/ 2640937 w 5610835"/>
              <a:gd name="connsiteY3549" fmla="*/ 2544994 h 5278114"/>
              <a:gd name="connsiteX3550" fmla="*/ 2640937 w 5610835"/>
              <a:gd name="connsiteY3550" fmla="*/ 2573622 h 5278114"/>
              <a:gd name="connsiteX3551" fmla="*/ 2448458 w 5610835"/>
              <a:gd name="connsiteY3551" fmla="*/ 2815412 h 5278114"/>
              <a:gd name="connsiteX3552" fmla="*/ 2367330 w 5610835"/>
              <a:gd name="connsiteY3552" fmla="*/ 2864724 h 5278114"/>
              <a:gd name="connsiteX3553" fmla="*/ 2640937 w 5610835"/>
              <a:gd name="connsiteY3553" fmla="*/ 2544994 h 5278114"/>
              <a:gd name="connsiteX3554" fmla="*/ 1439932 w 5610835"/>
              <a:gd name="connsiteY3554" fmla="*/ 2544989 h 5278114"/>
              <a:gd name="connsiteX3555" fmla="*/ 1501971 w 5610835"/>
              <a:gd name="connsiteY3555" fmla="*/ 2611799 h 5278114"/>
              <a:gd name="connsiteX3556" fmla="*/ 1487654 w 5610835"/>
              <a:gd name="connsiteY3556" fmla="*/ 2634070 h 5278114"/>
              <a:gd name="connsiteX3557" fmla="*/ 1435160 w 5610835"/>
              <a:gd name="connsiteY3557" fmla="*/ 2578392 h 5278114"/>
              <a:gd name="connsiteX3558" fmla="*/ 1439932 w 5610835"/>
              <a:gd name="connsiteY3558" fmla="*/ 2544989 h 5278114"/>
              <a:gd name="connsiteX3559" fmla="*/ 3259731 w 5610835"/>
              <a:gd name="connsiteY3559" fmla="*/ 2543402 h 5278114"/>
              <a:gd name="connsiteX3560" fmla="*/ 3274047 w 5610835"/>
              <a:gd name="connsiteY3560" fmla="*/ 2543402 h 5278114"/>
              <a:gd name="connsiteX3561" fmla="*/ 3285183 w 5610835"/>
              <a:gd name="connsiteY3561" fmla="*/ 2573624 h 5278114"/>
              <a:gd name="connsiteX3562" fmla="*/ 3267685 w 5610835"/>
              <a:gd name="connsiteY3562" fmla="*/ 2570443 h 5278114"/>
              <a:gd name="connsiteX3563" fmla="*/ 3259731 w 5610835"/>
              <a:gd name="connsiteY3563" fmla="*/ 2543402 h 5278114"/>
              <a:gd name="connsiteX3564" fmla="*/ 2680705 w 5610835"/>
              <a:gd name="connsiteY3564" fmla="*/ 2538631 h 5278114"/>
              <a:gd name="connsiteX3565" fmla="*/ 2680705 w 5610835"/>
              <a:gd name="connsiteY3565" fmla="*/ 2538631 h 5278114"/>
              <a:gd name="connsiteX3566" fmla="*/ 3307453 w 5610835"/>
              <a:gd name="connsiteY3566" fmla="*/ 2532270 h 5278114"/>
              <a:gd name="connsiteX3567" fmla="*/ 3301090 w 5610835"/>
              <a:gd name="connsiteY3567" fmla="*/ 2540223 h 5278114"/>
              <a:gd name="connsiteX3568" fmla="*/ 3307453 w 5610835"/>
              <a:gd name="connsiteY3568" fmla="*/ 2540223 h 5278114"/>
              <a:gd name="connsiteX3569" fmla="*/ 3309044 w 5610835"/>
              <a:gd name="connsiteY3569" fmla="*/ 2546584 h 5278114"/>
              <a:gd name="connsiteX3570" fmla="*/ 3363129 w 5610835"/>
              <a:gd name="connsiteY3570" fmla="*/ 2608622 h 5278114"/>
              <a:gd name="connsiteX3571" fmla="*/ 3364719 w 5610835"/>
              <a:gd name="connsiteY3571" fmla="*/ 2602257 h 5278114"/>
              <a:gd name="connsiteX3572" fmla="*/ 3363129 w 5610835"/>
              <a:gd name="connsiteY3572" fmla="*/ 2594303 h 5278114"/>
              <a:gd name="connsiteX3573" fmla="*/ 3364719 w 5610835"/>
              <a:gd name="connsiteY3573" fmla="*/ 2595893 h 5278114"/>
              <a:gd name="connsiteX3574" fmla="*/ 3364719 w 5610835"/>
              <a:gd name="connsiteY3574" fmla="*/ 2592711 h 5278114"/>
              <a:gd name="connsiteX3575" fmla="*/ 3307453 w 5610835"/>
              <a:gd name="connsiteY3575" fmla="*/ 2532270 h 5278114"/>
              <a:gd name="connsiteX3576" fmla="*/ 3266095 w 5610835"/>
              <a:gd name="connsiteY3576" fmla="*/ 2521135 h 5278114"/>
              <a:gd name="connsiteX3577" fmla="*/ 3242233 w 5610835"/>
              <a:gd name="connsiteY3577" fmla="*/ 2525906 h 5278114"/>
              <a:gd name="connsiteX3578" fmla="*/ 3331314 w 5610835"/>
              <a:gd name="connsiteY3578" fmla="*/ 2589530 h 5278114"/>
              <a:gd name="connsiteX3579" fmla="*/ 3312225 w 5610835"/>
              <a:gd name="connsiteY3579" fmla="*/ 2570443 h 5278114"/>
              <a:gd name="connsiteX3580" fmla="*/ 3297909 w 5610835"/>
              <a:gd name="connsiteY3580" fmla="*/ 2570443 h 5278114"/>
              <a:gd name="connsiteX3581" fmla="*/ 3291546 w 5610835"/>
              <a:gd name="connsiteY3581" fmla="*/ 2548176 h 5278114"/>
              <a:gd name="connsiteX3582" fmla="*/ 3266095 w 5610835"/>
              <a:gd name="connsiteY3582" fmla="*/ 2521135 h 5278114"/>
              <a:gd name="connsiteX3583" fmla="*/ 1451067 w 5610835"/>
              <a:gd name="connsiteY3583" fmla="*/ 2513178 h 5278114"/>
              <a:gd name="connsiteX3584" fmla="*/ 1540148 w 5610835"/>
              <a:gd name="connsiteY3584" fmla="*/ 2572030 h 5278114"/>
              <a:gd name="connsiteX3585" fmla="*/ 1516287 w 5610835"/>
              <a:gd name="connsiteY3585" fmla="*/ 2592710 h 5278114"/>
              <a:gd name="connsiteX3586" fmla="*/ 1468566 w 5610835"/>
              <a:gd name="connsiteY3586" fmla="*/ 2560897 h 5278114"/>
              <a:gd name="connsiteX3587" fmla="*/ 1443113 w 5610835"/>
              <a:gd name="connsiteY3587" fmla="*/ 2533855 h 5278114"/>
              <a:gd name="connsiteX3588" fmla="*/ 1451067 w 5610835"/>
              <a:gd name="connsiteY3588" fmla="*/ 2513178 h 5278114"/>
              <a:gd name="connsiteX3589" fmla="*/ 2626620 w 5610835"/>
              <a:gd name="connsiteY3589" fmla="*/ 2489326 h 5278114"/>
              <a:gd name="connsiteX3590" fmla="*/ 2632983 w 5610835"/>
              <a:gd name="connsiteY3590" fmla="*/ 2511592 h 5278114"/>
              <a:gd name="connsiteX3591" fmla="*/ 2356194 w 5610835"/>
              <a:gd name="connsiteY3591" fmla="*/ 2844045 h 5278114"/>
              <a:gd name="connsiteX3592" fmla="*/ 2416642 w 5610835"/>
              <a:gd name="connsiteY3592" fmla="*/ 2764508 h 5278114"/>
              <a:gd name="connsiteX3593" fmla="*/ 2623438 w 5610835"/>
              <a:gd name="connsiteY3593" fmla="*/ 2490916 h 5278114"/>
              <a:gd name="connsiteX3594" fmla="*/ 2626620 w 5610835"/>
              <a:gd name="connsiteY3594" fmla="*/ 2489326 h 5278114"/>
              <a:gd name="connsiteX3595" fmla="*/ 1280859 w 5610835"/>
              <a:gd name="connsiteY3595" fmla="*/ 2486133 h 5278114"/>
              <a:gd name="connsiteX3596" fmla="*/ 1280859 w 5610835"/>
              <a:gd name="connsiteY3596" fmla="*/ 2489315 h 5278114"/>
              <a:gd name="connsiteX3597" fmla="*/ 1276087 w 5610835"/>
              <a:gd name="connsiteY3597" fmla="*/ 2505223 h 5278114"/>
              <a:gd name="connsiteX3598" fmla="*/ 1280859 w 5610835"/>
              <a:gd name="connsiteY3598" fmla="*/ 2486133 h 5278114"/>
              <a:gd name="connsiteX3599" fmla="*/ 4236441 w 5610835"/>
              <a:gd name="connsiteY3599" fmla="*/ 2479784 h 5278114"/>
              <a:gd name="connsiteX3600" fmla="*/ 4306434 w 5610835"/>
              <a:gd name="connsiteY3600" fmla="*/ 2502049 h 5278114"/>
              <a:gd name="connsiteX3601" fmla="*/ 4549817 w 5610835"/>
              <a:gd name="connsiteY3601" fmla="*/ 2548176 h 5278114"/>
              <a:gd name="connsiteX3602" fmla="*/ 4540272 w 5610835"/>
              <a:gd name="connsiteY3602" fmla="*/ 2560900 h 5278114"/>
              <a:gd name="connsiteX3603" fmla="*/ 4454372 w 5610835"/>
              <a:gd name="connsiteY3603" fmla="*/ 2543402 h 5278114"/>
              <a:gd name="connsiteX3604" fmla="*/ 4296890 w 5610835"/>
              <a:gd name="connsiteY3604" fmla="*/ 2527498 h 5278114"/>
              <a:gd name="connsiteX3605" fmla="*/ 4164858 w 5610835"/>
              <a:gd name="connsiteY3605" fmla="*/ 2492507 h 5278114"/>
              <a:gd name="connsiteX3606" fmla="*/ 4263485 w 5610835"/>
              <a:gd name="connsiteY3606" fmla="*/ 2494097 h 5278114"/>
              <a:gd name="connsiteX3607" fmla="*/ 4236441 w 5610835"/>
              <a:gd name="connsiteY3607" fmla="*/ 2479784 h 5278114"/>
              <a:gd name="connsiteX3608" fmla="*/ 2669569 w 5610835"/>
              <a:gd name="connsiteY3608" fmla="*/ 2479784 h 5278114"/>
              <a:gd name="connsiteX3609" fmla="*/ 2698203 w 5610835"/>
              <a:gd name="connsiteY3609" fmla="*/ 2529089 h 5278114"/>
              <a:gd name="connsiteX3610" fmla="*/ 2669569 w 5610835"/>
              <a:gd name="connsiteY3610" fmla="*/ 2479784 h 5278114"/>
              <a:gd name="connsiteX3611" fmla="*/ 1414480 w 5610835"/>
              <a:gd name="connsiteY3611" fmla="*/ 2468641 h 5278114"/>
              <a:gd name="connsiteX3612" fmla="*/ 1424026 w 5610835"/>
              <a:gd name="connsiteY3612" fmla="*/ 2505226 h 5278114"/>
              <a:gd name="connsiteX3613" fmla="*/ 1406527 w 5610835"/>
              <a:gd name="connsiteY3613" fmla="*/ 2473413 h 5278114"/>
              <a:gd name="connsiteX3614" fmla="*/ 1414480 w 5610835"/>
              <a:gd name="connsiteY3614" fmla="*/ 2468641 h 5278114"/>
              <a:gd name="connsiteX3615" fmla="*/ 1239499 w 5610835"/>
              <a:gd name="connsiteY3615" fmla="*/ 2467041 h 5278114"/>
              <a:gd name="connsiteX3616" fmla="*/ 1234728 w 5610835"/>
              <a:gd name="connsiteY3616" fmla="*/ 2476586 h 5278114"/>
              <a:gd name="connsiteX3617" fmla="*/ 1272904 w 5610835"/>
              <a:gd name="connsiteY3617" fmla="*/ 2521127 h 5278114"/>
              <a:gd name="connsiteX3618" fmla="*/ 1288812 w 5610835"/>
              <a:gd name="connsiteY3618" fmla="*/ 2731104 h 5278114"/>
              <a:gd name="connsiteX3619" fmla="*/ 1268132 w 5610835"/>
              <a:gd name="connsiteY3619" fmla="*/ 2743829 h 5278114"/>
              <a:gd name="connsiteX3620" fmla="*/ 1212457 w 5610835"/>
              <a:gd name="connsiteY3620" fmla="*/ 2713605 h 5278114"/>
              <a:gd name="connsiteX3621" fmla="*/ 1237909 w 5610835"/>
              <a:gd name="connsiteY3621" fmla="*/ 2468632 h 5278114"/>
              <a:gd name="connsiteX3622" fmla="*/ 1239499 w 5610835"/>
              <a:gd name="connsiteY3622" fmla="*/ 2467041 h 5278114"/>
              <a:gd name="connsiteX3623" fmla="*/ 1206094 w 5610835"/>
              <a:gd name="connsiteY3623" fmla="*/ 2457498 h 5278114"/>
              <a:gd name="connsiteX3624" fmla="*/ 1231547 w 5610835"/>
              <a:gd name="connsiteY3624" fmla="*/ 2473405 h 5278114"/>
              <a:gd name="connsiteX3625" fmla="*/ 1237909 w 5610835"/>
              <a:gd name="connsiteY3625" fmla="*/ 2467041 h 5278114"/>
              <a:gd name="connsiteX3626" fmla="*/ 1193369 w 5610835"/>
              <a:gd name="connsiteY3626" fmla="*/ 2718378 h 5278114"/>
              <a:gd name="connsiteX3627" fmla="*/ 1129738 w 5610835"/>
              <a:gd name="connsiteY3627" fmla="*/ 2761328 h 5278114"/>
              <a:gd name="connsiteX3628" fmla="*/ 1066109 w 5610835"/>
              <a:gd name="connsiteY3628" fmla="*/ 2694517 h 5278114"/>
              <a:gd name="connsiteX3629" fmla="*/ 1206094 w 5610835"/>
              <a:gd name="connsiteY3629" fmla="*/ 2457498 h 5278114"/>
              <a:gd name="connsiteX3630" fmla="*/ 1307901 w 5610835"/>
              <a:gd name="connsiteY3630" fmla="*/ 2449546 h 5278114"/>
              <a:gd name="connsiteX3631" fmla="*/ 1347670 w 5610835"/>
              <a:gd name="connsiteY3631" fmla="*/ 2484541 h 5278114"/>
              <a:gd name="connsiteX3632" fmla="*/ 1360396 w 5610835"/>
              <a:gd name="connsiteY3632" fmla="*/ 2470224 h 5278114"/>
              <a:gd name="connsiteX3633" fmla="*/ 1408117 w 5610835"/>
              <a:gd name="connsiteY3633" fmla="*/ 2557714 h 5278114"/>
              <a:gd name="connsiteX3634" fmla="*/ 1376303 w 5610835"/>
              <a:gd name="connsiteY3634" fmla="*/ 2589529 h 5278114"/>
              <a:gd name="connsiteX3635" fmla="*/ 1389028 w 5610835"/>
              <a:gd name="connsiteY3635" fmla="*/ 2643614 h 5278114"/>
              <a:gd name="connsiteX3636" fmla="*/ 1436751 w 5610835"/>
              <a:gd name="connsiteY3636" fmla="*/ 2603845 h 5278114"/>
              <a:gd name="connsiteX3637" fmla="*/ 1443113 w 5610835"/>
              <a:gd name="connsiteY3637" fmla="*/ 2613390 h 5278114"/>
              <a:gd name="connsiteX3638" fmla="*/ 1482881 w 5610835"/>
              <a:gd name="connsiteY3638" fmla="*/ 2640432 h 5278114"/>
              <a:gd name="connsiteX3639" fmla="*/ 1482881 w 5610835"/>
              <a:gd name="connsiteY3639" fmla="*/ 2677019 h 5278114"/>
              <a:gd name="connsiteX3640" fmla="*/ 1522651 w 5610835"/>
              <a:gd name="connsiteY3640" fmla="*/ 2659521 h 5278114"/>
              <a:gd name="connsiteX3641" fmla="*/ 1552875 w 5610835"/>
              <a:gd name="connsiteY3641" fmla="*/ 2691336 h 5278114"/>
              <a:gd name="connsiteX3642" fmla="*/ 1517879 w 5610835"/>
              <a:gd name="connsiteY3642" fmla="*/ 2723150 h 5278114"/>
              <a:gd name="connsiteX3643" fmla="*/ 1373121 w 5610835"/>
              <a:gd name="connsiteY3643" fmla="*/ 2734286 h 5278114"/>
              <a:gd name="connsiteX3644" fmla="*/ 1344488 w 5610835"/>
              <a:gd name="connsiteY3644" fmla="*/ 2672247 h 5278114"/>
              <a:gd name="connsiteX3645" fmla="*/ 1349260 w 5610835"/>
              <a:gd name="connsiteY3645" fmla="*/ 2715196 h 5278114"/>
              <a:gd name="connsiteX3646" fmla="*/ 1291994 w 5610835"/>
              <a:gd name="connsiteY3646" fmla="*/ 2719969 h 5278114"/>
              <a:gd name="connsiteX3647" fmla="*/ 1277677 w 5610835"/>
              <a:gd name="connsiteY3647" fmla="*/ 2546579 h 5278114"/>
              <a:gd name="connsiteX3648" fmla="*/ 1280858 w 5610835"/>
              <a:gd name="connsiteY3648" fmla="*/ 2517947 h 5278114"/>
              <a:gd name="connsiteX3649" fmla="*/ 1284040 w 5610835"/>
              <a:gd name="connsiteY3649" fmla="*/ 2502039 h 5278114"/>
              <a:gd name="connsiteX3650" fmla="*/ 1290403 w 5610835"/>
              <a:gd name="connsiteY3650" fmla="*/ 2509993 h 5278114"/>
              <a:gd name="connsiteX3651" fmla="*/ 1303129 w 5610835"/>
              <a:gd name="connsiteY3651" fmla="*/ 2486132 h 5278114"/>
              <a:gd name="connsiteX3652" fmla="*/ 1304719 w 5610835"/>
              <a:gd name="connsiteY3652" fmla="*/ 2519536 h 5278114"/>
              <a:gd name="connsiteX3653" fmla="*/ 1331762 w 5610835"/>
              <a:gd name="connsiteY3653" fmla="*/ 2494086 h 5278114"/>
              <a:gd name="connsiteX3654" fmla="*/ 1307901 w 5610835"/>
              <a:gd name="connsiteY3654" fmla="*/ 2449546 h 5278114"/>
              <a:gd name="connsiteX3655" fmla="*/ 2959083 w 5610835"/>
              <a:gd name="connsiteY3655" fmla="*/ 2443202 h 5278114"/>
              <a:gd name="connsiteX3656" fmla="*/ 2944766 w 5610835"/>
              <a:gd name="connsiteY3656" fmla="*/ 2451155 h 5278114"/>
              <a:gd name="connsiteX3657" fmla="*/ 2978171 w 5610835"/>
              <a:gd name="connsiteY3657" fmla="*/ 2522726 h 5278114"/>
              <a:gd name="connsiteX3658" fmla="*/ 2982943 w 5610835"/>
              <a:gd name="connsiteY3658" fmla="*/ 2535450 h 5278114"/>
              <a:gd name="connsiteX3659" fmla="*/ 3006804 w 5610835"/>
              <a:gd name="connsiteY3659" fmla="*/ 2627711 h 5278114"/>
              <a:gd name="connsiteX3660" fmla="*/ 3008395 w 5610835"/>
              <a:gd name="connsiteY3660" fmla="*/ 2610212 h 5278114"/>
              <a:gd name="connsiteX3661" fmla="*/ 3016349 w 5610835"/>
              <a:gd name="connsiteY3661" fmla="*/ 2610212 h 5278114"/>
              <a:gd name="connsiteX3662" fmla="*/ 2973399 w 5610835"/>
              <a:gd name="connsiteY3662" fmla="*/ 2475011 h 5278114"/>
              <a:gd name="connsiteX3663" fmla="*/ 2962264 w 5610835"/>
              <a:gd name="connsiteY3663" fmla="*/ 2475011 h 5278114"/>
              <a:gd name="connsiteX3664" fmla="*/ 2960673 w 5610835"/>
              <a:gd name="connsiteY3664" fmla="*/ 2447973 h 5278114"/>
              <a:gd name="connsiteX3665" fmla="*/ 2959083 w 5610835"/>
              <a:gd name="connsiteY3665" fmla="*/ 2443202 h 5278114"/>
              <a:gd name="connsiteX3666" fmla="*/ 2610712 w 5610835"/>
              <a:gd name="connsiteY3666" fmla="*/ 2438431 h 5278114"/>
              <a:gd name="connsiteX3667" fmla="*/ 2618666 w 5610835"/>
              <a:gd name="connsiteY3667" fmla="*/ 2451155 h 5278114"/>
              <a:gd name="connsiteX3668" fmla="*/ 2432550 w 5610835"/>
              <a:gd name="connsiteY3668" fmla="*/ 2726332 h 5278114"/>
              <a:gd name="connsiteX3669" fmla="*/ 2610712 w 5610835"/>
              <a:gd name="connsiteY3669" fmla="*/ 2438431 h 5278114"/>
              <a:gd name="connsiteX3670" fmla="*/ 2893862 w 5610835"/>
              <a:gd name="connsiteY3670" fmla="*/ 2428888 h 5278114"/>
              <a:gd name="connsiteX3671" fmla="*/ 2881137 w 5610835"/>
              <a:gd name="connsiteY3671" fmla="*/ 2435250 h 5278114"/>
              <a:gd name="connsiteX3672" fmla="*/ 2981353 w 5610835"/>
              <a:gd name="connsiteY3672" fmla="*/ 2630893 h 5278114"/>
              <a:gd name="connsiteX3673" fmla="*/ 2893862 w 5610835"/>
              <a:gd name="connsiteY3673" fmla="*/ 2428888 h 5278114"/>
              <a:gd name="connsiteX3674" fmla="*/ 814774 w 5610835"/>
              <a:gd name="connsiteY3674" fmla="*/ 2428864 h 5278114"/>
              <a:gd name="connsiteX3675" fmla="*/ 776596 w 5610835"/>
              <a:gd name="connsiteY3675" fmla="*/ 2533852 h 5278114"/>
              <a:gd name="connsiteX3676" fmla="*/ 814774 w 5610835"/>
              <a:gd name="connsiteY3676" fmla="*/ 2428864 h 5278114"/>
              <a:gd name="connsiteX3677" fmla="*/ 1171099 w 5610835"/>
              <a:gd name="connsiteY3677" fmla="*/ 2414548 h 5278114"/>
              <a:gd name="connsiteX3678" fmla="*/ 1175870 w 5610835"/>
              <a:gd name="connsiteY3678" fmla="*/ 2420910 h 5278114"/>
              <a:gd name="connsiteX3679" fmla="*/ 1171099 w 5610835"/>
              <a:gd name="connsiteY3679" fmla="*/ 2425684 h 5278114"/>
              <a:gd name="connsiteX3680" fmla="*/ 1171099 w 5610835"/>
              <a:gd name="connsiteY3680" fmla="*/ 2414548 h 5278114"/>
              <a:gd name="connsiteX3681" fmla="*/ 2835005 w 5610835"/>
              <a:gd name="connsiteY3681" fmla="*/ 2405032 h 5278114"/>
              <a:gd name="connsiteX3682" fmla="*/ 2823871 w 5610835"/>
              <a:gd name="connsiteY3682" fmla="*/ 2414573 h 5278114"/>
              <a:gd name="connsiteX3683" fmla="*/ 2847731 w 5610835"/>
              <a:gd name="connsiteY3683" fmla="*/ 2449563 h 5278114"/>
              <a:gd name="connsiteX3684" fmla="*/ 2855685 w 5610835"/>
              <a:gd name="connsiteY3684" fmla="*/ 2433660 h 5278114"/>
              <a:gd name="connsiteX3685" fmla="*/ 2835005 w 5610835"/>
              <a:gd name="connsiteY3685" fmla="*/ 2405032 h 5278114"/>
              <a:gd name="connsiteX3686" fmla="*/ 1355623 w 5610835"/>
              <a:gd name="connsiteY3686" fmla="*/ 2397062 h 5278114"/>
              <a:gd name="connsiteX3687" fmla="*/ 1373121 w 5610835"/>
              <a:gd name="connsiteY3687" fmla="*/ 2424103 h 5278114"/>
              <a:gd name="connsiteX3688" fmla="*/ 1430388 w 5610835"/>
              <a:gd name="connsiteY3688" fmla="*/ 2529085 h 5278114"/>
              <a:gd name="connsiteX3689" fmla="*/ 1427207 w 5610835"/>
              <a:gd name="connsiteY3689" fmla="*/ 2540219 h 5278114"/>
              <a:gd name="connsiteX3690" fmla="*/ 1417661 w 5610835"/>
              <a:gd name="connsiteY3690" fmla="*/ 2551353 h 5278114"/>
              <a:gd name="connsiteX3691" fmla="*/ 1358804 w 5610835"/>
              <a:gd name="connsiteY3691" fmla="*/ 2438418 h 5278114"/>
              <a:gd name="connsiteX3692" fmla="*/ 1382666 w 5610835"/>
              <a:gd name="connsiteY3692" fmla="*/ 2460687 h 5278114"/>
              <a:gd name="connsiteX3693" fmla="*/ 1355623 w 5610835"/>
              <a:gd name="connsiteY3693" fmla="*/ 2397062 h 5278114"/>
              <a:gd name="connsiteX3694" fmla="*/ 1385848 w 5610835"/>
              <a:gd name="connsiteY3694" fmla="*/ 2395473 h 5278114"/>
              <a:gd name="connsiteX3695" fmla="*/ 1384256 w 5610835"/>
              <a:gd name="connsiteY3695" fmla="*/ 2420924 h 5278114"/>
              <a:gd name="connsiteX3696" fmla="*/ 1379485 w 5610835"/>
              <a:gd name="connsiteY3696" fmla="*/ 2408198 h 5278114"/>
              <a:gd name="connsiteX3697" fmla="*/ 1385848 w 5610835"/>
              <a:gd name="connsiteY3697" fmla="*/ 2395473 h 5278114"/>
              <a:gd name="connsiteX3698" fmla="*/ 2650480 w 5610835"/>
              <a:gd name="connsiteY3698" fmla="*/ 2392308 h 5278114"/>
              <a:gd name="connsiteX3699" fmla="*/ 2698203 w 5610835"/>
              <a:gd name="connsiteY3699" fmla="*/ 2478193 h 5278114"/>
              <a:gd name="connsiteX3700" fmla="*/ 2650480 w 5610835"/>
              <a:gd name="connsiteY3700" fmla="*/ 2392308 h 5278114"/>
              <a:gd name="connsiteX3701" fmla="*/ 1271314 w 5610835"/>
              <a:gd name="connsiteY3701" fmla="*/ 2390695 h 5278114"/>
              <a:gd name="connsiteX3702" fmla="*/ 1326990 w 5610835"/>
              <a:gd name="connsiteY3702" fmla="*/ 2425689 h 5278114"/>
              <a:gd name="connsiteX3703" fmla="*/ 1311083 w 5610835"/>
              <a:gd name="connsiteY3703" fmla="*/ 2393876 h 5278114"/>
              <a:gd name="connsiteX3704" fmla="*/ 1325399 w 5610835"/>
              <a:gd name="connsiteY3704" fmla="*/ 2406601 h 5278114"/>
              <a:gd name="connsiteX3705" fmla="*/ 1338125 w 5610835"/>
              <a:gd name="connsiteY3705" fmla="*/ 2395466 h 5278114"/>
              <a:gd name="connsiteX3706" fmla="*/ 1344488 w 5610835"/>
              <a:gd name="connsiteY3706" fmla="*/ 2425689 h 5278114"/>
              <a:gd name="connsiteX3707" fmla="*/ 1347670 w 5610835"/>
              <a:gd name="connsiteY3707" fmla="*/ 2438415 h 5278114"/>
              <a:gd name="connsiteX3708" fmla="*/ 1293585 w 5610835"/>
              <a:gd name="connsiteY3708" fmla="*/ 2433643 h 5278114"/>
              <a:gd name="connsiteX3709" fmla="*/ 1271314 w 5610835"/>
              <a:gd name="connsiteY3709" fmla="*/ 2390695 h 5278114"/>
              <a:gd name="connsiteX3710" fmla="*/ 2594805 w 5610835"/>
              <a:gd name="connsiteY3710" fmla="*/ 2389125 h 5278114"/>
              <a:gd name="connsiteX3711" fmla="*/ 2500951 w 5610835"/>
              <a:gd name="connsiteY3711" fmla="*/ 2599076 h 5278114"/>
              <a:gd name="connsiteX3712" fmla="*/ 2421414 w 5610835"/>
              <a:gd name="connsiteY3712" fmla="*/ 2670656 h 5278114"/>
              <a:gd name="connsiteX3713" fmla="*/ 2583670 w 5610835"/>
              <a:gd name="connsiteY3713" fmla="*/ 2390717 h 5278114"/>
              <a:gd name="connsiteX3714" fmla="*/ 2594805 w 5610835"/>
              <a:gd name="connsiteY3714" fmla="*/ 2389125 h 5278114"/>
              <a:gd name="connsiteX3715" fmla="*/ 1454249 w 5610835"/>
              <a:gd name="connsiteY3715" fmla="*/ 2387519 h 5278114"/>
              <a:gd name="connsiteX3716" fmla="*/ 1466975 w 5610835"/>
              <a:gd name="connsiteY3716" fmla="*/ 2447963 h 5278114"/>
              <a:gd name="connsiteX3717" fmla="*/ 1489246 w 5610835"/>
              <a:gd name="connsiteY3717" fmla="*/ 2406606 h 5278114"/>
              <a:gd name="connsiteX3718" fmla="*/ 1474928 w 5610835"/>
              <a:gd name="connsiteY3718" fmla="*/ 2484548 h 5278114"/>
              <a:gd name="connsiteX3719" fmla="*/ 1506743 w 5610835"/>
              <a:gd name="connsiteY3719" fmla="*/ 2435238 h 5278114"/>
              <a:gd name="connsiteX3720" fmla="*/ 1509924 w 5610835"/>
              <a:gd name="connsiteY3720" fmla="*/ 2463869 h 5278114"/>
              <a:gd name="connsiteX3721" fmla="*/ 1538558 w 5610835"/>
              <a:gd name="connsiteY3721" fmla="*/ 2449554 h 5278114"/>
              <a:gd name="connsiteX3722" fmla="*/ 1503561 w 5610835"/>
              <a:gd name="connsiteY3722" fmla="*/ 2494090 h 5278114"/>
              <a:gd name="connsiteX3723" fmla="*/ 1517878 w 5610835"/>
              <a:gd name="connsiteY3723" fmla="*/ 2513178 h 5278114"/>
              <a:gd name="connsiteX3724" fmla="*/ 1559237 w 5610835"/>
              <a:gd name="connsiteY3724" fmla="*/ 2446372 h 5278114"/>
              <a:gd name="connsiteX3725" fmla="*/ 1548102 w 5610835"/>
              <a:gd name="connsiteY3725" fmla="*/ 2484548 h 5278114"/>
              <a:gd name="connsiteX3726" fmla="*/ 1599005 w 5610835"/>
              <a:gd name="connsiteY3726" fmla="*/ 2455916 h 5278114"/>
              <a:gd name="connsiteX3727" fmla="*/ 1565600 w 5610835"/>
              <a:gd name="connsiteY3727" fmla="*/ 2497272 h 5278114"/>
              <a:gd name="connsiteX3728" fmla="*/ 1614913 w 5610835"/>
              <a:gd name="connsiteY3728" fmla="*/ 2465461 h 5278114"/>
              <a:gd name="connsiteX3729" fmla="*/ 1605369 w 5610835"/>
              <a:gd name="connsiteY3729" fmla="*/ 2487729 h 5278114"/>
              <a:gd name="connsiteX3730" fmla="*/ 1637184 w 5610835"/>
              <a:gd name="connsiteY3730" fmla="*/ 2470231 h 5278114"/>
              <a:gd name="connsiteX3731" fmla="*/ 1640366 w 5610835"/>
              <a:gd name="connsiteY3731" fmla="*/ 2476594 h 5278114"/>
              <a:gd name="connsiteX3732" fmla="*/ 1533785 w 5610835"/>
              <a:gd name="connsiteY3732" fmla="*/ 2516360 h 5278114"/>
              <a:gd name="connsiteX3733" fmla="*/ 1548102 w 5610835"/>
              <a:gd name="connsiteY3733" fmla="*/ 2552943 h 5278114"/>
              <a:gd name="connsiteX3734" fmla="*/ 1662636 w 5610835"/>
              <a:gd name="connsiteY3734" fmla="*/ 2494090 h 5278114"/>
              <a:gd name="connsiteX3735" fmla="*/ 1611732 w 5610835"/>
              <a:gd name="connsiteY3735" fmla="*/ 2529085 h 5278114"/>
              <a:gd name="connsiteX3736" fmla="*/ 1667408 w 5610835"/>
              <a:gd name="connsiteY3736" fmla="*/ 2513178 h 5278114"/>
              <a:gd name="connsiteX3737" fmla="*/ 1635594 w 5610835"/>
              <a:gd name="connsiteY3737" fmla="*/ 2525902 h 5278114"/>
              <a:gd name="connsiteX3738" fmla="*/ 1672180 w 5610835"/>
              <a:gd name="connsiteY3738" fmla="*/ 2522722 h 5278114"/>
              <a:gd name="connsiteX3739" fmla="*/ 1584689 w 5610835"/>
              <a:gd name="connsiteY3739" fmla="*/ 2543400 h 5278114"/>
              <a:gd name="connsiteX3740" fmla="*/ 1691269 w 5610835"/>
              <a:gd name="connsiteY3740" fmla="*/ 2544990 h 5278114"/>
              <a:gd name="connsiteX3741" fmla="*/ 1641957 w 5610835"/>
              <a:gd name="connsiteY3741" fmla="*/ 2570439 h 5278114"/>
              <a:gd name="connsiteX3742" fmla="*/ 1688088 w 5610835"/>
              <a:gd name="connsiteY3742" fmla="*/ 2573621 h 5278114"/>
              <a:gd name="connsiteX3743" fmla="*/ 1637184 w 5610835"/>
              <a:gd name="connsiteY3743" fmla="*/ 2583165 h 5278114"/>
              <a:gd name="connsiteX3744" fmla="*/ 1541739 w 5610835"/>
              <a:gd name="connsiteY3744" fmla="*/ 2570439 h 5278114"/>
              <a:gd name="connsiteX3745" fmla="*/ 1459021 w 5610835"/>
              <a:gd name="connsiteY3745" fmla="*/ 2490910 h 5278114"/>
              <a:gd name="connsiteX3746" fmla="*/ 1462203 w 5610835"/>
              <a:gd name="connsiteY3746" fmla="*/ 2471823 h 5278114"/>
              <a:gd name="connsiteX3747" fmla="*/ 1414480 w 5610835"/>
              <a:gd name="connsiteY3747" fmla="*/ 2392291 h 5278114"/>
              <a:gd name="connsiteX3748" fmla="*/ 1459021 w 5610835"/>
              <a:gd name="connsiteY3748" fmla="*/ 2433648 h 5278114"/>
              <a:gd name="connsiteX3749" fmla="*/ 1454249 w 5610835"/>
              <a:gd name="connsiteY3749" fmla="*/ 2387519 h 5278114"/>
              <a:gd name="connsiteX3750" fmla="*/ 2857275 w 5610835"/>
              <a:gd name="connsiteY3750" fmla="*/ 2385946 h 5278114"/>
              <a:gd name="connsiteX3751" fmla="*/ 2850913 w 5610835"/>
              <a:gd name="connsiteY3751" fmla="*/ 2387535 h 5278114"/>
              <a:gd name="connsiteX3752" fmla="*/ 2858866 w 5610835"/>
              <a:gd name="connsiteY3752" fmla="*/ 2398670 h 5278114"/>
              <a:gd name="connsiteX3753" fmla="*/ 2857275 w 5610835"/>
              <a:gd name="connsiteY3753" fmla="*/ 2385946 h 5278114"/>
              <a:gd name="connsiteX3754" fmla="*/ 2456411 w 5610835"/>
              <a:gd name="connsiteY3754" fmla="*/ 2366859 h 5278114"/>
              <a:gd name="connsiteX3755" fmla="*/ 2421414 w 5610835"/>
              <a:gd name="connsiteY3755" fmla="*/ 2395488 h 5278114"/>
              <a:gd name="connsiteX3756" fmla="*/ 2456411 w 5610835"/>
              <a:gd name="connsiteY3756" fmla="*/ 2366859 h 5278114"/>
              <a:gd name="connsiteX3757" fmla="*/ 2494589 w 5610835"/>
              <a:gd name="connsiteY3757" fmla="*/ 2358907 h 5278114"/>
              <a:gd name="connsiteX3758" fmla="*/ 2434141 w 5610835"/>
              <a:gd name="connsiteY3758" fmla="*/ 2484555 h 5278114"/>
              <a:gd name="connsiteX3759" fmla="*/ 2494589 w 5610835"/>
              <a:gd name="connsiteY3759" fmla="*/ 2358907 h 5278114"/>
              <a:gd name="connsiteX3760" fmla="*/ 2631391 w 5610835"/>
              <a:gd name="connsiteY3760" fmla="*/ 2331869 h 5278114"/>
              <a:gd name="connsiteX3761" fmla="*/ 2696611 w 5610835"/>
              <a:gd name="connsiteY3761" fmla="*/ 2420936 h 5278114"/>
              <a:gd name="connsiteX3762" fmla="*/ 2631391 w 5610835"/>
              <a:gd name="connsiteY3762" fmla="*/ 2331869 h 5278114"/>
              <a:gd name="connsiteX3763" fmla="*/ 2664175 w 5610835"/>
              <a:gd name="connsiteY3763" fmla="*/ 2317455 h 5278114"/>
              <a:gd name="connsiteX3764" fmla="*/ 2696613 w 5610835"/>
              <a:gd name="connsiteY3764" fmla="*/ 2339821 h 5278114"/>
              <a:gd name="connsiteX3765" fmla="*/ 2698204 w 5610835"/>
              <a:gd name="connsiteY3765" fmla="*/ 2379582 h 5278114"/>
              <a:gd name="connsiteX3766" fmla="*/ 2650480 w 5610835"/>
              <a:gd name="connsiteY3766" fmla="*/ 2322326 h 5278114"/>
              <a:gd name="connsiteX3767" fmla="*/ 2664175 w 5610835"/>
              <a:gd name="connsiteY3767" fmla="*/ 2317455 h 5278114"/>
              <a:gd name="connsiteX3768" fmla="*/ 4548226 w 5610835"/>
              <a:gd name="connsiteY3768" fmla="*/ 2304832 h 5278114"/>
              <a:gd name="connsiteX3769" fmla="*/ 4548226 w 5610835"/>
              <a:gd name="connsiteY3769" fmla="*/ 2309602 h 5278114"/>
              <a:gd name="connsiteX3770" fmla="*/ 4443237 w 5610835"/>
              <a:gd name="connsiteY3770" fmla="*/ 2319146 h 5278114"/>
              <a:gd name="connsiteX3771" fmla="*/ 4428920 w 5610835"/>
              <a:gd name="connsiteY3771" fmla="*/ 2315966 h 5278114"/>
              <a:gd name="connsiteX3772" fmla="*/ 4548226 w 5610835"/>
              <a:gd name="connsiteY3772" fmla="*/ 2304832 h 5278114"/>
              <a:gd name="connsiteX3773" fmla="*/ 4602310 w 5610835"/>
              <a:gd name="connsiteY3773" fmla="*/ 2298469 h 5278114"/>
              <a:gd name="connsiteX3774" fmla="*/ 4567314 w 5610835"/>
              <a:gd name="connsiteY3774" fmla="*/ 2306422 h 5278114"/>
              <a:gd name="connsiteX3775" fmla="*/ 4602310 w 5610835"/>
              <a:gd name="connsiteY3775" fmla="*/ 2298469 h 5278114"/>
              <a:gd name="connsiteX3776" fmla="*/ 4620729 w 5610835"/>
              <a:gd name="connsiteY3776" fmla="*/ 2297400 h 5278114"/>
              <a:gd name="connsiteX3777" fmla="*/ 4626172 w 5610835"/>
              <a:gd name="connsiteY3777" fmla="*/ 2301651 h 5278114"/>
              <a:gd name="connsiteX3778" fmla="*/ 4607083 w 5610835"/>
              <a:gd name="connsiteY3778" fmla="*/ 2301651 h 5278114"/>
              <a:gd name="connsiteX3779" fmla="*/ 4620729 w 5610835"/>
              <a:gd name="connsiteY3779" fmla="*/ 2297400 h 5278114"/>
              <a:gd name="connsiteX3780" fmla="*/ 771823 w 5610835"/>
              <a:gd name="connsiteY3780" fmla="*/ 2287335 h 5278114"/>
              <a:gd name="connsiteX3781" fmla="*/ 717738 w 5610835"/>
              <a:gd name="connsiteY3781" fmla="*/ 2389125 h 5278114"/>
              <a:gd name="connsiteX3782" fmla="*/ 712966 w 5610835"/>
              <a:gd name="connsiteY3782" fmla="*/ 2363679 h 5278114"/>
              <a:gd name="connsiteX3783" fmla="*/ 771823 w 5610835"/>
              <a:gd name="connsiteY3783" fmla="*/ 2287335 h 5278114"/>
              <a:gd name="connsiteX3784" fmla="*/ 2504132 w 5610835"/>
              <a:gd name="connsiteY3784" fmla="*/ 2279383 h 5278114"/>
              <a:gd name="connsiteX3785" fmla="*/ 2515269 w 5610835"/>
              <a:gd name="connsiteY3785" fmla="*/ 2282564 h 5278114"/>
              <a:gd name="connsiteX3786" fmla="*/ 2494589 w 5610835"/>
              <a:gd name="connsiteY3786" fmla="*/ 2341411 h 5278114"/>
              <a:gd name="connsiteX3787" fmla="*/ 2504132 w 5610835"/>
              <a:gd name="connsiteY3787" fmla="*/ 2279383 h 5278114"/>
              <a:gd name="connsiteX3788" fmla="*/ 2539130 w 5610835"/>
              <a:gd name="connsiteY3788" fmla="*/ 2277792 h 5278114"/>
              <a:gd name="connsiteX3789" fmla="*/ 2368920 w 5610835"/>
              <a:gd name="connsiteY3789" fmla="*/ 2642023 h 5278114"/>
              <a:gd name="connsiteX3790" fmla="*/ 2555037 w 5610835"/>
              <a:gd name="connsiteY3790" fmla="*/ 2338231 h 5278114"/>
              <a:gd name="connsiteX3791" fmla="*/ 2380056 w 5610835"/>
              <a:gd name="connsiteY3791" fmla="*/ 2662702 h 5278114"/>
              <a:gd name="connsiteX3792" fmla="*/ 2310063 w 5610835"/>
              <a:gd name="connsiteY3792" fmla="*/ 2622939 h 5278114"/>
              <a:gd name="connsiteX3793" fmla="*/ 2372102 w 5610835"/>
              <a:gd name="connsiteY3793" fmla="*/ 2565671 h 5278114"/>
              <a:gd name="connsiteX3794" fmla="*/ 2333924 w 5610835"/>
              <a:gd name="connsiteY3794" fmla="*/ 2624530 h 5278114"/>
              <a:gd name="connsiteX3795" fmla="*/ 2424596 w 5610835"/>
              <a:gd name="connsiteY3795" fmla="*/ 2556129 h 5278114"/>
              <a:gd name="connsiteX3796" fmla="*/ 2539130 w 5610835"/>
              <a:gd name="connsiteY3796" fmla="*/ 2277792 h 5278114"/>
              <a:gd name="connsiteX3797" fmla="*/ 3361538 w 5610835"/>
              <a:gd name="connsiteY3797" fmla="*/ 2276202 h 5278114"/>
              <a:gd name="connsiteX3798" fmla="*/ 3359947 w 5610835"/>
              <a:gd name="connsiteY3798" fmla="*/ 2288927 h 5278114"/>
              <a:gd name="connsiteX3799" fmla="*/ 3371083 w 5610835"/>
              <a:gd name="connsiteY3799" fmla="*/ 2292107 h 5278114"/>
              <a:gd name="connsiteX3800" fmla="*/ 3371083 w 5610835"/>
              <a:gd name="connsiteY3800" fmla="*/ 2290517 h 5278114"/>
              <a:gd name="connsiteX3801" fmla="*/ 3380627 w 5610835"/>
              <a:gd name="connsiteY3801" fmla="*/ 2280974 h 5278114"/>
              <a:gd name="connsiteX3802" fmla="*/ 3374264 w 5610835"/>
              <a:gd name="connsiteY3802" fmla="*/ 2276202 h 5278114"/>
              <a:gd name="connsiteX3803" fmla="*/ 3361538 w 5610835"/>
              <a:gd name="connsiteY3803" fmla="*/ 2276202 h 5278114"/>
              <a:gd name="connsiteX3804" fmla="*/ 2733199 w 5610835"/>
              <a:gd name="connsiteY3804" fmla="*/ 2273022 h 5278114"/>
              <a:gd name="connsiteX3805" fmla="*/ 2772966 w 5610835"/>
              <a:gd name="connsiteY3805" fmla="*/ 2301648 h 5278114"/>
              <a:gd name="connsiteX3806" fmla="*/ 2777740 w 5610835"/>
              <a:gd name="connsiteY3806" fmla="*/ 2290517 h 5278114"/>
              <a:gd name="connsiteX3807" fmla="*/ 2733199 w 5610835"/>
              <a:gd name="connsiteY3807" fmla="*/ 2273022 h 5278114"/>
              <a:gd name="connsiteX3808" fmla="*/ 2144628 w 5610835"/>
              <a:gd name="connsiteY3808" fmla="*/ 2268220 h 5278114"/>
              <a:gd name="connsiteX3809" fmla="*/ 2144628 w 5610835"/>
              <a:gd name="connsiteY3809" fmla="*/ 2271401 h 5278114"/>
              <a:gd name="connsiteX3810" fmla="*/ 2141447 w 5610835"/>
              <a:gd name="connsiteY3810" fmla="*/ 2274584 h 5278114"/>
              <a:gd name="connsiteX3811" fmla="*/ 2065090 w 5610835"/>
              <a:gd name="connsiteY3811" fmla="*/ 2268220 h 5278114"/>
              <a:gd name="connsiteX3812" fmla="*/ 2074636 w 5610835"/>
              <a:gd name="connsiteY3812" fmla="*/ 2269811 h 5278114"/>
              <a:gd name="connsiteX3813" fmla="*/ 2071455 w 5610835"/>
              <a:gd name="connsiteY3813" fmla="*/ 2274583 h 5278114"/>
              <a:gd name="connsiteX3814" fmla="*/ 2074636 w 5610835"/>
              <a:gd name="connsiteY3814" fmla="*/ 2279355 h 5278114"/>
              <a:gd name="connsiteX3815" fmla="*/ 2071455 w 5610835"/>
              <a:gd name="connsiteY3815" fmla="*/ 2280946 h 5278114"/>
              <a:gd name="connsiteX3816" fmla="*/ 2074636 w 5610835"/>
              <a:gd name="connsiteY3816" fmla="*/ 2285719 h 5278114"/>
              <a:gd name="connsiteX3817" fmla="*/ 2065090 w 5610835"/>
              <a:gd name="connsiteY3817" fmla="*/ 2290490 h 5278114"/>
              <a:gd name="connsiteX3818" fmla="*/ 2057137 w 5610835"/>
              <a:gd name="connsiteY3818" fmla="*/ 2280946 h 5278114"/>
              <a:gd name="connsiteX3819" fmla="*/ 2057137 w 5610835"/>
              <a:gd name="connsiteY3819" fmla="*/ 2269811 h 5278114"/>
              <a:gd name="connsiteX3820" fmla="*/ 849770 w 5610835"/>
              <a:gd name="connsiteY3820" fmla="*/ 2253884 h 5278114"/>
              <a:gd name="connsiteX3821" fmla="*/ 854542 w 5610835"/>
              <a:gd name="connsiteY3821" fmla="*/ 2436818 h 5278114"/>
              <a:gd name="connsiteX3822" fmla="*/ 835453 w 5610835"/>
              <a:gd name="connsiteY3822" fmla="*/ 2408185 h 5278114"/>
              <a:gd name="connsiteX3823" fmla="*/ 771823 w 5610835"/>
              <a:gd name="connsiteY3823" fmla="*/ 2597482 h 5278114"/>
              <a:gd name="connsiteX3824" fmla="*/ 830680 w 5610835"/>
              <a:gd name="connsiteY3824" fmla="*/ 2521127 h 5278114"/>
              <a:gd name="connsiteX3825" fmla="*/ 743190 w 5610835"/>
              <a:gd name="connsiteY3825" fmla="*/ 2649976 h 5278114"/>
              <a:gd name="connsiteX3826" fmla="*/ 849770 w 5610835"/>
              <a:gd name="connsiteY3826" fmla="*/ 2253884 h 5278114"/>
              <a:gd name="connsiteX3827" fmla="*/ 2146218 w 5610835"/>
              <a:gd name="connsiteY3827" fmla="*/ 2245960 h 5278114"/>
              <a:gd name="connsiteX3828" fmla="*/ 2146218 w 5610835"/>
              <a:gd name="connsiteY3828" fmla="*/ 2247550 h 5278114"/>
              <a:gd name="connsiteX3829" fmla="*/ 2146218 w 5610835"/>
              <a:gd name="connsiteY3829" fmla="*/ 2253913 h 5278114"/>
              <a:gd name="connsiteX3830" fmla="*/ 2143036 w 5610835"/>
              <a:gd name="connsiteY3830" fmla="*/ 2266638 h 5278114"/>
              <a:gd name="connsiteX3831" fmla="*/ 2141446 w 5610835"/>
              <a:gd name="connsiteY3831" fmla="*/ 2257094 h 5278114"/>
              <a:gd name="connsiteX3832" fmla="*/ 2131901 w 5610835"/>
              <a:gd name="connsiteY3832" fmla="*/ 2260275 h 5278114"/>
              <a:gd name="connsiteX3833" fmla="*/ 2146218 w 5610835"/>
              <a:gd name="connsiteY3833" fmla="*/ 2245960 h 5278114"/>
              <a:gd name="connsiteX3834" fmla="*/ 2579320 w 5610835"/>
              <a:gd name="connsiteY3834" fmla="*/ 2238725 h 5278114"/>
              <a:gd name="connsiteX3835" fmla="*/ 2593214 w 5610835"/>
              <a:gd name="connsiteY3835" fmla="*/ 2242803 h 5278114"/>
              <a:gd name="connsiteX3836" fmla="*/ 2548673 w 5610835"/>
              <a:gd name="connsiteY3836" fmla="*/ 2268250 h 5278114"/>
              <a:gd name="connsiteX3837" fmla="*/ 2579320 w 5610835"/>
              <a:gd name="connsiteY3837" fmla="*/ 2238725 h 5278114"/>
              <a:gd name="connsiteX3838" fmla="*/ 2039638 w 5610835"/>
              <a:gd name="connsiteY3838" fmla="*/ 2238006 h 5278114"/>
              <a:gd name="connsiteX3839" fmla="*/ 2046001 w 5610835"/>
              <a:gd name="connsiteY3839" fmla="*/ 2238006 h 5278114"/>
              <a:gd name="connsiteX3840" fmla="*/ 2050775 w 5610835"/>
              <a:gd name="connsiteY3840" fmla="*/ 2242778 h 5278114"/>
              <a:gd name="connsiteX3841" fmla="*/ 2049184 w 5610835"/>
              <a:gd name="connsiteY3841" fmla="*/ 2245959 h 5278114"/>
              <a:gd name="connsiteX3842" fmla="*/ 2034866 w 5610835"/>
              <a:gd name="connsiteY3842" fmla="*/ 2252322 h 5278114"/>
              <a:gd name="connsiteX3843" fmla="*/ 2034866 w 5610835"/>
              <a:gd name="connsiteY3843" fmla="*/ 2242778 h 5278114"/>
              <a:gd name="connsiteX3844" fmla="*/ 2429369 w 5610835"/>
              <a:gd name="connsiteY3844" fmla="*/ 2215763 h 5278114"/>
              <a:gd name="connsiteX3845" fmla="*/ 2408689 w 5610835"/>
              <a:gd name="connsiteY3845" fmla="*/ 2242803 h 5278114"/>
              <a:gd name="connsiteX3846" fmla="*/ 2429369 w 5610835"/>
              <a:gd name="connsiteY3846" fmla="*/ 2215763 h 5278114"/>
              <a:gd name="connsiteX3847" fmla="*/ 2475499 w 5610835"/>
              <a:gd name="connsiteY3847" fmla="*/ 2212581 h 5278114"/>
              <a:gd name="connsiteX3848" fmla="*/ 2473909 w 5610835"/>
              <a:gd name="connsiteY3848" fmla="*/ 2298469 h 5278114"/>
              <a:gd name="connsiteX3849" fmla="*/ 2475499 w 5610835"/>
              <a:gd name="connsiteY3849" fmla="*/ 2212581 h 5278114"/>
              <a:gd name="connsiteX3850" fmla="*/ 3329723 w 5610835"/>
              <a:gd name="connsiteY3850" fmla="*/ 2207809 h 5278114"/>
              <a:gd name="connsiteX3851" fmla="*/ 3323361 w 5610835"/>
              <a:gd name="connsiteY3851" fmla="*/ 2215763 h 5278114"/>
              <a:gd name="connsiteX3852" fmla="*/ 3318589 w 5610835"/>
              <a:gd name="connsiteY3852" fmla="*/ 2209402 h 5278114"/>
              <a:gd name="connsiteX3853" fmla="*/ 3310635 w 5610835"/>
              <a:gd name="connsiteY3853" fmla="*/ 2225306 h 5278114"/>
              <a:gd name="connsiteX3854" fmla="*/ 3321770 w 5610835"/>
              <a:gd name="connsiteY3854" fmla="*/ 2228488 h 5278114"/>
              <a:gd name="connsiteX3855" fmla="*/ 3329723 w 5610835"/>
              <a:gd name="connsiteY3855" fmla="*/ 2207809 h 5278114"/>
              <a:gd name="connsiteX3856" fmla="*/ 2076225 w 5610835"/>
              <a:gd name="connsiteY3856" fmla="*/ 2207786 h 5278114"/>
              <a:gd name="connsiteX3857" fmla="*/ 2085770 w 5610835"/>
              <a:gd name="connsiteY3857" fmla="*/ 2207786 h 5278114"/>
              <a:gd name="connsiteX3858" fmla="*/ 2082588 w 5610835"/>
              <a:gd name="connsiteY3858" fmla="*/ 2210969 h 5278114"/>
              <a:gd name="connsiteX3859" fmla="*/ 3512658 w 5610835"/>
              <a:gd name="connsiteY3859" fmla="*/ 2206219 h 5278114"/>
              <a:gd name="connsiteX3860" fmla="*/ 3460164 w 5610835"/>
              <a:gd name="connsiteY3860" fmla="*/ 2304832 h 5278114"/>
              <a:gd name="connsiteX3861" fmla="*/ 3485615 w 5610835"/>
              <a:gd name="connsiteY3861" fmla="*/ 2268250 h 5278114"/>
              <a:gd name="connsiteX3862" fmla="*/ 3519021 w 5610835"/>
              <a:gd name="connsiteY3862" fmla="*/ 2215763 h 5278114"/>
              <a:gd name="connsiteX3863" fmla="*/ 3512658 w 5610835"/>
              <a:gd name="connsiteY3863" fmla="*/ 2206219 h 5278114"/>
              <a:gd name="connsiteX3864" fmla="*/ 3472890 w 5610835"/>
              <a:gd name="connsiteY3864" fmla="*/ 2204630 h 5278114"/>
              <a:gd name="connsiteX3865" fmla="*/ 3418804 w 5610835"/>
              <a:gd name="connsiteY3865" fmla="*/ 2274611 h 5278114"/>
              <a:gd name="connsiteX3866" fmla="*/ 3414033 w 5610835"/>
              <a:gd name="connsiteY3866" fmla="*/ 2295287 h 5278114"/>
              <a:gd name="connsiteX3867" fmla="*/ 3407670 w 5610835"/>
              <a:gd name="connsiteY3867" fmla="*/ 2295287 h 5278114"/>
              <a:gd name="connsiteX3868" fmla="*/ 3406079 w 5610835"/>
              <a:gd name="connsiteY3868" fmla="*/ 2303241 h 5278114"/>
              <a:gd name="connsiteX3869" fmla="*/ 3426758 w 5610835"/>
              <a:gd name="connsiteY3869" fmla="*/ 2308013 h 5278114"/>
              <a:gd name="connsiteX3870" fmla="*/ 3490388 w 5610835"/>
              <a:gd name="connsiteY3870" fmla="*/ 2206219 h 5278114"/>
              <a:gd name="connsiteX3871" fmla="*/ 2149400 w 5610835"/>
              <a:gd name="connsiteY3871" fmla="*/ 2203008 h 5278114"/>
              <a:gd name="connsiteX3872" fmla="*/ 2149400 w 5610835"/>
              <a:gd name="connsiteY3872" fmla="*/ 2209370 h 5278114"/>
              <a:gd name="connsiteX3873" fmla="*/ 2144628 w 5610835"/>
              <a:gd name="connsiteY3873" fmla="*/ 2209370 h 5278114"/>
              <a:gd name="connsiteX3874" fmla="*/ 2149400 w 5610835"/>
              <a:gd name="connsiteY3874" fmla="*/ 2203008 h 5278114"/>
              <a:gd name="connsiteX3875" fmla="*/ 3608102 w 5610835"/>
              <a:gd name="connsiteY3875" fmla="*/ 2196676 h 5278114"/>
              <a:gd name="connsiteX3876" fmla="*/ 3604920 w 5610835"/>
              <a:gd name="connsiteY3876" fmla="*/ 2210992 h 5278114"/>
              <a:gd name="connsiteX3877" fmla="*/ 3612874 w 5610835"/>
              <a:gd name="connsiteY3877" fmla="*/ 2210992 h 5278114"/>
              <a:gd name="connsiteX3878" fmla="*/ 3608102 w 5610835"/>
              <a:gd name="connsiteY3878" fmla="*/ 2196676 h 5278114"/>
              <a:gd name="connsiteX3879" fmla="*/ 4640487 w 5610835"/>
              <a:gd name="connsiteY3879" fmla="*/ 2187135 h 5278114"/>
              <a:gd name="connsiteX3880" fmla="*/ 4583221 w 5610835"/>
              <a:gd name="connsiteY3880" fmla="*/ 2206219 h 5278114"/>
              <a:gd name="connsiteX3881" fmla="*/ 4640487 w 5610835"/>
              <a:gd name="connsiteY3881" fmla="*/ 2187135 h 5278114"/>
              <a:gd name="connsiteX3882" fmla="*/ 4664350 w 5610835"/>
              <a:gd name="connsiteY3882" fmla="*/ 2182362 h 5278114"/>
              <a:gd name="connsiteX3883" fmla="*/ 4657987 w 5610835"/>
              <a:gd name="connsiteY3883" fmla="*/ 2188724 h 5278114"/>
              <a:gd name="connsiteX3884" fmla="*/ 4642079 w 5610835"/>
              <a:gd name="connsiteY3884" fmla="*/ 2188724 h 5278114"/>
              <a:gd name="connsiteX3885" fmla="*/ 2248025 w 5610835"/>
              <a:gd name="connsiteY3885" fmla="*/ 2179145 h 5278114"/>
              <a:gd name="connsiteX3886" fmla="*/ 2220983 w 5610835"/>
              <a:gd name="connsiteY3886" fmla="*/ 2220504 h 5278114"/>
              <a:gd name="connsiteX3887" fmla="*/ 2219391 w 5610835"/>
              <a:gd name="connsiteY3887" fmla="*/ 2212550 h 5278114"/>
              <a:gd name="connsiteX3888" fmla="*/ 2248025 w 5610835"/>
              <a:gd name="connsiteY3888" fmla="*/ 2179145 h 5278114"/>
              <a:gd name="connsiteX3889" fmla="*/ 3538109 w 5610835"/>
              <a:gd name="connsiteY3889" fmla="*/ 2169639 h 5278114"/>
              <a:gd name="connsiteX3890" fmla="*/ 3515839 w 5610835"/>
              <a:gd name="connsiteY3890" fmla="*/ 2199855 h 5278114"/>
              <a:gd name="connsiteX3891" fmla="*/ 3530156 w 5610835"/>
              <a:gd name="connsiteY3891" fmla="*/ 2201450 h 5278114"/>
              <a:gd name="connsiteX3892" fmla="*/ 3542882 w 5610835"/>
              <a:gd name="connsiteY3892" fmla="*/ 2183952 h 5278114"/>
              <a:gd name="connsiteX3893" fmla="*/ 3538109 w 5610835"/>
              <a:gd name="connsiteY3893" fmla="*/ 2169639 h 5278114"/>
              <a:gd name="connsiteX3894" fmla="*/ 2461184 w 5610835"/>
              <a:gd name="connsiteY3894" fmla="*/ 2169639 h 5278114"/>
              <a:gd name="connsiteX3895" fmla="*/ 2450048 w 5610835"/>
              <a:gd name="connsiteY3895" fmla="*/ 2249164 h 5278114"/>
              <a:gd name="connsiteX3896" fmla="*/ 2461184 w 5610835"/>
              <a:gd name="connsiteY3896" fmla="*/ 2169639 h 5278114"/>
              <a:gd name="connsiteX3897" fmla="*/ 2432552 w 5610835"/>
              <a:gd name="connsiteY3897" fmla="*/ 2169639 h 5278114"/>
              <a:gd name="connsiteX3898" fmla="*/ 2388009 w 5610835"/>
              <a:gd name="connsiteY3898" fmla="*/ 2238029 h 5278114"/>
              <a:gd name="connsiteX3899" fmla="*/ 2432552 w 5610835"/>
              <a:gd name="connsiteY3899" fmla="*/ 2169639 h 5278114"/>
              <a:gd name="connsiteX3900" fmla="*/ 4192423 w 5610835"/>
              <a:gd name="connsiteY3900" fmla="*/ 2166656 h 5278114"/>
              <a:gd name="connsiteX3901" fmla="*/ 4196674 w 5610835"/>
              <a:gd name="connsiteY3901" fmla="*/ 2179178 h 5278114"/>
              <a:gd name="connsiteX3902" fmla="*/ 4144179 w 5610835"/>
              <a:gd name="connsiteY3902" fmla="*/ 2193496 h 5278114"/>
              <a:gd name="connsiteX3903" fmla="*/ 4187129 w 5610835"/>
              <a:gd name="connsiteY3903" fmla="*/ 2169639 h 5278114"/>
              <a:gd name="connsiteX3904" fmla="*/ 4192423 w 5610835"/>
              <a:gd name="connsiteY3904" fmla="*/ 2166656 h 5278114"/>
              <a:gd name="connsiteX3905" fmla="*/ 4042373 w 5610835"/>
              <a:gd name="connsiteY3905" fmla="*/ 2158494 h 5278114"/>
              <a:gd name="connsiteX3906" fmla="*/ 4032828 w 5610835"/>
              <a:gd name="connsiteY3906" fmla="*/ 2169639 h 5278114"/>
              <a:gd name="connsiteX3907" fmla="*/ 4040782 w 5610835"/>
              <a:gd name="connsiteY3907" fmla="*/ 2217352 h 5278114"/>
              <a:gd name="connsiteX3908" fmla="*/ 4032828 w 5610835"/>
              <a:gd name="connsiteY3908" fmla="*/ 2238029 h 5278114"/>
              <a:gd name="connsiteX3909" fmla="*/ 4101230 w 5610835"/>
              <a:gd name="connsiteY3909" fmla="*/ 2204630 h 5278114"/>
              <a:gd name="connsiteX3910" fmla="*/ 4042373 w 5610835"/>
              <a:gd name="connsiteY3910" fmla="*/ 2158494 h 5278114"/>
              <a:gd name="connsiteX3911" fmla="*/ 2580489 w 5610835"/>
              <a:gd name="connsiteY3911" fmla="*/ 2156910 h 5278114"/>
              <a:gd name="connsiteX3912" fmla="*/ 2543901 w 5610835"/>
              <a:gd name="connsiteY3912" fmla="*/ 2180771 h 5278114"/>
              <a:gd name="connsiteX3913" fmla="*/ 2580489 w 5610835"/>
              <a:gd name="connsiteY3913" fmla="*/ 2156910 h 5278114"/>
              <a:gd name="connsiteX3914" fmla="*/ 2192350 w 5610835"/>
              <a:gd name="connsiteY3914" fmla="*/ 2156884 h 5278114"/>
              <a:gd name="connsiteX3915" fmla="*/ 2193941 w 5610835"/>
              <a:gd name="connsiteY3915" fmla="*/ 2163248 h 5278114"/>
              <a:gd name="connsiteX3916" fmla="*/ 2192350 w 5610835"/>
              <a:gd name="connsiteY3916" fmla="*/ 2166427 h 5278114"/>
              <a:gd name="connsiteX3917" fmla="*/ 2187576 w 5610835"/>
              <a:gd name="connsiteY3917" fmla="*/ 2174382 h 5278114"/>
              <a:gd name="connsiteX3918" fmla="*/ 2179623 w 5610835"/>
              <a:gd name="connsiteY3918" fmla="*/ 2175971 h 5278114"/>
              <a:gd name="connsiteX3919" fmla="*/ 2176442 w 5610835"/>
              <a:gd name="connsiteY3919" fmla="*/ 2168018 h 5278114"/>
              <a:gd name="connsiteX3920" fmla="*/ 2192350 w 5610835"/>
              <a:gd name="connsiteY3920" fmla="*/ 2156884 h 5278114"/>
              <a:gd name="connsiteX3921" fmla="*/ 2429368 w 5610835"/>
              <a:gd name="connsiteY3921" fmla="*/ 2144185 h 5278114"/>
              <a:gd name="connsiteX3922" fmla="*/ 2338696 w 5610835"/>
              <a:gd name="connsiteY3922" fmla="*/ 2266661 h 5278114"/>
              <a:gd name="connsiteX3923" fmla="*/ 2429368 w 5610835"/>
              <a:gd name="connsiteY3923" fmla="*/ 2144185 h 5278114"/>
              <a:gd name="connsiteX3924" fmla="*/ 4196673 w 5610835"/>
              <a:gd name="connsiteY3924" fmla="*/ 2141008 h 5278114"/>
              <a:gd name="connsiteX3925" fmla="*/ 4343021 w 5610835"/>
              <a:gd name="connsiteY3925" fmla="*/ 2196676 h 5278114"/>
              <a:gd name="connsiteX3926" fmla="*/ 4384380 w 5610835"/>
              <a:gd name="connsiteY3926" fmla="*/ 2220535 h 5278114"/>
              <a:gd name="connsiteX3927" fmla="*/ 4357338 w 5610835"/>
              <a:gd name="connsiteY3927" fmla="*/ 2225306 h 5278114"/>
              <a:gd name="connsiteX3928" fmla="*/ 4206218 w 5610835"/>
              <a:gd name="connsiteY3928" fmla="*/ 2153729 h 5278114"/>
              <a:gd name="connsiteX3929" fmla="*/ 4196673 w 5610835"/>
              <a:gd name="connsiteY3929" fmla="*/ 2141008 h 5278114"/>
              <a:gd name="connsiteX3930" fmla="*/ 3344040 w 5610835"/>
              <a:gd name="connsiteY3930" fmla="*/ 2137827 h 5278114"/>
              <a:gd name="connsiteX3931" fmla="*/ 3329723 w 5610835"/>
              <a:gd name="connsiteY3931" fmla="*/ 2183952 h 5278114"/>
              <a:gd name="connsiteX3932" fmla="*/ 3337677 w 5610835"/>
              <a:gd name="connsiteY3932" fmla="*/ 2183952 h 5278114"/>
              <a:gd name="connsiteX3933" fmla="*/ 3345631 w 5610835"/>
              <a:gd name="connsiteY3933" fmla="*/ 2137827 h 5278114"/>
              <a:gd name="connsiteX3934" fmla="*/ 3344040 w 5610835"/>
              <a:gd name="connsiteY3934" fmla="*/ 2137827 h 5278114"/>
              <a:gd name="connsiteX3935" fmla="*/ 2338696 w 5610835"/>
              <a:gd name="connsiteY3935" fmla="*/ 2125097 h 5278114"/>
              <a:gd name="connsiteX3936" fmla="*/ 2302109 w 5610835"/>
              <a:gd name="connsiteY3936" fmla="*/ 2533859 h 5278114"/>
              <a:gd name="connsiteX3937" fmla="*/ 2150989 w 5610835"/>
              <a:gd name="connsiteY3937" fmla="*/ 2635666 h 5278114"/>
              <a:gd name="connsiteX3938" fmla="*/ 2208256 w 5610835"/>
              <a:gd name="connsiteY3938" fmla="*/ 2812231 h 5278114"/>
              <a:gd name="connsiteX3939" fmla="*/ 2041229 w 5610835"/>
              <a:gd name="connsiteY3939" fmla="*/ 2891768 h 5278114"/>
              <a:gd name="connsiteX3940" fmla="*/ 2109631 w 5610835"/>
              <a:gd name="connsiteY3940" fmla="*/ 3112880 h 5278114"/>
              <a:gd name="connsiteX3941" fmla="*/ 2020551 w 5610835"/>
              <a:gd name="connsiteY3941" fmla="*/ 3160602 h 5278114"/>
              <a:gd name="connsiteX3942" fmla="*/ 1840797 w 5610835"/>
              <a:gd name="connsiteY3942" fmla="*/ 3009482 h 5278114"/>
              <a:gd name="connsiteX3943" fmla="*/ 1894882 w 5610835"/>
              <a:gd name="connsiteY3943" fmla="*/ 3071521 h 5278114"/>
              <a:gd name="connsiteX3944" fmla="*/ 1848751 w 5610835"/>
              <a:gd name="connsiteY3944" fmla="*/ 2990394 h 5278114"/>
              <a:gd name="connsiteX3945" fmla="*/ 1859886 w 5610835"/>
              <a:gd name="connsiteY3945" fmla="*/ 2971305 h 5278114"/>
              <a:gd name="connsiteX3946" fmla="*/ 1925106 w 5610835"/>
              <a:gd name="connsiteY3946" fmla="*/ 3095381 h 5278114"/>
              <a:gd name="connsiteX3947" fmla="*/ 1877384 w 5610835"/>
              <a:gd name="connsiteY3947" fmla="*/ 2939490 h 5278114"/>
              <a:gd name="connsiteX3948" fmla="*/ 1982372 w 5610835"/>
              <a:gd name="connsiteY3948" fmla="*/ 3119243 h 5278114"/>
              <a:gd name="connsiteX3949" fmla="*/ 1893291 w 5610835"/>
              <a:gd name="connsiteY3949" fmla="*/ 2910857 h 5278114"/>
              <a:gd name="connsiteX3950" fmla="*/ 2015778 w 5610835"/>
              <a:gd name="connsiteY3950" fmla="*/ 3034934 h 5278114"/>
              <a:gd name="connsiteX3951" fmla="*/ 2033275 w 5610835"/>
              <a:gd name="connsiteY3951" fmla="*/ 3066748 h 5278114"/>
              <a:gd name="connsiteX3952" fmla="*/ 1907608 w 5610835"/>
              <a:gd name="connsiteY3952" fmla="*/ 2879042 h 5278114"/>
              <a:gd name="connsiteX3953" fmla="*/ 2061909 w 5610835"/>
              <a:gd name="connsiteY3953" fmla="*/ 3031753 h 5278114"/>
              <a:gd name="connsiteX3954" fmla="*/ 2044411 w 5610835"/>
              <a:gd name="connsiteY3954" fmla="*/ 2999938 h 5278114"/>
              <a:gd name="connsiteX3955" fmla="*/ 2053955 w 5610835"/>
              <a:gd name="connsiteY3955" fmla="*/ 2987212 h 5278114"/>
              <a:gd name="connsiteX3956" fmla="*/ 1971237 w 5610835"/>
              <a:gd name="connsiteY3956" fmla="*/ 2907675 h 5278114"/>
              <a:gd name="connsiteX3957" fmla="*/ 1921925 w 5610835"/>
              <a:gd name="connsiteY3957" fmla="*/ 2828138 h 5278114"/>
              <a:gd name="connsiteX3958" fmla="*/ 2041229 w 5610835"/>
              <a:gd name="connsiteY3958" fmla="*/ 2961760 h 5278114"/>
              <a:gd name="connsiteX3959" fmla="*/ 1929878 w 5610835"/>
              <a:gd name="connsiteY3959" fmla="*/ 2809050 h 5278114"/>
              <a:gd name="connsiteX3960" fmla="*/ 1941013 w 5610835"/>
              <a:gd name="connsiteY3960" fmla="*/ 2772462 h 5278114"/>
              <a:gd name="connsiteX3961" fmla="*/ 2031685 w 5610835"/>
              <a:gd name="connsiteY3961" fmla="*/ 2877452 h 5278114"/>
              <a:gd name="connsiteX3962" fmla="*/ 1958512 w 5610835"/>
              <a:gd name="connsiteY3962" fmla="*/ 2712015 h 5278114"/>
              <a:gd name="connsiteX3963" fmla="*/ 2033275 w 5610835"/>
              <a:gd name="connsiteY3963" fmla="*/ 2807459 h 5278114"/>
              <a:gd name="connsiteX3964" fmla="*/ 1976009 w 5610835"/>
              <a:gd name="connsiteY3964" fmla="*/ 2634075 h 5278114"/>
              <a:gd name="connsiteX3965" fmla="*/ 2079407 w 5610835"/>
              <a:gd name="connsiteY3965" fmla="*/ 2778826 h 5278114"/>
              <a:gd name="connsiteX3966" fmla="*/ 1999871 w 5610835"/>
              <a:gd name="connsiteY3966" fmla="*/ 2575214 h 5278114"/>
              <a:gd name="connsiteX3967" fmla="*/ 2103268 w 5610835"/>
              <a:gd name="connsiteY3967" fmla="*/ 2734286 h 5278114"/>
              <a:gd name="connsiteX3968" fmla="*/ 2020551 w 5610835"/>
              <a:gd name="connsiteY3968" fmla="*/ 2516364 h 5278114"/>
              <a:gd name="connsiteX3969" fmla="*/ 2171670 w 5610835"/>
              <a:gd name="connsiteY3969" fmla="*/ 2735876 h 5278114"/>
              <a:gd name="connsiteX3970" fmla="*/ 2077816 w 5610835"/>
              <a:gd name="connsiteY3970" fmla="*/ 2600667 h 5278114"/>
              <a:gd name="connsiteX3971" fmla="*/ 2046003 w 5610835"/>
              <a:gd name="connsiteY3971" fmla="*/ 2471830 h 5278114"/>
              <a:gd name="connsiteX3972" fmla="*/ 2123947 w 5610835"/>
              <a:gd name="connsiteY3972" fmla="*/ 2599076 h 5278114"/>
              <a:gd name="connsiteX3973" fmla="*/ 2060318 w 5610835"/>
              <a:gd name="connsiteY3973" fmla="*/ 2452744 h 5278114"/>
              <a:gd name="connsiteX3974" fmla="*/ 2080998 w 5610835"/>
              <a:gd name="connsiteY3974" fmla="*/ 2425707 h 5278114"/>
              <a:gd name="connsiteX3975" fmla="*/ 2155762 w 5610835"/>
              <a:gd name="connsiteY3975" fmla="*/ 2567261 h 5278114"/>
              <a:gd name="connsiteX3976" fmla="*/ 2101677 w 5610835"/>
              <a:gd name="connsiteY3976" fmla="*/ 2409801 h 5278114"/>
              <a:gd name="connsiteX3977" fmla="*/ 2127129 w 5610835"/>
              <a:gd name="connsiteY3977" fmla="*/ 2376402 h 5278114"/>
              <a:gd name="connsiteX3978" fmla="*/ 2201894 w 5610835"/>
              <a:gd name="connsiteY3978" fmla="*/ 2538631 h 5278114"/>
              <a:gd name="connsiteX3979" fmla="*/ 2166897 w 5610835"/>
              <a:gd name="connsiteY3979" fmla="*/ 2343002 h 5278114"/>
              <a:gd name="connsiteX3980" fmla="*/ 2240071 w 5610835"/>
              <a:gd name="connsiteY3980" fmla="*/ 2511592 h 5278114"/>
              <a:gd name="connsiteX3981" fmla="*/ 2197121 w 5610835"/>
              <a:gd name="connsiteY3981" fmla="*/ 2306422 h 5278114"/>
              <a:gd name="connsiteX3982" fmla="*/ 2257570 w 5610835"/>
              <a:gd name="connsiteY3982" fmla="*/ 2447973 h 5278114"/>
              <a:gd name="connsiteX3983" fmla="*/ 2232118 w 5610835"/>
              <a:gd name="connsiteY3983" fmla="*/ 2257116 h 5278114"/>
              <a:gd name="connsiteX3984" fmla="*/ 2276658 w 5610835"/>
              <a:gd name="connsiteY3984" fmla="*/ 2395488 h 5278114"/>
              <a:gd name="connsiteX3985" fmla="*/ 2267113 w 5610835"/>
              <a:gd name="connsiteY3985" fmla="*/ 2215763 h 5278114"/>
              <a:gd name="connsiteX3986" fmla="*/ 2298928 w 5610835"/>
              <a:gd name="connsiteY3986" fmla="*/ 2315965 h 5278114"/>
              <a:gd name="connsiteX3987" fmla="*/ 2308474 w 5610835"/>
              <a:gd name="connsiteY3987" fmla="*/ 2164864 h 5278114"/>
              <a:gd name="connsiteX3988" fmla="*/ 2322789 w 5610835"/>
              <a:gd name="connsiteY3988" fmla="*/ 2214173 h 5278114"/>
              <a:gd name="connsiteX3989" fmla="*/ 2338696 w 5610835"/>
              <a:gd name="connsiteY3989" fmla="*/ 2125097 h 5278114"/>
              <a:gd name="connsiteX3990" fmla="*/ 2259161 w 5610835"/>
              <a:gd name="connsiteY3990" fmla="*/ 2123469 h 5278114"/>
              <a:gd name="connsiteX3991" fmla="*/ 2214619 w 5610835"/>
              <a:gd name="connsiteY3991" fmla="*/ 2191869 h 5278114"/>
              <a:gd name="connsiteX3992" fmla="*/ 2213028 w 5610835"/>
              <a:gd name="connsiteY3992" fmla="*/ 2188688 h 5278114"/>
              <a:gd name="connsiteX3993" fmla="*/ 2209847 w 5610835"/>
              <a:gd name="connsiteY3993" fmla="*/ 2179143 h 5278114"/>
              <a:gd name="connsiteX3994" fmla="*/ 2259161 w 5610835"/>
              <a:gd name="connsiteY3994" fmla="*/ 2123469 h 5278114"/>
              <a:gd name="connsiteX3995" fmla="*/ 3534928 w 5610835"/>
              <a:gd name="connsiteY3995" fmla="*/ 2121918 h 5278114"/>
              <a:gd name="connsiteX3996" fmla="*/ 3512658 w 5610835"/>
              <a:gd name="connsiteY3996" fmla="*/ 2161681 h 5278114"/>
              <a:gd name="connsiteX3997" fmla="*/ 3476071 w 5610835"/>
              <a:gd name="connsiteY3997" fmla="*/ 2199855 h 5278114"/>
              <a:gd name="connsiteX3998" fmla="*/ 3493569 w 5610835"/>
              <a:gd name="connsiteY3998" fmla="*/ 2199855 h 5278114"/>
              <a:gd name="connsiteX3999" fmla="*/ 3531747 w 5610835"/>
              <a:gd name="connsiteY3999" fmla="*/ 2145774 h 5278114"/>
              <a:gd name="connsiteX4000" fmla="*/ 3534928 w 5610835"/>
              <a:gd name="connsiteY4000" fmla="*/ 2121918 h 5278114"/>
              <a:gd name="connsiteX4001" fmla="*/ 975437 w 5610835"/>
              <a:gd name="connsiteY4001" fmla="*/ 2112308 h 5278114"/>
              <a:gd name="connsiteX4002" fmla="*/ 843407 w 5610835"/>
              <a:gd name="connsiteY4002" fmla="*/ 2210933 h 5278114"/>
              <a:gd name="connsiteX4003" fmla="*/ 975437 w 5610835"/>
              <a:gd name="connsiteY4003" fmla="*/ 2112308 h 5278114"/>
              <a:gd name="connsiteX4004" fmla="*/ 2090542 w 5610835"/>
              <a:gd name="connsiteY4004" fmla="*/ 2105983 h 5278114"/>
              <a:gd name="connsiteX4005" fmla="*/ 2095314 w 5610835"/>
              <a:gd name="connsiteY4005" fmla="*/ 2110753 h 5278114"/>
              <a:gd name="connsiteX4006" fmla="*/ 2090542 w 5610835"/>
              <a:gd name="connsiteY4006" fmla="*/ 2113938 h 5278114"/>
              <a:gd name="connsiteX4007" fmla="*/ 2087361 w 5610835"/>
              <a:gd name="connsiteY4007" fmla="*/ 2110753 h 5278114"/>
              <a:gd name="connsiteX4008" fmla="*/ 2378167 w 5610835"/>
              <a:gd name="connsiteY4008" fmla="*/ 2105911 h 5278114"/>
              <a:gd name="connsiteX4009" fmla="*/ 2386419 w 5610835"/>
              <a:gd name="connsiteY4009" fmla="*/ 2106014 h 5278114"/>
              <a:gd name="connsiteX4010" fmla="*/ 2351423 w 5610835"/>
              <a:gd name="connsiteY4010" fmla="*/ 2148955 h 5278114"/>
              <a:gd name="connsiteX4011" fmla="*/ 2359376 w 5610835"/>
              <a:gd name="connsiteY4011" fmla="*/ 2113969 h 5278114"/>
              <a:gd name="connsiteX4012" fmla="*/ 2378167 w 5610835"/>
              <a:gd name="connsiteY4012" fmla="*/ 2105911 h 5278114"/>
              <a:gd name="connsiteX4013" fmla="*/ 3501523 w 5610835"/>
              <a:gd name="connsiteY4013" fmla="*/ 2098062 h 5278114"/>
              <a:gd name="connsiteX4014" fmla="*/ 3464936 w 5610835"/>
              <a:gd name="connsiteY4014" fmla="*/ 2164864 h 5278114"/>
              <a:gd name="connsiteX4015" fmla="*/ 3442666 w 5610835"/>
              <a:gd name="connsiteY4015" fmla="*/ 2188724 h 5278114"/>
              <a:gd name="connsiteX4016" fmla="*/ 3452210 w 5610835"/>
              <a:gd name="connsiteY4016" fmla="*/ 2196676 h 5278114"/>
              <a:gd name="connsiteX4017" fmla="*/ 3450619 w 5610835"/>
              <a:gd name="connsiteY4017" fmla="*/ 2196676 h 5278114"/>
              <a:gd name="connsiteX4018" fmla="*/ 3450619 w 5610835"/>
              <a:gd name="connsiteY4018" fmla="*/ 2197586 h 5278114"/>
              <a:gd name="connsiteX4019" fmla="*/ 3436899 w 5610835"/>
              <a:gd name="connsiteY4019" fmla="*/ 2205427 h 5278114"/>
              <a:gd name="connsiteX4020" fmla="*/ 3425167 w 5610835"/>
              <a:gd name="connsiteY4020" fmla="*/ 2209402 h 5278114"/>
              <a:gd name="connsiteX4021" fmla="*/ 3420395 w 5610835"/>
              <a:gd name="connsiteY4021" fmla="*/ 2207809 h 5278114"/>
              <a:gd name="connsiteX4022" fmla="*/ 3386990 w 5610835"/>
              <a:gd name="connsiteY4022" fmla="*/ 2238029 h 5278114"/>
              <a:gd name="connsiteX4023" fmla="*/ 3398125 w 5610835"/>
              <a:gd name="connsiteY4023" fmla="*/ 2247575 h 5278114"/>
              <a:gd name="connsiteX4024" fmla="*/ 3383809 w 5610835"/>
              <a:gd name="connsiteY4024" fmla="*/ 2265070 h 5278114"/>
              <a:gd name="connsiteX4025" fmla="*/ 3396534 w 5610835"/>
              <a:gd name="connsiteY4025" fmla="*/ 2260298 h 5278114"/>
              <a:gd name="connsiteX4026" fmla="*/ 3450619 w 5610835"/>
              <a:gd name="connsiteY4026" fmla="*/ 2198266 h 5278114"/>
              <a:gd name="connsiteX4027" fmla="*/ 3450619 w 5610835"/>
              <a:gd name="connsiteY4027" fmla="*/ 2197586 h 5278114"/>
              <a:gd name="connsiteX4028" fmla="*/ 3452210 w 5610835"/>
              <a:gd name="connsiteY4028" fmla="*/ 2196676 h 5278114"/>
              <a:gd name="connsiteX4029" fmla="*/ 3515839 w 5610835"/>
              <a:gd name="connsiteY4029" fmla="*/ 2099652 h 5278114"/>
              <a:gd name="connsiteX4030" fmla="*/ 3514249 w 5610835"/>
              <a:gd name="connsiteY4030" fmla="*/ 2099652 h 5278114"/>
              <a:gd name="connsiteX4031" fmla="*/ 3501523 w 5610835"/>
              <a:gd name="connsiteY4031" fmla="*/ 2098062 h 5278114"/>
              <a:gd name="connsiteX4032" fmla="*/ 2079407 w 5610835"/>
              <a:gd name="connsiteY4032" fmla="*/ 2094852 h 5278114"/>
              <a:gd name="connsiteX4033" fmla="*/ 2077816 w 5610835"/>
              <a:gd name="connsiteY4033" fmla="*/ 2099623 h 5278114"/>
              <a:gd name="connsiteX4034" fmla="*/ 2071453 w 5610835"/>
              <a:gd name="connsiteY4034" fmla="*/ 2096442 h 5278114"/>
              <a:gd name="connsiteX4035" fmla="*/ 2068272 w 5610835"/>
              <a:gd name="connsiteY4035" fmla="*/ 2088490 h 5278114"/>
              <a:gd name="connsiteX4036" fmla="*/ 2068272 w 5610835"/>
              <a:gd name="connsiteY4036" fmla="*/ 2093262 h 5278114"/>
              <a:gd name="connsiteX4037" fmla="*/ 2061909 w 5610835"/>
              <a:gd name="connsiteY4037" fmla="*/ 2093262 h 5278114"/>
              <a:gd name="connsiteX4038" fmla="*/ 4516237 w 5610835"/>
              <a:gd name="connsiteY4038" fmla="*/ 2086630 h 5278114"/>
              <a:gd name="connsiteX4039" fmla="*/ 4522773 w 5610835"/>
              <a:gd name="connsiteY4039" fmla="*/ 2086927 h 5278114"/>
              <a:gd name="connsiteX4040" fmla="*/ 4692982 w 5610835"/>
              <a:gd name="connsiteY4040" fmla="*/ 2125097 h 5278114"/>
              <a:gd name="connsiteX4041" fmla="*/ 4708890 w 5610835"/>
              <a:gd name="connsiteY4041" fmla="*/ 2144185 h 5278114"/>
              <a:gd name="connsiteX4042" fmla="*/ 4680256 w 5610835"/>
              <a:gd name="connsiteY4042" fmla="*/ 2141008 h 5278114"/>
              <a:gd name="connsiteX4043" fmla="*/ 4669121 w 5610835"/>
              <a:gd name="connsiteY4043" fmla="*/ 2136238 h 5278114"/>
              <a:gd name="connsiteX4044" fmla="*/ 4545043 w 5610835"/>
              <a:gd name="connsiteY4044" fmla="*/ 2110781 h 5278114"/>
              <a:gd name="connsiteX4045" fmla="*/ 4505275 w 5610835"/>
              <a:gd name="connsiteY4045" fmla="*/ 2096473 h 5278114"/>
              <a:gd name="connsiteX4046" fmla="*/ 4516237 w 5610835"/>
              <a:gd name="connsiteY4046" fmla="*/ 2086630 h 5278114"/>
              <a:gd name="connsiteX4047" fmla="*/ 2467547 w 5610835"/>
              <a:gd name="connsiteY4047" fmla="*/ 2078973 h 5278114"/>
              <a:gd name="connsiteX4048" fmla="*/ 2446866 w 5610835"/>
              <a:gd name="connsiteY4048" fmla="*/ 2123508 h 5278114"/>
              <a:gd name="connsiteX4049" fmla="*/ 2467547 w 5610835"/>
              <a:gd name="connsiteY4049" fmla="*/ 2078973 h 5278114"/>
              <a:gd name="connsiteX4050" fmla="*/ 2085324 w 5610835"/>
              <a:gd name="connsiteY4050" fmla="*/ 2065389 h 5278114"/>
              <a:gd name="connsiteX4051" fmla="*/ 2093723 w 5610835"/>
              <a:gd name="connsiteY4051" fmla="*/ 2070991 h 5278114"/>
              <a:gd name="connsiteX4052" fmla="*/ 2090542 w 5610835"/>
              <a:gd name="connsiteY4052" fmla="*/ 2074171 h 5278114"/>
              <a:gd name="connsiteX4053" fmla="*/ 2084179 w 5610835"/>
              <a:gd name="connsiteY4053" fmla="*/ 2069399 h 5278114"/>
              <a:gd name="connsiteX4054" fmla="*/ 2084179 w 5610835"/>
              <a:gd name="connsiteY4054" fmla="*/ 2064629 h 5278114"/>
              <a:gd name="connsiteX4055" fmla="*/ 2085372 w 5610835"/>
              <a:gd name="connsiteY4055" fmla="*/ 2065223 h 5278114"/>
              <a:gd name="connsiteX4056" fmla="*/ 2085324 w 5610835"/>
              <a:gd name="connsiteY4056" fmla="*/ 2065389 h 5278114"/>
              <a:gd name="connsiteX4057" fmla="*/ 2446867 w 5610835"/>
              <a:gd name="connsiteY4057" fmla="*/ 2056705 h 5278114"/>
              <a:gd name="connsiteX4058" fmla="*/ 2423006 w 5610835"/>
              <a:gd name="connsiteY4058" fmla="*/ 2118733 h 5278114"/>
              <a:gd name="connsiteX4059" fmla="*/ 2446867 w 5610835"/>
              <a:gd name="connsiteY4059" fmla="*/ 2056705 h 5278114"/>
              <a:gd name="connsiteX4060" fmla="*/ 2351423 w 5610835"/>
              <a:gd name="connsiteY4060" fmla="*/ 2051930 h 5278114"/>
              <a:gd name="connsiteX4061" fmla="*/ 2341878 w 5610835"/>
              <a:gd name="connsiteY4061" fmla="*/ 2082157 h 5278114"/>
              <a:gd name="connsiteX4062" fmla="*/ 2351423 w 5610835"/>
              <a:gd name="connsiteY4062" fmla="*/ 2051930 h 5278114"/>
              <a:gd name="connsiteX4063" fmla="*/ 4073070 w 5610835"/>
              <a:gd name="connsiteY4063" fmla="*/ 2041690 h 5278114"/>
              <a:gd name="connsiteX4064" fmla="*/ 4069415 w 5610835"/>
              <a:gd name="connsiteY4064" fmla="*/ 2043973 h 5278114"/>
              <a:gd name="connsiteX4065" fmla="*/ 4063052 w 5610835"/>
              <a:gd name="connsiteY4065" fmla="*/ 2051924 h 5278114"/>
              <a:gd name="connsiteX4066" fmla="*/ 4074188 w 5610835"/>
              <a:gd name="connsiteY4066" fmla="*/ 2055107 h 5278114"/>
              <a:gd name="connsiteX4067" fmla="*/ 4073070 w 5610835"/>
              <a:gd name="connsiteY4067" fmla="*/ 2041690 h 5278114"/>
              <a:gd name="connsiteX4068" fmla="*/ 2426187 w 5610835"/>
              <a:gd name="connsiteY4068" fmla="*/ 2040800 h 5278114"/>
              <a:gd name="connsiteX4069" fmla="*/ 2397553 w 5610835"/>
              <a:gd name="connsiteY4069" fmla="*/ 2102832 h 5278114"/>
              <a:gd name="connsiteX4070" fmla="*/ 2426187 w 5610835"/>
              <a:gd name="connsiteY4070" fmla="*/ 2040800 h 5278114"/>
              <a:gd name="connsiteX4071" fmla="*/ 2378466 w 5610835"/>
              <a:gd name="connsiteY4071" fmla="*/ 2040800 h 5278114"/>
              <a:gd name="connsiteX4072" fmla="*/ 2364148 w 5610835"/>
              <a:gd name="connsiteY4072" fmla="*/ 2091704 h 5278114"/>
              <a:gd name="connsiteX4073" fmla="*/ 2378466 w 5610835"/>
              <a:gd name="connsiteY4073" fmla="*/ 2040800 h 5278114"/>
              <a:gd name="connsiteX4074" fmla="*/ 2178032 w 5610835"/>
              <a:gd name="connsiteY4074" fmla="*/ 2034369 h 5278114"/>
              <a:gd name="connsiteX4075" fmla="*/ 2208257 w 5610835"/>
              <a:gd name="connsiteY4075" fmla="*/ 2059845 h 5278114"/>
              <a:gd name="connsiteX4076" fmla="*/ 2181213 w 5610835"/>
              <a:gd name="connsiteY4076" fmla="*/ 2051892 h 5278114"/>
              <a:gd name="connsiteX4077" fmla="*/ 2178032 w 5610835"/>
              <a:gd name="connsiteY4077" fmla="*/ 2034369 h 5278114"/>
              <a:gd name="connsiteX4078" fmla="*/ 2687067 w 5610835"/>
              <a:gd name="connsiteY4078" fmla="*/ 2031224 h 5278114"/>
              <a:gd name="connsiteX4079" fmla="*/ 2682295 w 5610835"/>
              <a:gd name="connsiteY4079" fmla="*/ 2034387 h 5278114"/>
              <a:gd name="connsiteX4080" fmla="*/ 2704566 w 5610835"/>
              <a:gd name="connsiteY4080" fmla="*/ 2048748 h 5278114"/>
              <a:gd name="connsiteX4081" fmla="*/ 2714109 w 5610835"/>
              <a:gd name="connsiteY4081" fmla="*/ 2042384 h 5278114"/>
              <a:gd name="connsiteX4082" fmla="*/ 2687067 w 5610835"/>
              <a:gd name="connsiteY4082" fmla="*/ 2031224 h 5278114"/>
              <a:gd name="connsiteX4083" fmla="*/ 2392781 w 5610835"/>
              <a:gd name="connsiteY4083" fmla="*/ 2029644 h 5278114"/>
              <a:gd name="connsiteX4084" fmla="*/ 2410280 w 5610835"/>
              <a:gd name="connsiteY4084" fmla="*/ 2037595 h 5278114"/>
              <a:gd name="connsiteX4085" fmla="*/ 2383237 w 5610835"/>
              <a:gd name="connsiteY4085" fmla="*/ 2091704 h 5278114"/>
              <a:gd name="connsiteX4086" fmla="*/ 2392781 w 5610835"/>
              <a:gd name="connsiteY4086" fmla="*/ 2029644 h 5278114"/>
              <a:gd name="connsiteX4087" fmla="*/ 1936242 w 5610835"/>
              <a:gd name="connsiteY4087" fmla="*/ 2015295 h 5278114"/>
              <a:gd name="connsiteX4088" fmla="*/ 1941014 w 5610835"/>
              <a:gd name="connsiteY4088" fmla="*/ 2015295 h 5278114"/>
              <a:gd name="connsiteX4089" fmla="*/ 1936242 w 5610835"/>
              <a:gd name="connsiteY4089" fmla="*/ 2020066 h 5278114"/>
              <a:gd name="connsiteX4090" fmla="*/ 2136475 w 5610835"/>
              <a:gd name="connsiteY4090" fmla="*/ 2001965 h 5278114"/>
              <a:gd name="connsiteX4091" fmla="*/ 2143036 w 5610835"/>
              <a:gd name="connsiteY4091" fmla="*/ 2002562 h 5278114"/>
              <a:gd name="connsiteX4092" fmla="*/ 2133492 w 5610835"/>
              <a:gd name="connsiteY4092" fmla="*/ 2007333 h 5278114"/>
              <a:gd name="connsiteX4093" fmla="*/ 2136475 w 5610835"/>
              <a:gd name="connsiteY4093" fmla="*/ 2001965 h 5278114"/>
              <a:gd name="connsiteX4094" fmla="*/ 2031685 w 5610835"/>
              <a:gd name="connsiteY4094" fmla="*/ 1991436 h 5278114"/>
              <a:gd name="connsiteX4095" fmla="*/ 2039639 w 5610835"/>
              <a:gd name="connsiteY4095" fmla="*/ 1996205 h 5278114"/>
              <a:gd name="connsiteX4096" fmla="*/ 2036457 w 5610835"/>
              <a:gd name="connsiteY4096" fmla="*/ 1999385 h 5278114"/>
              <a:gd name="connsiteX4097" fmla="*/ 2023731 w 5610835"/>
              <a:gd name="connsiteY4097" fmla="*/ 1994616 h 5278114"/>
              <a:gd name="connsiteX4098" fmla="*/ 2031685 w 5610835"/>
              <a:gd name="connsiteY4098" fmla="*/ 1991436 h 5278114"/>
              <a:gd name="connsiteX4099" fmla="*/ 2761111 w 5610835"/>
              <a:gd name="connsiteY4099" fmla="*/ 1989640 h 5278114"/>
              <a:gd name="connsiteX4100" fmla="*/ 2753878 w 5610835"/>
              <a:gd name="connsiteY4100" fmla="*/ 1991456 h 5278114"/>
              <a:gd name="connsiteX4101" fmla="*/ 2737971 w 5610835"/>
              <a:gd name="connsiteY4101" fmla="*/ 1994636 h 5278114"/>
              <a:gd name="connsiteX4102" fmla="*/ 2717291 w 5610835"/>
              <a:gd name="connsiteY4102" fmla="*/ 2008944 h 5278114"/>
              <a:gd name="connsiteX4103" fmla="*/ 2747516 w 5610835"/>
              <a:gd name="connsiteY4103" fmla="*/ 2020092 h 5278114"/>
              <a:gd name="connsiteX4104" fmla="*/ 2772966 w 5610835"/>
              <a:gd name="connsiteY4104" fmla="*/ 2004171 h 5278114"/>
              <a:gd name="connsiteX4105" fmla="*/ 2761111 w 5610835"/>
              <a:gd name="connsiteY4105" fmla="*/ 1989640 h 5278114"/>
              <a:gd name="connsiteX4106" fmla="*/ 2098497 w 5610835"/>
              <a:gd name="connsiteY4106" fmla="*/ 1988256 h 5278114"/>
              <a:gd name="connsiteX4107" fmla="*/ 2103270 w 5610835"/>
              <a:gd name="connsiteY4107" fmla="*/ 1993026 h 5278114"/>
              <a:gd name="connsiteX4108" fmla="*/ 2098497 w 5610835"/>
              <a:gd name="connsiteY4108" fmla="*/ 1994616 h 5278114"/>
              <a:gd name="connsiteX4109" fmla="*/ 326418 w 5610835"/>
              <a:gd name="connsiteY4109" fmla="*/ 1988233 h 5278114"/>
              <a:gd name="connsiteX4110" fmla="*/ 133940 w 5610835"/>
              <a:gd name="connsiteY4110" fmla="*/ 2055044 h 5278114"/>
              <a:gd name="connsiteX4111" fmla="*/ 326418 w 5610835"/>
              <a:gd name="connsiteY4111" fmla="*/ 1988233 h 5278114"/>
              <a:gd name="connsiteX4112" fmla="*/ 1319037 w 5610835"/>
              <a:gd name="connsiteY4112" fmla="*/ 1988231 h 5278114"/>
              <a:gd name="connsiteX4113" fmla="*/ 1277679 w 5610835"/>
              <a:gd name="connsiteY4113" fmla="*/ 2269790 h 5278114"/>
              <a:gd name="connsiteX4114" fmla="*/ 1161554 w 5610835"/>
              <a:gd name="connsiteY4114" fmla="*/ 2432046 h 5278114"/>
              <a:gd name="connsiteX4115" fmla="*/ 1069291 w 5610835"/>
              <a:gd name="connsiteY4115" fmla="*/ 2552942 h 5278114"/>
              <a:gd name="connsiteX4116" fmla="*/ 1179052 w 5610835"/>
              <a:gd name="connsiteY4116" fmla="*/ 2432046 h 5278114"/>
              <a:gd name="connsiteX4117" fmla="*/ 1179052 w 5610835"/>
              <a:gd name="connsiteY4117" fmla="*/ 2444771 h 5278114"/>
              <a:gd name="connsiteX4118" fmla="*/ 1196551 w 5610835"/>
              <a:gd name="connsiteY4118" fmla="*/ 2452725 h 5278114"/>
              <a:gd name="connsiteX4119" fmla="*/ 1196551 w 5610835"/>
              <a:gd name="connsiteY4119" fmla="*/ 2446362 h 5278114"/>
              <a:gd name="connsiteX4120" fmla="*/ 1204504 w 5610835"/>
              <a:gd name="connsiteY4120" fmla="*/ 2457497 h 5278114"/>
              <a:gd name="connsiteX4121" fmla="*/ 1206094 w 5610835"/>
              <a:gd name="connsiteY4121" fmla="*/ 2457497 h 5278114"/>
              <a:gd name="connsiteX4122" fmla="*/ 1056566 w 5610835"/>
              <a:gd name="connsiteY4122" fmla="*/ 2692926 h 5278114"/>
              <a:gd name="connsiteX4123" fmla="*/ 986574 w 5610835"/>
              <a:gd name="connsiteY4123" fmla="*/ 2766100 h 5278114"/>
              <a:gd name="connsiteX4124" fmla="*/ 864086 w 5610835"/>
              <a:gd name="connsiteY4124" fmla="*/ 2707243 h 5278114"/>
              <a:gd name="connsiteX4125" fmla="*/ 797275 w 5610835"/>
              <a:gd name="connsiteY4125" fmla="*/ 2653157 h 5278114"/>
              <a:gd name="connsiteX4126" fmla="*/ 763870 w 5610835"/>
              <a:gd name="connsiteY4126" fmla="*/ 2673837 h 5278114"/>
              <a:gd name="connsiteX4127" fmla="*/ 765461 w 5610835"/>
              <a:gd name="connsiteY4127" fmla="*/ 2579984 h 5278114"/>
              <a:gd name="connsiteX4128" fmla="*/ 684333 w 5610835"/>
              <a:gd name="connsiteY4128" fmla="*/ 2479767 h 5278114"/>
              <a:gd name="connsiteX4129" fmla="*/ 776596 w 5610835"/>
              <a:gd name="connsiteY4129" fmla="*/ 2304787 h 5278114"/>
              <a:gd name="connsiteX4130" fmla="*/ 784550 w 5610835"/>
              <a:gd name="connsiteY4130" fmla="*/ 2288881 h 5278114"/>
              <a:gd name="connsiteX4131" fmla="*/ 725692 w 5610835"/>
              <a:gd name="connsiteY4131" fmla="*/ 2425683 h 5278114"/>
              <a:gd name="connsiteX4132" fmla="*/ 797275 w 5610835"/>
              <a:gd name="connsiteY4132" fmla="*/ 2263428 h 5278114"/>
              <a:gd name="connsiteX4133" fmla="*/ 1000890 w 5610835"/>
              <a:gd name="connsiteY4133" fmla="*/ 2070950 h 5278114"/>
              <a:gd name="connsiteX4134" fmla="*/ 794094 w 5610835"/>
              <a:gd name="connsiteY4134" fmla="*/ 2249112 h 5278114"/>
              <a:gd name="connsiteX4135" fmla="*/ 803638 w 5610835"/>
              <a:gd name="connsiteY4135" fmla="*/ 2144123 h 5278114"/>
              <a:gd name="connsiteX4136" fmla="*/ 1319037 w 5610835"/>
              <a:gd name="connsiteY4136" fmla="*/ 1988231 h 5278114"/>
              <a:gd name="connsiteX4137" fmla="*/ 2725245 w 5610835"/>
              <a:gd name="connsiteY4137" fmla="*/ 1975554 h 5278114"/>
              <a:gd name="connsiteX4138" fmla="*/ 2666388 w 5610835"/>
              <a:gd name="connsiteY4138" fmla="*/ 2002583 h 5278114"/>
              <a:gd name="connsiteX4139" fmla="*/ 2680705 w 5610835"/>
              <a:gd name="connsiteY4139" fmla="*/ 2010536 h 5278114"/>
              <a:gd name="connsiteX4140" fmla="*/ 2671160 w 5610835"/>
              <a:gd name="connsiteY4140" fmla="*/ 2018504 h 5278114"/>
              <a:gd name="connsiteX4141" fmla="*/ 2672751 w 5610835"/>
              <a:gd name="connsiteY4141" fmla="*/ 2021688 h 5278114"/>
              <a:gd name="connsiteX4142" fmla="*/ 2682295 w 5610835"/>
              <a:gd name="connsiteY4142" fmla="*/ 2013720 h 5278114"/>
              <a:gd name="connsiteX4143" fmla="*/ 2680705 w 5610835"/>
              <a:gd name="connsiteY4143" fmla="*/ 2010536 h 5278114"/>
              <a:gd name="connsiteX4144" fmla="*/ 2701384 w 5610835"/>
              <a:gd name="connsiteY4144" fmla="*/ 1997814 h 5278114"/>
              <a:gd name="connsiteX4145" fmla="*/ 2725245 w 5610835"/>
              <a:gd name="connsiteY4145" fmla="*/ 1975554 h 5278114"/>
              <a:gd name="connsiteX4146" fmla="*/ 4348391 w 5610835"/>
              <a:gd name="connsiteY4146" fmla="*/ 1972774 h 5278114"/>
              <a:gd name="connsiteX4147" fmla="*/ 4349385 w 5610835"/>
              <a:gd name="connsiteY4147" fmla="*/ 1978738 h 5278114"/>
              <a:gd name="connsiteX4148" fmla="*/ 4303253 w 5610835"/>
              <a:gd name="connsiteY4148" fmla="*/ 2000995 h 5278114"/>
              <a:gd name="connsiteX4149" fmla="*/ 4341431 w 5610835"/>
              <a:gd name="connsiteY4149" fmla="*/ 1973967 h 5278114"/>
              <a:gd name="connsiteX4150" fmla="*/ 4348391 w 5610835"/>
              <a:gd name="connsiteY4150" fmla="*/ 1972774 h 5278114"/>
              <a:gd name="connsiteX4151" fmla="*/ 2077816 w 5610835"/>
              <a:gd name="connsiteY4151" fmla="*/ 1970762 h 5278114"/>
              <a:gd name="connsiteX4152" fmla="*/ 2080998 w 5610835"/>
              <a:gd name="connsiteY4152" fmla="*/ 1983482 h 5278114"/>
              <a:gd name="connsiteX4153" fmla="*/ 2069862 w 5610835"/>
              <a:gd name="connsiteY4153" fmla="*/ 1977122 h 5278114"/>
              <a:gd name="connsiteX4154" fmla="*/ 2068271 w 5610835"/>
              <a:gd name="connsiteY4154" fmla="*/ 1975531 h 5278114"/>
              <a:gd name="connsiteX4155" fmla="*/ 2077816 w 5610835"/>
              <a:gd name="connsiteY4155" fmla="*/ 1970762 h 5278114"/>
              <a:gd name="connsiteX4156" fmla="*/ 328457 w 5610835"/>
              <a:gd name="connsiteY4156" fmla="*/ 1957586 h 5278114"/>
              <a:gd name="connsiteX4157" fmla="*/ 141893 w 5610835"/>
              <a:gd name="connsiteY4157" fmla="*/ 2002550 h 5278114"/>
              <a:gd name="connsiteX4158" fmla="*/ 401183 w 5610835"/>
              <a:gd name="connsiteY4158" fmla="*/ 1958010 h 5278114"/>
              <a:gd name="connsiteX4159" fmla="*/ 328457 w 5610835"/>
              <a:gd name="connsiteY4159" fmla="*/ 1957586 h 5278114"/>
              <a:gd name="connsiteX4160" fmla="*/ 2163716 w 5610835"/>
              <a:gd name="connsiteY4160" fmla="*/ 1950084 h 5278114"/>
              <a:gd name="connsiteX4161" fmla="*/ 2206666 w 5610835"/>
              <a:gd name="connsiteY4161" fmla="*/ 1999381 h 5278114"/>
              <a:gd name="connsiteX4162" fmla="*/ 2165307 w 5610835"/>
              <a:gd name="connsiteY4162" fmla="*/ 1959624 h 5278114"/>
              <a:gd name="connsiteX4163" fmla="*/ 2163716 w 5610835"/>
              <a:gd name="connsiteY4163" fmla="*/ 1950084 h 5278114"/>
              <a:gd name="connsiteX4164" fmla="*/ 184644 w 5610835"/>
              <a:gd name="connsiteY4164" fmla="*/ 1944686 h 5278114"/>
              <a:gd name="connsiteX4165" fmla="*/ 65538 w 5610835"/>
              <a:gd name="connsiteY4165" fmla="*/ 1981869 h 5278114"/>
              <a:gd name="connsiteX4166" fmla="*/ 232565 w 5610835"/>
              <a:gd name="connsiteY4166" fmla="*/ 1948464 h 5278114"/>
              <a:gd name="connsiteX4167" fmla="*/ 67129 w 5610835"/>
              <a:gd name="connsiteY4167" fmla="*/ 2018457 h 5278114"/>
              <a:gd name="connsiteX4168" fmla="*/ 326418 w 5610835"/>
              <a:gd name="connsiteY4168" fmla="*/ 1946874 h 5278114"/>
              <a:gd name="connsiteX4169" fmla="*/ 184644 w 5610835"/>
              <a:gd name="connsiteY4169" fmla="*/ 1944686 h 5278114"/>
              <a:gd name="connsiteX4170" fmla="*/ 2895453 w 5610835"/>
              <a:gd name="connsiteY4170" fmla="*/ 1943757 h 5278114"/>
              <a:gd name="connsiteX4171" fmla="*/ 2849322 w 5610835"/>
              <a:gd name="connsiteY4171" fmla="*/ 1975554 h 5278114"/>
              <a:gd name="connsiteX4172" fmla="*/ 2860457 w 5610835"/>
              <a:gd name="connsiteY4172" fmla="*/ 1975554 h 5278114"/>
              <a:gd name="connsiteX4173" fmla="*/ 2890681 w 5610835"/>
              <a:gd name="connsiteY4173" fmla="*/ 1959655 h 5278114"/>
              <a:gd name="connsiteX4174" fmla="*/ 2893862 w 5610835"/>
              <a:gd name="connsiteY4174" fmla="*/ 1953294 h 5278114"/>
              <a:gd name="connsiteX4175" fmla="*/ 2881137 w 5610835"/>
              <a:gd name="connsiteY4175" fmla="*/ 1958066 h 5278114"/>
              <a:gd name="connsiteX4176" fmla="*/ 2895453 w 5610835"/>
              <a:gd name="connsiteY4176" fmla="*/ 1943757 h 5278114"/>
              <a:gd name="connsiteX4177" fmla="*/ 2946356 w 5610835"/>
              <a:gd name="connsiteY4177" fmla="*/ 1926270 h 5278114"/>
              <a:gd name="connsiteX4178" fmla="*/ 2919314 w 5610835"/>
              <a:gd name="connsiteY4178" fmla="*/ 1940576 h 5278114"/>
              <a:gd name="connsiteX4179" fmla="*/ 2941585 w 5610835"/>
              <a:gd name="connsiteY4179" fmla="*/ 1940576 h 5278114"/>
              <a:gd name="connsiteX4180" fmla="*/ 2946356 w 5610835"/>
              <a:gd name="connsiteY4180" fmla="*/ 1926270 h 5278114"/>
              <a:gd name="connsiteX4181" fmla="*/ 2022140 w 5610835"/>
              <a:gd name="connsiteY4181" fmla="*/ 1921467 h 5278114"/>
              <a:gd name="connsiteX4182" fmla="*/ 2026914 w 5610835"/>
              <a:gd name="connsiteY4182" fmla="*/ 1926237 h 5278114"/>
              <a:gd name="connsiteX4183" fmla="*/ 2030095 w 5610835"/>
              <a:gd name="connsiteY4183" fmla="*/ 1935778 h 5278114"/>
              <a:gd name="connsiteX4184" fmla="*/ 2026914 w 5610835"/>
              <a:gd name="connsiteY4184" fmla="*/ 1942139 h 5278114"/>
              <a:gd name="connsiteX4185" fmla="*/ 2022140 w 5610835"/>
              <a:gd name="connsiteY4185" fmla="*/ 1945319 h 5278114"/>
              <a:gd name="connsiteX4186" fmla="*/ 2025323 w 5610835"/>
              <a:gd name="connsiteY4186" fmla="*/ 1950090 h 5278114"/>
              <a:gd name="connsiteX4187" fmla="*/ 2011005 w 5610835"/>
              <a:gd name="connsiteY4187" fmla="*/ 1953270 h 5278114"/>
              <a:gd name="connsiteX4188" fmla="*/ 2006233 w 5610835"/>
              <a:gd name="connsiteY4188" fmla="*/ 1943729 h 5278114"/>
              <a:gd name="connsiteX4189" fmla="*/ 2006233 w 5610835"/>
              <a:gd name="connsiteY4189" fmla="*/ 1938958 h 5278114"/>
              <a:gd name="connsiteX4190" fmla="*/ 2003052 w 5610835"/>
              <a:gd name="connsiteY4190" fmla="*/ 1938958 h 5278114"/>
              <a:gd name="connsiteX4191" fmla="*/ 2003052 w 5610835"/>
              <a:gd name="connsiteY4191" fmla="*/ 1934189 h 5278114"/>
              <a:gd name="connsiteX4192" fmla="*/ 2014187 w 5610835"/>
              <a:gd name="connsiteY4192" fmla="*/ 1940549 h 5278114"/>
              <a:gd name="connsiteX4193" fmla="*/ 2004642 w 5610835"/>
              <a:gd name="connsiteY4193" fmla="*/ 1929418 h 5278114"/>
              <a:gd name="connsiteX4194" fmla="*/ 2006233 w 5610835"/>
              <a:gd name="connsiteY4194" fmla="*/ 1924646 h 5278114"/>
              <a:gd name="connsiteX4195" fmla="*/ 2014187 w 5610835"/>
              <a:gd name="connsiteY4195" fmla="*/ 1923057 h 5278114"/>
              <a:gd name="connsiteX4196" fmla="*/ 2022140 w 5610835"/>
              <a:gd name="connsiteY4196" fmla="*/ 1921467 h 5278114"/>
              <a:gd name="connsiteX4197" fmla="*/ 1920334 w 5610835"/>
              <a:gd name="connsiteY4197" fmla="*/ 1880111 h 5278114"/>
              <a:gd name="connsiteX4198" fmla="*/ 1920334 w 5610835"/>
              <a:gd name="connsiteY4198" fmla="*/ 1888067 h 5278114"/>
              <a:gd name="connsiteX4199" fmla="*/ 1915562 w 5610835"/>
              <a:gd name="connsiteY4199" fmla="*/ 1883293 h 5278114"/>
              <a:gd name="connsiteX4200" fmla="*/ 2111223 w 5610835"/>
              <a:gd name="connsiteY4200" fmla="*/ 1878511 h 5278114"/>
              <a:gd name="connsiteX4201" fmla="*/ 2112813 w 5610835"/>
              <a:gd name="connsiteY4201" fmla="*/ 1883284 h 5278114"/>
              <a:gd name="connsiteX4202" fmla="*/ 2111223 w 5610835"/>
              <a:gd name="connsiteY4202" fmla="*/ 1883284 h 5278114"/>
              <a:gd name="connsiteX4203" fmla="*/ 2109632 w 5610835"/>
              <a:gd name="connsiteY4203" fmla="*/ 1880102 h 5278114"/>
              <a:gd name="connsiteX4204" fmla="*/ 1928287 w 5610835"/>
              <a:gd name="connsiteY4204" fmla="*/ 1876930 h 5278114"/>
              <a:gd name="connsiteX4205" fmla="*/ 1936241 w 5610835"/>
              <a:gd name="connsiteY4205" fmla="*/ 1876930 h 5278114"/>
              <a:gd name="connsiteX4206" fmla="*/ 1931468 w 5610835"/>
              <a:gd name="connsiteY4206" fmla="*/ 1881704 h 5278114"/>
              <a:gd name="connsiteX4207" fmla="*/ 2100086 w 5610835"/>
              <a:gd name="connsiteY4207" fmla="*/ 1873747 h 5278114"/>
              <a:gd name="connsiteX4208" fmla="*/ 2104859 w 5610835"/>
              <a:gd name="connsiteY4208" fmla="*/ 1878519 h 5278114"/>
              <a:gd name="connsiteX4209" fmla="*/ 2096905 w 5610835"/>
              <a:gd name="connsiteY4209" fmla="*/ 1878519 h 5278114"/>
              <a:gd name="connsiteX4210" fmla="*/ 4112366 w 5610835"/>
              <a:gd name="connsiteY4210" fmla="*/ 1870603 h 5278114"/>
              <a:gd name="connsiteX4211" fmla="*/ 4110775 w 5610835"/>
              <a:gd name="connsiteY4211" fmla="*/ 1872195 h 5278114"/>
              <a:gd name="connsiteX4212" fmla="*/ 4115547 w 5610835"/>
              <a:gd name="connsiteY4212" fmla="*/ 1870603 h 5278114"/>
              <a:gd name="connsiteX4213" fmla="*/ 4112366 w 5610835"/>
              <a:gd name="connsiteY4213" fmla="*/ 1870603 h 5278114"/>
              <a:gd name="connsiteX4214" fmla="*/ 2050775 w 5610835"/>
              <a:gd name="connsiteY4214" fmla="*/ 1867422 h 5278114"/>
              <a:gd name="connsiteX4215" fmla="*/ 2198713 w 5610835"/>
              <a:gd name="connsiteY4215" fmla="*/ 2018504 h 5278114"/>
              <a:gd name="connsiteX4216" fmla="*/ 2050775 w 5610835"/>
              <a:gd name="connsiteY4216" fmla="*/ 1867422 h 5278114"/>
              <a:gd name="connsiteX4217" fmla="*/ 1963284 w 5610835"/>
              <a:gd name="connsiteY4217" fmla="*/ 1867375 h 5278114"/>
              <a:gd name="connsiteX4218" fmla="*/ 1968056 w 5610835"/>
              <a:gd name="connsiteY4218" fmla="*/ 1873740 h 5278114"/>
              <a:gd name="connsiteX4219" fmla="*/ 1963284 w 5610835"/>
              <a:gd name="connsiteY4219" fmla="*/ 1873740 h 5278114"/>
              <a:gd name="connsiteX4220" fmla="*/ 5168537 w 5610835"/>
              <a:gd name="connsiteY4220" fmla="*/ 1865133 h 5278114"/>
              <a:gd name="connsiteX4221" fmla="*/ 5203608 w 5610835"/>
              <a:gd name="connsiteY4221" fmla="*/ 1865829 h 5278114"/>
              <a:gd name="connsiteX4222" fmla="*/ 5060441 w 5610835"/>
              <a:gd name="connsiteY4222" fmla="*/ 1883333 h 5278114"/>
              <a:gd name="connsiteX4223" fmla="*/ 5049306 w 5610835"/>
              <a:gd name="connsiteY4223" fmla="*/ 1878562 h 5278114"/>
              <a:gd name="connsiteX4224" fmla="*/ 5168537 w 5610835"/>
              <a:gd name="connsiteY4224" fmla="*/ 1865133 h 5278114"/>
              <a:gd name="connsiteX4225" fmla="*/ 4498913 w 5610835"/>
              <a:gd name="connsiteY4225" fmla="*/ 1861056 h 5278114"/>
              <a:gd name="connsiteX4226" fmla="*/ 4495731 w 5610835"/>
              <a:gd name="connsiteY4226" fmla="*/ 1872195 h 5278114"/>
              <a:gd name="connsiteX4227" fmla="*/ 4427330 w 5610835"/>
              <a:gd name="connsiteY4227" fmla="*/ 1881742 h 5278114"/>
              <a:gd name="connsiteX4228" fmla="*/ 4411423 w 5610835"/>
              <a:gd name="connsiteY4228" fmla="*/ 1873786 h 5278114"/>
              <a:gd name="connsiteX4229" fmla="*/ 5240196 w 5610835"/>
              <a:gd name="connsiteY4229" fmla="*/ 1857872 h 5278114"/>
              <a:gd name="connsiteX4230" fmla="*/ 5230651 w 5610835"/>
              <a:gd name="connsiteY4230" fmla="*/ 1872195 h 5278114"/>
              <a:gd name="connsiteX4231" fmla="*/ 5206789 w 5610835"/>
              <a:gd name="connsiteY4231" fmla="*/ 1865831 h 5278114"/>
              <a:gd name="connsiteX4232" fmla="*/ 5240196 w 5610835"/>
              <a:gd name="connsiteY4232" fmla="*/ 1857872 h 5278114"/>
              <a:gd name="connsiteX4233" fmla="*/ 1856705 w 5610835"/>
              <a:gd name="connsiteY4233" fmla="*/ 1846696 h 5278114"/>
              <a:gd name="connsiteX4234" fmla="*/ 1861477 w 5610835"/>
              <a:gd name="connsiteY4234" fmla="*/ 1859424 h 5278114"/>
              <a:gd name="connsiteX4235" fmla="*/ 1847160 w 5610835"/>
              <a:gd name="connsiteY4235" fmla="*/ 1868973 h 5278114"/>
              <a:gd name="connsiteX4236" fmla="*/ 1839206 w 5610835"/>
              <a:gd name="connsiteY4236" fmla="*/ 1864200 h 5278114"/>
              <a:gd name="connsiteX4237" fmla="*/ 1839206 w 5610835"/>
              <a:gd name="connsiteY4237" fmla="*/ 1857836 h 5278114"/>
              <a:gd name="connsiteX4238" fmla="*/ 1843978 w 5610835"/>
              <a:gd name="connsiteY4238" fmla="*/ 1848287 h 5278114"/>
              <a:gd name="connsiteX4239" fmla="*/ 1848751 w 5610835"/>
              <a:gd name="connsiteY4239" fmla="*/ 1851469 h 5278114"/>
              <a:gd name="connsiteX4240" fmla="*/ 1856705 w 5610835"/>
              <a:gd name="connsiteY4240" fmla="*/ 1846696 h 5278114"/>
              <a:gd name="connsiteX4241" fmla="*/ 1807392 w 5610835"/>
              <a:gd name="connsiteY4241" fmla="*/ 1837155 h 5278114"/>
              <a:gd name="connsiteX4242" fmla="*/ 1812164 w 5610835"/>
              <a:gd name="connsiteY4242" fmla="*/ 1841928 h 5278114"/>
              <a:gd name="connsiteX4243" fmla="*/ 1807392 w 5610835"/>
              <a:gd name="connsiteY4243" fmla="*/ 1845110 h 5278114"/>
              <a:gd name="connsiteX4244" fmla="*/ 1805801 w 5610835"/>
              <a:gd name="connsiteY4244" fmla="*/ 1841928 h 5278114"/>
              <a:gd name="connsiteX4245" fmla="*/ 1931468 w 5610835"/>
              <a:gd name="connsiteY4245" fmla="*/ 1829186 h 5278114"/>
              <a:gd name="connsiteX4246" fmla="*/ 1936241 w 5610835"/>
              <a:gd name="connsiteY4246" fmla="*/ 1833958 h 5278114"/>
              <a:gd name="connsiteX4247" fmla="*/ 1928287 w 5610835"/>
              <a:gd name="connsiteY4247" fmla="*/ 1833958 h 5278114"/>
              <a:gd name="connsiteX4248" fmla="*/ 4207810 w 5610835"/>
              <a:gd name="connsiteY4248" fmla="*/ 1826048 h 5278114"/>
              <a:gd name="connsiteX4249" fmla="*/ 4101230 w 5610835"/>
              <a:gd name="connsiteY4249" fmla="*/ 1923090 h 5278114"/>
              <a:gd name="connsiteX4250" fmla="*/ 4253941 w 5610835"/>
              <a:gd name="connsiteY4250" fmla="*/ 1892880 h 5278114"/>
              <a:gd name="connsiteX4251" fmla="*/ 4284165 w 5610835"/>
              <a:gd name="connsiteY4251" fmla="*/ 1865831 h 5278114"/>
              <a:gd name="connsiteX4252" fmla="*/ 4269848 w 5610835"/>
              <a:gd name="connsiteY4252" fmla="*/ 1854691 h 5278114"/>
              <a:gd name="connsiteX4253" fmla="*/ 4279393 w 5610835"/>
              <a:gd name="connsiteY4253" fmla="*/ 1846734 h 5278114"/>
              <a:gd name="connsiteX4254" fmla="*/ 4210991 w 5610835"/>
              <a:gd name="connsiteY4254" fmla="*/ 1857872 h 5278114"/>
              <a:gd name="connsiteX4255" fmla="*/ 4206219 w 5610835"/>
              <a:gd name="connsiteY4255" fmla="*/ 1846734 h 5278114"/>
              <a:gd name="connsiteX4256" fmla="*/ 4233261 w 5610835"/>
              <a:gd name="connsiteY4256" fmla="*/ 1840370 h 5278114"/>
              <a:gd name="connsiteX4257" fmla="*/ 4207810 w 5610835"/>
              <a:gd name="connsiteY4257" fmla="*/ 1826048 h 5278114"/>
              <a:gd name="connsiteX4258" fmla="*/ 1680134 w 5610835"/>
              <a:gd name="connsiteY4258" fmla="*/ 1821243 h 5278114"/>
              <a:gd name="connsiteX4259" fmla="*/ 1680134 w 5610835"/>
              <a:gd name="connsiteY4259" fmla="*/ 1824426 h 5278114"/>
              <a:gd name="connsiteX4260" fmla="*/ 1675361 w 5610835"/>
              <a:gd name="connsiteY4260" fmla="*/ 1824426 h 5278114"/>
              <a:gd name="connsiteX4261" fmla="*/ 3073615 w 5610835"/>
              <a:gd name="connsiteY4261" fmla="*/ 1818090 h 5278114"/>
              <a:gd name="connsiteX4262" fmla="*/ 2784103 w 5610835"/>
              <a:gd name="connsiteY4262" fmla="*/ 1964429 h 5278114"/>
              <a:gd name="connsiteX4263" fmla="*/ 2825461 w 5610835"/>
              <a:gd name="connsiteY4263" fmla="*/ 1970784 h 5278114"/>
              <a:gd name="connsiteX4264" fmla="*/ 2952720 w 5610835"/>
              <a:gd name="connsiteY4264" fmla="*/ 1894472 h 5278114"/>
              <a:gd name="connsiteX4265" fmla="*/ 2955901 w 5610835"/>
              <a:gd name="connsiteY4265" fmla="*/ 1886515 h 5278114"/>
              <a:gd name="connsiteX4266" fmla="*/ 2976580 w 5610835"/>
              <a:gd name="connsiteY4266" fmla="*/ 1880151 h 5278114"/>
              <a:gd name="connsiteX4267" fmla="*/ 2998851 w 5610835"/>
              <a:gd name="connsiteY4267" fmla="*/ 1865831 h 5278114"/>
              <a:gd name="connsiteX4268" fmla="*/ 3011577 w 5610835"/>
              <a:gd name="connsiteY4268" fmla="*/ 1857872 h 5278114"/>
              <a:gd name="connsiteX4269" fmla="*/ 3073615 w 5610835"/>
              <a:gd name="connsiteY4269" fmla="*/ 1818090 h 5278114"/>
              <a:gd name="connsiteX4270" fmla="*/ 3165878 w 5610835"/>
              <a:gd name="connsiteY4270" fmla="*/ 1816500 h 5278114"/>
              <a:gd name="connsiteX4271" fmla="*/ 3070434 w 5610835"/>
              <a:gd name="connsiteY4271" fmla="*/ 1854691 h 5278114"/>
              <a:gd name="connsiteX4272" fmla="*/ 3070434 w 5610835"/>
              <a:gd name="connsiteY4272" fmla="*/ 1856282 h 5278114"/>
              <a:gd name="connsiteX4273" fmla="*/ 3059299 w 5610835"/>
              <a:gd name="connsiteY4273" fmla="*/ 1881742 h 5278114"/>
              <a:gd name="connsiteX4274" fmla="*/ 3183376 w 5610835"/>
              <a:gd name="connsiteY4274" fmla="*/ 1827639 h 5278114"/>
              <a:gd name="connsiteX4275" fmla="*/ 3181785 w 5610835"/>
              <a:gd name="connsiteY4275" fmla="*/ 1827639 h 5278114"/>
              <a:gd name="connsiteX4276" fmla="*/ 3165878 w 5610835"/>
              <a:gd name="connsiteY4276" fmla="*/ 1816500 h 5278114"/>
              <a:gd name="connsiteX4277" fmla="*/ 1753307 w 5610835"/>
              <a:gd name="connsiteY4277" fmla="*/ 1811697 h 5278114"/>
              <a:gd name="connsiteX4278" fmla="*/ 1758079 w 5610835"/>
              <a:gd name="connsiteY4278" fmla="*/ 1814880 h 5278114"/>
              <a:gd name="connsiteX4279" fmla="*/ 1753307 w 5610835"/>
              <a:gd name="connsiteY4279" fmla="*/ 1818063 h 5278114"/>
              <a:gd name="connsiteX4280" fmla="*/ 1750125 w 5610835"/>
              <a:gd name="connsiteY4280" fmla="*/ 1816471 h 5278114"/>
              <a:gd name="connsiteX4281" fmla="*/ 2063500 w 5610835"/>
              <a:gd name="connsiteY4281" fmla="*/ 1803729 h 5278114"/>
              <a:gd name="connsiteX4282" fmla="*/ 2068272 w 5610835"/>
              <a:gd name="connsiteY4282" fmla="*/ 1805322 h 5278114"/>
              <a:gd name="connsiteX4283" fmla="*/ 2069863 w 5610835"/>
              <a:gd name="connsiteY4283" fmla="*/ 1810095 h 5278114"/>
              <a:gd name="connsiteX4284" fmla="*/ 2066683 w 5610835"/>
              <a:gd name="connsiteY4284" fmla="*/ 1810095 h 5278114"/>
              <a:gd name="connsiteX4285" fmla="*/ 1953740 w 5610835"/>
              <a:gd name="connsiteY4285" fmla="*/ 1800556 h 5278114"/>
              <a:gd name="connsiteX4286" fmla="*/ 1958512 w 5610835"/>
              <a:gd name="connsiteY4286" fmla="*/ 1803737 h 5278114"/>
              <a:gd name="connsiteX4287" fmla="*/ 1953740 w 5610835"/>
              <a:gd name="connsiteY4287" fmla="*/ 1806920 h 5278114"/>
              <a:gd name="connsiteX4288" fmla="*/ 2006234 w 5610835"/>
              <a:gd name="connsiteY4288" fmla="*/ 1800549 h 5278114"/>
              <a:gd name="connsiteX4289" fmla="*/ 2011006 w 5610835"/>
              <a:gd name="connsiteY4289" fmla="*/ 1800549 h 5278114"/>
              <a:gd name="connsiteX4290" fmla="*/ 2006234 w 5610835"/>
              <a:gd name="connsiteY4290" fmla="*/ 1805322 h 5278114"/>
              <a:gd name="connsiteX4291" fmla="*/ 4196674 w 5610835"/>
              <a:gd name="connsiteY4291" fmla="*/ 1794224 h 5278114"/>
              <a:gd name="connsiteX4292" fmla="*/ 4183948 w 5610835"/>
              <a:gd name="connsiteY4292" fmla="*/ 1800590 h 5278114"/>
              <a:gd name="connsiteX4293" fmla="*/ 4210991 w 5610835"/>
              <a:gd name="connsiteY4293" fmla="*/ 1819682 h 5278114"/>
              <a:gd name="connsiteX4294" fmla="*/ 4209400 w 5610835"/>
              <a:gd name="connsiteY4294" fmla="*/ 1821275 h 5278114"/>
              <a:gd name="connsiteX4295" fmla="*/ 4284165 w 5610835"/>
              <a:gd name="connsiteY4295" fmla="*/ 1805364 h 5278114"/>
              <a:gd name="connsiteX4296" fmla="*/ 4277802 w 5610835"/>
              <a:gd name="connsiteY4296" fmla="*/ 1798998 h 5278114"/>
              <a:gd name="connsiteX4297" fmla="*/ 4196674 w 5610835"/>
              <a:gd name="connsiteY4297" fmla="*/ 1794224 h 5278114"/>
              <a:gd name="connsiteX4298" fmla="*/ 1312675 w 5610835"/>
              <a:gd name="connsiteY4298" fmla="*/ 1792573 h 5278114"/>
              <a:gd name="connsiteX4299" fmla="*/ 1311289 w 5610835"/>
              <a:gd name="connsiteY4299" fmla="*/ 1792894 h 5278114"/>
              <a:gd name="connsiteX4300" fmla="*/ 1311264 w 5610835"/>
              <a:gd name="connsiteY4300" fmla="*/ 1792668 h 5278114"/>
              <a:gd name="connsiteX4301" fmla="*/ 1945785 w 5610835"/>
              <a:gd name="connsiteY4301" fmla="*/ 1783047 h 5278114"/>
              <a:gd name="connsiteX4302" fmla="*/ 1948966 w 5610835"/>
              <a:gd name="connsiteY4302" fmla="*/ 1786229 h 5278114"/>
              <a:gd name="connsiteX4303" fmla="*/ 1944195 w 5610835"/>
              <a:gd name="connsiteY4303" fmla="*/ 1789411 h 5278114"/>
              <a:gd name="connsiteX4304" fmla="*/ 1941013 w 5610835"/>
              <a:gd name="connsiteY4304" fmla="*/ 1786229 h 5278114"/>
              <a:gd name="connsiteX4305" fmla="*/ 1769214 w 5610835"/>
              <a:gd name="connsiteY4305" fmla="*/ 1779871 h 5278114"/>
              <a:gd name="connsiteX4306" fmla="*/ 1775577 w 5610835"/>
              <a:gd name="connsiteY4306" fmla="*/ 1781462 h 5278114"/>
              <a:gd name="connsiteX4307" fmla="*/ 1770805 w 5610835"/>
              <a:gd name="connsiteY4307" fmla="*/ 1784645 h 5278114"/>
              <a:gd name="connsiteX4308" fmla="*/ 1882156 w 5610835"/>
              <a:gd name="connsiteY4308" fmla="*/ 1779868 h 5278114"/>
              <a:gd name="connsiteX4309" fmla="*/ 1886928 w 5610835"/>
              <a:gd name="connsiteY4309" fmla="*/ 1784642 h 5278114"/>
              <a:gd name="connsiteX4310" fmla="*/ 1882156 w 5610835"/>
              <a:gd name="connsiteY4310" fmla="*/ 1784642 h 5278114"/>
              <a:gd name="connsiteX4311" fmla="*/ 2046003 w 5610835"/>
              <a:gd name="connsiteY4311" fmla="*/ 1778279 h 5278114"/>
              <a:gd name="connsiteX4312" fmla="*/ 2049184 w 5610835"/>
              <a:gd name="connsiteY4312" fmla="*/ 1784643 h 5278114"/>
              <a:gd name="connsiteX4313" fmla="*/ 2049184 w 5610835"/>
              <a:gd name="connsiteY4313" fmla="*/ 1791008 h 5278114"/>
              <a:gd name="connsiteX4314" fmla="*/ 2057137 w 5610835"/>
              <a:gd name="connsiteY4314" fmla="*/ 1791008 h 5278114"/>
              <a:gd name="connsiteX4315" fmla="*/ 2057137 w 5610835"/>
              <a:gd name="connsiteY4315" fmla="*/ 1802145 h 5278114"/>
              <a:gd name="connsiteX4316" fmla="*/ 2044411 w 5610835"/>
              <a:gd name="connsiteY4316" fmla="*/ 1802145 h 5278114"/>
              <a:gd name="connsiteX4317" fmla="*/ 2044411 w 5610835"/>
              <a:gd name="connsiteY4317" fmla="*/ 1791008 h 5278114"/>
              <a:gd name="connsiteX4318" fmla="*/ 2036457 w 5610835"/>
              <a:gd name="connsiteY4318" fmla="*/ 1791008 h 5278114"/>
              <a:gd name="connsiteX4319" fmla="*/ 2046003 w 5610835"/>
              <a:gd name="connsiteY4319" fmla="*/ 1778279 h 5278114"/>
              <a:gd name="connsiteX4320" fmla="*/ 1901247 w 5610835"/>
              <a:gd name="connsiteY4320" fmla="*/ 1775095 h 5278114"/>
              <a:gd name="connsiteX4321" fmla="*/ 1907609 w 5610835"/>
              <a:gd name="connsiteY4321" fmla="*/ 1779868 h 5278114"/>
              <a:gd name="connsiteX4322" fmla="*/ 1901247 w 5610835"/>
              <a:gd name="connsiteY4322" fmla="*/ 1779868 h 5278114"/>
              <a:gd name="connsiteX4323" fmla="*/ 1982373 w 5610835"/>
              <a:gd name="connsiteY4323" fmla="*/ 1773500 h 5278114"/>
              <a:gd name="connsiteX4324" fmla="*/ 1987145 w 5610835"/>
              <a:gd name="connsiteY4324" fmla="*/ 1773500 h 5278114"/>
              <a:gd name="connsiteX4325" fmla="*/ 1983964 w 5610835"/>
              <a:gd name="connsiteY4325" fmla="*/ 1776685 h 5278114"/>
              <a:gd name="connsiteX4326" fmla="*/ 1982373 w 5610835"/>
              <a:gd name="connsiteY4326" fmla="*/ 1773500 h 5278114"/>
              <a:gd name="connsiteX4327" fmla="*/ 1737399 w 5610835"/>
              <a:gd name="connsiteY4327" fmla="*/ 1770325 h 5278114"/>
              <a:gd name="connsiteX4328" fmla="*/ 1745353 w 5610835"/>
              <a:gd name="connsiteY4328" fmla="*/ 1778282 h 5278114"/>
              <a:gd name="connsiteX4329" fmla="*/ 1737399 w 5610835"/>
              <a:gd name="connsiteY4329" fmla="*/ 1778282 h 5278114"/>
              <a:gd name="connsiteX4330" fmla="*/ 1936241 w 5610835"/>
              <a:gd name="connsiteY4330" fmla="*/ 1767136 h 5278114"/>
              <a:gd name="connsiteX4331" fmla="*/ 1944195 w 5610835"/>
              <a:gd name="connsiteY4331" fmla="*/ 1770318 h 5278114"/>
              <a:gd name="connsiteX4332" fmla="*/ 1933060 w 5610835"/>
              <a:gd name="connsiteY4332" fmla="*/ 1771909 h 5278114"/>
              <a:gd name="connsiteX4333" fmla="*/ 1912381 w 5610835"/>
              <a:gd name="connsiteY4333" fmla="*/ 1762362 h 5278114"/>
              <a:gd name="connsiteX4334" fmla="*/ 1917153 w 5610835"/>
              <a:gd name="connsiteY4334" fmla="*/ 1767136 h 5278114"/>
              <a:gd name="connsiteX4335" fmla="*/ 1910790 w 5610835"/>
              <a:gd name="connsiteY4335" fmla="*/ 1767136 h 5278114"/>
              <a:gd name="connsiteX4336" fmla="*/ 1987144 w 5610835"/>
              <a:gd name="connsiteY4336" fmla="*/ 1759184 h 5278114"/>
              <a:gd name="connsiteX4337" fmla="*/ 1991916 w 5610835"/>
              <a:gd name="connsiteY4337" fmla="*/ 1760777 h 5278114"/>
              <a:gd name="connsiteX4338" fmla="*/ 2003052 w 5610835"/>
              <a:gd name="connsiteY4338" fmla="*/ 1784643 h 5278114"/>
              <a:gd name="connsiteX4339" fmla="*/ 2001461 w 5610835"/>
              <a:gd name="connsiteY4339" fmla="*/ 1783052 h 5278114"/>
              <a:gd name="connsiteX4340" fmla="*/ 1993507 w 5610835"/>
              <a:gd name="connsiteY4340" fmla="*/ 1787825 h 5278114"/>
              <a:gd name="connsiteX4341" fmla="*/ 1996689 w 5610835"/>
              <a:gd name="connsiteY4341" fmla="*/ 1783052 h 5278114"/>
              <a:gd name="connsiteX4342" fmla="*/ 1988736 w 5610835"/>
              <a:gd name="connsiteY4342" fmla="*/ 1768733 h 5278114"/>
              <a:gd name="connsiteX4343" fmla="*/ 1991916 w 5610835"/>
              <a:gd name="connsiteY4343" fmla="*/ 1763957 h 5278114"/>
              <a:gd name="connsiteX4344" fmla="*/ 1987144 w 5610835"/>
              <a:gd name="connsiteY4344" fmla="*/ 1763957 h 5278114"/>
              <a:gd name="connsiteX4345" fmla="*/ 4078960 w 5610835"/>
              <a:gd name="connsiteY4345" fmla="*/ 1757624 h 5278114"/>
              <a:gd name="connsiteX4346" fmla="*/ 4072597 w 5610835"/>
              <a:gd name="connsiteY4346" fmla="*/ 1765580 h 5278114"/>
              <a:gd name="connsiteX4347" fmla="*/ 4171223 w 5610835"/>
              <a:gd name="connsiteY4347" fmla="*/ 1794224 h 5278114"/>
              <a:gd name="connsiteX4348" fmla="*/ 4183948 w 5610835"/>
              <a:gd name="connsiteY4348" fmla="*/ 1787858 h 5278114"/>
              <a:gd name="connsiteX4349" fmla="*/ 4078960 w 5610835"/>
              <a:gd name="connsiteY4349" fmla="*/ 1757624 h 5278114"/>
              <a:gd name="connsiteX4350" fmla="*/ 1883747 w 5610835"/>
              <a:gd name="connsiteY4350" fmla="*/ 1756000 h 5278114"/>
              <a:gd name="connsiteX4351" fmla="*/ 1883747 w 5610835"/>
              <a:gd name="connsiteY4351" fmla="*/ 1762364 h 5278114"/>
              <a:gd name="connsiteX4352" fmla="*/ 1878975 w 5610835"/>
              <a:gd name="connsiteY4352" fmla="*/ 1757591 h 5278114"/>
              <a:gd name="connsiteX4353" fmla="*/ 1874202 w 5610835"/>
              <a:gd name="connsiteY4353" fmla="*/ 1756000 h 5278114"/>
              <a:gd name="connsiteX4354" fmla="*/ 1878975 w 5610835"/>
              <a:gd name="connsiteY4354" fmla="*/ 1757593 h 5278114"/>
              <a:gd name="connsiteX4355" fmla="*/ 1875793 w 5610835"/>
              <a:gd name="connsiteY4355" fmla="*/ 1762366 h 5278114"/>
              <a:gd name="connsiteX4356" fmla="*/ 1871021 w 5610835"/>
              <a:gd name="connsiteY4356" fmla="*/ 1759182 h 5278114"/>
              <a:gd name="connsiteX4357" fmla="*/ 1894882 w 5610835"/>
              <a:gd name="connsiteY4357" fmla="*/ 1755998 h 5278114"/>
              <a:gd name="connsiteX4358" fmla="*/ 1891701 w 5610835"/>
              <a:gd name="connsiteY4358" fmla="*/ 1762362 h 5278114"/>
              <a:gd name="connsiteX4359" fmla="*/ 1885337 w 5610835"/>
              <a:gd name="connsiteY4359" fmla="*/ 1759181 h 5278114"/>
              <a:gd name="connsiteX4360" fmla="*/ 2033275 w 5610835"/>
              <a:gd name="connsiteY4360" fmla="*/ 1755988 h 5278114"/>
              <a:gd name="connsiteX4361" fmla="*/ 2038048 w 5610835"/>
              <a:gd name="connsiteY4361" fmla="*/ 1759170 h 5278114"/>
              <a:gd name="connsiteX4362" fmla="*/ 2030095 w 5610835"/>
              <a:gd name="connsiteY4362" fmla="*/ 1765534 h 5278114"/>
              <a:gd name="connsiteX4363" fmla="*/ 2026913 w 5610835"/>
              <a:gd name="connsiteY4363" fmla="*/ 1760762 h 5278114"/>
              <a:gd name="connsiteX4364" fmla="*/ 2033275 w 5610835"/>
              <a:gd name="connsiteY4364" fmla="*/ 1760762 h 5278114"/>
              <a:gd name="connsiteX4365" fmla="*/ 1716719 w 5610835"/>
              <a:gd name="connsiteY4365" fmla="*/ 1754414 h 5278114"/>
              <a:gd name="connsiteX4366" fmla="*/ 1729447 w 5610835"/>
              <a:gd name="connsiteY4366" fmla="*/ 1757596 h 5278114"/>
              <a:gd name="connsiteX4367" fmla="*/ 1723083 w 5610835"/>
              <a:gd name="connsiteY4367" fmla="*/ 1760779 h 5278114"/>
              <a:gd name="connsiteX4368" fmla="*/ 1727855 w 5610835"/>
              <a:gd name="connsiteY4368" fmla="*/ 1760779 h 5278114"/>
              <a:gd name="connsiteX4369" fmla="*/ 1727855 w 5610835"/>
              <a:gd name="connsiteY4369" fmla="*/ 1767143 h 5278114"/>
              <a:gd name="connsiteX4370" fmla="*/ 1710356 w 5610835"/>
              <a:gd name="connsiteY4370" fmla="*/ 1776691 h 5278114"/>
              <a:gd name="connsiteX4371" fmla="*/ 1713538 w 5610835"/>
              <a:gd name="connsiteY4371" fmla="*/ 1771918 h 5278114"/>
              <a:gd name="connsiteX4372" fmla="*/ 1708766 w 5610835"/>
              <a:gd name="connsiteY4372" fmla="*/ 1770327 h 5278114"/>
              <a:gd name="connsiteX4373" fmla="*/ 1705585 w 5610835"/>
              <a:gd name="connsiteY4373" fmla="*/ 1767143 h 5278114"/>
              <a:gd name="connsiteX4374" fmla="*/ 1708766 w 5610835"/>
              <a:gd name="connsiteY4374" fmla="*/ 1757596 h 5278114"/>
              <a:gd name="connsiteX4375" fmla="*/ 1840797 w 5610835"/>
              <a:gd name="connsiteY4375" fmla="*/ 1754407 h 5278114"/>
              <a:gd name="connsiteX4376" fmla="*/ 1840797 w 5610835"/>
              <a:gd name="connsiteY4376" fmla="*/ 1767134 h 5278114"/>
              <a:gd name="connsiteX4377" fmla="*/ 1834434 w 5610835"/>
              <a:gd name="connsiteY4377" fmla="*/ 1760770 h 5278114"/>
              <a:gd name="connsiteX4378" fmla="*/ 1921925 w 5610835"/>
              <a:gd name="connsiteY4378" fmla="*/ 1752816 h 5278114"/>
              <a:gd name="connsiteX4379" fmla="*/ 1931469 w 5610835"/>
              <a:gd name="connsiteY4379" fmla="*/ 1759181 h 5278114"/>
              <a:gd name="connsiteX4380" fmla="*/ 1928287 w 5610835"/>
              <a:gd name="connsiteY4380" fmla="*/ 1760771 h 5278114"/>
              <a:gd name="connsiteX4381" fmla="*/ 1921925 w 5610835"/>
              <a:gd name="connsiteY4381" fmla="*/ 1752816 h 5278114"/>
              <a:gd name="connsiteX4382" fmla="*/ 1971237 w 5610835"/>
              <a:gd name="connsiteY4382" fmla="*/ 1751225 h 5278114"/>
              <a:gd name="connsiteX4383" fmla="*/ 1976009 w 5610835"/>
              <a:gd name="connsiteY4383" fmla="*/ 1752816 h 5278114"/>
              <a:gd name="connsiteX4384" fmla="*/ 1971237 w 5610835"/>
              <a:gd name="connsiteY4384" fmla="*/ 1755998 h 5278114"/>
              <a:gd name="connsiteX4385" fmla="*/ 1855114 w 5610835"/>
              <a:gd name="connsiteY4385" fmla="*/ 1751219 h 5278114"/>
              <a:gd name="connsiteX4386" fmla="*/ 1869431 w 5610835"/>
              <a:gd name="connsiteY4386" fmla="*/ 1752811 h 5278114"/>
              <a:gd name="connsiteX4387" fmla="*/ 1867840 w 5610835"/>
              <a:gd name="connsiteY4387" fmla="*/ 1757582 h 5278114"/>
              <a:gd name="connsiteX4388" fmla="*/ 1855114 w 5610835"/>
              <a:gd name="connsiteY4388" fmla="*/ 1752811 h 5278114"/>
              <a:gd name="connsiteX4389" fmla="*/ 4405061 w 5610835"/>
              <a:gd name="connsiteY4389" fmla="*/ 1749669 h 5278114"/>
              <a:gd name="connsiteX4390" fmla="*/ 4392334 w 5610835"/>
              <a:gd name="connsiteY4390" fmla="*/ 1757628 h 5278114"/>
              <a:gd name="connsiteX4391" fmla="*/ 4378017 w 5610835"/>
              <a:gd name="connsiteY4391" fmla="*/ 1765580 h 5278114"/>
              <a:gd name="connsiteX4392" fmla="*/ 4382791 w 5610835"/>
              <a:gd name="connsiteY4392" fmla="*/ 1757628 h 5278114"/>
              <a:gd name="connsiteX4393" fmla="*/ 4405061 w 5610835"/>
              <a:gd name="connsiteY4393" fmla="*/ 1749669 h 5278114"/>
              <a:gd name="connsiteX4394" fmla="*/ 1912381 w 5610835"/>
              <a:gd name="connsiteY4394" fmla="*/ 1748043 h 5278114"/>
              <a:gd name="connsiteX4395" fmla="*/ 1917153 w 5610835"/>
              <a:gd name="connsiteY4395" fmla="*/ 1752816 h 5278114"/>
              <a:gd name="connsiteX4396" fmla="*/ 1910790 w 5610835"/>
              <a:gd name="connsiteY4396" fmla="*/ 1755998 h 5278114"/>
              <a:gd name="connsiteX4397" fmla="*/ 1985554 w 5610835"/>
              <a:gd name="connsiteY4397" fmla="*/ 1746453 h 5278114"/>
              <a:gd name="connsiteX4398" fmla="*/ 1987144 w 5610835"/>
              <a:gd name="connsiteY4398" fmla="*/ 1749634 h 5278114"/>
              <a:gd name="connsiteX4399" fmla="*/ 1982372 w 5610835"/>
              <a:gd name="connsiteY4399" fmla="*/ 1760773 h 5278114"/>
              <a:gd name="connsiteX4400" fmla="*/ 1979190 w 5610835"/>
              <a:gd name="connsiteY4400" fmla="*/ 1754409 h 5278114"/>
              <a:gd name="connsiteX4401" fmla="*/ 1976009 w 5610835"/>
              <a:gd name="connsiteY4401" fmla="*/ 1752818 h 5278114"/>
              <a:gd name="connsiteX4402" fmla="*/ 1894883 w 5610835"/>
              <a:gd name="connsiteY4402" fmla="*/ 1746453 h 5278114"/>
              <a:gd name="connsiteX4403" fmla="*/ 1899655 w 5610835"/>
              <a:gd name="connsiteY4403" fmla="*/ 1751227 h 5278114"/>
              <a:gd name="connsiteX4404" fmla="*/ 1893292 w 5610835"/>
              <a:gd name="connsiteY4404" fmla="*/ 1754409 h 5278114"/>
              <a:gd name="connsiteX4405" fmla="*/ 1874202 w 5610835"/>
              <a:gd name="connsiteY4405" fmla="*/ 1746452 h 5278114"/>
              <a:gd name="connsiteX4406" fmla="*/ 1886928 w 5610835"/>
              <a:gd name="connsiteY4406" fmla="*/ 1746452 h 5278114"/>
              <a:gd name="connsiteX4407" fmla="*/ 1883747 w 5610835"/>
              <a:gd name="connsiteY4407" fmla="*/ 1751224 h 5278114"/>
              <a:gd name="connsiteX4408" fmla="*/ 1737400 w 5610835"/>
              <a:gd name="connsiteY4408" fmla="*/ 1744866 h 5278114"/>
              <a:gd name="connsiteX4409" fmla="*/ 1742173 w 5610835"/>
              <a:gd name="connsiteY4409" fmla="*/ 1746458 h 5278114"/>
              <a:gd name="connsiteX4410" fmla="*/ 1740582 w 5610835"/>
              <a:gd name="connsiteY4410" fmla="*/ 1751230 h 5278114"/>
              <a:gd name="connsiteX4411" fmla="*/ 1753307 w 5610835"/>
              <a:gd name="connsiteY4411" fmla="*/ 1751230 h 5278114"/>
              <a:gd name="connsiteX4412" fmla="*/ 1750125 w 5610835"/>
              <a:gd name="connsiteY4412" fmla="*/ 1759186 h 5278114"/>
              <a:gd name="connsiteX4413" fmla="*/ 1746943 w 5610835"/>
              <a:gd name="connsiteY4413" fmla="*/ 1757595 h 5278114"/>
              <a:gd name="connsiteX4414" fmla="*/ 1740581 w 5610835"/>
              <a:gd name="connsiteY4414" fmla="*/ 1751232 h 5278114"/>
              <a:gd name="connsiteX4415" fmla="*/ 1923515 w 5610835"/>
              <a:gd name="connsiteY4415" fmla="*/ 1741679 h 5278114"/>
              <a:gd name="connsiteX4416" fmla="*/ 1926697 w 5610835"/>
              <a:gd name="connsiteY4416" fmla="*/ 1749634 h 5278114"/>
              <a:gd name="connsiteX4417" fmla="*/ 1913971 w 5610835"/>
              <a:gd name="connsiteY4417" fmla="*/ 1746452 h 5278114"/>
              <a:gd name="connsiteX4418" fmla="*/ 1874202 w 5610835"/>
              <a:gd name="connsiteY4418" fmla="*/ 1741679 h 5278114"/>
              <a:gd name="connsiteX4419" fmla="*/ 1874998 w 5610835"/>
              <a:gd name="connsiteY4419" fmla="*/ 1742076 h 5278114"/>
              <a:gd name="connsiteX4420" fmla="*/ 1872612 w 5610835"/>
              <a:gd name="connsiteY4420" fmla="*/ 1743270 h 5278114"/>
              <a:gd name="connsiteX4421" fmla="*/ 1872368 w 5610835"/>
              <a:gd name="connsiteY4421" fmla="*/ 1742289 h 5278114"/>
              <a:gd name="connsiteX4422" fmla="*/ 1883747 w 5610835"/>
              <a:gd name="connsiteY4422" fmla="*/ 1741676 h 5278114"/>
              <a:gd name="connsiteX4423" fmla="*/ 1891701 w 5610835"/>
              <a:gd name="connsiteY4423" fmla="*/ 1741676 h 5278114"/>
              <a:gd name="connsiteX4424" fmla="*/ 1886928 w 5610835"/>
              <a:gd name="connsiteY4424" fmla="*/ 1746450 h 5278114"/>
              <a:gd name="connsiteX4425" fmla="*/ 2018960 w 5610835"/>
              <a:gd name="connsiteY4425" fmla="*/ 1735307 h 5278114"/>
              <a:gd name="connsiteX4426" fmla="*/ 2022142 w 5610835"/>
              <a:gd name="connsiteY4426" fmla="*/ 1740079 h 5278114"/>
              <a:gd name="connsiteX4427" fmla="*/ 2018960 w 5610835"/>
              <a:gd name="connsiteY4427" fmla="*/ 1744852 h 5278114"/>
              <a:gd name="connsiteX4428" fmla="*/ 2009414 w 5610835"/>
              <a:gd name="connsiteY4428" fmla="*/ 1744852 h 5278114"/>
              <a:gd name="connsiteX4429" fmla="*/ 2006233 w 5610835"/>
              <a:gd name="connsiteY4429" fmla="*/ 1738490 h 5278114"/>
              <a:gd name="connsiteX4430" fmla="*/ 2014187 w 5610835"/>
              <a:gd name="connsiteY4430" fmla="*/ 1740079 h 5278114"/>
              <a:gd name="connsiteX4431" fmla="*/ 1978432 w 5610835"/>
              <a:gd name="connsiteY4431" fmla="*/ 1730218 h 5278114"/>
              <a:gd name="connsiteX4432" fmla="*/ 1980782 w 5610835"/>
              <a:gd name="connsiteY4432" fmla="*/ 1735314 h 5278114"/>
              <a:gd name="connsiteX4433" fmla="*/ 1979192 w 5610835"/>
              <a:gd name="connsiteY4433" fmla="*/ 1736905 h 5278114"/>
              <a:gd name="connsiteX4434" fmla="*/ 1976806 w 5610835"/>
              <a:gd name="connsiteY4434" fmla="*/ 1732927 h 5278114"/>
              <a:gd name="connsiteX4435" fmla="*/ 1810572 w 5610835"/>
              <a:gd name="connsiteY4435" fmla="*/ 1728952 h 5278114"/>
              <a:gd name="connsiteX4436" fmla="*/ 1815345 w 5610835"/>
              <a:gd name="connsiteY4436" fmla="*/ 1733724 h 5278114"/>
              <a:gd name="connsiteX4437" fmla="*/ 1821709 w 5610835"/>
              <a:gd name="connsiteY4437" fmla="*/ 1740089 h 5278114"/>
              <a:gd name="connsiteX4438" fmla="*/ 1818528 w 5610835"/>
              <a:gd name="connsiteY4438" fmla="*/ 1740089 h 5278114"/>
              <a:gd name="connsiteX4439" fmla="*/ 1818528 w 5610835"/>
              <a:gd name="connsiteY4439" fmla="*/ 1735316 h 5278114"/>
              <a:gd name="connsiteX4440" fmla="*/ 1808982 w 5610835"/>
              <a:gd name="connsiteY4440" fmla="*/ 1736907 h 5278114"/>
              <a:gd name="connsiteX4441" fmla="*/ 1805800 w 5610835"/>
              <a:gd name="connsiteY4441" fmla="*/ 1733724 h 5278114"/>
              <a:gd name="connsiteX4442" fmla="*/ 1810572 w 5610835"/>
              <a:gd name="connsiteY4442" fmla="*/ 1733724 h 5278114"/>
              <a:gd name="connsiteX4443" fmla="*/ 1977247 w 5610835"/>
              <a:gd name="connsiteY4443" fmla="*/ 1727653 h 5278114"/>
              <a:gd name="connsiteX4444" fmla="*/ 1979192 w 5610835"/>
              <a:gd name="connsiteY4444" fmla="*/ 1728950 h 5278114"/>
              <a:gd name="connsiteX4445" fmla="*/ 1978432 w 5610835"/>
              <a:gd name="connsiteY4445" fmla="*/ 1730218 h 5278114"/>
              <a:gd name="connsiteX4446" fmla="*/ 1753307 w 5610835"/>
              <a:gd name="connsiteY4446" fmla="*/ 1727362 h 5278114"/>
              <a:gd name="connsiteX4447" fmla="*/ 1756489 w 5610835"/>
              <a:gd name="connsiteY4447" fmla="*/ 1727362 h 5278114"/>
              <a:gd name="connsiteX4448" fmla="*/ 1762852 w 5610835"/>
              <a:gd name="connsiteY4448" fmla="*/ 1730546 h 5278114"/>
              <a:gd name="connsiteX4449" fmla="*/ 1753307 w 5610835"/>
              <a:gd name="connsiteY4449" fmla="*/ 1728953 h 5278114"/>
              <a:gd name="connsiteX4450" fmla="*/ 1781941 w 5610835"/>
              <a:gd name="connsiteY4450" fmla="*/ 1727360 h 5278114"/>
              <a:gd name="connsiteX4451" fmla="*/ 1786713 w 5610835"/>
              <a:gd name="connsiteY4451" fmla="*/ 1727360 h 5278114"/>
              <a:gd name="connsiteX4452" fmla="*/ 1786713 w 5610835"/>
              <a:gd name="connsiteY4452" fmla="*/ 1730543 h 5278114"/>
              <a:gd name="connsiteX4453" fmla="*/ 1781941 w 5610835"/>
              <a:gd name="connsiteY4453" fmla="*/ 1727360 h 5278114"/>
              <a:gd name="connsiteX4454" fmla="*/ 1847160 w 5610835"/>
              <a:gd name="connsiteY4454" fmla="*/ 1725764 h 5278114"/>
              <a:gd name="connsiteX4455" fmla="*/ 1855114 w 5610835"/>
              <a:gd name="connsiteY4455" fmla="*/ 1735310 h 5278114"/>
              <a:gd name="connsiteX4456" fmla="*/ 1842388 w 5610835"/>
              <a:gd name="connsiteY4456" fmla="*/ 1735310 h 5278114"/>
              <a:gd name="connsiteX4457" fmla="*/ 1847160 w 5610835"/>
              <a:gd name="connsiteY4457" fmla="*/ 1732128 h 5278114"/>
              <a:gd name="connsiteX4458" fmla="*/ 1847160 w 5610835"/>
              <a:gd name="connsiteY4458" fmla="*/ 1727355 h 5278114"/>
              <a:gd name="connsiteX4459" fmla="*/ 1839206 w 5610835"/>
              <a:gd name="connsiteY4459" fmla="*/ 1724175 h 5278114"/>
              <a:gd name="connsiteX4460" fmla="*/ 1847160 w 5610835"/>
              <a:gd name="connsiteY4460" fmla="*/ 1727355 h 5278114"/>
              <a:gd name="connsiteX4461" fmla="*/ 1842387 w 5610835"/>
              <a:gd name="connsiteY4461" fmla="*/ 1728946 h 5278114"/>
              <a:gd name="connsiteX4462" fmla="*/ 1975289 w 5610835"/>
              <a:gd name="connsiteY4462" fmla="*/ 1723408 h 5278114"/>
              <a:gd name="connsiteX4463" fmla="*/ 1977247 w 5610835"/>
              <a:gd name="connsiteY4463" fmla="*/ 1727653 h 5278114"/>
              <a:gd name="connsiteX4464" fmla="*/ 1974419 w 5610835"/>
              <a:gd name="connsiteY4464" fmla="*/ 1725767 h 5278114"/>
              <a:gd name="connsiteX4465" fmla="*/ 1664228 w 5610835"/>
              <a:gd name="connsiteY4465" fmla="*/ 1722590 h 5278114"/>
              <a:gd name="connsiteX4466" fmla="*/ 1668999 w 5610835"/>
              <a:gd name="connsiteY4466" fmla="*/ 1725773 h 5278114"/>
              <a:gd name="connsiteX4467" fmla="*/ 1662636 w 5610835"/>
              <a:gd name="connsiteY4467" fmla="*/ 1727364 h 5278114"/>
              <a:gd name="connsiteX4468" fmla="*/ 1971238 w 5610835"/>
              <a:gd name="connsiteY4468" fmla="*/ 1722586 h 5278114"/>
              <a:gd name="connsiteX4469" fmla="*/ 1971238 w 5610835"/>
              <a:gd name="connsiteY4469" fmla="*/ 1728950 h 5278114"/>
              <a:gd name="connsiteX4470" fmla="*/ 1974419 w 5610835"/>
              <a:gd name="connsiteY4470" fmla="*/ 1733723 h 5278114"/>
              <a:gd name="connsiteX4471" fmla="*/ 1974419 w 5610835"/>
              <a:gd name="connsiteY4471" fmla="*/ 1738496 h 5278114"/>
              <a:gd name="connsiteX4472" fmla="*/ 1966466 w 5610835"/>
              <a:gd name="connsiteY4472" fmla="*/ 1748043 h 5278114"/>
              <a:gd name="connsiteX4473" fmla="*/ 1964875 w 5610835"/>
              <a:gd name="connsiteY4473" fmla="*/ 1744861 h 5278114"/>
              <a:gd name="connsiteX4474" fmla="*/ 1972828 w 5610835"/>
              <a:gd name="connsiteY4474" fmla="*/ 1736905 h 5278114"/>
              <a:gd name="connsiteX4475" fmla="*/ 1964875 w 5610835"/>
              <a:gd name="connsiteY4475" fmla="*/ 1733723 h 5278114"/>
              <a:gd name="connsiteX4476" fmla="*/ 1956921 w 5610835"/>
              <a:gd name="connsiteY4476" fmla="*/ 1744861 h 5278114"/>
              <a:gd name="connsiteX4477" fmla="*/ 1961694 w 5610835"/>
              <a:gd name="connsiteY4477" fmla="*/ 1741679 h 5278114"/>
              <a:gd name="connsiteX4478" fmla="*/ 1956921 w 5610835"/>
              <a:gd name="connsiteY4478" fmla="*/ 1752814 h 5278114"/>
              <a:gd name="connsiteX4479" fmla="*/ 1952149 w 5610835"/>
              <a:gd name="connsiteY4479" fmla="*/ 1749633 h 5278114"/>
              <a:gd name="connsiteX4480" fmla="*/ 1947377 w 5610835"/>
              <a:gd name="connsiteY4480" fmla="*/ 1754405 h 5278114"/>
              <a:gd name="connsiteX4481" fmla="*/ 1944195 w 5610835"/>
              <a:gd name="connsiteY4481" fmla="*/ 1751224 h 5278114"/>
              <a:gd name="connsiteX4482" fmla="*/ 1948967 w 5610835"/>
              <a:gd name="connsiteY4482" fmla="*/ 1746452 h 5278114"/>
              <a:gd name="connsiteX4483" fmla="*/ 1947377 w 5610835"/>
              <a:gd name="connsiteY4483" fmla="*/ 1743270 h 5278114"/>
              <a:gd name="connsiteX4484" fmla="*/ 1953740 w 5610835"/>
              <a:gd name="connsiteY4484" fmla="*/ 1738496 h 5278114"/>
              <a:gd name="connsiteX4485" fmla="*/ 1950558 w 5610835"/>
              <a:gd name="connsiteY4485" fmla="*/ 1736905 h 5278114"/>
              <a:gd name="connsiteX4486" fmla="*/ 1944195 w 5610835"/>
              <a:gd name="connsiteY4486" fmla="*/ 1741679 h 5278114"/>
              <a:gd name="connsiteX4487" fmla="*/ 1944195 w 5610835"/>
              <a:gd name="connsiteY4487" fmla="*/ 1735314 h 5278114"/>
              <a:gd name="connsiteX4488" fmla="*/ 1936242 w 5610835"/>
              <a:gd name="connsiteY4488" fmla="*/ 1730541 h 5278114"/>
              <a:gd name="connsiteX4489" fmla="*/ 1931470 w 5610835"/>
              <a:gd name="connsiteY4489" fmla="*/ 1730541 h 5278114"/>
              <a:gd name="connsiteX4490" fmla="*/ 1934651 w 5610835"/>
              <a:gd name="connsiteY4490" fmla="*/ 1725767 h 5278114"/>
              <a:gd name="connsiteX4491" fmla="*/ 1944195 w 5610835"/>
              <a:gd name="connsiteY4491" fmla="*/ 1727358 h 5278114"/>
              <a:gd name="connsiteX4492" fmla="*/ 1948967 w 5610835"/>
              <a:gd name="connsiteY4492" fmla="*/ 1724176 h 5278114"/>
              <a:gd name="connsiteX4493" fmla="*/ 1952149 w 5610835"/>
              <a:gd name="connsiteY4493" fmla="*/ 1725767 h 5278114"/>
              <a:gd name="connsiteX4494" fmla="*/ 1947377 w 5610835"/>
              <a:gd name="connsiteY4494" fmla="*/ 1732132 h 5278114"/>
              <a:gd name="connsiteX4495" fmla="*/ 1955331 w 5610835"/>
              <a:gd name="connsiteY4495" fmla="*/ 1728950 h 5278114"/>
              <a:gd name="connsiteX4496" fmla="*/ 1961694 w 5610835"/>
              <a:gd name="connsiteY4496" fmla="*/ 1730541 h 5278114"/>
              <a:gd name="connsiteX4497" fmla="*/ 1963019 w 5610835"/>
              <a:gd name="connsiteY4497" fmla="*/ 1723911 h 5278114"/>
              <a:gd name="connsiteX4498" fmla="*/ 1963285 w 5610835"/>
              <a:gd name="connsiteY4498" fmla="*/ 1724176 h 5278114"/>
              <a:gd name="connsiteX4499" fmla="*/ 1964152 w 5610835"/>
              <a:gd name="connsiteY4499" fmla="*/ 1722875 h 5278114"/>
              <a:gd name="connsiteX4500" fmla="*/ 1968057 w 5610835"/>
              <a:gd name="connsiteY4500" fmla="*/ 1724176 h 5278114"/>
              <a:gd name="connsiteX4501" fmla="*/ 1948437 w 5610835"/>
              <a:gd name="connsiteY4501" fmla="*/ 1722586 h 5278114"/>
              <a:gd name="connsiteX4502" fmla="*/ 1950558 w 5610835"/>
              <a:gd name="connsiteY4502" fmla="*/ 1722586 h 5278114"/>
              <a:gd name="connsiteX4503" fmla="*/ 1951391 w 5610835"/>
              <a:gd name="connsiteY4503" fmla="*/ 1722616 h 5278114"/>
              <a:gd name="connsiteX4504" fmla="*/ 1948967 w 5610835"/>
              <a:gd name="connsiteY4504" fmla="*/ 1724176 h 5278114"/>
              <a:gd name="connsiteX4505" fmla="*/ 1974218 w 5610835"/>
              <a:gd name="connsiteY4505" fmla="*/ 1721088 h 5278114"/>
              <a:gd name="connsiteX4506" fmla="*/ 1975811 w 5610835"/>
              <a:gd name="connsiteY4506" fmla="*/ 1721988 h 5278114"/>
              <a:gd name="connsiteX4507" fmla="*/ 1975289 w 5610835"/>
              <a:gd name="connsiteY4507" fmla="*/ 1723408 h 5278114"/>
              <a:gd name="connsiteX4508" fmla="*/ 1901245 w 5610835"/>
              <a:gd name="connsiteY4508" fmla="*/ 1719403 h 5278114"/>
              <a:gd name="connsiteX4509" fmla="*/ 1909199 w 5610835"/>
              <a:gd name="connsiteY4509" fmla="*/ 1725767 h 5278114"/>
              <a:gd name="connsiteX4510" fmla="*/ 1839206 w 5610835"/>
              <a:gd name="connsiteY4510" fmla="*/ 1716219 h 5278114"/>
              <a:gd name="connsiteX4511" fmla="*/ 1847160 w 5610835"/>
              <a:gd name="connsiteY4511" fmla="*/ 1716219 h 5278114"/>
              <a:gd name="connsiteX4512" fmla="*/ 1842387 w 5610835"/>
              <a:gd name="connsiteY4512" fmla="*/ 1720992 h 5278114"/>
              <a:gd name="connsiteX4513" fmla="*/ 1936242 w 5610835"/>
              <a:gd name="connsiteY4513" fmla="*/ 1714630 h 5278114"/>
              <a:gd name="connsiteX4514" fmla="*/ 1936242 w 5610835"/>
              <a:gd name="connsiteY4514" fmla="*/ 1722586 h 5278114"/>
              <a:gd name="connsiteX4515" fmla="*/ 1941014 w 5610835"/>
              <a:gd name="connsiteY4515" fmla="*/ 1719403 h 5278114"/>
              <a:gd name="connsiteX4516" fmla="*/ 1826480 w 5610835"/>
              <a:gd name="connsiteY4516" fmla="*/ 1711446 h 5278114"/>
              <a:gd name="connsiteX4517" fmla="*/ 1828071 w 5610835"/>
              <a:gd name="connsiteY4517" fmla="*/ 1719401 h 5278114"/>
              <a:gd name="connsiteX4518" fmla="*/ 1836025 w 5610835"/>
              <a:gd name="connsiteY4518" fmla="*/ 1719401 h 5278114"/>
              <a:gd name="connsiteX4519" fmla="*/ 1831252 w 5610835"/>
              <a:gd name="connsiteY4519" fmla="*/ 1728946 h 5278114"/>
              <a:gd name="connsiteX4520" fmla="*/ 1831252 w 5610835"/>
              <a:gd name="connsiteY4520" fmla="*/ 1722584 h 5278114"/>
              <a:gd name="connsiteX4521" fmla="*/ 1828071 w 5610835"/>
              <a:gd name="connsiteY4521" fmla="*/ 1725764 h 5278114"/>
              <a:gd name="connsiteX4522" fmla="*/ 1823299 w 5610835"/>
              <a:gd name="connsiteY4522" fmla="*/ 1727355 h 5278114"/>
              <a:gd name="connsiteX4523" fmla="*/ 1826480 w 5610835"/>
              <a:gd name="connsiteY4523" fmla="*/ 1722584 h 5278114"/>
              <a:gd name="connsiteX4524" fmla="*/ 1823299 w 5610835"/>
              <a:gd name="connsiteY4524" fmla="*/ 1717810 h 5278114"/>
              <a:gd name="connsiteX4525" fmla="*/ 1797847 w 5610835"/>
              <a:gd name="connsiteY4525" fmla="*/ 1706674 h 5278114"/>
              <a:gd name="connsiteX4526" fmla="*/ 1802618 w 5610835"/>
              <a:gd name="connsiteY4526" fmla="*/ 1713037 h 5278114"/>
              <a:gd name="connsiteX4527" fmla="*/ 1797847 w 5610835"/>
              <a:gd name="connsiteY4527" fmla="*/ 1716219 h 5278114"/>
              <a:gd name="connsiteX4528" fmla="*/ 1797847 w 5610835"/>
              <a:gd name="connsiteY4528" fmla="*/ 1711446 h 5278114"/>
              <a:gd name="connsiteX4529" fmla="*/ 1791484 w 5610835"/>
              <a:gd name="connsiteY4529" fmla="*/ 1711446 h 5278114"/>
              <a:gd name="connsiteX4530" fmla="*/ 1802620 w 5610835"/>
              <a:gd name="connsiteY4530" fmla="*/ 1705083 h 5278114"/>
              <a:gd name="connsiteX4531" fmla="*/ 1807392 w 5610835"/>
              <a:gd name="connsiteY4531" fmla="*/ 1708264 h 5278114"/>
              <a:gd name="connsiteX4532" fmla="*/ 1802620 w 5610835"/>
              <a:gd name="connsiteY4532" fmla="*/ 1708264 h 5278114"/>
              <a:gd name="connsiteX4533" fmla="*/ 1867839 w 5610835"/>
              <a:gd name="connsiteY4533" fmla="*/ 1700312 h 5278114"/>
              <a:gd name="connsiteX4534" fmla="*/ 1872612 w 5610835"/>
              <a:gd name="connsiteY4534" fmla="*/ 1705085 h 5278114"/>
              <a:gd name="connsiteX4535" fmla="*/ 1875793 w 5610835"/>
              <a:gd name="connsiteY4535" fmla="*/ 1709858 h 5278114"/>
              <a:gd name="connsiteX4536" fmla="*/ 1880566 w 5610835"/>
              <a:gd name="connsiteY4536" fmla="*/ 1705085 h 5278114"/>
              <a:gd name="connsiteX4537" fmla="*/ 1872612 w 5610835"/>
              <a:gd name="connsiteY4537" fmla="*/ 1705085 h 5278114"/>
              <a:gd name="connsiteX4538" fmla="*/ 1875793 w 5610835"/>
              <a:gd name="connsiteY4538" fmla="*/ 1700312 h 5278114"/>
              <a:gd name="connsiteX4539" fmla="*/ 1761261 w 5610835"/>
              <a:gd name="connsiteY4539" fmla="*/ 1700312 h 5278114"/>
              <a:gd name="connsiteX4540" fmla="*/ 1767623 w 5610835"/>
              <a:gd name="connsiteY4540" fmla="*/ 1700312 h 5278114"/>
              <a:gd name="connsiteX4541" fmla="*/ 1767623 w 5610835"/>
              <a:gd name="connsiteY4541" fmla="*/ 1705085 h 5278114"/>
              <a:gd name="connsiteX4542" fmla="*/ 1794666 w 5610835"/>
              <a:gd name="connsiteY4542" fmla="*/ 1697128 h 5278114"/>
              <a:gd name="connsiteX4543" fmla="*/ 1802619 w 5610835"/>
              <a:gd name="connsiteY4543" fmla="*/ 1705083 h 5278114"/>
              <a:gd name="connsiteX4544" fmla="*/ 1797847 w 5610835"/>
              <a:gd name="connsiteY4544" fmla="*/ 1706674 h 5278114"/>
              <a:gd name="connsiteX4545" fmla="*/ 32133 w 5610835"/>
              <a:gd name="connsiteY4545" fmla="*/ 1693946 h 5278114"/>
              <a:gd name="connsiteX4546" fmla="*/ 20998 w 5610835"/>
              <a:gd name="connsiteY4546" fmla="*/ 1695537 h 5278114"/>
              <a:gd name="connsiteX4547" fmla="*/ 127577 w 5610835"/>
              <a:gd name="connsiteY4547" fmla="*/ 1789390 h 5278114"/>
              <a:gd name="connsiteX4548" fmla="*/ 32133 w 5610835"/>
              <a:gd name="connsiteY4548" fmla="*/ 1693946 h 5278114"/>
              <a:gd name="connsiteX4549" fmla="*/ 1783703 w 5610835"/>
              <a:gd name="connsiteY4549" fmla="*/ 1693529 h 5278114"/>
              <a:gd name="connsiteX4550" fmla="*/ 1785349 w 5610835"/>
              <a:gd name="connsiteY4550" fmla="*/ 1694819 h 5278114"/>
              <a:gd name="connsiteX4551" fmla="*/ 1785121 w 5610835"/>
              <a:gd name="connsiteY4551" fmla="*/ 1695538 h 5278114"/>
              <a:gd name="connsiteX4552" fmla="*/ 1843978 w 5610835"/>
              <a:gd name="connsiteY4552" fmla="*/ 1690765 h 5278114"/>
              <a:gd name="connsiteX4553" fmla="*/ 1843978 w 5610835"/>
              <a:gd name="connsiteY4553" fmla="*/ 1700312 h 5278114"/>
              <a:gd name="connsiteX4554" fmla="*/ 1851932 w 5610835"/>
              <a:gd name="connsiteY4554" fmla="*/ 1697129 h 5278114"/>
              <a:gd name="connsiteX4555" fmla="*/ 1834434 w 5610835"/>
              <a:gd name="connsiteY4555" fmla="*/ 1684401 h 5278114"/>
              <a:gd name="connsiteX4556" fmla="*/ 1834434 w 5610835"/>
              <a:gd name="connsiteY4556" fmla="*/ 1689174 h 5278114"/>
              <a:gd name="connsiteX4557" fmla="*/ 1842388 w 5610835"/>
              <a:gd name="connsiteY4557" fmla="*/ 1687583 h 5278114"/>
              <a:gd name="connsiteX4558" fmla="*/ 1754897 w 5610835"/>
              <a:gd name="connsiteY4558" fmla="*/ 1681219 h 5278114"/>
              <a:gd name="connsiteX4559" fmla="*/ 1773609 w 5610835"/>
              <a:gd name="connsiteY4559" fmla="*/ 1692734 h 5278114"/>
              <a:gd name="connsiteX4560" fmla="*/ 1773986 w 5610835"/>
              <a:gd name="connsiteY4560" fmla="*/ 1692357 h 5278114"/>
              <a:gd name="connsiteX4561" fmla="*/ 1785122 w 5610835"/>
              <a:gd name="connsiteY4561" fmla="*/ 1698720 h 5278114"/>
              <a:gd name="connsiteX4562" fmla="*/ 1781940 w 5610835"/>
              <a:gd name="connsiteY4562" fmla="*/ 1701903 h 5278114"/>
              <a:gd name="connsiteX4563" fmla="*/ 1791485 w 5610835"/>
              <a:gd name="connsiteY4563" fmla="*/ 1717812 h 5278114"/>
              <a:gd name="connsiteX4564" fmla="*/ 1785122 w 5610835"/>
              <a:gd name="connsiteY4564" fmla="*/ 1720994 h 5278114"/>
              <a:gd name="connsiteX4565" fmla="*/ 1777169 w 5610835"/>
              <a:gd name="connsiteY4565" fmla="*/ 1716223 h 5278114"/>
              <a:gd name="connsiteX4566" fmla="*/ 1777169 w 5610835"/>
              <a:gd name="connsiteY4566" fmla="*/ 1722587 h 5278114"/>
              <a:gd name="connsiteX4567" fmla="*/ 1770804 w 5610835"/>
              <a:gd name="connsiteY4567" fmla="*/ 1717812 h 5278114"/>
              <a:gd name="connsiteX4568" fmla="*/ 1770804 w 5610835"/>
              <a:gd name="connsiteY4568" fmla="*/ 1719403 h 5278114"/>
              <a:gd name="connsiteX4569" fmla="*/ 1766033 w 5610835"/>
              <a:gd name="connsiteY4569" fmla="*/ 1716223 h 5278114"/>
              <a:gd name="connsiteX4570" fmla="*/ 1770804 w 5610835"/>
              <a:gd name="connsiteY4570" fmla="*/ 1711449 h 5278114"/>
              <a:gd name="connsiteX4571" fmla="*/ 1762852 w 5610835"/>
              <a:gd name="connsiteY4571" fmla="*/ 1711449 h 5278114"/>
              <a:gd name="connsiteX4572" fmla="*/ 1762852 w 5610835"/>
              <a:gd name="connsiteY4572" fmla="*/ 1713043 h 5278114"/>
              <a:gd name="connsiteX4573" fmla="*/ 1759671 w 5610835"/>
              <a:gd name="connsiteY4573" fmla="*/ 1709858 h 5278114"/>
              <a:gd name="connsiteX4574" fmla="*/ 1761791 w 5610835"/>
              <a:gd name="connsiteY4574" fmla="*/ 1709858 h 5278114"/>
              <a:gd name="connsiteX4575" fmla="*/ 1759670 w 5610835"/>
              <a:gd name="connsiteY4575" fmla="*/ 1706676 h 5278114"/>
              <a:gd name="connsiteX4576" fmla="*/ 1772395 w 5610835"/>
              <a:gd name="connsiteY4576" fmla="*/ 1706676 h 5278114"/>
              <a:gd name="connsiteX4577" fmla="*/ 1769214 w 5610835"/>
              <a:gd name="connsiteY4577" fmla="*/ 1697129 h 5278114"/>
              <a:gd name="connsiteX4578" fmla="*/ 1773306 w 5610835"/>
              <a:gd name="connsiteY4578" fmla="*/ 1693038 h 5278114"/>
              <a:gd name="connsiteX4579" fmla="*/ 1767623 w 5610835"/>
              <a:gd name="connsiteY4579" fmla="*/ 1690765 h 5278114"/>
              <a:gd name="connsiteX4580" fmla="*/ 1767623 w 5610835"/>
              <a:gd name="connsiteY4580" fmla="*/ 1695537 h 5278114"/>
              <a:gd name="connsiteX4581" fmla="*/ 1754897 w 5610835"/>
              <a:gd name="connsiteY4581" fmla="*/ 1700310 h 5278114"/>
              <a:gd name="connsiteX4582" fmla="*/ 1750126 w 5610835"/>
              <a:gd name="connsiteY4582" fmla="*/ 1695538 h 5278114"/>
              <a:gd name="connsiteX4583" fmla="*/ 1751717 w 5610835"/>
              <a:gd name="connsiteY4583" fmla="*/ 1705083 h 5278114"/>
              <a:gd name="connsiteX4584" fmla="*/ 1742171 w 5610835"/>
              <a:gd name="connsiteY4584" fmla="*/ 1695537 h 5278114"/>
              <a:gd name="connsiteX4585" fmla="*/ 1750125 w 5610835"/>
              <a:gd name="connsiteY4585" fmla="*/ 1695537 h 5278114"/>
              <a:gd name="connsiteX4586" fmla="*/ 1754699 w 5610835"/>
              <a:gd name="connsiteY4586" fmla="*/ 1693349 h 5278114"/>
              <a:gd name="connsiteX4587" fmla="*/ 1762852 w 5610835"/>
              <a:gd name="connsiteY4587" fmla="*/ 1692355 h 5278114"/>
              <a:gd name="connsiteX4588" fmla="*/ 1753307 w 5610835"/>
              <a:gd name="connsiteY4588" fmla="*/ 1682810 h 5278114"/>
              <a:gd name="connsiteX4589" fmla="*/ 1767712 w 5610835"/>
              <a:gd name="connsiteY4589" fmla="*/ 1681014 h 5278114"/>
              <a:gd name="connsiteX4590" fmla="*/ 1774025 w 5610835"/>
              <a:gd name="connsiteY4590" fmla="*/ 1685954 h 5278114"/>
              <a:gd name="connsiteX4591" fmla="*/ 1773986 w 5610835"/>
              <a:gd name="connsiteY4591" fmla="*/ 1685992 h 5278114"/>
              <a:gd name="connsiteX4592" fmla="*/ 1767623 w 5610835"/>
              <a:gd name="connsiteY4592" fmla="*/ 1681222 h 5278114"/>
              <a:gd name="connsiteX4593" fmla="*/ 587299 w 5610835"/>
              <a:gd name="connsiteY4593" fmla="*/ 1679629 h 5278114"/>
              <a:gd name="connsiteX4594" fmla="*/ 795685 w 5610835"/>
              <a:gd name="connsiteY4594" fmla="*/ 1751213 h 5278114"/>
              <a:gd name="connsiteX4595" fmla="*/ 1155192 w 5610835"/>
              <a:gd name="connsiteY4595" fmla="*/ 1784619 h 5278114"/>
              <a:gd name="connsiteX4596" fmla="*/ 587299 w 5610835"/>
              <a:gd name="connsiteY4596" fmla="*/ 1679629 h 5278114"/>
              <a:gd name="connsiteX4597" fmla="*/ 1804210 w 5610835"/>
              <a:gd name="connsiteY4597" fmla="*/ 1678040 h 5278114"/>
              <a:gd name="connsiteX4598" fmla="*/ 1807391 w 5610835"/>
              <a:gd name="connsiteY4598" fmla="*/ 1682811 h 5278114"/>
              <a:gd name="connsiteX4599" fmla="*/ 1812164 w 5610835"/>
              <a:gd name="connsiteY4599" fmla="*/ 1678040 h 5278114"/>
              <a:gd name="connsiteX4600" fmla="*/ 1839206 w 5610835"/>
              <a:gd name="connsiteY4600" fmla="*/ 1674859 h 5278114"/>
              <a:gd name="connsiteX4601" fmla="*/ 1826480 w 5610835"/>
              <a:gd name="connsiteY4601" fmla="*/ 1681222 h 5278114"/>
              <a:gd name="connsiteX4602" fmla="*/ 1829662 w 5610835"/>
              <a:gd name="connsiteY4602" fmla="*/ 1684401 h 5278114"/>
              <a:gd name="connsiteX4603" fmla="*/ 1820118 w 5610835"/>
              <a:gd name="connsiteY4603" fmla="*/ 1674859 h 5278114"/>
              <a:gd name="connsiteX4604" fmla="*/ 1815345 w 5610835"/>
              <a:gd name="connsiteY4604" fmla="*/ 1679631 h 5278114"/>
              <a:gd name="connsiteX4605" fmla="*/ 1820118 w 5610835"/>
              <a:gd name="connsiteY4605" fmla="*/ 1679631 h 5278114"/>
              <a:gd name="connsiteX4606" fmla="*/ 1740581 w 5610835"/>
              <a:gd name="connsiteY4606" fmla="*/ 1674859 h 5278114"/>
              <a:gd name="connsiteX4607" fmla="*/ 1735809 w 5610835"/>
              <a:gd name="connsiteY4607" fmla="*/ 1684401 h 5278114"/>
              <a:gd name="connsiteX4608" fmla="*/ 1724673 w 5610835"/>
              <a:gd name="connsiteY4608" fmla="*/ 1681220 h 5278114"/>
              <a:gd name="connsiteX4609" fmla="*/ 1737399 w 5610835"/>
              <a:gd name="connsiteY4609" fmla="*/ 1679631 h 5278114"/>
              <a:gd name="connsiteX4610" fmla="*/ 1740581 w 5610835"/>
              <a:gd name="connsiteY4610" fmla="*/ 1674859 h 5278114"/>
              <a:gd name="connsiteX4611" fmla="*/ 1759690 w 5610835"/>
              <a:gd name="connsiteY4611" fmla="*/ 1674737 h 5278114"/>
              <a:gd name="connsiteX4612" fmla="*/ 1759764 w 5610835"/>
              <a:gd name="connsiteY4612" fmla="*/ 1674794 h 5278114"/>
              <a:gd name="connsiteX4613" fmla="*/ 1759670 w 5610835"/>
              <a:gd name="connsiteY4613" fmla="*/ 1674859 h 5278114"/>
              <a:gd name="connsiteX4614" fmla="*/ 3495160 w 5610835"/>
              <a:gd name="connsiteY4614" fmla="*/ 1673277 h 5278114"/>
              <a:gd name="connsiteX4615" fmla="*/ 3460164 w 5610835"/>
              <a:gd name="connsiteY4615" fmla="*/ 1689185 h 5278114"/>
              <a:gd name="connsiteX4616" fmla="*/ 3461755 w 5610835"/>
              <a:gd name="connsiteY4616" fmla="*/ 1708286 h 5278114"/>
              <a:gd name="connsiteX4617" fmla="*/ 3464936 w 5610835"/>
              <a:gd name="connsiteY4617" fmla="*/ 1714651 h 5278114"/>
              <a:gd name="connsiteX4618" fmla="*/ 3488797 w 5610835"/>
              <a:gd name="connsiteY4618" fmla="*/ 1703513 h 5278114"/>
              <a:gd name="connsiteX4619" fmla="*/ 3495160 w 5610835"/>
              <a:gd name="connsiteY4619" fmla="*/ 1673277 h 5278114"/>
              <a:gd name="connsiteX4620" fmla="*/ 670018 w 5610835"/>
              <a:gd name="connsiteY4620" fmla="*/ 1673266 h 5278114"/>
              <a:gd name="connsiteX4621" fmla="*/ 1015207 w 5610835"/>
              <a:gd name="connsiteY4621" fmla="*/ 1740077 h 5278114"/>
              <a:gd name="connsiteX4622" fmla="*/ 670018 w 5610835"/>
              <a:gd name="connsiteY4622" fmla="*/ 1673266 h 5278114"/>
              <a:gd name="connsiteX4623" fmla="*/ 1648319 w 5610835"/>
              <a:gd name="connsiteY4623" fmla="*/ 1670090 h 5278114"/>
              <a:gd name="connsiteX4624" fmla="*/ 1648319 w 5610835"/>
              <a:gd name="connsiteY4624" fmla="*/ 1674860 h 5278114"/>
              <a:gd name="connsiteX4625" fmla="*/ 1643547 w 5610835"/>
              <a:gd name="connsiteY4625" fmla="*/ 1674860 h 5278114"/>
              <a:gd name="connsiteX4626" fmla="*/ 1772395 w 5610835"/>
              <a:gd name="connsiteY4626" fmla="*/ 1670088 h 5278114"/>
              <a:gd name="connsiteX4627" fmla="*/ 1767712 w 5610835"/>
              <a:gd name="connsiteY4627" fmla="*/ 1681014 h 5278114"/>
              <a:gd name="connsiteX4628" fmla="*/ 1759764 w 5610835"/>
              <a:gd name="connsiteY4628" fmla="*/ 1674794 h 5278114"/>
              <a:gd name="connsiteX4629" fmla="*/ 1764839 w 5610835"/>
              <a:gd name="connsiteY4629" fmla="*/ 1671281 h 5278114"/>
              <a:gd name="connsiteX4630" fmla="*/ 1772395 w 5610835"/>
              <a:gd name="connsiteY4630" fmla="*/ 1670088 h 5278114"/>
              <a:gd name="connsiteX4631" fmla="*/ 4431705 w 5610835"/>
              <a:gd name="connsiteY4631" fmla="*/ 1667515 h 5278114"/>
              <a:gd name="connsiteX4632" fmla="*/ 4440056 w 5610835"/>
              <a:gd name="connsiteY4632" fmla="*/ 1671686 h 5278114"/>
              <a:gd name="connsiteX4633" fmla="*/ 4433693 w 5610835"/>
              <a:gd name="connsiteY4633" fmla="*/ 1682824 h 5278114"/>
              <a:gd name="connsiteX4634" fmla="*/ 4425739 w 5610835"/>
              <a:gd name="connsiteY4634" fmla="*/ 1671686 h 5278114"/>
              <a:gd name="connsiteX4635" fmla="*/ 4431705 w 5610835"/>
              <a:gd name="connsiteY4635" fmla="*/ 1667515 h 5278114"/>
              <a:gd name="connsiteX4636" fmla="*/ 1845569 w 5610835"/>
              <a:gd name="connsiteY4636" fmla="*/ 1666907 h 5278114"/>
              <a:gd name="connsiteX4637" fmla="*/ 1845569 w 5610835"/>
              <a:gd name="connsiteY4637" fmla="*/ 1671679 h 5278114"/>
              <a:gd name="connsiteX4638" fmla="*/ 1850342 w 5610835"/>
              <a:gd name="connsiteY4638" fmla="*/ 1666907 h 5278114"/>
              <a:gd name="connsiteX4639" fmla="*/ 1718310 w 5610835"/>
              <a:gd name="connsiteY4639" fmla="*/ 1663728 h 5278114"/>
              <a:gd name="connsiteX4640" fmla="*/ 1723083 w 5610835"/>
              <a:gd name="connsiteY4640" fmla="*/ 1666909 h 5278114"/>
              <a:gd name="connsiteX4641" fmla="*/ 1718310 w 5610835"/>
              <a:gd name="connsiteY4641" fmla="*/ 1671679 h 5278114"/>
              <a:gd name="connsiteX4642" fmla="*/ 1715129 w 5610835"/>
              <a:gd name="connsiteY4642" fmla="*/ 1668497 h 5278114"/>
              <a:gd name="connsiteX4643" fmla="*/ 1834434 w 5610835"/>
              <a:gd name="connsiteY4643" fmla="*/ 1658957 h 5278114"/>
              <a:gd name="connsiteX4644" fmla="*/ 1842388 w 5610835"/>
              <a:gd name="connsiteY4644" fmla="*/ 1670088 h 5278114"/>
              <a:gd name="connsiteX4645" fmla="*/ 1834434 w 5610835"/>
              <a:gd name="connsiteY4645" fmla="*/ 1658957 h 5278114"/>
              <a:gd name="connsiteX4646" fmla="*/ 3498342 w 5610835"/>
              <a:gd name="connsiteY4646" fmla="*/ 1655787 h 5278114"/>
              <a:gd name="connsiteX4647" fmla="*/ 3471299 w 5610835"/>
              <a:gd name="connsiteY4647" fmla="*/ 1674868 h 5278114"/>
              <a:gd name="connsiteX4648" fmla="*/ 3496751 w 5610835"/>
              <a:gd name="connsiteY4648" fmla="*/ 1662150 h 5278114"/>
              <a:gd name="connsiteX4649" fmla="*/ 3498342 w 5610835"/>
              <a:gd name="connsiteY4649" fmla="*/ 1655787 h 5278114"/>
              <a:gd name="connsiteX4650" fmla="*/ 2360967 w 5610835"/>
              <a:gd name="connsiteY4650" fmla="*/ 1651012 h 5278114"/>
              <a:gd name="connsiteX4651" fmla="*/ 2353013 w 5610835"/>
              <a:gd name="connsiteY4651" fmla="*/ 1652603 h 5278114"/>
              <a:gd name="connsiteX4652" fmla="*/ 2341878 w 5610835"/>
              <a:gd name="connsiteY4652" fmla="*/ 1652603 h 5278114"/>
              <a:gd name="connsiteX4653" fmla="*/ 2351423 w 5610835"/>
              <a:gd name="connsiteY4653" fmla="*/ 1685999 h 5278114"/>
              <a:gd name="connsiteX4654" fmla="*/ 2354604 w 5610835"/>
              <a:gd name="connsiteY4654" fmla="*/ 1668505 h 5278114"/>
              <a:gd name="connsiteX4655" fmla="*/ 2391191 w 5610835"/>
              <a:gd name="connsiteY4655" fmla="*/ 1805364 h 5278114"/>
              <a:gd name="connsiteX4656" fmla="*/ 2407098 w 5610835"/>
              <a:gd name="connsiteY4656" fmla="*/ 1802181 h 5278114"/>
              <a:gd name="connsiteX4657" fmla="*/ 2386419 w 5610835"/>
              <a:gd name="connsiteY4657" fmla="*/ 1705100 h 5278114"/>
              <a:gd name="connsiteX4658" fmla="*/ 2360967 w 5610835"/>
              <a:gd name="connsiteY4658" fmla="*/ 1651012 h 5278114"/>
              <a:gd name="connsiteX4659" fmla="*/ 1748534 w 5610835"/>
              <a:gd name="connsiteY4659" fmla="*/ 1651000 h 5278114"/>
              <a:gd name="connsiteX4660" fmla="*/ 1753307 w 5610835"/>
              <a:gd name="connsiteY4660" fmla="*/ 1654181 h 5278114"/>
              <a:gd name="connsiteX4661" fmla="*/ 1745353 w 5610835"/>
              <a:gd name="connsiteY4661" fmla="*/ 1655771 h 5278114"/>
              <a:gd name="connsiteX4662" fmla="*/ 1680134 w 5610835"/>
              <a:gd name="connsiteY4662" fmla="*/ 1646230 h 5278114"/>
              <a:gd name="connsiteX4663" fmla="*/ 1680134 w 5610835"/>
              <a:gd name="connsiteY4663" fmla="*/ 1652595 h 5278114"/>
              <a:gd name="connsiteX4664" fmla="*/ 1675361 w 5610835"/>
              <a:gd name="connsiteY4664" fmla="*/ 1651004 h 5278114"/>
              <a:gd name="connsiteX4665" fmla="*/ 1729446 w 5610835"/>
              <a:gd name="connsiteY4665" fmla="*/ 1646224 h 5278114"/>
              <a:gd name="connsiteX4666" fmla="*/ 1734218 w 5610835"/>
              <a:gd name="connsiteY4666" fmla="*/ 1650995 h 5278114"/>
              <a:gd name="connsiteX4667" fmla="*/ 1731037 w 5610835"/>
              <a:gd name="connsiteY4667" fmla="*/ 1652587 h 5278114"/>
              <a:gd name="connsiteX4668" fmla="*/ 1726265 w 5610835"/>
              <a:gd name="connsiteY4668" fmla="*/ 1649405 h 5278114"/>
              <a:gd name="connsiteX4669" fmla="*/ 3561971 w 5610835"/>
              <a:gd name="connsiteY4669" fmla="*/ 1644653 h 5278114"/>
              <a:gd name="connsiteX4670" fmla="*/ 3514249 w 5610835"/>
              <a:gd name="connsiteY4670" fmla="*/ 1665328 h 5278114"/>
              <a:gd name="connsiteX4671" fmla="*/ 3512658 w 5610835"/>
              <a:gd name="connsiteY4671" fmla="*/ 1692366 h 5278114"/>
              <a:gd name="connsiteX4672" fmla="*/ 3561971 w 5610835"/>
              <a:gd name="connsiteY4672" fmla="*/ 1670097 h 5278114"/>
              <a:gd name="connsiteX4673" fmla="*/ 3561971 w 5610835"/>
              <a:gd name="connsiteY4673" fmla="*/ 1644653 h 5278114"/>
              <a:gd name="connsiteX4674" fmla="*/ 1874202 w 5610835"/>
              <a:gd name="connsiteY4674" fmla="*/ 1644638 h 5278114"/>
              <a:gd name="connsiteX4675" fmla="*/ 1869430 w 5610835"/>
              <a:gd name="connsiteY4675" fmla="*/ 1649410 h 5278114"/>
              <a:gd name="connsiteX4676" fmla="*/ 1874202 w 5610835"/>
              <a:gd name="connsiteY4676" fmla="*/ 1649410 h 5278114"/>
              <a:gd name="connsiteX4677" fmla="*/ 1807391 w 5610835"/>
              <a:gd name="connsiteY4677" fmla="*/ 1643048 h 5278114"/>
              <a:gd name="connsiteX4678" fmla="*/ 1804210 w 5610835"/>
              <a:gd name="connsiteY4678" fmla="*/ 1644638 h 5278114"/>
              <a:gd name="connsiteX4679" fmla="*/ 1808982 w 5610835"/>
              <a:gd name="connsiteY4679" fmla="*/ 1651002 h 5278114"/>
              <a:gd name="connsiteX4680" fmla="*/ 1807391 w 5610835"/>
              <a:gd name="connsiteY4680" fmla="*/ 1654184 h 5278114"/>
              <a:gd name="connsiteX4681" fmla="*/ 1801028 w 5610835"/>
              <a:gd name="connsiteY4681" fmla="*/ 1649410 h 5278114"/>
              <a:gd name="connsiteX4682" fmla="*/ 1796256 w 5610835"/>
              <a:gd name="connsiteY4682" fmla="*/ 1654184 h 5278114"/>
              <a:gd name="connsiteX4683" fmla="*/ 1793075 w 5610835"/>
              <a:gd name="connsiteY4683" fmla="*/ 1652593 h 5278114"/>
              <a:gd name="connsiteX4684" fmla="*/ 1796256 w 5610835"/>
              <a:gd name="connsiteY4684" fmla="*/ 1647819 h 5278114"/>
              <a:gd name="connsiteX4685" fmla="*/ 1788304 w 5610835"/>
              <a:gd name="connsiteY4685" fmla="*/ 1647819 h 5278114"/>
              <a:gd name="connsiteX4686" fmla="*/ 1791485 w 5610835"/>
              <a:gd name="connsiteY4686" fmla="*/ 1657366 h 5278114"/>
              <a:gd name="connsiteX4687" fmla="*/ 1796256 w 5610835"/>
              <a:gd name="connsiteY4687" fmla="*/ 1654184 h 5278114"/>
              <a:gd name="connsiteX4688" fmla="*/ 1799438 w 5610835"/>
              <a:gd name="connsiteY4688" fmla="*/ 1658957 h 5278114"/>
              <a:gd name="connsiteX4689" fmla="*/ 1789894 w 5610835"/>
              <a:gd name="connsiteY4689" fmla="*/ 1660546 h 5278114"/>
              <a:gd name="connsiteX4690" fmla="*/ 1789894 w 5610835"/>
              <a:gd name="connsiteY4690" fmla="*/ 1662136 h 5278114"/>
              <a:gd name="connsiteX4691" fmla="*/ 1799438 w 5610835"/>
              <a:gd name="connsiteY4691" fmla="*/ 1663726 h 5278114"/>
              <a:gd name="connsiteX4692" fmla="*/ 1807391 w 5610835"/>
              <a:gd name="connsiteY4692" fmla="*/ 1654184 h 5278114"/>
              <a:gd name="connsiteX4693" fmla="*/ 1810044 w 5610835"/>
              <a:gd name="connsiteY4693" fmla="*/ 1655952 h 5278114"/>
              <a:gd name="connsiteX4694" fmla="*/ 1808982 w 5610835"/>
              <a:gd name="connsiteY4694" fmla="*/ 1657366 h 5278114"/>
              <a:gd name="connsiteX4695" fmla="*/ 1811137 w 5610835"/>
              <a:gd name="connsiteY4695" fmla="*/ 1658597 h 5278114"/>
              <a:gd name="connsiteX4696" fmla="*/ 1804210 w 5610835"/>
              <a:gd name="connsiteY4696" fmla="*/ 1666907 h 5278114"/>
              <a:gd name="connsiteX4697" fmla="*/ 1812164 w 5610835"/>
              <a:gd name="connsiteY4697" fmla="*/ 1666907 h 5278114"/>
              <a:gd name="connsiteX4698" fmla="*/ 1808982 w 5610835"/>
              <a:gd name="connsiteY4698" fmla="*/ 1671679 h 5278114"/>
              <a:gd name="connsiteX4699" fmla="*/ 1816936 w 5610835"/>
              <a:gd name="connsiteY4699" fmla="*/ 1668497 h 5278114"/>
              <a:gd name="connsiteX4700" fmla="*/ 1824890 w 5610835"/>
              <a:gd name="connsiteY4700" fmla="*/ 1670088 h 5278114"/>
              <a:gd name="connsiteX4701" fmla="*/ 1824890 w 5610835"/>
              <a:gd name="connsiteY4701" fmla="*/ 1665317 h 5278114"/>
              <a:gd name="connsiteX4702" fmla="*/ 1832843 w 5610835"/>
              <a:gd name="connsiteY4702" fmla="*/ 1665317 h 5278114"/>
              <a:gd name="connsiteX4703" fmla="*/ 1832843 w 5610835"/>
              <a:gd name="connsiteY4703" fmla="*/ 1663726 h 5278114"/>
              <a:gd name="connsiteX4704" fmla="*/ 1824890 w 5610835"/>
              <a:gd name="connsiteY4704" fmla="*/ 1663726 h 5278114"/>
              <a:gd name="connsiteX4705" fmla="*/ 1820118 w 5610835"/>
              <a:gd name="connsiteY4705" fmla="*/ 1663726 h 5278114"/>
              <a:gd name="connsiteX4706" fmla="*/ 1811137 w 5610835"/>
              <a:gd name="connsiteY4706" fmla="*/ 1658597 h 5278114"/>
              <a:gd name="connsiteX4707" fmla="*/ 1812164 w 5610835"/>
              <a:gd name="connsiteY4707" fmla="*/ 1657366 h 5278114"/>
              <a:gd name="connsiteX4708" fmla="*/ 1810044 w 5610835"/>
              <a:gd name="connsiteY4708" fmla="*/ 1655952 h 5278114"/>
              <a:gd name="connsiteX4709" fmla="*/ 1813754 w 5610835"/>
              <a:gd name="connsiteY4709" fmla="*/ 1651002 h 5278114"/>
              <a:gd name="connsiteX4710" fmla="*/ 1807391 w 5610835"/>
              <a:gd name="connsiteY4710" fmla="*/ 1643048 h 5278114"/>
              <a:gd name="connsiteX4711" fmla="*/ 1821708 w 5610835"/>
              <a:gd name="connsiteY4711" fmla="*/ 1639867 h 5278114"/>
              <a:gd name="connsiteX4712" fmla="*/ 1820118 w 5610835"/>
              <a:gd name="connsiteY4712" fmla="*/ 1647819 h 5278114"/>
              <a:gd name="connsiteX4713" fmla="*/ 1828071 w 5610835"/>
              <a:gd name="connsiteY4713" fmla="*/ 1647819 h 5278114"/>
              <a:gd name="connsiteX4714" fmla="*/ 1826480 w 5610835"/>
              <a:gd name="connsiteY4714" fmla="*/ 1643048 h 5278114"/>
              <a:gd name="connsiteX4715" fmla="*/ 1821708 w 5610835"/>
              <a:gd name="connsiteY4715" fmla="*/ 1639867 h 5278114"/>
              <a:gd name="connsiteX4716" fmla="*/ 1759670 w 5610835"/>
              <a:gd name="connsiteY4716" fmla="*/ 1635093 h 5278114"/>
              <a:gd name="connsiteX4717" fmla="*/ 1767625 w 5610835"/>
              <a:gd name="connsiteY4717" fmla="*/ 1635093 h 5278114"/>
              <a:gd name="connsiteX4718" fmla="*/ 1764442 w 5610835"/>
              <a:gd name="connsiteY4718" fmla="*/ 1644638 h 5278114"/>
              <a:gd name="connsiteX4719" fmla="*/ 1758079 w 5610835"/>
              <a:gd name="connsiteY4719" fmla="*/ 1644638 h 5278114"/>
              <a:gd name="connsiteX4720" fmla="*/ 1750125 w 5610835"/>
              <a:gd name="connsiteY4720" fmla="*/ 1641456 h 5278114"/>
              <a:gd name="connsiteX4721" fmla="*/ 1759670 w 5610835"/>
              <a:gd name="connsiteY4721" fmla="*/ 1635093 h 5278114"/>
              <a:gd name="connsiteX4722" fmla="*/ 1735809 w 5610835"/>
              <a:gd name="connsiteY4722" fmla="*/ 1628731 h 5278114"/>
              <a:gd name="connsiteX4723" fmla="*/ 1735809 w 5610835"/>
              <a:gd name="connsiteY4723" fmla="*/ 1633503 h 5278114"/>
              <a:gd name="connsiteX4724" fmla="*/ 1729447 w 5610835"/>
              <a:gd name="connsiteY4724" fmla="*/ 1633503 h 5278114"/>
              <a:gd name="connsiteX4725" fmla="*/ 1762852 w 5610835"/>
              <a:gd name="connsiteY4725" fmla="*/ 1628730 h 5278114"/>
              <a:gd name="connsiteX4726" fmla="*/ 1767623 w 5610835"/>
              <a:gd name="connsiteY4726" fmla="*/ 1631911 h 5278114"/>
              <a:gd name="connsiteX4727" fmla="*/ 1759670 w 5610835"/>
              <a:gd name="connsiteY4727" fmla="*/ 1633502 h 5278114"/>
              <a:gd name="connsiteX4728" fmla="*/ 3554017 w 5610835"/>
              <a:gd name="connsiteY4728" fmla="*/ 1622395 h 5278114"/>
              <a:gd name="connsiteX4729" fmla="*/ 3517430 w 5610835"/>
              <a:gd name="connsiteY4729" fmla="*/ 1639884 h 5278114"/>
              <a:gd name="connsiteX4730" fmla="*/ 3515839 w 5610835"/>
              <a:gd name="connsiteY4730" fmla="*/ 1654198 h 5278114"/>
              <a:gd name="connsiteX4731" fmla="*/ 3558789 w 5610835"/>
              <a:gd name="connsiteY4731" fmla="*/ 1633526 h 5278114"/>
              <a:gd name="connsiteX4732" fmla="*/ 3554017 w 5610835"/>
              <a:gd name="connsiteY4732" fmla="*/ 1622395 h 5278114"/>
              <a:gd name="connsiteX4733" fmla="*/ 4618218 w 5610835"/>
              <a:gd name="connsiteY4733" fmla="*/ 1620820 h 5278114"/>
              <a:gd name="connsiteX4734" fmla="*/ 4556179 w 5610835"/>
              <a:gd name="connsiteY4734" fmla="*/ 1666918 h 5278114"/>
              <a:gd name="connsiteX4735" fmla="*/ 4594357 w 5610835"/>
              <a:gd name="connsiteY4735" fmla="*/ 1633526 h 5278114"/>
              <a:gd name="connsiteX4736" fmla="*/ 4618218 w 5610835"/>
              <a:gd name="connsiteY4736" fmla="*/ 1620820 h 5278114"/>
              <a:gd name="connsiteX4737" fmla="*/ 1804210 w 5610835"/>
              <a:gd name="connsiteY4737" fmla="*/ 1619195 h 5278114"/>
              <a:gd name="connsiteX4738" fmla="*/ 1808982 w 5610835"/>
              <a:gd name="connsiteY4738" fmla="*/ 1628734 h 5278114"/>
              <a:gd name="connsiteX4739" fmla="*/ 1812164 w 5610835"/>
              <a:gd name="connsiteY4739" fmla="*/ 1619195 h 5278114"/>
              <a:gd name="connsiteX4740" fmla="*/ 1783532 w 5610835"/>
              <a:gd name="connsiteY4740" fmla="*/ 1619195 h 5278114"/>
              <a:gd name="connsiteX4741" fmla="*/ 1786712 w 5610835"/>
              <a:gd name="connsiteY4741" fmla="*/ 1628734 h 5278114"/>
              <a:gd name="connsiteX4742" fmla="*/ 1791485 w 5610835"/>
              <a:gd name="connsiteY4742" fmla="*/ 1623962 h 5278114"/>
              <a:gd name="connsiteX4743" fmla="*/ 1786712 w 5610835"/>
              <a:gd name="connsiteY4743" fmla="*/ 1622371 h 5278114"/>
              <a:gd name="connsiteX4744" fmla="*/ 1783532 w 5610835"/>
              <a:gd name="connsiteY4744" fmla="*/ 1619195 h 5278114"/>
              <a:gd name="connsiteX4745" fmla="*/ 1599006 w 5610835"/>
              <a:gd name="connsiteY4745" fmla="*/ 1611250 h 5278114"/>
              <a:gd name="connsiteX4746" fmla="*/ 1603778 w 5610835"/>
              <a:gd name="connsiteY4746" fmla="*/ 1612839 h 5278114"/>
              <a:gd name="connsiteX4747" fmla="*/ 1599006 w 5610835"/>
              <a:gd name="connsiteY4747" fmla="*/ 1617614 h 5278114"/>
              <a:gd name="connsiteX4748" fmla="*/ 1597415 w 5610835"/>
              <a:gd name="connsiteY4748" fmla="*/ 1614431 h 5278114"/>
              <a:gd name="connsiteX4749" fmla="*/ 1763447 w 5610835"/>
              <a:gd name="connsiteY4749" fmla="*/ 1605271 h 5278114"/>
              <a:gd name="connsiteX4750" fmla="*/ 1767623 w 5610835"/>
              <a:gd name="connsiteY4750" fmla="*/ 1609645 h 5278114"/>
              <a:gd name="connsiteX4751" fmla="*/ 1759669 w 5610835"/>
              <a:gd name="connsiteY4751" fmla="*/ 1609645 h 5278114"/>
              <a:gd name="connsiteX4752" fmla="*/ 1754897 w 5610835"/>
              <a:gd name="connsiteY4752" fmla="*/ 1609645 h 5278114"/>
              <a:gd name="connsiteX4753" fmla="*/ 1751717 w 5610835"/>
              <a:gd name="connsiteY4753" fmla="*/ 1619190 h 5278114"/>
              <a:gd name="connsiteX4754" fmla="*/ 1740580 w 5610835"/>
              <a:gd name="connsiteY4754" fmla="*/ 1614417 h 5278114"/>
              <a:gd name="connsiteX4755" fmla="*/ 1750125 w 5610835"/>
              <a:gd name="connsiteY4755" fmla="*/ 1612827 h 5278114"/>
              <a:gd name="connsiteX4756" fmla="*/ 1750125 w 5610835"/>
              <a:gd name="connsiteY4756" fmla="*/ 1608054 h 5278114"/>
              <a:gd name="connsiteX4757" fmla="*/ 1758079 w 5610835"/>
              <a:gd name="connsiteY4757" fmla="*/ 1608054 h 5278114"/>
              <a:gd name="connsiteX4758" fmla="*/ 1763447 w 5610835"/>
              <a:gd name="connsiteY4758" fmla="*/ 1605271 h 5278114"/>
              <a:gd name="connsiteX4759" fmla="*/ 1718311 w 5610835"/>
              <a:gd name="connsiteY4759" fmla="*/ 1604884 h 5278114"/>
              <a:gd name="connsiteX4760" fmla="*/ 1723083 w 5610835"/>
              <a:gd name="connsiteY4760" fmla="*/ 1604884 h 5278114"/>
              <a:gd name="connsiteX4761" fmla="*/ 1723083 w 5610835"/>
              <a:gd name="connsiteY4761" fmla="*/ 1611247 h 5278114"/>
              <a:gd name="connsiteX4762" fmla="*/ 1718311 w 5610835"/>
              <a:gd name="connsiteY4762" fmla="*/ 1604884 h 5278114"/>
              <a:gd name="connsiteX4763" fmla="*/ 3542882 w 5610835"/>
              <a:gd name="connsiteY4763" fmla="*/ 1603321 h 5278114"/>
              <a:gd name="connsiteX4764" fmla="*/ 3528566 w 5610835"/>
              <a:gd name="connsiteY4764" fmla="*/ 1604911 h 5278114"/>
              <a:gd name="connsiteX4765" fmla="*/ 3523793 w 5610835"/>
              <a:gd name="connsiteY4765" fmla="*/ 1611273 h 5278114"/>
              <a:gd name="connsiteX4766" fmla="*/ 3542882 w 5610835"/>
              <a:gd name="connsiteY4766" fmla="*/ 1603321 h 5278114"/>
              <a:gd name="connsiteX4767" fmla="*/ 1708767 w 5610835"/>
              <a:gd name="connsiteY4767" fmla="*/ 1601702 h 5278114"/>
              <a:gd name="connsiteX4768" fmla="*/ 1713539 w 5610835"/>
              <a:gd name="connsiteY4768" fmla="*/ 1606474 h 5278114"/>
              <a:gd name="connsiteX4769" fmla="*/ 1707176 w 5610835"/>
              <a:gd name="connsiteY4769" fmla="*/ 1606474 h 5278114"/>
              <a:gd name="connsiteX4770" fmla="*/ 1745353 w 5610835"/>
              <a:gd name="connsiteY4770" fmla="*/ 1600102 h 5278114"/>
              <a:gd name="connsiteX4771" fmla="*/ 1758080 w 5610835"/>
              <a:gd name="connsiteY4771" fmla="*/ 1600102 h 5278114"/>
              <a:gd name="connsiteX4772" fmla="*/ 1758080 w 5610835"/>
              <a:gd name="connsiteY4772" fmla="*/ 1606465 h 5278114"/>
              <a:gd name="connsiteX4773" fmla="*/ 1745353 w 5610835"/>
              <a:gd name="connsiteY4773" fmla="*/ 1600102 h 5278114"/>
              <a:gd name="connsiteX4774" fmla="*/ 4858418 w 5610835"/>
              <a:gd name="connsiteY4774" fmla="*/ 1598551 h 5278114"/>
              <a:gd name="connsiteX4775" fmla="*/ 4853646 w 5610835"/>
              <a:gd name="connsiteY4775" fmla="*/ 1608096 h 5278114"/>
              <a:gd name="connsiteX4776" fmla="*/ 4793198 w 5610835"/>
              <a:gd name="connsiteY4776" fmla="*/ 1625570 h 5278114"/>
              <a:gd name="connsiteX4777" fmla="*/ 4788426 w 5610835"/>
              <a:gd name="connsiteY4777" fmla="*/ 1620820 h 5278114"/>
              <a:gd name="connsiteX4778" fmla="*/ 4858418 w 5610835"/>
              <a:gd name="connsiteY4778" fmla="*/ 1598551 h 5278114"/>
              <a:gd name="connsiteX4779" fmla="*/ 1816936 w 5610835"/>
              <a:gd name="connsiteY4779" fmla="*/ 1593743 h 5278114"/>
              <a:gd name="connsiteX4780" fmla="*/ 1808982 w 5610835"/>
              <a:gd name="connsiteY4780" fmla="*/ 1596925 h 5278114"/>
              <a:gd name="connsiteX4781" fmla="*/ 1815345 w 5610835"/>
              <a:gd name="connsiteY4781" fmla="*/ 1601696 h 5278114"/>
              <a:gd name="connsiteX4782" fmla="*/ 1807391 w 5610835"/>
              <a:gd name="connsiteY4782" fmla="*/ 1592152 h 5278114"/>
              <a:gd name="connsiteX4783" fmla="*/ 1802619 w 5610835"/>
              <a:gd name="connsiteY4783" fmla="*/ 1596925 h 5278114"/>
              <a:gd name="connsiteX4784" fmla="*/ 1807391 w 5610835"/>
              <a:gd name="connsiteY4784" fmla="*/ 1600105 h 5278114"/>
              <a:gd name="connsiteX4785" fmla="*/ 1748535 w 5610835"/>
              <a:gd name="connsiteY4785" fmla="*/ 1592147 h 5278114"/>
              <a:gd name="connsiteX4786" fmla="*/ 1753307 w 5610835"/>
              <a:gd name="connsiteY4786" fmla="*/ 1596920 h 5278114"/>
              <a:gd name="connsiteX4787" fmla="*/ 1746945 w 5610835"/>
              <a:gd name="connsiteY4787" fmla="*/ 1596920 h 5278114"/>
              <a:gd name="connsiteX4788" fmla="*/ 1808982 w 5610835"/>
              <a:gd name="connsiteY4788" fmla="*/ 1588971 h 5278114"/>
              <a:gd name="connsiteX4789" fmla="*/ 1813754 w 5610835"/>
              <a:gd name="connsiteY4789" fmla="*/ 1592152 h 5278114"/>
              <a:gd name="connsiteX4790" fmla="*/ 1816936 w 5610835"/>
              <a:gd name="connsiteY4790" fmla="*/ 1588971 h 5278114"/>
              <a:gd name="connsiteX4791" fmla="*/ 2718882 w 5610835"/>
              <a:gd name="connsiteY4791" fmla="*/ 1581052 h 5278114"/>
              <a:gd name="connsiteX4792" fmla="*/ 2698203 w 5610835"/>
              <a:gd name="connsiteY4792" fmla="*/ 1603321 h 5278114"/>
              <a:gd name="connsiteX4793" fmla="*/ 2696612 w 5610835"/>
              <a:gd name="connsiteY4793" fmla="*/ 1592186 h 5278114"/>
              <a:gd name="connsiteX4794" fmla="*/ 2653661 w 5610835"/>
              <a:gd name="connsiteY4794" fmla="*/ 1635116 h 5278114"/>
              <a:gd name="connsiteX4795" fmla="*/ 2653661 w 5610835"/>
              <a:gd name="connsiteY4795" fmla="*/ 1657376 h 5278114"/>
              <a:gd name="connsiteX4796" fmla="*/ 2726836 w 5610835"/>
              <a:gd name="connsiteY4796" fmla="*/ 1589005 h 5278114"/>
              <a:gd name="connsiteX4797" fmla="*/ 2718882 w 5610835"/>
              <a:gd name="connsiteY4797" fmla="*/ 1581052 h 5278114"/>
              <a:gd name="connsiteX4798" fmla="*/ 1673770 w 5610835"/>
              <a:gd name="connsiteY4798" fmla="*/ 1581006 h 5278114"/>
              <a:gd name="connsiteX4799" fmla="*/ 1683314 w 5610835"/>
              <a:gd name="connsiteY4799" fmla="*/ 1587370 h 5278114"/>
              <a:gd name="connsiteX4800" fmla="*/ 1673770 w 5610835"/>
              <a:gd name="connsiteY4800" fmla="*/ 1581006 h 5278114"/>
              <a:gd name="connsiteX4801" fmla="*/ 1823299 w 5610835"/>
              <a:gd name="connsiteY4801" fmla="*/ 1579427 h 5278114"/>
              <a:gd name="connsiteX4802" fmla="*/ 1831252 w 5610835"/>
              <a:gd name="connsiteY4802" fmla="*/ 1585790 h 5278114"/>
              <a:gd name="connsiteX4803" fmla="*/ 1834434 w 5610835"/>
              <a:gd name="connsiteY4803" fmla="*/ 1581018 h 5278114"/>
              <a:gd name="connsiteX4804" fmla="*/ 1707175 w 5610835"/>
              <a:gd name="connsiteY4804" fmla="*/ 1577836 h 5278114"/>
              <a:gd name="connsiteX4805" fmla="*/ 1711947 w 5610835"/>
              <a:gd name="connsiteY4805" fmla="*/ 1584199 h 5278114"/>
              <a:gd name="connsiteX4806" fmla="*/ 1716720 w 5610835"/>
              <a:gd name="connsiteY4806" fmla="*/ 1582609 h 5278114"/>
              <a:gd name="connsiteX4807" fmla="*/ 1716720 w 5610835"/>
              <a:gd name="connsiteY4807" fmla="*/ 1588971 h 5278114"/>
              <a:gd name="connsiteX4808" fmla="*/ 1707175 w 5610835"/>
              <a:gd name="connsiteY4808" fmla="*/ 1577836 h 5278114"/>
              <a:gd name="connsiteX4809" fmla="*/ 1767623 w 5610835"/>
              <a:gd name="connsiteY4809" fmla="*/ 1574655 h 5278114"/>
              <a:gd name="connsiteX4810" fmla="*/ 1767623 w 5610835"/>
              <a:gd name="connsiteY4810" fmla="*/ 1579427 h 5278114"/>
              <a:gd name="connsiteX4811" fmla="*/ 1772395 w 5610835"/>
              <a:gd name="connsiteY4811" fmla="*/ 1574655 h 5278114"/>
              <a:gd name="connsiteX4812" fmla="*/ 1731037 w 5610835"/>
              <a:gd name="connsiteY4812" fmla="*/ 1573066 h 5278114"/>
              <a:gd name="connsiteX4813" fmla="*/ 1735809 w 5610835"/>
              <a:gd name="connsiteY4813" fmla="*/ 1573066 h 5278114"/>
              <a:gd name="connsiteX4814" fmla="*/ 1742173 w 5610835"/>
              <a:gd name="connsiteY4814" fmla="*/ 1573066 h 5278114"/>
              <a:gd name="connsiteX4815" fmla="*/ 1746945 w 5610835"/>
              <a:gd name="connsiteY4815" fmla="*/ 1579428 h 5278114"/>
              <a:gd name="connsiteX4816" fmla="*/ 1738990 w 5610835"/>
              <a:gd name="connsiteY4816" fmla="*/ 1582609 h 5278114"/>
              <a:gd name="connsiteX4817" fmla="*/ 1743763 w 5610835"/>
              <a:gd name="connsiteY4817" fmla="*/ 1584200 h 5278114"/>
              <a:gd name="connsiteX4818" fmla="*/ 1740580 w 5610835"/>
              <a:gd name="connsiteY4818" fmla="*/ 1590564 h 5278114"/>
              <a:gd name="connsiteX4819" fmla="*/ 1735809 w 5610835"/>
              <a:gd name="connsiteY4819" fmla="*/ 1590564 h 5278114"/>
              <a:gd name="connsiteX4820" fmla="*/ 1734218 w 5610835"/>
              <a:gd name="connsiteY4820" fmla="*/ 1585791 h 5278114"/>
              <a:gd name="connsiteX4821" fmla="*/ 1731037 w 5610835"/>
              <a:gd name="connsiteY4821" fmla="*/ 1582609 h 5278114"/>
              <a:gd name="connsiteX4822" fmla="*/ 1723082 w 5610835"/>
              <a:gd name="connsiteY4822" fmla="*/ 1585791 h 5278114"/>
              <a:gd name="connsiteX4823" fmla="*/ 1718310 w 5610835"/>
              <a:gd name="connsiteY4823" fmla="*/ 1582609 h 5278114"/>
              <a:gd name="connsiteX4824" fmla="*/ 1718310 w 5610835"/>
              <a:gd name="connsiteY4824" fmla="*/ 1577838 h 5278114"/>
              <a:gd name="connsiteX4825" fmla="*/ 1731037 w 5610835"/>
              <a:gd name="connsiteY4825" fmla="*/ 1579428 h 5278114"/>
              <a:gd name="connsiteX4826" fmla="*/ 1732627 w 5610835"/>
              <a:gd name="connsiteY4826" fmla="*/ 1577838 h 5278114"/>
              <a:gd name="connsiteX4827" fmla="*/ 1697632 w 5610835"/>
              <a:gd name="connsiteY4827" fmla="*/ 1568297 h 5278114"/>
              <a:gd name="connsiteX4828" fmla="*/ 1697632 w 5610835"/>
              <a:gd name="connsiteY4828" fmla="*/ 1574661 h 5278114"/>
              <a:gd name="connsiteX4829" fmla="*/ 1692860 w 5610835"/>
              <a:gd name="connsiteY4829" fmla="*/ 1573069 h 5278114"/>
              <a:gd name="connsiteX4830" fmla="*/ 1772395 w 5610835"/>
              <a:gd name="connsiteY4830" fmla="*/ 1568292 h 5278114"/>
              <a:gd name="connsiteX4831" fmla="*/ 1769214 w 5610835"/>
              <a:gd name="connsiteY4831" fmla="*/ 1573064 h 5278114"/>
              <a:gd name="connsiteX4832" fmla="*/ 1777167 w 5610835"/>
              <a:gd name="connsiteY4832" fmla="*/ 1573064 h 5278114"/>
              <a:gd name="connsiteX4833" fmla="*/ 1761261 w 5610835"/>
              <a:gd name="connsiteY4833" fmla="*/ 1560338 h 5278114"/>
              <a:gd name="connsiteX4834" fmla="*/ 1759670 w 5610835"/>
              <a:gd name="connsiteY4834" fmla="*/ 1568292 h 5278114"/>
              <a:gd name="connsiteX4835" fmla="*/ 1767623 w 5610835"/>
              <a:gd name="connsiteY4835" fmla="*/ 1573064 h 5278114"/>
              <a:gd name="connsiteX4836" fmla="*/ 1764442 w 5610835"/>
              <a:gd name="connsiteY4836" fmla="*/ 1566701 h 5278114"/>
              <a:gd name="connsiteX4837" fmla="*/ 1761261 w 5610835"/>
              <a:gd name="connsiteY4837" fmla="*/ 1560338 h 5278114"/>
              <a:gd name="connsiteX4838" fmla="*/ 1708766 w 5610835"/>
              <a:gd name="connsiteY4838" fmla="*/ 1558744 h 5278114"/>
              <a:gd name="connsiteX4839" fmla="*/ 1716719 w 5610835"/>
              <a:gd name="connsiteY4839" fmla="*/ 1558744 h 5278114"/>
              <a:gd name="connsiteX4840" fmla="*/ 1715128 w 5610835"/>
              <a:gd name="connsiteY4840" fmla="*/ 1568289 h 5278114"/>
              <a:gd name="connsiteX4841" fmla="*/ 1708766 w 5610835"/>
              <a:gd name="connsiteY4841" fmla="*/ 1558744 h 5278114"/>
              <a:gd name="connsiteX4842" fmla="*/ 1680134 w 5610835"/>
              <a:gd name="connsiteY4842" fmla="*/ 1558736 h 5278114"/>
              <a:gd name="connsiteX4843" fmla="*/ 1680134 w 5610835"/>
              <a:gd name="connsiteY4843" fmla="*/ 1563508 h 5278114"/>
              <a:gd name="connsiteX4844" fmla="*/ 1675361 w 5610835"/>
              <a:gd name="connsiteY4844" fmla="*/ 1560327 h 5278114"/>
              <a:gd name="connsiteX4845" fmla="*/ 1684906 w 5610835"/>
              <a:gd name="connsiteY4845" fmla="*/ 1555554 h 5278114"/>
              <a:gd name="connsiteX4846" fmla="*/ 1692859 w 5610835"/>
              <a:gd name="connsiteY4846" fmla="*/ 1555554 h 5278114"/>
              <a:gd name="connsiteX4847" fmla="*/ 1688087 w 5610835"/>
              <a:gd name="connsiteY4847" fmla="*/ 1560326 h 5278114"/>
              <a:gd name="connsiteX4848" fmla="*/ 1697632 w 5610835"/>
              <a:gd name="connsiteY4848" fmla="*/ 1547619 h 5278114"/>
              <a:gd name="connsiteX4849" fmla="*/ 1697632 w 5610835"/>
              <a:gd name="connsiteY4849" fmla="*/ 1563526 h 5278114"/>
              <a:gd name="connsiteX4850" fmla="*/ 1694450 w 5610835"/>
              <a:gd name="connsiteY4850" fmla="*/ 1553981 h 5278114"/>
              <a:gd name="connsiteX4851" fmla="*/ 1769214 w 5610835"/>
              <a:gd name="connsiteY4851" fmla="*/ 1547613 h 5278114"/>
              <a:gd name="connsiteX4852" fmla="*/ 1772395 w 5610835"/>
              <a:gd name="connsiteY4852" fmla="*/ 1552385 h 5278114"/>
              <a:gd name="connsiteX4853" fmla="*/ 1777167 w 5610835"/>
              <a:gd name="connsiteY4853" fmla="*/ 1547613 h 5278114"/>
              <a:gd name="connsiteX4854" fmla="*/ 1780349 w 5610835"/>
              <a:gd name="connsiteY4854" fmla="*/ 1546023 h 5278114"/>
              <a:gd name="connsiteX4855" fmla="*/ 1780349 w 5610835"/>
              <a:gd name="connsiteY4855" fmla="*/ 1553976 h 5278114"/>
              <a:gd name="connsiteX4856" fmla="*/ 1788304 w 5610835"/>
              <a:gd name="connsiteY4856" fmla="*/ 1552385 h 5278114"/>
              <a:gd name="connsiteX4857" fmla="*/ 1673771 w 5610835"/>
              <a:gd name="connsiteY4857" fmla="*/ 1542828 h 5278114"/>
              <a:gd name="connsiteX4858" fmla="*/ 1681724 w 5610835"/>
              <a:gd name="connsiteY4858" fmla="*/ 1547600 h 5278114"/>
              <a:gd name="connsiteX4859" fmla="*/ 1670589 w 5610835"/>
              <a:gd name="connsiteY4859" fmla="*/ 1547600 h 5278114"/>
              <a:gd name="connsiteX4860" fmla="*/ 1699223 w 5610835"/>
              <a:gd name="connsiteY4860" fmla="*/ 1538075 h 5278114"/>
              <a:gd name="connsiteX4861" fmla="*/ 1703994 w 5610835"/>
              <a:gd name="connsiteY4861" fmla="*/ 1542847 h 5278114"/>
              <a:gd name="connsiteX4862" fmla="*/ 1697632 w 5610835"/>
              <a:gd name="connsiteY4862" fmla="*/ 1546028 h 5278114"/>
              <a:gd name="connsiteX4863" fmla="*/ 1640365 w 5610835"/>
              <a:gd name="connsiteY4863" fmla="*/ 1536463 h 5278114"/>
              <a:gd name="connsiteX4864" fmla="*/ 1648319 w 5610835"/>
              <a:gd name="connsiteY4864" fmla="*/ 1538055 h 5278114"/>
              <a:gd name="connsiteX4865" fmla="*/ 1643546 w 5610835"/>
              <a:gd name="connsiteY4865" fmla="*/ 1541236 h 5278114"/>
              <a:gd name="connsiteX4866" fmla="*/ 1710356 w 5610835"/>
              <a:gd name="connsiteY4866" fmla="*/ 1533299 h 5278114"/>
              <a:gd name="connsiteX4867" fmla="*/ 1718310 w 5610835"/>
              <a:gd name="connsiteY4867" fmla="*/ 1533299 h 5278114"/>
              <a:gd name="connsiteX4868" fmla="*/ 1713538 w 5610835"/>
              <a:gd name="connsiteY4868" fmla="*/ 1538071 h 5278114"/>
              <a:gd name="connsiteX4869" fmla="*/ 2992488 w 5610835"/>
              <a:gd name="connsiteY4869" fmla="*/ 1531741 h 5278114"/>
              <a:gd name="connsiteX4870" fmla="*/ 2725245 w 5610835"/>
              <a:gd name="connsiteY4870" fmla="*/ 1816500 h 5278114"/>
              <a:gd name="connsiteX4871" fmla="*/ 3003623 w 5610835"/>
              <a:gd name="connsiteY4871" fmla="*/ 1546059 h 5278114"/>
              <a:gd name="connsiteX4872" fmla="*/ 2992488 w 5610835"/>
              <a:gd name="connsiteY4872" fmla="*/ 1531741 h 5278114"/>
              <a:gd name="connsiteX4873" fmla="*/ 2127128 w 5610835"/>
              <a:gd name="connsiteY4873" fmla="*/ 1530156 h 5278114"/>
              <a:gd name="connsiteX4874" fmla="*/ 2341877 w 5610835"/>
              <a:gd name="connsiteY4874" fmla="*/ 1983507 h 5278114"/>
              <a:gd name="connsiteX4875" fmla="*/ 2127128 w 5610835"/>
              <a:gd name="connsiteY4875" fmla="*/ 1530156 h 5278114"/>
              <a:gd name="connsiteX4876" fmla="*/ 180071 w 5610835"/>
              <a:gd name="connsiteY4876" fmla="*/ 1525328 h 5278114"/>
              <a:gd name="connsiteX4877" fmla="*/ 167346 w 5610835"/>
              <a:gd name="connsiteY4877" fmla="*/ 1536464 h 5278114"/>
              <a:gd name="connsiteX4878" fmla="*/ 208704 w 5610835"/>
              <a:gd name="connsiteY4878" fmla="*/ 1666904 h 5278114"/>
              <a:gd name="connsiteX4879" fmla="*/ 188025 w 5610835"/>
              <a:gd name="connsiteY4879" fmla="*/ 1538054 h 5278114"/>
              <a:gd name="connsiteX4880" fmla="*/ 213477 w 5610835"/>
              <a:gd name="connsiteY4880" fmla="*/ 1585776 h 5278114"/>
              <a:gd name="connsiteX4881" fmla="*/ 180071 w 5610835"/>
              <a:gd name="connsiteY4881" fmla="*/ 1525328 h 5278114"/>
              <a:gd name="connsiteX4882" fmla="*/ 2951129 w 5610835"/>
              <a:gd name="connsiteY4882" fmla="*/ 1523788 h 5278114"/>
              <a:gd name="connsiteX4883" fmla="*/ 2687067 w 5610835"/>
              <a:gd name="connsiteY4883" fmla="*/ 1795814 h 5278114"/>
              <a:gd name="connsiteX4884" fmla="*/ 2951129 w 5610835"/>
              <a:gd name="connsiteY4884" fmla="*/ 1523788 h 5278114"/>
              <a:gd name="connsiteX4885" fmla="*/ 1789894 w 5610835"/>
              <a:gd name="connsiteY4885" fmla="*/ 1511027 h 5278114"/>
              <a:gd name="connsiteX4886" fmla="*/ 1789894 w 5610835"/>
              <a:gd name="connsiteY4886" fmla="*/ 1518981 h 5278114"/>
              <a:gd name="connsiteX4887" fmla="*/ 1797847 w 5610835"/>
              <a:gd name="connsiteY4887" fmla="*/ 1512618 h 5278114"/>
              <a:gd name="connsiteX4888" fmla="*/ 1653090 w 5610835"/>
              <a:gd name="connsiteY4888" fmla="*/ 1509434 h 5278114"/>
              <a:gd name="connsiteX4889" fmla="*/ 1649909 w 5610835"/>
              <a:gd name="connsiteY4889" fmla="*/ 1514206 h 5278114"/>
              <a:gd name="connsiteX4890" fmla="*/ 1645137 w 5610835"/>
              <a:gd name="connsiteY4890" fmla="*/ 1511025 h 5278114"/>
              <a:gd name="connsiteX4891" fmla="*/ 1735809 w 5610835"/>
              <a:gd name="connsiteY4891" fmla="*/ 1509422 h 5278114"/>
              <a:gd name="connsiteX4892" fmla="*/ 1740581 w 5610835"/>
              <a:gd name="connsiteY4892" fmla="*/ 1509422 h 5278114"/>
              <a:gd name="connsiteX4893" fmla="*/ 1735809 w 5610835"/>
              <a:gd name="connsiteY4893" fmla="*/ 1515785 h 5278114"/>
              <a:gd name="connsiteX4894" fmla="*/ 1769214 w 5610835"/>
              <a:gd name="connsiteY4894" fmla="*/ 1500528 h 5278114"/>
              <a:gd name="connsiteX4895" fmla="*/ 1771129 w 5610835"/>
              <a:gd name="connsiteY4895" fmla="*/ 1501294 h 5278114"/>
              <a:gd name="connsiteX4896" fmla="*/ 1769214 w 5610835"/>
              <a:gd name="connsiteY4896" fmla="*/ 1501482 h 5278114"/>
              <a:gd name="connsiteX4897" fmla="*/ 1869430 w 5610835"/>
              <a:gd name="connsiteY4897" fmla="*/ 1498300 h 5278114"/>
              <a:gd name="connsiteX4898" fmla="*/ 1874202 w 5610835"/>
              <a:gd name="connsiteY4898" fmla="*/ 1503073 h 5278114"/>
              <a:gd name="connsiteX4899" fmla="*/ 1874202 w 5610835"/>
              <a:gd name="connsiteY4899" fmla="*/ 1498300 h 5278114"/>
              <a:gd name="connsiteX4900" fmla="*/ 1645137 w 5610835"/>
              <a:gd name="connsiteY4900" fmla="*/ 1496708 h 5278114"/>
              <a:gd name="connsiteX4901" fmla="*/ 1651500 w 5610835"/>
              <a:gd name="connsiteY4901" fmla="*/ 1496708 h 5278114"/>
              <a:gd name="connsiteX4902" fmla="*/ 1649909 w 5610835"/>
              <a:gd name="connsiteY4902" fmla="*/ 1501481 h 5278114"/>
              <a:gd name="connsiteX4903" fmla="*/ 1816936 w 5610835"/>
              <a:gd name="connsiteY4903" fmla="*/ 1495119 h 5278114"/>
              <a:gd name="connsiteX4904" fmla="*/ 1812164 w 5610835"/>
              <a:gd name="connsiteY4904" fmla="*/ 1498300 h 5278114"/>
              <a:gd name="connsiteX4905" fmla="*/ 1816936 w 5610835"/>
              <a:gd name="connsiteY4905" fmla="*/ 1501482 h 5278114"/>
              <a:gd name="connsiteX4906" fmla="*/ 1723084 w 5610835"/>
              <a:gd name="connsiteY4906" fmla="*/ 1491925 h 5278114"/>
              <a:gd name="connsiteX4907" fmla="*/ 1729447 w 5610835"/>
              <a:gd name="connsiteY4907" fmla="*/ 1496697 h 5278114"/>
              <a:gd name="connsiteX4908" fmla="*/ 1729447 w 5610835"/>
              <a:gd name="connsiteY4908" fmla="*/ 1503060 h 5278114"/>
              <a:gd name="connsiteX4909" fmla="*/ 1723084 w 5610835"/>
              <a:gd name="connsiteY4909" fmla="*/ 1507833 h 5278114"/>
              <a:gd name="connsiteX4910" fmla="*/ 1726265 w 5610835"/>
              <a:gd name="connsiteY4910" fmla="*/ 1512604 h 5278114"/>
              <a:gd name="connsiteX4911" fmla="*/ 1718310 w 5610835"/>
              <a:gd name="connsiteY4911" fmla="*/ 1512604 h 5278114"/>
              <a:gd name="connsiteX4912" fmla="*/ 1721493 w 5610835"/>
              <a:gd name="connsiteY4912" fmla="*/ 1507833 h 5278114"/>
              <a:gd name="connsiteX4913" fmla="*/ 1708766 w 5610835"/>
              <a:gd name="connsiteY4913" fmla="*/ 1509424 h 5278114"/>
              <a:gd name="connsiteX4914" fmla="*/ 1707175 w 5610835"/>
              <a:gd name="connsiteY4914" fmla="*/ 1503060 h 5278114"/>
              <a:gd name="connsiteX4915" fmla="*/ 1710356 w 5610835"/>
              <a:gd name="connsiteY4915" fmla="*/ 1501470 h 5278114"/>
              <a:gd name="connsiteX4916" fmla="*/ 1717515 w 5610835"/>
              <a:gd name="connsiteY4916" fmla="*/ 1506167 h 5278114"/>
              <a:gd name="connsiteX4917" fmla="*/ 1721493 w 5610835"/>
              <a:gd name="connsiteY4917" fmla="*/ 1506220 h 5278114"/>
              <a:gd name="connsiteX4918" fmla="*/ 1721493 w 5610835"/>
              <a:gd name="connsiteY4918" fmla="*/ 1506242 h 5278114"/>
              <a:gd name="connsiteX4919" fmla="*/ 1723084 w 5610835"/>
              <a:gd name="connsiteY4919" fmla="*/ 1506242 h 5278114"/>
              <a:gd name="connsiteX4920" fmla="*/ 1721493 w 5610835"/>
              <a:gd name="connsiteY4920" fmla="*/ 1506220 h 5278114"/>
              <a:gd name="connsiteX4921" fmla="*/ 1721493 w 5610835"/>
              <a:gd name="connsiteY4921" fmla="*/ 1499879 h 5278114"/>
              <a:gd name="connsiteX4922" fmla="*/ 1726265 w 5610835"/>
              <a:gd name="connsiteY4922" fmla="*/ 1499879 h 5278114"/>
              <a:gd name="connsiteX4923" fmla="*/ 1719902 w 5610835"/>
              <a:gd name="connsiteY4923" fmla="*/ 1493516 h 5278114"/>
              <a:gd name="connsiteX4924" fmla="*/ 1759935 w 5610835"/>
              <a:gd name="connsiteY4924" fmla="*/ 1491540 h 5278114"/>
              <a:gd name="connsiteX4925" fmla="*/ 1761261 w 5610835"/>
              <a:gd name="connsiteY4925" fmla="*/ 1493528 h 5278114"/>
              <a:gd name="connsiteX4926" fmla="*/ 1761084 w 5610835"/>
              <a:gd name="connsiteY4926" fmla="*/ 1494059 h 5278114"/>
              <a:gd name="connsiteX4927" fmla="*/ 1759670 w 5610835"/>
              <a:gd name="connsiteY4927" fmla="*/ 1491938 h 5278114"/>
              <a:gd name="connsiteX4928" fmla="*/ 1808982 w 5610835"/>
              <a:gd name="connsiteY4928" fmla="*/ 1487166 h 5278114"/>
              <a:gd name="connsiteX4929" fmla="*/ 1799438 w 5610835"/>
              <a:gd name="connsiteY4929" fmla="*/ 1488755 h 5278114"/>
              <a:gd name="connsiteX4930" fmla="*/ 1802619 w 5610835"/>
              <a:gd name="connsiteY4930" fmla="*/ 1498300 h 5278114"/>
              <a:gd name="connsiteX4931" fmla="*/ 1793075 w 5610835"/>
              <a:gd name="connsiteY4931" fmla="*/ 1498300 h 5278114"/>
              <a:gd name="connsiteX4932" fmla="*/ 1797847 w 5610835"/>
              <a:gd name="connsiteY4932" fmla="*/ 1504663 h 5278114"/>
              <a:gd name="connsiteX4933" fmla="*/ 1805801 w 5610835"/>
              <a:gd name="connsiteY4933" fmla="*/ 1506255 h 5278114"/>
              <a:gd name="connsiteX4934" fmla="*/ 1801028 w 5610835"/>
              <a:gd name="connsiteY4934" fmla="*/ 1509436 h 5278114"/>
              <a:gd name="connsiteX4935" fmla="*/ 1805801 w 5610835"/>
              <a:gd name="connsiteY4935" fmla="*/ 1509436 h 5278114"/>
              <a:gd name="connsiteX4936" fmla="*/ 1804210 w 5610835"/>
              <a:gd name="connsiteY4936" fmla="*/ 1518981 h 5278114"/>
              <a:gd name="connsiteX4937" fmla="*/ 1816936 w 5610835"/>
              <a:gd name="connsiteY4937" fmla="*/ 1509436 h 5278114"/>
              <a:gd name="connsiteX4938" fmla="*/ 1804210 w 5610835"/>
              <a:gd name="connsiteY4938" fmla="*/ 1491938 h 5278114"/>
              <a:gd name="connsiteX4939" fmla="*/ 1808982 w 5610835"/>
              <a:gd name="connsiteY4939" fmla="*/ 1491938 h 5278114"/>
              <a:gd name="connsiteX4940" fmla="*/ 1727855 w 5610835"/>
              <a:gd name="connsiteY4940" fmla="*/ 1485562 h 5278114"/>
              <a:gd name="connsiteX4941" fmla="*/ 1732627 w 5610835"/>
              <a:gd name="connsiteY4941" fmla="*/ 1488743 h 5278114"/>
              <a:gd name="connsiteX4942" fmla="*/ 1724673 w 5610835"/>
              <a:gd name="connsiteY4942" fmla="*/ 1490333 h 5278114"/>
              <a:gd name="connsiteX4943" fmla="*/ 1678542 w 5610835"/>
              <a:gd name="connsiteY4943" fmla="*/ 1483969 h 5278114"/>
              <a:gd name="connsiteX4944" fmla="*/ 1681723 w 5610835"/>
              <a:gd name="connsiteY4944" fmla="*/ 1490333 h 5278114"/>
              <a:gd name="connsiteX4945" fmla="*/ 1673770 w 5610835"/>
              <a:gd name="connsiteY4945" fmla="*/ 1487150 h 5278114"/>
              <a:gd name="connsiteX4946" fmla="*/ 1667408 w 5610835"/>
              <a:gd name="connsiteY4946" fmla="*/ 1483969 h 5278114"/>
              <a:gd name="connsiteX4947" fmla="*/ 1673771 w 5610835"/>
              <a:gd name="connsiteY4947" fmla="*/ 1485560 h 5278114"/>
              <a:gd name="connsiteX4948" fmla="*/ 1668999 w 5610835"/>
              <a:gd name="connsiteY4948" fmla="*/ 1487150 h 5278114"/>
              <a:gd name="connsiteX4949" fmla="*/ 1834434 w 5610835"/>
              <a:gd name="connsiteY4949" fmla="*/ 1480802 h 5278114"/>
              <a:gd name="connsiteX4950" fmla="*/ 1834434 w 5610835"/>
              <a:gd name="connsiteY4950" fmla="*/ 1488755 h 5278114"/>
              <a:gd name="connsiteX4951" fmla="*/ 1839206 w 5610835"/>
              <a:gd name="connsiteY4951" fmla="*/ 1485574 h 5278114"/>
              <a:gd name="connsiteX4952" fmla="*/ 1820118 w 5610835"/>
              <a:gd name="connsiteY4952" fmla="*/ 1480802 h 5278114"/>
              <a:gd name="connsiteX4953" fmla="*/ 1823299 w 5610835"/>
              <a:gd name="connsiteY4953" fmla="*/ 1485574 h 5278114"/>
              <a:gd name="connsiteX4954" fmla="*/ 1828071 w 5610835"/>
              <a:gd name="connsiteY4954" fmla="*/ 1480802 h 5278114"/>
              <a:gd name="connsiteX4955" fmla="*/ 2800009 w 5610835"/>
              <a:gd name="connsiteY4955" fmla="*/ 1479247 h 5278114"/>
              <a:gd name="connsiteX4956" fmla="*/ 2734790 w 5610835"/>
              <a:gd name="connsiteY4956" fmla="*/ 1560374 h 5278114"/>
              <a:gd name="connsiteX4957" fmla="*/ 2741152 w 5610835"/>
              <a:gd name="connsiteY4957" fmla="*/ 1568326 h 5278114"/>
              <a:gd name="connsiteX4958" fmla="*/ 2800009 w 5610835"/>
              <a:gd name="connsiteY4958" fmla="*/ 1479247 h 5278114"/>
              <a:gd name="connsiteX4959" fmla="*/ 1855114 w 5610835"/>
              <a:gd name="connsiteY4959" fmla="*/ 1476031 h 5278114"/>
              <a:gd name="connsiteX4960" fmla="*/ 1851932 w 5610835"/>
              <a:gd name="connsiteY4960" fmla="*/ 1480802 h 5278114"/>
              <a:gd name="connsiteX4961" fmla="*/ 1855114 w 5610835"/>
              <a:gd name="connsiteY4961" fmla="*/ 1482392 h 5278114"/>
              <a:gd name="connsiteX4962" fmla="*/ 1859886 w 5610835"/>
              <a:gd name="connsiteY4962" fmla="*/ 1480802 h 5278114"/>
              <a:gd name="connsiteX4963" fmla="*/ 4801153 w 5610835"/>
              <a:gd name="connsiteY4963" fmla="*/ 1474478 h 5278114"/>
              <a:gd name="connsiteX4964" fmla="*/ 4766157 w 5610835"/>
              <a:gd name="connsiteY4964" fmla="*/ 1509472 h 5278114"/>
              <a:gd name="connsiteX4965" fmla="*/ 4634125 w 5610835"/>
              <a:gd name="connsiteY4965" fmla="*/ 1601733 h 5278114"/>
              <a:gd name="connsiteX4966" fmla="*/ 4778883 w 5610835"/>
              <a:gd name="connsiteY4966" fmla="*/ 1488791 h 5278114"/>
              <a:gd name="connsiteX4967" fmla="*/ 4801153 w 5610835"/>
              <a:gd name="connsiteY4967" fmla="*/ 1474478 h 5278114"/>
              <a:gd name="connsiteX4968" fmla="*/ 1893291 w 5610835"/>
              <a:gd name="connsiteY4968" fmla="*/ 1472848 h 5278114"/>
              <a:gd name="connsiteX4969" fmla="*/ 1896473 w 5610835"/>
              <a:gd name="connsiteY4969" fmla="*/ 1477622 h 5278114"/>
              <a:gd name="connsiteX4970" fmla="*/ 1901245 w 5610835"/>
              <a:gd name="connsiteY4970" fmla="*/ 1472848 h 5278114"/>
              <a:gd name="connsiteX4971" fmla="*/ 1696040 w 5610835"/>
              <a:gd name="connsiteY4971" fmla="*/ 1469672 h 5278114"/>
              <a:gd name="connsiteX4972" fmla="*/ 1703994 w 5610835"/>
              <a:gd name="connsiteY4972" fmla="*/ 1469672 h 5278114"/>
              <a:gd name="connsiteX4973" fmla="*/ 1699221 w 5610835"/>
              <a:gd name="connsiteY4973" fmla="*/ 1474447 h 5278114"/>
              <a:gd name="connsiteX4974" fmla="*/ 1651500 w 5610835"/>
              <a:gd name="connsiteY4974" fmla="*/ 1469666 h 5278114"/>
              <a:gd name="connsiteX4975" fmla="*/ 1657863 w 5610835"/>
              <a:gd name="connsiteY4975" fmla="*/ 1469666 h 5278114"/>
              <a:gd name="connsiteX4976" fmla="*/ 1657863 w 5610835"/>
              <a:gd name="connsiteY4976" fmla="*/ 1476031 h 5278114"/>
              <a:gd name="connsiteX4977" fmla="*/ 1651500 w 5610835"/>
              <a:gd name="connsiteY4977" fmla="*/ 1476031 h 5278114"/>
              <a:gd name="connsiteX4978" fmla="*/ 1651500 w 5610835"/>
              <a:gd name="connsiteY4978" fmla="*/ 1469666 h 5278114"/>
              <a:gd name="connsiteX4979" fmla="*/ 1805801 w 5610835"/>
              <a:gd name="connsiteY4979" fmla="*/ 1469544 h 5278114"/>
              <a:gd name="connsiteX4980" fmla="*/ 1805624 w 5610835"/>
              <a:gd name="connsiteY4980" fmla="*/ 1469666 h 5278114"/>
              <a:gd name="connsiteX4981" fmla="*/ 1805801 w 5610835"/>
              <a:gd name="connsiteY4981" fmla="*/ 1469666 h 5278114"/>
              <a:gd name="connsiteX4982" fmla="*/ 1963284 w 5610835"/>
              <a:gd name="connsiteY4982" fmla="*/ 1468064 h 5278114"/>
              <a:gd name="connsiteX4983" fmla="*/ 1963284 w 5610835"/>
              <a:gd name="connsiteY4983" fmla="*/ 1474428 h 5278114"/>
              <a:gd name="connsiteX4984" fmla="*/ 1968056 w 5610835"/>
              <a:gd name="connsiteY4984" fmla="*/ 1472836 h 5278114"/>
              <a:gd name="connsiteX4985" fmla="*/ 1856704 w 5610835"/>
              <a:gd name="connsiteY4985" fmla="*/ 1464895 h 5278114"/>
              <a:gd name="connsiteX4986" fmla="*/ 1861476 w 5610835"/>
              <a:gd name="connsiteY4986" fmla="*/ 1474441 h 5278114"/>
              <a:gd name="connsiteX4987" fmla="*/ 1864658 w 5610835"/>
              <a:gd name="connsiteY4987" fmla="*/ 1469666 h 5278114"/>
              <a:gd name="connsiteX4988" fmla="*/ 1856704 w 5610835"/>
              <a:gd name="connsiteY4988" fmla="*/ 1464895 h 5278114"/>
              <a:gd name="connsiteX4989" fmla="*/ 1738990 w 5610835"/>
              <a:gd name="connsiteY4989" fmla="*/ 1464895 h 5278114"/>
              <a:gd name="connsiteX4990" fmla="*/ 1746943 w 5610835"/>
              <a:gd name="connsiteY4990" fmla="*/ 1464895 h 5278114"/>
              <a:gd name="connsiteX4991" fmla="*/ 1746943 w 5610835"/>
              <a:gd name="connsiteY4991" fmla="*/ 1469666 h 5278114"/>
              <a:gd name="connsiteX4992" fmla="*/ 1746943 w 5610835"/>
              <a:gd name="connsiteY4992" fmla="*/ 1474441 h 5278114"/>
              <a:gd name="connsiteX4993" fmla="*/ 1754897 w 5610835"/>
              <a:gd name="connsiteY4993" fmla="*/ 1474441 h 5278114"/>
              <a:gd name="connsiteX4994" fmla="*/ 1762852 w 5610835"/>
              <a:gd name="connsiteY4994" fmla="*/ 1487166 h 5278114"/>
              <a:gd name="connsiteX4995" fmla="*/ 1759935 w 5610835"/>
              <a:gd name="connsiteY4995" fmla="*/ 1491540 h 5278114"/>
              <a:gd name="connsiteX4996" fmla="*/ 1758079 w 5610835"/>
              <a:gd name="connsiteY4996" fmla="*/ 1488755 h 5278114"/>
              <a:gd name="connsiteX4997" fmla="*/ 1748534 w 5610835"/>
              <a:gd name="connsiteY4997" fmla="*/ 1487166 h 5278114"/>
              <a:gd name="connsiteX4998" fmla="*/ 1738990 w 5610835"/>
              <a:gd name="connsiteY4998" fmla="*/ 1490347 h 5278114"/>
              <a:gd name="connsiteX4999" fmla="*/ 1742171 w 5610835"/>
              <a:gd name="connsiteY4999" fmla="*/ 1485574 h 5278114"/>
              <a:gd name="connsiteX5000" fmla="*/ 1732627 w 5610835"/>
              <a:gd name="connsiteY5000" fmla="*/ 1474441 h 5278114"/>
              <a:gd name="connsiteX5001" fmla="*/ 1737399 w 5610835"/>
              <a:gd name="connsiteY5001" fmla="*/ 1474441 h 5278114"/>
              <a:gd name="connsiteX5002" fmla="*/ 1734218 w 5610835"/>
              <a:gd name="connsiteY5002" fmla="*/ 1469666 h 5278114"/>
              <a:gd name="connsiteX5003" fmla="*/ 1738990 w 5610835"/>
              <a:gd name="connsiteY5003" fmla="*/ 1469666 h 5278114"/>
              <a:gd name="connsiteX5004" fmla="*/ 1758080 w 5610835"/>
              <a:gd name="connsiteY5004" fmla="*/ 1464894 h 5278114"/>
              <a:gd name="connsiteX5005" fmla="*/ 1758080 w 5610835"/>
              <a:gd name="connsiteY5005" fmla="*/ 1472848 h 5278114"/>
              <a:gd name="connsiteX5006" fmla="*/ 1753308 w 5610835"/>
              <a:gd name="connsiteY5006" fmla="*/ 1469666 h 5278114"/>
              <a:gd name="connsiteX5007" fmla="*/ 1754899 w 5610835"/>
              <a:gd name="connsiteY5007" fmla="*/ 1468076 h 5278114"/>
              <a:gd name="connsiteX5008" fmla="*/ 1788302 w 5610835"/>
              <a:gd name="connsiteY5008" fmla="*/ 1463300 h 5278114"/>
              <a:gd name="connsiteX5009" fmla="*/ 1793075 w 5610835"/>
              <a:gd name="connsiteY5009" fmla="*/ 1466481 h 5278114"/>
              <a:gd name="connsiteX5010" fmla="*/ 1785121 w 5610835"/>
              <a:gd name="connsiteY5010" fmla="*/ 1468072 h 5278114"/>
              <a:gd name="connsiteX5011" fmla="*/ 1980781 w 5610835"/>
              <a:gd name="connsiteY5011" fmla="*/ 1463292 h 5278114"/>
              <a:gd name="connsiteX5012" fmla="*/ 1976009 w 5610835"/>
              <a:gd name="connsiteY5012" fmla="*/ 1469655 h 5278114"/>
              <a:gd name="connsiteX5013" fmla="*/ 1980781 w 5610835"/>
              <a:gd name="connsiteY5013" fmla="*/ 1469655 h 5278114"/>
              <a:gd name="connsiteX5014" fmla="*/ 1877384 w 5610835"/>
              <a:gd name="connsiteY5014" fmla="*/ 1460121 h 5278114"/>
              <a:gd name="connsiteX5015" fmla="*/ 1874202 w 5610835"/>
              <a:gd name="connsiteY5015" fmla="*/ 1464895 h 5278114"/>
              <a:gd name="connsiteX5016" fmla="*/ 1877384 w 5610835"/>
              <a:gd name="connsiteY5016" fmla="*/ 1466485 h 5278114"/>
              <a:gd name="connsiteX5017" fmla="*/ 1882156 w 5610835"/>
              <a:gd name="connsiteY5017" fmla="*/ 1464895 h 5278114"/>
              <a:gd name="connsiteX5018" fmla="*/ 5233833 w 5610835"/>
              <a:gd name="connsiteY5018" fmla="*/ 1458567 h 5278114"/>
              <a:gd name="connsiteX5019" fmla="*/ 5217925 w 5610835"/>
              <a:gd name="connsiteY5019" fmla="*/ 1476071 h 5278114"/>
              <a:gd name="connsiteX5020" fmla="*/ 4988858 w 5610835"/>
              <a:gd name="connsiteY5020" fmla="*/ 1601733 h 5278114"/>
              <a:gd name="connsiteX5021" fmla="*/ 5217925 w 5610835"/>
              <a:gd name="connsiteY5021" fmla="*/ 1466523 h 5278114"/>
              <a:gd name="connsiteX5022" fmla="*/ 5233833 w 5610835"/>
              <a:gd name="connsiteY5022" fmla="*/ 1458567 h 5278114"/>
              <a:gd name="connsiteX5023" fmla="*/ 1837615 w 5610835"/>
              <a:gd name="connsiteY5023" fmla="*/ 1458332 h 5278114"/>
              <a:gd name="connsiteX5024" fmla="*/ 1837615 w 5610835"/>
              <a:gd name="connsiteY5024" fmla="*/ 1463301 h 5278114"/>
              <a:gd name="connsiteX5025" fmla="*/ 1837614 w 5610835"/>
              <a:gd name="connsiteY5025" fmla="*/ 1463301 h 5278114"/>
              <a:gd name="connsiteX5026" fmla="*/ 1839206 w 5610835"/>
              <a:gd name="connsiteY5026" fmla="*/ 1464895 h 5278114"/>
              <a:gd name="connsiteX5027" fmla="*/ 1842388 w 5610835"/>
              <a:gd name="connsiteY5027" fmla="*/ 1460121 h 5278114"/>
              <a:gd name="connsiteX5028" fmla="*/ 1808982 w 5610835"/>
              <a:gd name="connsiteY5028" fmla="*/ 1456938 h 5278114"/>
              <a:gd name="connsiteX5029" fmla="*/ 1816936 w 5610835"/>
              <a:gd name="connsiteY5029" fmla="*/ 1456938 h 5278114"/>
              <a:gd name="connsiteX5030" fmla="*/ 1816936 w 5610835"/>
              <a:gd name="connsiteY5030" fmla="*/ 1463303 h 5278114"/>
              <a:gd name="connsiteX5031" fmla="*/ 1740581 w 5610835"/>
              <a:gd name="connsiteY5031" fmla="*/ 1453746 h 5278114"/>
              <a:gd name="connsiteX5032" fmla="*/ 1735809 w 5610835"/>
              <a:gd name="connsiteY5032" fmla="*/ 1463291 h 5278114"/>
              <a:gd name="connsiteX5033" fmla="*/ 1740581 w 5610835"/>
              <a:gd name="connsiteY5033" fmla="*/ 1453746 h 5278114"/>
              <a:gd name="connsiteX5034" fmla="*/ 1804211 w 5610835"/>
              <a:gd name="connsiteY5034" fmla="*/ 1452167 h 5278114"/>
              <a:gd name="connsiteX5035" fmla="*/ 1812164 w 5610835"/>
              <a:gd name="connsiteY5035" fmla="*/ 1452167 h 5278114"/>
              <a:gd name="connsiteX5036" fmla="*/ 1808982 w 5610835"/>
              <a:gd name="connsiteY5036" fmla="*/ 1456938 h 5278114"/>
              <a:gd name="connsiteX5037" fmla="*/ 1716720 w 5610835"/>
              <a:gd name="connsiteY5037" fmla="*/ 1452156 h 5278114"/>
              <a:gd name="connsiteX5038" fmla="*/ 1723083 w 5610835"/>
              <a:gd name="connsiteY5038" fmla="*/ 1452156 h 5278114"/>
              <a:gd name="connsiteX5039" fmla="*/ 1723083 w 5610835"/>
              <a:gd name="connsiteY5039" fmla="*/ 1456928 h 5278114"/>
              <a:gd name="connsiteX5040" fmla="*/ 2850913 w 5610835"/>
              <a:gd name="connsiteY5040" fmla="*/ 1450612 h 5278114"/>
              <a:gd name="connsiteX5041" fmla="*/ 2752288 w 5610835"/>
              <a:gd name="connsiteY5041" fmla="*/ 1589005 h 5278114"/>
              <a:gd name="connsiteX5042" fmla="*/ 2753878 w 5610835"/>
              <a:gd name="connsiteY5042" fmla="*/ 1592186 h 5278114"/>
              <a:gd name="connsiteX5043" fmla="*/ 2741152 w 5610835"/>
              <a:gd name="connsiteY5043" fmla="*/ 1606502 h 5278114"/>
              <a:gd name="connsiteX5044" fmla="*/ 2737971 w 5610835"/>
              <a:gd name="connsiteY5044" fmla="*/ 1603321 h 5278114"/>
              <a:gd name="connsiteX5045" fmla="*/ 2648890 w 5610835"/>
              <a:gd name="connsiteY5045" fmla="*/ 1685999 h 5278114"/>
              <a:gd name="connsiteX5046" fmla="*/ 2645708 w 5610835"/>
              <a:gd name="connsiteY5046" fmla="*/ 1705100 h 5278114"/>
              <a:gd name="connsiteX5047" fmla="*/ 2850913 w 5610835"/>
              <a:gd name="connsiteY5047" fmla="*/ 1450612 h 5278114"/>
              <a:gd name="connsiteX5048" fmla="*/ 1859886 w 5610835"/>
              <a:gd name="connsiteY5048" fmla="*/ 1450576 h 5278114"/>
              <a:gd name="connsiteX5049" fmla="*/ 1867839 w 5610835"/>
              <a:gd name="connsiteY5049" fmla="*/ 1456940 h 5278114"/>
              <a:gd name="connsiteX5050" fmla="*/ 1867839 w 5610835"/>
              <a:gd name="connsiteY5050" fmla="*/ 1450576 h 5278114"/>
              <a:gd name="connsiteX5051" fmla="*/ 1789894 w 5610835"/>
              <a:gd name="connsiteY5051" fmla="*/ 1448984 h 5278114"/>
              <a:gd name="connsiteX5052" fmla="*/ 1791485 w 5610835"/>
              <a:gd name="connsiteY5052" fmla="*/ 1458528 h 5278114"/>
              <a:gd name="connsiteX5053" fmla="*/ 1786713 w 5610835"/>
              <a:gd name="connsiteY5053" fmla="*/ 1460120 h 5278114"/>
              <a:gd name="connsiteX5054" fmla="*/ 1777167 w 5610835"/>
              <a:gd name="connsiteY5054" fmla="*/ 1458528 h 5278114"/>
              <a:gd name="connsiteX5055" fmla="*/ 1777167 w 5610835"/>
              <a:gd name="connsiteY5055" fmla="*/ 1461709 h 5278114"/>
              <a:gd name="connsiteX5056" fmla="*/ 1777169 w 5610835"/>
              <a:gd name="connsiteY5056" fmla="*/ 1461709 h 5278114"/>
              <a:gd name="connsiteX5057" fmla="*/ 1781941 w 5610835"/>
              <a:gd name="connsiteY5057" fmla="*/ 1466481 h 5278114"/>
              <a:gd name="connsiteX5058" fmla="*/ 1764442 w 5610835"/>
              <a:gd name="connsiteY5058" fmla="*/ 1472845 h 5278114"/>
              <a:gd name="connsiteX5059" fmla="*/ 1772942 w 5610835"/>
              <a:gd name="connsiteY5059" fmla="*/ 1466581 h 5278114"/>
              <a:gd name="connsiteX5060" fmla="*/ 1775787 w 5610835"/>
              <a:gd name="connsiteY5060" fmla="*/ 1463301 h 5278114"/>
              <a:gd name="connsiteX5061" fmla="*/ 1769214 w 5610835"/>
              <a:gd name="connsiteY5061" fmla="*/ 1463301 h 5278114"/>
              <a:gd name="connsiteX5062" fmla="*/ 1781940 w 5610835"/>
              <a:gd name="connsiteY5062" fmla="*/ 1452165 h 5278114"/>
              <a:gd name="connsiteX5063" fmla="*/ 1778758 w 5610835"/>
              <a:gd name="connsiteY5063" fmla="*/ 1455346 h 5278114"/>
              <a:gd name="connsiteX5064" fmla="*/ 1786713 w 5610835"/>
              <a:gd name="connsiteY5064" fmla="*/ 1455346 h 5278114"/>
              <a:gd name="connsiteX5065" fmla="*/ 1789894 w 5610835"/>
              <a:gd name="connsiteY5065" fmla="*/ 1448984 h 5278114"/>
              <a:gd name="connsiteX5066" fmla="*/ 1816937 w 5610835"/>
              <a:gd name="connsiteY5066" fmla="*/ 1447396 h 5278114"/>
              <a:gd name="connsiteX5067" fmla="*/ 1816937 w 5610835"/>
              <a:gd name="connsiteY5067" fmla="*/ 1453758 h 5278114"/>
              <a:gd name="connsiteX5068" fmla="*/ 1812165 w 5610835"/>
              <a:gd name="connsiteY5068" fmla="*/ 1452167 h 5278114"/>
              <a:gd name="connsiteX5069" fmla="*/ 1753307 w 5610835"/>
              <a:gd name="connsiteY5069" fmla="*/ 1447394 h 5278114"/>
              <a:gd name="connsiteX5070" fmla="*/ 1766033 w 5610835"/>
              <a:gd name="connsiteY5070" fmla="*/ 1447394 h 5278114"/>
              <a:gd name="connsiteX5071" fmla="*/ 1766033 w 5610835"/>
              <a:gd name="connsiteY5071" fmla="*/ 1453756 h 5278114"/>
              <a:gd name="connsiteX5072" fmla="*/ 1759670 w 5610835"/>
              <a:gd name="connsiteY5072" fmla="*/ 1458528 h 5278114"/>
              <a:gd name="connsiteX5073" fmla="*/ 1762852 w 5610835"/>
              <a:gd name="connsiteY5073" fmla="*/ 1463301 h 5278114"/>
              <a:gd name="connsiteX5074" fmla="*/ 1758079 w 5610835"/>
              <a:gd name="connsiteY5074" fmla="*/ 1464893 h 5278114"/>
              <a:gd name="connsiteX5075" fmla="*/ 1753307 w 5610835"/>
              <a:gd name="connsiteY5075" fmla="*/ 1460120 h 5278114"/>
              <a:gd name="connsiteX5076" fmla="*/ 1756489 w 5610835"/>
              <a:gd name="connsiteY5076" fmla="*/ 1455347 h 5278114"/>
              <a:gd name="connsiteX5077" fmla="*/ 1723084 w 5610835"/>
              <a:gd name="connsiteY5077" fmla="*/ 1447384 h 5278114"/>
              <a:gd name="connsiteX5078" fmla="*/ 1727856 w 5610835"/>
              <a:gd name="connsiteY5078" fmla="*/ 1447384 h 5278114"/>
              <a:gd name="connsiteX5079" fmla="*/ 1723084 w 5610835"/>
              <a:gd name="connsiteY5079" fmla="*/ 1452156 h 5278114"/>
              <a:gd name="connsiteX5080" fmla="*/ 1732628 w 5610835"/>
              <a:gd name="connsiteY5080" fmla="*/ 1445813 h 5278114"/>
              <a:gd name="connsiteX5081" fmla="*/ 1742171 w 5610835"/>
              <a:gd name="connsiteY5081" fmla="*/ 1447403 h 5278114"/>
              <a:gd name="connsiteX5082" fmla="*/ 1742171 w 5610835"/>
              <a:gd name="connsiteY5082" fmla="*/ 1450584 h 5278114"/>
              <a:gd name="connsiteX5083" fmla="*/ 1732628 w 5610835"/>
              <a:gd name="connsiteY5083" fmla="*/ 1452174 h 5278114"/>
              <a:gd name="connsiteX5084" fmla="*/ 1731037 w 5610835"/>
              <a:gd name="connsiteY5084" fmla="*/ 1448993 h 5278114"/>
              <a:gd name="connsiteX5085" fmla="*/ 1869430 w 5610835"/>
              <a:gd name="connsiteY5085" fmla="*/ 1445806 h 5278114"/>
              <a:gd name="connsiteX5086" fmla="*/ 1874202 w 5610835"/>
              <a:gd name="connsiteY5086" fmla="*/ 1450576 h 5278114"/>
              <a:gd name="connsiteX5087" fmla="*/ 1875793 w 5610835"/>
              <a:gd name="connsiteY5087" fmla="*/ 1453758 h 5278114"/>
              <a:gd name="connsiteX5088" fmla="*/ 1878975 w 5610835"/>
              <a:gd name="connsiteY5088" fmla="*/ 1460121 h 5278114"/>
              <a:gd name="connsiteX5089" fmla="*/ 1882156 w 5610835"/>
              <a:gd name="connsiteY5089" fmla="*/ 1450576 h 5278114"/>
              <a:gd name="connsiteX5090" fmla="*/ 1874202 w 5610835"/>
              <a:gd name="connsiteY5090" fmla="*/ 1450576 h 5278114"/>
              <a:gd name="connsiteX5091" fmla="*/ 1874202 w 5610835"/>
              <a:gd name="connsiteY5091" fmla="*/ 1445806 h 5278114"/>
              <a:gd name="connsiteX5092" fmla="*/ 1702403 w 5610835"/>
              <a:gd name="connsiteY5092" fmla="*/ 1442630 h 5278114"/>
              <a:gd name="connsiteX5093" fmla="*/ 1705585 w 5610835"/>
              <a:gd name="connsiteY5093" fmla="*/ 1445811 h 5278114"/>
              <a:gd name="connsiteX5094" fmla="*/ 1700813 w 5610835"/>
              <a:gd name="connsiteY5094" fmla="*/ 1450583 h 5278114"/>
              <a:gd name="connsiteX5095" fmla="*/ 1700813 w 5610835"/>
              <a:gd name="connsiteY5095" fmla="*/ 1456945 h 5278114"/>
              <a:gd name="connsiteX5096" fmla="*/ 1696040 w 5610835"/>
              <a:gd name="connsiteY5096" fmla="*/ 1447402 h 5278114"/>
              <a:gd name="connsiteX5097" fmla="*/ 1826480 w 5610835"/>
              <a:gd name="connsiteY5097" fmla="*/ 1439446 h 5278114"/>
              <a:gd name="connsiteX5098" fmla="*/ 1821708 w 5610835"/>
              <a:gd name="connsiteY5098" fmla="*/ 1444217 h 5278114"/>
              <a:gd name="connsiteX5099" fmla="*/ 1826480 w 5610835"/>
              <a:gd name="connsiteY5099" fmla="*/ 1447399 h 5278114"/>
              <a:gd name="connsiteX5100" fmla="*/ 1842303 w 5610835"/>
              <a:gd name="connsiteY5100" fmla="*/ 1437975 h 5278114"/>
              <a:gd name="connsiteX5101" fmla="*/ 1835047 w 5610835"/>
              <a:gd name="connsiteY5101" fmla="*/ 1448131 h 5278114"/>
              <a:gd name="connsiteX5102" fmla="*/ 1837615 w 5610835"/>
              <a:gd name="connsiteY5102" fmla="*/ 1448987 h 5278114"/>
              <a:gd name="connsiteX5103" fmla="*/ 1845569 w 5610835"/>
              <a:gd name="connsiteY5103" fmla="*/ 1439443 h 5278114"/>
              <a:gd name="connsiteX5104" fmla="*/ 1841592 w 5610835"/>
              <a:gd name="connsiteY5104" fmla="*/ 1437652 h 5278114"/>
              <a:gd name="connsiteX5105" fmla="*/ 1841147 w 5610835"/>
              <a:gd name="connsiteY5105" fmla="*/ 1437852 h 5278114"/>
              <a:gd name="connsiteX5106" fmla="*/ 1842037 w 5610835"/>
              <a:gd name="connsiteY5106" fmla="*/ 1437852 h 5278114"/>
              <a:gd name="connsiteX5107" fmla="*/ 1835761 w 5610835"/>
              <a:gd name="connsiteY5107" fmla="*/ 1435733 h 5278114"/>
              <a:gd name="connsiteX5108" fmla="*/ 1834436 w 5610835"/>
              <a:gd name="connsiteY5108" fmla="*/ 1436262 h 5278114"/>
              <a:gd name="connsiteX5109" fmla="*/ 1834436 w 5610835"/>
              <a:gd name="connsiteY5109" fmla="*/ 1437852 h 5278114"/>
              <a:gd name="connsiteX5110" fmla="*/ 1836822 w 5610835"/>
              <a:gd name="connsiteY5110" fmla="*/ 1437852 h 5278114"/>
              <a:gd name="connsiteX5111" fmla="*/ 1861476 w 5610835"/>
              <a:gd name="connsiteY5111" fmla="*/ 1434671 h 5278114"/>
              <a:gd name="connsiteX5112" fmla="*/ 1851932 w 5610835"/>
              <a:gd name="connsiteY5112" fmla="*/ 1436261 h 5278114"/>
              <a:gd name="connsiteX5113" fmla="*/ 1861476 w 5610835"/>
              <a:gd name="connsiteY5113" fmla="*/ 1442626 h 5278114"/>
              <a:gd name="connsiteX5114" fmla="*/ 1866249 w 5610835"/>
              <a:gd name="connsiteY5114" fmla="*/ 1436261 h 5278114"/>
              <a:gd name="connsiteX5115" fmla="*/ 1861476 w 5610835"/>
              <a:gd name="connsiteY5115" fmla="*/ 1434671 h 5278114"/>
              <a:gd name="connsiteX5116" fmla="*/ 1797847 w 5610835"/>
              <a:gd name="connsiteY5116" fmla="*/ 1431487 h 5278114"/>
              <a:gd name="connsiteX5117" fmla="*/ 1805801 w 5610835"/>
              <a:gd name="connsiteY5117" fmla="*/ 1437852 h 5278114"/>
              <a:gd name="connsiteX5118" fmla="*/ 1799438 w 5610835"/>
              <a:gd name="connsiteY5118" fmla="*/ 1441034 h 5278114"/>
              <a:gd name="connsiteX5119" fmla="*/ 1945785 w 5610835"/>
              <a:gd name="connsiteY5119" fmla="*/ 1431477 h 5278114"/>
              <a:gd name="connsiteX5120" fmla="*/ 1945785 w 5610835"/>
              <a:gd name="connsiteY5120" fmla="*/ 1436249 h 5278114"/>
              <a:gd name="connsiteX5121" fmla="*/ 1950557 w 5610835"/>
              <a:gd name="connsiteY5121" fmla="*/ 1431477 h 5278114"/>
              <a:gd name="connsiteX5122" fmla="*/ 1777167 w 5610835"/>
              <a:gd name="connsiteY5122" fmla="*/ 1429896 h 5278114"/>
              <a:gd name="connsiteX5123" fmla="*/ 1785121 w 5610835"/>
              <a:gd name="connsiteY5123" fmla="*/ 1431486 h 5278114"/>
              <a:gd name="connsiteX5124" fmla="*/ 1781939 w 5610835"/>
              <a:gd name="connsiteY5124" fmla="*/ 1436261 h 5278114"/>
              <a:gd name="connsiteX5125" fmla="*/ 1777167 w 5610835"/>
              <a:gd name="connsiteY5125" fmla="*/ 1434669 h 5278114"/>
              <a:gd name="connsiteX5126" fmla="*/ 1764442 w 5610835"/>
              <a:gd name="connsiteY5126" fmla="*/ 1429896 h 5278114"/>
              <a:gd name="connsiteX5127" fmla="*/ 1769214 w 5610835"/>
              <a:gd name="connsiteY5127" fmla="*/ 1429896 h 5278114"/>
              <a:gd name="connsiteX5128" fmla="*/ 1769214 w 5610835"/>
              <a:gd name="connsiteY5128" fmla="*/ 1434669 h 5278114"/>
              <a:gd name="connsiteX5129" fmla="*/ 1777167 w 5610835"/>
              <a:gd name="connsiteY5129" fmla="*/ 1434669 h 5278114"/>
              <a:gd name="connsiteX5130" fmla="*/ 1773985 w 5610835"/>
              <a:gd name="connsiteY5130" fmla="*/ 1437849 h 5278114"/>
              <a:gd name="connsiteX5131" fmla="*/ 1769214 w 5610835"/>
              <a:gd name="connsiteY5131" fmla="*/ 1437849 h 5278114"/>
              <a:gd name="connsiteX5132" fmla="*/ 1767623 w 5610835"/>
              <a:gd name="connsiteY5132" fmla="*/ 1444213 h 5278114"/>
              <a:gd name="connsiteX5133" fmla="*/ 1758078 w 5610835"/>
              <a:gd name="connsiteY5133" fmla="*/ 1439440 h 5278114"/>
              <a:gd name="connsiteX5134" fmla="*/ 1756489 w 5610835"/>
              <a:gd name="connsiteY5134" fmla="*/ 1444213 h 5278114"/>
              <a:gd name="connsiteX5135" fmla="*/ 1754897 w 5610835"/>
              <a:gd name="connsiteY5135" fmla="*/ 1437849 h 5278114"/>
              <a:gd name="connsiteX5136" fmla="*/ 1761260 w 5610835"/>
              <a:gd name="connsiteY5136" fmla="*/ 1436258 h 5278114"/>
              <a:gd name="connsiteX5137" fmla="*/ 1769214 w 5610835"/>
              <a:gd name="connsiteY5137" fmla="*/ 1437849 h 5278114"/>
              <a:gd name="connsiteX5138" fmla="*/ 1769214 w 5610835"/>
              <a:gd name="connsiteY5138" fmla="*/ 1434669 h 5278114"/>
              <a:gd name="connsiteX5139" fmla="*/ 1716719 w 5610835"/>
              <a:gd name="connsiteY5139" fmla="*/ 1429885 h 5278114"/>
              <a:gd name="connsiteX5140" fmla="*/ 1726265 w 5610835"/>
              <a:gd name="connsiteY5140" fmla="*/ 1433066 h 5278114"/>
              <a:gd name="connsiteX5141" fmla="*/ 1721491 w 5610835"/>
              <a:gd name="connsiteY5141" fmla="*/ 1436248 h 5278114"/>
              <a:gd name="connsiteX5142" fmla="*/ 1953738 w 5610835"/>
              <a:gd name="connsiteY5142" fmla="*/ 1426705 h 5278114"/>
              <a:gd name="connsiteX5143" fmla="*/ 1958512 w 5610835"/>
              <a:gd name="connsiteY5143" fmla="*/ 1431477 h 5278114"/>
              <a:gd name="connsiteX5144" fmla="*/ 1958512 w 5610835"/>
              <a:gd name="connsiteY5144" fmla="*/ 1426705 h 5278114"/>
              <a:gd name="connsiteX5145" fmla="*/ 1883747 w 5610835"/>
              <a:gd name="connsiteY5145" fmla="*/ 1425127 h 5278114"/>
              <a:gd name="connsiteX5146" fmla="*/ 1872612 w 5610835"/>
              <a:gd name="connsiteY5146" fmla="*/ 1426719 h 5278114"/>
              <a:gd name="connsiteX5147" fmla="*/ 1875793 w 5610835"/>
              <a:gd name="connsiteY5147" fmla="*/ 1431490 h 5278114"/>
              <a:gd name="connsiteX5148" fmla="*/ 1883747 w 5610835"/>
              <a:gd name="connsiteY5148" fmla="*/ 1429898 h 5278114"/>
              <a:gd name="connsiteX5149" fmla="*/ 1899654 w 5610835"/>
              <a:gd name="connsiteY5149" fmla="*/ 1421946 h 5278114"/>
              <a:gd name="connsiteX5150" fmla="*/ 1907608 w 5610835"/>
              <a:gd name="connsiteY5150" fmla="*/ 1431490 h 5278114"/>
              <a:gd name="connsiteX5151" fmla="*/ 1910790 w 5610835"/>
              <a:gd name="connsiteY5151" fmla="*/ 1429898 h 5278114"/>
              <a:gd name="connsiteX5152" fmla="*/ 1899654 w 5610835"/>
              <a:gd name="connsiteY5152" fmla="*/ 1421946 h 5278114"/>
              <a:gd name="connsiteX5153" fmla="*/ 1810574 w 5610835"/>
              <a:gd name="connsiteY5153" fmla="*/ 1420354 h 5278114"/>
              <a:gd name="connsiteX5154" fmla="*/ 1815346 w 5610835"/>
              <a:gd name="connsiteY5154" fmla="*/ 1425126 h 5278114"/>
              <a:gd name="connsiteX5155" fmla="*/ 1808984 w 5610835"/>
              <a:gd name="connsiteY5155" fmla="*/ 1428308 h 5278114"/>
              <a:gd name="connsiteX5156" fmla="*/ 1754898 w 5610835"/>
              <a:gd name="connsiteY5156" fmla="*/ 1420352 h 5278114"/>
              <a:gd name="connsiteX5157" fmla="*/ 1761261 w 5610835"/>
              <a:gd name="connsiteY5157" fmla="*/ 1425123 h 5278114"/>
              <a:gd name="connsiteX5158" fmla="*/ 1754898 w 5610835"/>
              <a:gd name="connsiteY5158" fmla="*/ 1428306 h 5278114"/>
              <a:gd name="connsiteX5159" fmla="*/ 1750125 w 5610835"/>
              <a:gd name="connsiteY5159" fmla="*/ 1418768 h 5278114"/>
              <a:gd name="connsiteX5160" fmla="*/ 1750125 w 5610835"/>
              <a:gd name="connsiteY5160" fmla="*/ 1425130 h 5278114"/>
              <a:gd name="connsiteX5161" fmla="*/ 1740580 w 5610835"/>
              <a:gd name="connsiteY5161" fmla="*/ 1420359 h 5278114"/>
              <a:gd name="connsiteX5162" fmla="*/ 1770804 w 5610835"/>
              <a:gd name="connsiteY5162" fmla="*/ 1418762 h 5278114"/>
              <a:gd name="connsiteX5163" fmla="*/ 1767623 w 5610835"/>
              <a:gd name="connsiteY5163" fmla="*/ 1428307 h 5278114"/>
              <a:gd name="connsiteX5164" fmla="*/ 1762852 w 5610835"/>
              <a:gd name="connsiteY5164" fmla="*/ 1420353 h 5278114"/>
              <a:gd name="connsiteX5165" fmla="*/ 1789894 w 5610835"/>
              <a:gd name="connsiteY5165" fmla="*/ 1412400 h 5278114"/>
              <a:gd name="connsiteX5166" fmla="*/ 1797849 w 5610835"/>
              <a:gd name="connsiteY5166" fmla="*/ 1413991 h 5278114"/>
              <a:gd name="connsiteX5167" fmla="*/ 1794666 w 5610835"/>
              <a:gd name="connsiteY5167" fmla="*/ 1417173 h 5278114"/>
              <a:gd name="connsiteX5168" fmla="*/ 1794666 w 5610835"/>
              <a:gd name="connsiteY5168" fmla="*/ 1417173 h 5278114"/>
              <a:gd name="connsiteX5169" fmla="*/ 1789894 w 5610835"/>
              <a:gd name="connsiteY5169" fmla="*/ 1418764 h 5278114"/>
              <a:gd name="connsiteX5170" fmla="*/ 1786712 w 5610835"/>
              <a:gd name="connsiteY5170" fmla="*/ 1425126 h 5278114"/>
              <a:gd name="connsiteX5171" fmla="*/ 1783532 w 5610835"/>
              <a:gd name="connsiteY5171" fmla="*/ 1415582 h 5278114"/>
              <a:gd name="connsiteX5172" fmla="*/ 1791485 w 5610835"/>
              <a:gd name="connsiteY5172" fmla="*/ 1415582 h 5278114"/>
              <a:gd name="connsiteX5173" fmla="*/ 1710356 w 5610835"/>
              <a:gd name="connsiteY5173" fmla="*/ 1410814 h 5278114"/>
              <a:gd name="connsiteX5174" fmla="*/ 1710356 w 5610835"/>
              <a:gd name="connsiteY5174" fmla="*/ 1415589 h 5278114"/>
              <a:gd name="connsiteX5175" fmla="*/ 1702403 w 5610835"/>
              <a:gd name="connsiteY5175" fmla="*/ 1415589 h 5278114"/>
              <a:gd name="connsiteX5176" fmla="*/ 1710356 w 5610835"/>
              <a:gd name="connsiteY5176" fmla="*/ 1410814 h 5278114"/>
              <a:gd name="connsiteX5177" fmla="*/ 1969646 w 5610835"/>
              <a:gd name="connsiteY5177" fmla="*/ 1406026 h 5278114"/>
              <a:gd name="connsiteX5178" fmla="*/ 1968056 w 5610835"/>
              <a:gd name="connsiteY5178" fmla="*/ 1409207 h 5278114"/>
              <a:gd name="connsiteX5179" fmla="*/ 1976009 w 5610835"/>
              <a:gd name="connsiteY5179" fmla="*/ 1418752 h 5278114"/>
              <a:gd name="connsiteX5180" fmla="*/ 1972828 w 5610835"/>
              <a:gd name="connsiteY5180" fmla="*/ 1412390 h 5278114"/>
              <a:gd name="connsiteX5181" fmla="*/ 1969646 w 5610835"/>
              <a:gd name="connsiteY5181" fmla="*/ 1406026 h 5278114"/>
              <a:gd name="connsiteX5182" fmla="*/ 1661045 w 5610835"/>
              <a:gd name="connsiteY5182" fmla="*/ 1404433 h 5278114"/>
              <a:gd name="connsiteX5183" fmla="*/ 1661045 w 5610835"/>
              <a:gd name="connsiteY5183" fmla="*/ 1409205 h 5278114"/>
              <a:gd name="connsiteX5184" fmla="*/ 1656273 w 5610835"/>
              <a:gd name="connsiteY5184" fmla="*/ 1409205 h 5278114"/>
              <a:gd name="connsiteX5185" fmla="*/ 1748534 w 5610835"/>
              <a:gd name="connsiteY5185" fmla="*/ 1402859 h 5278114"/>
              <a:gd name="connsiteX5186" fmla="*/ 1740580 w 5610835"/>
              <a:gd name="connsiteY5186" fmla="*/ 1410813 h 5278114"/>
              <a:gd name="connsiteX5187" fmla="*/ 1737399 w 5610835"/>
              <a:gd name="connsiteY5187" fmla="*/ 1406041 h 5278114"/>
              <a:gd name="connsiteX5188" fmla="*/ 1823299 w 5610835"/>
              <a:gd name="connsiteY5188" fmla="*/ 1402857 h 5278114"/>
              <a:gd name="connsiteX5189" fmla="*/ 1828071 w 5610835"/>
              <a:gd name="connsiteY5189" fmla="*/ 1402857 h 5278114"/>
              <a:gd name="connsiteX5190" fmla="*/ 1832844 w 5610835"/>
              <a:gd name="connsiteY5190" fmla="*/ 1407629 h 5278114"/>
              <a:gd name="connsiteX5191" fmla="*/ 1842389 w 5610835"/>
              <a:gd name="connsiteY5191" fmla="*/ 1406039 h 5278114"/>
              <a:gd name="connsiteX5192" fmla="*/ 1829662 w 5610835"/>
              <a:gd name="connsiteY5192" fmla="*/ 1413994 h 5278114"/>
              <a:gd name="connsiteX5193" fmla="*/ 1824890 w 5610835"/>
              <a:gd name="connsiteY5193" fmla="*/ 1407629 h 5278114"/>
              <a:gd name="connsiteX5194" fmla="*/ 1821708 w 5610835"/>
              <a:gd name="connsiteY5194" fmla="*/ 1417176 h 5278114"/>
              <a:gd name="connsiteX5195" fmla="*/ 1816936 w 5610835"/>
              <a:gd name="connsiteY5195" fmla="*/ 1417176 h 5278114"/>
              <a:gd name="connsiteX5196" fmla="*/ 1812164 w 5610835"/>
              <a:gd name="connsiteY5196" fmla="*/ 1413994 h 5278114"/>
              <a:gd name="connsiteX5197" fmla="*/ 1804210 w 5610835"/>
              <a:gd name="connsiteY5197" fmla="*/ 1417176 h 5278114"/>
              <a:gd name="connsiteX5198" fmla="*/ 1799437 w 5610835"/>
              <a:gd name="connsiteY5198" fmla="*/ 1423538 h 5278114"/>
              <a:gd name="connsiteX5199" fmla="*/ 1794666 w 5610835"/>
              <a:gd name="connsiteY5199" fmla="*/ 1418766 h 5278114"/>
              <a:gd name="connsiteX5200" fmla="*/ 1802619 w 5610835"/>
              <a:gd name="connsiteY5200" fmla="*/ 1418766 h 5278114"/>
              <a:gd name="connsiteX5201" fmla="*/ 1799437 w 5610835"/>
              <a:gd name="connsiteY5201" fmla="*/ 1412403 h 5278114"/>
              <a:gd name="connsiteX5202" fmla="*/ 1804210 w 5610835"/>
              <a:gd name="connsiteY5202" fmla="*/ 1409220 h 5278114"/>
              <a:gd name="connsiteX5203" fmla="*/ 1813754 w 5610835"/>
              <a:gd name="connsiteY5203" fmla="*/ 1412403 h 5278114"/>
              <a:gd name="connsiteX5204" fmla="*/ 1821709 w 5610835"/>
              <a:gd name="connsiteY5204" fmla="*/ 1404448 h 5278114"/>
              <a:gd name="connsiteX5205" fmla="*/ 1708766 w 5610835"/>
              <a:gd name="connsiteY5205" fmla="*/ 1399680 h 5278114"/>
              <a:gd name="connsiteX5206" fmla="*/ 1713538 w 5610835"/>
              <a:gd name="connsiteY5206" fmla="*/ 1404453 h 5278114"/>
              <a:gd name="connsiteX5207" fmla="*/ 1708766 w 5610835"/>
              <a:gd name="connsiteY5207" fmla="*/ 1407634 h 5278114"/>
              <a:gd name="connsiteX5208" fmla="*/ 1705585 w 5610835"/>
              <a:gd name="connsiteY5208" fmla="*/ 1404453 h 5278114"/>
              <a:gd name="connsiteX5209" fmla="*/ 1818528 w 5610835"/>
              <a:gd name="connsiteY5209" fmla="*/ 1399675 h 5278114"/>
              <a:gd name="connsiteX5210" fmla="*/ 1821709 w 5610835"/>
              <a:gd name="connsiteY5210" fmla="*/ 1404448 h 5278114"/>
              <a:gd name="connsiteX5211" fmla="*/ 1815346 w 5610835"/>
              <a:gd name="connsiteY5211" fmla="*/ 1404448 h 5278114"/>
              <a:gd name="connsiteX5212" fmla="*/ 1832844 w 5610835"/>
              <a:gd name="connsiteY5212" fmla="*/ 1399666 h 5278114"/>
              <a:gd name="connsiteX5213" fmla="*/ 1837616 w 5610835"/>
              <a:gd name="connsiteY5213" fmla="*/ 1404437 h 5278114"/>
              <a:gd name="connsiteX5214" fmla="*/ 1831253 w 5610835"/>
              <a:gd name="connsiteY5214" fmla="*/ 1404437 h 5278114"/>
              <a:gd name="connsiteX5215" fmla="*/ 1851933 w 5610835"/>
              <a:gd name="connsiteY5215" fmla="*/ 1398084 h 5278114"/>
              <a:gd name="connsiteX5216" fmla="*/ 1845569 w 5610835"/>
              <a:gd name="connsiteY5216" fmla="*/ 1406038 h 5278114"/>
              <a:gd name="connsiteX5217" fmla="*/ 1842388 w 5610835"/>
              <a:gd name="connsiteY5217" fmla="*/ 1401265 h 5278114"/>
              <a:gd name="connsiteX5218" fmla="*/ 1842388 w 5610835"/>
              <a:gd name="connsiteY5218" fmla="*/ 1393310 h 5278114"/>
              <a:gd name="connsiteX5219" fmla="*/ 1842388 w 5610835"/>
              <a:gd name="connsiteY5219" fmla="*/ 1401265 h 5278114"/>
              <a:gd name="connsiteX5220" fmla="*/ 1842388 w 5610835"/>
              <a:gd name="connsiteY5220" fmla="*/ 1401266 h 5278114"/>
              <a:gd name="connsiteX5221" fmla="*/ 1834434 w 5610835"/>
              <a:gd name="connsiteY5221" fmla="*/ 1394902 h 5278114"/>
              <a:gd name="connsiteX5222" fmla="*/ 1794666 w 5610835"/>
              <a:gd name="connsiteY5222" fmla="*/ 1393303 h 5278114"/>
              <a:gd name="connsiteX5223" fmla="*/ 1802619 w 5610835"/>
              <a:gd name="connsiteY5223" fmla="*/ 1394894 h 5278114"/>
              <a:gd name="connsiteX5224" fmla="*/ 1794666 w 5610835"/>
              <a:gd name="connsiteY5224" fmla="*/ 1401256 h 5278114"/>
              <a:gd name="connsiteX5225" fmla="*/ 1955329 w 5610835"/>
              <a:gd name="connsiteY5225" fmla="*/ 1393300 h 5278114"/>
              <a:gd name="connsiteX5226" fmla="*/ 1955329 w 5610835"/>
              <a:gd name="connsiteY5226" fmla="*/ 1398071 h 5278114"/>
              <a:gd name="connsiteX5227" fmla="*/ 1960101 w 5610835"/>
              <a:gd name="connsiteY5227" fmla="*/ 1398071 h 5278114"/>
              <a:gd name="connsiteX5228" fmla="*/ 2959083 w 5610835"/>
              <a:gd name="connsiteY5228" fmla="*/ 1391754 h 5278114"/>
              <a:gd name="connsiteX5229" fmla="*/ 2632982 w 5610835"/>
              <a:gd name="connsiteY5229" fmla="*/ 1792632 h 5278114"/>
              <a:gd name="connsiteX5230" fmla="*/ 2632982 w 5610835"/>
              <a:gd name="connsiteY5230" fmla="*/ 1794224 h 5278114"/>
              <a:gd name="connsiteX5231" fmla="*/ 2959083 w 5610835"/>
              <a:gd name="connsiteY5231" fmla="*/ 1391754 h 5278114"/>
              <a:gd name="connsiteX5232" fmla="*/ 2943175 w 5610835"/>
              <a:gd name="connsiteY5232" fmla="*/ 1388574 h 5278114"/>
              <a:gd name="connsiteX5233" fmla="*/ 2916133 w 5610835"/>
              <a:gd name="connsiteY5233" fmla="*/ 1442662 h 5278114"/>
              <a:gd name="connsiteX5234" fmla="*/ 2637755 w 5610835"/>
              <a:gd name="connsiteY5234" fmla="*/ 1762401 h 5278114"/>
              <a:gd name="connsiteX5235" fmla="*/ 2637755 w 5610835"/>
              <a:gd name="connsiteY5235" fmla="*/ 1776721 h 5278114"/>
              <a:gd name="connsiteX5236" fmla="*/ 2916133 w 5610835"/>
              <a:gd name="connsiteY5236" fmla="*/ 1460157 h 5278114"/>
              <a:gd name="connsiteX5237" fmla="*/ 2943175 w 5610835"/>
              <a:gd name="connsiteY5237" fmla="*/ 1388574 h 5278114"/>
              <a:gd name="connsiteX5238" fmla="*/ 1859886 w 5610835"/>
              <a:gd name="connsiteY5238" fmla="*/ 1388532 h 5278114"/>
              <a:gd name="connsiteX5239" fmla="*/ 1867840 w 5610835"/>
              <a:gd name="connsiteY5239" fmla="*/ 1394896 h 5278114"/>
              <a:gd name="connsiteX5240" fmla="*/ 1859886 w 5610835"/>
              <a:gd name="connsiteY5240" fmla="*/ 1394896 h 5278114"/>
              <a:gd name="connsiteX5241" fmla="*/ 1856704 w 5610835"/>
              <a:gd name="connsiteY5241" fmla="*/ 1399668 h 5278114"/>
              <a:gd name="connsiteX5242" fmla="*/ 1855114 w 5610835"/>
              <a:gd name="connsiteY5242" fmla="*/ 1393304 h 5278114"/>
              <a:gd name="connsiteX5243" fmla="*/ 1853523 w 5610835"/>
              <a:gd name="connsiteY5243" fmla="*/ 1386942 h 5278114"/>
              <a:gd name="connsiteX5244" fmla="*/ 1853523 w 5610835"/>
              <a:gd name="connsiteY5244" fmla="*/ 1391714 h 5278114"/>
              <a:gd name="connsiteX5245" fmla="*/ 1848752 w 5610835"/>
              <a:gd name="connsiteY5245" fmla="*/ 1391714 h 5278114"/>
              <a:gd name="connsiteX5246" fmla="*/ 1731037 w 5610835"/>
              <a:gd name="connsiteY5246" fmla="*/ 1386935 h 5278114"/>
              <a:gd name="connsiteX5247" fmla="*/ 1727855 w 5610835"/>
              <a:gd name="connsiteY5247" fmla="*/ 1396481 h 5278114"/>
              <a:gd name="connsiteX5248" fmla="*/ 1719901 w 5610835"/>
              <a:gd name="connsiteY5248" fmla="*/ 1390117 h 5278114"/>
              <a:gd name="connsiteX5249" fmla="*/ 1955329 w 5610835"/>
              <a:gd name="connsiteY5249" fmla="*/ 1385346 h 5278114"/>
              <a:gd name="connsiteX5250" fmla="*/ 1958512 w 5610835"/>
              <a:gd name="connsiteY5250" fmla="*/ 1390118 h 5278114"/>
              <a:gd name="connsiteX5251" fmla="*/ 1963284 w 5610835"/>
              <a:gd name="connsiteY5251" fmla="*/ 1385346 h 5278114"/>
              <a:gd name="connsiteX5252" fmla="*/ 1808982 w 5610835"/>
              <a:gd name="connsiteY5252" fmla="*/ 1382167 h 5278114"/>
              <a:gd name="connsiteX5253" fmla="*/ 1805800 w 5610835"/>
              <a:gd name="connsiteY5253" fmla="*/ 1398075 h 5278114"/>
              <a:gd name="connsiteX5254" fmla="*/ 1804209 w 5610835"/>
              <a:gd name="connsiteY5254" fmla="*/ 1394894 h 5278114"/>
              <a:gd name="connsiteX5255" fmla="*/ 1807391 w 5610835"/>
              <a:gd name="connsiteY5255" fmla="*/ 1386939 h 5278114"/>
              <a:gd name="connsiteX5256" fmla="*/ 1799437 w 5610835"/>
              <a:gd name="connsiteY5256" fmla="*/ 1385348 h 5278114"/>
              <a:gd name="connsiteX5257" fmla="*/ 1802618 w 5610835"/>
              <a:gd name="connsiteY5257" fmla="*/ 1374214 h 5278114"/>
              <a:gd name="connsiteX5258" fmla="*/ 1807391 w 5610835"/>
              <a:gd name="connsiteY5258" fmla="*/ 1375804 h 5278114"/>
              <a:gd name="connsiteX5259" fmla="*/ 1799437 w 5610835"/>
              <a:gd name="connsiteY5259" fmla="*/ 1383758 h 5278114"/>
              <a:gd name="connsiteX5260" fmla="*/ 1851932 w 5610835"/>
              <a:gd name="connsiteY5260" fmla="*/ 1372633 h 5278114"/>
              <a:gd name="connsiteX5261" fmla="*/ 1860795 w 5610835"/>
              <a:gd name="connsiteY5261" fmla="*/ 1381494 h 5278114"/>
              <a:gd name="connsiteX5262" fmla="*/ 1872612 w 5610835"/>
              <a:gd name="connsiteY5262" fmla="*/ 1372633 h 5278114"/>
              <a:gd name="connsiteX5263" fmla="*/ 1875794 w 5610835"/>
              <a:gd name="connsiteY5263" fmla="*/ 1375814 h 5278114"/>
              <a:gd name="connsiteX5264" fmla="*/ 1863042 w 5610835"/>
              <a:gd name="connsiteY5264" fmla="*/ 1386103 h 5278114"/>
              <a:gd name="connsiteX5265" fmla="*/ 1860342 w 5610835"/>
              <a:gd name="connsiteY5265" fmla="*/ 1382743 h 5278114"/>
              <a:gd name="connsiteX5266" fmla="*/ 1858295 w 5610835"/>
              <a:gd name="connsiteY5266" fmla="*/ 1383766 h 5278114"/>
              <a:gd name="connsiteX5267" fmla="*/ 1848751 w 5610835"/>
              <a:gd name="connsiteY5267" fmla="*/ 1382176 h 5278114"/>
              <a:gd name="connsiteX5268" fmla="*/ 1851932 w 5610835"/>
              <a:gd name="connsiteY5268" fmla="*/ 1372633 h 5278114"/>
              <a:gd name="connsiteX5269" fmla="*/ 1828071 w 5610835"/>
              <a:gd name="connsiteY5269" fmla="*/ 1372624 h 5278114"/>
              <a:gd name="connsiteX5270" fmla="*/ 1832843 w 5610835"/>
              <a:gd name="connsiteY5270" fmla="*/ 1377396 h 5278114"/>
              <a:gd name="connsiteX5271" fmla="*/ 1824890 w 5610835"/>
              <a:gd name="connsiteY5271" fmla="*/ 1378987 h 5278114"/>
              <a:gd name="connsiteX5272" fmla="*/ 1976539 w 5610835"/>
              <a:gd name="connsiteY5272" fmla="*/ 1368908 h 5278114"/>
              <a:gd name="connsiteX5273" fmla="*/ 1977599 w 5610835"/>
              <a:gd name="connsiteY5273" fmla="*/ 1369439 h 5278114"/>
              <a:gd name="connsiteX5274" fmla="*/ 1976009 w 5610835"/>
              <a:gd name="connsiteY5274" fmla="*/ 1369439 h 5278114"/>
              <a:gd name="connsiteX5275" fmla="*/ 1758080 w 5610835"/>
              <a:gd name="connsiteY5275" fmla="*/ 1367857 h 5278114"/>
              <a:gd name="connsiteX5276" fmla="*/ 1758080 w 5610835"/>
              <a:gd name="connsiteY5276" fmla="*/ 1371039 h 5278114"/>
              <a:gd name="connsiteX5277" fmla="*/ 1753308 w 5610835"/>
              <a:gd name="connsiteY5277" fmla="*/ 1371039 h 5278114"/>
              <a:gd name="connsiteX5278" fmla="*/ 3991470 w 5610835"/>
              <a:gd name="connsiteY5278" fmla="*/ 1366303 h 5278114"/>
              <a:gd name="connsiteX5279" fmla="*/ 3981925 w 5610835"/>
              <a:gd name="connsiteY5279" fmla="*/ 1374258 h 5278114"/>
              <a:gd name="connsiteX5280" fmla="*/ 3980334 w 5610835"/>
              <a:gd name="connsiteY5280" fmla="*/ 1379032 h 5278114"/>
              <a:gd name="connsiteX5281" fmla="*/ 3991470 w 5610835"/>
              <a:gd name="connsiteY5281" fmla="*/ 1366303 h 5278114"/>
              <a:gd name="connsiteX5282" fmla="*/ 1750126 w 5610835"/>
              <a:gd name="connsiteY5282" fmla="*/ 1364681 h 5278114"/>
              <a:gd name="connsiteX5283" fmla="*/ 1750126 w 5610835"/>
              <a:gd name="connsiteY5283" fmla="*/ 1369452 h 5278114"/>
              <a:gd name="connsiteX5284" fmla="*/ 1745354 w 5610835"/>
              <a:gd name="connsiteY5284" fmla="*/ 1369452 h 5278114"/>
              <a:gd name="connsiteX5285" fmla="*/ 1902836 w 5610835"/>
              <a:gd name="connsiteY5285" fmla="*/ 1364678 h 5278114"/>
              <a:gd name="connsiteX5286" fmla="*/ 1917153 w 5610835"/>
              <a:gd name="connsiteY5286" fmla="*/ 1371042 h 5278114"/>
              <a:gd name="connsiteX5287" fmla="*/ 1913971 w 5610835"/>
              <a:gd name="connsiteY5287" fmla="*/ 1375814 h 5278114"/>
              <a:gd name="connsiteX5288" fmla="*/ 1917153 w 5610835"/>
              <a:gd name="connsiteY5288" fmla="*/ 1377404 h 5278114"/>
              <a:gd name="connsiteX5289" fmla="*/ 1915562 w 5610835"/>
              <a:gd name="connsiteY5289" fmla="*/ 1383766 h 5278114"/>
              <a:gd name="connsiteX5290" fmla="*/ 1909199 w 5610835"/>
              <a:gd name="connsiteY5290" fmla="*/ 1382176 h 5278114"/>
              <a:gd name="connsiteX5291" fmla="*/ 1912381 w 5610835"/>
              <a:gd name="connsiteY5291" fmla="*/ 1391719 h 5278114"/>
              <a:gd name="connsiteX5292" fmla="*/ 1915562 w 5610835"/>
              <a:gd name="connsiteY5292" fmla="*/ 1390128 h 5278114"/>
              <a:gd name="connsiteX5293" fmla="*/ 1913971 w 5610835"/>
              <a:gd name="connsiteY5293" fmla="*/ 1398083 h 5278114"/>
              <a:gd name="connsiteX5294" fmla="*/ 1906017 w 5610835"/>
              <a:gd name="connsiteY5294" fmla="*/ 1398083 h 5278114"/>
              <a:gd name="connsiteX5295" fmla="*/ 1909199 w 5610835"/>
              <a:gd name="connsiteY5295" fmla="*/ 1393310 h 5278114"/>
              <a:gd name="connsiteX5296" fmla="*/ 1899654 w 5610835"/>
              <a:gd name="connsiteY5296" fmla="*/ 1391719 h 5278114"/>
              <a:gd name="connsiteX5297" fmla="*/ 1898063 w 5610835"/>
              <a:gd name="connsiteY5297" fmla="*/ 1393310 h 5278114"/>
              <a:gd name="connsiteX5298" fmla="*/ 1899654 w 5610835"/>
              <a:gd name="connsiteY5298" fmla="*/ 1398083 h 5278114"/>
              <a:gd name="connsiteX5299" fmla="*/ 1899654 w 5610835"/>
              <a:gd name="connsiteY5299" fmla="*/ 1402856 h 5278114"/>
              <a:gd name="connsiteX5300" fmla="*/ 1894882 w 5610835"/>
              <a:gd name="connsiteY5300" fmla="*/ 1406038 h 5278114"/>
              <a:gd name="connsiteX5301" fmla="*/ 1901245 w 5610835"/>
              <a:gd name="connsiteY5301" fmla="*/ 1412401 h 5278114"/>
              <a:gd name="connsiteX5302" fmla="*/ 1904426 w 5610835"/>
              <a:gd name="connsiteY5302" fmla="*/ 1409219 h 5278114"/>
              <a:gd name="connsiteX5303" fmla="*/ 1899654 w 5610835"/>
              <a:gd name="connsiteY5303" fmla="*/ 1402856 h 5278114"/>
              <a:gd name="connsiteX5304" fmla="*/ 1902836 w 5610835"/>
              <a:gd name="connsiteY5304" fmla="*/ 1401265 h 5278114"/>
              <a:gd name="connsiteX5305" fmla="*/ 1915562 w 5610835"/>
              <a:gd name="connsiteY5305" fmla="*/ 1406038 h 5278114"/>
              <a:gd name="connsiteX5306" fmla="*/ 1915562 w 5610835"/>
              <a:gd name="connsiteY5306" fmla="*/ 1417175 h 5278114"/>
              <a:gd name="connsiteX5307" fmla="*/ 1913971 w 5610835"/>
              <a:gd name="connsiteY5307" fmla="*/ 1417175 h 5278114"/>
              <a:gd name="connsiteX5308" fmla="*/ 1915562 w 5610835"/>
              <a:gd name="connsiteY5308" fmla="*/ 1418766 h 5278114"/>
              <a:gd name="connsiteX5309" fmla="*/ 1913971 w 5610835"/>
              <a:gd name="connsiteY5309" fmla="*/ 1439443 h 5278114"/>
              <a:gd name="connsiteX5310" fmla="*/ 1913971 w 5610835"/>
              <a:gd name="connsiteY5310" fmla="*/ 1441034 h 5278114"/>
              <a:gd name="connsiteX5311" fmla="*/ 1913971 w 5610835"/>
              <a:gd name="connsiteY5311" fmla="*/ 1448987 h 5278114"/>
              <a:gd name="connsiteX5312" fmla="*/ 1913971 w 5610835"/>
              <a:gd name="connsiteY5312" fmla="*/ 1450576 h 5278114"/>
              <a:gd name="connsiteX5313" fmla="*/ 1969647 w 5610835"/>
              <a:gd name="connsiteY5313" fmla="*/ 1709858 h 5278114"/>
              <a:gd name="connsiteX5314" fmla="*/ 1963285 w 5610835"/>
              <a:gd name="connsiteY5314" fmla="*/ 1708267 h 5278114"/>
              <a:gd name="connsiteX5315" fmla="*/ 1968057 w 5610835"/>
              <a:gd name="connsiteY5315" fmla="*/ 1717814 h 5278114"/>
              <a:gd name="connsiteX5316" fmla="*/ 1971238 w 5610835"/>
              <a:gd name="connsiteY5316" fmla="*/ 1714630 h 5278114"/>
              <a:gd name="connsiteX5317" fmla="*/ 1974218 w 5610835"/>
              <a:gd name="connsiteY5317" fmla="*/ 1721088 h 5278114"/>
              <a:gd name="connsiteX5318" fmla="*/ 1971238 w 5610835"/>
              <a:gd name="connsiteY5318" fmla="*/ 1719403 h 5278114"/>
              <a:gd name="connsiteX5319" fmla="*/ 1971238 w 5610835"/>
              <a:gd name="connsiteY5319" fmla="*/ 1722586 h 5278114"/>
              <a:gd name="connsiteX5320" fmla="*/ 1966466 w 5610835"/>
              <a:gd name="connsiteY5320" fmla="*/ 1719403 h 5278114"/>
              <a:gd name="connsiteX5321" fmla="*/ 1964152 w 5610835"/>
              <a:gd name="connsiteY5321" fmla="*/ 1722875 h 5278114"/>
              <a:gd name="connsiteX5322" fmla="*/ 1963285 w 5610835"/>
              <a:gd name="connsiteY5322" fmla="*/ 1722586 h 5278114"/>
              <a:gd name="connsiteX5323" fmla="*/ 1963019 w 5610835"/>
              <a:gd name="connsiteY5323" fmla="*/ 1723911 h 5278114"/>
              <a:gd name="connsiteX5324" fmla="*/ 1960103 w 5610835"/>
              <a:gd name="connsiteY5324" fmla="*/ 1720994 h 5278114"/>
              <a:gd name="connsiteX5325" fmla="*/ 1955331 w 5610835"/>
              <a:gd name="connsiteY5325" fmla="*/ 1724176 h 5278114"/>
              <a:gd name="connsiteX5326" fmla="*/ 1955927 w 5610835"/>
              <a:gd name="connsiteY5326" fmla="*/ 1722785 h 5278114"/>
              <a:gd name="connsiteX5327" fmla="*/ 1951391 w 5610835"/>
              <a:gd name="connsiteY5327" fmla="*/ 1722616 h 5278114"/>
              <a:gd name="connsiteX5328" fmla="*/ 1953292 w 5610835"/>
              <a:gd name="connsiteY5328" fmla="*/ 1721393 h 5278114"/>
              <a:gd name="connsiteX5329" fmla="*/ 1953740 w 5610835"/>
              <a:gd name="connsiteY5329" fmla="*/ 1717814 h 5278114"/>
              <a:gd name="connsiteX5330" fmla="*/ 1945786 w 5610835"/>
              <a:gd name="connsiteY5330" fmla="*/ 1714630 h 5278114"/>
              <a:gd name="connsiteX5331" fmla="*/ 1948437 w 5610835"/>
              <a:gd name="connsiteY5331" fmla="*/ 1722586 h 5278114"/>
              <a:gd name="connsiteX5332" fmla="*/ 1945786 w 5610835"/>
              <a:gd name="connsiteY5332" fmla="*/ 1722586 h 5278114"/>
              <a:gd name="connsiteX5333" fmla="*/ 1941014 w 5610835"/>
              <a:gd name="connsiteY5333" fmla="*/ 1724176 h 5278114"/>
              <a:gd name="connsiteX5334" fmla="*/ 1933061 w 5610835"/>
              <a:gd name="connsiteY5334" fmla="*/ 1722586 h 5278114"/>
              <a:gd name="connsiteX5335" fmla="*/ 1929879 w 5610835"/>
              <a:gd name="connsiteY5335" fmla="*/ 1720994 h 5278114"/>
              <a:gd name="connsiteX5336" fmla="*/ 1928288 w 5610835"/>
              <a:gd name="connsiteY5336" fmla="*/ 1714630 h 5278114"/>
              <a:gd name="connsiteX5337" fmla="*/ 1925107 w 5610835"/>
              <a:gd name="connsiteY5337" fmla="*/ 1716223 h 5278114"/>
              <a:gd name="connsiteX5338" fmla="*/ 1926698 w 5610835"/>
              <a:gd name="connsiteY5338" fmla="*/ 1722586 h 5278114"/>
              <a:gd name="connsiteX5339" fmla="*/ 1931470 w 5610835"/>
              <a:gd name="connsiteY5339" fmla="*/ 1722586 h 5278114"/>
              <a:gd name="connsiteX5340" fmla="*/ 1923516 w 5610835"/>
              <a:gd name="connsiteY5340" fmla="*/ 1725767 h 5278114"/>
              <a:gd name="connsiteX5341" fmla="*/ 1931470 w 5610835"/>
              <a:gd name="connsiteY5341" fmla="*/ 1732132 h 5278114"/>
              <a:gd name="connsiteX5342" fmla="*/ 1928288 w 5610835"/>
              <a:gd name="connsiteY5342" fmla="*/ 1736905 h 5278114"/>
              <a:gd name="connsiteX5343" fmla="*/ 1923516 w 5610835"/>
              <a:gd name="connsiteY5343" fmla="*/ 1733723 h 5278114"/>
              <a:gd name="connsiteX5344" fmla="*/ 1920334 w 5610835"/>
              <a:gd name="connsiteY5344" fmla="*/ 1735314 h 5278114"/>
              <a:gd name="connsiteX5345" fmla="*/ 1918744 w 5610835"/>
              <a:gd name="connsiteY5345" fmla="*/ 1733723 h 5278114"/>
              <a:gd name="connsiteX5346" fmla="*/ 1913971 w 5610835"/>
              <a:gd name="connsiteY5346" fmla="*/ 1727358 h 5278114"/>
              <a:gd name="connsiteX5347" fmla="*/ 1913971 w 5610835"/>
              <a:gd name="connsiteY5347" fmla="*/ 1733723 h 5278114"/>
              <a:gd name="connsiteX5348" fmla="*/ 1904426 w 5610835"/>
              <a:gd name="connsiteY5348" fmla="*/ 1735314 h 5278114"/>
              <a:gd name="connsiteX5349" fmla="*/ 1899654 w 5610835"/>
              <a:gd name="connsiteY5349" fmla="*/ 1730541 h 5278114"/>
              <a:gd name="connsiteX5350" fmla="*/ 1894882 w 5610835"/>
              <a:gd name="connsiteY5350" fmla="*/ 1730541 h 5278114"/>
              <a:gd name="connsiteX5351" fmla="*/ 1891701 w 5610835"/>
              <a:gd name="connsiteY5351" fmla="*/ 1720994 h 5278114"/>
              <a:gd name="connsiteX5352" fmla="*/ 1885337 w 5610835"/>
              <a:gd name="connsiteY5352" fmla="*/ 1722586 h 5278114"/>
              <a:gd name="connsiteX5353" fmla="*/ 1882156 w 5610835"/>
              <a:gd name="connsiteY5353" fmla="*/ 1728950 h 5278114"/>
              <a:gd name="connsiteX5354" fmla="*/ 1886928 w 5610835"/>
              <a:gd name="connsiteY5354" fmla="*/ 1728950 h 5278114"/>
              <a:gd name="connsiteX5355" fmla="*/ 1886928 w 5610835"/>
              <a:gd name="connsiteY5355" fmla="*/ 1724176 h 5278114"/>
              <a:gd name="connsiteX5356" fmla="*/ 1893291 w 5610835"/>
              <a:gd name="connsiteY5356" fmla="*/ 1728950 h 5278114"/>
              <a:gd name="connsiteX5357" fmla="*/ 1883747 w 5610835"/>
              <a:gd name="connsiteY5357" fmla="*/ 1733723 h 5278114"/>
              <a:gd name="connsiteX5358" fmla="*/ 1886928 w 5610835"/>
              <a:gd name="connsiteY5358" fmla="*/ 1738496 h 5278114"/>
              <a:gd name="connsiteX5359" fmla="*/ 1877384 w 5610835"/>
              <a:gd name="connsiteY5359" fmla="*/ 1743270 h 5278114"/>
              <a:gd name="connsiteX5360" fmla="*/ 1874998 w 5610835"/>
              <a:gd name="connsiteY5360" fmla="*/ 1742076 h 5278114"/>
              <a:gd name="connsiteX5361" fmla="*/ 1875793 w 5610835"/>
              <a:gd name="connsiteY5361" fmla="*/ 1741679 h 5278114"/>
              <a:gd name="connsiteX5362" fmla="*/ 1878975 w 5610835"/>
              <a:gd name="connsiteY5362" fmla="*/ 1736905 h 5278114"/>
              <a:gd name="connsiteX5363" fmla="*/ 1871021 w 5610835"/>
              <a:gd name="connsiteY5363" fmla="*/ 1736905 h 5278114"/>
              <a:gd name="connsiteX5364" fmla="*/ 1872368 w 5610835"/>
              <a:gd name="connsiteY5364" fmla="*/ 1742289 h 5278114"/>
              <a:gd name="connsiteX5365" fmla="*/ 1869430 w 5610835"/>
              <a:gd name="connsiteY5365" fmla="*/ 1743270 h 5278114"/>
              <a:gd name="connsiteX5366" fmla="*/ 1864658 w 5610835"/>
              <a:gd name="connsiteY5366" fmla="*/ 1738496 h 5278114"/>
              <a:gd name="connsiteX5367" fmla="*/ 1869430 w 5610835"/>
              <a:gd name="connsiteY5367" fmla="*/ 1733723 h 5278114"/>
              <a:gd name="connsiteX5368" fmla="*/ 1867839 w 5610835"/>
              <a:gd name="connsiteY5368" fmla="*/ 1725767 h 5278114"/>
              <a:gd name="connsiteX5369" fmla="*/ 1859886 w 5610835"/>
              <a:gd name="connsiteY5369" fmla="*/ 1728950 h 5278114"/>
              <a:gd name="connsiteX5370" fmla="*/ 1858295 w 5610835"/>
              <a:gd name="connsiteY5370" fmla="*/ 1724176 h 5278114"/>
              <a:gd name="connsiteX5371" fmla="*/ 1866249 w 5610835"/>
              <a:gd name="connsiteY5371" fmla="*/ 1720994 h 5278114"/>
              <a:gd name="connsiteX5372" fmla="*/ 1871021 w 5610835"/>
              <a:gd name="connsiteY5372" fmla="*/ 1730541 h 5278114"/>
              <a:gd name="connsiteX5373" fmla="*/ 1874202 w 5610835"/>
              <a:gd name="connsiteY5373" fmla="*/ 1724176 h 5278114"/>
              <a:gd name="connsiteX5374" fmla="*/ 1875793 w 5610835"/>
              <a:gd name="connsiteY5374" fmla="*/ 1717814 h 5278114"/>
              <a:gd name="connsiteX5375" fmla="*/ 1883747 w 5610835"/>
              <a:gd name="connsiteY5375" fmla="*/ 1709858 h 5278114"/>
              <a:gd name="connsiteX5376" fmla="*/ 1878975 w 5610835"/>
              <a:gd name="connsiteY5376" fmla="*/ 1714630 h 5278114"/>
              <a:gd name="connsiteX5377" fmla="*/ 1874202 w 5610835"/>
              <a:gd name="connsiteY5377" fmla="*/ 1711449 h 5278114"/>
              <a:gd name="connsiteX5378" fmla="*/ 1874202 w 5610835"/>
              <a:gd name="connsiteY5378" fmla="*/ 1716223 h 5278114"/>
              <a:gd name="connsiteX5379" fmla="*/ 1866249 w 5610835"/>
              <a:gd name="connsiteY5379" fmla="*/ 1716223 h 5278114"/>
              <a:gd name="connsiteX5380" fmla="*/ 1866249 w 5610835"/>
              <a:gd name="connsiteY5380" fmla="*/ 1720994 h 5278114"/>
              <a:gd name="connsiteX5381" fmla="*/ 1861476 w 5610835"/>
              <a:gd name="connsiteY5381" fmla="*/ 1719403 h 5278114"/>
              <a:gd name="connsiteX5382" fmla="*/ 1858295 w 5610835"/>
              <a:gd name="connsiteY5382" fmla="*/ 1724176 h 5278114"/>
              <a:gd name="connsiteX5383" fmla="*/ 1859886 w 5610835"/>
              <a:gd name="connsiteY5383" fmla="*/ 1716223 h 5278114"/>
              <a:gd name="connsiteX5384" fmla="*/ 1851932 w 5610835"/>
              <a:gd name="connsiteY5384" fmla="*/ 1716223 h 5278114"/>
              <a:gd name="connsiteX5385" fmla="*/ 1866249 w 5610835"/>
              <a:gd name="connsiteY5385" fmla="*/ 1714630 h 5278114"/>
              <a:gd name="connsiteX5386" fmla="*/ 1867839 w 5610835"/>
              <a:gd name="connsiteY5386" fmla="*/ 1708267 h 5278114"/>
              <a:gd name="connsiteX5387" fmla="*/ 1855114 w 5610835"/>
              <a:gd name="connsiteY5387" fmla="*/ 1703494 h 5278114"/>
              <a:gd name="connsiteX5388" fmla="*/ 1855114 w 5610835"/>
              <a:gd name="connsiteY5388" fmla="*/ 1708267 h 5278114"/>
              <a:gd name="connsiteX5389" fmla="*/ 1842388 w 5610835"/>
              <a:gd name="connsiteY5389" fmla="*/ 1698720 h 5278114"/>
              <a:gd name="connsiteX5390" fmla="*/ 1836025 w 5610835"/>
              <a:gd name="connsiteY5390" fmla="*/ 1703494 h 5278114"/>
              <a:gd name="connsiteX5391" fmla="*/ 1836025 w 5610835"/>
              <a:gd name="connsiteY5391" fmla="*/ 1697129 h 5278114"/>
              <a:gd name="connsiteX5392" fmla="*/ 1832843 w 5610835"/>
              <a:gd name="connsiteY5392" fmla="*/ 1703494 h 5278114"/>
              <a:gd name="connsiteX5393" fmla="*/ 1824890 w 5610835"/>
              <a:gd name="connsiteY5393" fmla="*/ 1703494 h 5278114"/>
              <a:gd name="connsiteX5394" fmla="*/ 1824890 w 5610835"/>
              <a:gd name="connsiteY5394" fmla="*/ 1709858 h 5278114"/>
              <a:gd name="connsiteX5395" fmla="*/ 1820118 w 5610835"/>
              <a:gd name="connsiteY5395" fmla="*/ 1700312 h 5278114"/>
              <a:gd name="connsiteX5396" fmla="*/ 1828071 w 5610835"/>
              <a:gd name="connsiteY5396" fmla="*/ 1700312 h 5278114"/>
              <a:gd name="connsiteX5397" fmla="*/ 1824890 w 5610835"/>
              <a:gd name="connsiteY5397" fmla="*/ 1690765 h 5278114"/>
              <a:gd name="connsiteX5398" fmla="*/ 1816936 w 5610835"/>
              <a:gd name="connsiteY5398" fmla="*/ 1697129 h 5278114"/>
              <a:gd name="connsiteX5399" fmla="*/ 1810573 w 5610835"/>
              <a:gd name="connsiteY5399" fmla="*/ 1695538 h 5278114"/>
              <a:gd name="connsiteX5400" fmla="*/ 1802619 w 5610835"/>
              <a:gd name="connsiteY5400" fmla="*/ 1695538 h 5278114"/>
              <a:gd name="connsiteX5401" fmla="*/ 1802619 w 5610835"/>
              <a:gd name="connsiteY5401" fmla="*/ 1689174 h 5278114"/>
              <a:gd name="connsiteX5402" fmla="*/ 1797847 w 5610835"/>
              <a:gd name="connsiteY5402" fmla="*/ 1693947 h 5278114"/>
              <a:gd name="connsiteX5403" fmla="*/ 1791485 w 5610835"/>
              <a:gd name="connsiteY5403" fmla="*/ 1689174 h 5278114"/>
              <a:gd name="connsiteX5404" fmla="*/ 1791485 w 5610835"/>
              <a:gd name="connsiteY5404" fmla="*/ 1695538 h 5278114"/>
              <a:gd name="connsiteX5405" fmla="*/ 1788304 w 5610835"/>
              <a:gd name="connsiteY5405" fmla="*/ 1697129 h 5278114"/>
              <a:gd name="connsiteX5406" fmla="*/ 1785349 w 5610835"/>
              <a:gd name="connsiteY5406" fmla="*/ 1694819 h 5278114"/>
              <a:gd name="connsiteX5407" fmla="*/ 1786314 w 5610835"/>
              <a:gd name="connsiteY5407" fmla="*/ 1691759 h 5278114"/>
              <a:gd name="connsiteX5408" fmla="*/ 1785121 w 5610835"/>
              <a:gd name="connsiteY5408" fmla="*/ 1689174 h 5278114"/>
              <a:gd name="connsiteX5409" fmla="*/ 1789894 w 5610835"/>
              <a:gd name="connsiteY5409" fmla="*/ 1684401 h 5278114"/>
              <a:gd name="connsiteX5410" fmla="*/ 1780349 w 5610835"/>
              <a:gd name="connsiteY5410" fmla="*/ 1688776 h 5278114"/>
              <a:gd name="connsiteX5411" fmla="*/ 1783703 w 5610835"/>
              <a:gd name="connsiteY5411" fmla="*/ 1693529 h 5278114"/>
              <a:gd name="connsiteX5412" fmla="*/ 1774025 w 5610835"/>
              <a:gd name="connsiteY5412" fmla="*/ 1685954 h 5278114"/>
              <a:gd name="connsiteX5413" fmla="*/ 1778758 w 5610835"/>
              <a:gd name="connsiteY5413" fmla="*/ 1681222 h 5278114"/>
              <a:gd name="connsiteX5414" fmla="*/ 1773986 w 5610835"/>
              <a:gd name="connsiteY5414" fmla="*/ 1681222 h 5278114"/>
              <a:gd name="connsiteX5415" fmla="*/ 1773986 w 5610835"/>
              <a:gd name="connsiteY5415" fmla="*/ 1676451 h 5278114"/>
              <a:gd name="connsiteX5416" fmla="*/ 1778758 w 5610835"/>
              <a:gd name="connsiteY5416" fmla="*/ 1678040 h 5278114"/>
              <a:gd name="connsiteX5417" fmla="*/ 1783532 w 5610835"/>
              <a:gd name="connsiteY5417" fmla="*/ 1673270 h 5278114"/>
              <a:gd name="connsiteX5418" fmla="*/ 1780349 w 5610835"/>
              <a:gd name="connsiteY5418" fmla="*/ 1666907 h 5278114"/>
              <a:gd name="connsiteX5419" fmla="*/ 1780349 w 5610835"/>
              <a:gd name="connsiteY5419" fmla="*/ 1660546 h 5278114"/>
              <a:gd name="connsiteX5420" fmla="*/ 1777167 w 5610835"/>
              <a:gd name="connsiteY5420" fmla="*/ 1660546 h 5278114"/>
              <a:gd name="connsiteX5421" fmla="*/ 1777167 w 5610835"/>
              <a:gd name="connsiteY5421" fmla="*/ 1666907 h 5278114"/>
              <a:gd name="connsiteX5422" fmla="*/ 1769214 w 5610835"/>
              <a:gd name="connsiteY5422" fmla="*/ 1666907 h 5278114"/>
              <a:gd name="connsiteX5423" fmla="*/ 1761261 w 5610835"/>
              <a:gd name="connsiteY5423" fmla="*/ 1665317 h 5278114"/>
              <a:gd name="connsiteX5424" fmla="*/ 1759690 w 5610835"/>
              <a:gd name="connsiteY5424" fmla="*/ 1674737 h 5278114"/>
              <a:gd name="connsiteX5425" fmla="*/ 1751717 w 5610835"/>
              <a:gd name="connsiteY5425" fmla="*/ 1668497 h 5278114"/>
              <a:gd name="connsiteX5426" fmla="*/ 1762852 w 5610835"/>
              <a:gd name="connsiteY5426" fmla="*/ 1658957 h 5278114"/>
              <a:gd name="connsiteX5427" fmla="*/ 1769214 w 5610835"/>
              <a:gd name="connsiteY5427" fmla="*/ 1658957 h 5278114"/>
              <a:gd name="connsiteX5428" fmla="*/ 1769214 w 5610835"/>
              <a:gd name="connsiteY5428" fmla="*/ 1652593 h 5278114"/>
              <a:gd name="connsiteX5429" fmla="*/ 1777167 w 5610835"/>
              <a:gd name="connsiteY5429" fmla="*/ 1652593 h 5278114"/>
              <a:gd name="connsiteX5430" fmla="*/ 1781940 w 5610835"/>
              <a:gd name="connsiteY5430" fmla="*/ 1647819 h 5278114"/>
              <a:gd name="connsiteX5431" fmla="*/ 1780349 w 5610835"/>
              <a:gd name="connsiteY5431" fmla="*/ 1636687 h 5278114"/>
              <a:gd name="connsiteX5432" fmla="*/ 1780349 w 5610835"/>
              <a:gd name="connsiteY5432" fmla="*/ 1644638 h 5278114"/>
              <a:gd name="connsiteX5433" fmla="*/ 1770804 w 5610835"/>
              <a:gd name="connsiteY5433" fmla="*/ 1644638 h 5278114"/>
              <a:gd name="connsiteX5434" fmla="*/ 1770804 w 5610835"/>
              <a:gd name="connsiteY5434" fmla="*/ 1638276 h 5278114"/>
              <a:gd name="connsiteX5435" fmla="*/ 1775577 w 5610835"/>
              <a:gd name="connsiteY5435" fmla="*/ 1641458 h 5278114"/>
              <a:gd name="connsiteX5436" fmla="*/ 1780349 w 5610835"/>
              <a:gd name="connsiteY5436" fmla="*/ 1625552 h 5278114"/>
              <a:gd name="connsiteX5437" fmla="*/ 1773986 w 5610835"/>
              <a:gd name="connsiteY5437" fmla="*/ 1630324 h 5278114"/>
              <a:gd name="connsiteX5438" fmla="*/ 1773986 w 5610835"/>
              <a:gd name="connsiteY5438" fmla="*/ 1619195 h 5278114"/>
              <a:gd name="connsiteX5439" fmla="*/ 1783532 w 5610835"/>
              <a:gd name="connsiteY5439" fmla="*/ 1622371 h 5278114"/>
              <a:gd name="connsiteX5440" fmla="*/ 1778758 w 5610835"/>
              <a:gd name="connsiteY5440" fmla="*/ 1616014 h 5278114"/>
              <a:gd name="connsiteX5441" fmla="*/ 1788304 w 5610835"/>
              <a:gd name="connsiteY5441" fmla="*/ 1608060 h 5278114"/>
              <a:gd name="connsiteX5442" fmla="*/ 1787066 w 5610835"/>
              <a:gd name="connsiteY5442" fmla="*/ 1604348 h 5278114"/>
              <a:gd name="connsiteX5443" fmla="*/ 1787773 w 5610835"/>
              <a:gd name="connsiteY5443" fmla="*/ 1603288 h 5278114"/>
              <a:gd name="connsiteX5444" fmla="*/ 1794666 w 5610835"/>
              <a:gd name="connsiteY5444" fmla="*/ 1603288 h 5278114"/>
              <a:gd name="connsiteX5445" fmla="*/ 1789894 w 5610835"/>
              <a:gd name="connsiteY5445" fmla="*/ 1600105 h 5278114"/>
              <a:gd name="connsiteX5446" fmla="*/ 1787773 w 5610835"/>
              <a:gd name="connsiteY5446" fmla="*/ 1603288 h 5278114"/>
              <a:gd name="connsiteX5447" fmla="*/ 1786712 w 5610835"/>
              <a:gd name="connsiteY5447" fmla="*/ 1603288 h 5278114"/>
              <a:gd name="connsiteX5448" fmla="*/ 1787066 w 5610835"/>
              <a:gd name="connsiteY5448" fmla="*/ 1604348 h 5278114"/>
              <a:gd name="connsiteX5449" fmla="*/ 1786712 w 5610835"/>
              <a:gd name="connsiteY5449" fmla="*/ 1604879 h 5278114"/>
              <a:gd name="connsiteX5450" fmla="*/ 1777167 w 5610835"/>
              <a:gd name="connsiteY5450" fmla="*/ 1616014 h 5278114"/>
              <a:gd name="connsiteX5451" fmla="*/ 1773986 w 5610835"/>
              <a:gd name="connsiteY5451" fmla="*/ 1611241 h 5278114"/>
              <a:gd name="connsiteX5452" fmla="*/ 1769214 w 5610835"/>
              <a:gd name="connsiteY5452" fmla="*/ 1604879 h 5278114"/>
              <a:gd name="connsiteX5453" fmla="*/ 1769214 w 5610835"/>
              <a:gd name="connsiteY5453" fmla="*/ 1595333 h 5278114"/>
              <a:gd name="connsiteX5454" fmla="*/ 1773986 w 5610835"/>
              <a:gd name="connsiteY5454" fmla="*/ 1593743 h 5278114"/>
              <a:gd name="connsiteX5455" fmla="*/ 1766033 w 5610835"/>
              <a:gd name="connsiteY5455" fmla="*/ 1592152 h 5278114"/>
              <a:gd name="connsiteX5456" fmla="*/ 1769214 w 5610835"/>
              <a:gd name="connsiteY5456" fmla="*/ 1587381 h 5278114"/>
              <a:gd name="connsiteX5457" fmla="*/ 1761261 w 5610835"/>
              <a:gd name="connsiteY5457" fmla="*/ 1587381 h 5278114"/>
              <a:gd name="connsiteX5458" fmla="*/ 1764442 w 5610835"/>
              <a:gd name="connsiteY5458" fmla="*/ 1582609 h 5278114"/>
              <a:gd name="connsiteX5459" fmla="*/ 1759670 w 5610835"/>
              <a:gd name="connsiteY5459" fmla="*/ 1581018 h 5278114"/>
              <a:gd name="connsiteX5460" fmla="*/ 1762852 w 5610835"/>
              <a:gd name="connsiteY5460" fmla="*/ 1571473 h 5278114"/>
              <a:gd name="connsiteX5461" fmla="*/ 1759670 w 5610835"/>
              <a:gd name="connsiteY5461" fmla="*/ 1574655 h 5278114"/>
              <a:gd name="connsiteX5462" fmla="*/ 1754897 w 5610835"/>
              <a:gd name="connsiteY5462" fmla="*/ 1576246 h 5278114"/>
              <a:gd name="connsiteX5463" fmla="*/ 1759670 w 5610835"/>
              <a:gd name="connsiteY5463" fmla="*/ 1581018 h 5278114"/>
              <a:gd name="connsiteX5464" fmla="*/ 1758079 w 5610835"/>
              <a:gd name="connsiteY5464" fmla="*/ 1584200 h 5278114"/>
              <a:gd name="connsiteX5465" fmla="*/ 1753307 w 5610835"/>
              <a:gd name="connsiteY5465" fmla="*/ 1590562 h 5278114"/>
              <a:gd name="connsiteX5466" fmla="*/ 1748534 w 5610835"/>
              <a:gd name="connsiteY5466" fmla="*/ 1585790 h 5278114"/>
              <a:gd name="connsiteX5467" fmla="*/ 1756489 w 5610835"/>
              <a:gd name="connsiteY5467" fmla="*/ 1585790 h 5278114"/>
              <a:gd name="connsiteX5468" fmla="*/ 1748534 w 5610835"/>
              <a:gd name="connsiteY5468" fmla="*/ 1576246 h 5278114"/>
              <a:gd name="connsiteX5469" fmla="*/ 1743762 w 5610835"/>
              <a:gd name="connsiteY5469" fmla="*/ 1565110 h 5278114"/>
              <a:gd name="connsiteX5470" fmla="*/ 1734218 w 5610835"/>
              <a:gd name="connsiteY5470" fmla="*/ 1571473 h 5278114"/>
              <a:gd name="connsiteX5471" fmla="*/ 1724673 w 5610835"/>
              <a:gd name="connsiteY5471" fmla="*/ 1565110 h 5278114"/>
              <a:gd name="connsiteX5472" fmla="*/ 1726265 w 5610835"/>
              <a:gd name="connsiteY5472" fmla="*/ 1561929 h 5278114"/>
              <a:gd name="connsiteX5473" fmla="*/ 1721493 w 5610835"/>
              <a:gd name="connsiteY5473" fmla="*/ 1560338 h 5278114"/>
              <a:gd name="connsiteX5474" fmla="*/ 1731037 w 5610835"/>
              <a:gd name="connsiteY5474" fmla="*/ 1555566 h 5278114"/>
              <a:gd name="connsiteX5475" fmla="*/ 1727855 w 5610835"/>
              <a:gd name="connsiteY5475" fmla="*/ 1550794 h 5278114"/>
              <a:gd name="connsiteX5476" fmla="*/ 1735809 w 5610835"/>
              <a:gd name="connsiteY5476" fmla="*/ 1555566 h 5278114"/>
              <a:gd name="connsiteX5477" fmla="*/ 1740580 w 5610835"/>
              <a:gd name="connsiteY5477" fmla="*/ 1555566 h 5278114"/>
              <a:gd name="connsiteX5478" fmla="*/ 1737399 w 5610835"/>
              <a:gd name="connsiteY5478" fmla="*/ 1557157 h 5278114"/>
              <a:gd name="connsiteX5479" fmla="*/ 1737399 w 5610835"/>
              <a:gd name="connsiteY5479" fmla="*/ 1563519 h 5278114"/>
              <a:gd name="connsiteX5480" fmla="*/ 1751717 w 5610835"/>
              <a:gd name="connsiteY5480" fmla="*/ 1560338 h 5278114"/>
              <a:gd name="connsiteX5481" fmla="*/ 1762852 w 5610835"/>
              <a:gd name="connsiteY5481" fmla="*/ 1550794 h 5278114"/>
              <a:gd name="connsiteX5482" fmla="*/ 1758079 w 5610835"/>
              <a:gd name="connsiteY5482" fmla="*/ 1546023 h 5278114"/>
              <a:gd name="connsiteX5483" fmla="*/ 1758079 w 5610835"/>
              <a:gd name="connsiteY5483" fmla="*/ 1539660 h 5278114"/>
              <a:gd name="connsiteX5484" fmla="*/ 1766033 w 5610835"/>
              <a:gd name="connsiteY5484" fmla="*/ 1539660 h 5278114"/>
              <a:gd name="connsiteX5485" fmla="*/ 1773986 w 5610835"/>
              <a:gd name="connsiteY5485" fmla="*/ 1538068 h 5278114"/>
              <a:gd name="connsiteX5486" fmla="*/ 1777167 w 5610835"/>
              <a:gd name="connsiteY5486" fmla="*/ 1542841 h 5278114"/>
              <a:gd name="connsiteX5487" fmla="*/ 1783532 w 5610835"/>
              <a:gd name="connsiteY5487" fmla="*/ 1538068 h 5278114"/>
              <a:gd name="connsiteX5488" fmla="*/ 1786712 w 5610835"/>
              <a:gd name="connsiteY5488" fmla="*/ 1528524 h 5278114"/>
              <a:gd name="connsiteX5489" fmla="*/ 1780349 w 5610835"/>
              <a:gd name="connsiteY5489" fmla="*/ 1528524 h 5278114"/>
              <a:gd name="connsiteX5490" fmla="*/ 1785121 w 5610835"/>
              <a:gd name="connsiteY5490" fmla="*/ 1523753 h 5278114"/>
              <a:gd name="connsiteX5491" fmla="*/ 1777167 w 5610835"/>
              <a:gd name="connsiteY5491" fmla="*/ 1522162 h 5278114"/>
              <a:gd name="connsiteX5492" fmla="*/ 1780349 w 5610835"/>
              <a:gd name="connsiteY5492" fmla="*/ 1528524 h 5278114"/>
              <a:gd name="connsiteX5493" fmla="*/ 1778758 w 5610835"/>
              <a:gd name="connsiteY5493" fmla="*/ 1528524 h 5278114"/>
              <a:gd name="connsiteX5494" fmla="*/ 1773986 w 5610835"/>
              <a:gd name="connsiteY5494" fmla="*/ 1538068 h 5278114"/>
              <a:gd name="connsiteX5495" fmla="*/ 1766033 w 5610835"/>
              <a:gd name="connsiteY5495" fmla="*/ 1531706 h 5278114"/>
              <a:gd name="connsiteX5496" fmla="*/ 1753307 w 5610835"/>
              <a:gd name="connsiteY5496" fmla="*/ 1538068 h 5278114"/>
              <a:gd name="connsiteX5497" fmla="*/ 1756489 w 5610835"/>
              <a:gd name="connsiteY5497" fmla="*/ 1544432 h 5278114"/>
              <a:gd name="connsiteX5498" fmla="*/ 1745353 w 5610835"/>
              <a:gd name="connsiteY5498" fmla="*/ 1555566 h 5278114"/>
              <a:gd name="connsiteX5499" fmla="*/ 1740580 w 5610835"/>
              <a:gd name="connsiteY5499" fmla="*/ 1552385 h 5278114"/>
              <a:gd name="connsiteX5500" fmla="*/ 1740580 w 5610835"/>
              <a:gd name="connsiteY5500" fmla="*/ 1547613 h 5278114"/>
              <a:gd name="connsiteX5501" fmla="*/ 1745353 w 5610835"/>
              <a:gd name="connsiteY5501" fmla="*/ 1547613 h 5278114"/>
              <a:gd name="connsiteX5502" fmla="*/ 1745353 w 5610835"/>
              <a:gd name="connsiteY5502" fmla="*/ 1541250 h 5278114"/>
              <a:gd name="connsiteX5503" fmla="*/ 1737399 w 5610835"/>
              <a:gd name="connsiteY5503" fmla="*/ 1541250 h 5278114"/>
              <a:gd name="connsiteX5504" fmla="*/ 1737399 w 5610835"/>
              <a:gd name="connsiteY5504" fmla="*/ 1539660 h 5278114"/>
              <a:gd name="connsiteX5505" fmla="*/ 1745353 w 5610835"/>
              <a:gd name="connsiteY5505" fmla="*/ 1539660 h 5278114"/>
              <a:gd name="connsiteX5506" fmla="*/ 1743762 w 5610835"/>
              <a:gd name="connsiteY5506" fmla="*/ 1530115 h 5278114"/>
              <a:gd name="connsiteX5507" fmla="*/ 1750125 w 5610835"/>
              <a:gd name="connsiteY5507" fmla="*/ 1530115 h 5278114"/>
              <a:gd name="connsiteX5508" fmla="*/ 1754897 w 5610835"/>
              <a:gd name="connsiteY5508" fmla="*/ 1523753 h 5278114"/>
              <a:gd name="connsiteX5509" fmla="*/ 1746943 w 5610835"/>
              <a:gd name="connsiteY5509" fmla="*/ 1517390 h 5278114"/>
              <a:gd name="connsiteX5510" fmla="*/ 1756489 w 5610835"/>
              <a:gd name="connsiteY5510" fmla="*/ 1514209 h 5278114"/>
              <a:gd name="connsiteX5511" fmla="*/ 1743762 w 5610835"/>
              <a:gd name="connsiteY5511" fmla="*/ 1512618 h 5278114"/>
              <a:gd name="connsiteX5512" fmla="*/ 1743762 w 5610835"/>
              <a:gd name="connsiteY5512" fmla="*/ 1506255 h 5278114"/>
              <a:gd name="connsiteX5513" fmla="*/ 1751717 w 5610835"/>
              <a:gd name="connsiteY5513" fmla="*/ 1506255 h 5278114"/>
              <a:gd name="connsiteX5514" fmla="*/ 1743762 w 5610835"/>
              <a:gd name="connsiteY5514" fmla="*/ 1499891 h 5278114"/>
              <a:gd name="connsiteX5515" fmla="*/ 1750324 w 5610835"/>
              <a:gd name="connsiteY5515" fmla="*/ 1500290 h 5278114"/>
              <a:gd name="connsiteX5516" fmla="*/ 1753305 w 5610835"/>
              <a:gd name="connsiteY5516" fmla="*/ 1498301 h 5278114"/>
              <a:gd name="connsiteX5517" fmla="*/ 1745353 w 5610835"/>
              <a:gd name="connsiteY5517" fmla="*/ 1498301 h 5278114"/>
              <a:gd name="connsiteX5518" fmla="*/ 1750125 w 5610835"/>
              <a:gd name="connsiteY5518" fmla="*/ 1493529 h 5278114"/>
              <a:gd name="connsiteX5519" fmla="*/ 1753307 w 5610835"/>
              <a:gd name="connsiteY5519" fmla="*/ 1498301 h 5278114"/>
              <a:gd name="connsiteX5520" fmla="*/ 1753307 w 5610835"/>
              <a:gd name="connsiteY5520" fmla="*/ 1498300 h 5278114"/>
              <a:gd name="connsiteX5521" fmla="*/ 1758079 w 5610835"/>
              <a:gd name="connsiteY5521" fmla="*/ 1501482 h 5278114"/>
              <a:gd name="connsiteX5522" fmla="*/ 1754897 w 5610835"/>
              <a:gd name="connsiteY5522" fmla="*/ 1509436 h 5278114"/>
              <a:gd name="connsiteX5523" fmla="*/ 1759670 w 5610835"/>
              <a:gd name="connsiteY5523" fmla="*/ 1509436 h 5278114"/>
              <a:gd name="connsiteX5524" fmla="*/ 1761261 w 5610835"/>
              <a:gd name="connsiteY5524" fmla="*/ 1503073 h 5278114"/>
              <a:gd name="connsiteX5525" fmla="*/ 1759670 w 5610835"/>
              <a:gd name="connsiteY5525" fmla="*/ 1498300 h 5278114"/>
              <a:gd name="connsiteX5526" fmla="*/ 1761084 w 5610835"/>
              <a:gd name="connsiteY5526" fmla="*/ 1494059 h 5278114"/>
              <a:gd name="connsiteX5527" fmla="*/ 1762852 w 5610835"/>
              <a:gd name="connsiteY5527" fmla="*/ 1496709 h 5278114"/>
              <a:gd name="connsiteX5528" fmla="*/ 1769214 w 5610835"/>
              <a:gd name="connsiteY5528" fmla="*/ 1495119 h 5278114"/>
              <a:gd name="connsiteX5529" fmla="*/ 1769214 w 5610835"/>
              <a:gd name="connsiteY5529" fmla="*/ 1500528 h 5278114"/>
              <a:gd name="connsiteX5530" fmla="*/ 1767623 w 5610835"/>
              <a:gd name="connsiteY5530" fmla="*/ 1499891 h 5278114"/>
              <a:gd name="connsiteX5531" fmla="*/ 1764442 w 5610835"/>
              <a:gd name="connsiteY5531" fmla="*/ 1504663 h 5278114"/>
              <a:gd name="connsiteX5532" fmla="*/ 1772395 w 5610835"/>
              <a:gd name="connsiteY5532" fmla="*/ 1514209 h 5278114"/>
              <a:gd name="connsiteX5533" fmla="*/ 1772395 w 5610835"/>
              <a:gd name="connsiteY5533" fmla="*/ 1520571 h 5278114"/>
              <a:gd name="connsiteX5534" fmla="*/ 1770009 w 5610835"/>
              <a:gd name="connsiteY5534" fmla="*/ 1522162 h 5278114"/>
              <a:gd name="connsiteX5535" fmla="*/ 1766033 w 5610835"/>
              <a:gd name="connsiteY5535" fmla="*/ 1522162 h 5278114"/>
              <a:gd name="connsiteX5536" fmla="*/ 1762852 w 5610835"/>
              <a:gd name="connsiteY5536" fmla="*/ 1515799 h 5278114"/>
              <a:gd name="connsiteX5537" fmla="*/ 1762852 w 5610835"/>
              <a:gd name="connsiteY5537" fmla="*/ 1528524 h 5278114"/>
              <a:gd name="connsiteX5538" fmla="*/ 1770804 w 5610835"/>
              <a:gd name="connsiteY5538" fmla="*/ 1530115 h 5278114"/>
              <a:gd name="connsiteX5539" fmla="*/ 1767623 w 5610835"/>
              <a:gd name="connsiteY5539" fmla="*/ 1523753 h 5278114"/>
              <a:gd name="connsiteX5540" fmla="*/ 1770009 w 5610835"/>
              <a:gd name="connsiteY5540" fmla="*/ 1522162 h 5278114"/>
              <a:gd name="connsiteX5541" fmla="*/ 1772395 w 5610835"/>
              <a:gd name="connsiteY5541" fmla="*/ 1522162 h 5278114"/>
              <a:gd name="connsiteX5542" fmla="*/ 1772395 w 5610835"/>
              <a:gd name="connsiteY5542" fmla="*/ 1520571 h 5278114"/>
              <a:gd name="connsiteX5543" fmla="*/ 1785121 w 5610835"/>
              <a:gd name="connsiteY5543" fmla="*/ 1515799 h 5278114"/>
              <a:gd name="connsiteX5544" fmla="*/ 1777167 w 5610835"/>
              <a:gd name="connsiteY5544" fmla="*/ 1511027 h 5278114"/>
              <a:gd name="connsiteX5545" fmla="*/ 1777167 w 5610835"/>
              <a:gd name="connsiteY5545" fmla="*/ 1515799 h 5278114"/>
              <a:gd name="connsiteX5546" fmla="*/ 1772395 w 5610835"/>
              <a:gd name="connsiteY5546" fmla="*/ 1512618 h 5278114"/>
              <a:gd name="connsiteX5547" fmla="*/ 1775577 w 5610835"/>
              <a:gd name="connsiteY5547" fmla="*/ 1511027 h 5278114"/>
              <a:gd name="connsiteX5548" fmla="*/ 1775577 w 5610835"/>
              <a:gd name="connsiteY5548" fmla="*/ 1503073 h 5278114"/>
              <a:gd name="connsiteX5549" fmla="*/ 1771129 w 5610835"/>
              <a:gd name="connsiteY5549" fmla="*/ 1501294 h 5278114"/>
              <a:gd name="connsiteX5550" fmla="*/ 1774509 w 5610835"/>
              <a:gd name="connsiteY5550" fmla="*/ 1500960 h 5278114"/>
              <a:gd name="connsiteX5551" fmla="*/ 1778758 w 5610835"/>
              <a:gd name="connsiteY5551" fmla="*/ 1496709 h 5278114"/>
              <a:gd name="connsiteX5552" fmla="*/ 1786712 w 5610835"/>
              <a:gd name="connsiteY5552" fmla="*/ 1496709 h 5278114"/>
              <a:gd name="connsiteX5553" fmla="*/ 1791485 w 5610835"/>
              <a:gd name="connsiteY5553" fmla="*/ 1490347 h 5278114"/>
              <a:gd name="connsiteX5554" fmla="*/ 1790575 w 5610835"/>
              <a:gd name="connsiteY5554" fmla="*/ 1488526 h 5278114"/>
              <a:gd name="connsiteX5555" fmla="*/ 1788304 w 5610835"/>
              <a:gd name="connsiteY5555" fmla="*/ 1491934 h 5278114"/>
              <a:gd name="connsiteX5556" fmla="*/ 1785122 w 5610835"/>
              <a:gd name="connsiteY5556" fmla="*/ 1487162 h 5278114"/>
              <a:gd name="connsiteX5557" fmla="*/ 1772395 w 5610835"/>
              <a:gd name="connsiteY5557" fmla="*/ 1491934 h 5278114"/>
              <a:gd name="connsiteX5558" fmla="*/ 1781940 w 5610835"/>
              <a:gd name="connsiteY5558" fmla="*/ 1482389 h 5278114"/>
              <a:gd name="connsiteX5559" fmla="*/ 1778758 w 5610835"/>
              <a:gd name="connsiteY5559" fmla="*/ 1476028 h 5278114"/>
              <a:gd name="connsiteX5560" fmla="*/ 1785122 w 5610835"/>
              <a:gd name="connsiteY5560" fmla="*/ 1469663 h 5278114"/>
              <a:gd name="connsiteX5561" fmla="*/ 1791485 w 5610835"/>
              <a:gd name="connsiteY5561" fmla="*/ 1469663 h 5278114"/>
              <a:gd name="connsiteX5562" fmla="*/ 1785122 w 5610835"/>
              <a:gd name="connsiteY5562" fmla="*/ 1480799 h 5278114"/>
              <a:gd name="connsiteX5563" fmla="*/ 1788304 w 5610835"/>
              <a:gd name="connsiteY5563" fmla="*/ 1485571 h 5278114"/>
              <a:gd name="connsiteX5564" fmla="*/ 1785123 w 5610835"/>
              <a:gd name="connsiteY5564" fmla="*/ 1487162 h 5278114"/>
              <a:gd name="connsiteX5565" fmla="*/ 1789892 w 5610835"/>
              <a:gd name="connsiteY5565" fmla="*/ 1487162 h 5278114"/>
              <a:gd name="connsiteX5566" fmla="*/ 1788304 w 5610835"/>
              <a:gd name="connsiteY5566" fmla="*/ 1483983 h 5278114"/>
              <a:gd name="connsiteX5567" fmla="*/ 1794666 w 5610835"/>
              <a:gd name="connsiteY5567" fmla="*/ 1479212 h 5278114"/>
              <a:gd name="connsiteX5568" fmla="*/ 1791485 w 5610835"/>
              <a:gd name="connsiteY5568" fmla="*/ 1474441 h 5278114"/>
              <a:gd name="connsiteX5569" fmla="*/ 1801028 w 5610835"/>
              <a:gd name="connsiteY5569" fmla="*/ 1479212 h 5278114"/>
              <a:gd name="connsiteX5570" fmla="*/ 1802619 w 5610835"/>
              <a:gd name="connsiteY5570" fmla="*/ 1474441 h 5278114"/>
              <a:gd name="connsiteX5571" fmla="*/ 1801890 w 5610835"/>
              <a:gd name="connsiteY5571" fmla="*/ 1472251 h 5278114"/>
              <a:gd name="connsiteX5572" fmla="*/ 1801028 w 5610835"/>
              <a:gd name="connsiteY5572" fmla="*/ 1472848 h 5278114"/>
              <a:gd name="connsiteX5573" fmla="*/ 1796256 w 5610835"/>
              <a:gd name="connsiteY5573" fmla="*/ 1468076 h 5278114"/>
              <a:gd name="connsiteX5574" fmla="*/ 1797847 w 5610835"/>
              <a:gd name="connsiteY5574" fmla="*/ 1461712 h 5278114"/>
              <a:gd name="connsiteX5575" fmla="*/ 1797847 w 5610835"/>
              <a:gd name="connsiteY5575" fmla="*/ 1456938 h 5278114"/>
              <a:gd name="connsiteX5576" fmla="*/ 1804210 w 5610835"/>
              <a:gd name="connsiteY5576" fmla="*/ 1452166 h 5278114"/>
              <a:gd name="connsiteX5577" fmla="*/ 1804211 w 5610835"/>
              <a:gd name="connsiteY5577" fmla="*/ 1452167 h 5278114"/>
              <a:gd name="connsiteX5578" fmla="*/ 1807392 w 5610835"/>
              <a:gd name="connsiteY5578" fmla="*/ 1461712 h 5278114"/>
              <a:gd name="connsiteX5579" fmla="*/ 1802619 w 5610835"/>
              <a:gd name="connsiteY5579" fmla="*/ 1466485 h 5278114"/>
              <a:gd name="connsiteX5580" fmla="*/ 1805801 w 5610835"/>
              <a:gd name="connsiteY5580" fmla="*/ 1466485 h 5278114"/>
              <a:gd name="connsiteX5581" fmla="*/ 1805801 w 5610835"/>
              <a:gd name="connsiteY5581" fmla="*/ 1464895 h 5278114"/>
              <a:gd name="connsiteX5582" fmla="*/ 1809335 w 5610835"/>
              <a:gd name="connsiteY5582" fmla="*/ 1466485 h 5278114"/>
              <a:gd name="connsiteX5583" fmla="*/ 1810221 w 5610835"/>
              <a:gd name="connsiteY5583" fmla="*/ 1466485 h 5278114"/>
              <a:gd name="connsiteX5584" fmla="*/ 1810492 w 5610835"/>
              <a:gd name="connsiteY5584" fmla="*/ 1466362 h 5278114"/>
              <a:gd name="connsiteX5585" fmla="*/ 1807392 w 5610835"/>
              <a:gd name="connsiteY5585" fmla="*/ 1461712 h 5278114"/>
              <a:gd name="connsiteX5586" fmla="*/ 1812165 w 5610835"/>
              <a:gd name="connsiteY5586" fmla="*/ 1461712 h 5278114"/>
              <a:gd name="connsiteX5587" fmla="*/ 1813041 w 5610835"/>
              <a:gd name="connsiteY5587" fmla="*/ 1465216 h 5278114"/>
              <a:gd name="connsiteX5588" fmla="*/ 1813754 w 5610835"/>
              <a:gd name="connsiteY5588" fmla="*/ 1464895 h 5278114"/>
              <a:gd name="connsiteX5589" fmla="*/ 1816936 w 5610835"/>
              <a:gd name="connsiteY5589" fmla="*/ 1469666 h 5278114"/>
              <a:gd name="connsiteX5590" fmla="*/ 1826480 w 5610835"/>
              <a:gd name="connsiteY5590" fmla="*/ 1471257 h 5278114"/>
              <a:gd name="connsiteX5591" fmla="*/ 1829662 w 5610835"/>
              <a:gd name="connsiteY5591" fmla="*/ 1468076 h 5278114"/>
              <a:gd name="connsiteX5592" fmla="*/ 1824890 w 5610835"/>
              <a:gd name="connsiteY5592" fmla="*/ 1466485 h 5278114"/>
              <a:gd name="connsiteX5593" fmla="*/ 1829662 w 5610835"/>
              <a:gd name="connsiteY5593" fmla="*/ 1463304 h 5278114"/>
              <a:gd name="connsiteX5594" fmla="*/ 1829666 w 5610835"/>
              <a:gd name="connsiteY5594" fmla="*/ 1463301 h 5278114"/>
              <a:gd name="connsiteX5595" fmla="*/ 1829662 w 5610835"/>
              <a:gd name="connsiteY5595" fmla="*/ 1463301 h 5278114"/>
              <a:gd name="connsiteX5596" fmla="*/ 1829662 w 5610835"/>
              <a:gd name="connsiteY5596" fmla="*/ 1456937 h 5278114"/>
              <a:gd name="connsiteX5597" fmla="*/ 1833896 w 5610835"/>
              <a:gd name="connsiteY5597" fmla="*/ 1456937 h 5278114"/>
              <a:gd name="connsiteX5598" fmla="*/ 1829662 w 5610835"/>
              <a:gd name="connsiteY5598" fmla="*/ 1455348 h 5278114"/>
              <a:gd name="connsiteX5599" fmla="*/ 1829662 w 5610835"/>
              <a:gd name="connsiteY5599" fmla="*/ 1453758 h 5278114"/>
              <a:gd name="connsiteX5600" fmla="*/ 1830258 w 5610835"/>
              <a:gd name="connsiteY5600" fmla="*/ 1452566 h 5278114"/>
              <a:gd name="connsiteX5601" fmla="*/ 1829662 w 5610835"/>
              <a:gd name="connsiteY5601" fmla="*/ 1452169 h 5278114"/>
              <a:gd name="connsiteX5602" fmla="*/ 1824890 w 5610835"/>
              <a:gd name="connsiteY5602" fmla="*/ 1456940 h 5278114"/>
              <a:gd name="connsiteX5603" fmla="*/ 1824890 w 5610835"/>
              <a:gd name="connsiteY5603" fmla="*/ 1450579 h 5278114"/>
              <a:gd name="connsiteX5604" fmla="*/ 1812164 w 5610835"/>
              <a:gd name="connsiteY5604" fmla="*/ 1441036 h 5278114"/>
              <a:gd name="connsiteX5605" fmla="*/ 1810573 w 5610835"/>
              <a:gd name="connsiteY5605" fmla="*/ 1431490 h 5278114"/>
              <a:gd name="connsiteX5606" fmla="*/ 1824890 w 5610835"/>
              <a:gd name="connsiteY5606" fmla="*/ 1425128 h 5278114"/>
              <a:gd name="connsiteX5607" fmla="*/ 1824890 w 5610835"/>
              <a:gd name="connsiteY5607" fmla="*/ 1418766 h 5278114"/>
              <a:gd name="connsiteX5608" fmla="*/ 1829662 w 5610835"/>
              <a:gd name="connsiteY5608" fmla="*/ 1423538 h 5278114"/>
              <a:gd name="connsiteX5609" fmla="*/ 1836025 w 5610835"/>
              <a:gd name="connsiteY5609" fmla="*/ 1423538 h 5278114"/>
              <a:gd name="connsiteX5610" fmla="*/ 1843979 w 5610835"/>
              <a:gd name="connsiteY5610" fmla="*/ 1420357 h 5278114"/>
              <a:gd name="connsiteX5611" fmla="*/ 1839208 w 5610835"/>
              <a:gd name="connsiteY5611" fmla="*/ 1425128 h 5278114"/>
              <a:gd name="connsiteX5612" fmla="*/ 1840798 w 5610835"/>
              <a:gd name="connsiteY5612" fmla="*/ 1428311 h 5278114"/>
              <a:gd name="connsiteX5613" fmla="*/ 1839385 w 5610835"/>
              <a:gd name="connsiteY5613" fmla="*/ 1429370 h 5278114"/>
              <a:gd name="connsiteX5614" fmla="*/ 1840797 w 5610835"/>
              <a:gd name="connsiteY5614" fmla="*/ 1431490 h 5278114"/>
              <a:gd name="connsiteX5615" fmla="*/ 1845567 w 5610835"/>
              <a:gd name="connsiteY5615" fmla="*/ 1426719 h 5278114"/>
              <a:gd name="connsiteX5616" fmla="*/ 1843979 w 5610835"/>
              <a:gd name="connsiteY5616" fmla="*/ 1426719 h 5278114"/>
              <a:gd name="connsiteX5617" fmla="*/ 1843979 w 5610835"/>
              <a:gd name="connsiteY5617" fmla="*/ 1420357 h 5278114"/>
              <a:gd name="connsiteX5618" fmla="*/ 1848751 w 5610835"/>
              <a:gd name="connsiteY5618" fmla="*/ 1418766 h 5278114"/>
              <a:gd name="connsiteX5619" fmla="*/ 1850341 w 5610835"/>
              <a:gd name="connsiteY5619" fmla="*/ 1421947 h 5278114"/>
              <a:gd name="connsiteX5620" fmla="*/ 1850342 w 5610835"/>
              <a:gd name="connsiteY5620" fmla="*/ 1421946 h 5278114"/>
              <a:gd name="connsiteX5621" fmla="*/ 1855019 w 5610835"/>
              <a:gd name="connsiteY5621" fmla="*/ 1421010 h 5278114"/>
              <a:gd name="connsiteX5622" fmla="*/ 1853523 w 5610835"/>
              <a:gd name="connsiteY5622" fmla="*/ 1418766 h 5278114"/>
              <a:gd name="connsiteX5623" fmla="*/ 1848751 w 5610835"/>
              <a:gd name="connsiteY5623" fmla="*/ 1418766 h 5278114"/>
              <a:gd name="connsiteX5624" fmla="*/ 1848750 w 5610835"/>
              <a:gd name="connsiteY5624" fmla="*/ 1418766 h 5278114"/>
              <a:gd name="connsiteX5625" fmla="*/ 1851932 w 5610835"/>
              <a:gd name="connsiteY5625" fmla="*/ 1413994 h 5278114"/>
              <a:gd name="connsiteX5626" fmla="*/ 1843978 w 5610835"/>
              <a:gd name="connsiteY5626" fmla="*/ 1413994 h 5278114"/>
              <a:gd name="connsiteX5627" fmla="*/ 1853523 w 5610835"/>
              <a:gd name="connsiteY5627" fmla="*/ 1404448 h 5278114"/>
              <a:gd name="connsiteX5628" fmla="*/ 1851932 w 5610835"/>
              <a:gd name="connsiteY5628" fmla="*/ 1412402 h 5278114"/>
              <a:gd name="connsiteX5629" fmla="*/ 1856704 w 5610835"/>
              <a:gd name="connsiteY5629" fmla="*/ 1412402 h 5278114"/>
              <a:gd name="connsiteX5630" fmla="*/ 1853523 w 5610835"/>
              <a:gd name="connsiteY5630" fmla="*/ 1415583 h 5278114"/>
              <a:gd name="connsiteX5631" fmla="*/ 1858295 w 5610835"/>
              <a:gd name="connsiteY5631" fmla="*/ 1418766 h 5278114"/>
              <a:gd name="connsiteX5632" fmla="*/ 1857728 w 5610835"/>
              <a:gd name="connsiteY5632" fmla="*/ 1420469 h 5278114"/>
              <a:gd name="connsiteX5633" fmla="*/ 1858295 w 5610835"/>
              <a:gd name="connsiteY5633" fmla="*/ 1420356 h 5278114"/>
              <a:gd name="connsiteX5634" fmla="*/ 1858295 w 5610835"/>
              <a:gd name="connsiteY5634" fmla="*/ 1429898 h 5278114"/>
              <a:gd name="connsiteX5635" fmla="*/ 1871021 w 5610835"/>
              <a:gd name="connsiteY5635" fmla="*/ 1420356 h 5278114"/>
              <a:gd name="connsiteX5636" fmla="*/ 1866249 w 5610835"/>
              <a:gd name="connsiteY5636" fmla="*/ 1413991 h 5278114"/>
              <a:gd name="connsiteX5637" fmla="*/ 1859886 w 5610835"/>
              <a:gd name="connsiteY5637" fmla="*/ 1418766 h 5278114"/>
              <a:gd name="connsiteX5638" fmla="*/ 1858295 w 5610835"/>
              <a:gd name="connsiteY5638" fmla="*/ 1415583 h 5278114"/>
              <a:gd name="connsiteX5639" fmla="*/ 1863067 w 5610835"/>
              <a:gd name="connsiteY5639" fmla="*/ 1410809 h 5278114"/>
              <a:gd name="connsiteX5640" fmla="*/ 1859886 w 5610835"/>
              <a:gd name="connsiteY5640" fmla="*/ 1402856 h 5278114"/>
              <a:gd name="connsiteX5641" fmla="*/ 1871021 w 5610835"/>
              <a:gd name="connsiteY5641" fmla="*/ 1402856 h 5278114"/>
              <a:gd name="connsiteX5642" fmla="*/ 1874202 w 5610835"/>
              <a:gd name="connsiteY5642" fmla="*/ 1396493 h 5278114"/>
              <a:gd name="connsiteX5643" fmla="*/ 1882156 w 5610835"/>
              <a:gd name="connsiteY5643" fmla="*/ 1399675 h 5278114"/>
              <a:gd name="connsiteX5644" fmla="*/ 1885337 w 5610835"/>
              <a:gd name="connsiteY5644" fmla="*/ 1406038 h 5278114"/>
              <a:gd name="connsiteX5645" fmla="*/ 1877384 w 5610835"/>
              <a:gd name="connsiteY5645" fmla="*/ 1412401 h 5278114"/>
              <a:gd name="connsiteX5646" fmla="*/ 1882156 w 5610835"/>
              <a:gd name="connsiteY5646" fmla="*/ 1415583 h 5278114"/>
              <a:gd name="connsiteX5647" fmla="*/ 1877384 w 5610835"/>
              <a:gd name="connsiteY5647" fmla="*/ 1421946 h 5278114"/>
              <a:gd name="connsiteX5648" fmla="*/ 1885337 w 5610835"/>
              <a:gd name="connsiteY5648" fmla="*/ 1421946 h 5278114"/>
              <a:gd name="connsiteX5649" fmla="*/ 1885337 w 5610835"/>
              <a:gd name="connsiteY5649" fmla="*/ 1426719 h 5278114"/>
              <a:gd name="connsiteX5650" fmla="*/ 1893291 w 5610835"/>
              <a:gd name="connsiteY5650" fmla="*/ 1428308 h 5278114"/>
              <a:gd name="connsiteX5651" fmla="*/ 1894882 w 5610835"/>
              <a:gd name="connsiteY5651" fmla="*/ 1425127 h 5278114"/>
              <a:gd name="connsiteX5652" fmla="*/ 1888519 w 5610835"/>
              <a:gd name="connsiteY5652" fmla="*/ 1423537 h 5278114"/>
              <a:gd name="connsiteX5653" fmla="*/ 1885337 w 5610835"/>
              <a:gd name="connsiteY5653" fmla="*/ 1421946 h 5278114"/>
              <a:gd name="connsiteX5654" fmla="*/ 1890109 w 5610835"/>
              <a:gd name="connsiteY5654" fmla="*/ 1415583 h 5278114"/>
              <a:gd name="connsiteX5655" fmla="*/ 1882156 w 5610835"/>
              <a:gd name="connsiteY5655" fmla="*/ 1415583 h 5278114"/>
              <a:gd name="connsiteX5656" fmla="*/ 1885337 w 5610835"/>
              <a:gd name="connsiteY5656" fmla="*/ 1410809 h 5278114"/>
              <a:gd name="connsiteX5657" fmla="*/ 1890109 w 5610835"/>
              <a:gd name="connsiteY5657" fmla="*/ 1412401 h 5278114"/>
              <a:gd name="connsiteX5658" fmla="*/ 1888519 w 5610835"/>
              <a:gd name="connsiteY5658" fmla="*/ 1402856 h 5278114"/>
              <a:gd name="connsiteX5659" fmla="*/ 1893291 w 5610835"/>
              <a:gd name="connsiteY5659" fmla="*/ 1401265 h 5278114"/>
              <a:gd name="connsiteX5660" fmla="*/ 1888519 w 5610835"/>
              <a:gd name="connsiteY5660" fmla="*/ 1399675 h 5278114"/>
              <a:gd name="connsiteX5661" fmla="*/ 1891701 w 5610835"/>
              <a:gd name="connsiteY5661" fmla="*/ 1394902 h 5278114"/>
              <a:gd name="connsiteX5662" fmla="*/ 1883747 w 5610835"/>
              <a:gd name="connsiteY5662" fmla="*/ 1394902 h 5278114"/>
              <a:gd name="connsiteX5663" fmla="*/ 1883747 w 5610835"/>
              <a:gd name="connsiteY5663" fmla="*/ 1390128 h 5278114"/>
              <a:gd name="connsiteX5664" fmla="*/ 1875793 w 5610835"/>
              <a:gd name="connsiteY5664" fmla="*/ 1391719 h 5278114"/>
              <a:gd name="connsiteX5665" fmla="*/ 1871021 w 5610835"/>
              <a:gd name="connsiteY5665" fmla="*/ 1382176 h 5278114"/>
              <a:gd name="connsiteX5666" fmla="*/ 1878975 w 5610835"/>
              <a:gd name="connsiteY5666" fmla="*/ 1380585 h 5278114"/>
              <a:gd name="connsiteX5667" fmla="*/ 1896473 w 5610835"/>
              <a:gd name="connsiteY5667" fmla="*/ 1391719 h 5278114"/>
              <a:gd name="connsiteX5668" fmla="*/ 1893291 w 5610835"/>
              <a:gd name="connsiteY5668" fmla="*/ 1386948 h 5278114"/>
              <a:gd name="connsiteX5669" fmla="*/ 1902836 w 5610835"/>
              <a:gd name="connsiteY5669" fmla="*/ 1388538 h 5278114"/>
              <a:gd name="connsiteX5670" fmla="*/ 1902836 w 5610835"/>
              <a:gd name="connsiteY5670" fmla="*/ 1383766 h 5278114"/>
              <a:gd name="connsiteX5671" fmla="*/ 1893291 w 5610835"/>
              <a:gd name="connsiteY5671" fmla="*/ 1383766 h 5278114"/>
              <a:gd name="connsiteX5672" fmla="*/ 1904426 w 5610835"/>
              <a:gd name="connsiteY5672" fmla="*/ 1372633 h 5278114"/>
              <a:gd name="connsiteX5673" fmla="*/ 1910790 w 5610835"/>
              <a:gd name="connsiteY5673" fmla="*/ 1372633 h 5278114"/>
              <a:gd name="connsiteX5674" fmla="*/ 1902836 w 5610835"/>
              <a:gd name="connsiteY5674" fmla="*/ 1371042 h 5278114"/>
              <a:gd name="connsiteX5675" fmla="*/ 1816936 w 5610835"/>
              <a:gd name="connsiteY5675" fmla="*/ 1363087 h 5278114"/>
              <a:gd name="connsiteX5676" fmla="*/ 1820117 w 5610835"/>
              <a:gd name="connsiteY5676" fmla="*/ 1366269 h 5278114"/>
              <a:gd name="connsiteX5677" fmla="*/ 1808982 w 5610835"/>
              <a:gd name="connsiteY5677" fmla="*/ 1369450 h 5278114"/>
              <a:gd name="connsiteX5678" fmla="*/ 1845570 w 5610835"/>
              <a:gd name="connsiteY5678" fmla="*/ 1361490 h 5278114"/>
              <a:gd name="connsiteX5679" fmla="*/ 1850342 w 5610835"/>
              <a:gd name="connsiteY5679" fmla="*/ 1366261 h 5278114"/>
              <a:gd name="connsiteX5680" fmla="*/ 1843979 w 5610835"/>
              <a:gd name="connsiteY5680" fmla="*/ 1369443 h 5278114"/>
              <a:gd name="connsiteX5681" fmla="*/ 1886928 w 5610835"/>
              <a:gd name="connsiteY5681" fmla="*/ 1359899 h 5278114"/>
              <a:gd name="connsiteX5682" fmla="*/ 1899655 w 5610835"/>
              <a:gd name="connsiteY5682" fmla="*/ 1371036 h 5278114"/>
              <a:gd name="connsiteX5683" fmla="*/ 1883747 w 5610835"/>
              <a:gd name="connsiteY5683" fmla="*/ 1361490 h 5278114"/>
              <a:gd name="connsiteX5684" fmla="*/ 1807391 w 5610835"/>
              <a:gd name="connsiteY5684" fmla="*/ 1359897 h 5278114"/>
              <a:gd name="connsiteX5685" fmla="*/ 1804209 w 5610835"/>
              <a:gd name="connsiteY5685" fmla="*/ 1367851 h 5278114"/>
              <a:gd name="connsiteX5686" fmla="*/ 1799437 w 5610835"/>
              <a:gd name="connsiteY5686" fmla="*/ 1363079 h 5278114"/>
              <a:gd name="connsiteX5687" fmla="*/ 4955454 w 5610835"/>
              <a:gd name="connsiteY5687" fmla="*/ 1358351 h 5278114"/>
              <a:gd name="connsiteX5688" fmla="*/ 4958635 w 5610835"/>
              <a:gd name="connsiteY5688" fmla="*/ 1369487 h 5278114"/>
              <a:gd name="connsiteX5689" fmla="*/ 4823422 w 5610835"/>
              <a:gd name="connsiteY5689" fmla="*/ 1464933 h 5278114"/>
              <a:gd name="connsiteX5690" fmla="*/ 4823422 w 5610835"/>
              <a:gd name="connsiteY5690" fmla="*/ 1456975 h 5278114"/>
              <a:gd name="connsiteX5691" fmla="*/ 4933183 w 5610835"/>
              <a:gd name="connsiteY5691" fmla="*/ 1375852 h 5278114"/>
              <a:gd name="connsiteX5692" fmla="*/ 4939547 w 5610835"/>
              <a:gd name="connsiteY5692" fmla="*/ 1364714 h 5278114"/>
              <a:gd name="connsiteX5693" fmla="*/ 4955454 w 5610835"/>
              <a:gd name="connsiteY5693" fmla="*/ 1358351 h 5278114"/>
              <a:gd name="connsiteX5694" fmla="*/ 1918743 w 5610835"/>
              <a:gd name="connsiteY5694" fmla="*/ 1353536 h 5278114"/>
              <a:gd name="connsiteX5695" fmla="*/ 1923515 w 5610835"/>
              <a:gd name="connsiteY5695" fmla="*/ 1353536 h 5278114"/>
              <a:gd name="connsiteX5696" fmla="*/ 1921925 w 5610835"/>
              <a:gd name="connsiteY5696" fmla="*/ 1359898 h 5278114"/>
              <a:gd name="connsiteX5697" fmla="*/ 1918743 w 5610835"/>
              <a:gd name="connsiteY5697" fmla="*/ 1359898 h 5278114"/>
              <a:gd name="connsiteX5698" fmla="*/ 1821708 w 5610835"/>
              <a:gd name="connsiteY5698" fmla="*/ 1351943 h 5278114"/>
              <a:gd name="connsiteX5699" fmla="*/ 1829662 w 5610835"/>
              <a:gd name="connsiteY5699" fmla="*/ 1351943 h 5278114"/>
              <a:gd name="connsiteX5700" fmla="*/ 1821708 w 5610835"/>
              <a:gd name="connsiteY5700" fmla="*/ 1356715 h 5278114"/>
              <a:gd name="connsiteX5701" fmla="*/ 1987144 w 5610835"/>
              <a:gd name="connsiteY5701" fmla="*/ 1351941 h 5278114"/>
              <a:gd name="connsiteX5702" fmla="*/ 1987144 w 5610835"/>
              <a:gd name="connsiteY5702" fmla="*/ 1358304 h 5278114"/>
              <a:gd name="connsiteX5703" fmla="*/ 1995098 w 5610835"/>
              <a:gd name="connsiteY5703" fmla="*/ 1358304 h 5278114"/>
              <a:gd name="connsiteX5704" fmla="*/ 1995098 w 5610835"/>
              <a:gd name="connsiteY5704" fmla="*/ 1351941 h 5278114"/>
              <a:gd name="connsiteX5705" fmla="*/ 1750126 w 5610835"/>
              <a:gd name="connsiteY5705" fmla="*/ 1351939 h 5278114"/>
              <a:gd name="connsiteX5706" fmla="*/ 1740580 w 5610835"/>
              <a:gd name="connsiteY5706" fmla="*/ 1361484 h 5278114"/>
              <a:gd name="connsiteX5707" fmla="*/ 1737399 w 5610835"/>
              <a:gd name="connsiteY5707" fmla="*/ 1356711 h 5278114"/>
              <a:gd name="connsiteX5708" fmla="*/ 1966465 w 5610835"/>
              <a:gd name="connsiteY5708" fmla="*/ 1350350 h 5278114"/>
              <a:gd name="connsiteX5709" fmla="*/ 1961692 w 5610835"/>
              <a:gd name="connsiteY5709" fmla="*/ 1351941 h 5278114"/>
              <a:gd name="connsiteX5710" fmla="*/ 1966465 w 5610835"/>
              <a:gd name="connsiteY5710" fmla="*/ 1353532 h 5278114"/>
              <a:gd name="connsiteX5711" fmla="*/ 1976009 w 5610835"/>
              <a:gd name="connsiteY5711" fmla="*/ 1358304 h 5278114"/>
              <a:gd name="connsiteX5712" fmla="*/ 1976009 w 5610835"/>
              <a:gd name="connsiteY5712" fmla="*/ 1351941 h 5278114"/>
              <a:gd name="connsiteX5713" fmla="*/ 1600597 w 5610835"/>
              <a:gd name="connsiteY5713" fmla="*/ 1348767 h 5278114"/>
              <a:gd name="connsiteX5714" fmla="*/ 1600597 w 5610835"/>
              <a:gd name="connsiteY5714" fmla="*/ 1353539 h 5278114"/>
              <a:gd name="connsiteX5715" fmla="*/ 1595825 w 5610835"/>
              <a:gd name="connsiteY5715" fmla="*/ 1350358 h 5278114"/>
              <a:gd name="connsiteX5716" fmla="*/ 1980781 w 5610835"/>
              <a:gd name="connsiteY5716" fmla="*/ 1345577 h 5278114"/>
              <a:gd name="connsiteX5717" fmla="*/ 1980781 w 5610835"/>
              <a:gd name="connsiteY5717" fmla="*/ 1358304 h 5278114"/>
              <a:gd name="connsiteX5718" fmla="*/ 1983962 w 5610835"/>
              <a:gd name="connsiteY5718" fmla="*/ 1353532 h 5278114"/>
              <a:gd name="connsiteX5719" fmla="*/ 1980781 w 5610835"/>
              <a:gd name="connsiteY5719" fmla="*/ 1345577 h 5278114"/>
              <a:gd name="connsiteX5720" fmla="*/ 1913971 w 5610835"/>
              <a:gd name="connsiteY5720" fmla="*/ 1342399 h 5278114"/>
              <a:gd name="connsiteX5721" fmla="*/ 1917153 w 5610835"/>
              <a:gd name="connsiteY5721" fmla="*/ 1347171 h 5278114"/>
              <a:gd name="connsiteX5722" fmla="*/ 1909199 w 5610835"/>
              <a:gd name="connsiteY5722" fmla="*/ 1345580 h 5278114"/>
              <a:gd name="connsiteX5723" fmla="*/ 1906017 w 5610835"/>
              <a:gd name="connsiteY5723" fmla="*/ 1342399 h 5278114"/>
              <a:gd name="connsiteX5724" fmla="*/ 1909198 w 5610835"/>
              <a:gd name="connsiteY5724" fmla="*/ 1345581 h 5278114"/>
              <a:gd name="connsiteX5725" fmla="*/ 1906017 w 5610835"/>
              <a:gd name="connsiteY5725" fmla="*/ 1347171 h 5278114"/>
              <a:gd name="connsiteX5726" fmla="*/ 1904427 w 5610835"/>
              <a:gd name="connsiteY5726" fmla="*/ 1348761 h 5278114"/>
              <a:gd name="connsiteX5727" fmla="*/ 1909199 w 5610835"/>
              <a:gd name="connsiteY5727" fmla="*/ 1351942 h 5278114"/>
              <a:gd name="connsiteX5728" fmla="*/ 1901245 w 5610835"/>
              <a:gd name="connsiteY5728" fmla="*/ 1359896 h 5278114"/>
              <a:gd name="connsiteX5729" fmla="*/ 1896473 w 5610835"/>
              <a:gd name="connsiteY5729" fmla="*/ 1353533 h 5278114"/>
              <a:gd name="connsiteX5730" fmla="*/ 1904426 w 5610835"/>
              <a:gd name="connsiteY5730" fmla="*/ 1353533 h 5278114"/>
              <a:gd name="connsiteX5731" fmla="*/ 1904426 w 5610835"/>
              <a:gd name="connsiteY5731" fmla="*/ 1348761 h 5278114"/>
              <a:gd name="connsiteX5732" fmla="*/ 1898063 w 5610835"/>
              <a:gd name="connsiteY5732" fmla="*/ 1345581 h 5278114"/>
              <a:gd name="connsiteX5733" fmla="*/ 1781940 w 5610835"/>
              <a:gd name="connsiteY5733" fmla="*/ 1331271 h 5278114"/>
              <a:gd name="connsiteX5734" fmla="*/ 1778758 w 5610835"/>
              <a:gd name="connsiteY5734" fmla="*/ 1336043 h 5278114"/>
              <a:gd name="connsiteX5735" fmla="*/ 1783532 w 5610835"/>
              <a:gd name="connsiteY5735" fmla="*/ 1337633 h 5278114"/>
              <a:gd name="connsiteX5736" fmla="*/ 1773985 w 5610835"/>
              <a:gd name="connsiteY5736" fmla="*/ 1342406 h 5278114"/>
              <a:gd name="connsiteX5737" fmla="*/ 1769214 w 5610835"/>
              <a:gd name="connsiteY5737" fmla="*/ 1336043 h 5278114"/>
              <a:gd name="connsiteX5738" fmla="*/ 1781940 w 5610835"/>
              <a:gd name="connsiteY5738" fmla="*/ 1331271 h 5278114"/>
              <a:gd name="connsiteX5739" fmla="*/ 1848752 w 5610835"/>
              <a:gd name="connsiteY5739" fmla="*/ 1331266 h 5278114"/>
              <a:gd name="connsiteX5740" fmla="*/ 1853523 w 5610835"/>
              <a:gd name="connsiteY5740" fmla="*/ 1331266 h 5278114"/>
              <a:gd name="connsiteX5741" fmla="*/ 1853523 w 5610835"/>
              <a:gd name="connsiteY5741" fmla="*/ 1336038 h 5278114"/>
              <a:gd name="connsiteX5742" fmla="*/ 1960101 w 5610835"/>
              <a:gd name="connsiteY5742" fmla="*/ 1331261 h 5278114"/>
              <a:gd name="connsiteX5743" fmla="*/ 1960652 w 5610835"/>
              <a:gd name="connsiteY5743" fmla="*/ 1331812 h 5278114"/>
              <a:gd name="connsiteX5744" fmla="*/ 1960101 w 5610835"/>
              <a:gd name="connsiteY5744" fmla="*/ 1334128 h 5278114"/>
              <a:gd name="connsiteX5745" fmla="*/ 2083608 w 5610835"/>
              <a:gd name="connsiteY5745" fmla="*/ 1329819 h 5278114"/>
              <a:gd name="connsiteX5746" fmla="*/ 2082590 w 5610835"/>
              <a:gd name="connsiteY5746" fmla="*/ 1344036 h 5278114"/>
              <a:gd name="connsiteX5747" fmla="*/ 2109631 w 5610835"/>
              <a:gd name="connsiteY5747" fmla="*/ 1482430 h 5278114"/>
              <a:gd name="connsiteX5748" fmla="*/ 2290975 w 5610835"/>
              <a:gd name="connsiteY5748" fmla="*/ 1993048 h 5278114"/>
              <a:gd name="connsiteX5749" fmla="*/ 2061909 w 5610835"/>
              <a:gd name="connsiteY5749" fmla="*/ 1421985 h 5278114"/>
              <a:gd name="connsiteX5750" fmla="*/ 2083608 w 5610835"/>
              <a:gd name="connsiteY5750" fmla="*/ 1329819 h 5278114"/>
              <a:gd name="connsiteX5751" fmla="*/ 1875793 w 5610835"/>
              <a:gd name="connsiteY5751" fmla="*/ 1329680 h 5278114"/>
              <a:gd name="connsiteX5752" fmla="*/ 1882156 w 5610835"/>
              <a:gd name="connsiteY5752" fmla="*/ 1332861 h 5278114"/>
              <a:gd name="connsiteX5753" fmla="*/ 1874202 w 5610835"/>
              <a:gd name="connsiteY5753" fmla="*/ 1334452 h 5278114"/>
              <a:gd name="connsiteX5754" fmla="*/ 1683313 w 5610835"/>
              <a:gd name="connsiteY5754" fmla="*/ 1328079 h 5278114"/>
              <a:gd name="connsiteX5755" fmla="*/ 1688086 w 5610835"/>
              <a:gd name="connsiteY5755" fmla="*/ 1332851 h 5278114"/>
              <a:gd name="connsiteX5756" fmla="*/ 1683313 w 5610835"/>
              <a:gd name="connsiteY5756" fmla="*/ 1336033 h 5278114"/>
              <a:gd name="connsiteX5757" fmla="*/ 1680133 w 5610835"/>
              <a:gd name="connsiteY5757" fmla="*/ 1331261 h 5278114"/>
              <a:gd name="connsiteX5758" fmla="*/ 1521060 w 5610835"/>
              <a:gd name="connsiteY5758" fmla="*/ 1326496 h 5278114"/>
              <a:gd name="connsiteX5759" fmla="*/ 1529013 w 5610835"/>
              <a:gd name="connsiteY5759" fmla="*/ 1328087 h 5278114"/>
              <a:gd name="connsiteX5760" fmla="*/ 1524241 w 5610835"/>
              <a:gd name="connsiteY5760" fmla="*/ 1331269 h 5278114"/>
              <a:gd name="connsiteX5761" fmla="*/ 1883747 w 5610835"/>
              <a:gd name="connsiteY5761" fmla="*/ 1326494 h 5278114"/>
              <a:gd name="connsiteX5762" fmla="*/ 1890110 w 5610835"/>
              <a:gd name="connsiteY5762" fmla="*/ 1331266 h 5278114"/>
              <a:gd name="connsiteX5763" fmla="*/ 1883747 w 5610835"/>
              <a:gd name="connsiteY5763" fmla="*/ 1334447 h 5278114"/>
              <a:gd name="connsiteX5764" fmla="*/ 1893291 w 5610835"/>
              <a:gd name="connsiteY5764" fmla="*/ 1326493 h 5278114"/>
              <a:gd name="connsiteX5765" fmla="*/ 1901245 w 5610835"/>
              <a:gd name="connsiteY5765" fmla="*/ 1326493 h 5278114"/>
              <a:gd name="connsiteX5766" fmla="*/ 1893291 w 5610835"/>
              <a:gd name="connsiteY5766" fmla="*/ 1336038 h 5278114"/>
              <a:gd name="connsiteX5767" fmla="*/ 1893291 w 5610835"/>
              <a:gd name="connsiteY5767" fmla="*/ 1326493 h 5278114"/>
              <a:gd name="connsiteX5768" fmla="*/ 1635592 w 5610835"/>
              <a:gd name="connsiteY5768" fmla="*/ 1326487 h 5278114"/>
              <a:gd name="connsiteX5769" fmla="*/ 1640365 w 5610835"/>
              <a:gd name="connsiteY5769" fmla="*/ 1332851 h 5278114"/>
              <a:gd name="connsiteX5770" fmla="*/ 1632411 w 5610835"/>
              <a:gd name="connsiteY5770" fmla="*/ 1332851 h 5278114"/>
              <a:gd name="connsiteX5771" fmla="*/ 1971237 w 5610835"/>
              <a:gd name="connsiteY5771" fmla="*/ 1320126 h 5278114"/>
              <a:gd name="connsiteX5772" fmla="*/ 1968056 w 5610835"/>
              <a:gd name="connsiteY5772" fmla="*/ 1321717 h 5278114"/>
              <a:gd name="connsiteX5773" fmla="*/ 1971237 w 5610835"/>
              <a:gd name="connsiteY5773" fmla="*/ 1321717 h 5278114"/>
              <a:gd name="connsiteX5774" fmla="*/ 1869231 w 5610835"/>
              <a:gd name="connsiteY5774" fmla="*/ 1318343 h 5278114"/>
              <a:gd name="connsiteX5775" fmla="*/ 1874202 w 5610835"/>
              <a:gd name="connsiteY5775" fmla="*/ 1320133 h 5278114"/>
              <a:gd name="connsiteX5776" fmla="*/ 1883747 w 5610835"/>
              <a:gd name="connsiteY5776" fmla="*/ 1320133 h 5278114"/>
              <a:gd name="connsiteX5777" fmla="*/ 1878975 w 5610835"/>
              <a:gd name="connsiteY5777" fmla="*/ 1324905 h 5278114"/>
              <a:gd name="connsiteX5778" fmla="*/ 1880566 w 5610835"/>
              <a:gd name="connsiteY5778" fmla="*/ 1328086 h 5278114"/>
              <a:gd name="connsiteX5779" fmla="*/ 1877384 w 5610835"/>
              <a:gd name="connsiteY5779" fmla="*/ 1329677 h 5278114"/>
              <a:gd name="connsiteX5780" fmla="*/ 1874202 w 5610835"/>
              <a:gd name="connsiteY5780" fmla="*/ 1328086 h 5278114"/>
              <a:gd name="connsiteX5781" fmla="*/ 1869430 w 5610835"/>
              <a:gd name="connsiteY5781" fmla="*/ 1329677 h 5278114"/>
              <a:gd name="connsiteX5782" fmla="*/ 1867839 w 5610835"/>
              <a:gd name="connsiteY5782" fmla="*/ 1320133 h 5278114"/>
              <a:gd name="connsiteX5783" fmla="*/ 1869231 w 5610835"/>
              <a:gd name="connsiteY5783" fmla="*/ 1318343 h 5278114"/>
              <a:gd name="connsiteX5784" fmla="*/ 1530604 w 5610835"/>
              <a:gd name="connsiteY5784" fmla="*/ 1313770 h 5278114"/>
              <a:gd name="connsiteX5785" fmla="*/ 1540148 w 5610835"/>
              <a:gd name="connsiteY5785" fmla="*/ 1313770 h 5278114"/>
              <a:gd name="connsiteX5786" fmla="*/ 1536966 w 5610835"/>
              <a:gd name="connsiteY5786" fmla="*/ 1318542 h 5278114"/>
              <a:gd name="connsiteX5787" fmla="*/ 1829662 w 5610835"/>
              <a:gd name="connsiteY5787" fmla="*/ 1312184 h 5278114"/>
              <a:gd name="connsiteX5788" fmla="*/ 1832844 w 5610835"/>
              <a:gd name="connsiteY5788" fmla="*/ 1313775 h 5278114"/>
              <a:gd name="connsiteX5789" fmla="*/ 1824890 w 5610835"/>
              <a:gd name="connsiteY5789" fmla="*/ 1320137 h 5278114"/>
              <a:gd name="connsiteX5790" fmla="*/ 1818528 w 5610835"/>
              <a:gd name="connsiteY5790" fmla="*/ 1313775 h 5278114"/>
              <a:gd name="connsiteX5791" fmla="*/ 1847160 w 5610835"/>
              <a:gd name="connsiteY5791" fmla="*/ 1310586 h 5278114"/>
              <a:gd name="connsiteX5792" fmla="*/ 1851932 w 5610835"/>
              <a:gd name="connsiteY5792" fmla="*/ 1315358 h 5278114"/>
              <a:gd name="connsiteX5793" fmla="*/ 1847160 w 5610835"/>
              <a:gd name="connsiteY5793" fmla="*/ 1318540 h 5278114"/>
              <a:gd name="connsiteX5794" fmla="*/ 1843978 w 5610835"/>
              <a:gd name="connsiteY5794" fmla="*/ 1315358 h 5278114"/>
              <a:gd name="connsiteX5795" fmla="*/ 5606063 w 5610835"/>
              <a:gd name="connsiteY5795" fmla="*/ 1301085 h 5278114"/>
              <a:gd name="connsiteX5796" fmla="*/ 5610835 w 5610835"/>
              <a:gd name="connsiteY5796" fmla="*/ 1313809 h 5278114"/>
              <a:gd name="connsiteX5797" fmla="*/ 5601291 w 5610835"/>
              <a:gd name="connsiteY5797" fmla="*/ 1312219 h 5278114"/>
              <a:gd name="connsiteX5798" fmla="*/ 5283144 w 5610835"/>
              <a:gd name="connsiteY5798" fmla="*/ 1484020 h 5278114"/>
              <a:gd name="connsiteX5799" fmla="*/ 5300643 w 5610835"/>
              <a:gd name="connsiteY5799" fmla="*/ 1463341 h 5278114"/>
              <a:gd name="connsiteX5800" fmla="*/ 1996688 w 5610835"/>
              <a:gd name="connsiteY5800" fmla="*/ 1299447 h 5278114"/>
              <a:gd name="connsiteX5801" fmla="*/ 1998279 w 5610835"/>
              <a:gd name="connsiteY5801" fmla="*/ 1301037 h 5278114"/>
              <a:gd name="connsiteX5802" fmla="*/ 1999871 w 5610835"/>
              <a:gd name="connsiteY5802" fmla="*/ 1299447 h 5278114"/>
              <a:gd name="connsiteX5803" fmla="*/ 1893291 w 5610835"/>
              <a:gd name="connsiteY5803" fmla="*/ 1297861 h 5278114"/>
              <a:gd name="connsiteX5804" fmla="*/ 1896473 w 5610835"/>
              <a:gd name="connsiteY5804" fmla="*/ 1302633 h 5278114"/>
              <a:gd name="connsiteX5805" fmla="*/ 1883747 w 5610835"/>
              <a:gd name="connsiteY5805" fmla="*/ 1308996 h 5278114"/>
              <a:gd name="connsiteX5806" fmla="*/ 1893291 w 5610835"/>
              <a:gd name="connsiteY5806" fmla="*/ 1297861 h 5278114"/>
              <a:gd name="connsiteX5807" fmla="*/ 1918742 w 5610835"/>
              <a:gd name="connsiteY5807" fmla="*/ 1294674 h 5278114"/>
              <a:gd name="connsiteX5808" fmla="*/ 1921923 w 5610835"/>
              <a:gd name="connsiteY5808" fmla="*/ 1299447 h 5278114"/>
              <a:gd name="connsiteX5809" fmla="*/ 1931468 w 5610835"/>
              <a:gd name="connsiteY5809" fmla="*/ 1301037 h 5278114"/>
              <a:gd name="connsiteX5810" fmla="*/ 1929877 w 5610835"/>
              <a:gd name="connsiteY5810" fmla="*/ 1302628 h 5278114"/>
              <a:gd name="connsiteX5811" fmla="*/ 1931468 w 5610835"/>
              <a:gd name="connsiteY5811" fmla="*/ 1305809 h 5278114"/>
              <a:gd name="connsiteX5812" fmla="*/ 1931468 w 5610835"/>
              <a:gd name="connsiteY5812" fmla="*/ 1304218 h 5278114"/>
              <a:gd name="connsiteX5813" fmla="*/ 1934650 w 5610835"/>
              <a:gd name="connsiteY5813" fmla="*/ 1304218 h 5278114"/>
              <a:gd name="connsiteX5814" fmla="*/ 1933060 w 5610835"/>
              <a:gd name="connsiteY5814" fmla="*/ 1302628 h 5278114"/>
              <a:gd name="connsiteX5815" fmla="*/ 1936241 w 5610835"/>
              <a:gd name="connsiteY5815" fmla="*/ 1299447 h 5278114"/>
              <a:gd name="connsiteX5816" fmla="*/ 1937832 w 5610835"/>
              <a:gd name="connsiteY5816" fmla="*/ 1301037 h 5278114"/>
              <a:gd name="connsiteX5817" fmla="*/ 1941013 w 5610835"/>
              <a:gd name="connsiteY5817" fmla="*/ 1297856 h 5278114"/>
              <a:gd name="connsiteX5818" fmla="*/ 1942604 w 5610835"/>
              <a:gd name="connsiteY5818" fmla="*/ 1297856 h 5278114"/>
              <a:gd name="connsiteX5819" fmla="*/ 1944195 w 5610835"/>
              <a:gd name="connsiteY5819" fmla="*/ 1297856 h 5278114"/>
              <a:gd name="connsiteX5820" fmla="*/ 1933060 w 5610835"/>
              <a:gd name="connsiteY5820" fmla="*/ 1345577 h 5278114"/>
              <a:gd name="connsiteX5821" fmla="*/ 1928287 w 5610835"/>
              <a:gd name="connsiteY5821" fmla="*/ 1340805 h 5278114"/>
              <a:gd name="connsiteX5822" fmla="*/ 1929877 w 5610835"/>
              <a:gd name="connsiteY5822" fmla="*/ 1337623 h 5278114"/>
              <a:gd name="connsiteX5823" fmla="*/ 1921923 w 5610835"/>
              <a:gd name="connsiteY5823" fmla="*/ 1337623 h 5278114"/>
              <a:gd name="connsiteX5824" fmla="*/ 1923514 w 5610835"/>
              <a:gd name="connsiteY5824" fmla="*/ 1334443 h 5278114"/>
              <a:gd name="connsiteX5825" fmla="*/ 1921923 w 5610835"/>
              <a:gd name="connsiteY5825" fmla="*/ 1331261 h 5278114"/>
              <a:gd name="connsiteX5826" fmla="*/ 1923514 w 5610835"/>
              <a:gd name="connsiteY5826" fmla="*/ 1329670 h 5278114"/>
              <a:gd name="connsiteX5827" fmla="*/ 1928287 w 5610835"/>
              <a:gd name="connsiteY5827" fmla="*/ 1329670 h 5278114"/>
              <a:gd name="connsiteX5828" fmla="*/ 1933060 w 5610835"/>
              <a:gd name="connsiteY5828" fmla="*/ 1324898 h 5278114"/>
              <a:gd name="connsiteX5829" fmla="*/ 1929877 w 5610835"/>
              <a:gd name="connsiteY5829" fmla="*/ 1316944 h 5278114"/>
              <a:gd name="connsiteX5830" fmla="*/ 1928287 w 5610835"/>
              <a:gd name="connsiteY5830" fmla="*/ 1316944 h 5278114"/>
              <a:gd name="connsiteX5831" fmla="*/ 1928287 w 5610835"/>
              <a:gd name="connsiteY5831" fmla="*/ 1323307 h 5278114"/>
              <a:gd name="connsiteX5832" fmla="*/ 1921923 w 5610835"/>
              <a:gd name="connsiteY5832" fmla="*/ 1318536 h 5278114"/>
              <a:gd name="connsiteX5833" fmla="*/ 1912380 w 5610835"/>
              <a:gd name="connsiteY5833" fmla="*/ 1323307 h 5278114"/>
              <a:gd name="connsiteX5834" fmla="*/ 1912380 w 5610835"/>
              <a:gd name="connsiteY5834" fmla="*/ 1316944 h 5278114"/>
              <a:gd name="connsiteX5835" fmla="*/ 1917152 w 5610835"/>
              <a:gd name="connsiteY5835" fmla="*/ 1316944 h 5278114"/>
              <a:gd name="connsiteX5836" fmla="*/ 1917152 w 5610835"/>
              <a:gd name="connsiteY5836" fmla="*/ 1315354 h 5278114"/>
              <a:gd name="connsiteX5837" fmla="*/ 1920333 w 5610835"/>
              <a:gd name="connsiteY5837" fmla="*/ 1316944 h 5278114"/>
              <a:gd name="connsiteX5838" fmla="*/ 1923514 w 5610835"/>
              <a:gd name="connsiteY5838" fmla="*/ 1316944 h 5278114"/>
              <a:gd name="connsiteX5839" fmla="*/ 1918742 w 5610835"/>
              <a:gd name="connsiteY5839" fmla="*/ 1312172 h 5278114"/>
              <a:gd name="connsiteX5840" fmla="*/ 1918742 w 5610835"/>
              <a:gd name="connsiteY5840" fmla="*/ 1310581 h 5278114"/>
              <a:gd name="connsiteX5841" fmla="*/ 1923514 w 5610835"/>
              <a:gd name="connsiteY5841" fmla="*/ 1307400 h 5278114"/>
              <a:gd name="connsiteX5842" fmla="*/ 1925105 w 5610835"/>
              <a:gd name="connsiteY5842" fmla="*/ 1307400 h 5278114"/>
              <a:gd name="connsiteX5843" fmla="*/ 1923514 w 5610835"/>
              <a:gd name="connsiteY5843" fmla="*/ 1305809 h 5278114"/>
              <a:gd name="connsiteX5844" fmla="*/ 1923514 w 5610835"/>
              <a:gd name="connsiteY5844" fmla="*/ 1307400 h 5278114"/>
              <a:gd name="connsiteX5845" fmla="*/ 1920333 w 5610835"/>
              <a:gd name="connsiteY5845" fmla="*/ 1305809 h 5278114"/>
              <a:gd name="connsiteX5846" fmla="*/ 1915561 w 5610835"/>
              <a:gd name="connsiteY5846" fmla="*/ 1308990 h 5278114"/>
              <a:gd name="connsiteX5847" fmla="*/ 1910789 w 5610835"/>
              <a:gd name="connsiteY5847" fmla="*/ 1307400 h 5278114"/>
              <a:gd name="connsiteX5848" fmla="*/ 1912380 w 5610835"/>
              <a:gd name="connsiteY5848" fmla="*/ 1312172 h 5278114"/>
              <a:gd name="connsiteX5849" fmla="*/ 1915561 w 5610835"/>
              <a:gd name="connsiteY5849" fmla="*/ 1315354 h 5278114"/>
              <a:gd name="connsiteX5850" fmla="*/ 1906017 w 5610835"/>
              <a:gd name="connsiteY5850" fmla="*/ 1313763 h 5278114"/>
              <a:gd name="connsiteX5851" fmla="*/ 1913971 w 5610835"/>
              <a:gd name="connsiteY5851" fmla="*/ 1296265 h 5278114"/>
              <a:gd name="connsiteX5852" fmla="*/ 1918742 w 5610835"/>
              <a:gd name="connsiteY5852" fmla="*/ 1299447 h 5278114"/>
              <a:gd name="connsiteX5853" fmla="*/ 4099639 w 5610835"/>
              <a:gd name="connsiteY5853" fmla="*/ 1291540 h 5278114"/>
              <a:gd name="connsiteX5854" fmla="*/ 3991470 w 5610835"/>
              <a:gd name="connsiteY5854" fmla="*/ 1396527 h 5278114"/>
              <a:gd name="connsiteX5855" fmla="*/ 3999423 w 5610835"/>
              <a:gd name="connsiteY5855" fmla="*/ 1409254 h 5278114"/>
              <a:gd name="connsiteX5856" fmla="*/ 4012149 w 5610835"/>
              <a:gd name="connsiteY5856" fmla="*/ 1386983 h 5278114"/>
              <a:gd name="connsiteX5857" fmla="*/ 4012149 w 5610835"/>
              <a:gd name="connsiteY5857" fmla="*/ 1391754 h 5278114"/>
              <a:gd name="connsiteX5858" fmla="*/ 4005786 w 5610835"/>
              <a:gd name="connsiteY5858" fmla="*/ 1407665 h 5278114"/>
              <a:gd name="connsiteX5859" fmla="*/ 4104412 w 5610835"/>
              <a:gd name="connsiteY5859" fmla="*/ 1299492 h 5278114"/>
              <a:gd name="connsiteX5860" fmla="*/ 4099639 w 5610835"/>
              <a:gd name="connsiteY5860" fmla="*/ 1291540 h 5278114"/>
              <a:gd name="connsiteX5861" fmla="*/ 1769214 w 5610835"/>
              <a:gd name="connsiteY5861" fmla="*/ 1288321 h 5278114"/>
              <a:gd name="connsiteX5862" fmla="*/ 1773987 w 5610835"/>
              <a:gd name="connsiteY5862" fmla="*/ 1291503 h 5278114"/>
              <a:gd name="connsiteX5863" fmla="*/ 1766033 w 5610835"/>
              <a:gd name="connsiteY5863" fmla="*/ 1297866 h 5278114"/>
              <a:gd name="connsiteX5864" fmla="*/ 1759670 w 5610835"/>
              <a:gd name="connsiteY5864" fmla="*/ 1291503 h 5278114"/>
              <a:gd name="connsiteX5865" fmla="*/ 1769214 w 5610835"/>
              <a:gd name="connsiteY5865" fmla="*/ 1288321 h 5278114"/>
              <a:gd name="connsiteX5866" fmla="*/ 4067824 w 5610835"/>
              <a:gd name="connsiteY5866" fmla="*/ 1286765 h 5278114"/>
              <a:gd name="connsiteX5867" fmla="*/ 3999423 w 5610835"/>
              <a:gd name="connsiteY5867" fmla="*/ 1347215 h 5278114"/>
              <a:gd name="connsiteX5868" fmla="*/ 4015331 w 5610835"/>
              <a:gd name="connsiteY5868" fmla="*/ 1344032 h 5278114"/>
              <a:gd name="connsiteX5869" fmla="*/ 4067824 w 5610835"/>
              <a:gd name="connsiteY5869" fmla="*/ 1286765 h 5278114"/>
              <a:gd name="connsiteX5870" fmla="*/ 1883747 w 5610835"/>
              <a:gd name="connsiteY5870" fmla="*/ 1286726 h 5278114"/>
              <a:gd name="connsiteX5871" fmla="*/ 1890110 w 5610835"/>
              <a:gd name="connsiteY5871" fmla="*/ 1291498 h 5278114"/>
              <a:gd name="connsiteX5872" fmla="*/ 1883747 w 5610835"/>
              <a:gd name="connsiteY5872" fmla="*/ 1291498 h 5278114"/>
              <a:gd name="connsiteX5873" fmla="*/ 2922495 w 5610835"/>
              <a:gd name="connsiteY5873" fmla="*/ 1283585 h 5278114"/>
              <a:gd name="connsiteX5874" fmla="*/ 2644118 w 5610835"/>
              <a:gd name="connsiteY5874" fmla="*/ 1716245 h 5278114"/>
              <a:gd name="connsiteX5875" fmla="*/ 2640936 w 5610835"/>
              <a:gd name="connsiteY5875" fmla="*/ 1740122 h 5278114"/>
              <a:gd name="connsiteX5876" fmla="*/ 2690249 w 5610835"/>
              <a:gd name="connsiteY5876" fmla="*/ 1701922 h 5278114"/>
              <a:gd name="connsiteX5877" fmla="*/ 2928859 w 5610835"/>
              <a:gd name="connsiteY5877" fmla="*/ 1371079 h 5278114"/>
              <a:gd name="connsiteX5878" fmla="*/ 2922495 w 5610835"/>
              <a:gd name="connsiteY5878" fmla="*/ 1366303 h 5278114"/>
              <a:gd name="connsiteX5879" fmla="*/ 2930449 w 5610835"/>
              <a:gd name="connsiteY5879" fmla="*/ 1355170 h 5278114"/>
              <a:gd name="connsiteX5880" fmla="*/ 2932040 w 5610835"/>
              <a:gd name="connsiteY5880" fmla="*/ 1355170 h 5278114"/>
              <a:gd name="connsiteX5881" fmla="*/ 2935222 w 5610835"/>
              <a:gd name="connsiteY5881" fmla="*/ 1336078 h 5278114"/>
              <a:gd name="connsiteX5882" fmla="*/ 2922495 w 5610835"/>
              <a:gd name="connsiteY5882" fmla="*/ 1283585 h 5278114"/>
              <a:gd name="connsiteX5883" fmla="*/ 1891701 w 5610835"/>
              <a:gd name="connsiteY5883" fmla="*/ 1283544 h 5278114"/>
              <a:gd name="connsiteX5884" fmla="*/ 1901245 w 5610835"/>
              <a:gd name="connsiteY5884" fmla="*/ 1286725 h 5278114"/>
              <a:gd name="connsiteX5885" fmla="*/ 1894882 w 5610835"/>
              <a:gd name="connsiteY5885" fmla="*/ 1297861 h 5278114"/>
              <a:gd name="connsiteX5886" fmla="*/ 1894882 w 5610835"/>
              <a:gd name="connsiteY5886" fmla="*/ 1293089 h 5278114"/>
              <a:gd name="connsiteX5887" fmla="*/ 1982371 w 5610835"/>
              <a:gd name="connsiteY5887" fmla="*/ 1283539 h 5278114"/>
              <a:gd name="connsiteX5888" fmla="*/ 1977599 w 5610835"/>
              <a:gd name="connsiteY5888" fmla="*/ 1285130 h 5278114"/>
              <a:gd name="connsiteX5889" fmla="*/ 1982371 w 5610835"/>
              <a:gd name="connsiteY5889" fmla="*/ 1289902 h 5278114"/>
              <a:gd name="connsiteX5890" fmla="*/ 1985553 w 5610835"/>
              <a:gd name="connsiteY5890" fmla="*/ 1286720 h 5278114"/>
              <a:gd name="connsiteX5891" fmla="*/ 1675361 w 5610835"/>
              <a:gd name="connsiteY5891" fmla="*/ 1281946 h 5278114"/>
              <a:gd name="connsiteX5892" fmla="*/ 1683314 w 5610835"/>
              <a:gd name="connsiteY5892" fmla="*/ 1281946 h 5278114"/>
              <a:gd name="connsiteX5893" fmla="*/ 1680133 w 5610835"/>
              <a:gd name="connsiteY5893" fmla="*/ 1286719 h 5278114"/>
              <a:gd name="connsiteX5894" fmla="*/ 1729446 w 5610835"/>
              <a:gd name="connsiteY5894" fmla="*/ 1277178 h 5278114"/>
              <a:gd name="connsiteX5895" fmla="*/ 1737399 w 5610835"/>
              <a:gd name="connsiteY5895" fmla="*/ 1277178 h 5278114"/>
              <a:gd name="connsiteX5896" fmla="*/ 1737399 w 5610835"/>
              <a:gd name="connsiteY5896" fmla="*/ 1281951 h 5278114"/>
              <a:gd name="connsiteX5897" fmla="*/ 1732627 w 5610835"/>
              <a:gd name="connsiteY5897" fmla="*/ 1281951 h 5278114"/>
              <a:gd name="connsiteX5898" fmla="*/ 1729446 w 5610835"/>
              <a:gd name="connsiteY5898" fmla="*/ 1277178 h 5278114"/>
              <a:gd name="connsiteX5899" fmla="*/ 4287347 w 5610835"/>
              <a:gd name="connsiteY5899" fmla="*/ 1275633 h 5278114"/>
              <a:gd name="connsiteX5900" fmla="*/ 4244396 w 5610835"/>
              <a:gd name="connsiteY5900" fmla="*/ 1305853 h 5278114"/>
              <a:gd name="connsiteX5901" fmla="*/ 4250759 w 5610835"/>
              <a:gd name="connsiteY5901" fmla="*/ 1318581 h 5278114"/>
              <a:gd name="connsiteX5902" fmla="*/ 4253941 w 5610835"/>
              <a:gd name="connsiteY5902" fmla="*/ 1309036 h 5278114"/>
              <a:gd name="connsiteX5903" fmla="*/ 4271439 w 5610835"/>
              <a:gd name="connsiteY5903" fmla="*/ 1307445 h 5278114"/>
              <a:gd name="connsiteX5904" fmla="*/ 4287347 w 5610835"/>
              <a:gd name="connsiteY5904" fmla="*/ 1275633 h 5278114"/>
              <a:gd name="connsiteX5905" fmla="*/ 4125091 w 5610835"/>
              <a:gd name="connsiteY5905" fmla="*/ 1274041 h 5278114"/>
              <a:gd name="connsiteX5906" fmla="*/ 4104412 w 5610835"/>
              <a:gd name="connsiteY5906" fmla="*/ 1289948 h 5278114"/>
              <a:gd name="connsiteX5907" fmla="*/ 4109184 w 5610835"/>
              <a:gd name="connsiteY5907" fmla="*/ 1296312 h 5278114"/>
              <a:gd name="connsiteX5908" fmla="*/ 4125091 w 5610835"/>
              <a:gd name="connsiteY5908" fmla="*/ 1274041 h 5278114"/>
              <a:gd name="connsiteX5909" fmla="*/ 1888518 w 5610835"/>
              <a:gd name="connsiteY5909" fmla="*/ 1266046 h 5278114"/>
              <a:gd name="connsiteX5910" fmla="*/ 1891701 w 5610835"/>
              <a:gd name="connsiteY5910" fmla="*/ 1270818 h 5278114"/>
              <a:gd name="connsiteX5911" fmla="*/ 1888518 w 5610835"/>
              <a:gd name="connsiteY5911" fmla="*/ 1272408 h 5278114"/>
              <a:gd name="connsiteX5912" fmla="*/ 1883747 w 5610835"/>
              <a:gd name="connsiteY5912" fmla="*/ 1269227 h 5278114"/>
              <a:gd name="connsiteX5913" fmla="*/ 4051918 w 5610835"/>
              <a:gd name="connsiteY5913" fmla="*/ 1264497 h 5278114"/>
              <a:gd name="connsiteX5914" fmla="*/ 4028057 w 5610835"/>
              <a:gd name="connsiteY5914" fmla="*/ 1267679 h 5278114"/>
              <a:gd name="connsiteX5915" fmla="*/ 4015331 w 5610835"/>
              <a:gd name="connsiteY5915" fmla="*/ 1278812 h 5278114"/>
              <a:gd name="connsiteX5916" fmla="*/ 4002604 w 5610835"/>
              <a:gd name="connsiteY5916" fmla="*/ 1278812 h 5278114"/>
              <a:gd name="connsiteX5917" fmla="*/ 3999423 w 5610835"/>
              <a:gd name="connsiteY5917" fmla="*/ 1281994 h 5278114"/>
              <a:gd name="connsiteX5918" fmla="*/ 3997833 w 5610835"/>
              <a:gd name="connsiteY5918" fmla="*/ 1309036 h 5278114"/>
              <a:gd name="connsiteX5919" fmla="*/ 3967609 w 5610835"/>
              <a:gd name="connsiteY5919" fmla="*/ 1344032 h 5278114"/>
              <a:gd name="connsiteX5920" fmla="*/ 3973971 w 5610835"/>
              <a:gd name="connsiteY5920" fmla="*/ 1345624 h 5278114"/>
              <a:gd name="connsiteX5921" fmla="*/ 4051918 w 5610835"/>
              <a:gd name="connsiteY5921" fmla="*/ 1264497 h 5278114"/>
              <a:gd name="connsiteX5922" fmla="*/ 1899655 w 5610835"/>
              <a:gd name="connsiteY5922" fmla="*/ 1258091 h 5278114"/>
              <a:gd name="connsiteX5923" fmla="*/ 1902837 w 5610835"/>
              <a:gd name="connsiteY5923" fmla="*/ 1267637 h 5278114"/>
              <a:gd name="connsiteX5924" fmla="*/ 1890109 w 5610835"/>
              <a:gd name="connsiteY5924" fmla="*/ 1267637 h 5278114"/>
              <a:gd name="connsiteX5925" fmla="*/ 1886928 w 5610835"/>
              <a:gd name="connsiteY5925" fmla="*/ 1262864 h 5278114"/>
              <a:gd name="connsiteX5926" fmla="*/ 4400288 w 5610835"/>
              <a:gd name="connsiteY5926" fmla="*/ 1248589 h 5278114"/>
              <a:gd name="connsiteX5927" fmla="*/ 4390744 w 5610835"/>
              <a:gd name="connsiteY5927" fmla="*/ 1250180 h 5278114"/>
              <a:gd name="connsiteX5928" fmla="*/ 4387562 w 5610835"/>
              <a:gd name="connsiteY5928" fmla="*/ 1256543 h 5278114"/>
              <a:gd name="connsiteX5929" fmla="*/ 4387562 w 5610835"/>
              <a:gd name="connsiteY5929" fmla="*/ 1274041 h 5278114"/>
              <a:gd name="connsiteX5930" fmla="*/ 4400288 w 5610835"/>
              <a:gd name="connsiteY5930" fmla="*/ 1248589 h 5278114"/>
              <a:gd name="connsiteX5931" fmla="*/ 2004642 w 5610835"/>
              <a:gd name="connsiteY5931" fmla="*/ 1245361 h 5278114"/>
              <a:gd name="connsiteX5932" fmla="*/ 2004642 w 5610835"/>
              <a:gd name="connsiteY5932" fmla="*/ 1250134 h 5278114"/>
              <a:gd name="connsiteX5933" fmla="*/ 2007823 w 5610835"/>
              <a:gd name="connsiteY5933" fmla="*/ 1248543 h 5278114"/>
              <a:gd name="connsiteX5934" fmla="*/ 316874 w 5610835"/>
              <a:gd name="connsiteY5934" fmla="*/ 1238996 h 5278114"/>
              <a:gd name="connsiteX5935" fmla="*/ 308921 w 5610835"/>
              <a:gd name="connsiteY5935" fmla="*/ 1240586 h 5278114"/>
              <a:gd name="connsiteX5936" fmla="*/ 498218 w 5610835"/>
              <a:gd name="connsiteY5936" fmla="*/ 1318533 h 5278114"/>
              <a:gd name="connsiteX5937" fmla="*/ 502990 w 5610835"/>
              <a:gd name="connsiteY5937" fmla="*/ 1380572 h 5278114"/>
              <a:gd name="connsiteX5938" fmla="*/ 504581 w 5610835"/>
              <a:gd name="connsiteY5938" fmla="*/ 1305807 h 5278114"/>
              <a:gd name="connsiteX5939" fmla="*/ 316874 w 5610835"/>
              <a:gd name="connsiteY5939" fmla="*/ 1238996 h 5278114"/>
              <a:gd name="connsiteX5940" fmla="*/ 2015777 w 5610835"/>
              <a:gd name="connsiteY5940" fmla="*/ 1237408 h 5278114"/>
              <a:gd name="connsiteX5941" fmla="*/ 2011005 w 5610835"/>
              <a:gd name="connsiteY5941" fmla="*/ 1242180 h 5278114"/>
              <a:gd name="connsiteX5942" fmla="*/ 2009414 w 5610835"/>
              <a:gd name="connsiteY5942" fmla="*/ 1245361 h 5278114"/>
              <a:gd name="connsiteX5943" fmla="*/ 2014186 w 5610835"/>
              <a:gd name="connsiteY5943" fmla="*/ 1242180 h 5278114"/>
              <a:gd name="connsiteX5944" fmla="*/ 2017368 w 5610835"/>
              <a:gd name="connsiteY5944" fmla="*/ 1239000 h 5278114"/>
              <a:gd name="connsiteX5945" fmla="*/ 1630821 w 5610835"/>
              <a:gd name="connsiteY5945" fmla="*/ 1232633 h 5278114"/>
              <a:gd name="connsiteX5946" fmla="*/ 1637184 w 5610835"/>
              <a:gd name="connsiteY5946" fmla="*/ 1237405 h 5278114"/>
              <a:gd name="connsiteX5947" fmla="*/ 1630821 w 5610835"/>
              <a:gd name="connsiteY5947" fmla="*/ 1240587 h 5278114"/>
              <a:gd name="connsiteX5948" fmla="*/ 4071006 w 5610835"/>
              <a:gd name="connsiteY5948" fmla="*/ 1231093 h 5278114"/>
              <a:gd name="connsiteX5949" fmla="*/ 4072597 w 5610835"/>
              <a:gd name="connsiteY5949" fmla="*/ 1239045 h 5278114"/>
              <a:gd name="connsiteX5950" fmla="*/ 4077369 w 5610835"/>
              <a:gd name="connsiteY5950" fmla="*/ 1231093 h 5278114"/>
              <a:gd name="connsiteX5951" fmla="*/ 4071006 w 5610835"/>
              <a:gd name="connsiteY5951" fmla="*/ 1231093 h 5278114"/>
              <a:gd name="connsiteX5952" fmla="*/ 2007823 w 5610835"/>
              <a:gd name="connsiteY5952" fmla="*/ 1229454 h 5278114"/>
              <a:gd name="connsiteX5953" fmla="*/ 2009414 w 5610835"/>
              <a:gd name="connsiteY5953" fmla="*/ 1232636 h 5278114"/>
              <a:gd name="connsiteX5954" fmla="*/ 2006233 w 5610835"/>
              <a:gd name="connsiteY5954" fmla="*/ 1234227 h 5278114"/>
              <a:gd name="connsiteX5955" fmla="*/ 2004642 w 5610835"/>
              <a:gd name="connsiteY5955" fmla="*/ 1232636 h 5278114"/>
              <a:gd name="connsiteX5956" fmla="*/ 2001461 w 5610835"/>
              <a:gd name="connsiteY5956" fmla="*/ 1237408 h 5278114"/>
              <a:gd name="connsiteX5957" fmla="*/ 2003052 w 5610835"/>
              <a:gd name="connsiteY5957" fmla="*/ 1237408 h 5278114"/>
              <a:gd name="connsiteX5958" fmla="*/ 2004642 w 5610835"/>
              <a:gd name="connsiteY5958" fmla="*/ 1237408 h 5278114"/>
              <a:gd name="connsiteX5959" fmla="*/ 2006233 w 5610835"/>
              <a:gd name="connsiteY5959" fmla="*/ 1234227 h 5278114"/>
              <a:gd name="connsiteX5960" fmla="*/ 2011005 w 5610835"/>
              <a:gd name="connsiteY5960" fmla="*/ 1229454 h 5278114"/>
              <a:gd name="connsiteX5961" fmla="*/ 2020549 w 5610835"/>
              <a:gd name="connsiteY5961" fmla="*/ 1224683 h 5278114"/>
              <a:gd name="connsiteX5962" fmla="*/ 2020549 w 5610835"/>
              <a:gd name="connsiteY5962" fmla="*/ 1226273 h 5278114"/>
              <a:gd name="connsiteX5963" fmla="*/ 2018959 w 5610835"/>
              <a:gd name="connsiteY5963" fmla="*/ 1226273 h 5278114"/>
              <a:gd name="connsiteX5964" fmla="*/ 2020549 w 5610835"/>
              <a:gd name="connsiteY5964" fmla="*/ 1224683 h 5278114"/>
              <a:gd name="connsiteX5965" fmla="*/ 1931468 w 5610835"/>
              <a:gd name="connsiteY5965" fmla="*/ 1221501 h 5278114"/>
              <a:gd name="connsiteX5966" fmla="*/ 1918742 w 5610835"/>
              <a:gd name="connsiteY5966" fmla="*/ 1227864 h 5278114"/>
              <a:gd name="connsiteX5967" fmla="*/ 1928287 w 5610835"/>
              <a:gd name="connsiteY5967" fmla="*/ 1234227 h 5278114"/>
              <a:gd name="connsiteX5968" fmla="*/ 1931468 w 5610835"/>
              <a:gd name="connsiteY5968" fmla="*/ 1227864 h 5278114"/>
              <a:gd name="connsiteX5969" fmla="*/ 2015777 w 5610835"/>
              <a:gd name="connsiteY5969" fmla="*/ 1219910 h 5278114"/>
              <a:gd name="connsiteX5970" fmla="*/ 2017368 w 5610835"/>
              <a:gd name="connsiteY5970" fmla="*/ 1221501 h 5278114"/>
              <a:gd name="connsiteX5971" fmla="*/ 2015777 w 5610835"/>
              <a:gd name="connsiteY5971" fmla="*/ 1223092 h 5278114"/>
              <a:gd name="connsiteX5972" fmla="*/ 2017368 w 5610835"/>
              <a:gd name="connsiteY5972" fmla="*/ 1223092 h 5278114"/>
              <a:gd name="connsiteX5973" fmla="*/ 2015777 w 5610835"/>
              <a:gd name="connsiteY5973" fmla="*/ 1224683 h 5278114"/>
              <a:gd name="connsiteX5974" fmla="*/ 2017368 w 5610835"/>
              <a:gd name="connsiteY5974" fmla="*/ 1224683 h 5278114"/>
              <a:gd name="connsiteX5975" fmla="*/ 2015777 w 5610835"/>
              <a:gd name="connsiteY5975" fmla="*/ 1227864 h 5278114"/>
              <a:gd name="connsiteX5976" fmla="*/ 2020549 w 5610835"/>
              <a:gd name="connsiteY5976" fmla="*/ 1227864 h 5278114"/>
              <a:gd name="connsiteX5977" fmla="*/ 2020549 w 5610835"/>
              <a:gd name="connsiteY5977" fmla="*/ 1226273 h 5278114"/>
              <a:gd name="connsiteX5978" fmla="*/ 2025323 w 5610835"/>
              <a:gd name="connsiteY5978" fmla="*/ 1223092 h 5278114"/>
              <a:gd name="connsiteX5979" fmla="*/ 2018959 w 5610835"/>
              <a:gd name="connsiteY5979" fmla="*/ 1221501 h 5278114"/>
              <a:gd name="connsiteX5980" fmla="*/ 2017368 w 5610835"/>
              <a:gd name="connsiteY5980" fmla="*/ 1219910 h 5278114"/>
              <a:gd name="connsiteX5981" fmla="*/ 2049183 w 5610835"/>
              <a:gd name="connsiteY5981" fmla="*/ 1197640 h 5278114"/>
              <a:gd name="connsiteX5982" fmla="*/ 2047592 w 5610835"/>
              <a:gd name="connsiteY5982" fmla="*/ 1199231 h 5278114"/>
              <a:gd name="connsiteX5983" fmla="*/ 2050773 w 5610835"/>
              <a:gd name="connsiteY5983" fmla="*/ 1199231 h 5278114"/>
              <a:gd name="connsiteX5984" fmla="*/ 2050773 w 5610835"/>
              <a:gd name="connsiteY5984" fmla="*/ 1191277 h 5278114"/>
              <a:gd name="connsiteX5985" fmla="*/ 2052364 w 5610835"/>
              <a:gd name="connsiteY5985" fmla="*/ 1192868 h 5278114"/>
              <a:gd name="connsiteX5986" fmla="*/ 2053955 w 5610835"/>
              <a:gd name="connsiteY5986" fmla="*/ 1191277 h 5278114"/>
              <a:gd name="connsiteX5987" fmla="*/ 2033275 w 5610835"/>
              <a:gd name="connsiteY5987" fmla="*/ 1191277 h 5278114"/>
              <a:gd name="connsiteX5988" fmla="*/ 2034866 w 5610835"/>
              <a:gd name="connsiteY5988" fmla="*/ 1192868 h 5278114"/>
              <a:gd name="connsiteX5989" fmla="*/ 2036456 w 5610835"/>
              <a:gd name="connsiteY5989" fmla="*/ 1194459 h 5278114"/>
              <a:gd name="connsiteX5990" fmla="*/ 2036456 w 5610835"/>
              <a:gd name="connsiteY5990" fmla="*/ 1191277 h 5278114"/>
              <a:gd name="connsiteX5991" fmla="*/ 2055546 w 5610835"/>
              <a:gd name="connsiteY5991" fmla="*/ 1184914 h 5278114"/>
              <a:gd name="connsiteX5992" fmla="*/ 2057136 w 5610835"/>
              <a:gd name="connsiteY5992" fmla="*/ 1188096 h 5278114"/>
              <a:gd name="connsiteX5993" fmla="*/ 2055546 w 5610835"/>
              <a:gd name="connsiteY5993" fmla="*/ 1184914 h 5278114"/>
              <a:gd name="connsiteX5994" fmla="*/ 2623438 w 5610835"/>
              <a:gd name="connsiteY5994" fmla="*/ 1183371 h 5278114"/>
              <a:gd name="connsiteX5995" fmla="*/ 2564580 w 5610835"/>
              <a:gd name="connsiteY5995" fmla="*/ 1242227 h 5278114"/>
              <a:gd name="connsiteX5996" fmla="*/ 2590032 w 5610835"/>
              <a:gd name="connsiteY5996" fmla="*/ 1285176 h 5278114"/>
              <a:gd name="connsiteX5997" fmla="*/ 2642527 w 5610835"/>
              <a:gd name="connsiteY5997" fmla="*/ 1197688 h 5278114"/>
              <a:gd name="connsiteX5998" fmla="*/ 2629801 w 5610835"/>
              <a:gd name="connsiteY5998" fmla="*/ 1188143 h 5278114"/>
              <a:gd name="connsiteX5999" fmla="*/ 2623438 w 5610835"/>
              <a:gd name="connsiteY5999" fmla="*/ 1183371 h 5278114"/>
              <a:gd name="connsiteX6000" fmla="*/ 2073018 w 5610835"/>
              <a:gd name="connsiteY6000" fmla="*/ 1181684 h 5278114"/>
              <a:gd name="connsiteX6001" fmla="*/ 2073043 w 5610835"/>
              <a:gd name="connsiteY6001" fmla="*/ 1181732 h 5278114"/>
              <a:gd name="connsiteX6002" fmla="*/ 2072984 w 5610835"/>
              <a:gd name="connsiteY6002" fmla="*/ 1181732 h 5278114"/>
              <a:gd name="connsiteX6003" fmla="*/ 2063499 w 5610835"/>
              <a:gd name="connsiteY6003" fmla="*/ 1180142 h 5278114"/>
              <a:gd name="connsiteX6004" fmla="*/ 2060318 w 5610835"/>
              <a:gd name="connsiteY6004" fmla="*/ 1181732 h 5278114"/>
              <a:gd name="connsiteX6005" fmla="*/ 2057136 w 5610835"/>
              <a:gd name="connsiteY6005" fmla="*/ 1181732 h 5278114"/>
              <a:gd name="connsiteX6006" fmla="*/ 2058727 w 5610835"/>
              <a:gd name="connsiteY6006" fmla="*/ 1183323 h 5278114"/>
              <a:gd name="connsiteX6007" fmla="*/ 2060318 w 5610835"/>
              <a:gd name="connsiteY6007" fmla="*/ 1181732 h 5278114"/>
              <a:gd name="connsiteX6008" fmla="*/ 2063499 w 5610835"/>
              <a:gd name="connsiteY6008" fmla="*/ 1180142 h 5278114"/>
              <a:gd name="connsiteX6009" fmla="*/ 2057136 w 5610835"/>
              <a:gd name="connsiteY6009" fmla="*/ 1180142 h 5278114"/>
              <a:gd name="connsiteX6010" fmla="*/ 2053955 w 5610835"/>
              <a:gd name="connsiteY6010" fmla="*/ 1183323 h 5278114"/>
              <a:gd name="connsiteX6011" fmla="*/ 2055546 w 5610835"/>
              <a:gd name="connsiteY6011" fmla="*/ 1181732 h 5278114"/>
              <a:gd name="connsiteX6012" fmla="*/ 2042819 w 5610835"/>
              <a:gd name="connsiteY6012" fmla="*/ 1180142 h 5278114"/>
              <a:gd name="connsiteX6013" fmla="*/ 2042819 w 5610835"/>
              <a:gd name="connsiteY6013" fmla="*/ 1181732 h 5278114"/>
              <a:gd name="connsiteX6014" fmla="*/ 2044410 w 5610835"/>
              <a:gd name="connsiteY6014" fmla="*/ 1180142 h 5278114"/>
              <a:gd name="connsiteX6015" fmla="*/ 1738990 w 5610835"/>
              <a:gd name="connsiteY6015" fmla="*/ 1176971 h 5278114"/>
              <a:gd name="connsiteX6016" fmla="*/ 1745353 w 5610835"/>
              <a:gd name="connsiteY6016" fmla="*/ 1181742 h 5278114"/>
              <a:gd name="connsiteX6017" fmla="*/ 1742173 w 5610835"/>
              <a:gd name="connsiteY6017" fmla="*/ 1191288 h 5278114"/>
              <a:gd name="connsiteX6018" fmla="*/ 1732627 w 5610835"/>
              <a:gd name="connsiteY6018" fmla="*/ 1196060 h 5278114"/>
              <a:gd name="connsiteX6019" fmla="*/ 1724673 w 5610835"/>
              <a:gd name="connsiteY6019" fmla="*/ 1191288 h 5278114"/>
              <a:gd name="connsiteX6020" fmla="*/ 1727855 w 5610835"/>
              <a:gd name="connsiteY6020" fmla="*/ 1180152 h 5278114"/>
              <a:gd name="connsiteX6021" fmla="*/ 1738990 w 5610835"/>
              <a:gd name="connsiteY6021" fmla="*/ 1176971 h 5278114"/>
              <a:gd name="connsiteX6022" fmla="*/ 2058727 w 5610835"/>
              <a:gd name="connsiteY6022" fmla="*/ 1173779 h 5278114"/>
              <a:gd name="connsiteX6023" fmla="*/ 2057136 w 5610835"/>
              <a:gd name="connsiteY6023" fmla="*/ 1175370 h 5278114"/>
              <a:gd name="connsiteX6024" fmla="*/ 2057136 w 5610835"/>
              <a:gd name="connsiteY6024" fmla="*/ 1176961 h 5278114"/>
              <a:gd name="connsiteX6025" fmla="*/ 2060318 w 5610835"/>
              <a:gd name="connsiteY6025" fmla="*/ 1176961 h 5278114"/>
              <a:gd name="connsiteX6026" fmla="*/ 2058727 w 5610835"/>
              <a:gd name="connsiteY6026" fmla="*/ 1173779 h 5278114"/>
              <a:gd name="connsiteX6027" fmla="*/ 2052364 w 5610835"/>
              <a:gd name="connsiteY6027" fmla="*/ 1173779 h 5278114"/>
              <a:gd name="connsiteX6028" fmla="*/ 2050773 w 5610835"/>
              <a:gd name="connsiteY6028" fmla="*/ 1175370 h 5278114"/>
              <a:gd name="connsiteX6029" fmla="*/ 2049183 w 5610835"/>
              <a:gd name="connsiteY6029" fmla="*/ 1176961 h 5278114"/>
              <a:gd name="connsiteX6030" fmla="*/ 2052364 w 5610835"/>
              <a:gd name="connsiteY6030" fmla="*/ 1176961 h 5278114"/>
              <a:gd name="connsiteX6031" fmla="*/ 2053955 w 5610835"/>
              <a:gd name="connsiteY6031" fmla="*/ 1176961 h 5278114"/>
              <a:gd name="connsiteX6032" fmla="*/ 2052364 w 5610835"/>
              <a:gd name="connsiteY6032" fmla="*/ 1173779 h 5278114"/>
              <a:gd name="connsiteX6033" fmla="*/ 2028503 w 5610835"/>
              <a:gd name="connsiteY6033" fmla="*/ 1173779 h 5278114"/>
              <a:gd name="connsiteX6034" fmla="*/ 2026912 w 5610835"/>
              <a:gd name="connsiteY6034" fmla="*/ 1175370 h 5278114"/>
              <a:gd name="connsiteX6035" fmla="*/ 2026912 w 5610835"/>
              <a:gd name="connsiteY6035" fmla="*/ 1176961 h 5278114"/>
              <a:gd name="connsiteX6036" fmla="*/ 2025323 w 5610835"/>
              <a:gd name="connsiteY6036" fmla="*/ 1178551 h 5278114"/>
              <a:gd name="connsiteX6037" fmla="*/ 2028503 w 5610835"/>
              <a:gd name="connsiteY6037" fmla="*/ 1178551 h 5278114"/>
              <a:gd name="connsiteX6038" fmla="*/ 1925105 w 5610835"/>
              <a:gd name="connsiteY6038" fmla="*/ 1173779 h 5278114"/>
              <a:gd name="connsiteX6039" fmla="*/ 1921923 w 5610835"/>
              <a:gd name="connsiteY6039" fmla="*/ 1175370 h 5278114"/>
              <a:gd name="connsiteX6040" fmla="*/ 1920333 w 5610835"/>
              <a:gd name="connsiteY6040" fmla="*/ 1176961 h 5278114"/>
              <a:gd name="connsiteX6041" fmla="*/ 1921923 w 5610835"/>
              <a:gd name="connsiteY6041" fmla="*/ 1180142 h 5278114"/>
              <a:gd name="connsiteX6042" fmla="*/ 1921923 w 5610835"/>
              <a:gd name="connsiteY6042" fmla="*/ 1176961 h 5278114"/>
              <a:gd name="connsiteX6043" fmla="*/ 1925105 w 5610835"/>
              <a:gd name="connsiteY6043" fmla="*/ 1175370 h 5278114"/>
              <a:gd name="connsiteX6044" fmla="*/ 1925105 w 5610835"/>
              <a:gd name="connsiteY6044" fmla="*/ 1173779 h 5278114"/>
              <a:gd name="connsiteX6045" fmla="*/ 2073043 w 5610835"/>
              <a:gd name="connsiteY6045" fmla="*/ 1167416 h 5278114"/>
              <a:gd name="connsiteX6046" fmla="*/ 2069862 w 5610835"/>
              <a:gd name="connsiteY6046" fmla="*/ 1169007 h 5278114"/>
              <a:gd name="connsiteX6047" fmla="*/ 2071453 w 5610835"/>
              <a:gd name="connsiteY6047" fmla="*/ 1170598 h 5278114"/>
              <a:gd name="connsiteX6048" fmla="*/ 2071453 w 5610835"/>
              <a:gd name="connsiteY6048" fmla="*/ 1173779 h 5278114"/>
              <a:gd name="connsiteX6049" fmla="*/ 2074634 w 5610835"/>
              <a:gd name="connsiteY6049" fmla="*/ 1170598 h 5278114"/>
              <a:gd name="connsiteX6050" fmla="*/ 2073043 w 5610835"/>
              <a:gd name="connsiteY6050" fmla="*/ 1167416 h 5278114"/>
              <a:gd name="connsiteX6051" fmla="*/ 2057136 w 5610835"/>
              <a:gd name="connsiteY6051" fmla="*/ 1167416 h 5278114"/>
              <a:gd name="connsiteX6052" fmla="*/ 2058727 w 5610835"/>
              <a:gd name="connsiteY6052" fmla="*/ 1169007 h 5278114"/>
              <a:gd name="connsiteX6053" fmla="*/ 2060318 w 5610835"/>
              <a:gd name="connsiteY6053" fmla="*/ 1167416 h 5278114"/>
              <a:gd name="connsiteX6054" fmla="*/ 1928287 w 5610835"/>
              <a:gd name="connsiteY6054" fmla="*/ 1167416 h 5278114"/>
              <a:gd name="connsiteX6055" fmla="*/ 1926697 w 5610835"/>
              <a:gd name="connsiteY6055" fmla="*/ 1169007 h 5278114"/>
              <a:gd name="connsiteX6056" fmla="*/ 1928287 w 5610835"/>
              <a:gd name="connsiteY6056" fmla="*/ 1170598 h 5278114"/>
              <a:gd name="connsiteX6057" fmla="*/ 2034867 w 5610835"/>
              <a:gd name="connsiteY6057" fmla="*/ 1165827 h 5278114"/>
              <a:gd name="connsiteX6058" fmla="*/ 2038048 w 5610835"/>
              <a:gd name="connsiteY6058" fmla="*/ 1165827 h 5278114"/>
              <a:gd name="connsiteX6059" fmla="*/ 2036458 w 5610835"/>
              <a:gd name="connsiteY6059" fmla="*/ 1167418 h 5278114"/>
              <a:gd name="connsiteX6060" fmla="*/ 1689678 w 5610835"/>
              <a:gd name="connsiteY6060" fmla="*/ 1165824 h 5278114"/>
              <a:gd name="connsiteX6061" fmla="*/ 1696041 w 5610835"/>
              <a:gd name="connsiteY6061" fmla="*/ 1165824 h 5278114"/>
              <a:gd name="connsiteX6062" fmla="*/ 1694450 w 5610835"/>
              <a:gd name="connsiteY6062" fmla="*/ 1170597 h 5278114"/>
              <a:gd name="connsiteX6063" fmla="*/ 1921923 w 5610835"/>
              <a:gd name="connsiteY6063" fmla="*/ 1164235 h 5278114"/>
              <a:gd name="connsiteX6064" fmla="*/ 1918742 w 5610835"/>
              <a:gd name="connsiteY6064" fmla="*/ 1165825 h 5278114"/>
              <a:gd name="connsiteX6065" fmla="*/ 1920333 w 5610835"/>
              <a:gd name="connsiteY6065" fmla="*/ 1167416 h 5278114"/>
              <a:gd name="connsiteX6066" fmla="*/ 1921923 w 5610835"/>
              <a:gd name="connsiteY6066" fmla="*/ 1169007 h 5278114"/>
              <a:gd name="connsiteX6067" fmla="*/ 1933060 w 5610835"/>
              <a:gd name="connsiteY6067" fmla="*/ 1162644 h 5278114"/>
              <a:gd name="connsiteX6068" fmla="*/ 1933060 w 5610835"/>
              <a:gd name="connsiteY6068" fmla="*/ 1164235 h 5278114"/>
              <a:gd name="connsiteX6069" fmla="*/ 1933060 w 5610835"/>
              <a:gd name="connsiteY6069" fmla="*/ 1165825 h 5278114"/>
              <a:gd name="connsiteX6070" fmla="*/ 1936241 w 5610835"/>
              <a:gd name="connsiteY6070" fmla="*/ 1165825 h 5278114"/>
              <a:gd name="connsiteX6071" fmla="*/ 1936241 w 5610835"/>
              <a:gd name="connsiteY6071" fmla="*/ 1164235 h 5278114"/>
              <a:gd name="connsiteX6072" fmla="*/ 1934650 w 5610835"/>
              <a:gd name="connsiteY6072" fmla="*/ 1162644 h 5278114"/>
              <a:gd name="connsiteX6073" fmla="*/ 2039640 w 5610835"/>
              <a:gd name="connsiteY6073" fmla="*/ 1161056 h 5278114"/>
              <a:gd name="connsiteX6074" fmla="*/ 2042821 w 5610835"/>
              <a:gd name="connsiteY6074" fmla="*/ 1161056 h 5278114"/>
              <a:gd name="connsiteX6075" fmla="*/ 2038049 w 5610835"/>
              <a:gd name="connsiteY6075" fmla="*/ 1165828 h 5278114"/>
              <a:gd name="connsiteX6076" fmla="*/ 2038049 w 5610835"/>
              <a:gd name="connsiteY6076" fmla="*/ 1162647 h 5278114"/>
              <a:gd name="connsiteX6077" fmla="*/ 1948966 w 5610835"/>
              <a:gd name="connsiteY6077" fmla="*/ 1161053 h 5278114"/>
              <a:gd name="connsiteX6078" fmla="*/ 1947375 w 5610835"/>
              <a:gd name="connsiteY6078" fmla="*/ 1162644 h 5278114"/>
              <a:gd name="connsiteX6079" fmla="*/ 1948966 w 5610835"/>
              <a:gd name="connsiteY6079" fmla="*/ 1164235 h 5278114"/>
              <a:gd name="connsiteX6080" fmla="*/ 1926697 w 5610835"/>
              <a:gd name="connsiteY6080" fmla="*/ 1161053 h 5278114"/>
              <a:gd name="connsiteX6081" fmla="*/ 1926697 w 5610835"/>
              <a:gd name="connsiteY6081" fmla="*/ 1162644 h 5278114"/>
              <a:gd name="connsiteX6082" fmla="*/ 1928287 w 5610835"/>
              <a:gd name="connsiteY6082" fmla="*/ 1161053 h 5278114"/>
              <a:gd name="connsiteX6083" fmla="*/ 2061511 w 5610835"/>
              <a:gd name="connsiteY6083" fmla="*/ 1160854 h 5278114"/>
              <a:gd name="connsiteX6084" fmla="*/ 2060318 w 5610835"/>
              <a:gd name="connsiteY6084" fmla="*/ 1161053 h 5278114"/>
              <a:gd name="connsiteX6085" fmla="*/ 2060318 w 5610835"/>
              <a:gd name="connsiteY6085" fmla="*/ 1164235 h 5278114"/>
              <a:gd name="connsiteX6086" fmla="*/ 2061511 w 5610835"/>
              <a:gd name="connsiteY6086" fmla="*/ 1160854 h 5278114"/>
              <a:gd name="connsiteX6087" fmla="*/ 2578897 w 5610835"/>
              <a:gd name="connsiteY6087" fmla="*/ 1159511 h 5278114"/>
              <a:gd name="connsiteX6088" fmla="*/ 2564580 w 5610835"/>
              <a:gd name="connsiteY6088" fmla="*/ 1181780 h 5278114"/>
              <a:gd name="connsiteX6089" fmla="*/ 2550264 w 5610835"/>
              <a:gd name="connsiteY6089" fmla="*/ 1200870 h 5278114"/>
              <a:gd name="connsiteX6090" fmla="*/ 2551856 w 5610835"/>
              <a:gd name="connsiteY6090" fmla="*/ 1207232 h 5278114"/>
              <a:gd name="connsiteX6091" fmla="*/ 2558218 w 5610835"/>
              <a:gd name="connsiteY6091" fmla="*/ 1232683 h 5278114"/>
              <a:gd name="connsiteX6092" fmla="*/ 2596395 w 5610835"/>
              <a:gd name="connsiteY6092" fmla="*/ 1167464 h 5278114"/>
              <a:gd name="connsiteX6093" fmla="*/ 2578897 w 5610835"/>
              <a:gd name="connsiteY6093" fmla="*/ 1159511 h 5278114"/>
              <a:gd name="connsiteX6094" fmla="*/ 2025323 w 5610835"/>
              <a:gd name="connsiteY6094" fmla="*/ 1156281 h 5278114"/>
              <a:gd name="connsiteX6095" fmla="*/ 2023733 w 5610835"/>
              <a:gd name="connsiteY6095" fmla="*/ 1159463 h 5278114"/>
              <a:gd name="connsiteX6096" fmla="*/ 2022142 w 5610835"/>
              <a:gd name="connsiteY6096" fmla="*/ 1161054 h 5278114"/>
              <a:gd name="connsiteX6097" fmla="*/ 2025323 w 5610835"/>
              <a:gd name="connsiteY6097" fmla="*/ 1156281 h 5278114"/>
              <a:gd name="connsiteX6098" fmla="*/ 1533785 w 5610835"/>
              <a:gd name="connsiteY6098" fmla="*/ 1154697 h 5278114"/>
              <a:gd name="connsiteX6099" fmla="*/ 1540148 w 5610835"/>
              <a:gd name="connsiteY6099" fmla="*/ 1157879 h 5278114"/>
              <a:gd name="connsiteX6100" fmla="*/ 1535376 w 5610835"/>
              <a:gd name="connsiteY6100" fmla="*/ 1162651 h 5278114"/>
              <a:gd name="connsiteX6101" fmla="*/ 1532194 w 5610835"/>
              <a:gd name="connsiteY6101" fmla="*/ 1159469 h 5278114"/>
              <a:gd name="connsiteX6102" fmla="*/ 1948966 w 5610835"/>
              <a:gd name="connsiteY6102" fmla="*/ 1154690 h 5278114"/>
              <a:gd name="connsiteX6103" fmla="*/ 1947375 w 5610835"/>
              <a:gd name="connsiteY6103" fmla="*/ 1156281 h 5278114"/>
              <a:gd name="connsiteX6104" fmla="*/ 1948966 w 5610835"/>
              <a:gd name="connsiteY6104" fmla="*/ 1157872 h 5278114"/>
              <a:gd name="connsiteX6105" fmla="*/ 2054750 w 5610835"/>
              <a:gd name="connsiteY6105" fmla="*/ 1153895 h 5278114"/>
              <a:gd name="connsiteX6106" fmla="*/ 2055546 w 5610835"/>
              <a:gd name="connsiteY6106" fmla="*/ 1154690 h 5278114"/>
              <a:gd name="connsiteX6107" fmla="*/ 2053955 w 5610835"/>
              <a:gd name="connsiteY6107" fmla="*/ 1154690 h 5278114"/>
              <a:gd name="connsiteX6108" fmla="*/ 2050775 w 5610835"/>
              <a:gd name="connsiteY6108" fmla="*/ 1151511 h 5278114"/>
              <a:gd name="connsiteX6109" fmla="*/ 2049184 w 5610835"/>
              <a:gd name="connsiteY6109" fmla="*/ 1156283 h 5278114"/>
              <a:gd name="connsiteX6110" fmla="*/ 2047593 w 5610835"/>
              <a:gd name="connsiteY6110" fmla="*/ 1154692 h 5278114"/>
              <a:gd name="connsiteX6111" fmla="*/ 2050775 w 5610835"/>
              <a:gd name="connsiteY6111" fmla="*/ 1151511 h 5278114"/>
              <a:gd name="connsiteX6112" fmla="*/ 2053955 w 5610835"/>
              <a:gd name="connsiteY6112" fmla="*/ 1151509 h 5278114"/>
              <a:gd name="connsiteX6113" fmla="*/ 2055546 w 5610835"/>
              <a:gd name="connsiteY6113" fmla="*/ 1153099 h 5278114"/>
              <a:gd name="connsiteX6114" fmla="*/ 2054750 w 5610835"/>
              <a:gd name="connsiteY6114" fmla="*/ 1153895 h 5278114"/>
              <a:gd name="connsiteX6115" fmla="*/ 2053955 w 5610835"/>
              <a:gd name="connsiteY6115" fmla="*/ 1153099 h 5278114"/>
              <a:gd name="connsiteX6116" fmla="*/ 2038047 w 5610835"/>
              <a:gd name="connsiteY6116" fmla="*/ 1151509 h 5278114"/>
              <a:gd name="connsiteX6117" fmla="*/ 2038047 w 5610835"/>
              <a:gd name="connsiteY6117" fmla="*/ 1153099 h 5278114"/>
              <a:gd name="connsiteX6118" fmla="*/ 2039638 w 5610835"/>
              <a:gd name="connsiteY6118" fmla="*/ 1153099 h 5278114"/>
              <a:gd name="connsiteX6119" fmla="*/ 2039638 w 5610835"/>
              <a:gd name="connsiteY6119" fmla="*/ 1151509 h 5278114"/>
              <a:gd name="connsiteX6120" fmla="*/ 1697631 w 5610835"/>
              <a:gd name="connsiteY6120" fmla="*/ 1149917 h 5278114"/>
              <a:gd name="connsiteX6121" fmla="*/ 1705585 w 5610835"/>
              <a:gd name="connsiteY6121" fmla="*/ 1151508 h 5278114"/>
              <a:gd name="connsiteX6122" fmla="*/ 1700813 w 5610835"/>
              <a:gd name="connsiteY6122" fmla="*/ 1154689 h 5278114"/>
              <a:gd name="connsiteX6123" fmla="*/ 2076225 w 5610835"/>
              <a:gd name="connsiteY6123" fmla="*/ 1148328 h 5278114"/>
              <a:gd name="connsiteX6124" fmla="*/ 2073043 w 5610835"/>
              <a:gd name="connsiteY6124" fmla="*/ 1151509 h 5278114"/>
              <a:gd name="connsiteX6125" fmla="*/ 2077816 w 5610835"/>
              <a:gd name="connsiteY6125" fmla="*/ 1154690 h 5278114"/>
              <a:gd name="connsiteX6126" fmla="*/ 2077816 w 5610835"/>
              <a:gd name="connsiteY6126" fmla="*/ 1153099 h 5278114"/>
              <a:gd name="connsiteX6127" fmla="*/ 2077816 w 5610835"/>
              <a:gd name="connsiteY6127" fmla="*/ 1151509 h 5278114"/>
              <a:gd name="connsiteX6128" fmla="*/ 2080997 w 5610835"/>
              <a:gd name="connsiteY6128" fmla="*/ 1151509 h 5278114"/>
              <a:gd name="connsiteX6129" fmla="*/ 2080997 w 5610835"/>
              <a:gd name="connsiteY6129" fmla="*/ 1148328 h 5278114"/>
              <a:gd name="connsiteX6130" fmla="*/ 1955329 w 5610835"/>
              <a:gd name="connsiteY6130" fmla="*/ 1146737 h 5278114"/>
              <a:gd name="connsiteX6131" fmla="*/ 1953738 w 5610835"/>
              <a:gd name="connsiteY6131" fmla="*/ 1148328 h 5278114"/>
              <a:gd name="connsiteX6132" fmla="*/ 1952147 w 5610835"/>
              <a:gd name="connsiteY6132" fmla="*/ 1149919 h 5278114"/>
              <a:gd name="connsiteX6133" fmla="*/ 1953738 w 5610835"/>
              <a:gd name="connsiteY6133" fmla="*/ 1149919 h 5278114"/>
              <a:gd name="connsiteX6134" fmla="*/ 1953738 w 5610835"/>
              <a:gd name="connsiteY6134" fmla="*/ 1148328 h 5278114"/>
              <a:gd name="connsiteX6135" fmla="*/ 1955329 w 5610835"/>
              <a:gd name="connsiteY6135" fmla="*/ 1148328 h 5278114"/>
              <a:gd name="connsiteX6136" fmla="*/ 2055546 w 5610835"/>
              <a:gd name="connsiteY6136" fmla="*/ 1145146 h 5278114"/>
              <a:gd name="connsiteX6137" fmla="*/ 2055546 w 5610835"/>
              <a:gd name="connsiteY6137" fmla="*/ 1146737 h 5278114"/>
              <a:gd name="connsiteX6138" fmla="*/ 2052364 w 5610835"/>
              <a:gd name="connsiteY6138" fmla="*/ 1146737 h 5278114"/>
              <a:gd name="connsiteX6139" fmla="*/ 2049183 w 5610835"/>
              <a:gd name="connsiteY6139" fmla="*/ 1149919 h 5278114"/>
              <a:gd name="connsiteX6140" fmla="*/ 2047592 w 5610835"/>
              <a:gd name="connsiteY6140" fmla="*/ 1149919 h 5278114"/>
              <a:gd name="connsiteX6141" fmla="*/ 2042819 w 5610835"/>
              <a:gd name="connsiteY6141" fmla="*/ 1153099 h 5278114"/>
              <a:gd name="connsiteX6142" fmla="*/ 2036456 w 5610835"/>
              <a:gd name="connsiteY6142" fmla="*/ 1162644 h 5278114"/>
              <a:gd name="connsiteX6143" fmla="*/ 2033275 w 5610835"/>
              <a:gd name="connsiteY6143" fmla="*/ 1165825 h 5278114"/>
              <a:gd name="connsiteX6144" fmla="*/ 2030095 w 5610835"/>
              <a:gd name="connsiteY6144" fmla="*/ 1167416 h 5278114"/>
              <a:gd name="connsiteX6145" fmla="*/ 2031685 w 5610835"/>
              <a:gd name="connsiteY6145" fmla="*/ 1167416 h 5278114"/>
              <a:gd name="connsiteX6146" fmla="*/ 2033275 w 5610835"/>
              <a:gd name="connsiteY6146" fmla="*/ 1169007 h 5278114"/>
              <a:gd name="connsiteX6147" fmla="*/ 2033275 w 5610835"/>
              <a:gd name="connsiteY6147" fmla="*/ 1172189 h 5278114"/>
              <a:gd name="connsiteX6148" fmla="*/ 2030491 w 5610835"/>
              <a:gd name="connsiteY6148" fmla="*/ 1173182 h 5278114"/>
              <a:gd name="connsiteX6149" fmla="*/ 2030383 w 5610835"/>
              <a:gd name="connsiteY6149" fmla="*/ 1173779 h 5278114"/>
              <a:gd name="connsiteX6150" fmla="*/ 2030095 w 5610835"/>
              <a:gd name="connsiteY6150" fmla="*/ 1175370 h 5278114"/>
              <a:gd name="connsiteX6151" fmla="*/ 2038047 w 5610835"/>
              <a:gd name="connsiteY6151" fmla="*/ 1175370 h 5278114"/>
              <a:gd name="connsiteX6152" fmla="*/ 2042819 w 5610835"/>
              <a:gd name="connsiteY6152" fmla="*/ 1173779 h 5278114"/>
              <a:gd name="connsiteX6153" fmla="*/ 2041229 w 5610835"/>
              <a:gd name="connsiteY6153" fmla="*/ 1172189 h 5278114"/>
              <a:gd name="connsiteX6154" fmla="*/ 2042819 w 5610835"/>
              <a:gd name="connsiteY6154" fmla="*/ 1172189 h 5278114"/>
              <a:gd name="connsiteX6155" fmla="*/ 2041231 w 5610835"/>
              <a:gd name="connsiteY6155" fmla="*/ 1170599 h 5278114"/>
              <a:gd name="connsiteX6156" fmla="*/ 2042821 w 5610835"/>
              <a:gd name="connsiteY6156" fmla="*/ 1169008 h 5278114"/>
              <a:gd name="connsiteX6157" fmla="*/ 2046003 w 5610835"/>
              <a:gd name="connsiteY6157" fmla="*/ 1170599 h 5278114"/>
              <a:gd name="connsiteX6158" fmla="*/ 2044413 w 5610835"/>
              <a:gd name="connsiteY6158" fmla="*/ 1172189 h 5278114"/>
              <a:gd name="connsiteX6159" fmla="*/ 2047592 w 5610835"/>
              <a:gd name="connsiteY6159" fmla="*/ 1172189 h 5278114"/>
              <a:gd name="connsiteX6160" fmla="*/ 2050773 w 5610835"/>
              <a:gd name="connsiteY6160" fmla="*/ 1170598 h 5278114"/>
              <a:gd name="connsiteX6161" fmla="*/ 2047592 w 5610835"/>
              <a:gd name="connsiteY6161" fmla="*/ 1167416 h 5278114"/>
              <a:gd name="connsiteX6162" fmla="*/ 2049183 w 5610835"/>
              <a:gd name="connsiteY6162" fmla="*/ 1167416 h 5278114"/>
              <a:gd name="connsiteX6163" fmla="*/ 2050773 w 5610835"/>
              <a:gd name="connsiteY6163" fmla="*/ 1169007 h 5278114"/>
              <a:gd name="connsiteX6164" fmla="*/ 2052364 w 5610835"/>
              <a:gd name="connsiteY6164" fmla="*/ 1169007 h 5278114"/>
              <a:gd name="connsiteX6165" fmla="*/ 2053955 w 5610835"/>
              <a:gd name="connsiteY6165" fmla="*/ 1167416 h 5278114"/>
              <a:gd name="connsiteX6166" fmla="*/ 2053955 w 5610835"/>
              <a:gd name="connsiteY6166" fmla="*/ 1165828 h 5278114"/>
              <a:gd name="connsiteX6167" fmla="*/ 2049184 w 5610835"/>
              <a:gd name="connsiteY6167" fmla="*/ 1164237 h 5278114"/>
              <a:gd name="connsiteX6168" fmla="*/ 2049184 w 5610835"/>
              <a:gd name="connsiteY6168" fmla="*/ 1162646 h 5278114"/>
              <a:gd name="connsiteX6169" fmla="*/ 2052365 w 5610835"/>
              <a:gd name="connsiteY6169" fmla="*/ 1162646 h 5278114"/>
              <a:gd name="connsiteX6170" fmla="*/ 2053756 w 5610835"/>
              <a:gd name="connsiteY6170" fmla="*/ 1163641 h 5278114"/>
              <a:gd name="connsiteX6171" fmla="*/ 2053955 w 5610835"/>
              <a:gd name="connsiteY6171" fmla="*/ 1165825 h 5278114"/>
              <a:gd name="connsiteX6172" fmla="*/ 2057136 w 5610835"/>
              <a:gd name="connsiteY6172" fmla="*/ 1164235 h 5278114"/>
              <a:gd name="connsiteX6173" fmla="*/ 2057136 w 5610835"/>
              <a:gd name="connsiteY6173" fmla="*/ 1162644 h 5278114"/>
              <a:gd name="connsiteX6174" fmla="*/ 2055546 w 5610835"/>
              <a:gd name="connsiteY6174" fmla="*/ 1161053 h 5278114"/>
              <a:gd name="connsiteX6175" fmla="*/ 2055546 w 5610835"/>
              <a:gd name="connsiteY6175" fmla="*/ 1159462 h 5278114"/>
              <a:gd name="connsiteX6176" fmla="*/ 2055546 w 5610835"/>
              <a:gd name="connsiteY6176" fmla="*/ 1157872 h 5278114"/>
              <a:gd name="connsiteX6177" fmla="*/ 2053955 w 5610835"/>
              <a:gd name="connsiteY6177" fmla="*/ 1156281 h 5278114"/>
              <a:gd name="connsiteX6178" fmla="*/ 2055546 w 5610835"/>
              <a:gd name="connsiteY6178" fmla="*/ 1154690 h 5278114"/>
              <a:gd name="connsiteX6179" fmla="*/ 2057136 w 5610835"/>
              <a:gd name="connsiteY6179" fmla="*/ 1154690 h 5278114"/>
              <a:gd name="connsiteX6180" fmla="*/ 2060318 w 5610835"/>
              <a:gd name="connsiteY6180" fmla="*/ 1154690 h 5278114"/>
              <a:gd name="connsiteX6181" fmla="*/ 2058727 w 5610835"/>
              <a:gd name="connsiteY6181" fmla="*/ 1153099 h 5278114"/>
              <a:gd name="connsiteX6182" fmla="*/ 2060318 w 5610835"/>
              <a:gd name="connsiteY6182" fmla="*/ 1149919 h 5278114"/>
              <a:gd name="connsiteX6183" fmla="*/ 2061909 w 5610835"/>
              <a:gd name="connsiteY6183" fmla="*/ 1148328 h 5278114"/>
              <a:gd name="connsiteX6184" fmla="*/ 2058727 w 5610835"/>
              <a:gd name="connsiteY6184" fmla="*/ 1146737 h 5278114"/>
              <a:gd name="connsiteX6185" fmla="*/ 2053955 w 5610835"/>
              <a:gd name="connsiteY6185" fmla="*/ 1151509 h 5278114"/>
              <a:gd name="connsiteX6186" fmla="*/ 2053955 w 5610835"/>
              <a:gd name="connsiteY6186" fmla="*/ 1149919 h 5278114"/>
              <a:gd name="connsiteX6187" fmla="*/ 2055546 w 5610835"/>
              <a:gd name="connsiteY6187" fmla="*/ 1148328 h 5278114"/>
              <a:gd name="connsiteX6188" fmla="*/ 2057136 w 5610835"/>
              <a:gd name="connsiteY6188" fmla="*/ 1145146 h 5278114"/>
              <a:gd name="connsiteX6189" fmla="*/ 4101230 w 5610835"/>
              <a:gd name="connsiteY6189" fmla="*/ 1142014 h 5278114"/>
              <a:gd name="connsiteX6190" fmla="*/ 4064643 w 5610835"/>
              <a:gd name="connsiteY6190" fmla="*/ 1200870 h 5278114"/>
              <a:gd name="connsiteX6191" fmla="*/ 4093276 w 5610835"/>
              <a:gd name="connsiteY6191" fmla="*/ 1205641 h 5278114"/>
              <a:gd name="connsiteX6192" fmla="*/ 4117138 w 5610835"/>
              <a:gd name="connsiteY6192" fmla="*/ 1162693 h 5278114"/>
              <a:gd name="connsiteX6193" fmla="*/ 2540719 w 5610835"/>
              <a:gd name="connsiteY6193" fmla="*/ 1140423 h 5278114"/>
              <a:gd name="connsiteX6194" fmla="*/ 2539129 w 5610835"/>
              <a:gd name="connsiteY6194" fmla="*/ 1142014 h 5278114"/>
              <a:gd name="connsiteX6195" fmla="*/ 2537538 w 5610835"/>
              <a:gd name="connsiteY6195" fmla="*/ 1146785 h 5278114"/>
              <a:gd name="connsiteX6196" fmla="*/ 2540719 w 5610835"/>
              <a:gd name="connsiteY6196" fmla="*/ 1140423 h 5278114"/>
              <a:gd name="connsiteX6197" fmla="*/ 2061909 w 5610835"/>
              <a:gd name="connsiteY6197" fmla="*/ 1140374 h 5278114"/>
              <a:gd name="connsiteX6198" fmla="*/ 2063499 w 5610835"/>
              <a:gd name="connsiteY6198" fmla="*/ 1141965 h 5278114"/>
              <a:gd name="connsiteX6199" fmla="*/ 2060318 w 5610835"/>
              <a:gd name="connsiteY6199" fmla="*/ 1141965 h 5278114"/>
              <a:gd name="connsiteX6200" fmla="*/ 2063499 w 5610835"/>
              <a:gd name="connsiteY6200" fmla="*/ 1143555 h 5278114"/>
              <a:gd name="connsiteX6201" fmla="*/ 2066681 w 5610835"/>
              <a:gd name="connsiteY6201" fmla="*/ 1143555 h 5278114"/>
              <a:gd name="connsiteX6202" fmla="*/ 2066681 w 5610835"/>
              <a:gd name="connsiteY6202" fmla="*/ 1140374 h 5278114"/>
              <a:gd name="connsiteX6203" fmla="*/ 1797847 w 5610835"/>
              <a:gd name="connsiteY6203" fmla="*/ 1140374 h 5278114"/>
              <a:gd name="connsiteX6204" fmla="*/ 1801028 w 5610835"/>
              <a:gd name="connsiteY6204" fmla="*/ 1141965 h 5278114"/>
              <a:gd name="connsiteX6205" fmla="*/ 1802619 w 5610835"/>
              <a:gd name="connsiteY6205" fmla="*/ 1146738 h 5278114"/>
              <a:gd name="connsiteX6206" fmla="*/ 1794666 w 5610835"/>
              <a:gd name="connsiteY6206" fmla="*/ 1146738 h 5278114"/>
              <a:gd name="connsiteX6207" fmla="*/ 2074634 w 5610835"/>
              <a:gd name="connsiteY6207" fmla="*/ 1137192 h 5278114"/>
              <a:gd name="connsiteX6208" fmla="*/ 2074634 w 5610835"/>
              <a:gd name="connsiteY6208" fmla="*/ 1140374 h 5278114"/>
              <a:gd name="connsiteX6209" fmla="*/ 2076225 w 5610835"/>
              <a:gd name="connsiteY6209" fmla="*/ 1141965 h 5278114"/>
              <a:gd name="connsiteX6210" fmla="*/ 2076225 w 5610835"/>
              <a:gd name="connsiteY6210" fmla="*/ 1143555 h 5278114"/>
              <a:gd name="connsiteX6211" fmla="*/ 2071453 w 5610835"/>
              <a:gd name="connsiteY6211" fmla="*/ 1146737 h 5278114"/>
              <a:gd name="connsiteX6212" fmla="*/ 2074634 w 5610835"/>
              <a:gd name="connsiteY6212" fmla="*/ 1148328 h 5278114"/>
              <a:gd name="connsiteX6213" fmla="*/ 2076225 w 5610835"/>
              <a:gd name="connsiteY6213" fmla="*/ 1145146 h 5278114"/>
              <a:gd name="connsiteX6214" fmla="*/ 2085770 w 5610835"/>
              <a:gd name="connsiteY6214" fmla="*/ 1145146 h 5278114"/>
              <a:gd name="connsiteX6215" fmla="*/ 2084179 w 5610835"/>
              <a:gd name="connsiteY6215" fmla="*/ 1140374 h 5278114"/>
              <a:gd name="connsiteX6216" fmla="*/ 2082588 w 5610835"/>
              <a:gd name="connsiteY6216" fmla="*/ 1143555 h 5278114"/>
              <a:gd name="connsiteX6217" fmla="*/ 2079406 w 5610835"/>
              <a:gd name="connsiteY6217" fmla="*/ 1143555 h 5278114"/>
              <a:gd name="connsiteX6218" fmla="*/ 2079406 w 5610835"/>
              <a:gd name="connsiteY6218" fmla="*/ 1140374 h 5278114"/>
              <a:gd name="connsiteX6219" fmla="*/ 2082588 w 5610835"/>
              <a:gd name="connsiteY6219" fmla="*/ 1137192 h 5278114"/>
              <a:gd name="connsiteX6220" fmla="*/ 2080997 w 5610835"/>
              <a:gd name="connsiteY6220" fmla="*/ 1137192 h 5278114"/>
              <a:gd name="connsiteX6221" fmla="*/ 2079406 w 5610835"/>
              <a:gd name="connsiteY6221" fmla="*/ 1140374 h 5278114"/>
              <a:gd name="connsiteX6222" fmla="*/ 2076225 w 5610835"/>
              <a:gd name="connsiteY6222" fmla="*/ 1138783 h 5278114"/>
              <a:gd name="connsiteX6223" fmla="*/ 2077816 w 5610835"/>
              <a:gd name="connsiteY6223" fmla="*/ 1137192 h 5278114"/>
              <a:gd name="connsiteX6224" fmla="*/ 2069862 w 5610835"/>
              <a:gd name="connsiteY6224" fmla="*/ 1137192 h 5278114"/>
              <a:gd name="connsiteX6225" fmla="*/ 2069862 w 5610835"/>
              <a:gd name="connsiteY6225" fmla="*/ 1140374 h 5278114"/>
              <a:gd name="connsiteX6226" fmla="*/ 2071453 w 5610835"/>
              <a:gd name="connsiteY6226" fmla="*/ 1141965 h 5278114"/>
              <a:gd name="connsiteX6227" fmla="*/ 2071453 w 5610835"/>
              <a:gd name="connsiteY6227" fmla="*/ 1138783 h 5278114"/>
              <a:gd name="connsiteX6228" fmla="*/ 2058727 w 5610835"/>
              <a:gd name="connsiteY6228" fmla="*/ 1135601 h 5278114"/>
              <a:gd name="connsiteX6229" fmla="*/ 2055546 w 5610835"/>
              <a:gd name="connsiteY6229" fmla="*/ 1138783 h 5278114"/>
              <a:gd name="connsiteX6230" fmla="*/ 2060318 w 5610835"/>
              <a:gd name="connsiteY6230" fmla="*/ 1138783 h 5278114"/>
              <a:gd name="connsiteX6231" fmla="*/ 2088951 w 5610835"/>
              <a:gd name="connsiteY6231" fmla="*/ 1132420 h 5278114"/>
              <a:gd name="connsiteX6232" fmla="*/ 2082588 w 5610835"/>
              <a:gd name="connsiteY6232" fmla="*/ 1135601 h 5278114"/>
              <a:gd name="connsiteX6233" fmla="*/ 2084179 w 5610835"/>
              <a:gd name="connsiteY6233" fmla="*/ 1137192 h 5278114"/>
              <a:gd name="connsiteX6234" fmla="*/ 2085770 w 5610835"/>
              <a:gd name="connsiteY6234" fmla="*/ 1135601 h 5278114"/>
              <a:gd name="connsiteX6235" fmla="*/ 2085770 w 5610835"/>
              <a:gd name="connsiteY6235" fmla="*/ 1134011 h 5278114"/>
              <a:gd name="connsiteX6236" fmla="*/ 2053955 w 5610835"/>
              <a:gd name="connsiteY6236" fmla="*/ 1130829 h 5278114"/>
              <a:gd name="connsiteX6237" fmla="*/ 2053955 w 5610835"/>
              <a:gd name="connsiteY6237" fmla="*/ 1134011 h 5278114"/>
              <a:gd name="connsiteX6238" fmla="*/ 2055546 w 5610835"/>
              <a:gd name="connsiteY6238" fmla="*/ 1132420 h 5278114"/>
              <a:gd name="connsiteX6239" fmla="*/ 1980781 w 5610835"/>
              <a:gd name="connsiteY6239" fmla="*/ 1130829 h 5278114"/>
              <a:gd name="connsiteX6240" fmla="*/ 1977599 w 5610835"/>
              <a:gd name="connsiteY6240" fmla="*/ 1132420 h 5278114"/>
              <a:gd name="connsiteX6241" fmla="*/ 1979190 w 5610835"/>
              <a:gd name="connsiteY6241" fmla="*/ 1134011 h 5278114"/>
              <a:gd name="connsiteX6242" fmla="*/ 1979190 w 5610835"/>
              <a:gd name="connsiteY6242" fmla="*/ 1137192 h 5278114"/>
              <a:gd name="connsiteX6243" fmla="*/ 1982371 w 5610835"/>
              <a:gd name="connsiteY6243" fmla="*/ 1138783 h 5278114"/>
              <a:gd name="connsiteX6244" fmla="*/ 1983962 w 5610835"/>
              <a:gd name="connsiteY6244" fmla="*/ 1135601 h 5278114"/>
              <a:gd name="connsiteX6245" fmla="*/ 1980781 w 5610835"/>
              <a:gd name="connsiteY6245" fmla="*/ 1135601 h 5278114"/>
              <a:gd name="connsiteX6246" fmla="*/ 2004642 w 5610835"/>
              <a:gd name="connsiteY6246" fmla="*/ 1129238 h 5278114"/>
              <a:gd name="connsiteX6247" fmla="*/ 2004642 w 5610835"/>
              <a:gd name="connsiteY6247" fmla="*/ 1130829 h 5278114"/>
              <a:gd name="connsiteX6248" fmla="*/ 2006233 w 5610835"/>
              <a:gd name="connsiteY6248" fmla="*/ 1130829 h 5278114"/>
              <a:gd name="connsiteX6249" fmla="*/ 2103268 w 5610835"/>
              <a:gd name="connsiteY6249" fmla="*/ 1127648 h 5278114"/>
              <a:gd name="connsiteX6250" fmla="*/ 2098495 w 5610835"/>
              <a:gd name="connsiteY6250" fmla="*/ 1130829 h 5278114"/>
              <a:gd name="connsiteX6251" fmla="*/ 2095314 w 5610835"/>
              <a:gd name="connsiteY6251" fmla="*/ 1129238 h 5278114"/>
              <a:gd name="connsiteX6252" fmla="*/ 2093723 w 5610835"/>
              <a:gd name="connsiteY6252" fmla="*/ 1130829 h 5278114"/>
              <a:gd name="connsiteX6253" fmla="*/ 2095314 w 5610835"/>
              <a:gd name="connsiteY6253" fmla="*/ 1132420 h 5278114"/>
              <a:gd name="connsiteX6254" fmla="*/ 2092133 w 5610835"/>
              <a:gd name="connsiteY6254" fmla="*/ 1135601 h 5278114"/>
              <a:gd name="connsiteX6255" fmla="*/ 2092133 w 5610835"/>
              <a:gd name="connsiteY6255" fmla="*/ 1137192 h 5278114"/>
              <a:gd name="connsiteX6256" fmla="*/ 2092133 w 5610835"/>
              <a:gd name="connsiteY6256" fmla="*/ 1138783 h 5278114"/>
              <a:gd name="connsiteX6257" fmla="*/ 2088951 w 5610835"/>
              <a:gd name="connsiteY6257" fmla="*/ 1138783 h 5278114"/>
              <a:gd name="connsiteX6258" fmla="*/ 2090542 w 5610835"/>
              <a:gd name="connsiteY6258" fmla="*/ 1140374 h 5278114"/>
              <a:gd name="connsiteX6259" fmla="*/ 2087360 w 5610835"/>
              <a:gd name="connsiteY6259" fmla="*/ 1140374 h 5278114"/>
              <a:gd name="connsiteX6260" fmla="*/ 2085770 w 5610835"/>
              <a:gd name="connsiteY6260" fmla="*/ 1143555 h 5278114"/>
              <a:gd name="connsiteX6261" fmla="*/ 2087360 w 5610835"/>
              <a:gd name="connsiteY6261" fmla="*/ 1145146 h 5278114"/>
              <a:gd name="connsiteX6262" fmla="*/ 2093723 w 5610835"/>
              <a:gd name="connsiteY6262" fmla="*/ 1138783 h 5278114"/>
              <a:gd name="connsiteX6263" fmla="*/ 2096905 w 5610835"/>
              <a:gd name="connsiteY6263" fmla="*/ 1137192 h 5278114"/>
              <a:gd name="connsiteX6264" fmla="*/ 2095314 w 5610835"/>
              <a:gd name="connsiteY6264" fmla="*/ 1137192 h 5278114"/>
              <a:gd name="connsiteX6265" fmla="*/ 2095314 w 5610835"/>
              <a:gd name="connsiteY6265" fmla="*/ 1132420 h 5278114"/>
              <a:gd name="connsiteX6266" fmla="*/ 2098495 w 5610835"/>
              <a:gd name="connsiteY6266" fmla="*/ 1130829 h 5278114"/>
              <a:gd name="connsiteX6267" fmla="*/ 2098495 w 5610835"/>
              <a:gd name="connsiteY6267" fmla="*/ 1134011 h 5278114"/>
              <a:gd name="connsiteX6268" fmla="*/ 2100086 w 5610835"/>
              <a:gd name="connsiteY6268" fmla="*/ 1132420 h 5278114"/>
              <a:gd name="connsiteX6269" fmla="*/ 2103268 w 5610835"/>
              <a:gd name="connsiteY6269" fmla="*/ 1130829 h 5278114"/>
              <a:gd name="connsiteX6270" fmla="*/ 2104858 w 5610835"/>
              <a:gd name="connsiteY6270" fmla="*/ 1129238 h 5278114"/>
              <a:gd name="connsiteX6271" fmla="*/ 1968056 w 5610835"/>
              <a:gd name="connsiteY6271" fmla="*/ 1127648 h 5278114"/>
              <a:gd name="connsiteX6272" fmla="*/ 1969646 w 5610835"/>
              <a:gd name="connsiteY6272" fmla="*/ 1129238 h 5278114"/>
              <a:gd name="connsiteX6273" fmla="*/ 1969646 w 5610835"/>
              <a:gd name="connsiteY6273" fmla="*/ 1130829 h 5278114"/>
              <a:gd name="connsiteX6274" fmla="*/ 1964874 w 5610835"/>
              <a:gd name="connsiteY6274" fmla="*/ 1135601 h 5278114"/>
              <a:gd name="connsiteX6275" fmla="*/ 1968056 w 5610835"/>
              <a:gd name="connsiteY6275" fmla="*/ 1137192 h 5278114"/>
              <a:gd name="connsiteX6276" fmla="*/ 1964874 w 5610835"/>
              <a:gd name="connsiteY6276" fmla="*/ 1138783 h 5278114"/>
              <a:gd name="connsiteX6277" fmla="*/ 1964874 w 5610835"/>
              <a:gd name="connsiteY6277" fmla="*/ 1140374 h 5278114"/>
              <a:gd name="connsiteX6278" fmla="*/ 1963284 w 5610835"/>
              <a:gd name="connsiteY6278" fmla="*/ 1141965 h 5278114"/>
              <a:gd name="connsiteX6279" fmla="*/ 1966465 w 5610835"/>
              <a:gd name="connsiteY6279" fmla="*/ 1145146 h 5278114"/>
              <a:gd name="connsiteX6280" fmla="*/ 1966465 w 5610835"/>
              <a:gd name="connsiteY6280" fmla="*/ 1143555 h 5278114"/>
              <a:gd name="connsiteX6281" fmla="*/ 1966465 w 5610835"/>
              <a:gd name="connsiteY6281" fmla="*/ 1141965 h 5278114"/>
              <a:gd name="connsiteX6282" fmla="*/ 1968056 w 5610835"/>
              <a:gd name="connsiteY6282" fmla="*/ 1140374 h 5278114"/>
              <a:gd name="connsiteX6283" fmla="*/ 1966465 w 5610835"/>
              <a:gd name="connsiteY6283" fmla="*/ 1138783 h 5278114"/>
              <a:gd name="connsiteX6284" fmla="*/ 1969646 w 5610835"/>
              <a:gd name="connsiteY6284" fmla="*/ 1138783 h 5278114"/>
              <a:gd name="connsiteX6285" fmla="*/ 1968056 w 5610835"/>
              <a:gd name="connsiteY6285" fmla="*/ 1135601 h 5278114"/>
              <a:gd name="connsiteX6286" fmla="*/ 1968056 w 5610835"/>
              <a:gd name="connsiteY6286" fmla="*/ 1132420 h 5278114"/>
              <a:gd name="connsiteX6287" fmla="*/ 1971237 w 5610835"/>
              <a:gd name="connsiteY6287" fmla="*/ 1130829 h 5278114"/>
              <a:gd name="connsiteX6288" fmla="*/ 1969646 w 5610835"/>
              <a:gd name="connsiteY6288" fmla="*/ 1129238 h 5278114"/>
              <a:gd name="connsiteX6289" fmla="*/ 1969646 w 5610835"/>
              <a:gd name="connsiteY6289" fmla="*/ 1127648 h 5278114"/>
              <a:gd name="connsiteX6290" fmla="*/ 2106449 w 5610835"/>
              <a:gd name="connsiteY6290" fmla="*/ 1126057 h 5278114"/>
              <a:gd name="connsiteX6291" fmla="*/ 2106449 w 5610835"/>
              <a:gd name="connsiteY6291" fmla="*/ 1129238 h 5278114"/>
              <a:gd name="connsiteX6292" fmla="*/ 2108040 w 5610835"/>
              <a:gd name="connsiteY6292" fmla="*/ 1127648 h 5278114"/>
              <a:gd name="connsiteX6293" fmla="*/ 2108040 w 5610835"/>
              <a:gd name="connsiteY6293" fmla="*/ 1126057 h 5278114"/>
              <a:gd name="connsiteX6294" fmla="*/ 2106449 w 5610835"/>
              <a:gd name="connsiteY6294" fmla="*/ 1126057 h 5278114"/>
              <a:gd name="connsiteX6295" fmla="*/ 1963284 w 5610835"/>
              <a:gd name="connsiteY6295" fmla="*/ 1126057 h 5278114"/>
              <a:gd name="connsiteX6296" fmla="*/ 1963284 w 5610835"/>
              <a:gd name="connsiteY6296" fmla="*/ 1127648 h 5278114"/>
              <a:gd name="connsiteX6297" fmla="*/ 1964874 w 5610835"/>
              <a:gd name="connsiteY6297" fmla="*/ 1126057 h 5278114"/>
              <a:gd name="connsiteX6298" fmla="*/ 1767623 w 5610835"/>
              <a:gd name="connsiteY6298" fmla="*/ 1126057 h 5278114"/>
              <a:gd name="connsiteX6299" fmla="*/ 1767623 w 5610835"/>
              <a:gd name="connsiteY6299" fmla="*/ 1132420 h 5278114"/>
              <a:gd name="connsiteX6300" fmla="*/ 1762852 w 5610835"/>
              <a:gd name="connsiteY6300" fmla="*/ 1130829 h 5278114"/>
              <a:gd name="connsiteX6301" fmla="*/ 1501971 w 5610835"/>
              <a:gd name="connsiteY6301" fmla="*/ 1126056 h 5278114"/>
              <a:gd name="connsiteX6302" fmla="*/ 1511515 w 5610835"/>
              <a:gd name="connsiteY6302" fmla="*/ 1127647 h 5278114"/>
              <a:gd name="connsiteX6303" fmla="*/ 1508333 w 5610835"/>
              <a:gd name="connsiteY6303" fmla="*/ 1132418 h 5278114"/>
              <a:gd name="connsiteX6304" fmla="*/ 1982371 w 5610835"/>
              <a:gd name="connsiteY6304" fmla="*/ 1124466 h 5278114"/>
              <a:gd name="connsiteX6305" fmla="*/ 1983962 w 5610835"/>
              <a:gd name="connsiteY6305" fmla="*/ 1126057 h 5278114"/>
              <a:gd name="connsiteX6306" fmla="*/ 1985553 w 5610835"/>
              <a:gd name="connsiteY6306" fmla="*/ 1124466 h 5278114"/>
              <a:gd name="connsiteX6307" fmla="*/ 1977599 w 5610835"/>
              <a:gd name="connsiteY6307" fmla="*/ 1124466 h 5278114"/>
              <a:gd name="connsiteX6308" fmla="*/ 1974418 w 5610835"/>
              <a:gd name="connsiteY6308" fmla="*/ 1129238 h 5278114"/>
              <a:gd name="connsiteX6309" fmla="*/ 1979190 w 5610835"/>
              <a:gd name="connsiteY6309" fmla="*/ 1127648 h 5278114"/>
              <a:gd name="connsiteX6310" fmla="*/ 1977599 w 5610835"/>
              <a:gd name="connsiteY6310" fmla="*/ 1124466 h 5278114"/>
              <a:gd name="connsiteX6311" fmla="*/ 2095314 w 5610835"/>
              <a:gd name="connsiteY6311" fmla="*/ 1122876 h 5278114"/>
              <a:gd name="connsiteX6312" fmla="*/ 2092133 w 5610835"/>
              <a:gd name="connsiteY6312" fmla="*/ 1124466 h 5278114"/>
              <a:gd name="connsiteX6313" fmla="*/ 2093723 w 5610835"/>
              <a:gd name="connsiteY6313" fmla="*/ 1126057 h 5278114"/>
              <a:gd name="connsiteX6314" fmla="*/ 2115994 w 5610835"/>
              <a:gd name="connsiteY6314" fmla="*/ 1121285 h 5278114"/>
              <a:gd name="connsiteX6315" fmla="*/ 2115994 w 5610835"/>
              <a:gd name="connsiteY6315" fmla="*/ 1122876 h 5278114"/>
              <a:gd name="connsiteX6316" fmla="*/ 2115198 w 5610835"/>
              <a:gd name="connsiteY6316" fmla="*/ 1122080 h 5278114"/>
              <a:gd name="connsiteX6317" fmla="*/ 4066234 w 5610835"/>
              <a:gd name="connsiteY6317" fmla="*/ 1119744 h 5278114"/>
              <a:gd name="connsiteX6318" fmla="*/ 4039192 w 5610835"/>
              <a:gd name="connsiteY6318" fmla="*/ 1154739 h 5278114"/>
              <a:gd name="connsiteX6319" fmla="*/ 4042373 w 5610835"/>
              <a:gd name="connsiteY6319" fmla="*/ 1178599 h 5278114"/>
              <a:gd name="connsiteX6320" fmla="*/ 4077369 w 5610835"/>
              <a:gd name="connsiteY6320" fmla="*/ 1121335 h 5278114"/>
              <a:gd name="connsiteX6321" fmla="*/ 4077369 w 5610835"/>
              <a:gd name="connsiteY6321" fmla="*/ 1119744 h 5278114"/>
              <a:gd name="connsiteX6322" fmla="*/ 4066234 w 5610835"/>
              <a:gd name="connsiteY6322" fmla="*/ 1119744 h 5278114"/>
              <a:gd name="connsiteX6323" fmla="*/ 1753307 w 5610835"/>
              <a:gd name="connsiteY6323" fmla="*/ 1118115 h 5278114"/>
              <a:gd name="connsiteX6324" fmla="*/ 1750124 w 5610835"/>
              <a:gd name="connsiteY6324" fmla="*/ 1122887 h 5278114"/>
              <a:gd name="connsiteX6325" fmla="*/ 1753307 w 5610835"/>
              <a:gd name="connsiteY6325" fmla="*/ 1127660 h 5278114"/>
              <a:gd name="connsiteX6326" fmla="*/ 1750124 w 5610835"/>
              <a:gd name="connsiteY6326" fmla="*/ 1129250 h 5278114"/>
              <a:gd name="connsiteX6327" fmla="*/ 1751717 w 5610835"/>
              <a:gd name="connsiteY6327" fmla="*/ 1132432 h 5278114"/>
              <a:gd name="connsiteX6328" fmla="*/ 1750124 w 5610835"/>
              <a:gd name="connsiteY6328" fmla="*/ 1134023 h 5278114"/>
              <a:gd name="connsiteX6329" fmla="*/ 1742171 w 5610835"/>
              <a:gd name="connsiteY6329" fmla="*/ 1135614 h 5278114"/>
              <a:gd name="connsiteX6330" fmla="*/ 1738990 w 5610835"/>
              <a:gd name="connsiteY6330" fmla="*/ 1122887 h 5278114"/>
              <a:gd name="connsiteX6331" fmla="*/ 1753307 w 5610835"/>
              <a:gd name="connsiteY6331" fmla="*/ 1118115 h 5278114"/>
              <a:gd name="connsiteX6332" fmla="*/ 1963284 w 5610835"/>
              <a:gd name="connsiteY6332" fmla="*/ 1118104 h 5278114"/>
              <a:gd name="connsiteX6333" fmla="*/ 1964874 w 5610835"/>
              <a:gd name="connsiteY6333" fmla="*/ 1124466 h 5278114"/>
              <a:gd name="connsiteX6334" fmla="*/ 1968056 w 5610835"/>
              <a:gd name="connsiteY6334" fmla="*/ 1124466 h 5278114"/>
              <a:gd name="connsiteX6335" fmla="*/ 1968056 w 5610835"/>
              <a:gd name="connsiteY6335" fmla="*/ 1121285 h 5278114"/>
              <a:gd name="connsiteX6336" fmla="*/ 1964874 w 5610835"/>
              <a:gd name="connsiteY6336" fmla="*/ 1121285 h 5278114"/>
              <a:gd name="connsiteX6337" fmla="*/ 1963284 w 5610835"/>
              <a:gd name="connsiteY6337" fmla="*/ 1118104 h 5278114"/>
              <a:gd name="connsiteX6338" fmla="*/ 1769214 w 5610835"/>
              <a:gd name="connsiteY6338" fmla="*/ 1116514 h 5278114"/>
              <a:gd name="connsiteX6339" fmla="*/ 1769214 w 5610835"/>
              <a:gd name="connsiteY6339" fmla="*/ 1121286 h 5278114"/>
              <a:gd name="connsiteX6340" fmla="*/ 1764442 w 5610835"/>
              <a:gd name="connsiteY6340" fmla="*/ 1118105 h 5278114"/>
              <a:gd name="connsiteX6341" fmla="*/ 1988736 w 5610835"/>
              <a:gd name="connsiteY6341" fmla="*/ 1116513 h 5278114"/>
              <a:gd name="connsiteX6342" fmla="*/ 1988736 w 5610835"/>
              <a:gd name="connsiteY6342" fmla="*/ 1119695 h 5278114"/>
              <a:gd name="connsiteX6343" fmla="*/ 1990325 w 5610835"/>
              <a:gd name="connsiteY6343" fmla="*/ 1118104 h 5278114"/>
              <a:gd name="connsiteX6344" fmla="*/ 2004642 w 5610835"/>
              <a:gd name="connsiteY6344" fmla="*/ 1114922 h 5278114"/>
              <a:gd name="connsiteX6345" fmla="*/ 2004642 w 5610835"/>
              <a:gd name="connsiteY6345" fmla="*/ 1116513 h 5278114"/>
              <a:gd name="connsiteX6346" fmla="*/ 2006233 w 5610835"/>
              <a:gd name="connsiteY6346" fmla="*/ 1114922 h 5278114"/>
              <a:gd name="connsiteX6347" fmla="*/ 1676952 w 5610835"/>
              <a:gd name="connsiteY6347" fmla="*/ 1114918 h 5278114"/>
              <a:gd name="connsiteX6348" fmla="*/ 1683315 w 5610835"/>
              <a:gd name="connsiteY6348" fmla="*/ 1118100 h 5278114"/>
              <a:gd name="connsiteX6349" fmla="*/ 1676952 w 5610835"/>
              <a:gd name="connsiteY6349" fmla="*/ 1124463 h 5278114"/>
              <a:gd name="connsiteX6350" fmla="*/ 2020549 w 5610835"/>
              <a:gd name="connsiteY6350" fmla="*/ 1111741 h 5278114"/>
              <a:gd name="connsiteX6351" fmla="*/ 2017368 w 5610835"/>
              <a:gd name="connsiteY6351" fmla="*/ 1113331 h 5278114"/>
              <a:gd name="connsiteX6352" fmla="*/ 2020549 w 5610835"/>
              <a:gd name="connsiteY6352" fmla="*/ 1113331 h 5278114"/>
              <a:gd name="connsiteX6353" fmla="*/ 1536966 w 5610835"/>
              <a:gd name="connsiteY6353" fmla="*/ 1108567 h 5278114"/>
              <a:gd name="connsiteX6354" fmla="*/ 1544920 w 5610835"/>
              <a:gd name="connsiteY6354" fmla="*/ 1108567 h 5278114"/>
              <a:gd name="connsiteX6355" fmla="*/ 1543329 w 5610835"/>
              <a:gd name="connsiteY6355" fmla="*/ 1114930 h 5278114"/>
              <a:gd name="connsiteX6356" fmla="*/ 1788304 w 5610835"/>
              <a:gd name="connsiteY6356" fmla="*/ 1108560 h 5278114"/>
              <a:gd name="connsiteX6357" fmla="*/ 1796256 w 5610835"/>
              <a:gd name="connsiteY6357" fmla="*/ 1111741 h 5278114"/>
              <a:gd name="connsiteX6358" fmla="*/ 1801029 w 5610835"/>
              <a:gd name="connsiteY6358" fmla="*/ 1118104 h 5278114"/>
              <a:gd name="connsiteX6359" fmla="*/ 1791485 w 5610835"/>
              <a:gd name="connsiteY6359" fmla="*/ 1127648 h 5278114"/>
              <a:gd name="connsiteX6360" fmla="*/ 1775577 w 5610835"/>
              <a:gd name="connsiteY6360" fmla="*/ 1119695 h 5278114"/>
              <a:gd name="connsiteX6361" fmla="*/ 1780349 w 5610835"/>
              <a:gd name="connsiteY6361" fmla="*/ 1114923 h 5278114"/>
              <a:gd name="connsiteX6362" fmla="*/ 1778758 w 5610835"/>
              <a:gd name="connsiteY6362" fmla="*/ 1111741 h 5278114"/>
              <a:gd name="connsiteX6363" fmla="*/ 1780349 w 5610835"/>
              <a:gd name="connsiteY6363" fmla="*/ 1110151 h 5278114"/>
              <a:gd name="connsiteX6364" fmla="*/ 1788304 w 5610835"/>
              <a:gd name="connsiteY6364" fmla="*/ 1108560 h 5278114"/>
              <a:gd name="connsiteX6365" fmla="*/ 2094042 w 5610835"/>
              <a:gd name="connsiteY6365" fmla="*/ 1104742 h 5278114"/>
              <a:gd name="connsiteX6366" fmla="*/ 2095314 w 5610835"/>
              <a:gd name="connsiteY6366" fmla="*/ 1105377 h 5278114"/>
              <a:gd name="connsiteX6367" fmla="*/ 2093723 w 5610835"/>
              <a:gd name="connsiteY6367" fmla="*/ 1105377 h 5278114"/>
              <a:gd name="connsiteX6368" fmla="*/ 1998279 w 5610835"/>
              <a:gd name="connsiteY6368" fmla="*/ 1103787 h 5278114"/>
              <a:gd name="connsiteX6369" fmla="*/ 1995098 w 5610835"/>
              <a:gd name="connsiteY6369" fmla="*/ 1105377 h 5278114"/>
              <a:gd name="connsiteX6370" fmla="*/ 1998279 w 5610835"/>
              <a:gd name="connsiteY6370" fmla="*/ 1105377 h 5278114"/>
              <a:gd name="connsiteX6371" fmla="*/ 1709164 w 5610835"/>
              <a:gd name="connsiteY6371" fmla="*/ 1101599 h 5278114"/>
              <a:gd name="connsiteX6372" fmla="*/ 1715129 w 5610835"/>
              <a:gd name="connsiteY6372" fmla="*/ 1103786 h 5278114"/>
              <a:gd name="connsiteX6373" fmla="*/ 1715129 w 5610835"/>
              <a:gd name="connsiteY6373" fmla="*/ 1111740 h 5278114"/>
              <a:gd name="connsiteX6374" fmla="*/ 1705585 w 5610835"/>
              <a:gd name="connsiteY6374" fmla="*/ 1110149 h 5278114"/>
              <a:gd name="connsiteX6375" fmla="*/ 1709164 w 5610835"/>
              <a:gd name="connsiteY6375" fmla="*/ 1101599 h 5278114"/>
              <a:gd name="connsiteX6376" fmla="*/ 1608551 w 5610835"/>
              <a:gd name="connsiteY6376" fmla="*/ 1100614 h 5278114"/>
              <a:gd name="connsiteX6377" fmla="*/ 1614913 w 5610835"/>
              <a:gd name="connsiteY6377" fmla="*/ 1105386 h 5278114"/>
              <a:gd name="connsiteX6378" fmla="*/ 1608551 w 5610835"/>
              <a:gd name="connsiteY6378" fmla="*/ 1105386 h 5278114"/>
              <a:gd name="connsiteX6379" fmla="*/ 2093723 w 5610835"/>
              <a:gd name="connsiteY6379" fmla="*/ 1100605 h 5278114"/>
              <a:gd name="connsiteX6380" fmla="*/ 2095314 w 5610835"/>
              <a:gd name="connsiteY6380" fmla="*/ 1102196 h 5278114"/>
              <a:gd name="connsiteX6381" fmla="*/ 2094042 w 5610835"/>
              <a:gd name="connsiteY6381" fmla="*/ 1104742 h 5278114"/>
              <a:gd name="connsiteX6382" fmla="*/ 2088951 w 5610835"/>
              <a:gd name="connsiteY6382" fmla="*/ 1102196 h 5278114"/>
              <a:gd name="connsiteX6383" fmla="*/ 2090542 w 5610835"/>
              <a:gd name="connsiteY6383" fmla="*/ 1103787 h 5278114"/>
              <a:gd name="connsiteX6384" fmla="*/ 2092133 w 5610835"/>
              <a:gd name="connsiteY6384" fmla="*/ 1111741 h 5278114"/>
              <a:gd name="connsiteX6385" fmla="*/ 2095314 w 5610835"/>
              <a:gd name="connsiteY6385" fmla="*/ 1106968 h 5278114"/>
              <a:gd name="connsiteX6386" fmla="*/ 2095314 w 5610835"/>
              <a:gd name="connsiteY6386" fmla="*/ 1105377 h 5278114"/>
              <a:gd name="connsiteX6387" fmla="*/ 2098495 w 5610835"/>
              <a:gd name="connsiteY6387" fmla="*/ 1105377 h 5278114"/>
              <a:gd name="connsiteX6388" fmla="*/ 2098495 w 5610835"/>
              <a:gd name="connsiteY6388" fmla="*/ 1102196 h 5278114"/>
              <a:gd name="connsiteX6389" fmla="*/ 2225755 w 5610835"/>
              <a:gd name="connsiteY6389" fmla="*/ 1099067 h 5278114"/>
              <a:gd name="connsiteX6390" fmla="*/ 2155762 w 5610835"/>
              <a:gd name="connsiteY6390" fmla="*/ 1186554 h 5278114"/>
              <a:gd name="connsiteX6391" fmla="*/ 2225755 w 5610835"/>
              <a:gd name="connsiteY6391" fmla="*/ 1099067 h 5278114"/>
              <a:gd name="connsiteX6392" fmla="*/ 1797849 w 5610835"/>
              <a:gd name="connsiteY6392" fmla="*/ 1092652 h 5278114"/>
              <a:gd name="connsiteX6393" fmla="*/ 1802620 w 5610835"/>
              <a:gd name="connsiteY6393" fmla="*/ 1095834 h 5278114"/>
              <a:gd name="connsiteX6394" fmla="*/ 1797849 w 5610835"/>
              <a:gd name="connsiteY6394" fmla="*/ 1097425 h 5278114"/>
              <a:gd name="connsiteX6395" fmla="*/ 1560828 w 5610835"/>
              <a:gd name="connsiteY6395" fmla="*/ 1089478 h 5278114"/>
              <a:gd name="connsiteX6396" fmla="*/ 1567191 w 5610835"/>
              <a:gd name="connsiteY6396" fmla="*/ 1089478 h 5278114"/>
              <a:gd name="connsiteX6397" fmla="*/ 1567191 w 5610835"/>
              <a:gd name="connsiteY6397" fmla="*/ 1094251 h 5278114"/>
              <a:gd name="connsiteX6398" fmla="*/ 1762852 w 5610835"/>
              <a:gd name="connsiteY6398" fmla="*/ 1089470 h 5278114"/>
              <a:gd name="connsiteX6399" fmla="*/ 1767623 w 5610835"/>
              <a:gd name="connsiteY6399" fmla="*/ 1091061 h 5278114"/>
              <a:gd name="connsiteX6400" fmla="*/ 1762852 w 5610835"/>
              <a:gd name="connsiteY6400" fmla="*/ 1095833 h 5278114"/>
              <a:gd name="connsiteX6401" fmla="*/ 2038047 w 5610835"/>
              <a:gd name="connsiteY6401" fmla="*/ 1084698 h 5278114"/>
              <a:gd name="connsiteX6402" fmla="*/ 2039638 w 5610835"/>
              <a:gd name="connsiteY6402" fmla="*/ 1086289 h 5278114"/>
              <a:gd name="connsiteX6403" fmla="*/ 2039638 w 5610835"/>
              <a:gd name="connsiteY6403" fmla="*/ 1084698 h 5278114"/>
              <a:gd name="connsiteX6404" fmla="*/ 1591052 w 5610835"/>
              <a:gd name="connsiteY6404" fmla="*/ 1081525 h 5278114"/>
              <a:gd name="connsiteX6405" fmla="*/ 1599005 w 5610835"/>
              <a:gd name="connsiteY6405" fmla="*/ 1087888 h 5278114"/>
              <a:gd name="connsiteX6406" fmla="*/ 1591052 w 5610835"/>
              <a:gd name="connsiteY6406" fmla="*/ 1087888 h 5278114"/>
              <a:gd name="connsiteX6407" fmla="*/ 4309616 w 5610835"/>
              <a:gd name="connsiteY6407" fmla="*/ 1073615 h 5278114"/>
              <a:gd name="connsiteX6408" fmla="*/ 4241215 w 5610835"/>
              <a:gd name="connsiteY6408" fmla="*/ 1140423 h 5278114"/>
              <a:gd name="connsiteX6409" fmla="*/ 4247578 w 5610835"/>
              <a:gd name="connsiteY6409" fmla="*/ 1140423 h 5278114"/>
              <a:gd name="connsiteX6410" fmla="*/ 4218944 w 5610835"/>
              <a:gd name="connsiteY6410" fmla="*/ 1184962 h 5278114"/>
              <a:gd name="connsiteX6411" fmla="*/ 4327115 w 5610835"/>
              <a:gd name="connsiteY6411" fmla="*/ 1081567 h 5278114"/>
              <a:gd name="connsiteX6412" fmla="*/ 4309616 w 5610835"/>
              <a:gd name="connsiteY6412" fmla="*/ 1073615 h 5278114"/>
              <a:gd name="connsiteX6413" fmla="*/ 2158944 w 5610835"/>
              <a:gd name="connsiteY6413" fmla="*/ 1073563 h 5278114"/>
              <a:gd name="connsiteX6414" fmla="*/ 2158944 w 5610835"/>
              <a:gd name="connsiteY6414" fmla="*/ 1075153 h 5278114"/>
              <a:gd name="connsiteX6415" fmla="*/ 2160534 w 5610835"/>
              <a:gd name="connsiteY6415" fmla="*/ 1075153 h 5278114"/>
              <a:gd name="connsiteX6416" fmla="*/ 2163715 w 5610835"/>
              <a:gd name="connsiteY6416" fmla="*/ 1073563 h 5278114"/>
              <a:gd name="connsiteX6417" fmla="*/ 2162125 w 5610835"/>
              <a:gd name="connsiteY6417" fmla="*/ 1073563 h 5278114"/>
              <a:gd name="connsiteX6418" fmla="*/ 1559237 w 5610835"/>
              <a:gd name="connsiteY6418" fmla="*/ 1071980 h 5278114"/>
              <a:gd name="connsiteX6419" fmla="*/ 1557646 w 5610835"/>
              <a:gd name="connsiteY6419" fmla="*/ 1081524 h 5278114"/>
              <a:gd name="connsiteX6420" fmla="*/ 1551283 w 5610835"/>
              <a:gd name="connsiteY6420" fmla="*/ 1078342 h 5278114"/>
              <a:gd name="connsiteX6421" fmla="*/ 4288937 w 5610835"/>
              <a:gd name="connsiteY6421" fmla="*/ 1070433 h 5278114"/>
              <a:gd name="connsiteX6422" fmla="*/ 4269848 w 5610835"/>
              <a:gd name="connsiteY6422" fmla="*/ 1100656 h 5278114"/>
              <a:gd name="connsiteX6423" fmla="*/ 4300072 w 5610835"/>
              <a:gd name="connsiteY6423" fmla="*/ 1073615 h 5278114"/>
              <a:gd name="connsiteX6424" fmla="*/ 4293710 w 5610835"/>
              <a:gd name="connsiteY6424" fmla="*/ 1075205 h 5278114"/>
              <a:gd name="connsiteX6425" fmla="*/ 4288937 w 5610835"/>
              <a:gd name="connsiteY6425" fmla="*/ 1070433 h 5278114"/>
              <a:gd name="connsiteX6426" fmla="*/ 1689678 w 5610835"/>
              <a:gd name="connsiteY6426" fmla="*/ 1067199 h 5278114"/>
              <a:gd name="connsiteX6427" fmla="*/ 1697631 w 5610835"/>
              <a:gd name="connsiteY6427" fmla="*/ 1067199 h 5278114"/>
              <a:gd name="connsiteX6428" fmla="*/ 1697631 w 5610835"/>
              <a:gd name="connsiteY6428" fmla="*/ 1071971 h 5278114"/>
              <a:gd name="connsiteX6429" fmla="*/ 1689678 w 5610835"/>
              <a:gd name="connsiteY6429" fmla="*/ 1067199 h 5278114"/>
              <a:gd name="connsiteX6430" fmla="*/ 2227345 w 5610835"/>
              <a:gd name="connsiteY6430" fmla="*/ 1064073 h 5278114"/>
              <a:gd name="connsiteX6431" fmla="*/ 2093723 w 5610835"/>
              <a:gd name="connsiteY6431" fmla="*/ 1280407 h 5278114"/>
              <a:gd name="connsiteX6432" fmla="*/ 2193939 w 5610835"/>
              <a:gd name="connsiteY6432" fmla="*/ 1961248 h 5278114"/>
              <a:gd name="connsiteX6433" fmla="*/ 2158944 w 5610835"/>
              <a:gd name="connsiteY6433" fmla="*/ 1099067 h 5278114"/>
              <a:gd name="connsiteX6434" fmla="*/ 2227345 w 5610835"/>
              <a:gd name="connsiteY6434" fmla="*/ 1064073 h 5278114"/>
              <a:gd name="connsiteX6435" fmla="*/ 2310063 w 5610835"/>
              <a:gd name="connsiteY6435" fmla="*/ 1064071 h 5278114"/>
              <a:gd name="connsiteX6436" fmla="*/ 2240071 w 5610835"/>
              <a:gd name="connsiteY6436" fmla="*/ 1180190 h 5278114"/>
              <a:gd name="connsiteX6437" fmla="*/ 2278248 w 5610835"/>
              <a:gd name="connsiteY6437" fmla="*/ 1183371 h 5278114"/>
              <a:gd name="connsiteX6438" fmla="*/ 2292566 w 5610835"/>
              <a:gd name="connsiteY6438" fmla="*/ 1164284 h 5278114"/>
              <a:gd name="connsiteX6439" fmla="*/ 2295747 w 5610835"/>
              <a:gd name="connsiteY6439" fmla="*/ 1148376 h 5278114"/>
              <a:gd name="connsiteX6440" fmla="*/ 2303700 w 5610835"/>
              <a:gd name="connsiteY6440" fmla="*/ 1143604 h 5278114"/>
              <a:gd name="connsiteX6441" fmla="*/ 2322790 w 5610835"/>
              <a:gd name="connsiteY6441" fmla="*/ 1107018 h 5278114"/>
              <a:gd name="connsiteX6442" fmla="*/ 2314836 w 5610835"/>
              <a:gd name="connsiteY6442" fmla="*/ 1075205 h 5278114"/>
              <a:gd name="connsiteX6443" fmla="*/ 2310063 w 5610835"/>
              <a:gd name="connsiteY6443" fmla="*/ 1064071 h 5278114"/>
              <a:gd name="connsiteX6444" fmla="*/ 1622867 w 5610835"/>
              <a:gd name="connsiteY6444" fmla="*/ 1059255 h 5278114"/>
              <a:gd name="connsiteX6445" fmla="*/ 1622867 w 5610835"/>
              <a:gd name="connsiteY6445" fmla="*/ 1064027 h 5278114"/>
              <a:gd name="connsiteX6446" fmla="*/ 1618095 w 5610835"/>
              <a:gd name="connsiteY6446" fmla="*/ 1062437 h 5278114"/>
              <a:gd name="connsiteX6447" fmla="*/ 2591623 w 5610835"/>
              <a:gd name="connsiteY6447" fmla="*/ 1051345 h 5278114"/>
              <a:gd name="connsiteX6448" fmla="*/ 2556628 w 5610835"/>
              <a:gd name="connsiteY6448" fmla="*/ 1057709 h 5278114"/>
              <a:gd name="connsiteX6449" fmla="*/ 2537538 w 5610835"/>
              <a:gd name="connsiteY6449" fmla="*/ 1092703 h 5278114"/>
              <a:gd name="connsiteX6450" fmla="*/ 2558218 w 5610835"/>
              <a:gd name="connsiteY6450" fmla="*/ 1070433 h 5278114"/>
              <a:gd name="connsiteX6451" fmla="*/ 2556628 w 5610835"/>
              <a:gd name="connsiteY6451" fmla="*/ 1089521 h 5278114"/>
              <a:gd name="connsiteX6452" fmla="*/ 2543901 w 5610835"/>
              <a:gd name="connsiteY6452" fmla="*/ 1105427 h 5278114"/>
              <a:gd name="connsiteX6453" fmla="*/ 2548673 w 5610835"/>
              <a:gd name="connsiteY6453" fmla="*/ 1122925 h 5278114"/>
              <a:gd name="connsiteX6454" fmla="*/ 2550264 w 5610835"/>
              <a:gd name="connsiteY6454" fmla="*/ 1124516 h 5278114"/>
              <a:gd name="connsiteX6455" fmla="*/ 2591623 w 5610835"/>
              <a:gd name="connsiteY6455" fmla="*/ 1051345 h 5278114"/>
              <a:gd name="connsiteX6456" fmla="*/ 517307 w 5610835"/>
              <a:gd name="connsiteY6456" fmla="*/ 1049699 h 5278114"/>
              <a:gd name="connsiteX6457" fmla="*/ 693879 w 5610835"/>
              <a:gd name="connsiteY6457" fmla="*/ 1216726 h 5278114"/>
              <a:gd name="connsiteX6458" fmla="*/ 517307 w 5610835"/>
              <a:gd name="connsiteY6458" fmla="*/ 1049699 h 5278114"/>
              <a:gd name="connsiteX6459" fmla="*/ 1635593 w 5610835"/>
              <a:gd name="connsiteY6459" fmla="*/ 1043337 h 5278114"/>
              <a:gd name="connsiteX6460" fmla="*/ 1635593 w 5610835"/>
              <a:gd name="connsiteY6460" fmla="*/ 1048109 h 5278114"/>
              <a:gd name="connsiteX6461" fmla="*/ 1630821 w 5610835"/>
              <a:gd name="connsiteY6461" fmla="*/ 1048109 h 5278114"/>
              <a:gd name="connsiteX6462" fmla="*/ 2292565 w 5610835"/>
              <a:gd name="connsiteY6462" fmla="*/ 1038622 h 5278114"/>
              <a:gd name="connsiteX6463" fmla="*/ 2184395 w 5610835"/>
              <a:gd name="connsiteY6463" fmla="*/ 1207234 h 5278114"/>
              <a:gd name="connsiteX6464" fmla="*/ 2174851 w 5610835"/>
              <a:gd name="connsiteY6464" fmla="*/ 1197690 h 5278114"/>
              <a:gd name="connsiteX6465" fmla="*/ 2292565 w 5610835"/>
              <a:gd name="connsiteY6465" fmla="*/ 1038622 h 5278114"/>
              <a:gd name="connsiteX6466" fmla="*/ 4370064 w 5610835"/>
              <a:gd name="connsiteY6466" fmla="*/ 1037028 h 5278114"/>
              <a:gd name="connsiteX6467" fmla="*/ 4328705 w 5610835"/>
              <a:gd name="connsiteY6467" fmla="*/ 1060889 h 5278114"/>
              <a:gd name="connsiteX6468" fmla="*/ 4341431 w 5610835"/>
              <a:gd name="connsiteY6468" fmla="*/ 1067251 h 5278114"/>
              <a:gd name="connsiteX6469" fmla="*/ 4370064 w 5610835"/>
              <a:gd name="connsiteY6469" fmla="*/ 1037028 h 5278114"/>
              <a:gd name="connsiteX6470" fmla="*/ 3294728 w 5610835"/>
              <a:gd name="connsiteY6470" fmla="*/ 1027485 h 5278114"/>
              <a:gd name="connsiteX6471" fmla="*/ 3293137 w 5610835"/>
              <a:gd name="connsiteY6471" fmla="*/ 1029075 h 5278114"/>
              <a:gd name="connsiteX6472" fmla="*/ 3286774 w 5610835"/>
              <a:gd name="connsiteY6472" fmla="*/ 1044982 h 5278114"/>
              <a:gd name="connsiteX6473" fmla="*/ 3294728 w 5610835"/>
              <a:gd name="connsiteY6473" fmla="*/ 1051345 h 5278114"/>
              <a:gd name="connsiteX6474" fmla="*/ 3294728 w 5610835"/>
              <a:gd name="connsiteY6474" fmla="*/ 1027485 h 5278114"/>
              <a:gd name="connsiteX6475" fmla="*/ 2259159 w 5610835"/>
              <a:gd name="connsiteY6475" fmla="*/ 1022660 h 5278114"/>
              <a:gd name="connsiteX6476" fmla="*/ 2259159 w 5610835"/>
              <a:gd name="connsiteY6476" fmla="*/ 1024250 h 5278114"/>
              <a:gd name="connsiteX6477" fmla="*/ 2260750 w 5610835"/>
              <a:gd name="connsiteY6477" fmla="*/ 1022660 h 5278114"/>
              <a:gd name="connsiteX6478" fmla="*/ 2270294 w 5610835"/>
              <a:gd name="connsiteY6478" fmla="*/ 1021069 h 5278114"/>
              <a:gd name="connsiteX6479" fmla="*/ 2273476 w 5610835"/>
              <a:gd name="connsiteY6479" fmla="*/ 1021069 h 5278114"/>
              <a:gd name="connsiteX6480" fmla="*/ 2276657 w 5610835"/>
              <a:gd name="connsiteY6480" fmla="*/ 1021069 h 5278114"/>
              <a:gd name="connsiteX6481" fmla="*/ 2273476 w 5610835"/>
              <a:gd name="connsiteY6481" fmla="*/ 1022660 h 5278114"/>
              <a:gd name="connsiteX6482" fmla="*/ 2270294 w 5610835"/>
              <a:gd name="connsiteY6482" fmla="*/ 1021069 h 5278114"/>
              <a:gd name="connsiteX6483" fmla="*/ 4343022 w 5610835"/>
              <a:gd name="connsiteY6483" fmla="*/ 1017941 h 5278114"/>
              <a:gd name="connsiteX6484" fmla="*/ 4306435 w 5610835"/>
              <a:gd name="connsiteY6484" fmla="*/ 1048163 h 5278114"/>
              <a:gd name="connsiteX6485" fmla="*/ 4319161 w 5610835"/>
              <a:gd name="connsiteY6485" fmla="*/ 1054526 h 5278114"/>
              <a:gd name="connsiteX6486" fmla="*/ 4358929 w 5610835"/>
              <a:gd name="connsiteY6486" fmla="*/ 1022713 h 5278114"/>
              <a:gd name="connsiteX6487" fmla="*/ 4343022 w 5610835"/>
              <a:gd name="connsiteY6487" fmla="*/ 1017941 h 5278114"/>
              <a:gd name="connsiteX6488" fmla="*/ 4249168 w 5610835"/>
              <a:gd name="connsiteY6488" fmla="*/ 1016350 h 5278114"/>
              <a:gd name="connsiteX6489" fmla="*/ 4177585 w 5610835"/>
              <a:gd name="connsiteY6489" fmla="*/ 1081567 h 5278114"/>
              <a:gd name="connsiteX6490" fmla="*/ 4175867 w 5610835"/>
              <a:gd name="connsiteY6490" fmla="*/ 1083859 h 5278114"/>
              <a:gd name="connsiteX6491" fmla="*/ 4167530 w 5610835"/>
              <a:gd name="connsiteY6491" fmla="*/ 1091080 h 5278114"/>
              <a:gd name="connsiteX6492" fmla="*/ 4163269 w 5610835"/>
              <a:gd name="connsiteY6492" fmla="*/ 1092703 h 5278114"/>
              <a:gd name="connsiteX6493" fmla="*/ 4155315 w 5610835"/>
              <a:gd name="connsiteY6493" fmla="*/ 1099065 h 5278114"/>
              <a:gd name="connsiteX6494" fmla="*/ 4160088 w 5610835"/>
              <a:gd name="connsiteY6494" fmla="*/ 1091112 h 5278114"/>
              <a:gd name="connsiteX6495" fmla="*/ 4166451 w 5610835"/>
              <a:gd name="connsiteY6495" fmla="*/ 1073615 h 5278114"/>
              <a:gd name="connsiteX6496" fmla="*/ 4171223 w 5610835"/>
              <a:gd name="connsiteY6496" fmla="*/ 1070433 h 5278114"/>
              <a:gd name="connsiteX6497" fmla="*/ 4164860 w 5610835"/>
              <a:gd name="connsiteY6497" fmla="*/ 1019532 h 5278114"/>
              <a:gd name="connsiteX6498" fmla="*/ 4161678 w 5610835"/>
              <a:gd name="connsiteY6498" fmla="*/ 1017941 h 5278114"/>
              <a:gd name="connsiteX6499" fmla="*/ 4134636 w 5610835"/>
              <a:gd name="connsiteY6499" fmla="*/ 1081567 h 5278114"/>
              <a:gd name="connsiteX6500" fmla="*/ 4153724 w 5610835"/>
              <a:gd name="connsiteY6500" fmla="*/ 1091112 h 5278114"/>
              <a:gd name="connsiteX6501" fmla="*/ 4140999 w 5610835"/>
              <a:gd name="connsiteY6501" fmla="*/ 1097475 h 5278114"/>
              <a:gd name="connsiteX6502" fmla="*/ 4140999 w 5610835"/>
              <a:gd name="connsiteY6502" fmla="*/ 1107018 h 5278114"/>
              <a:gd name="connsiteX6503" fmla="*/ 4121909 w 5610835"/>
              <a:gd name="connsiteY6503" fmla="*/ 1105427 h 5278114"/>
              <a:gd name="connsiteX6504" fmla="*/ 4110775 w 5610835"/>
              <a:gd name="connsiteY6504" fmla="*/ 1127697 h 5278114"/>
              <a:gd name="connsiteX6505" fmla="*/ 4126682 w 5610835"/>
              <a:gd name="connsiteY6505" fmla="*/ 1146785 h 5278114"/>
              <a:gd name="connsiteX6506" fmla="*/ 4136227 w 5610835"/>
              <a:gd name="connsiteY6506" fmla="*/ 1127697 h 5278114"/>
              <a:gd name="connsiteX6507" fmla="*/ 4155813 w 5610835"/>
              <a:gd name="connsiteY6507" fmla="*/ 1101227 h 5278114"/>
              <a:gd name="connsiteX6508" fmla="*/ 4167530 w 5610835"/>
              <a:gd name="connsiteY6508" fmla="*/ 1091080 h 5278114"/>
              <a:gd name="connsiteX6509" fmla="*/ 4171620 w 5610835"/>
              <a:gd name="connsiteY6509" fmla="*/ 1089521 h 5278114"/>
              <a:gd name="connsiteX6510" fmla="*/ 4175867 w 5610835"/>
              <a:gd name="connsiteY6510" fmla="*/ 1083859 h 5278114"/>
              <a:gd name="connsiteX6511" fmla="*/ 4187925 w 5610835"/>
              <a:gd name="connsiteY6511" fmla="*/ 1073415 h 5278114"/>
              <a:gd name="connsiteX6512" fmla="*/ 4258713 w 5610835"/>
              <a:gd name="connsiteY6512" fmla="*/ 1022713 h 5278114"/>
              <a:gd name="connsiteX6513" fmla="*/ 4249168 w 5610835"/>
              <a:gd name="connsiteY6513" fmla="*/ 1016350 h 5278114"/>
              <a:gd name="connsiteX6514" fmla="*/ 3261322 w 5610835"/>
              <a:gd name="connsiteY6514" fmla="*/ 1013169 h 5278114"/>
              <a:gd name="connsiteX6515" fmla="*/ 3261509 w 5610835"/>
              <a:gd name="connsiteY6515" fmla="*/ 1013169 h 5278114"/>
              <a:gd name="connsiteX6516" fmla="*/ 3261277 w 5610835"/>
              <a:gd name="connsiteY6516" fmla="*/ 1013603 h 5278114"/>
              <a:gd name="connsiteX6517" fmla="*/ 4315979 w 5610835"/>
              <a:gd name="connsiteY6517" fmla="*/ 1009988 h 5278114"/>
              <a:gd name="connsiteX6518" fmla="*/ 4288937 w 5610835"/>
              <a:gd name="connsiteY6518" fmla="*/ 1041801 h 5278114"/>
              <a:gd name="connsiteX6519" fmla="*/ 4292119 w 5610835"/>
              <a:gd name="connsiteY6519" fmla="*/ 1040210 h 5278114"/>
              <a:gd name="connsiteX6520" fmla="*/ 4298481 w 5610835"/>
              <a:gd name="connsiteY6520" fmla="*/ 1044982 h 5278114"/>
              <a:gd name="connsiteX6521" fmla="*/ 4333477 w 5610835"/>
              <a:gd name="connsiteY6521" fmla="*/ 1016350 h 5278114"/>
              <a:gd name="connsiteX6522" fmla="*/ 4315979 w 5610835"/>
              <a:gd name="connsiteY6522" fmla="*/ 1009988 h 5278114"/>
              <a:gd name="connsiteX6523" fmla="*/ 4379609 w 5610835"/>
              <a:gd name="connsiteY6523" fmla="*/ 1006805 h 5278114"/>
              <a:gd name="connsiteX6524" fmla="*/ 4370064 w 5610835"/>
              <a:gd name="connsiteY6524" fmla="*/ 1009988 h 5278114"/>
              <a:gd name="connsiteX6525" fmla="*/ 4373246 w 5610835"/>
              <a:gd name="connsiteY6525" fmla="*/ 1011578 h 5278114"/>
              <a:gd name="connsiteX6526" fmla="*/ 4379609 w 5610835"/>
              <a:gd name="connsiteY6526" fmla="*/ 1006805 h 5278114"/>
              <a:gd name="connsiteX6527" fmla="*/ 2408689 w 5610835"/>
              <a:gd name="connsiteY6527" fmla="*/ 998853 h 5278114"/>
              <a:gd name="connsiteX6528" fmla="*/ 2348241 w 5610835"/>
              <a:gd name="connsiteY6528" fmla="*/ 1110200 h 5278114"/>
              <a:gd name="connsiteX6529" fmla="*/ 2353013 w 5610835"/>
              <a:gd name="connsiteY6529" fmla="*/ 1121335 h 5278114"/>
              <a:gd name="connsiteX6530" fmla="*/ 2380056 w 5610835"/>
              <a:gd name="connsiteY6530" fmla="*/ 1067251 h 5278114"/>
              <a:gd name="connsiteX6531" fmla="*/ 2413461 w 5610835"/>
              <a:gd name="connsiteY6531" fmla="*/ 1014759 h 5278114"/>
              <a:gd name="connsiteX6532" fmla="*/ 2408689 w 5610835"/>
              <a:gd name="connsiteY6532" fmla="*/ 998853 h 5278114"/>
              <a:gd name="connsiteX6533" fmla="*/ 4099639 w 5610835"/>
              <a:gd name="connsiteY6533" fmla="*/ 990899 h 5278114"/>
              <a:gd name="connsiteX6534" fmla="*/ 4096458 w 5610835"/>
              <a:gd name="connsiteY6534" fmla="*/ 998853 h 5278114"/>
              <a:gd name="connsiteX6535" fmla="*/ 4102821 w 5610835"/>
              <a:gd name="connsiteY6535" fmla="*/ 992490 h 5278114"/>
              <a:gd name="connsiteX6536" fmla="*/ 2181213 w 5610835"/>
              <a:gd name="connsiteY6536" fmla="*/ 990845 h 5278114"/>
              <a:gd name="connsiteX6537" fmla="*/ 2181213 w 5610835"/>
              <a:gd name="connsiteY6537" fmla="*/ 992436 h 5278114"/>
              <a:gd name="connsiteX6538" fmla="*/ 2179623 w 5610835"/>
              <a:gd name="connsiteY6538" fmla="*/ 992436 h 5278114"/>
              <a:gd name="connsiteX6539" fmla="*/ 2176442 w 5610835"/>
              <a:gd name="connsiteY6539" fmla="*/ 990050 h 5278114"/>
              <a:gd name="connsiteX6540" fmla="*/ 2178032 w 5610835"/>
              <a:gd name="connsiteY6540" fmla="*/ 990845 h 5278114"/>
              <a:gd name="connsiteX6541" fmla="*/ 2178032 w 5610835"/>
              <a:gd name="connsiteY6541" fmla="*/ 992436 h 5278114"/>
              <a:gd name="connsiteX6542" fmla="*/ 2179623 w 5610835"/>
              <a:gd name="connsiteY6542" fmla="*/ 992436 h 5278114"/>
              <a:gd name="connsiteX6543" fmla="*/ 2179623 w 5610835"/>
              <a:gd name="connsiteY6543" fmla="*/ 994026 h 5278114"/>
              <a:gd name="connsiteX6544" fmla="*/ 2182010 w 5610835"/>
              <a:gd name="connsiteY6544" fmla="*/ 993231 h 5278114"/>
              <a:gd name="connsiteX6545" fmla="*/ 2179623 w 5610835"/>
              <a:gd name="connsiteY6545" fmla="*/ 995617 h 5278114"/>
              <a:gd name="connsiteX6546" fmla="*/ 2176442 w 5610835"/>
              <a:gd name="connsiteY6546" fmla="*/ 995617 h 5278114"/>
              <a:gd name="connsiteX6547" fmla="*/ 2174851 w 5610835"/>
              <a:gd name="connsiteY6547" fmla="*/ 995617 h 5278114"/>
              <a:gd name="connsiteX6548" fmla="*/ 2174851 w 5610835"/>
              <a:gd name="connsiteY6548" fmla="*/ 995473 h 5278114"/>
              <a:gd name="connsiteX6549" fmla="*/ 2178032 w 5610835"/>
              <a:gd name="connsiteY6549" fmla="*/ 994026 h 5278114"/>
              <a:gd name="connsiteX6550" fmla="*/ 2176442 w 5610835"/>
              <a:gd name="connsiteY6550" fmla="*/ 992436 h 5278114"/>
              <a:gd name="connsiteX6551" fmla="*/ 1802618 w 5610835"/>
              <a:gd name="connsiteY6551" fmla="*/ 989256 h 5278114"/>
              <a:gd name="connsiteX6552" fmla="*/ 1807391 w 5610835"/>
              <a:gd name="connsiteY6552" fmla="*/ 994028 h 5278114"/>
              <a:gd name="connsiteX6553" fmla="*/ 1799437 w 5610835"/>
              <a:gd name="connsiteY6553" fmla="*/ 994028 h 5278114"/>
              <a:gd name="connsiteX6554" fmla="*/ 2218066 w 5610835"/>
              <a:gd name="connsiteY6554" fmla="*/ 988901 h 5278114"/>
              <a:gd name="connsiteX6555" fmla="*/ 2218595 w 5610835"/>
              <a:gd name="connsiteY6555" fmla="*/ 989254 h 5278114"/>
              <a:gd name="connsiteX6556" fmla="*/ 2220983 w 5610835"/>
              <a:gd name="connsiteY6556" fmla="*/ 990845 h 5278114"/>
              <a:gd name="connsiteX6557" fmla="*/ 2216209 w 5610835"/>
              <a:gd name="connsiteY6557" fmla="*/ 990845 h 5278114"/>
              <a:gd name="connsiteX6558" fmla="*/ 2216209 w 5610835"/>
              <a:gd name="connsiteY6558" fmla="*/ 989032 h 5278114"/>
              <a:gd name="connsiteX6559" fmla="*/ 2259159 w 5610835"/>
              <a:gd name="connsiteY6559" fmla="*/ 984482 h 5278114"/>
              <a:gd name="connsiteX6560" fmla="*/ 2257570 w 5610835"/>
              <a:gd name="connsiteY6560" fmla="*/ 986072 h 5278114"/>
              <a:gd name="connsiteX6561" fmla="*/ 2259159 w 5610835"/>
              <a:gd name="connsiteY6561" fmla="*/ 987663 h 5278114"/>
              <a:gd name="connsiteX6562" fmla="*/ 2260750 w 5610835"/>
              <a:gd name="connsiteY6562" fmla="*/ 986072 h 5278114"/>
              <a:gd name="connsiteX6563" fmla="*/ 2263932 w 5610835"/>
              <a:gd name="connsiteY6563" fmla="*/ 984482 h 5278114"/>
              <a:gd name="connsiteX6564" fmla="*/ 2260750 w 5610835"/>
              <a:gd name="connsiteY6564" fmla="*/ 984482 h 5278114"/>
              <a:gd name="connsiteX6565" fmla="*/ 2201893 w 5610835"/>
              <a:gd name="connsiteY6565" fmla="*/ 984482 h 5278114"/>
              <a:gd name="connsiteX6566" fmla="*/ 2203484 w 5610835"/>
              <a:gd name="connsiteY6566" fmla="*/ 986072 h 5278114"/>
              <a:gd name="connsiteX6567" fmla="*/ 2203484 w 5610835"/>
              <a:gd name="connsiteY6567" fmla="*/ 984482 h 5278114"/>
              <a:gd name="connsiteX6568" fmla="*/ 2211437 w 5610835"/>
              <a:gd name="connsiteY6568" fmla="*/ 982891 h 5278114"/>
              <a:gd name="connsiteX6569" fmla="*/ 2213028 w 5610835"/>
              <a:gd name="connsiteY6569" fmla="*/ 986072 h 5278114"/>
              <a:gd name="connsiteX6570" fmla="*/ 2211437 w 5610835"/>
              <a:gd name="connsiteY6570" fmla="*/ 987663 h 5278114"/>
              <a:gd name="connsiteX6571" fmla="*/ 2213028 w 5610835"/>
              <a:gd name="connsiteY6571" fmla="*/ 989254 h 5278114"/>
              <a:gd name="connsiteX6572" fmla="*/ 2210004 w 5610835"/>
              <a:gd name="connsiteY6572" fmla="*/ 987467 h 5278114"/>
              <a:gd name="connsiteX6573" fmla="*/ 2210642 w 5610835"/>
              <a:gd name="connsiteY6573" fmla="*/ 986669 h 5278114"/>
              <a:gd name="connsiteX6574" fmla="*/ 2211437 w 5610835"/>
              <a:gd name="connsiteY6574" fmla="*/ 984482 h 5278114"/>
              <a:gd name="connsiteX6575" fmla="*/ 2248024 w 5610835"/>
              <a:gd name="connsiteY6575" fmla="*/ 981300 h 5278114"/>
              <a:gd name="connsiteX6576" fmla="*/ 2248529 w 5610835"/>
              <a:gd name="connsiteY6576" fmla="*/ 982983 h 5278114"/>
              <a:gd name="connsiteX6577" fmla="*/ 2248024 w 5610835"/>
              <a:gd name="connsiteY6577" fmla="*/ 982891 h 5278114"/>
              <a:gd name="connsiteX6578" fmla="*/ 2248621 w 5610835"/>
              <a:gd name="connsiteY6578" fmla="*/ 983289 h 5278114"/>
              <a:gd name="connsiteX6579" fmla="*/ 2248529 w 5610835"/>
              <a:gd name="connsiteY6579" fmla="*/ 982983 h 5278114"/>
              <a:gd name="connsiteX6580" fmla="*/ 2250211 w 5610835"/>
              <a:gd name="connsiteY6580" fmla="*/ 983290 h 5278114"/>
              <a:gd name="connsiteX6581" fmla="*/ 2251205 w 5610835"/>
              <a:gd name="connsiteY6581" fmla="*/ 981300 h 5278114"/>
              <a:gd name="connsiteX6582" fmla="*/ 2233708 w 5610835"/>
              <a:gd name="connsiteY6582" fmla="*/ 981300 h 5278114"/>
              <a:gd name="connsiteX6583" fmla="*/ 2230526 w 5610835"/>
              <a:gd name="connsiteY6583" fmla="*/ 982891 h 5278114"/>
              <a:gd name="connsiteX6584" fmla="*/ 2233708 w 5610835"/>
              <a:gd name="connsiteY6584" fmla="*/ 984482 h 5278114"/>
              <a:gd name="connsiteX6585" fmla="*/ 2236889 w 5610835"/>
              <a:gd name="connsiteY6585" fmla="*/ 984482 h 5278114"/>
              <a:gd name="connsiteX6586" fmla="*/ 2233708 w 5610835"/>
              <a:gd name="connsiteY6586" fmla="*/ 981300 h 5278114"/>
              <a:gd name="connsiteX6587" fmla="*/ 2270294 w 5610835"/>
              <a:gd name="connsiteY6587" fmla="*/ 979709 h 5278114"/>
              <a:gd name="connsiteX6588" fmla="*/ 2267113 w 5610835"/>
              <a:gd name="connsiteY6588" fmla="*/ 981300 h 5278114"/>
              <a:gd name="connsiteX6589" fmla="*/ 2270294 w 5610835"/>
              <a:gd name="connsiteY6589" fmla="*/ 982891 h 5278114"/>
              <a:gd name="connsiteX6590" fmla="*/ 2170079 w 5610835"/>
              <a:gd name="connsiteY6590" fmla="*/ 979709 h 5278114"/>
              <a:gd name="connsiteX6591" fmla="*/ 2170079 w 5610835"/>
              <a:gd name="connsiteY6591" fmla="*/ 982891 h 5278114"/>
              <a:gd name="connsiteX6592" fmla="*/ 2173260 w 5610835"/>
              <a:gd name="connsiteY6592" fmla="*/ 979709 h 5278114"/>
              <a:gd name="connsiteX6593" fmla="*/ 2194933 w 5610835"/>
              <a:gd name="connsiteY6593" fmla="*/ 977523 h 5278114"/>
              <a:gd name="connsiteX6594" fmla="*/ 2193939 w 5610835"/>
              <a:gd name="connsiteY6594" fmla="*/ 978118 h 5278114"/>
              <a:gd name="connsiteX6595" fmla="*/ 2195531 w 5610835"/>
              <a:gd name="connsiteY6595" fmla="*/ 979709 h 5278114"/>
              <a:gd name="connsiteX6596" fmla="*/ 2198711 w 5610835"/>
              <a:gd name="connsiteY6596" fmla="*/ 979709 h 5278114"/>
              <a:gd name="connsiteX6597" fmla="*/ 2197121 w 5610835"/>
              <a:gd name="connsiteY6597" fmla="*/ 978118 h 5278114"/>
              <a:gd name="connsiteX6598" fmla="*/ 2194933 w 5610835"/>
              <a:gd name="connsiteY6598" fmla="*/ 977523 h 5278114"/>
              <a:gd name="connsiteX6599" fmla="*/ 2205075 w 5610835"/>
              <a:gd name="connsiteY6599" fmla="*/ 976528 h 5278114"/>
              <a:gd name="connsiteX6600" fmla="*/ 2206665 w 5610835"/>
              <a:gd name="connsiteY6600" fmla="*/ 979709 h 5278114"/>
              <a:gd name="connsiteX6601" fmla="*/ 2208256 w 5610835"/>
              <a:gd name="connsiteY6601" fmla="*/ 976528 h 5278114"/>
              <a:gd name="connsiteX6602" fmla="*/ 2254387 w 5610835"/>
              <a:gd name="connsiteY6602" fmla="*/ 973346 h 5278114"/>
              <a:gd name="connsiteX6603" fmla="*/ 2255978 w 5610835"/>
              <a:gd name="connsiteY6603" fmla="*/ 976528 h 5278114"/>
              <a:gd name="connsiteX6604" fmla="*/ 2262342 w 5610835"/>
              <a:gd name="connsiteY6604" fmla="*/ 974937 h 5278114"/>
              <a:gd name="connsiteX6605" fmla="*/ 2255978 w 5610835"/>
              <a:gd name="connsiteY6605" fmla="*/ 973346 h 5278114"/>
              <a:gd name="connsiteX6606" fmla="*/ 2179623 w 5610835"/>
              <a:gd name="connsiteY6606" fmla="*/ 973346 h 5278114"/>
              <a:gd name="connsiteX6607" fmla="*/ 2184394 w 5610835"/>
              <a:gd name="connsiteY6607" fmla="*/ 974937 h 5278114"/>
              <a:gd name="connsiteX6608" fmla="*/ 2179623 w 5610835"/>
              <a:gd name="connsiteY6608" fmla="*/ 973346 h 5278114"/>
              <a:gd name="connsiteX6609" fmla="*/ 2195531 w 5610835"/>
              <a:gd name="connsiteY6609" fmla="*/ 970165 h 5278114"/>
              <a:gd name="connsiteX6610" fmla="*/ 2193939 w 5610835"/>
              <a:gd name="connsiteY6610" fmla="*/ 973346 h 5278114"/>
              <a:gd name="connsiteX6611" fmla="*/ 2197121 w 5610835"/>
              <a:gd name="connsiteY6611" fmla="*/ 973346 h 5278114"/>
              <a:gd name="connsiteX6612" fmla="*/ 2289384 w 5610835"/>
              <a:gd name="connsiteY6612" fmla="*/ 966984 h 5278114"/>
              <a:gd name="connsiteX6613" fmla="*/ 2287792 w 5610835"/>
              <a:gd name="connsiteY6613" fmla="*/ 968575 h 5278114"/>
              <a:gd name="connsiteX6614" fmla="*/ 2286202 w 5610835"/>
              <a:gd name="connsiteY6614" fmla="*/ 968575 h 5278114"/>
              <a:gd name="connsiteX6615" fmla="*/ 2284611 w 5610835"/>
              <a:gd name="connsiteY6615" fmla="*/ 968575 h 5278114"/>
              <a:gd name="connsiteX6616" fmla="*/ 2283020 w 5610835"/>
              <a:gd name="connsiteY6616" fmla="*/ 970165 h 5278114"/>
              <a:gd name="connsiteX6617" fmla="*/ 2286202 w 5610835"/>
              <a:gd name="connsiteY6617" fmla="*/ 970165 h 5278114"/>
              <a:gd name="connsiteX6618" fmla="*/ 2287792 w 5610835"/>
              <a:gd name="connsiteY6618" fmla="*/ 968575 h 5278114"/>
              <a:gd name="connsiteX6619" fmla="*/ 2287794 w 5610835"/>
              <a:gd name="connsiteY6619" fmla="*/ 968575 h 5278114"/>
              <a:gd name="connsiteX6620" fmla="*/ 1785123 w 5610835"/>
              <a:gd name="connsiteY6620" fmla="*/ 966981 h 5278114"/>
              <a:gd name="connsiteX6621" fmla="*/ 1780350 w 5610835"/>
              <a:gd name="connsiteY6621" fmla="*/ 976527 h 5278114"/>
              <a:gd name="connsiteX6622" fmla="*/ 1785123 w 5610835"/>
              <a:gd name="connsiteY6622" fmla="*/ 966981 h 5278114"/>
              <a:gd name="connsiteX6623" fmla="*/ 4128273 w 5610835"/>
              <a:gd name="connsiteY6623" fmla="*/ 965448 h 5278114"/>
              <a:gd name="connsiteX6624" fmla="*/ 4121909 w 5610835"/>
              <a:gd name="connsiteY6624" fmla="*/ 971811 h 5278114"/>
              <a:gd name="connsiteX6625" fmla="*/ 4128273 w 5610835"/>
              <a:gd name="connsiteY6625" fmla="*/ 965448 h 5278114"/>
              <a:gd name="connsiteX6626" fmla="*/ 1568782 w 5610835"/>
              <a:gd name="connsiteY6626" fmla="*/ 965399 h 5278114"/>
              <a:gd name="connsiteX6627" fmla="*/ 1568782 w 5610835"/>
              <a:gd name="connsiteY6627" fmla="*/ 971763 h 5278114"/>
              <a:gd name="connsiteX6628" fmla="*/ 1564010 w 5610835"/>
              <a:gd name="connsiteY6628" fmla="*/ 968581 h 5278114"/>
              <a:gd name="connsiteX6629" fmla="*/ 2310063 w 5610835"/>
              <a:gd name="connsiteY6629" fmla="*/ 965393 h 5278114"/>
              <a:gd name="connsiteX6630" fmla="*/ 2310063 w 5610835"/>
              <a:gd name="connsiteY6630" fmla="*/ 968575 h 5278114"/>
              <a:gd name="connsiteX6631" fmla="*/ 2313244 w 5610835"/>
              <a:gd name="connsiteY6631" fmla="*/ 966984 h 5278114"/>
              <a:gd name="connsiteX6632" fmla="*/ 2209847 w 5610835"/>
              <a:gd name="connsiteY6632" fmla="*/ 963803 h 5278114"/>
              <a:gd name="connsiteX6633" fmla="*/ 2206665 w 5610835"/>
              <a:gd name="connsiteY6633" fmla="*/ 965393 h 5278114"/>
              <a:gd name="connsiteX6634" fmla="*/ 2209847 w 5610835"/>
              <a:gd name="connsiteY6634" fmla="*/ 968575 h 5278114"/>
              <a:gd name="connsiteX6635" fmla="*/ 2211437 w 5610835"/>
              <a:gd name="connsiteY6635" fmla="*/ 966984 h 5278114"/>
              <a:gd name="connsiteX6636" fmla="*/ 2211437 w 5610835"/>
              <a:gd name="connsiteY6636" fmla="*/ 965393 h 5278114"/>
              <a:gd name="connsiteX6637" fmla="*/ 2244285 w 5610835"/>
              <a:gd name="connsiteY6637" fmla="*/ 963246 h 5278114"/>
              <a:gd name="connsiteX6638" fmla="*/ 2244842 w 5610835"/>
              <a:gd name="connsiteY6638" fmla="*/ 963803 h 5278114"/>
              <a:gd name="connsiteX6639" fmla="*/ 2243252 w 5610835"/>
              <a:gd name="connsiteY6639" fmla="*/ 963803 h 5278114"/>
              <a:gd name="connsiteX6640" fmla="*/ 2278248 w 5610835"/>
              <a:gd name="connsiteY6640" fmla="*/ 962212 h 5278114"/>
              <a:gd name="connsiteX6641" fmla="*/ 2278248 w 5610835"/>
              <a:gd name="connsiteY6641" fmla="*/ 963803 h 5278114"/>
              <a:gd name="connsiteX6642" fmla="*/ 2278248 w 5610835"/>
              <a:gd name="connsiteY6642" fmla="*/ 965393 h 5278114"/>
              <a:gd name="connsiteX6643" fmla="*/ 2283020 w 5610835"/>
              <a:gd name="connsiteY6643" fmla="*/ 968575 h 5278114"/>
              <a:gd name="connsiteX6644" fmla="*/ 2284611 w 5610835"/>
              <a:gd name="connsiteY6644" fmla="*/ 966984 h 5278114"/>
              <a:gd name="connsiteX6645" fmla="*/ 2283020 w 5610835"/>
              <a:gd name="connsiteY6645" fmla="*/ 963803 h 5278114"/>
              <a:gd name="connsiteX6646" fmla="*/ 2284611 w 5610835"/>
              <a:gd name="connsiteY6646" fmla="*/ 963803 h 5278114"/>
              <a:gd name="connsiteX6647" fmla="*/ 2283020 w 5610835"/>
              <a:gd name="connsiteY6647" fmla="*/ 962212 h 5278114"/>
              <a:gd name="connsiteX6648" fmla="*/ 2279839 w 5610835"/>
              <a:gd name="connsiteY6648" fmla="*/ 962212 h 5278114"/>
              <a:gd name="connsiteX6649" fmla="*/ 2216209 w 5610835"/>
              <a:gd name="connsiteY6649" fmla="*/ 960621 h 5278114"/>
              <a:gd name="connsiteX6650" fmla="*/ 2217800 w 5610835"/>
              <a:gd name="connsiteY6650" fmla="*/ 963803 h 5278114"/>
              <a:gd name="connsiteX6651" fmla="*/ 2217800 w 5610835"/>
              <a:gd name="connsiteY6651" fmla="*/ 966984 h 5278114"/>
              <a:gd name="connsiteX6652" fmla="*/ 2220983 w 5610835"/>
              <a:gd name="connsiteY6652" fmla="*/ 965393 h 5278114"/>
              <a:gd name="connsiteX6653" fmla="*/ 2219391 w 5610835"/>
              <a:gd name="connsiteY6653" fmla="*/ 962212 h 5278114"/>
              <a:gd name="connsiteX6654" fmla="*/ 2270294 w 5610835"/>
              <a:gd name="connsiteY6654" fmla="*/ 957439 h 5278114"/>
              <a:gd name="connsiteX6655" fmla="*/ 2268704 w 5610835"/>
              <a:gd name="connsiteY6655" fmla="*/ 959030 h 5278114"/>
              <a:gd name="connsiteX6656" fmla="*/ 2265523 w 5610835"/>
              <a:gd name="connsiteY6656" fmla="*/ 959030 h 5278114"/>
              <a:gd name="connsiteX6657" fmla="*/ 2263932 w 5610835"/>
              <a:gd name="connsiteY6657" fmla="*/ 960621 h 5278114"/>
              <a:gd name="connsiteX6658" fmla="*/ 2263932 w 5610835"/>
              <a:gd name="connsiteY6658" fmla="*/ 962212 h 5278114"/>
              <a:gd name="connsiteX6659" fmla="*/ 2265523 w 5610835"/>
              <a:gd name="connsiteY6659" fmla="*/ 962212 h 5278114"/>
              <a:gd name="connsiteX6660" fmla="*/ 2265523 w 5610835"/>
              <a:gd name="connsiteY6660" fmla="*/ 960621 h 5278114"/>
              <a:gd name="connsiteX6661" fmla="*/ 2267113 w 5610835"/>
              <a:gd name="connsiteY6661" fmla="*/ 963803 h 5278114"/>
              <a:gd name="connsiteX6662" fmla="*/ 2268704 w 5610835"/>
              <a:gd name="connsiteY6662" fmla="*/ 965393 h 5278114"/>
              <a:gd name="connsiteX6663" fmla="*/ 2268704 w 5610835"/>
              <a:gd name="connsiteY6663" fmla="*/ 966984 h 5278114"/>
              <a:gd name="connsiteX6664" fmla="*/ 2270294 w 5610835"/>
              <a:gd name="connsiteY6664" fmla="*/ 965393 h 5278114"/>
              <a:gd name="connsiteX6665" fmla="*/ 2268704 w 5610835"/>
              <a:gd name="connsiteY6665" fmla="*/ 962212 h 5278114"/>
              <a:gd name="connsiteX6666" fmla="*/ 2271885 w 5610835"/>
              <a:gd name="connsiteY6666" fmla="*/ 962212 h 5278114"/>
              <a:gd name="connsiteX6667" fmla="*/ 2273476 w 5610835"/>
              <a:gd name="connsiteY6667" fmla="*/ 959030 h 5278114"/>
              <a:gd name="connsiteX6668" fmla="*/ 2273476 w 5610835"/>
              <a:gd name="connsiteY6668" fmla="*/ 957439 h 5278114"/>
              <a:gd name="connsiteX6669" fmla="*/ 2230526 w 5610835"/>
              <a:gd name="connsiteY6669" fmla="*/ 957439 h 5278114"/>
              <a:gd name="connsiteX6670" fmla="*/ 2233708 w 5610835"/>
              <a:gd name="connsiteY6670" fmla="*/ 959030 h 5278114"/>
              <a:gd name="connsiteX6671" fmla="*/ 2232118 w 5610835"/>
              <a:gd name="connsiteY6671" fmla="*/ 960621 h 5278114"/>
              <a:gd name="connsiteX6672" fmla="*/ 2230526 w 5610835"/>
              <a:gd name="connsiteY6672" fmla="*/ 957439 h 5278114"/>
              <a:gd name="connsiteX6673" fmla="*/ 2203484 w 5610835"/>
              <a:gd name="connsiteY6673" fmla="*/ 957439 h 5278114"/>
              <a:gd name="connsiteX6674" fmla="*/ 2203484 w 5610835"/>
              <a:gd name="connsiteY6674" fmla="*/ 959030 h 5278114"/>
              <a:gd name="connsiteX6675" fmla="*/ 2206665 w 5610835"/>
              <a:gd name="connsiteY6675" fmla="*/ 959030 h 5278114"/>
              <a:gd name="connsiteX6676" fmla="*/ 2206665 w 5610835"/>
              <a:gd name="connsiteY6676" fmla="*/ 957439 h 5278114"/>
              <a:gd name="connsiteX6677" fmla="*/ 2209847 w 5610835"/>
              <a:gd name="connsiteY6677" fmla="*/ 955849 h 5278114"/>
              <a:gd name="connsiteX6678" fmla="*/ 2211437 w 5610835"/>
              <a:gd name="connsiteY6678" fmla="*/ 957439 h 5278114"/>
              <a:gd name="connsiteX6679" fmla="*/ 2211437 w 5610835"/>
              <a:gd name="connsiteY6679" fmla="*/ 955849 h 5278114"/>
              <a:gd name="connsiteX6680" fmla="*/ 2236889 w 5610835"/>
              <a:gd name="connsiteY6680" fmla="*/ 954258 h 5278114"/>
              <a:gd name="connsiteX6681" fmla="*/ 2238480 w 5610835"/>
              <a:gd name="connsiteY6681" fmla="*/ 955849 h 5278114"/>
              <a:gd name="connsiteX6682" fmla="*/ 2240070 w 5610835"/>
              <a:gd name="connsiteY6682" fmla="*/ 954258 h 5278114"/>
              <a:gd name="connsiteX6683" fmla="*/ 4420968 w 5610835"/>
              <a:gd name="connsiteY6683" fmla="*/ 952723 h 5278114"/>
              <a:gd name="connsiteX6684" fmla="*/ 4331886 w 5610835"/>
              <a:gd name="connsiteY6684" fmla="*/ 995671 h 5278114"/>
              <a:gd name="connsiteX6685" fmla="*/ 4352566 w 5610835"/>
              <a:gd name="connsiteY6685" fmla="*/ 1002034 h 5278114"/>
              <a:gd name="connsiteX6686" fmla="*/ 4420968 w 5610835"/>
              <a:gd name="connsiteY6686" fmla="*/ 952723 h 5278114"/>
              <a:gd name="connsiteX6687" fmla="*/ 2260219 w 5610835"/>
              <a:gd name="connsiteY6687" fmla="*/ 952137 h 5278114"/>
              <a:gd name="connsiteX6688" fmla="*/ 2260750 w 5610835"/>
              <a:gd name="connsiteY6688" fmla="*/ 952667 h 5278114"/>
              <a:gd name="connsiteX6689" fmla="*/ 2260750 w 5610835"/>
              <a:gd name="connsiteY6689" fmla="*/ 954258 h 5278114"/>
              <a:gd name="connsiteX6690" fmla="*/ 2262342 w 5610835"/>
              <a:gd name="connsiteY6690" fmla="*/ 955849 h 5278114"/>
              <a:gd name="connsiteX6691" fmla="*/ 2259159 w 5610835"/>
              <a:gd name="connsiteY6691" fmla="*/ 955849 h 5278114"/>
              <a:gd name="connsiteX6692" fmla="*/ 2259159 w 5610835"/>
              <a:gd name="connsiteY6692" fmla="*/ 952667 h 5278114"/>
              <a:gd name="connsiteX6693" fmla="*/ 2257570 w 5610835"/>
              <a:gd name="connsiteY6693" fmla="*/ 949485 h 5278114"/>
              <a:gd name="connsiteX6694" fmla="*/ 2259159 w 5610835"/>
              <a:gd name="connsiteY6694" fmla="*/ 951076 h 5278114"/>
              <a:gd name="connsiteX6695" fmla="*/ 2259159 w 5610835"/>
              <a:gd name="connsiteY6695" fmla="*/ 952667 h 5278114"/>
              <a:gd name="connsiteX6696" fmla="*/ 2255978 w 5610835"/>
              <a:gd name="connsiteY6696" fmla="*/ 951077 h 5278114"/>
              <a:gd name="connsiteX6697" fmla="*/ 2227345 w 5610835"/>
              <a:gd name="connsiteY6697" fmla="*/ 947896 h 5278114"/>
              <a:gd name="connsiteX6698" fmla="*/ 2225754 w 5610835"/>
              <a:gd name="connsiteY6698" fmla="*/ 949485 h 5278114"/>
              <a:gd name="connsiteX6699" fmla="*/ 2227345 w 5610835"/>
              <a:gd name="connsiteY6699" fmla="*/ 951077 h 5278114"/>
              <a:gd name="connsiteX6700" fmla="*/ 2230526 w 5610835"/>
              <a:gd name="connsiteY6700" fmla="*/ 951077 h 5278114"/>
              <a:gd name="connsiteX6701" fmla="*/ 2233708 w 5610835"/>
              <a:gd name="connsiteY6701" fmla="*/ 949485 h 5278114"/>
              <a:gd name="connsiteX6702" fmla="*/ 2232118 w 5610835"/>
              <a:gd name="connsiteY6702" fmla="*/ 947896 h 5278114"/>
              <a:gd name="connsiteX6703" fmla="*/ 2228936 w 5610835"/>
              <a:gd name="connsiteY6703" fmla="*/ 949485 h 5278114"/>
              <a:gd name="connsiteX6704" fmla="*/ 2298928 w 5610835"/>
              <a:gd name="connsiteY6704" fmla="*/ 946304 h 5278114"/>
              <a:gd name="connsiteX6705" fmla="*/ 2297337 w 5610835"/>
              <a:gd name="connsiteY6705" fmla="*/ 949485 h 5278114"/>
              <a:gd name="connsiteX6706" fmla="*/ 2298928 w 5610835"/>
              <a:gd name="connsiteY6706" fmla="*/ 951077 h 5278114"/>
              <a:gd name="connsiteX6707" fmla="*/ 2297337 w 5610835"/>
              <a:gd name="connsiteY6707" fmla="*/ 952667 h 5278114"/>
              <a:gd name="connsiteX6708" fmla="*/ 2298928 w 5610835"/>
              <a:gd name="connsiteY6708" fmla="*/ 954258 h 5278114"/>
              <a:gd name="connsiteX6709" fmla="*/ 2300518 w 5610835"/>
              <a:gd name="connsiteY6709" fmla="*/ 955849 h 5278114"/>
              <a:gd name="connsiteX6710" fmla="*/ 2300518 w 5610835"/>
              <a:gd name="connsiteY6710" fmla="*/ 951077 h 5278114"/>
              <a:gd name="connsiteX6711" fmla="*/ 2302109 w 5610835"/>
              <a:gd name="connsiteY6711" fmla="*/ 949485 h 5278114"/>
              <a:gd name="connsiteX6712" fmla="*/ 2302109 w 5610835"/>
              <a:gd name="connsiteY6712" fmla="*/ 946304 h 5278114"/>
              <a:gd name="connsiteX6713" fmla="*/ 2321198 w 5610835"/>
              <a:gd name="connsiteY6713" fmla="*/ 943123 h 5278114"/>
              <a:gd name="connsiteX6714" fmla="*/ 2318016 w 5610835"/>
              <a:gd name="connsiteY6714" fmla="*/ 944713 h 5278114"/>
              <a:gd name="connsiteX6715" fmla="*/ 2321198 w 5610835"/>
              <a:gd name="connsiteY6715" fmla="*/ 946304 h 5278114"/>
              <a:gd name="connsiteX6716" fmla="*/ 2255136 w 5610835"/>
              <a:gd name="connsiteY6716" fmla="*/ 941532 h 5278114"/>
              <a:gd name="connsiteX6717" fmla="*/ 2255978 w 5610835"/>
              <a:gd name="connsiteY6717" fmla="*/ 941532 h 5278114"/>
              <a:gd name="connsiteX6718" fmla="*/ 2255182 w 5610835"/>
              <a:gd name="connsiteY6718" fmla="*/ 941731 h 5278114"/>
              <a:gd name="connsiteX6719" fmla="*/ 2312847 w 5610835"/>
              <a:gd name="connsiteY6719" fmla="*/ 941135 h 5278114"/>
              <a:gd name="connsiteX6720" fmla="*/ 2313244 w 5610835"/>
              <a:gd name="connsiteY6720" fmla="*/ 943123 h 5278114"/>
              <a:gd name="connsiteX6721" fmla="*/ 2313244 w 5610835"/>
              <a:gd name="connsiteY6721" fmla="*/ 946304 h 5278114"/>
              <a:gd name="connsiteX6722" fmla="*/ 2316426 w 5610835"/>
              <a:gd name="connsiteY6722" fmla="*/ 943123 h 5278114"/>
              <a:gd name="connsiteX6723" fmla="*/ 2314835 w 5610835"/>
              <a:gd name="connsiteY6723" fmla="*/ 943123 h 5278114"/>
              <a:gd name="connsiteX6724" fmla="*/ 2314835 w 5610835"/>
              <a:gd name="connsiteY6724" fmla="*/ 941532 h 5278114"/>
              <a:gd name="connsiteX6725" fmla="*/ 2312847 w 5610835"/>
              <a:gd name="connsiteY6725" fmla="*/ 941135 h 5278114"/>
              <a:gd name="connsiteX6726" fmla="*/ 2220983 w 5610835"/>
              <a:gd name="connsiteY6726" fmla="*/ 939942 h 5278114"/>
              <a:gd name="connsiteX6727" fmla="*/ 2219391 w 5610835"/>
              <a:gd name="connsiteY6727" fmla="*/ 941532 h 5278114"/>
              <a:gd name="connsiteX6728" fmla="*/ 2220983 w 5610835"/>
              <a:gd name="connsiteY6728" fmla="*/ 943123 h 5278114"/>
              <a:gd name="connsiteX6729" fmla="*/ 2298013 w 5610835"/>
              <a:gd name="connsiteY6729" fmla="*/ 939028 h 5278114"/>
              <a:gd name="connsiteX6730" fmla="*/ 2296741 w 5610835"/>
              <a:gd name="connsiteY6730" fmla="*/ 939953 h 5278114"/>
              <a:gd name="connsiteX6731" fmla="*/ 2295747 w 5610835"/>
              <a:gd name="connsiteY6731" fmla="*/ 941544 h 5278114"/>
              <a:gd name="connsiteX6732" fmla="*/ 2292576 w 5610835"/>
              <a:gd name="connsiteY6732" fmla="*/ 941544 h 5278114"/>
              <a:gd name="connsiteX6733" fmla="*/ 2294156 w 5610835"/>
              <a:gd name="connsiteY6733" fmla="*/ 943123 h 5278114"/>
              <a:gd name="connsiteX6734" fmla="*/ 2294136 w 5610835"/>
              <a:gd name="connsiteY6734" fmla="*/ 943132 h 5278114"/>
              <a:gd name="connsiteX6735" fmla="*/ 2294156 w 5610835"/>
              <a:gd name="connsiteY6735" fmla="*/ 943135 h 5278114"/>
              <a:gd name="connsiteX6736" fmla="*/ 2294132 w 5610835"/>
              <a:gd name="connsiteY6736" fmla="*/ 943135 h 5278114"/>
              <a:gd name="connsiteX6737" fmla="*/ 2292566 w 5610835"/>
              <a:gd name="connsiteY6737" fmla="*/ 943918 h 5278114"/>
              <a:gd name="connsiteX6738" fmla="*/ 2292566 w 5610835"/>
              <a:gd name="connsiteY6738" fmla="*/ 944726 h 5278114"/>
              <a:gd name="connsiteX6739" fmla="*/ 2290989 w 5610835"/>
              <a:gd name="connsiteY6739" fmla="*/ 944726 h 5278114"/>
              <a:gd name="connsiteX6740" fmla="*/ 2292763 w 5610835"/>
              <a:gd name="connsiteY6740" fmla="*/ 946106 h 5278114"/>
              <a:gd name="connsiteX6741" fmla="*/ 2295747 w 5610835"/>
              <a:gd name="connsiteY6741" fmla="*/ 946304 h 5278114"/>
              <a:gd name="connsiteX6742" fmla="*/ 2298928 w 5610835"/>
              <a:gd name="connsiteY6742" fmla="*/ 943123 h 5278114"/>
              <a:gd name="connsiteX6743" fmla="*/ 2298928 w 5610835"/>
              <a:gd name="connsiteY6743" fmla="*/ 939942 h 5278114"/>
              <a:gd name="connsiteX6744" fmla="*/ 2254387 w 5610835"/>
              <a:gd name="connsiteY6744" fmla="*/ 938351 h 5278114"/>
              <a:gd name="connsiteX6745" fmla="*/ 2255978 w 5610835"/>
              <a:gd name="connsiteY6745" fmla="*/ 941532 h 5278114"/>
              <a:gd name="connsiteX6746" fmla="*/ 2254876 w 5610835"/>
              <a:gd name="connsiteY6746" fmla="*/ 940432 h 5278114"/>
              <a:gd name="connsiteX6747" fmla="*/ 3264901 w 5610835"/>
              <a:gd name="connsiteY6747" fmla="*/ 937811 h 5278114"/>
              <a:gd name="connsiteX6748" fmla="*/ 3282002 w 5610835"/>
              <a:gd name="connsiteY6748" fmla="*/ 947952 h 5278114"/>
              <a:gd name="connsiteX6749" fmla="*/ 3248595 w 5610835"/>
              <a:gd name="connsiteY6749" fmla="*/ 951132 h 5278114"/>
              <a:gd name="connsiteX6750" fmla="*/ 3250186 w 5610835"/>
              <a:gd name="connsiteY6750" fmla="*/ 938408 h 5278114"/>
              <a:gd name="connsiteX6751" fmla="*/ 3264901 w 5610835"/>
              <a:gd name="connsiteY6751" fmla="*/ 937811 h 5278114"/>
              <a:gd name="connsiteX6752" fmla="*/ 2230526 w 5610835"/>
              <a:gd name="connsiteY6752" fmla="*/ 936760 h 5278114"/>
              <a:gd name="connsiteX6753" fmla="*/ 2230526 w 5610835"/>
              <a:gd name="connsiteY6753" fmla="*/ 939942 h 5278114"/>
              <a:gd name="connsiteX6754" fmla="*/ 2233708 w 5610835"/>
              <a:gd name="connsiteY6754" fmla="*/ 938351 h 5278114"/>
              <a:gd name="connsiteX6755" fmla="*/ 2313244 w 5610835"/>
              <a:gd name="connsiteY6755" fmla="*/ 935170 h 5278114"/>
              <a:gd name="connsiteX6756" fmla="*/ 2308472 w 5610835"/>
              <a:gd name="connsiteY6756" fmla="*/ 936760 h 5278114"/>
              <a:gd name="connsiteX6757" fmla="*/ 2310063 w 5610835"/>
              <a:gd name="connsiteY6757" fmla="*/ 938351 h 5278114"/>
              <a:gd name="connsiteX6758" fmla="*/ 2311653 w 5610835"/>
              <a:gd name="connsiteY6758" fmla="*/ 939942 h 5278114"/>
              <a:gd name="connsiteX6759" fmla="*/ 2313244 w 5610835"/>
              <a:gd name="connsiteY6759" fmla="*/ 938351 h 5278114"/>
              <a:gd name="connsiteX6760" fmla="*/ 2316426 w 5610835"/>
              <a:gd name="connsiteY6760" fmla="*/ 938351 h 5278114"/>
              <a:gd name="connsiteX6761" fmla="*/ 2313244 w 5610835"/>
              <a:gd name="connsiteY6761" fmla="*/ 935170 h 5278114"/>
              <a:gd name="connsiteX6762" fmla="*/ 2289385 w 5610835"/>
              <a:gd name="connsiteY6762" fmla="*/ 933580 h 5278114"/>
              <a:gd name="connsiteX6763" fmla="*/ 2289385 w 5610835"/>
              <a:gd name="connsiteY6763" fmla="*/ 935171 h 5278114"/>
              <a:gd name="connsiteX6764" fmla="*/ 2287794 w 5610835"/>
              <a:gd name="connsiteY6764" fmla="*/ 935171 h 5278114"/>
              <a:gd name="connsiteX6765" fmla="*/ 2268704 w 5610835"/>
              <a:gd name="connsiteY6765" fmla="*/ 931989 h 5278114"/>
              <a:gd name="connsiteX6766" fmla="*/ 2263932 w 5610835"/>
              <a:gd name="connsiteY6766" fmla="*/ 935170 h 5278114"/>
              <a:gd name="connsiteX6767" fmla="*/ 2270294 w 5610835"/>
              <a:gd name="connsiteY6767" fmla="*/ 931989 h 5278114"/>
              <a:gd name="connsiteX6768" fmla="*/ 2248024 w 5610835"/>
              <a:gd name="connsiteY6768" fmla="*/ 930398 h 5278114"/>
              <a:gd name="connsiteX6769" fmla="*/ 2249615 w 5610835"/>
              <a:gd name="connsiteY6769" fmla="*/ 935170 h 5278114"/>
              <a:gd name="connsiteX6770" fmla="*/ 2252796 w 5610835"/>
              <a:gd name="connsiteY6770" fmla="*/ 933578 h 5278114"/>
              <a:gd name="connsiteX6771" fmla="*/ 2248024 w 5610835"/>
              <a:gd name="connsiteY6771" fmla="*/ 930398 h 5278114"/>
              <a:gd name="connsiteX6772" fmla="*/ 2290975 w 5610835"/>
              <a:gd name="connsiteY6772" fmla="*/ 928818 h 5278114"/>
              <a:gd name="connsiteX6773" fmla="*/ 2292566 w 5610835"/>
              <a:gd name="connsiteY6773" fmla="*/ 928818 h 5278114"/>
              <a:gd name="connsiteX6774" fmla="*/ 2294156 w 5610835"/>
              <a:gd name="connsiteY6774" fmla="*/ 931999 h 5278114"/>
              <a:gd name="connsiteX6775" fmla="*/ 2290975 w 5610835"/>
              <a:gd name="connsiteY6775" fmla="*/ 931999 h 5278114"/>
              <a:gd name="connsiteX6776" fmla="*/ 2289385 w 5610835"/>
              <a:gd name="connsiteY6776" fmla="*/ 930409 h 5278114"/>
              <a:gd name="connsiteX6777" fmla="*/ 2290975 w 5610835"/>
              <a:gd name="connsiteY6777" fmla="*/ 928818 h 5278114"/>
              <a:gd name="connsiteX6778" fmla="*/ 2278248 w 5610835"/>
              <a:gd name="connsiteY6778" fmla="*/ 927216 h 5278114"/>
              <a:gd name="connsiteX6779" fmla="*/ 2276657 w 5610835"/>
              <a:gd name="connsiteY6779" fmla="*/ 930398 h 5278114"/>
              <a:gd name="connsiteX6780" fmla="*/ 2279839 w 5610835"/>
              <a:gd name="connsiteY6780" fmla="*/ 930398 h 5278114"/>
              <a:gd name="connsiteX6781" fmla="*/ 2270294 w 5610835"/>
              <a:gd name="connsiteY6781" fmla="*/ 925625 h 5278114"/>
              <a:gd name="connsiteX6782" fmla="*/ 2262342 w 5610835"/>
              <a:gd name="connsiteY6782" fmla="*/ 927216 h 5278114"/>
              <a:gd name="connsiteX6783" fmla="*/ 2262342 w 5610835"/>
              <a:gd name="connsiteY6783" fmla="*/ 928807 h 5278114"/>
              <a:gd name="connsiteX6784" fmla="*/ 2260750 w 5610835"/>
              <a:gd name="connsiteY6784" fmla="*/ 930398 h 5278114"/>
              <a:gd name="connsiteX6785" fmla="*/ 2263932 w 5610835"/>
              <a:gd name="connsiteY6785" fmla="*/ 930398 h 5278114"/>
              <a:gd name="connsiteX6786" fmla="*/ 2265523 w 5610835"/>
              <a:gd name="connsiteY6786" fmla="*/ 930398 h 5278114"/>
              <a:gd name="connsiteX6787" fmla="*/ 2270294 w 5610835"/>
              <a:gd name="connsiteY6787" fmla="*/ 925625 h 5278114"/>
              <a:gd name="connsiteX6788" fmla="*/ 2260750 w 5610835"/>
              <a:gd name="connsiteY6788" fmla="*/ 922444 h 5278114"/>
              <a:gd name="connsiteX6789" fmla="*/ 2262342 w 5610835"/>
              <a:gd name="connsiteY6789" fmla="*/ 924035 h 5278114"/>
              <a:gd name="connsiteX6790" fmla="*/ 2263932 w 5610835"/>
              <a:gd name="connsiteY6790" fmla="*/ 922444 h 5278114"/>
              <a:gd name="connsiteX6791" fmla="*/ 2279839 w 5610835"/>
              <a:gd name="connsiteY6791" fmla="*/ 919262 h 5278114"/>
              <a:gd name="connsiteX6792" fmla="*/ 2278248 w 5610835"/>
              <a:gd name="connsiteY6792" fmla="*/ 922444 h 5278114"/>
              <a:gd name="connsiteX6793" fmla="*/ 2281430 w 5610835"/>
              <a:gd name="connsiteY6793" fmla="*/ 922444 h 5278114"/>
              <a:gd name="connsiteX6794" fmla="*/ 2283020 w 5610835"/>
              <a:gd name="connsiteY6794" fmla="*/ 920853 h 5278114"/>
              <a:gd name="connsiteX6795" fmla="*/ 2289384 w 5610835"/>
              <a:gd name="connsiteY6795" fmla="*/ 917672 h 5278114"/>
              <a:gd name="connsiteX6796" fmla="*/ 2284611 w 5610835"/>
              <a:gd name="connsiteY6796" fmla="*/ 920853 h 5278114"/>
              <a:gd name="connsiteX6797" fmla="*/ 2284611 w 5610835"/>
              <a:gd name="connsiteY6797" fmla="*/ 922444 h 5278114"/>
              <a:gd name="connsiteX6798" fmla="*/ 2289384 w 5610835"/>
              <a:gd name="connsiteY6798" fmla="*/ 922444 h 5278114"/>
              <a:gd name="connsiteX6799" fmla="*/ 2287794 w 5610835"/>
              <a:gd name="connsiteY6799" fmla="*/ 920853 h 5278114"/>
              <a:gd name="connsiteX6800" fmla="*/ 2289384 w 5610835"/>
              <a:gd name="connsiteY6800" fmla="*/ 919262 h 5278114"/>
              <a:gd name="connsiteX6801" fmla="*/ 2289384 w 5610835"/>
              <a:gd name="connsiteY6801" fmla="*/ 917672 h 5278114"/>
              <a:gd name="connsiteX6802" fmla="*/ 2293201 w 5610835"/>
              <a:gd name="connsiteY6802" fmla="*/ 918944 h 5278114"/>
              <a:gd name="connsiteX6803" fmla="*/ 2294156 w 5610835"/>
              <a:gd name="connsiteY6803" fmla="*/ 920853 h 5278114"/>
              <a:gd name="connsiteX6804" fmla="*/ 2294951 w 5610835"/>
              <a:gd name="connsiteY6804" fmla="*/ 921648 h 5278114"/>
              <a:gd name="connsiteX6805" fmla="*/ 2294156 w 5610835"/>
              <a:gd name="connsiteY6805" fmla="*/ 922444 h 5278114"/>
              <a:gd name="connsiteX6806" fmla="*/ 2295747 w 5610835"/>
              <a:gd name="connsiteY6806" fmla="*/ 922444 h 5278114"/>
              <a:gd name="connsiteX6807" fmla="*/ 2294951 w 5610835"/>
              <a:gd name="connsiteY6807" fmla="*/ 921648 h 5278114"/>
              <a:gd name="connsiteX6808" fmla="*/ 2295747 w 5610835"/>
              <a:gd name="connsiteY6808" fmla="*/ 920853 h 5278114"/>
              <a:gd name="connsiteX6809" fmla="*/ 2294156 w 5610835"/>
              <a:gd name="connsiteY6809" fmla="*/ 919262 h 5278114"/>
              <a:gd name="connsiteX6810" fmla="*/ 2293201 w 5610835"/>
              <a:gd name="connsiteY6810" fmla="*/ 918944 h 5278114"/>
              <a:gd name="connsiteX6811" fmla="*/ 2292565 w 5610835"/>
              <a:gd name="connsiteY6811" fmla="*/ 917672 h 5278114"/>
              <a:gd name="connsiteX6812" fmla="*/ 2289384 w 5610835"/>
              <a:gd name="connsiteY6812" fmla="*/ 917672 h 5278114"/>
              <a:gd name="connsiteX6813" fmla="*/ 2284611 w 5610835"/>
              <a:gd name="connsiteY6813" fmla="*/ 912899 h 5278114"/>
              <a:gd name="connsiteX6814" fmla="*/ 2281430 w 5610835"/>
              <a:gd name="connsiteY6814" fmla="*/ 916081 h 5278114"/>
              <a:gd name="connsiteX6815" fmla="*/ 2283020 w 5610835"/>
              <a:gd name="connsiteY6815" fmla="*/ 916081 h 5278114"/>
              <a:gd name="connsiteX6816" fmla="*/ 1767623 w 5610835"/>
              <a:gd name="connsiteY6816" fmla="*/ 911309 h 5278114"/>
              <a:gd name="connsiteX6817" fmla="*/ 1758078 w 5610835"/>
              <a:gd name="connsiteY6817" fmla="*/ 920854 h 5278114"/>
              <a:gd name="connsiteX6818" fmla="*/ 1754897 w 5610835"/>
              <a:gd name="connsiteY6818" fmla="*/ 917673 h 5278114"/>
              <a:gd name="connsiteX6819" fmla="*/ 1767623 w 5610835"/>
              <a:gd name="connsiteY6819" fmla="*/ 911309 h 5278114"/>
              <a:gd name="connsiteX6820" fmla="*/ 1571965 w 5610835"/>
              <a:gd name="connsiteY6820" fmla="*/ 871549 h 5278114"/>
              <a:gd name="connsiteX6821" fmla="*/ 1575145 w 5610835"/>
              <a:gd name="connsiteY6821" fmla="*/ 873140 h 5278114"/>
              <a:gd name="connsiteX6822" fmla="*/ 1575145 w 5610835"/>
              <a:gd name="connsiteY6822" fmla="*/ 877912 h 5278114"/>
              <a:gd name="connsiteX6823" fmla="*/ 1571965 w 5610835"/>
              <a:gd name="connsiteY6823" fmla="*/ 877912 h 5278114"/>
              <a:gd name="connsiteX6824" fmla="*/ 1746945 w 5610835"/>
              <a:gd name="connsiteY6824" fmla="*/ 865189 h 5278114"/>
              <a:gd name="connsiteX6825" fmla="*/ 1743762 w 5610835"/>
              <a:gd name="connsiteY6825" fmla="*/ 874734 h 5278114"/>
              <a:gd name="connsiteX6826" fmla="*/ 1737399 w 5610835"/>
              <a:gd name="connsiteY6826" fmla="*/ 873143 h 5278114"/>
              <a:gd name="connsiteX6827" fmla="*/ 1746945 w 5610835"/>
              <a:gd name="connsiteY6827" fmla="*/ 865189 h 5278114"/>
              <a:gd name="connsiteX6828" fmla="*/ 4166451 w 5610835"/>
              <a:gd name="connsiteY6828" fmla="*/ 855690 h 5278114"/>
              <a:gd name="connsiteX6829" fmla="*/ 4125091 w 5610835"/>
              <a:gd name="connsiteY6829" fmla="*/ 932044 h 5278114"/>
              <a:gd name="connsiteX6830" fmla="*/ 4142590 w 5610835"/>
              <a:gd name="connsiteY6830" fmla="*/ 917727 h 5278114"/>
              <a:gd name="connsiteX6831" fmla="*/ 4126682 w 5610835"/>
              <a:gd name="connsiteY6831" fmla="*/ 943179 h 5278114"/>
              <a:gd name="connsiteX6832" fmla="*/ 4137817 w 5610835"/>
              <a:gd name="connsiteY6832" fmla="*/ 949542 h 5278114"/>
              <a:gd name="connsiteX6833" fmla="*/ 4188720 w 5610835"/>
              <a:gd name="connsiteY6833" fmla="*/ 857280 h 5278114"/>
              <a:gd name="connsiteX6834" fmla="*/ 4166451 w 5610835"/>
              <a:gd name="connsiteY6834" fmla="*/ 855690 h 5278114"/>
              <a:gd name="connsiteX6835" fmla="*/ 4112366 w 5610835"/>
              <a:gd name="connsiteY6835" fmla="*/ 850917 h 5278114"/>
              <a:gd name="connsiteX6836" fmla="*/ 4088504 w 5610835"/>
              <a:gd name="connsiteY6836" fmla="*/ 906594 h 5278114"/>
              <a:gd name="connsiteX6837" fmla="*/ 4123500 w 5610835"/>
              <a:gd name="connsiteY6837" fmla="*/ 852508 h 5278114"/>
              <a:gd name="connsiteX6838" fmla="*/ 4112366 w 5610835"/>
              <a:gd name="connsiteY6838" fmla="*/ 850917 h 5278114"/>
              <a:gd name="connsiteX6839" fmla="*/ 4595749 w 5610835"/>
              <a:gd name="connsiteY6839" fmla="*/ 789075 h 5278114"/>
              <a:gd name="connsiteX6840" fmla="*/ 4607083 w 5610835"/>
              <a:gd name="connsiteY6840" fmla="*/ 796829 h 5278114"/>
              <a:gd name="connsiteX6841" fmla="*/ 4592767 w 5610835"/>
              <a:gd name="connsiteY6841" fmla="*/ 796829 h 5278114"/>
              <a:gd name="connsiteX6842" fmla="*/ 4595749 w 5610835"/>
              <a:gd name="connsiteY6842" fmla="*/ 789075 h 5278114"/>
              <a:gd name="connsiteX6843" fmla="*/ 4179176 w 5610835"/>
              <a:gd name="connsiteY6843" fmla="*/ 782513 h 5278114"/>
              <a:gd name="connsiteX6844" fmla="*/ 4152134 w 5610835"/>
              <a:gd name="connsiteY6844" fmla="*/ 836599 h 5278114"/>
              <a:gd name="connsiteX6845" fmla="*/ 4152134 w 5610835"/>
              <a:gd name="connsiteY6845" fmla="*/ 833418 h 5278114"/>
              <a:gd name="connsiteX6846" fmla="*/ 4150543 w 5610835"/>
              <a:gd name="connsiteY6846" fmla="*/ 836599 h 5278114"/>
              <a:gd name="connsiteX6847" fmla="*/ 4152134 w 5610835"/>
              <a:gd name="connsiteY6847" fmla="*/ 836599 h 5278114"/>
              <a:gd name="connsiteX6848" fmla="*/ 4155315 w 5610835"/>
              <a:gd name="connsiteY6848" fmla="*/ 842963 h 5278114"/>
              <a:gd name="connsiteX6849" fmla="*/ 4179176 w 5610835"/>
              <a:gd name="connsiteY6849" fmla="*/ 782513 h 5278114"/>
              <a:gd name="connsiteX6850" fmla="*/ 2131901 w 5610835"/>
              <a:gd name="connsiteY6850" fmla="*/ 774561 h 5278114"/>
              <a:gd name="connsiteX6851" fmla="*/ 2055546 w 5610835"/>
              <a:gd name="connsiteY6851" fmla="*/ 928866 h 5278114"/>
              <a:gd name="connsiteX6852" fmla="*/ 2131901 w 5610835"/>
              <a:gd name="connsiteY6852" fmla="*/ 774561 h 5278114"/>
              <a:gd name="connsiteX6853" fmla="*/ 1638774 w 5610835"/>
              <a:gd name="connsiteY6853" fmla="*/ 763370 h 5278114"/>
              <a:gd name="connsiteX6854" fmla="*/ 1640364 w 5610835"/>
              <a:gd name="connsiteY6854" fmla="*/ 763370 h 5278114"/>
              <a:gd name="connsiteX6855" fmla="*/ 1640364 w 5610835"/>
              <a:gd name="connsiteY6855" fmla="*/ 768142 h 5278114"/>
              <a:gd name="connsiteX6856" fmla="*/ 1635592 w 5610835"/>
              <a:gd name="connsiteY6856" fmla="*/ 764961 h 5278114"/>
              <a:gd name="connsiteX6857" fmla="*/ 4161678 w 5610835"/>
              <a:gd name="connsiteY6857" fmla="*/ 731592 h 5278114"/>
              <a:gd name="connsiteX6858" fmla="*/ 4148952 w 5610835"/>
              <a:gd name="connsiteY6858" fmla="*/ 736365 h 5278114"/>
              <a:gd name="connsiteX6859" fmla="*/ 4118728 w 5610835"/>
              <a:gd name="connsiteY6859" fmla="*/ 831828 h 5278114"/>
              <a:gd name="connsiteX6860" fmla="*/ 4121909 w 5610835"/>
              <a:gd name="connsiteY6860" fmla="*/ 838191 h 5278114"/>
              <a:gd name="connsiteX6861" fmla="*/ 4128273 w 5610835"/>
              <a:gd name="connsiteY6861" fmla="*/ 841372 h 5278114"/>
              <a:gd name="connsiteX6862" fmla="*/ 4161678 w 5610835"/>
              <a:gd name="connsiteY6862" fmla="*/ 731592 h 5278114"/>
              <a:gd name="connsiteX6863" fmla="*/ 4187130 w 5610835"/>
              <a:gd name="connsiteY6863" fmla="*/ 726820 h 5278114"/>
              <a:gd name="connsiteX6864" fmla="*/ 4174404 w 5610835"/>
              <a:gd name="connsiteY6864" fmla="*/ 731592 h 5278114"/>
              <a:gd name="connsiteX6865" fmla="*/ 4160088 w 5610835"/>
              <a:gd name="connsiteY6865" fmla="*/ 798420 h 5278114"/>
              <a:gd name="connsiteX6866" fmla="*/ 4183948 w 5610835"/>
              <a:gd name="connsiteY6866" fmla="*/ 750681 h 5278114"/>
              <a:gd name="connsiteX6867" fmla="*/ 4187130 w 5610835"/>
              <a:gd name="connsiteY6867" fmla="*/ 726820 h 5278114"/>
              <a:gd name="connsiteX6868" fmla="*/ 4471871 w 5610835"/>
              <a:gd name="connsiteY6868" fmla="*/ 722049 h 5278114"/>
              <a:gd name="connsiteX6869" fmla="*/ 4438466 w 5610835"/>
              <a:gd name="connsiteY6869" fmla="*/ 777742 h 5278114"/>
              <a:gd name="connsiteX6870" fmla="*/ 4443238 w 5610835"/>
              <a:gd name="connsiteY6870" fmla="*/ 758652 h 5278114"/>
              <a:gd name="connsiteX6871" fmla="*/ 4471871 w 5610835"/>
              <a:gd name="connsiteY6871" fmla="*/ 722049 h 5278114"/>
              <a:gd name="connsiteX6872" fmla="*/ 4182954 w 5610835"/>
              <a:gd name="connsiteY6872" fmla="*/ 686654 h 5278114"/>
              <a:gd name="connsiteX6873" fmla="*/ 4172814 w 5610835"/>
              <a:gd name="connsiteY6873" fmla="*/ 691823 h 5278114"/>
              <a:gd name="connsiteX6874" fmla="*/ 4175995 w 5610835"/>
              <a:gd name="connsiteY6874" fmla="*/ 699777 h 5278114"/>
              <a:gd name="connsiteX6875" fmla="*/ 4196674 w 5610835"/>
              <a:gd name="connsiteY6875" fmla="*/ 688642 h 5278114"/>
              <a:gd name="connsiteX6876" fmla="*/ 4182954 w 5610835"/>
              <a:gd name="connsiteY6876" fmla="*/ 686654 h 5278114"/>
              <a:gd name="connsiteX6877" fmla="*/ 1062929 w 5610835"/>
              <a:gd name="connsiteY6877" fmla="*/ 682239 h 5278114"/>
              <a:gd name="connsiteX6878" fmla="*/ 1128149 w 5610835"/>
              <a:gd name="connsiteY6878" fmla="*/ 706100 h 5278114"/>
              <a:gd name="connsiteX6879" fmla="*/ 1115423 w 5610835"/>
              <a:gd name="connsiteY6879" fmla="*/ 785637 h 5278114"/>
              <a:gd name="connsiteX6880" fmla="*/ 1120195 w 5610835"/>
              <a:gd name="connsiteY6880" fmla="*/ 1030609 h 5278114"/>
              <a:gd name="connsiteX6881" fmla="*/ 1123377 w 5610835"/>
              <a:gd name="connsiteY6881" fmla="*/ 1057652 h 5278114"/>
              <a:gd name="connsiteX6882" fmla="*/ 969076 w 5610835"/>
              <a:gd name="connsiteY6882" fmla="*/ 938347 h 5278114"/>
              <a:gd name="connsiteX6883" fmla="*/ 959532 w 5610835"/>
              <a:gd name="connsiteY6883" fmla="*/ 946301 h 5278114"/>
              <a:gd name="connsiteX6884" fmla="*/ 1120195 w 5610835"/>
              <a:gd name="connsiteY6884" fmla="*/ 1068787 h 5278114"/>
              <a:gd name="connsiteX6885" fmla="*/ 1123377 w 5610835"/>
              <a:gd name="connsiteY6885" fmla="*/ 1079923 h 5278114"/>
              <a:gd name="connsiteX6886" fmla="*/ 1131331 w 5610835"/>
              <a:gd name="connsiteY6886" fmla="*/ 1169004 h 5278114"/>
              <a:gd name="connsiteX6887" fmla="*/ 1124968 w 5610835"/>
              <a:gd name="connsiteY6887" fmla="*/ 1215135 h 5278114"/>
              <a:gd name="connsiteX6888" fmla="*/ 1137694 w 5610835"/>
              <a:gd name="connsiteY6888" fmla="*/ 1288309 h 5278114"/>
              <a:gd name="connsiteX6889" fmla="*/ 1110651 w 5610835"/>
              <a:gd name="connsiteY6889" fmla="*/ 1388526 h 5278114"/>
              <a:gd name="connsiteX6890" fmla="*/ 1117014 w 5610835"/>
              <a:gd name="connsiteY6890" fmla="*/ 1466471 h 5278114"/>
              <a:gd name="connsiteX6891" fmla="*/ 1164737 w 5610835"/>
              <a:gd name="connsiteY6891" fmla="*/ 1568279 h 5278114"/>
              <a:gd name="connsiteX6892" fmla="*/ 1311084 w 5610835"/>
              <a:gd name="connsiteY6892" fmla="*/ 1790981 h 5278114"/>
              <a:gd name="connsiteX6893" fmla="*/ 1311264 w 5610835"/>
              <a:gd name="connsiteY6893" fmla="*/ 1792668 h 5278114"/>
              <a:gd name="connsiteX6894" fmla="*/ 1202988 w 5610835"/>
              <a:gd name="connsiteY6894" fmla="*/ 1800005 h 5278114"/>
              <a:gd name="connsiteX6895" fmla="*/ 835453 w 5610835"/>
              <a:gd name="connsiteY6895" fmla="*/ 1795753 h 5278114"/>
              <a:gd name="connsiteX6896" fmla="*/ 456860 w 5610835"/>
              <a:gd name="connsiteY6896" fmla="*/ 1576233 h 5278114"/>
              <a:gd name="connsiteX6897" fmla="*/ 448905 w 5610835"/>
              <a:gd name="connsiteY6897" fmla="*/ 1577823 h 5278114"/>
              <a:gd name="connsiteX6898" fmla="*/ 848180 w 5610835"/>
              <a:gd name="connsiteY6898" fmla="*/ 1813252 h 5278114"/>
              <a:gd name="connsiteX6899" fmla="*/ 1216832 w 5610835"/>
              <a:gd name="connsiteY6899" fmla="*/ 1814819 h 5278114"/>
              <a:gd name="connsiteX6900" fmla="*/ 1311289 w 5610835"/>
              <a:gd name="connsiteY6900" fmla="*/ 1792894 h 5278114"/>
              <a:gd name="connsiteX6901" fmla="*/ 1315856 w 5610835"/>
              <a:gd name="connsiteY6901" fmla="*/ 1835522 h 5278114"/>
              <a:gd name="connsiteX6902" fmla="*/ 663654 w 5610835"/>
              <a:gd name="connsiteY6902" fmla="*/ 1797344 h 5278114"/>
              <a:gd name="connsiteX6903" fmla="*/ 746372 w 5610835"/>
              <a:gd name="connsiteY6903" fmla="*/ 1843476 h 5278114"/>
              <a:gd name="connsiteX6904" fmla="*/ 741600 w 5610835"/>
              <a:gd name="connsiteY6904" fmla="*/ 1835522 h 5278114"/>
              <a:gd name="connsiteX6905" fmla="*/ 1320628 w 5610835"/>
              <a:gd name="connsiteY6905" fmla="*/ 1851429 h 5278114"/>
              <a:gd name="connsiteX6906" fmla="*/ 1322219 w 5610835"/>
              <a:gd name="connsiteY6906" fmla="*/ 1894380 h 5278114"/>
              <a:gd name="connsiteX6907" fmla="*/ 281878 w 5610835"/>
              <a:gd name="connsiteY6907" fmla="*/ 2099584 h 5278114"/>
              <a:gd name="connsiteX6908" fmla="*/ 1320628 w 5610835"/>
              <a:gd name="connsiteY6908" fmla="*/ 1910287 h 5278114"/>
              <a:gd name="connsiteX6909" fmla="*/ 1319037 w 5610835"/>
              <a:gd name="connsiteY6909" fmla="*/ 1964371 h 5278114"/>
              <a:gd name="connsiteX6910" fmla="*/ 1309493 w 5610835"/>
              <a:gd name="connsiteY6910" fmla="*/ 1965963 h 5278114"/>
              <a:gd name="connsiteX6911" fmla="*/ 1117014 w 5610835"/>
              <a:gd name="connsiteY6911" fmla="*/ 1997776 h 5278114"/>
              <a:gd name="connsiteX6912" fmla="*/ 819547 w 5610835"/>
              <a:gd name="connsiteY6912" fmla="*/ 2105947 h 5278114"/>
              <a:gd name="connsiteX6913" fmla="*/ 716148 w 5610835"/>
              <a:gd name="connsiteY6913" fmla="*/ 2346148 h 5278114"/>
              <a:gd name="connsiteX6914" fmla="*/ 566619 w 5610835"/>
              <a:gd name="connsiteY6914" fmla="*/ 2284109 h 5278114"/>
              <a:gd name="connsiteX6915" fmla="*/ 455268 w 5610835"/>
              <a:gd name="connsiteY6915" fmla="*/ 2355692 h 5278114"/>
              <a:gd name="connsiteX6916" fmla="*/ 428226 w 5610835"/>
              <a:gd name="connsiteY6916" fmla="*/ 2300016 h 5278114"/>
              <a:gd name="connsiteX6917" fmla="*/ 579346 w 5610835"/>
              <a:gd name="connsiteY6917" fmla="*/ 2195028 h 5278114"/>
              <a:gd name="connsiteX6918" fmla="*/ 533215 w 5610835"/>
              <a:gd name="connsiteY6918" fmla="*/ 2209345 h 5278114"/>
              <a:gd name="connsiteX6919" fmla="*/ 611161 w 5610835"/>
              <a:gd name="connsiteY6919" fmla="*/ 2163213 h 5278114"/>
              <a:gd name="connsiteX6920" fmla="*/ 488674 w 5610835"/>
              <a:gd name="connsiteY6920" fmla="*/ 2217299 h 5278114"/>
              <a:gd name="connsiteX6921" fmla="*/ 510944 w 5610835"/>
              <a:gd name="connsiteY6921" fmla="*/ 2193438 h 5278114"/>
              <a:gd name="connsiteX6922" fmla="*/ 388457 w 5610835"/>
              <a:gd name="connsiteY6922" fmla="*/ 2276155 h 5278114"/>
              <a:gd name="connsiteX6923" fmla="*/ 472766 w 5610835"/>
              <a:gd name="connsiteY6923" fmla="*/ 2234796 h 5278114"/>
              <a:gd name="connsiteX6924" fmla="*/ 390048 w 5610835"/>
              <a:gd name="connsiteY6924" fmla="*/ 2304787 h 5278114"/>
              <a:gd name="connsiteX6925" fmla="*/ 332782 w 5610835"/>
              <a:gd name="connsiteY6925" fmla="*/ 2288881 h 5278114"/>
              <a:gd name="connsiteX6926" fmla="*/ 265970 w 5610835"/>
              <a:gd name="connsiteY6926" fmla="*/ 2188665 h 5278114"/>
              <a:gd name="connsiteX6927" fmla="*/ 151438 w 5610835"/>
              <a:gd name="connsiteY6927" fmla="*/ 2174348 h 5278114"/>
              <a:gd name="connsiteX6928" fmla="*/ 38496 w 5610835"/>
              <a:gd name="connsiteY6928" fmla="*/ 2045500 h 5278114"/>
              <a:gd name="connsiteX6929" fmla="*/ 1909 w 5610835"/>
              <a:gd name="connsiteY6929" fmla="*/ 1876881 h 5278114"/>
              <a:gd name="connsiteX6930" fmla="*/ 65538 w 5610835"/>
              <a:gd name="connsiteY6930" fmla="*/ 1781437 h 5278114"/>
              <a:gd name="connsiteX6931" fmla="*/ 328009 w 5610835"/>
              <a:gd name="connsiteY6931" fmla="*/ 1868929 h 5278114"/>
              <a:gd name="connsiteX6932" fmla="*/ 75083 w 5610835"/>
              <a:gd name="connsiteY6932" fmla="*/ 1773483 h 5278114"/>
              <a:gd name="connsiteX6933" fmla="*/ 8272 w 5610835"/>
              <a:gd name="connsiteY6933" fmla="*/ 1687583 h 5278114"/>
              <a:gd name="connsiteX6934" fmla="*/ 89399 w 5610835"/>
              <a:gd name="connsiteY6934" fmla="*/ 1560325 h 5278114"/>
              <a:gd name="connsiteX6935" fmla="*/ 195979 w 5610835"/>
              <a:gd name="connsiteY6935" fmla="*/ 1512603 h 5278114"/>
              <a:gd name="connsiteX6936" fmla="*/ 277106 w 5610835"/>
              <a:gd name="connsiteY6936" fmla="*/ 1719398 h 5278114"/>
              <a:gd name="connsiteX6937" fmla="*/ 197570 w 5610835"/>
              <a:gd name="connsiteY6937" fmla="*/ 1501468 h 5278114"/>
              <a:gd name="connsiteX6938" fmla="*/ 191206 w 5610835"/>
              <a:gd name="connsiteY6938" fmla="*/ 1468062 h 5278114"/>
              <a:gd name="connsiteX6939" fmla="*/ 304148 w 5610835"/>
              <a:gd name="connsiteY6939" fmla="*/ 1550781 h 5278114"/>
              <a:gd name="connsiteX6940" fmla="*/ 207113 w 5610835"/>
              <a:gd name="connsiteY6940" fmla="*/ 1458517 h 5278114"/>
              <a:gd name="connsiteX6941" fmla="*/ 221430 w 5610835"/>
              <a:gd name="connsiteY6941" fmla="*/ 1409205 h 5278114"/>
              <a:gd name="connsiteX6942" fmla="*/ 289832 w 5610835"/>
              <a:gd name="connsiteY6942" fmla="*/ 1434657 h 5278114"/>
              <a:gd name="connsiteX6943" fmla="*/ 310512 w 5610835"/>
              <a:gd name="connsiteY6943" fmla="*/ 1407614 h 5278114"/>
              <a:gd name="connsiteX6944" fmla="*/ 385276 w 5610835"/>
              <a:gd name="connsiteY6944" fmla="*/ 1423521 h 5278114"/>
              <a:gd name="connsiteX6945" fmla="*/ 407546 w 5610835"/>
              <a:gd name="connsiteY6945" fmla="*/ 1385344 h 5278114"/>
              <a:gd name="connsiteX6946" fmla="*/ 208704 w 5610835"/>
              <a:gd name="connsiteY6946" fmla="*/ 1320124 h 5278114"/>
              <a:gd name="connsiteX6947" fmla="*/ 307330 w 5610835"/>
              <a:gd name="connsiteY6947" fmla="*/ 1210362 h 5278114"/>
              <a:gd name="connsiteX6948" fmla="*/ 348689 w 5610835"/>
              <a:gd name="connsiteY6948" fmla="*/ 1151505 h 5278114"/>
              <a:gd name="connsiteX6949" fmla="*/ 393229 w 5610835"/>
              <a:gd name="connsiteY6949" fmla="*/ 1161050 h 5278114"/>
              <a:gd name="connsiteX6950" fmla="*/ 428226 w 5610835"/>
              <a:gd name="connsiteY6950" fmla="*/ 1086285 h 5278114"/>
              <a:gd name="connsiteX6951" fmla="*/ 471176 w 5610835"/>
              <a:gd name="connsiteY6951" fmla="*/ 1087876 h 5278114"/>
              <a:gd name="connsiteX6952" fmla="*/ 483902 w 5610835"/>
              <a:gd name="connsiteY6952" fmla="*/ 1044927 h 5278114"/>
              <a:gd name="connsiteX6953" fmla="*/ 607979 w 5610835"/>
              <a:gd name="connsiteY6953" fmla="*/ 1126054 h 5278114"/>
              <a:gd name="connsiteX6954" fmla="*/ 856134 w 5610835"/>
              <a:gd name="connsiteY6954" fmla="*/ 1213544 h 5278114"/>
              <a:gd name="connsiteX6955" fmla="*/ 568211 w 5610835"/>
              <a:gd name="connsiteY6955" fmla="*/ 1038563 h 5278114"/>
              <a:gd name="connsiteX6956" fmla="*/ 776596 w 5610835"/>
              <a:gd name="connsiteY6956" fmla="*/ 1170595 h 5278114"/>
              <a:gd name="connsiteX6957" fmla="*/ 592071 w 5610835"/>
              <a:gd name="connsiteY6957" fmla="*/ 1025837 h 5278114"/>
              <a:gd name="connsiteX6958" fmla="*/ 580936 w 5610835"/>
              <a:gd name="connsiteY6958" fmla="*/ 1030609 h 5278114"/>
              <a:gd name="connsiteX6959" fmla="*/ 628658 w 5610835"/>
              <a:gd name="connsiteY6959" fmla="*/ 973343 h 5278114"/>
              <a:gd name="connsiteX6960" fmla="*/ 671608 w 5610835"/>
              <a:gd name="connsiteY6960" fmla="*/ 1022656 h 5278114"/>
              <a:gd name="connsiteX6961" fmla="*/ 755917 w 5610835"/>
              <a:gd name="connsiteY6961" fmla="*/ 978115 h 5278114"/>
              <a:gd name="connsiteX6962" fmla="*/ 844998 w 5610835"/>
              <a:gd name="connsiteY6962" fmla="*/ 916077 h 5278114"/>
              <a:gd name="connsiteX6963" fmla="*/ 846589 w 5610835"/>
              <a:gd name="connsiteY6963" fmla="*/ 841313 h 5278114"/>
              <a:gd name="connsiteX6964" fmla="*/ 1091562 w 5610835"/>
              <a:gd name="connsiteY6964" fmla="*/ 984479 h 5278114"/>
              <a:gd name="connsiteX6965" fmla="*/ 919763 w 5610835"/>
              <a:gd name="connsiteY6965" fmla="*/ 846085 h 5278114"/>
              <a:gd name="connsiteX6966" fmla="*/ 934080 w 5610835"/>
              <a:gd name="connsiteY6966" fmla="*/ 828586 h 5278114"/>
              <a:gd name="connsiteX6967" fmla="*/ 1062929 w 5610835"/>
              <a:gd name="connsiteY6967" fmla="*/ 682239 h 5278114"/>
              <a:gd name="connsiteX6968" fmla="*/ 4395515 w 5610835"/>
              <a:gd name="connsiteY6968" fmla="*/ 648875 h 5278114"/>
              <a:gd name="connsiteX6969" fmla="*/ 4405059 w 5610835"/>
              <a:gd name="connsiteY6969" fmla="*/ 680690 h 5278114"/>
              <a:gd name="connsiteX6970" fmla="*/ 4319159 w 5610835"/>
              <a:gd name="connsiteY6970" fmla="*/ 709323 h 5278114"/>
              <a:gd name="connsiteX6971" fmla="*/ 4298480 w 5610835"/>
              <a:gd name="connsiteY6971" fmla="*/ 698188 h 5278114"/>
              <a:gd name="connsiteX6972" fmla="*/ 4308024 w 5610835"/>
              <a:gd name="connsiteY6972" fmla="*/ 687053 h 5278114"/>
              <a:gd name="connsiteX6973" fmla="*/ 4314387 w 5610835"/>
              <a:gd name="connsiteY6973" fmla="*/ 675918 h 5278114"/>
              <a:gd name="connsiteX6974" fmla="*/ 4395515 w 5610835"/>
              <a:gd name="connsiteY6974" fmla="*/ 648875 h 5278114"/>
              <a:gd name="connsiteX6975" fmla="*/ 1551283 w 5610835"/>
              <a:gd name="connsiteY6975" fmla="*/ 620210 h 5278114"/>
              <a:gd name="connsiteX6976" fmla="*/ 1630819 w 5610835"/>
              <a:gd name="connsiteY6976" fmla="*/ 763380 h 5278114"/>
              <a:gd name="connsiteX6977" fmla="*/ 1618094 w 5610835"/>
              <a:gd name="connsiteY6977" fmla="*/ 764971 h 5278114"/>
              <a:gd name="connsiteX6978" fmla="*/ 1551283 w 5610835"/>
              <a:gd name="connsiteY6978" fmla="*/ 620210 h 5278114"/>
              <a:gd name="connsiteX6979" fmla="*/ 1501327 w 5610835"/>
              <a:gd name="connsiteY6979" fmla="*/ 609242 h 5278114"/>
              <a:gd name="connsiteX6980" fmla="*/ 1595823 w 5610835"/>
              <a:gd name="connsiteY6980" fmla="*/ 722008 h 5278114"/>
              <a:gd name="connsiteX6981" fmla="*/ 1608550 w 5610835"/>
              <a:gd name="connsiteY6981" fmla="*/ 768138 h 5278114"/>
              <a:gd name="connsiteX6982" fmla="*/ 1602187 w 5610835"/>
              <a:gd name="connsiteY6982" fmla="*/ 771320 h 5278114"/>
              <a:gd name="connsiteX6983" fmla="*/ 1579917 w 5610835"/>
              <a:gd name="connsiteY6983" fmla="*/ 780866 h 5278114"/>
              <a:gd name="connsiteX6984" fmla="*/ 1501971 w 5610835"/>
              <a:gd name="connsiteY6984" fmla="*/ 617019 h 5278114"/>
              <a:gd name="connsiteX6985" fmla="*/ 1497199 w 5610835"/>
              <a:gd name="connsiteY6985" fmla="*/ 620200 h 5278114"/>
              <a:gd name="connsiteX6986" fmla="*/ 1565600 w 5610835"/>
              <a:gd name="connsiteY6986" fmla="*/ 787228 h 5278114"/>
              <a:gd name="connsiteX6987" fmla="*/ 1548102 w 5610835"/>
              <a:gd name="connsiteY6987" fmla="*/ 793591 h 5278114"/>
              <a:gd name="connsiteX6988" fmla="*/ 1508333 w 5610835"/>
              <a:gd name="connsiteY6988" fmla="*/ 682239 h 5278114"/>
              <a:gd name="connsiteX6989" fmla="*/ 1533785 w 5610835"/>
              <a:gd name="connsiteY6989" fmla="*/ 798363 h 5278114"/>
              <a:gd name="connsiteX6990" fmla="*/ 1529013 w 5610835"/>
              <a:gd name="connsiteY6990" fmla="*/ 799954 h 5278114"/>
              <a:gd name="connsiteX6991" fmla="*/ 1490835 w 5610835"/>
              <a:gd name="connsiteY6991" fmla="*/ 817452 h 5278114"/>
              <a:gd name="connsiteX6992" fmla="*/ 1438341 w 5610835"/>
              <a:gd name="connsiteY6992" fmla="*/ 903351 h 5278114"/>
              <a:gd name="connsiteX6993" fmla="*/ 1393800 w 5610835"/>
              <a:gd name="connsiteY6993" fmla="*/ 949483 h 5278114"/>
              <a:gd name="connsiteX6994" fmla="*/ 1417661 w 5610835"/>
              <a:gd name="connsiteY6994" fmla="*/ 1046518 h 5278114"/>
              <a:gd name="connsiteX6995" fmla="*/ 1425615 w 5610835"/>
              <a:gd name="connsiteY6995" fmla="*/ 1103784 h 5278114"/>
              <a:gd name="connsiteX6996" fmla="*/ 1481291 w 5610835"/>
              <a:gd name="connsiteY6996" fmla="*/ 1176957 h 5278114"/>
              <a:gd name="connsiteX6997" fmla="*/ 1516287 w 5610835"/>
              <a:gd name="connsiteY6997" fmla="*/ 1219907 h 5278114"/>
              <a:gd name="connsiteX6998" fmla="*/ 1498790 w 5610835"/>
              <a:gd name="connsiteY6998" fmla="*/ 1320123 h 5278114"/>
              <a:gd name="connsiteX6999" fmla="*/ 1396982 w 5610835"/>
              <a:gd name="connsiteY6999" fmla="*/ 1266038 h 5278114"/>
              <a:gd name="connsiteX7000" fmla="*/ 1368349 w 5610835"/>
              <a:gd name="connsiteY7000" fmla="*/ 1127644 h 5278114"/>
              <a:gd name="connsiteX7001" fmla="*/ 1339716 w 5610835"/>
              <a:gd name="connsiteY7001" fmla="*/ 1105375 h 5278114"/>
              <a:gd name="connsiteX7002" fmla="*/ 1287223 w 5610835"/>
              <a:gd name="connsiteY7002" fmla="*/ 1019475 h 5278114"/>
              <a:gd name="connsiteX7003" fmla="*/ 1287223 w 5610835"/>
              <a:gd name="connsiteY7003" fmla="*/ 712463 h 5278114"/>
              <a:gd name="connsiteX7004" fmla="*/ 1277677 w 5610835"/>
              <a:gd name="connsiteY7004" fmla="*/ 655196 h 5278114"/>
              <a:gd name="connsiteX7005" fmla="*/ 1317446 w 5610835"/>
              <a:gd name="connsiteY7005" fmla="*/ 677467 h 5278114"/>
              <a:gd name="connsiteX7006" fmla="*/ 1400163 w 5610835"/>
              <a:gd name="connsiteY7006" fmla="*/ 656787 h 5278114"/>
              <a:gd name="connsiteX7007" fmla="*/ 1505152 w 5610835"/>
              <a:gd name="connsiteY7007" fmla="*/ 680648 h 5278114"/>
              <a:gd name="connsiteX7008" fmla="*/ 1484472 w 5610835"/>
              <a:gd name="connsiteY7008" fmla="*/ 615428 h 5278114"/>
              <a:gd name="connsiteX7009" fmla="*/ 1501327 w 5610835"/>
              <a:gd name="connsiteY7009" fmla="*/ 609242 h 5278114"/>
              <a:gd name="connsiteX7010" fmla="*/ 1635592 w 5610835"/>
              <a:gd name="connsiteY7010" fmla="*/ 607477 h 5278114"/>
              <a:gd name="connsiteX7011" fmla="*/ 1824889 w 5610835"/>
              <a:gd name="connsiteY7011" fmla="*/ 618612 h 5278114"/>
              <a:gd name="connsiteX7012" fmla="*/ 1926697 w 5610835"/>
              <a:gd name="connsiteY7012" fmla="*/ 655199 h 5278114"/>
              <a:gd name="connsiteX7013" fmla="*/ 1996688 w 5610835"/>
              <a:gd name="connsiteY7013" fmla="*/ 706103 h 5278114"/>
              <a:gd name="connsiteX7014" fmla="*/ 2104858 w 5610835"/>
              <a:gd name="connsiteY7014" fmla="*/ 747461 h 5278114"/>
              <a:gd name="connsiteX7015" fmla="*/ 1969646 w 5610835"/>
              <a:gd name="connsiteY7015" fmla="*/ 998799 h 5278114"/>
              <a:gd name="connsiteX7016" fmla="*/ 2117584 w 5610835"/>
              <a:gd name="connsiteY7016" fmla="*/ 764961 h 5278114"/>
              <a:gd name="connsiteX7017" fmla="*/ 1944195 w 5610835"/>
              <a:gd name="connsiteY7017" fmla="*/ 1081517 h 5278114"/>
              <a:gd name="connsiteX7018" fmla="*/ 2058727 w 5610835"/>
              <a:gd name="connsiteY7018" fmla="*/ 931989 h 5278114"/>
              <a:gd name="connsiteX7019" fmla="*/ 2149399 w 5610835"/>
              <a:gd name="connsiteY7019" fmla="*/ 717237 h 5278114"/>
              <a:gd name="connsiteX7020" fmla="*/ 2225754 w 5610835"/>
              <a:gd name="connsiteY7020" fmla="*/ 755415 h 5278114"/>
              <a:gd name="connsiteX7021" fmla="*/ 2289384 w 5610835"/>
              <a:gd name="connsiteY7021" fmla="*/ 900174 h 5278114"/>
              <a:gd name="connsiteX7022" fmla="*/ 2290974 w 5610835"/>
              <a:gd name="connsiteY7022" fmla="*/ 901765 h 5278114"/>
              <a:gd name="connsiteX7023" fmla="*/ 2292565 w 5610835"/>
              <a:gd name="connsiteY7023" fmla="*/ 903355 h 5278114"/>
              <a:gd name="connsiteX7024" fmla="*/ 2297337 w 5610835"/>
              <a:gd name="connsiteY7024" fmla="*/ 908128 h 5278114"/>
              <a:gd name="connsiteX7025" fmla="*/ 2298928 w 5610835"/>
              <a:gd name="connsiteY7025" fmla="*/ 911309 h 5278114"/>
              <a:gd name="connsiteX7026" fmla="*/ 2300518 w 5610835"/>
              <a:gd name="connsiteY7026" fmla="*/ 911309 h 5278114"/>
              <a:gd name="connsiteX7027" fmla="*/ 2306881 w 5610835"/>
              <a:gd name="connsiteY7027" fmla="*/ 917672 h 5278114"/>
              <a:gd name="connsiteX7028" fmla="*/ 2306881 w 5610835"/>
              <a:gd name="connsiteY7028" fmla="*/ 919262 h 5278114"/>
              <a:gd name="connsiteX7029" fmla="*/ 2303700 w 5610835"/>
              <a:gd name="connsiteY7029" fmla="*/ 922444 h 5278114"/>
              <a:gd name="connsiteX7030" fmla="*/ 2301523 w 5610835"/>
              <a:gd name="connsiteY7030" fmla="*/ 923460 h 5278114"/>
              <a:gd name="connsiteX7031" fmla="*/ 2303700 w 5610835"/>
              <a:gd name="connsiteY7031" fmla="*/ 925637 h 5278114"/>
              <a:gd name="connsiteX7032" fmla="*/ 2300518 w 5610835"/>
              <a:gd name="connsiteY7032" fmla="*/ 925637 h 5278114"/>
              <a:gd name="connsiteX7033" fmla="*/ 2298928 w 5610835"/>
              <a:gd name="connsiteY7033" fmla="*/ 927228 h 5278114"/>
              <a:gd name="connsiteX7034" fmla="*/ 2298928 w 5610835"/>
              <a:gd name="connsiteY7034" fmla="*/ 928818 h 5278114"/>
              <a:gd name="connsiteX7035" fmla="*/ 2295747 w 5610835"/>
              <a:gd name="connsiteY7035" fmla="*/ 925637 h 5278114"/>
              <a:gd name="connsiteX7036" fmla="*/ 2297337 w 5610835"/>
              <a:gd name="connsiteY7036" fmla="*/ 924047 h 5278114"/>
              <a:gd name="connsiteX7037" fmla="*/ 2300518 w 5610835"/>
              <a:gd name="connsiteY7037" fmla="*/ 924047 h 5278114"/>
              <a:gd name="connsiteX7038" fmla="*/ 2300518 w 5610835"/>
              <a:gd name="connsiteY7038" fmla="*/ 923858 h 5278114"/>
              <a:gd name="connsiteX7039" fmla="*/ 2298928 w 5610835"/>
              <a:gd name="connsiteY7039" fmla="*/ 924035 h 5278114"/>
              <a:gd name="connsiteX7040" fmla="*/ 2297337 w 5610835"/>
              <a:gd name="connsiteY7040" fmla="*/ 924035 h 5278114"/>
              <a:gd name="connsiteX7041" fmla="*/ 2294156 w 5610835"/>
              <a:gd name="connsiteY7041" fmla="*/ 924035 h 5278114"/>
              <a:gd name="connsiteX7042" fmla="*/ 2287794 w 5610835"/>
              <a:gd name="connsiteY7042" fmla="*/ 927216 h 5278114"/>
              <a:gd name="connsiteX7043" fmla="*/ 2287794 w 5610835"/>
              <a:gd name="connsiteY7043" fmla="*/ 928807 h 5278114"/>
              <a:gd name="connsiteX7044" fmla="*/ 2286202 w 5610835"/>
              <a:gd name="connsiteY7044" fmla="*/ 930398 h 5278114"/>
              <a:gd name="connsiteX7045" fmla="*/ 2286202 w 5610835"/>
              <a:gd name="connsiteY7045" fmla="*/ 933578 h 5278114"/>
              <a:gd name="connsiteX7046" fmla="*/ 2289384 w 5610835"/>
              <a:gd name="connsiteY7046" fmla="*/ 933578 h 5278114"/>
              <a:gd name="connsiteX7047" fmla="*/ 2286202 w 5610835"/>
              <a:gd name="connsiteY7047" fmla="*/ 935170 h 5278114"/>
              <a:gd name="connsiteX7048" fmla="*/ 2286202 w 5610835"/>
              <a:gd name="connsiteY7048" fmla="*/ 936760 h 5278114"/>
              <a:gd name="connsiteX7049" fmla="*/ 2283020 w 5610835"/>
              <a:gd name="connsiteY7049" fmla="*/ 938351 h 5278114"/>
              <a:gd name="connsiteX7050" fmla="*/ 2283020 w 5610835"/>
              <a:gd name="connsiteY7050" fmla="*/ 936760 h 5278114"/>
              <a:gd name="connsiteX7051" fmla="*/ 2281430 w 5610835"/>
              <a:gd name="connsiteY7051" fmla="*/ 936760 h 5278114"/>
              <a:gd name="connsiteX7052" fmla="*/ 2281430 w 5610835"/>
              <a:gd name="connsiteY7052" fmla="*/ 935170 h 5278114"/>
              <a:gd name="connsiteX7053" fmla="*/ 2281430 w 5610835"/>
              <a:gd name="connsiteY7053" fmla="*/ 933578 h 5278114"/>
              <a:gd name="connsiteX7054" fmla="*/ 2278248 w 5610835"/>
              <a:gd name="connsiteY7054" fmla="*/ 933578 h 5278114"/>
              <a:gd name="connsiteX7055" fmla="*/ 2279839 w 5610835"/>
              <a:gd name="connsiteY7055" fmla="*/ 935170 h 5278114"/>
              <a:gd name="connsiteX7056" fmla="*/ 2276657 w 5610835"/>
              <a:gd name="connsiteY7056" fmla="*/ 938351 h 5278114"/>
              <a:gd name="connsiteX7057" fmla="*/ 2273476 w 5610835"/>
              <a:gd name="connsiteY7057" fmla="*/ 938351 h 5278114"/>
              <a:gd name="connsiteX7058" fmla="*/ 2276657 w 5610835"/>
              <a:gd name="connsiteY7058" fmla="*/ 935170 h 5278114"/>
              <a:gd name="connsiteX7059" fmla="*/ 2276657 w 5610835"/>
              <a:gd name="connsiteY7059" fmla="*/ 933578 h 5278114"/>
              <a:gd name="connsiteX7060" fmla="*/ 2275066 w 5610835"/>
              <a:gd name="connsiteY7060" fmla="*/ 933578 h 5278114"/>
              <a:gd name="connsiteX7061" fmla="*/ 2273476 w 5610835"/>
              <a:gd name="connsiteY7061" fmla="*/ 935170 h 5278114"/>
              <a:gd name="connsiteX7062" fmla="*/ 2273476 w 5610835"/>
              <a:gd name="connsiteY7062" fmla="*/ 938351 h 5278114"/>
              <a:gd name="connsiteX7063" fmla="*/ 2276223 w 5610835"/>
              <a:gd name="connsiteY7063" fmla="*/ 941099 h 5278114"/>
              <a:gd name="connsiteX7064" fmla="*/ 2275066 w 5610835"/>
              <a:gd name="connsiteY7064" fmla="*/ 941532 h 5278114"/>
              <a:gd name="connsiteX7065" fmla="*/ 2271885 w 5610835"/>
              <a:gd name="connsiteY7065" fmla="*/ 941532 h 5278114"/>
              <a:gd name="connsiteX7066" fmla="*/ 2271885 w 5610835"/>
              <a:gd name="connsiteY7066" fmla="*/ 939942 h 5278114"/>
              <a:gd name="connsiteX7067" fmla="*/ 2268704 w 5610835"/>
              <a:gd name="connsiteY7067" fmla="*/ 939942 h 5278114"/>
              <a:gd name="connsiteX7068" fmla="*/ 2267113 w 5610835"/>
              <a:gd name="connsiteY7068" fmla="*/ 938351 h 5278114"/>
              <a:gd name="connsiteX7069" fmla="*/ 2267113 w 5610835"/>
              <a:gd name="connsiteY7069" fmla="*/ 935170 h 5278114"/>
              <a:gd name="connsiteX7070" fmla="*/ 2260750 w 5610835"/>
              <a:gd name="connsiteY7070" fmla="*/ 938351 h 5278114"/>
              <a:gd name="connsiteX7071" fmla="*/ 2262342 w 5610835"/>
              <a:gd name="connsiteY7071" fmla="*/ 935170 h 5278114"/>
              <a:gd name="connsiteX7072" fmla="*/ 2259159 w 5610835"/>
              <a:gd name="connsiteY7072" fmla="*/ 935170 h 5278114"/>
              <a:gd name="connsiteX7073" fmla="*/ 2260750 w 5610835"/>
              <a:gd name="connsiteY7073" fmla="*/ 931989 h 5278114"/>
              <a:gd name="connsiteX7074" fmla="*/ 2254387 w 5610835"/>
              <a:gd name="connsiteY7074" fmla="*/ 927216 h 5278114"/>
              <a:gd name="connsiteX7075" fmla="*/ 2252796 w 5610835"/>
              <a:gd name="connsiteY7075" fmla="*/ 930398 h 5278114"/>
              <a:gd name="connsiteX7076" fmla="*/ 2257570 w 5610835"/>
              <a:gd name="connsiteY7076" fmla="*/ 931989 h 5278114"/>
              <a:gd name="connsiteX7077" fmla="*/ 2255978 w 5610835"/>
              <a:gd name="connsiteY7077" fmla="*/ 933578 h 5278114"/>
              <a:gd name="connsiteX7078" fmla="*/ 2259159 w 5610835"/>
              <a:gd name="connsiteY7078" fmla="*/ 935170 h 5278114"/>
              <a:gd name="connsiteX7079" fmla="*/ 2257570 w 5610835"/>
              <a:gd name="connsiteY7079" fmla="*/ 936760 h 5278114"/>
              <a:gd name="connsiteX7080" fmla="*/ 2255978 w 5610835"/>
              <a:gd name="connsiteY7080" fmla="*/ 936760 h 5278114"/>
              <a:gd name="connsiteX7081" fmla="*/ 2254387 w 5610835"/>
              <a:gd name="connsiteY7081" fmla="*/ 938351 h 5278114"/>
              <a:gd name="connsiteX7082" fmla="*/ 2254387 w 5610835"/>
              <a:gd name="connsiteY7082" fmla="*/ 939942 h 5278114"/>
              <a:gd name="connsiteX7083" fmla="*/ 2254876 w 5610835"/>
              <a:gd name="connsiteY7083" fmla="*/ 940432 h 5278114"/>
              <a:gd name="connsiteX7084" fmla="*/ 2255136 w 5610835"/>
              <a:gd name="connsiteY7084" fmla="*/ 941532 h 5278114"/>
              <a:gd name="connsiteX7085" fmla="*/ 2252796 w 5610835"/>
              <a:gd name="connsiteY7085" fmla="*/ 941532 h 5278114"/>
              <a:gd name="connsiteX7086" fmla="*/ 2251205 w 5610835"/>
              <a:gd name="connsiteY7086" fmla="*/ 944713 h 5278114"/>
              <a:gd name="connsiteX7087" fmla="*/ 2249615 w 5610835"/>
              <a:gd name="connsiteY7087" fmla="*/ 946304 h 5278114"/>
              <a:gd name="connsiteX7088" fmla="*/ 2248024 w 5610835"/>
              <a:gd name="connsiteY7088" fmla="*/ 946304 h 5278114"/>
              <a:gd name="connsiteX7089" fmla="*/ 2248024 w 5610835"/>
              <a:gd name="connsiteY7089" fmla="*/ 947896 h 5278114"/>
              <a:gd name="connsiteX7090" fmla="*/ 2244842 w 5610835"/>
              <a:gd name="connsiteY7090" fmla="*/ 947896 h 5278114"/>
              <a:gd name="connsiteX7091" fmla="*/ 2241661 w 5610835"/>
              <a:gd name="connsiteY7091" fmla="*/ 944713 h 5278114"/>
              <a:gd name="connsiteX7092" fmla="*/ 2244842 w 5610835"/>
              <a:gd name="connsiteY7092" fmla="*/ 941532 h 5278114"/>
              <a:gd name="connsiteX7093" fmla="*/ 2246433 w 5610835"/>
              <a:gd name="connsiteY7093" fmla="*/ 939942 h 5278114"/>
              <a:gd name="connsiteX7094" fmla="*/ 2244842 w 5610835"/>
              <a:gd name="connsiteY7094" fmla="*/ 939942 h 5278114"/>
              <a:gd name="connsiteX7095" fmla="*/ 2244842 w 5610835"/>
              <a:gd name="connsiteY7095" fmla="*/ 936760 h 5278114"/>
              <a:gd name="connsiteX7096" fmla="*/ 2241661 w 5610835"/>
              <a:gd name="connsiteY7096" fmla="*/ 938351 h 5278114"/>
              <a:gd name="connsiteX7097" fmla="*/ 2241661 w 5610835"/>
              <a:gd name="connsiteY7097" fmla="*/ 939942 h 5278114"/>
              <a:gd name="connsiteX7098" fmla="*/ 2244842 w 5610835"/>
              <a:gd name="connsiteY7098" fmla="*/ 941532 h 5278114"/>
              <a:gd name="connsiteX7099" fmla="*/ 2241661 w 5610835"/>
              <a:gd name="connsiteY7099" fmla="*/ 941532 h 5278114"/>
              <a:gd name="connsiteX7100" fmla="*/ 2240070 w 5610835"/>
              <a:gd name="connsiteY7100" fmla="*/ 941532 h 5278114"/>
              <a:gd name="connsiteX7101" fmla="*/ 2238480 w 5610835"/>
              <a:gd name="connsiteY7101" fmla="*/ 944713 h 5278114"/>
              <a:gd name="connsiteX7102" fmla="*/ 2238480 w 5610835"/>
              <a:gd name="connsiteY7102" fmla="*/ 947896 h 5278114"/>
              <a:gd name="connsiteX7103" fmla="*/ 2240070 w 5610835"/>
              <a:gd name="connsiteY7103" fmla="*/ 949485 h 5278114"/>
              <a:gd name="connsiteX7104" fmla="*/ 2241661 w 5610835"/>
              <a:gd name="connsiteY7104" fmla="*/ 949485 h 5278114"/>
              <a:gd name="connsiteX7105" fmla="*/ 2244842 w 5610835"/>
              <a:gd name="connsiteY7105" fmla="*/ 951077 h 5278114"/>
              <a:gd name="connsiteX7106" fmla="*/ 2244842 w 5610835"/>
              <a:gd name="connsiteY7106" fmla="*/ 954258 h 5278114"/>
              <a:gd name="connsiteX7107" fmla="*/ 2246433 w 5610835"/>
              <a:gd name="connsiteY7107" fmla="*/ 955849 h 5278114"/>
              <a:gd name="connsiteX7108" fmla="*/ 2248024 w 5610835"/>
              <a:gd name="connsiteY7108" fmla="*/ 954258 h 5278114"/>
              <a:gd name="connsiteX7109" fmla="*/ 2249615 w 5610835"/>
              <a:gd name="connsiteY7109" fmla="*/ 951077 h 5278114"/>
              <a:gd name="connsiteX7110" fmla="*/ 2252796 w 5610835"/>
              <a:gd name="connsiteY7110" fmla="*/ 952667 h 5278114"/>
              <a:gd name="connsiteX7111" fmla="*/ 2249615 w 5610835"/>
              <a:gd name="connsiteY7111" fmla="*/ 955849 h 5278114"/>
              <a:gd name="connsiteX7112" fmla="*/ 2249615 w 5610835"/>
              <a:gd name="connsiteY7112" fmla="*/ 957439 h 5278114"/>
              <a:gd name="connsiteX7113" fmla="*/ 2246433 w 5610835"/>
              <a:gd name="connsiteY7113" fmla="*/ 959030 h 5278114"/>
              <a:gd name="connsiteX7114" fmla="*/ 2246433 w 5610835"/>
              <a:gd name="connsiteY7114" fmla="*/ 960621 h 5278114"/>
              <a:gd name="connsiteX7115" fmla="*/ 2244842 w 5610835"/>
              <a:gd name="connsiteY7115" fmla="*/ 962212 h 5278114"/>
              <a:gd name="connsiteX7116" fmla="*/ 2247825 w 5610835"/>
              <a:gd name="connsiteY7116" fmla="*/ 961814 h 5278114"/>
              <a:gd name="connsiteX7117" fmla="*/ 2248248 w 5610835"/>
              <a:gd name="connsiteY7117" fmla="*/ 962284 h 5278114"/>
              <a:gd name="connsiteX7118" fmla="*/ 2245837 w 5610835"/>
              <a:gd name="connsiteY7118" fmla="*/ 962411 h 5278114"/>
              <a:gd name="connsiteX7119" fmla="*/ 2244285 w 5610835"/>
              <a:gd name="connsiteY7119" fmla="*/ 963246 h 5278114"/>
              <a:gd name="connsiteX7120" fmla="*/ 2241661 w 5610835"/>
              <a:gd name="connsiteY7120" fmla="*/ 960621 h 5278114"/>
              <a:gd name="connsiteX7121" fmla="*/ 2243252 w 5610835"/>
              <a:gd name="connsiteY7121" fmla="*/ 959030 h 5278114"/>
              <a:gd name="connsiteX7122" fmla="*/ 2244842 w 5610835"/>
              <a:gd name="connsiteY7122" fmla="*/ 957439 h 5278114"/>
              <a:gd name="connsiteX7123" fmla="*/ 2241661 w 5610835"/>
              <a:gd name="connsiteY7123" fmla="*/ 957439 h 5278114"/>
              <a:gd name="connsiteX7124" fmla="*/ 2238480 w 5610835"/>
              <a:gd name="connsiteY7124" fmla="*/ 959030 h 5278114"/>
              <a:gd name="connsiteX7125" fmla="*/ 2235299 w 5610835"/>
              <a:gd name="connsiteY7125" fmla="*/ 957439 h 5278114"/>
              <a:gd name="connsiteX7126" fmla="*/ 2233708 w 5610835"/>
              <a:gd name="connsiteY7126" fmla="*/ 955849 h 5278114"/>
              <a:gd name="connsiteX7127" fmla="*/ 2232118 w 5610835"/>
              <a:gd name="connsiteY7127" fmla="*/ 955849 h 5278114"/>
              <a:gd name="connsiteX7128" fmla="*/ 2230526 w 5610835"/>
              <a:gd name="connsiteY7128" fmla="*/ 957439 h 5278114"/>
              <a:gd name="connsiteX7129" fmla="*/ 2232118 w 5610835"/>
              <a:gd name="connsiteY7129" fmla="*/ 954258 h 5278114"/>
              <a:gd name="connsiteX7130" fmla="*/ 2230526 w 5610835"/>
              <a:gd name="connsiteY7130" fmla="*/ 954258 h 5278114"/>
              <a:gd name="connsiteX7131" fmla="*/ 2227345 w 5610835"/>
              <a:gd name="connsiteY7131" fmla="*/ 957439 h 5278114"/>
              <a:gd name="connsiteX7132" fmla="*/ 2228538 w 5610835"/>
              <a:gd name="connsiteY7132" fmla="*/ 959826 h 5278114"/>
              <a:gd name="connsiteX7133" fmla="*/ 2227345 w 5610835"/>
              <a:gd name="connsiteY7133" fmla="*/ 959030 h 5278114"/>
              <a:gd name="connsiteX7134" fmla="*/ 2225754 w 5610835"/>
              <a:gd name="connsiteY7134" fmla="*/ 959030 h 5278114"/>
              <a:gd name="connsiteX7135" fmla="*/ 2224163 w 5610835"/>
              <a:gd name="connsiteY7135" fmla="*/ 962212 h 5278114"/>
              <a:gd name="connsiteX7136" fmla="*/ 2224163 w 5610835"/>
              <a:gd name="connsiteY7136" fmla="*/ 968575 h 5278114"/>
              <a:gd name="connsiteX7137" fmla="*/ 2222572 w 5610835"/>
              <a:gd name="connsiteY7137" fmla="*/ 970165 h 5278114"/>
              <a:gd name="connsiteX7138" fmla="*/ 2222573 w 5610835"/>
              <a:gd name="connsiteY7138" fmla="*/ 970165 h 5278114"/>
              <a:gd name="connsiteX7139" fmla="*/ 2220983 w 5610835"/>
              <a:gd name="connsiteY7139" fmla="*/ 971756 h 5278114"/>
              <a:gd name="connsiteX7140" fmla="*/ 2219391 w 5610835"/>
              <a:gd name="connsiteY7140" fmla="*/ 974937 h 5278114"/>
              <a:gd name="connsiteX7141" fmla="*/ 2219391 w 5610835"/>
              <a:gd name="connsiteY7141" fmla="*/ 976528 h 5278114"/>
              <a:gd name="connsiteX7142" fmla="*/ 2222572 w 5610835"/>
              <a:gd name="connsiteY7142" fmla="*/ 974937 h 5278114"/>
              <a:gd name="connsiteX7143" fmla="*/ 2225754 w 5610835"/>
              <a:gd name="connsiteY7143" fmla="*/ 973346 h 5278114"/>
              <a:gd name="connsiteX7144" fmla="*/ 2222573 w 5610835"/>
              <a:gd name="connsiteY7144" fmla="*/ 970165 h 5278114"/>
              <a:gd name="connsiteX7145" fmla="*/ 2224163 w 5610835"/>
              <a:gd name="connsiteY7145" fmla="*/ 968575 h 5278114"/>
              <a:gd name="connsiteX7146" fmla="*/ 2225754 w 5610835"/>
              <a:gd name="connsiteY7146" fmla="*/ 968575 h 5278114"/>
              <a:gd name="connsiteX7147" fmla="*/ 2225754 w 5610835"/>
              <a:gd name="connsiteY7147" fmla="*/ 960621 h 5278114"/>
              <a:gd name="connsiteX7148" fmla="*/ 2228936 w 5610835"/>
              <a:gd name="connsiteY7148" fmla="*/ 960621 h 5278114"/>
              <a:gd name="connsiteX7149" fmla="*/ 2228538 w 5610835"/>
              <a:gd name="connsiteY7149" fmla="*/ 959826 h 5278114"/>
              <a:gd name="connsiteX7150" fmla="*/ 2232118 w 5610835"/>
              <a:gd name="connsiteY7150" fmla="*/ 960621 h 5278114"/>
              <a:gd name="connsiteX7151" fmla="*/ 2230526 w 5610835"/>
              <a:gd name="connsiteY7151" fmla="*/ 962212 h 5278114"/>
              <a:gd name="connsiteX7152" fmla="*/ 2232118 w 5610835"/>
              <a:gd name="connsiteY7152" fmla="*/ 965393 h 5278114"/>
              <a:gd name="connsiteX7153" fmla="*/ 2235299 w 5610835"/>
              <a:gd name="connsiteY7153" fmla="*/ 962212 h 5278114"/>
              <a:gd name="connsiteX7154" fmla="*/ 2235299 w 5610835"/>
              <a:gd name="connsiteY7154" fmla="*/ 962212 h 5278114"/>
              <a:gd name="connsiteX7155" fmla="*/ 2236891 w 5610835"/>
              <a:gd name="connsiteY7155" fmla="*/ 962212 h 5278114"/>
              <a:gd name="connsiteX7156" fmla="*/ 2236891 w 5610835"/>
              <a:gd name="connsiteY7156" fmla="*/ 962213 h 5278114"/>
              <a:gd name="connsiteX7157" fmla="*/ 2240070 w 5610835"/>
              <a:gd name="connsiteY7157" fmla="*/ 963803 h 5278114"/>
              <a:gd name="connsiteX7158" fmla="*/ 2238480 w 5610835"/>
              <a:gd name="connsiteY7158" fmla="*/ 965393 h 5278114"/>
              <a:gd name="connsiteX7159" fmla="*/ 2238480 w 5610835"/>
              <a:gd name="connsiteY7159" fmla="*/ 965393 h 5278114"/>
              <a:gd name="connsiteX7160" fmla="*/ 2240070 w 5610835"/>
              <a:gd name="connsiteY7160" fmla="*/ 966984 h 5278114"/>
              <a:gd name="connsiteX7161" fmla="*/ 2240070 w 5610835"/>
              <a:gd name="connsiteY7161" fmla="*/ 965393 h 5278114"/>
              <a:gd name="connsiteX7162" fmla="*/ 2243252 w 5610835"/>
              <a:gd name="connsiteY7162" fmla="*/ 965393 h 5278114"/>
              <a:gd name="connsiteX7163" fmla="*/ 2243252 w 5610835"/>
              <a:gd name="connsiteY7163" fmla="*/ 966984 h 5278114"/>
              <a:gd name="connsiteX7164" fmla="*/ 2243252 w 5610835"/>
              <a:gd name="connsiteY7164" fmla="*/ 968575 h 5278114"/>
              <a:gd name="connsiteX7165" fmla="*/ 2241661 w 5610835"/>
              <a:gd name="connsiteY7165" fmla="*/ 970165 h 5278114"/>
              <a:gd name="connsiteX7166" fmla="*/ 2244842 w 5610835"/>
              <a:gd name="connsiteY7166" fmla="*/ 970165 h 5278114"/>
              <a:gd name="connsiteX7167" fmla="*/ 2246433 w 5610835"/>
              <a:gd name="connsiteY7167" fmla="*/ 970165 h 5278114"/>
              <a:gd name="connsiteX7168" fmla="*/ 2248024 w 5610835"/>
              <a:gd name="connsiteY7168" fmla="*/ 970165 h 5278114"/>
              <a:gd name="connsiteX7169" fmla="*/ 2251205 w 5610835"/>
              <a:gd name="connsiteY7169" fmla="*/ 966984 h 5278114"/>
              <a:gd name="connsiteX7170" fmla="*/ 2251205 w 5610835"/>
              <a:gd name="connsiteY7170" fmla="*/ 965393 h 5278114"/>
              <a:gd name="connsiteX7171" fmla="*/ 2248024 w 5610835"/>
              <a:gd name="connsiteY7171" fmla="*/ 965393 h 5278114"/>
              <a:gd name="connsiteX7172" fmla="*/ 2249615 w 5610835"/>
              <a:gd name="connsiteY7172" fmla="*/ 966984 h 5278114"/>
              <a:gd name="connsiteX7173" fmla="*/ 2244842 w 5610835"/>
              <a:gd name="connsiteY7173" fmla="*/ 965393 h 5278114"/>
              <a:gd name="connsiteX7174" fmla="*/ 2246433 w 5610835"/>
              <a:gd name="connsiteY7174" fmla="*/ 963803 h 5278114"/>
              <a:gd name="connsiteX7175" fmla="*/ 2249615 w 5610835"/>
              <a:gd name="connsiteY7175" fmla="*/ 963803 h 5278114"/>
              <a:gd name="connsiteX7176" fmla="*/ 2248248 w 5610835"/>
              <a:gd name="connsiteY7176" fmla="*/ 962284 h 5278114"/>
              <a:gd name="connsiteX7177" fmla="*/ 2249615 w 5610835"/>
              <a:gd name="connsiteY7177" fmla="*/ 962212 h 5278114"/>
              <a:gd name="connsiteX7178" fmla="*/ 2252796 w 5610835"/>
              <a:gd name="connsiteY7178" fmla="*/ 962212 h 5278114"/>
              <a:gd name="connsiteX7179" fmla="*/ 2252796 w 5610835"/>
              <a:gd name="connsiteY7179" fmla="*/ 963803 h 5278114"/>
              <a:gd name="connsiteX7180" fmla="*/ 2257570 w 5610835"/>
              <a:gd name="connsiteY7180" fmla="*/ 962212 h 5278114"/>
              <a:gd name="connsiteX7181" fmla="*/ 2257570 w 5610835"/>
              <a:gd name="connsiteY7181" fmla="*/ 960621 h 5278114"/>
              <a:gd name="connsiteX7182" fmla="*/ 2257570 w 5610835"/>
              <a:gd name="connsiteY7182" fmla="*/ 957439 h 5278114"/>
              <a:gd name="connsiteX7183" fmla="*/ 2255978 w 5610835"/>
              <a:gd name="connsiteY7183" fmla="*/ 959030 h 5278114"/>
              <a:gd name="connsiteX7184" fmla="*/ 2252796 w 5610835"/>
              <a:gd name="connsiteY7184" fmla="*/ 959030 h 5278114"/>
              <a:gd name="connsiteX7185" fmla="*/ 2251205 w 5610835"/>
              <a:gd name="connsiteY7185" fmla="*/ 959030 h 5278114"/>
              <a:gd name="connsiteX7186" fmla="*/ 2254387 w 5610835"/>
              <a:gd name="connsiteY7186" fmla="*/ 955849 h 5278114"/>
              <a:gd name="connsiteX7187" fmla="*/ 2257570 w 5610835"/>
              <a:gd name="connsiteY7187" fmla="*/ 954258 h 5278114"/>
              <a:gd name="connsiteX7188" fmla="*/ 2259159 w 5610835"/>
              <a:gd name="connsiteY7188" fmla="*/ 955849 h 5278114"/>
              <a:gd name="connsiteX7189" fmla="*/ 2259159 w 5610835"/>
              <a:gd name="connsiteY7189" fmla="*/ 957439 h 5278114"/>
              <a:gd name="connsiteX7190" fmla="*/ 2259159 w 5610835"/>
              <a:gd name="connsiteY7190" fmla="*/ 959030 h 5278114"/>
              <a:gd name="connsiteX7191" fmla="*/ 2262342 w 5610835"/>
              <a:gd name="connsiteY7191" fmla="*/ 957439 h 5278114"/>
              <a:gd name="connsiteX7192" fmla="*/ 2263932 w 5610835"/>
              <a:gd name="connsiteY7192" fmla="*/ 957439 h 5278114"/>
              <a:gd name="connsiteX7193" fmla="*/ 2265523 w 5610835"/>
              <a:gd name="connsiteY7193" fmla="*/ 957439 h 5278114"/>
              <a:gd name="connsiteX7194" fmla="*/ 2267113 w 5610835"/>
              <a:gd name="connsiteY7194" fmla="*/ 955849 h 5278114"/>
              <a:gd name="connsiteX7195" fmla="*/ 2267113 w 5610835"/>
              <a:gd name="connsiteY7195" fmla="*/ 954258 h 5278114"/>
              <a:gd name="connsiteX7196" fmla="*/ 2265523 w 5610835"/>
              <a:gd name="connsiteY7196" fmla="*/ 952667 h 5278114"/>
              <a:gd name="connsiteX7197" fmla="*/ 2262342 w 5610835"/>
              <a:gd name="connsiteY7197" fmla="*/ 951077 h 5278114"/>
              <a:gd name="connsiteX7198" fmla="*/ 2260219 w 5610835"/>
              <a:gd name="connsiteY7198" fmla="*/ 952137 h 5278114"/>
              <a:gd name="connsiteX7199" fmla="*/ 2259159 w 5610835"/>
              <a:gd name="connsiteY7199" fmla="*/ 951076 h 5278114"/>
              <a:gd name="connsiteX7200" fmla="*/ 2259159 w 5610835"/>
              <a:gd name="connsiteY7200" fmla="*/ 949485 h 5278114"/>
              <a:gd name="connsiteX7201" fmla="*/ 2263932 w 5610835"/>
              <a:gd name="connsiteY7201" fmla="*/ 949485 h 5278114"/>
              <a:gd name="connsiteX7202" fmla="*/ 2263932 w 5610835"/>
              <a:gd name="connsiteY7202" fmla="*/ 947896 h 5278114"/>
              <a:gd name="connsiteX7203" fmla="*/ 2259159 w 5610835"/>
              <a:gd name="connsiteY7203" fmla="*/ 949485 h 5278114"/>
              <a:gd name="connsiteX7204" fmla="*/ 2257570 w 5610835"/>
              <a:gd name="connsiteY7204" fmla="*/ 949485 h 5278114"/>
              <a:gd name="connsiteX7205" fmla="*/ 2255978 w 5610835"/>
              <a:gd name="connsiteY7205" fmla="*/ 949485 h 5278114"/>
              <a:gd name="connsiteX7206" fmla="*/ 2255978 w 5610835"/>
              <a:gd name="connsiteY7206" fmla="*/ 947896 h 5278114"/>
              <a:gd name="connsiteX7207" fmla="*/ 2252796 w 5610835"/>
              <a:gd name="connsiteY7207" fmla="*/ 949485 h 5278114"/>
              <a:gd name="connsiteX7208" fmla="*/ 2255978 w 5610835"/>
              <a:gd name="connsiteY7208" fmla="*/ 949485 h 5278114"/>
              <a:gd name="connsiteX7209" fmla="*/ 2251205 w 5610835"/>
              <a:gd name="connsiteY7209" fmla="*/ 951077 h 5278114"/>
              <a:gd name="connsiteX7210" fmla="*/ 2251205 w 5610835"/>
              <a:gd name="connsiteY7210" fmla="*/ 946304 h 5278114"/>
              <a:gd name="connsiteX7211" fmla="*/ 2255978 w 5610835"/>
              <a:gd name="connsiteY7211" fmla="*/ 941532 h 5278114"/>
              <a:gd name="connsiteX7212" fmla="*/ 2255978 w 5610835"/>
              <a:gd name="connsiteY7212" fmla="*/ 943123 h 5278114"/>
              <a:gd name="connsiteX7213" fmla="*/ 2254387 w 5610835"/>
              <a:gd name="connsiteY7213" fmla="*/ 944118 h 5278114"/>
              <a:gd name="connsiteX7214" fmla="*/ 2252796 w 5610835"/>
              <a:gd name="connsiteY7214" fmla="*/ 946304 h 5278114"/>
              <a:gd name="connsiteX7215" fmla="*/ 2255978 w 5610835"/>
              <a:gd name="connsiteY7215" fmla="*/ 943123 h 5278114"/>
              <a:gd name="connsiteX7216" fmla="*/ 2257570 w 5610835"/>
              <a:gd name="connsiteY7216" fmla="*/ 941532 h 5278114"/>
              <a:gd name="connsiteX7217" fmla="*/ 2260750 w 5610835"/>
              <a:gd name="connsiteY7217" fmla="*/ 938351 h 5278114"/>
              <a:gd name="connsiteX7218" fmla="*/ 2262342 w 5610835"/>
              <a:gd name="connsiteY7218" fmla="*/ 938351 h 5278114"/>
              <a:gd name="connsiteX7219" fmla="*/ 2263932 w 5610835"/>
              <a:gd name="connsiteY7219" fmla="*/ 941532 h 5278114"/>
              <a:gd name="connsiteX7220" fmla="*/ 2265523 w 5610835"/>
              <a:gd name="connsiteY7220" fmla="*/ 939942 h 5278114"/>
              <a:gd name="connsiteX7221" fmla="*/ 2267113 w 5610835"/>
              <a:gd name="connsiteY7221" fmla="*/ 943123 h 5278114"/>
              <a:gd name="connsiteX7222" fmla="*/ 2270294 w 5610835"/>
              <a:gd name="connsiteY7222" fmla="*/ 941532 h 5278114"/>
              <a:gd name="connsiteX7223" fmla="*/ 2273476 w 5610835"/>
              <a:gd name="connsiteY7223" fmla="*/ 943123 h 5278114"/>
              <a:gd name="connsiteX7224" fmla="*/ 2275066 w 5610835"/>
              <a:gd name="connsiteY7224" fmla="*/ 941532 h 5278114"/>
              <a:gd name="connsiteX7225" fmla="*/ 2276657 w 5610835"/>
              <a:gd name="connsiteY7225" fmla="*/ 941532 h 5278114"/>
              <a:gd name="connsiteX7226" fmla="*/ 2276223 w 5610835"/>
              <a:gd name="connsiteY7226" fmla="*/ 941099 h 5278114"/>
              <a:gd name="connsiteX7227" fmla="*/ 2276657 w 5610835"/>
              <a:gd name="connsiteY7227" fmla="*/ 940936 h 5278114"/>
              <a:gd name="connsiteX7228" fmla="*/ 2278248 w 5610835"/>
              <a:gd name="connsiteY7228" fmla="*/ 941532 h 5278114"/>
              <a:gd name="connsiteX7229" fmla="*/ 2281430 w 5610835"/>
              <a:gd name="connsiteY7229" fmla="*/ 939942 h 5278114"/>
              <a:gd name="connsiteX7230" fmla="*/ 2284611 w 5610835"/>
              <a:gd name="connsiteY7230" fmla="*/ 939942 h 5278114"/>
              <a:gd name="connsiteX7231" fmla="*/ 2287794 w 5610835"/>
              <a:gd name="connsiteY7231" fmla="*/ 936760 h 5278114"/>
              <a:gd name="connsiteX7232" fmla="*/ 2290974 w 5610835"/>
              <a:gd name="connsiteY7232" fmla="*/ 936760 h 5278114"/>
              <a:gd name="connsiteX7233" fmla="*/ 2290974 w 5610835"/>
              <a:gd name="connsiteY7233" fmla="*/ 938351 h 5278114"/>
              <a:gd name="connsiteX7234" fmla="*/ 2289384 w 5610835"/>
              <a:gd name="connsiteY7234" fmla="*/ 939942 h 5278114"/>
              <a:gd name="connsiteX7235" fmla="*/ 2289384 w 5610835"/>
              <a:gd name="connsiteY7235" fmla="*/ 941532 h 5278114"/>
              <a:gd name="connsiteX7236" fmla="*/ 2287794 w 5610835"/>
              <a:gd name="connsiteY7236" fmla="*/ 943123 h 5278114"/>
              <a:gd name="connsiteX7237" fmla="*/ 2286202 w 5610835"/>
              <a:gd name="connsiteY7237" fmla="*/ 941532 h 5278114"/>
              <a:gd name="connsiteX7238" fmla="*/ 2284611 w 5610835"/>
              <a:gd name="connsiteY7238" fmla="*/ 943123 h 5278114"/>
              <a:gd name="connsiteX7239" fmla="*/ 2283020 w 5610835"/>
              <a:gd name="connsiteY7239" fmla="*/ 941532 h 5278114"/>
              <a:gd name="connsiteX7240" fmla="*/ 2279839 w 5610835"/>
              <a:gd name="connsiteY7240" fmla="*/ 944713 h 5278114"/>
              <a:gd name="connsiteX7241" fmla="*/ 2283020 w 5610835"/>
              <a:gd name="connsiteY7241" fmla="*/ 944713 h 5278114"/>
              <a:gd name="connsiteX7242" fmla="*/ 2286202 w 5610835"/>
              <a:gd name="connsiteY7242" fmla="*/ 946304 h 5278114"/>
              <a:gd name="connsiteX7243" fmla="*/ 2289384 w 5610835"/>
              <a:gd name="connsiteY7243" fmla="*/ 944713 h 5278114"/>
              <a:gd name="connsiteX7244" fmla="*/ 2289384 w 5610835"/>
              <a:gd name="connsiteY7244" fmla="*/ 943123 h 5278114"/>
              <a:gd name="connsiteX7245" fmla="*/ 2290974 w 5610835"/>
              <a:gd name="connsiteY7245" fmla="*/ 941532 h 5278114"/>
              <a:gd name="connsiteX7246" fmla="*/ 2289384 w 5610835"/>
              <a:gd name="connsiteY7246" fmla="*/ 939942 h 5278114"/>
              <a:gd name="connsiteX7247" fmla="*/ 2290974 w 5610835"/>
              <a:gd name="connsiteY7247" fmla="*/ 939942 h 5278114"/>
              <a:gd name="connsiteX7248" fmla="*/ 2291106 w 5610835"/>
              <a:gd name="connsiteY7248" fmla="*/ 939809 h 5278114"/>
              <a:gd name="connsiteX7249" fmla="*/ 2290975 w 5610835"/>
              <a:gd name="connsiteY7249" fmla="*/ 938363 h 5278114"/>
              <a:gd name="connsiteX7250" fmla="*/ 2292027 w 5610835"/>
              <a:gd name="connsiteY7250" fmla="*/ 938889 h 5278114"/>
              <a:gd name="connsiteX7251" fmla="*/ 2294156 w 5610835"/>
              <a:gd name="connsiteY7251" fmla="*/ 936760 h 5278114"/>
              <a:gd name="connsiteX7252" fmla="*/ 2295747 w 5610835"/>
              <a:gd name="connsiteY7252" fmla="*/ 936760 h 5278114"/>
              <a:gd name="connsiteX7253" fmla="*/ 2295747 w 5610835"/>
              <a:gd name="connsiteY7253" fmla="*/ 938959 h 5278114"/>
              <a:gd name="connsiteX7254" fmla="*/ 2297337 w 5610835"/>
              <a:gd name="connsiteY7254" fmla="*/ 936772 h 5278114"/>
              <a:gd name="connsiteX7255" fmla="*/ 2300494 w 5610835"/>
              <a:gd name="connsiteY7255" fmla="*/ 936772 h 5278114"/>
              <a:gd name="connsiteX7256" fmla="*/ 2300518 w 5610835"/>
              <a:gd name="connsiteY7256" fmla="*/ 936760 h 5278114"/>
              <a:gd name="connsiteX7257" fmla="*/ 2298928 w 5610835"/>
              <a:gd name="connsiteY7257" fmla="*/ 935170 h 5278114"/>
              <a:gd name="connsiteX7258" fmla="*/ 2300832 w 5610835"/>
              <a:gd name="connsiteY7258" fmla="*/ 934217 h 5278114"/>
              <a:gd name="connsiteX7259" fmla="*/ 2300520 w 5610835"/>
              <a:gd name="connsiteY7259" fmla="*/ 933592 h 5278114"/>
              <a:gd name="connsiteX7260" fmla="*/ 2302111 w 5610835"/>
              <a:gd name="connsiteY7260" fmla="*/ 932000 h 5278114"/>
              <a:gd name="connsiteX7261" fmla="*/ 2303257 w 5610835"/>
              <a:gd name="connsiteY7261" fmla="*/ 933148 h 5278114"/>
              <a:gd name="connsiteX7262" fmla="*/ 2303700 w 5610835"/>
              <a:gd name="connsiteY7262" fmla="*/ 932982 h 5278114"/>
              <a:gd name="connsiteX7263" fmla="*/ 2305290 w 5610835"/>
              <a:gd name="connsiteY7263" fmla="*/ 933578 h 5278114"/>
              <a:gd name="connsiteX7264" fmla="*/ 2306881 w 5610835"/>
              <a:gd name="connsiteY7264" fmla="*/ 931989 h 5278114"/>
              <a:gd name="connsiteX7265" fmla="*/ 2308472 w 5610835"/>
              <a:gd name="connsiteY7265" fmla="*/ 931989 h 5278114"/>
              <a:gd name="connsiteX7266" fmla="*/ 2306881 w 5610835"/>
              <a:gd name="connsiteY7266" fmla="*/ 928807 h 5278114"/>
              <a:gd name="connsiteX7267" fmla="*/ 2310063 w 5610835"/>
              <a:gd name="connsiteY7267" fmla="*/ 925625 h 5278114"/>
              <a:gd name="connsiteX7268" fmla="*/ 2310063 w 5610835"/>
              <a:gd name="connsiteY7268" fmla="*/ 924035 h 5278114"/>
              <a:gd name="connsiteX7269" fmla="*/ 2308472 w 5610835"/>
              <a:gd name="connsiteY7269" fmla="*/ 922444 h 5278114"/>
              <a:gd name="connsiteX7270" fmla="*/ 2308472 w 5610835"/>
              <a:gd name="connsiteY7270" fmla="*/ 920853 h 5278114"/>
              <a:gd name="connsiteX7271" fmla="*/ 2313244 w 5610835"/>
              <a:gd name="connsiteY7271" fmla="*/ 919262 h 5278114"/>
              <a:gd name="connsiteX7272" fmla="*/ 2321198 w 5610835"/>
              <a:gd name="connsiteY7272" fmla="*/ 927216 h 5278114"/>
              <a:gd name="connsiteX7273" fmla="*/ 2327561 w 5610835"/>
              <a:gd name="connsiteY7273" fmla="*/ 933578 h 5278114"/>
              <a:gd name="connsiteX7274" fmla="*/ 2327561 w 5610835"/>
              <a:gd name="connsiteY7274" fmla="*/ 935170 h 5278114"/>
              <a:gd name="connsiteX7275" fmla="*/ 2329152 w 5610835"/>
              <a:gd name="connsiteY7275" fmla="*/ 935170 h 5278114"/>
              <a:gd name="connsiteX7276" fmla="*/ 2340287 w 5610835"/>
              <a:gd name="connsiteY7276" fmla="*/ 946304 h 5278114"/>
              <a:gd name="connsiteX7277" fmla="*/ 2283020 w 5610835"/>
              <a:gd name="connsiteY7277" fmla="*/ 1011524 h 5278114"/>
              <a:gd name="connsiteX7278" fmla="*/ 2275066 w 5610835"/>
              <a:gd name="connsiteY7278" fmla="*/ 1016296 h 5278114"/>
              <a:gd name="connsiteX7279" fmla="*/ 2276657 w 5610835"/>
              <a:gd name="connsiteY7279" fmla="*/ 1014706 h 5278114"/>
              <a:gd name="connsiteX7280" fmla="*/ 2276657 w 5610835"/>
              <a:gd name="connsiteY7280" fmla="*/ 1013115 h 5278114"/>
              <a:gd name="connsiteX7281" fmla="*/ 2275066 w 5610835"/>
              <a:gd name="connsiteY7281" fmla="*/ 1014706 h 5278114"/>
              <a:gd name="connsiteX7282" fmla="*/ 2271885 w 5610835"/>
              <a:gd name="connsiteY7282" fmla="*/ 1016296 h 5278114"/>
              <a:gd name="connsiteX7283" fmla="*/ 2270294 w 5610835"/>
              <a:gd name="connsiteY7283" fmla="*/ 1016296 h 5278114"/>
              <a:gd name="connsiteX7284" fmla="*/ 2268704 w 5610835"/>
              <a:gd name="connsiteY7284" fmla="*/ 1017887 h 5278114"/>
              <a:gd name="connsiteX7285" fmla="*/ 2270294 w 5610835"/>
              <a:gd name="connsiteY7285" fmla="*/ 1019478 h 5278114"/>
              <a:gd name="connsiteX7286" fmla="*/ 2267113 w 5610835"/>
              <a:gd name="connsiteY7286" fmla="*/ 1019478 h 5278114"/>
              <a:gd name="connsiteX7287" fmla="*/ 2268704 w 5610835"/>
              <a:gd name="connsiteY7287" fmla="*/ 1021069 h 5278114"/>
              <a:gd name="connsiteX7288" fmla="*/ 2249615 w 5610835"/>
              <a:gd name="connsiteY7288" fmla="*/ 1032204 h 5278114"/>
              <a:gd name="connsiteX7289" fmla="*/ 2244842 w 5610835"/>
              <a:gd name="connsiteY7289" fmla="*/ 1025841 h 5278114"/>
              <a:gd name="connsiteX7290" fmla="*/ 2157352 w 5610835"/>
              <a:gd name="connsiteY7290" fmla="*/ 1079926 h 5278114"/>
              <a:gd name="connsiteX7291" fmla="*/ 2155761 w 5610835"/>
              <a:gd name="connsiteY7291" fmla="*/ 1081517 h 5278114"/>
              <a:gd name="connsiteX7292" fmla="*/ 2115994 w 5610835"/>
              <a:gd name="connsiteY7292" fmla="*/ 1121285 h 5278114"/>
              <a:gd name="connsiteX7293" fmla="*/ 2116192 w 5610835"/>
              <a:gd name="connsiteY7293" fmla="*/ 1119694 h 5278114"/>
              <a:gd name="connsiteX7294" fmla="*/ 2117584 w 5610835"/>
              <a:gd name="connsiteY7294" fmla="*/ 1118104 h 5278114"/>
              <a:gd name="connsiteX7295" fmla="*/ 2115994 w 5610835"/>
              <a:gd name="connsiteY7295" fmla="*/ 1118104 h 5278114"/>
              <a:gd name="connsiteX7296" fmla="*/ 2114403 w 5610835"/>
              <a:gd name="connsiteY7296" fmla="*/ 1121285 h 5278114"/>
              <a:gd name="connsiteX7297" fmla="*/ 2115198 w 5610835"/>
              <a:gd name="connsiteY7297" fmla="*/ 1122080 h 5278114"/>
              <a:gd name="connsiteX7298" fmla="*/ 2112812 w 5610835"/>
              <a:gd name="connsiteY7298" fmla="*/ 1124466 h 5278114"/>
              <a:gd name="connsiteX7299" fmla="*/ 2112812 w 5610835"/>
              <a:gd name="connsiteY7299" fmla="*/ 1126057 h 5278114"/>
              <a:gd name="connsiteX7300" fmla="*/ 2109630 w 5610835"/>
              <a:gd name="connsiteY7300" fmla="*/ 1129238 h 5278114"/>
              <a:gd name="connsiteX7301" fmla="*/ 2104858 w 5610835"/>
              <a:gd name="connsiteY7301" fmla="*/ 1132420 h 5278114"/>
              <a:gd name="connsiteX7302" fmla="*/ 2108040 w 5610835"/>
              <a:gd name="connsiteY7302" fmla="*/ 1132420 h 5278114"/>
              <a:gd name="connsiteX7303" fmla="*/ 2073018 w 5610835"/>
              <a:gd name="connsiteY7303" fmla="*/ 1181684 h 5278114"/>
              <a:gd name="connsiteX7304" fmla="*/ 2071453 w 5610835"/>
              <a:gd name="connsiteY7304" fmla="*/ 1178551 h 5278114"/>
              <a:gd name="connsiteX7305" fmla="*/ 2068271 w 5610835"/>
              <a:gd name="connsiteY7305" fmla="*/ 1178551 h 5278114"/>
              <a:gd name="connsiteX7306" fmla="*/ 2069862 w 5610835"/>
              <a:gd name="connsiteY7306" fmla="*/ 1181732 h 5278114"/>
              <a:gd name="connsiteX7307" fmla="*/ 2072984 w 5610835"/>
              <a:gd name="connsiteY7307" fmla="*/ 1181732 h 5278114"/>
              <a:gd name="connsiteX7308" fmla="*/ 2066483 w 5610835"/>
              <a:gd name="connsiteY7308" fmla="*/ 1190879 h 5278114"/>
              <a:gd name="connsiteX7309" fmla="*/ 2033275 w 5610835"/>
              <a:gd name="connsiteY7309" fmla="*/ 1256497 h 5278114"/>
              <a:gd name="connsiteX7310" fmla="*/ 2031685 w 5610835"/>
              <a:gd name="connsiteY7310" fmla="*/ 1256497 h 5278114"/>
              <a:gd name="connsiteX7311" fmla="*/ 2028503 w 5610835"/>
              <a:gd name="connsiteY7311" fmla="*/ 1256497 h 5278114"/>
              <a:gd name="connsiteX7312" fmla="*/ 2030095 w 5610835"/>
              <a:gd name="connsiteY7312" fmla="*/ 1258087 h 5278114"/>
              <a:gd name="connsiteX7313" fmla="*/ 2031685 w 5610835"/>
              <a:gd name="connsiteY7313" fmla="*/ 1258087 h 5278114"/>
              <a:gd name="connsiteX7314" fmla="*/ 1988736 w 5610835"/>
              <a:gd name="connsiteY7314" fmla="*/ 1464882 h 5278114"/>
              <a:gd name="connsiteX7315" fmla="*/ 2031685 w 5610835"/>
              <a:gd name="connsiteY7315" fmla="*/ 1709853 h 5278114"/>
              <a:gd name="connsiteX7316" fmla="*/ 2030095 w 5610835"/>
              <a:gd name="connsiteY7316" fmla="*/ 1709853 h 5278114"/>
              <a:gd name="connsiteX7317" fmla="*/ 2033275 w 5610835"/>
              <a:gd name="connsiteY7317" fmla="*/ 1714626 h 5278114"/>
              <a:gd name="connsiteX7318" fmla="*/ 2028503 w 5610835"/>
              <a:gd name="connsiteY7318" fmla="*/ 1714626 h 5278114"/>
              <a:gd name="connsiteX7319" fmla="*/ 2025323 w 5610835"/>
              <a:gd name="connsiteY7319" fmla="*/ 1719398 h 5278114"/>
              <a:gd name="connsiteX7320" fmla="*/ 2025323 w 5610835"/>
              <a:gd name="connsiteY7320" fmla="*/ 1713035 h 5278114"/>
              <a:gd name="connsiteX7321" fmla="*/ 2012595 w 5610835"/>
              <a:gd name="connsiteY7321" fmla="*/ 1714626 h 5278114"/>
              <a:gd name="connsiteX7322" fmla="*/ 2015777 w 5610835"/>
              <a:gd name="connsiteY7322" fmla="*/ 1706672 h 5278114"/>
              <a:gd name="connsiteX7323" fmla="*/ 2011005 w 5610835"/>
              <a:gd name="connsiteY7323" fmla="*/ 1706672 h 5278114"/>
              <a:gd name="connsiteX7324" fmla="*/ 2007823 w 5610835"/>
              <a:gd name="connsiteY7324" fmla="*/ 1700308 h 5278114"/>
              <a:gd name="connsiteX7325" fmla="*/ 2006233 w 5610835"/>
              <a:gd name="connsiteY7325" fmla="*/ 1720989 h 5278114"/>
              <a:gd name="connsiteX7326" fmla="*/ 2014186 w 5610835"/>
              <a:gd name="connsiteY7326" fmla="*/ 1719398 h 5278114"/>
              <a:gd name="connsiteX7327" fmla="*/ 2022140 w 5610835"/>
              <a:gd name="connsiteY7327" fmla="*/ 1719398 h 5278114"/>
              <a:gd name="connsiteX7328" fmla="*/ 2018959 w 5610835"/>
              <a:gd name="connsiteY7328" fmla="*/ 1724171 h 5278114"/>
              <a:gd name="connsiteX7329" fmla="*/ 2023731 w 5610835"/>
              <a:gd name="connsiteY7329" fmla="*/ 1730534 h 5278114"/>
              <a:gd name="connsiteX7330" fmla="*/ 2018959 w 5610835"/>
              <a:gd name="connsiteY7330" fmla="*/ 1730534 h 5278114"/>
              <a:gd name="connsiteX7331" fmla="*/ 2018959 w 5610835"/>
              <a:gd name="connsiteY7331" fmla="*/ 1725762 h 5278114"/>
              <a:gd name="connsiteX7332" fmla="*/ 2011005 w 5610835"/>
              <a:gd name="connsiteY7332" fmla="*/ 1727352 h 5278114"/>
              <a:gd name="connsiteX7333" fmla="*/ 2006233 w 5610835"/>
              <a:gd name="connsiteY7333" fmla="*/ 1725762 h 5278114"/>
              <a:gd name="connsiteX7334" fmla="*/ 2003052 w 5610835"/>
              <a:gd name="connsiteY7334" fmla="*/ 1725762 h 5278114"/>
              <a:gd name="connsiteX7335" fmla="*/ 2001461 w 5610835"/>
              <a:gd name="connsiteY7335" fmla="*/ 1725762 h 5278114"/>
              <a:gd name="connsiteX7336" fmla="*/ 1941013 w 5610835"/>
              <a:gd name="connsiteY7336" fmla="*/ 1404436 h 5278114"/>
              <a:gd name="connsiteX7337" fmla="*/ 1944917 w 5610835"/>
              <a:gd name="connsiteY7337" fmla="*/ 1403134 h 5278114"/>
              <a:gd name="connsiteX7338" fmla="*/ 1945785 w 5610835"/>
              <a:gd name="connsiteY7338" fmla="*/ 1404436 h 5278114"/>
              <a:gd name="connsiteX7339" fmla="*/ 1947253 w 5610835"/>
              <a:gd name="connsiteY7339" fmla="*/ 1404681 h 5278114"/>
              <a:gd name="connsiteX7340" fmla="*/ 1952147 w 5610835"/>
              <a:gd name="connsiteY7340" fmla="*/ 1410798 h 5278114"/>
              <a:gd name="connsiteX7341" fmla="*/ 1955329 w 5610835"/>
              <a:gd name="connsiteY7341" fmla="*/ 1406026 h 5278114"/>
              <a:gd name="connsiteX7342" fmla="*/ 1947253 w 5610835"/>
              <a:gd name="connsiteY7342" fmla="*/ 1404681 h 5278114"/>
              <a:gd name="connsiteX7343" fmla="*/ 1945785 w 5610835"/>
              <a:gd name="connsiteY7343" fmla="*/ 1402845 h 5278114"/>
              <a:gd name="connsiteX7344" fmla="*/ 1944917 w 5610835"/>
              <a:gd name="connsiteY7344" fmla="*/ 1403134 h 5278114"/>
              <a:gd name="connsiteX7345" fmla="*/ 1942604 w 5610835"/>
              <a:gd name="connsiteY7345" fmla="*/ 1399662 h 5278114"/>
              <a:gd name="connsiteX7346" fmla="*/ 1950557 w 5610835"/>
              <a:gd name="connsiteY7346" fmla="*/ 1399662 h 5278114"/>
              <a:gd name="connsiteX7347" fmla="*/ 1947375 w 5610835"/>
              <a:gd name="connsiteY7347" fmla="*/ 1394890 h 5278114"/>
              <a:gd name="connsiteX7348" fmla="*/ 1950557 w 5610835"/>
              <a:gd name="connsiteY7348" fmla="*/ 1388528 h 5278114"/>
              <a:gd name="connsiteX7349" fmla="*/ 1942604 w 5610835"/>
              <a:gd name="connsiteY7349" fmla="*/ 1393300 h 5278114"/>
              <a:gd name="connsiteX7350" fmla="*/ 1945785 w 5610835"/>
              <a:gd name="connsiteY7350" fmla="*/ 1398071 h 5278114"/>
              <a:gd name="connsiteX7351" fmla="*/ 1941013 w 5610835"/>
              <a:gd name="connsiteY7351" fmla="*/ 1399662 h 5278114"/>
              <a:gd name="connsiteX7352" fmla="*/ 1942604 w 5610835"/>
              <a:gd name="connsiteY7352" fmla="*/ 1380574 h 5278114"/>
              <a:gd name="connsiteX7353" fmla="*/ 1944195 w 5610835"/>
              <a:gd name="connsiteY7353" fmla="*/ 1377393 h 5278114"/>
              <a:gd name="connsiteX7354" fmla="*/ 1944195 w 5610835"/>
              <a:gd name="connsiteY7354" fmla="*/ 1375802 h 5278114"/>
              <a:gd name="connsiteX7355" fmla="*/ 1944195 w 5610835"/>
              <a:gd name="connsiteY7355" fmla="*/ 1371029 h 5278114"/>
              <a:gd name="connsiteX7356" fmla="*/ 1945785 w 5610835"/>
              <a:gd name="connsiteY7356" fmla="*/ 1369439 h 5278114"/>
              <a:gd name="connsiteX7357" fmla="*/ 1950557 w 5610835"/>
              <a:gd name="connsiteY7357" fmla="*/ 1369439 h 5278114"/>
              <a:gd name="connsiteX7358" fmla="*/ 1950557 w 5610835"/>
              <a:gd name="connsiteY7358" fmla="*/ 1374212 h 5278114"/>
              <a:gd name="connsiteX7359" fmla="*/ 1947375 w 5610835"/>
              <a:gd name="connsiteY7359" fmla="*/ 1378984 h 5278114"/>
              <a:gd name="connsiteX7360" fmla="*/ 1950557 w 5610835"/>
              <a:gd name="connsiteY7360" fmla="*/ 1380574 h 5278114"/>
              <a:gd name="connsiteX7361" fmla="*/ 1956920 w 5610835"/>
              <a:gd name="connsiteY7361" fmla="*/ 1375802 h 5278114"/>
              <a:gd name="connsiteX7362" fmla="*/ 1971237 w 5610835"/>
              <a:gd name="connsiteY7362" fmla="*/ 1382165 h 5278114"/>
              <a:gd name="connsiteX7363" fmla="*/ 1974418 w 5610835"/>
              <a:gd name="connsiteY7363" fmla="*/ 1391709 h 5278114"/>
              <a:gd name="connsiteX7364" fmla="*/ 1971237 w 5610835"/>
              <a:gd name="connsiteY7364" fmla="*/ 1396482 h 5278114"/>
              <a:gd name="connsiteX7365" fmla="*/ 1979190 w 5610835"/>
              <a:gd name="connsiteY7365" fmla="*/ 1396482 h 5278114"/>
              <a:gd name="connsiteX7366" fmla="*/ 1983962 w 5610835"/>
              <a:gd name="connsiteY7366" fmla="*/ 1401254 h 5278114"/>
              <a:gd name="connsiteX7367" fmla="*/ 1987144 w 5610835"/>
              <a:gd name="connsiteY7367" fmla="*/ 1407616 h 5278114"/>
              <a:gd name="connsiteX7368" fmla="*/ 1990325 w 5610835"/>
              <a:gd name="connsiteY7368" fmla="*/ 1401254 h 5278114"/>
              <a:gd name="connsiteX7369" fmla="*/ 1990325 w 5610835"/>
              <a:gd name="connsiteY7369" fmla="*/ 1394890 h 5278114"/>
              <a:gd name="connsiteX7370" fmla="*/ 1985553 w 5610835"/>
              <a:gd name="connsiteY7370" fmla="*/ 1398071 h 5278114"/>
              <a:gd name="connsiteX7371" fmla="*/ 1985553 w 5610835"/>
              <a:gd name="connsiteY7371" fmla="*/ 1396482 h 5278114"/>
              <a:gd name="connsiteX7372" fmla="*/ 1982371 w 5610835"/>
              <a:gd name="connsiteY7372" fmla="*/ 1388528 h 5278114"/>
              <a:gd name="connsiteX7373" fmla="*/ 1987144 w 5610835"/>
              <a:gd name="connsiteY7373" fmla="*/ 1388528 h 5278114"/>
              <a:gd name="connsiteX7374" fmla="*/ 1987144 w 5610835"/>
              <a:gd name="connsiteY7374" fmla="*/ 1383755 h 5278114"/>
              <a:gd name="connsiteX7375" fmla="*/ 1979190 w 5610835"/>
              <a:gd name="connsiteY7375" fmla="*/ 1383755 h 5278114"/>
              <a:gd name="connsiteX7376" fmla="*/ 1972828 w 5610835"/>
              <a:gd name="connsiteY7376" fmla="*/ 1375802 h 5278114"/>
              <a:gd name="connsiteX7377" fmla="*/ 1977599 w 5610835"/>
              <a:gd name="connsiteY7377" fmla="*/ 1369439 h 5278114"/>
              <a:gd name="connsiteX7378" fmla="*/ 1980781 w 5610835"/>
              <a:gd name="connsiteY7378" fmla="*/ 1369439 h 5278114"/>
              <a:gd name="connsiteX7379" fmla="*/ 1980781 w 5610835"/>
              <a:gd name="connsiteY7379" fmla="*/ 1364666 h 5278114"/>
              <a:gd name="connsiteX7380" fmla="*/ 1976539 w 5610835"/>
              <a:gd name="connsiteY7380" fmla="*/ 1368908 h 5278114"/>
              <a:gd name="connsiteX7381" fmla="*/ 1974418 w 5610835"/>
              <a:gd name="connsiteY7381" fmla="*/ 1367848 h 5278114"/>
              <a:gd name="connsiteX7382" fmla="*/ 1969646 w 5610835"/>
              <a:gd name="connsiteY7382" fmla="*/ 1371029 h 5278114"/>
              <a:gd name="connsiteX7383" fmla="*/ 1963284 w 5610835"/>
              <a:gd name="connsiteY7383" fmla="*/ 1369439 h 5278114"/>
              <a:gd name="connsiteX7384" fmla="*/ 1958512 w 5610835"/>
              <a:gd name="connsiteY7384" fmla="*/ 1372621 h 5278114"/>
              <a:gd name="connsiteX7385" fmla="*/ 1958512 w 5610835"/>
              <a:gd name="connsiteY7385" fmla="*/ 1367848 h 5278114"/>
              <a:gd name="connsiteX7386" fmla="*/ 1963284 w 5610835"/>
              <a:gd name="connsiteY7386" fmla="*/ 1367848 h 5278114"/>
              <a:gd name="connsiteX7387" fmla="*/ 1958512 w 5610835"/>
              <a:gd name="connsiteY7387" fmla="*/ 1358304 h 5278114"/>
              <a:gd name="connsiteX7388" fmla="*/ 1958512 w 5610835"/>
              <a:gd name="connsiteY7388" fmla="*/ 1351941 h 5278114"/>
              <a:gd name="connsiteX7389" fmla="*/ 1955329 w 5610835"/>
              <a:gd name="connsiteY7389" fmla="*/ 1353532 h 5278114"/>
              <a:gd name="connsiteX7390" fmla="*/ 1956920 w 5610835"/>
              <a:gd name="connsiteY7390" fmla="*/ 1345577 h 5278114"/>
              <a:gd name="connsiteX7391" fmla="*/ 1961692 w 5610835"/>
              <a:gd name="connsiteY7391" fmla="*/ 1343987 h 5278114"/>
              <a:gd name="connsiteX7392" fmla="*/ 1961692 w 5610835"/>
              <a:gd name="connsiteY7392" fmla="*/ 1348759 h 5278114"/>
              <a:gd name="connsiteX7393" fmla="*/ 1966465 w 5610835"/>
              <a:gd name="connsiteY7393" fmla="*/ 1343987 h 5278114"/>
              <a:gd name="connsiteX7394" fmla="*/ 1971237 w 5610835"/>
              <a:gd name="connsiteY7394" fmla="*/ 1347169 h 5278114"/>
              <a:gd name="connsiteX7395" fmla="*/ 1974418 w 5610835"/>
              <a:gd name="connsiteY7395" fmla="*/ 1342396 h 5278114"/>
              <a:gd name="connsiteX7396" fmla="*/ 1966465 w 5610835"/>
              <a:gd name="connsiteY7396" fmla="*/ 1343987 h 5278114"/>
              <a:gd name="connsiteX7397" fmla="*/ 1958512 w 5610835"/>
              <a:gd name="connsiteY7397" fmla="*/ 1340805 h 5278114"/>
              <a:gd name="connsiteX7398" fmla="*/ 1960101 w 5610835"/>
              <a:gd name="connsiteY7398" fmla="*/ 1334128 h 5278114"/>
              <a:gd name="connsiteX7399" fmla="*/ 1960101 w 5610835"/>
              <a:gd name="connsiteY7399" fmla="*/ 1336033 h 5278114"/>
              <a:gd name="connsiteX7400" fmla="*/ 1964874 w 5610835"/>
              <a:gd name="connsiteY7400" fmla="*/ 1336033 h 5278114"/>
              <a:gd name="connsiteX7401" fmla="*/ 1960652 w 5610835"/>
              <a:gd name="connsiteY7401" fmla="*/ 1331812 h 5278114"/>
              <a:gd name="connsiteX7402" fmla="*/ 1966465 w 5610835"/>
              <a:gd name="connsiteY7402" fmla="*/ 1307400 h 5278114"/>
              <a:gd name="connsiteX7403" fmla="*/ 1969646 w 5610835"/>
              <a:gd name="connsiteY7403" fmla="*/ 1307400 h 5278114"/>
              <a:gd name="connsiteX7404" fmla="*/ 1968056 w 5610835"/>
              <a:gd name="connsiteY7404" fmla="*/ 1302628 h 5278114"/>
              <a:gd name="connsiteX7405" fmla="*/ 1995097 w 5610835"/>
              <a:gd name="connsiteY7405" fmla="*/ 1226870 h 5278114"/>
              <a:gd name="connsiteX7406" fmla="*/ 2027367 w 5610835"/>
              <a:gd name="connsiteY7406" fmla="*/ 1167416 h 5278114"/>
              <a:gd name="connsiteX7407" fmla="*/ 2031685 w 5610835"/>
              <a:gd name="connsiteY7407" fmla="*/ 1159462 h 5278114"/>
              <a:gd name="connsiteX7408" fmla="*/ 2034866 w 5610835"/>
              <a:gd name="connsiteY7408" fmla="*/ 1159462 h 5278114"/>
              <a:gd name="connsiteX7409" fmla="*/ 2036456 w 5610835"/>
              <a:gd name="connsiteY7409" fmla="*/ 1157872 h 5278114"/>
              <a:gd name="connsiteX7410" fmla="*/ 2034866 w 5610835"/>
              <a:gd name="connsiteY7410" fmla="*/ 1153099 h 5278114"/>
              <a:gd name="connsiteX7411" fmla="*/ 2130310 w 5610835"/>
              <a:gd name="connsiteY7411" fmla="*/ 1043339 h 5278114"/>
              <a:gd name="connsiteX7412" fmla="*/ 2179623 w 5610835"/>
              <a:gd name="connsiteY7412" fmla="*/ 1019478 h 5278114"/>
              <a:gd name="connsiteX7413" fmla="*/ 2276657 w 5610835"/>
              <a:gd name="connsiteY7413" fmla="*/ 990845 h 5278114"/>
              <a:gd name="connsiteX7414" fmla="*/ 2244246 w 5610835"/>
              <a:gd name="connsiteY7414" fmla="*/ 987066 h 5278114"/>
              <a:gd name="connsiteX7415" fmla="*/ 2218066 w 5610835"/>
              <a:gd name="connsiteY7415" fmla="*/ 988901 h 5278114"/>
              <a:gd name="connsiteX7416" fmla="*/ 2216209 w 5610835"/>
              <a:gd name="connsiteY7416" fmla="*/ 987663 h 5278114"/>
              <a:gd name="connsiteX7417" fmla="*/ 2216209 w 5610835"/>
              <a:gd name="connsiteY7417" fmla="*/ 989032 h 5278114"/>
              <a:gd name="connsiteX7418" fmla="*/ 2213028 w 5610835"/>
              <a:gd name="connsiteY7418" fmla="*/ 989254 h 5278114"/>
              <a:gd name="connsiteX7419" fmla="*/ 2213028 w 5610835"/>
              <a:gd name="connsiteY7419" fmla="*/ 986072 h 5278114"/>
              <a:gd name="connsiteX7420" fmla="*/ 2213028 w 5610835"/>
              <a:gd name="connsiteY7420" fmla="*/ 984482 h 5278114"/>
              <a:gd name="connsiteX7421" fmla="*/ 2214618 w 5610835"/>
              <a:gd name="connsiteY7421" fmla="*/ 984482 h 5278114"/>
              <a:gd name="connsiteX7422" fmla="*/ 2213028 w 5610835"/>
              <a:gd name="connsiteY7422" fmla="*/ 981300 h 5278114"/>
              <a:gd name="connsiteX7423" fmla="*/ 2214618 w 5610835"/>
              <a:gd name="connsiteY7423" fmla="*/ 981300 h 5278114"/>
              <a:gd name="connsiteX7424" fmla="*/ 2214618 w 5610835"/>
              <a:gd name="connsiteY7424" fmla="*/ 982891 h 5278114"/>
              <a:gd name="connsiteX7425" fmla="*/ 2219391 w 5610835"/>
              <a:gd name="connsiteY7425" fmla="*/ 986072 h 5278114"/>
              <a:gd name="connsiteX7426" fmla="*/ 2224163 w 5610835"/>
              <a:gd name="connsiteY7426" fmla="*/ 984482 h 5278114"/>
              <a:gd name="connsiteX7427" fmla="*/ 2222572 w 5610835"/>
              <a:gd name="connsiteY7427" fmla="*/ 986072 h 5278114"/>
              <a:gd name="connsiteX7428" fmla="*/ 2227345 w 5610835"/>
              <a:gd name="connsiteY7428" fmla="*/ 984482 h 5278114"/>
              <a:gd name="connsiteX7429" fmla="*/ 2227345 w 5610835"/>
              <a:gd name="connsiteY7429" fmla="*/ 982891 h 5278114"/>
              <a:gd name="connsiteX7430" fmla="*/ 2224163 w 5610835"/>
              <a:gd name="connsiteY7430" fmla="*/ 981300 h 5278114"/>
              <a:gd name="connsiteX7431" fmla="*/ 2224163 w 5610835"/>
              <a:gd name="connsiteY7431" fmla="*/ 979709 h 5278114"/>
              <a:gd name="connsiteX7432" fmla="*/ 2225754 w 5610835"/>
              <a:gd name="connsiteY7432" fmla="*/ 978118 h 5278114"/>
              <a:gd name="connsiteX7433" fmla="*/ 2222572 w 5610835"/>
              <a:gd name="connsiteY7433" fmla="*/ 979709 h 5278114"/>
              <a:gd name="connsiteX7434" fmla="*/ 2224163 w 5610835"/>
              <a:gd name="connsiteY7434" fmla="*/ 981300 h 5278114"/>
              <a:gd name="connsiteX7435" fmla="*/ 2222572 w 5610835"/>
              <a:gd name="connsiteY7435" fmla="*/ 982891 h 5278114"/>
              <a:gd name="connsiteX7436" fmla="*/ 2219391 w 5610835"/>
              <a:gd name="connsiteY7436" fmla="*/ 981300 h 5278114"/>
              <a:gd name="connsiteX7437" fmla="*/ 2219391 w 5610835"/>
              <a:gd name="connsiteY7437" fmla="*/ 979709 h 5278114"/>
              <a:gd name="connsiteX7438" fmla="*/ 2214618 w 5610835"/>
              <a:gd name="connsiteY7438" fmla="*/ 976528 h 5278114"/>
              <a:gd name="connsiteX7439" fmla="*/ 2217800 w 5610835"/>
              <a:gd name="connsiteY7439" fmla="*/ 973346 h 5278114"/>
              <a:gd name="connsiteX7440" fmla="*/ 2216209 w 5610835"/>
              <a:gd name="connsiteY7440" fmla="*/ 971756 h 5278114"/>
              <a:gd name="connsiteX7441" fmla="*/ 2217800 w 5610835"/>
              <a:gd name="connsiteY7441" fmla="*/ 970165 h 5278114"/>
              <a:gd name="connsiteX7442" fmla="*/ 2213028 w 5610835"/>
              <a:gd name="connsiteY7442" fmla="*/ 971756 h 5278114"/>
              <a:gd name="connsiteX7443" fmla="*/ 2211437 w 5610835"/>
              <a:gd name="connsiteY7443" fmla="*/ 973346 h 5278114"/>
              <a:gd name="connsiteX7444" fmla="*/ 2208256 w 5610835"/>
              <a:gd name="connsiteY7444" fmla="*/ 970165 h 5278114"/>
              <a:gd name="connsiteX7445" fmla="*/ 2206665 w 5610835"/>
              <a:gd name="connsiteY7445" fmla="*/ 973346 h 5278114"/>
              <a:gd name="connsiteX7446" fmla="*/ 2208256 w 5610835"/>
              <a:gd name="connsiteY7446" fmla="*/ 974937 h 5278114"/>
              <a:gd name="connsiteX7447" fmla="*/ 2211437 w 5610835"/>
              <a:gd name="connsiteY7447" fmla="*/ 974937 h 5278114"/>
              <a:gd name="connsiteX7448" fmla="*/ 2209847 w 5610835"/>
              <a:gd name="connsiteY7448" fmla="*/ 976528 h 5278114"/>
              <a:gd name="connsiteX7449" fmla="*/ 2213028 w 5610835"/>
              <a:gd name="connsiteY7449" fmla="*/ 978118 h 5278114"/>
              <a:gd name="connsiteX7450" fmla="*/ 2211437 w 5610835"/>
              <a:gd name="connsiteY7450" fmla="*/ 979709 h 5278114"/>
              <a:gd name="connsiteX7451" fmla="*/ 2206665 w 5610835"/>
              <a:gd name="connsiteY7451" fmla="*/ 982891 h 5278114"/>
              <a:gd name="connsiteX7452" fmla="*/ 2208653 w 5610835"/>
              <a:gd name="connsiteY7452" fmla="*/ 986669 h 5278114"/>
              <a:gd name="connsiteX7453" fmla="*/ 2210004 w 5610835"/>
              <a:gd name="connsiteY7453" fmla="*/ 987467 h 5278114"/>
              <a:gd name="connsiteX7454" fmla="*/ 2209847 w 5610835"/>
              <a:gd name="connsiteY7454" fmla="*/ 987663 h 5278114"/>
              <a:gd name="connsiteX7455" fmla="*/ 2206665 w 5610835"/>
              <a:gd name="connsiteY7455" fmla="*/ 987663 h 5278114"/>
              <a:gd name="connsiteX7456" fmla="*/ 2205075 w 5610835"/>
              <a:gd name="connsiteY7456" fmla="*/ 987663 h 5278114"/>
              <a:gd name="connsiteX7457" fmla="*/ 2203484 w 5610835"/>
              <a:gd name="connsiteY7457" fmla="*/ 987663 h 5278114"/>
              <a:gd name="connsiteX7458" fmla="*/ 2184394 w 5610835"/>
              <a:gd name="connsiteY7458" fmla="*/ 992436 h 5278114"/>
              <a:gd name="connsiteX7459" fmla="*/ 2182010 w 5610835"/>
              <a:gd name="connsiteY7459" fmla="*/ 993231 h 5278114"/>
              <a:gd name="connsiteX7460" fmla="*/ 2182805 w 5610835"/>
              <a:gd name="connsiteY7460" fmla="*/ 992436 h 5278114"/>
              <a:gd name="connsiteX7461" fmla="*/ 2181213 w 5610835"/>
              <a:gd name="connsiteY7461" fmla="*/ 990845 h 5278114"/>
              <a:gd name="connsiteX7462" fmla="*/ 2179623 w 5610835"/>
              <a:gd name="connsiteY7462" fmla="*/ 987663 h 5278114"/>
              <a:gd name="connsiteX7463" fmla="*/ 2176442 w 5610835"/>
              <a:gd name="connsiteY7463" fmla="*/ 987663 h 5278114"/>
              <a:gd name="connsiteX7464" fmla="*/ 2176442 w 5610835"/>
              <a:gd name="connsiteY7464" fmla="*/ 990050 h 5278114"/>
              <a:gd name="connsiteX7465" fmla="*/ 2174851 w 5610835"/>
              <a:gd name="connsiteY7465" fmla="*/ 989254 h 5278114"/>
              <a:gd name="connsiteX7466" fmla="*/ 2174851 w 5610835"/>
              <a:gd name="connsiteY7466" fmla="*/ 995473 h 5278114"/>
              <a:gd name="connsiteX7467" fmla="*/ 2139016 w 5610835"/>
              <a:gd name="connsiteY7467" fmla="*/ 1011770 h 5278114"/>
              <a:gd name="connsiteX7468" fmla="*/ 1944195 w 5610835"/>
              <a:gd name="connsiteY7468" fmla="*/ 1293083 h 5278114"/>
              <a:gd name="connsiteX7469" fmla="*/ 1941013 w 5610835"/>
              <a:gd name="connsiteY7469" fmla="*/ 1296265 h 5278114"/>
              <a:gd name="connsiteX7470" fmla="*/ 1936241 w 5610835"/>
              <a:gd name="connsiteY7470" fmla="*/ 1296265 h 5278114"/>
              <a:gd name="connsiteX7471" fmla="*/ 1937832 w 5610835"/>
              <a:gd name="connsiteY7471" fmla="*/ 1297856 h 5278114"/>
              <a:gd name="connsiteX7472" fmla="*/ 1936241 w 5610835"/>
              <a:gd name="connsiteY7472" fmla="*/ 1297856 h 5278114"/>
              <a:gd name="connsiteX7473" fmla="*/ 1936241 w 5610835"/>
              <a:gd name="connsiteY7473" fmla="*/ 1299447 h 5278114"/>
              <a:gd name="connsiteX7474" fmla="*/ 1933060 w 5610835"/>
              <a:gd name="connsiteY7474" fmla="*/ 1301037 h 5278114"/>
              <a:gd name="connsiteX7475" fmla="*/ 1931468 w 5610835"/>
              <a:gd name="connsiteY7475" fmla="*/ 1301037 h 5278114"/>
              <a:gd name="connsiteX7476" fmla="*/ 1932528 w 5610835"/>
              <a:gd name="connsiteY7476" fmla="*/ 1297856 h 5278114"/>
              <a:gd name="connsiteX7477" fmla="*/ 1933060 w 5610835"/>
              <a:gd name="connsiteY7477" fmla="*/ 1297856 h 5278114"/>
              <a:gd name="connsiteX7478" fmla="*/ 1932795 w 5610835"/>
              <a:gd name="connsiteY7478" fmla="*/ 1297061 h 5278114"/>
              <a:gd name="connsiteX7479" fmla="*/ 1933060 w 5610835"/>
              <a:gd name="connsiteY7479" fmla="*/ 1296265 h 5278114"/>
              <a:gd name="connsiteX7480" fmla="*/ 1936241 w 5610835"/>
              <a:gd name="connsiteY7480" fmla="*/ 1289902 h 5278114"/>
              <a:gd name="connsiteX7481" fmla="*/ 1941013 w 5610835"/>
              <a:gd name="connsiteY7481" fmla="*/ 1289902 h 5278114"/>
              <a:gd name="connsiteX7482" fmla="*/ 1941013 w 5610835"/>
              <a:gd name="connsiteY7482" fmla="*/ 1285130 h 5278114"/>
              <a:gd name="connsiteX7483" fmla="*/ 1936241 w 5610835"/>
              <a:gd name="connsiteY7483" fmla="*/ 1289902 h 5278114"/>
              <a:gd name="connsiteX7484" fmla="*/ 1931468 w 5610835"/>
              <a:gd name="connsiteY7484" fmla="*/ 1293083 h 5278114"/>
              <a:gd name="connsiteX7485" fmla="*/ 1932795 w 5610835"/>
              <a:gd name="connsiteY7485" fmla="*/ 1297061 h 5278114"/>
              <a:gd name="connsiteX7486" fmla="*/ 1932528 w 5610835"/>
              <a:gd name="connsiteY7486" fmla="*/ 1297856 h 5278114"/>
              <a:gd name="connsiteX7487" fmla="*/ 1925105 w 5610835"/>
              <a:gd name="connsiteY7487" fmla="*/ 1297856 h 5278114"/>
              <a:gd name="connsiteX7488" fmla="*/ 1928287 w 5610835"/>
              <a:gd name="connsiteY7488" fmla="*/ 1293083 h 5278114"/>
              <a:gd name="connsiteX7489" fmla="*/ 1920333 w 5610835"/>
              <a:gd name="connsiteY7489" fmla="*/ 1293083 h 5278114"/>
              <a:gd name="connsiteX7490" fmla="*/ 1915561 w 5610835"/>
              <a:gd name="connsiteY7490" fmla="*/ 1288311 h 5278114"/>
              <a:gd name="connsiteX7491" fmla="*/ 1921923 w 5610835"/>
              <a:gd name="connsiteY7491" fmla="*/ 1281948 h 5278114"/>
              <a:gd name="connsiteX7492" fmla="*/ 1918742 w 5610835"/>
              <a:gd name="connsiteY7492" fmla="*/ 1275585 h 5278114"/>
              <a:gd name="connsiteX7493" fmla="*/ 1912380 w 5610835"/>
              <a:gd name="connsiteY7493" fmla="*/ 1273995 h 5278114"/>
              <a:gd name="connsiteX7494" fmla="*/ 1912380 w 5610835"/>
              <a:gd name="connsiteY7494" fmla="*/ 1280358 h 5278114"/>
              <a:gd name="connsiteX7495" fmla="*/ 1899653 w 5610835"/>
              <a:gd name="connsiteY7495" fmla="*/ 1269223 h 5278114"/>
              <a:gd name="connsiteX7496" fmla="*/ 1904426 w 5610835"/>
              <a:gd name="connsiteY7496" fmla="*/ 1270813 h 5278114"/>
              <a:gd name="connsiteX7497" fmla="*/ 1912380 w 5610835"/>
              <a:gd name="connsiteY7497" fmla="*/ 1267633 h 5278114"/>
              <a:gd name="connsiteX7498" fmla="*/ 1921923 w 5610835"/>
              <a:gd name="connsiteY7498" fmla="*/ 1269223 h 5278114"/>
              <a:gd name="connsiteX7499" fmla="*/ 1918742 w 5610835"/>
              <a:gd name="connsiteY7499" fmla="*/ 1272404 h 5278114"/>
              <a:gd name="connsiteX7500" fmla="*/ 1933060 w 5610835"/>
              <a:gd name="connsiteY7500" fmla="*/ 1283539 h 5278114"/>
              <a:gd name="connsiteX7501" fmla="*/ 1936241 w 5610835"/>
              <a:gd name="connsiteY7501" fmla="*/ 1280358 h 5278114"/>
              <a:gd name="connsiteX7502" fmla="*/ 1929877 w 5610835"/>
              <a:gd name="connsiteY7502" fmla="*/ 1273995 h 5278114"/>
              <a:gd name="connsiteX7503" fmla="*/ 1931468 w 5610835"/>
              <a:gd name="connsiteY7503" fmla="*/ 1270813 h 5278114"/>
              <a:gd name="connsiteX7504" fmla="*/ 1928287 w 5610835"/>
              <a:gd name="connsiteY7504" fmla="*/ 1264451 h 5278114"/>
              <a:gd name="connsiteX7505" fmla="*/ 1945785 w 5610835"/>
              <a:gd name="connsiteY7505" fmla="*/ 1269223 h 5278114"/>
              <a:gd name="connsiteX7506" fmla="*/ 1937832 w 5610835"/>
              <a:gd name="connsiteY7506" fmla="*/ 1259679 h 5278114"/>
              <a:gd name="connsiteX7507" fmla="*/ 1942604 w 5610835"/>
              <a:gd name="connsiteY7507" fmla="*/ 1254907 h 5278114"/>
              <a:gd name="connsiteX7508" fmla="*/ 1937832 w 5610835"/>
              <a:gd name="connsiteY7508" fmla="*/ 1254907 h 5278114"/>
              <a:gd name="connsiteX7509" fmla="*/ 1937832 w 5610835"/>
              <a:gd name="connsiteY7509" fmla="*/ 1259679 h 5278114"/>
              <a:gd name="connsiteX7510" fmla="*/ 1937832 w 5610835"/>
              <a:gd name="connsiteY7510" fmla="*/ 1262859 h 5278114"/>
              <a:gd name="connsiteX7511" fmla="*/ 1933060 w 5610835"/>
              <a:gd name="connsiteY7511" fmla="*/ 1258087 h 5278114"/>
              <a:gd name="connsiteX7512" fmla="*/ 1925105 w 5610835"/>
              <a:gd name="connsiteY7512" fmla="*/ 1256497 h 5278114"/>
              <a:gd name="connsiteX7513" fmla="*/ 1918742 w 5610835"/>
              <a:gd name="connsiteY7513" fmla="*/ 1258087 h 5278114"/>
              <a:gd name="connsiteX7514" fmla="*/ 1909198 w 5610835"/>
              <a:gd name="connsiteY7514" fmla="*/ 1254907 h 5278114"/>
              <a:gd name="connsiteX7515" fmla="*/ 1906017 w 5610835"/>
              <a:gd name="connsiteY7515" fmla="*/ 1259679 h 5278114"/>
              <a:gd name="connsiteX7516" fmla="*/ 1901245 w 5610835"/>
              <a:gd name="connsiteY7516" fmla="*/ 1250134 h 5278114"/>
              <a:gd name="connsiteX7517" fmla="*/ 1910789 w 5610835"/>
              <a:gd name="connsiteY7517" fmla="*/ 1246953 h 5278114"/>
              <a:gd name="connsiteX7518" fmla="*/ 1915561 w 5610835"/>
              <a:gd name="connsiteY7518" fmla="*/ 1242180 h 5278114"/>
              <a:gd name="connsiteX7519" fmla="*/ 1913971 w 5610835"/>
              <a:gd name="connsiteY7519" fmla="*/ 1239000 h 5278114"/>
              <a:gd name="connsiteX7520" fmla="*/ 1918742 w 5610835"/>
              <a:gd name="connsiteY7520" fmla="*/ 1239000 h 5278114"/>
              <a:gd name="connsiteX7521" fmla="*/ 1912380 w 5610835"/>
              <a:gd name="connsiteY7521" fmla="*/ 1229454 h 5278114"/>
              <a:gd name="connsiteX7522" fmla="*/ 1907607 w 5610835"/>
              <a:gd name="connsiteY7522" fmla="*/ 1232636 h 5278114"/>
              <a:gd name="connsiteX7523" fmla="*/ 1910789 w 5610835"/>
              <a:gd name="connsiteY7523" fmla="*/ 1232636 h 5278114"/>
              <a:gd name="connsiteX7524" fmla="*/ 1910789 w 5610835"/>
              <a:gd name="connsiteY7524" fmla="*/ 1239000 h 5278114"/>
              <a:gd name="connsiteX7525" fmla="*/ 1898063 w 5610835"/>
              <a:gd name="connsiteY7525" fmla="*/ 1245361 h 5278114"/>
              <a:gd name="connsiteX7526" fmla="*/ 1896473 w 5610835"/>
              <a:gd name="connsiteY7526" fmla="*/ 1245361 h 5278114"/>
              <a:gd name="connsiteX7527" fmla="*/ 1893290 w 5610835"/>
              <a:gd name="connsiteY7527" fmla="*/ 1248543 h 5278114"/>
              <a:gd name="connsiteX7528" fmla="*/ 1896473 w 5610835"/>
              <a:gd name="connsiteY7528" fmla="*/ 1251725 h 5278114"/>
              <a:gd name="connsiteX7529" fmla="*/ 1890109 w 5610835"/>
              <a:gd name="connsiteY7529" fmla="*/ 1251725 h 5278114"/>
              <a:gd name="connsiteX7530" fmla="*/ 1883499 w 5610835"/>
              <a:gd name="connsiteY7530" fmla="*/ 1260131 h 5278114"/>
              <a:gd name="connsiteX7531" fmla="*/ 1886928 w 5610835"/>
              <a:gd name="connsiteY7531" fmla="*/ 1261274 h 5278114"/>
              <a:gd name="connsiteX7532" fmla="*/ 1883747 w 5610835"/>
              <a:gd name="connsiteY7532" fmla="*/ 1264455 h 5278114"/>
              <a:gd name="connsiteX7533" fmla="*/ 1878975 w 5610835"/>
              <a:gd name="connsiteY7533" fmla="*/ 1266046 h 5278114"/>
              <a:gd name="connsiteX7534" fmla="*/ 1879197 w 5610835"/>
              <a:gd name="connsiteY7534" fmla="*/ 1265603 h 5278114"/>
              <a:gd name="connsiteX7535" fmla="*/ 1871816 w 5610835"/>
              <a:gd name="connsiteY7535" fmla="*/ 1274990 h 5278114"/>
              <a:gd name="connsiteX7536" fmla="*/ 1861169 w 5610835"/>
              <a:gd name="connsiteY7536" fmla="*/ 1286732 h 5278114"/>
              <a:gd name="connsiteX7537" fmla="*/ 1864659 w 5610835"/>
              <a:gd name="connsiteY7537" fmla="*/ 1286732 h 5278114"/>
              <a:gd name="connsiteX7538" fmla="*/ 1863068 w 5610835"/>
              <a:gd name="connsiteY7538" fmla="*/ 1291504 h 5278114"/>
              <a:gd name="connsiteX7539" fmla="*/ 1859803 w 5610835"/>
              <a:gd name="connsiteY7539" fmla="*/ 1288238 h 5278114"/>
              <a:gd name="connsiteX7540" fmla="*/ 1858294 w 5610835"/>
              <a:gd name="connsiteY7540" fmla="*/ 1289902 h 5278114"/>
              <a:gd name="connsiteX7541" fmla="*/ 1856704 w 5610835"/>
              <a:gd name="connsiteY7541" fmla="*/ 1289902 h 5278114"/>
              <a:gd name="connsiteX7542" fmla="*/ 1856704 w 5610835"/>
              <a:gd name="connsiteY7542" fmla="*/ 1291493 h 5278114"/>
              <a:gd name="connsiteX7543" fmla="*/ 1851932 w 5610835"/>
              <a:gd name="connsiteY7543" fmla="*/ 1294674 h 5278114"/>
              <a:gd name="connsiteX7544" fmla="*/ 1848750 w 5610835"/>
              <a:gd name="connsiteY7544" fmla="*/ 1297856 h 5278114"/>
              <a:gd name="connsiteX7545" fmla="*/ 1848750 w 5610835"/>
              <a:gd name="connsiteY7545" fmla="*/ 1296265 h 5278114"/>
              <a:gd name="connsiteX7546" fmla="*/ 1780348 w 5610835"/>
              <a:gd name="connsiteY7546" fmla="*/ 1234227 h 5278114"/>
              <a:gd name="connsiteX7547" fmla="*/ 1778758 w 5610835"/>
              <a:gd name="connsiteY7547" fmla="*/ 1211957 h 5278114"/>
              <a:gd name="connsiteX7548" fmla="*/ 1766032 w 5610835"/>
              <a:gd name="connsiteY7548" fmla="*/ 1221501 h 5278114"/>
              <a:gd name="connsiteX7549" fmla="*/ 1756489 w 5610835"/>
              <a:gd name="connsiteY7549" fmla="*/ 1218319 h 5278114"/>
              <a:gd name="connsiteX7550" fmla="*/ 1751715 w 5610835"/>
              <a:gd name="connsiteY7550" fmla="*/ 1213547 h 5278114"/>
              <a:gd name="connsiteX7551" fmla="*/ 1750124 w 5610835"/>
              <a:gd name="connsiteY7551" fmla="*/ 1207184 h 5278114"/>
              <a:gd name="connsiteX7552" fmla="*/ 1751715 w 5610835"/>
              <a:gd name="connsiteY7552" fmla="*/ 1199231 h 5278114"/>
              <a:gd name="connsiteX7553" fmla="*/ 1762852 w 5610835"/>
              <a:gd name="connsiteY7553" fmla="*/ 1192868 h 5278114"/>
              <a:gd name="connsiteX7554" fmla="*/ 1775576 w 5610835"/>
              <a:gd name="connsiteY7554" fmla="*/ 1192868 h 5278114"/>
              <a:gd name="connsiteX7555" fmla="*/ 1775576 w 5610835"/>
              <a:gd name="connsiteY7555" fmla="*/ 1197640 h 5278114"/>
              <a:gd name="connsiteX7556" fmla="*/ 1777167 w 5610835"/>
              <a:gd name="connsiteY7556" fmla="*/ 1197640 h 5278114"/>
              <a:gd name="connsiteX7557" fmla="*/ 1804209 w 5610835"/>
              <a:gd name="connsiteY7557" fmla="*/ 1162644 h 5278114"/>
              <a:gd name="connsiteX7558" fmla="*/ 1810572 w 5610835"/>
              <a:gd name="connsiteY7558" fmla="*/ 1100605 h 5278114"/>
              <a:gd name="connsiteX7559" fmla="*/ 1808982 w 5610835"/>
              <a:gd name="connsiteY7559" fmla="*/ 1097424 h 5278114"/>
              <a:gd name="connsiteX7560" fmla="*/ 1808982 w 5610835"/>
              <a:gd name="connsiteY7560" fmla="*/ 1092652 h 5278114"/>
              <a:gd name="connsiteX7561" fmla="*/ 1808982 w 5610835"/>
              <a:gd name="connsiteY7561" fmla="*/ 1064018 h 5278114"/>
              <a:gd name="connsiteX7562" fmla="*/ 1816936 w 5610835"/>
              <a:gd name="connsiteY7562" fmla="*/ 1005161 h 5278114"/>
              <a:gd name="connsiteX7563" fmla="*/ 1816936 w 5610835"/>
              <a:gd name="connsiteY7563" fmla="*/ 984482 h 5278114"/>
              <a:gd name="connsiteX7564" fmla="*/ 1810572 w 5610835"/>
              <a:gd name="connsiteY7564" fmla="*/ 984482 h 5278114"/>
              <a:gd name="connsiteX7565" fmla="*/ 1805800 w 5610835"/>
              <a:gd name="connsiteY7565" fmla="*/ 973346 h 5278114"/>
              <a:gd name="connsiteX7566" fmla="*/ 1816936 w 5610835"/>
              <a:gd name="connsiteY7566" fmla="*/ 965393 h 5278114"/>
              <a:gd name="connsiteX7567" fmla="*/ 1816936 w 5610835"/>
              <a:gd name="connsiteY7567" fmla="*/ 966984 h 5278114"/>
              <a:gd name="connsiteX7568" fmla="*/ 1821708 w 5610835"/>
              <a:gd name="connsiteY7568" fmla="*/ 914490 h 5278114"/>
              <a:gd name="connsiteX7569" fmla="*/ 1793075 w 5610835"/>
              <a:gd name="connsiteY7569" fmla="*/ 860405 h 5278114"/>
              <a:gd name="connsiteX7570" fmla="*/ 1773985 w 5610835"/>
              <a:gd name="connsiteY7570" fmla="*/ 828589 h 5278114"/>
              <a:gd name="connsiteX7571" fmla="*/ 1745352 w 5610835"/>
              <a:gd name="connsiteY7571" fmla="*/ 796775 h 5278114"/>
              <a:gd name="connsiteX7572" fmla="*/ 1648318 w 5610835"/>
              <a:gd name="connsiteY7572" fmla="*/ 763370 h 5278114"/>
              <a:gd name="connsiteX7573" fmla="*/ 1645136 w 5610835"/>
              <a:gd name="connsiteY7573" fmla="*/ 763370 h 5278114"/>
              <a:gd name="connsiteX7574" fmla="*/ 1611731 w 5610835"/>
              <a:gd name="connsiteY7574" fmla="*/ 634519 h 5278114"/>
              <a:gd name="connsiteX7575" fmla="*/ 1635592 w 5610835"/>
              <a:gd name="connsiteY7575" fmla="*/ 607477 h 5278114"/>
              <a:gd name="connsiteX7576" fmla="*/ 2677523 w 5610835"/>
              <a:gd name="connsiteY7576" fmla="*/ 562976 h 5278114"/>
              <a:gd name="connsiteX7577" fmla="*/ 2569353 w 5610835"/>
              <a:gd name="connsiteY7577" fmla="*/ 807966 h 5278114"/>
              <a:gd name="connsiteX7578" fmla="*/ 2473909 w 5610835"/>
              <a:gd name="connsiteY7578" fmla="*/ 986128 h 5278114"/>
              <a:gd name="connsiteX7579" fmla="*/ 2470728 w 5610835"/>
              <a:gd name="connsiteY7579" fmla="*/ 1005215 h 5278114"/>
              <a:gd name="connsiteX7580" fmla="*/ 2477090 w 5610835"/>
              <a:gd name="connsiteY7580" fmla="*/ 1019532 h 5278114"/>
              <a:gd name="connsiteX7581" fmla="*/ 2677523 w 5610835"/>
              <a:gd name="connsiteY7581" fmla="*/ 562976 h 5278114"/>
              <a:gd name="connsiteX7582" fmla="*/ 2613894 w 5610835"/>
              <a:gd name="connsiteY7582" fmla="*/ 562976 h 5278114"/>
              <a:gd name="connsiteX7583" fmla="*/ 2440504 w 5610835"/>
              <a:gd name="connsiteY7583" fmla="*/ 939997 h 5278114"/>
              <a:gd name="connsiteX7584" fmla="*/ 2440504 w 5610835"/>
              <a:gd name="connsiteY7584" fmla="*/ 978174 h 5278114"/>
              <a:gd name="connsiteX7585" fmla="*/ 2442094 w 5610835"/>
              <a:gd name="connsiteY7585" fmla="*/ 989309 h 5278114"/>
              <a:gd name="connsiteX7586" fmla="*/ 2467546 w 5610835"/>
              <a:gd name="connsiteY7586" fmla="*/ 935226 h 5278114"/>
              <a:gd name="connsiteX7587" fmla="*/ 2480272 w 5610835"/>
              <a:gd name="connsiteY7587" fmla="*/ 881142 h 5278114"/>
              <a:gd name="connsiteX7588" fmla="*/ 2496180 w 5610835"/>
              <a:gd name="connsiteY7588" fmla="*/ 870006 h 5278114"/>
              <a:gd name="connsiteX7589" fmla="*/ 2613894 w 5610835"/>
              <a:gd name="connsiteY7589" fmla="*/ 562976 h 5278114"/>
              <a:gd name="connsiteX7590" fmla="*/ 2558218 w 5610835"/>
              <a:gd name="connsiteY7590" fmla="*/ 555023 h 5278114"/>
              <a:gd name="connsiteX7591" fmla="*/ 2443685 w 5610835"/>
              <a:gd name="connsiteY7591" fmla="*/ 809556 h 5278114"/>
              <a:gd name="connsiteX7592" fmla="*/ 2459592 w 5610835"/>
              <a:gd name="connsiteY7592" fmla="*/ 811147 h 5278114"/>
              <a:gd name="connsiteX7593" fmla="*/ 2558218 w 5610835"/>
              <a:gd name="connsiteY7593" fmla="*/ 555023 h 5278114"/>
              <a:gd name="connsiteX7594" fmla="*/ 2741152 w 5610835"/>
              <a:gd name="connsiteY7594" fmla="*/ 531161 h 5278114"/>
              <a:gd name="connsiteX7595" fmla="*/ 2489817 w 5610835"/>
              <a:gd name="connsiteY7595" fmla="*/ 1060889 h 5278114"/>
              <a:gd name="connsiteX7596" fmla="*/ 2492998 w 5610835"/>
              <a:gd name="connsiteY7596" fmla="*/ 1070433 h 5278114"/>
              <a:gd name="connsiteX7597" fmla="*/ 2515269 w 5610835"/>
              <a:gd name="connsiteY7597" fmla="*/ 1064071 h 5278114"/>
              <a:gd name="connsiteX7598" fmla="*/ 2741152 w 5610835"/>
              <a:gd name="connsiteY7598" fmla="*/ 531161 h 5278114"/>
              <a:gd name="connsiteX7599" fmla="*/ 2434141 w 5610835"/>
              <a:gd name="connsiteY7599" fmla="*/ 504124 h 5278114"/>
              <a:gd name="connsiteX7600" fmla="*/ 2265523 w 5610835"/>
              <a:gd name="connsiteY7600" fmla="*/ 858876 h 5278114"/>
              <a:gd name="connsiteX7601" fmla="*/ 2254387 w 5610835"/>
              <a:gd name="connsiteY7601" fmla="*/ 815925 h 5278114"/>
              <a:gd name="connsiteX7602" fmla="*/ 2311653 w 5610835"/>
              <a:gd name="connsiteY7602" fmla="*/ 718871 h 5278114"/>
              <a:gd name="connsiteX7603" fmla="*/ 2286202 w 5610835"/>
              <a:gd name="connsiteY7603" fmla="*/ 752276 h 5278114"/>
              <a:gd name="connsiteX7604" fmla="*/ 2434141 w 5610835"/>
              <a:gd name="connsiteY7604" fmla="*/ 504124 h 5278114"/>
              <a:gd name="connsiteX7605" fmla="*/ 2820689 w 5610835"/>
              <a:gd name="connsiteY7605" fmla="*/ 481850 h 5278114"/>
              <a:gd name="connsiteX7606" fmla="*/ 2562990 w 5610835"/>
              <a:gd name="connsiteY7606" fmla="*/ 1048163 h 5278114"/>
              <a:gd name="connsiteX7607" fmla="*/ 2596395 w 5610835"/>
              <a:gd name="connsiteY7607" fmla="*/ 1041801 h 5278114"/>
              <a:gd name="connsiteX7608" fmla="*/ 2820689 w 5610835"/>
              <a:gd name="connsiteY7608" fmla="*/ 481850 h 5278114"/>
              <a:gd name="connsiteX7609" fmla="*/ 3843283 w 5610835"/>
              <a:gd name="connsiteY7609" fmla="*/ 477107 h 5278114"/>
              <a:gd name="connsiteX7610" fmla="*/ 3845122 w 5610835"/>
              <a:gd name="connsiteY7610" fmla="*/ 481854 h 5278114"/>
              <a:gd name="connsiteX7611" fmla="*/ 3832396 w 5610835"/>
              <a:gd name="connsiteY7611" fmla="*/ 492990 h 5278114"/>
              <a:gd name="connsiteX7612" fmla="*/ 3827624 w 5610835"/>
              <a:gd name="connsiteY7612" fmla="*/ 478673 h 5278114"/>
              <a:gd name="connsiteX7613" fmla="*/ 3843283 w 5610835"/>
              <a:gd name="connsiteY7613" fmla="*/ 477107 h 5278114"/>
              <a:gd name="connsiteX7614" fmla="*/ 3671731 w 5610835"/>
              <a:gd name="connsiteY7614" fmla="*/ 457989 h 5278114"/>
              <a:gd name="connsiteX7615" fmla="*/ 3674912 w 5610835"/>
              <a:gd name="connsiteY7615" fmla="*/ 469124 h 5278114"/>
              <a:gd name="connsiteX7616" fmla="*/ 3665368 w 5610835"/>
              <a:gd name="connsiteY7616" fmla="*/ 483442 h 5278114"/>
              <a:gd name="connsiteX7617" fmla="*/ 3671731 w 5610835"/>
              <a:gd name="connsiteY7617" fmla="*/ 457989 h 5278114"/>
              <a:gd name="connsiteX7618" fmla="*/ 2551856 w 5610835"/>
              <a:gd name="connsiteY7618" fmla="*/ 341867 h 5278114"/>
              <a:gd name="connsiteX7619" fmla="*/ 2329152 w 5610835"/>
              <a:gd name="connsiteY7619" fmla="*/ 890690 h 5278114"/>
              <a:gd name="connsiteX7620" fmla="*/ 2289384 w 5610835"/>
              <a:gd name="connsiteY7620" fmla="*/ 877963 h 5278114"/>
              <a:gd name="connsiteX7621" fmla="*/ 2551856 w 5610835"/>
              <a:gd name="connsiteY7621" fmla="*/ 341867 h 5278114"/>
              <a:gd name="connsiteX7622" fmla="*/ 3684457 w 5610835"/>
              <a:gd name="connsiteY7622" fmla="*/ 240061 h 5278114"/>
              <a:gd name="connsiteX7623" fmla="*/ 3681276 w 5610835"/>
              <a:gd name="connsiteY7623" fmla="*/ 321188 h 5278114"/>
              <a:gd name="connsiteX7624" fmla="*/ 3676504 w 5610835"/>
              <a:gd name="connsiteY7624" fmla="*/ 325960 h 5278114"/>
              <a:gd name="connsiteX7625" fmla="*/ 3681276 w 5610835"/>
              <a:gd name="connsiteY7625" fmla="*/ 338685 h 5278114"/>
              <a:gd name="connsiteX7626" fmla="*/ 3673322 w 5610835"/>
              <a:gd name="connsiteY7626" fmla="*/ 435718 h 5278114"/>
              <a:gd name="connsiteX7627" fmla="*/ 3676504 w 5610835"/>
              <a:gd name="connsiteY7627" fmla="*/ 325959 h 5278114"/>
              <a:gd name="connsiteX7628" fmla="*/ 3678095 w 5610835"/>
              <a:gd name="connsiteY7628" fmla="*/ 283010 h 5278114"/>
              <a:gd name="connsiteX7629" fmla="*/ 3684457 w 5610835"/>
              <a:gd name="connsiteY7629" fmla="*/ 240061 h 5278114"/>
              <a:gd name="connsiteX7630" fmla="*/ 3873755 w 5610835"/>
              <a:gd name="connsiteY7630" fmla="*/ 206656 h 5278114"/>
              <a:gd name="connsiteX7631" fmla="*/ 3884890 w 5610835"/>
              <a:gd name="connsiteY7631" fmla="*/ 251196 h 5278114"/>
              <a:gd name="connsiteX7632" fmla="*/ 3873755 w 5610835"/>
              <a:gd name="connsiteY7632" fmla="*/ 206656 h 5278114"/>
              <a:gd name="connsiteX7633" fmla="*/ 4475748 w 5610835"/>
              <a:gd name="connsiteY7633" fmla="*/ 182347 h 5278114"/>
              <a:gd name="connsiteX7634" fmla="*/ 4476643 w 5610835"/>
              <a:gd name="connsiteY7634" fmla="*/ 197112 h 5278114"/>
              <a:gd name="connsiteX7635" fmla="*/ 4352566 w 5610835"/>
              <a:gd name="connsiteY7635" fmla="*/ 521621 h 5278114"/>
              <a:gd name="connsiteX7636" fmla="*/ 4314387 w 5610835"/>
              <a:gd name="connsiteY7636" fmla="*/ 578886 h 5278114"/>
              <a:gd name="connsiteX7637" fmla="*/ 4417786 w 5610835"/>
              <a:gd name="connsiteY7637" fmla="*/ 314825 h 5278114"/>
              <a:gd name="connsiteX7638" fmla="*/ 4473462 w 5610835"/>
              <a:gd name="connsiteY7638" fmla="*/ 185976 h 5278114"/>
              <a:gd name="connsiteX7639" fmla="*/ 4475748 w 5610835"/>
              <a:gd name="connsiteY7639" fmla="*/ 182347 h 5278114"/>
              <a:gd name="connsiteX7640" fmla="*/ 2874973 w 5610835"/>
              <a:gd name="connsiteY7640" fmla="*/ 62893 h 5278114"/>
              <a:gd name="connsiteX7641" fmla="*/ 2866820 w 5610835"/>
              <a:gd name="connsiteY7641" fmla="*/ 63489 h 5278114"/>
              <a:gd name="connsiteX7642" fmla="*/ 2801600 w 5610835"/>
              <a:gd name="connsiteY7642" fmla="*/ 305279 h 5278114"/>
              <a:gd name="connsiteX7643" fmla="*/ 2884318 w 5610835"/>
              <a:gd name="connsiteY7643" fmla="*/ 63489 h 5278114"/>
              <a:gd name="connsiteX7644" fmla="*/ 2874973 w 5610835"/>
              <a:gd name="connsiteY7644" fmla="*/ 62893 h 5278114"/>
              <a:gd name="connsiteX7645" fmla="*/ 2933631 w 5610835"/>
              <a:gd name="connsiteY7645" fmla="*/ 25312 h 5278114"/>
              <a:gd name="connsiteX7646" fmla="*/ 2892272 w 5610835"/>
              <a:gd name="connsiteY7646" fmla="*/ 193928 h 5278114"/>
              <a:gd name="connsiteX7647" fmla="*/ 2952720 w 5610835"/>
              <a:gd name="connsiteY7647" fmla="*/ 36447 h 5278114"/>
              <a:gd name="connsiteX7648" fmla="*/ 2933631 w 5610835"/>
              <a:gd name="connsiteY7648" fmla="*/ 25312 h 5278114"/>
              <a:gd name="connsiteX7649" fmla="*/ 2989307 w 5610835"/>
              <a:gd name="connsiteY7649" fmla="*/ 14177 h 5278114"/>
              <a:gd name="connsiteX7650" fmla="*/ 2866820 w 5610835"/>
              <a:gd name="connsiteY7650" fmla="*/ 499346 h 5278114"/>
              <a:gd name="connsiteX7651" fmla="*/ 2586851 w 5610835"/>
              <a:gd name="connsiteY7651" fmla="*/ 1148376 h 5278114"/>
              <a:gd name="connsiteX7652" fmla="*/ 2602758 w 5610835"/>
              <a:gd name="connsiteY7652" fmla="*/ 1159511 h 5278114"/>
              <a:gd name="connsiteX7653" fmla="*/ 2990897 w 5610835"/>
              <a:gd name="connsiteY7653" fmla="*/ 55536 h 5278114"/>
              <a:gd name="connsiteX7654" fmla="*/ 2989307 w 5610835"/>
              <a:gd name="connsiteY7654" fmla="*/ 14177 h 5278114"/>
              <a:gd name="connsiteX7655" fmla="*/ 3034342 w 5610835"/>
              <a:gd name="connsiteY7655" fmla="*/ 155 h 5278114"/>
              <a:gd name="connsiteX7656" fmla="*/ 3072025 w 5610835"/>
              <a:gd name="connsiteY7656" fmla="*/ 4632 h 5278114"/>
              <a:gd name="connsiteX7657" fmla="*/ 3129291 w 5610835"/>
              <a:gd name="connsiteY7657" fmla="*/ 858871 h 5278114"/>
              <a:gd name="connsiteX7658" fmla="*/ 3127700 w 5610835"/>
              <a:gd name="connsiteY7658" fmla="*/ 855690 h 5278114"/>
              <a:gd name="connsiteX7659" fmla="*/ 3033847 w 5610835"/>
              <a:gd name="connsiteY7659" fmla="*/ 1033847 h 5278114"/>
              <a:gd name="connsiteX7660" fmla="*/ 3084751 w 5610835"/>
              <a:gd name="connsiteY7660" fmla="*/ 852508 h 5278114"/>
              <a:gd name="connsiteX7661" fmla="*/ 3002033 w 5610835"/>
              <a:gd name="connsiteY7661" fmla="*/ 1044982 h 5278114"/>
              <a:gd name="connsiteX7662" fmla="*/ 2962264 w 5610835"/>
              <a:gd name="connsiteY7662" fmla="*/ 1046573 h 5278114"/>
              <a:gd name="connsiteX7663" fmla="*/ 3062480 w 5610835"/>
              <a:gd name="connsiteY7663" fmla="*/ 787285 h 5278114"/>
              <a:gd name="connsiteX7664" fmla="*/ 3107021 w 5610835"/>
              <a:gd name="connsiteY7664" fmla="*/ 632967 h 5278114"/>
              <a:gd name="connsiteX7665" fmla="*/ 2943175 w 5610835"/>
              <a:gd name="connsiteY7665" fmla="*/ 1048163 h 5278114"/>
              <a:gd name="connsiteX7666" fmla="*/ 2906588 w 5610835"/>
              <a:gd name="connsiteY7666" fmla="*/ 1040210 h 5278114"/>
              <a:gd name="connsiteX7667" fmla="*/ 2963855 w 5610835"/>
              <a:gd name="connsiteY7667" fmla="*/ 946361 h 5278114"/>
              <a:gd name="connsiteX7668" fmla="*/ 2954310 w 5610835"/>
              <a:gd name="connsiteY7668" fmla="*/ 925681 h 5278114"/>
              <a:gd name="connsiteX7669" fmla="*/ 3065661 w 5610835"/>
              <a:gd name="connsiteY7669" fmla="*/ 652056 h 5278114"/>
              <a:gd name="connsiteX7670" fmla="*/ 3124519 w 5610835"/>
              <a:gd name="connsiteY7670" fmla="*/ 483439 h 5278114"/>
              <a:gd name="connsiteX7671" fmla="*/ 3105430 w 5610835"/>
              <a:gd name="connsiteY7671" fmla="*/ 440490 h 5278114"/>
              <a:gd name="connsiteX7672" fmla="*/ 2885909 w 5610835"/>
              <a:gd name="connsiteY7672" fmla="*/ 1043392 h 5278114"/>
              <a:gd name="connsiteX7673" fmla="*/ 2842959 w 5610835"/>
              <a:gd name="connsiteY7673" fmla="*/ 1048163 h 5278114"/>
              <a:gd name="connsiteX7674" fmla="*/ 3130882 w 5610835"/>
              <a:gd name="connsiteY7674" fmla="*/ 257557 h 5278114"/>
              <a:gd name="connsiteX7675" fmla="*/ 3111793 w 5610835"/>
              <a:gd name="connsiteY7675" fmla="*/ 278236 h 5278114"/>
              <a:gd name="connsiteX7676" fmla="*/ 3089523 w 5610835"/>
              <a:gd name="connsiteY7676" fmla="*/ 345047 h 5278114"/>
              <a:gd name="connsiteX7677" fmla="*/ 2827052 w 5610835"/>
              <a:gd name="connsiteY7677" fmla="*/ 1041801 h 5278114"/>
              <a:gd name="connsiteX7678" fmla="*/ 2768194 w 5610835"/>
              <a:gd name="connsiteY7678" fmla="*/ 1081567 h 5278114"/>
              <a:gd name="connsiteX7679" fmla="*/ 3083160 w 5610835"/>
              <a:gd name="connsiteY7679" fmla="*/ 101666 h 5278114"/>
              <a:gd name="connsiteX7680" fmla="*/ 3044982 w 5610835"/>
              <a:gd name="connsiteY7680" fmla="*/ 252785 h 5278114"/>
              <a:gd name="connsiteX7681" fmla="*/ 3009986 w 5610835"/>
              <a:gd name="connsiteY7681" fmla="*/ 411857 h 5278114"/>
              <a:gd name="connsiteX7682" fmla="*/ 2776148 w 5610835"/>
              <a:gd name="connsiteY7682" fmla="*/ 1025894 h 5278114"/>
              <a:gd name="connsiteX7683" fmla="*/ 2664797 w 5610835"/>
              <a:gd name="connsiteY7683" fmla="*/ 1172236 h 5278114"/>
              <a:gd name="connsiteX7684" fmla="*/ 2974990 w 5610835"/>
              <a:gd name="connsiteY7684" fmla="*/ 391178 h 5278114"/>
              <a:gd name="connsiteX7685" fmla="*/ 3040210 w 5610835"/>
              <a:gd name="connsiteY7685" fmla="*/ 96894 h 5278114"/>
              <a:gd name="connsiteX7686" fmla="*/ 3029075 w 5610835"/>
              <a:gd name="connsiteY7686" fmla="*/ 15768 h 5278114"/>
              <a:gd name="connsiteX7687" fmla="*/ 2645708 w 5610835"/>
              <a:gd name="connsiteY7687" fmla="*/ 1157920 h 5278114"/>
              <a:gd name="connsiteX7688" fmla="*/ 2634573 w 5610835"/>
              <a:gd name="connsiteY7688" fmla="*/ 1172236 h 5278114"/>
              <a:gd name="connsiteX7689" fmla="*/ 2637755 w 5610835"/>
              <a:gd name="connsiteY7689" fmla="*/ 1175419 h 5278114"/>
              <a:gd name="connsiteX7690" fmla="*/ 2666388 w 5610835"/>
              <a:gd name="connsiteY7690" fmla="*/ 1188143 h 5278114"/>
              <a:gd name="connsiteX7691" fmla="*/ 2710929 w 5610835"/>
              <a:gd name="connsiteY7691" fmla="*/ 1188143 h 5278114"/>
              <a:gd name="connsiteX7692" fmla="*/ 2892272 w 5610835"/>
              <a:gd name="connsiteY7692" fmla="*/ 1064071 h 5278114"/>
              <a:gd name="connsiteX7693" fmla="*/ 2943175 w 5610835"/>
              <a:gd name="connsiteY7693" fmla="*/ 1075205 h 5278114"/>
              <a:gd name="connsiteX7694" fmla="*/ 3227917 w 5610835"/>
              <a:gd name="connsiteY7694" fmla="*/ 1029075 h 5278114"/>
              <a:gd name="connsiteX7695" fmla="*/ 3223144 w 5610835"/>
              <a:gd name="connsiteY7695" fmla="*/ 1081567 h 5278114"/>
              <a:gd name="connsiteX7696" fmla="*/ 3224735 w 5610835"/>
              <a:gd name="connsiteY7696" fmla="*/ 1083158 h 5278114"/>
              <a:gd name="connsiteX7697" fmla="*/ 3235871 w 5610835"/>
              <a:gd name="connsiteY7697" fmla="*/ 1078386 h 5278114"/>
              <a:gd name="connsiteX7698" fmla="*/ 3250982 w 5610835"/>
              <a:gd name="connsiteY7698" fmla="*/ 1032853 h 5278114"/>
              <a:gd name="connsiteX7699" fmla="*/ 3261277 w 5610835"/>
              <a:gd name="connsiteY7699" fmla="*/ 1013603 h 5278114"/>
              <a:gd name="connsiteX7700" fmla="*/ 3256550 w 5610835"/>
              <a:gd name="connsiteY7700" fmla="*/ 1059298 h 5278114"/>
              <a:gd name="connsiteX7701" fmla="*/ 3261322 w 5610835"/>
              <a:gd name="connsiteY7701" fmla="*/ 1032256 h 5278114"/>
              <a:gd name="connsiteX7702" fmla="*/ 3266095 w 5610835"/>
              <a:gd name="connsiteY7702" fmla="*/ 1013169 h 5278114"/>
              <a:gd name="connsiteX7703" fmla="*/ 3261509 w 5610835"/>
              <a:gd name="connsiteY7703" fmla="*/ 1013169 h 5278114"/>
              <a:gd name="connsiteX7704" fmla="*/ 3270866 w 5610835"/>
              <a:gd name="connsiteY7704" fmla="*/ 995671 h 5278114"/>
              <a:gd name="connsiteX7705" fmla="*/ 3275638 w 5610835"/>
              <a:gd name="connsiteY7705" fmla="*/ 995671 h 5278114"/>
              <a:gd name="connsiteX7706" fmla="*/ 3301090 w 5610835"/>
              <a:gd name="connsiteY7706" fmla="*/ 992490 h 5278114"/>
              <a:gd name="connsiteX7707" fmla="*/ 3305862 w 5610835"/>
              <a:gd name="connsiteY7707" fmla="*/ 1005215 h 5278114"/>
              <a:gd name="connsiteX7708" fmla="*/ 3320179 w 5610835"/>
              <a:gd name="connsiteY7708" fmla="*/ 1016350 h 5278114"/>
              <a:gd name="connsiteX7709" fmla="*/ 3310635 w 5610835"/>
              <a:gd name="connsiteY7709" fmla="*/ 1056117 h 5278114"/>
              <a:gd name="connsiteX7710" fmla="*/ 3320179 w 5610835"/>
              <a:gd name="connsiteY7710" fmla="*/ 1057709 h 5278114"/>
              <a:gd name="connsiteX7711" fmla="*/ 3328133 w 5610835"/>
              <a:gd name="connsiteY7711" fmla="*/ 1048163 h 5278114"/>
              <a:gd name="connsiteX7712" fmla="*/ 3329723 w 5610835"/>
              <a:gd name="connsiteY7712" fmla="*/ 1022713 h 5278114"/>
              <a:gd name="connsiteX7713" fmla="*/ 3336086 w 5610835"/>
              <a:gd name="connsiteY7713" fmla="*/ 1040210 h 5278114"/>
              <a:gd name="connsiteX7714" fmla="*/ 3350403 w 5610835"/>
              <a:gd name="connsiteY7714" fmla="*/ 1017941 h 5278114"/>
              <a:gd name="connsiteX7715" fmla="*/ 3348813 w 5610835"/>
              <a:gd name="connsiteY7715" fmla="*/ 984536 h 5278114"/>
              <a:gd name="connsiteX7716" fmla="*/ 3192920 w 5610835"/>
              <a:gd name="connsiteY7716" fmla="*/ 881142 h 5278114"/>
              <a:gd name="connsiteX7717" fmla="*/ 3192920 w 5610835"/>
              <a:gd name="connsiteY7717" fmla="*/ 860461 h 5278114"/>
              <a:gd name="connsiteX7718" fmla="*/ 3227917 w 5610835"/>
              <a:gd name="connsiteY7718" fmla="*/ 854099 h 5278114"/>
              <a:gd name="connsiteX7719" fmla="*/ 3337677 w 5610835"/>
              <a:gd name="connsiteY7719" fmla="*/ 930454 h 5278114"/>
              <a:gd name="connsiteX7720" fmla="*/ 3350403 w 5610835"/>
              <a:gd name="connsiteY7720" fmla="*/ 935226 h 5278114"/>
              <a:gd name="connsiteX7721" fmla="*/ 3351994 w 5610835"/>
              <a:gd name="connsiteY7721" fmla="*/ 920909 h 5278114"/>
              <a:gd name="connsiteX7722" fmla="*/ 3371083 w 5610835"/>
              <a:gd name="connsiteY7722" fmla="*/ 811147 h 5278114"/>
              <a:gd name="connsiteX7723" fmla="*/ 3366310 w 5610835"/>
              <a:gd name="connsiteY7723" fmla="*/ 811147 h 5278114"/>
              <a:gd name="connsiteX7724" fmla="*/ 3324952 w 5610835"/>
              <a:gd name="connsiteY7724" fmla="*/ 803193 h 5278114"/>
              <a:gd name="connsiteX7725" fmla="*/ 3318589 w 5610835"/>
              <a:gd name="connsiteY7725" fmla="*/ 784104 h 5278114"/>
              <a:gd name="connsiteX7726" fmla="*/ 3380627 w 5610835"/>
              <a:gd name="connsiteY7726" fmla="*/ 769786 h 5278114"/>
              <a:gd name="connsiteX7727" fmla="*/ 3382218 w 5610835"/>
              <a:gd name="connsiteY7727" fmla="*/ 769786 h 5278114"/>
              <a:gd name="connsiteX7728" fmla="*/ 3423576 w 5610835"/>
              <a:gd name="connsiteY7728" fmla="*/ 671144 h 5278114"/>
              <a:gd name="connsiteX7729" fmla="*/ 3406079 w 5610835"/>
              <a:gd name="connsiteY7729" fmla="*/ 666373 h 5278114"/>
              <a:gd name="connsiteX7730" fmla="*/ 3391762 w 5610835"/>
              <a:gd name="connsiteY7730" fmla="*/ 637740 h 5278114"/>
              <a:gd name="connsiteX7731" fmla="*/ 3447437 w 5610835"/>
              <a:gd name="connsiteY7731" fmla="*/ 632967 h 5278114"/>
              <a:gd name="connsiteX7732" fmla="*/ 3635144 w 5610835"/>
              <a:gd name="connsiteY7732" fmla="*/ 527979 h 5278114"/>
              <a:gd name="connsiteX7733" fmla="*/ 3625600 w 5610835"/>
              <a:gd name="connsiteY7733" fmla="*/ 650466 h 5278114"/>
              <a:gd name="connsiteX7734" fmla="*/ 3665368 w 5610835"/>
              <a:gd name="connsiteY7734" fmla="*/ 516845 h 5278114"/>
              <a:gd name="connsiteX7735" fmla="*/ 3655824 w 5610835"/>
              <a:gd name="connsiteY7735" fmla="*/ 642511 h 5278114"/>
              <a:gd name="connsiteX7736" fmla="*/ 3763994 w 5610835"/>
              <a:gd name="connsiteY7736" fmla="*/ 464351 h 5278114"/>
              <a:gd name="connsiteX7737" fmla="*/ 3787855 w 5610835"/>
              <a:gd name="connsiteY7737" fmla="*/ 438899 h 5278114"/>
              <a:gd name="connsiteX7738" fmla="*/ 3797399 w 5610835"/>
              <a:gd name="connsiteY7738" fmla="*/ 462761 h 5278114"/>
              <a:gd name="connsiteX7739" fmla="*/ 3789446 w 5610835"/>
              <a:gd name="connsiteY7739" fmla="*/ 502528 h 5278114"/>
              <a:gd name="connsiteX7740" fmla="*/ 3786264 w 5610835"/>
              <a:gd name="connsiteY7740" fmla="*/ 542296 h 5278114"/>
              <a:gd name="connsiteX7741" fmla="*/ 3802171 w 5610835"/>
              <a:gd name="connsiteY7741" fmla="*/ 578883 h 5278114"/>
              <a:gd name="connsiteX7742" fmla="*/ 3813306 w 5610835"/>
              <a:gd name="connsiteY7742" fmla="*/ 475485 h 5278114"/>
              <a:gd name="connsiteX7743" fmla="*/ 3819671 w 5610835"/>
              <a:gd name="connsiteY7743" fmla="*/ 570929 h 5278114"/>
              <a:gd name="connsiteX7744" fmla="*/ 3848304 w 5610835"/>
              <a:gd name="connsiteY7744" fmla="*/ 520026 h 5278114"/>
              <a:gd name="connsiteX7745" fmla="*/ 3861029 w 5610835"/>
              <a:gd name="connsiteY7745" fmla="*/ 510482 h 5278114"/>
              <a:gd name="connsiteX7746" fmla="*/ 3862620 w 5610835"/>
              <a:gd name="connsiteY7746" fmla="*/ 504119 h 5278114"/>
              <a:gd name="connsiteX7747" fmla="*/ 3862620 w 5610835"/>
              <a:gd name="connsiteY7747" fmla="*/ 475485 h 5278114"/>
              <a:gd name="connsiteX7748" fmla="*/ 3868983 w 5610835"/>
              <a:gd name="connsiteY7748" fmla="*/ 475485 h 5278114"/>
              <a:gd name="connsiteX7749" fmla="*/ 3905570 w 5610835"/>
              <a:gd name="connsiteY7749" fmla="*/ 281417 h 5278114"/>
              <a:gd name="connsiteX7750" fmla="*/ 3905570 w 5610835"/>
              <a:gd name="connsiteY7750" fmla="*/ 265511 h 5278114"/>
              <a:gd name="connsiteX7751" fmla="*/ 3923068 w 5610835"/>
              <a:gd name="connsiteY7751" fmla="*/ 260739 h 5278114"/>
              <a:gd name="connsiteX7752" fmla="*/ 3934203 w 5610835"/>
              <a:gd name="connsiteY7752" fmla="*/ 155751 h 5278114"/>
              <a:gd name="connsiteX7753" fmla="*/ 3954883 w 5610835"/>
              <a:gd name="connsiteY7753" fmla="*/ 130299 h 5278114"/>
              <a:gd name="connsiteX7754" fmla="*/ 3970790 w 5610835"/>
              <a:gd name="connsiteY7754" fmla="*/ 165296 h 5278114"/>
              <a:gd name="connsiteX7755" fmla="*/ 4002604 w 5610835"/>
              <a:gd name="connsiteY7755" fmla="*/ 179613 h 5278114"/>
              <a:gd name="connsiteX7756" fmla="*/ 3985107 w 5610835"/>
              <a:gd name="connsiteY7756" fmla="*/ 240060 h 5278114"/>
              <a:gd name="connsiteX7757" fmla="*/ 3937385 w 5610835"/>
              <a:gd name="connsiteY7757" fmla="*/ 360954 h 5278114"/>
              <a:gd name="connsiteX7758" fmla="*/ 3905570 w 5610835"/>
              <a:gd name="connsiteY7758" fmla="*/ 464351 h 5278114"/>
              <a:gd name="connsiteX7759" fmla="*/ 3950110 w 5610835"/>
              <a:gd name="connsiteY7759" fmla="*/ 429356 h 5278114"/>
              <a:gd name="connsiteX7760" fmla="*/ 3948519 w 5610835"/>
              <a:gd name="connsiteY7760" fmla="*/ 394359 h 5278114"/>
              <a:gd name="connsiteX7761" fmla="*/ 3977153 w 5610835"/>
              <a:gd name="connsiteY7761" fmla="*/ 387996 h 5278114"/>
              <a:gd name="connsiteX7762" fmla="*/ 3981925 w 5610835"/>
              <a:gd name="connsiteY7762" fmla="*/ 415038 h 5278114"/>
              <a:gd name="connsiteX7763" fmla="*/ 4026466 w 5610835"/>
              <a:gd name="connsiteY7763" fmla="*/ 373680 h 5278114"/>
              <a:gd name="connsiteX7764" fmla="*/ 4034419 w 5610835"/>
              <a:gd name="connsiteY7764" fmla="*/ 259148 h 5278114"/>
              <a:gd name="connsiteX7765" fmla="*/ 4088504 w 5610835"/>
              <a:gd name="connsiteY7765" fmla="*/ 248013 h 5278114"/>
              <a:gd name="connsiteX7766" fmla="*/ 4101230 w 5610835"/>
              <a:gd name="connsiteY7766" fmla="*/ 322777 h 5278114"/>
              <a:gd name="connsiteX7767" fmla="*/ 4110775 w 5610835"/>
              <a:gd name="connsiteY7767" fmla="*/ 349819 h 5278114"/>
              <a:gd name="connsiteX7768" fmla="*/ 4121909 w 5610835"/>
              <a:gd name="connsiteY7768" fmla="*/ 410266 h 5278114"/>
              <a:gd name="connsiteX7769" fmla="*/ 4139408 w 5610835"/>
              <a:gd name="connsiteY7769" fmla="*/ 408675 h 5278114"/>
              <a:gd name="connsiteX7770" fmla="*/ 4153724 w 5610835"/>
              <a:gd name="connsiteY7770" fmla="*/ 394359 h 5278114"/>
              <a:gd name="connsiteX7771" fmla="*/ 4168041 w 5610835"/>
              <a:gd name="connsiteY7771" fmla="*/ 391178 h 5278114"/>
              <a:gd name="connsiteX7772" fmla="*/ 4217353 w 5610835"/>
              <a:gd name="connsiteY7772" fmla="*/ 338685 h 5278114"/>
              <a:gd name="connsiteX7773" fmla="*/ 4238034 w 5610835"/>
              <a:gd name="connsiteY7773" fmla="*/ 340275 h 5278114"/>
              <a:gd name="connsiteX7774" fmla="*/ 4241215 w 5610835"/>
              <a:gd name="connsiteY7774" fmla="*/ 368908 h 5278114"/>
              <a:gd name="connsiteX7775" fmla="*/ 4133045 w 5610835"/>
              <a:gd name="connsiteY7775" fmla="*/ 485031 h 5278114"/>
              <a:gd name="connsiteX7776" fmla="*/ 4134636 w 5610835"/>
              <a:gd name="connsiteY7776" fmla="*/ 513663 h 5278114"/>
              <a:gd name="connsiteX7777" fmla="*/ 4152134 w 5610835"/>
              <a:gd name="connsiteY7777" fmla="*/ 507300 h 5278114"/>
              <a:gd name="connsiteX7778" fmla="*/ 4156906 w 5610835"/>
              <a:gd name="connsiteY7778" fmla="*/ 629786 h 5278114"/>
              <a:gd name="connsiteX7779" fmla="*/ 4169632 w 5610835"/>
              <a:gd name="connsiteY7779" fmla="*/ 634558 h 5278114"/>
              <a:gd name="connsiteX7780" fmla="*/ 4180767 w 5610835"/>
              <a:gd name="connsiteY7780" fmla="*/ 613879 h 5278114"/>
              <a:gd name="connsiteX7781" fmla="*/ 4191902 w 5610835"/>
              <a:gd name="connsiteY7781" fmla="*/ 655237 h 5278114"/>
              <a:gd name="connsiteX7782" fmla="*/ 4220535 w 5610835"/>
              <a:gd name="connsiteY7782" fmla="*/ 664781 h 5278114"/>
              <a:gd name="connsiteX7783" fmla="*/ 4222126 w 5610835"/>
              <a:gd name="connsiteY7783" fmla="*/ 707731 h 5278114"/>
              <a:gd name="connsiteX7784" fmla="*/ 4199856 w 5610835"/>
              <a:gd name="connsiteY7784" fmla="*/ 723638 h 5278114"/>
              <a:gd name="connsiteX7785" fmla="*/ 4201447 w 5610835"/>
              <a:gd name="connsiteY7785" fmla="*/ 737955 h 5278114"/>
              <a:gd name="connsiteX7786" fmla="*/ 4210991 w 5610835"/>
              <a:gd name="connsiteY7786" fmla="*/ 728411 h 5278114"/>
              <a:gd name="connsiteX7787" fmla="*/ 4201447 w 5610835"/>
              <a:gd name="connsiteY7787" fmla="*/ 747499 h 5278114"/>
              <a:gd name="connsiteX7788" fmla="*/ 4179176 w 5610835"/>
              <a:gd name="connsiteY7788" fmla="*/ 842963 h 5278114"/>
              <a:gd name="connsiteX7789" fmla="*/ 4204628 w 5610835"/>
              <a:gd name="connsiteY7789" fmla="*/ 831828 h 5278114"/>
              <a:gd name="connsiteX7790" fmla="*/ 4217353 w 5610835"/>
              <a:gd name="connsiteY7790" fmla="*/ 776150 h 5278114"/>
              <a:gd name="connsiteX7791" fmla="*/ 4346203 w 5610835"/>
              <a:gd name="connsiteY7791" fmla="*/ 801603 h 5278114"/>
              <a:gd name="connsiteX7792" fmla="*/ 4392334 w 5610835"/>
              <a:gd name="connsiteY7792" fmla="*/ 882732 h 5278114"/>
              <a:gd name="connsiteX7793" fmla="*/ 4280983 w 5610835"/>
              <a:gd name="connsiteY7793" fmla="*/ 987718 h 5278114"/>
              <a:gd name="connsiteX7794" fmla="*/ 4292119 w 5610835"/>
              <a:gd name="connsiteY7794" fmla="*/ 992490 h 5278114"/>
              <a:gd name="connsiteX7795" fmla="*/ 4293710 w 5610835"/>
              <a:gd name="connsiteY7795" fmla="*/ 994080 h 5278114"/>
              <a:gd name="connsiteX7796" fmla="*/ 4406652 w 5610835"/>
              <a:gd name="connsiteY7796" fmla="*/ 885914 h 5278114"/>
              <a:gd name="connsiteX7797" fmla="*/ 4475053 w 5610835"/>
              <a:gd name="connsiteY7797" fmla="*/ 947951 h 5278114"/>
              <a:gd name="connsiteX7798" fmla="*/ 4428921 w 5610835"/>
              <a:gd name="connsiteY7798" fmla="*/ 1006805 h 5278114"/>
              <a:gd name="connsiteX7799" fmla="*/ 4441648 w 5610835"/>
              <a:gd name="connsiteY7799" fmla="*/ 1002034 h 5278114"/>
              <a:gd name="connsiteX7800" fmla="*/ 4452782 w 5610835"/>
              <a:gd name="connsiteY7800" fmla="*/ 1043392 h 5278114"/>
              <a:gd name="connsiteX7801" fmla="*/ 4432103 w 5610835"/>
              <a:gd name="connsiteY7801" fmla="*/ 1049754 h 5278114"/>
              <a:gd name="connsiteX7802" fmla="*/ 4443238 w 5610835"/>
              <a:gd name="connsiteY7802" fmla="*/ 1075205 h 5278114"/>
              <a:gd name="connsiteX7803" fmla="*/ 4397107 w 5610835"/>
              <a:gd name="connsiteY7803" fmla="*/ 1153149 h 5278114"/>
              <a:gd name="connsiteX7804" fmla="*/ 4230080 w 5610835"/>
              <a:gd name="connsiteY7804" fmla="*/ 1229501 h 5278114"/>
              <a:gd name="connsiteX7805" fmla="*/ 4292119 w 5610835"/>
              <a:gd name="connsiteY7805" fmla="*/ 1202458 h 5278114"/>
              <a:gd name="connsiteX7806" fmla="*/ 4296891 w 5610835"/>
              <a:gd name="connsiteY7806" fmla="*/ 1194505 h 5278114"/>
              <a:gd name="connsiteX7807" fmla="*/ 4293710 w 5610835"/>
              <a:gd name="connsiteY7807" fmla="*/ 1202458 h 5278114"/>
              <a:gd name="connsiteX7808" fmla="*/ 4358929 w 5610835"/>
              <a:gd name="connsiteY7808" fmla="*/ 1178599 h 5278114"/>
              <a:gd name="connsiteX7809" fmla="*/ 4362110 w 5610835"/>
              <a:gd name="connsiteY7809" fmla="*/ 1177009 h 5278114"/>
              <a:gd name="connsiteX7810" fmla="*/ 4363701 w 5610835"/>
              <a:gd name="connsiteY7810" fmla="*/ 1177009 h 5278114"/>
              <a:gd name="connsiteX7811" fmla="*/ 4457554 w 5610835"/>
              <a:gd name="connsiteY7811" fmla="*/ 1153149 h 5278114"/>
              <a:gd name="connsiteX7812" fmla="*/ 4454373 w 5610835"/>
              <a:gd name="connsiteY7812" fmla="*/ 1245408 h 5278114"/>
              <a:gd name="connsiteX7813" fmla="*/ 4408242 w 5610835"/>
              <a:gd name="connsiteY7813" fmla="*/ 1246998 h 5278114"/>
              <a:gd name="connsiteX7814" fmla="*/ 4401879 w 5610835"/>
              <a:gd name="connsiteY7814" fmla="*/ 1296312 h 5278114"/>
              <a:gd name="connsiteX7815" fmla="*/ 4385972 w 5610835"/>
              <a:gd name="connsiteY7815" fmla="*/ 1393345 h 5278114"/>
              <a:gd name="connsiteX7816" fmla="*/ 4365292 w 5610835"/>
              <a:gd name="connsiteY7816" fmla="*/ 1452202 h 5278114"/>
              <a:gd name="connsiteX7817" fmla="*/ 4368473 w 5610835"/>
              <a:gd name="connsiteY7817" fmla="*/ 1461748 h 5278114"/>
              <a:gd name="connsiteX7818" fmla="*/ 4360519 w 5610835"/>
              <a:gd name="connsiteY7818" fmla="*/ 1466521 h 5278114"/>
              <a:gd name="connsiteX7819" fmla="*/ 4347794 w 5610835"/>
              <a:gd name="connsiteY7819" fmla="*/ 1496744 h 5278114"/>
              <a:gd name="connsiteX7820" fmla="*/ 4373246 w 5610835"/>
              <a:gd name="connsiteY7820" fmla="*/ 1471294 h 5278114"/>
              <a:gd name="connsiteX7821" fmla="*/ 4352566 w 5610835"/>
              <a:gd name="connsiteY7821" fmla="*/ 1525379 h 5278114"/>
              <a:gd name="connsiteX7822" fmla="*/ 4498914 w 5610835"/>
              <a:gd name="connsiteY7822" fmla="*/ 1463339 h 5278114"/>
              <a:gd name="connsiteX7823" fmla="*/ 4521184 w 5610835"/>
              <a:gd name="connsiteY7823" fmla="*/ 1469703 h 5278114"/>
              <a:gd name="connsiteX7824" fmla="*/ 4510049 w 5610835"/>
              <a:gd name="connsiteY7824" fmla="*/ 1493563 h 5278114"/>
              <a:gd name="connsiteX7825" fmla="*/ 4497323 w 5610835"/>
              <a:gd name="connsiteY7825" fmla="*/ 1487200 h 5278114"/>
              <a:gd name="connsiteX7826" fmla="*/ 4470281 w 5610835"/>
              <a:gd name="connsiteY7826" fmla="*/ 1496744 h 5278114"/>
              <a:gd name="connsiteX7827" fmla="*/ 4397107 w 5610835"/>
              <a:gd name="connsiteY7827" fmla="*/ 1541286 h 5278114"/>
              <a:gd name="connsiteX7828" fmla="*/ 4406652 w 5610835"/>
              <a:gd name="connsiteY7828" fmla="*/ 1557192 h 5278114"/>
              <a:gd name="connsiteX7829" fmla="*/ 4476643 w 5610835"/>
              <a:gd name="connsiteY7829" fmla="*/ 1517424 h 5278114"/>
              <a:gd name="connsiteX7830" fmla="*/ 4468690 w 5610835"/>
              <a:gd name="connsiteY7830" fmla="*/ 1536514 h 5278114"/>
              <a:gd name="connsiteX7831" fmla="*/ 4428921 w 5610835"/>
              <a:gd name="connsiteY7831" fmla="*/ 1560374 h 5278114"/>
              <a:gd name="connsiteX7832" fmla="*/ 4400288 w 5610835"/>
              <a:gd name="connsiteY7832" fmla="*/ 1600140 h 5278114"/>
              <a:gd name="connsiteX7833" fmla="*/ 4368473 w 5610835"/>
              <a:gd name="connsiteY7833" fmla="*/ 1628757 h 5278114"/>
              <a:gd name="connsiteX7834" fmla="*/ 4365292 w 5610835"/>
              <a:gd name="connsiteY7834" fmla="*/ 1625570 h 5278114"/>
              <a:gd name="connsiteX7835" fmla="*/ 4331886 w 5610835"/>
              <a:gd name="connsiteY7835" fmla="*/ 1681231 h 5278114"/>
              <a:gd name="connsiteX7836" fmla="*/ 4353290 w 5610835"/>
              <a:gd name="connsiteY7836" fmla="*/ 1674541 h 5278114"/>
              <a:gd name="connsiteX7837" fmla="*/ 4353162 w 5610835"/>
              <a:gd name="connsiteY7837" fmla="*/ 1674475 h 5278114"/>
              <a:gd name="connsiteX7838" fmla="*/ 4352565 w 5610835"/>
              <a:gd name="connsiteY7838" fmla="*/ 1665328 h 5278114"/>
              <a:gd name="connsiteX7839" fmla="*/ 4370063 w 5610835"/>
              <a:gd name="connsiteY7839" fmla="*/ 1657376 h 5278114"/>
              <a:gd name="connsiteX7840" fmla="*/ 4385052 w 5610835"/>
              <a:gd name="connsiteY7840" fmla="*/ 1649096 h 5278114"/>
              <a:gd name="connsiteX7841" fmla="*/ 4390743 w 5610835"/>
              <a:gd name="connsiteY7841" fmla="*/ 1654198 h 5278114"/>
              <a:gd name="connsiteX7842" fmla="*/ 4362110 w 5610835"/>
              <a:gd name="connsiteY7842" fmla="*/ 1671686 h 5278114"/>
              <a:gd name="connsiteX7843" fmla="*/ 4356815 w 5610835"/>
              <a:gd name="connsiteY7843" fmla="*/ 1676508 h 5278114"/>
              <a:gd name="connsiteX7844" fmla="*/ 4354528 w 5610835"/>
              <a:gd name="connsiteY7844" fmla="*/ 1675233 h 5278114"/>
              <a:gd name="connsiteX7845" fmla="*/ 4320752 w 5610835"/>
              <a:gd name="connsiteY7845" fmla="*/ 1698736 h 5278114"/>
              <a:gd name="connsiteX7846" fmla="*/ 4306435 w 5610835"/>
              <a:gd name="connsiteY7846" fmla="*/ 1735345 h 5278114"/>
              <a:gd name="connsiteX7847" fmla="*/ 4306435 w 5610835"/>
              <a:gd name="connsiteY7847" fmla="*/ 1736936 h 5278114"/>
              <a:gd name="connsiteX7848" fmla="*/ 4327115 w 5610835"/>
              <a:gd name="connsiteY7848" fmla="*/ 1741709 h 5278114"/>
              <a:gd name="connsiteX7849" fmla="*/ 4320752 w 5610835"/>
              <a:gd name="connsiteY7849" fmla="*/ 1763994 h 5278114"/>
              <a:gd name="connsiteX7850" fmla="*/ 4301662 w 5610835"/>
              <a:gd name="connsiteY7850" fmla="*/ 1763994 h 5278114"/>
              <a:gd name="connsiteX7851" fmla="*/ 4303253 w 5610835"/>
              <a:gd name="connsiteY7851" fmla="*/ 1789452 h 5278114"/>
              <a:gd name="connsiteX7852" fmla="*/ 4293710 w 5610835"/>
              <a:gd name="connsiteY7852" fmla="*/ 1797405 h 5278114"/>
              <a:gd name="connsiteX7853" fmla="*/ 4344612 w 5610835"/>
              <a:gd name="connsiteY7853" fmla="*/ 1803773 h 5278114"/>
              <a:gd name="connsiteX7854" fmla="*/ 4529138 w 5610835"/>
              <a:gd name="connsiteY7854" fmla="*/ 1781494 h 5278114"/>
              <a:gd name="connsiteX7855" fmla="*/ 4613447 w 5610835"/>
              <a:gd name="connsiteY7855" fmla="*/ 1767171 h 5278114"/>
              <a:gd name="connsiteX7856" fmla="*/ 4648443 w 5610835"/>
              <a:gd name="connsiteY7856" fmla="*/ 1744892 h 5278114"/>
              <a:gd name="connsiteX7857" fmla="*/ 4677076 w 5610835"/>
              <a:gd name="connsiteY7857" fmla="*/ 1759215 h 5278114"/>
              <a:gd name="connsiteX7858" fmla="*/ 4670713 w 5610835"/>
              <a:gd name="connsiteY7858" fmla="*/ 1779903 h 5278114"/>
              <a:gd name="connsiteX7859" fmla="*/ 4627763 w 5610835"/>
              <a:gd name="connsiteY7859" fmla="*/ 1783085 h 5278114"/>
              <a:gd name="connsiteX7860" fmla="*/ 4432103 w 5610835"/>
              <a:gd name="connsiteY7860" fmla="*/ 1821275 h 5278114"/>
              <a:gd name="connsiteX7861" fmla="*/ 4360519 w 5610835"/>
              <a:gd name="connsiteY7861" fmla="*/ 1838777 h 5278114"/>
              <a:gd name="connsiteX7862" fmla="*/ 4358929 w 5610835"/>
              <a:gd name="connsiteY7862" fmla="*/ 1854691 h 5278114"/>
              <a:gd name="connsiteX7863" fmla="*/ 4323933 w 5610835"/>
              <a:gd name="connsiteY7863" fmla="*/ 1846734 h 5278114"/>
              <a:gd name="connsiteX7864" fmla="*/ 4293710 w 5610835"/>
              <a:gd name="connsiteY7864" fmla="*/ 1872195 h 5278114"/>
              <a:gd name="connsiteX7865" fmla="*/ 4311207 w 5610835"/>
              <a:gd name="connsiteY7865" fmla="*/ 1900837 h 5278114"/>
              <a:gd name="connsiteX7866" fmla="*/ 4379609 w 5610835"/>
              <a:gd name="connsiteY7866" fmla="*/ 1892880 h 5278114"/>
              <a:gd name="connsiteX7867" fmla="*/ 4398698 w 5610835"/>
              <a:gd name="connsiteY7867" fmla="*/ 1881742 h 5278114"/>
              <a:gd name="connsiteX7868" fmla="*/ 4419377 w 5610835"/>
              <a:gd name="connsiteY7868" fmla="*/ 1891288 h 5278114"/>
              <a:gd name="connsiteX7869" fmla="*/ 4514821 w 5610835"/>
              <a:gd name="connsiteY7869" fmla="*/ 1891288 h 5278114"/>
              <a:gd name="connsiteX7870" fmla="*/ 4532319 w 5610835"/>
              <a:gd name="connsiteY7870" fmla="*/ 1888108 h 5278114"/>
              <a:gd name="connsiteX7871" fmla="*/ 4602311 w 5610835"/>
              <a:gd name="connsiteY7871" fmla="*/ 1881742 h 5278114"/>
              <a:gd name="connsiteX7872" fmla="*/ 4610265 w 5610835"/>
              <a:gd name="connsiteY7872" fmla="*/ 1896065 h 5278114"/>
              <a:gd name="connsiteX7873" fmla="*/ 4594358 w 5610835"/>
              <a:gd name="connsiteY7873" fmla="*/ 1911963 h 5278114"/>
              <a:gd name="connsiteX7874" fmla="*/ 4428921 w 5610835"/>
              <a:gd name="connsiteY7874" fmla="*/ 1919912 h 5278114"/>
              <a:gd name="connsiteX7875" fmla="*/ 4435285 w 5610835"/>
              <a:gd name="connsiteY7875" fmla="*/ 1958066 h 5278114"/>
              <a:gd name="connsiteX7876" fmla="*/ 4470281 w 5610835"/>
              <a:gd name="connsiteY7876" fmla="*/ 2008944 h 5278114"/>
              <a:gd name="connsiteX7877" fmla="*/ 4448010 w 5610835"/>
              <a:gd name="connsiteY7877" fmla="*/ 2018504 h 5278114"/>
              <a:gd name="connsiteX7878" fmla="*/ 4436875 w 5610835"/>
              <a:gd name="connsiteY7878" fmla="*/ 2016907 h 5278114"/>
              <a:gd name="connsiteX7879" fmla="*/ 4427331 w 5610835"/>
              <a:gd name="connsiteY7879" fmla="*/ 1973964 h 5278114"/>
              <a:gd name="connsiteX7880" fmla="*/ 4395516 w 5610835"/>
              <a:gd name="connsiteY7880" fmla="*/ 1916732 h 5278114"/>
              <a:gd name="connsiteX7881" fmla="*/ 4236443 w 5610835"/>
              <a:gd name="connsiteY7881" fmla="*/ 1935808 h 5278114"/>
              <a:gd name="connsiteX7882" fmla="*/ 4168041 w 5610835"/>
              <a:gd name="connsiteY7882" fmla="*/ 1989866 h 5278114"/>
              <a:gd name="connsiteX7883" fmla="*/ 4204628 w 5610835"/>
              <a:gd name="connsiteY7883" fmla="*/ 1973964 h 5278114"/>
              <a:gd name="connsiteX7884" fmla="*/ 4258713 w 5610835"/>
              <a:gd name="connsiteY7884" fmla="*/ 1938986 h 5278114"/>
              <a:gd name="connsiteX7885" fmla="*/ 4247578 w 5610835"/>
              <a:gd name="connsiteY7885" fmla="*/ 1954887 h 5278114"/>
              <a:gd name="connsiteX7886" fmla="*/ 4183948 w 5610835"/>
              <a:gd name="connsiteY7886" fmla="*/ 1994636 h 5278114"/>
              <a:gd name="connsiteX7887" fmla="*/ 4236443 w 5610835"/>
              <a:gd name="connsiteY7887" fmla="*/ 2020092 h 5278114"/>
              <a:gd name="connsiteX7888" fmla="*/ 4269848 w 5610835"/>
              <a:gd name="connsiteY7888" fmla="*/ 2013720 h 5278114"/>
              <a:gd name="connsiteX7889" fmla="*/ 4273029 w 5610835"/>
              <a:gd name="connsiteY7889" fmla="*/ 2016907 h 5278114"/>
              <a:gd name="connsiteX7890" fmla="*/ 4331886 w 5610835"/>
              <a:gd name="connsiteY7890" fmla="*/ 2035991 h 5278114"/>
              <a:gd name="connsiteX7891" fmla="*/ 4385972 w 5610835"/>
              <a:gd name="connsiteY7891" fmla="*/ 2058295 h 5278114"/>
              <a:gd name="connsiteX7892" fmla="*/ 4381200 w 5610835"/>
              <a:gd name="connsiteY7892" fmla="*/ 2069427 h 5278114"/>
              <a:gd name="connsiteX7893" fmla="*/ 4277802 w 5610835"/>
              <a:gd name="connsiteY7893" fmla="*/ 2055107 h 5278114"/>
              <a:gd name="connsiteX7894" fmla="*/ 4257122 w 5610835"/>
              <a:gd name="connsiteY7894" fmla="*/ 2047153 h 5278114"/>
              <a:gd name="connsiteX7895" fmla="*/ 4187130 w 5610835"/>
              <a:gd name="connsiteY7895" fmla="*/ 2067838 h 5278114"/>
              <a:gd name="connsiteX7896" fmla="*/ 4201447 w 5610835"/>
              <a:gd name="connsiteY7896" fmla="*/ 2050334 h 5278114"/>
              <a:gd name="connsiteX7897" fmla="*/ 4061461 w 5610835"/>
              <a:gd name="connsiteY7897" fmla="*/ 2067838 h 5278114"/>
              <a:gd name="connsiteX7898" fmla="*/ 4166451 w 5610835"/>
              <a:gd name="connsiteY7898" fmla="*/ 2118733 h 5278114"/>
              <a:gd name="connsiteX7899" fmla="*/ 4185539 w 5610835"/>
              <a:gd name="connsiteY7899" fmla="*/ 2137827 h 5278114"/>
              <a:gd name="connsiteX7900" fmla="*/ 4125091 w 5610835"/>
              <a:gd name="connsiteY7900" fmla="*/ 2118733 h 5278114"/>
              <a:gd name="connsiteX7901" fmla="*/ 4051918 w 5610835"/>
              <a:gd name="connsiteY7901" fmla="*/ 2136238 h 5278114"/>
              <a:gd name="connsiteX7902" fmla="*/ 4133045 w 5610835"/>
              <a:gd name="connsiteY7902" fmla="*/ 2195085 h 5278114"/>
              <a:gd name="connsiteX7903" fmla="*/ 4147361 w 5610835"/>
              <a:gd name="connsiteY7903" fmla="*/ 2195085 h 5278114"/>
              <a:gd name="connsiteX7904" fmla="*/ 4160088 w 5610835"/>
              <a:gd name="connsiteY7904" fmla="*/ 2222125 h 5278114"/>
              <a:gd name="connsiteX7905" fmla="*/ 4215763 w 5610835"/>
              <a:gd name="connsiteY7905" fmla="*/ 2257116 h 5278114"/>
              <a:gd name="connsiteX7906" fmla="*/ 4253941 w 5610835"/>
              <a:gd name="connsiteY7906" fmla="*/ 2247575 h 5278114"/>
              <a:gd name="connsiteX7907" fmla="*/ 4249168 w 5610835"/>
              <a:gd name="connsiteY7907" fmla="*/ 2260298 h 5278114"/>
              <a:gd name="connsiteX7908" fmla="*/ 4218944 w 5610835"/>
              <a:gd name="connsiteY7908" fmla="*/ 2265070 h 5278114"/>
              <a:gd name="connsiteX7909" fmla="*/ 4217353 w 5610835"/>
              <a:gd name="connsiteY7909" fmla="*/ 2282564 h 5278114"/>
              <a:gd name="connsiteX7910" fmla="*/ 4203037 w 5610835"/>
              <a:gd name="connsiteY7910" fmla="*/ 2279385 h 5278114"/>
              <a:gd name="connsiteX7911" fmla="*/ 4187130 w 5610835"/>
              <a:gd name="connsiteY7911" fmla="*/ 2271431 h 5278114"/>
              <a:gd name="connsiteX7912" fmla="*/ 4145771 w 5610835"/>
              <a:gd name="connsiteY7912" fmla="*/ 2279385 h 5278114"/>
              <a:gd name="connsiteX7913" fmla="*/ 4185539 w 5610835"/>
              <a:gd name="connsiteY7913" fmla="*/ 2265070 h 5278114"/>
              <a:gd name="connsiteX7914" fmla="*/ 4129863 w 5610835"/>
              <a:gd name="connsiteY7914" fmla="*/ 2214173 h 5278114"/>
              <a:gd name="connsiteX7915" fmla="*/ 4048736 w 5610835"/>
              <a:gd name="connsiteY7915" fmla="*/ 2242803 h 5278114"/>
              <a:gd name="connsiteX7916" fmla="*/ 4045555 w 5610835"/>
              <a:gd name="connsiteY7916" fmla="*/ 2265070 h 5278114"/>
              <a:gd name="connsiteX7917" fmla="*/ 4071006 w 5610835"/>
              <a:gd name="connsiteY7917" fmla="*/ 2350956 h 5278114"/>
              <a:gd name="connsiteX7918" fmla="*/ 4096458 w 5610835"/>
              <a:gd name="connsiteY7918" fmla="*/ 2349365 h 5278114"/>
              <a:gd name="connsiteX7919" fmla="*/ 4074188 w 5610835"/>
              <a:gd name="connsiteY7919" fmla="*/ 2335050 h 5278114"/>
              <a:gd name="connsiteX7920" fmla="*/ 4164860 w 5610835"/>
              <a:gd name="connsiteY7920" fmla="*/ 2343002 h 5278114"/>
              <a:gd name="connsiteX7921" fmla="*/ 4298481 w 5610835"/>
              <a:gd name="connsiteY7921" fmla="*/ 2333459 h 5278114"/>
              <a:gd name="connsiteX7922" fmla="*/ 4373246 w 5610835"/>
              <a:gd name="connsiteY7922" fmla="*/ 2327098 h 5278114"/>
              <a:gd name="connsiteX7923" fmla="*/ 4379609 w 5610835"/>
              <a:gd name="connsiteY7923" fmla="*/ 2335050 h 5278114"/>
              <a:gd name="connsiteX7924" fmla="*/ 4314389 w 5610835"/>
              <a:gd name="connsiteY7924" fmla="*/ 2341411 h 5278114"/>
              <a:gd name="connsiteX7925" fmla="*/ 4341431 w 5610835"/>
              <a:gd name="connsiteY7925" fmla="*/ 2381173 h 5278114"/>
              <a:gd name="connsiteX7926" fmla="*/ 4311207 w 5610835"/>
              <a:gd name="connsiteY7926" fmla="*/ 2368449 h 5278114"/>
              <a:gd name="connsiteX7927" fmla="*/ 4231671 w 5610835"/>
              <a:gd name="connsiteY7927" fmla="*/ 2347774 h 5278114"/>
              <a:gd name="connsiteX7928" fmla="*/ 4091685 w 5610835"/>
              <a:gd name="connsiteY7928" fmla="*/ 2360499 h 5278114"/>
              <a:gd name="connsiteX7929" fmla="*/ 4075778 w 5610835"/>
              <a:gd name="connsiteY7929" fmla="*/ 2365269 h 5278114"/>
              <a:gd name="connsiteX7930" fmla="*/ 4088504 w 5610835"/>
              <a:gd name="connsiteY7930" fmla="*/ 2384354 h 5278114"/>
              <a:gd name="connsiteX7931" fmla="*/ 4180767 w 5610835"/>
              <a:gd name="connsiteY7931" fmla="*/ 2376403 h 5278114"/>
              <a:gd name="connsiteX7932" fmla="*/ 4217353 w 5610835"/>
              <a:gd name="connsiteY7932" fmla="*/ 2381173 h 5278114"/>
              <a:gd name="connsiteX7933" fmla="*/ 4112366 w 5610835"/>
              <a:gd name="connsiteY7933" fmla="*/ 2398670 h 5278114"/>
              <a:gd name="connsiteX7934" fmla="*/ 4098048 w 5610835"/>
              <a:gd name="connsiteY7934" fmla="*/ 2425706 h 5278114"/>
              <a:gd name="connsiteX7935" fmla="*/ 4096458 w 5610835"/>
              <a:gd name="connsiteY7935" fmla="*/ 2495688 h 5278114"/>
              <a:gd name="connsiteX7936" fmla="*/ 4096458 w 5610835"/>
              <a:gd name="connsiteY7936" fmla="*/ 2544994 h 5278114"/>
              <a:gd name="connsiteX7937" fmla="*/ 4160088 w 5610835"/>
              <a:gd name="connsiteY7937" fmla="*/ 2552947 h 5278114"/>
              <a:gd name="connsiteX7938" fmla="*/ 4244396 w 5610835"/>
              <a:gd name="connsiteY7938" fmla="*/ 2541812 h 5278114"/>
              <a:gd name="connsiteX7939" fmla="*/ 4260304 w 5610835"/>
              <a:gd name="connsiteY7939" fmla="*/ 2544994 h 5278114"/>
              <a:gd name="connsiteX7940" fmla="*/ 4293710 w 5610835"/>
              <a:gd name="connsiteY7940" fmla="*/ 2564080 h 5278114"/>
              <a:gd name="connsiteX7941" fmla="*/ 4363701 w 5610835"/>
              <a:gd name="connsiteY7941" fmla="*/ 2597484 h 5278114"/>
              <a:gd name="connsiteX7942" fmla="*/ 4428921 w 5610835"/>
              <a:gd name="connsiteY7942" fmla="*/ 2624529 h 5278114"/>
              <a:gd name="connsiteX7943" fmla="*/ 4424149 w 5610835"/>
              <a:gd name="connsiteY7943" fmla="*/ 2637257 h 5278114"/>
              <a:gd name="connsiteX7944" fmla="*/ 4346203 w 5610835"/>
              <a:gd name="connsiteY7944" fmla="*/ 2607030 h 5278114"/>
              <a:gd name="connsiteX7945" fmla="*/ 4333477 w 5610835"/>
              <a:gd name="connsiteY7945" fmla="*/ 2605440 h 5278114"/>
              <a:gd name="connsiteX7946" fmla="*/ 4231671 w 5610835"/>
              <a:gd name="connsiteY7946" fmla="*/ 2600667 h 5278114"/>
              <a:gd name="connsiteX7947" fmla="*/ 4195083 w 5610835"/>
              <a:gd name="connsiteY7947" fmla="*/ 2584758 h 5278114"/>
              <a:gd name="connsiteX7948" fmla="*/ 4106002 w 5610835"/>
              <a:gd name="connsiteY7948" fmla="*/ 2575214 h 5278114"/>
              <a:gd name="connsiteX7949" fmla="*/ 4083732 w 5610835"/>
              <a:gd name="connsiteY7949" fmla="*/ 2602257 h 5278114"/>
              <a:gd name="connsiteX7950" fmla="*/ 4047145 w 5610835"/>
              <a:gd name="connsiteY7950" fmla="*/ 2866315 h 5278114"/>
              <a:gd name="connsiteX7951" fmla="*/ 4088504 w 5610835"/>
              <a:gd name="connsiteY7951" fmla="*/ 2901312 h 5278114"/>
              <a:gd name="connsiteX7952" fmla="*/ 4075778 w 5610835"/>
              <a:gd name="connsiteY7952" fmla="*/ 2917219 h 5278114"/>
              <a:gd name="connsiteX7953" fmla="*/ 4055099 w 5610835"/>
              <a:gd name="connsiteY7953" fmla="*/ 2890176 h 5278114"/>
              <a:gd name="connsiteX7954" fmla="*/ 4043964 w 5610835"/>
              <a:gd name="connsiteY7954" fmla="*/ 2893358 h 5278114"/>
              <a:gd name="connsiteX7955" fmla="*/ 4039192 w 5610835"/>
              <a:gd name="connsiteY7955" fmla="*/ 2961760 h 5278114"/>
              <a:gd name="connsiteX7956" fmla="*/ 4039192 w 5610835"/>
              <a:gd name="connsiteY7956" fmla="*/ 2976076 h 5278114"/>
              <a:gd name="connsiteX7957" fmla="*/ 4110775 w 5610835"/>
              <a:gd name="connsiteY7957" fmla="*/ 3089019 h 5278114"/>
              <a:gd name="connsiteX7958" fmla="*/ 4039192 w 5610835"/>
              <a:gd name="connsiteY7958" fmla="*/ 3009481 h 5278114"/>
              <a:gd name="connsiteX7959" fmla="*/ 4039192 w 5610835"/>
              <a:gd name="connsiteY7959" fmla="*/ 3028571 h 5278114"/>
              <a:gd name="connsiteX7960" fmla="*/ 4142590 w 5610835"/>
              <a:gd name="connsiteY7960" fmla="*/ 3159010 h 5278114"/>
              <a:gd name="connsiteX7961" fmla="*/ 4043964 w 5610835"/>
              <a:gd name="connsiteY7961" fmla="*/ 3058794 h 5278114"/>
              <a:gd name="connsiteX7962" fmla="*/ 4190311 w 5610835"/>
              <a:gd name="connsiteY7962" fmla="*/ 3276725 h 5278114"/>
              <a:gd name="connsiteX7963" fmla="*/ 4104412 w 5610835"/>
              <a:gd name="connsiteY7963" fmla="*/ 3186053 h 5278114"/>
              <a:gd name="connsiteX7964" fmla="*/ 4101230 w 5610835"/>
              <a:gd name="connsiteY7964" fmla="*/ 3214686 h 5278114"/>
              <a:gd name="connsiteX7965" fmla="*/ 4218944 w 5610835"/>
              <a:gd name="connsiteY7965" fmla="*/ 3400802 h 5278114"/>
              <a:gd name="connsiteX7966" fmla="*/ 4134636 w 5610835"/>
              <a:gd name="connsiteY7966" fmla="*/ 3332401 h 5278114"/>
              <a:gd name="connsiteX7967" fmla="*/ 4228489 w 5610835"/>
              <a:gd name="connsiteY7967" fmla="*/ 3424663 h 5278114"/>
              <a:gd name="connsiteX7968" fmla="*/ 4226898 w 5610835"/>
              <a:gd name="connsiteY7968" fmla="*/ 3510563 h 5278114"/>
              <a:gd name="connsiteX7969" fmla="*/ 4142590 w 5610835"/>
              <a:gd name="connsiteY7969" fmla="*/ 3413528 h 5278114"/>
              <a:gd name="connsiteX7970" fmla="*/ 4125091 w 5610835"/>
              <a:gd name="connsiteY7970" fmla="*/ 3427844 h 5278114"/>
              <a:gd name="connsiteX7971" fmla="*/ 4234852 w 5610835"/>
              <a:gd name="connsiteY7971" fmla="*/ 3545559 h 5278114"/>
              <a:gd name="connsiteX7972" fmla="*/ 4222126 w 5610835"/>
              <a:gd name="connsiteY7972" fmla="*/ 3599644 h 5278114"/>
              <a:gd name="connsiteX7973" fmla="*/ 4123500 w 5610835"/>
              <a:gd name="connsiteY7973" fmla="*/ 3485111 h 5278114"/>
              <a:gd name="connsiteX7974" fmla="*/ 4109184 w 5610835"/>
              <a:gd name="connsiteY7974" fmla="*/ 3499428 h 5278114"/>
              <a:gd name="connsiteX7975" fmla="*/ 4218944 w 5610835"/>
              <a:gd name="connsiteY7975" fmla="*/ 3631458 h 5278114"/>
              <a:gd name="connsiteX7976" fmla="*/ 4204628 w 5610835"/>
              <a:gd name="connsiteY7976" fmla="*/ 3677590 h 5278114"/>
              <a:gd name="connsiteX7977" fmla="*/ 4010558 w 5610835"/>
              <a:gd name="connsiteY7977" fmla="*/ 3445343 h 5278114"/>
              <a:gd name="connsiteX7978" fmla="*/ 4015331 w 5610835"/>
              <a:gd name="connsiteY7978" fmla="*/ 3480339 h 5278114"/>
              <a:gd name="connsiteX7979" fmla="*/ 4185539 w 5610835"/>
              <a:gd name="connsiteY7979" fmla="*/ 3683953 h 5278114"/>
              <a:gd name="connsiteX7980" fmla="*/ 4078960 w 5610835"/>
              <a:gd name="connsiteY7980" fmla="*/ 3617142 h 5278114"/>
              <a:gd name="connsiteX7981" fmla="*/ 4051918 w 5610835"/>
              <a:gd name="connsiteY7981" fmla="*/ 3588509 h 5278114"/>
              <a:gd name="connsiteX7982" fmla="*/ 4056690 w 5610835"/>
              <a:gd name="connsiteY7982" fmla="*/ 3594872 h 5278114"/>
              <a:gd name="connsiteX7983" fmla="*/ 4043964 w 5610835"/>
              <a:gd name="connsiteY7983" fmla="*/ 3604416 h 5278114"/>
              <a:gd name="connsiteX7984" fmla="*/ 4147361 w 5610835"/>
              <a:gd name="connsiteY7984" fmla="*/ 3760308 h 5278114"/>
              <a:gd name="connsiteX7985" fmla="*/ 4031238 w 5610835"/>
              <a:gd name="connsiteY7985" fmla="*/ 3625096 h 5278114"/>
              <a:gd name="connsiteX7986" fmla="*/ 4021694 w 5610835"/>
              <a:gd name="connsiteY7986" fmla="*/ 3626686 h 5278114"/>
              <a:gd name="connsiteX7987" fmla="*/ 4013740 w 5610835"/>
              <a:gd name="connsiteY7987" fmla="*/ 3626686 h 5278114"/>
              <a:gd name="connsiteX7988" fmla="*/ 4129863 w 5610835"/>
              <a:gd name="connsiteY7988" fmla="*/ 3800077 h 5278114"/>
              <a:gd name="connsiteX7989" fmla="*/ 4020103 w 5610835"/>
              <a:gd name="connsiteY7989" fmla="*/ 3664864 h 5278114"/>
              <a:gd name="connsiteX7990" fmla="*/ 4016921 w 5610835"/>
              <a:gd name="connsiteY7990" fmla="*/ 3674409 h 5278114"/>
              <a:gd name="connsiteX7991" fmla="*/ 4029647 w 5610835"/>
              <a:gd name="connsiteY7991" fmla="*/ 3706223 h 5278114"/>
              <a:gd name="connsiteX7992" fmla="*/ 4107593 w 5610835"/>
              <a:gd name="connsiteY7992" fmla="*/ 3831891 h 5278114"/>
              <a:gd name="connsiteX7993" fmla="*/ 4072597 w 5610835"/>
              <a:gd name="connsiteY7993" fmla="*/ 3798486 h 5278114"/>
              <a:gd name="connsiteX7994" fmla="*/ 4032828 w 5610835"/>
              <a:gd name="connsiteY7994" fmla="*/ 3749173 h 5278114"/>
              <a:gd name="connsiteX7995" fmla="*/ 4028057 w 5610835"/>
              <a:gd name="connsiteY7995" fmla="*/ 3779396 h 5278114"/>
              <a:gd name="connsiteX7996" fmla="*/ 4067824 w 5610835"/>
              <a:gd name="connsiteY7996" fmla="*/ 3850980 h 5278114"/>
              <a:gd name="connsiteX7997" fmla="*/ 4008967 w 5610835"/>
              <a:gd name="connsiteY7997" fmla="*/ 3806439 h 5278114"/>
              <a:gd name="connsiteX7998" fmla="*/ 4001014 w 5610835"/>
              <a:gd name="connsiteY7998" fmla="*/ 3812802 h 5278114"/>
              <a:gd name="connsiteX7999" fmla="*/ 4008967 w 5610835"/>
              <a:gd name="connsiteY7999" fmla="*/ 3828710 h 5278114"/>
              <a:gd name="connsiteX8000" fmla="*/ 4001014 w 5610835"/>
              <a:gd name="connsiteY8000" fmla="*/ 3823938 h 5278114"/>
              <a:gd name="connsiteX8001" fmla="*/ 4023285 w 5610835"/>
              <a:gd name="connsiteY8001" fmla="*/ 3852571 h 5278114"/>
              <a:gd name="connsiteX8002" fmla="*/ 3983516 w 5610835"/>
              <a:gd name="connsiteY8002" fmla="*/ 3854161 h 5278114"/>
              <a:gd name="connsiteX8003" fmla="*/ 3918296 w 5610835"/>
              <a:gd name="connsiteY8003" fmla="*/ 3776215 h 5278114"/>
              <a:gd name="connsiteX8004" fmla="*/ 3908752 w 5610835"/>
              <a:gd name="connsiteY8004" fmla="*/ 3776215 h 5278114"/>
              <a:gd name="connsiteX8005" fmla="*/ 3884890 w 5610835"/>
              <a:gd name="connsiteY8005" fmla="*/ 3741220 h 5278114"/>
              <a:gd name="connsiteX8006" fmla="*/ 3493569 w 5610835"/>
              <a:gd name="connsiteY8006" fmla="*/ 3333991 h 5278114"/>
              <a:gd name="connsiteX8007" fmla="*/ 3480843 w 5610835"/>
              <a:gd name="connsiteY8007" fmla="*/ 3368987 h 5278114"/>
              <a:gd name="connsiteX8008" fmla="*/ 3643098 w 5610835"/>
              <a:gd name="connsiteY8008" fmla="*/ 3508972 h 5278114"/>
              <a:gd name="connsiteX8009" fmla="*/ 3954883 w 5610835"/>
              <a:gd name="connsiteY8009" fmla="*/ 3849389 h 5278114"/>
              <a:gd name="connsiteX8010" fmla="*/ 3892844 w 5610835"/>
              <a:gd name="connsiteY8010" fmla="*/ 3843026 h 5278114"/>
              <a:gd name="connsiteX8011" fmla="*/ 3474480 w 5610835"/>
              <a:gd name="connsiteY8011" fmla="*/ 3394439 h 5278114"/>
              <a:gd name="connsiteX8012" fmla="*/ 3469708 w 5610835"/>
              <a:gd name="connsiteY8012" fmla="*/ 3399211 h 5278114"/>
              <a:gd name="connsiteX8013" fmla="*/ 3466527 w 5610835"/>
              <a:gd name="connsiteY8013" fmla="*/ 3416710 h 5278114"/>
              <a:gd name="connsiteX8014" fmla="*/ 3854666 w 5610835"/>
              <a:gd name="connsiteY8014" fmla="*/ 3827119 h 5278114"/>
              <a:gd name="connsiteX8015" fmla="*/ 3666959 w 5610835"/>
              <a:gd name="connsiteY8015" fmla="*/ 3693497 h 5278114"/>
              <a:gd name="connsiteX8016" fmla="*/ 3458573 w 5610835"/>
              <a:gd name="connsiteY8016" fmla="*/ 3459659 h 5278114"/>
              <a:gd name="connsiteX8017" fmla="*/ 3453801 w 5610835"/>
              <a:gd name="connsiteY8017" fmla="*/ 3485111 h 5278114"/>
              <a:gd name="connsiteX8018" fmla="*/ 3741723 w 5610835"/>
              <a:gd name="connsiteY8018" fmla="*/ 3801668 h 5278114"/>
              <a:gd name="connsiteX8019" fmla="*/ 3573106 w 5610835"/>
              <a:gd name="connsiteY8019" fmla="*/ 3664864 h 5278114"/>
              <a:gd name="connsiteX8020" fmla="*/ 3445847 w 5610835"/>
              <a:gd name="connsiteY8020" fmla="*/ 3526470 h 5278114"/>
              <a:gd name="connsiteX8021" fmla="*/ 3441075 w 5610835"/>
              <a:gd name="connsiteY8021" fmla="*/ 3548740 h 5278114"/>
              <a:gd name="connsiteX8022" fmla="*/ 3611283 w 5610835"/>
              <a:gd name="connsiteY8022" fmla="*/ 3747582 h 5278114"/>
              <a:gd name="connsiteX8023" fmla="*/ 3429940 w 5610835"/>
              <a:gd name="connsiteY8023" fmla="*/ 3613961 h 5278114"/>
              <a:gd name="connsiteX8024" fmla="*/ 3428349 w 5610835"/>
              <a:gd name="connsiteY8024" fmla="*/ 3620324 h 5278114"/>
              <a:gd name="connsiteX8025" fmla="*/ 3431530 w 5610835"/>
              <a:gd name="connsiteY8025" fmla="*/ 3631458 h 5278114"/>
              <a:gd name="connsiteX8026" fmla="*/ 3466527 w 5610835"/>
              <a:gd name="connsiteY8026" fmla="*/ 3675999 h 5278114"/>
              <a:gd name="connsiteX8027" fmla="*/ 3434712 w 5610835"/>
              <a:gd name="connsiteY8027" fmla="*/ 3661682 h 5278114"/>
              <a:gd name="connsiteX8028" fmla="*/ 3436303 w 5610835"/>
              <a:gd name="connsiteY8028" fmla="*/ 3668045 h 5278114"/>
              <a:gd name="connsiteX8029" fmla="*/ 3450619 w 5610835"/>
              <a:gd name="connsiteY8029" fmla="*/ 3900292 h 5278114"/>
              <a:gd name="connsiteX8030" fmla="*/ 3453801 w 5610835"/>
              <a:gd name="connsiteY8030" fmla="*/ 4008463 h 5278114"/>
              <a:gd name="connsiteX8031" fmla="*/ 3445847 w 5610835"/>
              <a:gd name="connsiteY8031" fmla="*/ 4016416 h 5278114"/>
              <a:gd name="connsiteX8032" fmla="*/ 3455391 w 5610835"/>
              <a:gd name="connsiteY8032" fmla="*/ 4033914 h 5278114"/>
              <a:gd name="connsiteX8033" fmla="*/ 3455391 w 5610835"/>
              <a:gd name="connsiteY8033" fmla="*/ 4095953 h 5278114"/>
              <a:gd name="connsiteX8034" fmla="*/ 3414033 w 5610835"/>
              <a:gd name="connsiteY8034" fmla="*/ 4078455 h 5278114"/>
              <a:gd name="connsiteX8035" fmla="*/ 3402897 w 5610835"/>
              <a:gd name="connsiteY8035" fmla="*/ 4097544 h 5278114"/>
              <a:gd name="connsiteX8036" fmla="*/ 3433121 w 5610835"/>
              <a:gd name="connsiteY8036" fmla="*/ 4132539 h 5278114"/>
              <a:gd name="connsiteX8037" fmla="*/ 3445847 w 5610835"/>
              <a:gd name="connsiteY8037" fmla="*/ 4137312 h 5278114"/>
              <a:gd name="connsiteX8038" fmla="*/ 3437894 w 5610835"/>
              <a:gd name="connsiteY8038" fmla="*/ 4148447 h 5278114"/>
              <a:gd name="connsiteX8039" fmla="*/ 3418804 w 5610835"/>
              <a:gd name="connsiteY8039" fmla="*/ 4156401 h 5278114"/>
              <a:gd name="connsiteX8040" fmla="*/ 3415623 w 5610835"/>
              <a:gd name="connsiteY8040" fmla="*/ 4165945 h 5278114"/>
              <a:gd name="connsiteX8041" fmla="*/ 3410851 w 5610835"/>
              <a:gd name="connsiteY8041" fmla="*/ 4202532 h 5278114"/>
              <a:gd name="connsiteX8042" fmla="*/ 3423576 w 5610835"/>
              <a:gd name="connsiteY8042" fmla="*/ 4216849 h 5278114"/>
              <a:gd name="connsiteX8043" fmla="*/ 3390171 w 5610835"/>
              <a:gd name="connsiteY8043" fmla="*/ 4224802 h 5278114"/>
              <a:gd name="connsiteX8044" fmla="*/ 3386990 w 5610835"/>
              <a:gd name="connsiteY8044" fmla="*/ 4242301 h 5278114"/>
              <a:gd name="connsiteX8045" fmla="*/ 3359947 w 5610835"/>
              <a:gd name="connsiteY8045" fmla="*/ 4237528 h 5278114"/>
              <a:gd name="connsiteX8046" fmla="*/ 3331314 w 5610835"/>
              <a:gd name="connsiteY8046" fmla="*/ 4251845 h 5278114"/>
              <a:gd name="connsiteX8047" fmla="*/ 3320179 w 5610835"/>
              <a:gd name="connsiteY8047" fmla="*/ 4258207 h 5278114"/>
              <a:gd name="connsiteX8048" fmla="*/ 3299499 w 5610835"/>
              <a:gd name="connsiteY8048" fmla="*/ 4232756 h 5278114"/>
              <a:gd name="connsiteX8049" fmla="*/ 3305862 w 5610835"/>
              <a:gd name="connsiteY8049" fmla="*/ 4231165 h 5278114"/>
              <a:gd name="connsiteX8050" fmla="*/ 3288365 w 5610835"/>
              <a:gd name="connsiteY8050" fmla="*/ 4204123 h 5278114"/>
              <a:gd name="connsiteX8051" fmla="*/ 3294728 w 5610835"/>
              <a:gd name="connsiteY8051" fmla="*/ 4164354 h 5278114"/>
              <a:gd name="connsiteX8052" fmla="*/ 3288365 w 5610835"/>
              <a:gd name="connsiteY8052" fmla="*/ 4180262 h 5278114"/>
              <a:gd name="connsiteX8053" fmla="*/ 3223144 w 5610835"/>
              <a:gd name="connsiteY8053" fmla="*/ 4232756 h 5278114"/>
              <a:gd name="connsiteX8054" fmla="*/ 2903407 w 5610835"/>
              <a:gd name="connsiteY8054" fmla="*/ 4072092 h 5278114"/>
              <a:gd name="connsiteX8055" fmla="*/ 3202465 w 5610835"/>
              <a:gd name="connsiteY8055" fmla="*/ 4245482 h 5278114"/>
              <a:gd name="connsiteX8056" fmla="*/ 3264504 w 5610835"/>
              <a:gd name="connsiteY8056" fmla="*/ 4274115 h 5278114"/>
              <a:gd name="connsiteX8057" fmla="*/ 3243824 w 5610835"/>
              <a:gd name="connsiteY8057" fmla="*/ 4286841 h 5278114"/>
              <a:gd name="connsiteX8058" fmla="*/ 3100658 w 5610835"/>
              <a:gd name="connsiteY8058" fmla="*/ 4258207 h 5278114"/>
              <a:gd name="connsiteX8059" fmla="*/ 3250187 w 5610835"/>
              <a:gd name="connsiteY8059" fmla="*/ 4309111 h 5278114"/>
              <a:gd name="connsiteX8060" fmla="*/ 3192920 w 5610835"/>
              <a:gd name="connsiteY8060" fmla="*/ 4457050 h 5278114"/>
              <a:gd name="connsiteX8061" fmla="*/ 3149971 w 5610835"/>
              <a:gd name="connsiteY8061" fmla="*/ 4458640 h 5278114"/>
              <a:gd name="connsiteX8062" fmla="*/ 3178604 w 5610835"/>
              <a:gd name="connsiteY8062" fmla="*/ 4519088 h 5278114"/>
              <a:gd name="connsiteX8063" fmla="*/ 3087932 w 5610835"/>
              <a:gd name="connsiteY8063" fmla="*/ 4609760 h 5278114"/>
              <a:gd name="connsiteX8064" fmla="*/ 3103839 w 5610835"/>
              <a:gd name="connsiteY8064" fmla="*/ 4574764 h 5278114"/>
              <a:gd name="connsiteX8065" fmla="*/ 3068843 w 5610835"/>
              <a:gd name="connsiteY8065" fmla="*/ 4538177 h 5278114"/>
              <a:gd name="connsiteX8066" fmla="*/ 2952720 w 5610835"/>
              <a:gd name="connsiteY8066" fmla="*/ 4434779 h 5278114"/>
              <a:gd name="connsiteX8067" fmla="*/ 2551856 w 5610835"/>
              <a:gd name="connsiteY8067" fmla="*/ 4095953 h 5278114"/>
              <a:gd name="connsiteX8068" fmla="*/ 2939994 w 5610835"/>
              <a:gd name="connsiteY8068" fmla="*/ 4445915 h 5278114"/>
              <a:gd name="connsiteX8069" fmla="*/ 2847731 w 5610835"/>
              <a:gd name="connsiteY8069" fmla="*/ 4460231 h 5278114"/>
              <a:gd name="connsiteX8070" fmla="*/ 2979762 w 5610835"/>
              <a:gd name="connsiteY8070" fmla="*/ 4439552 h 5278114"/>
              <a:gd name="connsiteX8071" fmla="*/ 3002033 w 5610835"/>
              <a:gd name="connsiteY8071" fmla="*/ 4533405 h 5278114"/>
              <a:gd name="connsiteX8072" fmla="*/ 2957492 w 5610835"/>
              <a:gd name="connsiteY8072" fmla="*/ 4702023 h 5278114"/>
              <a:gd name="connsiteX8073" fmla="*/ 2860457 w 5610835"/>
              <a:gd name="connsiteY8073" fmla="*/ 4722702 h 5278114"/>
              <a:gd name="connsiteX8074" fmla="*/ 2828642 w 5610835"/>
              <a:gd name="connsiteY8074" fmla="*/ 4818146 h 5278114"/>
              <a:gd name="connsiteX8075" fmla="*/ 2706156 w 5610835"/>
              <a:gd name="connsiteY8075" fmla="*/ 4477729 h 5278114"/>
              <a:gd name="connsiteX8076" fmla="*/ 2489817 w 5610835"/>
              <a:gd name="connsiteY8076" fmla="*/ 4280478 h 5278114"/>
              <a:gd name="connsiteX8077" fmla="*/ 2739561 w 5610835"/>
              <a:gd name="connsiteY8077" fmla="*/ 4566811 h 5278114"/>
              <a:gd name="connsiteX8078" fmla="*/ 2712518 w 5610835"/>
              <a:gd name="connsiteY8078" fmla="*/ 4557266 h 5278114"/>
              <a:gd name="connsiteX8079" fmla="*/ 2561399 w 5610835"/>
              <a:gd name="connsiteY8079" fmla="*/ 4452278 h 5278114"/>
              <a:gd name="connsiteX8080" fmla="*/ 2370511 w 5610835"/>
              <a:gd name="connsiteY8080" fmla="*/ 4078455 h 5278114"/>
              <a:gd name="connsiteX8081" fmla="*/ 2310063 w 5610835"/>
              <a:gd name="connsiteY8081" fmla="*/ 3698269 h 5278114"/>
              <a:gd name="connsiteX8082" fmla="*/ 2329152 w 5610835"/>
              <a:gd name="connsiteY8082" fmla="*/ 3979830 h 5278114"/>
              <a:gd name="connsiteX8083" fmla="*/ 2537538 w 5610835"/>
              <a:gd name="connsiteY8083" fmla="*/ 4436370 h 5278114"/>
              <a:gd name="connsiteX8084" fmla="*/ 2481862 w 5610835"/>
              <a:gd name="connsiteY8084" fmla="*/ 4380694 h 5278114"/>
              <a:gd name="connsiteX8085" fmla="*/ 2407098 w 5610835"/>
              <a:gd name="connsiteY8085" fmla="*/ 4364787 h 5278114"/>
              <a:gd name="connsiteX8086" fmla="*/ 2356194 w 5610835"/>
              <a:gd name="connsiteY8086" fmla="*/ 4321837 h 5278114"/>
              <a:gd name="connsiteX8087" fmla="*/ 2255978 w 5610835"/>
              <a:gd name="connsiteY8087" fmla="*/ 4296386 h 5278114"/>
              <a:gd name="connsiteX8088" fmla="*/ 2244843 w 5610835"/>
              <a:gd name="connsiteY8088" fmla="*/ 4247073 h 5278114"/>
              <a:gd name="connsiteX8089" fmla="*/ 2252798 w 5610835"/>
              <a:gd name="connsiteY8089" fmla="*/ 3715767 h 5278114"/>
              <a:gd name="connsiteX8090" fmla="*/ 2332333 w 5610835"/>
              <a:gd name="connsiteY8090" fmla="*/ 3356262 h 5278114"/>
              <a:gd name="connsiteX8091" fmla="*/ 2472318 w 5610835"/>
              <a:gd name="connsiteY8091" fmla="*/ 3621915 h 5278114"/>
              <a:gd name="connsiteX8092" fmla="*/ 2539129 w 5610835"/>
              <a:gd name="connsiteY8092" fmla="*/ 3831891 h 5278114"/>
              <a:gd name="connsiteX8093" fmla="*/ 2906588 w 5610835"/>
              <a:gd name="connsiteY8093" fmla="*/ 4223211 h 5278114"/>
              <a:gd name="connsiteX8094" fmla="*/ 2518449 w 5610835"/>
              <a:gd name="connsiteY8094" fmla="*/ 3683953 h 5278114"/>
              <a:gd name="connsiteX8095" fmla="*/ 2480272 w 5610835"/>
              <a:gd name="connsiteY8095" fmla="*/ 3615551 h 5278114"/>
              <a:gd name="connsiteX8096" fmla="*/ 2465955 w 5610835"/>
              <a:gd name="connsiteY8096" fmla="*/ 3612370 h 5278114"/>
              <a:gd name="connsiteX8097" fmla="*/ 2402326 w 5610835"/>
              <a:gd name="connsiteY8097" fmla="*/ 3338763 h 5278114"/>
              <a:gd name="connsiteX8098" fmla="*/ 2572534 w 5610835"/>
              <a:gd name="connsiteY8098" fmla="*/ 3629868 h 5278114"/>
              <a:gd name="connsiteX8099" fmla="*/ 2464365 w 5610835"/>
              <a:gd name="connsiteY8099" fmla="*/ 3427844 h 5278114"/>
              <a:gd name="connsiteX8100" fmla="*/ 2650480 w 5610835"/>
              <a:gd name="connsiteY8100" fmla="*/ 3644185 h 5278114"/>
              <a:gd name="connsiteX8101" fmla="*/ 2644118 w 5610835"/>
              <a:gd name="connsiteY8101" fmla="*/ 3547150 h 5278114"/>
              <a:gd name="connsiteX8102" fmla="*/ 2725245 w 5610835"/>
              <a:gd name="connsiteY8102" fmla="*/ 3569420 h 5278114"/>
              <a:gd name="connsiteX8103" fmla="*/ 2839777 w 5610835"/>
              <a:gd name="connsiteY8103" fmla="*/ 3516926 h 5278114"/>
              <a:gd name="connsiteX8104" fmla="*/ 2637755 w 5610835"/>
              <a:gd name="connsiteY8104" fmla="*/ 3386486 h 5278114"/>
              <a:gd name="connsiteX8105" fmla="*/ 2615485 w 5610835"/>
              <a:gd name="connsiteY8105" fmla="*/ 3407165 h 5278114"/>
              <a:gd name="connsiteX8106" fmla="*/ 2632982 w 5610835"/>
              <a:gd name="connsiteY8106" fmla="*/ 3375350 h 5278114"/>
              <a:gd name="connsiteX8107" fmla="*/ 2831824 w 5610835"/>
              <a:gd name="connsiteY8107" fmla="*/ 3440571 h 5278114"/>
              <a:gd name="connsiteX8108" fmla="*/ 2830233 w 5610835"/>
              <a:gd name="connsiteY8108" fmla="*/ 3418301 h 5278114"/>
              <a:gd name="connsiteX8109" fmla="*/ 2704566 w 5610835"/>
              <a:gd name="connsiteY8109" fmla="*/ 3372169 h 5278114"/>
              <a:gd name="connsiteX8110" fmla="*/ 2640936 w 5610835"/>
              <a:gd name="connsiteY8110" fmla="*/ 3319675 h 5278114"/>
              <a:gd name="connsiteX8111" fmla="*/ 2543901 w 5610835"/>
              <a:gd name="connsiteY8111" fmla="*/ 3262408 h 5278114"/>
              <a:gd name="connsiteX8112" fmla="*/ 2728426 w 5610835"/>
              <a:gd name="connsiteY8112" fmla="*/ 3310130 h 5278114"/>
              <a:gd name="connsiteX8113" fmla="*/ 2699793 w 5610835"/>
              <a:gd name="connsiteY8113" fmla="*/ 3329219 h 5278114"/>
              <a:gd name="connsiteX8114" fmla="*/ 2879546 w 5610835"/>
              <a:gd name="connsiteY8114" fmla="*/ 3340354 h 5278114"/>
              <a:gd name="connsiteX8115" fmla="*/ 2787283 w 5610835"/>
              <a:gd name="connsiteY8115" fmla="*/ 3322856 h 5278114"/>
              <a:gd name="connsiteX8116" fmla="*/ 2827052 w 5610835"/>
              <a:gd name="connsiteY8116" fmla="*/ 3286269 h 5278114"/>
              <a:gd name="connsiteX8117" fmla="*/ 2769785 w 5610835"/>
              <a:gd name="connsiteY8117" fmla="*/ 3287860 h 5278114"/>
              <a:gd name="connsiteX8118" fmla="*/ 2811144 w 5610835"/>
              <a:gd name="connsiteY8118" fmla="*/ 3243320 h 5278114"/>
              <a:gd name="connsiteX8119" fmla="*/ 2691839 w 5610835"/>
              <a:gd name="connsiteY8119" fmla="*/ 3238548 h 5278114"/>
              <a:gd name="connsiteX8120" fmla="*/ 2604349 w 5610835"/>
              <a:gd name="connsiteY8120" fmla="*/ 3104925 h 5278114"/>
              <a:gd name="connsiteX8121" fmla="*/ 2682295 w 5610835"/>
              <a:gd name="connsiteY8121" fmla="*/ 3182872 h 5278114"/>
              <a:gd name="connsiteX8122" fmla="*/ 2513677 w 5610835"/>
              <a:gd name="connsiteY8122" fmla="*/ 2963350 h 5278114"/>
              <a:gd name="connsiteX8123" fmla="*/ 2672751 w 5610835"/>
              <a:gd name="connsiteY8123" fmla="*/ 2920400 h 5278114"/>
              <a:gd name="connsiteX8124" fmla="*/ 2691839 w 5610835"/>
              <a:gd name="connsiteY8124" fmla="*/ 2896539 h 5278114"/>
              <a:gd name="connsiteX8125" fmla="*/ 2798418 w 5610835"/>
              <a:gd name="connsiteY8125" fmla="*/ 3058794 h 5278114"/>
              <a:gd name="connsiteX8126" fmla="*/ 2860457 w 5610835"/>
              <a:gd name="connsiteY8126" fmla="*/ 2937899 h 5278114"/>
              <a:gd name="connsiteX8127" fmla="*/ 2984534 w 5610835"/>
              <a:gd name="connsiteY8127" fmla="*/ 2990393 h 5278114"/>
              <a:gd name="connsiteX8128" fmla="*/ 3044982 w 5610835"/>
              <a:gd name="connsiteY8128" fmla="*/ 3054022 h 5278114"/>
              <a:gd name="connsiteX8129" fmla="*/ 3044982 w 5610835"/>
              <a:gd name="connsiteY8129" fmla="*/ 3197188 h 5278114"/>
              <a:gd name="connsiteX8130" fmla="*/ 3119747 w 5610835"/>
              <a:gd name="connsiteY8130" fmla="*/ 3085837 h 5278114"/>
              <a:gd name="connsiteX8131" fmla="*/ 3231098 w 5610835"/>
              <a:gd name="connsiteY8131" fmla="*/ 3238548 h 5278114"/>
              <a:gd name="connsiteX8132" fmla="*/ 3250187 w 5610835"/>
              <a:gd name="connsiteY8132" fmla="*/ 3287860 h 5278114"/>
              <a:gd name="connsiteX8133" fmla="*/ 3258141 w 5610835"/>
              <a:gd name="connsiteY8133" fmla="*/ 3252864 h 5278114"/>
              <a:gd name="connsiteX8134" fmla="*/ 3259732 w 5610835"/>
              <a:gd name="connsiteY8134" fmla="*/ 3230594 h 5278114"/>
              <a:gd name="connsiteX8135" fmla="*/ 3243824 w 5610835"/>
              <a:gd name="connsiteY8135" fmla="*/ 3236957 h 5278114"/>
              <a:gd name="connsiteX8136" fmla="*/ 3208828 w 5610835"/>
              <a:gd name="connsiteY8136" fmla="*/ 3200370 h 5278114"/>
              <a:gd name="connsiteX8137" fmla="*/ 3124519 w 5610835"/>
              <a:gd name="connsiteY8137" fmla="*/ 3068338 h 5278114"/>
              <a:gd name="connsiteX8138" fmla="*/ 3046573 w 5610835"/>
              <a:gd name="connsiteY8138" fmla="*/ 3179690 h 5278114"/>
              <a:gd name="connsiteX8139" fmla="*/ 3062480 w 5610835"/>
              <a:gd name="connsiteY8139" fmla="*/ 3058794 h 5278114"/>
              <a:gd name="connsiteX8140" fmla="*/ 3040210 w 5610835"/>
              <a:gd name="connsiteY8140" fmla="*/ 3028571 h 5278114"/>
              <a:gd name="connsiteX8141" fmla="*/ 3024303 w 5610835"/>
              <a:gd name="connsiteY8141" fmla="*/ 2691335 h 5278114"/>
              <a:gd name="connsiteX8142" fmla="*/ 3008395 w 5610835"/>
              <a:gd name="connsiteY8142" fmla="*/ 2669065 h 5278114"/>
              <a:gd name="connsiteX8143" fmla="*/ 3002033 w 5610835"/>
              <a:gd name="connsiteY8143" fmla="*/ 2646795 h 5278114"/>
              <a:gd name="connsiteX8144" fmla="*/ 3019531 w 5610835"/>
              <a:gd name="connsiteY8144" fmla="*/ 2774053 h 5278114"/>
              <a:gd name="connsiteX8145" fmla="*/ 2978171 w 5610835"/>
              <a:gd name="connsiteY8145" fmla="*/ 2753373 h 5278114"/>
              <a:gd name="connsiteX8146" fmla="*/ 2858866 w 5610835"/>
              <a:gd name="connsiteY8146" fmla="*/ 2455926 h 5278114"/>
              <a:gd name="connsiteX8147" fmla="*/ 2847731 w 5610835"/>
              <a:gd name="connsiteY8147" fmla="*/ 2467059 h 5278114"/>
              <a:gd name="connsiteX8148" fmla="*/ 2971809 w 5610835"/>
              <a:gd name="connsiteY8148" fmla="*/ 2748601 h 5278114"/>
              <a:gd name="connsiteX8149" fmla="*/ 2914542 w 5610835"/>
              <a:gd name="connsiteY8149" fmla="*/ 2735876 h 5278114"/>
              <a:gd name="connsiteX8150" fmla="*/ 2831824 w 5610835"/>
              <a:gd name="connsiteY8150" fmla="*/ 2505232 h 5278114"/>
              <a:gd name="connsiteX8151" fmla="*/ 2824865 w 5610835"/>
              <a:gd name="connsiteY8151" fmla="*/ 2513581 h 5278114"/>
              <a:gd name="connsiteX8152" fmla="*/ 2818294 w 5610835"/>
              <a:gd name="connsiteY8152" fmla="*/ 2514325 h 5278114"/>
              <a:gd name="connsiteX8153" fmla="*/ 2845346 w 5610835"/>
              <a:gd name="connsiteY8153" fmla="*/ 2560502 h 5278114"/>
              <a:gd name="connsiteX8154" fmla="*/ 2908180 w 5610835"/>
              <a:gd name="connsiteY8154" fmla="*/ 2731103 h 5278114"/>
              <a:gd name="connsiteX8155" fmla="*/ 2863639 w 5610835"/>
              <a:gd name="connsiteY8155" fmla="*/ 2724740 h 5278114"/>
              <a:gd name="connsiteX8156" fmla="*/ 2800009 w 5610835"/>
              <a:gd name="connsiteY8156" fmla="*/ 2575214 h 5278114"/>
              <a:gd name="connsiteX8157" fmla="*/ 2796828 w 5610835"/>
              <a:gd name="connsiteY8157" fmla="*/ 2591120 h 5278114"/>
              <a:gd name="connsiteX8158" fmla="*/ 2846141 w 5610835"/>
              <a:gd name="connsiteY8158" fmla="*/ 2719968 h 5278114"/>
              <a:gd name="connsiteX8159" fmla="*/ 2787283 w 5610835"/>
              <a:gd name="connsiteY8159" fmla="*/ 2621348 h 5278114"/>
              <a:gd name="connsiteX8160" fmla="*/ 2784103 w 5610835"/>
              <a:gd name="connsiteY8160" fmla="*/ 2632484 h 5278114"/>
              <a:gd name="connsiteX8161" fmla="*/ 2812735 w 5610835"/>
              <a:gd name="connsiteY8161" fmla="*/ 2708833 h 5278114"/>
              <a:gd name="connsiteX8162" fmla="*/ 2744333 w 5610835"/>
              <a:gd name="connsiteY8162" fmla="*/ 2554537 h 5278114"/>
              <a:gd name="connsiteX8163" fmla="*/ 2769785 w 5610835"/>
              <a:gd name="connsiteY8163" fmla="*/ 2602257 h 5278114"/>
              <a:gd name="connsiteX8164" fmla="*/ 2774557 w 5610835"/>
              <a:gd name="connsiteY8164" fmla="*/ 2589530 h 5278114"/>
              <a:gd name="connsiteX8165" fmla="*/ 2744333 w 5610835"/>
              <a:gd name="connsiteY8165" fmla="*/ 2543402 h 5278114"/>
              <a:gd name="connsiteX8166" fmla="*/ 2747516 w 5610835"/>
              <a:gd name="connsiteY8166" fmla="*/ 2497278 h 5278114"/>
              <a:gd name="connsiteX8167" fmla="*/ 2785693 w 5610835"/>
              <a:gd name="connsiteY8167" fmla="*/ 2570443 h 5278114"/>
              <a:gd name="connsiteX8168" fmla="*/ 2792056 w 5610835"/>
              <a:gd name="connsiteY8168" fmla="*/ 2559310 h 5278114"/>
              <a:gd name="connsiteX8169" fmla="*/ 2745924 w 5610835"/>
              <a:gd name="connsiteY8169" fmla="*/ 2475011 h 5278114"/>
              <a:gd name="connsiteX8170" fmla="*/ 2800009 w 5610835"/>
              <a:gd name="connsiteY8170" fmla="*/ 2548176 h 5278114"/>
              <a:gd name="connsiteX8171" fmla="*/ 2805593 w 5610835"/>
              <a:gd name="connsiteY8171" fmla="*/ 2542590 h 5278114"/>
              <a:gd name="connsiteX8172" fmla="*/ 2805961 w 5610835"/>
              <a:gd name="connsiteY8172" fmla="*/ 2545925 h 5278114"/>
              <a:gd name="connsiteX8173" fmla="*/ 2804781 w 5610835"/>
              <a:gd name="connsiteY8173" fmla="*/ 2557719 h 5278114"/>
              <a:gd name="connsiteX8174" fmla="*/ 2807963 w 5610835"/>
              <a:gd name="connsiteY8174" fmla="*/ 2564080 h 5278114"/>
              <a:gd name="connsiteX8175" fmla="*/ 2805961 w 5610835"/>
              <a:gd name="connsiteY8175" fmla="*/ 2545925 h 5278114"/>
              <a:gd name="connsiteX8176" fmla="*/ 2806372 w 5610835"/>
              <a:gd name="connsiteY8176" fmla="*/ 2541812 h 5278114"/>
              <a:gd name="connsiteX8177" fmla="*/ 2805593 w 5610835"/>
              <a:gd name="connsiteY8177" fmla="*/ 2542590 h 5278114"/>
              <a:gd name="connsiteX8178" fmla="*/ 2805369 w 5610835"/>
              <a:gd name="connsiteY8178" fmla="*/ 2540557 h 5278114"/>
              <a:gd name="connsiteX8179" fmla="*/ 2749106 w 5610835"/>
              <a:gd name="connsiteY8179" fmla="*/ 2411392 h 5278114"/>
              <a:gd name="connsiteX8180" fmla="*/ 2800357 w 5610835"/>
              <a:gd name="connsiteY8180" fmla="*/ 2483709 h 5278114"/>
              <a:gd name="connsiteX8181" fmla="*/ 2815394 w 5610835"/>
              <a:gd name="connsiteY8181" fmla="*/ 2509375 h 5278114"/>
              <a:gd name="connsiteX8182" fmla="*/ 2817905 w 5610835"/>
              <a:gd name="connsiteY8182" fmla="*/ 2496682 h 5278114"/>
              <a:gd name="connsiteX8183" fmla="*/ 2819098 w 5610835"/>
              <a:gd name="connsiteY8183" fmla="*/ 2484554 h 5278114"/>
              <a:gd name="connsiteX8184" fmla="*/ 2820689 w 5610835"/>
              <a:gd name="connsiteY8184" fmla="*/ 2482962 h 5278114"/>
              <a:gd name="connsiteX8185" fmla="*/ 2803190 w 5610835"/>
              <a:gd name="connsiteY8185" fmla="*/ 2454334 h 5278114"/>
              <a:gd name="connsiteX8186" fmla="*/ 2803190 w 5610835"/>
              <a:gd name="connsiteY8186" fmla="*/ 2459108 h 5278114"/>
              <a:gd name="connsiteX8187" fmla="*/ 2777740 w 5610835"/>
              <a:gd name="connsiteY8187" fmla="*/ 2449563 h 5278114"/>
              <a:gd name="connsiteX8188" fmla="*/ 2779329 w 5610835"/>
              <a:gd name="connsiteY8188" fmla="*/ 2422525 h 5278114"/>
              <a:gd name="connsiteX8189" fmla="*/ 2723654 w 5610835"/>
              <a:gd name="connsiteY8189" fmla="*/ 2317554 h 5278114"/>
              <a:gd name="connsiteX8190" fmla="*/ 2795237 w 5610835"/>
              <a:gd name="connsiteY8190" fmla="*/ 2389125 h 5278114"/>
              <a:gd name="connsiteX8191" fmla="*/ 2796828 w 5610835"/>
              <a:gd name="connsiteY8191" fmla="*/ 2382764 h 5278114"/>
              <a:gd name="connsiteX8192" fmla="*/ 2768194 w 5610835"/>
              <a:gd name="connsiteY8192" fmla="*/ 2346183 h 5278114"/>
              <a:gd name="connsiteX8193" fmla="*/ 2768194 w 5610835"/>
              <a:gd name="connsiteY8193" fmla="*/ 2339821 h 5278114"/>
              <a:gd name="connsiteX8194" fmla="*/ 2691839 w 5610835"/>
              <a:gd name="connsiteY8194" fmla="*/ 2274611 h 5278114"/>
              <a:gd name="connsiteX8195" fmla="*/ 2677523 w 5610835"/>
              <a:gd name="connsiteY8195" fmla="*/ 2282564 h 5278114"/>
              <a:gd name="connsiteX8196" fmla="*/ 2674342 w 5610835"/>
              <a:gd name="connsiteY8196" fmla="*/ 2261887 h 5278114"/>
              <a:gd name="connsiteX8197" fmla="*/ 2661615 w 5610835"/>
              <a:gd name="connsiteY8197" fmla="*/ 2253936 h 5278114"/>
              <a:gd name="connsiteX8198" fmla="*/ 2683885 w 5610835"/>
              <a:gd name="connsiteY8198" fmla="*/ 2249164 h 5278114"/>
              <a:gd name="connsiteX8199" fmla="*/ 2707747 w 5610835"/>
              <a:gd name="connsiteY8199" fmla="*/ 2225306 h 5278114"/>
              <a:gd name="connsiteX8200" fmla="*/ 2699793 w 5610835"/>
              <a:gd name="connsiteY8200" fmla="*/ 2223716 h 5278114"/>
              <a:gd name="connsiteX8201" fmla="*/ 2717291 w 5610835"/>
              <a:gd name="connsiteY8201" fmla="*/ 2210992 h 5278114"/>
              <a:gd name="connsiteX8202" fmla="*/ 2707747 w 5610835"/>
              <a:gd name="connsiteY8202" fmla="*/ 2215763 h 5278114"/>
              <a:gd name="connsiteX8203" fmla="*/ 2677523 w 5610835"/>
              <a:gd name="connsiteY8203" fmla="*/ 2199855 h 5278114"/>
              <a:gd name="connsiteX8204" fmla="*/ 2663206 w 5610835"/>
              <a:gd name="connsiteY8204" fmla="*/ 2207809 h 5278114"/>
              <a:gd name="connsiteX8205" fmla="*/ 2661615 w 5610835"/>
              <a:gd name="connsiteY8205" fmla="*/ 2209402 h 5278114"/>
              <a:gd name="connsiteX8206" fmla="*/ 2588442 w 5610835"/>
              <a:gd name="connsiteY8206" fmla="*/ 2234850 h 5278114"/>
              <a:gd name="connsiteX8207" fmla="*/ 2636164 w 5610835"/>
              <a:gd name="connsiteY8207" fmla="*/ 2195085 h 5278114"/>
              <a:gd name="connsiteX8208" fmla="*/ 2613894 w 5610835"/>
              <a:gd name="connsiteY8208" fmla="*/ 2179175 h 5278114"/>
              <a:gd name="connsiteX8209" fmla="*/ 2523222 w 5610835"/>
              <a:gd name="connsiteY8209" fmla="*/ 2242803 h 5278114"/>
              <a:gd name="connsiteX8210" fmla="*/ 2609121 w 5610835"/>
              <a:gd name="connsiteY8210" fmla="*/ 2175998 h 5278114"/>
              <a:gd name="connsiteX8211" fmla="*/ 2583670 w 5610835"/>
              <a:gd name="connsiteY8211" fmla="*/ 2152135 h 5278114"/>
              <a:gd name="connsiteX8212" fmla="*/ 2578897 w 5610835"/>
              <a:gd name="connsiteY8212" fmla="*/ 2155320 h 5278114"/>
              <a:gd name="connsiteX8213" fmla="*/ 2583670 w 5610835"/>
              <a:gd name="connsiteY8213" fmla="*/ 2150547 h 5278114"/>
              <a:gd name="connsiteX8214" fmla="*/ 2566171 w 5610835"/>
              <a:gd name="connsiteY8214" fmla="*/ 2131465 h 5278114"/>
              <a:gd name="connsiteX8215" fmla="*/ 2558218 w 5610835"/>
              <a:gd name="connsiteY8215" fmla="*/ 2139417 h 5278114"/>
              <a:gd name="connsiteX8216" fmla="*/ 2564580 w 5610835"/>
              <a:gd name="connsiteY8216" fmla="*/ 2129870 h 5278114"/>
              <a:gd name="connsiteX8217" fmla="*/ 2553446 w 5610835"/>
              <a:gd name="connsiteY8217" fmla="*/ 2115553 h 5278114"/>
              <a:gd name="connsiteX8218" fmla="*/ 2521631 w 5610835"/>
              <a:gd name="connsiteY8218" fmla="*/ 2144185 h 5278114"/>
              <a:gd name="connsiteX8219" fmla="*/ 2539129 w 5610835"/>
              <a:gd name="connsiteY8219" fmla="*/ 2094882 h 5278114"/>
              <a:gd name="connsiteX8220" fmla="*/ 2532766 w 5610835"/>
              <a:gd name="connsiteY8220" fmla="*/ 2086927 h 5278114"/>
              <a:gd name="connsiteX8221" fmla="*/ 2524812 w 5610835"/>
              <a:gd name="connsiteY8221" fmla="*/ 2098062 h 5278114"/>
              <a:gd name="connsiteX8222" fmla="*/ 2510495 w 5610835"/>
              <a:gd name="connsiteY8222" fmla="*/ 2053513 h 5278114"/>
              <a:gd name="connsiteX8223" fmla="*/ 2502542 w 5610835"/>
              <a:gd name="connsiteY8223" fmla="*/ 2061478 h 5278114"/>
              <a:gd name="connsiteX8224" fmla="*/ 2492998 w 5610835"/>
              <a:gd name="connsiteY8224" fmla="*/ 2125097 h 5278114"/>
              <a:gd name="connsiteX8225" fmla="*/ 2402326 w 5610835"/>
              <a:gd name="connsiteY8225" fmla="*/ 2023292 h 5278114"/>
              <a:gd name="connsiteX8226" fmla="*/ 2365739 w 5610835"/>
              <a:gd name="connsiteY8226" fmla="*/ 1918323 h 5278114"/>
              <a:gd name="connsiteX8227" fmla="*/ 2407098 w 5610835"/>
              <a:gd name="connsiteY8227" fmla="*/ 1864238 h 5278114"/>
              <a:gd name="connsiteX8228" fmla="*/ 2403917 w 5610835"/>
              <a:gd name="connsiteY8228" fmla="*/ 1814910 h 5278114"/>
              <a:gd name="connsiteX8229" fmla="*/ 2389600 w 5610835"/>
              <a:gd name="connsiteY8229" fmla="*/ 1811727 h 5278114"/>
              <a:gd name="connsiteX8230" fmla="*/ 2394372 w 5610835"/>
              <a:gd name="connsiteY8230" fmla="*/ 1826048 h 5278114"/>
              <a:gd name="connsiteX8231" fmla="*/ 2305291 w 5610835"/>
              <a:gd name="connsiteY8231" fmla="*/ 1611273 h 5278114"/>
              <a:gd name="connsiteX8232" fmla="*/ 2289384 w 5610835"/>
              <a:gd name="connsiteY8232" fmla="*/ 1604911 h 5278114"/>
              <a:gd name="connsiteX8233" fmla="*/ 2276658 w 5610835"/>
              <a:gd name="connsiteY8233" fmla="*/ 1584233 h 5278114"/>
              <a:gd name="connsiteX8234" fmla="*/ 2367330 w 5610835"/>
              <a:gd name="connsiteY8234" fmla="*/ 1841961 h 5278114"/>
              <a:gd name="connsiteX8235" fmla="*/ 2248025 w 5610835"/>
              <a:gd name="connsiteY8235" fmla="*/ 1560374 h 5278114"/>
              <a:gd name="connsiteX8236" fmla="*/ 2238480 w 5610835"/>
              <a:gd name="connsiteY8236" fmla="*/ 1555601 h 5278114"/>
              <a:gd name="connsiteX8237" fmla="*/ 2222573 w 5610835"/>
              <a:gd name="connsiteY8237" fmla="*/ 1507881 h 5278114"/>
              <a:gd name="connsiteX8238" fmla="*/ 2360967 w 5610835"/>
              <a:gd name="connsiteY8238" fmla="*/ 1886515 h 5278114"/>
              <a:gd name="connsiteX8239" fmla="*/ 2197121 w 5610835"/>
              <a:gd name="connsiteY8239" fmla="*/ 1406074 h 5278114"/>
              <a:gd name="connsiteX8240" fmla="*/ 2203484 w 5610835"/>
              <a:gd name="connsiteY8240" fmla="*/ 1342442 h 5278114"/>
              <a:gd name="connsiteX8241" fmla="*/ 2185986 w 5610835"/>
              <a:gd name="connsiteY8241" fmla="*/ 1332898 h 5278114"/>
              <a:gd name="connsiteX8242" fmla="*/ 2338696 w 5610835"/>
              <a:gd name="connsiteY8242" fmla="*/ 1915141 h 5278114"/>
              <a:gd name="connsiteX8243" fmla="*/ 2168488 w 5610835"/>
              <a:gd name="connsiteY8243" fmla="*/ 1293129 h 5278114"/>
              <a:gd name="connsiteX8244" fmla="*/ 2144627 w 5610835"/>
              <a:gd name="connsiteY8244" fmla="*/ 1297902 h 5278114"/>
              <a:gd name="connsiteX8245" fmla="*/ 2139855 w 5610835"/>
              <a:gd name="connsiteY8245" fmla="*/ 1289948 h 5278114"/>
              <a:gd name="connsiteX8246" fmla="*/ 2130310 w 5610835"/>
              <a:gd name="connsiteY8246" fmla="*/ 1458564 h 5278114"/>
              <a:gd name="connsiteX8247" fmla="*/ 2152580 w 5610835"/>
              <a:gd name="connsiteY8247" fmla="*/ 1218366 h 5278114"/>
              <a:gd name="connsiteX8248" fmla="*/ 2143036 w 5610835"/>
              <a:gd name="connsiteY8248" fmla="*/ 1269268 h 5278114"/>
              <a:gd name="connsiteX8249" fmla="*/ 2149400 w 5610835"/>
              <a:gd name="connsiteY8249" fmla="*/ 1264497 h 5278114"/>
              <a:gd name="connsiteX8250" fmla="*/ 2166897 w 5610835"/>
              <a:gd name="connsiteY8250" fmla="*/ 1258134 h 5278114"/>
              <a:gd name="connsiteX8251" fmla="*/ 2176442 w 5610835"/>
              <a:gd name="connsiteY8251" fmla="*/ 1264497 h 5278114"/>
              <a:gd name="connsiteX8252" fmla="*/ 2181214 w 5610835"/>
              <a:gd name="connsiteY8252" fmla="*/ 1246998 h 5278114"/>
              <a:gd name="connsiteX8253" fmla="*/ 2201894 w 5610835"/>
              <a:gd name="connsiteY8253" fmla="*/ 1264497 h 5278114"/>
              <a:gd name="connsiteX8254" fmla="*/ 2228936 w 5610835"/>
              <a:gd name="connsiteY8254" fmla="*/ 1251770 h 5278114"/>
              <a:gd name="connsiteX8255" fmla="*/ 2233709 w 5610835"/>
              <a:gd name="connsiteY8255" fmla="*/ 1248589 h 5278114"/>
              <a:gd name="connsiteX8256" fmla="*/ 2220983 w 5610835"/>
              <a:gd name="connsiteY8256" fmla="*/ 1234273 h 5278114"/>
              <a:gd name="connsiteX8257" fmla="*/ 2246434 w 5610835"/>
              <a:gd name="connsiteY8257" fmla="*/ 1221548 h 5278114"/>
              <a:gd name="connsiteX8258" fmla="*/ 2243252 w 5610835"/>
              <a:gd name="connsiteY8258" fmla="*/ 1213595 h 5278114"/>
              <a:gd name="connsiteX8259" fmla="*/ 2220983 w 5610835"/>
              <a:gd name="connsiteY8259" fmla="*/ 1207232 h 5278114"/>
              <a:gd name="connsiteX8260" fmla="*/ 2198712 w 5610835"/>
              <a:gd name="connsiteY8260" fmla="*/ 1221548 h 5278114"/>
              <a:gd name="connsiteX8261" fmla="*/ 2214619 w 5610835"/>
              <a:gd name="connsiteY8261" fmla="*/ 1204050 h 5278114"/>
              <a:gd name="connsiteX8262" fmla="*/ 2209847 w 5610835"/>
              <a:gd name="connsiteY8262" fmla="*/ 1199279 h 5278114"/>
              <a:gd name="connsiteX8263" fmla="*/ 2219391 w 5610835"/>
              <a:gd name="connsiteY8263" fmla="*/ 1183371 h 5278114"/>
              <a:gd name="connsiteX8264" fmla="*/ 2228936 w 5610835"/>
              <a:gd name="connsiteY8264" fmla="*/ 1183371 h 5278114"/>
              <a:gd name="connsiteX8265" fmla="*/ 2310063 w 5610835"/>
              <a:gd name="connsiteY8265" fmla="*/ 1044982 h 5278114"/>
              <a:gd name="connsiteX8266" fmla="*/ 2310063 w 5610835"/>
              <a:gd name="connsiteY8266" fmla="*/ 1029075 h 5278114"/>
              <a:gd name="connsiteX8267" fmla="*/ 2321199 w 5610835"/>
              <a:gd name="connsiteY8267" fmla="*/ 1014759 h 5278114"/>
              <a:gd name="connsiteX8268" fmla="*/ 2330742 w 5610835"/>
              <a:gd name="connsiteY8268" fmla="*/ 1019532 h 5278114"/>
              <a:gd name="connsiteX8269" fmla="*/ 2354604 w 5610835"/>
              <a:gd name="connsiteY8269" fmla="*/ 1000443 h 5278114"/>
              <a:gd name="connsiteX8270" fmla="*/ 2333924 w 5610835"/>
              <a:gd name="connsiteY8270" fmla="*/ 1030666 h 5278114"/>
              <a:gd name="connsiteX8271" fmla="*/ 2333924 w 5610835"/>
              <a:gd name="connsiteY8271" fmla="*/ 1035438 h 5278114"/>
              <a:gd name="connsiteX8272" fmla="*/ 2333924 w 5610835"/>
              <a:gd name="connsiteY8272" fmla="*/ 1086340 h 5278114"/>
              <a:gd name="connsiteX8273" fmla="*/ 2335515 w 5610835"/>
              <a:gd name="connsiteY8273" fmla="*/ 1087931 h 5278114"/>
              <a:gd name="connsiteX8274" fmla="*/ 2353013 w 5610835"/>
              <a:gd name="connsiteY8274" fmla="*/ 1052935 h 5278114"/>
              <a:gd name="connsiteX8275" fmla="*/ 2340287 w 5610835"/>
              <a:gd name="connsiteY8275" fmla="*/ 1060889 h 5278114"/>
              <a:gd name="connsiteX8276" fmla="*/ 2408689 w 5610835"/>
              <a:gd name="connsiteY8276" fmla="*/ 924090 h 5278114"/>
              <a:gd name="connsiteX8277" fmla="*/ 2430959 w 5610835"/>
              <a:gd name="connsiteY8277" fmla="*/ 865233 h 5278114"/>
              <a:gd name="connsiteX8278" fmla="*/ 2438913 w 5610835"/>
              <a:gd name="connsiteY8278" fmla="*/ 823874 h 5278114"/>
              <a:gd name="connsiteX8279" fmla="*/ 2360967 w 5610835"/>
              <a:gd name="connsiteY8279" fmla="*/ 979765 h 5278114"/>
              <a:gd name="connsiteX8280" fmla="*/ 2345061 w 5610835"/>
              <a:gd name="connsiteY8280" fmla="*/ 908184 h 5278114"/>
              <a:gd name="connsiteX8281" fmla="*/ 2543901 w 5610835"/>
              <a:gd name="connsiteY8281" fmla="*/ 429356 h 5278114"/>
              <a:gd name="connsiteX8282" fmla="*/ 2545492 w 5610835"/>
              <a:gd name="connsiteY8282" fmla="*/ 451626 h 5278114"/>
              <a:gd name="connsiteX8283" fmla="*/ 2655252 w 5610835"/>
              <a:gd name="connsiteY8283" fmla="*/ 230515 h 5278114"/>
              <a:gd name="connsiteX8284" fmla="*/ 2588442 w 5610835"/>
              <a:gd name="connsiteY8284" fmla="*/ 450035 h 5278114"/>
              <a:gd name="connsiteX8285" fmla="*/ 2730017 w 5610835"/>
              <a:gd name="connsiteY8285" fmla="*/ 150979 h 5278114"/>
              <a:gd name="connsiteX8286" fmla="*/ 2667978 w 5610835"/>
              <a:gd name="connsiteY8286" fmla="*/ 415038 h 5278114"/>
              <a:gd name="connsiteX8287" fmla="*/ 2811144 w 5610835"/>
              <a:gd name="connsiteY8287" fmla="*/ 90532 h 5278114"/>
              <a:gd name="connsiteX8288" fmla="*/ 2737971 w 5610835"/>
              <a:gd name="connsiteY8288" fmla="*/ 368908 h 5278114"/>
              <a:gd name="connsiteX8289" fmla="*/ 2819098 w 5610835"/>
              <a:gd name="connsiteY8289" fmla="*/ 84170 h 5278114"/>
              <a:gd name="connsiteX8290" fmla="*/ 3034342 w 5610835"/>
              <a:gd name="connsiteY8290" fmla="*/ 155 h 5278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  <a:cxn ang="0">
                <a:pos x="connsiteX4801" y="connsiteY4801"/>
              </a:cxn>
              <a:cxn ang="0">
                <a:pos x="connsiteX4802" y="connsiteY4802"/>
              </a:cxn>
              <a:cxn ang="0">
                <a:pos x="connsiteX4803" y="connsiteY4803"/>
              </a:cxn>
              <a:cxn ang="0">
                <a:pos x="connsiteX4804" y="connsiteY4804"/>
              </a:cxn>
              <a:cxn ang="0">
                <a:pos x="connsiteX4805" y="connsiteY4805"/>
              </a:cxn>
              <a:cxn ang="0">
                <a:pos x="connsiteX4806" y="connsiteY4806"/>
              </a:cxn>
              <a:cxn ang="0">
                <a:pos x="connsiteX4807" y="connsiteY4807"/>
              </a:cxn>
              <a:cxn ang="0">
                <a:pos x="connsiteX4808" y="connsiteY4808"/>
              </a:cxn>
              <a:cxn ang="0">
                <a:pos x="connsiteX4809" y="connsiteY4809"/>
              </a:cxn>
              <a:cxn ang="0">
                <a:pos x="connsiteX4810" y="connsiteY4810"/>
              </a:cxn>
              <a:cxn ang="0">
                <a:pos x="connsiteX4811" y="connsiteY4811"/>
              </a:cxn>
              <a:cxn ang="0">
                <a:pos x="connsiteX4812" y="connsiteY4812"/>
              </a:cxn>
              <a:cxn ang="0">
                <a:pos x="connsiteX4813" y="connsiteY4813"/>
              </a:cxn>
              <a:cxn ang="0">
                <a:pos x="connsiteX4814" y="connsiteY4814"/>
              </a:cxn>
              <a:cxn ang="0">
                <a:pos x="connsiteX4815" y="connsiteY4815"/>
              </a:cxn>
              <a:cxn ang="0">
                <a:pos x="connsiteX4816" y="connsiteY4816"/>
              </a:cxn>
              <a:cxn ang="0">
                <a:pos x="connsiteX4817" y="connsiteY4817"/>
              </a:cxn>
              <a:cxn ang="0">
                <a:pos x="connsiteX4818" y="connsiteY4818"/>
              </a:cxn>
              <a:cxn ang="0">
                <a:pos x="connsiteX4819" y="connsiteY4819"/>
              </a:cxn>
              <a:cxn ang="0">
                <a:pos x="connsiteX4820" y="connsiteY4820"/>
              </a:cxn>
              <a:cxn ang="0">
                <a:pos x="connsiteX4821" y="connsiteY4821"/>
              </a:cxn>
              <a:cxn ang="0">
                <a:pos x="connsiteX4822" y="connsiteY4822"/>
              </a:cxn>
              <a:cxn ang="0">
                <a:pos x="connsiteX4823" y="connsiteY4823"/>
              </a:cxn>
              <a:cxn ang="0">
                <a:pos x="connsiteX4824" y="connsiteY4824"/>
              </a:cxn>
              <a:cxn ang="0">
                <a:pos x="connsiteX4825" y="connsiteY4825"/>
              </a:cxn>
              <a:cxn ang="0">
                <a:pos x="connsiteX4826" y="connsiteY4826"/>
              </a:cxn>
              <a:cxn ang="0">
                <a:pos x="connsiteX4827" y="connsiteY4827"/>
              </a:cxn>
              <a:cxn ang="0">
                <a:pos x="connsiteX4828" y="connsiteY4828"/>
              </a:cxn>
              <a:cxn ang="0">
                <a:pos x="connsiteX4829" y="connsiteY4829"/>
              </a:cxn>
              <a:cxn ang="0">
                <a:pos x="connsiteX4830" y="connsiteY4830"/>
              </a:cxn>
              <a:cxn ang="0">
                <a:pos x="connsiteX4831" y="connsiteY4831"/>
              </a:cxn>
              <a:cxn ang="0">
                <a:pos x="connsiteX4832" y="connsiteY4832"/>
              </a:cxn>
              <a:cxn ang="0">
                <a:pos x="connsiteX4833" y="connsiteY4833"/>
              </a:cxn>
              <a:cxn ang="0">
                <a:pos x="connsiteX4834" y="connsiteY4834"/>
              </a:cxn>
              <a:cxn ang="0">
                <a:pos x="connsiteX4835" y="connsiteY4835"/>
              </a:cxn>
              <a:cxn ang="0">
                <a:pos x="connsiteX4836" y="connsiteY4836"/>
              </a:cxn>
              <a:cxn ang="0">
                <a:pos x="connsiteX4837" y="connsiteY4837"/>
              </a:cxn>
              <a:cxn ang="0">
                <a:pos x="connsiteX4838" y="connsiteY4838"/>
              </a:cxn>
              <a:cxn ang="0">
                <a:pos x="connsiteX4839" y="connsiteY4839"/>
              </a:cxn>
              <a:cxn ang="0">
                <a:pos x="connsiteX4840" y="connsiteY4840"/>
              </a:cxn>
              <a:cxn ang="0">
                <a:pos x="connsiteX4841" y="connsiteY4841"/>
              </a:cxn>
              <a:cxn ang="0">
                <a:pos x="connsiteX4842" y="connsiteY4842"/>
              </a:cxn>
              <a:cxn ang="0">
                <a:pos x="connsiteX4843" y="connsiteY4843"/>
              </a:cxn>
              <a:cxn ang="0">
                <a:pos x="connsiteX4844" y="connsiteY4844"/>
              </a:cxn>
              <a:cxn ang="0">
                <a:pos x="connsiteX4845" y="connsiteY4845"/>
              </a:cxn>
              <a:cxn ang="0">
                <a:pos x="connsiteX4846" y="connsiteY4846"/>
              </a:cxn>
              <a:cxn ang="0">
                <a:pos x="connsiteX4847" y="connsiteY4847"/>
              </a:cxn>
              <a:cxn ang="0">
                <a:pos x="connsiteX4848" y="connsiteY4848"/>
              </a:cxn>
              <a:cxn ang="0">
                <a:pos x="connsiteX4849" y="connsiteY4849"/>
              </a:cxn>
              <a:cxn ang="0">
                <a:pos x="connsiteX4850" y="connsiteY4850"/>
              </a:cxn>
              <a:cxn ang="0">
                <a:pos x="connsiteX4851" y="connsiteY4851"/>
              </a:cxn>
              <a:cxn ang="0">
                <a:pos x="connsiteX4852" y="connsiteY4852"/>
              </a:cxn>
              <a:cxn ang="0">
                <a:pos x="connsiteX4853" y="connsiteY4853"/>
              </a:cxn>
              <a:cxn ang="0">
                <a:pos x="connsiteX4854" y="connsiteY4854"/>
              </a:cxn>
              <a:cxn ang="0">
                <a:pos x="connsiteX4855" y="connsiteY4855"/>
              </a:cxn>
              <a:cxn ang="0">
                <a:pos x="connsiteX4856" y="connsiteY4856"/>
              </a:cxn>
              <a:cxn ang="0">
                <a:pos x="connsiteX4857" y="connsiteY4857"/>
              </a:cxn>
              <a:cxn ang="0">
                <a:pos x="connsiteX4858" y="connsiteY4858"/>
              </a:cxn>
              <a:cxn ang="0">
                <a:pos x="connsiteX4859" y="connsiteY4859"/>
              </a:cxn>
              <a:cxn ang="0">
                <a:pos x="connsiteX4860" y="connsiteY4860"/>
              </a:cxn>
              <a:cxn ang="0">
                <a:pos x="connsiteX4861" y="connsiteY4861"/>
              </a:cxn>
              <a:cxn ang="0">
                <a:pos x="connsiteX4862" y="connsiteY4862"/>
              </a:cxn>
              <a:cxn ang="0">
                <a:pos x="connsiteX4863" y="connsiteY4863"/>
              </a:cxn>
              <a:cxn ang="0">
                <a:pos x="connsiteX4864" y="connsiteY4864"/>
              </a:cxn>
              <a:cxn ang="0">
                <a:pos x="connsiteX4865" y="connsiteY4865"/>
              </a:cxn>
              <a:cxn ang="0">
                <a:pos x="connsiteX4866" y="connsiteY4866"/>
              </a:cxn>
              <a:cxn ang="0">
                <a:pos x="connsiteX4867" y="connsiteY4867"/>
              </a:cxn>
              <a:cxn ang="0">
                <a:pos x="connsiteX4868" y="connsiteY4868"/>
              </a:cxn>
              <a:cxn ang="0">
                <a:pos x="connsiteX4869" y="connsiteY4869"/>
              </a:cxn>
              <a:cxn ang="0">
                <a:pos x="connsiteX4870" y="connsiteY4870"/>
              </a:cxn>
              <a:cxn ang="0">
                <a:pos x="connsiteX4871" y="connsiteY4871"/>
              </a:cxn>
              <a:cxn ang="0">
                <a:pos x="connsiteX4872" y="connsiteY4872"/>
              </a:cxn>
              <a:cxn ang="0">
                <a:pos x="connsiteX4873" y="connsiteY4873"/>
              </a:cxn>
              <a:cxn ang="0">
                <a:pos x="connsiteX4874" y="connsiteY4874"/>
              </a:cxn>
              <a:cxn ang="0">
                <a:pos x="connsiteX4875" y="connsiteY4875"/>
              </a:cxn>
              <a:cxn ang="0">
                <a:pos x="connsiteX4876" y="connsiteY4876"/>
              </a:cxn>
              <a:cxn ang="0">
                <a:pos x="connsiteX4877" y="connsiteY4877"/>
              </a:cxn>
              <a:cxn ang="0">
                <a:pos x="connsiteX4878" y="connsiteY4878"/>
              </a:cxn>
              <a:cxn ang="0">
                <a:pos x="connsiteX4879" y="connsiteY4879"/>
              </a:cxn>
              <a:cxn ang="0">
                <a:pos x="connsiteX4880" y="connsiteY4880"/>
              </a:cxn>
              <a:cxn ang="0">
                <a:pos x="connsiteX4881" y="connsiteY4881"/>
              </a:cxn>
              <a:cxn ang="0">
                <a:pos x="connsiteX4882" y="connsiteY4882"/>
              </a:cxn>
              <a:cxn ang="0">
                <a:pos x="connsiteX4883" y="connsiteY4883"/>
              </a:cxn>
              <a:cxn ang="0">
                <a:pos x="connsiteX4884" y="connsiteY4884"/>
              </a:cxn>
              <a:cxn ang="0">
                <a:pos x="connsiteX4885" y="connsiteY4885"/>
              </a:cxn>
              <a:cxn ang="0">
                <a:pos x="connsiteX4886" y="connsiteY4886"/>
              </a:cxn>
              <a:cxn ang="0">
                <a:pos x="connsiteX4887" y="connsiteY4887"/>
              </a:cxn>
              <a:cxn ang="0">
                <a:pos x="connsiteX4888" y="connsiteY4888"/>
              </a:cxn>
              <a:cxn ang="0">
                <a:pos x="connsiteX4889" y="connsiteY4889"/>
              </a:cxn>
              <a:cxn ang="0">
                <a:pos x="connsiteX4890" y="connsiteY4890"/>
              </a:cxn>
              <a:cxn ang="0">
                <a:pos x="connsiteX4891" y="connsiteY4891"/>
              </a:cxn>
              <a:cxn ang="0">
                <a:pos x="connsiteX4892" y="connsiteY4892"/>
              </a:cxn>
              <a:cxn ang="0">
                <a:pos x="connsiteX4893" y="connsiteY4893"/>
              </a:cxn>
              <a:cxn ang="0">
                <a:pos x="connsiteX4894" y="connsiteY4894"/>
              </a:cxn>
              <a:cxn ang="0">
                <a:pos x="connsiteX4895" y="connsiteY4895"/>
              </a:cxn>
              <a:cxn ang="0">
                <a:pos x="connsiteX4896" y="connsiteY4896"/>
              </a:cxn>
              <a:cxn ang="0">
                <a:pos x="connsiteX4897" y="connsiteY4897"/>
              </a:cxn>
              <a:cxn ang="0">
                <a:pos x="connsiteX4898" y="connsiteY4898"/>
              </a:cxn>
              <a:cxn ang="0">
                <a:pos x="connsiteX4899" y="connsiteY4899"/>
              </a:cxn>
              <a:cxn ang="0">
                <a:pos x="connsiteX4900" y="connsiteY4900"/>
              </a:cxn>
              <a:cxn ang="0">
                <a:pos x="connsiteX4901" y="connsiteY4901"/>
              </a:cxn>
              <a:cxn ang="0">
                <a:pos x="connsiteX4902" y="connsiteY4902"/>
              </a:cxn>
              <a:cxn ang="0">
                <a:pos x="connsiteX4903" y="connsiteY4903"/>
              </a:cxn>
              <a:cxn ang="0">
                <a:pos x="connsiteX4904" y="connsiteY4904"/>
              </a:cxn>
              <a:cxn ang="0">
                <a:pos x="connsiteX4905" y="connsiteY4905"/>
              </a:cxn>
              <a:cxn ang="0">
                <a:pos x="connsiteX4906" y="connsiteY4906"/>
              </a:cxn>
              <a:cxn ang="0">
                <a:pos x="connsiteX4907" y="connsiteY4907"/>
              </a:cxn>
              <a:cxn ang="0">
                <a:pos x="connsiteX4908" y="connsiteY4908"/>
              </a:cxn>
              <a:cxn ang="0">
                <a:pos x="connsiteX4909" y="connsiteY4909"/>
              </a:cxn>
              <a:cxn ang="0">
                <a:pos x="connsiteX4910" y="connsiteY4910"/>
              </a:cxn>
              <a:cxn ang="0">
                <a:pos x="connsiteX4911" y="connsiteY4911"/>
              </a:cxn>
              <a:cxn ang="0">
                <a:pos x="connsiteX4912" y="connsiteY4912"/>
              </a:cxn>
              <a:cxn ang="0">
                <a:pos x="connsiteX4913" y="connsiteY4913"/>
              </a:cxn>
              <a:cxn ang="0">
                <a:pos x="connsiteX4914" y="connsiteY4914"/>
              </a:cxn>
              <a:cxn ang="0">
                <a:pos x="connsiteX4915" y="connsiteY4915"/>
              </a:cxn>
              <a:cxn ang="0">
                <a:pos x="connsiteX4916" y="connsiteY4916"/>
              </a:cxn>
              <a:cxn ang="0">
                <a:pos x="connsiteX4917" y="connsiteY4917"/>
              </a:cxn>
              <a:cxn ang="0">
                <a:pos x="connsiteX4918" y="connsiteY4918"/>
              </a:cxn>
              <a:cxn ang="0">
                <a:pos x="connsiteX4919" y="connsiteY4919"/>
              </a:cxn>
              <a:cxn ang="0">
                <a:pos x="connsiteX4920" y="connsiteY4920"/>
              </a:cxn>
              <a:cxn ang="0">
                <a:pos x="connsiteX4921" y="connsiteY4921"/>
              </a:cxn>
              <a:cxn ang="0">
                <a:pos x="connsiteX4922" y="connsiteY4922"/>
              </a:cxn>
              <a:cxn ang="0">
                <a:pos x="connsiteX4923" y="connsiteY4923"/>
              </a:cxn>
              <a:cxn ang="0">
                <a:pos x="connsiteX4924" y="connsiteY4924"/>
              </a:cxn>
              <a:cxn ang="0">
                <a:pos x="connsiteX4925" y="connsiteY4925"/>
              </a:cxn>
              <a:cxn ang="0">
                <a:pos x="connsiteX4926" y="connsiteY4926"/>
              </a:cxn>
              <a:cxn ang="0">
                <a:pos x="connsiteX4927" y="connsiteY4927"/>
              </a:cxn>
              <a:cxn ang="0">
                <a:pos x="connsiteX4928" y="connsiteY4928"/>
              </a:cxn>
              <a:cxn ang="0">
                <a:pos x="connsiteX4929" y="connsiteY4929"/>
              </a:cxn>
              <a:cxn ang="0">
                <a:pos x="connsiteX4930" y="connsiteY4930"/>
              </a:cxn>
              <a:cxn ang="0">
                <a:pos x="connsiteX4931" y="connsiteY4931"/>
              </a:cxn>
              <a:cxn ang="0">
                <a:pos x="connsiteX4932" y="connsiteY4932"/>
              </a:cxn>
              <a:cxn ang="0">
                <a:pos x="connsiteX4933" y="connsiteY4933"/>
              </a:cxn>
              <a:cxn ang="0">
                <a:pos x="connsiteX4934" y="connsiteY4934"/>
              </a:cxn>
              <a:cxn ang="0">
                <a:pos x="connsiteX4935" y="connsiteY4935"/>
              </a:cxn>
              <a:cxn ang="0">
                <a:pos x="connsiteX4936" y="connsiteY4936"/>
              </a:cxn>
              <a:cxn ang="0">
                <a:pos x="connsiteX4937" y="connsiteY4937"/>
              </a:cxn>
              <a:cxn ang="0">
                <a:pos x="connsiteX4938" y="connsiteY4938"/>
              </a:cxn>
              <a:cxn ang="0">
                <a:pos x="connsiteX4939" y="connsiteY4939"/>
              </a:cxn>
              <a:cxn ang="0">
                <a:pos x="connsiteX4940" y="connsiteY4940"/>
              </a:cxn>
              <a:cxn ang="0">
                <a:pos x="connsiteX4941" y="connsiteY4941"/>
              </a:cxn>
              <a:cxn ang="0">
                <a:pos x="connsiteX4942" y="connsiteY4942"/>
              </a:cxn>
              <a:cxn ang="0">
                <a:pos x="connsiteX4943" y="connsiteY4943"/>
              </a:cxn>
              <a:cxn ang="0">
                <a:pos x="connsiteX4944" y="connsiteY4944"/>
              </a:cxn>
              <a:cxn ang="0">
                <a:pos x="connsiteX4945" y="connsiteY4945"/>
              </a:cxn>
              <a:cxn ang="0">
                <a:pos x="connsiteX4946" y="connsiteY4946"/>
              </a:cxn>
              <a:cxn ang="0">
                <a:pos x="connsiteX4947" y="connsiteY4947"/>
              </a:cxn>
              <a:cxn ang="0">
                <a:pos x="connsiteX4948" y="connsiteY4948"/>
              </a:cxn>
              <a:cxn ang="0">
                <a:pos x="connsiteX4949" y="connsiteY4949"/>
              </a:cxn>
              <a:cxn ang="0">
                <a:pos x="connsiteX4950" y="connsiteY4950"/>
              </a:cxn>
              <a:cxn ang="0">
                <a:pos x="connsiteX4951" y="connsiteY4951"/>
              </a:cxn>
              <a:cxn ang="0">
                <a:pos x="connsiteX4952" y="connsiteY4952"/>
              </a:cxn>
              <a:cxn ang="0">
                <a:pos x="connsiteX4953" y="connsiteY4953"/>
              </a:cxn>
              <a:cxn ang="0">
                <a:pos x="connsiteX4954" y="connsiteY4954"/>
              </a:cxn>
              <a:cxn ang="0">
                <a:pos x="connsiteX4955" y="connsiteY4955"/>
              </a:cxn>
              <a:cxn ang="0">
                <a:pos x="connsiteX4956" y="connsiteY4956"/>
              </a:cxn>
              <a:cxn ang="0">
                <a:pos x="connsiteX4957" y="connsiteY4957"/>
              </a:cxn>
              <a:cxn ang="0">
                <a:pos x="connsiteX4958" y="connsiteY4958"/>
              </a:cxn>
              <a:cxn ang="0">
                <a:pos x="connsiteX4959" y="connsiteY4959"/>
              </a:cxn>
              <a:cxn ang="0">
                <a:pos x="connsiteX4960" y="connsiteY4960"/>
              </a:cxn>
              <a:cxn ang="0">
                <a:pos x="connsiteX4961" y="connsiteY4961"/>
              </a:cxn>
              <a:cxn ang="0">
                <a:pos x="connsiteX4962" y="connsiteY4962"/>
              </a:cxn>
              <a:cxn ang="0">
                <a:pos x="connsiteX4963" y="connsiteY4963"/>
              </a:cxn>
              <a:cxn ang="0">
                <a:pos x="connsiteX4964" y="connsiteY4964"/>
              </a:cxn>
              <a:cxn ang="0">
                <a:pos x="connsiteX4965" y="connsiteY4965"/>
              </a:cxn>
              <a:cxn ang="0">
                <a:pos x="connsiteX4966" y="connsiteY4966"/>
              </a:cxn>
              <a:cxn ang="0">
                <a:pos x="connsiteX4967" y="connsiteY4967"/>
              </a:cxn>
              <a:cxn ang="0">
                <a:pos x="connsiteX4968" y="connsiteY4968"/>
              </a:cxn>
              <a:cxn ang="0">
                <a:pos x="connsiteX4969" y="connsiteY4969"/>
              </a:cxn>
              <a:cxn ang="0">
                <a:pos x="connsiteX4970" y="connsiteY4970"/>
              </a:cxn>
              <a:cxn ang="0">
                <a:pos x="connsiteX4971" y="connsiteY4971"/>
              </a:cxn>
              <a:cxn ang="0">
                <a:pos x="connsiteX4972" y="connsiteY4972"/>
              </a:cxn>
              <a:cxn ang="0">
                <a:pos x="connsiteX4973" y="connsiteY4973"/>
              </a:cxn>
              <a:cxn ang="0">
                <a:pos x="connsiteX4974" y="connsiteY4974"/>
              </a:cxn>
              <a:cxn ang="0">
                <a:pos x="connsiteX4975" y="connsiteY4975"/>
              </a:cxn>
              <a:cxn ang="0">
                <a:pos x="connsiteX4976" y="connsiteY4976"/>
              </a:cxn>
              <a:cxn ang="0">
                <a:pos x="connsiteX4977" y="connsiteY4977"/>
              </a:cxn>
              <a:cxn ang="0">
                <a:pos x="connsiteX4978" y="connsiteY4978"/>
              </a:cxn>
              <a:cxn ang="0">
                <a:pos x="connsiteX4979" y="connsiteY4979"/>
              </a:cxn>
              <a:cxn ang="0">
                <a:pos x="connsiteX4980" y="connsiteY4980"/>
              </a:cxn>
              <a:cxn ang="0">
                <a:pos x="connsiteX4981" y="connsiteY4981"/>
              </a:cxn>
              <a:cxn ang="0">
                <a:pos x="connsiteX4982" y="connsiteY4982"/>
              </a:cxn>
              <a:cxn ang="0">
                <a:pos x="connsiteX4983" y="connsiteY4983"/>
              </a:cxn>
              <a:cxn ang="0">
                <a:pos x="connsiteX4984" y="connsiteY4984"/>
              </a:cxn>
              <a:cxn ang="0">
                <a:pos x="connsiteX4985" y="connsiteY4985"/>
              </a:cxn>
              <a:cxn ang="0">
                <a:pos x="connsiteX4986" y="connsiteY4986"/>
              </a:cxn>
              <a:cxn ang="0">
                <a:pos x="connsiteX4987" y="connsiteY4987"/>
              </a:cxn>
              <a:cxn ang="0">
                <a:pos x="connsiteX4988" y="connsiteY4988"/>
              </a:cxn>
              <a:cxn ang="0">
                <a:pos x="connsiteX4989" y="connsiteY4989"/>
              </a:cxn>
              <a:cxn ang="0">
                <a:pos x="connsiteX4990" y="connsiteY4990"/>
              </a:cxn>
              <a:cxn ang="0">
                <a:pos x="connsiteX4991" y="connsiteY4991"/>
              </a:cxn>
              <a:cxn ang="0">
                <a:pos x="connsiteX4992" y="connsiteY4992"/>
              </a:cxn>
              <a:cxn ang="0">
                <a:pos x="connsiteX4993" y="connsiteY4993"/>
              </a:cxn>
              <a:cxn ang="0">
                <a:pos x="connsiteX4994" y="connsiteY4994"/>
              </a:cxn>
              <a:cxn ang="0">
                <a:pos x="connsiteX4995" y="connsiteY4995"/>
              </a:cxn>
              <a:cxn ang="0">
                <a:pos x="connsiteX4996" y="connsiteY4996"/>
              </a:cxn>
              <a:cxn ang="0">
                <a:pos x="connsiteX4997" y="connsiteY4997"/>
              </a:cxn>
              <a:cxn ang="0">
                <a:pos x="connsiteX4998" y="connsiteY4998"/>
              </a:cxn>
              <a:cxn ang="0">
                <a:pos x="connsiteX4999" y="connsiteY4999"/>
              </a:cxn>
              <a:cxn ang="0">
                <a:pos x="connsiteX5000" y="connsiteY5000"/>
              </a:cxn>
              <a:cxn ang="0">
                <a:pos x="connsiteX5001" y="connsiteY5001"/>
              </a:cxn>
              <a:cxn ang="0">
                <a:pos x="connsiteX5002" y="connsiteY5002"/>
              </a:cxn>
              <a:cxn ang="0">
                <a:pos x="connsiteX5003" y="connsiteY5003"/>
              </a:cxn>
              <a:cxn ang="0">
                <a:pos x="connsiteX5004" y="connsiteY5004"/>
              </a:cxn>
              <a:cxn ang="0">
                <a:pos x="connsiteX5005" y="connsiteY5005"/>
              </a:cxn>
              <a:cxn ang="0">
                <a:pos x="connsiteX5006" y="connsiteY5006"/>
              </a:cxn>
              <a:cxn ang="0">
                <a:pos x="connsiteX5007" y="connsiteY5007"/>
              </a:cxn>
              <a:cxn ang="0">
                <a:pos x="connsiteX5008" y="connsiteY5008"/>
              </a:cxn>
              <a:cxn ang="0">
                <a:pos x="connsiteX5009" y="connsiteY5009"/>
              </a:cxn>
              <a:cxn ang="0">
                <a:pos x="connsiteX5010" y="connsiteY5010"/>
              </a:cxn>
              <a:cxn ang="0">
                <a:pos x="connsiteX5011" y="connsiteY5011"/>
              </a:cxn>
              <a:cxn ang="0">
                <a:pos x="connsiteX5012" y="connsiteY5012"/>
              </a:cxn>
              <a:cxn ang="0">
                <a:pos x="connsiteX5013" y="connsiteY5013"/>
              </a:cxn>
              <a:cxn ang="0">
                <a:pos x="connsiteX5014" y="connsiteY5014"/>
              </a:cxn>
              <a:cxn ang="0">
                <a:pos x="connsiteX5015" y="connsiteY5015"/>
              </a:cxn>
              <a:cxn ang="0">
                <a:pos x="connsiteX5016" y="connsiteY5016"/>
              </a:cxn>
              <a:cxn ang="0">
                <a:pos x="connsiteX5017" y="connsiteY5017"/>
              </a:cxn>
              <a:cxn ang="0">
                <a:pos x="connsiteX5018" y="connsiteY5018"/>
              </a:cxn>
              <a:cxn ang="0">
                <a:pos x="connsiteX5019" y="connsiteY5019"/>
              </a:cxn>
              <a:cxn ang="0">
                <a:pos x="connsiteX5020" y="connsiteY5020"/>
              </a:cxn>
              <a:cxn ang="0">
                <a:pos x="connsiteX5021" y="connsiteY5021"/>
              </a:cxn>
              <a:cxn ang="0">
                <a:pos x="connsiteX5022" y="connsiteY5022"/>
              </a:cxn>
              <a:cxn ang="0">
                <a:pos x="connsiteX5023" y="connsiteY5023"/>
              </a:cxn>
              <a:cxn ang="0">
                <a:pos x="connsiteX5024" y="connsiteY5024"/>
              </a:cxn>
              <a:cxn ang="0">
                <a:pos x="connsiteX5025" y="connsiteY5025"/>
              </a:cxn>
              <a:cxn ang="0">
                <a:pos x="connsiteX5026" y="connsiteY5026"/>
              </a:cxn>
              <a:cxn ang="0">
                <a:pos x="connsiteX5027" y="connsiteY5027"/>
              </a:cxn>
              <a:cxn ang="0">
                <a:pos x="connsiteX5028" y="connsiteY5028"/>
              </a:cxn>
              <a:cxn ang="0">
                <a:pos x="connsiteX5029" y="connsiteY5029"/>
              </a:cxn>
              <a:cxn ang="0">
                <a:pos x="connsiteX5030" y="connsiteY5030"/>
              </a:cxn>
              <a:cxn ang="0">
                <a:pos x="connsiteX5031" y="connsiteY5031"/>
              </a:cxn>
              <a:cxn ang="0">
                <a:pos x="connsiteX5032" y="connsiteY5032"/>
              </a:cxn>
              <a:cxn ang="0">
                <a:pos x="connsiteX5033" y="connsiteY5033"/>
              </a:cxn>
              <a:cxn ang="0">
                <a:pos x="connsiteX5034" y="connsiteY5034"/>
              </a:cxn>
              <a:cxn ang="0">
                <a:pos x="connsiteX5035" y="connsiteY5035"/>
              </a:cxn>
              <a:cxn ang="0">
                <a:pos x="connsiteX5036" y="connsiteY5036"/>
              </a:cxn>
              <a:cxn ang="0">
                <a:pos x="connsiteX5037" y="connsiteY5037"/>
              </a:cxn>
              <a:cxn ang="0">
                <a:pos x="connsiteX5038" y="connsiteY5038"/>
              </a:cxn>
              <a:cxn ang="0">
                <a:pos x="connsiteX5039" y="connsiteY5039"/>
              </a:cxn>
              <a:cxn ang="0">
                <a:pos x="connsiteX5040" y="connsiteY5040"/>
              </a:cxn>
              <a:cxn ang="0">
                <a:pos x="connsiteX5041" y="connsiteY5041"/>
              </a:cxn>
              <a:cxn ang="0">
                <a:pos x="connsiteX5042" y="connsiteY5042"/>
              </a:cxn>
              <a:cxn ang="0">
                <a:pos x="connsiteX5043" y="connsiteY5043"/>
              </a:cxn>
              <a:cxn ang="0">
                <a:pos x="connsiteX5044" y="connsiteY5044"/>
              </a:cxn>
              <a:cxn ang="0">
                <a:pos x="connsiteX5045" y="connsiteY5045"/>
              </a:cxn>
              <a:cxn ang="0">
                <a:pos x="connsiteX5046" y="connsiteY5046"/>
              </a:cxn>
              <a:cxn ang="0">
                <a:pos x="connsiteX5047" y="connsiteY5047"/>
              </a:cxn>
              <a:cxn ang="0">
                <a:pos x="connsiteX5048" y="connsiteY5048"/>
              </a:cxn>
              <a:cxn ang="0">
                <a:pos x="connsiteX5049" y="connsiteY5049"/>
              </a:cxn>
              <a:cxn ang="0">
                <a:pos x="connsiteX5050" y="connsiteY5050"/>
              </a:cxn>
              <a:cxn ang="0">
                <a:pos x="connsiteX5051" y="connsiteY5051"/>
              </a:cxn>
              <a:cxn ang="0">
                <a:pos x="connsiteX5052" y="connsiteY5052"/>
              </a:cxn>
              <a:cxn ang="0">
                <a:pos x="connsiteX5053" y="connsiteY5053"/>
              </a:cxn>
              <a:cxn ang="0">
                <a:pos x="connsiteX5054" y="connsiteY5054"/>
              </a:cxn>
              <a:cxn ang="0">
                <a:pos x="connsiteX5055" y="connsiteY5055"/>
              </a:cxn>
              <a:cxn ang="0">
                <a:pos x="connsiteX5056" y="connsiteY5056"/>
              </a:cxn>
              <a:cxn ang="0">
                <a:pos x="connsiteX5057" y="connsiteY5057"/>
              </a:cxn>
              <a:cxn ang="0">
                <a:pos x="connsiteX5058" y="connsiteY5058"/>
              </a:cxn>
              <a:cxn ang="0">
                <a:pos x="connsiteX5059" y="connsiteY5059"/>
              </a:cxn>
              <a:cxn ang="0">
                <a:pos x="connsiteX5060" y="connsiteY5060"/>
              </a:cxn>
              <a:cxn ang="0">
                <a:pos x="connsiteX5061" y="connsiteY5061"/>
              </a:cxn>
              <a:cxn ang="0">
                <a:pos x="connsiteX5062" y="connsiteY5062"/>
              </a:cxn>
              <a:cxn ang="0">
                <a:pos x="connsiteX5063" y="connsiteY5063"/>
              </a:cxn>
              <a:cxn ang="0">
                <a:pos x="connsiteX5064" y="connsiteY5064"/>
              </a:cxn>
              <a:cxn ang="0">
                <a:pos x="connsiteX5065" y="connsiteY5065"/>
              </a:cxn>
              <a:cxn ang="0">
                <a:pos x="connsiteX5066" y="connsiteY5066"/>
              </a:cxn>
              <a:cxn ang="0">
                <a:pos x="connsiteX5067" y="connsiteY5067"/>
              </a:cxn>
              <a:cxn ang="0">
                <a:pos x="connsiteX5068" y="connsiteY5068"/>
              </a:cxn>
              <a:cxn ang="0">
                <a:pos x="connsiteX5069" y="connsiteY5069"/>
              </a:cxn>
              <a:cxn ang="0">
                <a:pos x="connsiteX5070" y="connsiteY5070"/>
              </a:cxn>
              <a:cxn ang="0">
                <a:pos x="connsiteX5071" y="connsiteY5071"/>
              </a:cxn>
              <a:cxn ang="0">
                <a:pos x="connsiteX5072" y="connsiteY5072"/>
              </a:cxn>
              <a:cxn ang="0">
                <a:pos x="connsiteX5073" y="connsiteY5073"/>
              </a:cxn>
              <a:cxn ang="0">
                <a:pos x="connsiteX5074" y="connsiteY5074"/>
              </a:cxn>
              <a:cxn ang="0">
                <a:pos x="connsiteX5075" y="connsiteY5075"/>
              </a:cxn>
              <a:cxn ang="0">
                <a:pos x="connsiteX5076" y="connsiteY5076"/>
              </a:cxn>
              <a:cxn ang="0">
                <a:pos x="connsiteX5077" y="connsiteY5077"/>
              </a:cxn>
              <a:cxn ang="0">
                <a:pos x="connsiteX5078" y="connsiteY5078"/>
              </a:cxn>
              <a:cxn ang="0">
                <a:pos x="connsiteX5079" y="connsiteY5079"/>
              </a:cxn>
              <a:cxn ang="0">
                <a:pos x="connsiteX5080" y="connsiteY5080"/>
              </a:cxn>
              <a:cxn ang="0">
                <a:pos x="connsiteX5081" y="connsiteY5081"/>
              </a:cxn>
              <a:cxn ang="0">
                <a:pos x="connsiteX5082" y="connsiteY5082"/>
              </a:cxn>
              <a:cxn ang="0">
                <a:pos x="connsiteX5083" y="connsiteY5083"/>
              </a:cxn>
              <a:cxn ang="0">
                <a:pos x="connsiteX5084" y="connsiteY5084"/>
              </a:cxn>
              <a:cxn ang="0">
                <a:pos x="connsiteX5085" y="connsiteY5085"/>
              </a:cxn>
              <a:cxn ang="0">
                <a:pos x="connsiteX5086" y="connsiteY5086"/>
              </a:cxn>
              <a:cxn ang="0">
                <a:pos x="connsiteX5087" y="connsiteY5087"/>
              </a:cxn>
              <a:cxn ang="0">
                <a:pos x="connsiteX5088" y="connsiteY5088"/>
              </a:cxn>
              <a:cxn ang="0">
                <a:pos x="connsiteX5089" y="connsiteY5089"/>
              </a:cxn>
              <a:cxn ang="0">
                <a:pos x="connsiteX5090" y="connsiteY5090"/>
              </a:cxn>
              <a:cxn ang="0">
                <a:pos x="connsiteX5091" y="connsiteY5091"/>
              </a:cxn>
              <a:cxn ang="0">
                <a:pos x="connsiteX5092" y="connsiteY5092"/>
              </a:cxn>
              <a:cxn ang="0">
                <a:pos x="connsiteX5093" y="connsiteY5093"/>
              </a:cxn>
              <a:cxn ang="0">
                <a:pos x="connsiteX5094" y="connsiteY5094"/>
              </a:cxn>
              <a:cxn ang="0">
                <a:pos x="connsiteX5095" y="connsiteY5095"/>
              </a:cxn>
              <a:cxn ang="0">
                <a:pos x="connsiteX5096" y="connsiteY5096"/>
              </a:cxn>
              <a:cxn ang="0">
                <a:pos x="connsiteX5097" y="connsiteY5097"/>
              </a:cxn>
              <a:cxn ang="0">
                <a:pos x="connsiteX5098" y="connsiteY5098"/>
              </a:cxn>
              <a:cxn ang="0">
                <a:pos x="connsiteX5099" y="connsiteY5099"/>
              </a:cxn>
              <a:cxn ang="0">
                <a:pos x="connsiteX5100" y="connsiteY5100"/>
              </a:cxn>
              <a:cxn ang="0">
                <a:pos x="connsiteX5101" y="connsiteY5101"/>
              </a:cxn>
              <a:cxn ang="0">
                <a:pos x="connsiteX5102" y="connsiteY5102"/>
              </a:cxn>
              <a:cxn ang="0">
                <a:pos x="connsiteX5103" y="connsiteY5103"/>
              </a:cxn>
              <a:cxn ang="0">
                <a:pos x="connsiteX5104" y="connsiteY5104"/>
              </a:cxn>
              <a:cxn ang="0">
                <a:pos x="connsiteX5105" y="connsiteY5105"/>
              </a:cxn>
              <a:cxn ang="0">
                <a:pos x="connsiteX5106" y="connsiteY5106"/>
              </a:cxn>
              <a:cxn ang="0">
                <a:pos x="connsiteX5107" y="connsiteY5107"/>
              </a:cxn>
              <a:cxn ang="0">
                <a:pos x="connsiteX5108" y="connsiteY5108"/>
              </a:cxn>
              <a:cxn ang="0">
                <a:pos x="connsiteX5109" y="connsiteY5109"/>
              </a:cxn>
              <a:cxn ang="0">
                <a:pos x="connsiteX5110" y="connsiteY5110"/>
              </a:cxn>
              <a:cxn ang="0">
                <a:pos x="connsiteX5111" y="connsiteY5111"/>
              </a:cxn>
              <a:cxn ang="0">
                <a:pos x="connsiteX5112" y="connsiteY5112"/>
              </a:cxn>
              <a:cxn ang="0">
                <a:pos x="connsiteX5113" y="connsiteY5113"/>
              </a:cxn>
              <a:cxn ang="0">
                <a:pos x="connsiteX5114" y="connsiteY5114"/>
              </a:cxn>
              <a:cxn ang="0">
                <a:pos x="connsiteX5115" y="connsiteY5115"/>
              </a:cxn>
              <a:cxn ang="0">
                <a:pos x="connsiteX5116" y="connsiteY5116"/>
              </a:cxn>
              <a:cxn ang="0">
                <a:pos x="connsiteX5117" y="connsiteY5117"/>
              </a:cxn>
              <a:cxn ang="0">
                <a:pos x="connsiteX5118" y="connsiteY5118"/>
              </a:cxn>
              <a:cxn ang="0">
                <a:pos x="connsiteX5119" y="connsiteY5119"/>
              </a:cxn>
              <a:cxn ang="0">
                <a:pos x="connsiteX5120" y="connsiteY5120"/>
              </a:cxn>
              <a:cxn ang="0">
                <a:pos x="connsiteX5121" y="connsiteY5121"/>
              </a:cxn>
              <a:cxn ang="0">
                <a:pos x="connsiteX5122" y="connsiteY5122"/>
              </a:cxn>
              <a:cxn ang="0">
                <a:pos x="connsiteX5123" y="connsiteY5123"/>
              </a:cxn>
              <a:cxn ang="0">
                <a:pos x="connsiteX5124" y="connsiteY5124"/>
              </a:cxn>
              <a:cxn ang="0">
                <a:pos x="connsiteX5125" y="connsiteY5125"/>
              </a:cxn>
              <a:cxn ang="0">
                <a:pos x="connsiteX5126" y="connsiteY5126"/>
              </a:cxn>
              <a:cxn ang="0">
                <a:pos x="connsiteX5127" y="connsiteY5127"/>
              </a:cxn>
              <a:cxn ang="0">
                <a:pos x="connsiteX5128" y="connsiteY5128"/>
              </a:cxn>
              <a:cxn ang="0">
                <a:pos x="connsiteX5129" y="connsiteY5129"/>
              </a:cxn>
              <a:cxn ang="0">
                <a:pos x="connsiteX5130" y="connsiteY5130"/>
              </a:cxn>
              <a:cxn ang="0">
                <a:pos x="connsiteX5131" y="connsiteY5131"/>
              </a:cxn>
              <a:cxn ang="0">
                <a:pos x="connsiteX5132" y="connsiteY5132"/>
              </a:cxn>
              <a:cxn ang="0">
                <a:pos x="connsiteX5133" y="connsiteY5133"/>
              </a:cxn>
              <a:cxn ang="0">
                <a:pos x="connsiteX5134" y="connsiteY5134"/>
              </a:cxn>
              <a:cxn ang="0">
                <a:pos x="connsiteX5135" y="connsiteY5135"/>
              </a:cxn>
              <a:cxn ang="0">
                <a:pos x="connsiteX5136" y="connsiteY5136"/>
              </a:cxn>
              <a:cxn ang="0">
                <a:pos x="connsiteX5137" y="connsiteY5137"/>
              </a:cxn>
              <a:cxn ang="0">
                <a:pos x="connsiteX5138" y="connsiteY5138"/>
              </a:cxn>
              <a:cxn ang="0">
                <a:pos x="connsiteX5139" y="connsiteY5139"/>
              </a:cxn>
              <a:cxn ang="0">
                <a:pos x="connsiteX5140" y="connsiteY5140"/>
              </a:cxn>
              <a:cxn ang="0">
                <a:pos x="connsiteX5141" y="connsiteY5141"/>
              </a:cxn>
              <a:cxn ang="0">
                <a:pos x="connsiteX5142" y="connsiteY5142"/>
              </a:cxn>
              <a:cxn ang="0">
                <a:pos x="connsiteX5143" y="connsiteY5143"/>
              </a:cxn>
              <a:cxn ang="0">
                <a:pos x="connsiteX5144" y="connsiteY5144"/>
              </a:cxn>
              <a:cxn ang="0">
                <a:pos x="connsiteX5145" y="connsiteY5145"/>
              </a:cxn>
              <a:cxn ang="0">
                <a:pos x="connsiteX5146" y="connsiteY5146"/>
              </a:cxn>
              <a:cxn ang="0">
                <a:pos x="connsiteX5147" y="connsiteY5147"/>
              </a:cxn>
              <a:cxn ang="0">
                <a:pos x="connsiteX5148" y="connsiteY5148"/>
              </a:cxn>
              <a:cxn ang="0">
                <a:pos x="connsiteX5149" y="connsiteY5149"/>
              </a:cxn>
              <a:cxn ang="0">
                <a:pos x="connsiteX5150" y="connsiteY5150"/>
              </a:cxn>
              <a:cxn ang="0">
                <a:pos x="connsiteX5151" y="connsiteY5151"/>
              </a:cxn>
              <a:cxn ang="0">
                <a:pos x="connsiteX5152" y="connsiteY5152"/>
              </a:cxn>
              <a:cxn ang="0">
                <a:pos x="connsiteX5153" y="connsiteY5153"/>
              </a:cxn>
              <a:cxn ang="0">
                <a:pos x="connsiteX5154" y="connsiteY5154"/>
              </a:cxn>
              <a:cxn ang="0">
                <a:pos x="connsiteX5155" y="connsiteY5155"/>
              </a:cxn>
              <a:cxn ang="0">
                <a:pos x="connsiteX5156" y="connsiteY5156"/>
              </a:cxn>
              <a:cxn ang="0">
                <a:pos x="connsiteX5157" y="connsiteY5157"/>
              </a:cxn>
              <a:cxn ang="0">
                <a:pos x="connsiteX5158" y="connsiteY5158"/>
              </a:cxn>
              <a:cxn ang="0">
                <a:pos x="connsiteX5159" y="connsiteY5159"/>
              </a:cxn>
              <a:cxn ang="0">
                <a:pos x="connsiteX5160" y="connsiteY5160"/>
              </a:cxn>
              <a:cxn ang="0">
                <a:pos x="connsiteX5161" y="connsiteY5161"/>
              </a:cxn>
              <a:cxn ang="0">
                <a:pos x="connsiteX5162" y="connsiteY5162"/>
              </a:cxn>
              <a:cxn ang="0">
                <a:pos x="connsiteX5163" y="connsiteY5163"/>
              </a:cxn>
              <a:cxn ang="0">
                <a:pos x="connsiteX5164" y="connsiteY5164"/>
              </a:cxn>
              <a:cxn ang="0">
                <a:pos x="connsiteX5165" y="connsiteY5165"/>
              </a:cxn>
              <a:cxn ang="0">
                <a:pos x="connsiteX5166" y="connsiteY5166"/>
              </a:cxn>
              <a:cxn ang="0">
                <a:pos x="connsiteX5167" y="connsiteY5167"/>
              </a:cxn>
              <a:cxn ang="0">
                <a:pos x="connsiteX5168" y="connsiteY5168"/>
              </a:cxn>
              <a:cxn ang="0">
                <a:pos x="connsiteX5169" y="connsiteY5169"/>
              </a:cxn>
              <a:cxn ang="0">
                <a:pos x="connsiteX5170" y="connsiteY5170"/>
              </a:cxn>
              <a:cxn ang="0">
                <a:pos x="connsiteX5171" y="connsiteY5171"/>
              </a:cxn>
              <a:cxn ang="0">
                <a:pos x="connsiteX5172" y="connsiteY5172"/>
              </a:cxn>
              <a:cxn ang="0">
                <a:pos x="connsiteX5173" y="connsiteY5173"/>
              </a:cxn>
              <a:cxn ang="0">
                <a:pos x="connsiteX5174" y="connsiteY5174"/>
              </a:cxn>
              <a:cxn ang="0">
                <a:pos x="connsiteX5175" y="connsiteY5175"/>
              </a:cxn>
              <a:cxn ang="0">
                <a:pos x="connsiteX5176" y="connsiteY5176"/>
              </a:cxn>
              <a:cxn ang="0">
                <a:pos x="connsiteX5177" y="connsiteY5177"/>
              </a:cxn>
              <a:cxn ang="0">
                <a:pos x="connsiteX5178" y="connsiteY5178"/>
              </a:cxn>
              <a:cxn ang="0">
                <a:pos x="connsiteX5179" y="connsiteY5179"/>
              </a:cxn>
              <a:cxn ang="0">
                <a:pos x="connsiteX5180" y="connsiteY5180"/>
              </a:cxn>
              <a:cxn ang="0">
                <a:pos x="connsiteX5181" y="connsiteY5181"/>
              </a:cxn>
              <a:cxn ang="0">
                <a:pos x="connsiteX5182" y="connsiteY5182"/>
              </a:cxn>
              <a:cxn ang="0">
                <a:pos x="connsiteX5183" y="connsiteY5183"/>
              </a:cxn>
              <a:cxn ang="0">
                <a:pos x="connsiteX5184" y="connsiteY5184"/>
              </a:cxn>
              <a:cxn ang="0">
                <a:pos x="connsiteX5185" y="connsiteY5185"/>
              </a:cxn>
              <a:cxn ang="0">
                <a:pos x="connsiteX5186" y="connsiteY5186"/>
              </a:cxn>
              <a:cxn ang="0">
                <a:pos x="connsiteX5187" y="connsiteY5187"/>
              </a:cxn>
              <a:cxn ang="0">
                <a:pos x="connsiteX5188" y="connsiteY5188"/>
              </a:cxn>
              <a:cxn ang="0">
                <a:pos x="connsiteX5189" y="connsiteY5189"/>
              </a:cxn>
              <a:cxn ang="0">
                <a:pos x="connsiteX5190" y="connsiteY5190"/>
              </a:cxn>
              <a:cxn ang="0">
                <a:pos x="connsiteX5191" y="connsiteY5191"/>
              </a:cxn>
              <a:cxn ang="0">
                <a:pos x="connsiteX5192" y="connsiteY5192"/>
              </a:cxn>
              <a:cxn ang="0">
                <a:pos x="connsiteX5193" y="connsiteY5193"/>
              </a:cxn>
              <a:cxn ang="0">
                <a:pos x="connsiteX5194" y="connsiteY5194"/>
              </a:cxn>
              <a:cxn ang="0">
                <a:pos x="connsiteX5195" y="connsiteY5195"/>
              </a:cxn>
              <a:cxn ang="0">
                <a:pos x="connsiteX5196" y="connsiteY5196"/>
              </a:cxn>
              <a:cxn ang="0">
                <a:pos x="connsiteX5197" y="connsiteY5197"/>
              </a:cxn>
              <a:cxn ang="0">
                <a:pos x="connsiteX5198" y="connsiteY5198"/>
              </a:cxn>
              <a:cxn ang="0">
                <a:pos x="connsiteX5199" y="connsiteY5199"/>
              </a:cxn>
              <a:cxn ang="0">
                <a:pos x="connsiteX5200" y="connsiteY5200"/>
              </a:cxn>
              <a:cxn ang="0">
                <a:pos x="connsiteX5201" y="connsiteY5201"/>
              </a:cxn>
              <a:cxn ang="0">
                <a:pos x="connsiteX5202" y="connsiteY5202"/>
              </a:cxn>
              <a:cxn ang="0">
                <a:pos x="connsiteX5203" y="connsiteY5203"/>
              </a:cxn>
              <a:cxn ang="0">
                <a:pos x="connsiteX5204" y="connsiteY5204"/>
              </a:cxn>
              <a:cxn ang="0">
                <a:pos x="connsiteX5205" y="connsiteY5205"/>
              </a:cxn>
              <a:cxn ang="0">
                <a:pos x="connsiteX5206" y="connsiteY5206"/>
              </a:cxn>
              <a:cxn ang="0">
                <a:pos x="connsiteX5207" y="connsiteY5207"/>
              </a:cxn>
              <a:cxn ang="0">
                <a:pos x="connsiteX5208" y="connsiteY5208"/>
              </a:cxn>
              <a:cxn ang="0">
                <a:pos x="connsiteX5209" y="connsiteY5209"/>
              </a:cxn>
              <a:cxn ang="0">
                <a:pos x="connsiteX5210" y="connsiteY5210"/>
              </a:cxn>
              <a:cxn ang="0">
                <a:pos x="connsiteX5211" y="connsiteY5211"/>
              </a:cxn>
              <a:cxn ang="0">
                <a:pos x="connsiteX5212" y="connsiteY5212"/>
              </a:cxn>
              <a:cxn ang="0">
                <a:pos x="connsiteX5213" y="connsiteY5213"/>
              </a:cxn>
              <a:cxn ang="0">
                <a:pos x="connsiteX5214" y="connsiteY5214"/>
              </a:cxn>
              <a:cxn ang="0">
                <a:pos x="connsiteX5215" y="connsiteY5215"/>
              </a:cxn>
              <a:cxn ang="0">
                <a:pos x="connsiteX5216" y="connsiteY5216"/>
              </a:cxn>
              <a:cxn ang="0">
                <a:pos x="connsiteX5217" y="connsiteY5217"/>
              </a:cxn>
              <a:cxn ang="0">
                <a:pos x="connsiteX5218" y="connsiteY5218"/>
              </a:cxn>
              <a:cxn ang="0">
                <a:pos x="connsiteX5219" y="connsiteY5219"/>
              </a:cxn>
              <a:cxn ang="0">
                <a:pos x="connsiteX5220" y="connsiteY5220"/>
              </a:cxn>
              <a:cxn ang="0">
                <a:pos x="connsiteX5221" y="connsiteY5221"/>
              </a:cxn>
              <a:cxn ang="0">
                <a:pos x="connsiteX5222" y="connsiteY5222"/>
              </a:cxn>
              <a:cxn ang="0">
                <a:pos x="connsiteX5223" y="connsiteY5223"/>
              </a:cxn>
              <a:cxn ang="0">
                <a:pos x="connsiteX5224" y="connsiteY5224"/>
              </a:cxn>
              <a:cxn ang="0">
                <a:pos x="connsiteX5225" y="connsiteY5225"/>
              </a:cxn>
              <a:cxn ang="0">
                <a:pos x="connsiteX5226" y="connsiteY5226"/>
              </a:cxn>
              <a:cxn ang="0">
                <a:pos x="connsiteX5227" y="connsiteY5227"/>
              </a:cxn>
              <a:cxn ang="0">
                <a:pos x="connsiteX5228" y="connsiteY5228"/>
              </a:cxn>
              <a:cxn ang="0">
                <a:pos x="connsiteX5229" y="connsiteY5229"/>
              </a:cxn>
              <a:cxn ang="0">
                <a:pos x="connsiteX5230" y="connsiteY5230"/>
              </a:cxn>
              <a:cxn ang="0">
                <a:pos x="connsiteX5231" y="connsiteY5231"/>
              </a:cxn>
              <a:cxn ang="0">
                <a:pos x="connsiteX5232" y="connsiteY5232"/>
              </a:cxn>
              <a:cxn ang="0">
                <a:pos x="connsiteX5233" y="connsiteY5233"/>
              </a:cxn>
              <a:cxn ang="0">
                <a:pos x="connsiteX5234" y="connsiteY5234"/>
              </a:cxn>
              <a:cxn ang="0">
                <a:pos x="connsiteX5235" y="connsiteY5235"/>
              </a:cxn>
              <a:cxn ang="0">
                <a:pos x="connsiteX5236" y="connsiteY5236"/>
              </a:cxn>
              <a:cxn ang="0">
                <a:pos x="connsiteX5237" y="connsiteY5237"/>
              </a:cxn>
              <a:cxn ang="0">
                <a:pos x="connsiteX5238" y="connsiteY5238"/>
              </a:cxn>
              <a:cxn ang="0">
                <a:pos x="connsiteX5239" y="connsiteY5239"/>
              </a:cxn>
              <a:cxn ang="0">
                <a:pos x="connsiteX5240" y="connsiteY5240"/>
              </a:cxn>
              <a:cxn ang="0">
                <a:pos x="connsiteX5241" y="connsiteY5241"/>
              </a:cxn>
              <a:cxn ang="0">
                <a:pos x="connsiteX5242" y="connsiteY5242"/>
              </a:cxn>
              <a:cxn ang="0">
                <a:pos x="connsiteX5243" y="connsiteY5243"/>
              </a:cxn>
              <a:cxn ang="0">
                <a:pos x="connsiteX5244" y="connsiteY5244"/>
              </a:cxn>
              <a:cxn ang="0">
                <a:pos x="connsiteX5245" y="connsiteY5245"/>
              </a:cxn>
              <a:cxn ang="0">
                <a:pos x="connsiteX5246" y="connsiteY5246"/>
              </a:cxn>
              <a:cxn ang="0">
                <a:pos x="connsiteX5247" y="connsiteY5247"/>
              </a:cxn>
              <a:cxn ang="0">
                <a:pos x="connsiteX5248" y="connsiteY5248"/>
              </a:cxn>
              <a:cxn ang="0">
                <a:pos x="connsiteX5249" y="connsiteY5249"/>
              </a:cxn>
              <a:cxn ang="0">
                <a:pos x="connsiteX5250" y="connsiteY5250"/>
              </a:cxn>
              <a:cxn ang="0">
                <a:pos x="connsiteX5251" y="connsiteY5251"/>
              </a:cxn>
              <a:cxn ang="0">
                <a:pos x="connsiteX5252" y="connsiteY5252"/>
              </a:cxn>
              <a:cxn ang="0">
                <a:pos x="connsiteX5253" y="connsiteY5253"/>
              </a:cxn>
              <a:cxn ang="0">
                <a:pos x="connsiteX5254" y="connsiteY5254"/>
              </a:cxn>
              <a:cxn ang="0">
                <a:pos x="connsiteX5255" y="connsiteY5255"/>
              </a:cxn>
              <a:cxn ang="0">
                <a:pos x="connsiteX5256" y="connsiteY5256"/>
              </a:cxn>
              <a:cxn ang="0">
                <a:pos x="connsiteX5257" y="connsiteY5257"/>
              </a:cxn>
              <a:cxn ang="0">
                <a:pos x="connsiteX5258" y="connsiteY5258"/>
              </a:cxn>
              <a:cxn ang="0">
                <a:pos x="connsiteX5259" y="connsiteY5259"/>
              </a:cxn>
              <a:cxn ang="0">
                <a:pos x="connsiteX5260" y="connsiteY5260"/>
              </a:cxn>
              <a:cxn ang="0">
                <a:pos x="connsiteX5261" y="connsiteY5261"/>
              </a:cxn>
              <a:cxn ang="0">
                <a:pos x="connsiteX5262" y="connsiteY5262"/>
              </a:cxn>
              <a:cxn ang="0">
                <a:pos x="connsiteX5263" y="connsiteY5263"/>
              </a:cxn>
              <a:cxn ang="0">
                <a:pos x="connsiteX5264" y="connsiteY5264"/>
              </a:cxn>
              <a:cxn ang="0">
                <a:pos x="connsiteX5265" y="connsiteY5265"/>
              </a:cxn>
              <a:cxn ang="0">
                <a:pos x="connsiteX5266" y="connsiteY5266"/>
              </a:cxn>
              <a:cxn ang="0">
                <a:pos x="connsiteX5267" y="connsiteY5267"/>
              </a:cxn>
              <a:cxn ang="0">
                <a:pos x="connsiteX5268" y="connsiteY5268"/>
              </a:cxn>
              <a:cxn ang="0">
                <a:pos x="connsiteX5269" y="connsiteY5269"/>
              </a:cxn>
              <a:cxn ang="0">
                <a:pos x="connsiteX5270" y="connsiteY5270"/>
              </a:cxn>
              <a:cxn ang="0">
                <a:pos x="connsiteX5271" y="connsiteY5271"/>
              </a:cxn>
              <a:cxn ang="0">
                <a:pos x="connsiteX5272" y="connsiteY5272"/>
              </a:cxn>
              <a:cxn ang="0">
                <a:pos x="connsiteX5273" y="connsiteY5273"/>
              </a:cxn>
              <a:cxn ang="0">
                <a:pos x="connsiteX5274" y="connsiteY5274"/>
              </a:cxn>
              <a:cxn ang="0">
                <a:pos x="connsiteX5275" y="connsiteY5275"/>
              </a:cxn>
              <a:cxn ang="0">
                <a:pos x="connsiteX5276" y="connsiteY5276"/>
              </a:cxn>
              <a:cxn ang="0">
                <a:pos x="connsiteX5277" y="connsiteY5277"/>
              </a:cxn>
              <a:cxn ang="0">
                <a:pos x="connsiteX5278" y="connsiteY5278"/>
              </a:cxn>
              <a:cxn ang="0">
                <a:pos x="connsiteX5279" y="connsiteY5279"/>
              </a:cxn>
              <a:cxn ang="0">
                <a:pos x="connsiteX5280" y="connsiteY5280"/>
              </a:cxn>
              <a:cxn ang="0">
                <a:pos x="connsiteX5281" y="connsiteY5281"/>
              </a:cxn>
              <a:cxn ang="0">
                <a:pos x="connsiteX5282" y="connsiteY5282"/>
              </a:cxn>
              <a:cxn ang="0">
                <a:pos x="connsiteX5283" y="connsiteY5283"/>
              </a:cxn>
              <a:cxn ang="0">
                <a:pos x="connsiteX5284" y="connsiteY5284"/>
              </a:cxn>
              <a:cxn ang="0">
                <a:pos x="connsiteX5285" y="connsiteY5285"/>
              </a:cxn>
              <a:cxn ang="0">
                <a:pos x="connsiteX5286" y="connsiteY5286"/>
              </a:cxn>
              <a:cxn ang="0">
                <a:pos x="connsiteX5287" y="connsiteY5287"/>
              </a:cxn>
              <a:cxn ang="0">
                <a:pos x="connsiteX5288" y="connsiteY5288"/>
              </a:cxn>
              <a:cxn ang="0">
                <a:pos x="connsiteX5289" y="connsiteY5289"/>
              </a:cxn>
              <a:cxn ang="0">
                <a:pos x="connsiteX5290" y="connsiteY5290"/>
              </a:cxn>
              <a:cxn ang="0">
                <a:pos x="connsiteX5291" y="connsiteY5291"/>
              </a:cxn>
              <a:cxn ang="0">
                <a:pos x="connsiteX5292" y="connsiteY5292"/>
              </a:cxn>
              <a:cxn ang="0">
                <a:pos x="connsiteX5293" y="connsiteY5293"/>
              </a:cxn>
              <a:cxn ang="0">
                <a:pos x="connsiteX5294" y="connsiteY5294"/>
              </a:cxn>
              <a:cxn ang="0">
                <a:pos x="connsiteX5295" y="connsiteY5295"/>
              </a:cxn>
              <a:cxn ang="0">
                <a:pos x="connsiteX5296" y="connsiteY5296"/>
              </a:cxn>
              <a:cxn ang="0">
                <a:pos x="connsiteX5297" y="connsiteY5297"/>
              </a:cxn>
              <a:cxn ang="0">
                <a:pos x="connsiteX5298" y="connsiteY5298"/>
              </a:cxn>
              <a:cxn ang="0">
                <a:pos x="connsiteX5299" y="connsiteY5299"/>
              </a:cxn>
              <a:cxn ang="0">
                <a:pos x="connsiteX5300" y="connsiteY5300"/>
              </a:cxn>
              <a:cxn ang="0">
                <a:pos x="connsiteX5301" y="connsiteY5301"/>
              </a:cxn>
              <a:cxn ang="0">
                <a:pos x="connsiteX5302" y="connsiteY5302"/>
              </a:cxn>
              <a:cxn ang="0">
                <a:pos x="connsiteX5303" y="connsiteY5303"/>
              </a:cxn>
              <a:cxn ang="0">
                <a:pos x="connsiteX5304" y="connsiteY5304"/>
              </a:cxn>
              <a:cxn ang="0">
                <a:pos x="connsiteX5305" y="connsiteY5305"/>
              </a:cxn>
              <a:cxn ang="0">
                <a:pos x="connsiteX5306" y="connsiteY5306"/>
              </a:cxn>
              <a:cxn ang="0">
                <a:pos x="connsiteX5307" y="connsiteY5307"/>
              </a:cxn>
              <a:cxn ang="0">
                <a:pos x="connsiteX5308" y="connsiteY5308"/>
              </a:cxn>
              <a:cxn ang="0">
                <a:pos x="connsiteX5309" y="connsiteY5309"/>
              </a:cxn>
              <a:cxn ang="0">
                <a:pos x="connsiteX5310" y="connsiteY5310"/>
              </a:cxn>
              <a:cxn ang="0">
                <a:pos x="connsiteX5311" y="connsiteY5311"/>
              </a:cxn>
              <a:cxn ang="0">
                <a:pos x="connsiteX5312" y="connsiteY5312"/>
              </a:cxn>
              <a:cxn ang="0">
                <a:pos x="connsiteX5313" y="connsiteY5313"/>
              </a:cxn>
              <a:cxn ang="0">
                <a:pos x="connsiteX5314" y="connsiteY5314"/>
              </a:cxn>
              <a:cxn ang="0">
                <a:pos x="connsiteX5315" y="connsiteY5315"/>
              </a:cxn>
              <a:cxn ang="0">
                <a:pos x="connsiteX5316" y="connsiteY5316"/>
              </a:cxn>
              <a:cxn ang="0">
                <a:pos x="connsiteX5317" y="connsiteY5317"/>
              </a:cxn>
              <a:cxn ang="0">
                <a:pos x="connsiteX5318" y="connsiteY5318"/>
              </a:cxn>
              <a:cxn ang="0">
                <a:pos x="connsiteX5319" y="connsiteY5319"/>
              </a:cxn>
              <a:cxn ang="0">
                <a:pos x="connsiteX5320" y="connsiteY5320"/>
              </a:cxn>
              <a:cxn ang="0">
                <a:pos x="connsiteX5321" y="connsiteY5321"/>
              </a:cxn>
              <a:cxn ang="0">
                <a:pos x="connsiteX5322" y="connsiteY5322"/>
              </a:cxn>
              <a:cxn ang="0">
                <a:pos x="connsiteX5323" y="connsiteY5323"/>
              </a:cxn>
              <a:cxn ang="0">
                <a:pos x="connsiteX5324" y="connsiteY5324"/>
              </a:cxn>
              <a:cxn ang="0">
                <a:pos x="connsiteX5325" y="connsiteY5325"/>
              </a:cxn>
              <a:cxn ang="0">
                <a:pos x="connsiteX5326" y="connsiteY5326"/>
              </a:cxn>
              <a:cxn ang="0">
                <a:pos x="connsiteX5327" y="connsiteY5327"/>
              </a:cxn>
              <a:cxn ang="0">
                <a:pos x="connsiteX5328" y="connsiteY5328"/>
              </a:cxn>
              <a:cxn ang="0">
                <a:pos x="connsiteX5329" y="connsiteY5329"/>
              </a:cxn>
              <a:cxn ang="0">
                <a:pos x="connsiteX5330" y="connsiteY5330"/>
              </a:cxn>
              <a:cxn ang="0">
                <a:pos x="connsiteX5331" y="connsiteY5331"/>
              </a:cxn>
              <a:cxn ang="0">
                <a:pos x="connsiteX5332" y="connsiteY5332"/>
              </a:cxn>
              <a:cxn ang="0">
                <a:pos x="connsiteX5333" y="connsiteY5333"/>
              </a:cxn>
              <a:cxn ang="0">
                <a:pos x="connsiteX5334" y="connsiteY5334"/>
              </a:cxn>
              <a:cxn ang="0">
                <a:pos x="connsiteX5335" y="connsiteY5335"/>
              </a:cxn>
              <a:cxn ang="0">
                <a:pos x="connsiteX5336" y="connsiteY5336"/>
              </a:cxn>
              <a:cxn ang="0">
                <a:pos x="connsiteX5337" y="connsiteY5337"/>
              </a:cxn>
              <a:cxn ang="0">
                <a:pos x="connsiteX5338" y="connsiteY5338"/>
              </a:cxn>
              <a:cxn ang="0">
                <a:pos x="connsiteX5339" y="connsiteY5339"/>
              </a:cxn>
              <a:cxn ang="0">
                <a:pos x="connsiteX5340" y="connsiteY5340"/>
              </a:cxn>
              <a:cxn ang="0">
                <a:pos x="connsiteX5341" y="connsiteY5341"/>
              </a:cxn>
              <a:cxn ang="0">
                <a:pos x="connsiteX5342" y="connsiteY5342"/>
              </a:cxn>
              <a:cxn ang="0">
                <a:pos x="connsiteX5343" y="connsiteY5343"/>
              </a:cxn>
              <a:cxn ang="0">
                <a:pos x="connsiteX5344" y="connsiteY5344"/>
              </a:cxn>
              <a:cxn ang="0">
                <a:pos x="connsiteX5345" y="connsiteY5345"/>
              </a:cxn>
              <a:cxn ang="0">
                <a:pos x="connsiteX5346" y="connsiteY5346"/>
              </a:cxn>
              <a:cxn ang="0">
                <a:pos x="connsiteX5347" y="connsiteY5347"/>
              </a:cxn>
              <a:cxn ang="0">
                <a:pos x="connsiteX5348" y="connsiteY5348"/>
              </a:cxn>
              <a:cxn ang="0">
                <a:pos x="connsiteX5349" y="connsiteY5349"/>
              </a:cxn>
              <a:cxn ang="0">
                <a:pos x="connsiteX5350" y="connsiteY5350"/>
              </a:cxn>
              <a:cxn ang="0">
                <a:pos x="connsiteX5351" y="connsiteY5351"/>
              </a:cxn>
              <a:cxn ang="0">
                <a:pos x="connsiteX5352" y="connsiteY5352"/>
              </a:cxn>
              <a:cxn ang="0">
                <a:pos x="connsiteX5353" y="connsiteY5353"/>
              </a:cxn>
              <a:cxn ang="0">
                <a:pos x="connsiteX5354" y="connsiteY5354"/>
              </a:cxn>
              <a:cxn ang="0">
                <a:pos x="connsiteX5355" y="connsiteY5355"/>
              </a:cxn>
              <a:cxn ang="0">
                <a:pos x="connsiteX5356" y="connsiteY5356"/>
              </a:cxn>
              <a:cxn ang="0">
                <a:pos x="connsiteX5357" y="connsiteY5357"/>
              </a:cxn>
              <a:cxn ang="0">
                <a:pos x="connsiteX5358" y="connsiteY5358"/>
              </a:cxn>
              <a:cxn ang="0">
                <a:pos x="connsiteX5359" y="connsiteY5359"/>
              </a:cxn>
              <a:cxn ang="0">
                <a:pos x="connsiteX5360" y="connsiteY5360"/>
              </a:cxn>
              <a:cxn ang="0">
                <a:pos x="connsiteX5361" y="connsiteY5361"/>
              </a:cxn>
              <a:cxn ang="0">
                <a:pos x="connsiteX5362" y="connsiteY5362"/>
              </a:cxn>
              <a:cxn ang="0">
                <a:pos x="connsiteX5363" y="connsiteY5363"/>
              </a:cxn>
              <a:cxn ang="0">
                <a:pos x="connsiteX5364" y="connsiteY5364"/>
              </a:cxn>
              <a:cxn ang="0">
                <a:pos x="connsiteX5365" y="connsiteY5365"/>
              </a:cxn>
              <a:cxn ang="0">
                <a:pos x="connsiteX5366" y="connsiteY5366"/>
              </a:cxn>
              <a:cxn ang="0">
                <a:pos x="connsiteX5367" y="connsiteY5367"/>
              </a:cxn>
              <a:cxn ang="0">
                <a:pos x="connsiteX5368" y="connsiteY5368"/>
              </a:cxn>
              <a:cxn ang="0">
                <a:pos x="connsiteX5369" y="connsiteY5369"/>
              </a:cxn>
              <a:cxn ang="0">
                <a:pos x="connsiteX5370" y="connsiteY5370"/>
              </a:cxn>
              <a:cxn ang="0">
                <a:pos x="connsiteX5371" y="connsiteY5371"/>
              </a:cxn>
              <a:cxn ang="0">
                <a:pos x="connsiteX5372" y="connsiteY5372"/>
              </a:cxn>
              <a:cxn ang="0">
                <a:pos x="connsiteX5373" y="connsiteY5373"/>
              </a:cxn>
              <a:cxn ang="0">
                <a:pos x="connsiteX5374" y="connsiteY5374"/>
              </a:cxn>
              <a:cxn ang="0">
                <a:pos x="connsiteX5375" y="connsiteY5375"/>
              </a:cxn>
              <a:cxn ang="0">
                <a:pos x="connsiteX5376" y="connsiteY5376"/>
              </a:cxn>
              <a:cxn ang="0">
                <a:pos x="connsiteX5377" y="connsiteY5377"/>
              </a:cxn>
              <a:cxn ang="0">
                <a:pos x="connsiteX5378" y="connsiteY5378"/>
              </a:cxn>
              <a:cxn ang="0">
                <a:pos x="connsiteX5379" y="connsiteY5379"/>
              </a:cxn>
              <a:cxn ang="0">
                <a:pos x="connsiteX5380" y="connsiteY5380"/>
              </a:cxn>
              <a:cxn ang="0">
                <a:pos x="connsiteX5381" y="connsiteY5381"/>
              </a:cxn>
              <a:cxn ang="0">
                <a:pos x="connsiteX5382" y="connsiteY5382"/>
              </a:cxn>
              <a:cxn ang="0">
                <a:pos x="connsiteX5383" y="connsiteY5383"/>
              </a:cxn>
              <a:cxn ang="0">
                <a:pos x="connsiteX5384" y="connsiteY5384"/>
              </a:cxn>
              <a:cxn ang="0">
                <a:pos x="connsiteX5385" y="connsiteY5385"/>
              </a:cxn>
              <a:cxn ang="0">
                <a:pos x="connsiteX5386" y="connsiteY5386"/>
              </a:cxn>
              <a:cxn ang="0">
                <a:pos x="connsiteX5387" y="connsiteY5387"/>
              </a:cxn>
              <a:cxn ang="0">
                <a:pos x="connsiteX5388" y="connsiteY5388"/>
              </a:cxn>
              <a:cxn ang="0">
                <a:pos x="connsiteX5389" y="connsiteY5389"/>
              </a:cxn>
              <a:cxn ang="0">
                <a:pos x="connsiteX5390" y="connsiteY5390"/>
              </a:cxn>
              <a:cxn ang="0">
                <a:pos x="connsiteX5391" y="connsiteY5391"/>
              </a:cxn>
              <a:cxn ang="0">
                <a:pos x="connsiteX5392" y="connsiteY5392"/>
              </a:cxn>
              <a:cxn ang="0">
                <a:pos x="connsiteX5393" y="connsiteY5393"/>
              </a:cxn>
              <a:cxn ang="0">
                <a:pos x="connsiteX5394" y="connsiteY5394"/>
              </a:cxn>
              <a:cxn ang="0">
                <a:pos x="connsiteX5395" y="connsiteY5395"/>
              </a:cxn>
              <a:cxn ang="0">
                <a:pos x="connsiteX5396" y="connsiteY5396"/>
              </a:cxn>
              <a:cxn ang="0">
                <a:pos x="connsiteX5397" y="connsiteY5397"/>
              </a:cxn>
              <a:cxn ang="0">
                <a:pos x="connsiteX5398" y="connsiteY5398"/>
              </a:cxn>
              <a:cxn ang="0">
                <a:pos x="connsiteX5399" y="connsiteY5399"/>
              </a:cxn>
              <a:cxn ang="0">
                <a:pos x="connsiteX5400" y="connsiteY5400"/>
              </a:cxn>
              <a:cxn ang="0">
                <a:pos x="connsiteX5401" y="connsiteY5401"/>
              </a:cxn>
              <a:cxn ang="0">
                <a:pos x="connsiteX5402" y="connsiteY5402"/>
              </a:cxn>
              <a:cxn ang="0">
                <a:pos x="connsiteX5403" y="connsiteY5403"/>
              </a:cxn>
              <a:cxn ang="0">
                <a:pos x="connsiteX5404" y="connsiteY5404"/>
              </a:cxn>
              <a:cxn ang="0">
                <a:pos x="connsiteX5405" y="connsiteY5405"/>
              </a:cxn>
              <a:cxn ang="0">
                <a:pos x="connsiteX5406" y="connsiteY5406"/>
              </a:cxn>
              <a:cxn ang="0">
                <a:pos x="connsiteX5407" y="connsiteY5407"/>
              </a:cxn>
              <a:cxn ang="0">
                <a:pos x="connsiteX5408" y="connsiteY5408"/>
              </a:cxn>
              <a:cxn ang="0">
                <a:pos x="connsiteX5409" y="connsiteY5409"/>
              </a:cxn>
              <a:cxn ang="0">
                <a:pos x="connsiteX5410" y="connsiteY5410"/>
              </a:cxn>
              <a:cxn ang="0">
                <a:pos x="connsiteX5411" y="connsiteY5411"/>
              </a:cxn>
              <a:cxn ang="0">
                <a:pos x="connsiteX5412" y="connsiteY5412"/>
              </a:cxn>
              <a:cxn ang="0">
                <a:pos x="connsiteX5413" y="connsiteY5413"/>
              </a:cxn>
              <a:cxn ang="0">
                <a:pos x="connsiteX5414" y="connsiteY5414"/>
              </a:cxn>
              <a:cxn ang="0">
                <a:pos x="connsiteX5415" y="connsiteY5415"/>
              </a:cxn>
              <a:cxn ang="0">
                <a:pos x="connsiteX5416" y="connsiteY5416"/>
              </a:cxn>
              <a:cxn ang="0">
                <a:pos x="connsiteX5417" y="connsiteY5417"/>
              </a:cxn>
              <a:cxn ang="0">
                <a:pos x="connsiteX5418" y="connsiteY5418"/>
              </a:cxn>
              <a:cxn ang="0">
                <a:pos x="connsiteX5419" y="connsiteY5419"/>
              </a:cxn>
              <a:cxn ang="0">
                <a:pos x="connsiteX5420" y="connsiteY5420"/>
              </a:cxn>
              <a:cxn ang="0">
                <a:pos x="connsiteX5421" y="connsiteY5421"/>
              </a:cxn>
              <a:cxn ang="0">
                <a:pos x="connsiteX5422" y="connsiteY5422"/>
              </a:cxn>
              <a:cxn ang="0">
                <a:pos x="connsiteX5423" y="connsiteY5423"/>
              </a:cxn>
              <a:cxn ang="0">
                <a:pos x="connsiteX5424" y="connsiteY5424"/>
              </a:cxn>
              <a:cxn ang="0">
                <a:pos x="connsiteX5425" y="connsiteY5425"/>
              </a:cxn>
              <a:cxn ang="0">
                <a:pos x="connsiteX5426" y="connsiteY5426"/>
              </a:cxn>
              <a:cxn ang="0">
                <a:pos x="connsiteX5427" y="connsiteY5427"/>
              </a:cxn>
              <a:cxn ang="0">
                <a:pos x="connsiteX5428" y="connsiteY5428"/>
              </a:cxn>
              <a:cxn ang="0">
                <a:pos x="connsiteX5429" y="connsiteY5429"/>
              </a:cxn>
              <a:cxn ang="0">
                <a:pos x="connsiteX5430" y="connsiteY5430"/>
              </a:cxn>
              <a:cxn ang="0">
                <a:pos x="connsiteX5431" y="connsiteY5431"/>
              </a:cxn>
              <a:cxn ang="0">
                <a:pos x="connsiteX5432" y="connsiteY5432"/>
              </a:cxn>
              <a:cxn ang="0">
                <a:pos x="connsiteX5433" y="connsiteY5433"/>
              </a:cxn>
              <a:cxn ang="0">
                <a:pos x="connsiteX5434" y="connsiteY5434"/>
              </a:cxn>
              <a:cxn ang="0">
                <a:pos x="connsiteX5435" y="connsiteY5435"/>
              </a:cxn>
              <a:cxn ang="0">
                <a:pos x="connsiteX5436" y="connsiteY5436"/>
              </a:cxn>
              <a:cxn ang="0">
                <a:pos x="connsiteX5437" y="connsiteY5437"/>
              </a:cxn>
              <a:cxn ang="0">
                <a:pos x="connsiteX5438" y="connsiteY5438"/>
              </a:cxn>
              <a:cxn ang="0">
                <a:pos x="connsiteX5439" y="connsiteY5439"/>
              </a:cxn>
              <a:cxn ang="0">
                <a:pos x="connsiteX5440" y="connsiteY5440"/>
              </a:cxn>
              <a:cxn ang="0">
                <a:pos x="connsiteX5441" y="connsiteY5441"/>
              </a:cxn>
              <a:cxn ang="0">
                <a:pos x="connsiteX5442" y="connsiteY5442"/>
              </a:cxn>
              <a:cxn ang="0">
                <a:pos x="connsiteX5443" y="connsiteY5443"/>
              </a:cxn>
              <a:cxn ang="0">
                <a:pos x="connsiteX5444" y="connsiteY5444"/>
              </a:cxn>
              <a:cxn ang="0">
                <a:pos x="connsiteX5445" y="connsiteY5445"/>
              </a:cxn>
              <a:cxn ang="0">
                <a:pos x="connsiteX5446" y="connsiteY5446"/>
              </a:cxn>
              <a:cxn ang="0">
                <a:pos x="connsiteX5447" y="connsiteY5447"/>
              </a:cxn>
              <a:cxn ang="0">
                <a:pos x="connsiteX5448" y="connsiteY5448"/>
              </a:cxn>
              <a:cxn ang="0">
                <a:pos x="connsiteX5449" y="connsiteY5449"/>
              </a:cxn>
              <a:cxn ang="0">
                <a:pos x="connsiteX5450" y="connsiteY5450"/>
              </a:cxn>
              <a:cxn ang="0">
                <a:pos x="connsiteX5451" y="connsiteY5451"/>
              </a:cxn>
              <a:cxn ang="0">
                <a:pos x="connsiteX5452" y="connsiteY5452"/>
              </a:cxn>
              <a:cxn ang="0">
                <a:pos x="connsiteX5453" y="connsiteY5453"/>
              </a:cxn>
              <a:cxn ang="0">
                <a:pos x="connsiteX5454" y="connsiteY5454"/>
              </a:cxn>
              <a:cxn ang="0">
                <a:pos x="connsiteX5455" y="connsiteY5455"/>
              </a:cxn>
              <a:cxn ang="0">
                <a:pos x="connsiteX5456" y="connsiteY5456"/>
              </a:cxn>
              <a:cxn ang="0">
                <a:pos x="connsiteX5457" y="connsiteY5457"/>
              </a:cxn>
              <a:cxn ang="0">
                <a:pos x="connsiteX5458" y="connsiteY5458"/>
              </a:cxn>
              <a:cxn ang="0">
                <a:pos x="connsiteX5459" y="connsiteY5459"/>
              </a:cxn>
              <a:cxn ang="0">
                <a:pos x="connsiteX5460" y="connsiteY5460"/>
              </a:cxn>
              <a:cxn ang="0">
                <a:pos x="connsiteX5461" y="connsiteY5461"/>
              </a:cxn>
              <a:cxn ang="0">
                <a:pos x="connsiteX5462" y="connsiteY5462"/>
              </a:cxn>
              <a:cxn ang="0">
                <a:pos x="connsiteX5463" y="connsiteY5463"/>
              </a:cxn>
              <a:cxn ang="0">
                <a:pos x="connsiteX5464" y="connsiteY5464"/>
              </a:cxn>
              <a:cxn ang="0">
                <a:pos x="connsiteX5465" y="connsiteY5465"/>
              </a:cxn>
              <a:cxn ang="0">
                <a:pos x="connsiteX5466" y="connsiteY5466"/>
              </a:cxn>
              <a:cxn ang="0">
                <a:pos x="connsiteX5467" y="connsiteY5467"/>
              </a:cxn>
              <a:cxn ang="0">
                <a:pos x="connsiteX5468" y="connsiteY5468"/>
              </a:cxn>
              <a:cxn ang="0">
                <a:pos x="connsiteX5469" y="connsiteY5469"/>
              </a:cxn>
              <a:cxn ang="0">
                <a:pos x="connsiteX5470" y="connsiteY5470"/>
              </a:cxn>
              <a:cxn ang="0">
                <a:pos x="connsiteX5471" y="connsiteY5471"/>
              </a:cxn>
              <a:cxn ang="0">
                <a:pos x="connsiteX5472" y="connsiteY5472"/>
              </a:cxn>
              <a:cxn ang="0">
                <a:pos x="connsiteX5473" y="connsiteY5473"/>
              </a:cxn>
              <a:cxn ang="0">
                <a:pos x="connsiteX5474" y="connsiteY5474"/>
              </a:cxn>
              <a:cxn ang="0">
                <a:pos x="connsiteX5475" y="connsiteY5475"/>
              </a:cxn>
              <a:cxn ang="0">
                <a:pos x="connsiteX5476" y="connsiteY5476"/>
              </a:cxn>
              <a:cxn ang="0">
                <a:pos x="connsiteX5477" y="connsiteY5477"/>
              </a:cxn>
              <a:cxn ang="0">
                <a:pos x="connsiteX5478" y="connsiteY5478"/>
              </a:cxn>
              <a:cxn ang="0">
                <a:pos x="connsiteX5479" y="connsiteY5479"/>
              </a:cxn>
              <a:cxn ang="0">
                <a:pos x="connsiteX5480" y="connsiteY5480"/>
              </a:cxn>
              <a:cxn ang="0">
                <a:pos x="connsiteX5481" y="connsiteY5481"/>
              </a:cxn>
              <a:cxn ang="0">
                <a:pos x="connsiteX5482" y="connsiteY5482"/>
              </a:cxn>
              <a:cxn ang="0">
                <a:pos x="connsiteX5483" y="connsiteY5483"/>
              </a:cxn>
              <a:cxn ang="0">
                <a:pos x="connsiteX5484" y="connsiteY5484"/>
              </a:cxn>
              <a:cxn ang="0">
                <a:pos x="connsiteX5485" y="connsiteY5485"/>
              </a:cxn>
              <a:cxn ang="0">
                <a:pos x="connsiteX5486" y="connsiteY5486"/>
              </a:cxn>
              <a:cxn ang="0">
                <a:pos x="connsiteX5487" y="connsiteY5487"/>
              </a:cxn>
              <a:cxn ang="0">
                <a:pos x="connsiteX5488" y="connsiteY5488"/>
              </a:cxn>
              <a:cxn ang="0">
                <a:pos x="connsiteX5489" y="connsiteY5489"/>
              </a:cxn>
              <a:cxn ang="0">
                <a:pos x="connsiteX5490" y="connsiteY5490"/>
              </a:cxn>
              <a:cxn ang="0">
                <a:pos x="connsiteX5491" y="connsiteY5491"/>
              </a:cxn>
              <a:cxn ang="0">
                <a:pos x="connsiteX5492" y="connsiteY5492"/>
              </a:cxn>
              <a:cxn ang="0">
                <a:pos x="connsiteX5493" y="connsiteY5493"/>
              </a:cxn>
              <a:cxn ang="0">
                <a:pos x="connsiteX5494" y="connsiteY5494"/>
              </a:cxn>
              <a:cxn ang="0">
                <a:pos x="connsiteX5495" y="connsiteY5495"/>
              </a:cxn>
              <a:cxn ang="0">
                <a:pos x="connsiteX5496" y="connsiteY5496"/>
              </a:cxn>
              <a:cxn ang="0">
                <a:pos x="connsiteX5497" y="connsiteY5497"/>
              </a:cxn>
              <a:cxn ang="0">
                <a:pos x="connsiteX5498" y="connsiteY5498"/>
              </a:cxn>
              <a:cxn ang="0">
                <a:pos x="connsiteX5499" y="connsiteY5499"/>
              </a:cxn>
              <a:cxn ang="0">
                <a:pos x="connsiteX5500" y="connsiteY5500"/>
              </a:cxn>
              <a:cxn ang="0">
                <a:pos x="connsiteX5501" y="connsiteY5501"/>
              </a:cxn>
              <a:cxn ang="0">
                <a:pos x="connsiteX5502" y="connsiteY5502"/>
              </a:cxn>
              <a:cxn ang="0">
                <a:pos x="connsiteX5503" y="connsiteY5503"/>
              </a:cxn>
              <a:cxn ang="0">
                <a:pos x="connsiteX5504" y="connsiteY5504"/>
              </a:cxn>
              <a:cxn ang="0">
                <a:pos x="connsiteX5505" y="connsiteY5505"/>
              </a:cxn>
              <a:cxn ang="0">
                <a:pos x="connsiteX5506" y="connsiteY5506"/>
              </a:cxn>
              <a:cxn ang="0">
                <a:pos x="connsiteX5507" y="connsiteY5507"/>
              </a:cxn>
              <a:cxn ang="0">
                <a:pos x="connsiteX5508" y="connsiteY5508"/>
              </a:cxn>
              <a:cxn ang="0">
                <a:pos x="connsiteX5509" y="connsiteY5509"/>
              </a:cxn>
              <a:cxn ang="0">
                <a:pos x="connsiteX5510" y="connsiteY5510"/>
              </a:cxn>
              <a:cxn ang="0">
                <a:pos x="connsiteX5511" y="connsiteY5511"/>
              </a:cxn>
              <a:cxn ang="0">
                <a:pos x="connsiteX5512" y="connsiteY5512"/>
              </a:cxn>
              <a:cxn ang="0">
                <a:pos x="connsiteX5513" y="connsiteY5513"/>
              </a:cxn>
              <a:cxn ang="0">
                <a:pos x="connsiteX5514" y="connsiteY5514"/>
              </a:cxn>
              <a:cxn ang="0">
                <a:pos x="connsiteX5515" y="connsiteY5515"/>
              </a:cxn>
              <a:cxn ang="0">
                <a:pos x="connsiteX5516" y="connsiteY5516"/>
              </a:cxn>
              <a:cxn ang="0">
                <a:pos x="connsiteX5517" y="connsiteY5517"/>
              </a:cxn>
              <a:cxn ang="0">
                <a:pos x="connsiteX5518" y="connsiteY5518"/>
              </a:cxn>
              <a:cxn ang="0">
                <a:pos x="connsiteX5519" y="connsiteY5519"/>
              </a:cxn>
              <a:cxn ang="0">
                <a:pos x="connsiteX5520" y="connsiteY5520"/>
              </a:cxn>
              <a:cxn ang="0">
                <a:pos x="connsiteX5521" y="connsiteY5521"/>
              </a:cxn>
              <a:cxn ang="0">
                <a:pos x="connsiteX5522" y="connsiteY5522"/>
              </a:cxn>
              <a:cxn ang="0">
                <a:pos x="connsiteX5523" y="connsiteY5523"/>
              </a:cxn>
              <a:cxn ang="0">
                <a:pos x="connsiteX5524" y="connsiteY5524"/>
              </a:cxn>
              <a:cxn ang="0">
                <a:pos x="connsiteX5525" y="connsiteY5525"/>
              </a:cxn>
              <a:cxn ang="0">
                <a:pos x="connsiteX5526" y="connsiteY5526"/>
              </a:cxn>
              <a:cxn ang="0">
                <a:pos x="connsiteX5527" y="connsiteY5527"/>
              </a:cxn>
              <a:cxn ang="0">
                <a:pos x="connsiteX5528" y="connsiteY5528"/>
              </a:cxn>
              <a:cxn ang="0">
                <a:pos x="connsiteX5529" y="connsiteY5529"/>
              </a:cxn>
              <a:cxn ang="0">
                <a:pos x="connsiteX5530" y="connsiteY5530"/>
              </a:cxn>
              <a:cxn ang="0">
                <a:pos x="connsiteX5531" y="connsiteY5531"/>
              </a:cxn>
              <a:cxn ang="0">
                <a:pos x="connsiteX5532" y="connsiteY5532"/>
              </a:cxn>
              <a:cxn ang="0">
                <a:pos x="connsiteX5533" y="connsiteY5533"/>
              </a:cxn>
              <a:cxn ang="0">
                <a:pos x="connsiteX5534" y="connsiteY5534"/>
              </a:cxn>
              <a:cxn ang="0">
                <a:pos x="connsiteX5535" y="connsiteY5535"/>
              </a:cxn>
              <a:cxn ang="0">
                <a:pos x="connsiteX5536" y="connsiteY5536"/>
              </a:cxn>
              <a:cxn ang="0">
                <a:pos x="connsiteX5537" y="connsiteY5537"/>
              </a:cxn>
              <a:cxn ang="0">
                <a:pos x="connsiteX5538" y="connsiteY5538"/>
              </a:cxn>
              <a:cxn ang="0">
                <a:pos x="connsiteX5539" y="connsiteY5539"/>
              </a:cxn>
              <a:cxn ang="0">
                <a:pos x="connsiteX5540" y="connsiteY5540"/>
              </a:cxn>
              <a:cxn ang="0">
                <a:pos x="connsiteX5541" y="connsiteY5541"/>
              </a:cxn>
              <a:cxn ang="0">
                <a:pos x="connsiteX5542" y="connsiteY5542"/>
              </a:cxn>
              <a:cxn ang="0">
                <a:pos x="connsiteX5543" y="connsiteY5543"/>
              </a:cxn>
              <a:cxn ang="0">
                <a:pos x="connsiteX5544" y="connsiteY5544"/>
              </a:cxn>
              <a:cxn ang="0">
                <a:pos x="connsiteX5545" y="connsiteY5545"/>
              </a:cxn>
              <a:cxn ang="0">
                <a:pos x="connsiteX5546" y="connsiteY5546"/>
              </a:cxn>
              <a:cxn ang="0">
                <a:pos x="connsiteX5547" y="connsiteY5547"/>
              </a:cxn>
              <a:cxn ang="0">
                <a:pos x="connsiteX5548" y="connsiteY5548"/>
              </a:cxn>
              <a:cxn ang="0">
                <a:pos x="connsiteX5549" y="connsiteY5549"/>
              </a:cxn>
              <a:cxn ang="0">
                <a:pos x="connsiteX5550" y="connsiteY5550"/>
              </a:cxn>
              <a:cxn ang="0">
                <a:pos x="connsiteX5551" y="connsiteY5551"/>
              </a:cxn>
              <a:cxn ang="0">
                <a:pos x="connsiteX5552" y="connsiteY5552"/>
              </a:cxn>
              <a:cxn ang="0">
                <a:pos x="connsiteX5553" y="connsiteY5553"/>
              </a:cxn>
              <a:cxn ang="0">
                <a:pos x="connsiteX5554" y="connsiteY5554"/>
              </a:cxn>
              <a:cxn ang="0">
                <a:pos x="connsiteX5555" y="connsiteY5555"/>
              </a:cxn>
              <a:cxn ang="0">
                <a:pos x="connsiteX5556" y="connsiteY5556"/>
              </a:cxn>
              <a:cxn ang="0">
                <a:pos x="connsiteX5557" y="connsiteY5557"/>
              </a:cxn>
              <a:cxn ang="0">
                <a:pos x="connsiteX5558" y="connsiteY5558"/>
              </a:cxn>
              <a:cxn ang="0">
                <a:pos x="connsiteX5559" y="connsiteY5559"/>
              </a:cxn>
              <a:cxn ang="0">
                <a:pos x="connsiteX5560" y="connsiteY5560"/>
              </a:cxn>
              <a:cxn ang="0">
                <a:pos x="connsiteX5561" y="connsiteY5561"/>
              </a:cxn>
              <a:cxn ang="0">
                <a:pos x="connsiteX5562" y="connsiteY5562"/>
              </a:cxn>
              <a:cxn ang="0">
                <a:pos x="connsiteX5563" y="connsiteY5563"/>
              </a:cxn>
              <a:cxn ang="0">
                <a:pos x="connsiteX5564" y="connsiteY5564"/>
              </a:cxn>
              <a:cxn ang="0">
                <a:pos x="connsiteX5565" y="connsiteY5565"/>
              </a:cxn>
              <a:cxn ang="0">
                <a:pos x="connsiteX5566" y="connsiteY5566"/>
              </a:cxn>
              <a:cxn ang="0">
                <a:pos x="connsiteX5567" y="connsiteY5567"/>
              </a:cxn>
              <a:cxn ang="0">
                <a:pos x="connsiteX5568" y="connsiteY5568"/>
              </a:cxn>
              <a:cxn ang="0">
                <a:pos x="connsiteX5569" y="connsiteY5569"/>
              </a:cxn>
              <a:cxn ang="0">
                <a:pos x="connsiteX5570" y="connsiteY5570"/>
              </a:cxn>
              <a:cxn ang="0">
                <a:pos x="connsiteX5571" y="connsiteY5571"/>
              </a:cxn>
              <a:cxn ang="0">
                <a:pos x="connsiteX5572" y="connsiteY5572"/>
              </a:cxn>
              <a:cxn ang="0">
                <a:pos x="connsiteX5573" y="connsiteY5573"/>
              </a:cxn>
              <a:cxn ang="0">
                <a:pos x="connsiteX5574" y="connsiteY5574"/>
              </a:cxn>
              <a:cxn ang="0">
                <a:pos x="connsiteX5575" y="connsiteY5575"/>
              </a:cxn>
              <a:cxn ang="0">
                <a:pos x="connsiteX5576" y="connsiteY5576"/>
              </a:cxn>
              <a:cxn ang="0">
                <a:pos x="connsiteX5577" y="connsiteY5577"/>
              </a:cxn>
              <a:cxn ang="0">
                <a:pos x="connsiteX5578" y="connsiteY5578"/>
              </a:cxn>
              <a:cxn ang="0">
                <a:pos x="connsiteX5579" y="connsiteY5579"/>
              </a:cxn>
              <a:cxn ang="0">
                <a:pos x="connsiteX5580" y="connsiteY5580"/>
              </a:cxn>
              <a:cxn ang="0">
                <a:pos x="connsiteX5581" y="connsiteY5581"/>
              </a:cxn>
              <a:cxn ang="0">
                <a:pos x="connsiteX5582" y="connsiteY5582"/>
              </a:cxn>
              <a:cxn ang="0">
                <a:pos x="connsiteX5583" y="connsiteY5583"/>
              </a:cxn>
              <a:cxn ang="0">
                <a:pos x="connsiteX5584" y="connsiteY5584"/>
              </a:cxn>
              <a:cxn ang="0">
                <a:pos x="connsiteX5585" y="connsiteY5585"/>
              </a:cxn>
              <a:cxn ang="0">
                <a:pos x="connsiteX5586" y="connsiteY5586"/>
              </a:cxn>
              <a:cxn ang="0">
                <a:pos x="connsiteX5587" y="connsiteY5587"/>
              </a:cxn>
              <a:cxn ang="0">
                <a:pos x="connsiteX5588" y="connsiteY5588"/>
              </a:cxn>
              <a:cxn ang="0">
                <a:pos x="connsiteX5589" y="connsiteY5589"/>
              </a:cxn>
              <a:cxn ang="0">
                <a:pos x="connsiteX5590" y="connsiteY5590"/>
              </a:cxn>
              <a:cxn ang="0">
                <a:pos x="connsiteX5591" y="connsiteY5591"/>
              </a:cxn>
              <a:cxn ang="0">
                <a:pos x="connsiteX5592" y="connsiteY5592"/>
              </a:cxn>
              <a:cxn ang="0">
                <a:pos x="connsiteX5593" y="connsiteY5593"/>
              </a:cxn>
              <a:cxn ang="0">
                <a:pos x="connsiteX5594" y="connsiteY5594"/>
              </a:cxn>
              <a:cxn ang="0">
                <a:pos x="connsiteX5595" y="connsiteY5595"/>
              </a:cxn>
              <a:cxn ang="0">
                <a:pos x="connsiteX5596" y="connsiteY5596"/>
              </a:cxn>
              <a:cxn ang="0">
                <a:pos x="connsiteX5597" y="connsiteY5597"/>
              </a:cxn>
              <a:cxn ang="0">
                <a:pos x="connsiteX5598" y="connsiteY5598"/>
              </a:cxn>
              <a:cxn ang="0">
                <a:pos x="connsiteX5599" y="connsiteY5599"/>
              </a:cxn>
              <a:cxn ang="0">
                <a:pos x="connsiteX5600" y="connsiteY5600"/>
              </a:cxn>
              <a:cxn ang="0">
                <a:pos x="connsiteX5601" y="connsiteY5601"/>
              </a:cxn>
              <a:cxn ang="0">
                <a:pos x="connsiteX5602" y="connsiteY5602"/>
              </a:cxn>
              <a:cxn ang="0">
                <a:pos x="connsiteX5603" y="connsiteY5603"/>
              </a:cxn>
              <a:cxn ang="0">
                <a:pos x="connsiteX5604" y="connsiteY5604"/>
              </a:cxn>
              <a:cxn ang="0">
                <a:pos x="connsiteX5605" y="connsiteY5605"/>
              </a:cxn>
              <a:cxn ang="0">
                <a:pos x="connsiteX5606" y="connsiteY5606"/>
              </a:cxn>
              <a:cxn ang="0">
                <a:pos x="connsiteX5607" y="connsiteY5607"/>
              </a:cxn>
              <a:cxn ang="0">
                <a:pos x="connsiteX5608" y="connsiteY5608"/>
              </a:cxn>
              <a:cxn ang="0">
                <a:pos x="connsiteX5609" y="connsiteY5609"/>
              </a:cxn>
              <a:cxn ang="0">
                <a:pos x="connsiteX5610" y="connsiteY5610"/>
              </a:cxn>
              <a:cxn ang="0">
                <a:pos x="connsiteX5611" y="connsiteY5611"/>
              </a:cxn>
              <a:cxn ang="0">
                <a:pos x="connsiteX5612" y="connsiteY5612"/>
              </a:cxn>
              <a:cxn ang="0">
                <a:pos x="connsiteX5613" y="connsiteY5613"/>
              </a:cxn>
              <a:cxn ang="0">
                <a:pos x="connsiteX5614" y="connsiteY5614"/>
              </a:cxn>
              <a:cxn ang="0">
                <a:pos x="connsiteX5615" y="connsiteY5615"/>
              </a:cxn>
              <a:cxn ang="0">
                <a:pos x="connsiteX5616" y="connsiteY5616"/>
              </a:cxn>
              <a:cxn ang="0">
                <a:pos x="connsiteX5617" y="connsiteY5617"/>
              </a:cxn>
              <a:cxn ang="0">
                <a:pos x="connsiteX5618" y="connsiteY5618"/>
              </a:cxn>
              <a:cxn ang="0">
                <a:pos x="connsiteX5619" y="connsiteY5619"/>
              </a:cxn>
              <a:cxn ang="0">
                <a:pos x="connsiteX5620" y="connsiteY5620"/>
              </a:cxn>
              <a:cxn ang="0">
                <a:pos x="connsiteX5621" y="connsiteY5621"/>
              </a:cxn>
              <a:cxn ang="0">
                <a:pos x="connsiteX5622" y="connsiteY5622"/>
              </a:cxn>
              <a:cxn ang="0">
                <a:pos x="connsiteX5623" y="connsiteY5623"/>
              </a:cxn>
              <a:cxn ang="0">
                <a:pos x="connsiteX5624" y="connsiteY5624"/>
              </a:cxn>
              <a:cxn ang="0">
                <a:pos x="connsiteX5625" y="connsiteY5625"/>
              </a:cxn>
              <a:cxn ang="0">
                <a:pos x="connsiteX5626" y="connsiteY5626"/>
              </a:cxn>
              <a:cxn ang="0">
                <a:pos x="connsiteX5627" y="connsiteY5627"/>
              </a:cxn>
              <a:cxn ang="0">
                <a:pos x="connsiteX5628" y="connsiteY5628"/>
              </a:cxn>
              <a:cxn ang="0">
                <a:pos x="connsiteX5629" y="connsiteY5629"/>
              </a:cxn>
              <a:cxn ang="0">
                <a:pos x="connsiteX5630" y="connsiteY5630"/>
              </a:cxn>
              <a:cxn ang="0">
                <a:pos x="connsiteX5631" y="connsiteY5631"/>
              </a:cxn>
              <a:cxn ang="0">
                <a:pos x="connsiteX5632" y="connsiteY5632"/>
              </a:cxn>
              <a:cxn ang="0">
                <a:pos x="connsiteX5633" y="connsiteY5633"/>
              </a:cxn>
              <a:cxn ang="0">
                <a:pos x="connsiteX5634" y="connsiteY5634"/>
              </a:cxn>
              <a:cxn ang="0">
                <a:pos x="connsiteX5635" y="connsiteY5635"/>
              </a:cxn>
              <a:cxn ang="0">
                <a:pos x="connsiteX5636" y="connsiteY5636"/>
              </a:cxn>
              <a:cxn ang="0">
                <a:pos x="connsiteX5637" y="connsiteY5637"/>
              </a:cxn>
              <a:cxn ang="0">
                <a:pos x="connsiteX5638" y="connsiteY5638"/>
              </a:cxn>
              <a:cxn ang="0">
                <a:pos x="connsiteX5639" y="connsiteY5639"/>
              </a:cxn>
              <a:cxn ang="0">
                <a:pos x="connsiteX5640" y="connsiteY5640"/>
              </a:cxn>
              <a:cxn ang="0">
                <a:pos x="connsiteX5641" y="connsiteY5641"/>
              </a:cxn>
              <a:cxn ang="0">
                <a:pos x="connsiteX5642" y="connsiteY5642"/>
              </a:cxn>
              <a:cxn ang="0">
                <a:pos x="connsiteX5643" y="connsiteY5643"/>
              </a:cxn>
              <a:cxn ang="0">
                <a:pos x="connsiteX5644" y="connsiteY5644"/>
              </a:cxn>
              <a:cxn ang="0">
                <a:pos x="connsiteX5645" y="connsiteY5645"/>
              </a:cxn>
              <a:cxn ang="0">
                <a:pos x="connsiteX5646" y="connsiteY5646"/>
              </a:cxn>
              <a:cxn ang="0">
                <a:pos x="connsiteX5647" y="connsiteY5647"/>
              </a:cxn>
              <a:cxn ang="0">
                <a:pos x="connsiteX5648" y="connsiteY5648"/>
              </a:cxn>
              <a:cxn ang="0">
                <a:pos x="connsiteX5649" y="connsiteY5649"/>
              </a:cxn>
              <a:cxn ang="0">
                <a:pos x="connsiteX5650" y="connsiteY5650"/>
              </a:cxn>
              <a:cxn ang="0">
                <a:pos x="connsiteX5651" y="connsiteY5651"/>
              </a:cxn>
              <a:cxn ang="0">
                <a:pos x="connsiteX5652" y="connsiteY5652"/>
              </a:cxn>
              <a:cxn ang="0">
                <a:pos x="connsiteX5653" y="connsiteY5653"/>
              </a:cxn>
              <a:cxn ang="0">
                <a:pos x="connsiteX5654" y="connsiteY5654"/>
              </a:cxn>
              <a:cxn ang="0">
                <a:pos x="connsiteX5655" y="connsiteY5655"/>
              </a:cxn>
              <a:cxn ang="0">
                <a:pos x="connsiteX5656" y="connsiteY5656"/>
              </a:cxn>
              <a:cxn ang="0">
                <a:pos x="connsiteX5657" y="connsiteY5657"/>
              </a:cxn>
              <a:cxn ang="0">
                <a:pos x="connsiteX5658" y="connsiteY5658"/>
              </a:cxn>
              <a:cxn ang="0">
                <a:pos x="connsiteX5659" y="connsiteY5659"/>
              </a:cxn>
              <a:cxn ang="0">
                <a:pos x="connsiteX5660" y="connsiteY5660"/>
              </a:cxn>
              <a:cxn ang="0">
                <a:pos x="connsiteX5661" y="connsiteY5661"/>
              </a:cxn>
              <a:cxn ang="0">
                <a:pos x="connsiteX5662" y="connsiteY5662"/>
              </a:cxn>
              <a:cxn ang="0">
                <a:pos x="connsiteX5663" y="connsiteY5663"/>
              </a:cxn>
              <a:cxn ang="0">
                <a:pos x="connsiteX5664" y="connsiteY5664"/>
              </a:cxn>
              <a:cxn ang="0">
                <a:pos x="connsiteX5665" y="connsiteY5665"/>
              </a:cxn>
              <a:cxn ang="0">
                <a:pos x="connsiteX5666" y="connsiteY5666"/>
              </a:cxn>
              <a:cxn ang="0">
                <a:pos x="connsiteX5667" y="connsiteY5667"/>
              </a:cxn>
              <a:cxn ang="0">
                <a:pos x="connsiteX5668" y="connsiteY5668"/>
              </a:cxn>
              <a:cxn ang="0">
                <a:pos x="connsiteX5669" y="connsiteY5669"/>
              </a:cxn>
              <a:cxn ang="0">
                <a:pos x="connsiteX5670" y="connsiteY5670"/>
              </a:cxn>
              <a:cxn ang="0">
                <a:pos x="connsiteX5671" y="connsiteY5671"/>
              </a:cxn>
              <a:cxn ang="0">
                <a:pos x="connsiteX5672" y="connsiteY5672"/>
              </a:cxn>
              <a:cxn ang="0">
                <a:pos x="connsiteX5673" y="connsiteY5673"/>
              </a:cxn>
              <a:cxn ang="0">
                <a:pos x="connsiteX5674" y="connsiteY5674"/>
              </a:cxn>
              <a:cxn ang="0">
                <a:pos x="connsiteX5675" y="connsiteY5675"/>
              </a:cxn>
              <a:cxn ang="0">
                <a:pos x="connsiteX5676" y="connsiteY5676"/>
              </a:cxn>
              <a:cxn ang="0">
                <a:pos x="connsiteX5677" y="connsiteY5677"/>
              </a:cxn>
              <a:cxn ang="0">
                <a:pos x="connsiteX5678" y="connsiteY5678"/>
              </a:cxn>
              <a:cxn ang="0">
                <a:pos x="connsiteX5679" y="connsiteY5679"/>
              </a:cxn>
              <a:cxn ang="0">
                <a:pos x="connsiteX5680" y="connsiteY5680"/>
              </a:cxn>
              <a:cxn ang="0">
                <a:pos x="connsiteX5681" y="connsiteY5681"/>
              </a:cxn>
              <a:cxn ang="0">
                <a:pos x="connsiteX5682" y="connsiteY5682"/>
              </a:cxn>
              <a:cxn ang="0">
                <a:pos x="connsiteX5683" y="connsiteY5683"/>
              </a:cxn>
              <a:cxn ang="0">
                <a:pos x="connsiteX5684" y="connsiteY5684"/>
              </a:cxn>
              <a:cxn ang="0">
                <a:pos x="connsiteX5685" y="connsiteY5685"/>
              </a:cxn>
              <a:cxn ang="0">
                <a:pos x="connsiteX5686" y="connsiteY5686"/>
              </a:cxn>
              <a:cxn ang="0">
                <a:pos x="connsiteX5687" y="connsiteY5687"/>
              </a:cxn>
              <a:cxn ang="0">
                <a:pos x="connsiteX5688" y="connsiteY5688"/>
              </a:cxn>
              <a:cxn ang="0">
                <a:pos x="connsiteX5689" y="connsiteY5689"/>
              </a:cxn>
              <a:cxn ang="0">
                <a:pos x="connsiteX5690" y="connsiteY5690"/>
              </a:cxn>
              <a:cxn ang="0">
                <a:pos x="connsiteX5691" y="connsiteY5691"/>
              </a:cxn>
              <a:cxn ang="0">
                <a:pos x="connsiteX5692" y="connsiteY5692"/>
              </a:cxn>
              <a:cxn ang="0">
                <a:pos x="connsiteX5693" y="connsiteY5693"/>
              </a:cxn>
              <a:cxn ang="0">
                <a:pos x="connsiteX5694" y="connsiteY5694"/>
              </a:cxn>
              <a:cxn ang="0">
                <a:pos x="connsiteX5695" y="connsiteY5695"/>
              </a:cxn>
              <a:cxn ang="0">
                <a:pos x="connsiteX5696" y="connsiteY5696"/>
              </a:cxn>
              <a:cxn ang="0">
                <a:pos x="connsiteX5697" y="connsiteY5697"/>
              </a:cxn>
              <a:cxn ang="0">
                <a:pos x="connsiteX5698" y="connsiteY5698"/>
              </a:cxn>
              <a:cxn ang="0">
                <a:pos x="connsiteX5699" y="connsiteY5699"/>
              </a:cxn>
              <a:cxn ang="0">
                <a:pos x="connsiteX5700" y="connsiteY5700"/>
              </a:cxn>
              <a:cxn ang="0">
                <a:pos x="connsiteX5701" y="connsiteY5701"/>
              </a:cxn>
              <a:cxn ang="0">
                <a:pos x="connsiteX5702" y="connsiteY5702"/>
              </a:cxn>
              <a:cxn ang="0">
                <a:pos x="connsiteX5703" y="connsiteY5703"/>
              </a:cxn>
              <a:cxn ang="0">
                <a:pos x="connsiteX5704" y="connsiteY5704"/>
              </a:cxn>
              <a:cxn ang="0">
                <a:pos x="connsiteX5705" y="connsiteY5705"/>
              </a:cxn>
              <a:cxn ang="0">
                <a:pos x="connsiteX5706" y="connsiteY5706"/>
              </a:cxn>
              <a:cxn ang="0">
                <a:pos x="connsiteX5707" y="connsiteY5707"/>
              </a:cxn>
              <a:cxn ang="0">
                <a:pos x="connsiteX5708" y="connsiteY5708"/>
              </a:cxn>
              <a:cxn ang="0">
                <a:pos x="connsiteX5709" y="connsiteY5709"/>
              </a:cxn>
              <a:cxn ang="0">
                <a:pos x="connsiteX5710" y="connsiteY5710"/>
              </a:cxn>
              <a:cxn ang="0">
                <a:pos x="connsiteX5711" y="connsiteY5711"/>
              </a:cxn>
              <a:cxn ang="0">
                <a:pos x="connsiteX5712" y="connsiteY5712"/>
              </a:cxn>
              <a:cxn ang="0">
                <a:pos x="connsiteX5713" y="connsiteY5713"/>
              </a:cxn>
              <a:cxn ang="0">
                <a:pos x="connsiteX5714" y="connsiteY5714"/>
              </a:cxn>
              <a:cxn ang="0">
                <a:pos x="connsiteX5715" y="connsiteY5715"/>
              </a:cxn>
              <a:cxn ang="0">
                <a:pos x="connsiteX5716" y="connsiteY5716"/>
              </a:cxn>
              <a:cxn ang="0">
                <a:pos x="connsiteX5717" y="connsiteY5717"/>
              </a:cxn>
              <a:cxn ang="0">
                <a:pos x="connsiteX5718" y="connsiteY5718"/>
              </a:cxn>
              <a:cxn ang="0">
                <a:pos x="connsiteX5719" y="connsiteY5719"/>
              </a:cxn>
              <a:cxn ang="0">
                <a:pos x="connsiteX5720" y="connsiteY5720"/>
              </a:cxn>
              <a:cxn ang="0">
                <a:pos x="connsiteX5721" y="connsiteY5721"/>
              </a:cxn>
              <a:cxn ang="0">
                <a:pos x="connsiteX5722" y="connsiteY5722"/>
              </a:cxn>
              <a:cxn ang="0">
                <a:pos x="connsiteX5723" y="connsiteY5723"/>
              </a:cxn>
              <a:cxn ang="0">
                <a:pos x="connsiteX5724" y="connsiteY5724"/>
              </a:cxn>
              <a:cxn ang="0">
                <a:pos x="connsiteX5725" y="connsiteY5725"/>
              </a:cxn>
              <a:cxn ang="0">
                <a:pos x="connsiteX5726" y="connsiteY5726"/>
              </a:cxn>
              <a:cxn ang="0">
                <a:pos x="connsiteX5727" y="connsiteY5727"/>
              </a:cxn>
              <a:cxn ang="0">
                <a:pos x="connsiteX5728" y="connsiteY5728"/>
              </a:cxn>
              <a:cxn ang="0">
                <a:pos x="connsiteX5729" y="connsiteY5729"/>
              </a:cxn>
              <a:cxn ang="0">
                <a:pos x="connsiteX5730" y="connsiteY5730"/>
              </a:cxn>
              <a:cxn ang="0">
                <a:pos x="connsiteX5731" y="connsiteY5731"/>
              </a:cxn>
              <a:cxn ang="0">
                <a:pos x="connsiteX5732" y="connsiteY5732"/>
              </a:cxn>
              <a:cxn ang="0">
                <a:pos x="connsiteX5733" y="connsiteY5733"/>
              </a:cxn>
              <a:cxn ang="0">
                <a:pos x="connsiteX5734" y="connsiteY5734"/>
              </a:cxn>
              <a:cxn ang="0">
                <a:pos x="connsiteX5735" y="connsiteY5735"/>
              </a:cxn>
              <a:cxn ang="0">
                <a:pos x="connsiteX5736" y="connsiteY5736"/>
              </a:cxn>
              <a:cxn ang="0">
                <a:pos x="connsiteX5737" y="connsiteY5737"/>
              </a:cxn>
              <a:cxn ang="0">
                <a:pos x="connsiteX5738" y="connsiteY5738"/>
              </a:cxn>
              <a:cxn ang="0">
                <a:pos x="connsiteX5739" y="connsiteY5739"/>
              </a:cxn>
              <a:cxn ang="0">
                <a:pos x="connsiteX5740" y="connsiteY5740"/>
              </a:cxn>
              <a:cxn ang="0">
                <a:pos x="connsiteX5741" y="connsiteY5741"/>
              </a:cxn>
              <a:cxn ang="0">
                <a:pos x="connsiteX5742" y="connsiteY5742"/>
              </a:cxn>
              <a:cxn ang="0">
                <a:pos x="connsiteX5743" y="connsiteY5743"/>
              </a:cxn>
              <a:cxn ang="0">
                <a:pos x="connsiteX5744" y="connsiteY5744"/>
              </a:cxn>
              <a:cxn ang="0">
                <a:pos x="connsiteX5745" y="connsiteY5745"/>
              </a:cxn>
              <a:cxn ang="0">
                <a:pos x="connsiteX5746" y="connsiteY5746"/>
              </a:cxn>
              <a:cxn ang="0">
                <a:pos x="connsiteX5747" y="connsiteY5747"/>
              </a:cxn>
              <a:cxn ang="0">
                <a:pos x="connsiteX5748" y="connsiteY5748"/>
              </a:cxn>
              <a:cxn ang="0">
                <a:pos x="connsiteX5749" y="connsiteY5749"/>
              </a:cxn>
              <a:cxn ang="0">
                <a:pos x="connsiteX5750" y="connsiteY5750"/>
              </a:cxn>
              <a:cxn ang="0">
                <a:pos x="connsiteX5751" y="connsiteY5751"/>
              </a:cxn>
              <a:cxn ang="0">
                <a:pos x="connsiteX5752" y="connsiteY5752"/>
              </a:cxn>
              <a:cxn ang="0">
                <a:pos x="connsiteX5753" y="connsiteY5753"/>
              </a:cxn>
              <a:cxn ang="0">
                <a:pos x="connsiteX5754" y="connsiteY5754"/>
              </a:cxn>
              <a:cxn ang="0">
                <a:pos x="connsiteX5755" y="connsiteY5755"/>
              </a:cxn>
              <a:cxn ang="0">
                <a:pos x="connsiteX5756" y="connsiteY5756"/>
              </a:cxn>
              <a:cxn ang="0">
                <a:pos x="connsiteX5757" y="connsiteY5757"/>
              </a:cxn>
              <a:cxn ang="0">
                <a:pos x="connsiteX5758" y="connsiteY5758"/>
              </a:cxn>
              <a:cxn ang="0">
                <a:pos x="connsiteX5759" y="connsiteY5759"/>
              </a:cxn>
              <a:cxn ang="0">
                <a:pos x="connsiteX5760" y="connsiteY5760"/>
              </a:cxn>
              <a:cxn ang="0">
                <a:pos x="connsiteX5761" y="connsiteY5761"/>
              </a:cxn>
              <a:cxn ang="0">
                <a:pos x="connsiteX5762" y="connsiteY5762"/>
              </a:cxn>
              <a:cxn ang="0">
                <a:pos x="connsiteX5763" y="connsiteY5763"/>
              </a:cxn>
              <a:cxn ang="0">
                <a:pos x="connsiteX5764" y="connsiteY5764"/>
              </a:cxn>
              <a:cxn ang="0">
                <a:pos x="connsiteX5765" y="connsiteY5765"/>
              </a:cxn>
              <a:cxn ang="0">
                <a:pos x="connsiteX5766" y="connsiteY5766"/>
              </a:cxn>
              <a:cxn ang="0">
                <a:pos x="connsiteX5767" y="connsiteY5767"/>
              </a:cxn>
              <a:cxn ang="0">
                <a:pos x="connsiteX5768" y="connsiteY5768"/>
              </a:cxn>
              <a:cxn ang="0">
                <a:pos x="connsiteX5769" y="connsiteY5769"/>
              </a:cxn>
              <a:cxn ang="0">
                <a:pos x="connsiteX5770" y="connsiteY5770"/>
              </a:cxn>
              <a:cxn ang="0">
                <a:pos x="connsiteX5771" y="connsiteY5771"/>
              </a:cxn>
              <a:cxn ang="0">
                <a:pos x="connsiteX5772" y="connsiteY5772"/>
              </a:cxn>
              <a:cxn ang="0">
                <a:pos x="connsiteX5773" y="connsiteY5773"/>
              </a:cxn>
              <a:cxn ang="0">
                <a:pos x="connsiteX5774" y="connsiteY5774"/>
              </a:cxn>
              <a:cxn ang="0">
                <a:pos x="connsiteX5775" y="connsiteY5775"/>
              </a:cxn>
              <a:cxn ang="0">
                <a:pos x="connsiteX5776" y="connsiteY5776"/>
              </a:cxn>
              <a:cxn ang="0">
                <a:pos x="connsiteX5777" y="connsiteY5777"/>
              </a:cxn>
              <a:cxn ang="0">
                <a:pos x="connsiteX5778" y="connsiteY5778"/>
              </a:cxn>
              <a:cxn ang="0">
                <a:pos x="connsiteX5779" y="connsiteY5779"/>
              </a:cxn>
              <a:cxn ang="0">
                <a:pos x="connsiteX5780" y="connsiteY5780"/>
              </a:cxn>
              <a:cxn ang="0">
                <a:pos x="connsiteX5781" y="connsiteY5781"/>
              </a:cxn>
              <a:cxn ang="0">
                <a:pos x="connsiteX5782" y="connsiteY5782"/>
              </a:cxn>
              <a:cxn ang="0">
                <a:pos x="connsiteX5783" y="connsiteY5783"/>
              </a:cxn>
              <a:cxn ang="0">
                <a:pos x="connsiteX5784" y="connsiteY5784"/>
              </a:cxn>
              <a:cxn ang="0">
                <a:pos x="connsiteX5785" y="connsiteY5785"/>
              </a:cxn>
              <a:cxn ang="0">
                <a:pos x="connsiteX5786" y="connsiteY5786"/>
              </a:cxn>
              <a:cxn ang="0">
                <a:pos x="connsiteX5787" y="connsiteY5787"/>
              </a:cxn>
              <a:cxn ang="0">
                <a:pos x="connsiteX5788" y="connsiteY5788"/>
              </a:cxn>
              <a:cxn ang="0">
                <a:pos x="connsiteX5789" y="connsiteY5789"/>
              </a:cxn>
              <a:cxn ang="0">
                <a:pos x="connsiteX5790" y="connsiteY5790"/>
              </a:cxn>
              <a:cxn ang="0">
                <a:pos x="connsiteX5791" y="connsiteY5791"/>
              </a:cxn>
              <a:cxn ang="0">
                <a:pos x="connsiteX5792" y="connsiteY5792"/>
              </a:cxn>
              <a:cxn ang="0">
                <a:pos x="connsiteX5793" y="connsiteY5793"/>
              </a:cxn>
              <a:cxn ang="0">
                <a:pos x="connsiteX5794" y="connsiteY5794"/>
              </a:cxn>
              <a:cxn ang="0">
                <a:pos x="connsiteX5795" y="connsiteY5795"/>
              </a:cxn>
              <a:cxn ang="0">
                <a:pos x="connsiteX5796" y="connsiteY5796"/>
              </a:cxn>
              <a:cxn ang="0">
                <a:pos x="connsiteX5797" y="connsiteY5797"/>
              </a:cxn>
              <a:cxn ang="0">
                <a:pos x="connsiteX5798" y="connsiteY5798"/>
              </a:cxn>
              <a:cxn ang="0">
                <a:pos x="connsiteX5799" y="connsiteY5799"/>
              </a:cxn>
              <a:cxn ang="0">
                <a:pos x="connsiteX5800" y="connsiteY5800"/>
              </a:cxn>
              <a:cxn ang="0">
                <a:pos x="connsiteX5801" y="connsiteY5801"/>
              </a:cxn>
              <a:cxn ang="0">
                <a:pos x="connsiteX5802" y="connsiteY5802"/>
              </a:cxn>
              <a:cxn ang="0">
                <a:pos x="connsiteX5803" y="connsiteY5803"/>
              </a:cxn>
              <a:cxn ang="0">
                <a:pos x="connsiteX5804" y="connsiteY5804"/>
              </a:cxn>
              <a:cxn ang="0">
                <a:pos x="connsiteX5805" y="connsiteY5805"/>
              </a:cxn>
              <a:cxn ang="0">
                <a:pos x="connsiteX5806" y="connsiteY5806"/>
              </a:cxn>
              <a:cxn ang="0">
                <a:pos x="connsiteX5807" y="connsiteY5807"/>
              </a:cxn>
              <a:cxn ang="0">
                <a:pos x="connsiteX5808" y="connsiteY5808"/>
              </a:cxn>
              <a:cxn ang="0">
                <a:pos x="connsiteX5809" y="connsiteY5809"/>
              </a:cxn>
              <a:cxn ang="0">
                <a:pos x="connsiteX5810" y="connsiteY5810"/>
              </a:cxn>
              <a:cxn ang="0">
                <a:pos x="connsiteX5811" y="connsiteY5811"/>
              </a:cxn>
              <a:cxn ang="0">
                <a:pos x="connsiteX5812" y="connsiteY5812"/>
              </a:cxn>
              <a:cxn ang="0">
                <a:pos x="connsiteX5813" y="connsiteY5813"/>
              </a:cxn>
              <a:cxn ang="0">
                <a:pos x="connsiteX5814" y="connsiteY5814"/>
              </a:cxn>
              <a:cxn ang="0">
                <a:pos x="connsiteX5815" y="connsiteY5815"/>
              </a:cxn>
              <a:cxn ang="0">
                <a:pos x="connsiteX5816" y="connsiteY5816"/>
              </a:cxn>
              <a:cxn ang="0">
                <a:pos x="connsiteX5817" y="connsiteY5817"/>
              </a:cxn>
              <a:cxn ang="0">
                <a:pos x="connsiteX5818" y="connsiteY5818"/>
              </a:cxn>
              <a:cxn ang="0">
                <a:pos x="connsiteX5819" y="connsiteY5819"/>
              </a:cxn>
              <a:cxn ang="0">
                <a:pos x="connsiteX5820" y="connsiteY5820"/>
              </a:cxn>
              <a:cxn ang="0">
                <a:pos x="connsiteX5821" y="connsiteY5821"/>
              </a:cxn>
              <a:cxn ang="0">
                <a:pos x="connsiteX5822" y="connsiteY5822"/>
              </a:cxn>
              <a:cxn ang="0">
                <a:pos x="connsiteX5823" y="connsiteY5823"/>
              </a:cxn>
              <a:cxn ang="0">
                <a:pos x="connsiteX5824" y="connsiteY5824"/>
              </a:cxn>
              <a:cxn ang="0">
                <a:pos x="connsiteX5825" y="connsiteY5825"/>
              </a:cxn>
              <a:cxn ang="0">
                <a:pos x="connsiteX5826" y="connsiteY5826"/>
              </a:cxn>
              <a:cxn ang="0">
                <a:pos x="connsiteX5827" y="connsiteY5827"/>
              </a:cxn>
              <a:cxn ang="0">
                <a:pos x="connsiteX5828" y="connsiteY5828"/>
              </a:cxn>
              <a:cxn ang="0">
                <a:pos x="connsiteX5829" y="connsiteY5829"/>
              </a:cxn>
              <a:cxn ang="0">
                <a:pos x="connsiteX5830" y="connsiteY5830"/>
              </a:cxn>
              <a:cxn ang="0">
                <a:pos x="connsiteX5831" y="connsiteY5831"/>
              </a:cxn>
              <a:cxn ang="0">
                <a:pos x="connsiteX5832" y="connsiteY5832"/>
              </a:cxn>
              <a:cxn ang="0">
                <a:pos x="connsiteX5833" y="connsiteY5833"/>
              </a:cxn>
              <a:cxn ang="0">
                <a:pos x="connsiteX5834" y="connsiteY5834"/>
              </a:cxn>
              <a:cxn ang="0">
                <a:pos x="connsiteX5835" y="connsiteY5835"/>
              </a:cxn>
              <a:cxn ang="0">
                <a:pos x="connsiteX5836" y="connsiteY5836"/>
              </a:cxn>
              <a:cxn ang="0">
                <a:pos x="connsiteX5837" y="connsiteY5837"/>
              </a:cxn>
              <a:cxn ang="0">
                <a:pos x="connsiteX5838" y="connsiteY5838"/>
              </a:cxn>
              <a:cxn ang="0">
                <a:pos x="connsiteX5839" y="connsiteY5839"/>
              </a:cxn>
              <a:cxn ang="0">
                <a:pos x="connsiteX5840" y="connsiteY5840"/>
              </a:cxn>
              <a:cxn ang="0">
                <a:pos x="connsiteX5841" y="connsiteY5841"/>
              </a:cxn>
              <a:cxn ang="0">
                <a:pos x="connsiteX5842" y="connsiteY5842"/>
              </a:cxn>
              <a:cxn ang="0">
                <a:pos x="connsiteX5843" y="connsiteY5843"/>
              </a:cxn>
              <a:cxn ang="0">
                <a:pos x="connsiteX5844" y="connsiteY5844"/>
              </a:cxn>
              <a:cxn ang="0">
                <a:pos x="connsiteX5845" y="connsiteY5845"/>
              </a:cxn>
              <a:cxn ang="0">
                <a:pos x="connsiteX5846" y="connsiteY5846"/>
              </a:cxn>
              <a:cxn ang="0">
                <a:pos x="connsiteX5847" y="connsiteY5847"/>
              </a:cxn>
              <a:cxn ang="0">
                <a:pos x="connsiteX5848" y="connsiteY5848"/>
              </a:cxn>
              <a:cxn ang="0">
                <a:pos x="connsiteX5849" y="connsiteY5849"/>
              </a:cxn>
              <a:cxn ang="0">
                <a:pos x="connsiteX5850" y="connsiteY5850"/>
              </a:cxn>
              <a:cxn ang="0">
                <a:pos x="connsiteX5851" y="connsiteY5851"/>
              </a:cxn>
              <a:cxn ang="0">
                <a:pos x="connsiteX5852" y="connsiteY5852"/>
              </a:cxn>
              <a:cxn ang="0">
                <a:pos x="connsiteX5853" y="connsiteY5853"/>
              </a:cxn>
              <a:cxn ang="0">
                <a:pos x="connsiteX5854" y="connsiteY5854"/>
              </a:cxn>
              <a:cxn ang="0">
                <a:pos x="connsiteX5855" y="connsiteY5855"/>
              </a:cxn>
              <a:cxn ang="0">
                <a:pos x="connsiteX5856" y="connsiteY5856"/>
              </a:cxn>
              <a:cxn ang="0">
                <a:pos x="connsiteX5857" y="connsiteY5857"/>
              </a:cxn>
              <a:cxn ang="0">
                <a:pos x="connsiteX5858" y="connsiteY5858"/>
              </a:cxn>
              <a:cxn ang="0">
                <a:pos x="connsiteX5859" y="connsiteY5859"/>
              </a:cxn>
              <a:cxn ang="0">
                <a:pos x="connsiteX5860" y="connsiteY5860"/>
              </a:cxn>
              <a:cxn ang="0">
                <a:pos x="connsiteX5861" y="connsiteY5861"/>
              </a:cxn>
              <a:cxn ang="0">
                <a:pos x="connsiteX5862" y="connsiteY5862"/>
              </a:cxn>
              <a:cxn ang="0">
                <a:pos x="connsiteX5863" y="connsiteY5863"/>
              </a:cxn>
              <a:cxn ang="0">
                <a:pos x="connsiteX5864" y="connsiteY5864"/>
              </a:cxn>
              <a:cxn ang="0">
                <a:pos x="connsiteX5865" y="connsiteY5865"/>
              </a:cxn>
              <a:cxn ang="0">
                <a:pos x="connsiteX5866" y="connsiteY5866"/>
              </a:cxn>
              <a:cxn ang="0">
                <a:pos x="connsiteX5867" y="connsiteY5867"/>
              </a:cxn>
              <a:cxn ang="0">
                <a:pos x="connsiteX5868" y="connsiteY5868"/>
              </a:cxn>
              <a:cxn ang="0">
                <a:pos x="connsiteX5869" y="connsiteY5869"/>
              </a:cxn>
              <a:cxn ang="0">
                <a:pos x="connsiteX5870" y="connsiteY5870"/>
              </a:cxn>
              <a:cxn ang="0">
                <a:pos x="connsiteX5871" y="connsiteY5871"/>
              </a:cxn>
              <a:cxn ang="0">
                <a:pos x="connsiteX5872" y="connsiteY5872"/>
              </a:cxn>
              <a:cxn ang="0">
                <a:pos x="connsiteX5873" y="connsiteY5873"/>
              </a:cxn>
              <a:cxn ang="0">
                <a:pos x="connsiteX5874" y="connsiteY5874"/>
              </a:cxn>
              <a:cxn ang="0">
                <a:pos x="connsiteX5875" y="connsiteY5875"/>
              </a:cxn>
              <a:cxn ang="0">
                <a:pos x="connsiteX5876" y="connsiteY5876"/>
              </a:cxn>
              <a:cxn ang="0">
                <a:pos x="connsiteX5877" y="connsiteY5877"/>
              </a:cxn>
              <a:cxn ang="0">
                <a:pos x="connsiteX5878" y="connsiteY5878"/>
              </a:cxn>
              <a:cxn ang="0">
                <a:pos x="connsiteX5879" y="connsiteY5879"/>
              </a:cxn>
              <a:cxn ang="0">
                <a:pos x="connsiteX5880" y="connsiteY5880"/>
              </a:cxn>
              <a:cxn ang="0">
                <a:pos x="connsiteX5881" y="connsiteY5881"/>
              </a:cxn>
              <a:cxn ang="0">
                <a:pos x="connsiteX5882" y="connsiteY5882"/>
              </a:cxn>
              <a:cxn ang="0">
                <a:pos x="connsiteX5883" y="connsiteY5883"/>
              </a:cxn>
              <a:cxn ang="0">
                <a:pos x="connsiteX5884" y="connsiteY5884"/>
              </a:cxn>
              <a:cxn ang="0">
                <a:pos x="connsiteX5885" y="connsiteY5885"/>
              </a:cxn>
              <a:cxn ang="0">
                <a:pos x="connsiteX5886" y="connsiteY5886"/>
              </a:cxn>
              <a:cxn ang="0">
                <a:pos x="connsiteX5887" y="connsiteY5887"/>
              </a:cxn>
              <a:cxn ang="0">
                <a:pos x="connsiteX5888" y="connsiteY5888"/>
              </a:cxn>
              <a:cxn ang="0">
                <a:pos x="connsiteX5889" y="connsiteY5889"/>
              </a:cxn>
              <a:cxn ang="0">
                <a:pos x="connsiteX5890" y="connsiteY5890"/>
              </a:cxn>
              <a:cxn ang="0">
                <a:pos x="connsiteX5891" y="connsiteY5891"/>
              </a:cxn>
              <a:cxn ang="0">
                <a:pos x="connsiteX5892" y="connsiteY5892"/>
              </a:cxn>
              <a:cxn ang="0">
                <a:pos x="connsiteX5893" y="connsiteY5893"/>
              </a:cxn>
              <a:cxn ang="0">
                <a:pos x="connsiteX5894" y="connsiteY5894"/>
              </a:cxn>
              <a:cxn ang="0">
                <a:pos x="connsiteX5895" y="connsiteY5895"/>
              </a:cxn>
              <a:cxn ang="0">
                <a:pos x="connsiteX5896" y="connsiteY5896"/>
              </a:cxn>
              <a:cxn ang="0">
                <a:pos x="connsiteX5897" y="connsiteY5897"/>
              </a:cxn>
              <a:cxn ang="0">
                <a:pos x="connsiteX5898" y="connsiteY5898"/>
              </a:cxn>
              <a:cxn ang="0">
                <a:pos x="connsiteX5899" y="connsiteY5899"/>
              </a:cxn>
              <a:cxn ang="0">
                <a:pos x="connsiteX5900" y="connsiteY5900"/>
              </a:cxn>
              <a:cxn ang="0">
                <a:pos x="connsiteX5901" y="connsiteY5901"/>
              </a:cxn>
              <a:cxn ang="0">
                <a:pos x="connsiteX5902" y="connsiteY5902"/>
              </a:cxn>
              <a:cxn ang="0">
                <a:pos x="connsiteX5903" y="connsiteY5903"/>
              </a:cxn>
              <a:cxn ang="0">
                <a:pos x="connsiteX5904" y="connsiteY5904"/>
              </a:cxn>
              <a:cxn ang="0">
                <a:pos x="connsiteX5905" y="connsiteY5905"/>
              </a:cxn>
              <a:cxn ang="0">
                <a:pos x="connsiteX5906" y="connsiteY5906"/>
              </a:cxn>
              <a:cxn ang="0">
                <a:pos x="connsiteX5907" y="connsiteY5907"/>
              </a:cxn>
              <a:cxn ang="0">
                <a:pos x="connsiteX5908" y="connsiteY5908"/>
              </a:cxn>
              <a:cxn ang="0">
                <a:pos x="connsiteX5909" y="connsiteY5909"/>
              </a:cxn>
              <a:cxn ang="0">
                <a:pos x="connsiteX5910" y="connsiteY5910"/>
              </a:cxn>
              <a:cxn ang="0">
                <a:pos x="connsiteX5911" y="connsiteY5911"/>
              </a:cxn>
              <a:cxn ang="0">
                <a:pos x="connsiteX5912" y="connsiteY5912"/>
              </a:cxn>
              <a:cxn ang="0">
                <a:pos x="connsiteX5913" y="connsiteY5913"/>
              </a:cxn>
              <a:cxn ang="0">
                <a:pos x="connsiteX5914" y="connsiteY5914"/>
              </a:cxn>
              <a:cxn ang="0">
                <a:pos x="connsiteX5915" y="connsiteY5915"/>
              </a:cxn>
              <a:cxn ang="0">
                <a:pos x="connsiteX5916" y="connsiteY5916"/>
              </a:cxn>
              <a:cxn ang="0">
                <a:pos x="connsiteX5917" y="connsiteY5917"/>
              </a:cxn>
              <a:cxn ang="0">
                <a:pos x="connsiteX5918" y="connsiteY5918"/>
              </a:cxn>
              <a:cxn ang="0">
                <a:pos x="connsiteX5919" y="connsiteY5919"/>
              </a:cxn>
              <a:cxn ang="0">
                <a:pos x="connsiteX5920" y="connsiteY5920"/>
              </a:cxn>
              <a:cxn ang="0">
                <a:pos x="connsiteX5921" y="connsiteY5921"/>
              </a:cxn>
              <a:cxn ang="0">
                <a:pos x="connsiteX5922" y="connsiteY5922"/>
              </a:cxn>
              <a:cxn ang="0">
                <a:pos x="connsiteX5923" y="connsiteY5923"/>
              </a:cxn>
              <a:cxn ang="0">
                <a:pos x="connsiteX5924" y="connsiteY5924"/>
              </a:cxn>
              <a:cxn ang="0">
                <a:pos x="connsiteX5925" y="connsiteY5925"/>
              </a:cxn>
              <a:cxn ang="0">
                <a:pos x="connsiteX5926" y="connsiteY5926"/>
              </a:cxn>
              <a:cxn ang="0">
                <a:pos x="connsiteX5927" y="connsiteY5927"/>
              </a:cxn>
              <a:cxn ang="0">
                <a:pos x="connsiteX5928" y="connsiteY5928"/>
              </a:cxn>
              <a:cxn ang="0">
                <a:pos x="connsiteX5929" y="connsiteY5929"/>
              </a:cxn>
              <a:cxn ang="0">
                <a:pos x="connsiteX5930" y="connsiteY5930"/>
              </a:cxn>
              <a:cxn ang="0">
                <a:pos x="connsiteX5931" y="connsiteY5931"/>
              </a:cxn>
              <a:cxn ang="0">
                <a:pos x="connsiteX5932" y="connsiteY5932"/>
              </a:cxn>
              <a:cxn ang="0">
                <a:pos x="connsiteX5933" y="connsiteY5933"/>
              </a:cxn>
              <a:cxn ang="0">
                <a:pos x="connsiteX5934" y="connsiteY5934"/>
              </a:cxn>
              <a:cxn ang="0">
                <a:pos x="connsiteX5935" y="connsiteY5935"/>
              </a:cxn>
              <a:cxn ang="0">
                <a:pos x="connsiteX5936" y="connsiteY5936"/>
              </a:cxn>
              <a:cxn ang="0">
                <a:pos x="connsiteX5937" y="connsiteY5937"/>
              </a:cxn>
              <a:cxn ang="0">
                <a:pos x="connsiteX5938" y="connsiteY5938"/>
              </a:cxn>
              <a:cxn ang="0">
                <a:pos x="connsiteX5939" y="connsiteY5939"/>
              </a:cxn>
              <a:cxn ang="0">
                <a:pos x="connsiteX5940" y="connsiteY5940"/>
              </a:cxn>
              <a:cxn ang="0">
                <a:pos x="connsiteX5941" y="connsiteY5941"/>
              </a:cxn>
              <a:cxn ang="0">
                <a:pos x="connsiteX5942" y="connsiteY5942"/>
              </a:cxn>
              <a:cxn ang="0">
                <a:pos x="connsiteX5943" y="connsiteY5943"/>
              </a:cxn>
              <a:cxn ang="0">
                <a:pos x="connsiteX5944" y="connsiteY5944"/>
              </a:cxn>
              <a:cxn ang="0">
                <a:pos x="connsiteX5945" y="connsiteY5945"/>
              </a:cxn>
              <a:cxn ang="0">
                <a:pos x="connsiteX5946" y="connsiteY5946"/>
              </a:cxn>
              <a:cxn ang="0">
                <a:pos x="connsiteX5947" y="connsiteY5947"/>
              </a:cxn>
              <a:cxn ang="0">
                <a:pos x="connsiteX5948" y="connsiteY5948"/>
              </a:cxn>
              <a:cxn ang="0">
                <a:pos x="connsiteX5949" y="connsiteY5949"/>
              </a:cxn>
              <a:cxn ang="0">
                <a:pos x="connsiteX5950" y="connsiteY5950"/>
              </a:cxn>
              <a:cxn ang="0">
                <a:pos x="connsiteX5951" y="connsiteY5951"/>
              </a:cxn>
              <a:cxn ang="0">
                <a:pos x="connsiteX5952" y="connsiteY5952"/>
              </a:cxn>
              <a:cxn ang="0">
                <a:pos x="connsiteX5953" y="connsiteY5953"/>
              </a:cxn>
              <a:cxn ang="0">
                <a:pos x="connsiteX5954" y="connsiteY5954"/>
              </a:cxn>
              <a:cxn ang="0">
                <a:pos x="connsiteX5955" y="connsiteY5955"/>
              </a:cxn>
              <a:cxn ang="0">
                <a:pos x="connsiteX5956" y="connsiteY5956"/>
              </a:cxn>
              <a:cxn ang="0">
                <a:pos x="connsiteX5957" y="connsiteY5957"/>
              </a:cxn>
              <a:cxn ang="0">
                <a:pos x="connsiteX5958" y="connsiteY5958"/>
              </a:cxn>
              <a:cxn ang="0">
                <a:pos x="connsiteX5959" y="connsiteY5959"/>
              </a:cxn>
              <a:cxn ang="0">
                <a:pos x="connsiteX5960" y="connsiteY5960"/>
              </a:cxn>
              <a:cxn ang="0">
                <a:pos x="connsiteX5961" y="connsiteY5961"/>
              </a:cxn>
              <a:cxn ang="0">
                <a:pos x="connsiteX5962" y="connsiteY5962"/>
              </a:cxn>
              <a:cxn ang="0">
                <a:pos x="connsiteX5963" y="connsiteY5963"/>
              </a:cxn>
              <a:cxn ang="0">
                <a:pos x="connsiteX5964" y="connsiteY5964"/>
              </a:cxn>
              <a:cxn ang="0">
                <a:pos x="connsiteX5965" y="connsiteY5965"/>
              </a:cxn>
              <a:cxn ang="0">
                <a:pos x="connsiteX5966" y="connsiteY5966"/>
              </a:cxn>
              <a:cxn ang="0">
                <a:pos x="connsiteX5967" y="connsiteY5967"/>
              </a:cxn>
              <a:cxn ang="0">
                <a:pos x="connsiteX5968" y="connsiteY5968"/>
              </a:cxn>
              <a:cxn ang="0">
                <a:pos x="connsiteX5969" y="connsiteY5969"/>
              </a:cxn>
              <a:cxn ang="0">
                <a:pos x="connsiteX5970" y="connsiteY5970"/>
              </a:cxn>
              <a:cxn ang="0">
                <a:pos x="connsiteX5971" y="connsiteY5971"/>
              </a:cxn>
              <a:cxn ang="0">
                <a:pos x="connsiteX5972" y="connsiteY5972"/>
              </a:cxn>
              <a:cxn ang="0">
                <a:pos x="connsiteX5973" y="connsiteY5973"/>
              </a:cxn>
              <a:cxn ang="0">
                <a:pos x="connsiteX5974" y="connsiteY5974"/>
              </a:cxn>
              <a:cxn ang="0">
                <a:pos x="connsiteX5975" y="connsiteY5975"/>
              </a:cxn>
              <a:cxn ang="0">
                <a:pos x="connsiteX5976" y="connsiteY5976"/>
              </a:cxn>
              <a:cxn ang="0">
                <a:pos x="connsiteX5977" y="connsiteY5977"/>
              </a:cxn>
              <a:cxn ang="0">
                <a:pos x="connsiteX5978" y="connsiteY5978"/>
              </a:cxn>
              <a:cxn ang="0">
                <a:pos x="connsiteX5979" y="connsiteY5979"/>
              </a:cxn>
              <a:cxn ang="0">
                <a:pos x="connsiteX5980" y="connsiteY5980"/>
              </a:cxn>
              <a:cxn ang="0">
                <a:pos x="connsiteX5981" y="connsiteY5981"/>
              </a:cxn>
              <a:cxn ang="0">
                <a:pos x="connsiteX5982" y="connsiteY5982"/>
              </a:cxn>
              <a:cxn ang="0">
                <a:pos x="connsiteX5983" y="connsiteY5983"/>
              </a:cxn>
              <a:cxn ang="0">
                <a:pos x="connsiteX5984" y="connsiteY5984"/>
              </a:cxn>
              <a:cxn ang="0">
                <a:pos x="connsiteX5985" y="connsiteY5985"/>
              </a:cxn>
              <a:cxn ang="0">
                <a:pos x="connsiteX5986" y="connsiteY5986"/>
              </a:cxn>
              <a:cxn ang="0">
                <a:pos x="connsiteX5987" y="connsiteY5987"/>
              </a:cxn>
              <a:cxn ang="0">
                <a:pos x="connsiteX5988" y="connsiteY5988"/>
              </a:cxn>
              <a:cxn ang="0">
                <a:pos x="connsiteX5989" y="connsiteY5989"/>
              </a:cxn>
              <a:cxn ang="0">
                <a:pos x="connsiteX5990" y="connsiteY5990"/>
              </a:cxn>
              <a:cxn ang="0">
                <a:pos x="connsiteX5991" y="connsiteY5991"/>
              </a:cxn>
              <a:cxn ang="0">
                <a:pos x="connsiteX5992" y="connsiteY5992"/>
              </a:cxn>
              <a:cxn ang="0">
                <a:pos x="connsiteX5993" y="connsiteY5993"/>
              </a:cxn>
              <a:cxn ang="0">
                <a:pos x="connsiteX5994" y="connsiteY5994"/>
              </a:cxn>
              <a:cxn ang="0">
                <a:pos x="connsiteX5995" y="connsiteY5995"/>
              </a:cxn>
              <a:cxn ang="0">
                <a:pos x="connsiteX5996" y="connsiteY5996"/>
              </a:cxn>
              <a:cxn ang="0">
                <a:pos x="connsiteX5997" y="connsiteY5997"/>
              </a:cxn>
              <a:cxn ang="0">
                <a:pos x="connsiteX5998" y="connsiteY5998"/>
              </a:cxn>
              <a:cxn ang="0">
                <a:pos x="connsiteX5999" y="connsiteY5999"/>
              </a:cxn>
              <a:cxn ang="0">
                <a:pos x="connsiteX6000" y="connsiteY6000"/>
              </a:cxn>
              <a:cxn ang="0">
                <a:pos x="connsiteX6001" y="connsiteY6001"/>
              </a:cxn>
              <a:cxn ang="0">
                <a:pos x="connsiteX6002" y="connsiteY6002"/>
              </a:cxn>
              <a:cxn ang="0">
                <a:pos x="connsiteX6003" y="connsiteY6003"/>
              </a:cxn>
              <a:cxn ang="0">
                <a:pos x="connsiteX6004" y="connsiteY6004"/>
              </a:cxn>
              <a:cxn ang="0">
                <a:pos x="connsiteX6005" y="connsiteY6005"/>
              </a:cxn>
              <a:cxn ang="0">
                <a:pos x="connsiteX6006" y="connsiteY6006"/>
              </a:cxn>
              <a:cxn ang="0">
                <a:pos x="connsiteX6007" y="connsiteY6007"/>
              </a:cxn>
              <a:cxn ang="0">
                <a:pos x="connsiteX6008" y="connsiteY6008"/>
              </a:cxn>
              <a:cxn ang="0">
                <a:pos x="connsiteX6009" y="connsiteY6009"/>
              </a:cxn>
              <a:cxn ang="0">
                <a:pos x="connsiteX6010" y="connsiteY6010"/>
              </a:cxn>
              <a:cxn ang="0">
                <a:pos x="connsiteX6011" y="connsiteY6011"/>
              </a:cxn>
              <a:cxn ang="0">
                <a:pos x="connsiteX6012" y="connsiteY6012"/>
              </a:cxn>
              <a:cxn ang="0">
                <a:pos x="connsiteX6013" y="connsiteY6013"/>
              </a:cxn>
              <a:cxn ang="0">
                <a:pos x="connsiteX6014" y="connsiteY6014"/>
              </a:cxn>
              <a:cxn ang="0">
                <a:pos x="connsiteX6015" y="connsiteY6015"/>
              </a:cxn>
              <a:cxn ang="0">
                <a:pos x="connsiteX6016" y="connsiteY6016"/>
              </a:cxn>
              <a:cxn ang="0">
                <a:pos x="connsiteX6017" y="connsiteY6017"/>
              </a:cxn>
              <a:cxn ang="0">
                <a:pos x="connsiteX6018" y="connsiteY6018"/>
              </a:cxn>
              <a:cxn ang="0">
                <a:pos x="connsiteX6019" y="connsiteY6019"/>
              </a:cxn>
              <a:cxn ang="0">
                <a:pos x="connsiteX6020" y="connsiteY6020"/>
              </a:cxn>
              <a:cxn ang="0">
                <a:pos x="connsiteX6021" y="connsiteY6021"/>
              </a:cxn>
              <a:cxn ang="0">
                <a:pos x="connsiteX6022" y="connsiteY6022"/>
              </a:cxn>
              <a:cxn ang="0">
                <a:pos x="connsiteX6023" y="connsiteY6023"/>
              </a:cxn>
              <a:cxn ang="0">
                <a:pos x="connsiteX6024" y="connsiteY6024"/>
              </a:cxn>
              <a:cxn ang="0">
                <a:pos x="connsiteX6025" y="connsiteY6025"/>
              </a:cxn>
              <a:cxn ang="0">
                <a:pos x="connsiteX6026" y="connsiteY6026"/>
              </a:cxn>
              <a:cxn ang="0">
                <a:pos x="connsiteX6027" y="connsiteY6027"/>
              </a:cxn>
              <a:cxn ang="0">
                <a:pos x="connsiteX6028" y="connsiteY6028"/>
              </a:cxn>
              <a:cxn ang="0">
                <a:pos x="connsiteX6029" y="connsiteY6029"/>
              </a:cxn>
              <a:cxn ang="0">
                <a:pos x="connsiteX6030" y="connsiteY6030"/>
              </a:cxn>
              <a:cxn ang="0">
                <a:pos x="connsiteX6031" y="connsiteY6031"/>
              </a:cxn>
              <a:cxn ang="0">
                <a:pos x="connsiteX6032" y="connsiteY6032"/>
              </a:cxn>
              <a:cxn ang="0">
                <a:pos x="connsiteX6033" y="connsiteY6033"/>
              </a:cxn>
              <a:cxn ang="0">
                <a:pos x="connsiteX6034" y="connsiteY6034"/>
              </a:cxn>
              <a:cxn ang="0">
                <a:pos x="connsiteX6035" y="connsiteY6035"/>
              </a:cxn>
              <a:cxn ang="0">
                <a:pos x="connsiteX6036" y="connsiteY6036"/>
              </a:cxn>
              <a:cxn ang="0">
                <a:pos x="connsiteX6037" y="connsiteY6037"/>
              </a:cxn>
              <a:cxn ang="0">
                <a:pos x="connsiteX6038" y="connsiteY6038"/>
              </a:cxn>
              <a:cxn ang="0">
                <a:pos x="connsiteX6039" y="connsiteY6039"/>
              </a:cxn>
              <a:cxn ang="0">
                <a:pos x="connsiteX6040" y="connsiteY6040"/>
              </a:cxn>
              <a:cxn ang="0">
                <a:pos x="connsiteX6041" y="connsiteY6041"/>
              </a:cxn>
              <a:cxn ang="0">
                <a:pos x="connsiteX6042" y="connsiteY6042"/>
              </a:cxn>
              <a:cxn ang="0">
                <a:pos x="connsiteX6043" y="connsiteY6043"/>
              </a:cxn>
              <a:cxn ang="0">
                <a:pos x="connsiteX6044" y="connsiteY6044"/>
              </a:cxn>
              <a:cxn ang="0">
                <a:pos x="connsiteX6045" y="connsiteY6045"/>
              </a:cxn>
              <a:cxn ang="0">
                <a:pos x="connsiteX6046" y="connsiteY6046"/>
              </a:cxn>
              <a:cxn ang="0">
                <a:pos x="connsiteX6047" y="connsiteY6047"/>
              </a:cxn>
              <a:cxn ang="0">
                <a:pos x="connsiteX6048" y="connsiteY6048"/>
              </a:cxn>
              <a:cxn ang="0">
                <a:pos x="connsiteX6049" y="connsiteY6049"/>
              </a:cxn>
              <a:cxn ang="0">
                <a:pos x="connsiteX6050" y="connsiteY6050"/>
              </a:cxn>
              <a:cxn ang="0">
                <a:pos x="connsiteX6051" y="connsiteY6051"/>
              </a:cxn>
              <a:cxn ang="0">
                <a:pos x="connsiteX6052" y="connsiteY6052"/>
              </a:cxn>
              <a:cxn ang="0">
                <a:pos x="connsiteX6053" y="connsiteY6053"/>
              </a:cxn>
              <a:cxn ang="0">
                <a:pos x="connsiteX6054" y="connsiteY6054"/>
              </a:cxn>
              <a:cxn ang="0">
                <a:pos x="connsiteX6055" y="connsiteY6055"/>
              </a:cxn>
              <a:cxn ang="0">
                <a:pos x="connsiteX6056" y="connsiteY6056"/>
              </a:cxn>
              <a:cxn ang="0">
                <a:pos x="connsiteX6057" y="connsiteY6057"/>
              </a:cxn>
              <a:cxn ang="0">
                <a:pos x="connsiteX6058" y="connsiteY6058"/>
              </a:cxn>
              <a:cxn ang="0">
                <a:pos x="connsiteX6059" y="connsiteY6059"/>
              </a:cxn>
              <a:cxn ang="0">
                <a:pos x="connsiteX6060" y="connsiteY6060"/>
              </a:cxn>
              <a:cxn ang="0">
                <a:pos x="connsiteX6061" y="connsiteY6061"/>
              </a:cxn>
              <a:cxn ang="0">
                <a:pos x="connsiteX6062" y="connsiteY6062"/>
              </a:cxn>
              <a:cxn ang="0">
                <a:pos x="connsiteX6063" y="connsiteY6063"/>
              </a:cxn>
              <a:cxn ang="0">
                <a:pos x="connsiteX6064" y="connsiteY6064"/>
              </a:cxn>
              <a:cxn ang="0">
                <a:pos x="connsiteX6065" y="connsiteY6065"/>
              </a:cxn>
              <a:cxn ang="0">
                <a:pos x="connsiteX6066" y="connsiteY6066"/>
              </a:cxn>
              <a:cxn ang="0">
                <a:pos x="connsiteX6067" y="connsiteY6067"/>
              </a:cxn>
              <a:cxn ang="0">
                <a:pos x="connsiteX6068" y="connsiteY6068"/>
              </a:cxn>
              <a:cxn ang="0">
                <a:pos x="connsiteX6069" y="connsiteY6069"/>
              </a:cxn>
              <a:cxn ang="0">
                <a:pos x="connsiteX6070" y="connsiteY6070"/>
              </a:cxn>
              <a:cxn ang="0">
                <a:pos x="connsiteX6071" y="connsiteY6071"/>
              </a:cxn>
              <a:cxn ang="0">
                <a:pos x="connsiteX6072" y="connsiteY6072"/>
              </a:cxn>
              <a:cxn ang="0">
                <a:pos x="connsiteX6073" y="connsiteY6073"/>
              </a:cxn>
              <a:cxn ang="0">
                <a:pos x="connsiteX6074" y="connsiteY6074"/>
              </a:cxn>
              <a:cxn ang="0">
                <a:pos x="connsiteX6075" y="connsiteY6075"/>
              </a:cxn>
              <a:cxn ang="0">
                <a:pos x="connsiteX6076" y="connsiteY6076"/>
              </a:cxn>
              <a:cxn ang="0">
                <a:pos x="connsiteX6077" y="connsiteY6077"/>
              </a:cxn>
              <a:cxn ang="0">
                <a:pos x="connsiteX6078" y="connsiteY6078"/>
              </a:cxn>
              <a:cxn ang="0">
                <a:pos x="connsiteX6079" y="connsiteY6079"/>
              </a:cxn>
              <a:cxn ang="0">
                <a:pos x="connsiteX6080" y="connsiteY6080"/>
              </a:cxn>
              <a:cxn ang="0">
                <a:pos x="connsiteX6081" y="connsiteY6081"/>
              </a:cxn>
              <a:cxn ang="0">
                <a:pos x="connsiteX6082" y="connsiteY6082"/>
              </a:cxn>
              <a:cxn ang="0">
                <a:pos x="connsiteX6083" y="connsiteY6083"/>
              </a:cxn>
              <a:cxn ang="0">
                <a:pos x="connsiteX6084" y="connsiteY6084"/>
              </a:cxn>
              <a:cxn ang="0">
                <a:pos x="connsiteX6085" y="connsiteY6085"/>
              </a:cxn>
              <a:cxn ang="0">
                <a:pos x="connsiteX6086" y="connsiteY6086"/>
              </a:cxn>
              <a:cxn ang="0">
                <a:pos x="connsiteX6087" y="connsiteY6087"/>
              </a:cxn>
              <a:cxn ang="0">
                <a:pos x="connsiteX6088" y="connsiteY6088"/>
              </a:cxn>
              <a:cxn ang="0">
                <a:pos x="connsiteX6089" y="connsiteY6089"/>
              </a:cxn>
              <a:cxn ang="0">
                <a:pos x="connsiteX6090" y="connsiteY6090"/>
              </a:cxn>
              <a:cxn ang="0">
                <a:pos x="connsiteX6091" y="connsiteY6091"/>
              </a:cxn>
              <a:cxn ang="0">
                <a:pos x="connsiteX6092" y="connsiteY6092"/>
              </a:cxn>
              <a:cxn ang="0">
                <a:pos x="connsiteX6093" y="connsiteY6093"/>
              </a:cxn>
              <a:cxn ang="0">
                <a:pos x="connsiteX6094" y="connsiteY6094"/>
              </a:cxn>
              <a:cxn ang="0">
                <a:pos x="connsiteX6095" y="connsiteY6095"/>
              </a:cxn>
              <a:cxn ang="0">
                <a:pos x="connsiteX6096" y="connsiteY6096"/>
              </a:cxn>
              <a:cxn ang="0">
                <a:pos x="connsiteX6097" y="connsiteY6097"/>
              </a:cxn>
              <a:cxn ang="0">
                <a:pos x="connsiteX6098" y="connsiteY6098"/>
              </a:cxn>
              <a:cxn ang="0">
                <a:pos x="connsiteX6099" y="connsiteY6099"/>
              </a:cxn>
              <a:cxn ang="0">
                <a:pos x="connsiteX6100" y="connsiteY6100"/>
              </a:cxn>
              <a:cxn ang="0">
                <a:pos x="connsiteX6101" y="connsiteY6101"/>
              </a:cxn>
              <a:cxn ang="0">
                <a:pos x="connsiteX6102" y="connsiteY6102"/>
              </a:cxn>
              <a:cxn ang="0">
                <a:pos x="connsiteX6103" y="connsiteY6103"/>
              </a:cxn>
              <a:cxn ang="0">
                <a:pos x="connsiteX6104" y="connsiteY6104"/>
              </a:cxn>
              <a:cxn ang="0">
                <a:pos x="connsiteX6105" y="connsiteY6105"/>
              </a:cxn>
              <a:cxn ang="0">
                <a:pos x="connsiteX6106" y="connsiteY6106"/>
              </a:cxn>
              <a:cxn ang="0">
                <a:pos x="connsiteX6107" y="connsiteY6107"/>
              </a:cxn>
              <a:cxn ang="0">
                <a:pos x="connsiteX6108" y="connsiteY6108"/>
              </a:cxn>
              <a:cxn ang="0">
                <a:pos x="connsiteX6109" y="connsiteY6109"/>
              </a:cxn>
              <a:cxn ang="0">
                <a:pos x="connsiteX6110" y="connsiteY6110"/>
              </a:cxn>
              <a:cxn ang="0">
                <a:pos x="connsiteX6111" y="connsiteY6111"/>
              </a:cxn>
              <a:cxn ang="0">
                <a:pos x="connsiteX6112" y="connsiteY6112"/>
              </a:cxn>
              <a:cxn ang="0">
                <a:pos x="connsiteX6113" y="connsiteY6113"/>
              </a:cxn>
              <a:cxn ang="0">
                <a:pos x="connsiteX6114" y="connsiteY6114"/>
              </a:cxn>
              <a:cxn ang="0">
                <a:pos x="connsiteX6115" y="connsiteY6115"/>
              </a:cxn>
              <a:cxn ang="0">
                <a:pos x="connsiteX6116" y="connsiteY6116"/>
              </a:cxn>
              <a:cxn ang="0">
                <a:pos x="connsiteX6117" y="connsiteY6117"/>
              </a:cxn>
              <a:cxn ang="0">
                <a:pos x="connsiteX6118" y="connsiteY6118"/>
              </a:cxn>
              <a:cxn ang="0">
                <a:pos x="connsiteX6119" y="connsiteY6119"/>
              </a:cxn>
              <a:cxn ang="0">
                <a:pos x="connsiteX6120" y="connsiteY6120"/>
              </a:cxn>
              <a:cxn ang="0">
                <a:pos x="connsiteX6121" y="connsiteY6121"/>
              </a:cxn>
              <a:cxn ang="0">
                <a:pos x="connsiteX6122" y="connsiteY6122"/>
              </a:cxn>
              <a:cxn ang="0">
                <a:pos x="connsiteX6123" y="connsiteY6123"/>
              </a:cxn>
              <a:cxn ang="0">
                <a:pos x="connsiteX6124" y="connsiteY6124"/>
              </a:cxn>
              <a:cxn ang="0">
                <a:pos x="connsiteX6125" y="connsiteY6125"/>
              </a:cxn>
              <a:cxn ang="0">
                <a:pos x="connsiteX6126" y="connsiteY6126"/>
              </a:cxn>
              <a:cxn ang="0">
                <a:pos x="connsiteX6127" y="connsiteY6127"/>
              </a:cxn>
              <a:cxn ang="0">
                <a:pos x="connsiteX6128" y="connsiteY6128"/>
              </a:cxn>
              <a:cxn ang="0">
                <a:pos x="connsiteX6129" y="connsiteY6129"/>
              </a:cxn>
              <a:cxn ang="0">
                <a:pos x="connsiteX6130" y="connsiteY6130"/>
              </a:cxn>
              <a:cxn ang="0">
                <a:pos x="connsiteX6131" y="connsiteY6131"/>
              </a:cxn>
              <a:cxn ang="0">
                <a:pos x="connsiteX6132" y="connsiteY6132"/>
              </a:cxn>
              <a:cxn ang="0">
                <a:pos x="connsiteX6133" y="connsiteY6133"/>
              </a:cxn>
              <a:cxn ang="0">
                <a:pos x="connsiteX6134" y="connsiteY6134"/>
              </a:cxn>
              <a:cxn ang="0">
                <a:pos x="connsiteX6135" y="connsiteY6135"/>
              </a:cxn>
              <a:cxn ang="0">
                <a:pos x="connsiteX6136" y="connsiteY6136"/>
              </a:cxn>
              <a:cxn ang="0">
                <a:pos x="connsiteX6137" y="connsiteY6137"/>
              </a:cxn>
              <a:cxn ang="0">
                <a:pos x="connsiteX6138" y="connsiteY6138"/>
              </a:cxn>
              <a:cxn ang="0">
                <a:pos x="connsiteX6139" y="connsiteY6139"/>
              </a:cxn>
              <a:cxn ang="0">
                <a:pos x="connsiteX6140" y="connsiteY6140"/>
              </a:cxn>
              <a:cxn ang="0">
                <a:pos x="connsiteX6141" y="connsiteY6141"/>
              </a:cxn>
              <a:cxn ang="0">
                <a:pos x="connsiteX6142" y="connsiteY6142"/>
              </a:cxn>
              <a:cxn ang="0">
                <a:pos x="connsiteX6143" y="connsiteY6143"/>
              </a:cxn>
              <a:cxn ang="0">
                <a:pos x="connsiteX6144" y="connsiteY6144"/>
              </a:cxn>
              <a:cxn ang="0">
                <a:pos x="connsiteX6145" y="connsiteY6145"/>
              </a:cxn>
              <a:cxn ang="0">
                <a:pos x="connsiteX6146" y="connsiteY6146"/>
              </a:cxn>
              <a:cxn ang="0">
                <a:pos x="connsiteX6147" y="connsiteY6147"/>
              </a:cxn>
              <a:cxn ang="0">
                <a:pos x="connsiteX6148" y="connsiteY6148"/>
              </a:cxn>
              <a:cxn ang="0">
                <a:pos x="connsiteX6149" y="connsiteY6149"/>
              </a:cxn>
              <a:cxn ang="0">
                <a:pos x="connsiteX6150" y="connsiteY6150"/>
              </a:cxn>
              <a:cxn ang="0">
                <a:pos x="connsiteX6151" y="connsiteY6151"/>
              </a:cxn>
              <a:cxn ang="0">
                <a:pos x="connsiteX6152" y="connsiteY6152"/>
              </a:cxn>
              <a:cxn ang="0">
                <a:pos x="connsiteX6153" y="connsiteY6153"/>
              </a:cxn>
              <a:cxn ang="0">
                <a:pos x="connsiteX6154" y="connsiteY6154"/>
              </a:cxn>
              <a:cxn ang="0">
                <a:pos x="connsiteX6155" y="connsiteY6155"/>
              </a:cxn>
              <a:cxn ang="0">
                <a:pos x="connsiteX6156" y="connsiteY6156"/>
              </a:cxn>
              <a:cxn ang="0">
                <a:pos x="connsiteX6157" y="connsiteY6157"/>
              </a:cxn>
              <a:cxn ang="0">
                <a:pos x="connsiteX6158" y="connsiteY6158"/>
              </a:cxn>
              <a:cxn ang="0">
                <a:pos x="connsiteX6159" y="connsiteY6159"/>
              </a:cxn>
              <a:cxn ang="0">
                <a:pos x="connsiteX6160" y="connsiteY6160"/>
              </a:cxn>
              <a:cxn ang="0">
                <a:pos x="connsiteX6161" y="connsiteY6161"/>
              </a:cxn>
              <a:cxn ang="0">
                <a:pos x="connsiteX6162" y="connsiteY6162"/>
              </a:cxn>
              <a:cxn ang="0">
                <a:pos x="connsiteX6163" y="connsiteY6163"/>
              </a:cxn>
              <a:cxn ang="0">
                <a:pos x="connsiteX6164" y="connsiteY6164"/>
              </a:cxn>
              <a:cxn ang="0">
                <a:pos x="connsiteX6165" y="connsiteY6165"/>
              </a:cxn>
              <a:cxn ang="0">
                <a:pos x="connsiteX6166" y="connsiteY6166"/>
              </a:cxn>
              <a:cxn ang="0">
                <a:pos x="connsiteX6167" y="connsiteY6167"/>
              </a:cxn>
              <a:cxn ang="0">
                <a:pos x="connsiteX6168" y="connsiteY6168"/>
              </a:cxn>
              <a:cxn ang="0">
                <a:pos x="connsiteX6169" y="connsiteY6169"/>
              </a:cxn>
              <a:cxn ang="0">
                <a:pos x="connsiteX6170" y="connsiteY6170"/>
              </a:cxn>
              <a:cxn ang="0">
                <a:pos x="connsiteX6171" y="connsiteY6171"/>
              </a:cxn>
              <a:cxn ang="0">
                <a:pos x="connsiteX6172" y="connsiteY6172"/>
              </a:cxn>
              <a:cxn ang="0">
                <a:pos x="connsiteX6173" y="connsiteY6173"/>
              </a:cxn>
              <a:cxn ang="0">
                <a:pos x="connsiteX6174" y="connsiteY6174"/>
              </a:cxn>
              <a:cxn ang="0">
                <a:pos x="connsiteX6175" y="connsiteY6175"/>
              </a:cxn>
              <a:cxn ang="0">
                <a:pos x="connsiteX6176" y="connsiteY6176"/>
              </a:cxn>
              <a:cxn ang="0">
                <a:pos x="connsiteX6177" y="connsiteY6177"/>
              </a:cxn>
              <a:cxn ang="0">
                <a:pos x="connsiteX6178" y="connsiteY6178"/>
              </a:cxn>
              <a:cxn ang="0">
                <a:pos x="connsiteX6179" y="connsiteY6179"/>
              </a:cxn>
              <a:cxn ang="0">
                <a:pos x="connsiteX6180" y="connsiteY6180"/>
              </a:cxn>
              <a:cxn ang="0">
                <a:pos x="connsiteX6181" y="connsiteY6181"/>
              </a:cxn>
              <a:cxn ang="0">
                <a:pos x="connsiteX6182" y="connsiteY6182"/>
              </a:cxn>
              <a:cxn ang="0">
                <a:pos x="connsiteX6183" y="connsiteY6183"/>
              </a:cxn>
              <a:cxn ang="0">
                <a:pos x="connsiteX6184" y="connsiteY6184"/>
              </a:cxn>
              <a:cxn ang="0">
                <a:pos x="connsiteX6185" y="connsiteY6185"/>
              </a:cxn>
              <a:cxn ang="0">
                <a:pos x="connsiteX6186" y="connsiteY6186"/>
              </a:cxn>
              <a:cxn ang="0">
                <a:pos x="connsiteX6187" y="connsiteY6187"/>
              </a:cxn>
              <a:cxn ang="0">
                <a:pos x="connsiteX6188" y="connsiteY6188"/>
              </a:cxn>
              <a:cxn ang="0">
                <a:pos x="connsiteX6189" y="connsiteY6189"/>
              </a:cxn>
              <a:cxn ang="0">
                <a:pos x="connsiteX6190" y="connsiteY6190"/>
              </a:cxn>
              <a:cxn ang="0">
                <a:pos x="connsiteX6191" y="connsiteY6191"/>
              </a:cxn>
              <a:cxn ang="0">
                <a:pos x="connsiteX6192" y="connsiteY6192"/>
              </a:cxn>
              <a:cxn ang="0">
                <a:pos x="connsiteX6193" y="connsiteY6193"/>
              </a:cxn>
              <a:cxn ang="0">
                <a:pos x="connsiteX6194" y="connsiteY6194"/>
              </a:cxn>
              <a:cxn ang="0">
                <a:pos x="connsiteX6195" y="connsiteY6195"/>
              </a:cxn>
              <a:cxn ang="0">
                <a:pos x="connsiteX6196" y="connsiteY6196"/>
              </a:cxn>
              <a:cxn ang="0">
                <a:pos x="connsiteX6197" y="connsiteY6197"/>
              </a:cxn>
              <a:cxn ang="0">
                <a:pos x="connsiteX6198" y="connsiteY6198"/>
              </a:cxn>
              <a:cxn ang="0">
                <a:pos x="connsiteX6199" y="connsiteY6199"/>
              </a:cxn>
              <a:cxn ang="0">
                <a:pos x="connsiteX6200" y="connsiteY6200"/>
              </a:cxn>
              <a:cxn ang="0">
                <a:pos x="connsiteX6201" y="connsiteY6201"/>
              </a:cxn>
              <a:cxn ang="0">
                <a:pos x="connsiteX6202" y="connsiteY6202"/>
              </a:cxn>
              <a:cxn ang="0">
                <a:pos x="connsiteX6203" y="connsiteY6203"/>
              </a:cxn>
              <a:cxn ang="0">
                <a:pos x="connsiteX6204" y="connsiteY6204"/>
              </a:cxn>
              <a:cxn ang="0">
                <a:pos x="connsiteX6205" y="connsiteY6205"/>
              </a:cxn>
              <a:cxn ang="0">
                <a:pos x="connsiteX6206" y="connsiteY6206"/>
              </a:cxn>
              <a:cxn ang="0">
                <a:pos x="connsiteX6207" y="connsiteY6207"/>
              </a:cxn>
              <a:cxn ang="0">
                <a:pos x="connsiteX6208" y="connsiteY6208"/>
              </a:cxn>
              <a:cxn ang="0">
                <a:pos x="connsiteX6209" y="connsiteY6209"/>
              </a:cxn>
              <a:cxn ang="0">
                <a:pos x="connsiteX6210" y="connsiteY6210"/>
              </a:cxn>
              <a:cxn ang="0">
                <a:pos x="connsiteX6211" y="connsiteY6211"/>
              </a:cxn>
              <a:cxn ang="0">
                <a:pos x="connsiteX6212" y="connsiteY6212"/>
              </a:cxn>
              <a:cxn ang="0">
                <a:pos x="connsiteX6213" y="connsiteY6213"/>
              </a:cxn>
              <a:cxn ang="0">
                <a:pos x="connsiteX6214" y="connsiteY6214"/>
              </a:cxn>
              <a:cxn ang="0">
                <a:pos x="connsiteX6215" y="connsiteY6215"/>
              </a:cxn>
              <a:cxn ang="0">
                <a:pos x="connsiteX6216" y="connsiteY6216"/>
              </a:cxn>
              <a:cxn ang="0">
                <a:pos x="connsiteX6217" y="connsiteY6217"/>
              </a:cxn>
              <a:cxn ang="0">
                <a:pos x="connsiteX6218" y="connsiteY6218"/>
              </a:cxn>
              <a:cxn ang="0">
                <a:pos x="connsiteX6219" y="connsiteY6219"/>
              </a:cxn>
              <a:cxn ang="0">
                <a:pos x="connsiteX6220" y="connsiteY6220"/>
              </a:cxn>
              <a:cxn ang="0">
                <a:pos x="connsiteX6221" y="connsiteY6221"/>
              </a:cxn>
              <a:cxn ang="0">
                <a:pos x="connsiteX6222" y="connsiteY6222"/>
              </a:cxn>
              <a:cxn ang="0">
                <a:pos x="connsiteX6223" y="connsiteY6223"/>
              </a:cxn>
              <a:cxn ang="0">
                <a:pos x="connsiteX6224" y="connsiteY6224"/>
              </a:cxn>
              <a:cxn ang="0">
                <a:pos x="connsiteX6225" y="connsiteY6225"/>
              </a:cxn>
              <a:cxn ang="0">
                <a:pos x="connsiteX6226" y="connsiteY6226"/>
              </a:cxn>
              <a:cxn ang="0">
                <a:pos x="connsiteX6227" y="connsiteY6227"/>
              </a:cxn>
              <a:cxn ang="0">
                <a:pos x="connsiteX6228" y="connsiteY6228"/>
              </a:cxn>
              <a:cxn ang="0">
                <a:pos x="connsiteX6229" y="connsiteY6229"/>
              </a:cxn>
              <a:cxn ang="0">
                <a:pos x="connsiteX6230" y="connsiteY6230"/>
              </a:cxn>
              <a:cxn ang="0">
                <a:pos x="connsiteX6231" y="connsiteY6231"/>
              </a:cxn>
              <a:cxn ang="0">
                <a:pos x="connsiteX6232" y="connsiteY6232"/>
              </a:cxn>
              <a:cxn ang="0">
                <a:pos x="connsiteX6233" y="connsiteY6233"/>
              </a:cxn>
              <a:cxn ang="0">
                <a:pos x="connsiteX6234" y="connsiteY6234"/>
              </a:cxn>
              <a:cxn ang="0">
                <a:pos x="connsiteX6235" y="connsiteY6235"/>
              </a:cxn>
              <a:cxn ang="0">
                <a:pos x="connsiteX6236" y="connsiteY6236"/>
              </a:cxn>
              <a:cxn ang="0">
                <a:pos x="connsiteX6237" y="connsiteY6237"/>
              </a:cxn>
              <a:cxn ang="0">
                <a:pos x="connsiteX6238" y="connsiteY6238"/>
              </a:cxn>
              <a:cxn ang="0">
                <a:pos x="connsiteX6239" y="connsiteY6239"/>
              </a:cxn>
              <a:cxn ang="0">
                <a:pos x="connsiteX6240" y="connsiteY6240"/>
              </a:cxn>
              <a:cxn ang="0">
                <a:pos x="connsiteX6241" y="connsiteY6241"/>
              </a:cxn>
              <a:cxn ang="0">
                <a:pos x="connsiteX6242" y="connsiteY6242"/>
              </a:cxn>
              <a:cxn ang="0">
                <a:pos x="connsiteX6243" y="connsiteY6243"/>
              </a:cxn>
              <a:cxn ang="0">
                <a:pos x="connsiteX6244" y="connsiteY6244"/>
              </a:cxn>
              <a:cxn ang="0">
                <a:pos x="connsiteX6245" y="connsiteY6245"/>
              </a:cxn>
              <a:cxn ang="0">
                <a:pos x="connsiteX6246" y="connsiteY6246"/>
              </a:cxn>
              <a:cxn ang="0">
                <a:pos x="connsiteX6247" y="connsiteY6247"/>
              </a:cxn>
              <a:cxn ang="0">
                <a:pos x="connsiteX6248" y="connsiteY6248"/>
              </a:cxn>
              <a:cxn ang="0">
                <a:pos x="connsiteX6249" y="connsiteY6249"/>
              </a:cxn>
              <a:cxn ang="0">
                <a:pos x="connsiteX6250" y="connsiteY6250"/>
              </a:cxn>
              <a:cxn ang="0">
                <a:pos x="connsiteX6251" y="connsiteY6251"/>
              </a:cxn>
              <a:cxn ang="0">
                <a:pos x="connsiteX6252" y="connsiteY6252"/>
              </a:cxn>
              <a:cxn ang="0">
                <a:pos x="connsiteX6253" y="connsiteY6253"/>
              </a:cxn>
              <a:cxn ang="0">
                <a:pos x="connsiteX6254" y="connsiteY6254"/>
              </a:cxn>
              <a:cxn ang="0">
                <a:pos x="connsiteX6255" y="connsiteY6255"/>
              </a:cxn>
              <a:cxn ang="0">
                <a:pos x="connsiteX6256" y="connsiteY6256"/>
              </a:cxn>
              <a:cxn ang="0">
                <a:pos x="connsiteX6257" y="connsiteY6257"/>
              </a:cxn>
              <a:cxn ang="0">
                <a:pos x="connsiteX6258" y="connsiteY6258"/>
              </a:cxn>
              <a:cxn ang="0">
                <a:pos x="connsiteX6259" y="connsiteY6259"/>
              </a:cxn>
              <a:cxn ang="0">
                <a:pos x="connsiteX6260" y="connsiteY6260"/>
              </a:cxn>
              <a:cxn ang="0">
                <a:pos x="connsiteX6261" y="connsiteY6261"/>
              </a:cxn>
              <a:cxn ang="0">
                <a:pos x="connsiteX6262" y="connsiteY6262"/>
              </a:cxn>
              <a:cxn ang="0">
                <a:pos x="connsiteX6263" y="connsiteY6263"/>
              </a:cxn>
              <a:cxn ang="0">
                <a:pos x="connsiteX6264" y="connsiteY6264"/>
              </a:cxn>
              <a:cxn ang="0">
                <a:pos x="connsiteX6265" y="connsiteY6265"/>
              </a:cxn>
              <a:cxn ang="0">
                <a:pos x="connsiteX6266" y="connsiteY6266"/>
              </a:cxn>
              <a:cxn ang="0">
                <a:pos x="connsiteX6267" y="connsiteY6267"/>
              </a:cxn>
              <a:cxn ang="0">
                <a:pos x="connsiteX6268" y="connsiteY6268"/>
              </a:cxn>
              <a:cxn ang="0">
                <a:pos x="connsiteX6269" y="connsiteY6269"/>
              </a:cxn>
              <a:cxn ang="0">
                <a:pos x="connsiteX6270" y="connsiteY6270"/>
              </a:cxn>
              <a:cxn ang="0">
                <a:pos x="connsiteX6271" y="connsiteY6271"/>
              </a:cxn>
              <a:cxn ang="0">
                <a:pos x="connsiteX6272" y="connsiteY6272"/>
              </a:cxn>
              <a:cxn ang="0">
                <a:pos x="connsiteX6273" y="connsiteY6273"/>
              </a:cxn>
              <a:cxn ang="0">
                <a:pos x="connsiteX6274" y="connsiteY6274"/>
              </a:cxn>
              <a:cxn ang="0">
                <a:pos x="connsiteX6275" y="connsiteY6275"/>
              </a:cxn>
              <a:cxn ang="0">
                <a:pos x="connsiteX6276" y="connsiteY6276"/>
              </a:cxn>
              <a:cxn ang="0">
                <a:pos x="connsiteX6277" y="connsiteY6277"/>
              </a:cxn>
              <a:cxn ang="0">
                <a:pos x="connsiteX6278" y="connsiteY6278"/>
              </a:cxn>
              <a:cxn ang="0">
                <a:pos x="connsiteX6279" y="connsiteY6279"/>
              </a:cxn>
              <a:cxn ang="0">
                <a:pos x="connsiteX6280" y="connsiteY6280"/>
              </a:cxn>
              <a:cxn ang="0">
                <a:pos x="connsiteX6281" y="connsiteY6281"/>
              </a:cxn>
              <a:cxn ang="0">
                <a:pos x="connsiteX6282" y="connsiteY6282"/>
              </a:cxn>
              <a:cxn ang="0">
                <a:pos x="connsiteX6283" y="connsiteY6283"/>
              </a:cxn>
              <a:cxn ang="0">
                <a:pos x="connsiteX6284" y="connsiteY6284"/>
              </a:cxn>
              <a:cxn ang="0">
                <a:pos x="connsiteX6285" y="connsiteY6285"/>
              </a:cxn>
              <a:cxn ang="0">
                <a:pos x="connsiteX6286" y="connsiteY6286"/>
              </a:cxn>
              <a:cxn ang="0">
                <a:pos x="connsiteX6287" y="connsiteY6287"/>
              </a:cxn>
              <a:cxn ang="0">
                <a:pos x="connsiteX6288" y="connsiteY6288"/>
              </a:cxn>
              <a:cxn ang="0">
                <a:pos x="connsiteX6289" y="connsiteY6289"/>
              </a:cxn>
              <a:cxn ang="0">
                <a:pos x="connsiteX6290" y="connsiteY6290"/>
              </a:cxn>
              <a:cxn ang="0">
                <a:pos x="connsiteX6291" y="connsiteY6291"/>
              </a:cxn>
              <a:cxn ang="0">
                <a:pos x="connsiteX6292" y="connsiteY6292"/>
              </a:cxn>
              <a:cxn ang="0">
                <a:pos x="connsiteX6293" y="connsiteY6293"/>
              </a:cxn>
              <a:cxn ang="0">
                <a:pos x="connsiteX6294" y="connsiteY6294"/>
              </a:cxn>
              <a:cxn ang="0">
                <a:pos x="connsiteX6295" y="connsiteY6295"/>
              </a:cxn>
              <a:cxn ang="0">
                <a:pos x="connsiteX6296" y="connsiteY6296"/>
              </a:cxn>
              <a:cxn ang="0">
                <a:pos x="connsiteX6297" y="connsiteY6297"/>
              </a:cxn>
              <a:cxn ang="0">
                <a:pos x="connsiteX6298" y="connsiteY6298"/>
              </a:cxn>
              <a:cxn ang="0">
                <a:pos x="connsiteX6299" y="connsiteY6299"/>
              </a:cxn>
              <a:cxn ang="0">
                <a:pos x="connsiteX6300" y="connsiteY6300"/>
              </a:cxn>
              <a:cxn ang="0">
                <a:pos x="connsiteX6301" y="connsiteY6301"/>
              </a:cxn>
              <a:cxn ang="0">
                <a:pos x="connsiteX6302" y="connsiteY6302"/>
              </a:cxn>
              <a:cxn ang="0">
                <a:pos x="connsiteX6303" y="connsiteY6303"/>
              </a:cxn>
              <a:cxn ang="0">
                <a:pos x="connsiteX6304" y="connsiteY6304"/>
              </a:cxn>
              <a:cxn ang="0">
                <a:pos x="connsiteX6305" y="connsiteY6305"/>
              </a:cxn>
              <a:cxn ang="0">
                <a:pos x="connsiteX6306" y="connsiteY6306"/>
              </a:cxn>
              <a:cxn ang="0">
                <a:pos x="connsiteX6307" y="connsiteY6307"/>
              </a:cxn>
              <a:cxn ang="0">
                <a:pos x="connsiteX6308" y="connsiteY6308"/>
              </a:cxn>
              <a:cxn ang="0">
                <a:pos x="connsiteX6309" y="connsiteY6309"/>
              </a:cxn>
              <a:cxn ang="0">
                <a:pos x="connsiteX6310" y="connsiteY6310"/>
              </a:cxn>
              <a:cxn ang="0">
                <a:pos x="connsiteX6311" y="connsiteY6311"/>
              </a:cxn>
              <a:cxn ang="0">
                <a:pos x="connsiteX6312" y="connsiteY6312"/>
              </a:cxn>
              <a:cxn ang="0">
                <a:pos x="connsiteX6313" y="connsiteY6313"/>
              </a:cxn>
              <a:cxn ang="0">
                <a:pos x="connsiteX6314" y="connsiteY6314"/>
              </a:cxn>
              <a:cxn ang="0">
                <a:pos x="connsiteX6315" y="connsiteY6315"/>
              </a:cxn>
              <a:cxn ang="0">
                <a:pos x="connsiteX6316" y="connsiteY6316"/>
              </a:cxn>
              <a:cxn ang="0">
                <a:pos x="connsiteX6317" y="connsiteY6317"/>
              </a:cxn>
              <a:cxn ang="0">
                <a:pos x="connsiteX6318" y="connsiteY6318"/>
              </a:cxn>
              <a:cxn ang="0">
                <a:pos x="connsiteX6319" y="connsiteY6319"/>
              </a:cxn>
              <a:cxn ang="0">
                <a:pos x="connsiteX6320" y="connsiteY6320"/>
              </a:cxn>
              <a:cxn ang="0">
                <a:pos x="connsiteX6321" y="connsiteY6321"/>
              </a:cxn>
              <a:cxn ang="0">
                <a:pos x="connsiteX6322" y="connsiteY6322"/>
              </a:cxn>
              <a:cxn ang="0">
                <a:pos x="connsiteX6323" y="connsiteY6323"/>
              </a:cxn>
              <a:cxn ang="0">
                <a:pos x="connsiteX6324" y="connsiteY6324"/>
              </a:cxn>
              <a:cxn ang="0">
                <a:pos x="connsiteX6325" y="connsiteY6325"/>
              </a:cxn>
              <a:cxn ang="0">
                <a:pos x="connsiteX6326" y="connsiteY6326"/>
              </a:cxn>
              <a:cxn ang="0">
                <a:pos x="connsiteX6327" y="connsiteY6327"/>
              </a:cxn>
              <a:cxn ang="0">
                <a:pos x="connsiteX6328" y="connsiteY6328"/>
              </a:cxn>
              <a:cxn ang="0">
                <a:pos x="connsiteX6329" y="connsiteY6329"/>
              </a:cxn>
              <a:cxn ang="0">
                <a:pos x="connsiteX6330" y="connsiteY6330"/>
              </a:cxn>
              <a:cxn ang="0">
                <a:pos x="connsiteX6331" y="connsiteY6331"/>
              </a:cxn>
              <a:cxn ang="0">
                <a:pos x="connsiteX6332" y="connsiteY6332"/>
              </a:cxn>
              <a:cxn ang="0">
                <a:pos x="connsiteX6333" y="connsiteY6333"/>
              </a:cxn>
              <a:cxn ang="0">
                <a:pos x="connsiteX6334" y="connsiteY6334"/>
              </a:cxn>
              <a:cxn ang="0">
                <a:pos x="connsiteX6335" y="connsiteY6335"/>
              </a:cxn>
              <a:cxn ang="0">
                <a:pos x="connsiteX6336" y="connsiteY6336"/>
              </a:cxn>
              <a:cxn ang="0">
                <a:pos x="connsiteX6337" y="connsiteY6337"/>
              </a:cxn>
              <a:cxn ang="0">
                <a:pos x="connsiteX6338" y="connsiteY6338"/>
              </a:cxn>
              <a:cxn ang="0">
                <a:pos x="connsiteX6339" y="connsiteY6339"/>
              </a:cxn>
              <a:cxn ang="0">
                <a:pos x="connsiteX6340" y="connsiteY6340"/>
              </a:cxn>
              <a:cxn ang="0">
                <a:pos x="connsiteX6341" y="connsiteY6341"/>
              </a:cxn>
              <a:cxn ang="0">
                <a:pos x="connsiteX6342" y="connsiteY6342"/>
              </a:cxn>
              <a:cxn ang="0">
                <a:pos x="connsiteX6343" y="connsiteY6343"/>
              </a:cxn>
              <a:cxn ang="0">
                <a:pos x="connsiteX6344" y="connsiteY6344"/>
              </a:cxn>
              <a:cxn ang="0">
                <a:pos x="connsiteX6345" y="connsiteY6345"/>
              </a:cxn>
              <a:cxn ang="0">
                <a:pos x="connsiteX6346" y="connsiteY6346"/>
              </a:cxn>
              <a:cxn ang="0">
                <a:pos x="connsiteX6347" y="connsiteY6347"/>
              </a:cxn>
              <a:cxn ang="0">
                <a:pos x="connsiteX6348" y="connsiteY6348"/>
              </a:cxn>
              <a:cxn ang="0">
                <a:pos x="connsiteX6349" y="connsiteY6349"/>
              </a:cxn>
              <a:cxn ang="0">
                <a:pos x="connsiteX6350" y="connsiteY6350"/>
              </a:cxn>
              <a:cxn ang="0">
                <a:pos x="connsiteX6351" y="connsiteY6351"/>
              </a:cxn>
              <a:cxn ang="0">
                <a:pos x="connsiteX6352" y="connsiteY6352"/>
              </a:cxn>
              <a:cxn ang="0">
                <a:pos x="connsiteX6353" y="connsiteY6353"/>
              </a:cxn>
              <a:cxn ang="0">
                <a:pos x="connsiteX6354" y="connsiteY6354"/>
              </a:cxn>
              <a:cxn ang="0">
                <a:pos x="connsiteX6355" y="connsiteY6355"/>
              </a:cxn>
              <a:cxn ang="0">
                <a:pos x="connsiteX6356" y="connsiteY6356"/>
              </a:cxn>
              <a:cxn ang="0">
                <a:pos x="connsiteX6357" y="connsiteY6357"/>
              </a:cxn>
              <a:cxn ang="0">
                <a:pos x="connsiteX6358" y="connsiteY6358"/>
              </a:cxn>
              <a:cxn ang="0">
                <a:pos x="connsiteX6359" y="connsiteY6359"/>
              </a:cxn>
              <a:cxn ang="0">
                <a:pos x="connsiteX6360" y="connsiteY6360"/>
              </a:cxn>
              <a:cxn ang="0">
                <a:pos x="connsiteX6361" y="connsiteY6361"/>
              </a:cxn>
              <a:cxn ang="0">
                <a:pos x="connsiteX6362" y="connsiteY6362"/>
              </a:cxn>
              <a:cxn ang="0">
                <a:pos x="connsiteX6363" y="connsiteY6363"/>
              </a:cxn>
              <a:cxn ang="0">
                <a:pos x="connsiteX6364" y="connsiteY6364"/>
              </a:cxn>
              <a:cxn ang="0">
                <a:pos x="connsiteX6365" y="connsiteY6365"/>
              </a:cxn>
              <a:cxn ang="0">
                <a:pos x="connsiteX6366" y="connsiteY6366"/>
              </a:cxn>
              <a:cxn ang="0">
                <a:pos x="connsiteX6367" y="connsiteY6367"/>
              </a:cxn>
              <a:cxn ang="0">
                <a:pos x="connsiteX6368" y="connsiteY6368"/>
              </a:cxn>
              <a:cxn ang="0">
                <a:pos x="connsiteX6369" y="connsiteY6369"/>
              </a:cxn>
              <a:cxn ang="0">
                <a:pos x="connsiteX6370" y="connsiteY6370"/>
              </a:cxn>
              <a:cxn ang="0">
                <a:pos x="connsiteX6371" y="connsiteY6371"/>
              </a:cxn>
              <a:cxn ang="0">
                <a:pos x="connsiteX6372" y="connsiteY6372"/>
              </a:cxn>
              <a:cxn ang="0">
                <a:pos x="connsiteX6373" y="connsiteY6373"/>
              </a:cxn>
              <a:cxn ang="0">
                <a:pos x="connsiteX6374" y="connsiteY6374"/>
              </a:cxn>
              <a:cxn ang="0">
                <a:pos x="connsiteX6375" y="connsiteY6375"/>
              </a:cxn>
              <a:cxn ang="0">
                <a:pos x="connsiteX6376" y="connsiteY6376"/>
              </a:cxn>
              <a:cxn ang="0">
                <a:pos x="connsiteX6377" y="connsiteY6377"/>
              </a:cxn>
              <a:cxn ang="0">
                <a:pos x="connsiteX6378" y="connsiteY6378"/>
              </a:cxn>
              <a:cxn ang="0">
                <a:pos x="connsiteX6379" y="connsiteY6379"/>
              </a:cxn>
              <a:cxn ang="0">
                <a:pos x="connsiteX6380" y="connsiteY6380"/>
              </a:cxn>
              <a:cxn ang="0">
                <a:pos x="connsiteX6381" y="connsiteY6381"/>
              </a:cxn>
              <a:cxn ang="0">
                <a:pos x="connsiteX6382" y="connsiteY6382"/>
              </a:cxn>
              <a:cxn ang="0">
                <a:pos x="connsiteX6383" y="connsiteY6383"/>
              </a:cxn>
              <a:cxn ang="0">
                <a:pos x="connsiteX6384" y="connsiteY6384"/>
              </a:cxn>
              <a:cxn ang="0">
                <a:pos x="connsiteX6385" y="connsiteY6385"/>
              </a:cxn>
              <a:cxn ang="0">
                <a:pos x="connsiteX6386" y="connsiteY6386"/>
              </a:cxn>
              <a:cxn ang="0">
                <a:pos x="connsiteX6387" y="connsiteY6387"/>
              </a:cxn>
              <a:cxn ang="0">
                <a:pos x="connsiteX6388" y="connsiteY6388"/>
              </a:cxn>
              <a:cxn ang="0">
                <a:pos x="connsiteX6389" y="connsiteY6389"/>
              </a:cxn>
              <a:cxn ang="0">
                <a:pos x="connsiteX6390" y="connsiteY6390"/>
              </a:cxn>
              <a:cxn ang="0">
                <a:pos x="connsiteX6391" y="connsiteY6391"/>
              </a:cxn>
              <a:cxn ang="0">
                <a:pos x="connsiteX6392" y="connsiteY6392"/>
              </a:cxn>
              <a:cxn ang="0">
                <a:pos x="connsiteX6393" y="connsiteY6393"/>
              </a:cxn>
              <a:cxn ang="0">
                <a:pos x="connsiteX6394" y="connsiteY6394"/>
              </a:cxn>
              <a:cxn ang="0">
                <a:pos x="connsiteX6395" y="connsiteY6395"/>
              </a:cxn>
              <a:cxn ang="0">
                <a:pos x="connsiteX6396" y="connsiteY6396"/>
              </a:cxn>
              <a:cxn ang="0">
                <a:pos x="connsiteX6397" y="connsiteY6397"/>
              </a:cxn>
              <a:cxn ang="0">
                <a:pos x="connsiteX6398" y="connsiteY6398"/>
              </a:cxn>
              <a:cxn ang="0">
                <a:pos x="connsiteX6399" y="connsiteY6399"/>
              </a:cxn>
              <a:cxn ang="0">
                <a:pos x="connsiteX6400" y="connsiteY6400"/>
              </a:cxn>
              <a:cxn ang="0">
                <a:pos x="connsiteX6401" y="connsiteY6401"/>
              </a:cxn>
              <a:cxn ang="0">
                <a:pos x="connsiteX6402" y="connsiteY6402"/>
              </a:cxn>
              <a:cxn ang="0">
                <a:pos x="connsiteX6403" y="connsiteY6403"/>
              </a:cxn>
              <a:cxn ang="0">
                <a:pos x="connsiteX6404" y="connsiteY6404"/>
              </a:cxn>
              <a:cxn ang="0">
                <a:pos x="connsiteX6405" y="connsiteY6405"/>
              </a:cxn>
              <a:cxn ang="0">
                <a:pos x="connsiteX6406" y="connsiteY6406"/>
              </a:cxn>
              <a:cxn ang="0">
                <a:pos x="connsiteX6407" y="connsiteY6407"/>
              </a:cxn>
              <a:cxn ang="0">
                <a:pos x="connsiteX6408" y="connsiteY6408"/>
              </a:cxn>
              <a:cxn ang="0">
                <a:pos x="connsiteX6409" y="connsiteY6409"/>
              </a:cxn>
              <a:cxn ang="0">
                <a:pos x="connsiteX6410" y="connsiteY6410"/>
              </a:cxn>
              <a:cxn ang="0">
                <a:pos x="connsiteX6411" y="connsiteY6411"/>
              </a:cxn>
              <a:cxn ang="0">
                <a:pos x="connsiteX6412" y="connsiteY6412"/>
              </a:cxn>
              <a:cxn ang="0">
                <a:pos x="connsiteX6413" y="connsiteY6413"/>
              </a:cxn>
              <a:cxn ang="0">
                <a:pos x="connsiteX6414" y="connsiteY6414"/>
              </a:cxn>
              <a:cxn ang="0">
                <a:pos x="connsiteX6415" y="connsiteY6415"/>
              </a:cxn>
              <a:cxn ang="0">
                <a:pos x="connsiteX6416" y="connsiteY6416"/>
              </a:cxn>
              <a:cxn ang="0">
                <a:pos x="connsiteX6417" y="connsiteY6417"/>
              </a:cxn>
              <a:cxn ang="0">
                <a:pos x="connsiteX6418" y="connsiteY6418"/>
              </a:cxn>
              <a:cxn ang="0">
                <a:pos x="connsiteX6419" y="connsiteY6419"/>
              </a:cxn>
              <a:cxn ang="0">
                <a:pos x="connsiteX6420" y="connsiteY6420"/>
              </a:cxn>
              <a:cxn ang="0">
                <a:pos x="connsiteX6421" y="connsiteY6421"/>
              </a:cxn>
              <a:cxn ang="0">
                <a:pos x="connsiteX6422" y="connsiteY6422"/>
              </a:cxn>
              <a:cxn ang="0">
                <a:pos x="connsiteX6423" y="connsiteY6423"/>
              </a:cxn>
              <a:cxn ang="0">
                <a:pos x="connsiteX6424" y="connsiteY6424"/>
              </a:cxn>
              <a:cxn ang="0">
                <a:pos x="connsiteX6425" y="connsiteY6425"/>
              </a:cxn>
              <a:cxn ang="0">
                <a:pos x="connsiteX6426" y="connsiteY6426"/>
              </a:cxn>
              <a:cxn ang="0">
                <a:pos x="connsiteX6427" y="connsiteY6427"/>
              </a:cxn>
              <a:cxn ang="0">
                <a:pos x="connsiteX6428" y="connsiteY6428"/>
              </a:cxn>
              <a:cxn ang="0">
                <a:pos x="connsiteX6429" y="connsiteY6429"/>
              </a:cxn>
              <a:cxn ang="0">
                <a:pos x="connsiteX6430" y="connsiteY6430"/>
              </a:cxn>
              <a:cxn ang="0">
                <a:pos x="connsiteX6431" y="connsiteY6431"/>
              </a:cxn>
              <a:cxn ang="0">
                <a:pos x="connsiteX6432" y="connsiteY6432"/>
              </a:cxn>
              <a:cxn ang="0">
                <a:pos x="connsiteX6433" y="connsiteY6433"/>
              </a:cxn>
              <a:cxn ang="0">
                <a:pos x="connsiteX6434" y="connsiteY6434"/>
              </a:cxn>
              <a:cxn ang="0">
                <a:pos x="connsiteX6435" y="connsiteY6435"/>
              </a:cxn>
              <a:cxn ang="0">
                <a:pos x="connsiteX6436" y="connsiteY6436"/>
              </a:cxn>
              <a:cxn ang="0">
                <a:pos x="connsiteX6437" y="connsiteY6437"/>
              </a:cxn>
              <a:cxn ang="0">
                <a:pos x="connsiteX6438" y="connsiteY6438"/>
              </a:cxn>
              <a:cxn ang="0">
                <a:pos x="connsiteX6439" y="connsiteY6439"/>
              </a:cxn>
              <a:cxn ang="0">
                <a:pos x="connsiteX6440" y="connsiteY6440"/>
              </a:cxn>
              <a:cxn ang="0">
                <a:pos x="connsiteX6441" y="connsiteY6441"/>
              </a:cxn>
              <a:cxn ang="0">
                <a:pos x="connsiteX6442" y="connsiteY6442"/>
              </a:cxn>
              <a:cxn ang="0">
                <a:pos x="connsiteX6443" y="connsiteY6443"/>
              </a:cxn>
              <a:cxn ang="0">
                <a:pos x="connsiteX6444" y="connsiteY6444"/>
              </a:cxn>
              <a:cxn ang="0">
                <a:pos x="connsiteX6445" y="connsiteY6445"/>
              </a:cxn>
              <a:cxn ang="0">
                <a:pos x="connsiteX6446" y="connsiteY6446"/>
              </a:cxn>
              <a:cxn ang="0">
                <a:pos x="connsiteX6447" y="connsiteY6447"/>
              </a:cxn>
              <a:cxn ang="0">
                <a:pos x="connsiteX6448" y="connsiteY6448"/>
              </a:cxn>
              <a:cxn ang="0">
                <a:pos x="connsiteX6449" y="connsiteY6449"/>
              </a:cxn>
              <a:cxn ang="0">
                <a:pos x="connsiteX6450" y="connsiteY6450"/>
              </a:cxn>
              <a:cxn ang="0">
                <a:pos x="connsiteX6451" y="connsiteY6451"/>
              </a:cxn>
              <a:cxn ang="0">
                <a:pos x="connsiteX6452" y="connsiteY6452"/>
              </a:cxn>
              <a:cxn ang="0">
                <a:pos x="connsiteX6453" y="connsiteY6453"/>
              </a:cxn>
              <a:cxn ang="0">
                <a:pos x="connsiteX6454" y="connsiteY6454"/>
              </a:cxn>
              <a:cxn ang="0">
                <a:pos x="connsiteX6455" y="connsiteY6455"/>
              </a:cxn>
              <a:cxn ang="0">
                <a:pos x="connsiteX6456" y="connsiteY6456"/>
              </a:cxn>
              <a:cxn ang="0">
                <a:pos x="connsiteX6457" y="connsiteY6457"/>
              </a:cxn>
              <a:cxn ang="0">
                <a:pos x="connsiteX6458" y="connsiteY6458"/>
              </a:cxn>
              <a:cxn ang="0">
                <a:pos x="connsiteX6459" y="connsiteY6459"/>
              </a:cxn>
              <a:cxn ang="0">
                <a:pos x="connsiteX6460" y="connsiteY6460"/>
              </a:cxn>
              <a:cxn ang="0">
                <a:pos x="connsiteX6461" y="connsiteY6461"/>
              </a:cxn>
              <a:cxn ang="0">
                <a:pos x="connsiteX6462" y="connsiteY6462"/>
              </a:cxn>
              <a:cxn ang="0">
                <a:pos x="connsiteX6463" y="connsiteY6463"/>
              </a:cxn>
              <a:cxn ang="0">
                <a:pos x="connsiteX6464" y="connsiteY6464"/>
              </a:cxn>
              <a:cxn ang="0">
                <a:pos x="connsiteX6465" y="connsiteY6465"/>
              </a:cxn>
              <a:cxn ang="0">
                <a:pos x="connsiteX6466" y="connsiteY6466"/>
              </a:cxn>
              <a:cxn ang="0">
                <a:pos x="connsiteX6467" y="connsiteY6467"/>
              </a:cxn>
              <a:cxn ang="0">
                <a:pos x="connsiteX6468" y="connsiteY6468"/>
              </a:cxn>
              <a:cxn ang="0">
                <a:pos x="connsiteX6469" y="connsiteY6469"/>
              </a:cxn>
              <a:cxn ang="0">
                <a:pos x="connsiteX6470" y="connsiteY6470"/>
              </a:cxn>
              <a:cxn ang="0">
                <a:pos x="connsiteX6471" y="connsiteY6471"/>
              </a:cxn>
              <a:cxn ang="0">
                <a:pos x="connsiteX6472" y="connsiteY6472"/>
              </a:cxn>
              <a:cxn ang="0">
                <a:pos x="connsiteX6473" y="connsiteY6473"/>
              </a:cxn>
              <a:cxn ang="0">
                <a:pos x="connsiteX6474" y="connsiteY6474"/>
              </a:cxn>
              <a:cxn ang="0">
                <a:pos x="connsiteX6475" y="connsiteY6475"/>
              </a:cxn>
              <a:cxn ang="0">
                <a:pos x="connsiteX6476" y="connsiteY6476"/>
              </a:cxn>
              <a:cxn ang="0">
                <a:pos x="connsiteX6477" y="connsiteY6477"/>
              </a:cxn>
              <a:cxn ang="0">
                <a:pos x="connsiteX6478" y="connsiteY6478"/>
              </a:cxn>
              <a:cxn ang="0">
                <a:pos x="connsiteX6479" y="connsiteY6479"/>
              </a:cxn>
              <a:cxn ang="0">
                <a:pos x="connsiteX6480" y="connsiteY6480"/>
              </a:cxn>
              <a:cxn ang="0">
                <a:pos x="connsiteX6481" y="connsiteY6481"/>
              </a:cxn>
              <a:cxn ang="0">
                <a:pos x="connsiteX6482" y="connsiteY6482"/>
              </a:cxn>
              <a:cxn ang="0">
                <a:pos x="connsiteX6483" y="connsiteY6483"/>
              </a:cxn>
              <a:cxn ang="0">
                <a:pos x="connsiteX6484" y="connsiteY6484"/>
              </a:cxn>
              <a:cxn ang="0">
                <a:pos x="connsiteX6485" y="connsiteY6485"/>
              </a:cxn>
              <a:cxn ang="0">
                <a:pos x="connsiteX6486" y="connsiteY6486"/>
              </a:cxn>
              <a:cxn ang="0">
                <a:pos x="connsiteX6487" y="connsiteY6487"/>
              </a:cxn>
              <a:cxn ang="0">
                <a:pos x="connsiteX6488" y="connsiteY6488"/>
              </a:cxn>
              <a:cxn ang="0">
                <a:pos x="connsiteX6489" y="connsiteY6489"/>
              </a:cxn>
              <a:cxn ang="0">
                <a:pos x="connsiteX6490" y="connsiteY6490"/>
              </a:cxn>
              <a:cxn ang="0">
                <a:pos x="connsiteX6491" y="connsiteY6491"/>
              </a:cxn>
              <a:cxn ang="0">
                <a:pos x="connsiteX6492" y="connsiteY6492"/>
              </a:cxn>
              <a:cxn ang="0">
                <a:pos x="connsiteX6493" y="connsiteY6493"/>
              </a:cxn>
              <a:cxn ang="0">
                <a:pos x="connsiteX6494" y="connsiteY6494"/>
              </a:cxn>
              <a:cxn ang="0">
                <a:pos x="connsiteX6495" y="connsiteY6495"/>
              </a:cxn>
              <a:cxn ang="0">
                <a:pos x="connsiteX6496" y="connsiteY6496"/>
              </a:cxn>
              <a:cxn ang="0">
                <a:pos x="connsiteX6497" y="connsiteY6497"/>
              </a:cxn>
              <a:cxn ang="0">
                <a:pos x="connsiteX6498" y="connsiteY6498"/>
              </a:cxn>
              <a:cxn ang="0">
                <a:pos x="connsiteX6499" y="connsiteY6499"/>
              </a:cxn>
              <a:cxn ang="0">
                <a:pos x="connsiteX6500" y="connsiteY6500"/>
              </a:cxn>
              <a:cxn ang="0">
                <a:pos x="connsiteX6501" y="connsiteY6501"/>
              </a:cxn>
              <a:cxn ang="0">
                <a:pos x="connsiteX6502" y="connsiteY6502"/>
              </a:cxn>
              <a:cxn ang="0">
                <a:pos x="connsiteX6503" y="connsiteY6503"/>
              </a:cxn>
              <a:cxn ang="0">
                <a:pos x="connsiteX6504" y="connsiteY6504"/>
              </a:cxn>
              <a:cxn ang="0">
                <a:pos x="connsiteX6505" y="connsiteY6505"/>
              </a:cxn>
              <a:cxn ang="0">
                <a:pos x="connsiteX6506" y="connsiteY6506"/>
              </a:cxn>
              <a:cxn ang="0">
                <a:pos x="connsiteX6507" y="connsiteY6507"/>
              </a:cxn>
              <a:cxn ang="0">
                <a:pos x="connsiteX6508" y="connsiteY6508"/>
              </a:cxn>
              <a:cxn ang="0">
                <a:pos x="connsiteX6509" y="connsiteY6509"/>
              </a:cxn>
              <a:cxn ang="0">
                <a:pos x="connsiteX6510" y="connsiteY6510"/>
              </a:cxn>
              <a:cxn ang="0">
                <a:pos x="connsiteX6511" y="connsiteY6511"/>
              </a:cxn>
              <a:cxn ang="0">
                <a:pos x="connsiteX6512" y="connsiteY6512"/>
              </a:cxn>
              <a:cxn ang="0">
                <a:pos x="connsiteX6513" y="connsiteY6513"/>
              </a:cxn>
              <a:cxn ang="0">
                <a:pos x="connsiteX6514" y="connsiteY6514"/>
              </a:cxn>
              <a:cxn ang="0">
                <a:pos x="connsiteX6515" y="connsiteY6515"/>
              </a:cxn>
              <a:cxn ang="0">
                <a:pos x="connsiteX6516" y="connsiteY6516"/>
              </a:cxn>
              <a:cxn ang="0">
                <a:pos x="connsiteX6517" y="connsiteY6517"/>
              </a:cxn>
              <a:cxn ang="0">
                <a:pos x="connsiteX6518" y="connsiteY6518"/>
              </a:cxn>
              <a:cxn ang="0">
                <a:pos x="connsiteX6519" y="connsiteY6519"/>
              </a:cxn>
              <a:cxn ang="0">
                <a:pos x="connsiteX6520" y="connsiteY6520"/>
              </a:cxn>
              <a:cxn ang="0">
                <a:pos x="connsiteX6521" y="connsiteY6521"/>
              </a:cxn>
              <a:cxn ang="0">
                <a:pos x="connsiteX6522" y="connsiteY6522"/>
              </a:cxn>
              <a:cxn ang="0">
                <a:pos x="connsiteX6523" y="connsiteY6523"/>
              </a:cxn>
              <a:cxn ang="0">
                <a:pos x="connsiteX6524" y="connsiteY6524"/>
              </a:cxn>
              <a:cxn ang="0">
                <a:pos x="connsiteX6525" y="connsiteY6525"/>
              </a:cxn>
              <a:cxn ang="0">
                <a:pos x="connsiteX6526" y="connsiteY6526"/>
              </a:cxn>
              <a:cxn ang="0">
                <a:pos x="connsiteX6527" y="connsiteY6527"/>
              </a:cxn>
              <a:cxn ang="0">
                <a:pos x="connsiteX6528" y="connsiteY6528"/>
              </a:cxn>
              <a:cxn ang="0">
                <a:pos x="connsiteX6529" y="connsiteY6529"/>
              </a:cxn>
              <a:cxn ang="0">
                <a:pos x="connsiteX6530" y="connsiteY6530"/>
              </a:cxn>
              <a:cxn ang="0">
                <a:pos x="connsiteX6531" y="connsiteY6531"/>
              </a:cxn>
              <a:cxn ang="0">
                <a:pos x="connsiteX6532" y="connsiteY6532"/>
              </a:cxn>
              <a:cxn ang="0">
                <a:pos x="connsiteX6533" y="connsiteY6533"/>
              </a:cxn>
              <a:cxn ang="0">
                <a:pos x="connsiteX6534" y="connsiteY6534"/>
              </a:cxn>
              <a:cxn ang="0">
                <a:pos x="connsiteX6535" y="connsiteY6535"/>
              </a:cxn>
              <a:cxn ang="0">
                <a:pos x="connsiteX6536" y="connsiteY6536"/>
              </a:cxn>
              <a:cxn ang="0">
                <a:pos x="connsiteX6537" y="connsiteY6537"/>
              </a:cxn>
              <a:cxn ang="0">
                <a:pos x="connsiteX6538" y="connsiteY6538"/>
              </a:cxn>
              <a:cxn ang="0">
                <a:pos x="connsiteX6539" y="connsiteY6539"/>
              </a:cxn>
              <a:cxn ang="0">
                <a:pos x="connsiteX6540" y="connsiteY6540"/>
              </a:cxn>
              <a:cxn ang="0">
                <a:pos x="connsiteX6541" y="connsiteY6541"/>
              </a:cxn>
              <a:cxn ang="0">
                <a:pos x="connsiteX6542" y="connsiteY6542"/>
              </a:cxn>
              <a:cxn ang="0">
                <a:pos x="connsiteX6543" y="connsiteY6543"/>
              </a:cxn>
              <a:cxn ang="0">
                <a:pos x="connsiteX6544" y="connsiteY6544"/>
              </a:cxn>
              <a:cxn ang="0">
                <a:pos x="connsiteX6545" y="connsiteY6545"/>
              </a:cxn>
              <a:cxn ang="0">
                <a:pos x="connsiteX6546" y="connsiteY6546"/>
              </a:cxn>
              <a:cxn ang="0">
                <a:pos x="connsiteX6547" y="connsiteY6547"/>
              </a:cxn>
              <a:cxn ang="0">
                <a:pos x="connsiteX6548" y="connsiteY6548"/>
              </a:cxn>
              <a:cxn ang="0">
                <a:pos x="connsiteX6549" y="connsiteY6549"/>
              </a:cxn>
              <a:cxn ang="0">
                <a:pos x="connsiteX6550" y="connsiteY6550"/>
              </a:cxn>
              <a:cxn ang="0">
                <a:pos x="connsiteX6551" y="connsiteY6551"/>
              </a:cxn>
              <a:cxn ang="0">
                <a:pos x="connsiteX6552" y="connsiteY6552"/>
              </a:cxn>
              <a:cxn ang="0">
                <a:pos x="connsiteX6553" y="connsiteY6553"/>
              </a:cxn>
              <a:cxn ang="0">
                <a:pos x="connsiteX6554" y="connsiteY6554"/>
              </a:cxn>
              <a:cxn ang="0">
                <a:pos x="connsiteX6555" y="connsiteY6555"/>
              </a:cxn>
              <a:cxn ang="0">
                <a:pos x="connsiteX6556" y="connsiteY6556"/>
              </a:cxn>
              <a:cxn ang="0">
                <a:pos x="connsiteX6557" y="connsiteY6557"/>
              </a:cxn>
              <a:cxn ang="0">
                <a:pos x="connsiteX6558" y="connsiteY6558"/>
              </a:cxn>
              <a:cxn ang="0">
                <a:pos x="connsiteX6559" y="connsiteY6559"/>
              </a:cxn>
              <a:cxn ang="0">
                <a:pos x="connsiteX6560" y="connsiteY6560"/>
              </a:cxn>
              <a:cxn ang="0">
                <a:pos x="connsiteX6561" y="connsiteY6561"/>
              </a:cxn>
              <a:cxn ang="0">
                <a:pos x="connsiteX6562" y="connsiteY6562"/>
              </a:cxn>
              <a:cxn ang="0">
                <a:pos x="connsiteX6563" y="connsiteY6563"/>
              </a:cxn>
              <a:cxn ang="0">
                <a:pos x="connsiteX6564" y="connsiteY6564"/>
              </a:cxn>
              <a:cxn ang="0">
                <a:pos x="connsiteX6565" y="connsiteY6565"/>
              </a:cxn>
              <a:cxn ang="0">
                <a:pos x="connsiteX6566" y="connsiteY6566"/>
              </a:cxn>
              <a:cxn ang="0">
                <a:pos x="connsiteX6567" y="connsiteY6567"/>
              </a:cxn>
              <a:cxn ang="0">
                <a:pos x="connsiteX6568" y="connsiteY6568"/>
              </a:cxn>
              <a:cxn ang="0">
                <a:pos x="connsiteX6569" y="connsiteY6569"/>
              </a:cxn>
              <a:cxn ang="0">
                <a:pos x="connsiteX6570" y="connsiteY6570"/>
              </a:cxn>
              <a:cxn ang="0">
                <a:pos x="connsiteX6571" y="connsiteY6571"/>
              </a:cxn>
              <a:cxn ang="0">
                <a:pos x="connsiteX6572" y="connsiteY6572"/>
              </a:cxn>
              <a:cxn ang="0">
                <a:pos x="connsiteX6573" y="connsiteY6573"/>
              </a:cxn>
              <a:cxn ang="0">
                <a:pos x="connsiteX6574" y="connsiteY6574"/>
              </a:cxn>
              <a:cxn ang="0">
                <a:pos x="connsiteX6575" y="connsiteY6575"/>
              </a:cxn>
              <a:cxn ang="0">
                <a:pos x="connsiteX6576" y="connsiteY6576"/>
              </a:cxn>
              <a:cxn ang="0">
                <a:pos x="connsiteX6577" y="connsiteY6577"/>
              </a:cxn>
              <a:cxn ang="0">
                <a:pos x="connsiteX6578" y="connsiteY6578"/>
              </a:cxn>
              <a:cxn ang="0">
                <a:pos x="connsiteX6579" y="connsiteY6579"/>
              </a:cxn>
              <a:cxn ang="0">
                <a:pos x="connsiteX6580" y="connsiteY6580"/>
              </a:cxn>
              <a:cxn ang="0">
                <a:pos x="connsiteX6581" y="connsiteY6581"/>
              </a:cxn>
              <a:cxn ang="0">
                <a:pos x="connsiteX6582" y="connsiteY6582"/>
              </a:cxn>
              <a:cxn ang="0">
                <a:pos x="connsiteX6583" y="connsiteY6583"/>
              </a:cxn>
              <a:cxn ang="0">
                <a:pos x="connsiteX6584" y="connsiteY6584"/>
              </a:cxn>
              <a:cxn ang="0">
                <a:pos x="connsiteX6585" y="connsiteY6585"/>
              </a:cxn>
              <a:cxn ang="0">
                <a:pos x="connsiteX6586" y="connsiteY6586"/>
              </a:cxn>
              <a:cxn ang="0">
                <a:pos x="connsiteX6587" y="connsiteY6587"/>
              </a:cxn>
              <a:cxn ang="0">
                <a:pos x="connsiteX6588" y="connsiteY6588"/>
              </a:cxn>
              <a:cxn ang="0">
                <a:pos x="connsiteX6589" y="connsiteY6589"/>
              </a:cxn>
              <a:cxn ang="0">
                <a:pos x="connsiteX6590" y="connsiteY6590"/>
              </a:cxn>
              <a:cxn ang="0">
                <a:pos x="connsiteX6591" y="connsiteY6591"/>
              </a:cxn>
              <a:cxn ang="0">
                <a:pos x="connsiteX6592" y="connsiteY6592"/>
              </a:cxn>
              <a:cxn ang="0">
                <a:pos x="connsiteX6593" y="connsiteY6593"/>
              </a:cxn>
              <a:cxn ang="0">
                <a:pos x="connsiteX6594" y="connsiteY6594"/>
              </a:cxn>
              <a:cxn ang="0">
                <a:pos x="connsiteX6595" y="connsiteY6595"/>
              </a:cxn>
              <a:cxn ang="0">
                <a:pos x="connsiteX6596" y="connsiteY6596"/>
              </a:cxn>
              <a:cxn ang="0">
                <a:pos x="connsiteX6597" y="connsiteY6597"/>
              </a:cxn>
              <a:cxn ang="0">
                <a:pos x="connsiteX6598" y="connsiteY6598"/>
              </a:cxn>
              <a:cxn ang="0">
                <a:pos x="connsiteX6599" y="connsiteY6599"/>
              </a:cxn>
              <a:cxn ang="0">
                <a:pos x="connsiteX6600" y="connsiteY6600"/>
              </a:cxn>
              <a:cxn ang="0">
                <a:pos x="connsiteX6601" y="connsiteY6601"/>
              </a:cxn>
              <a:cxn ang="0">
                <a:pos x="connsiteX6602" y="connsiteY6602"/>
              </a:cxn>
              <a:cxn ang="0">
                <a:pos x="connsiteX6603" y="connsiteY6603"/>
              </a:cxn>
              <a:cxn ang="0">
                <a:pos x="connsiteX6604" y="connsiteY6604"/>
              </a:cxn>
              <a:cxn ang="0">
                <a:pos x="connsiteX6605" y="connsiteY6605"/>
              </a:cxn>
              <a:cxn ang="0">
                <a:pos x="connsiteX6606" y="connsiteY6606"/>
              </a:cxn>
              <a:cxn ang="0">
                <a:pos x="connsiteX6607" y="connsiteY6607"/>
              </a:cxn>
              <a:cxn ang="0">
                <a:pos x="connsiteX6608" y="connsiteY6608"/>
              </a:cxn>
              <a:cxn ang="0">
                <a:pos x="connsiteX6609" y="connsiteY6609"/>
              </a:cxn>
              <a:cxn ang="0">
                <a:pos x="connsiteX6610" y="connsiteY6610"/>
              </a:cxn>
              <a:cxn ang="0">
                <a:pos x="connsiteX6611" y="connsiteY6611"/>
              </a:cxn>
              <a:cxn ang="0">
                <a:pos x="connsiteX6612" y="connsiteY6612"/>
              </a:cxn>
              <a:cxn ang="0">
                <a:pos x="connsiteX6613" y="connsiteY6613"/>
              </a:cxn>
              <a:cxn ang="0">
                <a:pos x="connsiteX6614" y="connsiteY6614"/>
              </a:cxn>
              <a:cxn ang="0">
                <a:pos x="connsiteX6615" y="connsiteY6615"/>
              </a:cxn>
              <a:cxn ang="0">
                <a:pos x="connsiteX6616" y="connsiteY6616"/>
              </a:cxn>
              <a:cxn ang="0">
                <a:pos x="connsiteX6617" y="connsiteY6617"/>
              </a:cxn>
              <a:cxn ang="0">
                <a:pos x="connsiteX6618" y="connsiteY6618"/>
              </a:cxn>
              <a:cxn ang="0">
                <a:pos x="connsiteX6619" y="connsiteY6619"/>
              </a:cxn>
              <a:cxn ang="0">
                <a:pos x="connsiteX6620" y="connsiteY6620"/>
              </a:cxn>
              <a:cxn ang="0">
                <a:pos x="connsiteX6621" y="connsiteY6621"/>
              </a:cxn>
              <a:cxn ang="0">
                <a:pos x="connsiteX6622" y="connsiteY6622"/>
              </a:cxn>
              <a:cxn ang="0">
                <a:pos x="connsiteX6623" y="connsiteY6623"/>
              </a:cxn>
              <a:cxn ang="0">
                <a:pos x="connsiteX6624" y="connsiteY6624"/>
              </a:cxn>
              <a:cxn ang="0">
                <a:pos x="connsiteX6625" y="connsiteY6625"/>
              </a:cxn>
              <a:cxn ang="0">
                <a:pos x="connsiteX6626" y="connsiteY6626"/>
              </a:cxn>
              <a:cxn ang="0">
                <a:pos x="connsiteX6627" y="connsiteY6627"/>
              </a:cxn>
              <a:cxn ang="0">
                <a:pos x="connsiteX6628" y="connsiteY6628"/>
              </a:cxn>
              <a:cxn ang="0">
                <a:pos x="connsiteX6629" y="connsiteY6629"/>
              </a:cxn>
              <a:cxn ang="0">
                <a:pos x="connsiteX6630" y="connsiteY6630"/>
              </a:cxn>
              <a:cxn ang="0">
                <a:pos x="connsiteX6631" y="connsiteY6631"/>
              </a:cxn>
              <a:cxn ang="0">
                <a:pos x="connsiteX6632" y="connsiteY6632"/>
              </a:cxn>
              <a:cxn ang="0">
                <a:pos x="connsiteX6633" y="connsiteY6633"/>
              </a:cxn>
              <a:cxn ang="0">
                <a:pos x="connsiteX6634" y="connsiteY6634"/>
              </a:cxn>
              <a:cxn ang="0">
                <a:pos x="connsiteX6635" y="connsiteY6635"/>
              </a:cxn>
              <a:cxn ang="0">
                <a:pos x="connsiteX6636" y="connsiteY6636"/>
              </a:cxn>
              <a:cxn ang="0">
                <a:pos x="connsiteX6637" y="connsiteY6637"/>
              </a:cxn>
              <a:cxn ang="0">
                <a:pos x="connsiteX6638" y="connsiteY6638"/>
              </a:cxn>
              <a:cxn ang="0">
                <a:pos x="connsiteX6639" y="connsiteY6639"/>
              </a:cxn>
              <a:cxn ang="0">
                <a:pos x="connsiteX6640" y="connsiteY6640"/>
              </a:cxn>
              <a:cxn ang="0">
                <a:pos x="connsiteX6641" y="connsiteY6641"/>
              </a:cxn>
              <a:cxn ang="0">
                <a:pos x="connsiteX6642" y="connsiteY6642"/>
              </a:cxn>
              <a:cxn ang="0">
                <a:pos x="connsiteX6643" y="connsiteY6643"/>
              </a:cxn>
              <a:cxn ang="0">
                <a:pos x="connsiteX6644" y="connsiteY6644"/>
              </a:cxn>
              <a:cxn ang="0">
                <a:pos x="connsiteX6645" y="connsiteY6645"/>
              </a:cxn>
              <a:cxn ang="0">
                <a:pos x="connsiteX6646" y="connsiteY6646"/>
              </a:cxn>
              <a:cxn ang="0">
                <a:pos x="connsiteX6647" y="connsiteY6647"/>
              </a:cxn>
              <a:cxn ang="0">
                <a:pos x="connsiteX6648" y="connsiteY6648"/>
              </a:cxn>
              <a:cxn ang="0">
                <a:pos x="connsiteX6649" y="connsiteY6649"/>
              </a:cxn>
              <a:cxn ang="0">
                <a:pos x="connsiteX6650" y="connsiteY6650"/>
              </a:cxn>
              <a:cxn ang="0">
                <a:pos x="connsiteX6651" y="connsiteY6651"/>
              </a:cxn>
              <a:cxn ang="0">
                <a:pos x="connsiteX6652" y="connsiteY6652"/>
              </a:cxn>
              <a:cxn ang="0">
                <a:pos x="connsiteX6653" y="connsiteY6653"/>
              </a:cxn>
              <a:cxn ang="0">
                <a:pos x="connsiteX6654" y="connsiteY6654"/>
              </a:cxn>
              <a:cxn ang="0">
                <a:pos x="connsiteX6655" y="connsiteY6655"/>
              </a:cxn>
              <a:cxn ang="0">
                <a:pos x="connsiteX6656" y="connsiteY6656"/>
              </a:cxn>
              <a:cxn ang="0">
                <a:pos x="connsiteX6657" y="connsiteY6657"/>
              </a:cxn>
              <a:cxn ang="0">
                <a:pos x="connsiteX6658" y="connsiteY6658"/>
              </a:cxn>
              <a:cxn ang="0">
                <a:pos x="connsiteX6659" y="connsiteY6659"/>
              </a:cxn>
              <a:cxn ang="0">
                <a:pos x="connsiteX6660" y="connsiteY6660"/>
              </a:cxn>
              <a:cxn ang="0">
                <a:pos x="connsiteX6661" y="connsiteY6661"/>
              </a:cxn>
              <a:cxn ang="0">
                <a:pos x="connsiteX6662" y="connsiteY6662"/>
              </a:cxn>
              <a:cxn ang="0">
                <a:pos x="connsiteX6663" y="connsiteY6663"/>
              </a:cxn>
              <a:cxn ang="0">
                <a:pos x="connsiteX6664" y="connsiteY6664"/>
              </a:cxn>
              <a:cxn ang="0">
                <a:pos x="connsiteX6665" y="connsiteY6665"/>
              </a:cxn>
              <a:cxn ang="0">
                <a:pos x="connsiteX6666" y="connsiteY6666"/>
              </a:cxn>
              <a:cxn ang="0">
                <a:pos x="connsiteX6667" y="connsiteY6667"/>
              </a:cxn>
              <a:cxn ang="0">
                <a:pos x="connsiteX6668" y="connsiteY6668"/>
              </a:cxn>
              <a:cxn ang="0">
                <a:pos x="connsiteX6669" y="connsiteY6669"/>
              </a:cxn>
              <a:cxn ang="0">
                <a:pos x="connsiteX6670" y="connsiteY6670"/>
              </a:cxn>
              <a:cxn ang="0">
                <a:pos x="connsiteX6671" y="connsiteY6671"/>
              </a:cxn>
              <a:cxn ang="0">
                <a:pos x="connsiteX6672" y="connsiteY6672"/>
              </a:cxn>
              <a:cxn ang="0">
                <a:pos x="connsiteX6673" y="connsiteY6673"/>
              </a:cxn>
              <a:cxn ang="0">
                <a:pos x="connsiteX6674" y="connsiteY6674"/>
              </a:cxn>
              <a:cxn ang="0">
                <a:pos x="connsiteX6675" y="connsiteY6675"/>
              </a:cxn>
              <a:cxn ang="0">
                <a:pos x="connsiteX6676" y="connsiteY6676"/>
              </a:cxn>
              <a:cxn ang="0">
                <a:pos x="connsiteX6677" y="connsiteY6677"/>
              </a:cxn>
              <a:cxn ang="0">
                <a:pos x="connsiteX6678" y="connsiteY6678"/>
              </a:cxn>
              <a:cxn ang="0">
                <a:pos x="connsiteX6679" y="connsiteY6679"/>
              </a:cxn>
              <a:cxn ang="0">
                <a:pos x="connsiteX6680" y="connsiteY6680"/>
              </a:cxn>
              <a:cxn ang="0">
                <a:pos x="connsiteX6681" y="connsiteY6681"/>
              </a:cxn>
              <a:cxn ang="0">
                <a:pos x="connsiteX6682" y="connsiteY6682"/>
              </a:cxn>
              <a:cxn ang="0">
                <a:pos x="connsiteX6683" y="connsiteY6683"/>
              </a:cxn>
              <a:cxn ang="0">
                <a:pos x="connsiteX6684" y="connsiteY6684"/>
              </a:cxn>
              <a:cxn ang="0">
                <a:pos x="connsiteX6685" y="connsiteY6685"/>
              </a:cxn>
              <a:cxn ang="0">
                <a:pos x="connsiteX6686" y="connsiteY6686"/>
              </a:cxn>
              <a:cxn ang="0">
                <a:pos x="connsiteX6687" y="connsiteY6687"/>
              </a:cxn>
              <a:cxn ang="0">
                <a:pos x="connsiteX6688" y="connsiteY6688"/>
              </a:cxn>
              <a:cxn ang="0">
                <a:pos x="connsiteX6689" y="connsiteY6689"/>
              </a:cxn>
              <a:cxn ang="0">
                <a:pos x="connsiteX6690" y="connsiteY6690"/>
              </a:cxn>
              <a:cxn ang="0">
                <a:pos x="connsiteX6691" y="connsiteY6691"/>
              </a:cxn>
              <a:cxn ang="0">
                <a:pos x="connsiteX6692" y="connsiteY6692"/>
              </a:cxn>
              <a:cxn ang="0">
                <a:pos x="connsiteX6693" y="connsiteY6693"/>
              </a:cxn>
              <a:cxn ang="0">
                <a:pos x="connsiteX6694" y="connsiteY6694"/>
              </a:cxn>
              <a:cxn ang="0">
                <a:pos x="connsiteX6695" y="connsiteY6695"/>
              </a:cxn>
              <a:cxn ang="0">
                <a:pos x="connsiteX6696" y="connsiteY6696"/>
              </a:cxn>
              <a:cxn ang="0">
                <a:pos x="connsiteX6697" y="connsiteY6697"/>
              </a:cxn>
              <a:cxn ang="0">
                <a:pos x="connsiteX6698" y="connsiteY6698"/>
              </a:cxn>
              <a:cxn ang="0">
                <a:pos x="connsiteX6699" y="connsiteY6699"/>
              </a:cxn>
              <a:cxn ang="0">
                <a:pos x="connsiteX6700" y="connsiteY6700"/>
              </a:cxn>
              <a:cxn ang="0">
                <a:pos x="connsiteX6701" y="connsiteY6701"/>
              </a:cxn>
              <a:cxn ang="0">
                <a:pos x="connsiteX6702" y="connsiteY6702"/>
              </a:cxn>
              <a:cxn ang="0">
                <a:pos x="connsiteX6703" y="connsiteY6703"/>
              </a:cxn>
              <a:cxn ang="0">
                <a:pos x="connsiteX6704" y="connsiteY6704"/>
              </a:cxn>
              <a:cxn ang="0">
                <a:pos x="connsiteX6705" y="connsiteY6705"/>
              </a:cxn>
              <a:cxn ang="0">
                <a:pos x="connsiteX6706" y="connsiteY6706"/>
              </a:cxn>
              <a:cxn ang="0">
                <a:pos x="connsiteX6707" y="connsiteY6707"/>
              </a:cxn>
              <a:cxn ang="0">
                <a:pos x="connsiteX6708" y="connsiteY6708"/>
              </a:cxn>
              <a:cxn ang="0">
                <a:pos x="connsiteX6709" y="connsiteY6709"/>
              </a:cxn>
              <a:cxn ang="0">
                <a:pos x="connsiteX6710" y="connsiteY6710"/>
              </a:cxn>
              <a:cxn ang="0">
                <a:pos x="connsiteX6711" y="connsiteY6711"/>
              </a:cxn>
              <a:cxn ang="0">
                <a:pos x="connsiteX6712" y="connsiteY6712"/>
              </a:cxn>
              <a:cxn ang="0">
                <a:pos x="connsiteX6713" y="connsiteY6713"/>
              </a:cxn>
              <a:cxn ang="0">
                <a:pos x="connsiteX6714" y="connsiteY6714"/>
              </a:cxn>
              <a:cxn ang="0">
                <a:pos x="connsiteX6715" y="connsiteY6715"/>
              </a:cxn>
              <a:cxn ang="0">
                <a:pos x="connsiteX6716" y="connsiteY6716"/>
              </a:cxn>
              <a:cxn ang="0">
                <a:pos x="connsiteX6717" y="connsiteY6717"/>
              </a:cxn>
              <a:cxn ang="0">
                <a:pos x="connsiteX6718" y="connsiteY6718"/>
              </a:cxn>
              <a:cxn ang="0">
                <a:pos x="connsiteX6719" y="connsiteY6719"/>
              </a:cxn>
              <a:cxn ang="0">
                <a:pos x="connsiteX6720" y="connsiteY6720"/>
              </a:cxn>
              <a:cxn ang="0">
                <a:pos x="connsiteX6721" y="connsiteY6721"/>
              </a:cxn>
              <a:cxn ang="0">
                <a:pos x="connsiteX6722" y="connsiteY6722"/>
              </a:cxn>
              <a:cxn ang="0">
                <a:pos x="connsiteX6723" y="connsiteY6723"/>
              </a:cxn>
              <a:cxn ang="0">
                <a:pos x="connsiteX6724" y="connsiteY6724"/>
              </a:cxn>
              <a:cxn ang="0">
                <a:pos x="connsiteX6725" y="connsiteY6725"/>
              </a:cxn>
              <a:cxn ang="0">
                <a:pos x="connsiteX6726" y="connsiteY6726"/>
              </a:cxn>
              <a:cxn ang="0">
                <a:pos x="connsiteX6727" y="connsiteY6727"/>
              </a:cxn>
              <a:cxn ang="0">
                <a:pos x="connsiteX6728" y="connsiteY6728"/>
              </a:cxn>
              <a:cxn ang="0">
                <a:pos x="connsiteX6729" y="connsiteY6729"/>
              </a:cxn>
              <a:cxn ang="0">
                <a:pos x="connsiteX6730" y="connsiteY6730"/>
              </a:cxn>
              <a:cxn ang="0">
                <a:pos x="connsiteX6731" y="connsiteY6731"/>
              </a:cxn>
              <a:cxn ang="0">
                <a:pos x="connsiteX6732" y="connsiteY6732"/>
              </a:cxn>
              <a:cxn ang="0">
                <a:pos x="connsiteX6733" y="connsiteY6733"/>
              </a:cxn>
              <a:cxn ang="0">
                <a:pos x="connsiteX6734" y="connsiteY6734"/>
              </a:cxn>
              <a:cxn ang="0">
                <a:pos x="connsiteX6735" y="connsiteY6735"/>
              </a:cxn>
              <a:cxn ang="0">
                <a:pos x="connsiteX6736" y="connsiteY6736"/>
              </a:cxn>
              <a:cxn ang="0">
                <a:pos x="connsiteX6737" y="connsiteY6737"/>
              </a:cxn>
              <a:cxn ang="0">
                <a:pos x="connsiteX6738" y="connsiteY6738"/>
              </a:cxn>
              <a:cxn ang="0">
                <a:pos x="connsiteX6739" y="connsiteY6739"/>
              </a:cxn>
              <a:cxn ang="0">
                <a:pos x="connsiteX6740" y="connsiteY6740"/>
              </a:cxn>
              <a:cxn ang="0">
                <a:pos x="connsiteX6741" y="connsiteY6741"/>
              </a:cxn>
              <a:cxn ang="0">
                <a:pos x="connsiteX6742" y="connsiteY6742"/>
              </a:cxn>
              <a:cxn ang="0">
                <a:pos x="connsiteX6743" y="connsiteY6743"/>
              </a:cxn>
              <a:cxn ang="0">
                <a:pos x="connsiteX6744" y="connsiteY6744"/>
              </a:cxn>
              <a:cxn ang="0">
                <a:pos x="connsiteX6745" y="connsiteY6745"/>
              </a:cxn>
              <a:cxn ang="0">
                <a:pos x="connsiteX6746" y="connsiteY6746"/>
              </a:cxn>
              <a:cxn ang="0">
                <a:pos x="connsiteX6747" y="connsiteY6747"/>
              </a:cxn>
              <a:cxn ang="0">
                <a:pos x="connsiteX6748" y="connsiteY6748"/>
              </a:cxn>
              <a:cxn ang="0">
                <a:pos x="connsiteX6749" y="connsiteY6749"/>
              </a:cxn>
              <a:cxn ang="0">
                <a:pos x="connsiteX6750" y="connsiteY6750"/>
              </a:cxn>
              <a:cxn ang="0">
                <a:pos x="connsiteX6751" y="connsiteY6751"/>
              </a:cxn>
              <a:cxn ang="0">
                <a:pos x="connsiteX6752" y="connsiteY6752"/>
              </a:cxn>
              <a:cxn ang="0">
                <a:pos x="connsiteX6753" y="connsiteY6753"/>
              </a:cxn>
              <a:cxn ang="0">
                <a:pos x="connsiteX6754" y="connsiteY6754"/>
              </a:cxn>
              <a:cxn ang="0">
                <a:pos x="connsiteX6755" y="connsiteY6755"/>
              </a:cxn>
              <a:cxn ang="0">
                <a:pos x="connsiteX6756" y="connsiteY6756"/>
              </a:cxn>
              <a:cxn ang="0">
                <a:pos x="connsiteX6757" y="connsiteY6757"/>
              </a:cxn>
              <a:cxn ang="0">
                <a:pos x="connsiteX6758" y="connsiteY6758"/>
              </a:cxn>
              <a:cxn ang="0">
                <a:pos x="connsiteX6759" y="connsiteY6759"/>
              </a:cxn>
              <a:cxn ang="0">
                <a:pos x="connsiteX6760" y="connsiteY6760"/>
              </a:cxn>
              <a:cxn ang="0">
                <a:pos x="connsiteX6761" y="connsiteY6761"/>
              </a:cxn>
              <a:cxn ang="0">
                <a:pos x="connsiteX6762" y="connsiteY6762"/>
              </a:cxn>
              <a:cxn ang="0">
                <a:pos x="connsiteX6763" y="connsiteY6763"/>
              </a:cxn>
              <a:cxn ang="0">
                <a:pos x="connsiteX6764" y="connsiteY6764"/>
              </a:cxn>
              <a:cxn ang="0">
                <a:pos x="connsiteX6765" y="connsiteY6765"/>
              </a:cxn>
              <a:cxn ang="0">
                <a:pos x="connsiteX6766" y="connsiteY6766"/>
              </a:cxn>
              <a:cxn ang="0">
                <a:pos x="connsiteX6767" y="connsiteY6767"/>
              </a:cxn>
              <a:cxn ang="0">
                <a:pos x="connsiteX6768" y="connsiteY6768"/>
              </a:cxn>
              <a:cxn ang="0">
                <a:pos x="connsiteX6769" y="connsiteY6769"/>
              </a:cxn>
              <a:cxn ang="0">
                <a:pos x="connsiteX6770" y="connsiteY6770"/>
              </a:cxn>
              <a:cxn ang="0">
                <a:pos x="connsiteX6771" y="connsiteY6771"/>
              </a:cxn>
              <a:cxn ang="0">
                <a:pos x="connsiteX6772" y="connsiteY6772"/>
              </a:cxn>
              <a:cxn ang="0">
                <a:pos x="connsiteX6773" y="connsiteY6773"/>
              </a:cxn>
              <a:cxn ang="0">
                <a:pos x="connsiteX6774" y="connsiteY6774"/>
              </a:cxn>
              <a:cxn ang="0">
                <a:pos x="connsiteX6775" y="connsiteY6775"/>
              </a:cxn>
              <a:cxn ang="0">
                <a:pos x="connsiteX6776" y="connsiteY6776"/>
              </a:cxn>
              <a:cxn ang="0">
                <a:pos x="connsiteX6777" y="connsiteY6777"/>
              </a:cxn>
              <a:cxn ang="0">
                <a:pos x="connsiteX6778" y="connsiteY6778"/>
              </a:cxn>
              <a:cxn ang="0">
                <a:pos x="connsiteX6779" y="connsiteY6779"/>
              </a:cxn>
              <a:cxn ang="0">
                <a:pos x="connsiteX6780" y="connsiteY6780"/>
              </a:cxn>
              <a:cxn ang="0">
                <a:pos x="connsiteX6781" y="connsiteY6781"/>
              </a:cxn>
              <a:cxn ang="0">
                <a:pos x="connsiteX6782" y="connsiteY6782"/>
              </a:cxn>
              <a:cxn ang="0">
                <a:pos x="connsiteX6783" y="connsiteY6783"/>
              </a:cxn>
              <a:cxn ang="0">
                <a:pos x="connsiteX6784" y="connsiteY6784"/>
              </a:cxn>
              <a:cxn ang="0">
                <a:pos x="connsiteX6785" y="connsiteY6785"/>
              </a:cxn>
              <a:cxn ang="0">
                <a:pos x="connsiteX6786" y="connsiteY6786"/>
              </a:cxn>
              <a:cxn ang="0">
                <a:pos x="connsiteX6787" y="connsiteY6787"/>
              </a:cxn>
              <a:cxn ang="0">
                <a:pos x="connsiteX6788" y="connsiteY6788"/>
              </a:cxn>
              <a:cxn ang="0">
                <a:pos x="connsiteX6789" y="connsiteY6789"/>
              </a:cxn>
              <a:cxn ang="0">
                <a:pos x="connsiteX6790" y="connsiteY6790"/>
              </a:cxn>
              <a:cxn ang="0">
                <a:pos x="connsiteX6791" y="connsiteY6791"/>
              </a:cxn>
              <a:cxn ang="0">
                <a:pos x="connsiteX6792" y="connsiteY6792"/>
              </a:cxn>
              <a:cxn ang="0">
                <a:pos x="connsiteX6793" y="connsiteY6793"/>
              </a:cxn>
              <a:cxn ang="0">
                <a:pos x="connsiteX6794" y="connsiteY6794"/>
              </a:cxn>
              <a:cxn ang="0">
                <a:pos x="connsiteX6795" y="connsiteY6795"/>
              </a:cxn>
              <a:cxn ang="0">
                <a:pos x="connsiteX6796" y="connsiteY6796"/>
              </a:cxn>
              <a:cxn ang="0">
                <a:pos x="connsiteX6797" y="connsiteY6797"/>
              </a:cxn>
              <a:cxn ang="0">
                <a:pos x="connsiteX6798" y="connsiteY6798"/>
              </a:cxn>
              <a:cxn ang="0">
                <a:pos x="connsiteX6799" y="connsiteY6799"/>
              </a:cxn>
              <a:cxn ang="0">
                <a:pos x="connsiteX6800" y="connsiteY6800"/>
              </a:cxn>
              <a:cxn ang="0">
                <a:pos x="connsiteX6801" y="connsiteY6801"/>
              </a:cxn>
              <a:cxn ang="0">
                <a:pos x="connsiteX6802" y="connsiteY6802"/>
              </a:cxn>
              <a:cxn ang="0">
                <a:pos x="connsiteX6803" y="connsiteY6803"/>
              </a:cxn>
              <a:cxn ang="0">
                <a:pos x="connsiteX6804" y="connsiteY6804"/>
              </a:cxn>
              <a:cxn ang="0">
                <a:pos x="connsiteX6805" y="connsiteY6805"/>
              </a:cxn>
              <a:cxn ang="0">
                <a:pos x="connsiteX6806" y="connsiteY6806"/>
              </a:cxn>
              <a:cxn ang="0">
                <a:pos x="connsiteX6807" y="connsiteY6807"/>
              </a:cxn>
              <a:cxn ang="0">
                <a:pos x="connsiteX6808" y="connsiteY6808"/>
              </a:cxn>
              <a:cxn ang="0">
                <a:pos x="connsiteX6809" y="connsiteY6809"/>
              </a:cxn>
              <a:cxn ang="0">
                <a:pos x="connsiteX6810" y="connsiteY6810"/>
              </a:cxn>
              <a:cxn ang="0">
                <a:pos x="connsiteX6811" y="connsiteY6811"/>
              </a:cxn>
              <a:cxn ang="0">
                <a:pos x="connsiteX6812" y="connsiteY6812"/>
              </a:cxn>
              <a:cxn ang="0">
                <a:pos x="connsiteX6813" y="connsiteY6813"/>
              </a:cxn>
              <a:cxn ang="0">
                <a:pos x="connsiteX6814" y="connsiteY6814"/>
              </a:cxn>
              <a:cxn ang="0">
                <a:pos x="connsiteX6815" y="connsiteY6815"/>
              </a:cxn>
              <a:cxn ang="0">
                <a:pos x="connsiteX6816" y="connsiteY6816"/>
              </a:cxn>
              <a:cxn ang="0">
                <a:pos x="connsiteX6817" y="connsiteY6817"/>
              </a:cxn>
              <a:cxn ang="0">
                <a:pos x="connsiteX6818" y="connsiteY6818"/>
              </a:cxn>
              <a:cxn ang="0">
                <a:pos x="connsiteX6819" y="connsiteY6819"/>
              </a:cxn>
              <a:cxn ang="0">
                <a:pos x="connsiteX6820" y="connsiteY6820"/>
              </a:cxn>
              <a:cxn ang="0">
                <a:pos x="connsiteX6821" y="connsiteY6821"/>
              </a:cxn>
              <a:cxn ang="0">
                <a:pos x="connsiteX6822" y="connsiteY6822"/>
              </a:cxn>
              <a:cxn ang="0">
                <a:pos x="connsiteX6823" y="connsiteY6823"/>
              </a:cxn>
              <a:cxn ang="0">
                <a:pos x="connsiteX6824" y="connsiteY6824"/>
              </a:cxn>
              <a:cxn ang="0">
                <a:pos x="connsiteX6825" y="connsiteY6825"/>
              </a:cxn>
              <a:cxn ang="0">
                <a:pos x="connsiteX6826" y="connsiteY6826"/>
              </a:cxn>
              <a:cxn ang="0">
                <a:pos x="connsiteX6827" y="connsiteY6827"/>
              </a:cxn>
              <a:cxn ang="0">
                <a:pos x="connsiteX6828" y="connsiteY6828"/>
              </a:cxn>
              <a:cxn ang="0">
                <a:pos x="connsiteX6829" y="connsiteY6829"/>
              </a:cxn>
              <a:cxn ang="0">
                <a:pos x="connsiteX6830" y="connsiteY6830"/>
              </a:cxn>
              <a:cxn ang="0">
                <a:pos x="connsiteX6831" y="connsiteY6831"/>
              </a:cxn>
              <a:cxn ang="0">
                <a:pos x="connsiteX6832" y="connsiteY6832"/>
              </a:cxn>
              <a:cxn ang="0">
                <a:pos x="connsiteX6833" y="connsiteY6833"/>
              </a:cxn>
              <a:cxn ang="0">
                <a:pos x="connsiteX6834" y="connsiteY6834"/>
              </a:cxn>
              <a:cxn ang="0">
                <a:pos x="connsiteX6835" y="connsiteY6835"/>
              </a:cxn>
              <a:cxn ang="0">
                <a:pos x="connsiteX6836" y="connsiteY6836"/>
              </a:cxn>
              <a:cxn ang="0">
                <a:pos x="connsiteX6837" y="connsiteY6837"/>
              </a:cxn>
              <a:cxn ang="0">
                <a:pos x="connsiteX6838" y="connsiteY6838"/>
              </a:cxn>
              <a:cxn ang="0">
                <a:pos x="connsiteX6839" y="connsiteY6839"/>
              </a:cxn>
              <a:cxn ang="0">
                <a:pos x="connsiteX6840" y="connsiteY6840"/>
              </a:cxn>
              <a:cxn ang="0">
                <a:pos x="connsiteX6841" y="connsiteY6841"/>
              </a:cxn>
              <a:cxn ang="0">
                <a:pos x="connsiteX6842" y="connsiteY6842"/>
              </a:cxn>
              <a:cxn ang="0">
                <a:pos x="connsiteX6843" y="connsiteY6843"/>
              </a:cxn>
              <a:cxn ang="0">
                <a:pos x="connsiteX6844" y="connsiteY6844"/>
              </a:cxn>
              <a:cxn ang="0">
                <a:pos x="connsiteX6845" y="connsiteY6845"/>
              </a:cxn>
              <a:cxn ang="0">
                <a:pos x="connsiteX6846" y="connsiteY6846"/>
              </a:cxn>
              <a:cxn ang="0">
                <a:pos x="connsiteX6847" y="connsiteY6847"/>
              </a:cxn>
              <a:cxn ang="0">
                <a:pos x="connsiteX6848" y="connsiteY6848"/>
              </a:cxn>
              <a:cxn ang="0">
                <a:pos x="connsiteX6849" y="connsiteY6849"/>
              </a:cxn>
              <a:cxn ang="0">
                <a:pos x="connsiteX6850" y="connsiteY6850"/>
              </a:cxn>
              <a:cxn ang="0">
                <a:pos x="connsiteX6851" y="connsiteY6851"/>
              </a:cxn>
              <a:cxn ang="0">
                <a:pos x="connsiteX6852" y="connsiteY6852"/>
              </a:cxn>
              <a:cxn ang="0">
                <a:pos x="connsiteX6853" y="connsiteY6853"/>
              </a:cxn>
              <a:cxn ang="0">
                <a:pos x="connsiteX6854" y="connsiteY6854"/>
              </a:cxn>
              <a:cxn ang="0">
                <a:pos x="connsiteX6855" y="connsiteY6855"/>
              </a:cxn>
              <a:cxn ang="0">
                <a:pos x="connsiteX6856" y="connsiteY6856"/>
              </a:cxn>
              <a:cxn ang="0">
                <a:pos x="connsiteX6857" y="connsiteY6857"/>
              </a:cxn>
              <a:cxn ang="0">
                <a:pos x="connsiteX6858" y="connsiteY6858"/>
              </a:cxn>
              <a:cxn ang="0">
                <a:pos x="connsiteX6859" y="connsiteY6859"/>
              </a:cxn>
              <a:cxn ang="0">
                <a:pos x="connsiteX6860" y="connsiteY6860"/>
              </a:cxn>
              <a:cxn ang="0">
                <a:pos x="connsiteX6861" y="connsiteY6861"/>
              </a:cxn>
              <a:cxn ang="0">
                <a:pos x="connsiteX6862" y="connsiteY6862"/>
              </a:cxn>
              <a:cxn ang="0">
                <a:pos x="connsiteX6863" y="connsiteY6863"/>
              </a:cxn>
              <a:cxn ang="0">
                <a:pos x="connsiteX6864" y="connsiteY6864"/>
              </a:cxn>
              <a:cxn ang="0">
                <a:pos x="connsiteX6865" y="connsiteY6865"/>
              </a:cxn>
              <a:cxn ang="0">
                <a:pos x="connsiteX6866" y="connsiteY6866"/>
              </a:cxn>
              <a:cxn ang="0">
                <a:pos x="connsiteX6867" y="connsiteY6867"/>
              </a:cxn>
              <a:cxn ang="0">
                <a:pos x="connsiteX6868" y="connsiteY6868"/>
              </a:cxn>
              <a:cxn ang="0">
                <a:pos x="connsiteX6869" y="connsiteY6869"/>
              </a:cxn>
              <a:cxn ang="0">
                <a:pos x="connsiteX6870" y="connsiteY6870"/>
              </a:cxn>
              <a:cxn ang="0">
                <a:pos x="connsiteX6871" y="connsiteY6871"/>
              </a:cxn>
              <a:cxn ang="0">
                <a:pos x="connsiteX6872" y="connsiteY6872"/>
              </a:cxn>
              <a:cxn ang="0">
                <a:pos x="connsiteX6873" y="connsiteY6873"/>
              </a:cxn>
              <a:cxn ang="0">
                <a:pos x="connsiteX6874" y="connsiteY6874"/>
              </a:cxn>
              <a:cxn ang="0">
                <a:pos x="connsiteX6875" y="connsiteY6875"/>
              </a:cxn>
              <a:cxn ang="0">
                <a:pos x="connsiteX6876" y="connsiteY6876"/>
              </a:cxn>
              <a:cxn ang="0">
                <a:pos x="connsiteX6877" y="connsiteY6877"/>
              </a:cxn>
              <a:cxn ang="0">
                <a:pos x="connsiteX6878" y="connsiteY6878"/>
              </a:cxn>
              <a:cxn ang="0">
                <a:pos x="connsiteX6879" y="connsiteY6879"/>
              </a:cxn>
              <a:cxn ang="0">
                <a:pos x="connsiteX6880" y="connsiteY6880"/>
              </a:cxn>
              <a:cxn ang="0">
                <a:pos x="connsiteX6881" y="connsiteY6881"/>
              </a:cxn>
              <a:cxn ang="0">
                <a:pos x="connsiteX6882" y="connsiteY6882"/>
              </a:cxn>
              <a:cxn ang="0">
                <a:pos x="connsiteX6883" y="connsiteY6883"/>
              </a:cxn>
              <a:cxn ang="0">
                <a:pos x="connsiteX6884" y="connsiteY6884"/>
              </a:cxn>
              <a:cxn ang="0">
                <a:pos x="connsiteX6885" y="connsiteY6885"/>
              </a:cxn>
              <a:cxn ang="0">
                <a:pos x="connsiteX6886" y="connsiteY6886"/>
              </a:cxn>
              <a:cxn ang="0">
                <a:pos x="connsiteX6887" y="connsiteY6887"/>
              </a:cxn>
              <a:cxn ang="0">
                <a:pos x="connsiteX6888" y="connsiteY6888"/>
              </a:cxn>
              <a:cxn ang="0">
                <a:pos x="connsiteX6889" y="connsiteY6889"/>
              </a:cxn>
              <a:cxn ang="0">
                <a:pos x="connsiteX6890" y="connsiteY6890"/>
              </a:cxn>
              <a:cxn ang="0">
                <a:pos x="connsiteX6891" y="connsiteY6891"/>
              </a:cxn>
              <a:cxn ang="0">
                <a:pos x="connsiteX6892" y="connsiteY6892"/>
              </a:cxn>
              <a:cxn ang="0">
                <a:pos x="connsiteX6893" y="connsiteY6893"/>
              </a:cxn>
              <a:cxn ang="0">
                <a:pos x="connsiteX6894" y="connsiteY6894"/>
              </a:cxn>
              <a:cxn ang="0">
                <a:pos x="connsiteX6895" y="connsiteY6895"/>
              </a:cxn>
              <a:cxn ang="0">
                <a:pos x="connsiteX6896" y="connsiteY6896"/>
              </a:cxn>
              <a:cxn ang="0">
                <a:pos x="connsiteX6897" y="connsiteY6897"/>
              </a:cxn>
              <a:cxn ang="0">
                <a:pos x="connsiteX6898" y="connsiteY6898"/>
              </a:cxn>
              <a:cxn ang="0">
                <a:pos x="connsiteX6899" y="connsiteY6899"/>
              </a:cxn>
              <a:cxn ang="0">
                <a:pos x="connsiteX6900" y="connsiteY6900"/>
              </a:cxn>
              <a:cxn ang="0">
                <a:pos x="connsiteX6901" y="connsiteY6901"/>
              </a:cxn>
              <a:cxn ang="0">
                <a:pos x="connsiteX6902" y="connsiteY6902"/>
              </a:cxn>
              <a:cxn ang="0">
                <a:pos x="connsiteX6903" y="connsiteY6903"/>
              </a:cxn>
              <a:cxn ang="0">
                <a:pos x="connsiteX6904" y="connsiteY6904"/>
              </a:cxn>
              <a:cxn ang="0">
                <a:pos x="connsiteX6905" y="connsiteY6905"/>
              </a:cxn>
              <a:cxn ang="0">
                <a:pos x="connsiteX6906" y="connsiteY6906"/>
              </a:cxn>
              <a:cxn ang="0">
                <a:pos x="connsiteX6907" y="connsiteY6907"/>
              </a:cxn>
              <a:cxn ang="0">
                <a:pos x="connsiteX6908" y="connsiteY6908"/>
              </a:cxn>
              <a:cxn ang="0">
                <a:pos x="connsiteX6909" y="connsiteY6909"/>
              </a:cxn>
              <a:cxn ang="0">
                <a:pos x="connsiteX6910" y="connsiteY6910"/>
              </a:cxn>
              <a:cxn ang="0">
                <a:pos x="connsiteX6911" y="connsiteY6911"/>
              </a:cxn>
              <a:cxn ang="0">
                <a:pos x="connsiteX6912" y="connsiteY6912"/>
              </a:cxn>
              <a:cxn ang="0">
                <a:pos x="connsiteX6913" y="connsiteY6913"/>
              </a:cxn>
              <a:cxn ang="0">
                <a:pos x="connsiteX6914" y="connsiteY6914"/>
              </a:cxn>
              <a:cxn ang="0">
                <a:pos x="connsiteX6915" y="connsiteY6915"/>
              </a:cxn>
              <a:cxn ang="0">
                <a:pos x="connsiteX6916" y="connsiteY6916"/>
              </a:cxn>
              <a:cxn ang="0">
                <a:pos x="connsiteX6917" y="connsiteY6917"/>
              </a:cxn>
              <a:cxn ang="0">
                <a:pos x="connsiteX6918" y="connsiteY6918"/>
              </a:cxn>
              <a:cxn ang="0">
                <a:pos x="connsiteX6919" y="connsiteY6919"/>
              </a:cxn>
              <a:cxn ang="0">
                <a:pos x="connsiteX6920" y="connsiteY6920"/>
              </a:cxn>
              <a:cxn ang="0">
                <a:pos x="connsiteX6921" y="connsiteY6921"/>
              </a:cxn>
              <a:cxn ang="0">
                <a:pos x="connsiteX6922" y="connsiteY6922"/>
              </a:cxn>
              <a:cxn ang="0">
                <a:pos x="connsiteX6923" y="connsiteY6923"/>
              </a:cxn>
              <a:cxn ang="0">
                <a:pos x="connsiteX6924" y="connsiteY6924"/>
              </a:cxn>
              <a:cxn ang="0">
                <a:pos x="connsiteX6925" y="connsiteY6925"/>
              </a:cxn>
              <a:cxn ang="0">
                <a:pos x="connsiteX6926" y="connsiteY6926"/>
              </a:cxn>
              <a:cxn ang="0">
                <a:pos x="connsiteX6927" y="connsiteY6927"/>
              </a:cxn>
              <a:cxn ang="0">
                <a:pos x="connsiteX6928" y="connsiteY6928"/>
              </a:cxn>
              <a:cxn ang="0">
                <a:pos x="connsiteX6929" y="connsiteY6929"/>
              </a:cxn>
              <a:cxn ang="0">
                <a:pos x="connsiteX6930" y="connsiteY6930"/>
              </a:cxn>
              <a:cxn ang="0">
                <a:pos x="connsiteX6931" y="connsiteY6931"/>
              </a:cxn>
              <a:cxn ang="0">
                <a:pos x="connsiteX6932" y="connsiteY6932"/>
              </a:cxn>
              <a:cxn ang="0">
                <a:pos x="connsiteX6933" y="connsiteY6933"/>
              </a:cxn>
              <a:cxn ang="0">
                <a:pos x="connsiteX6934" y="connsiteY6934"/>
              </a:cxn>
              <a:cxn ang="0">
                <a:pos x="connsiteX6935" y="connsiteY6935"/>
              </a:cxn>
              <a:cxn ang="0">
                <a:pos x="connsiteX6936" y="connsiteY6936"/>
              </a:cxn>
              <a:cxn ang="0">
                <a:pos x="connsiteX6937" y="connsiteY6937"/>
              </a:cxn>
              <a:cxn ang="0">
                <a:pos x="connsiteX6938" y="connsiteY6938"/>
              </a:cxn>
              <a:cxn ang="0">
                <a:pos x="connsiteX6939" y="connsiteY6939"/>
              </a:cxn>
              <a:cxn ang="0">
                <a:pos x="connsiteX6940" y="connsiteY6940"/>
              </a:cxn>
              <a:cxn ang="0">
                <a:pos x="connsiteX6941" y="connsiteY6941"/>
              </a:cxn>
              <a:cxn ang="0">
                <a:pos x="connsiteX6942" y="connsiteY6942"/>
              </a:cxn>
              <a:cxn ang="0">
                <a:pos x="connsiteX6943" y="connsiteY6943"/>
              </a:cxn>
              <a:cxn ang="0">
                <a:pos x="connsiteX6944" y="connsiteY6944"/>
              </a:cxn>
              <a:cxn ang="0">
                <a:pos x="connsiteX6945" y="connsiteY6945"/>
              </a:cxn>
              <a:cxn ang="0">
                <a:pos x="connsiteX6946" y="connsiteY6946"/>
              </a:cxn>
              <a:cxn ang="0">
                <a:pos x="connsiteX6947" y="connsiteY6947"/>
              </a:cxn>
              <a:cxn ang="0">
                <a:pos x="connsiteX6948" y="connsiteY6948"/>
              </a:cxn>
              <a:cxn ang="0">
                <a:pos x="connsiteX6949" y="connsiteY6949"/>
              </a:cxn>
              <a:cxn ang="0">
                <a:pos x="connsiteX6950" y="connsiteY6950"/>
              </a:cxn>
              <a:cxn ang="0">
                <a:pos x="connsiteX6951" y="connsiteY6951"/>
              </a:cxn>
              <a:cxn ang="0">
                <a:pos x="connsiteX6952" y="connsiteY6952"/>
              </a:cxn>
              <a:cxn ang="0">
                <a:pos x="connsiteX6953" y="connsiteY6953"/>
              </a:cxn>
              <a:cxn ang="0">
                <a:pos x="connsiteX6954" y="connsiteY6954"/>
              </a:cxn>
              <a:cxn ang="0">
                <a:pos x="connsiteX6955" y="connsiteY6955"/>
              </a:cxn>
              <a:cxn ang="0">
                <a:pos x="connsiteX6956" y="connsiteY6956"/>
              </a:cxn>
              <a:cxn ang="0">
                <a:pos x="connsiteX6957" y="connsiteY6957"/>
              </a:cxn>
              <a:cxn ang="0">
                <a:pos x="connsiteX6958" y="connsiteY6958"/>
              </a:cxn>
              <a:cxn ang="0">
                <a:pos x="connsiteX6959" y="connsiteY6959"/>
              </a:cxn>
              <a:cxn ang="0">
                <a:pos x="connsiteX6960" y="connsiteY6960"/>
              </a:cxn>
              <a:cxn ang="0">
                <a:pos x="connsiteX6961" y="connsiteY6961"/>
              </a:cxn>
              <a:cxn ang="0">
                <a:pos x="connsiteX6962" y="connsiteY6962"/>
              </a:cxn>
              <a:cxn ang="0">
                <a:pos x="connsiteX6963" y="connsiteY6963"/>
              </a:cxn>
              <a:cxn ang="0">
                <a:pos x="connsiteX6964" y="connsiteY6964"/>
              </a:cxn>
              <a:cxn ang="0">
                <a:pos x="connsiteX6965" y="connsiteY6965"/>
              </a:cxn>
              <a:cxn ang="0">
                <a:pos x="connsiteX6966" y="connsiteY6966"/>
              </a:cxn>
              <a:cxn ang="0">
                <a:pos x="connsiteX6967" y="connsiteY6967"/>
              </a:cxn>
              <a:cxn ang="0">
                <a:pos x="connsiteX6968" y="connsiteY6968"/>
              </a:cxn>
              <a:cxn ang="0">
                <a:pos x="connsiteX6969" y="connsiteY6969"/>
              </a:cxn>
              <a:cxn ang="0">
                <a:pos x="connsiteX6970" y="connsiteY6970"/>
              </a:cxn>
              <a:cxn ang="0">
                <a:pos x="connsiteX6971" y="connsiteY6971"/>
              </a:cxn>
              <a:cxn ang="0">
                <a:pos x="connsiteX6972" y="connsiteY6972"/>
              </a:cxn>
              <a:cxn ang="0">
                <a:pos x="connsiteX6973" y="connsiteY6973"/>
              </a:cxn>
              <a:cxn ang="0">
                <a:pos x="connsiteX6974" y="connsiteY6974"/>
              </a:cxn>
              <a:cxn ang="0">
                <a:pos x="connsiteX6975" y="connsiteY6975"/>
              </a:cxn>
              <a:cxn ang="0">
                <a:pos x="connsiteX6976" y="connsiteY6976"/>
              </a:cxn>
              <a:cxn ang="0">
                <a:pos x="connsiteX6977" y="connsiteY6977"/>
              </a:cxn>
              <a:cxn ang="0">
                <a:pos x="connsiteX6978" y="connsiteY6978"/>
              </a:cxn>
              <a:cxn ang="0">
                <a:pos x="connsiteX6979" y="connsiteY6979"/>
              </a:cxn>
              <a:cxn ang="0">
                <a:pos x="connsiteX6980" y="connsiteY6980"/>
              </a:cxn>
              <a:cxn ang="0">
                <a:pos x="connsiteX6981" y="connsiteY6981"/>
              </a:cxn>
              <a:cxn ang="0">
                <a:pos x="connsiteX6982" y="connsiteY6982"/>
              </a:cxn>
              <a:cxn ang="0">
                <a:pos x="connsiteX6983" y="connsiteY6983"/>
              </a:cxn>
              <a:cxn ang="0">
                <a:pos x="connsiteX6984" y="connsiteY6984"/>
              </a:cxn>
              <a:cxn ang="0">
                <a:pos x="connsiteX6985" y="connsiteY6985"/>
              </a:cxn>
              <a:cxn ang="0">
                <a:pos x="connsiteX6986" y="connsiteY6986"/>
              </a:cxn>
              <a:cxn ang="0">
                <a:pos x="connsiteX6987" y="connsiteY6987"/>
              </a:cxn>
              <a:cxn ang="0">
                <a:pos x="connsiteX6988" y="connsiteY6988"/>
              </a:cxn>
              <a:cxn ang="0">
                <a:pos x="connsiteX6989" y="connsiteY6989"/>
              </a:cxn>
              <a:cxn ang="0">
                <a:pos x="connsiteX6990" y="connsiteY6990"/>
              </a:cxn>
              <a:cxn ang="0">
                <a:pos x="connsiteX6991" y="connsiteY6991"/>
              </a:cxn>
              <a:cxn ang="0">
                <a:pos x="connsiteX6992" y="connsiteY6992"/>
              </a:cxn>
              <a:cxn ang="0">
                <a:pos x="connsiteX6993" y="connsiteY6993"/>
              </a:cxn>
              <a:cxn ang="0">
                <a:pos x="connsiteX6994" y="connsiteY6994"/>
              </a:cxn>
              <a:cxn ang="0">
                <a:pos x="connsiteX6995" y="connsiteY6995"/>
              </a:cxn>
              <a:cxn ang="0">
                <a:pos x="connsiteX6996" y="connsiteY6996"/>
              </a:cxn>
              <a:cxn ang="0">
                <a:pos x="connsiteX6997" y="connsiteY6997"/>
              </a:cxn>
              <a:cxn ang="0">
                <a:pos x="connsiteX6998" y="connsiteY6998"/>
              </a:cxn>
              <a:cxn ang="0">
                <a:pos x="connsiteX6999" y="connsiteY6999"/>
              </a:cxn>
              <a:cxn ang="0">
                <a:pos x="connsiteX7000" y="connsiteY7000"/>
              </a:cxn>
              <a:cxn ang="0">
                <a:pos x="connsiteX7001" y="connsiteY7001"/>
              </a:cxn>
              <a:cxn ang="0">
                <a:pos x="connsiteX7002" y="connsiteY7002"/>
              </a:cxn>
              <a:cxn ang="0">
                <a:pos x="connsiteX7003" y="connsiteY7003"/>
              </a:cxn>
              <a:cxn ang="0">
                <a:pos x="connsiteX7004" y="connsiteY7004"/>
              </a:cxn>
              <a:cxn ang="0">
                <a:pos x="connsiteX7005" y="connsiteY7005"/>
              </a:cxn>
              <a:cxn ang="0">
                <a:pos x="connsiteX7006" y="connsiteY7006"/>
              </a:cxn>
              <a:cxn ang="0">
                <a:pos x="connsiteX7007" y="connsiteY7007"/>
              </a:cxn>
              <a:cxn ang="0">
                <a:pos x="connsiteX7008" y="connsiteY7008"/>
              </a:cxn>
              <a:cxn ang="0">
                <a:pos x="connsiteX7009" y="connsiteY7009"/>
              </a:cxn>
              <a:cxn ang="0">
                <a:pos x="connsiteX7010" y="connsiteY7010"/>
              </a:cxn>
              <a:cxn ang="0">
                <a:pos x="connsiteX7011" y="connsiteY7011"/>
              </a:cxn>
              <a:cxn ang="0">
                <a:pos x="connsiteX7012" y="connsiteY7012"/>
              </a:cxn>
              <a:cxn ang="0">
                <a:pos x="connsiteX7013" y="connsiteY7013"/>
              </a:cxn>
              <a:cxn ang="0">
                <a:pos x="connsiteX7014" y="connsiteY7014"/>
              </a:cxn>
              <a:cxn ang="0">
                <a:pos x="connsiteX7015" y="connsiteY7015"/>
              </a:cxn>
              <a:cxn ang="0">
                <a:pos x="connsiteX7016" y="connsiteY7016"/>
              </a:cxn>
              <a:cxn ang="0">
                <a:pos x="connsiteX7017" y="connsiteY7017"/>
              </a:cxn>
              <a:cxn ang="0">
                <a:pos x="connsiteX7018" y="connsiteY7018"/>
              </a:cxn>
              <a:cxn ang="0">
                <a:pos x="connsiteX7019" y="connsiteY7019"/>
              </a:cxn>
              <a:cxn ang="0">
                <a:pos x="connsiteX7020" y="connsiteY7020"/>
              </a:cxn>
              <a:cxn ang="0">
                <a:pos x="connsiteX7021" y="connsiteY7021"/>
              </a:cxn>
              <a:cxn ang="0">
                <a:pos x="connsiteX7022" y="connsiteY7022"/>
              </a:cxn>
              <a:cxn ang="0">
                <a:pos x="connsiteX7023" y="connsiteY7023"/>
              </a:cxn>
              <a:cxn ang="0">
                <a:pos x="connsiteX7024" y="connsiteY7024"/>
              </a:cxn>
              <a:cxn ang="0">
                <a:pos x="connsiteX7025" y="connsiteY7025"/>
              </a:cxn>
              <a:cxn ang="0">
                <a:pos x="connsiteX7026" y="connsiteY7026"/>
              </a:cxn>
              <a:cxn ang="0">
                <a:pos x="connsiteX7027" y="connsiteY7027"/>
              </a:cxn>
              <a:cxn ang="0">
                <a:pos x="connsiteX7028" y="connsiteY7028"/>
              </a:cxn>
              <a:cxn ang="0">
                <a:pos x="connsiteX7029" y="connsiteY7029"/>
              </a:cxn>
              <a:cxn ang="0">
                <a:pos x="connsiteX7030" y="connsiteY7030"/>
              </a:cxn>
              <a:cxn ang="0">
                <a:pos x="connsiteX7031" y="connsiteY7031"/>
              </a:cxn>
              <a:cxn ang="0">
                <a:pos x="connsiteX7032" y="connsiteY7032"/>
              </a:cxn>
              <a:cxn ang="0">
                <a:pos x="connsiteX7033" y="connsiteY7033"/>
              </a:cxn>
              <a:cxn ang="0">
                <a:pos x="connsiteX7034" y="connsiteY7034"/>
              </a:cxn>
              <a:cxn ang="0">
                <a:pos x="connsiteX7035" y="connsiteY7035"/>
              </a:cxn>
              <a:cxn ang="0">
                <a:pos x="connsiteX7036" y="connsiteY7036"/>
              </a:cxn>
              <a:cxn ang="0">
                <a:pos x="connsiteX7037" y="connsiteY7037"/>
              </a:cxn>
              <a:cxn ang="0">
                <a:pos x="connsiteX7038" y="connsiteY7038"/>
              </a:cxn>
              <a:cxn ang="0">
                <a:pos x="connsiteX7039" y="connsiteY7039"/>
              </a:cxn>
              <a:cxn ang="0">
                <a:pos x="connsiteX7040" y="connsiteY7040"/>
              </a:cxn>
              <a:cxn ang="0">
                <a:pos x="connsiteX7041" y="connsiteY7041"/>
              </a:cxn>
              <a:cxn ang="0">
                <a:pos x="connsiteX7042" y="connsiteY7042"/>
              </a:cxn>
              <a:cxn ang="0">
                <a:pos x="connsiteX7043" y="connsiteY7043"/>
              </a:cxn>
              <a:cxn ang="0">
                <a:pos x="connsiteX7044" y="connsiteY7044"/>
              </a:cxn>
              <a:cxn ang="0">
                <a:pos x="connsiteX7045" y="connsiteY7045"/>
              </a:cxn>
              <a:cxn ang="0">
                <a:pos x="connsiteX7046" y="connsiteY7046"/>
              </a:cxn>
              <a:cxn ang="0">
                <a:pos x="connsiteX7047" y="connsiteY7047"/>
              </a:cxn>
              <a:cxn ang="0">
                <a:pos x="connsiteX7048" y="connsiteY7048"/>
              </a:cxn>
              <a:cxn ang="0">
                <a:pos x="connsiteX7049" y="connsiteY7049"/>
              </a:cxn>
              <a:cxn ang="0">
                <a:pos x="connsiteX7050" y="connsiteY7050"/>
              </a:cxn>
              <a:cxn ang="0">
                <a:pos x="connsiteX7051" y="connsiteY7051"/>
              </a:cxn>
              <a:cxn ang="0">
                <a:pos x="connsiteX7052" y="connsiteY7052"/>
              </a:cxn>
              <a:cxn ang="0">
                <a:pos x="connsiteX7053" y="connsiteY7053"/>
              </a:cxn>
              <a:cxn ang="0">
                <a:pos x="connsiteX7054" y="connsiteY7054"/>
              </a:cxn>
              <a:cxn ang="0">
                <a:pos x="connsiteX7055" y="connsiteY7055"/>
              </a:cxn>
              <a:cxn ang="0">
                <a:pos x="connsiteX7056" y="connsiteY7056"/>
              </a:cxn>
              <a:cxn ang="0">
                <a:pos x="connsiteX7057" y="connsiteY7057"/>
              </a:cxn>
              <a:cxn ang="0">
                <a:pos x="connsiteX7058" y="connsiteY7058"/>
              </a:cxn>
              <a:cxn ang="0">
                <a:pos x="connsiteX7059" y="connsiteY7059"/>
              </a:cxn>
              <a:cxn ang="0">
                <a:pos x="connsiteX7060" y="connsiteY7060"/>
              </a:cxn>
              <a:cxn ang="0">
                <a:pos x="connsiteX7061" y="connsiteY7061"/>
              </a:cxn>
              <a:cxn ang="0">
                <a:pos x="connsiteX7062" y="connsiteY7062"/>
              </a:cxn>
              <a:cxn ang="0">
                <a:pos x="connsiteX7063" y="connsiteY7063"/>
              </a:cxn>
              <a:cxn ang="0">
                <a:pos x="connsiteX7064" y="connsiteY7064"/>
              </a:cxn>
              <a:cxn ang="0">
                <a:pos x="connsiteX7065" y="connsiteY7065"/>
              </a:cxn>
              <a:cxn ang="0">
                <a:pos x="connsiteX7066" y="connsiteY7066"/>
              </a:cxn>
              <a:cxn ang="0">
                <a:pos x="connsiteX7067" y="connsiteY7067"/>
              </a:cxn>
              <a:cxn ang="0">
                <a:pos x="connsiteX7068" y="connsiteY7068"/>
              </a:cxn>
              <a:cxn ang="0">
                <a:pos x="connsiteX7069" y="connsiteY7069"/>
              </a:cxn>
              <a:cxn ang="0">
                <a:pos x="connsiteX7070" y="connsiteY7070"/>
              </a:cxn>
              <a:cxn ang="0">
                <a:pos x="connsiteX7071" y="connsiteY7071"/>
              </a:cxn>
              <a:cxn ang="0">
                <a:pos x="connsiteX7072" y="connsiteY7072"/>
              </a:cxn>
              <a:cxn ang="0">
                <a:pos x="connsiteX7073" y="connsiteY7073"/>
              </a:cxn>
              <a:cxn ang="0">
                <a:pos x="connsiteX7074" y="connsiteY7074"/>
              </a:cxn>
              <a:cxn ang="0">
                <a:pos x="connsiteX7075" y="connsiteY7075"/>
              </a:cxn>
              <a:cxn ang="0">
                <a:pos x="connsiteX7076" y="connsiteY7076"/>
              </a:cxn>
              <a:cxn ang="0">
                <a:pos x="connsiteX7077" y="connsiteY7077"/>
              </a:cxn>
              <a:cxn ang="0">
                <a:pos x="connsiteX7078" y="connsiteY7078"/>
              </a:cxn>
              <a:cxn ang="0">
                <a:pos x="connsiteX7079" y="connsiteY7079"/>
              </a:cxn>
              <a:cxn ang="0">
                <a:pos x="connsiteX7080" y="connsiteY7080"/>
              </a:cxn>
              <a:cxn ang="0">
                <a:pos x="connsiteX7081" y="connsiteY7081"/>
              </a:cxn>
              <a:cxn ang="0">
                <a:pos x="connsiteX7082" y="connsiteY7082"/>
              </a:cxn>
              <a:cxn ang="0">
                <a:pos x="connsiteX7083" y="connsiteY7083"/>
              </a:cxn>
              <a:cxn ang="0">
                <a:pos x="connsiteX7084" y="connsiteY7084"/>
              </a:cxn>
              <a:cxn ang="0">
                <a:pos x="connsiteX7085" y="connsiteY7085"/>
              </a:cxn>
              <a:cxn ang="0">
                <a:pos x="connsiteX7086" y="connsiteY7086"/>
              </a:cxn>
              <a:cxn ang="0">
                <a:pos x="connsiteX7087" y="connsiteY7087"/>
              </a:cxn>
              <a:cxn ang="0">
                <a:pos x="connsiteX7088" y="connsiteY7088"/>
              </a:cxn>
              <a:cxn ang="0">
                <a:pos x="connsiteX7089" y="connsiteY7089"/>
              </a:cxn>
              <a:cxn ang="0">
                <a:pos x="connsiteX7090" y="connsiteY7090"/>
              </a:cxn>
              <a:cxn ang="0">
                <a:pos x="connsiteX7091" y="connsiteY7091"/>
              </a:cxn>
              <a:cxn ang="0">
                <a:pos x="connsiteX7092" y="connsiteY7092"/>
              </a:cxn>
              <a:cxn ang="0">
                <a:pos x="connsiteX7093" y="connsiteY7093"/>
              </a:cxn>
              <a:cxn ang="0">
                <a:pos x="connsiteX7094" y="connsiteY7094"/>
              </a:cxn>
              <a:cxn ang="0">
                <a:pos x="connsiteX7095" y="connsiteY7095"/>
              </a:cxn>
              <a:cxn ang="0">
                <a:pos x="connsiteX7096" y="connsiteY7096"/>
              </a:cxn>
              <a:cxn ang="0">
                <a:pos x="connsiteX7097" y="connsiteY7097"/>
              </a:cxn>
              <a:cxn ang="0">
                <a:pos x="connsiteX7098" y="connsiteY7098"/>
              </a:cxn>
              <a:cxn ang="0">
                <a:pos x="connsiteX7099" y="connsiteY7099"/>
              </a:cxn>
              <a:cxn ang="0">
                <a:pos x="connsiteX7100" y="connsiteY7100"/>
              </a:cxn>
              <a:cxn ang="0">
                <a:pos x="connsiteX7101" y="connsiteY7101"/>
              </a:cxn>
              <a:cxn ang="0">
                <a:pos x="connsiteX7102" y="connsiteY7102"/>
              </a:cxn>
              <a:cxn ang="0">
                <a:pos x="connsiteX7103" y="connsiteY7103"/>
              </a:cxn>
              <a:cxn ang="0">
                <a:pos x="connsiteX7104" y="connsiteY7104"/>
              </a:cxn>
              <a:cxn ang="0">
                <a:pos x="connsiteX7105" y="connsiteY7105"/>
              </a:cxn>
              <a:cxn ang="0">
                <a:pos x="connsiteX7106" y="connsiteY7106"/>
              </a:cxn>
              <a:cxn ang="0">
                <a:pos x="connsiteX7107" y="connsiteY7107"/>
              </a:cxn>
              <a:cxn ang="0">
                <a:pos x="connsiteX7108" y="connsiteY7108"/>
              </a:cxn>
              <a:cxn ang="0">
                <a:pos x="connsiteX7109" y="connsiteY7109"/>
              </a:cxn>
              <a:cxn ang="0">
                <a:pos x="connsiteX7110" y="connsiteY7110"/>
              </a:cxn>
              <a:cxn ang="0">
                <a:pos x="connsiteX7111" y="connsiteY7111"/>
              </a:cxn>
              <a:cxn ang="0">
                <a:pos x="connsiteX7112" y="connsiteY7112"/>
              </a:cxn>
              <a:cxn ang="0">
                <a:pos x="connsiteX7113" y="connsiteY7113"/>
              </a:cxn>
              <a:cxn ang="0">
                <a:pos x="connsiteX7114" y="connsiteY7114"/>
              </a:cxn>
              <a:cxn ang="0">
                <a:pos x="connsiteX7115" y="connsiteY7115"/>
              </a:cxn>
              <a:cxn ang="0">
                <a:pos x="connsiteX7116" y="connsiteY7116"/>
              </a:cxn>
              <a:cxn ang="0">
                <a:pos x="connsiteX7117" y="connsiteY7117"/>
              </a:cxn>
              <a:cxn ang="0">
                <a:pos x="connsiteX7118" y="connsiteY7118"/>
              </a:cxn>
              <a:cxn ang="0">
                <a:pos x="connsiteX7119" y="connsiteY7119"/>
              </a:cxn>
              <a:cxn ang="0">
                <a:pos x="connsiteX7120" y="connsiteY7120"/>
              </a:cxn>
              <a:cxn ang="0">
                <a:pos x="connsiteX7121" y="connsiteY7121"/>
              </a:cxn>
              <a:cxn ang="0">
                <a:pos x="connsiteX7122" y="connsiteY7122"/>
              </a:cxn>
              <a:cxn ang="0">
                <a:pos x="connsiteX7123" y="connsiteY7123"/>
              </a:cxn>
              <a:cxn ang="0">
                <a:pos x="connsiteX7124" y="connsiteY7124"/>
              </a:cxn>
              <a:cxn ang="0">
                <a:pos x="connsiteX7125" y="connsiteY7125"/>
              </a:cxn>
              <a:cxn ang="0">
                <a:pos x="connsiteX7126" y="connsiteY7126"/>
              </a:cxn>
              <a:cxn ang="0">
                <a:pos x="connsiteX7127" y="connsiteY7127"/>
              </a:cxn>
              <a:cxn ang="0">
                <a:pos x="connsiteX7128" y="connsiteY7128"/>
              </a:cxn>
              <a:cxn ang="0">
                <a:pos x="connsiteX7129" y="connsiteY7129"/>
              </a:cxn>
              <a:cxn ang="0">
                <a:pos x="connsiteX7130" y="connsiteY7130"/>
              </a:cxn>
              <a:cxn ang="0">
                <a:pos x="connsiteX7131" y="connsiteY7131"/>
              </a:cxn>
              <a:cxn ang="0">
                <a:pos x="connsiteX7132" y="connsiteY7132"/>
              </a:cxn>
              <a:cxn ang="0">
                <a:pos x="connsiteX7133" y="connsiteY7133"/>
              </a:cxn>
              <a:cxn ang="0">
                <a:pos x="connsiteX7134" y="connsiteY7134"/>
              </a:cxn>
              <a:cxn ang="0">
                <a:pos x="connsiteX7135" y="connsiteY7135"/>
              </a:cxn>
              <a:cxn ang="0">
                <a:pos x="connsiteX7136" y="connsiteY7136"/>
              </a:cxn>
              <a:cxn ang="0">
                <a:pos x="connsiteX7137" y="connsiteY7137"/>
              </a:cxn>
              <a:cxn ang="0">
                <a:pos x="connsiteX7138" y="connsiteY7138"/>
              </a:cxn>
              <a:cxn ang="0">
                <a:pos x="connsiteX7139" y="connsiteY7139"/>
              </a:cxn>
              <a:cxn ang="0">
                <a:pos x="connsiteX7140" y="connsiteY7140"/>
              </a:cxn>
              <a:cxn ang="0">
                <a:pos x="connsiteX7141" y="connsiteY7141"/>
              </a:cxn>
              <a:cxn ang="0">
                <a:pos x="connsiteX7142" y="connsiteY7142"/>
              </a:cxn>
              <a:cxn ang="0">
                <a:pos x="connsiteX7143" y="connsiteY7143"/>
              </a:cxn>
              <a:cxn ang="0">
                <a:pos x="connsiteX7144" y="connsiteY7144"/>
              </a:cxn>
              <a:cxn ang="0">
                <a:pos x="connsiteX7145" y="connsiteY7145"/>
              </a:cxn>
              <a:cxn ang="0">
                <a:pos x="connsiteX7146" y="connsiteY7146"/>
              </a:cxn>
              <a:cxn ang="0">
                <a:pos x="connsiteX7147" y="connsiteY7147"/>
              </a:cxn>
              <a:cxn ang="0">
                <a:pos x="connsiteX7148" y="connsiteY7148"/>
              </a:cxn>
              <a:cxn ang="0">
                <a:pos x="connsiteX7149" y="connsiteY7149"/>
              </a:cxn>
              <a:cxn ang="0">
                <a:pos x="connsiteX7150" y="connsiteY7150"/>
              </a:cxn>
              <a:cxn ang="0">
                <a:pos x="connsiteX7151" y="connsiteY7151"/>
              </a:cxn>
              <a:cxn ang="0">
                <a:pos x="connsiteX7152" y="connsiteY7152"/>
              </a:cxn>
              <a:cxn ang="0">
                <a:pos x="connsiteX7153" y="connsiteY7153"/>
              </a:cxn>
              <a:cxn ang="0">
                <a:pos x="connsiteX7154" y="connsiteY7154"/>
              </a:cxn>
              <a:cxn ang="0">
                <a:pos x="connsiteX7155" y="connsiteY7155"/>
              </a:cxn>
              <a:cxn ang="0">
                <a:pos x="connsiteX7156" y="connsiteY7156"/>
              </a:cxn>
              <a:cxn ang="0">
                <a:pos x="connsiteX7157" y="connsiteY7157"/>
              </a:cxn>
              <a:cxn ang="0">
                <a:pos x="connsiteX7158" y="connsiteY7158"/>
              </a:cxn>
              <a:cxn ang="0">
                <a:pos x="connsiteX7159" y="connsiteY7159"/>
              </a:cxn>
              <a:cxn ang="0">
                <a:pos x="connsiteX7160" y="connsiteY7160"/>
              </a:cxn>
              <a:cxn ang="0">
                <a:pos x="connsiteX7161" y="connsiteY7161"/>
              </a:cxn>
              <a:cxn ang="0">
                <a:pos x="connsiteX7162" y="connsiteY7162"/>
              </a:cxn>
              <a:cxn ang="0">
                <a:pos x="connsiteX7163" y="connsiteY7163"/>
              </a:cxn>
              <a:cxn ang="0">
                <a:pos x="connsiteX7164" y="connsiteY7164"/>
              </a:cxn>
              <a:cxn ang="0">
                <a:pos x="connsiteX7165" y="connsiteY7165"/>
              </a:cxn>
              <a:cxn ang="0">
                <a:pos x="connsiteX7166" y="connsiteY7166"/>
              </a:cxn>
              <a:cxn ang="0">
                <a:pos x="connsiteX7167" y="connsiteY7167"/>
              </a:cxn>
              <a:cxn ang="0">
                <a:pos x="connsiteX7168" y="connsiteY7168"/>
              </a:cxn>
              <a:cxn ang="0">
                <a:pos x="connsiteX7169" y="connsiteY7169"/>
              </a:cxn>
              <a:cxn ang="0">
                <a:pos x="connsiteX7170" y="connsiteY7170"/>
              </a:cxn>
              <a:cxn ang="0">
                <a:pos x="connsiteX7171" y="connsiteY7171"/>
              </a:cxn>
              <a:cxn ang="0">
                <a:pos x="connsiteX7172" y="connsiteY7172"/>
              </a:cxn>
              <a:cxn ang="0">
                <a:pos x="connsiteX7173" y="connsiteY7173"/>
              </a:cxn>
              <a:cxn ang="0">
                <a:pos x="connsiteX7174" y="connsiteY7174"/>
              </a:cxn>
              <a:cxn ang="0">
                <a:pos x="connsiteX7175" y="connsiteY7175"/>
              </a:cxn>
              <a:cxn ang="0">
                <a:pos x="connsiteX7176" y="connsiteY7176"/>
              </a:cxn>
              <a:cxn ang="0">
                <a:pos x="connsiteX7177" y="connsiteY7177"/>
              </a:cxn>
              <a:cxn ang="0">
                <a:pos x="connsiteX7178" y="connsiteY7178"/>
              </a:cxn>
              <a:cxn ang="0">
                <a:pos x="connsiteX7179" y="connsiteY7179"/>
              </a:cxn>
              <a:cxn ang="0">
                <a:pos x="connsiteX7180" y="connsiteY7180"/>
              </a:cxn>
              <a:cxn ang="0">
                <a:pos x="connsiteX7181" y="connsiteY7181"/>
              </a:cxn>
              <a:cxn ang="0">
                <a:pos x="connsiteX7182" y="connsiteY7182"/>
              </a:cxn>
              <a:cxn ang="0">
                <a:pos x="connsiteX7183" y="connsiteY7183"/>
              </a:cxn>
              <a:cxn ang="0">
                <a:pos x="connsiteX7184" y="connsiteY7184"/>
              </a:cxn>
              <a:cxn ang="0">
                <a:pos x="connsiteX7185" y="connsiteY7185"/>
              </a:cxn>
              <a:cxn ang="0">
                <a:pos x="connsiteX7186" y="connsiteY7186"/>
              </a:cxn>
              <a:cxn ang="0">
                <a:pos x="connsiteX7187" y="connsiteY7187"/>
              </a:cxn>
              <a:cxn ang="0">
                <a:pos x="connsiteX7188" y="connsiteY7188"/>
              </a:cxn>
              <a:cxn ang="0">
                <a:pos x="connsiteX7189" y="connsiteY7189"/>
              </a:cxn>
              <a:cxn ang="0">
                <a:pos x="connsiteX7190" y="connsiteY7190"/>
              </a:cxn>
              <a:cxn ang="0">
                <a:pos x="connsiteX7191" y="connsiteY7191"/>
              </a:cxn>
              <a:cxn ang="0">
                <a:pos x="connsiteX7192" y="connsiteY7192"/>
              </a:cxn>
              <a:cxn ang="0">
                <a:pos x="connsiteX7193" y="connsiteY7193"/>
              </a:cxn>
              <a:cxn ang="0">
                <a:pos x="connsiteX7194" y="connsiteY7194"/>
              </a:cxn>
              <a:cxn ang="0">
                <a:pos x="connsiteX7195" y="connsiteY7195"/>
              </a:cxn>
              <a:cxn ang="0">
                <a:pos x="connsiteX7196" y="connsiteY7196"/>
              </a:cxn>
              <a:cxn ang="0">
                <a:pos x="connsiteX7197" y="connsiteY7197"/>
              </a:cxn>
              <a:cxn ang="0">
                <a:pos x="connsiteX7198" y="connsiteY7198"/>
              </a:cxn>
              <a:cxn ang="0">
                <a:pos x="connsiteX7199" y="connsiteY7199"/>
              </a:cxn>
              <a:cxn ang="0">
                <a:pos x="connsiteX7200" y="connsiteY7200"/>
              </a:cxn>
              <a:cxn ang="0">
                <a:pos x="connsiteX7201" y="connsiteY7201"/>
              </a:cxn>
              <a:cxn ang="0">
                <a:pos x="connsiteX7202" y="connsiteY7202"/>
              </a:cxn>
              <a:cxn ang="0">
                <a:pos x="connsiteX7203" y="connsiteY7203"/>
              </a:cxn>
              <a:cxn ang="0">
                <a:pos x="connsiteX7204" y="connsiteY7204"/>
              </a:cxn>
              <a:cxn ang="0">
                <a:pos x="connsiteX7205" y="connsiteY7205"/>
              </a:cxn>
              <a:cxn ang="0">
                <a:pos x="connsiteX7206" y="connsiteY7206"/>
              </a:cxn>
              <a:cxn ang="0">
                <a:pos x="connsiteX7207" y="connsiteY7207"/>
              </a:cxn>
              <a:cxn ang="0">
                <a:pos x="connsiteX7208" y="connsiteY7208"/>
              </a:cxn>
              <a:cxn ang="0">
                <a:pos x="connsiteX7209" y="connsiteY7209"/>
              </a:cxn>
              <a:cxn ang="0">
                <a:pos x="connsiteX7210" y="connsiteY7210"/>
              </a:cxn>
              <a:cxn ang="0">
                <a:pos x="connsiteX7211" y="connsiteY7211"/>
              </a:cxn>
              <a:cxn ang="0">
                <a:pos x="connsiteX7212" y="connsiteY7212"/>
              </a:cxn>
              <a:cxn ang="0">
                <a:pos x="connsiteX7213" y="connsiteY7213"/>
              </a:cxn>
              <a:cxn ang="0">
                <a:pos x="connsiteX7214" y="connsiteY7214"/>
              </a:cxn>
              <a:cxn ang="0">
                <a:pos x="connsiteX7215" y="connsiteY7215"/>
              </a:cxn>
              <a:cxn ang="0">
                <a:pos x="connsiteX7216" y="connsiteY7216"/>
              </a:cxn>
              <a:cxn ang="0">
                <a:pos x="connsiteX7217" y="connsiteY7217"/>
              </a:cxn>
              <a:cxn ang="0">
                <a:pos x="connsiteX7218" y="connsiteY7218"/>
              </a:cxn>
              <a:cxn ang="0">
                <a:pos x="connsiteX7219" y="connsiteY7219"/>
              </a:cxn>
              <a:cxn ang="0">
                <a:pos x="connsiteX7220" y="connsiteY7220"/>
              </a:cxn>
              <a:cxn ang="0">
                <a:pos x="connsiteX7221" y="connsiteY7221"/>
              </a:cxn>
              <a:cxn ang="0">
                <a:pos x="connsiteX7222" y="connsiteY7222"/>
              </a:cxn>
              <a:cxn ang="0">
                <a:pos x="connsiteX7223" y="connsiteY7223"/>
              </a:cxn>
              <a:cxn ang="0">
                <a:pos x="connsiteX7224" y="connsiteY7224"/>
              </a:cxn>
              <a:cxn ang="0">
                <a:pos x="connsiteX7225" y="connsiteY7225"/>
              </a:cxn>
              <a:cxn ang="0">
                <a:pos x="connsiteX7226" y="connsiteY7226"/>
              </a:cxn>
              <a:cxn ang="0">
                <a:pos x="connsiteX7227" y="connsiteY7227"/>
              </a:cxn>
              <a:cxn ang="0">
                <a:pos x="connsiteX7228" y="connsiteY7228"/>
              </a:cxn>
              <a:cxn ang="0">
                <a:pos x="connsiteX7229" y="connsiteY7229"/>
              </a:cxn>
              <a:cxn ang="0">
                <a:pos x="connsiteX7230" y="connsiteY7230"/>
              </a:cxn>
              <a:cxn ang="0">
                <a:pos x="connsiteX7231" y="connsiteY7231"/>
              </a:cxn>
              <a:cxn ang="0">
                <a:pos x="connsiteX7232" y="connsiteY7232"/>
              </a:cxn>
              <a:cxn ang="0">
                <a:pos x="connsiteX7233" y="connsiteY7233"/>
              </a:cxn>
              <a:cxn ang="0">
                <a:pos x="connsiteX7234" y="connsiteY7234"/>
              </a:cxn>
              <a:cxn ang="0">
                <a:pos x="connsiteX7235" y="connsiteY7235"/>
              </a:cxn>
              <a:cxn ang="0">
                <a:pos x="connsiteX7236" y="connsiteY7236"/>
              </a:cxn>
              <a:cxn ang="0">
                <a:pos x="connsiteX7237" y="connsiteY7237"/>
              </a:cxn>
              <a:cxn ang="0">
                <a:pos x="connsiteX7238" y="connsiteY7238"/>
              </a:cxn>
              <a:cxn ang="0">
                <a:pos x="connsiteX7239" y="connsiteY7239"/>
              </a:cxn>
              <a:cxn ang="0">
                <a:pos x="connsiteX7240" y="connsiteY7240"/>
              </a:cxn>
              <a:cxn ang="0">
                <a:pos x="connsiteX7241" y="connsiteY7241"/>
              </a:cxn>
              <a:cxn ang="0">
                <a:pos x="connsiteX7242" y="connsiteY7242"/>
              </a:cxn>
              <a:cxn ang="0">
                <a:pos x="connsiteX7243" y="connsiteY7243"/>
              </a:cxn>
              <a:cxn ang="0">
                <a:pos x="connsiteX7244" y="connsiteY7244"/>
              </a:cxn>
              <a:cxn ang="0">
                <a:pos x="connsiteX7245" y="connsiteY7245"/>
              </a:cxn>
              <a:cxn ang="0">
                <a:pos x="connsiteX7246" y="connsiteY7246"/>
              </a:cxn>
              <a:cxn ang="0">
                <a:pos x="connsiteX7247" y="connsiteY7247"/>
              </a:cxn>
              <a:cxn ang="0">
                <a:pos x="connsiteX7248" y="connsiteY7248"/>
              </a:cxn>
              <a:cxn ang="0">
                <a:pos x="connsiteX7249" y="connsiteY7249"/>
              </a:cxn>
              <a:cxn ang="0">
                <a:pos x="connsiteX7250" y="connsiteY7250"/>
              </a:cxn>
              <a:cxn ang="0">
                <a:pos x="connsiteX7251" y="connsiteY7251"/>
              </a:cxn>
              <a:cxn ang="0">
                <a:pos x="connsiteX7252" y="connsiteY7252"/>
              </a:cxn>
              <a:cxn ang="0">
                <a:pos x="connsiteX7253" y="connsiteY7253"/>
              </a:cxn>
              <a:cxn ang="0">
                <a:pos x="connsiteX7254" y="connsiteY7254"/>
              </a:cxn>
              <a:cxn ang="0">
                <a:pos x="connsiteX7255" y="connsiteY7255"/>
              </a:cxn>
              <a:cxn ang="0">
                <a:pos x="connsiteX7256" y="connsiteY7256"/>
              </a:cxn>
              <a:cxn ang="0">
                <a:pos x="connsiteX7257" y="connsiteY7257"/>
              </a:cxn>
              <a:cxn ang="0">
                <a:pos x="connsiteX7258" y="connsiteY7258"/>
              </a:cxn>
              <a:cxn ang="0">
                <a:pos x="connsiteX7259" y="connsiteY7259"/>
              </a:cxn>
              <a:cxn ang="0">
                <a:pos x="connsiteX7260" y="connsiteY7260"/>
              </a:cxn>
              <a:cxn ang="0">
                <a:pos x="connsiteX7261" y="connsiteY7261"/>
              </a:cxn>
              <a:cxn ang="0">
                <a:pos x="connsiteX7262" y="connsiteY7262"/>
              </a:cxn>
              <a:cxn ang="0">
                <a:pos x="connsiteX7263" y="connsiteY7263"/>
              </a:cxn>
              <a:cxn ang="0">
                <a:pos x="connsiteX7264" y="connsiteY7264"/>
              </a:cxn>
              <a:cxn ang="0">
                <a:pos x="connsiteX7265" y="connsiteY7265"/>
              </a:cxn>
              <a:cxn ang="0">
                <a:pos x="connsiteX7266" y="connsiteY7266"/>
              </a:cxn>
              <a:cxn ang="0">
                <a:pos x="connsiteX7267" y="connsiteY7267"/>
              </a:cxn>
              <a:cxn ang="0">
                <a:pos x="connsiteX7268" y="connsiteY7268"/>
              </a:cxn>
              <a:cxn ang="0">
                <a:pos x="connsiteX7269" y="connsiteY7269"/>
              </a:cxn>
              <a:cxn ang="0">
                <a:pos x="connsiteX7270" y="connsiteY7270"/>
              </a:cxn>
              <a:cxn ang="0">
                <a:pos x="connsiteX7271" y="connsiteY7271"/>
              </a:cxn>
              <a:cxn ang="0">
                <a:pos x="connsiteX7272" y="connsiteY7272"/>
              </a:cxn>
              <a:cxn ang="0">
                <a:pos x="connsiteX7273" y="connsiteY7273"/>
              </a:cxn>
              <a:cxn ang="0">
                <a:pos x="connsiteX7274" y="connsiteY7274"/>
              </a:cxn>
              <a:cxn ang="0">
                <a:pos x="connsiteX7275" y="connsiteY7275"/>
              </a:cxn>
              <a:cxn ang="0">
                <a:pos x="connsiteX7276" y="connsiteY7276"/>
              </a:cxn>
              <a:cxn ang="0">
                <a:pos x="connsiteX7277" y="connsiteY7277"/>
              </a:cxn>
              <a:cxn ang="0">
                <a:pos x="connsiteX7278" y="connsiteY7278"/>
              </a:cxn>
              <a:cxn ang="0">
                <a:pos x="connsiteX7279" y="connsiteY7279"/>
              </a:cxn>
              <a:cxn ang="0">
                <a:pos x="connsiteX7280" y="connsiteY7280"/>
              </a:cxn>
              <a:cxn ang="0">
                <a:pos x="connsiteX7281" y="connsiteY7281"/>
              </a:cxn>
              <a:cxn ang="0">
                <a:pos x="connsiteX7282" y="connsiteY7282"/>
              </a:cxn>
              <a:cxn ang="0">
                <a:pos x="connsiteX7283" y="connsiteY7283"/>
              </a:cxn>
              <a:cxn ang="0">
                <a:pos x="connsiteX7284" y="connsiteY7284"/>
              </a:cxn>
              <a:cxn ang="0">
                <a:pos x="connsiteX7285" y="connsiteY7285"/>
              </a:cxn>
              <a:cxn ang="0">
                <a:pos x="connsiteX7286" y="connsiteY7286"/>
              </a:cxn>
              <a:cxn ang="0">
                <a:pos x="connsiteX7287" y="connsiteY7287"/>
              </a:cxn>
              <a:cxn ang="0">
                <a:pos x="connsiteX7288" y="connsiteY7288"/>
              </a:cxn>
              <a:cxn ang="0">
                <a:pos x="connsiteX7289" y="connsiteY7289"/>
              </a:cxn>
              <a:cxn ang="0">
                <a:pos x="connsiteX7290" y="connsiteY7290"/>
              </a:cxn>
              <a:cxn ang="0">
                <a:pos x="connsiteX7291" y="connsiteY7291"/>
              </a:cxn>
              <a:cxn ang="0">
                <a:pos x="connsiteX7292" y="connsiteY7292"/>
              </a:cxn>
              <a:cxn ang="0">
                <a:pos x="connsiteX7293" y="connsiteY7293"/>
              </a:cxn>
              <a:cxn ang="0">
                <a:pos x="connsiteX7294" y="connsiteY7294"/>
              </a:cxn>
              <a:cxn ang="0">
                <a:pos x="connsiteX7295" y="connsiteY7295"/>
              </a:cxn>
              <a:cxn ang="0">
                <a:pos x="connsiteX7296" y="connsiteY7296"/>
              </a:cxn>
              <a:cxn ang="0">
                <a:pos x="connsiteX7297" y="connsiteY7297"/>
              </a:cxn>
              <a:cxn ang="0">
                <a:pos x="connsiteX7298" y="connsiteY7298"/>
              </a:cxn>
              <a:cxn ang="0">
                <a:pos x="connsiteX7299" y="connsiteY7299"/>
              </a:cxn>
              <a:cxn ang="0">
                <a:pos x="connsiteX7300" y="connsiteY7300"/>
              </a:cxn>
              <a:cxn ang="0">
                <a:pos x="connsiteX7301" y="connsiteY7301"/>
              </a:cxn>
              <a:cxn ang="0">
                <a:pos x="connsiteX7302" y="connsiteY7302"/>
              </a:cxn>
              <a:cxn ang="0">
                <a:pos x="connsiteX7303" y="connsiteY7303"/>
              </a:cxn>
              <a:cxn ang="0">
                <a:pos x="connsiteX7304" y="connsiteY7304"/>
              </a:cxn>
              <a:cxn ang="0">
                <a:pos x="connsiteX7305" y="connsiteY7305"/>
              </a:cxn>
              <a:cxn ang="0">
                <a:pos x="connsiteX7306" y="connsiteY7306"/>
              </a:cxn>
              <a:cxn ang="0">
                <a:pos x="connsiteX7307" y="connsiteY7307"/>
              </a:cxn>
              <a:cxn ang="0">
                <a:pos x="connsiteX7308" y="connsiteY7308"/>
              </a:cxn>
              <a:cxn ang="0">
                <a:pos x="connsiteX7309" y="connsiteY7309"/>
              </a:cxn>
              <a:cxn ang="0">
                <a:pos x="connsiteX7310" y="connsiteY7310"/>
              </a:cxn>
              <a:cxn ang="0">
                <a:pos x="connsiteX7311" y="connsiteY7311"/>
              </a:cxn>
              <a:cxn ang="0">
                <a:pos x="connsiteX7312" y="connsiteY7312"/>
              </a:cxn>
              <a:cxn ang="0">
                <a:pos x="connsiteX7313" y="connsiteY7313"/>
              </a:cxn>
              <a:cxn ang="0">
                <a:pos x="connsiteX7314" y="connsiteY7314"/>
              </a:cxn>
              <a:cxn ang="0">
                <a:pos x="connsiteX7315" y="connsiteY7315"/>
              </a:cxn>
              <a:cxn ang="0">
                <a:pos x="connsiteX7316" y="connsiteY7316"/>
              </a:cxn>
              <a:cxn ang="0">
                <a:pos x="connsiteX7317" y="connsiteY7317"/>
              </a:cxn>
              <a:cxn ang="0">
                <a:pos x="connsiteX7318" y="connsiteY7318"/>
              </a:cxn>
              <a:cxn ang="0">
                <a:pos x="connsiteX7319" y="connsiteY7319"/>
              </a:cxn>
              <a:cxn ang="0">
                <a:pos x="connsiteX7320" y="connsiteY7320"/>
              </a:cxn>
              <a:cxn ang="0">
                <a:pos x="connsiteX7321" y="connsiteY7321"/>
              </a:cxn>
              <a:cxn ang="0">
                <a:pos x="connsiteX7322" y="connsiteY7322"/>
              </a:cxn>
              <a:cxn ang="0">
                <a:pos x="connsiteX7323" y="connsiteY7323"/>
              </a:cxn>
              <a:cxn ang="0">
                <a:pos x="connsiteX7324" y="connsiteY7324"/>
              </a:cxn>
              <a:cxn ang="0">
                <a:pos x="connsiteX7325" y="connsiteY7325"/>
              </a:cxn>
              <a:cxn ang="0">
                <a:pos x="connsiteX7326" y="connsiteY7326"/>
              </a:cxn>
              <a:cxn ang="0">
                <a:pos x="connsiteX7327" y="connsiteY7327"/>
              </a:cxn>
              <a:cxn ang="0">
                <a:pos x="connsiteX7328" y="connsiteY7328"/>
              </a:cxn>
              <a:cxn ang="0">
                <a:pos x="connsiteX7329" y="connsiteY7329"/>
              </a:cxn>
              <a:cxn ang="0">
                <a:pos x="connsiteX7330" y="connsiteY7330"/>
              </a:cxn>
              <a:cxn ang="0">
                <a:pos x="connsiteX7331" y="connsiteY7331"/>
              </a:cxn>
              <a:cxn ang="0">
                <a:pos x="connsiteX7332" y="connsiteY7332"/>
              </a:cxn>
              <a:cxn ang="0">
                <a:pos x="connsiteX7333" y="connsiteY7333"/>
              </a:cxn>
              <a:cxn ang="0">
                <a:pos x="connsiteX7334" y="connsiteY7334"/>
              </a:cxn>
              <a:cxn ang="0">
                <a:pos x="connsiteX7335" y="connsiteY7335"/>
              </a:cxn>
              <a:cxn ang="0">
                <a:pos x="connsiteX7336" y="connsiteY7336"/>
              </a:cxn>
              <a:cxn ang="0">
                <a:pos x="connsiteX7337" y="connsiteY7337"/>
              </a:cxn>
              <a:cxn ang="0">
                <a:pos x="connsiteX7338" y="connsiteY7338"/>
              </a:cxn>
              <a:cxn ang="0">
                <a:pos x="connsiteX7339" y="connsiteY7339"/>
              </a:cxn>
              <a:cxn ang="0">
                <a:pos x="connsiteX7340" y="connsiteY7340"/>
              </a:cxn>
              <a:cxn ang="0">
                <a:pos x="connsiteX7341" y="connsiteY7341"/>
              </a:cxn>
              <a:cxn ang="0">
                <a:pos x="connsiteX7342" y="connsiteY7342"/>
              </a:cxn>
              <a:cxn ang="0">
                <a:pos x="connsiteX7343" y="connsiteY7343"/>
              </a:cxn>
              <a:cxn ang="0">
                <a:pos x="connsiteX7344" y="connsiteY7344"/>
              </a:cxn>
              <a:cxn ang="0">
                <a:pos x="connsiteX7345" y="connsiteY7345"/>
              </a:cxn>
              <a:cxn ang="0">
                <a:pos x="connsiteX7346" y="connsiteY7346"/>
              </a:cxn>
              <a:cxn ang="0">
                <a:pos x="connsiteX7347" y="connsiteY7347"/>
              </a:cxn>
              <a:cxn ang="0">
                <a:pos x="connsiteX7348" y="connsiteY7348"/>
              </a:cxn>
              <a:cxn ang="0">
                <a:pos x="connsiteX7349" y="connsiteY7349"/>
              </a:cxn>
              <a:cxn ang="0">
                <a:pos x="connsiteX7350" y="connsiteY7350"/>
              </a:cxn>
              <a:cxn ang="0">
                <a:pos x="connsiteX7351" y="connsiteY7351"/>
              </a:cxn>
              <a:cxn ang="0">
                <a:pos x="connsiteX7352" y="connsiteY7352"/>
              </a:cxn>
              <a:cxn ang="0">
                <a:pos x="connsiteX7353" y="connsiteY7353"/>
              </a:cxn>
              <a:cxn ang="0">
                <a:pos x="connsiteX7354" y="connsiteY7354"/>
              </a:cxn>
              <a:cxn ang="0">
                <a:pos x="connsiteX7355" y="connsiteY7355"/>
              </a:cxn>
              <a:cxn ang="0">
                <a:pos x="connsiteX7356" y="connsiteY7356"/>
              </a:cxn>
              <a:cxn ang="0">
                <a:pos x="connsiteX7357" y="connsiteY7357"/>
              </a:cxn>
              <a:cxn ang="0">
                <a:pos x="connsiteX7358" y="connsiteY7358"/>
              </a:cxn>
              <a:cxn ang="0">
                <a:pos x="connsiteX7359" y="connsiteY7359"/>
              </a:cxn>
              <a:cxn ang="0">
                <a:pos x="connsiteX7360" y="connsiteY7360"/>
              </a:cxn>
              <a:cxn ang="0">
                <a:pos x="connsiteX7361" y="connsiteY7361"/>
              </a:cxn>
              <a:cxn ang="0">
                <a:pos x="connsiteX7362" y="connsiteY7362"/>
              </a:cxn>
              <a:cxn ang="0">
                <a:pos x="connsiteX7363" y="connsiteY7363"/>
              </a:cxn>
              <a:cxn ang="0">
                <a:pos x="connsiteX7364" y="connsiteY7364"/>
              </a:cxn>
              <a:cxn ang="0">
                <a:pos x="connsiteX7365" y="connsiteY7365"/>
              </a:cxn>
              <a:cxn ang="0">
                <a:pos x="connsiteX7366" y="connsiteY7366"/>
              </a:cxn>
              <a:cxn ang="0">
                <a:pos x="connsiteX7367" y="connsiteY7367"/>
              </a:cxn>
              <a:cxn ang="0">
                <a:pos x="connsiteX7368" y="connsiteY7368"/>
              </a:cxn>
              <a:cxn ang="0">
                <a:pos x="connsiteX7369" y="connsiteY7369"/>
              </a:cxn>
              <a:cxn ang="0">
                <a:pos x="connsiteX7370" y="connsiteY7370"/>
              </a:cxn>
              <a:cxn ang="0">
                <a:pos x="connsiteX7371" y="connsiteY7371"/>
              </a:cxn>
              <a:cxn ang="0">
                <a:pos x="connsiteX7372" y="connsiteY7372"/>
              </a:cxn>
              <a:cxn ang="0">
                <a:pos x="connsiteX7373" y="connsiteY7373"/>
              </a:cxn>
              <a:cxn ang="0">
                <a:pos x="connsiteX7374" y="connsiteY7374"/>
              </a:cxn>
              <a:cxn ang="0">
                <a:pos x="connsiteX7375" y="connsiteY7375"/>
              </a:cxn>
              <a:cxn ang="0">
                <a:pos x="connsiteX7376" y="connsiteY7376"/>
              </a:cxn>
              <a:cxn ang="0">
                <a:pos x="connsiteX7377" y="connsiteY7377"/>
              </a:cxn>
              <a:cxn ang="0">
                <a:pos x="connsiteX7378" y="connsiteY7378"/>
              </a:cxn>
              <a:cxn ang="0">
                <a:pos x="connsiteX7379" y="connsiteY7379"/>
              </a:cxn>
              <a:cxn ang="0">
                <a:pos x="connsiteX7380" y="connsiteY7380"/>
              </a:cxn>
              <a:cxn ang="0">
                <a:pos x="connsiteX7381" y="connsiteY7381"/>
              </a:cxn>
              <a:cxn ang="0">
                <a:pos x="connsiteX7382" y="connsiteY7382"/>
              </a:cxn>
              <a:cxn ang="0">
                <a:pos x="connsiteX7383" y="connsiteY7383"/>
              </a:cxn>
              <a:cxn ang="0">
                <a:pos x="connsiteX7384" y="connsiteY7384"/>
              </a:cxn>
              <a:cxn ang="0">
                <a:pos x="connsiteX7385" y="connsiteY7385"/>
              </a:cxn>
              <a:cxn ang="0">
                <a:pos x="connsiteX7386" y="connsiteY7386"/>
              </a:cxn>
              <a:cxn ang="0">
                <a:pos x="connsiteX7387" y="connsiteY7387"/>
              </a:cxn>
              <a:cxn ang="0">
                <a:pos x="connsiteX7388" y="connsiteY7388"/>
              </a:cxn>
              <a:cxn ang="0">
                <a:pos x="connsiteX7389" y="connsiteY7389"/>
              </a:cxn>
              <a:cxn ang="0">
                <a:pos x="connsiteX7390" y="connsiteY7390"/>
              </a:cxn>
              <a:cxn ang="0">
                <a:pos x="connsiteX7391" y="connsiteY7391"/>
              </a:cxn>
              <a:cxn ang="0">
                <a:pos x="connsiteX7392" y="connsiteY7392"/>
              </a:cxn>
              <a:cxn ang="0">
                <a:pos x="connsiteX7393" y="connsiteY7393"/>
              </a:cxn>
              <a:cxn ang="0">
                <a:pos x="connsiteX7394" y="connsiteY7394"/>
              </a:cxn>
              <a:cxn ang="0">
                <a:pos x="connsiteX7395" y="connsiteY7395"/>
              </a:cxn>
              <a:cxn ang="0">
                <a:pos x="connsiteX7396" y="connsiteY7396"/>
              </a:cxn>
              <a:cxn ang="0">
                <a:pos x="connsiteX7397" y="connsiteY7397"/>
              </a:cxn>
              <a:cxn ang="0">
                <a:pos x="connsiteX7398" y="connsiteY7398"/>
              </a:cxn>
              <a:cxn ang="0">
                <a:pos x="connsiteX7399" y="connsiteY7399"/>
              </a:cxn>
              <a:cxn ang="0">
                <a:pos x="connsiteX7400" y="connsiteY7400"/>
              </a:cxn>
              <a:cxn ang="0">
                <a:pos x="connsiteX7401" y="connsiteY7401"/>
              </a:cxn>
              <a:cxn ang="0">
                <a:pos x="connsiteX7402" y="connsiteY7402"/>
              </a:cxn>
              <a:cxn ang="0">
                <a:pos x="connsiteX7403" y="connsiteY7403"/>
              </a:cxn>
              <a:cxn ang="0">
                <a:pos x="connsiteX7404" y="connsiteY7404"/>
              </a:cxn>
              <a:cxn ang="0">
                <a:pos x="connsiteX7405" y="connsiteY7405"/>
              </a:cxn>
              <a:cxn ang="0">
                <a:pos x="connsiteX7406" y="connsiteY7406"/>
              </a:cxn>
              <a:cxn ang="0">
                <a:pos x="connsiteX7407" y="connsiteY7407"/>
              </a:cxn>
              <a:cxn ang="0">
                <a:pos x="connsiteX7408" y="connsiteY7408"/>
              </a:cxn>
              <a:cxn ang="0">
                <a:pos x="connsiteX7409" y="connsiteY7409"/>
              </a:cxn>
              <a:cxn ang="0">
                <a:pos x="connsiteX7410" y="connsiteY7410"/>
              </a:cxn>
              <a:cxn ang="0">
                <a:pos x="connsiteX7411" y="connsiteY7411"/>
              </a:cxn>
              <a:cxn ang="0">
                <a:pos x="connsiteX7412" y="connsiteY7412"/>
              </a:cxn>
              <a:cxn ang="0">
                <a:pos x="connsiteX7413" y="connsiteY7413"/>
              </a:cxn>
              <a:cxn ang="0">
                <a:pos x="connsiteX7414" y="connsiteY7414"/>
              </a:cxn>
              <a:cxn ang="0">
                <a:pos x="connsiteX7415" y="connsiteY7415"/>
              </a:cxn>
              <a:cxn ang="0">
                <a:pos x="connsiteX7416" y="connsiteY7416"/>
              </a:cxn>
              <a:cxn ang="0">
                <a:pos x="connsiteX7417" y="connsiteY7417"/>
              </a:cxn>
              <a:cxn ang="0">
                <a:pos x="connsiteX7418" y="connsiteY7418"/>
              </a:cxn>
              <a:cxn ang="0">
                <a:pos x="connsiteX7419" y="connsiteY7419"/>
              </a:cxn>
              <a:cxn ang="0">
                <a:pos x="connsiteX7420" y="connsiteY7420"/>
              </a:cxn>
              <a:cxn ang="0">
                <a:pos x="connsiteX7421" y="connsiteY7421"/>
              </a:cxn>
              <a:cxn ang="0">
                <a:pos x="connsiteX7422" y="connsiteY7422"/>
              </a:cxn>
              <a:cxn ang="0">
                <a:pos x="connsiteX7423" y="connsiteY7423"/>
              </a:cxn>
              <a:cxn ang="0">
                <a:pos x="connsiteX7424" y="connsiteY7424"/>
              </a:cxn>
              <a:cxn ang="0">
                <a:pos x="connsiteX7425" y="connsiteY7425"/>
              </a:cxn>
              <a:cxn ang="0">
                <a:pos x="connsiteX7426" y="connsiteY7426"/>
              </a:cxn>
              <a:cxn ang="0">
                <a:pos x="connsiteX7427" y="connsiteY7427"/>
              </a:cxn>
              <a:cxn ang="0">
                <a:pos x="connsiteX7428" y="connsiteY7428"/>
              </a:cxn>
              <a:cxn ang="0">
                <a:pos x="connsiteX7429" y="connsiteY7429"/>
              </a:cxn>
              <a:cxn ang="0">
                <a:pos x="connsiteX7430" y="connsiteY7430"/>
              </a:cxn>
              <a:cxn ang="0">
                <a:pos x="connsiteX7431" y="connsiteY7431"/>
              </a:cxn>
              <a:cxn ang="0">
                <a:pos x="connsiteX7432" y="connsiteY7432"/>
              </a:cxn>
              <a:cxn ang="0">
                <a:pos x="connsiteX7433" y="connsiteY7433"/>
              </a:cxn>
              <a:cxn ang="0">
                <a:pos x="connsiteX7434" y="connsiteY7434"/>
              </a:cxn>
              <a:cxn ang="0">
                <a:pos x="connsiteX7435" y="connsiteY7435"/>
              </a:cxn>
              <a:cxn ang="0">
                <a:pos x="connsiteX7436" y="connsiteY7436"/>
              </a:cxn>
              <a:cxn ang="0">
                <a:pos x="connsiteX7437" y="connsiteY7437"/>
              </a:cxn>
              <a:cxn ang="0">
                <a:pos x="connsiteX7438" y="connsiteY7438"/>
              </a:cxn>
              <a:cxn ang="0">
                <a:pos x="connsiteX7439" y="connsiteY7439"/>
              </a:cxn>
              <a:cxn ang="0">
                <a:pos x="connsiteX7440" y="connsiteY7440"/>
              </a:cxn>
              <a:cxn ang="0">
                <a:pos x="connsiteX7441" y="connsiteY7441"/>
              </a:cxn>
              <a:cxn ang="0">
                <a:pos x="connsiteX7442" y="connsiteY7442"/>
              </a:cxn>
              <a:cxn ang="0">
                <a:pos x="connsiteX7443" y="connsiteY7443"/>
              </a:cxn>
              <a:cxn ang="0">
                <a:pos x="connsiteX7444" y="connsiteY7444"/>
              </a:cxn>
              <a:cxn ang="0">
                <a:pos x="connsiteX7445" y="connsiteY7445"/>
              </a:cxn>
              <a:cxn ang="0">
                <a:pos x="connsiteX7446" y="connsiteY7446"/>
              </a:cxn>
              <a:cxn ang="0">
                <a:pos x="connsiteX7447" y="connsiteY7447"/>
              </a:cxn>
              <a:cxn ang="0">
                <a:pos x="connsiteX7448" y="connsiteY7448"/>
              </a:cxn>
              <a:cxn ang="0">
                <a:pos x="connsiteX7449" y="connsiteY7449"/>
              </a:cxn>
              <a:cxn ang="0">
                <a:pos x="connsiteX7450" y="connsiteY7450"/>
              </a:cxn>
              <a:cxn ang="0">
                <a:pos x="connsiteX7451" y="connsiteY7451"/>
              </a:cxn>
              <a:cxn ang="0">
                <a:pos x="connsiteX7452" y="connsiteY7452"/>
              </a:cxn>
              <a:cxn ang="0">
                <a:pos x="connsiteX7453" y="connsiteY7453"/>
              </a:cxn>
              <a:cxn ang="0">
                <a:pos x="connsiteX7454" y="connsiteY7454"/>
              </a:cxn>
              <a:cxn ang="0">
                <a:pos x="connsiteX7455" y="connsiteY7455"/>
              </a:cxn>
              <a:cxn ang="0">
                <a:pos x="connsiteX7456" y="connsiteY7456"/>
              </a:cxn>
              <a:cxn ang="0">
                <a:pos x="connsiteX7457" y="connsiteY7457"/>
              </a:cxn>
              <a:cxn ang="0">
                <a:pos x="connsiteX7458" y="connsiteY7458"/>
              </a:cxn>
              <a:cxn ang="0">
                <a:pos x="connsiteX7459" y="connsiteY7459"/>
              </a:cxn>
              <a:cxn ang="0">
                <a:pos x="connsiteX7460" y="connsiteY7460"/>
              </a:cxn>
              <a:cxn ang="0">
                <a:pos x="connsiteX7461" y="connsiteY7461"/>
              </a:cxn>
              <a:cxn ang="0">
                <a:pos x="connsiteX7462" y="connsiteY7462"/>
              </a:cxn>
              <a:cxn ang="0">
                <a:pos x="connsiteX7463" y="connsiteY7463"/>
              </a:cxn>
              <a:cxn ang="0">
                <a:pos x="connsiteX7464" y="connsiteY7464"/>
              </a:cxn>
              <a:cxn ang="0">
                <a:pos x="connsiteX7465" y="connsiteY7465"/>
              </a:cxn>
              <a:cxn ang="0">
                <a:pos x="connsiteX7466" y="connsiteY7466"/>
              </a:cxn>
              <a:cxn ang="0">
                <a:pos x="connsiteX7467" y="connsiteY7467"/>
              </a:cxn>
              <a:cxn ang="0">
                <a:pos x="connsiteX7468" y="connsiteY7468"/>
              </a:cxn>
              <a:cxn ang="0">
                <a:pos x="connsiteX7469" y="connsiteY7469"/>
              </a:cxn>
              <a:cxn ang="0">
                <a:pos x="connsiteX7470" y="connsiteY7470"/>
              </a:cxn>
              <a:cxn ang="0">
                <a:pos x="connsiteX7471" y="connsiteY7471"/>
              </a:cxn>
              <a:cxn ang="0">
                <a:pos x="connsiteX7472" y="connsiteY7472"/>
              </a:cxn>
              <a:cxn ang="0">
                <a:pos x="connsiteX7473" y="connsiteY7473"/>
              </a:cxn>
              <a:cxn ang="0">
                <a:pos x="connsiteX7474" y="connsiteY7474"/>
              </a:cxn>
              <a:cxn ang="0">
                <a:pos x="connsiteX7475" y="connsiteY7475"/>
              </a:cxn>
              <a:cxn ang="0">
                <a:pos x="connsiteX7476" y="connsiteY7476"/>
              </a:cxn>
              <a:cxn ang="0">
                <a:pos x="connsiteX7477" y="connsiteY7477"/>
              </a:cxn>
              <a:cxn ang="0">
                <a:pos x="connsiteX7478" y="connsiteY7478"/>
              </a:cxn>
              <a:cxn ang="0">
                <a:pos x="connsiteX7479" y="connsiteY7479"/>
              </a:cxn>
              <a:cxn ang="0">
                <a:pos x="connsiteX7480" y="connsiteY7480"/>
              </a:cxn>
              <a:cxn ang="0">
                <a:pos x="connsiteX7481" y="connsiteY7481"/>
              </a:cxn>
              <a:cxn ang="0">
                <a:pos x="connsiteX7482" y="connsiteY7482"/>
              </a:cxn>
              <a:cxn ang="0">
                <a:pos x="connsiteX7483" y="connsiteY7483"/>
              </a:cxn>
              <a:cxn ang="0">
                <a:pos x="connsiteX7484" y="connsiteY7484"/>
              </a:cxn>
              <a:cxn ang="0">
                <a:pos x="connsiteX7485" y="connsiteY7485"/>
              </a:cxn>
              <a:cxn ang="0">
                <a:pos x="connsiteX7486" y="connsiteY7486"/>
              </a:cxn>
              <a:cxn ang="0">
                <a:pos x="connsiteX7487" y="connsiteY7487"/>
              </a:cxn>
              <a:cxn ang="0">
                <a:pos x="connsiteX7488" y="connsiteY7488"/>
              </a:cxn>
              <a:cxn ang="0">
                <a:pos x="connsiteX7489" y="connsiteY7489"/>
              </a:cxn>
              <a:cxn ang="0">
                <a:pos x="connsiteX7490" y="connsiteY7490"/>
              </a:cxn>
              <a:cxn ang="0">
                <a:pos x="connsiteX7491" y="connsiteY7491"/>
              </a:cxn>
              <a:cxn ang="0">
                <a:pos x="connsiteX7492" y="connsiteY7492"/>
              </a:cxn>
              <a:cxn ang="0">
                <a:pos x="connsiteX7493" y="connsiteY7493"/>
              </a:cxn>
              <a:cxn ang="0">
                <a:pos x="connsiteX7494" y="connsiteY7494"/>
              </a:cxn>
              <a:cxn ang="0">
                <a:pos x="connsiteX7495" y="connsiteY7495"/>
              </a:cxn>
              <a:cxn ang="0">
                <a:pos x="connsiteX7496" y="connsiteY7496"/>
              </a:cxn>
              <a:cxn ang="0">
                <a:pos x="connsiteX7497" y="connsiteY7497"/>
              </a:cxn>
              <a:cxn ang="0">
                <a:pos x="connsiteX7498" y="connsiteY7498"/>
              </a:cxn>
              <a:cxn ang="0">
                <a:pos x="connsiteX7499" y="connsiteY7499"/>
              </a:cxn>
              <a:cxn ang="0">
                <a:pos x="connsiteX7500" y="connsiteY7500"/>
              </a:cxn>
              <a:cxn ang="0">
                <a:pos x="connsiteX7501" y="connsiteY7501"/>
              </a:cxn>
              <a:cxn ang="0">
                <a:pos x="connsiteX7502" y="connsiteY7502"/>
              </a:cxn>
              <a:cxn ang="0">
                <a:pos x="connsiteX7503" y="connsiteY7503"/>
              </a:cxn>
              <a:cxn ang="0">
                <a:pos x="connsiteX7504" y="connsiteY7504"/>
              </a:cxn>
              <a:cxn ang="0">
                <a:pos x="connsiteX7505" y="connsiteY7505"/>
              </a:cxn>
              <a:cxn ang="0">
                <a:pos x="connsiteX7506" y="connsiteY7506"/>
              </a:cxn>
              <a:cxn ang="0">
                <a:pos x="connsiteX7507" y="connsiteY7507"/>
              </a:cxn>
              <a:cxn ang="0">
                <a:pos x="connsiteX7508" y="connsiteY7508"/>
              </a:cxn>
              <a:cxn ang="0">
                <a:pos x="connsiteX7509" y="connsiteY7509"/>
              </a:cxn>
              <a:cxn ang="0">
                <a:pos x="connsiteX7510" y="connsiteY7510"/>
              </a:cxn>
              <a:cxn ang="0">
                <a:pos x="connsiteX7511" y="connsiteY7511"/>
              </a:cxn>
              <a:cxn ang="0">
                <a:pos x="connsiteX7512" y="connsiteY7512"/>
              </a:cxn>
              <a:cxn ang="0">
                <a:pos x="connsiteX7513" y="connsiteY7513"/>
              </a:cxn>
              <a:cxn ang="0">
                <a:pos x="connsiteX7514" y="connsiteY7514"/>
              </a:cxn>
              <a:cxn ang="0">
                <a:pos x="connsiteX7515" y="connsiteY7515"/>
              </a:cxn>
              <a:cxn ang="0">
                <a:pos x="connsiteX7516" y="connsiteY7516"/>
              </a:cxn>
              <a:cxn ang="0">
                <a:pos x="connsiteX7517" y="connsiteY7517"/>
              </a:cxn>
              <a:cxn ang="0">
                <a:pos x="connsiteX7518" y="connsiteY7518"/>
              </a:cxn>
              <a:cxn ang="0">
                <a:pos x="connsiteX7519" y="connsiteY7519"/>
              </a:cxn>
              <a:cxn ang="0">
                <a:pos x="connsiteX7520" y="connsiteY7520"/>
              </a:cxn>
              <a:cxn ang="0">
                <a:pos x="connsiteX7521" y="connsiteY7521"/>
              </a:cxn>
              <a:cxn ang="0">
                <a:pos x="connsiteX7522" y="connsiteY7522"/>
              </a:cxn>
              <a:cxn ang="0">
                <a:pos x="connsiteX7523" y="connsiteY7523"/>
              </a:cxn>
              <a:cxn ang="0">
                <a:pos x="connsiteX7524" y="connsiteY7524"/>
              </a:cxn>
              <a:cxn ang="0">
                <a:pos x="connsiteX7525" y="connsiteY7525"/>
              </a:cxn>
              <a:cxn ang="0">
                <a:pos x="connsiteX7526" y="connsiteY7526"/>
              </a:cxn>
              <a:cxn ang="0">
                <a:pos x="connsiteX7527" y="connsiteY7527"/>
              </a:cxn>
              <a:cxn ang="0">
                <a:pos x="connsiteX7528" y="connsiteY7528"/>
              </a:cxn>
              <a:cxn ang="0">
                <a:pos x="connsiteX7529" y="connsiteY7529"/>
              </a:cxn>
              <a:cxn ang="0">
                <a:pos x="connsiteX7530" y="connsiteY7530"/>
              </a:cxn>
              <a:cxn ang="0">
                <a:pos x="connsiteX7531" y="connsiteY7531"/>
              </a:cxn>
              <a:cxn ang="0">
                <a:pos x="connsiteX7532" y="connsiteY7532"/>
              </a:cxn>
              <a:cxn ang="0">
                <a:pos x="connsiteX7533" y="connsiteY7533"/>
              </a:cxn>
              <a:cxn ang="0">
                <a:pos x="connsiteX7534" y="connsiteY7534"/>
              </a:cxn>
              <a:cxn ang="0">
                <a:pos x="connsiteX7535" y="connsiteY7535"/>
              </a:cxn>
              <a:cxn ang="0">
                <a:pos x="connsiteX7536" y="connsiteY7536"/>
              </a:cxn>
              <a:cxn ang="0">
                <a:pos x="connsiteX7537" y="connsiteY7537"/>
              </a:cxn>
              <a:cxn ang="0">
                <a:pos x="connsiteX7538" y="connsiteY7538"/>
              </a:cxn>
              <a:cxn ang="0">
                <a:pos x="connsiteX7539" y="connsiteY7539"/>
              </a:cxn>
              <a:cxn ang="0">
                <a:pos x="connsiteX7540" y="connsiteY7540"/>
              </a:cxn>
              <a:cxn ang="0">
                <a:pos x="connsiteX7541" y="connsiteY7541"/>
              </a:cxn>
              <a:cxn ang="0">
                <a:pos x="connsiteX7542" y="connsiteY7542"/>
              </a:cxn>
              <a:cxn ang="0">
                <a:pos x="connsiteX7543" y="connsiteY7543"/>
              </a:cxn>
              <a:cxn ang="0">
                <a:pos x="connsiteX7544" y="connsiteY7544"/>
              </a:cxn>
              <a:cxn ang="0">
                <a:pos x="connsiteX7545" y="connsiteY7545"/>
              </a:cxn>
              <a:cxn ang="0">
                <a:pos x="connsiteX7546" y="connsiteY7546"/>
              </a:cxn>
              <a:cxn ang="0">
                <a:pos x="connsiteX7547" y="connsiteY7547"/>
              </a:cxn>
              <a:cxn ang="0">
                <a:pos x="connsiteX7548" y="connsiteY7548"/>
              </a:cxn>
              <a:cxn ang="0">
                <a:pos x="connsiteX7549" y="connsiteY7549"/>
              </a:cxn>
              <a:cxn ang="0">
                <a:pos x="connsiteX7550" y="connsiteY7550"/>
              </a:cxn>
              <a:cxn ang="0">
                <a:pos x="connsiteX7551" y="connsiteY7551"/>
              </a:cxn>
              <a:cxn ang="0">
                <a:pos x="connsiteX7552" y="connsiteY7552"/>
              </a:cxn>
              <a:cxn ang="0">
                <a:pos x="connsiteX7553" y="connsiteY7553"/>
              </a:cxn>
              <a:cxn ang="0">
                <a:pos x="connsiteX7554" y="connsiteY7554"/>
              </a:cxn>
              <a:cxn ang="0">
                <a:pos x="connsiteX7555" y="connsiteY7555"/>
              </a:cxn>
              <a:cxn ang="0">
                <a:pos x="connsiteX7556" y="connsiteY7556"/>
              </a:cxn>
              <a:cxn ang="0">
                <a:pos x="connsiteX7557" y="connsiteY7557"/>
              </a:cxn>
              <a:cxn ang="0">
                <a:pos x="connsiteX7558" y="connsiteY7558"/>
              </a:cxn>
              <a:cxn ang="0">
                <a:pos x="connsiteX7559" y="connsiteY7559"/>
              </a:cxn>
              <a:cxn ang="0">
                <a:pos x="connsiteX7560" y="connsiteY7560"/>
              </a:cxn>
              <a:cxn ang="0">
                <a:pos x="connsiteX7561" y="connsiteY7561"/>
              </a:cxn>
              <a:cxn ang="0">
                <a:pos x="connsiteX7562" y="connsiteY7562"/>
              </a:cxn>
              <a:cxn ang="0">
                <a:pos x="connsiteX7563" y="connsiteY7563"/>
              </a:cxn>
              <a:cxn ang="0">
                <a:pos x="connsiteX7564" y="connsiteY7564"/>
              </a:cxn>
              <a:cxn ang="0">
                <a:pos x="connsiteX7565" y="connsiteY7565"/>
              </a:cxn>
              <a:cxn ang="0">
                <a:pos x="connsiteX7566" y="connsiteY7566"/>
              </a:cxn>
              <a:cxn ang="0">
                <a:pos x="connsiteX7567" y="connsiteY7567"/>
              </a:cxn>
              <a:cxn ang="0">
                <a:pos x="connsiteX7568" y="connsiteY7568"/>
              </a:cxn>
              <a:cxn ang="0">
                <a:pos x="connsiteX7569" y="connsiteY7569"/>
              </a:cxn>
              <a:cxn ang="0">
                <a:pos x="connsiteX7570" y="connsiteY7570"/>
              </a:cxn>
              <a:cxn ang="0">
                <a:pos x="connsiteX7571" y="connsiteY7571"/>
              </a:cxn>
              <a:cxn ang="0">
                <a:pos x="connsiteX7572" y="connsiteY7572"/>
              </a:cxn>
              <a:cxn ang="0">
                <a:pos x="connsiteX7573" y="connsiteY7573"/>
              </a:cxn>
              <a:cxn ang="0">
                <a:pos x="connsiteX7574" y="connsiteY7574"/>
              </a:cxn>
              <a:cxn ang="0">
                <a:pos x="connsiteX7575" y="connsiteY7575"/>
              </a:cxn>
              <a:cxn ang="0">
                <a:pos x="connsiteX7576" y="connsiteY7576"/>
              </a:cxn>
              <a:cxn ang="0">
                <a:pos x="connsiteX7577" y="connsiteY7577"/>
              </a:cxn>
              <a:cxn ang="0">
                <a:pos x="connsiteX7578" y="connsiteY7578"/>
              </a:cxn>
              <a:cxn ang="0">
                <a:pos x="connsiteX7579" y="connsiteY7579"/>
              </a:cxn>
              <a:cxn ang="0">
                <a:pos x="connsiteX7580" y="connsiteY7580"/>
              </a:cxn>
              <a:cxn ang="0">
                <a:pos x="connsiteX7581" y="connsiteY7581"/>
              </a:cxn>
              <a:cxn ang="0">
                <a:pos x="connsiteX7582" y="connsiteY7582"/>
              </a:cxn>
              <a:cxn ang="0">
                <a:pos x="connsiteX7583" y="connsiteY7583"/>
              </a:cxn>
              <a:cxn ang="0">
                <a:pos x="connsiteX7584" y="connsiteY7584"/>
              </a:cxn>
              <a:cxn ang="0">
                <a:pos x="connsiteX7585" y="connsiteY7585"/>
              </a:cxn>
              <a:cxn ang="0">
                <a:pos x="connsiteX7586" y="connsiteY7586"/>
              </a:cxn>
              <a:cxn ang="0">
                <a:pos x="connsiteX7587" y="connsiteY7587"/>
              </a:cxn>
              <a:cxn ang="0">
                <a:pos x="connsiteX7588" y="connsiteY7588"/>
              </a:cxn>
              <a:cxn ang="0">
                <a:pos x="connsiteX7589" y="connsiteY7589"/>
              </a:cxn>
              <a:cxn ang="0">
                <a:pos x="connsiteX7590" y="connsiteY7590"/>
              </a:cxn>
              <a:cxn ang="0">
                <a:pos x="connsiteX7591" y="connsiteY7591"/>
              </a:cxn>
              <a:cxn ang="0">
                <a:pos x="connsiteX7592" y="connsiteY7592"/>
              </a:cxn>
              <a:cxn ang="0">
                <a:pos x="connsiteX7593" y="connsiteY7593"/>
              </a:cxn>
              <a:cxn ang="0">
                <a:pos x="connsiteX7594" y="connsiteY7594"/>
              </a:cxn>
              <a:cxn ang="0">
                <a:pos x="connsiteX7595" y="connsiteY7595"/>
              </a:cxn>
              <a:cxn ang="0">
                <a:pos x="connsiteX7596" y="connsiteY7596"/>
              </a:cxn>
              <a:cxn ang="0">
                <a:pos x="connsiteX7597" y="connsiteY7597"/>
              </a:cxn>
              <a:cxn ang="0">
                <a:pos x="connsiteX7598" y="connsiteY7598"/>
              </a:cxn>
              <a:cxn ang="0">
                <a:pos x="connsiteX7599" y="connsiteY7599"/>
              </a:cxn>
              <a:cxn ang="0">
                <a:pos x="connsiteX7600" y="connsiteY7600"/>
              </a:cxn>
              <a:cxn ang="0">
                <a:pos x="connsiteX7601" y="connsiteY7601"/>
              </a:cxn>
              <a:cxn ang="0">
                <a:pos x="connsiteX7602" y="connsiteY7602"/>
              </a:cxn>
              <a:cxn ang="0">
                <a:pos x="connsiteX7603" y="connsiteY7603"/>
              </a:cxn>
              <a:cxn ang="0">
                <a:pos x="connsiteX7604" y="connsiteY7604"/>
              </a:cxn>
              <a:cxn ang="0">
                <a:pos x="connsiteX7605" y="connsiteY7605"/>
              </a:cxn>
              <a:cxn ang="0">
                <a:pos x="connsiteX7606" y="connsiteY7606"/>
              </a:cxn>
              <a:cxn ang="0">
                <a:pos x="connsiteX7607" y="connsiteY7607"/>
              </a:cxn>
              <a:cxn ang="0">
                <a:pos x="connsiteX7608" y="connsiteY7608"/>
              </a:cxn>
              <a:cxn ang="0">
                <a:pos x="connsiteX7609" y="connsiteY7609"/>
              </a:cxn>
              <a:cxn ang="0">
                <a:pos x="connsiteX7610" y="connsiteY7610"/>
              </a:cxn>
              <a:cxn ang="0">
                <a:pos x="connsiteX7611" y="connsiteY7611"/>
              </a:cxn>
              <a:cxn ang="0">
                <a:pos x="connsiteX7612" y="connsiteY7612"/>
              </a:cxn>
              <a:cxn ang="0">
                <a:pos x="connsiteX7613" y="connsiteY7613"/>
              </a:cxn>
              <a:cxn ang="0">
                <a:pos x="connsiteX7614" y="connsiteY7614"/>
              </a:cxn>
              <a:cxn ang="0">
                <a:pos x="connsiteX7615" y="connsiteY7615"/>
              </a:cxn>
              <a:cxn ang="0">
                <a:pos x="connsiteX7616" y="connsiteY7616"/>
              </a:cxn>
              <a:cxn ang="0">
                <a:pos x="connsiteX7617" y="connsiteY7617"/>
              </a:cxn>
              <a:cxn ang="0">
                <a:pos x="connsiteX7618" y="connsiteY7618"/>
              </a:cxn>
              <a:cxn ang="0">
                <a:pos x="connsiteX7619" y="connsiteY7619"/>
              </a:cxn>
              <a:cxn ang="0">
                <a:pos x="connsiteX7620" y="connsiteY7620"/>
              </a:cxn>
              <a:cxn ang="0">
                <a:pos x="connsiteX7621" y="connsiteY7621"/>
              </a:cxn>
              <a:cxn ang="0">
                <a:pos x="connsiteX7622" y="connsiteY7622"/>
              </a:cxn>
              <a:cxn ang="0">
                <a:pos x="connsiteX7623" y="connsiteY7623"/>
              </a:cxn>
              <a:cxn ang="0">
                <a:pos x="connsiteX7624" y="connsiteY7624"/>
              </a:cxn>
              <a:cxn ang="0">
                <a:pos x="connsiteX7625" y="connsiteY7625"/>
              </a:cxn>
              <a:cxn ang="0">
                <a:pos x="connsiteX7626" y="connsiteY7626"/>
              </a:cxn>
              <a:cxn ang="0">
                <a:pos x="connsiteX7627" y="connsiteY7627"/>
              </a:cxn>
              <a:cxn ang="0">
                <a:pos x="connsiteX7628" y="connsiteY7628"/>
              </a:cxn>
              <a:cxn ang="0">
                <a:pos x="connsiteX7629" y="connsiteY7629"/>
              </a:cxn>
              <a:cxn ang="0">
                <a:pos x="connsiteX7630" y="connsiteY7630"/>
              </a:cxn>
              <a:cxn ang="0">
                <a:pos x="connsiteX7631" y="connsiteY7631"/>
              </a:cxn>
              <a:cxn ang="0">
                <a:pos x="connsiteX7632" y="connsiteY7632"/>
              </a:cxn>
              <a:cxn ang="0">
                <a:pos x="connsiteX7633" y="connsiteY7633"/>
              </a:cxn>
              <a:cxn ang="0">
                <a:pos x="connsiteX7634" y="connsiteY7634"/>
              </a:cxn>
              <a:cxn ang="0">
                <a:pos x="connsiteX7635" y="connsiteY7635"/>
              </a:cxn>
              <a:cxn ang="0">
                <a:pos x="connsiteX7636" y="connsiteY7636"/>
              </a:cxn>
              <a:cxn ang="0">
                <a:pos x="connsiteX7637" y="connsiteY7637"/>
              </a:cxn>
              <a:cxn ang="0">
                <a:pos x="connsiteX7638" y="connsiteY7638"/>
              </a:cxn>
              <a:cxn ang="0">
                <a:pos x="connsiteX7639" y="connsiteY7639"/>
              </a:cxn>
              <a:cxn ang="0">
                <a:pos x="connsiteX7640" y="connsiteY7640"/>
              </a:cxn>
              <a:cxn ang="0">
                <a:pos x="connsiteX7641" y="connsiteY7641"/>
              </a:cxn>
              <a:cxn ang="0">
                <a:pos x="connsiteX7642" y="connsiteY7642"/>
              </a:cxn>
              <a:cxn ang="0">
                <a:pos x="connsiteX7643" y="connsiteY7643"/>
              </a:cxn>
              <a:cxn ang="0">
                <a:pos x="connsiteX7644" y="connsiteY7644"/>
              </a:cxn>
              <a:cxn ang="0">
                <a:pos x="connsiteX7645" y="connsiteY7645"/>
              </a:cxn>
              <a:cxn ang="0">
                <a:pos x="connsiteX7646" y="connsiteY7646"/>
              </a:cxn>
              <a:cxn ang="0">
                <a:pos x="connsiteX7647" y="connsiteY7647"/>
              </a:cxn>
              <a:cxn ang="0">
                <a:pos x="connsiteX7648" y="connsiteY7648"/>
              </a:cxn>
              <a:cxn ang="0">
                <a:pos x="connsiteX7649" y="connsiteY7649"/>
              </a:cxn>
              <a:cxn ang="0">
                <a:pos x="connsiteX7650" y="connsiteY7650"/>
              </a:cxn>
              <a:cxn ang="0">
                <a:pos x="connsiteX7651" y="connsiteY7651"/>
              </a:cxn>
              <a:cxn ang="0">
                <a:pos x="connsiteX7652" y="connsiteY7652"/>
              </a:cxn>
              <a:cxn ang="0">
                <a:pos x="connsiteX7653" y="connsiteY7653"/>
              </a:cxn>
              <a:cxn ang="0">
                <a:pos x="connsiteX7654" y="connsiteY7654"/>
              </a:cxn>
              <a:cxn ang="0">
                <a:pos x="connsiteX7655" y="connsiteY7655"/>
              </a:cxn>
              <a:cxn ang="0">
                <a:pos x="connsiteX7656" y="connsiteY7656"/>
              </a:cxn>
              <a:cxn ang="0">
                <a:pos x="connsiteX7657" y="connsiteY7657"/>
              </a:cxn>
              <a:cxn ang="0">
                <a:pos x="connsiteX7658" y="connsiteY7658"/>
              </a:cxn>
              <a:cxn ang="0">
                <a:pos x="connsiteX7659" y="connsiteY7659"/>
              </a:cxn>
              <a:cxn ang="0">
                <a:pos x="connsiteX7660" y="connsiteY7660"/>
              </a:cxn>
              <a:cxn ang="0">
                <a:pos x="connsiteX7661" y="connsiteY7661"/>
              </a:cxn>
              <a:cxn ang="0">
                <a:pos x="connsiteX7662" y="connsiteY7662"/>
              </a:cxn>
              <a:cxn ang="0">
                <a:pos x="connsiteX7663" y="connsiteY7663"/>
              </a:cxn>
              <a:cxn ang="0">
                <a:pos x="connsiteX7664" y="connsiteY7664"/>
              </a:cxn>
              <a:cxn ang="0">
                <a:pos x="connsiteX7665" y="connsiteY7665"/>
              </a:cxn>
              <a:cxn ang="0">
                <a:pos x="connsiteX7666" y="connsiteY7666"/>
              </a:cxn>
              <a:cxn ang="0">
                <a:pos x="connsiteX7667" y="connsiteY7667"/>
              </a:cxn>
              <a:cxn ang="0">
                <a:pos x="connsiteX7668" y="connsiteY7668"/>
              </a:cxn>
              <a:cxn ang="0">
                <a:pos x="connsiteX7669" y="connsiteY7669"/>
              </a:cxn>
              <a:cxn ang="0">
                <a:pos x="connsiteX7670" y="connsiteY7670"/>
              </a:cxn>
              <a:cxn ang="0">
                <a:pos x="connsiteX7671" y="connsiteY7671"/>
              </a:cxn>
              <a:cxn ang="0">
                <a:pos x="connsiteX7672" y="connsiteY7672"/>
              </a:cxn>
              <a:cxn ang="0">
                <a:pos x="connsiteX7673" y="connsiteY7673"/>
              </a:cxn>
              <a:cxn ang="0">
                <a:pos x="connsiteX7674" y="connsiteY7674"/>
              </a:cxn>
              <a:cxn ang="0">
                <a:pos x="connsiteX7675" y="connsiteY7675"/>
              </a:cxn>
              <a:cxn ang="0">
                <a:pos x="connsiteX7676" y="connsiteY7676"/>
              </a:cxn>
              <a:cxn ang="0">
                <a:pos x="connsiteX7677" y="connsiteY7677"/>
              </a:cxn>
              <a:cxn ang="0">
                <a:pos x="connsiteX7678" y="connsiteY7678"/>
              </a:cxn>
              <a:cxn ang="0">
                <a:pos x="connsiteX7679" y="connsiteY7679"/>
              </a:cxn>
              <a:cxn ang="0">
                <a:pos x="connsiteX7680" y="connsiteY7680"/>
              </a:cxn>
              <a:cxn ang="0">
                <a:pos x="connsiteX7681" y="connsiteY7681"/>
              </a:cxn>
              <a:cxn ang="0">
                <a:pos x="connsiteX7682" y="connsiteY7682"/>
              </a:cxn>
              <a:cxn ang="0">
                <a:pos x="connsiteX7683" y="connsiteY7683"/>
              </a:cxn>
              <a:cxn ang="0">
                <a:pos x="connsiteX7684" y="connsiteY7684"/>
              </a:cxn>
              <a:cxn ang="0">
                <a:pos x="connsiteX7685" y="connsiteY7685"/>
              </a:cxn>
              <a:cxn ang="0">
                <a:pos x="connsiteX7686" y="connsiteY7686"/>
              </a:cxn>
              <a:cxn ang="0">
                <a:pos x="connsiteX7687" y="connsiteY7687"/>
              </a:cxn>
              <a:cxn ang="0">
                <a:pos x="connsiteX7688" y="connsiteY7688"/>
              </a:cxn>
              <a:cxn ang="0">
                <a:pos x="connsiteX7689" y="connsiteY7689"/>
              </a:cxn>
              <a:cxn ang="0">
                <a:pos x="connsiteX7690" y="connsiteY7690"/>
              </a:cxn>
              <a:cxn ang="0">
                <a:pos x="connsiteX7691" y="connsiteY7691"/>
              </a:cxn>
              <a:cxn ang="0">
                <a:pos x="connsiteX7692" y="connsiteY7692"/>
              </a:cxn>
              <a:cxn ang="0">
                <a:pos x="connsiteX7693" y="connsiteY7693"/>
              </a:cxn>
              <a:cxn ang="0">
                <a:pos x="connsiteX7694" y="connsiteY7694"/>
              </a:cxn>
              <a:cxn ang="0">
                <a:pos x="connsiteX7695" y="connsiteY7695"/>
              </a:cxn>
              <a:cxn ang="0">
                <a:pos x="connsiteX7696" y="connsiteY7696"/>
              </a:cxn>
              <a:cxn ang="0">
                <a:pos x="connsiteX7697" y="connsiteY7697"/>
              </a:cxn>
              <a:cxn ang="0">
                <a:pos x="connsiteX7698" y="connsiteY7698"/>
              </a:cxn>
              <a:cxn ang="0">
                <a:pos x="connsiteX7699" y="connsiteY7699"/>
              </a:cxn>
              <a:cxn ang="0">
                <a:pos x="connsiteX7700" y="connsiteY7700"/>
              </a:cxn>
              <a:cxn ang="0">
                <a:pos x="connsiteX7701" y="connsiteY7701"/>
              </a:cxn>
              <a:cxn ang="0">
                <a:pos x="connsiteX7702" y="connsiteY7702"/>
              </a:cxn>
              <a:cxn ang="0">
                <a:pos x="connsiteX7703" y="connsiteY7703"/>
              </a:cxn>
              <a:cxn ang="0">
                <a:pos x="connsiteX7704" y="connsiteY7704"/>
              </a:cxn>
              <a:cxn ang="0">
                <a:pos x="connsiteX7705" y="connsiteY7705"/>
              </a:cxn>
              <a:cxn ang="0">
                <a:pos x="connsiteX7706" y="connsiteY7706"/>
              </a:cxn>
              <a:cxn ang="0">
                <a:pos x="connsiteX7707" y="connsiteY7707"/>
              </a:cxn>
              <a:cxn ang="0">
                <a:pos x="connsiteX7708" y="connsiteY7708"/>
              </a:cxn>
              <a:cxn ang="0">
                <a:pos x="connsiteX7709" y="connsiteY7709"/>
              </a:cxn>
              <a:cxn ang="0">
                <a:pos x="connsiteX7710" y="connsiteY7710"/>
              </a:cxn>
              <a:cxn ang="0">
                <a:pos x="connsiteX7711" y="connsiteY7711"/>
              </a:cxn>
              <a:cxn ang="0">
                <a:pos x="connsiteX7712" y="connsiteY7712"/>
              </a:cxn>
              <a:cxn ang="0">
                <a:pos x="connsiteX7713" y="connsiteY7713"/>
              </a:cxn>
              <a:cxn ang="0">
                <a:pos x="connsiteX7714" y="connsiteY7714"/>
              </a:cxn>
              <a:cxn ang="0">
                <a:pos x="connsiteX7715" y="connsiteY7715"/>
              </a:cxn>
              <a:cxn ang="0">
                <a:pos x="connsiteX7716" y="connsiteY7716"/>
              </a:cxn>
              <a:cxn ang="0">
                <a:pos x="connsiteX7717" y="connsiteY7717"/>
              </a:cxn>
              <a:cxn ang="0">
                <a:pos x="connsiteX7718" y="connsiteY7718"/>
              </a:cxn>
              <a:cxn ang="0">
                <a:pos x="connsiteX7719" y="connsiteY7719"/>
              </a:cxn>
              <a:cxn ang="0">
                <a:pos x="connsiteX7720" y="connsiteY7720"/>
              </a:cxn>
              <a:cxn ang="0">
                <a:pos x="connsiteX7721" y="connsiteY7721"/>
              </a:cxn>
              <a:cxn ang="0">
                <a:pos x="connsiteX7722" y="connsiteY7722"/>
              </a:cxn>
              <a:cxn ang="0">
                <a:pos x="connsiteX7723" y="connsiteY7723"/>
              </a:cxn>
              <a:cxn ang="0">
                <a:pos x="connsiteX7724" y="connsiteY7724"/>
              </a:cxn>
              <a:cxn ang="0">
                <a:pos x="connsiteX7725" y="connsiteY7725"/>
              </a:cxn>
              <a:cxn ang="0">
                <a:pos x="connsiteX7726" y="connsiteY7726"/>
              </a:cxn>
              <a:cxn ang="0">
                <a:pos x="connsiteX7727" y="connsiteY7727"/>
              </a:cxn>
              <a:cxn ang="0">
                <a:pos x="connsiteX7728" y="connsiteY7728"/>
              </a:cxn>
              <a:cxn ang="0">
                <a:pos x="connsiteX7729" y="connsiteY7729"/>
              </a:cxn>
              <a:cxn ang="0">
                <a:pos x="connsiteX7730" y="connsiteY7730"/>
              </a:cxn>
              <a:cxn ang="0">
                <a:pos x="connsiteX7731" y="connsiteY7731"/>
              </a:cxn>
              <a:cxn ang="0">
                <a:pos x="connsiteX7732" y="connsiteY7732"/>
              </a:cxn>
              <a:cxn ang="0">
                <a:pos x="connsiteX7733" y="connsiteY7733"/>
              </a:cxn>
              <a:cxn ang="0">
                <a:pos x="connsiteX7734" y="connsiteY7734"/>
              </a:cxn>
              <a:cxn ang="0">
                <a:pos x="connsiteX7735" y="connsiteY7735"/>
              </a:cxn>
              <a:cxn ang="0">
                <a:pos x="connsiteX7736" y="connsiteY7736"/>
              </a:cxn>
              <a:cxn ang="0">
                <a:pos x="connsiteX7737" y="connsiteY7737"/>
              </a:cxn>
              <a:cxn ang="0">
                <a:pos x="connsiteX7738" y="connsiteY7738"/>
              </a:cxn>
              <a:cxn ang="0">
                <a:pos x="connsiteX7739" y="connsiteY7739"/>
              </a:cxn>
              <a:cxn ang="0">
                <a:pos x="connsiteX7740" y="connsiteY7740"/>
              </a:cxn>
              <a:cxn ang="0">
                <a:pos x="connsiteX7741" y="connsiteY7741"/>
              </a:cxn>
              <a:cxn ang="0">
                <a:pos x="connsiteX7742" y="connsiteY7742"/>
              </a:cxn>
              <a:cxn ang="0">
                <a:pos x="connsiteX7743" y="connsiteY7743"/>
              </a:cxn>
              <a:cxn ang="0">
                <a:pos x="connsiteX7744" y="connsiteY7744"/>
              </a:cxn>
              <a:cxn ang="0">
                <a:pos x="connsiteX7745" y="connsiteY7745"/>
              </a:cxn>
              <a:cxn ang="0">
                <a:pos x="connsiteX7746" y="connsiteY7746"/>
              </a:cxn>
              <a:cxn ang="0">
                <a:pos x="connsiteX7747" y="connsiteY7747"/>
              </a:cxn>
              <a:cxn ang="0">
                <a:pos x="connsiteX7748" y="connsiteY7748"/>
              </a:cxn>
              <a:cxn ang="0">
                <a:pos x="connsiteX7749" y="connsiteY7749"/>
              </a:cxn>
              <a:cxn ang="0">
                <a:pos x="connsiteX7750" y="connsiteY7750"/>
              </a:cxn>
              <a:cxn ang="0">
                <a:pos x="connsiteX7751" y="connsiteY7751"/>
              </a:cxn>
              <a:cxn ang="0">
                <a:pos x="connsiteX7752" y="connsiteY7752"/>
              </a:cxn>
              <a:cxn ang="0">
                <a:pos x="connsiteX7753" y="connsiteY7753"/>
              </a:cxn>
              <a:cxn ang="0">
                <a:pos x="connsiteX7754" y="connsiteY7754"/>
              </a:cxn>
              <a:cxn ang="0">
                <a:pos x="connsiteX7755" y="connsiteY7755"/>
              </a:cxn>
              <a:cxn ang="0">
                <a:pos x="connsiteX7756" y="connsiteY7756"/>
              </a:cxn>
              <a:cxn ang="0">
                <a:pos x="connsiteX7757" y="connsiteY7757"/>
              </a:cxn>
              <a:cxn ang="0">
                <a:pos x="connsiteX7758" y="connsiteY7758"/>
              </a:cxn>
              <a:cxn ang="0">
                <a:pos x="connsiteX7759" y="connsiteY7759"/>
              </a:cxn>
              <a:cxn ang="0">
                <a:pos x="connsiteX7760" y="connsiteY7760"/>
              </a:cxn>
              <a:cxn ang="0">
                <a:pos x="connsiteX7761" y="connsiteY7761"/>
              </a:cxn>
              <a:cxn ang="0">
                <a:pos x="connsiteX7762" y="connsiteY7762"/>
              </a:cxn>
              <a:cxn ang="0">
                <a:pos x="connsiteX7763" y="connsiteY7763"/>
              </a:cxn>
              <a:cxn ang="0">
                <a:pos x="connsiteX7764" y="connsiteY7764"/>
              </a:cxn>
              <a:cxn ang="0">
                <a:pos x="connsiteX7765" y="connsiteY7765"/>
              </a:cxn>
              <a:cxn ang="0">
                <a:pos x="connsiteX7766" y="connsiteY7766"/>
              </a:cxn>
              <a:cxn ang="0">
                <a:pos x="connsiteX7767" y="connsiteY7767"/>
              </a:cxn>
              <a:cxn ang="0">
                <a:pos x="connsiteX7768" y="connsiteY7768"/>
              </a:cxn>
              <a:cxn ang="0">
                <a:pos x="connsiteX7769" y="connsiteY7769"/>
              </a:cxn>
              <a:cxn ang="0">
                <a:pos x="connsiteX7770" y="connsiteY7770"/>
              </a:cxn>
              <a:cxn ang="0">
                <a:pos x="connsiteX7771" y="connsiteY7771"/>
              </a:cxn>
              <a:cxn ang="0">
                <a:pos x="connsiteX7772" y="connsiteY7772"/>
              </a:cxn>
              <a:cxn ang="0">
                <a:pos x="connsiteX7773" y="connsiteY7773"/>
              </a:cxn>
              <a:cxn ang="0">
                <a:pos x="connsiteX7774" y="connsiteY7774"/>
              </a:cxn>
              <a:cxn ang="0">
                <a:pos x="connsiteX7775" y="connsiteY7775"/>
              </a:cxn>
              <a:cxn ang="0">
                <a:pos x="connsiteX7776" y="connsiteY7776"/>
              </a:cxn>
              <a:cxn ang="0">
                <a:pos x="connsiteX7777" y="connsiteY7777"/>
              </a:cxn>
              <a:cxn ang="0">
                <a:pos x="connsiteX7778" y="connsiteY7778"/>
              </a:cxn>
              <a:cxn ang="0">
                <a:pos x="connsiteX7779" y="connsiteY7779"/>
              </a:cxn>
              <a:cxn ang="0">
                <a:pos x="connsiteX7780" y="connsiteY7780"/>
              </a:cxn>
              <a:cxn ang="0">
                <a:pos x="connsiteX7781" y="connsiteY7781"/>
              </a:cxn>
              <a:cxn ang="0">
                <a:pos x="connsiteX7782" y="connsiteY7782"/>
              </a:cxn>
              <a:cxn ang="0">
                <a:pos x="connsiteX7783" y="connsiteY7783"/>
              </a:cxn>
              <a:cxn ang="0">
                <a:pos x="connsiteX7784" y="connsiteY7784"/>
              </a:cxn>
              <a:cxn ang="0">
                <a:pos x="connsiteX7785" y="connsiteY7785"/>
              </a:cxn>
              <a:cxn ang="0">
                <a:pos x="connsiteX7786" y="connsiteY7786"/>
              </a:cxn>
              <a:cxn ang="0">
                <a:pos x="connsiteX7787" y="connsiteY7787"/>
              </a:cxn>
              <a:cxn ang="0">
                <a:pos x="connsiteX7788" y="connsiteY7788"/>
              </a:cxn>
              <a:cxn ang="0">
                <a:pos x="connsiteX7789" y="connsiteY7789"/>
              </a:cxn>
              <a:cxn ang="0">
                <a:pos x="connsiteX7790" y="connsiteY7790"/>
              </a:cxn>
              <a:cxn ang="0">
                <a:pos x="connsiteX7791" y="connsiteY7791"/>
              </a:cxn>
              <a:cxn ang="0">
                <a:pos x="connsiteX7792" y="connsiteY7792"/>
              </a:cxn>
              <a:cxn ang="0">
                <a:pos x="connsiteX7793" y="connsiteY7793"/>
              </a:cxn>
              <a:cxn ang="0">
                <a:pos x="connsiteX7794" y="connsiteY7794"/>
              </a:cxn>
              <a:cxn ang="0">
                <a:pos x="connsiteX7795" y="connsiteY7795"/>
              </a:cxn>
              <a:cxn ang="0">
                <a:pos x="connsiteX7796" y="connsiteY7796"/>
              </a:cxn>
              <a:cxn ang="0">
                <a:pos x="connsiteX7797" y="connsiteY7797"/>
              </a:cxn>
              <a:cxn ang="0">
                <a:pos x="connsiteX7798" y="connsiteY7798"/>
              </a:cxn>
              <a:cxn ang="0">
                <a:pos x="connsiteX7799" y="connsiteY7799"/>
              </a:cxn>
              <a:cxn ang="0">
                <a:pos x="connsiteX7800" y="connsiteY7800"/>
              </a:cxn>
              <a:cxn ang="0">
                <a:pos x="connsiteX7801" y="connsiteY7801"/>
              </a:cxn>
              <a:cxn ang="0">
                <a:pos x="connsiteX7802" y="connsiteY7802"/>
              </a:cxn>
              <a:cxn ang="0">
                <a:pos x="connsiteX7803" y="connsiteY7803"/>
              </a:cxn>
              <a:cxn ang="0">
                <a:pos x="connsiteX7804" y="connsiteY7804"/>
              </a:cxn>
              <a:cxn ang="0">
                <a:pos x="connsiteX7805" y="connsiteY7805"/>
              </a:cxn>
              <a:cxn ang="0">
                <a:pos x="connsiteX7806" y="connsiteY7806"/>
              </a:cxn>
              <a:cxn ang="0">
                <a:pos x="connsiteX7807" y="connsiteY7807"/>
              </a:cxn>
              <a:cxn ang="0">
                <a:pos x="connsiteX7808" y="connsiteY7808"/>
              </a:cxn>
              <a:cxn ang="0">
                <a:pos x="connsiteX7809" y="connsiteY7809"/>
              </a:cxn>
              <a:cxn ang="0">
                <a:pos x="connsiteX7810" y="connsiteY7810"/>
              </a:cxn>
              <a:cxn ang="0">
                <a:pos x="connsiteX7811" y="connsiteY7811"/>
              </a:cxn>
              <a:cxn ang="0">
                <a:pos x="connsiteX7812" y="connsiteY7812"/>
              </a:cxn>
              <a:cxn ang="0">
                <a:pos x="connsiteX7813" y="connsiteY7813"/>
              </a:cxn>
              <a:cxn ang="0">
                <a:pos x="connsiteX7814" y="connsiteY7814"/>
              </a:cxn>
              <a:cxn ang="0">
                <a:pos x="connsiteX7815" y="connsiteY7815"/>
              </a:cxn>
              <a:cxn ang="0">
                <a:pos x="connsiteX7816" y="connsiteY7816"/>
              </a:cxn>
              <a:cxn ang="0">
                <a:pos x="connsiteX7817" y="connsiteY7817"/>
              </a:cxn>
              <a:cxn ang="0">
                <a:pos x="connsiteX7818" y="connsiteY7818"/>
              </a:cxn>
              <a:cxn ang="0">
                <a:pos x="connsiteX7819" y="connsiteY7819"/>
              </a:cxn>
              <a:cxn ang="0">
                <a:pos x="connsiteX7820" y="connsiteY7820"/>
              </a:cxn>
              <a:cxn ang="0">
                <a:pos x="connsiteX7821" y="connsiteY7821"/>
              </a:cxn>
              <a:cxn ang="0">
                <a:pos x="connsiteX7822" y="connsiteY7822"/>
              </a:cxn>
              <a:cxn ang="0">
                <a:pos x="connsiteX7823" y="connsiteY7823"/>
              </a:cxn>
              <a:cxn ang="0">
                <a:pos x="connsiteX7824" y="connsiteY7824"/>
              </a:cxn>
              <a:cxn ang="0">
                <a:pos x="connsiteX7825" y="connsiteY7825"/>
              </a:cxn>
              <a:cxn ang="0">
                <a:pos x="connsiteX7826" y="connsiteY7826"/>
              </a:cxn>
              <a:cxn ang="0">
                <a:pos x="connsiteX7827" y="connsiteY7827"/>
              </a:cxn>
              <a:cxn ang="0">
                <a:pos x="connsiteX7828" y="connsiteY7828"/>
              </a:cxn>
              <a:cxn ang="0">
                <a:pos x="connsiteX7829" y="connsiteY7829"/>
              </a:cxn>
              <a:cxn ang="0">
                <a:pos x="connsiteX7830" y="connsiteY7830"/>
              </a:cxn>
              <a:cxn ang="0">
                <a:pos x="connsiteX7831" y="connsiteY7831"/>
              </a:cxn>
              <a:cxn ang="0">
                <a:pos x="connsiteX7832" y="connsiteY7832"/>
              </a:cxn>
              <a:cxn ang="0">
                <a:pos x="connsiteX7833" y="connsiteY7833"/>
              </a:cxn>
              <a:cxn ang="0">
                <a:pos x="connsiteX7834" y="connsiteY7834"/>
              </a:cxn>
              <a:cxn ang="0">
                <a:pos x="connsiteX7835" y="connsiteY7835"/>
              </a:cxn>
              <a:cxn ang="0">
                <a:pos x="connsiteX7836" y="connsiteY7836"/>
              </a:cxn>
              <a:cxn ang="0">
                <a:pos x="connsiteX7837" y="connsiteY7837"/>
              </a:cxn>
              <a:cxn ang="0">
                <a:pos x="connsiteX7838" y="connsiteY7838"/>
              </a:cxn>
              <a:cxn ang="0">
                <a:pos x="connsiteX7839" y="connsiteY7839"/>
              </a:cxn>
              <a:cxn ang="0">
                <a:pos x="connsiteX7840" y="connsiteY7840"/>
              </a:cxn>
              <a:cxn ang="0">
                <a:pos x="connsiteX7841" y="connsiteY7841"/>
              </a:cxn>
              <a:cxn ang="0">
                <a:pos x="connsiteX7842" y="connsiteY7842"/>
              </a:cxn>
              <a:cxn ang="0">
                <a:pos x="connsiteX7843" y="connsiteY7843"/>
              </a:cxn>
              <a:cxn ang="0">
                <a:pos x="connsiteX7844" y="connsiteY7844"/>
              </a:cxn>
              <a:cxn ang="0">
                <a:pos x="connsiteX7845" y="connsiteY7845"/>
              </a:cxn>
              <a:cxn ang="0">
                <a:pos x="connsiteX7846" y="connsiteY7846"/>
              </a:cxn>
              <a:cxn ang="0">
                <a:pos x="connsiteX7847" y="connsiteY7847"/>
              </a:cxn>
              <a:cxn ang="0">
                <a:pos x="connsiteX7848" y="connsiteY7848"/>
              </a:cxn>
              <a:cxn ang="0">
                <a:pos x="connsiteX7849" y="connsiteY7849"/>
              </a:cxn>
              <a:cxn ang="0">
                <a:pos x="connsiteX7850" y="connsiteY7850"/>
              </a:cxn>
              <a:cxn ang="0">
                <a:pos x="connsiteX7851" y="connsiteY7851"/>
              </a:cxn>
              <a:cxn ang="0">
                <a:pos x="connsiteX7852" y="connsiteY7852"/>
              </a:cxn>
              <a:cxn ang="0">
                <a:pos x="connsiteX7853" y="connsiteY7853"/>
              </a:cxn>
              <a:cxn ang="0">
                <a:pos x="connsiteX7854" y="connsiteY7854"/>
              </a:cxn>
              <a:cxn ang="0">
                <a:pos x="connsiteX7855" y="connsiteY7855"/>
              </a:cxn>
              <a:cxn ang="0">
                <a:pos x="connsiteX7856" y="connsiteY7856"/>
              </a:cxn>
              <a:cxn ang="0">
                <a:pos x="connsiteX7857" y="connsiteY7857"/>
              </a:cxn>
              <a:cxn ang="0">
                <a:pos x="connsiteX7858" y="connsiteY7858"/>
              </a:cxn>
              <a:cxn ang="0">
                <a:pos x="connsiteX7859" y="connsiteY7859"/>
              </a:cxn>
              <a:cxn ang="0">
                <a:pos x="connsiteX7860" y="connsiteY7860"/>
              </a:cxn>
              <a:cxn ang="0">
                <a:pos x="connsiteX7861" y="connsiteY7861"/>
              </a:cxn>
              <a:cxn ang="0">
                <a:pos x="connsiteX7862" y="connsiteY7862"/>
              </a:cxn>
              <a:cxn ang="0">
                <a:pos x="connsiteX7863" y="connsiteY7863"/>
              </a:cxn>
              <a:cxn ang="0">
                <a:pos x="connsiteX7864" y="connsiteY7864"/>
              </a:cxn>
              <a:cxn ang="0">
                <a:pos x="connsiteX7865" y="connsiteY7865"/>
              </a:cxn>
              <a:cxn ang="0">
                <a:pos x="connsiteX7866" y="connsiteY7866"/>
              </a:cxn>
              <a:cxn ang="0">
                <a:pos x="connsiteX7867" y="connsiteY7867"/>
              </a:cxn>
              <a:cxn ang="0">
                <a:pos x="connsiteX7868" y="connsiteY7868"/>
              </a:cxn>
              <a:cxn ang="0">
                <a:pos x="connsiteX7869" y="connsiteY7869"/>
              </a:cxn>
              <a:cxn ang="0">
                <a:pos x="connsiteX7870" y="connsiteY7870"/>
              </a:cxn>
              <a:cxn ang="0">
                <a:pos x="connsiteX7871" y="connsiteY7871"/>
              </a:cxn>
              <a:cxn ang="0">
                <a:pos x="connsiteX7872" y="connsiteY7872"/>
              </a:cxn>
              <a:cxn ang="0">
                <a:pos x="connsiteX7873" y="connsiteY7873"/>
              </a:cxn>
              <a:cxn ang="0">
                <a:pos x="connsiteX7874" y="connsiteY7874"/>
              </a:cxn>
              <a:cxn ang="0">
                <a:pos x="connsiteX7875" y="connsiteY7875"/>
              </a:cxn>
              <a:cxn ang="0">
                <a:pos x="connsiteX7876" y="connsiteY7876"/>
              </a:cxn>
              <a:cxn ang="0">
                <a:pos x="connsiteX7877" y="connsiteY7877"/>
              </a:cxn>
              <a:cxn ang="0">
                <a:pos x="connsiteX7878" y="connsiteY7878"/>
              </a:cxn>
              <a:cxn ang="0">
                <a:pos x="connsiteX7879" y="connsiteY7879"/>
              </a:cxn>
              <a:cxn ang="0">
                <a:pos x="connsiteX7880" y="connsiteY7880"/>
              </a:cxn>
              <a:cxn ang="0">
                <a:pos x="connsiteX7881" y="connsiteY7881"/>
              </a:cxn>
              <a:cxn ang="0">
                <a:pos x="connsiteX7882" y="connsiteY7882"/>
              </a:cxn>
              <a:cxn ang="0">
                <a:pos x="connsiteX7883" y="connsiteY7883"/>
              </a:cxn>
              <a:cxn ang="0">
                <a:pos x="connsiteX7884" y="connsiteY7884"/>
              </a:cxn>
              <a:cxn ang="0">
                <a:pos x="connsiteX7885" y="connsiteY7885"/>
              </a:cxn>
              <a:cxn ang="0">
                <a:pos x="connsiteX7886" y="connsiteY7886"/>
              </a:cxn>
              <a:cxn ang="0">
                <a:pos x="connsiteX7887" y="connsiteY7887"/>
              </a:cxn>
              <a:cxn ang="0">
                <a:pos x="connsiteX7888" y="connsiteY7888"/>
              </a:cxn>
              <a:cxn ang="0">
                <a:pos x="connsiteX7889" y="connsiteY7889"/>
              </a:cxn>
              <a:cxn ang="0">
                <a:pos x="connsiteX7890" y="connsiteY7890"/>
              </a:cxn>
              <a:cxn ang="0">
                <a:pos x="connsiteX7891" y="connsiteY7891"/>
              </a:cxn>
              <a:cxn ang="0">
                <a:pos x="connsiteX7892" y="connsiteY7892"/>
              </a:cxn>
              <a:cxn ang="0">
                <a:pos x="connsiteX7893" y="connsiteY7893"/>
              </a:cxn>
              <a:cxn ang="0">
                <a:pos x="connsiteX7894" y="connsiteY7894"/>
              </a:cxn>
              <a:cxn ang="0">
                <a:pos x="connsiteX7895" y="connsiteY7895"/>
              </a:cxn>
              <a:cxn ang="0">
                <a:pos x="connsiteX7896" y="connsiteY7896"/>
              </a:cxn>
              <a:cxn ang="0">
                <a:pos x="connsiteX7897" y="connsiteY7897"/>
              </a:cxn>
              <a:cxn ang="0">
                <a:pos x="connsiteX7898" y="connsiteY7898"/>
              </a:cxn>
              <a:cxn ang="0">
                <a:pos x="connsiteX7899" y="connsiteY7899"/>
              </a:cxn>
              <a:cxn ang="0">
                <a:pos x="connsiteX7900" y="connsiteY7900"/>
              </a:cxn>
              <a:cxn ang="0">
                <a:pos x="connsiteX7901" y="connsiteY7901"/>
              </a:cxn>
              <a:cxn ang="0">
                <a:pos x="connsiteX7902" y="connsiteY7902"/>
              </a:cxn>
              <a:cxn ang="0">
                <a:pos x="connsiteX7903" y="connsiteY7903"/>
              </a:cxn>
              <a:cxn ang="0">
                <a:pos x="connsiteX7904" y="connsiteY7904"/>
              </a:cxn>
              <a:cxn ang="0">
                <a:pos x="connsiteX7905" y="connsiteY7905"/>
              </a:cxn>
              <a:cxn ang="0">
                <a:pos x="connsiteX7906" y="connsiteY7906"/>
              </a:cxn>
              <a:cxn ang="0">
                <a:pos x="connsiteX7907" y="connsiteY7907"/>
              </a:cxn>
              <a:cxn ang="0">
                <a:pos x="connsiteX7908" y="connsiteY7908"/>
              </a:cxn>
              <a:cxn ang="0">
                <a:pos x="connsiteX7909" y="connsiteY7909"/>
              </a:cxn>
              <a:cxn ang="0">
                <a:pos x="connsiteX7910" y="connsiteY7910"/>
              </a:cxn>
              <a:cxn ang="0">
                <a:pos x="connsiteX7911" y="connsiteY7911"/>
              </a:cxn>
              <a:cxn ang="0">
                <a:pos x="connsiteX7912" y="connsiteY7912"/>
              </a:cxn>
              <a:cxn ang="0">
                <a:pos x="connsiteX7913" y="connsiteY7913"/>
              </a:cxn>
              <a:cxn ang="0">
                <a:pos x="connsiteX7914" y="connsiteY7914"/>
              </a:cxn>
              <a:cxn ang="0">
                <a:pos x="connsiteX7915" y="connsiteY7915"/>
              </a:cxn>
              <a:cxn ang="0">
                <a:pos x="connsiteX7916" y="connsiteY7916"/>
              </a:cxn>
              <a:cxn ang="0">
                <a:pos x="connsiteX7917" y="connsiteY7917"/>
              </a:cxn>
              <a:cxn ang="0">
                <a:pos x="connsiteX7918" y="connsiteY7918"/>
              </a:cxn>
              <a:cxn ang="0">
                <a:pos x="connsiteX7919" y="connsiteY7919"/>
              </a:cxn>
              <a:cxn ang="0">
                <a:pos x="connsiteX7920" y="connsiteY7920"/>
              </a:cxn>
              <a:cxn ang="0">
                <a:pos x="connsiteX7921" y="connsiteY7921"/>
              </a:cxn>
              <a:cxn ang="0">
                <a:pos x="connsiteX7922" y="connsiteY7922"/>
              </a:cxn>
              <a:cxn ang="0">
                <a:pos x="connsiteX7923" y="connsiteY7923"/>
              </a:cxn>
              <a:cxn ang="0">
                <a:pos x="connsiteX7924" y="connsiteY7924"/>
              </a:cxn>
              <a:cxn ang="0">
                <a:pos x="connsiteX7925" y="connsiteY7925"/>
              </a:cxn>
              <a:cxn ang="0">
                <a:pos x="connsiteX7926" y="connsiteY7926"/>
              </a:cxn>
              <a:cxn ang="0">
                <a:pos x="connsiteX7927" y="connsiteY7927"/>
              </a:cxn>
              <a:cxn ang="0">
                <a:pos x="connsiteX7928" y="connsiteY7928"/>
              </a:cxn>
              <a:cxn ang="0">
                <a:pos x="connsiteX7929" y="connsiteY7929"/>
              </a:cxn>
              <a:cxn ang="0">
                <a:pos x="connsiteX7930" y="connsiteY7930"/>
              </a:cxn>
              <a:cxn ang="0">
                <a:pos x="connsiteX7931" y="connsiteY7931"/>
              </a:cxn>
              <a:cxn ang="0">
                <a:pos x="connsiteX7932" y="connsiteY7932"/>
              </a:cxn>
              <a:cxn ang="0">
                <a:pos x="connsiteX7933" y="connsiteY7933"/>
              </a:cxn>
              <a:cxn ang="0">
                <a:pos x="connsiteX7934" y="connsiteY7934"/>
              </a:cxn>
              <a:cxn ang="0">
                <a:pos x="connsiteX7935" y="connsiteY7935"/>
              </a:cxn>
              <a:cxn ang="0">
                <a:pos x="connsiteX7936" y="connsiteY7936"/>
              </a:cxn>
              <a:cxn ang="0">
                <a:pos x="connsiteX7937" y="connsiteY7937"/>
              </a:cxn>
              <a:cxn ang="0">
                <a:pos x="connsiteX7938" y="connsiteY7938"/>
              </a:cxn>
              <a:cxn ang="0">
                <a:pos x="connsiteX7939" y="connsiteY7939"/>
              </a:cxn>
              <a:cxn ang="0">
                <a:pos x="connsiteX7940" y="connsiteY7940"/>
              </a:cxn>
              <a:cxn ang="0">
                <a:pos x="connsiteX7941" y="connsiteY7941"/>
              </a:cxn>
              <a:cxn ang="0">
                <a:pos x="connsiteX7942" y="connsiteY7942"/>
              </a:cxn>
              <a:cxn ang="0">
                <a:pos x="connsiteX7943" y="connsiteY7943"/>
              </a:cxn>
              <a:cxn ang="0">
                <a:pos x="connsiteX7944" y="connsiteY7944"/>
              </a:cxn>
              <a:cxn ang="0">
                <a:pos x="connsiteX7945" y="connsiteY7945"/>
              </a:cxn>
              <a:cxn ang="0">
                <a:pos x="connsiteX7946" y="connsiteY7946"/>
              </a:cxn>
              <a:cxn ang="0">
                <a:pos x="connsiteX7947" y="connsiteY7947"/>
              </a:cxn>
              <a:cxn ang="0">
                <a:pos x="connsiteX7948" y="connsiteY7948"/>
              </a:cxn>
              <a:cxn ang="0">
                <a:pos x="connsiteX7949" y="connsiteY7949"/>
              </a:cxn>
              <a:cxn ang="0">
                <a:pos x="connsiteX7950" y="connsiteY7950"/>
              </a:cxn>
              <a:cxn ang="0">
                <a:pos x="connsiteX7951" y="connsiteY7951"/>
              </a:cxn>
              <a:cxn ang="0">
                <a:pos x="connsiteX7952" y="connsiteY7952"/>
              </a:cxn>
              <a:cxn ang="0">
                <a:pos x="connsiteX7953" y="connsiteY7953"/>
              </a:cxn>
              <a:cxn ang="0">
                <a:pos x="connsiteX7954" y="connsiteY7954"/>
              </a:cxn>
              <a:cxn ang="0">
                <a:pos x="connsiteX7955" y="connsiteY7955"/>
              </a:cxn>
              <a:cxn ang="0">
                <a:pos x="connsiteX7956" y="connsiteY7956"/>
              </a:cxn>
              <a:cxn ang="0">
                <a:pos x="connsiteX7957" y="connsiteY7957"/>
              </a:cxn>
              <a:cxn ang="0">
                <a:pos x="connsiteX7958" y="connsiteY7958"/>
              </a:cxn>
              <a:cxn ang="0">
                <a:pos x="connsiteX7959" y="connsiteY7959"/>
              </a:cxn>
              <a:cxn ang="0">
                <a:pos x="connsiteX7960" y="connsiteY7960"/>
              </a:cxn>
              <a:cxn ang="0">
                <a:pos x="connsiteX7961" y="connsiteY7961"/>
              </a:cxn>
              <a:cxn ang="0">
                <a:pos x="connsiteX7962" y="connsiteY7962"/>
              </a:cxn>
              <a:cxn ang="0">
                <a:pos x="connsiteX7963" y="connsiteY7963"/>
              </a:cxn>
              <a:cxn ang="0">
                <a:pos x="connsiteX7964" y="connsiteY7964"/>
              </a:cxn>
              <a:cxn ang="0">
                <a:pos x="connsiteX7965" y="connsiteY7965"/>
              </a:cxn>
              <a:cxn ang="0">
                <a:pos x="connsiteX7966" y="connsiteY7966"/>
              </a:cxn>
              <a:cxn ang="0">
                <a:pos x="connsiteX7967" y="connsiteY7967"/>
              </a:cxn>
              <a:cxn ang="0">
                <a:pos x="connsiteX7968" y="connsiteY7968"/>
              </a:cxn>
              <a:cxn ang="0">
                <a:pos x="connsiteX7969" y="connsiteY7969"/>
              </a:cxn>
              <a:cxn ang="0">
                <a:pos x="connsiteX7970" y="connsiteY7970"/>
              </a:cxn>
              <a:cxn ang="0">
                <a:pos x="connsiteX7971" y="connsiteY7971"/>
              </a:cxn>
              <a:cxn ang="0">
                <a:pos x="connsiteX7972" y="connsiteY7972"/>
              </a:cxn>
              <a:cxn ang="0">
                <a:pos x="connsiteX7973" y="connsiteY7973"/>
              </a:cxn>
              <a:cxn ang="0">
                <a:pos x="connsiteX7974" y="connsiteY7974"/>
              </a:cxn>
              <a:cxn ang="0">
                <a:pos x="connsiteX7975" y="connsiteY7975"/>
              </a:cxn>
              <a:cxn ang="0">
                <a:pos x="connsiteX7976" y="connsiteY7976"/>
              </a:cxn>
              <a:cxn ang="0">
                <a:pos x="connsiteX7977" y="connsiteY7977"/>
              </a:cxn>
              <a:cxn ang="0">
                <a:pos x="connsiteX7978" y="connsiteY7978"/>
              </a:cxn>
              <a:cxn ang="0">
                <a:pos x="connsiteX7979" y="connsiteY7979"/>
              </a:cxn>
              <a:cxn ang="0">
                <a:pos x="connsiteX7980" y="connsiteY7980"/>
              </a:cxn>
              <a:cxn ang="0">
                <a:pos x="connsiteX7981" y="connsiteY7981"/>
              </a:cxn>
              <a:cxn ang="0">
                <a:pos x="connsiteX7982" y="connsiteY7982"/>
              </a:cxn>
              <a:cxn ang="0">
                <a:pos x="connsiteX7983" y="connsiteY7983"/>
              </a:cxn>
              <a:cxn ang="0">
                <a:pos x="connsiteX7984" y="connsiteY7984"/>
              </a:cxn>
              <a:cxn ang="0">
                <a:pos x="connsiteX7985" y="connsiteY7985"/>
              </a:cxn>
              <a:cxn ang="0">
                <a:pos x="connsiteX7986" y="connsiteY7986"/>
              </a:cxn>
              <a:cxn ang="0">
                <a:pos x="connsiteX7987" y="connsiteY7987"/>
              </a:cxn>
              <a:cxn ang="0">
                <a:pos x="connsiteX7988" y="connsiteY7988"/>
              </a:cxn>
              <a:cxn ang="0">
                <a:pos x="connsiteX7989" y="connsiteY7989"/>
              </a:cxn>
              <a:cxn ang="0">
                <a:pos x="connsiteX7990" y="connsiteY7990"/>
              </a:cxn>
              <a:cxn ang="0">
                <a:pos x="connsiteX7991" y="connsiteY7991"/>
              </a:cxn>
              <a:cxn ang="0">
                <a:pos x="connsiteX7992" y="connsiteY7992"/>
              </a:cxn>
              <a:cxn ang="0">
                <a:pos x="connsiteX7993" y="connsiteY7993"/>
              </a:cxn>
              <a:cxn ang="0">
                <a:pos x="connsiteX7994" y="connsiteY7994"/>
              </a:cxn>
              <a:cxn ang="0">
                <a:pos x="connsiteX7995" y="connsiteY7995"/>
              </a:cxn>
              <a:cxn ang="0">
                <a:pos x="connsiteX7996" y="connsiteY7996"/>
              </a:cxn>
              <a:cxn ang="0">
                <a:pos x="connsiteX7997" y="connsiteY7997"/>
              </a:cxn>
              <a:cxn ang="0">
                <a:pos x="connsiteX7998" y="connsiteY7998"/>
              </a:cxn>
              <a:cxn ang="0">
                <a:pos x="connsiteX7999" y="connsiteY7999"/>
              </a:cxn>
              <a:cxn ang="0">
                <a:pos x="connsiteX8000" y="connsiteY8000"/>
              </a:cxn>
              <a:cxn ang="0">
                <a:pos x="connsiteX8001" y="connsiteY8001"/>
              </a:cxn>
              <a:cxn ang="0">
                <a:pos x="connsiteX8002" y="connsiteY8002"/>
              </a:cxn>
              <a:cxn ang="0">
                <a:pos x="connsiteX8003" y="connsiteY8003"/>
              </a:cxn>
              <a:cxn ang="0">
                <a:pos x="connsiteX8004" y="connsiteY8004"/>
              </a:cxn>
              <a:cxn ang="0">
                <a:pos x="connsiteX8005" y="connsiteY8005"/>
              </a:cxn>
              <a:cxn ang="0">
                <a:pos x="connsiteX8006" y="connsiteY8006"/>
              </a:cxn>
              <a:cxn ang="0">
                <a:pos x="connsiteX8007" y="connsiteY8007"/>
              </a:cxn>
              <a:cxn ang="0">
                <a:pos x="connsiteX8008" y="connsiteY8008"/>
              </a:cxn>
              <a:cxn ang="0">
                <a:pos x="connsiteX8009" y="connsiteY8009"/>
              </a:cxn>
              <a:cxn ang="0">
                <a:pos x="connsiteX8010" y="connsiteY8010"/>
              </a:cxn>
              <a:cxn ang="0">
                <a:pos x="connsiteX8011" y="connsiteY8011"/>
              </a:cxn>
              <a:cxn ang="0">
                <a:pos x="connsiteX8012" y="connsiteY8012"/>
              </a:cxn>
              <a:cxn ang="0">
                <a:pos x="connsiteX8013" y="connsiteY8013"/>
              </a:cxn>
              <a:cxn ang="0">
                <a:pos x="connsiteX8014" y="connsiteY8014"/>
              </a:cxn>
              <a:cxn ang="0">
                <a:pos x="connsiteX8015" y="connsiteY8015"/>
              </a:cxn>
              <a:cxn ang="0">
                <a:pos x="connsiteX8016" y="connsiteY8016"/>
              </a:cxn>
              <a:cxn ang="0">
                <a:pos x="connsiteX8017" y="connsiteY8017"/>
              </a:cxn>
              <a:cxn ang="0">
                <a:pos x="connsiteX8018" y="connsiteY8018"/>
              </a:cxn>
              <a:cxn ang="0">
                <a:pos x="connsiteX8019" y="connsiteY8019"/>
              </a:cxn>
              <a:cxn ang="0">
                <a:pos x="connsiteX8020" y="connsiteY8020"/>
              </a:cxn>
              <a:cxn ang="0">
                <a:pos x="connsiteX8021" y="connsiteY8021"/>
              </a:cxn>
              <a:cxn ang="0">
                <a:pos x="connsiteX8022" y="connsiteY8022"/>
              </a:cxn>
              <a:cxn ang="0">
                <a:pos x="connsiteX8023" y="connsiteY8023"/>
              </a:cxn>
              <a:cxn ang="0">
                <a:pos x="connsiteX8024" y="connsiteY8024"/>
              </a:cxn>
              <a:cxn ang="0">
                <a:pos x="connsiteX8025" y="connsiteY8025"/>
              </a:cxn>
              <a:cxn ang="0">
                <a:pos x="connsiteX8026" y="connsiteY8026"/>
              </a:cxn>
              <a:cxn ang="0">
                <a:pos x="connsiteX8027" y="connsiteY8027"/>
              </a:cxn>
              <a:cxn ang="0">
                <a:pos x="connsiteX8028" y="connsiteY8028"/>
              </a:cxn>
              <a:cxn ang="0">
                <a:pos x="connsiteX8029" y="connsiteY8029"/>
              </a:cxn>
              <a:cxn ang="0">
                <a:pos x="connsiteX8030" y="connsiteY8030"/>
              </a:cxn>
              <a:cxn ang="0">
                <a:pos x="connsiteX8031" y="connsiteY8031"/>
              </a:cxn>
              <a:cxn ang="0">
                <a:pos x="connsiteX8032" y="connsiteY8032"/>
              </a:cxn>
              <a:cxn ang="0">
                <a:pos x="connsiteX8033" y="connsiteY8033"/>
              </a:cxn>
              <a:cxn ang="0">
                <a:pos x="connsiteX8034" y="connsiteY8034"/>
              </a:cxn>
              <a:cxn ang="0">
                <a:pos x="connsiteX8035" y="connsiteY8035"/>
              </a:cxn>
              <a:cxn ang="0">
                <a:pos x="connsiteX8036" y="connsiteY8036"/>
              </a:cxn>
              <a:cxn ang="0">
                <a:pos x="connsiteX8037" y="connsiteY8037"/>
              </a:cxn>
              <a:cxn ang="0">
                <a:pos x="connsiteX8038" y="connsiteY8038"/>
              </a:cxn>
              <a:cxn ang="0">
                <a:pos x="connsiteX8039" y="connsiteY8039"/>
              </a:cxn>
              <a:cxn ang="0">
                <a:pos x="connsiteX8040" y="connsiteY8040"/>
              </a:cxn>
              <a:cxn ang="0">
                <a:pos x="connsiteX8041" y="connsiteY8041"/>
              </a:cxn>
              <a:cxn ang="0">
                <a:pos x="connsiteX8042" y="connsiteY8042"/>
              </a:cxn>
              <a:cxn ang="0">
                <a:pos x="connsiteX8043" y="connsiteY8043"/>
              </a:cxn>
              <a:cxn ang="0">
                <a:pos x="connsiteX8044" y="connsiteY8044"/>
              </a:cxn>
              <a:cxn ang="0">
                <a:pos x="connsiteX8045" y="connsiteY8045"/>
              </a:cxn>
              <a:cxn ang="0">
                <a:pos x="connsiteX8046" y="connsiteY8046"/>
              </a:cxn>
              <a:cxn ang="0">
                <a:pos x="connsiteX8047" y="connsiteY8047"/>
              </a:cxn>
              <a:cxn ang="0">
                <a:pos x="connsiteX8048" y="connsiteY8048"/>
              </a:cxn>
              <a:cxn ang="0">
                <a:pos x="connsiteX8049" y="connsiteY8049"/>
              </a:cxn>
              <a:cxn ang="0">
                <a:pos x="connsiteX8050" y="connsiteY8050"/>
              </a:cxn>
              <a:cxn ang="0">
                <a:pos x="connsiteX8051" y="connsiteY8051"/>
              </a:cxn>
              <a:cxn ang="0">
                <a:pos x="connsiteX8052" y="connsiteY8052"/>
              </a:cxn>
              <a:cxn ang="0">
                <a:pos x="connsiteX8053" y="connsiteY8053"/>
              </a:cxn>
              <a:cxn ang="0">
                <a:pos x="connsiteX8054" y="connsiteY8054"/>
              </a:cxn>
              <a:cxn ang="0">
                <a:pos x="connsiteX8055" y="connsiteY8055"/>
              </a:cxn>
              <a:cxn ang="0">
                <a:pos x="connsiteX8056" y="connsiteY8056"/>
              </a:cxn>
              <a:cxn ang="0">
                <a:pos x="connsiteX8057" y="connsiteY8057"/>
              </a:cxn>
              <a:cxn ang="0">
                <a:pos x="connsiteX8058" y="connsiteY8058"/>
              </a:cxn>
              <a:cxn ang="0">
                <a:pos x="connsiteX8059" y="connsiteY8059"/>
              </a:cxn>
              <a:cxn ang="0">
                <a:pos x="connsiteX8060" y="connsiteY8060"/>
              </a:cxn>
              <a:cxn ang="0">
                <a:pos x="connsiteX8061" y="connsiteY8061"/>
              </a:cxn>
              <a:cxn ang="0">
                <a:pos x="connsiteX8062" y="connsiteY8062"/>
              </a:cxn>
              <a:cxn ang="0">
                <a:pos x="connsiteX8063" y="connsiteY8063"/>
              </a:cxn>
              <a:cxn ang="0">
                <a:pos x="connsiteX8064" y="connsiteY8064"/>
              </a:cxn>
              <a:cxn ang="0">
                <a:pos x="connsiteX8065" y="connsiteY8065"/>
              </a:cxn>
              <a:cxn ang="0">
                <a:pos x="connsiteX8066" y="connsiteY8066"/>
              </a:cxn>
              <a:cxn ang="0">
                <a:pos x="connsiteX8067" y="connsiteY8067"/>
              </a:cxn>
              <a:cxn ang="0">
                <a:pos x="connsiteX8068" y="connsiteY8068"/>
              </a:cxn>
              <a:cxn ang="0">
                <a:pos x="connsiteX8069" y="connsiteY8069"/>
              </a:cxn>
              <a:cxn ang="0">
                <a:pos x="connsiteX8070" y="connsiteY8070"/>
              </a:cxn>
              <a:cxn ang="0">
                <a:pos x="connsiteX8071" y="connsiteY8071"/>
              </a:cxn>
              <a:cxn ang="0">
                <a:pos x="connsiteX8072" y="connsiteY8072"/>
              </a:cxn>
              <a:cxn ang="0">
                <a:pos x="connsiteX8073" y="connsiteY8073"/>
              </a:cxn>
              <a:cxn ang="0">
                <a:pos x="connsiteX8074" y="connsiteY8074"/>
              </a:cxn>
              <a:cxn ang="0">
                <a:pos x="connsiteX8075" y="connsiteY8075"/>
              </a:cxn>
              <a:cxn ang="0">
                <a:pos x="connsiteX8076" y="connsiteY8076"/>
              </a:cxn>
              <a:cxn ang="0">
                <a:pos x="connsiteX8077" y="connsiteY8077"/>
              </a:cxn>
              <a:cxn ang="0">
                <a:pos x="connsiteX8078" y="connsiteY8078"/>
              </a:cxn>
              <a:cxn ang="0">
                <a:pos x="connsiteX8079" y="connsiteY8079"/>
              </a:cxn>
              <a:cxn ang="0">
                <a:pos x="connsiteX8080" y="connsiteY8080"/>
              </a:cxn>
              <a:cxn ang="0">
                <a:pos x="connsiteX8081" y="connsiteY8081"/>
              </a:cxn>
              <a:cxn ang="0">
                <a:pos x="connsiteX8082" y="connsiteY8082"/>
              </a:cxn>
              <a:cxn ang="0">
                <a:pos x="connsiteX8083" y="connsiteY8083"/>
              </a:cxn>
              <a:cxn ang="0">
                <a:pos x="connsiteX8084" y="connsiteY8084"/>
              </a:cxn>
              <a:cxn ang="0">
                <a:pos x="connsiteX8085" y="connsiteY8085"/>
              </a:cxn>
              <a:cxn ang="0">
                <a:pos x="connsiteX8086" y="connsiteY8086"/>
              </a:cxn>
              <a:cxn ang="0">
                <a:pos x="connsiteX8087" y="connsiteY8087"/>
              </a:cxn>
              <a:cxn ang="0">
                <a:pos x="connsiteX8088" y="connsiteY8088"/>
              </a:cxn>
              <a:cxn ang="0">
                <a:pos x="connsiteX8089" y="connsiteY8089"/>
              </a:cxn>
              <a:cxn ang="0">
                <a:pos x="connsiteX8090" y="connsiteY8090"/>
              </a:cxn>
              <a:cxn ang="0">
                <a:pos x="connsiteX8091" y="connsiteY8091"/>
              </a:cxn>
              <a:cxn ang="0">
                <a:pos x="connsiteX8092" y="connsiteY8092"/>
              </a:cxn>
              <a:cxn ang="0">
                <a:pos x="connsiteX8093" y="connsiteY8093"/>
              </a:cxn>
              <a:cxn ang="0">
                <a:pos x="connsiteX8094" y="connsiteY8094"/>
              </a:cxn>
              <a:cxn ang="0">
                <a:pos x="connsiteX8095" y="connsiteY8095"/>
              </a:cxn>
              <a:cxn ang="0">
                <a:pos x="connsiteX8096" y="connsiteY8096"/>
              </a:cxn>
              <a:cxn ang="0">
                <a:pos x="connsiteX8097" y="connsiteY8097"/>
              </a:cxn>
              <a:cxn ang="0">
                <a:pos x="connsiteX8098" y="connsiteY8098"/>
              </a:cxn>
              <a:cxn ang="0">
                <a:pos x="connsiteX8099" y="connsiteY8099"/>
              </a:cxn>
              <a:cxn ang="0">
                <a:pos x="connsiteX8100" y="connsiteY8100"/>
              </a:cxn>
              <a:cxn ang="0">
                <a:pos x="connsiteX8101" y="connsiteY8101"/>
              </a:cxn>
              <a:cxn ang="0">
                <a:pos x="connsiteX8102" y="connsiteY8102"/>
              </a:cxn>
              <a:cxn ang="0">
                <a:pos x="connsiteX8103" y="connsiteY8103"/>
              </a:cxn>
              <a:cxn ang="0">
                <a:pos x="connsiteX8104" y="connsiteY8104"/>
              </a:cxn>
              <a:cxn ang="0">
                <a:pos x="connsiteX8105" y="connsiteY8105"/>
              </a:cxn>
              <a:cxn ang="0">
                <a:pos x="connsiteX8106" y="connsiteY8106"/>
              </a:cxn>
              <a:cxn ang="0">
                <a:pos x="connsiteX8107" y="connsiteY8107"/>
              </a:cxn>
              <a:cxn ang="0">
                <a:pos x="connsiteX8108" y="connsiteY8108"/>
              </a:cxn>
              <a:cxn ang="0">
                <a:pos x="connsiteX8109" y="connsiteY8109"/>
              </a:cxn>
              <a:cxn ang="0">
                <a:pos x="connsiteX8110" y="connsiteY8110"/>
              </a:cxn>
              <a:cxn ang="0">
                <a:pos x="connsiteX8111" y="connsiteY8111"/>
              </a:cxn>
              <a:cxn ang="0">
                <a:pos x="connsiteX8112" y="connsiteY8112"/>
              </a:cxn>
              <a:cxn ang="0">
                <a:pos x="connsiteX8113" y="connsiteY8113"/>
              </a:cxn>
              <a:cxn ang="0">
                <a:pos x="connsiteX8114" y="connsiteY8114"/>
              </a:cxn>
              <a:cxn ang="0">
                <a:pos x="connsiteX8115" y="connsiteY8115"/>
              </a:cxn>
              <a:cxn ang="0">
                <a:pos x="connsiteX8116" y="connsiteY8116"/>
              </a:cxn>
              <a:cxn ang="0">
                <a:pos x="connsiteX8117" y="connsiteY8117"/>
              </a:cxn>
              <a:cxn ang="0">
                <a:pos x="connsiteX8118" y="connsiteY8118"/>
              </a:cxn>
              <a:cxn ang="0">
                <a:pos x="connsiteX8119" y="connsiteY8119"/>
              </a:cxn>
              <a:cxn ang="0">
                <a:pos x="connsiteX8120" y="connsiteY8120"/>
              </a:cxn>
              <a:cxn ang="0">
                <a:pos x="connsiteX8121" y="connsiteY8121"/>
              </a:cxn>
              <a:cxn ang="0">
                <a:pos x="connsiteX8122" y="connsiteY8122"/>
              </a:cxn>
              <a:cxn ang="0">
                <a:pos x="connsiteX8123" y="connsiteY8123"/>
              </a:cxn>
              <a:cxn ang="0">
                <a:pos x="connsiteX8124" y="connsiteY8124"/>
              </a:cxn>
              <a:cxn ang="0">
                <a:pos x="connsiteX8125" y="connsiteY8125"/>
              </a:cxn>
              <a:cxn ang="0">
                <a:pos x="connsiteX8126" y="connsiteY8126"/>
              </a:cxn>
              <a:cxn ang="0">
                <a:pos x="connsiteX8127" y="connsiteY8127"/>
              </a:cxn>
              <a:cxn ang="0">
                <a:pos x="connsiteX8128" y="connsiteY8128"/>
              </a:cxn>
              <a:cxn ang="0">
                <a:pos x="connsiteX8129" y="connsiteY8129"/>
              </a:cxn>
              <a:cxn ang="0">
                <a:pos x="connsiteX8130" y="connsiteY8130"/>
              </a:cxn>
              <a:cxn ang="0">
                <a:pos x="connsiteX8131" y="connsiteY8131"/>
              </a:cxn>
              <a:cxn ang="0">
                <a:pos x="connsiteX8132" y="connsiteY8132"/>
              </a:cxn>
              <a:cxn ang="0">
                <a:pos x="connsiteX8133" y="connsiteY8133"/>
              </a:cxn>
              <a:cxn ang="0">
                <a:pos x="connsiteX8134" y="connsiteY8134"/>
              </a:cxn>
              <a:cxn ang="0">
                <a:pos x="connsiteX8135" y="connsiteY8135"/>
              </a:cxn>
              <a:cxn ang="0">
                <a:pos x="connsiteX8136" y="connsiteY8136"/>
              </a:cxn>
              <a:cxn ang="0">
                <a:pos x="connsiteX8137" y="connsiteY8137"/>
              </a:cxn>
              <a:cxn ang="0">
                <a:pos x="connsiteX8138" y="connsiteY8138"/>
              </a:cxn>
              <a:cxn ang="0">
                <a:pos x="connsiteX8139" y="connsiteY8139"/>
              </a:cxn>
              <a:cxn ang="0">
                <a:pos x="connsiteX8140" y="connsiteY8140"/>
              </a:cxn>
              <a:cxn ang="0">
                <a:pos x="connsiteX8141" y="connsiteY8141"/>
              </a:cxn>
              <a:cxn ang="0">
                <a:pos x="connsiteX8142" y="connsiteY8142"/>
              </a:cxn>
              <a:cxn ang="0">
                <a:pos x="connsiteX8143" y="connsiteY8143"/>
              </a:cxn>
              <a:cxn ang="0">
                <a:pos x="connsiteX8144" y="connsiteY8144"/>
              </a:cxn>
              <a:cxn ang="0">
                <a:pos x="connsiteX8145" y="connsiteY8145"/>
              </a:cxn>
              <a:cxn ang="0">
                <a:pos x="connsiteX8146" y="connsiteY8146"/>
              </a:cxn>
              <a:cxn ang="0">
                <a:pos x="connsiteX8147" y="connsiteY8147"/>
              </a:cxn>
              <a:cxn ang="0">
                <a:pos x="connsiteX8148" y="connsiteY8148"/>
              </a:cxn>
              <a:cxn ang="0">
                <a:pos x="connsiteX8149" y="connsiteY8149"/>
              </a:cxn>
              <a:cxn ang="0">
                <a:pos x="connsiteX8150" y="connsiteY8150"/>
              </a:cxn>
              <a:cxn ang="0">
                <a:pos x="connsiteX8151" y="connsiteY8151"/>
              </a:cxn>
              <a:cxn ang="0">
                <a:pos x="connsiteX8152" y="connsiteY8152"/>
              </a:cxn>
              <a:cxn ang="0">
                <a:pos x="connsiteX8153" y="connsiteY8153"/>
              </a:cxn>
              <a:cxn ang="0">
                <a:pos x="connsiteX8154" y="connsiteY8154"/>
              </a:cxn>
              <a:cxn ang="0">
                <a:pos x="connsiteX8155" y="connsiteY8155"/>
              </a:cxn>
              <a:cxn ang="0">
                <a:pos x="connsiteX8156" y="connsiteY8156"/>
              </a:cxn>
              <a:cxn ang="0">
                <a:pos x="connsiteX8157" y="connsiteY8157"/>
              </a:cxn>
              <a:cxn ang="0">
                <a:pos x="connsiteX8158" y="connsiteY8158"/>
              </a:cxn>
              <a:cxn ang="0">
                <a:pos x="connsiteX8159" y="connsiteY8159"/>
              </a:cxn>
              <a:cxn ang="0">
                <a:pos x="connsiteX8160" y="connsiteY8160"/>
              </a:cxn>
              <a:cxn ang="0">
                <a:pos x="connsiteX8161" y="connsiteY8161"/>
              </a:cxn>
              <a:cxn ang="0">
                <a:pos x="connsiteX8162" y="connsiteY8162"/>
              </a:cxn>
              <a:cxn ang="0">
                <a:pos x="connsiteX8163" y="connsiteY8163"/>
              </a:cxn>
              <a:cxn ang="0">
                <a:pos x="connsiteX8164" y="connsiteY8164"/>
              </a:cxn>
              <a:cxn ang="0">
                <a:pos x="connsiteX8165" y="connsiteY8165"/>
              </a:cxn>
              <a:cxn ang="0">
                <a:pos x="connsiteX8166" y="connsiteY8166"/>
              </a:cxn>
              <a:cxn ang="0">
                <a:pos x="connsiteX8167" y="connsiteY8167"/>
              </a:cxn>
              <a:cxn ang="0">
                <a:pos x="connsiteX8168" y="connsiteY8168"/>
              </a:cxn>
              <a:cxn ang="0">
                <a:pos x="connsiteX8169" y="connsiteY8169"/>
              </a:cxn>
              <a:cxn ang="0">
                <a:pos x="connsiteX8170" y="connsiteY8170"/>
              </a:cxn>
              <a:cxn ang="0">
                <a:pos x="connsiteX8171" y="connsiteY8171"/>
              </a:cxn>
              <a:cxn ang="0">
                <a:pos x="connsiteX8172" y="connsiteY8172"/>
              </a:cxn>
              <a:cxn ang="0">
                <a:pos x="connsiteX8173" y="connsiteY8173"/>
              </a:cxn>
              <a:cxn ang="0">
                <a:pos x="connsiteX8174" y="connsiteY8174"/>
              </a:cxn>
              <a:cxn ang="0">
                <a:pos x="connsiteX8175" y="connsiteY8175"/>
              </a:cxn>
              <a:cxn ang="0">
                <a:pos x="connsiteX8176" y="connsiteY8176"/>
              </a:cxn>
              <a:cxn ang="0">
                <a:pos x="connsiteX8177" y="connsiteY8177"/>
              </a:cxn>
              <a:cxn ang="0">
                <a:pos x="connsiteX8178" y="connsiteY8178"/>
              </a:cxn>
              <a:cxn ang="0">
                <a:pos x="connsiteX8179" y="connsiteY8179"/>
              </a:cxn>
              <a:cxn ang="0">
                <a:pos x="connsiteX8180" y="connsiteY8180"/>
              </a:cxn>
              <a:cxn ang="0">
                <a:pos x="connsiteX8181" y="connsiteY8181"/>
              </a:cxn>
              <a:cxn ang="0">
                <a:pos x="connsiteX8182" y="connsiteY8182"/>
              </a:cxn>
              <a:cxn ang="0">
                <a:pos x="connsiteX8183" y="connsiteY8183"/>
              </a:cxn>
              <a:cxn ang="0">
                <a:pos x="connsiteX8184" y="connsiteY8184"/>
              </a:cxn>
              <a:cxn ang="0">
                <a:pos x="connsiteX8185" y="connsiteY8185"/>
              </a:cxn>
              <a:cxn ang="0">
                <a:pos x="connsiteX8186" y="connsiteY8186"/>
              </a:cxn>
              <a:cxn ang="0">
                <a:pos x="connsiteX8187" y="connsiteY8187"/>
              </a:cxn>
              <a:cxn ang="0">
                <a:pos x="connsiteX8188" y="connsiteY8188"/>
              </a:cxn>
              <a:cxn ang="0">
                <a:pos x="connsiteX8189" y="connsiteY8189"/>
              </a:cxn>
              <a:cxn ang="0">
                <a:pos x="connsiteX8190" y="connsiteY8190"/>
              </a:cxn>
              <a:cxn ang="0">
                <a:pos x="connsiteX8191" y="connsiteY8191"/>
              </a:cxn>
              <a:cxn ang="0">
                <a:pos x="connsiteX8192" y="connsiteY8192"/>
              </a:cxn>
              <a:cxn ang="0">
                <a:pos x="connsiteX8193" y="connsiteY8193"/>
              </a:cxn>
              <a:cxn ang="0">
                <a:pos x="connsiteX8194" y="connsiteY8194"/>
              </a:cxn>
              <a:cxn ang="0">
                <a:pos x="connsiteX8195" y="connsiteY8195"/>
              </a:cxn>
              <a:cxn ang="0">
                <a:pos x="connsiteX8196" y="connsiteY8196"/>
              </a:cxn>
              <a:cxn ang="0">
                <a:pos x="connsiteX8197" y="connsiteY8197"/>
              </a:cxn>
              <a:cxn ang="0">
                <a:pos x="connsiteX8198" y="connsiteY8198"/>
              </a:cxn>
              <a:cxn ang="0">
                <a:pos x="connsiteX8199" y="connsiteY8199"/>
              </a:cxn>
              <a:cxn ang="0">
                <a:pos x="connsiteX8200" y="connsiteY8200"/>
              </a:cxn>
              <a:cxn ang="0">
                <a:pos x="connsiteX8201" y="connsiteY8201"/>
              </a:cxn>
              <a:cxn ang="0">
                <a:pos x="connsiteX8202" y="connsiteY8202"/>
              </a:cxn>
              <a:cxn ang="0">
                <a:pos x="connsiteX8203" y="connsiteY8203"/>
              </a:cxn>
              <a:cxn ang="0">
                <a:pos x="connsiteX8204" y="connsiteY8204"/>
              </a:cxn>
              <a:cxn ang="0">
                <a:pos x="connsiteX8205" y="connsiteY8205"/>
              </a:cxn>
              <a:cxn ang="0">
                <a:pos x="connsiteX8206" y="connsiteY8206"/>
              </a:cxn>
              <a:cxn ang="0">
                <a:pos x="connsiteX8207" y="connsiteY8207"/>
              </a:cxn>
              <a:cxn ang="0">
                <a:pos x="connsiteX8208" y="connsiteY8208"/>
              </a:cxn>
              <a:cxn ang="0">
                <a:pos x="connsiteX8209" y="connsiteY8209"/>
              </a:cxn>
              <a:cxn ang="0">
                <a:pos x="connsiteX8210" y="connsiteY8210"/>
              </a:cxn>
              <a:cxn ang="0">
                <a:pos x="connsiteX8211" y="connsiteY8211"/>
              </a:cxn>
              <a:cxn ang="0">
                <a:pos x="connsiteX8212" y="connsiteY8212"/>
              </a:cxn>
              <a:cxn ang="0">
                <a:pos x="connsiteX8213" y="connsiteY8213"/>
              </a:cxn>
              <a:cxn ang="0">
                <a:pos x="connsiteX8214" y="connsiteY8214"/>
              </a:cxn>
              <a:cxn ang="0">
                <a:pos x="connsiteX8215" y="connsiteY8215"/>
              </a:cxn>
              <a:cxn ang="0">
                <a:pos x="connsiteX8216" y="connsiteY8216"/>
              </a:cxn>
              <a:cxn ang="0">
                <a:pos x="connsiteX8217" y="connsiteY8217"/>
              </a:cxn>
              <a:cxn ang="0">
                <a:pos x="connsiteX8218" y="connsiteY8218"/>
              </a:cxn>
              <a:cxn ang="0">
                <a:pos x="connsiteX8219" y="connsiteY8219"/>
              </a:cxn>
              <a:cxn ang="0">
                <a:pos x="connsiteX8220" y="connsiteY8220"/>
              </a:cxn>
              <a:cxn ang="0">
                <a:pos x="connsiteX8221" y="connsiteY8221"/>
              </a:cxn>
              <a:cxn ang="0">
                <a:pos x="connsiteX8222" y="connsiteY8222"/>
              </a:cxn>
              <a:cxn ang="0">
                <a:pos x="connsiteX8223" y="connsiteY8223"/>
              </a:cxn>
              <a:cxn ang="0">
                <a:pos x="connsiteX8224" y="connsiteY8224"/>
              </a:cxn>
              <a:cxn ang="0">
                <a:pos x="connsiteX8225" y="connsiteY8225"/>
              </a:cxn>
              <a:cxn ang="0">
                <a:pos x="connsiteX8226" y="connsiteY8226"/>
              </a:cxn>
              <a:cxn ang="0">
                <a:pos x="connsiteX8227" y="connsiteY8227"/>
              </a:cxn>
              <a:cxn ang="0">
                <a:pos x="connsiteX8228" y="connsiteY8228"/>
              </a:cxn>
              <a:cxn ang="0">
                <a:pos x="connsiteX8229" y="connsiteY8229"/>
              </a:cxn>
              <a:cxn ang="0">
                <a:pos x="connsiteX8230" y="connsiteY8230"/>
              </a:cxn>
              <a:cxn ang="0">
                <a:pos x="connsiteX8231" y="connsiteY8231"/>
              </a:cxn>
              <a:cxn ang="0">
                <a:pos x="connsiteX8232" y="connsiteY8232"/>
              </a:cxn>
              <a:cxn ang="0">
                <a:pos x="connsiteX8233" y="connsiteY8233"/>
              </a:cxn>
              <a:cxn ang="0">
                <a:pos x="connsiteX8234" y="connsiteY8234"/>
              </a:cxn>
              <a:cxn ang="0">
                <a:pos x="connsiteX8235" y="connsiteY8235"/>
              </a:cxn>
              <a:cxn ang="0">
                <a:pos x="connsiteX8236" y="connsiteY8236"/>
              </a:cxn>
              <a:cxn ang="0">
                <a:pos x="connsiteX8237" y="connsiteY8237"/>
              </a:cxn>
              <a:cxn ang="0">
                <a:pos x="connsiteX8238" y="connsiteY8238"/>
              </a:cxn>
              <a:cxn ang="0">
                <a:pos x="connsiteX8239" y="connsiteY8239"/>
              </a:cxn>
              <a:cxn ang="0">
                <a:pos x="connsiteX8240" y="connsiteY8240"/>
              </a:cxn>
              <a:cxn ang="0">
                <a:pos x="connsiteX8241" y="connsiteY8241"/>
              </a:cxn>
              <a:cxn ang="0">
                <a:pos x="connsiteX8242" y="connsiteY8242"/>
              </a:cxn>
              <a:cxn ang="0">
                <a:pos x="connsiteX8243" y="connsiteY8243"/>
              </a:cxn>
              <a:cxn ang="0">
                <a:pos x="connsiteX8244" y="connsiteY8244"/>
              </a:cxn>
              <a:cxn ang="0">
                <a:pos x="connsiteX8245" y="connsiteY8245"/>
              </a:cxn>
              <a:cxn ang="0">
                <a:pos x="connsiteX8246" y="connsiteY8246"/>
              </a:cxn>
              <a:cxn ang="0">
                <a:pos x="connsiteX8247" y="connsiteY8247"/>
              </a:cxn>
              <a:cxn ang="0">
                <a:pos x="connsiteX8248" y="connsiteY8248"/>
              </a:cxn>
              <a:cxn ang="0">
                <a:pos x="connsiteX8249" y="connsiteY8249"/>
              </a:cxn>
              <a:cxn ang="0">
                <a:pos x="connsiteX8250" y="connsiteY8250"/>
              </a:cxn>
              <a:cxn ang="0">
                <a:pos x="connsiteX8251" y="connsiteY8251"/>
              </a:cxn>
              <a:cxn ang="0">
                <a:pos x="connsiteX8252" y="connsiteY8252"/>
              </a:cxn>
              <a:cxn ang="0">
                <a:pos x="connsiteX8253" y="connsiteY8253"/>
              </a:cxn>
              <a:cxn ang="0">
                <a:pos x="connsiteX8254" y="connsiteY8254"/>
              </a:cxn>
              <a:cxn ang="0">
                <a:pos x="connsiteX8255" y="connsiteY8255"/>
              </a:cxn>
              <a:cxn ang="0">
                <a:pos x="connsiteX8256" y="connsiteY8256"/>
              </a:cxn>
              <a:cxn ang="0">
                <a:pos x="connsiteX8257" y="connsiteY8257"/>
              </a:cxn>
              <a:cxn ang="0">
                <a:pos x="connsiteX8258" y="connsiteY8258"/>
              </a:cxn>
              <a:cxn ang="0">
                <a:pos x="connsiteX8259" y="connsiteY8259"/>
              </a:cxn>
              <a:cxn ang="0">
                <a:pos x="connsiteX8260" y="connsiteY8260"/>
              </a:cxn>
              <a:cxn ang="0">
                <a:pos x="connsiteX8261" y="connsiteY8261"/>
              </a:cxn>
              <a:cxn ang="0">
                <a:pos x="connsiteX8262" y="connsiteY8262"/>
              </a:cxn>
              <a:cxn ang="0">
                <a:pos x="connsiteX8263" y="connsiteY8263"/>
              </a:cxn>
              <a:cxn ang="0">
                <a:pos x="connsiteX8264" y="connsiteY8264"/>
              </a:cxn>
              <a:cxn ang="0">
                <a:pos x="connsiteX8265" y="connsiteY8265"/>
              </a:cxn>
              <a:cxn ang="0">
                <a:pos x="connsiteX8266" y="connsiteY8266"/>
              </a:cxn>
              <a:cxn ang="0">
                <a:pos x="connsiteX8267" y="connsiteY8267"/>
              </a:cxn>
              <a:cxn ang="0">
                <a:pos x="connsiteX8268" y="connsiteY8268"/>
              </a:cxn>
              <a:cxn ang="0">
                <a:pos x="connsiteX8269" y="connsiteY8269"/>
              </a:cxn>
              <a:cxn ang="0">
                <a:pos x="connsiteX8270" y="connsiteY8270"/>
              </a:cxn>
              <a:cxn ang="0">
                <a:pos x="connsiteX8271" y="connsiteY8271"/>
              </a:cxn>
              <a:cxn ang="0">
                <a:pos x="connsiteX8272" y="connsiteY8272"/>
              </a:cxn>
              <a:cxn ang="0">
                <a:pos x="connsiteX8273" y="connsiteY8273"/>
              </a:cxn>
              <a:cxn ang="0">
                <a:pos x="connsiteX8274" y="connsiteY8274"/>
              </a:cxn>
              <a:cxn ang="0">
                <a:pos x="connsiteX8275" y="connsiteY8275"/>
              </a:cxn>
              <a:cxn ang="0">
                <a:pos x="connsiteX8276" y="connsiteY8276"/>
              </a:cxn>
              <a:cxn ang="0">
                <a:pos x="connsiteX8277" y="connsiteY8277"/>
              </a:cxn>
              <a:cxn ang="0">
                <a:pos x="connsiteX8278" y="connsiteY8278"/>
              </a:cxn>
              <a:cxn ang="0">
                <a:pos x="connsiteX8279" y="connsiteY8279"/>
              </a:cxn>
              <a:cxn ang="0">
                <a:pos x="connsiteX8280" y="connsiteY8280"/>
              </a:cxn>
              <a:cxn ang="0">
                <a:pos x="connsiteX8281" y="connsiteY8281"/>
              </a:cxn>
              <a:cxn ang="0">
                <a:pos x="connsiteX8282" y="connsiteY8282"/>
              </a:cxn>
              <a:cxn ang="0">
                <a:pos x="connsiteX8283" y="connsiteY8283"/>
              </a:cxn>
              <a:cxn ang="0">
                <a:pos x="connsiteX8284" y="connsiteY8284"/>
              </a:cxn>
              <a:cxn ang="0">
                <a:pos x="connsiteX8285" y="connsiteY8285"/>
              </a:cxn>
              <a:cxn ang="0">
                <a:pos x="connsiteX8286" y="connsiteY8286"/>
              </a:cxn>
              <a:cxn ang="0">
                <a:pos x="connsiteX8287" y="connsiteY8287"/>
              </a:cxn>
              <a:cxn ang="0">
                <a:pos x="connsiteX8288" y="connsiteY8288"/>
              </a:cxn>
              <a:cxn ang="0">
                <a:pos x="connsiteX8289" y="connsiteY8289"/>
              </a:cxn>
              <a:cxn ang="0">
                <a:pos x="connsiteX8290" y="connsiteY8290"/>
              </a:cxn>
            </a:cxnLst>
            <a:rect l="l" t="t" r="r" b="b"/>
            <a:pathLst>
              <a:path w="5610835" h="5278114">
                <a:moveTo>
                  <a:pt x="1634002" y="5217421"/>
                </a:moveTo>
                <a:cubicBezTo>
                  <a:pt x="1634002" y="5217421"/>
                  <a:pt x="1634002" y="5219012"/>
                  <a:pt x="1634002" y="5219012"/>
                </a:cubicBezTo>
                <a:cubicBezTo>
                  <a:pt x="1634002" y="5223783"/>
                  <a:pt x="1635593" y="5226965"/>
                  <a:pt x="1635593" y="5230146"/>
                </a:cubicBezTo>
                <a:cubicBezTo>
                  <a:pt x="1634002" y="5230146"/>
                  <a:pt x="1634002" y="5230146"/>
                  <a:pt x="1634002" y="5230146"/>
                </a:cubicBezTo>
                <a:cubicBezTo>
                  <a:pt x="1630819" y="5231737"/>
                  <a:pt x="1629229" y="5234919"/>
                  <a:pt x="1626047" y="5236509"/>
                </a:cubicBezTo>
                <a:cubicBezTo>
                  <a:pt x="1624456" y="5236509"/>
                  <a:pt x="1622866" y="5236509"/>
                  <a:pt x="1619685" y="5236509"/>
                </a:cubicBezTo>
                <a:cubicBezTo>
                  <a:pt x="1622866" y="5230146"/>
                  <a:pt x="1629229" y="5223783"/>
                  <a:pt x="1634002" y="5217421"/>
                </a:cubicBezTo>
                <a:close/>
                <a:moveTo>
                  <a:pt x="1658004" y="5202541"/>
                </a:moveTo>
                <a:lnTo>
                  <a:pt x="1657862" y="5203104"/>
                </a:lnTo>
                <a:cubicBezTo>
                  <a:pt x="1657862" y="5207876"/>
                  <a:pt x="1654681" y="5212649"/>
                  <a:pt x="1651499" y="5217421"/>
                </a:cubicBezTo>
                <a:cubicBezTo>
                  <a:pt x="1649909" y="5219012"/>
                  <a:pt x="1646728" y="5219012"/>
                  <a:pt x="1645137" y="5220602"/>
                </a:cubicBezTo>
                <a:cubicBezTo>
                  <a:pt x="1645137" y="5219012"/>
                  <a:pt x="1646728" y="5215830"/>
                  <a:pt x="1646728" y="5214240"/>
                </a:cubicBezTo>
                <a:cubicBezTo>
                  <a:pt x="1645137" y="5214240"/>
                  <a:pt x="1645137" y="5211058"/>
                  <a:pt x="1646728" y="5212649"/>
                </a:cubicBezTo>
                <a:cubicBezTo>
                  <a:pt x="1645137" y="5212649"/>
                  <a:pt x="1646728" y="5211058"/>
                  <a:pt x="1646728" y="5209467"/>
                </a:cubicBezTo>
                <a:cubicBezTo>
                  <a:pt x="1648319" y="5211058"/>
                  <a:pt x="1649909" y="5207876"/>
                  <a:pt x="1648319" y="5207876"/>
                </a:cubicBezTo>
                <a:cubicBezTo>
                  <a:pt x="1649909" y="5207876"/>
                  <a:pt x="1648319" y="5209467"/>
                  <a:pt x="1649909" y="5209467"/>
                </a:cubicBezTo>
                <a:cubicBezTo>
                  <a:pt x="1650704" y="5207081"/>
                  <a:pt x="1652693" y="5205888"/>
                  <a:pt x="1654681" y="5204893"/>
                </a:cubicBezTo>
                <a:close/>
                <a:moveTo>
                  <a:pt x="1659454" y="5201513"/>
                </a:moveTo>
                <a:lnTo>
                  <a:pt x="1658004" y="5202541"/>
                </a:lnTo>
                <a:lnTo>
                  <a:pt x="1658245" y="5201575"/>
                </a:lnTo>
                <a:close/>
                <a:moveTo>
                  <a:pt x="1557647" y="5198332"/>
                </a:moveTo>
                <a:cubicBezTo>
                  <a:pt x="1560828" y="5201514"/>
                  <a:pt x="1565600" y="5203105"/>
                  <a:pt x="1571965" y="5201514"/>
                </a:cubicBezTo>
                <a:cubicBezTo>
                  <a:pt x="1571965" y="5203105"/>
                  <a:pt x="1571965" y="5203105"/>
                  <a:pt x="1571965" y="5203105"/>
                </a:cubicBezTo>
                <a:cubicBezTo>
                  <a:pt x="1570373" y="5206286"/>
                  <a:pt x="1568782" y="5207877"/>
                  <a:pt x="1567191" y="5211059"/>
                </a:cubicBezTo>
                <a:cubicBezTo>
                  <a:pt x="1567191" y="5211059"/>
                  <a:pt x="1565600" y="5211059"/>
                  <a:pt x="1565600" y="5211059"/>
                </a:cubicBezTo>
                <a:cubicBezTo>
                  <a:pt x="1562418" y="5207877"/>
                  <a:pt x="1559237" y="5203105"/>
                  <a:pt x="1557647" y="5198332"/>
                </a:cubicBezTo>
                <a:close/>
                <a:moveTo>
                  <a:pt x="1619685" y="5193560"/>
                </a:moveTo>
                <a:cubicBezTo>
                  <a:pt x="1622867" y="5196741"/>
                  <a:pt x="1624457" y="5198332"/>
                  <a:pt x="1626049" y="5199923"/>
                </a:cubicBezTo>
                <a:cubicBezTo>
                  <a:pt x="1619685" y="5211059"/>
                  <a:pt x="1613322" y="5223784"/>
                  <a:pt x="1608550" y="5234920"/>
                </a:cubicBezTo>
                <a:cubicBezTo>
                  <a:pt x="1606959" y="5233329"/>
                  <a:pt x="1603778" y="5231738"/>
                  <a:pt x="1602187" y="5230147"/>
                </a:cubicBezTo>
                <a:cubicBezTo>
                  <a:pt x="1602187" y="5228556"/>
                  <a:pt x="1603778" y="5226966"/>
                  <a:pt x="1605368" y="5226966"/>
                </a:cubicBezTo>
                <a:cubicBezTo>
                  <a:pt x="1603778" y="5215831"/>
                  <a:pt x="1611732" y="5209468"/>
                  <a:pt x="1616504" y="5199923"/>
                </a:cubicBezTo>
                <a:cubicBezTo>
                  <a:pt x="1618095" y="5199923"/>
                  <a:pt x="1619685" y="5199923"/>
                  <a:pt x="1621275" y="5198332"/>
                </a:cubicBezTo>
                <a:cubicBezTo>
                  <a:pt x="1621275" y="5195150"/>
                  <a:pt x="1619685" y="5195150"/>
                  <a:pt x="1619685" y="5193560"/>
                </a:cubicBezTo>
                <a:close/>
                <a:moveTo>
                  <a:pt x="1603777" y="5185606"/>
                </a:moveTo>
                <a:cubicBezTo>
                  <a:pt x="1606959" y="5185606"/>
                  <a:pt x="1606959" y="5188788"/>
                  <a:pt x="1608549" y="5188788"/>
                </a:cubicBezTo>
                <a:cubicBezTo>
                  <a:pt x="1608549" y="5188788"/>
                  <a:pt x="1606959" y="5191969"/>
                  <a:pt x="1608549" y="5193560"/>
                </a:cubicBezTo>
                <a:cubicBezTo>
                  <a:pt x="1611731" y="5195151"/>
                  <a:pt x="1611731" y="5191969"/>
                  <a:pt x="1613323" y="5191969"/>
                </a:cubicBezTo>
                <a:cubicBezTo>
                  <a:pt x="1611731" y="5193560"/>
                  <a:pt x="1614913" y="5191969"/>
                  <a:pt x="1614913" y="5193560"/>
                </a:cubicBezTo>
                <a:cubicBezTo>
                  <a:pt x="1610140" y="5198332"/>
                  <a:pt x="1610140" y="5203105"/>
                  <a:pt x="1605368" y="5207877"/>
                </a:cubicBezTo>
                <a:cubicBezTo>
                  <a:pt x="1605368" y="5206286"/>
                  <a:pt x="1605368" y="5206286"/>
                  <a:pt x="1603777" y="5206286"/>
                </a:cubicBezTo>
                <a:cubicBezTo>
                  <a:pt x="1605368" y="5207877"/>
                  <a:pt x="1602187" y="5206286"/>
                  <a:pt x="1602187" y="5207877"/>
                </a:cubicBezTo>
                <a:cubicBezTo>
                  <a:pt x="1603777" y="5209468"/>
                  <a:pt x="1602187" y="5209468"/>
                  <a:pt x="1603777" y="5211059"/>
                </a:cubicBezTo>
                <a:cubicBezTo>
                  <a:pt x="1600596" y="5214240"/>
                  <a:pt x="1600596" y="5222193"/>
                  <a:pt x="1595823" y="5222193"/>
                </a:cubicBezTo>
                <a:cubicBezTo>
                  <a:pt x="1595823" y="5222193"/>
                  <a:pt x="1595823" y="5223784"/>
                  <a:pt x="1595823" y="5223784"/>
                </a:cubicBezTo>
                <a:cubicBezTo>
                  <a:pt x="1594233" y="5222193"/>
                  <a:pt x="1592643" y="5220602"/>
                  <a:pt x="1589461" y="5219012"/>
                </a:cubicBezTo>
                <a:cubicBezTo>
                  <a:pt x="1592643" y="5207877"/>
                  <a:pt x="1597415" y="5195151"/>
                  <a:pt x="1603777" y="5187198"/>
                </a:cubicBezTo>
                <a:cubicBezTo>
                  <a:pt x="1603777" y="5188788"/>
                  <a:pt x="1603777" y="5187198"/>
                  <a:pt x="1603777" y="5185606"/>
                </a:cubicBezTo>
                <a:close/>
                <a:moveTo>
                  <a:pt x="1552874" y="5182425"/>
                </a:moveTo>
                <a:cubicBezTo>
                  <a:pt x="1557646" y="5182425"/>
                  <a:pt x="1564009" y="5182425"/>
                  <a:pt x="1568782" y="5182425"/>
                </a:cubicBezTo>
                <a:cubicBezTo>
                  <a:pt x="1570373" y="5182425"/>
                  <a:pt x="1570373" y="5184016"/>
                  <a:pt x="1570373" y="5185607"/>
                </a:cubicBezTo>
                <a:cubicBezTo>
                  <a:pt x="1568782" y="5187198"/>
                  <a:pt x="1568782" y="5187198"/>
                  <a:pt x="1568782" y="5188788"/>
                </a:cubicBezTo>
                <a:cubicBezTo>
                  <a:pt x="1568782" y="5190379"/>
                  <a:pt x="1568782" y="5190379"/>
                  <a:pt x="1570373" y="5193560"/>
                </a:cubicBezTo>
                <a:cubicBezTo>
                  <a:pt x="1562418" y="5191969"/>
                  <a:pt x="1554465" y="5190379"/>
                  <a:pt x="1552874" y="5182425"/>
                </a:cubicBezTo>
                <a:close/>
                <a:moveTo>
                  <a:pt x="1629230" y="5176062"/>
                </a:moveTo>
                <a:cubicBezTo>
                  <a:pt x="1629230" y="5184016"/>
                  <a:pt x="1632412" y="5187198"/>
                  <a:pt x="1630821" y="5193560"/>
                </a:cubicBezTo>
                <a:cubicBezTo>
                  <a:pt x="1627639" y="5190379"/>
                  <a:pt x="1627639" y="5187198"/>
                  <a:pt x="1624458" y="5185607"/>
                </a:cubicBezTo>
                <a:cubicBezTo>
                  <a:pt x="1626049" y="5184016"/>
                  <a:pt x="1626049" y="5182425"/>
                  <a:pt x="1626049" y="5180834"/>
                </a:cubicBezTo>
                <a:cubicBezTo>
                  <a:pt x="1629230" y="5182425"/>
                  <a:pt x="1626049" y="5177653"/>
                  <a:pt x="1629230" y="5176062"/>
                </a:cubicBezTo>
                <a:close/>
                <a:moveTo>
                  <a:pt x="1622867" y="5172880"/>
                </a:moveTo>
                <a:cubicBezTo>
                  <a:pt x="1618095" y="5174471"/>
                  <a:pt x="1618095" y="5180834"/>
                  <a:pt x="1618095" y="5184016"/>
                </a:cubicBezTo>
                <a:cubicBezTo>
                  <a:pt x="1616504" y="5184016"/>
                  <a:pt x="1616504" y="5182425"/>
                  <a:pt x="1616504" y="5182425"/>
                </a:cubicBezTo>
                <a:cubicBezTo>
                  <a:pt x="1616504" y="5177653"/>
                  <a:pt x="1614913" y="5177653"/>
                  <a:pt x="1610141" y="5177653"/>
                </a:cubicBezTo>
                <a:cubicBezTo>
                  <a:pt x="1610141" y="5176062"/>
                  <a:pt x="1610141" y="5176062"/>
                  <a:pt x="1610141" y="5174471"/>
                </a:cubicBezTo>
                <a:cubicBezTo>
                  <a:pt x="1614913" y="5172880"/>
                  <a:pt x="1618095" y="5172880"/>
                  <a:pt x="1622867" y="5172880"/>
                </a:cubicBezTo>
                <a:close/>
                <a:moveTo>
                  <a:pt x="1637183" y="5172879"/>
                </a:moveTo>
                <a:cubicBezTo>
                  <a:pt x="1646728" y="5172879"/>
                  <a:pt x="1654681" y="5176061"/>
                  <a:pt x="1664226" y="5177653"/>
                </a:cubicBezTo>
                <a:lnTo>
                  <a:pt x="1658245" y="5201575"/>
                </a:lnTo>
                <a:lnTo>
                  <a:pt x="1651699" y="5201911"/>
                </a:lnTo>
                <a:cubicBezTo>
                  <a:pt x="1649114" y="5202707"/>
                  <a:pt x="1646728" y="5203899"/>
                  <a:pt x="1645137" y="5204695"/>
                </a:cubicBezTo>
                <a:cubicBezTo>
                  <a:pt x="1648319" y="5201513"/>
                  <a:pt x="1651499" y="5196741"/>
                  <a:pt x="1653090" y="5190379"/>
                </a:cubicBezTo>
                <a:cubicBezTo>
                  <a:pt x="1648319" y="5193560"/>
                  <a:pt x="1645137" y="5193560"/>
                  <a:pt x="1641955" y="5191969"/>
                </a:cubicBezTo>
                <a:cubicBezTo>
                  <a:pt x="1640365" y="5185607"/>
                  <a:pt x="1638774" y="5179244"/>
                  <a:pt x="1637183" y="5172879"/>
                </a:cubicBezTo>
                <a:close/>
                <a:moveTo>
                  <a:pt x="1109060" y="5169698"/>
                </a:moveTo>
                <a:cubicBezTo>
                  <a:pt x="1113832" y="5172880"/>
                  <a:pt x="1117013" y="5176062"/>
                  <a:pt x="1121786" y="5179244"/>
                </a:cubicBezTo>
                <a:cubicBezTo>
                  <a:pt x="1120195" y="5185607"/>
                  <a:pt x="1123377" y="5195151"/>
                  <a:pt x="1121786" y="5199923"/>
                </a:cubicBezTo>
                <a:cubicBezTo>
                  <a:pt x="1118605" y="5196741"/>
                  <a:pt x="1115423" y="5191969"/>
                  <a:pt x="1112242" y="5188788"/>
                </a:cubicBezTo>
                <a:cubicBezTo>
                  <a:pt x="1110651" y="5184016"/>
                  <a:pt x="1109060" y="5177653"/>
                  <a:pt x="1109060" y="5169698"/>
                </a:cubicBezTo>
                <a:close/>
                <a:moveTo>
                  <a:pt x="1613322" y="5158564"/>
                </a:moveTo>
                <a:cubicBezTo>
                  <a:pt x="1614913" y="5158564"/>
                  <a:pt x="1616504" y="5160155"/>
                  <a:pt x="1618095" y="5160155"/>
                </a:cubicBezTo>
                <a:cubicBezTo>
                  <a:pt x="1618095" y="5161745"/>
                  <a:pt x="1624458" y="5164926"/>
                  <a:pt x="1622867" y="5163336"/>
                </a:cubicBezTo>
                <a:cubicBezTo>
                  <a:pt x="1624458" y="5163336"/>
                  <a:pt x="1624458" y="5164926"/>
                  <a:pt x="1624458" y="5168108"/>
                </a:cubicBezTo>
                <a:cubicBezTo>
                  <a:pt x="1619685" y="5168108"/>
                  <a:pt x="1614913" y="5168108"/>
                  <a:pt x="1610141" y="5168108"/>
                </a:cubicBezTo>
                <a:cubicBezTo>
                  <a:pt x="1611732" y="5164926"/>
                  <a:pt x="1611732" y="5161745"/>
                  <a:pt x="1613322" y="5158564"/>
                </a:cubicBezTo>
                <a:close/>
                <a:moveTo>
                  <a:pt x="1570372" y="5158563"/>
                </a:moveTo>
                <a:cubicBezTo>
                  <a:pt x="1578326" y="5161745"/>
                  <a:pt x="1584690" y="5168108"/>
                  <a:pt x="1591052" y="5172880"/>
                </a:cubicBezTo>
                <a:cubicBezTo>
                  <a:pt x="1589461" y="5172880"/>
                  <a:pt x="1589461" y="5176062"/>
                  <a:pt x="1587871" y="5176062"/>
                </a:cubicBezTo>
                <a:cubicBezTo>
                  <a:pt x="1587871" y="5174471"/>
                  <a:pt x="1587871" y="5174471"/>
                  <a:pt x="1586280" y="5174471"/>
                </a:cubicBezTo>
                <a:cubicBezTo>
                  <a:pt x="1583099" y="5176062"/>
                  <a:pt x="1583099" y="5179244"/>
                  <a:pt x="1584690" y="5180834"/>
                </a:cubicBezTo>
                <a:cubicBezTo>
                  <a:pt x="1581507" y="5185607"/>
                  <a:pt x="1579917" y="5190379"/>
                  <a:pt x="1576735" y="5195150"/>
                </a:cubicBezTo>
                <a:cubicBezTo>
                  <a:pt x="1576735" y="5190379"/>
                  <a:pt x="1576735" y="5185607"/>
                  <a:pt x="1575144" y="5180834"/>
                </a:cubicBezTo>
                <a:cubicBezTo>
                  <a:pt x="1576735" y="5180834"/>
                  <a:pt x="1578326" y="5179244"/>
                  <a:pt x="1579917" y="5179244"/>
                </a:cubicBezTo>
                <a:cubicBezTo>
                  <a:pt x="1576735" y="5179244"/>
                  <a:pt x="1575144" y="5177653"/>
                  <a:pt x="1573553" y="5177653"/>
                </a:cubicBezTo>
                <a:cubicBezTo>
                  <a:pt x="1571963" y="5171290"/>
                  <a:pt x="1570372" y="5164926"/>
                  <a:pt x="1570372" y="5158563"/>
                </a:cubicBezTo>
                <a:close/>
                <a:moveTo>
                  <a:pt x="1540148" y="5152201"/>
                </a:moveTo>
                <a:cubicBezTo>
                  <a:pt x="1549693" y="5150610"/>
                  <a:pt x="1557647" y="5152201"/>
                  <a:pt x="1564010" y="5155383"/>
                </a:cubicBezTo>
                <a:cubicBezTo>
                  <a:pt x="1564010" y="5158564"/>
                  <a:pt x="1564010" y="5161745"/>
                  <a:pt x="1562418" y="5164926"/>
                </a:cubicBezTo>
                <a:cubicBezTo>
                  <a:pt x="1565600" y="5166517"/>
                  <a:pt x="1565600" y="5169699"/>
                  <a:pt x="1567191" y="5174471"/>
                </a:cubicBezTo>
                <a:cubicBezTo>
                  <a:pt x="1556056" y="5171290"/>
                  <a:pt x="1546511" y="5166517"/>
                  <a:pt x="1541739" y="5156973"/>
                </a:cubicBezTo>
                <a:cubicBezTo>
                  <a:pt x="1540148" y="5155383"/>
                  <a:pt x="1540148" y="5153792"/>
                  <a:pt x="1540148" y="5152201"/>
                </a:cubicBezTo>
                <a:close/>
                <a:moveTo>
                  <a:pt x="1575144" y="5147429"/>
                </a:moveTo>
                <a:cubicBezTo>
                  <a:pt x="1581507" y="5145838"/>
                  <a:pt x="1589461" y="5149019"/>
                  <a:pt x="1599006" y="5150610"/>
                </a:cubicBezTo>
                <a:cubicBezTo>
                  <a:pt x="1599006" y="5150610"/>
                  <a:pt x="1600597" y="5152201"/>
                  <a:pt x="1600597" y="5152201"/>
                </a:cubicBezTo>
                <a:cubicBezTo>
                  <a:pt x="1599006" y="5153792"/>
                  <a:pt x="1599006" y="5156973"/>
                  <a:pt x="1597415" y="5158564"/>
                </a:cubicBezTo>
                <a:cubicBezTo>
                  <a:pt x="1595823" y="5155383"/>
                  <a:pt x="1594233" y="5161745"/>
                  <a:pt x="1592643" y="5161745"/>
                </a:cubicBezTo>
                <a:cubicBezTo>
                  <a:pt x="1591052" y="5160155"/>
                  <a:pt x="1589461" y="5160155"/>
                  <a:pt x="1586280" y="5161745"/>
                </a:cubicBezTo>
                <a:cubicBezTo>
                  <a:pt x="1581507" y="5158564"/>
                  <a:pt x="1576735" y="5153792"/>
                  <a:pt x="1575144" y="5147429"/>
                </a:cubicBezTo>
                <a:close/>
                <a:moveTo>
                  <a:pt x="1624458" y="5145838"/>
                </a:moveTo>
                <a:cubicBezTo>
                  <a:pt x="1626049" y="5150610"/>
                  <a:pt x="1626049" y="5153792"/>
                  <a:pt x="1624458" y="5156973"/>
                </a:cubicBezTo>
                <a:cubicBezTo>
                  <a:pt x="1624458" y="5155383"/>
                  <a:pt x="1622867" y="5152201"/>
                  <a:pt x="1622867" y="5147429"/>
                </a:cubicBezTo>
                <a:cubicBezTo>
                  <a:pt x="1622867" y="5147429"/>
                  <a:pt x="1624458" y="5145838"/>
                  <a:pt x="1624458" y="5145838"/>
                </a:cubicBezTo>
                <a:close/>
                <a:moveTo>
                  <a:pt x="1595825" y="5139475"/>
                </a:moveTo>
                <a:cubicBezTo>
                  <a:pt x="1595825" y="5139475"/>
                  <a:pt x="1597417" y="5139475"/>
                  <a:pt x="1599006" y="5139475"/>
                </a:cubicBezTo>
                <a:cubicBezTo>
                  <a:pt x="1600597" y="5141065"/>
                  <a:pt x="1600597" y="5141065"/>
                  <a:pt x="1602189" y="5141065"/>
                </a:cubicBezTo>
                <a:cubicBezTo>
                  <a:pt x="1600597" y="5141065"/>
                  <a:pt x="1599006" y="5141065"/>
                  <a:pt x="1597417" y="5141065"/>
                </a:cubicBezTo>
                <a:cubicBezTo>
                  <a:pt x="1595825" y="5141065"/>
                  <a:pt x="1595825" y="5139475"/>
                  <a:pt x="1595825" y="5139475"/>
                </a:cubicBezTo>
                <a:close/>
                <a:moveTo>
                  <a:pt x="1641956" y="5134702"/>
                </a:moveTo>
                <a:cubicBezTo>
                  <a:pt x="1641956" y="5139475"/>
                  <a:pt x="1638774" y="5144247"/>
                  <a:pt x="1637184" y="5149019"/>
                </a:cubicBezTo>
                <a:cubicBezTo>
                  <a:pt x="1635593" y="5145838"/>
                  <a:pt x="1637184" y="5142656"/>
                  <a:pt x="1635593" y="5137884"/>
                </a:cubicBezTo>
                <a:cubicBezTo>
                  <a:pt x="1637184" y="5136293"/>
                  <a:pt x="1638774" y="5136293"/>
                  <a:pt x="1641956" y="5134702"/>
                </a:cubicBezTo>
                <a:close/>
                <a:moveTo>
                  <a:pt x="1672180" y="5126748"/>
                </a:moveTo>
                <a:cubicBezTo>
                  <a:pt x="1672180" y="5128340"/>
                  <a:pt x="1672180" y="5129931"/>
                  <a:pt x="1672180" y="5131521"/>
                </a:cubicBezTo>
                <a:cubicBezTo>
                  <a:pt x="1670589" y="5141065"/>
                  <a:pt x="1668999" y="5150610"/>
                  <a:pt x="1667408" y="5161745"/>
                </a:cubicBezTo>
                <a:cubicBezTo>
                  <a:pt x="1657862" y="5163336"/>
                  <a:pt x="1648319" y="5163336"/>
                  <a:pt x="1637183" y="5164926"/>
                </a:cubicBezTo>
                <a:cubicBezTo>
                  <a:pt x="1637183" y="5161745"/>
                  <a:pt x="1637183" y="5156973"/>
                  <a:pt x="1640365" y="5155382"/>
                </a:cubicBezTo>
                <a:cubicBezTo>
                  <a:pt x="1638774" y="5153792"/>
                  <a:pt x="1641955" y="5149019"/>
                  <a:pt x="1643546" y="5149019"/>
                </a:cubicBezTo>
                <a:cubicBezTo>
                  <a:pt x="1643546" y="5147429"/>
                  <a:pt x="1645137" y="5141065"/>
                  <a:pt x="1648319" y="5142656"/>
                </a:cubicBezTo>
                <a:cubicBezTo>
                  <a:pt x="1649909" y="5139475"/>
                  <a:pt x="1648319" y="5136293"/>
                  <a:pt x="1648319" y="5134702"/>
                </a:cubicBezTo>
                <a:cubicBezTo>
                  <a:pt x="1648319" y="5133112"/>
                  <a:pt x="1648319" y="5133112"/>
                  <a:pt x="1648319" y="5131521"/>
                </a:cubicBezTo>
                <a:cubicBezTo>
                  <a:pt x="1649909" y="5129931"/>
                  <a:pt x="1653090" y="5129931"/>
                  <a:pt x="1653090" y="5128340"/>
                </a:cubicBezTo>
                <a:cubicBezTo>
                  <a:pt x="1659454" y="5126748"/>
                  <a:pt x="1665817" y="5126748"/>
                  <a:pt x="1672180" y="5126748"/>
                </a:cubicBezTo>
                <a:close/>
                <a:moveTo>
                  <a:pt x="1611732" y="5125158"/>
                </a:moveTo>
                <a:cubicBezTo>
                  <a:pt x="1613323" y="5125158"/>
                  <a:pt x="1613323" y="5129931"/>
                  <a:pt x="1611732" y="5126749"/>
                </a:cubicBezTo>
                <a:cubicBezTo>
                  <a:pt x="1613323" y="5126749"/>
                  <a:pt x="1611732" y="5126749"/>
                  <a:pt x="1611732" y="5125158"/>
                </a:cubicBezTo>
                <a:close/>
                <a:moveTo>
                  <a:pt x="1575145" y="5125158"/>
                </a:moveTo>
                <a:cubicBezTo>
                  <a:pt x="1578326" y="5129931"/>
                  <a:pt x="1583099" y="5133112"/>
                  <a:pt x="1586280" y="5137884"/>
                </a:cubicBezTo>
                <a:cubicBezTo>
                  <a:pt x="1581509" y="5136293"/>
                  <a:pt x="1576737" y="5134702"/>
                  <a:pt x="1573554" y="5131521"/>
                </a:cubicBezTo>
                <a:cubicBezTo>
                  <a:pt x="1573554" y="5131521"/>
                  <a:pt x="1573554" y="5129931"/>
                  <a:pt x="1573554" y="5129931"/>
                </a:cubicBezTo>
                <a:cubicBezTo>
                  <a:pt x="1573554" y="5128340"/>
                  <a:pt x="1575145" y="5126749"/>
                  <a:pt x="1575145" y="5125158"/>
                </a:cubicBezTo>
                <a:close/>
                <a:moveTo>
                  <a:pt x="1565601" y="5115614"/>
                </a:moveTo>
                <a:cubicBezTo>
                  <a:pt x="1568783" y="5118795"/>
                  <a:pt x="1570373" y="5120386"/>
                  <a:pt x="1571965" y="5121977"/>
                </a:cubicBezTo>
                <a:cubicBezTo>
                  <a:pt x="1570373" y="5123568"/>
                  <a:pt x="1568783" y="5125158"/>
                  <a:pt x="1567192" y="5126749"/>
                </a:cubicBezTo>
                <a:cubicBezTo>
                  <a:pt x="1567192" y="5123568"/>
                  <a:pt x="1565601" y="5118795"/>
                  <a:pt x="1565601" y="5115614"/>
                </a:cubicBezTo>
                <a:close/>
                <a:moveTo>
                  <a:pt x="1223592" y="5114022"/>
                </a:moveTo>
                <a:cubicBezTo>
                  <a:pt x="1226774" y="5114022"/>
                  <a:pt x="1229955" y="5114022"/>
                  <a:pt x="1233137" y="5115613"/>
                </a:cubicBezTo>
                <a:cubicBezTo>
                  <a:pt x="1237909" y="5128340"/>
                  <a:pt x="1242680" y="5142656"/>
                  <a:pt x="1247454" y="5155383"/>
                </a:cubicBezTo>
                <a:cubicBezTo>
                  <a:pt x="1237909" y="5147429"/>
                  <a:pt x="1225183" y="5144247"/>
                  <a:pt x="1222001" y="5133112"/>
                </a:cubicBezTo>
                <a:cubicBezTo>
                  <a:pt x="1220410" y="5125158"/>
                  <a:pt x="1222001" y="5118795"/>
                  <a:pt x="1223592" y="5114022"/>
                </a:cubicBezTo>
                <a:close/>
                <a:moveTo>
                  <a:pt x="1203908" y="5108058"/>
                </a:moveTo>
                <a:cubicBezTo>
                  <a:pt x="1205299" y="5108456"/>
                  <a:pt x="1206890" y="5109251"/>
                  <a:pt x="1207685" y="5109251"/>
                </a:cubicBezTo>
                <a:cubicBezTo>
                  <a:pt x="1206094" y="5110842"/>
                  <a:pt x="1202913" y="5109251"/>
                  <a:pt x="1201323" y="5109251"/>
                </a:cubicBezTo>
                <a:cubicBezTo>
                  <a:pt x="1201323" y="5107660"/>
                  <a:pt x="1202516" y="5107660"/>
                  <a:pt x="1203908" y="5108058"/>
                </a:cubicBezTo>
                <a:close/>
                <a:moveTo>
                  <a:pt x="1599006" y="5106069"/>
                </a:moveTo>
                <a:cubicBezTo>
                  <a:pt x="1597415" y="5107660"/>
                  <a:pt x="1597415" y="5107660"/>
                  <a:pt x="1597415" y="5107660"/>
                </a:cubicBezTo>
                <a:cubicBezTo>
                  <a:pt x="1597415" y="5110841"/>
                  <a:pt x="1602189" y="5110841"/>
                  <a:pt x="1600597" y="5112432"/>
                </a:cubicBezTo>
                <a:cubicBezTo>
                  <a:pt x="1600597" y="5112432"/>
                  <a:pt x="1599006" y="5109250"/>
                  <a:pt x="1597415" y="5109250"/>
                </a:cubicBezTo>
                <a:cubicBezTo>
                  <a:pt x="1597415" y="5110841"/>
                  <a:pt x="1595825" y="5110841"/>
                  <a:pt x="1595825" y="5112432"/>
                </a:cubicBezTo>
                <a:cubicBezTo>
                  <a:pt x="1597415" y="5114023"/>
                  <a:pt x="1602189" y="5115614"/>
                  <a:pt x="1600597" y="5118795"/>
                </a:cubicBezTo>
                <a:cubicBezTo>
                  <a:pt x="1599006" y="5118795"/>
                  <a:pt x="1597415" y="5117204"/>
                  <a:pt x="1595825" y="5117204"/>
                </a:cubicBezTo>
                <a:cubicBezTo>
                  <a:pt x="1594234" y="5121977"/>
                  <a:pt x="1599006" y="5123568"/>
                  <a:pt x="1599006" y="5128340"/>
                </a:cubicBezTo>
                <a:cubicBezTo>
                  <a:pt x="1591052" y="5126749"/>
                  <a:pt x="1586280" y="5123568"/>
                  <a:pt x="1578326" y="5121977"/>
                </a:cubicBezTo>
                <a:cubicBezTo>
                  <a:pt x="1583098" y="5115614"/>
                  <a:pt x="1592643" y="5110841"/>
                  <a:pt x="1599006" y="5106069"/>
                </a:cubicBezTo>
                <a:close/>
                <a:moveTo>
                  <a:pt x="1233137" y="5104479"/>
                </a:moveTo>
                <a:cubicBezTo>
                  <a:pt x="1233137" y="5106069"/>
                  <a:pt x="1233137" y="5106069"/>
                  <a:pt x="1233137" y="5107660"/>
                </a:cubicBezTo>
                <a:cubicBezTo>
                  <a:pt x="1231547" y="5107660"/>
                  <a:pt x="1231547" y="5107660"/>
                  <a:pt x="1229956" y="5107660"/>
                </a:cubicBezTo>
                <a:cubicBezTo>
                  <a:pt x="1231547" y="5106069"/>
                  <a:pt x="1231547" y="5106069"/>
                  <a:pt x="1233137" y="5104479"/>
                </a:cubicBezTo>
                <a:close/>
                <a:moveTo>
                  <a:pt x="1641161" y="5103285"/>
                </a:moveTo>
                <a:cubicBezTo>
                  <a:pt x="1643149" y="5104876"/>
                  <a:pt x="1645137" y="5107660"/>
                  <a:pt x="1646728" y="5109250"/>
                </a:cubicBezTo>
                <a:cubicBezTo>
                  <a:pt x="1641956" y="5114023"/>
                  <a:pt x="1638774" y="5120386"/>
                  <a:pt x="1637183" y="5128340"/>
                </a:cubicBezTo>
                <a:cubicBezTo>
                  <a:pt x="1635592" y="5128340"/>
                  <a:pt x="1634002" y="5128340"/>
                  <a:pt x="1632411" y="5126749"/>
                </a:cubicBezTo>
                <a:cubicBezTo>
                  <a:pt x="1632411" y="5123568"/>
                  <a:pt x="1630820" y="5118795"/>
                  <a:pt x="1630820" y="5115614"/>
                </a:cubicBezTo>
                <a:cubicBezTo>
                  <a:pt x="1634002" y="5112432"/>
                  <a:pt x="1638774" y="5107660"/>
                  <a:pt x="1635592" y="5104479"/>
                </a:cubicBezTo>
                <a:cubicBezTo>
                  <a:pt x="1637183" y="5101297"/>
                  <a:pt x="1639172" y="5101694"/>
                  <a:pt x="1641161" y="5103285"/>
                </a:cubicBezTo>
                <a:close/>
                <a:moveTo>
                  <a:pt x="1673771" y="5096525"/>
                </a:moveTo>
                <a:cubicBezTo>
                  <a:pt x="1673771" y="5102888"/>
                  <a:pt x="1673771" y="5109251"/>
                  <a:pt x="1673771" y="5114024"/>
                </a:cubicBezTo>
                <a:cubicBezTo>
                  <a:pt x="1667407" y="5118796"/>
                  <a:pt x="1659452" y="5121978"/>
                  <a:pt x="1653090" y="5121978"/>
                </a:cubicBezTo>
                <a:cubicBezTo>
                  <a:pt x="1651499" y="5115615"/>
                  <a:pt x="1661043" y="5109251"/>
                  <a:pt x="1661043" y="5101298"/>
                </a:cubicBezTo>
                <a:cubicBezTo>
                  <a:pt x="1664226" y="5101298"/>
                  <a:pt x="1662634" y="5099707"/>
                  <a:pt x="1664226" y="5098117"/>
                </a:cubicBezTo>
                <a:cubicBezTo>
                  <a:pt x="1667407" y="5098117"/>
                  <a:pt x="1670589" y="5098117"/>
                  <a:pt x="1673771" y="5096525"/>
                </a:cubicBezTo>
                <a:close/>
                <a:moveTo>
                  <a:pt x="1529013" y="5096525"/>
                </a:moveTo>
                <a:cubicBezTo>
                  <a:pt x="1533785" y="5096525"/>
                  <a:pt x="1538558" y="5096525"/>
                  <a:pt x="1544921" y="5096525"/>
                </a:cubicBezTo>
                <a:cubicBezTo>
                  <a:pt x="1552875" y="5099707"/>
                  <a:pt x="1557647" y="5109251"/>
                  <a:pt x="1560830" y="5110842"/>
                </a:cubicBezTo>
                <a:cubicBezTo>
                  <a:pt x="1560830" y="5112433"/>
                  <a:pt x="1557647" y="5110842"/>
                  <a:pt x="1557647" y="5112433"/>
                </a:cubicBezTo>
                <a:cubicBezTo>
                  <a:pt x="1559238" y="5117205"/>
                  <a:pt x="1560830" y="5123569"/>
                  <a:pt x="1562419" y="5131521"/>
                </a:cubicBezTo>
                <a:cubicBezTo>
                  <a:pt x="1557647" y="5134703"/>
                  <a:pt x="1551285" y="5137885"/>
                  <a:pt x="1548102" y="5141066"/>
                </a:cubicBezTo>
                <a:cubicBezTo>
                  <a:pt x="1546512" y="5141066"/>
                  <a:pt x="1543330" y="5141066"/>
                  <a:pt x="1541739" y="5141066"/>
                </a:cubicBezTo>
                <a:cubicBezTo>
                  <a:pt x="1540148" y="5131521"/>
                  <a:pt x="1538558" y="5121978"/>
                  <a:pt x="1533785" y="5110842"/>
                </a:cubicBezTo>
                <a:cubicBezTo>
                  <a:pt x="1532194" y="5106070"/>
                  <a:pt x="1530604" y="5101298"/>
                  <a:pt x="1529013" y="5096525"/>
                </a:cubicBezTo>
                <a:close/>
                <a:moveTo>
                  <a:pt x="1559237" y="5093344"/>
                </a:moveTo>
                <a:cubicBezTo>
                  <a:pt x="1559237" y="5096526"/>
                  <a:pt x="1559237" y="5098117"/>
                  <a:pt x="1559237" y="5101298"/>
                </a:cubicBezTo>
                <a:cubicBezTo>
                  <a:pt x="1556055" y="5099707"/>
                  <a:pt x="1554465" y="5096526"/>
                  <a:pt x="1551283" y="5094935"/>
                </a:cubicBezTo>
                <a:cubicBezTo>
                  <a:pt x="1554465" y="5094935"/>
                  <a:pt x="1557646" y="5093344"/>
                  <a:pt x="1559237" y="5093344"/>
                </a:cubicBezTo>
                <a:close/>
                <a:moveTo>
                  <a:pt x="1540150" y="5085390"/>
                </a:moveTo>
                <a:cubicBezTo>
                  <a:pt x="1540150" y="5085390"/>
                  <a:pt x="1541739" y="5086981"/>
                  <a:pt x="1541739" y="5086981"/>
                </a:cubicBezTo>
                <a:cubicBezTo>
                  <a:pt x="1541739" y="5086981"/>
                  <a:pt x="1540150" y="5086981"/>
                  <a:pt x="1538558" y="5086981"/>
                </a:cubicBezTo>
                <a:cubicBezTo>
                  <a:pt x="1540150" y="5085390"/>
                  <a:pt x="1540150" y="5085390"/>
                  <a:pt x="1540150" y="5085390"/>
                </a:cubicBezTo>
                <a:close/>
                <a:moveTo>
                  <a:pt x="1559237" y="5075846"/>
                </a:moveTo>
                <a:cubicBezTo>
                  <a:pt x="1560828" y="5079027"/>
                  <a:pt x="1560828" y="5082209"/>
                  <a:pt x="1560828" y="5085390"/>
                </a:cubicBezTo>
                <a:cubicBezTo>
                  <a:pt x="1556055" y="5086981"/>
                  <a:pt x="1552874" y="5088572"/>
                  <a:pt x="1548101" y="5088572"/>
                </a:cubicBezTo>
                <a:cubicBezTo>
                  <a:pt x="1546511" y="5086981"/>
                  <a:pt x="1546511" y="5083800"/>
                  <a:pt x="1544920" y="5082209"/>
                </a:cubicBezTo>
                <a:cubicBezTo>
                  <a:pt x="1548101" y="5079027"/>
                  <a:pt x="1552874" y="5077436"/>
                  <a:pt x="1559237" y="5075846"/>
                </a:cubicBezTo>
                <a:close/>
                <a:moveTo>
                  <a:pt x="1271314" y="5072664"/>
                </a:moveTo>
                <a:cubicBezTo>
                  <a:pt x="1277679" y="5090162"/>
                  <a:pt x="1290404" y="5104479"/>
                  <a:pt x="1288813" y="5125159"/>
                </a:cubicBezTo>
                <a:cubicBezTo>
                  <a:pt x="1287223" y="5156973"/>
                  <a:pt x="1284041" y="5193560"/>
                  <a:pt x="1282451" y="5231738"/>
                </a:cubicBezTo>
                <a:cubicBezTo>
                  <a:pt x="1274495" y="5219012"/>
                  <a:pt x="1271314" y="5203105"/>
                  <a:pt x="1268132" y="5188788"/>
                </a:cubicBezTo>
                <a:cubicBezTo>
                  <a:pt x="1261771" y="5176062"/>
                  <a:pt x="1258588" y="5160155"/>
                  <a:pt x="1253816" y="5147429"/>
                </a:cubicBezTo>
                <a:cubicBezTo>
                  <a:pt x="1253816" y="5145838"/>
                  <a:pt x="1253816" y="5144247"/>
                  <a:pt x="1253816" y="5141066"/>
                </a:cubicBezTo>
                <a:cubicBezTo>
                  <a:pt x="1252225" y="5139475"/>
                  <a:pt x="1250635" y="5137884"/>
                  <a:pt x="1249044" y="5136293"/>
                </a:cubicBezTo>
                <a:cubicBezTo>
                  <a:pt x="1244271" y="5126750"/>
                  <a:pt x="1241090" y="5112433"/>
                  <a:pt x="1239499" y="5098116"/>
                </a:cubicBezTo>
                <a:cubicBezTo>
                  <a:pt x="1250635" y="5088571"/>
                  <a:pt x="1264951" y="5080617"/>
                  <a:pt x="1271314" y="5072664"/>
                </a:cubicBezTo>
                <a:close/>
                <a:moveTo>
                  <a:pt x="1562418" y="5064710"/>
                </a:moveTo>
                <a:cubicBezTo>
                  <a:pt x="1571963" y="5071073"/>
                  <a:pt x="1587870" y="5074255"/>
                  <a:pt x="1599006" y="5079026"/>
                </a:cubicBezTo>
                <a:cubicBezTo>
                  <a:pt x="1606961" y="5082208"/>
                  <a:pt x="1608551" y="5083799"/>
                  <a:pt x="1610142" y="5090162"/>
                </a:cubicBezTo>
                <a:cubicBezTo>
                  <a:pt x="1613323" y="5096525"/>
                  <a:pt x="1616504" y="5106069"/>
                  <a:pt x="1616504" y="5114022"/>
                </a:cubicBezTo>
                <a:cubicBezTo>
                  <a:pt x="1614913" y="5110841"/>
                  <a:pt x="1611732" y="5109250"/>
                  <a:pt x="1608551" y="5110841"/>
                </a:cubicBezTo>
                <a:cubicBezTo>
                  <a:pt x="1606961" y="5107660"/>
                  <a:pt x="1608551" y="5102888"/>
                  <a:pt x="1605369" y="5101297"/>
                </a:cubicBezTo>
                <a:cubicBezTo>
                  <a:pt x="1592643" y="5101297"/>
                  <a:pt x="1583098" y="5109250"/>
                  <a:pt x="1573553" y="5120385"/>
                </a:cubicBezTo>
                <a:cubicBezTo>
                  <a:pt x="1571963" y="5118795"/>
                  <a:pt x="1568781" y="5115613"/>
                  <a:pt x="1565600" y="5112432"/>
                </a:cubicBezTo>
                <a:cubicBezTo>
                  <a:pt x="1565600" y="5107660"/>
                  <a:pt x="1564009" y="5096525"/>
                  <a:pt x="1567190" y="5093343"/>
                </a:cubicBezTo>
                <a:cubicBezTo>
                  <a:pt x="1565600" y="5091753"/>
                  <a:pt x="1565600" y="5091753"/>
                  <a:pt x="1565600" y="5090162"/>
                </a:cubicBezTo>
                <a:cubicBezTo>
                  <a:pt x="1565600" y="5090162"/>
                  <a:pt x="1567190" y="5088571"/>
                  <a:pt x="1567190" y="5088571"/>
                </a:cubicBezTo>
                <a:cubicBezTo>
                  <a:pt x="1565600" y="5086980"/>
                  <a:pt x="1565600" y="5086980"/>
                  <a:pt x="1564009" y="5086980"/>
                </a:cubicBezTo>
                <a:cubicBezTo>
                  <a:pt x="1564009" y="5083799"/>
                  <a:pt x="1562418" y="5080617"/>
                  <a:pt x="1562418" y="5077436"/>
                </a:cubicBezTo>
                <a:cubicBezTo>
                  <a:pt x="1567190" y="5077436"/>
                  <a:pt x="1570372" y="5077436"/>
                  <a:pt x="1575144" y="5077436"/>
                </a:cubicBezTo>
                <a:cubicBezTo>
                  <a:pt x="1571963" y="5074255"/>
                  <a:pt x="1567190" y="5074255"/>
                  <a:pt x="1562418" y="5072664"/>
                </a:cubicBezTo>
                <a:cubicBezTo>
                  <a:pt x="1562418" y="5069482"/>
                  <a:pt x="1562418" y="5066301"/>
                  <a:pt x="1562418" y="5064710"/>
                </a:cubicBezTo>
                <a:close/>
                <a:moveTo>
                  <a:pt x="1255408" y="5063119"/>
                </a:moveTo>
                <a:cubicBezTo>
                  <a:pt x="1250635" y="5072664"/>
                  <a:pt x="1244271" y="5080618"/>
                  <a:pt x="1237909" y="5088572"/>
                </a:cubicBezTo>
                <a:cubicBezTo>
                  <a:pt x="1237909" y="5082209"/>
                  <a:pt x="1237909" y="5079027"/>
                  <a:pt x="1241090" y="5074255"/>
                </a:cubicBezTo>
                <a:cubicBezTo>
                  <a:pt x="1245862" y="5071074"/>
                  <a:pt x="1250635" y="5066302"/>
                  <a:pt x="1255408" y="5063119"/>
                </a:cubicBezTo>
                <a:close/>
                <a:moveTo>
                  <a:pt x="1672179" y="5059938"/>
                </a:moveTo>
                <a:cubicBezTo>
                  <a:pt x="1673770" y="5069483"/>
                  <a:pt x="1673770" y="5080618"/>
                  <a:pt x="1673770" y="5090163"/>
                </a:cubicBezTo>
                <a:cubicBezTo>
                  <a:pt x="1672179" y="5090163"/>
                  <a:pt x="1670588" y="5090163"/>
                  <a:pt x="1668998" y="5088572"/>
                </a:cubicBezTo>
                <a:cubicBezTo>
                  <a:pt x="1668998" y="5086981"/>
                  <a:pt x="1668998" y="5086981"/>
                  <a:pt x="1668998" y="5086981"/>
                </a:cubicBezTo>
                <a:cubicBezTo>
                  <a:pt x="1668998" y="5088572"/>
                  <a:pt x="1667406" y="5088572"/>
                  <a:pt x="1667406" y="5088572"/>
                </a:cubicBezTo>
                <a:cubicBezTo>
                  <a:pt x="1665816" y="5088572"/>
                  <a:pt x="1665816" y="5086981"/>
                  <a:pt x="1664226" y="5086981"/>
                </a:cubicBezTo>
                <a:cubicBezTo>
                  <a:pt x="1665816" y="5080618"/>
                  <a:pt x="1668998" y="5075846"/>
                  <a:pt x="1668998" y="5069483"/>
                </a:cubicBezTo>
                <a:cubicBezTo>
                  <a:pt x="1668998" y="5066302"/>
                  <a:pt x="1670588" y="5063120"/>
                  <a:pt x="1672179" y="5059938"/>
                </a:cubicBezTo>
                <a:close/>
                <a:moveTo>
                  <a:pt x="1524242" y="5058348"/>
                </a:moveTo>
                <a:cubicBezTo>
                  <a:pt x="1524242" y="5059939"/>
                  <a:pt x="1525832" y="5063120"/>
                  <a:pt x="1527423" y="5064711"/>
                </a:cubicBezTo>
                <a:cubicBezTo>
                  <a:pt x="1525832" y="5064711"/>
                  <a:pt x="1525832" y="5066302"/>
                  <a:pt x="1524242" y="5067893"/>
                </a:cubicBezTo>
                <a:cubicBezTo>
                  <a:pt x="1524242" y="5064711"/>
                  <a:pt x="1524242" y="5061529"/>
                  <a:pt x="1524242" y="5058348"/>
                </a:cubicBezTo>
                <a:close/>
                <a:moveTo>
                  <a:pt x="1649909" y="5051985"/>
                </a:moveTo>
                <a:cubicBezTo>
                  <a:pt x="1651499" y="5051985"/>
                  <a:pt x="1653090" y="5051985"/>
                  <a:pt x="1654681" y="5053575"/>
                </a:cubicBezTo>
                <a:cubicBezTo>
                  <a:pt x="1653090" y="5056757"/>
                  <a:pt x="1649909" y="5059939"/>
                  <a:pt x="1648319" y="5063120"/>
                </a:cubicBezTo>
                <a:cubicBezTo>
                  <a:pt x="1648319" y="5061529"/>
                  <a:pt x="1646728" y="5059939"/>
                  <a:pt x="1646728" y="5059939"/>
                </a:cubicBezTo>
                <a:cubicBezTo>
                  <a:pt x="1648319" y="5058348"/>
                  <a:pt x="1648319" y="5055166"/>
                  <a:pt x="1649909" y="5051985"/>
                </a:cubicBezTo>
                <a:close/>
                <a:moveTo>
                  <a:pt x="1668998" y="5048802"/>
                </a:moveTo>
                <a:cubicBezTo>
                  <a:pt x="1665817" y="5061529"/>
                  <a:pt x="1664226" y="5074255"/>
                  <a:pt x="1656271" y="5082209"/>
                </a:cubicBezTo>
                <a:cubicBezTo>
                  <a:pt x="1657862" y="5079027"/>
                  <a:pt x="1653090" y="5077436"/>
                  <a:pt x="1651499" y="5079027"/>
                </a:cubicBezTo>
                <a:cubicBezTo>
                  <a:pt x="1651499" y="5077436"/>
                  <a:pt x="1649909" y="5075846"/>
                  <a:pt x="1649909" y="5074255"/>
                </a:cubicBezTo>
                <a:cubicBezTo>
                  <a:pt x="1649909" y="5072664"/>
                  <a:pt x="1651499" y="5072664"/>
                  <a:pt x="1651499" y="5072664"/>
                </a:cubicBezTo>
                <a:cubicBezTo>
                  <a:pt x="1651499" y="5071074"/>
                  <a:pt x="1651499" y="5071074"/>
                  <a:pt x="1651499" y="5071074"/>
                </a:cubicBezTo>
                <a:cubicBezTo>
                  <a:pt x="1653090" y="5071074"/>
                  <a:pt x="1653090" y="5071074"/>
                  <a:pt x="1654680" y="5071074"/>
                </a:cubicBezTo>
                <a:cubicBezTo>
                  <a:pt x="1654680" y="5069483"/>
                  <a:pt x="1653090" y="5069483"/>
                  <a:pt x="1653090" y="5067893"/>
                </a:cubicBezTo>
                <a:cubicBezTo>
                  <a:pt x="1656271" y="5064711"/>
                  <a:pt x="1661043" y="5061529"/>
                  <a:pt x="1662635" y="5056757"/>
                </a:cubicBezTo>
                <a:cubicBezTo>
                  <a:pt x="1662635" y="5055166"/>
                  <a:pt x="1662635" y="5055166"/>
                  <a:pt x="1662635" y="5055166"/>
                </a:cubicBezTo>
                <a:cubicBezTo>
                  <a:pt x="1664226" y="5055166"/>
                  <a:pt x="1664226" y="5055166"/>
                  <a:pt x="1665817" y="5055166"/>
                </a:cubicBezTo>
                <a:cubicBezTo>
                  <a:pt x="1665817" y="5055166"/>
                  <a:pt x="1664226" y="5053575"/>
                  <a:pt x="1664226" y="5053575"/>
                </a:cubicBezTo>
                <a:cubicBezTo>
                  <a:pt x="1665817" y="5051985"/>
                  <a:pt x="1665817" y="5050394"/>
                  <a:pt x="1668998" y="5048802"/>
                </a:cubicBezTo>
                <a:close/>
                <a:moveTo>
                  <a:pt x="1635593" y="5048802"/>
                </a:moveTo>
                <a:cubicBezTo>
                  <a:pt x="1635593" y="5050394"/>
                  <a:pt x="1635593" y="5053575"/>
                  <a:pt x="1635593" y="5056757"/>
                </a:cubicBezTo>
                <a:cubicBezTo>
                  <a:pt x="1635593" y="5056757"/>
                  <a:pt x="1635593" y="5058348"/>
                  <a:pt x="1635593" y="5058348"/>
                </a:cubicBezTo>
                <a:cubicBezTo>
                  <a:pt x="1635593" y="5063120"/>
                  <a:pt x="1634002" y="5069483"/>
                  <a:pt x="1632412" y="5072664"/>
                </a:cubicBezTo>
                <a:cubicBezTo>
                  <a:pt x="1630821" y="5074255"/>
                  <a:pt x="1630821" y="5077436"/>
                  <a:pt x="1629230" y="5077436"/>
                </a:cubicBezTo>
                <a:cubicBezTo>
                  <a:pt x="1632412" y="5069483"/>
                  <a:pt x="1632412" y="5058348"/>
                  <a:pt x="1635593" y="5048802"/>
                </a:cubicBezTo>
                <a:close/>
                <a:moveTo>
                  <a:pt x="1554466" y="5047212"/>
                </a:moveTo>
                <a:cubicBezTo>
                  <a:pt x="1554466" y="5047212"/>
                  <a:pt x="1556056" y="5047212"/>
                  <a:pt x="1556056" y="5048803"/>
                </a:cubicBezTo>
                <a:lnTo>
                  <a:pt x="1552875" y="5048803"/>
                </a:lnTo>
                <a:cubicBezTo>
                  <a:pt x="1552875" y="5048803"/>
                  <a:pt x="1552875" y="5047212"/>
                  <a:pt x="1554466" y="5047212"/>
                </a:cubicBezTo>
                <a:close/>
                <a:moveTo>
                  <a:pt x="1629230" y="5042440"/>
                </a:moveTo>
                <a:cubicBezTo>
                  <a:pt x="1627639" y="5059939"/>
                  <a:pt x="1624457" y="5074255"/>
                  <a:pt x="1622867" y="5093344"/>
                </a:cubicBezTo>
                <a:cubicBezTo>
                  <a:pt x="1616504" y="5080618"/>
                  <a:pt x="1614913" y="5067893"/>
                  <a:pt x="1614913" y="5050394"/>
                </a:cubicBezTo>
                <a:cubicBezTo>
                  <a:pt x="1616504" y="5050394"/>
                  <a:pt x="1618095" y="5050394"/>
                  <a:pt x="1619685" y="5048803"/>
                </a:cubicBezTo>
                <a:cubicBezTo>
                  <a:pt x="1621275" y="5048803"/>
                  <a:pt x="1621275" y="5051985"/>
                  <a:pt x="1624457" y="5051985"/>
                </a:cubicBezTo>
                <a:cubicBezTo>
                  <a:pt x="1627639" y="5051985"/>
                  <a:pt x="1627639" y="5045621"/>
                  <a:pt x="1629230" y="5042440"/>
                </a:cubicBezTo>
                <a:close/>
                <a:moveTo>
                  <a:pt x="1522650" y="5042440"/>
                </a:moveTo>
                <a:cubicBezTo>
                  <a:pt x="1530604" y="5047212"/>
                  <a:pt x="1536966" y="5051985"/>
                  <a:pt x="1544920" y="5055166"/>
                </a:cubicBezTo>
                <a:cubicBezTo>
                  <a:pt x="1544920" y="5056757"/>
                  <a:pt x="1544920" y="5058348"/>
                  <a:pt x="1546512" y="5058348"/>
                </a:cubicBezTo>
                <a:cubicBezTo>
                  <a:pt x="1549693" y="5058348"/>
                  <a:pt x="1554466" y="5058348"/>
                  <a:pt x="1556056" y="5061529"/>
                </a:cubicBezTo>
                <a:cubicBezTo>
                  <a:pt x="1556056" y="5064711"/>
                  <a:pt x="1557647" y="5067893"/>
                  <a:pt x="1557647" y="5071074"/>
                </a:cubicBezTo>
                <a:cubicBezTo>
                  <a:pt x="1551285" y="5071074"/>
                  <a:pt x="1544920" y="5072664"/>
                  <a:pt x="1538557" y="5072664"/>
                </a:cubicBezTo>
                <a:cubicBezTo>
                  <a:pt x="1533785" y="5064711"/>
                  <a:pt x="1527422" y="5056757"/>
                  <a:pt x="1522650" y="5048803"/>
                </a:cubicBezTo>
                <a:cubicBezTo>
                  <a:pt x="1522650" y="5047212"/>
                  <a:pt x="1522650" y="5044031"/>
                  <a:pt x="1522650" y="5042440"/>
                </a:cubicBezTo>
                <a:close/>
                <a:moveTo>
                  <a:pt x="1228365" y="5037667"/>
                </a:moveTo>
                <a:cubicBezTo>
                  <a:pt x="1236318" y="5044031"/>
                  <a:pt x="1244271" y="5050394"/>
                  <a:pt x="1252227" y="5056757"/>
                </a:cubicBezTo>
                <a:cubicBezTo>
                  <a:pt x="1245862" y="5059938"/>
                  <a:pt x="1241090" y="5066301"/>
                  <a:pt x="1236318" y="5067892"/>
                </a:cubicBezTo>
                <a:cubicBezTo>
                  <a:pt x="1231547" y="5059938"/>
                  <a:pt x="1228365" y="5050394"/>
                  <a:pt x="1225183" y="5040850"/>
                </a:cubicBezTo>
                <a:cubicBezTo>
                  <a:pt x="1225183" y="5039259"/>
                  <a:pt x="1226774" y="5039259"/>
                  <a:pt x="1228365" y="5037667"/>
                </a:cubicBezTo>
                <a:close/>
                <a:moveTo>
                  <a:pt x="1222002" y="5032896"/>
                </a:moveTo>
                <a:cubicBezTo>
                  <a:pt x="1222002" y="5032896"/>
                  <a:pt x="1223593" y="5034487"/>
                  <a:pt x="1223593" y="5034487"/>
                </a:cubicBezTo>
                <a:cubicBezTo>
                  <a:pt x="1222002" y="5034487"/>
                  <a:pt x="1222002" y="5034487"/>
                  <a:pt x="1222002" y="5034487"/>
                </a:cubicBezTo>
                <a:cubicBezTo>
                  <a:pt x="1222002" y="5034487"/>
                  <a:pt x="1222002" y="5032896"/>
                  <a:pt x="1222002" y="5032896"/>
                </a:cubicBezTo>
                <a:close/>
                <a:moveTo>
                  <a:pt x="1209276" y="5032896"/>
                </a:moveTo>
                <a:cubicBezTo>
                  <a:pt x="1209276" y="5034487"/>
                  <a:pt x="1214048" y="5032896"/>
                  <a:pt x="1214048" y="5034487"/>
                </a:cubicBezTo>
                <a:cubicBezTo>
                  <a:pt x="1212458" y="5034487"/>
                  <a:pt x="1210867" y="5034487"/>
                  <a:pt x="1209276" y="5034487"/>
                </a:cubicBezTo>
                <a:cubicBezTo>
                  <a:pt x="1209276" y="5034487"/>
                  <a:pt x="1209276" y="5032896"/>
                  <a:pt x="1209276" y="5032896"/>
                </a:cubicBezTo>
                <a:close/>
                <a:moveTo>
                  <a:pt x="1167917" y="5032895"/>
                </a:moveTo>
                <a:cubicBezTo>
                  <a:pt x="1166326" y="5040849"/>
                  <a:pt x="1169508" y="5048802"/>
                  <a:pt x="1175870" y="5048802"/>
                </a:cubicBezTo>
                <a:cubicBezTo>
                  <a:pt x="1182234" y="5048802"/>
                  <a:pt x="1185415" y="5039258"/>
                  <a:pt x="1190188" y="5034486"/>
                </a:cubicBezTo>
                <a:cubicBezTo>
                  <a:pt x="1194959" y="5034486"/>
                  <a:pt x="1201322" y="5034486"/>
                  <a:pt x="1201322" y="5039258"/>
                </a:cubicBezTo>
                <a:cubicBezTo>
                  <a:pt x="1199732" y="5037667"/>
                  <a:pt x="1196551" y="5037667"/>
                  <a:pt x="1194959" y="5039258"/>
                </a:cubicBezTo>
                <a:cubicBezTo>
                  <a:pt x="1194959" y="5040849"/>
                  <a:pt x="1196551" y="5040849"/>
                  <a:pt x="1198142" y="5042440"/>
                </a:cubicBezTo>
                <a:cubicBezTo>
                  <a:pt x="1193369" y="5048802"/>
                  <a:pt x="1188597" y="5055165"/>
                  <a:pt x="1188597" y="5066301"/>
                </a:cubicBezTo>
                <a:cubicBezTo>
                  <a:pt x="1190188" y="5067891"/>
                  <a:pt x="1193369" y="5069482"/>
                  <a:pt x="1194959" y="5069482"/>
                </a:cubicBezTo>
                <a:cubicBezTo>
                  <a:pt x="1202913" y="5064710"/>
                  <a:pt x="1209275" y="5058347"/>
                  <a:pt x="1217230" y="5051984"/>
                </a:cubicBezTo>
                <a:cubicBezTo>
                  <a:pt x="1225184" y="5064710"/>
                  <a:pt x="1229956" y="5080617"/>
                  <a:pt x="1231547" y="5098115"/>
                </a:cubicBezTo>
                <a:cubicBezTo>
                  <a:pt x="1226775" y="5102887"/>
                  <a:pt x="1223593" y="5106069"/>
                  <a:pt x="1218820" y="5109250"/>
                </a:cubicBezTo>
                <a:cubicBezTo>
                  <a:pt x="1217230" y="5109250"/>
                  <a:pt x="1215639" y="5107660"/>
                  <a:pt x="1214048" y="5107660"/>
                </a:cubicBezTo>
                <a:cubicBezTo>
                  <a:pt x="1215639" y="5106069"/>
                  <a:pt x="1215639" y="5099706"/>
                  <a:pt x="1212457" y="5096524"/>
                </a:cubicBezTo>
                <a:cubicBezTo>
                  <a:pt x="1210867" y="5098115"/>
                  <a:pt x="1210867" y="5102887"/>
                  <a:pt x="1209275" y="5104478"/>
                </a:cubicBezTo>
                <a:cubicBezTo>
                  <a:pt x="1207685" y="5102887"/>
                  <a:pt x="1206094" y="5104478"/>
                  <a:pt x="1204504" y="5104478"/>
                </a:cubicBezTo>
                <a:cubicBezTo>
                  <a:pt x="1202913" y="5102887"/>
                  <a:pt x="1204504" y="5098115"/>
                  <a:pt x="1198142" y="5098115"/>
                </a:cubicBezTo>
                <a:cubicBezTo>
                  <a:pt x="1196551" y="5098115"/>
                  <a:pt x="1201322" y="5101297"/>
                  <a:pt x="1198142" y="5101297"/>
                </a:cubicBezTo>
                <a:cubicBezTo>
                  <a:pt x="1190188" y="5091752"/>
                  <a:pt x="1188597" y="5075845"/>
                  <a:pt x="1180642" y="5066301"/>
                </a:cubicBezTo>
                <a:cubicBezTo>
                  <a:pt x="1177461" y="5069482"/>
                  <a:pt x="1182234" y="5075845"/>
                  <a:pt x="1182234" y="5080617"/>
                </a:cubicBezTo>
                <a:cubicBezTo>
                  <a:pt x="1175870" y="5077436"/>
                  <a:pt x="1166326" y="5067891"/>
                  <a:pt x="1155192" y="5071073"/>
                </a:cubicBezTo>
                <a:cubicBezTo>
                  <a:pt x="1155192" y="5077436"/>
                  <a:pt x="1159963" y="5082207"/>
                  <a:pt x="1163145" y="5086980"/>
                </a:cubicBezTo>
                <a:cubicBezTo>
                  <a:pt x="1163145" y="5086980"/>
                  <a:pt x="1166326" y="5088570"/>
                  <a:pt x="1164735" y="5090161"/>
                </a:cubicBezTo>
                <a:cubicBezTo>
                  <a:pt x="1156782" y="5090161"/>
                  <a:pt x="1144056" y="5088570"/>
                  <a:pt x="1142465" y="5096524"/>
                </a:cubicBezTo>
                <a:cubicBezTo>
                  <a:pt x="1153600" y="5102887"/>
                  <a:pt x="1174280" y="5098115"/>
                  <a:pt x="1183825" y="5104478"/>
                </a:cubicBezTo>
                <a:cubicBezTo>
                  <a:pt x="1187006" y="5102887"/>
                  <a:pt x="1187006" y="5101297"/>
                  <a:pt x="1190188" y="5102887"/>
                </a:cubicBezTo>
                <a:cubicBezTo>
                  <a:pt x="1190188" y="5104478"/>
                  <a:pt x="1188597" y="5104478"/>
                  <a:pt x="1188597" y="5106069"/>
                </a:cubicBezTo>
                <a:cubicBezTo>
                  <a:pt x="1182234" y="5106069"/>
                  <a:pt x="1171099" y="5106069"/>
                  <a:pt x="1164735" y="5107660"/>
                </a:cubicBezTo>
                <a:cubicBezTo>
                  <a:pt x="1169508" y="5109250"/>
                  <a:pt x="1177461" y="5109250"/>
                  <a:pt x="1185415" y="5109250"/>
                </a:cubicBezTo>
                <a:cubicBezTo>
                  <a:pt x="1188597" y="5109250"/>
                  <a:pt x="1193369" y="5107660"/>
                  <a:pt x="1194959" y="5110841"/>
                </a:cubicBezTo>
                <a:cubicBezTo>
                  <a:pt x="1190188" y="5110841"/>
                  <a:pt x="1180642" y="5114022"/>
                  <a:pt x="1180642" y="5118794"/>
                </a:cubicBezTo>
                <a:cubicBezTo>
                  <a:pt x="1183825" y="5120385"/>
                  <a:pt x="1188597" y="5120385"/>
                  <a:pt x="1191778" y="5120385"/>
                </a:cubicBezTo>
                <a:cubicBezTo>
                  <a:pt x="1185415" y="5123567"/>
                  <a:pt x="1177461" y="5125157"/>
                  <a:pt x="1169508" y="5125157"/>
                </a:cubicBezTo>
                <a:cubicBezTo>
                  <a:pt x="1167917" y="5129930"/>
                  <a:pt x="1158372" y="5141064"/>
                  <a:pt x="1167917" y="5142655"/>
                </a:cubicBezTo>
                <a:cubicBezTo>
                  <a:pt x="1172689" y="5129930"/>
                  <a:pt x="1191778" y="5121976"/>
                  <a:pt x="1206094" y="5121976"/>
                </a:cubicBezTo>
                <a:cubicBezTo>
                  <a:pt x="1212457" y="5126748"/>
                  <a:pt x="1207685" y="5134702"/>
                  <a:pt x="1206094" y="5141064"/>
                </a:cubicBezTo>
                <a:cubicBezTo>
                  <a:pt x="1180642" y="5150609"/>
                  <a:pt x="1161554" y="5190378"/>
                  <a:pt x="1179052" y="5219011"/>
                </a:cubicBezTo>
                <a:cubicBezTo>
                  <a:pt x="1180642" y="5185606"/>
                  <a:pt x="1185415" y="5153791"/>
                  <a:pt x="1212457" y="5144246"/>
                </a:cubicBezTo>
                <a:cubicBezTo>
                  <a:pt x="1233137" y="5164926"/>
                  <a:pt x="1198142" y="5201513"/>
                  <a:pt x="1217230" y="5225374"/>
                </a:cubicBezTo>
                <a:cubicBezTo>
                  <a:pt x="1222002" y="5211057"/>
                  <a:pt x="1217230" y="5187197"/>
                  <a:pt x="1228366" y="5177652"/>
                </a:cubicBezTo>
                <a:cubicBezTo>
                  <a:pt x="1231547" y="5187197"/>
                  <a:pt x="1234728" y="5198331"/>
                  <a:pt x="1241090" y="5206285"/>
                </a:cubicBezTo>
                <a:cubicBezTo>
                  <a:pt x="1252227" y="5188787"/>
                  <a:pt x="1225184" y="5172879"/>
                  <a:pt x="1233137" y="5158563"/>
                </a:cubicBezTo>
                <a:cubicBezTo>
                  <a:pt x="1241090" y="5155382"/>
                  <a:pt x="1244272" y="5171289"/>
                  <a:pt x="1252227" y="5171289"/>
                </a:cubicBezTo>
                <a:cubicBezTo>
                  <a:pt x="1256999" y="5184015"/>
                  <a:pt x="1261771" y="5196741"/>
                  <a:pt x="1264952" y="5209466"/>
                </a:cubicBezTo>
                <a:cubicBezTo>
                  <a:pt x="1264952" y="5211057"/>
                  <a:pt x="1263361" y="5211057"/>
                  <a:pt x="1263361" y="5212648"/>
                </a:cubicBezTo>
                <a:cubicBezTo>
                  <a:pt x="1268134" y="5220602"/>
                  <a:pt x="1272907" y="5228555"/>
                  <a:pt x="1276088" y="5238099"/>
                </a:cubicBezTo>
                <a:cubicBezTo>
                  <a:pt x="1277679" y="5241281"/>
                  <a:pt x="1279269" y="5244462"/>
                  <a:pt x="1280860" y="5247644"/>
                </a:cubicBezTo>
                <a:cubicBezTo>
                  <a:pt x="1279269" y="5254007"/>
                  <a:pt x="1279269" y="5261960"/>
                  <a:pt x="1279269" y="5268323"/>
                </a:cubicBezTo>
                <a:cubicBezTo>
                  <a:pt x="1274497" y="5274687"/>
                  <a:pt x="1269724" y="5277868"/>
                  <a:pt x="1266544" y="5277868"/>
                </a:cubicBezTo>
                <a:cubicBezTo>
                  <a:pt x="1256999" y="5276277"/>
                  <a:pt x="1233137" y="5266733"/>
                  <a:pt x="1217230" y="5276277"/>
                </a:cubicBezTo>
                <a:cubicBezTo>
                  <a:pt x="1210867" y="5279459"/>
                  <a:pt x="1204504" y="5277868"/>
                  <a:pt x="1198142" y="5276277"/>
                </a:cubicBezTo>
                <a:cubicBezTo>
                  <a:pt x="1180642" y="5254007"/>
                  <a:pt x="1164735" y="5230145"/>
                  <a:pt x="1152009" y="5204694"/>
                </a:cubicBezTo>
                <a:cubicBezTo>
                  <a:pt x="1155192" y="5203103"/>
                  <a:pt x="1158372" y="5201513"/>
                  <a:pt x="1161554" y="5199922"/>
                </a:cubicBezTo>
                <a:cubicBezTo>
                  <a:pt x="1163145" y="5198331"/>
                  <a:pt x="1164735" y="5201513"/>
                  <a:pt x="1166326" y="5199922"/>
                </a:cubicBezTo>
                <a:cubicBezTo>
                  <a:pt x="1166326" y="5199922"/>
                  <a:pt x="1164735" y="5198331"/>
                  <a:pt x="1163145" y="5198331"/>
                </a:cubicBezTo>
                <a:cubicBezTo>
                  <a:pt x="1158372" y="5199922"/>
                  <a:pt x="1155192" y="5203103"/>
                  <a:pt x="1150418" y="5204694"/>
                </a:cubicBezTo>
                <a:cubicBezTo>
                  <a:pt x="1144056" y="5190378"/>
                  <a:pt x="1137693" y="5174470"/>
                  <a:pt x="1132921" y="5156972"/>
                </a:cubicBezTo>
                <a:cubicBezTo>
                  <a:pt x="1131330" y="5149018"/>
                  <a:pt x="1126558" y="5131521"/>
                  <a:pt x="1128148" y="5120385"/>
                </a:cubicBezTo>
                <a:cubicBezTo>
                  <a:pt x="1129739" y="5109250"/>
                  <a:pt x="1144056" y="5093343"/>
                  <a:pt x="1150418" y="5079026"/>
                </a:cubicBezTo>
                <a:cubicBezTo>
                  <a:pt x="1158372" y="5063119"/>
                  <a:pt x="1163145" y="5048802"/>
                  <a:pt x="1166326" y="5034486"/>
                </a:cubicBezTo>
                <a:cubicBezTo>
                  <a:pt x="1166326" y="5034486"/>
                  <a:pt x="1167917" y="5032895"/>
                  <a:pt x="1167917" y="5032895"/>
                </a:cubicBezTo>
                <a:close/>
                <a:moveTo>
                  <a:pt x="1608551" y="5028124"/>
                </a:moveTo>
                <a:cubicBezTo>
                  <a:pt x="1611732" y="5028124"/>
                  <a:pt x="1613323" y="5028124"/>
                  <a:pt x="1614913" y="5029714"/>
                </a:cubicBezTo>
                <a:cubicBezTo>
                  <a:pt x="1614913" y="5031305"/>
                  <a:pt x="1614913" y="5031305"/>
                  <a:pt x="1614913" y="5031305"/>
                </a:cubicBezTo>
                <a:cubicBezTo>
                  <a:pt x="1611732" y="5031305"/>
                  <a:pt x="1610142" y="5031305"/>
                  <a:pt x="1608551" y="5031305"/>
                </a:cubicBezTo>
                <a:cubicBezTo>
                  <a:pt x="1608551" y="5029714"/>
                  <a:pt x="1608551" y="5029714"/>
                  <a:pt x="1608551" y="5028124"/>
                </a:cubicBezTo>
                <a:close/>
                <a:moveTo>
                  <a:pt x="1646728" y="5024942"/>
                </a:moveTo>
                <a:cubicBezTo>
                  <a:pt x="1645137" y="5028124"/>
                  <a:pt x="1643547" y="5032896"/>
                  <a:pt x="1641957" y="5036078"/>
                </a:cubicBezTo>
                <a:cubicBezTo>
                  <a:pt x="1641957" y="5034487"/>
                  <a:pt x="1640366" y="5034487"/>
                  <a:pt x="1640366" y="5032896"/>
                </a:cubicBezTo>
                <a:cubicBezTo>
                  <a:pt x="1643547" y="5031305"/>
                  <a:pt x="1643547" y="5028124"/>
                  <a:pt x="1641957" y="5026533"/>
                </a:cubicBezTo>
                <a:cubicBezTo>
                  <a:pt x="1643547" y="5026533"/>
                  <a:pt x="1646728" y="5024942"/>
                  <a:pt x="1646728" y="5024942"/>
                </a:cubicBezTo>
                <a:close/>
                <a:moveTo>
                  <a:pt x="1557647" y="5024941"/>
                </a:moveTo>
                <a:cubicBezTo>
                  <a:pt x="1568782" y="5024941"/>
                  <a:pt x="1584689" y="5026532"/>
                  <a:pt x="1599006" y="5028123"/>
                </a:cubicBezTo>
                <a:cubicBezTo>
                  <a:pt x="1600597" y="5029714"/>
                  <a:pt x="1600597" y="5029714"/>
                  <a:pt x="1600597" y="5031305"/>
                </a:cubicBezTo>
                <a:cubicBezTo>
                  <a:pt x="1592643" y="5031305"/>
                  <a:pt x="1586280" y="5032896"/>
                  <a:pt x="1583098" y="5039259"/>
                </a:cubicBezTo>
                <a:cubicBezTo>
                  <a:pt x="1586280" y="5040850"/>
                  <a:pt x="1589461" y="5042440"/>
                  <a:pt x="1589461" y="5045621"/>
                </a:cubicBezTo>
                <a:cubicBezTo>
                  <a:pt x="1592643" y="5045621"/>
                  <a:pt x="1595825" y="5044031"/>
                  <a:pt x="1599006" y="5042440"/>
                </a:cubicBezTo>
                <a:cubicBezTo>
                  <a:pt x="1597417" y="5047212"/>
                  <a:pt x="1600597" y="5050394"/>
                  <a:pt x="1603779" y="5048803"/>
                </a:cubicBezTo>
                <a:cubicBezTo>
                  <a:pt x="1603779" y="5056757"/>
                  <a:pt x="1606961" y="5066302"/>
                  <a:pt x="1605370" y="5072664"/>
                </a:cubicBezTo>
                <a:cubicBezTo>
                  <a:pt x="1597417" y="5074255"/>
                  <a:pt x="1589461" y="5069483"/>
                  <a:pt x="1579917" y="5066302"/>
                </a:cubicBezTo>
                <a:cubicBezTo>
                  <a:pt x="1571963" y="5064711"/>
                  <a:pt x="1565600" y="5061529"/>
                  <a:pt x="1560828" y="5058348"/>
                </a:cubicBezTo>
                <a:cubicBezTo>
                  <a:pt x="1560828" y="5048803"/>
                  <a:pt x="1559237" y="5037668"/>
                  <a:pt x="1557647" y="5024941"/>
                </a:cubicBezTo>
                <a:close/>
                <a:moveTo>
                  <a:pt x="1175870" y="5020170"/>
                </a:moveTo>
                <a:cubicBezTo>
                  <a:pt x="1177461" y="5020170"/>
                  <a:pt x="1179052" y="5020170"/>
                  <a:pt x="1179052" y="5021760"/>
                </a:cubicBezTo>
                <a:cubicBezTo>
                  <a:pt x="1174280" y="5021760"/>
                  <a:pt x="1174280" y="5026533"/>
                  <a:pt x="1171098" y="5028124"/>
                </a:cubicBezTo>
                <a:cubicBezTo>
                  <a:pt x="1172689" y="5024942"/>
                  <a:pt x="1174280" y="5023351"/>
                  <a:pt x="1175870" y="5020170"/>
                </a:cubicBezTo>
                <a:close/>
                <a:moveTo>
                  <a:pt x="1659454" y="5020169"/>
                </a:moveTo>
                <a:cubicBezTo>
                  <a:pt x="1659454" y="5020169"/>
                  <a:pt x="1661044" y="5020169"/>
                  <a:pt x="1661044" y="5020169"/>
                </a:cubicBezTo>
                <a:cubicBezTo>
                  <a:pt x="1662634" y="5021760"/>
                  <a:pt x="1664226" y="5023351"/>
                  <a:pt x="1664226" y="5023351"/>
                </a:cubicBezTo>
                <a:cubicBezTo>
                  <a:pt x="1664226" y="5028124"/>
                  <a:pt x="1664226" y="5031305"/>
                  <a:pt x="1665817" y="5034487"/>
                </a:cubicBezTo>
                <a:cubicBezTo>
                  <a:pt x="1664226" y="5039259"/>
                  <a:pt x="1661044" y="5044031"/>
                  <a:pt x="1657862" y="5047212"/>
                </a:cubicBezTo>
                <a:cubicBezTo>
                  <a:pt x="1656271" y="5047212"/>
                  <a:pt x="1653090" y="5045621"/>
                  <a:pt x="1651499" y="5044031"/>
                </a:cubicBezTo>
                <a:cubicBezTo>
                  <a:pt x="1654680" y="5036078"/>
                  <a:pt x="1656271" y="5028124"/>
                  <a:pt x="1659454" y="5020169"/>
                </a:cubicBezTo>
                <a:close/>
                <a:moveTo>
                  <a:pt x="1524241" y="5018579"/>
                </a:moveTo>
                <a:cubicBezTo>
                  <a:pt x="1532194" y="5018579"/>
                  <a:pt x="1540148" y="5018579"/>
                  <a:pt x="1548103" y="5020170"/>
                </a:cubicBezTo>
                <a:cubicBezTo>
                  <a:pt x="1549693" y="5021760"/>
                  <a:pt x="1551285" y="5021760"/>
                  <a:pt x="1552875" y="5021760"/>
                </a:cubicBezTo>
                <a:cubicBezTo>
                  <a:pt x="1552875" y="5023351"/>
                  <a:pt x="1552875" y="5024942"/>
                  <a:pt x="1552875" y="5026533"/>
                </a:cubicBezTo>
                <a:cubicBezTo>
                  <a:pt x="1551285" y="5028124"/>
                  <a:pt x="1549693" y="5029714"/>
                  <a:pt x="1548103" y="5031305"/>
                </a:cubicBezTo>
                <a:cubicBezTo>
                  <a:pt x="1544920" y="5029714"/>
                  <a:pt x="1546511" y="5024942"/>
                  <a:pt x="1541739" y="5024942"/>
                </a:cubicBezTo>
                <a:cubicBezTo>
                  <a:pt x="1538557" y="5024942"/>
                  <a:pt x="1540148" y="5029714"/>
                  <a:pt x="1540148" y="5029714"/>
                </a:cubicBezTo>
                <a:cubicBezTo>
                  <a:pt x="1536966" y="5031305"/>
                  <a:pt x="1533785" y="5034487"/>
                  <a:pt x="1532194" y="5037668"/>
                </a:cubicBezTo>
                <a:cubicBezTo>
                  <a:pt x="1535376" y="5040850"/>
                  <a:pt x="1543329" y="5040850"/>
                  <a:pt x="1546511" y="5045621"/>
                </a:cubicBezTo>
                <a:cubicBezTo>
                  <a:pt x="1544920" y="5047212"/>
                  <a:pt x="1543329" y="5044031"/>
                  <a:pt x="1540148" y="5045621"/>
                </a:cubicBezTo>
                <a:cubicBezTo>
                  <a:pt x="1535376" y="5042440"/>
                  <a:pt x="1530604" y="5039259"/>
                  <a:pt x="1524241" y="5036078"/>
                </a:cubicBezTo>
                <a:cubicBezTo>
                  <a:pt x="1524241" y="5029714"/>
                  <a:pt x="1524241" y="5024942"/>
                  <a:pt x="1524241" y="5018579"/>
                </a:cubicBezTo>
                <a:close/>
                <a:moveTo>
                  <a:pt x="1258590" y="5012217"/>
                </a:moveTo>
                <a:cubicBezTo>
                  <a:pt x="1261771" y="5015398"/>
                  <a:pt x="1264952" y="5021760"/>
                  <a:pt x="1263361" y="5024942"/>
                </a:cubicBezTo>
                <a:cubicBezTo>
                  <a:pt x="1263361" y="5021760"/>
                  <a:pt x="1260180" y="5021760"/>
                  <a:pt x="1256999" y="5020170"/>
                </a:cubicBezTo>
                <a:cubicBezTo>
                  <a:pt x="1256999" y="5016988"/>
                  <a:pt x="1256999" y="5015398"/>
                  <a:pt x="1258590" y="5012217"/>
                </a:cubicBezTo>
                <a:close/>
                <a:moveTo>
                  <a:pt x="1180643" y="5012217"/>
                </a:moveTo>
                <a:cubicBezTo>
                  <a:pt x="1182233" y="5013807"/>
                  <a:pt x="1185415" y="5015398"/>
                  <a:pt x="1183824" y="5016988"/>
                </a:cubicBezTo>
                <a:cubicBezTo>
                  <a:pt x="1180643" y="5016988"/>
                  <a:pt x="1180643" y="5015398"/>
                  <a:pt x="1177461" y="5015398"/>
                </a:cubicBezTo>
                <a:cubicBezTo>
                  <a:pt x="1177461" y="5013807"/>
                  <a:pt x="1179052" y="5012217"/>
                  <a:pt x="1180643" y="5012217"/>
                </a:cubicBezTo>
                <a:close/>
                <a:moveTo>
                  <a:pt x="1129739" y="5012216"/>
                </a:moveTo>
                <a:cubicBezTo>
                  <a:pt x="1137694" y="5013806"/>
                  <a:pt x="1147238" y="5012216"/>
                  <a:pt x="1153601" y="5015397"/>
                </a:cubicBezTo>
                <a:cubicBezTo>
                  <a:pt x="1152010" y="5016988"/>
                  <a:pt x="1150419" y="5020169"/>
                  <a:pt x="1148829" y="5023350"/>
                </a:cubicBezTo>
                <a:cubicBezTo>
                  <a:pt x="1147238" y="5021760"/>
                  <a:pt x="1145647" y="5020169"/>
                  <a:pt x="1142466" y="5020169"/>
                </a:cubicBezTo>
                <a:cubicBezTo>
                  <a:pt x="1140875" y="5026532"/>
                  <a:pt x="1140875" y="5036077"/>
                  <a:pt x="1140875" y="5045621"/>
                </a:cubicBezTo>
                <a:cubicBezTo>
                  <a:pt x="1140875" y="5047212"/>
                  <a:pt x="1140875" y="5050393"/>
                  <a:pt x="1140875" y="5051984"/>
                </a:cubicBezTo>
                <a:cubicBezTo>
                  <a:pt x="1142466" y="5074255"/>
                  <a:pt x="1142466" y="5096524"/>
                  <a:pt x="1121785" y="5098115"/>
                </a:cubicBezTo>
                <a:cubicBezTo>
                  <a:pt x="1120194" y="5090161"/>
                  <a:pt x="1118604" y="5082207"/>
                  <a:pt x="1117013" y="5074255"/>
                </a:cubicBezTo>
                <a:cubicBezTo>
                  <a:pt x="1118604" y="5059938"/>
                  <a:pt x="1121785" y="5045621"/>
                  <a:pt x="1123377" y="5036077"/>
                </a:cubicBezTo>
                <a:cubicBezTo>
                  <a:pt x="1124967" y="5028123"/>
                  <a:pt x="1126559" y="5020169"/>
                  <a:pt x="1129739" y="5012216"/>
                </a:cubicBezTo>
                <a:close/>
                <a:moveTo>
                  <a:pt x="1634002" y="5004263"/>
                </a:moveTo>
                <a:cubicBezTo>
                  <a:pt x="1634002" y="5007444"/>
                  <a:pt x="1634002" y="5009035"/>
                  <a:pt x="1634002" y="5012217"/>
                </a:cubicBezTo>
                <a:cubicBezTo>
                  <a:pt x="1624457" y="5012217"/>
                  <a:pt x="1614913" y="5012217"/>
                  <a:pt x="1606959" y="5012217"/>
                </a:cubicBezTo>
                <a:cubicBezTo>
                  <a:pt x="1618095" y="5010626"/>
                  <a:pt x="1626047" y="5007444"/>
                  <a:pt x="1634002" y="5004263"/>
                </a:cubicBezTo>
                <a:close/>
                <a:moveTo>
                  <a:pt x="1551285" y="4999490"/>
                </a:moveTo>
                <a:cubicBezTo>
                  <a:pt x="1551285" y="5001081"/>
                  <a:pt x="1551285" y="5002672"/>
                  <a:pt x="1551285" y="5004263"/>
                </a:cubicBezTo>
                <a:cubicBezTo>
                  <a:pt x="1548102" y="5002672"/>
                  <a:pt x="1544921" y="5001081"/>
                  <a:pt x="1543330" y="5001081"/>
                </a:cubicBezTo>
                <a:cubicBezTo>
                  <a:pt x="1548102" y="5001081"/>
                  <a:pt x="1548102" y="4999490"/>
                  <a:pt x="1551285" y="4999490"/>
                </a:cubicBezTo>
                <a:close/>
                <a:moveTo>
                  <a:pt x="1229955" y="4988355"/>
                </a:moveTo>
                <a:cubicBezTo>
                  <a:pt x="1234728" y="4997899"/>
                  <a:pt x="1245862" y="4999490"/>
                  <a:pt x="1258590" y="5002672"/>
                </a:cubicBezTo>
                <a:cubicBezTo>
                  <a:pt x="1255408" y="5005853"/>
                  <a:pt x="1258590" y="5013807"/>
                  <a:pt x="1255408" y="5018579"/>
                </a:cubicBezTo>
                <a:cubicBezTo>
                  <a:pt x="1252227" y="5015398"/>
                  <a:pt x="1247453" y="5013807"/>
                  <a:pt x="1241090" y="5012217"/>
                </a:cubicBezTo>
                <a:cubicBezTo>
                  <a:pt x="1241090" y="5010626"/>
                  <a:pt x="1241090" y="5005853"/>
                  <a:pt x="1237909" y="5004263"/>
                </a:cubicBezTo>
                <a:cubicBezTo>
                  <a:pt x="1234728" y="5002672"/>
                  <a:pt x="1233137" y="5007444"/>
                  <a:pt x="1231547" y="5005853"/>
                </a:cubicBezTo>
                <a:cubicBezTo>
                  <a:pt x="1229955" y="5004263"/>
                  <a:pt x="1236318" y="5004263"/>
                  <a:pt x="1234728" y="5001081"/>
                </a:cubicBezTo>
                <a:cubicBezTo>
                  <a:pt x="1233137" y="4997899"/>
                  <a:pt x="1228365" y="4997899"/>
                  <a:pt x="1225183" y="4996309"/>
                </a:cubicBezTo>
                <a:cubicBezTo>
                  <a:pt x="1226774" y="4994718"/>
                  <a:pt x="1228365" y="4991536"/>
                  <a:pt x="1229955" y="4988355"/>
                </a:cubicBezTo>
                <a:close/>
                <a:moveTo>
                  <a:pt x="1210867" y="4983583"/>
                </a:moveTo>
                <a:cubicBezTo>
                  <a:pt x="1214047" y="4989945"/>
                  <a:pt x="1217230" y="4993127"/>
                  <a:pt x="1220411" y="4997899"/>
                </a:cubicBezTo>
                <a:cubicBezTo>
                  <a:pt x="1218821" y="4997899"/>
                  <a:pt x="1217230" y="4997899"/>
                  <a:pt x="1217230" y="5001081"/>
                </a:cubicBezTo>
                <a:cubicBezTo>
                  <a:pt x="1215639" y="5001081"/>
                  <a:pt x="1215639" y="4997899"/>
                  <a:pt x="1212456" y="4999490"/>
                </a:cubicBezTo>
                <a:cubicBezTo>
                  <a:pt x="1212456" y="4996309"/>
                  <a:pt x="1210867" y="4994718"/>
                  <a:pt x="1207685" y="4994718"/>
                </a:cubicBezTo>
                <a:cubicBezTo>
                  <a:pt x="1206094" y="4989945"/>
                  <a:pt x="1206094" y="4985174"/>
                  <a:pt x="1210867" y="4983583"/>
                </a:cubicBezTo>
                <a:close/>
                <a:moveTo>
                  <a:pt x="1239499" y="4981993"/>
                </a:moveTo>
                <a:cubicBezTo>
                  <a:pt x="1241090" y="4986765"/>
                  <a:pt x="1244272" y="4989946"/>
                  <a:pt x="1242681" y="4993128"/>
                </a:cubicBezTo>
                <a:cubicBezTo>
                  <a:pt x="1241090" y="4989946"/>
                  <a:pt x="1236318" y="4988356"/>
                  <a:pt x="1231547" y="4988356"/>
                </a:cubicBezTo>
                <a:cubicBezTo>
                  <a:pt x="1233137" y="4985174"/>
                  <a:pt x="1236318" y="4981993"/>
                  <a:pt x="1239499" y="4981993"/>
                </a:cubicBezTo>
                <a:close/>
                <a:moveTo>
                  <a:pt x="1144055" y="4980402"/>
                </a:moveTo>
                <a:cubicBezTo>
                  <a:pt x="1144055" y="4981992"/>
                  <a:pt x="1145646" y="4983583"/>
                  <a:pt x="1147237" y="4985174"/>
                </a:cubicBezTo>
                <a:cubicBezTo>
                  <a:pt x="1148828" y="4985174"/>
                  <a:pt x="1148828" y="4986764"/>
                  <a:pt x="1148828" y="4988355"/>
                </a:cubicBezTo>
                <a:cubicBezTo>
                  <a:pt x="1145646" y="4986764"/>
                  <a:pt x="1142465" y="4985174"/>
                  <a:pt x="1140875" y="4985174"/>
                </a:cubicBezTo>
                <a:cubicBezTo>
                  <a:pt x="1140875" y="4985174"/>
                  <a:pt x="1140875" y="4983583"/>
                  <a:pt x="1140875" y="4983583"/>
                </a:cubicBezTo>
                <a:cubicBezTo>
                  <a:pt x="1140875" y="4981992"/>
                  <a:pt x="1142465" y="4980402"/>
                  <a:pt x="1144055" y="4980402"/>
                </a:cubicBezTo>
                <a:close/>
                <a:moveTo>
                  <a:pt x="1606959" y="4978811"/>
                </a:moveTo>
                <a:cubicBezTo>
                  <a:pt x="1614913" y="4981992"/>
                  <a:pt x="1622867" y="4981992"/>
                  <a:pt x="1632411" y="4983583"/>
                </a:cubicBezTo>
                <a:cubicBezTo>
                  <a:pt x="1632411" y="4985174"/>
                  <a:pt x="1632411" y="4985174"/>
                  <a:pt x="1632411" y="4986764"/>
                </a:cubicBezTo>
                <a:cubicBezTo>
                  <a:pt x="1627639" y="4994718"/>
                  <a:pt x="1616504" y="4997899"/>
                  <a:pt x="1605368" y="5001081"/>
                </a:cubicBezTo>
                <a:cubicBezTo>
                  <a:pt x="1605368" y="4997899"/>
                  <a:pt x="1605368" y="4993127"/>
                  <a:pt x="1605368" y="4988355"/>
                </a:cubicBezTo>
                <a:cubicBezTo>
                  <a:pt x="1605368" y="4986764"/>
                  <a:pt x="1608550" y="4986764"/>
                  <a:pt x="1608550" y="4985174"/>
                </a:cubicBezTo>
                <a:cubicBezTo>
                  <a:pt x="1606959" y="4983583"/>
                  <a:pt x="1603777" y="4980402"/>
                  <a:pt x="1606959" y="4978811"/>
                </a:cubicBezTo>
                <a:close/>
                <a:moveTo>
                  <a:pt x="1207685" y="4977220"/>
                </a:moveTo>
                <a:lnTo>
                  <a:pt x="1207685" y="4978811"/>
                </a:lnTo>
                <a:cubicBezTo>
                  <a:pt x="1206095" y="4978811"/>
                  <a:pt x="1206095" y="4978811"/>
                  <a:pt x="1204504" y="4978811"/>
                </a:cubicBezTo>
                <a:close/>
                <a:moveTo>
                  <a:pt x="1271315" y="4975630"/>
                </a:moveTo>
                <a:cubicBezTo>
                  <a:pt x="1272905" y="4978812"/>
                  <a:pt x="1272905" y="4981993"/>
                  <a:pt x="1274496" y="4985174"/>
                </a:cubicBezTo>
                <a:cubicBezTo>
                  <a:pt x="1272905" y="4985174"/>
                  <a:pt x="1271315" y="4986765"/>
                  <a:pt x="1269724" y="4985174"/>
                </a:cubicBezTo>
                <a:cubicBezTo>
                  <a:pt x="1269724" y="4983583"/>
                  <a:pt x="1271315" y="4978812"/>
                  <a:pt x="1271315" y="4975630"/>
                </a:cubicBezTo>
                <a:close/>
                <a:moveTo>
                  <a:pt x="1167917" y="4972448"/>
                </a:moveTo>
                <a:cubicBezTo>
                  <a:pt x="1166327" y="4974038"/>
                  <a:pt x="1167917" y="4975629"/>
                  <a:pt x="1167917" y="4977220"/>
                </a:cubicBezTo>
                <a:cubicBezTo>
                  <a:pt x="1166327" y="4975629"/>
                  <a:pt x="1166327" y="4975629"/>
                  <a:pt x="1164736" y="4974038"/>
                </a:cubicBezTo>
                <a:cubicBezTo>
                  <a:pt x="1166327" y="4974038"/>
                  <a:pt x="1166327" y="4970857"/>
                  <a:pt x="1167917" y="4972448"/>
                </a:cubicBezTo>
                <a:close/>
                <a:moveTo>
                  <a:pt x="1540150" y="4962902"/>
                </a:moveTo>
                <a:cubicBezTo>
                  <a:pt x="1543331" y="4964494"/>
                  <a:pt x="1546512" y="4967675"/>
                  <a:pt x="1548103" y="4970857"/>
                </a:cubicBezTo>
                <a:cubicBezTo>
                  <a:pt x="1548103" y="4975629"/>
                  <a:pt x="1549694" y="4980402"/>
                  <a:pt x="1549694" y="4986764"/>
                </a:cubicBezTo>
                <a:cubicBezTo>
                  <a:pt x="1544922" y="4989945"/>
                  <a:pt x="1540150" y="4991536"/>
                  <a:pt x="1532194" y="4989945"/>
                </a:cubicBezTo>
                <a:cubicBezTo>
                  <a:pt x="1530604" y="4991536"/>
                  <a:pt x="1527423" y="4993127"/>
                  <a:pt x="1527423" y="4993127"/>
                </a:cubicBezTo>
                <a:cubicBezTo>
                  <a:pt x="1527423" y="4985174"/>
                  <a:pt x="1529013" y="4977220"/>
                  <a:pt x="1530604" y="4969266"/>
                </a:cubicBezTo>
                <a:cubicBezTo>
                  <a:pt x="1533785" y="4967675"/>
                  <a:pt x="1536967" y="4964494"/>
                  <a:pt x="1540150" y="4962902"/>
                </a:cubicBezTo>
                <a:close/>
                <a:moveTo>
                  <a:pt x="1654681" y="4956540"/>
                </a:moveTo>
                <a:cubicBezTo>
                  <a:pt x="1654681" y="4958131"/>
                  <a:pt x="1656272" y="4958131"/>
                  <a:pt x="1656272" y="4958131"/>
                </a:cubicBezTo>
                <a:cubicBezTo>
                  <a:pt x="1656272" y="4962903"/>
                  <a:pt x="1654681" y="4967675"/>
                  <a:pt x="1654681" y="4972448"/>
                </a:cubicBezTo>
                <a:cubicBezTo>
                  <a:pt x="1651499" y="4972448"/>
                  <a:pt x="1649909" y="4970857"/>
                  <a:pt x="1648319" y="4970857"/>
                </a:cubicBezTo>
                <a:cubicBezTo>
                  <a:pt x="1648319" y="4966084"/>
                  <a:pt x="1649909" y="4962903"/>
                  <a:pt x="1653090" y="4959721"/>
                </a:cubicBezTo>
                <a:cubicBezTo>
                  <a:pt x="1653090" y="4959721"/>
                  <a:pt x="1651499" y="4958131"/>
                  <a:pt x="1651499" y="4958131"/>
                </a:cubicBezTo>
                <a:cubicBezTo>
                  <a:pt x="1653090" y="4958131"/>
                  <a:pt x="1653090" y="4956540"/>
                  <a:pt x="1654681" y="4956540"/>
                </a:cubicBezTo>
                <a:close/>
                <a:moveTo>
                  <a:pt x="1549693" y="4954950"/>
                </a:moveTo>
                <a:cubicBezTo>
                  <a:pt x="1548102" y="4958131"/>
                  <a:pt x="1548102" y="4961313"/>
                  <a:pt x="1548102" y="4964495"/>
                </a:cubicBezTo>
                <a:cubicBezTo>
                  <a:pt x="1544921" y="4964495"/>
                  <a:pt x="1543330" y="4964495"/>
                  <a:pt x="1541739" y="4962904"/>
                </a:cubicBezTo>
                <a:cubicBezTo>
                  <a:pt x="1544921" y="4959722"/>
                  <a:pt x="1546511" y="4958131"/>
                  <a:pt x="1549693" y="4954950"/>
                </a:cubicBezTo>
                <a:close/>
                <a:moveTo>
                  <a:pt x="1199731" y="4954950"/>
                </a:moveTo>
                <a:cubicBezTo>
                  <a:pt x="1201322" y="4959722"/>
                  <a:pt x="1202913" y="4964495"/>
                  <a:pt x="1202913" y="4967676"/>
                </a:cubicBezTo>
                <a:cubicBezTo>
                  <a:pt x="1201322" y="4967676"/>
                  <a:pt x="1199731" y="4969267"/>
                  <a:pt x="1196551" y="4969267"/>
                </a:cubicBezTo>
                <a:cubicBezTo>
                  <a:pt x="1196551" y="4967676"/>
                  <a:pt x="1194959" y="4966085"/>
                  <a:pt x="1194959" y="4964495"/>
                </a:cubicBezTo>
                <a:cubicBezTo>
                  <a:pt x="1194959" y="4961313"/>
                  <a:pt x="1198140" y="4958131"/>
                  <a:pt x="1199731" y="4954950"/>
                </a:cubicBezTo>
                <a:close/>
                <a:moveTo>
                  <a:pt x="1241090" y="4953359"/>
                </a:moveTo>
                <a:cubicBezTo>
                  <a:pt x="1244272" y="4959722"/>
                  <a:pt x="1247453" y="4966085"/>
                  <a:pt x="1249045" y="4972449"/>
                </a:cubicBezTo>
                <a:cubicBezTo>
                  <a:pt x="1247453" y="4972449"/>
                  <a:pt x="1245864" y="4972449"/>
                  <a:pt x="1245864" y="4972449"/>
                </a:cubicBezTo>
                <a:cubicBezTo>
                  <a:pt x="1244272" y="4969267"/>
                  <a:pt x="1242681" y="4966085"/>
                  <a:pt x="1239499" y="4966085"/>
                </a:cubicBezTo>
                <a:cubicBezTo>
                  <a:pt x="1237909" y="4967676"/>
                  <a:pt x="1237909" y="4967676"/>
                  <a:pt x="1237909" y="4969267"/>
                </a:cubicBezTo>
                <a:cubicBezTo>
                  <a:pt x="1234728" y="4969267"/>
                  <a:pt x="1229956" y="4972449"/>
                  <a:pt x="1225183" y="4970858"/>
                </a:cubicBezTo>
                <a:cubicBezTo>
                  <a:pt x="1225183" y="4967676"/>
                  <a:pt x="1223593" y="4966085"/>
                  <a:pt x="1225183" y="4967676"/>
                </a:cubicBezTo>
                <a:cubicBezTo>
                  <a:pt x="1225183" y="4966085"/>
                  <a:pt x="1225183" y="4964495"/>
                  <a:pt x="1226774" y="4962904"/>
                </a:cubicBezTo>
                <a:cubicBezTo>
                  <a:pt x="1226774" y="4961313"/>
                  <a:pt x="1226774" y="4961313"/>
                  <a:pt x="1226774" y="4961313"/>
                </a:cubicBezTo>
                <a:cubicBezTo>
                  <a:pt x="1229956" y="4956541"/>
                  <a:pt x="1236318" y="4956541"/>
                  <a:pt x="1241090" y="4953359"/>
                </a:cubicBezTo>
                <a:close/>
                <a:moveTo>
                  <a:pt x="1217230" y="4950178"/>
                </a:moveTo>
                <a:cubicBezTo>
                  <a:pt x="1218821" y="4950178"/>
                  <a:pt x="1218821" y="4950178"/>
                  <a:pt x="1220412" y="4950178"/>
                </a:cubicBezTo>
                <a:cubicBezTo>
                  <a:pt x="1220412" y="4950178"/>
                  <a:pt x="1218821" y="4951769"/>
                  <a:pt x="1218821" y="4953359"/>
                </a:cubicBezTo>
                <a:cubicBezTo>
                  <a:pt x="1217230" y="4951769"/>
                  <a:pt x="1217230" y="4951769"/>
                  <a:pt x="1217230" y="4950178"/>
                </a:cubicBezTo>
                <a:close/>
                <a:moveTo>
                  <a:pt x="1163144" y="4948587"/>
                </a:moveTo>
                <a:cubicBezTo>
                  <a:pt x="1166326" y="4948587"/>
                  <a:pt x="1167918" y="4950177"/>
                  <a:pt x="1171099" y="4950177"/>
                </a:cubicBezTo>
                <a:cubicBezTo>
                  <a:pt x="1171099" y="4956540"/>
                  <a:pt x="1171099" y="4962903"/>
                  <a:pt x="1167918" y="4967675"/>
                </a:cubicBezTo>
                <a:cubicBezTo>
                  <a:pt x="1161553" y="4964494"/>
                  <a:pt x="1161553" y="4956540"/>
                  <a:pt x="1163144" y="4948587"/>
                </a:cubicBezTo>
                <a:close/>
                <a:moveTo>
                  <a:pt x="1610141" y="4943814"/>
                </a:moveTo>
                <a:cubicBezTo>
                  <a:pt x="1619685" y="4946997"/>
                  <a:pt x="1630820" y="4950178"/>
                  <a:pt x="1638775" y="4954950"/>
                </a:cubicBezTo>
                <a:cubicBezTo>
                  <a:pt x="1637184" y="4959722"/>
                  <a:pt x="1637184" y="4964495"/>
                  <a:pt x="1635594" y="4969267"/>
                </a:cubicBezTo>
                <a:cubicBezTo>
                  <a:pt x="1626048" y="4967676"/>
                  <a:pt x="1616504" y="4969267"/>
                  <a:pt x="1608550" y="4970858"/>
                </a:cubicBezTo>
                <a:cubicBezTo>
                  <a:pt x="1606959" y="4966085"/>
                  <a:pt x="1608550" y="4958131"/>
                  <a:pt x="1610141" y="4953359"/>
                </a:cubicBezTo>
                <a:cubicBezTo>
                  <a:pt x="1611732" y="4951769"/>
                  <a:pt x="1613323" y="4950178"/>
                  <a:pt x="1618095" y="4948588"/>
                </a:cubicBezTo>
                <a:cubicBezTo>
                  <a:pt x="1614913" y="4946997"/>
                  <a:pt x="1613323" y="4948588"/>
                  <a:pt x="1610141" y="4948588"/>
                </a:cubicBezTo>
                <a:cubicBezTo>
                  <a:pt x="1610141" y="4946997"/>
                  <a:pt x="1610141" y="4945406"/>
                  <a:pt x="1610141" y="4943814"/>
                </a:cubicBezTo>
                <a:close/>
                <a:moveTo>
                  <a:pt x="1152009" y="4940634"/>
                </a:moveTo>
                <a:cubicBezTo>
                  <a:pt x="1152009" y="4940634"/>
                  <a:pt x="1153600" y="4942224"/>
                  <a:pt x="1153600" y="4942224"/>
                </a:cubicBezTo>
                <a:cubicBezTo>
                  <a:pt x="1152009" y="4948588"/>
                  <a:pt x="1158372" y="4953359"/>
                  <a:pt x="1159964" y="4958131"/>
                </a:cubicBezTo>
                <a:cubicBezTo>
                  <a:pt x="1158372" y="4958131"/>
                  <a:pt x="1158372" y="4956541"/>
                  <a:pt x="1156781" y="4958131"/>
                </a:cubicBezTo>
                <a:cubicBezTo>
                  <a:pt x="1156781" y="4959722"/>
                  <a:pt x="1155192" y="4959722"/>
                  <a:pt x="1155192" y="4961313"/>
                </a:cubicBezTo>
                <a:cubicBezTo>
                  <a:pt x="1153600" y="4958131"/>
                  <a:pt x="1152009" y="4953359"/>
                  <a:pt x="1152009" y="4950178"/>
                </a:cubicBezTo>
                <a:cubicBezTo>
                  <a:pt x="1152009" y="4946997"/>
                  <a:pt x="1152009" y="4943815"/>
                  <a:pt x="1152009" y="4940634"/>
                </a:cubicBezTo>
                <a:close/>
                <a:moveTo>
                  <a:pt x="1549694" y="4935861"/>
                </a:moveTo>
                <a:cubicBezTo>
                  <a:pt x="1549694" y="4937452"/>
                  <a:pt x="1549694" y="4939043"/>
                  <a:pt x="1549694" y="4940634"/>
                </a:cubicBezTo>
                <a:cubicBezTo>
                  <a:pt x="1544922" y="4946997"/>
                  <a:pt x="1540148" y="4953359"/>
                  <a:pt x="1532194" y="4956541"/>
                </a:cubicBezTo>
                <a:cubicBezTo>
                  <a:pt x="1532194" y="4950178"/>
                  <a:pt x="1530604" y="4943815"/>
                  <a:pt x="1529013" y="4939043"/>
                </a:cubicBezTo>
                <a:cubicBezTo>
                  <a:pt x="1535376" y="4935861"/>
                  <a:pt x="1541740" y="4935861"/>
                  <a:pt x="1549694" y="4935861"/>
                </a:cubicBezTo>
                <a:close/>
                <a:moveTo>
                  <a:pt x="1592643" y="4932679"/>
                </a:moveTo>
                <a:cubicBezTo>
                  <a:pt x="1594233" y="4934269"/>
                  <a:pt x="1597415" y="4937451"/>
                  <a:pt x="1600597" y="4939042"/>
                </a:cubicBezTo>
                <a:cubicBezTo>
                  <a:pt x="1602187" y="4950177"/>
                  <a:pt x="1600597" y="4961312"/>
                  <a:pt x="1599006" y="4974038"/>
                </a:cubicBezTo>
                <a:cubicBezTo>
                  <a:pt x="1597415" y="4975628"/>
                  <a:pt x="1594233" y="4975628"/>
                  <a:pt x="1594233" y="4977219"/>
                </a:cubicBezTo>
                <a:cubicBezTo>
                  <a:pt x="1594233" y="4978810"/>
                  <a:pt x="1595824" y="4980401"/>
                  <a:pt x="1597415" y="4981991"/>
                </a:cubicBezTo>
                <a:cubicBezTo>
                  <a:pt x="1594233" y="4988355"/>
                  <a:pt x="1597415" y="4996308"/>
                  <a:pt x="1597415" y="5004262"/>
                </a:cubicBezTo>
                <a:cubicBezTo>
                  <a:pt x="1592643" y="5005852"/>
                  <a:pt x="1587870" y="5009034"/>
                  <a:pt x="1584689" y="5013806"/>
                </a:cubicBezTo>
                <a:cubicBezTo>
                  <a:pt x="1576735" y="5010625"/>
                  <a:pt x="1567190" y="5009034"/>
                  <a:pt x="1559237" y="5004262"/>
                </a:cubicBezTo>
                <a:cubicBezTo>
                  <a:pt x="1559237" y="5002671"/>
                  <a:pt x="1559237" y="5001080"/>
                  <a:pt x="1559237" y="4999489"/>
                </a:cubicBezTo>
                <a:cubicBezTo>
                  <a:pt x="1559237" y="4997898"/>
                  <a:pt x="1556055" y="4997898"/>
                  <a:pt x="1556055" y="4996308"/>
                </a:cubicBezTo>
                <a:cubicBezTo>
                  <a:pt x="1567190" y="4985173"/>
                  <a:pt x="1583098" y="4972447"/>
                  <a:pt x="1589461" y="4961312"/>
                </a:cubicBezTo>
                <a:cubicBezTo>
                  <a:pt x="1571963" y="4956540"/>
                  <a:pt x="1567190" y="4975628"/>
                  <a:pt x="1554465" y="4985173"/>
                </a:cubicBezTo>
                <a:cubicBezTo>
                  <a:pt x="1552874" y="4980401"/>
                  <a:pt x="1552874" y="4975628"/>
                  <a:pt x="1552874" y="4970856"/>
                </a:cubicBezTo>
                <a:cubicBezTo>
                  <a:pt x="1552874" y="4966084"/>
                  <a:pt x="1552874" y="4956540"/>
                  <a:pt x="1554465" y="4950177"/>
                </a:cubicBezTo>
                <a:cubicBezTo>
                  <a:pt x="1564009" y="4939042"/>
                  <a:pt x="1575144" y="4929498"/>
                  <a:pt x="1592643" y="4932679"/>
                </a:cubicBezTo>
                <a:close/>
                <a:moveTo>
                  <a:pt x="1638774" y="4929498"/>
                </a:moveTo>
                <a:cubicBezTo>
                  <a:pt x="1640365" y="4934270"/>
                  <a:pt x="1643547" y="4939043"/>
                  <a:pt x="1643547" y="4945406"/>
                </a:cubicBezTo>
                <a:cubicBezTo>
                  <a:pt x="1632410" y="4942224"/>
                  <a:pt x="1621275" y="4940634"/>
                  <a:pt x="1613322" y="4934270"/>
                </a:cubicBezTo>
                <a:cubicBezTo>
                  <a:pt x="1616504" y="4934270"/>
                  <a:pt x="1619685" y="4932680"/>
                  <a:pt x="1622867" y="4931089"/>
                </a:cubicBezTo>
                <a:cubicBezTo>
                  <a:pt x="1629229" y="4929498"/>
                  <a:pt x="1634001" y="4929498"/>
                  <a:pt x="1638774" y="4929498"/>
                </a:cubicBezTo>
                <a:close/>
                <a:moveTo>
                  <a:pt x="1255407" y="4927907"/>
                </a:moveTo>
                <a:cubicBezTo>
                  <a:pt x="1258589" y="4935861"/>
                  <a:pt x="1260180" y="4943815"/>
                  <a:pt x="1263361" y="4951769"/>
                </a:cubicBezTo>
                <a:cubicBezTo>
                  <a:pt x="1260180" y="4954950"/>
                  <a:pt x="1258589" y="4961313"/>
                  <a:pt x="1256999" y="4966085"/>
                </a:cubicBezTo>
                <a:cubicBezTo>
                  <a:pt x="1256999" y="4966085"/>
                  <a:pt x="1255407" y="4964494"/>
                  <a:pt x="1255407" y="4964494"/>
                </a:cubicBezTo>
                <a:cubicBezTo>
                  <a:pt x="1252227" y="4953359"/>
                  <a:pt x="1245862" y="4943815"/>
                  <a:pt x="1252227" y="4932680"/>
                </a:cubicBezTo>
                <a:cubicBezTo>
                  <a:pt x="1252227" y="4931089"/>
                  <a:pt x="1249044" y="4932680"/>
                  <a:pt x="1249044" y="4931089"/>
                </a:cubicBezTo>
                <a:cubicBezTo>
                  <a:pt x="1250635" y="4929498"/>
                  <a:pt x="1253816" y="4927907"/>
                  <a:pt x="1255407" y="4927907"/>
                </a:cubicBezTo>
                <a:close/>
                <a:moveTo>
                  <a:pt x="1228366" y="4923135"/>
                </a:moveTo>
                <a:cubicBezTo>
                  <a:pt x="1229956" y="4927907"/>
                  <a:pt x="1233137" y="4931089"/>
                  <a:pt x="1234728" y="4934270"/>
                </a:cubicBezTo>
                <a:cubicBezTo>
                  <a:pt x="1233137" y="4934270"/>
                  <a:pt x="1233137" y="4935861"/>
                  <a:pt x="1231547" y="4935861"/>
                </a:cubicBezTo>
                <a:cubicBezTo>
                  <a:pt x="1231547" y="4935861"/>
                  <a:pt x="1231547" y="4934270"/>
                  <a:pt x="1231547" y="4934270"/>
                </a:cubicBezTo>
                <a:cubicBezTo>
                  <a:pt x="1226775" y="4937452"/>
                  <a:pt x="1225184" y="4942224"/>
                  <a:pt x="1220411" y="4945406"/>
                </a:cubicBezTo>
                <a:cubicBezTo>
                  <a:pt x="1218820" y="4945406"/>
                  <a:pt x="1218820" y="4946997"/>
                  <a:pt x="1215639" y="4946997"/>
                </a:cubicBezTo>
                <a:cubicBezTo>
                  <a:pt x="1214048" y="4943815"/>
                  <a:pt x="1214048" y="4940634"/>
                  <a:pt x="1212457" y="4937452"/>
                </a:cubicBezTo>
                <a:cubicBezTo>
                  <a:pt x="1215639" y="4934270"/>
                  <a:pt x="1215639" y="4931089"/>
                  <a:pt x="1215639" y="4926317"/>
                </a:cubicBezTo>
                <a:cubicBezTo>
                  <a:pt x="1220411" y="4926317"/>
                  <a:pt x="1225184" y="4924726"/>
                  <a:pt x="1228366" y="4923135"/>
                </a:cubicBezTo>
                <a:close/>
                <a:moveTo>
                  <a:pt x="1239500" y="4919954"/>
                </a:moveTo>
                <a:cubicBezTo>
                  <a:pt x="1241092" y="4918363"/>
                  <a:pt x="1242682" y="4921545"/>
                  <a:pt x="1244272" y="4921545"/>
                </a:cubicBezTo>
                <a:cubicBezTo>
                  <a:pt x="1242682" y="4924726"/>
                  <a:pt x="1244272" y="4927907"/>
                  <a:pt x="1241092" y="4929498"/>
                </a:cubicBezTo>
                <a:cubicBezTo>
                  <a:pt x="1241092" y="4926317"/>
                  <a:pt x="1241092" y="4923136"/>
                  <a:pt x="1239500" y="4919954"/>
                </a:cubicBezTo>
                <a:close/>
                <a:moveTo>
                  <a:pt x="1252227" y="4915182"/>
                </a:moveTo>
                <a:cubicBezTo>
                  <a:pt x="1253817" y="4916773"/>
                  <a:pt x="1253817" y="4916773"/>
                  <a:pt x="1253817" y="4918363"/>
                </a:cubicBezTo>
                <a:cubicBezTo>
                  <a:pt x="1252227" y="4919954"/>
                  <a:pt x="1252227" y="4921545"/>
                  <a:pt x="1250636" y="4923136"/>
                </a:cubicBezTo>
                <a:cubicBezTo>
                  <a:pt x="1250636" y="4921545"/>
                  <a:pt x="1252227" y="4919954"/>
                  <a:pt x="1252227" y="4915182"/>
                </a:cubicBezTo>
                <a:close/>
                <a:moveTo>
                  <a:pt x="1166326" y="4911999"/>
                </a:moveTo>
                <a:cubicBezTo>
                  <a:pt x="1169509" y="4918363"/>
                  <a:pt x="1172690" y="4926317"/>
                  <a:pt x="1175871" y="4932680"/>
                </a:cubicBezTo>
                <a:cubicBezTo>
                  <a:pt x="1174280" y="4934270"/>
                  <a:pt x="1174280" y="4937452"/>
                  <a:pt x="1172690" y="4939043"/>
                </a:cubicBezTo>
                <a:cubicBezTo>
                  <a:pt x="1172690" y="4929498"/>
                  <a:pt x="1166326" y="4924726"/>
                  <a:pt x="1164736" y="4916773"/>
                </a:cubicBezTo>
                <a:cubicBezTo>
                  <a:pt x="1164736" y="4916773"/>
                  <a:pt x="1164736" y="4916773"/>
                  <a:pt x="1161555" y="4916773"/>
                </a:cubicBezTo>
                <a:cubicBezTo>
                  <a:pt x="1163146" y="4915182"/>
                  <a:pt x="1164736" y="4913591"/>
                  <a:pt x="1166326" y="4911999"/>
                </a:cubicBezTo>
                <a:close/>
                <a:moveTo>
                  <a:pt x="1101106" y="4911999"/>
                </a:moveTo>
                <a:cubicBezTo>
                  <a:pt x="1107469" y="4918363"/>
                  <a:pt x="1115423" y="4923136"/>
                  <a:pt x="1121786" y="4929498"/>
                </a:cubicBezTo>
                <a:cubicBezTo>
                  <a:pt x="1123377" y="4932680"/>
                  <a:pt x="1124968" y="4937452"/>
                  <a:pt x="1128149" y="4940633"/>
                </a:cubicBezTo>
                <a:cubicBezTo>
                  <a:pt x="1113832" y="4939043"/>
                  <a:pt x="1107469" y="4929498"/>
                  <a:pt x="1101106" y="4911999"/>
                </a:cubicBezTo>
                <a:close/>
                <a:moveTo>
                  <a:pt x="1649910" y="4908819"/>
                </a:moveTo>
                <a:cubicBezTo>
                  <a:pt x="1649910" y="4910409"/>
                  <a:pt x="1649910" y="4910409"/>
                  <a:pt x="1649910" y="4912000"/>
                </a:cubicBezTo>
                <a:cubicBezTo>
                  <a:pt x="1648319" y="4910409"/>
                  <a:pt x="1648319" y="4910409"/>
                  <a:pt x="1646728" y="4910409"/>
                </a:cubicBezTo>
                <a:cubicBezTo>
                  <a:pt x="1646728" y="4910409"/>
                  <a:pt x="1648319" y="4908819"/>
                  <a:pt x="1649910" y="4908819"/>
                </a:cubicBezTo>
                <a:close/>
                <a:moveTo>
                  <a:pt x="1661044" y="4904046"/>
                </a:moveTo>
                <a:cubicBezTo>
                  <a:pt x="1659454" y="4907228"/>
                  <a:pt x="1659454" y="4912000"/>
                  <a:pt x="1659454" y="4916773"/>
                </a:cubicBezTo>
                <a:cubicBezTo>
                  <a:pt x="1659454" y="4918363"/>
                  <a:pt x="1659454" y="4918363"/>
                  <a:pt x="1659454" y="4919954"/>
                </a:cubicBezTo>
                <a:cubicBezTo>
                  <a:pt x="1659454" y="4919954"/>
                  <a:pt x="1657862" y="4919954"/>
                  <a:pt x="1656272" y="4919954"/>
                </a:cubicBezTo>
                <a:cubicBezTo>
                  <a:pt x="1654681" y="4918363"/>
                  <a:pt x="1654681" y="4916773"/>
                  <a:pt x="1653090" y="4915182"/>
                </a:cubicBezTo>
                <a:cubicBezTo>
                  <a:pt x="1654681" y="4912000"/>
                  <a:pt x="1654681" y="4908819"/>
                  <a:pt x="1654681" y="4905637"/>
                </a:cubicBezTo>
                <a:cubicBezTo>
                  <a:pt x="1656272" y="4905637"/>
                  <a:pt x="1659454" y="4904046"/>
                  <a:pt x="1661044" y="4904046"/>
                </a:cubicBezTo>
                <a:close/>
                <a:moveTo>
                  <a:pt x="1600596" y="4900865"/>
                </a:moveTo>
                <a:cubicBezTo>
                  <a:pt x="1600596" y="4904046"/>
                  <a:pt x="1600596" y="4907228"/>
                  <a:pt x="1600596" y="4910409"/>
                </a:cubicBezTo>
                <a:cubicBezTo>
                  <a:pt x="1595824" y="4912000"/>
                  <a:pt x="1592643" y="4912000"/>
                  <a:pt x="1591052" y="4915182"/>
                </a:cubicBezTo>
                <a:cubicBezTo>
                  <a:pt x="1589461" y="4907228"/>
                  <a:pt x="1595824" y="4904046"/>
                  <a:pt x="1600596" y="4900865"/>
                </a:cubicBezTo>
                <a:close/>
                <a:moveTo>
                  <a:pt x="1223593" y="4894502"/>
                </a:moveTo>
                <a:cubicBezTo>
                  <a:pt x="1225184" y="4902455"/>
                  <a:pt x="1228366" y="4907228"/>
                  <a:pt x="1229956" y="4915182"/>
                </a:cubicBezTo>
                <a:cubicBezTo>
                  <a:pt x="1228366" y="4910409"/>
                  <a:pt x="1220411" y="4902455"/>
                  <a:pt x="1223593" y="4894502"/>
                </a:cubicBezTo>
                <a:close/>
                <a:moveTo>
                  <a:pt x="1654682" y="4881775"/>
                </a:moveTo>
                <a:cubicBezTo>
                  <a:pt x="1654682" y="4888139"/>
                  <a:pt x="1653091" y="4894502"/>
                  <a:pt x="1651500" y="4900865"/>
                </a:cubicBezTo>
                <a:cubicBezTo>
                  <a:pt x="1649909" y="4902455"/>
                  <a:pt x="1646728" y="4902455"/>
                  <a:pt x="1643546" y="4902455"/>
                </a:cubicBezTo>
                <a:cubicBezTo>
                  <a:pt x="1638774" y="4904046"/>
                  <a:pt x="1634001" y="4905637"/>
                  <a:pt x="1627639" y="4907228"/>
                </a:cubicBezTo>
                <a:cubicBezTo>
                  <a:pt x="1626048" y="4900865"/>
                  <a:pt x="1624457" y="4896093"/>
                  <a:pt x="1618095" y="4894502"/>
                </a:cubicBezTo>
                <a:cubicBezTo>
                  <a:pt x="1613322" y="4897683"/>
                  <a:pt x="1614913" y="4902455"/>
                  <a:pt x="1616504" y="4907228"/>
                </a:cubicBezTo>
                <a:cubicBezTo>
                  <a:pt x="1614913" y="4905637"/>
                  <a:pt x="1611731" y="4904046"/>
                  <a:pt x="1608550" y="4904046"/>
                </a:cubicBezTo>
                <a:cubicBezTo>
                  <a:pt x="1608550" y="4899274"/>
                  <a:pt x="1608550" y="4894502"/>
                  <a:pt x="1610141" y="4894502"/>
                </a:cubicBezTo>
                <a:cubicBezTo>
                  <a:pt x="1626048" y="4891321"/>
                  <a:pt x="1640365" y="4884958"/>
                  <a:pt x="1654682" y="4881775"/>
                </a:cubicBezTo>
                <a:close/>
                <a:moveTo>
                  <a:pt x="1226774" y="4880184"/>
                </a:moveTo>
                <a:cubicBezTo>
                  <a:pt x="1229955" y="4880184"/>
                  <a:pt x="1234728" y="4881775"/>
                  <a:pt x="1239500" y="4884958"/>
                </a:cubicBezTo>
                <a:cubicBezTo>
                  <a:pt x="1241092" y="4891321"/>
                  <a:pt x="1244273" y="4897683"/>
                  <a:pt x="1245864" y="4904046"/>
                </a:cubicBezTo>
                <a:cubicBezTo>
                  <a:pt x="1245864" y="4904046"/>
                  <a:pt x="1244273" y="4904046"/>
                  <a:pt x="1244273" y="4905637"/>
                </a:cubicBezTo>
                <a:cubicBezTo>
                  <a:pt x="1244273" y="4907228"/>
                  <a:pt x="1244273" y="4908818"/>
                  <a:pt x="1247454" y="4908818"/>
                </a:cubicBezTo>
                <a:cubicBezTo>
                  <a:pt x="1245864" y="4912000"/>
                  <a:pt x="1245864" y="4916772"/>
                  <a:pt x="1244273" y="4918363"/>
                </a:cubicBezTo>
                <a:cubicBezTo>
                  <a:pt x="1245864" y="4913591"/>
                  <a:pt x="1241092" y="4913591"/>
                  <a:pt x="1237909" y="4913591"/>
                </a:cubicBezTo>
                <a:cubicBezTo>
                  <a:pt x="1237909" y="4916772"/>
                  <a:pt x="1241092" y="4916772"/>
                  <a:pt x="1242682" y="4919954"/>
                </a:cubicBezTo>
                <a:cubicBezTo>
                  <a:pt x="1241092" y="4919954"/>
                  <a:pt x="1239500" y="4918363"/>
                  <a:pt x="1237909" y="4918363"/>
                </a:cubicBezTo>
                <a:cubicBezTo>
                  <a:pt x="1237909" y="4915181"/>
                  <a:pt x="1237909" y="4912000"/>
                  <a:pt x="1236318" y="4908818"/>
                </a:cubicBezTo>
                <a:cubicBezTo>
                  <a:pt x="1242682" y="4905637"/>
                  <a:pt x="1237909" y="4892912"/>
                  <a:pt x="1231547" y="4896093"/>
                </a:cubicBezTo>
                <a:cubicBezTo>
                  <a:pt x="1229955" y="4889730"/>
                  <a:pt x="1228365" y="4884958"/>
                  <a:pt x="1226774" y="4880184"/>
                </a:cubicBezTo>
                <a:close/>
                <a:moveTo>
                  <a:pt x="1191777" y="4878593"/>
                </a:moveTo>
                <a:cubicBezTo>
                  <a:pt x="1193368" y="4880184"/>
                  <a:pt x="1194959" y="4880184"/>
                  <a:pt x="1196550" y="4881775"/>
                </a:cubicBezTo>
                <a:cubicBezTo>
                  <a:pt x="1201323" y="4884957"/>
                  <a:pt x="1202913" y="4891320"/>
                  <a:pt x="1206094" y="4896092"/>
                </a:cubicBezTo>
                <a:cubicBezTo>
                  <a:pt x="1199732" y="4894501"/>
                  <a:pt x="1191777" y="4891320"/>
                  <a:pt x="1187005" y="4894501"/>
                </a:cubicBezTo>
                <a:cubicBezTo>
                  <a:pt x="1191777" y="4902455"/>
                  <a:pt x="1204504" y="4899274"/>
                  <a:pt x="1212457" y="4902455"/>
                </a:cubicBezTo>
                <a:cubicBezTo>
                  <a:pt x="1214048" y="4907226"/>
                  <a:pt x="1218820" y="4908817"/>
                  <a:pt x="1218820" y="4913589"/>
                </a:cubicBezTo>
                <a:cubicBezTo>
                  <a:pt x="1214048" y="4913589"/>
                  <a:pt x="1209276" y="4913589"/>
                  <a:pt x="1202913" y="4915180"/>
                </a:cubicBezTo>
                <a:cubicBezTo>
                  <a:pt x="1201323" y="4910408"/>
                  <a:pt x="1199732" y="4908817"/>
                  <a:pt x="1194959" y="4908817"/>
                </a:cubicBezTo>
                <a:cubicBezTo>
                  <a:pt x="1198141" y="4923134"/>
                  <a:pt x="1193368" y="4934269"/>
                  <a:pt x="1188596" y="4945404"/>
                </a:cubicBezTo>
                <a:cubicBezTo>
                  <a:pt x="1187005" y="4940632"/>
                  <a:pt x="1185414" y="4935859"/>
                  <a:pt x="1182233" y="4931088"/>
                </a:cubicBezTo>
                <a:cubicBezTo>
                  <a:pt x="1182233" y="4929497"/>
                  <a:pt x="1182233" y="4926316"/>
                  <a:pt x="1182233" y="4924725"/>
                </a:cubicBezTo>
                <a:cubicBezTo>
                  <a:pt x="1182233" y="4923134"/>
                  <a:pt x="1183823" y="4923134"/>
                  <a:pt x="1183823" y="4919953"/>
                </a:cubicBezTo>
                <a:cubicBezTo>
                  <a:pt x="1182233" y="4919953"/>
                  <a:pt x="1182233" y="4918362"/>
                  <a:pt x="1180642" y="4918362"/>
                </a:cubicBezTo>
                <a:cubicBezTo>
                  <a:pt x="1179051" y="4918362"/>
                  <a:pt x="1177461" y="4919953"/>
                  <a:pt x="1177461" y="4921543"/>
                </a:cubicBezTo>
                <a:cubicBezTo>
                  <a:pt x="1174279" y="4916771"/>
                  <a:pt x="1172689" y="4911999"/>
                  <a:pt x="1169507" y="4905636"/>
                </a:cubicBezTo>
                <a:cubicBezTo>
                  <a:pt x="1179051" y="4897683"/>
                  <a:pt x="1187005" y="4889729"/>
                  <a:pt x="1191777" y="4878593"/>
                </a:cubicBezTo>
                <a:close/>
                <a:moveTo>
                  <a:pt x="2080999" y="4875413"/>
                </a:moveTo>
                <a:cubicBezTo>
                  <a:pt x="2082590" y="4877004"/>
                  <a:pt x="2084180" y="4880185"/>
                  <a:pt x="2084180" y="4881776"/>
                </a:cubicBezTo>
                <a:cubicBezTo>
                  <a:pt x="2079407" y="4886548"/>
                  <a:pt x="2074635" y="4891321"/>
                  <a:pt x="2069862" y="4896093"/>
                </a:cubicBezTo>
                <a:cubicBezTo>
                  <a:pt x="2066681" y="4891321"/>
                  <a:pt x="2061909" y="4889730"/>
                  <a:pt x="2057137" y="4889730"/>
                </a:cubicBezTo>
                <a:cubicBezTo>
                  <a:pt x="2057137" y="4884958"/>
                  <a:pt x="2061909" y="4884958"/>
                  <a:pt x="2058728" y="4881776"/>
                </a:cubicBezTo>
                <a:cubicBezTo>
                  <a:pt x="2061909" y="4883367"/>
                  <a:pt x="2061909" y="4880185"/>
                  <a:pt x="2065090" y="4880185"/>
                </a:cubicBezTo>
                <a:cubicBezTo>
                  <a:pt x="2066681" y="4880185"/>
                  <a:pt x="2068271" y="4883367"/>
                  <a:pt x="2071453" y="4881776"/>
                </a:cubicBezTo>
                <a:cubicBezTo>
                  <a:pt x="2073044" y="4881776"/>
                  <a:pt x="2071453" y="4880185"/>
                  <a:pt x="2071453" y="4878594"/>
                </a:cubicBezTo>
                <a:cubicBezTo>
                  <a:pt x="2073044" y="4878594"/>
                  <a:pt x="2076225" y="4877004"/>
                  <a:pt x="2080999" y="4875413"/>
                </a:cubicBezTo>
                <a:close/>
                <a:moveTo>
                  <a:pt x="1668999" y="4875413"/>
                </a:moveTo>
                <a:cubicBezTo>
                  <a:pt x="1670590" y="4875413"/>
                  <a:pt x="1670590" y="4875413"/>
                  <a:pt x="1670590" y="4878594"/>
                </a:cubicBezTo>
                <a:cubicBezTo>
                  <a:pt x="1670590" y="4878594"/>
                  <a:pt x="1672180" y="4880185"/>
                  <a:pt x="1673771" y="4881776"/>
                </a:cubicBezTo>
                <a:cubicBezTo>
                  <a:pt x="1670590" y="4883367"/>
                  <a:pt x="1667407" y="4889730"/>
                  <a:pt x="1664226" y="4896093"/>
                </a:cubicBezTo>
                <a:cubicBezTo>
                  <a:pt x="1661044" y="4896093"/>
                  <a:pt x="1659454" y="4896093"/>
                  <a:pt x="1656272" y="4897683"/>
                </a:cubicBezTo>
                <a:cubicBezTo>
                  <a:pt x="1657863" y="4888139"/>
                  <a:pt x="1659454" y="4878594"/>
                  <a:pt x="1668999" y="4875413"/>
                </a:cubicBezTo>
                <a:close/>
                <a:moveTo>
                  <a:pt x="1600597" y="4875412"/>
                </a:moveTo>
                <a:cubicBezTo>
                  <a:pt x="1600597" y="4881776"/>
                  <a:pt x="1600597" y="4886548"/>
                  <a:pt x="1600597" y="4892912"/>
                </a:cubicBezTo>
                <a:cubicBezTo>
                  <a:pt x="1583098" y="4896093"/>
                  <a:pt x="1579916" y="4915182"/>
                  <a:pt x="1559237" y="4910409"/>
                </a:cubicBezTo>
                <a:cubicBezTo>
                  <a:pt x="1568781" y="4896093"/>
                  <a:pt x="1583098" y="4883367"/>
                  <a:pt x="1600597" y="4875412"/>
                </a:cubicBezTo>
                <a:close/>
                <a:moveTo>
                  <a:pt x="1102697" y="4875412"/>
                </a:moveTo>
                <a:cubicBezTo>
                  <a:pt x="1115423" y="4884958"/>
                  <a:pt x="1124967" y="4897683"/>
                  <a:pt x="1123376" y="4915182"/>
                </a:cubicBezTo>
                <a:cubicBezTo>
                  <a:pt x="1121785" y="4913591"/>
                  <a:pt x="1120195" y="4912000"/>
                  <a:pt x="1118604" y="4910409"/>
                </a:cubicBezTo>
                <a:cubicBezTo>
                  <a:pt x="1118604" y="4912000"/>
                  <a:pt x="1118604" y="4913591"/>
                  <a:pt x="1118604" y="4915182"/>
                </a:cubicBezTo>
                <a:cubicBezTo>
                  <a:pt x="1112242" y="4910409"/>
                  <a:pt x="1107469" y="4904046"/>
                  <a:pt x="1099516" y="4905637"/>
                </a:cubicBezTo>
                <a:cubicBezTo>
                  <a:pt x="1097925" y="4902455"/>
                  <a:pt x="1097925" y="4899274"/>
                  <a:pt x="1096333" y="4896093"/>
                </a:cubicBezTo>
                <a:cubicBezTo>
                  <a:pt x="1097925" y="4894502"/>
                  <a:pt x="1097925" y="4892912"/>
                  <a:pt x="1099516" y="4891321"/>
                </a:cubicBezTo>
                <a:cubicBezTo>
                  <a:pt x="1101105" y="4889730"/>
                  <a:pt x="1104287" y="4888139"/>
                  <a:pt x="1104287" y="4884958"/>
                </a:cubicBezTo>
                <a:cubicBezTo>
                  <a:pt x="1104287" y="4883367"/>
                  <a:pt x="1101105" y="4884958"/>
                  <a:pt x="1101105" y="4883367"/>
                </a:cubicBezTo>
                <a:cubicBezTo>
                  <a:pt x="1101105" y="4880185"/>
                  <a:pt x="1102697" y="4878593"/>
                  <a:pt x="1102697" y="4875412"/>
                </a:cubicBezTo>
                <a:close/>
                <a:moveTo>
                  <a:pt x="1309492" y="4872231"/>
                </a:moveTo>
                <a:cubicBezTo>
                  <a:pt x="1309492" y="4872231"/>
                  <a:pt x="1309492" y="4873821"/>
                  <a:pt x="1309492" y="4875412"/>
                </a:cubicBezTo>
                <a:cubicBezTo>
                  <a:pt x="1303129" y="4891321"/>
                  <a:pt x="1295175" y="4908818"/>
                  <a:pt x="1288812" y="4921544"/>
                </a:cubicBezTo>
                <a:cubicBezTo>
                  <a:pt x="1288812" y="4908818"/>
                  <a:pt x="1285631" y="4896093"/>
                  <a:pt x="1284040" y="4883367"/>
                </a:cubicBezTo>
                <a:cubicBezTo>
                  <a:pt x="1293585" y="4880185"/>
                  <a:pt x="1303129" y="4878594"/>
                  <a:pt x="1309492" y="4872231"/>
                </a:cubicBezTo>
                <a:close/>
                <a:moveTo>
                  <a:pt x="1696041" y="4870640"/>
                </a:moveTo>
                <a:cubicBezTo>
                  <a:pt x="1696041" y="4870640"/>
                  <a:pt x="1697631" y="4870640"/>
                  <a:pt x="1697631" y="4870640"/>
                </a:cubicBezTo>
                <a:cubicBezTo>
                  <a:pt x="1699222" y="4872231"/>
                  <a:pt x="1699222" y="4873822"/>
                  <a:pt x="1699222" y="4875413"/>
                </a:cubicBezTo>
                <a:cubicBezTo>
                  <a:pt x="1702404" y="4873822"/>
                  <a:pt x="1702404" y="4875413"/>
                  <a:pt x="1703994" y="4877004"/>
                </a:cubicBezTo>
                <a:cubicBezTo>
                  <a:pt x="1700813" y="4878594"/>
                  <a:pt x="1699222" y="4875413"/>
                  <a:pt x="1699222" y="4878594"/>
                </a:cubicBezTo>
                <a:cubicBezTo>
                  <a:pt x="1699222" y="4880185"/>
                  <a:pt x="1700813" y="4881776"/>
                  <a:pt x="1702404" y="4881776"/>
                </a:cubicBezTo>
                <a:cubicBezTo>
                  <a:pt x="1699222" y="4883367"/>
                  <a:pt x="1696041" y="4883367"/>
                  <a:pt x="1692859" y="4883367"/>
                </a:cubicBezTo>
                <a:cubicBezTo>
                  <a:pt x="1692859" y="4881776"/>
                  <a:pt x="1692859" y="4881776"/>
                  <a:pt x="1692859" y="4881776"/>
                </a:cubicBezTo>
                <a:cubicBezTo>
                  <a:pt x="1692859" y="4878594"/>
                  <a:pt x="1694450" y="4873822"/>
                  <a:pt x="1696041" y="4870640"/>
                </a:cubicBezTo>
                <a:close/>
                <a:moveTo>
                  <a:pt x="1201322" y="4867459"/>
                </a:moveTo>
                <a:cubicBezTo>
                  <a:pt x="1206094" y="4870640"/>
                  <a:pt x="1204504" y="4878594"/>
                  <a:pt x="1212458" y="4878594"/>
                </a:cubicBezTo>
                <a:cubicBezTo>
                  <a:pt x="1212458" y="4880185"/>
                  <a:pt x="1215639" y="4881776"/>
                  <a:pt x="1214048" y="4883367"/>
                </a:cubicBezTo>
                <a:cubicBezTo>
                  <a:pt x="1212458" y="4883367"/>
                  <a:pt x="1210867" y="4881776"/>
                  <a:pt x="1209275" y="4881776"/>
                </a:cubicBezTo>
                <a:cubicBezTo>
                  <a:pt x="1209275" y="4881776"/>
                  <a:pt x="1210867" y="4884958"/>
                  <a:pt x="1209275" y="4884958"/>
                </a:cubicBezTo>
                <a:cubicBezTo>
                  <a:pt x="1207685" y="4880185"/>
                  <a:pt x="1201322" y="4873822"/>
                  <a:pt x="1201322" y="4867459"/>
                </a:cubicBezTo>
                <a:close/>
                <a:moveTo>
                  <a:pt x="1657863" y="4865869"/>
                </a:moveTo>
                <a:cubicBezTo>
                  <a:pt x="1659454" y="4865869"/>
                  <a:pt x="1661044" y="4865869"/>
                  <a:pt x="1662635" y="4865869"/>
                </a:cubicBezTo>
                <a:cubicBezTo>
                  <a:pt x="1662635" y="4869050"/>
                  <a:pt x="1662635" y="4872231"/>
                  <a:pt x="1664226" y="4873822"/>
                </a:cubicBezTo>
                <a:cubicBezTo>
                  <a:pt x="1662635" y="4875413"/>
                  <a:pt x="1661044" y="4875413"/>
                  <a:pt x="1659454" y="4875413"/>
                </a:cubicBezTo>
                <a:cubicBezTo>
                  <a:pt x="1657863" y="4872231"/>
                  <a:pt x="1657863" y="4869050"/>
                  <a:pt x="1657863" y="4865869"/>
                </a:cubicBezTo>
                <a:close/>
                <a:moveTo>
                  <a:pt x="1089970" y="4865869"/>
                </a:moveTo>
                <a:cubicBezTo>
                  <a:pt x="1091562" y="4867459"/>
                  <a:pt x="1094742" y="4869050"/>
                  <a:pt x="1099516" y="4869050"/>
                </a:cubicBezTo>
                <a:cubicBezTo>
                  <a:pt x="1099516" y="4870640"/>
                  <a:pt x="1099516" y="4872231"/>
                  <a:pt x="1099516" y="4873822"/>
                </a:cubicBezTo>
                <a:cubicBezTo>
                  <a:pt x="1097925" y="4877004"/>
                  <a:pt x="1097925" y="4881776"/>
                  <a:pt x="1096333" y="4884958"/>
                </a:cubicBezTo>
                <a:cubicBezTo>
                  <a:pt x="1094742" y="4881776"/>
                  <a:pt x="1094742" y="4878594"/>
                  <a:pt x="1093152" y="4873822"/>
                </a:cubicBezTo>
                <a:cubicBezTo>
                  <a:pt x="1091562" y="4872231"/>
                  <a:pt x="1091562" y="4869050"/>
                  <a:pt x="1089970" y="4865869"/>
                </a:cubicBezTo>
                <a:close/>
                <a:moveTo>
                  <a:pt x="1150418" y="4865868"/>
                </a:moveTo>
                <a:cubicBezTo>
                  <a:pt x="1152009" y="4873822"/>
                  <a:pt x="1155191" y="4880185"/>
                  <a:pt x="1158372" y="4886548"/>
                </a:cubicBezTo>
                <a:cubicBezTo>
                  <a:pt x="1158372" y="4888139"/>
                  <a:pt x="1156781" y="4888139"/>
                  <a:pt x="1156781" y="4891321"/>
                </a:cubicBezTo>
                <a:cubicBezTo>
                  <a:pt x="1159964" y="4896093"/>
                  <a:pt x="1161554" y="4900864"/>
                  <a:pt x="1166327" y="4907228"/>
                </a:cubicBezTo>
                <a:cubicBezTo>
                  <a:pt x="1164736" y="4908818"/>
                  <a:pt x="1163145" y="4912000"/>
                  <a:pt x="1159964" y="4913591"/>
                </a:cubicBezTo>
                <a:cubicBezTo>
                  <a:pt x="1153600" y="4907228"/>
                  <a:pt x="1148828" y="4902455"/>
                  <a:pt x="1142465" y="4899274"/>
                </a:cubicBezTo>
                <a:cubicBezTo>
                  <a:pt x="1142465" y="4886548"/>
                  <a:pt x="1145646" y="4877004"/>
                  <a:pt x="1150418" y="4865868"/>
                </a:cubicBezTo>
                <a:close/>
                <a:moveTo>
                  <a:pt x="1653091" y="4864278"/>
                </a:moveTo>
                <a:cubicBezTo>
                  <a:pt x="1654682" y="4867459"/>
                  <a:pt x="1654682" y="4872231"/>
                  <a:pt x="1654682" y="4875413"/>
                </a:cubicBezTo>
                <a:cubicBezTo>
                  <a:pt x="1638774" y="4878594"/>
                  <a:pt x="1626047" y="4886548"/>
                  <a:pt x="1608550" y="4886548"/>
                </a:cubicBezTo>
                <a:cubicBezTo>
                  <a:pt x="1608550" y="4881776"/>
                  <a:pt x="1606959" y="4877004"/>
                  <a:pt x="1606959" y="4872231"/>
                </a:cubicBezTo>
                <a:cubicBezTo>
                  <a:pt x="1621275" y="4867459"/>
                  <a:pt x="1635592" y="4864278"/>
                  <a:pt x="1653091" y="4864278"/>
                </a:cubicBezTo>
                <a:close/>
                <a:moveTo>
                  <a:pt x="1222002" y="4864278"/>
                </a:moveTo>
                <a:cubicBezTo>
                  <a:pt x="1223593" y="4865869"/>
                  <a:pt x="1225184" y="4867459"/>
                  <a:pt x="1226775" y="4869050"/>
                </a:cubicBezTo>
                <a:cubicBezTo>
                  <a:pt x="1225184" y="4869050"/>
                  <a:pt x="1225184" y="4870640"/>
                  <a:pt x="1223593" y="4870640"/>
                </a:cubicBezTo>
                <a:cubicBezTo>
                  <a:pt x="1222002" y="4869050"/>
                  <a:pt x="1220411" y="4864278"/>
                  <a:pt x="1222002" y="4864278"/>
                </a:cubicBezTo>
                <a:close/>
                <a:moveTo>
                  <a:pt x="1705585" y="4859507"/>
                </a:moveTo>
                <a:cubicBezTo>
                  <a:pt x="1705585" y="4861097"/>
                  <a:pt x="1705585" y="4861097"/>
                  <a:pt x="1705585" y="4862688"/>
                </a:cubicBezTo>
                <a:cubicBezTo>
                  <a:pt x="1703994" y="4862688"/>
                  <a:pt x="1703994" y="4862688"/>
                  <a:pt x="1703994" y="4862688"/>
                </a:cubicBezTo>
                <a:cubicBezTo>
                  <a:pt x="1703994" y="4861097"/>
                  <a:pt x="1705585" y="4861097"/>
                  <a:pt x="1705585" y="4859507"/>
                </a:cubicBezTo>
                <a:close/>
                <a:moveTo>
                  <a:pt x="1653090" y="4838826"/>
                </a:moveTo>
                <a:cubicBezTo>
                  <a:pt x="1653090" y="4842008"/>
                  <a:pt x="1653090" y="4845190"/>
                  <a:pt x="1653090" y="4848371"/>
                </a:cubicBezTo>
                <a:cubicBezTo>
                  <a:pt x="1648318" y="4846780"/>
                  <a:pt x="1645136" y="4846780"/>
                  <a:pt x="1641955" y="4845190"/>
                </a:cubicBezTo>
                <a:cubicBezTo>
                  <a:pt x="1645136" y="4843599"/>
                  <a:pt x="1649909" y="4840417"/>
                  <a:pt x="1653090" y="4838826"/>
                </a:cubicBezTo>
                <a:close/>
                <a:moveTo>
                  <a:pt x="1161555" y="4835644"/>
                </a:moveTo>
                <a:cubicBezTo>
                  <a:pt x="1166326" y="4840416"/>
                  <a:pt x="1169509" y="4845188"/>
                  <a:pt x="1171099" y="4849960"/>
                </a:cubicBezTo>
                <a:cubicBezTo>
                  <a:pt x="1169509" y="4849960"/>
                  <a:pt x="1169509" y="4849960"/>
                  <a:pt x="1169509" y="4849960"/>
                </a:cubicBezTo>
                <a:cubicBezTo>
                  <a:pt x="1169509" y="4853142"/>
                  <a:pt x="1164735" y="4851551"/>
                  <a:pt x="1164735" y="4854732"/>
                </a:cubicBezTo>
                <a:cubicBezTo>
                  <a:pt x="1164735" y="4859505"/>
                  <a:pt x="1172690" y="4861096"/>
                  <a:pt x="1174280" y="4864277"/>
                </a:cubicBezTo>
                <a:cubicBezTo>
                  <a:pt x="1172690" y="4864277"/>
                  <a:pt x="1171099" y="4862686"/>
                  <a:pt x="1169509" y="4864277"/>
                </a:cubicBezTo>
                <a:cubicBezTo>
                  <a:pt x="1167918" y="4865868"/>
                  <a:pt x="1174280" y="4867459"/>
                  <a:pt x="1171099" y="4867459"/>
                </a:cubicBezTo>
                <a:cubicBezTo>
                  <a:pt x="1167918" y="4867459"/>
                  <a:pt x="1166326" y="4867459"/>
                  <a:pt x="1164735" y="4869050"/>
                </a:cubicBezTo>
                <a:cubicBezTo>
                  <a:pt x="1167918" y="4870640"/>
                  <a:pt x="1172690" y="4872231"/>
                  <a:pt x="1175871" y="4872231"/>
                </a:cubicBezTo>
                <a:cubicBezTo>
                  <a:pt x="1175871" y="4881775"/>
                  <a:pt x="1174280" y="4891319"/>
                  <a:pt x="1169509" y="4899273"/>
                </a:cubicBezTo>
                <a:cubicBezTo>
                  <a:pt x="1164735" y="4889729"/>
                  <a:pt x="1161555" y="4878593"/>
                  <a:pt x="1156781" y="4869050"/>
                </a:cubicBezTo>
                <a:cubicBezTo>
                  <a:pt x="1155192" y="4865868"/>
                  <a:pt x="1153600" y="4861096"/>
                  <a:pt x="1152009" y="4857914"/>
                </a:cubicBezTo>
                <a:cubicBezTo>
                  <a:pt x="1155192" y="4849960"/>
                  <a:pt x="1158372" y="4842007"/>
                  <a:pt x="1161555" y="4835644"/>
                </a:cubicBezTo>
                <a:close/>
                <a:moveTo>
                  <a:pt x="1147238" y="4834055"/>
                </a:moveTo>
                <a:cubicBezTo>
                  <a:pt x="1147238" y="4834055"/>
                  <a:pt x="1147238" y="4835645"/>
                  <a:pt x="1145647" y="4837236"/>
                </a:cubicBezTo>
                <a:cubicBezTo>
                  <a:pt x="1145647" y="4837236"/>
                  <a:pt x="1145647" y="4835645"/>
                  <a:pt x="1145647" y="4835645"/>
                </a:cubicBezTo>
                <a:cubicBezTo>
                  <a:pt x="1145647" y="4834055"/>
                  <a:pt x="1147238" y="4834055"/>
                  <a:pt x="1147238" y="4834055"/>
                </a:cubicBezTo>
                <a:close/>
                <a:moveTo>
                  <a:pt x="1595824" y="4830872"/>
                </a:moveTo>
                <a:cubicBezTo>
                  <a:pt x="1597415" y="4838826"/>
                  <a:pt x="1597415" y="4845189"/>
                  <a:pt x="1597415" y="4849962"/>
                </a:cubicBezTo>
                <a:cubicBezTo>
                  <a:pt x="1594233" y="4853143"/>
                  <a:pt x="1591052" y="4854734"/>
                  <a:pt x="1587871" y="4856325"/>
                </a:cubicBezTo>
                <a:cubicBezTo>
                  <a:pt x="1589461" y="4846780"/>
                  <a:pt x="1591052" y="4837236"/>
                  <a:pt x="1595824" y="4830872"/>
                </a:cubicBezTo>
                <a:close/>
                <a:moveTo>
                  <a:pt x="1193369" y="4829282"/>
                </a:moveTo>
                <a:cubicBezTo>
                  <a:pt x="1196551" y="4830872"/>
                  <a:pt x="1199732" y="4832463"/>
                  <a:pt x="1199732" y="4837236"/>
                </a:cubicBezTo>
                <a:cubicBezTo>
                  <a:pt x="1198142" y="4837236"/>
                  <a:pt x="1198142" y="4835645"/>
                  <a:pt x="1196551" y="4835645"/>
                </a:cubicBezTo>
                <a:cubicBezTo>
                  <a:pt x="1196551" y="4837236"/>
                  <a:pt x="1196551" y="4838826"/>
                  <a:pt x="1194960" y="4842007"/>
                </a:cubicBezTo>
                <a:cubicBezTo>
                  <a:pt x="1194960" y="4840417"/>
                  <a:pt x="1193369" y="4840417"/>
                  <a:pt x="1191778" y="4840417"/>
                </a:cubicBezTo>
                <a:cubicBezTo>
                  <a:pt x="1191778" y="4837236"/>
                  <a:pt x="1191778" y="4832463"/>
                  <a:pt x="1193369" y="4829282"/>
                </a:cubicBezTo>
                <a:close/>
                <a:moveTo>
                  <a:pt x="1562418" y="4826100"/>
                </a:moveTo>
                <a:cubicBezTo>
                  <a:pt x="1560828" y="4830872"/>
                  <a:pt x="1559237" y="4834054"/>
                  <a:pt x="1557647" y="4837236"/>
                </a:cubicBezTo>
                <a:cubicBezTo>
                  <a:pt x="1556056" y="4854733"/>
                  <a:pt x="1552874" y="4870640"/>
                  <a:pt x="1551283" y="4886548"/>
                </a:cubicBezTo>
                <a:cubicBezTo>
                  <a:pt x="1540148" y="4897683"/>
                  <a:pt x="1530604" y="4908818"/>
                  <a:pt x="1516287" y="4918362"/>
                </a:cubicBezTo>
                <a:cubicBezTo>
                  <a:pt x="1513106" y="4897683"/>
                  <a:pt x="1530604" y="4896092"/>
                  <a:pt x="1530604" y="4880185"/>
                </a:cubicBezTo>
                <a:cubicBezTo>
                  <a:pt x="1516287" y="4884957"/>
                  <a:pt x="1509924" y="4896092"/>
                  <a:pt x="1505152" y="4910408"/>
                </a:cubicBezTo>
                <a:cubicBezTo>
                  <a:pt x="1501971" y="4907227"/>
                  <a:pt x="1498790" y="4904045"/>
                  <a:pt x="1495608" y="4902455"/>
                </a:cubicBezTo>
                <a:cubicBezTo>
                  <a:pt x="1506743" y="4889729"/>
                  <a:pt x="1517878" y="4877003"/>
                  <a:pt x="1530604" y="4864278"/>
                </a:cubicBezTo>
                <a:cubicBezTo>
                  <a:pt x="1543330" y="4851552"/>
                  <a:pt x="1552874" y="4838826"/>
                  <a:pt x="1562418" y="4826100"/>
                </a:cubicBezTo>
                <a:close/>
                <a:moveTo>
                  <a:pt x="1175871" y="4826100"/>
                </a:moveTo>
                <a:cubicBezTo>
                  <a:pt x="1177461" y="4824509"/>
                  <a:pt x="1180642" y="4826100"/>
                  <a:pt x="1183825" y="4827691"/>
                </a:cubicBezTo>
                <a:cubicBezTo>
                  <a:pt x="1183825" y="4830872"/>
                  <a:pt x="1183825" y="4834054"/>
                  <a:pt x="1183825" y="4838826"/>
                </a:cubicBezTo>
                <a:cubicBezTo>
                  <a:pt x="1180642" y="4835645"/>
                  <a:pt x="1179052" y="4830872"/>
                  <a:pt x="1175871" y="4826100"/>
                </a:cubicBezTo>
                <a:close/>
                <a:moveTo>
                  <a:pt x="1166326" y="4824509"/>
                </a:moveTo>
                <a:cubicBezTo>
                  <a:pt x="1171099" y="4827692"/>
                  <a:pt x="1172689" y="4832464"/>
                  <a:pt x="1177461" y="4838826"/>
                </a:cubicBezTo>
                <a:cubicBezTo>
                  <a:pt x="1180643" y="4842008"/>
                  <a:pt x="1182234" y="4845190"/>
                  <a:pt x="1183825" y="4848371"/>
                </a:cubicBezTo>
                <a:cubicBezTo>
                  <a:pt x="1183825" y="4849962"/>
                  <a:pt x="1183825" y="4851553"/>
                  <a:pt x="1183825" y="4853143"/>
                </a:cubicBezTo>
                <a:cubicBezTo>
                  <a:pt x="1182234" y="4851553"/>
                  <a:pt x="1180643" y="4849962"/>
                  <a:pt x="1179052" y="4851553"/>
                </a:cubicBezTo>
                <a:cubicBezTo>
                  <a:pt x="1179052" y="4853143"/>
                  <a:pt x="1180643" y="4854734"/>
                  <a:pt x="1182234" y="4856325"/>
                </a:cubicBezTo>
                <a:cubicBezTo>
                  <a:pt x="1180643" y="4856325"/>
                  <a:pt x="1180643" y="4854734"/>
                  <a:pt x="1179052" y="4854734"/>
                </a:cubicBezTo>
                <a:cubicBezTo>
                  <a:pt x="1175871" y="4845190"/>
                  <a:pt x="1172689" y="4834055"/>
                  <a:pt x="1163145" y="4829283"/>
                </a:cubicBezTo>
                <a:cubicBezTo>
                  <a:pt x="1163145" y="4832464"/>
                  <a:pt x="1161554" y="4834055"/>
                  <a:pt x="1159963" y="4834055"/>
                </a:cubicBezTo>
                <a:cubicBezTo>
                  <a:pt x="1159963" y="4832464"/>
                  <a:pt x="1159963" y="4829283"/>
                  <a:pt x="1159963" y="4827692"/>
                </a:cubicBezTo>
                <a:cubicBezTo>
                  <a:pt x="1161554" y="4826101"/>
                  <a:pt x="1164735" y="4824509"/>
                  <a:pt x="1166326" y="4824509"/>
                </a:cubicBezTo>
                <a:close/>
                <a:moveTo>
                  <a:pt x="1212458" y="4821328"/>
                </a:moveTo>
                <a:cubicBezTo>
                  <a:pt x="1214049" y="4822918"/>
                  <a:pt x="1215639" y="4826100"/>
                  <a:pt x="1217230" y="4829282"/>
                </a:cubicBezTo>
                <a:cubicBezTo>
                  <a:pt x="1215639" y="4829282"/>
                  <a:pt x="1214049" y="4829282"/>
                  <a:pt x="1212458" y="4829282"/>
                </a:cubicBezTo>
                <a:cubicBezTo>
                  <a:pt x="1212458" y="4827691"/>
                  <a:pt x="1212458" y="4824509"/>
                  <a:pt x="1212458" y="4821328"/>
                </a:cubicBezTo>
                <a:close/>
                <a:moveTo>
                  <a:pt x="1163146" y="4811784"/>
                </a:moveTo>
                <a:cubicBezTo>
                  <a:pt x="1163146" y="4813375"/>
                  <a:pt x="1164737" y="4814965"/>
                  <a:pt x="1164737" y="4816556"/>
                </a:cubicBezTo>
                <a:cubicBezTo>
                  <a:pt x="1163146" y="4816556"/>
                  <a:pt x="1163146" y="4816556"/>
                  <a:pt x="1161555" y="4814965"/>
                </a:cubicBezTo>
                <a:cubicBezTo>
                  <a:pt x="1161555" y="4814965"/>
                  <a:pt x="1163146" y="4813375"/>
                  <a:pt x="1163146" y="4811784"/>
                </a:cubicBezTo>
                <a:close/>
                <a:moveTo>
                  <a:pt x="1167918" y="4810193"/>
                </a:moveTo>
                <a:cubicBezTo>
                  <a:pt x="1169509" y="4810193"/>
                  <a:pt x="1171099" y="4810193"/>
                  <a:pt x="1172689" y="4810193"/>
                </a:cubicBezTo>
                <a:cubicBezTo>
                  <a:pt x="1179052" y="4805421"/>
                  <a:pt x="1183825" y="4813374"/>
                  <a:pt x="1185415" y="4819737"/>
                </a:cubicBezTo>
                <a:cubicBezTo>
                  <a:pt x="1185415" y="4819737"/>
                  <a:pt x="1183825" y="4819737"/>
                  <a:pt x="1180643" y="4819737"/>
                </a:cubicBezTo>
                <a:cubicBezTo>
                  <a:pt x="1179052" y="4821328"/>
                  <a:pt x="1180643" y="4822918"/>
                  <a:pt x="1179052" y="4822918"/>
                </a:cubicBezTo>
                <a:cubicBezTo>
                  <a:pt x="1179052" y="4822918"/>
                  <a:pt x="1179052" y="4821328"/>
                  <a:pt x="1177462" y="4821328"/>
                </a:cubicBezTo>
                <a:cubicBezTo>
                  <a:pt x="1177462" y="4818146"/>
                  <a:pt x="1179052" y="4819737"/>
                  <a:pt x="1179052" y="4816555"/>
                </a:cubicBezTo>
                <a:cubicBezTo>
                  <a:pt x="1177462" y="4816555"/>
                  <a:pt x="1177462" y="4816555"/>
                  <a:pt x="1177462" y="4816555"/>
                </a:cubicBezTo>
                <a:cubicBezTo>
                  <a:pt x="1174280" y="4816555"/>
                  <a:pt x="1172689" y="4818146"/>
                  <a:pt x="1169509" y="4818146"/>
                </a:cubicBezTo>
                <a:cubicBezTo>
                  <a:pt x="1169509" y="4814964"/>
                  <a:pt x="1166326" y="4811783"/>
                  <a:pt x="1167918" y="4810193"/>
                </a:cubicBezTo>
                <a:close/>
                <a:moveTo>
                  <a:pt x="1113832" y="4808602"/>
                </a:moveTo>
                <a:cubicBezTo>
                  <a:pt x="1115423" y="4808602"/>
                  <a:pt x="1117013" y="4810193"/>
                  <a:pt x="1118604" y="4810193"/>
                </a:cubicBezTo>
                <a:cubicBezTo>
                  <a:pt x="1120195" y="4811783"/>
                  <a:pt x="1120195" y="4813374"/>
                  <a:pt x="1121786" y="4814964"/>
                </a:cubicBezTo>
                <a:cubicBezTo>
                  <a:pt x="1120195" y="4818146"/>
                  <a:pt x="1118604" y="4821328"/>
                  <a:pt x="1120195" y="4824509"/>
                </a:cubicBezTo>
                <a:cubicBezTo>
                  <a:pt x="1121786" y="4826100"/>
                  <a:pt x="1124967" y="4826100"/>
                  <a:pt x="1126558" y="4826100"/>
                </a:cubicBezTo>
                <a:cubicBezTo>
                  <a:pt x="1126558" y="4829282"/>
                  <a:pt x="1128149" y="4832463"/>
                  <a:pt x="1126558" y="4837235"/>
                </a:cubicBezTo>
                <a:cubicBezTo>
                  <a:pt x="1129740" y="4842007"/>
                  <a:pt x="1134512" y="4845188"/>
                  <a:pt x="1139285" y="4848370"/>
                </a:cubicBezTo>
                <a:cubicBezTo>
                  <a:pt x="1139285" y="4848370"/>
                  <a:pt x="1139285" y="4849961"/>
                  <a:pt x="1139285" y="4849961"/>
                </a:cubicBezTo>
                <a:cubicBezTo>
                  <a:pt x="1140875" y="4851551"/>
                  <a:pt x="1142466" y="4851551"/>
                  <a:pt x="1144056" y="4853142"/>
                </a:cubicBezTo>
                <a:cubicBezTo>
                  <a:pt x="1139285" y="4864277"/>
                  <a:pt x="1136103" y="4875412"/>
                  <a:pt x="1128149" y="4881775"/>
                </a:cubicBezTo>
                <a:cubicBezTo>
                  <a:pt x="1117013" y="4873821"/>
                  <a:pt x="1112241" y="4857914"/>
                  <a:pt x="1107469" y="4843597"/>
                </a:cubicBezTo>
                <a:cubicBezTo>
                  <a:pt x="1109060" y="4837235"/>
                  <a:pt x="1110650" y="4832463"/>
                  <a:pt x="1112241" y="4826100"/>
                </a:cubicBezTo>
                <a:cubicBezTo>
                  <a:pt x="1110650" y="4821328"/>
                  <a:pt x="1110650" y="4811783"/>
                  <a:pt x="1113832" y="4808602"/>
                </a:cubicBezTo>
                <a:close/>
                <a:moveTo>
                  <a:pt x="1581509" y="4807011"/>
                </a:moveTo>
                <a:cubicBezTo>
                  <a:pt x="1584690" y="4808602"/>
                  <a:pt x="1586280" y="4807011"/>
                  <a:pt x="1587871" y="4807011"/>
                </a:cubicBezTo>
                <a:cubicBezTo>
                  <a:pt x="1587871" y="4811783"/>
                  <a:pt x="1587871" y="4818146"/>
                  <a:pt x="1589461" y="4822918"/>
                </a:cubicBezTo>
                <a:cubicBezTo>
                  <a:pt x="1576735" y="4834054"/>
                  <a:pt x="1576735" y="4856323"/>
                  <a:pt x="1568781" y="4872231"/>
                </a:cubicBezTo>
                <a:cubicBezTo>
                  <a:pt x="1564009" y="4875412"/>
                  <a:pt x="1560828" y="4878593"/>
                  <a:pt x="1554465" y="4880184"/>
                </a:cubicBezTo>
                <a:cubicBezTo>
                  <a:pt x="1554465" y="4872231"/>
                  <a:pt x="1556056" y="4865868"/>
                  <a:pt x="1559237" y="4861096"/>
                </a:cubicBezTo>
                <a:cubicBezTo>
                  <a:pt x="1559237" y="4859505"/>
                  <a:pt x="1557646" y="4859505"/>
                  <a:pt x="1557646" y="4857914"/>
                </a:cubicBezTo>
                <a:cubicBezTo>
                  <a:pt x="1557646" y="4851551"/>
                  <a:pt x="1560828" y="4843597"/>
                  <a:pt x="1562418" y="4835644"/>
                </a:cubicBezTo>
                <a:cubicBezTo>
                  <a:pt x="1565600" y="4829281"/>
                  <a:pt x="1565600" y="4819737"/>
                  <a:pt x="1568781" y="4814964"/>
                </a:cubicBezTo>
                <a:cubicBezTo>
                  <a:pt x="1571963" y="4811783"/>
                  <a:pt x="1575144" y="4813374"/>
                  <a:pt x="1576735" y="4811783"/>
                </a:cubicBezTo>
                <a:cubicBezTo>
                  <a:pt x="1579917" y="4810193"/>
                  <a:pt x="1578327" y="4807011"/>
                  <a:pt x="1581509" y="4807011"/>
                </a:cubicBezTo>
                <a:close/>
                <a:moveTo>
                  <a:pt x="1201322" y="4805421"/>
                </a:moveTo>
                <a:cubicBezTo>
                  <a:pt x="1201322" y="4805421"/>
                  <a:pt x="1202913" y="4807012"/>
                  <a:pt x="1202913" y="4807012"/>
                </a:cubicBezTo>
                <a:cubicBezTo>
                  <a:pt x="1204504" y="4814965"/>
                  <a:pt x="1206094" y="4821329"/>
                  <a:pt x="1206094" y="4829283"/>
                </a:cubicBezTo>
                <a:cubicBezTo>
                  <a:pt x="1199731" y="4826101"/>
                  <a:pt x="1194959" y="4821329"/>
                  <a:pt x="1194959" y="4811784"/>
                </a:cubicBezTo>
                <a:cubicBezTo>
                  <a:pt x="1196551" y="4810193"/>
                  <a:pt x="1199731" y="4808602"/>
                  <a:pt x="1202913" y="4808602"/>
                </a:cubicBezTo>
                <a:cubicBezTo>
                  <a:pt x="1202913" y="4807012"/>
                  <a:pt x="1201322" y="4805421"/>
                  <a:pt x="1201322" y="4805421"/>
                </a:cubicBezTo>
                <a:close/>
                <a:moveTo>
                  <a:pt x="1196551" y="4803831"/>
                </a:moveTo>
                <a:cubicBezTo>
                  <a:pt x="1198141" y="4803831"/>
                  <a:pt x="1198141" y="4805421"/>
                  <a:pt x="1198141" y="4805421"/>
                </a:cubicBezTo>
                <a:lnTo>
                  <a:pt x="1196414" y="4803941"/>
                </a:lnTo>
                <a:close/>
                <a:moveTo>
                  <a:pt x="1093152" y="4803830"/>
                </a:moveTo>
                <a:cubicBezTo>
                  <a:pt x="1097925" y="4805421"/>
                  <a:pt x="1102698" y="4807012"/>
                  <a:pt x="1109061" y="4808602"/>
                </a:cubicBezTo>
                <a:cubicBezTo>
                  <a:pt x="1107470" y="4816556"/>
                  <a:pt x="1107470" y="4822919"/>
                  <a:pt x="1105879" y="4830873"/>
                </a:cubicBezTo>
                <a:cubicBezTo>
                  <a:pt x="1101106" y="4819738"/>
                  <a:pt x="1097925" y="4810193"/>
                  <a:pt x="1093152" y="4803830"/>
                </a:cubicBezTo>
                <a:close/>
                <a:moveTo>
                  <a:pt x="1166326" y="4802240"/>
                </a:moveTo>
                <a:cubicBezTo>
                  <a:pt x="1169507" y="4803831"/>
                  <a:pt x="1172689" y="4805421"/>
                  <a:pt x="1175870" y="4807012"/>
                </a:cubicBezTo>
                <a:cubicBezTo>
                  <a:pt x="1172689" y="4805421"/>
                  <a:pt x="1171098" y="4807012"/>
                  <a:pt x="1167917" y="4808602"/>
                </a:cubicBezTo>
                <a:cubicBezTo>
                  <a:pt x="1167917" y="4807012"/>
                  <a:pt x="1167917" y="4805421"/>
                  <a:pt x="1164735" y="4803831"/>
                </a:cubicBezTo>
                <a:cubicBezTo>
                  <a:pt x="1166326" y="4803831"/>
                  <a:pt x="1166326" y="4802240"/>
                  <a:pt x="1166326" y="4802240"/>
                </a:cubicBezTo>
                <a:close/>
                <a:moveTo>
                  <a:pt x="1638775" y="4802239"/>
                </a:moveTo>
                <a:cubicBezTo>
                  <a:pt x="1640366" y="4802239"/>
                  <a:pt x="1640366" y="4802239"/>
                  <a:pt x="1640366" y="4802239"/>
                </a:cubicBezTo>
                <a:cubicBezTo>
                  <a:pt x="1638775" y="4802239"/>
                  <a:pt x="1640366" y="4803830"/>
                  <a:pt x="1640366" y="4803830"/>
                </a:cubicBezTo>
                <a:cubicBezTo>
                  <a:pt x="1641956" y="4803830"/>
                  <a:pt x="1641956" y="4803830"/>
                  <a:pt x="1641956" y="4803830"/>
                </a:cubicBezTo>
                <a:cubicBezTo>
                  <a:pt x="1635593" y="4811784"/>
                  <a:pt x="1629229" y="4819738"/>
                  <a:pt x="1632412" y="4829283"/>
                </a:cubicBezTo>
                <a:cubicBezTo>
                  <a:pt x="1624457" y="4835645"/>
                  <a:pt x="1614913" y="4840417"/>
                  <a:pt x="1606959" y="4845189"/>
                </a:cubicBezTo>
                <a:cubicBezTo>
                  <a:pt x="1606959" y="4838826"/>
                  <a:pt x="1606959" y="4832464"/>
                  <a:pt x="1606959" y="4827692"/>
                </a:cubicBezTo>
                <a:cubicBezTo>
                  <a:pt x="1619685" y="4821329"/>
                  <a:pt x="1627639" y="4810193"/>
                  <a:pt x="1638775" y="4802239"/>
                </a:cubicBezTo>
                <a:close/>
                <a:moveTo>
                  <a:pt x="1599006" y="4800649"/>
                </a:moveTo>
                <a:cubicBezTo>
                  <a:pt x="1600597" y="4800649"/>
                  <a:pt x="1602189" y="4800649"/>
                  <a:pt x="1603778" y="4800649"/>
                </a:cubicBezTo>
                <a:cubicBezTo>
                  <a:pt x="1603778" y="4802240"/>
                  <a:pt x="1602189" y="4800649"/>
                  <a:pt x="1602189" y="4802240"/>
                </a:cubicBezTo>
                <a:cubicBezTo>
                  <a:pt x="1600597" y="4802240"/>
                  <a:pt x="1599006" y="4802240"/>
                  <a:pt x="1599006" y="4800649"/>
                </a:cubicBezTo>
                <a:close/>
                <a:moveTo>
                  <a:pt x="1649909" y="4792695"/>
                </a:moveTo>
                <a:cubicBezTo>
                  <a:pt x="1648319" y="4795877"/>
                  <a:pt x="1646728" y="4797468"/>
                  <a:pt x="1645137" y="4799058"/>
                </a:cubicBezTo>
                <a:cubicBezTo>
                  <a:pt x="1645137" y="4797468"/>
                  <a:pt x="1645137" y="4797468"/>
                  <a:pt x="1645137" y="4795877"/>
                </a:cubicBezTo>
                <a:cubicBezTo>
                  <a:pt x="1646728" y="4794286"/>
                  <a:pt x="1649909" y="4794286"/>
                  <a:pt x="1649909" y="4792695"/>
                </a:cubicBezTo>
                <a:close/>
                <a:moveTo>
                  <a:pt x="1640366" y="4789514"/>
                </a:moveTo>
                <a:cubicBezTo>
                  <a:pt x="1641957" y="4789514"/>
                  <a:pt x="1641957" y="4791104"/>
                  <a:pt x="1641957" y="4792695"/>
                </a:cubicBezTo>
                <a:cubicBezTo>
                  <a:pt x="1640366" y="4792695"/>
                  <a:pt x="1640366" y="4791104"/>
                  <a:pt x="1638775" y="4794286"/>
                </a:cubicBezTo>
                <a:cubicBezTo>
                  <a:pt x="1638775" y="4794286"/>
                  <a:pt x="1638775" y="4792695"/>
                  <a:pt x="1638775" y="4792695"/>
                </a:cubicBezTo>
                <a:cubicBezTo>
                  <a:pt x="1638775" y="4791104"/>
                  <a:pt x="1640366" y="4791104"/>
                  <a:pt x="1640366" y="4789514"/>
                </a:cubicBezTo>
                <a:close/>
                <a:moveTo>
                  <a:pt x="1301538" y="4789513"/>
                </a:moveTo>
                <a:cubicBezTo>
                  <a:pt x="1304719" y="4792694"/>
                  <a:pt x="1309492" y="4794286"/>
                  <a:pt x="1311083" y="4797468"/>
                </a:cubicBezTo>
                <a:cubicBezTo>
                  <a:pt x="1317447" y="4805421"/>
                  <a:pt x="1319037" y="4822919"/>
                  <a:pt x="1317447" y="4837236"/>
                </a:cubicBezTo>
                <a:cubicBezTo>
                  <a:pt x="1311083" y="4824510"/>
                  <a:pt x="1306310" y="4810193"/>
                  <a:pt x="1304719" y="4794286"/>
                </a:cubicBezTo>
                <a:lnTo>
                  <a:pt x="1303129" y="4794286"/>
                </a:lnTo>
                <a:cubicBezTo>
                  <a:pt x="1303129" y="4792694"/>
                  <a:pt x="1301538" y="4791103"/>
                  <a:pt x="1301538" y="4789513"/>
                </a:cubicBezTo>
                <a:close/>
                <a:moveTo>
                  <a:pt x="1147238" y="4786332"/>
                </a:moveTo>
                <a:cubicBezTo>
                  <a:pt x="1148829" y="4791104"/>
                  <a:pt x="1150419" y="4794286"/>
                  <a:pt x="1150419" y="4797468"/>
                </a:cubicBezTo>
                <a:cubicBezTo>
                  <a:pt x="1150419" y="4797468"/>
                  <a:pt x="1150419" y="4797468"/>
                  <a:pt x="1148829" y="4797468"/>
                </a:cubicBezTo>
                <a:cubicBezTo>
                  <a:pt x="1147238" y="4795877"/>
                  <a:pt x="1147238" y="4794286"/>
                  <a:pt x="1144056" y="4794286"/>
                </a:cubicBezTo>
                <a:cubicBezTo>
                  <a:pt x="1142465" y="4795877"/>
                  <a:pt x="1142465" y="4797468"/>
                  <a:pt x="1142465" y="4799058"/>
                </a:cubicBezTo>
                <a:cubicBezTo>
                  <a:pt x="1140875" y="4799058"/>
                  <a:pt x="1140875" y="4799058"/>
                  <a:pt x="1139284" y="4799058"/>
                </a:cubicBezTo>
                <a:cubicBezTo>
                  <a:pt x="1142465" y="4794286"/>
                  <a:pt x="1142465" y="4787923"/>
                  <a:pt x="1147238" y="4786332"/>
                </a:cubicBezTo>
                <a:close/>
                <a:moveTo>
                  <a:pt x="1175870" y="4786331"/>
                </a:moveTo>
                <a:lnTo>
                  <a:pt x="1196414" y="4803941"/>
                </a:lnTo>
                <a:lnTo>
                  <a:pt x="1194363" y="4805620"/>
                </a:lnTo>
                <a:cubicBezTo>
                  <a:pt x="1194164" y="4806614"/>
                  <a:pt x="1194164" y="4807807"/>
                  <a:pt x="1193369" y="4808602"/>
                </a:cubicBezTo>
                <a:cubicBezTo>
                  <a:pt x="1192573" y="4807012"/>
                  <a:pt x="1191778" y="4807012"/>
                  <a:pt x="1190784" y="4807211"/>
                </a:cubicBezTo>
                <a:lnTo>
                  <a:pt x="1188597" y="4807095"/>
                </a:lnTo>
                <a:lnTo>
                  <a:pt x="1188597" y="4807012"/>
                </a:lnTo>
                <a:lnTo>
                  <a:pt x="1187005" y="4807012"/>
                </a:lnTo>
                <a:lnTo>
                  <a:pt x="1188597" y="4807095"/>
                </a:lnTo>
                <a:lnTo>
                  <a:pt x="1188597" y="4813375"/>
                </a:lnTo>
                <a:cubicBezTo>
                  <a:pt x="1185414" y="4808602"/>
                  <a:pt x="1180642" y="4803831"/>
                  <a:pt x="1180642" y="4797468"/>
                </a:cubicBezTo>
                <a:cubicBezTo>
                  <a:pt x="1177461" y="4795877"/>
                  <a:pt x="1177461" y="4797468"/>
                  <a:pt x="1175870" y="4797468"/>
                </a:cubicBezTo>
                <a:cubicBezTo>
                  <a:pt x="1174280" y="4795877"/>
                  <a:pt x="1172689" y="4794286"/>
                  <a:pt x="1172689" y="4792695"/>
                </a:cubicBezTo>
                <a:cubicBezTo>
                  <a:pt x="1172689" y="4791104"/>
                  <a:pt x="1174280" y="4789514"/>
                  <a:pt x="1174280" y="4787923"/>
                </a:cubicBezTo>
                <a:cubicBezTo>
                  <a:pt x="1174280" y="4786331"/>
                  <a:pt x="1175870" y="4786331"/>
                  <a:pt x="1175870" y="4786331"/>
                </a:cubicBezTo>
                <a:close/>
                <a:moveTo>
                  <a:pt x="1142466" y="4784741"/>
                </a:moveTo>
                <a:lnTo>
                  <a:pt x="1144056" y="4784741"/>
                </a:lnTo>
                <a:cubicBezTo>
                  <a:pt x="1144056" y="4784741"/>
                  <a:pt x="1142466" y="4786332"/>
                  <a:pt x="1142466" y="4787923"/>
                </a:cubicBezTo>
                <a:cubicBezTo>
                  <a:pt x="1140875" y="4786332"/>
                  <a:pt x="1142466" y="4786332"/>
                  <a:pt x="1142466" y="4784741"/>
                </a:cubicBezTo>
                <a:close/>
                <a:moveTo>
                  <a:pt x="1637184" y="4783150"/>
                </a:moveTo>
                <a:cubicBezTo>
                  <a:pt x="1638775" y="4783150"/>
                  <a:pt x="1638775" y="4783150"/>
                  <a:pt x="1638775" y="4783150"/>
                </a:cubicBezTo>
                <a:cubicBezTo>
                  <a:pt x="1638775" y="4783150"/>
                  <a:pt x="1638775" y="4784741"/>
                  <a:pt x="1638775" y="4784741"/>
                </a:cubicBezTo>
                <a:cubicBezTo>
                  <a:pt x="1638775" y="4784741"/>
                  <a:pt x="1637184" y="4786332"/>
                  <a:pt x="1637184" y="4786332"/>
                </a:cubicBezTo>
                <a:cubicBezTo>
                  <a:pt x="1637184" y="4784741"/>
                  <a:pt x="1637184" y="4784741"/>
                  <a:pt x="1637184" y="4783150"/>
                </a:cubicBezTo>
                <a:close/>
                <a:moveTo>
                  <a:pt x="1576737" y="4779969"/>
                </a:moveTo>
                <a:cubicBezTo>
                  <a:pt x="1575145" y="4781560"/>
                  <a:pt x="1573555" y="4783150"/>
                  <a:pt x="1571965" y="4784741"/>
                </a:cubicBezTo>
                <a:cubicBezTo>
                  <a:pt x="1571965" y="4783150"/>
                  <a:pt x="1571965" y="4781560"/>
                  <a:pt x="1571965" y="4781560"/>
                </a:cubicBezTo>
                <a:cubicBezTo>
                  <a:pt x="1573555" y="4779969"/>
                  <a:pt x="1575145" y="4779969"/>
                  <a:pt x="1576737" y="4779969"/>
                </a:cubicBezTo>
                <a:close/>
                <a:moveTo>
                  <a:pt x="1608551" y="4778378"/>
                </a:moveTo>
                <a:cubicBezTo>
                  <a:pt x="1610142" y="4783150"/>
                  <a:pt x="1614913" y="4789514"/>
                  <a:pt x="1610142" y="4794286"/>
                </a:cubicBezTo>
                <a:cubicBezTo>
                  <a:pt x="1608551" y="4789514"/>
                  <a:pt x="1606959" y="4783150"/>
                  <a:pt x="1608551" y="4778378"/>
                </a:cubicBezTo>
                <a:close/>
                <a:moveTo>
                  <a:pt x="1196551" y="4776788"/>
                </a:moveTo>
                <a:cubicBezTo>
                  <a:pt x="1198142" y="4779969"/>
                  <a:pt x="1198142" y="4781560"/>
                  <a:pt x="1198142" y="4783150"/>
                </a:cubicBezTo>
                <a:cubicBezTo>
                  <a:pt x="1196551" y="4781560"/>
                  <a:pt x="1193370" y="4779969"/>
                  <a:pt x="1191779" y="4778378"/>
                </a:cubicBezTo>
                <a:cubicBezTo>
                  <a:pt x="1193370" y="4778378"/>
                  <a:pt x="1194961" y="4776788"/>
                  <a:pt x="1196551" y="4776788"/>
                </a:cubicBezTo>
                <a:close/>
                <a:moveTo>
                  <a:pt x="1117014" y="4772016"/>
                </a:moveTo>
                <a:cubicBezTo>
                  <a:pt x="1117014" y="4772016"/>
                  <a:pt x="1118605" y="4778378"/>
                  <a:pt x="1115423" y="4776788"/>
                </a:cubicBezTo>
                <a:cubicBezTo>
                  <a:pt x="1115423" y="4775197"/>
                  <a:pt x="1113832" y="4772016"/>
                  <a:pt x="1117014" y="4772016"/>
                </a:cubicBezTo>
                <a:close/>
                <a:moveTo>
                  <a:pt x="1147238" y="4770425"/>
                </a:moveTo>
                <a:cubicBezTo>
                  <a:pt x="1147238" y="4773607"/>
                  <a:pt x="1150419" y="4776788"/>
                  <a:pt x="1150419" y="4779969"/>
                </a:cubicBezTo>
                <a:cubicBezTo>
                  <a:pt x="1147238" y="4781560"/>
                  <a:pt x="1147238" y="4779969"/>
                  <a:pt x="1145647" y="4778378"/>
                </a:cubicBezTo>
                <a:cubicBezTo>
                  <a:pt x="1145647" y="4775197"/>
                  <a:pt x="1145647" y="4772016"/>
                  <a:pt x="1147238" y="4770425"/>
                </a:cubicBezTo>
                <a:close/>
                <a:moveTo>
                  <a:pt x="1620481" y="4767640"/>
                </a:moveTo>
                <a:cubicBezTo>
                  <a:pt x="1622071" y="4767243"/>
                  <a:pt x="1623662" y="4767243"/>
                  <a:pt x="1624457" y="4768834"/>
                </a:cubicBezTo>
                <a:cubicBezTo>
                  <a:pt x="1622867" y="4770425"/>
                  <a:pt x="1622867" y="4768834"/>
                  <a:pt x="1619685" y="4768834"/>
                </a:cubicBezTo>
                <a:cubicBezTo>
                  <a:pt x="1619685" y="4768834"/>
                  <a:pt x="1619685" y="4768834"/>
                  <a:pt x="1618095" y="4770425"/>
                </a:cubicBezTo>
                <a:cubicBezTo>
                  <a:pt x="1616504" y="4770425"/>
                  <a:pt x="1618095" y="4768834"/>
                  <a:pt x="1616504" y="4768834"/>
                </a:cubicBezTo>
                <a:cubicBezTo>
                  <a:pt x="1617299" y="4768834"/>
                  <a:pt x="1618890" y="4768039"/>
                  <a:pt x="1620481" y="4767640"/>
                </a:cubicBezTo>
                <a:close/>
                <a:moveTo>
                  <a:pt x="1189790" y="4767640"/>
                </a:moveTo>
                <a:cubicBezTo>
                  <a:pt x="1192175" y="4767243"/>
                  <a:pt x="1194164" y="4767243"/>
                  <a:pt x="1194960" y="4768834"/>
                </a:cubicBezTo>
                <a:cubicBezTo>
                  <a:pt x="1193369" y="4768834"/>
                  <a:pt x="1193369" y="4770425"/>
                  <a:pt x="1193369" y="4770425"/>
                </a:cubicBezTo>
                <a:cubicBezTo>
                  <a:pt x="1193369" y="4772015"/>
                  <a:pt x="1190188" y="4768834"/>
                  <a:pt x="1190188" y="4770425"/>
                </a:cubicBezTo>
                <a:cubicBezTo>
                  <a:pt x="1190188" y="4772015"/>
                  <a:pt x="1190188" y="4772015"/>
                  <a:pt x="1190188" y="4772015"/>
                </a:cubicBezTo>
                <a:cubicBezTo>
                  <a:pt x="1190188" y="4775197"/>
                  <a:pt x="1194960" y="4773606"/>
                  <a:pt x="1194960" y="4776788"/>
                </a:cubicBezTo>
                <a:cubicBezTo>
                  <a:pt x="1193369" y="4776788"/>
                  <a:pt x="1190188" y="4776788"/>
                  <a:pt x="1188597" y="4776788"/>
                </a:cubicBezTo>
                <a:cubicBezTo>
                  <a:pt x="1188597" y="4776788"/>
                  <a:pt x="1187005" y="4775197"/>
                  <a:pt x="1185414" y="4776788"/>
                </a:cubicBezTo>
                <a:cubicBezTo>
                  <a:pt x="1185414" y="4773606"/>
                  <a:pt x="1182234" y="4772015"/>
                  <a:pt x="1182234" y="4768834"/>
                </a:cubicBezTo>
                <a:cubicBezTo>
                  <a:pt x="1184619" y="4768834"/>
                  <a:pt x="1187404" y="4768038"/>
                  <a:pt x="1189790" y="4767640"/>
                </a:cubicBezTo>
                <a:close/>
                <a:moveTo>
                  <a:pt x="1610141" y="4767243"/>
                </a:moveTo>
                <a:cubicBezTo>
                  <a:pt x="1610141" y="4767243"/>
                  <a:pt x="1611731" y="4767243"/>
                  <a:pt x="1613322" y="4767243"/>
                </a:cubicBezTo>
                <a:cubicBezTo>
                  <a:pt x="1614913" y="4770425"/>
                  <a:pt x="1616504" y="4773607"/>
                  <a:pt x="1616504" y="4775197"/>
                </a:cubicBezTo>
                <a:lnTo>
                  <a:pt x="1616504" y="4777782"/>
                </a:lnTo>
                <a:cubicBezTo>
                  <a:pt x="1616902" y="4779174"/>
                  <a:pt x="1617299" y="4780764"/>
                  <a:pt x="1616504" y="4783150"/>
                </a:cubicBezTo>
                <a:lnTo>
                  <a:pt x="1613322" y="4783150"/>
                </a:lnTo>
                <a:cubicBezTo>
                  <a:pt x="1613322" y="4778378"/>
                  <a:pt x="1610141" y="4773607"/>
                  <a:pt x="1608550" y="4770425"/>
                </a:cubicBezTo>
                <a:cubicBezTo>
                  <a:pt x="1608550" y="4768834"/>
                  <a:pt x="1610141" y="4768834"/>
                  <a:pt x="1610141" y="4767243"/>
                </a:cubicBezTo>
                <a:close/>
                <a:moveTo>
                  <a:pt x="1290403" y="4764062"/>
                </a:moveTo>
                <a:cubicBezTo>
                  <a:pt x="1295175" y="4770425"/>
                  <a:pt x="1298357" y="4775197"/>
                  <a:pt x="1301537" y="4779969"/>
                </a:cubicBezTo>
                <a:cubicBezTo>
                  <a:pt x="1299947" y="4779969"/>
                  <a:pt x="1299947" y="4778378"/>
                  <a:pt x="1296766" y="4778378"/>
                </a:cubicBezTo>
                <a:cubicBezTo>
                  <a:pt x="1295175" y="4775197"/>
                  <a:pt x="1291994" y="4768834"/>
                  <a:pt x="1290403" y="4764062"/>
                </a:cubicBezTo>
                <a:close/>
                <a:moveTo>
                  <a:pt x="1128149" y="4762471"/>
                </a:moveTo>
                <a:cubicBezTo>
                  <a:pt x="1128149" y="4764062"/>
                  <a:pt x="1129740" y="4765653"/>
                  <a:pt x="1131331" y="4767243"/>
                </a:cubicBezTo>
                <a:cubicBezTo>
                  <a:pt x="1129740" y="4767243"/>
                  <a:pt x="1131331" y="4768834"/>
                  <a:pt x="1129740" y="4768834"/>
                </a:cubicBezTo>
                <a:cubicBezTo>
                  <a:pt x="1126558" y="4767243"/>
                  <a:pt x="1126558" y="4764062"/>
                  <a:pt x="1128149" y="4762471"/>
                </a:cubicBezTo>
                <a:close/>
                <a:moveTo>
                  <a:pt x="1578327" y="4756108"/>
                </a:moveTo>
                <a:cubicBezTo>
                  <a:pt x="1578327" y="4759289"/>
                  <a:pt x="1579917" y="4762471"/>
                  <a:pt x="1579917" y="4765653"/>
                </a:cubicBezTo>
                <a:cubicBezTo>
                  <a:pt x="1578327" y="4765653"/>
                  <a:pt x="1576737" y="4767243"/>
                  <a:pt x="1575145" y="4767243"/>
                </a:cubicBezTo>
                <a:cubicBezTo>
                  <a:pt x="1576737" y="4764062"/>
                  <a:pt x="1576737" y="4759289"/>
                  <a:pt x="1578327" y="4756108"/>
                </a:cubicBezTo>
                <a:close/>
                <a:moveTo>
                  <a:pt x="1584689" y="4751336"/>
                </a:moveTo>
                <a:cubicBezTo>
                  <a:pt x="1586279" y="4752926"/>
                  <a:pt x="1589461" y="4754517"/>
                  <a:pt x="1591052" y="4756108"/>
                </a:cubicBezTo>
                <a:cubicBezTo>
                  <a:pt x="1591052" y="4757699"/>
                  <a:pt x="1591052" y="4757699"/>
                  <a:pt x="1591052" y="4759289"/>
                </a:cubicBezTo>
                <a:cubicBezTo>
                  <a:pt x="1589461" y="4759289"/>
                  <a:pt x="1586279" y="4760880"/>
                  <a:pt x="1586279" y="4762471"/>
                </a:cubicBezTo>
                <a:cubicBezTo>
                  <a:pt x="1586279" y="4764062"/>
                  <a:pt x="1587870" y="4764062"/>
                  <a:pt x="1589461" y="4764062"/>
                </a:cubicBezTo>
                <a:cubicBezTo>
                  <a:pt x="1589461" y="4764062"/>
                  <a:pt x="1589461" y="4765652"/>
                  <a:pt x="1589461" y="4765652"/>
                </a:cubicBezTo>
                <a:cubicBezTo>
                  <a:pt x="1587870" y="4765652"/>
                  <a:pt x="1586279" y="4765652"/>
                  <a:pt x="1584689" y="4765652"/>
                </a:cubicBezTo>
                <a:cubicBezTo>
                  <a:pt x="1583098" y="4760880"/>
                  <a:pt x="1579916" y="4752926"/>
                  <a:pt x="1584689" y="4751336"/>
                </a:cubicBezTo>
                <a:close/>
                <a:moveTo>
                  <a:pt x="1193369" y="4749745"/>
                </a:moveTo>
                <a:cubicBezTo>
                  <a:pt x="1193369" y="4749745"/>
                  <a:pt x="1193369" y="4751336"/>
                  <a:pt x="1193369" y="4751336"/>
                </a:cubicBezTo>
                <a:cubicBezTo>
                  <a:pt x="1191779" y="4751336"/>
                  <a:pt x="1191779" y="4751336"/>
                  <a:pt x="1190188" y="4751336"/>
                </a:cubicBezTo>
                <a:cubicBezTo>
                  <a:pt x="1190188" y="4749745"/>
                  <a:pt x="1191779" y="4749745"/>
                  <a:pt x="1193369" y="4749745"/>
                </a:cubicBezTo>
                <a:close/>
                <a:moveTo>
                  <a:pt x="1494862" y="4744674"/>
                </a:moveTo>
                <a:cubicBezTo>
                  <a:pt x="1511118" y="4751535"/>
                  <a:pt x="1517082" y="4777185"/>
                  <a:pt x="1519470" y="4797468"/>
                </a:cubicBezTo>
                <a:cubicBezTo>
                  <a:pt x="1513106" y="4797468"/>
                  <a:pt x="1508333" y="4797468"/>
                  <a:pt x="1501971" y="4797468"/>
                </a:cubicBezTo>
                <a:cubicBezTo>
                  <a:pt x="1498790" y="4789514"/>
                  <a:pt x="1500380" y="4776788"/>
                  <a:pt x="1500380" y="4767242"/>
                </a:cubicBezTo>
                <a:cubicBezTo>
                  <a:pt x="1492426" y="4770424"/>
                  <a:pt x="1494018" y="4779969"/>
                  <a:pt x="1486063" y="4783150"/>
                </a:cubicBezTo>
                <a:cubicBezTo>
                  <a:pt x="1482882" y="4778378"/>
                  <a:pt x="1479700" y="4773607"/>
                  <a:pt x="1476519" y="4768833"/>
                </a:cubicBezTo>
                <a:cubicBezTo>
                  <a:pt x="1470156" y="4781560"/>
                  <a:pt x="1481291" y="4791104"/>
                  <a:pt x="1484473" y="4799058"/>
                </a:cubicBezTo>
                <a:cubicBezTo>
                  <a:pt x="1471747" y="4800649"/>
                  <a:pt x="1463793" y="4799058"/>
                  <a:pt x="1455839" y="4794286"/>
                </a:cubicBezTo>
                <a:cubicBezTo>
                  <a:pt x="1451067" y="4819737"/>
                  <a:pt x="1489246" y="4805421"/>
                  <a:pt x="1509924" y="4805421"/>
                </a:cubicBezTo>
                <a:cubicBezTo>
                  <a:pt x="1509924" y="4807012"/>
                  <a:pt x="1509924" y="4808602"/>
                  <a:pt x="1513106" y="4808602"/>
                </a:cubicBezTo>
                <a:cubicBezTo>
                  <a:pt x="1516287" y="4830873"/>
                  <a:pt x="1500380" y="4846779"/>
                  <a:pt x="1489246" y="4856324"/>
                </a:cubicBezTo>
                <a:cubicBezTo>
                  <a:pt x="1471747" y="4851552"/>
                  <a:pt x="1492426" y="4822919"/>
                  <a:pt x="1478109" y="4818147"/>
                </a:cubicBezTo>
                <a:cubicBezTo>
                  <a:pt x="1474928" y="4822919"/>
                  <a:pt x="1478109" y="4835645"/>
                  <a:pt x="1471747" y="4837236"/>
                </a:cubicBezTo>
                <a:cubicBezTo>
                  <a:pt x="1463793" y="4834054"/>
                  <a:pt x="1462202" y="4822919"/>
                  <a:pt x="1452659" y="4819737"/>
                </a:cubicBezTo>
                <a:cubicBezTo>
                  <a:pt x="1443113" y="4840417"/>
                  <a:pt x="1478109" y="4842007"/>
                  <a:pt x="1481291" y="4861097"/>
                </a:cubicBezTo>
                <a:cubicBezTo>
                  <a:pt x="1481291" y="4869050"/>
                  <a:pt x="1479700" y="4877004"/>
                  <a:pt x="1474928" y="4883367"/>
                </a:cubicBezTo>
                <a:cubicBezTo>
                  <a:pt x="1471747" y="4872231"/>
                  <a:pt x="1479700" y="4856324"/>
                  <a:pt x="1474928" y="4856324"/>
                </a:cubicBezTo>
                <a:cubicBezTo>
                  <a:pt x="1466975" y="4854733"/>
                  <a:pt x="1439932" y="4832464"/>
                  <a:pt x="1438342" y="4821328"/>
                </a:cubicBezTo>
                <a:cubicBezTo>
                  <a:pt x="1438342" y="4819737"/>
                  <a:pt x="1436751" y="4814965"/>
                  <a:pt x="1436751" y="4807012"/>
                </a:cubicBezTo>
                <a:cubicBezTo>
                  <a:pt x="1438342" y="4805421"/>
                  <a:pt x="1439932" y="4802240"/>
                  <a:pt x="1439932" y="4800649"/>
                </a:cubicBezTo>
                <a:cubicBezTo>
                  <a:pt x="1460612" y="4789514"/>
                  <a:pt x="1452659" y="4752926"/>
                  <a:pt x="1474928" y="4744972"/>
                </a:cubicBezTo>
                <a:cubicBezTo>
                  <a:pt x="1482882" y="4742188"/>
                  <a:pt x="1489444" y="4742388"/>
                  <a:pt x="1494862" y="4744674"/>
                </a:cubicBezTo>
                <a:close/>
                <a:moveTo>
                  <a:pt x="1560828" y="4740201"/>
                </a:moveTo>
                <a:cubicBezTo>
                  <a:pt x="1562419" y="4740201"/>
                  <a:pt x="1562419" y="4740201"/>
                  <a:pt x="1562419" y="4741792"/>
                </a:cubicBezTo>
                <a:cubicBezTo>
                  <a:pt x="1562419" y="4741792"/>
                  <a:pt x="1560828" y="4741792"/>
                  <a:pt x="1559237" y="4741792"/>
                </a:cubicBezTo>
                <a:cubicBezTo>
                  <a:pt x="1559237" y="4741792"/>
                  <a:pt x="1560828" y="4740201"/>
                  <a:pt x="1560828" y="4740201"/>
                </a:cubicBezTo>
                <a:close/>
                <a:moveTo>
                  <a:pt x="1013615" y="4737019"/>
                </a:moveTo>
                <a:cubicBezTo>
                  <a:pt x="1015207" y="4743382"/>
                  <a:pt x="1018388" y="4748155"/>
                  <a:pt x="1019980" y="4754517"/>
                </a:cubicBezTo>
                <a:cubicBezTo>
                  <a:pt x="1016797" y="4749745"/>
                  <a:pt x="1013615" y="4746564"/>
                  <a:pt x="1010435" y="4743382"/>
                </a:cubicBezTo>
                <a:cubicBezTo>
                  <a:pt x="1012025" y="4741792"/>
                  <a:pt x="1013615" y="4738610"/>
                  <a:pt x="1013615" y="4737019"/>
                </a:cubicBezTo>
                <a:close/>
                <a:moveTo>
                  <a:pt x="1570372" y="4735428"/>
                </a:moveTo>
                <a:cubicBezTo>
                  <a:pt x="1570372" y="4737019"/>
                  <a:pt x="1571963" y="4737019"/>
                  <a:pt x="1571963" y="4738610"/>
                </a:cubicBezTo>
                <a:cubicBezTo>
                  <a:pt x="1570372" y="4738610"/>
                  <a:pt x="1568782" y="4737019"/>
                  <a:pt x="1568782" y="4738610"/>
                </a:cubicBezTo>
                <a:cubicBezTo>
                  <a:pt x="1568782" y="4743382"/>
                  <a:pt x="1573554" y="4744973"/>
                  <a:pt x="1578327" y="4748155"/>
                </a:cubicBezTo>
                <a:cubicBezTo>
                  <a:pt x="1576737" y="4749745"/>
                  <a:pt x="1576737" y="4751336"/>
                  <a:pt x="1576737" y="4752926"/>
                </a:cubicBezTo>
                <a:cubicBezTo>
                  <a:pt x="1570372" y="4749745"/>
                  <a:pt x="1571963" y="4740201"/>
                  <a:pt x="1565600" y="4738610"/>
                </a:cubicBezTo>
                <a:cubicBezTo>
                  <a:pt x="1567191" y="4737019"/>
                  <a:pt x="1568782" y="4737019"/>
                  <a:pt x="1570372" y="4735428"/>
                </a:cubicBezTo>
                <a:close/>
                <a:moveTo>
                  <a:pt x="1075655" y="4732246"/>
                </a:moveTo>
                <a:cubicBezTo>
                  <a:pt x="1075655" y="4735427"/>
                  <a:pt x="1074064" y="4737018"/>
                  <a:pt x="1074064" y="4741791"/>
                </a:cubicBezTo>
                <a:cubicBezTo>
                  <a:pt x="1075655" y="4741791"/>
                  <a:pt x="1075655" y="4741791"/>
                  <a:pt x="1077246" y="4741791"/>
                </a:cubicBezTo>
                <a:cubicBezTo>
                  <a:pt x="1080427" y="4757699"/>
                  <a:pt x="1091562" y="4764062"/>
                  <a:pt x="1107470" y="4767243"/>
                </a:cubicBezTo>
                <a:cubicBezTo>
                  <a:pt x="1102698" y="4772016"/>
                  <a:pt x="1096335" y="4762471"/>
                  <a:pt x="1089970" y="4765653"/>
                </a:cubicBezTo>
                <a:cubicBezTo>
                  <a:pt x="1091562" y="4773607"/>
                  <a:pt x="1099516" y="4775197"/>
                  <a:pt x="1104289" y="4779969"/>
                </a:cubicBezTo>
                <a:cubicBezTo>
                  <a:pt x="1096335" y="4779969"/>
                  <a:pt x="1094744" y="4773607"/>
                  <a:pt x="1085199" y="4773607"/>
                </a:cubicBezTo>
                <a:cubicBezTo>
                  <a:pt x="1085199" y="4773607"/>
                  <a:pt x="1083609" y="4775197"/>
                  <a:pt x="1083609" y="4775197"/>
                </a:cubicBezTo>
                <a:cubicBezTo>
                  <a:pt x="1083609" y="4781559"/>
                  <a:pt x="1086790" y="4783150"/>
                  <a:pt x="1088380" y="4787922"/>
                </a:cubicBezTo>
                <a:cubicBezTo>
                  <a:pt x="1086790" y="4791104"/>
                  <a:pt x="1078837" y="4789513"/>
                  <a:pt x="1077246" y="4791104"/>
                </a:cubicBezTo>
                <a:cubicBezTo>
                  <a:pt x="1080427" y="4795876"/>
                  <a:pt x="1083609" y="4799058"/>
                  <a:pt x="1088380" y="4800649"/>
                </a:cubicBezTo>
                <a:cubicBezTo>
                  <a:pt x="1089970" y="4819737"/>
                  <a:pt x="1099516" y="4840417"/>
                  <a:pt x="1099516" y="4856324"/>
                </a:cubicBezTo>
                <a:cubicBezTo>
                  <a:pt x="1097925" y="4856324"/>
                  <a:pt x="1097925" y="4856324"/>
                  <a:pt x="1097925" y="4854733"/>
                </a:cubicBezTo>
                <a:cubicBezTo>
                  <a:pt x="1091562" y="4849961"/>
                  <a:pt x="1085199" y="4843598"/>
                  <a:pt x="1078837" y="4837236"/>
                </a:cubicBezTo>
                <a:cubicBezTo>
                  <a:pt x="1075655" y="4832463"/>
                  <a:pt x="1074064" y="4827691"/>
                  <a:pt x="1070882" y="4822918"/>
                </a:cubicBezTo>
                <a:cubicBezTo>
                  <a:pt x="1064519" y="4795876"/>
                  <a:pt x="1072473" y="4757699"/>
                  <a:pt x="1064519" y="4733837"/>
                </a:cubicBezTo>
                <a:cubicBezTo>
                  <a:pt x="1069291" y="4733837"/>
                  <a:pt x="1072473" y="4733837"/>
                  <a:pt x="1075655" y="4732246"/>
                </a:cubicBezTo>
                <a:close/>
                <a:moveTo>
                  <a:pt x="1099516" y="4730656"/>
                </a:moveTo>
                <a:cubicBezTo>
                  <a:pt x="1101107" y="4732247"/>
                  <a:pt x="1101107" y="4730656"/>
                  <a:pt x="1102697" y="4730656"/>
                </a:cubicBezTo>
                <a:cubicBezTo>
                  <a:pt x="1102697" y="4732247"/>
                  <a:pt x="1104288" y="4733838"/>
                  <a:pt x="1105879" y="4735428"/>
                </a:cubicBezTo>
                <a:cubicBezTo>
                  <a:pt x="1105879" y="4735428"/>
                  <a:pt x="1104288" y="4735428"/>
                  <a:pt x="1102697" y="4735428"/>
                </a:cubicBezTo>
                <a:cubicBezTo>
                  <a:pt x="1101107" y="4735428"/>
                  <a:pt x="1099516" y="4733838"/>
                  <a:pt x="1099516" y="4730656"/>
                </a:cubicBezTo>
                <a:close/>
                <a:moveTo>
                  <a:pt x="1087784" y="4730458"/>
                </a:moveTo>
                <a:cubicBezTo>
                  <a:pt x="1090766" y="4731055"/>
                  <a:pt x="1094743" y="4732247"/>
                  <a:pt x="1097925" y="4730656"/>
                </a:cubicBezTo>
                <a:cubicBezTo>
                  <a:pt x="1099516" y="4732247"/>
                  <a:pt x="1097925" y="4733838"/>
                  <a:pt x="1096334" y="4735428"/>
                </a:cubicBezTo>
                <a:cubicBezTo>
                  <a:pt x="1091562" y="4735428"/>
                  <a:pt x="1088380" y="4732247"/>
                  <a:pt x="1083609" y="4733838"/>
                </a:cubicBezTo>
                <a:cubicBezTo>
                  <a:pt x="1082813" y="4729861"/>
                  <a:pt x="1084801" y="4729861"/>
                  <a:pt x="1087784" y="4730458"/>
                </a:cubicBezTo>
                <a:close/>
                <a:moveTo>
                  <a:pt x="1185414" y="4721112"/>
                </a:moveTo>
                <a:cubicBezTo>
                  <a:pt x="1185414" y="4722703"/>
                  <a:pt x="1187005" y="4724294"/>
                  <a:pt x="1187005" y="4725885"/>
                </a:cubicBezTo>
                <a:cubicBezTo>
                  <a:pt x="1187005" y="4729066"/>
                  <a:pt x="1188597" y="4732248"/>
                  <a:pt x="1188597" y="4735429"/>
                </a:cubicBezTo>
                <a:cubicBezTo>
                  <a:pt x="1185414" y="4733839"/>
                  <a:pt x="1182233" y="4733839"/>
                  <a:pt x="1179052" y="4733839"/>
                </a:cubicBezTo>
                <a:cubicBezTo>
                  <a:pt x="1180642" y="4729066"/>
                  <a:pt x="1183823" y="4725885"/>
                  <a:pt x="1185414" y="4721112"/>
                </a:cubicBezTo>
                <a:close/>
                <a:moveTo>
                  <a:pt x="1085199" y="4719521"/>
                </a:moveTo>
                <a:lnTo>
                  <a:pt x="1085836" y="4719521"/>
                </a:lnTo>
                <a:lnTo>
                  <a:pt x="1085199" y="4722702"/>
                </a:lnTo>
                <a:cubicBezTo>
                  <a:pt x="1088381" y="4722702"/>
                  <a:pt x="1086790" y="4721112"/>
                  <a:pt x="1085199" y="4719521"/>
                </a:cubicBezTo>
                <a:close/>
                <a:moveTo>
                  <a:pt x="1599006" y="4717931"/>
                </a:moveTo>
                <a:cubicBezTo>
                  <a:pt x="1599006" y="4721112"/>
                  <a:pt x="1599006" y="4725884"/>
                  <a:pt x="1599006" y="4730656"/>
                </a:cubicBezTo>
                <a:cubicBezTo>
                  <a:pt x="1599006" y="4732247"/>
                  <a:pt x="1597415" y="4732247"/>
                  <a:pt x="1597415" y="4733838"/>
                </a:cubicBezTo>
                <a:cubicBezTo>
                  <a:pt x="1592643" y="4732247"/>
                  <a:pt x="1587870" y="4730656"/>
                  <a:pt x="1584689" y="4729065"/>
                </a:cubicBezTo>
                <a:cubicBezTo>
                  <a:pt x="1584689" y="4729065"/>
                  <a:pt x="1584689" y="4727474"/>
                  <a:pt x="1586280" y="4725884"/>
                </a:cubicBezTo>
                <a:cubicBezTo>
                  <a:pt x="1589461" y="4722702"/>
                  <a:pt x="1594233" y="4721112"/>
                  <a:pt x="1599006" y="4717931"/>
                </a:cubicBezTo>
                <a:close/>
                <a:moveTo>
                  <a:pt x="1061338" y="4716339"/>
                </a:moveTo>
                <a:cubicBezTo>
                  <a:pt x="1062929" y="4717930"/>
                  <a:pt x="1067701" y="4719520"/>
                  <a:pt x="1072474" y="4721111"/>
                </a:cubicBezTo>
                <a:cubicBezTo>
                  <a:pt x="1069292" y="4721111"/>
                  <a:pt x="1066110" y="4722702"/>
                  <a:pt x="1066110" y="4724293"/>
                </a:cubicBezTo>
                <a:cubicBezTo>
                  <a:pt x="1058157" y="4722702"/>
                  <a:pt x="1051794" y="4729064"/>
                  <a:pt x="1058157" y="4737018"/>
                </a:cubicBezTo>
                <a:cubicBezTo>
                  <a:pt x="1059747" y="4737018"/>
                  <a:pt x="1061338" y="4737018"/>
                  <a:pt x="1062929" y="4737018"/>
                </a:cubicBezTo>
                <a:cubicBezTo>
                  <a:pt x="1059747" y="4752926"/>
                  <a:pt x="1059747" y="4772014"/>
                  <a:pt x="1056566" y="4787921"/>
                </a:cubicBezTo>
                <a:cubicBezTo>
                  <a:pt x="1050204" y="4779968"/>
                  <a:pt x="1045430" y="4770424"/>
                  <a:pt x="1040658" y="4760879"/>
                </a:cubicBezTo>
                <a:cubicBezTo>
                  <a:pt x="1042249" y="4746563"/>
                  <a:pt x="1045430" y="4729064"/>
                  <a:pt x="1050204" y="4724293"/>
                </a:cubicBezTo>
                <a:cubicBezTo>
                  <a:pt x="1053384" y="4721111"/>
                  <a:pt x="1059747" y="4719520"/>
                  <a:pt x="1061338" y="4716339"/>
                </a:cubicBezTo>
                <a:close/>
                <a:moveTo>
                  <a:pt x="1047022" y="4716339"/>
                </a:moveTo>
                <a:cubicBezTo>
                  <a:pt x="1045431" y="4724293"/>
                  <a:pt x="1043841" y="4733838"/>
                  <a:pt x="1039067" y="4740201"/>
                </a:cubicBezTo>
                <a:cubicBezTo>
                  <a:pt x="1037476" y="4738610"/>
                  <a:pt x="1034295" y="4738610"/>
                  <a:pt x="1032704" y="4735428"/>
                </a:cubicBezTo>
                <a:cubicBezTo>
                  <a:pt x="1032704" y="4733838"/>
                  <a:pt x="1032704" y="4732247"/>
                  <a:pt x="1032704" y="4729065"/>
                </a:cubicBezTo>
                <a:cubicBezTo>
                  <a:pt x="1037476" y="4725884"/>
                  <a:pt x="1042250" y="4722702"/>
                  <a:pt x="1047022" y="4716339"/>
                </a:cubicBezTo>
                <a:close/>
                <a:moveTo>
                  <a:pt x="1086790" y="4714749"/>
                </a:moveTo>
                <a:cubicBezTo>
                  <a:pt x="1088381" y="4716340"/>
                  <a:pt x="1089971" y="4717931"/>
                  <a:pt x="1089971" y="4719521"/>
                </a:cubicBezTo>
                <a:lnTo>
                  <a:pt x="1085836" y="4719521"/>
                </a:lnTo>
                <a:close/>
                <a:moveTo>
                  <a:pt x="986573" y="4714749"/>
                </a:moveTo>
                <a:cubicBezTo>
                  <a:pt x="989754" y="4717931"/>
                  <a:pt x="997708" y="4719521"/>
                  <a:pt x="1000890" y="4722702"/>
                </a:cubicBezTo>
                <a:cubicBezTo>
                  <a:pt x="1004071" y="4722702"/>
                  <a:pt x="1005662" y="4722702"/>
                  <a:pt x="1008844" y="4722702"/>
                </a:cubicBezTo>
                <a:cubicBezTo>
                  <a:pt x="1008844" y="4724293"/>
                  <a:pt x="1010435" y="4725884"/>
                  <a:pt x="1012025" y="4727474"/>
                </a:cubicBezTo>
                <a:cubicBezTo>
                  <a:pt x="1007253" y="4729065"/>
                  <a:pt x="1002480" y="4730656"/>
                  <a:pt x="999299" y="4733838"/>
                </a:cubicBezTo>
                <a:cubicBezTo>
                  <a:pt x="997708" y="4732247"/>
                  <a:pt x="996118" y="4730656"/>
                  <a:pt x="994527" y="4730656"/>
                </a:cubicBezTo>
                <a:cubicBezTo>
                  <a:pt x="992936" y="4730656"/>
                  <a:pt x="991345" y="4729065"/>
                  <a:pt x="989754" y="4727474"/>
                </a:cubicBezTo>
                <a:cubicBezTo>
                  <a:pt x="988164" y="4722702"/>
                  <a:pt x="988164" y="4719521"/>
                  <a:pt x="986573" y="4714749"/>
                </a:cubicBezTo>
                <a:close/>
                <a:moveTo>
                  <a:pt x="1252225" y="4713158"/>
                </a:moveTo>
                <a:cubicBezTo>
                  <a:pt x="1256997" y="4717931"/>
                  <a:pt x="1263360" y="4721112"/>
                  <a:pt x="1269723" y="4721112"/>
                </a:cubicBezTo>
                <a:cubicBezTo>
                  <a:pt x="1269723" y="4724293"/>
                  <a:pt x="1271313" y="4729065"/>
                  <a:pt x="1272904" y="4732247"/>
                </a:cubicBezTo>
                <a:cubicBezTo>
                  <a:pt x="1272904" y="4730656"/>
                  <a:pt x="1272904" y="4730656"/>
                  <a:pt x="1271313" y="4729065"/>
                </a:cubicBezTo>
                <a:cubicBezTo>
                  <a:pt x="1269723" y="4729065"/>
                  <a:pt x="1269723" y="4732247"/>
                  <a:pt x="1269723" y="4733838"/>
                </a:cubicBezTo>
                <a:cubicBezTo>
                  <a:pt x="1268132" y="4730656"/>
                  <a:pt x="1264951" y="4733838"/>
                  <a:pt x="1264951" y="4735428"/>
                </a:cubicBezTo>
                <a:cubicBezTo>
                  <a:pt x="1264951" y="4737019"/>
                  <a:pt x="1266542" y="4737019"/>
                  <a:pt x="1266542" y="4738610"/>
                </a:cubicBezTo>
                <a:cubicBezTo>
                  <a:pt x="1264951" y="4738610"/>
                  <a:pt x="1260179" y="4737019"/>
                  <a:pt x="1260179" y="4740201"/>
                </a:cubicBezTo>
                <a:cubicBezTo>
                  <a:pt x="1261771" y="4743382"/>
                  <a:pt x="1268132" y="4741791"/>
                  <a:pt x="1269723" y="4744973"/>
                </a:cubicBezTo>
                <a:cubicBezTo>
                  <a:pt x="1266542" y="4744973"/>
                  <a:pt x="1261771" y="4741791"/>
                  <a:pt x="1261771" y="4746564"/>
                </a:cubicBezTo>
                <a:cubicBezTo>
                  <a:pt x="1264951" y="4746564"/>
                  <a:pt x="1276086" y="4743382"/>
                  <a:pt x="1274495" y="4749745"/>
                </a:cubicBezTo>
                <a:cubicBezTo>
                  <a:pt x="1271313" y="4746564"/>
                  <a:pt x="1263360" y="4748155"/>
                  <a:pt x="1264951" y="4752927"/>
                </a:cubicBezTo>
                <a:cubicBezTo>
                  <a:pt x="1272904" y="4746564"/>
                  <a:pt x="1279267" y="4752927"/>
                  <a:pt x="1285630" y="4757699"/>
                </a:cubicBezTo>
                <a:cubicBezTo>
                  <a:pt x="1288812" y="4764062"/>
                  <a:pt x="1290403" y="4770425"/>
                  <a:pt x="1293584" y="4776788"/>
                </a:cubicBezTo>
                <a:cubicBezTo>
                  <a:pt x="1282449" y="4772016"/>
                  <a:pt x="1277677" y="4760881"/>
                  <a:pt x="1269723" y="4754518"/>
                </a:cubicBezTo>
                <a:cubicBezTo>
                  <a:pt x="1266542" y="4775197"/>
                  <a:pt x="1282449" y="4779969"/>
                  <a:pt x="1296766" y="4786332"/>
                </a:cubicBezTo>
                <a:cubicBezTo>
                  <a:pt x="1301537" y="4800649"/>
                  <a:pt x="1306310" y="4814965"/>
                  <a:pt x="1309491" y="4829283"/>
                </a:cubicBezTo>
                <a:cubicBezTo>
                  <a:pt x="1307901" y="4830873"/>
                  <a:pt x="1307901" y="4830873"/>
                  <a:pt x="1306310" y="4832464"/>
                </a:cubicBezTo>
                <a:cubicBezTo>
                  <a:pt x="1311082" y="4835645"/>
                  <a:pt x="1312673" y="4838826"/>
                  <a:pt x="1315854" y="4843599"/>
                </a:cubicBezTo>
                <a:cubicBezTo>
                  <a:pt x="1315854" y="4845190"/>
                  <a:pt x="1315854" y="4846780"/>
                  <a:pt x="1315854" y="4848371"/>
                </a:cubicBezTo>
                <a:cubicBezTo>
                  <a:pt x="1315854" y="4848371"/>
                  <a:pt x="1315854" y="4849962"/>
                  <a:pt x="1315854" y="4849962"/>
                </a:cubicBezTo>
                <a:cubicBezTo>
                  <a:pt x="1315854" y="4849962"/>
                  <a:pt x="1314264" y="4851553"/>
                  <a:pt x="1314264" y="4851553"/>
                </a:cubicBezTo>
                <a:cubicBezTo>
                  <a:pt x="1312673" y="4853144"/>
                  <a:pt x="1311082" y="4856325"/>
                  <a:pt x="1311082" y="4861097"/>
                </a:cubicBezTo>
                <a:cubicBezTo>
                  <a:pt x="1309491" y="4861097"/>
                  <a:pt x="1307901" y="4861097"/>
                  <a:pt x="1306310" y="4861097"/>
                </a:cubicBezTo>
                <a:cubicBezTo>
                  <a:pt x="1298357" y="4862688"/>
                  <a:pt x="1288812" y="4865869"/>
                  <a:pt x="1282449" y="4869050"/>
                </a:cubicBezTo>
                <a:cubicBezTo>
                  <a:pt x="1282449" y="4869050"/>
                  <a:pt x="1282449" y="4867460"/>
                  <a:pt x="1282449" y="4865869"/>
                </a:cubicBezTo>
                <a:cubicBezTo>
                  <a:pt x="1287221" y="4861097"/>
                  <a:pt x="1295175" y="4859507"/>
                  <a:pt x="1299947" y="4854734"/>
                </a:cubicBezTo>
                <a:cubicBezTo>
                  <a:pt x="1293584" y="4851553"/>
                  <a:pt x="1287221" y="4854734"/>
                  <a:pt x="1280858" y="4856325"/>
                </a:cubicBezTo>
                <a:cubicBezTo>
                  <a:pt x="1284040" y="4845190"/>
                  <a:pt x="1279267" y="4834055"/>
                  <a:pt x="1279267" y="4822919"/>
                </a:cubicBezTo>
                <a:cubicBezTo>
                  <a:pt x="1277677" y="4824510"/>
                  <a:pt x="1276086" y="4826101"/>
                  <a:pt x="1274495" y="4827692"/>
                </a:cubicBezTo>
                <a:cubicBezTo>
                  <a:pt x="1264951" y="4791104"/>
                  <a:pt x="1255406" y="4752927"/>
                  <a:pt x="1252225" y="4713158"/>
                </a:cubicBezTo>
                <a:close/>
                <a:moveTo>
                  <a:pt x="1587871" y="4706796"/>
                </a:moveTo>
                <a:cubicBezTo>
                  <a:pt x="1589462" y="4706796"/>
                  <a:pt x="1589462" y="4706796"/>
                  <a:pt x="1591052" y="4706796"/>
                </a:cubicBezTo>
                <a:lnTo>
                  <a:pt x="1591052" y="4708387"/>
                </a:lnTo>
                <a:lnTo>
                  <a:pt x="1589461" y="4708387"/>
                </a:lnTo>
                <a:lnTo>
                  <a:pt x="1586280" y="4711567"/>
                </a:lnTo>
                <a:cubicBezTo>
                  <a:pt x="1586280" y="4711567"/>
                  <a:pt x="1586280" y="4709977"/>
                  <a:pt x="1586280" y="4708386"/>
                </a:cubicBezTo>
                <a:lnTo>
                  <a:pt x="1587871" y="4708386"/>
                </a:lnTo>
                <a:close/>
                <a:moveTo>
                  <a:pt x="1058156" y="4705205"/>
                </a:moveTo>
                <a:cubicBezTo>
                  <a:pt x="1067700" y="4703614"/>
                  <a:pt x="1074063" y="4706796"/>
                  <a:pt x="1078836" y="4711568"/>
                </a:cubicBezTo>
                <a:cubicBezTo>
                  <a:pt x="1078836" y="4714749"/>
                  <a:pt x="1078836" y="4717931"/>
                  <a:pt x="1082018" y="4719521"/>
                </a:cubicBezTo>
                <a:cubicBezTo>
                  <a:pt x="1075654" y="4719521"/>
                  <a:pt x="1075654" y="4713159"/>
                  <a:pt x="1070882" y="4709977"/>
                </a:cubicBezTo>
                <a:cubicBezTo>
                  <a:pt x="1067700" y="4706796"/>
                  <a:pt x="1064519" y="4705205"/>
                  <a:pt x="1058156" y="4705205"/>
                </a:cubicBezTo>
                <a:close/>
                <a:moveTo>
                  <a:pt x="1581509" y="4703614"/>
                </a:moveTo>
                <a:cubicBezTo>
                  <a:pt x="1583099" y="4703614"/>
                  <a:pt x="1583099" y="4703614"/>
                  <a:pt x="1584690" y="4703614"/>
                </a:cubicBezTo>
                <a:cubicBezTo>
                  <a:pt x="1583099" y="4703614"/>
                  <a:pt x="1581509" y="4705205"/>
                  <a:pt x="1581509" y="4705205"/>
                </a:cubicBezTo>
                <a:cubicBezTo>
                  <a:pt x="1581509" y="4705205"/>
                  <a:pt x="1581509" y="4703614"/>
                  <a:pt x="1581509" y="4703614"/>
                </a:cubicBezTo>
                <a:close/>
                <a:moveTo>
                  <a:pt x="1207685" y="4697251"/>
                </a:moveTo>
                <a:cubicBezTo>
                  <a:pt x="1207685" y="4697251"/>
                  <a:pt x="1207685" y="4698842"/>
                  <a:pt x="1209276" y="4700433"/>
                </a:cubicBezTo>
                <a:cubicBezTo>
                  <a:pt x="1209276" y="4700433"/>
                  <a:pt x="1207685" y="4700433"/>
                  <a:pt x="1207685" y="4700433"/>
                </a:cubicBezTo>
                <a:cubicBezTo>
                  <a:pt x="1207685" y="4698842"/>
                  <a:pt x="1207685" y="4698842"/>
                  <a:pt x="1207685" y="4697251"/>
                </a:cubicBezTo>
                <a:close/>
                <a:moveTo>
                  <a:pt x="1223593" y="4697250"/>
                </a:moveTo>
                <a:cubicBezTo>
                  <a:pt x="1223593" y="4702023"/>
                  <a:pt x="1225184" y="4706795"/>
                  <a:pt x="1226775" y="4711567"/>
                </a:cubicBezTo>
                <a:cubicBezTo>
                  <a:pt x="1228366" y="4748154"/>
                  <a:pt x="1231547" y="4783150"/>
                  <a:pt x="1237910" y="4814964"/>
                </a:cubicBezTo>
                <a:cubicBezTo>
                  <a:pt x="1231547" y="4789513"/>
                  <a:pt x="1215639" y="4762470"/>
                  <a:pt x="1207685" y="4732246"/>
                </a:cubicBezTo>
                <a:cubicBezTo>
                  <a:pt x="1210867" y="4729065"/>
                  <a:pt x="1215639" y="4725883"/>
                  <a:pt x="1214048" y="4721112"/>
                </a:cubicBezTo>
                <a:cubicBezTo>
                  <a:pt x="1212457" y="4722702"/>
                  <a:pt x="1209275" y="4725883"/>
                  <a:pt x="1207685" y="4727474"/>
                </a:cubicBezTo>
                <a:cubicBezTo>
                  <a:pt x="1207685" y="4722702"/>
                  <a:pt x="1206094" y="4719521"/>
                  <a:pt x="1206094" y="4714749"/>
                </a:cubicBezTo>
                <a:cubicBezTo>
                  <a:pt x="1207685" y="4711567"/>
                  <a:pt x="1207685" y="4709977"/>
                  <a:pt x="1207685" y="4708386"/>
                </a:cubicBezTo>
                <a:cubicBezTo>
                  <a:pt x="1214048" y="4705204"/>
                  <a:pt x="1220411" y="4702023"/>
                  <a:pt x="1223593" y="4697250"/>
                </a:cubicBezTo>
                <a:close/>
                <a:moveTo>
                  <a:pt x="1634002" y="4695660"/>
                </a:moveTo>
                <a:lnTo>
                  <a:pt x="1632411" y="4697252"/>
                </a:lnTo>
                <a:lnTo>
                  <a:pt x="1631033" y="4704994"/>
                </a:lnTo>
                <a:close/>
                <a:moveTo>
                  <a:pt x="1269724" y="4695659"/>
                </a:moveTo>
                <a:cubicBezTo>
                  <a:pt x="1269724" y="4695659"/>
                  <a:pt x="1269724" y="4697251"/>
                  <a:pt x="1269724" y="4697251"/>
                </a:cubicBezTo>
                <a:cubicBezTo>
                  <a:pt x="1268134" y="4700433"/>
                  <a:pt x="1268134" y="4705205"/>
                  <a:pt x="1268134" y="4708387"/>
                </a:cubicBezTo>
                <a:cubicBezTo>
                  <a:pt x="1268134" y="4709977"/>
                  <a:pt x="1268134" y="4709977"/>
                  <a:pt x="1268134" y="4709977"/>
                </a:cubicBezTo>
                <a:cubicBezTo>
                  <a:pt x="1268134" y="4713159"/>
                  <a:pt x="1268134" y="4716340"/>
                  <a:pt x="1268134" y="4719521"/>
                </a:cubicBezTo>
                <a:cubicBezTo>
                  <a:pt x="1263361" y="4714750"/>
                  <a:pt x="1256999" y="4709977"/>
                  <a:pt x="1250635" y="4705205"/>
                </a:cubicBezTo>
                <a:cubicBezTo>
                  <a:pt x="1250635" y="4703614"/>
                  <a:pt x="1250635" y="4700433"/>
                  <a:pt x="1252227" y="4697251"/>
                </a:cubicBezTo>
                <a:cubicBezTo>
                  <a:pt x="1258589" y="4697251"/>
                  <a:pt x="1264952" y="4697251"/>
                  <a:pt x="1269724" y="4695659"/>
                </a:cubicBezTo>
                <a:close/>
                <a:moveTo>
                  <a:pt x="1156782" y="4692479"/>
                </a:moveTo>
                <a:cubicBezTo>
                  <a:pt x="1156782" y="4694070"/>
                  <a:pt x="1158373" y="4692479"/>
                  <a:pt x="1159964" y="4694070"/>
                </a:cubicBezTo>
                <a:cubicBezTo>
                  <a:pt x="1159964" y="4695660"/>
                  <a:pt x="1158373" y="4695660"/>
                  <a:pt x="1158373" y="4698842"/>
                </a:cubicBezTo>
                <a:cubicBezTo>
                  <a:pt x="1158373" y="4700433"/>
                  <a:pt x="1159964" y="4700433"/>
                  <a:pt x="1159964" y="4700433"/>
                </a:cubicBezTo>
                <a:cubicBezTo>
                  <a:pt x="1159964" y="4702024"/>
                  <a:pt x="1159964" y="4705205"/>
                  <a:pt x="1158373" y="4705205"/>
                </a:cubicBezTo>
                <a:cubicBezTo>
                  <a:pt x="1156782" y="4702024"/>
                  <a:pt x="1155191" y="4695660"/>
                  <a:pt x="1156782" y="4692479"/>
                </a:cubicBezTo>
                <a:close/>
                <a:moveTo>
                  <a:pt x="1587871" y="4689297"/>
                </a:moveTo>
                <a:cubicBezTo>
                  <a:pt x="1587871" y="4692479"/>
                  <a:pt x="1586280" y="4694070"/>
                  <a:pt x="1586280" y="4695660"/>
                </a:cubicBezTo>
                <a:cubicBezTo>
                  <a:pt x="1586280" y="4694070"/>
                  <a:pt x="1586280" y="4694070"/>
                  <a:pt x="1586280" y="4692479"/>
                </a:cubicBezTo>
                <a:cubicBezTo>
                  <a:pt x="1586280" y="4692479"/>
                  <a:pt x="1587871" y="4690888"/>
                  <a:pt x="1587871" y="4689297"/>
                </a:cubicBezTo>
                <a:close/>
                <a:moveTo>
                  <a:pt x="1222001" y="4679753"/>
                </a:moveTo>
                <a:cubicBezTo>
                  <a:pt x="1223593" y="4682935"/>
                  <a:pt x="1223593" y="4684526"/>
                  <a:pt x="1225184" y="4687707"/>
                </a:cubicBezTo>
                <a:cubicBezTo>
                  <a:pt x="1222001" y="4687707"/>
                  <a:pt x="1225184" y="4686116"/>
                  <a:pt x="1222001" y="4686116"/>
                </a:cubicBezTo>
                <a:cubicBezTo>
                  <a:pt x="1220411" y="4686116"/>
                  <a:pt x="1218820" y="4686116"/>
                  <a:pt x="1218820" y="4689297"/>
                </a:cubicBezTo>
                <a:cubicBezTo>
                  <a:pt x="1217230" y="4689297"/>
                  <a:pt x="1217230" y="4687707"/>
                  <a:pt x="1217230" y="4686116"/>
                </a:cubicBezTo>
                <a:cubicBezTo>
                  <a:pt x="1220411" y="4686116"/>
                  <a:pt x="1218820" y="4682935"/>
                  <a:pt x="1218820" y="4681344"/>
                </a:cubicBezTo>
                <a:cubicBezTo>
                  <a:pt x="1220411" y="4679753"/>
                  <a:pt x="1220411" y="4679753"/>
                  <a:pt x="1222001" y="4679753"/>
                </a:cubicBezTo>
                <a:close/>
                <a:moveTo>
                  <a:pt x="1249044" y="4678163"/>
                </a:moveTo>
                <a:cubicBezTo>
                  <a:pt x="1252227" y="4678163"/>
                  <a:pt x="1253816" y="4678163"/>
                  <a:pt x="1256999" y="4678163"/>
                </a:cubicBezTo>
                <a:cubicBezTo>
                  <a:pt x="1256999" y="4681344"/>
                  <a:pt x="1253816" y="4678163"/>
                  <a:pt x="1252227" y="4679753"/>
                </a:cubicBezTo>
                <a:cubicBezTo>
                  <a:pt x="1250635" y="4679753"/>
                  <a:pt x="1250635" y="4681344"/>
                  <a:pt x="1250635" y="4682935"/>
                </a:cubicBezTo>
                <a:cubicBezTo>
                  <a:pt x="1250635" y="4682935"/>
                  <a:pt x="1249044" y="4682935"/>
                  <a:pt x="1249044" y="4682935"/>
                </a:cubicBezTo>
                <a:cubicBezTo>
                  <a:pt x="1249044" y="4681344"/>
                  <a:pt x="1249044" y="4681344"/>
                  <a:pt x="1249044" y="4679753"/>
                </a:cubicBezTo>
                <a:cubicBezTo>
                  <a:pt x="1249044" y="4679753"/>
                  <a:pt x="1249044" y="4678163"/>
                  <a:pt x="1249044" y="4678163"/>
                </a:cubicBezTo>
                <a:close/>
                <a:moveTo>
                  <a:pt x="1721493" y="4670209"/>
                </a:moveTo>
                <a:cubicBezTo>
                  <a:pt x="1721493" y="4670209"/>
                  <a:pt x="1723083" y="4670209"/>
                  <a:pt x="1723083" y="4670209"/>
                </a:cubicBezTo>
                <a:cubicBezTo>
                  <a:pt x="1723083" y="4671799"/>
                  <a:pt x="1724674" y="4671799"/>
                  <a:pt x="1724674" y="4673390"/>
                </a:cubicBezTo>
                <a:cubicBezTo>
                  <a:pt x="1723083" y="4676572"/>
                  <a:pt x="1723083" y="4679753"/>
                  <a:pt x="1721493" y="4681344"/>
                </a:cubicBezTo>
                <a:cubicBezTo>
                  <a:pt x="1719902" y="4678163"/>
                  <a:pt x="1721493" y="4674981"/>
                  <a:pt x="1721493" y="4673390"/>
                </a:cubicBezTo>
                <a:cubicBezTo>
                  <a:pt x="1719902" y="4673390"/>
                  <a:pt x="1719902" y="4673390"/>
                  <a:pt x="1718311" y="4673390"/>
                </a:cubicBezTo>
                <a:cubicBezTo>
                  <a:pt x="1719902" y="4673390"/>
                  <a:pt x="1721493" y="4671799"/>
                  <a:pt x="1721493" y="4670209"/>
                </a:cubicBezTo>
                <a:close/>
                <a:moveTo>
                  <a:pt x="1101109" y="4667031"/>
                </a:moveTo>
                <a:lnTo>
                  <a:pt x="1104288" y="4676571"/>
                </a:lnTo>
                <a:cubicBezTo>
                  <a:pt x="1105879" y="4681343"/>
                  <a:pt x="1105879" y="4684525"/>
                  <a:pt x="1105879" y="4687706"/>
                </a:cubicBezTo>
                <a:close/>
                <a:moveTo>
                  <a:pt x="1249045" y="4667027"/>
                </a:moveTo>
                <a:cubicBezTo>
                  <a:pt x="1250636" y="4668618"/>
                  <a:pt x="1252227" y="4668618"/>
                  <a:pt x="1252227" y="4670209"/>
                </a:cubicBezTo>
                <a:cubicBezTo>
                  <a:pt x="1250636" y="4670209"/>
                  <a:pt x="1250636" y="4670209"/>
                  <a:pt x="1249045" y="4670209"/>
                </a:cubicBezTo>
                <a:cubicBezTo>
                  <a:pt x="1249045" y="4668618"/>
                  <a:pt x="1249045" y="4668618"/>
                  <a:pt x="1249045" y="4667027"/>
                </a:cubicBezTo>
                <a:close/>
                <a:moveTo>
                  <a:pt x="1101107" y="4667026"/>
                </a:moveTo>
                <a:lnTo>
                  <a:pt x="1101109" y="4667031"/>
                </a:lnTo>
                <a:lnTo>
                  <a:pt x="1101107" y="4667027"/>
                </a:lnTo>
                <a:close/>
                <a:moveTo>
                  <a:pt x="1350851" y="4665435"/>
                </a:moveTo>
                <a:cubicBezTo>
                  <a:pt x="1349261" y="4673390"/>
                  <a:pt x="1347671" y="4682935"/>
                  <a:pt x="1346080" y="4694069"/>
                </a:cubicBezTo>
                <a:cubicBezTo>
                  <a:pt x="1346080" y="4690888"/>
                  <a:pt x="1346080" y="4687707"/>
                  <a:pt x="1346080" y="4684526"/>
                </a:cubicBezTo>
                <a:cubicBezTo>
                  <a:pt x="1346080" y="4678163"/>
                  <a:pt x="1347671" y="4671799"/>
                  <a:pt x="1350851" y="4665435"/>
                </a:cubicBezTo>
                <a:close/>
                <a:moveTo>
                  <a:pt x="986574" y="4663845"/>
                </a:moveTo>
                <a:cubicBezTo>
                  <a:pt x="992936" y="4679753"/>
                  <a:pt x="997708" y="4695660"/>
                  <a:pt x="1004072" y="4711568"/>
                </a:cubicBezTo>
                <a:cubicBezTo>
                  <a:pt x="999299" y="4708386"/>
                  <a:pt x="989755" y="4705205"/>
                  <a:pt x="983391" y="4708386"/>
                </a:cubicBezTo>
                <a:cubicBezTo>
                  <a:pt x="983391" y="4703614"/>
                  <a:pt x="981801" y="4698841"/>
                  <a:pt x="980210" y="4694069"/>
                </a:cubicBezTo>
                <a:cubicBezTo>
                  <a:pt x="980210" y="4689297"/>
                  <a:pt x="980210" y="4684526"/>
                  <a:pt x="980210" y="4678162"/>
                </a:cubicBezTo>
                <a:cubicBezTo>
                  <a:pt x="981801" y="4676572"/>
                  <a:pt x="983391" y="4673390"/>
                  <a:pt x="983391" y="4671799"/>
                </a:cubicBezTo>
                <a:cubicBezTo>
                  <a:pt x="984982" y="4668618"/>
                  <a:pt x="984982" y="4667026"/>
                  <a:pt x="986574" y="4663845"/>
                </a:cubicBezTo>
                <a:close/>
                <a:moveTo>
                  <a:pt x="1252227" y="4654302"/>
                </a:moveTo>
                <a:cubicBezTo>
                  <a:pt x="1253817" y="4659074"/>
                  <a:pt x="1255408" y="4662255"/>
                  <a:pt x="1256999" y="4667027"/>
                </a:cubicBezTo>
                <a:cubicBezTo>
                  <a:pt x="1255408" y="4665436"/>
                  <a:pt x="1252227" y="4663845"/>
                  <a:pt x="1250636" y="4663845"/>
                </a:cubicBezTo>
                <a:cubicBezTo>
                  <a:pt x="1250636" y="4660664"/>
                  <a:pt x="1250636" y="4657483"/>
                  <a:pt x="1252227" y="4654302"/>
                </a:cubicBezTo>
                <a:close/>
                <a:moveTo>
                  <a:pt x="983393" y="4654302"/>
                </a:moveTo>
                <a:cubicBezTo>
                  <a:pt x="983393" y="4655892"/>
                  <a:pt x="983393" y="4655892"/>
                  <a:pt x="984983" y="4659074"/>
                </a:cubicBezTo>
                <a:cubicBezTo>
                  <a:pt x="983393" y="4660664"/>
                  <a:pt x="983393" y="4663845"/>
                  <a:pt x="981802" y="4665436"/>
                </a:cubicBezTo>
                <a:cubicBezTo>
                  <a:pt x="981802" y="4662255"/>
                  <a:pt x="983393" y="4657483"/>
                  <a:pt x="983393" y="4654302"/>
                </a:cubicBezTo>
                <a:close/>
                <a:moveTo>
                  <a:pt x="1226775" y="4643166"/>
                </a:moveTo>
                <a:cubicBezTo>
                  <a:pt x="1226775" y="4647938"/>
                  <a:pt x="1226775" y="4651120"/>
                  <a:pt x="1226775" y="4654302"/>
                </a:cubicBezTo>
                <a:cubicBezTo>
                  <a:pt x="1226775" y="4654302"/>
                  <a:pt x="1225184" y="4654302"/>
                  <a:pt x="1225184" y="4654302"/>
                </a:cubicBezTo>
                <a:cubicBezTo>
                  <a:pt x="1220411" y="4655892"/>
                  <a:pt x="1218820" y="4657483"/>
                  <a:pt x="1215639" y="4660664"/>
                </a:cubicBezTo>
                <a:cubicBezTo>
                  <a:pt x="1214048" y="4660664"/>
                  <a:pt x="1214048" y="4659074"/>
                  <a:pt x="1214048" y="4659074"/>
                </a:cubicBezTo>
                <a:cubicBezTo>
                  <a:pt x="1215639" y="4659074"/>
                  <a:pt x="1217230" y="4657483"/>
                  <a:pt x="1217230" y="4654302"/>
                </a:cubicBezTo>
                <a:cubicBezTo>
                  <a:pt x="1214048" y="4652711"/>
                  <a:pt x="1212457" y="4657483"/>
                  <a:pt x="1212457" y="4654302"/>
                </a:cubicBezTo>
                <a:cubicBezTo>
                  <a:pt x="1214048" y="4654302"/>
                  <a:pt x="1214048" y="4652711"/>
                  <a:pt x="1215639" y="4652711"/>
                </a:cubicBezTo>
                <a:cubicBezTo>
                  <a:pt x="1217230" y="4654302"/>
                  <a:pt x="1220411" y="4654302"/>
                  <a:pt x="1222003" y="4655892"/>
                </a:cubicBezTo>
                <a:cubicBezTo>
                  <a:pt x="1222003" y="4655892"/>
                  <a:pt x="1223593" y="4654302"/>
                  <a:pt x="1223593" y="4654302"/>
                </a:cubicBezTo>
                <a:cubicBezTo>
                  <a:pt x="1223593" y="4651120"/>
                  <a:pt x="1220411" y="4649529"/>
                  <a:pt x="1220411" y="4646348"/>
                </a:cubicBezTo>
                <a:cubicBezTo>
                  <a:pt x="1222003" y="4644757"/>
                  <a:pt x="1225184" y="4644757"/>
                  <a:pt x="1226775" y="4643166"/>
                </a:cubicBezTo>
                <a:close/>
                <a:moveTo>
                  <a:pt x="1062929" y="4639984"/>
                </a:moveTo>
                <a:cubicBezTo>
                  <a:pt x="1062929" y="4639984"/>
                  <a:pt x="1064520" y="4639984"/>
                  <a:pt x="1064520" y="4639984"/>
                </a:cubicBezTo>
                <a:cubicBezTo>
                  <a:pt x="1064520" y="4639984"/>
                  <a:pt x="1064520" y="4641575"/>
                  <a:pt x="1062929" y="4641575"/>
                </a:cubicBezTo>
                <a:cubicBezTo>
                  <a:pt x="1062929" y="4641575"/>
                  <a:pt x="1062929" y="4639984"/>
                  <a:pt x="1062929" y="4639984"/>
                </a:cubicBezTo>
                <a:close/>
                <a:moveTo>
                  <a:pt x="1070883" y="4638393"/>
                </a:moveTo>
                <a:cubicBezTo>
                  <a:pt x="1077246" y="4639983"/>
                  <a:pt x="1082017" y="4641574"/>
                  <a:pt x="1088380" y="4641574"/>
                </a:cubicBezTo>
                <a:cubicBezTo>
                  <a:pt x="1089971" y="4644756"/>
                  <a:pt x="1075654" y="4652710"/>
                  <a:pt x="1080426" y="4657482"/>
                </a:cubicBezTo>
                <a:cubicBezTo>
                  <a:pt x="1088380" y="4654301"/>
                  <a:pt x="1094744" y="4649528"/>
                  <a:pt x="1099516" y="4643165"/>
                </a:cubicBezTo>
                <a:cubicBezTo>
                  <a:pt x="1099516" y="4646347"/>
                  <a:pt x="1101107" y="4651119"/>
                  <a:pt x="1101107" y="4654301"/>
                </a:cubicBezTo>
                <a:cubicBezTo>
                  <a:pt x="1099516" y="4655891"/>
                  <a:pt x="1097925" y="4655891"/>
                  <a:pt x="1097925" y="4657482"/>
                </a:cubicBezTo>
                <a:lnTo>
                  <a:pt x="1101107" y="4667027"/>
                </a:lnTo>
                <a:lnTo>
                  <a:pt x="1099516" y="4681343"/>
                </a:lnTo>
                <a:cubicBezTo>
                  <a:pt x="1091562" y="4679752"/>
                  <a:pt x="1075654" y="4667026"/>
                  <a:pt x="1070883" y="4679752"/>
                </a:cubicBezTo>
                <a:cubicBezTo>
                  <a:pt x="1080426" y="4682934"/>
                  <a:pt x="1089971" y="4686116"/>
                  <a:pt x="1096334" y="4690888"/>
                </a:cubicBezTo>
                <a:cubicBezTo>
                  <a:pt x="1094744" y="4694069"/>
                  <a:pt x="1094744" y="4698841"/>
                  <a:pt x="1094744" y="4703613"/>
                </a:cubicBezTo>
                <a:cubicBezTo>
                  <a:pt x="1093153" y="4703613"/>
                  <a:pt x="1091562" y="4702022"/>
                  <a:pt x="1089971" y="4702022"/>
                </a:cubicBezTo>
                <a:cubicBezTo>
                  <a:pt x="1088380" y="4697250"/>
                  <a:pt x="1088380" y="4689297"/>
                  <a:pt x="1085199" y="4686116"/>
                </a:cubicBezTo>
                <a:cubicBezTo>
                  <a:pt x="1080426" y="4689297"/>
                  <a:pt x="1082017" y="4695659"/>
                  <a:pt x="1082017" y="4700432"/>
                </a:cubicBezTo>
                <a:cubicBezTo>
                  <a:pt x="1070883" y="4697250"/>
                  <a:pt x="1061337" y="4692478"/>
                  <a:pt x="1054975" y="4697250"/>
                </a:cubicBezTo>
                <a:cubicBezTo>
                  <a:pt x="1054975" y="4692478"/>
                  <a:pt x="1056566" y="4689297"/>
                  <a:pt x="1058156" y="4686116"/>
                </a:cubicBezTo>
                <a:cubicBezTo>
                  <a:pt x="1058156" y="4684525"/>
                  <a:pt x="1056566" y="4684525"/>
                  <a:pt x="1056566" y="4682934"/>
                </a:cubicBezTo>
                <a:cubicBezTo>
                  <a:pt x="1059747" y="4670208"/>
                  <a:pt x="1062928" y="4655891"/>
                  <a:pt x="1066109" y="4643165"/>
                </a:cubicBezTo>
                <a:cubicBezTo>
                  <a:pt x="1069291" y="4643165"/>
                  <a:pt x="1070883" y="4639983"/>
                  <a:pt x="1070883" y="4638393"/>
                </a:cubicBezTo>
                <a:close/>
                <a:moveTo>
                  <a:pt x="1129738" y="4627258"/>
                </a:moveTo>
                <a:cubicBezTo>
                  <a:pt x="1153599" y="4635212"/>
                  <a:pt x="1166326" y="4654301"/>
                  <a:pt x="1174280" y="4676570"/>
                </a:cubicBezTo>
                <a:cubicBezTo>
                  <a:pt x="1171098" y="4679752"/>
                  <a:pt x="1169507" y="4682933"/>
                  <a:pt x="1166326" y="4687706"/>
                </a:cubicBezTo>
                <a:cubicBezTo>
                  <a:pt x="1161553" y="4687706"/>
                  <a:pt x="1158372" y="4689297"/>
                  <a:pt x="1155190" y="4689297"/>
                </a:cubicBezTo>
                <a:cubicBezTo>
                  <a:pt x="1153599" y="4689297"/>
                  <a:pt x="1155190" y="4684524"/>
                  <a:pt x="1153599" y="4684524"/>
                </a:cubicBezTo>
                <a:cubicBezTo>
                  <a:pt x="1152009" y="4665435"/>
                  <a:pt x="1134511" y="4654301"/>
                  <a:pt x="1128148" y="4638393"/>
                </a:cubicBezTo>
                <a:cubicBezTo>
                  <a:pt x="1123375" y="4644756"/>
                  <a:pt x="1124966" y="4649528"/>
                  <a:pt x="1128148" y="4654301"/>
                </a:cubicBezTo>
                <a:cubicBezTo>
                  <a:pt x="1124966" y="4655891"/>
                  <a:pt x="1121785" y="4663845"/>
                  <a:pt x="1121785" y="4668617"/>
                </a:cubicBezTo>
                <a:cubicBezTo>
                  <a:pt x="1121785" y="4668617"/>
                  <a:pt x="1121785" y="4670207"/>
                  <a:pt x="1121785" y="4670207"/>
                </a:cubicBezTo>
                <a:cubicBezTo>
                  <a:pt x="1118604" y="4667026"/>
                  <a:pt x="1115423" y="4663845"/>
                  <a:pt x="1112241" y="4663845"/>
                </a:cubicBezTo>
                <a:cubicBezTo>
                  <a:pt x="1109059" y="4673389"/>
                  <a:pt x="1115423" y="4679752"/>
                  <a:pt x="1123375" y="4684524"/>
                </a:cubicBezTo>
                <a:cubicBezTo>
                  <a:pt x="1126557" y="4694069"/>
                  <a:pt x="1131329" y="4702022"/>
                  <a:pt x="1134511" y="4706794"/>
                </a:cubicBezTo>
                <a:cubicBezTo>
                  <a:pt x="1126557" y="4703612"/>
                  <a:pt x="1124966" y="4694069"/>
                  <a:pt x="1113832" y="4692478"/>
                </a:cubicBezTo>
                <a:cubicBezTo>
                  <a:pt x="1113832" y="4679752"/>
                  <a:pt x="1107469" y="4668617"/>
                  <a:pt x="1109059" y="4655891"/>
                </a:cubicBezTo>
                <a:cubicBezTo>
                  <a:pt x="1104287" y="4649528"/>
                  <a:pt x="1113832" y="4641574"/>
                  <a:pt x="1107469" y="4638393"/>
                </a:cubicBezTo>
                <a:cubicBezTo>
                  <a:pt x="1105878" y="4636802"/>
                  <a:pt x="1105878" y="4639983"/>
                  <a:pt x="1104287" y="4639983"/>
                </a:cubicBezTo>
                <a:cubicBezTo>
                  <a:pt x="1104287" y="4638393"/>
                  <a:pt x="1104287" y="4638393"/>
                  <a:pt x="1104287" y="4636802"/>
                </a:cubicBezTo>
                <a:cubicBezTo>
                  <a:pt x="1105878" y="4633621"/>
                  <a:pt x="1107469" y="4632030"/>
                  <a:pt x="1109059" y="4628849"/>
                </a:cubicBezTo>
                <a:cubicBezTo>
                  <a:pt x="1115423" y="4627258"/>
                  <a:pt x="1121785" y="4627258"/>
                  <a:pt x="1129738" y="4627258"/>
                </a:cubicBezTo>
                <a:close/>
                <a:moveTo>
                  <a:pt x="1228366" y="4625668"/>
                </a:moveTo>
                <a:cubicBezTo>
                  <a:pt x="1228366" y="4628850"/>
                  <a:pt x="1228366" y="4630440"/>
                  <a:pt x="1228366" y="4632031"/>
                </a:cubicBezTo>
                <a:cubicBezTo>
                  <a:pt x="1226775" y="4633621"/>
                  <a:pt x="1225184" y="4633621"/>
                  <a:pt x="1225184" y="4633621"/>
                </a:cubicBezTo>
                <a:cubicBezTo>
                  <a:pt x="1226775" y="4630440"/>
                  <a:pt x="1228366" y="4628850"/>
                  <a:pt x="1228366" y="4625668"/>
                </a:cubicBezTo>
                <a:close/>
                <a:moveTo>
                  <a:pt x="994527" y="4617714"/>
                </a:moveTo>
                <a:cubicBezTo>
                  <a:pt x="994527" y="4619305"/>
                  <a:pt x="994527" y="4619305"/>
                  <a:pt x="992937" y="4620896"/>
                </a:cubicBezTo>
                <a:cubicBezTo>
                  <a:pt x="992937" y="4622487"/>
                  <a:pt x="992937" y="4624077"/>
                  <a:pt x="992937" y="4625668"/>
                </a:cubicBezTo>
                <a:cubicBezTo>
                  <a:pt x="991346" y="4624077"/>
                  <a:pt x="989756" y="4620896"/>
                  <a:pt x="988165" y="4619305"/>
                </a:cubicBezTo>
                <a:cubicBezTo>
                  <a:pt x="991346" y="4619305"/>
                  <a:pt x="992937" y="4617714"/>
                  <a:pt x="994527" y="4617714"/>
                </a:cubicBezTo>
                <a:close/>
                <a:moveTo>
                  <a:pt x="1008844" y="4616122"/>
                </a:moveTo>
                <a:cubicBezTo>
                  <a:pt x="1007253" y="4627259"/>
                  <a:pt x="1002480" y="4639984"/>
                  <a:pt x="999299" y="4647938"/>
                </a:cubicBezTo>
                <a:cubicBezTo>
                  <a:pt x="997708" y="4643166"/>
                  <a:pt x="996118" y="4638393"/>
                  <a:pt x="994527" y="4633621"/>
                </a:cubicBezTo>
                <a:cubicBezTo>
                  <a:pt x="996118" y="4627259"/>
                  <a:pt x="997708" y="4622487"/>
                  <a:pt x="999299" y="4617714"/>
                </a:cubicBezTo>
                <a:cubicBezTo>
                  <a:pt x="1002480" y="4617714"/>
                  <a:pt x="1005662" y="4616122"/>
                  <a:pt x="1008844" y="4616122"/>
                </a:cubicBezTo>
                <a:close/>
                <a:moveTo>
                  <a:pt x="1061337" y="4611350"/>
                </a:moveTo>
                <a:cubicBezTo>
                  <a:pt x="1072472" y="4614533"/>
                  <a:pt x="1083609" y="4616123"/>
                  <a:pt x="1093153" y="4611350"/>
                </a:cubicBezTo>
                <a:cubicBezTo>
                  <a:pt x="1094743" y="4616123"/>
                  <a:pt x="1094743" y="4620896"/>
                  <a:pt x="1096334" y="4625668"/>
                </a:cubicBezTo>
                <a:cubicBezTo>
                  <a:pt x="1086789" y="4628850"/>
                  <a:pt x="1077246" y="4632031"/>
                  <a:pt x="1066109" y="4635212"/>
                </a:cubicBezTo>
                <a:cubicBezTo>
                  <a:pt x="1064518" y="4635212"/>
                  <a:pt x="1064518" y="4633621"/>
                  <a:pt x="1062928" y="4633621"/>
                </a:cubicBezTo>
                <a:cubicBezTo>
                  <a:pt x="1062928" y="4627259"/>
                  <a:pt x="1062928" y="4620896"/>
                  <a:pt x="1064518" y="4616123"/>
                </a:cubicBezTo>
                <a:cubicBezTo>
                  <a:pt x="1062928" y="4614533"/>
                  <a:pt x="1061337" y="4612942"/>
                  <a:pt x="1061337" y="4611350"/>
                </a:cubicBezTo>
                <a:close/>
                <a:moveTo>
                  <a:pt x="1101106" y="4606579"/>
                </a:moveTo>
                <a:cubicBezTo>
                  <a:pt x="1104287" y="4609760"/>
                  <a:pt x="1110651" y="4611351"/>
                  <a:pt x="1113832" y="4614533"/>
                </a:cubicBezTo>
                <a:cubicBezTo>
                  <a:pt x="1110651" y="4616123"/>
                  <a:pt x="1107469" y="4617714"/>
                  <a:pt x="1105879" y="4620896"/>
                </a:cubicBezTo>
                <a:cubicBezTo>
                  <a:pt x="1105879" y="4620896"/>
                  <a:pt x="1105879" y="4619305"/>
                  <a:pt x="1105879" y="4619305"/>
                </a:cubicBezTo>
                <a:cubicBezTo>
                  <a:pt x="1102697" y="4616123"/>
                  <a:pt x="1102697" y="4611351"/>
                  <a:pt x="1101106" y="4606579"/>
                </a:cubicBezTo>
                <a:close/>
                <a:moveTo>
                  <a:pt x="1206094" y="4604988"/>
                </a:moveTo>
                <a:cubicBezTo>
                  <a:pt x="1207685" y="4616123"/>
                  <a:pt x="1207685" y="4627259"/>
                  <a:pt x="1206094" y="4636803"/>
                </a:cubicBezTo>
                <a:cubicBezTo>
                  <a:pt x="1204504" y="4635212"/>
                  <a:pt x="1204504" y="4633621"/>
                  <a:pt x="1202913" y="4630440"/>
                </a:cubicBezTo>
                <a:cubicBezTo>
                  <a:pt x="1202913" y="4622487"/>
                  <a:pt x="1204504" y="4612942"/>
                  <a:pt x="1206094" y="4604988"/>
                </a:cubicBezTo>
                <a:close/>
                <a:moveTo>
                  <a:pt x="1045431" y="4604988"/>
                </a:moveTo>
                <a:cubicBezTo>
                  <a:pt x="1050203" y="4606578"/>
                  <a:pt x="1053385" y="4606578"/>
                  <a:pt x="1056566" y="4608169"/>
                </a:cubicBezTo>
                <a:cubicBezTo>
                  <a:pt x="1056566" y="4614532"/>
                  <a:pt x="1059747" y="4622486"/>
                  <a:pt x="1056566" y="4628849"/>
                </a:cubicBezTo>
                <a:cubicBezTo>
                  <a:pt x="1050203" y="4627258"/>
                  <a:pt x="1042249" y="4625667"/>
                  <a:pt x="1040658" y="4632031"/>
                </a:cubicBezTo>
                <a:cubicBezTo>
                  <a:pt x="1045431" y="4633621"/>
                  <a:pt x="1051794" y="4635212"/>
                  <a:pt x="1058156" y="4636803"/>
                </a:cubicBezTo>
                <a:cubicBezTo>
                  <a:pt x="1059747" y="4647938"/>
                  <a:pt x="1058156" y="4659074"/>
                  <a:pt x="1054975" y="4668617"/>
                </a:cubicBezTo>
                <a:cubicBezTo>
                  <a:pt x="1054975" y="4670208"/>
                  <a:pt x="1051794" y="4668617"/>
                  <a:pt x="1051794" y="4670208"/>
                </a:cubicBezTo>
                <a:cubicBezTo>
                  <a:pt x="1053385" y="4676571"/>
                  <a:pt x="1051794" y="4686116"/>
                  <a:pt x="1048613" y="4689297"/>
                </a:cubicBezTo>
                <a:cubicBezTo>
                  <a:pt x="1051794" y="4695659"/>
                  <a:pt x="1048613" y="4705204"/>
                  <a:pt x="1047022" y="4713158"/>
                </a:cubicBezTo>
                <a:cubicBezTo>
                  <a:pt x="1037476" y="4706795"/>
                  <a:pt x="1029523" y="4717931"/>
                  <a:pt x="1029523" y="4725884"/>
                </a:cubicBezTo>
                <a:cubicBezTo>
                  <a:pt x="1027932" y="4725884"/>
                  <a:pt x="1029523" y="4724293"/>
                  <a:pt x="1027932" y="4724293"/>
                </a:cubicBezTo>
                <a:cubicBezTo>
                  <a:pt x="1026342" y="4722702"/>
                  <a:pt x="1026342" y="4722702"/>
                  <a:pt x="1026342" y="4721112"/>
                </a:cubicBezTo>
                <a:cubicBezTo>
                  <a:pt x="1026342" y="4719521"/>
                  <a:pt x="1026342" y="4716340"/>
                  <a:pt x="1027932" y="4714749"/>
                </a:cubicBezTo>
                <a:cubicBezTo>
                  <a:pt x="1026342" y="4714749"/>
                  <a:pt x="1024751" y="4716340"/>
                  <a:pt x="1024751" y="4716340"/>
                </a:cubicBezTo>
                <a:cubicBezTo>
                  <a:pt x="1024751" y="4716340"/>
                  <a:pt x="1024751" y="4714749"/>
                  <a:pt x="1024751" y="4714749"/>
                </a:cubicBezTo>
                <a:cubicBezTo>
                  <a:pt x="1027932" y="4709977"/>
                  <a:pt x="1031113" y="4705204"/>
                  <a:pt x="1032704" y="4697250"/>
                </a:cubicBezTo>
                <a:cubicBezTo>
                  <a:pt x="1027932" y="4694069"/>
                  <a:pt x="1024751" y="4700432"/>
                  <a:pt x="1021570" y="4703613"/>
                </a:cubicBezTo>
                <a:cubicBezTo>
                  <a:pt x="1015206" y="4673390"/>
                  <a:pt x="1015206" y="4641575"/>
                  <a:pt x="1021570" y="4611350"/>
                </a:cubicBezTo>
                <a:cubicBezTo>
                  <a:pt x="1029523" y="4608169"/>
                  <a:pt x="1037476" y="4606578"/>
                  <a:pt x="1045431" y="4604988"/>
                </a:cubicBezTo>
                <a:close/>
                <a:moveTo>
                  <a:pt x="1536967" y="4601807"/>
                </a:moveTo>
                <a:cubicBezTo>
                  <a:pt x="1536967" y="4604989"/>
                  <a:pt x="1538558" y="4608170"/>
                  <a:pt x="1538558" y="4611352"/>
                </a:cubicBezTo>
                <a:cubicBezTo>
                  <a:pt x="1541739" y="4633622"/>
                  <a:pt x="1530604" y="4633622"/>
                  <a:pt x="1521060" y="4649530"/>
                </a:cubicBezTo>
                <a:cubicBezTo>
                  <a:pt x="1513106" y="4662255"/>
                  <a:pt x="1506743" y="4681344"/>
                  <a:pt x="1498790" y="4697251"/>
                </a:cubicBezTo>
                <a:cubicBezTo>
                  <a:pt x="1501971" y="4702024"/>
                  <a:pt x="1505152" y="4706796"/>
                  <a:pt x="1509924" y="4711568"/>
                </a:cubicBezTo>
                <a:cubicBezTo>
                  <a:pt x="1511515" y="4709978"/>
                  <a:pt x="1511515" y="4708387"/>
                  <a:pt x="1513106" y="4708387"/>
                </a:cubicBezTo>
                <a:cubicBezTo>
                  <a:pt x="1513106" y="4709978"/>
                  <a:pt x="1513106" y="4713159"/>
                  <a:pt x="1513106" y="4714750"/>
                </a:cubicBezTo>
                <a:cubicBezTo>
                  <a:pt x="1519470" y="4724294"/>
                  <a:pt x="1527423" y="4732248"/>
                  <a:pt x="1533785" y="4741793"/>
                </a:cubicBezTo>
                <a:cubicBezTo>
                  <a:pt x="1536967" y="4733839"/>
                  <a:pt x="1541739" y="4727475"/>
                  <a:pt x="1541739" y="4717931"/>
                </a:cubicBezTo>
                <a:lnTo>
                  <a:pt x="1549238" y="4717931"/>
                </a:lnTo>
                <a:lnTo>
                  <a:pt x="1549494" y="4716141"/>
                </a:lnTo>
                <a:cubicBezTo>
                  <a:pt x="1550488" y="4709182"/>
                  <a:pt x="1552079" y="4702818"/>
                  <a:pt x="1556056" y="4698841"/>
                </a:cubicBezTo>
                <a:lnTo>
                  <a:pt x="1564250" y="4698097"/>
                </a:lnTo>
                <a:lnTo>
                  <a:pt x="1564805" y="4685321"/>
                </a:lnTo>
                <a:cubicBezTo>
                  <a:pt x="1567191" y="4680150"/>
                  <a:pt x="1571168" y="4675776"/>
                  <a:pt x="1575145" y="4671799"/>
                </a:cubicBezTo>
                <a:cubicBezTo>
                  <a:pt x="1575145" y="4667027"/>
                  <a:pt x="1575145" y="4662255"/>
                  <a:pt x="1575145" y="4657483"/>
                </a:cubicBezTo>
                <a:cubicBezTo>
                  <a:pt x="1571963" y="4662255"/>
                  <a:pt x="1567191" y="4668618"/>
                  <a:pt x="1562418" y="4673390"/>
                </a:cubicBezTo>
                <a:cubicBezTo>
                  <a:pt x="1560828" y="4663845"/>
                  <a:pt x="1568782" y="4657483"/>
                  <a:pt x="1562418" y="4652711"/>
                </a:cubicBezTo>
                <a:cubicBezTo>
                  <a:pt x="1548102" y="4662255"/>
                  <a:pt x="1551285" y="4687707"/>
                  <a:pt x="1546511" y="4706796"/>
                </a:cubicBezTo>
                <a:cubicBezTo>
                  <a:pt x="1544921" y="4703614"/>
                  <a:pt x="1544921" y="4698842"/>
                  <a:pt x="1540148" y="4698842"/>
                </a:cubicBezTo>
                <a:cubicBezTo>
                  <a:pt x="1536967" y="4706796"/>
                  <a:pt x="1535376" y="4717931"/>
                  <a:pt x="1524241" y="4721112"/>
                </a:cubicBezTo>
                <a:cubicBezTo>
                  <a:pt x="1524241" y="4713159"/>
                  <a:pt x="1524241" y="4706796"/>
                  <a:pt x="1524241" y="4698842"/>
                </a:cubicBezTo>
                <a:cubicBezTo>
                  <a:pt x="1521060" y="4697251"/>
                  <a:pt x="1519470" y="4694070"/>
                  <a:pt x="1516287" y="4697251"/>
                </a:cubicBezTo>
                <a:cubicBezTo>
                  <a:pt x="1529013" y="4674981"/>
                  <a:pt x="1543330" y="4641576"/>
                  <a:pt x="1567191" y="4627259"/>
                </a:cubicBezTo>
                <a:cubicBezTo>
                  <a:pt x="1564009" y="4620897"/>
                  <a:pt x="1559237" y="4616124"/>
                  <a:pt x="1552875" y="4611352"/>
                </a:cubicBezTo>
                <a:cubicBezTo>
                  <a:pt x="1552875" y="4611352"/>
                  <a:pt x="1551285" y="4612943"/>
                  <a:pt x="1551285" y="4612943"/>
                </a:cubicBezTo>
                <a:cubicBezTo>
                  <a:pt x="1549693" y="4609761"/>
                  <a:pt x="1549693" y="4608170"/>
                  <a:pt x="1548102" y="4606580"/>
                </a:cubicBezTo>
                <a:cubicBezTo>
                  <a:pt x="1544921" y="4604989"/>
                  <a:pt x="1540148" y="4603398"/>
                  <a:pt x="1536967" y="4601807"/>
                </a:cubicBezTo>
                <a:close/>
                <a:moveTo>
                  <a:pt x="1481291" y="4597035"/>
                </a:moveTo>
                <a:cubicBezTo>
                  <a:pt x="1479700" y="4597035"/>
                  <a:pt x="1479700" y="4597035"/>
                  <a:pt x="1478111" y="4598626"/>
                </a:cubicBezTo>
                <a:cubicBezTo>
                  <a:pt x="1478111" y="4600216"/>
                  <a:pt x="1476519" y="4600216"/>
                  <a:pt x="1476519" y="4601807"/>
                </a:cubicBezTo>
                <a:cubicBezTo>
                  <a:pt x="1471747" y="4611352"/>
                  <a:pt x="1471747" y="4630440"/>
                  <a:pt x="1465384" y="4641576"/>
                </a:cubicBezTo>
                <a:cubicBezTo>
                  <a:pt x="1466975" y="4644757"/>
                  <a:pt x="1466975" y="4646348"/>
                  <a:pt x="1466975" y="4649530"/>
                </a:cubicBezTo>
                <a:cubicBezTo>
                  <a:pt x="1476519" y="4635213"/>
                  <a:pt x="1481291" y="4614534"/>
                  <a:pt x="1495608" y="4603398"/>
                </a:cubicBezTo>
                <a:cubicBezTo>
                  <a:pt x="1490836" y="4606580"/>
                  <a:pt x="1486063" y="4609761"/>
                  <a:pt x="1478111" y="4609761"/>
                </a:cubicBezTo>
                <a:cubicBezTo>
                  <a:pt x="1474928" y="4608170"/>
                  <a:pt x="1479700" y="4600216"/>
                  <a:pt x="1481291" y="4597035"/>
                </a:cubicBezTo>
                <a:close/>
                <a:moveTo>
                  <a:pt x="1078837" y="4597035"/>
                </a:moveTo>
                <a:cubicBezTo>
                  <a:pt x="1080428" y="4598626"/>
                  <a:pt x="1080428" y="4600216"/>
                  <a:pt x="1082018" y="4601807"/>
                </a:cubicBezTo>
                <a:cubicBezTo>
                  <a:pt x="1072473" y="4604988"/>
                  <a:pt x="1062928" y="4604988"/>
                  <a:pt x="1056566" y="4601807"/>
                </a:cubicBezTo>
                <a:cubicBezTo>
                  <a:pt x="1064520" y="4600216"/>
                  <a:pt x="1070883" y="4598626"/>
                  <a:pt x="1078837" y="4597035"/>
                </a:cubicBezTo>
                <a:close/>
                <a:moveTo>
                  <a:pt x="1112242" y="4589081"/>
                </a:moveTo>
                <a:cubicBezTo>
                  <a:pt x="1112242" y="4590672"/>
                  <a:pt x="1113832" y="4592262"/>
                  <a:pt x="1113832" y="4592262"/>
                </a:cubicBezTo>
                <a:cubicBezTo>
                  <a:pt x="1112242" y="4592262"/>
                  <a:pt x="1110651" y="4592262"/>
                  <a:pt x="1109061" y="4590672"/>
                </a:cubicBezTo>
                <a:cubicBezTo>
                  <a:pt x="1109061" y="4590672"/>
                  <a:pt x="1110651" y="4590672"/>
                  <a:pt x="1112242" y="4589081"/>
                </a:cubicBezTo>
                <a:close/>
                <a:moveTo>
                  <a:pt x="1005662" y="4581127"/>
                </a:moveTo>
                <a:cubicBezTo>
                  <a:pt x="1007253" y="4582718"/>
                  <a:pt x="1007253" y="4585899"/>
                  <a:pt x="1007253" y="4587490"/>
                </a:cubicBezTo>
                <a:cubicBezTo>
                  <a:pt x="1007253" y="4587490"/>
                  <a:pt x="1005662" y="4587490"/>
                  <a:pt x="1005662" y="4587490"/>
                </a:cubicBezTo>
                <a:cubicBezTo>
                  <a:pt x="1005662" y="4585899"/>
                  <a:pt x="1005662" y="4582718"/>
                  <a:pt x="1005662" y="4581127"/>
                </a:cubicBezTo>
                <a:close/>
                <a:moveTo>
                  <a:pt x="1155192" y="4577945"/>
                </a:moveTo>
                <a:cubicBezTo>
                  <a:pt x="1159964" y="4590673"/>
                  <a:pt x="1163145" y="4603398"/>
                  <a:pt x="1163145" y="4616124"/>
                </a:cubicBezTo>
                <a:cubicBezTo>
                  <a:pt x="1161555" y="4616124"/>
                  <a:pt x="1161555" y="4614533"/>
                  <a:pt x="1159964" y="4614533"/>
                </a:cubicBezTo>
                <a:cubicBezTo>
                  <a:pt x="1158373" y="4616124"/>
                  <a:pt x="1158373" y="4616124"/>
                  <a:pt x="1158373" y="4617715"/>
                </a:cubicBezTo>
                <a:cubicBezTo>
                  <a:pt x="1145647" y="4608170"/>
                  <a:pt x="1129739" y="4603398"/>
                  <a:pt x="1113832" y="4595445"/>
                </a:cubicBezTo>
                <a:cubicBezTo>
                  <a:pt x="1113832" y="4595445"/>
                  <a:pt x="1113832" y="4593854"/>
                  <a:pt x="1113832" y="4593854"/>
                </a:cubicBezTo>
                <a:cubicBezTo>
                  <a:pt x="1117013" y="4593854"/>
                  <a:pt x="1117013" y="4597035"/>
                  <a:pt x="1120194" y="4595445"/>
                </a:cubicBezTo>
                <a:cubicBezTo>
                  <a:pt x="1121785" y="4593854"/>
                  <a:pt x="1121785" y="4590673"/>
                  <a:pt x="1120194" y="4587491"/>
                </a:cubicBezTo>
                <a:cubicBezTo>
                  <a:pt x="1131330" y="4584309"/>
                  <a:pt x="1144056" y="4581127"/>
                  <a:pt x="1155192" y="4577945"/>
                </a:cubicBezTo>
                <a:close/>
                <a:moveTo>
                  <a:pt x="1529013" y="4573174"/>
                </a:moveTo>
                <a:cubicBezTo>
                  <a:pt x="1525832" y="4573174"/>
                  <a:pt x="1522651" y="4573174"/>
                  <a:pt x="1519470" y="4574765"/>
                </a:cubicBezTo>
                <a:cubicBezTo>
                  <a:pt x="1522651" y="4573174"/>
                  <a:pt x="1525832" y="4573174"/>
                  <a:pt x="1529013" y="4574765"/>
                </a:cubicBezTo>
                <a:cubicBezTo>
                  <a:pt x="1529013" y="4573174"/>
                  <a:pt x="1529013" y="4573174"/>
                  <a:pt x="1529013" y="4573174"/>
                </a:cubicBezTo>
                <a:close/>
                <a:moveTo>
                  <a:pt x="997708" y="4573174"/>
                </a:moveTo>
                <a:cubicBezTo>
                  <a:pt x="997708" y="4573174"/>
                  <a:pt x="999299" y="4574764"/>
                  <a:pt x="999299" y="4574764"/>
                </a:cubicBezTo>
                <a:cubicBezTo>
                  <a:pt x="999299" y="4579536"/>
                  <a:pt x="999299" y="4584308"/>
                  <a:pt x="999299" y="4589081"/>
                </a:cubicBezTo>
                <a:cubicBezTo>
                  <a:pt x="997708" y="4589081"/>
                  <a:pt x="996118" y="4589081"/>
                  <a:pt x="994527" y="4589081"/>
                </a:cubicBezTo>
                <a:cubicBezTo>
                  <a:pt x="996118" y="4582718"/>
                  <a:pt x="997708" y="4577945"/>
                  <a:pt x="997708" y="4573174"/>
                </a:cubicBezTo>
                <a:close/>
                <a:moveTo>
                  <a:pt x="1381076" y="4571583"/>
                </a:moveTo>
                <a:cubicBezTo>
                  <a:pt x="1376303" y="4574765"/>
                  <a:pt x="1371531" y="4577946"/>
                  <a:pt x="1366758" y="4581128"/>
                </a:cubicBezTo>
                <a:cubicBezTo>
                  <a:pt x="1371531" y="4579537"/>
                  <a:pt x="1376303" y="4577946"/>
                  <a:pt x="1382666" y="4576355"/>
                </a:cubicBezTo>
                <a:cubicBezTo>
                  <a:pt x="1382666" y="4574765"/>
                  <a:pt x="1381076" y="4573174"/>
                  <a:pt x="1381076" y="4571583"/>
                </a:cubicBezTo>
                <a:close/>
                <a:moveTo>
                  <a:pt x="1180643" y="4569992"/>
                </a:moveTo>
                <a:cubicBezTo>
                  <a:pt x="1183824" y="4581128"/>
                  <a:pt x="1190187" y="4593854"/>
                  <a:pt x="1183824" y="4603398"/>
                </a:cubicBezTo>
                <a:cubicBezTo>
                  <a:pt x="1177461" y="4595445"/>
                  <a:pt x="1174280" y="4585900"/>
                  <a:pt x="1171098" y="4573174"/>
                </a:cubicBezTo>
                <a:cubicBezTo>
                  <a:pt x="1174280" y="4571583"/>
                  <a:pt x="1177461" y="4571583"/>
                  <a:pt x="1180643" y="4569992"/>
                </a:cubicBezTo>
                <a:close/>
                <a:moveTo>
                  <a:pt x="1613322" y="4568402"/>
                </a:moveTo>
                <a:cubicBezTo>
                  <a:pt x="1613322" y="4569993"/>
                  <a:pt x="1611732" y="4569993"/>
                  <a:pt x="1610141" y="4569993"/>
                </a:cubicBezTo>
                <a:cubicBezTo>
                  <a:pt x="1610141" y="4569993"/>
                  <a:pt x="1610141" y="4571583"/>
                  <a:pt x="1610141" y="4571583"/>
                </a:cubicBezTo>
                <a:cubicBezTo>
                  <a:pt x="1611732" y="4571583"/>
                  <a:pt x="1613322" y="4569993"/>
                  <a:pt x="1613322" y="4569993"/>
                </a:cubicBezTo>
                <a:cubicBezTo>
                  <a:pt x="1613322" y="4569993"/>
                  <a:pt x="1613322" y="4568402"/>
                  <a:pt x="1613322" y="4568402"/>
                </a:cubicBezTo>
                <a:close/>
                <a:moveTo>
                  <a:pt x="1393801" y="4565221"/>
                </a:moveTo>
                <a:cubicBezTo>
                  <a:pt x="1392210" y="4566812"/>
                  <a:pt x="1390620" y="4569993"/>
                  <a:pt x="1389028" y="4574765"/>
                </a:cubicBezTo>
                <a:cubicBezTo>
                  <a:pt x="1393801" y="4571583"/>
                  <a:pt x="1400164" y="4568402"/>
                  <a:pt x="1406527" y="4565221"/>
                </a:cubicBezTo>
                <a:cubicBezTo>
                  <a:pt x="1401755" y="4565221"/>
                  <a:pt x="1398573" y="4563630"/>
                  <a:pt x="1393801" y="4565221"/>
                </a:cubicBezTo>
                <a:close/>
                <a:moveTo>
                  <a:pt x="1198142" y="4565221"/>
                </a:moveTo>
                <a:cubicBezTo>
                  <a:pt x="1196551" y="4568402"/>
                  <a:pt x="1193368" y="4573174"/>
                  <a:pt x="1188597" y="4576355"/>
                </a:cubicBezTo>
                <a:cubicBezTo>
                  <a:pt x="1188597" y="4573174"/>
                  <a:pt x="1188597" y="4571583"/>
                  <a:pt x="1188597" y="4568402"/>
                </a:cubicBezTo>
                <a:cubicBezTo>
                  <a:pt x="1191777" y="4566812"/>
                  <a:pt x="1194959" y="4566812"/>
                  <a:pt x="1198142" y="4565221"/>
                </a:cubicBezTo>
                <a:close/>
                <a:moveTo>
                  <a:pt x="1584689" y="4560448"/>
                </a:moveTo>
                <a:cubicBezTo>
                  <a:pt x="1579917" y="4562039"/>
                  <a:pt x="1575145" y="4563630"/>
                  <a:pt x="1568782" y="4563630"/>
                </a:cubicBezTo>
                <a:cubicBezTo>
                  <a:pt x="1568782" y="4563630"/>
                  <a:pt x="1567191" y="4565221"/>
                  <a:pt x="1567191" y="4566812"/>
                </a:cubicBezTo>
                <a:cubicBezTo>
                  <a:pt x="1571963" y="4566812"/>
                  <a:pt x="1576735" y="4566812"/>
                  <a:pt x="1581509" y="4565221"/>
                </a:cubicBezTo>
                <a:cubicBezTo>
                  <a:pt x="1581509" y="4563630"/>
                  <a:pt x="1583098" y="4562039"/>
                  <a:pt x="1584689" y="4560448"/>
                </a:cubicBezTo>
                <a:close/>
                <a:moveTo>
                  <a:pt x="1587871" y="4558858"/>
                </a:moveTo>
                <a:cubicBezTo>
                  <a:pt x="1587871" y="4560448"/>
                  <a:pt x="1587871" y="4562039"/>
                  <a:pt x="1587871" y="4563630"/>
                </a:cubicBezTo>
                <a:cubicBezTo>
                  <a:pt x="1587871" y="4563630"/>
                  <a:pt x="1589461" y="4563630"/>
                  <a:pt x="1591052" y="4563630"/>
                </a:cubicBezTo>
                <a:cubicBezTo>
                  <a:pt x="1592643" y="4562039"/>
                  <a:pt x="1592643" y="4560448"/>
                  <a:pt x="1592643" y="4558858"/>
                </a:cubicBezTo>
                <a:cubicBezTo>
                  <a:pt x="1591052" y="4558858"/>
                  <a:pt x="1589461" y="4560448"/>
                  <a:pt x="1587871" y="4558858"/>
                </a:cubicBezTo>
                <a:close/>
                <a:moveTo>
                  <a:pt x="1657863" y="4557267"/>
                </a:moveTo>
                <a:cubicBezTo>
                  <a:pt x="1648319" y="4560448"/>
                  <a:pt x="1640365" y="4562039"/>
                  <a:pt x="1632411" y="4563630"/>
                </a:cubicBezTo>
                <a:cubicBezTo>
                  <a:pt x="1632411" y="4565221"/>
                  <a:pt x="1632411" y="4565221"/>
                  <a:pt x="1632411" y="4566812"/>
                </a:cubicBezTo>
                <a:cubicBezTo>
                  <a:pt x="1638774" y="4565221"/>
                  <a:pt x="1643546" y="4565221"/>
                  <a:pt x="1649909" y="4563630"/>
                </a:cubicBezTo>
                <a:cubicBezTo>
                  <a:pt x="1653090" y="4562039"/>
                  <a:pt x="1656272" y="4560448"/>
                  <a:pt x="1657863" y="4557267"/>
                </a:cubicBezTo>
                <a:close/>
                <a:moveTo>
                  <a:pt x="1021570" y="4555676"/>
                </a:moveTo>
                <a:cubicBezTo>
                  <a:pt x="1023161" y="4560448"/>
                  <a:pt x="1023161" y="4565221"/>
                  <a:pt x="1018387" y="4569993"/>
                </a:cubicBezTo>
                <a:cubicBezTo>
                  <a:pt x="1016796" y="4565221"/>
                  <a:pt x="1015207" y="4560448"/>
                  <a:pt x="1013615" y="4557267"/>
                </a:cubicBezTo>
                <a:cubicBezTo>
                  <a:pt x="1016796" y="4557267"/>
                  <a:pt x="1018387" y="4555676"/>
                  <a:pt x="1021570" y="4555676"/>
                </a:cubicBezTo>
                <a:close/>
                <a:moveTo>
                  <a:pt x="1237909" y="4555675"/>
                </a:moveTo>
                <a:cubicBezTo>
                  <a:pt x="1237909" y="4558857"/>
                  <a:pt x="1236318" y="4562038"/>
                  <a:pt x="1236318" y="4565220"/>
                </a:cubicBezTo>
                <a:cubicBezTo>
                  <a:pt x="1236318" y="4565220"/>
                  <a:pt x="1234728" y="4563629"/>
                  <a:pt x="1234728" y="4565220"/>
                </a:cubicBezTo>
                <a:cubicBezTo>
                  <a:pt x="1236318" y="4565220"/>
                  <a:pt x="1236318" y="4566811"/>
                  <a:pt x="1236318" y="4566811"/>
                </a:cubicBezTo>
                <a:cubicBezTo>
                  <a:pt x="1234728" y="4574764"/>
                  <a:pt x="1233137" y="4581127"/>
                  <a:pt x="1233137" y="4589081"/>
                </a:cubicBezTo>
                <a:cubicBezTo>
                  <a:pt x="1231547" y="4589081"/>
                  <a:pt x="1231547" y="4589081"/>
                  <a:pt x="1229956" y="4589081"/>
                </a:cubicBezTo>
                <a:cubicBezTo>
                  <a:pt x="1228365" y="4592262"/>
                  <a:pt x="1229956" y="4593853"/>
                  <a:pt x="1231547" y="4595444"/>
                </a:cubicBezTo>
                <a:cubicBezTo>
                  <a:pt x="1229956" y="4598625"/>
                  <a:pt x="1229956" y="4603397"/>
                  <a:pt x="1229956" y="4606578"/>
                </a:cubicBezTo>
                <a:cubicBezTo>
                  <a:pt x="1229956" y="4603397"/>
                  <a:pt x="1228365" y="4600216"/>
                  <a:pt x="1226774" y="4598625"/>
                </a:cubicBezTo>
                <a:cubicBezTo>
                  <a:pt x="1218820" y="4601807"/>
                  <a:pt x="1218820" y="4609760"/>
                  <a:pt x="1214047" y="4614532"/>
                </a:cubicBezTo>
                <a:cubicBezTo>
                  <a:pt x="1212457" y="4604988"/>
                  <a:pt x="1210867" y="4595444"/>
                  <a:pt x="1210867" y="4584308"/>
                </a:cubicBezTo>
                <a:cubicBezTo>
                  <a:pt x="1212457" y="4576354"/>
                  <a:pt x="1214047" y="4566811"/>
                  <a:pt x="1218820" y="4562038"/>
                </a:cubicBezTo>
                <a:cubicBezTo>
                  <a:pt x="1225184" y="4558857"/>
                  <a:pt x="1231547" y="4557266"/>
                  <a:pt x="1237909" y="4555675"/>
                </a:cubicBezTo>
                <a:close/>
                <a:moveTo>
                  <a:pt x="1611732" y="4554085"/>
                </a:moveTo>
                <a:cubicBezTo>
                  <a:pt x="1611732" y="4557267"/>
                  <a:pt x="1611732" y="4558858"/>
                  <a:pt x="1611732" y="4560448"/>
                </a:cubicBezTo>
                <a:cubicBezTo>
                  <a:pt x="1613322" y="4560448"/>
                  <a:pt x="1613322" y="4560448"/>
                  <a:pt x="1614913" y="4560448"/>
                </a:cubicBezTo>
                <a:cubicBezTo>
                  <a:pt x="1614913" y="4557267"/>
                  <a:pt x="1614913" y="4555676"/>
                  <a:pt x="1614913" y="4554085"/>
                </a:cubicBezTo>
                <a:cubicBezTo>
                  <a:pt x="1613322" y="4554085"/>
                  <a:pt x="1613322" y="4554085"/>
                  <a:pt x="1611732" y="4554085"/>
                </a:cubicBezTo>
                <a:close/>
                <a:moveTo>
                  <a:pt x="1082018" y="4554085"/>
                </a:moveTo>
                <a:cubicBezTo>
                  <a:pt x="1082018" y="4557267"/>
                  <a:pt x="1083609" y="4558858"/>
                  <a:pt x="1083609" y="4562039"/>
                </a:cubicBezTo>
                <a:cubicBezTo>
                  <a:pt x="1082018" y="4562039"/>
                  <a:pt x="1082018" y="4563630"/>
                  <a:pt x="1082018" y="4565221"/>
                </a:cubicBezTo>
                <a:cubicBezTo>
                  <a:pt x="1082018" y="4565221"/>
                  <a:pt x="1082018" y="4565221"/>
                  <a:pt x="1078837" y="4563630"/>
                </a:cubicBezTo>
                <a:cubicBezTo>
                  <a:pt x="1078837" y="4562039"/>
                  <a:pt x="1082018" y="4560448"/>
                  <a:pt x="1080428" y="4558858"/>
                </a:cubicBezTo>
                <a:cubicBezTo>
                  <a:pt x="1080428" y="4558858"/>
                  <a:pt x="1080428" y="4558858"/>
                  <a:pt x="1078837" y="4558858"/>
                </a:cubicBezTo>
                <a:cubicBezTo>
                  <a:pt x="1080428" y="4557267"/>
                  <a:pt x="1080428" y="4554085"/>
                  <a:pt x="1082018" y="4554085"/>
                </a:cubicBezTo>
                <a:close/>
                <a:moveTo>
                  <a:pt x="1045431" y="4549312"/>
                </a:moveTo>
                <a:cubicBezTo>
                  <a:pt x="1047022" y="4554085"/>
                  <a:pt x="1050204" y="4557267"/>
                  <a:pt x="1051794" y="4560448"/>
                </a:cubicBezTo>
                <a:cubicBezTo>
                  <a:pt x="1050204" y="4560448"/>
                  <a:pt x="1048613" y="4560448"/>
                  <a:pt x="1047022" y="4562039"/>
                </a:cubicBezTo>
                <a:cubicBezTo>
                  <a:pt x="1050204" y="4563630"/>
                  <a:pt x="1053385" y="4566812"/>
                  <a:pt x="1058157" y="4568402"/>
                </a:cubicBezTo>
                <a:cubicBezTo>
                  <a:pt x="1061338" y="4571583"/>
                  <a:pt x="1062929" y="4573174"/>
                  <a:pt x="1064520" y="4576355"/>
                </a:cubicBezTo>
                <a:cubicBezTo>
                  <a:pt x="1054975" y="4577946"/>
                  <a:pt x="1043841" y="4581128"/>
                  <a:pt x="1034295" y="4582719"/>
                </a:cubicBezTo>
                <a:cubicBezTo>
                  <a:pt x="1029523" y="4574765"/>
                  <a:pt x="1027932" y="4565221"/>
                  <a:pt x="1026342" y="4554085"/>
                </a:cubicBezTo>
                <a:cubicBezTo>
                  <a:pt x="1032704" y="4552494"/>
                  <a:pt x="1039067" y="4550904"/>
                  <a:pt x="1045431" y="4549312"/>
                </a:cubicBezTo>
                <a:close/>
                <a:moveTo>
                  <a:pt x="1976009" y="4546131"/>
                </a:moveTo>
                <a:cubicBezTo>
                  <a:pt x="1960102" y="4557267"/>
                  <a:pt x="1947377" y="4574765"/>
                  <a:pt x="1936241" y="4597035"/>
                </a:cubicBezTo>
                <a:cubicBezTo>
                  <a:pt x="1856704" y="4604989"/>
                  <a:pt x="1874203" y="4803831"/>
                  <a:pt x="1823299" y="4842008"/>
                </a:cubicBezTo>
                <a:cubicBezTo>
                  <a:pt x="1785122" y="4856325"/>
                  <a:pt x="1810573" y="4756109"/>
                  <a:pt x="1820118" y="4730657"/>
                </a:cubicBezTo>
                <a:cubicBezTo>
                  <a:pt x="1842388" y="4668619"/>
                  <a:pt x="1884542" y="4624078"/>
                  <a:pt x="1928685" y="4582719"/>
                </a:cubicBezTo>
                <a:lnTo>
                  <a:pt x="1963739" y="4549821"/>
                </a:lnTo>
                <a:lnTo>
                  <a:pt x="1964402" y="4549462"/>
                </a:lnTo>
                <a:cubicBezTo>
                  <a:pt x="1968851" y="4547424"/>
                  <a:pt x="1972828" y="4546131"/>
                  <a:pt x="1976009" y="4546131"/>
                </a:cubicBezTo>
                <a:close/>
                <a:moveTo>
                  <a:pt x="1640365" y="4546131"/>
                </a:moveTo>
                <a:cubicBezTo>
                  <a:pt x="1637183" y="4547722"/>
                  <a:pt x="1634002" y="4547722"/>
                  <a:pt x="1630820" y="4549313"/>
                </a:cubicBezTo>
                <a:cubicBezTo>
                  <a:pt x="1630820" y="4550904"/>
                  <a:pt x="1630820" y="4554085"/>
                  <a:pt x="1630820" y="4555676"/>
                </a:cubicBezTo>
                <a:cubicBezTo>
                  <a:pt x="1634002" y="4555676"/>
                  <a:pt x="1637183" y="4554085"/>
                  <a:pt x="1640365" y="4552494"/>
                </a:cubicBezTo>
                <a:cubicBezTo>
                  <a:pt x="1640365" y="4550904"/>
                  <a:pt x="1640365" y="4547722"/>
                  <a:pt x="1640365" y="4546131"/>
                </a:cubicBezTo>
                <a:close/>
                <a:moveTo>
                  <a:pt x="1091562" y="4546131"/>
                </a:moveTo>
                <a:cubicBezTo>
                  <a:pt x="1091562" y="4547722"/>
                  <a:pt x="1091562" y="4547722"/>
                  <a:pt x="1091562" y="4549313"/>
                </a:cubicBezTo>
                <a:cubicBezTo>
                  <a:pt x="1091562" y="4550904"/>
                  <a:pt x="1089971" y="4550904"/>
                  <a:pt x="1089971" y="4552494"/>
                </a:cubicBezTo>
                <a:cubicBezTo>
                  <a:pt x="1089971" y="4549313"/>
                  <a:pt x="1091562" y="4547722"/>
                  <a:pt x="1091562" y="4546131"/>
                </a:cubicBezTo>
                <a:close/>
                <a:moveTo>
                  <a:pt x="1147238" y="4544540"/>
                </a:moveTo>
                <a:cubicBezTo>
                  <a:pt x="1147238" y="4547722"/>
                  <a:pt x="1147238" y="4552494"/>
                  <a:pt x="1148828" y="4555676"/>
                </a:cubicBezTo>
                <a:cubicBezTo>
                  <a:pt x="1142466" y="4558857"/>
                  <a:pt x="1136102" y="4560448"/>
                  <a:pt x="1129739" y="4560448"/>
                </a:cubicBezTo>
                <a:cubicBezTo>
                  <a:pt x="1136102" y="4555676"/>
                  <a:pt x="1142466" y="4550904"/>
                  <a:pt x="1147238" y="4544540"/>
                </a:cubicBezTo>
                <a:close/>
                <a:moveTo>
                  <a:pt x="1970043" y="4543904"/>
                </a:moveTo>
                <a:lnTo>
                  <a:pt x="1963739" y="4549821"/>
                </a:lnTo>
                <a:lnTo>
                  <a:pt x="1949961" y="4557267"/>
                </a:lnTo>
                <a:cubicBezTo>
                  <a:pt x="1939820" y="4563232"/>
                  <a:pt x="1929083" y="4569993"/>
                  <a:pt x="1920334" y="4573174"/>
                </a:cubicBezTo>
                <a:cubicBezTo>
                  <a:pt x="1936242" y="4565420"/>
                  <a:pt x="1952521" y="4555950"/>
                  <a:pt x="1968792" y="4544883"/>
                </a:cubicBezTo>
                <a:close/>
                <a:moveTo>
                  <a:pt x="1508334" y="4542950"/>
                </a:moveTo>
                <a:cubicBezTo>
                  <a:pt x="1506743" y="4544540"/>
                  <a:pt x="1505152" y="4546131"/>
                  <a:pt x="1503561" y="4547722"/>
                </a:cubicBezTo>
                <a:cubicBezTo>
                  <a:pt x="1505152" y="4550904"/>
                  <a:pt x="1506743" y="4552494"/>
                  <a:pt x="1508334" y="4552494"/>
                </a:cubicBezTo>
                <a:cubicBezTo>
                  <a:pt x="1509924" y="4552494"/>
                  <a:pt x="1509924" y="4550904"/>
                  <a:pt x="1511515" y="4550904"/>
                </a:cubicBezTo>
                <a:cubicBezTo>
                  <a:pt x="1509924" y="4549313"/>
                  <a:pt x="1508334" y="4546131"/>
                  <a:pt x="1508334" y="4542950"/>
                </a:cubicBezTo>
                <a:close/>
                <a:moveTo>
                  <a:pt x="1082018" y="4542950"/>
                </a:moveTo>
                <a:cubicBezTo>
                  <a:pt x="1082018" y="4546131"/>
                  <a:pt x="1082018" y="4549313"/>
                  <a:pt x="1083609" y="4552494"/>
                </a:cubicBezTo>
                <a:cubicBezTo>
                  <a:pt x="1082018" y="4552494"/>
                  <a:pt x="1082018" y="4550904"/>
                  <a:pt x="1080427" y="4550904"/>
                </a:cubicBezTo>
                <a:cubicBezTo>
                  <a:pt x="1082018" y="4549313"/>
                  <a:pt x="1080427" y="4544540"/>
                  <a:pt x="1082018" y="4542950"/>
                </a:cubicBezTo>
                <a:close/>
                <a:moveTo>
                  <a:pt x="1718310" y="4541359"/>
                </a:moveTo>
                <a:cubicBezTo>
                  <a:pt x="1702404" y="4546131"/>
                  <a:pt x="1686496" y="4549313"/>
                  <a:pt x="1670589" y="4554085"/>
                </a:cubicBezTo>
                <a:cubicBezTo>
                  <a:pt x="1670589" y="4554085"/>
                  <a:pt x="1668998" y="4554085"/>
                  <a:pt x="1668998" y="4555676"/>
                </a:cubicBezTo>
                <a:cubicBezTo>
                  <a:pt x="1668998" y="4555676"/>
                  <a:pt x="1668998" y="4557267"/>
                  <a:pt x="1670589" y="4557267"/>
                </a:cubicBezTo>
                <a:cubicBezTo>
                  <a:pt x="1673770" y="4557267"/>
                  <a:pt x="1675361" y="4555676"/>
                  <a:pt x="1676952" y="4554085"/>
                </a:cubicBezTo>
                <a:cubicBezTo>
                  <a:pt x="1676952" y="4554085"/>
                  <a:pt x="1678542" y="4555676"/>
                  <a:pt x="1678542" y="4557267"/>
                </a:cubicBezTo>
                <a:cubicBezTo>
                  <a:pt x="1692859" y="4554085"/>
                  <a:pt x="1707175" y="4550904"/>
                  <a:pt x="1721493" y="4546131"/>
                </a:cubicBezTo>
                <a:cubicBezTo>
                  <a:pt x="1719901" y="4544540"/>
                  <a:pt x="1719901" y="4542950"/>
                  <a:pt x="1718310" y="4541359"/>
                </a:cubicBezTo>
                <a:close/>
                <a:moveTo>
                  <a:pt x="1096334" y="4538178"/>
                </a:moveTo>
                <a:cubicBezTo>
                  <a:pt x="1096334" y="4538178"/>
                  <a:pt x="1097924" y="4538178"/>
                  <a:pt x="1097924" y="4538178"/>
                </a:cubicBezTo>
                <a:cubicBezTo>
                  <a:pt x="1097924" y="4539769"/>
                  <a:pt x="1097924" y="4541359"/>
                  <a:pt x="1097924" y="4542950"/>
                </a:cubicBezTo>
                <a:cubicBezTo>
                  <a:pt x="1097924" y="4542950"/>
                  <a:pt x="1097924" y="4542950"/>
                  <a:pt x="1096334" y="4542950"/>
                </a:cubicBezTo>
                <a:cubicBezTo>
                  <a:pt x="1096334" y="4542950"/>
                  <a:pt x="1094743" y="4541359"/>
                  <a:pt x="1094743" y="4539769"/>
                </a:cubicBezTo>
                <a:cubicBezTo>
                  <a:pt x="1094743" y="4539769"/>
                  <a:pt x="1096334" y="4538178"/>
                  <a:pt x="1096334" y="4538178"/>
                </a:cubicBezTo>
                <a:close/>
                <a:moveTo>
                  <a:pt x="1678542" y="4534997"/>
                </a:moveTo>
                <a:cubicBezTo>
                  <a:pt x="1672180" y="4538178"/>
                  <a:pt x="1667407" y="4539769"/>
                  <a:pt x="1661044" y="4541359"/>
                </a:cubicBezTo>
                <a:cubicBezTo>
                  <a:pt x="1662635" y="4542950"/>
                  <a:pt x="1665817" y="4544540"/>
                  <a:pt x="1667407" y="4546131"/>
                </a:cubicBezTo>
                <a:cubicBezTo>
                  <a:pt x="1673770" y="4544540"/>
                  <a:pt x="1678542" y="4542950"/>
                  <a:pt x="1684906" y="4541359"/>
                </a:cubicBezTo>
                <a:cubicBezTo>
                  <a:pt x="1684906" y="4539769"/>
                  <a:pt x="1683314" y="4538178"/>
                  <a:pt x="1681723" y="4536587"/>
                </a:cubicBezTo>
                <a:cubicBezTo>
                  <a:pt x="1681723" y="4536587"/>
                  <a:pt x="1681723" y="4538178"/>
                  <a:pt x="1681723" y="4538178"/>
                </a:cubicBezTo>
                <a:cubicBezTo>
                  <a:pt x="1680134" y="4536587"/>
                  <a:pt x="1680134" y="4536587"/>
                  <a:pt x="1678542" y="4534997"/>
                </a:cubicBezTo>
                <a:close/>
                <a:moveTo>
                  <a:pt x="1484473" y="4533406"/>
                </a:moveTo>
                <a:cubicBezTo>
                  <a:pt x="1482882" y="4533406"/>
                  <a:pt x="1479700" y="4533406"/>
                  <a:pt x="1478111" y="4534997"/>
                </a:cubicBezTo>
                <a:cubicBezTo>
                  <a:pt x="1447887" y="4560448"/>
                  <a:pt x="1419252" y="4587491"/>
                  <a:pt x="1392210" y="4611352"/>
                </a:cubicBezTo>
                <a:cubicBezTo>
                  <a:pt x="1411300" y="4601807"/>
                  <a:pt x="1427207" y="4589082"/>
                  <a:pt x="1441523" y="4576355"/>
                </a:cubicBezTo>
                <a:cubicBezTo>
                  <a:pt x="1443113" y="4574765"/>
                  <a:pt x="1443113" y="4573174"/>
                  <a:pt x="1443113" y="4573174"/>
                </a:cubicBezTo>
                <a:cubicBezTo>
                  <a:pt x="1444704" y="4573174"/>
                  <a:pt x="1444704" y="4573174"/>
                  <a:pt x="1446295" y="4573174"/>
                </a:cubicBezTo>
                <a:cubicBezTo>
                  <a:pt x="1449476" y="4569993"/>
                  <a:pt x="1451067" y="4568402"/>
                  <a:pt x="1454249" y="4566812"/>
                </a:cubicBezTo>
                <a:cubicBezTo>
                  <a:pt x="1452659" y="4568402"/>
                  <a:pt x="1449476" y="4568402"/>
                  <a:pt x="1447887" y="4566812"/>
                </a:cubicBezTo>
                <a:cubicBezTo>
                  <a:pt x="1451067" y="4563630"/>
                  <a:pt x="1452659" y="4558858"/>
                  <a:pt x="1455839" y="4555676"/>
                </a:cubicBezTo>
                <a:cubicBezTo>
                  <a:pt x="1466975" y="4549313"/>
                  <a:pt x="1479700" y="4544540"/>
                  <a:pt x="1484473" y="4533406"/>
                </a:cubicBezTo>
                <a:close/>
                <a:moveTo>
                  <a:pt x="1145647" y="4527042"/>
                </a:moveTo>
                <a:cubicBezTo>
                  <a:pt x="1140875" y="4538178"/>
                  <a:pt x="1136102" y="4547722"/>
                  <a:pt x="1129739" y="4554085"/>
                </a:cubicBezTo>
                <a:cubicBezTo>
                  <a:pt x="1123375" y="4547722"/>
                  <a:pt x="1110650" y="4555676"/>
                  <a:pt x="1110650" y="4565221"/>
                </a:cubicBezTo>
                <a:cubicBezTo>
                  <a:pt x="1105877" y="4550904"/>
                  <a:pt x="1110650" y="4541359"/>
                  <a:pt x="1118604" y="4533406"/>
                </a:cubicBezTo>
                <a:cubicBezTo>
                  <a:pt x="1126558" y="4531815"/>
                  <a:pt x="1136102" y="4528633"/>
                  <a:pt x="1145647" y="4527042"/>
                </a:cubicBezTo>
                <a:close/>
                <a:moveTo>
                  <a:pt x="2146218" y="4517498"/>
                </a:moveTo>
                <a:cubicBezTo>
                  <a:pt x="2109631" y="4574765"/>
                  <a:pt x="2007823" y="4624078"/>
                  <a:pt x="2033275" y="4719521"/>
                </a:cubicBezTo>
                <a:cubicBezTo>
                  <a:pt x="2036457" y="4616124"/>
                  <a:pt x="2123947" y="4604989"/>
                  <a:pt x="2146218" y="4517498"/>
                </a:cubicBezTo>
                <a:close/>
                <a:moveTo>
                  <a:pt x="1789894" y="4517498"/>
                </a:moveTo>
                <a:cubicBezTo>
                  <a:pt x="1770804" y="4523861"/>
                  <a:pt x="1750125" y="4531815"/>
                  <a:pt x="1731037" y="4536587"/>
                </a:cubicBezTo>
                <a:cubicBezTo>
                  <a:pt x="1727855" y="4538178"/>
                  <a:pt x="1726265" y="4541359"/>
                  <a:pt x="1724674" y="4544540"/>
                </a:cubicBezTo>
                <a:cubicBezTo>
                  <a:pt x="1729446" y="4542950"/>
                  <a:pt x="1732628" y="4542950"/>
                  <a:pt x="1737399" y="4541359"/>
                </a:cubicBezTo>
                <a:cubicBezTo>
                  <a:pt x="1751717" y="4538178"/>
                  <a:pt x="1766033" y="4531815"/>
                  <a:pt x="1780349" y="4527043"/>
                </a:cubicBezTo>
                <a:cubicBezTo>
                  <a:pt x="1781940" y="4527043"/>
                  <a:pt x="1783532" y="4525452"/>
                  <a:pt x="1785122" y="4523861"/>
                </a:cubicBezTo>
                <a:cubicBezTo>
                  <a:pt x="1786712" y="4523861"/>
                  <a:pt x="1789894" y="4523861"/>
                  <a:pt x="1791485" y="4523861"/>
                </a:cubicBezTo>
                <a:cubicBezTo>
                  <a:pt x="1794666" y="4523861"/>
                  <a:pt x="1797847" y="4522271"/>
                  <a:pt x="1801028" y="4520680"/>
                </a:cubicBezTo>
                <a:cubicBezTo>
                  <a:pt x="1796256" y="4520680"/>
                  <a:pt x="1793075" y="4520680"/>
                  <a:pt x="1788304" y="4520680"/>
                </a:cubicBezTo>
                <a:cubicBezTo>
                  <a:pt x="1788304" y="4519089"/>
                  <a:pt x="1789894" y="4519089"/>
                  <a:pt x="1789894" y="4517498"/>
                </a:cubicBezTo>
                <a:close/>
                <a:moveTo>
                  <a:pt x="1191778" y="4514316"/>
                </a:moveTo>
                <a:cubicBezTo>
                  <a:pt x="1196551" y="4522270"/>
                  <a:pt x="1199732" y="4531815"/>
                  <a:pt x="1201323" y="4539769"/>
                </a:cubicBezTo>
                <a:cubicBezTo>
                  <a:pt x="1190188" y="4544540"/>
                  <a:pt x="1179052" y="4547722"/>
                  <a:pt x="1167917" y="4550903"/>
                </a:cubicBezTo>
                <a:cubicBezTo>
                  <a:pt x="1167917" y="4541359"/>
                  <a:pt x="1167917" y="4530224"/>
                  <a:pt x="1166326" y="4520679"/>
                </a:cubicBezTo>
                <a:cubicBezTo>
                  <a:pt x="1175871" y="4519089"/>
                  <a:pt x="1183825" y="4515907"/>
                  <a:pt x="1191778" y="4514316"/>
                </a:cubicBezTo>
                <a:close/>
                <a:moveTo>
                  <a:pt x="1506743" y="4511135"/>
                </a:moveTo>
                <a:cubicBezTo>
                  <a:pt x="1501971" y="4515907"/>
                  <a:pt x="1495608" y="4520680"/>
                  <a:pt x="1487654" y="4527043"/>
                </a:cubicBezTo>
                <a:cubicBezTo>
                  <a:pt x="1490836" y="4530224"/>
                  <a:pt x="1492427" y="4531815"/>
                  <a:pt x="1494018" y="4534997"/>
                </a:cubicBezTo>
                <a:cubicBezTo>
                  <a:pt x="1497199" y="4531815"/>
                  <a:pt x="1501971" y="4527043"/>
                  <a:pt x="1505152" y="4523861"/>
                </a:cubicBezTo>
                <a:cubicBezTo>
                  <a:pt x="1505152" y="4519089"/>
                  <a:pt x="1506743" y="4515907"/>
                  <a:pt x="1506743" y="4511135"/>
                </a:cubicBezTo>
                <a:close/>
                <a:moveTo>
                  <a:pt x="1074063" y="4511135"/>
                </a:moveTo>
                <a:cubicBezTo>
                  <a:pt x="1075654" y="4512726"/>
                  <a:pt x="1075654" y="4514316"/>
                  <a:pt x="1077246" y="4515907"/>
                </a:cubicBezTo>
                <a:cubicBezTo>
                  <a:pt x="1074063" y="4517498"/>
                  <a:pt x="1072472" y="4514316"/>
                  <a:pt x="1070882" y="4517498"/>
                </a:cubicBezTo>
                <a:cubicBezTo>
                  <a:pt x="1069291" y="4519089"/>
                  <a:pt x="1070882" y="4519089"/>
                  <a:pt x="1070882" y="4520679"/>
                </a:cubicBezTo>
                <a:cubicBezTo>
                  <a:pt x="1069291" y="4520679"/>
                  <a:pt x="1069291" y="4520679"/>
                  <a:pt x="1069291" y="4520679"/>
                </a:cubicBezTo>
                <a:cubicBezTo>
                  <a:pt x="1069291" y="4517498"/>
                  <a:pt x="1069291" y="4515907"/>
                  <a:pt x="1067700" y="4512726"/>
                </a:cubicBezTo>
                <a:cubicBezTo>
                  <a:pt x="1067700" y="4512726"/>
                  <a:pt x="1067700" y="4514316"/>
                  <a:pt x="1069291" y="4514316"/>
                </a:cubicBezTo>
                <a:cubicBezTo>
                  <a:pt x="1070882" y="4512726"/>
                  <a:pt x="1072472" y="4512726"/>
                  <a:pt x="1074063" y="4511135"/>
                </a:cubicBezTo>
                <a:close/>
                <a:moveTo>
                  <a:pt x="2804781" y="4503181"/>
                </a:moveTo>
                <a:cubicBezTo>
                  <a:pt x="2833414" y="4541359"/>
                  <a:pt x="2889090" y="4579536"/>
                  <a:pt x="2928859" y="4601807"/>
                </a:cubicBezTo>
                <a:cubicBezTo>
                  <a:pt x="2901816" y="4558857"/>
                  <a:pt x="2850913" y="4533405"/>
                  <a:pt x="2804781" y="4503181"/>
                </a:cubicBezTo>
                <a:close/>
                <a:moveTo>
                  <a:pt x="1234728" y="4503181"/>
                </a:moveTo>
                <a:cubicBezTo>
                  <a:pt x="1234728" y="4504772"/>
                  <a:pt x="1233137" y="4506363"/>
                  <a:pt x="1231547" y="4506363"/>
                </a:cubicBezTo>
                <a:cubicBezTo>
                  <a:pt x="1233137" y="4511135"/>
                  <a:pt x="1234728" y="4522270"/>
                  <a:pt x="1231547" y="4525452"/>
                </a:cubicBezTo>
                <a:cubicBezTo>
                  <a:pt x="1233137" y="4525452"/>
                  <a:pt x="1233137" y="4527043"/>
                  <a:pt x="1233137" y="4528633"/>
                </a:cubicBezTo>
                <a:cubicBezTo>
                  <a:pt x="1228365" y="4530224"/>
                  <a:pt x="1225184" y="4531815"/>
                  <a:pt x="1220411" y="4533406"/>
                </a:cubicBezTo>
                <a:cubicBezTo>
                  <a:pt x="1223593" y="4523861"/>
                  <a:pt x="1223593" y="4515907"/>
                  <a:pt x="1223593" y="4506363"/>
                </a:cubicBezTo>
                <a:cubicBezTo>
                  <a:pt x="1226774" y="4504772"/>
                  <a:pt x="1231547" y="4504772"/>
                  <a:pt x="1234728" y="4503181"/>
                </a:cubicBezTo>
                <a:close/>
                <a:moveTo>
                  <a:pt x="1481291" y="4501591"/>
                </a:moveTo>
                <a:cubicBezTo>
                  <a:pt x="1479700" y="4503182"/>
                  <a:pt x="1476519" y="4504773"/>
                  <a:pt x="1473337" y="4506364"/>
                </a:cubicBezTo>
                <a:cubicBezTo>
                  <a:pt x="1473337" y="4507954"/>
                  <a:pt x="1471747" y="4509545"/>
                  <a:pt x="1471747" y="4509545"/>
                </a:cubicBezTo>
                <a:cubicBezTo>
                  <a:pt x="1463793" y="4517498"/>
                  <a:pt x="1449476" y="4520680"/>
                  <a:pt x="1441523" y="4528634"/>
                </a:cubicBezTo>
                <a:cubicBezTo>
                  <a:pt x="1438342" y="4533406"/>
                  <a:pt x="1438342" y="4539769"/>
                  <a:pt x="1435160" y="4542950"/>
                </a:cubicBezTo>
                <a:cubicBezTo>
                  <a:pt x="1451067" y="4531815"/>
                  <a:pt x="1466975" y="4517498"/>
                  <a:pt x="1482882" y="4504773"/>
                </a:cubicBezTo>
                <a:cubicBezTo>
                  <a:pt x="1482882" y="4504773"/>
                  <a:pt x="1481291" y="4504773"/>
                  <a:pt x="1481291" y="4504773"/>
                </a:cubicBezTo>
                <a:cubicBezTo>
                  <a:pt x="1481291" y="4503182"/>
                  <a:pt x="1481291" y="4503182"/>
                  <a:pt x="1481291" y="4501591"/>
                </a:cubicBezTo>
                <a:close/>
                <a:moveTo>
                  <a:pt x="2766604" y="4501590"/>
                </a:moveTo>
                <a:cubicBezTo>
                  <a:pt x="2811144" y="4550903"/>
                  <a:pt x="2854094" y="4601807"/>
                  <a:pt x="2912952" y="4641574"/>
                </a:cubicBezTo>
                <a:cubicBezTo>
                  <a:pt x="2877956" y="4585899"/>
                  <a:pt x="2822280" y="4542950"/>
                  <a:pt x="2766604" y="4501590"/>
                </a:cubicBezTo>
                <a:close/>
                <a:moveTo>
                  <a:pt x="1245862" y="4499999"/>
                </a:moveTo>
                <a:cubicBezTo>
                  <a:pt x="1242681" y="4509545"/>
                  <a:pt x="1241090" y="4517498"/>
                  <a:pt x="1239499" y="4527043"/>
                </a:cubicBezTo>
                <a:cubicBezTo>
                  <a:pt x="1239499" y="4527043"/>
                  <a:pt x="1237909" y="4528633"/>
                  <a:pt x="1236318" y="4528633"/>
                </a:cubicBezTo>
                <a:cubicBezTo>
                  <a:pt x="1236318" y="4523861"/>
                  <a:pt x="1236318" y="4519089"/>
                  <a:pt x="1237909" y="4515907"/>
                </a:cubicBezTo>
                <a:cubicBezTo>
                  <a:pt x="1233137" y="4512726"/>
                  <a:pt x="1237909" y="4507954"/>
                  <a:pt x="1239499" y="4501591"/>
                </a:cubicBezTo>
                <a:cubicBezTo>
                  <a:pt x="1241090" y="4501591"/>
                  <a:pt x="1244271" y="4499999"/>
                  <a:pt x="1245862" y="4499999"/>
                </a:cubicBezTo>
                <a:close/>
                <a:moveTo>
                  <a:pt x="1495608" y="4495228"/>
                </a:moveTo>
                <a:cubicBezTo>
                  <a:pt x="1492427" y="4496819"/>
                  <a:pt x="1489246" y="4498410"/>
                  <a:pt x="1486063" y="4500001"/>
                </a:cubicBezTo>
                <a:cubicBezTo>
                  <a:pt x="1486063" y="4501591"/>
                  <a:pt x="1484473" y="4503182"/>
                  <a:pt x="1484473" y="4504773"/>
                </a:cubicBezTo>
                <a:cubicBezTo>
                  <a:pt x="1489246" y="4501591"/>
                  <a:pt x="1492427" y="4498410"/>
                  <a:pt x="1495608" y="4495228"/>
                </a:cubicBezTo>
                <a:close/>
                <a:moveTo>
                  <a:pt x="1538558" y="4487275"/>
                </a:moveTo>
                <a:cubicBezTo>
                  <a:pt x="1530604" y="4492047"/>
                  <a:pt x="1524241" y="4496819"/>
                  <a:pt x="1516287" y="4503182"/>
                </a:cubicBezTo>
                <a:cubicBezTo>
                  <a:pt x="1517878" y="4504773"/>
                  <a:pt x="1521060" y="4504773"/>
                  <a:pt x="1524241" y="4506364"/>
                </a:cubicBezTo>
                <a:cubicBezTo>
                  <a:pt x="1529013" y="4501591"/>
                  <a:pt x="1533785" y="4498410"/>
                  <a:pt x="1540148" y="4493638"/>
                </a:cubicBezTo>
                <a:cubicBezTo>
                  <a:pt x="1538558" y="4493638"/>
                  <a:pt x="1538558" y="4493638"/>
                  <a:pt x="1538558" y="4493638"/>
                </a:cubicBezTo>
                <a:cubicBezTo>
                  <a:pt x="1538558" y="4492047"/>
                  <a:pt x="1538558" y="4488865"/>
                  <a:pt x="1538558" y="4487275"/>
                </a:cubicBezTo>
                <a:close/>
                <a:moveTo>
                  <a:pt x="1791485" y="4485684"/>
                </a:moveTo>
                <a:cubicBezTo>
                  <a:pt x="1788304" y="4487275"/>
                  <a:pt x="1786712" y="4487275"/>
                  <a:pt x="1785122" y="4488865"/>
                </a:cubicBezTo>
                <a:cubicBezTo>
                  <a:pt x="1780349" y="4498410"/>
                  <a:pt x="1772395" y="4503182"/>
                  <a:pt x="1756489" y="4503182"/>
                </a:cubicBezTo>
                <a:cubicBezTo>
                  <a:pt x="1748534" y="4507954"/>
                  <a:pt x="1740580" y="4511135"/>
                  <a:pt x="1732628" y="4514317"/>
                </a:cubicBezTo>
                <a:cubicBezTo>
                  <a:pt x="1734218" y="4515907"/>
                  <a:pt x="1734218" y="4515907"/>
                  <a:pt x="1735809" y="4515907"/>
                </a:cubicBezTo>
                <a:cubicBezTo>
                  <a:pt x="1735809" y="4515907"/>
                  <a:pt x="1735809" y="4517498"/>
                  <a:pt x="1735809" y="4517498"/>
                </a:cubicBezTo>
                <a:cubicBezTo>
                  <a:pt x="1734218" y="4517498"/>
                  <a:pt x="1732628" y="4515907"/>
                  <a:pt x="1731037" y="4515907"/>
                </a:cubicBezTo>
                <a:cubicBezTo>
                  <a:pt x="1718310" y="4522271"/>
                  <a:pt x="1703994" y="4527043"/>
                  <a:pt x="1689678" y="4531815"/>
                </a:cubicBezTo>
                <a:cubicBezTo>
                  <a:pt x="1689678" y="4533406"/>
                  <a:pt x="1689678" y="4536587"/>
                  <a:pt x="1689678" y="4539769"/>
                </a:cubicBezTo>
                <a:cubicBezTo>
                  <a:pt x="1696041" y="4538178"/>
                  <a:pt x="1703994" y="4534997"/>
                  <a:pt x="1710356" y="4533406"/>
                </a:cubicBezTo>
                <a:cubicBezTo>
                  <a:pt x="1708766" y="4531815"/>
                  <a:pt x="1705585" y="4530224"/>
                  <a:pt x="1702404" y="4528634"/>
                </a:cubicBezTo>
                <a:cubicBezTo>
                  <a:pt x="1707175" y="4528634"/>
                  <a:pt x="1713538" y="4528634"/>
                  <a:pt x="1719901" y="4530224"/>
                </a:cubicBezTo>
                <a:cubicBezTo>
                  <a:pt x="1732628" y="4527043"/>
                  <a:pt x="1743762" y="4522271"/>
                  <a:pt x="1754898" y="4517498"/>
                </a:cubicBezTo>
                <a:cubicBezTo>
                  <a:pt x="1754898" y="4517498"/>
                  <a:pt x="1754898" y="4515907"/>
                  <a:pt x="1754898" y="4515907"/>
                </a:cubicBezTo>
                <a:cubicBezTo>
                  <a:pt x="1758079" y="4515907"/>
                  <a:pt x="1759670" y="4515907"/>
                  <a:pt x="1761261" y="4515907"/>
                </a:cubicBezTo>
                <a:cubicBezTo>
                  <a:pt x="1775577" y="4509545"/>
                  <a:pt x="1789894" y="4503182"/>
                  <a:pt x="1802619" y="4496819"/>
                </a:cubicBezTo>
                <a:cubicBezTo>
                  <a:pt x="1797847" y="4496819"/>
                  <a:pt x="1794666" y="4498410"/>
                  <a:pt x="1789894" y="4495228"/>
                </a:cubicBezTo>
                <a:cubicBezTo>
                  <a:pt x="1789894" y="4492047"/>
                  <a:pt x="1791485" y="4488865"/>
                  <a:pt x="1791485" y="4485684"/>
                </a:cubicBezTo>
                <a:close/>
                <a:moveTo>
                  <a:pt x="1169509" y="4485683"/>
                </a:moveTo>
                <a:cubicBezTo>
                  <a:pt x="1172689" y="4488864"/>
                  <a:pt x="1175871" y="4492046"/>
                  <a:pt x="1179053" y="4496818"/>
                </a:cubicBezTo>
                <a:cubicBezTo>
                  <a:pt x="1175871" y="4498409"/>
                  <a:pt x="1171099" y="4498409"/>
                  <a:pt x="1167918" y="4500000"/>
                </a:cubicBezTo>
                <a:cubicBezTo>
                  <a:pt x="1169509" y="4495228"/>
                  <a:pt x="1169509" y="4490455"/>
                  <a:pt x="1169509" y="4485683"/>
                </a:cubicBezTo>
                <a:close/>
                <a:moveTo>
                  <a:pt x="1640365" y="4484093"/>
                </a:moveTo>
                <a:cubicBezTo>
                  <a:pt x="1637183" y="4485684"/>
                  <a:pt x="1632411" y="4485684"/>
                  <a:pt x="1629229" y="4485684"/>
                </a:cubicBezTo>
                <a:cubicBezTo>
                  <a:pt x="1624457" y="4488865"/>
                  <a:pt x="1618095" y="4490456"/>
                  <a:pt x="1613322" y="4493638"/>
                </a:cubicBezTo>
                <a:cubicBezTo>
                  <a:pt x="1622867" y="4490456"/>
                  <a:pt x="1632411" y="4487275"/>
                  <a:pt x="1640365" y="4484093"/>
                </a:cubicBezTo>
                <a:close/>
                <a:moveTo>
                  <a:pt x="1326990" y="4484092"/>
                </a:moveTo>
                <a:cubicBezTo>
                  <a:pt x="1331761" y="4484092"/>
                  <a:pt x="1336534" y="4485683"/>
                  <a:pt x="1336534" y="4488864"/>
                </a:cubicBezTo>
                <a:cubicBezTo>
                  <a:pt x="1334943" y="4490455"/>
                  <a:pt x="1331761" y="4490455"/>
                  <a:pt x="1330171" y="4492046"/>
                </a:cubicBezTo>
                <a:cubicBezTo>
                  <a:pt x="1330171" y="4488864"/>
                  <a:pt x="1328581" y="4487274"/>
                  <a:pt x="1326990" y="4484092"/>
                </a:cubicBezTo>
                <a:close/>
                <a:moveTo>
                  <a:pt x="1207686" y="4476139"/>
                </a:moveTo>
                <a:cubicBezTo>
                  <a:pt x="1207686" y="4479321"/>
                  <a:pt x="1207686" y="4480911"/>
                  <a:pt x="1207686" y="4485683"/>
                </a:cubicBezTo>
                <a:cubicBezTo>
                  <a:pt x="1206095" y="4485683"/>
                  <a:pt x="1206095" y="4485683"/>
                  <a:pt x="1206095" y="4485683"/>
                </a:cubicBezTo>
                <a:cubicBezTo>
                  <a:pt x="1207686" y="4482502"/>
                  <a:pt x="1207686" y="4479321"/>
                  <a:pt x="1207686" y="4476139"/>
                </a:cubicBezTo>
                <a:close/>
                <a:moveTo>
                  <a:pt x="1188597" y="4471367"/>
                </a:moveTo>
                <a:cubicBezTo>
                  <a:pt x="1190188" y="4474548"/>
                  <a:pt x="1193369" y="4476139"/>
                  <a:pt x="1196551" y="4477730"/>
                </a:cubicBezTo>
                <a:cubicBezTo>
                  <a:pt x="1196551" y="4474548"/>
                  <a:pt x="1194960" y="4471367"/>
                  <a:pt x="1196551" y="4471367"/>
                </a:cubicBezTo>
                <a:cubicBezTo>
                  <a:pt x="1199732" y="4476139"/>
                  <a:pt x="1199732" y="4482502"/>
                  <a:pt x="1199732" y="4488864"/>
                </a:cubicBezTo>
                <a:cubicBezTo>
                  <a:pt x="1198142" y="4488864"/>
                  <a:pt x="1194960" y="4490455"/>
                  <a:pt x="1191779" y="4492046"/>
                </a:cubicBezTo>
                <a:cubicBezTo>
                  <a:pt x="1188597" y="4487274"/>
                  <a:pt x="1185414" y="4484092"/>
                  <a:pt x="1182234" y="4480911"/>
                </a:cubicBezTo>
                <a:cubicBezTo>
                  <a:pt x="1183825" y="4477730"/>
                  <a:pt x="1187005" y="4474548"/>
                  <a:pt x="1188597" y="4471367"/>
                </a:cubicBezTo>
                <a:close/>
                <a:moveTo>
                  <a:pt x="1565600" y="4468186"/>
                </a:moveTo>
                <a:cubicBezTo>
                  <a:pt x="1562418" y="4469777"/>
                  <a:pt x="1559237" y="4472958"/>
                  <a:pt x="1556056" y="4474549"/>
                </a:cubicBezTo>
                <a:cubicBezTo>
                  <a:pt x="1557647" y="4474549"/>
                  <a:pt x="1557647" y="4474549"/>
                  <a:pt x="1559237" y="4474549"/>
                </a:cubicBezTo>
                <a:cubicBezTo>
                  <a:pt x="1560828" y="4472958"/>
                  <a:pt x="1564009" y="4471368"/>
                  <a:pt x="1565600" y="4468186"/>
                </a:cubicBezTo>
                <a:close/>
                <a:moveTo>
                  <a:pt x="1185415" y="4461822"/>
                </a:moveTo>
                <a:cubicBezTo>
                  <a:pt x="1185415" y="4461822"/>
                  <a:pt x="1183825" y="4463413"/>
                  <a:pt x="1185415" y="4465003"/>
                </a:cubicBezTo>
                <a:cubicBezTo>
                  <a:pt x="1183825" y="4465003"/>
                  <a:pt x="1183825" y="4466594"/>
                  <a:pt x="1182234" y="4466594"/>
                </a:cubicBezTo>
                <a:cubicBezTo>
                  <a:pt x="1182234" y="4466594"/>
                  <a:pt x="1183825" y="4460231"/>
                  <a:pt x="1185415" y="4461822"/>
                </a:cubicBezTo>
                <a:close/>
                <a:moveTo>
                  <a:pt x="1070882" y="4458640"/>
                </a:moveTo>
                <a:cubicBezTo>
                  <a:pt x="1080427" y="4463413"/>
                  <a:pt x="1088380" y="4468185"/>
                  <a:pt x="1099515" y="4469776"/>
                </a:cubicBezTo>
                <a:cubicBezTo>
                  <a:pt x="1097924" y="4469776"/>
                  <a:pt x="1094743" y="4474548"/>
                  <a:pt x="1097924" y="4474548"/>
                </a:cubicBezTo>
                <a:cubicBezTo>
                  <a:pt x="1107469" y="4474548"/>
                  <a:pt x="1117013" y="4471367"/>
                  <a:pt x="1126557" y="4468185"/>
                </a:cubicBezTo>
                <a:cubicBezTo>
                  <a:pt x="1128148" y="4469776"/>
                  <a:pt x="1128148" y="4469776"/>
                  <a:pt x="1129739" y="4469776"/>
                </a:cubicBezTo>
                <a:cubicBezTo>
                  <a:pt x="1129739" y="4469776"/>
                  <a:pt x="1129739" y="4468185"/>
                  <a:pt x="1129739" y="4468185"/>
                </a:cubicBezTo>
                <a:cubicBezTo>
                  <a:pt x="1136102" y="4466594"/>
                  <a:pt x="1140875" y="4466594"/>
                  <a:pt x="1145647" y="4468185"/>
                </a:cubicBezTo>
                <a:cubicBezTo>
                  <a:pt x="1145647" y="4469776"/>
                  <a:pt x="1145647" y="4469776"/>
                  <a:pt x="1145647" y="4471367"/>
                </a:cubicBezTo>
                <a:cubicBezTo>
                  <a:pt x="1147237" y="4472957"/>
                  <a:pt x="1148828" y="4474548"/>
                  <a:pt x="1152009" y="4474548"/>
                </a:cubicBezTo>
                <a:cubicBezTo>
                  <a:pt x="1152009" y="4485683"/>
                  <a:pt x="1152009" y="4496818"/>
                  <a:pt x="1150418" y="4507953"/>
                </a:cubicBezTo>
                <a:cubicBezTo>
                  <a:pt x="1148828" y="4507953"/>
                  <a:pt x="1145647" y="4509544"/>
                  <a:pt x="1144056" y="4509544"/>
                </a:cubicBezTo>
                <a:cubicBezTo>
                  <a:pt x="1140875" y="4509544"/>
                  <a:pt x="1139284" y="4511135"/>
                  <a:pt x="1136102" y="4511135"/>
                </a:cubicBezTo>
                <a:cubicBezTo>
                  <a:pt x="1136102" y="4506363"/>
                  <a:pt x="1136102" y="4501590"/>
                  <a:pt x="1134511" y="4496818"/>
                </a:cubicBezTo>
                <a:cubicBezTo>
                  <a:pt x="1132921" y="4501590"/>
                  <a:pt x="1129739" y="4507953"/>
                  <a:pt x="1126557" y="4512726"/>
                </a:cubicBezTo>
                <a:cubicBezTo>
                  <a:pt x="1121785" y="4512726"/>
                  <a:pt x="1115423" y="4514316"/>
                  <a:pt x="1110651" y="4515907"/>
                </a:cubicBezTo>
                <a:cubicBezTo>
                  <a:pt x="1113832" y="4507953"/>
                  <a:pt x="1118604" y="4501590"/>
                  <a:pt x="1115423" y="4493636"/>
                </a:cubicBezTo>
                <a:cubicBezTo>
                  <a:pt x="1110651" y="4500000"/>
                  <a:pt x="1107469" y="4507953"/>
                  <a:pt x="1104287" y="4517497"/>
                </a:cubicBezTo>
                <a:cubicBezTo>
                  <a:pt x="1104287" y="4517497"/>
                  <a:pt x="1102697" y="4517497"/>
                  <a:pt x="1102697" y="4517497"/>
                </a:cubicBezTo>
                <a:cubicBezTo>
                  <a:pt x="1099515" y="4514316"/>
                  <a:pt x="1096333" y="4511135"/>
                  <a:pt x="1094743" y="4507953"/>
                </a:cubicBezTo>
                <a:cubicBezTo>
                  <a:pt x="1091561" y="4509544"/>
                  <a:pt x="1091561" y="4514316"/>
                  <a:pt x="1091561" y="4519088"/>
                </a:cubicBezTo>
                <a:cubicBezTo>
                  <a:pt x="1089970" y="4519088"/>
                  <a:pt x="1089970" y="4519088"/>
                  <a:pt x="1088380" y="4519088"/>
                </a:cubicBezTo>
                <a:cubicBezTo>
                  <a:pt x="1086789" y="4517497"/>
                  <a:pt x="1085199" y="4515907"/>
                  <a:pt x="1083608" y="4515907"/>
                </a:cubicBezTo>
                <a:cubicBezTo>
                  <a:pt x="1080427" y="4504772"/>
                  <a:pt x="1082017" y="4493636"/>
                  <a:pt x="1089970" y="4490455"/>
                </a:cubicBezTo>
                <a:cubicBezTo>
                  <a:pt x="1089970" y="4488864"/>
                  <a:pt x="1086789" y="4488864"/>
                  <a:pt x="1086789" y="4487273"/>
                </a:cubicBezTo>
                <a:cubicBezTo>
                  <a:pt x="1089970" y="4482502"/>
                  <a:pt x="1097924" y="4477730"/>
                  <a:pt x="1094743" y="4472957"/>
                </a:cubicBezTo>
                <a:cubicBezTo>
                  <a:pt x="1091561" y="4472957"/>
                  <a:pt x="1089970" y="4476139"/>
                  <a:pt x="1088380" y="4477730"/>
                </a:cubicBezTo>
                <a:cubicBezTo>
                  <a:pt x="1086789" y="4474548"/>
                  <a:pt x="1085199" y="4469776"/>
                  <a:pt x="1080427" y="4469776"/>
                </a:cubicBezTo>
                <a:cubicBezTo>
                  <a:pt x="1078836" y="4469776"/>
                  <a:pt x="1077245" y="4471367"/>
                  <a:pt x="1075654" y="4472957"/>
                </a:cubicBezTo>
                <a:cubicBezTo>
                  <a:pt x="1075654" y="4479321"/>
                  <a:pt x="1080427" y="4484092"/>
                  <a:pt x="1080427" y="4488864"/>
                </a:cubicBezTo>
                <a:cubicBezTo>
                  <a:pt x="1075654" y="4490455"/>
                  <a:pt x="1077245" y="4485683"/>
                  <a:pt x="1077245" y="4482502"/>
                </a:cubicBezTo>
                <a:cubicBezTo>
                  <a:pt x="1074063" y="4474548"/>
                  <a:pt x="1072473" y="4466594"/>
                  <a:pt x="1070882" y="4458640"/>
                </a:cubicBezTo>
                <a:close/>
                <a:moveTo>
                  <a:pt x="1341308" y="4457050"/>
                </a:moveTo>
                <a:cubicBezTo>
                  <a:pt x="1341308" y="4457050"/>
                  <a:pt x="1341308" y="4458641"/>
                  <a:pt x="1341308" y="4458641"/>
                </a:cubicBezTo>
                <a:cubicBezTo>
                  <a:pt x="1341308" y="4458641"/>
                  <a:pt x="1339718" y="4458641"/>
                  <a:pt x="1339718" y="4458641"/>
                </a:cubicBezTo>
                <a:cubicBezTo>
                  <a:pt x="1339718" y="4458641"/>
                  <a:pt x="1341308" y="4457050"/>
                  <a:pt x="1341308" y="4457050"/>
                </a:cubicBezTo>
                <a:close/>
                <a:moveTo>
                  <a:pt x="1228366" y="4455459"/>
                </a:moveTo>
                <a:cubicBezTo>
                  <a:pt x="1228366" y="4458640"/>
                  <a:pt x="1231547" y="4458640"/>
                  <a:pt x="1233137" y="4461822"/>
                </a:cubicBezTo>
                <a:cubicBezTo>
                  <a:pt x="1229956" y="4460231"/>
                  <a:pt x="1228366" y="4461822"/>
                  <a:pt x="1228366" y="4461822"/>
                </a:cubicBezTo>
                <a:cubicBezTo>
                  <a:pt x="1228366" y="4460231"/>
                  <a:pt x="1228366" y="4457050"/>
                  <a:pt x="1228366" y="4455459"/>
                </a:cubicBezTo>
                <a:close/>
                <a:moveTo>
                  <a:pt x="1256999" y="4453869"/>
                </a:moveTo>
                <a:cubicBezTo>
                  <a:pt x="1256999" y="4460231"/>
                  <a:pt x="1255408" y="4466594"/>
                  <a:pt x="1253817" y="4472957"/>
                </a:cubicBezTo>
                <a:cubicBezTo>
                  <a:pt x="1252227" y="4474548"/>
                  <a:pt x="1252227" y="4474548"/>
                  <a:pt x="1250636" y="4474548"/>
                </a:cubicBezTo>
                <a:cubicBezTo>
                  <a:pt x="1250636" y="4466594"/>
                  <a:pt x="1253817" y="4458640"/>
                  <a:pt x="1256999" y="4453869"/>
                </a:cubicBezTo>
                <a:close/>
                <a:moveTo>
                  <a:pt x="1206094" y="4452278"/>
                </a:moveTo>
                <a:lnTo>
                  <a:pt x="1206094" y="4453869"/>
                </a:lnTo>
                <a:cubicBezTo>
                  <a:pt x="1206094" y="4453869"/>
                  <a:pt x="1204504" y="4453869"/>
                  <a:pt x="1202913" y="4453869"/>
                </a:cubicBezTo>
                <a:cubicBezTo>
                  <a:pt x="1202913" y="4452278"/>
                  <a:pt x="1204504" y="4452278"/>
                  <a:pt x="1206094" y="4452278"/>
                </a:cubicBezTo>
                <a:close/>
                <a:moveTo>
                  <a:pt x="1123375" y="4449097"/>
                </a:moveTo>
                <a:cubicBezTo>
                  <a:pt x="1126558" y="4449097"/>
                  <a:pt x="1129740" y="4452278"/>
                  <a:pt x="1131330" y="4455460"/>
                </a:cubicBezTo>
                <a:cubicBezTo>
                  <a:pt x="1129740" y="4455460"/>
                  <a:pt x="1126558" y="4457050"/>
                  <a:pt x="1124966" y="4457050"/>
                </a:cubicBezTo>
                <a:cubicBezTo>
                  <a:pt x="1120194" y="4453869"/>
                  <a:pt x="1118604" y="4449097"/>
                  <a:pt x="1123375" y="4449097"/>
                </a:cubicBezTo>
                <a:close/>
                <a:moveTo>
                  <a:pt x="2197121" y="4445916"/>
                </a:moveTo>
                <a:cubicBezTo>
                  <a:pt x="2168488" y="4490456"/>
                  <a:pt x="2168488" y="4587491"/>
                  <a:pt x="2197121" y="4624078"/>
                </a:cubicBezTo>
                <a:cubicBezTo>
                  <a:pt x="2197121" y="4576355"/>
                  <a:pt x="2187576" y="4509545"/>
                  <a:pt x="2197121" y="4445916"/>
                </a:cubicBezTo>
                <a:close/>
                <a:moveTo>
                  <a:pt x="1612621" y="4443892"/>
                </a:moveTo>
                <a:lnTo>
                  <a:pt x="1612924" y="4445916"/>
                </a:lnTo>
                <a:lnTo>
                  <a:pt x="1611983" y="4452196"/>
                </a:lnTo>
                <a:close/>
                <a:moveTo>
                  <a:pt x="1171098" y="4441143"/>
                </a:moveTo>
                <a:cubicBezTo>
                  <a:pt x="1172689" y="4444325"/>
                  <a:pt x="1177461" y="4447507"/>
                  <a:pt x="1179052" y="4447507"/>
                </a:cubicBezTo>
                <a:cubicBezTo>
                  <a:pt x="1182233" y="4447507"/>
                  <a:pt x="1187006" y="4449097"/>
                  <a:pt x="1185415" y="4450688"/>
                </a:cubicBezTo>
                <a:cubicBezTo>
                  <a:pt x="1182233" y="4449097"/>
                  <a:pt x="1179052" y="4450688"/>
                  <a:pt x="1177461" y="4452278"/>
                </a:cubicBezTo>
                <a:cubicBezTo>
                  <a:pt x="1175870" y="4450688"/>
                  <a:pt x="1172689" y="4449097"/>
                  <a:pt x="1169507" y="4449097"/>
                </a:cubicBezTo>
                <a:cubicBezTo>
                  <a:pt x="1171098" y="4445916"/>
                  <a:pt x="1171098" y="4444325"/>
                  <a:pt x="1171098" y="4441143"/>
                </a:cubicBezTo>
                <a:close/>
                <a:moveTo>
                  <a:pt x="1082017" y="4441143"/>
                </a:moveTo>
                <a:cubicBezTo>
                  <a:pt x="1082017" y="4442734"/>
                  <a:pt x="1083608" y="4442734"/>
                  <a:pt x="1085199" y="4444325"/>
                </a:cubicBezTo>
                <a:cubicBezTo>
                  <a:pt x="1094742" y="4452278"/>
                  <a:pt x="1102697" y="4455459"/>
                  <a:pt x="1113832" y="4460232"/>
                </a:cubicBezTo>
                <a:cubicBezTo>
                  <a:pt x="1105879" y="4460232"/>
                  <a:pt x="1099516" y="4460232"/>
                  <a:pt x="1091562" y="4458641"/>
                </a:cubicBezTo>
                <a:cubicBezTo>
                  <a:pt x="1088380" y="4453869"/>
                  <a:pt x="1085199" y="4447507"/>
                  <a:pt x="1082017" y="4441143"/>
                </a:cubicBezTo>
                <a:close/>
                <a:moveTo>
                  <a:pt x="1269723" y="4436371"/>
                </a:moveTo>
                <a:cubicBezTo>
                  <a:pt x="1269723" y="4437962"/>
                  <a:pt x="1268133" y="4437962"/>
                  <a:pt x="1268133" y="4437962"/>
                </a:cubicBezTo>
                <a:lnTo>
                  <a:pt x="1268830" y="4436594"/>
                </a:lnTo>
                <a:close/>
                <a:moveTo>
                  <a:pt x="1180642" y="4434780"/>
                </a:moveTo>
                <a:cubicBezTo>
                  <a:pt x="1183823" y="4436371"/>
                  <a:pt x="1185414" y="4437962"/>
                  <a:pt x="1188597" y="4439553"/>
                </a:cubicBezTo>
                <a:cubicBezTo>
                  <a:pt x="1188597" y="4441143"/>
                  <a:pt x="1188597" y="4442734"/>
                  <a:pt x="1188597" y="4445916"/>
                </a:cubicBezTo>
                <a:cubicBezTo>
                  <a:pt x="1190188" y="4447507"/>
                  <a:pt x="1191778" y="4449097"/>
                  <a:pt x="1190188" y="4450688"/>
                </a:cubicBezTo>
                <a:cubicBezTo>
                  <a:pt x="1183823" y="4450688"/>
                  <a:pt x="1185414" y="4445916"/>
                  <a:pt x="1185414" y="4442734"/>
                </a:cubicBezTo>
                <a:cubicBezTo>
                  <a:pt x="1185414" y="4439553"/>
                  <a:pt x="1183823" y="4436371"/>
                  <a:pt x="1180642" y="4434780"/>
                </a:cubicBezTo>
                <a:close/>
                <a:moveTo>
                  <a:pt x="1758079" y="4428417"/>
                </a:moveTo>
                <a:cubicBezTo>
                  <a:pt x="1756489" y="4430008"/>
                  <a:pt x="1754898" y="4430008"/>
                  <a:pt x="1753307" y="4431599"/>
                </a:cubicBezTo>
                <a:cubicBezTo>
                  <a:pt x="1751717" y="4434780"/>
                  <a:pt x="1750125" y="4439553"/>
                  <a:pt x="1748534" y="4442734"/>
                </a:cubicBezTo>
                <a:cubicBezTo>
                  <a:pt x="1740580" y="4444325"/>
                  <a:pt x="1732628" y="4447507"/>
                  <a:pt x="1723083" y="4449097"/>
                </a:cubicBezTo>
                <a:cubicBezTo>
                  <a:pt x="1723083" y="4447507"/>
                  <a:pt x="1723083" y="4445916"/>
                  <a:pt x="1723083" y="4444325"/>
                </a:cubicBezTo>
                <a:cubicBezTo>
                  <a:pt x="1721493" y="4444325"/>
                  <a:pt x="1719901" y="4445916"/>
                  <a:pt x="1718310" y="4445916"/>
                </a:cubicBezTo>
                <a:cubicBezTo>
                  <a:pt x="1719901" y="4447507"/>
                  <a:pt x="1719901" y="4447507"/>
                  <a:pt x="1719901" y="4449097"/>
                </a:cubicBezTo>
                <a:cubicBezTo>
                  <a:pt x="1716720" y="4450688"/>
                  <a:pt x="1713538" y="4450688"/>
                  <a:pt x="1710356" y="4450688"/>
                </a:cubicBezTo>
                <a:cubicBezTo>
                  <a:pt x="1699222" y="4457050"/>
                  <a:pt x="1688087" y="4461823"/>
                  <a:pt x="1676952" y="4466595"/>
                </a:cubicBezTo>
                <a:cubicBezTo>
                  <a:pt x="1678542" y="4469777"/>
                  <a:pt x="1680134" y="4471368"/>
                  <a:pt x="1680134" y="4474549"/>
                </a:cubicBezTo>
                <a:cubicBezTo>
                  <a:pt x="1688087" y="4471368"/>
                  <a:pt x="1696041" y="4468186"/>
                  <a:pt x="1703994" y="4465004"/>
                </a:cubicBezTo>
                <a:cubicBezTo>
                  <a:pt x="1703994" y="4463414"/>
                  <a:pt x="1703994" y="4463414"/>
                  <a:pt x="1703994" y="4461823"/>
                </a:cubicBezTo>
                <a:cubicBezTo>
                  <a:pt x="1708766" y="4461823"/>
                  <a:pt x="1711947" y="4460232"/>
                  <a:pt x="1715129" y="4460232"/>
                </a:cubicBezTo>
                <a:cubicBezTo>
                  <a:pt x="1731037" y="4453869"/>
                  <a:pt x="1746945" y="4447507"/>
                  <a:pt x="1762852" y="4439553"/>
                </a:cubicBezTo>
                <a:cubicBezTo>
                  <a:pt x="1762852" y="4437962"/>
                  <a:pt x="1764442" y="4436371"/>
                  <a:pt x="1764442" y="4434780"/>
                </a:cubicBezTo>
                <a:cubicBezTo>
                  <a:pt x="1759670" y="4436371"/>
                  <a:pt x="1756489" y="4437962"/>
                  <a:pt x="1753307" y="4441143"/>
                </a:cubicBezTo>
                <a:cubicBezTo>
                  <a:pt x="1754898" y="4436371"/>
                  <a:pt x="1756489" y="4433189"/>
                  <a:pt x="1758079" y="4428417"/>
                </a:cubicBezTo>
                <a:close/>
                <a:moveTo>
                  <a:pt x="1624457" y="4428417"/>
                </a:moveTo>
                <a:cubicBezTo>
                  <a:pt x="1622867" y="4433189"/>
                  <a:pt x="1622867" y="4436371"/>
                  <a:pt x="1619685" y="4437962"/>
                </a:cubicBezTo>
                <a:cubicBezTo>
                  <a:pt x="1619685" y="4436371"/>
                  <a:pt x="1619685" y="4436371"/>
                  <a:pt x="1619685" y="4436371"/>
                </a:cubicBezTo>
                <a:cubicBezTo>
                  <a:pt x="1621276" y="4434780"/>
                  <a:pt x="1622867" y="4431599"/>
                  <a:pt x="1624457" y="4428417"/>
                </a:cubicBezTo>
                <a:close/>
                <a:moveTo>
                  <a:pt x="1242681" y="4428417"/>
                </a:moveTo>
                <a:cubicBezTo>
                  <a:pt x="1244272" y="4430008"/>
                  <a:pt x="1245864" y="4430008"/>
                  <a:pt x="1249045" y="4433189"/>
                </a:cubicBezTo>
                <a:cubicBezTo>
                  <a:pt x="1244272" y="4434780"/>
                  <a:pt x="1241090" y="4436371"/>
                  <a:pt x="1237909" y="4439553"/>
                </a:cubicBezTo>
                <a:cubicBezTo>
                  <a:pt x="1237909" y="4437962"/>
                  <a:pt x="1236318" y="4437962"/>
                  <a:pt x="1236318" y="4436371"/>
                </a:cubicBezTo>
                <a:cubicBezTo>
                  <a:pt x="1237909" y="4434780"/>
                  <a:pt x="1241090" y="4431599"/>
                  <a:pt x="1242681" y="4428417"/>
                </a:cubicBezTo>
                <a:close/>
                <a:moveTo>
                  <a:pt x="1632411" y="4415692"/>
                </a:moveTo>
                <a:cubicBezTo>
                  <a:pt x="1632411" y="4415692"/>
                  <a:pt x="1632411" y="4415692"/>
                  <a:pt x="1630820" y="4417282"/>
                </a:cubicBezTo>
                <a:lnTo>
                  <a:pt x="1630820" y="4417283"/>
                </a:lnTo>
                <a:lnTo>
                  <a:pt x="1613322" y="4434780"/>
                </a:lnTo>
                <a:lnTo>
                  <a:pt x="1612621" y="4443892"/>
                </a:lnTo>
                <a:lnTo>
                  <a:pt x="1611732" y="4437962"/>
                </a:lnTo>
                <a:cubicBezTo>
                  <a:pt x="1608550" y="4441143"/>
                  <a:pt x="1606959" y="4442734"/>
                  <a:pt x="1605369" y="4444325"/>
                </a:cubicBezTo>
                <a:cubicBezTo>
                  <a:pt x="1605369" y="4447507"/>
                  <a:pt x="1606959" y="4452278"/>
                  <a:pt x="1611732" y="4453869"/>
                </a:cubicBezTo>
                <a:lnTo>
                  <a:pt x="1611983" y="4452196"/>
                </a:lnTo>
                <a:lnTo>
                  <a:pt x="1611732" y="4455460"/>
                </a:lnTo>
                <a:cubicBezTo>
                  <a:pt x="1605369" y="4455460"/>
                  <a:pt x="1599005" y="4455460"/>
                  <a:pt x="1592643" y="4455460"/>
                </a:cubicBezTo>
                <a:cubicBezTo>
                  <a:pt x="1583098" y="4465004"/>
                  <a:pt x="1573554" y="4476140"/>
                  <a:pt x="1564009" y="4485684"/>
                </a:cubicBezTo>
                <a:cubicBezTo>
                  <a:pt x="1565600" y="4490456"/>
                  <a:pt x="1567191" y="4493638"/>
                  <a:pt x="1567191" y="4498410"/>
                </a:cubicBezTo>
                <a:cubicBezTo>
                  <a:pt x="1567191" y="4498410"/>
                  <a:pt x="1565600" y="4500001"/>
                  <a:pt x="1565600" y="4500001"/>
                </a:cubicBezTo>
                <a:cubicBezTo>
                  <a:pt x="1560828" y="4498410"/>
                  <a:pt x="1557647" y="4496819"/>
                  <a:pt x="1552875" y="4496819"/>
                </a:cubicBezTo>
                <a:cubicBezTo>
                  <a:pt x="1543330" y="4507954"/>
                  <a:pt x="1532194" y="4519089"/>
                  <a:pt x="1521060" y="4530224"/>
                </a:cubicBezTo>
                <a:cubicBezTo>
                  <a:pt x="1521060" y="4534997"/>
                  <a:pt x="1519470" y="4541359"/>
                  <a:pt x="1517878" y="4546131"/>
                </a:cubicBezTo>
                <a:cubicBezTo>
                  <a:pt x="1524241" y="4541359"/>
                  <a:pt x="1529013" y="4536587"/>
                  <a:pt x="1535376" y="4531815"/>
                </a:cubicBezTo>
                <a:cubicBezTo>
                  <a:pt x="1536967" y="4523861"/>
                  <a:pt x="1540148" y="4515907"/>
                  <a:pt x="1543330" y="4507954"/>
                </a:cubicBezTo>
                <a:cubicBezTo>
                  <a:pt x="1548102" y="4507954"/>
                  <a:pt x="1551285" y="4509545"/>
                  <a:pt x="1556056" y="4509545"/>
                </a:cubicBezTo>
                <a:cubicBezTo>
                  <a:pt x="1557647" y="4509545"/>
                  <a:pt x="1557647" y="4509545"/>
                  <a:pt x="1559237" y="4511135"/>
                </a:cubicBezTo>
                <a:cubicBezTo>
                  <a:pt x="1568782" y="4503182"/>
                  <a:pt x="1576735" y="4495228"/>
                  <a:pt x="1584689" y="4487275"/>
                </a:cubicBezTo>
                <a:cubicBezTo>
                  <a:pt x="1583098" y="4488865"/>
                  <a:pt x="1581509" y="4488865"/>
                  <a:pt x="1579917" y="4490456"/>
                </a:cubicBezTo>
                <a:cubicBezTo>
                  <a:pt x="1579917" y="4490456"/>
                  <a:pt x="1579917" y="4490456"/>
                  <a:pt x="1578326" y="4490456"/>
                </a:cubicBezTo>
                <a:cubicBezTo>
                  <a:pt x="1578326" y="4487275"/>
                  <a:pt x="1579917" y="4485684"/>
                  <a:pt x="1579917" y="4484093"/>
                </a:cubicBezTo>
                <a:cubicBezTo>
                  <a:pt x="1579917" y="4484093"/>
                  <a:pt x="1581509" y="4485684"/>
                  <a:pt x="1581509" y="4485684"/>
                </a:cubicBezTo>
                <a:cubicBezTo>
                  <a:pt x="1583098" y="4482502"/>
                  <a:pt x="1586280" y="4482502"/>
                  <a:pt x="1589461" y="4479321"/>
                </a:cubicBezTo>
                <a:cubicBezTo>
                  <a:pt x="1589461" y="4477731"/>
                  <a:pt x="1589461" y="4476140"/>
                  <a:pt x="1589461" y="4474549"/>
                </a:cubicBezTo>
                <a:cubicBezTo>
                  <a:pt x="1592643" y="4474549"/>
                  <a:pt x="1594233" y="4474549"/>
                  <a:pt x="1597415" y="4474549"/>
                </a:cubicBezTo>
                <a:cubicBezTo>
                  <a:pt x="1602187" y="4469777"/>
                  <a:pt x="1608550" y="4463414"/>
                  <a:pt x="1614913" y="4457050"/>
                </a:cubicBezTo>
                <a:cubicBezTo>
                  <a:pt x="1616504" y="4455460"/>
                  <a:pt x="1616504" y="4455460"/>
                  <a:pt x="1618095" y="4453869"/>
                </a:cubicBezTo>
                <a:cubicBezTo>
                  <a:pt x="1621275" y="4445916"/>
                  <a:pt x="1624457" y="4437962"/>
                  <a:pt x="1627639" y="4431599"/>
                </a:cubicBezTo>
                <a:cubicBezTo>
                  <a:pt x="1632411" y="4430008"/>
                  <a:pt x="1637183" y="4430008"/>
                  <a:pt x="1640365" y="4425235"/>
                </a:cubicBezTo>
                <a:cubicBezTo>
                  <a:pt x="1637183" y="4423645"/>
                  <a:pt x="1630820" y="4425235"/>
                  <a:pt x="1627639" y="4423645"/>
                </a:cubicBezTo>
                <a:cubicBezTo>
                  <a:pt x="1627639" y="4420464"/>
                  <a:pt x="1630820" y="4420464"/>
                  <a:pt x="1632411" y="4418873"/>
                </a:cubicBezTo>
                <a:lnTo>
                  <a:pt x="1630820" y="4417283"/>
                </a:lnTo>
                <a:close/>
                <a:moveTo>
                  <a:pt x="1179052" y="4414101"/>
                </a:moveTo>
                <a:cubicBezTo>
                  <a:pt x="1180642" y="4415692"/>
                  <a:pt x="1182233" y="4415692"/>
                  <a:pt x="1185414" y="4415692"/>
                </a:cubicBezTo>
                <a:cubicBezTo>
                  <a:pt x="1187006" y="4417282"/>
                  <a:pt x="1187006" y="4418873"/>
                  <a:pt x="1188597" y="4420464"/>
                </a:cubicBezTo>
                <a:cubicBezTo>
                  <a:pt x="1183823" y="4418873"/>
                  <a:pt x="1180642" y="4418873"/>
                  <a:pt x="1177461" y="4417282"/>
                </a:cubicBezTo>
                <a:cubicBezTo>
                  <a:pt x="1177461" y="4417282"/>
                  <a:pt x="1179052" y="4415692"/>
                  <a:pt x="1179052" y="4414101"/>
                </a:cubicBezTo>
                <a:close/>
                <a:moveTo>
                  <a:pt x="1721493" y="4410919"/>
                </a:moveTo>
                <a:cubicBezTo>
                  <a:pt x="1719901" y="4412510"/>
                  <a:pt x="1719901" y="4414101"/>
                  <a:pt x="1718310" y="4415692"/>
                </a:cubicBezTo>
                <a:cubicBezTo>
                  <a:pt x="1718310" y="4415692"/>
                  <a:pt x="1719901" y="4414101"/>
                  <a:pt x="1721493" y="4414101"/>
                </a:cubicBezTo>
                <a:cubicBezTo>
                  <a:pt x="1721493" y="4412510"/>
                  <a:pt x="1721493" y="4412510"/>
                  <a:pt x="1721493" y="4410919"/>
                </a:cubicBezTo>
                <a:close/>
                <a:moveTo>
                  <a:pt x="1140875" y="4410918"/>
                </a:moveTo>
                <a:cubicBezTo>
                  <a:pt x="1144056" y="4414100"/>
                  <a:pt x="1148828" y="4415692"/>
                  <a:pt x="1153601" y="4418873"/>
                </a:cubicBezTo>
                <a:cubicBezTo>
                  <a:pt x="1156782" y="4426826"/>
                  <a:pt x="1156782" y="4437962"/>
                  <a:pt x="1155192" y="4449097"/>
                </a:cubicBezTo>
                <a:cubicBezTo>
                  <a:pt x="1153601" y="4449097"/>
                  <a:pt x="1153601" y="4450688"/>
                  <a:pt x="1152010" y="4450688"/>
                </a:cubicBezTo>
                <a:cubicBezTo>
                  <a:pt x="1152010" y="4452278"/>
                  <a:pt x="1153601" y="4453869"/>
                  <a:pt x="1155192" y="4453869"/>
                </a:cubicBezTo>
                <a:cubicBezTo>
                  <a:pt x="1155192" y="4455459"/>
                  <a:pt x="1155192" y="4455459"/>
                  <a:pt x="1155192" y="4455459"/>
                </a:cubicBezTo>
                <a:cubicBezTo>
                  <a:pt x="1145647" y="4455459"/>
                  <a:pt x="1139284" y="4453869"/>
                  <a:pt x="1136102" y="4449097"/>
                </a:cubicBezTo>
                <a:cubicBezTo>
                  <a:pt x="1140875" y="4450688"/>
                  <a:pt x="1145647" y="4452278"/>
                  <a:pt x="1147238" y="4447506"/>
                </a:cubicBezTo>
                <a:cubicBezTo>
                  <a:pt x="1142466" y="4444325"/>
                  <a:pt x="1137693" y="4442734"/>
                  <a:pt x="1132921" y="4439552"/>
                </a:cubicBezTo>
                <a:cubicBezTo>
                  <a:pt x="1131330" y="4431599"/>
                  <a:pt x="1136102" y="4418873"/>
                  <a:pt x="1140875" y="4410918"/>
                </a:cubicBezTo>
                <a:close/>
                <a:moveTo>
                  <a:pt x="1183824" y="4407738"/>
                </a:moveTo>
                <a:cubicBezTo>
                  <a:pt x="1185415" y="4410919"/>
                  <a:pt x="1185415" y="4412510"/>
                  <a:pt x="1187006" y="4415692"/>
                </a:cubicBezTo>
                <a:cubicBezTo>
                  <a:pt x="1185415" y="4414101"/>
                  <a:pt x="1182234" y="4412510"/>
                  <a:pt x="1180643" y="4410919"/>
                </a:cubicBezTo>
                <a:cubicBezTo>
                  <a:pt x="1182234" y="4409328"/>
                  <a:pt x="1183824" y="4409328"/>
                  <a:pt x="1183824" y="4407738"/>
                </a:cubicBezTo>
                <a:close/>
                <a:moveTo>
                  <a:pt x="1188597" y="4404556"/>
                </a:moveTo>
                <a:cubicBezTo>
                  <a:pt x="1190188" y="4406147"/>
                  <a:pt x="1191778" y="4409328"/>
                  <a:pt x="1193369" y="4410919"/>
                </a:cubicBezTo>
                <a:cubicBezTo>
                  <a:pt x="1193369" y="4412510"/>
                  <a:pt x="1193369" y="4412510"/>
                  <a:pt x="1193369" y="4412510"/>
                </a:cubicBezTo>
                <a:cubicBezTo>
                  <a:pt x="1190188" y="4410919"/>
                  <a:pt x="1190188" y="4407738"/>
                  <a:pt x="1188597" y="4404556"/>
                </a:cubicBezTo>
                <a:close/>
                <a:moveTo>
                  <a:pt x="1487654" y="4402965"/>
                </a:moveTo>
                <a:cubicBezTo>
                  <a:pt x="1481291" y="4407738"/>
                  <a:pt x="1476519" y="4412510"/>
                  <a:pt x="1470156" y="4417282"/>
                </a:cubicBezTo>
                <a:cubicBezTo>
                  <a:pt x="1470156" y="4418873"/>
                  <a:pt x="1470156" y="4422054"/>
                  <a:pt x="1471747" y="4423645"/>
                </a:cubicBezTo>
                <a:cubicBezTo>
                  <a:pt x="1473337" y="4426826"/>
                  <a:pt x="1474928" y="4428417"/>
                  <a:pt x="1476519" y="4431599"/>
                </a:cubicBezTo>
                <a:cubicBezTo>
                  <a:pt x="1481291" y="4428417"/>
                  <a:pt x="1486063" y="4423645"/>
                  <a:pt x="1489246" y="4420464"/>
                </a:cubicBezTo>
                <a:cubicBezTo>
                  <a:pt x="1487654" y="4420464"/>
                  <a:pt x="1487654" y="4420464"/>
                  <a:pt x="1487654" y="4420464"/>
                </a:cubicBezTo>
                <a:cubicBezTo>
                  <a:pt x="1487654" y="4415692"/>
                  <a:pt x="1487654" y="4412510"/>
                  <a:pt x="1487654" y="4407738"/>
                </a:cubicBezTo>
                <a:cubicBezTo>
                  <a:pt x="1489246" y="4407738"/>
                  <a:pt x="1490836" y="4407738"/>
                  <a:pt x="1492427" y="4407738"/>
                </a:cubicBezTo>
                <a:cubicBezTo>
                  <a:pt x="1490836" y="4407738"/>
                  <a:pt x="1490836" y="4406147"/>
                  <a:pt x="1490836" y="4406147"/>
                </a:cubicBezTo>
                <a:cubicBezTo>
                  <a:pt x="1489246" y="4404556"/>
                  <a:pt x="1489246" y="4404556"/>
                  <a:pt x="1487654" y="4402965"/>
                </a:cubicBezTo>
                <a:close/>
                <a:moveTo>
                  <a:pt x="1035886" y="4396602"/>
                </a:moveTo>
                <a:cubicBezTo>
                  <a:pt x="1067701" y="4388648"/>
                  <a:pt x="1066110" y="4418872"/>
                  <a:pt x="1078836" y="4437962"/>
                </a:cubicBezTo>
                <a:cubicBezTo>
                  <a:pt x="1077245" y="4434780"/>
                  <a:pt x="1075654" y="4434780"/>
                  <a:pt x="1072473" y="4433189"/>
                </a:cubicBezTo>
                <a:cubicBezTo>
                  <a:pt x="1070882" y="4444325"/>
                  <a:pt x="1078836" y="4445916"/>
                  <a:pt x="1080427" y="4453869"/>
                </a:cubicBezTo>
                <a:cubicBezTo>
                  <a:pt x="1078836" y="4453869"/>
                  <a:pt x="1075654" y="4452278"/>
                  <a:pt x="1074064" y="4453869"/>
                </a:cubicBezTo>
                <a:cubicBezTo>
                  <a:pt x="1074064" y="4450688"/>
                  <a:pt x="1072473" y="4447506"/>
                  <a:pt x="1072473" y="4444325"/>
                </a:cubicBezTo>
                <a:cubicBezTo>
                  <a:pt x="1067701" y="4437962"/>
                  <a:pt x="1066110" y="4430008"/>
                  <a:pt x="1066110" y="4420464"/>
                </a:cubicBezTo>
                <a:cubicBezTo>
                  <a:pt x="1062928" y="4418872"/>
                  <a:pt x="1064519" y="4415691"/>
                  <a:pt x="1061337" y="4414100"/>
                </a:cubicBezTo>
                <a:cubicBezTo>
                  <a:pt x="1059747" y="4417281"/>
                  <a:pt x="1062928" y="4420464"/>
                  <a:pt x="1062928" y="4422054"/>
                </a:cubicBezTo>
                <a:cubicBezTo>
                  <a:pt x="1062928" y="4423645"/>
                  <a:pt x="1062928" y="4426826"/>
                  <a:pt x="1062928" y="4430008"/>
                </a:cubicBezTo>
                <a:cubicBezTo>
                  <a:pt x="1064519" y="4437962"/>
                  <a:pt x="1069291" y="4447506"/>
                  <a:pt x="1069291" y="4455459"/>
                </a:cubicBezTo>
                <a:cubicBezTo>
                  <a:pt x="1069291" y="4457050"/>
                  <a:pt x="1067701" y="4458641"/>
                  <a:pt x="1067701" y="4460231"/>
                </a:cubicBezTo>
                <a:cubicBezTo>
                  <a:pt x="1067701" y="4468185"/>
                  <a:pt x="1074064" y="4479321"/>
                  <a:pt x="1074064" y="4487274"/>
                </a:cubicBezTo>
                <a:cubicBezTo>
                  <a:pt x="1074064" y="4488864"/>
                  <a:pt x="1070882" y="4487274"/>
                  <a:pt x="1070882" y="4490455"/>
                </a:cubicBezTo>
                <a:cubicBezTo>
                  <a:pt x="1072473" y="4490455"/>
                  <a:pt x="1072473" y="4488864"/>
                  <a:pt x="1074064" y="4488864"/>
                </a:cubicBezTo>
                <a:cubicBezTo>
                  <a:pt x="1074064" y="4493637"/>
                  <a:pt x="1077245" y="4498409"/>
                  <a:pt x="1075654" y="4503182"/>
                </a:cubicBezTo>
                <a:cubicBezTo>
                  <a:pt x="1075654" y="4496818"/>
                  <a:pt x="1067701" y="4500000"/>
                  <a:pt x="1066110" y="4503182"/>
                </a:cubicBezTo>
                <a:cubicBezTo>
                  <a:pt x="1067701" y="4504772"/>
                  <a:pt x="1067701" y="4506363"/>
                  <a:pt x="1069291" y="4506363"/>
                </a:cubicBezTo>
                <a:cubicBezTo>
                  <a:pt x="1069291" y="4507954"/>
                  <a:pt x="1067701" y="4507954"/>
                  <a:pt x="1067701" y="4509545"/>
                </a:cubicBezTo>
                <a:cubicBezTo>
                  <a:pt x="1066110" y="4506363"/>
                  <a:pt x="1064519" y="4504772"/>
                  <a:pt x="1062928" y="4503182"/>
                </a:cubicBezTo>
                <a:cubicBezTo>
                  <a:pt x="1061337" y="4509545"/>
                  <a:pt x="1064519" y="4517498"/>
                  <a:pt x="1061337" y="4520679"/>
                </a:cubicBezTo>
                <a:cubicBezTo>
                  <a:pt x="1058156" y="4512726"/>
                  <a:pt x="1056566" y="4504772"/>
                  <a:pt x="1048612" y="4500000"/>
                </a:cubicBezTo>
                <a:cubicBezTo>
                  <a:pt x="1047021" y="4509545"/>
                  <a:pt x="1050203" y="4515907"/>
                  <a:pt x="1053384" y="4522270"/>
                </a:cubicBezTo>
                <a:cubicBezTo>
                  <a:pt x="1051794" y="4522270"/>
                  <a:pt x="1048612" y="4523861"/>
                  <a:pt x="1047021" y="4523861"/>
                </a:cubicBezTo>
                <a:cubicBezTo>
                  <a:pt x="1040658" y="4511135"/>
                  <a:pt x="1034295" y="4500000"/>
                  <a:pt x="1031113" y="4484092"/>
                </a:cubicBezTo>
                <a:cubicBezTo>
                  <a:pt x="1029523" y="4501591"/>
                  <a:pt x="1032704" y="4514316"/>
                  <a:pt x="1035886" y="4527043"/>
                </a:cubicBezTo>
                <a:cubicBezTo>
                  <a:pt x="1027932" y="4528633"/>
                  <a:pt x="1019979" y="4528633"/>
                  <a:pt x="1012025" y="4530224"/>
                </a:cubicBezTo>
                <a:cubicBezTo>
                  <a:pt x="1012025" y="4527043"/>
                  <a:pt x="1012025" y="4522270"/>
                  <a:pt x="1012025" y="4519089"/>
                </a:cubicBezTo>
                <a:cubicBezTo>
                  <a:pt x="1013616" y="4507954"/>
                  <a:pt x="1016797" y="4496818"/>
                  <a:pt x="1021570" y="4487274"/>
                </a:cubicBezTo>
                <a:cubicBezTo>
                  <a:pt x="1029523" y="4479321"/>
                  <a:pt x="1032704" y="4469776"/>
                  <a:pt x="1035886" y="4458641"/>
                </a:cubicBezTo>
                <a:cubicBezTo>
                  <a:pt x="1031113" y="4463413"/>
                  <a:pt x="1027932" y="4466595"/>
                  <a:pt x="1024751" y="4471367"/>
                </a:cubicBezTo>
                <a:cubicBezTo>
                  <a:pt x="1027932" y="4450688"/>
                  <a:pt x="1031113" y="4426826"/>
                  <a:pt x="1034295" y="4404555"/>
                </a:cubicBezTo>
                <a:cubicBezTo>
                  <a:pt x="1034295" y="4401373"/>
                  <a:pt x="1035886" y="4399783"/>
                  <a:pt x="1035886" y="4396602"/>
                </a:cubicBezTo>
                <a:close/>
                <a:moveTo>
                  <a:pt x="1750125" y="4390240"/>
                </a:moveTo>
                <a:cubicBezTo>
                  <a:pt x="1748534" y="4390240"/>
                  <a:pt x="1748534" y="4391831"/>
                  <a:pt x="1746945" y="4391831"/>
                </a:cubicBezTo>
                <a:cubicBezTo>
                  <a:pt x="1746945" y="4391831"/>
                  <a:pt x="1748534" y="4391831"/>
                  <a:pt x="1748534" y="4391831"/>
                </a:cubicBezTo>
                <a:cubicBezTo>
                  <a:pt x="1753307" y="4393421"/>
                  <a:pt x="1753307" y="4391831"/>
                  <a:pt x="1750125" y="4390240"/>
                </a:cubicBezTo>
                <a:close/>
                <a:moveTo>
                  <a:pt x="1194959" y="4390240"/>
                </a:moveTo>
                <a:cubicBezTo>
                  <a:pt x="1198140" y="4390240"/>
                  <a:pt x="1201322" y="4393421"/>
                  <a:pt x="1204504" y="4395011"/>
                </a:cubicBezTo>
                <a:cubicBezTo>
                  <a:pt x="1202913" y="4395011"/>
                  <a:pt x="1201322" y="4396602"/>
                  <a:pt x="1201322" y="4398193"/>
                </a:cubicBezTo>
                <a:cubicBezTo>
                  <a:pt x="1199731" y="4395011"/>
                  <a:pt x="1196551" y="4393421"/>
                  <a:pt x="1194959" y="4390240"/>
                </a:cubicBezTo>
                <a:close/>
                <a:moveTo>
                  <a:pt x="1107469" y="4387057"/>
                </a:moveTo>
                <a:cubicBezTo>
                  <a:pt x="1109059" y="4388648"/>
                  <a:pt x="1110650" y="4391831"/>
                  <a:pt x="1109059" y="4398193"/>
                </a:cubicBezTo>
                <a:cubicBezTo>
                  <a:pt x="1124966" y="4401374"/>
                  <a:pt x="1132920" y="4420464"/>
                  <a:pt x="1123375" y="4434780"/>
                </a:cubicBezTo>
                <a:cubicBezTo>
                  <a:pt x="1112241" y="4428417"/>
                  <a:pt x="1112241" y="4412510"/>
                  <a:pt x="1102696" y="4404556"/>
                </a:cubicBezTo>
                <a:cubicBezTo>
                  <a:pt x="1102696" y="4415691"/>
                  <a:pt x="1110650" y="4423645"/>
                  <a:pt x="1110650" y="4434780"/>
                </a:cubicBezTo>
                <a:cubicBezTo>
                  <a:pt x="1089970" y="4426826"/>
                  <a:pt x="1072472" y="4420464"/>
                  <a:pt x="1067700" y="4404556"/>
                </a:cubicBezTo>
                <a:cubicBezTo>
                  <a:pt x="1078835" y="4393421"/>
                  <a:pt x="1093151" y="4390239"/>
                  <a:pt x="1107469" y="4387057"/>
                </a:cubicBezTo>
                <a:close/>
                <a:moveTo>
                  <a:pt x="1514698" y="4385468"/>
                </a:moveTo>
                <a:cubicBezTo>
                  <a:pt x="1514698" y="4385468"/>
                  <a:pt x="1516287" y="4387058"/>
                  <a:pt x="1517878" y="4387058"/>
                </a:cubicBezTo>
                <a:cubicBezTo>
                  <a:pt x="1519470" y="4387058"/>
                  <a:pt x="1519470" y="4385468"/>
                  <a:pt x="1519470" y="4385468"/>
                </a:cubicBezTo>
                <a:cubicBezTo>
                  <a:pt x="1517878" y="4385468"/>
                  <a:pt x="1516287" y="4385468"/>
                  <a:pt x="1514698" y="4385468"/>
                </a:cubicBezTo>
                <a:close/>
                <a:moveTo>
                  <a:pt x="1145856" y="4383993"/>
                </a:moveTo>
                <a:lnTo>
                  <a:pt x="1157379" y="4390438"/>
                </a:lnTo>
                <a:cubicBezTo>
                  <a:pt x="1161952" y="4392227"/>
                  <a:pt x="1167122" y="4393421"/>
                  <a:pt x="1172690" y="4393421"/>
                </a:cubicBezTo>
                <a:cubicBezTo>
                  <a:pt x="1171099" y="4398193"/>
                  <a:pt x="1169509" y="4402965"/>
                  <a:pt x="1166327" y="4409328"/>
                </a:cubicBezTo>
                <a:cubicBezTo>
                  <a:pt x="1159168" y="4404556"/>
                  <a:pt x="1153600" y="4398193"/>
                  <a:pt x="1149027" y="4390836"/>
                </a:cubicBezTo>
                <a:close/>
                <a:moveTo>
                  <a:pt x="1145647" y="4383877"/>
                </a:moveTo>
                <a:lnTo>
                  <a:pt x="1145802" y="4383877"/>
                </a:lnTo>
                <a:lnTo>
                  <a:pt x="1145856" y="4383993"/>
                </a:lnTo>
                <a:close/>
                <a:moveTo>
                  <a:pt x="1161555" y="4372741"/>
                </a:moveTo>
                <a:cubicBezTo>
                  <a:pt x="1163146" y="4372741"/>
                  <a:pt x="1164736" y="4374332"/>
                  <a:pt x="1167918" y="4374332"/>
                </a:cubicBezTo>
                <a:cubicBezTo>
                  <a:pt x="1169509" y="4375923"/>
                  <a:pt x="1169509" y="4379104"/>
                  <a:pt x="1171099" y="4382286"/>
                </a:cubicBezTo>
                <a:cubicBezTo>
                  <a:pt x="1171099" y="4383877"/>
                  <a:pt x="1171099" y="4383877"/>
                  <a:pt x="1171099" y="4383877"/>
                </a:cubicBezTo>
                <a:cubicBezTo>
                  <a:pt x="1166326" y="4380695"/>
                  <a:pt x="1166326" y="4375923"/>
                  <a:pt x="1161555" y="4372741"/>
                </a:cubicBezTo>
                <a:close/>
                <a:moveTo>
                  <a:pt x="1137693" y="4366378"/>
                </a:moveTo>
                <a:cubicBezTo>
                  <a:pt x="1145647" y="4375923"/>
                  <a:pt x="1161555" y="4377513"/>
                  <a:pt x="1172690" y="4385467"/>
                </a:cubicBezTo>
                <a:cubicBezTo>
                  <a:pt x="1172690" y="4388649"/>
                  <a:pt x="1172690" y="4390240"/>
                  <a:pt x="1172690" y="4391831"/>
                </a:cubicBezTo>
                <a:cubicBezTo>
                  <a:pt x="1166327" y="4390240"/>
                  <a:pt x="1161555" y="4383877"/>
                  <a:pt x="1153600" y="4383877"/>
                </a:cubicBezTo>
                <a:lnTo>
                  <a:pt x="1145802" y="4383877"/>
                </a:lnTo>
                <a:close/>
                <a:moveTo>
                  <a:pt x="2201894" y="4361607"/>
                </a:moveTo>
                <a:cubicBezTo>
                  <a:pt x="2150989" y="4476140"/>
                  <a:pt x="2061909" y="4534997"/>
                  <a:pt x="1980781" y="4603398"/>
                </a:cubicBezTo>
                <a:cubicBezTo>
                  <a:pt x="1953739" y="4646348"/>
                  <a:pt x="1894882" y="4729066"/>
                  <a:pt x="1918742" y="4789514"/>
                </a:cubicBezTo>
                <a:cubicBezTo>
                  <a:pt x="1941013" y="4555676"/>
                  <a:pt x="2158944" y="4563630"/>
                  <a:pt x="2201894" y="4361607"/>
                </a:cubicBezTo>
                <a:close/>
                <a:moveTo>
                  <a:pt x="1129739" y="4360016"/>
                </a:moveTo>
                <a:cubicBezTo>
                  <a:pt x="1131330" y="4364788"/>
                  <a:pt x="1136103" y="4371150"/>
                  <a:pt x="1129739" y="4374332"/>
                </a:cubicBezTo>
                <a:cubicBezTo>
                  <a:pt x="1126558" y="4371150"/>
                  <a:pt x="1123375" y="4369559"/>
                  <a:pt x="1118604" y="4367969"/>
                </a:cubicBezTo>
                <a:cubicBezTo>
                  <a:pt x="1121785" y="4364788"/>
                  <a:pt x="1124966" y="4361606"/>
                  <a:pt x="1129739" y="4360016"/>
                </a:cubicBezTo>
                <a:close/>
                <a:moveTo>
                  <a:pt x="1136102" y="4358425"/>
                </a:moveTo>
                <a:cubicBezTo>
                  <a:pt x="1147237" y="4361606"/>
                  <a:pt x="1156782" y="4366378"/>
                  <a:pt x="1164736" y="4371150"/>
                </a:cubicBezTo>
                <a:cubicBezTo>
                  <a:pt x="1153600" y="4371150"/>
                  <a:pt x="1145646" y="4360016"/>
                  <a:pt x="1134512" y="4361606"/>
                </a:cubicBezTo>
                <a:cubicBezTo>
                  <a:pt x="1134512" y="4360016"/>
                  <a:pt x="1134512" y="4360016"/>
                  <a:pt x="1136102" y="4358425"/>
                </a:cubicBezTo>
                <a:close/>
                <a:moveTo>
                  <a:pt x="1713339" y="4353454"/>
                </a:moveTo>
                <a:cubicBezTo>
                  <a:pt x="1711152" y="4353654"/>
                  <a:pt x="1707175" y="4355245"/>
                  <a:pt x="1705585" y="4358426"/>
                </a:cubicBezTo>
                <a:cubicBezTo>
                  <a:pt x="1699222" y="4360016"/>
                  <a:pt x="1694450" y="4363197"/>
                  <a:pt x="1688087" y="4364788"/>
                </a:cubicBezTo>
                <a:cubicBezTo>
                  <a:pt x="1675361" y="4374332"/>
                  <a:pt x="1662635" y="4385468"/>
                  <a:pt x="1649909" y="4399784"/>
                </a:cubicBezTo>
                <a:cubicBezTo>
                  <a:pt x="1653090" y="4404556"/>
                  <a:pt x="1656272" y="4409328"/>
                  <a:pt x="1657863" y="4414101"/>
                </a:cubicBezTo>
                <a:cubicBezTo>
                  <a:pt x="1661044" y="4410919"/>
                  <a:pt x="1664226" y="4407738"/>
                  <a:pt x="1667407" y="4404556"/>
                </a:cubicBezTo>
                <a:cubicBezTo>
                  <a:pt x="1667407" y="4404556"/>
                  <a:pt x="1667407" y="4402965"/>
                  <a:pt x="1667407" y="4402965"/>
                </a:cubicBezTo>
                <a:cubicBezTo>
                  <a:pt x="1667407" y="4402965"/>
                  <a:pt x="1667407" y="4401374"/>
                  <a:pt x="1665817" y="4401374"/>
                </a:cubicBezTo>
                <a:cubicBezTo>
                  <a:pt x="1662635" y="4399784"/>
                  <a:pt x="1664226" y="4402965"/>
                  <a:pt x="1661044" y="4402965"/>
                </a:cubicBezTo>
                <a:cubicBezTo>
                  <a:pt x="1659454" y="4401374"/>
                  <a:pt x="1659454" y="4398193"/>
                  <a:pt x="1657863" y="4396602"/>
                </a:cubicBezTo>
                <a:cubicBezTo>
                  <a:pt x="1664226" y="4396602"/>
                  <a:pt x="1668998" y="4396602"/>
                  <a:pt x="1675361" y="4396602"/>
                </a:cubicBezTo>
                <a:cubicBezTo>
                  <a:pt x="1678542" y="4393421"/>
                  <a:pt x="1680134" y="4391831"/>
                  <a:pt x="1683314" y="4388649"/>
                </a:cubicBezTo>
                <a:cubicBezTo>
                  <a:pt x="1680134" y="4388649"/>
                  <a:pt x="1678542" y="4387058"/>
                  <a:pt x="1676952" y="4387058"/>
                </a:cubicBezTo>
                <a:cubicBezTo>
                  <a:pt x="1680134" y="4385468"/>
                  <a:pt x="1684906" y="4385468"/>
                  <a:pt x="1688087" y="4383877"/>
                </a:cubicBezTo>
                <a:cubicBezTo>
                  <a:pt x="1694450" y="4379105"/>
                  <a:pt x="1699222" y="4374332"/>
                  <a:pt x="1703994" y="4369560"/>
                </a:cubicBezTo>
                <a:cubicBezTo>
                  <a:pt x="1700813" y="4369560"/>
                  <a:pt x="1699222" y="4367969"/>
                  <a:pt x="1697631" y="4367969"/>
                </a:cubicBezTo>
                <a:cubicBezTo>
                  <a:pt x="1694450" y="4361607"/>
                  <a:pt x="1707175" y="4361607"/>
                  <a:pt x="1710356" y="4356835"/>
                </a:cubicBezTo>
                <a:cubicBezTo>
                  <a:pt x="1715924" y="4354449"/>
                  <a:pt x="1715527" y="4353256"/>
                  <a:pt x="1713339" y="4353454"/>
                </a:cubicBezTo>
                <a:close/>
                <a:moveTo>
                  <a:pt x="1180642" y="4340926"/>
                </a:moveTo>
                <a:cubicBezTo>
                  <a:pt x="1180642" y="4344108"/>
                  <a:pt x="1182234" y="4345698"/>
                  <a:pt x="1183825" y="4348880"/>
                </a:cubicBezTo>
                <a:cubicBezTo>
                  <a:pt x="1180642" y="4353652"/>
                  <a:pt x="1177461" y="4358425"/>
                  <a:pt x="1175871" y="4364788"/>
                </a:cubicBezTo>
                <a:cubicBezTo>
                  <a:pt x="1175871" y="4363197"/>
                  <a:pt x="1175871" y="4363197"/>
                  <a:pt x="1175871" y="4361606"/>
                </a:cubicBezTo>
                <a:cubicBezTo>
                  <a:pt x="1174280" y="4353652"/>
                  <a:pt x="1177461" y="4347289"/>
                  <a:pt x="1180642" y="4340926"/>
                </a:cubicBezTo>
                <a:close/>
                <a:moveTo>
                  <a:pt x="1137693" y="4339335"/>
                </a:moveTo>
                <a:cubicBezTo>
                  <a:pt x="1140875" y="4344108"/>
                  <a:pt x="1145647" y="4348880"/>
                  <a:pt x="1148829" y="4352062"/>
                </a:cubicBezTo>
                <a:cubicBezTo>
                  <a:pt x="1147238" y="4352062"/>
                  <a:pt x="1147238" y="4352062"/>
                  <a:pt x="1145647" y="4352062"/>
                </a:cubicBezTo>
                <a:cubicBezTo>
                  <a:pt x="1139284" y="4348880"/>
                  <a:pt x="1134512" y="4345698"/>
                  <a:pt x="1131330" y="4342517"/>
                </a:cubicBezTo>
                <a:cubicBezTo>
                  <a:pt x="1134512" y="4340926"/>
                  <a:pt x="1136102" y="4340926"/>
                  <a:pt x="1137693" y="4339335"/>
                </a:cubicBezTo>
                <a:close/>
                <a:moveTo>
                  <a:pt x="1047021" y="4337745"/>
                </a:moveTo>
                <a:cubicBezTo>
                  <a:pt x="1066110" y="4342518"/>
                  <a:pt x="1083608" y="4360016"/>
                  <a:pt x="1097924" y="4366378"/>
                </a:cubicBezTo>
                <a:cubicBezTo>
                  <a:pt x="1099515" y="4367969"/>
                  <a:pt x="1099515" y="4369560"/>
                  <a:pt x="1101106" y="4371151"/>
                </a:cubicBezTo>
                <a:cubicBezTo>
                  <a:pt x="1099515" y="4372741"/>
                  <a:pt x="1097924" y="4372741"/>
                  <a:pt x="1096334" y="4374332"/>
                </a:cubicBezTo>
                <a:cubicBezTo>
                  <a:pt x="1078836" y="4385468"/>
                  <a:pt x="1061337" y="4382286"/>
                  <a:pt x="1034295" y="4380695"/>
                </a:cubicBezTo>
                <a:cubicBezTo>
                  <a:pt x="1034295" y="4379105"/>
                  <a:pt x="1034295" y="4375923"/>
                  <a:pt x="1034295" y="4374332"/>
                </a:cubicBezTo>
                <a:cubicBezTo>
                  <a:pt x="1037477" y="4363197"/>
                  <a:pt x="1040658" y="4350472"/>
                  <a:pt x="1047021" y="4337745"/>
                </a:cubicBezTo>
                <a:close/>
                <a:moveTo>
                  <a:pt x="1745353" y="4325020"/>
                </a:moveTo>
                <a:cubicBezTo>
                  <a:pt x="1743762" y="4326611"/>
                  <a:pt x="1740580" y="4328202"/>
                  <a:pt x="1737399" y="4329792"/>
                </a:cubicBezTo>
                <a:cubicBezTo>
                  <a:pt x="1738990" y="4331383"/>
                  <a:pt x="1740580" y="4331383"/>
                  <a:pt x="1742171" y="4332973"/>
                </a:cubicBezTo>
                <a:cubicBezTo>
                  <a:pt x="1743762" y="4329792"/>
                  <a:pt x="1746945" y="4328202"/>
                  <a:pt x="1748534" y="4326611"/>
                </a:cubicBezTo>
                <a:cubicBezTo>
                  <a:pt x="1746945" y="4326611"/>
                  <a:pt x="1745353" y="4325020"/>
                  <a:pt x="1745353" y="4325020"/>
                </a:cubicBezTo>
                <a:close/>
                <a:moveTo>
                  <a:pt x="1271314" y="4321838"/>
                </a:moveTo>
                <a:cubicBezTo>
                  <a:pt x="1271314" y="4321838"/>
                  <a:pt x="1269723" y="4323429"/>
                  <a:pt x="1269723" y="4323429"/>
                </a:cubicBezTo>
                <a:cubicBezTo>
                  <a:pt x="1268133" y="4325020"/>
                  <a:pt x="1268133" y="4325020"/>
                  <a:pt x="1268133" y="4326611"/>
                </a:cubicBezTo>
                <a:cubicBezTo>
                  <a:pt x="1266542" y="4326611"/>
                  <a:pt x="1266542" y="4326611"/>
                  <a:pt x="1266542" y="4326611"/>
                </a:cubicBezTo>
                <a:cubicBezTo>
                  <a:pt x="1264951" y="4328202"/>
                  <a:pt x="1263361" y="4328202"/>
                  <a:pt x="1263361" y="4329792"/>
                </a:cubicBezTo>
                <a:cubicBezTo>
                  <a:pt x="1264951" y="4328202"/>
                  <a:pt x="1268133" y="4326611"/>
                  <a:pt x="1274496" y="4323429"/>
                </a:cubicBezTo>
                <a:cubicBezTo>
                  <a:pt x="1272905" y="4323429"/>
                  <a:pt x="1272905" y="4321838"/>
                  <a:pt x="1271314" y="4321838"/>
                </a:cubicBezTo>
                <a:close/>
                <a:moveTo>
                  <a:pt x="1241090" y="4309112"/>
                </a:moveTo>
                <a:cubicBezTo>
                  <a:pt x="1239499" y="4310703"/>
                  <a:pt x="1237909" y="4313884"/>
                  <a:pt x="1237909" y="4317066"/>
                </a:cubicBezTo>
                <a:cubicBezTo>
                  <a:pt x="1239499" y="4313884"/>
                  <a:pt x="1242681" y="4312294"/>
                  <a:pt x="1245864" y="4310703"/>
                </a:cubicBezTo>
                <a:cubicBezTo>
                  <a:pt x="1244272" y="4310703"/>
                  <a:pt x="1242681" y="4309112"/>
                  <a:pt x="1241090" y="4309112"/>
                </a:cubicBezTo>
                <a:close/>
                <a:moveTo>
                  <a:pt x="1129739" y="4301158"/>
                </a:moveTo>
                <a:cubicBezTo>
                  <a:pt x="1128149" y="4312293"/>
                  <a:pt x="1129739" y="4320247"/>
                  <a:pt x="1132921" y="4328201"/>
                </a:cubicBezTo>
                <a:cubicBezTo>
                  <a:pt x="1128149" y="4329791"/>
                  <a:pt x="1121785" y="4334564"/>
                  <a:pt x="1118604" y="4339335"/>
                </a:cubicBezTo>
                <a:cubicBezTo>
                  <a:pt x="1112242" y="4347289"/>
                  <a:pt x="1109059" y="4356833"/>
                  <a:pt x="1105878" y="4363197"/>
                </a:cubicBezTo>
                <a:cubicBezTo>
                  <a:pt x="1104287" y="4361606"/>
                  <a:pt x="1101105" y="4360015"/>
                  <a:pt x="1101105" y="4356833"/>
                </a:cubicBezTo>
                <a:cubicBezTo>
                  <a:pt x="1099514" y="4348880"/>
                  <a:pt x="1107468" y="4345698"/>
                  <a:pt x="1112242" y="4334564"/>
                </a:cubicBezTo>
                <a:cubicBezTo>
                  <a:pt x="1120195" y="4318656"/>
                  <a:pt x="1117013" y="4302749"/>
                  <a:pt x="1129739" y="4301158"/>
                </a:cubicBezTo>
                <a:close/>
                <a:moveTo>
                  <a:pt x="3006804" y="4299567"/>
                </a:moveTo>
                <a:cubicBezTo>
                  <a:pt x="3030666" y="4353652"/>
                  <a:pt x="3099067" y="4404555"/>
                  <a:pt x="3143608" y="4453869"/>
                </a:cubicBezTo>
                <a:cubicBezTo>
                  <a:pt x="3126109" y="4396602"/>
                  <a:pt x="3041800" y="4356833"/>
                  <a:pt x="3006804" y="4299567"/>
                </a:cubicBezTo>
                <a:close/>
                <a:moveTo>
                  <a:pt x="1490836" y="4297977"/>
                </a:moveTo>
                <a:cubicBezTo>
                  <a:pt x="1489246" y="4301159"/>
                  <a:pt x="1484473" y="4302750"/>
                  <a:pt x="1481291" y="4304340"/>
                </a:cubicBezTo>
                <a:cubicBezTo>
                  <a:pt x="1482882" y="4304340"/>
                  <a:pt x="1482882" y="4305930"/>
                  <a:pt x="1484473" y="4307521"/>
                </a:cubicBezTo>
                <a:cubicBezTo>
                  <a:pt x="1487654" y="4304340"/>
                  <a:pt x="1490836" y="4302750"/>
                  <a:pt x="1490836" y="4297977"/>
                </a:cubicBezTo>
                <a:close/>
                <a:moveTo>
                  <a:pt x="1481291" y="4296387"/>
                </a:moveTo>
                <a:cubicBezTo>
                  <a:pt x="1479700" y="4297977"/>
                  <a:pt x="1478111" y="4297977"/>
                  <a:pt x="1478111" y="4299568"/>
                </a:cubicBezTo>
                <a:cubicBezTo>
                  <a:pt x="1478111" y="4299568"/>
                  <a:pt x="1479700" y="4301159"/>
                  <a:pt x="1479700" y="4301159"/>
                </a:cubicBezTo>
                <a:cubicBezTo>
                  <a:pt x="1481291" y="4299568"/>
                  <a:pt x="1482882" y="4297977"/>
                  <a:pt x="1481291" y="4296387"/>
                </a:cubicBezTo>
                <a:close/>
                <a:moveTo>
                  <a:pt x="1559237" y="4277297"/>
                </a:moveTo>
                <a:cubicBezTo>
                  <a:pt x="1557647" y="4278888"/>
                  <a:pt x="1554465" y="4280479"/>
                  <a:pt x="1552875" y="4282069"/>
                </a:cubicBezTo>
                <a:cubicBezTo>
                  <a:pt x="1556056" y="4285251"/>
                  <a:pt x="1557647" y="4288433"/>
                  <a:pt x="1560828" y="4290023"/>
                </a:cubicBezTo>
                <a:cubicBezTo>
                  <a:pt x="1562418" y="4290023"/>
                  <a:pt x="1565600" y="4288433"/>
                  <a:pt x="1567191" y="4286842"/>
                </a:cubicBezTo>
                <a:cubicBezTo>
                  <a:pt x="1564009" y="4283660"/>
                  <a:pt x="1560828" y="4280479"/>
                  <a:pt x="1559237" y="4277297"/>
                </a:cubicBezTo>
                <a:close/>
                <a:moveTo>
                  <a:pt x="1576735" y="4267753"/>
                </a:moveTo>
                <a:cubicBezTo>
                  <a:pt x="1573554" y="4270935"/>
                  <a:pt x="1570372" y="4272526"/>
                  <a:pt x="1567191" y="4274116"/>
                </a:cubicBezTo>
                <a:cubicBezTo>
                  <a:pt x="1573554" y="4275707"/>
                  <a:pt x="1578326" y="4277297"/>
                  <a:pt x="1583098" y="4280479"/>
                </a:cubicBezTo>
                <a:cubicBezTo>
                  <a:pt x="1584689" y="4278888"/>
                  <a:pt x="1587871" y="4277297"/>
                  <a:pt x="1589461" y="4275707"/>
                </a:cubicBezTo>
                <a:cubicBezTo>
                  <a:pt x="1584689" y="4272526"/>
                  <a:pt x="1579917" y="4270935"/>
                  <a:pt x="1576735" y="4267753"/>
                </a:cubicBezTo>
                <a:close/>
                <a:moveTo>
                  <a:pt x="1599005" y="4253436"/>
                </a:moveTo>
                <a:cubicBezTo>
                  <a:pt x="1595824" y="4255027"/>
                  <a:pt x="1592643" y="4256618"/>
                  <a:pt x="1591052" y="4258209"/>
                </a:cubicBezTo>
                <a:cubicBezTo>
                  <a:pt x="1599005" y="4261390"/>
                  <a:pt x="1608550" y="4262981"/>
                  <a:pt x="1614913" y="4256618"/>
                </a:cubicBezTo>
                <a:cubicBezTo>
                  <a:pt x="1610141" y="4256618"/>
                  <a:pt x="1603778" y="4255027"/>
                  <a:pt x="1599005" y="4253436"/>
                </a:cubicBezTo>
                <a:close/>
                <a:moveTo>
                  <a:pt x="1552875" y="4253436"/>
                </a:moveTo>
                <a:cubicBezTo>
                  <a:pt x="1548102" y="4256618"/>
                  <a:pt x="1543330" y="4259799"/>
                  <a:pt x="1538558" y="4261390"/>
                </a:cubicBezTo>
                <a:cubicBezTo>
                  <a:pt x="1540148" y="4262981"/>
                  <a:pt x="1540148" y="4262981"/>
                  <a:pt x="1541739" y="4264572"/>
                </a:cubicBezTo>
                <a:cubicBezTo>
                  <a:pt x="1543330" y="4267753"/>
                  <a:pt x="1544921" y="4269344"/>
                  <a:pt x="1546511" y="4272526"/>
                </a:cubicBezTo>
                <a:cubicBezTo>
                  <a:pt x="1551285" y="4269344"/>
                  <a:pt x="1557647" y="4264572"/>
                  <a:pt x="1564009" y="4259799"/>
                </a:cubicBezTo>
                <a:cubicBezTo>
                  <a:pt x="1559237" y="4258209"/>
                  <a:pt x="1556056" y="4255027"/>
                  <a:pt x="1552875" y="4253436"/>
                </a:cubicBezTo>
                <a:close/>
                <a:moveTo>
                  <a:pt x="1113832" y="4251845"/>
                </a:moveTo>
                <a:cubicBezTo>
                  <a:pt x="1128148" y="4255026"/>
                  <a:pt x="1131330" y="4277297"/>
                  <a:pt x="1121785" y="4286840"/>
                </a:cubicBezTo>
                <a:cubicBezTo>
                  <a:pt x="1101106" y="4288431"/>
                  <a:pt x="1096333" y="4277297"/>
                  <a:pt x="1083608" y="4270934"/>
                </a:cubicBezTo>
                <a:cubicBezTo>
                  <a:pt x="1080426" y="4286840"/>
                  <a:pt x="1105878" y="4288431"/>
                  <a:pt x="1113832" y="4297976"/>
                </a:cubicBezTo>
                <a:cubicBezTo>
                  <a:pt x="1112241" y="4307520"/>
                  <a:pt x="1110650" y="4318655"/>
                  <a:pt x="1102696" y="4323427"/>
                </a:cubicBezTo>
                <a:cubicBezTo>
                  <a:pt x="1096333" y="4317064"/>
                  <a:pt x="1094743" y="4307520"/>
                  <a:pt x="1091561" y="4299566"/>
                </a:cubicBezTo>
                <a:cubicBezTo>
                  <a:pt x="1088380" y="4304339"/>
                  <a:pt x="1091561" y="4315473"/>
                  <a:pt x="1089970" y="4321836"/>
                </a:cubicBezTo>
                <a:cubicBezTo>
                  <a:pt x="1082017" y="4318655"/>
                  <a:pt x="1080426" y="4310702"/>
                  <a:pt x="1075654" y="4304339"/>
                </a:cubicBezTo>
                <a:cubicBezTo>
                  <a:pt x="1069291" y="4325018"/>
                  <a:pt x="1104287" y="4332972"/>
                  <a:pt x="1089970" y="4355242"/>
                </a:cubicBezTo>
                <a:cubicBezTo>
                  <a:pt x="1072472" y="4348879"/>
                  <a:pt x="1062928" y="4334563"/>
                  <a:pt x="1054975" y="4318655"/>
                </a:cubicBezTo>
                <a:cubicBezTo>
                  <a:pt x="1051793" y="4318655"/>
                  <a:pt x="1059747" y="4329790"/>
                  <a:pt x="1058156" y="4337744"/>
                </a:cubicBezTo>
                <a:cubicBezTo>
                  <a:pt x="1053384" y="4337744"/>
                  <a:pt x="1050202" y="4336154"/>
                  <a:pt x="1047021" y="4332972"/>
                </a:cubicBezTo>
                <a:cubicBezTo>
                  <a:pt x="1056566" y="4309111"/>
                  <a:pt x="1067700" y="4285250"/>
                  <a:pt x="1077245" y="4261389"/>
                </a:cubicBezTo>
                <a:cubicBezTo>
                  <a:pt x="1091561" y="4259798"/>
                  <a:pt x="1099515" y="4248664"/>
                  <a:pt x="1113832" y="4251845"/>
                </a:cubicBezTo>
                <a:close/>
                <a:moveTo>
                  <a:pt x="1571963" y="4240711"/>
                </a:moveTo>
                <a:cubicBezTo>
                  <a:pt x="1570372" y="4242302"/>
                  <a:pt x="1567191" y="4243892"/>
                  <a:pt x="1562418" y="4245483"/>
                </a:cubicBezTo>
                <a:cubicBezTo>
                  <a:pt x="1567191" y="4248664"/>
                  <a:pt x="1570372" y="4250255"/>
                  <a:pt x="1573554" y="4251846"/>
                </a:cubicBezTo>
                <a:cubicBezTo>
                  <a:pt x="1576735" y="4248664"/>
                  <a:pt x="1578326" y="4247073"/>
                  <a:pt x="1581509" y="4245483"/>
                </a:cubicBezTo>
                <a:cubicBezTo>
                  <a:pt x="1578326" y="4243892"/>
                  <a:pt x="1575145" y="4242302"/>
                  <a:pt x="1571963" y="4240711"/>
                </a:cubicBezTo>
                <a:close/>
                <a:moveTo>
                  <a:pt x="1622867" y="4239120"/>
                </a:moveTo>
                <a:cubicBezTo>
                  <a:pt x="1621275" y="4239120"/>
                  <a:pt x="1621275" y="4240711"/>
                  <a:pt x="1619685" y="4240711"/>
                </a:cubicBezTo>
                <a:cubicBezTo>
                  <a:pt x="1619685" y="4245483"/>
                  <a:pt x="1619685" y="4250255"/>
                  <a:pt x="1618095" y="4256618"/>
                </a:cubicBezTo>
                <a:cubicBezTo>
                  <a:pt x="1619685" y="4255027"/>
                  <a:pt x="1621275" y="4255027"/>
                  <a:pt x="1621275" y="4256618"/>
                </a:cubicBezTo>
                <a:cubicBezTo>
                  <a:pt x="1621275" y="4253436"/>
                  <a:pt x="1622867" y="4250255"/>
                  <a:pt x="1622867" y="4247073"/>
                </a:cubicBezTo>
                <a:cubicBezTo>
                  <a:pt x="1624457" y="4245483"/>
                  <a:pt x="1627639" y="4243892"/>
                  <a:pt x="1626048" y="4240711"/>
                </a:cubicBezTo>
                <a:cubicBezTo>
                  <a:pt x="1624457" y="4239120"/>
                  <a:pt x="1622867" y="4243892"/>
                  <a:pt x="1622867" y="4240711"/>
                </a:cubicBezTo>
                <a:cubicBezTo>
                  <a:pt x="1622867" y="4239120"/>
                  <a:pt x="1622867" y="4239120"/>
                  <a:pt x="1622867" y="4239120"/>
                </a:cubicBezTo>
                <a:close/>
                <a:moveTo>
                  <a:pt x="2283022" y="4223211"/>
                </a:moveTo>
                <a:cubicBezTo>
                  <a:pt x="2270294" y="4240710"/>
                  <a:pt x="2284612" y="4266161"/>
                  <a:pt x="2290975" y="4282069"/>
                </a:cubicBezTo>
                <a:cubicBezTo>
                  <a:pt x="2302109" y="4266161"/>
                  <a:pt x="2284612" y="4242301"/>
                  <a:pt x="2283022" y="4223211"/>
                </a:cubicBezTo>
                <a:close/>
                <a:moveTo>
                  <a:pt x="1460612" y="4221622"/>
                </a:moveTo>
                <a:cubicBezTo>
                  <a:pt x="1459021" y="4221622"/>
                  <a:pt x="1457431" y="4221622"/>
                  <a:pt x="1454249" y="4223213"/>
                </a:cubicBezTo>
                <a:cubicBezTo>
                  <a:pt x="1454249" y="4224804"/>
                  <a:pt x="1454249" y="4224804"/>
                  <a:pt x="1454249" y="4226394"/>
                </a:cubicBezTo>
                <a:cubicBezTo>
                  <a:pt x="1455839" y="4224804"/>
                  <a:pt x="1459021" y="4223213"/>
                  <a:pt x="1460612" y="4221622"/>
                </a:cubicBezTo>
                <a:close/>
                <a:moveTo>
                  <a:pt x="1668998" y="4220031"/>
                </a:moveTo>
                <a:cubicBezTo>
                  <a:pt x="1661044" y="4220031"/>
                  <a:pt x="1651499" y="4221622"/>
                  <a:pt x="1645137" y="4223213"/>
                </a:cubicBezTo>
                <a:cubicBezTo>
                  <a:pt x="1640365" y="4226394"/>
                  <a:pt x="1635593" y="4229576"/>
                  <a:pt x="1630820" y="4232757"/>
                </a:cubicBezTo>
                <a:cubicBezTo>
                  <a:pt x="1634002" y="4235939"/>
                  <a:pt x="1637183" y="4239120"/>
                  <a:pt x="1640365" y="4242302"/>
                </a:cubicBezTo>
                <a:cubicBezTo>
                  <a:pt x="1645137" y="4239120"/>
                  <a:pt x="1648319" y="4235939"/>
                  <a:pt x="1653090" y="4232757"/>
                </a:cubicBezTo>
                <a:cubicBezTo>
                  <a:pt x="1654681" y="4231167"/>
                  <a:pt x="1656272" y="4227985"/>
                  <a:pt x="1659454" y="4227985"/>
                </a:cubicBezTo>
                <a:cubicBezTo>
                  <a:pt x="1662635" y="4224804"/>
                  <a:pt x="1665817" y="4223213"/>
                  <a:pt x="1668998" y="4220031"/>
                </a:cubicBezTo>
                <a:close/>
                <a:moveTo>
                  <a:pt x="2734790" y="4213668"/>
                </a:moveTo>
                <a:cubicBezTo>
                  <a:pt x="2776148" y="4293204"/>
                  <a:pt x="2871592" y="4366378"/>
                  <a:pt x="2978171" y="4417281"/>
                </a:cubicBezTo>
                <a:cubicBezTo>
                  <a:pt x="2906588" y="4355243"/>
                  <a:pt x="2792056" y="4294795"/>
                  <a:pt x="2734790" y="4213668"/>
                </a:cubicBezTo>
                <a:close/>
                <a:moveTo>
                  <a:pt x="1621276" y="4208896"/>
                </a:moveTo>
                <a:cubicBezTo>
                  <a:pt x="1622867" y="4208896"/>
                  <a:pt x="1622867" y="4208896"/>
                  <a:pt x="1624458" y="4208896"/>
                </a:cubicBezTo>
                <a:cubicBezTo>
                  <a:pt x="1624458" y="4210486"/>
                  <a:pt x="1624458" y="4210486"/>
                  <a:pt x="1624458" y="4212077"/>
                </a:cubicBezTo>
                <a:cubicBezTo>
                  <a:pt x="1622867" y="4212077"/>
                  <a:pt x="1622867" y="4210486"/>
                  <a:pt x="1621276" y="4208896"/>
                </a:cubicBezTo>
                <a:close/>
                <a:moveTo>
                  <a:pt x="1627639" y="4202533"/>
                </a:moveTo>
                <a:cubicBezTo>
                  <a:pt x="1626048" y="4204124"/>
                  <a:pt x="1624457" y="4205715"/>
                  <a:pt x="1621275" y="4207306"/>
                </a:cubicBezTo>
                <a:cubicBezTo>
                  <a:pt x="1616504" y="4210487"/>
                  <a:pt x="1611732" y="4213669"/>
                  <a:pt x="1606959" y="4216850"/>
                </a:cubicBezTo>
                <a:cubicBezTo>
                  <a:pt x="1610141" y="4218440"/>
                  <a:pt x="1613322" y="4220031"/>
                  <a:pt x="1614913" y="4221622"/>
                </a:cubicBezTo>
                <a:cubicBezTo>
                  <a:pt x="1619685" y="4218440"/>
                  <a:pt x="1624457" y="4213669"/>
                  <a:pt x="1629229" y="4210487"/>
                </a:cubicBezTo>
                <a:cubicBezTo>
                  <a:pt x="1629229" y="4210487"/>
                  <a:pt x="1629229" y="4208897"/>
                  <a:pt x="1629229" y="4207306"/>
                </a:cubicBezTo>
                <a:cubicBezTo>
                  <a:pt x="1632411" y="4207306"/>
                  <a:pt x="1634002" y="4205715"/>
                  <a:pt x="1635593" y="4204124"/>
                </a:cubicBezTo>
                <a:cubicBezTo>
                  <a:pt x="1634002" y="4204124"/>
                  <a:pt x="1635593" y="4202533"/>
                  <a:pt x="1634002" y="4202533"/>
                </a:cubicBezTo>
                <a:cubicBezTo>
                  <a:pt x="1630820" y="4202533"/>
                  <a:pt x="1629229" y="4204124"/>
                  <a:pt x="1627639" y="4205715"/>
                </a:cubicBezTo>
                <a:cubicBezTo>
                  <a:pt x="1627639" y="4204124"/>
                  <a:pt x="1627639" y="4204124"/>
                  <a:pt x="1627639" y="4202533"/>
                </a:cubicBezTo>
                <a:close/>
                <a:moveTo>
                  <a:pt x="1651499" y="4181853"/>
                </a:moveTo>
                <a:cubicBezTo>
                  <a:pt x="1648319" y="4183444"/>
                  <a:pt x="1646728" y="4185035"/>
                  <a:pt x="1645137" y="4186625"/>
                </a:cubicBezTo>
                <a:cubicBezTo>
                  <a:pt x="1649909" y="4186625"/>
                  <a:pt x="1653090" y="4186625"/>
                  <a:pt x="1657863" y="4186625"/>
                </a:cubicBezTo>
                <a:cubicBezTo>
                  <a:pt x="1657863" y="4186625"/>
                  <a:pt x="1659454" y="4185035"/>
                  <a:pt x="1659454" y="4185035"/>
                </a:cubicBezTo>
                <a:cubicBezTo>
                  <a:pt x="1657863" y="4183444"/>
                  <a:pt x="1654681" y="4181853"/>
                  <a:pt x="1651499" y="4181853"/>
                </a:cubicBezTo>
                <a:close/>
                <a:moveTo>
                  <a:pt x="2742744" y="4175490"/>
                </a:moveTo>
                <a:cubicBezTo>
                  <a:pt x="2838187" y="4302749"/>
                  <a:pt x="3029075" y="4369559"/>
                  <a:pt x="3107021" y="4506362"/>
                </a:cubicBezTo>
                <a:cubicBezTo>
                  <a:pt x="3046573" y="4356833"/>
                  <a:pt x="2855685" y="4291613"/>
                  <a:pt x="2742744" y="4175490"/>
                </a:cubicBezTo>
                <a:close/>
                <a:moveTo>
                  <a:pt x="1678542" y="4157992"/>
                </a:moveTo>
                <a:cubicBezTo>
                  <a:pt x="1673770" y="4162764"/>
                  <a:pt x="1670589" y="4165946"/>
                  <a:pt x="1665817" y="4170718"/>
                </a:cubicBezTo>
                <a:cubicBezTo>
                  <a:pt x="1664226" y="4172309"/>
                  <a:pt x="1664226" y="4172309"/>
                  <a:pt x="1662635" y="4173900"/>
                </a:cubicBezTo>
                <a:cubicBezTo>
                  <a:pt x="1668998" y="4170718"/>
                  <a:pt x="1675361" y="4169128"/>
                  <a:pt x="1681723" y="4165946"/>
                </a:cubicBezTo>
                <a:cubicBezTo>
                  <a:pt x="1683314" y="4164355"/>
                  <a:pt x="1684906" y="4162764"/>
                  <a:pt x="1686496" y="4161174"/>
                </a:cubicBezTo>
                <a:cubicBezTo>
                  <a:pt x="1683314" y="4161174"/>
                  <a:pt x="1680134" y="4159583"/>
                  <a:pt x="1678542" y="4157992"/>
                </a:cubicBezTo>
                <a:close/>
                <a:moveTo>
                  <a:pt x="1750125" y="4132540"/>
                </a:moveTo>
                <a:cubicBezTo>
                  <a:pt x="1748534" y="4132540"/>
                  <a:pt x="1746945" y="4134131"/>
                  <a:pt x="1745353" y="4134131"/>
                </a:cubicBezTo>
                <a:cubicBezTo>
                  <a:pt x="1745353" y="4134131"/>
                  <a:pt x="1746945" y="4135722"/>
                  <a:pt x="1746945" y="4135722"/>
                </a:cubicBezTo>
                <a:cubicBezTo>
                  <a:pt x="1748534" y="4135722"/>
                  <a:pt x="1748534" y="4134131"/>
                  <a:pt x="1750125" y="4132540"/>
                </a:cubicBezTo>
                <a:close/>
                <a:moveTo>
                  <a:pt x="3309044" y="4129358"/>
                </a:moveTo>
                <a:cubicBezTo>
                  <a:pt x="3309044" y="4135721"/>
                  <a:pt x="3307453" y="4143675"/>
                  <a:pt x="3304271" y="4150038"/>
                </a:cubicBezTo>
                <a:cubicBezTo>
                  <a:pt x="3312225" y="4148447"/>
                  <a:pt x="3316998" y="4142084"/>
                  <a:pt x="3315407" y="4135721"/>
                </a:cubicBezTo>
                <a:cubicBezTo>
                  <a:pt x="3312225" y="4135721"/>
                  <a:pt x="3310635" y="4132539"/>
                  <a:pt x="3309044" y="4129358"/>
                </a:cubicBezTo>
                <a:close/>
                <a:moveTo>
                  <a:pt x="1718310" y="4115043"/>
                </a:moveTo>
                <a:cubicBezTo>
                  <a:pt x="1718310" y="4115043"/>
                  <a:pt x="1716720" y="4116634"/>
                  <a:pt x="1716720" y="4116634"/>
                </a:cubicBezTo>
                <a:cubicBezTo>
                  <a:pt x="1719901" y="4118224"/>
                  <a:pt x="1723083" y="4121406"/>
                  <a:pt x="1726265" y="4122996"/>
                </a:cubicBezTo>
                <a:cubicBezTo>
                  <a:pt x="1727855" y="4122996"/>
                  <a:pt x="1727855" y="4121406"/>
                  <a:pt x="1729446" y="4119815"/>
                </a:cubicBezTo>
                <a:cubicBezTo>
                  <a:pt x="1726265" y="4118224"/>
                  <a:pt x="1721493" y="4116634"/>
                  <a:pt x="1718310" y="4115043"/>
                </a:cubicBezTo>
                <a:close/>
                <a:moveTo>
                  <a:pt x="1737399" y="4094363"/>
                </a:moveTo>
                <a:cubicBezTo>
                  <a:pt x="1735809" y="4094363"/>
                  <a:pt x="1735809" y="4095954"/>
                  <a:pt x="1735809" y="4095954"/>
                </a:cubicBezTo>
                <a:cubicBezTo>
                  <a:pt x="1738990" y="4097544"/>
                  <a:pt x="1740580" y="4097544"/>
                  <a:pt x="1743762" y="4099135"/>
                </a:cubicBezTo>
                <a:cubicBezTo>
                  <a:pt x="1750125" y="4102317"/>
                  <a:pt x="1746945" y="4097544"/>
                  <a:pt x="1742171" y="4097544"/>
                </a:cubicBezTo>
                <a:cubicBezTo>
                  <a:pt x="1740580" y="4095954"/>
                  <a:pt x="1738990" y="4095954"/>
                  <a:pt x="1737399" y="4094363"/>
                </a:cubicBezTo>
                <a:close/>
                <a:moveTo>
                  <a:pt x="1519470" y="4083228"/>
                </a:moveTo>
                <a:cubicBezTo>
                  <a:pt x="1497199" y="4100726"/>
                  <a:pt x="1473337" y="4118224"/>
                  <a:pt x="1444704" y="4129359"/>
                </a:cubicBezTo>
                <a:cubicBezTo>
                  <a:pt x="1447887" y="4135722"/>
                  <a:pt x="1449476" y="4142085"/>
                  <a:pt x="1451067" y="4146857"/>
                </a:cubicBezTo>
                <a:cubicBezTo>
                  <a:pt x="1473337" y="4137313"/>
                  <a:pt x="1495608" y="4124587"/>
                  <a:pt x="1514698" y="4108680"/>
                </a:cubicBezTo>
                <a:cubicBezTo>
                  <a:pt x="1516287" y="4105498"/>
                  <a:pt x="1517878" y="4102317"/>
                  <a:pt x="1517878" y="4099135"/>
                </a:cubicBezTo>
                <a:cubicBezTo>
                  <a:pt x="1519470" y="4099135"/>
                  <a:pt x="1521060" y="4100726"/>
                  <a:pt x="1522651" y="4102317"/>
                </a:cubicBezTo>
                <a:cubicBezTo>
                  <a:pt x="1525832" y="4100726"/>
                  <a:pt x="1529013" y="4097544"/>
                  <a:pt x="1532194" y="4094363"/>
                </a:cubicBezTo>
                <a:cubicBezTo>
                  <a:pt x="1527423" y="4091182"/>
                  <a:pt x="1524241" y="4089592"/>
                  <a:pt x="1519470" y="4086410"/>
                </a:cubicBezTo>
                <a:cubicBezTo>
                  <a:pt x="1519470" y="4084819"/>
                  <a:pt x="1519470" y="4084819"/>
                  <a:pt x="1519470" y="4083228"/>
                </a:cubicBezTo>
                <a:close/>
                <a:moveTo>
                  <a:pt x="1751717" y="4076865"/>
                </a:moveTo>
                <a:cubicBezTo>
                  <a:pt x="1750125" y="4078456"/>
                  <a:pt x="1750125" y="4078456"/>
                  <a:pt x="1748534" y="4080047"/>
                </a:cubicBezTo>
                <a:cubicBezTo>
                  <a:pt x="1750125" y="4080047"/>
                  <a:pt x="1753307" y="4081638"/>
                  <a:pt x="1754898" y="4081638"/>
                </a:cubicBezTo>
                <a:cubicBezTo>
                  <a:pt x="1753307" y="4080047"/>
                  <a:pt x="1751717" y="4080047"/>
                  <a:pt x="1751717" y="4076865"/>
                </a:cubicBezTo>
                <a:close/>
                <a:moveTo>
                  <a:pt x="3316998" y="4075273"/>
                </a:moveTo>
                <a:cubicBezTo>
                  <a:pt x="3307453" y="4081636"/>
                  <a:pt x="3299499" y="4089590"/>
                  <a:pt x="3297909" y="4108678"/>
                </a:cubicBezTo>
                <a:cubicBezTo>
                  <a:pt x="3302681" y="4111860"/>
                  <a:pt x="3305862" y="4116632"/>
                  <a:pt x="3307453" y="4121405"/>
                </a:cubicBezTo>
                <a:cubicBezTo>
                  <a:pt x="3309044" y="4119814"/>
                  <a:pt x="3309044" y="4118223"/>
                  <a:pt x="3310635" y="4116632"/>
                </a:cubicBezTo>
                <a:cubicBezTo>
                  <a:pt x="3318589" y="4107088"/>
                  <a:pt x="3313816" y="4092772"/>
                  <a:pt x="3315407" y="4084818"/>
                </a:cubicBezTo>
                <a:cubicBezTo>
                  <a:pt x="3316998" y="4081636"/>
                  <a:pt x="3316998" y="4078455"/>
                  <a:pt x="3316998" y="4075273"/>
                </a:cubicBezTo>
                <a:close/>
                <a:moveTo>
                  <a:pt x="1455839" y="4070502"/>
                </a:moveTo>
                <a:cubicBezTo>
                  <a:pt x="1447887" y="4070502"/>
                  <a:pt x="1438342" y="4073684"/>
                  <a:pt x="1430388" y="4075274"/>
                </a:cubicBezTo>
                <a:cubicBezTo>
                  <a:pt x="1430388" y="4078456"/>
                  <a:pt x="1431979" y="4080047"/>
                  <a:pt x="1431979" y="4083228"/>
                </a:cubicBezTo>
                <a:cubicBezTo>
                  <a:pt x="1439932" y="4078456"/>
                  <a:pt x="1447887" y="4075274"/>
                  <a:pt x="1455839" y="4070502"/>
                </a:cubicBezTo>
                <a:close/>
                <a:moveTo>
                  <a:pt x="1562418" y="4048232"/>
                </a:moveTo>
                <a:cubicBezTo>
                  <a:pt x="1559237" y="4051413"/>
                  <a:pt x="1554465" y="4054595"/>
                  <a:pt x="1551285" y="4057777"/>
                </a:cubicBezTo>
                <a:cubicBezTo>
                  <a:pt x="1554465" y="4060958"/>
                  <a:pt x="1557647" y="4064139"/>
                  <a:pt x="1560828" y="4067320"/>
                </a:cubicBezTo>
                <a:cubicBezTo>
                  <a:pt x="1565600" y="4060958"/>
                  <a:pt x="1570372" y="4056186"/>
                  <a:pt x="1575145" y="4051413"/>
                </a:cubicBezTo>
                <a:cubicBezTo>
                  <a:pt x="1570372" y="4049823"/>
                  <a:pt x="1565600" y="4049823"/>
                  <a:pt x="1562418" y="4048232"/>
                </a:cubicBezTo>
                <a:close/>
                <a:moveTo>
                  <a:pt x="1524241" y="4048232"/>
                </a:moveTo>
                <a:cubicBezTo>
                  <a:pt x="1497199" y="4068911"/>
                  <a:pt x="1468566" y="4088001"/>
                  <a:pt x="1436751" y="4102317"/>
                </a:cubicBezTo>
                <a:cubicBezTo>
                  <a:pt x="1436751" y="4107089"/>
                  <a:pt x="1438342" y="4111861"/>
                  <a:pt x="1439932" y="4116634"/>
                </a:cubicBezTo>
                <a:cubicBezTo>
                  <a:pt x="1468566" y="4105498"/>
                  <a:pt x="1495608" y="4089592"/>
                  <a:pt x="1521060" y="4070502"/>
                </a:cubicBezTo>
                <a:cubicBezTo>
                  <a:pt x="1522651" y="4062549"/>
                  <a:pt x="1524241" y="4054595"/>
                  <a:pt x="1524241" y="4048232"/>
                </a:cubicBezTo>
                <a:close/>
                <a:moveTo>
                  <a:pt x="1544921" y="4032325"/>
                </a:moveTo>
                <a:cubicBezTo>
                  <a:pt x="1541739" y="4035506"/>
                  <a:pt x="1538558" y="4038687"/>
                  <a:pt x="1533785" y="4040278"/>
                </a:cubicBezTo>
                <a:cubicBezTo>
                  <a:pt x="1536967" y="4045050"/>
                  <a:pt x="1541739" y="4049823"/>
                  <a:pt x="1544921" y="4053004"/>
                </a:cubicBezTo>
                <a:cubicBezTo>
                  <a:pt x="1548102" y="4049823"/>
                  <a:pt x="1551285" y="4048232"/>
                  <a:pt x="1554465" y="4045050"/>
                </a:cubicBezTo>
                <a:cubicBezTo>
                  <a:pt x="1552875" y="4043460"/>
                  <a:pt x="1549693" y="4043460"/>
                  <a:pt x="1548102" y="4041869"/>
                </a:cubicBezTo>
                <a:cubicBezTo>
                  <a:pt x="1546511" y="4040278"/>
                  <a:pt x="1546511" y="4037096"/>
                  <a:pt x="1544921" y="4032325"/>
                </a:cubicBezTo>
                <a:close/>
                <a:moveTo>
                  <a:pt x="1589461" y="4024371"/>
                </a:moveTo>
                <a:cubicBezTo>
                  <a:pt x="1586280" y="4027553"/>
                  <a:pt x="1581509" y="4030734"/>
                  <a:pt x="1578326" y="4033915"/>
                </a:cubicBezTo>
                <a:cubicBezTo>
                  <a:pt x="1581509" y="4035506"/>
                  <a:pt x="1584689" y="4035506"/>
                  <a:pt x="1587871" y="4037096"/>
                </a:cubicBezTo>
                <a:cubicBezTo>
                  <a:pt x="1591052" y="4032325"/>
                  <a:pt x="1595824" y="4029143"/>
                  <a:pt x="1599005" y="4024371"/>
                </a:cubicBezTo>
                <a:cubicBezTo>
                  <a:pt x="1595824" y="4024371"/>
                  <a:pt x="1592643" y="4024371"/>
                  <a:pt x="1589461" y="4024371"/>
                </a:cubicBezTo>
                <a:close/>
                <a:moveTo>
                  <a:pt x="1567191" y="4013235"/>
                </a:moveTo>
                <a:cubicBezTo>
                  <a:pt x="1564009" y="4018008"/>
                  <a:pt x="1559237" y="4021189"/>
                  <a:pt x="1556056" y="4022780"/>
                </a:cubicBezTo>
                <a:cubicBezTo>
                  <a:pt x="1560828" y="4024371"/>
                  <a:pt x="1565600" y="4027553"/>
                  <a:pt x="1571963" y="4029143"/>
                </a:cubicBezTo>
                <a:cubicBezTo>
                  <a:pt x="1575145" y="4027553"/>
                  <a:pt x="1578326" y="4024371"/>
                  <a:pt x="1581509" y="4021189"/>
                </a:cubicBezTo>
                <a:cubicBezTo>
                  <a:pt x="1576735" y="4019599"/>
                  <a:pt x="1571963" y="4016417"/>
                  <a:pt x="1567191" y="4013235"/>
                </a:cubicBezTo>
                <a:close/>
                <a:moveTo>
                  <a:pt x="1816936" y="3997329"/>
                </a:moveTo>
                <a:cubicBezTo>
                  <a:pt x="1815346" y="3998919"/>
                  <a:pt x="1813756" y="4002101"/>
                  <a:pt x="1812164" y="4003691"/>
                </a:cubicBezTo>
                <a:cubicBezTo>
                  <a:pt x="1816936" y="4006872"/>
                  <a:pt x="1823299" y="4010054"/>
                  <a:pt x="1828071" y="4011645"/>
                </a:cubicBezTo>
                <a:cubicBezTo>
                  <a:pt x="1829662" y="4011645"/>
                  <a:pt x="1829662" y="4010054"/>
                  <a:pt x="1831252" y="4008463"/>
                </a:cubicBezTo>
                <a:cubicBezTo>
                  <a:pt x="1824890" y="4005282"/>
                  <a:pt x="1820118" y="4002101"/>
                  <a:pt x="1816936" y="3997329"/>
                </a:cubicBezTo>
                <a:close/>
                <a:moveTo>
                  <a:pt x="2270294" y="3981420"/>
                </a:moveTo>
                <a:cubicBezTo>
                  <a:pt x="2267113" y="3983010"/>
                  <a:pt x="2263932" y="3984601"/>
                  <a:pt x="2259160" y="3983010"/>
                </a:cubicBezTo>
                <a:cubicBezTo>
                  <a:pt x="2265523" y="4103906"/>
                  <a:pt x="2303700" y="4204123"/>
                  <a:pt x="2343469" y="4304340"/>
                </a:cubicBezTo>
                <a:cubicBezTo>
                  <a:pt x="2318017" y="4208895"/>
                  <a:pt x="2290975" y="4089590"/>
                  <a:pt x="2270294" y="3981420"/>
                </a:cubicBezTo>
                <a:close/>
                <a:moveTo>
                  <a:pt x="1834434" y="3976649"/>
                </a:moveTo>
                <a:cubicBezTo>
                  <a:pt x="1832843" y="3978239"/>
                  <a:pt x="1832843" y="3978239"/>
                  <a:pt x="1831252" y="3979830"/>
                </a:cubicBezTo>
                <a:cubicBezTo>
                  <a:pt x="1836025" y="3983012"/>
                  <a:pt x="1840797" y="3987784"/>
                  <a:pt x="1845569" y="3989375"/>
                </a:cubicBezTo>
                <a:cubicBezTo>
                  <a:pt x="1847160" y="3989375"/>
                  <a:pt x="1847160" y="3987784"/>
                  <a:pt x="1848751" y="3984602"/>
                </a:cubicBezTo>
                <a:cubicBezTo>
                  <a:pt x="1842388" y="3984602"/>
                  <a:pt x="1836025" y="3981421"/>
                  <a:pt x="1834434" y="3976649"/>
                </a:cubicBezTo>
                <a:close/>
                <a:moveTo>
                  <a:pt x="2639345" y="3971876"/>
                </a:moveTo>
                <a:cubicBezTo>
                  <a:pt x="2645708" y="3981420"/>
                  <a:pt x="2653662" y="3989374"/>
                  <a:pt x="2658435" y="4000510"/>
                </a:cubicBezTo>
                <a:cubicBezTo>
                  <a:pt x="2647299" y="3995738"/>
                  <a:pt x="2634573" y="3976649"/>
                  <a:pt x="2639345" y="3971876"/>
                </a:cubicBezTo>
                <a:close/>
                <a:moveTo>
                  <a:pt x="1845569" y="3963923"/>
                </a:moveTo>
                <a:cubicBezTo>
                  <a:pt x="1843979" y="3965514"/>
                  <a:pt x="1843979" y="3965514"/>
                  <a:pt x="1842388" y="3967105"/>
                </a:cubicBezTo>
                <a:cubicBezTo>
                  <a:pt x="1847160" y="3967105"/>
                  <a:pt x="1851933" y="3967105"/>
                  <a:pt x="1855114" y="3963923"/>
                </a:cubicBezTo>
                <a:cubicBezTo>
                  <a:pt x="1851933" y="3965514"/>
                  <a:pt x="1848751" y="3965514"/>
                  <a:pt x="1845569" y="3963923"/>
                </a:cubicBezTo>
                <a:close/>
                <a:moveTo>
                  <a:pt x="1641956" y="3946425"/>
                </a:moveTo>
                <a:cubicBezTo>
                  <a:pt x="1640365" y="3948015"/>
                  <a:pt x="1640365" y="3949606"/>
                  <a:pt x="1638774" y="3951197"/>
                </a:cubicBezTo>
                <a:cubicBezTo>
                  <a:pt x="1637183" y="3952788"/>
                  <a:pt x="1634002" y="3955969"/>
                  <a:pt x="1630820" y="3957560"/>
                </a:cubicBezTo>
                <a:cubicBezTo>
                  <a:pt x="1635593" y="3957560"/>
                  <a:pt x="1638774" y="3959151"/>
                  <a:pt x="1643546" y="3959151"/>
                </a:cubicBezTo>
                <a:cubicBezTo>
                  <a:pt x="1646728" y="3955969"/>
                  <a:pt x="1649909" y="3952788"/>
                  <a:pt x="1653090" y="3949606"/>
                </a:cubicBezTo>
                <a:cubicBezTo>
                  <a:pt x="1648319" y="3948015"/>
                  <a:pt x="1645137" y="3948015"/>
                  <a:pt x="1641956" y="3946425"/>
                </a:cubicBezTo>
                <a:close/>
                <a:moveTo>
                  <a:pt x="1369940" y="3909838"/>
                </a:moveTo>
                <a:cubicBezTo>
                  <a:pt x="1360396" y="3913020"/>
                  <a:pt x="1349261" y="3914610"/>
                  <a:pt x="1339716" y="3916201"/>
                </a:cubicBezTo>
                <a:cubicBezTo>
                  <a:pt x="1341307" y="3920973"/>
                  <a:pt x="1342898" y="3927336"/>
                  <a:pt x="1344488" y="3932108"/>
                </a:cubicBezTo>
                <a:cubicBezTo>
                  <a:pt x="1346079" y="3930517"/>
                  <a:pt x="1347670" y="3930517"/>
                  <a:pt x="1349261" y="3930517"/>
                </a:cubicBezTo>
                <a:cubicBezTo>
                  <a:pt x="1355623" y="3924154"/>
                  <a:pt x="1363577" y="3917791"/>
                  <a:pt x="1369940" y="3909838"/>
                </a:cubicBezTo>
                <a:close/>
                <a:moveTo>
                  <a:pt x="3428349" y="3905065"/>
                </a:moveTo>
                <a:cubicBezTo>
                  <a:pt x="3428349" y="3911428"/>
                  <a:pt x="3421986" y="3917791"/>
                  <a:pt x="3429940" y="3922563"/>
                </a:cubicBezTo>
                <a:cubicBezTo>
                  <a:pt x="3436303" y="3919382"/>
                  <a:pt x="3437894" y="3906655"/>
                  <a:pt x="3428349" y="3905065"/>
                </a:cubicBezTo>
                <a:close/>
                <a:moveTo>
                  <a:pt x="1700813" y="3895521"/>
                </a:moveTo>
                <a:cubicBezTo>
                  <a:pt x="1691268" y="3900294"/>
                  <a:pt x="1680134" y="3905066"/>
                  <a:pt x="1668998" y="3908248"/>
                </a:cubicBezTo>
                <a:cubicBezTo>
                  <a:pt x="1665817" y="3911429"/>
                  <a:pt x="1664226" y="3916201"/>
                  <a:pt x="1661044" y="3919382"/>
                </a:cubicBezTo>
                <a:cubicBezTo>
                  <a:pt x="1667407" y="3919382"/>
                  <a:pt x="1673770" y="3919382"/>
                  <a:pt x="1680134" y="3919382"/>
                </a:cubicBezTo>
                <a:cubicBezTo>
                  <a:pt x="1688087" y="3911429"/>
                  <a:pt x="1694450" y="3903475"/>
                  <a:pt x="1700813" y="3895521"/>
                </a:cubicBezTo>
                <a:close/>
                <a:moveTo>
                  <a:pt x="1145647" y="3884387"/>
                </a:moveTo>
                <a:cubicBezTo>
                  <a:pt x="1144056" y="3889158"/>
                  <a:pt x="1144056" y="3895521"/>
                  <a:pt x="1144056" y="3900294"/>
                </a:cubicBezTo>
                <a:cubicBezTo>
                  <a:pt x="1144056" y="3903475"/>
                  <a:pt x="1144056" y="3906657"/>
                  <a:pt x="1147237" y="3909838"/>
                </a:cubicBezTo>
                <a:cubicBezTo>
                  <a:pt x="1161554" y="3916201"/>
                  <a:pt x="1174280" y="3924154"/>
                  <a:pt x="1190187" y="3928927"/>
                </a:cubicBezTo>
                <a:cubicBezTo>
                  <a:pt x="1190187" y="3919382"/>
                  <a:pt x="1190187" y="3909838"/>
                  <a:pt x="1188596" y="3900294"/>
                </a:cubicBezTo>
                <a:cubicBezTo>
                  <a:pt x="1180642" y="3898703"/>
                  <a:pt x="1174280" y="3895521"/>
                  <a:pt x="1166326" y="3892340"/>
                </a:cubicBezTo>
                <a:cubicBezTo>
                  <a:pt x="1164735" y="3895521"/>
                  <a:pt x="1163145" y="3898703"/>
                  <a:pt x="1161554" y="3901884"/>
                </a:cubicBezTo>
                <a:cubicBezTo>
                  <a:pt x="1159963" y="3898703"/>
                  <a:pt x="1159963" y="3895521"/>
                  <a:pt x="1159963" y="3890749"/>
                </a:cubicBezTo>
                <a:cubicBezTo>
                  <a:pt x="1155191" y="3889158"/>
                  <a:pt x="1150418" y="3885977"/>
                  <a:pt x="1145647" y="3884387"/>
                </a:cubicBezTo>
                <a:close/>
                <a:moveTo>
                  <a:pt x="3261918" y="3880210"/>
                </a:moveTo>
                <a:cubicBezTo>
                  <a:pt x="3251778" y="3878420"/>
                  <a:pt x="3241438" y="3878818"/>
                  <a:pt x="3231098" y="3882795"/>
                </a:cubicBezTo>
                <a:cubicBezTo>
                  <a:pt x="3245414" y="3893929"/>
                  <a:pt x="3272457" y="3893929"/>
                  <a:pt x="3293137" y="3900292"/>
                </a:cubicBezTo>
                <a:lnTo>
                  <a:pt x="3291546" y="3890749"/>
                </a:lnTo>
                <a:cubicBezTo>
                  <a:pt x="3282002" y="3885977"/>
                  <a:pt x="3272060" y="3882000"/>
                  <a:pt x="3261918" y="3880210"/>
                </a:cubicBezTo>
                <a:close/>
                <a:moveTo>
                  <a:pt x="1395392" y="3879614"/>
                </a:moveTo>
                <a:cubicBezTo>
                  <a:pt x="1385848" y="3879614"/>
                  <a:pt x="1376303" y="3881205"/>
                  <a:pt x="1366758" y="3881205"/>
                </a:cubicBezTo>
                <a:cubicBezTo>
                  <a:pt x="1365168" y="3884387"/>
                  <a:pt x="1363577" y="3887568"/>
                  <a:pt x="1361986" y="3890749"/>
                </a:cubicBezTo>
                <a:cubicBezTo>
                  <a:pt x="1373122" y="3887568"/>
                  <a:pt x="1382666" y="3885977"/>
                  <a:pt x="1392210" y="3884387"/>
                </a:cubicBezTo>
                <a:cubicBezTo>
                  <a:pt x="1392210" y="3882796"/>
                  <a:pt x="1393801" y="3881205"/>
                  <a:pt x="1395392" y="3879614"/>
                </a:cubicBezTo>
                <a:close/>
                <a:moveTo>
                  <a:pt x="1174280" y="3871660"/>
                </a:moveTo>
                <a:cubicBezTo>
                  <a:pt x="1172689" y="3873251"/>
                  <a:pt x="1172689" y="3876433"/>
                  <a:pt x="1171099" y="3878023"/>
                </a:cubicBezTo>
                <a:cubicBezTo>
                  <a:pt x="1174280" y="3881205"/>
                  <a:pt x="1177461" y="3882796"/>
                  <a:pt x="1182233" y="3884387"/>
                </a:cubicBezTo>
                <a:cubicBezTo>
                  <a:pt x="1180642" y="3879614"/>
                  <a:pt x="1180642" y="3876433"/>
                  <a:pt x="1179052" y="3873251"/>
                </a:cubicBezTo>
                <a:cubicBezTo>
                  <a:pt x="1177461" y="3871660"/>
                  <a:pt x="1175870" y="3871660"/>
                  <a:pt x="1174280" y="3871660"/>
                </a:cubicBezTo>
                <a:close/>
                <a:moveTo>
                  <a:pt x="1152009" y="3858934"/>
                </a:moveTo>
                <a:cubicBezTo>
                  <a:pt x="1152009" y="3860525"/>
                  <a:pt x="1150418" y="3862116"/>
                  <a:pt x="1148828" y="3863706"/>
                </a:cubicBezTo>
                <a:cubicBezTo>
                  <a:pt x="1152009" y="3866888"/>
                  <a:pt x="1156781" y="3868479"/>
                  <a:pt x="1159963" y="3871660"/>
                </a:cubicBezTo>
                <a:cubicBezTo>
                  <a:pt x="1159963" y="3870070"/>
                  <a:pt x="1161554" y="3866888"/>
                  <a:pt x="1161554" y="3865297"/>
                </a:cubicBezTo>
                <a:cubicBezTo>
                  <a:pt x="1158372" y="3863706"/>
                  <a:pt x="1155191" y="3860525"/>
                  <a:pt x="1152009" y="3858934"/>
                </a:cubicBezTo>
                <a:close/>
                <a:moveTo>
                  <a:pt x="1109060" y="3857344"/>
                </a:moveTo>
                <a:cubicBezTo>
                  <a:pt x="1104287" y="3862116"/>
                  <a:pt x="1101106" y="3866888"/>
                  <a:pt x="1096333" y="3871660"/>
                </a:cubicBezTo>
                <a:cubicBezTo>
                  <a:pt x="1104287" y="3879614"/>
                  <a:pt x="1112241" y="3885977"/>
                  <a:pt x="1121785" y="3892340"/>
                </a:cubicBezTo>
                <a:cubicBezTo>
                  <a:pt x="1124967" y="3887568"/>
                  <a:pt x="1128148" y="3881205"/>
                  <a:pt x="1131330" y="3876433"/>
                </a:cubicBezTo>
                <a:cubicBezTo>
                  <a:pt x="1123376" y="3873251"/>
                  <a:pt x="1115423" y="3868479"/>
                  <a:pt x="1107469" y="3863706"/>
                </a:cubicBezTo>
                <a:cubicBezTo>
                  <a:pt x="1107469" y="3862116"/>
                  <a:pt x="1107469" y="3860525"/>
                  <a:pt x="1109060" y="3857344"/>
                </a:cubicBezTo>
                <a:close/>
                <a:moveTo>
                  <a:pt x="1363577" y="3849391"/>
                </a:moveTo>
                <a:cubicBezTo>
                  <a:pt x="1349261" y="3852572"/>
                  <a:pt x="1334944" y="3854163"/>
                  <a:pt x="1319037" y="3855753"/>
                </a:cubicBezTo>
                <a:cubicBezTo>
                  <a:pt x="1330171" y="3860525"/>
                  <a:pt x="1346079" y="3862116"/>
                  <a:pt x="1358804" y="3865297"/>
                </a:cubicBezTo>
                <a:cubicBezTo>
                  <a:pt x="1365168" y="3863706"/>
                  <a:pt x="1373122" y="3862116"/>
                  <a:pt x="1379485" y="3860525"/>
                </a:cubicBezTo>
                <a:cubicBezTo>
                  <a:pt x="1373122" y="3858934"/>
                  <a:pt x="1368349" y="3857344"/>
                  <a:pt x="1361986" y="3854163"/>
                </a:cubicBezTo>
                <a:cubicBezTo>
                  <a:pt x="1361986" y="3852572"/>
                  <a:pt x="1363577" y="3850981"/>
                  <a:pt x="1363577" y="3849391"/>
                </a:cubicBezTo>
                <a:close/>
                <a:moveTo>
                  <a:pt x="1129739" y="3841437"/>
                </a:moveTo>
                <a:cubicBezTo>
                  <a:pt x="1134511" y="3847800"/>
                  <a:pt x="1139284" y="3852572"/>
                  <a:pt x="1144056" y="3858934"/>
                </a:cubicBezTo>
                <a:cubicBezTo>
                  <a:pt x="1144056" y="3857344"/>
                  <a:pt x="1145647" y="3857344"/>
                  <a:pt x="1145647" y="3855753"/>
                </a:cubicBezTo>
                <a:cubicBezTo>
                  <a:pt x="1140875" y="3850981"/>
                  <a:pt x="1134511" y="3846209"/>
                  <a:pt x="1129739" y="3841437"/>
                </a:cubicBezTo>
                <a:close/>
                <a:moveTo>
                  <a:pt x="1419252" y="3835073"/>
                </a:moveTo>
                <a:cubicBezTo>
                  <a:pt x="1409709" y="3838255"/>
                  <a:pt x="1398573" y="3841437"/>
                  <a:pt x="1385848" y="3844618"/>
                </a:cubicBezTo>
                <a:cubicBezTo>
                  <a:pt x="1385848" y="3849391"/>
                  <a:pt x="1384256" y="3855753"/>
                  <a:pt x="1382666" y="3860525"/>
                </a:cubicBezTo>
                <a:cubicBezTo>
                  <a:pt x="1392210" y="3858934"/>
                  <a:pt x="1401755" y="3855753"/>
                  <a:pt x="1411300" y="3852572"/>
                </a:cubicBezTo>
                <a:cubicBezTo>
                  <a:pt x="1414480" y="3846209"/>
                  <a:pt x="1417662" y="3841437"/>
                  <a:pt x="1419252" y="3835073"/>
                </a:cubicBezTo>
                <a:close/>
                <a:moveTo>
                  <a:pt x="1764442" y="3828710"/>
                </a:moveTo>
                <a:cubicBezTo>
                  <a:pt x="1756489" y="3830301"/>
                  <a:pt x="1750125" y="3830301"/>
                  <a:pt x="1742171" y="3830301"/>
                </a:cubicBezTo>
                <a:cubicBezTo>
                  <a:pt x="1740580" y="3831892"/>
                  <a:pt x="1738990" y="3833483"/>
                  <a:pt x="1737399" y="3835073"/>
                </a:cubicBezTo>
                <a:cubicBezTo>
                  <a:pt x="1743762" y="3835073"/>
                  <a:pt x="1750125" y="3836664"/>
                  <a:pt x="1756489" y="3836664"/>
                </a:cubicBezTo>
                <a:cubicBezTo>
                  <a:pt x="1758079" y="3833483"/>
                  <a:pt x="1761261" y="3831892"/>
                  <a:pt x="1764442" y="3828710"/>
                </a:cubicBezTo>
                <a:close/>
                <a:moveTo>
                  <a:pt x="2924086" y="3825528"/>
                </a:moveTo>
                <a:cubicBezTo>
                  <a:pt x="2960673" y="3898702"/>
                  <a:pt x="3167469" y="3975057"/>
                  <a:pt x="3253368" y="3913019"/>
                </a:cubicBezTo>
                <a:cubicBezTo>
                  <a:pt x="3145199" y="3941652"/>
                  <a:pt x="2998851" y="3893929"/>
                  <a:pt x="2924086" y="3825528"/>
                </a:cubicBezTo>
                <a:close/>
                <a:moveTo>
                  <a:pt x="2811144" y="3825528"/>
                </a:moveTo>
                <a:cubicBezTo>
                  <a:pt x="2806372" y="3825528"/>
                  <a:pt x="2806372" y="3830301"/>
                  <a:pt x="2809554" y="3831891"/>
                </a:cubicBezTo>
                <a:cubicBezTo>
                  <a:pt x="2887499" y="3884386"/>
                  <a:pt x="3011577" y="3967103"/>
                  <a:pt x="3138836" y="3979830"/>
                </a:cubicBezTo>
                <a:cubicBezTo>
                  <a:pt x="3189739" y="3984601"/>
                  <a:pt x="3240642" y="3962331"/>
                  <a:pt x="3285183" y="3981420"/>
                </a:cubicBezTo>
                <a:cubicBezTo>
                  <a:pt x="3253368" y="3936880"/>
                  <a:pt x="3189739" y="3971876"/>
                  <a:pt x="3142017" y="3967103"/>
                </a:cubicBezTo>
                <a:cubicBezTo>
                  <a:pt x="3017940" y="3955968"/>
                  <a:pt x="2903407" y="3868478"/>
                  <a:pt x="2811144" y="3825528"/>
                </a:cubicBezTo>
                <a:close/>
                <a:moveTo>
                  <a:pt x="3425665" y="3792769"/>
                </a:moveTo>
                <a:cubicBezTo>
                  <a:pt x="3424472" y="3792620"/>
                  <a:pt x="3423180" y="3793315"/>
                  <a:pt x="3421986" y="3795304"/>
                </a:cubicBezTo>
                <a:cubicBezTo>
                  <a:pt x="3417214" y="3803258"/>
                  <a:pt x="3417214" y="3817575"/>
                  <a:pt x="3418804" y="3819165"/>
                </a:cubicBezTo>
                <a:cubicBezTo>
                  <a:pt x="3425167" y="3827119"/>
                  <a:pt x="3437894" y="3835072"/>
                  <a:pt x="3441075" y="3822347"/>
                </a:cubicBezTo>
                <a:cubicBezTo>
                  <a:pt x="3423576" y="3827119"/>
                  <a:pt x="3437894" y="3814393"/>
                  <a:pt x="3428349" y="3804848"/>
                </a:cubicBezTo>
                <a:cubicBezTo>
                  <a:pt x="3431928" y="3801270"/>
                  <a:pt x="3429244" y="3793216"/>
                  <a:pt x="3425665" y="3792769"/>
                </a:cubicBezTo>
                <a:close/>
                <a:moveTo>
                  <a:pt x="1140875" y="3785761"/>
                </a:moveTo>
                <a:cubicBezTo>
                  <a:pt x="1140875" y="3795306"/>
                  <a:pt x="1137693" y="3806440"/>
                  <a:pt x="1132921" y="3815985"/>
                </a:cubicBezTo>
                <a:cubicBezTo>
                  <a:pt x="1137693" y="3812803"/>
                  <a:pt x="1144056" y="3809622"/>
                  <a:pt x="1150418" y="3806440"/>
                </a:cubicBezTo>
                <a:cubicBezTo>
                  <a:pt x="1147237" y="3800077"/>
                  <a:pt x="1142465" y="3793715"/>
                  <a:pt x="1140875" y="3785761"/>
                </a:cubicBezTo>
                <a:close/>
                <a:moveTo>
                  <a:pt x="1804210" y="3784170"/>
                </a:moveTo>
                <a:cubicBezTo>
                  <a:pt x="1797847" y="3784170"/>
                  <a:pt x="1791485" y="3787352"/>
                  <a:pt x="1785122" y="3787352"/>
                </a:cubicBezTo>
                <a:cubicBezTo>
                  <a:pt x="1778758" y="3795306"/>
                  <a:pt x="1770804" y="3801668"/>
                  <a:pt x="1764442" y="3808031"/>
                </a:cubicBezTo>
                <a:cubicBezTo>
                  <a:pt x="1770804" y="3809622"/>
                  <a:pt x="1778758" y="3808031"/>
                  <a:pt x="1785122" y="3808031"/>
                </a:cubicBezTo>
                <a:cubicBezTo>
                  <a:pt x="1786712" y="3806440"/>
                  <a:pt x="1788304" y="3804849"/>
                  <a:pt x="1789894" y="3803258"/>
                </a:cubicBezTo>
                <a:cubicBezTo>
                  <a:pt x="1788304" y="3803258"/>
                  <a:pt x="1785122" y="3803258"/>
                  <a:pt x="1783532" y="3800077"/>
                </a:cubicBezTo>
                <a:cubicBezTo>
                  <a:pt x="1789894" y="3793715"/>
                  <a:pt x="1796256" y="3785761"/>
                  <a:pt x="1804210" y="3784170"/>
                </a:cubicBezTo>
                <a:close/>
                <a:moveTo>
                  <a:pt x="1557647" y="3776216"/>
                </a:moveTo>
                <a:cubicBezTo>
                  <a:pt x="1532194" y="3788943"/>
                  <a:pt x="1503561" y="3803258"/>
                  <a:pt x="1471747" y="3815985"/>
                </a:cubicBezTo>
                <a:cubicBezTo>
                  <a:pt x="1471747" y="3817576"/>
                  <a:pt x="1471747" y="3820757"/>
                  <a:pt x="1471747" y="3822348"/>
                </a:cubicBezTo>
                <a:cubicBezTo>
                  <a:pt x="1471747" y="3823939"/>
                  <a:pt x="1471747" y="3825529"/>
                  <a:pt x="1471747" y="3827120"/>
                </a:cubicBezTo>
                <a:cubicBezTo>
                  <a:pt x="1503561" y="3811212"/>
                  <a:pt x="1532194" y="3793715"/>
                  <a:pt x="1557647" y="3776216"/>
                </a:cubicBezTo>
                <a:close/>
                <a:moveTo>
                  <a:pt x="1839206" y="3753946"/>
                </a:moveTo>
                <a:cubicBezTo>
                  <a:pt x="1832843" y="3757128"/>
                  <a:pt x="1826480" y="3760309"/>
                  <a:pt x="1820118" y="3761900"/>
                </a:cubicBezTo>
                <a:cubicBezTo>
                  <a:pt x="1816936" y="3761900"/>
                  <a:pt x="1815346" y="3761900"/>
                  <a:pt x="1812164" y="3760309"/>
                </a:cubicBezTo>
                <a:cubicBezTo>
                  <a:pt x="1810573" y="3763491"/>
                  <a:pt x="1807392" y="3765082"/>
                  <a:pt x="1805801" y="3768263"/>
                </a:cubicBezTo>
                <a:cubicBezTo>
                  <a:pt x="1812164" y="3768263"/>
                  <a:pt x="1816936" y="3769853"/>
                  <a:pt x="1823299" y="3769853"/>
                </a:cubicBezTo>
                <a:cubicBezTo>
                  <a:pt x="1829662" y="3765082"/>
                  <a:pt x="1834434" y="3760309"/>
                  <a:pt x="1839206" y="3753946"/>
                </a:cubicBezTo>
                <a:close/>
                <a:moveTo>
                  <a:pt x="2527994" y="3747583"/>
                </a:moveTo>
                <a:cubicBezTo>
                  <a:pt x="2527994" y="3760309"/>
                  <a:pt x="2547084" y="3774625"/>
                  <a:pt x="2534356" y="3784170"/>
                </a:cubicBezTo>
                <a:cubicBezTo>
                  <a:pt x="2535947" y="3773034"/>
                  <a:pt x="2520041" y="3744401"/>
                  <a:pt x="2527994" y="3747583"/>
                </a:cubicBezTo>
                <a:close/>
                <a:moveTo>
                  <a:pt x="2615485" y="3738038"/>
                </a:moveTo>
                <a:cubicBezTo>
                  <a:pt x="2757060" y="3881204"/>
                  <a:pt x="2990897" y="4048231"/>
                  <a:pt x="3259732" y="4029142"/>
                </a:cubicBezTo>
                <a:cubicBezTo>
                  <a:pt x="3184966" y="4002100"/>
                  <a:pt x="3105430" y="4016416"/>
                  <a:pt x="3025894" y="3990964"/>
                </a:cubicBezTo>
                <a:cubicBezTo>
                  <a:pt x="2893862" y="3948015"/>
                  <a:pt x="2765013" y="3846207"/>
                  <a:pt x="2669569" y="3782578"/>
                </a:cubicBezTo>
                <a:cubicBezTo>
                  <a:pt x="2648890" y="3768262"/>
                  <a:pt x="2634573" y="3753945"/>
                  <a:pt x="2621847" y="3739629"/>
                </a:cubicBezTo>
                <a:cubicBezTo>
                  <a:pt x="2620256" y="3739629"/>
                  <a:pt x="2617075" y="3738038"/>
                  <a:pt x="2615485" y="3738038"/>
                </a:cubicBezTo>
                <a:close/>
                <a:moveTo>
                  <a:pt x="2271885" y="3728493"/>
                </a:moveTo>
                <a:cubicBezTo>
                  <a:pt x="2267113" y="3726902"/>
                  <a:pt x="2265523" y="3726902"/>
                  <a:pt x="2263932" y="3730084"/>
                </a:cubicBezTo>
                <a:cubicBezTo>
                  <a:pt x="2227345" y="3987783"/>
                  <a:pt x="2335515" y="4159582"/>
                  <a:pt x="2430959" y="4340926"/>
                </a:cubicBezTo>
                <a:cubicBezTo>
                  <a:pt x="2343469" y="4159582"/>
                  <a:pt x="2265523" y="3971876"/>
                  <a:pt x="2271885" y="3728493"/>
                </a:cubicBezTo>
                <a:close/>
                <a:moveTo>
                  <a:pt x="1872612" y="3712587"/>
                </a:moveTo>
                <a:cubicBezTo>
                  <a:pt x="1866249" y="3714178"/>
                  <a:pt x="1859886" y="3715768"/>
                  <a:pt x="1851933" y="3715768"/>
                </a:cubicBezTo>
                <a:cubicBezTo>
                  <a:pt x="1848751" y="3718950"/>
                  <a:pt x="1847160" y="3720541"/>
                  <a:pt x="1845569" y="3723722"/>
                </a:cubicBezTo>
                <a:cubicBezTo>
                  <a:pt x="1851933" y="3723722"/>
                  <a:pt x="1858295" y="3725313"/>
                  <a:pt x="1864658" y="3725313"/>
                </a:cubicBezTo>
                <a:cubicBezTo>
                  <a:pt x="1866249" y="3720541"/>
                  <a:pt x="1869430" y="3717359"/>
                  <a:pt x="1872612" y="3712587"/>
                </a:cubicBezTo>
                <a:close/>
                <a:moveTo>
                  <a:pt x="1104287" y="3712587"/>
                </a:moveTo>
                <a:cubicBezTo>
                  <a:pt x="1096333" y="3733267"/>
                  <a:pt x="1112241" y="3744401"/>
                  <a:pt x="1124967" y="3757128"/>
                </a:cubicBezTo>
                <a:cubicBezTo>
                  <a:pt x="1123376" y="3753946"/>
                  <a:pt x="1121785" y="3749174"/>
                  <a:pt x="1120194" y="3744401"/>
                </a:cubicBezTo>
                <a:cubicBezTo>
                  <a:pt x="1117013" y="3734858"/>
                  <a:pt x="1110651" y="3723722"/>
                  <a:pt x="1104287" y="3712587"/>
                </a:cubicBezTo>
                <a:close/>
                <a:moveTo>
                  <a:pt x="3269276" y="3701451"/>
                </a:moveTo>
                <a:cubicBezTo>
                  <a:pt x="3189739" y="3753945"/>
                  <a:pt x="3091114" y="3774625"/>
                  <a:pt x="2967037" y="3757127"/>
                </a:cubicBezTo>
                <a:cubicBezTo>
                  <a:pt x="3108612" y="3806439"/>
                  <a:pt x="3188148" y="3760308"/>
                  <a:pt x="3270866" y="3717358"/>
                </a:cubicBezTo>
                <a:close/>
                <a:moveTo>
                  <a:pt x="1721493" y="3676000"/>
                </a:moveTo>
                <a:cubicBezTo>
                  <a:pt x="1699222" y="3671228"/>
                  <a:pt x="1688087" y="3701452"/>
                  <a:pt x="1667407" y="3712587"/>
                </a:cubicBezTo>
                <a:cubicBezTo>
                  <a:pt x="1661044" y="3718950"/>
                  <a:pt x="1656272" y="3723722"/>
                  <a:pt x="1649909" y="3730085"/>
                </a:cubicBezTo>
                <a:cubicBezTo>
                  <a:pt x="1651499" y="3730085"/>
                  <a:pt x="1653090" y="3730085"/>
                  <a:pt x="1654681" y="3730085"/>
                </a:cubicBezTo>
                <a:cubicBezTo>
                  <a:pt x="1634002" y="3760309"/>
                  <a:pt x="1611732" y="3787352"/>
                  <a:pt x="1584689" y="3803258"/>
                </a:cubicBezTo>
                <a:cubicBezTo>
                  <a:pt x="1587871" y="3773035"/>
                  <a:pt x="1630820" y="3771444"/>
                  <a:pt x="1632411" y="3745992"/>
                </a:cubicBezTo>
                <a:cubicBezTo>
                  <a:pt x="1613322" y="3763491"/>
                  <a:pt x="1594233" y="3780989"/>
                  <a:pt x="1575145" y="3796896"/>
                </a:cubicBezTo>
                <a:cubicBezTo>
                  <a:pt x="1575145" y="3800077"/>
                  <a:pt x="1573554" y="3801668"/>
                  <a:pt x="1573554" y="3804849"/>
                </a:cubicBezTo>
                <a:cubicBezTo>
                  <a:pt x="1571963" y="3811212"/>
                  <a:pt x="1568782" y="3815985"/>
                  <a:pt x="1565600" y="3819166"/>
                </a:cubicBezTo>
                <a:cubicBezTo>
                  <a:pt x="1565600" y="3814394"/>
                  <a:pt x="1565600" y="3809622"/>
                  <a:pt x="1564009" y="3804849"/>
                </a:cubicBezTo>
                <a:cubicBezTo>
                  <a:pt x="1511515" y="3846209"/>
                  <a:pt x="1455839" y="3881205"/>
                  <a:pt x="1400164" y="3900294"/>
                </a:cubicBezTo>
                <a:cubicBezTo>
                  <a:pt x="1384256" y="3913020"/>
                  <a:pt x="1366758" y="3924154"/>
                  <a:pt x="1350851" y="3930517"/>
                </a:cubicBezTo>
                <a:cubicBezTo>
                  <a:pt x="1471747" y="3901884"/>
                  <a:pt x="1573554" y="3817576"/>
                  <a:pt x="1654681" y="3752355"/>
                </a:cubicBezTo>
                <a:cubicBezTo>
                  <a:pt x="1662635" y="3744401"/>
                  <a:pt x="1668998" y="3734858"/>
                  <a:pt x="1676952" y="3726904"/>
                </a:cubicBezTo>
                <a:cubicBezTo>
                  <a:pt x="1680134" y="3709406"/>
                  <a:pt x="1689678" y="3701452"/>
                  <a:pt x="1702404" y="3696680"/>
                </a:cubicBezTo>
                <a:cubicBezTo>
                  <a:pt x="1708766" y="3688726"/>
                  <a:pt x="1715129" y="3682363"/>
                  <a:pt x="1721493" y="3676000"/>
                </a:cubicBezTo>
                <a:close/>
                <a:moveTo>
                  <a:pt x="1885337" y="3669637"/>
                </a:moveTo>
                <a:cubicBezTo>
                  <a:pt x="1883747" y="3671228"/>
                  <a:pt x="1882156" y="3674410"/>
                  <a:pt x="1880566" y="3677591"/>
                </a:cubicBezTo>
                <a:cubicBezTo>
                  <a:pt x="1880566" y="3679182"/>
                  <a:pt x="1883747" y="3682363"/>
                  <a:pt x="1885337" y="3685544"/>
                </a:cubicBezTo>
                <a:cubicBezTo>
                  <a:pt x="1880566" y="3688726"/>
                  <a:pt x="1875793" y="3690317"/>
                  <a:pt x="1871021" y="3690317"/>
                </a:cubicBezTo>
                <a:cubicBezTo>
                  <a:pt x="1869430" y="3691907"/>
                  <a:pt x="1867839" y="3695089"/>
                  <a:pt x="1866249" y="3696680"/>
                </a:cubicBezTo>
                <a:cubicBezTo>
                  <a:pt x="1872612" y="3695089"/>
                  <a:pt x="1880566" y="3693498"/>
                  <a:pt x="1886928" y="3691907"/>
                </a:cubicBezTo>
                <a:cubicBezTo>
                  <a:pt x="1888519" y="3688726"/>
                  <a:pt x="1891701" y="3685544"/>
                  <a:pt x="1894882" y="3683953"/>
                </a:cubicBezTo>
                <a:cubicBezTo>
                  <a:pt x="1893291" y="3677591"/>
                  <a:pt x="1888519" y="3674410"/>
                  <a:pt x="1885337" y="3669637"/>
                </a:cubicBezTo>
                <a:close/>
                <a:moveTo>
                  <a:pt x="1129739" y="3653730"/>
                </a:moveTo>
                <a:cubicBezTo>
                  <a:pt x="1128148" y="3655320"/>
                  <a:pt x="1128148" y="3658502"/>
                  <a:pt x="1126557" y="3661683"/>
                </a:cubicBezTo>
                <a:cubicBezTo>
                  <a:pt x="1128148" y="3664865"/>
                  <a:pt x="1131330" y="3666456"/>
                  <a:pt x="1132921" y="3666456"/>
                </a:cubicBezTo>
                <a:cubicBezTo>
                  <a:pt x="1131330" y="3661683"/>
                  <a:pt x="1129739" y="3656911"/>
                  <a:pt x="1129739" y="3653730"/>
                </a:cubicBezTo>
                <a:close/>
                <a:moveTo>
                  <a:pt x="3138165" y="3623953"/>
                </a:moveTo>
                <a:cubicBezTo>
                  <a:pt x="3050848" y="3620523"/>
                  <a:pt x="2968230" y="3664069"/>
                  <a:pt x="2866820" y="3637821"/>
                </a:cubicBezTo>
                <a:cubicBezTo>
                  <a:pt x="2997261" y="3696679"/>
                  <a:pt x="3091114" y="3596463"/>
                  <a:pt x="3227917" y="3647366"/>
                </a:cubicBezTo>
                <a:cubicBezTo>
                  <a:pt x="3196898" y="3631459"/>
                  <a:pt x="3167271" y="3625096"/>
                  <a:pt x="3138165" y="3623953"/>
                </a:cubicBezTo>
                <a:close/>
                <a:moveTo>
                  <a:pt x="1096333" y="3623505"/>
                </a:moveTo>
                <a:cubicBezTo>
                  <a:pt x="1101106" y="3629869"/>
                  <a:pt x="1105878" y="3637823"/>
                  <a:pt x="1110651" y="3642595"/>
                </a:cubicBezTo>
                <a:cubicBezTo>
                  <a:pt x="1112241" y="3637823"/>
                  <a:pt x="1113832" y="3631459"/>
                  <a:pt x="1115423" y="3626687"/>
                </a:cubicBezTo>
                <a:cubicBezTo>
                  <a:pt x="1109060" y="3626687"/>
                  <a:pt x="1102697" y="3625096"/>
                  <a:pt x="1096333" y="3623505"/>
                </a:cubicBezTo>
                <a:close/>
                <a:moveTo>
                  <a:pt x="2410280" y="3607597"/>
                </a:moveTo>
                <a:cubicBezTo>
                  <a:pt x="2473909" y="3749173"/>
                  <a:pt x="2437322" y="3981420"/>
                  <a:pt x="2492998" y="4127768"/>
                </a:cubicBezTo>
                <a:cubicBezTo>
                  <a:pt x="2537538" y="4262980"/>
                  <a:pt x="2648890" y="4355243"/>
                  <a:pt x="2739561" y="4460231"/>
                </a:cubicBezTo>
                <a:cubicBezTo>
                  <a:pt x="2702975" y="4382285"/>
                  <a:pt x="2617075" y="4310702"/>
                  <a:pt x="2558218" y="4237528"/>
                </a:cubicBezTo>
                <a:cubicBezTo>
                  <a:pt x="2515269" y="4124586"/>
                  <a:pt x="2454820" y="3975057"/>
                  <a:pt x="2461183" y="3828710"/>
                </a:cubicBezTo>
                <a:cubicBezTo>
                  <a:pt x="2464365" y="3741220"/>
                  <a:pt x="2464365" y="3664864"/>
                  <a:pt x="2410280" y="3607597"/>
                </a:cubicBezTo>
                <a:close/>
                <a:moveTo>
                  <a:pt x="1807392" y="3602826"/>
                </a:moveTo>
                <a:cubicBezTo>
                  <a:pt x="1793075" y="3604417"/>
                  <a:pt x="1778758" y="3609189"/>
                  <a:pt x="1762852" y="3606008"/>
                </a:cubicBezTo>
                <a:cubicBezTo>
                  <a:pt x="1759670" y="3609189"/>
                  <a:pt x="1756489" y="3613962"/>
                  <a:pt x="1753307" y="3617143"/>
                </a:cubicBezTo>
                <a:cubicBezTo>
                  <a:pt x="1761261" y="3621915"/>
                  <a:pt x="1766033" y="3625096"/>
                  <a:pt x="1770804" y="3629869"/>
                </a:cubicBezTo>
                <a:cubicBezTo>
                  <a:pt x="1783532" y="3618734"/>
                  <a:pt x="1794666" y="3610780"/>
                  <a:pt x="1807392" y="3602826"/>
                </a:cubicBezTo>
                <a:close/>
                <a:moveTo>
                  <a:pt x="1926697" y="3601236"/>
                </a:moveTo>
                <a:cubicBezTo>
                  <a:pt x="1921925" y="3599645"/>
                  <a:pt x="1920334" y="3602826"/>
                  <a:pt x="1915561" y="3602826"/>
                </a:cubicBezTo>
                <a:cubicBezTo>
                  <a:pt x="1909199" y="3620325"/>
                  <a:pt x="1902836" y="3636232"/>
                  <a:pt x="1893291" y="3650548"/>
                </a:cubicBezTo>
                <a:cubicBezTo>
                  <a:pt x="1898063" y="3652139"/>
                  <a:pt x="1901245" y="3655320"/>
                  <a:pt x="1906017" y="3656911"/>
                </a:cubicBezTo>
                <a:cubicBezTo>
                  <a:pt x="1913971" y="3639413"/>
                  <a:pt x="1921925" y="3620325"/>
                  <a:pt x="1926697" y="3601236"/>
                </a:cubicBezTo>
                <a:close/>
                <a:moveTo>
                  <a:pt x="1126557" y="3601236"/>
                </a:moveTo>
                <a:cubicBezTo>
                  <a:pt x="1124967" y="3602826"/>
                  <a:pt x="1121785" y="3602826"/>
                  <a:pt x="1120194" y="3604417"/>
                </a:cubicBezTo>
                <a:cubicBezTo>
                  <a:pt x="1120194" y="3606008"/>
                  <a:pt x="1121785" y="3606008"/>
                  <a:pt x="1121785" y="3606008"/>
                </a:cubicBezTo>
                <a:cubicBezTo>
                  <a:pt x="1123376" y="3604417"/>
                  <a:pt x="1123376" y="3604417"/>
                  <a:pt x="1124967" y="3604417"/>
                </a:cubicBezTo>
                <a:cubicBezTo>
                  <a:pt x="1124967" y="3602826"/>
                  <a:pt x="1126557" y="3602826"/>
                  <a:pt x="1126557" y="3601236"/>
                </a:cubicBezTo>
                <a:close/>
                <a:moveTo>
                  <a:pt x="1560828" y="3599645"/>
                </a:moveTo>
                <a:cubicBezTo>
                  <a:pt x="1471747" y="3633050"/>
                  <a:pt x="1346079" y="3607599"/>
                  <a:pt x="1234728" y="3607599"/>
                </a:cubicBezTo>
                <a:cubicBezTo>
                  <a:pt x="1237909" y="3610780"/>
                  <a:pt x="1241090" y="3615552"/>
                  <a:pt x="1242681" y="3620325"/>
                </a:cubicBezTo>
                <a:cubicBezTo>
                  <a:pt x="1357214" y="3631459"/>
                  <a:pt x="1484473" y="3648958"/>
                  <a:pt x="1560828" y="3599645"/>
                </a:cubicBezTo>
                <a:close/>
                <a:moveTo>
                  <a:pt x="2817508" y="3585327"/>
                </a:moveTo>
                <a:cubicBezTo>
                  <a:pt x="2952720" y="3664864"/>
                  <a:pt x="3075206" y="3575783"/>
                  <a:pt x="3221554" y="3621915"/>
                </a:cubicBezTo>
                <a:cubicBezTo>
                  <a:pt x="3086342" y="3547150"/>
                  <a:pt x="2957492" y="3647366"/>
                  <a:pt x="2817508" y="3585327"/>
                </a:cubicBezTo>
                <a:close/>
                <a:moveTo>
                  <a:pt x="2709337" y="3585327"/>
                </a:moveTo>
                <a:cubicBezTo>
                  <a:pt x="2755469" y="3650548"/>
                  <a:pt x="2847731" y="3701451"/>
                  <a:pt x="2933631" y="3731675"/>
                </a:cubicBezTo>
                <a:cubicBezTo>
                  <a:pt x="2857275" y="3683953"/>
                  <a:pt x="2772966" y="3642594"/>
                  <a:pt x="2709337" y="3585327"/>
                </a:cubicBezTo>
                <a:close/>
                <a:moveTo>
                  <a:pt x="1175870" y="3582147"/>
                </a:moveTo>
                <a:cubicBezTo>
                  <a:pt x="1172689" y="3582147"/>
                  <a:pt x="1169508" y="3583738"/>
                  <a:pt x="1166326" y="3583738"/>
                </a:cubicBezTo>
                <a:cubicBezTo>
                  <a:pt x="1166326" y="3586920"/>
                  <a:pt x="1167917" y="3588510"/>
                  <a:pt x="1167917" y="3591691"/>
                </a:cubicBezTo>
                <a:cubicBezTo>
                  <a:pt x="1167917" y="3591691"/>
                  <a:pt x="1169508" y="3591691"/>
                  <a:pt x="1171099" y="3591691"/>
                </a:cubicBezTo>
                <a:cubicBezTo>
                  <a:pt x="1172689" y="3590101"/>
                  <a:pt x="1175870" y="3590101"/>
                  <a:pt x="1177461" y="3590101"/>
                </a:cubicBezTo>
                <a:cubicBezTo>
                  <a:pt x="1177461" y="3586920"/>
                  <a:pt x="1175870" y="3585329"/>
                  <a:pt x="1175870" y="3582147"/>
                </a:cubicBezTo>
                <a:close/>
                <a:moveTo>
                  <a:pt x="1250635" y="3580556"/>
                </a:moveTo>
                <a:cubicBezTo>
                  <a:pt x="1247453" y="3583738"/>
                  <a:pt x="1244272" y="3588510"/>
                  <a:pt x="1242681" y="3591691"/>
                </a:cubicBezTo>
                <a:cubicBezTo>
                  <a:pt x="1320628" y="3596463"/>
                  <a:pt x="1406527" y="3615552"/>
                  <a:pt x="1463793" y="3588510"/>
                </a:cubicBezTo>
                <a:cubicBezTo>
                  <a:pt x="1416072" y="3602826"/>
                  <a:pt x="1328581" y="3583738"/>
                  <a:pt x="1250635" y="3580556"/>
                </a:cubicBezTo>
                <a:close/>
                <a:moveTo>
                  <a:pt x="1212457" y="3580556"/>
                </a:moveTo>
                <a:cubicBezTo>
                  <a:pt x="1204504" y="3580556"/>
                  <a:pt x="1196550" y="3582147"/>
                  <a:pt x="1190187" y="3582147"/>
                </a:cubicBezTo>
                <a:cubicBezTo>
                  <a:pt x="1190187" y="3583738"/>
                  <a:pt x="1190187" y="3586920"/>
                  <a:pt x="1190187" y="3590101"/>
                </a:cubicBezTo>
                <a:cubicBezTo>
                  <a:pt x="1198141" y="3588510"/>
                  <a:pt x="1204504" y="3588510"/>
                  <a:pt x="1209275" y="3590101"/>
                </a:cubicBezTo>
                <a:cubicBezTo>
                  <a:pt x="1209275" y="3585329"/>
                  <a:pt x="1210866" y="3582147"/>
                  <a:pt x="1212457" y="3580556"/>
                </a:cubicBezTo>
                <a:close/>
                <a:moveTo>
                  <a:pt x="3081768" y="3568227"/>
                </a:moveTo>
                <a:cubicBezTo>
                  <a:pt x="3023110" y="3567432"/>
                  <a:pt x="2967037" y="3571806"/>
                  <a:pt x="2924086" y="3590100"/>
                </a:cubicBezTo>
                <a:cubicBezTo>
                  <a:pt x="3017940" y="3580555"/>
                  <a:pt x="3142017" y="3580555"/>
                  <a:pt x="3256550" y="3586918"/>
                </a:cubicBezTo>
                <a:lnTo>
                  <a:pt x="3254959" y="3577373"/>
                </a:lnTo>
                <a:cubicBezTo>
                  <a:pt x="3201670" y="3574987"/>
                  <a:pt x="3140427" y="3569023"/>
                  <a:pt x="3081768" y="3568227"/>
                </a:cubicBezTo>
                <a:close/>
                <a:moveTo>
                  <a:pt x="1166326" y="3566239"/>
                </a:moveTo>
                <a:cubicBezTo>
                  <a:pt x="1166326" y="3567830"/>
                  <a:pt x="1166326" y="3567830"/>
                  <a:pt x="1166326" y="3569421"/>
                </a:cubicBezTo>
                <a:cubicBezTo>
                  <a:pt x="1167917" y="3569421"/>
                  <a:pt x="1167917" y="3569421"/>
                  <a:pt x="1169508" y="3569421"/>
                </a:cubicBezTo>
                <a:cubicBezTo>
                  <a:pt x="1167917" y="3569421"/>
                  <a:pt x="1167917" y="3567830"/>
                  <a:pt x="1166326" y="3566239"/>
                </a:cubicBezTo>
                <a:close/>
                <a:moveTo>
                  <a:pt x="1145647" y="3563058"/>
                </a:moveTo>
                <a:cubicBezTo>
                  <a:pt x="1128148" y="3571012"/>
                  <a:pt x="1110651" y="3580556"/>
                  <a:pt x="1097924" y="3594872"/>
                </a:cubicBezTo>
                <a:cubicBezTo>
                  <a:pt x="1097924" y="3594872"/>
                  <a:pt x="1097924" y="3596463"/>
                  <a:pt x="1096333" y="3596463"/>
                </a:cubicBezTo>
                <a:cubicBezTo>
                  <a:pt x="1109060" y="3590101"/>
                  <a:pt x="1121785" y="3583738"/>
                  <a:pt x="1136102" y="3578966"/>
                </a:cubicBezTo>
                <a:cubicBezTo>
                  <a:pt x="1139284" y="3572602"/>
                  <a:pt x="1142465" y="3567830"/>
                  <a:pt x="1145647" y="3563058"/>
                </a:cubicBezTo>
                <a:close/>
                <a:moveTo>
                  <a:pt x="1979192" y="3561467"/>
                </a:moveTo>
                <a:cubicBezTo>
                  <a:pt x="1974418" y="3559877"/>
                  <a:pt x="1972828" y="3559877"/>
                  <a:pt x="1971237" y="3563058"/>
                </a:cubicBezTo>
                <a:cubicBezTo>
                  <a:pt x="1980781" y="3745992"/>
                  <a:pt x="2038048" y="3997329"/>
                  <a:pt x="1952148" y="4191398"/>
                </a:cubicBezTo>
                <a:cubicBezTo>
                  <a:pt x="1920334" y="4266163"/>
                  <a:pt x="1863067" y="4312294"/>
                  <a:pt x="1804210" y="4353653"/>
                </a:cubicBezTo>
                <a:cubicBezTo>
                  <a:pt x="1804210" y="4358426"/>
                  <a:pt x="1804210" y="4363197"/>
                  <a:pt x="1804210" y="4367969"/>
                </a:cubicBezTo>
                <a:cubicBezTo>
                  <a:pt x="1880566" y="4318657"/>
                  <a:pt x="1948967" y="4253436"/>
                  <a:pt x="1985554" y="4153220"/>
                </a:cubicBezTo>
                <a:cubicBezTo>
                  <a:pt x="2061909" y="3944834"/>
                  <a:pt x="1983964" y="3738039"/>
                  <a:pt x="1979192" y="3561467"/>
                </a:cubicBezTo>
                <a:close/>
                <a:moveTo>
                  <a:pt x="1261771" y="3559877"/>
                </a:moveTo>
                <a:cubicBezTo>
                  <a:pt x="1260180" y="3563058"/>
                  <a:pt x="1258589" y="3564648"/>
                  <a:pt x="1258589" y="3566239"/>
                </a:cubicBezTo>
                <a:cubicBezTo>
                  <a:pt x="1272905" y="3567830"/>
                  <a:pt x="1288813" y="3572602"/>
                  <a:pt x="1306311" y="3577375"/>
                </a:cubicBezTo>
                <a:cubicBezTo>
                  <a:pt x="1291994" y="3569421"/>
                  <a:pt x="1276087" y="3564648"/>
                  <a:pt x="1261771" y="3559877"/>
                </a:cubicBezTo>
                <a:close/>
                <a:moveTo>
                  <a:pt x="1212457" y="3553514"/>
                </a:moveTo>
                <a:cubicBezTo>
                  <a:pt x="1210866" y="3556695"/>
                  <a:pt x="1207685" y="3559877"/>
                  <a:pt x="1206094" y="3564648"/>
                </a:cubicBezTo>
                <a:cubicBezTo>
                  <a:pt x="1210866" y="3564648"/>
                  <a:pt x="1215639" y="3563058"/>
                  <a:pt x="1218820" y="3563058"/>
                </a:cubicBezTo>
                <a:cubicBezTo>
                  <a:pt x="1220411" y="3559877"/>
                  <a:pt x="1222002" y="3556695"/>
                  <a:pt x="1223592" y="3553514"/>
                </a:cubicBezTo>
                <a:cubicBezTo>
                  <a:pt x="1220411" y="3553514"/>
                  <a:pt x="1215639" y="3553514"/>
                  <a:pt x="1212457" y="3553514"/>
                </a:cubicBezTo>
                <a:close/>
                <a:moveTo>
                  <a:pt x="1191778" y="3551923"/>
                </a:moveTo>
                <a:cubicBezTo>
                  <a:pt x="1191778" y="3556695"/>
                  <a:pt x="1191778" y="3559877"/>
                  <a:pt x="1191778" y="3564648"/>
                </a:cubicBezTo>
                <a:cubicBezTo>
                  <a:pt x="1194959" y="3563058"/>
                  <a:pt x="1199732" y="3563058"/>
                  <a:pt x="1202913" y="3563058"/>
                </a:cubicBezTo>
                <a:cubicBezTo>
                  <a:pt x="1201322" y="3559877"/>
                  <a:pt x="1201322" y="3556695"/>
                  <a:pt x="1201322" y="3551923"/>
                </a:cubicBezTo>
                <a:cubicBezTo>
                  <a:pt x="1198141" y="3553514"/>
                  <a:pt x="1194959" y="3553514"/>
                  <a:pt x="1191778" y="3551923"/>
                </a:cubicBezTo>
                <a:close/>
                <a:moveTo>
                  <a:pt x="2074635" y="3539197"/>
                </a:moveTo>
                <a:cubicBezTo>
                  <a:pt x="2047592" y="3755537"/>
                  <a:pt x="2168488" y="4024371"/>
                  <a:pt x="2042820" y="4269344"/>
                </a:cubicBezTo>
                <a:cubicBezTo>
                  <a:pt x="2034866" y="4280479"/>
                  <a:pt x="2057137" y="4274116"/>
                  <a:pt x="2049183" y="4285251"/>
                </a:cubicBezTo>
                <a:cubicBezTo>
                  <a:pt x="1995098" y="4399784"/>
                  <a:pt x="1909199" y="4466595"/>
                  <a:pt x="1812164" y="4509545"/>
                </a:cubicBezTo>
                <a:cubicBezTo>
                  <a:pt x="1810573" y="4511135"/>
                  <a:pt x="1810573" y="4514317"/>
                  <a:pt x="1808982" y="4517498"/>
                </a:cubicBezTo>
                <a:cubicBezTo>
                  <a:pt x="1929878" y="4466595"/>
                  <a:pt x="2030095" y="4380695"/>
                  <a:pt x="2090542" y="4239120"/>
                </a:cubicBezTo>
                <a:cubicBezTo>
                  <a:pt x="2104859" y="4205715"/>
                  <a:pt x="2111222" y="4164355"/>
                  <a:pt x="2115994" y="4124587"/>
                </a:cubicBezTo>
                <a:cubicBezTo>
                  <a:pt x="2131901" y="3970286"/>
                  <a:pt x="2087361" y="3803258"/>
                  <a:pt x="2085770" y="3652139"/>
                </a:cubicBezTo>
                <a:cubicBezTo>
                  <a:pt x="2084180" y="3612371"/>
                  <a:pt x="2104859" y="3574193"/>
                  <a:pt x="2074635" y="3539197"/>
                </a:cubicBezTo>
                <a:close/>
                <a:moveTo>
                  <a:pt x="2217800" y="3529652"/>
                </a:moveTo>
                <a:cubicBezTo>
                  <a:pt x="2176442" y="3604416"/>
                  <a:pt x="2213028" y="3648957"/>
                  <a:pt x="2225754" y="3698270"/>
                </a:cubicBezTo>
                <a:cubicBezTo>
                  <a:pt x="2235299" y="3738038"/>
                  <a:pt x="2217800" y="3795304"/>
                  <a:pt x="2214619" y="3841435"/>
                </a:cubicBezTo>
                <a:cubicBezTo>
                  <a:pt x="2205075" y="3968695"/>
                  <a:pt x="2255978" y="4113452"/>
                  <a:pt x="2230527" y="4232757"/>
                </a:cubicBezTo>
                <a:cubicBezTo>
                  <a:pt x="2213028" y="4235939"/>
                  <a:pt x="2208256" y="4304340"/>
                  <a:pt x="2213028" y="4328202"/>
                </a:cubicBezTo>
                <a:cubicBezTo>
                  <a:pt x="2286202" y="4347290"/>
                  <a:pt x="2222573" y="4434780"/>
                  <a:pt x="2251206" y="4476140"/>
                </a:cubicBezTo>
                <a:cubicBezTo>
                  <a:pt x="2270294" y="4503182"/>
                  <a:pt x="2302109" y="4490456"/>
                  <a:pt x="2300518" y="4530224"/>
                </a:cubicBezTo>
                <a:cubicBezTo>
                  <a:pt x="2268704" y="4555676"/>
                  <a:pt x="2236889" y="4577946"/>
                  <a:pt x="2232118" y="4646348"/>
                </a:cubicBezTo>
                <a:cubicBezTo>
                  <a:pt x="2217800" y="4665436"/>
                  <a:pt x="2190759" y="4662255"/>
                  <a:pt x="2174851" y="4676572"/>
                </a:cubicBezTo>
                <a:cubicBezTo>
                  <a:pt x="2168488" y="4732248"/>
                  <a:pt x="2138264" y="4749745"/>
                  <a:pt x="2108040" y="4765653"/>
                </a:cubicBezTo>
                <a:cubicBezTo>
                  <a:pt x="2071453" y="4733838"/>
                  <a:pt x="2033275" y="4779969"/>
                  <a:pt x="2007823" y="4768834"/>
                </a:cubicBezTo>
                <a:cubicBezTo>
                  <a:pt x="1987144" y="4759290"/>
                  <a:pt x="2007823" y="4743383"/>
                  <a:pt x="1983964" y="4732248"/>
                </a:cubicBezTo>
                <a:cubicBezTo>
                  <a:pt x="1971237" y="4813375"/>
                  <a:pt x="1923515" y="4881776"/>
                  <a:pt x="1847160" y="4834055"/>
                </a:cubicBezTo>
                <a:cubicBezTo>
                  <a:pt x="1861476" y="4765653"/>
                  <a:pt x="1880565" y="4694070"/>
                  <a:pt x="1915561" y="4639985"/>
                </a:cubicBezTo>
                <a:cubicBezTo>
                  <a:pt x="2006233" y="4500000"/>
                  <a:pt x="2205075" y="4420464"/>
                  <a:pt x="2198712" y="4200943"/>
                </a:cubicBezTo>
                <a:cubicBezTo>
                  <a:pt x="2193940" y="3990965"/>
                  <a:pt x="2166897" y="3765081"/>
                  <a:pt x="2171669" y="3543968"/>
                </a:cubicBezTo>
                <a:cubicBezTo>
                  <a:pt x="2192349" y="3548740"/>
                  <a:pt x="2205075" y="3537605"/>
                  <a:pt x="2217800" y="3529652"/>
                </a:cubicBezTo>
                <a:close/>
                <a:moveTo>
                  <a:pt x="744781" y="3505791"/>
                </a:moveTo>
                <a:cubicBezTo>
                  <a:pt x="735237" y="3502610"/>
                  <a:pt x="728875" y="3505791"/>
                  <a:pt x="728875" y="3516927"/>
                </a:cubicBezTo>
                <a:cubicBezTo>
                  <a:pt x="736828" y="3518518"/>
                  <a:pt x="743191" y="3513745"/>
                  <a:pt x="744781" y="3505791"/>
                </a:cubicBezTo>
                <a:close/>
                <a:moveTo>
                  <a:pt x="3239052" y="3431026"/>
                </a:moveTo>
                <a:cubicBezTo>
                  <a:pt x="3223144" y="3437389"/>
                  <a:pt x="3207237" y="3446934"/>
                  <a:pt x="3199284" y="3467613"/>
                </a:cubicBezTo>
                <a:cubicBezTo>
                  <a:pt x="3210418" y="3459659"/>
                  <a:pt x="3224735" y="3453296"/>
                  <a:pt x="3237461" y="3446934"/>
                </a:cubicBezTo>
                <a:lnTo>
                  <a:pt x="3237461" y="3443752"/>
                </a:lnTo>
                <a:cubicBezTo>
                  <a:pt x="3239052" y="3438980"/>
                  <a:pt x="3239052" y="3435798"/>
                  <a:pt x="3239052" y="3431026"/>
                </a:cubicBezTo>
                <a:close/>
                <a:moveTo>
                  <a:pt x="2625028" y="3410347"/>
                </a:moveTo>
                <a:cubicBezTo>
                  <a:pt x="2629800" y="3443753"/>
                  <a:pt x="2642527" y="3472386"/>
                  <a:pt x="2658433" y="3499428"/>
                </a:cubicBezTo>
                <a:cubicBezTo>
                  <a:pt x="2642527" y="3488292"/>
                  <a:pt x="2632982" y="3493065"/>
                  <a:pt x="2617075" y="3493065"/>
                </a:cubicBezTo>
                <a:cubicBezTo>
                  <a:pt x="2612302" y="3485111"/>
                  <a:pt x="2607530" y="3475567"/>
                  <a:pt x="2601167" y="3467613"/>
                </a:cubicBezTo>
                <a:lnTo>
                  <a:pt x="2601168" y="3467614"/>
                </a:lnTo>
                <a:lnTo>
                  <a:pt x="2617075" y="3475567"/>
                </a:lnTo>
                <a:cubicBezTo>
                  <a:pt x="2636163" y="3456478"/>
                  <a:pt x="2609121" y="3427845"/>
                  <a:pt x="2625028" y="3410347"/>
                </a:cubicBezTo>
                <a:close/>
                <a:moveTo>
                  <a:pt x="1451067" y="3397622"/>
                </a:moveTo>
                <a:cubicBezTo>
                  <a:pt x="1447887" y="3400803"/>
                  <a:pt x="1446295" y="3402394"/>
                  <a:pt x="1443113" y="3405576"/>
                </a:cubicBezTo>
                <a:cubicBezTo>
                  <a:pt x="1447887" y="3407166"/>
                  <a:pt x="1452659" y="3407166"/>
                  <a:pt x="1457431" y="3407166"/>
                </a:cubicBezTo>
                <a:cubicBezTo>
                  <a:pt x="1459021" y="3405576"/>
                  <a:pt x="1460612" y="3403985"/>
                  <a:pt x="1462203" y="3402394"/>
                </a:cubicBezTo>
                <a:cubicBezTo>
                  <a:pt x="1459021" y="3402394"/>
                  <a:pt x="1454249" y="3400803"/>
                  <a:pt x="1451067" y="3397622"/>
                </a:cubicBezTo>
                <a:close/>
                <a:moveTo>
                  <a:pt x="1433570" y="3394440"/>
                </a:moveTo>
                <a:cubicBezTo>
                  <a:pt x="1430388" y="3397622"/>
                  <a:pt x="1427207" y="3400803"/>
                  <a:pt x="1424025" y="3403985"/>
                </a:cubicBezTo>
                <a:cubicBezTo>
                  <a:pt x="1427207" y="3403985"/>
                  <a:pt x="1430388" y="3405576"/>
                  <a:pt x="1433570" y="3405576"/>
                </a:cubicBezTo>
                <a:cubicBezTo>
                  <a:pt x="1435160" y="3402394"/>
                  <a:pt x="1435160" y="3399213"/>
                  <a:pt x="1435160" y="3394440"/>
                </a:cubicBezTo>
                <a:cubicBezTo>
                  <a:pt x="1435160" y="3394440"/>
                  <a:pt x="1433570" y="3394440"/>
                  <a:pt x="1433570" y="3394440"/>
                </a:cubicBezTo>
                <a:close/>
                <a:moveTo>
                  <a:pt x="2329152" y="3392848"/>
                </a:moveTo>
                <a:cubicBezTo>
                  <a:pt x="2278248" y="3456478"/>
                  <a:pt x="2251206" y="3620324"/>
                  <a:pt x="2273476" y="3690316"/>
                </a:cubicBezTo>
                <a:cubicBezTo>
                  <a:pt x="2310063" y="3701451"/>
                  <a:pt x="2308474" y="3653729"/>
                  <a:pt x="2318017" y="3621915"/>
                </a:cubicBezTo>
                <a:cubicBezTo>
                  <a:pt x="2332333" y="3626686"/>
                  <a:pt x="2332333" y="3666455"/>
                  <a:pt x="2359376" y="3674409"/>
                </a:cubicBezTo>
                <a:cubicBezTo>
                  <a:pt x="2302109" y="3927335"/>
                  <a:pt x="2405507" y="4105497"/>
                  <a:pt x="2504132" y="4269343"/>
                </a:cubicBezTo>
                <a:cubicBezTo>
                  <a:pt x="2438913" y="4103906"/>
                  <a:pt x="2341878" y="3933698"/>
                  <a:pt x="2357785" y="3704633"/>
                </a:cubicBezTo>
                <a:cubicBezTo>
                  <a:pt x="2367330" y="3698269"/>
                  <a:pt x="2360967" y="3726902"/>
                  <a:pt x="2378465" y="3723721"/>
                </a:cubicBezTo>
                <a:cubicBezTo>
                  <a:pt x="2380056" y="3927335"/>
                  <a:pt x="2430959" y="4099134"/>
                  <a:pt x="2534356" y="4239119"/>
                </a:cubicBezTo>
                <a:cubicBezTo>
                  <a:pt x="2469137" y="4080046"/>
                  <a:pt x="2370511" y="3909837"/>
                  <a:pt x="2400735" y="3707814"/>
                </a:cubicBezTo>
                <a:cubicBezTo>
                  <a:pt x="2423006" y="3599644"/>
                  <a:pt x="2330742" y="3551922"/>
                  <a:pt x="2321199" y="3458068"/>
                </a:cubicBezTo>
                <a:cubicBezTo>
                  <a:pt x="2322790" y="3431026"/>
                  <a:pt x="2346650" y="3407165"/>
                  <a:pt x="2329152" y="3392848"/>
                </a:cubicBezTo>
                <a:close/>
                <a:moveTo>
                  <a:pt x="3619237" y="3376941"/>
                </a:moveTo>
                <a:cubicBezTo>
                  <a:pt x="3616056" y="3383304"/>
                  <a:pt x="3612874" y="3391258"/>
                  <a:pt x="3612874" y="3397620"/>
                </a:cubicBezTo>
                <a:cubicBezTo>
                  <a:pt x="3612874" y="3400802"/>
                  <a:pt x="3619237" y="3413528"/>
                  <a:pt x="3619237" y="3419891"/>
                </a:cubicBezTo>
                <a:cubicBezTo>
                  <a:pt x="3684457" y="3485111"/>
                  <a:pt x="3752859" y="3548740"/>
                  <a:pt x="3819671" y="3613961"/>
                </a:cubicBezTo>
                <a:cubicBezTo>
                  <a:pt x="3813306" y="3601234"/>
                  <a:pt x="3806943" y="3586918"/>
                  <a:pt x="3802171" y="3572601"/>
                </a:cubicBezTo>
                <a:cubicBezTo>
                  <a:pt x="3775129" y="3547150"/>
                  <a:pt x="3749677" y="3526470"/>
                  <a:pt x="3730589" y="3494656"/>
                </a:cubicBezTo>
                <a:cubicBezTo>
                  <a:pt x="3722635" y="3488292"/>
                  <a:pt x="3716272" y="3480339"/>
                  <a:pt x="3708318" y="3472385"/>
                </a:cubicBezTo>
                <a:cubicBezTo>
                  <a:pt x="3706728" y="3472385"/>
                  <a:pt x="3705137" y="3473976"/>
                  <a:pt x="3703546" y="3477158"/>
                </a:cubicBezTo>
                <a:cubicBezTo>
                  <a:pt x="3700365" y="3470795"/>
                  <a:pt x="3698774" y="3466022"/>
                  <a:pt x="3695592" y="3459659"/>
                </a:cubicBezTo>
                <a:cubicBezTo>
                  <a:pt x="3678094" y="3440571"/>
                  <a:pt x="3659005" y="3419891"/>
                  <a:pt x="3641508" y="3400802"/>
                </a:cubicBezTo>
                <a:lnTo>
                  <a:pt x="3646280" y="3419891"/>
                </a:lnTo>
                <a:cubicBezTo>
                  <a:pt x="3641508" y="3413528"/>
                  <a:pt x="3636735" y="3403984"/>
                  <a:pt x="3633554" y="3392848"/>
                </a:cubicBezTo>
                <a:cubicBezTo>
                  <a:pt x="3628781" y="3388077"/>
                  <a:pt x="3624009" y="3381713"/>
                  <a:pt x="3619237" y="3376941"/>
                </a:cubicBezTo>
                <a:close/>
                <a:moveTo>
                  <a:pt x="1361986" y="3362625"/>
                </a:moveTo>
                <a:cubicBezTo>
                  <a:pt x="1355623" y="3365807"/>
                  <a:pt x="1346079" y="3367398"/>
                  <a:pt x="1338125" y="3367398"/>
                </a:cubicBezTo>
                <a:cubicBezTo>
                  <a:pt x="1342898" y="3368988"/>
                  <a:pt x="1346079" y="3372170"/>
                  <a:pt x="1350851" y="3373761"/>
                </a:cubicBezTo>
                <a:cubicBezTo>
                  <a:pt x="1350851" y="3372170"/>
                  <a:pt x="1350851" y="3372170"/>
                  <a:pt x="1352442" y="3370579"/>
                </a:cubicBezTo>
                <a:cubicBezTo>
                  <a:pt x="1365168" y="3368988"/>
                  <a:pt x="1368349" y="3375352"/>
                  <a:pt x="1366758" y="3381715"/>
                </a:cubicBezTo>
                <a:cubicBezTo>
                  <a:pt x="1374712" y="3386486"/>
                  <a:pt x="1384256" y="3391259"/>
                  <a:pt x="1393801" y="3394440"/>
                </a:cubicBezTo>
                <a:cubicBezTo>
                  <a:pt x="1398573" y="3391259"/>
                  <a:pt x="1404936" y="3388077"/>
                  <a:pt x="1412890" y="3386486"/>
                </a:cubicBezTo>
                <a:cubicBezTo>
                  <a:pt x="1395392" y="3380124"/>
                  <a:pt x="1377894" y="3370579"/>
                  <a:pt x="1361986" y="3362625"/>
                </a:cubicBezTo>
                <a:close/>
                <a:moveTo>
                  <a:pt x="1070882" y="3361034"/>
                </a:moveTo>
                <a:cubicBezTo>
                  <a:pt x="1050203" y="3380124"/>
                  <a:pt x="1031113" y="3397622"/>
                  <a:pt x="1012025" y="3416710"/>
                </a:cubicBezTo>
                <a:cubicBezTo>
                  <a:pt x="922944" y="3469205"/>
                  <a:pt x="835453" y="3497838"/>
                  <a:pt x="728875" y="3520108"/>
                </a:cubicBezTo>
                <a:cubicBezTo>
                  <a:pt x="722511" y="3520108"/>
                  <a:pt x="709785" y="3521699"/>
                  <a:pt x="706604" y="3536015"/>
                </a:cubicBezTo>
                <a:cubicBezTo>
                  <a:pt x="844998" y="3524881"/>
                  <a:pt x="964303" y="3462842"/>
                  <a:pt x="1064519" y="3392849"/>
                </a:cubicBezTo>
                <a:cubicBezTo>
                  <a:pt x="1062928" y="3383305"/>
                  <a:pt x="1061337" y="3376942"/>
                  <a:pt x="1061337" y="3372170"/>
                </a:cubicBezTo>
                <a:cubicBezTo>
                  <a:pt x="1064519" y="3368988"/>
                  <a:pt x="1067700" y="3365807"/>
                  <a:pt x="1070882" y="3361034"/>
                </a:cubicBezTo>
                <a:close/>
                <a:moveTo>
                  <a:pt x="4010558" y="3359443"/>
                </a:moveTo>
                <a:cubicBezTo>
                  <a:pt x="4010558" y="3361034"/>
                  <a:pt x="4010558" y="3364215"/>
                  <a:pt x="4010558" y="3365806"/>
                </a:cubicBezTo>
                <a:cubicBezTo>
                  <a:pt x="4012149" y="3367396"/>
                  <a:pt x="4013740" y="3368987"/>
                  <a:pt x="4015331" y="3370578"/>
                </a:cubicBezTo>
                <a:cubicBezTo>
                  <a:pt x="4013740" y="3367396"/>
                  <a:pt x="4012149" y="3362624"/>
                  <a:pt x="4010558" y="3359443"/>
                </a:cubicBezTo>
                <a:close/>
                <a:moveTo>
                  <a:pt x="2445275" y="3341945"/>
                </a:moveTo>
                <a:cubicBezTo>
                  <a:pt x="2446866" y="3367397"/>
                  <a:pt x="2467547" y="3394439"/>
                  <a:pt x="2464366" y="3413528"/>
                </a:cubicBezTo>
                <a:cubicBezTo>
                  <a:pt x="2458004" y="3391258"/>
                  <a:pt x="2435732" y="3362624"/>
                  <a:pt x="2445275" y="3341945"/>
                </a:cubicBezTo>
                <a:close/>
                <a:moveTo>
                  <a:pt x="1315855" y="3338764"/>
                </a:moveTo>
                <a:cubicBezTo>
                  <a:pt x="1314264" y="3343536"/>
                  <a:pt x="1311083" y="3348308"/>
                  <a:pt x="1309492" y="3351490"/>
                </a:cubicBezTo>
                <a:cubicBezTo>
                  <a:pt x="1312674" y="3354671"/>
                  <a:pt x="1317446" y="3356262"/>
                  <a:pt x="1320628" y="3357853"/>
                </a:cubicBezTo>
                <a:cubicBezTo>
                  <a:pt x="1325399" y="3353080"/>
                  <a:pt x="1328581" y="3349899"/>
                  <a:pt x="1333353" y="3346717"/>
                </a:cubicBezTo>
                <a:cubicBezTo>
                  <a:pt x="1328581" y="3345127"/>
                  <a:pt x="1322218" y="3341945"/>
                  <a:pt x="1315855" y="3338764"/>
                </a:cubicBezTo>
                <a:close/>
                <a:moveTo>
                  <a:pt x="1118604" y="3323056"/>
                </a:moveTo>
                <a:cubicBezTo>
                  <a:pt x="1116616" y="3322062"/>
                  <a:pt x="1114628" y="3322062"/>
                  <a:pt x="1110651" y="3324448"/>
                </a:cubicBezTo>
                <a:cubicBezTo>
                  <a:pt x="1107469" y="3326038"/>
                  <a:pt x="1105878" y="3329220"/>
                  <a:pt x="1102697" y="3330810"/>
                </a:cubicBezTo>
                <a:cubicBezTo>
                  <a:pt x="1094743" y="3351490"/>
                  <a:pt x="1085199" y="3370579"/>
                  <a:pt x="1074063" y="3384896"/>
                </a:cubicBezTo>
                <a:cubicBezTo>
                  <a:pt x="1080427" y="3380124"/>
                  <a:pt x="1086789" y="3375352"/>
                  <a:pt x="1093152" y="3370579"/>
                </a:cubicBezTo>
                <a:cubicBezTo>
                  <a:pt x="1089970" y="3378533"/>
                  <a:pt x="1097924" y="3388077"/>
                  <a:pt x="1093152" y="3399213"/>
                </a:cubicBezTo>
                <a:cubicBezTo>
                  <a:pt x="1018388" y="3470796"/>
                  <a:pt x="897492" y="3494657"/>
                  <a:pt x="813183" y="3536015"/>
                </a:cubicBezTo>
                <a:cubicBezTo>
                  <a:pt x="913399" y="3523290"/>
                  <a:pt x="1016797" y="3458070"/>
                  <a:pt x="1089970" y="3424664"/>
                </a:cubicBezTo>
                <a:cubicBezTo>
                  <a:pt x="1096333" y="3400803"/>
                  <a:pt x="1109060" y="3373761"/>
                  <a:pt x="1120194" y="3351490"/>
                </a:cubicBezTo>
                <a:cubicBezTo>
                  <a:pt x="1121785" y="3356262"/>
                  <a:pt x="1124967" y="3361034"/>
                  <a:pt x="1126557" y="3367398"/>
                </a:cubicBezTo>
                <a:cubicBezTo>
                  <a:pt x="1131330" y="3364216"/>
                  <a:pt x="1136102" y="3362625"/>
                  <a:pt x="1140875" y="3361034"/>
                </a:cubicBezTo>
                <a:cubicBezTo>
                  <a:pt x="1136102" y="3349899"/>
                  <a:pt x="1129739" y="3338764"/>
                  <a:pt x="1126557" y="3327629"/>
                </a:cubicBezTo>
                <a:cubicBezTo>
                  <a:pt x="1122580" y="3326039"/>
                  <a:pt x="1120593" y="3324050"/>
                  <a:pt x="1118604" y="3323056"/>
                </a:cubicBezTo>
                <a:close/>
                <a:moveTo>
                  <a:pt x="1231546" y="3313312"/>
                </a:moveTo>
                <a:cubicBezTo>
                  <a:pt x="1233137" y="3316494"/>
                  <a:pt x="1234728" y="3319675"/>
                  <a:pt x="1236318" y="3322857"/>
                </a:cubicBezTo>
                <a:cubicBezTo>
                  <a:pt x="1247453" y="3324448"/>
                  <a:pt x="1258589" y="3327629"/>
                  <a:pt x="1269723" y="3332401"/>
                </a:cubicBezTo>
                <a:cubicBezTo>
                  <a:pt x="1271314" y="3329220"/>
                  <a:pt x="1274496" y="3326038"/>
                  <a:pt x="1276087" y="3322857"/>
                </a:cubicBezTo>
                <a:cubicBezTo>
                  <a:pt x="1271314" y="3321266"/>
                  <a:pt x="1268133" y="3321266"/>
                  <a:pt x="1263361" y="3319675"/>
                </a:cubicBezTo>
                <a:cubicBezTo>
                  <a:pt x="1260180" y="3322857"/>
                  <a:pt x="1256999" y="3326038"/>
                  <a:pt x="1252227" y="3326038"/>
                </a:cubicBezTo>
                <a:cubicBezTo>
                  <a:pt x="1249044" y="3324448"/>
                  <a:pt x="1247453" y="3319675"/>
                  <a:pt x="1245864" y="3316494"/>
                </a:cubicBezTo>
                <a:cubicBezTo>
                  <a:pt x="1241090" y="3314903"/>
                  <a:pt x="1236318" y="3314903"/>
                  <a:pt x="1231546" y="3313312"/>
                </a:cubicBezTo>
                <a:close/>
                <a:moveTo>
                  <a:pt x="1099515" y="3300586"/>
                </a:moveTo>
                <a:cubicBezTo>
                  <a:pt x="1096333" y="3302177"/>
                  <a:pt x="1094743" y="3305358"/>
                  <a:pt x="1091561" y="3308540"/>
                </a:cubicBezTo>
                <a:cubicBezTo>
                  <a:pt x="1096333" y="3308540"/>
                  <a:pt x="1101106" y="3306949"/>
                  <a:pt x="1105878" y="3305358"/>
                </a:cubicBezTo>
                <a:cubicBezTo>
                  <a:pt x="1102697" y="3303767"/>
                  <a:pt x="1101106" y="3302177"/>
                  <a:pt x="1099515" y="3300586"/>
                </a:cubicBezTo>
                <a:close/>
                <a:moveTo>
                  <a:pt x="3208828" y="3300586"/>
                </a:moveTo>
                <a:cubicBezTo>
                  <a:pt x="3175423" y="3313312"/>
                  <a:pt x="3140427" y="3322856"/>
                  <a:pt x="3113384" y="3343536"/>
                </a:cubicBezTo>
                <a:cubicBezTo>
                  <a:pt x="3148380" y="3335582"/>
                  <a:pt x="3189739" y="3335582"/>
                  <a:pt x="3208828" y="3300586"/>
                </a:cubicBezTo>
                <a:close/>
                <a:moveTo>
                  <a:pt x="3204056" y="3267181"/>
                </a:moveTo>
                <a:cubicBezTo>
                  <a:pt x="3149971" y="3294223"/>
                  <a:pt x="3095885" y="3324447"/>
                  <a:pt x="3035437" y="3340354"/>
                </a:cubicBezTo>
                <a:cubicBezTo>
                  <a:pt x="3094295" y="3340354"/>
                  <a:pt x="3165878" y="3316493"/>
                  <a:pt x="3204056" y="3267181"/>
                </a:cubicBezTo>
                <a:close/>
                <a:moveTo>
                  <a:pt x="752735" y="3265590"/>
                </a:moveTo>
                <a:cubicBezTo>
                  <a:pt x="703423" y="3302177"/>
                  <a:pt x="609570" y="3265590"/>
                  <a:pt x="577755" y="3329220"/>
                </a:cubicBezTo>
                <a:cubicBezTo>
                  <a:pt x="627067" y="3295814"/>
                  <a:pt x="727284" y="3321266"/>
                  <a:pt x="752735" y="3265590"/>
                </a:cubicBezTo>
                <a:close/>
                <a:moveTo>
                  <a:pt x="3525384" y="3263999"/>
                </a:moveTo>
                <a:cubicBezTo>
                  <a:pt x="3519021" y="3275134"/>
                  <a:pt x="3511067" y="3287860"/>
                  <a:pt x="3506295" y="3298996"/>
                </a:cubicBezTo>
                <a:cubicBezTo>
                  <a:pt x="3539700" y="3335582"/>
                  <a:pt x="3573106" y="3372169"/>
                  <a:pt x="3608102" y="3407165"/>
                </a:cubicBezTo>
                <a:cubicBezTo>
                  <a:pt x="3606511" y="3405574"/>
                  <a:pt x="3606511" y="3403984"/>
                  <a:pt x="3606511" y="3402393"/>
                </a:cubicBezTo>
                <a:cubicBezTo>
                  <a:pt x="3601739" y="3388077"/>
                  <a:pt x="3601739" y="3372169"/>
                  <a:pt x="3601739" y="3356262"/>
                </a:cubicBezTo>
                <a:cubicBezTo>
                  <a:pt x="3576287" y="3326038"/>
                  <a:pt x="3549245" y="3295814"/>
                  <a:pt x="3525384" y="3263999"/>
                </a:cubicBezTo>
                <a:close/>
                <a:moveTo>
                  <a:pt x="3546461" y="3236484"/>
                </a:moveTo>
                <a:cubicBezTo>
                  <a:pt x="3544671" y="3236658"/>
                  <a:pt x="3542882" y="3237752"/>
                  <a:pt x="3541291" y="3240138"/>
                </a:cubicBezTo>
                <a:cubicBezTo>
                  <a:pt x="3539700" y="3240138"/>
                  <a:pt x="3539700" y="3241729"/>
                  <a:pt x="3539700" y="3241729"/>
                </a:cubicBezTo>
                <a:cubicBezTo>
                  <a:pt x="3561971" y="3263999"/>
                  <a:pt x="3584241" y="3286269"/>
                  <a:pt x="3606511" y="3310130"/>
                </a:cubicBezTo>
                <a:cubicBezTo>
                  <a:pt x="3604920" y="3303767"/>
                  <a:pt x="3598557" y="3289451"/>
                  <a:pt x="3596966" y="3284679"/>
                </a:cubicBezTo>
                <a:cubicBezTo>
                  <a:pt x="3600148" y="3284679"/>
                  <a:pt x="3609693" y="3286269"/>
                  <a:pt x="3608102" y="3294223"/>
                </a:cubicBezTo>
                <a:cubicBezTo>
                  <a:pt x="3606511" y="3303767"/>
                  <a:pt x="3609693" y="3311721"/>
                  <a:pt x="3614465" y="3319675"/>
                </a:cubicBezTo>
                <a:cubicBezTo>
                  <a:pt x="3628781" y="3335582"/>
                  <a:pt x="3643098" y="3349899"/>
                  <a:pt x="3659005" y="3364215"/>
                </a:cubicBezTo>
                <a:cubicBezTo>
                  <a:pt x="3651052" y="3346717"/>
                  <a:pt x="3644689" y="3327629"/>
                  <a:pt x="3636735" y="3308539"/>
                </a:cubicBezTo>
                <a:cubicBezTo>
                  <a:pt x="3616056" y="3287860"/>
                  <a:pt x="3595376" y="3267181"/>
                  <a:pt x="3574696" y="3246500"/>
                </a:cubicBezTo>
                <a:lnTo>
                  <a:pt x="3557199" y="3249682"/>
                </a:lnTo>
                <a:cubicBezTo>
                  <a:pt x="3557199" y="3243717"/>
                  <a:pt x="3551830" y="3235962"/>
                  <a:pt x="3546461" y="3236484"/>
                </a:cubicBezTo>
                <a:close/>
                <a:moveTo>
                  <a:pt x="1083608" y="3235366"/>
                </a:moveTo>
                <a:cubicBezTo>
                  <a:pt x="1083608" y="3240139"/>
                  <a:pt x="1083608" y="3243320"/>
                  <a:pt x="1082017" y="3246501"/>
                </a:cubicBezTo>
                <a:cubicBezTo>
                  <a:pt x="1053384" y="3345127"/>
                  <a:pt x="903855" y="3378533"/>
                  <a:pt x="819546" y="3383305"/>
                </a:cubicBezTo>
                <a:cubicBezTo>
                  <a:pt x="806820" y="3383305"/>
                  <a:pt x="765461" y="3388077"/>
                  <a:pt x="762280" y="3389668"/>
                </a:cubicBezTo>
                <a:cubicBezTo>
                  <a:pt x="725693" y="3388077"/>
                  <a:pt x="685924" y="3364216"/>
                  <a:pt x="657291" y="3375352"/>
                </a:cubicBezTo>
                <a:cubicBezTo>
                  <a:pt x="797275" y="3435800"/>
                  <a:pt x="1002480" y="3394440"/>
                  <a:pt x="1074063" y="3292633"/>
                </a:cubicBezTo>
                <a:cubicBezTo>
                  <a:pt x="1074063" y="3287860"/>
                  <a:pt x="1075654" y="3284679"/>
                  <a:pt x="1075654" y="3281497"/>
                </a:cubicBezTo>
                <a:cubicBezTo>
                  <a:pt x="1077245" y="3283088"/>
                  <a:pt x="1077245" y="3283088"/>
                  <a:pt x="1078836" y="3284679"/>
                </a:cubicBezTo>
                <a:cubicBezTo>
                  <a:pt x="1082017" y="3279906"/>
                  <a:pt x="1085199" y="3273543"/>
                  <a:pt x="1088380" y="3267181"/>
                </a:cubicBezTo>
                <a:cubicBezTo>
                  <a:pt x="1083608" y="3257636"/>
                  <a:pt x="1086789" y="3244910"/>
                  <a:pt x="1083608" y="3235366"/>
                </a:cubicBezTo>
                <a:close/>
                <a:moveTo>
                  <a:pt x="3207237" y="3229003"/>
                </a:moveTo>
                <a:cubicBezTo>
                  <a:pt x="3127700" y="3281497"/>
                  <a:pt x="3033847" y="3308539"/>
                  <a:pt x="2943175" y="3340354"/>
                </a:cubicBezTo>
                <a:cubicBezTo>
                  <a:pt x="3048164" y="3330810"/>
                  <a:pt x="3143608" y="3303767"/>
                  <a:pt x="3207237" y="3229003"/>
                </a:cubicBezTo>
                <a:close/>
                <a:moveTo>
                  <a:pt x="1134511" y="3219458"/>
                </a:moveTo>
                <a:cubicBezTo>
                  <a:pt x="1129739" y="3225821"/>
                  <a:pt x="1124967" y="3230594"/>
                  <a:pt x="1121785" y="3236957"/>
                </a:cubicBezTo>
                <a:cubicBezTo>
                  <a:pt x="1126557" y="3236957"/>
                  <a:pt x="1131330" y="3235366"/>
                  <a:pt x="1136102" y="3232185"/>
                </a:cubicBezTo>
                <a:cubicBezTo>
                  <a:pt x="1134511" y="3229003"/>
                  <a:pt x="1134511" y="3224231"/>
                  <a:pt x="1134511" y="3219458"/>
                </a:cubicBezTo>
                <a:close/>
                <a:moveTo>
                  <a:pt x="1051794" y="3214687"/>
                </a:moveTo>
                <a:cubicBezTo>
                  <a:pt x="1048613" y="3221050"/>
                  <a:pt x="1053385" y="3240139"/>
                  <a:pt x="1040658" y="3233776"/>
                </a:cubicBezTo>
                <a:cubicBezTo>
                  <a:pt x="1042250" y="3224232"/>
                  <a:pt x="1045431" y="3216278"/>
                  <a:pt x="1051794" y="3214687"/>
                </a:cubicBezTo>
                <a:close/>
                <a:moveTo>
                  <a:pt x="3038619" y="3203551"/>
                </a:moveTo>
                <a:cubicBezTo>
                  <a:pt x="2986125" y="3211505"/>
                  <a:pt x="2951129" y="3244910"/>
                  <a:pt x="2898635" y="3254454"/>
                </a:cubicBezTo>
                <a:cubicBezTo>
                  <a:pt x="2939994" y="3263999"/>
                  <a:pt x="3003623" y="3232185"/>
                  <a:pt x="3038619" y="3203551"/>
                </a:cubicBezTo>
                <a:close/>
                <a:moveTo>
                  <a:pt x="994527" y="3201961"/>
                </a:moveTo>
                <a:cubicBezTo>
                  <a:pt x="989755" y="3200370"/>
                  <a:pt x="988164" y="3205142"/>
                  <a:pt x="983392" y="3203552"/>
                </a:cubicBezTo>
                <a:cubicBezTo>
                  <a:pt x="991346" y="3254455"/>
                  <a:pt x="940442" y="3243320"/>
                  <a:pt x="924534" y="3275134"/>
                </a:cubicBezTo>
                <a:cubicBezTo>
                  <a:pt x="959531" y="3275134"/>
                  <a:pt x="1013616" y="3243320"/>
                  <a:pt x="994527" y="3201961"/>
                </a:cubicBezTo>
                <a:close/>
                <a:moveTo>
                  <a:pt x="3100658" y="3195597"/>
                </a:moveTo>
                <a:cubicBezTo>
                  <a:pt x="3056118" y="3214686"/>
                  <a:pt x="3017940" y="3243320"/>
                  <a:pt x="2974990" y="3263999"/>
                </a:cubicBezTo>
                <a:cubicBezTo>
                  <a:pt x="3014758" y="3259227"/>
                  <a:pt x="3079979" y="3232185"/>
                  <a:pt x="3100658" y="3195597"/>
                </a:cubicBezTo>
                <a:close/>
                <a:moveTo>
                  <a:pt x="3148380" y="3187643"/>
                </a:moveTo>
                <a:cubicBezTo>
                  <a:pt x="3078388" y="3259227"/>
                  <a:pt x="2990897" y="3303767"/>
                  <a:pt x="2884318" y="3318084"/>
                </a:cubicBezTo>
                <a:cubicBezTo>
                  <a:pt x="2990897" y="3322856"/>
                  <a:pt x="3089523" y="3275134"/>
                  <a:pt x="3148380" y="3187643"/>
                </a:cubicBezTo>
                <a:close/>
                <a:moveTo>
                  <a:pt x="2995670" y="3186053"/>
                </a:moveTo>
                <a:cubicBezTo>
                  <a:pt x="2949538" y="3211505"/>
                  <a:pt x="2895453" y="3224231"/>
                  <a:pt x="2844550" y="3241729"/>
                </a:cubicBezTo>
                <a:cubicBezTo>
                  <a:pt x="2895453" y="3244910"/>
                  <a:pt x="2973399" y="3227412"/>
                  <a:pt x="2995670" y="3186053"/>
                </a:cubicBezTo>
                <a:close/>
                <a:moveTo>
                  <a:pt x="3573106" y="3179690"/>
                </a:moveTo>
                <a:cubicBezTo>
                  <a:pt x="3574696" y="3197188"/>
                  <a:pt x="3577878" y="3211505"/>
                  <a:pt x="3582650" y="3225821"/>
                </a:cubicBezTo>
                <a:cubicBezTo>
                  <a:pt x="3595376" y="3236957"/>
                  <a:pt x="3606511" y="3248091"/>
                  <a:pt x="3617647" y="3259227"/>
                </a:cubicBezTo>
                <a:cubicBezTo>
                  <a:pt x="3611283" y="3240138"/>
                  <a:pt x="3604920" y="3222640"/>
                  <a:pt x="3598557" y="3203551"/>
                </a:cubicBezTo>
                <a:cubicBezTo>
                  <a:pt x="3590604" y="3195597"/>
                  <a:pt x="3581060" y="3187643"/>
                  <a:pt x="3573106" y="3179690"/>
                </a:cubicBezTo>
                <a:close/>
                <a:moveTo>
                  <a:pt x="2936813" y="3176509"/>
                </a:moveTo>
                <a:cubicBezTo>
                  <a:pt x="2908179" y="3173327"/>
                  <a:pt x="2900225" y="3203551"/>
                  <a:pt x="2873183" y="3205142"/>
                </a:cubicBezTo>
                <a:cubicBezTo>
                  <a:pt x="2893862" y="3211505"/>
                  <a:pt x="2922495" y="3194006"/>
                  <a:pt x="2936813" y="3176509"/>
                </a:cubicBezTo>
                <a:close/>
                <a:moveTo>
                  <a:pt x="2443685" y="3141513"/>
                </a:moveTo>
                <a:cubicBezTo>
                  <a:pt x="2478680" y="3241729"/>
                  <a:pt x="2547082" y="3321266"/>
                  <a:pt x="2580488" y="3424663"/>
                </a:cubicBezTo>
                <a:cubicBezTo>
                  <a:pt x="2588442" y="3432617"/>
                  <a:pt x="2590032" y="3446934"/>
                  <a:pt x="2594805" y="3458069"/>
                </a:cubicBezTo>
                <a:cubicBezTo>
                  <a:pt x="2529584" y="3362624"/>
                  <a:pt x="2454819" y="3271953"/>
                  <a:pt x="2443685" y="3141513"/>
                </a:cubicBezTo>
                <a:close/>
                <a:moveTo>
                  <a:pt x="833863" y="3128787"/>
                </a:moveTo>
                <a:cubicBezTo>
                  <a:pt x="787732" y="3170146"/>
                  <a:pt x="765461" y="3230594"/>
                  <a:pt x="705013" y="3246501"/>
                </a:cubicBezTo>
                <a:cubicBezTo>
                  <a:pt x="646156" y="3262409"/>
                  <a:pt x="563438" y="3236957"/>
                  <a:pt x="545940" y="3318084"/>
                </a:cubicBezTo>
                <a:cubicBezTo>
                  <a:pt x="569801" y="3322857"/>
                  <a:pt x="577755" y="3283088"/>
                  <a:pt x="603206" y="3271953"/>
                </a:cubicBezTo>
                <a:cubicBezTo>
                  <a:pt x="662063" y="3248092"/>
                  <a:pt x="717739" y="3273543"/>
                  <a:pt x="770233" y="3224231"/>
                </a:cubicBezTo>
                <a:cubicBezTo>
                  <a:pt x="790913" y="3205142"/>
                  <a:pt x="819546" y="3174918"/>
                  <a:pt x="833863" y="3128787"/>
                </a:cubicBezTo>
                <a:close/>
                <a:moveTo>
                  <a:pt x="2395988" y="3104105"/>
                </a:moveTo>
                <a:cubicBezTo>
                  <a:pt x="2398747" y="3103832"/>
                  <a:pt x="2401531" y="3104528"/>
                  <a:pt x="2403917" y="3106516"/>
                </a:cubicBezTo>
                <a:cubicBezTo>
                  <a:pt x="2407098" y="3108107"/>
                  <a:pt x="2407098" y="3111289"/>
                  <a:pt x="2407098" y="3114470"/>
                </a:cubicBezTo>
                <a:cubicBezTo>
                  <a:pt x="2407098" y="3117653"/>
                  <a:pt x="2408689" y="3119243"/>
                  <a:pt x="2410280" y="3120834"/>
                </a:cubicBezTo>
                <a:cubicBezTo>
                  <a:pt x="2411871" y="3122424"/>
                  <a:pt x="2413461" y="3122424"/>
                  <a:pt x="2413461" y="3125606"/>
                </a:cubicBezTo>
                <a:cubicBezTo>
                  <a:pt x="2407098" y="3127196"/>
                  <a:pt x="2405507" y="3120834"/>
                  <a:pt x="2397553" y="3122424"/>
                </a:cubicBezTo>
                <a:cubicBezTo>
                  <a:pt x="2395963" y="3127196"/>
                  <a:pt x="2400735" y="3128787"/>
                  <a:pt x="2403917" y="3131969"/>
                </a:cubicBezTo>
                <a:cubicBezTo>
                  <a:pt x="2407098" y="3135150"/>
                  <a:pt x="2405507" y="3141514"/>
                  <a:pt x="2402326" y="3144695"/>
                </a:cubicBezTo>
                <a:cubicBezTo>
                  <a:pt x="2395963" y="3151058"/>
                  <a:pt x="2386419" y="3151058"/>
                  <a:pt x="2378465" y="3151058"/>
                </a:cubicBezTo>
                <a:cubicBezTo>
                  <a:pt x="2368921" y="3151058"/>
                  <a:pt x="2357785" y="3151058"/>
                  <a:pt x="2348241" y="3147877"/>
                </a:cubicBezTo>
                <a:cubicBezTo>
                  <a:pt x="2345061" y="3146286"/>
                  <a:pt x="2341878" y="3144695"/>
                  <a:pt x="2338696" y="3141514"/>
                </a:cubicBezTo>
                <a:cubicBezTo>
                  <a:pt x="2337106" y="3139923"/>
                  <a:pt x="2335515" y="3136741"/>
                  <a:pt x="2332333" y="3135150"/>
                </a:cubicBezTo>
                <a:cubicBezTo>
                  <a:pt x="2330742" y="3133560"/>
                  <a:pt x="2327561" y="3133560"/>
                  <a:pt x="2327561" y="3131969"/>
                </a:cubicBezTo>
                <a:cubicBezTo>
                  <a:pt x="2327561" y="3128787"/>
                  <a:pt x="2330742" y="3130378"/>
                  <a:pt x="2332333" y="3128787"/>
                </a:cubicBezTo>
                <a:cubicBezTo>
                  <a:pt x="2332333" y="3127196"/>
                  <a:pt x="2333924" y="3125606"/>
                  <a:pt x="2333924" y="3125606"/>
                </a:cubicBezTo>
                <a:cubicBezTo>
                  <a:pt x="2341878" y="3124015"/>
                  <a:pt x="2349832" y="3120834"/>
                  <a:pt x="2357785" y="3119243"/>
                </a:cubicBezTo>
                <a:cubicBezTo>
                  <a:pt x="2365739" y="3117653"/>
                  <a:pt x="2375284" y="3120834"/>
                  <a:pt x="2383237" y="3124015"/>
                </a:cubicBezTo>
                <a:cubicBezTo>
                  <a:pt x="2379658" y="3114471"/>
                  <a:pt x="2387711" y="3104926"/>
                  <a:pt x="2395988" y="3104105"/>
                </a:cubicBezTo>
                <a:close/>
                <a:moveTo>
                  <a:pt x="1511516" y="3100153"/>
                </a:moveTo>
                <a:cubicBezTo>
                  <a:pt x="1514698" y="3111289"/>
                  <a:pt x="1513107" y="3125606"/>
                  <a:pt x="1517879" y="3136741"/>
                </a:cubicBezTo>
                <a:cubicBezTo>
                  <a:pt x="1508333" y="3138332"/>
                  <a:pt x="1506743" y="3138332"/>
                  <a:pt x="1497199" y="3131969"/>
                </a:cubicBezTo>
                <a:cubicBezTo>
                  <a:pt x="1505152" y="3127196"/>
                  <a:pt x="1501971" y="3104925"/>
                  <a:pt x="1511516" y="3100153"/>
                </a:cubicBezTo>
                <a:close/>
                <a:moveTo>
                  <a:pt x="1465385" y="3092200"/>
                </a:moveTo>
                <a:cubicBezTo>
                  <a:pt x="1455839" y="3114470"/>
                  <a:pt x="1446294" y="3135149"/>
                  <a:pt x="1433569" y="3151057"/>
                </a:cubicBezTo>
                <a:cubicBezTo>
                  <a:pt x="1436751" y="3135149"/>
                  <a:pt x="1441523" y="3119242"/>
                  <a:pt x="1446294" y="3103334"/>
                </a:cubicBezTo>
                <a:cubicBezTo>
                  <a:pt x="1452657" y="3100153"/>
                  <a:pt x="1459021" y="3095381"/>
                  <a:pt x="1465385" y="3092200"/>
                </a:cubicBezTo>
                <a:close/>
                <a:moveTo>
                  <a:pt x="2284637" y="3085016"/>
                </a:moveTo>
                <a:cubicBezTo>
                  <a:pt x="2287395" y="3084743"/>
                  <a:pt x="2290180" y="3085438"/>
                  <a:pt x="2292566" y="3087427"/>
                </a:cubicBezTo>
                <a:cubicBezTo>
                  <a:pt x="2295747" y="3089018"/>
                  <a:pt x="2295747" y="3092200"/>
                  <a:pt x="2295747" y="3095381"/>
                </a:cubicBezTo>
                <a:cubicBezTo>
                  <a:pt x="2295747" y="3098563"/>
                  <a:pt x="2297337" y="3100153"/>
                  <a:pt x="2298928" y="3101744"/>
                </a:cubicBezTo>
                <a:cubicBezTo>
                  <a:pt x="2300519" y="3103335"/>
                  <a:pt x="2302109" y="3103335"/>
                  <a:pt x="2302109" y="3106516"/>
                </a:cubicBezTo>
                <a:cubicBezTo>
                  <a:pt x="2295747" y="3106516"/>
                  <a:pt x="2294156" y="3100153"/>
                  <a:pt x="2286202" y="3103335"/>
                </a:cubicBezTo>
                <a:cubicBezTo>
                  <a:pt x="2284612" y="3108107"/>
                  <a:pt x="2289384" y="3109698"/>
                  <a:pt x="2292566" y="3112880"/>
                </a:cubicBezTo>
                <a:cubicBezTo>
                  <a:pt x="2295747" y="3116061"/>
                  <a:pt x="2294156" y="3122424"/>
                  <a:pt x="2290975" y="3125605"/>
                </a:cubicBezTo>
                <a:cubicBezTo>
                  <a:pt x="2284612" y="3131968"/>
                  <a:pt x="2275067" y="3131968"/>
                  <a:pt x="2267113" y="3131968"/>
                </a:cubicBezTo>
                <a:cubicBezTo>
                  <a:pt x="2257570" y="3131968"/>
                  <a:pt x="2246434" y="3131968"/>
                  <a:pt x="2236889" y="3128787"/>
                </a:cubicBezTo>
                <a:cubicBezTo>
                  <a:pt x="2233709" y="3127196"/>
                  <a:pt x="2230527" y="3125605"/>
                  <a:pt x="2227345" y="3122424"/>
                </a:cubicBezTo>
                <a:cubicBezTo>
                  <a:pt x="2225755" y="3120834"/>
                  <a:pt x="2224164" y="3117652"/>
                  <a:pt x="2220983" y="3116061"/>
                </a:cubicBezTo>
                <a:cubicBezTo>
                  <a:pt x="2219391" y="3114470"/>
                  <a:pt x="2216211" y="3114470"/>
                  <a:pt x="2216211" y="3112880"/>
                </a:cubicBezTo>
                <a:cubicBezTo>
                  <a:pt x="2216211" y="3109698"/>
                  <a:pt x="2219391" y="3111289"/>
                  <a:pt x="2220983" y="3109698"/>
                </a:cubicBezTo>
                <a:cubicBezTo>
                  <a:pt x="2220983" y="3108107"/>
                  <a:pt x="2222573" y="3106516"/>
                  <a:pt x="2222573" y="3106516"/>
                </a:cubicBezTo>
                <a:cubicBezTo>
                  <a:pt x="2230527" y="3104926"/>
                  <a:pt x="2238480" y="3101744"/>
                  <a:pt x="2246434" y="3100153"/>
                </a:cubicBezTo>
                <a:cubicBezTo>
                  <a:pt x="2254388" y="3098563"/>
                  <a:pt x="2263932" y="3101744"/>
                  <a:pt x="2271885" y="3104926"/>
                </a:cubicBezTo>
                <a:cubicBezTo>
                  <a:pt x="2268306" y="3095381"/>
                  <a:pt x="2276360" y="3085837"/>
                  <a:pt x="2284637" y="3085016"/>
                </a:cubicBezTo>
                <a:close/>
                <a:moveTo>
                  <a:pt x="1490835" y="3060385"/>
                </a:moveTo>
                <a:cubicBezTo>
                  <a:pt x="1490835" y="3063566"/>
                  <a:pt x="1490835" y="3068338"/>
                  <a:pt x="1492426" y="3073110"/>
                </a:cubicBezTo>
                <a:cubicBezTo>
                  <a:pt x="1497198" y="3073110"/>
                  <a:pt x="1501971" y="3071519"/>
                  <a:pt x="1505152" y="3069929"/>
                </a:cubicBezTo>
                <a:cubicBezTo>
                  <a:pt x="1497198" y="3085837"/>
                  <a:pt x="1487653" y="3101744"/>
                  <a:pt x="1479700" y="3117651"/>
                </a:cubicBezTo>
                <a:cubicBezTo>
                  <a:pt x="1474928" y="3096972"/>
                  <a:pt x="1481290" y="3077883"/>
                  <a:pt x="1490835" y="3060385"/>
                </a:cubicBezTo>
                <a:close/>
                <a:moveTo>
                  <a:pt x="2984534" y="3058794"/>
                </a:moveTo>
                <a:cubicBezTo>
                  <a:pt x="2917723" y="3079474"/>
                  <a:pt x="2895453" y="3170146"/>
                  <a:pt x="2835005" y="3200370"/>
                </a:cubicBezTo>
                <a:cubicBezTo>
                  <a:pt x="2906588" y="3189234"/>
                  <a:pt x="2938403" y="3092200"/>
                  <a:pt x="2984534" y="3058794"/>
                </a:cubicBezTo>
                <a:close/>
                <a:moveTo>
                  <a:pt x="1369940" y="3054022"/>
                </a:moveTo>
                <a:cubicBezTo>
                  <a:pt x="1369940" y="3061977"/>
                  <a:pt x="1385848" y="3060386"/>
                  <a:pt x="1387438" y="3068339"/>
                </a:cubicBezTo>
                <a:cubicBezTo>
                  <a:pt x="1374712" y="3068339"/>
                  <a:pt x="1368348" y="3076293"/>
                  <a:pt x="1366758" y="3087428"/>
                </a:cubicBezTo>
                <a:cubicBezTo>
                  <a:pt x="1360394" y="3087428"/>
                  <a:pt x="1355623" y="3085838"/>
                  <a:pt x="1349260" y="3084247"/>
                </a:cubicBezTo>
                <a:cubicBezTo>
                  <a:pt x="1358804" y="3073111"/>
                  <a:pt x="1360394" y="3054022"/>
                  <a:pt x="1369940" y="3054022"/>
                </a:cubicBezTo>
                <a:close/>
                <a:moveTo>
                  <a:pt x="2383261" y="3051611"/>
                </a:moveTo>
                <a:cubicBezTo>
                  <a:pt x="2386020" y="3051338"/>
                  <a:pt x="2388805" y="3052034"/>
                  <a:pt x="2391191" y="3054022"/>
                </a:cubicBezTo>
                <a:cubicBezTo>
                  <a:pt x="2394371" y="3055613"/>
                  <a:pt x="2394371" y="3058794"/>
                  <a:pt x="2394371" y="3061976"/>
                </a:cubicBezTo>
                <a:cubicBezTo>
                  <a:pt x="2394371" y="3065158"/>
                  <a:pt x="2395962" y="3066748"/>
                  <a:pt x="2397553" y="3068339"/>
                </a:cubicBezTo>
                <a:cubicBezTo>
                  <a:pt x="2399144" y="3069930"/>
                  <a:pt x="2400735" y="3069930"/>
                  <a:pt x="2400735" y="3073112"/>
                </a:cubicBezTo>
                <a:cubicBezTo>
                  <a:pt x="2394371" y="3074702"/>
                  <a:pt x="2391191" y="3066748"/>
                  <a:pt x="2384828" y="3069930"/>
                </a:cubicBezTo>
                <a:cubicBezTo>
                  <a:pt x="2384828" y="3074702"/>
                  <a:pt x="2388009" y="3076293"/>
                  <a:pt x="2391191" y="3079475"/>
                </a:cubicBezTo>
                <a:cubicBezTo>
                  <a:pt x="2394371" y="3082656"/>
                  <a:pt x="2392781" y="3089019"/>
                  <a:pt x="2389599" y="3092200"/>
                </a:cubicBezTo>
                <a:cubicBezTo>
                  <a:pt x="2383237" y="3098563"/>
                  <a:pt x="2373692" y="3098563"/>
                  <a:pt x="2365739" y="3098563"/>
                </a:cubicBezTo>
                <a:cubicBezTo>
                  <a:pt x="2356194" y="3098563"/>
                  <a:pt x="2345059" y="3098563"/>
                  <a:pt x="2335514" y="3095381"/>
                </a:cubicBezTo>
                <a:cubicBezTo>
                  <a:pt x="2332333" y="3093791"/>
                  <a:pt x="2329152" y="3092200"/>
                  <a:pt x="2325970" y="3089019"/>
                </a:cubicBezTo>
                <a:cubicBezTo>
                  <a:pt x="2324380" y="3087428"/>
                  <a:pt x="2322789" y="3084247"/>
                  <a:pt x="2319607" y="3082656"/>
                </a:cubicBezTo>
                <a:cubicBezTo>
                  <a:pt x="2318016" y="3081065"/>
                  <a:pt x="2314835" y="3081065"/>
                  <a:pt x="2314835" y="3079475"/>
                </a:cubicBezTo>
                <a:cubicBezTo>
                  <a:pt x="2314835" y="3076293"/>
                  <a:pt x="2318016" y="3077884"/>
                  <a:pt x="2319607" y="3076293"/>
                </a:cubicBezTo>
                <a:cubicBezTo>
                  <a:pt x="2319607" y="3074702"/>
                  <a:pt x="2321198" y="3073112"/>
                  <a:pt x="2321198" y="3073112"/>
                </a:cubicBezTo>
                <a:cubicBezTo>
                  <a:pt x="2329152" y="3071521"/>
                  <a:pt x="2337105" y="3068339"/>
                  <a:pt x="2345059" y="3066748"/>
                </a:cubicBezTo>
                <a:cubicBezTo>
                  <a:pt x="2353013" y="3065158"/>
                  <a:pt x="2362557" y="3068339"/>
                  <a:pt x="2370511" y="3071521"/>
                </a:cubicBezTo>
                <a:cubicBezTo>
                  <a:pt x="2366931" y="3061976"/>
                  <a:pt x="2374985" y="3052431"/>
                  <a:pt x="2383261" y="3051611"/>
                </a:cubicBezTo>
                <a:close/>
                <a:moveTo>
                  <a:pt x="1341307" y="3041296"/>
                </a:moveTo>
                <a:cubicBezTo>
                  <a:pt x="1349261" y="3041296"/>
                  <a:pt x="1354033" y="3044477"/>
                  <a:pt x="1357215" y="3049250"/>
                </a:cubicBezTo>
                <a:cubicBezTo>
                  <a:pt x="1352442" y="3052431"/>
                  <a:pt x="1344488" y="3085838"/>
                  <a:pt x="1325399" y="3081066"/>
                </a:cubicBezTo>
                <a:cubicBezTo>
                  <a:pt x="1325399" y="3060386"/>
                  <a:pt x="1336534" y="3054023"/>
                  <a:pt x="1341307" y="3041296"/>
                </a:cubicBezTo>
                <a:close/>
                <a:moveTo>
                  <a:pt x="1468566" y="3038115"/>
                </a:moveTo>
                <a:cubicBezTo>
                  <a:pt x="1470156" y="3047659"/>
                  <a:pt x="1474928" y="3055613"/>
                  <a:pt x="1478111" y="3063567"/>
                </a:cubicBezTo>
                <a:cubicBezTo>
                  <a:pt x="1476518" y="3065158"/>
                  <a:pt x="1476518" y="3068339"/>
                  <a:pt x="1474928" y="3069930"/>
                </a:cubicBezTo>
                <a:cubicBezTo>
                  <a:pt x="1470156" y="3061977"/>
                  <a:pt x="1466975" y="3052432"/>
                  <a:pt x="1465384" y="3046069"/>
                </a:cubicBezTo>
                <a:cubicBezTo>
                  <a:pt x="1466975" y="3042886"/>
                  <a:pt x="1466975" y="3041296"/>
                  <a:pt x="1468566" y="3038115"/>
                </a:cubicBezTo>
                <a:close/>
                <a:moveTo>
                  <a:pt x="2224163" y="3031752"/>
                </a:moveTo>
                <a:cubicBezTo>
                  <a:pt x="2225754" y="3033343"/>
                  <a:pt x="2227345" y="3036524"/>
                  <a:pt x="2228936" y="3039705"/>
                </a:cubicBezTo>
                <a:cubicBezTo>
                  <a:pt x="2230526" y="3041296"/>
                  <a:pt x="2232118" y="3042886"/>
                  <a:pt x="2233708" y="3044477"/>
                </a:cubicBezTo>
                <a:cubicBezTo>
                  <a:pt x="2235299" y="3046068"/>
                  <a:pt x="2238480" y="3044477"/>
                  <a:pt x="2238480" y="3047659"/>
                </a:cubicBezTo>
                <a:cubicBezTo>
                  <a:pt x="2232118" y="3050840"/>
                  <a:pt x="2227345" y="3044477"/>
                  <a:pt x="2222573" y="3049249"/>
                </a:cubicBezTo>
                <a:cubicBezTo>
                  <a:pt x="2224163" y="3052431"/>
                  <a:pt x="2228936" y="3054022"/>
                  <a:pt x="2232118" y="3055613"/>
                </a:cubicBezTo>
                <a:cubicBezTo>
                  <a:pt x="2236889" y="3058794"/>
                  <a:pt x="2236889" y="3063566"/>
                  <a:pt x="2235299" y="3068338"/>
                </a:cubicBezTo>
                <a:cubicBezTo>
                  <a:pt x="2232118" y="3076292"/>
                  <a:pt x="2222573" y="3079473"/>
                  <a:pt x="2214619" y="3081064"/>
                </a:cubicBezTo>
                <a:cubicBezTo>
                  <a:pt x="2205075" y="3084246"/>
                  <a:pt x="2195531" y="3087427"/>
                  <a:pt x="2184395" y="3087427"/>
                </a:cubicBezTo>
                <a:cubicBezTo>
                  <a:pt x="2181213" y="3087427"/>
                  <a:pt x="2176442" y="3085837"/>
                  <a:pt x="2173260" y="3084246"/>
                </a:cubicBezTo>
                <a:cubicBezTo>
                  <a:pt x="2170079" y="3082655"/>
                  <a:pt x="2168488" y="3079473"/>
                  <a:pt x="2165306" y="3079473"/>
                </a:cubicBezTo>
                <a:cubicBezTo>
                  <a:pt x="2163715" y="3079473"/>
                  <a:pt x="2160534" y="3079473"/>
                  <a:pt x="2160534" y="3077883"/>
                </a:cubicBezTo>
                <a:cubicBezTo>
                  <a:pt x="2160534" y="3076292"/>
                  <a:pt x="2162125" y="3076292"/>
                  <a:pt x="2163715" y="3074701"/>
                </a:cubicBezTo>
                <a:cubicBezTo>
                  <a:pt x="2163715" y="3073110"/>
                  <a:pt x="2163715" y="3071519"/>
                  <a:pt x="2163715" y="3071519"/>
                </a:cubicBezTo>
                <a:cubicBezTo>
                  <a:pt x="2170079" y="3066748"/>
                  <a:pt x="2176442" y="3060385"/>
                  <a:pt x="2184395" y="3057203"/>
                </a:cubicBezTo>
                <a:cubicBezTo>
                  <a:pt x="2192349" y="3054022"/>
                  <a:pt x="2201894" y="3054022"/>
                  <a:pt x="2209847" y="3054022"/>
                </a:cubicBezTo>
                <a:cubicBezTo>
                  <a:pt x="2201894" y="3044477"/>
                  <a:pt x="2213028" y="3026979"/>
                  <a:pt x="2224163" y="3031752"/>
                </a:cubicBezTo>
                <a:close/>
                <a:moveTo>
                  <a:pt x="2955901" y="3028571"/>
                </a:moveTo>
                <a:cubicBezTo>
                  <a:pt x="2932040" y="3068338"/>
                  <a:pt x="2890681" y="3081065"/>
                  <a:pt x="2874774" y="3135149"/>
                </a:cubicBezTo>
                <a:cubicBezTo>
                  <a:pt x="2901816" y="3101744"/>
                  <a:pt x="2952720" y="3082655"/>
                  <a:pt x="2955901" y="3028571"/>
                </a:cubicBezTo>
                <a:close/>
                <a:moveTo>
                  <a:pt x="2917723" y="3026980"/>
                </a:moveTo>
                <a:cubicBezTo>
                  <a:pt x="2879546" y="3058794"/>
                  <a:pt x="2850913" y="3133559"/>
                  <a:pt x="2833414" y="3182872"/>
                </a:cubicBezTo>
                <a:cubicBezTo>
                  <a:pt x="2870002" y="3144694"/>
                  <a:pt x="2890681" y="3081065"/>
                  <a:pt x="2917723" y="3026980"/>
                </a:cubicBezTo>
                <a:close/>
                <a:moveTo>
                  <a:pt x="1409237" y="3024469"/>
                </a:moveTo>
                <a:cubicBezTo>
                  <a:pt x="1411400" y="3023699"/>
                  <a:pt x="1414084" y="3023798"/>
                  <a:pt x="1417663" y="3025389"/>
                </a:cubicBezTo>
                <a:cubicBezTo>
                  <a:pt x="1422435" y="3036524"/>
                  <a:pt x="1420844" y="3041297"/>
                  <a:pt x="1412890" y="3049250"/>
                </a:cubicBezTo>
                <a:cubicBezTo>
                  <a:pt x="1403346" y="3047660"/>
                  <a:pt x="1396982" y="3044478"/>
                  <a:pt x="1393801" y="3038115"/>
                </a:cubicBezTo>
                <a:cubicBezTo>
                  <a:pt x="1400960" y="3036922"/>
                  <a:pt x="1402749" y="3026781"/>
                  <a:pt x="1409237" y="3024469"/>
                </a:cubicBezTo>
                <a:close/>
                <a:moveTo>
                  <a:pt x="1816514" y="3023028"/>
                </a:moveTo>
                <a:cubicBezTo>
                  <a:pt x="1831551" y="3026185"/>
                  <a:pt x="1845569" y="3038513"/>
                  <a:pt x="1855114" y="3063567"/>
                </a:cubicBezTo>
                <a:cubicBezTo>
                  <a:pt x="1815345" y="3082656"/>
                  <a:pt x="1778758" y="3109699"/>
                  <a:pt x="1746943" y="3146286"/>
                </a:cubicBezTo>
                <a:cubicBezTo>
                  <a:pt x="1717118" y="3086633"/>
                  <a:pt x="1771400" y="3013557"/>
                  <a:pt x="1816514" y="3023028"/>
                </a:cubicBezTo>
                <a:close/>
                <a:moveTo>
                  <a:pt x="1732628" y="3015844"/>
                </a:moveTo>
                <a:cubicBezTo>
                  <a:pt x="1729445" y="3020616"/>
                  <a:pt x="1724673" y="3023799"/>
                  <a:pt x="1721491" y="3026980"/>
                </a:cubicBezTo>
                <a:cubicBezTo>
                  <a:pt x="1729445" y="3033343"/>
                  <a:pt x="1724673" y="3060386"/>
                  <a:pt x="1708766" y="3052432"/>
                </a:cubicBezTo>
                <a:cubicBezTo>
                  <a:pt x="1713537" y="3041297"/>
                  <a:pt x="1718310" y="3030162"/>
                  <a:pt x="1723082" y="3020616"/>
                </a:cubicBezTo>
                <a:cubicBezTo>
                  <a:pt x="1726265" y="3019025"/>
                  <a:pt x="1729445" y="3017435"/>
                  <a:pt x="1732628" y="3015844"/>
                </a:cubicBezTo>
                <a:close/>
                <a:moveTo>
                  <a:pt x="1630819" y="3006301"/>
                </a:moveTo>
                <a:cubicBezTo>
                  <a:pt x="1629229" y="3009482"/>
                  <a:pt x="1627639" y="3011073"/>
                  <a:pt x="1629229" y="3012664"/>
                </a:cubicBezTo>
                <a:cubicBezTo>
                  <a:pt x="1638774" y="3014255"/>
                  <a:pt x="1645137" y="3012664"/>
                  <a:pt x="1653090" y="3012664"/>
                </a:cubicBezTo>
                <a:cubicBezTo>
                  <a:pt x="1641955" y="3014255"/>
                  <a:pt x="1634001" y="3020618"/>
                  <a:pt x="1624456" y="3025390"/>
                </a:cubicBezTo>
                <a:cubicBezTo>
                  <a:pt x="1621275" y="3023799"/>
                  <a:pt x="1619685" y="3020618"/>
                  <a:pt x="1619685" y="3017436"/>
                </a:cubicBezTo>
                <a:cubicBezTo>
                  <a:pt x="1622866" y="3014255"/>
                  <a:pt x="1627639" y="3009482"/>
                  <a:pt x="1630819" y="3006301"/>
                </a:cubicBezTo>
                <a:close/>
                <a:moveTo>
                  <a:pt x="1583098" y="3006300"/>
                </a:moveTo>
                <a:cubicBezTo>
                  <a:pt x="1565600" y="3028571"/>
                  <a:pt x="1546511" y="3050841"/>
                  <a:pt x="1525832" y="3073111"/>
                </a:cubicBezTo>
                <a:cubicBezTo>
                  <a:pt x="1522650" y="3074702"/>
                  <a:pt x="1519468" y="3076292"/>
                  <a:pt x="1516287" y="3077883"/>
                </a:cubicBezTo>
                <a:cubicBezTo>
                  <a:pt x="1522650" y="3063567"/>
                  <a:pt x="1530604" y="3050841"/>
                  <a:pt x="1538557" y="3039705"/>
                </a:cubicBezTo>
                <a:cubicBezTo>
                  <a:pt x="1540148" y="3039705"/>
                  <a:pt x="1540148" y="3041296"/>
                  <a:pt x="1541738" y="3042887"/>
                </a:cubicBezTo>
                <a:cubicBezTo>
                  <a:pt x="1554465" y="3031752"/>
                  <a:pt x="1568781" y="3017435"/>
                  <a:pt x="1583098" y="3006300"/>
                </a:cubicBezTo>
                <a:close/>
                <a:moveTo>
                  <a:pt x="2884318" y="2998347"/>
                </a:moveTo>
                <a:cubicBezTo>
                  <a:pt x="2865229" y="3022208"/>
                  <a:pt x="2855685" y="3061976"/>
                  <a:pt x="2825461" y="3066748"/>
                </a:cubicBezTo>
                <a:cubicBezTo>
                  <a:pt x="2817508" y="3108107"/>
                  <a:pt x="2807963" y="3146285"/>
                  <a:pt x="2788875" y="3168555"/>
                </a:cubicBezTo>
                <a:cubicBezTo>
                  <a:pt x="2766604" y="3151057"/>
                  <a:pt x="2768194" y="3100153"/>
                  <a:pt x="2725245" y="3104925"/>
                </a:cubicBezTo>
                <a:cubicBezTo>
                  <a:pt x="2752288" y="3125605"/>
                  <a:pt x="2761832" y="3159010"/>
                  <a:pt x="2782511" y="3184462"/>
                </a:cubicBezTo>
                <a:cubicBezTo>
                  <a:pt x="2830233" y="3173327"/>
                  <a:pt x="2815917" y="3119242"/>
                  <a:pt x="2838187" y="3076292"/>
                </a:cubicBezTo>
                <a:cubicBezTo>
                  <a:pt x="2850913" y="3054022"/>
                  <a:pt x="2892272" y="3039705"/>
                  <a:pt x="2884318" y="2998347"/>
                </a:cubicBezTo>
                <a:close/>
                <a:moveTo>
                  <a:pt x="1400165" y="2996756"/>
                </a:moveTo>
                <a:cubicBezTo>
                  <a:pt x="1409709" y="3015845"/>
                  <a:pt x="1389028" y="3022209"/>
                  <a:pt x="1377894" y="3034934"/>
                </a:cubicBezTo>
                <a:cubicBezTo>
                  <a:pt x="1371531" y="3031753"/>
                  <a:pt x="1363577" y="3030162"/>
                  <a:pt x="1361986" y="3023799"/>
                </a:cubicBezTo>
                <a:cubicBezTo>
                  <a:pt x="1379485" y="3022209"/>
                  <a:pt x="1381075" y="2996756"/>
                  <a:pt x="1400165" y="2996756"/>
                </a:cubicBezTo>
                <a:close/>
                <a:moveTo>
                  <a:pt x="1486063" y="2977667"/>
                </a:moveTo>
                <a:cubicBezTo>
                  <a:pt x="1489244" y="2977667"/>
                  <a:pt x="1490835" y="2977667"/>
                  <a:pt x="1492426" y="2979257"/>
                </a:cubicBezTo>
                <a:cubicBezTo>
                  <a:pt x="1462202" y="3025389"/>
                  <a:pt x="1438341" y="3081065"/>
                  <a:pt x="1414480" y="3139922"/>
                </a:cubicBezTo>
                <a:cubicBezTo>
                  <a:pt x="1395392" y="3128787"/>
                  <a:pt x="1396982" y="3103335"/>
                  <a:pt x="1379484" y="3092200"/>
                </a:cubicBezTo>
                <a:cubicBezTo>
                  <a:pt x="1382665" y="3081065"/>
                  <a:pt x="1392209" y="3081065"/>
                  <a:pt x="1392209" y="3066748"/>
                </a:cubicBezTo>
                <a:cubicBezTo>
                  <a:pt x="1400163" y="3068339"/>
                  <a:pt x="1411299" y="3071520"/>
                  <a:pt x="1416071" y="3068339"/>
                </a:cubicBezTo>
                <a:cubicBezTo>
                  <a:pt x="1411299" y="3087428"/>
                  <a:pt x="1389028" y="3106517"/>
                  <a:pt x="1404935" y="3119243"/>
                </a:cubicBezTo>
                <a:cubicBezTo>
                  <a:pt x="1438341" y="3071520"/>
                  <a:pt x="1441523" y="3014253"/>
                  <a:pt x="1486063" y="2977667"/>
                </a:cubicBezTo>
                <a:close/>
                <a:moveTo>
                  <a:pt x="1564010" y="2976076"/>
                </a:moveTo>
                <a:cubicBezTo>
                  <a:pt x="1560828" y="2980848"/>
                  <a:pt x="1559238" y="2984030"/>
                  <a:pt x="1559238" y="2988802"/>
                </a:cubicBezTo>
                <a:cubicBezTo>
                  <a:pt x="1552875" y="2998347"/>
                  <a:pt x="1544921" y="3007891"/>
                  <a:pt x="1538557" y="3017436"/>
                </a:cubicBezTo>
                <a:cubicBezTo>
                  <a:pt x="1535376" y="3019026"/>
                  <a:pt x="1533785" y="3022208"/>
                  <a:pt x="1533785" y="3023799"/>
                </a:cubicBezTo>
                <a:cubicBezTo>
                  <a:pt x="1529013" y="3031752"/>
                  <a:pt x="1522651" y="3041296"/>
                  <a:pt x="1517878" y="3049250"/>
                </a:cubicBezTo>
                <a:cubicBezTo>
                  <a:pt x="1517878" y="3046069"/>
                  <a:pt x="1519470" y="3042887"/>
                  <a:pt x="1522651" y="3041296"/>
                </a:cubicBezTo>
                <a:cubicBezTo>
                  <a:pt x="1516287" y="3038115"/>
                  <a:pt x="1513106" y="3033343"/>
                  <a:pt x="1511515" y="3028571"/>
                </a:cubicBezTo>
                <a:cubicBezTo>
                  <a:pt x="1513106" y="3025389"/>
                  <a:pt x="1516287" y="3022208"/>
                  <a:pt x="1517878" y="3019026"/>
                </a:cubicBezTo>
                <a:cubicBezTo>
                  <a:pt x="1519470" y="3020617"/>
                  <a:pt x="1519470" y="3020617"/>
                  <a:pt x="1521060" y="3023799"/>
                </a:cubicBezTo>
                <a:cubicBezTo>
                  <a:pt x="1532194" y="3001529"/>
                  <a:pt x="1551285" y="2993575"/>
                  <a:pt x="1564010" y="2976076"/>
                </a:cubicBezTo>
                <a:close/>
                <a:moveTo>
                  <a:pt x="2787283" y="2972895"/>
                </a:moveTo>
                <a:cubicBezTo>
                  <a:pt x="2785693" y="2991984"/>
                  <a:pt x="2815918" y="2990394"/>
                  <a:pt x="2814327" y="3011073"/>
                </a:cubicBezTo>
                <a:cubicBezTo>
                  <a:pt x="2796828" y="3006301"/>
                  <a:pt x="2768194" y="2982440"/>
                  <a:pt x="2787283" y="2972895"/>
                </a:cubicBezTo>
                <a:close/>
                <a:moveTo>
                  <a:pt x="1594234" y="2972895"/>
                </a:moveTo>
                <a:cubicBezTo>
                  <a:pt x="1592643" y="2984030"/>
                  <a:pt x="1583098" y="2991984"/>
                  <a:pt x="1571963" y="2996757"/>
                </a:cubicBezTo>
                <a:cubicBezTo>
                  <a:pt x="1576735" y="2991984"/>
                  <a:pt x="1579917" y="2985621"/>
                  <a:pt x="1584690" y="2980849"/>
                </a:cubicBezTo>
                <a:cubicBezTo>
                  <a:pt x="1587871" y="2977667"/>
                  <a:pt x="1591052" y="2976076"/>
                  <a:pt x="1594234" y="2972895"/>
                </a:cubicBezTo>
                <a:close/>
                <a:moveTo>
                  <a:pt x="1451068" y="2961759"/>
                </a:moveTo>
                <a:cubicBezTo>
                  <a:pt x="1447887" y="2969713"/>
                  <a:pt x="1460613" y="2968122"/>
                  <a:pt x="1459022" y="2974485"/>
                </a:cubicBezTo>
                <a:cubicBezTo>
                  <a:pt x="1447887" y="2982438"/>
                  <a:pt x="1439932" y="3012662"/>
                  <a:pt x="1435160" y="3019025"/>
                </a:cubicBezTo>
                <a:cubicBezTo>
                  <a:pt x="1416072" y="2999937"/>
                  <a:pt x="1411300" y="2960168"/>
                  <a:pt x="1451068" y="2961759"/>
                </a:cubicBezTo>
                <a:close/>
                <a:moveTo>
                  <a:pt x="1645137" y="2953807"/>
                </a:moveTo>
                <a:cubicBezTo>
                  <a:pt x="1648319" y="2953807"/>
                  <a:pt x="1651499" y="2955398"/>
                  <a:pt x="1654682" y="2960170"/>
                </a:cubicBezTo>
                <a:cubicBezTo>
                  <a:pt x="1649909" y="2961761"/>
                  <a:pt x="1645137" y="2961761"/>
                  <a:pt x="1640365" y="2961761"/>
                </a:cubicBezTo>
                <a:cubicBezTo>
                  <a:pt x="1641956" y="2958579"/>
                  <a:pt x="1643546" y="2956988"/>
                  <a:pt x="1645137" y="2953807"/>
                </a:cubicBezTo>
                <a:close/>
                <a:moveTo>
                  <a:pt x="2788875" y="2944262"/>
                </a:moveTo>
                <a:cubicBezTo>
                  <a:pt x="2804781" y="2941080"/>
                  <a:pt x="2809553" y="2969714"/>
                  <a:pt x="2825461" y="2974486"/>
                </a:cubicBezTo>
                <a:cubicBezTo>
                  <a:pt x="2823871" y="2982440"/>
                  <a:pt x="2817508" y="2982440"/>
                  <a:pt x="2814326" y="2988803"/>
                </a:cubicBezTo>
                <a:cubicBezTo>
                  <a:pt x="2801599" y="2976076"/>
                  <a:pt x="2784101" y="2968123"/>
                  <a:pt x="2788875" y="2944262"/>
                </a:cubicBezTo>
                <a:close/>
                <a:moveTo>
                  <a:pt x="1645137" y="2926763"/>
                </a:moveTo>
                <a:cubicBezTo>
                  <a:pt x="1643547" y="2928354"/>
                  <a:pt x="1640366" y="2931535"/>
                  <a:pt x="1638775" y="2934718"/>
                </a:cubicBezTo>
                <a:cubicBezTo>
                  <a:pt x="1627639" y="2936308"/>
                  <a:pt x="1614913" y="2937899"/>
                  <a:pt x="1610141" y="2945853"/>
                </a:cubicBezTo>
                <a:cubicBezTo>
                  <a:pt x="1613322" y="2950625"/>
                  <a:pt x="1619685" y="2952215"/>
                  <a:pt x="1626048" y="2952215"/>
                </a:cubicBezTo>
                <a:cubicBezTo>
                  <a:pt x="1624457" y="2953806"/>
                  <a:pt x="1622867" y="2956988"/>
                  <a:pt x="1621275" y="2958579"/>
                </a:cubicBezTo>
                <a:cubicBezTo>
                  <a:pt x="1614913" y="2956988"/>
                  <a:pt x="1608550" y="2955397"/>
                  <a:pt x="1602187" y="2953806"/>
                </a:cubicBezTo>
                <a:cubicBezTo>
                  <a:pt x="1605368" y="2949034"/>
                  <a:pt x="1608550" y="2942672"/>
                  <a:pt x="1611732" y="2936308"/>
                </a:cubicBezTo>
                <a:cubicBezTo>
                  <a:pt x="1624457" y="2934718"/>
                  <a:pt x="1634002" y="2929944"/>
                  <a:pt x="1645137" y="2926763"/>
                </a:cubicBezTo>
                <a:close/>
                <a:moveTo>
                  <a:pt x="1662634" y="2923582"/>
                </a:moveTo>
                <a:cubicBezTo>
                  <a:pt x="1665816" y="2921991"/>
                  <a:pt x="1668998" y="2921991"/>
                  <a:pt x="1670589" y="2923582"/>
                </a:cubicBezTo>
                <a:cubicBezTo>
                  <a:pt x="1667407" y="2926764"/>
                  <a:pt x="1662634" y="2929946"/>
                  <a:pt x="1657862" y="2931536"/>
                </a:cubicBezTo>
                <a:cubicBezTo>
                  <a:pt x="1659454" y="2928355"/>
                  <a:pt x="1661043" y="2926764"/>
                  <a:pt x="1662634" y="2923582"/>
                </a:cubicBezTo>
                <a:close/>
                <a:moveTo>
                  <a:pt x="2835004" y="2886995"/>
                </a:moveTo>
                <a:cubicBezTo>
                  <a:pt x="2836595" y="2902904"/>
                  <a:pt x="2850913" y="2910857"/>
                  <a:pt x="2850913" y="2926765"/>
                </a:cubicBezTo>
                <a:cubicBezTo>
                  <a:pt x="2836595" y="2923583"/>
                  <a:pt x="2842958" y="2907676"/>
                  <a:pt x="2831823" y="2904494"/>
                </a:cubicBezTo>
                <a:cubicBezTo>
                  <a:pt x="2841368" y="2896539"/>
                  <a:pt x="2827051" y="2890176"/>
                  <a:pt x="2835004" y="2886995"/>
                </a:cubicBezTo>
                <a:close/>
                <a:moveTo>
                  <a:pt x="1767623" y="2877451"/>
                </a:moveTo>
                <a:cubicBezTo>
                  <a:pt x="1761260" y="2890176"/>
                  <a:pt x="1753306" y="2902903"/>
                  <a:pt x="1753306" y="2914038"/>
                </a:cubicBezTo>
                <a:cubicBezTo>
                  <a:pt x="1761260" y="2909266"/>
                  <a:pt x="1767623" y="2902903"/>
                  <a:pt x="1777167" y="2899721"/>
                </a:cubicBezTo>
                <a:cubicBezTo>
                  <a:pt x="1750125" y="2931536"/>
                  <a:pt x="1699222" y="2972896"/>
                  <a:pt x="1705585" y="3019027"/>
                </a:cubicBezTo>
                <a:cubicBezTo>
                  <a:pt x="1699222" y="3028572"/>
                  <a:pt x="1692858" y="3039706"/>
                  <a:pt x="1688086" y="3050842"/>
                </a:cubicBezTo>
                <a:cubicBezTo>
                  <a:pt x="1684906" y="3041297"/>
                  <a:pt x="1675361" y="3049251"/>
                  <a:pt x="1667407" y="3049251"/>
                </a:cubicBezTo>
                <a:cubicBezTo>
                  <a:pt x="1678542" y="3044479"/>
                  <a:pt x="1684906" y="3039706"/>
                  <a:pt x="1691268" y="3020618"/>
                </a:cubicBezTo>
                <a:cubicBezTo>
                  <a:pt x="1694449" y="3009482"/>
                  <a:pt x="1694449" y="2998348"/>
                  <a:pt x="1694449" y="2987212"/>
                </a:cubicBezTo>
                <a:cubicBezTo>
                  <a:pt x="1718310" y="2952216"/>
                  <a:pt x="1743762" y="2915629"/>
                  <a:pt x="1767623" y="2877451"/>
                </a:cubicBezTo>
                <a:close/>
                <a:moveTo>
                  <a:pt x="1533785" y="2877451"/>
                </a:moveTo>
                <a:cubicBezTo>
                  <a:pt x="1538557" y="2904493"/>
                  <a:pt x="1492426" y="2926763"/>
                  <a:pt x="1478109" y="2953806"/>
                </a:cubicBezTo>
                <a:cubicBezTo>
                  <a:pt x="1466975" y="2950624"/>
                  <a:pt x="1457431" y="2947443"/>
                  <a:pt x="1455839" y="2937899"/>
                </a:cubicBezTo>
                <a:cubicBezTo>
                  <a:pt x="1486063" y="2923582"/>
                  <a:pt x="1506742" y="2894949"/>
                  <a:pt x="1533785" y="2877451"/>
                </a:cubicBezTo>
                <a:close/>
                <a:moveTo>
                  <a:pt x="2769785" y="2875860"/>
                </a:moveTo>
                <a:cubicBezTo>
                  <a:pt x="2785693" y="2910856"/>
                  <a:pt x="2815917" y="2936308"/>
                  <a:pt x="2838187" y="2969714"/>
                </a:cubicBezTo>
                <a:cubicBezTo>
                  <a:pt x="2809554" y="2955396"/>
                  <a:pt x="2777740" y="2902903"/>
                  <a:pt x="2769785" y="2875860"/>
                </a:cubicBezTo>
                <a:close/>
                <a:moveTo>
                  <a:pt x="1634002" y="2869497"/>
                </a:moveTo>
                <a:cubicBezTo>
                  <a:pt x="1634002" y="2886995"/>
                  <a:pt x="1605368" y="2888586"/>
                  <a:pt x="1605368" y="2906084"/>
                </a:cubicBezTo>
                <a:cubicBezTo>
                  <a:pt x="1619685" y="2899721"/>
                  <a:pt x="1635593" y="2896539"/>
                  <a:pt x="1651500" y="2893358"/>
                </a:cubicBezTo>
                <a:cubicBezTo>
                  <a:pt x="1630821" y="2909266"/>
                  <a:pt x="1599005" y="2918810"/>
                  <a:pt x="1583098" y="2933126"/>
                </a:cubicBezTo>
                <a:cubicBezTo>
                  <a:pt x="1592643" y="2936308"/>
                  <a:pt x="1600596" y="2936308"/>
                  <a:pt x="1606959" y="2934717"/>
                </a:cubicBezTo>
                <a:cubicBezTo>
                  <a:pt x="1602187" y="2941080"/>
                  <a:pt x="1595823" y="2945853"/>
                  <a:pt x="1591052" y="2950624"/>
                </a:cubicBezTo>
                <a:cubicBezTo>
                  <a:pt x="1576735" y="2947443"/>
                  <a:pt x="1560828" y="2945853"/>
                  <a:pt x="1544920" y="2953806"/>
                </a:cubicBezTo>
                <a:cubicBezTo>
                  <a:pt x="1533785" y="2958578"/>
                  <a:pt x="1522650" y="2964941"/>
                  <a:pt x="1509924" y="2971304"/>
                </a:cubicBezTo>
                <a:cubicBezTo>
                  <a:pt x="1521060" y="2960169"/>
                  <a:pt x="1522650" y="2956987"/>
                  <a:pt x="1533785" y="2936308"/>
                </a:cubicBezTo>
                <a:cubicBezTo>
                  <a:pt x="1535376" y="2934717"/>
                  <a:pt x="1536966" y="2931536"/>
                  <a:pt x="1538557" y="2929945"/>
                </a:cubicBezTo>
                <a:cubicBezTo>
                  <a:pt x="1540148" y="2928354"/>
                  <a:pt x="1540148" y="2928354"/>
                  <a:pt x="1541739" y="2926763"/>
                </a:cubicBezTo>
                <a:cubicBezTo>
                  <a:pt x="1544920" y="2923582"/>
                  <a:pt x="1548102" y="2920400"/>
                  <a:pt x="1551283" y="2918810"/>
                </a:cubicBezTo>
                <a:cubicBezTo>
                  <a:pt x="1543329" y="2928354"/>
                  <a:pt x="1533785" y="2937899"/>
                  <a:pt x="1535376" y="2949034"/>
                </a:cubicBezTo>
                <a:cubicBezTo>
                  <a:pt x="1578326" y="2942671"/>
                  <a:pt x="1597415" y="2890176"/>
                  <a:pt x="1634002" y="2869497"/>
                </a:cubicBezTo>
                <a:close/>
                <a:moveTo>
                  <a:pt x="2986125" y="2859953"/>
                </a:moveTo>
                <a:cubicBezTo>
                  <a:pt x="3003623" y="2880632"/>
                  <a:pt x="3037029" y="2907675"/>
                  <a:pt x="3025894" y="2936308"/>
                </a:cubicBezTo>
                <a:cubicBezTo>
                  <a:pt x="3016349" y="2910856"/>
                  <a:pt x="2989307" y="2880632"/>
                  <a:pt x="2986125" y="2859953"/>
                </a:cubicBezTo>
                <a:close/>
                <a:moveTo>
                  <a:pt x="1676952" y="2855181"/>
                </a:moveTo>
                <a:cubicBezTo>
                  <a:pt x="1678542" y="2867906"/>
                  <a:pt x="1676952" y="2888586"/>
                  <a:pt x="1686495" y="2891767"/>
                </a:cubicBezTo>
                <a:cubicBezTo>
                  <a:pt x="1696040" y="2885405"/>
                  <a:pt x="1696040" y="2863134"/>
                  <a:pt x="1707176" y="2858362"/>
                </a:cubicBezTo>
                <a:cubicBezTo>
                  <a:pt x="1707176" y="2871088"/>
                  <a:pt x="1694449" y="2886995"/>
                  <a:pt x="1700813" y="2896539"/>
                </a:cubicBezTo>
                <a:cubicBezTo>
                  <a:pt x="1694449" y="2906084"/>
                  <a:pt x="1689678" y="2914038"/>
                  <a:pt x="1683314" y="2921991"/>
                </a:cubicBezTo>
                <a:cubicBezTo>
                  <a:pt x="1676952" y="2899721"/>
                  <a:pt x="1672179" y="2875860"/>
                  <a:pt x="1676952" y="2855181"/>
                </a:cubicBezTo>
                <a:close/>
                <a:moveTo>
                  <a:pt x="1837616" y="2851999"/>
                </a:moveTo>
                <a:cubicBezTo>
                  <a:pt x="1845569" y="2855181"/>
                  <a:pt x="1834434" y="2866315"/>
                  <a:pt x="1842388" y="2869497"/>
                </a:cubicBezTo>
                <a:cubicBezTo>
                  <a:pt x="1847160" y="2864724"/>
                  <a:pt x="1851933" y="2859953"/>
                  <a:pt x="1856704" y="2856771"/>
                </a:cubicBezTo>
                <a:cubicBezTo>
                  <a:pt x="1853523" y="2861543"/>
                  <a:pt x="1851933" y="2866315"/>
                  <a:pt x="1848751" y="2871088"/>
                </a:cubicBezTo>
                <a:cubicBezTo>
                  <a:pt x="1824890" y="2896540"/>
                  <a:pt x="1789894" y="2917219"/>
                  <a:pt x="1791485" y="2952216"/>
                </a:cubicBezTo>
                <a:cubicBezTo>
                  <a:pt x="1786712" y="2958579"/>
                  <a:pt x="1780349" y="2964942"/>
                  <a:pt x="1775577" y="2971305"/>
                </a:cubicBezTo>
                <a:cubicBezTo>
                  <a:pt x="1783532" y="2953807"/>
                  <a:pt x="1789894" y="2933127"/>
                  <a:pt x="1794666" y="2914038"/>
                </a:cubicBezTo>
                <a:cubicBezTo>
                  <a:pt x="1804210" y="2901312"/>
                  <a:pt x="1812164" y="2888586"/>
                  <a:pt x="1820118" y="2875860"/>
                </a:cubicBezTo>
                <a:cubicBezTo>
                  <a:pt x="1826480" y="2867906"/>
                  <a:pt x="1832843" y="2861543"/>
                  <a:pt x="1837616" y="2851999"/>
                </a:cubicBezTo>
                <a:close/>
                <a:moveTo>
                  <a:pt x="1894883" y="2844045"/>
                </a:moveTo>
                <a:cubicBezTo>
                  <a:pt x="1893292" y="2850408"/>
                  <a:pt x="1891701" y="2858362"/>
                  <a:pt x="1888520" y="2866315"/>
                </a:cubicBezTo>
                <a:cubicBezTo>
                  <a:pt x="1878975" y="2875860"/>
                  <a:pt x="1871023" y="2888586"/>
                  <a:pt x="1866249" y="2906085"/>
                </a:cubicBezTo>
                <a:cubicBezTo>
                  <a:pt x="1869430" y="2904494"/>
                  <a:pt x="1872613" y="2904494"/>
                  <a:pt x="1875794" y="2902903"/>
                </a:cubicBezTo>
                <a:cubicBezTo>
                  <a:pt x="1863067" y="2934718"/>
                  <a:pt x="1848751" y="2964942"/>
                  <a:pt x="1829662" y="2990394"/>
                </a:cubicBezTo>
                <a:cubicBezTo>
                  <a:pt x="1807392" y="2980849"/>
                  <a:pt x="1786712" y="2998348"/>
                  <a:pt x="1775577" y="2991984"/>
                </a:cubicBezTo>
                <a:cubicBezTo>
                  <a:pt x="1789894" y="2977667"/>
                  <a:pt x="1804210" y="2961760"/>
                  <a:pt x="1818528" y="2944262"/>
                </a:cubicBezTo>
                <a:cubicBezTo>
                  <a:pt x="1847160" y="2921992"/>
                  <a:pt x="1871023" y="2890176"/>
                  <a:pt x="1888520" y="2845636"/>
                </a:cubicBezTo>
                <a:cubicBezTo>
                  <a:pt x="1890111" y="2844045"/>
                  <a:pt x="1893292" y="2844045"/>
                  <a:pt x="1894883" y="2844045"/>
                </a:cubicBezTo>
                <a:close/>
                <a:moveTo>
                  <a:pt x="1746943" y="2840864"/>
                </a:moveTo>
                <a:cubicBezTo>
                  <a:pt x="1745352" y="2853590"/>
                  <a:pt x="1743761" y="2867906"/>
                  <a:pt x="1746943" y="2879042"/>
                </a:cubicBezTo>
                <a:cubicBezTo>
                  <a:pt x="1729445" y="2906085"/>
                  <a:pt x="1710356" y="2934719"/>
                  <a:pt x="1692858" y="2961761"/>
                </a:cubicBezTo>
                <a:cubicBezTo>
                  <a:pt x="1691267" y="2955398"/>
                  <a:pt x="1689678" y="2949035"/>
                  <a:pt x="1688086" y="2942672"/>
                </a:cubicBezTo>
                <a:cubicBezTo>
                  <a:pt x="1710356" y="2912448"/>
                  <a:pt x="1731037" y="2879042"/>
                  <a:pt x="1746943" y="2840864"/>
                </a:cubicBezTo>
                <a:close/>
                <a:moveTo>
                  <a:pt x="2757059" y="2831319"/>
                </a:moveTo>
                <a:cubicBezTo>
                  <a:pt x="2780920" y="2872678"/>
                  <a:pt x="2839777" y="2906085"/>
                  <a:pt x="2836595" y="2955397"/>
                </a:cubicBezTo>
                <a:cubicBezTo>
                  <a:pt x="2820688" y="2910857"/>
                  <a:pt x="2760240" y="2864724"/>
                  <a:pt x="2757059" y="2831319"/>
                </a:cubicBezTo>
                <a:close/>
                <a:moveTo>
                  <a:pt x="2626619" y="2829729"/>
                </a:moveTo>
                <a:cubicBezTo>
                  <a:pt x="2628210" y="2837682"/>
                  <a:pt x="2626619" y="2847227"/>
                  <a:pt x="2628210" y="2855181"/>
                </a:cubicBezTo>
                <a:cubicBezTo>
                  <a:pt x="2618666" y="2858362"/>
                  <a:pt x="2602758" y="2850408"/>
                  <a:pt x="2601167" y="2866315"/>
                </a:cubicBezTo>
                <a:cubicBezTo>
                  <a:pt x="2615484" y="2890176"/>
                  <a:pt x="2652071" y="2875860"/>
                  <a:pt x="2660025" y="2858362"/>
                </a:cubicBezTo>
                <a:cubicBezTo>
                  <a:pt x="2663206" y="2869497"/>
                  <a:pt x="2674341" y="2877451"/>
                  <a:pt x="2677523" y="2890176"/>
                </a:cubicBezTo>
                <a:cubicBezTo>
                  <a:pt x="2653661" y="2906084"/>
                  <a:pt x="2602758" y="2861543"/>
                  <a:pt x="2572534" y="2882223"/>
                </a:cubicBezTo>
                <a:cubicBezTo>
                  <a:pt x="2586851" y="2858362"/>
                  <a:pt x="2605940" y="2844045"/>
                  <a:pt x="2626619" y="2829729"/>
                </a:cubicBezTo>
                <a:close/>
                <a:moveTo>
                  <a:pt x="2731608" y="2823366"/>
                </a:moveTo>
                <a:cubicBezTo>
                  <a:pt x="2737971" y="2836092"/>
                  <a:pt x="2757060" y="2855181"/>
                  <a:pt x="2753879" y="2864725"/>
                </a:cubicBezTo>
                <a:cubicBezTo>
                  <a:pt x="2747516" y="2852000"/>
                  <a:pt x="2726836" y="2834500"/>
                  <a:pt x="2731608" y="2823366"/>
                </a:cubicBezTo>
                <a:close/>
                <a:moveTo>
                  <a:pt x="1797847" y="2820184"/>
                </a:moveTo>
                <a:cubicBezTo>
                  <a:pt x="1801028" y="2826547"/>
                  <a:pt x="1802618" y="2832910"/>
                  <a:pt x="1813756" y="2832910"/>
                </a:cubicBezTo>
                <a:cubicBezTo>
                  <a:pt x="1805801" y="2847227"/>
                  <a:pt x="1805801" y="2858362"/>
                  <a:pt x="1805801" y="2867906"/>
                </a:cubicBezTo>
                <a:cubicBezTo>
                  <a:pt x="1804210" y="2871087"/>
                  <a:pt x="1801028" y="2874269"/>
                  <a:pt x="1799437" y="2877450"/>
                </a:cubicBezTo>
                <a:cubicBezTo>
                  <a:pt x="1799437" y="2874269"/>
                  <a:pt x="1799437" y="2872678"/>
                  <a:pt x="1799437" y="2871087"/>
                </a:cubicBezTo>
                <a:cubicBezTo>
                  <a:pt x="1799437" y="2856771"/>
                  <a:pt x="1796256" y="2842454"/>
                  <a:pt x="1791484" y="2831319"/>
                </a:cubicBezTo>
                <a:cubicBezTo>
                  <a:pt x="1794665" y="2828138"/>
                  <a:pt x="1796256" y="2824956"/>
                  <a:pt x="1797847" y="2820184"/>
                </a:cubicBezTo>
                <a:close/>
                <a:moveTo>
                  <a:pt x="1786713" y="2804277"/>
                </a:moveTo>
                <a:cubicBezTo>
                  <a:pt x="1786713" y="2804277"/>
                  <a:pt x="1788304" y="2805868"/>
                  <a:pt x="1788304" y="2805868"/>
                </a:cubicBezTo>
                <a:cubicBezTo>
                  <a:pt x="1788304" y="2805868"/>
                  <a:pt x="1786713" y="2807459"/>
                  <a:pt x="1786713" y="2809049"/>
                </a:cubicBezTo>
                <a:cubicBezTo>
                  <a:pt x="1786713" y="2807459"/>
                  <a:pt x="1786713" y="2805868"/>
                  <a:pt x="1786713" y="2804277"/>
                </a:cubicBezTo>
                <a:close/>
                <a:moveTo>
                  <a:pt x="2675932" y="2786779"/>
                </a:moveTo>
                <a:cubicBezTo>
                  <a:pt x="2693430" y="2813821"/>
                  <a:pt x="2701384" y="2845636"/>
                  <a:pt x="2725246" y="2869497"/>
                </a:cubicBezTo>
                <a:cubicBezTo>
                  <a:pt x="2696612" y="2851999"/>
                  <a:pt x="2672751" y="2815412"/>
                  <a:pt x="2675932" y="2786779"/>
                </a:cubicBezTo>
                <a:close/>
                <a:moveTo>
                  <a:pt x="3003623" y="2782006"/>
                </a:moveTo>
                <a:cubicBezTo>
                  <a:pt x="3011577" y="2788370"/>
                  <a:pt x="3033848" y="2799505"/>
                  <a:pt x="3017941" y="2810640"/>
                </a:cubicBezTo>
                <a:cubicBezTo>
                  <a:pt x="3014759" y="2802686"/>
                  <a:pt x="2997261" y="2786778"/>
                  <a:pt x="3003623" y="2782006"/>
                </a:cubicBezTo>
                <a:close/>
                <a:moveTo>
                  <a:pt x="2819098" y="2754964"/>
                </a:moveTo>
                <a:cubicBezTo>
                  <a:pt x="2874773" y="2821775"/>
                  <a:pt x="2935221" y="2885404"/>
                  <a:pt x="2982944" y="2958578"/>
                </a:cubicBezTo>
                <a:cubicBezTo>
                  <a:pt x="2903407" y="2936308"/>
                  <a:pt x="2919314" y="2853590"/>
                  <a:pt x="2865229" y="2815412"/>
                </a:cubicBezTo>
                <a:cubicBezTo>
                  <a:pt x="2852504" y="2818593"/>
                  <a:pt x="2871592" y="2828138"/>
                  <a:pt x="2863638" y="2828138"/>
                </a:cubicBezTo>
                <a:cubicBezTo>
                  <a:pt x="2854094" y="2802686"/>
                  <a:pt x="2820689" y="2775643"/>
                  <a:pt x="2819098" y="2754964"/>
                </a:cubicBezTo>
                <a:close/>
                <a:moveTo>
                  <a:pt x="2870001" y="2745419"/>
                </a:moveTo>
                <a:cubicBezTo>
                  <a:pt x="2906588" y="2780415"/>
                  <a:pt x="2955900" y="2821775"/>
                  <a:pt x="2965445" y="2863134"/>
                </a:cubicBezTo>
                <a:cubicBezTo>
                  <a:pt x="2936812" y="2820184"/>
                  <a:pt x="2900225" y="2785188"/>
                  <a:pt x="2870001" y="2745419"/>
                </a:cubicBezTo>
                <a:close/>
                <a:moveTo>
                  <a:pt x="2909770" y="2743829"/>
                </a:moveTo>
                <a:cubicBezTo>
                  <a:pt x="2919313" y="2747010"/>
                  <a:pt x="2939994" y="2745420"/>
                  <a:pt x="2943175" y="2754964"/>
                </a:cubicBezTo>
                <a:cubicBezTo>
                  <a:pt x="2944766" y="2793143"/>
                  <a:pt x="3003623" y="2834502"/>
                  <a:pt x="3022713" y="2861544"/>
                </a:cubicBezTo>
                <a:cubicBezTo>
                  <a:pt x="3008396" y="2834502"/>
                  <a:pt x="3043392" y="2874270"/>
                  <a:pt x="3024304" y="2883815"/>
                </a:cubicBezTo>
                <a:cubicBezTo>
                  <a:pt x="2987715" y="2836092"/>
                  <a:pt x="2947947" y="2789961"/>
                  <a:pt x="2909770" y="2743829"/>
                </a:cubicBezTo>
                <a:close/>
                <a:moveTo>
                  <a:pt x="2838187" y="2742238"/>
                </a:moveTo>
                <a:cubicBezTo>
                  <a:pt x="2917723" y="2807458"/>
                  <a:pt x="2967037" y="2893359"/>
                  <a:pt x="3029075" y="2969715"/>
                </a:cubicBezTo>
                <a:cubicBezTo>
                  <a:pt x="3022712" y="2987212"/>
                  <a:pt x="3033847" y="2993575"/>
                  <a:pt x="3030666" y="3009482"/>
                </a:cubicBezTo>
                <a:cubicBezTo>
                  <a:pt x="3006804" y="3007891"/>
                  <a:pt x="3008395" y="2988803"/>
                  <a:pt x="3011577" y="2969715"/>
                </a:cubicBezTo>
                <a:cubicBezTo>
                  <a:pt x="2955901" y="2893359"/>
                  <a:pt x="2906589" y="2810640"/>
                  <a:pt x="2838187" y="2742238"/>
                </a:cubicBezTo>
                <a:close/>
                <a:moveTo>
                  <a:pt x="1312673" y="2731103"/>
                </a:moveTo>
                <a:cubicBezTo>
                  <a:pt x="1317445" y="2732694"/>
                  <a:pt x="1322218" y="2732694"/>
                  <a:pt x="1326990" y="2734284"/>
                </a:cubicBezTo>
                <a:cubicBezTo>
                  <a:pt x="1320628" y="2748601"/>
                  <a:pt x="1307901" y="2750192"/>
                  <a:pt x="1296766" y="2756555"/>
                </a:cubicBezTo>
                <a:cubicBezTo>
                  <a:pt x="1299947" y="2745420"/>
                  <a:pt x="1306310" y="2739057"/>
                  <a:pt x="1312673" y="2731103"/>
                </a:cubicBezTo>
                <a:close/>
                <a:moveTo>
                  <a:pt x="1602187" y="2715195"/>
                </a:moveTo>
                <a:cubicBezTo>
                  <a:pt x="1597415" y="2742238"/>
                  <a:pt x="1587870" y="2758146"/>
                  <a:pt x="1567190" y="2761328"/>
                </a:cubicBezTo>
                <a:cubicBezTo>
                  <a:pt x="1578326" y="2745420"/>
                  <a:pt x="1591052" y="2732694"/>
                  <a:pt x="1602187" y="2715195"/>
                </a:cubicBezTo>
                <a:close/>
                <a:moveTo>
                  <a:pt x="829090" y="2699289"/>
                </a:moveTo>
                <a:cubicBezTo>
                  <a:pt x="821136" y="2718377"/>
                  <a:pt x="803639" y="2724740"/>
                  <a:pt x="797275" y="2745420"/>
                </a:cubicBezTo>
                <a:cubicBezTo>
                  <a:pt x="813183" y="2745420"/>
                  <a:pt x="816365" y="2724740"/>
                  <a:pt x="833863" y="2724740"/>
                </a:cubicBezTo>
                <a:cubicBezTo>
                  <a:pt x="840226" y="2759737"/>
                  <a:pt x="784550" y="2762918"/>
                  <a:pt x="776596" y="2804277"/>
                </a:cubicBezTo>
                <a:cubicBezTo>
                  <a:pt x="822727" y="2780416"/>
                  <a:pt x="864087" y="2748601"/>
                  <a:pt x="900674" y="2710424"/>
                </a:cubicBezTo>
                <a:cubicBezTo>
                  <a:pt x="895901" y="2751783"/>
                  <a:pt x="854542" y="2770872"/>
                  <a:pt x="830681" y="2797914"/>
                </a:cubicBezTo>
                <a:cubicBezTo>
                  <a:pt x="860905" y="2791552"/>
                  <a:pt x="886357" y="2774053"/>
                  <a:pt x="908627" y="2754964"/>
                </a:cubicBezTo>
                <a:cubicBezTo>
                  <a:pt x="887947" y="2793142"/>
                  <a:pt x="832272" y="2799505"/>
                  <a:pt x="824318" y="2842455"/>
                </a:cubicBezTo>
                <a:cubicBezTo>
                  <a:pt x="864087" y="2834501"/>
                  <a:pt x="892720" y="2766100"/>
                  <a:pt x="927716" y="2780416"/>
                </a:cubicBezTo>
                <a:cubicBezTo>
                  <a:pt x="911808" y="2815412"/>
                  <a:pt x="851361" y="2842455"/>
                  <a:pt x="835453" y="2877451"/>
                </a:cubicBezTo>
                <a:cubicBezTo>
                  <a:pt x="876813" y="2845636"/>
                  <a:pt x="930898" y="2831319"/>
                  <a:pt x="959531" y="2780416"/>
                </a:cubicBezTo>
                <a:cubicBezTo>
                  <a:pt x="969075" y="2783598"/>
                  <a:pt x="983392" y="2772462"/>
                  <a:pt x="988164" y="2783598"/>
                </a:cubicBezTo>
                <a:cubicBezTo>
                  <a:pt x="932488" y="2836091"/>
                  <a:pt x="862496" y="2869497"/>
                  <a:pt x="805229" y="2920400"/>
                </a:cubicBezTo>
                <a:cubicBezTo>
                  <a:pt x="907037" y="2877451"/>
                  <a:pt x="1002480" y="2797914"/>
                  <a:pt x="1089970" y="2745420"/>
                </a:cubicBezTo>
                <a:cubicBezTo>
                  <a:pt x="1040658" y="2791552"/>
                  <a:pt x="994527" y="2845636"/>
                  <a:pt x="938851" y="2879042"/>
                </a:cubicBezTo>
                <a:cubicBezTo>
                  <a:pt x="921353" y="2890176"/>
                  <a:pt x="889538" y="2888586"/>
                  <a:pt x="891129" y="2918810"/>
                </a:cubicBezTo>
                <a:cubicBezTo>
                  <a:pt x="972256" y="2879042"/>
                  <a:pt x="1042249" y="2824957"/>
                  <a:pt x="1110651" y="2767691"/>
                </a:cubicBezTo>
                <a:cubicBezTo>
                  <a:pt x="1093152" y="2813822"/>
                  <a:pt x="1021570" y="2839273"/>
                  <a:pt x="1005662" y="2890176"/>
                </a:cubicBezTo>
                <a:cubicBezTo>
                  <a:pt x="1058156" y="2864725"/>
                  <a:pt x="1088380" y="2802686"/>
                  <a:pt x="1152009" y="2791552"/>
                </a:cubicBezTo>
                <a:cubicBezTo>
                  <a:pt x="1136102" y="2834501"/>
                  <a:pt x="1067700" y="2842455"/>
                  <a:pt x="1070882" y="2883814"/>
                </a:cubicBezTo>
                <a:cubicBezTo>
                  <a:pt x="1105878" y="2866316"/>
                  <a:pt x="1124967" y="2824957"/>
                  <a:pt x="1164735" y="2815412"/>
                </a:cubicBezTo>
                <a:cubicBezTo>
                  <a:pt x="1194959" y="2799505"/>
                  <a:pt x="1212457" y="2743829"/>
                  <a:pt x="1252227" y="2759737"/>
                </a:cubicBezTo>
                <a:cubicBezTo>
                  <a:pt x="1207685" y="2826548"/>
                  <a:pt x="1140875" y="2855181"/>
                  <a:pt x="1089970" y="2909266"/>
                </a:cubicBezTo>
                <a:cubicBezTo>
                  <a:pt x="1164735" y="2877451"/>
                  <a:pt x="1226774" y="2801095"/>
                  <a:pt x="1295175" y="2770872"/>
                </a:cubicBezTo>
                <a:cubicBezTo>
                  <a:pt x="1255407" y="2815412"/>
                  <a:pt x="1198141" y="2856772"/>
                  <a:pt x="1169508" y="2902903"/>
                </a:cubicBezTo>
                <a:cubicBezTo>
                  <a:pt x="1236318" y="2859953"/>
                  <a:pt x="1287223" y="2793142"/>
                  <a:pt x="1355623" y="2754964"/>
                </a:cubicBezTo>
                <a:cubicBezTo>
                  <a:pt x="1322218" y="2799505"/>
                  <a:pt x="1249044" y="2844045"/>
                  <a:pt x="1220411" y="2894949"/>
                </a:cubicBezTo>
                <a:cubicBezTo>
                  <a:pt x="1207685" y="2902903"/>
                  <a:pt x="1174280" y="2906084"/>
                  <a:pt x="1180642" y="2931536"/>
                </a:cubicBezTo>
                <a:cubicBezTo>
                  <a:pt x="1272905" y="2879042"/>
                  <a:pt x="1338125" y="2786779"/>
                  <a:pt x="1433570" y="2742238"/>
                </a:cubicBezTo>
                <a:cubicBezTo>
                  <a:pt x="1330171" y="2851999"/>
                  <a:pt x="1206094" y="2931536"/>
                  <a:pt x="1086789" y="3017435"/>
                </a:cubicBezTo>
                <a:cubicBezTo>
                  <a:pt x="1067700" y="3009482"/>
                  <a:pt x="1050203" y="3025389"/>
                  <a:pt x="1053384" y="3038115"/>
                </a:cubicBezTo>
                <a:cubicBezTo>
                  <a:pt x="1201322" y="2974486"/>
                  <a:pt x="1328581" y="2864725"/>
                  <a:pt x="1452659" y="2764509"/>
                </a:cubicBezTo>
                <a:cubicBezTo>
                  <a:pt x="1465384" y="2754964"/>
                  <a:pt x="1471747" y="2729513"/>
                  <a:pt x="1497199" y="2742238"/>
                </a:cubicBezTo>
                <a:cubicBezTo>
                  <a:pt x="1366758" y="2866316"/>
                  <a:pt x="1220411" y="3004710"/>
                  <a:pt x="1066110" y="3108107"/>
                </a:cubicBezTo>
                <a:cubicBezTo>
                  <a:pt x="1053384" y="3106516"/>
                  <a:pt x="1062928" y="3090610"/>
                  <a:pt x="1045430" y="3092200"/>
                </a:cubicBezTo>
                <a:cubicBezTo>
                  <a:pt x="1039067" y="3104926"/>
                  <a:pt x="1050203" y="3106516"/>
                  <a:pt x="1047021" y="3117652"/>
                </a:cubicBezTo>
                <a:cubicBezTo>
                  <a:pt x="1021570" y="3138331"/>
                  <a:pt x="988164" y="3152648"/>
                  <a:pt x="953168" y="3171737"/>
                </a:cubicBezTo>
                <a:cubicBezTo>
                  <a:pt x="916581" y="3192416"/>
                  <a:pt x="833863" y="3230594"/>
                  <a:pt x="821136" y="3256046"/>
                </a:cubicBezTo>
                <a:cubicBezTo>
                  <a:pt x="819546" y="3260818"/>
                  <a:pt x="817956" y="3265590"/>
                  <a:pt x="821136" y="3273543"/>
                </a:cubicBezTo>
                <a:cubicBezTo>
                  <a:pt x="824318" y="3273543"/>
                  <a:pt x="824318" y="3276725"/>
                  <a:pt x="827499" y="3278316"/>
                </a:cubicBezTo>
                <a:cubicBezTo>
                  <a:pt x="894311" y="3238548"/>
                  <a:pt x="961122" y="3197189"/>
                  <a:pt x="1026342" y="3155829"/>
                </a:cubicBezTo>
                <a:cubicBezTo>
                  <a:pt x="1085199" y="3270362"/>
                  <a:pt x="924534" y="3300586"/>
                  <a:pt x="889538" y="3335582"/>
                </a:cubicBezTo>
                <a:cubicBezTo>
                  <a:pt x="973847" y="3340354"/>
                  <a:pt x="1120194" y="3241729"/>
                  <a:pt x="1029523" y="3152648"/>
                </a:cubicBezTo>
                <a:cubicBezTo>
                  <a:pt x="1066110" y="3108107"/>
                  <a:pt x="1083608" y="3159010"/>
                  <a:pt x="1088380" y="3203552"/>
                </a:cubicBezTo>
                <a:cubicBezTo>
                  <a:pt x="1088380" y="3195598"/>
                  <a:pt x="1088380" y="3187644"/>
                  <a:pt x="1089970" y="3179691"/>
                </a:cubicBezTo>
                <a:cubicBezTo>
                  <a:pt x="1091561" y="3181281"/>
                  <a:pt x="1091561" y="3181281"/>
                  <a:pt x="1093152" y="3182872"/>
                </a:cubicBezTo>
                <a:cubicBezTo>
                  <a:pt x="1094743" y="3195598"/>
                  <a:pt x="1101106" y="3206733"/>
                  <a:pt x="1096333" y="3222640"/>
                </a:cubicBezTo>
                <a:cubicBezTo>
                  <a:pt x="1097924" y="3224231"/>
                  <a:pt x="1101106" y="3225821"/>
                  <a:pt x="1102697" y="3229003"/>
                </a:cubicBezTo>
                <a:cubicBezTo>
                  <a:pt x="1107469" y="3197189"/>
                  <a:pt x="1099515" y="3160601"/>
                  <a:pt x="1075654" y="3120834"/>
                </a:cubicBezTo>
                <a:cubicBezTo>
                  <a:pt x="1244272" y="3019026"/>
                  <a:pt x="1390620" y="2858362"/>
                  <a:pt x="1543330" y="2745420"/>
                </a:cubicBezTo>
                <a:cubicBezTo>
                  <a:pt x="1433570" y="2882223"/>
                  <a:pt x="1296766" y="3004710"/>
                  <a:pt x="1166326" y="3095381"/>
                </a:cubicBezTo>
                <a:cubicBezTo>
                  <a:pt x="1171099" y="3096972"/>
                  <a:pt x="1175870" y="3096972"/>
                  <a:pt x="1179052" y="3096972"/>
                </a:cubicBezTo>
                <a:cubicBezTo>
                  <a:pt x="1179052" y="3093791"/>
                  <a:pt x="1179052" y="3092200"/>
                  <a:pt x="1179052" y="3090610"/>
                </a:cubicBezTo>
                <a:cubicBezTo>
                  <a:pt x="1179052" y="3089019"/>
                  <a:pt x="1180642" y="3087428"/>
                  <a:pt x="1183824" y="3089019"/>
                </a:cubicBezTo>
                <a:cubicBezTo>
                  <a:pt x="1183824" y="3090610"/>
                  <a:pt x="1185415" y="3092200"/>
                  <a:pt x="1187005" y="3093791"/>
                </a:cubicBezTo>
                <a:cubicBezTo>
                  <a:pt x="1194959" y="3087428"/>
                  <a:pt x="1201322" y="3076293"/>
                  <a:pt x="1209275" y="3069930"/>
                </a:cubicBezTo>
                <a:cubicBezTo>
                  <a:pt x="1304720" y="2993575"/>
                  <a:pt x="1420843" y="2941081"/>
                  <a:pt x="1497199" y="2834501"/>
                </a:cubicBezTo>
                <a:cubicBezTo>
                  <a:pt x="1508334" y="2839273"/>
                  <a:pt x="1511515" y="2850409"/>
                  <a:pt x="1516287" y="2859953"/>
                </a:cubicBezTo>
                <a:cubicBezTo>
                  <a:pt x="1427207" y="2963350"/>
                  <a:pt x="1315855" y="3033343"/>
                  <a:pt x="1212457" y="3116061"/>
                </a:cubicBezTo>
                <a:cubicBezTo>
                  <a:pt x="1212457" y="3116061"/>
                  <a:pt x="1214048" y="3117652"/>
                  <a:pt x="1214048" y="3117652"/>
                </a:cubicBezTo>
                <a:cubicBezTo>
                  <a:pt x="1202913" y="3125605"/>
                  <a:pt x="1199732" y="3138331"/>
                  <a:pt x="1198141" y="3151058"/>
                </a:cubicBezTo>
                <a:cubicBezTo>
                  <a:pt x="1202913" y="3149467"/>
                  <a:pt x="1206094" y="3147876"/>
                  <a:pt x="1209275" y="3146285"/>
                </a:cubicBezTo>
                <a:cubicBezTo>
                  <a:pt x="1212457" y="3138331"/>
                  <a:pt x="1217229" y="3130377"/>
                  <a:pt x="1223592" y="3128787"/>
                </a:cubicBezTo>
                <a:cubicBezTo>
                  <a:pt x="1225183" y="3128787"/>
                  <a:pt x="1226774" y="3130377"/>
                  <a:pt x="1226774" y="3131968"/>
                </a:cubicBezTo>
                <a:cubicBezTo>
                  <a:pt x="1241090" y="3117652"/>
                  <a:pt x="1253816" y="3100153"/>
                  <a:pt x="1271314" y="3104926"/>
                </a:cubicBezTo>
                <a:cubicBezTo>
                  <a:pt x="1258589" y="3128787"/>
                  <a:pt x="1239499" y="3146285"/>
                  <a:pt x="1218820" y="3162192"/>
                </a:cubicBezTo>
                <a:cubicBezTo>
                  <a:pt x="1217229" y="3163783"/>
                  <a:pt x="1214048" y="3165374"/>
                  <a:pt x="1212457" y="3166964"/>
                </a:cubicBezTo>
                <a:cubicBezTo>
                  <a:pt x="1207685" y="3171737"/>
                  <a:pt x="1201322" y="3174918"/>
                  <a:pt x="1194959" y="3179691"/>
                </a:cubicBezTo>
                <a:cubicBezTo>
                  <a:pt x="1193369" y="3187644"/>
                  <a:pt x="1190187" y="3194007"/>
                  <a:pt x="1183824" y="3198779"/>
                </a:cubicBezTo>
                <a:cubicBezTo>
                  <a:pt x="1180642" y="3197189"/>
                  <a:pt x="1177461" y="3195598"/>
                  <a:pt x="1175870" y="3194007"/>
                </a:cubicBezTo>
                <a:cubicBezTo>
                  <a:pt x="1174280" y="3195598"/>
                  <a:pt x="1171099" y="3198779"/>
                  <a:pt x="1167917" y="3200370"/>
                </a:cubicBezTo>
                <a:cubicBezTo>
                  <a:pt x="1171099" y="3206733"/>
                  <a:pt x="1172689" y="3214686"/>
                  <a:pt x="1174280" y="3221049"/>
                </a:cubicBezTo>
                <a:cubicBezTo>
                  <a:pt x="1202913" y="3205142"/>
                  <a:pt x="1233137" y="3182872"/>
                  <a:pt x="1256999" y="3176509"/>
                </a:cubicBezTo>
                <a:cubicBezTo>
                  <a:pt x="1229956" y="3200370"/>
                  <a:pt x="1201322" y="3221049"/>
                  <a:pt x="1172689" y="3243320"/>
                </a:cubicBezTo>
                <a:cubicBezTo>
                  <a:pt x="1169508" y="3251273"/>
                  <a:pt x="1164735" y="3257636"/>
                  <a:pt x="1155191" y="3265590"/>
                </a:cubicBezTo>
                <a:cubicBezTo>
                  <a:pt x="1153600" y="3264000"/>
                  <a:pt x="1153600" y="3262409"/>
                  <a:pt x="1152009" y="3260818"/>
                </a:cubicBezTo>
                <a:cubicBezTo>
                  <a:pt x="1147237" y="3265590"/>
                  <a:pt x="1142465" y="3268772"/>
                  <a:pt x="1137693" y="3273543"/>
                </a:cubicBezTo>
                <a:cubicBezTo>
                  <a:pt x="1137693" y="3281497"/>
                  <a:pt x="1134511" y="3291042"/>
                  <a:pt x="1129739" y="3300586"/>
                </a:cubicBezTo>
                <a:cubicBezTo>
                  <a:pt x="1145647" y="3291042"/>
                  <a:pt x="1161554" y="3278316"/>
                  <a:pt x="1174280" y="3271953"/>
                </a:cubicBezTo>
                <a:cubicBezTo>
                  <a:pt x="1177461" y="3270362"/>
                  <a:pt x="1180642" y="3268772"/>
                  <a:pt x="1185415" y="3267181"/>
                </a:cubicBezTo>
                <a:cubicBezTo>
                  <a:pt x="1185415" y="3267181"/>
                  <a:pt x="1185415" y="3268772"/>
                  <a:pt x="1185415" y="3268772"/>
                </a:cubicBezTo>
                <a:cubicBezTo>
                  <a:pt x="1188596" y="3268772"/>
                  <a:pt x="1190187" y="3268772"/>
                  <a:pt x="1193369" y="3270362"/>
                </a:cubicBezTo>
                <a:cubicBezTo>
                  <a:pt x="1194959" y="3276725"/>
                  <a:pt x="1193369" y="3283088"/>
                  <a:pt x="1188596" y="3287860"/>
                </a:cubicBezTo>
                <a:cubicBezTo>
                  <a:pt x="1188596" y="3297405"/>
                  <a:pt x="1188596" y="3306949"/>
                  <a:pt x="1187005" y="3316494"/>
                </a:cubicBezTo>
                <a:cubicBezTo>
                  <a:pt x="1193369" y="3311721"/>
                  <a:pt x="1199732" y="3303767"/>
                  <a:pt x="1206094" y="3295814"/>
                </a:cubicBezTo>
                <a:cubicBezTo>
                  <a:pt x="1207685" y="3310130"/>
                  <a:pt x="1196550" y="3326038"/>
                  <a:pt x="1182233" y="3333991"/>
                </a:cubicBezTo>
                <a:cubicBezTo>
                  <a:pt x="1180642" y="3341945"/>
                  <a:pt x="1177461" y="3349899"/>
                  <a:pt x="1174280" y="3357853"/>
                </a:cubicBezTo>
                <a:cubicBezTo>
                  <a:pt x="1183824" y="3354671"/>
                  <a:pt x="1194959" y="3351490"/>
                  <a:pt x="1204504" y="3348308"/>
                </a:cubicBezTo>
                <a:cubicBezTo>
                  <a:pt x="1210866" y="3333991"/>
                  <a:pt x="1217229" y="3324448"/>
                  <a:pt x="1228365" y="3318084"/>
                </a:cubicBezTo>
                <a:cubicBezTo>
                  <a:pt x="1228365" y="3311721"/>
                  <a:pt x="1226774" y="3305358"/>
                  <a:pt x="1225183" y="3298996"/>
                </a:cubicBezTo>
                <a:cubicBezTo>
                  <a:pt x="1220411" y="3302177"/>
                  <a:pt x="1215639" y="3305358"/>
                  <a:pt x="1209275" y="3308540"/>
                </a:cubicBezTo>
                <a:cubicBezTo>
                  <a:pt x="1212457" y="3298996"/>
                  <a:pt x="1215639" y="3291042"/>
                  <a:pt x="1220411" y="3284679"/>
                </a:cubicBezTo>
                <a:cubicBezTo>
                  <a:pt x="1217229" y="3275134"/>
                  <a:pt x="1210866" y="3267181"/>
                  <a:pt x="1206094" y="3259227"/>
                </a:cubicBezTo>
                <a:cubicBezTo>
                  <a:pt x="1220411" y="3227412"/>
                  <a:pt x="1252227" y="3240139"/>
                  <a:pt x="1266542" y="3208324"/>
                </a:cubicBezTo>
                <a:cubicBezTo>
                  <a:pt x="1266542" y="3201961"/>
                  <a:pt x="1268133" y="3195598"/>
                  <a:pt x="1271314" y="3189235"/>
                </a:cubicBezTo>
                <a:cubicBezTo>
                  <a:pt x="1272905" y="3181281"/>
                  <a:pt x="1272905" y="3173328"/>
                  <a:pt x="1272905" y="3165374"/>
                </a:cubicBezTo>
                <a:cubicBezTo>
                  <a:pt x="1269723" y="3168555"/>
                  <a:pt x="1264951" y="3171737"/>
                  <a:pt x="1263361" y="3174918"/>
                </a:cubicBezTo>
                <a:cubicBezTo>
                  <a:pt x="1258589" y="3162192"/>
                  <a:pt x="1263361" y="3141513"/>
                  <a:pt x="1274496" y="3127196"/>
                </a:cubicBezTo>
                <a:cubicBezTo>
                  <a:pt x="1277677" y="3112880"/>
                  <a:pt x="1287223" y="3103335"/>
                  <a:pt x="1307901" y="3100153"/>
                </a:cubicBezTo>
                <a:cubicBezTo>
                  <a:pt x="1320628" y="3103335"/>
                  <a:pt x="1317446" y="3114470"/>
                  <a:pt x="1333353" y="3116061"/>
                </a:cubicBezTo>
                <a:cubicBezTo>
                  <a:pt x="1333353" y="3106516"/>
                  <a:pt x="1320628" y="3103335"/>
                  <a:pt x="1330171" y="3096972"/>
                </a:cubicBezTo>
                <a:cubicBezTo>
                  <a:pt x="1347670" y="3100153"/>
                  <a:pt x="1363577" y="3104926"/>
                  <a:pt x="1381076" y="3108107"/>
                </a:cubicBezTo>
                <a:cubicBezTo>
                  <a:pt x="1395392" y="3136741"/>
                  <a:pt x="1409709" y="3205142"/>
                  <a:pt x="1465384" y="3179691"/>
                </a:cubicBezTo>
                <a:cubicBezTo>
                  <a:pt x="1466975" y="3165374"/>
                  <a:pt x="1476519" y="3147876"/>
                  <a:pt x="1471747" y="3138331"/>
                </a:cubicBezTo>
                <a:cubicBezTo>
                  <a:pt x="1495608" y="3144694"/>
                  <a:pt x="1505152" y="3160601"/>
                  <a:pt x="1529013" y="3168555"/>
                </a:cubicBezTo>
                <a:cubicBezTo>
                  <a:pt x="1571963" y="3147876"/>
                  <a:pt x="1536967" y="3104926"/>
                  <a:pt x="1551285" y="3069930"/>
                </a:cubicBezTo>
                <a:cubicBezTo>
                  <a:pt x="1581109" y="3000734"/>
                  <a:pt x="1655675" y="3051438"/>
                  <a:pt x="1683041" y="3113998"/>
                </a:cubicBezTo>
                <a:lnTo>
                  <a:pt x="1688352" y="3132096"/>
                </a:lnTo>
                <a:lnTo>
                  <a:pt x="1683786" y="3105994"/>
                </a:lnTo>
                <a:cubicBezTo>
                  <a:pt x="1681723" y="3095281"/>
                  <a:pt x="1678939" y="3085041"/>
                  <a:pt x="1673770" y="3076292"/>
                </a:cubicBezTo>
                <a:cubicBezTo>
                  <a:pt x="1694449" y="3076292"/>
                  <a:pt x="1710356" y="3092200"/>
                  <a:pt x="1724673" y="3087427"/>
                </a:cubicBezTo>
                <a:cubicBezTo>
                  <a:pt x="1726265" y="3084246"/>
                  <a:pt x="1726265" y="3082655"/>
                  <a:pt x="1729445" y="3084246"/>
                </a:cubicBezTo>
                <a:cubicBezTo>
                  <a:pt x="1726265" y="3111288"/>
                  <a:pt x="1732627" y="3131967"/>
                  <a:pt x="1738990" y="3154238"/>
                </a:cubicBezTo>
                <a:cubicBezTo>
                  <a:pt x="1721493" y="3154238"/>
                  <a:pt x="1737399" y="3174918"/>
                  <a:pt x="1727855" y="3187643"/>
                </a:cubicBezTo>
                <a:cubicBezTo>
                  <a:pt x="1715128" y="3183269"/>
                  <a:pt x="1706678" y="3176310"/>
                  <a:pt x="1700837" y="3167784"/>
                </a:cubicBezTo>
                <a:lnTo>
                  <a:pt x="1692358" y="3145948"/>
                </a:lnTo>
                <a:lnTo>
                  <a:pt x="1691268" y="3176509"/>
                </a:lnTo>
                <a:cubicBezTo>
                  <a:pt x="1705585" y="3190825"/>
                  <a:pt x="1716720" y="3197189"/>
                  <a:pt x="1738990" y="3201961"/>
                </a:cubicBezTo>
                <a:cubicBezTo>
                  <a:pt x="1770804" y="3139922"/>
                  <a:pt x="1818528" y="3104926"/>
                  <a:pt x="1871021" y="3074702"/>
                </a:cubicBezTo>
                <a:cubicBezTo>
                  <a:pt x="1886928" y="3100153"/>
                  <a:pt x="1890110" y="3131968"/>
                  <a:pt x="1901245" y="3160601"/>
                </a:cubicBezTo>
                <a:cubicBezTo>
                  <a:pt x="1853523" y="3160601"/>
                  <a:pt x="1802619" y="3170146"/>
                  <a:pt x="1756489" y="3186053"/>
                </a:cubicBezTo>
                <a:cubicBezTo>
                  <a:pt x="1753307" y="3198779"/>
                  <a:pt x="1769214" y="3198779"/>
                  <a:pt x="1761261" y="3214686"/>
                </a:cubicBezTo>
                <a:cubicBezTo>
                  <a:pt x="1711947" y="3208324"/>
                  <a:pt x="1661044" y="3200370"/>
                  <a:pt x="1649909" y="3254455"/>
                </a:cubicBezTo>
                <a:cubicBezTo>
                  <a:pt x="1738990" y="3286269"/>
                  <a:pt x="1823299" y="3222640"/>
                  <a:pt x="1878975" y="3216277"/>
                </a:cubicBezTo>
                <a:cubicBezTo>
                  <a:pt x="1778758" y="3275134"/>
                  <a:pt x="1653090" y="3294223"/>
                  <a:pt x="1557647" y="3361034"/>
                </a:cubicBezTo>
                <a:cubicBezTo>
                  <a:pt x="1688087" y="3386486"/>
                  <a:pt x="1831252" y="3295814"/>
                  <a:pt x="1929878" y="3241729"/>
                </a:cubicBezTo>
                <a:cubicBezTo>
                  <a:pt x="1866249" y="3318084"/>
                  <a:pt x="1769214" y="3341945"/>
                  <a:pt x="1681723" y="3381715"/>
                </a:cubicBezTo>
                <a:cubicBezTo>
                  <a:pt x="1684906" y="3388077"/>
                  <a:pt x="1691268" y="3394440"/>
                  <a:pt x="1699222" y="3399213"/>
                </a:cubicBezTo>
                <a:cubicBezTo>
                  <a:pt x="1824890" y="3402394"/>
                  <a:pt x="1925106" y="3367398"/>
                  <a:pt x="2001461" y="3292633"/>
                </a:cubicBezTo>
                <a:cubicBezTo>
                  <a:pt x="1999871" y="3298996"/>
                  <a:pt x="1999871" y="3303767"/>
                  <a:pt x="2004642" y="3306949"/>
                </a:cubicBezTo>
                <a:cubicBezTo>
                  <a:pt x="2061909" y="3276725"/>
                  <a:pt x="2108040" y="3227412"/>
                  <a:pt x="2158944" y="3187644"/>
                </a:cubicBezTo>
                <a:cubicBezTo>
                  <a:pt x="2119175" y="3259227"/>
                  <a:pt x="2053956" y="3287860"/>
                  <a:pt x="2003052" y="3341945"/>
                </a:cubicBezTo>
                <a:cubicBezTo>
                  <a:pt x="2001461" y="3337173"/>
                  <a:pt x="2011005" y="3326038"/>
                  <a:pt x="2003052" y="3324448"/>
                </a:cubicBezTo>
                <a:cubicBezTo>
                  <a:pt x="1947377" y="3330810"/>
                  <a:pt x="1915561" y="3381715"/>
                  <a:pt x="1867839" y="3400803"/>
                </a:cubicBezTo>
                <a:cubicBezTo>
                  <a:pt x="1783532" y="3435800"/>
                  <a:pt x="1689678" y="3466024"/>
                  <a:pt x="1614913" y="3512154"/>
                </a:cubicBezTo>
                <a:cubicBezTo>
                  <a:pt x="1635593" y="3521699"/>
                  <a:pt x="1656272" y="3526472"/>
                  <a:pt x="1675361" y="3529653"/>
                </a:cubicBezTo>
                <a:cubicBezTo>
                  <a:pt x="1689678" y="3524881"/>
                  <a:pt x="1707175" y="3526472"/>
                  <a:pt x="1724674" y="3529653"/>
                </a:cubicBezTo>
                <a:cubicBezTo>
                  <a:pt x="1793075" y="3521699"/>
                  <a:pt x="1850342" y="3480339"/>
                  <a:pt x="1904427" y="3453297"/>
                </a:cubicBezTo>
                <a:cubicBezTo>
                  <a:pt x="1869430" y="3489884"/>
                  <a:pt x="1829662" y="3532834"/>
                  <a:pt x="1794666" y="3575784"/>
                </a:cubicBezTo>
                <a:cubicBezTo>
                  <a:pt x="1807392" y="3577375"/>
                  <a:pt x="1823299" y="3583738"/>
                  <a:pt x="1839206" y="3590101"/>
                </a:cubicBezTo>
                <a:cubicBezTo>
                  <a:pt x="1850342" y="3583738"/>
                  <a:pt x="1863067" y="3578966"/>
                  <a:pt x="1875793" y="3575784"/>
                </a:cubicBezTo>
                <a:cubicBezTo>
                  <a:pt x="1891701" y="3555105"/>
                  <a:pt x="1918743" y="3548741"/>
                  <a:pt x="1925106" y="3512154"/>
                </a:cubicBezTo>
                <a:cubicBezTo>
                  <a:pt x="1933060" y="3504201"/>
                  <a:pt x="1948967" y="3510564"/>
                  <a:pt x="1955330" y="3501020"/>
                </a:cubicBezTo>
                <a:cubicBezTo>
                  <a:pt x="2007824" y="3418301"/>
                  <a:pt x="2074635" y="3354671"/>
                  <a:pt x="2138266" y="3286269"/>
                </a:cubicBezTo>
                <a:cubicBezTo>
                  <a:pt x="2108040" y="3388077"/>
                  <a:pt x="1980781" y="3423073"/>
                  <a:pt x="1979192" y="3553514"/>
                </a:cubicBezTo>
                <a:cubicBezTo>
                  <a:pt x="1990326" y="3558286"/>
                  <a:pt x="1991917" y="3550332"/>
                  <a:pt x="2003052" y="3555105"/>
                </a:cubicBezTo>
                <a:cubicBezTo>
                  <a:pt x="2012596" y="3753946"/>
                  <a:pt x="2076226" y="3917791"/>
                  <a:pt x="2004642" y="4167537"/>
                </a:cubicBezTo>
                <a:cubicBezTo>
                  <a:pt x="1998280" y="4181853"/>
                  <a:pt x="1980781" y="4188216"/>
                  <a:pt x="1985554" y="4205715"/>
                </a:cubicBezTo>
                <a:cubicBezTo>
                  <a:pt x="1993508" y="4208897"/>
                  <a:pt x="1991917" y="4196170"/>
                  <a:pt x="1998280" y="4197761"/>
                </a:cubicBezTo>
                <a:cubicBezTo>
                  <a:pt x="1956921" y="4297977"/>
                  <a:pt x="1886928" y="4358426"/>
                  <a:pt x="1807392" y="4402965"/>
                </a:cubicBezTo>
                <a:cubicBezTo>
                  <a:pt x="1807392" y="4407738"/>
                  <a:pt x="1808982" y="4412510"/>
                  <a:pt x="1808982" y="4417282"/>
                </a:cubicBezTo>
                <a:cubicBezTo>
                  <a:pt x="1907608" y="4363197"/>
                  <a:pt x="1988736" y="4282069"/>
                  <a:pt x="2034866" y="4138903"/>
                </a:cubicBezTo>
                <a:cubicBezTo>
                  <a:pt x="2101677" y="3925745"/>
                  <a:pt x="2007824" y="3730085"/>
                  <a:pt x="2011005" y="3542378"/>
                </a:cubicBezTo>
                <a:cubicBezTo>
                  <a:pt x="2022141" y="3531244"/>
                  <a:pt x="2033275" y="3518518"/>
                  <a:pt x="2049183" y="3512154"/>
                </a:cubicBezTo>
                <a:cubicBezTo>
                  <a:pt x="2026913" y="3574193"/>
                  <a:pt x="2041229" y="3661683"/>
                  <a:pt x="2044411" y="3742810"/>
                </a:cubicBezTo>
                <a:cubicBezTo>
                  <a:pt x="2050775" y="3905066"/>
                  <a:pt x="2103268" y="4118224"/>
                  <a:pt x="1991917" y="4278888"/>
                </a:cubicBezTo>
                <a:cubicBezTo>
                  <a:pt x="1995098" y="4285251"/>
                  <a:pt x="2003052" y="4286842"/>
                  <a:pt x="2003052" y="4294796"/>
                </a:cubicBezTo>
                <a:cubicBezTo>
                  <a:pt x="1953739" y="4375923"/>
                  <a:pt x="1890110" y="4433189"/>
                  <a:pt x="1816936" y="4476140"/>
                </a:cubicBezTo>
                <a:cubicBezTo>
                  <a:pt x="1816936" y="4480912"/>
                  <a:pt x="1816936" y="4484093"/>
                  <a:pt x="1815346" y="4487275"/>
                </a:cubicBezTo>
                <a:cubicBezTo>
                  <a:pt x="1813756" y="4487275"/>
                  <a:pt x="1813756" y="4488865"/>
                  <a:pt x="1813756" y="4488865"/>
                </a:cubicBezTo>
                <a:cubicBezTo>
                  <a:pt x="1812164" y="4490456"/>
                  <a:pt x="1810573" y="4492047"/>
                  <a:pt x="1808982" y="4493638"/>
                </a:cubicBezTo>
                <a:cubicBezTo>
                  <a:pt x="1948967" y="4422054"/>
                  <a:pt x="2058728" y="4297977"/>
                  <a:pt x="2074635" y="4097544"/>
                </a:cubicBezTo>
                <a:cubicBezTo>
                  <a:pt x="2090542" y="3897112"/>
                  <a:pt x="2039638" y="3706225"/>
                  <a:pt x="2057137" y="3505791"/>
                </a:cubicBezTo>
                <a:cubicBezTo>
                  <a:pt x="2071453" y="3499429"/>
                  <a:pt x="2088952" y="3475567"/>
                  <a:pt x="2101677" y="3483521"/>
                </a:cubicBezTo>
                <a:cubicBezTo>
                  <a:pt x="2082590" y="3722131"/>
                  <a:pt x="2187577" y="3949606"/>
                  <a:pt x="2117585" y="4205715"/>
                </a:cubicBezTo>
                <a:cubicBezTo>
                  <a:pt x="2109631" y="4234348"/>
                  <a:pt x="2092133" y="4253436"/>
                  <a:pt x="2084180" y="4277297"/>
                </a:cubicBezTo>
                <a:cubicBezTo>
                  <a:pt x="2068272" y="4325020"/>
                  <a:pt x="2061909" y="4361607"/>
                  <a:pt x="2041229" y="4391831"/>
                </a:cubicBezTo>
                <a:cubicBezTo>
                  <a:pt x="1968056" y="4495228"/>
                  <a:pt x="1810573" y="4496819"/>
                  <a:pt x="1773986" y="4644757"/>
                </a:cubicBezTo>
                <a:cubicBezTo>
                  <a:pt x="1843979" y="4498410"/>
                  <a:pt x="2022141" y="4493638"/>
                  <a:pt x="2088952" y="4352063"/>
                </a:cubicBezTo>
                <a:cubicBezTo>
                  <a:pt x="2236889" y="4038687"/>
                  <a:pt x="2084180" y="3753946"/>
                  <a:pt x="2115994" y="3464433"/>
                </a:cubicBezTo>
                <a:cubicBezTo>
                  <a:pt x="2160534" y="3388077"/>
                  <a:pt x="2200303" y="3278316"/>
                  <a:pt x="2263932" y="3244910"/>
                </a:cubicBezTo>
                <a:cubicBezTo>
                  <a:pt x="2246434" y="3340354"/>
                  <a:pt x="2244843" y="3518518"/>
                  <a:pt x="2166897" y="3521699"/>
                </a:cubicBezTo>
                <a:cubicBezTo>
                  <a:pt x="2184395" y="3491475"/>
                  <a:pt x="2224164" y="3461251"/>
                  <a:pt x="2232118" y="3407166"/>
                </a:cubicBezTo>
                <a:cubicBezTo>
                  <a:pt x="2236889" y="3376942"/>
                  <a:pt x="2235299" y="3343536"/>
                  <a:pt x="2230527" y="3321266"/>
                </a:cubicBezTo>
                <a:cubicBezTo>
                  <a:pt x="2174851" y="3345127"/>
                  <a:pt x="2157353" y="3427846"/>
                  <a:pt x="2133492" y="3502610"/>
                </a:cubicBezTo>
                <a:cubicBezTo>
                  <a:pt x="2138266" y="3508973"/>
                  <a:pt x="2143037" y="3515336"/>
                  <a:pt x="2155762" y="3515336"/>
                </a:cubicBezTo>
                <a:cubicBezTo>
                  <a:pt x="2147809" y="3720541"/>
                  <a:pt x="2171670" y="3905066"/>
                  <a:pt x="2165307" y="4108680"/>
                </a:cubicBezTo>
                <a:cubicBezTo>
                  <a:pt x="2166897" y="4119815"/>
                  <a:pt x="2173261" y="4110271"/>
                  <a:pt x="2178032" y="4118224"/>
                </a:cubicBezTo>
                <a:cubicBezTo>
                  <a:pt x="2193542" y="4284059"/>
                  <a:pt x="2112414" y="4422154"/>
                  <a:pt x="2017195" y="4507010"/>
                </a:cubicBezTo>
                <a:lnTo>
                  <a:pt x="1970043" y="4543904"/>
                </a:lnTo>
                <a:lnTo>
                  <a:pt x="1994153" y="4521277"/>
                </a:lnTo>
                <a:cubicBezTo>
                  <a:pt x="2014982" y="4500398"/>
                  <a:pt x="2034071" y="4478526"/>
                  <a:pt x="2049183" y="4453869"/>
                </a:cubicBezTo>
                <a:cubicBezTo>
                  <a:pt x="1948967" y="4558858"/>
                  <a:pt x="1805801" y="4617715"/>
                  <a:pt x="1783532" y="4829283"/>
                </a:cubicBezTo>
                <a:cubicBezTo>
                  <a:pt x="1791485" y="4849962"/>
                  <a:pt x="1816936" y="4873823"/>
                  <a:pt x="1799438" y="4900865"/>
                </a:cubicBezTo>
                <a:cubicBezTo>
                  <a:pt x="1788304" y="4907228"/>
                  <a:pt x="1789894" y="4883368"/>
                  <a:pt x="1770804" y="4886549"/>
                </a:cubicBezTo>
                <a:cubicBezTo>
                  <a:pt x="1758079" y="4888140"/>
                  <a:pt x="1759670" y="4913591"/>
                  <a:pt x="1738990" y="4904047"/>
                </a:cubicBezTo>
                <a:cubicBezTo>
                  <a:pt x="1731037" y="4888140"/>
                  <a:pt x="1719901" y="4872232"/>
                  <a:pt x="1705585" y="4859507"/>
                </a:cubicBezTo>
                <a:cubicBezTo>
                  <a:pt x="1705585" y="4859507"/>
                  <a:pt x="1703994" y="4857916"/>
                  <a:pt x="1703994" y="4857916"/>
                </a:cubicBezTo>
                <a:cubicBezTo>
                  <a:pt x="1700813" y="4859507"/>
                  <a:pt x="1699222" y="4862688"/>
                  <a:pt x="1696041" y="4864278"/>
                </a:cubicBezTo>
                <a:cubicBezTo>
                  <a:pt x="1694450" y="4864278"/>
                  <a:pt x="1694450" y="4864278"/>
                  <a:pt x="1694450" y="4864278"/>
                </a:cubicBezTo>
                <a:cubicBezTo>
                  <a:pt x="1692859" y="4861097"/>
                  <a:pt x="1691268" y="4859507"/>
                  <a:pt x="1689678" y="4857916"/>
                </a:cubicBezTo>
                <a:cubicBezTo>
                  <a:pt x="1688087" y="4859507"/>
                  <a:pt x="1689678" y="4862688"/>
                  <a:pt x="1689678" y="4864278"/>
                </a:cubicBezTo>
                <a:cubicBezTo>
                  <a:pt x="1681723" y="4864278"/>
                  <a:pt x="1676952" y="4864278"/>
                  <a:pt x="1670589" y="4862688"/>
                </a:cubicBezTo>
                <a:cubicBezTo>
                  <a:pt x="1670589" y="4857916"/>
                  <a:pt x="1670589" y="4853144"/>
                  <a:pt x="1670589" y="4849962"/>
                </a:cubicBezTo>
                <a:cubicBezTo>
                  <a:pt x="1672180" y="4848371"/>
                  <a:pt x="1675361" y="4846780"/>
                  <a:pt x="1676952" y="4845190"/>
                </a:cubicBezTo>
                <a:cubicBezTo>
                  <a:pt x="1680134" y="4846780"/>
                  <a:pt x="1683314" y="4846780"/>
                  <a:pt x="1686496" y="4846780"/>
                </a:cubicBezTo>
                <a:cubicBezTo>
                  <a:pt x="1680134" y="4842008"/>
                  <a:pt x="1672180" y="4835645"/>
                  <a:pt x="1664226" y="4830873"/>
                </a:cubicBezTo>
                <a:cubicBezTo>
                  <a:pt x="1659454" y="4830873"/>
                  <a:pt x="1659454" y="4832464"/>
                  <a:pt x="1661044" y="4835645"/>
                </a:cubicBezTo>
                <a:cubicBezTo>
                  <a:pt x="1659454" y="4835645"/>
                  <a:pt x="1659454" y="4837236"/>
                  <a:pt x="1657863" y="4837236"/>
                </a:cubicBezTo>
                <a:cubicBezTo>
                  <a:pt x="1657863" y="4834055"/>
                  <a:pt x="1657863" y="4830873"/>
                  <a:pt x="1659454" y="4829283"/>
                </a:cubicBezTo>
                <a:cubicBezTo>
                  <a:pt x="1661044" y="4829283"/>
                  <a:pt x="1661044" y="4829283"/>
                  <a:pt x="1662635" y="4829283"/>
                </a:cubicBezTo>
                <a:cubicBezTo>
                  <a:pt x="1668998" y="4816556"/>
                  <a:pt x="1668998" y="4808602"/>
                  <a:pt x="1665817" y="4802240"/>
                </a:cubicBezTo>
                <a:cubicBezTo>
                  <a:pt x="1662635" y="4803831"/>
                  <a:pt x="1659454" y="4805421"/>
                  <a:pt x="1656272" y="4807012"/>
                </a:cubicBezTo>
                <a:cubicBezTo>
                  <a:pt x="1654681" y="4800649"/>
                  <a:pt x="1659454" y="4799058"/>
                  <a:pt x="1659454" y="4794286"/>
                </a:cubicBezTo>
                <a:cubicBezTo>
                  <a:pt x="1656272" y="4789514"/>
                  <a:pt x="1654681" y="4786332"/>
                  <a:pt x="1653090" y="4783151"/>
                </a:cubicBezTo>
                <a:cubicBezTo>
                  <a:pt x="1649909" y="4783151"/>
                  <a:pt x="1648319" y="4781560"/>
                  <a:pt x="1646728" y="4779969"/>
                </a:cubicBezTo>
                <a:cubicBezTo>
                  <a:pt x="1648319" y="4778378"/>
                  <a:pt x="1648319" y="4778378"/>
                  <a:pt x="1648319" y="4776788"/>
                </a:cubicBezTo>
                <a:cubicBezTo>
                  <a:pt x="1649909" y="4776788"/>
                  <a:pt x="1649909" y="4776788"/>
                  <a:pt x="1651499" y="4776788"/>
                </a:cubicBezTo>
                <a:cubicBezTo>
                  <a:pt x="1649909" y="4775197"/>
                  <a:pt x="1651499" y="4772016"/>
                  <a:pt x="1651499" y="4768835"/>
                </a:cubicBezTo>
                <a:cubicBezTo>
                  <a:pt x="1654681" y="4767244"/>
                  <a:pt x="1659454" y="4764062"/>
                  <a:pt x="1664226" y="4762472"/>
                </a:cubicBezTo>
                <a:cubicBezTo>
                  <a:pt x="1664226" y="4752927"/>
                  <a:pt x="1665817" y="4743383"/>
                  <a:pt x="1664226" y="4735429"/>
                </a:cubicBezTo>
                <a:cubicBezTo>
                  <a:pt x="1667407" y="4738611"/>
                  <a:pt x="1676952" y="4735429"/>
                  <a:pt x="1676952" y="4729066"/>
                </a:cubicBezTo>
                <a:cubicBezTo>
                  <a:pt x="1683314" y="4733839"/>
                  <a:pt x="1676952" y="4743383"/>
                  <a:pt x="1675361" y="4751336"/>
                </a:cubicBezTo>
                <a:cubicBezTo>
                  <a:pt x="1675361" y="4754518"/>
                  <a:pt x="1673770" y="4756109"/>
                  <a:pt x="1673770" y="4759290"/>
                </a:cubicBezTo>
                <a:cubicBezTo>
                  <a:pt x="1675361" y="4759290"/>
                  <a:pt x="1676952" y="4757699"/>
                  <a:pt x="1678542" y="4757699"/>
                </a:cubicBezTo>
                <a:cubicBezTo>
                  <a:pt x="1678542" y="4752927"/>
                  <a:pt x="1680134" y="4748155"/>
                  <a:pt x="1681723" y="4743383"/>
                </a:cubicBezTo>
                <a:cubicBezTo>
                  <a:pt x="1683314" y="4744974"/>
                  <a:pt x="1683314" y="4748155"/>
                  <a:pt x="1686496" y="4748155"/>
                </a:cubicBezTo>
                <a:cubicBezTo>
                  <a:pt x="1691268" y="4743383"/>
                  <a:pt x="1688087" y="4737020"/>
                  <a:pt x="1684906" y="4733839"/>
                </a:cubicBezTo>
                <a:cubicBezTo>
                  <a:pt x="1688087" y="4732248"/>
                  <a:pt x="1683314" y="4727475"/>
                  <a:pt x="1684906" y="4725885"/>
                </a:cubicBezTo>
                <a:cubicBezTo>
                  <a:pt x="1691268" y="4732248"/>
                  <a:pt x="1699222" y="4725885"/>
                  <a:pt x="1699222" y="4717931"/>
                </a:cubicBezTo>
                <a:cubicBezTo>
                  <a:pt x="1696041" y="4714750"/>
                  <a:pt x="1691268" y="4719521"/>
                  <a:pt x="1686496" y="4717931"/>
                </a:cubicBezTo>
                <a:cubicBezTo>
                  <a:pt x="1689678" y="4714750"/>
                  <a:pt x="1696041" y="4713159"/>
                  <a:pt x="1700813" y="4711568"/>
                </a:cubicBezTo>
                <a:cubicBezTo>
                  <a:pt x="1702404" y="4714750"/>
                  <a:pt x="1702404" y="4719521"/>
                  <a:pt x="1705585" y="4719521"/>
                </a:cubicBezTo>
                <a:cubicBezTo>
                  <a:pt x="1711947" y="4717931"/>
                  <a:pt x="1710356" y="4709978"/>
                  <a:pt x="1707175" y="4706796"/>
                </a:cubicBezTo>
                <a:cubicBezTo>
                  <a:pt x="1710356" y="4706796"/>
                  <a:pt x="1711947" y="4705205"/>
                  <a:pt x="1715129" y="4705205"/>
                </a:cubicBezTo>
                <a:cubicBezTo>
                  <a:pt x="1716720" y="4719521"/>
                  <a:pt x="1713538" y="4735429"/>
                  <a:pt x="1713538" y="4748155"/>
                </a:cubicBezTo>
                <a:cubicBezTo>
                  <a:pt x="1716720" y="4748155"/>
                  <a:pt x="1719901" y="4746564"/>
                  <a:pt x="1723083" y="4744974"/>
                </a:cubicBezTo>
                <a:cubicBezTo>
                  <a:pt x="1723083" y="4737020"/>
                  <a:pt x="1723083" y="4729066"/>
                  <a:pt x="1724674" y="4721112"/>
                </a:cubicBezTo>
                <a:cubicBezTo>
                  <a:pt x="1726265" y="4717931"/>
                  <a:pt x="1727855" y="4716340"/>
                  <a:pt x="1729446" y="4713159"/>
                </a:cubicBezTo>
                <a:cubicBezTo>
                  <a:pt x="1729446" y="4711568"/>
                  <a:pt x="1729446" y="4709978"/>
                  <a:pt x="1729446" y="4709978"/>
                </a:cubicBezTo>
                <a:cubicBezTo>
                  <a:pt x="1731037" y="4708387"/>
                  <a:pt x="1732628" y="4706796"/>
                  <a:pt x="1734218" y="4705205"/>
                </a:cubicBezTo>
                <a:cubicBezTo>
                  <a:pt x="1738990" y="4705205"/>
                  <a:pt x="1743762" y="4705205"/>
                  <a:pt x="1748534" y="4705205"/>
                </a:cubicBezTo>
                <a:cubicBezTo>
                  <a:pt x="1750125" y="4708387"/>
                  <a:pt x="1751717" y="4711568"/>
                  <a:pt x="1754898" y="4711568"/>
                </a:cubicBezTo>
                <a:cubicBezTo>
                  <a:pt x="1754898" y="4709978"/>
                  <a:pt x="1754898" y="4709978"/>
                  <a:pt x="1754898" y="4708387"/>
                </a:cubicBezTo>
                <a:cubicBezTo>
                  <a:pt x="1753307" y="4706796"/>
                  <a:pt x="1753307" y="4706796"/>
                  <a:pt x="1751717" y="4705205"/>
                </a:cubicBezTo>
                <a:cubicBezTo>
                  <a:pt x="1753307" y="4705205"/>
                  <a:pt x="1753307" y="4705205"/>
                  <a:pt x="1754898" y="4705205"/>
                </a:cubicBezTo>
                <a:cubicBezTo>
                  <a:pt x="1754898" y="4703614"/>
                  <a:pt x="1754898" y="4700433"/>
                  <a:pt x="1754898" y="4698842"/>
                </a:cubicBezTo>
                <a:cubicBezTo>
                  <a:pt x="1750125" y="4698842"/>
                  <a:pt x="1746945" y="4698842"/>
                  <a:pt x="1742171" y="4698842"/>
                </a:cubicBezTo>
                <a:cubicBezTo>
                  <a:pt x="1745353" y="4695660"/>
                  <a:pt x="1750125" y="4694070"/>
                  <a:pt x="1753307" y="4690888"/>
                </a:cubicBezTo>
                <a:cubicBezTo>
                  <a:pt x="1753307" y="4690888"/>
                  <a:pt x="1751717" y="4689297"/>
                  <a:pt x="1751717" y="4687707"/>
                </a:cubicBezTo>
                <a:cubicBezTo>
                  <a:pt x="1750125" y="4689297"/>
                  <a:pt x="1748534" y="4690888"/>
                  <a:pt x="1746945" y="4692479"/>
                </a:cubicBezTo>
                <a:cubicBezTo>
                  <a:pt x="1748534" y="4689297"/>
                  <a:pt x="1745353" y="4690888"/>
                  <a:pt x="1745353" y="4689297"/>
                </a:cubicBezTo>
                <a:cubicBezTo>
                  <a:pt x="1745353" y="4686116"/>
                  <a:pt x="1748534" y="4686116"/>
                  <a:pt x="1750125" y="4684526"/>
                </a:cubicBezTo>
                <a:cubicBezTo>
                  <a:pt x="1750125" y="4682935"/>
                  <a:pt x="1748534" y="4681344"/>
                  <a:pt x="1748534" y="4679753"/>
                </a:cubicBezTo>
                <a:cubicBezTo>
                  <a:pt x="1742171" y="4674981"/>
                  <a:pt x="1735809" y="4673390"/>
                  <a:pt x="1731037" y="4670209"/>
                </a:cubicBezTo>
                <a:cubicBezTo>
                  <a:pt x="1729446" y="4670209"/>
                  <a:pt x="1729446" y="4671799"/>
                  <a:pt x="1729446" y="4671799"/>
                </a:cubicBezTo>
                <a:cubicBezTo>
                  <a:pt x="1731037" y="4673390"/>
                  <a:pt x="1734218" y="4674981"/>
                  <a:pt x="1735809" y="4678163"/>
                </a:cubicBezTo>
                <a:cubicBezTo>
                  <a:pt x="1732628" y="4681344"/>
                  <a:pt x="1729446" y="4684526"/>
                  <a:pt x="1724674" y="4687707"/>
                </a:cubicBezTo>
                <a:lnTo>
                  <a:pt x="1724674" y="4673390"/>
                </a:lnTo>
                <a:lnTo>
                  <a:pt x="1724674" y="4668618"/>
                </a:lnTo>
                <a:cubicBezTo>
                  <a:pt x="1719901" y="4667027"/>
                  <a:pt x="1716720" y="4667027"/>
                  <a:pt x="1711947" y="4665436"/>
                </a:cubicBezTo>
                <a:cubicBezTo>
                  <a:pt x="1711947" y="4665436"/>
                  <a:pt x="1711947" y="4667027"/>
                  <a:pt x="1711947" y="4667027"/>
                </a:cubicBezTo>
                <a:cubicBezTo>
                  <a:pt x="1708766" y="4668618"/>
                  <a:pt x="1703994" y="4670209"/>
                  <a:pt x="1700813" y="4671799"/>
                </a:cubicBezTo>
                <a:lnTo>
                  <a:pt x="1702176" y="4664982"/>
                </a:lnTo>
                <a:lnTo>
                  <a:pt x="1697631" y="4663845"/>
                </a:lnTo>
                <a:lnTo>
                  <a:pt x="1690871" y="4663845"/>
                </a:lnTo>
                <a:lnTo>
                  <a:pt x="1699222" y="4668618"/>
                </a:lnTo>
                <a:cubicBezTo>
                  <a:pt x="1699222" y="4668618"/>
                  <a:pt x="1697632" y="4670209"/>
                  <a:pt x="1697632" y="4671799"/>
                </a:cubicBezTo>
                <a:cubicBezTo>
                  <a:pt x="1694450" y="4671799"/>
                  <a:pt x="1694450" y="4668618"/>
                  <a:pt x="1691267" y="4668618"/>
                </a:cubicBezTo>
                <a:cubicBezTo>
                  <a:pt x="1691267" y="4673390"/>
                  <a:pt x="1694450" y="4676572"/>
                  <a:pt x="1696041" y="4679753"/>
                </a:cubicBezTo>
                <a:cubicBezTo>
                  <a:pt x="1692859" y="4682935"/>
                  <a:pt x="1686495" y="4684526"/>
                  <a:pt x="1681723" y="4686116"/>
                </a:cubicBezTo>
                <a:cubicBezTo>
                  <a:pt x="1681723" y="4686116"/>
                  <a:pt x="1680133" y="4686116"/>
                  <a:pt x="1680133" y="4686116"/>
                </a:cubicBezTo>
                <a:lnTo>
                  <a:pt x="1680628" y="4683155"/>
                </a:lnTo>
                <a:lnTo>
                  <a:pt x="1665817" y="4714750"/>
                </a:lnTo>
                <a:cubicBezTo>
                  <a:pt x="1663430" y="4706398"/>
                  <a:pt x="1665518" y="4699613"/>
                  <a:pt x="1669060" y="4693470"/>
                </a:cubicBezTo>
                <a:lnTo>
                  <a:pt x="1672324" y="4688719"/>
                </a:lnTo>
                <a:lnTo>
                  <a:pt x="1670589" y="4689297"/>
                </a:lnTo>
                <a:cubicBezTo>
                  <a:pt x="1670589" y="4682935"/>
                  <a:pt x="1673771" y="4676572"/>
                  <a:pt x="1678542" y="4671799"/>
                </a:cubicBezTo>
                <a:lnTo>
                  <a:pt x="1676323" y="4682899"/>
                </a:lnTo>
                <a:lnTo>
                  <a:pt x="1681028" y="4676050"/>
                </a:lnTo>
                <a:lnTo>
                  <a:pt x="1682674" y="4670870"/>
                </a:lnTo>
                <a:lnTo>
                  <a:pt x="1683313" y="4667027"/>
                </a:lnTo>
                <a:lnTo>
                  <a:pt x="1684165" y="4666176"/>
                </a:lnTo>
                <a:lnTo>
                  <a:pt x="1684906" y="4663845"/>
                </a:lnTo>
                <a:cubicBezTo>
                  <a:pt x="1683314" y="4663845"/>
                  <a:pt x="1680134" y="4665436"/>
                  <a:pt x="1678542" y="4665436"/>
                </a:cubicBezTo>
                <a:cubicBezTo>
                  <a:pt x="1675361" y="4670209"/>
                  <a:pt x="1672180" y="4674981"/>
                  <a:pt x="1667407" y="4678163"/>
                </a:cubicBezTo>
                <a:cubicBezTo>
                  <a:pt x="1667407" y="4673390"/>
                  <a:pt x="1667407" y="4670209"/>
                  <a:pt x="1667407" y="4667027"/>
                </a:cubicBezTo>
                <a:cubicBezTo>
                  <a:pt x="1664226" y="4668618"/>
                  <a:pt x="1661044" y="4668618"/>
                  <a:pt x="1657863" y="4670209"/>
                </a:cubicBezTo>
                <a:cubicBezTo>
                  <a:pt x="1656272" y="4676572"/>
                  <a:pt x="1654681" y="4682935"/>
                  <a:pt x="1649909" y="4686116"/>
                </a:cubicBezTo>
                <a:cubicBezTo>
                  <a:pt x="1646728" y="4682935"/>
                  <a:pt x="1645137" y="4679753"/>
                  <a:pt x="1643546" y="4674981"/>
                </a:cubicBezTo>
                <a:cubicBezTo>
                  <a:pt x="1640365" y="4676572"/>
                  <a:pt x="1638774" y="4676572"/>
                  <a:pt x="1635593" y="4678163"/>
                </a:cubicBezTo>
                <a:cubicBezTo>
                  <a:pt x="1641956" y="4692479"/>
                  <a:pt x="1656272" y="4703614"/>
                  <a:pt x="1657863" y="4717931"/>
                </a:cubicBezTo>
                <a:cubicBezTo>
                  <a:pt x="1656272" y="4716340"/>
                  <a:pt x="1653090" y="4713159"/>
                  <a:pt x="1649909" y="4711568"/>
                </a:cubicBezTo>
                <a:cubicBezTo>
                  <a:pt x="1648319" y="4711568"/>
                  <a:pt x="1648319" y="4713159"/>
                  <a:pt x="1646728" y="4714750"/>
                </a:cubicBezTo>
                <a:cubicBezTo>
                  <a:pt x="1641160" y="4711569"/>
                  <a:pt x="1637183" y="4714352"/>
                  <a:pt x="1633206" y="4717136"/>
                </a:cubicBezTo>
                <a:lnTo>
                  <a:pt x="1630270" y="4718770"/>
                </a:lnTo>
                <a:lnTo>
                  <a:pt x="1630820" y="4727475"/>
                </a:lnTo>
                <a:cubicBezTo>
                  <a:pt x="1627639" y="4730657"/>
                  <a:pt x="1626047" y="4732247"/>
                  <a:pt x="1622867" y="4733838"/>
                </a:cubicBezTo>
                <a:cubicBezTo>
                  <a:pt x="1622867" y="4729066"/>
                  <a:pt x="1622867" y="4722703"/>
                  <a:pt x="1618094" y="4719521"/>
                </a:cubicBezTo>
                <a:cubicBezTo>
                  <a:pt x="1618094" y="4722703"/>
                  <a:pt x="1621275" y="4727475"/>
                  <a:pt x="1619685" y="4730657"/>
                </a:cubicBezTo>
                <a:cubicBezTo>
                  <a:pt x="1619685" y="4729066"/>
                  <a:pt x="1618094" y="4727475"/>
                  <a:pt x="1614913" y="4727475"/>
                </a:cubicBezTo>
                <a:cubicBezTo>
                  <a:pt x="1611731" y="4727475"/>
                  <a:pt x="1613322" y="4730657"/>
                  <a:pt x="1611731" y="4730657"/>
                </a:cubicBezTo>
                <a:cubicBezTo>
                  <a:pt x="1610140" y="4725884"/>
                  <a:pt x="1606959" y="4721112"/>
                  <a:pt x="1605368" y="4714750"/>
                </a:cubicBezTo>
                <a:lnTo>
                  <a:pt x="1616504" y="4707544"/>
                </a:lnTo>
                <a:lnTo>
                  <a:pt x="1616504" y="4692479"/>
                </a:lnTo>
                <a:cubicBezTo>
                  <a:pt x="1619685" y="4690888"/>
                  <a:pt x="1622867" y="4690888"/>
                  <a:pt x="1624457" y="4687707"/>
                </a:cubicBezTo>
                <a:cubicBezTo>
                  <a:pt x="1624457" y="4686116"/>
                  <a:pt x="1621275" y="4686116"/>
                  <a:pt x="1621275" y="4684526"/>
                </a:cubicBezTo>
                <a:cubicBezTo>
                  <a:pt x="1614913" y="4686116"/>
                  <a:pt x="1608550" y="4687707"/>
                  <a:pt x="1602187" y="4689297"/>
                </a:cubicBezTo>
                <a:cubicBezTo>
                  <a:pt x="1602187" y="4689297"/>
                  <a:pt x="1602187" y="4690888"/>
                  <a:pt x="1602187" y="4690888"/>
                </a:cubicBezTo>
                <a:lnTo>
                  <a:pt x="1597415" y="4692479"/>
                </a:lnTo>
                <a:lnTo>
                  <a:pt x="1597415" y="4693672"/>
                </a:lnTo>
                <a:cubicBezTo>
                  <a:pt x="1597017" y="4698046"/>
                  <a:pt x="1595824" y="4702024"/>
                  <a:pt x="1592643" y="4705205"/>
                </a:cubicBezTo>
                <a:cubicBezTo>
                  <a:pt x="1592643" y="4703614"/>
                  <a:pt x="1592643" y="4700433"/>
                  <a:pt x="1589461" y="4702023"/>
                </a:cubicBezTo>
                <a:lnTo>
                  <a:pt x="1591271" y="4691328"/>
                </a:lnTo>
                <a:lnTo>
                  <a:pt x="1591052" y="4690888"/>
                </a:lnTo>
                <a:cubicBezTo>
                  <a:pt x="1591052" y="4690888"/>
                  <a:pt x="1591052" y="4689297"/>
                  <a:pt x="1591052" y="4689297"/>
                </a:cubicBezTo>
                <a:lnTo>
                  <a:pt x="1587871" y="4689297"/>
                </a:lnTo>
                <a:lnTo>
                  <a:pt x="1583098" y="4689297"/>
                </a:lnTo>
                <a:cubicBezTo>
                  <a:pt x="1581509" y="4692479"/>
                  <a:pt x="1579917" y="4694070"/>
                  <a:pt x="1578326" y="4697251"/>
                </a:cubicBezTo>
                <a:cubicBezTo>
                  <a:pt x="1576735" y="4697251"/>
                  <a:pt x="1576735" y="4697251"/>
                  <a:pt x="1575145" y="4697251"/>
                </a:cubicBezTo>
                <a:cubicBezTo>
                  <a:pt x="1575145" y="4697251"/>
                  <a:pt x="1576735" y="4698842"/>
                  <a:pt x="1576735" y="4698842"/>
                </a:cubicBezTo>
                <a:cubicBezTo>
                  <a:pt x="1575145" y="4698842"/>
                  <a:pt x="1575145" y="4700433"/>
                  <a:pt x="1573554" y="4700433"/>
                </a:cubicBezTo>
                <a:lnTo>
                  <a:pt x="1573554" y="4703614"/>
                </a:lnTo>
                <a:cubicBezTo>
                  <a:pt x="1568781" y="4719521"/>
                  <a:pt x="1564009" y="4733838"/>
                  <a:pt x="1546511" y="4737020"/>
                </a:cubicBezTo>
                <a:lnTo>
                  <a:pt x="1548737" y="4721433"/>
                </a:lnTo>
                <a:lnTo>
                  <a:pt x="1540148" y="4752927"/>
                </a:lnTo>
                <a:lnTo>
                  <a:pt x="1540763" y="4754158"/>
                </a:lnTo>
                <a:lnTo>
                  <a:pt x="1559237" y="4743381"/>
                </a:lnTo>
                <a:cubicBezTo>
                  <a:pt x="1559237" y="4746563"/>
                  <a:pt x="1560828" y="4748154"/>
                  <a:pt x="1560828" y="4749745"/>
                </a:cubicBezTo>
                <a:cubicBezTo>
                  <a:pt x="1564009" y="4751335"/>
                  <a:pt x="1570372" y="4751335"/>
                  <a:pt x="1573553" y="4754516"/>
                </a:cubicBezTo>
                <a:cubicBezTo>
                  <a:pt x="1573553" y="4759288"/>
                  <a:pt x="1573553" y="4764061"/>
                  <a:pt x="1571963" y="4768833"/>
                </a:cubicBezTo>
                <a:cubicBezTo>
                  <a:pt x="1567190" y="4772014"/>
                  <a:pt x="1559237" y="4773605"/>
                  <a:pt x="1557646" y="4779968"/>
                </a:cubicBezTo>
                <a:cubicBezTo>
                  <a:pt x="1559237" y="4781559"/>
                  <a:pt x="1564009" y="4781559"/>
                  <a:pt x="1568781" y="4781559"/>
                </a:cubicBezTo>
                <a:cubicBezTo>
                  <a:pt x="1567190" y="4784740"/>
                  <a:pt x="1567190" y="4786331"/>
                  <a:pt x="1567190" y="4789512"/>
                </a:cubicBezTo>
                <a:cubicBezTo>
                  <a:pt x="1565600" y="4791103"/>
                  <a:pt x="1564009" y="4791103"/>
                  <a:pt x="1564009" y="4792693"/>
                </a:cubicBezTo>
                <a:cubicBezTo>
                  <a:pt x="1546511" y="4813374"/>
                  <a:pt x="1532194" y="4842007"/>
                  <a:pt x="1516287" y="4856323"/>
                </a:cubicBezTo>
                <a:cubicBezTo>
                  <a:pt x="1523445" y="4842007"/>
                  <a:pt x="1530206" y="4826497"/>
                  <a:pt x="1534779" y="4809596"/>
                </a:cubicBezTo>
                <a:lnTo>
                  <a:pt x="1539456" y="4761615"/>
                </a:lnTo>
                <a:lnTo>
                  <a:pt x="1538359" y="4762273"/>
                </a:lnTo>
                <a:cubicBezTo>
                  <a:pt x="1537365" y="4764062"/>
                  <a:pt x="1536967" y="4766449"/>
                  <a:pt x="1536967" y="4768835"/>
                </a:cubicBezTo>
                <a:cubicBezTo>
                  <a:pt x="1500380" y="4757699"/>
                  <a:pt x="1479700" y="4725885"/>
                  <a:pt x="1457431" y="4702024"/>
                </a:cubicBezTo>
                <a:lnTo>
                  <a:pt x="1450152" y="4708494"/>
                </a:lnTo>
                <a:lnTo>
                  <a:pt x="1454796" y="4718502"/>
                </a:lnTo>
                <a:cubicBezTo>
                  <a:pt x="1457032" y="4732745"/>
                  <a:pt x="1446295" y="4744974"/>
                  <a:pt x="1431979" y="4754517"/>
                </a:cubicBezTo>
                <a:cubicBezTo>
                  <a:pt x="1431979" y="4741792"/>
                  <a:pt x="1430388" y="4727475"/>
                  <a:pt x="1430388" y="4713159"/>
                </a:cubicBezTo>
                <a:cubicBezTo>
                  <a:pt x="1434365" y="4712363"/>
                  <a:pt x="1437547" y="4711568"/>
                  <a:pt x="1440330" y="4710176"/>
                </a:cubicBezTo>
                <a:lnTo>
                  <a:pt x="1443113" y="4707759"/>
                </a:lnTo>
                <a:lnTo>
                  <a:pt x="1443113" y="4690888"/>
                </a:lnTo>
                <a:cubicBezTo>
                  <a:pt x="1444704" y="4690888"/>
                  <a:pt x="1447887" y="4692479"/>
                  <a:pt x="1451067" y="4692479"/>
                </a:cubicBezTo>
                <a:cubicBezTo>
                  <a:pt x="1438342" y="4681344"/>
                  <a:pt x="1424025" y="4671799"/>
                  <a:pt x="1406527" y="4670209"/>
                </a:cubicBezTo>
                <a:cubicBezTo>
                  <a:pt x="1392210" y="4659074"/>
                  <a:pt x="1387438" y="4632031"/>
                  <a:pt x="1371531" y="4608170"/>
                </a:cubicBezTo>
                <a:cubicBezTo>
                  <a:pt x="1371531" y="4619306"/>
                  <a:pt x="1371531" y="4630440"/>
                  <a:pt x="1371531" y="4638394"/>
                </a:cubicBezTo>
                <a:cubicBezTo>
                  <a:pt x="1369940" y="4639985"/>
                  <a:pt x="1366758" y="4643166"/>
                  <a:pt x="1363577" y="4644757"/>
                </a:cubicBezTo>
                <a:cubicBezTo>
                  <a:pt x="1361986" y="4628850"/>
                  <a:pt x="1363577" y="4612943"/>
                  <a:pt x="1365168" y="4598626"/>
                </a:cubicBezTo>
                <a:cubicBezTo>
                  <a:pt x="1361986" y="4595445"/>
                  <a:pt x="1358804" y="4592263"/>
                  <a:pt x="1355623" y="4589082"/>
                </a:cubicBezTo>
                <a:cubicBezTo>
                  <a:pt x="1354032" y="4598626"/>
                  <a:pt x="1350851" y="4609761"/>
                  <a:pt x="1349261" y="4619306"/>
                </a:cubicBezTo>
                <a:cubicBezTo>
                  <a:pt x="1346079" y="4639985"/>
                  <a:pt x="1342898" y="4660664"/>
                  <a:pt x="1338125" y="4676572"/>
                </a:cubicBezTo>
                <a:cubicBezTo>
                  <a:pt x="1307901" y="4662255"/>
                  <a:pt x="1325399" y="4616124"/>
                  <a:pt x="1322218" y="4585900"/>
                </a:cubicBezTo>
                <a:cubicBezTo>
                  <a:pt x="1319037" y="4601807"/>
                  <a:pt x="1311083" y="4612943"/>
                  <a:pt x="1311083" y="4630440"/>
                </a:cubicBezTo>
                <a:cubicBezTo>
                  <a:pt x="1295175" y="4620897"/>
                  <a:pt x="1309492" y="4592263"/>
                  <a:pt x="1299947" y="4579537"/>
                </a:cubicBezTo>
                <a:cubicBezTo>
                  <a:pt x="1282451" y="4606580"/>
                  <a:pt x="1306311" y="4636803"/>
                  <a:pt x="1309492" y="4662255"/>
                </a:cubicBezTo>
                <a:cubicBezTo>
                  <a:pt x="1296766" y="4660664"/>
                  <a:pt x="1293585" y="4639985"/>
                  <a:pt x="1282451" y="4639985"/>
                </a:cubicBezTo>
                <a:cubicBezTo>
                  <a:pt x="1287223" y="4668618"/>
                  <a:pt x="1319037" y="4673390"/>
                  <a:pt x="1334944" y="4692479"/>
                </a:cubicBezTo>
                <a:cubicBezTo>
                  <a:pt x="1346079" y="4719521"/>
                  <a:pt x="1350851" y="4776788"/>
                  <a:pt x="1334944" y="4802240"/>
                </a:cubicBezTo>
                <a:cubicBezTo>
                  <a:pt x="1333353" y="4779969"/>
                  <a:pt x="1307901" y="4772016"/>
                  <a:pt x="1312674" y="4749745"/>
                </a:cubicBezTo>
                <a:cubicBezTo>
                  <a:pt x="1315855" y="4735429"/>
                  <a:pt x="1347670" y="4724294"/>
                  <a:pt x="1331762" y="4708387"/>
                </a:cubicBezTo>
                <a:cubicBezTo>
                  <a:pt x="1322218" y="4711568"/>
                  <a:pt x="1326990" y="4725885"/>
                  <a:pt x="1319037" y="4729066"/>
                </a:cubicBezTo>
                <a:cubicBezTo>
                  <a:pt x="1315855" y="4722703"/>
                  <a:pt x="1317446" y="4709978"/>
                  <a:pt x="1312674" y="4703614"/>
                </a:cubicBezTo>
                <a:cubicBezTo>
                  <a:pt x="1306311" y="4716340"/>
                  <a:pt x="1307901" y="4735429"/>
                  <a:pt x="1301538" y="4748155"/>
                </a:cubicBezTo>
                <a:cubicBezTo>
                  <a:pt x="1299947" y="4746564"/>
                  <a:pt x="1298357" y="4746564"/>
                  <a:pt x="1296766" y="4744974"/>
                </a:cubicBezTo>
                <a:cubicBezTo>
                  <a:pt x="1296766" y="4741793"/>
                  <a:pt x="1295175" y="4740202"/>
                  <a:pt x="1295175" y="4737020"/>
                </a:cubicBezTo>
                <a:cubicBezTo>
                  <a:pt x="1295175" y="4735429"/>
                  <a:pt x="1296766" y="4735429"/>
                  <a:pt x="1296766" y="4732248"/>
                </a:cubicBezTo>
                <a:cubicBezTo>
                  <a:pt x="1295175" y="4730657"/>
                  <a:pt x="1293585" y="4732248"/>
                  <a:pt x="1291994" y="4732248"/>
                </a:cubicBezTo>
                <a:cubicBezTo>
                  <a:pt x="1293585" y="4721112"/>
                  <a:pt x="1301538" y="4706796"/>
                  <a:pt x="1293585" y="4698842"/>
                </a:cubicBezTo>
                <a:cubicBezTo>
                  <a:pt x="1290404" y="4703614"/>
                  <a:pt x="1288813" y="4709978"/>
                  <a:pt x="1285631" y="4714750"/>
                </a:cubicBezTo>
                <a:cubicBezTo>
                  <a:pt x="1285631" y="4709978"/>
                  <a:pt x="1284040" y="4705205"/>
                  <a:pt x="1282451" y="4700433"/>
                </a:cubicBezTo>
                <a:cubicBezTo>
                  <a:pt x="1284040" y="4700433"/>
                  <a:pt x="1284040" y="4700433"/>
                  <a:pt x="1284040" y="4698842"/>
                </a:cubicBezTo>
                <a:cubicBezTo>
                  <a:pt x="1279268" y="4695660"/>
                  <a:pt x="1280859" y="4690888"/>
                  <a:pt x="1279268" y="4686116"/>
                </a:cubicBezTo>
                <a:cubicBezTo>
                  <a:pt x="1284040" y="4686116"/>
                  <a:pt x="1288813" y="4690888"/>
                  <a:pt x="1291994" y="4687707"/>
                </a:cubicBezTo>
                <a:cubicBezTo>
                  <a:pt x="1290404" y="4684526"/>
                  <a:pt x="1284040" y="4684526"/>
                  <a:pt x="1280859" y="4681344"/>
                </a:cubicBezTo>
                <a:cubicBezTo>
                  <a:pt x="1284040" y="4682935"/>
                  <a:pt x="1287223" y="4681344"/>
                  <a:pt x="1288813" y="4678163"/>
                </a:cubicBezTo>
                <a:cubicBezTo>
                  <a:pt x="1287223" y="4676572"/>
                  <a:pt x="1284040" y="4676572"/>
                  <a:pt x="1282451" y="4673390"/>
                </a:cubicBezTo>
                <a:cubicBezTo>
                  <a:pt x="1280859" y="4673390"/>
                  <a:pt x="1279268" y="4676572"/>
                  <a:pt x="1277677" y="4674981"/>
                </a:cubicBezTo>
                <a:cubicBezTo>
                  <a:pt x="1282451" y="4671799"/>
                  <a:pt x="1290404" y="4663845"/>
                  <a:pt x="1284040" y="4659074"/>
                </a:cubicBezTo>
                <a:cubicBezTo>
                  <a:pt x="1277677" y="4660664"/>
                  <a:pt x="1277677" y="4668618"/>
                  <a:pt x="1276087" y="4673390"/>
                </a:cubicBezTo>
                <a:cubicBezTo>
                  <a:pt x="1276087" y="4670209"/>
                  <a:pt x="1276087" y="4668618"/>
                  <a:pt x="1274496" y="4667027"/>
                </a:cubicBezTo>
                <a:cubicBezTo>
                  <a:pt x="1271314" y="4665436"/>
                  <a:pt x="1272905" y="4668618"/>
                  <a:pt x="1269723" y="4668618"/>
                </a:cubicBezTo>
                <a:cubicBezTo>
                  <a:pt x="1264951" y="4662255"/>
                  <a:pt x="1260180" y="4646348"/>
                  <a:pt x="1264951" y="4638394"/>
                </a:cubicBezTo>
                <a:cubicBezTo>
                  <a:pt x="1264951" y="4636803"/>
                  <a:pt x="1264951" y="4636803"/>
                  <a:pt x="1264951" y="4636803"/>
                </a:cubicBezTo>
                <a:cubicBezTo>
                  <a:pt x="1264951" y="4630440"/>
                  <a:pt x="1268133" y="4622487"/>
                  <a:pt x="1269723" y="4616124"/>
                </a:cubicBezTo>
                <a:cubicBezTo>
                  <a:pt x="1277677" y="4619306"/>
                  <a:pt x="1287223" y="4620897"/>
                  <a:pt x="1291994" y="4616124"/>
                </a:cubicBezTo>
                <a:cubicBezTo>
                  <a:pt x="1288813" y="4612943"/>
                  <a:pt x="1282451" y="4611352"/>
                  <a:pt x="1276087" y="4609761"/>
                </a:cubicBezTo>
                <a:cubicBezTo>
                  <a:pt x="1279268" y="4604989"/>
                  <a:pt x="1287223" y="4604989"/>
                  <a:pt x="1287223" y="4598626"/>
                </a:cubicBezTo>
                <a:cubicBezTo>
                  <a:pt x="1285631" y="4598626"/>
                  <a:pt x="1285631" y="4597035"/>
                  <a:pt x="1285631" y="4597035"/>
                </a:cubicBezTo>
                <a:cubicBezTo>
                  <a:pt x="1282451" y="4598626"/>
                  <a:pt x="1279268" y="4598626"/>
                  <a:pt x="1276087" y="4600216"/>
                </a:cubicBezTo>
                <a:cubicBezTo>
                  <a:pt x="1277677" y="4597035"/>
                  <a:pt x="1279268" y="4593854"/>
                  <a:pt x="1280859" y="4590673"/>
                </a:cubicBezTo>
                <a:cubicBezTo>
                  <a:pt x="1287223" y="4579537"/>
                  <a:pt x="1298357" y="4571583"/>
                  <a:pt x="1304720" y="4562039"/>
                </a:cubicBezTo>
                <a:cubicBezTo>
                  <a:pt x="1301538" y="4560448"/>
                  <a:pt x="1299947" y="4558858"/>
                  <a:pt x="1296766" y="4557267"/>
                </a:cubicBezTo>
                <a:cubicBezTo>
                  <a:pt x="1293585" y="4562039"/>
                  <a:pt x="1290404" y="4566812"/>
                  <a:pt x="1284040" y="4568402"/>
                </a:cubicBezTo>
                <a:cubicBezTo>
                  <a:pt x="1284040" y="4560448"/>
                  <a:pt x="1285631" y="4555676"/>
                  <a:pt x="1287223" y="4550904"/>
                </a:cubicBezTo>
                <a:cubicBezTo>
                  <a:pt x="1285631" y="4549313"/>
                  <a:pt x="1285631" y="4549313"/>
                  <a:pt x="1284040" y="4547722"/>
                </a:cubicBezTo>
                <a:cubicBezTo>
                  <a:pt x="1276087" y="4555676"/>
                  <a:pt x="1272905" y="4568402"/>
                  <a:pt x="1269723" y="4581128"/>
                </a:cubicBezTo>
                <a:cubicBezTo>
                  <a:pt x="1269723" y="4581128"/>
                  <a:pt x="1268133" y="4579537"/>
                  <a:pt x="1268133" y="4579537"/>
                </a:cubicBezTo>
                <a:cubicBezTo>
                  <a:pt x="1260180" y="4581128"/>
                  <a:pt x="1260180" y="4590673"/>
                  <a:pt x="1255407" y="4595445"/>
                </a:cubicBezTo>
                <a:cubicBezTo>
                  <a:pt x="1255407" y="4581128"/>
                  <a:pt x="1258589" y="4566812"/>
                  <a:pt x="1260180" y="4554085"/>
                </a:cubicBezTo>
                <a:cubicBezTo>
                  <a:pt x="1266542" y="4550904"/>
                  <a:pt x="1274496" y="4549313"/>
                  <a:pt x="1280859" y="4546131"/>
                </a:cubicBezTo>
                <a:cubicBezTo>
                  <a:pt x="1274496" y="4539769"/>
                  <a:pt x="1271314" y="4531815"/>
                  <a:pt x="1274496" y="4522271"/>
                </a:cubicBezTo>
                <a:cubicBezTo>
                  <a:pt x="1271314" y="4523861"/>
                  <a:pt x="1268133" y="4523861"/>
                  <a:pt x="1264951" y="4525452"/>
                </a:cubicBezTo>
                <a:cubicBezTo>
                  <a:pt x="1268133" y="4515907"/>
                  <a:pt x="1271314" y="4507954"/>
                  <a:pt x="1276087" y="4500001"/>
                </a:cubicBezTo>
                <a:cubicBezTo>
                  <a:pt x="1285631" y="4496819"/>
                  <a:pt x="1295175" y="4495228"/>
                  <a:pt x="1304720" y="4492047"/>
                </a:cubicBezTo>
                <a:cubicBezTo>
                  <a:pt x="1306311" y="4496819"/>
                  <a:pt x="1309492" y="4500001"/>
                  <a:pt x="1306311" y="4503182"/>
                </a:cubicBezTo>
                <a:cubicBezTo>
                  <a:pt x="1301538" y="4501591"/>
                  <a:pt x="1293585" y="4496819"/>
                  <a:pt x="1290404" y="4500001"/>
                </a:cubicBezTo>
                <a:cubicBezTo>
                  <a:pt x="1291994" y="4503182"/>
                  <a:pt x="1291994" y="4504773"/>
                  <a:pt x="1293585" y="4506364"/>
                </a:cubicBezTo>
                <a:cubicBezTo>
                  <a:pt x="1301538" y="4504773"/>
                  <a:pt x="1311083" y="4503182"/>
                  <a:pt x="1322218" y="4503182"/>
                </a:cubicBezTo>
                <a:cubicBezTo>
                  <a:pt x="1319037" y="4500001"/>
                  <a:pt x="1314264" y="4495228"/>
                  <a:pt x="1311083" y="4492047"/>
                </a:cubicBezTo>
                <a:cubicBezTo>
                  <a:pt x="1315855" y="4492047"/>
                  <a:pt x="1320628" y="4490456"/>
                  <a:pt x="1325399" y="4488865"/>
                </a:cubicBezTo>
                <a:cubicBezTo>
                  <a:pt x="1326990" y="4490456"/>
                  <a:pt x="1326990" y="4490456"/>
                  <a:pt x="1328581" y="4490456"/>
                </a:cubicBezTo>
                <a:cubicBezTo>
                  <a:pt x="1328581" y="4495228"/>
                  <a:pt x="1328581" y="4500001"/>
                  <a:pt x="1328581" y="4503182"/>
                </a:cubicBezTo>
                <a:cubicBezTo>
                  <a:pt x="1326990" y="4503182"/>
                  <a:pt x="1326990" y="4504773"/>
                  <a:pt x="1325399" y="4504773"/>
                </a:cubicBezTo>
                <a:cubicBezTo>
                  <a:pt x="1339716" y="4504773"/>
                  <a:pt x="1355623" y="4507954"/>
                  <a:pt x="1366758" y="4511135"/>
                </a:cubicBezTo>
                <a:cubicBezTo>
                  <a:pt x="1368349" y="4511135"/>
                  <a:pt x="1369940" y="4509545"/>
                  <a:pt x="1369940" y="4509545"/>
                </a:cubicBezTo>
                <a:cubicBezTo>
                  <a:pt x="1368349" y="4503182"/>
                  <a:pt x="1365168" y="4495228"/>
                  <a:pt x="1363577" y="4488865"/>
                </a:cubicBezTo>
                <a:cubicBezTo>
                  <a:pt x="1361986" y="4488865"/>
                  <a:pt x="1358804" y="4490456"/>
                  <a:pt x="1357214" y="4490456"/>
                </a:cubicBezTo>
                <a:cubicBezTo>
                  <a:pt x="1354032" y="4485684"/>
                  <a:pt x="1355623" y="4477731"/>
                  <a:pt x="1349261" y="4474549"/>
                </a:cubicBezTo>
                <a:cubicBezTo>
                  <a:pt x="1350851" y="4471368"/>
                  <a:pt x="1354032" y="4469777"/>
                  <a:pt x="1355623" y="4466595"/>
                </a:cubicBezTo>
                <a:cubicBezTo>
                  <a:pt x="1354032" y="4463414"/>
                  <a:pt x="1352442" y="4458641"/>
                  <a:pt x="1350851" y="4455460"/>
                </a:cubicBezTo>
                <a:cubicBezTo>
                  <a:pt x="1349261" y="4457050"/>
                  <a:pt x="1349261" y="4457050"/>
                  <a:pt x="1349261" y="4457050"/>
                </a:cubicBezTo>
                <a:cubicBezTo>
                  <a:pt x="1347670" y="4455460"/>
                  <a:pt x="1347670" y="4453869"/>
                  <a:pt x="1347670" y="4452278"/>
                </a:cubicBezTo>
                <a:cubicBezTo>
                  <a:pt x="1347670" y="4449097"/>
                  <a:pt x="1346079" y="4447507"/>
                  <a:pt x="1344488" y="4444325"/>
                </a:cubicBezTo>
                <a:cubicBezTo>
                  <a:pt x="1338125" y="4447507"/>
                  <a:pt x="1330171" y="4450688"/>
                  <a:pt x="1325399" y="4453869"/>
                </a:cubicBezTo>
                <a:cubicBezTo>
                  <a:pt x="1328581" y="4445916"/>
                  <a:pt x="1331762" y="4437962"/>
                  <a:pt x="1336534" y="4431599"/>
                </a:cubicBezTo>
                <a:cubicBezTo>
                  <a:pt x="1334944" y="4430008"/>
                  <a:pt x="1334944" y="4428417"/>
                  <a:pt x="1333353" y="4426826"/>
                </a:cubicBezTo>
                <a:cubicBezTo>
                  <a:pt x="1330171" y="4423645"/>
                  <a:pt x="1325399" y="4420464"/>
                  <a:pt x="1320628" y="4418873"/>
                </a:cubicBezTo>
                <a:cubicBezTo>
                  <a:pt x="1320628" y="4420464"/>
                  <a:pt x="1320628" y="4423645"/>
                  <a:pt x="1320628" y="4425235"/>
                </a:cubicBezTo>
                <a:lnTo>
                  <a:pt x="1305176" y="4430689"/>
                </a:lnTo>
                <a:lnTo>
                  <a:pt x="1314266" y="4428416"/>
                </a:lnTo>
                <a:cubicBezTo>
                  <a:pt x="1312675" y="4433189"/>
                  <a:pt x="1312675" y="4437962"/>
                  <a:pt x="1312675" y="4439553"/>
                </a:cubicBezTo>
                <a:cubicBezTo>
                  <a:pt x="1303129" y="4447507"/>
                  <a:pt x="1293585" y="4457050"/>
                  <a:pt x="1284041" y="4465004"/>
                </a:cubicBezTo>
                <a:cubicBezTo>
                  <a:pt x="1280859" y="4465004"/>
                  <a:pt x="1277677" y="4466595"/>
                  <a:pt x="1274496" y="4466595"/>
                </a:cubicBezTo>
                <a:cubicBezTo>
                  <a:pt x="1274496" y="4457050"/>
                  <a:pt x="1274496" y="4447507"/>
                  <a:pt x="1276087" y="4437962"/>
                </a:cubicBezTo>
                <a:lnTo>
                  <a:pt x="1295585" y="4433087"/>
                </a:lnTo>
                <a:lnTo>
                  <a:pt x="1314264" y="4417282"/>
                </a:lnTo>
                <a:cubicBezTo>
                  <a:pt x="1309492" y="4415692"/>
                  <a:pt x="1301538" y="4414101"/>
                  <a:pt x="1295175" y="4414101"/>
                </a:cubicBezTo>
                <a:cubicBezTo>
                  <a:pt x="1291994" y="4417282"/>
                  <a:pt x="1290404" y="4418873"/>
                  <a:pt x="1287223" y="4422054"/>
                </a:cubicBezTo>
                <a:cubicBezTo>
                  <a:pt x="1287223" y="4418873"/>
                  <a:pt x="1288813" y="4417282"/>
                  <a:pt x="1290404" y="4414101"/>
                </a:cubicBezTo>
                <a:cubicBezTo>
                  <a:pt x="1284040" y="4414101"/>
                  <a:pt x="1277677" y="4414101"/>
                  <a:pt x="1271314" y="4414101"/>
                </a:cubicBezTo>
                <a:cubicBezTo>
                  <a:pt x="1272109" y="4418873"/>
                  <a:pt x="1273304" y="4423645"/>
                  <a:pt x="1273304" y="4427821"/>
                </a:cubicBezTo>
                <a:lnTo>
                  <a:pt x="1268830" y="4436594"/>
                </a:lnTo>
                <a:lnTo>
                  <a:pt x="1263361" y="4437962"/>
                </a:lnTo>
                <a:cubicBezTo>
                  <a:pt x="1256999" y="4433189"/>
                  <a:pt x="1253816" y="4425235"/>
                  <a:pt x="1255407" y="4417282"/>
                </a:cubicBezTo>
                <a:cubicBezTo>
                  <a:pt x="1247453" y="4418873"/>
                  <a:pt x="1241090" y="4418873"/>
                  <a:pt x="1234728" y="4420464"/>
                </a:cubicBezTo>
                <a:cubicBezTo>
                  <a:pt x="1234728" y="4422054"/>
                  <a:pt x="1233137" y="4422054"/>
                  <a:pt x="1233137" y="4423645"/>
                </a:cubicBezTo>
                <a:cubicBezTo>
                  <a:pt x="1231546" y="4422054"/>
                  <a:pt x="1231546" y="4420464"/>
                  <a:pt x="1231546" y="4420464"/>
                </a:cubicBezTo>
                <a:cubicBezTo>
                  <a:pt x="1229956" y="4422054"/>
                  <a:pt x="1226774" y="4422054"/>
                  <a:pt x="1225183" y="4422054"/>
                </a:cubicBezTo>
                <a:cubicBezTo>
                  <a:pt x="1225183" y="4425235"/>
                  <a:pt x="1225183" y="4428417"/>
                  <a:pt x="1226774" y="4431599"/>
                </a:cubicBezTo>
                <a:cubicBezTo>
                  <a:pt x="1226774" y="4431599"/>
                  <a:pt x="1225183" y="4433189"/>
                  <a:pt x="1225183" y="4433189"/>
                </a:cubicBezTo>
                <a:cubicBezTo>
                  <a:pt x="1223592" y="4433189"/>
                  <a:pt x="1223592" y="4433189"/>
                  <a:pt x="1223592" y="4433189"/>
                </a:cubicBezTo>
                <a:cubicBezTo>
                  <a:pt x="1223592" y="4431599"/>
                  <a:pt x="1222002" y="4430008"/>
                  <a:pt x="1222002" y="4428417"/>
                </a:cubicBezTo>
                <a:cubicBezTo>
                  <a:pt x="1222002" y="4425235"/>
                  <a:pt x="1222002" y="4423645"/>
                  <a:pt x="1222002" y="4422054"/>
                </a:cubicBezTo>
                <a:cubicBezTo>
                  <a:pt x="1218820" y="4423645"/>
                  <a:pt x="1215639" y="4423645"/>
                  <a:pt x="1214048" y="4423645"/>
                </a:cubicBezTo>
                <a:cubicBezTo>
                  <a:pt x="1209275" y="4412510"/>
                  <a:pt x="1209275" y="4402965"/>
                  <a:pt x="1212457" y="4395011"/>
                </a:cubicBezTo>
                <a:cubicBezTo>
                  <a:pt x="1210866" y="4393421"/>
                  <a:pt x="1209275" y="4391831"/>
                  <a:pt x="1209275" y="4390240"/>
                </a:cubicBezTo>
                <a:cubicBezTo>
                  <a:pt x="1210866" y="4388649"/>
                  <a:pt x="1214048" y="4388649"/>
                  <a:pt x="1215639" y="4388649"/>
                </a:cubicBezTo>
                <a:cubicBezTo>
                  <a:pt x="1222002" y="4375923"/>
                  <a:pt x="1233137" y="4363197"/>
                  <a:pt x="1239499" y="4350472"/>
                </a:cubicBezTo>
                <a:cubicBezTo>
                  <a:pt x="1239499" y="4348881"/>
                  <a:pt x="1237909" y="4348881"/>
                  <a:pt x="1237909" y="4347290"/>
                </a:cubicBezTo>
                <a:cubicBezTo>
                  <a:pt x="1236318" y="4342518"/>
                  <a:pt x="1234728" y="4337745"/>
                  <a:pt x="1234728" y="4331383"/>
                </a:cubicBezTo>
                <a:cubicBezTo>
                  <a:pt x="1233137" y="4323429"/>
                  <a:pt x="1233137" y="4317066"/>
                  <a:pt x="1231546" y="4310703"/>
                </a:cubicBezTo>
                <a:cubicBezTo>
                  <a:pt x="1231546" y="4309112"/>
                  <a:pt x="1229956" y="4309112"/>
                  <a:pt x="1229956" y="4309112"/>
                </a:cubicBezTo>
                <a:cubicBezTo>
                  <a:pt x="1228365" y="4312294"/>
                  <a:pt x="1226774" y="4317066"/>
                  <a:pt x="1225183" y="4320248"/>
                </a:cubicBezTo>
                <a:cubicBezTo>
                  <a:pt x="1222002" y="4317066"/>
                  <a:pt x="1220411" y="4310703"/>
                  <a:pt x="1218820" y="4304340"/>
                </a:cubicBezTo>
                <a:cubicBezTo>
                  <a:pt x="1217229" y="4302750"/>
                  <a:pt x="1214048" y="4302750"/>
                  <a:pt x="1212457" y="4301159"/>
                </a:cubicBezTo>
                <a:cubicBezTo>
                  <a:pt x="1212457" y="4301159"/>
                  <a:pt x="1210866" y="4302750"/>
                  <a:pt x="1210866" y="4302750"/>
                </a:cubicBezTo>
                <a:cubicBezTo>
                  <a:pt x="1210866" y="4307521"/>
                  <a:pt x="1212457" y="4310703"/>
                  <a:pt x="1212457" y="4315475"/>
                </a:cubicBezTo>
                <a:cubicBezTo>
                  <a:pt x="1214048" y="4323429"/>
                  <a:pt x="1215639" y="4332973"/>
                  <a:pt x="1218820" y="4340927"/>
                </a:cubicBezTo>
                <a:cubicBezTo>
                  <a:pt x="1222002" y="4347290"/>
                  <a:pt x="1226774" y="4355244"/>
                  <a:pt x="1228365" y="4360016"/>
                </a:cubicBezTo>
                <a:cubicBezTo>
                  <a:pt x="1228365" y="4360016"/>
                  <a:pt x="1226774" y="4360016"/>
                  <a:pt x="1226774" y="4360016"/>
                </a:cubicBezTo>
                <a:cubicBezTo>
                  <a:pt x="1218820" y="4358426"/>
                  <a:pt x="1210866" y="4360016"/>
                  <a:pt x="1204504" y="4361607"/>
                </a:cubicBezTo>
                <a:cubicBezTo>
                  <a:pt x="1204504" y="4361607"/>
                  <a:pt x="1202913" y="4361607"/>
                  <a:pt x="1202913" y="4361607"/>
                </a:cubicBezTo>
                <a:cubicBezTo>
                  <a:pt x="1204504" y="4358426"/>
                  <a:pt x="1206094" y="4356835"/>
                  <a:pt x="1202913" y="4355244"/>
                </a:cubicBezTo>
                <a:cubicBezTo>
                  <a:pt x="1199732" y="4356835"/>
                  <a:pt x="1199732" y="4358426"/>
                  <a:pt x="1196550" y="4358426"/>
                </a:cubicBezTo>
                <a:cubicBezTo>
                  <a:pt x="1194959" y="4352063"/>
                  <a:pt x="1199732" y="4348881"/>
                  <a:pt x="1198141" y="4345699"/>
                </a:cubicBezTo>
                <a:cubicBezTo>
                  <a:pt x="1196550" y="4345699"/>
                  <a:pt x="1194959" y="4347290"/>
                  <a:pt x="1193369" y="4348881"/>
                </a:cubicBezTo>
                <a:cubicBezTo>
                  <a:pt x="1191778" y="4347290"/>
                  <a:pt x="1191778" y="4344109"/>
                  <a:pt x="1190187" y="4340927"/>
                </a:cubicBezTo>
                <a:cubicBezTo>
                  <a:pt x="1196550" y="4331383"/>
                  <a:pt x="1202913" y="4323429"/>
                  <a:pt x="1202913" y="4313884"/>
                </a:cubicBezTo>
                <a:cubicBezTo>
                  <a:pt x="1202913" y="4313884"/>
                  <a:pt x="1202913" y="4313884"/>
                  <a:pt x="1202913" y="4312294"/>
                </a:cubicBezTo>
                <a:cubicBezTo>
                  <a:pt x="1196550" y="4318657"/>
                  <a:pt x="1191778" y="4326611"/>
                  <a:pt x="1187005" y="4334564"/>
                </a:cubicBezTo>
                <a:lnTo>
                  <a:pt x="1169509" y="4334187"/>
                </a:lnTo>
                <a:lnTo>
                  <a:pt x="1169509" y="4350471"/>
                </a:lnTo>
                <a:cubicBezTo>
                  <a:pt x="1166327" y="4345698"/>
                  <a:pt x="1163146" y="4340926"/>
                  <a:pt x="1158372" y="4337745"/>
                </a:cubicBezTo>
                <a:cubicBezTo>
                  <a:pt x="1156782" y="4342517"/>
                  <a:pt x="1158372" y="4347289"/>
                  <a:pt x="1159964" y="4352062"/>
                </a:cubicBezTo>
                <a:cubicBezTo>
                  <a:pt x="1153600" y="4348880"/>
                  <a:pt x="1148828" y="4344108"/>
                  <a:pt x="1145647" y="4337745"/>
                </a:cubicBezTo>
                <a:cubicBezTo>
                  <a:pt x="1152009" y="4336154"/>
                  <a:pt x="1156782" y="4334564"/>
                  <a:pt x="1159964" y="4334564"/>
                </a:cubicBezTo>
                <a:lnTo>
                  <a:pt x="1163057" y="4334048"/>
                </a:lnTo>
                <a:lnTo>
                  <a:pt x="1159366" y="4333968"/>
                </a:lnTo>
                <a:cubicBezTo>
                  <a:pt x="1151214" y="4332576"/>
                  <a:pt x="1144056" y="4328997"/>
                  <a:pt x="1137693" y="4320248"/>
                </a:cubicBezTo>
                <a:cubicBezTo>
                  <a:pt x="1140875" y="4310703"/>
                  <a:pt x="1142465" y="4302750"/>
                  <a:pt x="1144056" y="4296387"/>
                </a:cubicBezTo>
                <a:cubicBezTo>
                  <a:pt x="1144056" y="4290023"/>
                  <a:pt x="1142465" y="4285251"/>
                  <a:pt x="1140875" y="4280479"/>
                </a:cubicBezTo>
                <a:cubicBezTo>
                  <a:pt x="1140875" y="4278888"/>
                  <a:pt x="1140875" y="4277297"/>
                  <a:pt x="1144056" y="4277297"/>
                </a:cubicBezTo>
                <a:cubicBezTo>
                  <a:pt x="1144056" y="4274116"/>
                  <a:pt x="1144056" y="4270935"/>
                  <a:pt x="1142465" y="4267753"/>
                </a:cubicBezTo>
                <a:cubicBezTo>
                  <a:pt x="1139284" y="4266163"/>
                  <a:pt x="1136102" y="4264572"/>
                  <a:pt x="1132921" y="4262981"/>
                </a:cubicBezTo>
                <a:cubicBezTo>
                  <a:pt x="1128148" y="4259799"/>
                  <a:pt x="1123376" y="4256618"/>
                  <a:pt x="1118604" y="4253436"/>
                </a:cubicBezTo>
                <a:cubicBezTo>
                  <a:pt x="1115423" y="4251846"/>
                  <a:pt x="1113832" y="4251846"/>
                  <a:pt x="1110651" y="4250255"/>
                </a:cubicBezTo>
                <a:cubicBezTo>
                  <a:pt x="1110651" y="4250255"/>
                  <a:pt x="1112241" y="4248664"/>
                  <a:pt x="1112241" y="4248664"/>
                </a:cubicBezTo>
                <a:cubicBezTo>
                  <a:pt x="1094743" y="4235939"/>
                  <a:pt x="1075654" y="4223213"/>
                  <a:pt x="1058156" y="4208897"/>
                </a:cubicBezTo>
                <a:cubicBezTo>
                  <a:pt x="1051794" y="4224804"/>
                  <a:pt x="1043840" y="4240711"/>
                  <a:pt x="1037476" y="4256618"/>
                </a:cubicBezTo>
                <a:cubicBezTo>
                  <a:pt x="1034295" y="4237530"/>
                  <a:pt x="1034295" y="4216850"/>
                  <a:pt x="1035886" y="4194579"/>
                </a:cubicBezTo>
                <a:cubicBezTo>
                  <a:pt x="1035886" y="4194579"/>
                  <a:pt x="1037476" y="4192989"/>
                  <a:pt x="1037476" y="4192989"/>
                </a:cubicBezTo>
                <a:cubicBezTo>
                  <a:pt x="1019979" y="4177082"/>
                  <a:pt x="1002480" y="4161174"/>
                  <a:pt x="986573" y="4142085"/>
                </a:cubicBezTo>
                <a:cubicBezTo>
                  <a:pt x="948395" y="4095954"/>
                  <a:pt x="926125" y="4041869"/>
                  <a:pt x="891129" y="3994147"/>
                </a:cubicBezTo>
                <a:cubicBezTo>
                  <a:pt x="865677" y="3957560"/>
                  <a:pt x="816365" y="3927336"/>
                  <a:pt x="821136" y="3876433"/>
                </a:cubicBezTo>
                <a:cubicBezTo>
                  <a:pt x="825909" y="3822348"/>
                  <a:pt x="905446" y="3777807"/>
                  <a:pt x="954758" y="3798487"/>
                </a:cubicBezTo>
                <a:cubicBezTo>
                  <a:pt x="989755" y="3812803"/>
                  <a:pt x="1043840" y="3776216"/>
                  <a:pt x="1082017" y="3780989"/>
                </a:cubicBezTo>
                <a:cubicBezTo>
                  <a:pt x="1064519" y="3808031"/>
                  <a:pt x="1024751" y="3819166"/>
                  <a:pt x="996118" y="3831892"/>
                </a:cubicBezTo>
                <a:cubicBezTo>
                  <a:pt x="975438" y="3841437"/>
                  <a:pt x="954758" y="3863706"/>
                  <a:pt x="978619" y="3884387"/>
                </a:cubicBezTo>
                <a:cubicBezTo>
                  <a:pt x="997708" y="3900294"/>
                  <a:pt x="1037476" y="3890749"/>
                  <a:pt x="1067700" y="3893930"/>
                </a:cubicBezTo>
                <a:cubicBezTo>
                  <a:pt x="1085199" y="3831892"/>
                  <a:pt x="1088380" y="3765082"/>
                  <a:pt x="1102697" y="3699861"/>
                </a:cubicBezTo>
                <a:cubicBezTo>
                  <a:pt x="1086789" y="3671228"/>
                  <a:pt x="1069291" y="3642595"/>
                  <a:pt x="1072473" y="3610780"/>
                </a:cubicBezTo>
                <a:cubicBezTo>
                  <a:pt x="1074063" y="3613962"/>
                  <a:pt x="1082017" y="3617143"/>
                  <a:pt x="1085199" y="3620325"/>
                </a:cubicBezTo>
                <a:cubicBezTo>
                  <a:pt x="1085199" y="3618734"/>
                  <a:pt x="1085199" y="3615552"/>
                  <a:pt x="1085199" y="3613962"/>
                </a:cubicBezTo>
                <a:cubicBezTo>
                  <a:pt x="1056566" y="3567830"/>
                  <a:pt x="1086789" y="3520108"/>
                  <a:pt x="1107469" y="3467614"/>
                </a:cubicBezTo>
                <a:cubicBezTo>
                  <a:pt x="1105878" y="3467614"/>
                  <a:pt x="1104287" y="3469205"/>
                  <a:pt x="1102697" y="3469205"/>
                </a:cubicBezTo>
                <a:cubicBezTo>
                  <a:pt x="1107469" y="3456479"/>
                  <a:pt x="1109060" y="3445343"/>
                  <a:pt x="1104287" y="3437390"/>
                </a:cubicBezTo>
                <a:cubicBezTo>
                  <a:pt x="1089970" y="3454888"/>
                  <a:pt x="1101106" y="3486703"/>
                  <a:pt x="1083608" y="3499429"/>
                </a:cubicBezTo>
                <a:cubicBezTo>
                  <a:pt x="1078836" y="3485112"/>
                  <a:pt x="1080427" y="3467614"/>
                  <a:pt x="1085199" y="3448525"/>
                </a:cubicBezTo>
                <a:cubicBezTo>
                  <a:pt x="1066110" y="3461251"/>
                  <a:pt x="1040658" y="3469205"/>
                  <a:pt x="1019979" y="3477158"/>
                </a:cubicBezTo>
                <a:cubicBezTo>
                  <a:pt x="930898" y="3513745"/>
                  <a:pt x="779778" y="3599645"/>
                  <a:pt x="692287" y="3571012"/>
                </a:cubicBezTo>
                <a:cubicBezTo>
                  <a:pt x="670017" y="3564648"/>
                  <a:pt x="660473" y="3534424"/>
                  <a:pt x="655700" y="3528062"/>
                </a:cubicBezTo>
                <a:cubicBezTo>
                  <a:pt x="639794" y="3504201"/>
                  <a:pt x="615932" y="3486703"/>
                  <a:pt x="622295" y="3453297"/>
                </a:cubicBezTo>
                <a:cubicBezTo>
                  <a:pt x="625476" y="3437390"/>
                  <a:pt x="655700" y="3405576"/>
                  <a:pt x="630249" y="3388077"/>
                </a:cubicBezTo>
                <a:cubicBezTo>
                  <a:pt x="577755" y="3391259"/>
                  <a:pt x="528442" y="3373761"/>
                  <a:pt x="509353" y="3335582"/>
                </a:cubicBezTo>
                <a:cubicBezTo>
                  <a:pt x="514125" y="3061977"/>
                  <a:pt x="679561" y="2832910"/>
                  <a:pt x="829090" y="2699289"/>
                </a:cubicBezTo>
                <a:close/>
                <a:moveTo>
                  <a:pt x="2766604" y="2697698"/>
                </a:moveTo>
                <a:cubicBezTo>
                  <a:pt x="2788875" y="2702470"/>
                  <a:pt x="2807963" y="2726332"/>
                  <a:pt x="2803191" y="2742239"/>
                </a:cubicBezTo>
                <a:cubicBezTo>
                  <a:pt x="2788875" y="2727923"/>
                  <a:pt x="2779329" y="2712015"/>
                  <a:pt x="2766604" y="2697698"/>
                </a:cubicBezTo>
                <a:close/>
                <a:moveTo>
                  <a:pt x="2677523" y="2694516"/>
                </a:moveTo>
                <a:cubicBezTo>
                  <a:pt x="2679113" y="2705652"/>
                  <a:pt x="2699793" y="2718378"/>
                  <a:pt x="2691839" y="2723150"/>
                </a:cubicBezTo>
                <a:cubicBezTo>
                  <a:pt x="2688658" y="2713605"/>
                  <a:pt x="2669569" y="2700880"/>
                  <a:pt x="2677523" y="2694516"/>
                </a:cubicBezTo>
                <a:close/>
                <a:moveTo>
                  <a:pt x="2647300" y="2673837"/>
                </a:moveTo>
                <a:cubicBezTo>
                  <a:pt x="2588442" y="2821775"/>
                  <a:pt x="2475499" y="2882223"/>
                  <a:pt x="2373693" y="2961760"/>
                </a:cubicBezTo>
                <a:cubicBezTo>
                  <a:pt x="2481862" y="2918810"/>
                  <a:pt x="2564580" y="2836091"/>
                  <a:pt x="2637756" y="2739057"/>
                </a:cubicBezTo>
                <a:cubicBezTo>
                  <a:pt x="2642528" y="2774053"/>
                  <a:pt x="2613894" y="2801095"/>
                  <a:pt x="2593216" y="2824957"/>
                </a:cubicBezTo>
                <a:cubicBezTo>
                  <a:pt x="2537538" y="2885405"/>
                  <a:pt x="2464365" y="2928354"/>
                  <a:pt x="2423006" y="2979257"/>
                </a:cubicBezTo>
                <a:cubicBezTo>
                  <a:pt x="2491407" y="2976076"/>
                  <a:pt x="2527994" y="2891767"/>
                  <a:pt x="2577308" y="2861543"/>
                </a:cubicBezTo>
                <a:cubicBezTo>
                  <a:pt x="2529585" y="2918810"/>
                  <a:pt x="2483453" y="2977667"/>
                  <a:pt x="2411871" y="2995165"/>
                </a:cubicBezTo>
                <a:cubicBezTo>
                  <a:pt x="2383237" y="2984030"/>
                  <a:pt x="2362557" y="2968123"/>
                  <a:pt x="2359376" y="2941080"/>
                </a:cubicBezTo>
                <a:cubicBezTo>
                  <a:pt x="2473910" y="2879042"/>
                  <a:pt x="2567762" y="2786779"/>
                  <a:pt x="2647300" y="2673837"/>
                </a:cubicBezTo>
                <a:close/>
                <a:moveTo>
                  <a:pt x="1675361" y="2648385"/>
                </a:moveTo>
                <a:cubicBezTo>
                  <a:pt x="1676951" y="2656338"/>
                  <a:pt x="1659454" y="2665882"/>
                  <a:pt x="1662634" y="2677018"/>
                </a:cubicBezTo>
                <a:cubicBezTo>
                  <a:pt x="1678542" y="2673836"/>
                  <a:pt x="1691268" y="2664292"/>
                  <a:pt x="1707175" y="2661110"/>
                </a:cubicBezTo>
                <a:cubicBezTo>
                  <a:pt x="1705585" y="2665882"/>
                  <a:pt x="1696040" y="2670655"/>
                  <a:pt x="1699222" y="2673836"/>
                </a:cubicBezTo>
                <a:cubicBezTo>
                  <a:pt x="1708766" y="2672246"/>
                  <a:pt x="1724673" y="2665882"/>
                  <a:pt x="1731037" y="2669064"/>
                </a:cubicBezTo>
                <a:cubicBezTo>
                  <a:pt x="1696040" y="2681790"/>
                  <a:pt x="1661044" y="2696107"/>
                  <a:pt x="1630820" y="2718376"/>
                </a:cubicBezTo>
                <a:cubicBezTo>
                  <a:pt x="1630820" y="2707242"/>
                  <a:pt x="1627639" y="2697697"/>
                  <a:pt x="1621275" y="2691334"/>
                </a:cubicBezTo>
                <a:cubicBezTo>
                  <a:pt x="1641955" y="2681790"/>
                  <a:pt x="1657862" y="2664292"/>
                  <a:pt x="1675361" y="2648385"/>
                </a:cubicBezTo>
                <a:close/>
                <a:moveTo>
                  <a:pt x="2717291" y="2646795"/>
                </a:moveTo>
                <a:cubicBezTo>
                  <a:pt x="2722064" y="2648386"/>
                  <a:pt x="2726836" y="2648386"/>
                  <a:pt x="2731609" y="2649976"/>
                </a:cubicBezTo>
                <a:cubicBezTo>
                  <a:pt x="2726836" y="2657930"/>
                  <a:pt x="2736380" y="2657930"/>
                  <a:pt x="2734790" y="2664294"/>
                </a:cubicBezTo>
                <a:cubicBezTo>
                  <a:pt x="2723654" y="2661112"/>
                  <a:pt x="2723654" y="2653158"/>
                  <a:pt x="2717291" y="2646795"/>
                </a:cubicBezTo>
                <a:close/>
                <a:moveTo>
                  <a:pt x="1560828" y="2646795"/>
                </a:moveTo>
                <a:cubicBezTo>
                  <a:pt x="1570373" y="2656340"/>
                  <a:pt x="1576737" y="2665884"/>
                  <a:pt x="1581509" y="2678610"/>
                </a:cubicBezTo>
                <a:cubicBezTo>
                  <a:pt x="1562418" y="2673838"/>
                  <a:pt x="1544921" y="2667475"/>
                  <a:pt x="1529013" y="2659521"/>
                </a:cubicBezTo>
                <a:cubicBezTo>
                  <a:pt x="1541739" y="2664294"/>
                  <a:pt x="1551285" y="2656340"/>
                  <a:pt x="1560828" y="2646795"/>
                </a:cubicBezTo>
                <a:close/>
                <a:moveTo>
                  <a:pt x="1783532" y="2643613"/>
                </a:moveTo>
                <a:cubicBezTo>
                  <a:pt x="1783532" y="2648385"/>
                  <a:pt x="1773986" y="2649976"/>
                  <a:pt x="1778759" y="2653157"/>
                </a:cubicBezTo>
                <a:cubicBezTo>
                  <a:pt x="1785122" y="2651567"/>
                  <a:pt x="1791485" y="2653157"/>
                  <a:pt x="1796256" y="2649976"/>
                </a:cubicBezTo>
                <a:cubicBezTo>
                  <a:pt x="1791485" y="2657929"/>
                  <a:pt x="1781940" y="2656338"/>
                  <a:pt x="1778759" y="2665883"/>
                </a:cubicBezTo>
                <a:cubicBezTo>
                  <a:pt x="1797847" y="2673837"/>
                  <a:pt x="1804210" y="2662701"/>
                  <a:pt x="1820118" y="2664292"/>
                </a:cubicBezTo>
                <a:cubicBezTo>
                  <a:pt x="1824890" y="2662701"/>
                  <a:pt x="1807392" y="2669064"/>
                  <a:pt x="1801029" y="2667474"/>
                </a:cubicBezTo>
                <a:cubicBezTo>
                  <a:pt x="1766033" y="2681791"/>
                  <a:pt x="1726265" y="2689744"/>
                  <a:pt x="1697630" y="2715195"/>
                </a:cubicBezTo>
                <a:cubicBezTo>
                  <a:pt x="1697630" y="2718377"/>
                  <a:pt x="1705585" y="2718377"/>
                  <a:pt x="1700813" y="2723149"/>
                </a:cubicBezTo>
                <a:cubicBezTo>
                  <a:pt x="1675360" y="2716786"/>
                  <a:pt x="1664226" y="2740648"/>
                  <a:pt x="1648318" y="2753373"/>
                </a:cubicBezTo>
                <a:cubicBezTo>
                  <a:pt x="1672179" y="2774053"/>
                  <a:pt x="1699221" y="2753373"/>
                  <a:pt x="1716719" y="2743829"/>
                </a:cubicBezTo>
                <a:cubicBezTo>
                  <a:pt x="1716719" y="2748601"/>
                  <a:pt x="1708766" y="2754964"/>
                  <a:pt x="1713537" y="2756555"/>
                </a:cubicBezTo>
                <a:cubicBezTo>
                  <a:pt x="1721491" y="2758146"/>
                  <a:pt x="1732627" y="2753373"/>
                  <a:pt x="1735809" y="2756555"/>
                </a:cubicBezTo>
                <a:cubicBezTo>
                  <a:pt x="1723082" y="2762918"/>
                  <a:pt x="1708766" y="2762918"/>
                  <a:pt x="1700813" y="2775643"/>
                </a:cubicBezTo>
                <a:cubicBezTo>
                  <a:pt x="1707175" y="2785188"/>
                  <a:pt x="1719901" y="2791551"/>
                  <a:pt x="1732627" y="2797914"/>
                </a:cubicBezTo>
                <a:cubicBezTo>
                  <a:pt x="1683313" y="2794733"/>
                  <a:pt x="1646727" y="2817003"/>
                  <a:pt x="1608549" y="2837682"/>
                </a:cubicBezTo>
                <a:cubicBezTo>
                  <a:pt x="1626047" y="2847227"/>
                  <a:pt x="1641955" y="2836091"/>
                  <a:pt x="1656271" y="2848817"/>
                </a:cubicBezTo>
                <a:cubicBezTo>
                  <a:pt x="1618094" y="2853590"/>
                  <a:pt x="1579916" y="2850408"/>
                  <a:pt x="1549692" y="2861543"/>
                </a:cubicBezTo>
                <a:cubicBezTo>
                  <a:pt x="1535376" y="2845636"/>
                  <a:pt x="1514696" y="2834500"/>
                  <a:pt x="1517877" y="2817003"/>
                </a:cubicBezTo>
                <a:cubicBezTo>
                  <a:pt x="1524241" y="2774053"/>
                  <a:pt x="1594233" y="2789960"/>
                  <a:pt x="1613322" y="2770872"/>
                </a:cubicBezTo>
                <a:cubicBezTo>
                  <a:pt x="1616503" y="2766100"/>
                  <a:pt x="1619685" y="2762918"/>
                  <a:pt x="1621275" y="2758146"/>
                </a:cubicBezTo>
                <a:cubicBezTo>
                  <a:pt x="1635592" y="2753373"/>
                  <a:pt x="1649909" y="2747010"/>
                  <a:pt x="1661043" y="2735876"/>
                </a:cubicBezTo>
                <a:cubicBezTo>
                  <a:pt x="1665816" y="2731103"/>
                  <a:pt x="1667407" y="2723149"/>
                  <a:pt x="1672179" y="2718377"/>
                </a:cubicBezTo>
                <a:cubicBezTo>
                  <a:pt x="1696040" y="2694516"/>
                  <a:pt x="1738990" y="2694516"/>
                  <a:pt x="1753307" y="2659520"/>
                </a:cubicBezTo>
                <a:cubicBezTo>
                  <a:pt x="1753307" y="2662701"/>
                  <a:pt x="1756489" y="2664292"/>
                  <a:pt x="1759670" y="2665883"/>
                </a:cubicBezTo>
                <a:cubicBezTo>
                  <a:pt x="1772395" y="2665883"/>
                  <a:pt x="1772395" y="2646794"/>
                  <a:pt x="1783532" y="2643613"/>
                </a:cubicBezTo>
                <a:close/>
                <a:moveTo>
                  <a:pt x="2679113" y="2637257"/>
                </a:moveTo>
                <a:cubicBezTo>
                  <a:pt x="2733198" y="2699289"/>
                  <a:pt x="2780920" y="2780417"/>
                  <a:pt x="2835005" y="2832911"/>
                </a:cubicBezTo>
                <a:cubicBezTo>
                  <a:pt x="2836595" y="2826548"/>
                  <a:pt x="2819098" y="2815413"/>
                  <a:pt x="2828642" y="2813822"/>
                </a:cubicBezTo>
                <a:cubicBezTo>
                  <a:pt x="2854094" y="2855181"/>
                  <a:pt x="2893862" y="2885405"/>
                  <a:pt x="2909770" y="2931537"/>
                </a:cubicBezTo>
                <a:cubicBezTo>
                  <a:pt x="2897043" y="2925174"/>
                  <a:pt x="2890680" y="2915629"/>
                  <a:pt x="2874773" y="2912448"/>
                </a:cubicBezTo>
                <a:cubicBezTo>
                  <a:pt x="2815916" y="2823367"/>
                  <a:pt x="2755468" y="2747011"/>
                  <a:pt x="2677523" y="2665883"/>
                </a:cubicBezTo>
                <a:cubicBezTo>
                  <a:pt x="2680704" y="2657929"/>
                  <a:pt x="2671160" y="2642022"/>
                  <a:pt x="2679113" y="2637257"/>
                </a:cubicBezTo>
                <a:close/>
                <a:moveTo>
                  <a:pt x="4393924" y="2637256"/>
                </a:moveTo>
                <a:cubicBezTo>
                  <a:pt x="4401878" y="2635666"/>
                  <a:pt x="4405060" y="2648386"/>
                  <a:pt x="4397106" y="2648386"/>
                </a:cubicBezTo>
                <a:cubicBezTo>
                  <a:pt x="4395515" y="2646795"/>
                  <a:pt x="4393924" y="2646795"/>
                  <a:pt x="4392334" y="2646795"/>
                </a:cubicBezTo>
                <a:cubicBezTo>
                  <a:pt x="4381198" y="2646795"/>
                  <a:pt x="4387562" y="2637256"/>
                  <a:pt x="4393924" y="2637256"/>
                </a:cubicBezTo>
                <a:close/>
                <a:moveTo>
                  <a:pt x="3329723" y="2630893"/>
                </a:moveTo>
                <a:cubicBezTo>
                  <a:pt x="3332905" y="2645205"/>
                  <a:pt x="3348814" y="2653158"/>
                  <a:pt x="3345632" y="2670657"/>
                </a:cubicBezTo>
                <a:cubicBezTo>
                  <a:pt x="3323361" y="2680200"/>
                  <a:pt x="3320180" y="2640432"/>
                  <a:pt x="3329723" y="2630893"/>
                </a:cubicBezTo>
                <a:close/>
                <a:moveTo>
                  <a:pt x="4156507" y="2623137"/>
                </a:moveTo>
                <a:cubicBezTo>
                  <a:pt x="4166052" y="2624131"/>
                  <a:pt x="4176789" y="2626915"/>
                  <a:pt x="4183947" y="2629302"/>
                </a:cubicBezTo>
                <a:cubicBezTo>
                  <a:pt x="4231669" y="2646795"/>
                  <a:pt x="4274619" y="2665883"/>
                  <a:pt x="4323932" y="2677018"/>
                </a:cubicBezTo>
                <a:cubicBezTo>
                  <a:pt x="4327113" y="2677018"/>
                  <a:pt x="4333476" y="2683381"/>
                  <a:pt x="4328704" y="2692925"/>
                </a:cubicBezTo>
                <a:cubicBezTo>
                  <a:pt x="4269847" y="2670655"/>
                  <a:pt x="4206217" y="2656338"/>
                  <a:pt x="4148951" y="2640432"/>
                </a:cubicBezTo>
                <a:cubicBezTo>
                  <a:pt x="4140997" y="2637257"/>
                  <a:pt x="4139406" y="2629302"/>
                  <a:pt x="4136225" y="2627711"/>
                </a:cubicBezTo>
                <a:cubicBezTo>
                  <a:pt x="4138611" y="2622938"/>
                  <a:pt x="4146962" y="2622143"/>
                  <a:pt x="4156507" y="2623137"/>
                </a:cubicBezTo>
                <a:close/>
                <a:moveTo>
                  <a:pt x="2644118" y="2622938"/>
                </a:moveTo>
                <a:cubicBezTo>
                  <a:pt x="2645709" y="2630893"/>
                  <a:pt x="2644118" y="2640432"/>
                  <a:pt x="2645709" y="2648386"/>
                </a:cubicBezTo>
                <a:cubicBezTo>
                  <a:pt x="2566171" y="2766100"/>
                  <a:pt x="2475499" y="2867907"/>
                  <a:pt x="2359376" y="2926765"/>
                </a:cubicBezTo>
                <a:cubicBezTo>
                  <a:pt x="2381647" y="2874271"/>
                  <a:pt x="2437322" y="2844046"/>
                  <a:pt x="2478682" y="2804278"/>
                </a:cubicBezTo>
                <a:cubicBezTo>
                  <a:pt x="2532766" y="2751784"/>
                  <a:pt x="2593216" y="2697698"/>
                  <a:pt x="2634575" y="2629302"/>
                </a:cubicBezTo>
                <a:cubicBezTo>
                  <a:pt x="2636165" y="2626120"/>
                  <a:pt x="2636165" y="2624529"/>
                  <a:pt x="2639347" y="2626120"/>
                </a:cubicBezTo>
                <a:cubicBezTo>
                  <a:pt x="2640937" y="2622938"/>
                  <a:pt x="2640937" y="2621348"/>
                  <a:pt x="2644118" y="2622938"/>
                </a:cubicBezTo>
                <a:close/>
                <a:moveTo>
                  <a:pt x="1007253" y="2618162"/>
                </a:moveTo>
                <a:cubicBezTo>
                  <a:pt x="991345" y="2656339"/>
                  <a:pt x="962712" y="2697698"/>
                  <a:pt x="948395" y="2726331"/>
                </a:cubicBezTo>
                <a:cubicBezTo>
                  <a:pt x="989754" y="2718377"/>
                  <a:pt x="999299" y="2654748"/>
                  <a:pt x="1007253" y="2618162"/>
                </a:cubicBezTo>
                <a:close/>
                <a:moveTo>
                  <a:pt x="2679113" y="2592713"/>
                </a:moveTo>
                <a:cubicBezTo>
                  <a:pt x="2680705" y="2602257"/>
                  <a:pt x="2690251" y="2607030"/>
                  <a:pt x="2691840" y="2616576"/>
                </a:cubicBezTo>
                <a:cubicBezTo>
                  <a:pt x="2679113" y="2614986"/>
                  <a:pt x="2672751" y="2595894"/>
                  <a:pt x="2679113" y="2592713"/>
                </a:cubicBezTo>
                <a:close/>
                <a:moveTo>
                  <a:pt x="3334496" y="2591120"/>
                </a:moveTo>
                <a:cubicBezTo>
                  <a:pt x="3316998" y="2618166"/>
                  <a:pt x="3299499" y="2630893"/>
                  <a:pt x="3296318" y="2651567"/>
                </a:cubicBezTo>
                <a:cubicBezTo>
                  <a:pt x="3291546" y="2697698"/>
                  <a:pt x="3316998" y="2699289"/>
                  <a:pt x="3344040" y="2689744"/>
                </a:cubicBezTo>
                <a:lnTo>
                  <a:pt x="3361538" y="2656338"/>
                </a:lnTo>
                <a:cubicBezTo>
                  <a:pt x="3351994" y="2648386"/>
                  <a:pt x="3350403" y="2635665"/>
                  <a:pt x="3345631" y="2624529"/>
                </a:cubicBezTo>
                <a:cubicBezTo>
                  <a:pt x="3347222" y="2621348"/>
                  <a:pt x="3350403" y="2621348"/>
                  <a:pt x="3353585" y="2619756"/>
                </a:cubicBezTo>
                <a:cubicBezTo>
                  <a:pt x="3356766" y="2629302"/>
                  <a:pt x="3363129" y="2637257"/>
                  <a:pt x="3367901" y="2646795"/>
                </a:cubicBezTo>
                <a:lnTo>
                  <a:pt x="3369492" y="2643613"/>
                </a:lnTo>
                <a:cubicBezTo>
                  <a:pt x="3372673" y="2637257"/>
                  <a:pt x="3367901" y="2626119"/>
                  <a:pt x="3366310" y="2624529"/>
                </a:cubicBezTo>
                <a:cubicBezTo>
                  <a:pt x="3355176" y="2613394"/>
                  <a:pt x="3345631" y="2602257"/>
                  <a:pt x="3334496" y="2591120"/>
                </a:cubicBezTo>
                <a:close/>
                <a:moveTo>
                  <a:pt x="1688086" y="2591119"/>
                </a:moveTo>
                <a:cubicBezTo>
                  <a:pt x="1684904" y="2597483"/>
                  <a:pt x="1681723" y="2603846"/>
                  <a:pt x="1684904" y="2608619"/>
                </a:cubicBezTo>
                <a:cubicBezTo>
                  <a:pt x="1692858" y="2607028"/>
                  <a:pt x="1696040" y="2599073"/>
                  <a:pt x="1703994" y="2599073"/>
                </a:cubicBezTo>
                <a:cubicBezTo>
                  <a:pt x="1696040" y="2610210"/>
                  <a:pt x="1673770" y="2616574"/>
                  <a:pt x="1683313" y="2630891"/>
                </a:cubicBezTo>
                <a:cubicBezTo>
                  <a:pt x="1700813" y="2629300"/>
                  <a:pt x="1726265" y="2626118"/>
                  <a:pt x="1738990" y="2624528"/>
                </a:cubicBezTo>
                <a:cubicBezTo>
                  <a:pt x="1699221" y="2645204"/>
                  <a:pt x="1640364" y="2627709"/>
                  <a:pt x="1602187" y="2651567"/>
                </a:cubicBezTo>
                <a:cubicBezTo>
                  <a:pt x="1603777" y="2656338"/>
                  <a:pt x="1600595" y="2662701"/>
                  <a:pt x="1603777" y="2667474"/>
                </a:cubicBezTo>
                <a:cubicBezTo>
                  <a:pt x="1613322" y="2664292"/>
                  <a:pt x="1627639" y="2667474"/>
                  <a:pt x="1638774" y="2664292"/>
                </a:cubicBezTo>
                <a:cubicBezTo>
                  <a:pt x="1635592" y="2672246"/>
                  <a:pt x="1619685" y="2673837"/>
                  <a:pt x="1610140" y="2681791"/>
                </a:cubicBezTo>
                <a:cubicBezTo>
                  <a:pt x="1606959" y="2680200"/>
                  <a:pt x="1602187" y="2678609"/>
                  <a:pt x="1597415" y="2678609"/>
                </a:cubicBezTo>
                <a:cubicBezTo>
                  <a:pt x="1594233" y="2664292"/>
                  <a:pt x="1587870" y="2653157"/>
                  <a:pt x="1581507" y="2643613"/>
                </a:cubicBezTo>
                <a:cubicBezTo>
                  <a:pt x="1602187" y="2634072"/>
                  <a:pt x="1619685" y="2619754"/>
                  <a:pt x="1638774" y="2605437"/>
                </a:cubicBezTo>
                <a:cubicBezTo>
                  <a:pt x="1634001" y="2614982"/>
                  <a:pt x="1619685" y="2626118"/>
                  <a:pt x="1618094" y="2632482"/>
                </a:cubicBezTo>
                <a:cubicBezTo>
                  <a:pt x="1654680" y="2643613"/>
                  <a:pt x="1670588" y="2616574"/>
                  <a:pt x="1688086" y="2591119"/>
                </a:cubicBezTo>
                <a:close/>
                <a:moveTo>
                  <a:pt x="1050203" y="2573621"/>
                </a:moveTo>
                <a:cubicBezTo>
                  <a:pt x="1013615" y="2624524"/>
                  <a:pt x="1010433" y="2729513"/>
                  <a:pt x="956349" y="2751783"/>
                </a:cubicBezTo>
                <a:cubicBezTo>
                  <a:pt x="1019978" y="2764509"/>
                  <a:pt x="1032704" y="2632478"/>
                  <a:pt x="1050203" y="2573621"/>
                </a:cubicBezTo>
                <a:close/>
                <a:moveTo>
                  <a:pt x="4339839" y="2554536"/>
                </a:moveTo>
                <a:cubicBezTo>
                  <a:pt x="4374836" y="2559310"/>
                  <a:pt x="4405060" y="2573624"/>
                  <a:pt x="4438465" y="2589530"/>
                </a:cubicBezTo>
                <a:cubicBezTo>
                  <a:pt x="4432102" y="2608622"/>
                  <a:pt x="4408241" y="2584758"/>
                  <a:pt x="4400287" y="2583168"/>
                </a:cubicBezTo>
                <a:cubicBezTo>
                  <a:pt x="4374836" y="2579986"/>
                  <a:pt x="4354156" y="2572033"/>
                  <a:pt x="4335067" y="2564080"/>
                </a:cubicBezTo>
                <a:cubicBezTo>
                  <a:pt x="4323932" y="2559310"/>
                  <a:pt x="4335067" y="2552947"/>
                  <a:pt x="4339839" y="2554536"/>
                </a:cubicBezTo>
                <a:close/>
                <a:moveTo>
                  <a:pt x="2640937" y="2544994"/>
                </a:moveTo>
                <a:cubicBezTo>
                  <a:pt x="2639347" y="2554536"/>
                  <a:pt x="2640937" y="2564080"/>
                  <a:pt x="2640937" y="2573622"/>
                </a:cubicBezTo>
                <a:cubicBezTo>
                  <a:pt x="2586852" y="2667474"/>
                  <a:pt x="2516859" y="2751782"/>
                  <a:pt x="2448458" y="2815412"/>
                </a:cubicBezTo>
                <a:cubicBezTo>
                  <a:pt x="2426187" y="2836091"/>
                  <a:pt x="2399145" y="2872678"/>
                  <a:pt x="2367330" y="2864724"/>
                </a:cubicBezTo>
                <a:cubicBezTo>
                  <a:pt x="2456411" y="2774053"/>
                  <a:pt x="2570945" y="2681790"/>
                  <a:pt x="2640937" y="2544994"/>
                </a:cubicBezTo>
                <a:close/>
                <a:moveTo>
                  <a:pt x="1439932" y="2544989"/>
                </a:moveTo>
                <a:cubicBezTo>
                  <a:pt x="1459021" y="2568849"/>
                  <a:pt x="1479700" y="2591119"/>
                  <a:pt x="1501971" y="2611799"/>
                </a:cubicBezTo>
                <a:cubicBezTo>
                  <a:pt x="1497199" y="2619752"/>
                  <a:pt x="1490835" y="2627706"/>
                  <a:pt x="1487654" y="2634070"/>
                </a:cubicBezTo>
                <a:cubicBezTo>
                  <a:pt x="1466975" y="2618162"/>
                  <a:pt x="1451067" y="2599072"/>
                  <a:pt x="1435160" y="2578392"/>
                </a:cubicBezTo>
                <a:cubicBezTo>
                  <a:pt x="1436751" y="2567258"/>
                  <a:pt x="1438341" y="2554532"/>
                  <a:pt x="1439932" y="2544989"/>
                </a:cubicBezTo>
                <a:close/>
                <a:moveTo>
                  <a:pt x="3259731" y="2543402"/>
                </a:moveTo>
                <a:cubicBezTo>
                  <a:pt x="3266094" y="2544994"/>
                  <a:pt x="3270866" y="2544994"/>
                  <a:pt x="3274047" y="2543402"/>
                </a:cubicBezTo>
                <a:cubicBezTo>
                  <a:pt x="3270866" y="2557719"/>
                  <a:pt x="3283593" y="2564080"/>
                  <a:pt x="3285183" y="2573624"/>
                </a:cubicBezTo>
                <a:cubicBezTo>
                  <a:pt x="3278819" y="2573624"/>
                  <a:pt x="3274047" y="2572033"/>
                  <a:pt x="3267685" y="2570443"/>
                </a:cubicBezTo>
                <a:cubicBezTo>
                  <a:pt x="3274047" y="2556127"/>
                  <a:pt x="3259731" y="2554537"/>
                  <a:pt x="3259731" y="2543402"/>
                </a:cubicBezTo>
                <a:close/>
                <a:moveTo>
                  <a:pt x="2680705" y="2538631"/>
                </a:moveTo>
                <a:cubicBezTo>
                  <a:pt x="2715701" y="2600668"/>
                  <a:pt x="2675932" y="2573624"/>
                  <a:pt x="2680705" y="2538631"/>
                </a:cubicBezTo>
                <a:close/>
                <a:moveTo>
                  <a:pt x="3307453" y="2532270"/>
                </a:moveTo>
                <a:cubicBezTo>
                  <a:pt x="3301090" y="2530679"/>
                  <a:pt x="3293137" y="2537041"/>
                  <a:pt x="3301090" y="2540223"/>
                </a:cubicBezTo>
                <a:cubicBezTo>
                  <a:pt x="3302681" y="2538630"/>
                  <a:pt x="3304271" y="2538630"/>
                  <a:pt x="3307453" y="2540223"/>
                </a:cubicBezTo>
                <a:cubicBezTo>
                  <a:pt x="3307453" y="2543402"/>
                  <a:pt x="3307453" y="2544994"/>
                  <a:pt x="3309044" y="2546584"/>
                </a:cubicBezTo>
                <a:cubicBezTo>
                  <a:pt x="3329723" y="2568852"/>
                  <a:pt x="3350403" y="2584758"/>
                  <a:pt x="3363129" y="2608622"/>
                </a:cubicBezTo>
                <a:cubicBezTo>
                  <a:pt x="3363129" y="2607030"/>
                  <a:pt x="3364719" y="2603848"/>
                  <a:pt x="3364719" y="2602257"/>
                </a:cubicBezTo>
                <a:cubicBezTo>
                  <a:pt x="3364719" y="2599075"/>
                  <a:pt x="3363129" y="2597484"/>
                  <a:pt x="3363129" y="2594303"/>
                </a:cubicBezTo>
                <a:cubicBezTo>
                  <a:pt x="3363129" y="2594303"/>
                  <a:pt x="3364719" y="2595893"/>
                  <a:pt x="3364719" y="2595893"/>
                </a:cubicBezTo>
                <a:cubicBezTo>
                  <a:pt x="3364719" y="2594303"/>
                  <a:pt x="3364719" y="2592711"/>
                  <a:pt x="3364719" y="2592711"/>
                </a:cubicBezTo>
                <a:cubicBezTo>
                  <a:pt x="3348813" y="2565671"/>
                  <a:pt x="3331314" y="2543402"/>
                  <a:pt x="3307453" y="2532270"/>
                </a:cubicBezTo>
                <a:close/>
                <a:moveTo>
                  <a:pt x="3266095" y="2521135"/>
                </a:moveTo>
                <a:cubicBezTo>
                  <a:pt x="3256550" y="2521135"/>
                  <a:pt x="3248596" y="2521135"/>
                  <a:pt x="3242233" y="2525906"/>
                </a:cubicBezTo>
                <a:cubicBezTo>
                  <a:pt x="3212009" y="2608622"/>
                  <a:pt x="3285183" y="2597484"/>
                  <a:pt x="3331314" y="2589530"/>
                </a:cubicBezTo>
                <a:cubicBezTo>
                  <a:pt x="3324952" y="2583168"/>
                  <a:pt x="3318589" y="2576805"/>
                  <a:pt x="3312225" y="2570443"/>
                </a:cubicBezTo>
                <a:cubicBezTo>
                  <a:pt x="3305862" y="2567261"/>
                  <a:pt x="3304271" y="2572033"/>
                  <a:pt x="3297909" y="2570443"/>
                </a:cubicBezTo>
                <a:cubicBezTo>
                  <a:pt x="3299499" y="2560900"/>
                  <a:pt x="3294728" y="2556128"/>
                  <a:pt x="3291546" y="2548176"/>
                </a:cubicBezTo>
                <a:cubicBezTo>
                  <a:pt x="3283592" y="2538630"/>
                  <a:pt x="3275638" y="2530679"/>
                  <a:pt x="3266095" y="2521135"/>
                </a:cubicBezTo>
                <a:close/>
                <a:moveTo>
                  <a:pt x="1451067" y="2513178"/>
                </a:moveTo>
                <a:cubicBezTo>
                  <a:pt x="1474928" y="2540218"/>
                  <a:pt x="1505152" y="2562486"/>
                  <a:pt x="1540148" y="2572030"/>
                </a:cubicBezTo>
                <a:cubicBezTo>
                  <a:pt x="1532194" y="2578392"/>
                  <a:pt x="1524241" y="2584756"/>
                  <a:pt x="1516287" y="2592710"/>
                </a:cubicBezTo>
                <a:cubicBezTo>
                  <a:pt x="1498790" y="2583164"/>
                  <a:pt x="1482882" y="2573621"/>
                  <a:pt x="1468566" y="2560897"/>
                </a:cubicBezTo>
                <a:cubicBezTo>
                  <a:pt x="1459021" y="2552943"/>
                  <a:pt x="1451067" y="2543400"/>
                  <a:pt x="1443113" y="2533855"/>
                </a:cubicBezTo>
                <a:cubicBezTo>
                  <a:pt x="1446294" y="2525902"/>
                  <a:pt x="1447885" y="2519540"/>
                  <a:pt x="1451067" y="2513178"/>
                </a:cubicBezTo>
                <a:close/>
                <a:moveTo>
                  <a:pt x="2626620" y="2489326"/>
                </a:moveTo>
                <a:cubicBezTo>
                  <a:pt x="2632983" y="2494097"/>
                  <a:pt x="2628210" y="2505229"/>
                  <a:pt x="2632983" y="2511592"/>
                </a:cubicBezTo>
                <a:cubicBezTo>
                  <a:pt x="2566172" y="2661110"/>
                  <a:pt x="2465955" y="2761327"/>
                  <a:pt x="2356194" y="2844045"/>
                </a:cubicBezTo>
                <a:cubicBezTo>
                  <a:pt x="2356194" y="2805867"/>
                  <a:pt x="2394372" y="2785188"/>
                  <a:pt x="2416642" y="2764508"/>
                </a:cubicBezTo>
                <a:cubicBezTo>
                  <a:pt x="2496179" y="2691334"/>
                  <a:pt x="2575717" y="2607029"/>
                  <a:pt x="2623438" y="2490916"/>
                </a:cubicBezTo>
                <a:cubicBezTo>
                  <a:pt x="2625029" y="2489326"/>
                  <a:pt x="2625029" y="2487736"/>
                  <a:pt x="2626620" y="2489326"/>
                </a:cubicBezTo>
                <a:close/>
                <a:moveTo>
                  <a:pt x="1280859" y="2486133"/>
                </a:moveTo>
                <a:cubicBezTo>
                  <a:pt x="1280859" y="2487724"/>
                  <a:pt x="1280859" y="2487724"/>
                  <a:pt x="1280859" y="2489315"/>
                </a:cubicBezTo>
                <a:cubicBezTo>
                  <a:pt x="1279269" y="2494087"/>
                  <a:pt x="1277679" y="2500449"/>
                  <a:pt x="1276087" y="2505223"/>
                </a:cubicBezTo>
                <a:cubicBezTo>
                  <a:pt x="1274495" y="2498858"/>
                  <a:pt x="1274495" y="2492495"/>
                  <a:pt x="1280859" y="2486133"/>
                </a:cubicBezTo>
                <a:close/>
                <a:moveTo>
                  <a:pt x="4236441" y="2479784"/>
                </a:moveTo>
                <a:cubicBezTo>
                  <a:pt x="4261894" y="2479784"/>
                  <a:pt x="4287346" y="2492507"/>
                  <a:pt x="4306434" y="2502049"/>
                </a:cubicBezTo>
                <a:cubicBezTo>
                  <a:pt x="4384380" y="2527498"/>
                  <a:pt x="4471871" y="2535450"/>
                  <a:pt x="4549817" y="2548176"/>
                </a:cubicBezTo>
                <a:cubicBezTo>
                  <a:pt x="4568905" y="2551356"/>
                  <a:pt x="4545044" y="2562490"/>
                  <a:pt x="4540272" y="2560900"/>
                </a:cubicBezTo>
                <a:cubicBezTo>
                  <a:pt x="4511638" y="2552947"/>
                  <a:pt x="4486187" y="2546584"/>
                  <a:pt x="4454372" y="2543402"/>
                </a:cubicBezTo>
                <a:cubicBezTo>
                  <a:pt x="4403469" y="2538630"/>
                  <a:pt x="4344612" y="2519545"/>
                  <a:pt x="4296890" y="2527498"/>
                </a:cubicBezTo>
                <a:lnTo>
                  <a:pt x="4164858" y="2492507"/>
                </a:lnTo>
                <a:cubicBezTo>
                  <a:pt x="4193491" y="2497278"/>
                  <a:pt x="4228487" y="2502049"/>
                  <a:pt x="4263485" y="2494097"/>
                </a:cubicBezTo>
                <a:cubicBezTo>
                  <a:pt x="4255530" y="2489326"/>
                  <a:pt x="4238032" y="2492507"/>
                  <a:pt x="4236441" y="2479784"/>
                </a:cubicBezTo>
                <a:close/>
                <a:moveTo>
                  <a:pt x="2669569" y="2479784"/>
                </a:moveTo>
                <a:cubicBezTo>
                  <a:pt x="2682294" y="2490916"/>
                  <a:pt x="2712519" y="2508412"/>
                  <a:pt x="2698203" y="2529089"/>
                </a:cubicBezTo>
                <a:cubicBezTo>
                  <a:pt x="2690249" y="2511593"/>
                  <a:pt x="2669569" y="2502050"/>
                  <a:pt x="2669569" y="2479784"/>
                </a:cubicBezTo>
                <a:close/>
                <a:moveTo>
                  <a:pt x="1414480" y="2468641"/>
                </a:moveTo>
                <a:cubicBezTo>
                  <a:pt x="1411299" y="2482957"/>
                  <a:pt x="1419253" y="2494090"/>
                  <a:pt x="1424026" y="2505226"/>
                </a:cubicBezTo>
                <a:cubicBezTo>
                  <a:pt x="1417662" y="2495681"/>
                  <a:pt x="1411299" y="2484548"/>
                  <a:pt x="1406527" y="2473413"/>
                </a:cubicBezTo>
                <a:cubicBezTo>
                  <a:pt x="1409709" y="2470232"/>
                  <a:pt x="1411299" y="2468641"/>
                  <a:pt x="1414480" y="2468641"/>
                </a:cubicBezTo>
                <a:close/>
                <a:moveTo>
                  <a:pt x="1239499" y="2467041"/>
                </a:moveTo>
                <a:cubicBezTo>
                  <a:pt x="1237909" y="2470223"/>
                  <a:pt x="1236318" y="2473404"/>
                  <a:pt x="1234728" y="2476586"/>
                </a:cubicBezTo>
                <a:cubicBezTo>
                  <a:pt x="1253816" y="2490902"/>
                  <a:pt x="1268132" y="2506810"/>
                  <a:pt x="1272904" y="2521127"/>
                </a:cubicBezTo>
                <a:cubicBezTo>
                  <a:pt x="1255407" y="2603845"/>
                  <a:pt x="1266542" y="2683381"/>
                  <a:pt x="1288812" y="2731104"/>
                </a:cubicBezTo>
                <a:cubicBezTo>
                  <a:pt x="1285631" y="2740648"/>
                  <a:pt x="1272904" y="2735876"/>
                  <a:pt x="1268132" y="2743829"/>
                </a:cubicBezTo>
                <a:cubicBezTo>
                  <a:pt x="1249044" y="2734285"/>
                  <a:pt x="1237909" y="2708833"/>
                  <a:pt x="1212457" y="2713605"/>
                </a:cubicBezTo>
                <a:cubicBezTo>
                  <a:pt x="1174280" y="2654748"/>
                  <a:pt x="1204504" y="2535443"/>
                  <a:pt x="1237909" y="2468632"/>
                </a:cubicBezTo>
                <a:cubicBezTo>
                  <a:pt x="1237909" y="2468632"/>
                  <a:pt x="1237909" y="2467041"/>
                  <a:pt x="1239499" y="2467041"/>
                </a:cubicBezTo>
                <a:close/>
                <a:moveTo>
                  <a:pt x="1206094" y="2457498"/>
                </a:moveTo>
                <a:cubicBezTo>
                  <a:pt x="1215639" y="2462270"/>
                  <a:pt x="1223593" y="2467041"/>
                  <a:pt x="1231547" y="2473405"/>
                </a:cubicBezTo>
                <a:cubicBezTo>
                  <a:pt x="1233137" y="2471814"/>
                  <a:pt x="1234728" y="2470224"/>
                  <a:pt x="1237909" y="2467041"/>
                </a:cubicBezTo>
                <a:cubicBezTo>
                  <a:pt x="1180643" y="2532262"/>
                  <a:pt x="1172689" y="2643614"/>
                  <a:pt x="1193369" y="2718378"/>
                </a:cubicBezTo>
                <a:cubicBezTo>
                  <a:pt x="1172689" y="2735876"/>
                  <a:pt x="1153600" y="2750193"/>
                  <a:pt x="1129738" y="2761328"/>
                </a:cubicBezTo>
                <a:cubicBezTo>
                  <a:pt x="1110650" y="2737467"/>
                  <a:pt x="1112241" y="2700880"/>
                  <a:pt x="1066109" y="2694517"/>
                </a:cubicBezTo>
                <a:cubicBezTo>
                  <a:pt x="1077245" y="2568849"/>
                  <a:pt x="1144056" y="2514763"/>
                  <a:pt x="1206094" y="2457498"/>
                </a:cubicBezTo>
                <a:close/>
                <a:moveTo>
                  <a:pt x="1307901" y="2449546"/>
                </a:moveTo>
                <a:cubicBezTo>
                  <a:pt x="1320627" y="2462271"/>
                  <a:pt x="1322218" y="2478179"/>
                  <a:pt x="1347670" y="2484541"/>
                </a:cubicBezTo>
                <a:cubicBezTo>
                  <a:pt x="1352442" y="2481360"/>
                  <a:pt x="1357213" y="2476587"/>
                  <a:pt x="1360396" y="2470224"/>
                </a:cubicBezTo>
                <a:cubicBezTo>
                  <a:pt x="1373121" y="2500448"/>
                  <a:pt x="1390620" y="2529081"/>
                  <a:pt x="1408117" y="2557714"/>
                </a:cubicBezTo>
                <a:cubicBezTo>
                  <a:pt x="1395392" y="2565667"/>
                  <a:pt x="1379484" y="2573621"/>
                  <a:pt x="1376303" y="2589529"/>
                </a:cubicBezTo>
                <a:cubicBezTo>
                  <a:pt x="1371530" y="2608618"/>
                  <a:pt x="1385847" y="2622934"/>
                  <a:pt x="1389028" y="2643614"/>
                </a:cubicBezTo>
                <a:cubicBezTo>
                  <a:pt x="1401755" y="2634069"/>
                  <a:pt x="1430387" y="2624526"/>
                  <a:pt x="1436751" y="2603845"/>
                </a:cubicBezTo>
                <a:cubicBezTo>
                  <a:pt x="1439932" y="2607027"/>
                  <a:pt x="1441523" y="2610208"/>
                  <a:pt x="1443113" y="2613390"/>
                </a:cubicBezTo>
                <a:cubicBezTo>
                  <a:pt x="1451067" y="2624526"/>
                  <a:pt x="1466975" y="2632479"/>
                  <a:pt x="1482881" y="2640432"/>
                </a:cubicBezTo>
                <a:cubicBezTo>
                  <a:pt x="1476518" y="2653157"/>
                  <a:pt x="1476518" y="2665884"/>
                  <a:pt x="1482881" y="2677019"/>
                </a:cubicBezTo>
                <a:cubicBezTo>
                  <a:pt x="1497199" y="2673838"/>
                  <a:pt x="1511516" y="2670656"/>
                  <a:pt x="1522651" y="2659521"/>
                </a:cubicBezTo>
                <a:cubicBezTo>
                  <a:pt x="1536967" y="2667475"/>
                  <a:pt x="1548103" y="2677019"/>
                  <a:pt x="1552875" y="2691336"/>
                </a:cubicBezTo>
                <a:cubicBezTo>
                  <a:pt x="1538558" y="2697699"/>
                  <a:pt x="1530604" y="2713605"/>
                  <a:pt x="1517879" y="2723150"/>
                </a:cubicBezTo>
                <a:cubicBezTo>
                  <a:pt x="1459021" y="2702471"/>
                  <a:pt x="1414480" y="2715196"/>
                  <a:pt x="1373121" y="2734286"/>
                </a:cubicBezTo>
                <a:cubicBezTo>
                  <a:pt x="1349260" y="2723150"/>
                  <a:pt x="1360396" y="2688154"/>
                  <a:pt x="1344488" y="2672247"/>
                </a:cubicBezTo>
                <a:cubicBezTo>
                  <a:pt x="1341306" y="2688154"/>
                  <a:pt x="1347670" y="2700880"/>
                  <a:pt x="1349260" y="2715196"/>
                </a:cubicBezTo>
                <a:cubicBezTo>
                  <a:pt x="1333352" y="2705653"/>
                  <a:pt x="1309492" y="2715196"/>
                  <a:pt x="1291994" y="2719969"/>
                </a:cubicBezTo>
                <a:cubicBezTo>
                  <a:pt x="1272904" y="2670656"/>
                  <a:pt x="1269723" y="2611799"/>
                  <a:pt x="1277677" y="2546579"/>
                </a:cubicBezTo>
                <a:cubicBezTo>
                  <a:pt x="1285631" y="2537035"/>
                  <a:pt x="1284040" y="2527490"/>
                  <a:pt x="1280858" y="2517947"/>
                </a:cubicBezTo>
                <a:cubicBezTo>
                  <a:pt x="1282449" y="2511584"/>
                  <a:pt x="1282449" y="2506810"/>
                  <a:pt x="1284040" y="2502039"/>
                </a:cubicBezTo>
                <a:cubicBezTo>
                  <a:pt x="1285631" y="2505220"/>
                  <a:pt x="1287223" y="2508402"/>
                  <a:pt x="1290403" y="2509993"/>
                </a:cubicBezTo>
                <a:cubicBezTo>
                  <a:pt x="1295175" y="2503630"/>
                  <a:pt x="1296766" y="2489314"/>
                  <a:pt x="1303129" y="2486132"/>
                </a:cubicBezTo>
                <a:cubicBezTo>
                  <a:pt x="1303129" y="2497267"/>
                  <a:pt x="1299947" y="2509993"/>
                  <a:pt x="1304719" y="2519536"/>
                </a:cubicBezTo>
                <a:cubicBezTo>
                  <a:pt x="1317446" y="2517947"/>
                  <a:pt x="1323809" y="2505220"/>
                  <a:pt x="1331762" y="2494086"/>
                </a:cubicBezTo>
                <a:cubicBezTo>
                  <a:pt x="1326990" y="2479769"/>
                  <a:pt x="1295175" y="2467043"/>
                  <a:pt x="1307901" y="2449546"/>
                </a:cubicBezTo>
                <a:close/>
                <a:moveTo>
                  <a:pt x="2959083" y="2443202"/>
                </a:moveTo>
                <a:cubicBezTo>
                  <a:pt x="2954310" y="2444792"/>
                  <a:pt x="2949538" y="2449563"/>
                  <a:pt x="2944766" y="2451155"/>
                </a:cubicBezTo>
                <a:cubicBezTo>
                  <a:pt x="2957492" y="2473420"/>
                  <a:pt x="2968627" y="2497278"/>
                  <a:pt x="2978171" y="2522726"/>
                </a:cubicBezTo>
                <a:cubicBezTo>
                  <a:pt x="2979762" y="2525906"/>
                  <a:pt x="2981353" y="2530679"/>
                  <a:pt x="2982943" y="2535450"/>
                </a:cubicBezTo>
                <a:cubicBezTo>
                  <a:pt x="2992488" y="2565671"/>
                  <a:pt x="3000442" y="2595893"/>
                  <a:pt x="3006804" y="2627711"/>
                </a:cubicBezTo>
                <a:cubicBezTo>
                  <a:pt x="3006804" y="2621348"/>
                  <a:pt x="3006804" y="2616575"/>
                  <a:pt x="3008395" y="2610212"/>
                </a:cubicBezTo>
                <a:cubicBezTo>
                  <a:pt x="3009986" y="2605440"/>
                  <a:pt x="3014758" y="2607030"/>
                  <a:pt x="3016349" y="2610212"/>
                </a:cubicBezTo>
                <a:cubicBezTo>
                  <a:pt x="3005214" y="2560900"/>
                  <a:pt x="2990897" y="2516364"/>
                  <a:pt x="2973399" y="2475011"/>
                </a:cubicBezTo>
                <a:cubicBezTo>
                  <a:pt x="2973399" y="2484554"/>
                  <a:pt x="2960673" y="2482962"/>
                  <a:pt x="2962264" y="2475011"/>
                </a:cubicBezTo>
                <a:cubicBezTo>
                  <a:pt x="2962264" y="2467059"/>
                  <a:pt x="2962264" y="2457516"/>
                  <a:pt x="2960673" y="2447973"/>
                </a:cubicBezTo>
                <a:cubicBezTo>
                  <a:pt x="2960673" y="2446383"/>
                  <a:pt x="2960673" y="2444792"/>
                  <a:pt x="2959083" y="2443202"/>
                </a:cubicBezTo>
                <a:close/>
                <a:moveTo>
                  <a:pt x="2610712" y="2438431"/>
                </a:moveTo>
                <a:cubicBezTo>
                  <a:pt x="2609121" y="2446383"/>
                  <a:pt x="2610712" y="2449563"/>
                  <a:pt x="2618666" y="2451155"/>
                </a:cubicBezTo>
                <a:cubicBezTo>
                  <a:pt x="2575716" y="2573624"/>
                  <a:pt x="2508904" y="2656339"/>
                  <a:pt x="2432550" y="2726332"/>
                </a:cubicBezTo>
                <a:cubicBezTo>
                  <a:pt x="2478682" y="2608622"/>
                  <a:pt x="2569352" y="2562490"/>
                  <a:pt x="2610712" y="2438431"/>
                </a:cubicBezTo>
                <a:close/>
                <a:moveTo>
                  <a:pt x="2893862" y="2428888"/>
                </a:moveTo>
                <a:cubicBezTo>
                  <a:pt x="2889090" y="2430477"/>
                  <a:pt x="2884318" y="2433660"/>
                  <a:pt x="2881137" y="2435250"/>
                </a:cubicBezTo>
                <a:cubicBezTo>
                  <a:pt x="2919314" y="2500458"/>
                  <a:pt x="2947947" y="2570443"/>
                  <a:pt x="2981353" y="2630893"/>
                </a:cubicBezTo>
                <a:cubicBezTo>
                  <a:pt x="2973399" y="2575214"/>
                  <a:pt x="2935222" y="2497278"/>
                  <a:pt x="2893862" y="2428888"/>
                </a:cubicBezTo>
                <a:close/>
                <a:moveTo>
                  <a:pt x="814774" y="2428864"/>
                </a:moveTo>
                <a:cubicBezTo>
                  <a:pt x="805229" y="2468633"/>
                  <a:pt x="795684" y="2508401"/>
                  <a:pt x="776596" y="2533852"/>
                </a:cubicBezTo>
                <a:cubicBezTo>
                  <a:pt x="805229" y="2527490"/>
                  <a:pt x="844997" y="2455907"/>
                  <a:pt x="814774" y="2428864"/>
                </a:cubicBezTo>
                <a:close/>
                <a:moveTo>
                  <a:pt x="1171099" y="2414548"/>
                </a:moveTo>
                <a:cubicBezTo>
                  <a:pt x="1172690" y="2416138"/>
                  <a:pt x="1174280" y="2417729"/>
                  <a:pt x="1175870" y="2420910"/>
                </a:cubicBezTo>
                <a:cubicBezTo>
                  <a:pt x="1174280" y="2422502"/>
                  <a:pt x="1172690" y="2424092"/>
                  <a:pt x="1171099" y="2425684"/>
                </a:cubicBezTo>
                <a:cubicBezTo>
                  <a:pt x="1171099" y="2420910"/>
                  <a:pt x="1171099" y="2417729"/>
                  <a:pt x="1171099" y="2414548"/>
                </a:cubicBezTo>
                <a:close/>
                <a:moveTo>
                  <a:pt x="2835005" y="2405032"/>
                </a:moveTo>
                <a:cubicBezTo>
                  <a:pt x="2830233" y="2408212"/>
                  <a:pt x="2827052" y="2411392"/>
                  <a:pt x="2823871" y="2414573"/>
                </a:cubicBezTo>
                <a:cubicBezTo>
                  <a:pt x="2831824" y="2425706"/>
                  <a:pt x="2839777" y="2436841"/>
                  <a:pt x="2847731" y="2449563"/>
                </a:cubicBezTo>
                <a:cubicBezTo>
                  <a:pt x="2850913" y="2444792"/>
                  <a:pt x="2852504" y="2440021"/>
                  <a:pt x="2855685" y="2433660"/>
                </a:cubicBezTo>
                <a:cubicBezTo>
                  <a:pt x="2849322" y="2424116"/>
                  <a:pt x="2841368" y="2414573"/>
                  <a:pt x="2835005" y="2405032"/>
                </a:cubicBezTo>
                <a:close/>
                <a:moveTo>
                  <a:pt x="1355623" y="2397062"/>
                </a:moveTo>
                <a:cubicBezTo>
                  <a:pt x="1357213" y="2406605"/>
                  <a:pt x="1363577" y="2419331"/>
                  <a:pt x="1373121" y="2424103"/>
                </a:cubicBezTo>
                <a:cubicBezTo>
                  <a:pt x="1389028" y="2460687"/>
                  <a:pt x="1408118" y="2497272"/>
                  <a:pt x="1430388" y="2529085"/>
                </a:cubicBezTo>
                <a:cubicBezTo>
                  <a:pt x="1430388" y="2532266"/>
                  <a:pt x="1428797" y="2537038"/>
                  <a:pt x="1427207" y="2540219"/>
                </a:cubicBezTo>
                <a:cubicBezTo>
                  <a:pt x="1425615" y="2544991"/>
                  <a:pt x="1420843" y="2548172"/>
                  <a:pt x="1417661" y="2551353"/>
                </a:cubicBezTo>
                <a:cubicBezTo>
                  <a:pt x="1393801" y="2514768"/>
                  <a:pt x="1374712" y="2475002"/>
                  <a:pt x="1358804" y="2438418"/>
                </a:cubicBezTo>
                <a:cubicBezTo>
                  <a:pt x="1369940" y="2446371"/>
                  <a:pt x="1381075" y="2452734"/>
                  <a:pt x="1382666" y="2460687"/>
                </a:cubicBezTo>
                <a:cubicBezTo>
                  <a:pt x="1382666" y="2436829"/>
                  <a:pt x="1338125" y="2422511"/>
                  <a:pt x="1355623" y="2397062"/>
                </a:cubicBezTo>
                <a:close/>
                <a:moveTo>
                  <a:pt x="1385848" y="2395473"/>
                </a:moveTo>
                <a:cubicBezTo>
                  <a:pt x="1384256" y="2403426"/>
                  <a:pt x="1384256" y="2412971"/>
                  <a:pt x="1384256" y="2420924"/>
                </a:cubicBezTo>
                <a:cubicBezTo>
                  <a:pt x="1382666" y="2416152"/>
                  <a:pt x="1381076" y="2412971"/>
                  <a:pt x="1379485" y="2408198"/>
                </a:cubicBezTo>
                <a:cubicBezTo>
                  <a:pt x="1381076" y="2403426"/>
                  <a:pt x="1382666" y="2398653"/>
                  <a:pt x="1385848" y="2395473"/>
                </a:cubicBezTo>
                <a:close/>
                <a:moveTo>
                  <a:pt x="2650480" y="2392308"/>
                </a:moveTo>
                <a:cubicBezTo>
                  <a:pt x="2661615" y="2420936"/>
                  <a:pt x="2695022" y="2452745"/>
                  <a:pt x="2698203" y="2478193"/>
                </a:cubicBezTo>
                <a:cubicBezTo>
                  <a:pt x="2671160" y="2459108"/>
                  <a:pt x="2644117" y="2424117"/>
                  <a:pt x="2650480" y="2392308"/>
                </a:cubicBezTo>
                <a:close/>
                <a:moveTo>
                  <a:pt x="1271314" y="2390695"/>
                </a:moveTo>
                <a:cubicBezTo>
                  <a:pt x="1277677" y="2405010"/>
                  <a:pt x="1301538" y="2438415"/>
                  <a:pt x="1326990" y="2425689"/>
                </a:cubicBezTo>
                <a:cubicBezTo>
                  <a:pt x="1323809" y="2414555"/>
                  <a:pt x="1309492" y="2406601"/>
                  <a:pt x="1311083" y="2393876"/>
                </a:cubicBezTo>
                <a:cubicBezTo>
                  <a:pt x="1319036" y="2397057"/>
                  <a:pt x="1317446" y="2403419"/>
                  <a:pt x="1325399" y="2406601"/>
                </a:cubicBezTo>
                <a:cubicBezTo>
                  <a:pt x="1330171" y="2403419"/>
                  <a:pt x="1331762" y="2395466"/>
                  <a:pt x="1338125" y="2395466"/>
                </a:cubicBezTo>
                <a:cubicBezTo>
                  <a:pt x="1330171" y="2409783"/>
                  <a:pt x="1334943" y="2419326"/>
                  <a:pt x="1344488" y="2425689"/>
                </a:cubicBezTo>
                <a:cubicBezTo>
                  <a:pt x="1346079" y="2430462"/>
                  <a:pt x="1346079" y="2433643"/>
                  <a:pt x="1347670" y="2438415"/>
                </a:cubicBezTo>
                <a:cubicBezTo>
                  <a:pt x="1330171" y="2432052"/>
                  <a:pt x="1312673" y="2444778"/>
                  <a:pt x="1293585" y="2433643"/>
                </a:cubicBezTo>
                <a:cubicBezTo>
                  <a:pt x="1285631" y="2420918"/>
                  <a:pt x="1266542" y="2403419"/>
                  <a:pt x="1271314" y="2390695"/>
                </a:cubicBezTo>
                <a:close/>
                <a:moveTo>
                  <a:pt x="2594805" y="2389125"/>
                </a:moveTo>
                <a:cubicBezTo>
                  <a:pt x="2585261" y="2481374"/>
                  <a:pt x="2542310" y="2546584"/>
                  <a:pt x="2500951" y="2599076"/>
                </a:cubicBezTo>
                <a:cubicBezTo>
                  <a:pt x="2477090" y="2627711"/>
                  <a:pt x="2453230" y="2667475"/>
                  <a:pt x="2421414" y="2670656"/>
                </a:cubicBezTo>
                <a:cubicBezTo>
                  <a:pt x="2483453" y="2608623"/>
                  <a:pt x="2556628" y="2524318"/>
                  <a:pt x="2583670" y="2390717"/>
                </a:cubicBezTo>
                <a:cubicBezTo>
                  <a:pt x="2588442" y="2390717"/>
                  <a:pt x="2590033" y="2387535"/>
                  <a:pt x="2594805" y="2389125"/>
                </a:cubicBezTo>
                <a:close/>
                <a:moveTo>
                  <a:pt x="1454249" y="2387519"/>
                </a:moveTo>
                <a:cubicBezTo>
                  <a:pt x="1455840" y="2408198"/>
                  <a:pt x="1474928" y="2422513"/>
                  <a:pt x="1466975" y="2447963"/>
                </a:cubicBezTo>
                <a:cubicBezTo>
                  <a:pt x="1486064" y="2446372"/>
                  <a:pt x="1486064" y="2414560"/>
                  <a:pt x="1489246" y="2406606"/>
                </a:cubicBezTo>
                <a:cubicBezTo>
                  <a:pt x="1509924" y="2428876"/>
                  <a:pt x="1460612" y="2460688"/>
                  <a:pt x="1474928" y="2484548"/>
                </a:cubicBezTo>
                <a:cubicBezTo>
                  <a:pt x="1505152" y="2489319"/>
                  <a:pt x="1497199" y="2449554"/>
                  <a:pt x="1506743" y="2435238"/>
                </a:cubicBezTo>
                <a:cubicBezTo>
                  <a:pt x="1503561" y="2446372"/>
                  <a:pt x="1508334" y="2454325"/>
                  <a:pt x="1509924" y="2463869"/>
                </a:cubicBezTo>
                <a:cubicBezTo>
                  <a:pt x="1519470" y="2459097"/>
                  <a:pt x="1527423" y="2451143"/>
                  <a:pt x="1538558" y="2449554"/>
                </a:cubicBezTo>
                <a:cubicBezTo>
                  <a:pt x="1535376" y="2470231"/>
                  <a:pt x="1509924" y="2473414"/>
                  <a:pt x="1503561" y="2494090"/>
                </a:cubicBezTo>
                <a:cubicBezTo>
                  <a:pt x="1503561" y="2502043"/>
                  <a:pt x="1511515" y="2506815"/>
                  <a:pt x="1517878" y="2513178"/>
                </a:cubicBezTo>
                <a:cubicBezTo>
                  <a:pt x="1544921" y="2503634"/>
                  <a:pt x="1536967" y="2459097"/>
                  <a:pt x="1559237" y="2446372"/>
                </a:cubicBezTo>
                <a:cubicBezTo>
                  <a:pt x="1552875" y="2457507"/>
                  <a:pt x="1541739" y="2475003"/>
                  <a:pt x="1548102" y="2484548"/>
                </a:cubicBezTo>
                <a:cubicBezTo>
                  <a:pt x="1567191" y="2479776"/>
                  <a:pt x="1578326" y="2457507"/>
                  <a:pt x="1599005" y="2455916"/>
                </a:cubicBezTo>
                <a:cubicBezTo>
                  <a:pt x="1587871" y="2468641"/>
                  <a:pt x="1565600" y="2475003"/>
                  <a:pt x="1565600" y="2497272"/>
                </a:cubicBezTo>
                <a:cubicBezTo>
                  <a:pt x="1587871" y="2495681"/>
                  <a:pt x="1600596" y="2479776"/>
                  <a:pt x="1614913" y="2465461"/>
                </a:cubicBezTo>
                <a:cubicBezTo>
                  <a:pt x="1611732" y="2473414"/>
                  <a:pt x="1608550" y="2479776"/>
                  <a:pt x="1605369" y="2487729"/>
                </a:cubicBezTo>
                <a:cubicBezTo>
                  <a:pt x="1618095" y="2487729"/>
                  <a:pt x="1622867" y="2468641"/>
                  <a:pt x="1637184" y="2470231"/>
                </a:cubicBezTo>
                <a:cubicBezTo>
                  <a:pt x="1634003" y="2473414"/>
                  <a:pt x="1638775" y="2473414"/>
                  <a:pt x="1640366" y="2476594"/>
                </a:cubicBezTo>
                <a:cubicBezTo>
                  <a:pt x="1624458" y="2506815"/>
                  <a:pt x="1548102" y="2489319"/>
                  <a:pt x="1533785" y="2516360"/>
                </a:cubicBezTo>
                <a:cubicBezTo>
                  <a:pt x="1527423" y="2529085"/>
                  <a:pt x="1543330" y="2540219"/>
                  <a:pt x="1548102" y="2552943"/>
                </a:cubicBezTo>
                <a:cubicBezTo>
                  <a:pt x="1591052" y="2543400"/>
                  <a:pt x="1613323" y="2492500"/>
                  <a:pt x="1662636" y="2494090"/>
                </a:cubicBezTo>
                <a:cubicBezTo>
                  <a:pt x="1646728" y="2506815"/>
                  <a:pt x="1614913" y="2503634"/>
                  <a:pt x="1611732" y="2529085"/>
                </a:cubicBezTo>
                <a:cubicBezTo>
                  <a:pt x="1632412" y="2532266"/>
                  <a:pt x="1653091" y="2490910"/>
                  <a:pt x="1667408" y="2513178"/>
                </a:cubicBezTo>
                <a:cubicBezTo>
                  <a:pt x="1656273" y="2517949"/>
                  <a:pt x="1643547" y="2514768"/>
                  <a:pt x="1635594" y="2525902"/>
                </a:cubicBezTo>
                <a:cubicBezTo>
                  <a:pt x="1653091" y="2537038"/>
                  <a:pt x="1662636" y="2516360"/>
                  <a:pt x="1672180" y="2522722"/>
                </a:cubicBezTo>
                <a:cubicBezTo>
                  <a:pt x="1649910" y="2543400"/>
                  <a:pt x="1611732" y="2533855"/>
                  <a:pt x="1584689" y="2543400"/>
                </a:cubicBezTo>
                <a:cubicBezTo>
                  <a:pt x="1630821" y="2567259"/>
                  <a:pt x="1664228" y="2549762"/>
                  <a:pt x="1691269" y="2544990"/>
                </a:cubicBezTo>
                <a:cubicBezTo>
                  <a:pt x="1676952" y="2557714"/>
                  <a:pt x="1656273" y="2557714"/>
                  <a:pt x="1641957" y="2570439"/>
                </a:cubicBezTo>
                <a:cubicBezTo>
                  <a:pt x="1659454" y="2573621"/>
                  <a:pt x="1673771" y="2572030"/>
                  <a:pt x="1688088" y="2573621"/>
                </a:cubicBezTo>
                <a:cubicBezTo>
                  <a:pt x="1680134" y="2592710"/>
                  <a:pt x="1653091" y="2576803"/>
                  <a:pt x="1637184" y="2583165"/>
                </a:cubicBezTo>
                <a:cubicBezTo>
                  <a:pt x="1603778" y="2554534"/>
                  <a:pt x="1568782" y="2554534"/>
                  <a:pt x="1541739" y="2570439"/>
                </a:cubicBezTo>
                <a:cubicBezTo>
                  <a:pt x="1511515" y="2546581"/>
                  <a:pt x="1482882" y="2519540"/>
                  <a:pt x="1459021" y="2490910"/>
                </a:cubicBezTo>
                <a:cubicBezTo>
                  <a:pt x="1462203" y="2484548"/>
                  <a:pt x="1462203" y="2478185"/>
                  <a:pt x="1462203" y="2471823"/>
                </a:cubicBezTo>
                <a:cubicBezTo>
                  <a:pt x="1459021" y="2436829"/>
                  <a:pt x="1409709" y="2420924"/>
                  <a:pt x="1414480" y="2392291"/>
                </a:cubicBezTo>
                <a:cubicBezTo>
                  <a:pt x="1435160" y="2403426"/>
                  <a:pt x="1435160" y="2428876"/>
                  <a:pt x="1459021" y="2433648"/>
                </a:cubicBezTo>
                <a:cubicBezTo>
                  <a:pt x="1463794" y="2416151"/>
                  <a:pt x="1444704" y="2401836"/>
                  <a:pt x="1454249" y="2387519"/>
                </a:cubicBezTo>
                <a:close/>
                <a:moveTo>
                  <a:pt x="2857275" y="2385946"/>
                </a:moveTo>
                <a:cubicBezTo>
                  <a:pt x="2855685" y="2384354"/>
                  <a:pt x="2852504" y="2384354"/>
                  <a:pt x="2850913" y="2387535"/>
                </a:cubicBezTo>
                <a:cubicBezTo>
                  <a:pt x="2854094" y="2390717"/>
                  <a:pt x="2855685" y="2395488"/>
                  <a:pt x="2858866" y="2398670"/>
                </a:cubicBezTo>
                <a:cubicBezTo>
                  <a:pt x="2858866" y="2393897"/>
                  <a:pt x="2857275" y="2390717"/>
                  <a:pt x="2857275" y="2385946"/>
                </a:cubicBezTo>
                <a:close/>
                <a:moveTo>
                  <a:pt x="2456411" y="2366859"/>
                </a:moveTo>
                <a:cubicBezTo>
                  <a:pt x="2450048" y="2385946"/>
                  <a:pt x="2434140" y="2389127"/>
                  <a:pt x="2421414" y="2395488"/>
                </a:cubicBezTo>
                <a:cubicBezTo>
                  <a:pt x="2424596" y="2374811"/>
                  <a:pt x="2445276" y="2379583"/>
                  <a:pt x="2456411" y="2366859"/>
                </a:cubicBezTo>
                <a:close/>
                <a:moveTo>
                  <a:pt x="2494589" y="2358907"/>
                </a:moveTo>
                <a:cubicBezTo>
                  <a:pt x="2483453" y="2414573"/>
                  <a:pt x="2453230" y="2441612"/>
                  <a:pt x="2434141" y="2484555"/>
                </a:cubicBezTo>
                <a:cubicBezTo>
                  <a:pt x="2408689" y="2438431"/>
                  <a:pt x="2470728" y="2387535"/>
                  <a:pt x="2494589" y="2358907"/>
                </a:cubicBezTo>
                <a:close/>
                <a:moveTo>
                  <a:pt x="2631391" y="2331869"/>
                </a:moveTo>
                <a:cubicBezTo>
                  <a:pt x="2653661" y="2360499"/>
                  <a:pt x="2687066" y="2384354"/>
                  <a:pt x="2696611" y="2420936"/>
                </a:cubicBezTo>
                <a:cubicBezTo>
                  <a:pt x="2677523" y="2392308"/>
                  <a:pt x="2629800" y="2365269"/>
                  <a:pt x="2631391" y="2331869"/>
                </a:cubicBezTo>
                <a:close/>
                <a:moveTo>
                  <a:pt x="2664175" y="2317455"/>
                </a:moveTo>
                <a:cubicBezTo>
                  <a:pt x="2675435" y="2318648"/>
                  <a:pt x="2681102" y="2335050"/>
                  <a:pt x="2696613" y="2339821"/>
                </a:cubicBezTo>
                <a:cubicBezTo>
                  <a:pt x="2690251" y="2355726"/>
                  <a:pt x="2709338" y="2370039"/>
                  <a:pt x="2698204" y="2379582"/>
                </a:cubicBezTo>
                <a:cubicBezTo>
                  <a:pt x="2688659" y="2357317"/>
                  <a:pt x="2675932" y="2335050"/>
                  <a:pt x="2650480" y="2322326"/>
                </a:cubicBezTo>
                <a:cubicBezTo>
                  <a:pt x="2656048" y="2318350"/>
                  <a:pt x="2660423" y="2317058"/>
                  <a:pt x="2664175" y="2317455"/>
                </a:cubicBezTo>
                <a:close/>
                <a:moveTo>
                  <a:pt x="4548226" y="2304832"/>
                </a:moveTo>
                <a:cubicBezTo>
                  <a:pt x="4552998" y="2303241"/>
                  <a:pt x="4556180" y="2308013"/>
                  <a:pt x="4548226" y="2309602"/>
                </a:cubicBezTo>
                <a:lnTo>
                  <a:pt x="4443237" y="2319146"/>
                </a:lnTo>
                <a:cubicBezTo>
                  <a:pt x="4438465" y="2319146"/>
                  <a:pt x="4430511" y="2323918"/>
                  <a:pt x="4428920" y="2315966"/>
                </a:cubicBezTo>
                <a:cubicBezTo>
                  <a:pt x="4470281" y="2309602"/>
                  <a:pt x="4508458" y="2309602"/>
                  <a:pt x="4548226" y="2304832"/>
                </a:cubicBezTo>
                <a:close/>
                <a:moveTo>
                  <a:pt x="4602310" y="2298469"/>
                </a:moveTo>
                <a:cubicBezTo>
                  <a:pt x="4597539" y="2304832"/>
                  <a:pt x="4580041" y="2311193"/>
                  <a:pt x="4567314" y="2306422"/>
                </a:cubicBezTo>
                <a:cubicBezTo>
                  <a:pt x="4575268" y="2300061"/>
                  <a:pt x="4589585" y="2301648"/>
                  <a:pt x="4602310" y="2298469"/>
                </a:cubicBezTo>
                <a:close/>
                <a:moveTo>
                  <a:pt x="4620729" y="2297400"/>
                </a:moveTo>
                <a:cubicBezTo>
                  <a:pt x="4622693" y="2297971"/>
                  <a:pt x="4624582" y="2299265"/>
                  <a:pt x="4626172" y="2301651"/>
                </a:cubicBezTo>
                <a:cubicBezTo>
                  <a:pt x="4635717" y="2311193"/>
                  <a:pt x="4611856" y="2301651"/>
                  <a:pt x="4607083" y="2301651"/>
                </a:cubicBezTo>
                <a:cubicBezTo>
                  <a:pt x="4608277" y="2300457"/>
                  <a:pt x="4614839" y="2295686"/>
                  <a:pt x="4620729" y="2297400"/>
                </a:cubicBezTo>
                <a:close/>
                <a:moveTo>
                  <a:pt x="771823" y="2287335"/>
                </a:moveTo>
                <a:cubicBezTo>
                  <a:pt x="762279" y="2333459"/>
                  <a:pt x="740008" y="2360498"/>
                  <a:pt x="717738" y="2389125"/>
                </a:cubicBezTo>
                <a:cubicBezTo>
                  <a:pt x="720920" y="2377992"/>
                  <a:pt x="717738" y="2370039"/>
                  <a:pt x="712966" y="2363679"/>
                </a:cubicBezTo>
                <a:cubicBezTo>
                  <a:pt x="733646" y="2339821"/>
                  <a:pt x="755917" y="2319146"/>
                  <a:pt x="771823" y="2287335"/>
                </a:cubicBezTo>
                <a:close/>
                <a:moveTo>
                  <a:pt x="2504132" y="2279383"/>
                </a:moveTo>
                <a:cubicBezTo>
                  <a:pt x="2507314" y="2279383"/>
                  <a:pt x="2510495" y="2280974"/>
                  <a:pt x="2515269" y="2282564"/>
                </a:cubicBezTo>
                <a:cubicBezTo>
                  <a:pt x="2518450" y="2301648"/>
                  <a:pt x="2507314" y="2331869"/>
                  <a:pt x="2494589" y="2341411"/>
                </a:cubicBezTo>
                <a:cubicBezTo>
                  <a:pt x="2486634" y="2319146"/>
                  <a:pt x="2494589" y="2304832"/>
                  <a:pt x="2504132" y="2279383"/>
                </a:cubicBezTo>
                <a:close/>
                <a:moveTo>
                  <a:pt x="2539130" y="2277792"/>
                </a:moveTo>
                <a:cubicBezTo>
                  <a:pt x="2529585" y="2438431"/>
                  <a:pt x="2440504" y="2548176"/>
                  <a:pt x="2368920" y="2642023"/>
                </a:cubicBezTo>
                <a:cubicBezTo>
                  <a:pt x="2448458" y="2600667"/>
                  <a:pt x="2539130" y="2408212"/>
                  <a:pt x="2555037" y="2338231"/>
                </a:cubicBezTo>
                <a:cubicBezTo>
                  <a:pt x="2588442" y="2441612"/>
                  <a:pt x="2461183" y="2645205"/>
                  <a:pt x="2380056" y="2662702"/>
                </a:cubicBezTo>
                <a:cubicBezTo>
                  <a:pt x="2341878" y="2659521"/>
                  <a:pt x="2319609" y="2645205"/>
                  <a:pt x="2310063" y="2622939"/>
                </a:cubicBezTo>
                <a:cubicBezTo>
                  <a:pt x="2314835" y="2579986"/>
                  <a:pt x="2337106" y="2560900"/>
                  <a:pt x="2372102" y="2565671"/>
                </a:cubicBezTo>
                <a:cubicBezTo>
                  <a:pt x="2364148" y="2587940"/>
                  <a:pt x="2329152" y="2597486"/>
                  <a:pt x="2333924" y="2624530"/>
                </a:cubicBezTo>
                <a:cubicBezTo>
                  <a:pt x="2365739" y="2605440"/>
                  <a:pt x="2384828" y="2564081"/>
                  <a:pt x="2424596" y="2556129"/>
                </a:cubicBezTo>
                <a:cubicBezTo>
                  <a:pt x="2448458" y="2465468"/>
                  <a:pt x="2510497" y="2389125"/>
                  <a:pt x="2539130" y="2277792"/>
                </a:cubicBezTo>
                <a:close/>
                <a:moveTo>
                  <a:pt x="3361538" y="2276202"/>
                </a:moveTo>
                <a:cubicBezTo>
                  <a:pt x="3359947" y="2280974"/>
                  <a:pt x="3359947" y="2284156"/>
                  <a:pt x="3359947" y="2288927"/>
                </a:cubicBezTo>
                <a:cubicBezTo>
                  <a:pt x="3364719" y="2290517"/>
                  <a:pt x="3367901" y="2290517"/>
                  <a:pt x="3371083" y="2292107"/>
                </a:cubicBezTo>
                <a:cubicBezTo>
                  <a:pt x="3371083" y="2292107"/>
                  <a:pt x="3371083" y="2290517"/>
                  <a:pt x="3371083" y="2290517"/>
                </a:cubicBezTo>
                <a:cubicBezTo>
                  <a:pt x="3374264" y="2287335"/>
                  <a:pt x="3377446" y="2284156"/>
                  <a:pt x="3380627" y="2280974"/>
                </a:cubicBezTo>
                <a:cubicBezTo>
                  <a:pt x="3377446" y="2279385"/>
                  <a:pt x="3375855" y="2277792"/>
                  <a:pt x="3374264" y="2276202"/>
                </a:cubicBezTo>
                <a:cubicBezTo>
                  <a:pt x="3369492" y="2277792"/>
                  <a:pt x="3364719" y="2277792"/>
                  <a:pt x="3361538" y="2276202"/>
                </a:cubicBezTo>
                <a:close/>
                <a:moveTo>
                  <a:pt x="2733199" y="2273022"/>
                </a:moveTo>
                <a:cubicBezTo>
                  <a:pt x="2747516" y="2282564"/>
                  <a:pt x="2760241" y="2292107"/>
                  <a:pt x="2772966" y="2301648"/>
                </a:cubicBezTo>
                <a:cubicBezTo>
                  <a:pt x="2774557" y="2298469"/>
                  <a:pt x="2776148" y="2293697"/>
                  <a:pt x="2777740" y="2290517"/>
                </a:cubicBezTo>
                <a:cubicBezTo>
                  <a:pt x="2766604" y="2284156"/>
                  <a:pt x="2749106" y="2280974"/>
                  <a:pt x="2733199" y="2273022"/>
                </a:cubicBezTo>
                <a:close/>
                <a:moveTo>
                  <a:pt x="2144628" y="2268220"/>
                </a:moveTo>
                <a:lnTo>
                  <a:pt x="2144628" y="2271401"/>
                </a:lnTo>
                <a:cubicBezTo>
                  <a:pt x="2143037" y="2272993"/>
                  <a:pt x="2143037" y="2272993"/>
                  <a:pt x="2141447" y="2274584"/>
                </a:cubicBezTo>
                <a:close/>
                <a:moveTo>
                  <a:pt x="2065090" y="2268220"/>
                </a:moveTo>
                <a:lnTo>
                  <a:pt x="2074636" y="2269811"/>
                </a:lnTo>
                <a:lnTo>
                  <a:pt x="2071455" y="2274583"/>
                </a:lnTo>
                <a:cubicBezTo>
                  <a:pt x="2074636" y="2277765"/>
                  <a:pt x="2074636" y="2269811"/>
                  <a:pt x="2074636" y="2279355"/>
                </a:cubicBezTo>
                <a:cubicBezTo>
                  <a:pt x="2074636" y="2280946"/>
                  <a:pt x="2074636" y="2280946"/>
                  <a:pt x="2071455" y="2280946"/>
                </a:cubicBezTo>
                <a:lnTo>
                  <a:pt x="2074636" y="2285719"/>
                </a:lnTo>
                <a:cubicBezTo>
                  <a:pt x="2069863" y="2288899"/>
                  <a:pt x="2071455" y="2290490"/>
                  <a:pt x="2065090" y="2290490"/>
                </a:cubicBezTo>
                <a:cubicBezTo>
                  <a:pt x="2061909" y="2290490"/>
                  <a:pt x="2057137" y="2285719"/>
                  <a:pt x="2057137" y="2280946"/>
                </a:cubicBezTo>
                <a:lnTo>
                  <a:pt x="2057137" y="2269811"/>
                </a:lnTo>
                <a:close/>
                <a:moveTo>
                  <a:pt x="849770" y="2253884"/>
                </a:moveTo>
                <a:cubicBezTo>
                  <a:pt x="856132" y="2311150"/>
                  <a:pt x="862495" y="2370007"/>
                  <a:pt x="854542" y="2436818"/>
                </a:cubicBezTo>
                <a:cubicBezTo>
                  <a:pt x="848179" y="2427273"/>
                  <a:pt x="854542" y="2409776"/>
                  <a:pt x="835453" y="2408185"/>
                </a:cubicBezTo>
                <a:cubicBezTo>
                  <a:pt x="849770" y="2481358"/>
                  <a:pt x="802047" y="2543397"/>
                  <a:pt x="771823" y="2597482"/>
                </a:cubicBezTo>
                <a:cubicBezTo>
                  <a:pt x="802047" y="2587938"/>
                  <a:pt x="814774" y="2554532"/>
                  <a:pt x="830680" y="2521127"/>
                </a:cubicBezTo>
                <a:cubicBezTo>
                  <a:pt x="816364" y="2572030"/>
                  <a:pt x="778186" y="2622933"/>
                  <a:pt x="743190" y="2649976"/>
                </a:cubicBezTo>
                <a:cubicBezTo>
                  <a:pt x="859314" y="2630887"/>
                  <a:pt x="907036" y="2349328"/>
                  <a:pt x="849770" y="2253884"/>
                </a:cubicBezTo>
                <a:close/>
                <a:moveTo>
                  <a:pt x="2146218" y="2245960"/>
                </a:moveTo>
                <a:lnTo>
                  <a:pt x="2146218" y="2247550"/>
                </a:lnTo>
                <a:lnTo>
                  <a:pt x="2146218" y="2253913"/>
                </a:lnTo>
                <a:cubicBezTo>
                  <a:pt x="2150990" y="2261866"/>
                  <a:pt x="2150990" y="2260275"/>
                  <a:pt x="2143036" y="2266638"/>
                </a:cubicBezTo>
                <a:lnTo>
                  <a:pt x="2141446" y="2257094"/>
                </a:lnTo>
                <a:lnTo>
                  <a:pt x="2131901" y="2260275"/>
                </a:lnTo>
                <a:cubicBezTo>
                  <a:pt x="2136673" y="2255502"/>
                  <a:pt x="2141446" y="2250731"/>
                  <a:pt x="2146218" y="2245960"/>
                </a:cubicBezTo>
                <a:close/>
                <a:moveTo>
                  <a:pt x="2579320" y="2238725"/>
                </a:moveTo>
                <a:cubicBezTo>
                  <a:pt x="2584366" y="2238129"/>
                  <a:pt x="2589237" y="2239224"/>
                  <a:pt x="2593214" y="2242803"/>
                </a:cubicBezTo>
                <a:cubicBezTo>
                  <a:pt x="2575716" y="2245984"/>
                  <a:pt x="2567762" y="2265070"/>
                  <a:pt x="2548673" y="2268250"/>
                </a:cubicBezTo>
                <a:cubicBezTo>
                  <a:pt x="2547480" y="2257514"/>
                  <a:pt x="2564183" y="2240516"/>
                  <a:pt x="2579320" y="2238725"/>
                </a:cubicBezTo>
                <a:close/>
                <a:moveTo>
                  <a:pt x="2039638" y="2238006"/>
                </a:moveTo>
                <a:cubicBezTo>
                  <a:pt x="2044410" y="2239596"/>
                  <a:pt x="2039638" y="2241187"/>
                  <a:pt x="2046001" y="2238006"/>
                </a:cubicBezTo>
                <a:lnTo>
                  <a:pt x="2050775" y="2242778"/>
                </a:lnTo>
                <a:cubicBezTo>
                  <a:pt x="2049184" y="2244368"/>
                  <a:pt x="2049184" y="2244368"/>
                  <a:pt x="2049184" y="2245959"/>
                </a:cubicBezTo>
                <a:cubicBezTo>
                  <a:pt x="2044410" y="2247549"/>
                  <a:pt x="2038047" y="2250731"/>
                  <a:pt x="2034866" y="2252322"/>
                </a:cubicBezTo>
                <a:cubicBezTo>
                  <a:pt x="2036457" y="2249140"/>
                  <a:pt x="2036457" y="2245959"/>
                  <a:pt x="2034866" y="2242778"/>
                </a:cubicBezTo>
                <a:close/>
                <a:moveTo>
                  <a:pt x="2429369" y="2215763"/>
                </a:moveTo>
                <a:cubicBezTo>
                  <a:pt x="2424597" y="2226897"/>
                  <a:pt x="2427778" y="2253937"/>
                  <a:pt x="2408689" y="2242803"/>
                </a:cubicBezTo>
                <a:cubicBezTo>
                  <a:pt x="2411870" y="2228488"/>
                  <a:pt x="2423006" y="2225308"/>
                  <a:pt x="2429369" y="2215763"/>
                </a:cubicBezTo>
                <a:close/>
                <a:moveTo>
                  <a:pt x="2475499" y="2212581"/>
                </a:moveTo>
                <a:cubicBezTo>
                  <a:pt x="2512087" y="2220535"/>
                  <a:pt x="2486634" y="2273022"/>
                  <a:pt x="2473909" y="2298469"/>
                </a:cubicBezTo>
                <a:cubicBezTo>
                  <a:pt x="2458002" y="2279383"/>
                  <a:pt x="2467546" y="2245983"/>
                  <a:pt x="2475499" y="2212581"/>
                </a:cubicBezTo>
                <a:close/>
                <a:moveTo>
                  <a:pt x="3329723" y="2207809"/>
                </a:moveTo>
                <a:cubicBezTo>
                  <a:pt x="3326542" y="2209402"/>
                  <a:pt x="3324952" y="2210992"/>
                  <a:pt x="3323361" y="2215763"/>
                </a:cubicBezTo>
                <a:cubicBezTo>
                  <a:pt x="3323361" y="2212582"/>
                  <a:pt x="3320179" y="2209402"/>
                  <a:pt x="3318589" y="2209402"/>
                </a:cubicBezTo>
                <a:cubicBezTo>
                  <a:pt x="3316998" y="2215763"/>
                  <a:pt x="3313816" y="2220535"/>
                  <a:pt x="3310635" y="2225306"/>
                </a:cubicBezTo>
                <a:cubicBezTo>
                  <a:pt x="3315407" y="2226895"/>
                  <a:pt x="3318589" y="2226895"/>
                  <a:pt x="3321770" y="2228488"/>
                </a:cubicBezTo>
                <a:cubicBezTo>
                  <a:pt x="3324952" y="2222125"/>
                  <a:pt x="3326542" y="2215763"/>
                  <a:pt x="3329723" y="2207809"/>
                </a:cubicBezTo>
                <a:close/>
                <a:moveTo>
                  <a:pt x="2076225" y="2207786"/>
                </a:moveTo>
                <a:lnTo>
                  <a:pt x="2085770" y="2207786"/>
                </a:lnTo>
                <a:lnTo>
                  <a:pt x="2082588" y="2210969"/>
                </a:lnTo>
                <a:close/>
                <a:moveTo>
                  <a:pt x="3512658" y="2206219"/>
                </a:moveTo>
                <a:cubicBezTo>
                  <a:pt x="3488797" y="2236439"/>
                  <a:pt x="3468118" y="2266659"/>
                  <a:pt x="3460164" y="2304832"/>
                </a:cubicBezTo>
                <a:cubicBezTo>
                  <a:pt x="3488797" y="2304832"/>
                  <a:pt x="3477661" y="2284156"/>
                  <a:pt x="3485615" y="2268250"/>
                </a:cubicBezTo>
                <a:cubicBezTo>
                  <a:pt x="3493569" y="2250755"/>
                  <a:pt x="3506295" y="2233258"/>
                  <a:pt x="3519021" y="2215763"/>
                </a:cubicBezTo>
                <a:cubicBezTo>
                  <a:pt x="3515839" y="2212582"/>
                  <a:pt x="3514249" y="2210992"/>
                  <a:pt x="3512658" y="2206219"/>
                </a:cubicBezTo>
                <a:close/>
                <a:moveTo>
                  <a:pt x="3472890" y="2204630"/>
                </a:moveTo>
                <a:cubicBezTo>
                  <a:pt x="3452210" y="2225306"/>
                  <a:pt x="3433121" y="2249164"/>
                  <a:pt x="3418804" y="2274611"/>
                </a:cubicBezTo>
                <a:cubicBezTo>
                  <a:pt x="3421986" y="2279385"/>
                  <a:pt x="3421986" y="2296878"/>
                  <a:pt x="3414033" y="2295287"/>
                </a:cubicBezTo>
                <a:cubicBezTo>
                  <a:pt x="3412442" y="2293697"/>
                  <a:pt x="3410851" y="2293697"/>
                  <a:pt x="3407670" y="2295287"/>
                </a:cubicBezTo>
                <a:cubicBezTo>
                  <a:pt x="3407670" y="2298469"/>
                  <a:pt x="3406079" y="2300058"/>
                  <a:pt x="3406079" y="2303241"/>
                </a:cubicBezTo>
                <a:cubicBezTo>
                  <a:pt x="3414033" y="2304832"/>
                  <a:pt x="3420395" y="2306422"/>
                  <a:pt x="3426758" y="2308013"/>
                </a:cubicBezTo>
                <a:cubicBezTo>
                  <a:pt x="3445847" y="2268250"/>
                  <a:pt x="3468118" y="2236439"/>
                  <a:pt x="3490388" y="2206219"/>
                </a:cubicBezTo>
                <a:close/>
                <a:moveTo>
                  <a:pt x="2149400" y="2203008"/>
                </a:moveTo>
                <a:lnTo>
                  <a:pt x="2149400" y="2209370"/>
                </a:lnTo>
                <a:lnTo>
                  <a:pt x="2144628" y="2209370"/>
                </a:lnTo>
                <a:cubicBezTo>
                  <a:pt x="2146218" y="2203008"/>
                  <a:pt x="2144628" y="2206188"/>
                  <a:pt x="2149400" y="2203008"/>
                </a:cubicBezTo>
                <a:close/>
                <a:moveTo>
                  <a:pt x="3608102" y="2196676"/>
                </a:moveTo>
                <a:cubicBezTo>
                  <a:pt x="3608102" y="2201450"/>
                  <a:pt x="3606511" y="2206219"/>
                  <a:pt x="3604920" y="2210992"/>
                </a:cubicBezTo>
                <a:cubicBezTo>
                  <a:pt x="3606511" y="2210992"/>
                  <a:pt x="3609693" y="2210992"/>
                  <a:pt x="3612874" y="2210992"/>
                </a:cubicBezTo>
                <a:cubicBezTo>
                  <a:pt x="3612874" y="2206219"/>
                  <a:pt x="3611283" y="2201450"/>
                  <a:pt x="3608102" y="2196676"/>
                </a:cubicBezTo>
                <a:close/>
                <a:moveTo>
                  <a:pt x="4640487" y="2187135"/>
                </a:moveTo>
                <a:cubicBezTo>
                  <a:pt x="4627762" y="2198266"/>
                  <a:pt x="4600719" y="2199855"/>
                  <a:pt x="4583221" y="2206219"/>
                </a:cubicBezTo>
                <a:cubicBezTo>
                  <a:pt x="4594357" y="2195085"/>
                  <a:pt x="4622990" y="2193496"/>
                  <a:pt x="4640487" y="2187135"/>
                </a:cubicBezTo>
                <a:close/>
                <a:moveTo>
                  <a:pt x="4664350" y="2182362"/>
                </a:moveTo>
                <a:cubicBezTo>
                  <a:pt x="4670713" y="2187135"/>
                  <a:pt x="4662759" y="2191906"/>
                  <a:pt x="4657987" y="2188724"/>
                </a:cubicBezTo>
                <a:cubicBezTo>
                  <a:pt x="4653215" y="2190315"/>
                  <a:pt x="4645262" y="2196676"/>
                  <a:pt x="4642079" y="2188724"/>
                </a:cubicBezTo>
                <a:close/>
                <a:moveTo>
                  <a:pt x="2248025" y="2179145"/>
                </a:moveTo>
                <a:cubicBezTo>
                  <a:pt x="2240070" y="2193463"/>
                  <a:pt x="2232118" y="2206188"/>
                  <a:pt x="2220983" y="2220504"/>
                </a:cubicBezTo>
                <a:cubicBezTo>
                  <a:pt x="2220983" y="2217323"/>
                  <a:pt x="2219391" y="2215732"/>
                  <a:pt x="2219391" y="2212550"/>
                </a:cubicBezTo>
                <a:cubicBezTo>
                  <a:pt x="2228936" y="2201416"/>
                  <a:pt x="2238480" y="2190281"/>
                  <a:pt x="2248025" y="2179145"/>
                </a:cubicBezTo>
                <a:close/>
                <a:moveTo>
                  <a:pt x="3538109" y="2169639"/>
                </a:moveTo>
                <a:cubicBezTo>
                  <a:pt x="3530156" y="2180771"/>
                  <a:pt x="3523793" y="2190315"/>
                  <a:pt x="3515839" y="2199855"/>
                </a:cubicBezTo>
                <a:cubicBezTo>
                  <a:pt x="3520612" y="2199855"/>
                  <a:pt x="3525384" y="2201450"/>
                  <a:pt x="3530156" y="2201450"/>
                </a:cubicBezTo>
                <a:cubicBezTo>
                  <a:pt x="3533337" y="2195085"/>
                  <a:pt x="3538109" y="2190315"/>
                  <a:pt x="3542882" y="2183952"/>
                </a:cubicBezTo>
                <a:cubicBezTo>
                  <a:pt x="3541291" y="2179175"/>
                  <a:pt x="3538109" y="2174408"/>
                  <a:pt x="3538109" y="2169639"/>
                </a:cubicBezTo>
                <a:close/>
                <a:moveTo>
                  <a:pt x="2461184" y="2169639"/>
                </a:moveTo>
                <a:cubicBezTo>
                  <a:pt x="2448458" y="2188724"/>
                  <a:pt x="2465956" y="2226895"/>
                  <a:pt x="2450048" y="2249164"/>
                </a:cubicBezTo>
                <a:cubicBezTo>
                  <a:pt x="2450048" y="2228488"/>
                  <a:pt x="2440504" y="2183952"/>
                  <a:pt x="2461184" y="2169639"/>
                </a:cubicBezTo>
                <a:close/>
                <a:moveTo>
                  <a:pt x="2432552" y="2169639"/>
                </a:moveTo>
                <a:cubicBezTo>
                  <a:pt x="2421414" y="2199855"/>
                  <a:pt x="2399144" y="2223716"/>
                  <a:pt x="2388009" y="2238029"/>
                </a:cubicBezTo>
                <a:cubicBezTo>
                  <a:pt x="2389600" y="2212581"/>
                  <a:pt x="2416642" y="2188724"/>
                  <a:pt x="2432552" y="2169639"/>
                </a:cubicBezTo>
                <a:close/>
                <a:moveTo>
                  <a:pt x="4192423" y="2166656"/>
                </a:moveTo>
                <a:cubicBezTo>
                  <a:pt x="4196077" y="2167250"/>
                  <a:pt x="4195481" y="2176790"/>
                  <a:pt x="4196674" y="2179178"/>
                </a:cubicBezTo>
                <a:lnTo>
                  <a:pt x="4144179" y="2193496"/>
                </a:lnTo>
                <a:cubicBezTo>
                  <a:pt x="4158496" y="2185543"/>
                  <a:pt x="4174404" y="2180773"/>
                  <a:pt x="4187129" y="2169639"/>
                </a:cubicBezTo>
                <a:cubicBezTo>
                  <a:pt x="4189516" y="2167250"/>
                  <a:pt x="4191206" y="2166456"/>
                  <a:pt x="4192423" y="2166656"/>
                </a:cubicBezTo>
                <a:close/>
                <a:moveTo>
                  <a:pt x="4042373" y="2158494"/>
                </a:moveTo>
                <a:cubicBezTo>
                  <a:pt x="4039192" y="2158494"/>
                  <a:pt x="4034419" y="2166456"/>
                  <a:pt x="4032828" y="2169639"/>
                </a:cubicBezTo>
                <a:cubicBezTo>
                  <a:pt x="4024875" y="2182362"/>
                  <a:pt x="4028057" y="2203038"/>
                  <a:pt x="4040782" y="2217352"/>
                </a:cubicBezTo>
                <a:cubicBezTo>
                  <a:pt x="4045555" y="2223716"/>
                  <a:pt x="4031238" y="2228488"/>
                  <a:pt x="4032828" y="2238029"/>
                </a:cubicBezTo>
                <a:cubicBezTo>
                  <a:pt x="4058280" y="2225306"/>
                  <a:pt x="4082141" y="2217352"/>
                  <a:pt x="4101230" y="2204630"/>
                </a:cubicBezTo>
                <a:cubicBezTo>
                  <a:pt x="4085323" y="2182362"/>
                  <a:pt x="4063052" y="2161681"/>
                  <a:pt x="4042373" y="2158494"/>
                </a:cubicBezTo>
                <a:close/>
                <a:moveTo>
                  <a:pt x="2580489" y="2156910"/>
                </a:moveTo>
                <a:cubicBezTo>
                  <a:pt x="2569353" y="2163279"/>
                  <a:pt x="2553445" y="2187135"/>
                  <a:pt x="2543901" y="2180771"/>
                </a:cubicBezTo>
                <a:cubicBezTo>
                  <a:pt x="2556628" y="2175998"/>
                  <a:pt x="2572536" y="2153729"/>
                  <a:pt x="2580489" y="2156910"/>
                </a:cubicBezTo>
                <a:close/>
                <a:moveTo>
                  <a:pt x="2192350" y="2156884"/>
                </a:moveTo>
                <a:lnTo>
                  <a:pt x="2193941" y="2163248"/>
                </a:lnTo>
                <a:cubicBezTo>
                  <a:pt x="2193941" y="2164838"/>
                  <a:pt x="2192350" y="2164838"/>
                  <a:pt x="2192350" y="2166427"/>
                </a:cubicBezTo>
                <a:cubicBezTo>
                  <a:pt x="2189168" y="2169605"/>
                  <a:pt x="2189168" y="2168018"/>
                  <a:pt x="2187576" y="2174382"/>
                </a:cubicBezTo>
                <a:lnTo>
                  <a:pt x="2179623" y="2175971"/>
                </a:lnTo>
                <a:cubicBezTo>
                  <a:pt x="2178032" y="2172793"/>
                  <a:pt x="2176442" y="2171199"/>
                  <a:pt x="2176442" y="2168018"/>
                </a:cubicBezTo>
                <a:cubicBezTo>
                  <a:pt x="2181213" y="2163248"/>
                  <a:pt x="2187576" y="2160062"/>
                  <a:pt x="2192350" y="2156884"/>
                </a:cubicBezTo>
                <a:close/>
                <a:moveTo>
                  <a:pt x="2429368" y="2144185"/>
                </a:moveTo>
                <a:cubicBezTo>
                  <a:pt x="2394371" y="2177587"/>
                  <a:pt x="2375283" y="2236443"/>
                  <a:pt x="2338696" y="2266661"/>
                </a:cubicBezTo>
                <a:cubicBezTo>
                  <a:pt x="2359375" y="2201450"/>
                  <a:pt x="2394371" y="2177587"/>
                  <a:pt x="2429368" y="2144185"/>
                </a:cubicBezTo>
                <a:close/>
                <a:moveTo>
                  <a:pt x="4196673" y="2141008"/>
                </a:moveTo>
                <a:cubicBezTo>
                  <a:pt x="4245986" y="2148955"/>
                  <a:pt x="4293708" y="2180771"/>
                  <a:pt x="4343021" y="2196676"/>
                </a:cubicBezTo>
                <a:cubicBezTo>
                  <a:pt x="4352565" y="2199855"/>
                  <a:pt x="4376426" y="2215763"/>
                  <a:pt x="4384380" y="2220535"/>
                </a:cubicBezTo>
                <a:cubicBezTo>
                  <a:pt x="4381198" y="2238029"/>
                  <a:pt x="4363700" y="2228488"/>
                  <a:pt x="4357338" y="2225306"/>
                </a:cubicBezTo>
                <a:cubicBezTo>
                  <a:pt x="4309615" y="2199855"/>
                  <a:pt x="4253939" y="2180771"/>
                  <a:pt x="4206218" y="2153729"/>
                </a:cubicBezTo>
                <a:cubicBezTo>
                  <a:pt x="4203036" y="2153729"/>
                  <a:pt x="4198264" y="2145774"/>
                  <a:pt x="4196673" y="2141008"/>
                </a:cubicBezTo>
                <a:close/>
                <a:moveTo>
                  <a:pt x="3344040" y="2137827"/>
                </a:moveTo>
                <a:cubicBezTo>
                  <a:pt x="3340859" y="2153729"/>
                  <a:pt x="3336086" y="2169639"/>
                  <a:pt x="3329723" y="2183952"/>
                </a:cubicBezTo>
                <a:cubicBezTo>
                  <a:pt x="3332905" y="2183952"/>
                  <a:pt x="3334496" y="2183952"/>
                  <a:pt x="3337677" y="2183952"/>
                </a:cubicBezTo>
                <a:cubicBezTo>
                  <a:pt x="3340859" y="2169639"/>
                  <a:pt x="3344040" y="2153729"/>
                  <a:pt x="3345631" y="2137827"/>
                </a:cubicBezTo>
                <a:cubicBezTo>
                  <a:pt x="3345631" y="2137827"/>
                  <a:pt x="3344040" y="2137827"/>
                  <a:pt x="3344040" y="2137827"/>
                </a:cubicBezTo>
                <a:close/>
                <a:moveTo>
                  <a:pt x="2338696" y="2125097"/>
                </a:moveTo>
                <a:cubicBezTo>
                  <a:pt x="2321199" y="2268250"/>
                  <a:pt x="2343469" y="2387535"/>
                  <a:pt x="2302109" y="2533859"/>
                </a:cubicBezTo>
                <a:cubicBezTo>
                  <a:pt x="2262342" y="2586348"/>
                  <a:pt x="2174851" y="2559310"/>
                  <a:pt x="2150989" y="2635666"/>
                </a:cubicBezTo>
                <a:cubicBezTo>
                  <a:pt x="2203484" y="2672247"/>
                  <a:pt x="2257570" y="2729513"/>
                  <a:pt x="2208256" y="2812231"/>
                </a:cubicBezTo>
                <a:cubicBezTo>
                  <a:pt x="2152580" y="2839274"/>
                  <a:pt x="2049183" y="2788370"/>
                  <a:pt x="2041229" y="2891768"/>
                </a:cubicBezTo>
                <a:cubicBezTo>
                  <a:pt x="2050775" y="2958579"/>
                  <a:pt x="2205075" y="3023799"/>
                  <a:pt x="2109631" y="3112880"/>
                </a:cubicBezTo>
                <a:cubicBezTo>
                  <a:pt x="2085770" y="3135150"/>
                  <a:pt x="2039638" y="3122424"/>
                  <a:pt x="2020551" y="3160602"/>
                </a:cubicBezTo>
                <a:cubicBezTo>
                  <a:pt x="1898063" y="3206734"/>
                  <a:pt x="1885337" y="3071521"/>
                  <a:pt x="1840797" y="3009482"/>
                </a:cubicBezTo>
                <a:cubicBezTo>
                  <a:pt x="1874202" y="3020617"/>
                  <a:pt x="1864658" y="3058795"/>
                  <a:pt x="1894882" y="3071521"/>
                </a:cubicBezTo>
                <a:cubicBezTo>
                  <a:pt x="1890109" y="3038115"/>
                  <a:pt x="1866248" y="3015845"/>
                  <a:pt x="1848751" y="2990394"/>
                </a:cubicBezTo>
                <a:cubicBezTo>
                  <a:pt x="1855114" y="2988803"/>
                  <a:pt x="1858295" y="2980849"/>
                  <a:pt x="1859886" y="2971305"/>
                </a:cubicBezTo>
                <a:cubicBezTo>
                  <a:pt x="1875793" y="3014254"/>
                  <a:pt x="1937832" y="3042887"/>
                  <a:pt x="1925106" y="3095381"/>
                </a:cubicBezTo>
                <a:cubicBezTo>
                  <a:pt x="1977600" y="3046069"/>
                  <a:pt x="1848751" y="3001529"/>
                  <a:pt x="1877384" y="2939490"/>
                </a:cubicBezTo>
                <a:cubicBezTo>
                  <a:pt x="1907608" y="2999938"/>
                  <a:pt x="2006233" y="3050841"/>
                  <a:pt x="1982372" y="3119243"/>
                </a:cubicBezTo>
                <a:cubicBezTo>
                  <a:pt x="2063499" y="3061977"/>
                  <a:pt x="1877384" y="2977667"/>
                  <a:pt x="1893291" y="2910857"/>
                </a:cubicBezTo>
                <a:cubicBezTo>
                  <a:pt x="1953739" y="2947443"/>
                  <a:pt x="1942604" y="3009482"/>
                  <a:pt x="2015778" y="3034934"/>
                </a:cubicBezTo>
                <a:cubicBezTo>
                  <a:pt x="2017368" y="3047660"/>
                  <a:pt x="2015778" y="3063567"/>
                  <a:pt x="2033275" y="3066748"/>
                </a:cubicBezTo>
                <a:cubicBezTo>
                  <a:pt x="2038048" y="2976076"/>
                  <a:pt x="1910790" y="2955397"/>
                  <a:pt x="1907608" y="2879042"/>
                </a:cubicBezTo>
                <a:cubicBezTo>
                  <a:pt x="1945785" y="2925173"/>
                  <a:pt x="2015778" y="2991984"/>
                  <a:pt x="2061909" y="3031753"/>
                </a:cubicBezTo>
                <a:cubicBezTo>
                  <a:pt x="2069862" y="3012664"/>
                  <a:pt x="2055546" y="3006301"/>
                  <a:pt x="2044411" y="2999938"/>
                </a:cubicBezTo>
                <a:cubicBezTo>
                  <a:pt x="2042820" y="2987212"/>
                  <a:pt x="2055546" y="2999938"/>
                  <a:pt x="2053955" y="2987212"/>
                </a:cubicBezTo>
                <a:cubicBezTo>
                  <a:pt x="2018959" y="2966533"/>
                  <a:pt x="1964874" y="2945853"/>
                  <a:pt x="1971237" y="2907675"/>
                </a:cubicBezTo>
                <a:cubicBezTo>
                  <a:pt x="1948966" y="2886995"/>
                  <a:pt x="1910790" y="2861544"/>
                  <a:pt x="1921925" y="2828138"/>
                </a:cubicBezTo>
                <a:cubicBezTo>
                  <a:pt x="1955330" y="2875861"/>
                  <a:pt x="1996689" y="2931536"/>
                  <a:pt x="2041229" y="2961760"/>
                </a:cubicBezTo>
                <a:cubicBezTo>
                  <a:pt x="2004642" y="2910857"/>
                  <a:pt x="1971237" y="2858362"/>
                  <a:pt x="1929878" y="2809050"/>
                </a:cubicBezTo>
                <a:cubicBezTo>
                  <a:pt x="1934650" y="2797914"/>
                  <a:pt x="1931469" y="2777235"/>
                  <a:pt x="1941013" y="2772462"/>
                </a:cubicBezTo>
                <a:cubicBezTo>
                  <a:pt x="1958512" y="2815413"/>
                  <a:pt x="1995098" y="2845637"/>
                  <a:pt x="2031685" y="2877452"/>
                </a:cubicBezTo>
                <a:cubicBezTo>
                  <a:pt x="2020551" y="2815413"/>
                  <a:pt x="1928287" y="2789961"/>
                  <a:pt x="1958512" y="2712015"/>
                </a:cubicBezTo>
                <a:cubicBezTo>
                  <a:pt x="1980781" y="2743830"/>
                  <a:pt x="1996689" y="2794734"/>
                  <a:pt x="2033275" y="2807459"/>
                </a:cubicBezTo>
                <a:cubicBezTo>
                  <a:pt x="2023731" y="2745420"/>
                  <a:pt x="1952148" y="2707243"/>
                  <a:pt x="1976009" y="2634075"/>
                </a:cubicBezTo>
                <a:cubicBezTo>
                  <a:pt x="2006233" y="2686563"/>
                  <a:pt x="2028504" y="2740648"/>
                  <a:pt x="2079407" y="2778826"/>
                </a:cubicBezTo>
                <a:cubicBezTo>
                  <a:pt x="2058728" y="2708833"/>
                  <a:pt x="1968056" y="2667475"/>
                  <a:pt x="1999871" y="2575214"/>
                </a:cubicBezTo>
                <a:cubicBezTo>
                  <a:pt x="2020551" y="2635666"/>
                  <a:pt x="2057137" y="2699289"/>
                  <a:pt x="2103268" y="2734286"/>
                </a:cubicBezTo>
                <a:cubicBezTo>
                  <a:pt x="2080998" y="2661111"/>
                  <a:pt x="1988736" y="2603848"/>
                  <a:pt x="2020551" y="2516364"/>
                </a:cubicBezTo>
                <a:cubicBezTo>
                  <a:pt x="2057137" y="2599076"/>
                  <a:pt x="2088952" y="2683382"/>
                  <a:pt x="2171670" y="2735876"/>
                </a:cubicBezTo>
                <a:cubicBezTo>
                  <a:pt x="2141446" y="2689745"/>
                  <a:pt x="2108040" y="2653157"/>
                  <a:pt x="2077816" y="2600667"/>
                </a:cubicBezTo>
                <a:cubicBezTo>
                  <a:pt x="2055546" y="2560900"/>
                  <a:pt x="2018959" y="2505232"/>
                  <a:pt x="2046003" y="2471830"/>
                </a:cubicBezTo>
                <a:cubicBezTo>
                  <a:pt x="2077816" y="2508412"/>
                  <a:pt x="2085770" y="2575214"/>
                  <a:pt x="2123947" y="2599076"/>
                </a:cubicBezTo>
                <a:cubicBezTo>
                  <a:pt x="2106450" y="2548176"/>
                  <a:pt x="2079407" y="2502050"/>
                  <a:pt x="2060318" y="2452744"/>
                </a:cubicBezTo>
                <a:cubicBezTo>
                  <a:pt x="2069862" y="2447973"/>
                  <a:pt x="2074635" y="2436839"/>
                  <a:pt x="2080998" y="2425707"/>
                </a:cubicBezTo>
                <a:cubicBezTo>
                  <a:pt x="2108040" y="2471830"/>
                  <a:pt x="2114403" y="2530679"/>
                  <a:pt x="2155762" y="2567261"/>
                </a:cubicBezTo>
                <a:cubicBezTo>
                  <a:pt x="2136673" y="2516364"/>
                  <a:pt x="2123947" y="2459107"/>
                  <a:pt x="2101677" y="2409801"/>
                </a:cubicBezTo>
                <a:cubicBezTo>
                  <a:pt x="2111222" y="2400260"/>
                  <a:pt x="2115994" y="2382764"/>
                  <a:pt x="2127129" y="2376402"/>
                </a:cubicBezTo>
                <a:cubicBezTo>
                  <a:pt x="2138264" y="2436839"/>
                  <a:pt x="2160534" y="2506821"/>
                  <a:pt x="2201894" y="2538631"/>
                </a:cubicBezTo>
                <a:cubicBezTo>
                  <a:pt x="2189167" y="2479784"/>
                  <a:pt x="2109631" y="2398670"/>
                  <a:pt x="2166897" y="2343002"/>
                </a:cubicBezTo>
                <a:cubicBezTo>
                  <a:pt x="2176442" y="2408212"/>
                  <a:pt x="2198712" y="2467058"/>
                  <a:pt x="2240071" y="2511592"/>
                </a:cubicBezTo>
                <a:cubicBezTo>
                  <a:pt x="2224164" y="2449563"/>
                  <a:pt x="2157353" y="2365269"/>
                  <a:pt x="2197121" y="2306422"/>
                </a:cubicBezTo>
                <a:cubicBezTo>
                  <a:pt x="2206666" y="2360499"/>
                  <a:pt x="2227345" y="2406621"/>
                  <a:pt x="2257570" y="2447973"/>
                </a:cubicBezTo>
                <a:cubicBezTo>
                  <a:pt x="2244843" y="2392307"/>
                  <a:pt x="2192349" y="2309602"/>
                  <a:pt x="2232118" y="2257116"/>
                </a:cubicBezTo>
                <a:cubicBezTo>
                  <a:pt x="2225755" y="2317554"/>
                  <a:pt x="2255978" y="2354136"/>
                  <a:pt x="2276658" y="2395488"/>
                </a:cubicBezTo>
                <a:cubicBezTo>
                  <a:pt x="2267113" y="2343002"/>
                  <a:pt x="2225755" y="2273022"/>
                  <a:pt x="2267113" y="2215763"/>
                </a:cubicBezTo>
                <a:cubicBezTo>
                  <a:pt x="2275067" y="2250755"/>
                  <a:pt x="2278248" y="2290517"/>
                  <a:pt x="2298928" y="2315965"/>
                </a:cubicBezTo>
                <a:cubicBezTo>
                  <a:pt x="2295747" y="2273022"/>
                  <a:pt x="2265523" y="2199855"/>
                  <a:pt x="2308474" y="2164864"/>
                </a:cubicBezTo>
                <a:cubicBezTo>
                  <a:pt x="2308474" y="2183952"/>
                  <a:pt x="2306882" y="2204629"/>
                  <a:pt x="2322789" y="2214173"/>
                </a:cubicBezTo>
                <a:cubicBezTo>
                  <a:pt x="2329152" y="2183952"/>
                  <a:pt x="2302109" y="2128281"/>
                  <a:pt x="2338696" y="2125097"/>
                </a:cubicBezTo>
                <a:close/>
                <a:moveTo>
                  <a:pt x="2259161" y="2123469"/>
                </a:moveTo>
                <a:cubicBezTo>
                  <a:pt x="2246435" y="2147332"/>
                  <a:pt x="2232118" y="2169600"/>
                  <a:pt x="2214619" y="2191869"/>
                </a:cubicBezTo>
                <a:cubicBezTo>
                  <a:pt x="2214619" y="2191869"/>
                  <a:pt x="2213028" y="2190279"/>
                  <a:pt x="2213028" y="2188688"/>
                </a:cubicBezTo>
                <a:cubicBezTo>
                  <a:pt x="2211439" y="2185508"/>
                  <a:pt x="2211439" y="2182326"/>
                  <a:pt x="2209847" y="2179143"/>
                </a:cubicBezTo>
                <a:cubicBezTo>
                  <a:pt x="2225755" y="2161647"/>
                  <a:pt x="2241663" y="2142559"/>
                  <a:pt x="2259161" y="2123469"/>
                </a:cubicBezTo>
                <a:close/>
                <a:moveTo>
                  <a:pt x="3534928" y="2121918"/>
                </a:moveTo>
                <a:cubicBezTo>
                  <a:pt x="3528566" y="2134647"/>
                  <a:pt x="3522203" y="2147368"/>
                  <a:pt x="3512658" y="2161681"/>
                </a:cubicBezTo>
                <a:cubicBezTo>
                  <a:pt x="3503114" y="2172821"/>
                  <a:pt x="3490388" y="2185543"/>
                  <a:pt x="3476071" y="2199855"/>
                </a:cubicBezTo>
                <a:cubicBezTo>
                  <a:pt x="3482434" y="2199855"/>
                  <a:pt x="3487206" y="2199855"/>
                  <a:pt x="3493569" y="2199855"/>
                </a:cubicBezTo>
                <a:cubicBezTo>
                  <a:pt x="3507885" y="2182362"/>
                  <a:pt x="3520612" y="2164864"/>
                  <a:pt x="3531747" y="2145774"/>
                </a:cubicBezTo>
                <a:cubicBezTo>
                  <a:pt x="3531747" y="2137827"/>
                  <a:pt x="3533337" y="2129870"/>
                  <a:pt x="3534928" y="2121918"/>
                </a:cubicBezTo>
                <a:close/>
                <a:moveTo>
                  <a:pt x="975437" y="2112308"/>
                </a:moveTo>
                <a:cubicBezTo>
                  <a:pt x="919761" y="2126625"/>
                  <a:pt x="872040" y="2155258"/>
                  <a:pt x="843407" y="2210933"/>
                </a:cubicBezTo>
                <a:cubicBezTo>
                  <a:pt x="881584" y="2169576"/>
                  <a:pt x="934079" y="2148895"/>
                  <a:pt x="975437" y="2112308"/>
                </a:cubicBezTo>
                <a:close/>
                <a:moveTo>
                  <a:pt x="2090542" y="2105983"/>
                </a:moveTo>
                <a:lnTo>
                  <a:pt x="2095314" y="2110753"/>
                </a:lnTo>
                <a:lnTo>
                  <a:pt x="2090542" y="2113938"/>
                </a:lnTo>
                <a:lnTo>
                  <a:pt x="2087361" y="2110753"/>
                </a:lnTo>
                <a:close/>
                <a:moveTo>
                  <a:pt x="2378167" y="2105911"/>
                </a:moveTo>
                <a:cubicBezTo>
                  <a:pt x="2380255" y="2105018"/>
                  <a:pt x="2382840" y="2104819"/>
                  <a:pt x="2386419" y="2106014"/>
                </a:cubicBezTo>
                <a:cubicBezTo>
                  <a:pt x="2386419" y="2131465"/>
                  <a:pt x="2370511" y="2142597"/>
                  <a:pt x="2351423" y="2148955"/>
                </a:cubicBezTo>
                <a:cubicBezTo>
                  <a:pt x="2354604" y="2137827"/>
                  <a:pt x="2356194" y="2126691"/>
                  <a:pt x="2359376" y="2113969"/>
                </a:cubicBezTo>
                <a:cubicBezTo>
                  <a:pt x="2370114" y="2117543"/>
                  <a:pt x="2371904" y="2108595"/>
                  <a:pt x="2378167" y="2105911"/>
                </a:cubicBezTo>
                <a:close/>
                <a:moveTo>
                  <a:pt x="3501523" y="2098062"/>
                </a:moveTo>
                <a:cubicBezTo>
                  <a:pt x="3488797" y="2121918"/>
                  <a:pt x="3477661" y="2144185"/>
                  <a:pt x="3464936" y="2164864"/>
                </a:cubicBezTo>
                <a:cubicBezTo>
                  <a:pt x="3460164" y="2171224"/>
                  <a:pt x="3452210" y="2180771"/>
                  <a:pt x="3442666" y="2188724"/>
                </a:cubicBezTo>
                <a:cubicBezTo>
                  <a:pt x="3445847" y="2191906"/>
                  <a:pt x="3449028" y="2195085"/>
                  <a:pt x="3452210" y="2196676"/>
                </a:cubicBezTo>
                <a:cubicBezTo>
                  <a:pt x="3452210" y="2196676"/>
                  <a:pt x="3450619" y="2196676"/>
                  <a:pt x="3450619" y="2196676"/>
                </a:cubicBezTo>
                <a:lnTo>
                  <a:pt x="3450619" y="2197586"/>
                </a:lnTo>
                <a:lnTo>
                  <a:pt x="3436899" y="2205427"/>
                </a:lnTo>
                <a:cubicBezTo>
                  <a:pt x="3431928" y="2208207"/>
                  <a:pt x="3427554" y="2210194"/>
                  <a:pt x="3425167" y="2209402"/>
                </a:cubicBezTo>
                <a:cubicBezTo>
                  <a:pt x="3423576" y="2209402"/>
                  <a:pt x="3421986" y="2207809"/>
                  <a:pt x="3420395" y="2207809"/>
                </a:cubicBezTo>
                <a:cubicBezTo>
                  <a:pt x="3409261" y="2217352"/>
                  <a:pt x="3396534" y="2226895"/>
                  <a:pt x="3386990" y="2238029"/>
                </a:cubicBezTo>
                <a:cubicBezTo>
                  <a:pt x="3391762" y="2239621"/>
                  <a:pt x="3394944" y="2241212"/>
                  <a:pt x="3398125" y="2247575"/>
                </a:cubicBezTo>
                <a:cubicBezTo>
                  <a:pt x="3404488" y="2258707"/>
                  <a:pt x="3382218" y="2257116"/>
                  <a:pt x="3383809" y="2265070"/>
                </a:cubicBezTo>
                <a:cubicBezTo>
                  <a:pt x="3388580" y="2261887"/>
                  <a:pt x="3391762" y="2260298"/>
                  <a:pt x="3396534" y="2260298"/>
                </a:cubicBezTo>
                <a:cubicBezTo>
                  <a:pt x="3415623" y="2241212"/>
                  <a:pt x="3433121" y="2220535"/>
                  <a:pt x="3450619" y="2198266"/>
                </a:cubicBezTo>
                <a:lnTo>
                  <a:pt x="3450619" y="2197586"/>
                </a:lnTo>
                <a:lnTo>
                  <a:pt x="3452210" y="2196676"/>
                </a:lnTo>
                <a:cubicBezTo>
                  <a:pt x="3476071" y="2168048"/>
                  <a:pt x="3496751" y="2136238"/>
                  <a:pt x="3515839" y="2099652"/>
                </a:cubicBezTo>
                <a:cubicBezTo>
                  <a:pt x="3515839" y="2099652"/>
                  <a:pt x="3514249" y="2099652"/>
                  <a:pt x="3514249" y="2099652"/>
                </a:cubicBezTo>
                <a:cubicBezTo>
                  <a:pt x="3509476" y="2099652"/>
                  <a:pt x="3503114" y="2098062"/>
                  <a:pt x="3501523" y="2098062"/>
                </a:cubicBezTo>
                <a:close/>
                <a:moveTo>
                  <a:pt x="2079407" y="2094852"/>
                </a:moveTo>
                <a:lnTo>
                  <a:pt x="2077816" y="2099623"/>
                </a:lnTo>
                <a:lnTo>
                  <a:pt x="2071453" y="2096442"/>
                </a:lnTo>
                <a:close/>
                <a:moveTo>
                  <a:pt x="2068272" y="2088490"/>
                </a:moveTo>
                <a:lnTo>
                  <a:pt x="2068272" y="2093262"/>
                </a:lnTo>
                <a:lnTo>
                  <a:pt x="2061909" y="2093262"/>
                </a:lnTo>
                <a:close/>
                <a:moveTo>
                  <a:pt x="4516237" y="2086630"/>
                </a:moveTo>
                <a:cubicBezTo>
                  <a:pt x="4519095" y="2086434"/>
                  <a:pt x="4521581" y="2086531"/>
                  <a:pt x="4522773" y="2086927"/>
                </a:cubicBezTo>
                <a:cubicBezTo>
                  <a:pt x="4578449" y="2099652"/>
                  <a:pt x="4632534" y="2120328"/>
                  <a:pt x="4692982" y="2125097"/>
                </a:cubicBezTo>
                <a:cubicBezTo>
                  <a:pt x="4699345" y="2126691"/>
                  <a:pt x="4718434" y="2134647"/>
                  <a:pt x="4708890" y="2144185"/>
                </a:cubicBezTo>
                <a:cubicBezTo>
                  <a:pt x="4700936" y="2150547"/>
                  <a:pt x="4691391" y="2141008"/>
                  <a:pt x="4680256" y="2141008"/>
                </a:cubicBezTo>
                <a:cubicBezTo>
                  <a:pt x="4680256" y="2134647"/>
                  <a:pt x="4673893" y="2131462"/>
                  <a:pt x="4669121" y="2136238"/>
                </a:cubicBezTo>
                <a:cubicBezTo>
                  <a:pt x="4630943" y="2120328"/>
                  <a:pt x="4589584" y="2110781"/>
                  <a:pt x="4545043" y="2110781"/>
                </a:cubicBezTo>
                <a:cubicBezTo>
                  <a:pt x="4530727" y="2110781"/>
                  <a:pt x="4518001" y="2104422"/>
                  <a:pt x="4505275" y="2096473"/>
                </a:cubicBezTo>
                <a:cubicBezTo>
                  <a:pt x="4495731" y="2090508"/>
                  <a:pt x="4507662" y="2087229"/>
                  <a:pt x="4516237" y="2086630"/>
                </a:cubicBezTo>
                <a:close/>
                <a:moveTo>
                  <a:pt x="2467547" y="2078973"/>
                </a:moveTo>
                <a:cubicBezTo>
                  <a:pt x="2469138" y="2093291"/>
                  <a:pt x="2458004" y="2115553"/>
                  <a:pt x="2446866" y="2123508"/>
                </a:cubicBezTo>
                <a:cubicBezTo>
                  <a:pt x="2440504" y="2106014"/>
                  <a:pt x="2456411" y="2085338"/>
                  <a:pt x="2467547" y="2078973"/>
                </a:cubicBezTo>
                <a:close/>
                <a:moveTo>
                  <a:pt x="2085324" y="2065389"/>
                </a:moveTo>
                <a:lnTo>
                  <a:pt x="2093723" y="2070991"/>
                </a:lnTo>
                <a:cubicBezTo>
                  <a:pt x="2092133" y="2072580"/>
                  <a:pt x="2090542" y="2074171"/>
                  <a:pt x="2090542" y="2074171"/>
                </a:cubicBezTo>
                <a:lnTo>
                  <a:pt x="2084179" y="2069399"/>
                </a:lnTo>
                <a:close/>
                <a:moveTo>
                  <a:pt x="2084179" y="2064629"/>
                </a:moveTo>
                <a:cubicBezTo>
                  <a:pt x="2084179" y="2065422"/>
                  <a:pt x="2084976" y="2065024"/>
                  <a:pt x="2085372" y="2065223"/>
                </a:cubicBezTo>
                <a:lnTo>
                  <a:pt x="2085324" y="2065389"/>
                </a:lnTo>
                <a:close/>
                <a:moveTo>
                  <a:pt x="2446867" y="2056705"/>
                </a:moveTo>
                <a:cubicBezTo>
                  <a:pt x="2454821" y="2069427"/>
                  <a:pt x="2434141" y="2104422"/>
                  <a:pt x="2423006" y="2118733"/>
                </a:cubicBezTo>
                <a:cubicBezTo>
                  <a:pt x="2416642" y="2109193"/>
                  <a:pt x="2432550" y="2064655"/>
                  <a:pt x="2446867" y="2056705"/>
                </a:cubicBezTo>
                <a:close/>
                <a:moveTo>
                  <a:pt x="2351423" y="2051930"/>
                </a:moveTo>
                <a:cubicBezTo>
                  <a:pt x="2345061" y="2067838"/>
                  <a:pt x="2354605" y="2078973"/>
                  <a:pt x="2341878" y="2082157"/>
                </a:cubicBezTo>
                <a:cubicBezTo>
                  <a:pt x="2337106" y="2072610"/>
                  <a:pt x="2345061" y="2056705"/>
                  <a:pt x="2351423" y="2051930"/>
                </a:cubicBezTo>
                <a:close/>
                <a:moveTo>
                  <a:pt x="4073070" y="2041690"/>
                </a:moveTo>
                <a:cubicBezTo>
                  <a:pt x="4071901" y="2041396"/>
                  <a:pt x="4070609" y="2041988"/>
                  <a:pt x="4069415" y="2043973"/>
                </a:cubicBezTo>
                <a:cubicBezTo>
                  <a:pt x="4067824" y="2045558"/>
                  <a:pt x="4063052" y="2048748"/>
                  <a:pt x="4063052" y="2051924"/>
                </a:cubicBezTo>
                <a:cubicBezTo>
                  <a:pt x="4061461" y="2059884"/>
                  <a:pt x="4071006" y="2056705"/>
                  <a:pt x="4074188" y="2055107"/>
                </a:cubicBezTo>
                <a:cubicBezTo>
                  <a:pt x="4078961" y="2051526"/>
                  <a:pt x="4076574" y="2042580"/>
                  <a:pt x="4073070" y="2041690"/>
                </a:cubicBezTo>
                <a:close/>
                <a:moveTo>
                  <a:pt x="2426187" y="2040800"/>
                </a:moveTo>
                <a:cubicBezTo>
                  <a:pt x="2426187" y="2059884"/>
                  <a:pt x="2413461" y="2094882"/>
                  <a:pt x="2397553" y="2102832"/>
                </a:cubicBezTo>
                <a:cubicBezTo>
                  <a:pt x="2403916" y="2075793"/>
                  <a:pt x="2411870" y="2055107"/>
                  <a:pt x="2426187" y="2040800"/>
                </a:cubicBezTo>
                <a:close/>
                <a:moveTo>
                  <a:pt x="2378466" y="2040800"/>
                </a:moveTo>
                <a:cubicBezTo>
                  <a:pt x="2373693" y="2056705"/>
                  <a:pt x="2375284" y="2082157"/>
                  <a:pt x="2364148" y="2091704"/>
                </a:cubicBezTo>
                <a:cubicBezTo>
                  <a:pt x="2357785" y="2083747"/>
                  <a:pt x="2360967" y="2037595"/>
                  <a:pt x="2378466" y="2040800"/>
                </a:cubicBezTo>
                <a:close/>
                <a:moveTo>
                  <a:pt x="2178032" y="2034369"/>
                </a:moveTo>
                <a:cubicBezTo>
                  <a:pt x="2187576" y="2042343"/>
                  <a:pt x="2197121" y="2051892"/>
                  <a:pt x="2208257" y="2059845"/>
                </a:cubicBezTo>
                <a:cubicBezTo>
                  <a:pt x="2198712" y="2058252"/>
                  <a:pt x="2189167" y="2055070"/>
                  <a:pt x="2181213" y="2051892"/>
                </a:cubicBezTo>
                <a:cubicBezTo>
                  <a:pt x="2179624" y="2045523"/>
                  <a:pt x="2179624" y="2040758"/>
                  <a:pt x="2178032" y="2034369"/>
                </a:cubicBezTo>
                <a:close/>
                <a:moveTo>
                  <a:pt x="2687067" y="2031224"/>
                </a:moveTo>
                <a:cubicBezTo>
                  <a:pt x="2685477" y="2031224"/>
                  <a:pt x="2683885" y="2032810"/>
                  <a:pt x="2682295" y="2034387"/>
                </a:cubicBezTo>
                <a:cubicBezTo>
                  <a:pt x="2688658" y="2040800"/>
                  <a:pt x="2696612" y="2047153"/>
                  <a:pt x="2704566" y="2048748"/>
                </a:cubicBezTo>
                <a:cubicBezTo>
                  <a:pt x="2707747" y="2047153"/>
                  <a:pt x="2710929" y="2043973"/>
                  <a:pt x="2714109" y="2042384"/>
                </a:cubicBezTo>
                <a:cubicBezTo>
                  <a:pt x="2704566" y="2040800"/>
                  <a:pt x="2695021" y="2039200"/>
                  <a:pt x="2687067" y="2031224"/>
                </a:cubicBezTo>
                <a:close/>
                <a:moveTo>
                  <a:pt x="2392781" y="2029644"/>
                </a:moveTo>
                <a:cubicBezTo>
                  <a:pt x="2397553" y="2032810"/>
                  <a:pt x="2410280" y="2029644"/>
                  <a:pt x="2410280" y="2037595"/>
                </a:cubicBezTo>
                <a:cubicBezTo>
                  <a:pt x="2395962" y="2047153"/>
                  <a:pt x="2400735" y="2085338"/>
                  <a:pt x="2383237" y="2091704"/>
                </a:cubicBezTo>
                <a:cubicBezTo>
                  <a:pt x="2378465" y="2075793"/>
                  <a:pt x="2391191" y="2048748"/>
                  <a:pt x="2392781" y="2029644"/>
                </a:cubicBezTo>
                <a:close/>
                <a:moveTo>
                  <a:pt x="1936242" y="2015295"/>
                </a:moveTo>
                <a:lnTo>
                  <a:pt x="1941014" y="2015295"/>
                </a:lnTo>
                <a:lnTo>
                  <a:pt x="1936242" y="2020066"/>
                </a:lnTo>
                <a:close/>
                <a:moveTo>
                  <a:pt x="2136475" y="2001965"/>
                </a:moveTo>
                <a:cubicBezTo>
                  <a:pt x="2137469" y="2001369"/>
                  <a:pt x="2139060" y="2001767"/>
                  <a:pt x="2143036" y="2002562"/>
                </a:cubicBezTo>
                <a:cubicBezTo>
                  <a:pt x="2139855" y="2007333"/>
                  <a:pt x="2143036" y="2005743"/>
                  <a:pt x="2133492" y="2007333"/>
                </a:cubicBezTo>
                <a:cubicBezTo>
                  <a:pt x="2135083" y="2004152"/>
                  <a:pt x="2135481" y="2002562"/>
                  <a:pt x="2136475" y="2001965"/>
                </a:cubicBezTo>
                <a:close/>
                <a:moveTo>
                  <a:pt x="2031685" y="1991436"/>
                </a:moveTo>
                <a:cubicBezTo>
                  <a:pt x="2033275" y="1991436"/>
                  <a:pt x="2038048" y="1994616"/>
                  <a:pt x="2039639" y="1996205"/>
                </a:cubicBezTo>
                <a:cubicBezTo>
                  <a:pt x="2039639" y="1999385"/>
                  <a:pt x="2039639" y="1999385"/>
                  <a:pt x="2036457" y="1999385"/>
                </a:cubicBezTo>
                <a:cubicBezTo>
                  <a:pt x="2031685" y="1997795"/>
                  <a:pt x="2028503" y="1996205"/>
                  <a:pt x="2023731" y="1994616"/>
                </a:cubicBezTo>
                <a:cubicBezTo>
                  <a:pt x="2026912" y="1993026"/>
                  <a:pt x="2026912" y="1991436"/>
                  <a:pt x="2031685" y="1991436"/>
                </a:cubicBezTo>
                <a:close/>
                <a:moveTo>
                  <a:pt x="2761111" y="1989640"/>
                </a:moveTo>
                <a:cubicBezTo>
                  <a:pt x="2759049" y="1989369"/>
                  <a:pt x="2756661" y="1989866"/>
                  <a:pt x="2753878" y="1991456"/>
                </a:cubicBezTo>
                <a:cubicBezTo>
                  <a:pt x="2749106" y="1993044"/>
                  <a:pt x="2747516" y="2005764"/>
                  <a:pt x="2737971" y="1994636"/>
                </a:cubicBezTo>
                <a:cubicBezTo>
                  <a:pt x="2730017" y="2000989"/>
                  <a:pt x="2723654" y="2005764"/>
                  <a:pt x="2717291" y="2008944"/>
                </a:cubicBezTo>
                <a:cubicBezTo>
                  <a:pt x="2726836" y="2015312"/>
                  <a:pt x="2736380" y="2020092"/>
                  <a:pt x="2747516" y="2020092"/>
                </a:cubicBezTo>
                <a:cubicBezTo>
                  <a:pt x="2755469" y="2015312"/>
                  <a:pt x="2765013" y="2008944"/>
                  <a:pt x="2772966" y="2004171"/>
                </a:cubicBezTo>
                <a:cubicBezTo>
                  <a:pt x="2770580" y="1998210"/>
                  <a:pt x="2767299" y="1990460"/>
                  <a:pt x="2761111" y="1989640"/>
                </a:cubicBezTo>
                <a:close/>
                <a:moveTo>
                  <a:pt x="2098497" y="1988256"/>
                </a:moveTo>
                <a:lnTo>
                  <a:pt x="2103270" y="1993026"/>
                </a:lnTo>
                <a:lnTo>
                  <a:pt x="2098497" y="1994616"/>
                </a:lnTo>
                <a:close/>
                <a:moveTo>
                  <a:pt x="326418" y="1988233"/>
                </a:moveTo>
                <a:cubicBezTo>
                  <a:pt x="275515" y="1994596"/>
                  <a:pt x="176889" y="2005730"/>
                  <a:pt x="133940" y="2055044"/>
                </a:cubicBezTo>
                <a:cubicBezTo>
                  <a:pt x="195979" y="2029591"/>
                  <a:pt x="259608" y="2007322"/>
                  <a:pt x="326418" y="1988233"/>
                </a:cubicBezTo>
                <a:close/>
                <a:moveTo>
                  <a:pt x="1319037" y="1988231"/>
                </a:moveTo>
                <a:cubicBezTo>
                  <a:pt x="1319037" y="2091629"/>
                  <a:pt x="1319037" y="2249112"/>
                  <a:pt x="1277679" y="2269790"/>
                </a:cubicBezTo>
                <a:cubicBezTo>
                  <a:pt x="1226775" y="2295243"/>
                  <a:pt x="1139284" y="2395460"/>
                  <a:pt x="1161554" y="2432046"/>
                </a:cubicBezTo>
                <a:cubicBezTo>
                  <a:pt x="1124967" y="2460679"/>
                  <a:pt x="1094743" y="2506810"/>
                  <a:pt x="1069291" y="2552942"/>
                </a:cubicBezTo>
                <a:cubicBezTo>
                  <a:pt x="1109060" y="2522718"/>
                  <a:pt x="1137693" y="2468633"/>
                  <a:pt x="1179052" y="2432046"/>
                </a:cubicBezTo>
                <a:cubicBezTo>
                  <a:pt x="1179052" y="2436818"/>
                  <a:pt x="1179052" y="2440000"/>
                  <a:pt x="1179052" y="2444771"/>
                </a:cubicBezTo>
                <a:cubicBezTo>
                  <a:pt x="1185415" y="2447953"/>
                  <a:pt x="1191778" y="2449544"/>
                  <a:pt x="1196551" y="2452725"/>
                </a:cubicBezTo>
                <a:cubicBezTo>
                  <a:pt x="1194960" y="2451134"/>
                  <a:pt x="1196551" y="2447953"/>
                  <a:pt x="1196551" y="2446362"/>
                </a:cubicBezTo>
                <a:cubicBezTo>
                  <a:pt x="1199732" y="2447953"/>
                  <a:pt x="1202913" y="2452725"/>
                  <a:pt x="1204504" y="2457497"/>
                </a:cubicBezTo>
                <a:cubicBezTo>
                  <a:pt x="1206094" y="2457497"/>
                  <a:pt x="1206094" y="2457497"/>
                  <a:pt x="1206094" y="2457497"/>
                </a:cubicBezTo>
                <a:cubicBezTo>
                  <a:pt x="1134512" y="2506810"/>
                  <a:pt x="1064518" y="2568849"/>
                  <a:pt x="1056566" y="2692926"/>
                </a:cubicBezTo>
                <a:cubicBezTo>
                  <a:pt x="1031113" y="2713605"/>
                  <a:pt x="1018387" y="2754965"/>
                  <a:pt x="986574" y="2766100"/>
                </a:cubicBezTo>
                <a:cubicBezTo>
                  <a:pt x="910218" y="2783598"/>
                  <a:pt x="927715" y="2607026"/>
                  <a:pt x="864086" y="2707243"/>
                </a:cubicBezTo>
                <a:cubicBezTo>
                  <a:pt x="848179" y="2684972"/>
                  <a:pt x="844997" y="2654748"/>
                  <a:pt x="797275" y="2653157"/>
                </a:cubicBezTo>
                <a:cubicBezTo>
                  <a:pt x="781368" y="2653157"/>
                  <a:pt x="779777" y="2673837"/>
                  <a:pt x="763870" y="2673837"/>
                </a:cubicBezTo>
                <a:cubicBezTo>
                  <a:pt x="668426" y="2649976"/>
                  <a:pt x="755916" y="2616571"/>
                  <a:pt x="765461" y="2579984"/>
                </a:cubicBezTo>
                <a:cubicBezTo>
                  <a:pt x="781368" y="2527490"/>
                  <a:pt x="727283" y="2508401"/>
                  <a:pt x="684333" y="2479767"/>
                </a:cubicBezTo>
                <a:cubicBezTo>
                  <a:pt x="700241" y="2397049"/>
                  <a:pt x="749553" y="2370007"/>
                  <a:pt x="776596" y="2304787"/>
                </a:cubicBezTo>
                <a:cubicBezTo>
                  <a:pt x="778186" y="2298424"/>
                  <a:pt x="786140" y="2269790"/>
                  <a:pt x="784550" y="2288881"/>
                </a:cubicBezTo>
                <a:cubicBezTo>
                  <a:pt x="775005" y="2347738"/>
                  <a:pt x="740008" y="2389095"/>
                  <a:pt x="725692" y="2425683"/>
                </a:cubicBezTo>
                <a:cubicBezTo>
                  <a:pt x="775005" y="2397049"/>
                  <a:pt x="782959" y="2327057"/>
                  <a:pt x="797275" y="2263428"/>
                </a:cubicBezTo>
                <a:cubicBezTo>
                  <a:pt x="825908" y="2144123"/>
                  <a:pt x="902264" y="2101174"/>
                  <a:pt x="1000890" y="2070950"/>
                </a:cubicBezTo>
                <a:cubicBezTo>
                  <a:pt x="899082" y="2077312"/>
                  <a:pt x="822727" y="2125035"/>
                  <a:pt x="794094" y="2249112"/>
                </a:cubicBezTo>
                <a:cubicBezTo>
                  <a:pt x="786140" y="2220478"/>
                  <a:pt x="797275" y="2182301"/>
                  <a:pt x="803638" y="2144123"/>
                </a:cubicBezTo>
                <a:cubicBezTo>
                  <a:pt x="930898" y="2023228"/>
                  <a:pt x="1128149" y="2012092"/>
                  <a:pt x="1319037" y="1988231"/>
                </a:cubicBezTo>
                <a:close/>
                <a:moveTo>
                  <a:pt x="2725245" y="1975554"/>
                </a:moveTo>
                <a:cubicBezTo>
                  <a:pt x="2702975" y="1980327"/>
                  <a:pt x="2683885" y="1989866"/>
                  <a:pt x="2666388" y="2002583"/>
                </a:cubicBezTo>
                <a:cubicBezTo>
                  <a:pt x="2671160" y="2005764"/>
                  <a:pt x="2677523" y="2007352"/>
                  <a:pt x="2680705" y="2010536"/>
                </a:cubicBezTo>
                <a:cubicBezTo>
                  <a:pt x="2677523" y="2012128"/>
                  <a:pt x="2666388" y="2012128"/>
                  <a:pt x="2671160" y="2018504"/>
                </a:cubicBezTo>
                <a:cubicBezTo>
                  <a:pt x="2671160" y="2018504"/>
                  <a:pt x="2672751" y="2020092"/>
                  <a:pt x="2672751" y="2021688"/>
                </a:cubicBezTo>
                <a:cubicBezTo>
                  <a:pt x="2675932" y="2018504"/>
                  <a:pt x="2679113" y="2016907"/>
                  <a:pt x="2682295" y="2013720"/>
                </a:cubicBezTo>
                <a:cubicBezTo>
                  <a:pt x="2680705" y="2012128"/>
                  <a:pt x="2680705" y="2012128"/>
                  <a:pt x="2680705" y="2010536"/>
                </a:cubicBezTo>
                <a:cubicBezTo>
                  <a:pt x="2685477" y="2007352"/>
                  <a:pt x="2696612" y="1996223"/>
                  <a:pt x="2701384" y="1997814"/>
                </a:cubicBezTo>
                <a:cubicBezTo>
                  <a:pt x="2709337" y="1991456"/>
                  <a:pt x="2717291" y="1983507"/>
                  <a:pt x="2725245" y="1975554"/>
                </a:cubicBezTo>
                <a:close/>
                <a:moveTo>
                  <a:pt x="4348391" y="1972774"/>
                </a:moveTo>
                <a:cubicBezTo>
                  <a:pt x="4350180" y="1973967"/>
                  <a:pt x="4350976" y="1976352"/>
                  <a:pt x="4349385" y="1978738"/>
                </a:cubicBezTo>
                <a:cubicBezTo>
                  <a:pt x="4338249" y="1988280"/>
                  <a:pt x="4322342" y="1996224"/>
                  <a:pt x="4303253" y="2000995"/>
                </a:cubicBezTo>
                <a:cubicBezTo>
                  <a:pt x="4311207" y="1989866"/>
                  <a:pt x="4328705" y="1981916"/>
                  <a:pt x="4341431" y="1973967"/>
                </a:cubicBezTo>
                <a:cubicBezTo>
                  <a:pt x="4343817" y="1971582"/>
                  <a:pt x="4346601" y="1971582"/>
                  <a:pt x="4348391" y="1972774"/>
                </a:cubicBezTo>
                <a:close/>
                <a:moveTo>
                  <a:pt x="2077816" y="1970762"/>
                </a:moveTo>
                <a:cubicBezTo>
                  <a:pt x="2084180" y="1970762"/>
                  <a:pt x="2082590" y="1977122"/>
                  <a:pt x="2080998" y="1983482"/>
                </a:cubicBezTo>
                <a:cubicBezTo>
                  <a:pt x="2077816" y="1980302"/>
                  <a:pt x="2073043" y="1978712"/>
                  <a:pt x="2069862" y="1977122"/>
                </a:cubicBezTo>
                <a:cubicBezTo>
                  <a:pt x="2068271" y="1977122"/>
                  <a:pt x="2068271" y="1977122"/>
                  <a:pt x="2068271" y="1975531"/>
                </a:cubicBezTo>
                <a:cubicBezTo>
                  <a:pt x="2073043" y="1972351"/>
                  <a:pt x="2073043" y="1970762"/>
                  <a:pt x="2077816" y="1970762"/>
                </a:cubicBezTo>
                <a:close/>
                <a:moveTo>
                  <a:pt x="328457" y="1957586"/>
                </a:moveTo>
                <a:cubicBezTo>
                  <a:pt x="259111" y="1962284"/>
                  <a:pt x="199161" y="1981074"/>
                  <a:pt x="141893" y="2002550"/>
                </a:cubicBezTo>
                <a:cubicBezTo>
                  <a:pt x="215067" y="1986643"/>
                  <a:pt x="312102" y="1967553"/>
                  <a:pt x="401183" y="1958010"/>
                </a:cubicBezTo>
                <a:cubicBezTo>
                  <a:pt x="375732" y="1956021"/>
                  <a:pt x="351572" y="1956019"/>
                  <a:pt x="328457" y="1957586"/>
                </a:cubicBezTo>
                <a:close/>
                <a:moveTo>
                  <a:pt x="2163716" y="1950084"/>
                </a:moveTo>
                <a:cubicBezTo>
                  <a:pt x="2178032" y="1967576"/>
                  <a:pt x="2192349" y="1983479"/>
                  <a:pt x="2206666" y="1999381"/>
                </a:cubicBezTo>
                <a:cubicBezTo>
                  <a:pt x="2192349" y="1986659"/>
                  <a:pt x="2179624" y="1973937"/>
                  <a:pt x="2165307" y="1959624"/>
                </a:cubicBezTo>
                <a:cubicBezTo>
                  <a:pt x="2165307" y="1956443"/>
                  <a:pt x="2163716" y="1953264"/>
                  <a:pt x="2163716" y="1950084"/>
                </a:cubicBezTo>
                <a:close/>
                <a:moveTo>
                  <a:pt x="184644" y="1944686"/>
                </a:moveTo>
                <a:cubicBezTo>
                  <a:pt x="136326" y="1946874"/>
                  <a:pt x="91785" y="1955623"/>
                  <a:pt x="65538" y="1981869"/>
                </a:cubicBezTo>
                <a:cubicBezTo>
                  <a:pt x="119623" y="1969143"/>
                  <a:pt x="173708" y="1954828"/>
                  <a:pt x="232565" y="1948464"/>
                </a:cubicBezTo>
                <a:cubicBezTo>
                  <a:pt x="172118" y="1964371"/>
                  <a:pt x="113261" y="1981869"/>
                  <a:pt x="67129" y="2018457"/>
                </a:cubicBezTo>
                <a:cubicBezTo>
                  <a:pt x="143484" y="1997776"/>
                  <a:pt x="229384" y="1954828"/>
                  <a:pt x="326418" y="1946874"/>
                </a:cubicBezTo>
                <a:cubicBezTo>
                  <a:pt x="285060" y="1946874"/>
                  <a:pt x="232963" y="1942499"/>
                  <a:pt x="184644" y="1944686"/>
                </a:cubicBezTo>
                <a:close/>
                <a:moveTo>
                  <a:pt x="2895453" y="1943757"/>
                </a:moveTo>
                <a:cubicBezTo>
                  <a:pt x="2881137" y="1954887"/>
                  <a:pt x="2865229" y="1964429"/>
                  <a:pt x="2849322" y="1975554"/>
                </a:cubicBezTo>
                <a:cubicBezTo>
                  <a:pt x="2854094" y="1975554"/>
                  <a:pt x="2857275" y="1975554"/>
                  <a:pt x="2860457" y="1975554"/>
                </a:cubicBezTo>
                <a:cubicBezTo>
                  <a:pt x="2870002" y="1973964"/>
                  <a:pt x="2884318" y="1961248"/>
                  <a:pt x="2890681" y="1959655"/>
                </a:cubicBezTo>
                <a:cubicBezTo>
                  <a:pt x="2892272" y="1958066"/>
                  <a:pt x="2892272" y="1956478"/>
                  <a:pt x="2893862" y="1953294"/>
                </a:cubicBezTo>
                <a:cubicBezTo>
                  <a:pt x="2889090" y="1954887"/>
                  <a:pt x="2885909" y="1956478"/>
                  <a:pt x="2881137" y="1958066"/>
                </a:cubicBezTo>
                <a:cubicBezTo>
                  <a:pt x="2887499" y="1956478"/>
                  <a:pt x="2890681" y="1948527"/>
                  <a:pt x="2895453" y="1943757"/>
                </a:cubicBezTo>
                <a:close/>
                <a:moveTo>
                  <a:pt x="2946356" y="1926270"/>
                </a:moveTo>
                <a:cubicBezTo>
                  <a:pt x="2936813" y="1931038"/>
                  <a:pt x="2928859" y="1935808"/>
                  <a:pt x="2919314" y="1940576"/>
                </a:cubicBezTo>
                <a:cubicBezTo>
                  <a:pt x="2928859" y="1945347"/>
                  <a:pt x="2936813" y="1948527"/>
                  <a:pt x="2941585" y="1940576"/>
                </a:cubicBezTo>
                <a:cubicBezTo>
                  <a:pt x="2943175" y="1937396"/>
                  <a:pt x="2944766" y="1932629"/>
                  <a:pt x="2946356" y="1926270"/>
                </a:cubicBezTo>
                <a:close/>
                <a:moveTo>
                  <a:pt x="2022140" y="1921467"/>
                </a:moveTo>
                <a:lnTo>
                  <a:pt x="2026914" y="1926237"/>
                </a:lnTo>
                <a:lnTo>
                  <a:pt x="2030095" y="1935778"/>
                </a:lnTo>
                <a:lnTo>
                  <a:pt x="2026914" y="1942139"/>
                </a:lnTo>
                <a:lnTo>
                  <a:pt x="2022140" y="1945319"/>
                </a:lnTo>
                <a:lnTo>
                  <a:pt x="2025323" y="1950090"/>
                </a:lnTo>
                <a:lnTo>
                  <a:pt x="2011005" y="1953270"/>
                </a:lnTo>
                <a:lnTo>
                  <a:pt x="2006233" y="1943729"/>
                </a:lnTo>
                <a:lnTo>
                  <a:pt x="2006233" y="1938958"/>
                </a:lnTo>
                <a:lnTo>
                  <a:pt x="2003052" y="1938958"/>
                </a:lnTo>
                <a:lnTo>
                  <a:pt x="2003052" y="1934189"/>
                </a:lnTo>
                <a:cubicBezTo>
                  <a:pt x="2006233" y="1937369"/>
                  <a:pt x="2011005" y="1938958"/>
                  <a:pt x="2014187" y="1940549"/>
                </a:cubicBezTo>
                <a:cubicBezTo>
                  <a:pt x="2011005" y="1937369"/>
                  <a:pt x="2007823" y="1932598"/>
                  <a:pt x="2004642" y="1929418"/>
                </a:cubicBezTo>
                <a:lnTo>
                  <a:pt x="2006233" y="1924646"/>
                </a:lnTo>
                <a:lnTo>
                  <a:pt x="2014187" y="1923057"/>
                </a:lnTo>
                <a:cubicBezTo>
                  <a:pt x="2020551" y="1923057"/>
                  <a:pt x="2015777" y="1924646"/>
                  <a:pt x="2022140" y="1921467"/>
                </a:cubicBezTo>
                <a:close/>
                <a:moveTo>
                  <a:pt x="1920334" y="1880111"/>
                </a:moveTo>
                <a:lnTo>
                  <a:pt x="1920334" y="1888067"/>
                </a:lnTo>
                <a:lnTo>
                  <a:pt x="1915562" y="1883293"/>
                </a:lnTo>
                <a:close/>
                <a:moveTo>
                  <a:pt x="2111223" y="1878511"/>
                </a:moveTo>
                <a:cubicBezTo>
                  <a:pt x="2112813" y="1880102"/>
                  <a:pt x="2112813" y="1881694"/>
                  <a:pt x="2112813" y="1883284"/>
                </a:cubicBezTo>
                <a:lnTo>
                  <a:pt x="2111223" y="1883284"/>
                </a:lnTo>
                <a:lnTo>
                  <a:pt x="2109632" y="1880102"/>
                </a:lnTo>
                <a:close/>
                <a:moveTo>
                  <a:pt x="1928287" y="1876930"/>
                </a:moveTo>
                <a:lnTo>
                  <a:pt x="1936241" y="1876930"/>
                </a:lnTo>
                <a:lnTo>
                  <a:pt x="1931468" y="1881704"/>
                </a:lnTo>
                <a:close/>
                <a:moveTo>
                  <a:pt x="2100086" y="1873747"/>
                </a:moveTo>
                <a:lnTo>
                  <a:pt x="2104859" y="1878519"/>
                </a:lnTo>
                <a:lnTo>
                  <a:pt x="2096905" y="1878519"/>
                </a:lnTo>
                <a:close/>
                <a:moveTo>
                  <a:pt x="4112366" y="1870603"/>
                </a:moveTo>
                <a:cubicBezTo>
                  <a:pt x="4112366" y="1870603"/>
                  <a:pt x="4110775" y="1870603"/>
                  <a:pt x="4110775" y="1872195"/>
                </a:cubicBezTo>
                <a:cubicBezTo>
                  <a:pt x="4112366" y="1872195"/>
                  <a:pt x="4113956" y="1870603"/>
                  <a:pt x="4115547" y="1870603"/>
                </a:cubicBezTo>
                <a:cubicBezTo>
                  <a:pt x="4115547" y="1870603"/>
                  <a:pt x="4113956" y="1870603"/>
                  <a:pt x="4112366" y="1870603"/>
                </a:cubicBezTo>
                <a:close/>
                <a:moveTo>
                  <a:pt x="2050775" y="1867422"/>
                </a:moveTo>
                <a:cubicBezTo>
                  <a:pt x="2092133" y="1923090"/>
                  <a:pt x="2139855" y="1973967"/>
                  <a:pt x="2198713" y="2018504"/>
                </a:cubicBezTo>
                <a:cubicBezTo>
                  <a:pt x="2128720" y="1983507"/>
                  <a:pt x="2082590" y="1918323"/>
                  <a:pt x="2050775" y="1867422"/>
                </a:cubicBezTo>
                <a:close/>
                <a:moveTo>
                  <a:pt x="1963284" y="1867375"/>
                </a:moveTo>
                <a:cubicBezTo>
                  <a:pt x="1969647" y="1870556"/>
                  <a:pt x="1966466" y="1867375"/>
                  <a:pt x="1968056" y="1873740"/>
                </a:cubicBezTo>
                <a:lnTo>
                  <a:pt x="1963284" y="1873740"/>
                </a:lnTo>
                <a:close/>
                <a:moveTo>
                  <a:pt x="5168537" y="1865133"/>
                </a:moveTo>
                <a:cubicBezTo>
                  <a:pt x="5181039" y="1864835"/>
                  <a:pt x="5192871" y="1865036"/>
                  <a:pt x="5203608" y="1865829"/>
                </a:cubicBezTo>
                <a:lnTo>
                  <a:pt x="5060441" y="1883333"/>
                </a:lnTo>
                <a:cubicBezTo>
                  <a:pt x="5060441" y="1883333"/>
                  <a:pt x="5054078" y="1880151"/>
                  <a:pt x="5049306" y="1878562"/>
                </a:cubicBezTo>
                <a:cubicBezTo>
                  <a:pt x="5087484" y="1871400"/>
                  <a:pt x="5131030" y="1866030"/>
                  <a:pt x="5168537" y="1865133"/>
                </a:cubicBezTo>
                <a:close/>
                <a:moveTo>
                  <a:pt x="4498913" y="1861056"/>
                </a:moveTo>
                <a:cubicBezTo>
                  <a:pt x="4505276" y="1859467"/>
                  <a:pt x="4508458" y="1873786"/>
                  <a:pt x="4495731" y="1872195"/>
                </a:cubicBezTo>
                <a:cubicBezTo>
                  <a:pt x="4479824" y="1870606"/>
                  <a:pt x="4452782" y="1876968"/>
                  <a:pt x="4427330" y="1881742"/>
                </a:cubicBezTo>
                <a:cubicBezTo>
                  <a:pt x="4422558" y="1881742"/>
                  <a:pt x="4414605" y="1875377"/>
                  <a:pt x="4411423" y="1873786"/>
                </a:cubicBezTo>
                <a:close/>
                <a:moveTo>
                  <a:pt x="5240196" y="1857872"/>
                </a:moveTo>
                <a:cubicBezTo>
                  <a:pt x="5243377" y="1862648"/>
                  <a:pt x="5238605" y="1875379"/>
                  <a:pt x="5230651" y="1872195"/>
                </a:cubicBezTo>
                <a:cubicBezTo>
                  <a:pt x="5224288" y="1869013"/>
                  <a:pt x="5214743" y="1870606"/>
                  <a:pt x="5206789" y="1865831"/>
                </a:cubicBezTo>
                <a:cubicBezTo>
                  <a:pt x="5214743" y="1857872"/>
                  <a:pt x="5230651" y="1859467"/>
                  <a:pt x="5240196" y="1857872"/>
                </a:cubicBezTo>
                <a:close/>
                <a:moveTo>
                  <a:pt x="1856705" y="1846696"/>
                </a:moveTo>
                <a:cubicBezTo>
                  <a:pt x="1863068" y="1846696"/>
                  <a:pt x="1858295" y="1854652"/>
                  <a:pt x="1861477" y="1859424"/>
                </a:cubicBezTo>
                <a:cubicBezTo>
                  <a:pt x="1856705" y="1862609"/>
                  <a:pt x="1853523" y="1868973"/>
                  <a:pt x="1847160" y="1868973"/>
                </a:cubicBezTo>
                <a:cubicBezTo>
                  <a:pt x="1845569" y="1868973"/>
                  <a:pt x="1840797" y="1865790"/>
                  <a:pt x="1839206" y="1864200"/>
                </a:cubicBezTo>
                <a:cubicBezTo>
                  <a:pt x="1842387" y="1859424"/>
                  <a:pt x="1842387" y="1864200"/>
                  <a:pt x="1839206" y="1857836"/>
                </a:cubicBezTo>
                <a:cubicBezTo>
                  <a:pt x="1847160" y="1851469"/>
                  <a:pt x="1842387" y="1859424"/>
                  <a:pt x="1843978" y="1848287"/>
                </a:cubicBezTo>
                <a:lnTo>
                  <a:pt x="1848751" y="1851469"/>
                </a:lnTo>
                <a:cubicBezTo>
                  <a:pt x="1851933" y="1848287"/>
                  <a:pt x="1850341" y="1846696"/>
                  <a:pt x="1856705" y="1846696"/>
                </a:cubicBezTo>
                <a:close/>
                <a:moveTo>
                  <a:pt x="1807392" y="1837155"/>
                </a:moveTo>
                <a:lnTo>
                  <a:pt x="1812164" y="1841928"/>
                </a:lnTo>
                <a:lnTo>
                  <a:pt x="1807392" y="1845110"/>
                </a:lnTo>
                <a:lnTo>
                  <a:pt x="1805801" y="1841928"/>
                </a:lnTo>
                <a:close/>
                <a:moveTo>
                  <a:pt x="1931468" y="1829186"/>
                </a:moveTo>
                <a:lnTo>
                  <a:pt x="1936241" y="1833958"/>
                </a:lnTo>
                <a:lnTo>
                  <a:pt x="1928287" y="1833958"/>
                </a:lnTo>
                <a:close/>
                <a:moveTo>
                  <a:pt x="4207810" y="1826048"/>
                </a:moveTo>
                <a:cubicBezTo>
                  <a:pt x="4177585" y="1865831"/>
                  <a:pt x="4142590" y="1900837"/>
                  <a:pt x="4101230" y="1923090"/>
                </a:cubicBezTo>
                <a:cubicBezTo>
                  <a:pt x="4150543" y="1916732"/>
                  <a:pt x="4198265" y="1908783"/>
                  <a:pt x="4253941" y="1892880"/>
                </a:cubicBezTo>
                <a:cubicBezTo>
                  <a:pt x="4257122" y="1873786"/>
                  <a:pt x="4280983" y="1881742"/>
                  <a:pt x="4284165" y="1865831"/>
                </a:cubicBezTo>
                <a:cubicBezTo>
                  <a:pt x="4277802" y="1862648"/>
                  <a:pt x="4271439" y="1861056"/>
                  <a:pt x="4269848" y="1854691"/>
                </a:cubicBezTo>
                <a:cubicBezTo>
                  <a:pt x="4274620" y="1854691"/>
                  <a:pt x="4285756" y="1845141"/>
                  <a:pt x="4279393" y="1846734"/>
                </a:cubicBezTo>
                <a:cubicBezTo>
                  <a:pt x="4257122" y="1849914"/>
                  <a:pt x="4234852" y="1851506"/>
                  <a:pt x="4210991" y="1857872"/>
                </a:cubicBezTo>
                <a:cubicBezTo>
                  <a:pt x="4204628" y="1859465"/>
                  <a:pt x="4201447" y="1849914"/>
                  <a:pt x="4206219" y="1846734"/>
                </a:cubicBezTo>
                <a:cubicBezTo>
                  <a:pt x="4214172" y="1841961"/>
                  <a:pt x="4223717" y="1845141"/>
                  <a:pt x="4233261" y="1840370"/>
                </a:cubicBezTo>
                <a:cubicBezTo>
                  <a:pt x="4225307" y="1835597"/>
                  <a:pt x="4217353" y="1832413"/>
                  <a:pt x="4207810" y="1826048"/>
                </a:cubicBezTo>
                <a:close/>
                <a:moveTo>
                  <a:pt x="1680134" y="1821243"/>
                </a:moveTo>
                <a:lnTo>
                  <a:pt x="1680134" y="1824426"/>
                </a:lnTo>
                <a:lnTo>
                  <a:pt x="1675361" y="1824426"/>
                </a:lnTo>
                <a:close/>
                <a:moveTo>
                  <a:pt x="3073615" y="1818090"/>
                </a:moveTo>
                <a:cubicBezTo>
                  <a:pt x="2974990" y="1853097"/>
                  <a:pt x="2876365" y="1904015"/>
                  <a:pt x="2784103" y="1964429"/>
                </a:cubicBezTo>
                <a:cubicBezTo>
                  <a:pt x="2798418" y="1964429"/>
                  <a:pt x="2812735" y="1967604"/>
                  <a:pt x="2825461" y="1970784"/>
                </a:cubicBezTo>
                <a:cubicBezTo>
                  <a:pt x="2866820" y="1945347"/>
                  <a:pt x="2909770" y="1919912"/>
                  <a:pt x="2952720" y="1894472"/>
                </a:cubicBezTo>
                <a:cubicBezTo>
                  <a:pt x="2954310" y="1891288"/>
                  <a:pt x="2954310" y="1888108"/>
                  <a:pt x="2955901" y="1886515"/>
                </a:cubicBezTo>
                <a:cubicBezTo>
                  <a:pt x="2962264" y="1880151"/>
                  <a:pt x="2970218" y="1880151"/>
                  <a:pt x="2976580" y="1880151"/>
                </a:cubicBezTo>
                <a:cubicBezTo>
                  <a:pt x="2984534" y="1875377"/>
                  <a:pt x="2990897" y="1870603"/>
                  <a:pt x="2998851" y="1865831"/>
                </a:cubicBezTo>
                <a:cubicBezTo>
                  <a:pt x="3003623" y="1862648"/>
                  <a:pt x="3006804" y="1859465"/>
                  <a:pt x="3011577" y="1857872"/>
                </a:cubicBezTo>
                <a:cubicBezTo>
                  <a:pt x="3032256" y="1845141"/>
                  <a:pt x="3052936" y="1832413"/>
                  <a:pt x="3073615" y="1818090"/>
                </a:cubicBezTo>
                <a:close/>
                <a:moveTo>
                  <a:pt x="3165878" y="1816500"/>
                </a:moveTo>
                <a:cubicBezTo>
                  <a:pt x="3134063" y="1829230"/>
                  <a:pt x="3102248" y="1841961"/>
                  <a:pt x="3070434" y="1854691"/>
                </a:cubicBezTo>
                <a:cubicBezTo>
                  <a:pt x="3070434" y="1854691"/>
                  <a:pt x="3070434" y="1856282"/>
                  <a:pt x="3070434" y="1856282"/>
                </a:cubicBezTo>
                <a:cubicBezTo>
                  <a:pt x="3068843" y="1865831"/>
                  <a:pt x="3059299" y="1873786"/>
                  <a:pt x="3059299" y="1881742"/>
                </a:cubicBezTo>
                <a:cubicBezTo>
                  <a:pt x="3099067" y="1862648"/>
                  <a:pt x="3140427" y="1843552"/>
                  <a:pt x="3183376" y="1827639"/>
                </a:cubicBezTo>
                <a:cubicBezTo>
                  <a:pt x="3183376" y="1827639"/>
                  <a:pt x="3181785" y="1827639"/>
                  <a:pt x="3181785" y="1827639"/>
                </a:cubicBezTo>
                <a:cubicBezTo>
                  <a:pt x="3177013" y="1824457"/>
                  <a:pt x="3170650" y="1819682"/>
                  <a:pt x="3165878" y="1816500"/>
                </a:cubicBezTo>
                <a:close/>
                <a:moveTo>
                  <a:pt x="1753307" y="1811697"/>
                </a:moveTo>
                <a:lnTo>
                  <a:pt x="1758079" y="1814880"/>
                </a:lnTo>
                <a:lnTo>
                  <a:pt x="1753307" y="1818063"/>
                </a:lnTo>
                <a:lnTo>
                  <a:pt x="1750125" y="1816471"/>
                </a:lnTo>
                <a:close/>
                <a:moveTo>
                  <a:pt x="2063500" y="1803729"/>
                </a:moveTo>
                <a:lnTo>
                  <a:pt x="2068272" y="1805322"/>
                </a:lnTo>
                <a:cubicBezTo>
                  <a:pt x="2068272" y="1806912"/>
                  <a:pt x="2069863" y="1808503"/>
                  <a:pt x="2069863" y="1810095"/>
                </a:cubicBezTo>
                <a:cubicBezTo>
                  <a:pt x="2069863" y="1811687"/>
                  <a:pt x="2069863" y="1810095"/>
                  <a:pt x="2066683" y="1810095"/>
                </a:cubicBezTo>
                <a:close/>
                <a:moveTo>
                  <a:pt x="1953740" y="1800556"/>
                </a:moveTo>
                <a:lnTo>
                  <a:pt x="1958512" y="1803737"/>
                </a:lnTo>
                <a:lnTo>
                  <a:pt x="1953740" y="1806920"/>
                </a:lnTo>
                <a:close/>
                <a:moveTo>
                  <a:pt x="2006234" y="1800549"/>
                </a:moveTo>
                <a:lnTo>
                  <a:pt x="2011006" y="1800549"/>
                </a:lnTo>
                <a:lnTo>
                  <a:pt x="2006234" y="1805322"/>
                </a:lnTo>
                <a:close/>
                <a:moveTo>
                  <a:pt x="4196674" y="1794224"/>
                </a:moveTo>
                <a:cubicBezTo>
                  <a:pt x="4193493" y="1795814"/>
                  <a:pt x="4188720" y="1798998"/>
                  <a:pt x="4183948" y="1800590"/>
                </a:cubicBezTo>
                <a:cubicBezTo>
                  <a:pt x="4193493" y="1805364"/>
                  <a:pt x="4203037" y="1811727"/>
                  <a:pt x="4210991" y="1819682"/>
                </a:cubicBezTo>
                <a:cubicBezTo>
                  <a:pt x="4210991" y="1819682"/>
                  <a:pt x="4209400" y="1821275"/>
                  <a:pt x="4209400" y="1821275"/>
                </a:cubicBezTo>
                <a:cubicBezTo>
                  <a:pt x="4234852" y="1814910"/>
                  <a:pt x="4260304" y="1818090"/>
                  <a:pt x="4284165" y="1805364"/>
                </a:cubicBezTo>
                <a:cubicBezTo>
                  <a:pt x="4284165" y="1805364"/>
                  <a:pt x="4282574" y="1802181"/>
                  <a:pt x="4277802" y="1798998"/>
                </a:cubicBezTo>
                <a:cubicBezTo>
                  <a:pt x="4252350" y="1813318"/>
                  <a:pt x="4225307" y="1806955"/>
                  <a:pt x="4196674" y="1794224"/>
                </a:cubicBezTo>
                <a:close/>
                <a:moveTo>
                  <a:pt x="1312675" y="1792573"/>
                </a:moveTo>
                <a:lnTo>
                  <a:pt x="1311289" y="1792894"/>
                </a:lnTo>
                <a:lnTo>
                  <a:pt x="1311264" y="1792668"/>
                </a:lnTo>
                <a:close/>
                <a:moveTo>
                  <a:pt x="1945785" y="1783047"/>
                </a:moveTo>
                <a:lnTo>
                  <a:pt x="1948966" y="1786229"/>
                </a:lnTo>
                <a:lnTo>
                  <a:pt x="1944195" y="1789411"/>
                </a:lnTo>
                <a:lnTo>
                  <a:pt x="1941013" y="1786229"/>
                </a:lnTo>
                <a:close/>
                <a:moveTo>
                  <a:pt x="1769214" y="1779871"/>
                </a:moveTo>
                <a:lnTo>
                  <a:pt x="1775577" y="1781462"/>
                </a:lnTo>
                <a:lnTo>
                  <a:pt x="1770805" y="1784645"/>
                </a:lnTo>
                <a:close/>
                <a:moveTo>
                  <a:pt x="1882156" y="1779868"/>
                </a:moveTo>
                <a:lnTo>
                  <a:pt x="1886928" y="1784642"/>
                </a:lnTo>
                <a:lnTo>
                  <a:pt x="1882156" y="1784642"/>
                </a:lnTo>
                <a:close/>
                <a:moveTo>
                  <a:pt x="2046003" y="1778279"/>
                </a:moveTo>
                <a:cubicBezTo>
                  <a:pt x="2049184" y="1784643"/>
                  <a:pt x="2047592" y="1776688"/>
                  <a:pt x="2049184" y="1784643"/>
                </a:cubicBezTo>
                <a:lnTo>
                  <a:pt x="2049184" y="1791008"/>
                </a:lnTo>
                <a:lnTo>
                  <a:pt x="2057137" y="1791008"/>
                </a:lnTo>
                <a:cubicBezTo>
                  <a:pt x="2055547" y="1795781"/>
                  <a:pt x="2055547" y="1797372"/>
                  <a:pt x="2057137" y="1802145"/>
                </a:cubicBezTo>
                <a:lnTo>
                  <a:pt x="2044411" y="1802145"/>
                </a:lnTo>
                <a:lnTo>
                  <a:pt x="2044411" y="1791008"/>
                </a:lnTo>
                <a:lnTo>
                  <a:pt x="2036457" y="1791008"/>
                </a:lnTo>
                <a:cubicBezTo>
                  <a:pt x="2038048" y="1783052"/>
                  <a:pt x="2038048" y="1783052"/>
                  <a:pt x="2046003" y="1778279"/>
                </a:cubicBezTo>
                <a:close/>
                <a:moveTo>
                  <a:pt x="1901247" y="1775095"/>
                </a:moveTo>
                <a:lnTo>
                  <a:pt x="1907609" y="1779868"/>
                </a:lnTo>
                <a:lnTo>
                  <a:pt x="1901247" y="1779868"/>
                </a:lnTo>
                <a:close/>
                <a:moveTo>
                  <a:pt x="1982373" y="1773500"/>
                </a:moveTo>
                <a:lnTo>
                  <a:pt x="1987145" y="1773500"/>
                </a:lnTo>
                <a:lnTo>
                  <a:pt x="1983964" y="1776685"/>
                </a:lnTo>
                <a:cubicBezTo>
                  <a:pt x="1982373" y="1775091"/>
                  <a:pt x="1982373" y="1775091"/>
                  <a:pt x="1982373" y="1773500"/>
                </a:cubicBezTo>
                <a:close/>
                <a:moveTo>
                  <a:pt x="1737399" y="1770325"/>
                </a:moveTo>
                <a:lnTo>
                  <a:pt x="1745353" y="1778282"/>
                </a:lnTo>
                <a:lnTo>
                  <a:pt x="1737399" y="1778282"/>
                </a:lnTo>
                <a:close/>
                <a:moveTo>
                  <a:pt x="1936241" y="1767136"/>
                </a:moveTo>
                <a:lnTo>
                  <a:pt x="1944195" y="1770318"/>
                </a:lnTo>
                <a:lnTo>
                  <a:pt x="1933060" y="1771909"/>
                </a:lnTo>
                <a:close/>
                <a:moveTo>
                  <a:pt x="1912381" y="1762362"/>
                </a:moveTo>
                <a:lnTo>
                  <a:pt x="1917153" y="1767136"/>
                </a:lnTo>
                <a:lnTo>
                  <a:pt x="1910790" y="1767136"/>
                </a:lnTo>
                <a:close/>
                <a:moveTo>
                  <a:pt x="1987144" y="1759184"/>
                </a:moveTo>
                <a:cubicBezTo>
                  <a:pt x="1991916" y="1760777"/>
                  <a:pt x="1991916" y="1760777"/>
                  <a:pt x="1991916" y="1760777"/>
                </a:cubicBezTo>
                <a:cubicBezTo>
                  <a:pt x="1995098" y="1768733"/>
                  <a:pt x="1999871" y="1776688"/>
                  <a:pt x="2003052" y="1784643"/>
                </a:cubicBezTo>
                <a:lnTo>
                  <a:pt x="2001461" y="1783052"/>
                </a:lnTo>
                <a:lnTo>
                  <a:pt x="1993507" y="1787825"/>
                </a:lnTo>
                <a:lnTo>
                  <a:pt x="1996689" y="1783052"/>
                </a:lnTo>
                <a:lnTo>
                  <a:pt x="1988736" y="1768733"/>
                </a:lnTo>
                <a:lnTo>
                  <a:pt x="1991916" y="1763957"/>
                </a:lnTo>
                <a:lnTo>
                  <a:pt x="1987144" y="1763957"/>
                </a:lnTo>
                <a:close/>
                <a:moveTo>
                  <a:pt x="4078960" y="1757624"/>
                </a:moveTo>
                <a:cubicBezTo>
                  <a:pt x="4075778" y="1759215"/>
                  <a:pt x="4074188" y="1762401"/>
                  <a:pt x="4072597" y="1765580"/>
                </a:cubicBezTo>
                <a:cubicBezTo>
                  <a:pt x="4107593" y="1773535"/>
                  <a:pt x="4142590" y="1781494"/>
                  <a:pt x="4171223" y="1794224"/>
                </a:cubicBezTo>
                <a:cubicBezTo>
                  <a:pt x="4175995" y="1792632"/>
                  <a:pt x="4179176" y="1789452"/>
                  <a:pt x="4183948" y="1787858"/>
                </a:cubicBezTo>
                <a:cubicBezTo>
                  <a:pt x="4152134" y="1773535"/>
                  <a:pt x="4117138" y="1757624"/>
                  <a:pt x="4078960" y="1757624"/>
                </a:cubicBezTo>
                <a:close/>
                <a:moveTo>
                  <a:pt x="1883747" y="1756000"/>
                </a:moveTo>
                <a:lnTo>
                  <a:pt x="1883747" y="1762364"/>
                </a:lnTo>
                <a:lnTo>
                  <a:pt x="1878975" y="1757591"/>
                </a:lnTo>
                <a:close/>
                <a:moveTo>
                  <a:pt x="1874202" y="1756000"/>
                </a:moveTo>
                <a:lnTo>
                  <a:pt x="1878975" y="1757593"/>
                </a:lnTo>
                <a:lnTo>
                  <a:pt x="1875793" y="1762366"/>
                </a:lnTo>
                <a:lnTo>
                  <a:pt x="1871021" y="1759182"/>
                </a:lnTo>
                <a:close/>
                <a:moveTo>
                  <a:pt x="1894882" y="1755998"/>
                </a:moveTo>
                <a:lnTo>
                  <a:pt x="1891701" y="1762362"/>
                </a:lnTo>
                <a:lnTo>
                  <a:pt x="1885337" y="1759181"/>
                </a:lnTo>
                <a:close/>
                <a:moveTo>
                  <a:pt x="2033275" y="1755988"/>
                </a:moveTo>
                <a:lnTo>
                  <a:pt x="2038048" y="1759170"/>
                </a:lnTo>
                <a:lnTo>
                  <a:pt x="2030095" y="1765534"/>
                </a:lnTo>
                <a:lnTo>
                  <a:pt x="2026913" y="1760762"/>
                </a:lnTo>
                <a:lnTo>
                  <a:pt x="2033275" y="1760762"/>
                </a:lnTo>
                <a:close/>
                <a:moveTo>
                  <a:pt x="1716719" y="1754414"/>
                </a:moveTo>
                <a:lnTo>
                  <a:pt x="1729447" y="1757596"/>
                </a:lnTo>
                <a:lnTo>
                  <a:pt x="1723083" y="1760779"/>
                </a:lnTo>
                <a:lnTo>
                  <a:pt x="1727855" y="1760779"/>
                </a:lnTo>
                <a:lnTo>
                  <a:pt x="1727855" y="1767143"/>
                </a:lnTo>
                <a:cubicBezTo>
                  <a:pt x="1715129" y="1771918"/>
                  <a:pt x="1726265" y="1775100"/>
                  <a:pt x="1710356" y="1776691"/>
                </a:cubicBezTo>
                <a:lnTo>
                  <a:pt x="1713538" y="1771918"/>
                </a:lnTo>
                <a:cubicBezTo>
                  <a:pt x="1710356" y="1770327"/>
                  <a:pt x="1708766" y="1770327"/>
                  <a:pt x="1708766" y="1770327"/>
                </a:cubicBezTo>
                <a:cubicBezTo>
                  <a:pt x="1708766" y="1770327"/>
                  <a:pt x="1707175" y="1768736"/>
                  <a:pt x="1705585" y="1767143"/>
                </a:cubicBezTo>
                <a:lnTo>
                  <a:pt x="1708766" y="1757596"/>
                </a:lnTo>
                <a:close/>
                <a:moveTo>
                  <a:pt x="1840797" y="1754407"/>
                </a:moveTo>
                <a:cubicBezTo>
                  <a:pt x="1842388" y="1762361"/>
                  <a:pt x="1843979" y="1760770"/>
                  <a:pt x="1840797" y="1767134"/>
                </a:cubicBezTo>
                <a:lnTo>
                  <a:pt x="1834434" y="1760770"/>
                </a:lnTo>
                <a:close/>
                <a:moveTo>
                  <a:pt x="1921925" y="1752816"/>
                </a:moveTo>
                <a:cubicBezTo>
                  <a:pt x="1929878" y="1754407"/>
                  <a:pt x="1926697" y="1752816"/>
                  <a:pt x="1931469" y="1759181"/>
                </a:cubicBezTo>
                <a:lnTo>
                  <a:pt x="1928287" y="1760771"/>
                </a:lnTo>
                <a:cubicBezTo>
                  <a:pt x="1923515" y="1755998"/>
                  <a:pt x="1923515" y="1760771"/>
                  <a:pt x="1921925" y="1752816"/>
                </a:cubicBezTo>
                <a:close/>
                <a:moveTo>
                  <a:pt x="1971237" y="1751225"/>
                </a:moveTo>
                <a:lnTo>
                  <a:pt x="1976009" y="1752816"/>
                </a:lnTo>
                <a:lnTo>
                  <a:pt x="1971237" y="1755998"/>
                </a:lnTo>
                <a:close/>
                <a:moveTo>
                  <a:pt x="1855114" y="1751219"/>
                </a:moveTo>
                <a:lnTo>
                  <a:pt x="1869431" y="1752811"/>
                </a:lnTo>
                <a:lnTo>
                  <a:pt x="1867840" y="1757582"/>
                </a:lnTo>
                <a:cubicBezTo>
                  <a:pt x="1864658" y="1754402"/>
                  <a:pt x="1861476" y="1752811"/>
                  <a:pt x="1855114" y="1752811"/>
                </a:cubicBezTo>
                <a:close/>
                <a:moveTo>
                  <a:pt x="4405061" y="1749669"/>
                </a:moveTo>
                <a:cubicBezTo>
                  <a:pt x="4411424" y="1765580"/>
                  <a:pt x="4397107" y="1751260"/>
                  <a:pt x="4392334" y="1757628"/>
                </a:cubicBezTo>
                <a:cubicBezTo>
                  <a:pt x="4389153" y="1762401"/>
                  <a:pt x="4384381" y="1763994"/>
                  <a:pt x="4378017" y="1765580"/>
                </a:cubicBezTo>
                <a:cubicBezTo>
                  <a:pt x="4379609" y="1763994"/>
                  <a:pt x="4381200" y="1759220"/>
                  <a:pt x="4382791" y="1757628"/>
                </a:cubicBezTo>
                <a:cubicBezTo>
                  <a:pt x="4387562" y="1754442"/>
                  <a:pt x="4400288" y="1751260"/>
                  <a:pt x="4405061" y="1749669"/>
                </a:cubicBezTo>
                <a:close/>
                <a:moveTo>
                  <a:pt x="1912381" y="1748043"/>
                </a:moveTo>
                <a:lnTo>
                  <a:pt x="1917153" y="1752816"/>
                </a:lnTo>
                <a:lnTo>
                  <a:pt x="1910790" y="1755998"/>
                </a:lnTo>
                <a:close/>
                <a:moveTo>
                  <a:pt x="1985554" y="1746453"/>
                </a:moveTo>
                <a:lnTo>
                  <a:pt x="1987144" y="1749634"/>
                </a:lnTo>
                <a:cubicBezTo>
                  <a:pt x="1982372" y="1756000"/>
                  <a:pt x="1983964" y="1751227"/>
                  <a:pt x="1982372" y="1760773"/>
                </a:cubicBezTo>
                <a:cubicBezTo>
                  <a:pt x="1974418" y="1757591"/>
                  <a:pt x="1976009" y="1760773"/>
                  <a:pt x="1979190" y="1754409"/>
                </a:cubicBezTo>
                <a:lnTo>
                  <a:pt x="1976009" y="1752818"/>
                </a:lnTo>
                <a:close/>
                <a:moveTo>
                  <a:pt x="1894883" y="1746453"/>
                </a:moveTo>
                <a:lnTo>
                  <a:pt x="1899655" y="1751227"/>
                </a:lnTo>
                <a:lnTo>
                  <a:pt x="1893292" y="1754409"/>
                </a:lnTo>
                <a:close/>
                <a:moveTo>
                  <a:pt x="1874202" y="1746452"/>
                </a:moveTo>
                <a:lnTo>
                  <a:pt x="1886928" y="1746452"/>
                </a:lnTo>
                <a:lnTo>
                  <a:pt x="1883747" y="1751224"/>
                </a:lnTo>
                <a:close/>
                <a:moveTo>
                  <a:pt x="1737400" y="1744866"/>
                </a:moveTo>
                <a:lnTo>
                  <a:pt x="1742173" y="1746458"/>
                </a:lnTo>
                <a:lnTo>
                  <a:pt x="1740582" y="1751230"/>
                </a:lnTo>
                <a:lnTo>
                  <a:pt x="1753307" y="1751230"/>
                </a:lnTo>
                <a:lnTo>
                  <a:pt x="1750125" y="1759186"/>
                </a:lnTo>
                <a:cubicBezTo>
                  <a:pt x="1748534" y="1759186"/>
                  <a:pt x="1748534" y="1757595"/>
                  <a:pt x="1746943" y="1757595"/>
                </a:cubicBezTo>
                <a:lnTo>
                  <a:pt x="1740581" y="1751232"/>
                </a:lnTo>
                <a:close/>
                <a:moveTo>
                  <a:pt x="1923515" y="1741679"/>
                </a:moveTo>
                <a:lnTo>
                  <a:pt x="1926697" y="1749634"/>
                </a:lnTo>
                <a:lnTo>
                  <a:pt x="1913971" y="1746452"/>
                </a:lnTo>
                <a:close/>
                <a:moveTo>
                  <a:pt x="1874202" y="1741679"/>
                </a:moveTo>
                <a:lnTo>
                  <a:pt x="1874998" y="1742076"/>
                </a:lnTo>
                <a:lnTo>
                  <a:pt x="1872612" y="1743270"/>
                </a:lnTo>
                <a:lnTo>
                  <a:pt x="1872368" y="1742289"/>
                </a:lnTo>
                <a:close/>
                <a:moveTo>
                  <a:pt x="1883747" y="1741676"/>
                </a:moveTo>
                <a:lnTo>
                  <a:pt x="1891701" y="1741676"/>
                </a:lnTo>
                <a:lnTo>
                  <a:pt x="1886928" y="1746450"/>
                </a:lnTo>
                <a:close/>
                <a:moveTo>
                  <a:pt x="2018960" y="1735307"/>
                </a:moveTo>
                <a:lnTo>
                  <a:pt x="2022142" y="1740079"/>
                </a:lnTo>
                <a:lnTo>
                  <a:pt x="2018960" y="1744852"/>
                </a:lnTo>
                <a:lnTo>
                  <a:pt x="2009414" y="1744852"/>
                </a:lnTo>
                <a:cubicBezTo>
                  <a:pt x="2007824" y="1743261"/>
                  <a:pt x="2007824" y="1740079"/>
                  <a:pt x="2006233" y="1738490"/>
                </a:cubicBezTo>
                <a:lnTo>
                  <a:pt x="2014187" y="1740079"/>
                </a:lnTo>
                <a:close/>
                <a:moveTo>
                  <a:pt x="1978432" y="1730218"/>
                </a:moveTo>
                <a:lnTo>
                  <a:pt x="1980782" y="1735314"/>
                </a:lnTo>
                <a:lnTo>
                  <a:pt x="1979192" y="1736905"/>
                </a:lnTo>
                <a:cubicBezTo>
                  <a:pt x="1977600" y="1733723"/>
                  <a:pt x="1976806" y="1733325"/>
                  <a:pt x="1976806" y="1732927"/>
                </a:cubicBezTo>
                <a:close/>
                <a:moveTo>
                  <a:pt x="1810572" y="1728952"/>
                </a:moveTo>
                <a:lnTo>
                  <a:pt x="1815345" y="1733724"/>
                </a:lnTo>
                <a:cubicBezTo>
                  <a:pt x="1821709" y="1730543"/>
                  <a:pt x="1820118" y="1730543"/>
                  <a:pt x="1821709" y="1740089"/>
                </a:cubicBezTo>
                <a:lnTo>
                  <a:pt x="1818528" y="1740089"/>
                </a:lnTo>
                <a:lnTo>
                  <a:pt x="1818528" y="1735316"/>
                </a:lnTo>
                <a:lnTo>
                  <a:pt x="1808982" y="1736907"/>
                </a:lnTo>
                <a:lnTo>
                  <a:pt x="1805800" y="1733724"/>
                </a:lnTo>
                <a:lnTo>
                  <a:pt x="1810572" y="1733724"/>
                </a:lnTo>
                <a:close/>
                <a:moveTo>
                  <a:pt x="1977247" y="1727653"/>
                </a:moveTo>
                <a:lnTo>
                  <a:pt x="1979192" y="1728950"/>
                </a:lnTo>
                <a:lnTo>
                  <a:pt x="1978432" y="1730218"/>
                </a:lnTo>
                <a:close/>
                <a:moveTo>
                  <a:pt x="1753307" y="1727362"/>
                </a:moveTo>
                <a:lnTo>
                  <a:pt x="1756489" y="1727362"/>
                </a:lnTo>
                <a:cubicBezTo>
                  <a:pt x="1758079" y="1727362"/>
                  <a:pt x="1759670" y="1728953"/>
                  <a:pt x="1762852" y="1730546"/>
                </a:cubicBezTo>
                <a:lnTo>
                  <a:pt x="1753307" y="1728953"/>
                </a:lnTo>
                <a:close/>
                <a:moveTo>
                  <a:pt x="1781941" y="1727360"/>
                </a:moveTo>
                <a:lnTo>
                  <a:pt x="1786713" y="1727360"/>
                </a:lnTo>
                <a:lnTo>
                  <a:pt x="1786713" y="1730543"/>
                </a:lnTo>
                <a:cubicBezTo>
                  <a:pt x="1785123" y="1728952"/>
                  <a:pt x="1783532" y="1727360"/>
                  <a:pt x="1781941" y="1727360"/>
                </a:cubicBezTo>
                <a:close/>
                <a:moveTo>
                  <a:pt x="1847160" y="1725764"/>
                </a:moveTo>
                <a:cubicBezTo>
                  <a:pt x="1853523" y="1730538"/>
                  <a:pt x="1853523" y="1727355"/>
                  <a:pt x="1855114" y="1735310"/>
                </a:cubicBezTo>
                <a:lnTo>
                  <a:pt x="1842388" y="1735310"/>
                </a:lnTo>
                <a:lnTo>
                  <a:pt x="1847160" y="1732128"/>
                </a:lnTo>
                <a:lnTo>
                  <a:pt x="1847160" y="1727355"/>
                </a:lnTo>
                <a:close/>
                <a:moveTo>
                  <a:pt x="1839206" y="1724175"/>
                </a:moveTo>
                <a:lnTo>
                  <a:pt x="1847160" y="1727355"/>
                </a:lnTo>
                <a:lnTo>
                  <a:pt x="1842387" y="1728946"/>
                </a:lnTo>
                <a:close/>
                <a:moveTo>
                  <a:pt x="1975289" y="1723408"/>
                </a:moveTo>
                <a:lnTo>
                  <a:pt x="1977247" y="1727653"/>
                </a:lnTo>
                <a:lnTo>
                  <a:pt x="1974419" y="1725767"/>
                </a:lnTo>
                <a:close/>
                <a:moveTo>
                  <a:pt x="1664228" y="1722590"/>
                </a:moveTo>
                <a:lnTo>
                  <a:pt x="1668999" y="1725773"/>
                </a:lnTo>
                <a:lnTo>
                  <a:pt x="1662636" y="1727364"/>
                </a:lnTo>
                <a:close/>
                <a:moveTo>
                  <a:pt x="1971238" y="1722586"/>
                </a:moveTo>
                <a:lnTo>
                  <a:pt x="1971238" y="1728950"/>
                </a:lnTo>
                <a:lnTo>
                  <a:pt x="1974419" y="1733723"/>
                </a:lnTo>
                <a:lnTo>
                  <a:pt x="1974419" y="1738496"/>
                </a:lnTo>
                <a:cubicBezTo>
                  <a:pt x="1974419" y="1744861"/>
                  <a:pt x="1969647" y="1746452"/>
                  <a:pt x="1966466" y="1748043"/>
                </a:cubicBezTo>
                <a:lnTo>
                  <a:pt x="1964875" y="1744861"/>
                </a:lnTo>
                <a:lnTo>
                  <a:pt x="1972828" y="1736905"/>
                </a:lnTo>
                <a:cubicBezTo>
                  <a:pt x="1966466" y="1733723"/>
                  <a:pt x="1974419" y="1733723"/>
                  <a:pt x="1964875" y="1733723"/>
                </a:cubicBezTo>
                <a:cubicBezTo>
                  <a:pt x="1958512" y="1733723"/>
                  <a:pt x="1956921" y="1740087"/>
                  <a:pt x="1956921" y="1744861"/>
                </a:cubicBezTo>
                <a:lnTo>
                  <a:pt x="1961694" y="1741679"/>
                </a:lnTo>
                <a:cubicBezTo>
                  <a:pt x="1961694" y="1751224"/>
                  <a:pt x="1961694" y="1746452"/>
                  <a:pt x="1956921" y="1752814"/>
                </a:cubicBezTo>
                <a:lnTo>
                  <a:pt x="1952149" y="1749633"/>
                </a:lnTo>
                <a:lnTo>
                  <a:pt x="1947377" y="1754405"/>
                </a:lnTo>
                <a:lnTo>
                  <a:pt x="1944195" y="1751224"/>
                </a:lnTo>
                <a:lnTo>
                  <a:pt x="1948967" y="1746452"/>
                </a:lnTo>
                <a:lnTo>
                  <a:pt x="1947377" y="1743270"/>
                </a:lnTo>
                <a:lnTo>
                  <a:pt x="1953740" y="1738496"/>
                </a:lnTo>
                <a:lnTo>
                  <a:pt x="1950558" y="1736905"/>
                </a:lnTo>
                <a:lnTo>
                  <a:pt x="1944195" y="1741679"/>
                </a:lnTo>
                <a:lnTo>
                  <a:pt x="1944195" y="1735314"/>
                </a:lnTo>
                <a:cubicBezTo>
                  <a:pt x="1936242" y="1733723"/>
                  <a:pt x="1939423" y="1735314"/>
                  <a:pt x="1936242" y="1730541"/>
                </a:cubicBezTo>
                <a:lnTo>
                  <a:pt x="1931470" y="1730541"/>
                </a:lnTo>
                <a:lnTo>
                  <a:pt x="1934651" y="1725767"/>
                </a:lnTo>
                <a:cubicBezTo>
                  <a:pt x="1945786" y="1728950"/>
                  <a:pt x="1934651" y="1724176"/>
                  <a:pt x="1944195" y="1727358"/>
                </a:cubicBezTo>
                <a:lnTo>
                  <a:pt x="1948967" y="1724176"/>
                </a:lnTo>
                <a:lnTo>
                  <a:pt x="1952149" y="1725767"/>
                </a:lnTo>
                <a:lnTo>
                  <a:pt x="1947377" y="1732132"/>
                </a:lnTo>
                <a:lnTo>
                  <a:pt x="1955331" y="1728950"/>
                </a:lnTo>
                <a:cubicBezTo>
                  <a:pt x="1959308" y="1730541"/>
                  <a:pt x="1960899" y="1731337"/>
                  <a:pt x="1961694" y="1730541"/>
                </a:cubicBezTo>
                <a:lnTo>
                  <a:pt x="1963019" y="1723911"/>
                </a:lnTo>
                <a:lnTo>
                  <a:pt x="1963285" y="1724176"/>
                </a:lnTo>
                <a:lnTo>
                  <a:pt x="1964152" y="1722875"/>
                </a:lnTo>
                <a:lnTo>
                  <a:pt x="1968057" y="1724176"/>
                </a:lnTo>
                <a:close/>
                <a:moveTo>
                  <a:pt x="1948437" y="1722586"/>
                </a:moveTo>
                <a:lnTo>
                  <a:pt x="1950558" y="1722586"/>
                </a:lnTo>
                <a:lnTo>
                  <a:pt x="1951391" y="1722616"/>
                </a:lnTo>
                <a:lnTo>
                  <a:pt x="1948967" y="1724176"/>
                </a:lnTo>
                <a:close/>
                <a:moveTo>
                  <a:pt x="1974218" y="1721088"/>
                </a:moveTo>
                <a:lnTo>
                  <a:pt x="1975811" y="1721988"/>
                </a:lnTo>
                <a:lnTo>
                  <a:pt x="1975289" y="1723408"/>
                </a:lnTo>
                <a:close/>
                <a:moveTo>
                  <a:pt x="1901245" y="1719403"/>
                </a:moveTo>
                <a:cubicBezTo>
                  <a:pt x="1904426" y="1728950"/>
                  <a:pt x="1899654" y="1722586"/>
                  <a:pt x="1909199" y="1725767"/>
                </a:cubicBezTo>
                <a:close/>
                <a:moveTo>
                  <a:pt x="1839206" y="1716219"/>
                </a:moveTo>
                <a:lnTo>
                  <a:pt x="1847160" y="1716219"/>
                </a:lnTo>
                <a:lnTo>
                  <a:pt x="1842387" y="1720992"/>
                </a:lnTo>
                <a:close/>
                <a:moveTo>
                  <a:pt x="1936242" y="1714630"/>
                </a:moveTo>
                <a:lnTo>
                  <a:pt x="1936242" y="1722586"/>
                </a:lnTo>
                <a:lnTo>
                  <a:pt x="1941014" y="1719403"/>
                </a:lnTo>
                <a:close/>
                <a:moveTo>
                  <a:pt x="1826480" y="1711446"/>
                </a:moveTo>
                <a:cubicBezTo>
                  <a:pt x="1831252" y="1713037"/>
                  <a:pt x="1834434" y="1708264"/>
                  <a:pt x="1828071" y="1719401"/>
                </a:cubicBezTo>
                <a:lnTo>
                  <a:pt x="1836025" y="1719401"/>
                </a:lnTo>
                <a:cubicBezTo>
                  <a:pt x="1831252" y="1728946"/>
                  <a:pt x="1840798" y="1722584"/>
                  <a:pt x="1831252" y="1728946"/>
                </a:cubicBezTo>
                <a:lnTo>
                  <a:pt x="1831252" y="1722584"/>
                </a:lnTo>
                <a:cubicBezTo>
                  <a:pt x="1829662" y="1724173"/>
                  <a:pt x="1828071" y="1725764"/>
                  <a:pt x="1828071" y="1725764"/>
                </a:cubicBezTo>
                <a:cubicBezTo>
                  <a:pt x="1826480" y="1725764"/>
                  <a:pt x="1826480" y="1725764"/>
                  <a:pt x="1823299" y="1727355"/>
                </a:cubicBezTo>
                <a:lnTo>
                  <a:pt x="1826480" y="1722584"/>
                </a:lnTo>
                <a:lnTo>
                  <a:pt x="1823299" y="1717810"/>
                </a:lnTo>
                <a:close/>
                <a:moveTo>
                  <a:pt x="1797847" y="1706674"/>
                </a:moveTo>
                <a:lnTo>
                  <a:pt x="1802618" y="1713037"/>
                </a:lnTo>
                <a:lnTo>
                  <a:pt x="1797847" y="1716219"/>
                </a:lnTo>
                <a:lnTo>
                  <a:pt x="1797847" y="1711446"/>
                </a:lnTo>
                <a:lnTo>
                  <a:pt x="1791484" y="1711446"/>
                </a:lnTo>
                <a:close/>
                <a:moveTo>
                  <a:pt x="1802620" y="1705083"/>
                </a:moveTo>
                <a:lnTo>
                  <a:pt x="1807392" y="1708264"/>
                </a:lnTo>
                <a:lnTo>
                  <a:pt x="1802620" y="1708264"/>
                </a:lnTo>
                <a:close/>
                <a:moveTo>
                  <a:pt x="1867839" y="1700312"/>
                </a:moveTo>
                <a:lnTo>
                  <a:pt x="1872612" y="1705085"/>
                </a:lnTo>
                <a:lnTo>
                  <a:pt x="1875793" y="1709858"/>
                </a:lnTo>
                <a:lnTo>
                  <a:pt x="1880566" y="1705085"/>
                </a:lnTo>
                <a:lnTo>
                  <a:pt x="1872612" y="1705085"/>
                </a:lnTo>
                <a:lnTo>
                  <a:pt x="1875793" y="1700312"/>
                </a:lnTo>
                <a:close/>
                <a:moveTo>
                  <a:pt x="1761261" y="1700312"/>
                </a:moveTo>
                <a:lnTo>
                  <a:pt x="1767623" y="1700312"/>
                </a:lnTo>
                <a:lnTo>
                  <a:pt x="1767623" y="1705085"/>
                </a:lnTo>
                <a:close/>
                <a:moveTo>
                  <a:pt x="1794666" y="1697128"/>
                </a:moveTo>
                <a:lnTo>
                  <a:pt x="1802619" y="1705083"/>
                </a:lnTo>
                <a:lnTo>
                  <a:pt x="1797847" y="1706674"/>
                </a:lnTo>
                <a:close/>
                <a:moveTo>
                  <a:pt x="32133" y="1693946"/>
                </a:moveTo>
                <a:cubicBezTo>
                  <a:pt x="27361" y="1692355"/>
                  <a:pt x="25770" y="1697128"/>
                  <a:pt x="20998" y="1695537"/>
                </a:cubicBezTo>
                <a:cubicBezTo>
                  <a:pt x="25770" y="1748031"/>
                  <a:pt x="79855" y="1767120"/>
                  <a:pt x="127577" y="1789390"/>
                </a:cubicBezTo>
                <a:cubicBezTo>
                  <a:pt x="103716" y="1752804"/>
                  <a:pt x="33723" y="1746440"/>
                  <a:pt x="32133" y="1693946"/>
                </a:cubicBezTo>
                <a:close/>
                <a:moveTo>
                  <a:pt x="1783703" y="1693529"/>
                </a:moveTo>
                <a:lnTo>
                  <a:pt x="1785349" y="1694819"/>
                </a:lnTo>
                <a:lnTo>
                  <a:pt x="1785121" y="1695538"/>
                </a:lnTo>
                <a:close/>
                <a:moveTo>
                  <a:pt x="1843978" y="1690765"/>
                </a:moveTo>
                <a:lnTo>
                  <a:pt x="1843978" y="1700312"/>
                </a:lnTo>
                <a:lnTo>
                  <a:pt x="1851932" y="1697129"/>
                </a:lnTo>
                <a:close/>
                <a:moveTo>
                  <a:pt x="1834434" y="1684401"/>
                </a:moveTo>
                <a:lnTo>
                  <a:pt x="1834434" y="1689174"/>
                </a:lnTo>
                <a:lnTo>
                  <a:pt x="1842388" y="1687583"/>
                </a:lnTo>
                <a:close/>
                <a:moveTo>
                  <a:pt x="1754897" y="1681219"/>
                </a:moveTo>
                <a:lnTo>
                  <a:pt x="1773609" y="1692734"/>
                </a:lnTo>
                <a:lnTo>
                  <a:pt x="1773986" y="1692357"/>
                </a:lnTo>
                <a:cubicBezTo>
                  <a:pt x="1777169" y="1693947"/>
                  <a:pt x="1781940" y="1697129"/>
                  <a:pt x="1785122" y="1698720"/>
                </a:cubicBezTo>
                <a:lnTo>
                  <a:pt x="1781940" y="1701903"/>
                </a:lnTo>
                <a:cubicBezTo>
                  <a:pt x="1785122" y="1708267"/>
                  <a:pt x="1788304" y="1711449"/>
                  <a:pt x="1791485" y="1717812"/>
                </a:cubicBezTo>
                <a:cubicBezTo>
                  <a:pt x="1785122" y="1720994"/>
                  <a:pt x="1794666" y="1719403"/>
                  <a:pt x="1785122" y="1720994"/>
                </a:cubicBezTo>
                <a:cubicBezTo>
                  <a:pt x="1783532" y="1720994"/>
                  <a:pt x="1778758" y="1717812"/>
                  <a:pt x="1777169" y="1716223"/>
                </a:cubicBezTo>
                <a:lnTo>
                  <a:pt x="1777169" y="1722587"/>
                </a:lnTo>
                <a:lnTo>
                  <a:pt x="1770804" y="1717812"/>
                </a:lnTo>
                <a:lnTo>
                  <a:pt x="1770804" y="1719403"/>
                </a:lnTo>
                <a:cubicBezTo>
                  <a:pt x="1769214" y="1717812"/>
                  <a:pt x="1767623" y="1717812"/>
                  <a:pt x="1766033" y="1716223"/>
                </a:cubicBezTo>
                <a:cubicBezTo>
                  <a:pt x="1769214" y="1714632"/>
                  <a:pt x="1767623" y="1716223"/>
                  <a:pt x="1770804" y="1711449"/>
                </a:cubicBezTo>
                <a:lnTo>
                  <a:pt x="1762852" y="1711449"/>
                </a:lnTo>
                <a:lnTo>
                  <a:pt x="1762852" y="1713043"/>
                </a:lnTo>
                <a:cubicBezTo>
                  <a:pt x="1761261" y="1713043"/>
                  <a:pt x="1759671" y="1711449"/>
                  <a:pt x="1759671" y="1709858"/>
                </a:cubicBezTo>
                <a:lnTo>
                  <a:pt x="1761791" y="1709858"/>
                </a:lnTo>
                <a:lnTo>
                  <a:pt x="1759670" y="1706676"/>
                </a:lnTo>
                <a:lnTo>
                  <a:pt x="1772395" y="1706676"/>
                </a:lnTo>
                <a:cubicBezTo>
                  <a:pt x="1767623" y="1697129"/>
                  <a:pt x="1773986" y="1706676"/>
                  <a:pt x="1769214" y="1697129"/>
                </a:cubicBezTo>
                <a:lnTo>
                  <a:pt x="1773306" y="1693038"/>
                </a:lnTo>
                <a:lnTo>
                  <a:pt x="1767623" y="1690765"/>
                </a:lnTo>
                <a:lnTo>
                  <a:pt x="1767623" y="1695537"/>
                </a:lnTo>
                <a:cubicBezTo>
                  <a:pt x="1756489" y="1697128"/>
                  <a:pt x="1762852" y="1695537"/>
                  <a:pt x="1754897" y="1700310"/>
                </a:cubicBezTo>
                <a:lnTo>
                  <a:pt x="1750126" y="1695538"/>
                </a:lnTo>
                <a:lnTo>
                  <a:pt x="1751717" y="1705083"/>
                </a:lnTo>
                <a:cubicBezTo>
                  <a:pt x="1745353" y="1701901"/>
                  <a:pt x="1746943" y="1701901"/>
                  <a:pt x="1742171" y="1695537"/>
                </a:cubicBezTo>
                <a:lnTo>
                  <a:pt x="1750125" y="1695537"/>
                </a:lnTo>
                <a:lnTo>
                  <a:pt x="1754699" y="1693349"/>
                </a:lnTo>
                <a:cubicBezTo>
                  <a:pt x="1756489" y="1693151"/>
                  <a:pt x="1758874" y="1693151"/>
                  <a:pt x="1762852" y="1692355"/>
                </a:cubicBezTo>
                <a:lnTo>
                  <a:pt x="1753307" y="1682810"/>
                </a:lnTo>
                <a:close/>
                <a:moveTo>
                  <a:pt x="1767712" y="1681014"/>
                </a:moveTo>
                <a:lnTo>
                  <a:pt x="1774025" y="1685954"/>
                </a:lnTo>
                <a:lnTo>
                  <a:pt x="1773986" y="1685992"/>
                </a:lnTo>
                <a:lnTo>
                  <a:pt x="1767623" y="1681222"/>
                </a:lnTo>
                <a:close/>
                <a:moveTo>
                  <a:pt x="587299" y="1679629"/>
                </a:moveTo>
                <a:cubicBezTo>
                  <a:pt x="636612" y="1728943"/>
                  <a:pt x="724102" y="1740077"/>
                  <a:pt x="795685" y="1751213"/>
                </a:cubicBezTo>
                <a:cubicBezTo>
                  <a:pt x="910219" y="1768711"/>
                  <a:pt x="1047022" y="1816434"/>
                  <a:pt x="1155192" y="1784619"/>
                </a:cubicBezTo>
                <a:cubicBezTo>
                  <a:pt x="996118" y="1779846"/>
                  <a:pt x="744782" y="1748031"/>
                  <a:pt x="587299" y="1679629"/>
                </a:cubicBezTo>
                <a:close/>
                <a:moveTo>
                  <a:pt x="1804210" y="1678040"/>
                </a:moveTo>
                <a:lnTo>
                  <a:pt x="1807391" y="1682811"/>
                </a:lnTo>
                <a:lnTo>
                  <a:pt x="1812164" y="1678040"/>
                </a:lnTo>
                <a:close/>
                <a:moveTo>
                  <a:pt x="1839206" y="1674859"/>
                </a:moveTo>
                <a:cubicBezTo>
                  <a:pt x="1828071" y="1674859"/>
                  <a:pt x="1829662" y="1676451"/>
                  <a:pt x="1826480" y="1681222"/>
                </a:cubicBezTo>
                <a:lnTo>
                  <a:pt x="1829662" y="1684401"/>
                </a:lnTo>
                <a:close/>
                <a:moveTo>
                  <a:pt x="1820118" y="1674859"/>
                </a:moveTo>
                <a:lnTo>
                  <a:pt x="1815345" y="1679631"/>
                </a:lnTo>
                <a:lnTo>
                  <a:pt x="1820118" y="1679631"/>
                </a:lnTo>
                <a:close/>
                <a:moveTo>
                  <a:pt x="1740581" y="1674859"/>
                </a:moveTo>
                <a:cubicBezTo>
                  <a:pt x="1740581" y="1682811"/>
                  <a:pt x="1738990" y="1681220"/>
                  <a:pt x="1735809" y="1684401"/>
                </a:cubicBezTo>
                <a:lnTo>
                  <a:pt x="1724673" y="1681220"/>
                </a:lnTo>
                <a:cubicBezTo>
                  <a:pt x="1731037" y="1674859"/>
                  <a:pt x="1724673" y="1678040"/>
                  <a:pt x="1737399" y="1679631"/>
                </a:cubicBezTo>
                <a:cubicBezTo>
                  <a:pt x="1735809" y="1673270"/>
                  <a:pt x="1732627" y="1676451"/>
                  <a:pt x="1740581" y="1674859"/>
                </a:cubicBezTo>
                <a:close/>
                <a:moveTo>
                  <a:pt x="1759690" y="1674737"/>
                </a:moveTo>
                <a:lnTo>
                  <a:pt x="1759764" y="1674794"/>
                </a:lnTo>
                <a:lnTo>
                  <a:pt x="1759670" y="1674859"/>
                </a:lnTo>
                <a:close/>
                <a:moveTo>
                  <a:pt x="3495160" y="1673277"/>
                </a:moveTo>
                <a:cubicBezTo>
                  <a:pt x="3484024" y="1679640"/>
                  <a:pt x="3471299" y="1684408"/>
                  <a:pt x="3460164" y="1689185"/>
                </a:cubicBezTo>
                <a:cubicBezTo>
                  <a:pt x="3458573" y="1695554"/>
                  <a:pt x="3458573" y="1701922"/>
                  <a:pt x="3461755" y="1708286"/>
                </a:cubicBezTo>
                <a:cubicBezTo>
                  <a:pt x="3463345" y="1709877"/>
                  <a:pt x="3464936" y="1713060"/>
                  <a:pt x="3464936" y="1714651"/>
                </a:cubicBezTo>
                <a:cubicBezTo>
                  <a:pt x="3472890" y="1711468"/>
                  <a:pt x="3480843" y="1706695"/>
                  <a:pt x="3488797" y="1703513"/>
                </a:cubicBezTo>
                <a:cubicBezTo>
                  <a:pt x="3490388" y="1692366"/>
                  <a:pt x="3493569" y="1682815"/>
                  <a:pt x="3495160" y="1673277"/>
                </a:cubicBezTo>
                <a:close/>
                <a:moveTo>
                  <a:pt x="670018" y="1673266"/>
                </a:moveTo>
                <a:cubicBezTo>
                  <a:pt x="752735" y="1736896"/>
                  <a:pt x="910219" y="1736896"/>
                  <a:pt x="1015207" y="1740077"/>
                </a:cubicBezTo>
                <a:cubicBezTo>
                  <a:pt x="905446" y="1711444"/>
                  <a:pt x="768642" y="1719398"/>
                  <a:pt x="670018" y="1673266"/>
                </a:cubicBezTo>
                <a:close/>
                <a:moveTo>
                  <a:pt x="1648319" y="1670090"/>
                </a:moveTo>
                <a:lnTo>
                  <a:pt x="1648319" y="1674860"/>
                </a:lnTo>
                <a:lnTo>
                  <a:pt x="1643547" y="1674860"/>
                </a:lnTo>
                <a:close/>
                <a:moveTo>
                  <a:pt x="1772395" y="1670088"/>
                </a:moveTo>
                <a:lnTo>
                  <a:pt x="1767712" y="1681014"/>
                </a:lnTo>
                <a:lnTo>
                  <a:pt x="1759764" y="1674794"/>
                </a:lnTo>
                <a:lnTo>
                  <a:pt x="1764839" y="1671281"/>
                </a:lnTo>
                <a:cubicBezTo>
                  <a:pt x="1765636" y="1670883"/>
                  <a:pt x="1766828" y="1670883"/>
                  <a:pt x="1772395" y="1670088"/>
                </a:cubicBezTo>
                <a:close/>
                <a:moveTo>
                  <a:pt x="4431705" y="1667515"/>
                </a:moveTo>
                <a:cubicBezTo>
                  <a:pt x="4434488" y="1666918"/>
                  <a:pt x="4437670" y="1667713"/>
                  <a:pt x="4440056" y="1671686"/>
                </a:cubicBezTo>
                <a:cubicBezTo>
                  <a:pt x="4444829" y="1676460"/>
                  <a:pt x="4441647" y="1682824"/>
                  <a:pt x="4433693" y="1682824"/>
                </a:cubicBezTo>
                <a:cubicBezTo>
                  <a:pt x="4427330" y="1682824"/>
                  <a:pt x="4424149" y="1676460"/>
                  <a:pt x="4425739" y="1671686"/>
                </a:cubicBezTo>
                <a:cubicBezTo>
                  <a:pt x="4426534" y="1670097"/>
                  <a:pt x="4428920" y="1668109"/>
                  <a:pt x="4431705" y="1667515"/>
                </a:cubicBezTo>
                <a:close/>
                <a:moveTo>
                  <a:pt x="1845569" y="1666907"/>
                </a:moveTo>
                <a:lnTo>
                  <a:pt x="1845569" y="1671679"/>
                </a:lnTo>
                <a:lnTo>
                  <a:pt x="1850342" y="1666907"/>
                </a:lnTo>
                <a:close/>
                <a:moveTo>
                  <a:pt x="1718310" y="1663728"/>
                </a:moveTo>
                <a:lnTo>
                  <a:pt x="1723083" y="1666909"/>
                </a:lnTo>
                <a:lnTo>
                  <a:pt x="1718310" y="1671679"/>
                </a:lnTo>
                <a:lnTo>
                  <a:pt x="1715129" y="1668497"/>
                </a:lnTo>
                <a:close/>
                <a:moveTo>
                  <a:pt x="1834434" y="1658957"/>
                </a:moveTo>
                <a:cubicBezTo>
                  <a:pt x="1836025" y="1663726"/>
                  <a:pt x="1839206" y="1668497"/>
                  <a:pt x="1842388" y="1670088"/>
                </a:cubicBezTo>
                <a:cubicBezTo>
                  <a:pt x="1840797" y="1662136"/>
                  <a:pt x="1840797" y="1663726"/>
                  <a:pt x="1834434" y="1658957"/>
                </a:cubicBezTo>
                <a:close/>
                <a:moveTo>
                  <a:pt x="3498342" y="1655787"/>
                </a:moveTo>
                <a:cubicBezTo>
                  <a:pt x="3490388" y="1660557"/>
                  <a:pt x="3479252" y="1666918"/>
                  <a:pt x="3471299" y="1674868"/>
                </a:cubicBezTo>
                <a:cubicBezTo>
                  <a:pt x="3479252" y="1670097"/>
                  <a:pt x="3488797" y="1666918"/>
                  <a:pt x="3496751" y="1662150"/>
                </a:cubicBezTo>
                <a:cubicBezTo>
                  <a:pt x="3498342" y="1660557"/>
                  <a:pt x="3498342" y="1658966"/>
                  <a:pt x="3498342" y="1655787"/>
                </a:cubicBezTo>
                <a:close/>
                <a:moveTo>
                  <a:pt x="2360967" y="1651012"/>
                </a:moveTo>
                <a:cubicBezTo>
                  <a:pt x="2357785" y="1651012"/>
                  <a:pt x="2356194" y="1652603"/>
                  <a:pt x="2353013" y="1652603"/>
                </a:cubicBezTo>
                <a:cubicBezTo>
                  <a:pt x="2349832" y="1654198"/>
                  <a:pt x="2345061" y="1654198"/>
                  <a:pt x="2341878" y="1652603"/>
                </a:cubicBezTo>
                <a:cubicBezTo>
                  <a:pt x="2345061" y="1663738"/>
                  <a:pt x="2348241" y="1674868"/>
                  <a:pt x="2351423" y="1685999"/>
                </a:cubicBezTo>
                <a:cubicBezTo>
                  <a:pt x="2357785" y="1678050"/>
                  <a:pt x="2343469" y="1668505"/>
                  <a:pt x="2354604" y="1668505"/>
                </a:cubicBezTo>
                <a:cubicBezTo>
                  <a:pt x="2359376" y="1716245"/>
                  <a:pt x="2378465" y="1763994"/>
                  <a:pt x="2391191" y="1805364"/>
                </a:cubicBezTo>
                <a:cubicBezTo>
                  <a:pt x="2397553" y="1802181"/>
                  <a:pt x="2402326" y="1803773"/>
                  <a:pt x="2407098" y="1802181"/>
                </a:cubicBezTo>
                <a:cubicBezTo>
                  <a:pt x="2394372" y="1768765"/>
                  <a:pt x="2391191" y="1738528"/>
                  <a:pt x="2386419" y="1705100"/>
                </a:cubicBezTo>
                <a:cubicBezTo>
                  <a:pt x="2376874" y="1689185"/>
                  <a:pt x="2367330" y="1670097"/>
                  <a:pt x="2360967" y="1651012"/>
                </a:cubicBezTo>
                <a:close/>
                <a:moveTo>
                  <a:pt x="1748534" y="1651000"/>
                </a:moveTo>
                <a:lnTo>
                  <a:pt x="1753307" y="1654181"/>
                </a:lnTo>
                <a:lnTo>
                  <a:pt x="1745353" y="1655771"/>
                </a:lnTo>
                <a:close/>
                <a:moveTo>
                  <a:pt x="1680134" y="1646230"/>
                </a:moveTo>
                <a:lnTo>
                  <a:pt x="1680134" y="1652595"/>
                </a:lnTo>
                <a:lnTo>
                  <a:pt x="1675361" y="1651004"/>
                </a:lnTo>
                <a:close/>
                <a:moveTo>
                  <a:pt x="1729446" y="1646224"/>
                </a:moveTo>
                <a:lnTo>
                  <a:pt x="1734218" y="1650995"/>
                </a:lnTo>
                <a:lnTo>
                  <a:pt x="1731037" y="1652587"/>
                </a:lnTo>
                <a:cubicBezTo>
                  <a:pt x="1729446" y="1650995"/>
                  <a:pt x="1727855" y="1650995"/>
                  <a:pt x="1726265" y="1649405"/>
                </a:cubicBezTo>
                <a:close/>
                <a:moveTo>
                  <a:pt x="3561971" y="1644653"/>
                </a:moveTo>
                <a:cubicBezTo>
                  <a:pt x="3546063" y="1651012"/>
                  <a:pt x="3530156" y="1658966"/>
                  <a:pt x="3514249" y="1665328"/>
                </a:cubicBezTo>
                <a:cubicBezTo>
                  <a:pt x="3514249" y="1674868"/>
                  <a:pt x="3512658" y="1682815"/>
                  <a:pt x="3512658" y="1692366"/>
                </a:cubicBezTo>
                <a:cubicBezTo>
                  <a:pt x="3528566" y="1684408"/>
                  <a:pt x="3546063" y="1678050"/>
                  <a:pt x="3561971" y="1670097"/>
                </a:cubicBezTo>
                <a:cubicBezTo>
                  <a:pt x="3561971" y="1662150"/>
                  <a:pt x="3561971" y="1652603"/>
                  <a:pt x="3561971" y="1644653"/>
                </a:cubicBezTo>
                <a:close/>
                <a:moveTo>
                  <a:pt x="1874202" y="1644638"/>
                </a:moveTo>
                <a:lnTo>
                  <a:pt x="1869430" y="1649410"/>
                </a:lnTo>
                <a:lnTo>
                  <a:pt x="1874202" y="1649410"/>
                </a:lnTo>
                <a:close/>
                <a:moveTo>
                  <a:pt x="1807391" y="1643048"/>
                </a:moveTo>
                <a:lnTo>
                  <a:pt x="1804210" y="1644638"/>
                </a:lnTo>
                <a:lnTo>
                  <a:pt x="1808982" y="1651002"/>
                </a:lnTo>
                <a:lnTo>
                  <a:pt x="1807391" y="1654184"/>
                </a:lnTo>
                <a:lnTo>
                  <a:pt x="1801028" y="1649410"/>
                </a:lnTo>
                <a:lnTo>
                  <a:pt x="1796256" y="1654184"/>
                </a:lnTo>
                <a:lnTo>
                  <a:pt x="1793075" y="1652593"/>
                </a:lnTo>
                <a:lnTo>
                  <a:pt x="1796256" y="1647819"/>
                </a:lnTo>
                <a:lnTo>
                  <a:pt x="1788304" y="1647819"/>
                </a:lnTo>
                <a:cubicBezTo>
                  <a:pt x="1793075" y="1657366"/>
                  <a:pt x="1786712" y="1647819"/>
                  <a:pt x="1791485" y="1657366"/>
                </a:cubicBezTo>
                <a:lnTo>
                  <a:pt x="1796256" y="1654184"/>
                </a:lnTo>
                <a:lnTo>
                  <a:pt x="1799438" y="1658957"/>
                </a:lnTo>
                <a:lnTo>
                  <a:pt x="1789894" y="1660546"/>
                </a:lnTo>
                <a:lnTo>
                  <a:pt x="1789894" y="1662136"/>
                </a:lnTo>
                <a:lnTo>
                  <a:pt x="1799438" y="1663726"/>
                </a:lnTo>
                <a:lnTo>
                  <a:pt x="1807391" y="1654184"/>
                </a:lnTo>
                <a:lnTo>
                  <a:pt x="1810044" y="1655952"/>
                </a:lnTo>
                <a:lnTo>
                  <a:pt x="1808982" y="1657366"/>
                </a:lnTo>
                <a:lnTo>
                  <a:pt x="1811137" y="1658597"/>
                </a:lnTo>
                <a:lnTo>
                  <a:pt x="1804210" y="1666907"/>
                </a:lnTo>
                <a:lnTo>
                  <a:pt x="1812164" y="1666907"/>
                </a:lnTo>
                <a:lnTo>
                  <a:pt x="1808982" y="1671679"/>
                </a:lnTo>
                <a:lnTo>
                  <a:pt x="1816936" y="1668497"/>
                </a:lnTo>
                <a:lnTo>
                  <a:pt x="1824890" y="1670088"/>
                </a:lnTo>
                <a:lnTo>
                  <a:pt x="1824890" y="1665317"/>
                </a:lnTo>
                <a:lnTo>
                  <a:pt x="1832843" y="1665317"/>
                </a:lnTo>
                <a:lnTo>
                  <a:pt x="1832843" y="1663726"/>
                </a:lnTo>
                <a:lnTo>
                  <a:pt x="1824890" y="1663726"/>
                </a:lnTo>
                <a:lnTo>
                  <a:pt x="1820118" y="1663726"/>
                </a:lnTo>
                <a:lnTo>
                  <a:pt x="1811137" y="1658597"/>
                </a:lnTo>
                <a:lnTo>
                  <a:pt x="1812164" y="1657366"/>
                </a:lnTo>
                <a:lnTo>
                  <a:pt x="1810044" y="1655952"/>
                </a:lnTo>
                <a:lnTo>
                  <a:pt x="1813754" y="1651002"/>
                </a:lnTo>
                <a:cubicBezTo>
                  <a:pt x="1813754" y="1646228"/>
                  <a:pt x="1810573" y="1644638"/>
                  <a:pt x="1807391" y="1643048"/>
                </a:cubicBezTo>
                <a:close/>
                <a:moveTo>
                  <a:pt x="1821708" y="1639867"/>
                </a:moveTo>
                <a:cubicBezTo>
                  <a:pt x="1816936" y="1649410"/>
                  <a:pt x="1823299" y="1639867"/>
                  <a:pt x="1820118" y="1647819"/>
                </a:cubicBezTo>
                <a:lnTo>
                  <a:pt x="1828071" y="1647819"/>
                </a:lnTo>
                <a:cubicBezTo>
                  <a:pt x="1824890" y="1643048"/>
                  <a:pt x="1826480" y="1643048"/>
                  <a:pt x="1826480" y="1643048"/>
                </a:cubicBezTo>
                <a:cubicBezTo>
                  <a:pt x="1824890" y="1643048"/>
                  <a:pt x="1824890" y="1641458"/>
                  <a:pt x="1821708" y="1639867"/>
                </a:cubicBezTo>
                <a:close/>
                <a:moveTo>
                  <a:pt x="1759670" y="1635093"/>
                </a:moveTo>
                <a:cubicBezTo>
                  <a:pt x="1766033" y="1636684"/>
                  <a:pt x="1761261" y="1638273"/>
                  <a:pt x="1767625" y="1635093"/>
                </a:cubicBezTo>
                <a:lnTo>
                  <a:pt x="1764442" y="1644638"/>
                </a:lnTo>
                <a:cubicBezTo>
                  <a:pt x="1758079" y="1641456"/>
                  <a:pt x="1764442" y="1641456"/>
                  <a:pt x="1758079" y="1644638"/>
                </a:cubicBezTo>
                <a:lnTo>
                  <a:pt x="1750125" y="1641456"/>
                </a:lnTo>
                <a:cubicBezTo>
                  <a:pt x="1756489" y="1633502"/>
                  <a:pt x="1751717" y="1639866"/>
                  <a:pt x="1759670" y="1635093"/>
                </a:cubicBezTo>
                <a:close/>
                <a:moveTo>
                  <a:pt x="1735809" y="1628731"/>
                </a:moveTo>
                <a:lnTo>
                  <a:pt x="1735809" y="1633503"/>
                </a:lnTo>
                <a:lnTo>
                  <a:pt x="1729447" y="1633503"/>
                </a:lnTo>
                <a:close/>
                <a:moveTo>
                  <a:pt x="1762852" y="1628730"/>
                </a:moveTo>
                <a:lnTo>
                  <a:pt x="1767623" y="1631911"/>
                </a:lnTo>
                <a:lnTo>
                  <a:pt x="1759670" y="1633502"/>
                </a:lnTo>
                <a:close/>
                <a:moveTo>
                  <a:pt x="3554017" y="1622395"/>
                </a:moveTo>
                <a:cubicBezTo>
                  <a:pt x="3541291" y="1628757"/>
                  <a:pt x="3528566" y="1633526"/>
                  <a:pt x="3517430" y="1639884"/>
                </a:cubicBezTo>
                <a:cubicBezTo>
                  <a:pt x="3517430" y="1644653"/>
                  <a:pt x="3515839" y="1649423"/>
                  <a:pt x="3515839" y="1654198"/>
                </a:cubicBezTo>
                <a:cubicBezTo>
                  <a:pt x="3530156" y="1647834"/>
                  <a:pt x="3544472" y="1639884"/>
                  <a:pt x="3558789" y="1633526"/>
                </a:cubicBezTo>
                <a:cubicBezTo>
                  <a:pt x="3557199" y="1630348"/>
                  <a:pt x="3555608" y="1625570"/>
                  <a:pt x="3554017" y="1622395"/>
                </a:cubicBezTo>
                <a:close/>
                <a:moveTo>
                  <a:pt x="4618218" y="1620820"/>
                </a:moveTo>
                <a:cubicBezTo>
                  <a:pt x="4605491" y="1636705"/>
                  <a:pt x="4576858" y="1651012"/>
                  <a:pt x="4556179" y="1666918"/>
                </a:cubicBezTo>
                <a:cubicBezTo>
                  <a:pt x="4567314" y="1646243"/>
                  <a:pt x="4581631" y="1641473"/>
                  <a:pt x="4594357" y="1633526"/>
                </a:cubicBezTo>
                <a:cubicBezTo>
                  <a:pt x="4600719" y="1628757"/>
                  <a:pt x="4607082" y="1622395"/>
                  <a:pt x="4618218" y="1620820"/>
                </a:cubicBezTo>
                <a:close/>
                <a:moveTo>
                  <a:pt x="1804210" y="1619195"/>
                </a:moveTo>
                <a:cubicBezTo>
                  <a:pt x="1808982" y="1628734"/>
                  <a:pt x="1799438" y="1622371"/>
                  <a:pt x="1808982" y="1628734"/>
                </a:cubicBezTo>
                <a:cubicBezTo>
                  <a:pt x="1813754" y="1619195"/>
                  <a:pt x="1807391" y="1628734"/>
                  <a:pt x="1812164" y="1619195"/>
                </a:cubicBezTo>
                <a:close/>
                <a:moveTo>
                  <a:pt x="1783532" y="1619195"/>
                </a:moveTo>
                <a:lnTo>
                  <a:pt x="1786712" y="1628734"/>
                </a:lnTo>
                <a:lnTo>
                  <a:pt x="1791485" y="1623962"/>
                </a:lnTo>
                <a:cubicBezTo>
                  <a:pt x="1788304" y="1622371"/>
                  <a:pt x="1786712" y="1622371"/>
                  <a:pt x="1786712" y="1622371"/>
                </a:cubicBezTo>
                <a:cubicBezTo>
                  <a:pt x="1786712" y="1622371"/>
                  <a:pt x="1785121" y="1620786"/>
                  <a:pt x="1783532" y="1619195"/>
                </a:cubicBezTo>
                <a:close/>
                <a:moveTo>
                  <a:pt x="1599006" y="1611250"/>
                </a:moveTo>
                <a:lnTo>
                  <a:pt x="1603778" y="1612839"/>
                </a:lnTo>
                <a:lnTo>
                  <a:pt x="1599006" y="1617614"/>
                </a:lnTo>
                <a:lnTo>
                  <a:pt x="1597415" y="1614431"/>
                </a:lnTo>
                <a:close/>
                <a:moveTo>
                  <a:pt x="1763447" y="1605271"/>
                </a:moveTo>
                <a:cubicBezTo>
                  <a:pt x="1763647" y="1604476"/>
                  <a:pt x="1763647" y="1604873"/>
                  <a:pt x="1767623" y="1609645"/>
                </a:cubicBezTo>
                <a:lnTo>
                  <a:pt x="1759669" y="1609645"/>
                </a:lnTo>
                <a:lnTo>
                  <a:pt x="1754897" y="1609645"/>
                </a:lnTo>
                <a:lnTo>
                  <a:pt x="1751717" y="1619190"/>
                </a:lnTo>
                <a:cubicBezTo>
                  <a:pt x="1745352" y="1614417"/>
                  <a:pt x="1751717" y="1614417"/>
                  <a:pt x="1740580" y="1614417"/>
                </a:cubicBezTo>
                <a:cubicBezTo>
                  <a:pt x="1745352" y="1608054"/>
                  <a:pt x="1738990" y="1611237"/>
                  <a:pt x="1750125" y="1612827"/>
                </a:cubicBezTo>
                <a:lnTo>
                  <a:pt x="1750125" y="1608054"/>
                </a:lnTo>
                <a:lnTo>
                  <a:pt x="1758079" y="1608054"/>
                </a:lnTo>
                <a:cubicBezTo>
                  <a:pt x="1762852" y="1608054"/>
                  <a:pt x="1763250" y="1606066"/>
                  <a:pt x="1763447" y="1605271"/>
                </a:cubicBezTo>
                <a:close/>
                <a:moveTo>
                  <a:pt x="1718311" y="1604884"/>
                </a:moveTo>
                <a:lnTo>
                  <a:pt x="1723083" y="1604884"/>
                </a:lnTo>
                <a:lnTo>
                  <a:pt x="1723083" y="1611247"/>
                </a:lnTo>
                <a:cubicBezTo>
                  <a:pt x="1723083" y="1609656"/>
                  <a:pt x="1719902" y="1612838"/>
                  <a:pt x="1718311" y="1604884"/>
                </a:cubicBezTo>
                <a:close/>
                <a:moveTo>
                  <a:pt x="3542882" y="1603321"/>
                </a:moveTo>
                <a:cubicBezTo>
                  <a:pt x="3538109" y="1601729"/>
                  <a:pt x="3533337" y="1601729"/>
                  <a:pt x="3528566" y="1604911"/>
                </a:cubicBezTo>
                <a:cubicBezTo>
                  <a:pt x="3528566" y="1606502"/>
                  <a:pt x="3525384" y="1609682"/>
                  <a:pt x="3523793" y="1611273"/>
                </a:cubicBezTo>
                <a:cubicBezTo>
                  <a:pt x="3530156" y="1608092"/>
                  <a:pt x="3536519" y="1606502"/>
                  <a:pt x="3542882" y="1603321"/>
                </a:cubicBezTo>
                <a:close/>
                <a:moveTo>
                  <a:pt x="1708767" y="1601702"/>
                </a:moveTo>
                <a:lnTo>
                  <a:pt x="1713539" y="1606474"/>
                </a:lnTo>
                <a:lnTo>
                  <a:pt x="1707176" y="1606474"/>
                </a:lnTo>
                <a:close/>
                <a:moveTo>
                  <a:pt x="1745353" y="1600102"/>
                </a:moveTo>
                <a:lnTo>
                  <a:pt x="1758080" y="1600102"/>
                </a:lnTo>
                <a:lnTo>
                  <a:pt x="1758080" y="1606465"/>
                </a:lnTo>
                <a:cubicBezTo>
                  <a:pt x="1746945" y="1604875"/>
                  <a:pt x="1750125" y="1604875"/>
                  <a:pt x="1745353" y="1600102"/>
                </a:cubicBezTo>
                <a:close/>
                <a:moveTo>
                  <a:pt x="4858418" y="1598551"/>
                </a:moveTo>
                <a:cubicBezTo>
                  <a:pt x="4866372" y="1598551"/>
                  <a:pt x="4861600" y="1604915"/>
                  <a:pt x="4853646" y="1608096"/>
                </a:cubicBezTo>
                <a:cubicBezTo>
                  <a:pt x="4836148" y="1612866"/>
                  <a:pt x="4813877" y="1616052"/>
                  <a:pt x="4793198" y="1625570"/>
                </a:cubicBezTo>
                <a:cubicBezTo>
                  <a:pt x="4791607" y="1625570"/>
                  <a:pt x="4778881" y="1623986"/>
                  <a:pt x="4788426" y="1620820"/>
                </a:cubicBezTo>
                <a:cubicBezTo>
                  <a:pt x="4813877" y="1609687"/>
                  <a:pt x="4836148" y="1596962"/>
                  <a:pt x="4858418" y="1598551"/>
                </a:cubicBezTo>
                <a:close/>
                <a:moveTo>
                  <a:pt x="1816936" y="1593743"/>
                </a:moveTo>
                <a:lnTo>
                  <a:pt x="1808982" y="1596925"/>
                </a:lnTo>
                <a:lnTo>
                  <a:pt x="1815345" y="1601696"/>
                </a:lnTo>
                <a:close/>
                <a:moveTo>
                  <a:pt x="1807391" y="1592152"/>
                </a:moveTo>
                <a:lnTo>
                  <a:pt x="1802619" y="1596925"/>
                </a:lnTo>
                <a:lnTo>
                  <a:pt x="1807391" y="1600105"/>
                </a:lnTo>
                <a:close/>
                <a:moveTo>
                  <a:pt x="1748535" y="1592147"/>
                </a:moveTo>
                <a:lnTo>
                  <a:pt x="1753307" y="1596920"/>
                </a:lnTo>
                <a:lnTo>
                  <a:pt x="1746945" y="1596920"/>
                </a:lnTo>
                <a:close/>
                <a:moveTo>
                  <a:pt x="1808982" y="1588971"/>
                </a:moveTo>
                <a:lnTo>
                  <a:pt x="1813754" y="1592152"/>
                </a:lnTo>
                <a:lnTo>
                  <a:pt x="1816936" y="1588971"/>
                </a:lnTo>
                <a:close/>
                <a:moveTo>
                  <a:pt x="2718882" y="1581052"/>
                </a:moveTo>
                <a:cubicBezTo>
                  <a:pt x="2710929" y="1589005"/>
                  <a:pt x="2704566" y="1595368"/>
                  <a:pt x="2698203" y="1603321"/>
                </a:cubicBezTo>
                <a:cubicBezTo>
                  <a:pt x="2685477" y="1606502"/>
                  <a:pt x="2696612" y="1603321"/>
                  <a:pt x="2696612" y="1592186"/>
                </a:cubicBezTo>
                <a:cubicBezTo>
                  <a:pt x="2682295" y="1608092"/>
                  <a:pt x="2667978" y="1622395"/>
                  <a:pt x="2653661" y="1635116"/>
                </a:cubicBezTo>
                <a:cubicBezTo>
                  <a:pt x="2653661" y="1643063"/>
                  <a:pt x="2653661" y="1651012"/>
                  <a:pt x="2653661" y="1657376"/>
                </a:cubicBezTo>
                <a:cubicBezTo>
                  <a:pt x="2679113" y="1638295"/>
                  <a:pt x="2704566" y="1614457"/>
                  <a:pt x="2726836" y="1589005"/>
                </a:cubicBezTo>
                <a:cubicBezTo>
                  <a:pt x="2723654" y="1585824"/>
                  <a:pt x="2722064" y="1584233"/>
                  <a:pt x="2718882" y="1581052"/>
                </a:cubicBezTo>
                <a:close/>
                <a:moveTo>
                  <a:pt x="1673770" y="1581006"/>
                </a:moveTo>
                <a:cubicBezTo>
                  <a:pt x="1681723" y="1584188"/>
                  <a:pt x="1678542" y="1582597"/>
                  <a:pt x="1683314" y="1587370"/>
                </a:cubicBezTo>
                <a:cubicBezTo>
                  <a:pt x="1673770" y="1584188"/>
                  <a:pt x="1676951" y="1588961"/>
                  <a:pt x="1673770" y="1581006"/>
                </a:cubicBezTo>
                <a:close/>
                <a:moveTo>
                  <a:pt x="1823299" y="1579427"/>
                </a:moveTo>
                <a:lnTo>
                  <a:pt x="1831252" y="1585790"/>
                </a:lnTo>
                <a:lnTo>
                  <a:pt x="1834434" y="1581018"/>
                </a:lnTo>
                <a:close/>
                <a:moveTo>
                  <a:pt x="1707175" y="1577836"/>
                </a:moveTo>
                <a:lnTo>
                  <a:pt x="1711947" y="1584199"/>
                </a:lnTo>
                <a:lnTo>
                  <a:pt x="1716720" y="1582609"/>
                </a:lnTo>
                <a:lnTo>
                  <a:pt x="1716720" y="1588971"/>
                </a:lnTo>
                <a:cubicBezTo>
                  <a:pt x="1707175" y="1588971"/>
                  <a:pt x="1707175" y="1587381"/>
                  <a:pt x="1707175" y="1577836"/>
                </a:cubicBezTo>
                <a:close/>
                <a:moveTo>
                  <a:pt x="1767623" y="1574655"/>
                </a:moveTo>
                <a:lnTo>
                  <a:pt x="1767623" y="1579427"/>
                </a:lnTo>
                <a:lnTo>
                  <a:pt x="1772395" y="1574655"/>
                </a:lnTo>
                <a:close/>
                <a:moveTo>
                  <a:pt x="1731037" y="1573066"/>
                </a:moveTo>
                <a:lnTo>
                  <a:pt x="1735809" y="1573066"/>
                </a:lnTo>
                <a:lnTo>
                  <a:pt x="1742173" y="1573066"/>
                </a:lnTo>
                <a:lnTo>
                  <a:pt x="1746945" y="1579428"/>
                </a:lnTo>
                <a:lnTo>
                  <a:pt x="1738990" y="1582609"/>
                </a:lnTo>
                <a:lnTo>
                  <a:pt x="1743763" y="1584200"/>
                </a:lnTo>
                <a:lnTo>
                  <a:pt x="1740580" y="1590564"/>
                </a:lnTo>
                <a:lnTo>
                  <a:pt x="1735809" y="1590564"/>
                </a:lnTo>
                <a:cubicBezTo>
                  <a:pt x="1734218" y="1587382"/>
                  <a:pt x="1734218" y="1585791"/>
                  <a:pt x="1734218" y="1585791"/>
                </a:cubicBezTo>
                <a:cubicBezTo>
                  <a:pt x="1734218" y="1584200"/>
                  <a:pt x="1732627" y="1584200"/>
                  <a:pt x="1731037" y="1582609"/>
                </a:cubicBezTo>
                <a:lnTo>
                  <a:pt x="1723082" y="1585791"/>
                </a:lnTo>
                <a:lnTo>
                  <a:pt x="1718310" y="1582609"/>
                </a:lnTo>
                <a:lnTo>
                  <a:pt x="1718310" y="1577838"/>
                </a:lnTo>
                <a:lnTo>
                  <a:pt x="1731037" y="1579428"/>
                </a:lnTo>
                <a:lnTo>
                  <a:pt x="1732627" y="1577838"/>
                </a:lnTo>
                <a:close/>
                <a:moveTo>
                  <a:pt x="1697632" y="1568297"/>
                </a:moveTo>
                <a:lnTo>
                  <a:pt x="1697632" y="1574661"/>
                </a:lnTo>
                <a:lnTo>
                  <a:pt x="1692860" y="1573069"/>
                </a:lnTo>
                <a:close/>
                <a:moveTo>
                  <a:pt x="1772395" y="1568292"/>
                </a:moveTo>
                <a:lnTo>
                  <a:pt x="1769214" y="1573064"/>
                </a:lnTo>
                <a:lnTo>
                  <a:pt x="1777167" y="1573064"/>
                </a:lnTo>
                <a:close/>
                <a:moveTo>
                  <a:pt x="1761261" y="1560338"/>
                </a:moveTo>
                <a:lnTo>
                  <a:pt x="1759670" y="1568292"/>
                </a:lnTo>
                <a:lnTo>
                  <a:pt x="1767623" y="1573064"/>
                </a:lnTo>
                <a:lnTo>
                  <a:pt x="1764442" y="1566701"/>
                </a:lnTo>
                <a:cubicBezTo>
                  <a:pt x="1767623" y="1560338"/>
                  <a:pt x="1766033" y="1565110"/>
                  <a:pt x="1761261" y="1560338"/>
                </a:cubicBezTo>
                <a:close/>
                <a:moveTo>
                  <a:pt x="1708766" y="1558744"/>
                </a:moveTo>
                <a:lnTo>
                  <a:pt x="1716719" y="1558744"/>
                </a:lnTo>
                <a:lnTo>
                  <a:pt x="1715128" y="1568289"/>
                </a:lnTo>
                <a:cubicBezTo>
                  <a:pt x="1705585" y="1561926"/>
                  <a:pt x="1715128" y="1568289"/>
                  <a:pt x="1708766" y="1558744"/>
                </a:cubicBezTo>
                <a:close/>
                <a:moveTo>
                  <a:pt x="1680134" y="1558736"/>
                </a:moveTo>
                <a:lnTo>
                  <a:pt x="1680134" y="1563508"/>
                </a:lnTo>
                <a:lnTo>
                  <a:pt x="1675361" y="1560327"/>
                </a:lnTo>
                <a:close/>
                <a:moveTo>
                  <a:pt x="1684906" y="1555554"/>
                </a:moveTo>
                <a:lnTo>
                  <a:pt x="1692859" y="1555554"/>
                </a:lnTo>
                <a:lnTo>
                  <a:pt x="1688087" y="1560326"/>
                </a:lnTo>
                <a:close/>
                <a:moveTo>
                  <a:pt x="1697632" y="1547619"/>
                </a:moveTo>
                <a:cubicBezTo>
                  <a:pt x="1702404" y="1552390"/>
                  <a:pt x="1703994" y="1558753"/>
                  <a:pt x="1697632" y="1563526"/>
                </a:cubicBezTo>
                <a:cubicBezTo>
                  <a:pt x="1694450" y="1553981"/>
                  <a:pt x="1699222" y="1563526"/>
                  <a:pt x="1694450" y="1553981"/>
                </a:cubicBezTo>
                <a:close/>
                <a:moveTo>
                  <a:pt x="1769214" y="1547613"/>
                </a:moveTo>
                <a:lnTo>
                  <a:pt x="1772395" y="1552385"/>
                </a:lnTo>
                <a:lnTo>
                  <a:pt x="1777167" y="1547613"/>
                </a:lnTo>
                <a:close/>
                <a:moveTo>
                  <a:pt x="1780349" y="1546023"/>
                </a:moveTo>
                <a:lnTo>
                  <a:pt x="1780349" y="1553976"/>
                </a:lnTo>
                <a:lnTo>
                  <a:pt x="1788304" y="1552385"/>
                </a:lnTo>
                <a:close/>
                <a:moveTo>
                  <a:pt x="1673771" y="1542828"/>
                </a:moveTo>
                <a:lnTo>
                  <a:pt x="1681724" y="1547600"/>
                </a:lnTo>
                <a:lnTo>
                  <a:pt x="1670589" y="1547600"/>
                </a:lnTo>
                <a:close/>
                <a:moveTo>
                  <a:pt x="1699223" y="1538075"/>
                </a:moveTo>
                <a:lnTo>
                  <a:pt x="1703994" y="1542847"/>
                </a:lnTo>
                <a:lnTo>
                  <a:pt x="1697632" y="1546028"/>
                </a:lnTo>
                <a:close/>
                <a:moveTo>
                  <a:pt x="1640365" y="1536463"/>
                </a:moveTo>
                <a:lnTo>
                  <a:pt x="1648319" y="1538055"/>
                </a:lnTo>
                <a:lnTo>
                  <a:pt x="1643546" y="1541236"/>
                </a:lnTo>
                <a:close/>
                <a:moveTo>
                  <a:pt x="1710356" y="1533299"/>
                </a:moveTo>
                <a:lnTo>
                  <a:pt x="1718310" y="1533299"/>
                </a:lnTo>
                <a:lnTo>
                  <a:pt x="1713538" y="1538071"/>
                </a:lnTo>
                <a:close/>
                <a:moveTo>
                  <a:pt x="2992488" y="1531741"/>
                </a:moveTo>
                <a:cubicBezTo>
                  <a:pt x="2908179" y="1633526"/>
                  <a:pt x="2846141" y="1770357"/>
                  <a:pt x="2725245" y="1816500"/>
                </a:cubicBezTo>
                <a:cubicBezTo>
                  <a:pt x="2860457" y="1794224"/>
                  <a:pt x="2924086" y="1658966"/>
                  <a:pt x="3003623" y="1546059"/>
                </a:cubicBezTo>
                <a:cubicBezTo>
                  <a:pt x="3000442" y="1541286"/>
                  <a:pt x="2995670" y="1536514"/>
                  <a:pt x="2992488" y="1531741"/>
                </a:cubicBezTo>
                <a:close/>
                <a:moveTo>
                  <a:pt x="2127128" y="1530156"/>
                </a:moveTo>
                <a:cubicBezTo>
                  <a:pt x="2162124" y="1703513"/>
                  <a:pt x="2260750" y="1838777"/>
                  <a:pt x="2341877" y="1983507"/>
                </a:cubicBezTo>
                <a:cubicBezTo>
                  <a:pt x="2233708" y="1862648"/>
                  <a:pt x="2131900" y="1714651"/>
                  <a:pt x="2127128" y="1530156"/>
                </a:cubicBezTo>
                <a:close/>
                <a:moveTo>
                  <a:pt x="180071" y="1525328"/>
                </a:moveTo>
                <a:cubicBezTo>
                  <a:pt x="181662" y="1536464"/>
                  <a:pt x="173708" y="1534873"/>
                  <a:pt x="167346" y="1536464"/>
                </a:cubicBezTo>
                <a:cubicBezTo>
                  <a:pt x="208704" y="1561915"/>
                  <a:pt x="194388" y="1623953"/>
                  <a:pt x="208704" y="1666904"/>
                </a:cubicBezTo>
                <a:cubicBezTo>
                  <a:pt x="221430" y="1611228"/>
                  <a:pt x="211886" y="1569869"/>
                  <a:pt x="188025" y="1538054"/>
                </a:cubicBezTo>
                <a:cubicBezTo>
                  <a:pt x="211886" y="1544418"/>
                  <a:pt x="207113" y="1568279"/>
                  <a:pt x="213477" y="1585776"/>
                </a:cubicBezTo>
                <a:cubicBezTo>
                  <a:pt x="226203" y="1561915"/>
                  <a:pt x="215067" y="1528510"/>
                  <a:pt x="180071" y="1525328"/>
                </a:cubicBezTo>
                <a:close/>
                <a:moveTo>
                  <a:pt x="2951129" y="1523788"/>
                </a:moveTo>
                <a:cubicBezTo>
                  <a:pt x="2881137" y="1643063"/>
                  <a:pt x="2795237" y="1736936"/>
                  <a:pt x="2687067" y="1795814"/>
                </a:cubicBezTo>
                <a:cubicBezTo>
                  <a:pt x="2807963" y="1757624"/>
                  <a:pt x="2892272" y="1662150"/>
                  <a:pt x="2951129" y="1523788"/>
                </a:cubicBezTo>
                <a:close/>
                <a:moveTo>
                  <a:pt x="1789894" y="1511027"/>
                </a:moveTo>
                <a:lnTo>
                  <a:pt x="1789894" y="1518981"/>
                </a:lnTo>
                <a:lnTo>
                  <a:pt x="1797847" y="1512618"/>
                </a:lnTo>
                <a:close/>
                <a:moveTo>
                  <a:pt x="1653090" y="1509434"/>
                </a:moveTo>
                <a:lnTo>
                  <a:pt x="1649909" y="1514206"/>
                </a:lnTo>
                <a:lnTo>
                  <a:pt x="1645137" y="1511025"/>
                </a:lnTo>
                <a:close/>
                <a:moveTo>
                  <a:pt x="1735809" y="1509422"/>
                </a:moveTo>
                <a:lnTo>
                  <a:pt x="1740581" y="1509422"/>
                </a:lnTo>
                <a:cubicBezTo>
                  <a:pt x="1737400" y="1515785"/>
                  <a:pt x="1745354" y="1509422"/>
                  <a:pt x="1735809" y="1515785"/>
                </a:cubicBezTo>
                <a:close/>
                <a:moveTo>
                  <a:pt x="1769214" y="1500528"/>
                </a:moveTo>
                <a:lnTo>
                  <a:pt x="1771129" y="1501294"/>
                </a:lnTo>
                <a:lnTo>
                  <a:pt x="1769214" y="1501482"/>
                </a:lnTo>
                <a:close/>
                <a:moveTo>
                  <a:pt x="1869430" y="1498300"/>
                </a:moveTo>
                <a:lnTo>
                  <a:pt x="1874202" y="1503073"/>
                </a:lnTo>
                <a:lnTo>
                  <a:pt x="1874202" y="1498300"/>
                </a:lnTo>
                <a:close/>
                <a:moveTo>
                  <a:pt x="1645137" y="1496708"/>
                </a:moveTo>
                <a:lnTo>
                  <a:pt x="1651500" y="1496708"/>
                </a:lnTo>
                <a:lnTo>
                  <a:pt x="1649909" y="1501481"/>
                </a:lnTo>
                <a:close/>
                <a:moveTo>
                  <a:pt x="1816936" y="1495119"/>
                </a:moveTo>
                <a:lnTo>
                  <a:pt x="1812164" y="1498300"/>
                </a:lnTo>
                <a:lnTo>
                  <a:pt x="1816936" y="1501482"/>
                </a:lnTo>
                <a:close/>
                <a:moveTo>
                  <a:pt x="1723084" y="1491925"/>
                </a:moveTo>
                <a:lnTo>
                  <a:pt x="1729447" y="1496697"/>
                </a:lnTo>
                <a:cubicBezTo>
                  <a:pt x="1726265" y="1501470"/>
                  <a:pt x="1726265" y="1496697"/>
                  <a:pt x="1729447" y="1503060"/>
                </a:cubicBezTo>
                <a:lnTo>
                  <a:pt x="1723084" y="1507833"/>
                </a:lnTo>
                <a:lnTo>
                  <a:pt x="1726265" y="1512604"/>
                </a:lnTo>
                <a:lnTo>
                  <a:pt x="1718310" y="1512604"/>
                </a:lnTo>
                <a:lnTo>
                  <a:pt x="1721493" y="1507833"/>
                </a:lnTo>
                <a:lnTo>
                  <a:pt x="1708766" y="1509424"/>
                </a:lnTo>
                <a:lnTo>
                  <a:pt x="1707175" y="1503060"/>
                </a:lnTo>
                <a:lnTo>
                  <a:pt x="1710356" y="1501470"/>
                </a:lnTo>
                <a:cubicBezTo>
                  <a:pt x="1716322" y="1505049"/>
                  <a:pt x="1714234" y="1505943"/>
                  <a:pt x="1717515" y="1506167"/>
                </a:cubicBezTo>
                <a:lnTo>
                  <a:pt x="1721493" y="1506220"/>
                </a:lnTo>
                <a:lnTo>
                  <a:pt x="1721493" y="1506242"/>
                </a:lnTo>
                <a:lnTo>
                  <a:pt x="1723084" y="1506242"/>
                </a:lnTo>
                <a:lnTo>
                  <a:pt x="1721493" y="1506220"/>
                </a:lnTo>
                <a:lnTo>
                  <a:pt x="1721493" y="1499879"/>
                </a:lnTo>
                <a:lnTo>
                  <a:pt x="1726265" y="1499879"/>
                </a:lnTo>
                <a:lnTo>
                  <a:pt x="1719902" y="1493516"/>
                </a:lnTo>
                <a:close/>
                <a:moveTo>
                  <a:pt x="1759935" y="1491540"/>
                </a:moveTo>
                <a:lnTo>
                  <a:pt x="1761261" y="1493528"/>
                </a:lnTo>
                <a:lnTo>
                  <a:pt x="1761084" y="1494059"/>
                </a:lnTo>
                <a:lnTo>
                  <a:pt x="1759670" y="1491938"/>
                </a:lnTo>
                <a:close/>
                <a:moveTo>
                  <a:pt x="1808982" y="1487166"/>
                </a:moveTo>
                <a:lnTo>
                  <a:pt x="1799438" y="1488755"/>
                </a:lnTo>
                <a:cubicBezTo>
                  <a:pt x="1804210" y="1498300"/>
                  <a:pt x="1797847" y="1488755"/>
                  <a:pt x="1802619" y="1498300"/>
                </a:cubicBezTo>
                <a:lnTo>
                  <a:pt x="1793075" y="1498300"/>
                </a:lnTo>
                <a:lnTo>
                  <a:pt x="1797847" y="1504663"/>
                </a:lnTo>
                <a:cubicBezTo>
                  <a:pt x="1805801" y="1501482"/>
                  <a:pt x="1801028" y="1499891"/>
                  <a:pt x="1805801" y="1506255"/>
                </a:cubicBezTo>
                <a:lnTo>
                  <a:pt x="1801028" y="1509436"/>
                </a:lnTo>
                <a:lnTo>
                  <a:pt x="1805801" y="1509436"/>
                </a:lnTo>
                <a:lnTo>
                  <a:pt x="1804210" y="1518981"/>
                </a:lnTo>
                <a:cubicBezTo>
                  <a:pt x="1808982" y="1514209"/>
                  <a:pt x="1810573" y="1512618"/>
                  <a:pt x="1816936" y="1509436"/>
                </a:cubicBezTo>
                <a:cubicBezTo>
                  <a:pt x="1810573" y="1501482"/>
                  <a:pt x="1805801" y="1503073"/>
                  <a:pt x="1804210" y="1491938"/>
                </a:cubicBezTo>
                <a:lnTo>
                  <a:pt x="1808982" y="1491938"/>
                </a:lnTo>
                <a:close/>
                <a:moveTo>
                  <a:pt x="1727855" y="1485562"/>
                </a:moveTo>
                <a:lnTo>
                  <a:pt x="1732627" y="1488743"/>
                </a:lnTo>
                <a:lnTo>
                  <a:pt x="1724673" y="1490333"/>
                </a:lnTo>
                <a:close/>
                <a:moveTo>
                  <a:pt x="1678542" y="1483969"/>
                </a:moveTo>
                <a:lnTo>
                  <a:pt x="1681723" y="1490333"/>
                </a:lnTo>
                <a:cubicBezTo>
                  <a:pt x="1673770" y="1488742"/>
                  <a:pt x="1676951" y="1490333"/>
                  <a:pt x="1673770" y="1487150"/>
                </a:cubicBezTo>
                <a:close/>
                <a:moveTo>
                  <a:pt x="1667408" y="1483969"/>
                </a:moveTo>
                <a:lnTo>
                  <a:pt x="1673771" y="1485560"/>
                </a:lnTo>
                <a:lnTo>
                  <a:pt x="1668999" y="1487150"/>
                </a:lnTo>
                <a:close/>
                <a:moveTo>
                  <a:pt x="1834434" y="1480802"/>
                </a:moveTo>
                <a:lnTo>
                  <a:pt x="1834434" y="1488755"/>
                </a:lnTo>
                <a:lnTo>
                  <a:pt x="1839206" y="1485574"/>
                </a:lnTo>
                <a:close/>
                <a:moveTo>
                  <a:pt x="1820118" y="1480802"/>
                </a:moveTo>
                <a:lnTo>
                  <a:pt x="1823299" y="1485574"/>
                </a:lnTo>
                <a:lnTo>
                  <a:pt x="1828071" y="1480802"/>
                </a:lnTo>
                <a:close/>
                <a:moveTo>
                  <a:pt x="2800009" y="1479247"/>
                </a:moveTo>
                <a:cubicBezTo>
                  <a:pt x="2777740" y="1506290"/>
                  <a:pt x="2757060" y="1534923"/>
                  <a:pt x="2734790" y="1560374"/>
                </a:cubicBezTo>
                <a:cubicBezTo>
                  <a:pt x="2736380" y="1561963"/>
                  <a:pt x="2739561" y="1565147"/>
                  <a:pt x="2741152" y="1568326"/>
                </a:cubicBezTo>
                <a:cubicBezTo>
                  <a:pt x="2763423" y="1542876"/>
                  <a:pt x="2782511" y="1512653"/>
                  <a:pt x="2800009" y="1479247"/>
                </a:cubicBezTo>
                <a:close/>
                <a:moveTo>
                  <a:pt x="1855114" y="1476031"/>
                </a:moveTo>
                <a:lnTo>
                  <a:pt x="1851932" y="1480802"/>
                </a:lnTo>
                <a:lnTo>
                  <a:pt x="1855114" y="1482392"/>
                </a:lnTo>
                <a:lnTo>
                  <a:pt x="1859886" y="1480802"/>
                </a:lnTo>
                <a:close/>
                <a:moveTo>
                  <a:pt x="4801153" y="1474478"/>
                </a:moveTo>
                <a:cubicBezTo>
                  <a:pt x="4791609" y="1485609"/>
                  <a:pt x="4778883" y="1496747"/>
                  <a:pt x="4766157" y="1509472"/>
                </a:cubicBezTo>
                <a:cubicBezTo>
                  <a:pt x="4731161" y="1542877"/>
                  <a:pt x="4685029" y="1573100"/>
                  <a:pt x="4634125" y="1601733"/>
                </a:cubicBezTo>
                <a:cubicBezTo>
                  <a:pt x="4672304" y="1557192"/>
                  <a:pt x="4731161" y="1525381"/>
                  <a:pt x="4778883" y="1488791"/>
                </a:cubicBezTo>
                <a:cubicBezTo>
                  <a:pt x="4782064" y="1485609"/>
                  <a:pt x="4796381" y="1477658"/>
                  <a:pt x="4801153" y="1474478"/>
                </a:cubicBezTo>
                <a:close/>
                <a:moveTo>
                  <a:pt x="1893291" y="1472848"/>
                </a:moveTo>
                <a:lnTo>
                  <a:pt x="1896473" y="1477622"/>
                </a:lnTo>
                <a:lnTo>
                  <a:pt x="1901245" y="1472848"/>
                </a:lnTo>
                <a:close/>
                <a:moveTo>
                  <a:pt x="1696040" y="1469672"/>
                </a:moveTo>
                <a:lnTo>
                  <a:pt x="1703994" y="1469672"/>
                </a:lnTo>
                <a:lnTo>
                  <a:pt x="1699221" y="1474447"/>
                </a:lnTo>
                <a:close/>
                <a:moveTo>
                  <a:pt x="1651500" y="1469666"/>
                </a:moveTo>
                <a:lnTo>
                  <a:pt x="1657863" y="1469666"/>
                </a:lnTo>
                <a:cubicBezTo>
                  <a:pt x="1654681" y="1474439"/>
                  <a:pt x="1654681" y="1469666"/>
                  <a:pt x="1657863" y="1476031"/>
                </a:cubicBezTo>
                <a:lnTo>
                  <a:pt x="1651500" y="1476031"/>
                </a:lnTo>
                <a:cubicBezTo>
                  <a:pt x="1654681" y="1471256"/>
                  <a:pt x="1654681" y="1476031"/>
                  <a:pt x="1651500" y="1469666"/>
                </a:cubicBezTo>
                <a:close/>
                <a:moveTo>
                  <a:pt x="1805801" y="1469544"/>
                </a:moveTo>
                <a:lnTo>
                  <a:pt x="1805624" y="1469666"/>
                </a:lnTo>
                <a:lnTo>
                  <a:pt x="1805801" y="1469666"/>
                </a:lnTo>
                <a:close/>
                <a:moveTo>
                  <a:pt x="1963284" y="1468064"/>
                </a:moveTo>
                <a:lnTo>
                  <a:pt x="1963284" y="1474428"/>
                </a:lnTo>
                <a:lnTo>
                  <a:pt x="1968056" y="1472836"/>
                </a:lnTo>
                <a:close/>
                <a:moveTo>
                  <a:pt x="1856704" y="1464895"/>
                </a:moveTo>
                <a:cubicBezTo>
                  <a:pt x="1861476" y="1474441"/>
                  <a:pt x="1851932" y="1468076"/>
                  <a:pt x="1861476" y="1474441"/>
                </a:cubicBezTo>
                <a:cubicBezTo>
                  <a:pt x="1864658" y="1468076"/>
                  <a:pt x="1864658" y="1474441"/>
                  <a:pt x="1864658" y="1469666"/>
                </a:cubicBezTo>
                <a:cubicBezTo>
                  <a:pt x="1864658" y="1464895"/>
                  <a:pt x="1859886" y="1464895"/>
                  <a:pt x="1856704" y="1464895"/>
                </a:cubicBezTo>
                <a:close/>
                <a:moveTo>
                  <a:pt x="1738990" y="1464895"/>
                </a:moveTo>
                <a:cubicBezTo>
                  <a:pt x="1745353" y="1466485"/>
                  <a:pt x="1740580" y="1468076"/>
                  <a:pt x="1746943" y="1464895"/>
                </a:cubicBezTo>
                <a:lnTo>
                  <a:pt x="1746943" y="1469666"/>
                </a:lnTo>
                <a:lnTo>
                  <a:pt x="1746943" y="1474441"/>
                </a:lnTo>
                <a:lnTo>
                  <a:pt x="1754897" y="1474441"/>
                </a:lnTo>
                <a:cubicBezTo>
                  <a:pt x="1753307" y="1482392"/>
                  <a:pt x="1750125" y="1485574"/>
                  <a:pt x="1762852" y="1487166"/>
                </a:cubicBezTo>
                <a:lnTo>
                  <a:pt x="1759935" y="1491540"/>
                </a:lnTo>
                <a:lnTo>
                  <a:pt x="1758079" y="1488755"/>
                </a:lnTo>
                <a:cubicBezTo>
                  <a:pt x="1748534" y="1488755"/>
                  <a:pt x="1753307" y="1490347"/>
                  <a:pt x="1748534" y="1487166"/>
                </a:cubicBezTo>
                <a:lnTo>
                  <a:pt x="1738990" y="1490347"/>
                </a:lnTo>
                <a:lnTo>
                  <a:pt x="1742171" y="1485574"/>
                </a:lnTo>
                <a:cubicBezTo>
                  <a:pt x="1735809" y="1482392"/>
                  <a:pt x="1734218" y="1482392"/>
                  <a:pt x="1732627" y="1474441"/>
                </a:cubicBezTo>
                <a:lnTo>
                  <a:pt x="1737399" y="1474441"/>
                </a:lnTo>
                <a:lnTo>
                  <a:pt x="1734218" y="1469666"/>
                </a:lnTo>
                <a:lnTo>
                  <a:pt x="1738990" y="1469666"/>
                </a:lnTo>
                <a:close/>
                <a:moveTo>
                  <a:pt x="1758080" y="1464894"/>
                </a:moveTo>
                <a:lnTo>
                  <a:pt x="1758080" y="1472848"/>
                </a:lnTo>
                <a:lnTo>
                  <a:pt x="1753308" y="1469666"/>
                </a:lnTo>
                <a:lnTo>
                  <a:pt x="1754899" y="1468076"/>
                </a:lnTo>
                <a:close/>
                <a:moveTo>
                  <a:pt x="1788302" y="1463300"/>
                </a:moveTo>
                <a:lnTo>
                  <a:pt x="1793075" y="1466481"/>
                </a:lnTo>
                <a:lnTo>
                  <a:pt x="1785121" y="1468072"/>
                </a:lnTo>
                <a:close/>
                <a:moveTo>
                  <a:pt x="1980781" y="1463292"/>
                </a:moveTo>
                <a:cubicBezTo>
                  <a:pt x="1976009" y="1466473"/>
                  <a:pt x="1977599" y="1463292"/>
                  <a:pt x="1976009" y="1469655"/>
                </a:cubicBezTo>
                <a:lnTo>
                  <a:pt x="1980781" y="1469655"/>
                </a:lnTo>
                <a:close/>
                <a:moveTo>
                  <a:pt x="1877384" y="1460121"/>
                </a:moveTo>
                <a:lnTo>
                  <a:pt x="1874202" y="1464895"/>
                </a:lnTo>
                <a:lnTo>
                  <a:pt x="1877384" y="1466485"/>
                </a:lnTo>
                <a:lnTo>
                  <a:pt x="1882156" y="1464895"/>
                </a:lnTo>
                <a:close/>
                <a:moveTo>
                  <a:pt x="5233833" y="1458567"/>
                </a:moveTo>
                <a:cubicBezTo>
                  <a:pt x="5241786" y="1469704"/>
                  <a:pt x="5221106" y="1471295"/>
                  <a:pt x="5217925" y="1476071"/>
                </a:cubicBezTo>
                <a:cubicBezTo>
                  <a:pt x="5143161" y="1519019"/>
                  <a:pt x="5068395" y="1563557"/>
                  <a:pt x="4988858" y="1601733"/>
                </a:cubicBezTo>
                <a:cubicBezTo>
                  <a:pt x="5060441" y="1554014"/>
                  <a:pt x="5139979" y="1511065"/>
                  <a:pt x="5217925" y="1466523"/>
                </a:cubicBezTo>
                <a:cubicBezTo>
                  <a:pt x="5222697" y="1463341"/>
                  <a:pt x="5227469" y="1460159"/>
                  <a:pt x="5233833" y="1458567"/>
                </a:cubicBezTo>
                <a:close/>
                <a:moveTo>
                  <a:pt x="1837615" y="1458332"/>
                </a:moveTo>
                <a:lnTo>
                  <a:pt x="1837615" y="1463301"/>
                </a:lnTo>
                <a:lnTo>
                  <a:pt x="1837614" y="1463301"/>
                </a:lnTo>
                <a:lnTo>
                  <a:pt x="1839206" y="1464895"/>
                </a:lnTo>
                <a:lnTo>
                  <a:pt x="1842388" y="1460121"/>
                </a:lnTo>
                <a:close/>
                <a:moveTo>
                  <a:pt x="1808982" y="1456938"/>
                </a:moveTo>
                <a:lnTo>
                  <a:pt x="1816936" y="1456938"/>
                </a:lnTo>
                <a:lnTo>
                  <a:pt x="1816936" y="1463303"/>
                </a:lnTo>
                <a:close/>
                <a:moveTo>
                  <a:pt x="1740581" y="1453746"/>
                </a:moveTo>
                <a:cubicBezTo>
                  <a:pt x="1738990" y="1464881"/>
                  <a:pt x="1743762" y="1458519"/>
                  <a:pt x="1735809" y="1463291"/>
                </a:cubicBezTo>
                <a:cubicBezTo>
                  <a:pt x="1735809" y="1452156"/>
                  <a:pt x="1732627" y="1458519"/>
                  <a:pt x="1740581" y="1453746"/>
                </a:cubicBezTo>
                <a:close/>
                <a:moveTo>
                  <a:pt x="1804211" y="1452167"/>
                </a:moveTo>
                <a:lnTo>
                  <a:pt x="1812164" y="1452167"/>
                </a:lnTo>
                <a:lnTo>
                  <a:pt x="1808982" y="1456938"/>
                </a:lnTo>
                <a:close/>
                <a:moveTo>
                  <a:pt x="1716720" y="1452156"/>
                </a:moveTo>
                <a:lnTo>
                  <a:pt x="1723083" y="1452156"/>
                </a:lnTo>
                <a:lnTo>
                  <a:pt x="1723083" y="1456928"/>
                </a:lnTo>
                <a:close/>
                <a:moveTo>
                  <a:pt x="2850913" y="1450612"/>
                </a:moveTo>
                <a:cubicBezTo>
                  <a:pt x="2820689" y="1501518"/>
                  <a:pt x="2788875" y="1547648"/>
                  <a:pt x="2752288" y="1589005"/>
                </a:cubicBezTo>
                <a:cubicBezTo>
                  <a:pt x="2752288" y="1590595"/>
                  <a:pt x="2753878" y="1590595"/>
                  <a:pt x="2753878" y="1592186"/>
                </a:cubicBezTo>
                <a:cubicBezTo>
                  <a:pt x="2757060" y="1600140"/>
                  <a:pt x="2745924" y="1611273"/>
                  <a:pt x="2741152" y="1606502"/>
                </a:cubicBezTo>
                <a:cubicBezTo>
                  <a:pt x="2739561" y="1604911"/>
                  <a:pt x="2739561" y="1604911"/>
                  <a:pt x="2737971" y="1603321"/>
                </a:cubicBezTo>
                <a:cubicBezTo>
                  <a:pt x="2710929" y="1633526"/>
                  <a:pt x="2680705" y="1660557"/>
                  <a:pt x="2648890" y="1685999"/>
                </a:cubicBezTo>
                <a:cubicBezTo>
                  <a:pt x="2647299" y="1692366"/>
                  <a:pt x="2647299" y="1698736"/>
                  <a:pt x="2645708" y="1705100"/>
                </a:cubicBezTo>
                <a:cubicBezTo>
                  <a:pt x="2733199" y="1644653"/>
                  <a:pt x="2804781" y="1560374"/>
                  <a:pt x="2850913" y="1450612"/>
                </a:cubicBezTo>
                <a:close/>
                <a:moveTo>
                  <a:pt x="1859886" y="1450576"/>
                </a:moveTo>
                <a:lnTo>
                  <a:pt x="1867839" y="1456940"/>
                </a:lnTo>
                <a:lnTo>
                  <a:pt x="1867839" y="1450576"/>
                </a:lnTo>
                <a:close/>
                <a:moveTo>
                  <a:pt x="1789894" y="1448984"/>
                </a:moveTo>
                <a:lnTo>
                  <a:pt x="1791485" y="1458528"/>
                </a:lnTo>
                <a:cubicBezTo>
                  <a:pt x="1785122" y="1461709"/>
                  <a:pt x="1793075" y="1460120"/>
                  <a:pt x="1786713" y="1460120"/>
                </a:cubicBezTo>
                <a:cubicBezTo>
                  <a:pt x="1781940" y="1460120"/>
                  <a:pt x="1783532" y="1460120"/>
                  <a:pt x="1777167" y="1458528"/>
                </a:cubicBezTo>
                <a:lnTo>
                  <a:pt x="1777167" y="1461709"/>
                </a:lnTo>
                <a:lnTo>
                  <a:pt x="1777169" y="1461709"/>
                </a:lnTo>
                <a:lnTo>
                  <a:pt x="1781941" y="1466481"/>
                </a:lnTo>
                <a:lnTo>
                  <a:pt x="1764442" y="1472845"/>
                </a:lnTo>
                <a:cubicBezTo>
                  <a:pt x="1770407" y="1464494"/>
                  <a:pt x="1770109" y="1468669"/>
                  <a:pt x="1772942" y="1466581"/>
                </a:cubicBezTo>
                <a:lnTo>
                  <a:pt x="1775787" y="1463301"/>
                </a:lnTo>
                <a:lnTo>
                  <a:pt x="1769214" y="1463301"/>
                </a:lnTo>
                <a:cubicBezTo>
                  <a:pt x="1773985" y="1453756"/>
                  <a:pt x="1767623" y="1453756"/>
                  <a:pt x="1781940" y="1452165"/>
                </a:cubicBezTo>
                <a:lnTo>
                  <a:pt x="1778758" y="1455346"/>
                </a:lnTo>
                <a:lnTo>
                  <a:pt x="1786713" y="1455346"/>
                </a:lnTo>
                <a:cubicBezTo>
                  <a:pt x="1785122" y="1448984"/>
                  <a:pt x="1783532" y="1453756"/>
                  <a:pt x="1789894" y="1448984"/>
                </a:cubicBezTo>
                <a:close/>
                <a:moveTo>
                  <a:pt x="1816937" y="1447396"/>
                </a:moveTo>
                <a:lnTo>
                  <a:pt x="1816937" y="1453758"/>
                </a:lnTo>
                <a:lnTo>
                  <a:pt x="1812165" y="1452167"/>
                </a:lnTo>
                <a:close/>
                <a:moveTo>
                  <a:pt x="1753307" y="1447394"/>
                </a:moveTo>
                <a:lnTo>
                  <a:pt x="1766033" y="1447394"/>
                </a:lnTo>
                <a:cubicBezTo>
                  <a:pt x="1762852" y="1452165"/>
                  <a:pt x="1762852" y="1447394"/>
                  <a:pt x="1766033" y="1453756"/>
                </a:cubicBezTo>
                <a:lnTo>
                  <a:pt x="1759670" y="1458528"/>
                </a:lnTo>
                <a:lnTo>
                  <a:pt x="1762852" y="1463301"/>
                </a:lnTo>
                <a:lnTo>
                  <a:pt x="1758079" y="1464893"/>
                </a:lnTo>
                <a:lnTo>
                  <a:pt x="1753307" y="1460120"/>
                </a:lnTo>
                <a:lnTo>
                  <a:pt x="1756489" y="1455347"/>
                </a:lnTo>
                <a:close/>
                <a:moveTo>
                  <a:pt x="1723084" y="1447384"/>
                </a:moveTo>
                <a:lnTo>
                  <a:pt x="1727856" y="1447384"/>
                </a:lnTo>
                <a:lnTo>
                  <a:pt x="1723084" y="1452156"/>
                </a:lnTo>
                <a:close/>
                <a:moveTo>
                  <a:pt x="1732628" y="1445813"/>
                </a:moveTo>
                <a:lnTo>
                  <a:pt x="1742171" y="1447403"/>
                </a:lnTo>
                <a:lnTo>
                  <a:pt x="1742171" y="1450584"/>
                </a:lnTo>
                <a:lnTo>
                  <a:pt x="1732628" y="1452174"/>
                </a:lnTo>
                <a:lnTo>
                  <a:pt x="1731037" y="1448993"/>
                </a:lnTo>
                <a:close/>
                <a:moveTo>
                  <a:pt x="1869430" y="1445806"/>
                </a:moveTo>
                <a:lnTo>
                  <a:pt x="1874202" y="1450576"/>
                </a:lnTo>
                <a:lnTo>
                  <a:pt x="1875793" y="1453758"/>
                </a:lnTo>
                <a:cubicBezTo>
                  <a:pt x="1874202" y="1460121"/>
                  <a:pt x="1872612" y="1455348"/>
                  <a:pt x="1878975" y="1460121"/>
                </a:cubicBezTo>
                <a:cubicBezTo>
                  <a:pt x="1883747" y="1450576"/>
                  <a:pt x="1877384" y="1460121"/>
                  <a:pt x="1882156" y="1450576"/>
                </a:cubicBezTo>
                <a:lnTo>
                  <a:pt x="1874202" y="1450576"/>
                </a:lnTo>
                <a:lnTo>
                  <a:pt x="1874202" y="1445806"/>
                </a:lnTo>
                <a:close/>
                <a:moveTo>
                  <a:pt x="1702403" y="1442630"/>
                </a:moveTo>
                <a:lnTo>
                  <a:pt x="1705585" y="1445811"/>
                </a:lnTo>
                <a:lnTo>
                  <a:pt x="1700813" y="1450583"/>
                </a:lnTo>
                <a:cubicBezTo>
                  <a:pt x="1703994" y="1455354"/>
                  <a:pt x="1703994" y="1450583"/>
                  <a:pt x="1700813" y="1456945"/>
                </a:cubicBezTo>
                <a:cubicBezTo>
                  <a:pt x="1691267" y="1450583"/>
                  <a:pt x="1700813" y="1456945"/>
                  <a:pt x="1696040" y="1447402"/>
                </a:cubicBezTo>
                <a:close/>
                <a:moveTo>
                  <a:pt x="1826480" y="1439446"/>
                </a:moveTo>
                <a:lnTo>
                  <a:pt x="1821708" y="1444217"/>
                </a:lnTo>
                <a:lnTo>
                  <a:pt x="1826480" y="1447399"/>
                </a:lnTo>
                <a:close/>
                <a:moveTo>
                  <a:pt x="1842303" y="1437975"/>
                </a:moveTo>
                <a:lnTo>
                  <a:pt x="1835047" y="1448131"/>
                </a:lnTo>
                <a:lnTo>
                  <a:pt x="1837615" y="1448987"/>
                </a:lnTo>
                <a:lnTo>
                  <a:pt x="1845569" y="1439443"/>
                </a:lnTo>
                <a:close/>
                <a:moveTo>
                  <a:pt x="1841592" y="1437652"/>
                </a:moveTo>
                <a:lnTo>
                  <a:pt x="1841147" y="1437852"/>
                </a:lnTo>
                <a:lnTo>
                  <a:pt x="1842037" y="1437852"/>
                </a:lnTo>
                <a:close/>
                <a:moveTo>
                  <a:pt x="1835761" y="1435733"/>
                </a:moveTo>
                <a:lnTo>
                  <a:pt x="1834436" y="1436262"/>
                </a:lnTo>
                <a:lnTo>
                  <a:pt x="1834436" y="1437852"/>
                </a:lnTo>
                <a:lnTo>
                  <a:pt x="1836822" y="1437852"/>
                </a:lnTo>
                <a:close/>
                <a:moveTo>
                  <a:pt x="1861476" y="1434671"/>
                </a:moveTo>
                <a:cubicBezTo>
                  <a:pt x="1856704" y="1434671"/>
                  <a:pt x="1858295" y="1434671"/>
                  <a:pt x="1851932" y="1436261"/>
                </a:cubicBezTo>
                <a:lnTo>
                  <a:pt x="1861476" y="1442626"/>
                </a:lnTo>
                <a:lnTo>
                  <a:pt x="1866249" y="1436261"/>
                </a:lnTo>
                <a:cubicBezTo>
                  <a:pt x="1866249" y="1436261"/>
                  <a:pt x="1863067" y="1434671"/>
                  <a:pt x="1861476" y="1434671"/>
                </a:cubicBezTo>
                <a:close/>
                <a:moveTo>
                  <a:pt x="1797847" y="1431487"/>
                </a:moveTo>
                <a:lnTo>
                  <a:pt x="1805801" y="1437852"/>
                </a:lnTo>
                <a:lnTo>
                  <a:pt x="1799438" y="1441034"/>
                </a:lnTo>
                <a:close/>
                <a:moveTo>
                  <a:pt x="1945785" y="1431477"/>
                </a:moveTo>
                <a:lnTo>
                  <a:pt x="1945785" y="1436249"/>
                </a:lnTo>
                <a:lnTo>
                  <a:pt x="1950557" y="1431477"/>
                </a:lnTo>
                <a:close/>
                <a:moveTo>
                  <a:pt x="1777167" y="1429896"/>
                </a:moveTo>
                <a:lnTo>
                  <a:pt x="1785121" y="1431486"/>
                </a:lnTo>
                <a:lnTo>
                  <a:pt x="1781939" y="1436261"/>
                </a:lnTo>
                <a:lnTo>
                  <a:pt x="1777167" y="1434669"/>
                </a:lnTo>
                <a:close/>
                <a:moveTo>
                  <a:pt x="1764442" y="1429896"/>
                </a:moveTo>
                <a:lnTo>
                  <a:pt x="1769214" y="1429896"/>
                </a:lnTo>
                <a:lnTo>
                  <a:pt x="1769214" y="1434669"/>
                </a:lnTo>
                <a:lnTo>
                  <a:pt x="1777167" y="1434669"/>
                </a:lnTo>
                <a:lnTo>
                  <a:pt x="1773985" y="1437849"/>
                </a:lnTo>
                <a:lnTo>
                  <a:pt x="1769214" y="1437849"/>
                </a:lnTo>
                <a:lnTo>
                  <a:pt x="1767623" y="1444213"/>
                </a:lnTo>
                <a:cubicBezTo>
                  <a:pt x="1762852" y="1441031"/>
                  <a:pt x="1766032" y="1441031"/>
                  <a:pt x="1758078" y="1439440"/>
                </a:cubicBezTo>
                <a:lnTo>
                  <a:pt x="1756489" y="1444213"/>
                </a:lnTo>
                <a:lnTo>
                  <a:pt x="1754897" y="1437849"/>
                </a:lnTo>
                <a:lnTo>
                  <a:pt x="1761260" y="1436258"/>
                </a:lnTo>
                <a:lnTo>
                  <a:pt x="1769214" y="1437849"/>
                </a:lnTo>
                <a:lnTo>
                  <a:pt x="1769214" y="1434669"/>
                </a:lnTo>
                <a:close/>
                <a:moveTo>
                  <a:pt x="1716719" y="1429885"/>
                </a:moveTo>
                <a:lnTo>
                  <a:pt x="1726265" y="1433066"/>
                </a:lnTo>
                <a:lnTo>
                  <a:pt x="1721491" y="1436248"/>
                </a:lnTo>
                <a:close/>
                <a:moveTo>
                  <a:pt x="1953738" y="1426705"/>
                </a:moveTo>
                <a:lnTo>
                  <a:pt x="1958512" y="1431477"/>
                </a:lnTo>
                <a:lnTo>
                  <a:pt x="1958512" y="1426705"/>
                </a:lnTo>
                <a:close/>
                <a:moveTo>
                  <a:pt x="1883747" y="1425127"/>
                </a:moveTo>
                <a:lnTo>
                  <a:pt x="1872612" y="1426719"/>
                </a:lnTo>
                <a:lnTo>
                  <a:pt x="1875793" y="1431490"/>
                </a:lnTo>
                <a:lnTo>
                  <a:pt x="1883747" y="1429898"/>
                </a:lnTo>
                <a:close/>
                <a:moveTo>
                  <a:pt x="1899654" y="1421946"/>
                </a:moveTo>
                <a:cubicBezTo>
                  <a:pt x="1902836" y="1429898"/>
                  <a:pt x="1901245" y="1428308"/>
                  <a:pt x="1907608" y="1431490"/>
                </a:cubicBezTo>
                <a:lnTo>
                  <a:pt x="1910790" y="1429898"/>
                </a:lnTo>
                <a:cubicBezTo>
                  <a:pt x="1907608" y="1423537"/>
                  <a:pt x="1909199" y="1425127"/>
                  <a:pt x="1899654" y="1421946"/>
                </a:cubicBezTo>
                <a:close/>
                <a:moveTo>
                  <a:pt x="1810574" y="1420354"/>
                </a:moveTo>
                <a:lnTo>
                  <a:pt x="1815346" y="1425126"/>
                </a:lnTo>
                <a:lnTo>
                  <a:pt x="1808984" y="1428308"/>
                </a:lnTo>
                <a:close/>
                <a:moveTo>
                  <a:pt x="1754898" y="1420352"/>
                </a:moveTo>
                <a:lnTo>
                  <a:pt x="1761261" y="1425123"/>
                </a:lnTo>
                <a:lnTo>
                  <a:pt x="1754898" y="1428306"/>
                </a:lnTo>
                <a:close/>
                <a:moveTo>
                  <a:pt x="1750125" y="1418768"/>
                </a:moveTo>
                <a:lnTo>
                  <a:pt x="1750125" y="1425130"/>
                </a:lnTo>
                <a:cubicBezTo>
                  <a:pt x="1745352" y="1420359"/>
                  <a:pt x="1745352" y="1428313"/>
                  <a:pt x="1740580" y="1420359"/>
                </a:cubicBezTo>
                <a:close/>
                <a:moveTo>
                  <a:pt x="1770804" y="1418762"/>
                </a:moveTo>
                <a:lnTo>
                  <a:pt x="1767623" y="1428307"/>
                </a:lnTo>
                <a:cubicBezTo>
                  <a:pt x="1762852" y="1423534"/>
                  <a:pt x="1764442" y="1426715"/>
                  <a:pt x="1762852" y="1420353"/>
                </a:cubicBezTo>
                <a:close/>
                <a:moveTo>
                  <a:pt x="1789894" y="1412400"/>
                </a:moveTo>
                <a:lnTo>
                  <a:pt x="1797849" y="1413991"/>
                </a:lnTo>
                <a:lnTo>
                  <a:pt x="1794666" y="1417173"/>
                </a:lnTo>
                <a:lnTo>
                  <a:pt x="1794666" y="1417173"/>
                </a:lnTo>
                <a:cubicBezTo>
                  <a:pt x="1793075" y="1417173"/>
                  <a:pt x="1793075" y="1417173"/>
                  <a:pt x="1789894" y="1418764"/>
                </a:cubicBezTo>
                <a:cubicBezTo>
                  <a:pt x="1791485" y="1425126"/>
                  <a:pt x="1793075" y="1420356"/>
                  <a:pt x="1786712" y="1425126"/>
                </a:cubicBezTo>
                <a:cubicBezTo>
                  <a:pt x="1781940" y="1415582"/>
                  <a:pt x="1788304" y="1425126"/>
                  <a:pt x="1783532" y="1415582"/>
                </a:cubicBezTo>
                <a:lnTo>
                  <a:pt x="1791485" y="1415582"/>
                </a:lnTo>
                <a:close/>
                <a:moveTo>
                  <a:pt x="1710356" y="1410814"/>
                </a:moveTo>
                <a:lnTo>
                  <a:pt x="1710356" y="1415589"/>
                </a:lnTo>
                <a:lnTo>
                  <a:pt x="1702403" y="1415589"/>
                </a:lnTo>
                <a:cubicBezTo>
                  <a:pt x="1707175" y="1410814"/>
                  <a:pt x="1702403" y="1413997"/>
                  <a:pt x="1710356" y="1410814"/>
                </a:cubicBezTo>
                <a:close/>
                <a:moveTo>
                  <a:pt x="1969646" y="1406026"/>
                </a:moveTo>
                <a:lnTo>
                  <a:pt x="1968056" y="1409207"/>
                </a:lnTo>
                <a:cubicBezTo>
                  <a:pt x="1972828" y="1418752"/>
                  <a:pt x="1968056" y="1415571"/>
                  <a:pt x="1976009" y="1418752"/>
                </a:cubicBezTo>
                <a:lnTo>
                  <a:pt x="1972828" y="1412390"/>
                </a:lnTo>
                <a:cubicBezTo>
                  <a:pt x="1976009" y="1406026"/>
                  <a:pt x="1976009" y="1409207"/>
                  <a:pt x="1969646" y="1406026"/>
                </a:cubicBezTo>
                <a:close/>
                <a:moveTo>
                  <a:pt x="1661045" y="1404433"/>
                </a:moveTo>
                <a:lnTo>
                  <a:pt x="1661045" y="1409205"/>
                </a:lnTo>
                <a:lnTo>
                  <a:pt x="1656273" y="1409205"/>
                </a:lnTo>
                <a:close/>
                <a:moveTo>
                  <a:pt x="1748534" y="1402859"/>
                </a:moveTo>
                <a:lnTo>
                  <a:pt x="1740580" y="1410813"/>
                </a:lnTo>
                <a:lnTo>
                  <a:pt x="1737399" y="1406041"/>
                </a:lnTo>
                <a:close/>
                <a:moveTo>
                  <a:pt x="1823299" y="1402857"/>
                </a:moveTo>
                <a:lnTo>
                  <a:pt x="1828071" y="1402857"/>
                </a:lnTo>
                <a:lnTo>
                  <a:pt x="1832844" y="1407629"/>
                </a:lnTo>
                <a:lnTo>
                  <a:pt x="1842389" y="1406039"/>
                </a:lnTo>
                <a:cubicBezTo>
                  <a:pt x="1836025" y="1413994"/>
                  <a:pt x="1839208" y="1409220"/>
                  <a:pt x="1829662" y="1413994"/>
                </a:cubicBezTo>
                <a:lnTo>
                  <a:pt x="1824890" y="1407629"/>
                </a:lnTo>
                <a:lnTo>
                  <a:pt x="1821708" y="1417176"/>
                </a:lnTo>
                <a:lnTo>
                  <a:pt x="1816936" y="1417176"/>
                </a:lnTo>
                <a:lnTo>
                  <a:pt x="1812164" y="1413994"/>
                </a:lnTo>
                <a:lnTo>
                  <a:pt x="1804210" y="1417176"/>
                </a:lnTo>
                <a:cubicBezTo>
                  <a:pt x="1805800" y="1420358"/>
                  <a:pt x="1807391" y="1423538"/>
                  <a:pt x="1799437" y="1423538"/>
                </a:cubicBezTo>
                <a:cubicBezTo>
                  <a:pt x="1796256" y="1423538"/>
                  <a:pt x="1796256" y="1420358"/>
                  <a:pt x="1794666" y="1418766"/>
                </a:cubicBezTo>
                <a:lnTo>
                  <a:pt x="1802619" y="1418766"/>
                </a:lnTo>
                <a:lnTo>
                  <a:pt x="1799437" y="1412403"/>
                </a:lnTo>
                <a:lnTo>
                  <a:pt x="1804210" y="1409220"/>
                </a:lnTo>
                <a:lnTo>
                  <a:pt x="1813754" y="1412403"/>
                </a:lnTo>
                <a:lnTo>
                  <a:pt x="1821709" y="1404448"/>
                </a:lnTo>
                <a:close/>
                <a:moveTo>
                  <a:pt x="1708766" y="1399680"/>
                </a:moveTo>
                <a:lnTo>
                  <a:pt x="1713538" y="1404453"/>
                </a:lnTo>
                <a:lnTo>
                  <a:pt x="1708766" y="1407634"/>
                </a:lnTo>
                <a:lnTo>
                  <a:pt x="1705585" y="1404453"/>
                </a:lnTo>
                <a:close/>
                <a:moveTo>
                  <a:pt x="1818528" y="1399675"/>
                </a:moveTo>
                <a:lnTo>
                  <a:pt x="1821709" y="1404448"/>
                </a:lnTo>
                <a:lnTo>
                  <a:pt x="1815346" y="1404448"/>
                </a:lnTo>
                <a:close/>
                <a:moveTo>
                  <a:pt x="1832844" y="1399666"/>
                </a:moveTo>
                <a:lnTo>
                  <a:pt x="1837616" y="1404437"/>
                </a:lnTo>
                <a:lnTo>
                  <a:pt x="1831253" y="1404437"/>
                </a:lnTo>
                <a:close/>
                <a:moveTo>
                  <a:pt x="1851933" y="1398084"/>
                </a:moveTo>
                <a:lnTo>
                  <a:pt x="1845569" y="1406038"/>
                </a:lnTo>
                <a:lnTo>
                  <a:pt x="1842388" y="1401265"/>
                </a:lnTo>
                <a:close/>
                <a:moveTo>
                  <a:pt x="1842388" y="1393310"/>
                </a:moveTo>
                <a:lnTo>
                  <a:pt x="1842388" y="1401265"/>
                </a:lnTo>
                <a:lnTo>
                  <a:pt x="1842388" y="1401266"/>
                </a:lnTo>
                <a:lnTo>
                  <a:pt x="1834434" y="1394902"/>
                </a:lnTo>
                <a:close/>
                <a:moveTo>
                  <a:pt x="1794666" y="1393303"/>
                </a:moveTo>
                <a:lnTo>
                  <a:pt x="1802619" y="1394894"/>
                </a:lnTo>
                <a:lnTo>
                  <a:pt x="1794666" y="1401256"/>
                </a:lnTo>
                <a:close/>
                <a:moveTo>
                  <a:pt x="1955329" y="1393300"/>
                </a:moveTo>
                <a:lnTo>
                  <a:pt x="1955329" y="1398071"/>
                </a:lnTo>
                <a:lnTo>
                  <a:pt x="1960101" y="1398071"/>
                </a:lnTo>
                <a:close/>
                <a:moveTo>
                  <a:pt x="2959083" y="1391754"/>
                </a:moveTo>
                <a:cubicBezTo>
                  <a:pt x="2909770" y="1612864"/>
                  <a:pt x="2755469" y="1711468"/>
                  <a:pt x="2632982" y="1792632"/>
                </a:cubicBezTo>
                <a:cubicBezTo>
                  <a:pt x="2632982" y="1792632"/>
                  <a:pt x="2632982" y="1794224"/>
                  <a:pt x="2632982" y="1794224"/>
                </a:cubicBezTo>
                <a:cubicBezTo>
                  <a:pt x="2779329" y="1724205"/>
                  <a:pt x="2925677" y="1612864"/>
                  <a:pt x="2959083" y="1391754"/>
                </a:cubicBezTo>
                <a:close/>
                <a:moveTo>
                  <a:pt x="2943175" y="1388574"/>
                </a:moveTo>
                <a:cubicBezTo>
                  <a:pt x="2922495" y="1398119"/>
                  <a:pt x="2925677" y="1415619"/>
                  <a:pt x="2916133" y="1442662"/>
                </a:cubicBezTo>
                <a:cubicBezTo>
                  <a:pt x="2858866" y="1606502"/>
                  <a:pt x="2747516" y="1679640"/>
                  <a:pt x="2637755" y="1762401"/>
                </a:cubicBezTo>
                <a:cubicBezTo>
                  <a:pt x="2637755" y="1765580"/>
                  <a:pt x="2636164" y="1770357"/>
                  <a:pt x="2637755" y="1776721"/>
                </a:cubicBezTo>
                <a:cubicBezTo>
                  <a:pt x="2757060" y="1706695"/>
                  <a:pt x="2877956" y="1606502"/>
                  <a:pt x="2916133" y="1460157"/>
                </a:cubicBezTo>
                <a:cubicBezTo>
                  <a:pt x="2927268" y="1463339"/>
                  <a:pt x="2939994" y="1404483"/>
                  <a:pt x="2943175" y="1388574"/>
                </a:cubicBezTo>
                <a:close/>
                <a:moveTo>
                  <a:pt x="1859886" y="1388532"/>
                </a:moveTo>
                <a:lnTo>
                  <a:pt x="1867840" y="1394896"/>
                </a:lnTo>
                <a:lnTo>
                  <a:pt x="1859886" y="1394896"/>
                </a:lnTo>
                <a:cubicBezTo>
                  <a:pt x="1861476" y="1401259"/>
                  <a:pt x="1864658" y="1398078"/>
                  <a:pt x="1856704" y="1399668"/>
                </a:cubicBezTo>
                <a:lnTo>
                  <a:pt x="1855114" y="1393304"/>
                </a:lnTo>
                <a:close/>
                <a:moveTo>
                  <a:pt x="1853523" y="1386942"/>
                </a:moveTo>
                <a:lnTo>
                  <a:pt x="1853523" y="1391714"/>
                </a:lnTo>
                <a:lnTo>
                  <a:pt x="1848752" y="1391714"/>
                </a:lnTo>
                <a:close/>
                <a:moveTo>
                  <a:pt x="1731037" y="1386935"/>
                </a:moveTo>
                <a:lnTo>
                  <a:pt x="1727855" y="1396481"/>
                </a:lnTo>
                <a:lnTo>
                  <a:pt x="1719901" y="1390117"/>
                </a:lnTo>
                <a:close/>
                <a:moveTo>
                  <a:pt x="1955329" y="1385346"/>
                </a:moveTo>
                <a:lnTo>
                  <a:pt x="1958512" y="1390118"/>
                </a:lnTo>
                <a:lnTo>
                  <a:pt x="1963284" y="1385346"/>
                </a:lnTo>
                <a:close/>
                <a:moveTo>
                  <a:pt x="1808982" y="1382167"/>
                </a:moveTo>
                <a:cubicBezTo>
                  <a:pt x="1807391" y="1386939"/>
                  <a:pt x="1813756" y="1393303"/>
                  <a:pt x="1805800" y="1398075"/>
                </a:cubicBezTo>
                <a:lnTo>
                  <a:pt x="1804209" y="1394894"/>
                </a:lnTo>
                <a:lnTo>
                  <a:pt x="1807391" y="1386939"/>
                </a:lnTo>
                <a:cubicBezTo>
                  <a:pt x="1799437" y="1390122"/>
                  <a:pt x="1804209" y="1391712"/>
                  <a:pt x="1799437" y="1385348"/>
                </a:cubicBezTo>
                <a:close/>
                <a:moveTo>
                  <a:pt x="1802618" y="1374214"/>
                </a:moveTo>
                <a:lnTo>
                  <a:pt x="1807391" y="1375804"/>
                </a:lnTo>
                <a:lnTo>
                  <a:pt x="1799437" y="1383758"/>
                </a:lnTo>
                <a:close/>
                <a:moveTo>
                  <a:pt x="1851932" y="1372633"/>
                </a:moveTo>
                <a:lnTo>
                  <a:pt x="1860795" y="1381494"/>
                </a:lnTo>
                <a:lnTo>
                  <a:pt x="1872612" y="1372633"/>
                </a:lnTo>
                <a:lnTo>
                  <a:pt x="1875794" y="1375814"/>
                </a:lnTo>
                <a:cubicBezTo>
                  <a:pt x="1875794" y="1377006"/>
                  <a:pt x="1867740" y="1386252"/>
                  <a:pt x="1863042" y="1386103"/>
                </a:cubicBezTo>
                <a:lnTo>
                  <a:pt x="1860342" y="1382743"/>
                </a:lnTo>
                <a:lnTo>
                  <a:pt x="1858295" y="1383766"/>
                </a:lnTo>
                <a:lnTo>
                  <a:pt x="1848751" y="1382176"/>
                </a:lnTo>
                <a:cubicBezTo>
                  <a:pt x="1853523" y="1374223"/>
                  <a:pt x="1847160" y="1383766"/>
                  <a:pt x="1851932" y="1372633"/>
                </a:cubicBezTo>
                <a:close/>
                <a:moveTo>
                  <a:pt x="1828071" y="1372624"/>
                </a:moveTo>
                <a:lnTo>
                  <a:pt x="1832843" y="1377396"/>
                </a:lnTo>
                <a:lnTo>
                  <a:pt x="1824890" y="1378987"/>
                </a:lnTo>
                <a:close/>
                <a:moveTo>
                  <a:pt x="1976539" y="1368908"/>
                </a:moveTo>
                <a:lnTo>
                  <a:pt x="1977599" y="1369439"/>
                </a:lnTo>
                <a:lnTo>
                  <a:pt x="1976009" y="1369439"/>
                </a:lnTo>
                <a:close/>
                <a:moveTo>
                  <a:pt x="1758080" y="1367857"/>
                </a:moveTo>
                <a:lnTo>
                  <a:pt x="1758080" y="1371039"/>
                </a:lnTo>
                <a:lnTo>
                  <a:pt x="1753308" y="1371039"/>
                </a:lnTo>
                <a:close/>
                <a:moveTo>
                  <a:pt x="3991470" y="1366303"/>
                </a:moveTo>
                <a:cubicBezTo>
                  <a:pt x="3988288" y="1369486"/>
                  <a:pt x="3983516" y="1371079"/>
                  <a:pt x="3981925" y="1374258"/>
                </a:cubicBezTo>
                <a:cubicBezTo>
                  <a:pt x="3981925" y="1375849"/>
                  <a:pt x="3980334" y="1377441"/>
                  <a:pt x="3980334" y="1379032"/>
                </a:cubicBezTo>
                <a:cubicBezTo>
                  <a:pt x="3985107" y="1374258"/>
                  <a:pt x="3988288" y="1371079"/>
                  <a:pt x="3991470" y="1366303"/>
                </a:cubicBezTo>
                <a:close/>
                <a:moveTo>
                  <a:pt x="1750126" y="1364681"/>
                </a:moveTo>
                <a:lnTo>
                  <a:pt x="1750126" y="1369452"/>
                </a:lnTo>
                <a:lnTo>
                  <a:pt x="1745354" y="1369452"/>
                </a:lnTo>
                <a:close/>
                <a:moveTo>
                  <a:pt x="1902836" y="1364678"/>
                </a:moveTo>
                <a:cubicBezTo>
                  <a:pt x="1913971" y="1364678"/>
                  <a:pt x="1909199" y="1366269"/>
                  <a:pt x="1917153" y="1371042"/>
                </a:cubicBezTo>
                <a:lnTo>
                  <a:pt x="1913971" y="1375814"/>
                </a:lnTo>
                <a:lnTo>
                  <a:pt x="1917153" y="1377404"/>
                </a:lnTo>
                <a:cubicBezTo>
                  <a:pt x="1915562" y="1378995"/>
                  <a:pt x="1915562" y="1382176"/>
                  <a:pt x="1915562" y="1383766"/>
                </a:cubicBezTo>
                <a:lnTo>
                  <a:pt x="1909199" y="1382176"/>
                </a:lnTo>
                <a:lnTo>
                  <a:pt x="1912381" y="1391719"/>
                </a:lnTo>
                <a:lnTo>
                  <a:pt x="1915562" y="1390128"/>
                </a:lnTo>
                <a:cubicBezTo>
                  <a:pt x="1913971" y="1393310"/>
                  <a:pt x="1913971" y="1394902"/>
                  <a:pt x="1913971" y="1398083"/>
                </a:cubicBezTo>
                <a:lnTo>
                  <a:pt x="1906017" y="1398083"/>
                </a:lnTo>
                <a:lnTo>
                  <a:pt x="1909199" y="1393310"/>
                </a:lnTo>
                <a:lnTo>
                  <a:pt x="1899654" y="1391719"/>
                </a:lnTo>
                <a:lnTo>
                  <a:pt x="1898063" y="1393310"/>
                </a:lnTo>
                <a:lnTo>
                  <a:pt x="1899654" y="1398083"/>
                </a:lnTo>
                <a:lnTo>
                  <a:pt x="1899654" y="1402856"/>
                </a:lnTo>
                <a:lnTo>
                  <a:pt x="1894882" y="1406038"/>
                </a:lnTo>
                <a:lnTo>
                  <a:pt x="1901245" y="1412401"/>
                </a:lnTo>
                <a:lnTo>
                  <a:pt x="1904426" y="1409219"/>
                </a:lnTo>
                <a:lnTo>
                  <a:pt x="1899654" y="1402856"/>
                </a:lnTo>
                <a:lnTo>
                  <a:pt x="1902836" y="1401265"/>
                </a:lnTo>
                <a:lnTo>
                  <a:pt x="1915562" y="1406038"/>
                </a:lnTo>
                <a:cubicBezTo>
                  <a:pt x="1915562" y="1409219"/>
                  <a:pt x="1915562" y="1413991"/>
                  <a:pt x="1915562" y="1417175"/>
                </a:cubicBezTo>
                <a:lnTo>
                  <a:pt x="1913971" y="1417175"/>
                </a:lnTo>
                <a:cubicBezTo>
                  <a:pt x="1913971" y="1417175"/>
                  <a:pt x="1915562" y="1418766"/>
                  <a:pt x="1915562" y="1418766"/>
                </a:cubicBezTo>
                <a:cubicBezTo>
                  <a:pt x="1913971" y="1426719"/>
                  <a:pt x="1913971" y="1433081"/>
                  <a:pt x="1913971" y="1439443"/>
                </a:cubicBezTo>
                <a:cubicBezTo>
                  <a:pt x="1913971" y="1441034"/>
                  <a:pt x="1913971" y="1441034"/>
                  <a:pt x="1913971" y="1441034"/>
                </a:cubicBezTo>
                <a:cubicBezTo>
                  <a:pt x="1913971" y="1442626"/>
                  <a:pt x="1913971" y="1445806"/>
                  <a:pt x="1913971" y="1448987"/>
                </a:cubicBezTo>
                <a:cubicBezTo>
                  <a:pt x="1913971" y="1448987"/>
                  <a:pt x="1913971" y="1450576"/>
                  <a:pt x="1913971" y="1450576"/>
                </a:cubicBezTo>
                <a:cubicBezTo>
                  <a:pt x="1913971" y="1544432"/>
                  <a:pt x="1937833" y="1631914"/>
                  <a:pt x="1969647" y="1709858"/>
                </a:cubicBezTo>
                <a:lnTo>
                  <a:pt x="1963285" y="1708267"/>
                </a:lnTo>
                <a:cubicBezTo>
                  <a:pt x="1964875" y="1714630"/>
                  <a:pt x="1963285" y="1711449"/>
                  <a:pt x="1968057" y="1717814"/>
                </a:cubicBezTo>
                <a:lnTo>
                  <a:pt x="1971238" y="1714630"/>
                </a:lnTo>
                <a:lnTo>
                  <a:pt x="1974218" y="1721088"/>
                </a:lnTo>
                <a:lnTo>
                  <a:pt x="1971238" y="1719403"/>
                </a:lnTo>
                <a:lnTo>
                  <a:pt x="1971238" y="1722586"/>
                </a:lnTo>
                <a:lnTo>
                  <a:pt x="1966466" y="1719403"/>
                </a:lnTo>
                <a:lnTo>
                  <a:pt x="1964152" y="1722875"/>
                </a:lnTo>
                <a:lnTo>
                  <a:pt x="1963285" y="1722586"/>
                </a:lnTo>
                <a:lnTo>
                  <a:pt x="1963019" y="1723911"/>
                </a:lnTo>
                <a:lnTo>
                  <a:pt x="1960103" y="1720994"/>
                </a:lnTo>
                <a:lnTo>
                  <a:pt x="1955331" y="1724176"/>
                </a:lnTo>
                <a:cubicBezTo>
                  <a:pt x="1954535" y="1723381"/>
                  <a:pt x="1955728" y="1722982"/>
                  <a:pt x="1955927" y="1722785"/>
                </a:cubicBezTo>
                <a:lnTo>
                  <a:pt x="1951391" y="1722616"/>
                </a:lnTo>
                <a:lnTo>
                  <a:pt x="1953292" y="1721393"/>
                </a:lnTo>
                <a:cubicBezTo>
                  <a:pt x="1955231" y="1720200"/>
                  <a:pt x="1951353" y="1722586"/>
                  <a:pt x="1953740" y="1717814"/>
                </a:cubicBezTo>
                <a:lnTo>
                  <a:pt x="1945786" y="1714630"/>
                </a:lnTo>
                <a:lnTo>
                  <a:pt x="1948437" y="1722586"/>
                </a:lnTo>
                <a:lnTo>
                  <a:pt x="1945786" y="1722586"/>
                </a:lnTo>
                <a:lnTo>
                  <a:pt x="1941014" y="1724176"/>
                </a:lnTo>
                <a:lnTo>
                  <a:pt x="1933061" y="1722586"/>
                </a:lnTo>
                <a:lnTo>
                  <a:pt x="1929879" y="1720994"/>
                </a:lnTo>
                <a:cubicBezTo>
                  <a:pt x="1933061" y="1714630"/>
                  <a:pt x="1934651" y="1717814"/>
                  <a:pt x="1928288" y="1714630"/>
                </a:cubicBezTo>
                <a:lnTo>
                  <a:pt x="1925107" y="1716223"/>
                </a:lnTo>
                <a:lnTo>
                  <a:pt x="1926698" y="1722586"/>
                </a:lnTo>
                <a:lnTo>
                  <a:pt x="1931470" y="1722586"/>
                </a:lnTo>
                <a:lnTo>
                  <a:pt x="1923516" y="1725767"/>
                </a:lnTo>
                <a:lnTo>
                  <a:pt x="1931470" y="1732132"/>
                </a:lnTo>
                <a:lnTo>
                  <a:pt x="1928288" y="1736905"/>
                </a:lnTo>
                <a:lnTo>
                  <a:pt x="1923516" y="1733723"/>
                </a:lnTo>
                <a:cubicBezTo>
                  <a:pt x="1921925" y="1735314"/>
                  <a:pt x="1920334" y="1735314"/>
                  <a:pt x="1920334" y="1735314"/>
                </a:cubicBezTo>
                <a:cubicBezTo>
                  <a:pt x="1920334" y="1735314"/>
                  <a:pt x="1920334" y="1733723"/>
                  <a:pt x="1918744" y="1733723"/>
                </a:cubicBezTo>
                <a:cubicBezTo>
                  <a:pt x="1913971" y="1725767"/>
                  <a:pt x="1923516" y="1733723"/>
                  <a:pt x="1913971" y="1727358"/>
                </a:cubicBezTo>
                <a:cubicBezTo>
                  <a:pt x="1910790" y="1732132"/>
                  <a:pt x="1910790" y="1727358"/>
                  <a:pt x="1913971" y="1733723"/>
                </a:cubicBezTo>
                <a:lnTo>
                  <a:pt x="1904426" y="1735314"/>
                </a:lnTo>
                <a:lnTo>
                  <a:pt x="1899654" y="1730541"/>
                </a:lnTo>
                <a:lnTo>
                  <a:pt x="1894882" y="1730541"/>
                </a:lnTo>
                <a:lnTo>
                  <a:pt x="1891701" y="1720994"/>
                </a:lnTo>
                <a:lnTo>
                  <a:pt x="1885337" y="1722586"/>
                </a:lnTo>
                <a:lnTo>
                  <a:pt x="1882156" y="1728950"/>
                </a:lnTo>
                <a:lnTo>
                  <a:pt x="1886928" y="1728950"/>
                </a:lnTo>
                <a:lnTo>
                  <a:pt x="1886928" y="1724176"/>
                </a:lnTo>
                <a:lnTo>
                  <a:pt x="1893291" y="1728950"/>
                </a:lnTo>
                <a:lnTo>
                  <a:pt x="1883747" y="1733723"/>
                </a:lnTo>
                <a:lnTo>
                  <a:pt x="1886928" y="1738496"/>
                </a:lnTo>
                <a:lnTo>
                  <a:pt x="1877384" y="1743270"/>
                </a:lnTo>
                <a:lnTo>
                  <a:pt x="1874998" y="1742076"/>
                </a:lnTo>
                <a:lnTo>
                  <a:pt x="1875793" y="1741679"/>
                </a:lnTo>
                <a:cubicBezTo>
                  <a:pt x="1875793" y="1741679"/>
                  <a:pt x="1874202" y="1740087"/>
                  <a:pt x="1878975" y="1736905"/>
                </a:cubicBezTo>
                <a:lnTo>
                  <a:pt x="1871021" y="1736905"/>
                </a:lnTo>
                <a:lnTo>
                  <a:pt x="1872368" y="1742289"/>
                </a:lnTo>
                <a:lnTo>
                  <a:pt x="1869430" y="1743270"/>
                </a:lnTo>
                <a:lnTo>
                  <a:pt x="1864658" y="1738496"/>
                </a:lnTo>
                <a:lnTo>
                  <a:pt x="1869430" y="1733723"/>
                </a:lnTo>
                <a:cubicBezTo>
                  <a:pt x="1866249" y="1725767"/>
                  <a:pt x="1872612" y="1735314"/>
                  <a:pt x="1867839" y="1725767"/>
                </a:cubicBezTo>
                <a:lnTo>
                  <a:pt x="1859886" y="1728950"/>
                </a:lnTo>
                <a:lnTo>
                  <a:pt x="1858295" y="1724176"/>
                </a:lnTo>
                <a:lnTo>
                  <a:pt x="1866249" y="1720994"/>
                </a:lnTo>
                <a:cubicBezTo>
                  <a:pt x="1874202" y="1727358"/>
                  <a:pt x="1869430" y="1719403"/>
                  <a:pt x="1871021" y="1730541"/>
                </a:cubicBezTo>
                <a:cubicBezTo>
                  <a:pt x="1877384" y="1725767"/>
                  <a:pt x="1875793" y="1730541"/>
                  <a:pt x="1874202" y="1724176"/>
                </a:cubicBezTo>
                <a:lnTo>
                  <a:pt x="1875793" y="1717814"/>
                </a:lnTo>
                <a:cubicBezTo>
                  <a:pt x="1883747" y="1720994"/>
                  <a:pt x="1883747" y="1719403"/>
                  <a:pt x="1883747" y="1709858"/>
                </a:cubicBezTo>
                <a:lnTo>
                  <a:pt x="1878975" y="1714630"/>
                </a:lnTo>
                <a:lnTo>
                  <a:pt x="1874202" y="1711449"/>
                </a:lnTo>
                <a:lnTo>
                  <a:pt x="1874202" y="1716223"/>
                </a:lnTo>
                <a:lnTo>
                  <a:pt x="1866249" y="1716223"/>
                </a:lnTo>
                <a:lnTo>
                  <a:pt x="1866249" y="1720994"/>
                </a:lnTo>
                <a:lnTo>
                  <a:pt x="1861476" y="1719403"/>
                </a:lnTo>
                <a:lnTo>
                  <a:pt x="1858295" y="1724176"/>
                </a:lnTo>
                <a:cubicBezTo>
                  <a:pt x="1861476" y="1716223"/>
                  <a:pt x="1855114" y="1725767"/>
                  <a:pt x="1859886" y="1716223"/>
                </a:cubicBezTo>
                <a:lnTo>
                  <a:pt x="1851932" y="1716223"/>
                </a:lnTo>
                <a:cubicBezTo>
                  <a:pt x="1856704" y="1709858"/>
                  <a:pt x="1851932" y="1714630"/>
                  <a:pt x="1866249" y="1714630"/>
                </a:cubicBezTo>
                <a:lnTo>
                  <a:pt x="1867839" y="1708267"/>
                </a:lnTo>
                <a:cubicBezTo>
                  <a:pt x="1856704" y="1706676"/>
                  <a:pt x="1863067" y="1708267"/>
                  <a:pt x="1855114" y="1703494"/>
                </a:cubicBezTo>
                <a:lnTo>
                  <a:pt x="1855114" y="1708267"/>
                </a:lnTo>
                <a:cubicBezTo>
                  <a:pt x="1847160" y="1705085"/>
                  <a:pt x="1847160" y="1705085"/>
                  <a:pt x="1842388" y="1698720"/>
                </a:cubicBezTo>
                <a:lnTo>
                  <a:pt x="1836025" y="1703494"/>
                </a:lnTo>
                <a:lnTo>
                  <a:pt x="1836025" y="1697129"/>
                </a:lnTo>
                <a:cubicBezTo>
                  <a:pt x="1828071" y="1700312"/>
                  <a:pt x="1829662" y="1697129"/>
                  <a:pt x="1832843" y="1703494"/>
                </a:cubicBezTo>
                <a:lnTo>
                  <a:pt x="1824890" y="1703494"/>
                </a:lnTo>
                <a:cubicBezTo>
                  <a:pt x="1828071" y="1708267"/>
                  <a:pt x="1828071" y="1703494"/>
                  <a:pt x="1824890" y="1709858"/>
                </a:cubicBezTo>
                <a:cubicBezTo>
                  <a:pt x="1815345" y="1703494"/>
                  <a:pt x="1824890" y="1709858"/>
                  <a:pt x="1820118" y="1700312"/>
                </a:cubicBezTo>
                <a:lnTo>
                  <a:pt x="1828071" y="1700312"/>
                </a:lnTo>
                <a:cubicBezTo>
                  <a:pt x="1823299" y="1690765"/>
                  <a:pt x="1829662" y="1700312"/>
                  <a:pt x="1824890" y="1690765"/>
                </a:cubicBezTo>
                <a:lnTo>
                  <a:pt x="1816936" y="1697129"/>
                </a:lnTo>
                <a:cubicBezTo>
                  <a:pt x="1812164" y="1695538"/>
                  <a:pt x="1820118" y="1695538"/>
                  <a:pt x="1810573" y="1695538"/>
                </a:cubicBezTo>
                <a:lnTo>
                  <a:pt x="1802619" y="1695538"/>
                </a:lnTo>
                <a:cubicBezTo>
                  <a:pt x="1805801" y="1690765"/>
                  <a:pt x="1805801" y="1695538"/>
                  <a:pt x="1802619" y="1689174"/>
                </a:cubicBezTo>
                <a:lnTo>
                  <a:pt x="1797847" y="1693947"/>
                </a:lnTo>
                <a:lnTo>
                  <a:pt x="1791485" y="1689174"/>
                </a:lnTo>
                <a:lnTo>
                  <a:pt x="1791485" y="1695538"/>
                </a:lnTo>
                <a:lnTo>
                  <a:pt x="1788304" y="1697129"/>
                </a:lnTo>
                <a:lnTo>
                  <a:pt x="1785349" y="1694819"/>
                </a:lnTo>
                <a:lnTo>
                  <a:pt x="1786314" y="1691759"/>
                </a:lnTo>
                <a:cubicBezTo>
                  <a:pt x="1786314" y="1691562"/>
                  <a:pt x="1785918" y="1691562"/>
                  <a:pt x="1785121" y="1689174"/>
                </a:cubicBezTo>
                <a:lnTo>
                  <a:pt x="1789894" y="1684401"/>
                </a:lnTo>
                <a:cubicBezTo>
                  <a:pt x="1783532" y="1685197"/>
                  <a:pt x="1780747" y="1686788"/>
                  <a:pt x="1780349" y="1688776"/>
                </a:cubicBezTo>
                <a:lnTo>
                  <a:pt x="1783703" y="1693529"/>
                </a:lnTo>
                <a:lnTo>
                  <a:pt x="1774025" y="1685954"/>
                </a:lnTo>
                <a:lnTo>
                  <a:pt x="1778758" y="1681222"/>
                </a:lnTo>
                <a:lnTo>
                  <a:pt x="1773986" y="1681222"/>
                </a:lnTo>
                <a:lnTo>
                  <a:pt x="1773986" y="1676451"/>
                </a:lnTo>
                <a:lnTo>
                  <a:pt x="1778758" y="1678040"/>
                </a:lnTo>
                <a:lnTo>
                  <a:pt x="1783532" y="1673270"/>
                </a:lnTo>
                <a:cubicBezTo>
                  <a:pt x="1780349" y="1670088"/>
                  <a:pt x="1780349" y="1671679"/>
                  <a:pt x="1780349" y="1666907"/>
                </a:cubicBezTo>
                <a:lnTo>
                  <a:pt x="1780349" y="1660546"/>
                </a:lnTo>
                <a:lnTo>
                  <a:pt x="1777167" y="1660546"/>
                </a:lnTo>
                <a:lnTo>
                  <a:pt x="1777167" y="1666907"/>
                </a:lnTo>
                <a:lnTo>
                  <a:pt x="1769214" y="1666907"/>
                </a:lnTo>
                <a:cubicBezTo>
                  <a:pt x="1759670" y="1666907"/>
                  <a:pt x="1767623" y="1668497"/>
                  <a:pt x="1761261" y="1665317"/>
                </a:cubicBezTo>
                <a:lnTo>
                  <a:pt x="1759690" y="1674737"/>
                </a:lnTo>
                <a:lnTo>
                  <a:pt x="1751717" y="1668497"/>
                </a:lnTo>
                <a:lnTo>
                  <a:pt x="1762852" y="1658957"/>
                </a:lnTo>
                <a:lnTo>
                  <a:pt x="1769214" y="1658957"/>
                </a:lnTo>
                <a:lnTo>
                  <a:pt x="1769214" y="1652593"/>
                </a:lnTo>
                <a:lnTo>
                  <a:pt x="1777167" y="1652593"/>
                </a:lnTo>
                <a:lnTo>
                  <a:pt x="1781940" y="1647819"/>
                </a:lnTo>
                <a:cubicBezTo>
                  <a:pt x="1783532" y="1635096"/>
                  <a:pt x="1788304" y="1641458"/>
                  <a:pt x="1780349" y="1636687"/>
                </a:cubicBezTo>
                <a:lnTo>
                  <a:pt x="1780349" y="1644638"/>
                </a:lnTo>
                <a:cubicBezTo>
                  <a:pt x="1772395" y="1643048"/>
                  <a:pt x="1777167" y="1643048"/>
                  <a:pt x="1770804" y="1644638"/>
                </a:cubicBezTo>
                <a:lnTo>
                  <a:pt x="1770804" y="1638276"/>
                </a:lnTo>
                <a:lnTo>
                  <a:pt x="1775577" y="1641458"/>
                </a:lnTo>
                <a:cubicBezTo>
                  <a:pt x="1777167" y="1628734"/>
                  <a:pt x="1778758" y="1638276"/>
                  <a:pt x="1780349" y="1625552"/>
                </a:cubicBezTo>
                <a:lnTo>
                  <a:pt x="1773986" y="1630324"/>
                </a:lnTo>
                <a:cubicBezTo>
                  <a:pt x="1772395" y="1625552"/>
                  <a:pt x="1772395" y="1623962"/>
                  <a:pt x="1773986" y="1619195"/>
                </a:cubicBezTo>
                <a:lnTo>
                  <a:pt x="1783532" y="1622371"/>
                </a:lnTo>
                <a:lnTo>
                  <a:pt x="1778758" y="1616014"/>
                </a:lnTo>
                <a:lnTo>
                  <a:pt x="1788304" y="1608060"/>
                </a:lnTo>
                <a:lnTo>
                  <a:pt x="1787066" y="1604348"/>
                </a:lnTo>
                <a:lnTo>
                  <a:pt x="1787773" y="1603288"/>
                </a:lnTo>
                <a:lnTo>
                  <a:pt x="1794666" y="1603288"/>
                </a:lnTo>
                <a:lnTo>
                  <a:pt x="1789894" y="1600105"/>
                </a:lnTo>
                <a:lnTo>
                  <a:pt x="1787773" y="1603288"/>
                </a:lnTo>
                <a:lnTo>
                  <a:pt x="1786712" y="1603288"/>
                </a:lnTo>
                <a:lnTo>
                  <a:pt x="1787066" y="1604348"/>
                </a:lnTo>
                <a:lnTo>
                  <a:pt x="1786712" y="1604879"/>
                </a:lnTo>
                <a:cubicBezTo>
                  <a:pt x="1780349" y="1608060"/>
                  <a:pt x="1778758" y="1608060"/>
                  <a:pt x="1777167" y="1616014"/>
                </a:cubicBezTo>
                <a:cubicBezTo>
                  <a:pt x="1769214" y="1614424"/>
                  <a:pt x="1770804" y="1617605"/>
                  <a:pt x="1773986" y="1611241"/>
                </a:cubicBezTo>
                <a:lnTo>
                  <a:pt x="1769214" y="1604879"/>
                </a:lnTo>
                <a:cubicBezTo>
                  <a:pt x="1772395" y="1598515"/>
                  <a:pt x="1770804" y="1601696"/>
                  <a:pt x="1769214" y="1595333"/>
                </a:cubicBezTo>
                <a:lnTo>
                  <a:pt x="1773986" y="1593743"/>
                </a:lnTo>
                <a:lnTo>
                  <a:pt x="1766033" y="1592152"/>
                </a:lnTo>
                <a:lnTo>
                  <a:pt x="1769214" y="1587381"/>
                </a:lnTo>
                <a:lnTo>
                  <a:pt x="1761261" y="1587381"/>
                </a:lnTo>
                <a:lnTo>
                  <a:pt x="1764442" y="1582609"/>
                </a:lnTo>
                <a:lnTo>
                  <a:pt x="1759670" y="1581018"/>
                </a:lnTo>
                <a:lnTo>
                  <a:pt x="1762852" y="1571473"/>
                </a:lnTo>
                <a:cubicBezTo>
                  <a:pt x="1761261" y="1573064"/>
                  <a:pt x="1759670" y="1574655"/>
                  <a:pt x="1759670" y="1574655"/>
                </a:cubicBezTo>
                <a:cubicBezTo>
                  <a:pt x="1759670" y="1574655"/>
                  <a:pt x="1758079" y="1574655"/>
                  <a:pt x="1754897" y="1576246"/>
                </a:cubicBezTo>
                <a:lnTo>
                  <a:pt x="1759670" y="1581018"/>
                </a:lnTo>
                <a:lnTo>
                  <a:pt x="1758079" y="1584200"/>
                </a:lnTo>
                <a:cubicBezTo>
                  <a:pt x="1759670" y="1587381"/>
                  <a:pt x="1761261" y="1590562"/>
                  <a:pt x="1753307" y="1590562"/>
                </a:cubicBezTo>
                <a:cubicBezTo>
                  <a:pt x="1750125" y="1590562"/>
                  <a:pt x="1750125" y="1587381"/>
                  <a:pt x="1748534" y="1585790"/>
                </a:cubicBezTo>
                <a:lnTo>
                  <a:pt x="1756489" y="1585790"/>
                </a:lnTo>
                <a:lnTo>
                  <a:pt x="1748534" y="1576246"/>
                </a:lnTo>
                <a:cubicBezTo>
                  <a:pt x="1756489" y="1576246"/>
                  <a:pt x="1748534" y="1565110"/>
                  <a:pt x="1743762" y="1565110"/>
                </a:cubicBezTo>
                <a:cubicBezTo>
                  <a:pt x="1737399" y="1565110"/>
                  <a:pt x="1737399" y="1568292"/>
                  <a:pt x="1734218" y="1571473"/>
                </a:cubicBezTo>
                <a:lnTo>
                  <a:pt x="1724673" y="1565110"/>
                </a:lnTo>
                <a:lnTo>
                  <a:pt x="1726265" y="1561929"/>
                </a:lnTo>
                <a:lnTo>
                  <a:pt x="1721493" y="1560338"/>
                </a:lnTo>
                <a:cubicBezTo>
                  <a:pt x="1726265" y="1552385"/>
                  <a:pt x="1719901" y="1557157"/>
                  <a:pt x="1731037" y="1555566"/>
                </a:cubicBezTo>
                <a:lnTo>
                  <a:pt x="1727855" y="1550794"/>
                </a:lnTo>
                <a:cubicBezTo>
                  <a:pt x="1735809" y="1552385"/>
                  <a:pt x="1732627" y="1550794"/>
                  <a:pt x="1735809" y="1555566"/>
                </a:cubicBezTo>
                <a:lnTo>
                  <a:pt x="1740580" y="1555566"/>
                </a:lnTo>
                <a:lnTo>
                  <a:pt x="1737399" y="1557157"/>
                </a:lnTo>
                <a:cubicBezTo>
                  <a:pt x="1740580" y="1561929"/>
                  <a:pt x="1740580" y="1557157"/>
                  <a:pt x="1737399" y="1563519"/>
                </a:cubicBezTo>
                <a:lnTo>
                  <a:pt x="1751717" y="1560338"/>
                </a:lnTo>
                <a:cubicBezTo>
                  <a:pt x="1748534" y="1550794"/>
                  <a:pt x="1753307" y="1555566"/>
                  <a:pt x="1762852" y="1550794"/>
                </a:cubicBezTo>
                <a:lnTo>
                  <a:pt x="1758079" y="1546023"/>
                </a:lnTo>
                <a:cubicBezTo>
                  <a:pt x="1761261" y="1541250"/>
                  <a:pt x="1761261" y="1546023"/>
                  <a:pt x="1758079" y="1539660"/>
                </a:cubicBezTo>
                <a:lnTo>
                  <a:pt x="1766033" y="1539660"/>
                </a:lnTo>
                <a:cubicBezTo>
                  <a:pt x="1775577" y="1539660"/>
                  <a:pt x="1767623" y="1541250"/>
                  <a:pt x="1773986" y="1538068"/>
                </a:cubicBezTo>
                <a:lnTo>
                  <a:pt x="1777167" y="1542841"/>
                </a:lnTo>
                <a:lnTo>
                  <a:pt x="1783532" y="1538068"/>
                </a:lnTo>
                <a:lnTo>
                  <a:pt x="1786712" y="1528524"/>
                </a:lnTo>
                <a:lnTo>
                  <a:pt x="1780349" y="1528524"/>
                </a:lnTo>
                <a:lnTo>
                  <a:pt x="1785121" y="1523753"/>
                </a:lnTo>
                <a:lnTo>
                  <a:pt x="1777167" y="1522162"/>
                </a:lnTo>
                <a:lnTo>
                  <a:pt x="1780349" y="1528524"/>
                </a:lnTo>
                <a:lnTo>
                  <a:pt x="1778758" y="1528524"/>
                </a:lnTo>
                <a:cubicBezTo>
                  <a:pt x="1778758" y="1539660"/>
                  <a:pt x="1781940" y="1533297"/>
                  <a:pt x="1773986" y="1538068"/>
                </a:cubicBezTo>
                <a:cubicBezTo>
                  <a:pt x="1772395" y="1536478"/>
                  <a:pt x="1769214" y="1531706"/>
                  <a:pt x="1766033" y="1531706"/>
                </a:cubicBezTo>
                <a:cubicBezTo>
                  <a:pt x="1759670" y="1531706"/>
                  <a:pt x="1758079" y="1534887"/>
                  <a:pt x="1753307" y="1538068"/>
                </a:cubicBezTo>
                <a:lnTo>
                  <a:pt x="1756489" y="1544432"/>
                </a:lnTo>
                <a:lnTo>
                  <a:pt x="1745353" y="1555566"/>
                </a:lnTo>
                <a:lnTo>
                  <a:pt x="1740580" y="1552385"/>
                </a:lnTo>
                <a:lnTo>
                  <a:pt x="1740580" y="1547613"/>
                </a:lnTo>
                <a:lnTo>
                  <a:pt x="1745353" y="1547613"/>
                </a:lnTo>
                <a:cubicBezTo>
                  <a:pt x="1742171" y="1542841"/>
                  <a:pt x="1742171" y="1547613"/>
                  <a:pt x="1745353" y="1541250"/>
                </a:cubicBezTo>
                <a:lnTo>
                  <a:pt x="1737399" y="1541250"/>
                </a:lnTo>
                <a:lnTo>
                  <a:pt x="1737399" y="1539660"/>
                </a:lnTo>
                <a:lnTo>
                  <a:pt x="1745353" y="1539660"/>
                </a:lnTo>
                <a:lnTo>
                  <a:pt x="1743762" y="1530115"/>
                </a:lnTo>
                <a:cubicBezTo>
                  <a:pt x="1748534" y="1528524"/>
                  <a:pt x="1743762" y="1526933"/>
                  <a:pt x="1750125" y="1530115"/>
                </a:cubicBezTo>
                <a:lnTo>
                  <a:pt x="1754897" y="1523753"/>
                </a:lnTo>
                <a:lnTo>
                  <a:pt x="1746943" y="1517390"/>
                </a:lnTo>
                <a:lnTo>
                  <a:pt x="1756489" y="1514209"/>
                </a:lnTo>
                <a:cubicBezTo>
                  <a:pt x="1751717" y="1509436"/>
                  <a:pt x="1750125" y="1511027"/>
                  <a:pt x="1743762" y="1512618"/>
                </a:cubicBezTo>
                <a:lnTo>
                  <a:pt x="1743762" y="1506255"/>
                </a:lnTo>
                <a:cubicBezTo>
                  <a:pt x="1750125" y="1507845"/>
                  <a:pt x="1745353" y="1509436"/>
                  <a:pt x="1751717" y="1506255"/>
                </a:cubicBezTo>
                <a:cubicBezTo>
                  <a:pt x="1742171" y="1495119"/>
                  <a:pt x="1748534" y="1512618"/>
                  <a:pt x="1743762" y="1499891"/>
                </a:cubicBezTo>
                <a:cubicBezTo>
                  <a:pt x="1748534" y="1499891"/>
                  <a:pt x="1749728" y="1500290"/>
                  <a:pt x="1750324" y="1500290"/>
                </a:cubicBezTo>
                <a:lnTo>
                  <a:pt x="1753305" y="1498301"/>
                </a:lnTo>
                <a:lnTo>
                  <a:pt x="1745353" y="1498301"/>
                </a:lnTo>
                <a:lnTo>
                  <a:pt x="1750125" y="1493529"/>
                </a:lnTo>
                <a:lnTo>
                  <a:pt x="1753307" y="1498301"/>
                </a:lnTo>
                <a:lnTo>
                  <a:pt x="1753307" y="1498300"/>
                </a:lnTo>
                <a:lnTo>
                  <a:pt x="1758079" y="1501482"/>
                </a:lnTo>
                <a:lnTo>
                  <a:pt x="1754897" y="1509436"/>
                </a:lnTo>
                <a:lnTo>
                  <a:pt x="1759670" y="1509436"/>
                </a:lnTo>
                <a:lnTo>
                  <a:pt x="1761261" y="1503073"/>
                </a:lnTo>
                <a:lnTo>
                  <a:pt x="1759670" y="1498300"/>
                </a:lnTo>
                <a:lnTo>
                  <a:pt x="1761084" y="1494059"/>
                </a:lnTo>
                <a:lnTo>
                  <a:pt x="1762852" y="1496709"/>
                </a:lnTo>
                <a:lnTo>
                  <a:pt x="1769214" y="1495119"/>
                </a:lnTo>
                <a:lnTo>
                  <a:pt x="1769214" y="1500528"/>
                </a:lnTo>
                <a:lnTo>
                  <a:pt x="1767623" y="1499891"/>
                </a:lnTo>
                <a:cubicBezTo>
                  <a:pt x="1767623" y="1499891"/>
                  <a:pt x="1764442" y="1504663"/>
                  <a:pt x="1764442" y="1504663"/>
                </a:cubicBezTo>
                <a:cubicBezTo>
                  <a:pt x="1764442" y="1511027"/>
                  <a:pt x="1769214" y="1512618"/>
                  <a:pt x="1772395" y="1514209"/>
                </a:cubicBezTo>
                <a:lnTo>
                  <a:pt x="1772395" y="1520571"/>
                </a:lnTo>
                <a:lnTo>
                  <a:pt x="1770009" y="1522162"/>
                </a:lnTo>
                <a:lnTo>
                  <a:pt x="1766033" y="1522162"/>
                </a:lnTo>
                <a:cubicBezTo>
                  <a:pt x="1767623" y="1515799"/>
                  <a:pt x="1769214" y="1520571"/>
                  <a:pt x="1762852" y="1515799"/>
                </a:cubicBezTo>
                <a:cubicBezTo>
                  <a:pt x="1761261" y="1520571"/>
                  <a:pt x="1761261" y="1525343"/>
                  <a:pt x="1762852" y="1528524"/>
                </a:cubicBezTo>
                <a:cubicBezTo>
                  <a:pt x="1769214" y="1531706"/>
                  <a:pt x="1762852" y="1526933"/>
                  <a:pt x="1770804" y="1530115"/>
                </a:cubicBezTo>
                <a:lnTo>
                  <a:pt x="1767623" y="1523753"/>
                </a:lnTo>
                <a:lnTo>
                  <a:pt x="1770009" y="1522162"/>
                </a:lnTo>
                <a:lnTo>
                  <a:pt x="1772395" y="1522162"/>
                </a:lnTo>
                <a:lnTo>
                  <a:pt x="1772395" y="1520571"/>
                </a:lnTo>
                <a:lnTo>
                  <a:pt x="1785121" y="1515799"/>
                </a:lnTo>
                <a:cubicBezTo>
                  <a:pt x="1780349" y="1511027"/>
                  <a:pt x="1783532" y="1512618"/>
                  <a:pt x="1777167" y="1511027"/>
                </a:cubicBezTo>
                <a:lnTo>
                  <a:pt x="1777167" y="1515799"/>
                </a:lnTo>
                <a:lnTo>
                  <a:pt x="1772395" y="1512618"/>
                </a:lnTo>
                <a:lnTo>
                  <a:pt x="1775577" y="1511027"/>
                </a:lnTo>
                <a:cubicBezTo>
                  <a:pt x="1773986" y="1506255"/>
                  <a:pt x="1773986" y="1509436"/>
                  <a:pt x="1775577" y="1503073"/>
                </a:cubicBezTo>
                <a:lnTo>
                  <a:pt x="1771129" y="1501294"/>
                </a:lnTo>
                <a:lnTo>
                  <a:pt x="1774509" y="1500960"/>
                </a:lnTo>
                <a:cubicBezTo>
                  <a:pt x="1777267" y="1500885"/>
                  <a:pt x="1773986" y="1501481"/>
                  <a:pt x="1778758" y="1496709"/>
                </a:cubicBezTo>
                <a:lnTo>
                  <a:pt x="1786712" y="1496709"/>
                </a:lnTo>
                <a:lnTo>
                  <a:pt x="1791485" y="1490347"/>
                </a:lnTo>
                <a:lnTo>
                  <a:pt x="1790575" y="1488526"/>
                </a:lnTo>
                <a:lnTo>
                  <a:pt x="1788304" y="1491934"/>
                </a:lnTo>
                <a:lnTo>
                  <a:pt x="1785122" y="1487162"/>
                </a:lnTo>
                <a:cubicBezTo>
                  <a:pt x="1777167" y="1491934"/>
                  <a:pt x="1783532" y="1491934"/>
                  <a:pt x="1772395" y="1491934"/>
                </a:cubicBezTo>
                <a:lnTo>
                  <a:pt x="1781940" y="1482389"/>
                </a:lnTo>
                <a:lnTo>
                  <a:pt x="1778758" y="1476028"/>
                </a:lnTo>
                <a:lnTo>
                  <a:pt x="1785122" y="1469663"/>
                </a:lnTo>
                <a:cubicBezTo>
                  <a:pt x="1789894" y="1471254"/>
                  <a:pt x="1785122" y="1472845"/>
                  <a:pt x="1791485" y="1469663"/>
                </a:cubicBezTo>
                <a:cubicBezTo>
                  <a:pt x="1791485" y="1479209"/>
                  <a:pt x="1791485" y="1477619"/>
                  <a:pt x="1785122" y="1480799"/>
                </a:cubicBezTo>
                <a:lnTo>
                  <a:pt x="1788304" y="1485571"/>
                </a:lnTo>
                <a:lnTo>
                  <a:pt x="1785123" y="1487162"/>
                </a:lnTo>
                <a:lnTo>
                  <a:pt x="1789892" y="1487162"/>
                </a:lnTo>
                <a:lnTo>
                  <a:pt x="1788304" y="1483983"/>
                </a:lnTo>
                <a:lnTo>
                  <a:pt x="1794666" y="1479212"/>
                </a:lnTo>
                <a:lnTo>
                  <a:pt x="1791485" y="1474441"/>
                </a:lnTo>
                <a:cubicBezTo>
                  <a:pt x="1797847" y="1476031"/>
                  <a:pt x="1797847" y="1476031"/>
                  <a:pt x="1801028" y="1479212"/>
                </a:cubicBezTo>
                <a:lnTo>
                  <a:pt x="1802619" y="1474441"/>
                </a:lnTo>
                <a:lnTo>
                  <a:pt x="1801890" y="1472251"/>
                </a:lnTo>
                <a:lnTo>
                  <a:pt x="1801028" y="1472848"/>
                </a:lnTo>
                <a:lnTo>
                  <a:pt x="1796256" y="1468076"/>
                </a:lnTo>
                <a:cubicBezTo>
                  <a:pt x="1797847" y="1463303"/>
                  <a:pt x="1797847" y="1469666"/>
                  <a:pt x="1797847" y="1461712"/>
                </a:cubicBezTo>
                <a:cubicBezTo>
                  <a:pt x="1797847" y="1460120"/>
                  <a:pt x="1794666" y="1456938"/>
                  <a:pt x="1797847" y="1456938"/>
                </a:cubicBezTo>
                <a:lnTo>
                  <a:pt x="1804210" y="1452166"/>
                </a:lnTo>
                <a:lnTo>
                  <a:pt x="1804211" y="1452167"/>
                </a:lnTo>
                <a:lnTo>
                  <a:pt x="1807392" y="1461712"/>
                </a:lnTo>
                <a:lnTo>
                  <a:pt x="1802619" y="1466485"/>
                </a:lnTo>
                <a:lnTo>
                  <a:pt x="1805801" y="1466485"/>
                </a:lnTo>
                <a:lnTo>
                  <a:pt x="1805801" y="1464895"/>
                </a:lnTo>
                <a:lnTo>
                  <a:pt x="1809335" y="1466485"/>
                </a:lnTo>
                <a:lnTo>
                  <a:pt x="1810221" y="1466485"/>
                </a:lnTo>
                <a:lnTo>
                  <a:pt x="1810492" y="1466362"/>
                </a:lnTo>
                <a:lnTo>
                  <a:pt x="1807392" y="1461712"/>
                </a:lnTo>
                <a:lnTo>
                  <a:pt x="1812165" y="1461712"/>
                </a:lnTo>
                <a:lnTo>
                  <a:pt x="1813041" y="1465216"/>
                </a:lnTo>
                <a:lnTo>
                  <a:pt x="1813754" y="1464895"/>
                </a:lnTo>
                <a:lnTo>
                  <a:pt x="1816936" y="1469666"/>
                </a:lnTo>
                <a:lnTo>
                  <a:pt x="1826480" y="1471257"/>
                </a:lnTo>
                <a:lnTo>
                  <a:pt x="1829662" y="1468076"/>
                </a:lnTo>
                <a:lnTo>
                  <a:pt x="1824890" y="1466485"/>
                </a:lnTo>
                <a:lnTo>
                  <a:pt x="1829662" y="1463304"/>
                </a:lnTo>
                <a:lnTo>
                  <a:pt x="1829666" y="1463301"/>
                </a:lnTo>
                <a:lnTo>
                  <a:pt x="1829662" y="1463301"/>
                </a:lnTo>
                <a:lnTo>
                  <a:pt x="1829662" y="1456937"/>
                </a:lnTo>
                <a:lnTo>
                  <a:pt x="1833896" y="1456937"/>
                </a:lnTo>
                <a:lnTo>
                  <a:pt x="1829662" y="1455348"/>
                </a:lnTo>
                <a:lnTo>
                  <a:pt x="1829662" y="1453758"/>
                </a:lnTo>
                <a:lnTo>
                  <a:pt x="1830258" y="1452566"/>
                </a:lnTo>
                <a:lnTo>
                  <a:pt x="1829662" y="1452169"/>
                </a:lnTo>
                <a:lnTo>
                  <a:pt x="1824890" y="1456940"/>
                </a:lnTo>
                <a:cubicBezTo>
                  <a:pt x="1821708" y="1452169"/>
                  <a:pt x="1821708" y="1456940"/>
                  <a:pt x="1824890" y="1450579"/>
                </a:cubicBezTo>
                <a:cubicBezTo>
                  <a:pt x="1820118" y="1444217"/>
                  <a:pt x="1821708" y="1441036"/>
                  <a:pt x="1812164" y="1441036"/>
                </a:cubicBezTo>
                <a:lnTo>
                  <a:pt x="1810573" y="1431490"/>
                </a:lnTo>
                <a:cubicBezTo>
                  <a:pt x="1816936" y="1429900"/>
                  <a:pt x="1820118" y="1428311"/>
                  <a:pt x="1824890" y="1425128"/>
                </a:cubicBezTo>
                <a:lnTo>
                  <a:pt x="1824890" y="1418766"/>
                </a:lnTo>
                <a:lnTo>
                  <a:pt x="1829662" y="1423538"/>
                </a:lnTo>
                <a:cubicBezTo>
                  <a:pt x="1834436" y="1421947"/>
                  <a:pt x="1829662" y="1420357"/>
                  <a:pt x="1836025" y="1423538"/>
                </a:cubicBezTo>
                <a:lnTo>
                  <a:pt x="1843979" y="1420357"/>
                </a:lnTo>
                <a:lnTo>
                  <a:pt x="1839208" y="1425128"/>
                </a:lnTo>
                <a:lnTo>
                  <a:pt x="1840798" y="1428311"/>
                </a:lnTo>
                <a:lnTo>
                  <a:pt x="1839385" y="1429370"/>
                </a:lnTo>
                <a:lnTo>
                  <a:pt x="1840797" y="1431490"/>
                </a:lnTo>
                <a:lnTo>
                  <a:pt x="1845567" y="1426719"/>
                </a:lnTo>
                <a:lnTo>
                  <a:pt x="1843979" y="1426719"/>
                </a:lnTo>
                <a:lnTo>
                  <a:pt x="1843979" y="1420357"/>
                </a:lnTo>
                <a:lnTo>
                  <a:pt x="1848751" y="1418766"/>
                </a:lnTo>
                <a:lnTo>
                  <a:pt x="1850341" y="1421947"/>
                </a:lnTo>
                <a:lnTo>
                  <a:pt x="1850342" y="1421946"/>
                </a:lnTo>
                <a:lnTo>
                  <a:pt x="1855019" y="1421010"/>
                </a:lnTo>
                <a:lnTo>
                  <a:pt x="1853523" y="1418766"/>
                </a:lnTo>
                <a:lnTo>
                  <a:pt x="1848751" y="1418766"/>
                </a:lnTo>
                <a:lnTo>
                  <a:pt x="1848750" y="1418766"/>
                </a:lnTo>
                <a:lnTo>
                  <a:pt x="1851932" y="1413994"/>
                </a:lnTo>
                <a:lnTo>
                  <a:pt x="1843978" y="1413994"/>
                </a:lnTo>
                <a:lnTo>
                  <a:pt x="1853523" y="1404448"/>
                </a:lnTo>
                <a:lnTo>
                  <a:pt x="1851932" y="1412402"/>
                </a:lnTo>
                <a:lnTo>
                  <a:pt x="1856704" y="1412402"/>
                </a:lnTo>
                <a:lnTo>
                  <a:pt x="1853523" y="1415583"/>
                </a:lnTo>
                <a:lnTo>
                  <a:pt x="1858295" y="1418766"/>
                </a:lnTo>
                <a:lnTo>
                  <a:pt x="1857728" y="1420469"/>
                </a:lnTo>
                <a:lnTo>
                  <a:pt x="1858295" y="1420356"/>
                </a:lnTo>
                <a:lnTo>
                  <a:pt x="1858295" y="1429898"/>
                </a:lnTo>
                <a:lnTo>
                  <a:pt x="1871021" y="1420356"/>
                </a:lnTo>
                <a:lnTo>
                  <a:pt x="1866249" y="1413991"/>
                </a:lnTo>
                <a:lnTo>
                  <a:pt x="1859886" y="1418766"/>
                </a:lnTo>
                <a:lnTo>
                  <a:pt x="1858295" y="1415583"/>
                </a:lnTo>
                <a:lnTo>
                  <a:pt x="1863067" y="1410809"/>
                </a:lnTo>
                <a:lnTo>
                  <a:pt x="1859886" y="1402856"/>
                </a:lnTo>
                <a:cubicBezTo>
                  <a:pt x="1867839" y="1406038"/>
                  <a:pt x="1867839" y="1404447"/>
                  <a:pt x="1871021" y="1402856"/>
                </a:cubicBezTo>
                <a:cubicBezTo>
                  <a:pt x="1875793" y="1398083"/>
                  <a:pt x="1871021" y="1402856"/>
                  <a:pt x="1874202" y="1396493"/>
                </a:cubicBezTo>
                <a:lnTo>
                  <a:pt x="1882156" y="1399675"/>
                </a:lnTo>
                <a:lnTo>
                  <a:pt x="1885337" y="1406038"/>
                </a:lnTo>
                <a:lnTo>
                  <a:pt x="1877384" y="1412401"/>
                </a:lnTo>
                <a:lnTo>
                  <a:pt x="1882156" y="1415583"/>
                </a:lnTo>
                <a:lnTo>
                  <a:pt x="1877384" y="1421946"/>
                </a:lnTo>
                <a:lnTo>
                  <a:pt x="1885337" y="1421946"/>
                </a:lnTo>
                <a:lnTo>
                  <a:pt x="1885337" y="1426719"/>
                </a:lnTo>
                <a:lnTo>
                  <a:pt x="1893291" y="1428308"/>
                </a:lnTo>
                <a:lnTo>
                  <a:pt x="1894882" y="1425127"/>
                </a:lnTo>
                <a:cubicBezTo>
                  <a:pt x="1891701" y="1420356"/>
                  <a:pt x="1894882" y="1420356"/>
                  <a:pt x="1888519" y="1423537"/>
                </a:cubicBezTo>
                <a:lnTo>
                  <a:pt x="1885337" y="1421946"/>
                </a:lnTo>
                <a:lnTo>
                  <a:pt x="1890109" y="1415583"/>
                </a:lnTo>
                <a:lnTo>
                  <a:pt x="1882156" y="1415583"/>
                </a:lnTo>
                <a:lnTo>
                  <a:pt x="1885337" y="1410809"/>
                </a:lnTo>
                <a:lnTo>
                  <a:pt x="1890109" y="1412401"/>
                </a:lnTo>
                <a:lnTo>
                  <a:pt x="1888519" y="1402856"/>
                </a:lnTo>
                <a:lnTo>
                  <a:pt x="1893291" y="1401265"/>
                </a:lnTo>
                <a:lnTo>
                  <a:pt x="1888519" y="1399675"/>
                </a:lnTo>
                <a:lnTo>
                  <a:pt x="1891701" y="1394902"/>
                </a:lnTo>
                <a:lnTo>
                  <a:pt x="1883747" y="1394902"/>
                </a:lnTo>
                <a:lnTo>
                  <a:pt x="1883747" y="1390128"/>
                </a:lnTo>
                <a:lnTo>
                  <a:pt x="1875793" y="1391719"/>
                </a:lnTo>
                <a:cubicBezTo>
                  <a:pt x="1872612" y="1385357"/>
                  <a:pt x="1872612" y="1388538"/>
                  <a:pt x="1871021" y="1382176"/>
                </a:cubicBezTo>
                <a:lnTo>
                  <a:pt x="1878975" y="1380585"/>
                </a:lnTo>
                <a:cubicBezTo>
                  <a:pt x="1883747" y="1386948"/>
                  <a:pt x="1886928" y="1391719"/>
                  <a:pt x="1896473" y="1391719"/>
                </a:cubicBezTo>
                <a:lnTo>
                  <a:pt x="1893291" y="1386948"/>
                </a:lnTo>
                <a:lnTo>
                  <a:pt x="1902836" y="1388538"/>
                </a:lnTo>
                <a:lnTo>
                  <a:pt x="1902836" y="1383766"/>
                </a:lnTo>
                <a:lnTo>
                  <a:pt x="1893291" y="1383766"/>
                </a:lnTo>
                <a:lnTo>
                  <a:pt x="1904426" y="1372633"/>
                </a:lnTo>
                <a:lnTo>
                  <a:pt x="1910790" y="1372633"/>
                </a:lnTo>
                <a:cubicBezTo>
                  <a:pt x="1906017" y="1367858"/>
                  <a:pt x="1909199" y="1367858"/>
                  <a:pt x="1902836" y="1371042"/>
                </a:cubicBezTo>
                <a:close/>
                <a:moveTo>
                  <a:pt x="1816936" y="1363087"/>
                </a:moveTo>
                <a:lnTo>
                  <a:pt x="1820117" y="1366269"/>
                </a:lnTo>
                <a:lnTo>
                  <a:pt x="1808982" y="1369450"/>
                </a:lnTo>
                <a:close/>
                <a:moveTo>
                  <a:pt x="1845570" y="1361490"/>
                </a:moveTo>
                <a:lnTo>
                  <a:pt x="1850342" y="1366261"/>
                </a:lnTo>
                <a:lnTo>
                  <a:pt x="1843979" y="1369443"/>
                </a:lnTo>
                <a:close/>
                <a:moveTo>
                  <a:pt x="1886928" y="1359899"/>
                </a:moveTo>
                <a:lnTo>
                  <a:pt x="1899655" y="1371036"/>
                </a:lnTo>
                <a:cubicBezTo>
                  <a:pt x="1888518" y="1371036"/>
                  <a:pt x="1888518" y="1369443"/>
                  <a:pt x="1883747" y="1361490"/>
                </a:cubicBezTo>
                <a:close/>
                <a:moveTo>
                  <a:pt x="1807391" y="1359897"/>
                </a:moveTo>
                <a:lnTo>
                  <a:pt x="1804209" y="1367851"/>
                </a:lnTo>
                <a:lnTo>
                  <a:pt x="1799437" y="1363079"/>
                </a:lnTo>
                <a:close/>
                <a:moveTo>
                  <a:pt x="4955454" y="1358351"/>
                </a:moveTo>
                <a:cubicBezTo>
                  <a:pt x="4961817" y="1364714"/>
                  <a:pt x="4957044" y="1369487"/>
                  <a:pt x="4958635" y="1369487"/>
                </a:cubicBezTo>
                <a:cubicBezTo>
                  <a:pt x="4907732" y="1401302"/>
                  <a:pt x="4864781" y="1434708"/>
                  <a:pt x="4823422" y="1464933"/>
                </a:cubicBezTo>
                <a:cubicBezTo>
                  <a:pt x="4809105" y="1476069"/>
                  <a:pt x="4823422" y="1456975"/>
                  <a:pt x="4823422" y="1456975"/>
                </a:cubicBezTo>
                <a:lnTo>
                  <a:pt x="4933183" y="1375852"/>
                </a:lnTo>
                <a:cubicBezTo>
                  <a:pt x="4936365" y="1372671"/>
                  <a:pt x="4937956" y="1366305"/>
                  <a:pt x="4939547" y="1364714"/>
                </a:cubicBezTo>
                <a:cubicBezTo>
                  <a:pt x="4942728" y="1361533"/>
                  <a:pt x="4952272" y="1359942"/>
                  <a:pt x="4955454" y="1358351"/>
                </a:cubicBezTo>
                <a:close/>
                <a:moveTo>
                  <a:pt x="1918743" y="1353536"/>
                </a:moveTo>
                <a:lnTo>
                  <a:pt x="1923515" y="1353536"/>
                </a:lnTo>
                <a:cubicBezTo>
                  <a:pt x="1923515" y="1355127"/>
                  <a:pt x="1923515" y="1356718"/>
                  <a:pt x="1921925" y="1359898"/>
                </a:cubicBezTo>
                <a:lnTo>
                  <a:pt x="1918743" y="1359898"/>
                </a:lnTo>
                <a:close/>
                <a:moveTo>
                  <a:pt x="1821708" y="1351943"/>
                </a:moveTo>
                <a:lnTo>
                  <a:pt x="1829662" y="1351943"/>
                </a:lnTo>
                <a:cubicBezTo>
                  <a:pt x="1824890" y="1356715"/>
                  <a:pt x="1829662" y="1355126"/>
                  <a:pt x="1821708" y="1356715"/>
                </a:cubicBezTo>
                <a:close/>
                <a:moveTo>
                  <a:pt x="1987144" y="1351941"/>
                </a:moveTo>
                <a:cubicBezTo>
                  <a:pt x="1990325" y="1356713"/>
                  <a:pt x="1990325" y="1351941"/>
                  <a:pt x="1987144" y="1358304"/>
                </a:cubicBezTo>
                <a:lnTo>
                  <a:pt x="1995098" y="1358304"/>
                </a:lnTo>
                <a:cubicBezTo>
                  <a:pt x="1993507" y="1353532"/>
                  <a:pt x="1993507" y="1355123"/>
                  <a:pt x="1995098" y="1351941"/>
                </a:cubicBezTo>
                <a:close/>
                <a:moveTo>
                  <a:pt x="1750126" y="1351939"/>
                </a:moveTo>
                <a:lnTo>
                  <a:pt x="1740580" y="1361484"/>
                </a:lnTo>
                <a:lnTo>
                  <a:pt x="1737399" y="1356711"/>
                </a:lnTo>
                <a:close/>
                <a:moveTo>
                  <a:pt x="1966465" y="1350350"/>
                </a:moveTo>
                <a:lnTo>
                  <a:pt x="1961692" y="1351941"/>
                </a:lnTo>
                <a:cubicBezTo>
                  <a:pt x="1963284" y="1356713"/>
                  <a:pt x="1960101" y="1356713"/>
                  <a:pt x="1966465" y="1353532"/>
                </a:cubicBezTo>
                <a:cubicBezTo>
                  <a:pt x="1971237" y="1359895"/>
                  <a:pt x="1964874" y="1356713"/>
                  <a:pt x="1976009" y="1358304"/>
                </a:cubicBezTo>
                <a:lnTo>
                  <a:pt x="1976009" y="1351941"/>
                </a:lnTo>
                <a:close/>
                <a:moveTo>
                  <a:pt x="1600597" y="1348767"/>
                </a:moveTo>
                <a:lnTo>
                  <a:pt x="1600597" y="1353539"/>
                </a:lnTo>
                <a:lnTo>
                  <a:pt x="1595825" y="1350358"/>
                </a:lnTo>
                <a:close/>
                <a:moveTo>
                  <a:pt x="1980781" y="1345577"/>
                </a:moveTo>
                <a:lnTo>
                  <a:pt x="1980781" y="1358304"/>
                </a:lnTo>
                <a:cubicBezTo>
                  <a:pt x="1988736" y="1355123"/>
                  <a:pt x="1983962" y="1358304"/>
                  <a:pt x="1983962" y="1353532"/>
                </a:cubicBezTo>
                <a:cubicBezTo>
                  <a:pt x="1983962" y="1348759"/>
                  <a:pt x="1985553" y="1348759"/>
                  <a:pt x="1980781" y="1345577"/>
                </a:cubicBezTo>
                <a:close/>
                <a:moveTo>
                  <a:pt x="1913971" y="1342399"/>
                </a:moveTo>
                <a:lnTo>
                  <a:pt x="1917153" y="1347171"/>
                </a:lnTo>
                <a:lnTo>
                  <a:pt x="1909199" y="1345580"/>
                </a:lnTo>
                <a:close/>
                <a:moveTo>
                  <a:pt x="1906017" y="1342399"/>
                </a:moveTo>
                <a:lnTo>
                  <a:pt x="1909198" y="1345581"/>
                </a:lnTo>
                <a:lnTo>
                  <a:pt x="1906017" y="1347171"/>
                </a:lnTo>
                <a:lnTo>
                  <a:pt x="1904427" y="1348761"/>
                </a:lnTo>
                <a:lnTo>
                  <a:pt x="1909199" y="1351942"/>
                </a:lnTo>
                <a:cubicBezTo>
                  <a:pt x="1901245" y="1359896"/>
                  <a:pt x="1904426" y="1350352"/>
                  <a:pt x="1901245" y="1359896"/>
                </a:cubicBezTo>
                <a:cubicBezTo>
                  <a:pt x="1896473" y="1356715"/>
                  <a:pt x="1898063" y="1359896"/>
                  <a:pt x="1896473" y="1353533"/>
                </a:cubicBezTo>
                <a:lnTo>
                  <a:pt x="1904426" y="1353533"/>
                </a:lnTo>
                <a:lnTo>
                  <a:pt x="1904426" y="1348761"/>
                </a:lnTo>
                <a:lnTo>
                  <a:pt x="1898063" y="1345581"/>
                </a:lnTo>
                <a:close/>
                <a:moveTo>
                  <a:pt x="1781940" y="1331271"/>
                </a:moveTo>
                <a:lnTo>
                  <a:pt x="1778758" y="1336043"/>
                </a:lnTo>
                <a:lnTo>
                  <a:pt x="1783532" y="1337633"/>
                </a:lnTo>
                <a:cubicBezTo>
                  <a:pt x="1777167" y="1339225"/>
                  <a:pt x="1780348" y="1339225"/>
                  <a:pt x="1773985" y="1342406"/>
                </a:cubicBezTo>
                <a:lnTo>
                  <a:pt x="1769214" y="1336043"/>
                </a:lnTo>
                <a:cubicBezTo>
                  <a:pt x="1777167" y="1331271"/>
                  <a:pt x="1772395" y="1332861"/>
                  <a:pt x="1781940" y="1331271"/>
                </a:cubicBezTo>
                <a:close/>
                <a:moveTo>
                  <a:pt x="1848752" y="1331266"/>
                </a:moveTo>
                <a:lnTo>
                  <a:pt x="1853523" y="1331266"/>
                </a:lnTo>
                <a:lnTo>
                  <a:pt x="1853523" y="1336038"/>
                </a:lnTo>
                <a:close/>
                <a:moveTo>
                  <a:pt x="1960101" y="1331261"/>
                </a:moveTo>
                <a:lnTo>
                  <a:pt x="1960652" y="1331812"/>
                </a:lnTo>
                <a:lnTo>
                  <a:pt x="1960101" y="1334128"/>
                </a:lnTo>
                <a:close/>
                <a:moveTo>
                  <a:pt x="2083608" y="1329819"/>
                </a:moveTo>
                <a:cubicBezTo>
                  <a:pt x="2084976" y="1326736"/>
                  <a:pt x="2084976" y="1330117"/>
                  <a:pt x="2082590" y="1344036"/>
                </a:cubicBezTo>
                <a:cubicBezTo>
                  <a:pt x="2090542" y="1391757"/>
                  <a:pt x="2085771" y="1445845"/>
                  <a:pt x="2109631" y="1482430"/>
                </a:cubicBezTo>
                <a:cubicBezTo>
                  <a:pt x="2084180" y="1695554"/>
                  <a:pt x="2206666" y="1840370"/>
                  <a:pt x="2290975" y="1993048"/>
                </a:cubicBezTo>
                <a:cubicBezTo>
                  <a:pt x="2160534" y="1892881"/>
                  <a:pt x="2034866" y="1646243"/>
                  <a:pt x="2061909" y="1421985"/>
                </a:cubicBezTo>
                <a:cubicBezTo>
                  <a:pt x="2063102" y="1406474"/>
                  <a:pt x="2079506" y="1339066"/>
                  <a:pt x="2083608" y="1329819"/>
                </a:cubicBezTo>
                <a:close/>
                <a:moveTo>
                  <a:pt x="1875793" y="1329680"/>
                </a:moveTo>
                <a:lnTo>
                  <a:pt x="1882156" y="1332861"/>
                </a:lnTo>
                <a:lnTo>
                  <a:pt x="1874202" y="1334452"/>
                </a:lnTo>
                <a:close/>
                <a:moveTo>
                  <a:pt x="1683313" y="1328079"/>
                </a:moveTo>
                <a:lnTo>
                  <a:pt x="1688086" y="1332851"/>
                </a:lnTo>
                <a:lnTo>
                  <a:pt x="1683313" y="1336033"/>
                </a:lnTo>
                <a:lnTo>
                  <a:pt x="1680133" y="1331261"/>
                </a:lnTo>
                <a:close/>
                <a:moveTo>
                  <a:pt x="1521060" y="1326496"/>
                </a:moveTo>
                <a:lnTo>
                  <a:pt x="1529013" y="1328087"/>
                </a:lnTo>
                <a:lnTo>
                  <a:pt x="1524241" y="1331269"/>
                </a:lnTo>
                <a:close/>
                <a:moveTo>
                  <a:pt x="1883747" y="1326494"/>
                </a:moveTo>
                <a:lnTo>
                  <a:pt x="1890110" y="1331266"/>
                </a:lnTo>
                <a:lnTo>
                  <a:pt x="1883747" y="1334447"/>
                </a:lnTo>
                <a:close/>
                <a:moveTo>
                  <a:pt x="1893291" y="1326493"/>
                </a:moveTo>
                <a:lnTo>
                  <a:pt x="1901245" y="1326493"/>
                </a:lnTo>
                <a:cubicBezTo>
                  <a:pt x="1896473" y="1336038"/>
                  <a:pt x="1906018" y="1332857"/>
                  <a:pt x="1893291" y="1336038"/>
                </a:cubicBezTo>
                <a:cubicBezTo>
                  <a:pt x="1894882" y="1328084"/>
                  <a:pt x="1896473" y="1331266"/>
                  <a:pt x="1893291" y="1326493"/>
                </a:cubicBezTo>
                <a:close/>
                <a:moveTo>
                  <a:pt x="1635592" y="1326487"/>
                </a:moveTo>
                <a:cubicBezTo>
                  <a:pt x="1641956" y="1329668"/>
                  <a:pt x="1638774" y="1328078"/>
                  <a:pt x="1640365" y="1332851"/>
                </a:cubicBezTo>
                <a:lnTo>
                  <a:pt x="1632411" y="1332851"/>
                </a:lnTo>
                <a:close/>
                <a:moveTo>
                  <a:pt x="1971237" y="1320126"/>
                </a:moveTo>
                <a:lnTo>
                  <a:pt x="1968056" y="1321717"/>
                </a:lnTo>
                <a:lnTo>
                  <a:pt x="1971237" y="1321717"/>
                </a:lnTo>
                <a:close/>
                <a:moveTo>
                  <a:pt x="1869231" y="1318343"/>
                </a:moveTo>
                <a:cubicBezTo>
                  <a:pt x="1869033" y="1318542"/>
                  <a:pt x="1869430" y="1319338"/>
                  <a:pt x="1874202" y="1320133"/>
                </a:cubicBezTo>
                <a:lnTo>
                  <a:pt x="1883747" y="1320133"/>
                </a:lnTo>
                <a:lnTo>
                  <a:pt x="1878975" y="1324905"/>
                </a:lnTo>
                <a:lnTo>
                  <a:pt x="1880566" y="1328086"/>
                </a:lnTo>
                <a:lnTo>
                  <a:pt x="1877384" y="1329677"/>
                </a:lnTo>
                <a:lnTo>
                  <a:pt x="1874202" y="1328086"/>
                </a:lnTo>
                <a:lnTo>
                  <a:pt x="1869430" y="1329677"/>
                </a:lnTo>
                <a:lnTo>
                  <a:pt x="1867839" y="1320133"/>
                </a:lnTo>
                <a:cubicBezTo>
                  <a:pt x="1870225" y="1318542"/>
                  <a:pt x="1869430" y="1318144"/>
                  <a:pt x="1869231" y="1318343"/>
                </a:cubicBezTo>
                <a:close/>
                <a:moveTo>
                  <a:pt x="1530604" y="1313770"/>
                </a:moveTo>
                <a:lnTo>
                  <a:pt x="1540148" y="1313770"/>
                </a:lnTo>
                <a:lnTo>
                  <a:pt x="1536966" y="1318542"/>
                </a:lnTo>
                <a:close/>
                <a:moveTo>
                  <a:pt x="1829662" y="1312184"/>
                </a:moveTo>
                <a:lnTo>
                  <a:pt x="1832844" y="1313775"/>
                </a:lnTo>
                <a:lnTo>
                  <a:pt x="1824890" y="1320137"/>
                </a:lnTo>
                <a:lnTo>
                  <a:pt x="1818528" y="1313775"/>
                </a:lnTo>
                <a:close/>
                <a:moveTo>
                  <a:pt x="1847160" y="1310586"/>
                </a:moveTo>
                <a:lnTo>
                  <a:pt x="1851932" y="1315358"/>
                </a:lnTo>
                <a:lnTo>
                  <a:pt x="1847160" y="1318540"/>
                </a:lnTo>
                <a:lnTo>
                  <a:pt x="1843978" y="1315358"/>
                </a:lnTo>
                <a:close/>
                <a:moveTo>
                  <a:pt x="5606063" y="1301085"/>
                </a:moveTo>
                <a:lnTo>
                  <a:pt x="5610835" y="1313809"/>
                </a:lnTo>
                <a:cubicBezTo>
                  <a:pt x="5607654" y="1313809"/>
                  <a:pt x="5602882" y="1310628"/>
                  <a:pt x="5601291" y="1312219"/>
                </a:cubicBezTo>
                <a:cubicBezTo>
                  <a:pt x="5496303" y="1369487"/>
                  <a:pt x="5394496" y="1426756"/>
                  <a:pt x="5283144" y="1484020"/>
                </a:cubicBezTo>
                <a:cubicBezTo>
                  <a:pt x="5286326" y="1472887"/>
                  <a:pt x="5294280" y="1466523"/>
                  <a:pt x="5300643" y="1463341"/>
                </a:cubicBezTo>
                <a:close/>
                <a:moveTo>
                  <a:pt x="1996688" y="1299447"/>
                </a:moveTo>
                <a:cubicBezTo>
                  <a:pt x="1996688" y="1299447"/>
                  <a:pt x="1996688" y="1299447"/>
                  <a:pt x="1998279" y="1301037"/>
                </a:cubicBezTo>
                <a:cubicBezTo>
                  <a:pt x="2001461" y="1301037"/>
                  <a:pt x="1999871" y="1299447"/>
                  <a:pt x="1999871" y="1299447"/>
                </a:cubicBezTo>
                <a:close/>
                <a:moveTo>
                  <a:pt x="1893291" y="1297861"/>
                </a:moveTo>
                <a:lnTo>
                  <a:pt x="1896473" y="1302633"/>
                </a:lnTo>
                <a:cubicBezTo>
                  <a:pt x="1888518" y="1307405"/>
                  <a:pt x="1893291" y="1307405"/>
                  <a:pt x="1883747" y="1308996"/>
                </a:cubicBezTo>
                <a:cubicBezTo>
                  <a:pt x="1886928" y="1301042"/>
                  <a:pt x="1886928" y="1301042"/>
                  <a:pt x="1893291" y="1297861"/>
                </a:cubicBezTo>
                <a:close/>
                <a:moveTo>
                  <a:pt x="1918742" y="1294674"/>
                </a:moveTo>
                <a:cubicBezTo>
                  <a:pt x="1926697" y="1296265"/>
                  <a:pt x="1925105" y="1293083"/>
                  <a:pt x="1921923" y="1299447"/>
                </a:cubicBezTo>
                <a:lnTo>
                  <a:pt x="1931468" y="1301037"/>
                </a:lnTo>
                <a:lnTo>
                  <a:pt x="1929877" y="1302628"/>
                </a:lnTo>
                <a:cubicBezTo>
                  <a:pt x="1931468" y="1305809"/>
                  <a:pt x="1928287" y="1304218"/>
                  <a:pt x="1931468" y="1305809"/>
                </a:cubicBezTo>
                <a:lnTo>
                  <a:pt x="1931468" y="1304218"/>
                </a:lnTo>
                <a:lnTo>
                  <a:pt x="1934650" y="1304218"/>
                </a:lnTo>
                <a:lnTo>
                  <a:pt x="1933060" y="1302628"/>
                </a:lnTo>
                <a:cubicBezTo>
                  <a:pt x="1936241" y="1302628"/>
                  <a:pt x="1936241" y="1302628"/>
                  <a:pt x="1936241" y="1299447"/>
                </a:cubicBezTo>
                <a:lnTo>
                  <a:pt x="1937832" y="1301037"/>
                </a:lnTo>
                <a:cubicBezTo>
                  <a:pt x="1939422" y="1299447"/>
                  <a:pt x="1939422" y="1299447"/>
                  <a:pt x="1941013" y="1297856"/>
                </a:cubicBezTo>
                <a:lnTo>
                  <a:pt x="1942604" y="1297856"/>
                </a:lnTo>
                <a:cubicBezTo>
                  <a:pt x="1942604" y="1297856"/>
                  <a:pt x="1944195" y="1297856"/>
                  <a:pt x="1944195" y="1297856"/>
                </a:cubicBezTo>
                <a:cubicBezTo>
                  <a:pt x="1939422" y="1313763"/>
                  <a:pt x="1936241" y="1329670"/>
                  <a:pt x="1933060" y="1345577"/>
                </a:cubicBezTo>
                <a:lnTo>
                  <a:pt x="1928287" y="1340805"/>
                </a:lnTo>
                <a:lnTo>
                  <a:pt x="1929877" y="1337623"/>
                </a:lnTo>
                <a:lnTo>
                  <a:pt x="1921923" y="1337623"/>
                </a:lnTo>
                <a:lnTo>
                  <a:pt x="1923514" y="1334443"/>
                </a:lnTo>
                <a:cubicBezTo>
                  <a:pt x="1921923" y="1332851"/>
                  <a:pt x="1921923" y="1331261"/>
                  <a:pt x="1921923" y="1331261"/>
                </a:cubicBezTo>
                <a:cubicBezTo>
                  <a:pt x="1921923" y="1331261"/>
                  <a:pt x="1923514" y="1331261"/>
                  <a:pt x="1923514" y="1329670"/>
                </a:cubicBezTo>
                <a:cubicBezTo>
                  <a:pt x="1925105" y="1328080"/>
                  <a:pt x="1921923" y="1326489"/>
                  <a:pt x="1928287" y="1329670"/>
                </a:cubicBezTo>
                <a:lnTo>
                  <a:pt x="1933060" y="1324898"/>
                </a:lnTo>
                <a:lnTo>
                  <a:pt x="1929877" y="1316944"/>
                </a:lnTo>
                <a:lnTo>
                  <a:pt x="1928287" y="1316944"/>
                </a:lnTo>
                <a:lnTo>
                  <a:pt x="1928287" y="1323307"/>
                </a:lnTo>
                <a:lnTo>
                  <a:pt x="1921923" y="1318536"/>
                </a:lnTo>
                <a:cubicBezTo>
                  <a:pt x="1917152" y="1326489"/>
                  <a:pt x="1923514" y="1321717"/>
                  <a:pt x="1912380" y="1323307"/>
                </a:cubicBezTo>
                <a:lnTo>
                  <a:pt x="1912380" y="1316944"/>
                </a:lnTo>
                <a:lnTo>
                  <a:pt x="1917152" y="1316944"/>
                </a:lnTo>
                <a:lnTo>
                  <a:pt x="1917152" y="1315354"/>
                </a:lnTo>
                <a:cubicBezTo>
                  <a:pt x="1918742" y="1315354"/>
                  <a:pt x="1918742" y="1315354"/>
                  <a:pt x="1920333" y="1316944"/>
                </a:cubicBezTo>
                <a:lnTo>
                  <a:pt x="1923514" y="1316944"/>
                </a:lnTo>
                <a:lnTo>
                  <a:pt x="1918742" y="1312172"/>
                </a:lnTo>
                <a:cubicBezTo>
                  <a:pt x="1918742" y="1310581"/>
                  <a:pt x="1918742" y="1310581"/>
                  <a:pt x="1918742" y="1310581"/>
                </a:cubicBezTo>
                <a:lnTo>
                  <a:pt x="1923514" y="1307400"/>
                </a:lnTo>
                <a:lnTo>
                  <a:pt x="1925105" y="1307400"/>
                </a:lnTo>
                <a:lnTo>
                  <a:pt x="1923514" y="1305809"/>
                </a:lnTo>
                <a:lnTo>
                  <a:pt x="1923514" y="1307400"/>
                </a:lnTo>
                <a:lnTo>
                  <a:pt x="1920333" y="1305809"/>
                </a:lnTo>
                <a:lnTo>
                  <a:pt x="1915561" y="1308990"/>
                </a:lnTo>
                <a:lnTo>
                  <a:pt x="1910789" y="1307400"/>
                </a:lnTo>
                <a:cubicBezTo>
                  <a:pt x="1912380" y="1310581"/>
                  <a:pt x="1912380" y="1312172"/>
                  <a:pt x="1912380" y="1312172"/>
                </a:cubicBezTo>
                <a:cubicBezTo>
                  <a:pt x="1912380" y="1313763"/>
                  <a:pt x="1913971" y="1313763"/>
                  <a:pt x="1915561" y="1315354"/>
                </a:cubicBezTo>
                <a:lnTo>
                  <a:pt x="1906017" y="1313763"/>
                </a:lnTo>
                <a:cubicBezTo>
                  <a:pt x="1910789" y="1307400"/>
                  <a:pt x="1913971" y="1304218"/>
                  <a:pt x="1913971" y="1296265"/>
                </a:cubicBezTo>
                <a:lnTo>
                  <a:pt x="1918742" y="1299447"/>
                </a:lnTo>
                <a:close/>
                <a:moveTo>
                  <a:pt x="4099639" y="1291540"/>
                </a:moveTo>
                <a:cubicBezTo>
                  <a:pt x="4061461" y="1324945"/>
                  <a:pt x="4026466" y="1361531"/>
                  <a:pt x="3991470" y="1396527"/>
                </a:cubicBezTo>
                <a:cubicBezTo>
                  <a:pt x="3994651" y="1401301"/>
                  <a:pt x="3997833" y="1404483"/>
                  <a:pt x="3999423" y="1409254"/>
                </a:cubicBezTo>
                <a:lnTo>
                  <a:pt x="4012149" y="1386983"/>
                </a:lnTo>
                <a:cubicBezTo>
                  <a:pt x="4012149" y="1388574"/>
                  <a:pt x="4012149" y="1394938"/>
                  <a:pt x="4012149" y="1391754"/>
                </a:cubicBezTo>
                <a:cubicBezTo>
                  <a:pt x="4008967" y="1398119"/>
                  <a:pt x="4007377" y="1402891"/>
                  <a:pt x="4005786" y="1407665"/>
                </a:cubicBezTo>
                <a:cubicBezTo>
                  <a:pt x="4042373" y="1375849"/>
                  <a:pt x="4074188" y="1339261"/>
                  <a:pt x="4104412" y="1299492"/>
                </a:cubicBezTo>
                <a:cubicBezTo>
                  <a:pt x="4102821" y="1296312"/>
                  <a:pt x="4101230" y="1294720"/>
                  <a:pt x="4099639" y="1291540"/>
                </a:cubicBezTo>
                <a:close/>
                <a:moveTo>
                  <a:pt x="1769214" y="1288321"/>
                </a:moveTo>
                <a:cubicBezTo>
                  <a:pt x="1769214" y="1288321"/>
                  <a:pt x="1773987" y="1291503"/>
                  <a:pt x="1773987" y="1291503"/>
                </a:cubicBezTo>
                <a:lnTo>
                  <a:pt x="1766033" y="1297866"/>
                </a:lnTo>
                <a:lnTo>
                  <a:pt x="1759670" y="1291503"/>
                </a:lnTo>
                <a:cubicBezTo>
                  <a:pt x="1766033" y="1288321"/>
                  <a:pt x="1758079" y="1288321"/>
                  <a:pt x="1769214" y="1288321"/>
                </a:cubicBezTo>
                <a:close/>
                <a:moveTo>
                  <a:pt x="4067824" y="1286765"/>
                </a:moveTo>
                <a:cubicBezTo>
                  <a:pt x="4045555" y="1307445"/>
                  <a:pt x="4023285" y="1326534"/>
                  <a:pt x="3999423" y="1347215"/>
                </a:cubicBezTo>
                <a:cubicBezTo>
                  <a:pt x="4004195" y="1345624"/>
                  <a:pt x="4010558" y="1345624"/>
                  <a:pt x="4015331" y="1344032"/>
                </a:cubicBezTo>
                <a:cubicBezTo>
                  <a:pt x="4032828" y="1324945"/>
                  <a:pt x="4050327" y="1305853"/>
                  <a:pt x="4067824" y="1286765"/>
                </a:cubicBezTo>
                <a:close/>
                <a:moveTo>
                  <a:pt x="1883747" y="1286726"/>
                </a:moveTo>
                <a:lnTo>
                  <a:pt x="1890110" y="1291498"/>
                </a:lnTo>
                <a:lnTo>
                  <a:pt x="1883747" y="1291498"/>
                </a:lnTo>
                <a:close/>
                <a:moveTo>
                  <a:pt x="2922495" y="1283585"/>
                </a:moveTo>
                <a:cubicBezTo>
                  <a:pt x="2900225" y="1501518"/>
                  <a:pt x="2780920" y="1625570"/>
                  <a:pt x="2644118" y="1716245"/>
                </a:cubicBezTo>
                <a:cubicBezTo>
                  <a:pt x="2644118" y="1724205"/>
                  <a:pt x="2642527" y="1732163"/>
                  <a:pt x="2640936" y="1740122"/>
                </a:cubicBezTo>
                <a:cubicBezTo>
                  <a:pt x="2652071" y="1735345"/>
                  <a:pt x="2688658" y="1703513"/>
                  <a:pt x="2690249" y="1701922"/>
                </a:cubicBezTo>
                <a:cubicBezTo>
                  <a:pt x="2776148" y="1636705"/>
                  <a:pt x="2892272" y="1522197"/>
                  <a:pt x="2928859" y="1371079"/>
                </a:cubicBezTo>
                <a:cubicBezTo>
                  <a:pt x="2927268" y="1369486"/>
                  <a:pt x="2924086" y="1367894"/>
                  <a:pt x="2922495" y="1366303"/>
                </a:cubicBezTo>
                <a:cubicBezTo>
                  <a:pt x="2911361" y="1358349"/>
                  <a:pt x="2925677" y="1353578"/>
                  <a:pt x="2930449" y="1355170"/>
                </a:cubicBezTo>
                <a:cubicBezTo>
                  <a:pt x="2930449" y="1355170"/>
                  <a:pt x="2932040" y="1355170"/>
                  <a:pt x="2932040" y="1355170"/>
                </a:cubicBezTo>
                <a:cubicBezTo>
                  <a:pt x="2932040" y="1348805"/>
                  <a:pt x="2933631" y="1342442"/>
                  <a:pt x="2935222" y="1336078"/>
                </a:cubicBezTo>
                <a:cubicBezTo>
                  <a:pt x="2938403" y="1320171"/>
                  <a:pt x="2939994" y="1291540"/>
                  <a:pt x="2922495" y="1283585"/>
                </a:cubicBezTo>
                <a:close/>
                <a:moveTo>
                  <a:pt x="1891701" y="1283544"/>
                </a:moveTo>
                <a:cubicBezTo>
                  <a:pt x="1894882" y="1285134"/>
                  <a:pt x="1894882" y="1286725"/>
                  <a:pt x="1901245" y="1286725"/>
                </a:cubicBezTo>
                <a:cubicBezTo>
                  <a:pt x="1901245" y="1296270"/>
                  <a:pt x="1899654" y="1294679"/>
                  <a:pt x="1894882" y="1297861"/>
                </a:cubicBezTo>
                <a:lnTo>
                  <a:pt x="1894882" y="1293089"/>
                </a:lnTo>
                <a:close/>
                <a:moveTo>
                  <a:pt x="1982371" y="1283539"/>
                </a:moveTo>
                <a:lnTo>
                  <a:pt x="1977599" y="1285130"/>
                </a:lnTo>
                <a:lnTo>
                  <a:pt x="1982371" y="1289902"/>
                </a:lnTo>
                <a:lnTo>
                  <a:pt x="1985553" y="1286720"/>
                </a:lnTo>
                <a:close/>
                <a:moveTo>
                  <a:pt x="1675361" y="1281946"/>
                </a:moveTo>
                <a:lnTo>
                  <a:pt x="1683314" y="1281946"/>
                </a:lnTo>
                <a:lnTo>
                  <a:pt x="1680133" y="1286719"/>
                </a:lnTo>
                <a:close/>
                <a:moveTo>
                  <a:pt x="1729446" y="1277178"/>
                </a:moveTo>
                <a:lnTo>
                  <a:pt x="1737399" y="1277178"/>
                </a:lnTo>
                <a:lnTo>
                  <a:pt x="1737399" y="1281951"/>
                </a:lnTo>
                <a:cubicBezTo>
                  <a:pt x="1732627" y="1280360"/>
                  <a:pt x="1732627" y="1281951"/>
                  <a:pt x="1732627" y="1281951"/>
                </a:cubicBezTo>
                <a:cubicBezTo>
                  <a:pt x="1732627" y="1280360"/>
                  <a:pt x="1731037" y="1280360"/>
                  <a:pt x="1729446" y="1277178"/>
                </a:cubicBezTo>
                <a:close/>
                <a:moveTo>
                  <a:pt x="4287347" y="1275633"/>
                </a:moveTo>
                <a:cubicBezTo>
                  <a:pt x="4271439" y="1283585"/>
                  <a:pt x="4257122" y="1293129"/>
                  <a:pt x="4244396" y="1305853"/>
                </a:cubicBezTo>
                <a:cubicBezTo>
                  <a:pt x="4245987" y="1310627"/>
                  <a:pt x="4249168" y="1313808"/>
                  <a:pt x="4250759" y="1318581"/>
                </a:cubicBezTo>
                <a:cubicBezTo>
                  <a:pt x="4250759" y="1315398"/>
                  <a:pt x="4252350" y="1312218"/>
                  <a:pt x="4253941" y="1309036"/>
                </a:cubicBezTo>
                <a:cubicBezTo>
                  <a:pt x="4260304" y="1307445"/>
                  <a:pt x="4265076" y="1307445"/>
                  <a:pt x="4271439" y="1307445"/>
                </a:cubicBezTo>
                <a:cubicBezTo>
                  <a:pt x="4277802" y="1297902"/>
                  <a:pt x="4282574" y="1286765"/>
                  <a:pt x="4287347" y="1275633"/>
                </a:cubicBezTo>
                <a:close/>
                <a:moveTo>
                  <a:pt x="4125091" y="1274041"/>
                </a:moveTo>
                <a:cubicBezTo>
                  <a:pt x="4117138" y="1278812"/>
                  <a:pt x="4110775" y="1285176"/>
                  <a:pt x="4104412" y="1289948"/>
                </a:cubicBezTo>
                <a:cubicBezTo>
                  <a:pt x="4106002" y="1291540"/>
                  <a:pt x="4107593" y="1293129"/>
                  <a:pt x="4109184" y="1296312"/>
                </a:cubicBezTo>
                <a:cubicBezTo>
                  <a:pt x="4115547" y="1288357"/>
                  <a:pt x="4120319" y="1281994"/>
                  <a:pt x="4125091" y="1274041"/>
                </a:cubicBezTo>
                <a:close/>
                <a:moveTo>
                  <a:pt x="1888518" y="1266046"/>
                </a:moveTo>
                <a:lnTo>
                  <a:pt x="1891701" y="1270818"/>
                </a:lnTo>
                <a:lnTo>
                  <a:pt x="1888518" y="1272408"/>
                </a:lnTo>
                <a:lnTo>
                  <a:pt x="1883747" y="1269227"/>
                </a:lnTo>
                <a:close/>
                <a:moveTo>
                  <a:pt x="4051918" y="1264497"/>
                </a:moveTo>
                <a:cubicBezTo>
                  <a:pt x="4045555" y="1267679"/>
                  <a:pt x="4036010" y="1269268"/>
                  <a:pt x="4028057" y="1267679"/>
                </a:cubicBezTo>
                <a:cubicBezTo>
                  <a:pt x="4020103" y="1266087"/>
                  <a:pt x="4016921" y="1277222"/>
                  <a:pt x="4015331" y="1278812"/>
                </a:cubicBezTo>
                <a:cubicBezTo>
                  <a:pt x="4010558" y="1283585"/>
                  <a:pt x="4005786" y="1281994"/>
                  <a:pt x="4002604" y="1278812"/>
                </a:cubicBezTo>
                <a:cubicBezTo>
                  <a:pt x="4001014" y="1280404"/>
                  <a:pt x="4001014" y="1280404"/>
                  <a:pt x="3999423" y="1281994"/>
                </a:cubicBezTo>
                <a:cubicBezTo>
                  <a:pt x="3999423" y="1293129"/>
                  <a:pt x="4001014" y="1302673"/>
                  <a:pt x="3997833" y="1309036"/>
                </a:cubicBezTo>
                <a:cubicBezTo>
                  <a:pt x="3993061" y="1323352"/>
                  <a:pt x="3975562" y="1326534"/>
                  <a:pt x="3967609" y="1344032"/>
                </a:cubicBezTo>
                <a:cubicBezTo>
                  <a:pt x="3970790" y="1344032"/>
                  <a:pt x="3972380" y="1345624"/>
                  <a:pt x="3973971" y="1345624"/>
                </a:cubicBezTo>
                <a:cubicBezTo>
                  <a:pt x="4004195" y="1320171"/>
                  <a:pt x="4029647" y="1291540"/>
                  <a:pt x="4051918" y="1264497"/>
                </a:cubicBezTo>
                <a:close/>
                <a:moveTo>
                  <a:pt x="1899655" y="1258091"/>
                </a:moveTo>
                <a:cubicBezTo>
                  <a:pt x="1902837" y="1267637"/>
                  <a:pt x="1896473" y="1258091"/>
                  <a:pt x="1902837" y="1267637"/>
                </a:cubicBezTo>
                <a:lnTo>
                  <a:pt x="1890109" y="1267637"/>
                </a:lnTo>
                <a:lnTo>
                  <a:pt x="1886928" y="1262864"/>
                </a:lnTo>
                <a:close/>
                <a:moveTo>
                  <a:pt x="4400288" y="1248589"/>
                </a:moveTo>
                <a:cubicBezTo>
                  <a:pt x="4397107" y="1250180"/>
                  <a:pt x="4393925" y="1250180"/>
                  <a:pt x="4390744" y="1250180"/>
                </a:cubicBezTo>
                <a:cubicBezTo>
                  <a:pt x="4389153" y="1251770"/>
                  <a:pt x="4389153" y="1254952"/>
                  <a:pt x="4387562" y="1256543"/>
                </a:cubicBezTo>
                <a:cubicBezTo>
                  <a:pt x="4384381" y="1261316"/>
                  <a:pt x="4384381" y="1267679"/>
                  <a:pt x="4387562" y="1274041"/>
                </a:cubicBezTo>
                <a:cubicBezTo>
                  <a:pt x="4392334" y="1267679"/>
                  <a:pt x="4397107" y="1258134"/>
                  <a:pt x="4400288" y="1248589"/>
                </a:cubicBezTo>
                <a:close/>
                <a:moveTo>
                  <a:pt x="2004642" y="1245361"/>
                </a:moveTo>
                <a:lnTo>
                  <a:pt x="2004642" y="1250134"/>
                </a:lnTo>
                <a:lnTo>
                  <a:pt x="2007823" y="1248543"/>
                </a:lnTo>
                <a:close/>
                <a:moveTo>
                  <a:pt x="316874" y="1238996"/>
                </a:moveTo>
                <a:cubicBezTo>
                  <a:pt x="312102" y="1237405"/>
                  <a:pt x="310512" y="1237405"/>
                  <a:pt x="308921" y="1240586"/>
                </a:cubicBezTo>
                <a:cubicBezTo>
                  <a:pt x="313693" y="1308988"/>
                  <a:pt x="428226" y="1293081"/>
                  <a:pt x="498218" y="1318533"/>
                </a:cubicBezTo>
                <a:cubicBezTo>
                  <a:pt x="515716" y="1329667"/>
                  <a:pt x="509353" y="1355119"/>
                  <a:pt x="502990" y="1380572"/>
                </a:cubicBezTo>
                <a:cubicBezTo>
                  <a:pt x="534806" y="1372618"/>
                  <a:pt x="523670" y="1315351"/>
                  <a:pt x="504581" y="1305807"/>
                </a:cubicBezTo>
                <a:cubicBezTo>
                  <a:pt x="436180" y="1280356"/>
                  <a:pt x="332782" y="1302625"/>
                  <a:pt x="316874" y="1238996"/>
                </a:cubicBezTo>
                <a:close/>
                <a:moveTo>
                  <a:pt x="2015777" y="1237408"/>
                </a:moveTo>
                <a:lnTo>
                  <a:pt x="2011005" y="1242180"/>
                </a:lnTo>
                <a:lnTo>
                  <a:pt x="2009414" y="1245361"/>
                </a:lnTo>
                <a:cubicBezTo>
                  <a:pt x="2014186" y="1245361"/>
                  <a:pt x="2015777" y="1245361"/>
                  <a:pt x="2014186" y="1242180"/>
                </a:cubicBezTo>
                <a:lnTo>
                  <a:pt x="2017368" y="1239000"/>
                </a:lnTo>
                <a:close/>
                <a:moveTo>
                  <a:pt x="1630821" y="1232633"/>
                </a:moveTo>
                <a:lnTo>
                  <a:pt x="1637184" y="1237405"/>
                </a:lnTo>
                <a:lnTo>
                  <a:pt x="1630821" y="1240587"/>
                </a:lnTo>
                <a:close/>
                <a:moveTo>
                  <a:pt x="4071006" y="1231093"/>
                </a:moveTo>
                <a:cubicBezTo>
                  <a:pt x="4072597" y="1232683"/>
                  <a:pt x="4072597" y="1235865"/>
                  <a:pt x="4072597" y="1239045"/>
                </a:cubicBezTo>
                <a:cubicBezTo>
                  <a:pt x="4074188" y="1235865"/>
                  <a:pt x="4075778" y="1234273"/>
                  <a:pt x="4077369" y="1231093"/>
                </a:cubicBezTo>
                <a:cubicBezTo>
                  <a:pt x="4074188" y="1231093"/>
                  <a:pt x="4072597" y="1231093"/>
                  <a:pt x="4071006" y="1231093"/>
                </a:cubicBezTo>
                <a:close/>
                <a:moveTo>
                  <a:pt x="2007823" y="1229454"/>
                </a:moveTo>
                <a:cubicBezTo>
                  <a:pt x="2009414" y="1232636"/>
                  <a:pt x="2007823" y="1229454"/>
                  <a:pt x="2009414" y="1232636"/>
                </a:cubicBezTo>
                <a:lnTo>
                  <a:pt x="2006233" y="1234227"/>
                </a:lnTo>
                <a:lnTo>
                  <a:pt x="2004642" y="1232636"/>
                </a:lnTo>
                <a:cubicBezTo>
                  <a:pt x="2003052" y="1234227"/>
                  <a:pt x="2003052" y="1235818"/>
                  <a:pt x="2001461" y="1237408"/>
                </a:cubicBezTo>
                <a:lnTo>
                  <a:pt x="2003052" y="1237408"/>
                </a:lnTo>
                <a:lnTo>
                  <a:pt x="2004642" y="1237408"/>
                </a:lnTo>
                <a:lnTo>
                  <a:pt x="2006233" y="1234227"/>
                </a:lnTo>
                <a:cubicBezTo>
                  <a:pt x="2011005" y="1234227"/>
                  <a:pt x="2009414" y="1234227"/>
                  <a:pt x="2011005" y="1229454"/>
                </a:cubicBezTo>
                <a:close/>
                <a:moveTo>
                  <a:pt x="2020549" y="1224683"/>
                </a:moveTo>
                <a:lnTo>
                  <a:pt x="2020549" y="1226273"/>
                </a:lnTo>
                <a:lnTo>
                  <a:pt x="2018959" y="1226273"/>
                </a:lnTo>
                <a:cubicBezTo>
                  <a:pt x="2018959" y="1224683"/>
                  <a:pt x="2018959" y="1226273"/>
                  <a:pt x="2020549" y="1224683"/>
                </a:cubicBezTo>
                <a:close/>
                <a:moveTo>
                  <a:pt x="1931468" y="1221501"/>
                </a:moveTo>
                <a:cubicBezTo>
                  <a:pt x="1921923" y="1226273"/>
                  <a:pt x="1925105" y="1221501"/>
                  <a:pt x="1918742" y="1227864"/>
                </a:cubicBezTo>
                <a:cubicBezTo>
                  <a:pt x="1928287" y="1231046"/>
                  <a:pt x="1918742" y="1227864"/>
                  <a:pt x="1928287" y="1234227"/>
                </a:cubicBezTo>
                <a:cubicBezTo>
                  <a:pt x="1931468" y="1229454"/>
                  <a:pt x="1931468" y="1235818"/>
                  <a:pt x="1931468" y="1227864"/>
                </a:cubicBezTo>
                <a:close/>
                <a:moveTo>
                  <a:pt x="2015777" y="1219910"/>
                </a:moveTo>
                <a:lnTo>
                  <a:pt x="2017368" y="1221501"/>
                </a:lnTo>
                <a:lnTo>
                  <a:pt x="2015777" y="1223092"/>
                </a:lnTo>
                <a:cubicBezTo>
                  <a:pt x="2017368" y="1223092"/>
                  <a:pt x="2017368" y="1221501"/>
                  <a:pt x="2017368" y="1223092"/>
                </a:cubicBezTo>
                <a:cubicBezTo>
                  <a:pt x="2017368" y="1224683"/>
                  <a:pt x="2017368" y="1223092"/>
                  <a:pt x="2015777" y="1224683"/>
                </a:cubicBezTo>
                <a:cubicBezTo>
                  <a:pt x="2017368" y="1224683"/>
                  <a:pt x="2017368" y="1223092"/>
                  <a:pt x="2017368" y="1224683"/>
                </a:cubicBezTo>
                <a:cubicBezTo>
                  <a:pt x="2017368" y="1227864"/>
                  <a:pt x="2017368" y="1226273"/>
                  <a:pt x="2015777" y="1227864"/>
                </a:cubicBezTo>
                <a:lnTo>
                  <a:pt x="2020549" y="1227864"/>
                </a:lnTo>
                <a:lnTo>
                  <a:pt x="2020549" y="1226273"/>
                </a:lnTo>
                <a:cubicBezTo>
                  <a:pt x="2023731" y="1224683"/>
                  <a:pt x="2023731" y="1226273"/>
                  <a:pt x="2025323" y="1223092"/>
                </a:cubicBezTo>
                <a:lnTo>
                  <a:pt x="2018959" y="1221501"/>
                </a:lnTo>
                <a:lnTo>
                  <a:pt x="2017368" y="1219910"/>
                </a:lnTo>
                <a:close/>
                <a:moveTo>
                  <a:pt x="2049183" y="1197640"/>
                </a:moveTo>
                <a:lnTo>
                  <a:pt x="2047592" y="1199231"/>
                </a:lnTo>
                <a:lnTo>
                  <a:pt x="2050773" y="1199231"/>
                </a:lnTo>
                <a:close/>
                <a:moveTo>
                  <a:pt x="2050773" y="1191277"/>
                </a:moveTo>
                <a:lnTo>
                  <a:pt x="2052364" y="1192868"/>
                </a:lnTo>
                <a:lnTo>
                  <a:pt x="2053955" y="1191277"/>
                </a:lnTo>
                <a:close/>
                <a:moveTo>
                  <a:pt x="2033275" y="1191277"/>
                </a:moveTo>
                <a:cubicBezTo>
                  <a:pt x="2034866" y="1192868"/>
                  <a:pt x="2034866" y="1192868"/>
                  <a:pt x="2034866" y="1192868"/>
                </a:cubicBezTo>
                <a:cubicBezTo>
                  <a:pt x="2034866" y="1192868"/>
                  <a:pt x="2034866" y="1194459"/>
                  <a:pt x="2036456" y="1194459"/>
                </a:cubicBezTo>
                <a:cubicBezTo>
                  <a:pt x="2036456" y="1194459"/>
                  <a:pt x="2036456" y="1194459"/>
                  <a:pt x="2036456" y="1191277"/>
                </a:cubicBezTo>
                <a:close/>
                <a:moveTo>
                  <a:pt x="2055546" y="1184914"/>
                </a:moveTo>
                <a:cubicBezTo>
                  <a:pt x="2055546" y="1189686"/>
                  <a:pt x="2057136" y="1188096"/>
                  <a:pt x="2057136" y="1188096"/>
                </a:cubicBezTo>
                <a:cubicBezTo>
                  <a:pt x="2057136" y="1184914"/>
                  <a:pt x="2058727" y="1188096"/>
                  <a:pt x="2055546" y="1184914"/>
                </a:cubicBezTo>
                <a:close/>
                <a:moveTo>
                  <a:pt x="2623438" y="1183371"/>
                </a:moveTo>
                <a:cubicBezTo>
                  <a:pt x="2604349" y="1202458"/>
                  <a:pt x="2582080" y="1218366"/>
                  <a:pt x="2564580" y="1242227"/>
                </a:cubicBezTo>
                <a:lnTo>
                  <a:pt x="2590032" y="1285176"/>
                </a:lnTo>
                <a:cubicBezTo>
                  <a:pt x="2597986" y="1246998"/>
                  <a:pt x="2612303" y="1215185"/>
                  <a:pt x="2642527" y="1197688"/>
                </a:cubicBezTo>
                <a:cubicBezTo>
                  <a:pt x="2637755" y="1194505"/>
                  <a:pt x="2632982" y="1189734"/>
                  <a:pt x="2629801" y="1188143"/>
                </a:cubicBezTo>
                <a:cubicBezTo>
                  <a:pt x="2628210" y="1186552"/>
                  <a:pt x="2625028" y="1184962"/>
                  <a:pt x="2623438" y="1183371"/>
                </a:cubicBezTo>
                <a:close/>
                <a:moveTo>
                  <a:pt x="2073018" y="1181684"/>
                </a:moveTo>
                <a:lnTo>
                  <a:pt x="2073043" y="1181732"/>
                </a:lnTo>
                <a:lnTo>
                  <a:pt x="2072984" y="1181732"/>
                </a:lnTo>
                <a:close/>
                <a:moveTo>
                  <a:pt x="2063499" y="1180142"/>
                </a:moveTo>
                <a:cubicBezTo>
                  <a:pt x="2060318" y="1180142"/>
                  <a:pt x="2061909" y="1180142"/>
                  <a:pt x="2060318" y="1181732"/>
                </a:cubicBezTo>
                <a:lnTo>
                  <a:pt x="2057136" y="1181732"/>
                </a:lnTo>
                <a:lnTo>
                  <a:pt x="2058727" y="1183323"/>
                </a:lnTo>
                <a:lnTo>
                  <a:pt x="2060318" y="1181732"/>
                </a:lnTo>
                <a:cubicBezTo>
                  <a:pt x="2065090" y="1181732"/>
                  <a:pt x="2061909" y="1183323"/>
                  <a:pt x="2063499" y="1180142"/>
                </a:cubicBezTo>
                <a:close/>
                <a:moveTo>
                  <a:pt x="2057136" y="1180142"/>
                </a:moveTo>
                <a:cubicBezTo>
                  <a:pt x="2053955" y="1180142"/>
                  <a:pt x="2053955" y="1180142"/>
                  <a:pt x="2053955" y="1183323"/>
                </a:cubicBezTo>
                <a:lnTo>
                  <a:pt x="2055546" y="1181732"/>
                </a:lnTo>
                <a:close/>
                <a:moveTo>
                  <a:pt x="2042819" y="1180142"/>
                </a:moveTo>
                <a:lnTo>
                  <a:pt x="2042819" y="1181732"/>
                </a:lnTo>
                <a:lnTo>
                  <a:pt x="2044410" y="1180142"/>
                </a:lnTo>
                <a:close/>
                <a:moveTo>
                  <a:pt x="1738990" y="1176971"/>
                </a:moveTo>
                <a:cubicBezTo>
                  <a:pt x="1738990" y="1176971"/>
                  <a:pt x="1743762" y="1180152"/>
                  <a:pt x="1745353" y="1181742"/>
                </a:cubicBezTo>
                <a:lnTo>
                  <a:pt x="1742173" y="1191288"/>
                </a:lnTo>
                <a:cubicBezTo>
                  <a:pt x="1737399" y="1194469"/>
                  <a:pt x="1737399" y="1196060"/>
                  <a:pt x="1732627" y="1196060"/>
                </a:cubicBezTo>
                <a:cubicBezTo>
                  <a:pt x="1731037" y="1196060"/>
                  <a:pt x="1726265" y="1192878"/>
                  <a:pt x="1724673" y="1191288"/>
                </a:cubicBezTo>
                <a:lnTo>
                  <a:pt x="1727855" y="1180152"/>
                </a:lnTo>
                <a:cubicBezTo>
                  <a:pt x="1734218" y="1178561"/>
                  <a:pt x="1732627" y="1176971"/>
                  <a:pt x="1738990" y="1176971"/>
                </a:cubicBezTo>
                <a:close/>
                <a:moveTo>
                  <a:pt x="2058727" y="1173779"/>
                </a:moveTo>
                <a:lnTo>
                  <a:pt x="2057136" y="1175370"/>
                </a:lnTo>
                <a:cubicBezTo>
                  <a:pt x="2058727" y="1178551"/>
                  <a:pt x="2057136" y="1175370"/>
                  <a:pt x="2057136" y="1176961"/>
                </a:cubicBezTo>
                <a:lnTo>
                  <a:pt x="2060318" y="1176961"/>
                </a:lnTo>
                <a:cubicBezTo>
                  <a:pt x="2058727" y="1175370"/>
                  <a:pt x="2058727" y="1176961"/>
                  <a:pt x="2058727" y="1173779"/>
                </a:cubicBezTo>
                <a:close/>
                <a:moveTo>
                  <a:pt x="2052364" y="1173779"/>
                </a:moveTo>
                <a:lnTo>
                  <a:pt x="2050773" y="1175370"/>
                </a:lnTo>
                <a:cubicBezTo>
                  <a:pt x="2052364" y="1178551"/>
                  <a:pt x="2050773" y="1175370"/>
                  <a:pt x="2049183" y="1176961"/>
                </a:cubicBezTo>
                <a:lnTo>
                  <a:pt x="2052364" y="1176961"/>
                </a:lnTo>
                <a:lnTo>
                  <a:pt x="2053955" y="1176961"/>
                </a:lnTo>
                <a:cubicBezTo>
                  <a:pt x="2052364" y="1175370"/>
                  <a:pt x="2052364" y="1176961"/>
                  <a:pt x="2052364" y="1173779"/>
                </a:cubicBezTo>
                <a:close/>
                <a:moveTo>
                  <a:pt x="2028503" y="1173779"/>
                </a:moveTo>
                <a:lnTo>
                  <a:pt x="2026912" y="1175370"/>
                </a:lnTo>
                <a:lnTo>
                  <a:pt x="2026912" y="1176961"/>
                </a:lnTo>
                <a:lnTo>
                  <a:pt x="2025323" y="1178551"/>
                </a:lnTo>
                <a:lnTo>
                  <a:pt x="2028503" y="1178551"/>
                </a:lnTo>
                <a:close/>
                <a:moveTo>
                  <a:pt x="1925105" y="1173779"/>
                </a:moveTo>
                <a:cubicBezTo>
                  <a:pt x="1921923" y="1173779"/>
                  <a:pt x="1921923" y="1173779"/>
                  <a:pt x="1921923" y="1175370"/>
                </a:cubicBezTo>
                <a:cubicBezTo>
                  <a:pt x="1921923" y="1178551"/>
                  <a:pt x="1921923" y="1175370"/>
                  <a:pt x="1920333" y="1176961"/>
                </a:cubicBezTo>
                <a:cubicBezTo>
                  <a:pt x="1921923" y="1180142"/>
                  <a:pt x="1918742" y="1178551"/>
                  <a:pt x="1921923" y="1180142"/>
                </a:cubicBezTo>
                <a:lnTo>
                  <a:pt x="1921923" y="1176961"/>
                </a:lnTo>
                <a:cubicBezTo>
                  <a:pt x="1923514" y="1176961"/>
                  <a:pt x="1925105" y="1176961"/>
                  <a:pt x="1925105" y="1175370"/>
                </a:cubicBezTo>
                <a:cubicBezTo>
                  <a:pt x="1925105" y="1175370"/>
                  <a:pt x="1925105" y="1173779"/>
                  <a:pt x="1925105" y="1173779"/>
                </a:cubicBezTo>
                <a:close/>
                <a:moveTo>
                  <a:pt x="2073043" y="1167416"/>
                </a:moveTo>
                <a:lnTo>
                  <a:pt x="2069862" y="1169007"/>
                </a:lnTo>
                <a:lnTo>
                  <a:pt x="2071453" y="1170598"/>
                </a:lnTo>
                <a:cubicBezTo>
                  <a:pt x="2071453" y="1173779"/>
                  <a:pt x="2073043" y="1170598"/>
                  <a:pt x="2071453" y="1173779"/>
                </a:cubicBezTo>
                <a:cubicBezTo>
                  <a:pt x="2073043" y="1173779"/>
                  <a:pt x="2074634" y="1173779"/>
                  <a:pt x="2074634" y="1170598"/>
                </a:cubicBezTo>
                <a:cubicBezTo>
                  <a:pt x="2074634" y="1169007"/>
                  <a:pt x="2073043" y="1169007"/>
                  <a:pt x="2073043" y="1167416"/>
                </a:cubicBezTo>
                <a:close/>
                <a:moveTo>
                  <a:pt x="2057136" y="1167416"/>
                </a:moveTo>
                <a:lnTo>
                  <a:pt x="2058727" y="1169007"/>
                </a:lnTo>
                <a:lnTo>
                  <a:pt x="2060318" y="1167416"/>
                </a:lnTo>
                <a:close/>
                <a:moveTo>
                  <a:pt x="1928287" y="1167416"/>
                </a:moveTo>
                <a:lnTo>
                  <a:pt x="1926697" y="1169007"/>
                </a:lnTo>
                <a:lnTo>
                  <a:pt x="1928287" y="1170598"/>
                </a:lnTo>
                <a:close/>
                <a:moveTo>
                  <a:pt x="2034867" y="1165827"/>
                </a:moveTo>
                <a:lnTo>
                  <a:pt x="2038048" y="1165827"/>
                </a:lnTo>
                <a:lnTo>
                  <a:pt x="2036458" y="1167418"/>
                </a:lnTo>
                <a:close/>
                <a:moveTo>
                  <a:pt x="1689678" y="1165824"/>
                </a:moveTo>
                <a:lnTo>
                  <a:pt x="1696041" y="1165824"/>
                </a:lnTo>
                <a:lnTo>
                  <a:pt x="1694450" y="1170597"/>
                </a:lnTo>
                <a:close/>
                <a:moveTo>
                  <a:pt x="1921923" y="1164235"/>
                </a:moveTo>
                <a:lnTo>
                  <a:pt x="1918742" y="1165825"/>
                </a:lnTo>
                <a:lnTo>
                  <a:pt x="1920333" y="1167416"/>
                </a:lnTo>
                <a:cubicBezTo>
                  <a:pt x="1920333" y="1169007"/>
                  <a:pt x="1920333" y="1167416"/>
                  <a:pt x="1921923" y="1169007"/>
                </a:cubicBezTo>
                <a:close/>
                <a:moveTo>
                  <a:pt x="1933060" y="1162644"/>
                </a:moveTo>
                <a:lnTo>
                  <a:pt x="1933060" y="1164235"/>
                </a:lnTo>
                <a:lnTo>
                  <a:pt x="1933060" y="1165825"/>
                </a:lnTo>
                <a:lnTo>
                  <a:pt x="1936241" y="1165825"/>
                </a:lnTo>
                <a:cubicBezTo>
                  <a:pt x="1934650" y="1164235"/>
                  <a:pt x="1934650" y="1165825"/>
                  <a:pt x="1936241" y="1164235"/>
                </a:cubicBezTo>
                <a:lnTo>
                  <a:pt x="1934650" y="1162644"/>
                </a:lnTo>
                <a:close/>
                <a:moveTo>
                  <a:pt x="2039640" y="1161056"/>
                </a:moveTo>
                <a:cubicBezTo>
                  <a:pt x="2042821" y="1162647"/>
                  <a:pt x="2041231" y="1161056"/>
                  <a:pt x="2042821" y="1161056"/>
                </a:cubicBezTo>
                <a:cubicBezTo>
                  <a:pt x="2041231" y="1164238"/>
                  <a:pt x="2041231" y="1164238"/>
                  <a:pt x="2038049" y="1165828"/>
                </a:cubicBezTo>
                <a:cubicBezTo>
                  <a:pt x="2038049" y="1162647"/>
                  <a:pt x="2039640" y="1165828"/>
                  <a:pt x="2038049" y="1162647"/>
                </a:cubicBezTo>
                <a:close/>
                <a:moveTo>
                  <a:pt x="1948966" y="1161053"/>
                </a:moveTo>
                <a:lnTo>
                  <a:pt x="1947375" y="1162644"/>
                </a:lnTo>
                <a:lnTo>
                  <a:pt x="1948966" y="1164235"/>
                </a:lnTo>
                <a:close/>
                <a:moveTo>
                  <a:pt x="1926697" y="1161053"/>
                </a:moveTo>
                <a:lnTo>
                  <a:pt x="1926697" y="1162644"/>
                </a:lnTo>
                <a:lnTo>
                  <a:pt x="1928287" y="1161053"/>
                </a:lnTo>
                <a:close/>
                <a:moveTo>
                  <a:pt x="2061511" y="1160854"/>
                </a:moveTo>
                <a:cubicBezTo>
                  <a:pt x="2061511" y="1160656"/>
                  <a:pt x="2061113" y="1161053"/>
                  <a:pt x="2060318" y="1161053"/>
                </a:cubicBezTo>
                <a:cubicBezTo>
                  <a:pt x="2058727" y="1161053"/>
                  <a:pt x="2058727" y="1162644"/>
                  <a:pt x="2060318" y="1164235"/>
                </a:cubicBezTo>
                <a:cubicBezTo>
                  <a:pt x="2061113" y="1161848"/>
                  <a:pt x="2061511" y="1161053"/>
                  <a:pt x="2061511" y="1160854"/>
                </a:cubicBezTo>
                <a:close/>
                <a:moveTo>
                  <a:pt x="2578897" y="1159511"/>
                </a:moveTo>
                <a:cubicBezTo>
                  <a:pt x="2574125" y="1167464"/>
                  <a:pt x="2569353" y="1173828"/>
                  <a:pt x="2564580" y="1181780"/>
                </a:cubicBezTo>
                <a:cubicBezTo>
                  <a:pt x="2559809" y="1188143"/>
                  <a:pt x="2555037" y="1194505"/>
                  <a:pt x="2550264" y="1200870"/>
                </a:cubicBezTo>
                <a:cubicBezTo>
                  <a:pt x="2553446" y="1202458"/>
                  <a:pt x="2553446" y="1204050"/>
                  <a:pt x="2551856" y="1207232"/>
                </a:cubicBezTo>
                <a:cubicBezTo>
                  <a:pt x="2545492" y="1216776"/>
                  <a:pt x="2551856" y="1224728"/>
                  <a:pt x="2558218" y="1232683"/>
                </a:cubicBezTo>
                <a:cubicBezTo>
                  <a:pt x="2570943" y="1212004"/>
                  <a:pt x="2583670" y="1189734"/>
                  <a:pt x="2596395" y="1167464"/>
                </a:cubicBezTo>
                <a:cubicBezTo>
                  <a:pt x="2591623" y="1164284"/>
                  <a:pt x="2585260" y="1162693"/>
                  <a:pt x="2578897" y="1159511"/>
                </a:cubicBezTo>
                <a:close/>
                <a:moveTo>
                  <a:pt x="2025323" y="1156281"/>
                </a:moveTo>
                <a:lnTo>
                  <a:pt x="2023733" y="1159463"/>
                </a:lnTo>
                <a:lnTo>
                  <a:pt x="2022142" y="1161054"/>
                </a:lnTo>
                <a:cubicBezTo>
                  <a:pt x="2023733" y="1159463"/>
                  <a:pt x="2023733" y="1157872"/>
                  <a:pt x="2025323" y="1156281"/>
                </a:cubicBezTo>
                <a:close/>
                <a:moveTo>
                  <a:pt x="1533785" y="1154697"/>
                </a:moveTo>
                <a:lnTo>
                  <a:pt x="1540148" y="1157879"/>
                </a:lnTo>
                <a:lnTo>
                  <a:pt x="1535376" y="1162651"/>
                </a:lnTo>
                <a:lnTo>
                  <a:pt x="1532194" y="1159469"/>
                </a:lnTo>
                <a:close/>
                <a:moveTo>
                  <a:pt x="1948966" y="1154690"/>
                </a:moveTo>
                <a:lnTo>
                  <a:pt x="1947375" y="1156281"/>
                </a:lnTo>
                <a:lnTo>
                  <a:pt x="1948966" y="1157872"/>
                </a:lnTo>
                <a:close/>
                <a:moveTo>
                  <a:pt x="2054750" y="1153895"/>
                </a:moveTo>
                <a:lnTo>
                  <a:pt x="2055546" y="1154690"/>
                </a:lnTo>
                <a:lnTo>
                  <a:pt x="2053955" y="1154690"/>
                </a:lnTo>
                <a:close/>
                <a:moveTo>
                  <a:pt x="2050775" y="1151511"/>
                </a:moveTo>
                <a:lnTo>
                  <a:pt x="2049184" y="1156283"/>
                </a:lnTo>
                <a:lnTo>
                  <a:pt x="2047593" y="1154692"/>
                </a:lnTo>
                <a:cubicBezTo>
                  <a:pt x="2049184" y="1151511"/>
                  <a:pt x="2046001" y="1151511"/>
                  <a:pt x="2050775" y="1151511"/>
                </a:cubicBezTo>
                <a:close/>
                <a:moveTo>
                  <a:pt x="2053955" y="1151509"/>
                </a:moveTo>
                <a:cubicBezTo>
                  <a:pt x="2053955" y="1151509"/>
                  <a:pt x="2055546" y="1153099"/>
                  <a:pt x="2055546" y="1153099"/>
                </a:cubicBezTo>
                <a:lnTo>
                  <a:pt x="2054750" y="1153895"/>
                </a:lnTo>
                <a:lnTo>
                  <a:pt x="2053955" y="1153099"/>
                </a:lnTo>
                <a:close/>
                <a:moveTo>
                  <a:pt x="2038047" y="1151509"/>
                </a:moveTo>
                <a:lnTo>
                  <a:pt x="2038047" y="1153099"/>
                </a:lnTo>
                <a:lnTo>
                  <a:pt x="2039638" y="1153099"/>
                </a:lnTo>
                <a:lnTo>
                  <a:pt x="2039638" y="1151509"/>
                </a:lnTo>
                <a:close/>
                <a:moveTo>
                  <a:pt x="1697631" y="1149917"/>
                </a:moveTo>
                <a:lnTo>
                  <a:pt x="1705585" y="1151508"/>
                </a:lnTo>
                <a:lnTo>
                  <a:pt x="1700813" y="1154689"/>
                </a:lnTo>
                <a:close/>
                <a:moveTo>
                  <a:pt x="2076225" y="1148328"/>
                </a:moveTo>
                <a:cubicBezTo>
                  <a:pt x="2076225" y="1149919"/>
                  <a:pt x="2074634" y="1149919"/>
                  <a:pt x="2073043" y="1151509"/>
                </a:cubicBezTo>
                <a:cubicBezTo>
                  <a:pt x="2074634" y="1153099"/>
                  <a:pt x="2074634" y="1154690"/>
                  <a:pt x="2077816" y="1154690"/>
                </a:cubicBezTo>
                <a:lnTo>
                  <a:pt x="2077816" y="1153099"/>
                </a:lnTo>
                <a:lnTo>
                  <a:pt x="2077816" y="1151509"/>
                </a:lnTo>
                <a:lnTo>
                  <a:pt x="2080997" y="1151509"/>
                </a:lnTo>
                <a:lnTo>
                  <a:pt x="2080997" y="1148328"/>
                </a:lnTo>
                <a:close/>
                <a:moveTo>
                  <a:pt x="1955329" y="1146737"/>
                </a:moveTo>
                <a:lnTo>
                  <a:pt x="1953738" y="1148328"/>
                </a:lnTo>
                <a:cubicBezTo>
                  <a:pt x="1952147" y="1149919"/>
                  <a:pt x="1952147" y="1148328"/>
                  <a:pt x="1952147" y="1149919"/>
                </a:cubicBezTo>
                <a:lnTo>
                  <a:pt x="1953738" y="1149919"/>
                </a:lnTo>
                <a:lnTo>
                  <a:pt x="1953738" y="1148328"/>
                </a:lnTo>
                <a:lnTo>
                  <a:pt x="1955329" y="1148328"/>
                </a:lnTo>
                <a:close/>
                <a:moveTo>
                  <a:pt x="2055546" y="1145146"/>
                </a:moveTo>
                <a:lnTo>
                  <a:pt x="2055546" y="1146737"/>
                </a:lnTo>
                <a:lnTo>
                  <a:pt x="2052364" y="1146737"/>
                </a:lnTo>
                <a:cubicBezTo>
                  <a:pt x="2050773" y="1149919"/>
                  <a:pt x="2050773" y="1148328"/>
                  <a:pt x="2049183" y="1149919"/>
                </a:cubicBezTo>
                <a:lnTo>
                  <a:pt x="2047592" y="1149919"/>
                </a:lnTo>
                <a:lnTo>
                  <a:pt x="2042819" y="1153099"/>
                </a:lnTo>
                <a:cubicBezTo>
                  <a:pt x="2041229" y="1165825"/>
                  <a:pt x="2036456" y="1156281"/>
                  <a:pt x="2036456" y="1162644"/>
                </a:cubicBezTo>
                <a:cubicBezTo>
                  <a:pt x="2033275" y="1164235"/>
                  <a:pt x="2033275" y="1162644"/>
                  <a:pt x="2033275" y="1165825"/>
                </a:cubicBezTo>
                <a:cubicBezTo>
                  <a:pt x="2030095" y="1165825"/>
                  <a:pt x="2031685" y="1165825"/>
                  <a:pt x="2030095" y="1167416"/>
                </a:cubicBezTo>
                <a:cubicBezTo>
                  <a:pt x="2031685" y="1167416"/>
                  <a:pt x="2031685" y="1167416"/>
                  <a:pt x="2031685" y="1167416"/>
                </a:cubicBezTo>
                <a:cubicBezTo>
                  <a:pt x="2031685" y="1167416"/>
                  <a:pt x="2033275" y="1169007"/>
                  <a:pt x="2033275" y="1169007"/>
                </a:cubicBezTo>
                <a:lnTo>
                  <a:pt x="2033275" y="1172189"/>
                </a:lnTo>
                <a:cubicBezTo>
                  <a:pt x="2031685" y="1172984"/>
                  <a:pt x="2030889" y="1172984"/>
                  <a:pt x="2030491" y="1173182"/>
                </a:cubicBezTo>
                <a:lnTo>
                  <a:pt x="2030383" y="1173779"/>
                </a:lnTo>
                <a:lnTo>
                  <a:pt x="2030095" y="1175370"/>
                </a:lnTo>
                <a:lnTo>
                  <a:pt x="2038047" y="1175370"/>
                </a:lnTo>
                <a:lnTo>
                  <a:pt x="2042819" y="1173779"/>
                </a:lnTo>
                <a:lnTo>
                  <a:pt x="2041229" y="1172189"/>
                </a:lnTo>
                <a:lnTo>
                  <a:pt x="2042819" y="1172189"/>
                </a:lnTo>
                <a:lnTo>
                  <a:pt x="2041231" y="1170599"/>
                </a:lnTo>
                <a:lnTo>
                  <a:pt x="2042821" y="1169008"/>
                </a:lnTo>
                <a:lnTo>
                  <a:pt x="2046003" y="1170599"/>
                </a:lnTo>
                <a:lnTo>
                  <a:pt x="2044413" y="1172189"/>
                </a:lnTo>
                <a:lnTo>
                  <a:pt x="2047592" y="1172189"/>
                </a:lnTo>
                <a:lnTo>
                  <a:pt x="2050773" y="1170598"/>
                </a:lnTo>
                <a:lnTo>
                  <a:pt x="2047592" y="1167416"/>
                </a:lnTo>
                <a:lnTo>
                  <a:pt x="2049183" y="1167416"/>
                </a:lnTo>
                <a:lnTo>
                  <a:pt x="2050773" y="1169007"/>
                </a:lnTo>
                <a:cubicBezTo>
                  <a:pt x="2052364" y="1169007"/>
                  <a:pt x="2050773" y="1169007"/>
                  <a:pt x="2052364" y="1169007"/>
                </a:cubicBezTo>
                <a:lnTo>
                  <a:pt x="2053955" y="1167416"/>
                </a:lnTo>
                <a:lnTo>
                  <a:pt x="2053955" y="1165828"/>
                </a:lnTo>
                <a:lnTo>
                  <a:pt x="2049184" y="1164237"/>
                </a:lnTo>
                <a:lnTo>
                  <a:pt x="2049184" y="1162646"/>
                </a:lnTo>
                <a:cubicBezTo>
                  <a:pt x="2052365" y="1164237"/>
                  <a:pt x="2050775" y="1162646"/>
                  <a:pt x="2052365" y="1162646"/>
                </a:cubicBezTo>
                <a:cubicBezTo>
                  <a:pt x="2053161" y="1163442"/>
                  <a:pt x="2053558" y="1163442"/>
                  <a:pt x="2053756" y="1163641"/>
                </a:cubicBezTo>
                <a:lnTo>
                  <a:pt x="2053955" y="1165825"/>
                </a:lnTo>
                <a:lnTo>
                  <a:pt x="2057136" y="1164235"/>
                </a:lnTo>
                <a:cubicBezTo>
                  <a:pt x="2055546" y="1162644"/>
                  <a:pt x="2055546" y="1164235"/>
                  <a:pt x="2057136" y="1162644"/>
                </a:cubicBezTo>
                <a:cubicBezTo>
                  <a:pt x="2055546" y="1161053"/>
                  <a:pt x="2055546" y="1164235"/>
                  <a:pt x="2055546" y="1161053"/>
                </a:cubicBezTo>
                <a:lnTo>
                  <a:pt x="2055546" y="1159462"/>
                </a:lnTo>
                <a:cubicBezTo>
                  <a:pt x="2055546" y="1157872"/>
                  <a:pt x="2053955" y="1159462"/>
                  <a:pt x="2055546" y="1157872"/>
                </a:cubicBezTo>
                <a:lnTo>
                  <a:pt x="2053955" y="1156281"/>
                </a:lnTo>
                <a:lnTo>
                  <a:pt x="2055546" y="1154690"/>
                </a:lnTo>
                <a:lnTo>
                  <a:pt x="2057136" y="1154690"/>
                </a:lnTo>
                <a:lnTo>
                  <a:pt x="2060318" y="1154690"/>
                </a:lnTo>
                <a:lnTo>
                  <a:pt x="2058727" y="1153099"/>
                </a:lnTo>
                <a:lnTo>
                  <a:pt x="2060318" y="1149919"/>
                </a:lnTo>
                <a:lnTo>
                  <a:pt x="2061909" y="1148328"/>
                </a:lnTo>
                <a:lnTo>
                  <a:pt x="2058727" y="1146737"/>
                </a:lnTo>
                <a:lnTo>
                  <a:pt x="2053955" y="1151509"/>
                </a:lnTo>
                <a:lnTo>
                  <a:pt x="2053955" y="1149919"/>
                </a:lnTo>
                <a:lnTo>
                  <a:pt x="2055546" y="1148328"/>
                </a:lnTo>
                <a:lnTo>
                  <a:pt x="2057136" y="1145146"/>
                </a:lnTo>
                <a:close/>
                <a:moveTo>
                  <a:pt x="4101230" y="1142014"/>
                </a:moveTo>
                <a:cubicBezTo>
                  <a:pt x="4090095" y="1162693"/>
                  <a:pt x="4077369" y="1181780"/>
                  <a:pt x="4064643" y="1200870"/>
                </a:cubicBezTo>
                <a:cubicBezTo>
                  <a:pt x="4072597" y="1197688"/>
                  <a:pt x="4080551" y="1194505"/>
                  <a:pt x="4093276" y="1205641"/>
                </a:cubicBezTo>
                <a:cubicBezTo>
                  <a:pt x="4102821" y="1191325"/>
                  <a:pt x="4110775" y="1177009"/>
                  <a:pt x="4117138" y="1162693"/>
                </a:cubicBezTo>
                <a:close/>
                <a:moveTo>
                  <a:pt x="2540719" y="1140423"/>
                </a:moveTo>
                <a:cubicBezTo>
                  <a:pt x="2540719" y="1140423"/>
                  <a:pt x="2539129" y="1140423"/>
                  <a:pt x="2539129" y="1142014"/>
                </a:cubicBezTo>
                <a:cubicBezTo>
                  <a:pt x="2539129" y="1143604"/>
                  <a:pt x="2537538" y="1145195"/>
                  <a:pt x="2537538" y="1146785"/>
                </a:cubicBezTo>
                <a:cubicBezTo>
                  <a:pt x="2537538" y="1145195"/>
                  <a:pt x="2539129" y="1142014"/>
                  <a:pt x="2540719" y="1140423"/>
                </a:cubicBezTo>
                <a:close/>
                <a:moveTo>
                  <a:pt x="2061909" y="1140374"/>
                </a:moveTo>
                <a:lnTo>
                  <a:pt x="2063499" y="1141965"/>
                </a:lnTo>
                <a:lnTo>
                  <a:pt x="2060318" y="1141965"/>
                </a:lnTo>
                <a:cubicBezTo>
                  <a:pt x="2061909" y="1141965"/>
                  <a:pt x="2061909" y="1143555"/>
                  <a:pt x="2063499" y="1143555"/>
                </a:cubicBezTo>
                <a:cubicBezTo>
                  <a:pt x="2065090" y="1143555"/>
                  <a:pt x="2065090" y="1143555"/>
                  <a:pt x="2066681" y="1143555"/>
                </a:cubicBezTo>
                <a:lnTo>
                  <a:pt x="2066681" y="1140374"/>
                </a:lnTo>
                <a:close/>
                <a:moveTo>
                  <a:pt x="1797847" y="1140374"/>
                </a:moveTo>
                <a:cubicBezTo>
                  <a:pt x="1799437" y="1141965"/>
                  <a:pt x="1799437" y="1141965"/>
                  <a:pt x="1801028" y="1141965"/>
                </a:cubicBezTo>
                <a:cubicBezTo>
                  <a:pt x="1801028" y="1143555"/>
                  <a:pt x="1801028" y="1143555"/>
                  <a:pt x="1802619" y="1146738"/>
                </a:cubicBezTo>
                <a:lnTo>
                  <a:pt x="1794666" y="1146738"/>
                </a:lnTo>
                <a:close/>
                <a:moveTo>
                  <a:pt x="2074634" y="1137192"/>
                </a:moveTo>
                <a:lnTo>
                  <a:pt x="2074634" y="1140374"/>
                </a:lnTo>
                <a:lnTo>
                  <a:pt x="2076225" y="1141965"/>
                </a:lnTo>
                <a:cubicBezTo>
                  <a:pt x="2076225" y="1143555"/>
                  <a:pt x="2076225" y="1141965"/>
                  <a:pt x="2076225" y="1143555"/>
                </a:cubicBezTo>
                <a:lnTo>
                  <a:pt x="2071453" y="1146737"/>
                </a:lnTo>
                <a:lnTo>
                  <a:pt x="2074634" y="1148328"/>
                </a:lnTo>
                <a:cubicBezTo>
                  <a:pt x="2076225" y="1146737"/>
                  <a:pt x="2076225" y="1146737"/>
                  <a:pt x="2076225" y="1145146"/>
                </a:cubicBezTo>
                <a:lnTo>
                  <a:pt x="2085770" y="1145146"/>
                </a:lnTo>
                <a:cubicBezTo>
                  <a:pt x="2084179" y="1141965"/>
                  <a:pt x="2087360" y="1141965"/>
                  <a:pt x="2084179" y="1140374"/>
                </a:cubicBezTo>
                <a:cubicBezTo>
                  <a:pt x="2082588" y="1143555"/>
                  <a:pt x="2084179" y="1140374"/>
                  <a:pt x="2082588" y="1143555"/>
                </a:cubicBezTo>
                <a:lnTo>
                  <a:pt x="2079406" y="1143555"/>
                </a:lnTo>
                <a:lnTo>
                  <a:pt x="2079406" y="1140374"/>
                </a:lnTo>
                <a:lnTo>
                  <a:pt x="2082588" y="1137192"/>
                </a:lnTo>
                <a:lnTo>
                  <a:pt x="2080997" y="1137192"/>
                </a:lnTo>
                <a:cubicBezTo>
                  <a:pt x="2079406" y="1138783"/>
                  <a:pt x="2079406" y="1137192"/>
                  <a:pt x="2079406" y="1140374"/>
                </a:cubicBezTo>
                <a:lnTo>
                  <a:pt x="2076225" y="1138783"/>
                </a:lnTo>
                <a:lnTo>
                  <a:pt x="2077816" y="1137192"/>
                </a:lnTo>
                <a:close/>
                <a:moveTo>
                  <a:pt x="2069862" y="1137192"/>
                </a:moveTo>
                <a:lnTo>
                  <a:pt x="2069862" y="1140374"/>
                </a:lnTo>
                <a:cubicBezTo>
                  <a:pt x="2069862" y="1141965"/>
                  <a:pt x="2069862" y="1140374"/>
                  <a:pt x="2071453" y="1141965"/>
                </a:cubicBezTo>
                <a:cubicBezTo>
                  <a:pt x="2071453" y="1138783"/>
                  <a:pt x="2069862" y="1141965"/>
                  <a:pt x="2071453" y="1138783"/>
                </a:cubicBezTo>
                <a:close/>
                <a:moveTo>
                  <a:pt x="2058727" y="1135601"/>
                </a:moveTo>
                <a:lnTo>
                  <a:pt x="2055546" y="1138783"/>
                </a:lnTo>
                <a:lnTo>
                  <a:pt x="2060318" y="1138783"/>
                </a:lnTo>
                <a:close/>
                <a:moveTo>
                  <a:pt x="2088951" y="1132420"/>
                </a:moveTo>
                <a:cubicBezTo>
                  <a:pt x="2084179" y="1132420"/>
                  <a:pt x="2085770" y="1134011"/>
                  <a:pt x="2082588" y="1135601"/>
                </a:cubicBezTo>
                <a:lnTo>
                  <a:pt x="2084179" y="1137192"/>
                </a:lnTo>
                <a:lnTo>
                  <a:pt x="2085770" y="1135601"/>
                </a:lnTo>
                <a:lnTo>
                  <a:pt x="2085770" y="1134011"/>
                </a:lnTo>
                <a:close/>
                <a:moveTo>
                  <a:pt x="2053955" y="1130829"/>
                </a:moveTo>
                <a:lnTo>
                  <a:pt x="2053955" y="1134011"/>
                </a:lnTo>
                <a:lnTo>
                  <a:pt x="2055546" y="1132420"/>
                </a:lnTo>
                <a:close/>
                <a:moveTo>
                  <a:pt x="1980781" y="1130829"/>
                </a:moveTo>
                <a:lnTo>
                  <a:pt x="1977599" y="1132420"/>
                </a:lnTo>
                <a:lnTo>
                  <a:pt x="1979190" y="1134011"/>
                </a:lnTo>
                <a:cubicBezTo>
                  <a:pt x="1979190" y="1137192"/>
                  <a:pt x="1980781" y="1134011"/>
                  <a:pt x="1979190" y="1137192"/>
                </a:cubicBezTo>
                <a:lnTo>
                  <a:pt x="1982371" y="1138783"/>
                </a:lnTo>
                <a:cubicBezTo>
                  <a:pt x="1983962" y="1135601"/>
                  <a:pt x="1982371" y="1138783"/>
                  <a:pt x="1983962" y="1135601"/>
                </a:cubicBezTo>
                <a:lnTo>
                  <a:pt x="1980781" y="1135601"/>
                </a:lnTo>
                <a:close/>
                <a:moveTo>
                  <a:pt x="2004642" y="1129238"/>
                </a:moveTo>
                <a:lnTo>
                  <a:pt x="2004642" y="1130829"/>
                </a:lnTo>
                <a:lnTo>
                  <a:pt x="2006233" y="1130829"/>
                </a:lnTo>
                <a:close/>
                <a:moveTo>
                  <a:pt x="2103268" y="1127648"/>
                </a:moveTo>
                <a:lnTo>
                  <a:pt x="2098495" y="1130829"/>
                </a:lnTo>
                <a:lnTo>
                  <a:pt x="2095314" y="1129238"/>
                </a:lnTo>
                <a:cubicBezTo>
                  <a:pt x="2093723" y="1129238"/>
                  <a:pt x="2093723" y="1130829"/>
                  <a:pt x="2093723" y="1130829"/>
                </a:cubicBezTo>
                <a:cubicBezTo>
                  <a:pt x="2093723" y="1132420"/>
                  <a:pt x="2093723" y="1130829"/>
                  <a:pt x="2095314" y="1132420"/>
                </a:cubicBezTo>
                <a:cubicBezTo>
                  <a:pt x="2092133" y="1134011"/>
                  <a:pt x="2093723" y="1132420"/>
                  <a:pt x="2092133" y="1135601"/>
                </a:cubicBezTo>
                <a:lnTo>
                  <a:pt x="2092133" y="1137192"/>
                </a:lnTo>
                <a:lnTo>
                  <a:pt x="2092133" y="1138783"/>
                </a:lnTo>
                <a:lnTo>
                  <a:pt x="2088951" y="1138783"/>
                </a:lnTo>
                <a:lnTo>
                  <a:pt x="2090542" y="1140374"/>
                </a:lnTo>
                <a:lnTo>
                  <a:pt x="2087360" y="1140374"/>
                </a:lnTo>
                <a:cubicBezTo>
                  <a:pt x="2087360" y="1143555"/>
                  <a:pt x="2087360" y="1141965"/>
                  <a:pt x="2085770" y="1143555"/>
                </a:cubicBezTo>
                <a:lnTo>
                  <a:pt x="2087360" y="1145146"/>
                </a:lnTo>
                <a:cubicBezTo>
                  <a:pt x="2088951" y="1141965"/>
                  <a:pt x="2092133" y="1140374"/>
                  <a:pt x="2093723" y="1138783"/>
                </a:cubicBezTo>
                <a:lnTo>
                  <a:pt x="2096905" y="1137192"/>
                </a:lnTo>
                <a:lnTo>
                  <a:pt x="2095314" y="1137192"/>
                </a:lnTo>
                <a:lnTo>
                  <a:pt x="2095314" y="1132420"/>
                </a:lnTo>
                <a:lnTo>
                  <a:pt x="2098495" y="1130829"/>
                </a:lnTo>
                <a:lnTo>
                  <a:pt x="2098495" y="1134011"/>
                </a:lnTo>
                <a:lnTo>
                  <a:pt x="2100086" y="1132420"/>
                </a:lnTo>
                <a:cubicBezTo>
                  <a:pt x="2098495" y="1129238"/>
                  <a:pt x="2100086" y="1132420"/>
                  <a:pt x="2103268" y="1130829"/>
                </a:cubicBezTo>
                <a:lnTo>
                  <a:pt x="2104858" y="1129238"/>
                </a:lnTo>
                <a:close/>
                <a:moveTo>
                  <a:pt x="1968056" y="1127648"/>
                </a:moveTo>
                <a:cubicBezTo>
                  <a:pt x="1969646" y="1129238"/>
                  <a:pt x="1969646" y="1127648"/>
                  <a:pt x="1969646" y="1129238"/>
                </a:cubicBezTo>
                <a:lnTo>
                  <a:pt x="1969646" y="1130829"/>
                </a:lnTo>
                <a:cubicBezTo>
                  <a:pt x="1966465" y="1132420"/>
                  <a:pt x="1964874" y="1134011"/>
                  <a:pt x="1964874" y="1135601"/>
                </a:cubicBezTo>
                <a:lnTo>
                  <a:pt x="1968056" y="1137192"/>
                </a:lnTo>
                <a:lnTo>
                  <a:pt x="1964874" y="1138783"/>
                </a:lnTo>
                <a:lnTo>
                  <a:pt x="1964874" y="1140374"/>
                </a:lnTo>
                <a:cubicBezTo>
                  <a:pt x="1964874" y="1141965"/>
                  <a:pt x="1964874" y="1140374"/>
                  <a:pt x="1963284" y="1141965"/>
                </a:cubicBezTo>
                <a:cubicBezTo>
                  <a:pt x="1964874" y="1145146"/>
                  <a:pt x="1961692" y="1145146"/>
                  <a:pt x="1966465" y="1145146"/>
                </a:cubicBezTo>
                <a:lnTo>
                  <a:pt x="1966465" y="1143555"/>
                </a:lnTo>
                <a:lnTo>
                  <a:pt x="1966465" y="1141965"/>
                </a:lnTo>
                <a:lnTo>
                  <a:pt x="1968056" y="1140374"/>
                </a:lnTo>
                <a:lnTo>
                  <a:pt x="1966465" y="1138783"/>
                </a:lnTo>
                <a:lnTo>
                  <a:pt x="1969646" y="1138783"/>
                </a:lnTo>
                <a:cubicBezTo>
                  <a:pt x="1968056" y="1137192"/>
                  <a:pt x="1968056" y="1137192"/>
                  <a:pt x="1968056" y="1135601"/>
                </a:cubicBezTo>
                <a:lnTo>
                  <a:pt x="1968056" y="1132420"/>
                </a:lnTo>
                <a:cubicBezTo>
                  <a:pt x="1969646" y="1132420"/>
                  <a:pt x="1969646" y="1132420"/>
                  <a:pt x="1971237" y="1130829"/>
                </a:cubicBezTo>
                <a:lnTo>
                  <a:pt x="1969646" y="1129238"/>
                </a:lnTo>
                <a:lnTo>
                  <a:pt x="1969646" y="1127648"/>
                </a:lnTo>
                <a:close/>
                <a:moveTo>
                  <a:pt x="2106449" y="1126057"/>
                </a:moveTo>
                <a:lnTo>
                  <a:pt x="2106449" y="1129238"/>
                </a:lnTo>
                <a:cubicBezTo>
                  <a:pt x="2108040" y="1127648"/>
                  <a:pt x="2108040" y="1130829"/>
                  <a:pt x="2108040" y="1127648"/>
                </a:cubicBezTo>
                <a:cubicBezTo>
                  <a:pt x="2108040" y="1126057"/>
                  <a:pt x="2108040" y="1126057"/>
                  <a:pt x="2108040" y="1126057"/>
                </a:cubicBezTo>
                <a:cubicBezTo>
                  <a:pt x="2108040" y="1126057"/>
                  <a:pt x="2108040" y="1126057"/>
                  <a:pt x="2106449" y="1126057"/>
                </a:cubicBezTo>
                <a:close/>
                <a:moveTo>
                  <a:pt x="1963284" y="1126057"/>
                </a:moveTo>
                <a:lnTo>
                  <a:pt x="1963284" y="1127648"/>
                </a:lnTo>
                <a:lnTo>
                  <a:pt x="1964874" y="1126057"/>
                </a:lnTo>
                <a:close/>
                <a:moveTo>
                  <a:pt x="1767623" y="1126057"/>
                </a:moveTo>
                <a:lnTo>
                  <a:pt x="1767623" y="1132420"/>
                </a:lnTo>
                <a:lnTo>
                  <a:pt x="1762852" y="1130829"/>
                </a:lnTo>
                <a:close/>
                <a:moveTo>
                  <a:pt x="1501971" y="1126056"/>
                </a:moveTo>
                <a:lnTo>
                  <a:pt x="1511515" y="1127647"/>
                </a:lnTo>
                <a:lnTo>
                  <a:pt x="1508333" y="1132418"/>
                </a:lnTo>
                <a:close/>
                <a:moveTo>
                  <a:pt x="1982371" y="1124466"/>
                </a:moveTo>
                <a:lnTo>
                  <a:pt x="1983962" y="1126057"/>
                </a:lnTo>
                <a:lnTo>
                  <a:pt x="1985553" y="1124466"/>
                </a:lnTo>
                <a:close/>
                <a:moveTo>
                  <a:pt x="1977599" y="1124466"/>
                </a:moveTo>
                <a:cubicBezTo>
                  <a:pt x="1974418" y="1126057"/>
                  <a:pt x="1974418" y="1126057"/>
                  <a:pt x="1974418" y="1129238"/>
                </a:cubicBezTo>
                <a:cubicBezTo>
                  <a:pt x="1979190" y="1129238"/>
                  <a:pt x="1976009" y="1129238"/>
                  <a:pt x="1979190" y="1127648"/>
                </a:cubicBezTo>
                <a:cubicBezTo>
                  <a:pt x="1977599" y="1127648"/>
                  <a:pt x="1977599" y="1124466"/>
                  <a:pt x="1977599" y="1124466"/>
                </a:cubicBezTo>
                <a:close/>
                <a:moveTo>
                  <a:pt x="2095314" y="1122876"/>
                </a:moveTo>
                <a:cubicBezTo>
                  <a:pt x="2092133" y="1122876"/>
                  <a:pt x="2093723" y="1122876"/>
                  <a:pt x="2092133" y="1124466"/>
                </a:cubicBezTo>
                <a:lnTo>
                  <a:pt x="2093723" y="1126057"/>
                </a:lnTo>
                <a:close/>
                <a:moveTo>
                  <a:pt x="2115994" y="1121285"/>
                </a:moveTo>
                <a:lnTo>
                  <a:pt x="2115994" y="1122876"/>
                </a:lnTo>
                <a:lnTo>
                  <a:pt x="2115198" y="1122080"/>
                </a:lnTo>
                <a:close/>
                <a:moveTo>
                  <a:pt x="4066234" y="1119744"/>
                </a:moveTo>
                <a:cubicBezTo>
                  <a:pt x="4058280" y="1130879"/>
                  <a:pt x="4048736" y="1143604"/>
                  <a:pt x="4039192" y="1154739"/>
                </a:cubicBezTo>
                <a:cubicBezTo>
                  <a:pt x="4039192" y="1162693"/>
                  <a:pt x="4040782" y="1170647"/>
                  <a:pt x="4042373" y="1178599"/>
                </a:cubicBezTo>
                <a:cubicBezTo>
                  <a:pt x="4055099" y="1161102"/>
                  <a:pt x="4066234" y="1142014"/>
                  <a:pt x="4077369" y="1121335"/>
                </a:cubicBezTo>
                <a:cubicBezTo>
                  <a:pt x="4077369" y="1121335"/>
                  <a:pt x="4077369" y="1119744"/>
                  <a:pt x="4077369" y="1119744"/>
                </a:cubicBezTo>
                <a:cubicBezTo>
                  <a:pt x="4072597" y="1118154"/>
                  <a:pt x="4069415" y="1118154"/>
                  <a:pt x="4066234" y="1119744"/>
                </a:cubicBezTo>
                <a:close/>
                <a:moveTo>
                  <a:pt x="1753307" y="1118115"/>
                </a:moveTo>
                <a:lnTo>
                  <a:pt x="1750124" y="1122887"/>
                </a:lnTo>
                <a:cubicBezTo>
                  <a:pt x="1753307" y="1126069"/>
                  <a:pt x="1753307" y="1118115"/>
                  <a:pt x="1753307" y="1127660"/>
                </a:cubicBezTo>
                <a:cubicBezTo>
                  <a:pt x="1753307" y="1129250"/>
                  <a:pt x="1753307" y="1129250"/>
                  <a:pt x="1750124" y="1129250"/>
                </a:cubicBezTo>
                <a:cubicBezTo>
                  <a:pt x="1750124" y="1130841"/>
                  <a:pt x="1751717" y="1132432"/>
                  <a:pt x="1751717" y="1132432"/>
                </a:cubicBezTo>
                <a:cubicBezTo>
                  <a:pt x="1751717" y="1132432"/>
                  <a:pt x="1750124" y="1132432"/>
                  <a:pt x="1750124" y="1134023"/>
                </a:cubicBezTo>
                <a:cubicBezTo>
                  <a:pt x="1743761" y="1135614"/>
                  <a:pt x="1748534" y="1132432"/>
                  <a:pt x="1742171" y="1135614"/>
                </a:cubicBezTo>
                <a:cubicBezTo>
                  <a:pt x="1738990" y="1129250"/>
                  <a:pt x="1737399" y="1130841"/>
                  <a:pt x="1738990" y="1122887"/>
                </a:cubicBezTo>
                <a:cubicBezTo>
                  <a:pt x="1750124" y="1119706"/>
                  <a:pt x="1740580" y="1119706"/>
                  <a:pt x="1753307" y="1118115"/>
                </a:cubicBezTo>
                <a:close/>
                <a:moveTo>
                  <a:pt x="1963284" y="1118104"/>
                </a:moveTo>
                <a:lnTo>
                  <a:pt x="1964874" y="1124466"/>
                </a:lnTo>
                <a:lnTo>
                  <a:pt x="1968056" y="1124466"/>
                </a:lnTo>
                <a:lnTo>
                  <a:pt x="1968056" y="1121285"/>
                </a:lnTo>
                <a:lnTo>
                  <a:pt x="1964874" y="1121285"/>
                </a:lnTo>
                <a:cubicBezTo>
                  <a:pt x="1964874" y="1119695"/>
                  <a:pt x="1964874" y="1121285"/>
                  <a:pt x="1963284" y="1118104"/>
                </a:cubicBezTo>
                <a:close/>
                <a:moveTo>
                  <a:pt x="1769214" y="1116514"/>
                </a:moveTo>
                <a:lnTo>
                  <a:pt x="1769214" y="1121286"/>
                </a:lnTo>
                <a:lnTo>
                  <a:pt x="1764442" y="1118105"/>
                </a:lnTo>
                <a:close/>
                <a:moveTo>
                  <a:pt x="1988736" y="1116513"/>
                </a:moveTo>
                <a:lnTo>
                  <a:pt x="1988736" y="1119695"/>
                </a:lnTo>
                <a:lnTo>
                  <a:pt x="1990325" y="1118104"/>
                </a:lnTo>
                <a:close/>
                <a:moveTo>
                  <a:pt x="2004642" y="1114922"/>
                </a:moveTo>
                <a:lnTo>
                  <a:pt x="2004642" y="1116513"/>
                </a:lnTo>
                <a:lnTo>
                  <a:pt x="2006233" y="1114922"/>
                </a:lnTo>
                <a:close/>
                <a:moveTo>
                  <a:pt x="1676952" y="1114918"/>
                </a:moveTo>
                <a:lnTo>
                  <a:pt x="1683315" y="1118100"/>
                </a:lnTo>
                <a:lnTo>
                  <a:pt x="1676952" y="1124463"/>
                </a:lnTo>
                <a:close/>
                <a:moveTo>
                  <a:pt x="2020549" y="1111741"/>
                </a:moveTo>
                <a:lnTo>
                  <a:pt x="2017368" y="1113331"/>
                </a:lnTo>
                <a:lnTo>
                  <a:pt x="2020549" y="1113331"/>
                </a:lnTo>
                <a:close/>
                <a:moveTo>
                  <a:pt x="1536966" y="1108567"/>
                </a:moveTo>
                <a:lnTo>
                  <a:pt x="1544920" y="1108567"/>
                </a:lnTo>
                <a:lnTo>
                  <a:pt x="1543329" y="1114930"/>
                </a:lnTo>
                <a:close/>
                <a:moveTo>
                  <a:pt x="1788304" y="1108560"/>
                </a:moveTo>
                <a:lnTo>
                  <a:pt x="1796256" y="1111741"/>
                </a:lnTo>
                <a:lnTo>
                  <a:pt x="1801029" y="1118104"/>
                </a:lnTo>
                <a:cubicBezTo>
                  <a:pt x="1794666" y="1122876"/>
                  <a:pt x="1794666" y="1121285"/>
                  <a:pt x="1791485" y="1127648"/>
                </a:cubicBezTo>
                <a:cubicBezTo>
                  <a:pt x="1780349" y="1127648"/>
                  <a:pt x="1785122" y="1126058"/>
                  <a:pt x="1775577" y="1119695"/>
                </a:cubicBezTo>
                <a:lnTo>
                  <a:pt x="1780349" y="1114923"/>
                </a:lnTo>
                <a:cubicBezTo>
                  <a:pt x="1780349" y="1113332"/>
                  <a:pt x="1778758" y="1111741"/>
                  <a:pt x="1778758" y="1111741"/>
                </a:cubicBezTo>
                <a:cubicBezTo>
                  <a:pt x="1778758" y="1111741"/>
                  <a:pt x="1780349" y="1111741"/>
                  <a:pt x="1780349" y="1110151"/>
                </a:cubicBezTo>
                <a:cubicBezTo>
                  <a:pt x="1786712" y="1108560"/>
                  <a:pt x="1781940" y="1111741"/>
                  <a:pt x="1788304" y="1108560"/>
                </a:cubicBezTo>
                <a:close/>
                <a:moveTo>
                  <a:pt x="2094042" y="1104742"/>
                </a:moveTo>
                <a:lnTo>
                  <a:pt x="2095314" y="1105377"/>
                </a:lnTo>
                <a:lnTo>
                  <a:pt x="2093723" y="1105377"/>
                </a:lnTo>
                <a:close/>
                <a:moveTo>
                  <a:pt x="1998279" y="1103787"/>
                </a:moveTo>
                <a:cubicBezTo>
                  <a:pt x="1995098" y="1105377"/>
                  <a:pt x="1996688" y="1102196"/>
                  <a:pt x="1995098" y="1105377"/>
                </a:cubicBezTo>
                <a:lnTo>
                  <a:pt x="1998279" y="1105377"/>
                </a:lnTo>
                <a:close/>
                <a:moveTo>
                  <a:pt x="1709164" y="1101599"/>
                </a:moveTo>
                <a:cubicBezTo>
                  <a:pt x="1710755" y="1101002"/>
                  <a:pt x="1712744" y="1102195"/>
                  <a:pt x="1715129" y="1103786"/>
                </a:cubicBezTo>
                <a:cubicBezTo>
                  <a:pt x="1716719" y="1106967"/>
                  <a:pt x="1718311" y="1106967"/>
                  <a:pt x="1715129" y="1111740"/>
                </a:cubicBezTo>
                <a:lnTo>
                  <a:pt x="1705585" y="1110149"/>
                </a:lnTo>
                <a:cubicBezTo>
                  <a:pt x="1706380" y="1104581"/>
                  <a:pt x="1707573" y="1102195"/>
                  <a:pt x="1709164" y="1101599"/>
                </a:cubicBezTo>
                <a:close/>
                <a:moveTo>
                  <a:pt x="1608551" y="1100614"/>
                </a:moveTo>
                <a:lnTo>
                  <a:pt x="1614913" y="1105386"/>
                </a:lnTo>
                <a:lnTo>
                  <a:pt x="1608551" y="1105386"/>
                </a:lnTo>
                <a:close/>
                <a:moveTo>
                  <a:pt x="2093723" y="1100605"/>
                </a:moveTo>
                <a:lnTo>
                  <a:pt x="2095314" y="1102196"/>
                </a:lnTo>
                <a:lnTo>
                  <a:pt x="2094042" y="1104742"/>
                </a:lnTo>
                <a:lnTo>
                  <a:pt x="2088951" y="1102196"/>
                </a:lnTo>
                <a:lnTo>
                  <a:pt x="2090542" y="1103787"/>
                </a:lnTo>
                <a:cubicBezTo>
                  <a:pt x="2090542" y="1105377"/>
                  <a:pt x="2090542" y="1110150"/>
                  <a:pt x="2092133" y="1111741"/>
                </a:cubicBezTo>
                <a:cubicBezTo>
                  <a:pt x="2092133" y="1108559"/>
                  <a:pt x="2093723" y="1108559"/>
                  <a:pt x="2095314" y="1106968"/>
                </a:cubicBezTo>
                <a:cubicBezTo>
                  <a:pt x="2093723" y="1105377"/>
                  <a:pt x="2093723" y="1106968"/>
                  <a:pt x="2095314" y="1105377"/>
                </a:cubicBezTo>
                <a:cubicBezTo>
                  <a:pt x="2098495" y="1105377"/>
                  <a:pt x="2095314" y="1106968"/>
                  <a:pt x="2098495" y="1105377"/>
                </a:cubicBezTo>
                <a:lnTo>
                  <a:pt x="2098495" y="1102196"/>
                </a:lnTo>
                <a:close/>
                <a:moveTo>
                  <a:pt x="2225755" y="1099067"/>
                </a:moveTo>
                <a:cubicBezTo>
                  <a:pt x="2200303" y="1122928"/>
                  <a:pt x="2185986" y="1165876"/>
                  <a:pt x="2155762" y="1186554"/>
                </a:cubicBezTo>
                <a:cubicBezTo>
                  <a:pt x="2160534" y="1151560"/>
                  <a:pt x="2211437" y="1103839"/>
                  <a:pt x="2225755" y="1099067"/>
                </a:cubicBezTo>
                <a:close/>
                <a:moveTo>
                  <a:pt x="1797849" y="1092652"/>
                </a:moveTo>
                <a:lnTo>
                  <a:pt x="1802620" y="1095834"/>
                </a:lnTo>
                <a:lnTo>
                  <a:pt x="1797849" y="1097425"/>
                </a:lnTo>
                <a:close/>
                <a:moveTo>
                  <a:pt x="1560828" y="1089478"/>
                </a:moveTo>
                <a:lnTo>
                  <a:pt x="1567191" y="1089478"/>
                </a:lnTo>
                <a:lnTo>
                  <a:pt x="1567191" y="1094251"/>
                </a:lnTo>
                <a:close/>
                <a:moveTo>
                  <a:pt x="1762852" y="1089470"/>
                </a:moveTo>
                <a:lnTo>
                  <a:pt x="1767623" y="1091061"/>
                </a:lnTo>
                <a:lnTo>
                  <a:pt x="1762852" y="1095833"/>
                </a:lnTo>
                <a:close/>
                <a:moveTo>
                  <a:pt x="2038047" y="1084698"/>
                </a:moveTo>
                <a:lnTo>
                  <a:pt x="2039638" y="1086289"/>
                </a:lnTo>
                <a:lnTo>
                  <a:pt x="2039638" y="1084698"/>
                </a:lnTo>
                <a:close/>
                <a:moveTo>
                  <a:pt x="1591052" y="1081525"/>
                </a:moveTo>
                <a:lnTo>
                  <a:pt x="1599005" y="1087888"/>
                </a:lnTo>
                <a:lnTo>
                  <a:pt x="1591052" y="1087888"/>
                </a:lnTo>
                <a:close/>
                <a:moveTo>
                  <a:pt x="4309616" y="1073615"/>
                </a:moveTo>
                <a:cubicBezTo>
                  <a:pt x="4285756" y="1092703"/>
                  <a:pt x="4261895" y="1114971"/>
                  <a:pt x="4241215" y="1140423"/>
                </a:cubicBezTo>
                <a:cubicBezTo>
                  <a:pt x="4242805" y="1140423"/>
                  <a:pt x="4244396" y="1140423"/>
                  <a:pt x="4247578" y="1140423"/>
                </a:cubicBezTo>
                <a:cubicBezTo>
                  <a:pt x="4236443" y="1154739"/>
                  <a:pt x="4226898" y="1169055"/>
                  <a:pt x="4218944" y="1184962"/>
                </a:cubicBezTo>
                <a:cubicBezTo>
                  <a:pt x="4255532" y="1151557"/>
                  <a:pt x="4292119" y="1114971"/>
                  <a:pt x="4327115" y="1081567"/>
                </a:cubicBezTo>
                <a:cubicBezTo>
                  <a:pt x="4320752" y="1078386"/>
                  <a:pt x="4315979" y="1075205"/>
                  <a:pt x="4309616" y="1073615"/>
                </a:cubicBezTo>
                <a:close/>
                <a:moveTo>
                  <a:pt x="2158944" y="1073563"/>
                </a:moveTo>
                <a:lnTo>
                  <a:pt x="2158944" y="1075153"/>
                </a:lnTo>
                <a:lnTo>
                  <a:pt x="2160534" y="1075153"/>
                </a:lnTo>
                <a:lnTo>
                  <a:pt x="2163715" y="1073563"/>
                </a:lnTo>
                <a:lnTo>
                  <a:pt x="2162125" y="1073563"/>
                </a:lnTo>
                <a:close/>
                <a:moveTo>
                  <a:pt x="1559237" y="1071980"/>
                </a:moveTo>
                <a:lnTo>
                  <a:pt x="1557646" y="1081524"/>
                </a:lnTo>
                <a:lnTo>
                  <a:pt x="1551283" y="1078342"/>
                </a:lnTo>
                <a:close/>
                <a:moveTo>
                  <a:pt x="4288937" y="1070433"/>
                </a:moveTo>
                <a:cubicBezTo>
                  <a:pt x="4282574" y="1079977"/>
                  <a:pt x="4276211" y="1089521"/>
                  <a:pt x="4269848" y="1100656"/>
                </a:cubicBezTo>
                <a:cubicBezTo>
                  <a:pt x="4279393" y="1091112"/>
                  <a:pt x="4290528" y="1083158"/>
                  <a:pt x="4300072" y="1073615"/>
                </a:cubicBezTo>
                <a:cubicBezTo>
                  <a:pt x="4296891" y="1073615"/>
                  <a:pt x="4295300" y="1073615"/>
                  <a:pt x="4293710" y="1075205"/>
                </a:cubicBezTo>
                <a:cubicBezTo>
                  <a:pt x="4292119" y="1073615"/>
                  <a:pt x="4290528" y="1072024"/>
                  <a:pt x="4288937" y="1070433"/>
                </a:cubicBezTo>
                <a:close/>
                <a:moveTo>
                  <a:pt x="1689678" y="1067199"/>
                </a:moveTo>
                <a:lnTo>
                  <a:pt x="1697631" y="1067199"/>
                </a:lnTo>
                <a:lnTo>
                  <a:pt x="1697631" y="1071971"/>
                </a:lnTo>
                <a:cubicBezTo>
                  <a:pt x="1691268" y="1070381"/>
                  <a:pt x="1694449" y="1071971"/>
                  <a:pt x="1689678" y="1067199"/>
                </a:cubicBezTo>
                <a:close/>
                <a:moveTo>
                  <a:pt x="2227345" y="1064073"/>
                </a:moveTo>
                <a:cubicBezTo>
                  <a:pt x="2170079" y="1114975"/>
                  <a:pt x="2115994" y="1170648"/>
                  <a:pt x="2093723" y="1280407"/>
                </a:cubicBezTo>
                <a:cubicBezTo>
                  <a:pt x="1944195" y="1542879"/>
                  <a:pt x="2114403" y="1800590"/>
                  <a:pt x="2193939" y="1961248"/>
                </a:cubicBezTo>
                <a:cubicBezTo>
                  <a:pt x="2003052" y="1787860"/>
                  <a:pt x="1913971" y="1336083"/>
                  <a:pt x="2158944" y="1099067"/>
                </a:cubicBezTo>
                <a:cubicBezTo>
                  <a:pt x="2182805" y="1091113"/>
                  <a:pt x="2208256" y="1062483"/>
                  <a:pt x="2227345" y="1064073"/>
                </a:cubicBezTo>
                <a:close/>
                <a:moveTo>
                  <a:pt x="2310063" y="1064071"/>
                </a:moveTo>
                <a:cubicBezTo>
                  <a:pt x="2287794" y="1105427"/>
                  <a:pt x="2265523" y="1148376"/>
                  <a:pt x="2240071" y="1180190"/>
                </a:cubicBezTo>
                <a:cubicBezTo>
                  <a:pt x="2252798" y="1181780"/>
                  <a:pt x="2265523" y="1183371"/>
                  <a:pt x="2278248" y="1183371"/>
                </a:cubicBezTo>
                <a:cubicBezTo>
                  <a:pt x="2283022" y="1177009"/>
                  <a:pt x="2287794" y="1170647"/>
                  <a:pt x="2292566" y="1164284"/>
                </a:cubicBezTo>
                <a:cubicBezTo>
                  <a:pt x="2290975" y="1156330"/>
                  <a:pt x="2289384" y="1149966"/>
                  <a:pt x="2295747" y="1148376"/>
                </a:cubicBezTo>
                <a:cubicBezTo>
                  <a:pt x="2298928" y="1146785"/>
                  <a:pt x="2300519" y="1145195"/>
                  <a:pt x="2303700" y="1143604"/>
                </a:cubicBezTo>
                <a:cubicBezTo>
                  <a:pt x="2310063" y="1130879"/>
                  <a:pt x="2316426" y="1119744"/>
                  <a:pt x="2322790" y="1107018"/>
                </a:cubicBezTo>
                <a:cubicBezTo>
                  <a:pt x="2322790" y="1095884"/>
                  <a:pt x="2321199" y="1084749"/>
                  <a:pt x="2314836" y="1075205"/>
                </a:cubicBezTo>
                <a:cubicBezTo>
                  <a:pt x="2313245" y="1072024"/>
                  <a:pt x="2311654" y="1067251"/>
                  <a:pt x="2310063" y="1064071"/>
                </a:cubicBezTo>
                <a:close/>
                <a:moveTo>
                  <a:pt x="1622867" y="1059255"/>
                </a:moveTo>
                <a:lnTo>
                  <a:pt x="1622867" y="1064027"/>
                </a:lnTo>
                <a:lnTo>
                  <a:pt x="1618095" y="1062437"/>
                </a:lnTo>
                <a:close/>
                <a:moveTo>
                  <a:pt x="2591623" y="1051345"/>
                </a:moveTo>
                <a:cubicBezTo>
                  <a:pt x="2580488" y="1052935"/>
                  <a:pt x="2567762" y="1056117"/>
                  <a:pt x="2556628" y="1057709"/>
                </a:cubicBezTo>
                <a:cubicBezTo>
                  <a:pt x="2550264" y="1068842"/>
                  <a:pt x="2543901" y="1081567"/>
                  <a:pt x="2537538" y="1092703"/>
                </a:cubicBezTo>
                <a:cubicBezTo>
                  <a:pt x="2543901" y="1084749"/>
                  <a:pt x="2548673" y="1073615"/>
                  <a:pt x="2558218" y="1070433"/>
                </a:cubicBezTo>
                <a:cubicBezTo>
                  <a:pt x="2562990" y="1076795"/>
                  <a:pt x="2564580" y="1084749"/>
                  <a:pt x="2556628" y="1089521"/>
                </a:cubicBezTo>
                <a:cubicBezTo>
                  <a:pt x="2551856" y="1092703"/>
                  <a:pt x="2537538" y="1094294"/>
                  <a:pt x="2543901" y="1105427"/>
                </a:cubicBezTo>
                <a:cubicBezTo>
                  <a:pt x="2545492" y="1108609"/>
                  <a:pt x="2550264" y="1118154"/>
                  <a:pt x="2548673" y="1122925"/>
                </a:cubicBezTo>
                <a:cubicBezTo>
                  <a:pt x="2548673" y="1124516"/>
                  <a:pt x="2550264" y="1124516"/>
                  <a:pt x="2550264" y="1124516"/>
                </a:cubicBezTo>
                <a:cubicBezTo>
                  <a:pt x="2564580" y="1100656"/>
                  <a:pt x="2578897" y="1076795"/>
                  <a:pt x="2591623" y="1051345"/>
                </a:cubicBezTo>
                <a:close/>
                <a:moveTo>
                  <a:pt x="517307" y="1049699"/>
                </a:moveTo>
                <a:cubicBezTo>
                  <a:pt x="549122" y="1122873"/>
                  <a:pt x="606388" y="1178548"/>
                  <a:pt x="693879" y="1216726"/>
                </a:cubicBezTo>
                <a:cubicBezTo>
                  <a:pt x="620704" y="1169004"/>
                  <a:pt x="565029" y="1111738"/>
                  <a:pt x="517307" y="1049699"/>
                </a:cubicBezTo>
                <a:close/>
                <a:moveTo>
                  <a:pt x="1635593" y="1043337"/>
                </a:moveTo>
                <a:lnTo>
                  <a:pt x="1635593" y="1048109"/>
                </a:lnTo>
                <a:lnTo>
                  <a:pt x="1630821" y="1048109"/>
                </a:lnTo>
                <a:close/>
                <a:moveTo>
                  <a:pt x="2292565" y="1038622"/>
                </a:moveTo>
                <a:cubicBezTo>
                  <a:pt x="2260751" y="1102249"/>
                  <a:pt x="2214619" y="1153152"/>
                  <a:pt x="2184395" y="1207234"/>
                </a:cubicBezTo>
                <a:cubicBezTo>
                  <a:pt x="2184395" y="1202463"/>
                  <a:pt x="2178032" y="1202463"/>
                  <a:pt x="2174851" y="1197690"/>
                </a:cubicBezTo>
                <a:cubicBezTo>
                  <a:pt x="2214619" y="1164286"/>
                  <a:pt x="2248024" y="1079980"/>
                  <a:pt x="2292565" y="1038622"/>
                </a:cubicBezTo>
                <a:close/>
                <a:moveTo>
                  <a:pt x="4370064" y="1037028"/>
                </a:moveTo>
                <a:cubicBezTo>
                  <a:pt x="4355748" y="1043392"/>
                  <a:pt x="4341431" y="1052935"/>
                  <a:pt x="4328705" y="1060889"/>
                </a:cubicBezTo>
                <a:cubicBezTo>
                  <a:pt x="4333477" y="1062480"/>
                  <a:pt x="4336658" y="1065661"/>
                  <a:pt x="4341431" y="1067251"/>
                </a:cubicBezTo>
                <a:cubicBezTo>
                  <a:pt x="4350976" y="1056117"/>
                  <a:pt x="4360519" y="1046573"/>
                  <a:pt x="4370064" y="1037028"/>
                </a:cubicBezTo>
                <a:close/>
                <a:moveTo>
                  <a:pt x="3294728" y="1027485"/>
                </a:moveTo>
                <a:cubicBezTo>
                  <a:pt x="3293137" y="1027485"/>
                  <a:pt x="3293137" y="1029075"/>
                  <a:pt x="3293137" y="1029075"/>
                </a:cubicBezTo>
                <a:cubicBezTo>
                  <a:pt x="3289955" y="1032256"/>
                  <a:pt x="3282001" y="1040210"/>
                  <a:pt x="3286774" y="1044982"/>
                </a:cubicBezTo>
                <a:cubicBezTo>
                  <a:pt x="3288365" y="1046573"/>
                  <a:pt x="3291546" y="1049754"/>
                  <a:pt x="3294728" y="1051345"/>
                </a:cubicBezTo>
                <a:cubicBezTo>
                  <a:pt x="3296318" y="1043392"/>
                  <a:pt x="3296318" y="1035438"/>
                  <a:pt x="3294728" y="1027485"/>
                </a:cubicBezTo>
                <a:close/>
                <a:moveTo>
                  <a:pt x="2259159" y="1022660"/>
                </a:moveTo>
                <a:lnTo>
                  <a:pt x="2259159" y="1024250"/>
                </a:lnTo>
                <a:lnTo>
                  <a:pt x="2260750" y="1022660"/>
                </a:lnTo>
                <a:close/>
                <a:moveTo>
                  <a:pt x="2270294" y="1021069"/>
                </a:moveTo>
                <a:lnTo>
                  <a:pt x="2273476" y="1021069"/>
                </a:lnTo>
                <a:cubicBezTo>
                  <a:pt x="2275066" y="1021069"/>
                  <a:pt x="2275066" y="1021069"/>
                  <a:pt x="2276657" y="1021069"/>
                </a:cubicBezTo>
                <a:cubicBezTo>
                  <a:pt x="2275066" y="1022660"/>
                  <a:pt x="2275066" y="1022660"/>
                  <a:pt x="2273476" y="1022660"/>
                </a:cubicBezTo>
                <a:cubicBezTo>
                  <a:pt x="2271885" y="1022660"/>
                  <a:pt x="2271885" y="1021069"/>
                  <a:pt x="2270294" y="1021069"/>
                </a:cubicBezTo>
                <a:close/>
                <a:moveTo>
                  <a:pt x="4343022" y="1017941"/>
                </a:moveTo>
                <a:cubicBezTo>
                  <a:pt x="4330296" y="1025894"/>
                  <a:pt x="4317570" y="1035438"/>
                  <a:pt x="4306435" y="1048163"/>
                </a:cubicBezTo>
                <a:cubicBezTo>
                  <a:pt x="4311207" y="1049754"/>
                  <a:pt x="4314389" y="1052935"/>
                  <a:pt x="4319161" y="1054526"/>
                </a:cubicBezTo>
                <a:cubicBezTo>
                  <a:pt x="4331886" y="1043392"/>
                  <a:pt x="4346203" y="1033847"/>
                  <a:pt x="4358929" y="1022713"/>
                </a:cubicBezTo>
                <a:cubicBezTo>
                  <a:pt x="4354157" y="1021123"/>
                  <a:pt x="4349385" y="1021123"/>
                  <a:pt x="4343022" y="1017941"/>
                </a:cubicBezTo>
                <a:close/>
                <a:moveTo>
                  <a:pt x="4249168" y="1016350"/>
                </a:moveTo>
                <a:cubicBezTo>
                  <a:pt x="4225307" y="1040210"/>
                  <a:pt x="4201447" y="1062480"/>
                  <a:pt x="4177585" y="1081567"/>
                </a:cubicBezTo>
                <a:lnTo>
                  <a:pt x="4175867" y="1083859"/>
                </a:lnTo>
                <a:lnTo>
                  <a:pt x="4167530" y="1091080"/>
                </a:lnTo>
                <a:lnTo>
                  <a:pt x="4163269" y="1092703"/>
                </a:lnTo>
                <a:cubicBezTo>
                  <a:pt x="4161678" y="1095884"/>
                  <a:pt x="4158497" y="1097475"/>
                  <a:pt x="4155315" y="1099065"/>
                </a:cubicBezTo>
                <a:cubicBezTo>
                  <a:pt x="4156906" y="1095884"/>
                  <a:pt x="4158497" y="1094294"/>
                  <a:pt x="4160088" y="1091112"/>
                </a:cubicBezTo>
                <a:cubicBezTo>
                  <a:pt x="4158497" y="1084749"/>
                  <a:pt x="4163269" y="1078386"/>
                  <a:pt x="4166451" y="1073615"/>
                </a:cubicBezTo>
                <a:cubicBezTo>
                  <a:pt x="4168041" y="1070433"/>
                  <a:pt x="4169632" y="1070433"/>
                  <a:pt x="4171223" y="1070433"/>
                </a:cubicBezTo>
                <a:cubicBezTo>
                  <a:pt x="4180767" y="1049754"/>
                  <a:pt x="4185539" y="1027485"/>
                  <a:pt x="4164860" y="1019532"/>
                </a:cubicBezTo>
                <a:cubicBezTo>
                  <a:pt x="4163269" y="1017941"/>
                  <a:pt x="4163269" y="1017941"/>
                  <a:pt x="4161678" y="1017941"/>
                </a:cubicBezTo>
                <a:cubicBezTo>
                  <a:pt x="4153724" y="1040210"/>
                  <a:pt x="4144181" y="1060889"/>
                  <a:pt x="4134636" y="1081567"/>
                </a:cubicBezTo>
                <a:cubicBezTo>
                  <a:pt x="4142590" y="1081567"/>
                  <a:pt x="4152134" y="1083158"/>
                  <a:pt x="4153724" y="1091112"/>
                </a:cubicBezTo>
                <a:cubicBezTo>
                  <a:pt x="4148952" y="1092703"/>
                  <a:pt x="4142590" y="1094294"/>
                  <a:pt x="4140999" y="1097475"/>
                </a:cubicBezTo>
                <a:cubicBezTo>
                  <a:pt x="4145771" y="1097475"/>
                  <a:pt x="4150543" y="1103837"/>
                  <a:pt x="4140999" y="1107018"/>
                </a:cubicBezTo>
                <a:cubicBezTo>
                  <a:pt x="4136227" y="1108609"/>
                  <a:pt x="4128273" y="1107018"/>
                  <a:pt x="4121909" y="1105427"/>
                </a:cubicBezTo>
                <a:cubicBezTo>
                  <a:pt x="4118728" y="1113381"/>
                  <a:pt x="4115547" y="1119744"/>
                  <a:pt x="4110775" y="1127697"/>
                </a:cubicBezTo>
                <a:cubicBezTo>
                  <a:pt x="4115547" y="1134061"/>
                  <a:pt x="4121909" y="1140423"/>
                  <a:pt x="4126682" y="1146785"/>
                </a:cubicBezTo>
                <a:cubicBezTo>
                  <a:pt x="4129863" y="1140423"/>
                  <a:pt x="4133045" y="1134061"/>
                  <a:pt x="4136227" y="1127697"/>
                </a:cubicBezTo>
                <a:cubicBezTo>
                  <a:pt x="4139806" y="1119346"/>
                  <a:pt x="4146766" y="1110399"/>
                  <a:pt x="4155813" y="1101227"/>
                </a:cubicBezTo>
                <a:lnTo>
                  <a:pt x="4167530" y="1091080"/>
                </a:lnTo>
                <a:lnTo>
                  <a:pt x="4171620" y="1089521"/>
                </a:lnTo>
                <a:lnTo>
                  <a:pt x="4175867" y="1083859"/>
                </a:lnTo>
                <a:lnTo>
                  <a:pt x="4187925" y="1073415"/>
                </a:lnTo>
                <a:cubicBezTo>
                  <a:pt x="4211786" y="1054923"/>
                  <a:pt x="4238829" y="1037028"/>
                  <a:pt x="4258713" y="1022713"/>
                </a:cubicBezTo>
                <a:cubicBezTo>
                  <a:pt x="4255532" y="1021123"/>
                  <a:pt x="4252350" y="1017941"/>
                  <a:pt x="4249168" y="1016350"/>
                </a:cubicBezTo>
                <a:close/>
                <a:moveTo>
                  <a:pt x="3261322" y="1013169"/>
                </a:moveTo>
                <a:lnTo>
                  <a:pt x="3261509" y="1013169"/>
                </a:lnTo>
                <a:lnTo>
                  <a:pt x="3261277" y="1013603"/>
                </a:lnTo>
                <a:close/>
                <a:moveTo>
                  <a:pt x="4315979" y="1009988"/>
                </a:moveTo>
                <a:cubicBezTo>
                  <a:pt x="4308026" y="1019532"/>
                  <a:pt x="4298481" y="1030666"/>
                  <a:pt x="4288937" y="1041801"/>
                </a:cubicBezTo>
                <a:cubicBezTo>
                  <a:pt x="4290528" y="1040210"/>
                  <a:pt x="4290528" y="1040210"/>
                  <a:pt x="4292119" y="1040210"/>
                </a:cubicBezTo>
                <a:cubicBezTo>
                  <a:pt x="4293710" y="1041801"/>
                  <a:pt x="4296891" y="1043392"/>
                  <a:pt x="4298481" y="1044982"/>
                </a:cubicBezTo>
                <a:cubicBezTo>
                  <a:pt x="4309616" y="1035438"/>
                  <a:pt x="4322342" y="1025894"/>
                  <a:pt x="4333477" y="1016350"/>
                </a:cubicBezTo>
                <a:cubicBezTo>
                  <a:pt x="4327115" y="1014759"/>
                  <a:pt x="4322342" y="1013169"/>
                  <a:pt x="4315979" y="1009988"/>
                </a:cubicBezTo>
                <a:close/>
                <a:moveTo>
                  <a:pt x="4379609" y="1006805"/>
                </a:moveTo>
                <a:cubicBezTo>
                  <a:pt x="4376427" y="1008396"/>
                  <a:pt x="4373246" y="1008396"/>
                  <a:pt x="4370064" y="1009988"/>
                </a:cubicBezTo>
                <a:cubicBezTo>
                  <a:pt x="4370064" y="1009988"/>
                  <a:pt x="4371655" y="1011578"/>
                  <a:pt x="4373246" y="1011578"/>
                </a:cubicBezTo>
                <a:cubicBezTo>
                  <a:pt x="4376427" y="1009988"/>
                  <a:pt x="4378018" y="1008396"/>
                  <a:pt x="4379609" y="1006805"/>
                </a:cubicBezTo>
                <a:close/>
                <a:moveTo>
                  <a:pt x="2408689" y="998853"/>
                </a:moveTo>
                <a:cubicBezTo>
                  <a:pt x="2388009" y="1037028"/>
                  <a:pt x="2368921" y="1073615"/>
                  <a:pt x="2348241" y="1110200"/>
                </a:cubicBezTo>
                <a:cubicBezTo>
                  <a:pt x="2349832" y="1113381"/>
                  <a:pt x="2351423" y="1116563"/>
                  <a:pt x="2353013" y="1121335"/>
                </a:cubicBezTo>
                <a:cubicBezTo>
                  <a:pt x="2370511" y="1105427"/>
                  <a:pt x="2378465" y="1078386"/>
                  <a:pt x="2380056" y="1067251"/>
                </a:cubicBezTo>
                <a:cubicBezTo>
                  <a:pt x="2384828" y="1041801"/>
                  <a:pt x="2395963" y="1024303"/>
                  <a:pt x="2413461" y="1014759"/>
                </a:cubicBezTo>
                <a:cubicBezTo>
                  <a:pt x="2410280" y="1008396"/>
                  <a:pt x="2408689" y="1003625"/>
                  <a:pt x="2408689" y="998853"/>
                </a:cubicBezTo>
                <a:close/>
                <a:moveTo>
                  <a:pt x="4099639" y="990899"/>
                </a:moveTo>
                <a:cubicBezTo>
                  <a:pt x="4099639" y="994080"/>
                  <a:pt x="4098048" y="995671"/>
                  <a:pt x="4096458" y="998853"/>
                </a:cubicBezTo>
                <a:cubicBezTo>
                  <a:pt x="4098048" y="995671"/>
                  <a:pt x="4101230" y="994080"/>
                  <a:pt x="4102821" y="992490"/>
                </a:cubicBezTo>
                <a:close/>
                <a:moveTo>
                  <a:pt x="2181213" y="990845"/>
                </a:moveTo>
                <a:lnTo>
                  <a:pt x="2181213" y="992436"/>
                </a:lnTo>
                <a:lnTo>
                  <a:pt x="2179623" y="992436"/>
                </a:lnTo>
                <a:close/>
                <a:moveTo>
                  <a:pt x="2176442" y="990050"/>
                </a:moveTo>
                <a:lnTo>
                  <a:pt x="2178032" y="990845"/>
                </a:lnTo>
                <a:lnTo>
                  <a:pt x="2178032" y="992436"/>
                </a:lnTo>
                <a:lnTo>
                  <a:pt x="2179623" y="992436"/>
                </a:lnTo>
                <a:cubicBezTo>
                  <a:pt x="2179623" y="994026"/>
                  <a:pt x="2179623" y="994026"/>
                  <a:pt x="2179623" y="994026"/>
                </a:cubicBezTo>
                <a:lnTo>
                  <a:pt x="2182010" y="993231"/>
                </a:lnTo>
                <a:lnTo>
                  <a:pt x="2179623" y="995617"/>
                </a:lnTo>
                <a:lnTo>
                  <a:pt x="2176442" y="995617"/>
                </a:lnTo>
                <a:cubicBezTo>
                  <a:pt x="2174851" y="995617"/>
                  <a:pt x="2176442" y="995617"/>
                  <a:pt x="2174851" y="995617"/>
                </a:cubicBezTo>
                <a:lnTo>
                  <a:pt x="2174851" y="995473"/>
                </a:lnTo>
                <a:lnTo>
                  <a:pt x="2178032" y="994026"/>
                </a:lnTo>
                <a:cubicBezTo>
                  <a:pt x="2176442" y="994026"/>
                  <a:pt x="2176442" y="994026"/>
                  <a:pt x="2176442" y="992436"/>
                </a:cubicBezTo>
                <a:close/>
                <a:moveTo>
                  <a:pt x="1802618" y="989256"/>
                </a:moveTo>
                <a:lnTo>
                  <a:pt x="1807391" y="994028"/>
                </a:lnTo>
                <a:lnTo>
                  <a:pt x="1799437" y="994028"/>
                </a:lnTo>
                <a:close/>
                <a:moveTo>
                  <a:pt x="2218066" y="988901"/>
                </a:moveTo>
                <a:lnTo>
                  <a:pt x="2218595" y="989254"/>
                </a:lnTo>
                <a:cubicBezTo>
                  <a:pt x="2218994" y="989652"/>
                  <a:pt x="2219391" y="990050"/>
                  <a:pt x="2220983" y="990845"/>
                </a:cubicBezTo>
                <a:lnTo>
                  <a:pt x="2216209" y="990845"/>
                </a:lnTo>
                <a:lnTo>
                  <a:pt x="2216209" y="989032"/>
                </a:lnTo>
                <a:close/>
                <a:moveTo>
                  <a:pt x="2259159" y="984482"/>
                </a:moveTo>
                <a:lnTo>
                  <a:pt x="2257570" y="986072"/>
                </a:lnTo>
                <a:lnTo>
                  <a:pt x="2259159" y="987663"/>
                </a:lnTo>
                <a:lnTo>
                  <a:pt x="2260750" y="986072"/>
                </a:lnTo>
                <a:cubicBezTo>
                  <a:pt x="2263932" y="986072"/>
                  <a:pt x="2263932" y="987663"/>
                  <a:pt x="2263932" y="984482"/>
                </a:cubicBezTo>
                <a:cubicBezTo>
                  <a:pt x="2260750" y="986072"/>
                  <a:pt x="2262342" y="984482"/>
                  <a:pt x="2260750" y="984482"/>
                </a:cubicBezTo>
                <a:close/>
                <a:moveTo>
                  <a:pt x="2201893" y="984482"/>
                </a:moveTo>
                <a:lnTo>
                  <a:pt x="2203484" y="986072"/>
                </a:lnTo>
                <a:lnTo>
                  <a:pt x="2203484" y="984482"/>
                </a:lnTo>
                <a:close/>
                <a:moveTo>
                  <a:pt x="2211437" y="982891"/>
                </a:moveTo>
                <a:cubicBezTo>
                  <a:pt x="2213028" y="984482"/>
                  <a:pt x="2213028" y="982891"/>
                  <a:pt x="2213028" y="986072"/>
                </a:cubicBezTo>
                <a:lnTo>
                  <a:pt x="2211437" y="987663"/>
                </a:lnTo>
                <a:lnTo>
                  <a:pt x="2213028" y="989254"/>
                </a:lnTo>
                <a:lnTo>
                  <a:pt x="2210004" y="987467"/>
                </a:lnTo>
                <a:lnTo>
                  <a:pt x="2210642" y="986669"/>
                </a:lnTo>
                <a:cubicBezTo>
                  <a:pt x="2211040" y="986471"/>
                  <a:pt x="2211437" y="986073"/>
                  <a:pt x="2211437" y="984482"/>
                </a:cubicBezTo>
                <a:close/>
                <a:moveTo>
                  <a:pt x="2248024" y="981300"/>
                </a:moveTo>
                <a:lnTo>
                  <a:pt x="2248529" y="982983"/>
                </a:lnTo>
                <a:lnTo>
                  <a:pt x="2248024" y="982891"/>
                </a:lnTo>
                <a:cubicBezTo>
                  <a:pt x="2248024" y="982096"/>
                  <a:pt x="2248423" y="982891"/>
                  <a:pt x="2248621" y="983289"/>
                </a:cubicBezTo>
                <a:lnTo>
                  <a:pt x="2248529" y="982983"/>
                </a:lnTo>
                <a:lnTo>
                  <a:pt x="2250211" y="983290"/>
                </a:lnTo>
                <a:cubicBezTo>
                  <a:pt x="2250410" y="983290"/>
                  <a:pt x="2250410" y="982891"/>
                  <a:pt x="2251205" y="981300"/>
                </a:cubicBezTo>
                <a:close/>
                <a:moveTo>
                  <a:pt x="2233708" y="981300"/>
                </a:moveTo>
                <a:lnTo>
                  <a:pt x="2230526" y="982891"/>
                </a:lnTo>
                <a:cubicBezTo>
                  <a:pt x="2235299" y="982891"/>
                  <a:pt x="2232118" y="981300"/>
                  <a:pt x="2233708" y="984482"/>
                </a:cubicBezTo>
                <a:lnTo>
                  <a:pt x="2236889" y="984482"/>
                </a:lnTo>
                <a:cubicBezTo>
                  <a:pt x="2235299" y="982891"/>
                  <a:pt x="2235299" y="982891"/>
                  <a:pt x="2233708" y="981300"/>
                </a:cubicBezTo>
                <a:close/>
                <a:moveTo>
                  <a:pt x="2270294" y="979709"/>
                </a:moveTo>
                <a:cubicBezTo>
                  <a:pt x="2268704" y="979709"/>
                  <a:pt x="2267113" y="979709"/>
                  <a:pt x="2267113" y="981300"/>
                </a:cubicBezTo>
                <a:cubicBezTo>
                  <a:pt x="2267113" y="984482"/>
                  <a:pt x="2270294" y="981300"/>
                  <a:pt x="2270294" y="982891"/>
                </a:cubicBezTo>
                <a:close/>
                <a:moveTo>
                  <a:pt x="2170079" y="979709"/>
                </a:moveTo>
                <a:lnTo>
                  <a:pt x="2170079" y="982891"/>
                </a:lnTo>
                <a:lnTo>
                  <a:pt x="2173260" y="979709"/>
                </a:lnTo>
                <a:close/>
                <a:moveTo>
                  <a:pt x="2194933" y="977523"/>
                </a:moveTo>
                <a:cubicBezTo>
                  <a:pt x="2194734" y="977323"/>
                  <a:pt x="2194734" y="977323"/>
                  <a:pt x="2193939" y="978118"/>
                </a:cubicBezTo>
                <a:lnTo>
                  <a:pt x="2195531" y="979709"/>
                </a:lnTo>
                <a:lnTo>
                  <a:pt x="2198711" y="979709"/>
                </a:lnTo>
                <a:cubicBezTo>
                  <a:pt x="2198711" y="979709"/>
                  <a:pt x="2197121" y="978118"/>
                  <a:pt x="2197121" y="978118"/>
                </a:cubicBezTo>
                <a:cubicBezTo>
                  <a:pt x="2195531" y="978118"/>
                  <a:pt x="2195132" y="977721"/>
                  <a:pt x="2194933" y="977523"/>
                </a:cubicBezTo>
                <a:close/>
                <a:moveTo>
                  <a:pt x="2205075" y="976528"/>
                </a:moveTo>
                <a:cubicBezTo>
                  <a:pt x="2206665" y="979709"/>
                  <a:pt x="2203484" y="978118"/>
                  <a:pt x="2206665" y="979709"/>
                </a:cubicBezTo>
                <a:cubicBezTo>
                  <a:pt x="2208256" y="976528"/>
                  <a:pt x="2206665" y="979709"/>
                  <a:pt x="2208256" y="976528"/>
                </a:cubicBezTo>
                <a:close/>
                <a:moveTo>
                  <a:pt x="2254387" y="973346"/>
                </a:moveTo>
                <a:lnTo>
                  <a:pt x="2255978" y="976528"/>
                </a:lnTo>
                <a:cubicBezTo>
                  <a:pt x="2260750" y="976528"/>
                  <a:pt x="2257570" y="974937"/>
                  <a:pt x="2262342" y="974937"/>
                </a:cubicBezTo>
                <a:cubicBezTo>
                  <a:pt x="2260750" y="971756"/>
                  <a:pt x="2259159" y="974937"/>
                  <a:pt x="2255978" y="973346"/>
                </a:cubicBezTo>
                <a:close/>
                <a:moveTo>
                  <a:pt x="2179623" y="973346"/>
                </a:moveTo>
                <a:lnTo>
                  <a:pt x="2184394" y="974937"/>
                </a:lnTo>
                <a:cubicBezTo>
                  <a:pt x="2182805" y="971756"/>
                  <a:pt x="2182805" y="974937"/>
                  <a:pt x="2179623" y="973346"/>
                </a:cubicBezTo>
                <a:close/>
                <a:moveTo>
                  <a:pt x="2195531" y="970165"/>
                </a:moveTo>
                <a:cubicBezTo>
                  <a:pt x="2193939" y="971756"/>
                  <a:pt x="2193939" y="971756"/>
                  <a:pt x="2193939" y="973346"/>
                </a:cubicBezTo>
                <a:cubicBezTo>
                  <a:pt x="2195531" y="973346"/>
                  <a:pt x="2197121" y="973346"/>
                  <a:pt x="2197121" y="973346"/>
                </a:cubicBezTo>
                <a:close/>
                <a:moveTo>
                  <a:pt x="2289384" y="966984"/>
                </a:moveTo>
                <a:lnTo>
                  <a:pt x="2287792" y="968575"/>
                </a:lnTo>
                <a:lnTo>
                  <a:pt x="2286202" y="968575"/>
                </a:lnTo>
                <a:cubicBezTo>
                  <a:pt x="2283020" y="968575"/>
                  <a:pt x="2286202" y="966984"/>
                  <a:pt x="2284611" y="968575"/>
                </a:cubicBezTo>
                <a:cubicBezTo>
                  <a:pt x="2283020" y="968575"/>
                  <a:pt x="2283020" y="970165"/>
                  <a:pt x="2283020" y="970165"/>
                </a:cubicBezTo>
                <a:lnTo>
                  <a:pt x="2286202" y="970165"/>
                </a:lnTo>
                <a:lnTo>
                  <a:pt x="2287792" y="968575"/>
                </a:lnTo>
                <a:lnTo>
                  <a:pt x="2287794" y="968575"/>
                </a:lnTo>
                <a:close/>
                <a:moveTo>
                  <a:pt x="1785123" y="966981"/>
                </a:moveTo>
                <a:cubicBezTo>
                  <a:pt x="1783532" y="978117"/>
                  <a:pt x="1786713" y="971754"/>
                  <a:pt x="1780350" y="976527"/>
                </a:cubicBezTo>
                <a:cubicBezTo>
                  <a:pt x="1780350" y="965390"/>
                  <a:pt x="1777169" y="971754"/>
                  <a:pt x="1785123" y="966981"/>
                </a:cubicBezTo>
                <a:close/>
                <a:moveTo>
                  <a:pt x="4128273" y="965448"/>
                </a:moveTo>
                <a:cubicBezTo>
                  <a:pt x="4125091" y="963857"/>
                  <a:pt x="4118728" y="965448"/>
                  <a:pt x="4121909" y="971811"/>
                </a:cubicBezTo>
                <a:cubicBezTo>
                  <a:pt x="4123500" y="968630"/>
                  <a:pt x="4126682" y="967039"/>
                  <a:pt x="4128273" y="965448"/>
                </a:cubicBezTo>
                <a:close/>
                <a:moveTo>
                  <a:pt x="1568782" y="965399"/>
                </a:moveTo>
                <a:lnTo>
                  <a:pt x="1568782" y="971763"/>
                </a:lnTo>
                <a:lnTo>
                  <a:pt x="1564010" y="968581"/>
                </a:lnTo>
                <a:close/>
                <a:moveTo>
                  <a:pt x="2310063" y="965393"/>
                </a:moveTo>
                <a:lnTo>
                  <a:pt x="2310063" y="968575"/>
                </a:lnTo>
                <a:lnTo>
                  <a:pt x="2313244" y="966984"/>
                </a:lnTo>
                <a:close/>
                <a:moveTo>
                  <a:pt x="2209847" y="963803"/>
                </a:moveTo>
                <a:lnTo>
                  <a:pt x="2206665" y="965393"/>
                </a:lnTo>
                <a:lnTo>
                  <a:pt x="2209847" y="968575"/>
                </a:lnTo>
                <a:lnTo>
                  <a:pt x="2211437" y="966984"/>
                </a:lnTo>
                <a:cubicBezTo>
                  <a:pt x="2209847" y="965393"/>
                  <a:pt x="2209847" y="966984"/>
                  <a:pt x="2211437" y="965393"/>
                </a:cubicBezTo>
                <a:close/>
                <a:moveTo>
                  <a:pt x="2244285" y="963246"/>
                </a:moveTo>
                <a:lnTo>
                  <a:pt x="2244842" y="963803"/>
                </a:lnTo>
                <a:lnTo>
                  <a:pt x="2243252" y="963803"/>
                </a:lnTo>
                <a:close/>
                <a:moveTo>
                  <a:pt x="2278248" y="962212"/>
                </a:moveTo>
                <a:cubicBezTo>
                  <a:pt x="2275066" y="962212"/>
                  <a:pt x="2278248" y="962212"/>
                  <a:pt x="2278248" y="963803"/>
                </a:cubicBezTo>
                <a:lnTo>
                  <a:pt x="2278248" y="965393"/>
                </a:lnTo>
                <a:cubicBezTo>
                  <a:pt x="2281430" y="966984"/>
                  <a:pt x="2279839" y="966984"/>
                  <a:pt x="2283020" y="968575"/>
                </a:cubicBezTo>
                <a:cubicBezTo>
                  <a:pt x="2283020" y="968575"/>
                  <a:pt x="2284611" y="966984"/>
                  <a:pt x="2284611" y="966984"/>
                </a:cubicBezTo>
                <a:cubicBezTo>
                  <a:pt x="2284611" y="965393"/>
                  <a:pt x="2283020" y="965393"/>
                  <a:pt x="2283020" y="963803"/>
                </a:cubicBezTo>
                <a:lnTo>
                  <a:pt x="2284611" y="963803"/>
                </a:lnTo>
                <a:lnTo>
                  <a:pt x="2283020" y="962212"/>
                </a:lnTo>
                <a:lnTo>
                  <a:pt x="2279839" y="962212"/>
                </a:lnTo>
                <a:close/>
                <a:moveTo>
                  <a:pt x="2216209" y="960621"/>
                </a:moveTo>
                <a:lnTo>
                  <a:pt x="2217800" y="963803"/>
                </a:lnTo>
                <a:cubicBezTo>
                  <a:pt x="2216209" y="965393"/>
                  <a:pt x="2216209" y="965393"/>
                  <a:pt x="2217800" y="966984"/>
                </a:cubicBezTo>
                <a:lnTo>
                  <a:pt x="2220983" y="965393"/>
                </a:lnTo>
                <a:lnTo>
                  <a:pt x="2219391" y="962212"/>
                </a:lnTo>
                <a:close/>
                <a:moveTo>
                  <a:pt x="2270294" y="957439"/>
                </a:moveTo>
                <a:lnTo>
                  <a:pt x="2268704" y="959030"/>
                </a:lnTo>
                <a:cubicBezTo>
                  <a:pt x="2267113" y="957439"/>
                  <a:pt x="2267113" y="959030"/>
                  <a:pt x="2265523" y="959030"/>
                </a:cubicBezTo>
                <a:cubicBezTo>
                  <a:pt x="2263932" y="960621"/>
                  <a:pt x="2265523" y="959030"/>
                  <a:pt x="2263932" y="960621"/>
                </a:cubicBezTo>
                <a:lnTo>
                  <a:pt x="2263932" y="962212"/>
                </a:lnTo>
                <a:lnTo>
                  <a:pt x="2265523" y="962212"/>
                </a:lnTo>
                <a:lnTo>
                  <a:pt x="2265523" y="960621"/>
                </a:lnTo>
                <a:cubicBezTo>
                  <a:pt x="2268704" y="960621"/>
                  <a:pt x="2268704" y="960621"/>
                  <a:pt x="2267113" y="963803"/>
                </a:cubicBezTo>
                <a:lnTo>
                  <a:pt x="2268704" y="965393"/>
                </a:lnTo>
                <a:cubicBezTo>
                  <a:pt x="2267113" y="966984"/>
                  <a:pt x="2267113" y="966984"/>
                  <a:pt x="2268704" y="966984"/>
                </a:cubicBezTo>
                <a:lnTo>
                  <a:pt x="2270294" y="965393"/>
                </a:lnTo>
                <a:cubicBezTo>
                  <a:pt x="2268704" y="962212"/>
                  <a:pt x="2270294" y="965393"/>
                  <a:pt x="2268704" y="962212"/>
                </a:cubicBezTo>
                <a:lnTo>
                  <a:pt x="2271885" y="962212"/>
                </a:lnTo>
                <a:cubicBezTo>
                  <a:pt x="2273476" y="960621"/>
                  <a:pt x="2273476" y="960621"/>
                  <a:pt x="2273476" y="959030"/>
                </a:cubicBezTo>
                <a:cubicBezTo>
                  <a:pt x="2273476" y="957439"/>
                  <a:pt x="2275066" y="959030"/>
                  <a:pt x="2273476" y="957439"/>
                </a:cubicBezTo>
                <a:close/>
                <a:moveTo>
                  <a:pt x="2230526" y="957439"/>
                </a:moveTo>
                <a:lnTo>
                  <a:pt x="2233708" y="959030"/>
                </a:lnTo>
                <a:lnTo>
                  <a:pt x="2232118" y="960621"/>
                </a:lnTo>
                <a:cubicBezTo>
                  <a:pt x="2230526" y="957439"/>
                  <a:pt x="2232118" y="960621"/>
                  <a:pt x="2230526" y="957439"/>
                </a:cubicBezTo>
                <a:close/>
                <a:moveTo>
                  <a:pt x="2203484" y="957439"/>
                </a:moveTo>
                <a:lnTo>
                  <a:pt x="2203484" y="959030"/>
                </a:lnTo>
                <a:lnTo>
                  <a:pt x="2206665" y="959030"/>
                </a:lnTo>
                <a:cubicBezTo>
                  <a:pt x="2205075" y="957439"/>
                  <a:pt x="2205075" y="959030"/>
                  <a:pt x="2206665" y="957439"/>
                </a:cubicBezTo>
                <a:close/>
                <a:moveTo>
                  <a:pt x="2209847" y="955849"/>
                </a:moveTo>
                <a:lnTo>
                  <a:pt x="2211437" y="957439"/>
                </a:lnTo>
                <a:lnTo>
                  <a:pt x="2211437" y="955849"/>
                </a:lnTo>
                <a:close/>
                <a:moveTo>
                  <a:pt x="2236889" y="954258"/>
                </a:moveTo>
                <a:cubicBezTo>
                  <a:pt x="2236889" y="955849"/>
                  <a:pt x="2236889" y="954258"/>
                  <a:pt x="2238480" y="955849"/>
                </a:cubicBezTo>
                <a:lnTo>
                  <a:pt x="2240070" y="954258"/>
                </a:lnTo>
                <a:close/>
                <a:moveTo>
                  <a:pt x="4420968" y="952723"/>
                </a:moveTo>
                <a:cubicBezTo>
                  <a:pt x="4387562" y="952723"/>
                  <a:pt x="4358929" y="970220"/>
                  <a:pt x="4331886" y="995671"/>
                </a:cubicBezTo>
                <a:cubicBezTo>
                  <a:pt x="4339840" y="997262"/>
                  <a:pt x="4346203" y="998853"/>
                  <a:pt x="4352566" y="1002034"/>
                </a:cubicBezTo>
                <a:cubicBezTo>
                  <a:pt x="4374837" y="982947"/>
                  <a:pt x="4397107" y="965448"/>
                  <a:pt x="4420968" y="952723"/>
                </a:cubicBezTo>
                <a:close/>
                <a:moveTo>
                  <a:pt x="2260219" y="952137"/>
                </a:moveTo>
                <a:lnTo>
                  <a:pt x="2260750" y="952667"/>
                </a:lnTo>
                <a:lnTo>
                  <a:pt x="2260750" y="954258"/>
                </a:lnTo>
                <a:lnTo>
                  <a:pt x="2262342" y="955849"/>
                </a:lnTo>
                <a:lnTo>
                  <a:pt x="2259159" y="955849"/>
                </a:lnTo>
                <a:lnTo>
                  <a:pt x="2259159" y="952667"/>
                </a:lnTo>
                <a:close/>
                <a:moveTo>
                  <a:pt x="2257570" y="949485"/>
                </a:moveTo>
                <a:lnTo>
                  <a:pt x="2259159" y="951076"/>
                </a:lnTo>
                <a:lnTo>
                  <a:pt x="2259159" y="952667"/>
                </a:lnTo>
                <a:lnTo>
                  <a:pt x="2255978" y="951077"/>
                </a:lnTo>
                <a:close/>
                <a:moveTo>
                  <a:pt x="2227345" y="947896"/>
                </a:moveTo>
                <a:lnTo>
                  <a:pt x="2225754" y="949485"/>
                </a:lnTo>
                <a:lnTo>
                  <a:pt x="2227345" y="951077"/>
                </a:lnTo>
                <a:cubicBezTo>
                  <a:pt x="2230526" y="951077"/>
                  <a:pt x="2227345" y="952667"/>
                  <a:pt x="2230526" y="951077"/>
                </a:cubicBezTo>
                <a:cubicBezTo>
                  <a:pt x="2233708" y="952667"/>
                  <a:pt x="2233708" y="952667"/>
                  <a:pt x="2233708" y="949485"/>
                </a:cubicBezTo>
                <a:lnTo>
                  <a:pt x="2232118" y="947896"/>
                </a:lnTo>
                <a:lnTo>
                  <a:pt x="2228936" y="949485"/>
                </a:lnTo>
                <a:close/>
                <a:moveTo>
                  <a:pt x="2298928" y="946304"/>
                </a:moveTo>
                <a:cubicBezTo>
                  <a:pt x="2298928" y="947896"/>
                  <a:pt x="2297337" y="949485"/>
                  <a:pt x="2297337" y="949485"/>
                </a:cubicBezTo>
                <a:cubicBezTo>
                  <a:pt x="2297337" y="951077"/>
                  <a:pt x="2297337" y="949485"/>
                  <a:pt x="2298928" y="951077"/>
                </a:cubicBezTo>
                <a:cubicBezTo>
                  <a:pt x="2298928" y="951077"/>
                  <a:pt x="2297337" y="952667"/>
                  <a:pt x="2297337" y="952667"/>
                </a:cubicBezTo>
                <a:cubicBezTo>
                  <a:pt x="2297337" y="955849"/>
                  <a:pt x="2297337" y="952667"/>
                  <a:pt x="2298928" y="954258"/>
                </a:cubicBezTo>
                <a:cubicBezTo>
                  <a:pt x="2298928" y="955849"/>
                  <a:pt x="2297337" y="954258"/>
                  <a:pt x="2300518" y="955849"/>
                </a:cubicBezTo>
                <a:lnTo>
                  <a:pt x="2300518" y="951077"/>
                </a:lnTo>
                <a:lnTo>
                  <a:pt x="2302109" y="949485"/>
                </a:lnTo>
                <a:cubicBezTo>
                  <a:pt x="2302109" y="947896"/>
                  <a:pt x="2300518" y="947896"/>
                  <a:pt x="2302109" y="946304"/>
                </a:cubicBezTo>
                <a:close/>
                <a:moveTo>
                  <a:pt x="2321198" y="943123"/>
                </a:moveTo>
                <a:lnTo>
                  <a:pt x="2318016" y="944713"/>
                </a:lnTo>
                <a:lnTo>
                  <a:pt x="2321198" y="946304"/>
                </a:lnTo>
                <a:close/>
                <a:moveTo>
                  <a:pt x="2255136" y="941532"/>
                </a:moveTo>
                <a:lnTo>
                  <a:pt x="2255978" y="941532"/>
                </a:lnTo>
                <a:cubicBezTo>
                  <a:pt x="2255978" y="941532"/>
                  <a:pt x="2255580" y="941930"/>
                  <a:pt x="2255182" y="941731"/>
                </a:cubicBezTo>
                <a:close/>
                <a:moveTo>
                  <a:pt x="2312847" y="941135"/>
                </a:moveTo>
                <a:cubicBezTo>
                  <a:pt x="2312847" y="941135"/>
                  <a:pt x="2313244" y="941532"/>
                  <a:pt x="2313244" y="943123"/>
                </a:cubicBezTo>
                <a:cubicBezTo>
                  <a:pt x="2313244" y="944713"/>
                  <a:pt x="2313244" y="944713"/>
                  <a:pt x="2313244" y="946304"/>
                </a:cubicBezTo>
                <a:cubicBezTo>
                  <a:pt x="2314835" y="944713"/>
                  <a:pt x="2314835" y="946304"/>
                  <a:pt x="2316426" y="943123"/>
                </a:cubicBezTo>
                <a:lnTo>
                  <a:pt x="2314835" y="943123"/>
                </a:lnTo>
                <a:lnTo>
                  <a:pt x="2314835" y="941532"/>
                </a:lnTo>
                <a:cubicBezTo>
                  <a:pt x="2313244" y="941532"/>
                  <a:pt x="2312847" y="941135"/>
                  <a:pt x="2312847" y="941135"/>
                </a:cubicBezTo>
                <a:close/>
                <a:moveTo>
                  <a:pt x="2220983" y="939942"/>
                </a:moveTo>
                <a:lnTo>
                  <a:pt x="2219391" y="941532"/>
                </a:lnTo>
                <a:lnTo>
                  <a:pt x="2220983" y="943123"/>
                </a:lnTo>
                <a:close/>
                <a:moveTo>
                  <a:pt x="2298013" y="939028"/>
                </a:moveTo>
                <a:lnTo>
                  <a:pt x="2296741" y="939953"/>
                </a:lnTo>
                <a:cubicBezTo>
                  <a:pt x="2296542" y="939953"/>
                  <a:pt x="2296542" y="939953"/>
                  <a:pt x="2295747" y="941544"/>
                </a:cubicBezTo>
                <a:lnTo>
                  <a:pt x="2292576" y="941544"/>
                </a:lnTo>
                <a:lnTo>
                  <a:pt x="2294156" y="943123"/>
                </a:lnTo>
                <a:lnTo>
                  <a:pt x="2294136" y="943132"/>
                </a:lnTo>
                <a:lnTo>
                  <a:pt x="2294156" y="943135"/>
                </a:lnTo>
                <a:lnTo>
                  <a:pt x="2294132" y="943135"/>
                </a:lnTo>
                <a:lnTo>
                  <a:pt x="2292566" y="943918"/>
                </a:lnTo>
                <a:lnTo>
                  <a:pt x="2292566" y="944726"/>
                </a:lnTo>
                <a:lnTo>
                  <a:pt x="2290989" y="944726"/>
                </a:lnTo>
                <a:lnTo>
                  <a:pt x="2292763" y="946106"/>
                </a:lnTo>
                <a:cubicBezTo>
                  <a:pt x="2293360" y="945907"/>
                  <a:pt x="2294156" y="945509"/>
                  <a:pt x="2295747" y="946304"/>
                </a:cubicBezTo>
                <a:cubicBezTo>
                  <a:pt x="2297337" y="944713"/>
                  <a:pt x="2297337" y="944713"/>
                  <a:pt x="2298928" y="943123"/>
                </a:cubicBezTo>
                <a:lnTo>
                  <a:pt x="2298928" y="939942"/>
                </a:lnTo>
                <a:close/>
                <a:moveTo>
                  <a:pt x="2254387" y="938351"/>
                </a:moveTo>
                <a:cubicBezTo>
                  <a:pt x="2255978" y="939942"/>
                  <a:pt x="2254387" y="938351"/>
                  <a:pt x="2255978" y="941532"/>
                </a:cubicBezTo>
                <a:lnTo>
                  <a:pt x="2254876" y="940432"/>
                </a:lnTo>
                <a:close/>
                <a:moveTo>
                  <a:pt x="3264901" y="937811"/>
                </a:moveTo>
                <a:cubicBezTo>
                  <a:pt x="3271264" y="939998"/>
                  <a:pt x="3278025" y="943975"/>
                  <a:pt x="3282002" y="947952"/>
                </a:cubicBezTo>
                <a:cubicBezTo>
                  <a:pt x="3274048" y="957495"/>
                  <a:pt x="3258140" y="957495"/>
                  <a:pt x="3248595" y="951132"/>
                </a:cubicBezTo>
                <a:cubicBezTo>
                  <a:pt x="3245414" y="949542"/>
                  <a:pt x="3247005" y="941589"/>
                  <a:pt x="3250186" y="938408"/>
                </a:cubicBezTo>
                <a:cubicBezTo>
                  <a:pt x="3252572" y="935226"/>
                  <a:pt x="3258537" y="935623"/>
                  <a:pt x="3264901" y="937811"/>
                </a:cubicBezTo>
                <a:close/>
                <a:moveTo>
                  <a:pt x="2230526" y="936760"/>
                </a:moveTo>
                <a:lnTo>
                  <a:pt x="2230526" y="939942"/>
                </a:lnTo>
                <a:lnTo>
                  <a:pt x="2233708" y="938351"/>
                </a:lnTo>
                <a:close/>
                <a:moveTo>
                  <a:pt x="2313244" y="935170"/>
                </a:moveTo>
                <a:cubicBezTo>
                  <a:pt x="2310063" y="935170"/>
                  <a:pt x="2310063" y="935170"/>
                  <a:pt x="2308472" y="936760"/>
                </a:cubicBezTo>
                <a:cubicBezTo>
                  <a:pt x="2310063" y="939942"/>
                  <a:pt x="2306881" y="936760"/>
                  <a:pt x="2310063" y="938351"/>
                </a:cubicBezTo>
                <a:lnTo>
                  <a:pt x="2311653" y="939942"/>
                </a:lnTo>
                <a:lnTo>
                  <a:pt x="2313244" y="938351"/>
                </a:lnTo>
                <a:lnTo>
                  <a:pt x="2316426" y="938351"/>
                </a:lnTo>
                <a:cubicBezTo>
                  <a:pt x="2314835" y="936760"/>
                  <a:pt x="2314835" y="935170"/>
                  <a:pt x="2313244" y="935170"/>
                </a:cubicBezTo>
                <a:close/>
                <a:moveTo>
                  <a:pt x="2289385" y="933580"/>
                </a:moveTo>
                <a:lnTo>
                  <a:pt x="2289385" y="935171"/>
                </a:lnTo>
                <a:lnTo>
                  <a:pt x="2287794" y="935171"/>
                </a:lnTo>
                <a:close/>
                <a:moveTo>
                  <a:pt x="2268704" y="931989"/>
                </a:moveTo>
                <a:cubicBezTo>
                  <a:pt x="2262342" y="933578"/>
                  <a:pt x="2265523" y="930398"/>
                  <a:pt x="2263932" y="935170"/>
                </a:cubicBezTo>
                <a:cubicBezTo>
                  <a:pt x="2267113" y="935170"/>
                  <a:pt x="2267113" y="933578"/>
                  <a:pt x="2270294" y="931989"/>
                </a:cubicBezTo>
                <a:close/>
                <a:moveTo>
                  <a:pt x="2248024" y="930398"/>
                </a:moveTo>
                <a:lnTo>
                  <a:pt x="2249615" y="935170"/>
                </a:lnTo>
                <a:cubicBezTo>
                  <a:pt x="2252796" y="935170"/>
                  <a:pt x="2251205" y="936760"/>
                  <a:pt x="2252796" y="933578"/>
                </a:cubicBezTo>
                <a:cubicBezTo>
                  <a:pt x="2249615" y="931989"/>
                  <a:pt x="2251205" y="931989"/>
                  <a:pt x="2248024" y="930398"/>
                </a:cubicBezTo>
                <a:close/>
                <a:moveTo>
                  <a:pt x="2290975" y="928818"/>
                </a:moveTo>
                <a:lnTo>
                  <a:pt x="2292566" y="928818"/>
                </a:lnTo>
                <a:lnTo>
                  <a:pt x="2294156" y="931999"/>
                </a:lnTo>
                <a:cubicBezTo>
                  <a:pt x="2290975" y="931999"/>
                  <a:pt x="2292566" y="931999"/>
                  <a:pt x="2290975" y="931999"/>
                </a:cubicBezTo>
                <a:cubicBezTo>
                  <a:pt x="2290975" y="931999"/>
                  <a:pt x="2289385" y="930409"/>
                  <a:pt x="2289385" y="930409"/>
                </a:cubicBezTo>
                <a:cubicBezTo>
                  <a:pt x="2289385" y="928818"/>
                  <a:pt x="2289385" y="928818"/>
                  <a:pt x="2290975" y="928818"/>
                </a:cubicBezTo>
                <a:close/>
                <a:moveTo>
                  <a:pt x="2278248" y="927216"/>
                </a:moveTo>
                <a:lnTo>
                  <a:pt x="2276657" y="930398"/>
                </a:lnTo>
                <a:lnTo>
                  <a:pt x="2279839" y="930398"/>
                </a:lnTo>
                <a:close/>
                <a:moveTo>
                  <a:pt x="2270294" y="925625"/>
                </a:moveTo>
                <a:lnTo>
                  <a:pt x="2262342" y="927216"/>
                </a:lnTo>
                <a:lnTo>
                  <a:pt x="2262342" y="928807"/>
                </a:lnTo>
                <a:lnTo>
                  <a:pt x="2260750" y="930398"/>
                </a:lnTo>
                <a:cubicBezTo>
                  <a:pt x="2262342" y="930398"/>
                  <a:pt x="2262342" y="930398"/>
                  <a:pt x="2263932" y="930398"/>
                </a:cubicBezTo>
                <a:lnTo>
                  <a:pt x="2265523" y="930398"/>
                </a:lnTo>
                <a:cubicBezTo>
                  <a:pt x="2267113" y="927216"/>
                  <a:pt x="2268704" y="927216"/>
                  <a:pt x="2270294" y="925625"/>
                </a:cubicBezTo>
                <a:close/>
                <a:moveTo>
                  <a:pt x="2260750" y="922444"/>
                </a:moveTo>
                <a:lnTo>
                  <a:pt x="2262342" y="924035"/>
                </a:lnTo>
                <a:lnTo>
                  <a:pt x="2263932" y="922444"/>
                </a:lnTo>
                <a:close/>
                <a:moveTo>
                  <a:pt x="2279839" y="919262"/>
                </a:moveTo>
                <a:lnTo>
                  <a:pt x="2278248" y="922444"/>
                </a:lnTo>
                <a:lnTo>
                  <a:pt x="2281430" y="922444"/>
                </a:lnTo>
                <a:lnTo>
                  <a:pt x="2283020" y="920853"/>
                </a:lnTo>
                <a:close/>
                <a:moveTo>
                  <a:pt x="2289384" y="917672"/>
                </a:moveTo>
                <a:cubicBezTo>
                  <a:pt x="2286202" y="919262"/>
                  <a:pt x="2287794" y="919262"/>
                  <a:pt x="2284611" y="920853"/>
                </a:cubicBezTo>
                <a:lnTo>
                  <a:pt x="2284611" y="922444"/>
                </a:lnTo>
                <a:lnTo>
                  <a:pt x="2289384" y="922444"/>
                </a:lnTo>
                <a:lnTo>
                  <a:pt x="2287794" y="920853"/>
                </a:lnTo>
                <a:lnTo>
                  <a:pt x="2289384" y="919262"/>
                </a:lnTo>
                <a:lnTo>
                  <a:pt x="2289384" y="917672"/>
                </a:lnTo>
                <a:lnTo>
                  <a:pt x="2293201" y="918944"/>
                </a:lnTo>
                <a:lnTo>
                  <a:pt x="2294156" y="920853"/>
                </a:lnTo>
                <a:lnTo>
                  <a:pt x="2294951" y="921648"/>
                </a:lnTo>
                <a:lnTo>
                  <a:pt x="2294156" y="922444"/>
                </a:lnTo>
                <a:lnTo>
                  <a:pt x="2295747" y="922444"/>
                </a:lnTo>
                <a:lnTo>
                  <a:pt x="2294951" y="921648"/>
                </a:lnTo>
                <a:lnTo>
                  <a:pt x="2295747" y="920853"/>
                </a:lnTo>
                <a:lnTo>
                  <a:pt x="2294156" y="919262"/>
                </a:lnTo>
                <a:lnTo>
                  <a:pt x="2293201" y="918944"/>
                </a:lnTo>
                <a:lnTo>
                  <a:pt x="2292565" y="917672"/>
                </a:lnTo>
                <a:cubicBezTo>
                  <a:pt x="2289384" y="917672"/>
                  <a:pt x="2289384" y="916081"/>
                  <a:pt x="2289384" y="917672"/>
                </a:cubicBezTo>
                <a:close/>
                <a:moveTo>
                  <a:pt x="2284611" y="912899"/>
                </a:moveTo>
                <a:lnTo>
                  <a:pt x="2281430" y="916081"/>
                </a:lnTo>
                <a:lnTo>
                  <a:pt x="2283020" y="916081"/>
                </a:lnTo>
                <a:close/>
                <a:moveTo>
                  <a:pt x="1767623" y="911309"/>
                </a:moveTo>
                <a:lnTo>
                  <a:pt x="1758078" y="920854"/>
                </a:lnTo>
                <a:lnTo>
                  <a:pt x="1754897" y="917673"/>
                </a:lnTo>
                <a:cubicBezTo>
                  <a:pt x="1759669" y="912900"/>
                  <a:pt x="1758078" y="912900"/>
                  <a:pt x="1767623" y="911309"/>
                </a:cubicBezTo>
                <a:close/>
                <a:moveTo>
                  <a:pt x="1571965" y="871549"/>
                </a:moveTo>
                <a:cubicBezTo>
                  <a:pt x="1571965" y="871549"/>
                  <a:pt x="1573555" y="871549"/>
                  <a:pt x="1575145" y="873140"/>
                </a:cubicBezTo>
                <a:cubicBezTo>
                  <a:pt x="1575145" y="874731"/>
                  <a:pt x="1575145" y="876321"/>
                  <a:pt x="1575145" y="877912"/>
                </a:cubicBezTo>
                <a:lnTo>
                  <a:pt x="1571965" y="877912"/>
                </a:lnTo>
                <a:close/>
                <a:moveTo>
                  <a:pt x="1746945" y="865189"/>
                </a:moveTo>
                <a:lnTo>
                  <a:pt x="1743762" y="874734"/>
                </a:lnTo>
                <a:lnTo>
                  <a:pt x="1737399" y="873143"/>
                </a:lnTo>
                <a:cubicBezTo>
                  <a:pt x="1740580" y="865189"/>
                  <a:pt x="1737399" y="868370"/>
                  <a:pt x="1746945" y="865189"/>
                </a:cubicBezTo>
                <a:close/>
                <a:moveTo>
                  <a:pt x="4166451" y="855690"/>
                </a:moveTo>
                <a:cubicBezTo>
                  <a:pt x="4152134" y="884323"/>
                  <a:pt x="4137817" y="911365"/>
                  <a:pt x="4125091" y="932044"/>
                </a:cubicBezTo>
                <a:cubicBezTo>
                  <a:pt x="4134636" y="932044"/>
                  <a:pt x="4134636" y="919318"/>
                  <a:pt x="4142590" y="917727"/>
                </a:cubicBezTo>
                <a:cubicBezTo>
                  <a:pt x="4137817" y="927272"/>
                  <a:pt x="4133045" y="935226"/>
                  <a:pt x="4126682" y="943179"/>
                </a:cubicBezTo>
                <a:cubicBezTo>
                  <a:pt x="4129863" y="944770"/>
                  <a:pt x="4134636" y="947951"/>
                  <a:pt x="4137817" y="949542"/>
                </a:cubicBezTo>
                <a:cubicBezTo>
                  <a:pt x="4158497" y="924090"/>
                  <a:pt x="4175995" y="893868"/>
                  <a:pt x="4188720" y="857280"/>
                </a:cubicBezTo>
                <a:cubicBezTo>
                  <a:pt x="4182357" y="855690"/>
                  <a:pt x="4174404" y="855690"/>
                  <a:pt x="4166451" y="855690"/>
                </a:cubicBezTo>
                <a:close/>
                <a:moveTo>
                  <a:pt x="4112366" y="850917"/>
                </a:moveTo>
                <a:cubicBezTo>
                  <a:pt x="4104412" y="871598"/>
                  <a:pt x="4096458" y="889095"/>
                  <a:pt x="4088504" y="906594"/>
                </a:cubicBezTo>
                <a:cubicBezTo>
                  <a:pt x="4099639" y="892277"/>
                  <a:pt x="4112366" y="873187"/>
                  <a:pt x="4123500" y="852508"/>
                </a:cubicBezTo>
                <a:cubicBezTo>
                  <a:pt x="4120319" y="850917"/>
                  <a:pt x="4115547" y="850917"/>
                  <a:pt x="4112366" y="850917"/>
                </a:cubicBezTo>
                <a:close/>
                <a:moveTo>
                  <a:pt x="4595749" y="789075"/>
                </a:moveTo>
                <a:cubicBezTo>
                  <a:pt x="4599925" y="789670"/>
                  <a:pt x="4605493" y="792853"/>
                  <a:pt x="4607083" y="796829"/>
                </a:cubicBezTo>
                <a:cubicBezTo>
                  <a:pt x="4607083" y="796829"/>
                  <a:pt x="4599130" y="803193"/>
                  <a:pt x="4592767" y="796829"/>
                </a:cubicBezTo>
                <a:cubicBezTo>
                  <a:pt x="4588790" y="790467"/>
                  <a:pt x="4591574" y="788478"/>
                  <a:pt x="4595749" y="789075"/>
                </a:cubicBezTo>
                <a:close/>
                <a:moveTo>
                  <a:pt x="4179176" y="782513"/>
                </a:moveTo>
                <a:lnTo>
                  <a:pt x="4152134" y="836599"/>
                </a:lnTo>
                <a:cubicBezTo>
                  <a:pt x="4152134" y="835009"/>
                  <a:pt x="4152134" y="835009"/>
                  <a:pt x="4152134" y="833418"/>
                </a:cubicBezTo>
                <a:cubicBezTo>
                  <a:pt x="4150543" y="835009"/>
                  <a:pt x="4150543" y="835009"/>
                  <a:pt x="4150543" y="836599"/>
                </a:cubicBezTo>
                <a:cubicBezTo>
                  <a:pt x="4150543" y="836599"/>
                  <a:pt x="4152134" y="836599"/>
                  <a:pt x="4152134" y="836599"/>
                </a:cubicBezTo>
                <a:cubicBezTo>
                  <a:pt x="4152134" y="839781"/>
                  <a:pt x="4153724" y="841372"/>
                  <a:pt x="4155315" y="842963"/>
                </a:cubicBezTo>
                <a:cubicBezTo>
                  <a:pt x="4164860" y="825465"/>
                  <a:pt x="4171223" y="804784"/>
                  <a:pt x="4179176" y="782513"/>
                </a:cubicBezTo>
                <a:close/>
                <a:moveTo>
                  <a:pt x="2131901" y="774561"/>
                </a:moveTo>
                <a:cubicBezTo>
                  <a:pt x="2120766" y="831830"/>
                  <a:pt x="2084179" y="887508"/>
                  <a:pt x="2055546" y="928866"/>
                </a:cubicBezTo>
                <a:cubicBezTo>
                  <a:pt x="2069862" y="895462"/>
                  <a:pt x="2106449" y="820695"/>
                  <a:pt x="2131901" y="774561"/>
                </a:cubicBezTo>
                <a:close/>
                <a:moveTo>
                  <a:pt x="1638774" y="763370"/>
                </a:moveTo>
                <a:lnTo>
                  <a:pt x="1640364" y="763370"/>
                </a:lnTo>
                <a:lnTo>
                  <a:pt x="1640364" y="768142"/>
                </a:lnTo>
                <a:lnTo>
                  <a:pt x="1635592" y="764961"/>
                </a:lnTo>
                <a:close/>
                <a:moveTo>
                  <a:pt x="4161678" y="731592"/>
                </a:moveTo>
                <a:cubicBezTo>
                  <a:pt x="4156906" y="733183"/>
                  <a:pt x="4153724" y="734773"/>
                  <a:pt x="4148952" y="736365"/>
                </a:cubicBezTo>
                <a:cubicBezTo>
                  <a:pt x="4139408" y="768195"/>
                  <a:pt x="4129863" y="800012"/>
                  <a:pt x="4118728" y="831828"/>
                </a:cubicBezTo>
                <a:cubicBezTo>
                  <a:pt x="4120319" y="835009"/>
                  <a:pt x="4120319" y="836599"/>
                  <a:pt x="4121909" y="838191"/>
                </a:cubicBezTo>
                <a:cubicBezTo>
                  <a:pt x="4123500" y="839781"/>
                  <a:pt x="4125091" y="841372"/>
                  <a:pt x="4128273" y="841372"/>
                </a:cubicBezTo>
                <a:cubicBezTo>
                  <a:pt x="4144181" y="807966"/>
                  <a:pt x="4156906" y="769786"/>
                  <a:pt x="4161678" y="731592"/>
                </a:cubicBezTo>
                <a:close/>
                <a:moveTo>
                  <a:pt x="4187130" y="726820"/>
                </a:moveTo>
                <a:cubicBezTo>
                  <a:pt x="4182357" y="730001"/>
                  <a:pt x="4179176" y="731592"/>
                  <a:pt x="4174404" y="731592"/>
                </a:cubicBezTo>
                <a:cubicBezTo>
                  <a:pt x="4171223" y="750681"/>
                  <a:pt x="4166451" y="774558"/>
                  <a:pt x="4160088" y="798420"/>
                </a:cubicBezTo>
                <a:cubicBezTo>
                  <a:pt x="4164860" y="782513"/>
                  <a:pt x="4172814" y="766604"/>
                  <a:pt x="4183948" y="750681"/>
                </a:cubicBezTo>
                <a:cubicBezTo>
                  <a:pt x="4185539" y="742727"/>
                  <a:pt x="4185539" y="734773"/>
                  <a:pt x="4187130" y="726820"/>
                </a:cubicBezTo>
                <a:close/>
                <a:moveTo>
                  <a:pt x="4471871" y="722049"/>
                </a:moveTo>
                <a:cubicBezTo>
                  <a:pt x="4470281" y="737956"/>
                  <a:pt x="4444829" y="766607"/>
                  <a:pt x="4438466" y="777742"/>
                </a:cubicBezTo>
                <a:cubicBezTo>
                  <a:pt x="4430511" y="792060"/>
                  <a:pt x="4440056" y="765016"/>
                  <a:pt x="4443238" y="758652"/>
                </a:cubicBezTo>
                <a:cubicBezTo>
                  <a:pt x="4448010" y="752273"/>
                  <a:pt x="4463917" y="733184"/>
                  <a:pt x="4471871" y="722049"/>
                </a:cubicBezTo>
                <a:close/>
                <a:moveTo>
                  <a:pt x="4182954" y="686654"/>
                </a:moveTo>
                <a:cubicBezTo>
                  <a:pt x="4178381" y="686256"/>
                  <a:pt x="4174404" y="687051"/>
                  <a:pt x="4172814" y="691823"/>
                </a:cubicBezTo>
                <a:cubicBezTo>
                  <a:pt x="4172814" y="695005"/>
                  <a:pt x="4175995" y="699777"/>
                  <a:pt x="4175995" y="699777"/>
                </a:cubicBezTo>
                <a:cubicBezTo>
                  <a:pt x="4180767" y="696596"/>
                  <a:pt x="4196674" y="699777"/>
                  <a:pt x="4196674" y="688642"/>
                </a:cubicBezTo>
                <a:cubicBezTo>
                  <a:pt x="4192697" y="688642"/>
                  <a:pt x="4187528" y="687051"/>
                  <a:pt x="4182954" y="686654"/>
                </a:cubicBezTo>
                <a:close/>
                <a:moveTo>
                  <a:pt x="1062929" y="682239"/>
                </a:moveTo>
                <a:cubicBezTo>
                  <a:pt x="1086790" y="701328"/>
                  <a:pt x="1110651" y="706100"/>
                  <a:pt x="1128149" y="706100"/>
                </a:cubicBezTo>
                <a:cubicBezTo>
                  <a:pt x="1124968" y="734733"/>
                  <a:pt x="1120195" y="761775"/>
                  <a:pt x="1115423" y="785637"/>
                </a:cubicBezTo>
                <a:cubicBezTo>
                  <a:pt x="1094744" y="896988"/>
                  <a:pt x="1105879" y="1011522"/>
                  <a:pt x="1120195" y="1030609"/>
                </a:cubicBezTo>
                <a:cubicBezTo>
                  <a:pt x="1126559" y="1040154"/>
                  <a:pt x="1124968" y="1049699"/>
                  <a:pt x="1123377" y="1057652"/>
                </a:cubicBezTo>
                <a:cubicBezTo>
                  <a:pt x="1069292" y="1019475"/>
                  <a:pt x="1010435" y="982889"/>
                  <a:pt x="969076" y="938347"/>
                </a:cubicBezTo>
                <a:cubicBezTo>
                  <a:pt x="964303" y="938347"/>
                  <a:pt x="961123" y="939938"/>
                  <a:pt x="959532" y="946301"/>
                </a:cubicBezTo>
                <a:cubicBezTo>
                  <a:pt x="1008844" y="989251"/>
                  <a:pt x="1066111" y="1027429"/>
                  <a:pt x="1120195" y="1068787"/>
                </a:cubicBezTo>
                <a:cubicBezTo>
                  <a:pt x="1120195" y="1071969"/>
                  <a:pt x="1120195" y="1076741"/>
                  <a:pt x="1123377" y="1079923"/>
                </a:cubicBezTo>
                <a:cubicBezTo>
                  <a:pt x="1134513" y="1092648"/>
                  <a:pt x="1136103" y="1148324"/>
                  <a:pt x="1131331" y="1169004"/>
                </a:cubicBezTo>
                <a:cubicBezTo>
                  <a:pt x="1126559" y="1188092"/>
                  <a:pt x="1120195" y="1188092"/>
                  <a:pt x="1124968" y="1215135"/>
                </a:cubicBezTo>
                <a:cubicBezTo>
                  <a:pt x="1129740" y="1242177"/>
                  <a:pt x="1139285" y="1275583"/>
                  <a:pt x="1137694" y="1288309"/>
                </a:cubicBezTo>
                <a:cubicBezTo>
                  <a:pt x="1136103" y="1301034"/>
                  <a:pt x="1115423" y="1356710"/>
                  <a:pt x="1110651" y="1388526"/>
                </a:cubicBezTo>
                <a:cubicBezTo>
                  <a:pt x="1105879" y="1420339"/>
                  <a:pt x="1117014" y="1466471"/>
                  <a:pt x="1117014" y="1466471"/>
                </a:cubicBezTo>
                <a:cubicBezTo>
                  <a:pt x="1117014" y="1466471"/>
                  <a:pt x="1142466" y="1512603"/>
                  <a:pt x="1164737" y="1568279"/>
                </a:cubicBezTo>
                <a:cubicBezTo>
                  <a:pt x="1188597" y="1623953"/>
                  <a:pt x="1306312" y="1733714"/>
                  <a:pt x="1311084" y="1790981"/>
                </a:cubicBezTo>
                <a:lnTo>
                  <a:pt x="1311264" y="1792668"/>
                </a:lnTo>
                <a:lnTo>
                  <a:pt x="1202988" y="1800005"/>
                </a:lnTo>
                <a:cubicBezTo>
                  <a:pt x="1088977" y="1808877"/>
                  <a:pt x="963111" y="1818421"/>
                  <a:pt x="835453" y="1795753"/>
                </a:cubicBezTo>
                <a:cubicBezTo>
                  <a:pt x="670018" y="1767120"/>
                  <a:pt x="499808" y="1697128"/>
                  <a:pt x="456860" y="1576233"/>
                </a:cubicBezTo>
                <a:cubicBezTo>
                  <a:pt x="452087" y="1574642"/>
                  <a:pt x="450497" y="1574642"/>
                  <a:pt x="448905" y="1577823"/>
                </a:cubicBezTo>
                <a:cubicBezTo>
                  <a:pt x="467994" y="1700309"/>
                  <a:pt x="673199" y="1787800"/>
                  <a:pt x="848180" y="1813252"/>
                </a:cubicBezTo>
                <a:cubicBezTo>
                  <a:pt x="978223" y="1832342"/>
                  <a:pt x="1110950" y="1831744"/>
                  <a:pt x="1216832" y="1814819"/>
                </a:cubicBezTo>
                <a:lnTo>
                  <a:pt x="1311289" y="1792894"/>
                </a:lnTo>
                <a:lnTo>
                  <a:pt x="1315856" y="1835522"/>
                </a:lnTo>
                <a:cubicBezTo>
                  <a:pt x="1101107" y="1843476"/>
                  <a:pt x="897493" y="1889607"/>
                  <a:pt x="663654" y="1797344"/>
                </a:cubicBezTo>
                <a:cubicBezTo>
                  <a:pt x="662064" y="1829159"/>
                  <a:pt x="720921" y="1837113"/>
                  <a:pt x="746372" y="1843476"/>
                </a:cubicBezTo>
                <a:cubicBezTo>
                  <a:pt x="747963" y="1840294"/>
                  <a:pt x="744782" y="1837113"/>
                  <a:pt x="741600" y="1835522"/>
                </a:cubicBezTo>
                <a:cubicBezTo>
                  <a:pt x="961123" y="1891198"/>
                  <a:pt x="1132922" y="1859383"/>
                  <a:pt x="1320628" y="1851429"/>
                </a:cubicBezTo>
                <a:cubicBezTo>
                  <a:pt x="1323809" y="1865746"/>
                  <a:pt x="1323809" y="1878472"/>
                  <a:pt x="1322219" y="1894380"/>
                </a:cubicBezTo>
                <a:cubicBezTo>
                  <a:pt x="922945" y="1883244"/>
                  <a:pt x="549122" y="1930967"/>
                  <a:pt x="281878" y="2099584"/>
                </a:cubicBezTo>
                <a:cubicBezTo>
                  <a:pt x="568211" y="1948464"/>
                  <a:pt x="926126" y="1894380"/>
                  <a:pt x="1320628" y="1910287"/>
                </a:cubicBezTo>
                <a:cubicBezTo>
                  <a:pt x="1319037" y="1919831"/>
                  <a:pt x="1319037" y="1938920"/>
                  <a:pt x="1319037" y="1964371"/>
                </a:cubicBezTo>
                <a:cubicBezTo>
                  <a:pt x="1315856" y="1965963"/>
                  <a:pt x="1312675" y="1965963"/>
                  <a:pt x="1309493" y="1965963"/>
                </a:cubicBezTo>
                <a:cubicBezTo>
                  <a:pt x="1252227" y="1972325"/>
                  <a:pt x="1180643" y="1985051"/>
                  <a:pt x="1117014" y="1997776"/>
                </a:cubicBezTo>
                <a:cubicBezTo>
                  <a:pt x="997709" y="2021638"/>
                  <a:pt x="889539" y="2050271"/>
                  <a:pt x="819547" y="2105947"/>
                </a:cubicBezTo>
                <a:cubicBezTo>
                  <a:pt x="757508" y="2155259"/>
                  <a:pt x="782959" y="2285700"/>
                  <a:pt x="716148" y="2346148"/>
                </a:cubicBezTo>
                <a:cubicBezTo>
                  <a:pt x="700242" y="2285700"/>
                  <a:pt x="622295" y="2253885"/>
                  <a:pt x="566619" y="2284109"/>
                </a:cubicBezTo>
                <a:cubicBezTo>
                  <a:pt x="526852" y="2304787"/>
                  <a:pt x="506172" y="2373190"/>
                  <a:pt x="455268" y="2355692"/>
                </a:cubicBezTo>
                <a:cubicBezTo>
                  <a:pt x="444133" y="2338194"/>
                  <a:pt x="442542" y="2314333"/>
                  <a:pt x="428226" y="2300016"/>
                </a:cubicBezTo>
                <a:cubicBezTo>
                  <a:pt x="464813" y="2247522"/>
                  <a:pt x="539577" y="2228433"/>
                  <a:pt x="579346" y="2195028"/>
                </a:cubicBezTo>
                <a:cubicBezTo>
                  <a:pt x="565029" y="2198209"/>
                  <a:pt x="544349" y="2215707"/>
                  <a:pt x="533215" y="2209345"/>
                </a:cubicBezTo>
                <a:cubicBezTo>
                  <a:pt x="561848" y="2198209"/>
                  <a:pt x="587299" y="2182302"/>
                  <a:pt x="611161" y="2163213"/>
                </a:cubicBezTo>
                <a:cubicBezTo>
                  <a:pt x="568211" y="2174348"/>
                  <a:pt x="520489" y="2202981"/>
                  <a:pt x="488674" y="2217299"/>
                </a:cubicBezTo>
                <a:cubicBezTo>
                  <a:pt x="496627" y="2212526"/>
                  <a:pt x="515716" y="2202981"/>
                  <a:pt x="510944" y="2193438"/>
                </a:cubicBezTo>
                <a:cubicBezTo>
                  <a:pt x="471176" y="2220480"/>
                  <a:pt x="412318" y="2239568"/>
                  <a:pt x="388457" y="2276155"/>
                </a:cubicBezTo>
                <a:cubicBezTo>
                  <a:pt x="425044" y="2279337"/>
                  <a:pt x="447314" y="2233206"/>
                  <a:pt x="472766" y="2234796"/>
                </a:cubicBezTo>
                <a:cubicBezTo>
                  <a:pt x="440951" y="2250704"/>
                  <a:pt x="420272" y="2284109"/>
                  <a:pt x="390048" y="2304787"/>
                </a:cubicBezTo>
                <a:cubicBezTo>
                  <a:pt x="370959" y="2300016"/>
                  <a:pt x="345508" y="2298425"/>
                  <a:pt x="332782" y="2288881"/>
                </a:cubicBezTo>
                <a:cubicBezTo>
                  <a:pt x="323237" y="2244340"/>
                  <a:pt x="310512" y="2201391"/>
                  <a:pt x="265970" y="2188665"/>
                </a:cubicBezTo>
                <a:cubicBezTo>
                  <a:pt x="229384" y="2177530"/>
                  <a:pt x="176889" y="2218889"/>
                  <a:pt x="151438" y="2174348"/>
                </a:cubicBezTo>
                <a:cubicBezTo>
                  <a:pt x="167346" y="2090040"/>
                  <a:pt x="98944" y="2066179"/>
                  <a:pt x="38496" y="2045500"/>
                </a:cubicBezTo>
                <a:cubicBezTo>
                  <a:pt x="59175" y="1977097"/>
                  <a:pt x="-12407" y="1929376"/>
                  <a:pt x="1909" y="1876881"/>
                </a:cubicBezTo>
                <a:cubicBezTo>
                  <a:pt x="11453" y="1837113"/>
                  <a:pt x="59175" y="1837113"/>
                  <a:pt x="65538" y="1781437"/>
                </a:cubicBezTo>
                <a:cubicBezTo>
                  <a:pt x="138712" y="1816434"/>
                  <a:pt x="246882" y="1913468"/>
                  <a:pt x="328009" y="1868929"/>
                </a:cubicBezTo>
                <a:cubicBezTo>
                  <a:pt x="232565" y="1899152"/>
                  <a:pt x="156210" y="1802118"/>
                  <a:pt x="75083" y="1773483"/>
                </a:cubicBezTo>
                <a:cubicBezTo>
                  <a:pt x="22589" y="1754394"/>
                  <a:pt x="-10817" y="1740077"/>
                  <a:pt x="8272" y="1687583"/>
                </a:cubicBezTo>
                <a:cubicBezTo>
                  <a:pt x="65538" y="1674857"/>
                  <a:pt x="52813" y="1596911"/>
                  <a:pt x="89399" y="1560325"/>
                </a:cubicBezTo>
                <a:cubicBezTo>
                  <a:pt x="118032" y="1531692"/>
                  <a:pt x="165755" y="1536464"/>
                  <a:pt x="195979" y="1512603"/>
                </a:cubicBezTo>
                <a:cubicBezTo>
                  <a:pt x="275515" y="1539646"/>
                  <a:pt x="175299" y="1697128"/>
                  <a:pt x="277106" y="1719398"/>
                </a:cubicBezTo>
                <a:cubicBezTo>
                  <a:pt x="202342" y="1678038"/>
                  <a:pt x="297785" y="1515785"/>
                  <a:pt x="197570" y="1501468"/>
                </a:cubicBezTo>
                <a:cubicBezTo>
                  <a:pt x="202342" y="1487151"/>
                  <a:pt x="176889" y="1479197"/>
                  <a:pt x="191206" y="1468062"/>
                </a:cubicBezTo>
                <a:cubicBezTo>
                  <a:pt x="246882" y="1460108"/>
                  <a:pt x="245291" y="1552371"/>
                  <a:pt x="304148" y="1550781"/>
                </a:cubicBezTo>
                <a:cubicBezTo>
                  <a:pt x="254836" y="1530100"/>
                  <a:pt x="258018" y="1477607"/>
                  <a:pt x="207113" y="1458517"/>
                </a:cubicBezTo>
                <a:cubicBezTo>
                  <a:pt x="208704" y="1442609"/>
                  <a:pt x="207113" y="1418750"/>
                  <a:pt x="221430" y="1409205"/>
                </a:cubicBezTo>
                <a:cubicBezTo>
                  <a:pt x="237337" y="1420339"/>
                  <a:pt x="259608" y="1429885"/>
                  <a:pt x="289832" y="1434657"/>
                </a:cubicBezTo>
                <a:cubicBezTo>
                  <a:pt x="299376" y="1429885"/>
                  <a:pt x="302558" y="1415567"/>
                  <a:pt x="310512" y="1407614"/>
                </a:cubicBezTo>
                <a:cubicBezTo>
                  <a:pt x="342326" y="1412385"/>
                  <a:pt x="358233" y="1423521"/>
                  <a:pt x="385276" y="1423521"/>
                </a:cubicBezTo>
                <a:cubicBezTo>
                  <a:pt x="391639" y="1412385"/>
                  <a:pt x="409137" y="1396480"/>
                  <a:pt x="407546" y="1385344"/>
                </a:cubicBezTo>
                <a:cubicBezTo>
                  <a:pt x="378913" y="1296263"/>
                  <a:pt x="289832" y="1353528"/>
                  <a:pt x="208704" y="1320124"/>
                </a:cubicBezTo>
                <a:cubicBezTo>
                  <a:pt x="207113" y="1246950"/>
                  <a:pt x="245291" y="1199228"/>
                  <a:pt x="307330" y="1210362"/>
                </a:cubicBezTo>
                <a:cubicBezTo>
                  <a:pt x="312102" y="1176957"/>
                  <a:pt x="331191" y="1165822"/>
                  <a:pt x="348689" y="1151505"/>
                </a:cubicBezTo>
                <a:cubicBezTo>
                  <a:pt x="364596" y="1154687"/>
                  <a:pt x="378913" y="1157868"/>
                  <a:pt x="393229" y="1161050"/>
                </a:cubicBezTo>
                <a:cubicBezTo>
                  <a:pt x="417090" y="1143552"/>
                  <a:pt x="407546" y="1103784"/>
                  <a:pt x="428226" y="1086285"/>
                </a:cubicBezTo>
                <a:cubicBezTo>
                  <a:pt x="439360" y="1081513"/>
                  <a:pt x="460041" y="1092648"/>
                  <a:pt x="471176" y="1087876"/>
                </a:cubicBezTo>
                <a:cubicBezTo>
                  <a:pt x="472766" y="1070378"/>
                  <a:pt x="477539" y="1057652"/>
                  <a:pt x="483902" y="1044927"/>
                </a:cubicBezTo>
                <a:cubicBezTo>
                  <a:pt x="560256" y="1022656"/>
                  <a:pt x="568211" y="1091058"/>
                  <a:pt x="607979" y="1126054"/>
                </a:cubicBezTo>
                <a:cubicBezTo>
                  <a:pt x="668427" y="1178548"/>
                  <a:pt x="757508" y="1205590"/>
                  <a:pt x="856134" y="1213544"/>
                </a:cubicBezTo>
                <a:cubicBezTo>
                  <a:pt x="719330" y="1183320"/>
                  <a:pt x="590481" y="1132417"/>
                  <a:pt x="568211" y="1038563"/>
                </a:cubicBezTo>
                <a:cubicBezTo>
                  <a:pt x="606388" y="1087876"/>
                  <a:pt x="676380" y="1159459"/>
                  <a:pt x="776596" y="1170595"/>
                </a:cubicBezTo>
                <a:cubicBezTo>
                  <a:pt x="698651" y="1132417"/>
                  <a:pt x="614341" y="1099012"/>
                  <a:pt x="592071" y="1025837"/>
                </a:cubicBezTo>
                <a:cubicBezTo>
                  <a:pt x="585708" y="1024247"/>
                  <a:pt x="584118" y="1029019"/>
                  <a:pt x="580936" y="1030609"/>
                </a:cubicBezTo>
                <a:cubicBezTo>
                  <a:pt x="588890" y="998796"/>
                  <a:pt x="603207" y="976525"/>
                  <a:pt x="628658" y="973343"/>
                </a:cubicBezTo>
                <a:cubicBezTo>
                  <a:pt x="644566" y="989251"/>
                  <a:pt x="652520" y="1009930"/>
                  <a:pt x="671608" y="1022656"/>
                </a:cubicBezTo>
                <a:cubicBezTo>
                  <a:pt x="705013" y="1017884"/>
                  <a:pt x="751146" y="1030609"/>
                  <a:pt x="755917" y="978115"/>
                </a:cubicBezTo>
                <a:cubicBezTo>
                  <a:pt x="789322" y="962209"/>
                  <a:pt x="833864" y="965390"/>
                  <a:pt x="844998" y="916077"/>
                </a:cubicBezTo>
                <a:cubicBezTo>
                  <a:pt x="819547" y="898579"/>
                  <a:pt x="803639" y="846085"/>
                  <a:pt x="846589" y="841313"/>
                </a:cubicBezTo>
                <a:cubicBezTo>
                  <a:pt x="927717" y="831768"/>
                  <a:pt x="1015207" y="986069"/>
                  <a:pt x="1091562" y="984479"/>
                </a:cubicBezTo>
                <a:cubicBezTo>
                  <a:pt x="1042250" y="933575"/>
                  <a:pt x="962713" y="901761"/>
                  <a:pt x="919763" y="846085"/>
                </a:cubicBezTo>
                <a:cubicBezTo>
                  <a:pt x="921354" y="836540"/>
                  <a:pt x="934080" y="841313"/>
                  <a:pt x="934080" y="828586"/>
                </a:cubicBezTo>
                <a:cubicBezTo>
                  <a:pt x="919763" y="734733"/>
                  <a:pt x="1000890" y="698147"/>
                  <a:pt x="1062929" y="682239"/>
                </a:cubicBezTo>
                <a:close/>
                <a:moveTo>
                  <a:pt x="4395515" y="648875"/>
                </a:moveTo>
                <a:cubicBezTo>
                  <a:pt x="4401877" y="660010"/>
                  <a:pt x="4413013" y="677508"/>
                  <a:pt x="4405059" y="680690"/>
                </a:cubicBezTo>
                <a:cubicBezTo>
                  <a:pt x="4366881" y="698188"/>
                  <a:pt x="4354155" y="699779"/>
                  <a:pt x="4319159" y="709323"/>
                </a:cubicBezTo>
                <a:cubicBezTo>
                  <a:pt x="4314387" y="710913"/>
                  <a:pt x="4304843" y="704550"/>
                  <a:pt x="4298480" y="698188"/>
                </a:cubicBezTo>
                <a:lnTo>
                  <a:pt x="4308024" y="687053"/>
                </a:lnTo>
                <a:cubicBezTo>
                  <a:pt x="4303253" y="682280"/>
                  <a:pt x="4303253" y="677508"/>
                  <a:pt x="4314387" y="675918"/>
                </a:cubicBezTo>
                <a:cubicBezTo>
                  <a:pt x="4344611" y="671146"/>
                  <a:pt x="4366881" y="653647"/>
                  <a:pt x="4395515" y="648875"/>
                </a:cubicBezTo>
                <a:close/>
                <a:moveTo>
                  <a:pt x="1551283" y="620210"/>
                </a:moveTo>
                <a:cubicBezTo>
                  <a:pt x="1624456" y="636118"/>
                  <a:pt x="1610140" y="720427"/>
                  <a:pt x="1630819" y="763380"/>
                </a:cubicBezTo>
                <a:cubicBezTo>
                  <a:pt x="1626047" y="764971"/>
                  <a:pt x="1621275" y="764971"/>
                  <a:pt x="1618094" y="764971"/>
                </a:cubicBezTo>
                <a:cubicBezTo>
                  <a:pt x="1605368" y="706109"/>
                  <a:pt x="1576735" y="656797"/>
                  <a:pt x="1551283" y="620210"/>
                </a:cubicBezTo>
                <a:close/>
                <a:moveTo>
                  <a:pt x="1501327" y="609242"/>
                </a:moveTo>
                <a:cubicBezTo>
                  <a:pt x="1540844" y="607351"/>
                  <a:pt x="1580513" y="687210"/>
                  <a:pt x="1595823" y="722008"/>
                </a:cubicBezTo>
                <a:cubicBezTo>
                  <a:pt x="1602187" y="737914"/>
                  <a:pt x="1605368" y="752232"/>
                  <a:pt x="1608550" y="768138"/>
                </a:cubicBezTo>
                <a:cubicBezTo>
                  <a:pt x="1606959" y="769730"/>
                  <a:pt x="1603777" y="769730"/>
                  <a:pt x="1602187" y="771320"/>
                </a:cubicBezTo>
                <a:cubicBezTo>
                  <a:pt x="1597415" y="772912"/>
                  <a:pt x="1589461" y="777684"/>
                  <a:pt x="1579917" y="780866"/>
                </a:cubicBezTo>
                <a:cubicBezTo>
                  <a:pt x="1568781" y="717235"/>
                  <a:pt x="1544920" y="659969"/>
                  <a:pt x="1501971" y="617019"/>
                </a:cubicBezTo>
                <a:cubicBezTo>
                  <a:pt x="1498790" y="617019"/>
                  <a:pt x="1497199" y="618609"/>
                  <a:pt x="1497199" y="620200"/>
                </a:cubicBezTo>
                <a:cubicBezTo>
                  <a:pt x="1533785" y="659969"/>
                  <a:pt x="1554465" y="718826"/>
                  <a:pt x="1565600" y="787228"/>
                </a:cubicBezTo>
                <a:cubicBezTo>
                  <a:pt x="1559237" y="788819"/>
                  <a:pt x="1554465" y="792000"/>
                  <a:pt x="1548102" y="793591"/>
                </a:cubicBezTo>
                <a:cubicBezTo>
                  <a:pt x="1544920" y="749050"/>
                  <a:pt x="1533785" y="709281"/>
                  <a:pt x="1508333" y="682239"/>
                </a:cubicBezTo>
                <a:cubicBezTo>
                  <a:pt x="1521059" y="718826"/>
                  <a:pt x="1529013" y="757004"/>
                  <a:pt x="1533785" y="798363"/>
                </a:cubicBezTo>
                <a:cubicBezTo>
                  <a:pt x="1532194" y="799954"/>
                  <a:pt x="1530604" y="799954"/>
                  <a:pt x="1529013" y="799954"/>
                </a:cubicBezTo>
                <a:cubicBezTo>
                  <a:pt x="1513106" y="803135"/>
                  <a:pt x="1503561" y="792000"/>
                  <a:pt x="1490835" y="817452"/>
                </a:cubicBezTo>
                <a:cubicBezTo>
                  <a:pt x="1478109" y="842903"/>
                  <a:pt x="1470156" y="884263"/>
                  <a:pt x="1438341" y="903351"/>
                </a:cubicBezTo>
                <a:cubicBezTo>
                  <a:pt x="1406527" y="922441"/>
                  <a:pt x="1392210" y="920850"/>
                  <a:pt x="1393800" y="949483"/>
                </a:cubicBezTo>
                <a:cubicBezTo>
                  <a:pt x="1396982" y="978116"/>
                  <a:pt x="1419252" y="1032200"/>
                  <a:pt x="1417661" y="1046518"/>
                </a:cubicBezTo>
                <a:cubicBezTo>
                  <a:pt x="1416071" y="1060833"/>
                  <a:pt x="1420843" y="1097421"/>
                  <a:pt x="1425615" y="1103784"/>
                </a:cubicBezTo>
                <a:cubicBezTo>
                  <a:pt x="1430387" y="1110147"/>
                  <a:pt x="1457431" y="1157869"/>
                  <a:pt x="1481291" y="1176957"/>
                </a:cubicBezTo>
                <a:cubicBezTo>
                  <a:pt x="1505152" y="1196046"/>
                  <a:pt x="1516287" y="1189684"/>
                  <a:pt x="1516287" y="1219907"/>
                </a:cubicBezTo>
                <a:cubicBezTo>
                  <a:pt x="1516287" y="1250131"/>
                  <a:pt x="1533785" y="1320123"/>
                  <a:pt x="1498790" y="1320123"/>
                </a:cubicBezTo>
                <a:cubicBezTo>
                  <a:pt x="1463793" y="1320123"/>
                  <a:pt x="1400163" y="1280355"/>
                  <a:pt x="1396982" y="1266038"/>
                </a:cubicBezTo>
                <a:cubicBezTo>
                  <a:pt x="1395392" y="1251722"/>
                  <a:pt x="1392210" y="1141962"/>
                  <a:pt x="1368349" y="1127644"/>
                </a:cubicBezTo>
                <a:cubicBezTo>
                  <a:pt x="1344488" y="1113328"/>
                  <a:pt x="1350851" y="1116509"/>
                  <a:pt x="1339716" y="1105375"/>
                </a:cubicBezTo>
                <a:cubicBezTo>
                  <a:pt x="1328581" y="1095830"/>
                  <a:pt x="1287223" y="1030610"/>
                  <a:pt x="1287223" y="1019475"/>
                </a:cubicBezTo>
                <a:cubicBezTo>
                  <a:pt x="1287223" y="1008339"/>
                  <a:pt x="1314264" y="868356"/>
                  <a:pt x="1287223" y="712463"/>
                </a:cubicBezTo>
                <a:cubicBezTo>
                  <a:pt x="1282449" y="691784"/>
                  <a:pt x="1279268" y="672694"/>
                  <a:pt x="1277677" y="655196"/>
                </a:cubicBezTo>
                <a:cubicBezTo>
                  <a:pt x="1290403" y="663150"/>
                  <a:pt x="1303129" y="671104"/>
                  <a:pt x="1317446" y="677467"/>
                </a:cubicBezTo>
                <a:cubicBezTo>
                  <a:pt x="1342897" y="677467"/>
                  <a:pt x="1357213" y="645652"/>
                  <a:pt x="1400163" y="656787"/>
                </a:cubicBezTo>
                <a:cubicBezTo>
                  <a:pt x="1436751" y="666332"/>
                  <a:pt x="1482882" y="720417"/>
                  <a:pt x="1505152" y="680648"/>
                </a:cubicBezTo>
                <a:cubicBezTo>
                  <a:pt x="1519470" y="655196"/>
                  <a:pt x="1487654" y="637699"/>
                  <a:pt x="1484472" y="615428"/>
                </a:cubicBezTo>
                <a:cubicBezTo>
                  <a:pt x="1490040" y="611451"/>
                  <a:pt x="1495682" y="609513"/>
                  <a:pt x="1501327" y="609242"/>
                </a:cubicBezTo>
                <a:close/>
                <a:moveTo>
                  <a:pt x="1635592" y="607477"/>
                </a:moveTo>
                <a:cubicBezTo>
                  <a:pt x="1688086" y="647246"/>
                  <a:pt x="1773985" y="653608"/>
                  <a:pt x="1824889" y="618612"/>
                </a:cubicBezTo>
                <a:cubicBezTo>
                  <a:pt x="1856704" y="632929"/>
                  <a:pt x="1885337" y="664743"/>
                  <a:pt x="1926697" y="655199"/>
                </a:cubicBezTo>
                <a:cubicBezTo>
                  <a:pt x="1931468" y="683832"/>
                  <a:pt x="1968056" y="691786"/>
                  <a:pt x="1996688" y="706103"/>
                </a:cubicBezTo>
                <a:cubicBezTo>
                  <a:pt x="2031685" y="669516"/>
                  <a:pt x="2104858" y="714056"/>
                  <a:pt x="2104858" y="747461"/>
                </a:cubicBezTo>
                <a:cubicBezTo>
                  <a:pt x="2104858" y="822227"/>
                  <a:pt x="1971237" y="944713"/>
                  <a:pt x="1969646" y="998799"/>
                </a:cubicBezTo>
                <a:cubicBezTo>
                  <a:pt x="2028503" y="939942"/>
                  <a:pt x="2069862" y="826999"/>
                  <a:pt x="2117584" y="764961"/>
                </a:cubicBezTo>
                <a:cubicBezTo>
                  <a:pt x="2087360" y="892220"/>
                  <a:pt x="1998279" y="990845"/>
                  <a:pt x="1944195" y="1081517"/>
                </a:cubicBezTo>
                <a:cubicBezTo>
                  <a:pt x="1983962" y="1033794"/>
                  <a:pt x="2026912" y="992436"/>
                  <a:pt x="2058727" y="931989"/>
                </a:cubicBezTo>
                <a:cubicBezTo>
                  <a:pt x="2096905" y="906537"/>
                  <a:pt x="2185985" y="782459"/>
                  <a:pt x="2149399" y="717237"/>
                </a:cubicBezTo>
                <a:cubicBezTo>
                  <a:pt x="2185985" y="699740"/>
                  <a:pt x="2206665" y="741099"/>
                  <a:pt x="2225754" y="755415"/>
                </a:cubicBezTo>
                <a:cubicBezTo>
                  <a:pt x="2222572" y="819046"/>
                  <a:pt x="2252796" y="861995"/>
                  <a:pt x="2289384" y="900174"/>
                </a:cubicBezTo>
                <a:cubicBezTo>
                  <a:pt x="2290974" y="901765"/>
                  <a:pt x="2290974" y="901765"/>
                  <a:pt x="2290974" y="901765"/>
                </a:cubicBezTo>
                <a:cubicBezTo>
                  <a:pt x="2290974" y="901765"/>
                  <a:pt x="2292565" y="903355"/>
                  <a:pt x="2292565" y="903355"/>
                </a:cubicBezTo>
                <a:cubicBezTo>
                  <a:pt x="2294156" y="904946"/>
                  <a:pt x="2295747" y="906537"/>
                  <a:pt x="2297337" y="908128"/>
                </a:cubicBezTo>
                <a:cubicBezTo>
                  <a:pt x="2298928" y="909718"/>
                  <a:pt x="2298928" y="909718"/>
                  <a:pt x="2298928" y="911309"/>
                </a:cubicBezTo>
                <a:lnTo>
                  <a:pt x="2300518" y="911309"/>
                </a:lnTo>
                <a:cubicBezTo>
                  <a:pt x="2302109" y="912899"/>
                  <a:pt x="2305290" y="916081"/>
                  <a:pt x="2306881" y="917672"/>
                </a:cubicBezTo>
                <a:lnTo>
                  <a:pt x="2306881" y="919262"/>
                </a:lnTo>
                <a:cubicBezTo>
                  <a:pt x="2303700" y="920853"/>
                  <a:pt x="2303700" y="919262"/>
                  <a:pt x="2303700" y="922444"/>
                </a:cubicBezTo>
                <a:lnTo>
                  <a:pt x="2301523" y="923460"/>
                </a:lnTo>
                <a:lnTo>
                  <a:pt x="2303700" y="925637"/>
                </a:lnTo>
                <a:cubicBezTo>
                  <a:pt x="2302109" y="925637"/>
                  <a:pt x="2302109" y="925637"/>
                  <a:pt x="2300518" y="925637"/>
                </a:cubicBezTo>
                <a:lnTo>
                  <a:pt x="2298928" y="927228"/>
                </a:lnTo>
                <a:cubicBezTo>
                  <a:pt x="2300518" y="928818"/>
                  <a:pt x="2300518" y="927228"/>
                  <a:pt x="2298928" y="928818"/>
                </a:cubicBezTo>
                <a:lnTo>
                  <a:pt x="2295747" y="925637"/>
                </a:lnTo>
                <a:lnTo>
                  <a:pt x="2297337" y="924047"/>
                </a:lnTo>
                <a:lnTo>
                  <a:pt x="2300518" y="924047"/>
                </a:lnTo>
                <a:lnTo>
                  <a:pt x="2300518" y="923858"/>
                </a:lnTo>
                <a:lnTo>
                  <a:pt x="2298928" y="924035"/>
                </a:lnTo>
                <a:lnTo>
                  <a:pt x="2297337" y="924035"/>
                </a:lnTo>
                <a:cubicBezTo>
                  <a:pt x="2294156" y="924035"/>
                  <a:pt x="2295747" y="925625"/>
                  <a:pt x="2294156" y="924035"/>
                </a:cubicBezTo>
                <a:cubicBezTo>
                  <a:pt x="2292565" y="925625"/>
                  <a:pt x="2289384" y="925625"/>
                  <a:pt x="2287794" y="927216"/>
                </a:cubicBezTo>
                <a:lnTo>
                  <a:pt x="2287794" y="928807"/>
                </a:lnTo>
                <a:lnTo>
                  <a:pt x="2286202" y="930398"/>
                </a:lnTo>
                <a:lnTo>
                  <a:pt x="2286202" y="933578"/>
                </a:lnTo>
                <a:lnTo>
                  <a:pt x="2289384" y="933578"/>
                </a:lnTo>
                <a:cubicBezTo>
                  <a:pt x="2286202" y="936760"/>
                  <a:pt x="2289384" y="933578"/>
                  <a:pt x="2286202" y="935170"/>
                </a:cubicBezTo>
                <a:lnTo>
                  <a:pt x="2286202" y="936760"/>
                </a:lnTo>
                <a:lnTo>
                  <a:pt x="2283020" y="938351"/>
                </a:lnTo>
                <a:cubicBezTo>
                  <a:pt x="2281430" y="936760"/>
                  <a:pt x="2281430" y="938351"/>
                  <a:pt x="2283020" y="936760"/>
                </a:cubicBezTo>
                <a:cubicBezTo>
                  <a:pt x="2281430" y="936760"/>
                  <a:pt x="2281430" y="938351"/>
                  <a:pt x="2281430" y="936760"/>
                </a:cubicBezTo>
                <a:cubicBezTo>
                  <a:pt x="2281430" y="935170"/>
                  <a:pt x="2281430" y="936760"/>
                  <a:pt x="2281430" y="935170"/>
                </a:cubicBezTo>
                <a:lnTo>
                  <a:pt x="2281430" y="933578"/>
                </a:lnTo>
                <a:lnTo>
                  <a:pt x="2278248" y="933578"/>
                </a:lnTo>
                <a:lnTo>
                  <a:pt x="2279839" y="935170"/>
                </a:lnTo>
                <a:cubicBezTo>
                  <a:pt x="2276657" y="936760"/>
                  <a:pt x="2276657" y="935170"/>
                  <a:pt x="2276657" y="938351"/>
                </a:cubicBezTo>
                <a:lnTo>
                  <a:pt x="2273476" y="938351"/>
                </a:lnTo>
                <a:cubicBezTo>
                  <a:pt x="2275066" y="935170"/>
                  <a:pt x="2273476" y="935170"/>
                  <a:pt x="2276657" y="935170"/>
                </a:cubicBezTo>
                <a:cubicBezTo>
                  <a:pt x="2276657" y="933578"/>
                  <a:pt x="2276657" y="933578"/>
                  <a:pt x="2276657" y="933578"/>
                </a:cubicBezTo>
                <a:cubicBezTo>
                  <a:pt x="2276657" y="933578"/>
                  <a:pt x="2276657" y="933578"/>
                  <a:pt x="2275066" y="933578"/>
                </a:cubicBezTo>
                <a:lnTo>
                  <a:pt x="2273476" y="935170"/>
                </a:lnTo>
                <a:lnTo>
                  <a:pt x="2273476" y="938351"/>
                </a:lnTo>
                <a:lnTo>
                  <a:pt x="2276223" y="941099"/>
                </a:lnTo>
                <a:lnTo>
                  <a:pt x="2275066" y="941532"/>
                </a:lnTo>
                <a:lnTo>
                  <a:pt x="2271885" y="941532"/>
                </a:lnTo>
                <a:cubicBezTo>
                  <a:pt x="2273476" y="939942"/>
                  <a:pt x="2271885" y="939942"/>
                  <a:pt x="2271885" y="939942"/>
                </a:cubicBezTo>
                <a:cubicBezTo>
                  <a:pt x="2270294" y="939942"/>
                  <a:pt x="2270294" y="939942"/>
                  <a:pt x="2268704" y="939942"/>
                </a:cubicBezTo>
                <a:lnTo>
                  <a:pt x="2267113" y="938351"/>
                </a:lnTo>
                <a:lnTo>
                  <a:pt x="2267113" y="935170"/>
                </a:lnTo>
                <a:cubicBezTo>
                  <a:pt x="2262342" y="935170"/>
                  <a:pt x="2263932" y="936760"/>
                  <a:pt x="2260750" y="938351"/>
                </a:cubicBezTo>
                <a:cubicBezTo>
                  <a:pt x="2260750" y="936760"/>
                  <a:pt x="2260750" y="936760"/>
                  <a:pt x="2262342" y="935170"/>
                </a:cubicBezTo>
                <a:cubicBezTo>
                  <a:pt x="2259159" y="933578"/>
                  <a:pt x="2262342" y="935170"/>
                  <a:pt x="2259159" y="935170"/>
                </a:cubicBezTo>
                <a:cubicBezTo>
                  <a:pt x="2259159" y="931989"/>
                  <a:pt x="2259159" y="933578"/>
                  <a:pt x="2260750" y="931989"/>
                </a:cubicBezTo>
                <a:cubicBezTo>
                  <a:pt x="2257570" y="930398"/>
                  <a:pt x="2257570" y="927216"/>
                  <a:pt x="2254387" y="927216"/>
                </a:cubicBezTo>
                <a:lnTo>
                  <a:pt x="2252796" y="930398"/>
                </a:lnTo>
                <a:lnTo>
                  <a:pt x="2257570" y="931989"/>
                </a:lnTo>
                <a:cubicBezTo>
                  <a:pt x="2257570" y="931989"/>
                  <a:pt x="2255978" y="933578"/>
                  <a:pt x="2255978" y="933578"/>
                </a:cubicBezTo>
                <a:cubicBezTo>
                  <a:pt x="2255978" y="935170"/>
                  <a:pt x="2257570" y="935170"/>
                  <a:pt x="2259159" y="935170"/>
                </a:cubicBezTo>
                <a:lnTo>
                  <a:pt x="2257570" y="936760"/>
                </a:lnTo>
                <a:lnTo>
                  <a:pt x="2255978" y="936760"/>
                </a:lnTo>
                <a:lnTo>
                  <a:pt x="2254387" y="938351"/>
                </a:lnTo>
                <a:cubicBezTo>
                  <a:pt x="2254387" y="939942"/>
                  <a:pt x="2254387" y="938351"/>
                  <a:pt x="2254387" y="939942"/>
                </a:cubicBezTo>
                <a:lnTo>
                  <a:pt x="2254876" y="940432"/>
                </a:lnTo>
                <a:lnTo>
                  <a:pt x="2255136" y="941532"/>
                </a:lnTo>
                <a:lnTo>
                  <a:pt x="2252796" y="941532"/>
                </a:lnTo>
                <a:lnTo>
                  <a:pt x="2251205" y="944713"/>
                </a:lnTo>
                <a:lnTo>
                  <a:pt x="2249615" y="946304"/>
                </a:lnTo>
                <a:lnTo>
                  <a:pt x="2248024" y="946304"/>
                </a:lnTo>
                <a:lnTo>
                  <a:pt x="2248024" y="947896"/>
                </a:lnTo>
                <a:lnTo>
                  <a:pt x="2244842" y="947896"/>
                </a:lnTo>
                <a:cubicBezTo>
                  <a:pt x="2243252" y="944713"/>
                  <a:pt x="2243252" y="946304"/>
                  <a:pt x="2241661" y="944713"/>
                </a:cubicBezTo>
                <a:lnTo>
                  <a:pt x="2244842" y="941532"/>
                </a:lnTo>
                <a:cubicBezTo>
                  <a:pt x="2246433" y="941532"/>
                  <a:pt x="2246433" y="941532"/>
                  <a:pt x="2246433" y="939942"/>
                </a:cubicBezTo>
                <a:lnTo>
                  <a:pt x="2244842" y="939942"/>
                </a:lnTo>
                <a:lnTo>
                  <a:pt x="2244842" y="936760"/>
                </a:lnTo>
                <a:cubicBezTo>
                  <a:pt x="2243252" y="936760"/>
                  <a:pt x="2243252" y="936760"/>
                  <a:pt x="2241661" y="938351"/>
                </a:cubicBezTo>
                <a:cubicBezTo>
                  <a:pt x="2243252" y="941532"/>
                  <a:pt x="2241661" y="936760"/>
                  <a:pt x="2241661" y="939942"/>
                </a:cubicBezTo>
                <a:lnTo>
                  <a:pt x="2244842" y="941532"/>
                </a:lnTo>
                <a:lnTo>
                  <a:pt x="2241661" y="941532"/>
                </a:lnTo>
                <a:lnTo>
                  <a:pt x="2240070" y="941532"/>
                </a:lnTo>
                <a:lnTo>
                  <a:pt x="2238480" y="944713"/>
                </a:lnTo>
                <a:lnTo>
                  <a:pt x="2238480" y="947896"/>
                </a:lnTo>
                <a:lnTo>
                  <a:pt x="2240070" y="949485"/>
                </a:lnTo>
                <a:lnTo>
                  <a:pt x="2241661" y="949485"/>
                </a:lnTo>
                <a:lnTo>
                  <a:pt x="2244842" y="951077"/>
                </a:lnTo>
                <a:cubicBezTo>
                  <a:pt x="2244842" y="954258"/>
                  <a:pt x="2246433" y="951077"/>
                  <a:pt x="2244842" y="954258"/>
                </a:cubicBezTo>
                <a:lnTo>
                  <a:pt x="2246433" y="955849"/>
                </a:lnTo>
                <a:lnTo>
                  <a:pt x="2248024" y="954258"/>
                </a:lnTo>
                <a:lnTo>
                  <a:pt x="2249615" y="951077"/>
                </a:lnTo>
                <a:cubicBezTo>
                  <a:pt x="2251205" y="951077"/>
                  <a:pt x="2252796" y="951077"/>
                  <a:pt x="2252796" y="952667"/>
                </a:cubicBezTo>
                <a:cubicBezTo>
                  <a:pt x="2252796" y="954258"/>
                  <a:pt x="2251205" y="955849"/>
                  <a:pt x="2249615" y="955849"/>
                </a:cubicBezTo>
                <a:lnTo>
                  <a:pt x="2249615" y="957439"/>
                </a:lnTo>
                <a:lnTo>
                  <a:pt x="2246433" y="959030"/>
                </a:lnTo>
                <a:lnTo>
                  <a:pt x="2246433" y="960621"/>
                </a:lnTo>
                <a:lnTo>
                  <a:pt x="2244842" y="962212"/>
                </a:lnTo>
                <a:cubicBezTo>
                  <a:pt x="2246433" y="962212"/>
                  <a:pt x="2247228" y="961814"/>
                  <a:pt x="2247825" y="961814"/>
                </a:cubicBezTo>
                <a:lnTo>
                  <a:pt x="2248248" y="962284"/>
                </a:lnTo>
                <a:lnTo>
                  <a:pt x="2245837" y="962411"/>
                </a:lnTo>
                <a:lnTo>
                  <a:pt x="2244285" y="963246"/>
                </a:lnTo>
                <a:lnTo>
                  <a:pt x="2241661" y="960621"/>
                </a:lnTo>
                <a:cubicBezTo>
                  <a:pt x="2241661" y="959030"/>
                  <a:pt x="2241661" y="959030"/>
                  <a:pt x="2243252" y="959030"/>
                </a:cubicBezTo>
                <a:lnTo>
                  <a:pt x="2244842" y="957439"/>
                </a:lnTo>
                <a:lnTo>
                  <a:pt x="2241661" y="957439"/>
                </a:lnTo>
                <a:lnTo>
                  <a:pt x="2238480" y="959030"/>
                </a:lnTo>
                <a:cubicBezTo>
                  <a:pt x="2236889" y="957439"/>
                  <a:pt x="2236889" y="957439"/>
                  <a:pt x="2235299" y="957439"/>
                </a:cubicBezTo>
                <a:lnTo>
                  <a:pt x="2233708" y="955849"/>
                </a:lnTo>
                <a:cubicBezTo>
                  <a:pt x="2232118" y="955849"/>
                  <a:pt x="2233708" y="955849"/>
                  <a:pt x="2232118" y="955849"/>
                </a:cubicBezTo>
                <a:lnTo>
                  <a:pt x="2230526" y="957439"/>
                </a:lnTo>
                <a:cubicBezTo>
                  <a:pt x="2230526" y="955849"/>
                  <a:pt x="2230526" y="955849"/>
                  <a:pt x="2232118" y="954258"/>
                </a:cubicBezTo>
                <a:lnTo>
                  <a:pt x="2230526" y="954258"/>
                </a:lnTo>
                <a:lnTo>
                  <a:pt x="2227345" y="957439"/>
                </a:lnTo>
                <a:lnTo>
                  <a:pt x="2228538" y="959826"/>
                </a:lnTo>
                <a:cubicBezTo>
                  <a:pt x="2228140" y="959428"/>
                  <a:pt x="2228140" y="959030"/>
                  <a:pt x="2227345" y="959030"/>
                </a:cubicBezTo>
                <a:lnTo>
                  <a:pt x="2225754" y="959030"/>
                </a:lnTo>
                <a:lnTo>
                  <a:pt x="2224163" y="962212"/>
                </a:lnTo>
                <a:lnTo>
                  <a:pt x="2224163" y="968575"/>
                </a:lnTo>
                <a:lnTo>
                  <a:pt x="2222572" y="970165"/>
                </a:lnTo>
                <a:lnTo>
                  <a:pt x="2222573" y="970165"/>
                </a:lnTo>
                <a:lnTo>
                  <a:pt x="2220983" y="971756"/>
                </a:lnTo>
                <a:lnTo>
                  <a:pt x="2219391" y="974937"/>
                </a:lnTo>
                <a:lnTo>
                  <a:pt x="2219391" y="976528"/>
                </a:lnTo>
                <a:cubicBezTo>
                  <a:pt x="2222572" y="976528"/>
                  <a:pt x="2220983" y="976528"/>
                  <a:pt x="2222572" y="974937"/>
                </a:cubicBezTo>
                <a:cubicBezTo>
                  <a:pt x="2224163" y="974937"/>
                  <a:pt x="2225754" y="974937"/>
                  <a:pt x="2225754" y="973346"/>
                </a:cubicBezTo>
                <a:lnTo>
                  <a:pt x="2222573" y="970165"/>
                </a:lnTo>
                <a:lnTo>
                  <a:pt x="2224163" y="968575"/>
                </a:lnTo>
                <a:lnTo>
                  <a:pt x="2225754" y="968575"/>
                </a:lnTo>
                <a:lnTo>
                  <a:pt x="2225754" y="960621"/>
                </a:lnTo>
                <a:lnTo>
                  <a:pt x="2228936" y="960621"/>
                </a:lnTo>
                <a:lnTo>
                  <a:pt x="2228538" y="959826"/>
                </a:lnTo>
                <a:lnTo>
                  <a:pt x="2232118" y="960621"/>
                </a:lnTo>
                <a:lnTo>
                  <a:pt x="2230526" y="962212"/>
                </a:lnTo>
                <a:cubicBezTo>
                  <a:pt x="2232118" y="965393"/>
                  <a:pt x="2230526" y="962212"/>
                  <a:pt x="2232118" y="965393"/>
                </a:cubicBezTo>
                <a:lnTo>
                  <a:pt x="2235299" y="962212"/>
                </a:lnTo>
                <a:lnTo>
                  <a:pt x="2235299" y="962212"/>
                </a:lnTo>
                <a:lnTo>
                  <a:pt x="2236891" y="962212"/>
                </a:lnTo>
                <a:lnTo>
                  <a:pt x="2236891" y="962213"/>
                </a:lnTo>
                <a:lnTo>
                  <a:pt x="2240070" y="963803"/>
                </a:lnTo>
                <a:lnTo>
                  <a:pt x="2238480" y="965393"/>
                </a:lnTo>
                <a:lnTo>
                  <a:pt x="2238480" y="965393"/>
                </a:lnTo>
                <a:lnTo>
                  <a:pt x="2240070" y="966984"/>
                </a:lnTo>
                <a:lnTo>
                  <a:pt x="2240070" y="965393"/>
                </a:lnTo>
                <a:lnTo>
                  <a:pt x="2243252" y="965393"/>
                </a:lnTo>
                <a:lnTo>
                  <a:pt x="2243252" y="966984"/>
                </a:lnTo>
                <a:lnTo>
                  <a:pt x="2243252" y="968575"/>
                </a:lnTo>
                <a:lnTo>
                  <a:pt x="2241661" y="970165"/>
                </a:lnTo>
                <a:cubicBezTo>
                  <a:pt x="2243252" y="970165"/>
                  <a:pt x="2243252" y="970165"/>
                  <a:pt x="2244842" y="970165"/>
                </a:cubicBezTo>
                <a:lnTo>
                  <a:pt x="2246433" y="970165"/>
                </a:lnTo>
                <a:lnTo>
                  <a:pt x="2248024" y="970165"/>
                </a:lnTo>
                <a:cubicBezTo>
                  <a:pt x="2249615" y="966984"/>
                  <a:pt x="2248024" y="968575"/>
                  <a:pt x="2251205" y="966984"/>
                </a:cubicBezTo>
                <a:cubicBezTo>
                  <a:pt x="2249615" y="965393"/>
                  <a:pt x="2249615" y="966984"/>
                  <a:pt x="2251205" y="965393"/>
                </a:cubicBezTo>
                <a:lnTo>
                  <a:pt x="2248024" y="965393"/>
                </a:lnTo>
                <a:lnTo>
                  <a:pt x="2249615" y="966984"/>
                </a:lnTo>
                <a:cubicBezTo>
                  <a:pt x="2244842" y="966984"/>
                  <a:pt x="2248024" y="966984"/>
                  <a:pt x="2244842" y="965393"/>
                </a:cubicBezTo>
                <a:lnTo>
                  <a:pt x="2246433" y="963803"/>
                </a:lnTo>
                <a:lnTo>
                  <a:pt x="2249615" y="963803"/>
                </a:lnTo>
                <a:lnTo>
                  <a:pt x="2248248" y="962284"/>
                </a:lnTo>
                <a:lnTo>
                  <a:pt x="2249615" y="962212"/>
                </a:lnTo>
                <a:lnTo>
                  <a:pt x="2252796" y="962212"/>
                </a:lnTo>
                <a:lnTo>
                  <a:pt x="2252796" y="963803"/>
                </a:lnTo>
                <a:cubicBezTo>
                  <a:pt x="2255978" y="963803"/>
                  <a:pt x="2254387" y="963803"/>
                  <a:pt x="2257570" y="962212"/>
                </a:cubicBezTo>
                <a:lnTo>
                  <a:pt x="2257570" y="960621"/>
                </a:lnTo>
                <a:lnTo>
                  <a:pt x="2257570" y="957439"/>
                </a:lnTo>
                <a:lnTo>
                  <a:pt x="2255978" y="959030"/>
                </a:lnTo>
                <a:lnTo>
                  <a:pt x="2252796" y="959030"/>
                </a:lnTo>
                <a:lnTo>
                  <a:pt x="2251205" y="959030"/>
                </a:lnTo>
                <a:lnTo>
                  <a:pt x="2254387" y="955849"/>
                </a:lnTo>
                <a:lnTo>
                  <a:pt x="2257570" y="954258"/>
                </a:lnTo>
                <a:lnTo>
                  <a:pt x="2259159" y="955849"/>
                </a:lnTo>
                <a:lnTo>
                  <a:pt x="2259159" y="957439"/>
                </a:lnTo>
                <a:lnTo>
                  <a:pt x="2259159" y="959030"/>
                </a:lnTo>
                <a:cubicBezTo>
                  <a:pt x="2262342" y="959030"/>
                  <a:pt x="2262342" y="959030"/>
                  <a:pt x="2262342" y="957439"/>
                </a:cubicBezTo>
                <a:cubicBezTo>
                  <a:pt x="2263932" y="957439"/>
                  <a:pt x="2262342" y="957439"/>
                  <a:pt x="2263932" y="957439"/>
                </a:cubicBezTo>
                <a:lnTo>
                  <a:pt x="2265523" y="957439"/>
                </a:lnTo>
                <a:lnTo>
                  <a:pt x="2267113" y="955849"/>
                </a:lnTo>
                <a:cubicBezTo>
                  <a:pt x="2267113" y="954258"/>
                  <a:pt x="2267113" y="955849"/>
                  <a:pt x="2267113" y="954258"/>
                </a:cubicBezTo>
                <a:lnTo>
                  <a:pt x="2265523" y="952667"/>
                </a:lnTo>
                <a:lnTo>
                  <a:pt x="2262342" y="951077"/>
                </a:lnTo>
                <a:lnTo>
                  <a:pt x="2260219" y="952137"/>
                </a:lnTo>
                <a:lnTo>
                  <a:pt x="2259159" y="951076"/>
                </a:lnTo>
                <a:lnTo>
                  <a:pt x="2259159" y="949485"/>
                </a:lnTo>
                <a:lnTo>
                  <a:pt x="2263932" y="949485"/>
                </a:lnTo>
                <a:cubicBezTo>
                  <a:pt x="2262342" y="947896"/>
                  <a:pt x="2262342" y="949485"/>
                  <a:pt x="2263932" y="947896"/>
                </a:cubicBezTo>
                <a:cubicBezTo>
                  <a:pt x="2260750" y="947896"/>
                  <a:pt x="2260750" y="947896"/>
                  <a:pt x="2259159" y="949485"/>
                </a:cubicBezTo>
                <a:lnTo>
                  <a:pt x="2257570" y="949485"/>
                </a:lnTo>
                <a:lnTo>
                  <a:pt x="2255978" y="949485"/>
                </a:lnTo>
                <a:lnTo>
                  <a:pt x="2255978" y="947896"/>
                </a:lnTo>
                <a:cubicBezTo>
                  <a:pt x="2252796" y="947896"/>
                  <a:pt x="2254387" y="946304"/>
                  <a:pt x="2252796" y="949485"/>
                </a:cubicBezTo>
                <a:lnTo>
                  <a:pt x="2255978" y="949485"/>
                </a:lnTo>
                <a:cubicBezTo>
                  <a:pt x="2255978" y="954258"/>
                  <a:pt x="2254387" y="951077"/>
                  <a:pt x="2251205" y="951077"/>
                </a:cubicBezTo>
                <a:lnTo>
                  <a:pt x="2251205" y="946304"/>
                </a:lnTo>
                <a:lnTo>
                  <a:pt x="2255978" y="941532"/>
                </a:lnTo>
                <a:lnTo>
                  <a:pt x="2255978" y="943123"/>
                </a:lnTo>
                <a:lnTo>
                  <a:pt x="2254387" y="944118"/>
                </a:lnTo>
                <a:cubicBezTo>
                  <a:pt x="2253989" y="944316"/>
                  <a:pt x="2253591" y="944713"/>
                  <a:pt x="2252796" y="946304"/>
                </a:cubicBezTo>
                <a:lnTo>
                  <a:pt x="2255978" y="943123"/>
                </a:lnTo>
                <a:lnTo>
                  <a:pt x="2257570" y="941532"/>
                </a:lnTo>
                <a:cubicBezTo>
                  <a:pt x="2260750" y="941532"/>
                  <a:pt x="2259159" y="941532"/>
                  <a:pt x="2260750" y="938351"/>
                </a:cubicBezTo>
                <a:lnTo>
                  <a:pt x="2262342" y="938351"/>
                </a:lnTo>
                <a:lnTo>
                  <a:pt x="2263932" y="941532"/>
                </a:lnTo>
                <a:lnTo>
                  <a:pt x="2265523" y="939942"/>
                </a:lnTo>
                <a:cubicBezTo>
                  <a:pt x="2267113" y="941532"/>
                  <a:pt x="2267113" y="941532"/>
                  <a:pt x="2267113" y="943123"/>
                </a:cubicBezTo>
                <a:cubicBezTo>
                  <a:pt x="2270294" y="943123"/>
                  <a:pt x="2268704" y="943123"/>
                  <a:pt x="2270294" y="941532"/>
                </a:cubicBezTo>
                <a:lnTo>
                  <a:pt x="2273476" y="943123"/>
                </a:lnTo>
                <a:lnTo>
                  <a:pt x="2275066" y="941532"/>
                </a:lnTo>
                <a:lnTo>
                  <a:pt x="2276657" y="941532"/>
                </a:lnTo>
                <a:lnTo>
                  <a:pt x="2276223" y="941099"/>
                </a:lnTo>
                <a:lnTo>
                  <a:pt x="2276657" y="940936"/>
                </a:lnTo>
                <a:cubicBezTo>
                  <a:pt x="2276657" y="940737"/>
                  <a:pt x="2276657" y="940737"/>
                  <a:pt x="2278248" y="941532"/>
                </a:cubicBezTo>
                <a:cubicBezTo>
                  <a:pt x="2279839" y="939942"/>
                  <a:pt x="2279839" y="939942"/>
                  <a:pt x="2281430" y="939942"/>
                </a:cubicBezTo>
                <a:lnTo>
                  <a:pt x="2284611" y="939942"/>
                </a:lnTo>
                <a:cubicBezTo>
                  <a:pt x="2287794" y="939942"/>
                  <a:pt x="2287794" y="938351"/>
                  <a:pt x="2287794" y="936760"/>
                </a:cubicBezTo>
                <a:lnTo>
                  <a:pt x="2290974" y="936760"/>
                </a:lnTo>
                <a:cubicBezTo>
                  <a:pt x="2290974" y="938351"/>
                  <a:pt x="2290974" y="936760"/>
                  <a:pt x="2290974" y="938351"/>
                </a:cubicBezTo>
                <a:lnTo>
                  <a:pt x="2289384" y="939942"/>
                </a:lnTo>
                <a:lnTo>
                  <a:pt x="2289384" y="941532"/>
                </a:lnTo>
                <a:lnTo>
                  <a:pt x="2287794" y="943123"/>
                </a:lnTo>
                <a:lnTo>
                  <a:pt x="2286202" y="941532"/>
                </a:lnTo>
                <a:lnTo>
                  <a:pt x="2284611" y="943123"/>
                </a:lnTo>
                <a:lnTo>
                  <a:pt x="2283020" y="941532"/>
                </a:lnTo>
                <a:cubicBezTo>
                  <a:pt x="2281430" y="941532"/>
                  <a:pt x="2279839" y="941532"/>
                  <a:pt x="2279839" y="944713"/>
                </a:cubicBezTo>
                <a:cubicBezTo>
                  <a:pt x="2283020" y="944713"/>
                  <a:pt x="2279839" y="946304"/>
                  <a:pt x="2283020" y="944713"/>
                </a:cubicBezTo>
                <a:cubicBezTo>
                  <a:pt x="2284611" y="944713"/>
                  <a:pt x="2284611" y="946304"/>
                  <a:pt x="2286202" y="946304"/>
                </a:cubicBezTo>
                <a:cubicBezTo>
                  <a:pt x="2287794" y="946304"/>
                  <a:pt x="2287794" y="946304"/>
                  <a:pt x="2289384" y="944713"/>
                </a:cubicBezTo>
                <a:lnTo>
                  <a:pt x="2289384" y="943123"/>
                </a:lnTo>
                <a:lnTo>
                  <a:pt x="2290974" y="941532"/>
                </a:lnTo>
                <a:lnTo>
                  <a:pt x="2289384" y="939942"/>
                </a:lnTo>
                <a:lnTo>
                  <a:pt x="2290974" y="939942"/>
                </a:lnTo>
                <a:lnTo>
                  <a:pt x="2291106" y="939809"/>
                </a:lnTo>
                <a:lnTo>
                  <a:pt x="2290975" y="938363"/>
                </a:lnTo>
                <a:lnTo>
                  <a:pt x="2292027" y="938889"/>
                </a:lnTo>
                <a:lnTo>
                  <a:pt x="2294156" y="936760"/>
                </a:lnTo>
                <a:lnTo>
                  <a:pt x="2295747" y="936760"/>
                </a:lnTo>
                <a:lnTo>
                  <a:pt x="2295747" y="938959"/>
                </a:lnTo>
                <a:cubicBezTo>
                  <a:pt x="2296145" y="938761"/>
                  <a:pt x="2296542" y="938362"/>
                  <a:pt x="2297337" y="936772"/>
                </a:cubicBezTo>
                <a:lnTo>
                  <a:pt x="2300494" y="936772"/>
                </a:lnTo>
                <a:lnTo>
                  <a:pt x="2300518" y="936760"/>
                </a:lnTo>
                <a:lnTo>
                  <a:pt x="2298928" y="935170"/>
                </a:lnTo>
                <a:lnTo>
                  <a:pt x="2300832" y="934217"/>
                </a:lnTo>
                <a:lnTo>
                  <a:pt x="2300520" y="933592"/>
                </a:lnTo>
                <a:lnTo>
                  <a:pt x="2302111" y="932000"/>
                </a:lnTo>
                <a:lnTo>
                  <a:pt x="2303257" y="933148"/>
                </a:lnTo>
                <a:lnTo>
                  <a:pt x="2303700" y="932982"/>
                </a:lnTo>
                <a:cubicBezTo>
                  <a:pt x="2303700" y="932783"/>
                  <a:pt x="2303700" y="932783"/>
                  <a:pt x="2305290" y="933578"/>
                </a:cubicBezTo>
                <a:lnTo>
                  <a:pt x="2306881" y="931989"/>
                </a:lnTo>
                <a:lnTo>
                  <a:pt x="2308472" y="931989"/>
                </a:lnTo>
                <a:lnTo>
                  <a:pt x="2306881" y="928807"/>
                </a:lnTo>
                <a:lnTo>
                  <a:pt x="2310063" y="925625"/>
                </a:lnTo>
                <a:cubicBezTo>
                  <a:pt x="2308472" y="924035"/>
                  <a:pt x="2308472" y="925625"/>
                  <a:pt x="2310063" y="924035"/>
                </a:cubicBezTo>
                <a:lnTo>
                  <a:pt x="2308472" y="922444"/>
                </a:lnTo>
                <a:cubicBezTo>
                  <a:pt x="2310063" y="920853"/>
                  <a:pt x="2310063" y="922444"/>
                  <a:pt x="2308472" y="920853"/>
                </a:cubicBezTo>
                <a:cubicBezTo>
                  <a:pt x="2310063" y="920853"/>
                  <a:pt x="2311653" y="919262"/>
                  <a:pt x="2313244" y="919262"/>
                </a:cubicBezTo>
                <a:cubicBezTo>
                  <a:pt x="2316426" y="922444"/>
                  <a:pt x="2318016" y="924035"/>
                  <a:pt x="2321198" y="927216"/>
                </a:cubicBezTo>
                <a:cubicBezTo>
                  <a:pt x="2322789" y="928807"/>
                  <a:pt x="2325970" y="931989"/>
                  <a:pt x="2327561" y="933578"/>
                </a:cubicBezTo>
                <a:cubicBezTo>
                  <a:pt x="2327561" y="933578"/>
                  <a:pt x="2327561" y="935170"/>
                  <a:pt x="2327561" y="935170"/>
                </a:cubicBezTo>
                <a:cubicBezTo>
                  <a:pt x="2329152" y="935170"/>
                  <a:pt x="2329152" y="935170"/>
                  <a:pt x="2329152" y="935170"/>
                </a:cubicBezTo>
                <a:cubicBezTo>
                  <a:pt x="2332333" y="938351"/>
                  <a:pt x="2337105" y="943123"/>
                  <a:pt x="2340287" y="946304"/>
                </a:cubicBezTo>
                <a:cubicBezTo>
                  <a:pt x="2330742" y="978118"/>
                  <a:pt x="2306881" y="997208"/>
                  <a:pt x="2283020" y="1011524"/>
                </a:cubicBezTo>
                <a:cubicBezTo>
                  <a:pt x="2281430" y="1013115"/>
                  <a:pt x="2278248" y="1014706"/>
                  <a:pt x="2275066" y="1016296"/>
                </a:cubicBezTo>
                <a:lnTo>
                  <a:pt x="2276657" y="1014706"/>
                </a:lnTo>
                <a:lnTo>
                  <a:pt x="2276657" y="1013115"/>
                </a:lnTo>
                <a:cubicBezTo>
                  <a:pt x="2273476" y="1013115"/>
                  <a:pt x="2275066" y="1013115"/>
                  <a:pt x="2275066" y="1014706"/>
                </a:cubicBezTo>
                <a:lnTo>
                  <a:pt x="2271885" y="1016296"/>
                </a:lnTo>
                <a:lnTo>
                  <a:pt x="2270294" y="1016296"/>
                </a:lnTo>
                <a:lnTo>
                  <a:pt x="2268704" y="1017887"/>
                </a:lnTo>
                <a:lnTo>
                  <a:pt x="2270294" y="1019478"/>
                </a:lnTo>
                <a:lnTo>
                  <a:pt x="2267113" y="1019478"/>
                </a:lnTo>
                <a:lnTo>
                  <a:pt x="2268704" y="1021069"/>
                </a:lnTo>
                <a:cubicBezTo>
                  <a:pt x="2260750" y="1025841"/>
                  <a:pt x="2254387" y="1029023"/>
                  <a:pt x="2249615" y="1032204"/>
                </a:cubicBezTo>
                <a:cubicBezTo>
                  <a:pt x="2249615" y="1030613"/>
                  <a:pt x="2248024" y="1027432"/>
                  <a:pt x="2244842" y="1025841"/>
                </a:cubicBezTo>
                <a:cubicBezTo>
                  <a:pt x="2214618" y="1038566"/>
                  <a:pt x="2184394" y="1056065"/>
                  <a:pt x="2157352" y="1079926"/>
                </a:cubicBezTo>
                <a:lnTo>
                  <a:pt x="2155761" y="1081517"/>
                </a:lnTo>
                <a:lnTo>
                  <a:pt x="2115994" y="1121285"/>
                </a:lnTo>
                <a:lnTo>
                  <a:pt x="2116192" y="1119694"/>
                </a:lnTo>
                <a:cubicBezTo>
                  <a:pt x="2116391" y="1119694"/>
                  <a:pt x="2116789" y="1119694"/>
                  <a:pt x="2117584" y="1118104"/>
                </a:cubicBezTo>
                <a:lnTo>
                  <a:pt x="2115994" y="1118104"/>
                </a:lnTo>
                <a:lnTo>
                  <a:pt x="2114403" y="1121285"/>
                </a:lnTo>
                <a:lnTo>
                  <a:pt x="2115198" y="1122080"/>
                </a:lnTo>
                <a:lnTo>
                  <a:pt x="2112812" y="1124466"/>
                </a:lnTo>
                <a:lnTo>
                  <a:pt x="2112812" y="1126057"/>
                </a:lnTo>
                <a:cubicBezTo>
                  <a:pt x="2111221" y="1127648"/>
                  <a:pt x="2111221" y="1127648"/>
                  <a:pt x="2109630" y="1129238"/>
                </a:cubicBezTo>
                <a:cubicBezTo>
                  <a:pt x="2104858" y="1130829"/>
                  <a:pt x="2106449" y="1129238"/>
                  <a:pt x="2104858" y="1132420"/>
                </a:cubicBezTo>
                <a:cubicBezTo>
                  <a:pt x="2106449" y="1132420"/>
                  <a:pt x="2108040" y="1132420"/>
                  <a:pt x="2108040" y="1132420"/>
                </a:cubicBezTo>
                <a:lnTo>
                  <a:pt x="2073018" y="1181684"/>
                </a:lnTo>
                <a:lnTo>
                  <a:pt x="2071453" y="1178551"/>
                </a:lnTo>
                <a:lnTo>
                  <a:pt x="2068271" y="1178551"/>
                </a:lnTo>
                <a:cubicBezTo>
                  <a:pt x="2068271" y="1181732"/>
                  <a:pt x="2068271" y="1178551"/>
                  <a:pt x="2069862" y="1181732"/>
                </a:cubicBezTo>
                <a:lnTo>
                  <a:pt x="2072984" y="1181732"/>
                </a:lnTo>
                <a:lnTo>
                  <a:pt x="2066483" y="1190879"/>
                </a:lnTo>
                <a:cubicBezTo>
                  <a:pt x="2053955" y="1211558"/>
                  <a:pt x="2042819" y="1233431"/>
                  <a:pt x="2033275" y="1256497"/>
                </a:cubicBezTo>
                <a:cubicBezTo>
                  <a:pt x="2031685" y="1256497"/>
                  <a:pt x="2031685" y="1256497"/>
                  <a:pt x="2031685" y="1256497"/>
                </a:cubicBezTo>
                <a:lnTo>
                  <a:pt x="2028503" y="1256497"/>
                </a:lnTo>
                <a:cubicBezTo>
                  <a:pt x="2030095" y="1258087"/>
                  <a:pt x="2028503" y="1256497"/>
                  <a:pt x="2030095" y="1258087"/>
                </a:cubicBezTo>
                <a:cubicBezTo>
                  <a:pt x="2031685" y="1258087"/>
                  <a:pt x="2031685" y="1258087"/>
                  <a:pt x="2031685" y="1258087"/>
                </a:cubicBezTo>
                <a:cubicBezTo>
                  <a:pt x="2004642" y="1320126"/>
                  <a:pt x="1990325" y="1390118"/>
                  <a:pt x="1988736" y="1464882"/>
                </a:cubicBezTo>
                <a:cubicBezTo>
                  <a:pt x="1987144" y="1553964"/>
                  <a:pt x="2004642" y="1635090"/>
                  <a:pt x="2031685" y="1709853"/>
                </a:cubicBezTo>
                <a:lnTo>
                  <a:pt x="2030095" y="1709853"/>
                </a:lnTo>
                <a:lnTo>
                  <a:pt x="2033275" y="1714626"/>
                </a:lnTo>
                <a:lnTo>
                  <a:pt x="2028503" y="1714626"/>
                </a:lnTo>
                <a:cubicBezTo>
                  <a:pt x="2030095" y="1720989"/>
                  <a:pt x="2033275" y="1717809"/>
                  <a:pt x="2025323" y="1719398"/>
                </a:cubicBezTo>
                <a:lnTo>
                  <a:pt x="2025323" y="1713035"/>
                </a:lnTo>
                <a:lnTo>
                  <a:pt x="2012595" y="1714626"/>
                </a:lnTo>
                <a:lnTo>
                  <a:pt x="2015777" y="1706672"/>
                </a:lnTo>
                <a:lnTo>
                  <a:pt x="2011005" y="1706672"/>
                </a:lnTo>
                <a:cubicBezTo>
                  <a:pt x="2012595" y="1700308"/>
                  <a:pt x="2014186" y="1705081"/>
                  <a:pt x="2007823" y="1700308"/>
                </a:cubicBezTo>
                <a:lnTo>
                  <a:pt x="2006233" y="1720989"/>
                </a:lnTo>
                <a:cubicBezTo>
                  <a:pt x="2012595" y="1719398"/>
                  <a:pt x="2004642" y="1719398"/>
                  <a:pt x="2014186" y="1719398"/>
                </a:cubicBezTo>
                <a:lnTo>
                  <a:pt x="2022140" y="1719398"/>
                </a:lnTo>
                <a:lnTo>
                  <a:pt x="2018959" y="1724171"/>
                </a:lnTo>
                <a:cubicBezTo>
                  <a:pt x="2023731" y="1727352"/>
                  <a:pt x="2022140" y="1724171"/>
                  <a:pt x="2023731" y="1730534"/>
                </a:cubicBezTo>
                <a:lnTo>
                  <a:pt x="2018959" y="1730534"/>
                </a:lnTo>
                <a:lnTo>
                  <a:pt x="2018959" y="1725762"/>
                </a:lnTo>
                <a:lnTo>
                  <a:pt x="2011005" y="1727352"/>
                </a:lnTo>
                <a:cubicBezTo>
                  <a:pt x="2007823" y="1725762"/>
                  <a:pt x="2015777" y="1725762"/>
                  <a:pt x="2006233" y="1725762"/>
                </a:cubicBezTo>
                <a:lnTo>
                  <a:pt x="2003052" y="1725762"/>
                </a:lnTo>
                <a:cubicBezTo>
                  <a:pt x="2001461" y="1725762"/>
                  <a:pt x="2001461" y="1725762"/>
                  <a:pt x="2001461" y="1725762"/>
                </a:cubicBezTo>
                <a:cubicBezTo>
                  <a:pt x="1956920" y="1631909"/>
                  <a:pt x="1933060" y="1523741"/>
                  <a:pt x="1941013" y="1404436"/>
                </a:cubicBezTo>
                <a:lnTo>
                  <a:pt x="1944917" y="1403134"/>
                </a:lnTo>
                <a:lnTo>
                  <a:pt x="1945785" y="1404436"/>
                </a:lnTo>
                <a:lnTo>
                  <a:pt x="1947253" y="1404681"/>
                </a:lnTo>
                <a:lnTo>
                  <a:pt x="1952147" y="1410798"/>
                </a:lnTo>
                <a:lnTo>
                  <a:pt x="1955329" y="1406026"/>
                </a:lnTo>
                <a:lnTo>
                  <a:pt x="1947253" y="1404681"/>
                </a:lnTo>
                <a:lnTo>
                  <a:pt x="1945785" y="1402845"/>
                </a:lnTo>
                <a:lnTo>
                  <a:pt x="1944917" y="1403134"/>
                </a:lnTo>
                <a:lnTo>
                  <a:pt x="1942604" y="1399662"/>
                </a:lnTo>
                <a:lnTo>
                  <a:pt x="1950557" y="1399662"/>
                </a:lnTo>
                <a:lnTo>
                  <a:pt x="1947375" y="1394890"/>
                </a:lnTo>
                <a:lnTo>
                  <a:pt x="1950557" y="1388528"/>
                </a:lnTo>
                <a:lnTo>
                  <a:pt x="1942604" y="1393300"/>
                </a:lnTo>
                <a:lnTo>
                  <a:pt x="1945785" y="1398071"/>
                </a:lnTo>
                <a:lnTo>
                  <a:pt x="1941013" y="1399662"/>
                </a:lnTo>
                <a:cubicBezTo>
                  <a:pt x="1941013" y="1393300"/>
                  <a:pt x="1942604" y="1386938"/>
                  <a:pt x="1942604" y="1380574"/>
                </a:cubicBezTo>
                <a:lnTo>
                  <a:pt x="1944195" y="1377393"/>
                </a:lnTo>
                <a:lnTo>
                  <a:pt x="1944195" y="1375802"/>
                </a:lnTo>
                <a:cubicBezTo>
                  <a:pt x="1944195" y="1374212"/>
                  <a:pt x="1944195" y="1372621"/>
                  <a:pt x="1944195" y="1371029"/>
                </a:cubicBezTo>
                <a:lnTo>
                  <a:pt x="1945785" y="1369439"/>
                </a:lnTo>
                <a:lnTo>
                  <a:pt x="1950557" y="1369439"/>
                </a:lnTo>
                <a:lnTo>
                  <a:pt x="1950557" y="1374212"/>
                </a:lnTo>
                <a:lnTo>
                  <a:pt x="1947375" y="1378984"/>
                </a:lnTo>
                <a:lnTo>
                  <a:pt x="1950557" y="1380574"/>
                </a:lnTo>
                <a:cubicBezTo>
                  <a:pt x="1952147" y="1378984"/>
                  <a:pt x="1955329" y="1375802"/>
                  <a:pt x="1956920" y="1375802"/>
                </a:cubicBezTo>
                <a:cubicBezTo>
                  <a:pt x="1964874" y="1375802"/>
                  <a:pt x="1963284" y="1378984"/>
                  <a:pt x="1971237" y="1382165"/>
                </a:cubicBezTo>
                <a:cubicBezTo>
                  <a:pt x="1972828" y="1391709"/>
                  <a:pt x="1971237" y="1386938"/>
                  <a:pt x="1974418" y="1391709"/>
                </a:cubicBezTo>
                <a:lnTo>
                  <a:pt x="1971237" y="1396482"/>
                </a:lnTo>
                <a:lnTo>
                  <a:pt x="1979190" y="1396482"/>
                </a:lnTo>
                <a:lnTo>
                  <a:pt x="1983962" y="1401254"/>
                </a:lnTo>
                <a:cubicBezTo>
                  <a:pt x="1982371" y="1407616"/>
                  <a:pt x="1980781" y="1402845"/>
                  <a:pt x="1987144" y="1407616"/>
                </a:cubicBezTo>
                <a:cubicBezTo>
                  <a:pt x="1990325" y="1402845"/>
                  <a:pt x="1990325" y="1409207"/>
                  <a:pt x="1990325" y="1401254"/>
                </a:cubicBezTo>
                <a:lnTo>
                  <a:pt x="1990325" y="1394890"/>
                </a:lnTo>
                <a:lnTo>
                  <a:pt x="1985553" y="1398071"/>
                </a:lnTo>
                <a:lnTo>
                  <a:pt x="1985553" y="1396482"/>
                </a:lnTo>
                <a:lnTo>
                  <a:pt x="1982371" y="1388528"/>
                </a:lnTo>
                <a:lnTo>
                  <a:pt x="1987144" y="1388528"/>
                </a:lnTo>
                <a:lnTo>
                  <a:pt x="1987144" y="1383755"/>
                </a:lnTo>
                <a:lnTo>
                  <a:pt x="1979190" y="1383755"/>
                </a:lnTo>
                <a:lnTo>
                  <a:pt x="1972828" y="1375802"/>
                </a:lnTo>
                <a:lnTo>
                  <a:pt x="1977599" y="1369439"/>
                </a:lnTo>
                <a:lnTo>
                  <a:pt x="1980781" y="1369439"/>
                </a:lnTo>
                <a:lnTo>
                  <a:pt x="1980781" y="1364666"/>
                </a:lnTo>
                <a:lnTo>
                  <a:pt x="1976539" y="1368908"/>
                </a:lnTo>
                <a:lnTo>
                  <a:pt x="1974418" y="1367848"/>
                </a:lnTo>
                <a:lnTo>
                  <a:pt x="1969646" y="1371029"/>
                </a:lnTo>
                <a:lnTo>
                  <a:pt x="1963284" y="1369439"/>
                </a:lnTo>
                <a:lnTo>
                  <a:pt x="1958512" y="1372621"/>
                </a:lnTo>
                <a:lnTo>
                  <a:pt x="1958512" y="1367848"/>
                </a:lnTo>
                <a:lnTo>
                  <a:pt x="1963284" y="1367848"/>
                </a:lnTo>
                <a:cubicBezTo>
                  <a:pt x="1963284" y="1356713"/>
                  <a:pt x="1966465" y="1363076"/>
                  <a:pt x="1958512" y="1358304"/>
                </a:cubicBezTo>
                <a:cubicBezTo>
                  <a:pt x="1961692" y="1353532"/>
                  <a:pt x="1961692" y="1358304"/>
                  <a:pt x="1958512" y="1351941"/>
                </a:cubicBezTo>
                <a:lnTo>
                  <a:pt x="1955329" y="1353532"/>
                </a:lnTo>
                <a:cubicBezTo>
                  <a:pt x="1956920" y="1350350"/>
                  <a:pt x="1956920" y="1348759"/>
                  <a:pt x="1956920" y="1345577"/>
                </a:cubicBezTo>
                <a:lnTo>
                  <a:pt x="1961692" y="1343987"/>
                </a:lnTo>
                <a:lnTo>
                  <a:pt x="1961692" y="1348759"/>
                </a:lnTo>
                <a:lnTo>
                  <a:pt x="1966465" y="1343987"/>
                </a:lnTo>
                <a:lnTo>
                  <a:pt x="1971237" y="1347169"/>
                </a:lnTo>
                <a:lnTo>
                  <a:pt x="1974418" y="1342396"/>
                </a:lnTo>
                <a:lnTo>
                  <a:pt x="1966465" y="1343987"/>
                </a:lnTo>
                <a:lnTo>
                  <a:pt x="1958512" y="1340805"/>
                </a:lnTo>
                <a:lnTo>
                  <a:pt x="1960101" y="1334128"/>
                </a:lnTo>
                <a:lnTo>
                  <a:pt x="1960101" y="1336033"/>
                </a:lnTo>
                <a:lnTo>
                  <a:pt x="1964874" y="1336033"/>
                </a:lnTo>
                <a:lnTo>
                  <a:pt x="1960652" y="1331812"/>
                </a:lnTo>
                <a:lnTo>
                  <a:pt x="1966465" y="1307400"/>
                </a:lnTo>
                <a:lnTo>
                  <a:pt x="1969646" y="1307400"/>
                </a:lnTo>
                <a:lnTo>
                  <a:pt x="1968056" y="1302628"/>
                </a:lnTo>
                <a:cubicBezTo>
                  <a:pt x="1975213" y="1276381"/>
                  <a:pt x="1984360" y="1250929"/>
                  <a:pt x="1995097" y="1226870"/>
                </a:cubicBezTo>
                <a:lnTo>
                  <a:pt x="2027367" y="1167416"/>
                </a:lnTo>
                <a:lnTo>
                  <a:pt x="2031685" y="1159462"/>
                </a:lnTo>
                <a:lnTo>
                  <a:pt x="2034866" y="1159462"/>
                </a:lnTo>
                <a:lnTo>
                  <a:pt x="2036456" y="1157872"/>
                </a:lnTo>
                <a:cubicBezTo>
                  <a:pt x="2034866" y="1153099"/>
                  <a:pt x="2038047" y="1156281"/>
                  <a:pt x="2034866" y="1153099"/>
                </a:cubicBezTo>
                <a:cubicBezTo>
                  <a:pt x="2063499" y="1108559"/>
                  <a:pt x="2095314" y="1071972"/>
                  <a:pt x="2130310" y="1043339"/>
                </a:cubicBezTo>
                <a:cubicBezTo>
                  <a:pt x="2144627" y="1030613"/>
                  <a:pt x="2162125" y="1024250"/>
                  <a:pt x="2179623" y="1019478"/>
                </a:cubicBezTo>
                <a:cubicBezTo>
                  <a:pt x="2213028" y="1013115"/>
                  <a:pt x="2246433" y="1011524"/>
                  <a:pt x="2276657" y="990845"/>
                </a:cubicBezTo>
                <a:cubicBezTo>
                  <a:pt x="2265522" y="988459"/>
                  <a:pt x="2254785" y="987266"/>
                  <a:pt x="2244246" y="987066"/>
                </a:cubicBezTo>
                <a:lnTo>
                  <a:pt x="2218066" y="988901"/>
                </a:lnTo>
                <a:lnTo>
                  <a:pt x="2216209" y="987663"/>
                </a:lnTo>
                <a:lnTo>
                  <a:pt x="2216209" y="989032"/>
                </a:lnTo>
                <a:lnTo>
                  <a:pt x="2213028" y="989254"/>
                </a:lnTo>
                <a:cubicBezTo>
                  <a:pt x="2213028" y="987663"/>
                  <a:pt x="2213028" y="987663"/>
                  <a:pt x="2213028" y="986072"/>
                </a:cubicBezTo>
                <a:lnTo>
                  <a:pt x="2213028" y="984482"/>
                </a:lnTo>
                <a:lnTo>
                  <a:pt x="2214618" y="984482"/>
                </a:lnTo>
                <a:lnTo>
                  <a:pt x="2213028" y="981300"/>
                </a:lnTo>
                <a:lnTo>
                  <a:pt x="2214618" y="981300"/>
                </a:lnTo>
                <a:lnTo>
                  <a:pt x="2214618" y="982891"/>
                </a:lnTo>
                <a:cubicBezTo>
                  <a:pt x="2219391" y="981300"/>
                  <a:pt x="2216209" y="986072"/>
                  <a:pt x="2219391" y="986072"/>
                </a:cubicBezTo>
                <a:cubicBezTo>
                  <a:pt x="2222572" y="986072"/>
                  <a:pt x="2219391" y="984482"/>
                  <a:pt x="2224163" y="984482"/>
                </a:cubicBezTo>
                <a:lnTo>
                  <a:pt x="2222572" y="986072"/>
                </a:lnTo>
                <a:cubicBezTo>
                  <a:pt x="2227345" y="986072"/>
                  <a:pt x="2224163" y="986072"/>
                  <a:pt x="2227345" y="984482"/>
                </a:cubicBezTo>
                <a:lnTo>
                  <a:pt x="2227345" y="982891"/>
                </a:lnTo>
                <a:cubicBezTo>
                  <a:pt x="2225754" y="982891"/>
                  <a:pt x="2225754" y="982891"/>
                  <a:pt x="2224163" y="981300"/>
                </a:cubicBezTo>
                <a:cubicBezTo>
                  <a:pt x="2224163" y="979709"/>
                  <a:pt x="2224163" y="981300"/>
                  <a:pt x="2224163" y="979709"/>
                </a:cubicBezTo>
                <a:lnTo>
                  <a:pt x="2225754" y="978118"/>
                </a:lnTo>
                <a:cubicBezTo>
                  <a:pt x="2224163" y="978118"/>
                  <a:pt x="2224163" y="978118"/>
                  <a:pt x="2222572" y="979709"/>
                </a:cubicBezTo>
                <a:lnTo>
                  <a:pt x="2224163" y="981300"/>
                </a:lnTo>
                <a:lnTo>
                  <a:pt x="2222572" y="982891"/>
                </a:lnTo>
                <a:lnTo>
                  <a:pt x="2219391" y="981300"/>
                </a:lnTo>
                <a:lnTo>
                  <a:pt x="2219391" y="979709"/>
                </a:lnTo>
                <a:cubicBezTo>
                  <a:pt x="2217800" y="979709"/>
                  <a:pt x="2214618" y="978118"/>
                  <a:pt x="2214618" y="976528"/>
                </a:cubicBezTo>
                <a:cubicBezTo>
                  <a:pt x="2214618" y="974937"/>
                  <a:pt x="2216209" y="973346"/>
                  <a:pt x="2217800" y="973346"/>
                </a:cubicBezTo>
                <a:cubicBezTo>
                  <a:pt x="2217800" y="973346"/>
                  <a:pt x="2216209" y="971756"/>
                  <a:pt x="2216209" y="971756"/>
                </a:cubicBezTo>
                <a:cubicBezTo>
                  <a:pt x="2216209" y="970165"/>
                  <a:pt x="2216209" y="971756"/>
                  <a:pt x="2217800" y="970165"/>
                </a:cubicBezTo>
                <a:cubicBezTo>
                  <a:pt x="2214618" y="970165"/>
                  <a:pt x="2214618" y="971756"/>
                  <a:pt x="2213028" y="971756"/>
                </a:cubicBezTo>
                <a:cubicBezTo>
                  <a:pt x="2213028" y="973346"/>
                  <a:pt x="2213028" y="973346"/>
                  <a:pt x="2211437" y="973346"/>
                </a:cubicBezTo>
                <a:cubicBezTo>
                  <a:pt x="2209847" y="970165"/>
                  <a:pt x="2209847" y="971756"/>
                  <a:pt x="2208256" y="970165"/>
                </a:cubicBezTo>
                <a:cubicBezTo>
                  <a:pt x="2208256" y="973346"/>
                  <a:pt x="2208256" y="971756"/>
                  <a:pt x="2206665" y="973346"/>
                </a:cubicBezTo>
                <a:lnTo>
                  <a:pt x="2208256" y="974937"/>
                </a:lnTo>
                <a:lnTo>
                  <a:pt x="2211437" y="974937"/>
                </a:lnTo>
                <a:lnTo>
                  <a:pt x="2209847" y="976528"/>
                </a:lnTo>
                <a:cubicBezTo>
                  <a:pt x="2211437" y="976528"/>
                  <a:pt x="2213028" y="976528"/>
                  <a:pt x="2213028" y="978118"/>
                </a:cubicBezTo>
                <a:cubicBezTo>
                  <a:pt x="2213028" y="981300"/>
                  <a:pt x="2213028" y="979709"/>
                  <a:pt x="2211437" y="979709"/>
                </a:cubicBezTo>
                <a:lnTo>
                  <a:pt x="2206665" y="982891"/>
                </a:lnTo>
                <a:cubicBezTo>
                  <a:pt x="2207460" y="984482"/>
                  <a:pt x="2207858" y="985675"/>
                  <a:pt x="2208653" y="986669"/>
                </a:cubicBezTo>
                <a:lnTo>
                  <a:pt x="2210004" y="987467"/>
                </a:lnTo>
                <a:lnTo>
                  <a:pt x="2209847" y="987663"/>
                </a:lnTo>
                <a:cubicBezTo>
                  <a:pt x="2208256" y="987663"/>
                  <a:pt x="2208256" y="987663"/>
                  <a:pt x="2206665" y="987663"/>
                </a:cubicBezTo>
                <a:lnTo>
                  <a:pt x="2205075" y="987663"/>
                </a:lnTo>
                <a:cubicBezTo>
                  <a:pt x="2203484" y="987663"/>
                  <a:pt x="2203484" y="987663"/>
                  <a:pt x="2203484" y="987663"/>
                </a:cubicBezTo>
                <a:cubicBezTo>
                  <a:pt x="2197121" y="989254"/>
                  <a:pt x="2190757" y="990845"/>
                  <a:pt x="2184394" y="992436"/>
                </a:cubicBezTo>
                <a:lnTo>
                  <a:pt x="2182010" y="993231"/>
                </a:lnTo>
                <a:lnTo>
                  <a:pt x="2182805" y="992436"/>
                </a:lnTo>
                <a:lnTo>
                  <a:pt x="2181213" y="990845"/>
                </a:lnTo>
                <a:cubicBezTo>
                  <a:pt x="2179623" y="989254"/>
                  <a:pt x="2179623" y="990845"/>
                  <a:pt x="2179623" y="987663"/>
                </a:cubicBezTo>
                <a:lnTo>
                  <a:pt x="2176442" y="987663"/>
                </a:lnTo>
                <a:lnTo>
                  <a:pt x="2176442" y="990050"/>
                </a:lnTo>
                <a:lnTo>
                  <a:pt x="2174851" y="989254"/>
                </a:lnTo>
                <a:lnTo>
                  <a:pt x="2174851" y="995473"/>
                </a:lnTo>
                <a:lnTo>
                  <a:pt x="2139016" y="1011770"/>
                </a:lnTo>
                <a:cubicBezTo>
                  <a:pt x="2050325" y="1062203"/>
                  <a:pt x="1978991" y="1173381"/>
                  <a:pt x="1944195" y="1293083"/>
                </a:cubicBezTo>
                <a:lnTo>
                  <a:pt x="1941013" y="1296265"/>
                </a:lnTo>
                <a:lnTo>
                  <a:pt x="1936241" y="1296265"/>
                </a:lnTo>
                <a:lnTo>
                  <a:pt x="1937832" y="1297856"/>
                </a:lnTo>
                <a:lnTo>
                  <a:pt x="1936241" y="1297856"/>
                </a:lnTo>
                <a:lnTo>
                  <a:pt x="1936241" y="1299447"/>
                </a:lnTo>
                <a:lnTo>
                  <a:pt x="1933060" y="1301037"/>
                </a:lnTo>
                <a:lnTo>
                  <a:pt x="1931468" y="1301037"/>
                </a:lnTo>
                <a:lnTo>
                  <a:pt x="1932528" y="1297856"/>
                </a:lnTo>
                <a:lnTo>
                  <a:pt x="1933060" y="1297856"/>
                </a:lnTo>
                <a:lnTo>
                  <a:pt x="1932795" y="1297061"/>
                </a:lnTo>
                <a:lnTo>
                  <a:pt x="1933060" y="1296265"/>
                </a:lnTo>
                <a:lnTo>
                  <a:pt x="1936241" y="1289902"/>
                </a:lnTo>
                <a:lnTo>
                  <a:pt x="1941013" y="1289902"/>
                </a:lnTo>
                <a:lnTo>
                  <a:pt x="1941013" y="1285130"/>
                </a:lnTo>
                <a:lnTo>
                  <a:pt x="1936241" y="1289902"/>
                </a:lnTo>
                <a:lnTo>
                  <a:pt x="1931468" y="1293083"/>
                </a:lnTo>
                <a:lnTo>
                  <a:pt x="1932795" y="1297061"/>
                </a:lnTo>
                <a:lnTo>
                  <a:pt x="1932528" y="1297856"/>
                </a:lnTo>
                <a:lnTo>
                  <a:pt x="1925105" y="1297856"/>
                </a:lnTo>
                <a:lnTo>
                  <a:pt x="1928287" y="1293083"/>
                </a:lnTo>
                <a:lnTo>
                  <a:pt x="1920333" y="1293083"/>
                </a:lnTo>
                <a:lnTo>
                  <a:pt x="1915561" y="1288311"/>
                </a:lnTo>
                <a:lnTo>
                  <a:pt x="1921923" y="1281948"/>
                </a:lnTo>
                <a:lnTo>
                  <a:pt x="1918742" y="1275585"/>
                </a:lnTo>
                <a:lnTo>
                  <a:pt x="1912380" y="1273995"/>
                </a:lnTo>
                <a:cubicBezTo>
                  <a:pt x="1909198" y="1278766"/>
                  <a:pt x="1909198" y="1273995"/>
                  <a:pt x="1912380" y="1280358"/>
                </a:cubicBezTo>
                <a:cubicBezTo>
                  <a:pt x="1901245" y="1278766"/>
                  <a:pt x="1901245" y="1277176"/>
                  <a:pt x="1899653" y="1269223"/>
                </a:cubicBezTo>
                <a:lnTo>
                  <a:pt x="1904426" y="1270813"/>
                </a:lnTo>
                <a:lnTo>
                  <a:pt x="1912380" y="1267633"/>
                </a:lnTo>
                <a:lnTo>
                  <a:pt x="1921923" y="1269223"/>
                </a:lnTo>
                <a:lnTo>
                  <a:pt x="1918742" y="1272404"/>
                </a:lnTo>
                <a:lnTo>
                  <a:pt x="1933060" y="1283539"/>
                </a:lnTo>
                <a:lnTo>
                  <a:pt x="1936241" y="1280358"/>
                </a:lnTo>
                <a:lnTo>
                  <a:pt x="1929877" y="1273995"/>
                </a:lnTo>
                <a:lnTo>
                  <a:pt x="1931468" y="1270813"/>
                </a:lnTo>
                <a:lnTo>
                  <a:pt x="1928287" y="1264451"/>
                </a:lnTo>
                <a:cubicBezTo>
                  <a:pt x="1942604" y="1266041"/>
                  <a:pt x="1931468" y="1267633"/>
                  <a:pt x="1945785" y="1269223"/>
                </a:cubicBezTo>
                <a:lnTo>
                  <a:pt x="1937832" y="1259679"/>
                </a:lnTo>
                <a:lnTo>
                  <a:pt x="1942604" y="1254907"/>
                </a:lnTo>
                <a:lnTo>
                  <a:pt x="1937832" y="1254907"/>
                </a:lnTo>
                <a:lnTo>
                  <a:pt x="1937832" y="1259679"/>
                </a:lnTo>
                <a:lnTo>
                  <a:pt x="1937832" y="1262859"/>
                </a:lnTo>
                <a:lnTo>
                  <a:pt x="1933060" y="1258087"/>
                </a:lnTo>
                <a:lnTo>
                  <a:pt x="1925105" y="1256497"/>
                </a:lnTo>
                <a:lnTo>
                  <a:pt x="1918742" y="1258087"/>
                </a:lnTo>
                <a:lnTo>
                  <a:pt x="1909198" y="1254907"/>
                </a:lnTo>
                <a:cubicBezTo>
                  <a:pt x="1910789" y="1261269"/>
                  <a:pt x="1913971" y="1258087"/>
                  <a:pt x="1906017" y="1259679"/>
                </a:cubicBezTo>
                <a:cubicBezTo>
                  <a:pt x="1904426" y="1251725"/>
                  <a:pt x="1904426" y="1254907"/>
                  <a:pt x="1901245" y="1250134"/>
                </a:cubicBezTo>
                <a:lnTo>
                  <a:pt x="1910789" y="1246953"/>
                </a:lnTo>
                <a:lnTo>
                  <a:pt x="1915561" y="1242180"/>
                </a:lnTo>
                <a:lnTo>
                  <a:pt x="1913971" y="1239000"/>
                </a:lnTo>
                <a:lnTo>
                  <a:pt x="1918742" y="1239000"/>
                </a:lnTo>
                <a:cubicBezTo>
                  <a:pt x="1917152" y="1232636"/>
                  <a:pt x="1915561" y="1231046"/>
                  <a:pt x="1912380" y="1229454"/>
                </a:cubicBezTo>
                <a:cubicBezTo>
                  <a:pt x="1910789" y="1229454"/>
                  <a:pt x="1909198" y="1231046"/>
                  <a:pt x="1907607" y="1232636"/>
                </a:cubicBezTo>
                <a:lnTo>
                  <a:pt x="1910789" y="1232636"/>
                </a:lnTo>
                <a:cubicBezTo>
                  <a:pt x="1907607" y="1237408"/>
                  <a:pt x="1907607" y="1232636"/>
                  <a:pt x="1910789" y="1239000"/>
                </a:cubicBezTo>
                <a:cubicBezTo>
                  <a:pt x="1906017" y="1242180"/>
                  <a:pt x="1902835" y="1242180"/>
                  <a:pt x="1898063" y="1245361"/>
                </a:cubicBezTo>
                <a:cubicBezTo>
                  <a:pt x="1898063" y="1245361"/>
                  <a:pt x="1896473" y="1245361"/>
                  <a:pt x="1896473" y="1245361"/>
                </a:cubicBezTo>
                <a:cubicBezTo>
                  <a:pt x="1894881" y="1245361"/>
                  <a:pt x="1894881" y="1246953"/>
                  <a:pt x="1893290" y="1248543"/>
                </a:cubicBezTo>
                <a:lnTo>
                  <a:pt x="1896473" y="1251725"/>
                </a:lnTo>
                <a:lnTo>
                  <a:pt x="1890109" y="1251725"/>
                </a:lnTo>
                <a:lnTo>
                  <a:pt x="1883499" y="1260131"/>
                </a:lnTo>
                <a:lnTo>
                  <a:pt x="1886928" y="1261274"/>
                </a:lnTo>
                <a:cubicBezTo>
                  <a:pt x="1885337" y="1262864"/>
                  <a:pt x="1883747" y="1264455"/>
                  <a:pt x="1883747" y="1264455"/>
                </a:cubicBezTo>
                <a:cubicBezTo>
                  <a:pt x="1882156" y="1264455"/>
                  <a:pt x="1882156" y="1264455"/>
                  <a:pt x="1878975" y="1266046"/>
                </a:cubicBezTo>
                <a:lnTo>
                  <a:pt x="1879197" y="1265603"/>
                </a:lnTo>
                <a:lnTo>
                  <a:pt x="1871816" y="1274990"/>
                </a:lnTo>
                <a:lnTo>
                  <a:pt x="1861169" y="1286732"/>
                </a:lnTo>
                <a:lnTo>
                  <a:pt x="1864659" y="1286732"/>
                </a:lnTo>
                <a:lnTo>
                  <a:pt x="1863068" y="1291504"/>
                </a:lnTo>
                <a:lnTo>
                  <a:pt x="1859803" y="1288238"/>
                </a:lnTo>
                <a:lnTo>
                  <a:pt x="1858294" y="1289902"/>
                </a:lnTo>
                <a:lnTo>
                  <a:pt x="1856704" y="1289902"/>
                </a:lnTo>
                <a:cubicBezTo>
                  <a:pt x="1856704" y="1291493"/>
                  <a:pt x="1856704" y="1291493"/>
                  <a:pt x="1856704" y="1291493"/>
                </a:cubicBezTo>
                <a:cubicBezTo>
                  <a:pt x="1855113" y="1293083"/>
                  <a:pt x="1853523" y="1294674"/>
                  <a:pt x="1851932" y="1294674"/>
                </a:cubicBezTo>
                <a:lnTo>
                  <a:pt x="1848750" y="1297856"/>
                </a:lnTo>
                <a:lnTo>
                  <a:pt x="1848750" y="1296265"/>
                </a:lnTo>
                <a:cubicBezTo>
                  <a:pt x="1836024" y="1296265"/>
                  <a:pt x="1788302" y="1297856"/>
                  <a:pt x="1780348" y="1234227"/>
                </a:cubicBezTo>
                <a:cubicBezTo>
                  <a:pt x="1780348" y="1226273"/>
                  <a:pt x="1778758" y="1218319"/>
                  <a:pt x="1778758" y="1211957"/>
                </a:cubicBezTo>
                <a:cubicBezTo>
                  <a:pt x="1772395" y="1218319"/>
                  <a:pt x="1775576" y="1213547"/>
                  <a:pt x="1766032" y="1221501"/>
                </a:cubicBezTo>
                <a:lnTo>
                  <a:pt x="1756489" y="1218319"/>
                </a:lnTo>
                <a:lnTo>
                  <a:pt x="1751715" y="1213547"/>
                </a:lnTo>
                <a:lnTo>
                  <a:pt x="1750124" y="1207184"/>
                </a:lnTo>
                <a:lnTo>
                  <a:pt x="1751715" y="1199231"/>
                </a:lnTo>
                <a:cubicBezTo>
                  <a:pt x="1754897" y="1196049"/>
                  <a:pt x="1756489" y="1192868"/>
                  <a:pt x="1762852" y="1192868"/>
                </a:cubicBezTo>
                <a:lnTo>
                  <a:pt x="1775576" y="1192868"/>
                </a:lnTo>
                <a:lnTo>
                  <a:pt x="1775576" y="1197640"/>
                </a:lnTo>
                <a:lnTo>
                  <a:pt x="1777167" y="1197640"/>
                </a:lnTo>
                <a:cubicBezTo>
                  <a:pt x="1778758" y="1173779"/>
                  <a:pt x="1791484" y="1175370"/>
                  <a:pt x="1804209" y="1162644"/>
                </a:cubicBezTo>
                <a:cubicBezTo>
                  <a:pt x="1815345" y="1151509"/>
                  <a:pt x="1812163" y="1124466"/>
                  <a:pt x="1810572" y="1100605"/>
                </a:cubicBezTo>
                <a:cubicBezTo>
                  <a:pt x="1808982" y="1099014"/>
                  <a:pt x="1808982" y="1099014"/>
                  <a:pt x="1808982" y="1097424"/>
                </a:cubicBezTo>
                <a:cubicBezTo>
                  <a:pt x="1808982" y="1094242"/>
                  <a:pt x="1808982" y="1094242"/>
                  <a:pt x="1808982" y="1092652"/>
                </a:cubicBezTo>
                <a:cubicBezTo>
                  <a:pt x="1807391" y="1081517"/>
                  <a:pt x="1807391" y="1071972"/>
                  <a:pt x="1808982" y="1064018"/>
                </a:cubicBezTo>
                <a:cubicBezTo>
                  <a:pt x="1813754" y="1038566"/>
                  <a:pt x="1816936" y="1021069"/>
                  <a:pt x="1816936" y="1005161"/>
                </a:cubicBezTo>
                <a:cubicBezTo>
                  <a:pt x="1816936" y="1000389"/>
                  <a:pt x="1816936" y="992436"/>
                  <a:pt x="1816936" y="984482"/>
                </a:cubicBezTo>
                <a:lnTo>
                  <a:pt x="1810572" y="984482"/>
                </a:lnTo>
                <a:lnTo>
                  <a:pt x="1805800" y="973346"/>
                </a:lnTo>
                <a:lnTo>
                  <a:pt x="1816936" y="965393"/>
                </a:lnTo>
                <a:cubicBezTo>
                  <a:pt x="1816936" y="966984"/>
                  <a:pt x="1816936" y="966984"/>
                  <a:pt x="1816936" y="966984"/>
                </a:cubicBezTo>
                <a:cubicBezTo>
                  <a:pt x="1816936" y="947896"/>
                  <a:pt x="1818526" y="927216"/>
                  <a:pt x="1821708" y="914490"/>
                </a:cubicBezTo>
                <a:cubicBezTo>
                  <a:pt x="1826480" y="893811"/>
                  <a:pt x="1804209" y="876313"/>
                  <a:pt x="1793075" y="860405"/>
                </a:cubicBezTo>
                <a:cubicBezTo>
                  <a:pt x="1781939" y="844497"/>
                  <a:pt x="1786712" y="852451"/>
                  <a:pt x="1773985" y="828589"/>
                </a:cubicBezTo>
                <a:cubicBezTo>
                  <a:pt x="1762852" y="804729"/>
                  <a:pt x="1783530" y="803138"/>
                  <a:pt x="1745352" y="796775"/>
                </a:cubicBezTo>
                <a:cubicBezTo>
                  <a:pt x="1707175" y="792003"/>
                  <a:pt x="1670588" y="766551"/>
                  <a:pt x="1648318" y="763370"/>
                </a:cubicBezTo>
                <a:lnTo>
                  <a:pt x="1645136" y="763370"/>
                </a:lnTo>
                <a:cubicBezTo>
                  <a:pt x="1646727" y="712466"/>
                  <a:pt x="1634001" y="671106"/>
                  <a:pt x="1611731" y="634519"/>
                </a:cubicBezTo>
                <a:cubicBezTo>
                  <a:pt x="1622866" y="629747"/>
                  <a:pt x="1622866" y="609068"/>
                  <a:pt x="1635592" y="607477"/>
                </a:cubicBezTo>
                <a:close/>
                <a:moveTo>
                  <a:pt x="2677523" y="562976"/>
                </a:moveTo>
                <a:cubicBezTo>
                  <a:pt x="2626619" y="634558"/>
                  <a:pt x="2605940" y="728411"/>
                  <a:pt x="2569353" y="807966"/>
                </a:cubicBezTo>
                <a:cubicBezTo>
                  <a:pt x="2540719" y="873187"/>
                  <a:pt x="2507314" y="930454"/>
                  <a:pt x="2473909" y="986128"/>
                </a:cubicBezTo>
                <a:cubicBezTo>
                  <a:pt x="2472318" y="992490"/>
                  <a:pt x="2470728" y="998853"/>
                  <a:pt x="2470728" y="1005215"/>
                </a:cubicBezTo>
                <a:cubicBezTo>
                  <a:pt x="2472318" y="1009988"/>
                  <a:pt x="2475499" y="1014759"/>
                  <a:pt x="2477090" y="1019532"/>
                </a:cubicBezTo>
                <a:cubicBezTo>
                  <a:pt x="2550264" y="874779"/>
                  <a:pt x="2626619" y="722047"/>
                  <a:pt x="2677523" y="562976"/>
                </a:cubicBezTo>
                <a:close/>
                <a:moveTo>
                  <a:pt x="2613894" y="562976"/>
                </a:moveTo>
                <a:cubicBezTo>
                  <a:pt x="2555037" y="690233"/>
                  <a:pt x="2497770" y="819100"/>
                  <a:pt x="2440504" y="939997"/>
                </a:cubicBezTo>
                <a:cubicBezTo>
                  <a:pt x="2438913" y="952723"/>
                  <a:pt x="2438913" y="965448"/>
                  <a:pt x="2440504" y="978174"/>
                </a:cubicBezTo>
                <a:cubicBezTo>
                  <a:pt x="2440504" y="981356"/>
                  <a:pt x="2440504" y="984536"/>
                  <a:pt x="2442094" y="989309"/>
                </a:cubicBezTo>
                <a:cubicBezTo>
                  <a:pt x="2450048" y="971811"/>
                  <a:pt x="2459592" y="954313"/>
                  <a:pt x="2467546" y="935226"/>
                </a:cubicBezTo>
                <a:cubicBezTo>
                  <a:pt x="2472318" y="917727"/>
                  <a:pt x="2477090" y="900231"/>
                  <a:pt x="2480272" y="881142"/>
                </a:cubicBezTo>
                <a:cubicBezTo>
                  <a:pt x="2480272" y="874779"/>
                  <a:pt x="2488226" y="865233"/>
                  <a:pt x="2496180" y="870006"/>
                </a:cubicBezTo>
                <a:cubicBezTo>
                  <a:pt x="2539129" y="769786"/>
                  <a:pt x="2578897" y="663190"/>
                  <a:pt x="2613894" y="562976"/>
                </a:cubicBezTo>
                <a:close/>
                <a:moveTo>
                  <a:pt x="2558218" y="555023"/>
                </a:moveTo>
                <a:cubicBezTo>
                  <a:pt x="2516859" y="634558"/>
                  <a:pt x="2481862" y="723638"/>
                  <a:pt x="2443685" y="809556"/>
                </a:cubicBezTo>
                <a:cubicBezTo>
                  <a:pt x="2448458" y="804784"/>
                  <a:pt x="2453230" y="806375"/>
                  <a:pt x="2459592" y="811147"/>
                </a:cubicBezTo>
                <a:cubicBezTo>
                  <a:pt x="2496180" y="728411"/>
                  <a:pt x="2531175" y="642511"/>
                  <a:pt x="2558218" y="555023"/>
                </a:cubicBezTo>
                <a:close/>
                <a:moveTo>
                  <a:pt x="2741152" y="531161"/>
                </a:moveTo>
                <a:cubicBezTo>
                  <a:pt x="2667978" y="726820"/>
                  <a:pt x="2582080" y="901821"/>
                  <a:pt x="2489817" y="1060889"/>
                </a:cubicBezTo>
                <a:cubicBezTo>
                  <a:pt x="2491407" y="1064071"/>
                  <a:pt x="2491407" y="1067251"/>
                  <a:pt x="2492998" y="1070433"/>
                </a:cubicBezTo>
                <a:cubicBezTo>
                  <a:pt x="2497770" y="1079977"/>
                  <a:pt x="2505723" y="1062480"/>
                  <a:pt x="2515269" y="1064071"/>
                </a:cubicBezTo>
                <a:cubicBezTo>
                  <a:pt x="2604349" y="905003"/>
                  <a:pt x="2693430" y="728411"/>
                  <a:pt x="2741152" y="531161"/>
                </a:cubicBezTo>
                <a:close/>
                <a:moveTo>
                  <a:pt x="2434141" y="504124"/>
                </a:moveTo>
                <a:cubicBezTo>
                  <a:pt x="2386419" y="637745"/>
                  <a:pt x="2338696" y="766610"/>
                  <a:pt x="2265523" y="858876"/>
                </a:cubicBezTo>
                <a:cubicBezTo>
                  <a:pt x="2262342" y="844559"/>
                  <a:pt x="2254387" y="833422"/>
                  <a:pt x="2254387" y="815925"/>
                </a:cubicBezTo>
                <a:cubicBezTo>
                  <a:pt x="2275066" y="788881"/>
                  <a:pt x="2306881" y="755457"/>
                  <a:pt x="2311653" y="718871"/>
                </a:cubicBezTo>
                <a:cubicBezTo>
                  <a:pt x="2305290" y="733188"/>
                  <a:pt x="2297337" y="744324"/>
                  <a:pt x="2286202" y="752276"/>
                </a:cubicBezTo>
                <a:cubicBezTo>
                  <a:pt x="2329152" y="660015"/>
                  <a:pt x="2378464" y="577298"/>
                  <a:pt x="2434141" y="504124"/>
                </a:cubicBezTo>
                <a:close/>
                <a:moveTo>
                  <a:pt x="2820689" y="481850"/>
                </a:moveTo>
                <a:cubicBezTo>
                  <a:pt x="2745924" y="685461"/>
                  <a:pt x="2658434" y="873187"/>
                  <a:pt x="2562990" y="1048163"/>
                </a:cubicBezTo>
                <a:cubicBezTo>
                  <a:pt x="2574125" y="1046573"/>
                  <a:pt x="2585260" y="1043392"/>
                  <a:pt x="2596395" y="1041801"/>
                </a:cubicBezTo>
                <a:cubicBezTo>
                  <a:pt x="2687067" y="870006"/>
                  <a:pt x="2766604" y="677507"/>
                  <a:pt x="2820689" y="481850"/>
                </a:cubicBezTo>
                <a:close/>
                <a:moveTo>
                  <a:pt x="3843283" y="477107"/>
                </a:moveTo>
                <a:cubicBezTo>
                  <a:pt x="3844426" y="477678"/>
                  <a:pt x="3845122" y="479070"/>
                  <a:pt x="3845122" y="481854"/>
                </a:cubicBezTo>
                <a:cubicBezTo>
                  <a:pt x="3837168" y="478673"/>
                  <a:pt x="3840350" y="492990"/>
                  <a:pt x="3832396" y="492990"/>
                </a:cubicBezTo>
                <a:cubicBezTo>
                  <a:pt x="3837168" y="485036"/>
                  <a:pt x="3827624" y="485036"/>
                  <a:pt x="3827624" y="478673"/>
                </a:cubicBezTo>
                <a:cubicBezTo>
                  <a:pt x="3832396" y="481058"/>
                  <a:pt x="3839852" y="475391"/>
                  <a:pt x="3843283" y="477107"/>
                </a:cubicBezTo>
                <a:close/>
                <a:moveTo>
                  <a:pt x="3671731" y="457989"/>
                </a:moveTo>
                <a:cubicBezTo>
                  <a:pt x="3671731" y="459580"/>
                  <a:pt x="3674912" y="465943"/>
                  <a:pt x="3674912" y="469124"/>
                </a:cubicBezTo>
                <a:cubicBezTo>
                  <a:pt x="3674912" y="473897"/>
                  <a:pt x="3674912" y="488214"/>
                  <a:pt x="3665368" y="483442"/>
                </a:cubicBezTo>
                <a:cubicBezTo>
                  <a:pt x="3668549" y="473897"/>
                  <a:pt x="3673322" y="465943"/>
                  <a:pt x="3671731" y="457989"/>
                </a:cubicBezTo>
                <a:close/>
                <a:moveTo>
                  <a:pt x="2551856" y="341867"/>
                </a:moveTo>
                <a:cubicBezTo>
                  <a:pt x="2497771" y="556617"/>
                  <a:pt x="2416642" y="720460"/>
                  <a:pt x="2329152" y="890690"/>
                </a:cubicBezTo>
                <a:cubicBezTo>
                  <a:pt x="2314835" y="887508"/>
                  <a:pt x="2298928" y="884327"/>
                  <a:pt x="2289384" y="877963"/>
                </a:cubicBezTo>
                <a:cubicBezTo>
                  <a:pt x="2367329" y="739550"/>
                  <a:pt x="2435731" y="480261"/>
                  <a:pt x="2551856" y="341867"/>
                </a:cubicBezTo>
                <a:close/>
                <a:moveTo>
                  <a:pt x="3684457" y="240061"/>
                </a:moveTo>
                <a:cubicBezTo>
                  <a:pt x="3686047" y="262331"/>
                  <a:pt x="3686047" y="298917"/>
                  <a:pt x="3681276" y="321188"/>
                </a:cubicBezTo>
                <a:lnTo>
                  <a:pt x="3676504" y="325960"/>
                </a:lnTo>
                <a:lnTo>
                  <a:pt x="3681276" y="338685"/>
                </a:lnTo>
                <a:cubicBezTo>
                  <a:pt x="3682867" y="370499"/>
                  <a:pt x="3678094" y="403904"/>
                  <a:pt x="3673322" y="435718"/>
                </a:cubicBezTo>
                <a:cubicBezTo>
                  <a:pt x="3666959" y="397541"/>
                  <a:pt x="3673322" y="360955"/>
                  <a:pt x="3676504" y="325959"/>
                </a:cubicBezTo>
                <a:lnTo>
                  <a:pt x="3678095" y="283010"/>
                </a:lnTo>
                <a:cubicBezTo>
                  <a:pt x="3678890" y="268296"/>
                  <a:pt x="3680480" y="253582"/>
                  <a:pt x="3684457" y="240061"/>
                </a:cubicBezTo>
                <a:close/>
                <a:moveTo>
                  <a:pt x="3873755" y="206656"/>
                </a:moveTo>
                <a:cubicBezTo>
                  <a:pt x="3881709" y="214609"/>
                  <a:pt x="3894434" y="238470"/>
                  <a:pt x="3884890" y="251196"/>
                </a:cubicBezTo>
                <a:cubicBezTo>
                  <a:pt x="3878527" y="236879"/>
                  <a:pt x="3876936" y="222563"/>
                  <a:pt x="3873755" y="206656"/>
                </a:cubicBezTo>
                <a:close/>
                <a:moveTo>
                  <a:pt x="4475748" y="182347"/>
                </a:moveTo>
                <a:cubicBezTo>
                  <a:pt x="4477836" y="182795"/>
                  <a:pt x="4479029" y="193532"/>
                  <a:pt x="4476643" y="197112"/>
                </a:cubicBezTo>
                <a:cubicBezTo>
                  <a:pt x="4427330" y="302099"/>
                  <a:pt x="4409832" y="421404"/>
                  <a:pt x="4352566" y="521621"/>
                </a:cubicBezTo>
                <a:lnTo>
                  <a:pt x="4314387" y="578886"/>
                </a:lnTo>
                <a:cubicBezTo>
                  <a:pt x="4325523" y="473898"/>
                  <a:pt x="4379608" y="399134"/>
                  <a:pt x="4417786" y="314825"/>
                </a:cubicBezTo>
                <a:cubicBezTo>
                  <a:pt x="4436875" y="271876"/>
                  <a:pt x="4457554" y="230517"/>
                  <a:pt x="4473462" y="185976"/>
                </a:cubicBezTo>
                <a:cubicBezTo>
                  <a:pt x="4474257" y="183193"/>
                  <a:pt x="4475053" y="182199"/>
                  <a:pt x="4475748" y="182347"/>
                </a:cubicBezTo>
                <a:close/>
                <a:moveTo>
                  <a:pt x="2874973" y="62893"/>
                </a:moveTo>
                <a:cubicBezTo>
                  <a:pt x="2872785" y="63888"/>
                  <a:pt x="2870797" y="65080"/>
                  <a:pt x="2866820" y="63489"/>
                </a:cubicBezTo>
                <a:cubicBezTo>
                  <a:pt x="2839777" y="130299"/>
                  <a:pt x="2833414" y="235287"/>
                  <a:pt x="2801600" y="305279"/>
                </a:cubicBezTo>
                <a:cubicBezTo>
                  <a:pt x="2849322" y="259148"/>
                  <a:pt x="2849322" y="114393"/>
                  <a:pt x="2884318" y="63489"/>
                </a:cubicBezTo>
                <a:cubicBezTo>
                  <a:pt x="2879547" y="61103"/>
                  <a:pt x="2877161" y="61898"/>
                  <a:pt x="2874973" y="62893"/>
                </a:cubicBezTo>
                <a:close/>
                <a:moveTo>
                  <a:pt x="2933631" y="25312"/>
                </a:moveTo>
                <a:cubicBezTo>
                  <a:pt x="2900225" y="58717"/>
                  <a:pt x="2917723" y="128709"/>
                  <a:pt x="2892272" y="193928"/>
                </a:cubicBezTo>
                <a:cubicBezTo>
                  <a:pt x="2919314" y="155751"/>
                  <a:pt x="2928859" y="63489"/>
                  <a:pt x="2952720" y="36447"/>
                </a:cubicBezTo>
                <a:cubicBezTo>
                  <a:pt x="2954310" y="25312"/>
                  <a:pt x="2943175" y="33265"/>
                  <a:pt x="2933631" y="25312"/>
                </a:cubicBezTo>
                <a:close/>
                <a:moveTo>
                  <a:pt x="2989307" y="14177"/>
                </a:moveTo>
                <a:cubicBezTo>
                  <a:pt x="2941585" y="189157"/>
                  <a:pt x="2916133" y="348228"/>
                  <a:pt x="2866820" y="499346"/>
                </a:cubicBezTo>
                <a:cubicBezTo>
                  <a:pt x="2792056" y="728411"/>
                  <a:pt x="2698203" y="974993"/>
                  <a:pt x="2586851" y="1148376"/>
                </a:cubicBezTo>
                <a:cubicBezTo>
                  <a:pt x="2591623" y="1153149"/>
                  <a:pt x="2597986" y="1156330"/>
                  <a:pt x="2602758" y="1159511"/>
                </a:cubicBezTo>
                <a:cubicBezTo>
                  <a:pt x="2774557" y="857280"/>
                  <a:pt x="2890681" y="481850"/>
                  <a:pt x="2990897" y="55536"/>
                </a:cubicBezTo>
                <a:cubicBezTo>
                  <a:pt x="2994079" y="41219"/>
                  <a:pt x="3014758" y="26903"/>
                  <a:pt x="2989307" y="14177"/>
                </a:cubicBezTo>
                <a:close/>
                <a:moveTo>
                  <a:pt x="3034342" y="155"/>
                </a:moveTo>
                <a:cubicBezTo>
                  <a:pt x="3046548" y="606"/>
                  <a:pt x="3059100" y="2048"/>
                  <a:pt x="3072025" y="4632"/>
                </a:cubicBezTo>
                <a:cubicBezTo>
                  <a:pt x="3202465" y="214608"/>
                  <a:pt x="3189739" y="545478"/>
                  <a:pt x="3129291" y="858871"/>
                </a:cubicBezTo>
                <a:cubicBezTo>
                  <a:pt x="3129291" y="857280"/>
                  <a:pt x="3129291" y="855690"/>
                  <a:pt x="3127700" y="855690"/>
                </a:cubicBezTo>
                <a:cubicBezTo>
                  <a:pt x="3103839" y="922500"/>
                  <a:pt x="3084751" y="998853"/>
                  <a:pt x="3033847" y="1033847"/>
                </a:cubicBezTo>
                <a:cubicBezTo>
                  <a:pt x="3052936" y="974993"/>
                  <a:pt x="3097476" y="909775"/>
                  <a:pt x="3084751" y="852508"/>
                </a:cubicBezTo>
                <a:cubicBezTo>
                  <a:pt x="3059299" y="920909"/>
                  <a:pt x="3025894" y="974993"/>
                  <a:pt x="3002033" y="1044982"/>
                </a:cubicBezTo>
                <a:cubicBezTo>
                  <a:pt x="2989307" y="1044982"/>
                  <a:pt x="2976580" y="1048163"/>
                  <a:pt x="2962264" y="1046573"/>
                </a:cubicBezTo>
                <a:cubicBezTo>
                  <a:pt x="3009986" y="976583"/>
                  <a:pt x="3025894" y="871598"/>
                  <a:pt x="3062480" y="787285"/>
                </a:cubicBezTo>
                <a:cubicBezTo>
                  <a:pt x="3083160" y="739546"/>
                  <a:pt x="3143608" y="683870"/>
                  <a:pt x="3107021" y="632967"/>
                </a:cubicBezTo>
                <a:cubicBezTo>
                  <a:pt x="3070434" y="753861"/>
                  <a:pt x="2995670" y="919318"/>
                  <a:pt x="2943175" y="1048163"/>
                </a:cubicBezTo>
                <a:cubicBezTo>
                  <a:pt x="2930449" y="1040210"/>
                  <a:pt x="2912952" y="1052935"/>
                  <a:pt x="2906588" y="1040210"/>
                </a:cubicBezTo>
                <a:cubicBezTo>
                  <a:pt x="2935222" y="1024303"/>
                  <a:pt x="2946356" y="981356"/>
                  <a:pt x="2963855" y="946361"/>
                </a:cubicBezTo>
                <a:cubicBezTo>
                  <a:pt x="2965446" y="935226"/>
                  <a:pt x="2954310" y="933635"/>
                  <a:pt x="2954310" y="925681"/>
                </a:cubicBezTo>
                <a:cubicBezTo>
                  <a:pt x="2994079" y="842963"/>
                  <a:pt x="3033847" y="744318"/>
                  <a:pt x="3065661" y="652056"/>
                </a:cubicBezTo>
                <a:cubicBezTo>
                  <a:pt x="3086342" y="590018"/>
                  <a:pt x="3116566" y="524799"/>
                  <a:pt x="3124519" y="483439"/>
                </a:cubicBezTo>
                <a:cubicBezTo>
                  <a:pt x="3126109" y="470713"/>
                  <a:pt x="3134063" y="440490"/>
                  <a:pt x="3105430" y="440490"/>
                </a:cubicBezTo>
                <a:cubicBezTo>
                  <a:pt x="3065661" y="640921"/>
                  <a:pt x="2968627" y="866824"/>
                  <a:pt x="2885909" y="1043392"/>
                </a:cubicBezTo>
                <a:cubicBezTo>
                  <a:pt x="2868411" y="1038619"/>
                  <a:pt x="2855685" y="1044982"/>
                  <a:pt x="2842959" y="1048163"/>
                </a:cubicBezTo>
                <a:cubicBezTo>
                  <a:pt x="2946356" y="814328"/>
                  <a:pt x="3049754" y="555023"/>
                  <a:pt x="3130882" y="257557"/>
                </a:cubicBezTo>
                <a:cubicBezTo>
                  <a:pt x="3102248" y="208245"/>
                  <a:pt x="3113384" y="244832"/>
                  <a:pt x="3111793" y="278236"/>
                </a:cubicBezTo>
                <a:cubicBezTo>
                  <a:pt x="3110202" y="302097"/>
                  <a:pt x="3095885" y="324368"/>
                  <a:pt x="3089523" y="345047"/>
                </a:cubicBezTo>
                <a:cubicBezTo>
                  <a:pt x="3016349" y="577292"/>
                  <a:pt x="2927268" y="863643"/>
                  <a:pt x="2827052" y="1041801"/>
                </a:cubicBezTo>
                <a:cubicBezTo>
                  <a:pt x="2801600" y="1046573"/>
                  <a:pt x="2793647" y="1076795"/>
                  <a:pt x="2768194" y="1081567"/>
                </a:cubicBezTo>
                <a:cubicBezTo>
                  <a:pt x="2890681" y="796829"/>
                  <a:pt x="3044982" y="462761"/>
                  <a:pt x="3083160" y="101666"/>
                </a:cubicBezTo>
                <a:cubicBezTo>
                  <a:pt x="3062480" y="146207"/>
                  <a:pt x="3062480" y="197109"/>
                  <a:pt x="3044982" y="252785"/>
                </a:cubicBezTo>
                <a:cubicBezTo>
                  <a:pt x="3029075" y="303688"/>
                  <a:pt x="3025894" y="359364"/>
                  <a:pt x="3009986" y="411857"/>
                </a:cubicBezTo>
                <a:cubicBezTo>
                  <a:pt x="2941585" y="629786"/>
                  <a:pt x="2854094" y="846145"/>
                  <a:pt x="2776148" y="1025894"/>
                </a:cubicBezTo>
                <a:cubicBezTo>
                  <a:pt x="2733199" y="1065661"/>
                  <a:pt x="2717291" y="1148376"/>
                  <a:pt x="2664797" y="1172236"/>
                </a:cubicBezTo>
                <a:cubicBezTo>
                  <a:pt x="2788875" y="962266"/>
                  <a:pt x="2887499" y="666373"/>
                  <a:pt x="2974990" y="391178"/>
                </a:cubicBezTo>
                <a:cubicBezTo>
                  <a:pt x="3000442" y="308460"/>
                  <a:pt x="3027484" y="187566"/>
                  <a:pt x="3040210" y="96894"/>
                </a:cubicBezTo>
                <a:cubicBezTo>
                  <a:pt x="3043391" y="71443"/>
                  <a:pt x="3057708" y="30084"/>
                  <a:pt x="3029075" y="15768"/>
                </a:cubicBezTo>
                <a:cubicBezTo>
                  <a:pt x="2970218" y="426174"/>
                  <a:pt x="2827052" y="877960"/>
                  <a:pt x="2645708" y="1157920"/>
                </a:cubicBezTo>
                <a:cubicBezTo>
                  <a:pt x="2642527" y="1162693"/>
                  <a:pt x="2639345" y="1167464"/>
                  <a:pt x="2634573" y="1172236"/>
                </a:cubicBezTo>
                <a:cubicBezTo>
                  <a:pt x="2634573" y="1173828"/>
                  <a:pt x="2636164" y="1173828"/>
                  <a:pt x="2637755" y="1175419"/>
                </a:cubicBezTo>
                <a:cubicBezTo>
                  <a:pt x="2647299" y="1178599"/>
                  <a:pt x="2656843" y="1183371"/>
                  <a:pt x="2666388" y="1188143"/>
                </a:cubicBezTo>
                <a:cubicBezTo>
                  <a:pt x="2680705" y="1184962"/>
                  <a:pt x="2693430" y="1186552"/>
                  <a:pt x="2710929" y="1188143"/>
                </a:cubicBezTo>
                <a:cubicBezTo>
                  <a:pt x="2750697" y="1134061"/>
                  <a:pt x="2804781" y="1057709"/>
                  <a:pt x="2892272" y="1064071"/>
                </a:cubicBezTo>
                <a:cubicBezTo>
                  <a:pt x="2909770" y="1065661"/>
                  <a:pt x="2925677" y="1073615"/>
                  <a:pt x="2943175" y="1075205"/>
                </a:cubicBezTo>
                <a:cubicBezTo>
                  <a:pt x="3059299" y="1086340"/>
                  <a:pt x="3126109" y="989309"/>
                  <a:pt x="3227917" y="1029075"/>
                </a:cubicBezTo>
                <a:cubicBezTo>
                  <a:pt x="3227917" y="1046573"/>
                  <a:pt x="3226326" y="1064071"/>
                  <a:pt x="3223144" y="1081567"/>
                </a:cubicBezTo>
                <a:cubicBezTo>
                  <a:pt x="3223144" y="1081567"/>
                  <a:pt x="3224735" y="1083158"/>
                  <a:pt x="3224735" y="1083158"/>
                </a:cubicBezTo>
                <a:lnTo>
                  <a:pt x="3235871" y="1078386"/>
                </a:lnTo>
                <a:cubicBezTo>
                  <a:pt x="3240642" y="1062480"/>
                  <a:pt x="3245415" y="1046971"/>
                  <a:pt x="3250982" y="1032853"/>
                </a:cubicBezTo>
                <a:lnTo>
                  <a:pt x="3261277" y="1013603"/>
                </a:lnTo>
                <a:lnTo>
                  <a:pt x="3256550" y="1059298"/>
                </a:lnTo>
                <a:cubicBezTo>
                  <a:pt x="3261322" y="1052935"/>
                  <a:pt x="3264504" y="1044982"/>
                  <a:pt x="3261322" y="1032256"/>
                </a:cubicBezTo>
                <a:cubicBezTo>
                  <a:pt x="3259732" y="1027485"/>
                  <a:pt x="3264504" y="1021123"/>
                  <a:pt x="3266095" y="1013169"/>
                </a:cubicBezTo>
                <a:lnTo>
                  <a:pt x="3261509" y="1013169"/>
                </a:lnTo>
                <a:lnTo>
                  <a:pt x="3270866" y="995671"/>
                </a:lnTo>
                <a:cubicBezTo>
                  <a:pt x="3272457" y="995671"/>
                  <a:pt x="3274048" y="995671"/>
                  <a:pt x="3275638" y="995671"/>
                </a:cubicBezTo>
                <a:cubicBezTo>
                  <a:pt x="3277229" y="987718"/>
                  <a:pt x="3289955" y="984536"/>
                  <a:pt x="3301090" y="992490"/>
                </a:cubicBezTo>
                <a:cubicBezTo>
                  <a:pt x="3302681" y="994080"/>
                  <a:pt x="3305862" y="998853"/>
                  <a:pt x="3305862" y="1005215"/>
                </a:cubicBezTo>
                <a:cubicBezTo>
                  <a:pt x="3312225" y="1008396"/>
                  <a:pt x="3316998" y="1011578"/>
                  <a:pt x="3320179" y="1016350"/>
                </a:cubicBezTo>
                <a:cubicBezTo>
                  <a:pt x="3315407" y="1030666"/>
                  <a:pt x="3313816" y="1043392"/>
                  <a:pt x="3310635" y="1056117"/>
                </a:cubicBezTo>
                <a:cubicBezTo>
                  <a:pt x="3315407" y="1057709"/>
                  <a:pt x="3318589" y="1059298"/>
                  <a:pt x="3320179" y="1057709"/>
                </a:cubicBezTo>
                <a:cubicBezTo>
                  <a:pt x="3323361" y="1054526"/>
                  <a:pt x="3324952" y="1051345"/>
                  <a:pt x="3328133" y="1048163"/>
                </a:cubicBezTo>
                <a:cubicBezTo>
                  <a:pt x="3328133" y="1040210"/>
                  <a:pt x="3329723" y="1030666"/>
                  <a:pt x="3329723" y="1022713"/>
                </a:cubicBezTo>
                <a:cubicBezTo>
                  <a:pt x="3332905" y="1029075"/>
                  <a:pt x="3334496" y="1033847"/>
                  <a:pt x="3336086" y="1040210"/>
                </a:cubicBezTo>
                <a:cubicBezTo>
                  <a:pt x="3342449" y="1032256"/>
                  <a:pt x="3347222" y="1025894"/>
                  <a:pt x="3350403" y="1017941"/>
                </a:cubicBezTo>
                <a:cubicBezTo>
                  <a:pt x="3350403" y="1006805"/>
                  <a:pt x="3348813" y="995671"/>
                  <a:pt x="3348813" y="984536"/>
                </a:cubicBezTo>
                <a:cubicBezTo>
                  <a:pt x="3304271" y="939997"/>
                  <a:pt x="3248596" y="908184"/>
                  <a:pt x="3192920" y="881142"/>
                </a:cubicBezTo>
                <a:cubicBezTo>
                  <a:pt x="3196102" y="868415"/>
                  <a:pt x="3191330" y="862052"/>
                  <a:pt x="3192920" y="860461"/>
                </a:cubicBezTo>
                <a:cubicBezTo>
                  <a:pt x="3204056" y="842963"/>
                  <a:pt x="3224735" y="850917"/>
                  <a:pt x="3227917" y="854099"/>
                </a:cubicBezTo>
                <a:cubicBezTo>
                  <a:pt x="3266095" y="887504"/>
                  <a:pt x="3301090" y="916137"/>
                  <a:pt x="3337677" y="930454"/>
                </a:cubicBezTo>
                <a:cubicBezTo>
                  <a:pt x="3342449" y="930454"/>
                  <a:pt x="3345631" y="933635"/>
                  <a:pt x="3350403" y="935226"/>
                </a:cubicBezTo>
                <a:cubicBezTo>
                  <a:pt x="3351994" y="930454"/>
                  <a:pt x="3351994" y="925681"/>
                  <a:pt x="3351994" y="920909"/>
                </a:cubicBezTo>
                <a:cubicBezTo>
                  <a:pt x="3355176" y="884323"/>
                  <a:pt x="3361538" y="847735"/>
                  <a:pt x="3371083" y="811147"/>
                </a:cubicBezTo>
                <a:cubicBezTo>
                  <a:pt x="3369492" y="811147"/>
                  <a:pt x="3367901" y="811147"/>
                  <a:pt x="3366310" y="811147"/>
                </a:cubicBezTo>
                <a:cubicBezTo>
                  <a:pt x="3353585" y="809556"/>
                  <a:pt x="3336086" y="809556"/>
                  <a:pt x="3324952" y="803193"/>
                </a:cubicBezTo>
                <a:cubicBezTo>
                  <a:pt x="3323361" y="801603"/>
                  <a:pt x="3320179" y="787285"/>
                  <a:pt x="3318589" y="784104"/>
                </a:cubicBezTo>
                <a:cubicBezTo>
                  <a:pt x="3337677" y="766604"/>
                  <a:pt x="3361538" y="768195"/>
                  <a:pt x="3380627" y="769786"/>
                </a:cubicBezTo>
                <a:cubicBezTo>
                  <a:pt x="3380627" y="769786"/>
                  <a:pt x="3382218" y="769786"/>
                  <a:pt x="3382218" y="769786"/>
                </a:cubicBezTo>
                <a:cubicBezTo>
                  <a:pt x="3393353" y="734773"/>
                  <a:pt x="3407670" y="701368"/>
                  <a:pt x="3423576" y="671144"/>
                </a:cubicBezTo>
                <a:lnTo>
                  <a:pt x="3406079" y="666373"/>
                </a:lnTo>
                <a:cubicBezTo>
                  <a:pt x="3399716" y="664781"/>
                  <a:pt x="3393353" y="648875"/>
                  <a:pt x="3391762" y="637740"/>
                </a:cubicBezTo>
                <a:cubicBezTo>
                  <a:pt x="3410851" y="625013"/>
                  <a:pt x="3429940" y="626604"/>
                  <a:pt x="3447437" y="632967"/>
                </a:cubicBezTo>
                <a:cubicBezTo>
                  <a:pt x="3493569" y="567747"/>
                  <a:pt x="3555608" y="524799"/>
                  <a:pt x="3635144" y="527979"/>
                </a:cubicBezTo>
                <a:cubicBezTo>
                  <a:pt x="3636735" y="566156"/>
                  <a:pt x="3620828" y="615470"/>
                  <a:pt x="3625600" y="650466"/>
                </a:cubicBezTo>
                <a:cubicBezTo>
                  <a:pt x="3657414" y="610697"/>
                  <a:pt x="3625600" y="524799"/>
                  <a:pt x="3665368" y="516845"/>
                </a:cubicBezTo>
                <a:cubicBezTo>
                  <a:pt x="3679685" y="548660"/>
                  <a:pt x="3647871" y="607516"/>
                  <a:pt x="3655824" y="642511"/>
                </a:cubicBezTo>
                <a:cubicBezTo>
                  <a:pt x="3686047" y="566156"/>
                  <a:pt x="3676504" y="454807"/>
                  <a:pt x="3763994" y="464351"/>
                </a:cubicBezTo>
                <a:cubicBezTo>
                  <a:pt x="3768766" y="454807"/>
                  <a:pt x="3776720" y="445262"/>
                  <a:pt x="3787855" y="438899"/>
                </a:cubicBezTo>
                <a:cubicBezTo>
                  <a:pt x="3798990" y="432537"/>
                  <a:pt x="3798990" y="454807"/>
                  <a:pt x="3797399" y="462761"/>
                </a:cubicBezTo>
                <a:cubicBezTo>
                  <a:pt x="3795809" y="475485"/>
                  <a:pt x="3792627" y="489802"/>
                  <a:pt x="3789446" y="502528"/>
                </a:cubicBezTo>
                <a:cubicBezTo>
                  <a:pt x="3789446" y="515254"/>
                  <a:pt x="3787855" y="529570"/>
                  <a:pt x="3786264" y="542296"/>
                </a:cubicBezTo>
                <a:cubicBezTo>
                  <a:pt x="3791037" y="556613"/>
                  <a:pt x="3797399" y="569338"/>
                  <a:pt x="3802171" y="578883"/>
                </a:cubicBezTo>
                <a:cubicBezTo>
                  <a:pt x="3808534" y="547069"/>
                  <a:pt x="3813306" y="513663"/>
                  <a:pt x="3813306" y="475485"/>
                </a:cubicBezTo>
                <a:cubicBezTo>
                  <a:pt x="3848304" y="480258"/>
                  <a:pt x="3826033" y="539115"/>
                  <a:pt x="3819671" y="570929"/>
                </a:cubicBezTo>
                <a:cubicBezTo>
                  <a:pt x="3832396" y="555023"/>
                  <a:pt x="3843532" y="539115"/>
                  <a:pt x="3848304" y="520026"/>
                </a:cubicBezTo>
                <a:cubicBezTo>
                  <a:pt x="3848304" y="516845"/>
                  <a:pt x="3859438" y="516845"/>
                  <a:pt x="3861029" y="510482"/>
                </a:cubicBezTo>
                <a:cubicBezTo>
                  <a:pt x="3861029" y="507300"/>
                  <a:pt x="3862620" y="505709"/>
                  <a:pt x="3862620" y="504119"/>
                </a:cubicBezTo>
                <a:cubicBezTo>
                  <a:pt x="3862620" y="492984"/>
                  <a:pt x="3862620" y="483439"/>
                  <a:pt x="3862620" y="475485"/>
                </a:cubicBezTo>
                <a:cubicBezTo>
                  <a:pt x="3864211" y="475485"/>
                  <a:pt x="3867392" y="475485"/>
                  <a:pt x="3868983" y="475485"/>
                </a:cubicBezTo>
                <a:cubicBezTo>
                  <a:pt x="3883299" y="413448"/>
                  <a:pt x="3892844" y="349819"/>
                  <a:pt x="3905570" y="281417"/>
                </a:cubicBezTo>
                <a:cubicBezTo>
                  <a:pt x="3905570" y="284600"/>
                  <a:pt x="3905570" y="270284"/>
                  <a:pt x="3905570" y="265511"/>
                </a:cubicBezTo>
                <a:cubicBezTo>
                  <a:pt x="3911933" y="276646"/>
                  <a:pt x="3921477" y="267102"/>
                  <a:pt x="3923068" y="260739"/>
                </a:cubicBezTo>
                <a:cubicBezTo>
                  <a:pt x="3929431" y="225743"/>
                  <a:pt x="3934203" y="190746"/>
                  <a:pt x="3934203" y="155751"/>
                </a:cubicBezTo>
                <a:cubicBezTo>
                  <a:pt x="3934203" y="144617"/>
                  <a:pt x="3943747" y="135072"/>
                  <a:pt x="3954883" y="130299"/>
                </a:cubicBezTo>
                <a:cubicBezTo>
                  <a:pt x="3964427" y="138253"/>
                  <a:pt x="3966018" y="152570"/>
                  <a:pt x="3970790" y="165296"/>
                </a:cubicBezTo>
                <a:cubicBezTo>
                  <a:pt x="3981925" y="165296"/>
                  <a:pt x="4004195" y="168477"/>
                  <a:pt x="4002604" y="179613"/>
                </a:cubicBezTo>
                <a:cubicBezTo>
                  <a:pt x="4001014" y="201882"/>
                  <a:pt x="3985107" y="224152"/>
                  <a:pt x="3985107" y="240060"/>
                </a:cubicBezTo>
                <a:cubicBezTo>
                  <a:pt x="3959655" y="281417"/>
                  <a:pt x="3951701" y="322777"/>
                  <a:pt x="3937385" y="360954"/>
                </a:cubicBezTo>
                <a:cubicBezTo>
                  <a:pt x="3924659" y="394359"/>
                  <a:pt x="3915114" y="429356"/>
                  <a:pt x="3905570" y="464351"/>
                </a:cubicBezTo>
                <a:cubicBezTo>
                  <a:pt x="3921477" y="453215"/>
                  <a:pt x="3934203" y="437308"/>
                  <a:pt x="3950110" y="429356"/>
                </a:cubicBezTo>
                <a:cubicBezTo>
                  <a:pt x="3950110" y="418220"/>
                  <a:pt x="3948519" y="405494"/>
                  <a:pt x="3948519" y="394359"/>
                </a:cubicBezTo>
                <a:lnTo>
                  <a:pt x="3977153" y="387996"/>
                </a:lnTo>
                <a:cubicBezTo>
                  <a:pt x="3970790" y="397541"/>
                  <a:pt x="3978744" y="405494"/>
                  <a:pt x="3981925" y="415038"/>
                </a:cubicBezTo>
                <a:cubicBezTo>
                  <a:pt x="3993061" y="402313"/>
                  <a:pt x="4004195" y="378451"/>
                  <a:pt x="4026466" y="373680"/>
                </a:cubicBezTo>
                <a:cubicBezTo>
                  <a:pt x="4031238" y="337094"/>
                  <a:pt x="4039192" y="300507"/>
                  <a:pt x="4034419" y="259148"/>
                </a:cubicBezTo>
                <a:cubicBezTo>
                  <a:pt x="4056690" y="251194"/>
                  <a:pt x="4077369" y="243241"/>
                  <a:pt x="4088504" y="248013"/>
                </a:cubicBezTo>
                <a:cubicBezTo>
                  <a:pt x="4086914" y="270284"/>
                  <a:pt x="4093276" y="302097"/>
                  <a:pt x="4101230" y="322777"/>
                </a:cubicBezTo>
                <a:cubicBezTo>
                  <a:pt x="4123500" y="322777"/>
                  <a:pt x="4109184" y="341866"/>
                  <a:pt x="4110775" y="349819"/>
                </a:cubicBezTo>
                <a:cubicBezTo>
                  <a:pt x="4112366" y="370498"/>
                  <a:pt x="4112366" y="389587"/>
                  <a:pt x="4121909" y="410266"/>
                </a:cubicBezTo>
                <a:cubicBezTo>
                  <a:pt x="4123500" y="415038"/>
                  <a:pt x="4133045" y="415038"/>
                  <a:pt x="4139408" y="408675"/>
                </a:cubicBezTo>
                <a:cubicBezTo>
                  <a:pt x="4142590" y="405494"/>
                  <a:pt x="4142590" y="394359"/>
                  <a:pt x="4153724" y="394359"/>
                </a:cubicBezTo>
                <a:cubicBezTo>
                  <a:pt x="4158497" y="394359"/>
                  <a:pt x="4163269" y="395950"/>
                  <a:pt x="4168041" y="391178"/>
                </a:cubicBezTo>
                <a:cubicBezTo>
                  <a:pt x="4182357" y="372089"/>
                  <a:pt x="4196674" y="353001"/>
                  <a:pt x="4217353" y="338685"/>
                </a:cubicBezTo>
                <a:cubicBezTo>
                  <a:pt x="4223717" y="335503"/>
                  <a:pt x="4234852" y="335503"/>
                  <a:pt x="4238034" y="340275"/>
                </a:cubicBezTo>
                <a:cubicBezTo>
                  <a:pt x="4245987" y="349819"/>
                  <a:pt x="4249168" y="364135"/>
                  <a:pt x="4241215" y="368908"/>
                </a:cubicBezTo>
                <a:cubicBezTo>
                  <a:pt x="4188720" y="397541"/>
                  <a:pt x="4153724" y="438899"/>
                  <a:pt x="4133045" y="485031"/>
                </a:cubicBezTo>
                <a:cubicBezTo>
                  <a:pt x="4129863" y="492984"/>
                  <a:pt x="4131454" y="504119"/>
                  <a:pt x="4134636" y="513663"/>
                </a:cubicBezTo>
                <a:lnTo>
                  <a:pt x="4152134" y="507300"/>
                </a:lnTo>
                <a:cubicBezTo>
                  <a:pt x="4161678" y="551841"/>
                  <a:pt x="4153724" y="590018"/>
                  <a:pt x="4156906" y="629786"/>
                </a:cubicBezTo>
                <a:cubicBezTo>
                  <a:pt x="4158497" y="637740"/>
                  <a:pt x="4166451" y="639330"/>
                  <a:pt x="4169632" y="634558"/>
                </a:cubicBezTo>
                <a:cubicBezTo>
                  <a:pt x="4172814" y="631377"/>
                  <a:pt x="4179176" y="618651"/>
                  <a:pt x="4180767" y="613879"/>
                </a:cubicBezTo>
                <a:cubicBezTo>
                  <a:pt x="4172814" y="631377"/>
                  <a:pt x="4198265" y="636149"/>
                  <a:pt x="4191902" y="655237"/>
                </a:cubicBezTo>
                <a:cubicBezTo>
                  <a:pt x="4201447" y="658418"/>
                  <a:pt x="4218944" y="655237"/>
                  <a:pt x="4220535" y="664781"/>
                </a:cubicBezTo>
                <a:cubicBezTo>
                  <a:pt x="4223717" y="679098"/>
                  <a:pt x="4234852" y="698187"/>
                  <a:pt x="4222126" y="707731"/>
                </a:cubicBezTo>
                <a:cubicBezTo>
                  <a:pt x="4214172" y="712504"/>
                  <a:pt x="4206219" y="718866"/>
                  <a:pt x="4199856" y="723638"/>
                </a:cubicBezTo>
                <a:cubicBezTo>
                  <a:pt x="4199856" y="728411"/>
                  <a:pt x="4201447" y="733183"/>
                  <a:pt x="4201447" y="737955"/>
                </a:cubicBezTo>
                <a:cubicBezTo>
                  <a:pt x="4204628" y="734773"/>
                  <a:pt x="4207810" y="731592"/>
                  <a:pt x="4210991" y="728411"/>
                </a:cubicBezTo>
                <a:lnTo>
                  <a:pt x="4201447" y="747499"/>
                </a:lnTo>
                <a:cubicBezTo>
                  <a:pt x="4201447" y="777740"/>
                  <a:pt x="4191902" y="811147"/>
                  <a:pt x="4179176" y="842963"/>
                </a:cubicBezTo>
                <a:cubicBezTo>
                  <a:pt x="4188720" y="841372"/>
                  <a:pt x="4196674" y="835009"/>
                  <a:pt x="4204628" y="831828"/>
                </a:cubicBezTo>
                <a:cubicBezTo>
                  <a:pt x="4209400" y="814328"/>
                  <a:pt x="4214172" y="795239"/>
                  <a:pt x="4217353" y="776150"/>
                </a:cubicBezTo>
                <a:cubicBezTo>
                  <a:pt x="4244396" y="811147"/>
                  <a:pt x="4304844" y="784104"/>
                  <a:pt x="4346203" y="801603"/>
                </a:cubicBezTo>
                <a:cubicBezTo>
                  <a:pt x="4358929" y="830237"/>
                  <a:pt x="4363701" y="863643"/>
                  <a:pt x="4392334" y="882732"/>
                </a:cubicBezTo>
                <a:cubicBezTo>
                  <a:pt x="4354157" y="912956"/>
                  <a:pt x="4317570" y="951132"/>
                  <a:pt x="4280983" y="987718"/>
                </a:cubicBezTo>
                <a:cubicBezTo>
                  <a:pt x="4284165" y="989309"/>
                  <a:pt x="4288937" y="990899"/>
                  <a:pt x="4292119" y="992490"/>
                </a:cubicBezTo>
                <a:cubicBezTo>
                  <a:pt x="4292119" y="992490"/>
                  <a:pt x="4293710" y="994080"/>
                  <a:pt x="4293710" y="994080"/>
                </a:cubicBezTo>
                <a:cubicBezTo>
                  <a:pt x="4335068" y="957495"/>
                  <a:pt x="4373246" y="922500"/>
                  <a:pt x="4406652" y="885914"/>
                </a:cubicBezTo>
                <a:cubicBezTo>
                  <a:pt x="4452782" y="873187"/>
                  <a:pt x="4479824" y="905003"/>
                  <a:pt x="4475053" y="947951"/>
                </a:cubicBezTo>
                <a:cubicBezTo>
                  <a:pt x="4446419" y="955904"/>
                  <a:pt x="4432103" y="979765"/>
                  <a:pt x="4428921" y="1006805"/>
                </a:cubicBezTo>
                <a:cubicBezTo>
                  <a:pt x="4432103" y="1005215"/>
                  <a:pt x="4436875" y="1003625"/>
                  <a:pt x="4441648" y="1002034"/>
                </a:cubicBezTo>
                <a:cubicBezTo>
                  <a:pt x="4448010" y="1013169"/>
                  <a:pt x="4449600" y="1029075"/>
                  <a:pt x="4452782" y="1043392"/>
                </a:cubicBezTo>
                <a:cubicBezTo>
                  <a:pt x="4446419" y="1048163"/>
                  <a:pt x="4440057" y="1049754"/>
                  <a:pt x="4432103" y="1049754"/>
                </a:cubicBezTo>
                <a:cubicBezTo>
                  <a:pt x="4435285" y="1057709"/>
                  <a:pt x="4438466" y="1067251"/>
                  <a:pt x="4443238" y="1075205"/>
                </a:cubicBezTo>
                <a:cubicBezTo>
                  <a:pt x="4425740" y="1097475"/>
                  <a:pt x="4400288" y="1108609"/>
                  <a:pt x="4397107" y="1153149"/>
                </a:cubicBezTo>
                <a:cubicBezTo>
                  <a:pt x="4344612" y="1180190"/>
                  <a:pt x="4255532" y="1173828"/>
                  <a:pt x="4230080" y="1229501"/>
                </a:cubicBezTo>
                <a:cubicBezTo>
                  <a:pt x="4249168" y="1219957"/>
                  <a:pt x="4269848" y="1210413"/>
                  <a:pt x="4292119" y="1202458"/>
                </a:cubicBezTo>
                <a:cubicBezTo>
                  <a:pt x="4293710" y="1200870"/>
                  <a:pt x="4295300" y="1197688"/>
                  <a:pt x="4296891" y="1194505"/>
                </a:cubicBezTo>
                <a:cubicBezTo>
                  <a:pt x="4296891" y="1197688"/>
                  <a:pt x="4295300" y="1199279"/>
                  <a:pt x="4293710" y="1202458"/>
                </a:cubicBezTo>
                <a:cubicBezTo>
                  <a:pt x="4314389" y="1192915"/>
                  <a:pt x="4336658" y="1184962"/>
                  <a:pt x="4358929" y="1178599"/>
                </a:cubicBezTo>
                <a:cubicBezTo>
                  <a:pt x="4360519" y="1178599"/>
                  <a:pt x="4362110" y="1177009"/>
                  <a:pt x="4362110" y="1177009"/>
                </a:cubicBezTo>
                <a:cubicBezTo>
                  <a:pt x="4362110" y="1177009"/>
                  <a:pt x="4363701" y="1177009"/>
                  <a:pt x="4363701" y="1177009"/>
                </a:cubicBezTo>
                <a:cubicBezTo>
                  <a:pt x="4395516" y="1167464"/>
                  <a:pt x="4427331" y="1159511"/>
                  <a:pt x="4457554" y="1153149"/>
                </a:cubicBezTo>
                <a:cubicBezTo>
                  <a:pt x="4432103" y="1188143"/>
                  <a:pt x="4440057" y="1215185"/>
                  <a:pt x="4454373" y="1245408"/>
                </a:cubicBezTo>
                <a:cubicBezTo>
                  <a:pt x="4438466" y="1245408"/>
                  <a:pt x="4422558" y="1245408"/>
                  <a:pt x="4408242" y="1246998"/>
                </a:cubicBezTo>
                <a:cubicBezTo>
                  <a:pt x="4417786" y="1259724"/>
                  <a:pt x="4398698" y="1281994"/>
                  <a:pt x="4401879" y="1296312"/>
                </a:cubicBezTo>
                <a:cubicBezTo>
                  <a:pt x="4409833" y="1331307"/>
                  <a:pt x="4395516" y="1366303"/>
                  <a:pt x="4385972" y="1393345"/>
                </a:cubicBezTo>
                <a:cubicBezTo>
                  <a:pt x="4379609" y="1414030"/>
                  <a:pt x="4373246" y="1433115"/>
                  <a:pt x="4365292" y="1452202"/>
                </a:cubicBezTo>
                <a:cubicBezTo>
                  <a:pt x="4366883" y="1455383"/>
                  <a:pt x="4368473" y="1458564"/>
                  <a:pt x="4368473" y="1461748"/>
                </a:cubicBezTo>
                <a:cubicBezTo>
                  <a:pt x="4365292" y="1463339"/>
                  <a:pt x="4363701" y="1464932"/>
                  <a:pt x="4360519" y="1466521"/>
                </a:cubicBezTo>
                <a:cubicBezTo>
                  <a:pt x="4355748" y="1477658"/>
                  <a:pt x="4352566" y="1487200"/>
                  <a:pt x="4347794" y="1496744"/>
                </a:cubicBezTo>
                <a:cubicBezTo>
                  <a:pt x="4355748" y="1487200"/>
                  <a:pt x="4363701" y="1479247"/>
                  <a:pt x="4373246" y="1471294"/>
                </a:cubicBezTo>
                <a:cubicBezTo>
                  <a:pt x="4385972" y="1491973"/>
                  <a:pt x="4355748" y="1499927"/>
                  <a:pt x="4352566" y="1525379"/>
                </a:cubicBezTo>
                <a:cubicBezTo>
                  <a:pt x="4400288" y="1504700"/>
                  <a:pt x="4452782" y="1488791"/>
                  <a:pt x="4498914" y="1463339"/>
                </a:cubicBezTo>
                <a:cubicBezTo>
                  <a:pt x="4505277" y="1460157"/>
                  <a:pt x="4521184" y="1460157"/>
                  <a:pt x="4521184" y="1469703"/>
                </a:cubicBezTo>
                <a:cubicBezTo>
                  <a:pt x="4521184" y="1476069"/>
                  <a:pt x="4513230" y="1490382"/>
                  <a:pt x="4510049" y="1493563"/>
                </a:cubicBezTo>
                <a:cubicBezTo>
                  <a:pt x="4505277" y="1498336"/>
                  <a:pt x="4500505" y="1490382"/>
                  <a:pt x="4497323" y="1487200"/>
                </a:cubicBezTo>
                <a:cubicBezTo>
                  <a:pt x="4494142" y="1503108"/>
                  <a:pt x="4478234" y="1495154"/>
                  <a:pt x="4470281" y="1496744"/>
                </a:cubicBezTo>
                <a:cubicBezTo>
                  <a:pt x="4440057" y="1503108"/>
                  <a:pt x="4401879" y="1517424"/>
                  <a:pt x="4397107" y="1541286"/>
                </a:cubicBezTo>
                <a:cubicBezTo>
                  <a:pt x="4395516" y="1547648"/>
                  <a:pt x="4395516" y="1560374"/>
                  <a:pt x="4406652" y="1557192"/>
                </a:cubicBezTo>
                <a:cubicBezTo>
                  <a:pt x="4436875" y="1547648"/>
                  <a:pt x="4454373" y="1526969"/>
                  <a:pt x="4476643" y="1517424"/>
                </a:cubicBezTo>
                <a:cubicBezTo>
                  <a:pt x="4484597" y="1514243"/>
                  <a:pt x="4475053" y="1533333"/>
                  <a:pt x="4468690" y="1536514"/>
                </a:cubicBezTo>
                <a:cubicBezTo>
                  <a:pt x="4454373" y="1544467"/>
                  <a:pt x="4441648" y="1554010"/>
                  <a:pt x="4428921" y="1560374"/>
                </a:cubicBezTo>
                <a:cubicBezTo>
                  <a:pt x="4420968" y="1563554"/>
                  <a:pt x="4405061" y="1592186"/>
                  <a:pt x="4400288" y="1600140"/>
                </a:cubicBezTo>
                <a:cubicBezTo>
                  <a:pt x="4379609" y="1598548"/>
                  <a:pt x="4382791" y="1622395"/>
                  <a:pt x="4368473" y="1628757"/>
                </a:cubicBezTo>
                <a:cubicBezTo>
                  <a:pt x="4366883" y="1627164"/>
                  <a:pt x="4366883" y="1625570"/>
                  <a:pt x="4365292" y="1625570"/>
                </a:cubicBezTo>
                <a:cubicBezTo>
                  <a:pt x="4358929" y="1643063"/>
                  <a:pt x="4344612" y="1660557"/>
                  <a:pt x="4331886" y="1681231"/>
                </a:cubicBezTo>
                <a:lnTo>
                  <a:pt x="4353290" y="1674541"/>
                </a:lnTo>
                <a:lnTo>
                  <a:pt x="4353162" y="1674475"/>
                </a:lnTo>
                <a:cubicBezTo>
                  <a:pt x="4351372" y="1671686"/>
                  <a:pt x="4350974" y="1666918"/>
                  <a:pt x="4352565" y="1665328"/>
                </a:cubicBezTo>
                <a:cubicBezTo>
                  <a:pt x="4354155" y="1663738"/>
                  <a:pt x="4365291" y="1658971"/>
                  <a:pt x="4370063" y="1657376"/>
                </a:cubicBezTo>
                <a:cubicBezTo>
                  <a:pt x="4374835" y="1656185"/>
                  <a:pt x="4379608" y="1647834"/>
                  <a:pt x="4385052" y="1649096"/>
                </a:cubicBezTo>
                <a:cubicBezTo>
                  <a:pt x="4386866" y="1649525"/>
                  <a:pt x="4388755" y="1651012"/>
                  <a:pt x="4390743" y="1654198"/>
                </a:cubicBezTo>
                <a:cubicBezTo>
                  <a:pt x="4397106" y="1665328"/>
                  <a:pt x="4366882" y="1665328"/>
                  <a:pt x="4362110" y="1671686"/>
                </a:cubicBezTo>
                <a:cubicBezTo>
                  <a:pt x="4360121" y="1674868"/>
                  <a:pt x="4358331" y="1676262"/>
                  <a:pt x="4356815" y="1676508"/>
                </a:cubicBezTo>
                <a:lnTo>
                  <a:pt x="4354528" y="1675233"/>
                </a:lnTo>
                <a:lnTo>
                  <a:pt x="4320752" y="1698736"/>
                </a:lnTo>
                <a:cubicBezTo>
                  <a:pt x="4314389" y="1709877"/>
                  <a:pt x="4309616" y="1722609"/>
                  <a:pt x="4306435" y="1735345"/>
                </a:cubicBezTo>
                <a:cubicBezTo>
                  <a:pt x="4306435" y="1736936"/>
                  <a:pt x="4306435" y="1736936"/>
                  <a:pt x="4306435" y="1736936"/>
                </a:cubicBezTo>
                <a:cubicBezTo>
                  <a:pt x="4314389" y="1738528"/>
                  <a:pt x="4320752" y="1736936"/>
                  <a:pt x="4327115" y="1741709"/>
                </a:cubicBezTo>
                <a:cubicBezTo>
                  <a:pt x="4325524" y="1748074"/>
                  <a:pt x="4320752" y="1754442"/>
                  <a:pt x="4320752" y="1763994"/>
                </a:cubicBezTo>
                <a:cubicBezTo>
                  <a:pt x="4314389" y="1762401"/>
                  <a:pt x="4308026" y="1762401"/>
                  <a:pt x="4301662" y="1763994"/>
                </a:cubicBezTo>
                <a:cubicBezTo>
                  <a:pt x="4301662" y="1771951"/>
                  <a:pt x="4301662" y="1779903"/>
                  <a:pt x="4303253" y="1789452"/>
                </a:cubicBezTo>
                <a:cubicBezTo>
                  <a:pt x="4300072" y="1792632"/>
                  <a:pt x="4296891" y="1795814"/>
                  <a:pt x="4293710" y="1797405"/>
                </a:cubicBezTo>
                <a:cubicBezTo>
                  <a:pt x="4311207" y="1800590"/>
                  <a:pt x="4327115" y="1802181"/>
                  <a:pt x="4344612" y="1803773"/>
                </a:cubicBezTo>
                <a:cubicBezTo>
                  <a:pt x="4398698" y="1806955"/>
                  <a:pt x="4467099" y="1798998"/>
                  <a:pt x="4529138" y="1781494"/>
                </a:cubicBezTo>
                <a:lnTo>
                  <a:pt x="4613447" y="1767171"/>
                </a:lnTo>
                <a:cubicBezTo>
                  <a:pt x="4627763" y="1763994"/>
                  <a:pt x="4638898" y="1759215"/>
                  <a:pt x="4648443" y="1744892"/>
                </a:cubicBezTo>
                <a:cubicBezTo>
                  <a:pt x="4657987" y="1749669"/>
                  <a:pt x="4669123" y="1754442"/>
                  <a:pt x="4677076" y="1759215"/>
                </a:cubicBezTo>
                <a:cubicBezTo>
                  <a:pt x="4689802" y="1765580"/>
                  <a:pt x="4672304" y="1773535"/>
                  <a:pt x="4670713" y="1779903"/>
                </a:cubicBezTo>
                <a:cubicBezTo>
                  <a:pt x="4659578" y="1773535"/>
                  <a:pt x="4642080" y="1781494"/>
                  <a:pt x="4627763" y="1783085"/>
                </a:cubicBezTo>
                <a:cubicBezTo>
                  <a:pt x="4556180" y="1795814"/>
                  <a:pt x="4498914" y="1806955"/>
                  <a:pt x="4432103" y="1821275"/>
                </a:cubicBezTo>
                <a:cubicBezTo>
                  <a:pt x="4411424" y="1834004"/>
                  <a:pt x="4387562" y="1821275"/>
                  <a:pt x="4360519" y="1838777"/>
                </a:cubicBezTo>
                <a:cubicBezTo>
                  <a:pt x="4363701" y="1843552"/>
                  <a:pt x="4365292" y="1853097"/>
                  <a:pt x="4358929" y="1854691"/>
                </a:cubicBezTo>
                <a:cubicBezTo>
                  <a:pt x="4347794" y="1841961"/>
                  <a:pt x="4335068" y="1856282"/>
                  <a:pt x="4323933" y="1846734"/>
                </a:cubicBezTo>
                <a:cubicBezTo>
                  <a:pt x="4314389" y="1854691"/>
                  <a:pt x="4303253" y="1862648"/>
                  <a:pt x="4293710" y="1872195"/>
                </a:cubicBezTo>
                <a:cubicBezTo>
                  <a:pt x="4285756" y="1880151"/>
                  <a:pt x="4293710" y="1902426"/>
                  <a:pt x="4311207" y="1900837"/>
                </a:cubicBezTo>
                <a:lnTo>
                  <a:pt x="4379609" y="1892880"/>
                </a:lnTo>
                <a:cubicBezTo>
                  <a:pt x="4389153" y="1891288"/>
                  <a:pt x="4393925" y="1881742"/>
                  <a:pt x="4398698" y="1881742"/>
                </a:cubicBezTo>
                <a:cubicBezTo>
                  <a:pt x="4397107" y="1894472"/>
                  <a:pt x="4413015" y="1889697"/>
                  <a:pt x="4419377" y="1891288"/>
                </a:cubicBezTo>
                <a:cubicBezTo>
                  <a:pt x="4449600" y="1896065"/>
                  <a:pt x="4484597" y="1888108"/>
                  <a:pt x="4514821" y="1891288"/>
                </a:cubicBezTo>
                <a:cubicBezTo>
                  <a:pt x="4519593" y="1883333"/>
                  <a:pt x="4527547" y="1883333"/>
                  <a:pt x="4532319" y="1888108"/>
                </a:cubicBezTo>
                <a:cubicBezTo>
                  <a:pt x="4556180" y="1875377"/>
                  <a:pt x="4581632" y="1878560"/>
                  <a:pt x="4602311" y="1881742"/>
                </a:cubicBezTo>
                <a:cubicBezTo>
                  <a:pt x="4610265" y="1883333"/>
                  <a:pt x="4610265" y="1891288"/>
                  <a:pt x="4610265" y="1896065"/>
                </a:cubicBezTo>
                <a:cubicBezTo>
                  <a:pt x="4610265" y="1904015"/>
                  <a:pt x="4597539" y="1905605"/>
                  <a:pt x="4594358" y="1911963"/>
                </a:cubicBezTo>
                <a:cubicBezTo>
                  <a:pt x="4546636" y="1905605"/>
                  <a:pt x="4486188" y="1902426"/>
                  <a:pt x="4428921" y="1919912"/>
                </a:cubicBezTo>
                <a:cubicBezTo>
                  <a:pt x="4416196" y="1923090"/>
                  <a:pt x="4430512" y="1946938"/>
                  <a:pt x="4435285" y="1958066"/>
                </a:cubicBezTo>
                <a:cubicBezTo>
                  <a:pt x="4444829" y="1978736"/>
                  <a:pt x="4455964" y="1999403"/>
                  <a:pt x="4470281" y="2008944"/>
                </a:cubicBezTo>
                <a:cubicBezTo>
                  <a:pt x="4465508" y="2018504"/>
                  <a:pt x="4457554" y="2023292"/>
                  <a:pt x="4448010" y="2018504"/>
                </a:cubicBezTo>
                <a:cubicBezTo>
                  <a:pt x="4444829" y="2016907"/>
                  <a:pt x="4436875" y="2018504"/>
                  <a:pt x="4436875" y="2016907"/>
                </a:cubicBezTo>
                <a:cubicBezTo>
                  <a:pt x="4440057" y="1997814"/>
                  <a:pt x="4435285" y="1986686"/>
                  <a:pt x="4427331" y="1973964"/>
                </a:cubicBezTo>
                <a:cubicBezTo>
                  <a:pt x="4416196" y="1953294"/>
                  <a:pt x="4408242" y="1931038"/>
                  <a:pt x="4395516" y="1916732"/>
                </a:cubicBezTo>
                <a:cubicBezTo>
                  <a:pt x="4338249" y="1931038"/>
                  <a:pt x="4287347" y="1931038"/>
                  <a:pt x="4236443" y="1935808"/>
                </a:cubicBezTo>
                <a:cubicBezTo>
                  <a:pt x="4206219" y="1946938"/>
                  <a:pt x="4172814" y="1961248"/>
                  <a:pt x="4168041" y="1989866"/>
                </a:cubicBezTo>
                <a:cubicBezTo>
                  <a:pt x="4166451" y="1996223"/>
                  <a:pt x="4193493" y="1981916"/>
                  <a:pt x="4204628" y="1973964"/>
                </a:cubicBezTo>
                <a:lnTo>
                  <a:pt x="4258713" y="1938986"/>
                </a:lnTo>
                <a:cubicBezTo>
                  <a:pt x="4271439" y="1951705"/>
                  <a:pt x="4252350" y="1951705"/>
                  <a:pt x="4247578" y="1954887"/>
                </a:cubicBezTo>
                <a:cubicBezTo>
                  <a:pt x="4226898" y="1967604"/>
                  <a:pt x="4207810" y="1981916"/>
                  <a:pt x="4183948" y="1994636"/>
                </a:cubicBezTo>
                <a:cubicBezTo>
                  <a:pt x="4199856" y="2004171"/>
                  <a:pt x="4222126" y="2007352"/>
                  <a:pt x="4236443" y="2020092"/>
                </a:cubicBezTo>
                <a:cubicBezTo>
                  <a:pt x="4241215" y="2024877"/>
                  <a:pt x="4258713" y="2015312"/>
                  <a:pt x="4269848" y="2013720"/>
                </a:cubicBezTo>
                <a:cubicBezTo>
                  <a:pt x="4268257" y="2002583"/>
                  <a:pt x="4280983" y="2012128"/>
                  <a:pt x="4273029" y="2016907"/>
                </a:cubicBezTo>
                <a:cubicBezTo>
                  <a:pt x="4284165" y="2015312"/>
                  <a:pt x="4319161" y="2031224"/>
                  <a:pt x="4331886" y="2035991"/>
                </a:cubicBezTo>
                <a:cubicBezTo>
                  <a:pt x="4343022" y="2055107"/>
                  <a:pt x="4370064" y="2058295"/>
                  <a:pt x="4385972" y="2058295"/>
                </a:cubicBezTo>
                <a:cubicBezTo>
                  <a:pt x="4400288" y="2058295"/>
                  <a:pt x="4387562" y="2069427"/>
                  <a:pt x="4381200" y="2069427"/>
                </a:cubicBezTo>
                <a:cubicBezTo>
                  <a:pt x="4344612" y="2067838"/>
                  <a:pt x="4309616" y="2066248"/>
                  <a:pt x="4277802" y="2055107"/>
                </a:cubicBezTo>
                <a:cubicBezTo>
                  <a:pt x="4277802" y="2047153"/>
                  <a:pt x="4265076" y="2047153"/>
                  <a:pt x="4257122" y="2047153"/>
                </a:cubicBezTo>
                <a:cubicBezTo>
                  <a:pt x="4236443" y="2047153"/>
                  <a:pt x="4207810" y="2047153"/>
                  <a:pt x="4187130" y="2067838"/>
                </a:cubicBezTo>
                <a:cubicBezTo>
                  <a:pt x="4183948" y="2056705"/>
                  <a:pt x="4198265" y="2055107"/>
                  <a:pt x="4201447" y="2050334"/>
                </a:cubicBezTo>
                <a:cubicBezTo>
                  <a:pt x="4153724" y="2055107"/>
                  <a:pt x="4115547" y="2045558"/>
                  <a:pt x="4061461" y="2067838"/>
                </a:cubicBezTo>
                <a:cubicBezTo>
                  <a:pt x="4093276" y="2096473"/>
                  <a:pt x="4131454" y="2106014"/>
                  <a:pt x="4166451" y="2118733"/>
                </a:cubicBezTo>
                <a:cubicBezTo>
                  <a:pt x="4174404" y="2121918"/>
                  <a:pt x="4174404" y="2133054"/>
                  <a:pt x="4185539" y="2137827"/>
                </a:cubicBezTo>
                <a:cubicBezTo>
                  <a:pt x="4158497" y="2142597"/>
                  <a:pt x="4139408" y="2129870"/>
                  <a:pt x="4125091" y="2118733"/>
                </a:cubicBezTo>
                <a:cubicBezTo>
                  <a:pt x="4098048" y="2115553"/>
                  <a:pt x="4072597" y="2121918"/>
                  <a:pt x="4051918" y="2136238"/>
                </a:cubicBezTo>
                <a:cubicBezTo>
                  <a:pt x="4080551" y="2155320"/>
                  <a:pt x="4102821" y="2180771"/>
                  <a:pt x="4133045" y="2195085"/>
                </a:cubicBezTo>
                <a:cubicBezTo>
                  <a:pt x="4136227" y="2196676"/>
                  <a:pt x="4142590" y="2193496"/>
                  <a:pt x="4147361" y="2195085"/>
                </a:cubicBezTo>
                <a:cubicBezTo>
                  <a:pt x="4131454" y="2207809"/>
                  <a:pt x="4153724" y="2217352"/>
                  <a:pt x="4160088" y="2222125"/>
                </a:cubicBezTo>
                <a:lnTo>
                  <a:pt x="4215763" y="2257116"/>
                </a:lnTo>
                <a:cubicBezTo>
                  <a:pt x="4226898" y="2265070"/>
                  <a:pt x="4242805" y="2250755"/>
                  <a:pt x="4253941" y="2247575"/>
                </a:cubicBezTo>
                <a:cubicBezTo>
                  <a:pt x="4255532" y="2252346"/>
                  <a:pt x="4255532" y="2260298"/>
                  <a:pt x="4249168" y="2260298"/>
                </a:cubicBezTo>
                <a:cubicBezTo>
                  <a:pt x="4239624" y="2260298"/>
                  <a:pt x="4230080" y="2260298"/>
                  <a:pt x="4218944" y="2265070"/>
                </a:cubicBezTo>
                <a:cubicBezTo>
                  <a:pt x="4222126" y="2271431"/>
                  <a:pt x="4223717" y="2277792"/>
                  <a:pt x="4217353" y="2282564"/>
                </a:cubicBezTo>
                <a:cubicBezTo>
                  <a:pt x="4212581" y="2285745"/>
                  <a:pt x="4201447" y="2292107"/>
                  <a:pt x="4203037" y="2279385"/>
                </a:cubicBezTo>
                <a:cubicBezTo>
                  <a:pt x="4198265" y="2276202"/>
                  <a:pt x="4191902" y="2271431"/>
                  <a:pt x="4187130" y="2271431"/>
                </a:cubicBezTo>
                <a:cubicBezTo>
                  <a:pt x="4174404" y="2273022"/>
                  <a:pt x="4160088" y="2285745"/>
                  <a:pt x="4145771" y="2279385"/>
                </a:cubicBezTo>
                <a:cubicBezTo>
                  <a:pt x="4156906" y="2271431"/>
                  <a:pt x="4174404" y="2265070"/>
                  <a:pt x="4185539" y="2265070"/>
                </a:cubicBezTo>
                <a:cubicBezTo>
                  <a:pt x="4164860" y="2249164"/>
                  <a:pt x="4148952" y="2234850"/>
                  <a:pt x="4129863" y="2214173"/>
                </a:cubicBezTo>
                <a:cubicBezTo>
                  <a:pt x="4099639" y="2222125"/>
                  <a:pt x="4075778" y="2228488"/>
                  <a:pt x="4048736" y="2242803"/>
                </a:cubicBezTo>
                <a:cubicBezTo>
                  <a:pt x="4042373" y="2245983"/>
                  <a:pt x="4040782" y="2260298"/>
                  <a:pt x="4045555" y="2265070"/>
                </a:cubicBezTo>
                <a:cubicBezTo>
                  <a:pt x="4066234" y="2285745"/>
                  <a:pt x="4075778" y="2323916"/>
                  <a:pt x="4071006" y="2350956"/>
                </a:cubicBezTo>
                <a:cubicBezTo>
                  <a:pt x="4069415" y="2360499"/>
                  <a:pt x="4086914" y="2352546"/>
                  <a:pt x="4096458" y="2349365"/>
                </a:cubicBezTo>
                <a:cubicBezTo>
                  <a:pt x="4090095" y="2347774"/>
                  <a:pt x="4074188" y="2347774"/>
                  <a:pt x="4074188" y="2335050"/>
                </a:cubicBezTo>
                <a:cubicBezTo>
                  <a:pt x="4099639" y="2347774"/>
                  <a:pt x="4129863" y="2347774"/>
                  <a:pt x="4164860" y="2343002"/>
                </a:cubicBezTo>
                <a:cubicBezTo>
                  <a:pt x="4209400" y="2336640"/>
                  <a:pt x="4249168" y="2338231"/>
                  <a:pt x="4298481" y="2333459"/>
                </a:cubicBezTo>
                <a:cubicBezTo>
                  <a:pt x="4323933" y="2331869"/>
                  <a:pt x="4346203" y="2328688"/>
                  <a:pt x="4373246" y="2327098"/>
                </a:cubicBezTo>
                <a:cubicBezTo>
                  <a:pt x="4378018" y="2325507"/>
                  <a:pt x="4387562" y="2335050"/>
                  <a:pt x="4379609" y="2335050"/>
                </a:cubicBezTo>
                <a:cubicBezTo>
                  <a:pt x="4358929" y="2335050"/>
                  <a:pt x="4336658" y="2335050"/>
                  <a:pt x="4314389" y="2341411"/>
                </a:cubicBezTo>
                <a:cubicBezTo>
                  <a:pt x="4303253" y="2344592"/>
                  <a:pt x="4335068" y="2373221"/>
                  <a:pt x="4341431" y="2381173"/>
                </a:cubicBezTo>
                <a:cubicBezTo>
                  <a:pt x="4325524" y="2385946"/>
                  <a:pt x="4319161" y="2376403"/>
                  <a:pt x="4311207" y="2368449"/>
                </a:cubicBezTo>
                <a:cubicBezTo>
                  <a:pt x="4290528" y="2344592"/>
                  <a:pt x="4257122" y="2333459"/>
                  <a:pt x="4231671" y="2347774"/>
                </a:cubicBezTo>
                <a:cubicBezTo>
                  <a:pt x="4175995" y="2354136"/>
                  <a:pt x="4133045" y="2360499"/>
                  <a:pt x="4091685" y="2360499"/>
                </a:cubicBezTo>
                <a:cubicBezTo>
                  <a:pt x="4086914" y="2360499"/>
                  <a:pt x="4077369" y="2365269"/>
                  <a:pt x="4075778" y="2365269"/>
                </a:cubicBezTo>
                <a:cubicBezTo>
                  <a:pt x="4075778" y="2374811"/>
                  <a:pt x="4083732" y="2384354"/>
                  <a:pt x="4088504" y="2384354"/>
                </a:cubicBezTo>
                <a:cubicBezTo>
                  <a:pt x="4123500" y="2390717"/>
                  <a:pt x="4163269" y="2374811"/>
                  <a:pt x="4180767" y="2376403"/>
                </a:cubicBezTo>
                <a:cubicBezTo>
                  <a:pt x="4191902" y="2377993"/>
                  <a:pt x="4204628" y="2368449"/>
                  <a:pt x="4217353" y="2381173"/>
                </a:cubicBezTo>
                <a:cubicBezTo>
                  <a:pt x="4180767" y="2387535"/>
                  <a:pt x="4142590" y="2397079"/>
                  <a:pt x="4112366" y="2398670"/>
                </a:cubicBezTo>
                <a:cubicBezTo>
                  <a:pt x="4101230" y="2398670"/>
                  <a:pt x="4094867" y="2414573"/>
                  <a:pt x="4098048" y="2425706"/>
                </a:cubicBezTo>
                <a:cubicBezTo>
                  <a:pt x="4106002" y="2451155"/>
                  <a:pt x="4098048" y="2473420"/>
                  <a:pt x="4096458" y="2495688"/>
                </a:cubicBezTo>
                <a:cubicBezTo>
                  <a:pt x="4096458" y="2511593"/>
                  <a:pt x="4082141" y="2543402"/>
                  <a:pt x="4096458" y="2544994"/>
                </a:cubicBezTo>
                <a:cubicBezTo>
                  <a:pt x="4115547" y="2548176"/>
                  <a:pt x="4139408" y="2549764"/>
                  <a:pt x="4160088" y="2552947"/>
                </a:cubicBezTo>
                <a:lnTo>
                  <a:pt x="4244396" y="2541812"/>
                </a:lnTo>
                <a:cubicBezTo>
                  <a:pt x="4249168" y="2540223"/>
                  <a:pt x="4257122" y="2540223"/>
                  <a:pt x="4260304" y="2544994"/>
                </a:cubicBezTo>
                <a:cubicBezTo>
                  <a:pt x="4266667" y="2556128"/>
                  <a:pt x="4279393" y="2560900"/>
                  <a:pt x="4293710" y="2564080"/>
                </a:cubicBezTo>
                <a:cubicBezTo>
                  <a:pt x="4320752" y="2570443"/>
                  <a:pt x="4339840" y="2594303"/>
                  <a:pt x="4363701" y="2597484"/>
                </a:cubicBezTo>
                <a:cubicBezTo>
                  <a:pt x="4392334" y="2591120"/>
                  <a:pt x="4416196" y="2605440"/>
                  <a:pt x="4428921" y="2624529"/>
                </a:cubicBezTo>
                <a:cubicBezTo>
                  <a:pt x="4432103" y="2627711"/>
                  <a:pt x="4425740" y="2637257"/>
                  <a:pt x="4424149" y="2637257"/>
                </a:cubicBezTo>
                <a:cubicBezTo>
                  <a:pt x="4393925" y="2632484"/>
                  <a:pt x="4366883" y="2629302"/>
                  <a:pt x="4346203" y="2607030"/>
                </a:cubicBezTo>
                <a:cubicBezTo>
                  <a:pt x="4343022" y="2616575"/>
                  <a:pt x="4333477" y="2622938"/>
                  <a:pt x="4333477" y="2605440"/>
                </a:cubicBezTo>
                <a:cubicBezTo>
                  <a:pt x="4296891" y="2603848"/>
                  <a:pt x="4263486" y="2594303"/>
                  <a:pt x="4231671" y="2600667"/>
                </a:cubicBezTo>
                <a:cubicBezTo>
                  <a:pt x="4220535" y="2586349"/>
                  <a:pt x="4203037" y="2583168"/>
                  <a:pt x="4195083" y="2584758"/>
                </a:cubicBezTo>
                <a:cubicBezTo>
                  <a:pt x="4163269" y="2589530"/>
                  <a:pt x="4128273" y="2584758"/>
                  <a:pt x="4106002" y="2575214"/>
                </a:cubicBezTo>
                <a:cubicBezTo>
                  <a:pt x="4090095" y="2567261"/>
                  <a:pt x="4085323" y="2592711"/>
                  <a:pt x="4083732" y="2602257"/>
                </a:cubicBezTo>
                <a:cubicBezTo>
                  <a:pt x="4067824" y="2688153"/>
                  <a:pt x="4047145" y="2775644"/>
                  <a:pt x="4047145" y="2866315"/>
                </a:cubicBezTo>
                <a:cubicBezTo>
                  <a:pt x="4058280" y="2886995"/>
                  <a:pt x="4083732" y="2891767"/>
                  <a:pt x="4088504" y="2901312"/>
                </a:cubicBezTo>
                <a:cubicBezTo>
                  <a:pt x="4098048" y="2920400"/>
                  <a:pt x="4080551" y="2920400"/>
                  <a:pt x="4075778" y="2917219"/>
                </a:cubicBezTo>
                <a:cubicBezTo>
                  <a:pt x="4071006" y="2912447"/>
                  <a:pt x="4058280" y="2896539"/>
                  <a:pt x="4055099" y="2890176"/>
                </a:cubicBezTo>
                <a:cubicBezTo>
                  <a:pt x="4051918" y="2883814"/>
                  <a:pt x="4045555" y="2886995"/>
                  <a:pt x="4043964" y="2893358"/>
                </a:cubicBezTo>
                <a:cubicBezTo>
                  <a:pt x="4040782" y="2915629"/>
                  <a:pt x="4040782" y="2937899"/>
                  <a:pt x="4039192" y="2961760"/>
                </a:cubicBezTo>
                <a:cubicBezTo>
                  <a:pt x="4039192" y="2966532"/>
                  <a:pt x="4039192" y="2971304"/>
                  <a:pt x="4039192" y="2976076"/>
                </a:cubicBezTo>
                <a:cubicBezTo>
                  <a:pt x="4071006" y="3011072"/>
                  <a:pt x="4096458" y="3049250"/>
                  <a:pt x="4110775" y="3089019"/>
                </a:cubicBezTo>
                <a:cubicBezTo>
                  <a:pt x="4088504" y="3061976"/>
                  <a:pt x="4064643" y="3034934"/>
                  <a:pt x="4039192" y="3009481"/>
                </a:cubicBezTo>
                <a:cubicBezTo>
                  <a:pt x="4039192" y="3015844"/>
                  <a:pt x="4039192" y="3022208"/>
                  <a:pt x="4039192" y="3028571"/>
                </a:cubicBezTo>
                <a:cubicBezTo>
                  <a:pt x="4078960" y="3068338"/>
                  <a:pt x="4113956" y="3112879"/>
                  <a:pt x="4142590" y="3159010"/>
                </a:cubicBezTo>
                <a:cubicBezTo>
                  <a:pt x="4109184" y="3125605"/>
                  <a:pt x="4074188" y="3093791"/>
                  <a:pt x="4043964" y="3058794"/>
                </a:cubicBezTo>
                <a:cubicBezTo>
                  <a:pt x="4077369" y="3139922"/>
                  <a:pt x="4172814" y="3195597"/>
                  <a:pt x="4190311" y="3276725"/>
                </a:cubicBezTo>
                <a:cubicBezTo>
                  <a:pt x="4166451" y="3246500"/>
                  <a:pt x="4126682" y="3208324"/>
                  <a:pt x="4104412" y="3186053"/>
                </a:cubicBezTo>
                <a:cubicBezTo>
                  <a:pt x="4098048" y="3198779"/>
                  <a:pt x="4104412" y="3203551"/>
                  <a:pt x="4101230" y="3214686"/>
                </a:cubicBezTo>
                <a:cubicBezTo>
                  <a:pt x="4155315" y="3265590"/>
                  <a:pt x="4222126" y="3322856"/>
                  <a:pt x="4218944" y="3400802"/>
                </a:cubicBezTo>
                <a:cubicBezTo>
                  <a:pt x="4191902" y="3380123"/>
                  <a:pt x="4166451" y="3341945"/>
                  <a:pt x="4134636" y="3332401"/>
                </a:cubicBezTo>
                <a:cubicBezTo>
                  <a:pt x="4147361" y="3372169"/>
                  <a:pt x="4195083" y="3418301"/>
                  <a:pt x="4228489" y="3424663"/>
                </a:cubicBezTo>
                <a:cubicBezTo>
                  <a:pt x="4228489" y="3451705"/>
                  <a:pt x="4231671" y="3491474"/>
                  <a:pt x="4226898" y="3510563"/>
                </a:cubicBezTo>
                <a:cubicBezTo>
                  <a:pt x="4206219" y="3473976"/>
                  <a:pt x="4171223" y="3445343"/>
                  <a:pt x="4142590" y="3413528"/>
                </a:cubicBezTo>
                <a:cubicBezTo>
                  <a:pt x="4140999" y="3426254"/>
                  <a:pt x="4129863" y="3421482"/>
                  <a:pt x="4125091" y="3427844"/>
                </a:cubicBezTo>
                <a:cubicBezTo>
                  <a:pt x="4172814" y="3461250"/>
                  <a:pt x="4193493" y="3510563"/>
                  <a:pt x="4234852" y="3545559"/>
                </a:cubicBezTo>
                <a:cubicBezTo>
                  <a:pt x="4228489" y="3569420"/>
                  <a:pt x="4230080" y="3578964"/>
                  <a:pt x="4222126" y="3599644"/>
                </a:cubicBezTo>
                <a:cubicBezTo>
                  <a:pt x="4177585" y="3569420"/>
                  <a:pt x="4164860" y="3516926"/>
                  <a:pt x="4123500" y="3485111"/>
                </a:cubicBezTo>
                <a:cubicBezTo>
                  <a:pt x="4120319" y="3491474"/>
                  <a:pt x="4113956" y="3494656"/>
                  <a:pt x="4109184" y="3499428"/>
                </a:cubicBezTo>
                <a:cubicBezTo>
                  <a:pt x="4142590" y="3545559"/>
                  <a:pt x="4177585" y="3590100"/>
                  <a:pt x="4218944" y="3631458"/>
                </a:cubicBezTo>
                <a:cubicBezTo>
                  <a:pt x="4212581" y="3645775"/>
                  <a:pt x="4214172" y="3669636"/>
                  <a:pt x="4204628" y="3677590"/>
                </a:cubicBezTo>
                <a:cubicBezTo>
                  <a:pt x="4140999" y="3601234"/>
                  <a:pt x="4075778" y="3523289"/>
                  <a:pt x="4010558" y="3445343"/>
                </a:cubicBezTo>
                <a:cubicBezTo>
                  <a:pt x="4012149" y="3456478"/>
                  <a:pt x="4013740" y="3469204"/>
                  <a:pt x="4015331" y="3480339"/>
                </a:cubicBezTo>
                <a:cubicBezTo>
                  <a:pt x="4074188" y="3547150"/>
                  <a:pt x="4131454" y="3613961"/>
                  <a:pt x="4185539" y="3683953"/>
                </a:cubicBezTo>
                <a:cubicBezTo>
                  <a:pt x="4131454" y="3687134"/>
                  <a:pt x="4117138" y="3656910"/>
                  <a:pt x="4078960" y="3617142"/>
                </a:cubicBezTo>
                <a:cubicBezTo>
                  <a:pt x="4071006" y="3607597"/>
                  <a:pt x="4061461" y="3598053"/>
                  <a:pt x="4051918" y="3588509"/>
                </a:cubicBezTo>
                <a:cubicBezTo>
                  <a:pt x="4053509" y="3590100"/>
                  <a:pt x="4055099" y="3593281"/>
                  <a:pt x="4056690" y="3594872"/>
                </a:cubicBezTo>
                <a:cubicBezTo>
                  <a:pt x="4058280" y="3599644"/>
                  <a:pt x="4040782" y="3591690"/>
                  <a:pt x="4043964" y="3604416"/>
                </a:cubicBezTo>
                <a:cubicBezTo>
                  <a:pt x="4091685" y="3650548"/>
                  <a:pt x="4142590" y="3695088"/>
                  <a:pt x="4147361" y="3760308"/>
                </a:cubicBezTo>
                <a:cubicBezTo>
                  <a:pt x="4110775" y="3717358"/>
                  <a:pt x="4071006" y="3671227"/>
                  <a:pt x="4031238" y="3625096"/>
                </a:cubicBezTo>
                <a:cubicBezTo>
                  <a:pt x="4028057" y="3626686"/>
                  <a:pt x="4024875" y="3626686"/>
                  <a:pt x="4021694" y="3626686"/>
                </a:cubicBezTo>
                <a:cubicBezTo>
                  <a:pt x="4020103" y="3620324"/>
                  <a:pt x="4015331" y="3620324"/>
                  <a:pt x="4013740" y="3626686"/>
                </a:cubicBezTo>
                <a:cubicBezTo>
                  <a:pt x="4061461" y="3683953"/>
                  <a:pt x="4101230" y="3741220"/>
                  <a:pt x="4129863" y="3800077"/>
                </a:cubicBezTo>
                <a:cubicBezTo>
                  <a:pt x="4093276" y="3755536"/>
                  <a:pt x="4056690" y="3709405"/>
                  <a:pt x="4020103" y="3664864"/>
                </a:cubicBezTo>
                <a:cubicBezTo>
                  <a:pt x="4020103" y="3668045"/>
                  <a:pt x="4018512" y="3671227"/>
                  <a:pt x="4016921" y="3674409"/>
                </a:cubicBezTo>
                <a:cubicBezTo>
                  <a:pt x="4023285" y="3685544"/>
                  <a:pt x="4026466" y="3696679"/>
                  <a:pt x="4029647" y="3706223"/>
                </a:cubicBezTo>
                <a:cubicBezTo>
                  <a:pt x="4063052" y="3745991"/>
                  <a:pt x="4093276" y="3787350"/>
                  <a:pt x="4107593" y="3831891"/>
                </a:cubicBezTo>
                <a:cubicBezTo>
                  <a:pt x="4083732" y="3841435"/>
                  <a:pt x="4080551" y="3809621"/>
                  <a:pt x="4072597" y="3798486"/>
                </a:cubicBezTo>
                <a:cubicBezTo>
                  <a:pt x="4059871" y="3782578"/>
                  <a:pt x="4047145" y="3765080"/>
                  <a:pt x="4032828" y="3749173"/>
                </a:cubicBezTo>
                <a:cubicBezTo>
                  <a:pt x="4032828" y="3760308"/>
                  <a:pt x="4029647" y="3769853"/>
                  <a:pt x="4028057" y="3779396"/>
                </a:cubicBezTo>
                <a:cubicBezTo>
                  <a:pt x="4042373" y="3803258"/>
                  <a:pt x="4056690" y="3827119"/>
                  <a:pt x="4067824" y="3850980"/>
                </a:cubicBezTo>
                <a:cubicBezTo>
                  <a:pt x="4039192" y="3850980"/>
                  <a:pt x="4023285" y="3828710"/>
                  <a:pt x="4008967" y="3806439"/>
                </a:cubicBezTo>
                <a:cubicBezTo>
                  <a:pt x="4005786" y="3808030"/>
                  <a:pt x="4002604" y="3809621"/>
                  <a:pt x="4001014" y="3812802"/>
                </a:cubicBezTo>
                <a:cubicBezTo>
                  <a:pt x="3999423" y="3815984"/>
                  <a:pt x="4008967" y="3820756"/>
                  <a:pt x="4008967" y="3828710"/>
                </a:cubicBezTo>
                <a:cubicBezTo>
                  <a:pt x="4005786" y="3827119"/>
                  <a:pt x="4004195" y="3825528"/>
                  <a:pt x="4001014" y="3823938"/>
                </a:cubicBezTo>
                <a:cubicBezTo>
                  <a:pt x="4008967" y="3833482"/>
                  <a:pt x="4016921" y="3843026"/>
                  <a:pt x="4023285" y="3852571"/>
                </a:cubicBezTo>
                <a:cubicBezTo>
                  <a:pt x="4007377" y="3847798"/>
                  <a:pt x="3997833" y="3854161"/>
                  <a:pt x="3983516" y="3854161"/>
                </a:cubicBezTo>
                <a:cubicBezTo>
                  <a:pt x="3962837" y="3827119"/>
                  <a:pt x="3940566" y="3801668"/>
                  <a:pt x="3918296" y="3776215"/>
                </a:cubicBezTo>
                <a:cubicBezTo>
                  <a:pt x="3915114" y="3780987"/>
                  <a:pt x="3911933" y="3780987"/>
                  <a:pt x="3908752" y="3776215"/>
                </a:cubicBezTo>
                <a:cubicBezTo>
                  <a:pt x="3900798" y="3765080"/>
                  <a:pt x="3892844" y="3753945"/>
                  <a:pt x="3884890" y="3741220"/>
                </a:cubicBezTo>
                <a:cubicBezTo>
                  <a:pt x="3759222" y="3602825"/>
                  <a:pt x="3619237" y="3472385"/>
                  <a:pt x="3493569" y="3333991"/>
                </a:cubicBezTo>
                <a:cubicBezTo>
                  <a:pt x="3488797" y="3345126"/>
                  <a:pt x="3484024" y="3356262"/>
                  <a:pt x="3480843" y="3368987"/>
                </a:cubicBezTo>
                <a:cubicBezTo>
                  <a:pt x="3533337" y="3413528"/>
                  <a:pt x="3592195" y="3456478"/>
                  <a:pt x="3643098" y="3508972"/>
                </a:cubicBezTo>
                <a:cubicBezTo>
                  <a:pt x="3756040" y="3623505"/>
                  <a:pt x="3857848" y="3741220"/>
                  <a:pt x="3954883" y="3849389"/>
                </a:cubicBezTo>
                <a:cubicBezTo>
                  <a:pt x="3931022" y="3843026"/>
                  <a:pt x="3910342" y="3841435"/>
                  <a:pt x="3892844" y="3843026"/>
                </a:cubicBezTo>
                <a:cubicBezTo>
                  <a:pt x="3760813" y="3688725"/>
                  <a:pt x="3614465" y="3543968"/>
                  <a:pt x="3474480" y="3394439"/>
                </a:cubicBezTo>
                <a:cubicBezTo>
                  <a:pt x="3472890" y="3397620"/>
                  <a:pt x="3472890" y="3399211"/>
                  <a:pt x="3469708" y="3399211"/>
                </a:cubicBezTo>
                <a:lnTo>
                  <a:pt x="3466527" y="3416710"/>
                </a:lnTo>
                <a:cubicBezTo>
                  <a:pt x="3600148" y="3550331"/>
                  <a:pt x="3733770" y="3685544"/>
                  <a:pt x="3854666" y="3827119"/>
                </a:cubicBezTo>
                <a:cubicBezTo>
                  <a:pt x="3752859" y="3820756"/>
                  <a:pt x="3719453" y="3755536"/>
                  <a:pt x="3666959" y="3693497"/>
                </a:cubicBezTo>
                <a:cubicBezTo>
                  <a:pt x="3598557" y="3613961"/>
                  <a:pt x="3526975" y="3536015"/>
                  <a:pt x="3458573" y="3459659"/>
                </a:cubicBezTo>
                <a:lnTo>
                  <a:pt x="3453801" y="3485111"/>
                </a:lnTo>
                <a:cubicBezTo>
                  <a:pt x="3550835" y="3588509"/>
                  <a:pt x="3651052" y="3691906"/>
                  <a:pt x="3741723" y="3801668"/>
                </a:cubicBezTo>
                <a:cubicBezTo>
                  <a:pt x="3639917" y="3785760"/>
                  <a:pt x="3620828" y="3717358"/>
                  <a:pt x="3573106" y="3664864"/>
                </a:cubicBezTo>
                <a:cubicBezTo>
                  <a:pt x="3530156" y="3617142"/>
                  <a:pt x="3487206" y="3571010"/>
                  <a:pt x="3445847" y="3526470"/>
                </a:cubicBezTo>
                <a:lnTo>
                  <a:pt x="3441075" y="3548740"/>
                </a:lnTo>
                <a:cubicBezTo>
                  <a:pt x="3501523" y="3612370"/>
                  <a:pt x="3558789" y="3677590"/>
                  <a:pt x="3611283" y="3747582"/>
                </a:cubicBezTo>
                <a:cubicBezTo>
                  <a:pt x="3530156" y="3715767"/>
                  <a:pt x="3476071" y="3668045"/>
                  <a:pt x="3429940" y="3613961"/>
                </a:cubicBezTo>
                <a:lnTo>
                  <a:pt x="3428349" y="3620324"/>
                </a:lnTo>
                <a:cubicBezTo>
                  <a:pt x="3428349" y="3621915"/>
                  <a:pt x="3429940" y="3626686"/>
                  <a:pt x="3431530" y="3631458"/>
                </a:cubicBezTo>
                <a:cubicBezTo>
                  <a:pt x="3442666" y="3645775"/>
                  <a:pt x="3455391" y="3660091"/>
                  <a:pt x="3466527" y="3675999"/>
                </a:cubicBezTo>
                <a:cubicBezTo>
                  <a:pt x="3456982" y="3671227"/>
                  <a:pt x="3445847" y="3666455"/>
                  <a:pt x="3434712" y="3661682"/>
                </a:cubicBezTo>
                <a:cubicBezTo>
                  <a:pt x="3434712" y="3663273"/>
                  <a:pt x="3436303" y="3666455"/>
                  <a:pt x="3436303" y="3668045"/>
                </a:cubicBezTo>
                <a:cubicBezTo>
                  <a:pt x="3449028" y="3745991"/>
                  <a:pt x="3447437" y="3822347"/>
                  <a:pt x="3450619" y="3900292"/>
                </a:cubicBezTo>
                <a:cubicBezTo>
                  <a:pt x="3452210" y="3933698"/>
                  <a:pt x="3455391" y="3975057"/>
                  <a:pt x="3453801" y="4008463"/>
                </a:cubicBezTo>
                <a:cubicBezTo>
                  <a:pt x="3453801" y="4010053"/>
                  <a:pt x="3447437" y="4014825"/>
                  <a:pt x="3445847" y="4016416"/>
                </a:cubicBezTo>
                <a:cubicBezTo>
                  <a:pt x="3456982" y="4018007"/>
                  <a:pt x="3455391" y="4027551"/>
                  <a:pt x="3455391" y="4033914"/>
                </a:cubicBezTo>
                <a:cubicBezTo>
                  <a:pt x="3455391" y="4056185"/>
                  <a:pt x="3460164" y="4075273"/>
                  <a:pt x="3455391" y="4095953"/>
                </a:cubicBezTo>
                <a:cubicBezTo>
                  <a:pt x="3445847" y="4097544"/>
                  <a:pt x="3426758" y="4081636"/>
                  <a:pt x="3414033" y="4078455"/>
                </a:cubicBezTo>
                <a:cubicBezTo>
                  <a:pt x="3402897" y="4076864"/>
                  <a:pt x="3398125" y="4089590"/>
                  <a:pt x="3402897" y="4097544"/>
                </a:cubicBezTo>
                <a:cubicBezTo>
                  <a:pt x="3412442" y="4110269"/>
                  <a:pt x="3423576" y="4119814"/>
                  <a:pt x="3433121" y="4132539"/>
                </a:cubicBezTo>
                <a:cubicBezTo>
                  <a:pt x="3434712" y="4132539"/>
                  <a:pt x="3447437" y="4121405"/>
                  <a:pt x="3445847" y="4137312"/>
                </a:cubicBezTo>
                <a:cubicBezTo>
                  <a:pt x="3445847" y="4138902"/>
                  <a:pt x="3445847" y="4154810"/>
                  <a:pt x="3437894" y="4148447"/>
                </a:cubicBezTo>
                <a:cubicBezTo>
                  <a:pt x="3431530" y="4143675"/>
                  <a:pt x="3420395" y="4146856"/>
                  <a:pt x="3418804" y="4156401"/>
                </a:cubicBezTo>
                <a:cubicBezTo>
                  <a:pt x="3428349" y="4157992"/>
                  <a:pt x="3428349" y="4167536"/>
                  <a:pt x="3415623" y="4165945"/>
                </a:cubicBezTo>
                <a:cubicBezTo>
                  <a:pt x="3414033" y="4180262"/>
                  <a:pt x="3401307" y="4191397"/>
                  <a:pt x="3410851" y="4202532"/>
                </a:cubicBezTo>
                <a:cubicBezTo>
                  <a:pt x="3415623" y="4207305"/>
                  <a:pt x="3426758" y="4207305"/>
                  <a:pt x="3423576" y="4216849"/>
                </a:cubicBezTo>
                <a:cubicBezTo>
                  <a:pt x="3418804" y="4232756"/>
                  <a:pt x="3402897" y="4220030"/>
                  <a:pt x="3390171" y="4224802"/>
                </a:cubicBezTo>
                <a:cubicBezTo>
                  <a:pt x="3394944" y="4231165"/>
                  <a:pt x="3396534" y="4240710"/>
                  <a:pt x="3386990" y="4242301"/>
                </a:cubicBezTo>
                <a:cubicBezTo>
                  <a:pt x="3379037" y="4242301"/>
                  <a:pt x="3372673" y="4227984"/>
                  <a:pt x="3359947" y="4237528"/>
                </a:cubicBezTo>
                <a:cubicBezTo>
                  <a:pt x="3353585" y="4242301"/>
                  <a:pt x="3336086" y="4239119"/>
                  <a:pt x="3331314" y="4251845"/>
                </a:cubicBezTo>
                <a:cubicBezTo>
                  <a:pt x="3329723" y="4256617"/>
                  <a:pt x="3324952" y="4262980"/>
                  <a:pt x="3320179" y="4258207"/>
                </a:cubicBezTo>
                <a:cubicBezTo>
                  <a:pt x="3313816" y="4250254"/>
                  <a:pt x="3289955" y="4247073"/>
                  <a:pt x="3299499" y="4232756"/>
                </a:cubicBezTo>
                <a:cubicBezTo>
                  <a:pt x="3302681" y="4235937"/>
                  <a:pt x="3312225" y="4237528"/>
                  <a:pt x="3305862" y="4231165"/>
                </a:cubicBezTo>
                <a:cubicBezTo>
                  <a:pt x="3297909" y="4223211"/>
                  <a:pt x="3289955" y="4216849"/>
                  <a:pt x="3288365" y="4204123"/>
                </a:cubicBezTo>
                <a:cubicBezTo>
                  <a:pt x="3299499" y="4194578"/>
                  <a:pt x="3302681" y="4177081"/>
                  <a:pt x="3294728" y="4164354"/>
                </a:cubicBezTo>
                <a:cubicBezTo>
                  <a:pt x="3293137" y="4169127"/>
                  <a:pt x="3291546" y="4175490"/>
                  <a:pt x="3288365" y="4180262"/>
                </a:cubicBezTo>
                <a:cubicBezTo>
                  <a:pt x="3245414" y="4159582"/>
                  <a:pt x="3210418" y="4192988"/>
                  <a:pt x="3223144" y="4232756"/>
                </a:cubicBezTo>
                <a:cubicBezTo>
                  <a:pt x="3072025" y="4218440"/>
                  <a:pt x="2979762" y="4142084"/>
                  <a:pt x="2903407" y="4072092"/>
                </a:cubicBezTo>
                <a:cubicBezTo>
                  <a:pt x="2957492" y="4148447"/>
                  <a:pt x="3075206" y="4235937"/>
                  <a:pt x="3202465" y="4245482"/>
                </a:cubicBezTo>
                <a:cubicBezTo>
                  <a:pt x="3231098" y="4248664"/>
                  <a:pt x="3264504" y="4235937"/>
                  <a:pt x="3264504" y="4274115"/>
                </a:cubicBezTo>
                <a:cubicBezTo>
                  <a:pt x="3258141" y="4278888"/>
                  <a:pt x="3242233" y="4269343"/>
                  <a:pt x="3243824" y="4286841"/>
                </a:cubicBezTo>
                <a:cubicBezTo>
                  <a:pt x="3191330" y="4272525"/>
                  <a:pt x="3140427" y="4275706"/>
                  <a:pt x="3100658" y="4258207"/>
                </a:cubicBezTo>
                <a:cubicBezTo>
                  <a:pt x="3130882" y="4317065"/>
                  <a:pt x="3210418" y="4270934"/>
                  <a:pt x="3250187" y="4309111"/>
                </a:cubicBezTo>
                <a:cubicBezTo>
                  <a:pt x="3232689" y="4347289"/>
                  <a:pt x="3232689" y="4439552"/>
                  <a:pt x="3192920" y="4457050"/>
                </a:cubicBezTo>
                <a:cubicBezTo>
                  <a:pt x="3175423" y="4453869"/>
                  <a:pt x="3162696" y="4455459"/>
                  <a:pt x="3149971" y="4458640"/>
                </a:cubicBezTo>
                <a:cubicBezTo>
                  <a:pt x="3146790" y="4487273"/>
                  <a:pt x="3178604" y="4492045"/>
                  <a:pt x="3178604" y="4519088"/>
                </a:cubicBezTo>
                <a:cubicBezTo>
                  <a:pt x="3100658" y="4490454"/>
                  <a:pt x="3127700" y="4595444"/>
                  <a:pt x="3087932" y="4609760"/>
                </a:cubicBezTo>
                <a:cubicBezTo>
                  <a:pt x="3095885" y="4601807"/>
                  <a:pt x="3100658" y="4589081"/>
                  <a:pt x="3103839" y="4574764"/>
                </a:cubicBezTo>
                <a:cubicBezTo>
                  <a:pt x="3097476" y="4558857"/>
                  <a:pt x="3081569" y="4549312"/>
                  <a:pt x="3068843" y="4538177"/>
                </a:cubicBezTo>
                <a:cubicBezTo>
                  <a:pt x="3081569" y="4469775"/>
                  <a:pt x="3013168" y="4396602"/>
                  <a:pt x="2952720" y="4434779"/>
                </a:cubicBezTo>
                <a:cubicBezTo>
                  <a:pt x="2774557" y="4361606"/>
                  <a:pt x="2683885" y="4207305"/>
                  <a:pt x="2551856" y="4095953"/>
                </a:cubicBezTo>
                <a:cubicBezTo>
                  <a:pt x="2663206" y="4223211"/>
                  <a:pt x="2769785" y="4366378"/>
                  <a:pt x="2939994" y="4445915"/>
                </a:cubicBezTo>
                <a:cubicBezTo>
                  <a:pt x="2912952" y="4455459"/>
                  <a:pt x="2881137" y="4458640"/>
                  <a:pt x="2847731" y="4460231"/>
                </a:cubicBezTo>
                <a:cubicBezTo>
                  <a:pt x="2895453" y="4490454"/>
                  <a:pt x="2944766" y="4458640"/>
                  <a:pt x="2979762" y="4439552"/>
                </a:cubicBezTo>
                <a:cubicBezTo>
                  <a:pt x="2979762" y="4476139"/>
                  <a:pt x="3002033" y="4496818"/>
                  <a:pt x="3002033" y="4533405"/>
                </a:cubicBezTo>
                <a:cubicBezTo>
                  <a:pt x="2927268" y="4566811"/>
                  <a:pt x="3002033" y="4641574"/>
                  <a:pt x="2957492" y="4702023"/>
                </a:cubicBezTo>
                <a:cubicBezTo>
                  <a:pt x="2919314" y="4711567"/>
                  <a:pt x="2876365" y="4682934"/>
                  <a:pt x="2860457" y="4722702"/>
                </a:cubicBezTo>
                <a:cubicBezTo>
                  <a:pt x="2849322" y="4749745"/>
                  <a:pt x="2871592" y="4802239"/>
                  <a:pt x="2828642" y="4818146"/>
                </a:cubicBezTo>
                <a:cubicBezTo>
                  <a:pt x="2820689" y="4708386"/>
                  <a:pt x="2772966" y="4560447"/>
                  <a:pt x="2706156" y="4477729"/>
                </a:cubicBezTo>
                <a:cubicBezTo>
                  <a:pt x="2642527" y="4401373"/>
                  <a:pt x="2582080" y="4313883"/>
                  <a:pt x="2489817" y="4280478"/>
                </a:cubicBezTo>
                <a:cubicBezTo>
                  <a:pt x="2601167" y="4353652"/>
                  <a:pt x="2693430" y="4471366"/>
                  <a:pt x="2739561" y="4566811"/>
                </a:cubicBezTo>
                <a:cubicBezTo>
                  <a:pt x="2725245" y="4566811"/>
                  <a:pt x="2725245" y="4557266"/>
                  <a:pt x="2712518" y="4557266"/>
                </a:cubicBezTo>
                <a:cubicBezTo>
                  <a:pt x="2623438" y="4576354"/>
                  <a:pt x="2610712" y="4485683"/>
                  <a:pt x="2561399" y="4452278"/>
                </a:cubicBezTo>
                <a:cubicBezTo>
                  <a:pt x="2491407" y="4323428"/>
                  <a:pt x="2410280" y="4235937"/>
                  <a:pt x="2370511" y="4078455"/>
                </a:cubicBezTo>
                <a:cubicBezTo>
                  <a:pt x="2340287" y="3954377"/>
                  <a:pt x="2295747" y="3839844"/>
                  <a:pt x="2310063" y="3698269"/>
                </a:cubicBezTo>
                <a:cubicBezTo>
                  <a:pt x="2249615" y="3801668"/>
                  <a:pt x="2308474" y="3898702"/>
                  <a:pt x="2329152" y="3979830"/>
                </a:cubicBezTo>
                <a:cubicBezTo>
                  <a:pt x="2348241" y="4164354"/>
                  <a:pt x="2440504" y="4301158"/>
                  <a:pt x="2537538" y="4436370"/>
                </a:cubicBezTo>
                <a:cubicBezTo>
                  <a:pt x="2502542" y="4426826"/>
                  <a:pt x="2507314" y="4396602"/>
                  <a:pt x="2481862" y="4380694"/>
                </a:cubicBezTo>
                <a:cubicBezTo>
                  <a:pt x="2459592" y="4367969"/>
                  <a:pt x="2432550" y="4375922"/>
                  <a:pt x="2407098" y="4364787"/>
                </a:cubicBezTo>
                <a:cubicBezTo>
                  <a:pt x="2383237" y="4355243"/>
                  <a:pt x="2380056" y="4329791"/>
                  <a:pt x="2356194" y="4321837"/>
                </a:cubicBezTo>
                <a:cubicBezTo>
                  <a:pt x="2324380" y="4310702"/>
                  <a:pt x="2284612" y="4323428"/>
                  <a:pt x="2255978" y="4296386"/>
                </a:cubicBezTo>
                <a:cubicBezTo>
                  <a:pt x="2267113" y="4285250"/>
                  <a:pt x="2251206" y="4262980"/>
                  <a:pt x="2244843" y="4247073"/>
                </a:cubicBezTo>
                <a:cubicBezTo>
                  <a:pt x="2276658" y="4056185"/>
                  <a:pt x="2193940" y="3906655"/>
                  <a:pt x="2252798" y="3715767"/>
                </a:cubicBezTo>
                <a:cubicBezTo>
                  <a:pt x="2222573" y="3617142"/>
                  <a:pt x="2259160" y="3432617"/>
                  <a:pt x="2332333" y="3356262"/>
                </a:cubicBezTo>
                <a:cubicBezTo>
                  <a:pt x="2351423" y="3458068"/>
                  <a:pt x="2360967" y="3607597"/>
                  <a:pt x="2472318" y="3621915"/>
                </a:cubicBezTo>
                <a:cubicBezTo>
                  <a:pt x="2512086" y="3682363"/>
                  <a:pt x="2515269" y="3765080"/>
                  <a:pt x="2539129" y="3831891"/>
                </a:cubicBezTo>
                <a:cubicBezTo>
                  <a:pt x="2597986" y="4003691"/>
                  <a:pt x="2745924" y="4105497"/>
                  <a:pt x="2906588" y="4223211"/>
                </a:cubicBezTo>
                <a:cubicBezTo>
                  <a:pt x="2741152" y="4067320"/>
                  <a:pt x="2553446" y="3924153"/>
                  <a:pt x="2518449" y="3683953"/>
                </a:cubicBezTo>
                <a:cubicBezTo>
                  <a:pt x="2502542" y="3663273"/>
                  <a:pt x="2492998" y="3639412"/>
                  <a:pt x="2480272" y="3615551"/>
                </a:cubicBezTo>
                <a:cubicBezTo>
                  <a:pt x="2475499" y="3610779"/>
                  <a:pt x="2472318" y="3609188"/>
                  <a:pt x="2465955" y="3612370"/>
                </a:cubicBezTo>
                <a:cubicBezTo>
                  <a:pt x="2453230" y="3516926"/>
                  <a:pt x="2395963" y="3435798"/>
                  <a:pt x="2402326" y="3338763"/>
                </a:cubicBezTo>
                <a:cubicBezTo>
                  <a:pt x="2445275" y="3443752"/>
                  <a:pt x="2446866" y="3575783"/>
                  <a:pt x="2572534" y="3629868"/>
                </a:cubicBezTo>
                <a:cubicBezTo>
                  <a:pt x="2621847" y="3540786"/>
                  <a:pt x="2483453" y="3501019"/>
                  <a:pt x="2464365" y="3427844"/>
                </a:cubicBezTo>
                <a:cubicBezTo>
                  <a:pt x="2551856" y="3483520"/>
                  <a:pt x="2586851" y="3574192"/>
                  <a:pt x="2650480" y="3644185"/>
                </a:cubicBezTo>
                <a:cubicBezTo>
                  <a:pt x="2677523" y="3615551"/>
                  <a:pt x="2652071" y="3574192"/>
                  <a:pt x="2644118" y="3547150"/>
                </a:cubicBezTo>
                <a:cubicBezTo>
                  <a:pt x="2664797" y="3551922"/>
                  <a:pt x="2701384" y="3547150"/>
                  <a:pt x="2725245" y="3569420"/>
                </a:cubicBezTo>
                <a:cubicBezTo>
                  <a:pt x="2753878" y="3536015"/>
                  <a:pt x="2804781" y="3540786"/>
                  <a:pt x="2839777" y="3516926"/>
                </a:cubicBezTo>
                <a:cubicBezTo>
                  <a:pt x="2769785" y="3481929"/>
                  <a:pt x="2663206" y="3458068"/>
                  <a:pt x="2637755" y="3386486"/>
                </a:cubicBezTo>
                <a:cubicBezTo>
                  <a:pt x="2626619" y="3389667"/>
                  <a:pt x="2625028" y="3405574"/>
                  <a:pt x="2615485" y="3407165"/>
                </a:cubicBezTo>
                <a:cubicBezTo>
                  <a:pt x="2617075" y="3389667"/>
                  <a:pt x="2623438" y="3381713"/>
                  <a:pt x="2632982" y="3375350"/>
                </a:cubicBezTo>
                <a:cubicBezTo>
                  <a:pt x="2688658" y="3410347"/>
                  <a:pt x="2758650" y="3489883"/>
                  <a:pt x="2831824" y="3440571"/>
                </a:cubicBezTo>
                <a:cubicBezTo>
                  <a:pt x="2835005" y="3431026"/>
                  <a:pt x="2827052" y="3427844"/>
                  <a:pt x="2830233" y="3418301"/>
                </a:cubicBezTo>
                <a:cubicBezTo>
                  <a:pt x="2796828" y="3389667"/>
                  <a:pt x="2739561" y="3391258"/>
                  <a:pt x="2704566" y="3372169"/>
                </a:cubicBezTo>
                <a:cubicBezTo>
                  <a:pt x="2679113" y="3359443"/>
                  <a:pt x="2666388" y="3333991"/>
                  <a:pt x="2640936" y="3319675"/>
                </a:cubicBezTo>
                <a:cubicBezTo>
                  <a:pt x="2607532" y="3300586"/>
                  <a:pt x="2556628" y="3305358"/>
                  <a:pt x="2543901" y="3262408"/>
                </a:cubicBezTo>
                <a:cubicBezTo>
                  <a:pt x="2613894" y="3271953"/>
                  <a:pt x="2672751" y="3318084"/>
                  <a:pt x="2728426" y="3310130"/>
                </a:cubicBezTo>
                <a:cubicBezTo>
                  <a:pt x="2720472" y="3318084"/>
                  <a:pt x="2710929" y="3324447"/>
                  <a:pt x="2699793" y="3329219"/>
                </a:cubicBezTo>
                <a:cubicBezTo>
                  <a:pt x="2722064" y="3397620"/>
                  <a:pt x="2852504" y="3402393"/>
                  <a:pt x="2879546" y="3340354"/>
                </a:cubicBezTo>
                <a:cubicBezTo>
                  <a:pt x="2863638" y="3308539"/>
                  <a:pt x="2807963" y="3332401"/>
                  <a:pt x="2787283" y="3322856"/>
                </a:cubicBezTo>
                <a:cubicBezTo>
                  <a:pt x="2801600" y="3316493"/>
                  <a:pt x="2846141" y="3314902"/>
                  <a:pt x="2827052" y="3286269"/>
                </a:cubicBezTo>
                <a:cubicBezTo>
                  <a:pt x="2806372" y="3283088"/>
                  <a:pt x="2785693" y="3300586"/>
                  <a:pt x="2769785" y="3287860"/>
                </a:cubicBezTo>
                <a:cubicBezTo>
                  <a:pt x="2788875" y="3279906"/>
                  <a:pt x="2814326" y="3270362"/>
                  <a:pt x="2811144" y="3243320"/>
                </a:cubicBezTo>
                <a:cubicBezTo>
                  <a:pt x="2806372" y="3189234"/>
                  <a:pt x="2722064" y="3241729"/>
                  <a:pt x="2691839" y="3238548"/>
                </a:cubicBezTo>
                <a:cubicBezTo>
                  <a:pt x="2613894" y="3229003"/>
                  <a:pt x="2570943" y="3170146"/>
                  <a:pt x="2604349" y="3104925"/>
                </a:cubicBezTo>
                <a:cubicBezTo>
                  <a:pt x="2602758" y="3144694"/>
                  <a:pt x="2637755" y="3197188"/>
                  <a:pt x="2682295" y="3182872"/>
                </a:cubicBezTo>
                <a:cubicBezTo>
                  <a:pt x="2550264" y="3160601"/>
                  <a:pt x="2682295" y="2942671"/>
                  <a:pt x="2513677" y="2963350"/>
                </a:cubicBezTo>
                <a:cubicBezTo>
                  <a:pt x="2542310" y="2899721"/>
                  <a:pt x="2601167" y="2896539"/>
                  <a:pt x="2672751" y="2920400"/>
                </a:cubicBezTo>
                <a:cubicBezTo>
                  <a:pt x="2679113" y="2914038"/>
                  <a:pt x="2683885" y="2901312"/>
                  <a:pt x="2691839" y="2896539"/>
                </a:cubicBezTo>
                <a:cubicBezTo>
                  <a:pt x="2815917" y="2874269"/>
                  <a:pt x="2699793" y="3065158"/>
                  <a:pt x="2798418" y="3058794"/>
                </a:cubicBezTo>
                <a:cubicBezTo>
                  <a:pt x="2838187" y="3057204"/>
                  <a:pt x="2835005" y="2972895"/>
                  <a:pt x="2860457" y="2937899"/>
                </a:cubicBezTo>
                <a:cubicBezTo>
                  <a:pt x="2882728" y="2969714"/>
                  <a:pt x="2946356" y="2960169"/>
                  <a:pt x="2984534" y="2990393"/>
                </a:cubicBezTo>
                <a:cubicBezTo>
                  <a:pt x="2989307" y="3020617"/>
                  <a:pt x="3006804" y="3044478"/>
                  <a:pt x="3044982" y="3054022"/>
                </a:cubicBezTo>
                <a:cubicBezTo>
                  <a:pt x="3040210" y="3100153"/>
                  <a:pt x="3002033" y="3179690"/>
                  <a:pt x="3044982" y="3197188"/>
                </a:cubicBezTo>
                <a:cubicBezTo>
                  <a:pt x="3103839" y="3221049"/>
                  <a:pt x="3103839" y="3122424"/>
                  <a:pt x="3119747" y="3085837"/>
                </a:cubicBezTo>
                <a:cubicBezTo>
                  <a:pt x="3213600" y="3100153"/>
                  <a:pt x="3162696" y="3206733"/>
                  <a:pt x="3231098" y="3238548"/>
                </a:cubicBezTo>
                <a:cubicBezTo>
                  <a:pt x="3226326" y="3259227"/>
                  <a:pt x="3239052" y="3271953"/>
                  <a:pt x="3250187" y="3287860"/>
                </a:cubicBezTo>
                <a:cubicBezTo>
                  <a:pt x="3253368" y="3276725"/>
                  <a:pt x="3254959" y="3263999"/>
                  <a:pt x="3258141" y="3252864"/>
                </a:cubicBezTo>
                <a:cubicBezTo>
                  <a:pt x="3259732" y="3244910"/>
                  <a:pt x="3259732" y="3238548"/>
                  <a:pt x="3259732" y="3230594"/>
                </a:cubicBezTo>
                <a:cubicBezTo>
                  <a:pt x="3254959" y="3232185"/>
                  <a:pt x="3248596" y="3233775"/>
                  <a:pt x="3243824" y="3236957"/>
                </a:cubicBezTo>
                <a:cubicBezTo>
                  <a:pt x="3239052" y="3219458"/>
                  <a:pt x="3223144" y="3211505"/>
                  <a:pt x="3208828" y="3200370"/>
                </a:cubicBezTo>
                <a:cubicBezTo>
                  <a:pt x="3212009" y="3136740"/>
                  <a:pt x="3188148" y="3090609"/>
                  <a:pt x="3124519" y="3068338"/>
                </a:cubicBezTo>
                <a:cubicBezTo>
                  <a:pt x="3070434" y="3079474"/>
                  <a:pt x="3119747" y="3197188"/>
                  <a:pt x="3046573" y="3179690"/>
                </a:cubicBezTo>
                <a:cubicBezTo>
                  <a:pt x="3040210" y="3141513"/>
                  <a:pt x="3049754" y="3106516"/>
                  <a:pt x="3062480" y="3058794"/>
                </a:cubicBezTo>
                <a:cubicBezTo>
                  <a:pt x="3060890" y="3044478"/>
                  <a:pt x="3043391" y="3041296"/>
                  <a:pt x="3040210" y="3028571"/>
                </a:cubicBezTo>
                <a:cubicBezTo>
                  <a:pt x="3043391" y="2923582"/>
                  <a:pt x="3041800" y="2802686"/>
                  <a:pt x="3024303" y="2691335"/>
                </a:cubicBezTo>
                <a:cubicBezTo>
                  <a:pt x="3008395" y="2691335"/>
                  <a:pt x="3009986" y="2673837"/>
                  <a:pt x="3008395" y="2669065"/>
                </a:cubicBezTo>
                <a:cubicBezTo>
                  <a:pt x="3006804" y="2661111"/>
                  <a:pt x="3003623" y="2654748"/>
                  <a:pt x="3002033" y="2646795"/>
                </a:cubicBezTo>
                <a:cubicBezTo>
                  <a:pt x="3009986" y="2688153"/>
                  <a:pt x="3014758" y="2731103"/>
                  <a:pt x="3019531" y="2774053"/>
                </a:cubicBezTo>
                <a:cubicBezTo>
                  <a:pt x="3003623" y="2767691"/>
                  <a:pt x="3000442" y="2754964"/>
                  <a:pt x="2978171" y="2753373"/>
                </a:cubicBezTo>
                <a:cubicBezTo>
                  <a:pt x="2952720" y="2646795"/>
                  <a:pt x="2914542" y="2544994"/>
                  <a:pt x="2858866" y="2455926"/>
                </a:cubicBezTo>
                <a:cubicBezTo>
                  <a:pt x="2854094" y="2459108"/>
                  <a:pt x="2850913" y="2463878"/>
                  <a:pt x="2847731" y="2467059"/>
                </a:cubicBezTo>
                <a:cubicBezTo>
                  <a:pt x="2898635" y="2554537"/>
                  <a:pt x="2932040" y="2653157"/>
                  <a:pt x="2971809" y="2748601"/>
                </a:cubicBezTo>
                <a:cubicBezTo>
                  <a:pt x="2952720" y="2743829"/>
                  <a:pt x="2933631" y="2740648"/>
                  <a:pt x="2914542" y="2735876"/>
                </a:cubicBezTo>
                <a:cubicBezTo>
                  <a:pt x="2885909" y="2656338"/>
                  <a:pt x="2868411" y="2576805"/>
                  <a:pt x="2831824" y="2505232"/>
                </a:cubicBezTo>
                <a:cubicBezTo>
                  <a:pt x="2830233" y="2508412"/>
                  <a:pt x="2827847" y="2511593"/>
                  <a:pt x="2824865" y="2513581"/>
                </a:cubicBezTo>
                <a:lnTo>
                  <a:pt x="2818294" y="2514325"/>
                </a:lnTo>
                <a:lnTo>
                  <a:pt x="2845346" y="2560502"/>
                </a:lnTo>
                <a:cubicBezTo>
                  <a:pt x="2872785" y="2613394"/>
                  <a:pt x="2894658" y="2669860"/>
                  <a:pt x="2908180" y="2731103"/>
                </a:cubicBezTo>
                <a:cubicBezTo>
                  <a:pt x="2887500" y="2729512"/>
                  <a:pt x="2879547" y="2723149"/>
                  <a:pt x="2863639" y="2724740"/>
                </a:cubicBezTo>
                <a:cubicBezTo>
                  <a:pt x="2849322" y="2670655"/>
                  <a:pt x="2825461" y="2621348"/>
                  <a:pt x="2800009" y="2575214"/>
                </a:cubicBezTo>
                <a:cubicBezTo>
                  <a:pt x="2800009" y="2579986"/>
                  <a:pt x="2798418" y="2586349"/>
                  <a:pt x="2796828" y="2591120"/>
                </a:cubicBezTo>
                <a:cubicBezTo>
                  <a:pt x="2820689" y="2635665"/>
                  <a:pt x="2842959" y="2680200"/>
                  <a:pt x="2846141" y="2719968"/>
                </a:cubicBezTo>
                <a:cubicBezTo>
                  <a:pt x="2817508" y="2699289"/>
                  <a:pt x="2803190" y="2659520"/>
                  <a:pt x="2787283" y="2621348"/>
                </a:cubicBezTo>
                <a:cubicBezTo>
                  <a:pt x="2785693" y="2624529"/>
                  <a:pt x="2785693" y="2629302"/>
                  <a:pt x="2784103" y="2632484"/>
                </a:cubicBezTo>
                <a:cubicBezTo>
                  <a:pt x="2795237" y="2656338"/>
                  <a:pt x="2804781" y="2681791"/>
                  <a:pt x="2812735" y="2708833"/>
                </a:cubicBezTo>
                <a:cubicBezTo>
                  <a:pt x="2761832" y="2677018"/>
                  <a:pt x="2736380" y="2613394"/>
                  <a:pt x="2744333" y="2554537"/>
                </a:cubicBezTo>
                <a:cubicBezTo>
                  <a:pt x="2753878" y="2570443"/>
                  <a:pt x="2761832" y="2586349"/>
                  <a:pt x="2769785" y="2602257"/>
                </a:cubicBezTo>
                <a:cubicBezTo>
                  <a:pt x="2771376" y="2597484"/>
                  <a:pt x="2772966" y="2594302"/>
                  <a:pt x="2774557" y="2589530"/>
                </a:cubicBezTo>
                <a:cubicBezTo>
                  <a:pt x="2766604" y="2572033"/>
                  <a:pt x="2757060" y="2556128"/>
                  <a:pt x="2744333" y="2543402"/>
                </a:cubicBezTo>
                <a:cubicBezTo>
                  <a:pt x="2749106" y="2527496"/>
                  <a:pt x="2736380" y="2506821"/>
                  <a:pt x="2747516" y="2497278"/>
                </a:cubicBezTo>
                <a:cubicBezTo>
                  <a:pt x="2758650" y="2519545"/>
                  <a:pt x="2771376" y="2541812"/>
                  <a:pt x="2785693" y="2570443"/>
                </a:cubicBezTo>
                <a:cubicBezTo>
                  <a:pt x="2787283" y="2565671"/>
                  <a:pt x="2790465" y="2562490"/>
                  <a:pt x="2792056" y="2559310"/>
                </a:cubicBezTo>
                <a:cubicBezTo>
                  <a:pt x="2776148" y="2530679"/>
                  <a:pt x="2760241" y="2503641"/>
                  <a:pt x="2745924" y="2475011"/>
                </a:cubicBezTo>
                <a:cubicBezTo>
                  <a:pt x="2771376" y="2495688"/>
                  <a:pt x="2785693" y="2521135"/>
                  <a:pt x="2800009" y="2548176"/>
                </a:cubicBezTo>
                <a:lnTo>
                  <a:pt x="2805593" y="2542590"/>
                </a:lnTo>
                <a:lnTo>
                  <a:pt x="2805961" y="2545925"/>
                </a:lnTo>
                <a:lnTo>
                  <a:pt x="2804781" y="2557719"/>
                </a:lnTo>
                <a:cubicBezTo>
                  <a:pt x="2806372" y="2559310"/>
                  <a:pt x="2806372" y="2562490"/>
                  <a:pt x="2807963" y="2564080"/>
                </a:cubicBezTo>
                <a:lnTo>
                  <a:pt x="2805961" y="2545925"/>
                </a:lnTo>
                <a:lnTo>
                  <a:pt x="2806372" y="2541812"/>
                </a:lnTo>
                <a:lnTo>
                  <a:pt x="2805593" y="2542590"/>
                </a:lnTo>
                <a:lnTo>
                  <a:pt x="2805369" y="2540557"/>
                </a:lnTo>
                <a:cubicBezTo>
                  <a:pt x="2791385" y="2490196"/>
                  <a:pt x="2728228" y="2468450"/>
                  <a:pt x="2749106" y="2411392"/>
                </a:cubicBezTo>
                <a:cubicBezTo>
                  <a:pt x="2767002" y="2434852"/>
                  <a:pt x="2784203" y="2458908"/>
                  <a:pt x="2800357" y="2483709"/>
                </a:cubicBezTo>
                <a:lnTo>
                  <a:pt x="2815394" y="2509375"/>
                </a:lnTo>
                <a:lnTo>
                  <a:pt x="2817905" y="2496682"/>
                </a:lnTo>
                <a:cubicBezTo>
                  <a:pt x="2817507" y="2491314"/>
                  <a:pt x="2816712" y="2486940"/>
                  <a:pt x="2819098" y="2484554"/>
                </a:cubicBezTo>
                <a:cubicBezTo>
                  <a:pt x="2820689" y="2482962"/>
                  <a:pt x="2820689" y="2482962"/>
                  <a:pt x="2820689" y="2482962"/>
                </a:cubicBezTo>
                <a:cubicBezTo>
                  <a:pt x="2815917" y="2473420"/>
                  <a:pt x="2809554" y="2463878"/>
                  <a:pt x="2803190" y="2454334"/>
                </a:cubicBezTo>
                <a:cubicBezTo>
                  <a:pt x="2803190" y="2455926"/>
                  <a:pt x="2803190" y="2457516"/>
                  <a:pt x="2803190" y="2459108"/>
                </a:cubicBezTo>
                <a:cubicBezTo>
                  <a:pt x="2803190" y="2467059"/>
                  <a:pt x="2780920" y="2459108"/>
                  <a:pt x="2777740" y="2449563"/>
                </a:cubicBezTo>
                <a:cubicBezTo>
                  <a:pt x="2774557" y="2440021"/>
                  <a:pt x="2776148" y="2430477"/>
                  <a:pt x="2779329" y="2422525"/>
                </a:cubicBezTo>
                <a:cubicBezTo>
                  <a:pt x="2752288" y="2392308"/>
                  <a:pt x="2717291" y="2370041"/>
                  <a:pt x="2723654" y="2317554"/>
                </a:cubicBezTo>
                <a:cubicBezTo>
                  <a:pt x="2750697" y="2339821"/>
                  <a:pt x="2774557" y="2363679"/>
                  <a:pt x="2795237" y="2389125"/>
                </a:cubicBezTo>
                <a:cubicBezTo>
                  <a:pt x="2795237" y="2387535"/>
                  <a:pt x="2796828" y="2384354"/>
                  <a:pt x="2796828" y="2382764"/>
                </a:cubicBezTo>
                <a:cubicBezTo>
                  <a:pt x="2800009" y="2363679"/>
                  <a:pt x="2766604" y="2365269"/>
                  <a:pt x="2768194" y="2346183"/>
                </a:cubicBezTo>
                <a:cubicBezTo>
                  <a:pt x="2768194" y="2344592"/>
                  <a:pt x="2768194" y="2341411"/>
                  <a:pt x="2768194" y="2339821"/>
                </a:cubicBezTo>
                <a:cubicBezTo>
                  <a:pt x="2744333" y="2315966"/>
                  <a:pt x="2718882" y="2293697"/>
                  <a:pt x="2691839" y="2274611"/>
                </a:cubicBezTo>
                <a:cubicBezTo>
                  <a:pt x="2687067" y="2279385"/>
                  <a:pt x="2680705" y="2282564"/>
                  <a:pt x="2677523" y="2282564"/>
                </a:cubicBezTo>
                <a:cubicBezTo>
                  <a:pt x="2663206" y="2280974"/>
                  <a:pt x="2667978" y="2271431"/>
                  <a:pt x="2674342" y="2261887"/>
                </a:cubicBezTo>
                <a:cubicBezTo>
                  <a:pt x="2669569" y="2258707"/>
                  <a:pt x="2666388" y="2257116"/>
                  <a:pt x="2661615" y="2253936"/>
                </a:cubicBezTo>
                <a:cubicBezTo>
                  <a:pt x="2667978" y="2253936"/>
                  <a:pt x="2675932" y="2252346"/>
                  <a:pt x="2683885" y="2249164"/>
                </a:cubicBezTo>
                <a:cubicBezTo>
                  <a:pt x="2690249" y="2242803"/>
                  <a:pt x="2699793" y="2233258"/>
                  <a:pt x="2707747" y="2225306"/>
                </a:cubicBezTo>
                <a:cubicBezTo>
                  <a:pt x="2702975" y="2226895"/>
                  <a:pt x="2699793" y="2226895"/>
                  <a:pt x="2699793" y="2223716"/>
                </a:cubicBezTo>
                <a:cubicBezTo>
                  <a:pt x="2706156" y="2218943"/>
                  <a:pt x="2710929" y="2215763"/>
                  <a:pt x="2717291" y="2210992"/>
                </a:cubicBezTo>
                <a:cubicBezTo>
                  <a:pt x="2720472" y="2201450"/>
                  <a:pt x="2714109" y="2217352"/>
                  <a:pt x="2707747" y="2215763"/>
                </a:cubicBezTo>
                <a:cubicBezTo>
                  <a:pt x="2696612" y="2212582"/>
                  <a:pt x="2688658" y="2201450"/>
                  <a:pt x="2677523" y="2199855"/>
                </a:cubicBezTo>
                <a:cubicBezTo>
                  <a:pt x="2672751" y="2203038"/>
                  <a:pt x="2667978" y="2204630"/>
                  <a:pt x="2663206" y="2207809"/>
                </a:cubicBezTo>
                <a:cubicBezTo>
                  <a:pt x="2663206" y="2209402"/>
                  <a:pt x="2661615" y="2209402"/>
                  <a:pt x="2661615" y="2209402"/>
                </a:cubicBezTo>
                <a:cubicBezTo>
                  <a:pt x="2639345" y="2222125"/>
                  <a:pt x="2617075" y="2231668"/>
                  <a:pt x="2588442" y="2234850"/>
                </a:cubicBezTo>
                <a:cubicBezTo>
                  <a:pt x="2602758" y="2220535"/>
                  <a:pt x="2618666" y="2207809"/>
                  <a:pt x="2636164" y="2195085"/>
                </a:cubicBezTo>
                <a:cubicBezTo>
                  <a:pt x="2628210" y="2190315"/>
                  <a:pt x="2621847" y="2185543"/>
                  <a:pt x="2613894" y="2179175"/>
                </a:cubicBezTo>
                <a:cubicBezTo>
                  <a:pt x="2585260" y="2204630"/>
                  <a:pt x="2558218" y="2238029"/>
                  <a:pt x="2523222" y="2242803"/>
                </a:cubicBezTo>
                <a:cubicBezTo>
                  <a:pt x="2551856" y="2220535"/>
                  <a:pt x="2580488" y="2198266"/>
                  <a:pt x="2609121" y="2175998"/>
                </a:cubicBezTo>
                <a:cubicBezTo>
                  <a:pt x="2601167" y="2168048"/>
                  <a:pt x="2591623" y="2160089"/>
                  <a:pt x="2583670" y="2152135"/>
                </a:cubicBezTo>
                <a:cubicBezTo>
                  <a:pt x="2582080" y="2153729"/>
                  <a:pt x="2580488" y="2153729"/>
                  <a:pt x="2578897" y="2155320"/>
                </a:cubicBezTo>
                <a:cubicBezTo>
                  <a:pt x="2580488" y="2153729"/>
                  <a:pt x="2582080" y="2152135"/>
                  <a:pt x="2583670" y="2150547"/>
                </a:cubicBezTo>
                <a:cubicBezTo>
                  <a:pt x="2577308" y="2144185"/>
                  <a:pt x="2572534" y="2137827"/>
                  <a:pt x="2566171" y="2131465"/>
                </a:cubicBezTo>
                <a:cubicBezTo>
                  <a:pt x="2564580" y="2134647"/>
                  <a:pt x="2561399" y="2136238"/>
                  <a:pt x="2558218" y="2139417"/>
                </a:cubicBezTo>
                <a:cubicBezTo>
                  <a:pt x="2559809" y="2136238"/>
                  <a:pt x="2562990" y="2133054"/>
                  <a:pt x="2564580" y="2129870"/>
                </a:cubicBezTo>
                <a:cubicBezTo>
                  <a:pt x="2561399" y="2125097"/>
                  <a:pt x="2556628" y="2120328"/>
                  <a:pt x="2553446" y="2115553"/>
                </a:cubicBezTo>
                <a:cubicBezTo>
                  <a:pt x="2543901" y="2125097"/>
                  <a:pt x="2532766" y="2134647"/>
                  <a:pt x="2521631" y="2144185"/>
                </a:cubicBezTo>
                <a:cubicBezTo>
                  <a:pt x="2523222" y="2123508"/>
                  <a:pt x="2531175" y="2109193"/>
                  <a:pt x="2539129" y="2094882"/>
                </a:cubicBezTo>
                <a:cubicBezTo>
                  <a:pt x="2537538" y="2093291"/>
                  <a:pt x="2534356" y="2090110"/>
                  <a:pt x="2532766" y="2086927"/>
                </a:cubicBezTo>
                <a:cubicBezTo>
                  <a:pt x="2529585" y="2090110"/>
                  <a:pt x="2527994" y="2094882"/>
                  <a:pt x="2524812" y="2098062"/>
                </a:cubicBezTo>
                <a:cubicBezTo>
                  <a:pt x="2527994" y="2080568"/>
                  <a:pt x="2520041" y="2064655"/>
                  <a:pt x="2510495" y="2053513"/>
                </a:cubicBezTo>
                <a:cubicBezTo>
                  <a:pt x="2508905" y="2056705"/>
                  <a:pt x="2505723" y="2059884"/>
                  <a:pt x="2502542" y="2061478"/>
                </a:cubicBezTo>
                <a:cubicBezTo>
                  <a:pt x="2512086" y="2083747"/>
                  <a:pt x="2518449" y="2109193"/>
                  <a:pt x="2492998" y="2125097"/>
                </a:cubicBezTo>
                <a:cubicBezTo>
                  <a:pt x="2485044" y="2077384"/>
                  <a:pt x="2459592" y="2040800"/>
                  <a:pt x="2402326" y="2023292"/>
                </a:cubicBezTo>
                <a:cubicBezTo>
                  <a:pt x="2399144" y="1993044"/>
                  <a:pt x="2346650" y="1966017"/>
                  <a:pt x="2365739" y="1918323"/>
                </a:cubicBezTo>
                <a:cubicBezTo>
                  <a:pt x="2373693" y="1897655"/>
                  <a:pt x="2392781" y="1884924"/>
                  <a:pt x="2407098" y="1864238"/>
                </a:cubicBezTo>
                <a:cubicBezTo>
                  <a:pt x="2405507" y="1846734"/>
                  <a:pt x="2403917" y="1830819"/>
                  <a:pt x="2403917" y="1814910"/>
                </a:cubicBezTo>
                <a:cubicBezTo>
                  <a:pt x="2399144" y="1814910"/>
                  <a:pt x="2394372" y="1814910"/>
                  <a:pt x="2389600" y="1811727"/>
                </a:cubicBezTo>
                <a:cubicBezTo>
                  <a:pt x="2391191" y="1816500"/>
                  <a:pt x="2392781" y="1821275"/>
                  <a:pt x="2394372" y="1826048"/>
                </a:cubicBezTo>
                <a:cubicBezTo>
                  <a:pt x="2354604" y="1763994"/>
                  <a:pt x="2319609" y="1692366"/>
                  <a:pt x="2305291" y="1611273"/>
                </a:cubicBezTo>
                <a:cubicBezTo>
                  <a:pt x="2298928" y="1609682"/>
                  <a:pt x="2290975" y="1609682"/>
                  <a:pt x="2289384" y="1604911"/>
                </a:cubicBezTo>
                <a:cubicBezTo>
                  <a:pt x="2286202" y="1596958"/>
                  <a:pt x="2281430" y="1590595"/>
                  <a:pt x="2276658" y="1584233"/>
                </a:cubicBezTo>
                <a:cubicBezTo>
                  <a:pt x="2295747" y="1681231"/>
                  <a:pt x="2333924" y="1763994"/>
                  <a:pt x="2367330" y="1841961"/>
                </a:cubicBezTo>
                <a:cubicBezTo>
                  <a:pt x="2305291" y="1765580"/>
                  <a:pt x="2260751" y="1671686"/>
                  <a:pt x="2248025" y="1560374"/>
                </a:cubicBezTo>
                <a:cubicBezTo>
                  <a:pt x="2244843" y="1558782"/>
                  <a:pt x="2241663" y="1557192"/>
                  <a:pt x="2238480" y="1555601"/>
                </a:cubicBezTo>
                <a:cubicBezTo>
                  <a:pt x="2232118" y="1538104"/>
                  <a:pt x="2228936" y="1522197"/>
                  <a:pt x="2222573" y="1507881"/>
                </a:cubicBezTo>
                <a:cubicBezTo>
                  <a:pt x="2232118" y="1652603"/>
                  <a:pt x="2287794" y="1784676"/>
                  <a:pt x="2360967" y="1886515"/>
                </a:cubicBezTo>
                <a:cubicBezTo>
                  <a:pt x="2252798" y="1778312"/>
                  <a:pt x="2165307" y="1608092"/>
                  <a:pt x="2197121" y="1406074"/>
                </a:cubicBezTo>
                <a:cubicBezTo>
                  <a:pt x="2198712" y="1383801"/>
                  <a:pt x="2201894" y="1363123"/>
                  <a:pt x="2203484" y="1342442"/>
                </a:cubicBezTo>
                <a:cubicBezTo>
                  <a:pt x="2205075" y="1336078"/>
                  <a:pt x="2192349" y="1336078"/>
                  <a:pt x="2185986" y="1332898"/>
                </a:cubicBezTo>
                <a:cubicBezTo>
                  <a:pt x="2120766" y="1560374"/>
                  <a:pt x="2233709" y="1762401"/>
                  <a:pt x="2338696" y="1915141"/>
                </a:cubicBezTo>
                <a:cubicBezTo>
                  <a:pt x="2209847" y="1768765"/>
                  <a:pt x="2103268" y="1560374"/>
                  <a:pt x="2168488" y="1293129"/>
                </a:cubicBezTo>
                <a:cubicBezTo>
                  <a:pt x="2160534" y="1293129"/>
                  <a:pt x="2150989" y="1296312"/>
                  <a:pt x="2144627" y="1297902"/>
                </a:cubicBezTo>
                <a:cubicBezTo>
                  <a:pt x="2143036" y="1294720"/>
                  <a:pt x="2141446" y="1293129"/>
                  <a:pt x="2139855" y="1289948"/>
                </a:cubicBezTo>
                <a:cubicBezTo>
                  <a:pt x="2130310" y="1345624"/>
                  <a:pt x="2125538" y="1402891"/>
                  <a:pt x="2130310" y="1458564"/>
                </a:cubicBezTo>
                <a:cubicBezTo>
                  <a:pt x="2103268" y="1425165"/>
                  <a:pt x="2103268" y="1277222"/>
                  <a:pt x="2152580" y="1218366"/>
                </a:cubicBezTo>
                <a:cubicBezTo>
                  <a:pt x="2149400" y="1235865"/>
                  <a:pt x="2146218" y="1251770"/>
                  <a:pt x="2143036" y="1269268"/>
                </a:cubicBezTo>
                <a:cubicBezTo>
                  <a:pt x="2144627" y="1267679"/>
                  <a:pt x="2146218" y="1266087"/>
                  <a:pt x="2149400" y="1264497"/>
                </a:cubicBezTo>
                <a:cubicBezTo>
                  <a:pt x="2152580" y="1262906"/>
                  <a:pt x="2162125" y="1259724"/>
                  <a:pt x="2166897" y="1258134"/>
                </a:cubicBezTo>
                <a:cubicBezTo>
                  <a:pt x="2170079" y="1261316"/>
                  <a:pt x="2173261" y="1262906"/>
                  <a:pt x="2176442" y="1264497"/>
                </a:cubicBezTo>
                <a:cubicBezTo>
                  <a:pt x="2178032" y="1258134"/>
                  <a:pt x="2179624" y="1253362"/>
                  <a:pt x="2181214" y="1246998"/>
                </a:cubicBezTo>
                <a:cubicBezTo>
                  <a:pt x="2189167" y="1245408"/>
                  <a:pt x="2195531" y="1256543"/>
                  <a:pt x="2201894" y="1264497"/>
                </a:cubicBezTo>
                <a:cubicBezTo>
                  <a:pt x="2211437" y="1262906"/>
                  <a:pt x="2219391" y="1258134"/>
                  <a:pt x="2228936" y="1251770"/>
                </a:cubicBezTo>
                <a:cubicBezTo>
                  <a:pt x="2230527" y="1251770"/>
                  <a:pt x="2232118" y="1250180"/>
                  <a:pt x="2233709" y="1248589"/>
                </a:cubicBezTo>
                <a:cubicBezTo>
                  <a:pt x="2230527" y="1242227"/>
                  <a:pt x="2225755" y="1237455"/>
                  <a:pt x="2220983" y="1234273"/>
                </a:cubicBezTo>
                <a:cubicBezTo>
                  <a:pt x="2230527" y="1231093"/>
                  <a:pt x="2238480" y="1226319"/>
                  <a:pt x="2246434" y="1221548"/>
                </a:cubicBezTo>
                <a:cubicBezTo>
                  <a:pt x="2246434" y="1218366"/>
                  <a:pt x="2244843" y="1216776"/>
                  <a:pt x="2243252" y="1213595"/>
                </a:cubicBezTo>
                <a:cubicBezTo>
                  <a:pt x="2238480" y="1207232"/>
                  <a:pt x="2228936" y="1208822"/>
                  <a:pt x="2220983" y="1207232"/>
                </a:cubicBezTo>
                <a:cubicBezTo>
                  <a:pt x="2213028" y="1212004"/>
                  <a:pt x="2206666" y="1218366"/>
                  <a:pt x="2198712" y="1221548"/>
                </a:cubicBezTo>
                <a:cubicBezTo>
                  <a:pt x="2205075" y="1216776"/>
                  <a:pt x="2209847" y="1210413"/>
                  <a:pt x="2214619" y="1204050"/>
                </a:cubicBezTo>
                <a:cubicBezTo>
                  <a:pt x="2213028" y="1202458"/>
                  <a:pt x="2211437" y="1200870"/>
                  <a:pt x="2209847" y="1199279"/>
                </a:cubicBezTo>
                <a:cubicBezTo>
                  <a:pt x="2206666" y="1194505"/>
                  <a:pt x="2213028" y="1183371"/>
                  <a:pt x="2219391" y="1183371"/>
                </a:cubicBezTo>
                <a:cubicBezTo>
                  <a:pt x="2222573" y="1183371"/>
                  <a:pt x="2225755" y="1183371"/>
                  <a:pt x="2228936" y="1183371"/>
                </a:cubicBezTo>
                <a:cubicBezTo>
                  <a:pt x="2255978" y="1140423"/>
                  <a:pt x="2281430" y="1084749"/>
                  <a:pt x="2310063" y="1044982"/>
                </a:cubicBezTo>
                <a:cubicBezTo>
                  <a:pt x="2310063" y="1040210"/>
                  <a:pt x="2310063" y="1033847"/>
                  <a:pt x="2310063" y="1029075"/>
                </a:cubicBezTo>
                <a:cubicBezTo>
                  <a:pt x="2310063" y="1022713"/>
                  <a:pt x="2313245" y="1014759"/>
                  <a:pt x="2321199" y="1014759"/>
                </a:cubicBezTo>
                <a:cubicBezTo>
                  <a:pt x="2325970" y="1014759"/>
                  <a:pt x="2329152" y="1017941"/>
                  <a:pt x="2330742" y="1019532"/>
                </a:cubicBezTo>
                <a:cubicBezTo>
                  <a:pt x="2338696" y="1011578"/>
                  <a:pt x="2346650" y="1005215"/>
                  <a:pt x="2354604" y="1000443"/>
                </a:cubicBezTo>
                <a:cubicBezTo>
                  <a:pt x="2346650" y="1009988"/>
                  <a:pt x="2340287" y="1019532"/>
                  <a:pt x="2333924" y="1030666"/>
                </a:cubicBezTo>
                <a:cubicBezTo>
                  <a:pt x="2333924" y="1032256"/>
                  <a:pt x="2333924" y="1033847"/>
                  <a:pt x="2333924" y="1035438"/>
                </a:cubicBezTo>
                <a:cubicBezTo>
                  <a:pt x="2337106" y="1056117"/>
                  <a:pt x="2330742" y="1073615"/>
                  <a:pt x="2333924" y="1086340"/>
                </a:cubicBezTo>
                <a:cubicBezTo>
                  <a:pt x="2335515" y="1086340"/>
                  <a:pt x="2335515" y="1087931"/>
                  <a:pt x="2335515" y="1087931"/>
                </a:cubicBezTo>
                <a:cubicBezTo>
                  <a:pt x="2341878" y="1075205"/>
                  <a:pt x="2348241" y="1064071"/>
                  <a:pt x="2353013" y="1052935"/>
                </a:cubicBezTo>
                <a:cubicBezTo>
                  <a:pt x="2346650" y="1051345"/>
                  <a:pt x="2348241" y="1064071"/>
                  <a:pt x="2340287" y="1060889"/>
                </a:cubicBezTo>
                <a:cubicBezTo>
                  <a:pt x="2362557" y="1016350"/>
                  <a:pt x="2386419" y="970220"/>
                  <a:pt x="2408689" y="924090"/>
                </a:cubicBezTo>
                <a:cubicBezTo>
                  <a:pt x="2411871" y="900231"/>
                  <a:pt x="2419824" y="881142"/>
                  <a:pt x="2430959" y="865233"/>
                </a:cubicBezTo>
                <a:cubicBezTo>
                  <a:pt x="2440504" y="852508"/>
                  <a:pt x="2437322" y="836599"/>
                  <a:pt x="2438913" y="823874"/>
                </a:cubicBezTo>
                <a:cubicBezTo>
                  <a:pt x="2415051" y="877960"/>
                  <a:pt x="2389600" y="932044"/>
                  <a:pt x="2360967" y="979765"/>
                </a:cubicBezTo>
                <a:cubicBezTo>
                  <a:pt x="2367330" y="947951"/>
                  <a:pt x="2359376" y="925681"/>
                  <a:pt x="2345061" y="908184"/>
                </a:cubicBezTo>
                <a:cubicBezTo>
                  <a:pt x="2424596" y="769786"/>
                  <a:pt x="2477090" y="590018"/>
                  <a:pt x="2543901" y="429356"/>
                </a:cubicBezTo>
                <a:cubicBezTo>
                  <a:pt x="2543901" y="437308"/>
                  <a:pt x="2532766" y="451626"/>
                  <a:pt x="2545492" y="451626"/>
                </a:cubicBezTo>
                <a:cubicBezTo>
                  <a:pt x="2566171" y="353001"/>
                  <a:pt x="2590032" y="260739"/>
                  <a:pt x="2655252" y="230515"/>
                </a:cubicBezTo>
                <a:cubicBezTo>
                  <a:pt x="2637755" y="306870"/>
                  <a:pt x="2602758" y="383224"/>
                  <a:pt x="2588442" y="450035"/>
                </a:cubicBezTo>
                <a:cubicBezTo>
                  <a:pt x="2655252" y="380042"/>
                  <a:pt x="2648890" y="198700"/>
                  <a:pt x="2730017" y="150979"/>
                </a:cubicBezTo>
                <a:cubicBezTo>
                  <a:pt x="2722064" y="249604"/>
                  <a:pt x="2656843" y="348228"/>
                  <a:pt x="2667978" y="415038"/>
                </a:cubicBezTo>
                <a:cubicBezTo>
                  <a:pt x="2720472" y="314823"/>
                  <a:pt x="2715700" y="123936"/>
                  <a:pt x="2811144" y="90532"/>
                </a:cubicBezTo>
                <a:cubicBezTo>
                  <a:pt x="2779329" y="152570"/>
                  <a:pt x="2758650" y="281417"/>
                  <a:pt x="2737971" y="368908"/>
                </a:cubicBezTo>
                <a:cubicBezTo>
                  <a:pt x="2774557" y="292553"/>
                  <a:pt x="2807963" y="171659"/>
                  <a:pt x="2819098" y="84170"/>
                </a:cubicBezTo>
                <a:cubicBezTo>
                  <a:pt x="2880342" y="42412"/>
                  <a:pt x="2948892" y="-2997"/>
                  <a:pt x="3034342" y="15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1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 noProof="0"/>
          </a:p>
        </p:txBody>
      </p:sp>
    </p:spTree>
    <p:extLst>
      <p:ext uri="{BB962C8B-B14F-4D97-AF65-F5344CB8AC3E}">
        <p14:creationId xmlns:p14="http://schemas.microsoft.com/office/powerpoint/2010/main" val="37108411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FC626A5-4FF6-42BD-858A-AE4B2C23A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r>
              <a:rPr lang="pt-BR" noProof="0"/>
              <a:t>Clique para editar o título da página</a:t>
            </a:r>
          </a:p>
        </p:txBody>
      </p:sp>
      <p:sp>
        <p:nvSpPr>
          <p:cNvPr id="7" name="Espaço Reservado para o Número do Slide 6">
            <a:extLst>
              <a:ext uri="{FF2B5EF4-FFF2-40B4-BE49-F238E27FC236}">
                <a16:creationId xmlns:a16="http://schemas.microsoft.com/office/drawing/2014/main" id="{BB4446C0-A637-4726-88A6-815A6AB63B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fld id="{19B51A1E-902D-48AF-9020-955120F399B6}" type="slidenum">
              <a:rPr lang="pt-BR" noProof="0" smtClean="0"/>
              <a:pPr rtl="0"/>
              <a:t>‹nº›</a:t>
            </a:fld>
            <a:endParaRPr lang="pt-BR" noProof="0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08CCB8C2-B6A2-4C69-8D3A-57420A034BA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/>
          <a:p>
            <a:pPr rtl="0"/>
            <a:r>
              <a:rPr lang="pt-BR" noProof="0"/>
              <a:t>Adicionar um rodapé</a:t>
            </a: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4F288DC2-3F42-4428-976F-12A01EDDCF71}"/>
              </a:ext>
            </a:extLst>
          </p:cNvPr>
          <p:cNvSpPr/>
          <p:nvPr userDrawn="1"/>
        </p:nvSpPr>
        <p:spPr>
          <a:xfrm>
            <a:off x="432000" y="432000"/>
            <a:ext cx="84835" cy="6957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 noProof="0"/>
          </a:p>
        </p:txBody>
      </p:sp>
    </p:spTree>
    <p:extLst>
      <p:ext uri="{BB962C8B-B14F-4D97-AF65-F5344CB8AC3E}">
        <p14:creationId xmlns:p14="http://schemas.microsoft.com/office/powerpoint/2010/main" val="15058552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o Número do Slide 5">
            <a:extLst>
              <a:ext uri="{FF2B5EF4-FFF2-40B4-BE49-F238E27FC236}">
                <a16:creationId xmlns:a16="http://schemas.microsoft.com/office/drawing/2014/main" id="{ADB88685-006A-43C3-A850-F409CF02FC4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fld id="{19B51A1E-902D-48AF-9020-955120F399B6}" type="slidenum">
              <a:rPr lang="pt-BR" noProof="0" smtClean="0"/>
              <a:pPr rtl="0"/>
              <a:t>‹nº›</a:t>
            </a:fld>
            <a:endParaRPr lang="pt-BR" noProof="0"/>
          </a:p>
        </p:txBody>
      </p:sp>
      <p:sp>
        <p:nvSpPr>
          <p:cNvPr id="2" name="Espaço Reservado para Rodapé 1">
            <a:extLst>
              <a:ext uri="{FF2B5EF4-FFF2-40B4-BE49-F238E27FC236}">
                <a16:creationId xmlns:a16="http://schemas.microsoft.com/office/drawing/2014/main" id="{16D0504D-4610-4E9E-A2DB-8B701F044BB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/>
          <a:p>
            <a:pPr rtl="0"/>
            <a:r>
              <a:rPr lang="pt-BR" noProof="0"/>
              <a:t>Adicionar um rodapé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0441AF21-4CD0-41EE-9AFD-29DF648CB610}"/>
              </a:ext>
            </a:extLst>
          </p:cNvPr>
          <p:cNvSpPr/>
          <p:nvPr userDrawn="1"/>
        </p:nvSpPr>
        <p:spPr>
          <a:xfrm>
            <a:off x="0" y="432000"/>
            <a:ext cx="84835" cy="6957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 noProof="0"/>
          </a:p>
        </p:txBody>
      </p:sp>
    </p:spTree>
    <p:extLst>
      <p:ext uri="{BB962C8B-B14F-4D97-AF65-F5344CB8AC3E}">
        <p14:creationId xmlns:p14="http://schemas.microsoft.com/office/powerpoint/2010/main" val="11397670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s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706E6D59-AED3-4F27-80B9-CFDCD8D016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6600" y="0"/>
            <a:ext cx="5105400" cy="6858000"/>
          </a:xfrm>
          <a:solidFill>
            <a:schemeClr val="bg1">
              <a:lumMod val="95000"/>
              <a:alpha val="50000"/>
            </a:schemeClr>
          </a:solidFill>
        </p:spPr>
        <p:txBody>
          <a:bodyPr vert="horz" lIns="720000" tIns="0" rIns="108000" bIns="2160000" rtlCol="0" anchor="b">
            <a:noAutofit/>
          </a:bodyPr>
          <a:lstStyle>
            <a:lvl1pPr>
              <a:defRPr lang="en-ZA" sz="5000" b="0">
                <a:ea typeface="+mn-ea"/>
                <a:cs typeface="+mn-cs"/>
              </a:defRPr>
            </a:lvl1pPr>
          </a:lstStyle>
          <a:p>
            <a:pPr marL="0" lvl="0" indent="0" rtl="0">
              <a:spcBef>
                <a:spcPts val="1000"/>
              </a:spcBef>
              <a:buClr>
                <a:schemeClr val="accent1"/>
              </a:buClr>
              <a:buFont typeface="Corbel" panose="020B0503020204020204" pitchFamily="34" charset="0"/>
            </a:pPr>
            <a:r>
              <a:rPr lang="pt-BR" noProof="0"/>
              <a:t>Clique para editar o estilo de título Mestre</a:t>
            </a:r>
          </a:p>
        </p:txBody>
      </p:sp>
      <p:sp>
        <p:nvSpPr>
          <p:cNvPr id="2" name="Espaço Reservado para Rodapé 1">
            <a:extLst>
              <a:ext uri="{FF2B5EF4-FFF2-40B4-BE49-F238E27FC236}">
                <a16:creationId xmlns:a16="http://schemas.microsoft.com/office/drawing/2014/main" id="{5CE5A980-FABB-4492-BC75-FA1774A3670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 rtlCol="0"/>
          <a:lstStyle/>
          <a:p>
            <a:pPr rtl="0"/>
            <a:r>
              <a:rPr lang="pt-BR" noProof="0"/>
              <a:t>Adicionar um rodapé</a:t>
            </a:r>
          </a:p>
        </p:txBody>
      </p:sp>
      <p:sp>
        <p:nvSpPr>
          <p:cNvPr id="4" name="Espaço reservado para o número do slide 3">
            <a:extLst>
              <a:ext uri="{FF2B5EF4-FFF2-40B4-BE49-F238E27FC236}">
                <a16:creationId xmlns:a16="http://schemas.microsoft.com/office/drawing/2014/main" id="{B1D58676-E85F-4F30-B1F4-2521D409739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/>
          <a:p>
            <a:pPr rtl="0"/>
            <a:fld id="{19B51A1E-902D-48AF-9020-955120F399B6}" type="slidenum">
              <a:rPr lang="pt-BR" noProof="0" smtClean="0"/>
              <a:pPr rtl="0"/>
              <a:t>‹nº›</a:t>
            </a:fld>
            <a:endParaRPr lang="pt-BR" noProof="0"/>
          </a:p>
        </p:txBody>
      </p:sp>
      <p:sp>
        <p:nvSpPr>
          <p:cNvPr id="9" name="Espaço Reservado para Imagem 8">
            <a:extLst>
              <a:ext uri="{FF2B5EF4-FFF2-40B4-BE49-F238E27FC236}">
                <a16:creationId xmlns:a16="http://schemas.microsoft.com/office/drawing/2014/main" id="{963BCC7A-7B98-426E-9A90-B544A6CDA69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101164" y="688676"/>
            <a:ext cx="5610835" cy="5278113"/>
          </a:xfrm>
          <a:custGeom>
            <a:avLst/>
            <a:gdLst>
              <a:gd name="connsiteX0" fmla="*/ 1977142 w 6789110"/>
              <a:gd name="connsiteY0" fmla="*/ 6313078 h 6386516"/>
              <a:gd name="connsiteX1" fmla="*/ 1977142 w 6789110"/>
              <a:gd name="connsiteY1" fmla="*/ 6315003 h 6386516"/>
              <a:gd name="connsiteX2" fmla="*/ 1979067 w 6789110"/>
              <a:gd name="connsiteY2" fmla="*/ 6328476 h 6386516"/>
              <a:gd name="connsiteX3" fmla="*/ 1977142 w 6789110"/>
              <a:gd name="connsiteY3" fmla="*/ 6328476 h 6386516"/>
              <a:gd name="connsiteX4" fmla="*/ 1967517 w 6789110"/>
              <a:gd name="connsiteY4" fmla="*/ 6336175 h 6386516"/>
              <a:gd name="connsiteX5" fmla="*/ 1959818 w 6789110"/>
              <a:gd name="connsiteY5" fmla="*/ 6336175 h 6386516"/>
              <a:gd name="connsiteX6" fmla="*/ 1977142 w 6789110"/>
              <a:gd name="connsiteY6" fmla="*/ 6313078 h 6386516"/>
              <a:gd name="connsiteX7" fmla="*/ 2006184 w 6789110"/>
              <a:gd name="connsiteY7" fmla="*/ 6295073 h 6386516"/>
              <a:gd name="connsiteX8" fmla="*/ 2006013 w 6789110"/>
              <a:gd name="connsiteY8" fmla="*/ 6295755 h 6386516"/>
              <a:gd name="connsiteX9" fmla="*/ 1998314 w 6789110"/>
              <a:gd name="connsiteY9" fmla="*/ 6313078 h 6386516"/>
              <a:gd name="connsiteX10" fmla="*/ 1990615 w 6789110"/>
              <a:gd name="connsiteY10" fmla="*/ 6316928 h 6386516"/>
              <a:gd name="connsiteX11" fmla="*/ 1992540 w 6789110"/>
              <a:gd name="connsiteY11" fmla="*/ 6309229 h 6386516"/>
              <a:gd name="connsiteX12" fmla="*/ 1992540 w 6789110"/>
              <a:gd name="connsiteY12" fmla="*/ 6307304 h 6386516"/>
              <a:gd name="connsiteX13" fmla="*/ 1992540 w 6789110"/>
              <a:gd name="connsiteY13" fmla="*/ 6303454 h 6386516"/>
              <a:gd name="connsiteX14" fmla="*/ 1994466 w 6789110"/>
              <a:gd name="connsiteY14" fmla="*/ 6301529 h 6386516"/>
              <a:gd name="connsiteX15" fmla="*/ 1996389 w 6789110"/>
              <a:gd name="connsiteY15" fmla="*/ 6303454 h 6386516"/>
              <a:gd name="connsiteX16" fmla="*/ 2002164 w 6789110"/>
              <a:gd name="connsiteY16" fmla="*/ 6297920 h 6386516"/>
              <a:gd name="connsiteX17" fmla="*/ 2007939 w 6789110"/>
              <a:gd name="connsiteY17" fmla="*/ 6293830 h 6386516"/>
              <a:gd name="connsiteX18" fmla="*/ 2006184 w 6789110"/>
              <a:gd name="connsiteY18" fmla="*/ 6295073 h 6386516"/>
              <a:gd name="connsiteX19" fmla="*/ 2006476 w 6789110"/>
              <a:gd name="connsiteY19" fmla="*/ 6293905 h 6386516"/>
              <a:gd name="connsiteX20" fmla="*/ 1884752 w 6789110"/>
              <a:gd name="connsiteY20" fmla="*/ 6289981 h 6386516"/>
              <a:gd name="connsiteX21" fmla="*/ 1902077 w 6789110"/>
              <a:gd name="connsiteY21" fmla="*/ 6293831 h 6386516"/>
              <a:gd name="connsiteX22" fmla="*/ 1902077 w 6789110"/>
              <a:gd name="connsiteY22" fmla="*/ 6295756 h 6386516"/>
              <a:gd name="connsiteX23" fmla="*/ 1896301 w 6789110"/>
              <a:gd name="connsiteY23" fmla="*/ 6305380 h 6386516"/>
              <a:gd name="connsiteX24" fmla="*/ 1894376 w 6789110"/>
              <a:gd name="connsiteY24" fmla="*/ 6305380 h 6386516"/>
              <a:gd name="connsiteX25" fmla="*/ 1884752 w 6789110"/>
              <a:gd name="connsiteY25" fmla="*/ 6289981 h 6386516"/>
              <a:gd name="connsiteX26" fmla="*/ 1959819 w 6789110"/>
              <a:gd name="connsiteY26" fmla="*/ 6284206 h 6386516"/>
              <a:gd name="connsiteX27" fmla="*/ 1967519 w 6789110"/>
              <a:gd name="connsiteY27" fmla="*/ 6291906 h 6386516"/>
              <a:gd name="connsiteX28" fmla="*/ 1946345 w 6789110"/>
              <a:gd name="connsiteY28" fmla="*/ 6334252 h 6386516"/>
              <a:gd name="connsiteX29" fmla="*/ 1938646 w 6789110"/>
              <a:gd name="connsiteY29" fmla="*/ 6328477 h 6386516"/>
              <a:gd name="connsiteX30" fmla="*/ 1942495 w 6789110"/>
              <a:gd name="connsiteY30" fmla="*/ 6324628 h 6386516"/>
              <a:gd name="connsiteX31" fmla="*/ 1955969 w 6789110"/>
              <a:gd name="connsiteY31" fmla="*/ 6291906 h 6386516"/>
              <a:gd name="connsiteX32" fmla="*/ 1961743 w 6789110"/>
              <a:gd name="connsiteY32" fmla="*/ 6289981 h 6386516"/>
              <a:gd name="connsiteX33" fmla="*/ 1959819 w 6789110"/>
              <a:gd name="connsiteY33" fmla="*/ 6284206 h 6386516"/>
              <a:gd name="connsiteX34" fmla="*/ 1940570 w 6789110"/>
              <a:gd name="connsiteY34" fmla="*/ 6274582 h 6386516"/>
              <a:gd name="connsiteX35" fmla="*/ 1946344 w 6789110"/>
              <a:gd name="connsiteY35" fmla="*/ 6278432 h 6386516"/>
              <a:gd name="connsiteX36" fmla="*/ 1946344 w 6789110"/>
              <a:gd name="connsiteY36" fmla="*/ 6284207 h 6386516"/>
              <a:gd name="connsiteX37" fmla="*/ 1952121 w 6789110"/>
              <a:gd name="connsiteY37" fmla="*/ 6282282 h 6386516"/>
              <a:gd name="connsiteX38" fmla="*/ 1954044 w 6789110"/>
              <a:gd name="connsiteY38" fmla="*/ 6284207 h 6386516"/>
              <a:gd name="connsiteX39" fmla="*/ 1942495 w 6789110"/>
              <a:gd name="connsiteY39" fmla="*/ 6301530 h 6386516"/>
              <a:gd name="connsiteX40" fmla="*/ 1940570 w 6789110"/>
              <a:gd name="connsiteY40" fmla="*/ 6299605 h 6386516"/>
              <a:gd name="connsiteX41" fmla="*/ 1938646 w 6789110"/>
              <a:gd name="connsiteY41" fmla="*/ 6301530 h 6386516"/>
              <a:gd name="connsiteX42" fmla="*/ 1940570 w 6789110"/>
              <a:gd name="connsiteY42" fmla="*/ 6305380 h 6386516"/>
              <a:gd name="connsiteX43" fmla="*/ 1930946 w 6789110"/>
              <a:gd name="connsiteY43" fmla="*/ 6318853 h 6386516"/>
              <a:gd name="connsiteX44" fmla="*/ 1930946 w 6789110"/>
              <a:gd name="connsiteY44" fmla="*/ 6320778 h 6386516"/>
              <a:gd name="connsiteX45" fmla="*/ 1923247 w 6789110"/>
              <a:gd name="connsiteY45" fmla="*/ 6315004 h 6386516"/>
              <a:gd name="connsiteX46" fmla="*/ 1940570 w 6789110"/>
              <a:gd name="connsiteY46" fmla="*/ 6276508 h 6386516"/>
              <a:gd name="connsiteX47" fmla="*/ 1940570 w 6789110"/>
              <a:gd name="connsiteY47" fmla="*/ 6274582 h 6386516"/>
              <a:gd name="connsiteX48" fmla="*/ 1878977 w 6789110"/>
              <a:gd name="connsiteY48" fmla="*/ 6270733 h 6386516"/>
              <a:gd name="connsiteX49" fmla="*/ 1898226 w 6789110"/>
              <a:gd name="connsiteY49" fmla="*/ 6270733 h 6386516"/>
              <a:gd name="connsiteX50" fmla="*/ 1900151 w 6789110"/>
              <a:gd name="connsiteY50" fmla="*/ 6274583 h 6386516"/>
              <a:gd name="connsiteX51" fmla="*/ 1898226 w 6789110"/>
              <a:gd name="connsiteY51" fmla="*/ 6278432 h 6386516"/>
              <a:gd name="connsiteX52" fmla="*/ 1900151 w 6789110"/>
              <a:gd name="connsiteY52" fmla="*/ 6284207 h 6386516"/>
              <a:gd name="connsiteX53" fmla="*/ 1878977 w 6789110"/>
              <a:gd name="connsiteY53" fmla="*/ 6270733 h 6386516"/>
              <a:gd name="connsiteX54" fmla="*/ 1971368 w 6789110"/>
              <a:gd name="connsiteY54" fmla="*/ 6263034 h 6386516"/>
              <a:gd name="connsiteX55" fmla="*/ 1973293 w 6789110"/>
              <a:gd name="connsiteY55" fmla="*/ 6284207 h 6386516"/>
              <a:gd name="connsiteX56" fmla="*/ 1965594 w 6789110"/>
              <a:gd name="connsiteY56" fmla="*/ 6274583 h 6386516"/>
              <a:gd name="connsiteX57" fmla="*/ 1967519 w 6789110"/>
              <a:gd name="connsiteY57" fmla="*/ 6268808 h 6386516"/>
              <a:gd name="connsiteX58" fmla="*/ 1971368 w 6789110"/>
              <a:gd name="connsiteY58" fmla="*/ 6263034 h 6386516"/>
              <a:gd name="connsiteX59" fmla="*/ 1963669 w 6789110"/>
              <a:gd name="connsiteY59" fmla="*/ 6259184 h 6386516"/>
              <a:gd name="connsiteX60" fmla="*/ 1957895 w 6789110"/>
              <a:gd name="connsiteY60" fmla="*/ 6272658 h 6386516"/>
              <a:gd name="connsiteX61" fmla="*/ 1955969 w 6789110"/>
              <a:gd name="connsiteY61" fmla="*/ 6270733 h 6386516"/>
              <a:gd name="connsiteX62" fmla="*/ 1948270 w 6789110"/>
              <a:gd name="connsiteY62" fmla="*/ 6264959 h 6386516"/>
              <a:gd name="connsiteX63" fmla="*/ 1948270 w 6789110"/>
              <a:gd name="connsiteY63" fmla="*/ 6261109 h 6386516"/>
              <a:gd name="connsiteX64" fmla="*/ 1963669 w 6789110"/>
              <a:gd name="connsiteY64" fmla="*/ 6259184 h 6386516"/>
              <a:gd name="connsiteX65" fmla="*/ 1980991 w 6789110"/>
              <a:gd name="connsiteY65" fmla="*/ 6259183 h 6386516"/>
              <a:gd name="connsiteX66" fmla="*/ 2013713 w 6789110"/>
              <a:gd name="connsiteY66" fmla="*/ 6264959 h 6386516"/>
              <a:gd name="connsiteX67" fmla="*/ 2006476 w 6789110"/>
              <a:gd name="connsiteY67" fmla="*/ 6293905 h 6386516"/>
              <a:gd name="connsiteX68" fmla="*/ 1998555 w 6789110"/>
              <a:gd name="connsiteY68" fmla="*/ 6294311 h 6386516"/>
              <a:gd name="connsiteX69" fmla="*/ 1990615 w 6789110"/>
              <a:gd name="connsiteY69" fmla="*/ 6297680 h 6386516"/>
              <a:gd name="connsiteX70" fmla="*/ 2000239 w 6789110"/>
              <a:gd name="connsiteY70" fmla="*/ 6280357 h 6386516"/>
              <a:gd name="connsiteX71" fmla="*/ 1986765 w 6789110"/>
              <a:gd name="connsiteY71" fmla="*/ 6282282 h 6386516"/>
              <a:gd name="connsiteX72" fmla="*/ 1980991 w 6789110"/>
              <a:gd name="connsiteY72" fmla="*/ 6259183 h 6386516"/>
              <a:gd name="connsiteX73" fmla="*/ 1341962 w 6789110"/>
              <a:gd name="connsiteY73" fmla="*/ 6255334 h 6386516"/>
              <a:gd name="connsiteX74" fmla="*/ 1357361 w 6789110"/>
              <a:gd name="connsiteY74" fmla="*/ 6266884 h 6386516"/>
              <a:gd name="connsiteX75" fmla="*/ 1357361 w 6789110"/>
              <a:gd name="connsiteY75" fmla="*/ 6291906 h 6386516"/>
              <a:gd name="connsiteX76" fmla="*/ 1345812 w 6789110"/>
              <a:gd name="connsiteY76" fmla="*/ 6278432 h 6386516"/>
              <a:gd name="connsiteX77" fmla="*/ 1341962 w 6789110"/>
              <a:gd name="connsiteY77" fmla="*/ 6255334 h 6386516"/>
              <a:gd name="connsiteX78" fmla="*/ 1952119 w 6789110"/>
              <a:gd name="connsiteY78" fmla="*/ 6241861 h 6386516"/>
              <a:gd name="connsiteX79" fmla="*/ 1957895 w 6789110"/>
              <a:gd name="connsiteY79" fmla="*/ 6243786 h 6386516"/>
              <a:gd name="connsiteX80" fmla="*/ 1963669 w 6789110"/>
              <a:gd name="connsiteY80" fmla="*/ 6247636 h 6386516"/>
              <a:gd name="connsiteX81" fmla="*/ 1965594 w 6789110"/>
              <a:gd name="connsiteY81" fmla="*/ 6253410 h 6386516"/>
              <a:gd name="connsiteX82" fmla="*/ 1948270 w 6789110"/>
              <a:gd name="connsiteY82" fmla="*/ 6253410 h 6386516"/>
              <a:gd name="connsiteX83" fmla="*/ 1952119 w 6789110"/>
              <a:gd name="connsiteY83" fmla="*/ 6241861 h 6386516"/>
              <a:gd name="connsiteX84" fmla="*/ 1900150 w 6789110"/>
              <a:gd name="connsiteY84" fmla="*/ 6241860 h 6386516"/>
              <a:gd name="connsiteX85" fmla="*/ 1925173 w 6789110"/>
              <a:gd name="connsiteY85" fmla="*/ 6259184 h 6386516"/>
              <a:gd name="connsiteX86" fmla="*/ 1921324 w 6789110"/>
              <a:gd name="connsiteY86" fmla="*/ 6263034 h 6386516"/>
              <a:gd name="connsiteX87" fmla="*/ 1919399 w 6789110"/>
              <a:gd name="connsiteY87" fmla="*/ 6261109 h 6386516"/>
              <a:gd name="connsiteX88" fmla="*/ 1917474 w 6789110"/>
              <a:gd name="connsiteY88" fmla="*/ 6268808 h 6386516"/>
              <a:gd name="connsiteX89" fmla="*/ 1907849 w 6789110"/>
              <a:gd name="connsiteY89" fmla="*/ 6286131 h 6386516"/>
              <a:gd name="connsiteX90" fmla="*/ 1905924 w 6789110"/>
              <a:gd name="connsiteY90" fmla="*/ 6268808 h 6386516"/>
              <a:gd name="connsiteX91" fmla="*/ 1911699 w 6789110"/>
              <a:gd name="connsiteY91" fmla="*/ 6266884 h 6386516"/>
              <a:gd name="connsiteX92" fmla="*/ 1903999 w 6789110"/>
              <a:gd name="connsiteY92" fmla="*/ 6264959 h 6386516"/>
              <a:gd name="connsiteX93" fmla="*/ 1900150 w 6789110"/>
              <a:gd name="connsiteY93" fmla="*/ 6241860 h 6386516"/>
              <a:gd name="connsiteX94" fmla="*/ 1863579 w 6789110"/>
              <a:gd name="connsiteY94" fmla="*/ 6234162 h 6386516"/>
              <a:gd name="connsiteX95" fmla="*/ 1892452 w 6789110"/>
              <a:gd name="connsiteY95" fmla="*/ 6238012 h 6386516"/>
              <a:gd name="connsiteX96" fmla="*/ 1890526 w 6789110"/>
              <a:gd name="connsiteY96" fmla="*/ 6249560 h 6386516"/>
              <a:gd name="connsiteX97" fmla="*/ 1896301 w 6789110"/>
              <a:gd name="connsiteY97" fmla="*/ 6261109 h 6386516"/>
              <a:gd name="connsiteX98" fmla="*/ 1865504 w 6789110"/>
              <a:gd name="connsiteY98" fmla="*/ 6239936 h 6386516"/>
              <a:gd name="connsiteX99" fmla="*/ 1863579 w 6789110"/>
              <a:gd name="connsiteY99" fmla="*/ 6234162 h 6386516"/>
              <a:gd name="connsiteX100" fmla="*/ 1905924 w 6789110"/>
              <a:gd name="connsiteY100" fmla="*/ 6228388 h 6386516"/>
              <a:gd name="connsiteX101" fmla="*/ 1934797 w 6789110"/>
              <a:gd name="connsiteY101" fmla="*/ 6232237 h 6386516"/>
              <a:gd name="connsiteX102" fmla="*/ 1936722 w 6789110"/>
              <a:gd name="connsiteY102" fmla="*/ 6234162 h 6386516"/>
              <a:gd name="connsiteX103" fmla="*/ 1932872 w 6789110"/>
              <a:gd name="connsiteY103" fmla="*/ 6241861 h 6386516"/>
              <a:gd name="connsiteX104" fmla="*/ 1927098 w 6789110"/>
              <a:gd name="connsiteY104" fmla="*/ 6245711 h 6386516"/>
              <a:gd name="connsiteX105" fmla="*/ 1919399 w 6789110"/>
              <a:gd name="connsiteY105" fmla="*/ 6245711 h 6386516"/>
              <a:gd name="connsiteX106" fmla="*/ 1905924 w 6789110"/>
              <a:gd name="connsiteY106" fmla="*/ 6228388 h 6386516"/>
              <a:gd name="connsiteX107" fmla="*/ 1965594 w 6789110"/>
              <a:gd name="connsiteY107" fmla="*/ 6226463 h 6386516"/>
              <a:gd name="connsiteX108" fmla="*/ 1965594 w 6789110"/>
              <a:gd name="connsiteY108" fmla="*/ 6239936 h 6386516"/>
              <a:gd name="connsiteX109" fmla="*/ 1963669 w 6789110"/>
              <a:gd name="connsiteY109" fmla="*/ 6228388 h 6386516"/>
              <a:gd name="connsiteX110" fmla="*/ 1965594 w 6789110"/>
              <a:gd name="connsiteY110" fmla="*/ 6226463 h 6386516"/>
              <a:gd name="connsiteX111" fmla="*/ 1930948 w 6789110"/>
              <a:gd name="connsiteY111" fmla="*/ 6218764 h 6386516"/>
              <a:gd name="connsiteX112" fmla="*/ 1934797 w 6789110"/>
              <a:gd name="connsiteY112" fmla="*/ 6218764 h 6386516"/>
              <a:gd name="connsiteX113" fmla="*/ 1938648 w 6789110"/>
              <a:gd name="connsiteY113" fmla="*/ 6220688 h 6386516"/>
              <a:gd name="connsiteX114" fmla="*/ 1932874 w 6789110"/>
              <a:gd name="connsiteY114" fmla="*/ 6220688 h 6386516"/>
              <a:gd name="connsiteX115" fmla="*/ 1930948 w 6789110"/>
              <a:gd name="connsiteY115" fmla="*/ 6218764 h 6386516"/>
              <a:gd name="connsiteX116" fmla="*/ 1986766 w 6789110"/>
              <a:gd name="connsiteY116" fmla="*/ 6212989 h 6386516"/>
              <a:gd name="connsiteX117" fmla="*/ 1980992 w 6789110"/>
              <a:gd name="connsiteY117" fmla="*/ 6230312 h 6386516"/>
              <a:gd name="connsiteX118" fmla="*/ 1979067 w 6789110"/>
              <a:gd name="connsiteY118" fmla="*/ 6216839 h 6386516"/>
              <a:gd name="connsiteX119" fmla="*/ 1986766 w 6789110"/>
              <a:gd name="connsiteY119" fmla="*/ 6212989 h 6386516"/>
              <a:gd name="connsiteX120" fmla="*/ 2023337 w 6789110"/>
              <a:gd name="connsiteY120" fmla="*/ 6203364 h 6386516"/>
              <a:gd name="connsiteX121" fmla="*/ 2023337 w 6789110"/>
              <a:gd name="connsiteY121" fmla="*/ 6209140 h 6386516"/>
              <a:gd name="connsiteX122" fmla="*/ 2017563 w 6789110"/>
              <a:gd name="connsiteY122" fmla="*/ 6245710 h 6386516"/>
              <a:gd name="connsiteX123" fmla="*/ 1980991 w 6789110"/>
              <a:gd name="connsiteY123" fmla="*/ 6249560 h 6386516"/>
              <a:gd name="connsiteX124" fmla="*/ 1984841 w 6789110"/>
              <a:gd name="connsiteY124" fmla="*/ 6238011 h 6386516"/>
              <a:gd name="connsiteX125" fmla="*/ 1988690 w 6789110"/>
              <a:gd name="connsiteY125" fmla="*/ 6230312 h 6386516"/>
              <a:gd name="connsiteX126" fmla="*/ 1994466 w 6789110"/>
              <a:gd name="connsiteY126" fmla="*/ 6222613 h 6386516"/>
              <a:gd name="connsiteX127" fmla="*/ 1994466 w 6789110"/>
              <a:gd name="connsiteY127" fmla="*/ 6212989 h 6386516"/>
              <a:gd name="connsiteX128" fmla="*/ 1994466 w 6789110"/>
              <a:gd name="connsiteY128" fmla="*/ 6209140 h 6386516"/>
              <a:gd name="connsiteX129" fmla="*/ 2000239 w 6789110"/>
              <a:gd name="connsiteY129" fmla="*/ 6205290 h 6386516"/>
              <a:gd name="connsiteX130" fmla="*/ 2023337 w 6789110"/>
              <a:gd name="connsiteY130" fmla="*/ 6203364 h 6386516"/>
              <a:gd name="connsiteX131" fmla="*/ 1950195 w 6789110"/>
              <a:gd name="connsiteY131" fmla="*/ 6201440 h 6386516"/>
              <a:gd name="connsiteX132" fmla="*/ 1950195 w 6789110"/>
              <a:gd name="connsiteY132" fmla="*/ 6203365 h 6386516"/>
              <a:gd name="connsiteX133" fmla="*/ 1950195 w 6789110"/>
              <a:gd name="connsiteY133" fmla="*/ 6201440 h 6386516"/>
              <a:gd name="connsiteX134" fmla="*/ 1905925 w 6789110"/>
              <a:gd name="connsiteY134" fmla="*/ 6201440 h 6386516"/>
              <a:gd name="connsiteX135" fmla="*/ 1919399 w 6789110"/>
              <a:gd name="connsiteY135" fmla="*/ 6216839 h 6386516"/>
              <a:gd name="connsiteX136" fmla="*/ 1904000 w 6789110"/>
              <a:gd name="connsiteY136" fmla="*/ 6209140 h 6386516"/>
              <a:gd name="connsiteX137" fmla="*/ 1904000 w 6789110"/>
              <a:gd name="connsiteY137" fmla="*/ 6207215 h 6386516"/>
              <a:gd name="connsiteX138" fmla="*/ 1905925 w 6789110"/>
              <a:gd name="connsiteY138" fmla="*/ 6201440 h 6386516"/>
              <a:gd name="connsiteX139" fmla="*/ 1894377 w 6789110"/>
              <a:gd name="connsiteY139" fmla="*/ 6189892 h 6386516"/>
              <a:gd name="connsiteX140" fmla="*/ 1902077 w 6789110"/>
              <a:gd name="connsiteY140" fmla="*/ 6197591 h 6386516"/>
              <a:gd name="connsiteX141" fmla="*/ 1896302 w 6789110"/>
              <a:gd name="connsiteY141" fmla="*/ 6203365 h 6386516"/>
              <a:gd name="connsiteX142" fmla="*/ 1894377 w 6789110"/>
              <a:gd name="connsiteY142" fmla="*/ 6189892 h 6386516"/>
              <a:gd name="connsiteX143" fmla="*/ 1480546 w 6789110"/>
              <a:gd name="connsiteY143" fmla="*/ 6187966 h 6386516"/>
              <a:gd name="connsiteX144" fmla="*/ 1492095 w 6789110"/>
              <a:gd name="connsiteY144" fmla="*/ 6189891 h 6386516"/>
              <a:gd name="connsiteX145" fmla="*/ 1509419 w 6789110"/>
              <a:gd name="connsiteY145" fmla="*/ 6238012 h 6386516"/>
              <a:gd name="connsiteX146" fmla="*/ 1478621 w 6789110"/>
              <a:gd name="connsiteY146" fmla="*/ 6211064 h 6386516"/>
              <a:gd name="connsiteX147" fmla="*/ 1480546 w 6789110"/>
              <a:gd name="connsiteY147" fmla="*/ 6187966 h 6386516"/>
              <a:gd name="connsiteX148" fmla="*/ 1456728 w 6789110"/>
              <a:gd name="connsiteY148" fmla="*/ 6180749 h 6386516"/>
              <a:gd name="connsiteX149" fmla="*/ 1461299 w 6789110"/>
              <a:gd name="connsiteY149" fmla="*/ 6182193 h 6386516"/>
              <a:gd name="connsiteX150" fmla="*/ 1453600 w 6789110"/>
              <a:gd name="connsiteY150" fmla="*/ 6182193 h 6386516"/>
              <a:gd name="connsiteX151" fmla="*/ 1456728 w 6789110"/>
              <a:gd name="connsiteY151" fmla="*/ 6180749 h 6386516"/>
              <a:gd name="connsiteX152" fmla="*/ 1934797 w 6789110"/>
              <a:gd name="connsiteY152" fmla="*/ 6178343 h 6386516"/>
              <a:gd name="connsiteX153" fmla="*/ 1932872 w 6789110"/>
              <a:gd name="connsiteY153" fmla="*/ 6180268 h 6386516"/>
              <a:gd name="connsiteX154" fmla="*/ 1936722 w 6789110"/>
              <a:gd name="connsiteY154" fmla="*/ 6186042 h 6386516"/>
              <a:gd name="connsiteX155" fmla="*/ 1932872 w 6789110"/>
              <a:gd name="connsiteY155" fmla="*/ 6182192 h 6386516"/>
              <a:gd name="connsiteX156" fmla="*/ 1930948 w 6789110"/>
              <a:gd name="connsiteY156" fmla="*/ 6186042 h 6386516"/>
              <a:gd name="connsiteX157" fmla="*/ 1936722 w 6789110"/>
              <a:gd name="connsiteY157" fmla="*/ 6193741 h 6386516"/>
              <a:gd name="connsiteX158" fmla="*/ 1930948 w 6789110"/>
              <a:gd name="connsiteY158" fmla="*/ 6191816 h 6386516"/>
              <a:gd name="connsiteX159" fmla="*/ 1934797 w 6789110"/>
              <a:gd name="connsiteY159" fmla="*/ 6205290 h 6386516"/>
              <a:gd name="connsiteX160" fmla="*/ 1909774 w 6789110"/>
              <a:gd name="connsiteY160" fmla="*/ 6197591 h 6386516"/>
              <a:gd name="connsiteX161" fmla="*/ 1934797 w 6789110"/>
              <a:gd name="connsiteY161" fmla="*/ 6178343 h 6386516"/>
              <a:gd name="connsiteX162" fmla="*/ 1492095 w 6789110"/>
              <a:gd name="connsiteY162" fmla="*/ 6176418 h 6386516"/>
              <a:gd name="connsiteX163" fmla="*/ 1492095 w 6789110"/>
              <a:gd name="connsiteY163" fmla="*/ 6180268 h 6386516"/>
              <a:gd name="connsiteX164" fmla="*/ 1488246 w 6789110"/>
              <a:gd name="connsiteY164" fmla="*/ 6180268 h 6386516"/>
              <a:gd name="connsiteX165" fmla="*/ 1492095 w 6789110"/>
              <a:gd name="connsiteY165" fmla="*/ 6176418 h 6386516"/>
              <a:gd name="connsiteX166" fmla="*/ 1985805 w 6789110"/>
              <a:gd name="connsiteY166" fmla="*/ 6174974 h 6386516"/>
              <a:gd name="connsiteX167" fmla="*/ 1992541 w 6789110"/>
              <a:gd name="connsiteY167" fmla="*/ 6182192 h 6386516"/>
              <a:gd name="connsiteX168" fmla="*/ 1980991 w 6789110"/>
              <a:gd name="connsiteY168" fmla="*/ 6205290 h 6386516"/>
              <a:gd name="connsiteX169" fmla="*/ 1975217 w 6789110"/>
              <a:gd name="connsiteY169" fmla="*/ 6203365 h 6386516"/>
              <a:gd name="connsiteX170" fmla="*/ 1973292 w 6789110"/>
              <a:gd name="connsiteY170" fmla="*/ 6189892 h 6386516"/>
              <a:gd name="connsiteX171" fmla="*/ 1979066 w 6789110"/>
              <a:gd name="connsiteY171" fmla="*/ 6176418 h 6386516"/>
              <a:gd name="connsiteX172" fmla="*/ 1985805 w 6789110"/>
              <a:gd name="connsiteY172" fmla="*/ 6174974 h 6386516"/>
              <a:gd name="connsiteX173" fmla="*/ 2025262 w 6789110"/>
              <a:gd name="connsiteY173" fmla="*/ 6166794 h 6386516"/>
              <a:gd name="connsiteX174" fmla="*/ 2025262 w 6789110"/>
              <a:gd name="connsiteY174" fmla="*/ 6187968 h 6386516"/>
              <a:gd name="connsiteX175" fmla="*/ 2000238 w 6789110"/>
              <a:gd name="connsiteY175" fmla="*/ 6197592 h 6386516"/>
              <a:gd name="connsiteX176" fmla="*/ 2009862 w 6789110"/>
              <a:gd name="connsiteY176" fmla="*/ 6172569 h 6386516"/>
              <a:gd name="connsiteX177" fmla="*/ 2013713 w 6789110"/>
              <a:gd name="connsiteY177" fmla="*/ 6168720 h 6386516"/>
              <a:gd name="connsiteX178" fmla="*/ 2025262 w 6789110"/>
              <a:gd name="connsiteY178" fmla="*/ 6166794 h 6386516"/>
              <a:gd name="connsiteX179" fmla="*/ 1850106 w 6789110"/>
              <a:gd name="connsiteY179" fmla="*/ 6166794 h 6386516"/>
              <a:gd name="connsiteX180" fmla="*/ 1869354 w 6789110"/>
              <a:gd name="connsiteY180" fmla="*/ 6166794 h 6386516"/>
              <a:gd name="connsiteX181" fmla="*/ 1888604 w 6789110"/>
              <a:gd name="connsiteY181" fmla="*/ 6184118 h 6386516"/>
              <a:gd name="connsiteX182" fmla="*/ 1884753 w 6789110"/>
              <a:gd name="connsiteY182" fmla="*/ 6186043 h 6386516"/>
              <a:gd name="connsiteX183" fmla="*/ 1890527 w 6789110"/>
              <a:gd name="connsiteY183" fmla="*/ 6209140 h 6386516"/>
              <a:gd name="connsiteX184" fmla="*/ 1873203 w 6789110"/>
              <a:gd name="connsiteY184" fmla="*/ 6220689 h 6386516"/>
              <a:gd name="connsiteX185" fmla="*/ 1865504 w 6789110"/>
              <a:gd name="connsiteY185" fmla="*/ 6220689 h 6386516"/>
              <a:gd name="connsiteX186" fmla="*/ 1855880 w 6789110"/>
              <a:gd name="connsiteY186" fmla="*/ 6184118 h 6386516"/>
              <a:gd name="connsiteX187" fmla="*/ 1850106 w 6789110"/>
              <a:gd name="connsiteY187" fmla="*/ 6166794 h 6386516"/>
              <a:gd name="connsiteX188" fmla="*/ 1886676 w 6789110"/>
              <a:gd name="connsiteY188" fmla="*/ 6162945 h 6386516"/>
              <a:gd name="connsiteX189" fmla="*/ 1886676 w 6789110"/>
              <a:gd name="connsiteY189" fmla="*/ 6172569 h 6386516"/>
              <a:gd name="connsiteX190" fmla="*/ 1877052 w 6789110"/>
              <a:gd name="connsiteY190" fmla="*/ 6164870 h 6386516"/>
              <a:gd name="connsiteX191" fmla="*/ 1886676 w 6789110"/>
              <a:gd name="connsiteY191" fmla="*/ 6162945 h 6386516"/>
              <a:gd name="connsiteX192" fmla="*/ 1863581 w 6789110"/>
              <a:gd name="connsiteY192" fmla="*/ 6153321 h 6386516"/>
              <a:gd name="connsiteX193" fmla="*/ 1865504 w 6789110"/>
              <a:gd name="connsiteY193" fmla="*/ 6155246 h 6386516"/>
              <a:gd name="connsiteX194" fmla="*/ 1861655 w 6789110"/>
              <a:gd name="connsiteY194" fmla="*/ 6155246 h 6386516"/>
              <a:gd name="connsiteX195" fmla="*/ 1863581 w 6789110"/>
              <a:gd name="connsiteY195" fmla="*/ 6153321 h 6386516"/>
              <a:gd name="connsiteX196" fmla="*/ 1886677 w 6789110"/>
              <a:gd name="connsiteY196" fmla="*/ 6141773 h 6386516"/>
              <a:gd name="connsiteX197" fmla="*/ 1888602 w 6789110"/>
              <a:gd name="connsiteY197" fmla="*/ 6153321 h 6386516"/>
              <a:gd name="connsiteX198" fmla="*/ 1873202 w 6789110"/>
              <a:gd name="connsiteY198" fmla="*/ 6157171 h 6386516"/>
              <a:gd name="connsiteX199" fmla="*/ 1869353 w 6789110"/>
              <a:gd name="connsiteY199" fmla="*/ 6149472 h 6386516"/>
              <a:gd name="connsiteX200" fmla="*/ 1886677 w 6789110"/>
              <a:gd name="connsiteY200" fmla="*/ 6141773 h 6386516"/>
              <a:gd name="connsiteX201" fmla="*/ 1538290 w 6789110"/>
              <a:gd name="connsiteY201" fmla="*/ 6137922 h 6386516"/>
              <a:gd name="connsiteX202" fmla="*/ 1559463 w 6789110"/>
              <a:gd name="connsiteY202" fmla="*/ 6201441 h 6386516"/>
              <a:gd name="connsiteX203" fmla="*/ 1551765 w 6789110"/>
              <a:gd name="connsiteY203" fmla="*/ 6330402 h 6386516"/>
              <a:gd name="connsiteX204" fmla="*/ 1534440 w 6789110"/>
              <a:gd name="connsiteY204" fmla="*/ 6278432 h 6386516"/>
              <a:gd name="connsiteX205" fmla="*/ 1517117 w 6789110"/>
              <a:gd name="connsiteY205" fmla="*/ 6228388 h 6386516"/>
              <a:gd name="connsiteX206" fmla="*/ 1517117 w 6789110"/>
              <a:gd name="connsiteY206" fmla="*/ 6220689 h 6386516"/>
              <a:gd name="connsiteX207" fmla="*/ 1511343 w 6789110"/>
              <a:gd name="connsiteY207" fmla="*/ 6214914 h 6386516"/>
              <a:gd name="connsiteX208" fmla="*/ 1499794 w 6789110"/>
              <a:gd name="connsiteY208" fmla="*/ 6168719 h 6386516"/>
              <a:gd name="connsiteX209" fmla="*/ 1538290 w 6789110"/>
              <a:gd name="connsiteY209" fmla="*/ 6137922 h 6386516"/>
              <a:gd name="connsiteX210" fmla="*/ 1890526 w 6789110"/>
              <a:gd name="connsiteY210" fmla="*/ 6128298 h 6386516"/>
              <a:gd name="connsiteX211" fmla="*/ 1934797 w 6789110"/>
              <a:gd name="connsiteY211" fmla="*/ 6145621 h 6386516"/>
              <a:gd name="connsiteX212" fmla="*/ 1948271 w 6789110"/>
              <a:gd name="connsiteY212" fmla="*/ 6159095 h 6386516"/>
              <a:gd name="connsiteX213" fmla="*/ 1955970 w 6789110"/>
              <a:gd name="connsiteY213" fmla="*/ 6187966 h 6386516"/>
              <a:gd name="connsiteX214" fmla="*/ 1946346 w 6789110"/>
              <a:gd name="connsiteY214" fmla="*/ 6184117 h 6386516"/>
              <a:gd name="connsiteX215" fmla="*/ 1942496 w 6789110"/>
              <a:gd name="connsiteY215" fmla="*/ 6172568 h 6386516"/>
              <a:gd name="connsiteX216" fmla="*/ 1903999 w 6789110"/>
              <a:gd name="connsiteY216" fmla="*/ 6195665 h 6386516"/>
              <a:gd name="connsiteX217" fmla="*/ 1894376 w 6789110"/>
              <a:gd name="connsiteY217" fmla="*/ 6186042 h 6386516"/>
              <a:gd name="connsiteX218" fmla="*/ 1896300 w 6789110"/>
              <a:gd name="connsiteY218" fmla="*/ 6162944 h 6386516"/>
              <a:gd name="connsiteX219" fmla="*/ 1894376 w 6789110"/>
              <a:gd name="connsiteY219" fmla="*/ 6159095 h 6386516"/>
              <a:gd name="connsiteX220" fmla="*/ 1896300 w 6789110"/>
              <a:gd name="connsiteY220" fmla="*/ 6157170 h 6386516"/>
              <a:gd name="connsiteX221" fmla="*/ 1892451 w 6789110"/>
              <a:gd name="connsiteY221" fmla="*/ 6155245 h 6386516"/>
              <a:gd name="connsiteX222" fmla="*/ 1890526 w 6789110"/>
              <a:gd name="connsiteY222" fmla="*/ 6143696 h 6386516"/>
              <a:gd name="connsiteX223" fmla="*/ 1905924 w 6789110"/>
              <a:gd name="connsiteY223" fmla="*/ 6143696 h 6386516"/>
              <a:gd name="connsiteX224" fmla="*/ 1890526 w 6789110"/>
              <a:gd name="connsiteY224" fmla="*/ 6137922 h 6386516"/>
              <a:gd name="connsiteX225" fmla="*/ 1890526 w 6789110"/>
              <a:gd name="connsiteY225" fmla="*/ 6128298 h 6386516"/>
              <a:gd name="connsiteX226" fmla="*/ 1519043 w 6789110"/>
              <a:gd name="connsiteY226" fmla="*/ 6126373 h 6386516"/>
              <a:gd name="connsiteX227" fmla="*/ 1497869 w 6789110"/>
              <a:gd name="connsiteY227" fmla="*/ 6157171 h 6386516"/>
              <a:gd name="connsiteX228" fmla="*/ 1501719 w 6789110"/>
              <a:gd name="connsiteY228" fmla="*/ 6139848 h 6386516"/>
              <a:gd name="connsiteX229" fmla="*/ 1519043 w 6789110"/>
              <a:gd name="connsiteY229" fmla="*/ 6126373 h 6386516"/>
              <a:gd name="connsiteX230" fmla="*/ 2023336 w 6789110"/>
              <a:gd name="connsiteY230" fmla="*/ 6122524 h 6386516"/>
              <a:gd name="connsiteX231" fmla="*/ 2025261 w 6789110"/>
              <a:gd name="connsiteY231" fmla="*/ 6159096 h 6386516"/>
              <a:gd name="connsiteX232" fmla="*/ 2019487 w 6789110"/>
              <a:gd name="connsiteY232" fmla="*/ 6157171 h 6386516"/>
              <a:gd name="connsiteX233" fmla="*/ 2019487 w 6789110"/>
              <a:gd name="connsiteY233" fmla="*/ 6155246 h 6386516"/>
              <a:gd name="connsiteX234" fmla="*/ 2017561 w 6789110"/>
              <a:gd name="connsiteY234" fmla="*/ 6157171 h 6386516"/>
              <a:gd name="connsiteX235" fmla="*/ 2013713 w 6789110"/>
              <a:gd name="connsiteY235" fmla="*/ 6155246 h 6386516"/>
              <a:gd name="connsiteX236" fmla="*/ 2019487 w 6789110"/>
              <a:gd name="connsiteY236" fmla="*/ 6134073 h 6386516"/>
              <a:gd name="connsiteX237" fmla="*/ 2023336 w 6789110"/>
              <a:gd name="connsiteY237" fmla="*/ 6122524 h 6386516"/>
              <a:gd name="connsiteX238" fmla="*/ 1844332 w 6789110"/>
              <a:gd name="connsiteY238" fmla="*/ 6120600 h 6386516"/>
              <a:gd name="connsiteX239" fmla="*/ 1848181 w 6789110"/>
              <a:gd name="connsiteY239" fmla="*/ 6128299 h 6386516"/>
              <a:gd name="connsiteX240" fmla="*/ 1844332 w 6789110"/>
              <a:gd name="connsiteY240" fmla="*/ 6132149 h 6386516"/>
              <a:gd name="connsiteX241" fmla="*/ 1844332 w 6789110"/>
              <a:gd name="connsiteY241" fmla="*/ 6120600 h 6386516"/>
              <a:gd name="connsiteX242" fmla="*/ 1996390 w 6789110"/>
              <a:gd name="connsiteY242" fmla="*/ 6112901 h 6386516"/>
              <a:gd name="connsiteX243" fmla="*/ 2002164 w 6789110"/>
              <a:gd name="connsiteY243" fmla="*/ 6114825 h 6386516"/>
              <a:gd name="connsiteX244" fmla="*/ 1994466 w 6789110"/>
              <a:gd name="connsiteY244" fmla="*/ 6126374 h 6386516"/>
              <a:gd name="connsiteX245" fmla="*/ 1992540 w 6789110"/>
              <a:gd name="connsiteY245" fmla="*/ 6122525 h 6386516"/>
              <a:gd name="connsiteX246" fmla="*/ 1996390 w 6789110"/>
              <a:gd name="connsiteY246" fmla="*/ 6112901 h 6386516"/>
              <a:gd name="connsiteX247" fmla="*/ 2019487 w 6789110"/>
              <a:gd name="connsiteY247" fmla="*/ 6109050 h 6386516"/>
              <a:gd name="connsiteX248" fmla="*/ 2004088 w 6789110"/>
              <a:gd name="connsiteY248" fmla="*/ 6149472 h 6386516"/>
              <a:gd name="connsiteX249" fmla="*/ 1998314 w 6789110"/>
              <a:gd name="connsiteY249" fmla="*/ 6145622 h 6386516"/>
              <a:gd name="connsiteX250" fmla="*/ 1996389 w 6789110"/>
              <a:gd name="connsiteY250" fmla="*/ 6139848 h 6386516"/>
              <a:gd name="connsiteX251" fmla="*/ 1998314 w 6789110"/>
              <a:gd name="connsiteY251" fmla="*/ 6137923 h 6386516"/>
              <a:gd name="connsiteX252" fmla="*/ 1998314 w 6789110"/>
              <a:gd name="connsiteY252" fmla="*/ 6135998 h 6386516"/>
              <a:gd name="connsiteX253" fmla="*/ 2002163 w 6789110"/>
              <a:gd name="connsiteY253" fmla="*/ 6135998 h 6386516"/>
              <a:gd name="connsiteX254" fmla="*/ 2000238 w 6789110"/>
              <a:gd name="connsiteY254" fmla="*/ 6132149 h 6386516"/>
              <a:gd name="connsiteX255" fmla="*/ 2011788 w 6789110"/>
              <a:gd name="connsiteY255" fmla="*/ 6118675 h 6386516"/>
              <a:gd name="connsiteX256" fmla="*/ 2011788 w 6789110"/>
              <a:gd name="connsiteY256" fmla="*/ 6116750 h 6386516"/>
              <a:gd name="connsiteX257" fmla="*/ 2015638 w 6789110"/>
              <a:gd name="connsiteY257" fmla="*/ 6116750 h 6386516"/>
              <a:gd name="connsiteX258" fmla="*/ 2013713 w 6789110"/>
              <a:gd name="connsiteY258" fmla="*/ 6114825 h 6386516"/>
              <a:gd name="connsiteX259" fmla="*/ 2019487 w 6789110"/>
              <a:gd name="connsiteY259" fmla="*/ 6109050 h 6386516"/>
              <a:gd name="connsiteX260" fmla="*/ 1979067 w 6789110"/>
              <a:gd name="connsiteY260" fmla="*/ 6109050 h 6386516"/>
              <a:gd name="connsiteX261" fmla="*/ 1979067 w 6789110"/>
              <a:gd name="connsiteY261" fmla="*/ 6118675 h 6386516"/>
              <a:gd name="connsiteX262" fmla="*/ 1979067 w 6789110"/>
              <a:gd name="connsiteY262" fmla="*/ 6120600 h 6386516"/>
              <a:gd name="connsiteX263" fmla="*/ 1975218 w 6789110"/>
              <a:gd name="connsiteY263" fmla="*/ 6137923 h 6386516"/>
              <a:gd name="connsiteX264" fmla="*/ 1971368 w 6789110"/>
              <a:gd name="connsiteY264" fmla="*/ 6143697 h 6386516"/>
              <a:gd name="connsiteX265" fmla="*/ 1979067 w 6789110"/>
              <a:gd name="connsiteY265" fmla="*/ 6109050 h 6386516"/>
              <a:gd name="connsiteX266" fmla="*/ 1880903 w 6789110"/>
              <a:gd name="connsiteY266" fmla="*/ 6107126 h 6386516"/>
              <a:gd name="connsiteX267" fmla="*/ 1882828 w 6789110"/>
              <a:gd name="connsiteY267" fmla="*/ 6109051 h 6386516"/>
              <a:gd name="connsiteX268" fmla="*/ 1878978 w 6789110"/>
              <a:gd name="connsiteY268" fmla="*/ 6109051 h 6386516"/>
              <a:gd name="connsiteX269" fmla="*/ 1880903 w 6789110"/>
              <a:gd name="connsiteY269" fmla="*/ 6107126 h 6386516"/>
              <a:gd name="connsiteX270" fmla="*/ 1971368 w 6789110"/>
              <a:gd name="connsiteY270" fmla="*/ 6101351 h 6386516"/>
              <a:gd name="connsiteX271" fmla="*/ 1963669 w 6789110"/>
              <a:gd name="connsiteY271" fmla="*/ 6162945 h 6386516"/>
              <a:gd name="connsiteX272" fmla="*/ 1954044 w 6789110"/>
              <a:gd name="connsiteY272" fmla="*/ 6110976 h 6386516"/>
              <a:gd name="connsiteX273" fmla="*/ 1959818 w 6789110"/>
              <a:gd name="connsiteY273" fmla="*/ 6109051 h 6386516"/>
              <a:gd name="connsiteX274" fmla="*/ 1965593 w 6789110"/>
              <a:gd name="connsiteY274" fmla="*/ 6112901 h 6386516"/>
              <a:gd name="connsiteX275" fmla="*/ 1971368 w 6789110"/>
              <a:gd name="connsiteY275" fmla="*/ 6101351 h 6386516"/>
              <a:gd name="connsiteX276" fmla="*/ 1842406 w 6789110"/>
              <a:gd name="connsiteY276" fmla="*/ 6101351 h 6386516"/>
              <a:gd name="connsiteX277" fmla="*/ 1869353 w 6789110"/>
              <a:gd name="connsiteY277" fmla="*/ 6116750 h 6386516"/>
              <a:gd name="connsiteX278" fmla="*/ 1871279 w 6789110"/>
              <a:gd name="connsiteY278" fmla="*/ 6120600 h 6386516"/>
              <a:gd name="connsiteX279" fmla="*/ 1882828 w 6789110"/>
              <a:gd name="connsiteY279" fmla="*/ 6124449 h 6386516"/>
              <a:gd name="connsiteX280" fmla="*/ 1884752 w 6789110"/>
              <a:gd name="connsiteY280" fmla="*/ 6135998 h 6386516"/>
              <a:gd name="connsiteX281" fmla="*/ 1861654 w 6789110"/>
              <a:gd name="connsiteY281" fmla="*/ 6137923 h 6386516"/>
              <a:gd name="connsiteX282" fmla="*/ 1842406 w 6789110"/>
              <a:gd name="connsiteY282" fmla="*/ 6109051 h 6386516"/>
              <a:gd name="connsiteX283" fmla="*/ 1842406 w 6789110"/>
              <a:gd name="connsiteY283" fmla="*/ 6101351 h 6386516"/>
              <a:gd name="connsiteX284" fmla="*/ 1486321 w 6789110"/>
              <a:gd name="connsiteY284" fmla="*/ 6095576 h 6386516"/>
              <a:gd name="connsiteX285" fmla="*/ 1515194 w 6789110"/>
              <a:gd name="connsiteY285" fmla="*/ 6118675 h 6386516"/>
              <a:gd name="connsiteX286" fmla="*/ 1495945 w 6789110"/>
              <a:gd name="connsiteY286" fmla="*/ 6132148 h 6386516"/>
              <a:gd name="connsiteX287" fmla="*/ 1482471 w 6789110"/>
              <a:gd name="connsiteY287" fmla="*/ 6099427 h 6386516"/>
              <a:gd name="connsiteX288" fmla="*/ 1486321 w 6789110"/>
              <a:gd name="connsiteY288" fmla="*/ 6095576 h 6386516"/>
              <a:gd name="connsiteX289" fmla="*/ 1478622 w 6789110"/>
              <a:gd name="connsiteY289" fmla="*/ 6089803 h 6386516"/>
              <a:gd name="connsiteX290" fmla="*/ 1480547 w 6789110"/>
              <a:gd name="connsiteY290" fmla="*/ 6091728 h 6386516"/>
              <a:gd name="connsiteX291" fmla="*/ 1478622 w 6789110"/>
              <a:gd name="connsiteY291" fmla="*/ 6091728 h 6386516"/>
              <a:gd name="connsiteX292" fmla="*/ 1478622 w 6789110"/>
              <a:gd name="connsiteY292" fmla="*/ 6089803 h 6386516"/>
              <a:gd name="connsiteX293" fmla="*/ 1463224 w 6789110"/>
              <a:gd name="connsiteY293" fmla="*/ 6089803 h 6386516"/>
              <a:gd name="connsiteX294" fmla="*/ 1468998 w 6789110"/>
              <a:gd name="connsiteY294" fmla="*/ 6091728 h 6386516"/>
              <a:gd name="connsiteX295" fmla="*/ 1463224 w 6789110"/>
              <a:gd name="connsiteY295" fmla="*/ 6091728 h 6386516"/>
              <a:gd name="connsiteX296" fmla="*/ 1463224 w 6789110"/>
              <a:gd name="connsiteY296" fmla="*/ 6089803 h 6386516"/>
              <a:gd name="connsiteX297" fmla="*/ 1413179 w 6789110"/>
              <a:gd name="connsiteY297" fmla="*/ 6089802 h 6386516"/>
              <a:gd name="connsiteX298" fmla="*/ 1422803 w 6789110"/>
              <a:gd name="connsiteY298" fmla="*/ 6109050 h 6386516"/>
              <a:gd name="connsiteX299" fmla="*/ 1440127 w 6789110"/>
              <a:gd name="connsiteY299" fmla="*/ 6091727 h 6386516"/>
              <a:gd name="connsiteX300" fmla="*/ 1453599 w 6789110"/>
              <a:gd name="connsiteY300" fmla="*/ 6097501 h 6386516"/>
              <a:gd name="connsiteX301" fmla="*/ 1445900 w 6789110"/>
              <a:gd name="connsiteY301" fmla="*/ 6097501 h 6386516"/>
              <a:gd name="connsiteX302" fmla="*/ 1449751 w 6789110"/>
              <a:gd name="connsiteY302" fmla="*/ 6101351 h 6386516"/>
              <a:gd name="connsiteX303" fmla="*/ 1438202 w 6789110"/>
              <a:gd name="connsiteY303" fmla="*/ 6130223 h 6386516"/>
              <a:gd name="connsiteX304" fmla="*/ 1445900 w 6789110"/>
              <a:gd name="connsiteY304" fmla="*/ 6134072 h 6386516"/>
              <a:gd name="connsiteX305" fmla="*/ 1472848 w 6789110"/>
              <a:gd name="connsiteY305" fmla="*/ 6112900 h 6386516"/>
              <a:gd name="connsiteX306" fmla="*/ 1490171 w 6789110"/>
              <a:gd name="connsiteY306" fmla="*/ 6168718 h 6386516"/>
              <a:gd name="connsiteX307" fmla="*/ 1474772 w 6789110"/>
              <a:gd name="connsiteY307" fmla="*/ 6182191 h 6386516"/>
              <a:gd name="connsiteX308" fmla="*/ 1468998 w 6789110"/>
              <a:gd name="connsiteY308" fmla="*/ 6180267 h 6386516"/>
              <a:gd name="connsiteX309" fmla="*/ 1467073 w 6789110"/>
              <a:gd name="connsiteY309" fmla="*/ 6166793 h 6386516"/>
              <a:gd name="connsiteX310" fmla="*/ 1463223 w 6789110"/>
              <a:gd name="connsiteY310" fmla="*/ 6176417 h 6386516"/>
              <a:gd name="connsiteX311" fmla="*/ 1457450 w 6789110"/>
              <a:gd name="connsiteY311" fmla="*/ 6176417 h 6386516"/>
              <a:gd name="connsiteX312" fmla="*/ 1449751 w 6789110"/>
              <a:gd name="connsiteY312" fmla="*/ 6168718 h 6386516"/>
              <a:gd name="connsiteX313" fmla="*/ 1449751 w 6789110"/>
              <a:gd name="connsiteY313" fmla="*/ 6172568 h 6386516"/>
              <a:gd name="connsiteX314" fmla="*/ 1428577 w 6789110"/>
              <a:gd name="connsiteY314" fmla="*/ 6130223 h 6386516"/>
              <a:gd name="connsiteX315" fmla="*/ 1430503 w 6789110"/>
              <a:gd name="connsiteY315" fmla="*/ 6147546 h 6386516"/>
              <a:gd name="connsiteX316" fmla="*/ 1397782 w 6789110"/>
              <a:gd name="connsiteY316" fmla="*/ 6135997 h 6386516"/>
              <a:gd name="connsiteX317" fmla="*/ 1407405 w 6789110"/>
              <a:gd name="connsiteY317" fmla="*/ 6155245 h 6386516"/>
              <a:gd name="connsiteX318" fmla="*/ 1409329 w 6789110"/>
              <a:gd name="connsiteY318" fmla="*/ 6159094 h 6386516"/>
              <a:gd name="connsiteX319" fmla="*/ 1382382 w 6789110"/>
              <a:gd name="connsiteY319" fmla="*/ 6166793 h 6386516"/>
              <a:gd name="connsiteX320" fmla="*/ 1432428 w 6789110"/>
              <a:gd name="connsiteY320" fmla="*/ 6176417 h 6386516"/>
              <a:gd name="connsiteX321" fmla="*/ 1440127 w 6789110"/>
              <a:gd name="connsiteY321" fmla="*/ 6174492 h 6386516"/>
              <a:gd name="connsiteX322" fmla="*/ 1438202 w 6789110"/>
              <a:gd name="connsiteY322" fmla="*/ 6178342 h 6386516"/>
              <a:gd name="connsiteX323" fmla="*/ 1409329 w 6789110"/>
              <a:gd name="connsiteY323" fmla="*/ 6180267 h 6386516"/>
              <a:gd name="connsiteX324" fmla="*/ 1434352 w 6789110"/>
              <a:gd name="connsiteY324" fmla="*/ 6182191 h 6386516"/>
              <a:gd name="connsiteX325" fmla="*/ 1445900 w 6789110"/>
              <a:gd name="connsiteY325" fmla="*/ 6184116 h 6386516"/>
              <a:gd name="connsiteX326" fmla="*/ 1428577 w 6789110"/>
              <a:gd name="connsiteY326" fmla="*/ 6193740 h 6386516"/>
              <a:gd name="connsiteX327" fmla="*/ 1442051 w 6789110"/>
              <a:gd name="connsiteY327" fmla="*/ 6195665 h 6386516"/>
              <a:gd name="connsiteX328" fmla="*/ 1415104 w 6789110"/>
              <a:gd name="connsiteY328" fmla="*/ 6201439 h 6386516"/>
              <a:gd name="connsiteX329" fmla="*/ 1413179 w 6789110"/>
              <a:gd name="connsiteY329" fmla="*/ 6222612 h 6386516"/>
              <a:gd name="connsiteX330" fmla="*/ 1459374 w 6789110"/>
              <a:gd name="connsiteY330" fmla="*/ 6197590 h 6386516"/>
              <a:gd name="connsiteX331" fmla="*/ 1459374 w 6789110"/>
              <a:gd name="connsiteY331" fmla="*/ 6220687 h 6386516"/>
              <a:gd name="connsiteX332" fmla="*/ 1426653 w 6789110"/>
              <a:gd name="connsiteY332" fmla="*/ 6315002 h 6386516"/>
              <a:gd name="connsiteX333" fmla="*/ 1467073 w 6789110"/>
              <a:gd name="connsiteY333" fmla="*/ 6224537 h 6386516"/>
              <a:gd name="connsiteX334" fmla="*/ 1472848 w 6789110"/>
              <a:gd name="connsiteY334" fmla="*/ 6322701 h 6386516"/>
              <a:gd name="connsiteX335" fmla="*/ 1486322 w 6789110"/>
              <a:gd name="connsiteY335" fmla="*/ 6264958 h 6386516"/>
              <a:gd name="connsiteX336" fmla="*/ 1501719 w 6789110"/>
              <a:gd name="connsiteY336" fmla="*/ 6299604 h 6386516"/>
              <a:gd name="connsiteX337" fmla="*/ 1492095 w 6789110"/>
              <a:gd name="connsiteY337" fmla="*/ 6241860 h 6386516"/>
              <a:gd name="connsiteX338" fmla="*/ 1515194 w 6789110"/>
              <a:gd name="connsiteY338" fmla="*/ 6257259 h 6386516"/>
              <a:gd name="connsiteX339" fmla="*/ 1530592 w 6789110"/>
              <a:gd name="connsiteY339" fmla="*/ 6303453 h 6386516"/>
              <a:gd name="connsiteX340" fmla="*/ 1528667 w 6789110"/>
              <a:gd name="connsiteY340" fmla="*/ 6307303 h 6386516"/>
              <a:gd name="connsiteX341" fmla="*/ 1544066 w 6789110"/>
              <a:gd name="connsiteY341" fmla="*/ 6338099 h 6386516"/>
              <a:gd name="connsiteX342" fmla="*/ 1549840 w 6789110"/>
              <a:gd name="connsiteY342" fmla="*/ 6349648 h 6386516"/>
              <a:gd name="connsiteX343" fmla="*/ 1547915 w 6789110"/>
              <a:gd name="connsiteY343" fmla="*/ 6374670 h 6386516"/>
              <a:gd name="connsiteX344" fmla="*/ 1532518 w 6789110"/>
              <a:gd name="connsiteY344" fmla="*/ 6386219 h 6386516"/>
              <a:gd name="connsiteX345" fmla="*/ 1472848 w 6789110"/>
              <a:gd name="connsiteY345" fmla="*/ 6384294 h 6386516"/>
              <a:gd name="connsiteX346" fmla="*/ 1449751 w 6789110"/>
              <a:gd name="connsiteY346" fmla="*/ 6384294 h 6386516"/>
              <a:gd name="connsiteX347" fmla="*/ 1393931 w 6789110"/>
              <a:gd name="connsiteY347" fmla="*/ 6297679 h 6386516"/>
              <a:gd name="connsiteX348" fmla="*/ 1405480 w 6789110"/>
              <a:gd name="connsiteY348" fmla="*/ 6291905 h 6386516"/>
              <a:gd name="connsiteX349" fmla="*/ 1411254 w 6789110"/>
              <a:gd name="connsiteY349" fmla="*/ 6291905 h 6386516"/>
              <a:gd name="connsiteX350" fmla="*/ 1407405 w 6789110"/>
              <a:gd name="connsiteY350" fmla="*/ 6289980 h 6386516"/>
              <a:gd name="connsiteX351" fmla="*/ 1392006 w 6789110"/>
              <a:gd name="connsiteY351" fmla="*/ 6297679 h 6386516"/>
              <a:gd name="connsiteX352" fmla="*/ 1370834 w 6789110"/>
              <a:gd name="connsiteY352" fmla="*/ 6239935 h 6386516"/>
              <a:gd name="connsiteX353" fmla="*/ 1365059 w 6789110"/>
              <a:gd name="connsiteY353" fmla="*/ 6195665 h 6386516"/>
              <a:gd name="connsiteX354" fmla="*/ 1392006 w 6789110"/>
              <a:gd name="connsiteY354" fmla="*/ 6145621 h 6386516"/>
              <a:gd name="connsiteX355" fmla="*/ 1411254 w 6789110"/>
              <a:gd name="connsiteY355" fmla="*/ 6091727 h 6386516"/>
              <a:gd name="connsiteX356" fmla="*/ 1413179 w 6789110"/>
              <a:gd name="connsiteY356" fmla="*/ 6089802 h 6386516"/>
              <a:gd name="connsiteX357" fmla="*/ 1946346 w 6789110"/>
              <a:gd name="connsiteY357" fmla="*/ 6084029 h 6386516"/>
              <a:gd name="connsiteX358" fmla="*/ 1954045 w 6789110"/>
              <a:gd name="connsiteY358" fmla="*/ 6085953 h 6386516"/>
              <a:gd name="connsiteX359" fmla="*/ 1954045 w 6789110"/>
              <a:gd name="connsiteY359" fmla="*/ 6087878 h 6386516"/>
              <a:gd name="connsiteX360" fmla="*/ 1946346 w 6789110"/>
              <a:gd name="connsiteY360" fmla="*/ 6087878 h 6386516"/>
              <a:gd name="connsiteX361" fmla="*/ 1946346 w 6789110"/>
              <a:gd name="connsiteY361" fmla="*/ 6084029 h 6386516"/>
              <a:gd name="connsiteX362" fmla="*/ 1992541 w 6789110"/>
              <a:gd name="connsiteY362" fmla="*/ 6080179 h 6386516"/>
              <a:gd name="connsiteX363" fmla="*/ 1986767 w 6789110"/>
              <a:gd name="connsiteY363" fmla="*/ 6093653 h 6386516"/>
              <a:gd name="connsiteX364" fmla="*/ 1984842 w 6789110"/>
              <a:gd name="connsiteY364" fmla="*/ 6089803 h 6386516"/>
              <a:gd name="connsiteX365" fmla="*/ 1986767 w 6789110"/>
              <a:gd name="connsiteY365" fmla="*/ 6082104 h 6386516"/>
              <a:gd name="connsiteX366" fmla="*/ 1992541 w 6789110"/>
              <a:gd name="connsiteY366" fmla="*/ 6080179 h 6386516"/>
              <a:gd name="connsiteX367" fmla="*/ 1884752 w 6789110"/>
              <a:gd name="connsiteY367" fmla="*/ 6080178 h 6386516"/>
              <a:gd name="connsiteX368" fmla="*/ 1934797 w 6789110"/>
              <a:gd name="connsiteY368" fmla="*/ 6084028 h 6386516"/>
              <a:gd name="connsiteX369" fmla="*/ 1936722 w 6789110"/>
              <a:gd name="connsiteY369" fmla="*/ 6087878 h 6386516"/>
              <a:gd name="connsiteX370" fmla="*/ 1915548 w 6789110"/>
              <a:gd name="connsiteY370" fmla="*/ 6097502 h 6386516"/>
              <a:gd name="connsiteX371" fmla="*/ 1923248 w 6789110"/>
              <a:gd name="connsiteY371" fmla="*/ 6105201 h 6386516"/>
              <a:gd name="connsiteX372" fmla="*/ 1934797 w 6789110"/>
              <a:gd name="connsiteY372" fmla="*/ 6101352 h 6386516"/>
              <a:gd name="connsiteX373" fmla="*/ 1940572 w 6789110"/>
              <a:gd name="connsiteY373" fmla="*/ 6109051 h 6386516"/>
              <a:gd name="connsiteX374" fmla="*/ 1942497 w 6789110"/>
              <a:gd name="connsiteY374" fmla="*/ 6137923 h 6386516"/>
              <a:gd name="connsiteX375" fmla="*/ 1911699 w 6789110"/>
              <a:gd name="connsiteY375" fmla="*/ 6130224 h 6386516"/>
              <a:gd name="connsiteX376" fmla="*/ 1888602 w 6789110"/>
              <a:gd name="connsiteY376" fmla="*/ 6120600 h 6386516"/>
              <a:gd name="connsiteX377" fmla="*/ 1884752 w 6789110"/>
              <a:gd name="connsiteY377" fmla="*/ 6080178 h 6386516"/>
              <a:gd name="connsiteX378" fmla="*/ 1422803 w 6789110"/>
              <a:gd name="connsiteY378" fmla="*/ 6074405 h 6386516"/>
              <a:gd name="connsiteX379" fmla="*/ 1426653 w 6789110"/>
              <a:gd name="connsiteY379" fmla="*/ 6076329 h 6386516"/>
              <a:gd name="connsiteX380" fmla="*/ 1417028 w 6789110"/>
              <a:gd name="connsiteY380" fmla="*/ 6084029 h 6386516"/>
              <a:gd name="connsiteX381" fmla="*/ 1422803 w 6789110"/>
              <a:gd name="connsiteY381" fmla="*/ 6074405 h 6386516"/>
              <a:gd name="connsiteX382" fmla="*/ 2007939 w 6789110"/>
              <a:gd name="connsiteY382" fmla="*/ 6074404 h 6386516"/>
              <a:gd name="connsiteX383" fmla="*/ 2009863 w 6789110"/>
              <a:gd name="connsiteY383" fmla="*/ 6074404 h 6386516"/>
              <a:gd name="connsiteX384" fmla="*/ 2013713 w 6789110"/>
              <a:gd name="connsiteY384" fmla="*/ 6078254 h 6386516"/>
              <a:gd name="connsiteX385" fmla="*/ 2015638 w 6789110"/>
              <a:gd name="connsiteY385" fmla="*/ 6091728 h 6386516"/>
              <a:gd name="connsiteX386" fmla="*/ 2006013 w 6789110"/>
              <a:gd name="connsiteY386" fmla="*/ 6107126 h 6386516"/>
              <a:gd name="connsiteX387" fmla="*/ 1998314 w 6789110"/>
              <a:gd name="connsiteY387" fmla="*/ 6103277 h 6386516"/>
              <a:gd name="connsiteX388" fmla="*/ 2007939 w 6789110"/>
              <a:gd name="connsiteY388" fmla="*/ 6074404 h 6386516"/>
              <a:gd name="connsiteX389" fmla="*/ 1844331 w 6789110"/>
              <a:gd name="connsiteY389" fmla="*/ 6072479 h 6386516"/>
              <a:gd name="connsiteX390" fmla="*/ 1873204 w 6789110"/>
              <a:gd name="connsiteY390" fmla="*/ 6074405 h 6386516"/>
              <a:gd name="connsiteX391" fmla="*/ 1878978 w 6789110"/>
              <a:gd name="connsiteY391" fmla="*/ 6076329 h 6386516"/>
              <a:gd name="connsiteX392" fmla="*/ 1878978 w 6789110"/>
              <a:gd name="connsiteY392" fmla="*/ 6082104 h 6386516"/>
              <a:gd name="connsiteX393" fmla="*/ 1873204 w 6789110"/>
              <a:gd name="connsiteY393" fmla="*/ 6087878 h 6386516"/>
              <a:gd name="connsiteX394" fmla="*/ 1865504 w 6789110"/>
              <a:gd name="connsiteY394" fmla="*/ 6080179 h 6386516"/>
              <a:gd name="connsiteX395" fmla="*/ 1863579 w 6789110"/>
              <a:gd name="connsiteY395" fmla="*/ 6085953 h 6386516"/>
              <a:gd name="connsiteX396" fmla="*/ 1853955 w 6789110"/>
              <a:gd name="connsiteY396" fmla="*/ 6095577 h 6386516"/>
              <a:gd name="connsiteX397" fmla="*/ 1871278 w 6789110"/>
              <a:gd name="connsiteY397" fmla="*/ 6105201 h 6386516"/>
              <a:gd name="connsiteX398" fmla="*/ 1863579 w 6789110"/>
              <a:gd name="connsiteY398" fmla="*/ 6105201 h 6386516"/>
              <a:gd name="connsiteX399" fmla="*/ 1844331 w 6789110"/>
              <a:gd name="connsiteY399" fmla="*/ 6093653 h 6386516"/>
              <a:gd name="connsiteX400" fmla="*/ 1844331 w 6789110"/>
              <a:gd name="connsiteY400" fmla="*/ 6072479 h 6386516"/>
              <a:gd name="connsiteX401" fmla="*/ 1522893 w 6789110"/>
              <a:gd name="connsiteY401" fmla="*/ 6064781 h 6386516"/>
              <a:gd name="connsiteX402" fmla="*/ 1528667 w 6789110"/>
              <a:gd name="connsiteY402" fmla="*/ 6080179 h 6386516"/>
              <a:gd name="connsiteX403" fmla="*/ 1520968 w 6789110"/>
              <a:gd name="connsiteY403" fmla="*/ 6074405 h 6386516"/>
              <a:gd name="connsiteX404" fmla="*/ 1522893 w 6789110"/>
              <a:gd name="connsiteY404" fmla="*/ 6064781 h 6386516"/>
              <a:gd name="connsiteX405" fmla="*/ 1428578 w 6789110"/>
              <a:gd name="connsiteY405" fmla="*/ 6064781 h 6386516"/>
              <a:gd name="connsiteX406" fmla="*/ 1432427 w 6789110"/>
              <a:gd name="connsiteY406" fmla="*/ 6070555 h 6386516"/>
              <a:gd name="connsiteX407" fmla="*/ 1424728 w 6789110"/>
              <a:gd name="connsiteY407" fmla="*/ 6068630 h 6386516"/>
              <a:gd name="connsiteX408" fmla="*/ 1428578 w 6789110"/>
              <a:gd name="connsiteY408" fmla="*/ 6064781 h 6386516"/>
              <a:gd name="connsiteX409" fmla="*/ 1366984 w 6789110"/>
              <a:gd name="connsiteY409" fmla="*/ 6064780 h 6386516"/>
              <a:gd name="connsiteX410" fmla="*/ 1395857 w 6789110"/>
              <a:gd name="connsiteY410" fmla="*/ 6068629 h 6386516"/>
              <a:gd name="connsiteX411" fmla="*/ 1390083 w 6789110"/>
              <a:gd name="connsiteY411" fmla="*/ 6078253 h 6386516"/>
              <a:gd name="connsiteX412" fmla="*/ 1382383 w 6789110"/>
              <a:gd name="connsiteY412" fmla="*/ 6074404 h 6386516"/>
              <a:gd name="connsiteX413" fmla="*/ 1380459 w 6789110"/>
              <a:gd name="connsiteY413" fmla="*/ 6105200 h 6386516"/>
              <a:gd name="connsiteX414" fmla="*/ 1380459 w 6789110"/>
              <a:gd name="connsiteY414" fmla="*/ 6112900 h 6386516"/>
              <a:gd name="connsiteX415" fmla="*/ 1357360 w 6789110"/>
              <a:gd name="connsiteY415" fmla="*/ 6168718 h 6386516"/>
              <a:gd name="connsiteX416" fmla="*/ 1351586 w 6789110"/>
              <a:gd name="connsiteY416" fmla="*/ 6139847 h 6386516"/>
              <a:gd name="connsiteX417" fmla="*/ 1359286 w 6789110"/>
              <a:gd name="connsiteY417" fmla="*/ 6093652 h 6386516"/>
              <a:gd name="connsiteX418" fmla="*/ 1366984 w 6789110"/>
              <a:gd name="connsiteY418" fmla="*/ 6064780 h 6386516"/>
              <a:gd name="connsiteX419" fmla="*/ 1977142 w 6789110"/>
              <a:gd name="connsiteY419" fmla="*/ 6055157 h 6386516"/>
              <a:gd name="connsiteX420" fmla="*/ 1977142 w 6789110"/>
              <a:gd name="connsiteY420" fmla="*/ 6064781 h 6386516"/>
              <a:gd name="connsiteX421" fmla="*/ 1944420 w 6789110"/>
              <a:gd name="connsiteY421" fmla="*/ 6064781 h 6386516"/>
              <a:gd name="connsiteX422" fmla="*/ 1977142 w 6789110"/>
              <a:gd name="connsiteY422" fmla="*/ 6055157 h 6386516"/>
              <a:gd name="connsiteX423" fmla="*/ 1877054 w 6789110"/>
              <a:gd name="connsiteY423" fmla="*/ 6049382 h 6386516"/>
              <a:gd name="connsiteX424" fmla="*/ 1877054 w 6789110"/>
              <a:gd name="connsiteY424" fmla="*/ 6055157 h 6386516"/>
              <a:gd name="connsiteX425" fmla="*/ 1867429 w 6789110"/>
              <a:gd name="connsiteY425" fmla="*/ 6051307 h 6386516"/>
              <a:gd name="connsiteX426" fmla="*/ 1877054 w 6789110"/>
              <a:gd name="connsiteY426" fmla="*/ 6049382 h 6386516"/>
              <a:gd name="connsiteX427" fmla="*/ 1488245 w 6789110"/>
              <a:gd name="connsiteY427" fmla="*/ 6035908 h 6386516"/>
              <a:gd name="connsiteX428" fmla="*/ 1522893 w 6789110"/>
              <a:gd name="connsiteY428" fmla="*/ 6053232 h 6386516"/>
              <a:gd name="connsiteX429" fmla="*/ 1519043 w 6789110"/>
              <a:gd name="connsiteY429" fmla="*/ 6072480 h 6386516"/>
              <a:gd name="connsiteX430" fmla="*/ 1501719 w 6789110"/>
              <a:gd name="connsiteY430" fmla="*/ 6064781 h 6386516"/>
              <a:gd name="connsiteX431" fmla="*/ 1497869 w 6789110"/>
              <a:gd name="connsiteY431" fmla="*/ 6055157 h 6386516"/>
              <a:gd name="connsiteX432" fmla="*/ 1490171 w 6789110"/>
              <a:gd name="connsiteY432" fmla="*/ 6057081 h 6386516"/>
              <a:gd name="connsiteX433" fmla="*/ 1494020 w 6789110"/>
              <a:gd name="connsiteY433" fmla="*/ 6051307 h 6386516"/>
              <a:gd name="connsiteX434" fmla="*/ 1482471 w 6789110"/>
              <a:gd name="connsiteY434" fmla="*/ 6045533 h 6386516"/>
              <a:gd name="connsiteX435" fmla="*/ 1488245 w 6789110"/>
              <a:gd name="connsiteY435" fmla="*/ 6035908 h 6386516"/>
              <a:gd name="connsiteX436" fmla="*/ 1465149 w 6789110"/>
              <a:gd name="connsiteY436" fmla="*/ 6030134 h 6386516"/>
              <a:gd name="connsiteX437" fmla="*/ 1476697 w 6789110"/>
              <a:gd name="connsiteY437" fmla="*/ 6047457 h 6386516"/>
              <a:gd name="connsiteX438" fmla="*/ 1472848 w 6789110"/>
              <a:gd name="connsiteY438" fmla="*/ 6051307 h 6386516"/>
              <a:gd name="connsiteX439" fmla="*/ 1467072 w 6789110"/>
              <a:gd name="connsiteY439" fmla="*/ 6049382 h 6386516"/>
              <a:gd name="connsiteX440" fmla="*/ 1461298 w 6789110"/>
              <a:gd name="connsiteY440" fmla="*/ 6043608 h 6386516"/>
              <a:gd name="connsiteX441" fmla="*/ 1465149 w 6789110"/>
              <a:gd name="connsiteY441" fmla="*/ 6030134 h 6386516"/>
              <a:gd name="connsiteX442" fmla="*/ 1499794 w 6789110"/>
              <a:gd name="connsiteY442" fmla="*/ 6028210 h 6386516"/>
              <a:gd name="connsiteX443" fmla="*/ 1503644 w 6789110"/>
              <a:gd name="connsiteY443" fmla="*/ 6041684 h 6386516"/>
              <a:gd name="connsiteX444" fmla="*/ 1490171 w 6789110"/>
              <a:gd name="connsiteY444" fmla="*/ 6035910 h 6386516"/>
              <a:gd name="connsiteX445" fmla="*/ 1499794 w 6789110"/>
              <a:gd name="connsiteY445" fmla="*/ 6028210 h 6386516"/>
              <a:gd name="connsiteX446" fmla="*/ 1384306 w 6789110"/>
              <a:gd name="connsiteY446" fmla="*/ 6026285 h 6386516"/>
              <a:gd name="connsiteX447" fmla="*/ 1388157 w 6789110"/>
              <a:gd name="connsiteY447" fmla="*/ 6032059 h 6386516"/>
              <a:gd name="connsiteX448" fmla="*/ 1390081 w 6789110"/>
              <a:gd name="connsiteY448" fmla="*/ 6035909 h 6386516"/>
              <a:gd name="connsiteX449" fmla="*/ 1380458 w 6789110"/>
              <a:gd name="connsiteY449" fmla="*/ 6032059 h 6386516"/>
              <a:gd name="connsiteX450" fmla="*/ 1380458 w 6789110"/>
              <a:gd name="connsiteY450" fmla="*/ 6030134 h 6386516"/>
              <a:gd name="connsiteX451" fmla="*/ 1384306 w 6789110"/>
              <a:gd name="connsiteY451" fmla="*/ 6026285 h 6386516"/>
              <a:gd name="connsiteX452" fmla="*/ 1944420 w 6789110"/>
              <a:gd name="connsiteY452" fmla="*/ 6024360 h 6386516"/>
              <a:gd name="connsiteX453" fmla="*/ 1975217 w 6789110"/>
              <a:gd name="connsiteY453" fmla="*/ 6030134 h 6386516"/>
              <a:gd name="connsiteX454" fmla="*/ 1975217 w 6789110"/>
              <a:gd name="connsiteY454" fmla="*/ 6033984 h 6386516"/>
              <a:gd name="connsiteX455" fmla="*/ 1942495 w 6789110"/>
              <a:gd name="connsiteY455" fmla="*/ 6051307 h 6386516"/>
              <a:gd name="connsiteX456" fmla="*/ 1942495 w 6789110"/>
              <a:gd name="connsiteY456" fmla="*/ 6035909 h 6386516"/>
              <a:gd name="connsiteX457" fmla="*/ 1946345 w 6789110"/>
              <a:gd name="connsiteY457" fmla="*/ 6032059 h 6386516"/>
              <a:gd name="connsiteX458" fmla="*/ 1944420 w 6789110"/>
              <a:gd name="connsiteY458" fmla="*/ 6024360 h 6386516"/>
              <a:gd name="connsiteX459" fmla="*/ 1461299 w 6789110"/>
              <a:gd name="connsiteY459" fmla="*/ 6022435 h 6386516"/>
              <a:gd name="connsiteX460" fmla="*/ 1461299 w 6789110"/>
              <a:gd name="connsiteY460" fmla="*/ 6024360 h 6386516"/>
              <a:gd name="connsiteX461" fmla="*/ 1457450 w 6789110"/>
              <a:gd name="connsiteY461" fmla="*/ 6024360 h 6386516"/>
              <a:gd name="connsiteX462" fmla="*/ 1538291 w 6789110"/>
              <a:gd name="connsiteY462" fmla="*/ 6020511 h 6386516"/>
              <a:gd name="connsiteX463" fmla="*/ 1542140 w 6789110"/>
              <a:gd name="connsiteY463" fmla="*/ 6032060 h 6386516"/>
              <a:gd name="connsiteX464" fmla="*/ 1536366 w 6789110"/>
              <a:gd name="connsiteY464" fmla="*/ 6032060 h 6386516"/>
              <a:gd name="connsiteX465" fmla="*/ 1538291 w 6789110"/>
              <a:gd name="connsiteY465" fmla="*/ 6020511 h 6386516"/>
              <a:gd name="connsiteX466" fmla="*/ 1413179 w 6789110"/>
              <a:gd name="connsiteY466" fmla="*/ 6016661 h 6386516"/>
              <a:gd name="connsiteX467" fmla="*/ 1413179 w 6789110"/>
              <a:gd name="connsiteY467" fmla="*/ 6022435 h 6386516"/>
              <a:gd name="connsiteX468" fmla="*/ 1409330 w 6789110"/>
              <a:gd name="connsiteY468" fmla="*/ 6018585 h 6386516"/>
              <a:gd name="connsiteX469" fmla="*/ 1413179 w 6789110"/>
              <a:gd name="connsiteY469" fmla="*/ 6016661 h 6386516"/>
              <a:gd name="connsiteX470" fmla="*/ 1863581 w 6789110"/>
              <a:gd name="connsiteY470" fmla="*/ 6005111 h 6386516"/>
              <a:gd name="connsiteX471" fmla="*/ 1873204 w 6789110"/>
              <a:gd name="connsiteY471" fmla="*/ 6014736 h 6386516"/>
              <a:gd name="connsiteX472" fmla="*/ 1875129 w 6789110"/>
              <a:gd name="connsiteY472" fmla="*/ 6033984 h 6386516"/>
              <a:gd name="connsiteX473" fmla="*/ 1853955 w 6789110"/>
              <a:gd name="connsiteY473" fmla="*/ 6037833 h 6386516"/>
              <a:gd name="connsiteX474" fmla="*/ 1848181 w 6789110"/>
              <a:gd name="connsiteY474" fmla="*/ 6041683 h 6386516"/>
              <a:gd name="connsiteX475" fmla="*/ 1852031 w 6789110"/>
              <a:gd name="connsiteY475" fmla="*/ 6012811 h 6386516"/>
              <a:gd name="connsiteX476" fmla="*/ 1863581 w 6789110"/>
              <a:gd name="connsiteY476" fmla="*/ 6005111 h 6386516"/>
              <a:gd name="connsiteX477" fmla="*/ 2002164 w 6789110"/>
              <a:gd name="connsiteY477" fmla="*/ 5997413 h 6386516"/>
              <a:gd name="connsiteX478" fmla="*/ 2004089 w 6789110"/>
              <a:gd name="connsiteY478" fmla="*/ 5999337 h 6386516"/>
              <a:gd name="connsiteX479" fmla="*/ 2002164 w 6789110"/>
              <a:gd name="connsiteY479" fmla="*/ 6016661 h 6386516"/>
              <a:gd name="connsiteX480" fmla="*/ 1994466 w 6789110"/>
              <a:gd name="connsiteY480" fmla="*/ 6014736 h 6386516"/>
              <a:gd name="connsiteX481" fmla="*/ 2000239 w 6789110"/>
              <a:gd name="connsiteY481" fmla="*/ 6001262 h 6386516"/>
              <a:gd name="connsiteX482" fmla="*/ 1998314 w 6789110"/>
              <a:gd name="connsiteY482" fmla="*/ 5999337 h 6386516"/>
              <a:gd name="connsiteX483" fmla="*/ 2002164 w 6789110"/>
              <a:gd name="connsiteY483" fmla="*/ 5997413 h 6386516"/>
              <a:gd name="connsiteX484" fmla="*/ 1875128 w 6789110"/>
              <a:gd name="connsiteY484" fmla="*/ 5995489 h 6386516"/>
              <a:gd name="connsiteX485" fmla="*/ 1873203 w 6789110"/>
              <a:gd name="connsiteY485" fmla="*/ 6007038 h 6386516"/>
              <a:gd name="connsiteX486" fmla="*/ 1865504 w 6789110"/>
              <a:gd name="connsiteY486" fmla="*/ 6005113 h 6386516"/>
              <a:gd name="connsiteX487" fmla="*/ 1875128 w 6789110"/>
              <a:gd name="connsiteY487" fmla="*/ 5995489 h 6386516"/>
              <a:gd name="connsiteX488" fmla="*/ 1451674 w 6789110"/>
              <a:gd name="connsiteY488" fmla="*/ 5995489 h 6386516"/>
              <a:gd name="connsiteX489" fmla="*/ 1455525 w 6789110"/>
              <a:gd name="connsiteY489" fmla="*/ 6010887 h 6386516"/>
              <a:gd name="connsiteX490" fmla="*/ 1447826 w 6789110"/>
              <a:gd name="connsiteY490" fmla="*/ 6012812 h 6386516"/>
              <a:gd name="connsiteX491" fmla="*/ 1445900 w 6789110"/>
              <a:gd name="connsiteY491" fmla="*/ 6007038 h 6386516"/>
              <a:gd name="connsiteX492" fmla="*/ 1451674 w 6789110"/>
              <a:gd name="connsiteY492" fmla="*/ 5995489 h 6386516"/>
              <a:gd name="connsiteX493" fmla="*/ 1501719 w 6789110"/>
              <a:gd name="connsiteY493" fmla="*/ 5993564 h 6386516"/>
              <a:gd name="connsiteX494" fmla="*/ 1511344 w 6789110"/>
              <a:gd name="connsiteY494" fmla="*/ 6016662 h 6386516"/>
              <a:gd name="connsiteX495" fmla="*/ 1507495 w 6789110"/>
              <a:gd name="connsiteY495" fmla="*/ 6016662 h 6386516"/>
              <a:gd name="connsiteX496" fmla="*/ 1499794 w 6789110"/>
              <a:gd name="connsiteY496" fmla="*/ 6008962 h 6386516"/>
              <a:gd name="connsiteX497" fmla="*/ 1497870 w 6789110"/>
              <a:gd name="connsiteY497" fmla="*/ 6012812 h 6386516"/>
              <a:gd name="connsiteX498" fmla="*/ 1482471 w 6789110"/>
              <a:gd name="connsiteY498" fmla="*/ 6014737 h 6386516"/>
              <a:gd name="connsiteX499" fmla="*/ 1482471 w 6789110"/>
              <a:gd name="connsiteY499" fmla="*/ 6010887 h 6386516"/>
              <a:gd name="connsiteX500" fmla="*/ 1484396 w 6789110"/>
              <a:gd name="connsiteY500" fmla="*/ 6005113 h 6386516"/>
              <a:gd name="connsiteX501" fmla="*/ 1484396 w 6789110"/>
              <a:gd name="connsiteY501" fmla="*/ 6003188 h 6386516"/>
              <a:gd name="connsiteX502" fmla="*/ 1501719 w 6789110"/>
              <a:gd name="connsiteY502" fmla="*/ 5993564 h 6386516"/>
              <a:gd name="connsiteX503" fmla="*/ 1472848 w 6789110"/>
              <a:gd name="connsiteY503" fmla="*/ 5989714 h 6386516"/>
              <a:gd name="connsiteX504" fmla="*/ 1476698 w 6789110"/>
              <a:gd name="connsiteY504" fmla="*/ 5989714 h 6386516"/>
              <a:gd name="connsiteX505" fmla="*/ 1474773 w 6789110"/>
              <a:gd name="connsiteY505" fmla="*/ 5993564 h 6386516"/>
              <a:gd name="connsiteX506" fmla="*/ 1472848 w 6789110"/>
              <a:gd name="connsiteY506" fmla="*/ 5989714 h 6386516"/>
              <a:gd name="connsiteX507" fmla="*/ 1407404 w 6789110"/>
              <a:gd name="connsiteY507" fmla="*/ 5987789 h 6386516"/>
              <a:gd name="connsiteX508" fmla="*/ 1417029 w 6789110"/>
              <a:gd name="connsiteY508" fmla="*/ 5989713 h 6386516"/>
              <a:gd name="connsiteX509" fmla="*/ 1413180 w 6789110"/>
              <a:gd name="connsiteY509" fmla="*/ 6010886 h 6386516"/>
              <a:gd name="connsiteX510" fmla="*/ 1407404 w 6789110"/>
              <a:gd name="connsiteY510" fmla="*/ 5987789 h 6386516"/>
              <a:gd name="connsiteX511" fmla="*/ 1948270 w 6789110"/>
              <a:gd name="connsiteY511" fmla="*/ 5982014 h 6386516"/>
              <a:gd name="connsiteX512" fmla="*/ 1982918 w 6789110"/>
              <a:gd name="connsiteY512" fmla="*/ 5995489 h 6386516"/>
              <a:gd name="connsiteX513" fmla="*/ 1979068 w 6789110"/>
              <a:gd name="connsiteY513" fmla="*/ 6012812 h 6386516"/>
              <a:gd name="connsiteX514" fmla="*/ 1946345 w 6789110"/>
              <a:gd name="connsiteY514" fmla="*/ 6014737 h 6386516"/>
              <a:gd name="connsiteX515" fmla="*/ 1948270 w 6789110"/>
              <a:gd name="connsiteY515" fmla="*/ 5993564 h 6386516"/>
              <a:gd name="connsiteX516" fmla="*/ 1957895 w 6789110"/>
              <a:gd name="connsiteY516" fmla="*/ 5987790 h 6386516"/>
              <a:gd name="connsiteX517" fmla="*/ 1948270 w 6789110"/>
              <a:gd name="connsiteY517" fmla="*/ 5987790 h 6386516"/>
              <a:gd name="connsiteX518" fmla="*/ 1948270 w 6789110"/>
              <a:gd name="connsiteY518" fmla="*/ 5982014 h 6386516"/>
              <a:gd name="connsiteX519" fmla="*/ 1393931 w 6789110"/>
              <a:gd name="connsiteY519" fmla="*/ 5978166 h 6386516"/>
              <a:gd name="connsiteX520" fmla="*/ 1395856 w 6789110"/>
              <a:gd name="connsiteY520" fmla="*/ 5980090 h 6386516"/>
              <a:gd name="connsiteX521" fmla="*/ 1403556 w 6789110"/>
              <a:gd name="connsiteY521" fmla="*/ 5999338 h 6386516"/>
              <a:gd name="connsiteX522" fmla="*/ 1399705 w 6789110"/>
              <a:gd name="connsiteY522" fmla="*/ 5999338 h 6386516"/>
              <a:gd name="connsiteX523" fmla="*/ 1397782 w 6789110"/>
              <a:gd name="connsiteY523" fmla="*/ 6003188 h 6386516"/>
              <a:gd name="connsiteX524" fmla="*/ 1393931 w 6789110"/>
              <a:gd name="connsiteY524" fmla="*/ 5989714 h 6386516"/>
              <a:gd name="connsiteX525" fmla="*/ 1393931 w 6789110"/>
              <a:gd name="connsiteY525" fmla="*/ 5978166 h 6386516"/>
              <a:gd name="connsiteX526" fmla="*/ 1875129 w 6789110"/>
              <a:gd name="connsiteY526" fmla="*/ 5972391 h 6386516"/>
              <a:gd name="connsiteX527" fmla="*/ 1875129 w 6789110"/>
              <a:gd name="connsiteY527" fmla="*/ 5978166 h 6386516"/>
              <a:gd name="connsiteX528" fmla="*/ 1853955 w 6789110"/>
              <a:gd name="connsiteY528" fmla="*/ 5997414 h 6386516"/>
              <a:gd name="connsiteX529" fmla="*/ 1850106 w 6789110"/>
              <a:gd name="connsiteY529" fmla="*/ 5976241 h 6386516"/>
              <a:gd name="connsiteX530" fmla="*/ 1875129 w 6789110"/>
              <a:gd name="connsiteY530" fmla="*/ 5972391 h 6386516"/>
              <a:gd name="connsiteX531" fmla="*/ 1927098 w 6789110"/>
              <a:gd name="connsiteY531" fmla="*/ 5968541 h 6386516"/>
              <a:gd name="connsiteX532" fmla="*/ 1936722 w 6789110"/>
              <a:gd name="connsiteY532" fmla="*/ 5976240 h 6386516"/>
              <a:gd name="connsiteX533" fmla="*/ 1934797 w 6789110"/>
              <a:gd name="connsiteY533" fmla="*/ 6018585 h 6386516"/>
              <a:gd name="connsiteX534" fmla="*/ 1929022 w 6789110"/>
              <a:gd name="connsiteY534" fmla="*/ 6022434 h 6386516"/>
              <a:gd name="connsiteX535" fmla="*/ 1932872 w 6789110"/>
              <a:gd name="connsiteY535" fmla="*/ 6028208 h 6386516"/>
              <a:gd name="connsiteX536" fmla="*/ 1932872 w 6789110"/>
              <a:gd name="connsiteY536" fmla="*/ 6055156 h 6386516"/>
              <a:gd name="connsiteX537" fmla="*/ 1917473 w 6789110"/>
              <a:gd name="connsiteY537" fmla="*/ 6066704 h 6386516"/>
              <a:gd name="connsiteX538" fmla="*/ 1886676 w 6789110"/>
              <a:gd name="connsiteY538" fmla="*/ 6055156 h 6386516"/>
              <a:gd name="connsiteX539" fmla="*/ 1886676 w 6789110"/>
              <a:gd name="connsiteY539" fmla="*/ 6049381 h 6386516"/>
              <a:gd name="connsiteX540" fmla="*/ 1882826 w 6789110"/>
              <a:gd name="connsiteY540" fmla="*/ 6045532 h 6386516"/>
              <a:gd name="connsiteX541" fmla="*/ 1923248 w 6789110"/>
              <a:gd name="connsiteY541" fmla="*/ 6003186 h 6386516"/>
              <a:gd name="connsiteX542" fmla="*/ 1880902 w 6789110"/>
              <a:gd name="connsiteY542" fmla="*/ 6032058 h 6386516"/>
              <a:gd name="connsiteX543" fmla="*/ 1878977 w 6789110"/>
              <a:gd name="connsiteY543" fmla="*/ 6014735 h 6386516"/>
              <a:gd name="connsiteX544" fmla="*/ 1880902 w 6789110"/>
              <a:gd name="connsiteY544" fmla="*/ 5989713 h 6386516"/>
              <a:gd name="connsiteX545" fmla="*/ 1927098 w 6789110"/>
              <a:gd name="connsiteY545" fmla="*/ 5968541 h 6386516"/>
              <a:gd name="connsiteX546" fmla="*/ 1982916 w 6789110"/>
              <a:gd name="connsiteY546" fmla="*/ 5964692 h 6386516"/>
              <a:gd name="connsiteX547" fmla="*/ 1988692 w 6789110"/>
              <a:gd name="connsiteY547" fmla="*/ 5983940 h 6386516"/>
              <a:gd name="connsiteX548" fmla="*/ 1952119 w 6789110"/>
              <a:gd name="connsiteY548" fmla="*/ 5970466 h 6386516"/>
              <a:gd name="connsiteX549" fmla="*/ 1963669 w 6789110"/>
              <a:gd name="connsiteY549" fmla="*/ 5966617 h 6386516"/>
              <a:gd name="connsiteX550" fmla="*/ 1982916 w 6789110"/>
              <a:gd name="connsiteY550" fmla="*/ 5964692 h 6386516"/>
              <a:gd name="connsiteX551" fmla="*/ 1519042 w 6789110"/>
              <a:gd name="connsiteY551" fmla="*/ 5962766 h 6386516"/>
              <a:gd name="connsiteX552" fmla="*/ 1528667 w 6789110"/>
              <a:gd name="connsiteY552" fmla="*/ 5991639 h 6386516"/>
              <a:gd name="connsiteX553" fmla="*/ 1520968 w 6789110"/>
              <a:gd name="connsiteY553" fmla="*/ 6008962 h 6386516"/>
              <a:gd name="connsiteX554" fmla="*/ 1519042 w 6789110"/>
              <a:gd name="connsiteY554" fmla="*/ 6007037 h 6386516"/>
              <a:gd name="connsiteX555" fmla="*/ 1515194 w 6789110"/>
              <a:gd name="connsiteY555" fmla="*/ 5968542 h 6386516"/>
              <a:gd name="connsiteX556" fmla="*/ 1511343 w 6789110"/>
              <a:gd name="connsiteY556" fmla="*/ 5966617 h 6386516"/>
              <a:gd name="connsiteX557" fmla="*/ 1519042 w 6789110"/>
              <a:gd name="connsiteY557" fmla="*/ 5962766 h 6386516"/>
              <a:gd name="connsiteX558" fmla="*/ 1486322 w 6789110"/>
              <a:gd name="connsiteY558" fmla="*/ 5956992 h 6386516"/>
              <a:gd name="connsiteX559" fmla="*/ 1494021 w 6789110"/>
              <a:gd name="connsiteY559" fmla="*/ 5970466 h 6386516"/>
              <a:gd name="connsiteX560" fmla="*/ 1490171 w 6789110"/>
              <a:gd name="connsiteY560" fmla="*/ 5972391 h 6386516"/>
              <a:gd name="connsiteX561" fmla="*/ 1490171 w 6789110"/>
              <a:gd name="connsiteY561" fmla="*/ 5970466 h 6386516"/>
              <a:gd name="connsiteX562" fmla="*/ 1476697 w 6789110"/>
              <a:gd name="connsiteY562" fmla="*/ 5983940 h 6386516"/>
              <a:gd name="connsiteX563" fmla="*/ 1470923 w 6789110"/>
              <a:gd name="connsiteY563" fmla="*/ 5985865 h 6386516"/>
              <a:gd name="connsiteX564" fmla="*/ 1467073 w 6789110"/>
              <a:gd name="connsiteY564" fmla="*/ 5974316 h 6386516"/>
              <a:gd name="connsiteX565" fmla="*/ 1470923 w 6789110"/>
              <a:gd name="connsiteY565" fmla="*/ 5960842 h 6386516"/>
              <a:gd name="connsiteX566" fmla="*/ 1486322 w 6789110"/>
              <a:gd name="connsiteY566" fmla="*/ 5956992 h 6386516"/>
              <a:gd name="connsiteX567" fmla="*/ 1499795 w 6789110"/>
              <a:gd name="connsiteY567" fmla="*/ 5953143 h 6386516"/>
              <a:gd name="connsiteX568" fmla="*/ 1505569 w 6789110"/>
              <a:gd name="connsiteY568" fmla="*/ 5955068 h 6386516"/>
              <a:gd name="connsiteX569" fmla="*/ 1501721 w 6789110"/>
              <a:gd name="connsiteY569" fmla="*/ 5964692 h 6386516"/>
              <a:gd name="connsiteX570" fmla="*/ 1499795 w 6789110"/>
              <a:gd name="connsiteY570" fmla="*/ 5953143 h 6386516"/>
              <a:gd name="connsiteX571" fmla="*/ 1515194 w 6789110"/>
              <a:gd name="connsiteY571" fmla="*/ 5947369 h 6386516"/>
              <a:gd name="connsiteX572" fmla="*/ 1517118 w 6789110"/>
              <a:gd name="connsiteY572" fmla="*/ 5951218 h 6386516"/>
              <a:gd name="connsiteX573" fmla="*/ 1513269 w 6789110"/>
              <a:gd name="connsiteY573" fmla="*/ 5956993 h 6386516"/>
              <a:gd name="connsiteX574" fmla="*/ 1515194 w 6789110"/>
              <a:gd name="connsiteY574" fmla="*/ 5947369 h 6386516"/>
              <a:gd name="connsiteX575" fmla="*/ 1411254 w 6789110"/>
              <a:gd name="connsiteY575" fmla="*/ 5943518 h 6386516"/>
              <a:gd name="connsiteX576" fmla="*/ 1422804 w 6789110"/>
              <a:gd name="connsiteY576" fmla="*/ 5968542 h 6386516"/>
              <a:gd name="connsiteX577" fmla="*/ 1418955 w 6789110"/>
              <a:gd name="connsiteY577" fmla="*/ 5976241 h 6386516"/>
              <a:gd name="connsiteX578" fmla="*/ 1409330 w 6789110"/>
              <a:gd name="connsiteY578" fmla="*/ 5949294 h 6386516"/>
              <a:gd name="connsiteX579" fmla="*/ 1405481 w 6789110"/>
              <a:gd name="connsiteY579" fmla="*/ 5949294 h 6386516"/>
              <a:gd name="connsiteX580" fmla="*/ 1411254 w 6789110"/>
              <a:gd name="connsiteY580" fmla="*/ 5943518 h 6386516"/>
              <a:gd name="connsiteX581" fmla="*/ 1332338 w 6789110"/>
              <a:gd name="connsiteY581" fmla="*/ 5943518 h 6386516"/>
              <a:gd name="connsiteX582" fmla="*/ 1357361 w 6789110"/>
              <a:gd name="connsiteY582" fmla="*/ 5964692 h 6386516"/>
              <a:gd name="connsiteX583" fmla="*/ 1365060 w 6789110"/>
              <a:gd name="connsiteY583" fmla="*/ 5978165 h 6386516"/>
              <a:gd name="connsiteX584" fmla="*/ 1332338 w 6789110"/>
              <a:gd name="connsiteY584" fmla="*/ 5943518 h 6386516"/>
              <a:gd name="connsiteX585" fmla="*/ 1996391 w 6789110"/>
              <a:gd name="connsiteY585" fmla="*/ 5939670 h 6386516"/>
              <a:gd name="connsiteX586" fmla="*/ 1996391 w 6789110"/>
              <a:gd name="connsiteY586" fmla="*/ 5943519 h 6386516"/>
              <a:gd name="connsiteX587" fmla="*/ 1992541 w 6789110"/>
              <a:gd name="connsiteY587" fmla="*/ 5941594 h 6386516"/>
              <a:gd name="connsiteX588" fmla="*/ 1996391 w 6789110"/>
              <a:gd name="connsiteY588" fmla="*/ 5939670 h 6386516"/>
              <a:gd name="connsiteX589" fmla="*/ 2009863 w 6789110"/>
              <a:gd name="connsiteY589" fmla="*/ 5933895 h 6386516"/>
              <a:gd name="connsiteX590" fmla="*/ 2007939 w 6789110"/>
              <a:gd name="connsiteY590" fmla="*/ 5949294 h 6386516"/>
              <a:gd name="connsiteX591" fmla="*/ 2007939 w 6789110"/>
              <a:gd name="connsiteY591" fmla="*/ 5953143 h 6386516"/>
              <a:gd name="connsiteX592" fmla="*/ 2004089 w 6789110"/>
              <a:gd name="connsiteY592" fmla="*/ 5953143 h 6386516"/>
              <a:gd name="connsiteX593" fmla="*/ 2000239 w 6789110"/>
              <a:gd name="connsiteY593" fmla="*/ 5947369 h 6386516"/>
              <a:gd name="connsiteX594" fmla="*/ 2002164 w 6789110"/>
              <a:gd name="connsiteY594" fmla="*/ 5935820 h 6386516"/>
              <a:gd name="connsiteX595" fmla="*/ 2009863 w 6789110"/>
              <a:gd name="connsiteY595" fmla="*/ 5933895 h 6386516"/>
              <a:gd name="connsiteX596" fmla="*/ 1936721 w 6789110"/>
              <a:gd name="connsiteY596" fmla="*/ 5930046 h 6386516"/>
              <a:gd name="connsiteX597" fmla="*/ 1936721 w 6789110"/>
              <a:gd name="connsiteY597" fmla="*/ 5941594 h 6386516"/>
              <a:gd name="connsiteX598" fmla="*/ 1925172 w 6789110"/>
              <a:gd name="connsiteY598" fmla="*/ 5947369 h 6386516"/>
              <a:gd name="connsiteX599" fmla="*/ 1936721 w 6789110"/>
              <a:gd name="connsiteY599" fmla="*/ 5930046 h 6386516"/>
              <a:gd name="connsiteX600" fmla="*/ 1480547 w 6789110"/>
              <a:gd name="connsiteY600" fmla="*/ 5922346 h 6386516"/>
              <a:gd name="connsiteX601" fmla="*/ 1488246 w 6789110"/>
              <a:gd name="connsiteY601" fmla="*/ 5947369 h 6386516"/>
              <a:gd name="connsiteX602" fmla="*/ 1480547 w 6789110"/>
              <a:gd name="connsiteY602" fmla="*/ 5922346 h 6386516"/>
              <a:gd name="connsiteX603" fmla="*/ 2002165 w 6789110"/>
              <a:gd name="connsiteY603" fmla="*/ 5906947 h 6386516"/>
              <a:gd name="connsiteX604" fmla="*/ 1998315 w 6789110"/>
              <a:gd name="connsiteY604" fmla="*/ 5930046 h 6386516"/>
              <a:gd name="connsiteX605" fmla="*/ 1988690 w 6789110"/>
              <a:gd name="connsiteY605" fmla="*/ 5931970 h 6386516"/>
              <a:gd name="connsiteX606" fmla="*/ 1969443 w 6789110"/>
              <a:gd name="connsiteY606" fmla="*/ 5937745 h 6386516"/>
              <a:gd name="connsiteX607" fmla="*/ 1957895 w 6789110"/>
              <a:gd name="connsiteY607" fmla="*/ 5922346 h 6386516"/>
              <a:gd name="connsiteX608" fmla="*/ 1955969 w 6789110"/>
              <a:gd name="connsiteY608" fmla="*/ 5937745 h 6386516"/>
              <a:gd name="connsiteX609" fmla="*/ 1946345 w 6789110"/>
              <a:gd name="connsiteY609" fmla="*/ 5933895 h 6386516"/>
              <a:gd name="connsiteX610" fmla="*/ 1948270 w 6789110"/>
              <a:gd name="connsiteY610" fmla="*/ 5922346 h 6386516"/>
              <a:gd name="connsiteX611" fmla="*/ 2002165 w 6789110"/>
              <a:gd name="connsiteY611" fmla="*/ 5906947 h 6386516"/>
              <a:gd name="connsiteX612" fmla="*/ 1484396 w 6789110"/>
              <a:gd name="connsiteY612" fmla="*/ 5905022 h 6386516"/>
              <a:gd name="connsiteX613" fmla="*/ 1499795 w 6789110"/>
              <a:gd name="connsiteY613" fmla="*/ 5910798 h 6386516"/>
              <a:gd name="connsiteX614" fmla="*/ 1507495 w 6789110"/>
              <a:gd name="connsiteY614" fmla="*/ 5933895 h 6386516"/>
              <a:gd name="connsiteX615" fmla="*/ 1505570 w 6789110"/>
              <a:gd name="connsiteY615" fmla="*/ 5935820 h 6386516"/>
              <a:gd name="connsiteX616" fmla="*/ 1509419 w 6789110"/>
              <a:gd name="connsiteY616" fmla="*/ 5939669 h 6386516"/>
              <a:gd name="connsiteX617" fmla="*/ 1505570 w 6789110"/>
              <a:gd name="connsiteY617" fmla="*/ 5951218 h 6386516"/>
              <a:gd name="connsiteX618" fmla="*/ 1497869 w 6789110"/>
              <a:gd name="connsiteY618" fmla="*/ 5945444 h 6386516"/>
              <a:gd name="connsiteX619" fmla="*/ 1503645 w 6789110"/>
              <a:gd name="connsiteY619" fmla="*/ 5953143 h 6386516"/>
              <a:gd name="connsiteX620" fmla="*/ 1497869 w 6789110"/>
              <a:gd name="connsiteY620" fmla="*/ 5951218 h 6386516"/>
              <a:gd name="connsiteX621" fmla="*/ 1495945 w 6789110"/>
              <a:gd name="connsiteY621" fmla="*/ 5939669 h 6386516"/>
              <a:gd name="connsiteX622" fmla="*/ 1490171 w 6789110"/>
              <a:gd name="connsiteY622" fmla="*/ 5924271 h 6386516"/>
              <a:gd name="connsiteX623" fmla="*/ 1484396 w 6789110"/>
              <a:gd name="connsiteY623" fmla="*/ 5905022 h 6386516"/>
              <a:gd name="connsiteX624" fmla="*/ 1442050 w 6789110"/>
              <a:gd name="connsiteY624" fmla="*/ 5903097 h 6386516"/>
              <a:gd name="connsiteX625" fmla="*/ 1447825 w 6789110"/>
              <a:gd name="connsiteY625" fmla="*/ 5906947 h 6386516"/>
              <a:gd name="connsiteX626" fmla="*/ 1459374 w 6789110"/>
              <a:gd name="connsiteY626" fmla="*/ 5924270 h 6386516"/>
              <a:gd name="connsiteX627" fmla="*/ 1436276 w 6789110"/>
              <a:gd name="connsiteY627" fmla="*/ 5922345 h 6386516"/>
              <a:gd name="connsiteX628" fmla="*/ 1467073 w 6789110"/>
              <a:gd name="connsiteY628" fmla="*/ 5931969 h 6386516"/>
              <a:gd name="connsiteX629" fmla="*/ 1474772 w 6789110"/>
              <a:gd name="connsiteY629" fmla="*/ 5945442 h 6386516"/>
              <a:gd name="connsiteX630" fmla="*/ 1455525 w 6789110"/>
              <a:gd name="connsiteY630" fmla="*/ 5947367 h 6386516"/>
              <a:gd name="connsiteX631" fmla="*/ 1445900 w 6789110"/>
              <a:gd name="connsiteY631" fmla="*/ 5939668 h 6386516"/>
              <a:gd name="connsiteX632" fmla="*/ 1438201 w 6789110"/>
              <a:gd name="connsiteY632" fmla="*/ 5983938 h 6386516"/>
              <a:gd name="connsiteX633" fmla="*/ 1430502 w 6789110"/>
              <a:gd name="connsiteY633" fmla="*/ 5966615 h 6386516"/>
              <a:gd name="connsiteX634" fmla="*/ 1430502 w 6789110"/>
              <a:gd name="connsiteY634" fmla="*/ 5958916 h 6386516"/>
              <a:gd name="connsiteX635" fmla="*/ 1432426 w 6789110"/>
              <a:gd name="connsiteY635" fmla="*/ 5953142 h 6386516"/>
              <a:gd name="connsiteX636" fmla="*/ 1428577 w 6789110"/>
              <a:gd name="connsiteY636" fmla="*/ 5951217 h 6386516"/>
              <a:gd name="connsiteX637" fmla="*/ 1424727 w 6789110"/>
              <a:gd name="connsiteY637" fmla="*/ 5955066 h 6386516"/>
              <a:gd name="connsiteX638" fmla="*/ 1415103 w 6789110"/>
              <a:gd name="connsiteY638" fmla="*/ 5935819 h 6386516"/>
              <a:gd name="connsiteX639" fmla="*/ 1442050 w 6789110"/>
              <a:gd name="connsiteY639" fmla="*/ 5903097 h 6386516"/>
              <a:gd name="connsiteX640" fmla="*/ 2518008 w 6789110"/>
              <a:gd name="connsiteY640" fmla="*/ 5899249 h 6386516"/>
              <a:gd name="connsiteX641" fmla="*/ 2521857 w 6789110"/>
              <a:gd name="connsiteY641" fmla="*/ 5906948 h 6386516"/>
              <a:gd name="connsiteX642" fmla="*/ 2504533 w 6789110"/>
              <a:gd name="connsiteY642" fmla="*/ 5924271 h 6386516"/>
              <a:gd name="connsiteX643" fmla="*/ 2489135 w 6789110"/>
              <a:gd name="connsiteY643" fmla="*/ 5916572 h 6386516"/>
              <a:gd name="connsiteX644" fmla="*/ 2491060 w 6789110"/>
              <a:gd name="connsiteY644" fmla="*/ 5906948 h 6386516"/>
              <a:gd name="connsiteX645" fmla="*/ 2498759 w 6789110"/>
              <a:gd name="connsiteY645" fmla="*/ 5905023 h 6386516"/>
              <a:gd name="connsiteX646" fmla="*/ 2506458 w 6789110"/>
              <a:gd name="connsiteY646" fmla="*/ 5906948 h 6386516"/>
              <a:gd name="connsiteX647" fmla="*/ 2506458 w 6789110"/>
              <a:gd name="connsiteY647" fmla="*/ 5903098 h 6386516"/>
              <a:gd name="connsiteX648" fmla="*/ 2518008 w 6789110"/>
              <a:gd name="connsiteY648" fmla="*/ 5899249 h 6386516"/>
              <a:gd name="connsiteX649" fmla="*/ 2019489 w 6789110"/>
              <a:gd name="connsiteY649" fmla="*/ 5899249 h 6386516"/>
              <a:gd name="connsiteX650" fmla="*/ 2021413 w 6789110"/>
              <a:gd name="connsiteY650" fmla="*/ 5903098 h 6386516"/>
              <a:gd name="connsiteX651" fmla="*/ 2025263 w 6789110"/>
              <a:gd name="connsiteY651" fmla="*/ 5906948 h 6386516"/>
              <a:gd name="connsiteX652" fmla="*/ 2013713 w 6789110"/>
              <a:gd name="connsiteY652" fmla="*/ 5924271 h 6386516"/>
              <a:gd name="connsiteX653" fmla="*/ 2004089 w 6789110"/>
              <a:gd name="connsiteY653" fmla="*/ 5926196 h 6386516"/>
              <a:gd name="connsiteX654" fmla="*/ 2019489 w 6789110"/>
              <a:gd name="connsiteY654" fmla="*/ 5899249 h 6386516"/>
              <a:gd name="connsiteX655" fmla="*/ 1936722 w 6789110"/>
              <a:gd name="connsiteY655" fmla="*/ 5899248 h 6386516"/>
              <a:gd name="connsiteX656" fmla="*/ 1936722 w 6789110"/>
              <a:gd name="connsiteY656" fmla="*/ 5920422 h 6386516"/>
              <a:gd name="connsiteX657" fmla="*/ 1886676 w 6789110"/>
              <a:gd name="connsiteY657" fmla="*/ 5941594 h 6386516"/>
              <a:gd name="connsiteX658" fmla="*/ 1936722 w 6789110"/>
              <a:gd name="connsiteY658" fmla="*/ 5899248 h 6386516"/>
              <a:gd name="connsiteX659" fmla="*/ 1334263 w 6789110"/>
              <a:gd name="connsiteY659" fmla="*/ 5899248 h 6386516"/>
              <a:gd name="connsiteX660" fmla="*/ 1359285 w 6789110"/>
              <a:gd name="connsiteY660" fmla="*/ 5947369 h 6386516"/>
              <a:gd name="connsiteX661" fmla="*/ 1353511 w 6789110"/>
              <a:gd name="connsiteY661" fmla="*/ 5941594 h 6386516"/>
              <a:gd name="connsiteX662" fmla="*/ 1353511 w 6789110"/>
              <a:gd name="connsiteY662" fmla="*/ 5947369 h 6386516"/>
              <a:gd name="connsiteX663" fmla="*/ 1330414 w 6789110"/>
              <a:gd name="connsiteY663" fmla="*/ 5935820 h 6386516"/>
              <a:gd name="connsiteX664" fmla="*/ 1326563 w 6789110"/>
              <a:gd name="connsiteY664" fmla="*/ 5924271 h 6386516"/>
              <a:gd name="connsiteX665" fmla="*/ 1330414 w 6789110"/>
              <a:gd name="connsiteY665" fmla="*/ 5918497 h 6386516"/>
              <a:gd name="connsiteX666" fmla="*/ 1336187 w 6789110"/>
              <a:gd name="connsiteY666" fmla="*/ 5910798 h 6386516"/>
              <a:gd name="connsiteX667" fmla="*/ 1332337 w 6789110"/>
              <a:gd name="connsiteY667" fmla="*/ 5908873 h 6386516"/>
              <a:gd name="connsiteX668" fmla="*/ 1334263 w 6789110"/>
              <a:gd name="connsiteY668" fmla="*/ 5899248 h 6386516"/>
              <a:gd name="connsiteX669" fmla="*/ 1584485 w 6789110"/>
              <a:gd name="connsiteY669" fmla="*/ 5895398 h 6386516"/>
              <a:gd name="connsiteX670" fmla="*/ 1584485 w 6789110"/>
              <a:gd name="connsiteY670" fmla="*/ 5899248 h 6386516"/>
              <a:gd name="connsiteX671" fmla="*/ 1559462 w 6789110"/>
              <a:gd name="connsiteY671" fmla="*/ 5955067 h 6386516"/>
              <a:gd name="connsiteX672" fmla="*/ 1553688 w 6789110"/>
              <a:gd name="connsiteY672" fmla="*/ 5908873 h 6386516"/>
              <a:gd name="connsiteX673" fmla="*/ 1584485 w 6789110"/>
              <a:gd name="connsiteY673" fmla="*/ 5895398 h 6386516"/>
              <a:gd name="connsiteX674" fmla="*/ 2052209 w 6789110"/>
              <a:gd name="connsiteY674" fmla="*/ 5893474 h 6386516"/>
              <a:gd name="connsiteX675" fmla="*/ 2054133 w 6789110"/>
              <a:gd name="connsiteY675" fmla="*/ 5893474 h 6386516"/>
              <a:gd name="connsiteX676" fmla="*/ 2056058 w 6789110"/>
              <a:gd name="connsiteY676" fmla="*/ 5899249 h 6386516"/>
              <a:gd name="connsiteX677" fmla="*/ 2061833 w 6789110"/>
              <a:gd name="connsiteY677" fmla="*/ 5901174 h 6386516"/>
              <a:gd name="connsiteX678" fmla="*/ 2056058 w 6789110"/>
              <a:gd name="connsiteY678" fmla="*/ 5903098 h 6386516"/>
              <a:gd name="connsiteX679" fmla="*/ 2059908 w 6789110"/>
              <a:gd name="connsiteY679" fmla="*/ 5906948 h 6386516"/>
              <a:gd name="connsiteX680" fmla="*/ 2048359 w 6789110"/>
              <a:gd name="connsiteY680" fmla="*/ 5908873 h 6386516"/>
              <a:gd name="connsiteX681" fmla="*/ 2048359 w 6789110"/>
              <a:gd name="connsiteY681" fmla="*/ 5906948 h 6386516"/>
              <a:gd name="connsiteX682" fmla="*/ 2052209 w 6789110"/>
              <a:gd name="connsiteY682" fmla="*/ 5893474 h 6386516"/>
              <a:gd name="connsiteX683" fmla="*/ 1453599 w 6789110"/>
              <a:gd name="connsiteY683" fmla="*/ 5889625 h 6386516"/>
              <a:gd name="connsiteX684" fmla="*/ 1467074 w 6789110"/>
              <a:gd name="connsiteY684" fmla="*/ 5903098 h 6386516"/>
              <a:gd name="connsiteX685" fmla="*/ 1468998 w 6789110"/>
              <a:gd name="connsiteY685" fmla="*/ 5908873 h 6386516"/>
              <a:gd name="connsiteX686" fmla="*/ 1463223 w 6789110"/>
              <a:gd name="connsiteY686" fmla="*/ 5906948 h 6386516"/>
              <a:gd name="connsiteX687" fmla="*/ 1463223 w 6789110"/>
              <a:gd name="connsiteY687" fmla="*/ 5910798 h 6386516"/>
              <a:gd name="connsiteX688" fmla="*/ 1453599 w 6789110"/>
              <a:gd name="connsiteY688" fmla="*/ 5889625 h 6386516"/>
              <a:gd name="connsiteX689" fmla="*/ 2006014 w 6789110"/>
              <a:gd name="connsiteY689" fmla="*/ 5887700 h 6386516"/>
              <a:gd name="connsiteX690" fmla="*/ 2011788 w 6789110"/>
              <a:gd name="connsiteY690" fmla="*/ 5887700 h 6386516"/>
              <a:gd name="connsiteX691" fmla="*/ 2013713 w 6789110"/>
              <a:gd name="connsiteY691" fmla="*/ 5897324 h 6386516"/>
              <a:gd name="connsiteX692" fmla="*/ 2007939 w 6789110"/>
              <a:gd name="connsiteY692" fmla="*/ 5899249 h 6386516"/>
              <a:gd name="connsiteX693" fmla="*/ 2006014 w 6789110"/>
              <a:gd name="connsiteY693" fmla="*/ 5887700 h 6386516"/>
              <a:gd name="connsiteX694" fmla="*/ 1318864 w 6789110"/>
              <a:gd name="connsiteY694" fmla="*/ 5887700 h 6386516"/>
              <a:gd name="connsiteX695" fmla="*/ 1330414 w 6789110"/>
              <a:gd name="connsiteY695" fmla="*/ 5891550 h 6386516"/>
              <a:gd name="connsiteX696" fmla="*/ 1330414 w 6789110"/>
              <a:gd name="connsiteY696" fmla="*/ 5897324 h 6386516"/>
              <a:gd name="connsiteX697" fmla="*/ 1326563 w 6789110"/>
              <a:gd name="connsiteY697" fmla="*/ 5910798 h 6386516"/>
              <a:gd name="connsiteX698" fmla="*/ 1322714 w 6789110"/>
              <a:gd name="connsiteY698" fmla="*/ 5897324 h 6386516"/>
              <a:gd name="connsiteX699" fmla="*/ 1318864 w 6789110"/>
              <a:gd name="connsiteY699" fmla="*/ 5887700 h 6386516"/>
              <a:gd name="connsiteX700" fmla="*/ 1392006 w 6789110"/>
              <a:gd name="connsiteY700" fmla="*/ 5887699 h 6386516"/>
              <a:gd name="connsiteX701" fmla="*/ 1401630 w 6789110"/>
              <a:gd name="connsiteY701" fmla="*/ 5912722 h 6386516"/>
              <a:gd name="connsiteX702" fmla="*/ 1399705 w 6789110"/>
              <a:gd name="connsiteY702" fmla="*/ 5918497 h 6386516"/>
              <a:gd name="connsiteX703" fmla="*/ 1411255 w 6789110"/>
              <a:gd name="connsiteY703" fmla="*/ 5937745 h 6386516"/>
              <a:gd name="connsiteX704" fmla="*/ 1403556 w 6789110"/>
              <a:gd name="connsiteY704" fmla="*/ 5945444 h 6386516"/>
              <a:gd name="connsiteX705" fmla="*/ 1382382 w 6789110"/>
              <a:gd name="connsiteY705" fmla="*/ 5928121 h 6386516"/>
              <a:gd name="connsiteX706" fmla="*/ 1392006 w 6789110"/>
              <a:gd name="connsiteY706" fmla="*/ 5887699 h 6386516"/>
              <a:gd name="connsiteX707" fmla="*/ 2000240 w 6789110"/>
              <a:gd name="connsiteY707" fmla="*/ 5885775 h 6386516"/>
              <a:gd name="connsiteX708" fmla="*/ 2002165 w 6789110"/>
              <a:gd name="connsiteY708" fmla="*/ 5899249 h 6386516"/>
              <a:gd name="connsiteX709" fmla="*/ 1946345 w 6789110"/>
              <a:gd name="connsiteY709" fmla="*/ 5912722 h 6386516"/>
              <a:gd name="connsiteX710" fmla="*/ 1944420 w 6789110"/>
              <a:gd name="connsiteY710" fmla="*/ 5895399 h 6386516"/>
              <a:gd name="connsiteX711" fmla="*/ 2000240 w 6789110"/>
              <a:gd name="connsiteY711" fmla="*/ 5885775 h 6386516"/>
              <a:gd name="connsiteX712" fmla="*/ 1478622 w 6789110"/>
              <a:gd name="connsiteY712" fmla="*/ 5885775 h 6386516"/>
              <a:gd name="connsiteX713" fmla="*/ 1484397 w 6789110"/>
              <a:gd name="connsiteY713" fmla="*/ 5891550 h 6386516"/>
              <a:gd name="connsiteX714" fmla="*/ 1480547 w 6789110"/>
              <a:gd name="connsiteY714" fmla="*/ 5893474 h 6386516"/>
              <a:gd name="connsiteX715" fmla="*/ 1478622 w 6789110"/>
              <a:gd name="connsiteY715" fmla="*/ 5885775 h 6386516"/>
              <a:gd name="connsiteX716" fmla="*/ 2063757 w 6789110"/>
              <a:gd name="connsiteY716" fmla="*/ 5880002 h 6386516"/>
              <a:gd name="connsiteX717" fmla="*/ 2063757 w 6789110"/>
              <a:gd name="connsiteY717" fmla="*/ 5883851 h 6386516"/>
              <a:gd name="connsiteX718" fmla="*/ 2061832 w 6789110"/>
              <a:gd name="connsiteY718" fmla="*/ 5883851 h 6386516"/>
              <a:gd name="connsiteX719" fmla="*/ 2063757 w 6789110"/>
              <a:gd name="connsiteY719" fmla="*/ 5880002 h 6386516"/>
              <a:gd name="connsiteX720" fmla="*/ 2000238 w 6789110"/>
              <a:gd name="connsiteY720" fmla="*/ 5854979 h 6386516"/>
              <a:gd name="connsiteX721" fmla="*/ 2000238 w 6789110"/>
              <a:gd name="connsiteY721" fmla="*/ 5866528 h 6386516"/>
              <a:gd name="connsiteX722" fmla="*/ 1986765 w 6789110"/>
              <a:gd name="connsiteY722" fmla="*/ 5862679 h 6386516"/>
              <a:gd name="connsiteX723" fmla="*/ 2000238 w 6789110"/>
              <a:gd name="connsiteY723" fmla="*/ 5854979 h 6386516"/>
              <a:gd name="connsiteX724" fmla="*/ 1405481 w 6789110"/>
              <a:gd name="connsiteY724" fmla="*/ 5851128 h 6386516"/>
              <a:gd name="connsiteX725" fmla="*/ 1417029 w 6789110"/>
              <a:gd name="connsiteY725" fmla="*/ 5868451 h 6386516"/>
              <a:gd name="connsiteX726" fmla="*/ 1415105 w 6789110"/>
              <a:gd name="connsiteY726" fmla="*/ 5868451 h 6386516"/>
              <a:gd name="connsiteX727" fmla="*/ 1409329 w 6789110"/>
              <a:gd name="connsiteY727" fmla="*/ 5874225 h 6386516"/>
              <a:gd name="connsiteX728" fmla="*/ 1420879 w 6789110"/>
              <a:gd name="connsiteY728" fmla="*/ 5885774 h 6386516"/>
              <a:gd name="connsiteX729" fmla="*/ 1415105 w 6789110"/>
              <a:gd name="connsiteY729" fmla="*/ 5885774 h 6386516"/>
              <a:gd name="connsiteX730" fmla="*/ 1417029 w 6789110"/>
              <a:gd name="connsiteY730" fmla="*/ 5889624 h 6386516"/>
              <a:gd name="connsiteX731" fmla="*/ 1409329 w 6789110"/>
              <a:gd name="connsiteY731" fmla="*/ 5891549 h 6386516"/>
              <a:gd name="connsiteX732" fmla="*/ 1422804 w 6789110"/>
              <a:gd name="connsiteY732" fmla="*/ 5895398 h 6386516"/>
              <a:gd name="connsiteX733" fmla="*/ 1415105 w 6789110"/>
              <a:gd name="connsiteY733" fmla="*/ 5928119 h 6386516"/>
              <a:gd name="connsiteX734" fmla="*/ 1399705 w 6789110"/>
              <a:gd name="connsiteY734" fmla="*/ 5891549 h 6386516"/>
              <a:gd name="connsiteX735" fmla="*/ 1393931 w 6789110"/>
              <a:gd name="connsiteY735" fmla="*/ 5878075 h 6386516"/>
              <a:gd name="connsiteX736" fmla="*/ 1405481 w 6789110"/>
              <a:gd name="connsiteY736" fmla="*/ 5851128 h 6386516"/>
              <a:gd name="connsiteX737" fmla="*/ 1388158 w 6789110"/>
              <a:gd name="connsiteY737" fmla="*/ 5849205 h 6386516"/>
              <a:gd name="connsiteX738" fmla="*/ 1386233 w 6789110"/>
              <a:gd name="connsiteY738" fmla="*/ 5853055 h 6386516"/>
              <a:gd name="connsiteX739" fmla="*/ 1386233 w 6789110"/>
              <a:gd name="connsiteY739" fmla="*/ 5851130 h 6386516"/>
              <a:gd name="connsiteX740" fmla="*/ 1388158 w 6789110"/>
              <a:gd name="connsiteY740" fmla="*/ 5849205 h 6386516"/>
              <a:gd name="connsiteX741" fmla="*/ 1930947 w 6789110"/>
              <a:gd name="connsiteY741" fmla="*/ 5845354 h 6386516"/>
              <a:gd name="connsiteX742" fmla="*/ 1932872 w 6789110"/>
              <a:gd name="connsiteY742" fmla="*/ 5868453 h 6386516"/>
              <a:gd name="connsiteX743" fmla="*/ 1921323 w 6789110"/>
              <a:gd name="connsiteY743" fmla="*/ 5876152 h 6386516"/>
              <a:gd name="connsiteX744" fmla="*/ 1930947 w 6789110"/>
              <a:gd name="connsiteY744" fmla="*/ 5845354 h 6386516"/>
              <a:gd name="connsiteX745" fmla="*/ 1443976 w 6789110"/>
              <a:gd name="connsiteY745" fmla="*/ 5843430 h 6386516"/>
              <a:gd name="connsiteX746" fmla="*/ 1451676 w 6789110"/>
              <a:gd name="connsiteY746" fmla="*/ 5853054 h 6386516"/>
              <a:gd name="connsiteX747" fmla="*/ 1447826 w 6789110"/>
              <a:gd name="connsiteY747" fmla="*/ 5851129 h 6386516"/>
              <a:gd name="connsiteX748" fmla="*/ 1445901 w 6789110"/>
              <a:gd name="connsiteY748" fmla="*/ 5858828 h 6386516"/>
              <a:gd name="connsiteX749" fmla="*/ 1442051 w 6789110"/>
              <a:gd name="connsiteY749" fmla="*/ 5856903 h 6386516"/>
              <a:gd name="connsiteX750" fmla="*/ 1443976 w 6789110"/>
              <a:gd name="connsiteY750" fmla="*/ 5843430 h 6386516"/>
              <a:gd name="connsiteX751" fmla="*/ 1890526 w 6789110"/>
              <a:gd name="connsiteY751" fmla="*/ 5839580 h 6386516"/>
              <a:gd name="connsiteX752" fmla="*/ 1884752 w 6789110"/>
              <a:gd name="connsiteY752" fmla="*/ 5853054 h 6386516"/>
              <a:gd name="connsiteX753" fmla="*/ 1877052 w 6789110"/>
              <a:gd name="connsiteY753" fmla="*/ 5912722 h 6386516"/>
              <a:gd name="connsiteX754" fmla="*/ 1834707 w 6789110"/>
              <a:gd name="connsiteY754" fmla="*/ 5951217 h 6386516"/>
              <a:gd name="connsiteX755" fmla="*/ 1852031 w 6789110"/>
              <a:gd name="connsiteY755" fmla="*/ 5905023 h 6386516"/>
              <a:gd name="connsiteX756" fmla="*/ 1821234 w 6789110"/>
              <a:gd name="connsiteY756" fmla="*/ 5941593 h 6386516"/>
              <a:gd name="connsiteX757" fmla="*/ 1809685 w 6789110"/>
              <a:gd name="connsiteY757" fmla="*/ 5931969 h 6386516"/>
              <a:gd name="connsiteX758" fmla="*/ 1852031 w 6789110"/>
              <a:gd name="connsiteY758" fmla="*/ 5885775 h 6386516"/>
              <a:gd name="connsiteX759" fmla="*/ 1890526 w 6789110"/>
              <a:gd name="connsiteY759" fmla="*/ 5839580 h 6386516"/>
              <a:gd name="connsiteX760" fmla="*/ 1422804 w 6789110"/>
              <a:gd name="connsiteY760" fmla="*/ 5839580 h 6386516"/>
              <a:gd name="connsiteX761" fmla="*/ 1432428 w 6789110"/>
              <a:gd name="connsiteY761" fmla="*/ 5841505 h 6386516"/>
              <a:gd name="connsiteX762" fmla="*/ 1432428 w 6789110"/>
              <a:gd name="connsiteY762" fmla="*/ 5854978 h 6386516"/>
              <a:gd name="connsiteX763" fmla="*/ 1422804 w 6789110"/>
              <a:gd name="connsiteY763" fmla="*/ 5839580 h 6386516"/>
              <a:gd name="connsiteX764" fmla="*/ 1411254 w 6789110"/>
              <a:gd name="connsiteY764" fmla="*/ 5837655 h 6386516"/>
              <a:gd name="connsiteX765" fmla="*/ 1424728 w 6789110"/>
              <a:gd name="connsiteY765" fmla="*/ 5854979 h 6386516"/>
              <a:gd name="connsiteX766" fmla="*/ 1432428 w 6789110"/>
              <a:gd name="connsiteY766" fmla="*/ 5866528 h 6386516"/>
              <a:gd name="connsiteX767" fmla="*/ 1432428 w 6789110"/>
              <a:gd name="connsiteY767" fmla="*/ 5872302 h 6386516"/>
              <a:gd name="connsiteX768" fmla="*/ 1426653 w 6789110"/>
              <a:gd name="connsiteY768" fmla="*/ 5870378 h 6386516"/>
              <a:gd name="connsiteX769" fmla="*/ 1430503 w 6789110"/>
              <a:gd name="connsiteY769" fmla="*/ 5876152 h 6386516"/>
              <a:gd name="connsiteX770" fmla="*/ 1426653 w 6789110"/>
              <a:gd name="connsiteY770" fmla="*/ 5874227 h 6386516"/>
              <a:gd name="connsiteX771" fmla="*/ 1407405 w 6789110"/>
              <a:gd name="connsiteY771" fmla="*/ 5843431 h 6386516"/>
              <a:gd name="connsiteX772" fmla="*/ 1403555 w 6789110"/>
              <a:gd name="connsiteY772" fmla="*/ 5849205 h 6386516"/>
              <a:gd name="connsiteX773" fmla="*/ 1403555 w 6789110"/>
              <a:gd name="connsiteY773" fmla="*/ 5841506 h 6386516"/>
              <a:gd name="connsiteX774" fmla="*/ 1411254 w 6789110"/>
              <a:gd name="connsiteY774" fmla="*/ 5837655 h 6386516"/>
              <a:gd name="connsiteX775" fmla="*/ 1467074 w 6789110"/>
              <a:gd name="connsiteY775" fmla="*/ 5833806 h 6386516"/>
              <a:gd name="connsiteX776" fmla="*/ 1472848 w 6789110"/>
              <a:gd name="connsiteY776" fmla="*/ 5843430 h 6386516"/>
              <a:gd name="connsiteX777" fmla="*/ 1467074 w 6789110"/>
              <a:gd name="connsiteY777" fmla="*/ 5843430 h 6386516"/>
              <a:gd name="connsiteX778" fmla="*/ 1467074 w 6789110"/>
              <a:gd name="connsiteY778" fmla="*/ 5833806 h 6386516"/>
              <a:gd name="connsiteX779" fmla="*/ 1407406 w 6789110"/>
              <a:gd name="connsiteY779" fmla="*/ 5822258 h 6386516"/>
              <a:gd name="connsiteX780" fmla="*/ 1409331 w 6789110"/>
              <a:gd name="connsiteY780" fmla="*/ 5828032 h 6386516"/>
              <a:gd name="connsiteX781" fmla="*/ 1405481 w 6789110"/>
              <a:gd name="connsiteY781" fmla="*/ 5826107 h 6386516"/>
              <a:gd name="connsiteX782" fmla="*/ 1407406 w 6789110"/>
              <a:gd name="connsiteY782" fmla="*/ 5822258 h 6386516"/>
              <a:gd name="connsiteX783" fmla="*/ 1413180 w 6789110"/>
              <a:gd name="connsiteY783" fmla="*/ 5820332 h 6386516"/>
              <a:gd name="connsiteX784" fmla="*/ 1418953 w 6789110"/>
              <a:gd name="connsiteY784" fmla="*/ 5820332 h 6386516"/>
              <a:gd name="connsiteX785" fmla="*/ 1434352 w 6789110"/>
              <a:gd name="connsiteY785" fmla="*/ 5831881 h 6386516"/>
              <a:gd name="connsiteX786" fmla="*/ 1428578 w 6789110"/>
              <a:gd name="connsiteY786" fmla="*/ 5831881 h 6386516"/>
              <a:gd name="connsiteX787" fmla="*/ 1426653 w 6789110"/>
              <a:gd name="connsiteY787" fmla="*/ 5835730 h 6386516"/>
              <a:gd name="connsiteX788" fmla="*/ 1424729 w 6789110"/>
              <a:gd name="connsiteY788" fmla="*/ 5833806 h 6386516"/>
              <a:gd name="connsiteX789" fmla="*/ 1426653 w 6789110"/>
              <a:gd name="connsiteY789" fmla="*/ 5828031 h 6386516"/>
              <a:gd name="connsiteX790" fmla="*/ 1424729 w 6789110"/>
              <a:gd name="connsiteY790" fmla="*/ 5828031 h 6386516"/>
              <a:gd name="connsiteX791" fmla="*/ 1415105 w 6789110"/>
              <a:gd name="connsiteY791" fmla="*/ 5829956 h 6386516"/>
              <a:gd name="connsiteX792" fmla="*/ 1413180 w 6789110"/>
              <a:gd name="connsiteY792" fmla="*/ 5820332 h 6386516"/>
              <a:gd name="connsiteX793" fmla="*/ 1347737 w 6789110"/>
              <a:gd name="connsiteY793" fmla="*/ 5818407 h 6386516"/>
              <a:gd name="connsiteX794" fmla="*/ 1353511 w 6789110"/>
              <a:gd name="connsiteY794" fmla="*/ 5820332 h 6386516"/>
              <a:gd name="connsiteX795" fmla="*/ 1357361 w 6789110"/>
              <a:gd name="connsiteY795" fmla="*/ 5826106 h 6386516"/>
              <a:gd name="connsiteX796" fmla="*/ 1355436 w 6789110"/>
              <a:gd name="connsiteY796" fmla="*/ 5837655 h 6386516"/>
              <a:gd name="connsiteX797" fmla="*/ 1363135 w 6789110"/>
              <a:gd name="connsiteY797" fmla="*/ 5839580 h 6386516"/>
              <a:gd name="connsiteX798" fmla="*/ 1363135 w 6789110"/>
              <a:gd name="connsiteY798" fmla="*/ 5853053 h 6386516"/>
              <a:gd name="connsiteX799" fmla="*/ 1378534 w 6789110"/>
              <a:gd name="connsiteY799" fmla="*/ 5866527 h 6386516"/>
              <a:gd name="connsiteX800" fmla="*/ 1378534 w 6789110"/>
              <a:gd name="connsiteY800" fmla="*/ 5868452 h 6386516"/>
              <a:gd name="connsiteX801" fmla="*/ 1384308 w 6789110"/>
              <a:gd name="connsiteY801" fmla="*/ 5872301 h 6386516"/>
              <a:gd name="connsiteX802" fmla="*/ 1365060 w 6789110"/>
              <a:gd name="connsiteY802" fmla="*/ 5906947 h 6386516"/>
              <a:gd name="connsiteX803" fmla="*/ 1340037 w 6789110"/>
              <a:gd name="connsiteY803" fmla="*/ 5860752 h 6386516"/>
              <a:gd name="connsiteX804" fmla="*/ 1345811 w 6789110"/>
              <a:gd name="connsiteY804" fmla="*/ 5839580 h 6386516"/>
              <a:gd name="connsiteX805" fmla="*/ 1347737 w 6789110"/>
              <a:gd name="connsiteY805" fmla="*/ 5818407 h 6386516"/>
              <a:gd name="connsiteX806" fmla="*/ 1913625 w 6789110"/>
              <a:gd name="connsiteY806" fmla="*/ 5816482 h 6386516"/>
              <a:gd name="connsiteX807" fmla="*/ 1921323 w 6789110"/>
              <a:gd name="connsiteY807" fmla="*/ 5816482 h 6386516"/>
              <a:gd name="connsiteX808" fmla="*/ 1923248 w 6789110"/>
              <a:gd name="connsiteY808" fmla="*/ 5835730 h 6386516"/>
              <a:gd name="connsiteX809" fmla="*/ 1898225 w 6789110"/>
              <a:gd name="connsiteY809" fmla="*/ 5895398 h 6386516"/>
              <a:gd name="connsiteX810" fmla="*/ 1880902 w 6789110"/>
              <a:gd name="connsiteY810" fmla="*/ 5905022 h 6386516"/>
              <a:gd name="connsiteX811" fmla="*/ 1886676 w 6789110"/>
              <a:gd name="connsiteY811" fmla="*/ 5881925 h 6386516"/>
              <a:gd name="connsiteX812" fmla="*/ 1884751 w 6789110"/>
              <a:gd name="connsiteY812" fmla="*/ 5878075 h 6386516"/>
              <a:gd name="connsiteX813" fmla="*/ 1890526 w 6789110"/>
              <a:gd name="connsiteY813" fmla="*/ 5851128 h 6386516"/>
              <a:gd name="connsiteX814" fmla="*/ 1898225 w 6789110"/>
              <a:gd name="connsiteY814" fmla="*/ 5826106 h 6386516"/>
              <a:gd name="connsiteX815" fmla="*/ 1907849 w 6789110"/>
              <a:gd name="connsiteY815" fmla="*/ 5822257 h 6386516"/>
              <a:gd name="connsiteX816" fmla="*/ 1913625 w 6789110"/>
              <a:gd name="connsiteY816" fmla="*/ 5816482 h 6386516"/>
              <a:gd name="connsiteX817" fmla="*/ 1453599 w 6789110"/>
              <a:gd name="connsiteY817" fmla="*/ 5814558 h 6386516"/>
              <a:gd name="connsiteX818" fmla="*/ 1455525 w 6789110"/>
              <a:gd name="connsiteY818" fmla="*/ 5816483 h 6386516"/>
              <a:gd name="connsiteX819" fmla="*/ 1459374 w 6789110"/>
              <a:gd name="connsiteY819" fmla="*/ 5843431 h 6386516"/>
              <a:gd name="connsiteX820" fmla="*/ 1445900 w 6789110"/>
              <a:gd name="connsiteY820" fmla="*/ 5822258 h 6386516"/>
              <a:gd name="connsiteX821" fmla="*/ 1455525 w 6789110"/>
              <a:gd name="connsiteY821" fmla="*/ 5818408 h 6386516"/>
              <a:gd name="connsiteX822" fmla="*/ 1453599 w 6789110"/>
              <a:gd name="connsiteY822" fmla="*/ 5814558 h 6386516"/>
              <a:gd name="connsiteX823" fmla="*/ 1447826 w 6789110"/>
              <a:gd name="connsiteY823" fmla="*/ 5812634 h 6386516"/>
              <a:gd name="connsiteX824" fmla="*/ 1449750 w 6789110"/>
              <a:gd name="connsiteY824" fmla="*/ 5814559 h 6386516"/>
              <a:gd name="connsiteX825" fmla="*/ 1447661 w 6789110"/>
              <a:gd name="connsiteY825" fmla="*/ 5812768 h 6386516"/>
              <a:gd name="connsiteX826" fmla="*/ 1322714 w 6789110"/>
              <a:gd name="connsiteY826" fmla="*/ 5812633 h 6386516"/>
              <a:gd name="connsiteX827" fmla="*/ 1341963 w 6789110"/>
              <a:gd name="connsiteY827" fmla="*/ 5818408 h 6386516"/>
              <a:gd name="connsiteX828" fmla="*/ 1338113 w 6789110"/>
              <a:gd name="connsiteY828" fmla="*/ 5845355 h 6386516"/>
              <a:gd name="connsiteX829" fmla="*/ 1322714 w 6789110"/>
              <a:gd name="connsiteY829" fmla="*/ 5812633 h 6386516"/>
              <a:gd name="connsiteX830" fmla="*/ 1411254 w 6789110"/>
              <a:gd name="connsiteY830" fmla="*/ 5810709 h 6386516"/>
              <a:gd name="connsiteX831" fmla="*/ 1422803 w 6789110"/>
              <a:gd name="connsiteY831" fmla="*/ 5816483 h 6386516"/>
              <a:gd name="connsiteX832" fmla="*/ 1413179 w 6789110"/>
              <a:gd name="connsiteY832" fmla="*/ 5818408 h 6386516"/>
              <a:gd name="connsiteX833" fmla="*/ 1409329 w 6789110"/>
              <a:gd name="connsiteY833" fmla="*/ 5812634 h 6386516"/>
              <a:gd name="connsiteX834" fmla="*/ 1411254 w 6789110"/>
              <a:gd name="connsiteY834" fmla="*/ 5810709 h 6386516"/>
              <a:gd name="connsiteX835" fmla="*/ 1982918 w 6789110"/>
              <a:gd name="connsiteY835" fmla="*/ 5810708 h 6386516"/>
              <a:gd name="connsiteX836" fmla="*/ 1984842 w 6789110"/>
              <a:gd name="connsiteY836" fmla="*/ 5810708 h 6386516"/>
              <a:gd name="connsiteX837" fmla="*/ 1984842 w 6789110"/>
              <a:gd name="connsiteY837" fmla="*/ 5812633 h 6386516"/>
              <a:gd name="connsiteX838" fmla="*/ 1986766 w 6789110"/>
              <a:gd name="connsiteY838" fmla="*/ 5812633 h 6386516"/>
              <a:gd name="connsiteX839" fmla="*/ 1975218 w 6789110"/>
              <a:gd name="connsiteY839" fmla="*/ 5843431 h 6386516"/>
              <a:gd name="connsiteX840" fmla="*/ 1944420 w 6789110"/>
              <a:gd name="connsiteY840" fmla="*/ 5862678 h 6386516"/>
              <a:gd name="connsiteX841" fmla="*/ 1944420 w 6789110"/>
              <a:gd name="connsiteY841" fmla="*/ 5841506 h 6386516"/>
              <a:gd name="connsiteX842" fmla="*/ 1982918 w 6789110"/>
              <a:gd name="connsiteY842" fmla="*/ 5810708 h 6386516"/>
              <a:gd name="connsiteX843" fmla="*/ 1934797 w 6789110"/>
              <a:gd name="connsiteY843" fmla="*/ 5808784 h 6386516"/>
              <a:gd name="connsiteX844" fmla="*/ 1940571 w 6789110"/>
              <a:gd name="connsiteY844" fmla="*/ 5808784 h 6386516"/>
              <a:gd name="connsiteX845" fmla="*/ 1938648 w 6789110"/>
              <a:gd name="connsiteY845" fmla="*/ 5810709 h 6386516"/>
              <a:gd name="connsiteX846" fmla="*/ 1934797 w 6789110"/>
              <a:gd name="connsiteY846" fmla="*/ 5808784 h 6386516"/>
              <a:gd name="connsiteX847" fmla="*/ 1996390 w 6789110"/>
              <a:gd name="connsiteY847" fmla="*/ 5799160 h 6386516"/>
              <a:gd name="connsiteX848" fmla="*/ 1990616 w 6789110"/>
              <a:gd name="connsiteY848" fmla="*/ 5806859 h 6386516"/>
              <a:gd name="connsiteX849" fmla="*/ 1990616 w 6789110"/>
              <a:gd name="connsiteY849" fmla="*/ 5803010 h 6386516"/>
              <a:gd name="connsiteX850" fmla="*/ 1996390 w 6789110"/>
              <a:gd name="connsiteY850" fmla="*/ 5799160 h 6386516"/>
              <a:gd name="connsiteX851" fmla="*/ 1984842 w 6789110"/>
              <a:gd name="connsiteY851" fmla="*/ 5795311 h 6386516"/>
              <a:gd name="connsiteX852" fmla="*/ 1986767 w 6789110"/>
              <a:gd name="connsiteY852" fmla="*/ 5799160 h 6386516"/>
              <a:gd name="connsiteX853" fmla="*/ 1982918 w 6789110"/>
              <a:gd name="connsiteY853" fmla="*/ 5801085 h 6386516"/>
              <a:gd name="connsiteX854" fmla="*/ 1982918 w 6789110"/>
              <a:gd name="connsiteY854" fmla="*/ 5799160 h 6386516"/>
              <a:gd name="connsiteX855" fmla="*/ 1984842 w 6789110"/>
              <a:gd name="connsiteY855" fmla="*/ 5795311 h 6386516"/>
              <a:gd name="connsiteX856" fmla="*/ 1574861 w 6789110"/>
              <a:gd name="connsiteY856" fmla="*/ 5795310 h 6386516"/>
              <a:gd name="connsiteX857" fmla="*/ 1586410 w 6789110"/>
              <a:gd name="connsiteY857" fmla="*/ 5804935 h 6386516"/>
              <a:gd name="connsiteX858" fmla="*/ 1594110 w 6789110"/>
              <a:gd name="connsiteY858" fmla="*/ 5853055 h 6386516"/>
              <a:gd name="connsiteX859" fmla="*/ 1578710 w 6789110"/>
              <a:gd name="connsiteY859" fmla="*/ 5801085 h 6386516"/>
              <a:gd name="connsiteX860" fmla="*/ 1576786 w 6789110"/>
              <a:gd name="connsiteY860" fmla="*/ 5801085 h 6386516"/>
              <a:gd name="connsiteX861" fmla="*/ 1574861 w 6789110"/>
              <a:gd name="connsiteY861" fmla="*/ 5795310 h 6386516"/>
              <a:gd name="connsiteX862" fmla="*/ 1388158 w 6789110"/>
              <a:gd name="connsiteY862" fmla="*/ 5791461 h 6386516"/>
              <a:gd name="connsiteX863" fmla="*/ 1392007 w 6789110"/>
              <a:gd name="connsiteY863" fmla="*/ 5804935 h 6386516"/>
              <a:gd name="connsiteX864" fmla="*/ 1390083 w 6789110"/>
              <a:gd name="connsiteY864" fmla="*/ 5804935 h 6386516"/>
              <a:gd name="connsiteX865" fmla="*/ 1384307 w 6789110"/>
              <a:gd name="connsiteY865" fmla="*/ 5801085 h 6386516"/>
              <a:gd name="connsiteX866" fmla="*/ 1382382 w 6789110"/>
              <a:gd name="connsiteY866" fmla="*/ 5806859 h 6386516"/>
              <a:gd name="connsiteX867" fmla="*/ 1378533 w 6789110"/>
              <a:gd name="connsiteY867" fmla="*/ 5806859 h 6386516"/>
              <a:gd name="connsiteX868" fmla="*/ 1388158 w 6789110"/>
              <a:gd name="connsiteY868" fmla="*/ 5791461 h 6386516"/>
              <a:gd name="connsiteX869" fmla="*/ 1422802 w 6789110"/>
              <a:gd name="connsiteY869" fmla="*/ 5791460 h 6386516"/>
              <a:gd name="connsiteX870" fmla="*/ 1447661 w 6789110"/>
              <a:gd name="connsiteY870" fmla="*/ 5812768 h 6386516"/>
              <a:gd name="connsiteX871" fmla="*/ 1445179 w 6789110"/>
              <a:gd name="connsiteY871" fmla="*/ 5814799 h 6386516"/>
              <a:gd name="connsiteX872" fmla="*/ 1443976 w 6789110"/>
              <a:gd name="connsiteY872" fmla="*/ 5818408 h 6386516"/>
              <a:gd name="connsiteX873" fmla="*/ 1440848 w 6789110"/>
              <a:gd name="connsiteY873" fmla="*/ 5816724 h 6386516"/>
              <a:gd name="connsiteX874" fmla="*/ 1438202 w 6789110"/>
              <a:gd name="connsiteY874" fmla="*/ 5816584 h 6386516"/>
              <a:gd name="connsiteX875" fmla="*/ 1438202 w 6789110"/>
              <a:gd name="connsiteY875" fmla="*/ 5816483 h 6386516"/>
              <a:gd name="connsiteX876" fmla="*/ 1436276 w 6789110"/>
              <a:gd name="connsiteY876" fmla="*/ 5816483 h 6386516"/>
              <a:gd name="connsiteX877" fmla="*/ 1438202 w 6789110"/>
              <a:gd name="connsiteY877" fmla="*/ 5816584 h 6386516"/>
              <a:gd name="connsiteX878" fmla="*/ 1438202 w 6789110"/>
              <a:gd name="connsiteY878" fmla="*/ 5824183 h 6386516"/>
              <a:gd name="connsiteX879" fmla="*/ 1428577 w 6789110"/>
              <a:gd name="connsiteY879" fmla="*/ 5804935 h 6386516"/>
              <a:gd name="connsiteX880" fmla="*/ 1422802 w 6789110"/>
              <a:gd name="connsiteY880" fmla="*/ 5804935 h 6386516"/>
              <a:gd name="connsiteX881" fmla="*/ 1418953 w 6789110"/>
              <a:gd name="connsiteY881" fmla="*/ 5799160 h 6386516"/>
              <a:gd name="connsiteX882" fmla="*/ 1420878 w 6789110"/>
              <a:gd name="connsiteY882" fmla="*/ 5793386 h 6386516"/>
              <a:gd name="connsiteX883" fmla="*/ 1422802 w 6789110"/>
              <a:gd name="connsiteY883" fmla="*/ 5791460 h 6386516"/>
              <a:gd name="connsiteX884" fmla="*/ 1382383 w 6789110"/>
              <a:gd name="connsiteY884" fmla="*/ 5789536 h 6386516"/>
              <a:gd name="connsiteX885" fmla="*/ 1384308 w 6789110"/>
              <a:gd name="connsiteY885" fmla="*/ 5789536 h 6386516"/>
              <a:gd name="connsiteX886" fmla="*/ 1382383 w 6789110"/>
              <a:gd name="connsiteY886" fmla="*/ 5793386 h 6386516"/>
              <a:gd name="connsiteX887" fmla="*/ 1382383 w 6789110"/>
              <a:gd name="connsiteY887" fmla="*/ 5789536 h 6386516"/>
              <a:gd name="connsiteX888" fmla="*/ 1980992 w 6789110"/>
              <a:gd name="connsiteY888" fmla="*/ 5787611 h 6386516"/>
              <a:gd name="connsiteX889" fmla="*/ 1982918 w 6789110"/>
              <a:gd name="connsiteY889" fmla="*/ 5787611 h 6386516"/>
              <a:gd name="connsiteX890" fmla="*/ 1982918 w 6789110"/>
              <a:gd name="connsiteY890" fmla="*/ 5789536 h 6386516"/>
              <a:gd name="connsiteX891" fmla="*/ 1980992 w 6789110"/>
              <a:gd name="connsiteY891" fmla="*/ 5791461 h 6386516"/>
              <a:gd name="connsiteX892" fmla="*/ 1980992 w 6789110"/>
              <a:gd name="connsiteY892" fmla="*/ 5787611 h 6386516"/>
              <a:gd name="connsiteX893" fmla="*/ 1907851 w 6789110"/>
              <a:gd name="connsiteY893" fmla="*/ 5783762 h 6386516"/>
              <a:gd name="connsiteX894" fmla="*/ 1902077 w 6789110"/>
              <a:gd name="connsiteY894" fmla="*/ 5789536 h 6386516"/>
              <a:gd name="connsiteX895" fmla="*/ 1902077 w 6789110"/>
              <a:gd name="connsiteY895" fmla="*/ 5785687 h 6386516"/>
              <a:gd name="connsiteX896" fmla="*/ 1907851 w 6789110"/>
              <a:gd name="connsiteY896" fmla="*/ 5783762 h 6386516"/>
              <a:gd name="connsiteX897" fmla="*/ 1946346 w 6789110"/>
              <a:gd name="connsiteY897" fmla="*/ 5781837 h 6386516"/>
              <a:gd name="connsiteX898" fmla="*/ 1948271 w 6789110"/>
              <a:gd name="connsiteY898" fmla="*/ 5801085 h 6386516"/>
              <a:gd name="connsiteX899" fmla="*/ 1946346 w 6789110"/>
              <a:gd name="connsiteY899" fmla="*/ 5781837 h 6386516"/>
              <a:gd name="connsiteX900" fmla="*/ 1447826 w 6789110"/>
              <a:gd name="connsiteY900" fmla="*/ 5779912 h 6386516"/>
              <a:gd name="connsiteX901" fmla="*/ 1449751 w 6789110"/>
              <a:gd name="connsiteY901" fmla="*/ 5787611 h 6386516"/>
              <a:gd name="connsiteX902" fmla="*/ 1442052 w 6789110"/>
              <a:gd name="connsiteY902" fmla="*/ 5781837 h 6386516"/>
              <a:gd name="connsiteX903" fmla="*/ 1447826 w 6789110"/>
              <a:gd name="connsiteY903" fmla="*/ 5779912 h 6386516"/>
              <a:gd name="connsiteX904" fmla="*/ 1351587 w 6789110"/>
              <a:gd name="connsiteY904" fmla="*/ 5774138 h 6386516"/>
              <a:gd name="connsiteX905" fmla="*/ 1349662 w 6789110"/>
              <a:gd name="connsiteY905" fmla="*/ 5779912 h 6386516"/>
              <a:gd name="connsiteX906" fmla="*/ 1351587 w 6789110"/>
              <a:gd name="connsiteY906" fmla="*/ 5774138 h 6386516"/>
              <a:gd name="connsiteX907" fmla="*/ 1388158 w 6789110"/>
              <a:gd name="connsiteY907" fmla="*/ 5772213 h 6386516"/>
              <a:gd name="connsiteX908" fmla="*/ 1392007 w 6789110"/>
              <a:gd name="connsiteY908" fmla="*/ 5783762 h 6386516"/>
              <a:gd name="connsiteX909" fmla="*/ 1386233 w 6789110"/>
              <a:gd name="connsiteY909" fmla="*/ 5781837 h 6386516"/>
              <a:gd name="connsiteX910" fmla="*/ 1388158 w 6789110"/>
              <a:gd name="connsiteY910" fmla="*/ 5772213 h 6386516"/>
              <a:gd name="connsiteX911" fmla="*/ 1960782 w 6789110"/>
              <a:gd name="connsiteY911" fmla="*/ 5768844 h 6386516"/>
              <a:gd name="connsiteX912" fmla="*/ 1965593 w 6789110"/>
              <a:gd name="connsiteY912" fmla="*/ 5770288 h 6386516"/>
              <a:gd name="connsiteX913" fmla="*/ 1959818 w 6789110"/>
              <a:gd name="connsiteY913" fmla="*/ 5770288 h 6386516"/>
              <a:gd name="connsiteX914" fmla="*/ 1957895 w 6789110"/>
              <a:gd name="connsiteY914" fmla="*/ 5772213 h 6386516"/>
              <a:gd name="connsiteX915" fmla="*/ 1955969 w 6789110"/>
              <a:gd name="connsiteY915" fmla="*/ 5770288 h 6386516"/>
              <a:gd name="connsiteX916" fmla="*/ 1960782 w 6789110"/>
              <a:gd name="connsiteY916" fmla="*/ 5768844 h 6386516"/>
              <a:gd name="connsiteX917" fmla="*/ 1439645 w 6789110"/>
              <a:gd name="connsiteY917" fmla="*/ 5768844 h 6386516"/>
              <a:gd name="connsiteX918" fmla="*/ 1445901 w 6789110"/>
              <a:gd name="connsiteY918" fmla="*/ 5770288 h 6386516"/>
              <a:gd name="connsiteX919" fmla="*/ 1443976 w 6789110"/>
              <a:gd name="connsiteY919" fmla="*/ 5772213 h 6386516"/>
              <a:gd name="connsiteX920" fmla="*/ 1440127 w 6789110"/>
              <a:gd name="connsiteY920" fmla="*/ 5772213 h 6386516"/>
              <a:gd name="connsiteX921" fmla="*/ 1440127 w 6789110"/>
              <a:gd name="connsiteY921" fmla="*/ 5774137 h 6386516"/>
              <a:gd name="connsiteX922" fmla="*/ 1445901 w 6789110"/>
              <a:gd name="connsiteY922" fmla="*/ 5779912 h 6386516"/>
              <a:gd name="connsiteX923" fmla="*/ 1438202 w 6789110"/>
              <a:gd name="connsiteY923" fmla="*/ 5779912 h 6386516"/>
              <a:gd name="connsiteX924" fmla="*/ 1434351 w 6789110"/>
              <a:gd name="connsiteY924" fmla="*/ 5779912 h 6386516"/>
              <a:gd name="connsiteX925" fmla="*/ 1430503 w 6789110"/>
              <a:gd name="connsiteY925" fmla="*/ 5770288 h 6386516"/>
              <a:gd name="connsiteX926" fmla="*/ 1439645 w 6789110"/>
              <a:gd name="connsiteY926" fmla="*/ 5768844 h 6386516"/>
              <a:gd name="connsiteX927" fmla="*/ 1948270 w 6789110"/>
              <a:gd name="connsiteY927" fmla="*/ 5768363 h 6386516"/>
              <a:gd name="connsiteX928" fmla="*/ 1952119 w 6789110"/>
              <a:gd name="connsiteY928" fmla="*/ 5768363 h 6386516"/>
              <a:gd name="connsiteX929" fmla="*/ 1955969 w 6789110"/>
              <a:gd name="connsiteY929" fmla="*/ 5777987 h 6386516"/>
              <a:gd name="connsiteX930" fmla="*/ 1955969 w 6789110"/>
              <a:gd name="connsiteY930" fmla="*/ 5781115 h 6386516"/>
              <a:gd name="connsiteX931" fmla="*/ 1955969 w 6789110"/>
              <a:gd name="connsiteY931" fmla="*/ 5787611 h 6386516"/>
              <a:gd name="connsiteX932" fmla="*/ 1952119 w 6789110"/>
              <a:gd name="connsiteY932" fmla="*/ 5787611 h 6386516"/>
              <a:gd name="connsiteX933" fmla="*/ 1946345 w 6789110"/>
              <a:gd name="connsiteY933" fmla="*/ 5772213 h 6386516"/>
              <a:gd name="connsiteX934" fmla="*/ 1948270 w 6789110"/>
              <a:gd name="connsiteY934" fmla="*/ 5768363 h 6386516"/>
              <a:gd name="connsiteX935" fmla="*/ 1561387 w 6789110"/>
              <a:gd name="connsiteY935" fmla="*/ 5764514 h 6386516"/>
              <a:gd name="connsiteX936" fmla="*/ 1574860 w 6789110"/>
              <a:gd name="connsiteY936" fmla="*/ 5783762 h 6386516"/>
              <a:gd name="connsiteX937" fmla="*/ 1569086 w 6789110"/>
              <a:gd name="connsiteY937" fmla="*/ 5781837 h 6386516"/>
              <a:gd name="connsiteX938" fmla="*/ 1561387 w 6789110"/>
              <a:gd name="connsiteY938" fmla="*/ 5764514 h 6386516"/>
              <a:gd name="connsiteX939" fmla="*/ 1365060 w 6789110"/>
              <a:gd name="connsiteY939" fmla="*/ 5762589 h 6386516"/>
              <a:gd name="connsiteX940" fmla="*/ 1368910 w 6789110"/>
              <a:gd name="connsiteY940" fmla="*/ 5768363 h 6386516"/>
              <a:gd name="connsiteX941" fmla="*/ 1366985 w 6789110"/>
              <a:gd name="connsiteY941" fmla="*/ 5770288 h 6386516"/>
              <a:gd name="connsiteX942" fmla="*/ 1365060 w 6789110"/>
              <a:gd name="connsiteY942" fmla="*/ 5762589 h 6386516"/>
              <a:gd name="connsiteX943" fmla="*/ 1909775 w 6789110"/>
              <a:gd name="connsiteY943" fmla="*/ 5754890 h 6386516"/>
              <a:gd name="connsiteX944" fmla="*/ 1911699 w 6789110"/>
              <a:gd name="connsiteY944" fmla="*/ 5766439 h 6386516"/>
              <a:gd name="connsiteX945" fmla="*/ 1905925 w 6789110"/>
              <a:gd name="connsiteY945" fmla="*/ 5768363 h 6386516"/>
              <a:gd name="connsiteX946" fmla="*/ 1909775 w 6789110"/>
              <a:gd name="connsiteY946" fmla="*/ 5754890 h 6386516"/>
              <a:gd name="connsiteX947" fmla="*/ 1430502 w 6789110"/>
              <a:gd name="connsiteY947" fmla="*/ 5754890 h 6386516"/>
              <a:gd name="connsiteX948" fmla="*/ 1424728 w 6789110"/>
              <a:gd name="connsiteY948" fmla="*/ 5756815 h 6386516"/>
              <a:gd name="connsiteX949" fmla="*/ 1430502 w 6789110"/>
              <a:gd name="connsiteY949" fmla="*/ 5754890 h 6386516"/>
              <a:gd name="connsiteX950" fmla="*/ 1355436 w 6789110"/>
              <a:gd name="connsiteY950" fmla="*/ 5754890 h 6386516"/>
              <a:gd name="connsiteX951" fmla="*/ 1355436 w 6789110"/>
              <a:gd name="connsiteY951" fmla="*/ 5760664 h 6386516"/>
              <a:gd name="connsiteX952" fmla="*/ 1355436 w 6789110"/>
              <a:gd name="connsiteY952" fmla="*/ 5754890 h 6386516"/>
              <a:gd name="connsiteX953" fmla="*/ 1917473 w 6789110"/>
              <a:gd name="connsiteY953" fmla="*/ 5749115 h 6386516"/>
              <a:gd name="connsiteX954" fmla="*/ 1925172 w 6789110"/>
              <a:gd name="connsiteY954" fmla="*/ 5754890 h 6386516"/>
              <a:gd name="connsiteX955" fmla="*/ 1925172 w 6789110"/>
              <a:gd name="connsiteY955" fmla="*/ 5758739 h 6386516"/>
              <a:gd name="connsiteX956" fmla="*/ 1919397 w 6789110"/>
              <a:gd name="connsiteY956" fmla="*/ 5762589 h 6386516"/>
              <a:gd name="connsiteX957" fmla="*/ 1923247 w 6789110"/>
              <a:gd name="connsiteY957" fmla="*/ 5764514 h 6386516"/>
              <a:gd name="connsiteX958" fmla="*/ 1923247 w 6789110"/>
              <a:gd name="connsiteY958" fmla="*/ 5766438 h 6386516"/>
              <a:gd name="connsiteX959" fmla="*/ 1917473 w 6789110"/>
              <a:gd name="connsiteY959" fmla="*/ 5766438 h 6386516"/>
              <a:gd name="connsiteX960" fmla="*/ 1917473 w 6789110"/>
              <a:gd name="connsiteY960" fmla="*/ 5749115 h 6386516"/>
              <a:gd name="connsiteX961" fmla="*/ 1443976 w 6789110"/>
              <a:gd name="connsiteY961" fmla="*/ 5747191 h 6386516"/>
              <a:gd name="connsiteX962" fmla="*/ 1443976 w 6789110"/>
              <a:gd name="connsiteY962" fmla="*/ 5749115 h 6386516"/>
              <a:gd name="connsiteX963" fmla="*/ 1440127 w 6789110"/>
              <a:gd name="connsiteY963" fmla="*/ 5749115 h 6386516"/>
              <a:gd name="connsiteX964" fmla="*/ 1443976 w 6789110"/>
              <a:gd name="connsiteY964" fmla="*/ 5747191 h 6386516"/>
              <a:gd name="connsiteX965" fmla="*/ 1808783 w 6789110"/>
              <a:gd name="connsiteY965" fmla="*/ 5741055 h 6386516"/>
              <a:gd name="connsiteX966" fmla="*/ 1838558 w 6789110"/>
              <a:gd name="connsiteY966" fmla="*/ 5804935 h 6386516"/>
              <a:gd name="connsiteX967" fmla="*/ 1817384 w 6789110"/>
              <a:gd name="connsiteY967" fmla="*/ 5804935 h 6386516"/>
              <a:gd name="connsiteX968" fmla="*/ 1815459 w 6789110"/>
              <a:gd name="connsiteY968" fmla="*/ 5768362 h 6386516"/>
              <a:gd name="connsiteX969" fmla="*/ 1798136 w 6789110"/>
              <a:gd name="connsiteY969" fmla="*/ 5787611 h 6386516"/>
              <a:gd name="connsiteX970" fmla="*/ 1786588 w 6789110"/>
              <a:gd name="connsiteY970" fmla="*/ 5770287 h 6386516"/>
              <a:gd name="connsiteX971" fmla="*/ 1796212 w 6789110"/>
              <a:gd name="connsiteY971" fmla="*/ 5806859 h 6386516"/>
              <a:gd name="connsiteX972" fmla="*/ 1761565 w 6789110"/>
              <a:gd name="connsiteY972" fmla="*/ 5801085 h 6386516"/>
              <a:gd name="connsiteX973" fmla="*/ 1827008 w 6789110"/>
              <a:gd name="connsiteY973" fmla="*/ 5814558 h 6386516"/>
              <a:gd name="connsiteX974" fmla="*/ 1830858 w 6789110"/>
              <a:gd name="connsiteY974" fmla="*/ 5818408 h 6386516"/>
              <a:gd name="connsiteX975" fmla="*/ 1801987 w 6789110"/>
              <a:gd name="connsiteY975" fmla="*/ 5876151 h 6386516"/>
              <a:gd name="connsiteX976" fmla="*/ 1788512 w 6789110"/>
              <a:gd name="connsiteY976" fmla="*/ 5829957 h 6386516"/>
              <a:gd name="connsiteX977" fmla="*/ 1780813 w 6789110"/>
              <a:gd name="connsiteY977" fmla="*/ 5853054 h 6386516"/>
              <a:gd name="connsiteX978" fmla="*/ 1757717 w 6789110"/>
              <a:gd name="connsiteY978" fmla="*/ 5831881 h 6386516"/>
              <a:gd name="connsiteX979" fmla="*/ 1792362 w 6789110"/>
              <a:gd name="connsiteY979" fmla="*/ 5881926 h 6386516"/>
              <a:gd name="connsiteX980" fmla="*/ 1784663 w 6789110"/>
              <a:gd name="connsiteY980" fmla="*/ 5908873 h 6386516"/>
              <a:gd name="connsiteX981" fmla="*/ 1784663 w 6789110"/>
              <a:gd name="connsiteY981" fmla="*/ 5876151 h 6386516"/>
              <a:gd name="connsiteX982" fmla="*/ 1740393 w 6789110"/>
              <a:gd name="connsiteY982" fmla="*/ 5833806 h 6386516"/>
              <a:gd name="connsiteX983" fmla="*/ 1738468 w 6789110"/>
              <a:gd name="connsiteY983" fmla="*/ 5816483 h 6386516"/>
              <a:gd name="connsiteX984" fmla="*/ 1742317 w 6789110"/>
              <a:gd name="connsiteY984" fmla="*/ 5808784 h 6386516"/>
              <a:gd name="connsiteX985" fmla="*/ 1784663 w 6789110"/>
              <a:gd name="connsiteY985" fmla="*/ 5741415 h 6386516"/>
              <a:gd name="connsiteX986" fmla="*/ 1808783 w 6789110"/>
              <a:gd name="connsiteY986" fmla="*/ 5741055 h 6386516"/>
              <a:gd name="connsiteX987" fmla="*/ 1888602 w 6789110"/>
              <a:gd name="connsiteY987" fmla="*/ 5735642 h 6386516"/>
              <a:gd name="connsiteX988" fmla="*/ 1890527 w 6789110"/>
              <a:gd name="connsiteY988" fmla="*/ 5737567 h 6386516"/>
              <a:gd name="connsiteX989" fmla="*/ 1886677 w 6789110"/>
              <a:gd name="connsiteY989" fmla="*/ 5737567 h 6386516"/>
              <a:gd name="connsiteX990" fmla="*/ 1888602 w 6789110"/>
              <a:gd name="connsiteY990" fmla="*/ 5735642 h 6386516"/>
              <a:gd name="connsiteX991" fmla="*/ 1226474 w 6789110"/>
              <a:gd name="connsiteY991" fmla="*/ 5731792 h 6386516"/>
              <a:gd name="connsiteX992" fmla="*/ 1234175 w 6789110"/>
              <a:gd name="connsiteY992" fmla="*/ 5752965 h 6386516"/>
              <a:gd name="connsiteX993" fmla="*/ 1222626 w 6789110"/>
              <a:gd name="connsiteY993" fmla="*/ 5739491 h 6386516"/>
              <a:gd name="connsiteX994" fmla="*/ 1226474 w 6789110"/>
              <a:gd name="connsiteY994" fmla="*/ 5731792 h 6386516"/>
              <a:gd name="connsiteX995" fmla="*/ 1900150 w 6789110"/>
              <a:gd name="connsiteY995" fmla="*/ 5729867 h 6386516"/>
              <a:gd name="connsiteX996" fmla="*/ 1902075 w 6789110"/>
              <a:gd name="connsiteY996" fmla="*/ 5733717 h 6386516"/>
              <a:gd name="connsiteX997" fmla="*/ 1898226 w 6789110"/>
              <a:gd name="connsiteY997" fmla="*/ 5733717 h 6386516"/>
              <a:gd name="connsiteX998" fmla="*/ 1909775 w 6789110"/>
              <a:gd name="connsiteY998" fmla="*/ 5745266 h 6386516"/>
              <a:gd name="connsiteX999" fmla="*/ 1907851 w 6789110"/>
              <a:gd name="connsiteY999" fmla="*/ 5751040 h 6386516"/>
              <a:gd name="connsiteX1000" fmla="*/ 1894376 w 6789110"/>
              <a:gd name="connsiteY1000" fmla="*/ 5733717 h 6386516"/>
              <a:gd name="connsiteX1001" fmla="*/ 1900150 w 6789110"/>
              <a:gd name="connsiteY1001" fmla="*/ 5729867 h 6386516"/>
              <a:gd name="connsiteX1002" fmla="*/ 1301542 w 6789110"/>
              <a:gd name="connsiteY1002" fmla="*/ 5726017 h 6386516"/>
              <a:gd name="connsiteX1003" fmla="*/ 1299617 w 6789110"/>
              <a:gd name="connsiteY1003" fmla="*/ 5737566 h 6386516"/>
              <a:gd name="connsiteX1004" fmla="*/ 1303467 w 6789110"/>
              <a:gd name="connsiteY1004" fmla="*/ 5737566 h 6386516"/>
              <a:gd name="connsiteX1005" fmla="*/ 1340038 w 6789110"/>
              <a:gd name="connsiteY1005" fmla="*/ 5768363 h 6386516"/>
              <a:gd name="connsiteX1006" fmla="*/ 1318864 w 6789110"/>
              <a:gd name="connsiteY1006" fmla="*/ 5766439 h 6386516"/>
              <a:gd name="connsiteX1007" fmla="*/ 1336189 w 6789110"/>
              <a:gd name="connsiteY1007" fmla="*/ 5783762 h 6386516"/>
              <a:gd name="connsiteX1008" fmla="*/ 1313091 w 6789110"/>
              <a:gd name="connsiteY1008" fmla="*/ 5776063 h 6386516"/>
              <a:gd name="connsiteX1009" fmla="*/ 1311166 w 6789110"/>
              <a:gd name="connsiteY1009" fmla="*/ 5777987 h 6386516"/>
              <a:gd name="connsiteX1010" fmla="*/ 1316940 w 6789110"/>
              <a:gd name="connsiteY1010" fmla="*/ 5793385 h 6386516"/>
              <a:gd name="connsiteX1011" fmla="*/ 1303467 w 6789110"/>
              <a:gd name="connsiteY1011" fmla="*/ 5797235 h 6386516"/>
              <a:gd name="connsiteX1012" fmla="*/ 1316940 w 6789110"/>
              <a:gd name="connsiteY1012" fmla="*/ 5808784 h 6386516"/>
              <a:gd name="connsiteX1013" fmla="*/ 1330414 w 6789110"/>
              <a:gd name="connsiteY1013" fmla="*/ 5876151 h 6386516"/>
              <a:gd name="connsiteX1014" fmla="*/ 1328489 w 6789110"/>
              <a:gd name="connsiteY1014" fmla="*/ 5874226 h 6386516"/>
              <a:gd name="connsiteX1015" fmla="*/ 1305392 w 6789110"/>
              <a:gd name="connsiteY1015" fmla="*/ 5853054 h 6386516"/>
              <a:gd name="connsiteX1016" fmla="*/ 1295767 w 6789110"/>
              <a:gd name="connsiteY1016" fmla="*/ 5835730 h 6386516"/>
              <a:gd name="connsiteX1017" fmla="*/ 1288068 w 6789110"/>
              <a:gd name="connsiteY1017" fmla="*/ 5727942 h 6386516"/>
              <a:gd name="connsiteX1018" fmla="*/ 1301542 w 6789110"/>
              <a:gd name="connsiteY1018" fmla="*/ 5726017 h 6386516"/>
              <a:gd name="connsiteX1019" fmla="*/ 1330414 w 6789110"/>
              <a:gd name="connsiteY1019" fmla="*/ 5724093 h 6386516"/>
              <a:gd name="connsiteX1020" fmla="*/ 1334263 w 6789110"/>
              <a:gd name="connsiteY1020" fmla="*/ 5724093 h 6386516"/>
              <a:gd name="connsiteX1021" fmla="*/ 1338113 w 6789110"/>
              <a:gd name="connsiteY1021" fmla="*/ 5729867 h 6386516"/>
              <a:gd name="connsiteX1022" fmla="*/ 1334263 w 6789110"/>
              <a:gd name="connsiteY1022" fmla="*/ 5729867 h 6386516"/>
              <a:gd name="connsiteX1023" fmla="*/ 1330414 w 6789110"/>
              <a:gd name="connsiteY1023" fmla="*/ 5724093 h 6386516"/>
              <a:gd name="connsiteX1024" fmla="*/ 1316218 w 6789110"/>
              <a:gd name="connsiteY1024" fmla="*/ 5723853 h 6386516"/>
              <a:gd name="connsiteX1025" fmla="*/ 1328489 w 6789110"/>
              <a:gd name="connsiteY1025" fmla="*/ 5724093 h 6386516"/>
              <a:gd name="connsiteX1026" fmla="*/ 1326564 w 6789110"/>
              <a:gd name="connsiteY1026" fmla="*/ 5729867 h 6386516"/>
              <a:gd name="connsiteX1027" fmla="*/ 1311166 w 6789110"/>
              <a:gd name="connsiteY1027" fmla="*/ 5727943 h 6386516"/>
              <a:gd name="connsiteX1028" fmla="*/ 1316218 w 6789110"/>
              <a:gd name="connsiteY1028" fmla="*/ 5723853 h 6386516"/>
              <a:gd name="connsiteX1029" fmla="*/ 1434351 w 6789110"/>
              <a:gd name="connsiteY1029" fmla="*/ 5712545 h 6386516"/>
              <a:gd name="connsiteX1030" fmla="*/ 1436276 w 6789110"/>
              <a:gd name="connsiteY1030" fmla="*/ 5718320 h 6386516"/>
              <a:gd name="connsiteX1031" fmla="*/ 1438202 w 6789110"/>
              <a:gd name="connsiteY1031" fmla="*/ 5729868 h 6386516"/>
              <a:gd name="connsiteX1032" fmla="*/ 1426653 w 6789110"/>
              <a:gd name="connsiteY1032" fmla="*/ 5727944 h 6386516"/>
              <a:gd name="connsiteX1033" fmla="*/ 1434351 w 6789110"/>
              <a:gd name="connsiteY1033" fmla="*/ 5712545 h 6386516"/>
              <a:gd name="connsiteX1034" fmla="*/ 1313091 w 6789110"/>
              <a:gd name="connsiteY1034" fmla="*/ 5710619 h 6386516"/>
              <a:gd name="connsiteX1035" fmla="*/ 1313861 w 6789110"/>
              <a:gd name="connsiteY1035" fmla="*/ 5710619 h 6386516"/>
              <a:gd name="connsiteX1036" fmla="*/ 1313091 w 6789110"/>
              <a:gd name="connsiteY1036" fmla="*/ 5714469 h 6386516"/>
              <a:gd name="connsiteX1037" fmla="*/ 1313091 w 6789110"/>
              <a:gd name="connsiteY1037" fmla="*/ 5710619 h 6386516"/>
              <a:gd name="connsiteX1038" fmla="*/ 1934797 w 6789110"/>
              <a:gd name="connsiteY1038" fmla="*/ 5708695 h 6386516"/>
              <a:gd name="connsiteX1039" fmla="*/ 1934797 w 6789110"/>
              <a:gd name="connsiteY1039" fmla="*/ 5724093 h 6386516"/>
              <a:gd name="connsiteX1040" fmla="*/ 1932872 w 6789110"/>
              <a:gd name="connsiteY1040" fmla="*/ 5727943 h 6386516"/>
              <a:gd name="connsiteX1041" fmla="*/ 1917473 w 6789110"/>
              <a:gd name="connsiteY1041" fmla="*/ 5722168 h 6386516"/>
              <a:gd name="connsiteX1042" fmla="*/ 1919399 w 6789110"/>
              <a:gd name="connsiteY1042" fmla="*/ 5718319 h 6386516"/>
              <a:gd name="connsiteX1043" fmla="*/ 1934797 w 6789110"/>
              <a:gd name="connsiteY1043" fmla="*/ 5708695 h 6386516"/>
              <a:gd name="connsiteX1044" fmla="*/ 1284219 w 6789110"/>
              <a:gd name="connsiteY1044" fmla="*/ 5706769 h 6386516"/>
              <a:gd name="connsiteX1045" fmla="*/ 1297693 w 6789110"/>
              <a:gd name="connsiteY1045" fmla="*/ 5712543 h 6386516"/>
              <a:gd name="connsiteX1046" fmla="*/ 1289993 w 6789110"/>
              <a:gd name="connsiteY1046" fmla="*/ 5716393 h 6386516"/>
              <a:gd name="connsiteX1047" fmla="*/ 1280370 w 6789110"/>
              <a:gd name="connsiteY1047" fmla="*/ 5731791 h 6386516"/>
              <a:gd name="connsiteX1048" fmla="*/ 1286144 w 6789110"/>
              <a:gd name="connsiteY1048" fmla="*/ 5731791 h 6386516"/>
              <a:gd name="connsiteX1049" fmla="*/ 1278445 w 6789110"/>
              <a:gd name="connsiteY1049" fmla="*/ 5793384 h 6386516"/>
              <a:gd name="connsiteX1050" fmla="*/ 1259196 w 6789110"/>
              <a:gd name="connsiteY1050" fmla="*/ 5760663 h 6386516"/>
              <a:gd name="connsiteX1051" fmla="*/ 1270746 w 6789110"/>
              <a:gd name="connsiteY1051" fmla="*/ 5716393 h 6386516"/>
              <a:gd name="connsiteX1052" fmla="*/ 1284219 w 6789110"/>
              <a:gd name="connsiteY1052" fmla="*/ 5706769 h 6386516"/>
              <a:gd name="connsiteX1053" fmla="*/ 1266896 w 6789110"/>
              <a:gd name="connsiteY1053" fmla="*/ 5706769 h 6386516"/>
              <a:gd name="connsiteX1054" fmla="*/ 1257271 w 6789110"/>
              <a:gd name="connsiteY1054" fmla="*/ 5735642 h 6386516"/>
              <a:gd name="connsiteX1055" fmla="*/ 1249572 w 6789110"/>
              <a:gd name="connsiteY1055" fmla="*/ 5729867 h 6386516"/>
              <a:gd name="connsiteX1056" fmla="*/ 1249572 w 6789110"/>
              <a:gd name="connsiteY1056" fmla="*/ 5722168 h 6386516"/>
              <a:gd name="connsiteX1057" fmla="*/ 1266896 w 6789110"/>
              <a:gd name="connsiteY1057" fmla="*/ 5706769 h 6386516"/>
              <a:gd name="connsiteX1058" fmla="*/ 1315016 w 6789110"/>
              <a:gd name="connsiteY1058" fmla="*/ 5704845 h 6386516"/>
              <a:gd name="connsiteX1059" fmla="*/ 1318865 w 6789110"/>
              <a:gd name="connsiteY1059" fmla="*/ 5710619 h 6386516"/>
              <a:gd name="connsiteX1060" fmla="*/ 1313861 w 6789110"/>
              <a:gd name="connsiteY1060" fmla="*/ 5710619 h 6386516"/>
              <a:gd name="connsiteX1061" fmla="*/ 1193753 w 6789110"/>
              <a:gd name="connsiteY1061" fmla="*/ 5704845 h 6386516"/>
              <a:gd name="connsiteX1062" fmla="*/ 1211077 w 6789110"/>
              <a:gd name="connsiteY1062" fmla="*/ 5714469 h 6386516"/>
              <a:gd name="connsiteX1063" fmla="*/ 1220701 w 6789110"/>
              <a:gd name="connsiteY1063" fmla="*/ 5714469 h 6386516"/>
              <a:gd name="connsiteX1064" fmla="*/ 1224550 w 6789110"/>
              <a:gd name="connsiteY1064" fmla="*/ 5720243 h 6386516"/>
              <a:gd name="connsiteX1065" fmla="*/ 1209151 w 6789110"/>
              <a:gd name="connsiteY1065" fmla="*/ 5727943 h 6386516"/>
              <a:gd name="connsiteX1066" fmla="*/ 1203378 w 6789110"/>
              <a:gd name="connsiteY1066" fmla="*/ 5724093 h 6386516"/>
              <a:gd name="connsiteX1067" fmla="*/ 1197602 w 6789110"/>
              <a:gd name="connsiteY1067" fmla="*/ 5720243 h 6386516"/>
              <a:gd name="connsiteX1068" fmla="*/ 1193753 w 6789110"/>
              <a:gd name="connsiteY1068" fmla="*/ 5704845 h 6386516"/>
              <a:gd name="connsiteX1069" fmla="*/ 1515192 w 6789110"/>
              <a:gd name="connsiteY1069" fmla="*/ 5702920 h 6386516"/>
              <a:gd name="connsiteX1070" fmla="*/ 1536365 w 6789110"/>
              <a:gd name="connsiteY1070" fmla="*/ 5712544 h 6386516"/>
              <a:gd name="connsiteX1071" fmla="*/ 1540214 w 6789110"/>
              <a:gd name="connsiteY1071" fmla="*/ 5726018 h 6386516"/>
              <a:gd name="connsiteX1072" fmla="*/ 1538289 w 6789110"/>
              <a:gd name="connsiteY1072" fmla="*/ 5722168 h 6386516"/>
              <a:gd name="connsiteX1073" fmla="*/ 1536365 w 6789110"/>
              <a:gd name="connsiteY1073" fmla="*/ 5727943 h 6386516"/>
              <a:gd name="connsiteX1074" fmla="*/ 1530590 w 6789110"/>
              <a:gd name="connsiteY1074" fmla="*/ 5729867 h 6386516"/>
              <a:gd name="connsiteX1075" fmla="*/ 1532516 w 6789110"/>
              <a:gd name="connsiteY1075" fmla="*/ 5733717 h 6386516"/>
              <a:gd name="connsiteX1076" fmla="*/ 1524816 w 6789110"/>
              <a:gd name="connsiteY1076" fmla="*/ 5735642 h 6386516"/>
              <a:gd name="connsiteX1077" fmla="*/ 1536365 w 6789110"/>
              <a:gd name="connsiteY1077" fmla="*/ 5741416 h 6386516"/>
              <a:gd name="connsiteX1078" fmla="*/ 1526742 w 6789110"/>
              <a:gd name="connsiteY1078" fmla="*/ 5743342 h 6386516"/>
              <a:gd name="connsiteX1079" fmla="*/ 1542139 w 6789110"/>
              <a:gd name="connsiteY1079" fmla="*/ 5747191 h 6386516"/>
              <a:gd name="connsiteX1080" fmla="*/ 1530590 w 6789110"/>
              <a:gd name="connsiteY1080" fmla="*/ 5751041 h 6386516"/>
              <a:gd name="connsiteX1081" fmla="*/ 1555612 w 6789110"/>
              <a:gd name="connsiteY1081" fmla="*/ 5756815 h 6386516"/>
              <a:gd name="connsiteX1082" fmla="*/ 1565236 w 6789110"/>
              <a:gd name="connsiteY1082" fmla="*/ 5779912 h 6386516"/>
              <a:gd name="connsiteX1083" fmla="*/ 1536365 w 6789110"/>
              <a:gd name="connsiteY1083" fmla="*/ 5752966 h 6386516"/>
              <a:gd name="connsiteX1084" fmla="*/ 1569086 w 6789110"/>
              <a:gd name="connsiteY1084" fmla="*/ 5791461 h 6386516"/>
              <a:gd name="connsiteX1085" fmla="*/ 1584484 w 6789110"/>
              <a:gd name="connsiteY1085" fmla="*/ 5843431 h 6386516"/>
              <a:gd name="connsiteX1086" fmla="*/ 1580635 w 6789110"/>
              <a:gd name="connsiteY1086" fmla="*/ 5847280 h 6386516"/>
              <a:gd name="connsiteX1087" fmla="*/ 1592183 w 6789110"/>
              <a:gd name="connsiteY1087" fmla="*/ 5860754 h 6386516"/>
              <a:gd name="connsiteX1088" fmla="*/ 1592183 w 6789110"/>
              <a:gd name="connsiteY1088" fmla="*/ 5866528 h 6386516"/>
              <a:gd name="connsiteX1089" fmla="*/ 1592183 w 6789110"/>
              <a:gd name="connsiteY1089" fmla="*/ 5868453 h 6386516"/>
              <a:gd name="connsiteX1090" fmla="*/ 1590259 w 6789110"/>
              <a:gd name="connsiteY1090" fmla="*/ 5870378 h 6386516"/>
              <a:gd name="connsiteX1091" fmla="*/ 1586409 w 6789110"/>
              <a:gd name="connsiteY1091" fmla="*/ 5881927 h 6386516"/>
              <a:gd name="connsiteX1092" fmla="*/ 1580635 w 6789110"/>
              <a:gd name="connsiteY1092" fmla="*/ 5881927 h 6386516"/>
              <a:gd name="connsiteX1093" fmla="*/ 1551763 w 6789110"/>
              <a:gd name="connsiteY1093" fmla="*/ 5891550 h 6386516"/>
              <a:gd name="connsiteX1094" fmla="*/ 1551763 w 6789110"/>
              <a:gd name="connsiteY1094" fmla="*/ 5887701 h 6386516"/>
              <a:gd name="connsiteX1095" fmla="*/ 1572936 w 6789110"/>
              <a:gd name="connsiteY1095" fmla="*/ 5874227 h 6386516"/>
              <a:gd name="connsiteX1096" fmla="*/ 1549838 w 6789110"/>
              <a:gd name="connsiteY1096" fmla="*/ 5876152 h 6386516"/>
              <a:gd name="connsiteX1097" fmla="*/ 1547913 w 6789110"/>
              <a:gd name="connsiteY1097" fmla="*/ 5835731 h 6386516"/>
              <a:gd name="connsiteX1098" fmla="*/ 1542139 w 6789110"/>
              <a:gd name="connsiteY1098" fmla="*/ 5841506 h 6386516"/>
              <a:gd name="connsiteX1099" fmla="*/ 1515192 w 6789110"/>
              <a:gd name="connsiteY1099" fmla="*/ 5702920 h 6386516"/>
              <a:gd name="connsiteX1100" fmla="*/ 1921324 w 6789110"/>
              <a:gd name="connsiteY1100" fmla="*/ 5695222 h 6386516"/>
              <a:gd name="connsiteX1101" fmla="*/ 1925173 w 6789110"/>
              <a:gd name="connsiteY1101" fmla="*/ 5695222 h 6386516"/>
              <a:gd name="connsiteX1102" fmla="*/ 1925173 w 6789110"/>
              <a:gd name="connsiteY1102" fmla="*/ 5697147 h 6386516"/>
              <a:gd name="connsiteX1103" fmla="*/ 1923247 w 6789110"/>
              <a:gd name="connsiteY1103" fmla="*/ 5697147 h 6386516"/>
              <a:gd name="connsiteX1104" fmla="*/ 1919399 w 6789110"/>
              <a:gd name="connsiteY1104" fmla="*/ 5700995 h 6386516"/>
              <a:gd name="connsiteX1105" fmla="*/ 1919399 w 6789110"/>
              <a:gd name="connsiteY1105" fmla="*/ 5697146 h 6386516"/>
              <a:gd name="connsiteX1106" fmla="*/ 1921324 w 6789110"/>
              <a:gd name="connsiteY1106" fmla="*/ 5697146 h 6386516"/>
              <a:gd name="connsiteX1107" fmla="*/ 1280368 w 6789110"/>
              <a:gd name="connsiteY1107" fmla="*/ 5693297 h 6386516"/>
              <a:gd name="connsiteX1108" fmla="*/ 1305391 w 6789110"/>
              <a:gd name="connsiteY1108" fmla="*/ 5700996 h 6386516"/>
              <a:gd name="connsiteX1109" fmla="*/ 1309241 w 6789110"/>
              <a:gd name="connsiteY1109" fmla="*/ 5710620 h 6386516"/>
              <a:gd name="connsiteX1110" fmla="*/ 1295767 w 6789110"/>
              <a:gd name="connsiteY1110" fmla="*/ 5699071 h 6386516"/>
              <a:gd name="connsiteX1111" fmla="*/ 1280368 w 6789110"/>
              <a:gd name="connsiteY1111" fmla="*/ 5693297 h 6386516"/>
              <a:gd name="connsiteX1112" fmla="*/ 1913625 w 6789110"/>
              <a:gd name="connsiteY1112" fmla="*/ 5691372 h 6386516"/>
              <a:gd name="connsiteX1113" fmla="*/ 1917474 w 6789110"/>
              <a:gd name="connsiteY1113" fmla="*/ 5691372 h 6386516"/>
              <a:gd name="connsiteX1114" fmla="*/ 1913625 w 6789110"/>
              <a:gd name="connsiteY1114" fmla="*/ 5693297 h 6386516"/>
              <a:gd name="connsiteX1115" fmla="*/ 1913625 w 6789110"/>
              <a:gd name="connsiteY1115" fmla="*/ 5691372 h 6386516"/>
              <a:gd name="connsiteX1116" fmla="*/ 1461299 w 6789110"/>
              <a:gd name="connsiteY1116" fmla="*/ 5683673 h 6386516"/>
              <a:gd name="connsiteX1117" fmla="*/ 1463224 w 6789110"/>
              <a:gd name="connsiteY1117" fmla="*/ 5687523 h 6386516"/>
              <a:gd name="connsiteX1118" fmla="*/ 1461299 w 6789110"/>
              <a:gd name="connsiteY1118" fmla="*/ 5687523 h 6386516"/>
              <a:gd name="connsiteX1119" fmla="*/ 1461299 w 6789110"/>
              <a:gd name="connsiteY1119" fmla="*/ 5683673 h 6386516"/>
              <a:gd name="connsiteX1120" fmla="*/ 1480547 w 6789110"/>
              <a:gd name="connsiteY1120" fmla="*/ 5683672 h 6386516"/>
              <a:gd name="connsiteX1121" fmla="*/ 1484397 w 6789110"/>
              <a:gd name="connsiteY1121" fmla="*/ 5700995 h 6386516"/>
              <a:gd name="connsiteX1122" fmla="*/ 1497871 w 6789110"/>
              <a:gd name="connsiteY1122" fmla="*/ 5826106 h 6386516"/>
              <a:gd name="connsiteX1123" fmla="*/ 1461299 w 6789110"/>
              <a:gd name="connsiteY1123" fmla="*/ 5726017 h 6386516"/>
              <a:gd name="connsiteX1124" fmla="*/ 1468998 w 6789110"/>
              <a:gd name="connsiteY1124" fmla="*/ 5712544 h 6386516"/>
              <a:gd name="connsiteX1125" fmla="*/ 1461299 w 6789110"/>
              <a:gd name="connsiteY1125" fmla="*/ 5720243 h 6386516"/>
              <a:gd name="connsiteX1126" fmla="*/ 1459374 w 6789110"/>
              <a:gd name="connsiteY1126" fmla="*/ 5704845 h 6386516"/>
              <a:gd name="connsiteX1127" fmla="*/ 1461299 w 6789110"/>
              <a:gd name="connsiteY1127" fmla="*/ 5697146 h 6386516"/>
              <a:gd name="connsiteX1128" fmla="*/ 1480547 w 6789110"/>
              <a:gd name="connsiteY1128" fmla="*/ 5683672 h 6386516"/>
              <a:gd name="connsiteX1129" fmla="*/ 1977142 w 6789110"/>
              <a:gd name="connsiteY1129" fmla="*/ 5681748 h 6386516"/>
              <a:gd name="connsiteX1130" fmla="*/ 1975217 w 6789110"/>
              <a:gd name="connsiteY1130" fmla="*/ 5683674 h 6386516"/>
              <a:gd name="connsiteX1131" fmla="*/ 1973549 w 6789110"/>
              <a:gd name="connsiteY1131" fmla="*/ 5693042 h 6386516"/>
              <a:gd name="connsiteX1132" fmla="*/ 1536366 w 6789110"/>
              <a:gd name="connsiteY1132" fmla="*/ 5681747 h 6386516"/>
              <a:gd name="connsiteX1133" fmla="*/ 1536366 w 6789110"/>
              <a:gd name="connsiteY1133" fmla="*/ 5683673 h 6386516"/>
              <a:gd name="connsiteX1134" fmla="*/ 1534442 w 6789110"/>
              <a:gd name="connsiteY1134" fmla="*/ 5697147 h 6386516"/>
              <a:gd name="connsiteX1135" fmla="*/ 1534442 w 6789110"/>
              <a:gd name="connsiteY1135" fmla="*/ 5699071 h 6386516"/>
              <a:gd name="connsiteX1136" fmla="*/ 1534442 w 6789110"/>
              <a:gd name="connsiteY1136" fmla="*/ 5710620 h 6386516"/>
              <a:gd name="connsiteX1137" fmla="*/ 1513268 w 6789110"/>
              <a:gd name="connsiteY1137" fmla="*/ 5693297 h 6386516"/>
              <a:gd name="connsiteX1138" fmla="*/ 1515194 w 6789110"/>
              <a:gd name="connsiteY1138" fmla="*/ 5683673 h 6386516"/>
              <a:gd name="connsiteX1139" fmla="*/ 1536366 w 6789110"/>
              <a:gd name="connsiteY1139" fmla="*/ 5681747 h 6386516"/>
              <a:gd name="connsiteX1140" fmla="*/ 1399706 w 6789110"/>
              <a:gd name="connsiteY1140" fmla="*/ 5677899 h 6386516"/>
              <a:gd name="connsiteX1141" fmla="*/ 1403556 w 6789110"/>
              <a:gd name="connsiteY1141" fmla="*/ 5679824 h 6386516"/>
              <a:gd name="connsiteX1142" fmla="*/ 1401631 w 6789110"/>
              <a:gd name="connsiteY1142" fmla="*/ 5685598 h 6386516"/>
              <a:gd name="connsiteX1143" fmla="*/ 1403556 w 6789110"/>
              <a:gd name="connsiteY1143" fmla="*/ 5687523 h 6386516"/>
              <a:gd name="connsiteX1144" fmla="*/ 1401631 w 6789110"/>
              <a:gd name="connsiteY1144" fmla="*/ 5693297 h 6386516"/>
              <a:gd name="connsiteX1145" fmla="*/ 1399706 w 6789110"/>
              <a:gd name="connsiteY1145" fmla="*/ 5677899 h 6386516"/>
              <a:gd name="connsiteX1146" fmla="*/ 1921324 w 6789110"/>
              <a:gd name="connsiteY1146" fmla="*/ 5674049 h 6386516"/>
              <a:gd name="connsiteX1147" fmla="*/ 1919399 w 6789110"/>
              <a:gd name="connsiteY1147" fmla="*/ 5681748 h 6386516"/>
              <a:gd name="connsiteX1148" fmla="*/ 1919399 w 6789110"/>
              <a:gd name="connsiteY1148" fmla="*/ 5677899 h 6386516"/>
              <a:gd name="connsiteX1149" fmla="*/ 1921324 w 6789110"/>
              <a:gd name="connsiteY1149" fmla="*/ 5674049 h 6386516"/>
              <a:gd name="connsiteX1150" fmla="*/ 1478621 w 6789110"/>
              <a:gd name="connsiteY1150" fmla="*/ 5662500 h 6386516"/>
              <a:gd name="connsiteX1151" fmla="*/ 1482472 w 6789110"/>
              <a:gd name="connsiteY1151" fmla="*/ 5672124 h 6386516"/>
              <a:gd name="connsiteX1152" fmla="*/ 1478621 w 6789110"/>
              <a:gd name="connsiteY1152" fmla="*/ 5670200 h 6386516"/>
              <a:gd name="connsiteX1153" fmla="*/ 1474772 w 6789110"/>
              <a:gd name="connsiteY1153" fmla="*/ 5674049 h 6386516"/>
              <a:gd name="connsiteX1154" fmla="*/ 1472848 w 6789110"/>
              <a:gd name="connsiteY1154" fmla="*/ 5670200 h 6386516"/>
              <a:gd name="connsiteX1155" fmla="*/ 1474772 w 6789110"/>
              <a:gd name="connsiteY1155" fmla="*/ 5664425 h 6386516"/>
              <a:gd name="connsiteX1156" fmla="*/ 1478621 w 6789110"/>
              <a:gd name="connsiteY1156" fmla="*/ 5662500 h 6386516"/>
              <a:gd name="connsiteX1157" fmla="*/ 1511343 w 6789110"/>
              <a:gd name="connsiteY1157" fmla="*/ 5660576 h 6386516"/>
              <a:gd name="connsiteX1158" fmla="*/ 1520968 w 6789110"/>
              <a:gd name="connsiteY1158" fmla="*/ 5660576 h 6386516"/>
              <a:gd name="connsiteX1159" fmla="*/ 1515194 w 6789110"/>
              <a:gd name="connsiteY1159" fmla="*/ 5662500 h 6386516"/>
              <a:gd name="connsiteX1160" fmla="*/ 1513268 w 6789110"/>
              <a:gd name="connsiteY1160" fmla="*/ 5666350 h 6386516"/>
              <a:gd name="connsiteX1161" fmla="*/ 1511343 w 6789110"/>
              <a:gd name="connsiteY1161" fmla="*/ 5666350 h 6386516"/>
              <a:gd name="connsiteX1162" fmla="*/ 1511343 w 6789110"/>
              <a:gd name="connsiteY1162" fmla="*/ 5662500 h 6386516"/>
              <a:gd name="connsiteX1163" fmla="*/ 1511343 w 6789110"/>
              <a:gd name="connsiteY1163" fmla="*/ 5660576 h 6386516"/>
              <a:gd name="connsiteX1164" fmla="*/ 2083006 w 6789110"/>
              <a:gd name="connsiteY1164" fmla="*/ 5650952 h 6386516"/>
              <a:gd name="connsiteX1165" fmla="*/ 2084930 w 6789110"/>
              <a:gd name="connsiteY1165" fmla="*/ 5650952 h 6386516"/>
              <a:gd name="connsiteX1166" fmla="*/ 2086855 w 6789110"/>
              <a:gd name="connsiteY1166" fmla="*/ 5654801 h 6386516"/>
              <a:gd name="connsiteX1167" fmla="*/ 2083006 w 6789110"/>
              <a:gd name="connsiteY1167" fmla="*/ 5664425 h 6386516"/>
              <a:gd name="connsiteX1168" fmla="*/ 2083006 w 6789110"/>
              <a:gd name="connsiteY1168" fmla="*/ 5654801 h 6386516"/>
              <a:gd name="connsiteX1169" fmla="*/ 2079156 w 6789110"/>
              <a:gd name="connsiteY1169" fmla="*/ 5654801 h 6386516"/>
              <a:gd name="connsiteX1170" fmla="*/ 2083006 w 6789110"/>
              <a:gd name="connsiteY1170" fmla="*/ 5650952 h 6386516"/>
              <a:gd name="connsiteX1171" fmla="*/ 1332341 w 6789110"/>
              <a:gd name="connsiteY1171" fmla="*/ 5647107 h 6386516"/>
              <a:gd name="connsiteX1172" fmla="*/ 1336188 w 6789110"/>
              <a:gd name="connsiteY1172" fmla="*/ 5658650 h 6386516"/>
              <a:gd name="connsiteX1173" fmla="*/ 1338113 w 6789110"/>
              <a:gd name="connsiteY1173" fmla="*/ 5672123 h 6386516"/>
              <a:gd name="connsiteX1174" fmla="*/ 1511344 w 6789110"/>
              <a:gd name="connsiteY1174" fmla="*/ 5647102 h 6386516"/>
              <a:gd name="connsiteX1175" fmla="*/ 1515194 w 6789110"/>
              <a:gd name="connsiteY1175" fmla="*/ 5650952 h 6386516"/>
              <a:gd name="connsiteX1176" fmla="*/ 1511344 w 6789110"/>
              <a:gd name="connsiteY1176" fmla="*/ 5650952 h 6386516"/>
              <a:gd name="connsiteX1177" fmla="*/ 1511344 w 6789110"/>
              <a:gd name="connsiteY1177" fmla="*/ 5647102 h 6386516"/>
              <a:gd name="connsiteX1178" fmla="*/ 1332339 w 6789110"/>
              <a:gd name="connsiteY1178" fmla="*/ 5647101 h 6386516"/>
              <a:gd name="connsiteX1179" fmla="*/ 1332341 w 6789110"/>
              <a:gd name="connsiteY1179" fmla="*/ 5647107 h 6386516"/>
              <a:gd name="connsiteX1180" fmla="*/ 1332339 w 6789110"/>
              <a:gd name="connsiteY1180" fmla="*/ 5647102 h 6386516"/>
              <a:gd name="connsiteX1181" fmla="*/ 1634530 w 6789110"/>
              <a:gd name="connsiteY1181" fmla="*/ 5645176 h 6386516"/>
              <a:gd name="connsiteX1182" fmla="*/ 1628756 w 6789110"/>
              <a:gd name="connsiteY1182" fmla="*/ 5679823 h 6386516"/>
              <a:gd name="connsiteX1183" fmla="*/ 1628756 w 6789110"/>
              <a:gd name="connsiteY1183" fmla="*/ 5668275 h 6386516"/>
              <a:gd name="connsiteX1184" fmla="*/ 1634530 w 6789110"/>
              <a:gd name="connsiteY1184" fmla="*/ 5645176 h 6386516"/>
              <a:gd name="connsiteX1185" fmla="*/ 1193754 w 6789110"/>
              <a:gd name="connsiteY1185" fmla="*/ 5643251 h 6386516"/>
              <a:gd name="connsiteX1186" fmla="*/ 1214927 w 6789110"/>
              <a:gd name="connsiteY1186" fmla="*/ 5700996 h 6386516"/>
              <a:gd name="connsiteX1187" fmla="*/ 1189903 w 6789110"/>
              <a:gd name="connsiteY1187" fmla="*/ 5697146 h 6386516"/>
              <a:gd name="connsiteX1188" fmla="*/ 1186054 w 6789110"/>
              <a:gd name="connsiteY1188" fmla="*/ 5679823 h 6386516"/>
              <a:gd name="connsiteX1189" fmla="*/ 1186054 w 6789110"/>
              <a:gd name="connsiteY1189" fmla="*/ 5660575 h 6386516"/>
              <a:gd name="connsiteX1190" fmla="*/ 1189903 w 6789110"/>
              <a:gd name="connsiteY1190" fmla="*/ 5652876 h 6386516"/>
              <a:gd name="connsiteX1191" fmla="*/ 1193754 w 6789110"/>
              <a:gd name="connsiteY1191" fmla="*/ 5643251 h 6386516"/>
              <a:gd name="connsiteX1192" fmla="*/ 1515194 w 6789110"/>
              <a:gd name="connsiteY1192" fmla="*/ 5631704 h 6386516"/>
              <a:gd name="connsiteX1193" fmla="*/ 1520968 w 6789110"/>
              <a:gd name="connsiteY1193" fmla="*/ 5647102 h 6386516"/>
              <a:gd name="connsiteX1194" fmla="*/ 1513269 w 6789110"/>
              <a:gd name="connsiteY1194" fmla="*/ 5643252 h 6386516"/>
              <a:gd name="connsiteX1195" fmla="*/ 1515194 w 6789110"/>
              <a:gd name="connsiteY1195" fmla="*/ 5631704 h 6386516"/>
              <a:gd name="connsiteX1196" fmla="*/ 1189905 w 6789110"/>
              <a:gd name="connsiteY1196" fmla="*/ 5631704 h 6386516"/>
              <a:gd name="connsiteX1197" fmla="*/ 1191829 w 6789110"/>
              <a:gd name="connsiteY1197" fmla="*/ 5637478 h 6386516"/>
              <a:gd name="connsiteX1198" fmla="*/ 1187980 w 6789110"/>
              <a:gd name="connsiteY1198" fmla="*/ 5645177 h 6386516"/>
              <a:gd name="connsiteX1199" fmla="*/ 1189905 w 6789110"/>
              <a:gd name="connsiteY1199" fmla="*/ 5631704 h 6386516"/>
              <a:gd name="connsiteX1200" fmla="*/ 1484397 w 6789110"/>
              <a:gd name="connsiteY1200" fmla="*/ 5618230 h 6386516"/>
              <a:gd name="connsiteX1201" fmla="*/ 1484397 w 6789110"/>
              <a:gd name="connsiteY1201" fmla="*/ 5631704 h 6386516"/>
              <a:gd name="connsiteX1202" fmla="*/ 1482472 w 6789110"/>
              <a:gd name="connsiteY1202" fmla="*/ 5631704 h 6386516"/>
              <a:gd name="connsiteX1203" fmla="*/ 1470923 w 6789110"/>
              <a:gd name="connsiteY1203" fmla="*/ 5639403 h 6386516"/>
              <a:gd name="connsiteX1204" fmla="*/ 1468998 w 6789110"/>
              <a:gd name="connsiteY1204" fmla="*/ 5637478 h 6386516"/>
              <a:gd name="connsiteX1205" fmla="*/ 1472848 w 6789110"/>
              <a:gd name="connsiteY1205" fmla="*/ 5631704 h 6386516"/>
              <a:gd name="connsiteX1206" fmla="*/ 1467073 w 6789110"/>
              <a:gd name="connsiteY1206" fmla="*/ 5631704 h 6386516"/>
              <a:gd name="connsiteX1207" fmla="*/ 1470923 w 6789110"/>
              <a:gd name="connsiteY1207" fmla="*/ 5629779 h 6386516"/>
              <a:gd name="connsiteX1208" fmla="*/ 1478623 w 6789110"/>
              <a:gd name="connsiteY1208" fmla="*/ 5633628 h 6386516"/>
              <a:gd name="connsiteX1209" fmla="*/ 1480547 w 6789110"/>
              <a:gd name="connsiteY1209" fmla="*/ 5631704 h 6386516"/>
              <a:gd name="connsiteX1210" fmla="*/ 1476697 w 6789110"/>
              <a:gd name="connsiteY1210" fmla="*/ 5622080 h 6386516"/>
              <a:gd name="connsiteX1211" fmla="*/ 1484397 w 6789110"/>
              <a:gd name="connsiteY1211" fmla="*/ 5618230 h 6386516"/>
              <a:gd name="connsiteX1212" fmla="*/ 1286144 w 6789110"/>
              <a:gd name="connsiteY1212" fmla="*/ 5614380 h 6386516"/>
              <a:gd name="connsiteX1213" fmla="*/ 1288069 w 6789110"/>
              <a:gd name="connsiteY1213" fmla="*/ 5614380 h 6386516"/>
              <a:gd name="connsiteX1214" fmla="*/ 1286144 w 6789110"/>
              <a:gd name="connsiteY1214" fmla="*/ 5616305 h 6386516"/>
              <a:gd name="connsiteX1215" fmla="*/ 1286144 w 6789110"/>
              <a:gd name="connsiteY1215" fmla="*/ 5614380 h 6386516"/>
              <a:gd name="connsiteX1216" fmla="*/ 1295768 w 6789110"/>
              <a:gd name="connsiteY1216" fmla="*/ 5612455 h 6386516"/>
              <a:gd name="connsiteX1217" fmla="*/ 1316940 w 6789110"/>
              <a:gd name="connsiteY1217" fmla="*/ 5616304 h 6386516"/>
              <a:gd name="connsiteX1218" fmla="*/ 1307315 w 6789110"/>
              <a:gd name="connsiteY1218" fmla="*/ 5635552 h 6386516"/>
              <a:gd name="connsiteX1219" fmla="*/ 1330414 w 6789110"/>
              <a:gd name="connsiteY1219" fmla="*/ 5618229 h 6386516"/>
              <a:gd name="connsiteX1220" fmla="*/ 1332339 w 6789110"/>
              <a:gd name="connsiteY1220" fmla="*/ 5631703 h 6386516"/>
              <a:gd name="connsiteX1221" fmla="*/ 1328489 w 6789110"/>
              <a:gd name="connsiteY1221" fmla="*/ 5635552 h 6386516"/>
              <a:gd name="connsiteX1222" fmla="*/ 1332339 w 6789110"/>
              <a:gd name="connsiteY1222" fmla="*/ 5647102 h 6386516"/>
              <a:gd name="connsiteX1223" fmla="*/ 1330414 w 6789110"/>
              <a:gd name="connsiteY1223" fmla="*/ 5664424 h 6386516"/>
              <a:gd name="connsiteX1224" fmla="*/ 1295768 w 6789110"/>
              <a:gd name="connsiteY1224" fmla="*/ 5662499 h 6386516"/>
              <a:gd name="connsiteX1225" fmla="*/ 1326564 w 6789110"/>
              <a:gd name="connsiteY1225" fmla="*/ 5675973 h 6386516"/>
              <a:gd name="connsiteX1226" fmla="*/ 1324640 w 6789110"/>
              <a:gd name="connsiteY1226" fmla="*/ 5691371 h 6386516"/>
              <a:gd name="connsiteX1227" fmla="*/ 1318865 w 6789110"/>
              <a:gd name="connsiteY1227" fmla="*/ 5689446 h 6386516"/>
              <a:gd name="connsiteX1228" fmla="*/ 1313091 w 6789110"/>
              <a:gd name="connsiteY1228" fmla="*/ 5670199 h 6386516"/>
              <a:gd name="connsiteX1229" fmla="*/ 1309240 w 6789110"/>
              <a:gd name="connsiteY1229" fmla="*/ 5687522 h 6386516"/>
              <a:gd name="connsiteX1230" fmla="*/ 1276519 w 6789110"/>
              <a:gd name="connsiteY1230" fmla="*/ 5683672 h 6386516"/>
              <a:gd name="connsiteX1231" fmla="*/ 1280368 w 6789110"/>
              <a:gd name="connsiteY1231" fmla="*/ 5670199 h 6386516"/>
              <a:gd name="connsiteX1232" fmla="*/ 1278444 w 6789110"/>
              <a:gd name="connsiteY1232" fmla="*/ 5666349 h 6386516"/>
              <a:gd name="connsiteX1233" fmla="*/ 1289992 w 6789110"/>
              <a:gd name="connsiteY1233" fmla="*/ 5618229 h 6386516"/>
              <a:gd name="connsiteX1234" fmla="*/ 1295768 w 6789110"/>
              <a:gd name="connsiteY1234" fmla="*/ 5612455 h 6386516"/>
              <a:gd name="connsiteX1235" fmla="*/ 1366983 w 6789110"/>
              <a:gd name="connsiteY1235" fmla="*/ 5598981 h 6386516"/>
              <a:gd name="connsiteX1236" fmla="*/ 1420878 w 6789110"/>
              <a:gd name="connsiteY1236" fmla="*/ 5658649 h 6386516"/>
              <a:gd name="connsiteX1237" fmla="*/ 1411254 w 6789110"/>
              <a:gd name="connsiteY1237" fmla="*/ 5672123 h 6386516"/>
              <a:gd name="connsiteX1238" fmla="*/ 1397780 w 6789110"/>
              <a:gd name="connsiteY1238" fmla="*/ 5674048 h 6386516"/>
              <a:gd name="connsiteX1239" fmla="*/ 1395855 w 6789110"/>
              <a:gd name="connsiteY1239" fmla="*/ 5668273 h 6386516"/>
              <a:gd name="connsiteX1240" fmla="*/ 1365059 w 6789110"/>
              <a:gd name="connsiteY1240" fmla="*/ 5612455 h 6386516"/>
              <a:gd name="connsiteX1241" fmla="*/ 1365059 w 6789110"/>
              <a:gd name="connsiteY1241" fmla="*/ 5631703 h 6386516"/>
              <a:gd name="connsiteX1242" fmla="*/ 1357360 w 6789110"/>
              <a:gd name="connsiteY1242" fmla="*/ 5649026 h 6386516"/>
              <a:gd name="connsiteX1243" fmla="*/ 1357360 w 6789110"/>
              <a:gd name="connsiteY1243" fmla="*/ 5650950 h 6386516"/>
              <a:gd name="connsiteX1244" fmla="*/ 1345811 w 6789110"/>
              <a:gd name="connsiteY1244" fmla="*/ 5643251 h 6386516"/>
              <a:gd name="connsiteX1245" fmla="*/ 1359284 w 6789110"/>
              <a:gd name="connsiteY1245" fmla="*/ 5668273 h 6386516"/>
              <a:gd name="connsiteX1246" fmla="*/ 1372758 w 6789110"/>
              <a:gd name="connsiteY1246" fmla="*/ 5695220 h 6386516"/>
              <a:gd name="connsiteX1247" fmla="*/ 1347736 w 6789110"/>
              <a:gd name="connsiteY1247" fmla="*/ 5677897 h 6386516"/>
              <a:gd name="connsiteX1248" fmla="*/ 1341961 w 6789110"/>
              <a:gd name="connsiteY1248" fmla="*/ 5633627 h 6386516"/>
              <a:gd name="connsiteX1249" fmla="*/ 1340037 w 6789110"/>
              <a:gd name="connsiteY1249" fmla="*/ 5612455 h 6386516"/>
              <a:gd name="connsiteX1250" fmla="*/ 1336187 w 6789110"/>
              <a:gd name="connsiteY1250" fmla="*/ 5614379 h 6386516"/>
              <a:gd name="connsiteX1251" fmla="*/ 1336187 w 6789110"/>
              <a:gd name="connsiteY1251" fmla="*/ 5610530 h 6386516"/>
              <a:gd name="connsiteX1252" fmla="*/ 1341961 w 6789110"/>
              <a:gd name="connsiteY1252" fmla="*/ 5600906 h 6386516"/>
              <a:gd name="connsiteX1253" fmla="*/ 1366983 w 6789110"/>
              <a:gd name="connsiteY1253" fmla="*/ 5598981 h 6386516"/>
              <a:gd name="connsiteX1254" fmla="*/ 1486322 w 6789110"/>
              <a:gd name="connsiteY1254" fmla="*/ 5597057 h 6386516"/>
              <a:gd name="connsiteX1255" fmla="*/ 1486322 w 6789110"/>
              <a:gd name="connsiteY1255" fmla="*/ 5604756 h 6386516"/>
              <a:gd name="connsiteX1256" fmla="*/ 1482472 w 6789110"/>
              <a:gd name="connsiteY1256" fmla="*/ 5606681 h 6386516"/>
              <a:gd name="connsiteX1257" fmla="*/ 1486322 w 6789110"/>
              <a:gd name="connsiteY1257" fmla="*/ 5597057 h 6386516"/>
              <a:gd name="connsiteX1258" fmla="*/ 1203378 w 6789110"/>
              <a:gd name="connsiteY1258" fmla="*/ 5587433 h 6386516"/>
              <a:gd name="connsiteX1259" fmla="*/ 1201453 w 6789110"/>
              <a:gd name="connsiteY1259" fmla="*/ 5591283 h 6386516"/>
              <a:gd name="connsiteX1260" fmla="*/ 1201453 w 6789110"/>
              <a:gd name="connsiteY1260" fmla="*/ 5597057 h 6386516"/>
              <a:gd name="connsiteX1261" fmla="*/ 1195679 w 6789110"/>
              <a:gd name="connsiteY1261" fmla="*/ 5589358 h 6386516"/>
              <a:gd name="connsiteX1262" fmla="*/ 1203378 w 6789110"/>
              <a:gd name="connsiteY1262" fmla="*/ 5587433 h 6386516"/>
              <a:gd name="connsiteX1263" fmla="*/ 1220701 w 6789110"/>
              <a:gd name="connsiteY1263" fmla="*/ 5585507 h 6386516"/>
              <a:gd name="connsiteX1264" fmla="*/ 1209151 w 6789110"/>
              <a:gd name="connsiteY1264" fmla="*/ 5624004 h 6386516"/>
              <a:gd name="connsiteX1265" fmla="*/ 1203378 w 6789110"/>
              <a:gd name="connsiteY1265" fmla="*/ 5606681 h 6386516"/>
              <a:gd name="connsiteX1266" fmla="*/ 1209151 w 6789110"/>
              <a:gd name="connsiteY1266" fmla="*/ 5587433 h 6386516"/>
              <a:gd name="connsiteX1267" fmla="*/ 1220701 w 6789110"/>
              <a:gd name="connsiteY1267" fmla="*/ 5585507 h 6386516"/>
              <a:gd name="connsiteX1268" fmla="*/ 1284218 w 6789110"/>
              <a:gd name="connsiteY1268" fmla="*/ 5579733 h 6386516"/>
              <a:gd name="connsiteX1269" fmla="*/ 1322715 w 6789110"/>
              <a:gd name="connsiteY1269" fmla="*/ 5579733 h 6386516"/>
              <a:gd name="connsiteX1270" fmla="*/ 1326564 w 6789110"/>
              <a:gd name="connsiteY1270" fmla="*/ 5597057 h 6386516"/>
              <a:gd name="connsiteX1271" fmla="*/ 1289992 w 6789110"/>
              <a:gd name="connsiteY1271" fmla="*/ 5608606 h 6386516"/>
              <a:gd name="connsiteX1272" fmla="*/ 1286143 w 6789110"/>
              <a:gd name="connsiteY1272" fmla="*/ 5606681 h 6386516"/>
              <a:gd name="connsiteX1273" fmla="*/ 1288067 w 6789110"/>
              <a:gd name="connsiteY1273" fmla="*/ 5585508 h 6386516"/>
              <a:gd name="connsiteX1274" fmla="*/ 1284218 w 6789110"/>
              <a:gd name="connsiteY1274" fmla="*/ 5579733 h 6386516"/>
              <a:gd name="connsiteX1275" fmla="*/ 1332338 w 6789110"/>
              <a:gd name="connsiteY1275" fmla="*/ 5573960 h 6386516"/>
              <a:gd name="connsiteX1276" fmla="*/ 1347737 w 6789110"/>
              <a:gd name="connsiteY1276" fmla="*/ 5583584 h 6386516"/>
              <a:gd name="connsiteX1277" fmla="*/ 1338113 w 6789110"/>
              <a:gd name="connsiteY1277" fmla="*/ 5591283 h 6386516"/>
              <a:gd name="connsiteX1278" fmla="*/ 1338113 w 6789110"/>
              <a:gd name="connsiteY1278" fmla="*/ 5589358 h 6386516"/>
              <a:gd name="connsiteX1279" fmla="*/ 1332338 w 6789110"/>
              <a:gd name="connsiteY1279" fmla="*/ 5573960 h 6386516"/>
              <a:gd name="connsiteX1280" fmla="*/ 1459374 w 6789110"/>
              <a:gd name="connsiteY1280" fmla="*/ 5572034 h 6386516"/>
              <a:gd name="connsiteX1281" fmla="*/ 1459374 w 6789110"/>
              <a:gd name="connsiteY1281" fmla="*/ 5610531 h 6386516"/>
              <a:gd name="connsiteX1282" fmla="*/ 1455525 w 6789110"/>
              <a:gd name="connsiteY1282" fmla="*/ 5602832 h 6386516"/>
              <a:gd name="connsiteX1283" fmla="*/ 1459374 w 6789110"/>
              <a:gd name="connsiteY1283" fmla="*/ 5572034 h 6386516"/>
              <a:gd name="connsiteX1284" fmla="*/ 1264971 w 6789110"/>
              <a:gd name="connsiteY1284" fmla="*/ 5572034 h 6386516"/>
              <a:gd name="connsiteX1285" fmla="*/ 1278445 w 6789110"/>
              <a:gd name="connsiteY1285" fmla="*/ 5575883 h 6386516"/>
              <a:gd name="connsiteX1286" fmla="*/ 1278445 w 6789110"/>
              <a:gd name="connsiteY1286" fmla="*/ 5600906 h 6386516"/>
              <a:gd name="connsiteX1287" fmla="*/ 1259196 w 6789110"/>
              <a:gd name="connsiteY1287" fmla="*/ 5604756 h 6386516"/>
              <a:gd name="connsiteX1288" fmla="*/ 1280369 w 6789110"/>
              <a:gd name="connsiteY1288" fmla="*/ 5610531 h 6386516"/>
              <a:gd name="connsiteX1289" fmla="*/ 1276520 w 6789110"/>
              <a:gd name="connsiteY1289" fmla="*/ 5649026 h 6386516"/>
              <a:gd name="connsiteX1290" fmla="*/ 1272670 w 6789110"/>
              <a:gd name="connsiteY1290" fmla="*/ 5650951 h 6386516"/>
              <a:gd name="connsiteX1291" fmla="*/ 1268821 w 6789110"/>
              <a:gd name="connsiteY1291" fmla="*/ 5674048 h 6386516"/>
              <a:gd name="connsiteX1292" fmla="*/ 1266896 w 6789110"/>
              <a:gd name="connsiteY1292" fmla="*/ 5702920 h 6386516"/>
              <a:gd name="connsiteX1293" fmla="*/ 1245723 w 6789110"/>
              <a:gd name="connsiteY1293" fmla="*/ 5718319 h 6386516"/>
              <a:gd name="connsiteX1294" fmla="*/ 1243797 w 6789110"/>
              <a:gd name="connsiteY1294" fmla="*/ 5716394 h 6386516"/>
              <a:gd name="connsiteX1295" fmla="*/ 1241873 w 6789110"/>
              <a:gd name="connsiteY1295" fmla="*/ 5712544 h 6386516"/>
              <a:gd name="connsiteX1296" fmla="*/ 1243797 w 6789110"/>
              <a:gd name="connsiteY1296" fmla="*/ 5704845 h 6386516"/>
              <a:gd name="connsiteX1297" fmla="*/ 1239948 w 6789110"/>
              <a:gd name="connsiteY1297" fmla="*/ 5706770 h 6386516"/>
              <a:gd name="connsiteX1298" fmla="*/ 1239948 w 6789110"/>
              <a:gd name="connsiteY1298" fmla="*/ 5704845 h 6386516"/>
              <a:gd name="connsiteX1299" fmla="*/ 1249572 w 6789110"/>
              <a:gd name="connsiteY1299" fmla="*/ 5683672 h 6386516"/>
              <a:gd name="connsiteX1300" fmla="*/ 1236099 w 6789110"/>
              <a:gd name="connsiteY1300" fmla="*/ 5691371 h 6386516"/>
              <a:gd name="connsiteX1301" fmla="*/ 1236099 w 6789110"/>
              <a:gd name="connsiteY1301" fmla="*/ 5579733 h 6386516"/>
              <a:gd name="connsiteX1302" fmla="*/ 1264971 w 6789110"/>
              <a:gd name="connsiteY1302" fmla="*/ 5572034 h 6386516"/>
              <a:gd name="connsiteX1303" fmla="*/ 1859730 w 6789110"/>
              <a:gd name="connsiteY1303" fmla="*/ 5568186 h 6386516"/>
              <a:gd name="connsiteX1304" fmla="*/ 1861655 w 6789110"/>
              <a:gd name="connsiteY1304" fmla="*/ 5579735 h 6386516"/>
              <a:gd name="connsiteX1305" fmla="*/ 1840482 w 6789110"/>
              <a:gd name="connsiteY1305" fmla="*/ 5625930 h 6386516"/>
              <a:gd name="connsiteX1306" fmla="*/ 1813535 w 6789110"/>
              <a:gd name="connsiteY1306" fmla="*/ 5683673 h 6386516"/>
              <a:gd name="connsiteX1307" fmla="*/ 1827008 w 6789110"/>
              <a:gd name="connsiteY1307" fmla="*/ 5700996 h 6386516"/>
              <a:gd name="connsiteX1308" fmla="*/ 1830858 w 6789110"/>
              <a:gd name="connsiteY1308" fmla="*/ 5697147 h 6386516"/>
              <a:gd name="connsiteX1309" fmla="*/ 1830858 w 6789110"/>
              <a:gd name="connsiteY1309" fmla="*/ 5704846 h 6386516"/>
              <a:gd name="connsiteX1310" fmla="*/ 1855880 w 6789110"/>
              <a:gd name="connsiteY1310" fmla="*/ 5737568 h 6386516"/>
              <a:gd name="connsiteX1311" fmla="*/ 1865504 w 6789110"/>
              <a:gd name="connsiteY1311" fmla="*/ 5708696 h 6386516"/>
              <a:gd name="connsiteX1312" fmla="*/ 1874578 w 6789110"/>
              <a:gd name="connsiteY1312" fmla="*/ 5708696 h 6386516"/>
              <a:gd name="connsiteX1313" fmla="*/ 1874887 w 6789110"/>
              <a:gd name="connsiteY1313" fmla="*/ 5706530 h 6386516"/>
              <a:gd name="connsiteX1314" fmla="*/ 1882828 w 6789110"/>
              <a:gd name="connsiteY1314" fmla="*/ 5685597 h 6386516"/>
              <a:gd name="connsiteX1315" fmla="*/ 1892742 w 6789110"/>
              <a:gd name="connsiteY1315" fmla="*/ 5684696 h 6386516"/>
              <a:gd name="connsiteX1316" fmla="*/ 1893414 w 6789110"/>
              <a:gd name="connsiteY1316" fmla="*/ 5669237 h 6386516"/>
              <a:gd name="connsiteX1317" fmla="*/ 1905925 w 6789110"/>
              <a:gd name="connsiteY1317" fmla="*/ 5652876 h 6386516"/>
              <a:gd name="connsiteX1318" fmla="*/ 1905925 w 6789110"/>
              <a:gd name="connsiteY1318" fmla="*/ 5635553 h 6386516"/>
              <a:gd name="connsiteX1319" fmla="*/ 1890526 w 6789110"/>
              <a:gd name="connsiteY1319" fmla="*/ 5654801 h 6386516"/>
              <a:gd name="connsiteX1320" fmla="*/ 1890526 w 6789110"/>
              <a:gd name="connsiteY1320" fmla="*/ 5629779 h 6386516"/>
              <a:gd name="connsiteX1321" fmla="*/ 1871278 w 6789110"/>
              <a:gd name="connsiteY1321" fmla="*/ 5695222 h 6386516"/>
              <a:gd name="connsiteX1322" fmla="*/ 1863579 w 6789110"/>
              <a:gd name="connsiteY1322" fmla="*/ 5685598 h 6386516"/>
              <a:gd name="connsiteX1323" fmla="*/ 1844331 w 6789110"/>
              <a:gd name="connsiteY1323" fmla="*/ 5712545 h 6386516"/>
              <a:gd name="connsiteX1324" fmla="*/ 1844331 w 6789110"/>
              <a:gd name="connsiteY1324" fmla="*/ 5685598 h 6386516"/>
              <a:gd name="connsiteX1325" fmla="*/ 1834707 w 6789110"/>
              <a:gd name="connsiteY1325" fmla="*/ 5683673 h 6386516"/>
              <a:gd name="connsiteX1326" fmla="*/ 1896301 w 6789110"/>
              <a:gd name="connsiteY1326" fmla="*/ 5598983 h 6386516"/>
              <a:gd name="connsiteX1327" fmla="*/ 1878978 w 6789110"/>
              <a:gd name="connsiteY1327" fmla="*/ 5579735 h 6386516"/>
              <a:gd name="connsiteX1328" fmla="*/ 1877054 w 6789110"/>
              <a:gd name="connsiteY1328" fmla="*/ 5581660 h 6386516"/>
              <a:gd name="connsiteX1329" fmla="*/ 1873203 w 6789110"/>
              <a:gd name="connsiteY1329" fmla="*/ 5573961 h 6386516"/>
              <a:gd name="connsiteX1330" fmla="*/ 1859730 w 6789110"/>
              <a:gd name="connsiteY1330" fmla="*/ 5568186 h 6386516"/>
              <a:gd name="connsiteX1331" fmla="*/ 1792362 w 6789110"/>
              <a:gd name="connsiteY1331" fmla="*/ 5562412 h 6386516"/>
              <a:gd name="connsiteX1332" fmla="*/ 1788514 w 6789110"/>
              <a:gd name="connsiteY1332" fmla="*/ 5564337 h 6386516"/>
              <a:gd name="connsiteX1333" fmla="*/ 1786588 w 6789110"/>
              <a:gd name="connsiteY1333" fmla="*/ 5568186 h 6386516"/>
              <a:gd name="connsiteX1334" fmla="*/ 1773114 w 6789110"/>
              <a:gd name="connsiteY1334" fmla="*/ 5616306 h 6386516"/>
              <a:gd name="connsiteX1335" fmla="*/ 1775039 w 6789110"/>
              <a:gd name="connsiteY1335" fmla="*/ 5625930 h 6386516"/>
              <a:gd name="connsiteX1336" fmla="*/ 1809685 w 6789110"/>
              <a:gd name="connsiteY1336" fmla="*/ 5570111 h 6386516"/>
              <a:gd name="connsiteX1337" fmla="*/ 1788514 w 6789110"/>
              <a:gd name="connsiteY1337" fmla="*/ 5577810 h 6386516"/>
              <a:gd name="connsiteX1338" fmla="*/ 1792362 w 6789110"/>
              <a:gd name="connsiteY1338" fmla="*/ 5562412 h 6386516"/>
              <a:gd name="connsiteX1339" fmla="*/ 1305392 w 6789110"/>
              <a:gd name="connsiteY1339" fmla="*/ 5562411 h 6386516"/>
              <a:gd name="connsiteX1340" fmla="*/ 1309241 w 6789110"/>
              <a:gd name="connsiteY1340" fmla="*/ 5568185 h 6386516"/>
              <a:gd name="connsiteX1341" fmla="*/ 1278444 w 6789110"/>
              <a:gd name="connsiteY1341" fmla="*/ 5568185 h 6386516"/>
              <a:gd name="connsiteX1342" fmla="*/ 1305392 w 6789110"/>
              <a:gd name="connsiteY1342" fmla="*/ 5562411 h 6386516"/>
              <a:gd name="connsiteX1343" fmla="*/ 1345812 w 6789110"/>
              <a:gd name="connsiteY1343" fmla="*/ 5552787 h 6386516"/>
              <a:gd name="connsiteX1344" fmla="*/ 1347737 w 6789110"/>
              <a:gd name="connsiteY1344" fmla="*/ 5556636 h 6386516"/>
              <a:gd name="connsiteX1345" fmla="*/ 1341963 w 6789110"/>
              <a:gd name="connsiteY1345" fmla="*/ 5554712 h 6386516"/>
              <a:gd name="connsiteX1346" fmla="*/ 1345812 w 6789110"/>
              <a:gd name="connsiteY1346" fmla="*/ 5552787 h 6386516"/>
              <a:gd name="connsiteX1347" fmla="*/ 1216851 w 6789110"/>
              <a:gd name="connsiteY1347" fmla="*/ 5543163 h 6386516"/>
              <a:gd name="connsiteX1348" fmla="*/ 1218776 w 6789110"/>
              <a:gd name="connsiteY1348" fmla="*/ 5550862 h 6386516"/>
              <a:gd name="connsiteX1349" fmla="*/ 1216851 w 6789110"/>
              <a:gd name="connsiteY1349" fmla="*/ 5550862 h 6386516"/>
              <a:gd name="connsiteX1350" fmla="*/ 1216851 w 6789110"/>
              <a:gd name="connsiteY1350" fmla="*/ 5543163 h 6386516"/>
              <a:gd name="connsiteX1351" fmla="*/ 1397782 w 6789110"/>
              <a:gd name="connsiteY1351" fmla="*/ 5539313 h 6386516"/>
              <a:gd name="connsiteX1352" fmla="*/ 1407405 w 6789110"/>
              <a:gd name="connsiteY1352" fmla="*/ 5585509 h 6386516"/>
              <a:gd name="connsiteX1353" fmla="*/ 1403556 w 6789110"/>
              <a:gd name="connsiteY1353" fmla="*/ 5583584 h 6386516"/>
              <a:gd name="connsiteX1354" fmla="*/ 1401631 w 6789110"/>
              <a:gd name="connsiteY1354" fmla="*/ 5587434 h 6386516"/>
              <a:gd name="connsiteX1355" fmla="*/ 1347736 w 6789110"/>
              <a:gd name="connsiteY1355" fmla="*/ 5560487 h 6386516"/>
              <a:gd name="connsiteX1356" fmla="*/ 1347736 w 6789110"/>
              <a:gd name="connsiteY1356" fmla="*/ 5558562 h 6386516"/>
              <a:gd name="connsiteX1357" fmla="*/ 1355435 w 6789110"/>
              <a:gd name="connsiteY1357" fmla="*/ 5560487 h 6386516"/>
              <a:gd name="connsiteX1358" fmla="*/ 1355435 w 6789110"/>
              <a:gd name="connsiteY1358" fmla="*/ 5550863 h 6386516"/>
              <a:gd name="connsiteX1359" fmla="*/ 1397782 w 6789110"/>
              <a:gd name="connsiteY1359" fmla="*/ 5539313 h 6386516"/>
              <a:gd name="connsiteX1360" fmla="*/ 1850106 w 6789110"/>
              <a:gd name="connsiteY1360" fmla="*/ 5533540 h 6386516"/>
              <a:gd name="connsiteX1361" fmla="*/ 1838558 w 6789110"/>
              <a:gd name="connsiteY1361" fmla="*/ 5535465 h 6386516"/>
              <a:gd name="connsiteX1362" fmla="*/ 1850106 w 6789110"/>
              <a:gd name="connsiteY1362" fmla="*/ 5535465 h 6386516"/>
              <a:gd name="connsiteX1363" fmla="*/ 1850106 w 6789110"/>
              <a:gd name="connsiteY1363" fmla="*/ 5533540 h 6386516"/>
              <a:gd name="connsiteX1364" fmla="*/ 1207227 w 6789110"/>
              <a:gd name="connsiteY1364" fmla="*/ 5533539 h 6386516"/>
              <a:gd name="connsiteX1365" fmla="*/ 1209152 w 6789110"/>
              <a:gd name="connsiteY1365" fmla="*/ 5535464 h 6386516"/>
              <a:gd name="connsiteX1366" fmla="*/ 1209152 w 6789110"/>
              <a:gd name="connsiteY1366" fmla="*/ 5552787 h 6386516"/>
              <a:gd name="connsiteX1367" fmla="*/ 1203378 w 6789110"/>
              <a:gd name="connsiteY1367" fmla="*/ 5552787 h 6386516"/>
              <a:gd name="connsiteX1368" fmla="*/ 1207227 w 6789110"/>
              <a:gd name="connsiteY1368" fmla="*/ 5533539 h 6386516"/>
              <a:gd name="connsiteX1369" fmla="*/ 1671102 w 6789110"/>
              <a:gd name="connsiteY1369" fmla="*/ 5531615 h 6386516"/>
              <a:gd name="connsiteX1370" fmla="*/ 1653777 w 6789110"/>
              <a:gd name="connsiteY1370" fmla="*/ 5543164 h 6386516"/>
              <a:gd name="connsiteX1371" fmla="*/ 1673025 w 6789110"/>
              <a:gd name="connsiteY1371" fmla="*/ 5537389 h 6386516"/>
              <a:gd name="connsiteX1372" fmla="*/ 1671102 w 6789110"/>
              <a:gd name="connsiteY1372" fmla="*/ 5531615 h 6386516"/>
              <a:gd name="connsiteX1373" fmla="*/ 1428578 w 6789110"/>
              <a:gd name="connsiteY1373" fmla="*/ 5529689 h 6386516"/>
              <a:gd name="connsiteX1374" fmla="*/ 1432427 w 6789110"/>
              <a:gd name="connsiteY1374" fmla="*/ 5570111 h 6386516"/>
              <a:gd name="connsiteX1375" fmla="*/ 1417028 w 6789110"/>
              <a:gd name="connsiteY1375" fmla="*/ 5533540 h 6386516"/>
              <a:gd name="connsiteX1376" fmla="*/ 1428578 w 6789110"/>
              <a:gd name="connsiteY1376" fmla="*/ 5529689 h 6386516"/>
              <a:gd name="connsiteX1377" fmla="*/ 1952119 w 6789110"/>
              <a:gd name="connsiteY1377" fmla="*/ 5527765 h 6386516"/>
              <a:gd name="connsiteX1378" fmla="*/ 1948270 w 6789110"/>
              <a:gd name="connsiteY1378" fmla="*/ 5529690 h 6386516"/>
              <a:gd name="connsiteX1379" fmla="*/ 1948270 w 6789110"/>
              <a:gd name="connsiteY1379" fmla="*/ 5531615 h 6386516"/>
              <a:gd name="connsiteX1380" fmla="*/ 1952119 w 6789110"/>
              <a:gd name="connsiteY1380" fmla="*/ 5529690 h 6386516"/>
              <a:gd name="connsiteX1381" fmla="*/ 1952119 w 6789110"/>
              <a:gd name="connsiteY1381" fmla="*/ 5527765 h 6386516"/>
              <a:gd name="connsiteX1382" fmla="*/ 1686499 w 6789110"/>
              <a:gd name="connsiteY1382" fmla="*/ 5523916 h 6386516"/>
              <a:gd name="connsiteX1383" fmla="*/ 1680724 w 6789110"/>
              <a:gd name="connsiteY1383" fmla="*/ 5535465 h 6386516"/>
              <a:gd name="connsiteX1384" fmla="*/ 1701897 w 6789110"/>
              <a:gd name="connsiteY1384" fmla="*/ 5523916 h 6386516"/>
              <a:gd name="connsiteX1385" fmla="*/ 1686499 w 6789110"/>
              <a:gd name="connsiteY1385" fmla="*/ 5523916 h 6386516"/>
              <a:gd name="connsiteX1386" fmla="*/ 1449751 w 6789110"/>
              <a:gd name="connsiteY1386" fmla="*/ 5523916 h 6386516"/>
              <a:gd name="connsiteX1387" fmla="*/ 1438202 w 6789110"/>
              <a:gd name="connsiteY1387" fmla="*/ 5537389 h 6386516"/>
              <a:gd name="connsiteX1388" fmla="*/ 1438202 w 6789110"/>
              <a:gd name="connsiteY1388" fmla="*/ 5527765 h 6386516"/>
              <a:gd name="connsiteX1389" fmla="*/ 1449751 w 6789110"/>
              <a:gd name="connsiteY1389" fmla="*/ 5523916 h 6386516"/>
              <a:gd name="connsiteX1390" fmla="*/ 1917473 w 6789110"/>
              <a:gd name="connsiteY1390" fmla="*/ 5518141 h 6386516"/>
              <a:gd name="connsiteX1391" fmla="*/ 1898226 w 6789110"/>
              <a:gd name="connsiteY1391" fmla="*/ 5521991 h 6386516"/>
              <a:gd name="connsiteX1392" fmla="*/ 1896301 w 6789110"/>
              <a:gd name="connsiteY1392" fmla="*/ 5525841 h 6386516"/>
              <a:gd name="connsiteX1393" fmla="*/ 1913625 w 6789110"/>
              <a:gd name="connsiteY1393" fmla="*/ 5523916 h 6386516"/>
              <a:gd name="connsiteX1394" fmla="*/ 1917473 w 6789110"/>
              <a:gd name="connsiteY1394" fmla="*/ 5518141 h 6386516"/>
              <a:gd name="connsiteX1395" fmla="*/ 1921323 w 6789110"/>
              <a:gd name="connsiteY1395" fmla="*/ 5516217 h 6386516"/>
              <a:gd name="connsiteX1396" fmla="*/ 1921323 w 6789110"/>
              <a:gd name="connsiteY1396" fmla="*/ 5521991 h 6386516"/>
              <a:gd name="connsiteX1397" fmla="*/ 1925172 w 6789110"/>
              <a:gd name="connsiteY1397" fmla="*/ 5521991 h 6386516"/>
              <a:gd name="connsiteX1398" fmla="*/ 1927098 w 6789110"/>
              <a:gd name="connsiteY1398" fmla="*/ 5516217 h 6386516"/>
              <a:gd name="connsiteX1399" fmla="*/ 1921323 w 6789110"/>
              <a:gd name="connsiteY1399" fmla="*/ 5516217 h 6386516"/>
              <a:gd name="connsiteX1400" fmla="*/ 2006014 w 6789110"/>
              <a:gd name="connsiteY1400" fmla="*/ 5514292 h 6386516"/>
              <a:gd name="connsiteX1401" fmla="*/ 1975217 w 6789110"/>
              <a:gd name="connsiteY1401" fmla="*/ 5521991 h 6386516"/>
              <a:gd name="connsiteX1402" fmla="*/ 1975217 w 6789110"/>
              <a:gd name="connsiteY1402" fmla="*/ 5525841 h 6386516"/>
              <a:gd name="connsiteX1403" fmla="*/ 1996390 w 6789110"/>
              <a:gd name="connsiteY1403" fmla="*/ 5521991 h 6386516"/>
              <a:gd name="connsiteX1404" fmla="*/ 2006014 w 6789110"/>
              <a:gd name="connsiteY1404" fmla="*/ 5514292 h 6386516"/>
              <a:gd name="connsiteX1405" fmla="*/ 1236099 w 6789110"/>
              <a:gd name="connsiteY1405" fmla="*/ 5512367 h 6386516"/>
              <a:gd name="connsiteX1406" fmla="*/ 1232248 w 6789110"/>
              <a:gd name="connsiteY1406" fmla="*/ 5529690 h 6386516"/>
              <a:gd name="connsiteX1407" fmla="*/ 1226474 w 6789110"/>
              <a:gd name="connsiteY1407" fmla="*/ 5514292 h 6386516"/>
              <a:gd name="connsiteX1408" fmla="*/ 1236099 w 6789110"/>
              <a:gd name="connsiteY1408" fmla="*/ 5512367 h 6386516"/>
              <a:gd name="connsiteX1409" fmla="*/ 1497870 w 6789110"/>
              <a:gd name="connsiteY1409" fmla="*/ 5512366 h 6386516"/>
              <a:gd name="connsiteX1410" fmla="*/ 1495945 w 6789110"/>
              <a:gd name="connsiteY1410" fmla="*/ 5523915 h 6386516"/>
              <a:gd name="connsiteX1411" fmla="*/ 1494021 w 6789110"/>
              <a:gd name="connsiteY1411" fmla="*/ 5523915 h 6386516"/>
              <a:gd name="connsiteX1412" fmla="*/ 1495945 w 6789110"/>
              <a:gd name="connsiteY1412" fmla="*/ 5525840 h 6386516"/>
              <a:gd name="connsiteX1413" fmla="*/ 1492095 w 6789110"/>
              <a:gd name="connsiteY1413" fmla="*/ 5552787 h 6386516"/>
              <a:gd name="connsiteX1414" fmla="*/ 1488246 w 6789110"/>
              <a:gd name="connsiteY1414" fmla="*/ 5552787 h 6386516"/>
              <a:gd name="connsiteX1415" fmla="*/ 1490171 w 6789110"/>
              <a:gd name="connsiteY1415" fmla="*/ 5560486 h 6386516"/>
              <a:gd name="connsiteX1416" fmla="*/ 1488246 w 6789110"/>
              <a:gd name="connsiteY1416" fmla="*/ 5573959 h 6386516"/>
              <a:gd name="connsiteX1417" fmla="*/ 1484396 w 6789110"/>
              <a:gd name="connsiteY1417" fmla="*/ 5564335 h 6386516"/>
              <a:gd name="connsiteX1418" fmla="*/ 1468997 w 6789110"/>
              <a:gd name="connsiteY1418" fmla="*/ 5583583 h 6386516"/>
              <a:gd name="connsiteX1419" fmla="*/ 1465149 w 6789110"/>
              <a:gd name="connsiteY1419" fmla="*/ 5547012 h 6386516"/>
              <a:gd name="connsiteX1420" fmla="*/ 1474772 w 6789110"/>
              <a:gd name="connsiteY1420" fmla="*/ 5520065 h 6386516"/>
              <a:gd name="connsiteX1421" fmla="*/ 1497870 w 6789110"/>
              <a:gd name="connsiteY1421" fmla="*/ 5512366 h 6386516"/>
              <a:gd name="connsiteX1422" fmla="*/ 1950195 w 6789110"/>
              <a:gd name="connsiteY1422" fmla="*/ 5510442 h 6386516"/>
              <a:gd name="connsiteX1423" fmla="*/ 1950195 w 6789110"/>
              <a:gd name="connsiteY1423" fmla="*/ 5518141 h 6386516"/>
              <a:gd name="connsiteX1424" fmla="*/ 1954044 w 6789110"/>
              <a:gd name="connsiteY1424" fmla="*/ 5518141 h 6386516"/>
              <a:gd name="connsiteX1425" fmla="*/ 1954044 w 6789110"/>
              <a:gd name="connsiteY1425" fmla="*/ 5510442 h 6386516"/>
              <a:gd name="connsiteX1426" fmla="*/ 1950195 w 6789110"/>
              <a:gd name="connsiteY1426" fmla="*/ 5510442 h 6386516"/>
              <a:gd name="connsiteX1427" fmla="*/ 1309241 w 6789110"/>
              <a:gd name="connsiteY1427" fmla="*/ 5510442 h 6386516"/>
              <a:gd name="connsiteX1428" fmla="*/ 1311166 w 6789110"/>
              <a:gd name="connsiteY1428" fmla="*/ 5520066 h 6386516"/>
              <a:gd name="connsiteX1429" fmla="*/ 1309241 w 6789110"/>
              <a:gd name="connsiteY1429" fmla="*/ 5523916 h 6386516"/>
              <a:gd name="connsiteX1430" fmla="*/ 1305392 w 6789110"/>
              <a:gd name="connsiteY1430" fmla="*/ 5521991 h 6386516"/>
              <a:gd name="connsiteX1431" fmla="*/ 1307317 w 6789110"/>
              <a:gd name="connsiteY1431" fmla="*/ 5516217 h 6386516"/>
              <a:gd name="connsiteX1432" fmla="*/ 1305392 w 6789110"/>
              <a:gd name="connsiteY1432" fmla="*/ 5516217 h 6386516"/>
              <a:gd name="connsiteX1433" fmla="*/ 1309241 w 6789110"/>
              <a:gd name="connsiteY1433" fmla="*/ 5510442 h 6386516"/>
              <a:gd name="connsiteX1434" fmla="*/ 1264971 w 6789110"/>
              <a:gd name="connsiteY1434" fmla="*/ 5504667 h 6386516"/>
              <a:gd name="connsiteX1435" fmla="*/ 1272671 w 6789110"/>
              <a:gd name="connsiteY1435" fmla="*/ 5518141 h 6386516"/>
              <a:gd name="connsiteX1436" fmla="*/ 1266896 w 6789110"/>
              <a:gd name="connsiteY1436" fmla="*/ 5520066 h 6386516"/>
              <a:gd name="connsiteX1437" fmla="*/ 1280370 w 6789110"/>
              <a:gd name="connsiteY1437" fmla="*/ 5527765 h 6386516"/>
              <a:gd name="connsiteX1438" fmla="*/ 1288069 w 6789110"/>
              <a:gd name="connsiteY1438" fmla="*/ 5537389 h 6386516"/>
              <a:gd name="connsiteX1439" fmla="*/ 1251497 w 6789110"/>
              <a:gd name="connsiteY1439" fmla="*/ 5545089 h 6386516"/>
              <a:gd name="connsiteX1440" fmla="*/ 1241873 w 6789110"/>
              <a:gd name="connsiteY1440" fmla="*/ 5510442 h 6386516"/>
              <a:gd name="connsiteX1441" fmla="*/ 1264971 w 6789110"/>
              <a:gd name="connsiteY1441" fmla="*/ 5504667 h 6386516"/>
              <a:gd name="connsiteX1442" fmla="*/ 2390971 w 6789110"/>
              <a:gd name="connsiteY1442" fmla="*/ 5500818 h 6386516"/>
              <a:gd name="connsiteX1443" fmla="*/ 2342851 w 6789110"/>
              <a:gd name="connsiteY1443" fmla="*/ 5562412 h 6386516"/>
              <a:gd name="connsiteX1444" fmla="*/ 2206192 w 6789110"/>
              <a:gd name="connsiteY1444" fmla="*/ 5858829 h 6386516"/>
              <a:gd name="connsiteX1445" fmla="*/ 2202342 w 6789110"/>
              <a:gd name="connsiteY1445" fmla="*/ 5724094 h 6386516"/>
              <a:gd name="connsiteX1446" fmla="*/ 2333708 w 6789110"/>
              <a:gd name="connsiteY1446" fmla="*/ 5545089 h 6386516"/>
              <a:gd name="connsiteX1447" fmla="*/ 2376124 w 6789110"/>
              <a:gd name="connsiteY1447" fmla="*/ 5505282 h 6386516"/>
              <a:gd name="connsiteX1448" fmla="*/ 2376926 w 6789110"/>
              <a:gd name="connsiteY1448" fmla="*/ 5504848 h 6386516"/>
              <a:gd name="connsiteX1449" fmla="*/ 2390971 w 6789110"/>
              <a:gd name="connsiteY1449" fmla="*/ 5500818 h 6386516"/>
              <a:gd name="connsiteX1450" fmla="*/ 1984841 w 6789110"/>
              <a:gd name="connsiteY1450" fmla="*/ 5500818 h 6386516"/>
              <a:gd name="connsiteX1451" fmla="*/ 1973292 w 6789110"/>
              <a:gd name="connsiteY1451" fmla="*/ 5504668 h 6386516"/>
              <a:gd name="connsiteX1452" fmla="*/ 1973292 w 6789110"/>
              <a:gd name="connsiteY1452" fmla="*/ 5512367 h 6386516"/>
              <a:gd name="connsiteX1453" fmla="*/ 1984841 w 6789110"/>
              <a:gd name="connsiteY1453" fmla="*/ 5508517 h 6386516"/>
              <a:gd name="connsiteX1454" fmla="*/ 1984841 w 6789110"/>
              <a:gd name="connsiteY1454" fmla="*/ 5500818 h 6386516"/>
              <a:gd name="connsiteX1455" fmla="*/ 1320790 w 6789110"/>
              <a:gd name="connsiteY1455" fmla="*/ 5500818 h 6386516"/>
              <a:gd name="connsiteX1456" fmla="*/ 1320790 w 6789110"/>
              <a:gd name="connsiteY1456" fmla="*/ 5504668 h 6386516"/>
              <a:gd name="connsiteX1457" fmla="*/ 1318865 w 6789110"/>
              <a:gd name="connsiteY1457" fmla="*/ 5508517 h 6386516"/>
              <a:gd name="connsiteX1458" fmla="*/ 1320790 w 6789110"/>
              <a:gd name="connsiteY1458" fmla="*/ 5500818 h 6386516"/>
              <a:gd name="connsiteX1459" fmla="*/ 1388158 w 6789110"/>
              <a:gd name="connsiteY1459" fmla="*/ 5498893 h 6386516"/>
              <a:gd name="connsiteX1460" fmla="*/ 1390082 w 6789110"/>
              <a:gd name="connsiteY1460" fmla="*/ 5512367 h 6386516"/>
              <a:gd name="connsiteX1461" fmla="*/ 1366984 w 6789110"/>
              <a:gd name="connsiteY1461" fmla="*/ 5518141 h 6386516"/>
              <a:gd name="connsiteX1462" fmla="*/ 1388158 w 6789110"/>
              <a:gd name="connsiteY1462" fmla="*/ 5498893 h 6386516"/>
              <a:gd name="connsiteX1463" fmla="*/ 2383752 w 6789110"/>
              <a:gd name="connsiteY1463" fmla="*/ 5498123 h 6386516"/>
              <a:gd name="connsiteX1464" fmla="*/ 2376124 w 6789110"/>
              <a:gd name="connsiteY1464" fmla="*/ 5505282 h 6386516"/>
              <a:gd name="connsiteX1465" fmla="*/ 2359453 w 6789110"/>
              <a:gd name="connsiteY1465" fmla="*/ 5514292 h 6386516"/>
              <a:gd name="connsiteX1466" fmla="*/ 2323604 w 6789110"/>
              <a:gd name="connsiteY1466" fmla="*/ 5533540 h 6386516"/>
              <a:gd name="connsiteX1467" fmla="*/ 2382238 w 6789110"/>
              <a:gd name="connsiteY1467" fmla="*/ 5499308 h 6386516"/>
              <a:gd name="connsiteX1468" fmla="*/ 1825084 w 6789110"/>
              <a:gd name="connsiteY1468" fmla="*/ 5496969 h 6386516"/>
              <a:gd name="connsiteX1469" fmla="*/ 1819309 w 6789110"/>
              <a:gd name="connsiteY1469" fmla="*/ 5502743 h 6386516"/>
              <a:gd name="connsiteX1470" fmla="*/ 1825084 w 6789110"/>
              <a:gd name="connsiteY1470" fmla="*/ 5508517 h 6386516"/>
              <a:gd name="connsiteX1471" fmla="*/ 1828933 w 6789110"/>
              <a:gd name="connsiteY1471" fmla="*/ 5506593 h 6386516"/>
              <a:gd name="connsiteX1472" fmla="*/ 1825084 w 6789110"/>
              <a:gd name="connsiteY1472" fmla="*/ 5496969 h 6386516"/>
              <a:gd name="connsiteX1473" fmla="*/ 1309241 w 6789110"/>
              <a:gd name="connsiteY1473" fmla="*/ 5496969 h 6386516"/>
              <a:gd name="connsiteX1474" fmla="*/ 1311166 w 6789110"/>
              <a:gd name="connsiteY1474" fmla="*/ 5508517 h 6386516"/>
              <a:gd name="connsiteX1475" fmla="*/ 1307316 w 6789110"/>
              <a:gd name="connsiteY1475" fmla="*/ 5506593 h 6386516"/>
              <a:gd name="connsiteX1476" fmla="*/ 1309241 w 6789110"/>
              <a:gd name="connsiteY1476" fmla="*/ 5496969 h 6386516"/>
              <a:gd name="connsiteX1477" fmla="*/ 2079155 w 6789110"/>
              <a:gd name="connsiteY1477" fmla="*/ 5495044 h 6386516"/>
              <a:gd name="connsiteX1478" fmla="*/ 2021412 w 6789110"/>
              <a:gd name="connsiteY1478" fmla="*/ 5510442 h 6386516"/>
              <a:gd name="connsiteX1479" fmla="*/ 2019487 w 6789110"/>
              <a:gd name="connsiteY1479" fmla="*/ 5512367 h 6386516"/>
              <a:gd name="connsiteX1480" fmla="*/ 2021412 w 6789110"/>
              <a:gd name="connsiteY1480" fmla="*/ 5514292 h 6386516"/>
              <a:gd name="connsiteX1481" fmla="*/ 2029111 w 6789110"/>
              <a:gd name="connsiteY1481" fmla="*/ 5510442 h 6386516"/>
              <a:gd name="connsiteX1482" fmla="*/ 2031036 w 6789110"/>
              <a:gd name="connsiteY1482" fmla="*/ 5514292 h 6386516"/>
              <a:gd name="connsiteX1483" fmla="*/ 2083006 w 6789110"/>
              <a:gd name="connsiteY1483" fmla="*/ 5500818 h 6386516"/>
              <a:gd name="connsiteX1484" fmla="*/ 2079155 w 6789110"/>
              <a:gd name="connsiteY1484" fmla="*/ 5495044 h 6386516"/>
              <a:gd name="connsiteX1485" fmla="*/ 1326564 w 6789110"/>
              <a:gd name="connsiteY1485" fmla="*/ 5491194 h 6386516"/>
              <a:gd name="connsiteX1486" fmla="*/ 1328488 w 6789110"/>
              <a:gd name="connsiteY1486" fmla="*/ 5491194 h 6386516"/>
              <a:gd name="connsiteX1487" fmla="*/ 1328488 w 6789110"/>
              <a:gd name="connsiteY1487" fmla="*/ 5496969 h 6386516"/>
              <a:gd name="connsiteX1488" fmla="*/ 1326564 w 6789110"/>
              <a:gd name="connsiteY1488" fmla="*/ 5496969 h 6386516"/>
              <a:gd name="connsiteX1489" fmla="*/ 1324639 w 6789110"/>
              <a:gd name="connsiteY1489" fmla="*/ 5493119 h 6386516"/>
              <a:gd name="connsiteX1490" fmla="*/ 1326564 w 6789110"/>
              <a:gd name="connsiteY1490" fmla="*/ 5491194 h 6386516"/>
              <a:gd name="connsiteX1491" fmla="*/ 2031036 w 6789110"/>
              <a:gd name="connsiteY1491" fmla="*/ 5487345 h 6386516"/>
              <a:gd name="connsiteX1492" fmla="*/ 2009863 w 6789110"/>
              <a:gd name="connsiteY1492" fmla="*/ 5495044 h 6386516"/>
              <a:gd name="connsiteX1493" fmla="*/ 2017562 w 6789110"/>
              <a:gd name="connsiteY1493" fmla="*/ 5500818 h 6386516"/>
              <a:gd name="connsiteX1494" fmla="*/ 2038736 w 6789110"/>
              <a:gd name="connsiteY1494" fmla="*/ 5495044 h 6386516"/>
              <a:gd name="connsiteX1495" fmla="*/ 2034885 w 6789110"/>
              <a:gd name="connsiteY1495" fmla="*/ 5489269 h 6386516"/>
              <a:gd name="connsiteX1496" fmla="*/ 2034885 w 6789110"/>
              <a:gd name="connsiteY1496" fmla="*/ 5491194 h 6386516"/>
              <a:gd name="connsiteX1497" fmla="*/ 2031036 w 6789110"/>
              <a:gd name="connsiteY1497" fmla="*/ 5487345 h 6386516"/>
              <a:gd name="connsiteX1498" fmla="*/ 1796212 w 6789110"/>
              <a:gd name="connsiteY1498" fmla="*/ 5485420 h 6386516"/>
              <a:gd name="connsiteX1499" fmla="*/ 1788514 w 6789110"/>
              <a:gd name="connsiteY1499" fmla="*/ 5487345 h 6386516"/>
              <a:gd name="connsiteX1500" fmla="*/ 1684574 w 6789110"/>
              <a:gd name="connsiteY1500" fmla="*/ 5579735 h 6386516"/>
              <a:gd name="connsiteX1501" fmla="*/ 1744243 w 6789110"/>
              <a:gd name="connsiteY1501" fmla="*/ 5537389 h 6386516"/>
              <a:gd name="connsiteX1502" fmla="*/ 1746167 w 6789110"/>
              <a:gd name="connsiteY1502" fmla="*/ 5533540 h 6386516"/>
              <a:gd name="connsiteX1503" fmla="*/ 1750017 w 6789110"/>
              <a:gd name="connsiteY1503" fmla="*/ 5533540 h 6386516"/>
              <a:gd name="connsiteX1504" fmla="*/ 1759641 w 6789110"/>
              <a:gd name="connsiteY1504" fmla="*/ 5525841 h 6386516"/>
              <a:gd name="connsiteX1505" fmla="*/ 1751943 w 6789110"/>
              <a:gd name="connsiteY1505" fmla="*/ 5525841 h 6386516"/>
              <a:gd name="connsiteX1506" fmla="*/ 1761565 w 6789110"/>
              <a:gd name="connsiteY1506" fmla="*/ 5512367 h 6386516"/>
              <a:gd name="connsiteX1507" fmla="*/ 1796212 w 6789110"/>
              <a:gd name="connsiteY1507" fmla="*/ 5485420 h 6386516"/>
              <a:gd name="connsiteX1508" fmla="*/ 1386232 w 6789110"/>
              <a:gd name="connsiteY1508" fmla="*/ 5477720 h 6386516"/>
              <a:gd name="connsiteX1509" fmla="*/ 1366984 w 6789110"/>
              <a:gd name="connsiteY1509" fmla="*/ 5510442 h 6386516"/>
              <a:gd name="connsiteX1510" fmla="*/ 1343886 w 6789110"/>
              <a:gd name="connsiteY1510" fmla="*/ 5523916 h 6386516"/>
              <a:gd name="connsiteX1511" fmla="*/ 1353511 w 6789110"/>
              <a:gd name="connsiteY1511" fmla="*/ 5485420 h 6386516"/>
              <a:gd name="connsiteX1512" fmla="*/ 1386232 w 6789110"/>
              <a:gd name="connsiteY1512" fmla="*/ 5477720 h 6386516"/>
              <a:gd name="connsiteX1513" fmla="*/ 2596923 w 6789110"/>
              <a:gd name="connsiteY1513" fmla="*/ 5466172 h 6386516"/>
              <a:gd name="connsiteX1514" fmla="*/ 2460263 w 6789110"/>
              <a:gd name="connsiteY1514" fmla="*/ 5710620 h 6386516"/>
              <a:gd name="connsiteX1515" fmla="*/ 2596923 w 6789110"/>
              <a:gd name="connsiteY1515" fmla="*/ 5466172 h 6386516"/>
              <a:gd name="connsiteX1516" fmla="*/ 2165771 w 6789110"/>
              <a:gd name="connsiteY1516" fmla="*/ 5466172 h 6386516"/>
              <a:gd name="connsiteX1517" fmla="*/ 2094554 w 6789110"/>
              <a:gd name="connsiteY1517" fmla="*/ 5489269 h 6386516"/>
              <a:gd name="connsiteX1518" fmla="*/ 2086855 w 6789110"/>
              <a:gd name="connsiteY1518" fmla="*/ 5498893 h 6386516"/>
              <a:gd name="connsiteX1519" fmla="*/ 2102253 w 6789110"/>
              <a:gd name="connsiteY1519" fmla="*/ 5495044 h 6386516"/>
              <a:gd name="connsiteX1520" fmla="*/ 2154222 w 6789110"/>
              <a:gd name="connsiteY1520" fmla="*/ 5477721 h 6386516"/>
              <a:gd name="connsiteX1521" fmla="*/ 2159997 w 6789110"/>
              <a:gd name="connsiteY1521" fmla="*/ 5473871 h 6386516"/>
              <a:gd name="connsiteX1522" fmla="*/ 2167696 w 6789110"/>
              <a:gd name="connsiteY1522" fmla="*/ 5473871 h 6386516"/>
              <a:gd name="connsiteX1523" fmla="*/ 2179244 w 6789110"/>
              <a:gd name="connsiteY1523" fmla="*/ 5470022 h 6386516"/>
              <a:gd name="connsiteX1524" fmla="*/ 2163847 w 6789110"/>
              <a:gd name="connsiteY1524" fmla="*/ 5470022 h 6386516"/>
              <a:gd name="connsiteX1525" fmla="*/ 2165771 w 6789110"/>
              <a:gd name="connsiteY1525" fmla="*/ 5466172 h 6386516"/>
              <a:gd name="connsiteX1526" fmla="*/ 1442051 w 6789110"/>
              <a:gd name="connsiteY1526" fmla="*/ 5462321 h 6386516"/>
              <a:gd name="connsiteX1527" fmla="*/ 1453600 w 6789110"/>
              <a:gd name="connsiteY1527" fmla="*/ 5493119 h 6386516"/>
              <a:gd name="connsiteX1528" fmla="*/ 1413179 w 6789110"/>
              <a:gd name="connsiteY1528" fmla="*/ 5506592 h 6386516"/>
              <a:gd name="connsiteX1529" fmla="*/ 1411254 w 6789110"/>
              <a:gd name="connsiteY1529" fmla="*/ 5470021 h 6386516"/>
              <a:gd name="connsiteX1530" fmla="*/ 1442051 w 6789110"/>
              <a:gd name="connsiteY1530" fmla="*/ 5462321 h 6386516"/>
              <a:gd name="connsiteX1531" fmla="*/ 1823159 w 6789110"/>
              <a:gd name="connsiteY1531" fmla="*/ 5458473 h 6386516"/>
              <a:gd name="connsiteX1532" fmla="*/ 1800061 w 6789110"/>
              <a:gd name="connsiteY1532" fmla="*/ 5477721 h 6386516"/>
              <a:gd name="connsiteX1533" fmla="*/ 1807761 w 6789110"/>
              <a:gd name="connsiteY1533" fmla="*/ 5487345 h 6386516"/>
              <a:gd name="connsiteX1534" fmla="*/ 1821234 w 6789110"/>
              <a:gd name="connsiteY1534" fmla="*/ 5473871 h 6386516"/>
              <a:gd name="connsiteX1535" fmla="*/ 1823159 w 6789110"/>
              <a:gd name="connsiteY1535" fmla="*/ 5458473 h 6386516"/>
              <a:gd name="connsiteX1536" fmla="*/ 1299616 w 6789110"/>
              <a:gd name="connsiteY1536" fmla="*/ 5458473 h 6386516"/>
              <a:gd name="connsiteX1537" fmla="*/ 1303467 w 6789110"/>
              <a:gd name="connsiteY1537" fmla="*/ 5464247 h 6386516"/>
              <a:gd name="connsiteX1538" fmla="*/ 1295767 w 6789110"/>
              <a:gd name="connsiteY1538" fmla="*/ 5466172 h 6386516"/>
              <a:gd name="connsiteX1539" fmla="*/ 1295767 w 6789110"/>
              <a:gd name="connsiteY1539" fmla="*/ 5470021 h 6386516"/>
              <a:gd name="connsiteX1540" fmla="*/ 1293842 w 6789110"/>
              <a:gd name="connsiteY1540" fmla="*/ 5470021 h 6386516"/>
              <a:gd name="connsiteX1541" fmla="*/ 1291917 w 6789110"/>
              <a:gd name="connsiteY1541" fmla="*/ 5460397 h 6386516"/>
              <a:gd name="connsiteX1542" fmla="*/ 1293842 w 6789110"/>
              <a:gd name="connsiteY1542" fmla="*/ 5462322 h 6386516"/>
              <a:gd name="connsiteX1543" fmla="*/ 1299616 w 6789110"/>
              <a:gd name="connsiteY1543" fmla="*/ 5458473 h 6386516"/>
              <a:gd name="connsiteX1544" fmla="*/ 3393785 w 6789110"/>
              <a:gd name="connsiteY1544" fmla="*/ 5448848 h 6386516"/>
              <a:gd name="connsiteX1545" fmla="*/ 3543919 w 6789110"/>
              <a:gd name="connsiteY1545" fmla="*/ 5568185 h 6386516"/>
              <a:gd name="connsiteX1546" fmla="*/ 3393785 w 6789110"/>
              <a:gd name="connsiteY1546" fmla="*/ 5448848 h 6386516"/>
              <a:gd name="connsiteX1547" fmla="*/ 1494021 w 6789110"/>
              <a:gd name="connsiteY1547" fmla="*/ 5448848 h 6386516"/>
              <a:gd name="connsiteX1548" fmla="*/ 1490171 w 6789110"/>
              <a:gd name="connsiteY1548" fmla="*/ 5452698 h 6386516"/>
              <a:gd name="connsiteX1549" fmla="*/ 1490171 w 6789110"/>
              <a:gd name="connsiteY1549" fmla="*/ 5475796 h 6386516"/>
              <a:gd name="connsiteX1550" fmla="*/ 1492096 w 6789110"/>
              <a:gd name="connsiteY1550" fmla="*/ 5479645 h 6386516"/>
              <a:gd name="connsiteX1551" fmla="*/ 1476697 w 6789110"/>
              <a:gd name="connsiteY1551" fmla="*/ 5485420 h 6386516"/>
              <a:gd name="connsiteX1552" fmla="*/ 1480547 w 6789110"/>
              <a:gd name="connsiteY1552" fmla="*/ 5452698 h 6386516"/>
              <a:gd name="connsiteX1553" fmla="*/ 1494021 w 6789110"/>
              <a:gd name="connsiteY1553" fmla="*/ 5448848 h 6386516"/>
              <a:gd name="connsiteX1554" fmla="*/ 1792362 w 6789110"/>
              <a:gd name="connsiteY1554" fmla="*/ 5446924 h 6386516"/>
              <a:gd name="connsiteX1555" fmla="*/ 1782738 w 6789110"/>
              <a:gd name="connsiteY1555" fmla="*/ 5452699 h 6386516"/>
              <a:gd name="connsiteX1556" fmla="*/ 1780813 w 6789110"/>
              <a:gd name="connsiteY1556" fmla="*/ 5456548 h 6386516"/>
              <a:gd name="connsiteX1557" fmla="*/ 1744243 w 6789110"/>
              <a:gd name="connsiteY1557" fmla="*/ 5479646 h 6386516"/>
              <a:gd name="connsiteX1558" fmla="*/ 1736543 w 6789110"/>
              <a:gd name="connsiteY1558" fmla="*/ 5496969 h 6386516"/>
              <a:gd name="connsiteX1559" fmla="*/ 1794287 w 6789110"/>
              <a:gd name="connsiteY1559" fmla="*/ 5450774 h 6386516"/>
              <a:gd name="connsiteX1560" fmla="*/ 1792362 w 6789110"/>
              <a:gd name="connsiteY1560" fmla="*/ 5450774 h 6386516"/>
              <a:gd name="connsiteX1561" fmla="*/ 1792362 w 6789110"/>
              <a:gd name="connsiteY1561" fmla="*/ 5446924 h 6386516"/>
              <a:gd name="connsiteX1562" fmla="*/ 3347590 w 6789110"/>
              <a:gd name="connsiteY1562" fmla="*/ 5446923 h 6386516"/>
              <a:gd name="connsiteX1563" fmla="*/ 3524671 w 6789110"/>
              <a:gd name="connsiteY1563" fmla="*/ 5616304 h 6386516"/>
              <a:gd name="connsiteX1564" fmla="*/ 3347590 w 6789110"/>
              <a:gd name="connsiteY1564" fmla="*/ 5446923 h 6386516"/>
              <a:gd name="connsiteX1565" fmla="*/ 1507493 w 6789110"/>
              <a:gd name="connsiteY1565" fmla="*/ 5444998 h 6386516"/>
              <a:gd name="connsiteX1566" fmla="*/ 1499794 w 6789110"/>
              <a:gd name="connsiteY1566" fmla="*/ 5477721 h 6386516"/>
              <a:gd name="connsiteX1567" fmla="*/ 1495945 w 6789110"/>
              <a:gd name="connsiteY1567" fmla="*/ 5479645 h 6386516"/>
              <a:gd name="connsiteX1568" fmla="*/ 1497869 w 6789110"/>
              <a:gd name="connsiteY1568" fmla="*/ 5464247 h 6386516"/>
              <a:gd name="connsiteX1569" fmla="*/ 1499794 w 6789110"/>
              <a:gd name="connsiteY1569" fmla="*/ 5446924 h 6386516"/>
              <a:gd name="connsiteX1570" fmla="*/ 1507493 w 6789110"/>
              <a:gd name="connsiteY1570" fmla="*/ 5444998 h 6386516"/>
              <a:gd name="connsiteX1571" fmla="*/ 1809685 w 6789110"/>
              <a:gd name="connsiteY1571" fmla="*/ 5439225 h 6386516"/>
              <a:gd name="connsiteX1572" fmla="*/ 1798136 w 6789110"/>
              <a:gd name="connsiteY1572" fmla="*/ 5445000 h 6386516"/>
              <a:gd name="connsiteX1573" fmla="*/ 1796212 w 6789110"/>
              <a:gd name="connsiteY1573" fmla="*/ 5450774 h 6386516"/>
              <a:gd name="connsiteX1574" fmla="*/ 1809685 w 6789110"/>
              <a:gd name="connsiteY1574" fmla="*/ 5439225 h 6386516"/>
              <a:gd name="connsiteX1575" fmla="*/ 1861655 w 6789110"/>
              <a:gd name="connsiteY1575" fmla="*/ 5429602 h 6386516"/>
              <a:gd name="connsiteX1576" fmla="*/ 1834707 w 6789110"/>
              <a:gd name="connsiteY1576" fmla="*/ 5448849 h 6386516"/>
              <a:gd name="connsiteX1577" fmla="*/ 1844331 w 6789110"/>
              <a:gd name="connsiteY1577" fmla="*/ 5452699 h 6386516"/>
              <a:gd name="connsiteX1578" fmla="*/ 1863579 w 6789110"/>
              <a:gd name="connsiteY1578" fmla="*/ 5437301 h 6386516"/>
              <a:gd name="connsiteX1579" fmla="*/ 1861655 w 6789110"/>
              <a:gd name="connsiteY1579" fmla="*/ 5437301 h 6386516"/>
              <a:gd name="connsiteX1580" fmla="*/ 1861655 w 6789110"/>
              <a:gd name="connsiteY1580" fmla="*/ 5429602 h 6386516"/>
              <a:gd name="connsiteX1581" fmla="*/ 2167696 w 6789110"/>
              <a:gd name="connsiteY1581" fmla="*/ 5427677 h 6386516"/>
              <a:gd name="connsiteX1582" fmla="*/ 2159997 w 6789110"/>
              <a:gd name="connsiteY1582" fmla="*/ 5431526 h 6386516"/>
              <a:gd name="connsiteX1583" fmla="*/ 2125351 w 6789110"/>
              <a:gd name="connsiteY1583" fmla="*/ 5448849 h 6386516"/>
              <a:gd name="connsiteX1584" fmla="*/ 2096479 w 6789110"/>
              <a:gd name="connsiteY1584" fmla="*/ 5462323 h 6386516"/>
              <a:gd name="connsiteX1585" fmla="*/ 2100328 w 6789110"/>
              <a:gd name="connsiteY1585" fmla="*/ 5464247 h 6386516"/>
              <a:gd name="connsiteX1586" fmla="*/ 2100328 w 6789110"/>
              <a:gd name="connsiteY1586" fmla="*/ 5466172 h 6386516"/>
              <a:gd name="connsiteX1587" fmla="*/ 2094554 w 6789110"/>
              <a:gd name="connsiteY1587" fmla="*/ 5464247 h 6386516"/>
              <a:gd name="connsiteX1588" fmla="*/ 2044510 w 6789110"/>
              <a:gd name="connsiteY1588" fmla="*/ 5483495 h 6386516"/>
              <a:gd name="connsiteX1589" fmla="*/ 2044510 w 6789110"/>
              <a:gd name="connsiteY1589" fmla="*/ 5493119 h 6386516"/>
              <a:gd name="connsiteX1590" fmla="*/ 2069531 w 6789110"/>
              <a:gd name="connsiteY1590" fmla="*/ 5485420 h 6386516"/>
              <a:gd name="connsiteX1591" fmla="*/ 2059908 w 6789110"/>
              <a:gd name="connsiteY1591" fmla="*/ 5479646 h 6386516"/>
              <a:gd name="connsiteX1592" fmla="*/ 2081080 w 6789110"/>
              <a:gd name="connsiteY1592" fmla="*/ 5481570 h 6386516"/>
              <a:gd name="connsiteX1593" fmla="*/ 2123426 w 6789110"/>
              <a:gd name="connsiteY1593" fmla="*/ 5466172 h 6386516"/>
              <a:gd name="connsiteX1594" fmla="*/ 2123426 w 6789110"/>
              <a:gd name="connsiteY1594" fmla="*/ 5464247 h 6386516"/>
              <a:gd name="connsiteX1595" fmla="*/ 2131125 w 6789110"/>
              <a:gd name="connsiteY1595" fmla="*/ 5464247 h 6386516"/>
              <a:gd name="connsiteX1596" fmla="*/ 2181169 w 6789110"/>
              <a:gd name="connsiteY1596" fmla="*/ 5441150 h 6386516"/>
              <a:gd name="connsiteX1597" fmla="*/ 2165771 w 6789110"/>
              <a:gd name="connsiteY1597" fmla="*/ 5439225 h 6386516"/>
              <a:gd name="connsiteX1598" fmla="*/ 2167696 w 6789110"/>
              <a:gd name="connsiteY1598" fmla="*/ 5427677 h 6386516"/>
              <a:gd name="connsiteX1599" fmla="*/ 1415105 w 6789110"/>
              <a:gd name="connsiteY1599" fmla="*/ 5427676 h 6386516"/>
              <a:gd name="connsiteX1600" fmla="*/ 1426654 w 6789110"/>
              <a:gd name="connsiteY1600" fmla="*/ 5441149 h 6386516"/>
              <a:gd name="connsiteX1601" fmla="*/ 1413180 w 6789110"/>
              <a:gd name="connsiteY1601" fmla="*/ 5444999 h 6386516"/>
              <a:gd name="connsiteX1602" fmla="*/ 1415105 w 6789110"/>
              <a:gd name="connsiteY1602" fmla="*/ 5427676 h 6386516"/>
              <a:gd name="connsiteX1603" fmla="*/ 1984841 w 6789110"/>
              <a:gd name="connsiteY1603" fmla="*/ 5425752 h 6386516"/>
              <a:gd name="connsiteX1604" fmla="*/ 1971367 w 6789110"/>
              <a:gd name="connsiteY1604" fmla="*/ 5427677 h 6386516"/>
              <a:gd name="connsiteX1605" fmla="*/ 1952119 w 6789110"/>
              <a:gd name="connsiteY1605" fmla="*/ 5437301 h 6386516"/>
              <a:gd name="connsiteX1606" fmla="*/ 1984841 w 6789110"/>
              <a:gd name="connsiteY1606" fmla="*/ 5425752 h 6386516"/>
              <a:gd name="connsiteX1607" fmla="*/ 1605657 w 6789110"/>
              <a:gd name="connsiteY1607" fmla="*/ 5425751 h 6386516"/>
              <a:gd name="connsiteX1608" fmla="*/ 1617206 w 6789110"/>
              <a:gd name="connsiteY1608" fmla="*/ 5431525 h 6386516"/>
              <a:gd name="connsiteX1609" fmla="*/ 1609507 w 6789110"/>
              <a:gd name="connsiteY1609" fmla="*/ 5435375 h 6386516"/>
              <a:gd name="connsiteX1610" fmla="*/ 1605657 w 6789110"/>
              <a:gd name="connsiteY1610" fmla="*/ 5425751 h 6386516"/>
              <a:gd name="connsiteX1611" fmla="*/ 1461300 w 6789110"/>
              <a:gd name="connsiteY1611" fmla="*/ 5416127 h 6386516"/>
              <a:gd name="connsiteX1612" fmla="*/ 1461300 w 6789110"/>
              <a:gd name="connsiteY1612" fmla="*/ 5427676 h 6386516"/>
              <a:gd name="connsiteX1613" fmla="*/ 1459375 w 6789110"/>
              <a:gd name="connsiteY1613" fmla="*/ 5427676 h 6386516"/>
              <a:gd name="connsiteX1614" fmla="*/ 1461300 w 6789110"/>
              <a:gd name="connsiteY1614" fmla="*/ 5416127 h 6386516"/>
              <a:gd name="connsiteX1615" fmla="*/ 1438202 w 6789110"/>
              <a:gd name="connsiteY1615" fmla="*/ 5410353 h 6386516"/>
              <a:gd name="connsiteX1616" fmla="*/ 1447826 w 6789110"/>
              <a:gd name="connsiteY1616" fmla="*/ 5418052 h 6386516"/>
              <a:gd name="connsiteX1617" fmla="*/ 1447826 w 6789110"/>
              <a:gd name="connsiteY1617" fmla="*/ 5410353 h 6386516"/>
              <a:gd name="connsiteX1618" fmla="*/ 1451676 w 6789110"/>
              <a:gd name="connsiteY1618" fmla="*/ 5431525 h 6386516"/>
              <a:gd name="connsiteX1619" fmla="*/ 1442052 w 6789110"/>
              <a:gd name="connsiteY1619" fmla="*/ 5435375 h 6386516"/>
              <a:gd name="connsiteX1620" fmla="*/ 1430503 w 6789110"/>
              <a:gd name="connsiteY1620" fmla="*/ 5421901 h 6386516"/>
              <a:gd name="connsiteX1621" fmla="*/ 1438202 w 6789110"/>
              <a:gd name="connsiteY1621" fmla="*/ 5410353 h 6386516"/>
              <a:gd name="connsiteX1622" fmla="*/ 1894376 w 6789110"/>
              <a:gd name="connsiteY1622" fmla="*/ 5406504 h 6386516"/>
              <a:gd name="connsiteX1623" fmla="*/ 1882828 w 6789110"/>
              <a:gd name="connsiteY1623" fmla="*/ 5414203 h 6386516"/>
              <a:gd name="connsiteX1624" fmla="*/ 1886677 w 6789110"/>
              <a:gd name="connsiteY1624" fmla="*/ 5414203 h 6386516"/>
              <a:gd name="connsiteX1625" fmla="*/ 1894376 w 6789110"/>
              <a:gd name="connsiteY1625" fmla="*/ 5406504 h 6386516"/>
              <a:gd name="connsiteX1626" fmla="*/ 1434352 w 6789110"/>
              <a:gd name="connsiteY1626" fmla="*/ 5398804 h 6386516"/>
              <a:gd name="connsiteX1627" fmla="*/ 1434352 w 6789110"/>
              <a:gd name="connsiteY1627" fmla="*/ 5402653 h 6386516"/>
              <a:gd name="connsiteX1628" fmla="*/ 1430503 w 6789110"/>
              <a:gd name="connsiteY1628" fmla="*/ 5404578 h 6386516"/>
              <a:gd name="connsiteX1629" fmla="*/ 1434352 w 6789110"/>
              <a:gd name="connsiteY1629" fmla="*/ 5398804 h 6386516"/>
              <a:gd name="connsiteX1630" fmla="*/ 1295767 w 6789110"/>
              <a:gd name="connsiteY1630" fmla="*/ 5394954 h 6386516"/>
              <a:gd name="connsiteX1631" fmla="*/ 1330413 w 6789110"/>
              <a:gd name="connsiteY1631" fmla="*/ 5408428 h 6386516"/>
              <a:gd name="connsiteX1632" fmla="*/ 1328488 w 6789110"/>
              <a:gd name="connsiteY1632" fmla="*/ 5414202 h 6386516"/>
              <a:gd name="connsiteX1633" fmla="*/ 1363134 w 6789110"/>
              <a:gd name="connsiteY1633" fmla="*/ 5406503 h 6386516"/>
              <a:gd name="connsiteX1634" fmla="*/ 1366984 w 6789110"/>
              <a:gd name="connsiteY1634" fmla="*/ 5408428 h 6386516"/>
              <a:gd name="connsiteX1635" fmla="*/ 1366984 w 6789110"/>
              <a:gd name="connsiteY1635" fmla="*/ 5406503 h 6386516"/>
              <a:gd name="connsiteX1636" fmla="*/ 1386232 w 6789110"/>
              <a:gd name="connsiteY1636" fmla="*/ 5406503 h 6386516"/>
              <a:gd name="connsiteX1637" fmla="*/ 1386232 w 6789110"/>
              <a:gd name="connsiteY1637" fmla="*/ 5410353 h 6386516"/>
              <a:gd name="connsiteX1638" fmla="*/ 1393931 w 6789110"/>
              <a:gd name="connsiteY1638" fmla="*/ 5414202 h 6386516"/>
              <a:gd name="connsiteX1639" fmla="*/ 1392006 w 6789110"/>
              <a:gd name="connsiteY1639" fmla="*/ 5454622 h 6386516"/>
              <a:gd name="connsiteX1640" fmla="*/ 1384307 w 6789110"/>
              <a:gd name="connsiteY1640" fmla="*/ 5456547 h 6386516"/>
              <a:gd name="connsiteX1641" fmla="*/ 1374683 w 6789110"/>
              <a:gd name="connsiteY1641" fmla="*/ 5458472 h 6386516"/>
              <a:gd name="connsiteX1642" fmla="*/ 1372758 w 6789110"/>
              <a:gd name="connsiteY1642" fmla="*/ 5441149 h 6386516"/>
              <a:gd name="connsiteX1643" fmla="*/ 1363134 w 6789110"/>
              <a:gd name="connsiteY1643" fmla="*/ 5460397 h 6386516"/>
              <a:gd name="connsiteX1644" fmla="*/ 1343887 w 6789110"/>
              <a:gd name="connsiteY1644" fmla="*/ 5464246 h 6386516"/>
              <a:gd name="connsiteX1645" fmla="*/ 1349661 w 6789110"/>
              <a:gd name="connsiteY1645" fmla="*/ 5437299 h 6386516"/>
              <a:gd name="connsiteX1646" fmla="*/ 1336187 w 6789110"/>
              <a:gd name="connsiteY1646" fmla="*/ 5466171 h 6386516"/>
              <a:gd name="connsiteX1647" fmla="*/ 1334263 w 6789110"/>
              <a:gd name="connsiteY1647" fmla="*/ 5466171 h 6386516"/>
              <a:gd name="connsiteX1648" fmla="*/ 1324639 w 6789110"/>
              <a:gd name="connsiteY1648" fmla="*/ 5454622 h 6386516"/>
              <a:gd name="connsiteX1649" fmla="*/ 1320789 w 6789110"/>
              <a:gd name="connsiteY1649" fmla="*/ 5468096 h 6386516"/>
              <a:gd name="connsiteX1650" fmla="*/ 1316940 w 6789110"/>
              <a:gd name="connsiteY1650" fmla="*/ 5468096 h 6386516"/>
              <a:gd name="connsiteX1651" fmla="*/ 1311165 w 6789110"/>
              <a:gd name="connsiteY1651" fmla="*/ 5464246 h 6386516"/>
              <a:gd name="connsiteX1652" fmla="*/ 1318864 w 6789110"/>
              <a:gd name="connsiteY1652" fmla="*/ 5433450 h 6386516"/>
              <a:gd name="connsiteX1653" fmla="*/ 1315015 w 6789110"/>
              <a:gd name="connsiteY1653" fmla="*/ 5429600 h 6386516"/>
              <a:gd name="connsiteX1654" fmla="*/ 1324639 w 6789110"/>
              <a:gd name="connsiteY1654" fmla="*/ 5412277 h 6386516"/>
              <a:gd name="connsiteX1655" fmla="*/ 1316940 w 6789110"/>
              <a:gd name="connsiteY1655" fmla="*/ 5418052 h 6386516"/>
              <a:gd name="connsiteX1656" fmla="*/ 1307316 w 6789110"/>
              <a:gd name="connsiteY1656" fmla="*/ 5408428 h 6386516"/>
              <a:gd name="connsiteX1657" fmla="*/ 1301541 w 6789110"/>
              <a:gd name="connsiteY1657" fmla="*/ 5412277 h 6386516"/>
              <a:gd name="connsiteX1658" fmla="*/ 1307316 w 6789110"/>
              <a:gd name="connsiteY1658" fmla="*/ 5431525 h 6386516"/>
              <a:gd name="connsiteX1659" fmla="*/ 1303466 w 6789110"/>
              <a:gd name="connsiteY1659" fmla="*/ 5423826 h 6386516"/>
              <a:gd name="connsiteX1660" fmla="*/ 1295767 w 6789110"/>
              <a:gd name="connsiteY1660" fmla="*/ 5394954 h 6386516"/>
              <a:gd name="connsiteX1661" fmla="*/ 1622982 w 6789110"/>
              <a:gd name="connsiteY1661" fmla="*/ 5393030 h 6386516"/>
              <a:gd name="connsiteX1662" fmla="*/ 1622982 w 6789110"/>
              <a:gd name="connsiteY1662" fmla="*/ 5394955 h 6386516"/>
              <a:gd name="connsiteX1663" fmla="*/ 1621058 w 6789110"/>
              <a:gd name="connsiteY1663" fmla="*/ 5394955 h 6386516"/>
              <a:gd name="connsiteX1664" fmla="*/ 1622982 w 6789110"/>
              <a:gd name="connsiteY1664" fmla="*/ 5393030 h 6386516"/>
              <a:gd name="connsiteX1665" fmla="*/ 1486322 w 6789110"/>
              <a:gd name="connsiteY1665" fmla="*/ 5391105 h 6386516"/>
              <a:gd name="connsiteX1666" fmla="*/ 1492096 w 6789110"/>
              <a:gd name="connsiteY1666" fmla="*/ 5398804 h 6386516"/>
              <a:gd name="connsiteX1667" fmla="*/ 1486322 w 6789110"/>
              <a:gd name="connsiteY1667" fmla="*/ 5398804 h 6386516"/>
              <a:gd name="connsiteX1668" fmla="*/ 1486322 w 6789110"/>
              <a:gd name="connsiteY1668" fmla="*/ 5391105 h 6386516"/>
              <a:gd name="connsiteX1669" fmla="*/ 1520968 w 6789110"/>
              <a:gd name="connsiteY1669" fmla="*/ 5389180 h 6386516"/>
              <a:gd name="connsiteX1670" fmla="*/ 1517118 w 6789110"/>
              <a:gd name="connsiteY1670" fmla="*/ 5412277 h 6386516"/>
              <a:gd name="connsiteX1671" fmla="*/ 1513269 w 6789110"/>
              <a:gd name="connsiteY1671" fmla="*/ 5414202 h 6386516"/>
              <a:gd name="connsiteX1672" fmla="*/ 1520968 w 6789110"/>
              <a:gd name="connsiteY1672" fmla="*/ 5389180 h 6386516"/>
              <a:gd name="connsiteX1673" fmla="*/ 1459374 w 6789110"/>
              <a:gd name="connsiteY1673" fmla="*/ 5387256 h 6386516"/>
              <a:gd name="connsiteX1674" fmla="*/ 1459374 w 6789110"/>
              <a:gd name="connsiteY1674" fmla="*/ 5389181 h 6386516"/>
              <a:gd name="connsiteX1675" fmla="*/ 1455525 w 6789110"/>
              <a:gd name="connsiteY1675" fmla="*/ 5389181 h 6386516"/>
              <a:gd name="connsiteX1676" fmla="*/ 1459374 w 6789110"/>
              <a:gd name="connsiteY1676" fmla="*/ 5387256 h 6386516"/>
              <a:gd name="connsiteX1677" fmla="*/ 1359284 w 6789110"/>
              <a:gd name="connsiteY1677" fmla="*/ 5383406 h 6386516"/>
              <a:gd name="connsiteX1678" fmla="*/ 1368909 w 6789110"/>
              <a:gd name="connsiteY1678" fmla="*/ 5391106 h 6386516"/>
              <a:gd name="connsiteX1679" fmla="*/ 1361209 w 6789110"/>
              <a:gd name="connsiteY1679" fmla="*/ 5393030 h 6386516"/>
              <a:gd name="connsiteX1680" fmla="*/ 1359284 w 6789110"/>
              <a:gd name="connsiteY1680" fmla="*/ 5383406 h 6386516"/>
              <a:gd name="connsiteX1681" fmla="*/ 2658516 w 6789110"/>
              <a:gd name="connsiteY1681" fmla="*/ 5379557 h 6386516"/>
              <a:gd name="connsiteX1682" fmla="*/ 2658516 w 6789110"/>
              <a:gd name="connsiteY1682" fmla="*/ 5595133 h 6386516"/>
              <a:gd name="connsiteX1683" fmla="*/ 2658516 w 6789110"/>
              <a:gd name="connsiteY1683" fmla="*/ 5379557 h 6386516"/>
              <a:gd name="connsiteX1684" fmla="*/ 1951271 w 6789110"/>
              <a:gd name="connsiteY1684" fmla="*/ 5377109 h 6386516"/>
              <a:gd name="connsiteX1685" fmla="*/ 1951638 w 6789110"/>
              <a:gd name="connsiteY1685" fmla="*/ 5379557 h 6386516"/>
              <a:gd name="connsiteX1686" fmla="*/ 1950499 w 6789110"/>
              <a:gd name="connsiteY1686" fmla="*/ 5387156 h 6386516"/>
              <a:gd name="connsiteX1687" fmla="*/ 1417028 w 6789110"/>
              <a:gd name="connsiteY1687" fmla="*/ 5373782 h 6386516"/>
              <a:gd name="connsiteX1688" fmla="*/ 1426653 w 6789110"/>
              <a:gd name="connsiteY1688" fmla="*/ 5381482 h 6386516"/>
              <a:gd name="connsiteX1689" fmla="*/ 1434352 w 6789110"/>
              <a:gd name="connsiteY1689" fmla="*/ 5385331 h 6386516"/>
              <a:gd name="connsiteX1690" fmla="*/ 1424728 w 6789110"/>
              <a:gd name="connsiteY1690" fmla="*/ 5387256 h 6386516"/>
              <a:gd name="connsiteX1691" fmla="*/ 1415103 w 6789110"/>
              <a:gd name="connsiteY1691" fmla="*/ 5383406 h 6386516"/>
              <a:gd name="connsiteX1692" fmla="*/ 1417028 w 6789110"/>
              <a:gd name="connsiteY1692" fmla="*/ 5373782 h 6386516"/>
              <a:gd name="connsiteX1693" fmla="*/ 1309240 w 6789110"/>
              <a:gd name="connsiteY1693" fmla="*/ 5373782 h 6386516"/>
              <a:gd name="connsiteX1694" fmla="*/ 1313090 w 6789110"/>
              <a:gd name="connsiteY1694" fmla="*/ 5377632 h 6386516"/>
              <a:gd name="connsiteX1695" fmla="*/ 1347737 w 6789110"/>
              <a:gd name="connsiteY1695" fmla="*/ 5396880 h 6386516"/>
              <a:gd name="connsiteX1696" fmla="*/ 1320790 w 6789110"/>
              <a:gd name="connsiteY1696" fmla="*/ 5394955 h 6386516"/>
              <a:gd name="connsiteX1697" fmla="*/ 1309240 w 6789110"/>
              <a:gd name="connsiteY1697" fmla="*/ 5373782 h 6386516"/>
              <a:gd name="connsiteX1698" fmla="*/ 1536365 w 6789110"/>
              <a:gd name="connsiteY1698" fmla="*/ 5368008 h 6386516"/>
              <a:gd name="connsiteX1699" fmla="*/ 1534441 w 6789110"/>
              <a:gd name="connsiteY1699" fmla="*/ 5369933 h 6386516"/>
              <a:gd name="connsiteX1700" fmla="*/ 1535284 w 6789110"/>
              <a:gd name="connsiteY1700" fmla="*/ 5368278 h 6386516"/>
              <a:gd name="connsiteX1701" fmla="*/ 1428577 w 6789110"/>
              <a:gd name="connsiteY1701" fmla="*/ 5366083 h 6386516"/>
              <a:gd name="connsiteX1702" fmla="*/ 1438202 w 6789110"/>
              <a:gd name="connsiteY1702" fmla="*/ 5371858 h 6386516"/>
              <a:gd name="connsiteX1703" fmla="*/ 1438202 w 6789110"/>
              <a:gd name="connsiteY1703" fmla="*/ 5379557 h 6386516"/>
              <a:gd name="connsiteX1704" fmla="*/ 1440127 w 6789110"/>
              <a:gd name="connsiteY1704" fmla="*/ 5385331 h 6386516"/>
              <a:gd name="connsiteX1705" fmla="*/ 1434351 w 6789110"/>
              <a:gd name="connsiteY1705" fmla="*/ 5375707 h 6386516"/>
              <a:gd name="connsiteX1706" fmla="*/ 1428577 w 6789110"/>
              <a:gd name="connsiteY1706" fmla="*/ 5366083 h 6386516"/>
              <a:gd name="connsiteX1707" fmla="*/ 2127275 w 6789110"/>
              <a:gd name="connsiteY1707" fmla="*/ 5358384 h 6386516"/>
              <a:gd name="connsiteX1708" fmla="*/ 2121501 w 6789110"/>
              <a:gd name="connsiteY1708" fmla="*/ 5362234 h 6386516"/>
              <a:gd name="connsiteX1709" fmla="*/ 2115726 w 6789110"/>
              <a:gd name="connsiteY1709" fmla="*/ 5375707 h 6386516"/>
              <a:gd name="connsiteX1710" fmla="*/ 2084930 w 6789110"/>
              <a:gd name="connsiteY1710" fmla="*/ 5383406 h 6386516"/>
              <a:gd name="connsiteX1711" fmla="*/ 2084930 w 6789110"/>
              <a:gd name="connsiteY1711" fmla="*/ 5377632 h 6386516"/>
              <a:gd name="connsiteX1712" fmla="*/ 2079155 w 6789110"/>
              <a:gd name="connsiteY1712" fmla="*/ 5379557 h 6386516"/>
              <a:gd name="connsiteX1713" fmla="*/ 2081080 w 6789110"/>
              <a:gd name="connsiteY1713" fmla="*/ 5383406 h 6386516"/>
              <a:gd name="connsiteX1714" fmla="*/ 2069531 w 6789110"/>
              <a:gd name="connsiteY1714" fmla="*/ 5385331 h 6386516"/>
              <a:gd name="connsiteX1715" fmla="*/ 2029111 w 6789110"/>
              <a:gd name="connsiteY1715" fmla="*/ 5404579 h 6386516"/>
              <a:gd name="connsiteX1716" fmla="*/ 2032962 w 6789110"/>
              <a:gd name="connsiteY1716" fmla="*/ 5414203 h 6386516"/>
              <a:gd name="connsiteX1717" fmla="*/ 2061832 w 6789110"/>
              <a:gd name="connsiteY1717" fmla="*/ 5402654 h 6386516"/>
              <a:gd name="connsiteX1718" fmla="*/ 2061832 w 6789110"/>
              <a:gd name="connsiteY1718" fmla="*/ 5398805 h 6386516"/>
              <a:gd name="connsiteX1719" fmla="*/ 2075306 w 6789110"/>
              <a:gd name="connsiteY1719" fmla="*/ 5396880 h 6386516"/>
              <a:gd name="connsiteX1720" fmla="*/ 2133050 w 6789110"/>
              <a:gd name="connsiteY1720" fmla="*/ 5371858 h 6386516"/>
              <a:gd name="connsiteX1721" fmla="*/ 2134974 w 6789110"/>
              <a:gd name="connsiteY1721" fmla="*/ 5366083 h 6386516"/>
              <a:gd name="connsiteX1722" fmla="*/ 2121501 w 6789110"/>
              <a:gd name="connsiteY1722" fmla="*/ 5373782 h 6386516"/>
              <a:gd name="connsiteX1723" fmla="*/ 2127275 w 6789110"/>
              <a:gd name="connsiteY1723" fmla="*/ 5358384 h 6386516"/>
              <a:gd name="connsiteX1724" fmla="*/ 1965593 w 6789110"/>
              <a:gd name="connsiteY1724" fmla="*/ 5358384 h 6386516"/>
              <a:gd name="connsiteX1725" fmla="*/ 1959819 w 6789110"/>
              <a:gd name="connsiteY1725" fmla="*/ 5369933 h 6386516"/>
              <a:gd name="connsiteX1726" fmla="*/ 1959819 w 6789110"/>
              <a:gd name="connsiteY1726" fmla="*/ 5368008 h 6386516"/>
              <a:gd name="connsiteX1727" fmla="*/ 1965593 w 6789110"/>
              <a:gd name="connsiteY1727" fmla="*/ 5358384 h 6386516"/>
              <a:gd name="connsiteX1728" fmla="*/ 1503644 w 6789110"/>
              <a:gd name="connsiteY1728" fmla="*/ 5358384 h 6386516"/>
              <a:gd name="connsiteX1729" fmla="*/ 1511344 w 6789110"/>
              <a:gd name="connsiteY1729" fmla="*/ 5364158 h 6386516"/>
              <a:gd name="connsiteX1730" fmla="*/ 1497870 w 6789110"/>
              <a:gd name="connsiteY1730" fmla="*/ 5371858 h 6386516"/>
              <a:gd name="connsiteX1731" fmla="*/ 1495945 w 6789110"/>
              <a:gd name="connsiteY1731" fmla="*/ 5368008 h 6386516"/>
              <a:gd name="connsiteX1732" fmla="*/ 1503644 w 6789110"/>
              <a:gd name="connsiteY1732" fmla="*/ 5358384 h 6386516"/>
              <a:gd name="connsiteX1733" fmla="*/ 1975217 w 6789110"/>
              <a:gd name="connsiteY1733" fmla="*/ 5342986 h 6386516"/>
              <a:gd name="connsiteX1734" fmla="*/ 1973292 w 6789110"/>
              <a:gd name="connsiteY1734" fmla="*/ 5344910 h 6386516"/>
              <a:gd name="connsiteX1735" fmla="*/ 1973292 w 6789110"/>
              <a:gd name="connsiteY1735" fmla="*/ 5344911 h 6386516"/>
              <a:gd name="connsiteX1736" fmla="*/ 1952119 w 6789110"/>
              <a:gd name="connsiteY1736" fmla="*/ 5366083 h 6386516"/>
              <a:gd name="connsiteX1737" fmla="*/ 1951271 w 6789110"/>
              <a:gd name="connsiteY1737" fmla="*/ 5377109 h 6386516"/>
              <a:gd name="connsiteX1738" fmla="*/ 1950195 w 6789110"/>
              <a:gd name="connsiteY1738" fmla="*/ 5369933 h 6386516"/>
              <a:gd name="connsiteX1739" fmla="*/ 1942496 w 6789110"/>
              <a:gd name="connsiteY1739" fmla="*/ 5377632 h 6386516"/>
              <a:gd name="connsiteX1740" fmla="*/ 1950195 w 6789110"/>
              <a:gd name="connsiteY1740" fmla="*/ 5389181 h 6386516"/>
              <a:gd name="connsiteX1741" fmla="*/ 1950499 w 6789110"/>
              <a:gd name="connsiteY1741" fmla="*/ 5387156 h 6386516"/>
              <a:gd name="connsiteX1742" fmla="*/ 1950195 w 6789110"/>
              <a:gd name="connsiteY1742" fmla="*/ 5391106 h 6386516"/>
              <a:gd name="connsiteX1743" fmla="*/ 1927098 w 6789110"/>
              <a:gd name="connsiteY1743" fmla="*/ 5391106 h 6386516"/>
              <a:gd name="connsiteX1744" fmla="*/ 1892451 w 6789110"/>
              <a:gd name="connsiteY1744" fmla="*/ 5427677 h 6386516"/>
              <a:gd name="connsiteX1745" fmla="*/ 1896301 w 6789110"/>
              <a:gd name="connsiteY1745" fmla="*/ 5443075 h 6386516"/>
              <a:gd name="connsiteX1746" fmla="*/ 1894376 w 6789110"/>
              <a:gd name="connsiteY1746" fmla="*/ 5445000 h 6386516"/>
              <a:gd name="connsiteX1747" fmla="*/ 1878978 w 6789110"/>
              <a:gd name="connsiteY1747" fmla="*/ 5441150 h 6386516"/>
              <a:gd name="connsiteX1748" fmla="*/ 1840482 w 6789110"/>
              <a:gd name="connsiteY1748" fmla="*/ 5481570 h 6386516"/>
              <a:gd name="connsiteX1749" fmla="*/ 1836632 w 6789110"/>
              <a:gd name="connsiteY1749" fmla="*/ 5500818 h 6386516"/>
              <a:gd name="connsiteX1750" fmla="*/ 1857805 w 6789110"/>
              <a:gd name="connsiteY1750" fmla="*/ 5483495 h 6386516"/>
              <a:gd name="connsiteX1751" fmla="*/ 1867429 w 6789110"/>
              <a:gd name="connsiteY1751" fmla="*/ 5454624 h 6386516"/>
              <a:gd name="connsiteX1752" fmla="*/ 1882828 w 6789110"/>
              <a:gd name="connsiteY1752" fmla="*/ 5456548 h 6386516"/>
              <a:gd name="connsiteX1753" fmla="*/ 1886677 w 6789110"/>
              <a:gd name="connsiteY1753" fmla="*/ 5458473 h 6386516"/>
              <a:gd name="connsiteX1754" fmla="*/ 1917473 w 6789110"/>
              <a:gd name="connsiteY1754" fmla="*/ 5429602 h 6386516"/>
              <a:gd name="connsiteX1755" fmla="*/ 1911699 w 6789110"/>
              <a:gd name="connsiteY1755" fmla="*/ 5433451 h 6386516"/>
              <a:gd name="connsiteX1756" fmla="*/ 1909774 w 6789110"/>
              <a:gd name="connsiteY1756" fmla="*/ 5433451 h 6386516"/>
              <a:gd name="connsiteX1757" fmla="*/ 1911699 w 6789110"/>
              <a:gd name="connsiteY1757" fmla="*/ 5425752 h 6386516"/>
              <a:gd name="connsiteX1758" fmla="*/ 1913625 w 6789110"/>
              <a:gd name="connsiteY1758" fmla="*/ 5427677 h 6386516"/>
              <a:gd name="connsiteX1759" fmla="*/ 1923248 w 6789110"/>
              <a:gd name="connsiteY1759" fmla="*/ 5419978 h 6386516"/>
              <a:gd name="connsiteX1760" fmla="*/ 1923248 w 6789110"/>
              <a:gd name="connsiteY1760" fmla="*/ 5414203 h 6386516"/>
              <a:gd name="connsiteX1761" fmla="*/ 1932872 w 6789110"/>
              <a:gd name="connsiteY1761" fmla="*/ 5414203 h 6386516"/>
              <a:gd name="connsiteX1762" fmla="*/ 1954044 w 6789110"/>
              <a:gd name="connsiteY1762" fmla="*/ 5393030 h 6386516"/>
              <a:gd name="connsiteX1763" fmla="*/ 1957895 w 6789110"/>
              <a:gd name="connsiteY1763" fmla="*/ 5389181 h 6386516"/>
              <a:gd name="connsiteX1764" fmla="*/ 1969443 w 6789110"/>
              <a:gd name="connsiteY1764" fmla="*/ 5362234 h 6386516"/>
              <a:gd name="connsiteX1765" fmla="*/ 1984841 w 6789110"/>
              <a:gd name="connsiteY1765" fmla="*/ 5354534 h 6386516"/>
              <a:gd name="connsiteX1766" fmla="*/ 1969443 w 6789110"/>
              <a:gd name="connsiteY1766" fmla="*/ 5352610 h 6386516"/>
              <a:gd name="connsiteX1767" fmla="*/ 1975217 w 6789110"/>
              <a:gd name="connsiteY1767" fmla="*/ 5346835 h 6386516"/>
              <a:gd name="connsiteX1768" fmla="*/ 1973292 w 6789110"/>
              <a:gd name="connsiteY1768" fmla="*/ 5344911 h 6386516"/>
              <a:gd name="connsiteX1769" fmla="*/ 1426653 w 6789110"/>
              <a:gd name="connsiteY1769" fmla="*/ 5341061 h 6386516"/>
              <a:gd name="connsiteX1770" fmla="*/ 1434351 w 6789110"/>
              <a:gd name="connsiteY1770" fmla="*/ 5342986 h 6386516"/>
              <a:gd name="connsiteX1771" fmla="*/ 1438202 w 6789110"/>
              <a:gd name="connsiteY1771" fmla="*/ 5348760 h 6386516"/>
              <a:gd name="connsiteX1772" fmla="*/ 1424728 w 6789110"/>
              <a:gd name="connsiteY1772" fmla="*/ 5344910 h 6386516"/>
              <a:gd name="connsiteX1773" fmla="*/ 1426653 w 6789110"/>
              <a:gd name="connsiteY1773" fmla="*/ 5341061 h 6386516"/>
              <a:gd name="connsiteX1774" fmla="*/ 2083006 w 6789110"/>
              <a:gd name="connsiteY1774" fmla="*/ 5337211 h 6386516"/>
              <a:gd name="connsiteX1775" fmla="*/ 2079155 w 6789110"/>
              <a:gd name="connsiteY1775" fmla="*/ 5342986 h 6386516"/>
              <a:gd name="connsiteX1776" fmla="*/ 2083006 w 6789110"/>
              <a:gd name="connsiteY1776" fmla="*/ 5341061 h 6386516"/>
              <a:gd name="connsiteX1777" fmla="*/ 2083006 w 6789110"/>
              <a:gd name="connsiteY1777" fmla="*/ 5337211 h 6386516"/>
              <a:gd name="connsiteX1778" fmla="*/ 1380458 w 6789110"/>
              <a:gd name="connsiteY1778" fmla="*/ 5337210 h 6386516"/>
              <a:gd name="connsiteX1779" fmla="*/ 1395857 w 6789110"/>
              <a:gd name="connsiteY1779" fmla="*/ 5346835 h 6386516"/>
              <a:gd name="connsiteX1780" fmla="*/ 1397782 w 6789110"/>
              <a:gd name="connsiteY1780" fmla="*/ 5383406 h 6386516"/>
              <a:gd name="connsiteX1781" fmla="*/ 1393932 w 6789110"/>
              <a:gd name="connsiteY1781" fmla="*/ 5385331 h 6386516"/>
              <a:gd name="connsiteX1782" fmla="*/ 1397782 w 6789110"/>
              <a:gd name="connsiteY1782" fmla="*/ 5389180 h 6386516"/>
              <a:gd name="connsiteX1783" fmla="*/ 1397782 w 6789110"/>
              <a:gd name="connsiteY1783" fmla="*/ 5391105 h 6386516"/>
              <a:gd name="connsiteX1784" fmla="*/ 1374683 w 6789110"/>
              <a:gd name="connsiteY1784" fmla="*/ 5383406 h 6386516"/>
              <a:gd name="connsiteX1785" fmla="*/ 1388158 w 6789110"/>
              <a:gd name="connsiteY1785" fmla="*/ 5381481 h 6386516"/>
              <a:gd name="connsiteX1786" fmla="*/ 1370834 w 6789110"/>
              <a:gd name="connsiteY1786" fmla="*/ 5371857 h 6386516"/>
              <a:gd name="connsiteX1787" fmla="*/ 1380458 w 6789110"/>
              <a:gd name="connsiteY1787" fmla="*/ 5337210 h 6386516"/>
              <a:gd name="connsiteX1788" fmla="*/ 1432427 w 6789110"/>
              <a:gd name="connsiteY1788" fmla="*/ 5333362 h 6386516"/>
              <a:gd name="connsiteX1789" fmla="*/ 1436277 w 6789110"/>
              <a:gd name="connsiteY1789" fmla="*/ 5342986 h 6386516"/>
              <a:gd name="connsiteX1790" fmla="*/ 1428578 w 6789110"/>
              <a:gd name="connsiteY1790" fmla="*/ 5337211 h 6386516"/>
              <a:gd name="connsiteX1791" fmla="*/ 1432427 w 6789110"/>
              <a:gd name="connsiteY1791" fmla="*/ 5333362 h 6386516"/>
              <a:gd name="connsiteX1792" fmla="*/ 1438202 w 6789110"/>
              <a:gd name="connsiteY1792" fmla="*/ 5329512 h 6386516"/>
              <a:gd name="connsiteX1793" fmla="*/ 1443976 w 6789110"/>
              <a:gd name="connsiteY1793" fmla="*/ 5337211 h 6386516"/>
              <a:gd name="connsiteX1794" fmla="*/ 1443976 w 6789110"/>
              <a:gd name="connsiteY1794" fmla="*/ 5339136 h 6386516"/>
              <a:gd name="connsiteX1795" fmla="*/ 1438202 w 6789110"/>
              <a:gd name="connsiteY1795" fmla="*/ 5329512 h 6386516"/>
              <a:gd name="connsiteX1796" fmla="*/ 1800061 w 6789110"/>
              <a:gd name="connsiteY1796" fmla="*/ 5327587 h 6386516"/>
              <a:gd name="connsiteX1797" fmla="*/ 1778889 w 6789110"/>
              <a:gd name="connsiteY1797" fmla="*/ 5344910 h 6386516"/>
              <a:gd name="connsiteX1798" fmla="*/ 1780813 w 6789110"/>
              <a:gd name="connsiteY1798" fmla="*/ 5352610 h 6386516"/>
              <a:gd name="connsiteX1799" fmla="*/ 1786588 w 6789110"/>
              <a:gd name="connsiteY1799" fmla="*/ 5362234 h 6386516"/>
              <a:gd name="connsiteX1800" fmla="*/ 1801987 w 6789110"/>
              <a:gd name="connsiteY1800" fmla="*/ 5348760 h 6386516"/>
              <a:gd name="connsiteX1801" fmla="*/ 1800061 w 6789110"/>
              <a:gd name="connsiteY1801" fmla="*/ 5348760 h 6386516"/>
              <a:gd name="connsiteX1802" fmla="*/ 1800061 w 6789110"/>
              <a:gd name="connsiteY1802" fmla="*/ 5333362 h 6386516"/>
              <a:gd name="connsiteX1803" fmla="*/ 1805836 w 6789110"/>
              <a:gd name="connsiteY1803" fmla="*/ 5333362 h 6386516"/>
              <a:gd name="connsiteX1804" fmla="*/ 1803911 w 6789110"/>
              <a:gd name="connsiteY1804" fmla="*/ 5331437 h 6386516"/>
              <a:gd name="connsiteX1805" fmla="*/ 1800061 w 6789110"/>
              <a:gd name="connsiteY1805" fmla="*/ 5327587 h 6386516"/>
              <a:gd name="connsiteX1806" fmla="*/ 1253422 w 6789110"/>
              <a:gd name="connsiteY1806" fmla="*/ 5319887 h 6386516"/>
              <a:gd name="connsiteX1807" fmla="*/ 1305391 w 6789110"/>
              <a:gd name="connsiteY1807" fmla="*/ 5369933 h 6386516"/>
              <a:gd name="connsiteX1808" fmla="*/ 1297692 w 6789110"/>
              <a:gd name="connsiteY1808" fmla="*/ 5364158 h 6386516"/>
              <a:gd name="connsiteX1809" fmla="*/ 1307316 w 6789110"/>
              <a:gd name="connsiteY1809" fmla="*/ 5389180 h 6386516"/>
              <a:gd name="connsiteX1810" fmla="*/ 1299617 w 6789110"/>
              <a:gd name="connsiteY1810" fmla="*/ 5389180 h 6386516"/>
              <a:gd name="connsiteX1811" fmla="*/ 1297692 w 6789110"/>
              <a:gd name="connsiteY1811" fmla="*/ 5377632 h 6386516"/>
              <a:gd name="connsiteX1812" fmla="*/ 1289993 w 6789110"/>
              <a:gd name="connsiteY1812" fmla="*/ 5348760 h 6386516"/>
              <a:gd name="connsiteX1813" fmla="*/ 1284218 w 6789110"/>
              <a:gd name="connsiteY1813" fmla="*/ 5341060 h 6386516"/>
              <a:gd name="connsiteX1814" fmla="*/ 1286143 w 6789110"/>
              <a:gd name="connsiteY1814" fmla="*/ 5350685 h 6386516"/>
              <a:gd name="connsiteX1815" fmla="*/ 1286143 w 6789110"/>
              <a:gd name="connsiteY1815" fmla="*/ 5360309 h 6386516"/>
              <a:gd name="connsiteX1816" fmla="*/ 1293842 w 6789110"/>
              <a:gd name="connsiteY1816" fmla="*/ 5391105 h 6386516"/>
              <a:gd name="connsiteX1817" fmla="*/ 1291918 w 6789110"/>
              <a:gd name="connsiteY1817" fmla="*/ 5396879 h 6386516"/>
              <a:gd name="connsiteX1818" fmla="*/ 1299617 w 6789110"/>
              <a:gd name="connsiteY1818" fmla="*/ 5429601 h 6386516"/>
              <a:gd name="connsiteX1819" fmla="*/ 1295767 w 6789110"/>
              <a:gd name="connsiteY1819" fmla="*/ 5433450 h 6386516"/>
              <a:gd name="connsiteX1820" fmla="*/ 1299617 w 6789110"/>
              <a:gd name="connsiteY1820" fmla="*/ 5431525 h 6386516"/>
              <a:gd name="connsiteX1821" fmla="*/ 1301541 w 6789110"/>
              <a:gd name="connsiteY1821" fmla="*/ 5448849 h 6386516"/>
              <a:gd name="connsiteX1822" fmla="*/ 1289993 w 6789110"/>
              <a:gd name="connsiteY1822" fmla="*/ 5448849 h 6386516"/>
              <a:gd name="connsiteX1823" fmla="*/ 1293842 w 6789110"/>
              <a:gd name="connsiteY1823" fmla="*/ 5452698 h 6386516"/>
              <a:gd name="connsiteX1824" fmla="*/ 1291918 w 6789110"/>
              <a:gd name="connsiteY1824" fmla="*/ 5456548 h 6386516"/>
              <a:gd name="connsiteX1825" fmla="*/ 1286143 w 6789110"/>
              <a:gd name="connsiteY1825" fmla="*/ 5448849 h 6386516"/>
              <a:gd name="connsiteX1826" fmla="*/ 1284218 w 6789110"/>
              <a:gd name="connsiteY1826" fmla="*/ 5470021 h 6386516"/>
              <a:gd name="connsiteX1827" fmla="*/ 1268820 w 6789110"/>
              <a:gd name="connsiteY1827" fmla="*/ 5444999 h 6386516"/>
              <a:gd name="connsiteX1828" fmla="*/ 1274594 w 6789110"/>
              <a:gd name="connsiteY1828" fmla="*/ 5471946 h 6386516"/>
              <a:gd name="connsiteX1829" fmla="*/ 1266895 w 6789110"/>
              <a:gd name="connsiteY1829" fmla="*/ 5473871 h 6386516"/>
              <a:gd name="connsiteX1830" fmla="*/ 1247647 w 6789110"/>
              <a:gd name="connsiteY1830" fmla="*/ 5425751 h 6386516"/>
              <a:gd name="connsiteX1831" fmla="*/ 1253422 w 6789110"/>
              <a:gd name="connsiteY1831" fmla="*/ 5477721 h 6386516"/>
              <a:gd name="connsiteX1832" fmla="*/ 1224550 w 6789110"/>
              <a:gd name="connsiteY1832" fmla="*/ 5481570 h 6386516"/>
              <a:gd name="connsiteX1833" fmla="*/ 1224550 w 6789110"/>
              <a:gd name="connsiteY1833" fmla="*/ 5468097 h 6386516"/>
              <a:gd name="connsiteX1834" fmla="*/ 1236099 w 6789110"/>
              <a:gd name="connsiteY1834" fmla="*/ 5429601 h 6386516"/>
              <a:gd name="connsiteX1835" fmla="*/ 1253422 w 6789110"/>
              <a:gd name="connsiteY1835" fmla="*/ 5394955 h 6386516"/>
              <a:gd name="connsiteX1836" fmla="*/ 1239948 w 6789110"/>
              <a:gd name="connsiteY1836" fmla="*/ 5410353 h 6386516"/>
              <a:gd name="connsiteX1837" fmla="*/ 1251497 w 6789110"/>
              <a:gd name="connsiteY1837" fmla="*/ 5329511 h 6386516"/>
              <a:gd name="connsiteX1838" fmla="*/ 1253422 w 6789110"/>
              <a:gd name="connsiteY1838" fmla="*/ 5319887 h 6386516"/>
              <a:gd name="connsiteX1839" fmla="*/ 2117651 w 6789110"/>
              <a:gd name="connsiteY1839" fmla="*/ 5312189 h 6386516"/>
              <a:gd name="connsiteX1840" fmla="*/ 2113803 w 6789110"/>
              <a:gd name="connsiteY1840" fmla="*/ 5314114 h 6386516"/>
              <a:gd name="connsiteX1841" fmla="*/ 2115726 w 6789110"/>
              <a:gd name="connsiteY1841" fmla="*/ 5314114 h 6386516"/>
              <a:gd name="connsiteX1842" fmla="*/ 2117651 w 6789110"/>
              <a:gd name="connsiteY1842" fmla="*/ 5312189 h 6386516"/>
              <a:gd name="connsiteX1843" fmla="*/ 1445900 w 6789110"/>
              <a:gd name="connsiteY1843" fmla="*/ 5312189 h 6386516"/>
              <a:gd name="connsiteX1844" fmla="*/ 1457450 w 6789110"/>
              <a:gd name="connsiteY1844" fmla="*/ 5317963 h 6386516"/>
              <a:gd name="connsiteX1845" fmla="*/ 1453599 w 6789110"/>
              <a:gd name="connsiteY1845" fmla="*/ 5321813 h 6386516"/>
              <a:gd name="connsiteX1846" fmla="*/ 1445900 w 6789110"/>
              <a:gd name="connsiteY1846" fmla="*/ 5312189 h 6386516"/>
              <a:gd name="connsiteX1847" fmla="*/ 1340037 w 6789110"/>
              <a:gd name="connsiteY1847" fmla="*/ 5308338 h 6386516"/>
              <a:gd name="connsiteX1848" fmla="*/ 1341961 w 6789110"/>
              <a:gd name="connsiteY1848" fmla="*/ 5321813 h 6386516"/>
              <a:gd name="connsiteX1849" fmla="*/ 1359284 w 6789110"/>
              <a:gd name="connsiteY1849" fmla="*/ 5366083 h 6386516"/>
              <a:gd name="connsiteX1850" fmla="*/ 1334262 w 6789110"/>
              <a:gd name="connsiteY1850" fmla="*/ 5329512 h 6386516"/>
              <a:gd name="connsiteX1851" fmla="*/ 1343886 w 6789110"/>
              <a:gd name="connsiteY1851" fmla="*/ 5366083 h 6386516"/>
              <a:gd name="connsiteX1852" fmla="*/ 1291917 w 6789110"/>
              <a:gd name="connsiteY1852" fmla="*/ 5329512 h 6386516"/>
              <a:gd name="connsiteX1853" fmla="*/ 1340037 w 6789110"/>
              <a:gd name="connsiteY1853" fmla="*/ 5308338 h 6386516"/>
              <a:gd name="connsiteX1854" fmla="*/ 1832784 w 6789110"/>
              <a:gd name="connsiteY1854" fmla="*/ 5306415 h 6386516"/>
              <a:gd name="connsiteX1855" fmla="*/ 1836632 w 6789110"/>
              <a:gd name="connsiteY1855" fmla="*/ 5308339 h 6386516"/>
              <a:gd name="connsiteX1856" fmla="*/ 1838558 w 6789110"/>
              <a:gd name="connsiteY1856" fmla="*/ 5306415 h 6386516"/>
              <a:gd name="connsiteX1857" fmla="*/ 1832784 w 6789110"/>
              <a:gd name="connsiteY1857" fmla="*/ 5306415 h 6386516"/>
              <a:gd name="connsiteX1858" fmla="*/ 1386486 w 6789110"/>
              <a:gd name="connsiteY1858" fmla="*/ 5304631 h 6386516"/>
              <a:gd name="connsiteX1859" fmla="*/ 1400428 w 6789110"/>
              <a:gd name="connsiteY1859" fmla="*/ 5312429 h 6386516"/>
              <a:gd name="connsiteX1860" fmla="*/ 1418954 w 6789110"/>
              <a:gd name="connsiteY1860" fmla="*/ 5316038 h 6386516"/>
              <a:gd name="connsiteX1861" fmla="*/ 1411255 w 6789110"/>
              <a:gd name="connsiteY1861" fmla="*/ 5335286 h 6386516"/>
              <a:gd name="connsiteX1862" fmla="*/ 1390322 w 6789110"/>
              <a:gd name="connsiteY1862" fmla="*/ 5312911 h 6386516"/>
              <a:gd name="connsiteX1863" fmla="*/ 1386232 w 6789110"/>
              <a:gd name="connsiteY1863" fmla="*/ 5304490 h 6386516"/>
              <a:gd name="connsiteX1864" fmla="*/ 1386420 w 6789110"/>
              <a:gd name="connsiteY1864" fmla="*/ 5304490 h 6386516"/>
              <a:gd name="connsiteX1865" fmla="*/ 1386486 w 6789110"/>
              <a:gd name="connsiteY1865" fmla="*/ 5304631 h 6386516"/>
              <a:gd name="connsiteX1866" fmla="*/ 1405481 w 6789110"/>
              <a:gd name="connsiteY1866" fmla="*/ 5291016 h 6386516"/>
              <a:gd name="connsiteX1867" fmla="*/ 1413180 w 6789110"/>
              <a:gd name="connsiteY1867" fmla="*/ 5292941 h 6386516"/>
              <a:gd name="connsiteX1868" fmla="*/ 1417030 w 6789110"/>
              <a:gd name="connsiteY1868" fmla="*/ 5302565 h 6386516"/>
              <a:gd name="connsiteX1869" fmla="*/ 1417030 w 6789110"/>
              <a:gd name="connsiteY1869" fmla="*/ 5304490 h 6386516"/>
              <a:gd name="connsiteX1870" fmla="*/ 1405481 w 6789110"/>
              <a:gd name="connsiteY1870" fmla="*/ 5291016 h 6386516"/>
              <a:gd name="connsiteX1871" fmla="*/ 1376608 w 6789110"/>
              <a:gd name="connsiteY1871" fmla="*/ 5283316 h 6386516"/>
              <a:gd name="connsiteX1872" fmla="*/ 1418954 w 6789110"/>
              <a:gd name="connsiteY1872" fmla="*/ 5306414 h 6386516"/>
              <a:gd name="connsiteX1873" fmla="*/ 1418954 w 6789110"/>
              <a:gd name="connsiteY1873" fmla="*/ 5314114 h 6386516"/>
              <a:gd name="connsiteX1874" fmla="*/ 1395856 w 6789110"/>
              <a:gd name="connsiteY1874" fmla="*/ 5304490 h 6386516"/>
              <a:gd name="connsiteX1875" fmla="*/ 1386420 w 6789110"/>
              <a:gd name="connsiteY1875" fmla="*/ 5304490 h 6386516"/>
              <a:gd name="connsiteX1876" fmla="*/ 2664291 w 6789110"/>
              <a:gd name="connsiteY1876" fmla="*/ 5277543 h 6386516"/>
              <a:gd name="connsiteX1877" fmla="*/ 2396745 w 6789110"/>
              <a:gd name="connsiteY1877" fmla="*/ 5570111 h 6386516"/>
              <a:gd name="connsiteX1878" fmla="*/ 2321678 w 6789110"/>
              <a:gd name="connsiteY1878" fmla="*/ 5795311 h 6386516"/>
              <a:gd name="connsiteX1879" fmla="*/ 2664291 w 6789110"/>
              <a:gd name="connsiteY1879" fmla="*/ 5277543 h 6386516"/>
              <a:gd name="connsiteX1880" fmla="*/ 1366984 w 6789110"/>
              <a:gd name="connsiteY1880" fmla="*/ 5275618 h 6386516"/>
              <a:gd name="connsiteX1881" fmla="*/ 1366984 w 6789110"/>
              <a:gd name="connsiteY1881" fmla="*/ 5292941 h 6386516"/>
              <a:gd name="connsiteX1882" fmla="*/ 1353511 w 6789110"/>
              <a:gd name="connsiteY1882" fmla="*/ 5285242 h 6386516"/>
              <a:gd name="connsiteX1883" fmla="*/ 1366984 w 6789110"/>
              <a:gd name="connsiteY1883" fmla="*/ 5275618 h 6386516"/>
              <a:gd name="connsiteX1884" fmla="*/ 1374683 w 6789110"/>
              <a:gd name="connsiteY1884" fmla="*/ 5273693 h 6386516"/>
              <a:gd name="connsiteX1885" fmla="*/ 1409330 w 6789110"/>
              <a:gd name="connsiteY1885" fmla="*/ 5289091 h 6386516"/>
              <a:gd name="connsiteX1886" fmla="*/ 1372759 w 6789110"/>
              <a:gd name="connsiteY1886" fmla="*/ 5277542 h 6386516"/>
              <a:gd name="connsiteX1887" fmla="*/ 1374683 w 6789110"/>
              <a:gd name="connsiteY1887" fmla="*/ 5273693 h 6386516"/>
              <a:gd name="connsiteX1888" fmla="*/ 2073140 w 6789110"/>
              <a:gd name="connsiteY1888" fmla="*/ 5267679 h 6386516"/>
              <a:gd name="connsiteX1889" fmla="*/ 2063757 w 6789110"/>
              <a:gd name="connsiteY1889" fmla="*/ 5273694 h 6386516"/>
              <a:gd name="connsiteX1890" fmla="*/ 2042585 w 6789110"/>
              <a:gd name="connsiteY1890" fmla="*/ 5281393 h 6386516"/>
              <a:gd name="connsiteX1891" fmla="*/ 1996390 w 6789110"/>
              <a:gd name="connsiteY1891" fmla="*/ 5323738 h 6386516"/>
              <a:gd name="connsiteX1892" fmla="*/ 2006014 w 6789110"/>
              <a:gd name="connsiteY1892" fmla="*/ 5341061 h 6386516"/>
              <a:gd name="connsiteX1893" fmla="*/ 2017562 w 6789110"/>
              <a:gd name="connsiteY1893" fmla="*/ 5329512 h 6386516"/>
              <a:gd name="connsiteX1894" fmla="*/ 2017562 w 6789110"/>
              <a:gd name="connsiteY1894" fmla="*/ 5327587 h 6386516"/>
              <a:gd name="connsiteX1895" fmla="*/ 2015638 w 6789110"/>
              <a:gd name="connsiteY1895" fmla="*/ 5325662 h 6386516"/>
              <a:gd name="connsiteX1896" fmla="*/ 2009863 w 6789110"/>
              <a:gd name="connsiteY1896" fmla="*/ 5327587 h 6386516"/>
              <a:gd name="connsiteX1897" fmla="*/ 2006014 w 6789110"/>
              <a:gd name="connsiteY1897" fmla="*/ 5319888 h 6386516"/>
              <a:gd name="connsiteX1898" fmla="*/ 2027186 w 6789110"/>
              <a:gd name="connsiteY1898" fmla="*/ 5319888 h 6386516"/>
              <a:gd name="connsiteX1899" fmla="*/ 2036810 w 6789110"/>
              <a:gd name="connsiteY1899" fmla="*/ 5310264 h 6386516"/>
              <a:gd name="connsiteX1900" fmla="*/ 2029111 w 6789110"/>
              <a:gd name="connsiteY1900" fmla="*/ 5308339 h 6386516"/>
              <a:gd name="connsiteX1901" fmla="*/ 2042585 w 6789110"/>
              <a:gd name="connsiteY1901" fmla="*/ 5304490 h 6386516"/>
              <a:gd name="connsiteX1902" fmla="*/ 2061832 w 6789110"/>
              <a:gd name="connsiteY1902" fmla="*/ 5287167 h 6386516"/>
              <a:gd name="connsiteX1903" fmla="*/ 2054133 w 6789110"/>
              <a:gd name="connsiteY1903" fmla="*/ 5285242 h 6386516"/>
              <a:gd name="connsiteX1904" fmla="*/ 2069531 w 6789110"/>
              <a:gd name="connsiteY1904" fmla="*/ 5271769 h 6386516"/>
              <a:gd name="connsiteX1905" fmla="*/ 2073140 w 6789110"/>
              <a:gd name="connsiteY1905" fmla="*/ 5267679 h 6386516"/>
              <a:gd name="connsiteX1906" fmla="*/ 1428577 w 6789110"/>
              <a:gd name="connsiteY1906" fmla="*/ 5252519 h 6386516"/>
              <a:gd name="connsiteX1907" fmla="*/ 1432428 w 6789110"/>
              <a:gd name="connsiteY1907" fmla="*/ 5262144 h 6386516"/>
              <a:gd name="connsiteX1908" fmla="*/ 1422804 w 6789110"/>
              <a:gd name="connsiteY1908" fmla="*/ 5281392 h 6386516"/>
              <a:gd name="connsiteX1909" fmla="*/ 1422804 w 6789110"/>
              <a:gd name="connsiteY1909" fmla="*/ 5277542 h 6386516"/>
              <a:gd name="connsiteX1910" fmla="*/ 1428577 w 6789110"/>
              <a:gd name="connsiteY1910" fmla="*/ 5252519 h 6386516"/>
              <a:gd name="connsiteX1911" fmla="*/ 1376608 w 6789110"/>
              <a:gd name="connsiteY1911" fmla="*/ 5250595 h 6386516"/>
              <a:gd name="connsiteX1912" fmla="*/ 1390083 w 6789110"/>
              <a:gd name="connsiteY1912" fmla="*/ 5265994 h 6386516"/>
              <a:gd name="connsiteX1913" fmla="*/ 1386233 w 6789110"/>
              <a:gd name="connsiteY1913" fmla="*/ 5265994 h 6386516"/>
              <a:gd name="connsiteX1914" fmla="*/ 1368909 w 6789110"/>
              <a:gd name="connsiteY1914" fmla="*/ 5254445 h 6386516"/>
              <a:gd name="connsiteX1915" fmla="*/ 1376608 w 6789110"/>
              <a:gd name="connsiteY1915" fmla="*/ 5250595 h 6386516"/>
              <a:gd name="connsiteX1916" fmla="*/ 1266895 w 6789110"/>
              <a:gd name="connsiteY1916" fmla="*/ 5248670 h 6386516"/>
              <a:gd name="connsiteX1917" fmla="*/ 1328488 w 6789110"/>
              <a:gd name="connsiteY1917" fmla="*/ 5283317 h 6386516"/>
              <a:gd name="connsiteX1918" fmla="*/ 1332338 w 6789110"/>
              <a:gd name="connsiteY1918" fmla="*/ 5289092 h 6386516"/>
              <a:gd name="connsiteX1919" fmla="*/ 1326564 w 6789110"/>
              <a:gd name="connsiteY1919" fmla="*/ 5292941 h 6386516"/>
              <a:gd name="connsiteX1920" fmla="*/ 1251497 w 6789110"/>
              <a:gd name="connsiteY1920" fmla="*/ 5300640 h 6386516"/>
              <a:gd name="connsiteX1921" fmla="*/ 1251497 w 6789110"/>
              <a:gd name="connsiteY1921" fmla="*/ 5292941 h 6386516"/>
              <a:gd name="connsiteX1922" fmla="*/ 1266895 w 6789110"/>
              <a:gd name="connsiteY1922" fmla="*/ 5248670 h 6386516"/>
              <a:gd name="connsiteX1923" fmla="*/ 2111877 w 6789110"/>
              <a:gd name="connsiteY1923" fmla="*/ 5233273 h 6386516"/>
              <a:gd name="connsiteX1924" fmla="*/ 2102253 w 6789110"/>
              <a:gd name="connsiteY1924" fmla="*/ 5239047 h 6386516"/>
              <a:gd name="connsiteX1925" fmla="*/ 2108027 w 6789110"/>
              <a:gd name="connsiteY1925" fmla="*/ 5242897 h 6386516"/>
              <a:gd name="connsiteX1926" fmla="*/ 2115726 w 6789110"/>
              <a:gd name="connsiteY1926" fmla="*/ 5235198 h 6386516"/>
              <a:gd name="connsiteX1927" fmla="*/ 2111877 w 6789110"/>
              <a:gd name="connsiteY1927" fmla="*/ 5233273 h 6386516"/>
              <a:gd name="connsiteX1928" fmla="*/ 1538290 w 6789110"/>
              <a:gd name="connsiteY1928" fmla="*/ 5229423 h 6386516"/>
              <a:gd name="connsiteX1929" fmla="*/ 1536365 w 6789110"/>
              <a:gd name="connsiteY1929" fmla="*/ 5231348 h 6386516"/>
              <a:gd name="connsiteX1930" fmla="*/ 1534441 w 6789110"/>
              <a:gd name="connsiteY1930" fmla="*/ 5235198 h 6386516"/>
              <a:gd name="connsiteX1931" fmla="*/ 1532516 w 6789110"/>
              <a:gd name="connsiteY1931" fmla="*/ 5235198 h 6386516"/>
              <a:gd name="connsiteX1932" fmla="*/ 1528666 w 6789110"/>
              <a:gd name="connsiteY1932" fmla="*/ 5239047 h 6386516"/>
              <a:gd name="connsiteX1933" fmla="*/ 1542140 w 6789110"/>
              <a:gd name="connsiteY1933" fmla="*/ 5231348 h 6386516"/>
              <a:gd name="connsiteX1934" fmla="*/ 1538290 w 6789110"/>
              <a:gd name="connsiteY1934" fmla="*/ 5229423 h 6386516"/>
              <a:gd name="connsiteX1935" fmla="*/ 1501719 w 6789110"/>
              <a:gd name="connsiteY1935" fmla="*/ 5214025 h 6386516"/>
              <a:gd name="connsiteX1936" fmla="*/ 1497870 w 6789110"/>
              <a:gd name="connsiteY1936" fmla="*/ 5223649 h 6386516"/>
              <a:gd name="connsiteX1937" fmla="*/ 1507495 w 6789110"/>
              <a:gd name="connsiteY1937" fmla="*/ 5215950 h 6386516"/>
              <a:gd name="connsiteX1938" fmla="*/ 1501719 w 6789110"/>
              <a:gd name="connsiteY1938" fmla="*/ 5214025 h 6386516"/>
              <a:gd name="connsiteX1939" fmla="*/ 1366984 w 6789110"/>
              <a:gd name="connsiteY1939" fmla="*/ 5204400 h 6386516"/>
              <a:gd name="connsiteX1940" fmla="*/ 1370834 w 6789110"/>
              <a:gd name="connsiteY1940" fmla="*/ 5237122 h 6386516"/>
              <a:gd name="connsiteX1941" fmla="*/ 1353511 w 6789110"/>
              <a:gd name="connsiteY1941" fmla="*/ 5250595 h 6386516"/>
              <a:gd name="connsiteX1942" fmla="*/ 1338112 w 6789110"/>
              <a:gd name="connsiteY1942" fmla="*/ 5279467 h 6386516"/>
              <a:gd name="connsiteX1943" fmla="*/ 1332337 w 6789110"/>
              <a:gd name="connsiteY1943" fmla="*/ 5271767 h 6386516"/>
              <a:gd name="connsiteX1944" fmla="*/ 1345812 w 6789110"/>
              <a:gd name="connsiteY1944" fmla="*/ 5244821 h 6386516"/>
              <a:gd name="connsiteX1945" fmla="*/ 1366984 w 6789110"/>
              <a:gd name="connsiteY1945" fmla="*/ 5204400 h 6386516"/>
              <a:gd name="connsiteX1946" fmla="*/ 3638233 w 6789110"/>
              <a:gd name="connsiteY1946" fmla="*/ 5202475 h 6386516"/>
              <a:gd name="connsiteX1947" fmla="*/ 3803765 w 6789110"/>
              <a:gd name="connsiteY1947" fmla="*/ 5389180 h 6386516"/>
              <a:gd name="connsiteX1948" fmla="*/ 3638233 w 6789110"/>
              <a:gd name="connsiteY1948" fmla="*/ 5202475 h 6386516"/>
              <a:gd name="connsiteX1949" fmla="*/ 1803911 w 6789110"/>
              <a:gd name="connsiteY1949" fmla="*/ 5200551 h 6386516"/>
              <a:gd name="connsiteX1950" fmla="*/ 1792362 w 6789110"/>
              <a:gd name="connsiteY1950" fmla="*/ 5208251 h 6386516"/>
              <a:gd name="connsiteX1951" fmla="*/ 1796212 w 6789110"/>
              <a:gd name="connsiteY1951" fmla="*/ 5212100 h 6386516"/>
              <a:gd name="connsiteX1952" fmla="*/ 1803911 w 6789110"/>
              <a:gd name="connsiteY1952" fmla="*/ 5200551 h 6386516"/>
              <a:gd name="connsiteX1953" fmla="*/ 1792362 w 6789110"/>
              <a:gd name="connsiteY1953" fmla="*/ 5198627 h 6386516"/>
              <a:gd name="connsiteX1954" fmla="*/ 1788514 w 6789110"/>
              <a:gd name="connsiteY1954" fmla="*/ 5202476 h 6386516"/>
              <a:gd name="connsiteX1955" fmla="*/ 1790437 w 6789110"/>
              <a:gd name="connsiteY1955" fmla="*/ 5204401 h 6386516"/>
              <a:gd name="connsiteX1956" fmla="*/ 1792362 w 6789110"/>
              <a:gd name="connsiteY1956" fmla="*/ 5198627 h 6386516"/>
              <a:gd name="connsiteX1957" fmla="*/ 1886677 w 6789110"/>
              <a:gd name="connsiteY1957" fmla="*/ 5175529 h 6386516"/>
              <a:gd name="connsiteX1958" fmla="*/ 1878978 w 6789110"/>
              <a:gd name="connsiteY1958" fmla="*/ 5181303 h 6386516"/>
              <a:gd name="connsiteX1959" fmla="*/ 1888602 w 6789110"/>
              <a:gd name="connsiteY1959" fmla="*/ 5190927 h 6386516"/>
              <a:gd name="connsiteX1960" fmla="*/ 1896301 w 6789110"/>
              <a:gd name="connsiteY1960" fmla="*/ 5187078 h 6386516"/>
              <a:gd name="connsiteX1961" fmla="*/ 1886677 w 6789110"/>
              <a:gd name="connsiteY1961" fmla="*/ 5175529 h 6386516"/>
              <a:gd name="connsiteX1962" fmla="*/ 1907849 w 6789110"/>
              <a:gd name="connsiteY1962" fmla="*/ 5163980 h 6386516"/>
              <a:gd name="connsiteX1963" fmla="*/ 1896301 w 6789110"/>
              <a:gd name="connsiteY1963" fmla="*/ 5171679 h 6386516"/>
              <a:gd name="connsiteX1964" fmla="*/ 1915548 w 6789110"/>
              <a:gd name="connsiteY1964" fmla="*/ 5179379 h 6386516"/>
              <a:gd name="connsiteX1965" fmla="*/ 1923248 w 6789110"/>
              <a:gd name="connsiteY1965" fmla="*/ 5173604 h 6386516"/>
              <a:gd name="connsiteX1966" fmla="*/ 1907849 w 6789110"/>
              <a:gd name="connsiteY1966" fmla="*/ 5163980 h 6386516"/>
              <a:gd name="connsiteX1967" fmla="*/ 1934796 w 6789110"/>
              <a:gd name="connsiteY1967" fmla="*/ 5146657 h 6386516"/>
              <a:gd name="connsiteX1968" fmla="*/ 1925172 w 6789110"/>
              <a:gd name="connsiteY1968" fmla="*/ 5152432 h 6386516"/>
              <a:gd name="connsiteX1969" fmla="*/ 1954044 w 6789110"/>
              <a:gd name="connsiteY1969" fmla="*/ 5150507 h 6386516"/>
              <a:gd name="connsiteX1970" fmla="*/ 1934796 w 6789110"/>
              <a:gd name="connsiteY1970" fmla="*/ 5146657 h 6386516"/>
              <a:gd name="connsiteX1971" fmla="*/ 1878978 w 6789110"/>
              <a:gd name="connsiteY1971" fmla="*/ 5146657 h 6386516"/>
              <a:gd name="connsiteX1972" fmla="*/ 1861655 w 6789110"/>
              <a:gd name="connsiteY1972" fmla="*/ 5156281 h 6386516"/>
              <a:gd name="connsiteX1973" fmla="*/ 1865504 w 6789110"/>
              <a:gd name="connsiteY1973" fmla="*/ 5160131 h 6386516"/>
              <a:gd name="connsiteX1974" fmla="*/ 1871278 w 6789110"/>
              <a:gd name="connsiteY1974" fmla="*/ 5169755 h 6386516"/>
              <a:gd name="connsiteX1975" fmla="*/ 1892451 w 6789110"/>
              <a:gd name="connsiteY1975" fmla="*/ 5154356 h 6386516"/>
              <a:gd name="connsiteX1976" fmla="*/ 1878978 w 6789110"/>
              <a:gd name="connsiteY1976" fmla="*/ 5146657 h 6386516"/>
              <a:gd name="connsiteX1977" fmla="*/ 1347736 w 6789110"/>
              <a:gd name="connsiteY1977" fmla="*/ 5144731 h 6386516"/>
              <a:gd name="connsiteX1978" fmla="*/ 1357360 w 6789110"/>
              <a:gd name="connsiteY1978" fmla="*/ 5187076 h 6386516"/>
              <a:gd name="connsiteX1979" fmla="*/ 1311165 w 6789110"/>
              <a:gd name="connsiteY1979" fmla="*/ 5167829 h 6386516"/>
              <a:gd name="connsiteX1980" fmla="*/ 1347736 w 6789110"/>
              <a:gd name="connsiteY1980" fmla="*/ 5200550 h 6386516"/>
              <a:gd name="connsiteX1981" fmla="*/ 1334262 w 6789110"/>
              <a:gd name="connsiteY1981" fmla="*/ 5231346 h 6386516"/>
              <a:gd name="connsiteX1982" fmla="*/ 1320789 w 6789110"/>
              <a:gd name="connsiteY1982" fmla="*/ 5202474 h 6386516"/>
              <a:gd name="connsiteX1983" fmla="*/ 1318864 w 6789110"/>
              <a:gd name="connsiteY1983" fmla="*/ 5229421 h 6386516"/>
              <a:gd name="connsiteX1984" fmla="*/ 1301541 w 6789110"/>
              <a:gd name="connsiteY1984" fmla="*/ 5208249 h 6386516"/>
              <a:gd name="connsiteX1985" fmla="*/ 1318864 w 6789110"/>
              <a:gd name="connsiteY1985" fmla="*/ 5269842 h 6386516"/>
              <a:gd name="connsiteX1986" fmla="*/ 1276519 w 6789110"/>
              <a:gd name="connsiteY1986" fmla="*/ 5225572 h 6386516"/>
              <a:gd name="connsiteX1987" fmla="*/ 1280368 w 6789110"/>
              <a:gd name="connsiteY1987" fmla="*/ 5248669 h 6386516"/>
              <a:gd name="connsiteX1988" fmla="*/ 1266895 w 6789110"/>
              <a:gd name="connsiteY1988" fmla="*/ 5242895 h 6386516"/>
              <a:gd name="connsiteX1989" fmla="*/ 1303466 w 6789110"/>
              <a:gd name="connsiteY1989" fmla="*/ 5156280 h 6386516"/>
              <a:gd name="connsiteX1990" fmla="*/ 1347736 w 6789110"/>
              <a:gd name="connsiteY1990" fmla="*/ 5144731 h 6386516"/>
              <a:gd name="connsiteX1991" fmla="*/ 1902075 w 6789110"/>
              <a:gd name="connsiteY1991" fmla="*/ 5131259 h 6386516"/>
              <a:gd name="connsiteX1992" fmla="*/ 1890526 w 6789110"/>
              <a:gd name="connsiteY1992" fmla="*/ 5137034 h 6386516"/>
              <a:gd name="connsiteX1993" fmla="*/ 1904000 w 6789110"/>
              <a:gd name="connsiteY1993" fmla="*/ 5144733 h 6386516"/>
              <a:gd name="connsiteX1994" fmla="*/ 1913625 w 6789110"/>
              <a:gd name="connsiteY1994" fmla="*/ 5137034 h 6386516"/>
              <a:gd name="connsiteX1995" fmla="*/ 1902075 w 6789110"/>
              <a:gd name="connsiteY1995" fmla="*/ 5131259 h 6386516"/>
              <a:gd name="connsiteX1996" fmla="*/ 1963669 w 6789110"/>
              <a:gd name="connsiteY1996" fmla="*/ 5129334 h 6386516"/>
              <a:gd name="connsiteX1997" fmla="*/ 1959819 w 6789110"/>
              <a:gd name="connsiteY1997" fmla="*/ 5131259 h 6386516"/>
              <a:gd name="connsiteX1998" fmla="*/ 1957895 w 6789110"/>
              <a:gd name="connsiteY1998" fmla="*/ 5150507 h 6386516"/>
              <a:gd name="connsiteX1999" fmla="*/ 1961743 w 6789110"/>
              <a:gd name="connsiteY1999" fmla="*/ 5150507 h 6386516"/>
              <a:gd name="connsiteX2000" fmla="*/ 1963669 w 6789110"/>
              <a:gd name="connsiteY2000" fmla="*/ 5138958 h 6386516"/>
              <a:gd name="connsiteX2001" fmla="*/ 1967518 w 6789110"/>
              <a:gd name="connsiteY2001" fmla="*/ 5131259 h 6386516"/>
              <a:gd name="connsiteX2002" fmla="*/ 1963669 w 6789110"/>
              <a:gd name="connsiteY2002" fmla="*/ 5131259 h 6386516"/>
              <a:gd name="connsiteX2003" fmla="*/ 1963669 w 6789110"/>
              <a:gd name="connsiteY2003" fmla="*/ 5129334 h 6386516"/>
              <a:gd name="connsiteX2004" fmla="*/ 2762456 w 6789110"/>
              <a:gd name="connsiteY2004" fmla="*/ 5110085 h 6386516"/>
              <a:gd name="connsiteX2005" fmla="*/ 2772079 w 6789110"/>
              <a:gd name="connsiteY2005" fmla="*/ 5181302 h 6386516"/>
              <a:gd name="connsiteX2006" fmla="*/ 2762456 w 6789110"/>
              <a:gd name="connsiteY2006" fmla="*/ 5110085 h 6386516"/>
              <a:gd name="connsiteX2007" fmla="*/ 1767340 w 6789110"/>
              <a:gd name="connsiteY2007" fmla="*/ 5108162 h 6386516"/>
              <a:gd name="connsiteX2008" fmla="*/ 1759641 w 6789110"/>
              <a:gd name="connsiteY2008" fmla="*/ 5110087 h 6386516"/>
              <a:gd name="connsiteX2009" fmla="*/ 1759641 w 6789110"/>
              <a:gd name="connsiteY2009" fmla="*/ 5113936 h 6386516"/>
              <a:gd name="connsiteX2010" fmla="*/ 1767340 w 6789110"/>
              <a:gd name="connsiteY2010" fmla="*/ 5108162 h 6386516"/>
              <a:gd name="connsiteX2011" fmla="*/ 2019487 w 6789110"/>
              <a:gd name="connsiteY2011" fmla="*/ 5106237 h 6386516"/>
              <a:gd name="connsiteX2012" fmla="*/ 1990615 w 6789110"/>
              <a:gd name="connsiteY2012" fmla="*/ 5110087 h 6386516"/>
              <a:gd name="connsiteX2013" fmla="*/ 1973292 w 6789110"/>
              <a:gd name="connsiteY2013" fmla="*/ 5121635 h 6386516"/>
              <a:gd name="connsiteX2014" fmla="*/ 1984841 w 6789110"/>
              <a:gd name="connsiteY2014" fmla="*/ 5133184 h 6386516"/>
              <a:gd name="connsiteX2015" fmla="*/ 2000239 w 6789110"/>
              <a:gd name="connsiteY2015" fmla="*/ 5121635 h 6386516"/>
              <a:gd name="connsiteX2016" fmla="*/ 2007939 w 6789110"/>
              <a:gd name="connsiteY2016" fmla="*/ 5115861 h 6386516"/>
              <a:gd name="connsiteX2017" fmla="*/ 2019487 w 6789110"/>
              <a:gd name="connsiteY2017" fmla="*/ 5106237 h 6386516"/>
              <a:gd name="connsiteX2018" fmla="*/ 3309095 w 6789110"/>
              <a:gd name="connsiteY2018" fmla="*/ 5098537 h 6386516"/>
              <a:gd name="connsiteX2019" fmla="*/ 3603587 w 6789110"/>
              <a:gd name="connsiteY2019" fmla="*/ 5344909 h 6386516"/>
              <a:gd name="connsiteX2020" fmla="*/ 3309095 w 6789110"/>
              <a:gd name="connsiteY2020" fmla="*/ 5098537 h 6386516"/>
              <a:gd name="connsiteX2021" fmla="*/ 1961744 w 6789110"/>
              <a:gd name="connsiteY2021" fmla="*/ 5092763 h 6386516"/>
              <a:gd name="connsiteX2022" fmla="*/ 1965594 w 6789110"/>
              <a:gd name="connsiteY2022" fmla="*/ 5092763 h 6386516"/>
              <a:gd name="connsiteX2023" fmla="*/ 1965594 w 6789110"/>
              <a:gd name="connsiteY2023" fmla="*/ 5096612 h 6386516"/>
              <a:gd name="connsiteX2024" fmla="*/ 1961744 w 6789110"/>
              <a:gd name="connsiteY2024" fmla="*/ 5092763 h 6386516"/>
              <a:gd name="connsiteX2025" fmla="*/ 1969443 w 6789110"/>
              <a:gd name="connsiteY2025" fmla="*/ 5085064 h 6386516"/>
              <a:gd name="connsiteX2026" fmla="*/ 1961743 w 6789110"/>
              <a:gd name="connsiteY2026" fmla="*/ 5090839 h 6386516"/>
              <a:gd name="connsiteX2027" fmla="*/ 1944420 w 6789110"/>
              <a:gd name="connsiteY2027" fmla="*/ 5102388 h 6386516"/>
              <a:gd name="connsiteX2028" fmla="*/ 1954044 w 6789110"/>
              <a:gd name="connsiteY2028" fmla="*/ 5108162 h 6386516"/>
              <a:gd name="connsiteX2029" fmla="*/ 1971367 w 6789110"/>
              <a:gd name="connsiteY2029" fmla="*/ 5094688 h 6386516"/>
              <a:gd name="connsiteX2030" fmla="*/ 1971367 w 6789110"/>
              <a:gd name="connsiteY2030" fmla="*/ 5090839 h 6386516"/>
              <a:gd name="connsiteX2031" fmla="*/ 1979067 w 6789110"/>
              <a:gd name="connsiteY2031" fmla="*/ 5086989 h 6386516"/>
              <a:gd name="connsiteX2032" fmla="*/ 1977142 w 6789110"/>
              <a:gd name="connsiteY2032" fmla="*/ 5085064 h 6386516"/>
              <a:gd name="connsiteX2033" fmla="*/ 1969443 w 6789110"/>
              <a:gd name="connsiteY2033" fmla="*/ 5088914 h 6386516"/>
              <a:gd name="connsiteX2034" fmla="*/ 1969443 w 6789110"/>
              <a:gd name="connsiteY2034" fmla="*/ 5085064 h 6386516"/>
              <a:gd name="connsiteX2035" fmla="*/ 1998314 w 6789110"/>
              <a:gd name="connsiteY2035" fmla="*/ 5060042 h 6386516"/>
              <a:gd name="connsiteX2036" fmla="*/ 1990615 w 6789110"/>
              <a:gd name="connsiteY2036" fmla="*/ 5065816 h 6386516"/>
              <a:gd name="connsiteX2037" fmla="*/ 2006014 w 6789110"/>
              <a:gd name="connsiteY2037" fmla="*/ 5065816 h 6386516"/>
              <a:gd name="connsiteX2038" fmla="*/ 2007939 w 6789110"/>
              <a:gd name="connsiteY2038" fmla="*/ 5063892 h 6386516"/>
              <a:gd name="connsiteX2039" fmla="*/ 1998314 w 6789110"/>
              <a:gd name="connsiteY2039" fmla="*/ 5060042 h 6386516"/>
              <a:gd name="connsiteX2040" fmla="*/ 3318720 w 6789110"/>
              <a:gd name="connsiteY2040" fmla="*/ 5052342 h 6386516"/>
              <a:gd name="connsiteX2041" fmla="*/ 3759495 w 6789110"/>
              <a:gd name="connsiteY2041" fmla="*/ 5452697 h 6386516"/>
              <a:gd name="connsiteX2042" fmla="*/ 3318720 w 6789110"/>
              <a:gd name="connsiteY2042" fmla="*/ 5052342 h 6386516"/>
              <a:gd name="connsiteX2043" fmla="*/ 2031036 w 6789110"/>
              <a:gd name="connsiteY2043" fmla="*/ 5031170 h 6386516"/>
              <a:gd name="connsiteX2044" fmla="*/ 2015638 w 6789110"/>
              <a:gd name="connsiteY2044" fmla="*/ 5046568 h 6386516"/>
              <a:gd name="connsiteX2045" fmla="*/ 2011788 w 6789110"/>
              <a:gd name="connsiteY2045" fmla="*/ 5050418 h 6386516"/>
              <a:gd name="connsiteX2046" fmla="*/ 2034885 w 6789110"/>
              <a:gd name="connsiteY2046" fmla="*/ 5040794 h 6386516"/>
              <a:gd name="connsiteX2047" fmla="*/ 2040660 w 6789110"/>
              <a:gd name="connsiteY2047" fmla="*/ 5035020 h 6386516"/>
              <a:gd name="connsiteX2048" fmla="*/ 2031036 w 6789110"/>
              <a:gd name="connsiteY2048" fmla="*/ 5031170 h 6386516"/>
              <a:gd name="connsiteX2049" fmla="*/ 2117651 w 6789110"/>
              <a:gd name="connsiteY2049" fmla="*/ 5000373 h 6386516"/>
              <a:gd name="connsiteX2050" fmla="*/ 2111877 w 6789110"/>
              <a:gd name="connsiteY2050" fmla="*/ 5002298 h 6386516"/>
              <a:gd name="connsiteX2051" fmla="*/ 2113803 w 6789110"/>
              <a:gd name="connsiteY2051" fmla="*/ 5004223 h 6386516"/>
              <a:gd name="connsiteX2052" fmla="*/ 2117651 w 6789110"/>
              <a:gd name="connsiteY2052" fmla="*/ 5000373 h 6386516"/>
              <a:gd name="connsiteX2053" fmla="*/ 4003943 w 6789110"/>
              <a:gd name="connsiteY2053" fmla="*/ 4996523 h 6386516"/>
              <a:gd name="connsiteX2054" fmla="*/ 3998168 w 6789110"/>
              <a:gd name="connsiteY2054" fmla="*/ 5021545 h 6386516"/>
              <a:gd name="connsiteX2055" fmla="*/ 4011642 w 6789110"/>
              <a:gd name="connsiteY2055" fmla="*/ 5004222 h 6386516"/>
              <a:gd name="connsiteX2056" fmla="*/ 4003943 w 6789110"/>
              <a:gd name="connsiteY2056" fmla="*/ 4996523 h 6386516"/>
              <a:gd name="connsiteX2057" fmla="*/ 2079155 w 6789110"/>
              <a:gd name="connsiteY2057" fmla="*/ 4979201 h 6386516"/>
              <a:gd name="connsiteX2058" fmla="*/ 2077231 w 6789110"/>
              <a:gd name="connsiteY2058" fmla="*/ 4981126 h 6386516"/>
              <a:gd name="connsiteX2059" fmla="*/ 2088780 w 6789110"/>
              <a:gd name="connsiteY2059" fmla="*/ 4988825 h 6386516"/>
              <a:gd name="connsiteX2060" fmla="*/ 2092629 w 6789110"/>
              <a:gd name="connsiteY2060" fmla="*/ 4984975 h 6386516"/>
              <a:gd name="connsiteX2061" fmla="*/ 2079155 w 6789110"/>
              <a:gd name="connsiteY2061" fmla="*/ 4979201 h 6386516"/>
              <a:gd name="connsiteX2062" fmla="*/ 2102253 w 6789110"/>
              <a:gd name="connsiteY2062" fmla="*/ 4954179 h 6386516"/>
              <a:gd name="connsiteX2063" fmla="*/ 2100328 w 6789110"/>
              <a:gd name="connsiteY2063" fmla="*/ 4956104 h 6386516"/>
              <a:gd name="connsiteX2064" fmla="*/ 2109952 w 6789110"/>
              <a:gd name="connsiteY2064" fmla="*/ 4959953 h 6386516"/>
              <a:gd name="connsiteX2065" fmla="*/ 2108027 w 6789110"/>
              <a:gd name="connsiteY2065" fmla="*/ 4958028 h 6386516"/>
              <a:gd name="connsiteX2066" fmla="*/ 2102253 w 6789110"/>
              <a:gd name="connsiteY2066" fmla="*/ 4954179 h 6386516"/>
              <a:gd name="connsiteX2067" fmla="*/ 1838558 w 6789110"/>
              <a:gd name="connsiteY2067" fmla="*/ 4940705 h 6386516"/>
              <a:gd name="connsiteX2068" fmla="*/ 1748092 w 6789110"/>
              <a:gd name="connsiteY2068" fmla="*/ 4996524 h 6386516"/>
              <a:gd name="connsiteX2069" fmla="*/ 1755791 w 6789110"/>
              <a:gd name="connsiteY2069" fmla="*/ 5017696 h 6386516"/>
              <a:gd name="connsiteX2070" fmla="*/ 1832784 w 6789110"/>
              <a:gd name="connsiteY2070" fmla="*/ 4971502 h 6386516"/>
              <a:gd name="connsiteX2071" fmla="*/ 1836632 w 6789110"/>
              <a:gd name="connsiteY2071" fmla="*/ 4959953 h 6386516"/>
              <a:gd name="connsiteX2072" fmla="*/ 1842407 w 6789110"/>
              <a:gd name="connsiteY2072" fmla="*/ 4963803 h 6386516"/>
              <a:gd name="connsiteX2073" fmla="*/ 1853955 w 6789110"/>
              <a:gd name="connsiteY2073" fmla="*/ 4954179 h 6386516"/>
              <a:gd name="connsiteX2074" fmla="*/ 1838558 w 6789110"/>
              <a:gd name="connsiteY2074" fmla="*/ 4944555 h 6386516"/>
              <a:gd name="connsiteX2075" fmla="*/ 1838558 w 6789110"/>
              <a:gd name="connsiteY2075" fmla="*/ 4940705 h 6386516"/>
              <a:gd name="connsiteX2076" fmla="*/ 2119577 w 6789110"/>
              <a:gd name="connsiteY2076" fmla="*/ 4933006 h 6386516"/>
              <a:gd name="connsiteX2077" fmla="*/ 2115726 w 6789110"/>
              <a:gd name="connsiteY2077" fmla="*/ 4936856 h 6386516"/>
              <a:gd name="connsiteX2078" fmla="*/ 2123426 w 6789110"/>
              <a:gd name="connsiteY2078" fmla="*/ 4938781 h 6386516"/>
              <a:gd name="connsiteX2079" fmla="*/ 2119577 w 6789110"/>
              <a:gd name="connsiteY2079" fmla="*/ 4933006 h 6386516"/>
              <a:gd name="connsiteX2080" fmla="*/ 4013567 w 6789110"/>
              <a:gd name="connsiteY2080" fmla="*/ 4931080 h 6386516"/>
              <a:gd name="connsiteX2081" fmla="*/ 3990469 w 6789110"/>
              <a:gd name="connsiteY2081" fmla="*/ 4971500 h 6386516"/>
              <a:gd name="connsiteX2082" fmla="*/ 4002018 w 6789110"/>
              <a:gd name="connsiteY2082" fmla="*/ 4986899 h 6386516"/>
              <a:gd name="connsiteX2083" fmla="*/ 4005868 w 6789110"/>
              <a:gd name="connsiteY2083" fmla="*/ 4981124 h 6386516"/>
              <a:gd name="connsiteX2084" fmla="*/ 4011642 w 6789110"/>
              <a:gd name="connsiteY2084" fmla="*/ 4942629 h 6386516"/>
              <a:gd name="connsiteX2085" fmla="*/ 4013567 w 6789110"/>
              <a:gd name="connsiteY2085" fmla="*/ 4931080 h 6386516"/>
              <a:gd name="connsiteX2086" fmla="*/ 1761565 w 6789110"/>
              <a:gd name="connsiteY2086" fmla="*/ 4925307 h 6386516"/>
              <a:gd name="connsiteX2087" fmla="*/ 1730769 w 6789110"/>
              <a:gd name="connsiteY2087" fmla="*/ 4931081 h 6386516"/>
              <a:gd name="connsiteX2088" fmla="*/ 1732694 w 6789110"/>
              <a:gd name="connsiteY2088" fmla="*/ 4940705 h 6386516"/>
              <a:gd name="connsiteX2089" fmla="*/ 1761565 w 6789110"/>
              <a:gd name="connsiteY2089" fmla="*/ 4925307 h 6386516"/>
              <a:gd name="connsiteX2090" fmla="*/ 1890526 w 6789110"/>
              <a:gd name="connsiteY2090" fmla="*/ 4898360 h 6386516"/>
              <a:gd name="connsiteX2091" fmla="*/ 1877054 w 6789110"/>
              <a:gd name="connsiteY2091" fmla="*/ 4909909 h 6386516"/>
              <a:gd name="connsiteX2092" fmla="*/ 1888602 w 6789110"/>
              <a:gd name="connsiteY2092" fmla="*/ 4921457 h 6386516"/>
              <a:gd name="connsiteX2093" fmla="*/ 1905925 w 6789110"/>
              <a:gd name="connsiteY2093" fmla="*/ 4902209 h 6386516"/>
              <a:gd name="connsiteX2094" fmla="*/ 1890526 w 6789110"/>
              <a:gd name="connsiteY2094" fmla="*/ 4898360 h 6386516"/>
              <a:gd name="connsiteX2095" fmla="*/ 1844331 w 6789110"/>
              <a:gd name="connsiteY2095" fmla="*/ 4898360 h 6386516"/>
              <a:gd name="connsiteX2096" fmla="*/ 1738468 w 6789110"/>
              <a:gd name="connsiteY2096" fmla="*/ 4963803 h 6386516"/>
              <a:gd name="connsiteX2097" fmla="*/ 1742318 w 6789110"/>
              <a:gd name="connsiteY2097" fmla="*/ 4981126 h 6386516"/>
              <a:gd name="connsiteX2098" fmla="*/ 1840482 w 6789110"/>
              <a:gd name="connsiteY2098" fmla="*/ 4925307 h 6386516"/>
              <a:gd name="connsiteX2099" fmla="*/ 1844331 w 6789110"/>
              <a:gd name="connsiteY2099" fmla="*/ 4898360 h 6386516"/>
              <a:gd name="connsiteX2100" fmla="*/ 1869354 w 6789110"/>
              <a:gd name="connsiteY2100" fmla="*/ 4879112 h 6386516"/>
              <a:gd name="connsiteX2101" fmla="*/ 1855880 w 6789110"/>
              <a:gd name="connsiteY2101" fmla="*/ 4888736 h 6386516"/>
              <a:gd name="connsiteX2102" fmla="*/ 1869354 w 6789110"/>
              <a:gd name="connsiteY2102" fmla="*/ 4904134 h 6386516"/>
              <a:gd name="connsiteX2103" fmla="*/ 1880902 w 6789110"/>
              <a:gd name="connsiteY2103" fmla="*/ 4894510 h 6386516"/>
              <a:gd name="connsiteX2104" fmla="*/ 1873203 w 6789110"/>
              <a:gd name="connsiteY2104" fmla="*/ 4890661 h 6386516"/>
              <a:gd name="connsiteX2105" fmla="*/ 1869354 w 6789110"/>
              <a:gd name="connsiteY2105" fmla="*/ 4879112 h 6386516"/>
              <a:gd name="connsiteX2106" fmla="*/ 1923248 w 6789110"/>
              <a:gd name="connsiteY2106" fmla="*/ 4869488 h 6386516"/>
              <a:gd name="connsiteX2107" fmla="*/ 1909774 w 6789110"/>
              <a:gd name="connsiteY2107" fmla="*/ 4881037 h 6386516"/>
              <a:gd name="connsiteX2108" fmla="*/ 1921323 w 6789110"/>
              <a:gd name="connsiteY2108" fmla="*/ 4884886 h 6386516"/>
              <a:gd name="connsiteX2109" fmla="*/ 1934796 w 6789110"/>
              <a:gd name="connsiteY2109" fmla="*/ 4869488 h 6386516"/>
              <a:gd name="connsiteX2110" fmla="*/ 1923248 w 6789110"/>
              <a:gd name="connsiteY2110" fmla="*/ 4869488 h 6386516"/>
              <a:gd name="connsiteX2111" fmla="*/ 1896301 w 6789110"/>
              <a:gd name="connsiteY2111" fmla="*/ 4856014 h 6386516"/>
              <a:gd name="connsiteX2112" fmla="*/ 1882828 w 6789110"/>
              <a:gd name="connsiteY2112" fmla="*/ 4867563 h 6386516"/>
              <a:gd name="connsiteX2113" fmla="*/ 1902075 w 6789110"/>
              <a:gd name="connsiteY2113" fmla="*/ 4875262 h 6386516"/>
              <a:gd name="connsiteX2114" fmla="*/ 1913625 w 6789110"/>
              <a:gd name="connsiteY2114" fmla="*/ 4865638 h 6386516"/>
              <a:gd name="connsiteX2115" fmla="*/ 1896301 w 6789110"/>
              <a:gd name="connsiteY2115" fmla="*/ 4856014 h 6386516"/>
              <a:gd name="connsiteX2116" fmla="*/ 2198492 w 6789110"/>
              <a:gd name="connsiteY2116" fmla="*/ 4836767 h 6386516"/>
              <a:gd name="connsiteX2117" fmla="*/ 2192718 w 6789110"/>
              <a:gd name="connsiteY2117" fmla="*/ 4844466 h 6386516"/>
              <a:gd name="connsiteX2118" fmla="*/ 2211966 w 6789110"/>
              <a:gd name="connsiteY2118" fmla="*/ 4854090 h 6386516"/>
              <a:gd name="connsiteX2119" fmla="*/ 2215815 w 6789110"/>
              <a:gd name="connsiteY2119" fmla="*/ 4850240 h 6386516"/>
              <a:gd name="connsiteX2120" fmla="*/ 2198492 w 6789110"/>
              <a:gd name="connsiteY2120" fmla="*/ 4836767 h 6386516"/>
              <a:gd name="connsiteX2121" fmla="*/ 2747056 w 6789110"/>
              <a:gd name="connsiteY2121" fmla="*/ 4817517 h 6386516"/>
              <a:gd name="connsiteX2122" fmla="*/ 2733583 w 6789110"/>
              <a:gd name="connsiteY2122" fmla="*/ 4819442 h 6386516"/>
              <a:gd name="connsiteX2123" fmla="*/ 2835597 w 6789110"/>
              <a:gd name="connsiteY2123" fmla="*/ 5208250 h 6386516"/>
              <a:gd name="connsiteX2124" fmla="*/ 2747056 w 6789110"/>
              <a:gd name="connsiteY2124" fmla="*/ 4817517 h 6386516"/>
              <a:gd name="connsiteX2125" fmla="*/ 2219665 w 6789110"/>
              <a:gd name="connsiteY2125" fmla="*/ 4811745 h 6386516"/>
              <a:gd name="connsiteX2126" fmla="*/ 2215815 w 6789110"/>
              <a:gd name="connsiteY2126" fmla="*/ 4815594 h 6386516"/>
              <a:gd name="connsiteX2127" fmla="*/ 2233138 w 6789110"/>
              <a:gd name="connsiteY2127" fmla="*/ 4827143 h 6386516"/>
              <a:gd name="connsiteX2128" fmla="*/ 2236988 w 6789110"/>
              <a:gd name="connsiteY2128" fmla="*/ 4821368 h 6386516"/>
              <a:gd name="connsiteX2129" fmla="*/ 2219665 w 6789110"/>
              <a:gd name="connsiteY2129" fmla="*/ 4811745 h 6386516"/>
              <a:gd name="connsiteX2130" fmla="*/ 3193607 w 6789110"/>
              <a:gd name="connsiteY2130" fmla="*/ 4805969 h 6386516"/>
              <a:gd name="connsiteX2131" fmla="*/ 3216706 w 6789110"/>
              <a:gd name="connsiteY2131" fmla="*/ 4840616 h 6386516"/>
              <a:gd name="connsiteX2132" fmla="*/ 3193607 w 6789110"/>
              <a:gd name="connsiteY2132" fmla="*/ 4805969 h 6386516"/>
              <a:gd name="connsiteX2133" fmla="*/ 2233138 w 6789110"/>
              <a:gd name="connsiteY2133" fmla="*/ 4796346 h 6386516"/>
              <a:gd name="connsiteX2134" fmla="*/ 2229289 w 6789110"/>
              <a:gd name="connsiteY2134" fmla="*/ 4800196 h 6386516"/>
              <a:gd name="connsiteX2135" fmla="*/ 2244688 w 6789110"/>
              <a:gd name="connsiteY2135" fmla="*/ 4796346 h 6386516"/>
              <a:gd name="connsiteX2136" fmla="*/ 2233138 w 6789110"/>
              <a:gd name="connsiteY2136" fmla="*/ 4796346 h 6386516"/>
              <a:gd name="connsiteX2137" fmla="*/ 1986766 w 6789110"/>
              <a:gd name="connsiteY2137" fmla="*/ 4775173 h 6386516"/>
              <a:gd name="connsiteX2138" fmla="*/ 1982916 w 6789110"/>
              <a:gd name="connsiteY2138" fmla="*/ 4780948 h 6386516"/>
              <a:gd name="connsiteX2139" fmla="*/ 1973292 w 6789110"/>
              <a:gd name="connsiteY2139" fmla="*/ 4788647 h 6386516"/>
              <a:gd name="connsiteX2140" fmla="*/ 1988690 w 6789110"/>
              <a:gd name="connsiteY2140" fmla="*/ 4790572 h 6386516"/>
              <a:gd name="connsiteX2141" fmla="*/ 2000239 w 6789110"/>
              <a:gd name="connsiteY2141" fmla="*/ 4779023 h 6386516"/>
              <a:gd name="connsiteX2142" fmla="*/ 1986766 w 6789110"/>
              <a:gd name="connsiteY2142" fmla="*/ 4775173 h 6386516"/>
              <a:gd name="connsiteX2143" fmla="*/ 1657627 w 6789110"/>
              <a:gd name="connsiteY2143" fmla="*/ 4730903 h 6386516"/>
              <a:gd name="connsiteX2144" fmla="*/ 1621056 w 6789110"/>
              <a:gd name="connsiteY2144" fmla="*/ 4738603 h 6386516"/>
              <a:gd name="connsiteX2145" fmla="*/ 1626830 w 6789110"/>
              <a:gd name="connsiteY2145" fmla="*/ 4757850 h 6386516"/>
              <a:gd name="connsiteX2146" fmla="*/ 1632606 w 6789110"/>
              <a:gd name="connsiteY2146" fmla="*/ 4755925 h 6386516"/>
              <a:gd name="connsiteX2147" fmla="*/ 1657627 w 6789110"/>
              <a:gd name="connsiteY2147" fmla="*/ 4730903 h 6386516"/>
              <a:gd name="connsiteX2148" fmla="*/ 4148302 w 6789110"/>
              <a:gd name="connsiteY2148" fmla="*/ 4725128 h 6386516"/>
              <a:gd name="connsiteX2149" fmla="*/ 4150227 w 6789110"/>
              <a:gd name="connsiteY2149" fmla="*/ 4746300 h 6386516"/>
              <a:gd name="connsiteX2150" fmla="*/ 4148302 w 6789110"/>
              <a:gd name="connsiteY2150" fmla="*/ 4725128 h 6386516"/>
              <a:gd name="connsiteX2151" fmla="*/ 2057983 w 6789110"/>
              <a:gd name="connsiteY2151" fmla="*/ 4713580 h 6386516"/>
              <a:gd name="connsiteX2152" fmla="*/ 2019487 w 6789110"/>
              <a:gd name="connsiteY2152" fmla="*/ 4728979 h 6386516"/>
              <a:gd name="connsiteX2153" fmla="*/ 2009863 w 6789110"/>
              <a:gd name="connsiteY2153" fmla="*/ 4742452 h 6386516"/>
              <a:gd name="connsiteX2154" fmla="*/ 2032962 w 6789110"/>
              <a:gd name="connsiteY2154" fmla="*/ 4742452 h 6386516"/>
              <a:gd name="connsiteX2155" fmla="*/ 2057983 w 6789110"/>
              <a:gd name="connsiteY2155" fmla="*/ 4713580 h 6386516"/>
              <a:gd name="connsiteX2156" fmla="*/ 1386232 w 6789110"/>
              <a:gd name="connsiteY2156" fmla="*/ 4700107 h 6386516"/>
              <a:gd name="connsiteX2157" fmla="*/ 1384307 w 6789110"/>
              <a:gd name="connsiteY2157" fmla="*/ 4719355 h 6386516"/>
              <a:gd name="connsiteX2158" fmla="*/ 1388157 w 6789110"/>
              <a:gd name="connsiteY2158" fmla="*/ 4730903 h 6386516"/>
              <a:gd name="connsiteX2159" fmla="*/ 1440126 w 6789110"/>
              <a:gd name="connsiteY2159" fmla="*/ 4754001 h 6386516"/>
              <a:gd name="connsiteX2160" fmla="*/ 1438201 w 6789110"/>
              <a:gd name="connsiteY2160" fmla="*/ 4719355 h 6386516"/>
              <a:gd name="connsiteX2161" fmla="*/ 1411254 w 6789110"/>
              <a:gd name="connsiteY2161" fmla="*/ 4709731 h 6386516"/>
              <a:gd name="connsiteX2162" fmla="*/ 1405480 w 6789110"/>
              <a:gd name="connsiteY2162" fmla="*/ 4721279 h 6386516"/>
              <a:gd name="connsiteX2163" fmla="*/ 1403555 w 6789110"/>
              <a:gd name="connsiteY2163" fmla="*/ 4707806 h 6386516"/>
              <a:gd name="connsiteX2164" fmla="*/ 1386232 w 6789110"/>
              <a:gd name="connsiteY2164" fmla="*/ 4700107 h 6386516"/>
              <a:gd name="connsiteX2165" fmla="*/ 3946921 w 6789110"/>
              <a:gd name="connsiteY2165" fmla="*/ 4695053 h 6386516"/>
              <a:gd name="connsiteX2166" fmla="*/ 3909628 w 6789110"/>
              <a:gd name="connsiteY2166" fmla="*/ 4698181 h 6386516"/>
              <a:gd name="connsiteX2167" fmla="*/ 3984695 w 6789110"/>
              <a:gd name="connsiteY2167" fmla="*/ 4719353 h 6386516"/>
              <a:gd name="connsiteX2168" fmla="*/ 3982770 w 6789110"/>
              <a:gd name="connsiteY2168" fmla="*/ 4707805 h 6386516"/>
              <a:gd name="connsiteX2169" fmla="*/ 3946921 w 6789110"/>
              <a:gd name="connsiteY2169" fmla="*/ 4695053 h 6386516"/>
              <a:gd name="connsiteX2170" fmla="*/ 1688424 w 6789110"/>
              <a:gd name="connsiteY2170" fmla="*/ 4694332 h 6386516"/>
              <a:gd name="connsiteX2171" fmla="*/ 1653777 w 6789110"/>
              <a:gd name="connsiteY2171" fmla="*/ 4696257 h 6386516"/>
              <a:gd name="connsiteX2172" fmla="*/ 1648003 w 6789110"/>
              <a:gd name="connsiteY2172" fmla="*/ 4707806 h 6386516"/>
              <a:gd name="connsiteX2173" fmla="*/ 1684574 w 6789110"/>
              <a:gd name="connsiteY2173" fmla="*/ 4700107 h 6386516"/>
              <a:gd name="connsiteX2174" fmla="*/ 1688424 w 6789110"/>
              <a:gd name="connsiteY2174" fmla="*/ 4694332 h 6386516"/>
              <a:gd name="connsiteX2175" fmla="*/ 1420878 w 6789110"/>
              <a:gd name="connsiteY2175" fmla="*/ 4684708 h 6386516"/>
              <a:gd name="connsiteX2176" fmla="*/ 1417029 w 6789110"/>
              <a:gd name="connsiteY2176" fmla="*/ 4692407 h 6386516"/>
              <a:gd name="connsiteX2177" fmla="*/ 1430502 w 6789110"/>
              <a:gd name="connsiteY2177" fmla="*/ 4700107 h 6386516"/>
              <a:gd name="connsiteX2178" fmla="*/ 1426653 w 6789110"/>
              <a:gd name="connsiteY2178" fmla="*/ 4686633 h 6386516"/>
              <a:gd name="connsiteX2179" fmla="*/ 1420878 w 6789110"/>
              <a:gd name="connsiteY2179" fmla="*/ 4684708 h 6386516"/>
              <a:gd name="connsiteX2180" fmla="*/ 1393931 w 6789110"/>
              <a:gd name="connsiteY2180" fmla="*/ 4669310 h 6386516"/>
              <a:gd name="connsiteX2181" fmla="*/ 1390082 w 6789110"/>
              <a:gd name="connsiteY2181" fmla="*/ 4675084 h 6386516"/>
              <a:gd name="connsiteX2182" fmla="*/ 1403555 w 6789110"/>
              <a:gd name="connsiteY2182" fmla="*/ 4684708 h 6386516"/>
              <a:gd name="connsiteX2183" fmla="*/ 1405480 w 6789110"/>
              <a:gd name="connsiteY2183" fmla="*/ 4677009 h 6386516"/>
              <a:gd name="connsiteX2184" fmla="*/ 1393931 w 6789110"/>
              <a:gd name="connsiteY2184" fmla="*/ 4669310 h 6386516"/>
              <a:gd name="connsiteX2185" fmla="*/ 1341962 w 6789110"/>
              <a:gd name="connsiteY2185" fmla="*/ 4667385 h 6386516"/>
              <a:gd name="connsiteX2186" fmla="*/ 1326563 w 6789110"/>
              <a:gd name="connsiteY2186" fmla="*/ 4684708 h 6386516"/>
              <a:gd name="connsiteX2187" fmla="*/ 1357360 w 6789110"/>
              <a:gd name="connsiteY2187" fmla="*/ 4709731 h 6386516"/>
              <a:gd name="connsiteX2188" fmla="*/ 1368909 w 6789110"/>
              <a:gd name="connsiteY2188" fmla="*/ 4690483 h 6386516"/>
              <a:gd name="connsiteX2189" fmla="*/ 1340037 w 6789110"/>
              <a:gd name="connsiteY2189" fmla="*/ 4675084 h 6386516"/>
              <a:gd name="connsiteX2190" fmla="*/ 1341962 w 6789110"/>
              <a:gd name="connsiteY2190" fmla="*/ 4667385 h 6386516"/>
              <a:gd name="connsiteX2191" fmla="*/ 1649928 w 6789110"/>
              <a:gd name="connsiteY2191" fmla="*/ 4657762 h 6386516"/>
              <a:gd name="connsiteX2192" fmla="*/ 1596035 w 6789110"/>
              <a:gd name="connsiteY2192" fmla="*/ 4665461 h 6386516"/>
              <a:gd name="connsiteX2193" fmla="*/ 1644153 w 6789110"/>
              <a:gd name="connsiteY2193" fmla="*/ 4677009 h 6386516"/>
              <a:gd name="connsiteX2194" fmla="*/ 1669176 w 6789110"/>
              <a:gd name="connsiteY2194" fmla="*/ 4671235 h 6386516"/>
              <a:gd name="connsiteX2195" fmla="*/ 1648003 w 6789110"/>
              <a:gd name="connsiteY2195" fmla="*/ 4663536 h 6386516"/>
              <a:gd name="connsiteX2196" fmla="*/ 1649928 w 6789110"/>
              <a:gd name="connsiteY2196" fmla="*/ 4657762 h 6386516"/>
              <a:gd name="connsiteX2197" fmla="*/ 1366984 w 6789110"/>
              <a:gd name="connsiteY2197" fmla="*/ 4648138 h 6386516"/>
              <a:gd name="connsiteX2198" fmla="*/ 1384307 w 6789110"/>
              <a:gd name="connsiteY2198" fmla="*/ 4669310 h 6386516"/>
              <a:gd name="connsiteX2199" fmla="*/ 1386232 w 6789110"/>
              <a:gd name="connsiteY2199" fmla="*/ 4665461 h 6386516"/>
              <a:gd name="connsiteX2200" fmla="*/ 1366984 w 6789110"/>
              <a:gd name="connsiteY2200" fmla="*/ 4648138 h 6386516"/>
              <a:gd name="connsiteX2201" fmla="*/ 1717295 w 6789110"/>
              <a:gd name="connsiteY2201" fmla="*/ 4640438 h 6386516"/>
              <a:gd name="connsiteX2202" fmla="*/ 1676876 w 6789110"/>
              <a:gd name="connsiteY2202" fmla="*/ 4651987 h 6386516"/>
              <a:gd name="connsiteX2203" fmla="*/ 1673025 w 6789110"/>
              <a:gd name="connsiteY2203" fmla="*/ 4671235 h 6386516"/>
              <a:gd name="connsiteX2204" fmla="*/ 1707673 w 6789110"/>
              <a:gd name="connsiteY2204" fmla="*/ 4661611 h 6386516"/>
              <a:gd name="connsiteX2205" fmla="*/ 1717295 w 6789110"/>
              <a:gd name="connsiteY2205" fmla="*/ 4640438 h 6386516"/>
              <a:gd name="connsiteX2206" fmla="*/ 2134974 w 6789110"/>
              <a:gd name="connsiteY2206" fmla="*/ 4632739 h 6386516"/>
              <a:gd name="connsiteX2207" fmla="*/ 2108027 w 6789110"/>
              <a:gd name="connsiteY2207" fmla="*/ 4634664 h 6386516"/>
              <a:gd name="connsiteX2208" fmla="*/ 2102253 w 6789110"/>
              <a:gd name="connsiteY2208" fmla="*/ 4640438 h 6386516"/>
              <a:gd name="connsiteX2209" fmla="*/ 2125351 w 6789110"/>
              <a:gd name="connsiteY2209" fmla="*/ 4642363 h 6386516"/>
              <a:gd name="connsiteX2210" fmla="*/ 2134974 w 6789110"/>
              <a:gd name="connsiteY2210" fmla="*/ 4632739 h 6386516"/>
              <a:gd name="connsiteX2211" fmla="*/ 3538144 w 6789110"/>
              <a:gd name="connsiteY2211" fmla="*/ 4628888 h 6386516"/>
              <a:gd name="connsiteX2212" fmla="*/ 3936575 w 6789110"/>
              <a:gd name="connsiteY2212" fmla="*/ 4734752 h 6386516"/>
              <a:gd name="connsiteX2213" fmla="*/ 3538144 w 6789110"/>
              <a:gd name="connsiteY2213" fmla="*/ 4628888 h 6386516"/>
              <a:gd name="connsiteX2214" fmla="*/ 3401484 w 6789110"/>
              <a:gd name="connsiteY2214" fmla="*/ 4628888 h 6386516"/>
              <a:gd name="connsiteX2215" fmla="*/ 3399560 w 6789110"/>
              <a:gd name="connsiteY2215" fmla="*/ 4636588 h 6386516"/>
              <a:gd name="connsiteX2216" fmla="*/ 3797991 w 6789110"/>
              <a:gd name="connsiteY2216" fmla="*/ 4815593 h 6386516"/>
              <a:gd name="connsiteX2217" fmla="*/ 3975071 w 6789110"/>
              <a:gd name="connsiteY2217" fmla="*/ 4817517 h 6386516"/>
              <a:gd name="connsiteX2218" fmla="*/ 3801840 w 6789110"/>
              <a:gd name="connsiteY2218" fmla="*/ 4800194 h 6386516"/>
              <a:gd name="connsiteX2219" fmla="*/ 3401484 w 6789110"/>
              <a:gd name="connsiteY2219" fmla="*/ 4628888 h 6386516"/>
              <a:gd name="connsiteX2220" fmla="*/ 4145054 w 6789110"/>
              <a:gd name="connsiteY2220" fmla="*/ 4589250 h 6386516"/>
              <a:gd name="connsiteX2221" fmla="*/ 4140603 w 6789110"/>
              <a:gd name="connsiteY2221" fmla="*/ 4592317 h 6386516"/>
              <a:gd name="connsiteX2222" fmla="*/ 4136753 w 6789110"/>
              <a:gd name="connsiteY2222" fmla="*/ 4621189 h 6386516"/>
              <a:gd name="connsiteX2223" fmla="*/ 4163700 w 6789110"/>
              <a:gd name="connsiteY2223" fmla="*/ 4625039 h 6386516"/>
              <a:gd name="connsiteX2224" fmla="*/ 4148302 w 6789110"/>
              <a:gd name="connsiteY2224" fmla="*/ 4603866 h 6386516"/>
              <a:gd name="connsiteX2225" fmla="*/ 4145054 w 6789110"/>
              <a:gd name="connsiteY2225" fmla="*/ 4589250 h 6386516"/>
              <a:gd name="connsiteX2226" fmla="*/ 1380458 w 6789110"/>
              <a:gd name="connsiteY2226" fmla="*/ 4580770 h 6386516"/>
              <a:gd name="connsiteX2227" fmla="*/ 1370834 w 6789110"/>
              <a:gd name="connsiteY2227" fmla="*/ 4617341 h 6386516"/>
              <a:gd name="connsiteX2228" fmla="*/ 1392006 w 6789110"/>
              <a:gd name="connsiteY2228" fmla="*/ 4605792 h 6386516"/>
              <a:gd name="connsiteX2229" fmla="*/ 1380458 w 6789110"/>
              <a:gd name="connsiteY2229" fmla="*/ 4580770 h 6386516"/>
              <a:gd name="connsiteX2230" fmla="*/ 2183094 w 6789110"/>
              <a:gd name="connsiteY2230" fmla="*/ 4578845 h 6386516"/>
              <a:gd name="connsiteX2231" fmla="*/ 2159997 w 6789110"/>
              <a:gd name="connsiteY2231" fmla="*/ 4582695 h 6386516"/>
              <a:gd name="connsiteX2232" fmla="*/ 2134974 w 6789110"/>
              <a:gd name="connsiteY2232" fmla="*/ 4607717 h 6386516"/>
              <a:gd name="connsiteX2233" fmla="*/ 2159997 w 6789110"/>
              <a:gd name="connsiteY2233" fmla="*/ 4607717 h 6386516"/>
              <a:gd name="connsiteX2234" fmla="*/ 2165771 w 6789110"/>
              <a:gd name="connsiteY2234" fmla="*/ 4601942 h 6386516"/>
              <a:gd name="connsiteX2235" fmla="*/ 2158073 w 6789110"/>
              <a:gd name="connsiteY2235" fmla="*/ 4598093 h 6386516"/>
              <a:gd name="connsiteX2236" fmla="*/ 2183094 w 6789110"/>
              <a:gd name="connsiteY2236" fmla="*/ 4578845 h 6386516"/>
              <a:gd name="connsiteX2237" fmla="*/ 1884752 w 6789110"/>
              <a:gd name="connsiteY2237" fmla="*/ 4569221 h 6386516"/>
              <a:gd name="connsiteX2238" fmla="*/ 1780813 w 6789110"/>
              <a:gd name="connsiteY2238" fmla="*/ 4617341 h 6386516"/>
              <a:gd name="connsiteX2239" fmla="*/ 1780813 w 6789110"/>
              <a:gd name="connsiteY2239" fmla="*/ 4625040 h 6386516"/>
              <a:gd name="connsiteX2240" fmla="*/ 1780813 w 6789110"/>
              <a:gd name="connsiteY2240" fmla="*/ 4630814 h 6386516"/>
              <a:gd name="connsiteX2241" fmla="*/ 1884752 w 6789110"/>
              <a:gd name="connsiteY2241" fmla="*/ 4569221 h 6386516"/>
              <a:gd name="connsiteX2242" fmla="*/ 2225439 w 6789110"/>
              <a:gd name="connsiteY2242" fmla="*/ 4542274 h 6386516"/>
              <a:gd name="connsiteX2243" fmla="*/ 2202342 w 6789110"/>
              <a:gd name="connsiteY2243" fmla="*/ 4551898 h 6386516"/>
              <a:gd name="connsiteX2244" fmla="*/ 2192718 w 6789110"/>
              <a:gd name="connsiteY2244" fmla="*/ 4549973 h 6386516"/>
              <a:gd name="connsiteX2245" fmla="*/ 2185019 w 6789110"/>
              <a:gd name="connsiteY2245" fmla="*/ 4559597 h 6386516"/>
              <a:gd name="connsiteX2246" fmla="*/ 2206192 w 6789110"/>
              <a:gd name="connsiteY2246" fmla="*/ 4561522 h 6386516"/>
              <a:gd name="connsiteX2247" fmla="*/ 2225439 w 6789110"/>
              <a:gd name="connsiteY2247" fmla="*/ 4542274 h 6386516"/>
              <a:gd name="connsiteX2248" fmla="*/ 3058872 w 6789110"/>
              <a:gd name="connsiteY2248" fmla="*/ 4534575 h 6386516"/>
              <a:gd name="connsiteX2249" fmla="*/ 3066571 w 6789110"/>
              <a:gd name="connsiteY2249" fmla="*/ 4578845 h 6386516"/>
              <a:gd name="connsiteX2250" fmla="*/ 3058872 w 6789110"/>
              <a:gd name="connsiteY2250" fmla="*/ 4534575 h 6386516"/>
              <a:gd name="connsiteX2251" fmla="*/ 3164736 w 6789110"/>
              <a:gd name="connsiteY2251" fmla="*/ 4523025 h 6386516"/>
              <a:gd name="connsiteX2252" fmla="*/ 3944275 w 6789110"/>
              <a:gd name="connsiteY2252" fmla="*/ 4875261 h 6386516"/>
              <a:gd name="connsiteX2253" fmla="*/ 3661331 w 6789110"/>
              <a:gd name="connsiteY2253" fmla="*/ 4829066 h 6386516"/>
              <a:gd name="connsiteX2254" fmla="*/ 3230178 w 6789110"/>
              <a:gd name="connsiteY2254" fmla="*/ 4576919 h 6386516"/>
              <a:gd name="connsiteX2255" fmla="*/ 3172435 w 6789110"/>
              <a:gd name="connsiteY2255" fmla="*/ 4524950 h 6386516"/>
              <a:gd name="connsiteX2256" fmla="*/ 3164736 w 6789110"/>
              <a:gd name="connsiteY2256" fmla="*/ 4523025 h 6386516"/>
              <a:gd name="connsiteX2257" fmla="*/ 2748981 w 6789110"/>
              <a:gd name="connsiteY2257" fmla="*/ 4511476 h 6386516"/>
              <a:gd name="connsiteX2258" fmla="*/ 2739357 w 6789110"/>
              <a:gd name="connsiteY2258" fmla="*/ 4513401 h 6386516"/>
              <a:gd name="connsiteX2259" fmla="*/ 2941460 w 6789110"/>
              <a:gd name="connsiteY2259" fmla="*/ 5252520 h 6386516"/>
              <a:gd name="connsiteX2260" fmla="*/ 2748981 w 6789110"/>
              <a:gd name="connsiteY2260" fmla="*/ 4511476 h 6386516"/>
              <a:gd name="connsiteX2261" fmla="*/ 2265860 w 6789110"/>
              <a:gd name="connsiteY2261" fmla="*/ 4492230 h 6386516"/>
              <a:gd name="connsiteX2262" fmla="*/ 2240838 w 6789110"/>
              <a:gd name="connsiteY2262" fmla="*/ 4496079 h 6386516"/>
              <a:gd name="connsiteX2263" fmla="*/ 2233138 w 6789110"/>
              <a:gd name="connsiteY2263" fmla="*/ 4505703 h 6386516"/>
              <a:gd name="connsiteX2264" fmla="*/ 2256236 w 6789110"/>
              <a:gd name="connsiteY2264" fmla="*/ 4507628 h 6386516"/>
              <a:gd name="connsiteX2265" fmla="*/ 2265860 w 6789110"/>
              <a:gd name="connsiteY2265" fmla="*/ 4492230 h 6386516"/>
              <a:gd name="connsiteX2266" fmla="*/ 1336187 w 6789110"/>
              <a:gd name="connsiteY2266" fmla="*/ 4492230 h 6386516"/>
              <a:gd name="connsiteX2267" fmla="*/ 1361210 w 6789110"/>
              <a:gd name="connsiteY2267" fmla="*/ 4546124 h 6386516"/>
              <a:gd name="connsiteX2268" fmla="*/ 1355435 w 6789110"/>
              <a:gd name="connsiteY2268" fmla="*/ 4530725 h 6386516"/>
              <a:gd name="connsiteX2269" fmla="*/ 1336187 w 6789110"/>
              <a:gd name="connsiteY2269" fmla="*/ 4492230 h 6386516"/>
              <a:gd name="connsiteX2270" fmla="*/ 3955823 w 6789110"/>
              <a:gd name="connsiteY2270" fmla="*/ 4478755 h 6386516"/>
              <a:gd name="connsiteX2271" fmla="*/ 3590114 w 6789110"/>
              <a:gd name="connsiteY2271" fmla="*/ 4546123 h 6386516"/>
              <a:gd name="connsiteX2272" fmla="*/ 3957748 w 6789110"/>
              <a:gd name="connsiteY2272" fmla="*/ 4498003 h 6386516"/>
              <a:gd name="connsiteX2273" fmla="*/ 2083006 w 6789110"/>
              <a:gd name="connsiteY2273" fmla="*/ 4447959 h 6386516"/>
              <a:gd name="connsiteX2274" fmla="*/ 2017562 w 6789110"/>
              <a:gd name="connsiteY2274" fmla="*/ 4492230 h 6386516"/>
              <a:gd name="connsiteX2275" fmla="*/ 1996390 w 6789110"/>
              <a:gd name="connsiteY2275" fmla="*/ 4513402 h 6386516"/>
              <a:gd name="connsiteX2276" fmla="*/ 2002164 w 6789110"/>
              <a:gd name="connsiteY2276" fmla="*/ 4513402 h 6386516"/>
              <a:gd name="connsiteX2277" fmla="*/ 1917473 w 6789110"/>
              <a:gd name="connsiteY2277" fmla="*/ 4601942 h 6386516"/>
              <a:gd name="connsiteX2278" fmla="*/ 1975217 w 6789110"/>
              <a:gd name="connsiteY2278" fmla="*/ 4532650 h 6386516"/>
              <a:gd name="connsiteX2279" fmla="*/ 1905925 w 6789110"/>
              <a:gd name="connsiteY2279" fmla="*/ 4594243 h 6386516"/>
              <a:gd name="connsiteX2280" fmla="*/ 1904000 w 6789110"/>
              <a:gd name="connsiteY2280" fmla="*/ 4603867 h 6386516"/>
              <a:gd name="connsiteX2281" fmla="*/ 1894376 w 6789110"/>
              <a:gd name="connsiteY2281" fmla="*/ 4621190 h 6386516"/>
              <a:gd name="connsiteX2282" fmla="*/ 1892451 w 6789110"/>
              <a:gd name="connsiteY2282" fmla="*/ 4603867 h 6386516"/>
              <a:gd name="connsiteX2283" fmla="*/ 1694198 w 6789110"/>
              <a:gd name="connsiteY2283" fmla="*/ 4719355 h 6386516"/>
              <a:gd name="connsiteX2284" fmla="*/ 1634529 w 6789110"/>
              <a:gd name="connsiteY2284" fmla="*/ 4755925 h 6386516"/>
              <a:gd name="connsiteX2285" fmla="*/ 2002164 w 6789110"/>
              <a:gd name="connsiteY2285" fmla="*/ 4540349 h 6386516"/>
              <a:gd name="connsiteX2286" fmla="*/ 2029111 w 6789110"/>
              <a:gd name="connsiteY2286" fmla="*/ 4509553 h 6386516"/>
              <a:gd name="connsiteX2287" fmla="*/ 2059908 w 6789110"/>
              <a:gd name="connsiteY2287" fmla="*/ 4472982 h 6386516"/>
              <a:gd name="connsiteX2288" fmla="*/ 2083006 w 6789110"/>
              <a:gd name="connsiteY2288" fmla="*/ 4447959 h 6386516"/>
              <a:gd name="connsiteX2289" fmla="*/ 2281258 w 6789110"/>
              <a:gd name="connsiteY2289" fmla="*/ 4440260 h 6386516"/>
              <a:gd name="connsiteX2290" fmla="*/ 2275485 w 6789110"/>
              <a:gd name="connsiteY2290" fmla="*/ 4449884 h 6386516"/>
              <a:gd name="connsiteX2291" fmla="*/ 2281258 w 6789110"/>
              <a:gd name="connsiteY2291" fmla="*/ 4459508 h 6386516"/>
              <a:gd name="connsiteX2292" fmla="*/ 2263935 w 6789110"/>
              <a:gd name="connsiteY2292" fmla="*/ 4465283 h 6386516"/>
              <a:gd name="connsiteX2293" fmla="*/ 2258161 w 6789110"/>
              <a:gd name="connsiteY2293" fmla="*/ 4472982 h 6386516"/>
              <a:gd name="connsiteX2294" fmla="*/ 2283183 w 6789110"/>
              <a:gd name="connsiteY2294" fmla="*/ 4467207 h 6386516"/>
              <a:gd name="connsiteX2295" fmla="*/ 2292807 w 6789110"/>
              <a:gd name="connsiteY2295" fmla="*/ 4457583 h 6386516"/>
              <a:gd name="connsiteX2296" fmla="*/ 2281258 w 6789110"/>
              <a:gd name="connsiteY2296" fmla="*/ 4440260 h 6386516"/>
              <a:gd name="connsiteX2297" fmla="*/ 1366984 w 6789110"/>
              <a:gd name="connsiteY2297" fmla="*/ 4421013 h 6386516"/>
              <a:gd name="connsiteX2298" fmla="*/ 1363134 w 6789110"/>
              <a:gd name="connsiteY2298" fmla="*/ 4430636 h 6386516"/>
              <a:gd name="connsiteX2299" fmla="*/ 1370834 w 6789110"/>
              <a:gd name="connsiteY2299" fmla="*/ 4436411 h 6386516"/>
              <a:gd name="connsiteX2300" fmla="*/ 1366984 w 6789110"/>
              <a:gd name="connsiteY2300" fmla="*/ 4421013 h 6386516"/>
              <a:gd name="connsiteX2301" fmla="*/ 3797179 w 6789110"/>
              <a:gd name="connsiteY2301" fmla="*/ 4384982 h 6386516"/>
              <a:gd name="connsiteX2302" fmla="*/ 3468852 w 6789110"/>
              <a:gd name="connsiteY2302" fmla="*/ 4401763 h 6386516"/>
              <a:gd name="connsiteX2303" fmla="*/ 3905779 w 6789110"/>
              <a:gd name="connsiteY2303" fmla="*/ 4413312 h 6386516"/>
              <a:gd name="connsiteX2304" fmla="*/ 3797179 w 6789110"/>
              <a:gd name="connsiteY2304" fmla="*/ 4384982 h 6386516"/>
              <a:gd name="connsiteX2305" fmla="*/ 1326563 w 6789110"/>
              <a:gd name="connsiteY2305" fmla="*/ 4384441 h 6386516"/>
              <a:gd name="connsiteX2306" fmla="*/ 1343887 w 6789110"/>
              <a:gd name="connsiteY2306" fmla="*/ 4407539 h 6386516"/>
              <a:gd name="connsiteX2307" fmla="*/ 1349661 w 6789110"/>
              <a:gd name="connsiteY2307" fmla="*/ 4388291 h 6386516"/>
              <a:gd name="connsiteX2308" fmla="*/ 1326563 w 6789110"/>
              <a:gd name="connsiteY2308" fmla="*/ 4384441 h 6386516"/>
              <a:gd name="connsiteX2309" fmla="*/ 2916438 w 6789110"/>
              <a:gd name="connsiteY2309" fmla="*/ 4365192 h 6386516"/>
              <a:gd name="connsiteX2310" fmla="*/ 3016527 w 6789110"/>
              <a:gd name="connsiteY2310" fmla="*/ 4994598 h 6386516"/>
              <a:gd name="connsiteX2311" fmla="*/ 3314869 w 6789110"/>
              <a:gd name="connsiteY2311" fmla="*/ 5396879 h 6386516"/>
              <a:gd name="connsiteX2312" fmla="*/ 3095443 w 6789110"/>
              <a:gd name="connsiteY2312" fmla="*/ 5127408 h 6386516"/>
              <a:gd name="connsiteX2313" fmla="*/ 2978031 w 6789110"/>
              <a:gd name="connsiteY2313" fmla="*/ 4632738 h 6386516"/>
              <a:gd name="connsiteX2314" fmla="*/ 2916438 w 6789110"/>
              <a:gd name="connsiteY2314" fmla="*/ 4365192 h 6386516"/>
              <a:gd name="connsiteX2315" fmla="*/ 2186944 w 6789110"/>
              <a:gd name="connsiteY2315" fmla="*/ 4359419 h 6386516"/>
              <a:gd name="connsiteX2316" fmla="*/ 2133050 w 6789110"/>
              <a:gd name="connsiteY2316" fmla="*/ 4363269 h 6386516"/>
              <a:gd name="connsiteX2317" fmla="*/ 2121501 w 6789110"/>
              <a:gd name="connsiteY2317" fmla="*/ 4376742 h 6386516"/>
              <a:gd name="connsiteX2318" fmla="*/ 2142673 w 6789110"/>
              <a:gd name="connsiteY2318" fmla="*/ 4392141 h 6386516"/>
              <a:gd name="connsiteX2319" fmla="*/ 2186944 w 6789110"/>
              <a:gd name="connsiteY2319" fmla="*/ 4359419 h 6386516"/>
              <a:gd name="connsiteX2320" fmla="*/ 2331303 w 6789110"/>
              <a:gd name="connsiteY2320" fmla="*/ 4357495 h 6386516"/>
              <a:gd name="connsiteX2321" fmla="*/ 2317829 w 6789110"/>
              <a:gd name="connsiteY2321" fmla="*/ 4359419 h 6386516"/>
              <a:gd name="connsiteX2322" fmla="*/ 2290882 w 6789110"/>
              <a:gd name="connsiteY2322" fmla="*/ 4417163 h 6386516"/>
              <a:gd name="connsiteX2323" fmla="*/ 2306280 w 6789110"/>
              <a:gd name="connsiteY2323" fmla="*/ 4424862 h 6386516"/>
              <a:gd name="connsiteX2324" fmla="*/ 2331303 w 6789110"/>
              <a:gd name="connsiteY2324" fmla="*/ 4357495 h 6386516"/>
              <a:gd name="connsiteX2325" fmla="*/ 1363134 w 6789110"/>
              <a:gd name="connsiteY2325" fmla="*/ 4357495 h 6386516"/>
              <a:gd name="connsiteX2326" fmla="*/ 1355435 w 6789110"/>
              <a:gd name="connsiteY2326" fmla="*/ 4361344 h 6386516"/>
              <a:gd name="connsiteX2327" fmla="*/ 1357360 w 6789110"/>
              <a:gd name="connsiteY2327" fmla="*/ 4363269 h 6386516"/>
              <a:gd name="connsiteX2328" fmla="*/ 1361210 w 6789110"/>
              <a:gd name="connsiteY2328" fmla="*/ 4361344 h 6386516"/>
              <a:gd name="connsiteX2329" fmla="*/ 1363134 w 6789110"/>
              <a:gd name="connsiteY2329" fmla="*/ 4357495 h 6386516"/>
              <a:gd name="connsiteX2330" fmla="*/ 1888602 w 6789110"/>
              <a:gd name="connsiteY2330" fmla="*/ 4355570 h 6386516"/>
              <a:gd name="connsiteX2331" fmla="*/ 1494020 w 6789110"/>
              <a:gd name="connsiteY2331" fmla="*/ 4365194 h 6386516"/>
              <a:gd name="connsiteX2332" fmla="*/ 1503644 w 6789110"/>
              <a:gd name="connsiteY2332" fmla="*/ 4380592 h 6386516"/>
              <a:gd name="connsiteX2333" fmla="*/ 1888602 w 6789110"/>
              <a:gd name="connsiteY2333" fmla="*/ 4355570 h 6386516"/>
              <a:gd name="connsiteX2334" fmla="*/ 3409184 w 6789110"/>
              <a:gd name="connsiteY2334" fmla="*/ 4338245 h 6386516"/>
              <a:gd name="connsiteX2335" fmla="*/ 3898080 w 6789110"/>
              <a:gd name="connsiteY2335" fmla="*/ 4382516 h 6386516"/>
              <a:gd name="connsiteX2336" fmla="*/ 3409184 w 6789110"/>
              <a:gd name="connsiteY2336" fmla="*/ 4338245 h 6386516"/>
              <a:gd name="connsiteX2337" fmla="*/ 3278298 w 6789110"/>
              <a:gd name="connsiteY2337" fmla="*/ 4338245 h 6386516"/>
              <a:gd name="connsiteX2338" fmla="*/ 3549693 w 6789110"/>
              <a:gd name="connsiteY2338" fmla="*/ 4515326 h 6386516"/>
              <a:gd name="connsiteX2339" fmla="*/ 3278298 w 6789110"/>
              <a:gd name="connsiteY2339" fmla="*/ 4338245 h 6386516"/>
              <a:gd name="connsiteX2340" fmla="*/ 1422803 w 6789110"/>
              <a:gd name="connsiteY2340" fmla="*/ 4334397 h 6386516"/>
              <a:gd name="connsiteX2341" fmla="*/ 1411254 w 6789110"/>
              <a:gd name="connsiteY2341" fmla="*/ 4336322 h 6386516"/>
              <a:gd name="connsiteX2342" fmla="*/ 1413179 w 6789110"/>
              <a:gd name="connsiteY2342" fmla="*/ 4345946 h 6386516"/>
              <a:gd name="connsiteX2343" fmla="*/ 1417029 w 6789110"/>
              <a:gd name="connsiteY2343" fmla="*/ 4345946 h 6386516"/>
              <a:gd name="connsiteX2344" fmla="*/ 1424728 w 6789110"/>
              <a:gd name="connsiteY2344" fmla="*/ 4344021 h 6386516"/>
              <a:gd name="connsiteX2345" fmla="*/ 1422803 w 6789110"/>
              <a:gd name="connsiteY2345" fmla="*/ 4334397 h 6386516"/>
              <a:gd name="connsiteX2346" fmla="*/ 1513268 w 6789110"/>
              <a:gd name="connsiteY2346" fmla="*/ 4332472 h 6386516"/>
              <a:gd name="connsiteX2347" fmla="*/ 1503644 w 6789110"/>
              <a:gd name="connsiteY2347" fmla="*/ 4345946 h 6386516"/>
              <a:gd name="connsiteX2348" fmla="*/ 1771189 w 6789110"/>
              <a:gd name="connsiteY2348" fmla="*/ 4342096 h 6386516"/>
              <a:gd name="connsiteX2349" fmla="*/ 1513268 w 6789110"/>
              <a:gd name="connsiteY2349" fmla="*/ 4332472 h 6386516"/>
              <a:gd name="connsiteX2350" fmla="*/ 1467073 w 6789110"/>
              <a:gd name="connsiteY2350" fmla="*/ 4332472 h 6386516"/>
              <a:gd name="connsiteX2351" fmla="*/ 1440126 w 6789110"/>
              <a:gd name="connsiteY2351" fmla="*/ 4334397 h 6386516"/>
              <a:gd name="connsiteX2352" fmla="*/ 1440126 w 6789110"/>
              <a:gd name="connsiteY2352" fmla="*/ 4344021 h 6386516"/>
              <a:gd name="connsiteX2353" fmla="*/ 1463223 w 6789110"/>
              <a:gd name="connsiteY2353" fmla="*/ 4344021 h 6386516"/>
              <a:gd name="connsiteX2354" fmla="*/ 1467073 w 6789110"/>
              <a:gd name="connsiteY2354" fmla="*/ 4332472 h 6386516"/>
              <a:gd name="connsiteX2355" fmla="*/ 3728939 w 6789110"/>
              <a:gd name="connsiteY2355" fmla="*/ 4317554 h 6386516"/>
              <a:gd name="connsiteX2356" fmla="*/ 3538144 w 6789110"/>
              <a:gd name="connsiteY2356" fmla="*/ 4344020 h 6386516"/>
              <a:gd name="connsiteX2357" fmla="*/ 3940425 w 6789110"/>
              <a:gd name="connsiteY2357" fmla="*/ 4340170 h 6386516"/>
              <a:gd name="connsiteX2358" fmla="*/ 3938500 w 6789110"/>
              <a:gd name="connsiteY2358" fmla="*/ 4328621 h 6386516"/>
              <a:gd name="connsiteX2359" fmla="*/ 3728939 w 6789110"/>
              <a:gd name="connsiteY2359" fmla="*/ 4317554 h 6386516"/>
              <a:gd name="connsiteX2360" fmla="*/ 1411254 w 6789110"/>
              <a:gd name="connsiteY2360" fmla="*/ 4315149 h 6386516"/>
              <a:gd name="connsiteX2361" fmla="*/ 1411254 w 6789110"/>
              <a:gd name="connsiteY2361" fmla="*/ 4318999 h 6386516"/>
              <a:gd name="connsiteX2362" fmla="*/ 1415104 w 6789110"/>
              <a:gd name="connsiteY2362" fmla="*/ 4318999 h 6386516"/>
              <a:gd name="connsiteX2363" fmla="*/ 1411254 w 6789110"/>
              <a:gd name="connsiteY2363" fmla="*/ 4315149 h 6386516"/>
              <a:gd name="connsiteX2364" fmla="*/ 1386232 w 6789110"/>
              <a:gd name="connsiteY2364" fmla="*/ 4311300 h 6386516"/>
              <a:gd name="connsiteX2365" fmla="*/ 1328488 w 6789110"/>
              <a:gd name="connsiteY2365" fmla="*/ 4349795 h 6386516"/>
              <a:gd name="connsiteX2366" fmla="*/ 1326563 w 6789110"/>
              <a:gd name="connsiteY2366" fmla="*/ 4351720 h 6386516"/>
              <a:gd name="connsiteX2367" fmla="*/ 1374683 w 6789110"/>
              <a:gd name="connsiteY2367" fmla="*/ 4330548 h 6386516"/>
              <a:gd name="connsiteX2368" fmla="*/ 1386232 w 6789110"/>
              <a:gd name="connsiteY2368" fmla="*/ 4311300 h 6386516"/>
              <a:gd name="connsiteX2369" fmla="*/ 2394822 w 6789110"/>
              <a:gd name="connsiteY2369" fmla="*/ 4309375 h 6386516"/>
              <a:gd name="connsiteX2370" fmla="*/ 2385197 w 6789110"/>
              <a:gd name="connsiteY2370" fmla="*/ 4311300 h 6386516"/>
              <a:gd name="connsiteX2371" fmla="*/ 2362099 w 6789110"/>
              <a:gd name="connsiteY2371" fmla="*/ 5071591 h 6386516"/>
              <a:gd name="connsiteX2372" fmla="*/ 2183094 w 6789110"/>
              <a:gd name="connsiteY2372" fmla="*/ 5267919 h 6386516"/>
              <a:gd name="connsiteX2373" fmla="*/ 2183094 w 6789110"/>
              <a:gd name="connsiteY2373" fmla="*/ 5285242 h 6386516"/>
              <a:gd name="connsiteX2374" fmla="*/ 2402520 w 6789110"/>
              <a:gd name="connsiteY2374" fmla="*/ 5025396 h 6386516"/>
              <a:gd name="connsiteX2375" fmla="*/ 2394822 w 6789110"/>
              <a:gd name="connsiteY2375" fmla="*/ 4309375 h 6386516"/>
              <a:gd name="connsiteX2376" fmla="*/ 1526742 w 6789110"/>
              <a:gd name="connsiteY2376" fmla="*/ 4307450 h 6386516"/>
              <a:gd name="connsiteX2377" fmla="*/ 1522892 w 6789110"/>
              <a:gd name="connsiteY2377" fmla="*/ 4315149 h 6386516"/>
              <a:gd name="connsiteX2378" fmla="*/ 1580636 w 6789110"/>
              <a:gd name="connsiteY2378" fmla="*/ 4328623 h 6386516"/>
              <a:gd name="connsiteX2379" fmla="*/ 1526742 w 6789110"/>
              <a:gd name="connsiteY2379" fmla="*/ 4307450 h 6386516"/>
              <a:gd name="connsiteX2380" fmla="*/ 1467073 w 6789110"/>
              <a:gd name="connsiteY2380" fmla="*/ 4299751 h 6386516"/>
              <a:gd name="connsiteX2381" fmla="*/ 1459374 w 6789110"/>
              <a:gd name="connsiteY2381" fmla="*/ 4313224 h 6386516"/>
              <a:gd name="connsiteX2382" fmla="*/ 1474772 w 6789110"/>
              <a:gd name="connsiteY2382" fmla="*/ 4311300 h 6386516"/>
              <a:gd name="connsiteX2383" fmla="*/ 1480546 w 6789110"/>
              <a:gd name="connsiteY2383" fmla="*/ 4299751 h 6386516"/>
              <a:gd name="connsiteX2384" fmla="*/ 1467073 w 6789110"/>
              <a:gd name="connsiteY2384" fmla="*/ 4299751 h 6386516"/>
              <a:gd name="connsiteX2385" fmla="*/ 1442051 w 6789110"/>
              <a:gd name="connsiteY2385" fmla="*/ 4297826 h 6386516"/>
              <a:gd name="connsiteX2386" fmla="*/ 1442051 w 6789110"/>
              <a:gd name="connsiteY2386" fmla="*/ 4313224 h 6386516"/>
              <a:gd name="connsiteX2387" fmla="*/ 1455524 w 6789110"/>
              <a:gd name="connsiteY2387" fmla="*/ 4311300 h 6386516"/>
              <a:gd name="connsiteX2388" fmla="*/ 1453599 w 6789110"/>
              <a:gd name="connsiteY2388" fmla="*/ 4297826 h 6386516"/>
              <a:gd name="connsiteX2389" fmla="*/ 1442051 w 6789110"/>
              <a:gd name="connsiteY2389" fmla="*/ 4297826 h 6386516"/>
              <a:gd name="connsiteX2390" fmla="*/ 2510308 w 6789110"/>
              <a:gd name="connsiteY2390" fmla="*/ 4282428 h 6386516"/>
              <a:gd name="connsiteX2391" fmla="*/ 2471812 w 6789110"/>
              <a:gd name="connsiteY2391" fmla="*/ 5165905 h 6386516"/>
              <a:gd name="connsiteX2392" fmla="*/ 2479511 w 6789110"/>
              <a:gd name="connsiteY2392" fmla="*/ 5185153 h 6386516"/>
              <a:gd name="connsiteX2393" fmla="*/ 2192718 w 6789110"/>
              <a:gd name="connsiteY2393" fmla="*/ 5456548 h 6386516"/>
              <a:gd name="connsiteX2394" fmla="*/ 2188868 w 6789110"/>
              <a:gd name="connsiteY2394" fmla="*/ 5466172 h 6386516"/>
              <a:gd name="connsiteX2395" fmla="*/ 2529556 w 6789110"/>
              <a:gd name="connsiteY2395" fmla="*/ 5129334 h 6386516"/>
              <a:gd name="connsiteX2396" fmla="*/ 2560352 w 6789110"/>
              <a:gd name="connsiteY2396" fmla="*/ 4990750 h 6386516"/>
              <a:gd name="connsiteX2397" fmla="*/ 2523781 w 6789110"/>
              <a:gd name="connsiteY2397" fmla="*/ 4419088 h 6386516"/>
              <a:gd name="connsiteX2398" fmla="*/ 2510308 w 6789110"/>
              <a:gd name="connsiteY2398" fmla="*/ 4282428 h 6386516"/>
              <a:gd name="connsiteX2399" fmla="*/ 2683538 w 6789110"/>
              <a:gd name="connsiteY2399" fmla="*/ 4270878 h 6386516"/>
              <a:gd name="connsiteX2400" fmla="*/ 2693162 w 6789110"/>
              <a:gd name="connsiteY2400" fmla="*/ 4474906 h 6386516"/>
              <a:gd name="connsiteX2401" fmla="*/ 2679689 w 6789110"/>
              <a:gd name="connsiteY2401" fmla="*/ 4648136 h 6386516"/>
              <a:gd name="connsiteX2402" fmla="*/ 2698937 w 6789110"/>
              <a:gd name="connsiteY2402" fmla="*/ 5121635 h 6386516"/>
              <a:gd name="connsiteX2403" fmla="*/ 2677764 w 6789110"/>
              <a:gd name="connsiteY2403" fmla="*/ 5237123 h 6386516"/>
              <a:gd name="connsiteX2404" fmla="*/ 2723959 w 6789110"/>
              <a:gd name="connsiteY2404" fmla="*/ 5416128 h 6386516"/>
              <a:gd name="connsiteX2405" fmla="*/ 2783627 w 6789110"/>
              <a:gd name="connsiteY2405" fmla="*/ 5481570 h 6386516"/>
              <a:gd name="connsiteX2406" fmla="*/ 2700862 w 6789110"/>
              <a:gd name="connsiteY2406" fmla="*/ 5622080 h 6386516"/>
              <a:gd name="connsiteX2407" fmla="*/ 2631569 w 6789110"/>
              <a:gd name="connsiteY2407" fmla="*/ 5658651 h 6386516"/>
              <a:gd name="connsiteX2408" fmla="*/ 2550728 w 6789110"/>
              <a:gd name="connsiteY2408" fmla="*/ 5766439 h 6386516"/>
              <a:gd name="connsiteX2409" fmla="*/ 2429466 w 6789110"/>
              <a:gd name="connsiteY2409" fmla="*/ 5770288 h 6386516"/>
              <a:gd name="connsiteX2410" fmla="*/ 2400596 w 6789110"/>
              <a:gd name="connsiteY2410" fmla="*/ 5726019 h 6386516"/>
              <a:gd name="connsiteX2411" fmla="*/ 2235063 w 6789110"/>
              <a:gd name="connsiteY2411" fmla="*/ 5849205 h 6386516"/>
              <a:gd name="connsiteX2412" fmla="*/ 2317829 w 6789110"/>
              <a:gd name="connsiteY2412" fmla="*/ 5614381 h 6386516"/>
              <a:gd name="connsiteX2413" fmla="*/ 2660441 w 6789110"/>
              <a:gd name="connsiteY2413" fmla="*/ 5083140 h 6386516"/>
              <a:gd name="connsiteX2414" fmla="*/ 2627719 w 6789110"/>
              <a:gd name="connsiteY2414" fmla="*/ 4288201 h 6386516"/>
              <a:gd name="connsiteX2415" fmla="*/ 2683538 w 6789110"/>
              <a:gd name="connsiteY2415" fmla="*/ 4270878 h 6386516"/>
              <a:gd name="connsiteX2416" fmla="*/ 901185 w 6789110"/>
              <a:gd name="connsiteY2416" fmla="*/ 4242007 h 6386516"/>
              <a:gd name="connsiteX2417" fmla="*/ 881938 w 6789110"/>
              <a:gd name="connsiteY2417" fmla="*/ 4255481 h 6386516"/>
              <a:gd name="connsiteX2418" fmla="*/ 901185 w 6789110"/>
              <a:gd name="connsiteY2418" fmla="*/ 4242007 h 6386516"/>
              <a:gd name="connsiteX2419" fmla="*/ 3919252 w 6789110"/>
              <a:gd name="connsiteY2419" fmla="*/ 4151541 h 6386516"/>
              <a:gd name="connsiteX2420" fmla="*/ 3871133 w 6789110"/>
              <a:gd name="connsiteY2420" fmla="*/ 4195811 h 6386516"/>
              <a:gd name="connsiteX2421" fmla="*/ 3917327 w 6789110"/>
              <a:gd name="connsiteY2421" fmla="*/ 4170789 h 6386516"/>
              <a:gd name="connsiteX2422" fmla="*/ 3917327 w 6789110"/>
              <a:gd name="connsiteY2422" fmla="*/ 4166939 h 6386516"/>
              <a:gd name="connsiteX2423" fmla="*/ 3919252 w 6789110"/>
              <a:gd name="connsiteY2423" fmla="*/ 4151541 h 6386516"/>
              <a:gd name="connsiteX2424" fmla="*/ 3176284 w 6789110"/>
              <a:gd name="connsiteY2424" fmla="*/ 4126519 h 6386516"/>
              <a:gd name="connsiteX2425" fmla="*/ 3216704 w 6789110"/>
              <a:gd name="connsiteY2425" fmla="*/ 4234307 h 6386516"/>
              <a:gd name="connsiteX2426" fmla="*/ 3166660 w 6789110"/>
              <a:gd name="connsiteY2426" fmla="*/ 4226608 h 6386516"/>
              <a:gd name="connsiteX2427" fmla="*/ 3147412 w 6789110"/>
              <a:gd name="connsiteY2427" fmla="*/ 4195811 h 6386516"/>
              <a:gd name="connsiteX2428" fmla="*/ 3147413 w 6789110"/>
              <a:gd name="connsiteY2428" fmla="*/ 4195812 h 6386516"/>
              <a:gd name="connsiteX2429" fmla="*/ 3166660 w 6789110"/>
              <a:gd name="connsiteY2429" fmla="*/ 4205435 h 6386516"/>
              <a:gd name="connsiteX2430" fmla="*/ 3176284 w 6789110"/>
              <a:gd name="connsiteY2430" fmla="*/ 4126519 h 6386516"/>
              <a:gd name="connsiteX2431" fmla="*/ 1755791 w 6789110"/>
              <a:gd name="connsiteY2431" fmla="*/ 4111122 h 6386516"/>
              <a:gd name="connsiteX2432" fmla="*/ 1746167 w 6789110"/>
              <a:gd name="connsiteY2432" fmla="*/ 4120746 h 6386516"/>
              <a:gd name="connsiteX2433" fmla="*/ 1763491 w 6789110"/>
              <a:gd name="connsiteY2433" fmla="*/ 4122670 h 6386516"/>
              <a:gd name="connsiteX2434" fmla="*/ 1769265 w 6789110"/>
              <a:gd name="connsiteY2434" fmla="*/ 4116896 h 6386516"/>
              <a:gd name="connsiteX2435" fmla="*/ 1755791 w 6789110"/>
              <a:gd name="connsiteY2435" fmla="*/ 4111122 h 6386516"/>
              <a:gd name="connsiteX2436" fmla="*/ 1734619 w 6789110"/>
              <a:gd name="connsiteY2436" fmla="*/ 4107272 h 6386516"/>
              <a:gd name="connsiteX2437" fmla="*/ 1723070 w 6789110"/>
              <a:gd name="connsiteY2437" fmla="*/ 4118821 h 6386516"/>
              <a:gd name="connsiteX2438" fmla="*/ 1734619 w 6789110"/>
              <a:gd name="connsiteY2438" fmla="*/ 4120746 h 6386516"/>
              <a:gd name="connsiteX2439" fmla="*/ 1736543 w 6789110"/>
              <a:gd name="connsiteY2439" fmla="*/ 4107272 h 6386516"/>
              <a:gd name="connsiteX2440" fmla="*/ 1734619 w 6789110"/>
              <a:gd name="connsiteY2440" fmla="*/ 4107272 h 6386516"/>
              <a:gd name="connsiteX2441" fmla="*/ 2818274 w 6789110"/>
              <a:gd name="connsiteY2441" fmla="*/ 4105346 h 6386516"/>
              <a:gd name="connsiteX2442" fmla="*/ 2750906 w 6789110"/>
              <a:gd name="connsiteY2442" fmla="*/ 4465282 h 6386516"/>
              <a:gd name="connsiteX2443" fmla="*/ 2804800 w 6789110"/>
              <a:gd name="connsiteY2443" fmla="*/ 4382516 h 6386516"/>
              <a:gd name="connsiteX2444" fmla="*/ 2854845 w 6789110"/>
              <a:gd name="connsiteY2444" fmla="*/ 4446034 h 6386516"/>
              <a:gd name="connsiteX2445" fmla="*/ 3030000 w 6789110"/>
              <a:gd name="connsiteY2445" fmla="*/ 5165904 h 6386516"/>
              <a:gd name="connsiteX2446" fmla="*/ 2852920 w 6789110"/>
              <a:gd name="connsiteY2446" fmla="*/ 4482605 h 6386516"/>
              <a:gd name="connsiteX2447" fmla="*/ 2877942 w 6789110"/>
              <a:gd name="connsiteY2447" fmla="*/ 4505702 h 6386516"/>
              <a:gd name="connsiteX2448" fmla="*/ 3066571 w 6789110"/>
              <a:gd name="connsiteY2448" fmla="*/ 5129333 h 6386516"/>
              <a:gd name="connsiteX2449" fmla="*/ 2904889 w 6789110"/>
              <a:gd name="connsiteY2449" fmla="*/ 4486454 h 6386516"/>
              <a:gd name="connsiteX2450" fmla="*/ 2808650 w 6789110"/>
              <a:gd name="connsiteY2450" fmla="*/ 4184262 h 6386516"/>
              <a:gd name="connsiteX2451" fmla="*/ 2818274 w 6789110"/>
              <a:gd name="connsiteY2451" fmla="*/ 4105346 h 6386516"/>
              <a:gd name="connsiteX2452" fmla="*/ 4379276 w 6789110"/>
              <a:gd name="connsiteY2452" fmla="*/ 4086098 h 6386516"/>
              <a:gd name="connsiteX2453" fmla="*/ 4371577 w 6789110"/>
              <a:gd name="connsiteY2453" fmla="*/ 4111120 h 6386516"/>
              <a:gd name="connsiteX2454" fmla="*/ 4379276 w 6789110"/>
              <a:gd name="connsiteY2454" fmla="*/ 4138068 h 6386516"/>
              <a:gd name="connsiteX2455" fmla="*/ 4621801 w 6789110"/>
              <a:gd name="connsiteY2455" fmla="*/ 4372892 h 6386516"/>
              <a:gd name="connsiteX2456" fmla="*/ 4600627 w 6789110"/>
              <a:gd name="connsiteY2456" fmla="*/ 4322847 h 6386516"/>
              <a:gd name="connsiteX2457" fmla="*/ 4514012 w 6789110"/>
              <a:gd name="connsiteY2457" fmla="*/ 4228533 h 6386516"/>
              <a:gd name="connsiteX2458" fmla="*/ 4487065 w 6789110"/>
              <a:gd name="connsiteY2458" fmla="*/ 4201585 h 6386516"/>
              <a:gd name="connsiteX2459" fmla="*/ 4481290 w 6789110"/>
              <a:gd name="connsiteY2459" fmla="*/ 4207360 h 6386516"/>
              <a:gd name="connsiteX2460" fmla="*/ 4471666 w 6789110"/>
              <a:gd name="connsiteY2460" fmla="*/ 4186187 h 6386516"/>
              <a:gd name="connsiteX2461" fmla="*/ 4406224 w 6789110"/>
              <a:gd name="connsiteY2461" fmla="*/ 4114970 h 6386516"/>
              <a:gd name="connsiteX2462" fmla="*/ 4411998 w 6789110"/>
              <a:gd name="connsiteY2462" fmla="*/ 4138068 h 6386516"/>
              <a:gd name="connsiteX2463" fmla="*/ 4396600 w 6789110"/>
              <a:gd name="connsiteY2463" fmla="*/ 4105346 h 6386516"/>
              <a:gd name="connsiteX2464" fmla="*/ 4379276 w 6789110"/>
              <a:gd name="connsiteY2464" fmla="*/ 4086098 h 6386516"/>
              <a:gd name="connsiteX2465" fmla="*/ 1648003 w 6789110"/>
              <a:gd name="connsiteY2465" fmla="*/ 4068776 h 6386516"/>
              <a:gd name="connsiteX2466" fmla="*/ 1619131 w 6789110"/>
              <a:gd name="connsiteY2466" fmla="*/ 4074551 h 6386516"/>
              <a:gd name="connsiteX2467" fmla="*/ 1634529 w 6789110"/>
              <a:gd name="connsiteY2467" fmla="*/ 4082250 h 6386516"/>
              <a:gd name="connsiteX2468" fmla="*/ 1636454 w 6789110"/>
              <a:gd name="connsiteY2468" fmla="*/ 4078400 h 6386516"/>
              <a:gd name="connsiteX2469" fmla="*/ 1653777 w 6789110"/>
              <a:gd name="connsiteY2469" fmla="*/ 4091874 h 6386516"/>
              <a:gd name="connsiteX2470" fmla="*/ 1686499 w 6789110"/>
              <a:gd name="connsiteY2470" fmla="*/ 4107272 h 6386516"/>
              <a:gd name="connsiteX2471" fmla="*/ 1709596 w 6789110"/>
              <a:gd name="connsiteY2471" fmla="*/ 4097648 h 6386516"/>
              <a:gd name="connsiteX2472" fmla="*/ 1648003 w 6789110"/>
              <a:gd name="connsiteY2472" fmla="*/ 4068776 h 6386516"/>
              <a:gd name="connsiteX2473" fmla="*/ 1295767 w 6789110"/>
              <a:gd name="connsiteY2473" fmla="*/ 4066851 h 6386516"/>
              <a:gd name="connsiteX2474" fmla="*/ 1224550 w 6789110"/>
              <a:gd name="connsiteY2474" fmla="*/ 4134219 h 6386516"/>
              <a:gd name="connsiteX2475" fmla="*/ 881938 w 6789110"/>
              <a:gd name="connsiteY2475" fmla="*/ 4259330 h 6386516"/>
              <a:gd name="connsiteX2476" fmla="*/ 854991 w 6789110"/>
              <a:gd name="connsiteY2476" fmla="*/ 4278578 h 6386516"/>
              <a:gd name="connsiteX2477" fmla="*/ 1288068 w 6789110"/>
              <a:gd name="connsiteY2477" fmla="*/ 4105347 h 6386516"/>
              <a:gd name="connsiteX2478" fmla="*/ 1284218 w 6789110"/>
              <a:gd name="connsiteY2478" fmla="*/ 4080325 h 6386516"/>
              <a:gd name="connsiteX2479" fmla="*/ 1295767 w 6789110"/>
              <a:gd name="connsiteY2479" fmla="*/ 4066851 h 6386516"/>
              <a:gd name="connsiteX2480" fmla="*/ 4852775 w 6789110"/>
              <a:gd name="connsiteY2480" fmla="*/ 4064926 h 6386516"/>
              <a:gd name="connsiteX2481" fmla="*/ 4852775 w 6789110"/>
              <a:gd name="connsiteY2481" fmla="*/ 4072625 h 6386516"/>
              <a:gd name="connsiteX2482" fmla="*/ 4858550 w 6789110"/>
              <a:gd name="connsiteY2482" fmla="*/ 4078399 h 6386516"/>
              <a:gd name="connsiteX2483" fmla="*/ 4852775 w 6789110"/>
              <a:gd name="connsiteY2483" fmla="*/ 4064926 h 6386516"/>
              <a:gd name="connsiteX2484" fmla="*/ 2958783 w 6789110"/>
              <a:gd name="connsiteY2484" fmla="*/ 4043753 h 6386516"/>
              <a:gd name="connsiteX2485" fmla="*/ 2981883 w 6789110"/>
              <a:gd name="connsiteY2485" fmla="*/ 4130368 h 6386516"/>
              <a:gd name="connsiteX2486" fmla="*/ 2958783 w 6789110"/>
              <a:gd name="connsiteY2486" fmla="*/ 4043753 h 6386516"/>
              <a:gd name="connsiteX2487" fmla="*/ 1592184 w 6789110"/>
              <a:gd name="connsiteY2487" fmla="*/ 4039904 h 6386516"/>
              <a:gd name="connsiteX2488" fmla="*/ 1584485 w 6789110"/>
              <a:gd name="connsiteY2488" fmla="*/ 4055302 h 6386516"/>
              <a:gd name="connsiteX2489" fmla="*/ 1597959 w 6789110"/>
              <a:gd name="connsiteY2489" fmla="*/ 4063002 h 6386516"/>
              <a:gd name="connsiteX2490" fmla="*/ 1613357 w 6789110"/>
              <a:gd name="connsiteY2490" fmla="*/ 4049527 h 6386516"/>
              <a:gd name="connsiteX2491" fmla="*/ 1592184 w 6789110"/>
              <a:gd name="connsiteY2491" fmla="*/ 4039904 h 6386516"/>
              <a:gd name="connsiteX2492" fmla="*/ 1353511 w 6789110"/>
              <a:gd name="connsiteY2492" fmla="*/ 4020897 h 6386516"/>
              <a:gd name="connsiteX2493" fmla="*/ 1343887 w 6789110"/>
              <a:gd name="connsiteY2493" fmla="*/ 4022581 h 6386516"/>
              <a:gd name="connsiteX2494" fmla="*/ 1334263 w 6789110"/>
              <a:gd name="connsiteY2494" fmla="*/ 4030280 h 6386516"/>
              <a:gd name="connsiteX2495" fmla="*/ 1299616 w 6789110"/>
              <a:gd name="connsiteY2495" fmla="*/ 4095723 h 6386516"/>
              <a:gd name="connsiteX2496" fmla="*/ 1322714 w 6789110"/>
              <a:gd name="connsiteY2496" fmla="*/ 4078400 h 6386516"/>
              <a:gd name="connsiteX2497" fmla="*/ 1322714 w 6789110"/>
              <a:gd name="connsiteY2497" fmla="*/ 4113047 h 6386516"/>
              <a:gd name="connsiteX2498" fmla="*/ 983951 w 6789110"/>
              <a:gd name="connsiteY2498" fmla="*/ 4278578 h 6386516"/>
              <a:gd name="connsiteX2499" fmla="*/ 1318864 w 6789110"/>
              <a:gd name="connsiteY2499" fmla="*/ 4143843 h 6386516"/>
              <a:gd name="connsiteX2500" fmla="*/ 1355435 w 6789110"/>
              <a:gd name="connsiteY2500" fmla="*/ 4055302 h 6386516"/>
              <a:gd name="connsiteX2501" fmla="*/ 1363134 w 6789110"/>
              <a:gd name="connsiteY2501" fmla="*/ 4074551 h 6386516"/>
              <a:gd name="connsiteX2502" fmla="*/ 1380458 w 6789110"/>
              <a:gd name="connsiteY2502" fmla="*/ 4066851 h 6386516"/>
              <a:gd name="connsiteX2503" fmla="*/ 1363134 w 6789110"/>
              <a:gd name="connsiteY2503" fmla="*/ 4026430 h 6386516"/>
              <a:gd name="connsiteX2504" fmla="*/ 1353511 w 6789110"/>
              <a:gd name="connsiteY2504" fmla="*/ 4020897 h 6386516"/>
              <a:gd name="connsiteX2505" fmla="*/ 1490170 w 6789110"/>
              <a:gd name="connsiteY2505" fmla="*/ 4009107 h 6386516"/>
              <a:gd name="connsiteX2506" fmla="*/ 1495945 w 6789110"/>
              <a:gd name="connsiteY2506" fmla="*/ 4020656 h 6386516"/>
              <a:gd name="connsiteX2507" fmla="*/ 1536365 w 6789110"/>
              <a:gd name="connsiteY2507" fmla="*/ 4032204 h 6386516"/>
              <a:gd name="connsiteX2508" fmla="*/ 1544065 w 6789110"/>
              <a:gd name="connsiteY2508" fmla="*/ 4020656 h 6386516"/>
              <a:gd name="connsiteX2509" fmla="*/ 1528666 w 6789110"/>
              <a:gd name="connsiteY2509" fmla="*/ 4016806 h 6386516"/>
              <a:gd name="connsiteX2510" fmla="*/ 1515194 w 6789110"/>
              <a:gd name="connsiteY2510" fmla="*/ 4024505 h 6386516"/>
              <a:gd name="connsiteX2511" fmla="*/ 1507495 w 6789110"/>
              <a:gd name="connsiteY2511" fmla="*/ 4012957 h 6386516"/>
              <a:gd name="connsiteX2512" fmla="*/ 1490170 w 6789110"/>
              <a:gd name="connsiteY2512" fmla="*/ 4009107 h 6386516"/>
              <a:gd name="connsiteX2513" fmla="*/ 1330413 w 6789110"/>
              <a:gd name="connsiteY2513" fmla="*/ 3993709 h 6386516"/>
              <a:gd name="connsiteX2514" fmla="*/ 1320789 w 6789110"/>
              <a:gd name="connsiteY2514" fmla="*/ 4003333 h 6386516"/>
              <a:gd name="connsiteX2515" fmla="*/ 1338112 w 6789110"/>
              <a:gd name="connsiteY2515" fmla="*/ 3999483 h 6386516"/>
              <a:gd name="connsiteX2516" fmla="*/ 1330413 w 6789110"/>
              <a:gd name="connsiteY2516" fmla="*/ 3993709 h 6386516"/>
              <a:gd name="connsiteX2517" fmla="*/ 3882681 w 6789110"/>
              <a:gd name="connsiteY2517" fmla="*/ 3993708 h 6386516"/>
              <a:gd name="connsiteX2518" fmla="*/ 3767194 w 6789110"/>
              <a:gd name="connsiteY2518" fmla="*/ 4045678 h 6386516"/>
              <a:gd name="connsiteX2519" fmla="*/ 3882681 w 6789110"/>
              <a:gd name="connsiteY2519" fmla="*/ 3993708 h 6386516"/>
              <a:gd name="connsiteX2520" fmla="*/ 3876907 w 6789110"/>
              <a:gd name="connsiteY2520" fmla="*/ 3953288 h 6386516"/>
              <a:gd name="connsiteX2521" fmla="*/ 3672879 w 6789110"/>
              <a:gd name="connsiteY2521" fmla="*/ 4041828 h 6386516"/>
              <a:gd name="connsiteX2522" fmla="*/ 3876907 w 6789110"/>
              <a:gd name="connsiteY2522" fmla="*/ 3953288 h 6386516"/>
              <a:gd name="connsiteX2523" fmla="*/ 910809 w 6789110"/>
              <a:gd name="connsiteY2523" fmla="*/ 3951363 h 6386516"/>
              <a:gd name="connsiteX2524" fmla="*/ 699083 w 6789110"/>
              <a:gd name="connsiteY2524" fmla="*/ 4028355 h 6386516"/>
              <a:gd name="connsiteX2525" fmla="*/ 910809 w 6789110"/>
              <a:gd name="connsiteY2525" fmla="*/ 3951363 h 6386516"/>
              <a:gd name="connsiteX2526" fmla="*/ 4265714 w 6789110"/>
              <a:gd name="connsiteY2526" fmla="*/ 3949438 h 6386516"/>
              <a:gd name="connsiteX2527" fmla="*/ 4242617 w 6789110"/>
              <a:gd name="connsiteY2527" fmla="*/ 3991784 h 6386516"/>
              <a:gd name="connsiteX2528" fmla="*/ 4365803 w 6789110"/>
              <a:gd name="connsiteY2528" fmla="*/ 4122669 h 6386516"/>
              <a:gd name="connsiteX2529" fmla="*/ 4363878 w 6789110"/>
              <a:gd name="connsiteY2529" fmla="*/ 4116895 h 6386516"/>
              <a:gd name="connsiteX2530" fmla="*/ 4358104 w 6789110"/>
              <a:gd name="connsiteY2530" fmla="*/ 4061076 h 6386516"/>
              <a:gd name="connsiteX2531" fmla="*/ 4265714 w 6789110"/>
              <a:gd name="connsiteY2531" fmla="*/ 3949438 h 6386516"/>
              <a:gd name="connsiteX2532" fmla="*/ 4291218 w 6789110"/>
              <a:gd name="connsiteY2532" fmla="*/ 3916145 h 6386516"/>
              <a:gd name="connsiteX2533" fmla="*/ 4284962 w 6789110"/>
              <a:gd name="connsiteY2533" fmla="*/ 3920566 h 6386516"/>
              <a:gd name="connsiteX2534" fmla="*/ 4283037 w 6789110"/>
              <a:gd name="connsiteY2534" fmla="*/ 3922491 h 6386516"/>
              <a:gd name="connsiteX2535" fmla="*/ 4363878 w 6789110"/>
              <a:gd name="connsiteY2535" fmla="*/ 4005257 h 6386516"/>
              <a:gd name="connsiteX2536" fmla="*/ 4352329 w 6789110"/>
              <a:gd name="connsiteY2536" fmla="*/ 3974461 h 6386516"/>
              <a:gd name="connsiteX2537" fmla="*/ 4365803 w 6789110"/>
              <a:gd name="connsiteY2537" fmla="*/ 3986009 h 6386516"/>
              <a:gd name="connsiteX2538" fmla="*/ 4373502 w 6789110"/>
              <a:gd name="connsiteY2538" fmla="*/ 4016806 h 6386516"/>
              <a:gd name="connsiteX2539" fmla="*/ 4427396 w 6789110"/>
              <a:gd name="connsiteY2539" fmla="*/ 4070700 h 6386516"/>
              <a:gd name="connsiteX2540" fmla="*/ 4400449 w 6789110"/>
              <a:gd name="connsiteY2540" fmla="*/ 4003332 h 6386516"/>
              <a:gd name="connsiteX2541" fmla="*/ 4325382 w 6789110"/>
              <a:gd name="connsiteY2541" fmla="*/ 3928265 h 6386516"/>
              <a:gd name="connsiteX2542" fmla="*/ 4304210 w 6789110"/>
              <a:gd name="connsiteY2542" fmla="*/ 3932115 h 6386516"/>
              <a:gd name="connsiteX2543" fmla="*/ 4291218 w 6789110"/>
              <a:gd name="connsiteY2543" fmla="*/ 3916145 h 6386516"/>
              <a:gd name="connsiteX2544" fmla="*/ 1311165 w 6789110"/>
              <a:gd name="connsiteY2544" fmla="*/ 3914792 h 6386516"/>
              <a:gd name="connsiteX2545" fmla="*/ 1309240 w 6789110"/>
              <a:gd name="connsiteY2545" fmla="*/ 3928266 h 6386516"/>
              <a:gd name="connsiteX2546" fmla="*/ 991650 w 6789110"/>
              <a:gd name="connsiteY2546" fmla="*/ 4093799 h 6386516"/>
              <a:gd name="connsiteX2547" fmla="*/ 922358 w 6789110"/>
              <a:gd name="connsiteY2547" fmla="*/ 4101498 h 6386516"/>
              <a:gd name="connsiteX2548" fmla="*/ 795322 w 6789110"/>
              <a:gd name="connsiteY2548" fmla="*/ 4084175 h 6386516"/>
              <a:gd name="connsiteX2549" fmla="*/ 1299616 w 6789110"/>
              <a:gd name="connsiteY2549" fmla="*/ 3984085 h 6386516"/>
              <a:gd name="connsiteX2550" fmla="*/ 1301541 w 6789110"/>
              <a:gd name="connsiteY2550" fmla="*/ 3970611 h 6386516"/>
              <a:gd name="connsiteX2551" fmla="*/ 1305391 w 6789110"/>
              <a:gd name="connsiteY2551" fmla="*/ 3974461 h 6386516"/>
              <a:gd name="connsiteX2552" fmla="*/ 1316940 w 6789110"/>
              <a:gd name="connsiteY2552" fmla="*/ 3953288 h 6386516"/>
              <a:gd name="connsiteX2553" fmla="*/ 1311165 w 6789110"/>
              <a:gd name="connsiteY2553" fmla="*/ 3914792 h 6386516"/>
              <a:gd name="connsiteX2554" fmla="*/ 3880757 w 6789110"/>
              <a:gd name="connsiteY2554" fmla="*/ 3907093 h 6386516"/>
              <a:gd name="connsiteX2555" fmla="*/ 3561242 w 6789110"/>
              <a:gd name="connsiteY2555" fmla="*/ 4041828 h 6386516"/>
              <a:gd name="connsiteX2556" fmla="*/ 3880757 w 6789110"/>
              <a:gd name="connsiteY2556" fmla="*/ 3907093 h 6386516"/>
              <a:gd name="connsiteX2557" fmla="*/ 1372758 w 6789110"/>
              <a:gd name="connsiteY2557" fmla="*/ 3895544 h 6386516"/>
              <a:gd name="connsiteX2558" fmla="*/ 1357360 w 6789110"/>
              <a:gd name="connsiteY2558" fmla="*/ 3916717 h 6386516"/>
              <a:gd name="connsiteX2559" fmla="*/ 1374683 w 6789110"/>
              <a:gd name="connsiteY2559" fmla="*/ 3910943 h 6386516"/>
              <a:gd name="connsiteX2560" fmla="*/ 1372758 w 6789110"/>
              <a:gd name="connsiteY2560" fmla="*/ 3895544 h 6386516"/>
              <a:gd name="connsiteX2561" fmla="*/ 1272671 w 6789110"/>
              <a:gd name="connsiteY2561" fmla="*/ 3889771 h 6386516"/>
              <a:gd name="connsiteX2562" fmla="*/ 1259196 w 6789110"/>
              <a:gd name="connsiteY2562" fmla="*/ 3912868 h 6386516"/>
              <a:gd name="connsiteX2563" fmla="*/ 1272671 w 6789110"/>
              <a:gd name="connsiteY2563" fmla="*/ 3889771 h 6386516"/>
              <a:gd name="connsiteX2564" fmla="*/ 3676729 w 6789110"/>
              <a:gd name="connsiteY2564" fmla="*/ 3876296 h 6386516"/>
              <a:gd name="connsiteX2565" fmla="*/ 3507348 w 6789110"/>
              <a:gd name="connsiteY2565" fmla="*/ 3937889 h 6386516"/>
              <a:gd name="connsiteX2566" fmla="*/ 3676729 w 6789110"/>
              <a:gd name="connsiteY2566" fmla="*/ 3876296 h 6386516"/>
              <a:gd name="connsiteX2567" fmla="*/ 1203377 w 6789110"/>
              <a:gd name="connsiteY2567" fmla="*/ 3874372 h 6386516"/>
              <a:gd name="connsiteX2568" fmla="*/ 1189904 w 6789110"/>
              <a:gd name="connsiteY2568" fmla="*/ 3876297 h 6386516"/>
              <a:gd name="connsiteX2569" fmla="*/ 1118686 w 6789110"/>
              <a:gd name="connsiteY2569" fmla="*/ 3962912 h 6386516"/>
              <a:gd name="connsiteX2570" fmla="*/ 1203377 w 6789110"/>
              <a:gd name="connsiteY2570" fmla="*/ 3874372 h 6386516"/>
              <a:gd name="connsiteX2571" fmla="*/ 3751796 w 6789110"/>
              <a:gd name="connsiteY2571" fmla="*/ 3866672 h 6386516"/>
              <a:gd name="connsiteX2572" fmla="*/ 3599737 w 6789110"/>
              <a:gd name="connsiteY2572" fmla="*/ 3949438 h 6386516"/>
              <a:gd name="connsiteX2573" fmla="*/ 3751796 w 6789110"/>
              <a:gd name="connsiteY2573" fmla="*/ 3866672 h 6386516"/>
              <a:gd name="connsiteX2574" fmla="*/ 3809539 w 6789110"/>
              <a:gd name="connsiteY2574" fmla="*/ 3857048 h 6386516"/>
              <a:gd name="connsiteX2575" fmla="*/ 3490025 w 6789110"/>
              <a:gd name="connsiteY2575" fmla="*/ 4014881 h 6386516"/>
              <a:gd name="connsiteX2576" fmla="*/ 3809539 w 6789110"/>
              <a:gd name="connsiteY2576" fmla="*/ 3857048 h 6386516"/>
              <a:gd name="connsiteX2577" fmla="*/ 3624760 w 6789110"/>
              <a:gd name="connsiteY2577" fmla="*/ 3855123 h 6386516"/>
              <a:gd name="connsiteX2578" fmla="*/ 3441905 w 6789110"/>
              <a:gd name="connsiteY2578" fmla="*/ 3922491 h 6386516"/>
              <a:gd name="connsiteX2579" fmla="*/ 3624760 w 6789110"/>
              <a:gd name="connsiteY2579" fmla="*/ 3855123 h 6386516"/>
              <a:gd name="connsiteX2580" fmla="*/ 4323458 w 6789110"/>
              <a:gd name="connsiteY2580" fmla="*/ 3847424 h 6386516"/>
              <a:gd name="connsiteX2581" fmla="*/ 4335006 w 6789110"/>
              <a:gd name="connsiteY2581" fmla="*/ 3903243 h 6386516"/>
              <a:gd name="connsiteX2582" fmla="*/ 4377352 w 6789110"/>
              <a:gd name="connsiteY2582" fmla="*/ 3943664 h 6386516"/>
              <a:gd name="connsiteX2583" fmla="*/ 4354254 w 6789110"/>
              <a:gd name="connsiteY2583" fmla="*/ 3876296 h 6386516"/>
              <a:gd name="connsiteX2584" fmla="*/ 4323458 w 6789110"/>
              <a:gd name="connsiteY2584" fmla="*/ 3847424 h 6386516"/>
              <a:gd name="connsiteX2585" fmla="*/ 3553543 w 6789110"/>
              <a:gd name="connsiteY2585" fmla="*/ 3843575 h 6386516"/>
              <a:gd name="connsiteX2586" fmla="*/ 3476551 w 6789110"/>
              <a:gd name="connsiteY2586" fmla="*/ 3878221 h 6386516"/>
              <a:gd name="connsiteX2587" fmla="*/ 3553543 w 6789110"/>
              <a:gd name="connsiteY2587" fmla="*/ 3843575 h 6386516"/>
              <a:gd name="connsiteX2588" fmla="*/ 2956858 w 6789110"/>
              <a:gd name="connsiteY2588" fmla="*/ 3801230 h 6386516"/>
              <a:gd name="connsiteX2589" fmla="*/ 3122390 w 6789110"/>
              <a:gd name="connsiteY2589" fmla="*/ 4143842 h 6386516"/>
              <a:gd name="connsiteX2590" fmla="*/ 3139714 w 6789110"/>
              <a:gd name="connsiteY2590" fmla="*/ 4184263 h 6386516"/>
              <a:gd name="connsiteX2591" fmla="*/ 2956858 w 6789110"/>
              <a:gd name="connsiteY2591" fmla="*/ 3801230 h 6386516"/>
              <a:gd name="connsiteX2592" fmla="*/ 1008974 w 6789110"/>
              <a:gd name="connsiteY2592" fmla="*/ 3785832 h 6386516"/>
              <a:gd name="connsiteX2593" fmla="*/ 853066 w 6789110"/>
              <a:gd name="connsiteY2593" fmla="*/ 3928266 h 6386516"/>
              <a:gd name="connsiteX2594" fmla="*/ 660587 w 6789110"/>
              <a:gd name="connsiteY2594" fmla="*/ 4014881 h 6386516"/>
              <a:gd name="connsiteX2595" fmla="*/ 729879 w 6789110"/>
              <a:gd name="connsiteY2595" fmla="*/ 3959062 h 6386516"/>
              <a:gd name="connsiteX2596" fmla="*/ 931982 w 6789110"/>
              <a:gd name="connsiteY2596" fmla="*/ 3901319 h 6386516"/>
              <a:gd name="connsiteX2597" fmla="*/ 1008974 w 6789110"/>
              <a:gd name="connsiteY2597" fmla="*/ 3785832 h 6386516"/>
              <a:gd name="connsiteX2598" fmla="*/ 2899145 w 6789110"/>
              <a:gd name="connsiteY2598" fmla="*/ 3755967 h 6386516"/>
              <a:gd name="connsiteX2599" fmla="*/ 2908739 w 6789110"/>
              <a:gd name="connsiteY2599" fmla="*/ 3758884 h 6386516"/>
              <a:gd name="connsiteX2600" fmla="*/ 2912588 w 6789110"/>
              <a:gd name="connsiteY2600" fmla="*/ 3768508 h 6386516"/>
              <a:gd name="connsiteX2601" fmla="*/ 2916438 w 6789110"/>
              <a:gd name="connsiteY2601" fmla="*/ 3776208 h 6386516"/>
              <a:gd name="connsiteX2602" fmla="*/ 2920287 w 6789110"/>
              <a:gd name="connsiteY2602" fmla="*/ 3781983 h 6386516"/>
              <a:gd name="connsiteX2603" fmla="*/ 2901039 w 6789110"/>
              <a:gd name="connsiteY2603" fmla="*/ 3778133 h 6386516"/>
              <a:gd name="connsiteX2604" fmla="*/ 2908739 w 6789110"/>
              <a:gd name="connsiteY2604" fmla="*/ 3789682 h 6386516"/>
              <a:gd name="connsiteX2605" fmla="*/ 2906814 w 6789110"/>
              <a:gd name="connsiteY2605" fmla="*/ 3805080 h 6386516"/>
              <a:gd name="connsiteX2606" fmla="*/ 2877942 w 6789110"/>
              <a:gd name="connsiteY2606" fmla="*/ 3812779 h 6386516"/>
              <a:gd name="connsiteX2607" fmla="*/ 2841371 w 6789110"/>
              <a:gd name="connsiteY2607" fmla="*/ 3808930 h 6386516"/>
              <a:gd name="connsiteX2608" fmla="*/ 2829822 w 6789110"/>
              <a:gd name="connsiteY2608" fmla="*/ 3801231 h 6386516"/>
              <a:gd name="connsiteX2609" fmla="*/ 2822123 w 6789110"/>
              <a:gd name="connsiteY2609" fmla="*/ 3793531 h 6386516"/>
              <a:gd name="connsiteX2610" fmla="*/ 2816349 w 6789110"/>
              <a:gd name="connsiteY2610" fmla="*/ 3789682 h 6386516"/>
              <a:gd name="connsiteX2611" fmla="*/ 2822123 w 6789110"/>
              <a:gd name="connsiteY2611" fmla="*/ 3785832 h 6386516"/>
              <a:gd name="connsiteX2612" fmla="*/ 2824048 w 6789110"/>
              <a:gd name="connsiteY2612" fmla="*/ 3781983 h 6386516"/>
              <a:gd name="connsiteX2613" fmla="*/ 2852920 w 6789110"/>
              <a:gd name="connsiteY2613" fmla="*/ 3774283 h 6386516"/>
              <a:gd name="connsiteX2614" fmla="*/ 2883716 w 6789110"/>
              <a:gd name="connsiteY2614" fmla="*/ 3780058 h 6386516"/>
              <a:gd name="connsiteX2615" fmla="*/ 2899145 w 6789110"/>
              <a:gd name="connsiteY2615" fmla="*/ 3755967 h 6386516"/>
              <a:gd name="connsiteX2616" fmla="*/ 1828934 w 6789110"/>
              <a:gd name="connsiteY2616" fmla="*/ 3751185 h 6386516"/>
              <a:gd name="connsiteX2617" fmla="*/ 1836633 w 6789110"/>
              <a:gd name="connsiteY2617" fmla="*/ 3795456 h 6386516"/>
              <a:gd name="connsiteX2618" fmla="*/ 1811610 w 6789110"/>
              <a:gd name="connsiteY2618" fmla="*/ 3789682 h 6386516"/>
              <a:gd name="connsiteX2619" fmla="*/ 1828934 w 6789110"/>
              <a:gd name="connsiteY2619" fmla="*/ 3751185 h 6386516"/>
              <a:gd name="connsiteX2620" fmla="*/ 1773115 w 6789110"/>
              <a:gd name="connsiteY2620" fmla="*/ 3741561 h 6386516"/>
              <a:gd name="connsiteX2621" fmla="*/ 1734618 w 6789110"/>
              <a:gd name="connsiteY2621" fmla="*/ 3812778 h 6386516"/>
              <a:gd name="connsiteX2622" fmla="*/ 1750016 w 6789110"/>
              <a:gd name="connsiteY2622" fmla="*/ 3755034 h 6386516"/>
              <a:gd name="connsiteX2623" fmla="*/ 1773115 w 6789110"/>
              <a:gd name="connsiteY2623" fmla="*/ 3741561 h 6386516"/>
              <a:gd name="connsiteX2624" fmla="*/ 2764411 w 6789110"/>
              <a:gd name="connsiteY2624" fmla="*/ 3732869 h 6386516"/>
              <a:gd name="connsiteX2625" fmla="*/ 2774004 w 6789110"/>
              <a:gd name="connsiteY2625" fmla="*/ 3735786 h 6386516"/>
              <a:gd name="connsiteX2626" fmla="*/ 2777853 w 6789110"/>
              <a:gd name="connsiteY2626" fmla="*/ 3745410 h 6386516"/>
              <a:gd name="connsiteX2627" fmla="*/ 2781703 w 6789110"/>
              <a:gd name="connsiteY2627" fmla="*/ 3753110 h 6386516"/>
              <a:gd name="connsiteX2628" fmla="*/ 2785552 w 6789110"/>
              <a:gd name="connsiteY2628" fmla="*/ 3758884 h 6386516"/>
              <a:gd name="connsiteX2629" fmla="*/ 2766304 w 6789110"/>
              <a:gd name="connsiteY2629" fmla="*/ 3755035 h 6386516"/>
              <a:gd name="connsiteX2630" fmla="*/ 2774004 w 6789110"/>
              <a:gd name="connsiteY2630" fmla="*/ 3766584 h 6386516"/>
              <a:gd name="connsiteX2631" fmla="*/ 2772079 w 6789110"/>
              <a:gd name="connsiteY2631" fmla="*/ 3781982 h 6386516"/>
              <a:gd name="connsiteX2632" fmla="*/ 2743207 w 6789110"/>
              <a:gd name="connsiteY2632" fmla="*/ 3789681 h 6386516"/>
              <a:gd name="connsiteX2633" fmla="*/ 2706636 w 6789110"/>
              <a:gd name="connsiteY2633" fmla="*/ 3785832 h 6386516"/>
              <a:gd name="connsiteX2634" fmla="*/ 2695087 w 6789110"/>
              <a:gd name="connsiteY2634" fmla="*/ 3778132 h 6386516"/>
              <a:gd name="connsiteX2635" fmla="*/ 2687389 w 6789110"/>
              <a:gd name="connsiteY2635" fmla="*/ 3770433 h 6386516"/>
              <a:gd name="connsiteX2636" fmla="*/ 2681615 w 6789110"/>
              <a:gd name="connsiteY2636" fmla="*/ 3766584 h 6386516"/>
              <a:gd name="connsiteX2637" fmla="*/ 2687389 w 6789110"/>
              <a:gd name="connsiteY2637" fmla="*/ 3762734 h 6386516"/>
              <a:gd name="connsiteX2638" fmla="*/ 2689313 w 6789110"/>
              <a:gd name="connsiteY2638" fmla="*/ 3758884 h 6386516"/>
              <a:gd name="connsiteX2639" fmla="*/ 2718185 w 6789110"/>
              <a:gd name="connsiteY2639" fmla="*/ 3751185 h 6386516"/>
              <a:gd name="connsiteX2640" fmla="*/ 2748981 w 6789110"/>
              <a:gd name="connsiteY2640" fmla="*/ 3756960 h 6386516"/>
              <a:gd name="connsiteX2641" fmla="*/ 2764411 w 6789110"/>
              <a:gd name="connsiteY2641" fmla="*/ 3732869 h 6386516"/>
              <a:gd name="connsiteX2642" fmla="*/ 1803910 w 6789110"/>
              <a:gd name="connsiteY2642" fmla="*/ 3703065 h 6386516"/>
              <a:gd name="connsiteX2643" fmla="*/ 1805835 w 6789110"/>
              <a:gd name="connsiteY2643" fmla="*/ 3718463 h 6386516"/>
              <a:gd name="connsiteX2644" fmla="*/ 1821234 w 6789110"/>
              <a:gd name="connsiteY2644" fmla="*/ 3714614 h 6386516"/>
              <a:gd name="connsiteX2645" fmla="*/ 1790437 w 6789110"/>
              <a:gd name="connsiteY2645" fmla="*/ 3772357 h 6386516"/>
              <a:gd name="connsiteX2646" fmla="*/ 1803910 w 6789110"/>
              <a:gd name="connsiteY2646" fmla="*/ 3703065 h 6386516"/>
              <a:gd name="connsiteX2647" fmla="*/ 3611286 w 6789110"/>
              <a:gd name="connsiteY2647" fmla="*/ 3701140 h 6386516"/>
              <a:gd name="connsiteX2648" fmla="*/ 3430356 w 6789110"/>
              <a:gd name="connsiteY2648" fmla="*/ 3872447 h 6386516"/>
              <a:gd name="connsiteX2649" fmla="*/ 3611286 w 6789110"/>
              <a:gd name="connsiteY2649" fmla="*/ 3701140 h 6386516"/>
              <a:gd name="connsiteX2650" fmla="*/ 1657627 w 6789110"/>
              <a:gd name="connsiteY2650" fmla="*/ 3695366 h 6386516"/>
              <a:gd name="connsiteX2651" fmla="*/ 1678800 w 6789110"/>
              <a:gd name="connsiteY2651" fmla="*/ 3712690 h 6386516"/>
              <a:gd name="connsiteX2652" fmla="*/ 1653777 w 6789110"/>
              <a:gd name="connsiteY2652" fmla="*/ 3735787 h 6386516"/>
              <a:gd name="connsiteX2653" fmla="*/ 1632604 w 6789110"/>
              <a:gd name="connsiteY2653" fmla="*/ 3731938 h 6386516"/>
              <a:gd name="connsiteX2654" fmla="*/ 1657627 w 6789110"/>
              <a:gd name="connsiteY2654" fmla="*/ 3695366 h 6386516"/>
              <a:gd name="connsiteX2655" fmla="*/ 2883746 w 6789110"/>
              <a:gd name="connsiteY2655" fmla="*/ 3692449 h 6386516"/>
              <a:gd name="connsiteX2656" fmla="*/ 2893341 w 6789110"/>
              <a:gd name="connsiteY2656" fmla="*/ 3695366 h 6386516"/>
              <a:gd name="connsiteX2657" fmla="*/ 2897189 w 6789110"/>
              <a:gd name="connsiteY2657" fmla="*/ 3704990 h 6386516"/>
              <a:gd name="connsiteX2658" fmla="*/ 2901039 w 6789110"/>
              <a:gd name="connsiteY2658" fmla="*/ 3712690 h 6386516"/>
              <a:gd name="connsiteX2659" fmla="*/ 2904889 w 6789110"/>
              <a:gd name="connsiteY2659" fmla="*/ 3718465 h 6386516"/>
              <a:gd name="connsiteX2660" fmla="*/ 2885641 w 6789110"/>
              <a:gd name="connsiteY2660" fmla="*/ 3714615 h 6386516"/>
              <a:gd name="connsiteX2661" fmla="*/ 2893341 w 6789110"/>
              <a:gd name="connsiteY2661" fmla="*/ 3726164 h 6386516"/>
              <a:gd name="connsiteX2662" fmla="*/ 2891415 w 6789110"/>
              <a:gd name="connsiteY2662" fmla="*/ 3741562 h 6386516"/>
              <a:gd name="connsiteX2663" fmla="*/ 2862544 w 6789110"/>
              <a:gd name="connsiteY2663" fmla="*/ 3749261 h 6386516"/>
              <a:gd name="connsiteX2664" fmla="*/ 2825972 w 6789110"/>
              <a:gd name="connsiteY2664" fmla="*/ 3745411 h 6386516"/>
              <a:gd name="connsiteX2665" fmla="*/ 2814423 w 6789110"/>
              <a:gd name="connsiteY2665" fmla="*/ 3737712 h 6386516"/>
              <a:gd name="connsiteX2666" fmla="*/ 2806724 w 6789110"/>
              <a:gd name="connsiteY2666" fmla="*/ 3730013 h 6386516"/>
              <a:gd name="connsiteX2667" fmla="*/ 2800950 w 6789110"/>
              <a:gd name="connsiteY2667" fmla="*/ 3726164 h 6386516"/>
              <a:gd name="connsiteX2668" fmla="*/ 2806724 w 6789110"/>
              <a:gd name="connsiteY2668" fmla="*/ 3722314 h 6386516"/>
              <a:gd name="connsiteX2669" fmla="*/ 2808649 w 6789110"/>
              <a:gd name="connsiteY2669" fmla="*/ 3718465 h 6386516"/>
              <a:gd name="connsiteX2670" fmla="*/ 2837521 w 6789110"/>
              <a:gd name="connsiteY2670" fmla="*/ 3710765 h 6386516"/>
              <a:gd name="connsiteX2671" fmla="*/ 2868318 w 6789110"/>
              <a:gd name="connsiteY2671" fmla="*/ 3716540 h 6386516"/>
              <a:gd name="connsiteX2672" fmla="*/ 2883746 w 6789110"/>
              <a:gd name="connsiteY2672" fmla="*/ 3692449 h 6386516"/>
              <a:gd name="connsiteX2673" fmla="*/ 1622981 w 6789110"/>
              <a:gd name="connsiteY2673" fmla="*/ 3679968 h 6386516"/>
              <a:gd name="connsiteX2674" fmla="*/ 1642230 w 6789110"/>
              <a:gd name="connsiteY2674" fmla="*/ 3689592 h 6386516"/>
              <a:gd name="connsiteX2675" fmla="*/ 1603733 w 6789110"/>
              <a:gd name="connsiteY2675" fmla="*/ 3728089 h 6386516"/>
              <a:gd name="connsiteX2676" fmla="*/ 1622981 w 6789110"/>
              <a:gd name="connsiteY2676" fmla="*/ 3679968 h 6386516"/>
              <a:gd name="connsiteX2677" fmla="*/ 1776964 w 6789110"/>
              <a:gd name="connsiteY2677" fmla="*/ 3676118 h 6386516"/>
              <a:gd name="connsiteX2678" fmla="*/ 1788514 w 6789110"/>
              <a:gd name="connsiteY2678" fmla="*/ 3706915 h 6386516"/>
              <a:gd name="connsiteX2679" fmla="*/ 1784663 w 6789110"/>
              <a:gd name="connsiteY2679" fmla="*/ 3714615 h 6386516"/>
              <a:gd name="connsiteX2680" fmla="*/ 1773114 w 6789110"/>
              <a:gd name="connsiteY2680" fmla="*/ 3685743 h 6386516"/>
              <a:gd name="connsiteX2681" fmla="*/ 1776964 w 6789110"/>
              <a:gd name="connsiteY2681" fmla="*/ 3676118 h 6386516"/>
              <a:gd name="connsiteX2682" fmla="*/ 2691237 w 6789110"/>
              <a:gd name="connsiteY2682" fmla="*/ 3668419 h 6386516"/>
              <a:gd name="connsiteX2683" fmla="*/ 2697012 w 6789110"/>
              <a:gd name="connsiteY2683" fmla="*/ 3678043 h 6386516"/>
              <a:gd name="connsiteX2684" fmla="*/ 2702786 w 6789110"/>
              <a:gd name="connsiteY2684" fmla="*/ 3683817 h 6386516"/>
              <a:gd name="connsiteX2685" fmla="*/ 2708560 w 6789110"/>
              <a:gd name="connsiteY2685" fmla="*/ 3687667 h 6386516"/>
              <a:gd name="connsiteX2686" fmla="*/ 2689313 w 6789110"/>
              <a:gd name="connsiteY2686" fmla="*/ 3689591 h 6386516"/>
              <a:gd name="connsiteX2687" fmla="*/ 2700862 w 6789110"/>
              <a:gd name="connsiteY2687" fmla="*/ 3697291 h 6386516"/>
              <a:gd name="connsiteX2688" fmla="*/ 2704711 w 6789110"/>
              <a:gd name="connsiteY2688" fmla="*/ 3712689 h 6386516"/>
              <a:gd name="connsiteX2689" fmla="*/ 2679689 w 6789110"/>
              <a:gd name="connsiteY2689" fmla="*/ 3728087 h 6386516"/>
              <a:gd name="connsiteX2690" fmla="*/ 2643118 w 6789110"/>
              <a:gd name="connsiteY2690" fmla="*/ 3735786 h 6386516"/>
              <a:gd name="connsiteX2691" fmla="*/ 2629644 w 6789110"/>
              <a:gd name="connsiteY2691" fmla="*/ 3731937 h 6386516"/>
              <a:gd name="connsiteX2692" fmla="*/ 2620020 w 6789110"/>
              <a:gd name="connsiteY2692" fmla="*/ 3726162 h 6386516"/>
              <a:gd name="connsiteX2693" fmla="*/ 2614246 w 6789110"/>
              <a:gd name="connsiteY2693" fmla="*/ 3724238 h 6386516"/>
              <a:gd name="connsiteX2694" fmla="*/ 2618095 w 6789110"/>
              <a:gd name="connsiteY2694" fmla="*/ 3720388 h 6386516"/>
              <a:gd name="connsiteX2695" fmla="*/ 2618095 w 6789110"/>
              <a:gd name="connsiteY2695" fmla="*/ 3716538 h 6386516"/>
              <a:gd name="connsiteX2696" fmla="*/ 2643118 w 6789110"/>
              <a:gd name="connsiteY2696" fmla="*/ 3699215 h 6386516"/>
              <a:gd name="connsiteX2697" fmla="*/ 2673914 w 6789110"/>
              <a:gd name="connsiteY2697" fmla="*/ 3695366 h 6386516"/>
              <a:gd name="connsiteX2698" fmla="*/ 2691237 w 6789110"/>
              <a:gd name="connsiteY2698" fmla="*/ 3668419 h 6386516"/>
              <a:gd name="connsiteX2699" fmla="*/ 3576640 w 6789110"/>
              <a:gd name="connsiteY2699" fmla="*/ 3664570 h 6386516"/>
              <a:gd name="connsiteX2700" fmla="*/ 3478476 w 6789110"/>
              <a:gd name="connsiteY2700" fmla="*/ 3793530 h 6386516"/>
              <a:gd name="connsiteX2701" fmla="*/ 3576640 w 6789110"/>
              <a:gd name="connsiteY2701" fmla="*/ 3664570 h 6386516"/>
              <a:gd name="connsiteX2702" fmla="*/ 3530445 w 6789110"/>
              <a:gd name="connsiteY2702" fmla="*/ 3662645 h 6386516"/>
              <a:gd name="connsiteX2703" fmla="*/ 3428431 w 6789110"/>
              <a:gd name="connsiteY2703" fmla="*/ 3851274 h 6386516"/>
              <a:gd name="connsiteX2704" fmla="*/ 3530445 w 6789110"/>
              <a:gd name="connsiteY2704" fmla="*/ 3662645 h 6386516"/>
              <a:gd name="connsiteX2705" fmla="*/ 1705176 w 6789110"/>
              <a:gd name="connsiteY2705" fmla="*/ 3659607 h 6386516"/>
              <a:gd name="connsiteX2706" fmla="*/ 1715372 w 6789110"/>
              <a:gd name="connsiteY2706" fmla="*/ 3660720 h 6386516"/>
              <a:gd name="connsiteX2707" fmla="*/ 1709596 w 6789110"/>
              <a:gd name="connsiteY2707" fmla="*/ 3689592 h 6386516"/>
              <a:gd name="connsiteX2708" fmla="*/ 1686499 w 6789110"/>
              <a:gd name="connsiteY2708" fmla="*/ 3676119 h 6386516"/>
              <a:gd name="connsiteX2709" fmla="*/ 1705176 w 6789110"/>
              <a:gd name="connsiteY2709" fmla="*/ 3659607 h 6386516"/>
              <a:gd name="connsiteX2710" fmla="*/ 2197981 w 6789110"/>
              <a:gd name="connsiteY2710" fmla="*/ 3657863 h 6386516"/>
              <a:gd name="connsiteX2711" fmla="*/ 2244688 w 6789110"/>
              <a:gd name="connsiteY2711" fmla="*/ 3706915 h 6386516"/>
              <a:gd name="connsiteX2712" fmla="*/ 2113801 w 6789110"/>
              <a:gd name="connsiteY2712" fmla="*/ 3807005 h 6386516"/>
              <a:gd name="connsiteX2713" fmla="*/ 2197981 w 6789110"/>
              <a:gd name="connsiteY2713" fmla="*/ 3657863 h 6386516"/>
              <a:gd name="connsiteX2714" fmla="*/ 2096479 w 6789110"/>
              <a:gd name="connsiteY2714" fmla="*/ 3649171 h 6386516"/>
              <a:gd name="connsiteX2715" fmla="*/ 2083004 w 6789110"/>
              <a:gd name="connsiteY2715" fmla="*/ 3662645 h 6386516"/>
              <a:gd name="connsiteX2716" fmla="*/ 2067606 w 6789110"/>
              <a:gd name="connsiteY2716" fmla="*/ 3693442 h 6386516"/>
              <a:gd name="connsiteX2717" fmla="*/ 2084929 w 6789110"/>
              <a:gd name="connsiteY2717" fmla="*/ 3654945 h 6386516"/>
              <a:gd name="connsiteX2718" fmla="*/ 2096479 w 6789110"/>
              <a:gd name="connsiteY2718" fmla="*/ 3649171 h 6386516"/>
              <a:gd name="connsiteX2719" fmla="*/ 1973291 w 6789110"/>
              <a:gd name="connsiteY2719" fmla="*/ 3637624 h 6386516"/>
              <a:gd name="connsiteX2720" fmla="*/ 1971367 w 6789110"/>
              <a:gd name="connsiteY2720" fmla="*/ 3645323 h 6386516"/>
              <a:gd name="connsiteX2721" fmla="*/ 2000239 w 6789110"/>
              <a:gd name="connsiteY2721" fmla="*/ 3645323 h 6386516"/>
              <a:gd name="connsiteX2722" fmla="*/ 1965592 w 6789110"/>
              <a:gd name="connsiteY2722" fmla="*/ 3660721 h 6386516"/>
              <a:gd name="connsiteX2723" fmla="*/ 1959818 w 6789110"/>
              <a:gd name="connsiteY2723" fmla="*/ 3651097 h 6386516"/>
              <a:gd name="connsiteX2724" fmla="*/ 1973291 w 6789110"/>
              <a:gd name="connsiteY2724" fmla="*/ 3637624 h 6386516"/>
              <a:gd name="connsiteX2725" fmla="*/ 1915548 w 6789110"/>
              <a:gd name="connsiteY2725" fmla="*/ 3637623 h 6386516"/>
              <a:gd name="connsiteX2726" fmla="*/ 1846256 w 6789110"/>
              <a:gd name="connsiteY2726" fmla="*/ 3718464 h 6386516"/>
              <a:gd name="connsiteX2727" fmla="*/ 1834707 w 6789110"/>
              <a:gd name="connsiteY2727" fmla="*/ 3724238 h 6386516"/>
              <a:gd name="connsiteX2728" fmla="*/ 1861654 w 6789110"/>
              <a:gd name="connsiteY2728" fmla="*/ 3678043 h 6386516"/>
              <a:gd name="connsiteX2729" fmla="*/ 1865503 w 6789110"/>
              <a:gd name="connsiteY2729" fmla="*/ 3681893 h 6386516"/>
              <a:gd name="connsiteX2730" fmla="*/ 1915548 w 6789110"/>
              <a:gd name="connsiteY2730" fmla="*/ 3637623 h 6386516"/>
              <a:gd name="connsiteX2731" fmla="*/ 3490025 w 6789110"/>
              <a:gd name="connsiteY2731" fmla="*/ 3627999 h 6386516"/>
              <a:gd name="connsiteX2732" fmla="*/ 3418808 w 6789110"/>
              <a:gd name="connsiteY2732" fmla="*/ 3710764 h 6386516"/>
              <a:gd name="connsiteX2733" fmla="*/ 3374538 w 6789110"/>
              <a:gd name="connsiteY2733" fmla="*/ 3833951 h 6386516"/>
              <a:gd name="connsiteX2734" fmla="*/ 3297546 w 6789110"/>
              <a:gd name="connsiteY2734" fmla="*/ 3756959 h 6386516"/>
              <a:gd name="connsiteX2735" fmla="*/ 3366838 w 6789110"/>
              <a:gd name="connsiteY2735" fmla="*/ 3853199 h 6386516"/>
              <a:gd name="connsiteX2736" fmla="*/ 3434206 w 6789110"/>
              <a:gd name="connsiteY2736" fmla="*/ 3722313 h 6386516"/>
              <a:gd name="connsiteX2737" fmla="*/ 3490025 w 6789110"/>
              <a:gd name="connsiteY2737" fmla="*/ 3627999 h 6386516"/>
              <a:gd name="connsiteX2738" fmla="*/ 1694199 w 6789110"/>
              <a:gd name="connsiteY2738" fmla="*/ 3626074 h 6386516"/>
              <a:gd name="connsiteX2739" fmla="*/ 1667251 w 6789110"/>
              <a:gd name="connsiteY2739" fmla="*/ 3672270 h 6386516"/>
              <a:gd name="connsiteX2740" fmla="*/ 1648003 w 6789110"/>
              <a:gd name="connsiteY2740" fmla="*/ 3658796 h 6386516"/>
              <a:gd name="connsiteX2741" fmla="*/ 1694199 w 6789110"/>
              <a:gd name="connsiteY2741" fmla="*/ 3626074 h 6386516"/>
              <a:gd name="connsiteX2742" fmla="*/ 1798136 w 6789110"/>
              <a:gd name="connsiteY2742" fmla="*/ 3602976 h 6386516"/>
              <a:gd name="connsiteX2743" fmla="*/ 1805835 w 6789110"/>
              <a:gd name="connsiteY2743" fmla="*/ 3604901 h 6386516"/>
              <a:gd name="connsiteX2744" fmla="*/ 1711520 w 6789110"/>
              <a:gd name="connsiteY2744" fmla="*/ 3799305 h 6386516"/>
              <a:gd name="connsiteX2745" fmla="*/ 1669175 w 6789110"/>
              <a:gd name="connsiteY2745" fmla="*/ 3741562 h 6386516"/>
              <a:gd name="connsiteX2746" fmla="*/ 1684573 w 6789110"/>
              <a:gd name="connsiteY2746" fmla="*/ 3710765 h 6386516"/>
              <a:gd name="connsiteX2747" fmla="*/ 1713445 w 6789110"/>
              <a:gd name="connsiteY2747" fmla="*/ 3712690 h 6386516"/>
              <a:gd name="connsiteX2748" fmla="*/ 1699971 w 6789110"/>
              <a:gd name="connsiteY2748" fmla="*/ 3774283 h 6386516"/>
              <a:gd name="connsiteX2749" fmla="*/ 1798136 w 6789110"/>
              <a:gd name="connsiteY2749" fmla="*/ 3602976 h 6386516"/>
              <a:gd name="connsiteX2750" fmla="*/ 1892452 w 6789110"/>
              <a:gd name="connsiteY2750" fmla="*/ 3601052 h 6386516"/>
              <a:gd name="connsiteX2751" fmla="*/ 1886678 w 6789110"/>
              <a:gd name="connsiteY2751" fmla="*/ 3616450 h 6386516"/>
              <a:gd name="connsiteX2752" fmla="*/ 1861654 w 6789110"/>
              <a:gd name="connsiteY2752" fmla="*/ 3651097 h 6386516"/>
              <a:gd name="connsiteX2753" fmla="*/ 1855880 w 6789110"/>
              <a:gd name="connsiteY2753" fmla="*/ 3658796 h 6386516"/>
              <a:gd name="connsiteX2754" fmla="*/ 1836632 w 6789110"/>
              <a:gd name="connsiteY2754" fmla="*/ 3689592 h 6386516"/>
              <a:gd name="connsiteX2755" fmla="*/ 1842407 w 6789110"/>
              <a:gd name="connsiteY2755" fmla="*/ 3679968 h 6386516"/>
              <a:gd name="connsiteX2756" fmla="*/ 1828933 w 6789110"/>
              <a:gd name="connsiteY2756" fmla="*/ 3664570 h 6386516"/>
              <a:gd name="connsiteX2757" fmla="*/ 1836632 w 6789110"/>
              <a:gd name="connsiteY2757" fmla="*/ 3653021 h 6386516"/>
              <a:gd name="connsiteX2758" fmla="*/ 1840482 w 6789110"/>
              <a:gd name="connsiteY2758" fmla="*/ 3658796 h 6386516"/>
              <a:gd name="connsiteX2759" fmla="*/ 1892452 w 6789110"/>
              <a:gd name="connsiteY2759" fmla="*/ 3601052 h 6386516"/>
              <a:gd name="connsiteX2760" fmla="*/ 3372612 w 6789110"/>
              <a:gd name="connsiteY2760" fmla="*/ 3597202 h 6386516"/>
              <a:gd name="connsiteX2761" fmla="*/ 3405335 w 6789110"/>
              <a:gd name="connsiteY2761" fmla="*/ 3643398 h 6386516"/>
              <a:gd name="connsiteX2762" fmla="*/ 3372612 w 6789110"/>
              <a:gd name="connsiteY2762" fmla="*/ 3597202 h 6386516"/>
              <a:gd name="connsiteX2763" fmla="*/ 1929023 w 6789110"/>
              <a:gd name="connsiteY2763" fmla="*/ 3597202 h 6386516"/>
              <a:gd name="connsiteX2764" fmla="*/ 1902075 w 6789110"/>
              <a:gd name="connsiteY2764" fmla="*/ 3626075 h 6386516"/>
              <a:gd name="connsiteX2765" fmla="*/ 1917474 w 6789110"/>
              <a:gd name="connsiteY2765" fmla="*/ 3606827 h 6386516"/>
              <a:gd name="connsiteX2766" fmla="*/ 1929023 w 6789110"/>
              <a:gd name="connsiteY2766" fmla="*/ 3597202 h 6386516"/>
              <a:gd name="connsiteX2767" fmla="*/ 1755792 w 6789110"/>
              <a:gd name="connsiteY2767" fmla="*/ 3583728 h 6386516"/>
              <a:gd name="connsiteX2768" fmla="*/ 1765416 w 6789110"/>
              <a:gd name="connsiteY2768" fmla="*/ 3599126 h 6386516"/>
              <a:gd name="connsiteX2769" fmla="*/ 1736543 w 6789110"/>
              <a:gd name="connsiteY2769" fmla="*/ 3653020 h 6386516"/>
              <a:gd name="connsiteX2770" fmla="*/ 1755792 w 6789110"/>
              <a:gd name="connsiteY2770" fmla="*/ 3583728 h 6386516"/>
              <a:gd name="connsiteX2771" fmla="*/ 1990615 w 6789110"/>
              <a:gd name="connsiteY2771" fmla="*/ 3574106 h 6386516"/>
              <a:gd name="connsiteX2772" fmla="*/ 2002165 w 6789110"/>
              <a:gd name="connsiteY2772" fmla="*/ 3581805 h 6386516"/>
              <a:gd name="connsiteX2773" fmla="*/ 1984841 w 6789110"/>
              <a:gd name="connsiteY2773" fmla="*/ 3583730 h 6386516"/>
              <a:gd name="connsiteX2774" fmla="*/ 1990615 w 6789110"/>
              <a:gd name="connsiteY2774" fmla="*/ 3574106 h 6386516"/>
              <a:gd name="connsiteX2775" fmla="*/ 3374538 w 6789110"/>
              <a:gd name="connsiteY2775" fmla="*/ 3562556 h 6386516"/>
              <a:gd name="connsiteX2776" fmla="*/ 3418808 w 6789110"/>
              <a:gd name="connsiteY2776" fmla="*/ 3599128 h 6386516"/>
              <a:gd name="connsiteX2777" fmla="*/ 3405334 w 6789110"/>
              <a:gd name="connsiteY2777" fmla="*/ 3616451 h 6386516"/>
              <a:gd name="connsiteX2778" fmla="*/ 3374538 w 6789110"/>
              <a:gd name="connsiteY2778" fmla="*/ 3562556 h 6386516"/>
              <a:gd name="connsiteX2779" fmla="*/ 1990616 w 6789110"/>
              <a:gd name="connsiteY2779" fmla="*/ 3541383 h 6386516"/>
              <a:gd name="connsiteX2780" fmla="*/ 1982918 w 6789110"/>
              <a:gd name="connsiteY2780" fmla="*/ 3551008 h 6386516"/>
              <a:gd name="connsiteX2781" fmla="*/ 1948270 w 6789110"/>
              <a:gd name="connsiteY2781" fmla="*/ 3564481 h 6386516"/>
              <a:gd name="connsiteX2782" fmla="*/ 1967518 w 6789110"/>
              <a:gd name="connsiteY2782" fmla="*/ 3572180 h 6386516"/>
              <a:gd name="connsiteX2783" fmla="*/ 1961743 w 6789110"/>
              <a:gd name="connsiteY2783" fmla="*/ 3579880 h 6386516"/>
              <a:gd name="connsiteX2784" fmla="*/ 1938646 w 6789110"/>
              <a:gd name="connsiteY2784" fmla="*/ 3574105 h 6386516"/>
              <a:gd name="connsiteX2785" fmla="*/ 1950195 w 6789110"/>
              <a:gd name="connsiteY2785" fmla="*/ 3552932 h 6386516"/>
              <a:gd name="connsiteX2786" fmla="*/ 1990616 w 6789110"/>
              <a:gd name="connsiteY2786" fmla="*/ 3541383 h 6386516"/>
              <a:gd name="connsiteX2787" fmla="*/ 2011787 w 6789110"/>
              <a:gd name="connsiteY2787" fmla="*/ 3537534 h 6386516"/>
              <a:gd name="connsiteX2788" fmla="*/ 2021412 w 6789110"/>
              <a:gd name="connsiteY2788" fmla="*/ 3537534 h 6386516"/>
              <a:gd name="connsiteX2789" fmla="*/ 2006013 w 6789110"/>
              <a:gd name="connsiteY2789" fmla="*/ 3547158 h 6386516"/>
              <a:gd name="connsiteX2790" fmla="*/ 2011787 w 6789110"/>
              <a:gd name="connsiteY2790" fmla="*/ 3537534 h 6386516"/>
              <a:gd name="connsiteX2791" fmla="*/ 3430355 w 6789110"/>
              <a:gd name="connsiteY2791" fmla="*/ 3493264 h 6386516"/>
              <a:gd name="connsiteX2792" fmla="*/ 3449604 w 6789110"/>
              <a:gd name="connsiteY2792" fmla="*/ 3541385 h 6386516"/>
              <a:gd name="connsiteX2793" fmla="*/ 3426506 w 6789110"/>
              <a:gd name="connsiteY2793" fmla="*/ 3514437 h 6386516"/>
              <a:gd name="connsiteX2794" fmla="*/ 3430355 w 6789110"/>
              <a:gd name="connsiteY2794" fmla="*/ 3493264 h 6386516"/>
              <a:gd name="connsiteX2795" fmla="*/ 2138824 w 6789110"/>
              <a:gd name="connsiteY2795" fmla="*/ 3481715 h 6386516"/>
              <a:gd name="connsiteX2796" fmla="*/ 2121500 w 6789110"/>
              <a:gd name="connsiteY2796" fmla="*/ 3525985 h 6386516"/>
              <a:gd name="connsiteX2797" fmla="*/ 2150372 w 6789110"/>
              <a:gd name="connsiteY2797" fmla="*/ 3508662 h 6386516"/>
              <a:gd name="connsiteX2798" fmla="*/ 2063757 w 6789110"/>
              <a:gd name="connsiteY2798" fmla="*/ 3653022 h 6386516"/>
              <a:gd name="connsiteX2799" fmla="*/ 2042584 w 6789110"/>
              <a:gd name="connsiteY2799" fmla="*/ 3691518 h 6386516"/>
              <a:gd name="connsiteX2800" fmla="*/ 2017562 w 6789110"/>
              <a:gd name="connsiteY2800" fmla="*/ 3689593 h 6386516"/>
              <a:gd name="connsiteX2801" fmla="*/ 2046434 w 6789110"/>
              <a:gd name="connsiteY2801" fmla="*/ 3654947 h 6386516"/>
              <a:gd name="connsiteX2802" fmla="*/ 2050283 w 6789110"/>
              <a:gd name="connsiteY2802" fmla="*/ 3614526 h 6386516"/>
              <a:gd name="connsiteX2803" fmla="*/ 2138824 w 6789110"/>
              <a:gd name="connsiteY2803" fmla="*/ 3481715 h 6386516"/>
              <a:gd name="connsiteX2804" fmla="*/ 1855880 w 6789110"/>
              <a:gd name="connsiteY2804" fmla="*/ 3481715 h 6386516"/>
              <a:gd name="connsiteX2805" fmla="*/ 1788512 w 6789110"/>
              <a:gd name="connsiteY2805" fmla="*/ 3574105 h 6386516"/>
              <a:gd name="connsiteX2806" fmla="*/ 1761565 w 6789110"/>
              <a:gd name="connsiteY2806" fmla="*/ 3554857 h 6386516"/>
              <a:gd name="connsiteX2807" fmla="*/ 1855880 w 6789110"/>
              <a:gd name="connsiteY2807" fmla="*/ 3481715 h 6386516"/>
              <a:gd name="connsiteX2808" fmla="*/ 3351440 w 6789110"/>
              <a:gd name="connsiteY2808" fmla="*/ 3479790 h 6386516"/>
              <a:gd name="connsiteX2809" fmla="*/ 3434206 w 6789110"/>
              <a:gd name="connsiteY2809" fmla="*/ 3593353 h 6386516"/>
              <a:gd name="connsiteX2810" fmla="*/ 3351440 w 6789110"/>
              <a:gd name="connsiteY2810" fmla="*/ 3479790 h 6386516"/>
              <a:gd name="connsiteX2811" fmla="*/ 1977142 w 6789110"/>
              <a:gd name="connsiteY2811" fmla="*/ 3472091 h 6386516"/>
              <a:gd name="connsiteX2812" fmla="*/ 1942495 w 6789110"/>
              <a:gd name="connsiteY2812" fmla="*/ 3516361 h 6386516"/>
              <a:gd name="connsiteX2813" fmla="*/ 1998315 w 6789110"/>
              <a:gd name="connsiteY2813" fmla="*/ 3500963 h 6386516"/>
              <a:gd name="connsiteX2814" fmla="*/ 1915548 w 6789110"/>
              <a:gd name="connsiteY2814" fmla="*/ 3549082 h 6386516"/>
              <a:gd name="connsiteX2815" fmla="*/ 1944420 w 6789110"/>
              <a:gd name="connsiteY2815" fmla="*/ 3551007 h 6386516"/>
              <a:gd name="connsiteX2816" fmla="*/ 1925172 w 6789110"/>
              <a:gd name="connsiteY2816" fmla="*/ 3570255 h 6386516"/>
              <a:gd name="connsiteX2817" fmla="*/ 1869353 w 6789110"/>
              <a:gd name="connsiteY2817" fmla="*/ 3574105 h 6386516"/>
              <a:gd name="connsiteX2818" fmla="*/ 1827008 w 6789110"/>
              <a:gd name="connsiteY2818" fmla="*/ 3595277 h 6386516"/>
              <a:gd name="connsiteX2819" fmla="*/ 1855880 w 6789110"/>
              <a:gd name="connsiteY2819" fmla="*/ 3552932 h 6386516"/>
              <a:gd name="connsiteX2820" fmla="*/ 1861654 w 6789110"/>
              <a:gd name="connsiteY2820" fmla="*/ 3545233 h 6386516"/>
              <a:gd name="connsiteX2821" fmla="*/ 1865504 w 6789110"/>
              <a:gd name="connsiteY2821" fmla="*/ 3541383 h 6386516"/>
              <a:gd name="connsiteX2822" fmla="*/ 1877052 w 6789110"/>
              <a:gd name="connsiteY2822" fmla="*/ 3531759 h 6386516"/>
              <a:gd name="connsiteX2823" fmla="*/ 1857805 w 6789110"/>
              <a:gd name="connsiteY2823" fmla="*/ 3568330 h 6386516"/>
              <a:gd name="connsiteX2824" fmla="*/ 1977142 w 6789110"/>
              <a:gd name="connsiteY2824" fmla="*/ 3472091 h 6386516"/>
              <a:gd name="connsiteX2825" fmla="*/ 3613211 w 6789110"/>
              <a:gd name="connsiteY2825" fmla="*/ 3460542 h 6386516"/>
              <a:gd name="connsiteX2826" fmla="*/ 3661332 w 6789110"/>
              <a:gd name="connsiteY2826" fmla="*/ 3552932 h 6386516"/>
              <a:gd name="connsiteX2827" fmla="*/ 3613211 w 6789110"/>
              <a:gd name="connsiteY2827" fmla="*/ 3460542 h 6386516"/>
              <a:gd name="connsiteX2828" fmla="*/ 2029111 w 6789110"/>
              <a:gd name="connsiteY2828" fmla="*/ 3454768 h 6386516"/>
              <a:gd name="connsiteX2829" fmla="*/ 2040659 w 6789110"/>
              <a:gd name="connsiteY2829" fmla="*/ 3499038 h 6386516"/>
              <a:gd name="connsiteX2830" fmla="*/ 2065683 w 6789110"/>
              <a:gd name="connsiteY2830" fmla="*/ 3458617 h 6386516"/>
              <a:gd name="connsiteX2831" fmla="*/ 2057983 w 6789110"/>
              <a:gd name="connsiteY2831" fmla="*/ 3504812 h 6386516"/>
              <a:gd name="connsiteX2832" fmla="*/ 2036810 w 6789110"/>
              <a:gd name="connsiteY2832" fmla="*/ 3535609 h 6386516"/>
              <a:gd name="connsiteX2833" fmla="*/ 2029111 w 6789110"/>
              <a:gd name="connsiteY2833" fmla="*/ 3454768 h 6386516"/>
              <a:gd name="connsiteX2834" fmla="*/ 2223515 w 6789110"/>
              <a:gd name="connsiteY2834" fmla="*/ 3450918 h 6386516"/>
              <a:gd name="connsiteX2835" fmla="*/ 2229289 w 6789110"/>
              <a:gd name="connsiteY2835" fmla="*/ 3472091 h 6386516"/>
              <a:gd name="connsiteX2836" fmla="*/ 2246612 w 6789110"/>
              <a:gd name="connsiteY2836" fmla="*/ 3456692 h 6386516"/>
              <a:gd name="connsiteX2837" fmla="*/ 2236988 w 6789110"/>
              <a:gd name="connsiteY2837" fmla="*/ 3474016 h 6386516"/>
              <a:gd name="connsiteX2838" fmla="*/ 2167696 w 6789110"/>
              <a:gd name="connsiteY2838" fmla="*/ 3572181 h 6386516"/>
              <a:gd name="connsiteX2839" fmla="*/ 2148448 w 6789110"/>
              <a:gd name="connsiteY2839" fmla="*/ 3595278 h 6386516"/>
              <a:gd name="connsiteX2840" fmla="*/ 2171545 w 6789110"/>
              <a:gd name="connsiteY2840" fmla="*/ 3525986 h 6386516"/>
              <a:gd name="connsiteX2841" fmla="*/ 2202342 w 6789110"/>
              <a:gd name="connsiteY2841" fmla="*/ 3479790 h 6386516"/>
              <a:gd name="connsiteX2842" fmla="*/ 2223515 w 6789110"/>
              <a:gd name="connsiteY2842" fmla="*/ 3450918 h 6386516"/>
              <a:gd name="connsiteX2843" fmla="*/ 2292808 w 6789110"/>
              <a:gd name="connsiteY2843" fmla="*/ 3441294 h 6386516"/>
              <a:gd name="connsiteX2844" fmla="*/ 2285109 w 6789110"/>
              <a:gd name="connsiteY2844" fmla="*/ 3468241 h 6386516"/>
              <a:gd name="connsiteX2845" fmla="*/ 2258161 w 6789110"/>
              <a:gd name="connsiteY2845" fmla="*/ 3516362 h 6386516"/>
              <a:gd name="connsiteX2846" fmla="*/ 2269711 w 6789110"/>
              <a:gd name="connsiteY2846" fmla="*/ 3512512 h 6386516"/>
              <a:gd name="connsiteX2847" fmla="*/ 2213891 w 6789110"/>
              <a:gd name="connsiteY2847" fmla="*/ 3618376 h 6386516"/>
              <a:gd name="connsiteX2848" fmla="*/ 2148448 w 6789110"/>
              <a:gd name="connsiteY2848" fmla="*/ 3620300 h 6386516"/>
              <a:gd name="connsiteX2849" fmla="*/ 2200418 w 6789110"/>
              <a:gd name="connsiteY2849" fmla="*/ 3562557 h 6386516"/>
              <a:gd name="connsiteX2850" fmla="*/ 2285109 w 6789110"/>
              <a:gd name="connsiteY2850" fmla="*/ 3443219 h 6386516"/>
              <a:gd name="connsiteX2851" fmla="*/ 2292808 w 6789110"/>
              <a:gd name="connsiteY2851" fmla="*/ 3441294 h 6386516"/>
              <a:gd name="connsiteX2852" fmla="*/ 2113801 w 6789110"/>
              <a:gd name="connsiteY2852" fmla="*/ 3437445 h 6386516"/>
              <a:gd name="connsiteX2853" fmla="*/ 2113801 w 6789110"/>
              <a:gd name="connsiteY2853" fmla="*/ 3483640 h 6386516"/>
              <a:gd name="connsiteX2854" fmla="*/ 2048358 w 6789110"/>
              <a:gd name="connsiteY2854" fmla="*/ 3583730 h 6386516"/>
              <a:gd name="connsiteX2855" fmla="*/ 2042584 w 6789110"/>
              <a:gd name="connsiteY2855" fmla="*/ 3560633 h 6386516"/>
              <a:gd name="connsiteX2856" fmla="*/ 2113801 w 6789110"/>
              <a:gd name="connsiteY2856" fmla="*/ 3437445 h 6386516"/>
              <a:gd name="connsiteX2857" fmla="*/ 3336041 w 6789110"/>
              <a:gd name="connsiteY2857" fmla="*/ 3425896 h 6386516"/>
              <a:gd name="connsiteX2858" fmla="*/ 3432280 w 6789110"/>
              <a:gd name="connsiteY2858" fmla="*/ 3576030 h 6386516"/>
              <a:gd name="connsiteX2859" fmla="*/ 3336041 w 6789110"/>
              <a:gd name="connsiteY2859" fmla="*/ 3425896 h 6386516"/>
              <a:gd name="connsiteX2860" fmla="*/ 3178209 w 6789110"/>
              <a:gd name="connsiteY2860" fmla="*/ 3423971 h 6386516"/>
              <a:gd name="connsiteX2861" fmla="*/ 3180134 w 6789110"/>
              <a:gd name="connsiteY2861" fmla="*/ 3454768 h 6386516"/>
              <a:gd name="connsiteX2862" fmla="*/ 3147412 w 6789110"/>
              <a:gd name="connsiteY2862" fmla="*/ 3468241 h 6386516"/>
              <a:gd name="connsiteX2863" fmla="*/ 3218630 w 6789110"/>
              <a:gd name="connsiteY2863" fmla="*/ 3458617 h 6386516"/>
              <a:gd name="connsiteX2864" fmla="*/ 3239802 w 6789110"/>
              <a:gd name="connsiteY2864" fmla="*/ 3497113 h 6386516"/>
              <a:gd name="connsiteX2865" fmla="*/ 3112766 w 6789110"/>
              <a:gd name="connsiteY2865" fmla="*/ 3487489 h 6386516"/>
              <a:gd name="connsiteX2866" fmla="*/ 3178209 w 6789110"/>
              <a:gd name="connsiteY2866" fmla="*/ 3423971 h 6386516"/>
              <a:gd name="connsiteX2867" fmla="*/ 3305245 w 6789110"/>
              <a:gd name="connsiteY2867" fmla="*/ 3416272 h 6386516"/>
              <a:gd name="connsiteX2868" fmla="*/ 3332193 w 6789110"/>
              <a:gd name="connsiteY2868" fmla="*/ 3466317 h 6386516"/>
              <a:gd name="connsiteX2869" fmla="*/ 3305245 w 6789110"/>
              <a:gd name="connsiteY2869" fmla="*/ 3416272 h 6386516"/>
              <a:gd name="connsiteX2870" fmla="*/ 2175395 w 6789110"/>
              <a:gd name="connsiteY2870" fmla="*/ 3412422 h 6386516"/>
              <a:gd name="connsiteX2871" fmla="*/ 2194644 w 6789110"/>
              <a:gd name="connsiteY2871" fmla="*/ 3427820 h 6386516"/>
              <a:gd name="connsiteX2872" fmla="*/ 2185019 w 6789110"/>
              <a:gd name="connsiteY2872" fmla="*/ 3470166 h 6386516"/>
              <a:gd name="connsiteX2873" fmla="*/ 2177319 w 6789110"/>
              <a:gd name="connsiteY2873" fmla="*/ 3481714 h 6386516"/>
              <a:gd name="connsiteX2874" fmla="*/ 2177319 w 6789110"/>
              <a:gd name="connsiteY2874" fmla="*/ 3474015 h 6386516"/>
              <a:gd name="connsiteX2875" fmla="*/ 2167695 w 6789110"/>
              <a:gd name="connsiteY2875" fmla="*/ 3425896 h 6386516"/>
              <a:gd name="connsiteX2876" fmla="*/ 2175395 w 6789110"/>
              <a:gd name="connsiteY2876" fmla="*/ 3412422 h 6386516"/>
              <a:gd name="connsiteX2877" fmla="*/ 2161922 w 6789110"/>
              <a:gd name="connsiteY2877" fmla="*/ 3393175 h 6386516"/>
              <a:gd name="connsiteX2878" fmla="*/ 2163847 w 6789110"/>
              <a:gd name="connsiteY2878" fmla="*/ 3395100 h 6386516"/>
              <a:gd name="connsiteX2879" fmla="*/ 2161922 w 6789110"/>
              <a:gd name="connsiteY2879" fmla="*/ 3398949 h 6386516"/>
              <a:gd name="connsiteX2880" fmla="*/ 2161922 w 6789110"/>
              <a:gd name="connsiteY2880" fmla="*/ 3393175 h 6386516"/>
              <a:gd name="connsiteX2881" fmla="*/ 3237877 w 6789110"/>
              <a:gd name="connsiteY2881" fmla="*/ 3372002 h 6386516"/>
              <a:gd name="connsiteX2882" fmla="*/ 3297547 w 6789110"/>
              <a:gd name="connsiteY2882" fmla="*/ 3472091 h 6386516"/>
              <a:gd name="connsiteX2883" fmla="*/ 3237877 w 6789110"/>
              <a:gd name="connsiteY2883" fmla="*/ 3372002 h 6386516"/>
              <a:gd name="connsiteX2884" fmla="*/ 3634384 w 6789110"/>
              <a:gd name="connsiteY2884" fmla="*/ 3366227 h 6386516"/>
              <a:gd name="connsiteX2885" fmla="*/ 3651708 w 6789110"/>
              <a:gd name="connsiteY2885" fmla="*/ 3400874 h 6386516"/>
              <a:gd name="connsiteX2886" fmla="*/ 3634384 w 6789110"/>
              <a:gd name="connsiteY2886" fmla="*/ 3366227 h 6386516"/>
              <a:gd name="connsiteX2887" fmla="*/ 3411108 w 6789110"/>
              <a:gd name="connsiteY2887" fmla="*/ 3333506 h 6386516"/>
              <a:gd name="connsiteX2888" fmla="*/ 3609362 w 6789110"/>
              <a:gd name="connsiteY2888" fmla="*/ 3579879 h 6386516"/>
              <a:gd name="connsiteX2889" fmla="*/ 3466927 w 6789110"/>
              <a:gd name="connsiteY2889" fmla="*/ 3406648 h 6386516"/>
              <a:gd name="connsiteX2890" fmla="*/ 3465002 w 6789110"/>
              <a:gd name="connsiteY2890" fmla="*/ 3422046 h 6386516"/>
              <a:gd name="connsiteX2891" fmla="*/ 3411108 w 6789110"/>
              <a:gd name="connsiteY2891" fmla="*/ 3333506 h 6386516"/>
              <a:gd name="connsiteX2892" fmla="*/ 3472701 w 6789110"/>
              <a:gd name="connsiteY2892" fmla="*/ 3321957 h 6386516"/>
              <a:gd name="connsiteX2893" fmla="*/ 3588188 w 6789110"/>
              <a:gd name="connsiteY2893" fmla="*/ 3464391 h 6386516"/>
              <a:gd name="connsiteX2894" fmla="*/ 3472701 w 6789110"/>
              <a:gd name="connsiteY2894" fmla="*/ 3321957 h 6386516"/>
              <a:gd name="connsiteX2895" fmla="*/ 3520821 w 6789110"/>
              <a:gd name="connsiteY2895" fmla="*/ 3320033 h 6386516"/>
              <a:gd name="connsiteX2896" fmla="*/ 3561241 w 6789110"/>
              <a:gd name="connsiteY2896" fmla="*/ 3333506 h 6386516"/>
              <a:gd name="connsiteX2897" fmla="*/ 3657482 w 6789110"/>
              <a:gd name="connsiteY2897" fmla="*/ 3462468 h 6386516"/>
              <a:gd name="connsiteX2898" fmla="*/ 3659407 w 6789110"/>
              <a:gd name="connsiteY2898" fmla="*/ 3489415 h 6386516"/>
              <a:gd name="connsiteX2899" fmla="*/ 3520821 w 6789110"/>
              <a:gd name="connsiteY2899" fmla="*/ 3320033 h 6386516"/>
              <a:gd name="connsiteX2900" fmla="*/ 3434206 w 6789110"/>
              <a:gd name="connsiteY2900" fmla="*/ 3318108 h 6386516"/>
              <a:gd name="connsiteX2901" fmla="*/ 3665180 w 6789110"/>
              <a:gd name="connsiteY2901" fmla="*/ 3593354 h 6386516"/>
              <a:gd name="connsiteX2902" fmla="*/ 3667105 w 6789110"/>
              <a:gd name="connsiteY2902" fmla="*/ 3641473 h 6386516"/>
              <a:gd name="connsiteX2903" fmla="*/ 3644008 w 6789110"/>
              <a:gd name="connsiteY2903" fmla="*/ 3593354 h 6386516"/>
              <a:gd name="connsiteX2904" fmla="*/ 3434206 w 6789110"/>
              <a:gd name="connsiteY2904" fmla="*/ 3318108 h 6386516"/>
              <a:gd name="connsiteX2905" fmla="*/ 1588334 w 6789110"/>
              <a:gd name="connsiteY2905" fmla="*/ 3304634 h 6386516"/>
              <a:gd name="connsiteX2906" fmla="*/ 1605658 w 6789110"/>
              <a:gd name="connsiteY2906" fmla="*/ 3308483 h 6386516"/>
              <a:gd name="connsiteX2907" fmla="*/ 1569086 w 6789110"/>
              <a:gd name="connsiteY2907" fmla="*/ 3335431 h 6386516"/>
              <a:gd name="connsiteX2908" fmla="*/ 1588334 w 6789110"/>
              <a:gd name="connsiteY2908" fmla="*/ 3304634 h 6386516"/>
              <a:gd name="connsiteX2909" fmla="*/ 1938646 w 6789110"/>
              <a:gd name="connsiteY2909" fmla="*/ 3285386 h 6386516"/>
              <a:gd name="connsiteX2910" fmla="*/ 1896300 w 6789110"/>
              <a:gd name="connsiteY2910" fmla="*/ 3341206 h 6386516"/>
              <a:gd name="connsiteX2911" fmla="*/ 1938646 w 6789110"/>
              <a:gd name="connsiteY2911" fmla="*/ 3285386 h 6386516"/>
              <a:gd name="connsiteX2912" fmla="*/ 1003199 w 6789110"/>
              <a:gd name="connsiteY2912" fmla="*/ 3266139 h 6386516"/>
              <a:gd name="connsiteX2913" fmla="*/ 964703 w 6789110"/>
              <a:gd name="connsiteY2913" fmla="*/ 3321958 h 6386516"/>
              <a:gd name="connsiteX2914" fmla="*/ 1008974 w 6789110"/>
              <a:gd name="connsiteY2914" fmla="*/ 3296935 h 6386516"/>
              <a:gd name="connsiteX2915" fmla="*/ 939681 w 6789110"/>
              <a:gd name="connsiteY2915" fmla="*/ 3393175 h 6386516"/>
              <a:gd name="connsiteX2916" fmla="*/ 1089815 w 6789110"/>
              <a:gd name="connsiteY2916" fmla="*/ 3279612 h 6386516"/>
              <a:gd name="connsiteX2917" fmla="*/ 1005124 w 6789110"/>
              <a:gd name="connsiteY2917" fmla="*/ 3385476 h 6386516"/>
              <a:gd name="connsiteX2918" fmla="*/ 1099439 w 6789110"/>
              <a:gd name="connsiteY2918" fmla="*/ 3333506 h 6386516"/>
              <a:gd name="connsiteX2919" fmla="*/ 997425 w 6789110"/>
              <a:gd name="connsiteY2919" fmla="*/ 3439370 h 6386516"/>
              <a:gd name="connsiteX2920" fmla="*/ 1122536 w 6789110"/>
              <a:gd name="connsiteY2920" fmla="*/ 3364303 h 6386516"/>
              <a:gd name="connsiteX2921" fmla="*/ 1010898 w 6789110"/>
              <a:gd name="connsiteY2921" fmla="*/ 3481715 h 6386516"/>
              <a:gd name="connsiteX2922" fmla="*/ 1161032 w 6789110"/>
              <a:gd name="connsiteY2922" fmla="*/ 3364303 h 6386516"/>
              <a:gd name="connsiteX2923" fmla="*/ 1195678 w 6789110"/>
              <a:gd name="connsiteY2923" fmla="*/ 3368153 h 6386516"/>
              <a:gd name="connsiteX2924" fmla="*/ 974327 w 6789110"/>
              <a:gd name="connsiteY2924" fmla="*/ 3533684 h 6386516"/>
              <a:gd name="connsiteX2925" fmla="*/ 1318864 w 6789110"/>
              <a:gd name="connsiteY2925" fmla="*/ 3321958 h 6386516"/>
              <a:gd name="connsiteX2926" fmla="*/ 1136010 w 6789110"/>
              <a:gd name="connsiteY2926" fmla="*/ 3483640 h 6386516"/>
              <a:gd name="connsiteX2927" fmla="*/ 1078266 w 6789110"/>
              <a:gd name="connsiteY2927" fmla="*/ 3531760 h 6386516"/>
              <a:gd name="connsiteX2928" fmla="*/ 1343887 w 6789110"/>
              <a:gd name="connsiteY2928" fmla="*/ 3348905 h 6386516"/>
              <a:gd name="connsiteX2929" fmla="*/ 1216851 w 6789110"/>
              <a:gd name="connsiteY2929" fmla="*/ 3497113 h 6386516"/>
              <a:gd name="connsiteX2930" fmla="*/ 1393931 w 6789110"/>
              <a:gd name="connsiteY2930" fmla="*/ 3377777 h 6386516"/>
              <a:gd name="connsiteX2931" fmla="*/ 1295767 w 6789110"/>
              <a:gd name="connsiteY2931" fmla="*/ 3489414 h 6386516"/>
              <a:gd name="connsiteX2932" fmla="*/ 1409329 w 6789110"/>
              <a:gd name="connsiteY2932" fmla="*/ 3406648 h 6386516"/>
              <a:gd name="connsiteX2933" fmla="*/ 1515194 w 6789110"/>
              <a:gd name="connsiteY2933" fmla="*/ 3339281 h 6386516"/>
              <a:gd name="connsiteX2934" fmla="*/ 1318864 w 6789110"/>
              <a:gd name="connsiteY2934" fmla="*/ 3520211 h 6386516"/>
              <a:gd name="connsiteX2935" fmla="*/ 1567162 w 6789110"/>
              <a:gd name="connsiteY2935" fmla="*/ 3352754 h 6386516"/>
              <a:gd name="connsiteX2936" fmla="*/ 1415104 w 6789110"/>
              <a:gd name="connsiteY2936" fmla="*/ 3512512 h 6386516"/>
              <a:gd name="connsiteX2937" fmla="*/ 1640304 w 6789110"/>
              <a:gd name="connsiteY2937" fmla="*/ 3333506 h 6386516"/>
              <a:gd name="connsiteX2938" fmla="*/ 1476697 w 6789110"/>
              <a:gd name="connsiteY2938" fmla="*/ 3502888 h 6386516"/>
              <a:gd name="connsiteX2939" fmla="*/ 1428577 w 6789110"/>
              <a:gd name="connsiteY2939" fmla="*/ 3547158 h 6386516"/>
              <a:gd name="connsiteX2940" fmla="*/ 1734619 w 6789110"/>
              <a:gd name="connsiteY2940" fmla="*/ 3318108 h 6386516"/>
              <a:gd name="connsiteX2941" fmla="*/ 1315015 w 6789110"/>
              <a:gd name="connsiteY2941" fmla="*/ 3651096 h 6386516"/>
              <a:gd name="connsiteX2942" fmla="*/ 1274594 w 6789110"/>
              <a:gd name="connsiteY2942" fmla="*/ 3676119 h 6386516"/>
              <a:gd name="connsiteX2943" fmla="*/ 1757717 w 6789110"/>
              <a:gd name="connsiteY2943" fmla="*/ 3345055 h 6386516"/>
              <a:gd name="connsiteX2944" fmla="*/ 1811610 w 6789110"/>
              <a:gd name="connsiteY2944" fmla="*/ 3318108 h 6386516"/>
              <a:gd name="connsiteX2945" fmla="*/ 1289993 w 6789110"/>
              <a:gd name="connsiteY2945" fmla="*/ 3760809 h 6386516"/>
              <a:gd name="connsiteX2946" fmla="*/ 1264970 w 6789110"/>
              <a:gd name="connsiteY2946" fmla="*/ 3741561 h 6386516"/>
              <a:gd name="connsiteX2947" fmla="*/ 1266895 w 6789110"/>
              <a:gd name="connsiteY2947" fmla="*/ 3772358 h 6386516"/>
              <a:gd name="connsiteX2948" fmla="*/ 1153333 w 6789110"/>
              <a:gd name="connsiteY2948" fmla="*/ 3837801 h 6386516"/>
              <a:gd name="connsiteX2949" fmla="*/ 993575 w 6789110"/>
              <a:gd name="connsiteY2949" fmla="*/ 3939815 h 6386516"/>
              <a:gd name="connsiteX2950" fmla="*/ 993575 w 6789110"/>
              <a:gd name="connsiteY2950" fmla="*/ 3960987 h 6386516"/>
              <a:gd name="connsiteX2951" fmla="*/ 1001274 w 6789110"/>
              <a:gd name="connsiteY2951" fmla="*/ 3966762 h 6386516"/>
              <a:gd name="connsiteX2952" fmla="*/ 1241873 w 6789110"/>
              <a:gd name="connsiteY2952" fmla="*/ 3818553 h 6386516"/>
              <a:gd name="connsiteX2953" fmla="*/ 1076341 w 6789110"/>
              <a:gd name="connsiteY2953" fmla="*/ 4036054 h 6386516"/>
              <a:gd name="connsiteX2954" fmla="*/ 1245722 w 6789110"/>
              <a:gd name="connsiteY2954" fmla="*/ 3814703 h 6386516"/>
              <a:gd name="connsiteX2955" fmla="*/ 1316940 w 6789110"/>
              <a:gd name="connsiteY2955" fmla="*/ 3876297 h 6386516"/>
              <a:gd name="connsiteX2956" fmla="*/ 1318864 w 6789110"/>
              <a:gd name="connsiteY2956" fmla="*/ 3847425 h 6386516"/>
              <a:gd name="connsiteX2957" fmla="*/ 1322714 w 6789110"/>
              <a:gd name="connsiteY2957" fmla="*/ 3851274 h 6386516"/>
              <a:gd name="connsiteX2958" fmla="*/ 1326563 w 6789110"/>
              <a:gd name="connsiteY2958" fmla="*/ 3899394 h 6386516"/>
              <a:gd name="connsiteX2959" fmla="*/ 1334263 w 6789110"/>
              <a:gd name="connsiteY2959" fmla="*/ 3907093 h 6386516"/>
              <a:gd name="connsiteX2960" fmla="*/ 1301541 w 6789110"/>
              <a:gd name="connsiteY2960" fmla="*/ 3776208 h 6386516"/>
              <a:gd name="connsiteX2961" fmla="*/ 1867429 w 6789110"/>
              <a:gd name="connsiteY2961" fmla="*/ 3321958 h 6386516"/>
              <a:gd name="connsiteX2962" fmla="*/ 1411254 w 6789110"/>
              <a:gd name="connsiteY2962" fmla="*/ 3745411 h 6386516"/>
              <a:gd name="connsiteX2963" fmla="*/ 1426653 w 6789110"/>
              <a:gd name="connsiteY2963" fmla="*/ 3747336 h 6386516"/>
              <a:gd name="connsiteX2964" fmla="*/ 1426653 w 6789110"/>
              <a:gd name="connsiteY2964" fmla="*/ 3739637 h 6386516"/>
              <a:gd name="connsiteX2965" fmla="*/ 1432427 w 6789110"/>
              <a:gd name="connsiteY2965" fmla="*/ 3737712 h 6386516"/>
              <a:gd name="connsiteX2966" fmla="*/ 1436276 w 6789110"/>
              <a:gd name="connsiteY2966" fmla="*/ 3743486 h 6386516"/>
              <a:gd name="connsiteX2967" fmla="*/ 1463223 w 6789110"/>
              <a:gd name="connsiteY2967" fmla="*/ 3714615 h 6386516"/>
              <a:gd name="connsiteX2968" fmla="*/ 1811610 w 6789110"/>
              <a:gd name="connsiteY2968" fmla="*/ 3429746 h 6386516"/>
              <a:gd name="connsiteX2969" fmla="*/ 1834707 w 6789110"/>
              <a:gd name="connsiteY2969" fmla="*/ 3460542 h 6386516"/>
              <a:gd name="connsiteX2970" fmla="*/ 1467073 w 6789110"/>
              <a:gd name="connsiteY2970" fmla="*/ 3770433 h 6386516"/>
              <a:gd name="connsiteX2971" fmla="*/ 1468998 w 6789110"/>
              <a:gd name="connsiteY2971" fmla="*/ 3772358 h 6386516"/>
              <a:gd name="connsiteX2972" fmla="*/ 1449750 w 6789110"/>
              <a:gd name="connsiteY2972" fmla="*/ 3812779 h 6386516"/>
              <a:gd name="connsiteX2973" fmla="*/ 1463223 w 6789110"/>
              <a:gd name="connsiteY2973" fmla="*/ 3807004 h 6386516"/>
              <a:gd name="connsiteX2974" fmla="*/ 1480546 w 6789110"/>
              <a:gd name="connsiteY2974" fmla="*/ 3785832 h 6386516"/>
              <a:gd name="connsiteX2975" fmla="*/ 1484396 w 6789110"/>
              <a:gd name="connsiteY2975" fmla="*/ 3789681 h 6386516"/>
              <a:gd name="connsiteX2976" fmla="*/ 1538290 w 6789110"/>
              <a:gd name="connsiteY2976" fmla="*/ 3756960 h 6386516"/>
              <a:gd name="connsiteX2977" fmla="*/ 1474772 w 6789110"/>
              <a:gd name="connsiteY2977" fmla="*/ 3826252 h 6386516"/>
              <a:gd name="connsiteX2978" fmla="*/ 1467073 w 6789110"/>
              <a:gd name="connsiteY2978" fmla="*/ 3832026 h 6386516"/>
              <a:gd name="connsiteX2979" fmla="*/ 1445900 w 6789110"/>
              <a:gd name="connsiteY2979" fmla="*/ 3847425 h 6386516"/>
              <a:gd name="connsiteX2980" fmla="*/ 1432427 w 6789110"/>
              <a:gd name="connsiteY2980" fmla="*/ 3870522 h 6386516"/>
              <a:gd name="connsiteX2981" fmla="*/ 1422803 w 6789110"/>
              <a:gd name="connsiteY2981" fmla="*/ 3864748 h 6386516"/>
              <a:gd name="connsiteX2982" fmla="*/ 1413179 w 6789110"/>
              <a:gd name="connsiteY2982" fmla="*/ 3872447 h 6386516"/>
              <a:gd name="connsiteX2983" fmla="*/ 1420878 w 6789110"/>
              <a:gd name="connsiteY2983" fmla="*/ 3897469 h 6386516"/>
              <a:gd name="connsiteX2984" fmla="*/ 1520968 w 6789110"/>
              <a:gd name="connsiteY2984" fmla="*/ 3843575 h 6386516"/>
              <a:gd name="connsiteX2985" fmla="*/ 1418953 w 6789110"/>
              <a:gd name="connsiteY2985" fmla="*/ 3924416 h 6386516"/>
              <a:gd name="connsiteX2986" fmla="*/ 1397781 w 6789110"/>
              <a:gd name="connsiteY2986" fmla="*/ 3951363 h 6386516"/>
              <a:gd name="connsiteX2987" fmla="*/ 1393931 w 6789110"/>
              <a:gd name="connsiteY2987" fmla="*/ 3945589 h 6386516"/>
              <a:gd name="connsiteX2988" fmla="*/ 1376608 w 6789110"/>
              <a:gd name="connsiteY2988" fmla="*/ 3960987 h 6386516"/>
              <a:gd name="connsiteX2989" fmla="*/ 1366984 w 6789110"/>
              <a:gd name="connsiteY2989" fmla="*/ 3993709 h 6386516"/>
              <a:gd name="connsiteX2990" fmla="*/ 1420878 w 6789110"/>
              <a:gd name="connsiteY2990" fmla="*/ 3959062 h 6386516"/>
              <a:gd name="connsiteX2991" fmla="*/ 1434352 w 6789110"/>
              <a:gd name="connsiteY2991" fmla="*/ 3953288 h 6386516"/>
              <a:gd name="connsiteX2992" fmla="*/ 1434352 w 6789110"/>
              <a:gd name="connsiteY2992" fmla="*/ 3955213 h 6386516"/>
              <a:gd name="connsiteX2993" fmla="*/ 1443976 w 6789110"/>
              <a:gd name="connsiteY2993" fmla="*/ 3957138 h 6386516"/>
              <a:gd name="connsiteX2994" fmla="*/ 1438201 w 6789110"/>
              <a:gd name="connsiteY2994" fmla="*/ 3978310 h 6386516"/>
              <a:gd name="connsiteX2995" fmla="*/ 1436276 w 6789110"/>
              <a:gd name="connsiteY2995" fmla="*/ 4012957 h 6386516"/>
              <a:gd name="connsiteX2996" fmla="*/ 1459374 w 6789110"/>
              <a:gd name="connsiteY2996" fmla="*/ 3987934 h 6386516"/>
              <a:gd name="connsiteX2997" fmla="*/ 1430502 w 6789110"/>
              <a:gd name="connsiteY2997" fmla="*/ 4034129 h 6386516"/>
              <a:gd name="connsiteX2998" fmla="*/ 1420878 w 6789110"/>
              <a:gd name="connsiteY2998" fmla="*/ 4063002 h 6386516"/>
              <a:gd name="connsiteX2999" fmla="*/ 1457449 w 6789110"/>
              <a:gd name="connsiteY2999" fmla="*/ 4051452 h 6386516"/>
              <a:gd name="connsiteX3000" fmla="*/ 1486321 w 6789110"/>
              <a:gd name="connsiteY3000" fmla="*/ 4014881 h 6386516"/>
              <a:gd name="connsiteX3001" fmla="*/ 1482471 w 6789110"/>
              <a:gd name="connsiteY3001" fmla="*/ 3991784 h 6386516"/>
              <a:gd name="connsiteX3002" fmla="*/ 1463223 w 6789110"/>
              <a:gd name="connsiteY3002" fmla="*/ 4003333 h 6386516"/>
              <a:gd name="connsiteX3003" fmla="*/ 1476697 w 6789110"/>
              <a:gd name="connsiteY3003" fmla="*/ 3974461 h 6386516"/>
              <a:gd name="connsiteX3004" fmla="*/ 1459374 w 6789110"/>
              <a:gd name="connsiteY3004" fmla="*/ 3943664 h 6386516"/>
              <a:gd name="connsiteX3005" fmla="*/ 1532516 w 6789110"/>
              <a:gd name="connsiteY3005" fmla="*/ 3882071 h 6386516"/>
              <a:gd name="connsiteX3006" fmla="*/ 1538290 w 6789110"/>
              <a:gd name="connsiteY3006" fmla="*/ 3858974 h 6386516"/>
              <a:gd name="connsiteX3007" fmla="*/ 1540215 w 6789110"/>
              <a:gd name="connsiteY3007" fmla="*/ 3830102 h 6386516"/>
              <a:gd name="connsiteX3008" fmla="*/ 1528666 w 6789110"/>
              <a:gd name="connsiteY3008" fmla="*/ 3841650 h 6386516"/>
              <a:gd name="connsiteX3009" fmla="*/ 1542140 w 6789110"/>
              <a:gd name="connsiteY3009" fmla="*/ 3783907 h 6386516"/>
              <a:gd name="connsiteX3010" fmla="*/ 1582560 w 6789110"/>
              <a:gd name="connsiteY3010" fmla="*/ 3751185 h 6386516"/>
              <a:gd name="connsiteX3011" fmla="*/ 1613357 w 6789110"/>
              <a:gd name="connsiteY3011" fmla="*/ 3770433 h 6386516"/>
              <a:gd name="connsiteX3012" fmla="*/ 1609507 w 6789110"/>
              <a:gd name="connsiteY3012" fmla="*/ 3747336 h 6386516"/>
              <a:gd name="connsiteX3013" fmla="*/ 1671102 w 6789110"/>
              <a:gd name="connsiteY3013" fmla="*/ 3760809 h 6386516"/>
              <a:gd name="connsiteX3014" fmla="*/ 1773114 w 6789110"/>
              <a:gd name="connsiteY3014" fmla="*/ 3847425 h 6386516"/>
              <a:gd name="connsiteX3015" fmla="*/ 1780813 w 6789110"/>
              <a:gd name="connsiteY3015" fmla="*/ 3797380 h 6386516"/>
              <a:gd name="connsiteX3016" fmla="*/ 1850106 w 6789110"/>
              <a:gd name="connsiteY3016" fmla="*/ 3833951 h 6386516"/>
              <a:gd name="connsiteX3017" fmla="*/ 1877054 w 6789110"/>
              <a:gd name="connsiteY3017" fmla="*/ 3714615 h 6386516"/>
              <a:gd name="connsiteX3018" fmla="*/ 2036479 w 6789110"/>
              <a:gd name="connsiteY3018" fmla="*/ 3767937 h 6386516"/>
              <a:gd name="connsiteX3019" fmla="*/ 2042906 w 6789110"/>
              <a:gd name="connsiteY3019" fmla="*/ 3789836 h 6386516"/>
              <a:gd name="connsiteX3020" fmla="*/ 2037381 w 6789110"/>
              <a:gd name="connsiteY3020" fmla="*/ 3758252 h 6386516"/>
              <a:gd name="connsiteX3021" fmla="*/ 2025261 w 6789110"/>
              <a:gd name="connsiteY3021" fmla="*/ 3722313 h 6386516"/>
              <a:gd name="connsiteX3022" fmla="*/ 2086854 w 6789110"/>
              <a:gd name="connsiteY3022" fmla="*/ 3735786 h 6386516"/>
              <a:gd name="connsiteX3023" fmla="*/ 2092628 w 6789110"/>
              <a:gd name="connsiteY3023" fmla="*/ 3731937 h 6386516"/>
              <a:gd name="connsiteX3024" fmla="*/ 2104177 w 6789110"/>
              <a:gd name="connsiteY3024" fmla="*/ 3816627 h 6386516"/>
              <a:gd name="connsiteX3025" fmla="*/ 2090704 w 6789110"/>
              <a:gd name="connsiteY3025" fmla="*/ 3857048 h 6386516"/>
              <a:gd name="connsiteX3026" fmla="*/ 2058012 w 6789110"/>
              <a:gd name="connsiteY3026" fmla="*/ 3833018 h 6386516"/>
              <a:gd name="connsiteX3027" fmla="*/ 2047753 w 6789110"/>
              <a:gd name="connsiteY3027" fmla="*/ 3806596 h 6386516"/>
              <a:gd name="connsiteX3028" fmla="*/ 2046434 w 6789110"/>
              <a:gd name="connsiteY3028" fmla="*/ 3843575 h 6386516"/>
              <a:gd name="connsiteX3029" fmla="*/ 2104178 w 6789110"/>
              <a:gd name="connsiteY3029" fmla="*/ 3874372 h 6386516"/>
              <a:gd name="connsiteX3030" fmla="*/ 2263935 w 6789110"/>
              <a:gd name="connsiteY3030" fmla="*/ 3720389 h 6386516"/>
              <a:gd name="connsiteX3031" fmla="*/ 2300506 w 6789110"/>
              <a:gd name="connsiteY3031" fmla="*/ 3824327 h 6386516"/>
              <a:gd name="connsiteX3032" fmla="*/ 2125351 w 6789110"/>
              <a:gd name="connsiteY3032" fmla="*/ 3855124 h 6386516"/>
              <a:gd name="connsiteX3033" fmla="*/ 2131125 w 6789110"/>
              <a:gd name="connsiteY3033" fmla="*/ 3889770 h 6386516"/>
              <a:gd name="connsiteX3034" fmla="*/ 1996390 w 6789110"/>
              <a:gd name="connsiteY3034" fmla="*/ 3937890 h 6386516"/>
              <a:gd name="connsiteX3035" fmla="*/ 2273559 w 6789110"/>
              <a:gd name="connsiteY3035" fmla="*/ 3891695 h 6386516"/>
              <a:gd name="connsiteX3036" fmla="*/ 1884752 w 6789110"/>
              <a:gd name="connsiteY3036" fmla="*/ 4066851 h 6386516"/>
              <a:gd name="connsiteX3037" fmla="*/ 2335152 w 6789110"/>
              <a:gd name="connsiteY3037" fmla="*/ 3922491 h 6386516"/>
              <a:gd name="connsiteX3038" fmla="*/ 2034885 w 6789110"/>
              <a:gd name="connsiteY3038" fmla="*/ 4091874 h 6386516"/>
              <a:gd name="connsiteX3039" fmla="*/ 2056058 w 6789110"/>
              <a:gd name="connsiteY3039" fmla="*/ 4113047 h 6386516"/>
              <a:gd name="connsiteX3040" fmla="*/ 2421768 w 6789110"/>
              <a:gd name="connsiteY3040" fmla="*/ 3984085 h 6386516"/>
              <a:gd name="connsiteX3041" fmla="*/ 2425617 w 6789110"/>
              <a:gd name="connsiteY3041" fmla="*/ 4001408 h 6386516"/>
              <a:gd name="connsiteX3042" fmla="*/ 2612322 w 6789110"/>
              <a:gd name="connsiteY3042" fmla="*/ 3857049 h 6386516"/>
              <a:gd name="connsiteX3043" fmla="*/ 2423692 w 6789110"/>
              <a:gd name="connsiteY3043" fmla="*/ 4043753 h 6386516"/>
              <a:gd name="connsiteX3044" fmla="*/ 2423692 w 6789110"/>
              <a:gd name="connsiteY3044" fmla="*/ 4022581 h 6386516"/>
              <a:gd name="connsiteX3045" fmla="*/ 2260085 w 6789110"/>
              <a:gd name="connsiteY3045" fmla="*/ 4114971 h 6386516"/>
              <a:gd name="connsiteX3046" fmla="*/ 1954044 w 6789110"/>
              <a:gd name="connsiteY3046" fmla="*/ 4249706 h 6386516"/>
              <a:gd name="connsiteX3047" fmla="*/ 2027186 w 6789110"/>
              <a:gd name="connsiteY3047" fmla="*/ 4270879 h 6386516"/>
              <a:gd name="connsiteX3048" fmla="*/ 2086855 w 6789110"/>
              <a:gd name="connsiteY3048" fmla="*/ 4270879 h 6386516"/>
              <a:gd name="connsiteX3049" fmla="*/ 2304356 w 6789110"/>
              <a:gd name="connsiteY3049" fmla="*/ 4178489 h 6386516"/>
              <a:gd name="connsiteX3050" fmla="*/ 2171545 w 6789110"/>
              <a:gd name="connsiteY3050" fmla="*/ 4326698 h 6386516"/>
              <a:gd name="connsiteX3051" fmla="*/ 2225439 w 6789110"/>
              <a:gd name="connsiteY3051" fmla="*/ 4344021 h 6386516"/>
              <a:gd name="connsiteX3052" fmla="*/ 2269709 w 6789110"/>
              <a:gd name="connsiteY3052" fmla="*/ 4326698 h 6386516"/>
              <a:gd name="connsiteX3053" fmla="*/ 2329378 w 6789110"/>
              <a:gd name="connsiteY3053" fmla="*/ 4249706 h 6386516"/>
              <a:gd name="connsiteX3054" fmla="*/ 2365949 w 6789110"/>
              <a:gd name="connsiteY3054" fmla="*/ 4236233 h 6386516"/>
              <a:gd name="connsiteX3055" fmla="*/ 2587301 w 6789110"/>
              <a:gd name="connsiteY3055" fmla="*/ 3976385 h 6386516"/>
              <a:gd name="connsiteX3056" fmla="*/ 2394822 w 6789110"/>
              <a:gd name="connsiteY3056" fmla="*/ 4299751 h 6386516"/>
              <a:gd name="connsiteX3057" fmla="*/ 2423692 w 6789110"/>
              <a:gd name="connsiteY3057" fmla="*/ 4301676 h 6386516"/>
              <a:gd name="connsiteX3058" fmla="*/ 2425617 w 6789110"/>
              <a:gd name="connsiteY3058" fmla="*/ 5042719 h 6386516"/>
              <a:gd name="connsiteX3059" fmla="*/ 2402520 w 6789110"/>
              <a:gd name="connsiteY3059" fmla="*/ 5088914 h 6386516"/>
              <a:gd name="connsiteX3060" fmla="*/ 2417918 w 6789110"/>
              <a:gd name="connsiteY3060" fmla="*/ 5079290 h 6386516"/>
              <a:gd name="connsiteX3061" fmla="*/ 2186944 w 6789110"/>
              <a:gd name="connsiteY3061" fmla="*/ 5327587 h 6386516"/>
              <a:gd name="connsiteX3062" fmla="*/ 2188868 w 6789110"/>
              <a:gd name="connsiteY3062" fmla="*/ 5344910 h 6386516"/>
              <a:gd name="connsiteX3063" fmla="*/ 2462188 w 6789110"/>
              <a:gd name="connsiteY3063" fmla="*/ 5008072 h 6386516"/>
              <a:gd name="connsiteX3064" fmla="*/ 2433316 w 6789110"/>
              <a:gd name="connsiteY3064" fmla="*/ 4286277 h 6386516"/>
              <a:gd name="connsiteX3065" fmla="*/ 2479511 w 6789110"/>
              <a:gd name="connsiteY3065" fmla="*/ 4249706 h 6386516"/>
              <a:gd name="connsiteX3066" fmla="*/ 2473737 w 6789110"/>
              <a:gd name="connsiteY3066" fmla="*/ 4528800 h 6386516"/>
              <a:gd name="connsiteX3067" fmla="*/ 2410219 w 6789110"/>
              <a:gd name="connsiteY3067" fmla="*/ 5177454 h 6386516"/>
              <a:gd name="connsiteX3068" fmla="*/ 2423692 w 6789110"/>
              <a:gd name="connsiteY3068" fmla="*/ 5196702 h 6386516"/>
              <a:gd name="connsiteX3069" fmla="*/ 2198492 w 6789110"/>
              <a:gd name="connsiteY3069" fmla="*/ 5416128 h 6386516"/>
              <a:gd name="connsiteX3070" fmla="*/ 2196568 w 6789110"/>
              <a:gd name="connsiteY3070" fmla="*/ 5429602 h 6386516"/>
              <a:gd name="connsiteX3071" fmla="*/ 2194644 w 6789110"/>
              <a:gd name="connsiteY3071" fmla="*/ 5431526 h 6386516"/>
              <a:gd name="connsiteX3072" fmla="*/ 2188868 w 6789110"/>
              <a:gd name="connsiteY3072" fmla="*/ 5437301 h 6386516"/>
              <a:gd name="connsiteX3073" fmla="*/ 2510308 w 6789110"/>
              <a:gd name="connsiteY3073" fmla="*/ 4958028 h 6386516"/>
              <a:gd name="connsiteX3074" fmla="*/ 2489135 w 6789110"/>
              <a:gd name="connsiteY3074" fmla="*/ 4242007 h 6386516"/>
              <a:gd name="connsiteX3075" fmla="*/ 2543029 w 6789110"/>
              <a:gd name="connsiteY3075" fmla="*/ 4215060 h 6386516"/>
              <a:gd name="connsiteX3076" fmla="*/ 2562278 w 6789110"/>
              <a:gd name="connsiteY3076" fmla="*/ 5088914 h 6386516"/>
              <a:gd name="connsiteX3077" fmla="*/ 2521857 w 6789110"/>
              <a:gd name="connsiteY3077" fmla="*/ 5175529 h 6386516"/>
              <a:gd name="connsiteX3078" fmla="*/ 2469887 w 6789110"/>
              <a:gd name="connsiteY3078" fmla="*/ 5314114 h 6386516"/>
              <a:gd name="connsiteX3079" fmla="*/ 2146523 w 6789110"/>
              <a:gd name="connsiteY3079" fmla="*/ 5620155 h 6386516"/>
              <a:gd name="connsiteX3080" fmla="*/ 2527631 w 6789110"/>
              <a:gd name="connsiteY3080" fmla="*/ 5265995 h 6386516"/>
              <a:gd name="connsiteX3081" fmla="*/ 2560352 w 6789110"/>
              <a:gd name="connsiteY3081" fmla="*/ 4191963 h 6386516"/>
              <a:gd name="connsiteX3082" fmla="*/ 2739358 w 6789110"/>
              <a:gd name="connsiteY3082" fmla="*/ 3926341 h 6386516"/>
              <a:gd name="connsiteX3083" fmla="*/ 2621945 w 6789110"/>
              <a:gd name="connsiteY3083" fmla="*/ 4261255 h 6386516"/>
              <a:gd name="connsiteX3084" fmla="*/ 2700862 w 6789110"/>
              <a:gd name="connsiteY3084" fmla="*/ 4122670 h 6386516"/>
              <a:gd name="connsiteX3085" fmla="*/ 2698937 w 6789110"/>
              <a:gd name="connsiteY3085" fmla="*/ 4018731 h 6386516"/>
              <a:gd name="connsiteX3086" fmla="*/ 2581525 w 6789110"/>
              <a:gd name="connsiteY3086" fmla="*/ 4238158 h 6386516"/>
              <a:gd name="connsiteX3087" fmla="*/ 2608472 w 6789110"/>
              <a:gd name="connsiteY3087" fmla="*/ 4253556 h 6386516"/>
              <a:gd name="connsiteX3088" fmla="*/ 2620021 w 6789110"/>
              <a:gd name="connsiteY3088" fmla="*/ 4971502 h 6386516"/>
              <a:gd name="connsiteX3089" fmla="*/ 2635419 w 6789110"/>
              <a:gd name="connsiteY3089" fmla="*/ 4983050 h 6386516"/>
              <a:gd name="connsiteX3090" fmla="*/ 2440805 w 6789110"/>
              <a:gd name="connsiteY3090" fmla="*/ 5453481 h 6386516"/>
              <a:gd name="connsiteX3091" fmla="*/ 2383752 w 6789110"/>
              <a:gd name="connsiteY3091" fmla="*/ 5498123 h 6386516"/>
              <a:gd name="connsiteX3092" fmla="*/ 2412925 w 6789110"/>
              <a:gd name="connsiteY3092" fmla="*/ 5470744 h 6386516"/>
              <a:gd name="connsiteX3093" fmla="*/ 2479511 w 6789110"/>
              <a:gd name="connsiteY3093" fmla="*/ 5389181 h 6386516"/>
              <a:gd name="connsiteX3094" fmla="*/ 2158073 w 6789110"/>
              <a:gd name="connsiteY3094" fmla="*/ 5843431 h 6386516"/>
              <a:gd name="connsiteX3095" fmla="*/ 2177320 w 6789110"/>
              <a:gd name="connsiteY3095" fmla="*/ 5930046 h 6386516"/>
              <a:gd name="connsiteX3096" fmla="*/ 2142673 w 6789110"/>
              <a:gd name="connsiteY3096" fmla="*/ 5912723 h 6386516"/>
              <a:gd name="connsiteX3097" fmla="*/ 2104178 w 6789110"/>
              <a:gd name="connsiteY3097" fmla="*/ 5933896 h 6386516"/>
              <a:gd name="connsiteX3098" fmla="*/ 2063757 w 6789110"/>
              <a:gd name="connsiteY3098" fmla="*/ 5880002 h 6386516"/>
              <a:gd name="connsiteX3099" fmla="*/ 2061832 w 6789110"/>
              <a:gd name="connsiteY3099" fmla="*/ 5878077 h 6386516"/>
              <a:gd name="connsiteX3100" fmla="*/ 2052209 w 6789110"/>
              <a:gd name="connsiteY3100" fmla="*/ 5885776 h 6386516"/>
              <a:gd name="connsiteX3101" fmla="*/ 2050284 w 6789110"/>
              <a:gd name="connsiteY3101" fmla="*/ 5885776 h 6386516"/>
              <a:gd name="connsiteX3102" fmla="*/ 2044510 w 6789110"/>
              <a:gd name="connsiteY3102" fmla="*/ 5878077 h 6386516"/>
              <a:gd name="connsiteX3103" fmla="*/ 2044510 w 6789110"/>
              <a:gd name="connsiteY3103" fmla="*/ 5885776 h 6386516"/>
              <a:gd name="connsiteX3104" fmla="*/ 2021412 w 6789110"/>
              <a:gd name="connsiteY3104" fmla="*/ 5883851 h 6386516"/>
              <a:gd name="connsiteX3105" fmla="*/ 2021412 w 6789110"/>
              <a:gd name="connsiteY3105" fmla="*/ 5868453 h 6386516"/>
              <a:gd name="connsiteX3106" fmla="*/ 2029111 w 6789110"/>
              <a:gd name="connsiteY3106" fmla="*/ 5862679 h 6386516"/>
              <a:gd name="connsiteX3107" fmla="*/ 2040660 w 6789110"/>
              <a:gd name="connsiteY3107" fmla="*/ 5864603 h 6386516"/>
              <a:gd name="connsiteX3108" fmla="*/ 2013713 w 6789110"/>
              <a:gd name="connsiteY3108" fmla="*/ 5845355 h 6386516"/>
              <a:gd name="connsiteX3109" fmla="*/ 2009863 w 6789110"/>
              <a:gd name="connsiteY3109" fmla="*/ 5851130 h 6386516"/>
              <a:gd name="connsiteX3110" fmla="*/ 2006014 w 6789110"/>
              <a:gd name="connsiteY3110" fmla="*/ 5853055 h 6386516"/>
              <a:gd name="connsiteX3111" fmla="*/ 2007939 w 6789110"/>
              <a:gd name="connsiteY3111" fmla="*/ 5843431 h 6386516"/>
              <a:gd name="connsiteX3112" fmla="*/ 2011788 w 6789110"/>
              <a:gd name="connsiteY3112" fmla="*/ 5843431 h 6386516"/>
              <a:gd name="connsiteX3113" fmla="*/ 2015638 w 6789110"/>
              <a:gd name="connsiteY3113" fmla="*/ 5810709 h 6386516"/>
              <a:gd name="connsiteX3114" fmla="*/ 2004089 w 6789110"/>
              <a:gd name="connsiteY3114" fmla="*/ 5816483 h 6386516"/>
              <a:gd name="connsiteX3115" fmla="*/ 2007939 w 6789110"/>
              <a:gd name="connsiteY3115" fmla="*/ 5801085 h 6386516"/>
              <a:gd name="connsiteX3116" fmla="*/ 2000239 w 6789110"/>
              <a:gd name="connsiteY3116" fmla="*/ 5787612 h 6386516"/>
              <a:gd name="connsiteX3117" fmla="*/ 1992540 w 6789110"/>
              <a:gd name="connsiteY3117" fmla="*/ 5783762 h 6386516"/>
              <a:gd name="connsiteX3118" fmla="*/ 1994466 w 6789110"/>
              <a:gd name="connsiteY3118" fmla="*/ 5779913 h 6386516"/>
              <a:gd name="connsiteX3119" fmla="*/ 1998314 w 6789110"/>
              <a:gd name="connsiteY3119" fmla="*/ 5779913 h 6386516"/>
              <a:gd name="connsiteX3120" fmla="*/ 1998314 w 6789110"/>
              <a:gd name="connsiteY3120" fmla="*/ 5770289 h 6386516"/>
              <a:gd name="connsiteX3121" fmla="*/ 2013713 w 6789110"/>
              <a:gd name="connsiteY3121" fmla="*/ 5762590 h 6386516"/>
              <a:gd name="connsiteX3122" fmla="*/ 2013713 w 6789110"/>
              <a:gd name="connsiteY3122" fmla="*/ 5729868 h 6386516"/>
              <a:gd name="connsiteX3123" fmla="*/ 2029111 w 6789110"/>
              <a:gd name="connsiteY3123" fmla="*/ 5722169 h 6386516"/>
              <a:gd name="connsiteX3124" fmla="*/ 2027186 w 6789110"/>
              <a:gd name="connsiteY3124" fmla="*/ 5749116 h 6386516"/>
              <a:gd name="connsiteX3125" fmla="*/ 2025261 w 6789110"/>
              <a:gd name="connsiteY3125" fmla="*/ 5758740 h 6386516"/>
              <a:gd name="connsiteX3126" fmla="*/ 2031036 w 6789110"/>
              <a:gd name="connsiteY3126" fmla="*/ 5756815 h 6386516"/>
              <a:gd name="connsiteX3127" fmla="*/ 2034885 w 6789110"/>
              <a:gd name="connsiteY3127" fmla="*/ 5739492 h 6386516"/>
              <a:gd name="connsiteX3128" fmla="*/ 2040660 w 6789110"/>
              <a:gd name="connsiteY3128" fmla="*/ 5745267 h 6386516"/>
              <a:gd name="connsiteX3129" fmla="*/ 2038736 w 6789110"/>
              <a:gd name="connsiteY3129" fmla="*/ 5727944 h 6386516"/>
              <a:gd name="connsiteX3130" fmla="*/ 2038736 w 6789110"/>
              <a:gd name="connsiteY3130" fmla="*/ 5718320 h 6386516"/>
              <a:gd name="connsiteX3131" fmla="*/ 2056058 w 6789110"/>
              <a:gd name="connsiteY3131" fmla="*/ 5708696 h 6386516"/>
              <a:gd name="connsiteX3132" fmla="*/ 2040660 w 6789110"/>
              <a:gd name="connsiteY3132" fmla="*/ 5708696 h 6386516"/>
              <a:gd name="connsiteX3133" fmla="*/ 2057983 w 6789110"/>
              <a:gd name="connsiteY3133" fmla="*/ 5700996 h 6386516"/>
              <a:gd name="connsiteX3134" fmla="*/ 2063757 w 6789110"/>
              <a:gd name="connsiteY3134" fmla="*/ 5710620 h 6386516"/>
              <a:gd name="connsiteX3135" fmla="*/ 2065682 w 6789110"/>
              <a:gd name="connsiteY3135" fmla="*/ 5695222 h 6386516"/>
              <a:gd name="connsiteX3136" fmla="*/ 2075306 w 6789110"/>
              <a:gd name="connsiteY3136" fmla="*/ 5693297 h 6386516"/>
              <a:gd name="connsiteX3137" fmla="*/ 2073381 w 6789110"/>
              <a:gd name="connsiteY3137" fmla="*/ 5745267 h 6386516"/>
              <a:gd name="connsiteX3138" fmla="*/ 2084930 w 6789110"/>
              <a:gd name="connsiteY3138" fmla="*/ 5741417 h 6386516"/>
              <a:gd name="connsiteX3139" fmla="*/ 2086855 w 6789110"/>
              <a:gd name="connsiteY3139" fmla="*/ 5712545 h 6386516"/>
              <a:gd name="connsiteX3140" fmla="*/ 2092629 w 6789110"/>
              <a:gd name="connsiteY3140" fmla="*/ 5702921 h 6386516"/>
              <a:gd name="connsiteX3141" fmla="*/ 2092629 w 6789110"/>
              <a:gd name="connsiteY3141" fmla="*/ 5699072 h 6386516"/>
              <a:gd name="connsiteX3142" fmla="*/ 2098403 w 6789110"/>
              <a:gd name="connsiteY3142" fmla="*/ 5693297 h 6386516"/>
              <a:gd name="connsiteX3143" fmla="*/ 2115726 w 6789110"/>
              <a:gd name="connsiteY3143" fmla="*/ 5693297 h 6386516"/>
              <a:gd name="connsiteX3144" fmla="*/ 2123426 w 6789110"/>
              <a:gd name="connsiteY3144" fmla="*/ 5700996 h 6386516"/>
              <a:gd name="connsiteX3145" fmla="*/ 2123426 w 6789110"/>
              <a:gd name="connsiteY3145" fmla="*/ 5697147 h 6386516"/>
              <a:gd name="connsiteX3146" fmla="*/ 2119577 w 6789110"/>
              <a:gd name="connsiteY3146" fmla="*/ 5693297 h 6386516"/>
              <a:gd name="connsiteX3147" fmla="*/ 2123426 w 6789110"/>
              <a:gd name="connsiteY3147" fmla="*/ 5693297 h 6386516"/>
              <a:gd name="connsiteX3148" fmla="*/ 2123426 w 6789110"/>
              <a:gd name="connsiteY3148" fmla="*/ 5685598 h 6386516"/>
              <a:gd name="connsiteX3149" fmla="*/ 2108027 w 6789110"/>
              <a:gd name="connsiteY3149" fmla="*/ 5685598 h 6386516"/>
              <a:gd name="connsiteX3150" fmla="*/ 2121501 w 6789110"/>
              <a:gd name="connsiteY3150" fmla="*/ 5675974 h 6386516"/>
              <a:gd name="connsiteX3151" fmla="*/ 2119577 w 6789110"/>
              <a:gd name="connsiteY3151" fmla="*/ 5672124 h 6386516"/>
              <a:gd name="connsiteX3152" fmla="*/ 2113803 w 6789110"/>
              <a:gd name="connsiteY3152" fmla="*/ 5677899 h 6386516"/>
              <a:gd name="connsiteX3153" fmla="*/ 2111877 w 6789110"/>
              <a:gd name="connsiteY3153" fmla="*/ 5674049 h 6386516"/>
              <a:gd name="connsiteX3154" fmla="*/ 2117651 w 6789110"/>
              <a:gd name="connsiteY3154" fmla="*/ 5668275 h 6386516"/>
              <a:gd name="connsiteX3155" fmla="*/ 2115726 w 6789110"/>
              <a:gd name="connsiteY3155" fmla="*/ 5662500 h 6386516"/>
              <a:gd name="connsiteX3156" fmla="*/ 2094554 w 6789110"/>
              <a:gd name="connsiteY3156" fmla="*/ 5650952 h 6386516"/>
              <a:gd name="connsiteX3157" fmla="*/ 2092629 w 6789110"/>
              <a:gd name="connsiteY3157" fmla="*/ 5652876 h 6386516"/>
              <a:gd name="connsiteX3158" fmla="*/ 2100328 w 6789110"/>
              <a:gd name="connsiteY3158" fmla="*/ 5660576 h 6386516"/>
              <a:gd name="connsiteX3159" fmla="*/ 2086855 w 6789110"/>
              <a:gd name="connsiteY3159" fmla="*/ 5672124 h 6386516"/>
              <a:gd name="connsiteX3160" fmla="*/ 2086855 w 6789110"/>
              <a:gd name="connsiteY3160" fmla="*/ 5654801 h 6386516"/>
              <a:gd name="connsiteX3161" fmla="*/ 2086855 w 6789110"/>
              <a:gd name="connsiteY3161" fmla="*/ 5649027 h 6386516"/>
              <a:gd name="connsiteX3162" fmla="*/ 2071456 w 6789110"/>
              <a:gd name="connsiteY3162" fmla="*/ 5645177 h 6386516"/>
              <a:gd name="connsiteX3163" fmla="*/ 2071456 w 6789110"/>
              <a:gd name="connsiteY3163" fmla="*/ 5647102 h 6386516"/>
              <a:gd name="connsiteX3164" fmla="*/ 2057983 w 6789110"/>
              <a:gd name="connsiteY3164" fmla="*/ 5652876 h 6386516"/>
              <a:gd name="connsiteX3165" fmla="*/ 2059633 w 6789110"/>
              <a:gd name="connsiteY3165" fmla="*/ 5644627 h 6386516"/>
              <a:gd name="connsiteX3166" fmla="*/ 2054133 w 6789110"/>
              <a:gd name="connsiteY3166" fmla="*/ 5643252 h 6386516"/>
              <a:gd name="connsiteX3167" fmla="*/ 2045953 w 6789110"/>
              <a:gd name="connsiteY3167" fmla="*/ 5643252 h 6386516"/>
              <a:gd name="connsiteX3168" fmla="*/ 2056058 w 6789110"/>
              <a:gd name="connsiteY3168" fmla="*/ 5649027 h 6386516"/>
              <a:gd name="connsiteX3169" fmla="*/ 2054134 w 6789110"/>
              <a:gd name="connsiteY3169" fmla="*/ 5652876 h 6386516"/>
              <a:gd name="connsiteX3170" fmla="*/ 2046433 w 6789110"/>
              <a:gd name="connsiteY3170" fmla="*/ 5649027 h 6386516"/>
              <a:gd name="connsiteX3171" fmla="*/ 2052209 w 6789110"/>
              <a:gd name="connsiteY3171" fmla="*/ 5662500 h 6386516"/>
              <a:gd name="connsiteX3172" fmla="*/ 2034885 w 6789110"/>
              <a:gd name="connsiteY3172" fmla="*/ 5670200 h 6386516"/>
              <a:gd name="connsiteX3173" fmla="*/ 2032960 w 6789110"/>
              <a:gd name="connsiteY3173" fmla="*/ 5670200 h 6386516"/>
              <a:gd name="connsiteX3174" fmla="*/ 2033559 w 6789110"/>
              <a:gd name="connsiteY3174" fmla="*/ 5666616 h 6386516"/>
              <a:gd name="connsiteX3175" fmla="*/ 2015638 w 6789110"/>
              <a:gd name="connsiteY3175" fmla="*/ 5704846 h 6386516"/>
              <a:gd name="connsiteX3176" fmla="*/ 2019562 w 6789110"/>
              <a:gd name="connsiteY3176" fmla="*/ 5679098 h 6386516"/>
              <a:gd name="connsiteX3177" fmla="*/ 2023512 w 6789110"/>
              <a:gd name="connsiteY3177" fmla="*/ 5673349 h 6386516"/>
              <a:gd name="connsiteX3178" fmla="*/ 2021412 w 6789110"/>
              <a:gd name="connsiteY3178" fmla="*/ 5674049 h 6386516"/>
              <a:gd name="connsiteX3179" fmla="*/ 2031036 w 6789110"/>
              <a:gd name="connsiteY3179" fmla="*/ 5652876 h 6386516"/>
              <a:gd name="connsiteX3180" fmla="*/ 2028350 w 6789110"/>
              <a:gd name="connsiteY3180" fmla="*/ 5666307 h 6386516"/>
              <a:gd name="connsiteX3181" fmla="*/ 2034043 w 6789110"/>
              <a:gd name="connsiteY3181" fmla="*/ 5658019 h 6386516"/>
              <a:gd name="connsiteX3182" fmla="*/ 2036035 w 6789110"/>
              <a:gd name="connsiteY3182" fmla="*/ 5651752 h 6386516"/>
              <a:gd name="connsiteX3183" fmla="*/ 2036809 w 6789110"/>
              <a:gd name="connsiteY3183" fmla="*/ 5647102 h 6386516"/>
              <a:gd name="connsiteX3184" fmla="*/ 2037839 w 6789110"/>
              <a:gd name="connsiteY3184" fmla="*/ 5646072 h 6386516"/>
              <a:gd name="connsiteX3185" fmla="*/ 2038736 w 6789110"/>
              <a:gd name="connsiteY3185" fmla="*/ 5643252 h 6386516"/>
              <a:gd name="connsiteX3186" fmla="*/ 2031036 w 6789110"/>
              <a:gd name="connsiteY3186" fmla="*/ 5645177 h 6386516"/>
              <a:gd name="connsiteX3187" fmla="*/ 2017562 w 6789110"/>
              <a:gd name="connsiteY3187" fmla="*/ 5660576 h 6386516"/>
              <a:gd name="connsiteX3188" fmla="*/ 2017562 w 6789110"/>
              <a:gd name="connsiteY3188" fmla="*/ 5647102 h 6386516"/>
              <a:gd name="connsiteX3189" fmla="*/ 2006014 w 6789110"/>
              <a:gd name="connsiteY3189" fmla="*/ 5650952 h 6386516"/>
              <a:gd name="connsiteX3190" fmla="*/ 1996390 w 6789110"/>
              <a:gd name="connsiteY3190" fmla="*/ 5670200 h 6386516"/>
              <a:gd name="connsiteX3191" fmla="*/ 1988690 w 6789110"/>
              <a:gd name="connsiteY3191" fmla="*/ 5656726 h 6386516"/>
              <a:gd name="connsiteX3192" fmla="*/ 1979067 w 6789110"/>
              <a:gd name="connsiteY3192" fmla="*/ 5660576 h 6386516"/>
              <a:gd name="connsiteX3193" fmla="*/ 2006014 w 6789110"/>
              <a:gd name="connsiteY3193" fmla="*/ 5708696 h 6386516"/>
              <a:gd name="connsiteX3194" fmla="*/ 1996390 w 6789110"/>
              <a:gd name="connsiteY3194" fmla="*/ 5700996 h 6386516"/>
              <a:gd name="connsiteX3195" fmla="*/ 1992540 w 6789110"/>
              <a:gd name="connsiteY3195" fmla="*/ 5704846 h 6386516"/>
              <a:gd name="connsiteX3196" fmla="*/ 1976179 w 6789110"/>
              <a:gd name="connsiteY3196" fmla="*/ 5707734 h 6386516"/>
              <a:gd name="connsiteX3197" fmla="*/ 1972626 w 6789110"/>
              <a:gd name="connsiteY3197" fmla="*/ 5709711 h 6386516"/>
              <a:gd name="connsiteX3198" fmla="*/ 1973292 w 6789110"/>
              <a:gd name="connsiteY3198" fmla="*/ 5720244 h 6386516"/>
              <a:gd name="connsiteX3199" fmla="*/ 1963669 w 6789110"/>
              <a:gd name="connsiteY3199" fmla="*/ 5727943 h 6386516"/>
              <a:gd name="connsiteX3200" fmla="*/ 1957893 w 6789110"/>
              <a:gd name="connsiteY3200" fmla="*/ 5710620 h 6386516"/>
              <a:gd name="connsiteX3201" fmla="*/ 1959818 w 6789110"/>
              <a:gd name="connsiteY3201" fmla="*/ 5724094 h 6386516"/>
              <a:gd name="connsiteX3202" fmla="*/ 1954044 w 6789110"/>
              <a:gd name="connsiteY3202" fmla="*/ 5720244 h 6386516"/>
              <a:gd name="connsiteX3203" fmla="*/ 1950194 w 6789110"/>
              <a:gd name="connsiteY3203" fmla="*/ 5724094 h 6386516"/>
              <a:gd name="connsiteX3204" fmla="*/ 1942495 w 6789110"/>
              <a:gd name="connsiteY3204" fmla="*/ 5704846 h 6386516"/>
              <a:gd name="connsiteX3205" fmla="*/ 1955969 w 6789110"/>
              <a:gd name="connsiteY3205" fmla="*/ 5696127 h 6386516"/>
              <a:gd name="connsiteX3206" fmla="*/ 1955969 w 6789110"/>
              <a:gd name="connsiteY3206" fmla="*/ 5677899 h 6386516"/>
              <a:gd name="connsiteX3207" fmla="*/ 1965593 w 6789110"/>
              <a:gd name="connsiteY3207" fmla="*/ 5672124 h 6386516"/>
              <a:gd name="connsiteX3208" fmla="*/ 1961743 w 6789110"/>
              <a:gd name="connsiteY3208" fmla="*/ 5668275 h 6386516"/>
              <a:gd name="connsiteX3209" fmla="*/ 1938646 w 6789110"/>
              <a:gd name="connsiteY3209" fmla="*/ 5674049 h 6386516"/>
              <a:gd name="connsiteX3210" fmla="*/ 1938646 w 6789110"/>
              <a:gd name="connsiteY3210" fmla="*/ 5675974 h 6386516"/>
              <a:gd name="connsiteX3211" fmla="*/ 1932872 w 6789110"/>
              <a:gd name="connsiteY3211" fmla="*/ 5677899 h 6386516"/>
              <a:gd name="connsiteX3212" fmla="*/ 1932872 w 6789110"/>
              <a:gd name="connsiteY3212" fmla="*/ 5679342 h 6386516"/>
              <a:gd name="connsiteX3213" fmla="*/ 1927098 w 6789110"/>
              <a:gd name="connsiteY3213" fmla="*/ 5693297 h 6386516"/>
              <a:gd name="connsiteX3214" fmla="*/ 1923247 w 6789110"/>
              <a:gd name="connsiteY3214" fmla="*/ 5689447 h 6386516"/>
              <a:gd name="connsiteX3215" fmla="*/ 1925438 w 6789110"/>
              <a:gd name="connsiteY3215" fmla="*/ 5676506 h 6386516"/>
              <a:gd name="connsiteX3216" fmla="*/ 1925172 w 6789110"/>
              <a:gd name="connsiteY3216" fmla="*/ 5675974 h 6386516"/>
              <a:gd name="connsiteX3217" fmla="*/ 1925172 w 6789110"/>
              <a:gd name="connsiteY3217" fmla="*/ 5674049 h 6386516"/>
              <a:gd name="connsiteX3218" fmla="*/ 1921324 w 6789110"/>
              <a:gd name="connsiteY3218" fmla="*/ 5674049 h 6386516"/>
              <a:gd name="connsiteX3219" fmla="*/ 1915548 w 6789110"/>
              <a:gd name="connsiteY3219" fmla="*/ 5674049 h 6386516"/>
              <a:gd name="connsiteX3220" fmla="*/ 1909774 w 6789110"/>
              <a:gd name="connsiteY3220" fmla="*/ 5683673 h 6386516"/>
              <a:gd name="connsiteX3221" fmla="*/ 1905925 w 6789110"/>
              <a:gd name="connsiteY3221" fmla="*/ 5683673 h 6386516"/>
              <a:gd name="connsiteX3222" fmla="*/ 1907849 w 6789110"/>
              <a:gd name="connsiteY3222" fmla="*/ 5685598 h 6386516"/>
              <a:gd name="connsiteX3223" fmla="*/ 1904000 w 6789110"/>
              <a:gd name="connsiteY3223" fmla="*/ 5687523 h 6386516"/>
              <a:gd name="connsiteX3224" fmla="*/ 1904000 w 6789110"/>
              <a:gd name="connsiteY3224" fmla="*/ 5691372 h 6386516"/>
              <a:gd name="connsiteX3225" fmla="*/ 1871278 w 6789110"/>
              <a:gd name="connsiteY3225" fmla="*/ 5731793 h 6386516"/>
              <a:gd name="connsiteX3226" fmla="*/ 1873972 w 6789110"/>
              <a:gd name="connsiteY3226" fmla="*/ 5712933 h 6386516"/>
              <a:gd name="connsiteX3227" fmla="*/ 1863579 w 6789110"/>
              <a:gd name="connsiteY3227" fmla="*/ 5751041 h 6386516"/>
              <a:gd name="connsiteX3228" fmla="*/ 1864323 w 6789110"/>
              <a:gd name="connsiteY3228" fmla="*/ 5752530 h 6386516"/>
              <a:gd name="connsiteX3229" fmla="*/ 1886676 w 6789110"/>
              <a:gd name="connsiteY3229" fmla="*/ 5739490 h 6386516"/>
              <a:gd name="connsiteX3230" fmla="*/ 1888602 w 6789110"/>
              <a:gd name="connsiteY3230" fmla="*/ 5747190 h 6386516"/>
              <a:gd name="connsiteX3231" fmla="*/ 1903999 w 6789110"/>
              <a:gd name="connsiteY3231" fmla="*/ 5752964 h 6386516"/>
              <a:gd name="connsiteX3232" fmla="*/ 1902075 w 6789110"/>
              <a:gd name="connsiteY3232" fmla="*/ 5770287 h 6386516"/>
              <a:gd name="connsiteX3233" fmla="*/ 1884751 w 6789110"/>
              <a:gd name="connsiteY3233" fmla="*/ 5783760 h 6386516"/>
              <a:gd name="connsiteX3234" fmla="*/ 1898225 w 6789110"/>
              <a:gd name="connsiteY3234" fmla="*/ 5785685 h 6386516"/>
              <a:gd name="connsiteX3235" fmla="*/ 1896300 w 6789110"/>
              <a:gd name="connsiteY3235" fmla="*/ 5795309 h 6386516"/>
              <a:gd name="connsiteX3236" fmla="*/ 1892451 w 6789110"/>
              <a:gd name="connsiteY3236" fmla="*/ 5799158 h 6386516"/>
              <a:gd name="connsiteX3237" fmla="*/ 1834707 w 6789110"/>
              <a:gd name="connsiteY3237" fmla="*/ 5876150 h 6386516"/>
              <a:gd name="connsiteX3238" fmla="*/ 1857082 w 6789110"/>
              <a:gd name="connsiteY3238" fmla="*/ 5819610 h 6386516"/>
              <a:gd name="connsiteX3239" fmla="*/ 1862742 w 6789110"/>
              <a:gd name="connsiteY3239" fmla="*/ 5761553 h 6386516"/>
              <a:gd name="connsiteX3240" fmla="*/ 1861414 w 6789110"/>
              <a:gd name="connsiteY3240" fmla="*/ 5762349 h 6386516"/>
              <a:gd name="connsiteX3241" fmla="*/ 1859730 w 6789110"/>
              <a:gd name="connsiteY3241" fmla="*/ 5770289 h 6386516"/>
              <a:gd name="connsiteX3242" fmla="*/ 1763491 w 6789110"/>
              <a:gd name="connsiteY3242" fmla="*/ 5689448 h 6386516"/>
              <a:gd name="connsiteX3243" fmla="*/ 1754683 w 6789110"/>
              <a:gd name="connsiteY3243" fmla="*/ 5697277 h 6386516"/>
              <a:gd name="connsiteX3244" fmla="*/ 1760303 w 6789110"/>
              <a:gd name="connsiteY3244" fmla="*/ 5709387 h 6386516"/>
              <a:gd name="connsiteX3245" fmla="*/ 1732694 w 6789110"/>
              <a:gd name="connsiteY3245" fmla="*/ 5752965 h 6386516"/>
              <a:gd name="connsiteX3246" fmla="*/ 1730769 w 6789110"/>
              <a:gd name="connsiteY3246" fmla="*/ 5702921 h 6386516"/>
              <a:gd name="connsiteX3247" fmla="*/ 1742799 w 6789110"/>
              <a:gd name="connsiteY3247" fmla="*/ 5699312 h 6386516"/>
              <a:gd name="connsiteX3248" fmla="*/ 1746167 w 6789110"/>
              <a:gd name="connsiteY3248" fmla="*/ 5696387 h 6386516"/>
              <a:gd name="connsiteX3249" fmla="*/ 1746167 w 6789110"/>
              <a:gd name="connsiteY3249" fmla="*/ 5675974 h 6386516"/>
              <a:gd name="connsiteX3250" fmla="*/ 1755791 w 6789110"/>
              <a:gd name="connsiteY3250" fmla="*/ 5677899 h 6386516"/>
              <a:gd name="connsiteX3251" fmla="*/ 1701897 w 6789110"/>
              <a:gd name="connsiteY3251" fmla="*/ 5650952 h 6386516"/>
              <a:gd name="connsiteX3252" fmla="*/ 1659552 w 6789110"/>
              <a:gd name="connsiteY3252" fmla="*/ 5575885 h 6386516"/>
              <a:gd name="connsiteX3253" fmla="*/ 1659552 w 6789110"/>
              <a:gd name="connsiteY3253" fmla="*/ 5612456 h 6386516"/>
              <a:gd name="connsiteX3254" fmla="*/ 1649928 w 6789110"/>
              <a:gd name="connsiteY3254" fmla="*/ 5620155 h 6386516"/>
              <a:gd name="connsiteX3255" fmla="*/ 1651853 w 6789110"/>
              <a:gd name="connsiteY3255" fmla="*/ 5564337 h 6386516"/>
              <a:gd name="connsiteX3256" fmla="*/ 1640304 w 6789110"/>
              <a:gd name="connsiteY3256" fmla="*/ 5552788 h 6386516"/>
              <a:gd name="connsiteX3257" fmla="*/ 1632606 w 6789110"/>
              <a:gd name="connsiteY3257" fmla="*/ 5589359 h 6386516"/>
              <a:gd name="connsiteX3258" fmla="*/ 1619131 w 6789110"/>
              <a:gd name="connsiteY3258" fmla="*/ 5658651 h 6386516"/>
              <a:gd name="connsiteX3259" fmla="*/ 1599883 w 6789110"/>
              <a:gd name="connsiteY3259" fmla="*/ 5548938 h 6386516"/>
              <a:gd name="connsiteX3260" fmla="*/ 1586410 w 6789110"/>
              <a:gd name="connsiteY3260" fmla="*/ 5602832 h 6386516"/>
              <a:gd name="connsiteX3261" fmla="*/ 1572936 w 6789110"/>
              <a:gd name="connsiteY3261" fmla="*/ 5541239 h 6386516"/>
              <a:gd name="connsiteX3262" fmla="*/ 1584485 w 6789110"/>
              <a:gd name="connsiteY3262" fmla="*/ 5641328 h 6386516"/>
              <a:gd name="connsiteX3263" fmla="*/ 1551765 w 6789110"/>
              <a:gd name="connsiteY3263" fmla="*/ 5614381 h 6386516"/>
              <a:gd name="connsiteX3264" fmla="*/ 1615282 w 6789110"/>
              <a:gd name="connsiteY3264" fmla="*/ 5677899 h 6386516"/>
              <a:gd name="connsiteX3265" fmla="*/ 1615282 w 6789110"/>
              <a:gd name="connsiteY3265" fmla="*/ 5810709 h 6386516"/>
              <a:gd name="connsiteX3266" fmla="*/ 1588335 w 6789110"/>
              <a:gd name="connsiteY3266" fmla="*/ 5747191 h 6386516"/>
              <a:gd name="connsiteX3267" fmla="*/ 1611432 w 6789110"/>
              <a:gd name="connsiteY3267" fmla="*/ 5697147 h 6386516"/>
              <a:gd name="connsiteX3268" fmla="*/ 1596035 w 6789110"/>
              <a:gd name="connsiteY3268" fmla="*/ 5722169 h 6386516"/>
              <a:gd name="connsiteX3269" fmla="*/ 1588335 w 6789110"/>
              <a:gd name="connsiteY3269" fmla="*/ 5691372 h 6386516"/>
              <a:gd name="connsiteX3270" fmla="*/ 1574861 w 6789110"/>
              <a:gd name="connsiteY3270" fmla="*/ 5745267 h 6386516"/>
              <a:gd name="connsiteX3271" fmla="*/ 1569087 w 6789110"/>
              <a:gd name="connsiteY3271" fmla="*/ 5741417 h 6386516"/>
              <a:gd name="connsiteX3272" fmla="*/ 1567162 w 6789110"/>
              <a:gd name="connsiteY3272" fmla="*/ 5731793 h 6386516"/>
              <a:gd name="connsiteX3273" fmla="*/ 1569087 w 6789110"/>
              <a:gd name="connsiteY3273" fmla="*/ 5726019 h 6386516"/>
              <a:gd name="connsiteX3274" fmla="*/ 1563312 w 6789110"/>
              <a:gd name="connsiteY3274" fmla="*/ 5726019 h 6386516"/>
              <a:gd name="connsiteX3275" fmla="*/ 1565237 w 6789110"/>
              <a:gd name="connsiteY3275" fmla="*/ 5685598 h 6386516"/>
              <a:gd name="connsiteX3276" fmla="*/ 1555613 w 6789110"/>
              <a:gd name="connsiteY3276" fmla="*/ 5704846 h 6386516"/>
              <a:gd name="connsiteX3277" fmla="*/ 1551765 w 6789110"/>
              <a:gd name="connsiteY3277" fmla="*/ 5687523 h 6386516"/>
              <a:gd name="connsiteX3278" fmla="*/ 1553688 w 6789110"/>
              <a:gd name="connsiteY3278" fmla="*/ 5685598 h 6386516"/>
              <a:gd name="connsiteX3279" fmla="*/ 1547914 w 6789110"/>
              <a:gd name="connsiteY3279" fmla="*/ 5670200 h 6386516"/>
              <a:gd name="connsiteX3280" fmla="*/ 1563312 w 6789110"/>
              <a:gd name="connsiteY3280" fmla="*/ 5672124 h 6386516"/>
              <a:gd name="connsiteX3281" fmla="*/ 1549839 w 6789110"/>
              <a:gd name="connsiteY3281" fmla="*/ 5664425 h 6386516"/>
              <a:gd name="connsiteX3282" fmla="*/ 1559463 w 6789110"/>
              <a:gd name="connsiteY3282" fmla="*/ 5660576 h 6386516"/>
              <a:gd name="connsiteX3283" fmla="*/ 1551765 w 6789110"/>
              <a:gd name="connsiteY3283" fmla="*/ 5654801 h 6386516"/>
              <a:gd name="connsiteX3284" fmla="*/ 1545989 w 6789110"/>
              <a:gd name="connsiteY3284" fmla="*/ 5656726 h 6386516"/>
              <a:gd name="connsiteX3285" fmla="*/ 1553688 w 6789110"/>
              <a:gd name="connsiteY3285" fmla="*/ 5637478 h 6386516"/>
              <a:gd name="connsiteX3286" fmla="*/ 1544065 w 6789110"/>
              <a:gd name="connsiteY3286" fmla="*/ 5654801 h 6386516"/>
              <a:gd name="connsiteX3287" fmla="*/ 1542140 w 6789110"/>
              <a:gd name="connsiteY3287" fmla="*/ 5647102 h 6386516"/>
              <a:gd name="connsiteX3288" fmla="*/ 1536365 w 6789110"/>
              <a:gd name="connsiteY3288" fmla="*/ 5649027 h 6386516"/>
              <a:gd name="connsiteX3289" fmla="*/ 1530591 w 6789110"/>
              <a:gd name="connsiteY3289" fmla="*/ 5612456 h 6386516"/>
              <a:gd name="connsiteX3290" fmla="*/ 1530591 w 6789110"/>
              <a:gd name="connsiteY3290" fmla="*/ 5610531 h 6386516"/>
              <a:gd name="connsiteX3291" fmla="*/ 1536365 w 6789110"/>
              <a:gd name="connsiteY3291" fmla="*/ 5585509 h 6386516"/>
              <a:gd name="connsiteX3292" fmla="*/ 1563312 w 6789110"/>
              <a:gd name="connsiteY3292" fmla="*/ 5585509 h 6386516"/>
              <a:gd name="connsiteX3293" fmla="*/ 1544065 w 6789110"/>
              <a:gd name="connsiteY3293" fmla="*/ 5577810 h 6386516"/>
              <a:gd name="connsiteX3294" fmla="*/ 1557539 w 6789110"/>
              <a:gd name="connsiteY3294" fmla="*/ 5564337 h 6386516"/>
              <a:gd name="connsiteX3295" fmla="*/ 1555613 w 6789110"/>
              <a:gd name="connsiteY3295" fmla="*/ 5562412 h 6386516"/>
              <a:gd name="connsiteX3296" fmla="*/ 1544065 w 6789110"/>
              <a:gd name="connsiteY3296" fmla="*/ 5566261 h 6386516"/>
              <a:gd name="connsiteX3297" fmla="*/ 1549839 w 6789110"/>
              <a:gd name="connsiteY3297" fmla="*/ 5554713 h 6386516"/>
              <a:gd name="connsiteX3298" fmla="*/ 1578711 w 6789110"/>
              <a:gd name="connsiteY3298" fmla="*/ 5520066 h 6386516"/>
              <a:gd name="connsiteX3299" fmla="*/ 1569087 w 6789110"/>
              <a:gd name="connsiteY3299" fmla="*/ 5514292 h 6386516"/>
              <a:gd name="connsiteX3300" fmla="*/ 1553688 w 6789110"/>
              <a:gd name="connsiteY3300" fmla="*/ 5527765 h 6386516"/>
              <a:gd name="connsiteX3301" fmla="*/ 1557539 w 6789110"/>
              <a:gd name="connsiteY3301" fmla="*/ 5506593 h 6386516"/>
              <a:gd name="connsiteX3302" fmla="*/ 1553688 w 6789110"/>
              <a:gd name="connsiteY3302" fmla="*/ 5502743 h 6386516"/>
              <a:gd name="connsiteX3303" fmla="*/ 1536365 w 6789110"/>
              <a:gd name="connsiteY3303" fmla="*/ 5543164 h 6386516"/>
              <a:gd name="connsiteX3304" fmla="*/ 1534441 w 6789110"/>
              <a:gd name="connsiteY3304" fmla="*/ 5541239 h 6386516"/>
              <a:gd name="connsiteX3305" fmla="*/ 1519042 w 6789110"/>
              <a:gd name="connsiteY3305" fmla="*/ 5560487 h 6386516"/>
              <a:gd name="connsiteX3306" fmla="*/ 1524817 w 6789110"/>
              <a:gd name="connsiteY3306" fmla="*/ 5510442 h 6386516"/>
              <a:gd name="connsiteX3307" fmla="*/ 1549839 w 6789110"/>
              <a:gd name="connsiteY3307" fmla="*/ 5500818 h 6386516"/>
              <a:gd name="connsiteX3308" fmla="*/ 1542140 w 6789110"/>
              <a:gd name="connsiteY3308" fmla="*/ 5471947 h 6386516"/>
              <a:gd name="connsiteX3309" fmla="*/ 1530591 w 6789110"/>
              <a:gd name="connsiteY3309" fmla="*/ 5475796 h 6386516"/>
              <a:gd name="connsiteX3310" fmla="*/ 1544065 w 6789110"/>
              <a:gd name="connsiteY3310" fmla="*/ 5445000 h 6386516"/>
              <a:gd name="connsiteX3311" fmla="*/ 1578711 w 6789110"/>
              <a:gd name="connsiteY3311" fmla="*/ 5435376 h 6386516"/>
              <a:gd name="connsiteX3312" fmla="*/ 1580636 w 6789110"/>
              <a:gd name="connsiteY3312" fmla="*/ 5448849 h 6386516"/>
              <a:gd name="connsiteX3313" fmla="*/ 1561388 w 6789110"/>
              <a:gd name="connsiteY3313" fmla="*/ 5445000 h 6386516"/>
              <a:gd name="connsiteX3314" fmla="*/ 1565237 w 6789110"/>
              <a:gd name="connsiteY3314" fmla="*/ 5452699 h 6386516"/>
              <a:gd name="connsiteX3315" fmla="*/ 1599883 w 6789110"/>
              <a:gd name="connsiteY3315" fmla="*/ 5448849 h 6386516"/>
              <a:gd name="connsiteX3316" fmla="*/ 1586410 w 6789110"/>
              <a:gd name="connsiteY3316" fmla="*/ 5435376 h 6386516"/>
              <a:gd name="connsiteX3317" fmla="*/ 1603733 w 6789110"/>
              <a:gd name="connsiteY3317" fmla="*/ 5431526 h 6386516"/>
              <a:gd name="connsiteX3318" fmla="*/ 1607583 w 6789110"/>
              <a:gd name="connsiteY3318" fmla="*/ 5433451 h 6386516"/>
              <a:gd name="connsiteX3319" fmla="*/ 1607583 w 6789110"/>
              <a:gd name="connsiteY3319" fmla="*/ 5448849 h 6386516"/>
              <a:gd name="connsiteX3320" fmla="*/ 1603733 w 6789110"/>
              <a:gd name="connsiteY3320" fmla="*/ 5450774 h 6386516"/>
              <a:gd name="connsiteX3321" fmla="*/ 1653777 w 6789110"/>
              <a:gd name="connsiteY3321" fmla="*/ 5458473 h 6386516"/>
              <a:gd name="connsiteX3322" fmla="*/ 1657627 w 6789110"/>
              <a:gd name="connsiteY3322" fmla="*/ 5456548 h 6386516"/>
              <a:gd name="connsiteX3323" fmla="*/ 1649928 w 6789110"/>
              <a:gd name="connsiteY3323" fmla="*/ 5431526 h 6386516"/>
              <a:gd name="connsiteX3324" fmla="*/ 1642229 w 6789110"/>
              <a:gd name="connsiteY3324" fmla="*/ 5433451 h 6386516"/>
              <a:gd name="connsiteX3325" fmla="*/ 1632606 w 6789110"/>
              <a:gd name="connsiteY3325" fmla="*/ 5414203 h 6386516"/>
              <a:gd name="connsiteX3326" fmla="*/ 1640304 w 6789110"/>
              <a:gd name="connsiteY3326" fmla="*/ 5404579 h 6386516"/>
              <a:gd name="connsiteX3327" fmla="*/ 1634529 w 6789110"/>
              <a:gd name="connsiteY3327" fmla="*/ 5391106 h 6386516"/>
              <a:gd name="connsiteX3328" fmla="*/ 1632606 w 6789110"/>
              <a:gd name="connsiteY3328" fmla="*/ 5393030 h 6386516"/>
              <a:gd name="connsiteX3329" fmla="*/ 1630680 w 6789110"/>
              <a:gd name="connsiteY3329" fmla="*/ 5387256 h 6386516"/>
              <a:gd name="connsiteX3330" fmla="*/ 1626830 w 6789110"/>
              <a:gd name="connsiteY3330" fmla="*/ 5377632 h 6386516"/>
              <a:gd name="connsiteX3331" fmla="*/ 1603733 w 6789110"/>
              <a:gd name="connsiteY3331" fmla="*/ 5389181 h 6386516"/>
              <a:gd name="connsiteX3332" fmla="*/ 1617206 w 6789110"/>
              <a:gd name="connsiteY3332" fmla="*/ 5362234 h 6386516"/>
              <a:gd name="connsiteX3333" fmla="*/ 1613357 w 6789110"/>
              <a:gd name="connsiteY3333" fmla="*/ 5356459 h 6386516"/>
              <a:gd name="connsiteX3334" fmla="*/ 1597959 w 6789110"/>
              <a:gd name="connsiteY3334" fmla="*/ 5346835 h 6386516"/>
              <a:gd name="connsiteX3335" fmla="*/ 1597959 w 6789110"/>
              <a:gd name="connsiteY3335" fmla="*/ 5354534 h 6386516"/>
              <a:gd name="connsiteX3336" fmla="*/ 1579263 w 6789110"/>
              <a:gd name="connsiteY3336" fmla="*/ 5361133 h 6386516"/>
              <a:gd name="connsiteX3337" fmla="*/ 1590261 w 6789110"/>
              <a:gd name="connsiteY3337" fmla="*/ 5358383 h 6386516"/>
              <a:gd name="connsiteX3338" fmla="*/ 1588336 w 6789110"/>
              <a:gd name="connsiteY3338" fmla="*/ 5371858 h 6386516"/>
              <a:gd name="connsiteX3339" fmla="*/ 1553689 w 6789110"/>
              <a:gd name="connsiteY3339" fmla="*/ 5402654 h 6386516"/>
              <a:gd name="connsiteX3340" fmla="*/ 1542140 w 6789110"/>
              <a:gd name="connsiteY3340" fmla="*/ 5404579 h 6386516"/>
              <a:gd name="connsiteX3341" fmla="*/ 1544065 w 6789110"/>
              <a:gd name="connsiteY3341" fmla="*/ 5369933 h 6386516"/>
              <a:gd name="connsiteX3342" fmla="*/ 1567658 w 6789110"/>
              <a:gd name="connsiteY3342" fmla="*/ 5364034 h 6386516"/>
              <a:gd name="connsiteX3343" fmla="*/ 1590259 w 6789110"/>
              <a:gd name="connsiteY3343" fmla="*/ 5344910 h 6386516"/>
              <a:gd name="connsiteX3344" fmla="*/ 1567162 w 6789110"/>
              <a:gd name="connsiteY3344" fmla="*/ 5341061 h 6386516"/>
              <a:gd name="connsiteX3345" fmla="*/ 1557539 w 6789110"/>
              <a:gd name="connsiteY3345" fmla="*/ 5350685 h 6386516"/>
              <a:gd name="connsiteX3346" fmla="*/ 1561388 w 6789110"/>
              <a:gd name="connsiteY3346" fmla="*/ 5341061 h 6386516"/>
              <a:gd name="connsiteX3347" fmla="*/ 1538290 w 6789110"/>
              <a:gd name="connsiteY3347" fmla="*/ 5341061 h 6386516"/>
              <a:gd name="connsiteX3348" fmla="*/ 1540697 w 6789110"/>
              <a:gd name="connsiteY3348" fmla="*/ 5357663 h 6386516"/>
              <a:gd name="connsiteX3349" fmla="*/ 1535284 w 6789110"/>
              <a:gd name="connsiteY3349" fmla="*/ 5368278 h 6386516"/>
              <a:gd name="connsiteX3350" fmla="*/ 1528666 w 6789110"/>
              <a:gd name="connsiteY3350" fmla="*/ 5369933 h 6386516"/>
              <a:gd name="connsiteX3351" fmla="*/ 1519042 w 6789110"/>
              <a:gd name="connsiteY3351" fmla="*/ 5344910 h 6386516"/>
              <a:gd name="connsiteX3352" fmla="*/ 1494020 w 6789110"/>
              <a:gd name="connsiteY3352" fmla="*/ 5348760 h 6386516"/>
              <a:gd name="connsiteX3353" fmla="*/ 1492095 w 6789110"/>
              <a:gd name="connsiteY3353" fmla="*/ 5352610 h 6386516"/>
              <a:gd name="connsiteX3354" fmla="*/ 1490170 w 6789110"/>
              <a:gd name="connsiteY3354" fmla="*/ 5348760 h 6386516"/>
              <a:gd name="connsiteX3355" fmla="*/ 1482471 w 6789110"/>
              <a:gd name="connsiteY3355" fmla="*/ 5350685 h 6386516"/>
              <a:gd name="connsiteX3356" fmla="*/ 1484396 w 6789110"/>
              <a:gd name="connsiteY3356" fmla="*/ 5362234 h 6386516"/>
              <a:gd name="connsiteX3357" fmla="*/ 1482471 w 6789110"/>
              <a:gd name="connsiteY3357" fmla="*/ 5364158 h 6386516"/>
              <a:gd name="connsiteX3358" fmla="*/ 1480546 w 6789110"/>
              <a:gd name="connsiteY3358" fmla="*/ 5364158 h 6386516"/>
              <a:gd name="connsiteX3359" fmla="*/ 1478622 w 6789110"/>
              <a:gd name="connsiteY3359" fmla="*/ 5358384 h 6386516"/>
              <a:gd name="connsiteX3360" fmla="*/ 1478622 w 6789110"/>
              <a:gd name="connsiteY3360" fmla="*/ 5350685 h 6386516"/>
              <a:gd name="connsiteX3361" fmla="*/ 1468998 w 6789110"/>
              <a:gd name="connsiteY3361" fmla="*/ 5352610 h 6386516"/>
              <a:gd name="connsiteX3362" fmla="*/ 1467073 w 6789110"/>
              <a:gd name="connsiteY3362" fmla="*/ 5317963 h 6386516"/>
              <a:gd name="connsiteX3363" fmla="*/ 1463223 w 6789110"/>
              <a:gd name="connsiteY3363" fmla="*/ 5312189 h 6386516"/>
              <a:gd name="connsiteX3364" fmla="*/ 1470923 w 6789110"/>
              <a:gd name="connsiteY3364" fmla="*/ 5310264 h 6386516"/>
              <a:gd name="connsiteX3365" fmla="*/ 1499794 w 6789110"/>
              <a:gd name="connsiteY3365" fmla="*/ 5264070 h 6386516"/>
              <a:gd name="connsiteX3366" fmla="*/ 1497870 w 6789110"/>
              <a:gd name="connsiteY3366" fmla="*/ 5260220 h 6386516"/>
              <a:gd name="connsiteX3367" fmla="*/ 1494020 w 6789110"/>
              <a:gd name="connsiteY3367" fmla="*/ 5240972 h 6386516"/>
              <a:gd name="connsiteX3368" fmla="*/ 1490170 w 6789110"/>
              <a:gd name="connsiteY3368" fmla="*/ 5215950 h 6386516"/>
              <a:gd name="connsiteX3369" fmla="*/ 1488246 w 6789110"/>
              <a:gd name="connsiteY3369" fmla="*/ 5214025 h 6386516"/>
              <a:gd name="connsiteX3370" fmla="*/ 1482471 w 6789110"/>
              <a:gd name="connsiteY3370" fmla="*/ 5227499 h 6386516"/>
              <a:gd name="connsiteX3371" fmla="*/ 1474772 w 6789110"/>
              <a:gd name="connsiteY3371" fmla="*/ 5208251 h 6386516"/>
              <a:gd name="connsiteX3372" fmla="*/ 1467073 w 6789110"/>
              <a:gd name="connsiteY3372" fmla="*/ 5204401 h 6386516"/>
              <a:gd name="connsiteX3373" fmla="*/ 1465148 w 6789110"/>
              <a:gd name="connsiteY3373" fmla="*/ 5206326 h 6386516"/>
              <a:gd name="connsiteX3374" fmla="*/ 1467073 w 6789110"/>
              <a:gd name="connsiteY3374" fmla="*/ 5221724 h 6386516"/>
              <a:gd name="connsiteX3375" fmla="*/ 1474772 w 6789110"/>
              <a:gd name="connsiteY3375" fmla="*/ 5252521 h 6386516"/>
              <a:gd name="connsiteX3376" fmla="*/ 1486321 w 6789110"/>
              <a:gd name="connsiteY3376" fmla="*/ 5275618 h 6386516"/>
              <a:gd name="connsiteX3377" fmla="*/ 1484396 w 6789110"/>
              <a:gd name="connsiteY3377" fmla="*/ 5275618 h 6386516"/>
              <a:gd name="connsiteX3378" fmla="*/ 1457449 w 6789110"/>
              <a:gd name="connsiteY3378" fmla="*/ 5277543 h 6386516"/>
              <a:gd name="connsiteX3379" fmla="*/ 1455524 w 6789110"/>
              <a:gd name="connsiteY3379" fmla="*/ 5277543 h 6386516"/>
              <a:gd name="connsiteX3380" fmla="*/ 1455524 w 6789110"/>
              <a:gd name="connsiteY3380" fmla="*/ 5269844 h 6386516"/>
              <a:gd name="connsiteX3381" fmla="*/ 1447825 w 6789110"/>
              <a:gd name="connsiteY3381" fmla="*/ 5273694 h 6386516"/>
              <a:gd name="connsiteX3382" fmla="*/ 1449750 w 6789110"/>
              <a:gd name="connsiteY3382" fmla="*/ 5258295 h 6386516"/>
              <a:gd name="connsiteX3383" fmla="*/ 1443976 w 6789110"/>
              <a:gd name="connsiteY3383" fmla="*/ 5262145 h 6386516"/>
              <a:gd name="connsiteX3384" fmla="*/ 1440126 w 6789110"/>
              <a:gd name="connsiteY3384" fmla="*/ 5252521 h 6386516"/>
              <a:gd name="connsiteX3385" fmla="*/ 1455524 w 6789110"/>
              <a:gd name="connsiteY3385" fmla="*/ 5219799 h 6386516"/>
              <a:gd name="connsiteX3386" fmla="*/ 1455524 w 6789110"/>
              <a:gd name="connsiteY3386" fmla="*/ 5217875 h 6386516"/>
              <a:gd name="connsiteX3387" fmla="*/ 1436276 w 6789110"/>
              <a:gd name="connsiteY3387" fmla="*/ 5244822 h 6386516"/>
              <a:gd name="connsiteX3388" fmla="*/ 1415105 w 6789110"/>
              <a:gd name="connsiteY3388" fmla="*/ 5244365 h 6386516"/>
              <a:gd name="connsiteX3389" fmla="*/ 1415105 w 6789110"/>
              <a:gd name="connsiteY3389" fmla="*/ 5264069 h 6386516"/>
              <a:gd name="connsiteX3390" fmla="*/ 1401630 w 6789110"/>
              <a:gd name="connsiteY3390" fmla="*/ 5248670 h 6386516"/>
              <a:gd name="connsiteX3391" fmla="*/ 1403556 w 6789110"/>
              <a:gd name="connsiteY3391" fmla="*/ 5265994 h 6386516"/>
              <a:gd name="connsiteX3392" fmla="*/ 1386232 w 6789110"/>
              <a:gd name="connsiteY3392" fmla="*/ 5248670 h 6386516"/>
              <a:gd name="connsiteX3393" fmla="*/ 1403556 w 6789110"/>
              <a:gd name="connsiteY3393" fmla="*/ 5244821 h 6386516"/>
              <a:gd name="connsiteX3394" fmla="*/ 1407299 w 6789110"/>
              <a:gd name="connsiteY3394" fmla="*/ 5244197 h 6386516"/>
              <a:gd name="connsiteX3395" fmla="*/ 1402833 w 6789110"/>
              <a:gd name="connsiteY3395" fmla="*/ 5244100 h 6386516"/>
              <a:gd name="connsiteX3396" fmla="*/ 1376608 w 6789110"/>
              <a:gd name="connsiteY3396" fmla="*/ 5227499 h 6386516"/>
              <a:gd name="connsiteX3397" fmla="*/ 1384307 w 6789110"/>
              <a:gd name="connsiteY3397" fmla="*/ 5198627 h 6386516"/>
              <a:gd name="connsiteX3398" fmla="*/ 1380458 w 6789110"/>
              <a:gd name="connsiteY3398" fmla="*/ 5179379 h 6386516"/>
              <a:gd name="connsiteX3399" fmla="*/ 1384307 w 6789110"/>
              <a:gd name="connsiteY3399" fmla="*/ 5175529 h 6386516"/>
              <a:gd name="connsiteX3400" fmla="*/ 1382382 w 6789110"/>
              <a:gd name="connsiteY3400" fmla="*/ 5163980 h 6386516"/>
              <a:gd name="connsiteX3401" fmla="*/ 1370834 w 6789110"/>
              <a:gd name="connsiteY3401" fmla="*/ 5158206 h 6386516"/>
              <a:gd name="connsiteX3402" fmla="*/ 1353511 w 6789110"/>
              <a:gd name="connsiteY3402" fmla="*/ 5146657 h 6386516"/>
              <a:gd name="connsiteX3403" fmla="*/ 1343887 w 6789110"/>
              <a:gd name="connsiteY3403" fmla="*/ 5142808 h 6386516"/>
              <a:gd name="connsiteX3404" fmla="*/ 1345811 w 6789110"/>
              <a:gd name="connsiteY3404" fmla="*/ 5140883 h 6386516"/>
              <a:gd name="connsiteX3405" fmla="*/ 1280369 w 6789110"/>
              <a:gd name="connsiteY3405" fmla="*/ 5092764 h 6386516"/>
              <a:gd name="connsiteX3406" fmla="*/ 1255346 w 6789110"/>
              <a:gd name="connsiteY3406" fmla="*/ 5150507 h 6386516"/>
              <a:gd name="connsiteX3407" fmla="*/ 1253422 w 6789110"/>
              <a:gd name="connsiteY3407" fmla="*/ 5075440 h 6386516"/>
              <a:gd name="connsiteX3408" fmla="*/ 1255346 w 6789110"/>
              <a:gd name="connsiteY3408" fmla="*/ 5073516 h 6386516"/>
              <a:gd name="connsiteX3409" fmla="*/ 1193753 w 6789110"/>
              <a:gd name="connsiteY3409" fmla="*/ 5011922 h 6386516"/>
              <a:gd name="connsiteX3410" fmla="*/ 1078266 w 6789110"/>
              <a:gd name="connsiteY3410" fmla="*/ 4832917 h 6386516"/>
              <a:gd name="connsiteX3411" fmla="*/ 993575 w 6789110"/>
              <a:gd name="connsiteY3411" fmla="*/ 4690483 h 6386516"/>
              <a:gd name="connsiteX3412" fmla="*/ 1155257 w 6789110"/>
              <a:gd name="connsiteY3412" fmla="*/ 4596168 h 6386516"/>
              <a:gd name="connsiteX3413" fmla="*/ 1309240 w 6789110"/>
              <a:gd name="connsiteY3413" fmla="*/ 4574996 h 6386516"/>
              <a:gd name="connsiteX3414" fmla="*/ 1205302 w 6789110"/>
              <a:gd name="connsiteY3414" fmla="*/ 4636589 h 6386516"/>
              <a:gd name="connsiteX3415" fmla="*/ 1184129 w 6789110"/>
              <a:gd name="connsiteY3415" fmla="*/ 4700107 h 6386516"/>
              <a:gd name="connsiteX3416" fmla="*/ 1291917 w 6789110"/>
              <a:gd name="connsiteY3416" fmla="*/ 4711655 h 6386516"/>
              <a:gd name="connsiteX3417" fmla="*/ 1334263 w 6789110"/>
              <a:gd name="connsiteY3417" fmla="*/ 4476831 h 6386516"/>
              <a:gd name="connsiteX3418" fmla="*/ 1297692 w 6789110"/>
              <a:gd name="connsiteY3418" fmla="*/ 4369043 h 6386516"/>
              <a:gd name="connsiteX3419" fmla="*/ 1313090 w 6789110"/>
              <a:gd name="connsiteY3419" fmla="*/ 4380592 h 6386516"/>
              <a:gd name="connsiteX3420" fmla="*/ 1313090 w 6789110"/>
              <a:gd name="connsiteY3420" fmla="*/ 4372893 h 6386516"/>
              <a:gd name="connsiteX3421" fmla="*/ 1340037 w 6789110"/>
              <a:gd name="connsiteY3421" fmla="*/ 4195812 h 6386516"/>
              <a:gd name="connsiteX3422" fmla="*/ 1334263 w 6789110"/>
              <a:gd name="connsiteY3422" fmla="*/ 4197737 h 6386516"/>
              <a:gd name="connsiteX3423" fmla="*/ 1336187 w 6789110"/>
              <a:gd name="connsiteY3423" fmla="*/ 4159241 h 6386516"/>
              <a:gd name="connsiteX3424" fmla="*/ 1311165 w 6789110"/>
              <a:gd name="connsiteY3424" fmla="*/ 4234308 h 6386516"/>
              <a:gd name="connsiteX3425" fmla="*/ 1313090 w 6789110"/>
              <a:gd name="connsiteY3425" fmla="*/ 4172715 h 6386516"/>
              <a:gd name="connsiteX3426" fmla="*/ 1234174 w 6789110"/>
              <a:gd name="connsiteY3426" fmla="*/ 4207361 h 6386516"/>
              <a:gd name="connsiteX3427" fmla="*/ 837667 w 6789110"/>
              <a:gd name="connsiteY3427" fmla="*/ 4320924 h 6386516"/>
              <a:gd name="connsiteX3428" fmla="*/ 793397 w 6789110"/>
              <a:gd name="connsiteY3428" fmla="*/ 4268954 h 6386516"/>
              <a:gd name="connsiteX3429" fmla="*/ 752977 w 6789110"/>
              <a:gd name="connsiteY3429" fmla="*/ 4178489 h 6386516"/>
              <a:gd name="connsiteX3430" fmla="*/ 762601 w 6789110"/>
              <a:gd name="connsiteY3430" fmla="*/ 4099573 h 6386516"/>
              <a:gd name="connsiteX3431" fmla="*/ 616317 w 6789110"/>
              <a:gd name="connsiteY3431" fmla="*/ 4036054 h 6386516"/>
              <a:gd name="connsiteX3432" fmla="*/ 1003199 w 6789110"/>
              <a:gd name="connsiteY3432" fmla="*/ 3266139 h 6386516"/>
              <a:gd name="connsiteX3433" fmla="*/ 3347590 w 6789110"/>
              <a:gd name="connsiteY3433" fmla="*/ 3264214 h 6386516"/>
              <a:gd name="connsiteX3434" fmla="*/ 3391861 w 6789110"/>
              <a:gd name="connsiteY3434" fmla="*/ 3318109 h 6386516"/>
              <a:gd name="connsiteX3435" fmla="*/ 3347590 w 6789110"/>
              <a:gd name="connsiteY3435" fmla="*/ 3264214 h 6386516"/>
              <a:gd name="connsiteX3436" fmla="*/ 3239802 w 6789110"/>
              <a:gd name="connsiteY3436" fmla="*/ 3260364 h 6386516"/>
              <a:gd name="connsiteX3437" fmla="*/ 3257125 w 6789110"/>
              <a:gd name="connsiteY3437" fmla="*/ 3295011 h 6386516"/>
              <a:gd name="connsiteX3438" fmla="*/ 3239802 w 6789110"/>
              <a:gd name="connsiteY3438" fmla="*/ 3260364 h 6386516"/>
              <a:gd name="connsiteX3439" fmla="*/ 3203233 w 6789110"/>
              <a:gd name="connsiteY3439" fmla="*/ 3235342 h 6386516"/>
              <a:gd name="connsiteX3440" fmla="*/ 2872168 w 6789110"/>
              <a:gd name="connsiteY3440" fmla="*/ 3583729 h 6386516"/>
              <a:gd name="connsiteX3441" fmla="*/ 3191684 w 6789110"/>
              <a:gd name="connsiteY3441" fmla="*/ 3314258 h 6386516"/>
              <a:gd name="connsiteX3442" fmla="*/ 3137791 w 6789110"/>
              <a:gd name="connsiteY3442" fmla="*/ 3418197 h 6386516"/>
              <a:gd name="connsiteX3443" fmla="*/ 2931837 w 6789110"/>
              <a:gd name="connsiteY3443" fmla="*/ 3604901 h 6386516"/>
              <a:gd name="connsiteX3444" fmla="*/ 3118542 w 6789110"/>
              <a:gd name="connsiteY3444" fmla="*/ 3462467 h 6386516"/>
              <a:gd name="connsiteX3445" fmla="*/ 2918364 w 6789110"/>
              <a:gd name="connsiteY3445" fmla="*/ 3624149 h 6386516"/>
              <a:gd name="connsiteX3446" fmla="*/ 2854845 w 6789110"/>
              <a:gd name="connsiteY3446" fmla="*/ 3558706 h 6386516"/>
              <a:gd name="connsiteX3447" fmla="*/ 3203233 w 6789110"/>
              <a:gd name="connsiteY3447" fmla="*/ 3235342 h 6386516"/>
              <a:gd name="connsiteX3448" fmla="*/ 2027186 w 6789110"/>
              <a:gd name="connsiteY3448" fmla="*/ 3204545 h 6386516"/>
              <a:gd name="connsiteX3449" fmla="*/ 2011787 w 6789110"/>
              <a:gd name="connsiteY3449" fmla="*/ 3239191 h 6386516"/>
              <a:gd name="connsiteX3450" fmla="*/ 2065681 w 6789110"/>
              <a:gd name="connsiteY3450" fmla="*/ 3219943 h 6386516"/>
              <a:gd name="connsiteX3451" fmla="*/ 2056058 w 6789110"/>
              <a:gd name="connsiteY3451" fmla="*/ 3235341 h 6386516"/>
              <a:gd name="connsiteX3452" fmla="*/ 2094554 w 6789110"/>
              <a:gd name="connsiteY3452" fmla="*/ 3229567 h 6386516"/>
              <a:gd name="connsiteX3453" fmla="*/ 1973292 w 6789110"/>
              <a:gd name="connsiteY3453" fmla="*/ 3289235 h 6386516"/>
              <a:gd name="connsiteX3454" fmla="*/ 1961743 w 6789110"/>
              <a:gd name="connsiteY3454" fmla="*/ 3256514 h 6386516"/>
              <a:gd name="connsiteX3455" fmla="*/ 2027186 w 6789110"/>
              <a:gd name="connsiteY3455" fmla="*/ 3204545 h 6386516"/>
              <a:gd name="connsiteX3456" fmla="*/ 3287922 w 6789110"/>
              <a:gd name="connsiteY3456" fmla="*/ 3202622 h 6386516"/>
              <a:gd name="connsiteX3457" fmla="*/ 3305247 w 6789110"/>
              <a:gd name="connsiteY3457" fmla="*/ 3206471 h 6386516"/>
              <a:gd name="connsiteX3458" fmla="*/ 3309096 w 6789110"/>
              <a:gd name="connsiteY3458" fmla="*/ 3223795 h 6386516"/>
              <a:gd name="connsiteX3459" fmla="*/ 3287922 w 6789110"/>
              <a:gd name="connsiteY3459" fmla="*/ 3202622 h 6386516"/>
              <a:gd name="connsiteX3460" fmla="*/ 1888602 w 6789110"/>
              <a:gd name="connsiteY3460" fmla="*/ 3202621 h 6386516"/>
              <a:gd name="connsiteX3461" fmla="*/ 1913625 w 6789110"/>
              <a:gd name="connsiteY3461" fmla="*/ 3241118 h 6386516"/>
              <a:gd name="connsiteX3462" fmla="*/ 1850106 w 6789110"/>
              <a:gd name="connsiteY3462" fmla="*/ 3218020 h 6386516"/>
              <a:gd name="connsiteX3463" fmla="*/ 1888602 w 6789110"/>
              <a:gd name="connsiteY3463" fmla="*/ 3202621 h 6386516"/>
              <a:gd name="connsiteX3464" fmla="*/ 2158073 w 6789110"/>
              <a:gd name="connsiteY3464" fmla="*/ 3198771 h 6386516"/>
              <a:gd name="connsiteX3465" fmla="*/ 2152298 w 6789110"/>
              <a:gd name="connsiteY3465" fmla="*/ 3210319 h 6386516"/>
              <a:gd name="connsiteX3466" fmla="*/ 2173470 w 6789110"/>
              <a:gd name="connsiteY3466" fmla="*/ 3206470 h 6386516"/>
              <a:gd name="connsiteX3467" fmla="*/ 2152298 w 6789110"/>
              <a:gd name="connsiteY3467" fmla="*/ 3225718 h 6386516"/>
              <a:gd name="connsiteX3468" fmla="*/ 2202342 w 6789110"/>
              <a:gd name="connsiteY3468" fmla="*/ 3223793 h 6386516"/>
              <a:gd name="connsiteX3469" fmla="*/ 2179245 w 6789110"/>
              <a:gd name="connsiteY3469" fmla="*/ 3227643 h 6386516"/>
              <a:gd name="connsiteX3470" fmla="*/ 2054132 w 6789110"/>
              <a:gd name="connsiteY3470" fmla="*/ 3285386 h 6386516"/>
              <a:gd name="connsiteX3471" fmla="*/ 2057983 w 6789110"/>
              <a:gd name="connsiteY3471" fmla="*/ 3295010 h 6386516"/>
              <a:gd name="connsiteX3472" fmla="*/ 1994464 w 6789110"/>
              <a:gd name="connsiteY3472" fmla="*/ 3331581 h 6386516"/>
              <a:gd name="connsiteX3473" fmla="*/ 2077230 w 6789110"/>
              <a:gd name="connsiteY3473" fmla="*/ 3320033 h 6386516"/>
              <a:gd name="connsiteX3474" fmla="*/ 2073380 w 6789110"/>
              <a:gd name="connsiteY3474" fmla="*/ 3335431 h 6386516"/>
              <a:gd name="connsiteX3475" fmla="*/ 2100328 w 6789110"/>
              <a:gd name="connsiteY3475" fmla="*/ 3335431 h 6386516"/>
              <a:gd name="connsiteX3476" fmla="*/ 2057983 w 6789110"/>
              <a:gd name="connsiteY3476" fmla="*/ 3358528 h 6386516"/>
              <a:gd name="connsiteX3477" fmla="*/ 2096478 w 6789110"/>
              <a:gd name="connsiteY3477" fmla="*/ 3385475 h 6386516"/>
              <a:gd name="connsiteX3478" fmla="*/ 1946344 w 6789110"/>
              <a:gd name="connsiteY3478" fmla="*/ 3433595 h 6386516"/>
              <a:gd name="connsiteX3479" fmla="*/ 2004088 w 6789110"/>
              <a:gd name="connsiteY3479" fmla="*/ 3447068 h 6386516"/>
              <a:gd name="connsiteX3480" fmla="*/ 1875127 w 6789110"/>
              <a:gd name="connsiteY3480" fmla="*/ 3462467 h 6386516"/>
              <a:gd name="connsiteX3481" fmla="*/ 1836631 w 6789110"/>
              <a:gd name="connsiteY3481" fmla="*/ 3408573 h 6386516"/>
              <a:gd name="connsiteX3482" fmla="*/ 1952119 w 6789110"/>
              <a:gd name="connsiteY3482" fmla="*/ 3352754 h 6386516"/>
              <a:gd name="connsiteX3483" fmla="*/ 1961743 w 6789110"/>
              <a:gd name="connsiteY3483" fmla="*/ 3337356 h 6386516"/>
              <a:gd name="connsiteX3484" fmla="*/ 2009862 w 6789110"/>
              <a:gd name="connsiteY3484" fmla="*/ 3310409 h 6386516"/>
              <a:gd name="connsiteX3485" fmla="*/ 2023336 w 6789110"/>
              <a:gd name="connsiteY3485" fmla="*/ 3289236 h 6386516"/>
              <a:gd name="connsiteX3486" fmla="*/ 2121501 w 6789110"/>
              <a:gd name="connsiteY3486" fmla="*/ 3218019 h 6386516"/>
              <a:gd name="connsiteX3487" fmla="*/ 2129200 w 6789110"/>
              <a:gd name="connsiteY3487" fmla="*/ 3225718 h 6386516"/>
              <a:gd name="connsiteX3488" fmla="*/ 2158073 w 6789110"/>
              <a:gd name="connsiteY3488" fmla="*/ 3198771 h 6386516"/>
              <a:gd name="connsiteX3489" fmla="*/ 3241727 w 6789110"/>
              <a:gd name="connsiteY3489" fmla="*/ 3191080 h 6386516"/>
              <a:gd name="connsiteX3490" fmla="*/ 3430356 w 6789110"/>
              <a:gd name="connsiteY3490" fmla="*/ 3427822 h 6386516"/>
              <a:gd name="connsiteX3491" fmla="*/ 3422657 w 6789110"/>
              <a:gd name="connsiteY3491" fmla="*/ 3404724 h 6386516"/>
              <a:gd name="connsiteX3492" fmla="*/ 3520821 w 6789110"/>
              <a:gd name="connsiteY3492" fmla="*/ 3547159 h 6386516"/>
              <a:gd name="connsiteX3493" fmla="*/ 3478475 w 6789110"/>
              <a:gd name="connsiteY3493" fmla="*/ 3524061 h 6386516"/>
              <a:gd name="connsiteX3494" fmla="*/ 3239802 w 6789110"/>
              <a:gd name="connsiteY3494" fmla="*/ 3225718 h 6386516"/>
              <a:gd name="connsiteX3495" fmla="*/ 3241727 w 6789110"/>
              <a:gd name="connsiteY3495" fmla="*/ 3191080 h 6386516"/>
              <a:gd name="connsiteX3496" fmla="*/ 5316648 w 6789110"/>
              <a:gd name="connsiteY3496" fmla="*/ 3191079 h 6386516"/>
              <a:gd name="connsiteX3497" fmla="*/ 5320498 w 6789110"/>
              <a:gd name="connsiteY3497" fmla="*/ 3204546 h 6386516"/>
              <a:gd name="connsiteX3498" fmla="*/ 5314723 w 6789110"/>
              <a:gd name="connsiteY3498" fmla="*/ 3202621 h 6386516"/>
              <a:gd name="connsiteX3499" fmla="*/ 5316648 w 6789110"/>
              <a:gd name="connsiteY3499" fmla="*/ 3191079 h 6386516"/>
              <a:gd name="connsiteX3500" fmla="*/ 4028965 w 6789110"/>
              <a:gd name="connsiteY3500" fmla="*/ 3183380 h 6386516"/>
              <a:gd name="connsiteX3501" fmla="*/ 4048214 w 6789110"/>
              <a:gd name="connsiteY3501" fmla="*/ 3231494 h 6386516"/>
              <a:gd name="connsiteX3502" fmla="*/ 4028965 w 6789110"/>
              <a:gd name="connsiteY3502" fmla="*/ 3183380 h 6386516"/>
              <a:gd name="connsiteX3503" fmla="*/ 5029373 w 6789110"/>
              <a:gd name="connsiteY3503" fmla="*/ 3173995 h 6386516"/>
              <a:gd name="connsiteX3504" fmla="*/ 5062576 w 6789110"/>
              <a:gd name="connsiteY3504" fmla="*/ 3181455 h 6386516"/>
              <a:gd name="connsiteX3505" fmla="*/ 5231957 w 6789110"/>
              <a:gd name="connsiteY3505" fmla="*/ 3239191 h 6386516"/>
              <a:gd name="connsiteX3506" fmla="*/ 5237731 w 6789110"/>
              <a:gd name="connsiteY3506" fmla="*/ 3258439 h 6386516"/>
              <a:gd name="connsiteX3507" fmla="*/ 5020230 w 6789110"/>
              <a:gd name="connsiteY3507" fmla="*/ 3194922 h 6386516"/>
              <a:gd name="connsiteX3508" fmla="*/ 5004832 w 6789110"/>
              <a:gd name="connsiteY3508" fmla="*/ 3179530 h 6386516"/>
              <a:gd name="connsiteX3509" fmla="*/ 5029373 w 6789110"/>
              <a:gd name="connsiteY3509" fmla="*/ 3173995 h 6386516"/>
              <a:gd name="connsiteX3510" fmla="*/ 3199383 w 6789110"/>
              <a:gd name="connsiteY3510" fmla="*/ 3173755 h 6386516"/>
              <a:gd name="connsiteX3511" fmla="*/ 3201308 w 6789110"/>
              <a:gd name="connsiteY3511" fmla="*/ 3204546 h 6386516"/>
              <a:gd name="connsiteX3512" fmla="*/ 2854845 w 6789110"/>
              <a:gd name="connsiteY3512" fmla="*/ 3541385 h 6386516"/>
              <a:gd name="connsiteX3513" fmla="*/ 2999205 w 6789110"/>
              <a:gd name="connsiteY3513" fmla="*/ 3393176 h 6386516"/>
              <a:gd name="connsiteX3514" fmla="*/ 3187835 w 6789110"/>
              <a:gd name="connsiteY3514" fmla="*/ 3181455 h 6386516"/>
              <a:gd name="connsiteX3515" fmla="*/ 3193609 w 6789110"/>
              <a:gd name="connsiteY3515" fmla="*/ 3177605 h 6386516"/>
              <a:gd name="connsiteX3516" fmla="*/ 3199383 w 6789110"/>
              <a:gd name="connsiteY3516" fmla="*/ 3173755 h 6386516"/>
              <a:gd name="connsiteX3517" fmla="*/ 1218776 w 6789110"/>
              <a:gd name="connsiteY3517" fmla="*/ 3167975 h 6386516"/>
              <a:gd name="connsiteX3518" fmla="*/ 1147558 w 6789110"/>
              <a:gd name="connsiteY3518" fmla="*/ 3298860 h 6386516"/>
              <a:gd name="connsiteX3519" fmla="*/ 1218776 w 6789110"/>
              <a:gd name="connsiteY3519" fmla="*/ 3167975 h 6386516"/>
              <a:gd name="connsiteX3520" fmla="*/ 3241727 w 6789110"/>
              <a:gd name="connsiteY3520" fmla="*/ 3137182 h 6386516"/>
              <a:gd name="connsiteX3521" fmla="*/ 3257126 w 6789110"/>
              <a:gd name="connsiteY3521" fmla="*/ 3166057 h 6386516"/>
              <a:gd name="connsiteX3522" fmla="*/ 3241727 w 6789110"/>
              <a:gd name="connsiteY3522" fmla="*/ 3137182 h 6386516"/>
              <a:gd name="connsiteX3523" fmla="*/ 4034740 w 6789110"/>
              <a:gd name="connsiteY3523" fmla="*/ 3135255 h 6386516"/>
              <a:gd name="connsiteX3524" fmla="*/ 3988544 w 6789110"/>
              <a:gd name="connsiteY3524" fmla="*/ 3208395 h 6386516"/>
              <a:gd name="connsiteX3525" fmla="*/ 4046288 w 6789110"/>
              <a:gd name="connsiteY3525" fmla="*/ 3254590 h 6386516"/>
              <a:gd name="connsiteX3526" fmla="*/ 4067461 w 6789110"/>
              <a:gd name="connsiteY3526" fmla="*/ 3214169 h 6386516"/>
              <a:gd name="connsiteX3527" fmla="*/ 4048213 w 6789110"/>
              <a:gd name="connsiteY3527" fmla="*/ 3175680 h 6386516"/>
              <a:gd name="connsiteX3528" fmla="*/ 4057837 w 6789110"/>
              <a:gd name="connsiteY3528" fmla="*/ 3169904 h 6386516"/>
              <a:gd name="connsiteX3529" fmla="*/ 4075160 w 6789110"/>
              <a:gd name="connsiteY3529" fmla="*/ 3202621 h 6386516"/>
              <a:gd name="connsiteX3530" fmla="*/ 4077085 w 6789110"/>
              <a:gd name="connsiteY3530" fmla="*/ 3198771 h 6386516"/>
              <a:gd name="connsiteX3531" fmla="*/ 4073235 w 6789110"/>
              <a:gd name="connsiteY3531" fmla="*/ 3175680 h 6386516"/>
              <a:gd name="connsiteX3532" fmla="*/ 4034740 w 6789110"/>
              <a:gd name="connsiteY3532" fmla="*/ 3135255 h 6386516"/>
              <a:gd name="connsiteX3533" fmla="*/ 2042584 w 6789110"/>
              <a:gd name="connsiteY3533" fmla="*/ 3135254 h 6386516"/>
              <a:gd name="connsiteX3534" fmla="*/ 2038734 w 6789110"/>
              <a:gd name="connsiteY3534" fmla="*/ 3156429 h 6386516"/>
              <a:gd name="connsiteX3535" fmla="*/ 2061833 w 6789110"/>
              <a:gd name="connsiteY3535" fmla="*/ 3144878 h 6386516"/>
              <a:gd name="connsiteX3536" fmla="*/ 2036809 w 6789110"/>
              <a:gd name="connsiteY3536" fmla="*/ 3183378 h 6386516"/>
              <a:gd name="connsiteX3537" fmla="*/ 2104178 w 6789110"/>
              <a:gd name="connsiteY3537" fmla="*/ 3175678 h 6386516"/>
              <a:gd name="connsiteX3538" fmla="*/ 1938646 w 6789110"/>
              <a:gd name="connsiteY3538" fmla="*/ 3208395 h 6386516"/>
              <a:gd name="connsiteX3539" fmla="*/ 1940570 w 6789110"/>
              <a:gd name="connsiteY3539" fmla="*/ 3227643 h 6386516"/>
              <a:gd name="connsiteX3540" fmla="*/ 1982916 w 6789110"/>
              <a:gd name="connsiteY3540" fmla="*/ 3223793 h 6386516"/>
              <a:gd name="connsiteX3541" fmla="*/ 1948269 w 6789110"/>
              <a:gd name="connsiteY3541" fmla="*/ 3244966 h 6386516"/>
              <a:gd name="connsiteX3542" fmla="*/ 1932872 w 6789110"/>
              <a:gd name="connsiteY3542" fmla="*/ 3241116 h 6386516"/>
              <a:gd name="connsiteX3543" fmla="*/ 1913623 w 6789110"/>
              <a:gd name="connsiteY3543" fmla="*/ 3198771 h 6386516"/>
              <a:gd name="connsiteX3544" fmla="*/ 1982916 w 6789110"/>
              <a:gd name="connsiteY3544" fmla="*/ 3152578 h 6386516"/>
              <a:gd name="connsiteX3545" fmla="*/ 1957893 w 6789110"/>
              <a:gd name="connsiteY3545" fmla="*/ 3185303 h 6386516"/>
              <a:gd name="connsiteX3546" fmla="*/ 2042584 w 6789110"/>
              <a:gd name="connsiteY3546" fmla="*/ 3135254 h 6386516"/>
              <a:gd name="connsiteX3547" fmla="*/ 1270745 w 6789110"/>
              <a:gd name="connsiteY3547" fmla="*/ 3114081 h 6386516"/>
              <a:gd name="connsiteX3548" fmla="*/ 1157182 w 6789110"/>
              <a:gd name="connsiteY3548" fmla="*/ 3329657 h 6386516"/>
              <a:gd name="connsiteX3549" fmla="*/ 1270745 w 6789110"/>
              <a:gd name="connsiteY3549" fmla="*/ 3114081 h 6386516"/>
              <a:gd name="connsiteX3550" fmla="*/ 5251205 w 6789110"/>
              <a:gd name="connsiteY3550" fmla="*/ 3090988 h 6386516"/>
              <a:gd name="connsiteX3551" fmla="*/ 5370542 w 6789110"/>
              <a:gd name="connsiteY3551" fmla="*/ 3133331 h 6386516"/>
              <a:gd name="connsiteX3552" fmla="*/ 5324347 w 6789110"/>
              <a:gd name="connsiteY3552" fmla="*/ 3125633 h 6386516"/>
              <a:gd name="connsiteX3553" fmla="*/ 5245431 w 6789110"/>
              <a:gd name="connsiteY3553" fmla="*/ 3102536 h 6386516"/>
              <a:gd name="connsiteX3554" fmla="*/ 5251205 w 6789110"/>
              <a:gd name="connsiteY3554" fmla="*/ 3090988 h 6386516"/>
              <a:gd name="connsiteX3555" fmla="*/ 3195533 w 6789110"/>
              <a:gd name="connsiteY3555" fmla="*/ 3079442 h 6386516"/>
              <a:gd name="connsiteX3556" fmla="*/ 3195533 w 6789110"/>
              <a:gd name="connsiteY3556" fmla="*/ 3114082 h 6386516"/>
              <a:gd name="connsiteX3557" fmla="*/ 2962634 w 6789110"/>
              <a:gd name="connsiteY3557" fmla="*/ 3406648 h 6386516"/>
              <a:gd name="connsiteX3558" fmla="*/ 2864469 w 6789110"/>
              <a:gd name="connsiteY3558" fmla="*/ 3466316 h 6386516"/>
              <a:gd name="connsiteX3559" fmla="*/ 3195533 w 6789110"/>
              <a:gd name="connsiteY3559" fmla="*/ 3079442 h 6386516"/>
              <a:gd name="connsiteX3560" fmla="*/ 1742317 w 6789110"/>
              <a:gd name="connsiteY3560" fmla="*/ 3079436 h 6386516"/>
              <a:gd name="connsiteX3561" fmla="*/ 1817384 w 6789110"/>
              <a:gd name="connsiteY3561" fmla="*/ 3160276 h 6386516"/>
              <a:gd name="connsiteX3562" fmla="*/ 1800061 w 6789110"/>
              <a:gd name="connsiteY3562" fmla="*/ 3187224 h 6386516"/>
              <a:gd name="connsiteX3563" fmla="*/ 1736543 w 6789110"/>
              <a:gd name="connsiteY3563" fmla="*/ 3119854 h 6386516"/>
              <a:gd name="connsiteX3564" fmla="*/ 1742317 w 6789110"/>
              <a:gd name="connsiteY3564" fmla="*/ 3079436 h 6386516"/>
              <a:gd name="connsiteX3565" fmla="*/ 3944274 w 6789110"/>
              <a:gd name="connsiteY3565" fmla="*/ 3077516 h 6386516"/>
              <a:gd name="connsiteX3566" fmla="*/ 3961597 w 6789110"/>
              <a:gd name="connsiteY3566" fmla="*/ 3077516 h 6386516"/>
              <a:gd name="connsiteX3567" fmla="*/ 3975071 w 6789110"/>
              <a:gd name="connsiteY3567" fmla="*/ 3114084 h 6386516"/>
              <a:gd name="connsiteX3568" fmla="*/ 3953898 w 6789110"/>
              <a:gd name="connsiteY3568" fmla="*/ 3110235 h 6386516"/>
              <a:gd name="connsiteX3569" fmla="*/ 3944274 w 6789110"/>
              <a:gd name="connsiteY3569" fmla="*/ 3077516 h 6386516"/>
              <a:gd name="connsiteX3570" fmla="*/ 3243653 w 6789110"/>
              <a:gd name="connsiteY3570" fmla="*/ 3071743 h 6386516"/>
              <a:gd name="connsiteX3571" fmla="*/ 3243653 w 6789110"/>
              <a:gd name="connsiteY3571" fmla="*/ 3071743 h 6386516"/>
              <a:gd name="connsiteX3572" fmla="*/ 4002018 w 6789110"/>
              <a:gd name="connsiteY3572" fmla="*/ 3064046 h 6386516"/>
              <a:gd name="connsiteX3573" fmla="*/ 3994319 w 6789110"/>
              <a:gd name="connsiteY3573" fmla="*/ 3073669 h 6386516"/>
              <a:gd name="connsiteX3574" fmla="*/ 4002018 w 6789110"/>
              <a:gd name="connsiteY3574" fmla="*/ 3073669 h 6386516"/>
              <a:gd name="connsiteX3575" fmla="*/ 4003943 w 6789110"/>
              <a:gd name="connsiteY3575" fmla="*/ 3081366 h 6386516"/>
              <a:gd name="connsiteX3576" fmla="*/ 4069386 w 6789110"/>
              <a:gd name="connsiteY3576" fmla="*/ 3156432 h 6386516"/>
              <a:gd name="connsiteX3577" fmla="*/ 4071310 w 6789110"/>
              <a:gd name="connsiteY3577" fmla="*/ 3148730 h 6386516"/>
              <a:gd name="connsiteX3578" fmla="*/ 4069386 w 6789110"/>
              <a:gd name="connsiteY3578" fmla="*/ 3139106 h 6386516"/>
              <a:gd name="connsiteX3579" fmla="*/ 4071310 w 6789110"/>
              <a:gd name="connsiteY3579" fmla="*/ 3141030 h 6386516"/>
              <a:gd name="connsiteX3580" fmla="*/ 4071310 w 6789110"/>
              <a:gd name="connsiteY3580" fmla="*/ 3137180 h 6386516"/>
              <a:gd name="connsiteX3581" fmla="*/ 4002018 w 6789110"/>
              <a:gd name="connsiteY3581" fmla="*/ 3064046 h 6386516"/>
              <a:gd name="connsiteX3582" fmla="*/ 3951974 w 6789110"/>
              <a:gd name="connsiteY3582" fmla="*/ 3050573 h 6386516"/>
              <a:gd name="connsiteX3583" fmla="*/ 3923102 w 6789110"/>
              <a:gd name="connsiteY3583" fmla="*/ 3056346 h 6386516"/>
              <a:gd name="connsiteX3584" fmla="*/ 4030890 w 6789110"/>
              <a:gd name="connsiteY3584" fmla="*/ 3133331 h 6386516"/>
              <a:gd name="connsiteX3585" fmla="*/ 4007792 w 6789110"/>
              <a:gd name="connsiteY3585" fmla="*/ 3110236 h 6386516"/>
              <a:gd name="connsiteX3586" fmla="*/ 3990469 w 6789110"/>
              <a:gd name="connsiteY3586" fmla="*/ 3110236 h 6386516"/>
              <a:gd name="connsiteX3587" fmla="*/ 3982770 w 6789110"/>
              <a:gd name="connsiteY3587" fmla="*/ 3083292 h 6386516"/>
              <a:gd name="connsiteX3588" fmla="*/ 3951974 w 6789110"/>
              <a:gd name="connsiteY3588" fmla="*/ 3050573 h 6386516"/>
              <a:gd name="connsiteX3589" fmla="*/ 1755791 w 6789110"/>
              <a:gd name="connsiteY3589" fmla="*/ 3040945 h 6386516"/>
              <a:gd name="connsiteX3590" fmla="*/ 1863579 w 6789110"/>
              <a:gd name="connsiteY3590" fmla="*/ 3112156 h 6386516"/>
              <a:gd name="connsiteX3591" fmla="*/ 1834707 w 6789110"/>
              <a:gd name="connsiteY3591" fmla="*/ 3137179 h 6386516"/>
              <a:gd name="connsiteX3592" fmla="*/ 1776964 w 6789110"/>
              <a:gd name="connsiteY3592" fmla="*/ 3098685 h 6386516"/>
              <a:gd name="connsiteX3593" fmla="*/ 1746167 w 6789110"/>
              <a:gd name="connsiteY3593" fmla="*/ 3065964 h 6386516"/>
              <a:gd name="connsiteX3594" fmla="*/ 1755791 w 6789110"/>
              <a:gd name="connsiteY3594" fmla="*/ 3040945 h 6386516"/>
              <a:gd name="connsiteX3595" fmla="*/ 3178210 w 6789110"/>
              <a:gd name="connsiteY3595" fmla="*/ 3012084 h 6386516"/>
              <a:gd name="connsiteX3596" fmla="*/ 3185909 w 6789110"/>
              <a:gd name="connsiteY3596" fmla="*/ 3039026 h 6386516"/>
              <a:gd name="connsiteX3597" fmla="*/ 2850995 w 6789110"/>
              <a:gd name="connsiteY3597" fmla="*/ 3441294 h 6386516"/>
              <a:gd name="connsiteX3598" fmla="*/ 2924137 w 6789110"/>
              <a:gd name="connsiteY3598" fmla="*/ 3345054 h 6386516"/>
              <a:gd name="connsiteX3599" fmla="*/ 3174360 w 6789110"/>
              <a:gd name="connsiteY3599" fmla="*/ 3014008 h 6386516"/>
              <a:gd name="connsiteX3600" fmla="*/ 3178210 w 6789110"/>
              <a:gd name="connsiteY3600" fmla="*/ 3012084 h 6386516"/>
              <a:gd name="connsiteX3601" fmla="*/ 1549839 w 6789110"/>
              <a:gd name="connsiteY3601" fmla="*/ 3008221 h 6386516"/>
              <a:gd name="connsiteX3602" fmla="*/ 1549839 w 6789110"/>
              <a:gd name="connsiteY3602" fmla="*/ 3012071 h 6386516"/>
              <a:gd name="connsiteX3603" fmla="*/ 1544065 w 6789110"/>
              <a:gd name="connsiteY3603" fmla="*/ 3031319 h 6386516"/>
              <a:gd name="connsiteX3604" fmla="*/ 1549839 w 6789110"/>
              <a:gd name="connsiteY3604" fmla="*/ 3008221 h 6386516"/>
              <a:gd name="connsiteX3605" fmla="*/ 5126093 w 6789110"/>
              <a:gd name="connsiteY3605" fmla="*/ 3000538 h 6386516"/>
              <a:gd name="connsiteX3606" fmla="*/ 5210785 w 6789110"/>
              <a:gd name="connsiteY3606" fmla="*/ 3027479 h 6386516"/>
              <a:gd name="connsiteX3607" fmla="*/ 5505278 w 6789110"/>
              <a:gd name="connsiteY3607" fmla="*/ 3083292 h 6386516"/>
              <a:gd name="connsiteX3608" fmla="*/ 5493729 w 6789110"/>
              <a:gd name="connsiteY3608" fmla="*/ 3098688 h 6386516"/>
              <a:gd name="connsiteX3609" fmla="*/ 5389790 w 6789110"/>
              <a:gd name="connsiteY3609" fmla="*/ 3077516 h 6386516"/>
              <a:gd name="connsiteX3610" fmla="*/ 5199236 w 6789110"/>
              <a:gd name="connsiteY3610" fmla="*/ 3058272 h 6386516"/>
              <a:gd name="connsiteX3611" fmla="*/ 5039478 w 6789110"/>
              <a:gd name="connsiteY3611" fmla="*/ 3015933 h 6386516"/>
              <a:gd name="connsiteX3612" fmla="*/ 5158816 w 6789110"/>
              <a:gd name="connsiteY3612" fmla="*/ 3017857 h 6386516"/>
              <a:gd name="connsiteX3613" fmla="*/ 5126093 w 6789110"/>
              <a:gd name="connsiteY3613" fmla="*/ 3000538 h 6386516"/>
              <a:gd name="connsiteX3614" fmla="*/ 3230178 w 6789110"/>
              <a:gd name="connsiteY3614" fmla="*/ 3000538 h 6386516"/>
              <a:gd name="connsiteX3615" fmla="*/ 3264825 w 6789110"/>
              <a:gd name="connsiteY3615" fmla="*/ 3060197 h 6386516"/>
              <a:gd name="connsiteX3616" fmla="*/ 3230178 w 6789110"/>
              <a:gd name="connsiteY3616" fmla="*/ 3000538 h 6386516"/>
              <a:gd name="connsiteX3617" fmla="*/ 1711521 w 6789110"/>
              <a:gd name="connsiteY3617" fmla="*/ 2987055 h 6386516"/>
              <a:gd name="connsiteX3618" fmla="*/ 1723071 w 6789110"/>
              <a:gd name="connsiteY3618" fmla="*/ 3031323 h 6386516"/>
              <a:gd name="connsiteX3619" fmla="*/ 1701897 w 6789110"/>
              <a:gd name="connsiteY3619" fmla="*/ 2992829 h 6386516"/>
              <a:gd name="connsiteX3620" fmla="*/ 1711521 w 6789110"/>
              <a:gd name="connsiteY3620" fmla="*/ 2987055 h 6386516"/>
              <a:gd name="connsiteX3621" fmla="*/ 1499794 w 6789110"/>
              <a:gd name="connsiteY3621" fmla="*/ 2985119 h 6386516"/>
              <a:gd name="connsiteX3622" fmla="*/ 1494020 w 6789110"/>
              <a:gd name="connsiteY3622" fmla="*/ 2996668 h 6386516"/>
              <a:gd name="connsiteX3623" fmla="*/ 1540214 w 6789110"/>
              <a:gd name="connsiteY3623" fmla="*/ 3050563 h 6386516"/>
              <a:gd name="connsiteX3624" fmla="*/ 1559462 w 6789110"/>
              <a:gd name="connsiteY3624" fmla="*/ 3304635 h 6386516"/>
              <a:gd name="connsiteX3625" fmla="*/ 1534440 w 6789110"/>
              <a:gd name="connsiteY3625" fmla="*/ 3320033 h 6386516"/>
              <a:gd name="connsiteX3626" fmla="*/ 1467073 w 6789110"/>
              <a:gd name="connsiteY3626" fmla="*/ 3283462 h 6386516"/>
              <a:gd name="connsiteX3627" fmla="*/ 1497869 w 6789110"/>
              <a:gd name="connsiteY3627" fmla="*/ 2987044 h 6386516"/>
              <a:gd name="connsiteX3628" fmla="*/ 1499794 w 6789110"/>
              <a:gd name="connsiteY3628" fmla="*/ 2985119 h 6386516"/>
              <a:gd name="connsiteX3629" fmla="*/ 1459374 w 6789110"/>
              <a:gd name="connsiteY3629" fmla="*/ 2973572 h 6386516"/>
              <a:gd name="connsiteX3630" fmla="*/ 1490171 w 6789110"/>
              <a:gd name="connsiteY3630" fmla="*/ 2992820 h 6386516"/>
              <a:gd name="connsiteX3631" fmla="*/ 1497870 w 6789110"/>
              <a:gd name="connsiteY3631" fmla="*/ 2985119 h 6386516"/>
              <a:gd name="connsiteX3632" fmla="*/ 1443976 w 6789110"/>
              <a:gd name="connsiteY3632" fmla="*/ 3289237 h 6386516"/>
              <a:gd name="connsiteX3633" fmla="*/ 1366983 w 6789110"/>
              <a:gd name="connsiteY3633" fmla="*/ 3341206 h 6386516"/>
              <a:gd name="connsiteX3634" fmla="*/ 1289992 w 6789110"/>
              <a:gd name="connsiteY3634" fmla="*/ 3260365 h 6386516"/>
              <a:gd name="connsiteX3635" fmla="*/ 1459374 w 6789110"/>
              <a:gd name="connsiteY3635" fmla="*/ 2973572 h 6386516"/>
              <a:gd name="connsiteX3636" fmla="*/ 1582560 w 6789110"/>
              <a:gd name="connsiteY3636" fmla="*/ 2963950 h 6386516"/>
              <a:gd name="connsiteX3637" fmla="*/ 1630680 w 6789110"/>
              <a:gd name="connsiteY3637" fmla="*/ 3006294 h 6386516"/>
              <a:gd name="connsiteX3638" fmla="*/ 1646079 w 6789110"/>
              <a:gd name="connsiteY3638" fmla="*/ 2988971 h 6386516"/>
              <a:gd name="connsiteX3639" fmla="*/ 1703821 w 6789110"/>
              <a:gd name="connsiteY3639" fmla="*/ 3094833 h 6386516"/>
              <a:gd name="connsiteX3640" fmla="*/ 1665326 w 6789110"/>
              <a:gd name="connsiteY3640" fmla="*/ 3133329 h 6386516"/>
              <a:gd name="connsiteX3641" fmla="*/ 1680724 w 6789110"/>
              <a:gd name="connsiteY3641" fmla="*/ 3198772 h 6386516"/>
              <a:gd name="connsiteX3642" fmla="*/ 1738468 w 6789110"/>
              <a:gd name="connsiteY3642" fmla="*/ 3150652 h 6386516"/>
              <a:gd name="connsiteX3643" fmla="*/ 1746167 w 6789110"/>
              <a:gd name="connsiteY3643" fmla="*/ 3162201 h 6386516"/>
              <a:gd name="connsiteX3644" fmla="*/ 1794286 w 6789110"/>
              <a:gd name="connsiteY3644" fmla="*/ 3194922 h 6386516"/>
              <a:gd name="connsiteX3645" fmla="*/ 1794286 w 6789110"/>
              <a:gd name="connsiteY3645" fmla="*/ 3239192 h 6386516"/>
              <a:gd name="connsiteX3646" fmla="*/ 1842407 w 6789110"/>
              <a:gd name="connsiteY3646" fmla="*/ 3218020 h 6386516"/>
              <a:gd name="connsiteX3647" fmla="*/ 1878978 w 6789110"/>
              <a:gd name="connsiteY3647" fmla="*/ 3256516 h 6386516"/>
              <a:gd name="connsiteX3648" fmla="*/ 1836633 w 6789110"/>
              <a:gd name="connsiteY3648" fmla="*/ 3295011 h 6386516"/>
              <a:gd name="connsiteX3649" fmla="*/ 1661476 w 6789110"/>
              <a:gd name="connsiteY3649" fmla="*/ 3308485 h 6386516"/>
              <a:gd name="connsiteX3650" fmla="*/ 1626830 w 6789110"/>
              <a:gd name="connsiteY3650" fmla="*/ 3233418 h 6386516"/>
              <a:gd name="connsiteX3651" fmla="*/ 1632604 w 6789110"/>
              <a:gd name="connsiteY3651" fmla="*/ 3285387 h 6386516"/>
              <a:gd name="connsiteX3652" fmla="*/ 1563312 w 6789110"/>
              <a:gd name="connsiteY3652" fmla="*/ 3291162 h 6386516"/>
              <a:gd name="connsiteX3653" fmla="*/ 1545989 w 6789110"/>
              <a:gd name="connsiteY3653" fmla="*/ 3081360 h 6386516"/>
              <a:gd name="connsiteX3654" fmla="*/ 1549838 w 6789110"/>
              <a:gd name="connsiteY3654" fmla="*/ 3046715 h 6386516"/>
              <a:gd name="connsiteX3655" fmla="*/ 1553688 w 6789110"/>
              <a:gd name="connsiteY3655" fmla="*/ 3027467 h 6386516"/>
              <a:gd name="connsiteX3656" fmla="*/ 1561387 w 6789110"/>
              <a:gd name="connsiteY3656" fmla="*/ 3037091 h 6386516"/>
              <a:gd name="connsiteX3657" fmla="*/ 1576786 w 6789110"/>
              <a:gd name="connsiteY3657" fmla="*/ 3008219 h 6386516"/>
              <a:gd name="connsiteX3658" fmla="*/ 1578710 w 6789110"/>
              <a:gd name="connsiteY3658" fmla="*/ 3048638 h 6386516"/>
              <a:gd name="connsiteX3659" fmla="*/ 1611432 w 6789110"/>
              <a:gd name="connsiteY3659" fmla="*/ 3017843 h 6386516"/>
              <a:gd name="connsiteX3660" fmla="*/ 1582560 w 6789110"/>
              <a:gd name="connsiteY3660" fmla="*/ 2963950 h 6386516"/>
              <a:gd name="connsiteX3661" fmla="*/ 3580490 w 6789110"/>
              <a:gd name="connsiteY3661" fmla="*/ 2956274 h 6386516"/>
              <a:gd name="connsiteX3662" fmla="*/ 3563167 w 6789110"/>
              <a:gd name="connsiteY3662" fmla="*/ 2965897 h 6386516"/>
              <a:gd name="connsiteX3663" fmla="*/ 3603587 w 6789110"/>
              <a:gd name="connsiteY3663" fmla="*/ 3052498 h 6386516"/>
              <a:gd name="connsiteX3664" fmla="*/ 3609361 w 6789110"/>
              <a:gd name="connsiteY3664" fmla="*/ 3067894 h 6386516"/>
              <a:gd name="connsiteX3665" fmla="*/ 3638233 w 6789110"/>
              <a:gd name="connsiteY3665" fmla="*/ 3179530 h 6386516"/>
              <a:gd name="connsiteX3666" fmla="*/ 3640158 w 6789110"/>
              <a:gd name="connsiteY3666" fmla="*/ 3158356 h 6386516"/>
              <a:gd name="connsiteX3667" fmla="*/ 3649782 w 6789110"/>
              <a:gd name="connsiteY3667" fmla="*/ 3158356 h 6386516"/>
              <a:gd name="connsiteX3668" fmla="*/ 3597813 w 6789110"/>
              <a:gd name="connsiteY3668" fmla="*/ 2994763 h 6386516"/>
              <a:gd name="connsiteX3669" fmla="*/ 3584339 w 6789110"/>
              <a:gd name="connsiteY3669" fmla="*/ 2994763 h 6386516"/>
              <a:gd name="connsiteX3670" fmla="*/ 3582414 w 6789110"/>
              <a:gd name="connsiteY3670" fmla="*/ 2962047 h 6386516"/>
              <a:gd name="connsiteX3671" fmla="*/ 3580490 w 6789110"/>
              <a:gd name="connsiteY3671" fmla="*/ 2956274 h 6386516"/>
              <a:gd name="connsiteX3672" fmla="*/ 3158961 w 6789110"/>
              <a:gd name="connsiteY3672" fmla="*/ 2950501 h 6386516"/>
              <a:gd name="connsiteX3673" fmla="*/ 3168586 w 6789110"/>
              <a:gd name="connsiteY3673" fmla="*/ 2965897 h 6386516"/>
              <a:gd name="connsiteX3674" fmla="*/ 2943385 w 6789110"/>
              <a:gd name="connsiteY3674" fmla="*/ 3298861 h 6386516"/>
              <a:gd name="connsiteX3675" fmla="*/ 3158961 w 6789110"/>
              <a:gd name="connsiteY3675" fmla="*/ 2950501 h 6386516"/>
              <a:gd name="connsiteX3676" fmla="*/ 3501573 w 6789110"/>
              <a:gd name="connsiteY3676" fmla="*/ 2938954 h 6386516"/>
              <a:gd name="connsiteX3677" fmla="*/ 3486175 w 6789110"/>
              <a:gd name="connsiteY3677" fmla="*/ 2946652 h 6386516"/>
              <a:gd name="connsiteX3678" fmla="*/ 3607437 w 6789110"/>
              <a:gd name="connsiteY3678" fmla="*/ 3183380 h 6386516"/>
              <a:gd name="connsiteX3679" fmla="*/ 3501573 w 6789110"/>
              <a:gd name="connsiteY3679" fmla="*/ 2938954 h 6386516"/>
              <a:gd name="connsiteX3680" fmla="*/ 985876 w 6789110"/>
              <a:gd name="connsiteY3680" fmla="*/ 2938925 h 6386516"/>
              <a:gd name="connsiteX3681" fmla="*/ 939681 w 6789110"/>
              <a:gd name="connsiteY3681" fmla="*/ 3065961 h 6386516"/>
              <a:gd name="connsiteX3682" fmla="*/ 985876 w 6789110"/>
              <a:gd name="connsiteY3682" fmla="*/ 2938925 h 6386516"/>
              <a:gd name="connsiteX3683" fmla="*/ 1417029 w 6789110"/>
              <a:gd name="connsiteY3683" fmla="*/ 2921603 h 6386516"/>
              <a:gd name="connsiteX3684" fmla="*/ 1422803 w 6789110"/>
              <a:gd name="connsiteY3684" fmla="*/ 2929301 h 6386516"/>
              <a:gd name="connsiteX3685" fmla="*/ 1417029 w 6789110"/>
              <a:gd name="connsiteY3685" fmla="*/ 2935077 h 6386516"/>
              <a:gd name="connsiteX3686" fmla="*/ 1417029 w 6789110"/>
              <a:gd name="connsiteY3686" fmla="*/ 2921603 h 6386516"/>
              <a:gd name="connsiteX3687" fmla="*/ 3430356 w 6789110"/>
              <a:gd name="connsiteY3687" fmla="*/ 2910088 h 6386516"/>
              <a:gd name="connsiteX3688" fmla="*/ 3416883 w 6789110"/>
              <a:gd name="connsiteY3688" fmla="*/ 2921633 h 6386516"/>
              <a:gd name="connsiteX3689" fmla="*/ 3445754 w 6789110"/>
              <a:gd name="connsiteY3689" fmla="*/ 2963971 h 6386516"/>
              <a:gd name="connsiteX3690" fmla="*/ 3455378 w 6789110"/>
              <a:gd name="connsiteY3690" fmla="*/ 2944728 h 6386516"/>
              <a:gd name="connsiteX3691" fmla="*/ 3430356 w 6789110"/>
              <a:gd name="connsiteY3691" fmla="*/ 2910088 h 6386516"/>
              <a:gd name="connsiteX3692" fmla="*/ 1640304 w 6789110"/>
              <a:gd name="connsiteY3692" fmla="*/ 2900445 h 6386516"/>
              <a:gd name="connsiteX3693" fmla="*/ 1661476 w 6789110"/>
              <a:gd name="connsiteY3693" fmla="*/ 2933164 h 6386516"/>
              <a:gd name="connsiteX3694" fmla="*/ 1730769 w 6789110"/>
              <a:gd name="connsiteY3694" fmla="*/ 3060192 h 6386516"/>
              <a:gd name="connsiteX3695" fmla="*/ 1726920 w 6789110"/>
              <a:gd name="connsiteY3695" fmla="*/ 3073665 h 6386516"/>
              <a:gd name="connsiteX3696" fmla="*/ 1715370 w 6789110"/>
              <a:gd name="connsiteY3696" fmla="*/ 3087137 h 6386516"/>
              <a:gd name="connsiteX3697" fmla="*/ 1644153 w 6789110"/>
              <a:gd name="connsiteY3697" fmla="*/ 2950485 h 6386516"/>
              <a:gd name="connsiteX3698" fmla="*/ 1673025 w 6789110"/>
              <a:gd name="connsiteY3698" fmla="*/ 2977431 h 6386516"/>
              <a:gd name="connsiteX3699" fmla="*/ 1640304 w 6789110"/>
              <a:gd name="connsiteY3699" fmla="*/ 2900445 h 6386516"/>
              <a:gd name="connsiteX3700" fmla="*/ 1676876 w 6789110"/>
              <a:gd name="connsiteY3700" fmla="*/ 2898522 h 6386516"/>
              <a:gd name="connsiteX3701" fmla="*/ 1674950 w 6789110"/>
              <a:gd name="connsiteY3701" fmla="*/ 2929317 h 6386516"/>
              <a:gd name="connsiteX3702" fmla="*/ 1669176 w 6789110"/>
              <a:gd name="connsiteY3702" fmla="*/ 2913919 h 6386516"/>
              <a:gd name="connsiteX3703" fmla="*/ 1676876 w 6789110"/>
              <a:gd name="connsiteY3703" fmla="*/ 2898522 h 6386516"/>
              <a:gd name="connsiteX3704" fmla="*/ 3207081 w 6789110"/>
              <a:gd name="connsiteY3704" fmla="*/ 2894692 h 6386516"/>
              <a:gd name="connsiteX3705" fmla="*/ 3264825 w 6789110"/>
              <a:gd name="connsiteY3705" fmla="*/ 2998613 h 6386516"/>
              <a:gd name="connsiteX3706" fmla="*/ 3207081 w 6789110"/>
              <a:gd name="connsiteY3706" fmla="*/ 2894692 h 6386516"/>
              <a:gd name="connsiteX3707" fmla="*/ 1538290 w 6789110"/>
              <a:gd name="connsiteY3707" fmla="*/ 2892740 h 6386516"/>
              <a:gd name="connsiteX3708" fmla="*/ 1605657 w 6789110"/>
              <a:gd name="connsiteY3708" fmla="*/ 2935083 h 6386516"/>
              <a:gd name="connsiteX3709" fmla="*/ 1586410 w 6789110"/>
              <a:gd name="connsiteY3709" fmla="*/ 2896589 h 6386516"/>
              <a:gd name="connsiteX3710" fmla="*/ 1603733 w 6789110"/>
              <a:gd name="connsiteY3710" fmla="*/ 2911987 h 6386516"/>
              <a:gd name="connsiteX3711" fmla="*/ 1619131 w 6789110"/>
              <a:gd name="connsiteY3711" fmla="*/ 2898513 h 6386516"/>
              <a:gd name="connsiteX3712" fmla="*/ 1626830 w 6789110"/>
              <a:gd name="connsiteY3712" fmla="*/ 2935083 h 6386516"/>
              <a:gd name="connsiteX3713" fmla="*/ 1630680 w 6789110"/>
              <a:gd name="connsiteY3713" fmla="*/ 2950482 h 6386516"/>
              <a:gd name="connsiteX3714" fmla="*/ 1565237 w 6789110"/>
              <a:gd name="connsiteY3714" fmla="*/ 2944707 h 6386516"/>
              <a:gd name="connsiteX3715" fmla="*/ 1538290 w 6789110"/>
              <a:gd name="connsiteY3715" fmla="*/ 2892740 h 6386516"/>
              <a:gd name="connsiteX3716" fmla="*/ 3139714 w 6789110"/>
              <a:gd name="connsiteY3716" fmla="*/ 2890841 h 6386516"/>
              <a:gd name="connsiteX3717" fmla="*/ 3026150 w 6789110"/>
              <a:gd name="connsiteY3717" fmla="*/ 3144882 h 6386516"/>
              <a:gd name="connsiteX3718" fmla="*/ 2929911 w 6789110"/>
              <a:gd name="connsiteY3718" fmla="*/ 3231493 h 6386516"/>
              <a:gd name="connsiteX3719" fmla="*/ 3126240 w 6789110"/>
              <a:gd name="connsiteY3719" fmla="*/ 2892767 h 6386516"/>
              <a:gd name="connsiteX3720" fmla="*/ 3139714 w 6789110"/>
              <a:gd name="connsiteY3720" fmla="*/ 2890841 h 6386516"/>
              <a:gd name="connsiteX3721" fmla="*/ 1759641 w 6789110"/>
              <a:gd name="connsiteY3721" fmla="*/ 2888898 h 6386516"/>
              <a:gd name="connsiteX3722" fmla="*/ 1775039 w 6789110"/>
              <a:gd name="connsiteY3722" fmla="*/ 2962035 h 6386516"/>
              <a:gd name="connsiteX3723" fmla="*/ 1801987 w 6789110"/>
              <a:gd name="connsiteY3723" fmla="*/ 2911993 h 6386516"/>
              <a:gd name="connsiteX3724" fmla="*/ 1784663 w 6789110"/>
              <a:gd name="connsiteY3724" fmla="*/ 3006302 h 6386516"/>
              <a:gd name="connsiteX3725" fmla="*/ 1823159 w 6789110"/>
              <a:gd name="connsiteY3725" fmla="*/ 2946638 h 6386516"/>
              <a:gd name="connsiteX3726" fmla="*/ 1827008 w 6789110"/>
              <a:gd name="connsiteY3726" fmla="*/ 2981281 h 6386516"/>
              <a:gd name="connsiteX3727" fmla="*/ 1861655 w 6789110"/>
              <a:gd name="connsiteY3727" fmla="*/ 2963960 h 6386516"/>
              <a:gd name="connsiteX3728" fmla="*/ 1819309 w 6789110"/>
              <a:gd name="connsiteY3728" fmla="*/ 3017849 h 6386516"/>
              <a:gd name="connsiteX3729" fmla="*/ 1836632 w 6789110"/>
              <a:gd name="connsiteY3729" fmla="*/ 3040945 h 6386516"/>
              <a:gd name="connsiteX3730" fmla="*/ 1886677 w 6789110"/>
              <a:gd name="connsiteY3730" fmla="*/ 2960110 h 6386516"/>
              <a:gd name="connsiteX3731" fmla="*/ 1873203 w 6789110"/>
              <a:gd name="connsiteY3731" fmla="*/ 3006302 h 6386516"/>
              <a:gd name="connsiteX3732" fmla="*/ 1934796 w 6789110"/>
              <a:gd name="connsiteY3732" fmla="*/ 2971658 h 6386516"/>
              <a:gd name="connsiteX3733" fmla="*/ 1894376 w 6789110"/>
              <a:gd name="connsiteY3733" fmla="*/ 3021699 h 6386516"/>
              <a:gd name="connsiteX3734" fmla="*/ 1954045 w 6789110"/>
              <a:gd name="connsiteY3734" fmla="*/ 2983207 h 6386516"/>
              <a:gd name="connsiteX3735" fmla="*/ 1942496 w 6789110"/>
              <a:gd name="connsiteY3735" fmla="*/ 3010151 h 6386516"/>
              <a:gd name="connsiteX3736" fmla="*/ 1980992 w 6789110"/>
              <a:gd name="connsiteY3736" fmla="*/ 2988979 h 6386516"/>
              <a:gd name="connsiteX3737" fmla="*/ 1984842 w 6789110"/>
              <a:gd name="connsiteY3737" fmla="*/ 2996678 h 6386516"/>
              <a:gd name="connsiteX3738" fmla="*/ 1855880 w 6789110"/>
              <a:gd name="connsiteY3738" fmla="*/ 3044795 h 6386516"/>
              <a:gd name="connsiteX3739" fmla="*/ 1873203 w 6789110"/>
              <a:gd name="connsiteY3739" fmla="*/ 3089061 h 6386516"/>
              <a:gd name="connsiteX3740" fmla="*/ 2011789 w 6789110"/>
              <a:gd name="connsiteY3740" fmla="*/ 3017849 h 6386516"/>
              <a:gd name="connsiteX3741" fmla="*/ 1950195 w 6789110"/>
              <a:gd name="connsiteY3741" fmla="*/ 3060192 h 6386516"/>
              <a:gd name="connsiteX3742" fmla="*/ 2017563 w 6789110"/>
              <a:gd name="connsiteY3742" fmla="*/ 3040945 h 6386516"/>
              <a:gd name="connsiteX3743" fmla="*/ 1979068 w 6789110"/>
              <a:gd name="connsiteY3743" fmla="*/ 3056341 h 6386516"/>
              <a:gd name="connsiteX3744" fmla="*/ 2023338 w 6789110"/>
              <a:gd name="connsiteY3744" fmla="*/ 3052493 h 6386516"/>
              <a:gd name="connsiteX3745" fmla="*/ 1917473 w 6789110"/>
              <a:gd name="connsiteY3745" fmla="*/ 3077513 h 6386516"/>
              <a:gd name="connsiteX3746" fmla="*/ 2046435 w 6789110"/>
              <a:gd name="connsiteY3746" fmla="*/ 3079438 h 6386516"/>
              <a:gd name="connsiteX3747" fmla="*/ 1986767 w 6789110"/>
              <a:gd name="connsiteY3747" fmla="*/ 3110231 h 6386516"/>
              <a:gd name="connsiteX3748" fmla="*/ 2042586 w 6789110"/>
              <a:gd name="connsiteY3748" fmla="*/ 3114081 h 6386516"/>
              <a:gd name="connsiteX3749" fmla="*/ 1980992 w 6789110"/>
              <a:gd name="connsiteY3749" fmla="*/ 3125629 h 6386516"/>
              <a:gd name="connsiteX3750" fmla="*/ 1865504 w 6789110"/>
              <a:gd name="connsiteY3750" fmla="*/ 3110231 h 6386516"/>
              <a:gd name="connsiteX3751" fmla="*/ 1765415 w 6789110"/>
              <a:gd name="connsiteY3751" fmla="*/ 3014000 h 6386516"/>
              <a:gd name="connsiteX3752" fmla="*/ 1769265 w 6789110"/>
              <a:gd name="connsiteY3752" fmla="*/ 2990905 h 6386516"/>
              <a:gd name="connsiteX3753" fmla="*/ 1711521 w 6789110"/>
              <a:gd name="connsiteY3753" fmla="*/ 2894672 h 6386516"/>
              <a:gd name="connsiteX3754" fmla="*/ 1765415 w 6789110"/>
              <a:gd name="connsiteY3754" fmla="*/ 2944714 h 6386516"/>
              <a:gd name="connsiteX3755" fmla="*/ 1759641 w 6789110"/>
              <a:gd name="connsiteY3755" fmla="*/ 2888898 h 6386516"/>
              <a:gd name="connsiteX3756" fmla="*/ 3457303 w 6789110"/>
              <a:gd name="connsiteY3756" fmla="*/ 2886994 h 6386516"/>
              <a:gd name="connsiteX3757" fmla="*/ 3449604 w 6789110"/>
              <a:gd name="connsiteY3757" fmla="*/ 2888917 h 6386516"/>
              <a:gd name="connsiteX3758" fmla="*/ 3459228 w 6789110"/>
              <a:gd name="connsiteY3758" fmla="*/ 2902390 h 6386516"/>
              <a:gd name="connsiteX3759" fmla="*/ 3457303 w 6789110"/>
              <a:gd name="connsiteY3759" fmla="*/ 2886994 h 6386516"/>
              <a:gd name="connsiteX3760" fmla="*/ 2972257 w 6789110"/>
              <a:gd name="connsiteY3760" fmla="*/ 2863899 h 6386516"/>
              <a:gd name="connsiteX3761" fmla="*/ 2929911 w 6789110"/>
              <a:gd name="connsiteY3761" fmla="*/ 2898540 h 6386516"/>
              <a:gd name="connsiteX3762" fmla="*/ 2972257 w 6789110"/>
              <a:gd name="connsiteY3762" fmla="*/ 2863899 h 6386516"/>
              <a:gd name="connsiteX3763" fmla="*/ 3018452 w 6789110"/>
              <a:gd name="connsiteY3763" fmla="*/ 2854277 h 6386516"/>
              <a:gd name="connsiteX3764" fmla="*/ 2945310 w 6789110"/>
              <a:gd name="connsiteY3764" fmla="*/ 3006311 h 6386516"/>
              <a:gd name="connsiteX3765" fmla="*/ 3018452 w 6789110"/>
              <a:gd name="connsiteY3765" fmla="*/ 2854277 h 6386516"/>
              <a:gd name="connsiteX3766" fmla="*/ 3183983 w 6789110"/>
              <a:gd name="connsiteY3766" fmla="*/ 2821561 h 6386516"/>
              <a:gd name="connsiteX3767" fmla="*/ 3262899 w 6789110"/>
              <a:gd name="connsiteY3767" fmla="*/ 2929332 h 6386516"/>
              <a:gd name="connsiteX3768" fmla="*/ 3183983 w 6789110"/>
              <a:gd name="connsiteY3768" fmla="*/ 2821561 h 6386516"/>
              <a:gd name="connsiteX3769" fmla="*/ 3223652 w 6789110"/>
              <a:gd name="connsiteY3769" fmla="*/ 2804120 h 6386516"/>
              <a:gd name="connsiteX3770" fmla="*/ 3262901 w 6789110"/>
              <a:gd name="connsiteY3770" fmla="*/ 2831183 h 6386516"/>
              <a:gd name="connsiteX3771" fmla="*/ 3264826 w 6789110"/>
              <a:gd name="connsiteY3771" fmla="*/ 2879294 h 6386516"/>
              <a:gd name="connsiteX3772" fmla="*/ 3207081 w 6789110"/>
              <a:gd name="connsiteY3772" fmla="*/ 2810014 h 6386516"/>
              <a:gd name="connsiteX3773" fmla="*/ 3223652 w 6789110"/>
              <a:gd name="connsiteY3773" fmla="*/ 2804120 h 6386516"/>
              <a:gd name="connsiteX3774" fmla="*/ 5503353 w 6789110"/>
              <a:gd name="connsiteY3774" fmla="*/ 2788846 h 6386516"/>
              <a:gd name="connsiteX3775" fmla="*/ 5503353 w 6789110"/>
              <a:gd name="connsiteY3775" fmla="*/ 2794618 h 6386516"/>
              <a:gd name="connsiteX3776" fmla="*/ 5376316 w 6789110"/>
              <a:gd name="connsiteY3776" fmla="*/ 2806166 h 6386516"/>
              <a:gd name="connsiteX3777" fmla="*/ 5358993 w 6789110"/>
              <a:gd name="connsiteY3777" fmla="*/ 2802318 h 6386516"/>
              <a:gd name="connsiteX3778" fmla="*/ 5503353 w 6789110"/>
              <a:gd name="connsiteY3778" fmla="*/ 2788846 h 6386516"/>
              <a:gd name="connsiteX3779" fmla="*/ 5568795 w 6789110"/>
              <a:gd name="connsiteY3779" fmla="*/ 2781147 h 6386516"/>
              <a:gd name="connsiteX3780" fmla="*/ 5526449 w 6789110"/>
              <a:gd name="connsiteY3780" fmla="*/ 2790770 h 6386516"/>
              <a:gd name="connsiteX3781" fmla="*/ 5568795 w 6789110"/>
              <a:gd name="connsiteY3781" fmla="*/ 2781147 h 6386516"/>
              <a:gd name="connsiteX3782" fmla="*/ 5591082 w 6789110"/>
              <a:gd name="connsiteY3782" fmla="*/ 2779854 h 6386516"/>
              <a:gd name="connsiteX3783" fmla="*/ 5597668 w 6789110"/>
              <a:gd name="connsiteY3783" fmla="*/ 2784997 h 6386516"/>
              <a:gd name="connsiteX3784" fmla="*/ 5574570 w 6789110"/>
              <a:gd name="connsiteY3784" fmla="*/ 2784997 h 6386516"/>
              <a:gd name="connsiteX3785" fmla="*/ 5591082 w 6789110"/>
              <a:gd name="connsiteY3785" fmla="*/ 2779854 h 6386516"/>
              <a:gd name="connsiteX3786" fmla="*/ 933906 w 6789110"/>
              <a:gd name="connsiteY3786" fmla="*/ 2767675 h 6386516"/>
              <a:gd name="connsiteX3787" fmla="*/ 868463 w 6789110"/>
              <a:gd name="connsiteY3787" fmla="*/ 2890841 h 6386516"/>
              <a:gd name="connsiteX3788" fmla="*/ 862689 w 6789110"/>
              <a:gd name="connsiteY3788" fmla="*/ 2860051 h 6386516"/>
              <a:gd name="connsiteX3789" fmla="*/ 933906 w 6789110"/>
              <a:gd name="connsiteY3789" fmla="*/ 2767675 h 6386516"/>
              <a:gd name="connsiteX3790" fmla="*/ 3030000 w 6789110"/>
              <a:gd name="connsiteY3790" fmla="*/ 2758053 h 6386516"/>
              <a:gd name="connsiteX3791" fmla="*/ 3043475 w 6789110"/>
              <a:gd name="connsiteY3791" fmla="*/ 2761902 h 6386516"/>
              <a:gd name="connsiteX3792" fmla="*/ 3018452 w 6789110"/>
              <a:gd name="connsiteY3792" fmla="*/ 2833107 h 6386516"/>
              <a:gd name="connsiteX3793" fmla="*/ 3030000 w 6789110"/>
              <a:gd name="connsiteY3793" fmla="*/ 2758053 h 6386516"/>
              <a:gd name="connsiteX3794" fmla="*/ 3072347 w 6789110"/>
              <a:gd name="connsiteY3794" fmla="*/ 2756128 h 6386516"/>
              <a:gd name="connsiteX3795" fmla="*/ 2866393 w 6789110"/>
              <a:gd name="connsiteY3795" fmla="*/ 3196847 h 6386516"/>
              <a:gd name="connsiteX3796" fmla="*/ 3091594 w 6789110"/>
              <a:gd name="connsiteY3796" fmla="*/ 2829259 h 6386516"/>
              <a:gd name="connsiteX3797" fmla="*/ 2879867 w 6789110"/>
              <a:gd name="connsiteY3797" fmla="*/ 3221869 h 6386516"/>
              <a:gd name="connsiteX3798" fmla="*/ 2795176 w 6789110"/>
              <a:gd name="connsiteY3798" fmla="*/ 3173756 h 6386516"/>
              <a:gd name="connsiteX3799" fmla="*/ 2870243 w 6789110"/>
              <a:gd name="connsiteY3799" fmla="*/ 3104461 h 6386516"/>
              <a:gd name="connsiteX3800" fmla="*/ 2824048 w 6789110"/>
              <a:gd name="connsiteY3800" fmla="*/ 3175681 h 6386516"/>
              <a:gd name="connsiteX3801" fmla="*/ 2933761 w 6789110"/>
              <a:gd name="connsiteY3801" fmla="*/ 3092915 h 6386516"/>
              <a:gd name="connsiteX3802" fmla="*/ 3072347 w 6789110"/>
              <a:gd name="connsiteY3802" fmla="*/ 2756128 h 6386516"/>
              <a:gd name="connsiteX3803" fmla="*/ 4067461 w 6789110"/>
              <a:gd name="connsiteY3803" fmla="*/ 2754204 h 6386516"/>
              <a:gd name="connsiteX3804" fmla="*/ 4065536 w 6789110"/>
              <a:gd name="connsiteY3804" fmla="*/ 2769601 h 6386516"/>
              <a:gd name="connsiteX3805" fmla="*/ 4079010 w 6789110"/>
              <a:gd name="connsiteY3805" fmla="*/ 2773449 h 6386516"/>
              <a:gd name="connsiteX3806" fmla="*/ 4079010 w 6789110"/>
              <a:gd name="connsiteY3806" fmla="*/ 2771525 h 6386516"/>
              <a:gd name="connsiteX3807" fmla="*/ 4090558 w 6789110"/>
              <a:gd name="connsiteY3807" fmla="*/ 2759978 h 6386516"/>
              <a:gd name="connsiteX3808" fmla="*/ 4082859 w 6789110"/>
              <a:gd name="connsiteY3808" fmla="*/ 2754204 h 6386516"/>
              <a:gd name="connsiteX3809" fmla="*/ 4067461 w 6789110"/>
              <a:gd name="connsiteY3809" fmla="*/ 2754204 h 6386516"/>
              <a:gd name="connsiteX3810" fmla="*/ 3307170 w 6789110"/>
              <a:gd name="connsiteY3810" fmla="*/ 2750356 h 6386516"/>
              <a:gd name="connsiteX3811" fmla="*/ 3355289 w 6789110"/>
              <a:gd name="connsiteY3811" fmla="*/ 2784994 h 6386516"/>
              <a:gd name="connsiteX3812" fmla="*/ 3361065 w 6789110"/>
              <a:gd name="connsiteY3812" fmla="*/ 2771525 h 6386516"/>
              <a:gd name="connsiteX3813" fmla="*/ 3307170 w 6789110"/>
              <a:gd name="connsiteY3813" fmla="*/ 2750356 h 6386516"/>
              <a:gd name="connsiteX3814" fmla="*/ 2594999 w 6789110"/>
              <a:gd name="connsiteY3814" fmla="*/ 2744546 h 6386516"/>
              <a:gd name="connsiteX3815" fmla="*/ 2594999 w 6789110"/>
              <a:gd name="connsiteY3815" fmla="*/ 2748395 h 6386516"/>
              <a:gd name="connsiteX3816" fmla="*/ 2591150 w 6789110"/>
              <a:gd name="connsiteY3816" fmla="*/ 2752246 h 6386516"/>
              <a:gd name="connsiteX3817" fmla="*/ 2498759 w 6789110"/>
              <a:gd name="connsiteY3817" fmla="*/ 2744546 h 6386516"/>
              <a:gd name="connsiteX3818" fmla="*/ 2510309 w 6789110"/>
              <a:gd name="connsiteY3818" fmla="*/ 2746471 h 6386516"/>
              <a:gd name="connsiteX3819" fmla="*/ 2506460 w 6789110"/>
              <a:gd name="connsiteY3819" fmla="*/ 2752245 h 6386516"/>
              <a:gd name="connsiteX3820" fmla="*/ 2510309 w 6789110"/>
              <a:gd name="connsiteY3820" fmla="*/ 2758019 h 6386516"/>
              <a:gd name="connsiteX3821" fmla="*/ 2506460 w 6789110"/>
              <a:gd name="connsiteY3821" fmla="*/ 2759944 h 6386516"/>
              <a:gd name="connsiteX3822" fmla="*/ 2510309 w 6789110"/>
              <a:gd name="connsiteY3822" fmla="*/ 2765719 h 6386516"/>
              <a:gd name="connsiteX3823" fmla="*/ 2498759 w 6789110"/>
              <a:gd name="connsiteY3823" fmla="*/ 2771493 h 6386516"/>
              <a:gd name="connsiteX3824" fmla="*/ 2489135 w 6789110"/>
              <a:gd name="connsiteY3824" fmla="*/ 2759944 h 6386516"/>
              <a:gd name="connsiteX3825" fmla="*/ 2489135 w 6789110"/>
              <a:gd name="connsiteY3825" fmla="*/ 2746471 h 6386516"/>
              <a:gd name="connsiteX3826" fmla="*/ 1028221 w 6789110"/>
              <a:gd name="connsiteY3826" fmla="*/ 2727199 h 6386516"/>
              <a:gd name="connsiteX3827" fmla="*/ 1033995 w 6789110"/>
              <a:gd name="connsiteY3827" fmla="*/ 2948549 h 6386516"/>
              <a:gd name="connsiteX3828" fmla="*/ 1010898 w 6789110"/>
              <a:gd name="connsiteY3828" fmla="*/ 2913903 h 6386516"/>
              <a:gd name="connsiteX3829" fmla="*/ 933906 w 6789110"/>
              <a:gd name="connsiteY3829" fmla="*/ 3142953 h 6386516"/>
              <a:gd name="connsiteX3830" fmla="*/ 1005123 w 6789110"/>
              <a:gd name="connsiteY3830" fmla="*/ 3050563 h 6386516"/>
              <a:gd name="connsiteX3831" fmla="*/ 899260 w 6789110"/>
              <a:gd name="connsiteY3831" fmla="*/ 3206471 h 6386516"/>
              <a:gd name="connsiteX3832" fmla="*/ 1028221 w 6789110"/>
              <a:gd name="connsiteY3832" fmla="*/ 2727199 h 6386516"/>
              <a:gd name="connsiteX3833" fmla="*/ 2596924 w 6789110"/>
              <a:gd name="connsiteY3833" fmla="*/ 2717611 h 6386516"/>
              <a:gd name="connsiteX3834" fmla="*/ 2596924 w 6789110"/>
              <a:gd name="connsiteY3834" fmla="*/ 2719535 h 6386516"/>
              <a:gd name="connsiteX3835" fmla="*/ 2596924 w 6789110"/>
              <a:gd name="connsiteY3835" fmla="*/ 2727234 h 6386516"/>
              <a:gd name="connsiteX3836" fmla="*/ 2593073 w 6789110"/>
              <a:gd name="connsiteY3836" fmla="*/ 2742631 h 6386516"/>
              <a:gd name="connsiteX3837" fmla="*/ 2591149 w 6789110"/>
              <a:gd name="connsiteY3837" fmla="*/ 2731083 h 6386516"/>
              <a:gd name="connsiteX3838" fmla="*/ 2579600 w 6789110"/>
              <a:gd name="connsiteY3838" fmla="*/ 2734932 h 6386516"/>
              <a:gd name="connsiteX3839" fmla="*/ 2596924 w 6789110"/>
              <a:gd name="connsiteY3839" fmla="*/ 2717611 h 6386516"/>
              <a:gd name="connsiteX3840" fmla="*/ 3120977 w 6789110"/>
              <a:gd name="connsiteY3840" fmla="*/ 2708857 h 6386516"/>
              <a:gd name="connsiteX3841" fmla="*/ 3137789 w 6789110"/>
              <a:gd name="connsiteY3841" fmla="*/ 2713791 h 6386516"/>
              <a:gd name="connsiteX3842" fmla="*/ 3083894 w 6789110"/>
              <a:gd name="connsiteY3842" fmla="*/ 2744582 h 6386516"/>
              <a:gd name="connsiteX3843" fmla="*/ 3120977 w 6789110"/>
              <a:gd name="connsiteY3843" fmla="*/ 2708857 h 6386516"/>
              <a:gd name="connsiteX3844" fmla="*/ 2467962 w 6789110"/>
              <a:gd name="connsiteY3844" fmla="*/ 2707987 h 6386516"/>
              <a:gd name="connsiteX3845" fmla="*/ 2475661 w 6789110"/>
              <a:gd name="connsiteY3845" fmla="*/ 2707987 h 6386516"/>
              <a:gd name="connsiteX3846" fmla="*/ 2481437 w 6789110"/>
              <a:gd name="connsiteY3846" fmla="*/ 2713761 h 6386516"/>
              <a:gd name="connsiteX3847" fmla="*/ 2479512 w 6789110"/>
              <a:gd name="connsiteY3847" fmla="*/ 2717610 h 6386516"/>
              <a:gd name="connsiteX3848" fmla="*/ 2462188 w 6789110"/>
              <a:gd name="connsiteY3848" fmla="*/ 2725309 h 6386516"/>
              <a:gd name="connsiteX3849" fmla="*/ 2462188 w 6789110"/>
              <a:gd name="connsiteY3849" fmla="*/ 2713761 h 6386516"/>
              <a:gd name="connsiteX3850" fmla="*/ 2939536 w 6789110"/>
              <a:gd name="connsiteY3850" fmla="*/ 2681073 h 6386516"/>
              <a:gd name="connsiteX3851" fmla="*/ 2914513 w 6789110"/>
              <a:gd name="connsiteY3851" fmla="*/ 2713791 h 6386516"/>
              <a:gd name="connsiteX3852" fmla="*/ 2939536 w 6789110"/>
              <a:gd name="connsiteY3852" fmla="*/ 2681073 h 6386516"/>
              <a:gd name="connsiteX3853" fmla="*/ 2995354 w 6789110"/>
              <a:gd name="connsiteY3853" fmla="*/ 2677222 h 6386516"/>
              <a:gd name="connsiteX3854" fmla="*/ 2993429 w 6789110"/>
              <a:gd name="connsiteY3854" fmla="*/ 2781147 h 6386516"/>
              <a:gd name="connsiteX3855" fmla="*/ 2995354 w 6789110"/>
              <a:gd name="connsiteY3855" fmla="*/ 2677222 h 6386516"/>
              <a:gd name="connsiteX3856" fmla="*/ 4028965 w 6789110"/>
              <a:gd name="connsiteY3856" fmla="*/ 2671449 h 6386516"/>
              <a:gd name="connsiteX3857" fmla="*/ 4021266 w 6789110"/>
              <a:gd name="connsiteY3857" fmla="*/ 2681073 h 6386516"/>
              <a:gd name="connsiteX3858" fmla="*/ 4015492 w 6789110"/>
              <a:gd name="connsiteY3858" fmla="*/ 2673376 h 6386516"/>
              <a:gd name="connsiteX3859" fmla="*/ 4005868 w 6789110"/>
              <a:gd name="connsiteY3859" fmla="*/ 2692620 h 6386516"/>
              <a:gd name="connsiteX3860" fmla="*/ 4019341 w 6789110"/>
              <a:gd name="connsiteY3860" fmla="*/ 2696470 h 6386516"/>
              <a:gd name="connsiteX3861" fmla="*/ 4028965 w 6789110"/>
              <a:gd name="connsiteY3861" fmla="*/ 2671449 h 6386516"/>
              <a:gd name="connsiteX3862" fmla="*/ 2512232 w 6789110"/>
              <a:gd name="connsiteY3862" fmla="*/ 2671420 h 6386516"/>
              <a:gd name="connsiteX3863" fmla="*/ 2523781 w 6789110"/>
              <a:gd name="connsiteY3863" fmla="*/ 2671420 h 6386516"/>
              <a:gd name="connsiteX3864" fmla="*/ 2519931 w 6789110"/>
              <a:gd name="connsiteY3864" fmla="*/ 2675272 h 6386516"/>
              <a:gd name="connsiteX3865" fmla="*/ 4250316 w 6789110"/>
              <a:gd name="connsiteY3865" fmla="*/ 2669525 h 6386516"/>
              <a:gd name="connsiteX3866" fmla="*/ 4186798 w 6789110"/>
              <a:gd name="connsiteY3866" fmla="*/ 2788846 h 6386516"/>
              <a:gd name="connsiteX3867" fmla="*/ 4217594 w 6789110"/>
              <a:gd name="connsiteY3867" fmla="*/ 2744582 h 6386516"/>
              <a:gd name="connsiteX3868" fmla="*/ 4258015 w 6789110"/>
              <a:gd name="connsiteY3868" fmla="*/ 2681073 h 6386516"/>
              <a:gd name="connsiteX3869" fmla="*/ 4250316 w 6789110"/>
              <a:gd name="connsiteY3869" fmla="*/ 2669525 h 6386516"/>
              <a:gd name="connsiteX3870" fmla="*/ 4202196 w 6789110"/>
              <a:gd name="connsiteY3870" fmla="*/ 2667602 h 6386516"/>
              <a:gd name="connsiteX3871" fmla="*/ 4136753 w 6789110"/>
              <a:gd name="connsiteY3871" fmla="*/ 2752279 h 6386516"/>
              <a:gd name="connsiteX3872" fmla="*/ 4130979 w 6789110"/>
              <a:gd name="connsiteY3872" fmla="*/ 2777297 h 6386516"/>
              <a:gd name="connsiteX3873" fmla="*/ 4123280 w 6789110"/>
              <a:gd name="connsiteY3873" fmla="*/ 2777297 h 6386516"/>
              <a:gd name="connsiteX3874" fmla="*/ 4121355 w 6789110"/>
              <a:gd name="connsiteY3874" fmla="*/ 2786921 h 6386516"/>
              <a:gd name="connsiteX3875" fmla="*/ 4146377 w 6789110"/>
              <a:gd name="connsiteY3875" fmla="*/ 2792695 h 6386516"/>
              <a:gd name="connsiteX3876" fmla="*/ 4223369 w 6789110"/>
              <a:gd name="connsiteY3876" fmla="*/ 2669525 h 6386516"/>
              <a:gd name="connsiteX3877" fmla="*/ 2600774 w 6789110"/>
              <a:gd name="connsiteY3877" fmla="*/ 2665639 h 6386516"/>
              <a:gd name="connsiteX3878" fmla="*/ 2600774 w 6789110"/>
              <a:gd name="connsiteY3878" fmla="*/ 2673337 h 6386516"/>
              <a:gd name="connsiteX3879" fmla="*/ 2594999 w 6789110"/>
              <a:gd name="connsiteY3879" fmla="*/ 2673337 h 6386516"/>
              <a:gd name="connsiteX3880" fmla="*/ 2600774 w 6789110"/>
              <a:gd name="connsiteY3880" fmla="*/ 2665639 h 6386516"/>
              <a:gd name="connsiteX3881" fmla="*/ 4365803 w 6789110"/>
              <a:gd name="connsiteY3881" fmla="*/ 2657977 h 6386516"/>
              <a:gd name="connsiteX3882" fmla="*/ 4361953 w 6789110"/>
              <a:gd name="connsiteY3882" fmla="*/ 2675300 h 6386516"/>
              <a:gd name="connsiteX3883" fmla="*/ 4371577 w 6789110"/>
              <a:gd name="connsiteY3883" fmla="*/ 2675300 h 6386516"/>
              <a:gd name="connsiteX3884" fmla="*/ 4365803 w 6789110"/>
              <a:gd name="connsiteY3884" fmla="*/ 2657977 h 6386516"/>
              <a:gd name="connsiteX3885" fmla="*/ 5614989 w 6789110"/>
              <a:gd name="connsiteY3885" fmla="*/ 2646433 h 6386516"/>
              <a:gd name="connsiteX3886" fmla="*/ 5545697 w 6789110"/>
              <a:gd name="connsiteY3886" fmla="*/ 2669525 h 6386516"/>
              <a:gd name="connsiteX3887" fmla="*/ 5614989 w 6789110"/>
              <a:gd name="connsiteY3887" fmla="*/ 2646433 h 6386516"/>
              <a:gd name="connsiteX3888" fmla="*/ 5643863 w 6789110"/>
              <a:gd name="connsiteY3888" fmla="*/ 2640657 h 6386516"/>
              <a:gd name="connsiteX3889" fmla="*/ 5636164 w 6789110"/>
              <a:gd name="connsiteY3889" fmla="*/ 2648356 h 6386516"/>
              <a:gd name="connsiteX3890" fmla="*/ 5616915 w 6789110"/>
              <a:gd name="connsiteY3890" fmla="*/ 2648356 h 6386516"/>
              <a:gd name="connsiteX3891" fmla="*/ 2720110 w 6789110"/>
              <a:gd name="connsiteY3891" fmla="*/ 2636765 h 6386516"/>
              <a:gd name="connsiteX3892" fmla="*/ 2687389 w 6789110"/>
              <a:gd name="connsiteY3892" fmla="*/ 2686809 h 6386516"/>
              <a:gd name="connsiteX3893" fmla="*/ 2685463 w 6789110"/>
              <a:gd name="connsiteY3893" fmla="*/ 2677185 h 6386516"/>
              <a:gd name="connsiteX3894" fmla="*/ 2720110 w 6789110"/>
              <a:gd name="connsiteY3894" fmla="*/ 2636765 h 6386516"/>
              <a:gd name="connsiteX3895" fmla="*/ 4281112 w 6789110"/>
              <a:gd name="connsiteY3895" fmla="*/ 2625263 h 6386516"/>
              <a:gd name="connsiteX3896" fmla="*/ 4254165 w 6789110"/>
              <a:gd name="connsiteY3896" fmla="*/ 2661824 h 6386516"/>
              <a:gd name="connsiteX3897" fmla="*/ 4271488 w 6789110"/>
              <a:gd name="connsiteY3897" fmla="*/ 2663754 h 6386516"/>
              <a:gd name="connsiteX3898" fmla="*/ 4286887 w 6789110"/>
              <a:gd name="connsiteY3898" fmla="*/ 2642581 h 6386516"/>
              <a:gd name="connsiteX3899" fmla="*/ 4281112 w 6789110"/>
              <a:gd name="connsiteY3899" fmla="*/ 2625263 h 6386516"/>
              <a:gd name="connsiteX3900" fmla="*/ 2978032 w 6789110"/>
              <a:gd name="connsiteY3900" fmla="*/ 2625263 h 6386516"/>
              <a:gd name="connsiteX3901" fmla="*/ 2964558 w 6789110"/>
              <a:gd name="connsiteY3901" fmla="*/ 2721488 h 6386516"/>
              <a:gd name="connsiteX3902" fmla="*/ 2978032 w 6789110"/>
              <a:gd name="connsiteY3902" fmla="*/ 2625263 h 6386516"/>
              <a:gd name="connsiteX3903" fmla="*/ 2943387 w 6789110"/>
              <a:gd name="connsiteY3903" fmla="*/ 2625263 h 6386516"/>
              <a:gd name="connsiteX3904" fmla="*/ 2889491 w 6789110"/>
              <a:gd name="connsiteY3904" fmla="*/ 2708015 h 6386516"/>
              <a:gd name="connsiteX3905" fmla="*/ 2943387 w 6789110"/>
              <a:gd name="connsiteY3905" fmla="*/ 2625263 h 6386516"/>
              <a:gd name="connsiteX3906" fmla="*/ 5072832 w 6789110"/>
              <a:gd name="connsiteY3906" fmla="*/ 2621653 h 6386516"/>
              <a:gd name="connsiteX3907" fmla="*/ 5077975 w 6789110"/>
              <a:gd name="connsiteY3907" fmla="*/ 2636805 h 6386516"/>
              <a:gd name="connsiteX3908" fmla="*/ 5014456 w 6789110"/>
              <a:gd name="connsiteY3908" fmla="*/ 2654130 h 6386516"/>
              <a:gd name="connsiteX3909" fmla="*/ 5066426 w 6789110"/>
              <a:gd name="connsiteY3909" fmla="*/ 2625263 h 6386516"/>
              <a:gd name="connsiteX3910" fmla="*/ 5072832 w 6789110"/>
              <a:gd name="connsiteY3910" fmla="*/ 2621653 h 6386516"/>
              <a:gd name="connsiteX3911" fmla="*/ 4891271 w 6789110"/>
              <a:gd name="connsiteY3911" fmla="*/ 2611777 h 6386516"/>
              <a:gd name="connsiteX3912" fmla="*/ 4879722 w 6789110"/>
              <a:gd name="connsiteY3912" fmla="*/ 2625263 h 6386516"/>
              <a:gd name="connsiteX3913" fmla="*/ 4889346 w 6789110"/>
              <a:gd name="connsiteY3913" fmla="*/ 2682996 h 6386516"/>
              <a:gd name="connsiteX3914" fmla="*/ 4879722 w 6789110"/>
              <a:gd name="connsiteY3914" fmla="*/ 2708015 h 6386516"/>
              <a:gd name="connsiteX3915" fmla="*/ 4962488 w 6789110"/>
              <a:gd name="connsiteY3915" fmla="*/ 2667602 h 6386516"/>
              <a:gd name="connsiteX3916" fmla="*/ 4891271 w 6789110"/>
              <a:gd name="connsiteY3916" fmla="*/ 2611777 h 6386516"/>
              <a:gd name="connsiteX3917" fmla="*/ 3122391 w 6789110"/>
              <a:gd name="connsiteY3917" fmla="*/ 2609861 h 6386516"/>
              <a:gd name="connsiteX3918" fmla="*/ 3078120 w 6789110"/>
              <a:gd name="connsiteY3918" fmla="*/ 2638732 h 6386516"/>
              <a:gd name="connsiteX3919" fmla="*/ 3122391 w 6789110"/>
              <a:gd name="connsiteY3919" fmla="*/ 2609861 h 6386516"/>
              <a:gd name="connsiteX3920" fmla="*/ 2652743 w 6789110"/>
              <a:gd name="connsiteY3920" fmla="*/ 2609829 h 6386516"/>
              <a:gd name="connsiteX3921" fmla="*/ 2654668 w 6789110"/>
              <a:gd name="connsiteY3921" fmla="*/ 2617530 h 6386516"/>
              <a:gd name="connsiteX3922" fmla="*/ 2652743 w 6789110"/>
              <a:gd name="connsiteY3922" fmla="*/ 2621376 h 6386516"/>
              <a:gd name="connsiteX3923" fmla="*/ 2646967 w 6789110"/>
              <a:gd name="connsiteY3923" fmla="*/ 2631002 h 6386516"/>
              <a:gd name="connsiteX3924" fmla="*/ 2637343 w 6789110"/>
              <a:gd name="connsiteY3924" fmla="*/ 2632925 h 6386516"/>
              <a:gd name="connsiteX3925" fmla="*/ 2633494 w 6789110"/>
              <a:gd name="connsiteY3925" fmla="*/ 2623301 h 6386516"/>
              <a:gd name="connsiteX3926" fmla="*/ 2652743 w 6789110"/>
              <a:gd name="connsiteY3926" fmla="*/ 2609829 h 6386516"/>
              <a:gd name="connsiteX3927" fmla="*/ 2939535 w 6789110"/>
              <a:gd name="connsiteY3927" fmla="*/ 2594463 h 6386516"/>
              <a:gd name="connsiteX3928" fmla="*/ 2829822 w 6789110"/>
              <a:gd name="connsiteY3928" fmla="*/ 2742659 h 6386516"/>
              <a:gd name="connsiteX3929" fmla="*/ 2939535 w 6789110"/>
              <a:gd name="connsiteY3929" fmla="*/ 2594463 h 6386516"/>
              <a:gd name="connsiteX3930" fmla="*/ 5077974 w 6789110"/>
              <a:gd name="connsiteY3930" fmla="*/ 2590619 h 6386516"/>
              <a:gd name="connsiteX3931" fmla="*/ 5255055 w 6789110"/>
              <a:gd name="connsiteY3931" fmla="*/ 2657977 h 6386516"/>
              <a:gd name="connsiteX3932" fmla="*/ 5305099 w 6789110"/>
              <a:gd name="connsiteY3932" fmla="*/ 2686847 h 6386516"/>
              <a:gd name="connsiteX3933" fmla="*/ 5272378 w 6789110"/>
              <a:gd name="connsiteY3933" fmla="*/ 2692620 h 6386516"/>
              <a:gd name="connsiteX3934" fmla="*/ 5089523 w 6789110"/>
              <a:gd name="connsiteY3934" fmla="*/ 2606012 h 6386516"/>
              <a:gd name="connsiteX3935" fmla="*/ 5077974 w 6789110"/>
              <a:gd name="connsiteY3935" fmla="*/ 2590619 h 6386516"/>
              <a:gd name="connsiteX3936" fmla="*/ 4046288 w 6789110"/>
              <a:gd name="connsiteY3936" fmla="*/ 2586770 h 6386516"/>
              <a:gd name="connsiteX3937" fmla="*/ 4028965 w 6789110"/>
              <a:gd name="connsiteY3937" fmla="*/ 2642581 h 6386516"/>
              <a:gd name="connsiteX3938" fmla="*/ 4038589 w 6789110"/>
              <a:gd name="connsiteY3938" fmla="*/ 2642581 h 6386516"/>
              <a:gd name="connsiteX3939" fmla="*/ 4048213 w 6789110"/>
              <a:gd name="connsiteY3939" fmla="*/ 2586770 h 6386516"/>
              <a:gd name="connsiteX3940" fmla="*/ 4046288 w 6789110"/>
              <a:gd name="connsiteY3940" fmla="*/ 2586770 h 6386516"/>
              <a:gd name="connsiteX3941" fmla="*/ 2829822 w 6789110"/>
              <a:gd name="connsiteY3941" fmla="*/ 2571367 h 6386516"/>
              <a:gd name="connsiteX3942" fmla="*/ 2785552 w 6789110"/>
              <a:gd name="connsiteY3942" fmla="*/ 3065969 h 6386516"/>
              <a:gd name="connsiteX3943" fmla="*/ 2602697 w 6789110"/>
              <a:gd name="connsiteY3943" fmla="*/ 3189155 h 6386516"/>
              <a:gd name="connsiteX3944" fmla="*/ 2671990 w 6789110"/>
              <a:gd name="connsiteY3944" fmla="*/ 3402799 h 6386516"/>
              <a:gd name="connsiteX3945" fmla="*/ 2469887 w 6789110"/>
              <a:gd name="connsiteY3945" fmla="*/ 3499039 h 6386516"/>
              <a:gd name="connsiteX3946" fmla="*/ 2552653 w 6789110"/>
              <a:gd name="connsiteY3946" fmla="*/ 3766584 h 6386516"/>
              <a:gd name="connsiteX3947" fmla="*/ 2444866 w 6789110"/>
              <a:gd name="connsiteY3947" fmla="*/ 3824328 h 6386516"/>
              <a:gd name="connsiteX3948" fmla="*/ 2227364 w 6789110"/>
              <a:gd name="connsiteY3948" fmla="*/ 3641473 h 6386516"/>
              <a:gd name="connsiteX3949" fmla="*/ 2292807 w 6789110"/>
              <a:gd name="connsiteY3949" fmla="*/ 3716540 h 6386516"/>
              <a:gd name="connsiteX3950" fmla="*/ 2236988 w 6789110"/>
              <a:gd name="connsiteY3950" fmla="*/ 3618376 h 6386516"/>
              <a:gd name="connsiteX3951" fmla="*/ 2250462 w 6789110"/>
              <a:gd name="connsiteY3951" fmla="*/ 3595278 h 6386516"/>
              <a:gd name="connsiteX3952" fmla="*/ 2329378 w 6789110"/>
              <a:gd name="connsiteY3952" fmla="*/ 3745411 h 6386516"/>
              <a:gd name="connsiteX3953" fmla="*/ 2271634 w 6789110"/>
              <a:gd name="connsiteY3953" fmla="*/ 3556782 h 6386516"/>
              <a:gd name="connsiteX3954" fmla="*/ 2398670 w 6789110"/>
              <a:gd name="connsiteY3954" fmla="*/ 3774283 h 6386516"/>
              <a:gd name="connsiteX3955" fmla="*/ 2290882 w 6789110"/>
              <a:gd name="connsiteY3955" fmla="*/ 3522136 h 6386516"/>
              <a:gd name="connsiteX3956" fmla="*/ 2439091 w 6789110"/>
              <a:gd name="connsiteY3956" fmla="*/ 3672269 h 6386516"/>
              <a:gd name="connsiteX3957" fmla="*/ 2460263 w 6789110"/>
              <a:gd name="connsiteY3957" fmla="*/ 3710765 h 6386516"/>
              <a:gd name="connsiteX3958" fmla="*/ 2308205 w 6789110"/>
              <a:gd name="connsiteY3958" fmla="*/ 3483640 h 6386516"/>
              <a:gd name="connsiteX3959" fmla="*/ 2494910 w 6789110"/>
              <a:gd name="connsiteY3959" fmla="*/ 3668420 h 6386516"/>
              <a:gd name="connsiteX3960" fmla="*/ 2473737 w 6789110"/>
              <a:gd name="connsiteY3960" fmla="*/ 3629924 h 6386516"/>
              <a:gd name="connsiteX3961" fmla="*/ 2485285 w 6789110"/>
              <a:gd name="connsiteY3961" fmla="*/ 3614526 h 6386516"/>
              <a:gd name="connsiteX3962" fmla="*/ 2385196 w 6789110"/>
              <a:gd name="connsiteY3962" fmla="*/ 3518286 h 6386516"/>
              <a:gd name="connsiteX3963" fmla="*/ 2325529 w 6789110"/>
              <a:gd name="connsiteY3963" fmla="*/ 3422047 h 6386516"/>
              <a:gd name="connsiteX3964" fmla="*/ 2469887 w 6789110"/>
              <a:gd name="connsiteY3964" fmla="*/ 3583729 h 6386516"/>
              <a:gd name="connsiteX3965" fmla="*/ 2335152 w 6789110"/>
              <a:gd name="connsiteY3965" fmla="*/ 3398950 h 6386516"/>
              <a:gd name="connsiteX3966" fmla="*/ 2348625 w 6789110"/>
              <a:gd name="connsiteY3966" fmla="*/ 3354679 h 6386516"/>
              <a:gd name="connsiteX3967" fmla="*/ 2458338 w 6789110"/>
              <a:gd name="connsiteY3967" fmla="*/ 3481716 h 6386516"/>
              <a:gd name="connsiteX3968" fmla="*/ 2369799 w 6789110"/>
              <a:gd name="connsiteY3968" fmla="*/ 3281538 h 6386516"/>
              <a:gd name="connsiteX3969" fmla="*/ 2460263 w 6789110"/>
              <a:gd name="connsiteY3969" fmla="*/ 3397025 h 6386516"/>
              <a:gd name="connsiteX3970" fmla="*/ 2390971 w 6789110"/>
              <a:gd name="connsiteY3970" fmla="*/ 3187230 h 6386516"/>
              <a:gd name="connsiteX3971" fmla="*/ 2516082 w 6789110"/>
              <a:gd name="connsiteY3971" fmla="*/ 3362379 h 6386516"/>
              <a:gd name="connsiteX3972" fmla="*/ 2419843 w 6789110"/>
              <a:gd name="connsiteY3972" fmla="*/ 3116009 h 6386516"/>
              <a:gd name="connsiteX3973" fmla="*/ 2544954 w 6789110"/>
              <a:gd name="connsiteY3973" fmla="*/ 3308485 h 6386516"/>
              <a:gd name="connsiteX3974" fmla="*/ 2444866 w 6789110"/>
              <a:gd name="connsiteY3974" fmla="*/ 3044800 h 6386516"/>
              <a:gd name="connsiteX3975" fmla="*/ 2627720 w 6789110"/>
              <a:gd name="connsiteY3975" fmla="*/ 3310410 h 6386516"/>
              <a:gd name="connsiteX3976" fmla="*/ 2514157 w 6789110"/>
              <a:gd name="connsiteY3976" fmla="*/ 3146807 h 6386516"/>
              <a:gd name="connsiteX3977" fmla="*/ 2475663 w 6789110"/>
              <a:gd name="connsiteY3977" fmla="*/ 2990914 h 6386516"/>
              <a:gd name="connsiteX3978" fmla="*/ 2569976 w 6789110"/>
              <a:gd name="connsiteY3978" fmla="*/ 3144881 h 6386516"/>
              <a:gd name="connsiteX3979" fmla="*/ 2492985 w 6789110"/>
              <a:gd name="connsiteY3979" fmla="*/ 2967820 h 6386516"/>
              <a:gd name="connsiteX3980" fmla="*/ 2518007 w 6789110"/>
              <a:gd name="connsiteY3980" fmla="*/ 2935105 h 6386516"/>
              <a:gd name="connsiteX3981" fmla="*/ 2608472 w 6789110"/>
              <a:gd name="connsiteY3981" fmla="*/ 3106385 h 6386516"/>
              <a:gd name="connsiteX3982" fmla="*/ 2543029 w 6789110"/>
              <a:gd name="connsiteY3982" fmla="*/ 2915859 h 6386516"/>
              <a:gd name="connsiteX3983" fmla="*/ 2573826 w 6789110"/>
              <a:gd name="connsiteY3983" fmla="*/ 2875446 h 6386516"/>
              <a:gd name="connsiteX3984" fmla="*/ 2664291 w 6789110"/>
              <a:gd name="connsiteY3984" fmla="*/ 3071743 h 6386516"/>
              <a:gd name="connsiteX3985" fmla="*/ 2621945 w 6789110"/>
              <a:gd name="connsiteY3985" fmla="*/ 2835032 h 6386516"/>
              <a:gd name="connsiteX3986" fmla="*/ 2710486 w 6789110"/>
              <a:gd name="connsiteY3986" fmla="*/ 3039026 h 6386516"/>
              <a:gd name="connsiteX3987" fmla="*/ 2658516 w 6789110"/>
              <a:gd name="connsiteY3987" fmla="*/ 2790770 h 6386516"/>
              <a:gd name="connsiteX3988" fmla="*/ 2731659 w 6789110"/>
              <a:gd name="connsiteY3988" fmla="*/ 2962047 h 6386516"/>
              <a:gd name="connsiteX3989" fmla="*/ 2700862 w 6789110"/>
              <a:gd name="connsiteY3989" fmla="*/ 2731110 h 6386516"/>
              <a:gd name="connsiteX3990" fmla="*/ 2754756 w 6789110"/>
              <a:gd name="connsiteY3990" fmla="*/ 2898540 h 6386516"/>
              <a:gd name="connsiteX3991" fmla="*/ 2743207 w 6789110"/>
              <a:gd name="connsiteY3991" fmla="*/ 2681073 h 6386516"/>
              <a:gd name="connsiteX3992" fmla="*/ 2781703 w 6789110"/>
              <a:gd name="connsiteY3992" fmla="*/ 2802317 h 6386516"/>
              <a:gd name="connsiteX3993" fmla="*/ 2793253 w 6789110"/>
              <a:gd name="connsiteY3993" fmla="*/ 2619485 h 6386516"/>
              <a:gd name="connsiteX3994" fmla="*/ 2810574 w 6789110"/>
              <a:gd name="connsiteY3994" fmla="*/ 2679149 h 6386516"/>
              <a:gd name="connsiteX3995" fmla="*/ 2829822 w 6789110"/>
              <a:gd name="connsiteY3995" fmla="*/ 2571367 h 6386516"/>
              <a:gd name="connsiteX3996" fmla="*/ 2733584 w 6789110"/>
              <a:gd name="connsiteY3996" fmla="*/ 2569397 h 6386516"/>
              <a:gd name="connsiteX3997" fmla="*/ 2679689 w 6789110"/>
              <a:gd name="connsiteY3997" fmla="*/ 2652161 h 6386516"/>
              <a:gd name="connsiteX3998" fmla="*/ 2677764 w 6789110"/>
              <a:gd name="connsiteY3998" fmla="*/ 2648312 h 6386516"/>
              <a:gd name="connsiteX3999" fmla="*/ 2673915 w 6789110"/>
              <a:gd name="connsiteY3999" fmla="*/ 2636762 h 6386516"/>
              <a:gd name="connsiteX4000" fmla="*/ 2733584 w 6789110"/>
              <a:gd name="connsiteY4000" fmla="*/ 2569397 h 6386516"/>
              <a:gd name="connsiteX4001" fmla="*/ 4277263 w 6789110"/>
              <a:gd name="connsiteY4001" fmla="*/ 2567520 h 6386516"/>
              <a:gd name="connsiteX4002" fmla="*/ 4250316 w 6789110"/>
              <a:gd name="connsiteY4002" fmla="*/ 2615634 h 6386516"/>
              <a:gd name="connsiteX4003" fmla="*/ 4206046 w 6789110"/>
              <a:gd name="connsiteY4003" fmla="*/ 2661824 h 6386516"/>
              <a:gd name="connsiteX4004" fmla="*/ 4227218 w 6789110"/>
              <a:gd name="connsiteY4004" fmla="*/ 2661824 h 6386516"/>
              <a:gd name="connsiteX4005" fmla="*/ 4273413 w 6789110"/>
              <a:gd name="connsiteY4005" fmla="*/ 2596386 h 6386516"/>
              <a:gd name="connsiteX4006" fmla="*/ 4277263 w 6789110"/>
              <a:gd name="connsiteY4006" fmla="*/ 2567520 h 6386516"/>
              <a:gd name="connsiteX4007" fmla="*/ 1180279 w 6789110"/>
              <a:gd name="connsiteY4007" fmla="*/ 2555892 h 6386516"/>
              <a:gd name="connsiteX4008" fmla="*/ 1020522 w 6789110"/>
              <a:gd name="connsiteY4008" fmla="*/ 2675229 h 6386516"/>
              <a:gd name="connsiteX4009" fmla="*/ 1180279 w 6789110"/>
              <a:gd name="connsiteY4009" fmla="*/ 2555892 h 6386516"/>
              <a:gd name="connsiteX4010" fmla="*/ 2529556 w 6789110"/>
              <a:gd name="connsiteY4010" fmla="*/ 2548239 h 6386516"/>
              <a:gd name="connsiteX4011" fmla="*/ 2535330 w 6789110"/>
              <a:gd name="connsiteY4011" fmla="*/ 2554011 h 6386516"/>
              <a:gd name="connsiteX4012" fmla="*/ 2529556 w 6789110"/>
              <a:gd name="connsiteY4012" fmla="*/ 2557865 h 6386516"/>
              <a:gd name="connsiteX4013" fmla="*/ 2525707 w 6789110"/>
              <a:gd name="connsiteY4013" fmla="*/ 2554011 h 6386516"/>
              <a:gd name="connsiteX4014" fmla="*/ 2877582 w 6789110"/>
              <a:gd name="connsiteY4014" fmla="*/ 2548152 h 6386516"/>
              <a:gd name="connsiteX4015" fmla="*/ 2887567 w 6789110"/>
              <a:gd name="connsiteY4015" fmla="*/ 2548276 h 6386516"/>
              <a:gd name="connsiteX4016" fmla="*/ 2845221 w 6789110"/>
              <a:gd name="connsiteY4016" fmla="*/ 2600235 h 6386516"/>
              <a:gd name="connsiteX4017" fmla="*/ 2854845 w 6789110"/>
              <a:gd name="connsiteY4017" fmla="*/ 2557902 h 6386516"/>
              <a:gd name="connsiteX4018" fmla="*/ 2877582 w 6789110"/>
              <a:gd name="connsiteY4018" fmla="*/ 2548152 h 6386516"/>
              <a:gd name="connsiteX4019" fmla="*/ 4236842 w 6789110"/>
              <a:gd name="connsiteY4019" fmla="*/ 2538654 h 6386516"/>
              <a:gd name="connsiteX4020" fmla="*/ 4192572 w 6789110"/>
              <a:gd name="connsiteY4020" fmla="*/ 2619485 h 6386516"/>
              <a:gd name="connsiteX4021" fmla="*/ 4165625 w 6789110"/>
              <a:gd name="connsiteY4021" fmla="*/ 2648356 h 6386516"/>
              <a:gd name="connsiteX4022" fmla="*/ 4177174 w 6789110"/>
              <a:gd name="connsiteY4022" fmla="*/ 2657977 h 6386516"/>
              <a:gd name="connsiteX4023" fmla="*/ 4175249 w 6789110"/>
              <a:gd name="connsiteY4023" fmla="*/ 2657977 h 6386516"/>
              <a:gd name="connsiteX4024" fmla="*/ 4175249 w 6789110"/>
              <a:gd name="connsiteY4024" fmla="*/ 2659078 h 6386516"/>
              <a:gd name="connsiteX4025" fmla="*/ 4158648 w 6789110"/>
              <a:gd name="connsiteY4025" fmla="*/ 2668566 h 6386516"/>
              <a:gd name="connsiteX4026" fmla="*/ 4144452 w 6789110"/>
              <a:gd name="connsiteY4026" fmla="*/ 2673376 h 6386516"/>
              <a:gd name="connsiteX4027" fmla="*/ 4138678 w 6789110"/>
              <a:gd name="connsiteY4027" fmla="*/ 2671449 h 6386516"/>
              <a:gd name="connsiteX4028" fmla="*/ 4098258 w 6789110"/>
              <a:gd name="connsiteY4028" fmla="*/ 2708015 h 6386516"/>
              <a:gd name="connsiteX4029" fmla="*/ 4111731 w 6789110"/>
              <a:gd name="connsiteY4029" fmla="*/ 2719565 h 6386516"/>
              <a:gd name="connsiteX4030" fmla="*/ 4094408 w 6789110"/>
              <a:gd name="connsiteY4030" fmla="*/ 2740734 h 6386516"/>
              <a:gd name="connsiteX4031" fmla="*/ 4109806 w 6789110"/>
              <a:gd name="connsiteY4031" fmla="*/ 2734960 h 6386516"/>
              <a:gd name="connsiteX4032" fmla="*/ 4175249 w 6789110"/>
              <a:gd name="connsiteY4032" fmla="*/ 2659901 h 6386516"/>
              <a:gd name="connsiteX4033" fmla="*/ 4175249 w 6789110"/>
              <a:gd name="connsiteY4033" fmla="*/ 2659078 h 6386516"/>
              <a:gd name="connsiteX4034" fmla="*/ 4177174 w 6789110"/>
              <a:gd name="connsiteY4034" fmla="*/ 2657977 h 6386516"/>
              <a:gd name="connsiteX4035" fmla="*/ 4254165 w 6789110"/>
              <a:gd name="connsiteY4035" fmla="*/ 2540578 h 6386516"/>
              <a:gd name="connsiteX4036" fmla="*/ 4252241 w 6789110"/>
              <a:gd name="connsiteY4036" fmla="*/ 2540578 h 6386516"/>
              <a:gd name="connsiteX4037" fmla="*/ 4236842 w 6789110"/>
              <a:gd name="connsiteY4037" fmla="*/ 2538654 h 6386516"/>
              <a:gd name="connsiteX4038" fmla="*/ 2516082 w 6789110"/>
              <a:gd name="connsiteY4038" fmla="*/ 2534771 h 6386516"/>
              <a:gd name="connsiteX4039" fmla="*/ 2514157 w 6789110"/>
              <a:gd name="connsiteY4039" fmla="*/ 2540543 h 6386516"/>
              <a:gd name="connsiteX4040" fmla="*/ 2506458 w 6789110"/>
              <a:gd name="connsiteY4040" fmla="*/ 2536694 h 6386516"/>
              <a:gd name="connsiteX4041" fmla="*/ 2502609 w 6789110"/>
              <a:gd name="connsiteY4041" fmla="*/ 2527072 h 6386516"/>
              <a:gd name="connsiteX4042" fmla="*/ 2502609 w 6789110"/>
              <a:gd name="connsiteY4042" fmla="*/ 2532846 h 6386516"/>
              <a:gd name="connsiteX4043" fmla="*/ 2494910 w 6789110"/>
              <a:gd name="connsiteY4043" fmla="*/ 2532846 h 6386516"/>
              <a:gd name="connsiteX4044" fmla="*/ 5464646 w 6789110"/>
              <a:gd name="connsiteY4044" fmla="*/ 2524822 h 6386516"/>
              <a:gd name="connsiteX4045" fmla="*/ 5472555 w 6789110"/>
              <a:gd name="connsiteY4045" fmla="*/ 2525181 h 6386516"/>
              <a:gd name="connsiteX4046" fmla="*/ 5678508 w 6789110"/>
              <a:gd name="connsiteY4046" fmla="*/ 2571367 h 6386516"/>
              <a:gd name="connsiteX4047" fmla="*/ 5697756 w 6789110"/>
              <a:gd name="connsiteY4047" fmla="*/ 2594463 h 6386516"/>
              <a:gd name="connsiteX4048" fmla="*/ 5663109 w 6789110"/>
              <a:gd name="connsiteY4048" fmla="*/ 2590619 h 6386516"/>
              <a:gd name="connsiteX4049" fmla="*/ 5649636 w 6789110"/>
              <a:gd name="connsiteY4049" fmla="*/ 2584848 h 6386516"/>
              <a:gd name="connsiteX4050" fmla="*/ 5499502 w 6789110"/>
              <a:gd name="connsiteY4050" fmla="*/ 2554044 h 6386516"/>
              <a:gd name="connsiteX4051" fmla="*/ 5451382 w 6789110"/>
              <a:gd name="connsiteY4051" fmla="*/ 2536732 h 6386516"/>
              <a:gd name="connsiteX4052" fmla="*/ 5464646 w 6789110"/>
              <a:gd name="connsiteY4052" fmla="*/ 2524822 h 6386516"/>
              <a:gd name="connsiteX4053" fmla="*/ 2985732 w 6789110"/>
              <a:gd name="connsiteY4053" fmla="*/ 2515557 h 6386516"/>
              <a:gd name="connsiteX4054" fmla="*/ 2960708 w 6789110"/>
              <a:gd name="connsiteY4054" fmla="*/ 2569444 h 6386516"/>
              <a:gd name="connsiteX4055" fmla="*/ 2985732 w 6789110"/>
              <a:gd name="connsiteY4055" fmla="*/ 2515557 h 6386516"/>
              <a:gd name="connsiteX4056" fmla="*/ 2523242 w 6789110"/>
              <a:gd name="connsiteY4056" fmla="*/ 2499120 h 6386516"/>
              <a:gd name="connsiteX4057" fmla="*/ 2533405 w 6789110"/>
              <a:gd name="connsiteY4057" fmla="*/ 2505899 h 6386516"/>
              <a:gd name="connsiteX4058" fmla="*/ 2529555 w 6789110"/>
              <a:gd name="connsiteY4058" fmla="*/ 2509746 h 6386516"/>
              <a:gd name="connsiteX4059" fmla="*/ 2521856 w 6789110"/>
              <a:gd name="connsiteY4059" fmla="*/ 2503972 h 6386516"/>
              <a:gd name="connsiteX4060" fmla="*/ 2521856 w 6789110"/>
              <a:gd name="connsiteY4060" fmla="*/ 2498201 h 6386516"/>
              <a:gd name="connsiteX4061" fmla="*/ 2523300 w 6789110"/>
              <a:gd name="connsiteY4061" fmla="*/ 2498919 h 6386516"/>
              <a:gd name="connsiteX4062" fmla="*/ 2523242 w 6789110"/>
              <a:gd name="connsiteY4062" fmla="*/ 2499120 h 6386516"/>
              <a:gd name="connsiteX4063" fmla="*/ 2960709 w 6789110"/>
              <a:gd name="connsiteY4063" fmla="*/ 2488613 h 6386516"/>
              <a:gd name="connsiteX4064" fmla="*/ 2931837 w 6789110"/>
              <a:gd name="connsiteY4064" fmla="*/ 2563666 h 6386516"/>
              <a:gd name="connsiteX4065" fmla="*/ 2960709 w 6789110"/>
              <a:gd name="connsiteY4065" fmla="*/ 2488613 h 6386516"/>
              <a:gd name="connsiteX4066" fmla="*/ 2845221 w 6789110"/>
              <a:gd name="connsiteY4066" fmla="*/ 2482835 h 6386516"/>
              <a:gd name="connsiteX4067" fmla="*/ 2833672 w 6789110"/>
              <a:gd name="connsiteY4067" fmla="*/ 2519409 h 6386516"/>
              <a:gd name="connsiteX4068" fmla="*/ 2845221 w 6789110"/>
              <a:gd name="connsiteY4068" fmla="*/ 2482835 h 6386516"/>
              <a:gd name="connsiteX4069" fmla="*/ 4928414 w 6789110"/>
              <a:gd name="connsiteY4069" fmla="*/ 2470444 h 6386516"/>
              <a:gd name="connsiteX4070" fmla="*/ 4923992 w 6789110"/>
              <a:gd name="connsiteY4070" fmla="*/ 2473207 h 6386516"/>
              <a:gd name="connsiteX4071" fmla="*/ 4916293 w 6789110"/>
              <a:gd name="connsiteY4071" fmla="*/ 2482828 h 6386516"/>
              <a:gd name="connsiteX4072" fmla="*/ 4929767 w 6789110"/>
              <a:gd name="connsiteY4072" fmla="*/ 2486679 h 6386516"/>
              <a:gd name="connsiteX4073" fmla="*/ 4928414 w 6789110"/>
              <a:gd name="connsiteY4073" fmla="*/ 2470444 h 6386516"/>
              <a:gd name="connsiteX4074" fmla="*/ 2935686 w 6789110"/>
              <a:gd name="connsiteY4074" fmla="*/ 2469367 h 6386516"/>
              <a:gd name="connsiteX4075" fmla="*/ 2901039 w 6789110"/>
              <a:gd name="connsiteY4075" fmla="*/ 2544426 h 6386516"/>
              <a:gd name="connsiteX4076" fmla="*/ 2935686 w 6789110"/>
              <a:gd name="connsiteY4076" fmla="*/ 2469367 h 6386516"/>
              <a:gd name="connsiteX4077" fmla="*/ 2877943 w 6789110"/>
              <a:gd name="connsiteY4077" fmla="*/ 2469367 h 6386516"/>
              <a:gd name="connsiteX4078" fmla="*/ 2860619 w 6789110"/>
              <a:gd name="connsiteY4078" fmla="*/ 2530961 h 6386516"/>
              <a:gd name="connsiteX4079" fmla="*/ 2877943 w 6789110"/>
              <a:gd name="connsiteY4079" fmla="*/ 2469367 h 6386516"/>
              <a:gd name="connsiteX4080" fmla="*/ 2635419 w 6789110"/>
              <a:gd name="connsiteY4080" fmla="*/ 2461586 h 6386516"/>
              <a:gd name="connsiteX4081" fmla="*/ 2671991 w 6789110"/>
              <a:gd name="connsiteY4081" fmla="*/ 2492412 h 6386516"/>
              <a:gd name="connsiteX4082" fmla="*/ 2639268 w 6789110"/>
              <a:gd name="connsiteY4082" fmla="*/ 2482789 h 6386516"/>
              <a:gd name="connsiteX4083" fmla="*/ 2635419 w 6789110"/>
              <a:gd name="connsiteY4083" fmla="*/ 2461586 h 6386516"/>
              <a:gd name="connsiteX4084" fmla="*/ 3251351 w 6789110"/>
              <a:gd name="connsiteY4084" fmla="*/ 2457781 h 6386516"/>
              <a:gd name="connsiteX4085" fmla="*/ 3245577 w 6789110"/>
              <a:gd name="connsiteY4085" fmla="*/ 2461608 h 6386516"/>
              <a:gd name="connsiteX4086" fmla="*/ 3272524 w 6789110"/>
              <a:gd name="connsiteY4086" fmla="*/ 2478984 h 6386516"/>
              <a:gd name="connsiteX4087" fmla="*/ 3284072 w 6789110"/>
              <a:gd name="connsiteY4087" fmla="*/ 2471284 h 6386516"/>
              <a:gd name="connsiteX4088" fmla="*/ 3251351 w 6789110"/>
              <a:gd name="connsiteY4088" fmla="*/ 2457781 h 6386516"/>
              <a:gd name="connsiteX4089" fmla="*/ 2895265 w 6789110"/>
              <a:gd name="connsiteY4089" fmla="*/ 2455869 h 6386516"/>
              <a:gd name="connsiteX4090" fmla="*/ 2916438 w 6789110"/>
              <a:gd name="connsiteY4090" fmla="*/ 2465490 h 6386516"/>
              <a:gd name="connsiteX4091" fmla="*/ 2883716 w 6789110"/>
              <a:gd name="connsiteY4091" fmla="*/ 2530961 h 6386516"/>
              <a:gd name="connsiteX4092" fmla="*/ 2895265 w 6789110"/>
              <a:gd name="connsiteY4092" fmla="*/ 2455869 h 6386516"/>
              <a:gd name="connsiteX4093" fmla="*/ 2342852 w 6789110"/>
              <a:gd name="connsiteY4093" fmla="*/ 2438507 h 6386516"/>
              <a:gd name="connsiteX4094" fmla="*/ 2348626 w 6789110"/>
              <a:gd name="connsiteY4094" fmla="*/ 2438507 h 6386516"/>
              <a:gd name="connsiteX4095" fmla="*/ 2342852 w 6789110"/>
              <a:gd name="connsiteY4095" fmla="*/ 2444279 h 6386516"/>
              <a:gd name="connsiteX4096" fmla="*/ 2585134 w 6789110"/>
              <a:gd name="connsiteY4096" fmla="*/ 2422377 h 6386516"/>
              <a:gd name="connsiteX4097" fmla="*/ 2593073 w 6789110"/>
              <a:gd name="connsiteY4097" fmla="*/ 2423100 h 6386516"/>
              <a:gd name="connsiteX4098" fmla="*/ 2581525 w 6789110"/>
              <a:gd name="connsiteY4098" fmla="*/ 2428872 h 6386516"/>
              <a:gd name="connsiteX4099" fmla="*/ 2585134 w 6789110"/>
              <a:gd name="connsiteY4099" fmla="*/ 2422377 h 6386516"/>
              <a:gd name="connsiteX4100" fmla="*/ 2458338 w 6789110"/>
              <a:gd name="connsiteY4100" fmla="*/ 2409637 h 6386516"/>
              <a:gd name="connsiteX4101" fmla="*/ 2467963 w 6789110"/>
              <a:gd name="connsiteY4101" fmla="*/ 2415407 h 6386516"/>
              <a:gd name="connsiteX4102" fmla="*/ 2464113 w 6789110"/>
              <a:gd name="connsiteY4102" fmla="*/ 2419255 h 6386516"/>
              <a:gd name="connsiteX4103" fmla="*/ 2448714 w 6789110"/>
              <a:gd name="connsiteY4103" fmla="*/ 2413485 h 6386516"/>
              <a:gd name="connsiteX4104" fmla="*/ 2458338 w 6789110"/>
              <a:gd name="connsiteY4104" fmla="*/ 2409637 h 6386516"/>
              <a:gd name="connsiteX4105" fmla="*/ 3340944 w 6789110"/>
              <a:gd name="connsiteY4105" fmla="*/ 2407464 h 6386516"/>
              <a:gd name="connsiteX4106" fmla="*/ 3332192 w 6789110"/>
              <a:gd name="connsiteY4106" fmla="*/ 2409661 h 6386516"/>
              <a:gd name="connsiteX4107" fmla="*/ 3312944 w 6789110"/>
              <a:gd name="connsiteY4107" fmla="*/ 2413509 h 6386516"/>
              <a:gd name="connsiteX4108" fmla="*/ 3287922 w 6789110"/>
              <a:gd name="connsiteY4108" fmla="*/ 2430822 h 6386516"/>
              <a:gd name="connsiteX4109" fmla="*/ 3324494 w 6789110"/>
              <a:gd name="connsiteY4109" fmla="*/ 2444311 h 6386516"/>
              <a:gd name="connsiteX4110" fmla="*/ 3355289 w 6789110"/>
              <a:gd name="connsiteY4110" fmla="*/ 2425046 h 6386516"/>
              <a:gd name="connsiteX4111" fmla="*/ 3340944 w 6789110"/>
              <a:gd name="connsiteY4111" fmla="*/ 2407464 h 6386516"/>
              <a:gd name="connsiteX4112" fmla="*/ 2539181 w 6789110"/>
              <a:gd name="connsiteY4112" fmla="*/ 2405789 h 6386516"/>
              <a:gd name="connsiteX4113" fmla="*/ 2544956 w 6789110"/>
              <a:gd name="connsiteY4113" fmla="*/ 2411561 h 6386516"/>
              <a:gd name="connsiteX4114" fmla="*/ 2539181 w 6789110"/>
              <a:gd name="connsiteY4114" fmla="*/ 2413485 h 6386516"/>
              <a:gd name="connsiteX4115" fmla="*/ 394966 w 6789110"/>
              <a:gd name="connsiteY4115" fmla="*/ 2405761 h 6386516"/>
              <a:gd name="connsiteX4116" fmla="*/ 162067 w 6789110"/>
              <a:gd name="connsiteY4116" fmla="*/ 2486603 h 6386516"/>
              <a:gd name="connsiteX4117" fmla="*/ 394966 w 6789110"/>
              <a:gd name="connsiteY4117" fmla="*/ 2405761 h 6386516"/>
              <a:gd name="connsiteX4118" fmla="*/ 1596035 w 6789110"/>
              <a:gd name="connsiteY4118" fmla="*/ 2405759 h 6386516"/>
              <a:gd name="connsiteX4119" fmla="*/ 1545991 w 6789110"/>
              <a:gd name="connsiteY4119" fmla="*/ 2746446 h 6386516"/>
              <a:gd name="connsiteX4120" fmla="*/ 1405480 w 6789110"/>
              <a:gd name="connsiteY4120" fmla="*/ 2942775 h 6386516"/>
              <a:gd name="connsiteX4121" fmla="*/ 1293842 w 6789110"/>
              <a:gd name="connsiteY4121" fmla="*/ 3089059 h 6386516"/>
              <a:gd name="connsiteX4122" fmla="*/ 1426653 w 6789110"/>
              <a:gd name="connsiteY4122" fmla="*/ 2942775 h 6386516"/>
              <a:gd name="connsiteX4123" fmla="*/ 1426653 w 6789110"/>
              <a:gd name="connsiteY4123" fmla="*/ 2958173 h 6386516"/>
              <a:gd name="connsiteX4124" fmla="*/ 1447826 w 6789110"/>
              <a:gd name="connsiteY4124" fmla="*/ 2967797 h 6386516"/>
              <a:gd name="connsiteX4125" fmla="*/ 1447826 w 6789110"/>
              <a:gd name="connsiteY4125" fmla="*/ 2960098 h 6386516"/>
              <a:gd name="connsiteX4126" fmla="*/ 1457449 w 6789110"/>
              <a:gd name="connsiteY4126" fmla="*/ 2973571 h 6386516"/>
              <a:gd name="connsiteX4127" fmla="*/ 1459374 w 6789110"/>
              <a:gd name="connsiteY4127" fmla="*/ 2973571 h 6386516"/>
              <a:gd name="connsiteX4128" fmla="*/ 1278444 w 6789110"/>
              <a:gd name="connsiteY4128" fmla="*/ 3258440 h 6386516"/>
              <a:gd name="connsiteX4129" fmla="*/ 1193754 w 6789110"/>
              <a:gd name="connsiteY4129" fmla="*/ 3346980 h 6386516"/>
              <a:gd name="connsiteX4130" fmla="*/ 1045544 w 6789110"/>
              <a:gd name="connsiteY4130" fmla="*/ 3275763 h 6386516"/>
              <a:gd name="connsiteX4131" fmla="*/ 964703 w 6789110"/>
              <a:gd name="connsiteY4131" fmla="*/ 3210320 h 6386516"/>
              <a:gd name="connsiteX4132" fmla="*/ 924282 w 6789110"/>
              <a:gd name="connsiteY4132" fmla="*/ 3235342 h 6386516"/>
              <a:gd name="connsiteX4133" fmla="*/ 926207 w 6789110"/>
              <a:gd name="connsiteY4133" fmla="*/ 3121780 h 6386516"/>
              <a:gd name="connsiteX4134" fmla="*/ 828043 w 6789110"/>
              <a:gd name="connsiteY4134" fmla="*/ 3000518 h 6386516"/>
              <a:gd name="connsiteX4135" fmla="*/ 939681 w 6789110"/>
              <a:gd name="connsiteY4135" fmla="*/ 2788792 h 6386516"/>
              <a:gd name="connsiteX4136" fmla="*/ 949305 w 6789110"/>
              <a:gd name="connsiteY4136" fmla="*/ 2769545 h 6386516"/>
              <a:gd name="connsiteX4137" fmla="*/ 878087 w 6789110"/>
              <a:gd name="connsiteY4137" fmla="*/ 2935076 h 6386516"/>
              <a:gd name="connsiteX4138" fmla="*/ 964703 w 6789110"/>
              <a:gd name="connsiteY4138" fmla="*/ 2738748 h 6386516"/>
              <a:gd name="connsiteX4139" fmla="*/ 1211077 w 6789110"/>
              <a:gd name="connsiteY4139" fmla="*/ 2505849 h 6386516"/>
              <a:gd name="connsiteX4140" fmla="*/ 960853 w 6789110"/>
              <a:gd name="connsiteY4140" fmla="*/ 2721425 h 6386516"/>
              <a:gd name="connsiteX4141" fmla="*/ 972402 w 6789110"/>
              <a:gd name="connsiteY4141" fmla="*/ 2594388 h 6386516"/>
              <a:gd name="connsiteX4142" fmla="*/ 1596035 w 6789110"/>
              <a:gd name="connsiteY4142" fmla="*/ 2405759 h 6386516"/>
              <a:gd name="connsiteX4143" fmla="*/ 3297546 w 6789110"/>
              <a:gd name="connsiteY4143" fmla="*/ 2390420 h 6386516"/>
              <a:gd name="connsiteX4144" fmla="*/ 3226329 w 6789110"/>
              <a:gd name="connsiteY4144" fmla="*/ 2423125 h 6386516"/>
              <a:gd name="connsiteX4145" fmla="*/ 3243653 w 6789110"/>
              <a:gd name="connsiteY4145" fmla="*/ 2432748 h 6386516"/>
              <a:gd name="connsiteX4146" fmla="*/ 3232103 w 6789110"/>
              <a:gd name="connsiteY4146" fmla="*/ 2442389 h 6386516"/>
              <a:gd name="connsiteX4147" fmla="*/ 3234028 w 6789110"/>
              <a:gd name="connsiteY4147" fmla="*/ 2446242 h 6386516"/>
              <a:gd name="connsiteX4148" fmla="*/ 3245577 w 6789110"/>
              <a:gd name="connsiteY4148" fmla="*/ 2436601 h 6386516"/>
              <a:gd name="connsiteX4149" fmla="*/ 3243653 w 6789110"/>
              <a:gd name="connsiteY4149" fmla="*/ 2432748 h 6386516"/>
              <a:gd name="connsiteX4150" fmla="*/ 3268674 w 6789110"/>
              <a:gd name="connsiteY4150" fmla="*/ 2417354 h 6386516"/>
              <a:gd name="connsiteX4151" fmla="*/ 3297546 w 6789110"/>
              <a:gd name="connsiteY4151" fmla="*/ 2390420 h 6386516"/>
              <a:gd name="connsiteX4152" fmla="*/ 5261552 w 6789110"/>
              <a:gd name="connsiteY4152" fmla="*/ 2387056 h 6386516"/>
              <a:gd name="connsiteX4153" fmla="*/ 5262755 w 6789110"/>
              <a:gd name="connsiteY4153" fmla="*/ 2394272 h 6386516"/>
              <a:gd name="connsiteX4154" fmla="*/ 5206935 w 6789110"/>
              <a:gd name="connsiteY4154" fmla="*/ 2421203 h 6386516"/>
              <a:gd name="connsiteX4155" fmla="*/ 5253131 w 6789110"/>
              <a:gd name="connsiteY4155" fmla="*/ 2388500 h 6386516"/>
              <a:gd name="connsiteX4156" fmla="*/ 5261552 w 6789110"/>
              <a:gd name="connsiteY4156" fmla="*/ 2387056 h 6386516"/>
              <a:gd name="connsiteX4157" fmla="*/ 2514157 w 6789110"/>
              <a:gd name="connsiteY4157" fmla="*/ 2384621 h 6386516"/>
              <a:gd name="connsiteX4158" fmla="*/ 2518007 w 6789110"/>
              <a:gd name="connsiteY4158" fmla="*/ 2400013 h 6386516"/>
              <a:gd name="connsiteX4159" fmla="*/ 2504533 w 6789110"/>
              <a:gd name="connsiteY4159" fmla="*/ 2392317 h 6386516"/>
              <a:gd name="connsiteX4160" fmla="*/ 2502608 w 6789110"/>
              <a:gd name="connsiteY4160" fmla="*/ 2390392 h 6386516"/>
              <a:gd name="connsiteX4161" fmla="*/ 2514157 w 6789110"/>
              <a:gd name="connsiteY4161" fmla="*/ 2384621 h 6386516"/>
              <a:gd name="connsiteX4162" fmla="*/ 397433 w 6789110"/>
              <a:gd name="connsiteY4162" fmla="*/ 2368679 h 6386516"/>
              <a:gd name="connsiteX4163" fmla="*/ 171691 w 6789110"/>
              <a:gd name="connsiteY4163" fmla="*/ 2423085 h 6386516"/>
              <a:gd name="connsiteX4164" fmla="*/ 485431 w 6789110"/>
              <a:gd name="connsiteY4164" fmla="*/ 2369191 h 6386516"/>
              <a:gd name="connsiteX4165" fmla="*/ 397433 w 6789110"/>
              <a:gd name="connsiteY4165" fmla="*/ 2368679 h 6386516"/>
              <a:gd name="connsiteX4166" fmla="*/ 2618096 w 6789110"/>
              <a:gd name="connsiteY4166" fmla="*/ 2359601 h 6386516"/>
              <a:gd name="connsiteX4167" fmla="*/ 2670066 w 6789110"/>
              <a:gd name="connsiteY4167" fmla="*/ 2419250 h 6386516"/>
              <a:gd name="connsiteX4168" fmla="*/ 2620021 w 6789110"/>
              <a:gd name="connsiteY4168" fmla="*/ 2371144 h 6386516"/>
              <a:gd name="connsiteX4169" fmla="*/ 2618096 w 6789110"/>
              <a:gd name="connsiteY4169" fmla="*/ 2359601 h 6386516"/>
              <a:gd name="connsiteX4170" fmla="*/ 223419 w 6789110"/>
              <a:gd name="connsiteY4170" fmla="*/ 2353070 h 6386516"/>
              <a:gd name="connsiteX4171" fmla="*/ 79301 w 6789110"/>
              <a:gd name="connsiteY4171" fmla="*/ 2398061 h 6386516"/>
              <a:gd name="connsiteX4172" fmla="*/ 281404 w 6789110"/>
              <a:gd name="connsiteY4172" fmla="*/ 2357641 h 6386516"/>
              <a:gd name="connsiteX4173" fmla="*/ 81226 w 6789110"/>
              <a:gd name="connsiteY4173" fmla="*/ 2442333 h 6386516"/>
              <a:gd name="connsiteX4174" fmla="*/ 394966 w 6789110"/>
              <a:gd name="connsiteY4174" fmla="*/ 2355717 h 6386516"/>
              <a:gd name="connsiteX4175" fmla="*/ 223419 w 6789110"/>
              <a:gd name="connsiteY4175" fmla="*/ 2353070 h 6386516"/>
              <a:gd name="connsiteX4176" fmla="*/ 3503498 w 6789110"/>
              <a:gd name="connsiteY4176" fmla="*/ 2351945 h 6386516"/>
              <a:gd name="connsiteX4177" fmla="*/ 3447679 w 6789110"/>
              <a:gd name="connsiteY4177" fmla="*/ 2390420 h 6386516"/>
              <a:gd name="connsiteX4178" fmla="*/ 3461153 w 6789110"/>
              <a:gd name="connsiteY4178" fmla="*/ 2390420 h 6386516"/>
              <a:gd name="connsiteX4179" fmla="*/ 3497724 w 6789110"/>
              <a:gd name="connsiteY4179" fmla="*/ 2371182 h 6386516"/>
              <a:gd name="connsiteX4180" fmla="*/ 3501573 w 6789110"/>
              <a:gd name="connsiteY4180" fmla="*/ 2363485 h 6386516"/>
              <a:gd name="connsiteX4181" fmla="*/ 3486175 w 6789110"/>
              <a:gd name="connsiteY4181" fmla="*/ 2369259 h 6386516"/>
              <a:gd name="connsiteX4182" fmla="*/ 3503498 w 6789110"/>
              <a:gd name="connsiteY4182" fmla="*/ 2351945 h 6386516"/>
              <a:gd name="connsiteX4183" fmla="*/ 3565091 w 6789110"/>
              <a:gd name="connsiteY4183" fmla="*/ 2330786 h 6386516"/>
              <a:gd name="connsiteX4184" fmla="*/ 3532370 w 6789110"/>
              <a:gd name="connsiteY4184" fmla="*/ 2348097 h 6386516"/>
              <a:gd name="connsiteX4185" fmla="*/ 3559317 w 6789110"/>
              <a:gd name="connsiteY4185" fmla="*/ 2348097 h 6386516"/>
              <a:gd name="connsiteX4186" fmla="*/ 3565091 w 6789110"/>
              <a:gd name="connsiteY4186" fmla="*/ 2330786 h 6386516"/>
              <a:gd name="connsiteX4187" fmla="*/ 2446789 w 6789110"/>
              <a:gd name="connsiteY4187" fmla="*/ 2324975 h 6386516"/>
              <a:gd name="connsiteX4188" fmla="*/ 2452565 w 6789110"/>
              <a:gd name="connsiteY4188" fmla="*/ 2330746 h 6386516"/>
              <a:gd name="connsiteX4189" fmla="*/ 2456414 w 6789110"/>
              <a:gd name="connsiteY4189" fmla="*/ 2342291 h 6386516"/>
              <a:gd name="connsiteX4190" fmla="*/ 2452565 w 6789110"/>
              <a:gd name="connsiteY4190" fmla="*/ 2349988 h 6386516"/>
              <a:gd name="connsiteX4191" fmla="*/ 2446789 w 6789110"/>
              <a:gd name="connsiteY4191" fmla="*/ 2353836 h 6386516"/>
              <a:gd name="connsiteX4192" fmla="*/ 2450640 w 6789110"/>
              <a:gd name="connsiteY4192" fmla="*/ 2359608 h 6386516"/>
              <a:gd name="connsiteX4193" fmla="*/ 2433316 w 6789110"/>
              <a:gd name="connsiteY4193" fmla="*/ 2363456 h 6386516"/>
              <a:gd name="connsiteX4194" fmla="*/ 2427542 w 6789110"/>
              <a:gd name="connsiteY4194" fmla="*/ 2351911 h 6386516"/>
              <a:gd name="connsiteX4195" fmla="*/ 2427542 w 6789110"/>
              <a:gd name="connsiteY4195" fmla="*/ 2346139 h 6386516"/>
              <a:gd name="connsiteX4196" fmla="*/ 2423692 w 6789110"/>
              <a:gd name="connsiteY4196" fmla="*/ 2346139 h 6386516"/>
              <a:gd name="connsiteX4197" fmla="*/ 2423692 w 6789110"/>
              <a:gd name="connsiteY4197" fmla="*/ 2340368 h 6386516"/>
              <a:gd name="connsiteX4198" fmla="*/ 2437166 w 6789110"/>
              <a:gd name="connsiteY4198" fmla="*/ 2348064 h 6386516"/>
              <a:gd name="connsiteX4199" fmla="*/ 2425617 w 6789110"/>
              <a:gd name="connsiteY4199" fmla="*/ 2334595 h 6386516"/>
              <a:gd name="connsiteX4200" fmla="*/ 2427542 w 6789110"/>
              <a:gd name="connsiteY4200" fmla="*/ 2328821 h 6386516"/>
              <a:gd name="connsiteX4201" fmla="*/ 2437166 w 6789110"/>
              <a:gd name="connsiteY4201" fmla="*/ 2326899 h 6386516"/>
              <a:gd name="connsiteX4202" fmla="*/ 2446789 w 6789110"/>
              <a:gd name="connsiteY4202" fmla="*/ 2324975 h 6386516"/>
              <a:gd name="connsiteX4203" fmla="*/ 2323604 w 6789110"/>
              <a:gd name="connsiteY4203" fmla="*/ 2274934 h 6386516"/>
              <a:gd name="connsiteX4204" fmla="*/ 2323604 w 6789110"/>
              <a:gd name="connsiteY4204" fmla="*/ 2284560 h 6386516"/>
              <a:gd name="connsiteX4205" fmla="*/ 2317830 w 6789110"/>
              <a:gd name="connsiteY4205" fmla="*/ 2278784 h 6386516"/>
              <a:gd name="connsiteX4206" fmla="*/ 2554579 w 6789110"/>
              <a:gd name="connsiteY4206" fmla="*/ 2272998 h 6386516"/>
              <a:gd name="connsiteX4207" fmla="*/ 2556504 w 6789110"/>
              <a:gd name="connsiteY4207" fmla="*/ 2278773 h 6386516"/>
              <a:gd name="connsiteX4208" fmla="*/ 2554579 w 6789110"/>
              <a:gd name="connsiteY4208" fmla="*/ 2278773 h 6386516"/>
              <a:gd name="connsiteX4209" fmla="*/ 2552654 w 6789110"/>
              <a:gd name="connsiteY4209" fmla="*/ 2274923 h 6386516"/>
              <a:gd name="connsiteX4210" fmla="*/ 2333227 w 6789110"/>
              <a:gd name="connsiteY4210" fmla="*/ 2271085 h 6386516"/>
              <a:gd name="connsiteX4211" fmla="*/ 2342851 w 6789110"/>
              <a:gd name="connsiteY4211" fmla="*/ 2271085 h 6386516"/>
              <a:gd name="connsiteX4212" fmla="*/ 2337076 w 6789110"/>
              <a:gd name="connsiteY4212" fmla="*/ 2276861 h 6386516"/>
              <a:gd name="connsiteX4213" fmla="*/ 2541104 w 6789110"/>
              <a:gd name="connsiteY4213" fmla="*/ 2267233 h 6386516"/>
              <a:gd name="connsiteX4214" fmla="*/ 2546879 w 6789110"/>
              <a:gd name="connsiteY4214" fmla="*/ 2273008 h 6386516"/>
              <a:gd name="connsiteX4215" fmla="*/ 2537255 w 6789110"/>
              <a:gd name="connsiteY4215" fmla="*/ 2273008 h 6386516"/>
              <a:gd name="connsiteX4216" fmla="*/ 4975962 w 6789110"/>
              <a:gd name="connsiteY4216" fmla="*/ 2263429 h 6386516"/>
              <a:gd name="connsiteX4217" fmla="*/ 4974037 w 6789110"/>
              <a:gd name="connsiteY4217" fmla="*/ 2265356 h 6386516"/>
              <a:gd name="connsiteX4218" fmla="*/ 4979811 w 6789110"/>
              <a:gd name="connsiteY4218" fmla="*/ 2263429 h 6386516"/>
              <a:gd name="connsiteX4219" fmla="*/ 4975962 w 6789110"/>
              <a:gd name="connsiteY4219" fmla="*/ 2263429 h 6386516"/>
              <a:gd name="connsiteX4220" fmla="*/ 2481437 w 6789110"/>
              <a:gd name="connsiteY4220" fmla="*/ 2259580 h 6386516"/>
              <a:gd name="connsiteX4221" fmla="*/ 2660442 w 6789110"/>
              <a:gd name="connsiteY4221" fmla="*/ 2442389 h 6386516"/>
              <a:gd name="connsiteX4222" fmla="*/ 2481437 w 6789110"/>
              <a:gd name="connsiteY4222" fmla="*/ 2259580 h 6386516"/>
              <a:gd name="connsiteX4223" fmla="*/ 2375573 w 6789110"/>
              <a:gd name="connsiteY4223" fmla="*/ 2259523 h 6386516"/>
              <a:gd name="connsiteX4224" fmla="*/ 2381347 w 6789110"/>
              <a:gd name="connsiteY4224" fmla="*/ 2267225 h 6386516"/>
              <a:gd name="connsiteX4225" fmla="*/ 2375573 w 6789110"/>
              <a:gd name="connsiteY4225" fmla="*/ 2267225 h 6386516"/>
              <a:gd name="connsiteX4226" fmla="*/ 6253929 w 6789110"/>
              <a:gd name="connsiteY4226" fmla="*/ 2256811 h 6386516"/>
              <a:gd name="connsiteX4227" fmla="*/ 6296365 w 6789110"/>
              <a:gd name="connsiteY4227" fmla="*/ 2257653 h 6386516"/>
              <a:gd name="connsiteX4228" fmla="*/ 6123133 w 6789110"/>
              <a:gd name="connsiteY4228" fmla="*/ 2278832 h 6386516"/>
              <a:gd name="connsiteX4229" fmla="*/ 6109660 w 6789110"/>
              <a:gd name="connsiteY4229" fmla="*/ 2273059 h 6386516"/>
              <a:gd name="connsiteX4230" fmla="*/ 6253929 w 6789110"/>
              <a:gd name="connsiteY4230" fmla="*/ 2256811 h 6386516"/>
              <a:gd name="connsiteX4231" fmla="*/ 5443684 w 6789110"/>
              <a:gd name="connsiteY4231" fmla="*/ 2251877 h 6386516"/>
              <a:gd name="connsiteX4232" fmla="*/ 5439834 w 6789110"/>
              <a:gd name="connsiteY4232" fmla="*/ 2265356 h 6386516"/>
              <a:gd name="connsiteX4233" fmla="*/ 5357069 w 6789110"/>
              <a:gd name="connsiteY4233" fmla="*/ 2276907 h 6386516"/>
              <a:gd name="connsiteX4234" fmla="*/ 5337821 w 6789110"/>
              <a:gd name="connsiteY4234" fmla="*/ 2267281 h 6386516"/>
              <a:gd name="connsiteX4235" fmla="*/ 6340636 w 6789110"/>
              <a:gd name="connsiteY4235" fmla="*/ 2248025 h 6386516"/>
              <a:gd name="connsiteX4236" fmla="*/ 6329087 w 6789110"/>
              <a:gd name="connsiteY4236" fmla="*/ 2265356 h 6386516"/>
              <a:gd name="connsiteX4237" fmla="*/ 6300214 w 6789110"/>
              <a:gd name="connsiteY4237" fmla="*/ 2257655 h 6386516"/>
              <a:gd name="connsiteX4238" fmla="*/ 6340636 w 6789110"/>
              <a:gd name="connsiteY4238" fmla="*/ 2248025 h 6386516"/>
              <a:gd name="connsiteX4239" fmla="*/ 2246613 w 6789110"/>
              <a:gd name="connsiteY4239" fmla="*/ 2234502 h 6386516"/>
              <a:gd name="connsiteX4240" fmla="*/ 2252387 w 6789110"/>
              <a:gd name="connsiteY4240" fmla="*/ 2249903 h 6386516"/>
              <a:gd name="connsiteX4241" fmla="*/ 2235063 w 6789110"/>
              <a:gd name="connsiteY4241" fmla="*/ 2261457 h 6386516"/>
              <a:gd name="connsiteX4242" fmla="*/ 2225439 w 6789110"/>
              <a:gd name="connsiteY4242" fmla="*/ 2255681 h 6386516"/>
              <a:gd name="connsiteX4243" fmla="*/ 2225439 w 6789110"/>
              <a:gd name="connsiteY4243" fmla="*/ 2247981 h 6386516"/>
              <a:gd name="connsiteX4244" fmla="*/ 2231213 w 6789110"/>
              <a:gd name="connsiteY4244" fmla="*/ 2236427 h 6386516"/>
              <a:gd name="connsiteX4245" fmla="*/ 2236988 w 6789110"/>
              <a:gd name="connsiteY4245" fmla="*/ 2240277 h 6386516"/>
              <a:gd name="connsiteX4246" fmla="*/ 2246613 w 6789110"/>
              <a:gd name="connsiteY4246" fmla="*/ 2234502 h 6386516"/>
              <a:gd name="connsiteX4247" fmla="*/ 2186944 w 6789110"/>
              <a:gd name="connsiteY4247" fmla="*/ 2222957 h 6386516"/>
              <a:gd name="connsiteX4248" fmla="*/ 2192718 w 6789110"/>
              <a:gd name="connsiteY4248" fmla="*/ 2228733 h 6386516"/>
              <a:gd name="connsiteX4249" fmla="*/ 2186944 w 6789110"/>
              <a:gd name="connsiteY4249" fmla="*/ 2232583 h 6386516"/>
              <a:gd name="connsiteX4250" fmla="*/ 2185019 w 6789110"/>
              <a:gd name="connsiteY4250" fmla="*/ 2228733 h 6386516"/>
              <a:gd name="connsiteX4251" fmla="*/ 2337076 w 6789110"/>
              <a:gd name="connsiteY4251" fmla="*/ 2213314 h 6386516"/>
              <a:gd name="connsiteX4252" fmla="*/ 2342851 w 6789110"/>
              <a:gd name="connsiteY4252" fmla="*/ 2219089 h 6386516"/>
              <a:gd name="connsiteX4253" fmla="*/ 2333227 w 6789110"/>
              <a:gd name="connsiteY4253" fmla="*/ 2219089 h 6386516"/>
              <a:gd name="connsiteX4254" fmla="*/ 5091449 w 6789110"/>
              <a:gd name="connsiteY4254" fmla="*/ 2209518 h 6386516"/>
              <a:gd name="connsiteX4255" fmla="*/ 4962488 w 6789110"/>
              <a:gd name="connsiteY4255" fmla="*/ 2326938 h 6386516"/>
              <a:gd name="connsiteX4256" fmla="*/ 5147268 w 6789110"/>
              <a:gd name="connsiteY4256" fmla="*/ 2290384 h 6386516"/>
              <a:gd name="connsiteX4257" fmla="*/ 5183839 w 6789110"/>
              <a:gd name="connsiteY4257" fmla="*/ 2257655 h 6386516"/>
              <a:gd name="connsiteX4258" fmla="*/ 5166516 w 6789110"/>
              <a:gd name="connsiteY4258" fmla="*/ 2244176 h 6386516"/>
              <a:gd name="connsiteX4259" fmla="*/ 5178065 w 6789110"/>
              <a:gd name="connsiteY4259" fmla="*/ 2234548 h 6386516"/>
              <a:gd name="connsiteX4260" fmla="*/ 5095298 w 6789110"/>
              <a:gd name="connsiteY4260" fmla="*/ 2248025 h 6386516"/>
              <a:gd name="connsiteX4261" fmla="*/ 5089524 w 6789110"/>
              <a:gd name="connsiteY4261" fmla="*/ 2234548 h 6386516"/>
              <a:gd name="connsiteX4262" fmla="*/ 5122245 w 6789110"/>
              <a:gd name="connsiteY4262" fmla="*/ 2226847 h 6386516"/>
              <a:gd name="connsiteX4263" fmla="*/ 5091449 w 6789110"/>
              <a:gd name="connsiteY4263" fmla="*/ 2209518 h 6386516"/>
              <a:gd name="connsiteX4264" fmla="*/ 2032962 w 6789110"/>
              <a:gd name="connsiteY4264" fmla="*/ 2203704 h 6386516"/>
              <a:gd name="connsiteX4265" fmla="*/ 2032962 w 6789110"/>
              <a:gd name="connsiteY4265" fmla="*/ 2207555 h 6386516"/>
              <a:gd name="connsiteX4266" fmla="*/ 2027187 w 6789110"/>
              <a:gd name="connsiteY4266" fmla="*/ 2207555 h 6386516"/>
              <a:gd name="connsiteX4267" fmla="*/ 3719074 w 6789110"/>
              <a:gd name="connsiteY4267" fmla="*/ 2199889 h 6386516"/>
              <a:gd name="connsiteX4268" fmla="*/ 3368764 w 6789110"/>
              <a:gd name="connsiteY4268" fmla="*/ 2376958 h 6386516"/>
              <a:gd name="connsiteX4269" fmla="*/ 3418808 w 6789110"/>
              <a:gd name="connsiteY4269" fmla="*/ 2384648 h 6386516"/>
              <a:gd name="connsiteX4270" fmla="*/ 3572791 w 6789110"/>
              <a:gd name="connsiteY4270" fmla="*/ 2292311 h 6386516"/>
              <a:gd name="connsiteX4271" fmla="*/ 3576640 w 6789110"/>
              <a:gd name="connsiteY4271" fmla="*/ 2282683 h 6386516"/>
              <a:gd name="connsiteX4272" fmla="*/ 3601662 w 6789110"/>
              <a:gd name="connsiteY4272" fmla="*/ 2274982 h 6386516"/>
              <a:gd name="connsiteX4273" fmla="*/ 3628609 w 6789110"/>
              <a:gd name="connsiteY4273" fmla="*/ 2257655 h 6386516"/>
              <a:gd name="connsiteX4274" fmla="*/ 3644008 w 6789110"/>
              <a:gd name="connsiteY4274" fmla="*/ 2248025 h 6386516"/>
              <a:gd name="connsiteX4275" fmla="*/ 3719074 w 6789110"/>
              <a:gd name="connsiteY4275" fmla="*/ 2199889 h 6386516"/>
              <a:gd name="connsiteX4276" fmla="*/ 3830712 w 6789110"/>
              <a:gd name="connsiteY4276" fmla="*/ 2197965 h 6386516"/>
              <a:gd name="connsiteX4277" fmla="*/ 3715225 w 6789110"/>
              <a:gd name="connsiteY4277" fmla="*/ 2244176 h 6386516"/>
              <a:gd name="connsiteX4278" fmla="*/ 3715225 w 6789110"/>
              <a:gd name="connsiteY4278" fmla="*/ 2246101 h 6386516"/>
              <a:gd name="connsiteX4279" fmla="*/ 3701751 w 6789110"/>
              <a:gd name="connsiteY4279" fmla="*/ 2276907 h 6386516"/>
              <a:gd name="connsiteX4280" fmla="*/ 3851885 w 6789110"/>
              <a:gd name="connsiteY4280" fmla="*/ 2211443 h 6386516"/>
              <a:gd name="connsiteX4281" fmla="*/ 3849960 w 6789110"/>
              <a:gd name="connsiteY4281" fmla="*/ 2211443 h 6386516"/>
              <a:gd name="connsiteX4282" fmla="*/ 3830712 w 6789110"/>
              <a:gd name="connsiteY4282" fmla="*/ 2197965 h 6386516"/>
              <a:gd name="connsiteX4283" fmla="*/ 2121501 w 6789110"/>
              <a:gd name="connsiteY4283" fmla="*/ 2192153 h 6386516"/>
              <a:gd name="connsiteX4284" fmla="*/ 2127275 w 6789110"/>
              <a:gd name="connsiteY4284" fmla="*/ 2196004 h 6386516"/>
              <a:gd name="connsiteX4285" fmla="*/ 2121501 w 6789110"/>
              <a:gd name="connsiteY4285" fmla="*/ 2199856 h 6386516"/>
              <a:gd name="connsiteX4286" fmla="*/ 2117651 w 6789110"/>
              <a:gd name="connsiteY4286" fmla="*/ 2197929 h 6386516"/>
              <a:gd name="connsiteX4287" fmla="*/ 2496835 w 6789110"/>
              <a:gd name="connsiteY4287" fmla="*/ 2182512 h 6386516"/>
              <a:gd name="connsiteX4288" fmla="*/ 2502609 w 6789110"/>
              <a:gd name="connsiteY4288" fmla="*/ 2184439 h 6386516"/>
              <a:gd name="connsiteX4289" fmla="*/ 2504534 w 6789110"/>
              <a:gd name="connsiteY4289" fmla="*/ 2190215 h 6386516"/>
              <a:gd name="connsiteX4290" fmla="*/ 2500686 w 6789110"/>
              <a:gd name="connsiteY4290" fmla="*/ 2190215 h 6386516"/>
              <a:gd name="connsiteX4291" fmla="*/ 2364025 w 6789110"/>
              <a:gd name="connsiteY4291" fmla="*/ 2178672 h 6386516"/>
              <a:gd name="connsiteX4292" fmla="*/ 2369799 w 6789110"/>
              <a:gd name="connsiteY4292" fmla="*/ 2182521 h 6386516"/>
              <a:gd name="connsiteX4293" fmla="*/ 2364025 w 6789110"/>
              <a:gd name="connsiteY4293" fmla="*/ 2186373 h 6386516"/>
              <a:gd name="connsiteX4294" fmla="*/ 2427543 w 6789110"/>
              <a:gd name="connsiteY4294" fmla="*/ 2178664 h 6386516"/>
              <a:gd name="connsiteX4295" fmla="*/ 2433317 w 6789110"/>
              <a:gd name="connsiteY4295" fmla="*/ 2178664 h 6386516"/>
              <a:gd name="connsiteX4296" fmla="*/ 2427543 w 6789110"/>
              <a:gd name="connsiteY4296" fmla="*/ 2184439 h 6386516"/>
              <a:gd name="connsiteX4297" fmla="*/ 5077975 w 6789110"/>
              <a:gd name="connsiteY4297" fmla="*/ 2171011 h 6386516"/>
              <a:gd name="connsiteX4298" fmla="*/ 5062577 w 6789110"/>
              <a:gd name="connsiteY4298" fmla="*/ 2178714 h 6386516"/>
              <a:gd name="connsiteX4299" fmla="*/ 5095298 w 6789110"/>
              <a:gd name="connsiteY4299" fmla="*/ 2201815 h 6386516"/>
              <a:gd name="connsiteX4300" fmla="*/ 5093373 w 6789110"/>
              <a:gd name="connsiteY4300" fmla="*/ 2203742 h 6386516"/>
              <a:gd name="connsiteX4301" fmla="*/ 5183839 w 6789110"/>
              <a:gd name="connsiteY4301" fmla="*/ 2184490 h 6386516"/>
              <a:gd name="connsiteX4302" fmla="*/ 5176140 w 6789110"/>
              <a:gd name="connsiteY4302" fmla="*/ 2176787 h 6386516"/>
              <a:gd name="connsiteX4303" fmla="*/ 5077975 w 6789110"/>
              <a:gd name="connsiteY4303" fmla="*/ 2171011 h 6386516"/>
              <a:gd name="connsiteX4304" fmla="*/ 1588336 w 6789110"/>
              <a:gd name="connsiteY4304" fmla="*/ 2169013 h 6386516"/>
              <a:gd name="connsiteX4305" fmla="*/ 1586659 w 6789110"/>
              <a:gd name="connsiteY4305" fmla="*/ 2169401 h 6386516"/>
              <a:gd name="connsiteX4306" fmla="*/ 1586629 w 6789110"/>
              <a:gd name="connsiteY4306" fmla="*/ 2169128 h 6386516"/>
              <a:gd name="connsiteX4307" fmla="*/ 2354399 w 6789110"/>
              <a:gd name="connsiteY4307" fmla="*/ 2157486 h 6386516"/>
              <a:gd name="connsiteX4308" fmla="*/ 2358249 w 6789110"/>
              <a:gd name="connsiteY4308" fmla="*/ 2161337 h 6386516"/>
              <a:gd name="connsiteX4309" fmla="*/ 2352475 w 6789110"/>
              <a:gd name="connsiteY4309" fmla="*/ 2165187 h 6386516"/>
              <a:gd name="connsiteX4310" fmla="*/ 2348625 w 6789110"/>
              <a:gd name="connsiteY4310" fmla="*/ 2161337 h 6386516"/>
              <a:gd name="connsiteX4311" fmla="*/ 2140749 w 6789110"/>
              <a:gd name="connsiteY4311" fmla="*/ 2153644 h 6386516"/>
              <a:gd name="connsiteX4312" fmla="*/ 2148448 w 6789110"/>
              <a:gd name="connsiteY4312" fmla="*/ 2155569 h 6386516"/>
              <a:gd name="connsiteX4313" fmla="*/ 2142674 w 6789110"/>
              <a:gd name="connsiteY4313" fmla="*/ 2159420 h 6386516"/>
              <a:gd name="connsiteX4314" fmla="*/ 2277409 w 6789110"/>
              <a:gd name="connsiteY4314" fmla="*/ 2153640 h 6386516"/>
              <a:gd name="connsiteX4315" fmla="*/ 2283183 w 6789110"/>
              <a:gd name="connsiteY4315" fmla="*/ 2159416 h 6386516"/>
              <a:gd name="connsiteX4316" fmla="*/ 2277409 w 6789110"/>
              <a:gd name="connsiteY4316" fmla="*/ 2159416 h 6386516"/>
              <a:gd name="connsiteX4317" fmla="*/ 2475663 w 6789110"/>
              <a:gd name="connsiteY4317" fmla="*/ 2151717 h 6386516"/>
              <a:gd name="connsiteX4318" fmla="*/ 2479512 w 6789110"/>
              <a:gd name="connsiteY4318" fmla="*/ 2159418 h 6386516"/>
              <a:gd name="connsiteX4319" fmla="*/ 2479512 w 6789110"/>
              <a:gd name="connsiteY4319" fmla="*/ 2167119 h 6386516"/>
              <a:gd name="connsiteX4320" fmla="*/ 2489136 w 6789110"/>
              <a:gd name="connsiteY4320" fmla="*/ 2167119 h 6386516"/>
              <a:gd name="connsiteX4321" fmla="*/ 2489136 w 6789110"/>
              <a:gd name="connsiteY4321" fmla="*/ 2180595 h 6386516"/>
              <a:gd name="connsiteX4322" fmla="*/ 2473737 w 6789110"/>
              <a:gd name="connsiteY4322" fmla="*/ 2180595 h 6386516"/>
              <a:gd name="connsiteX4323" fmla="*/ 2473737 w 6789110"/>
              <a:gd name="connsiteY4323" fmla="*/ 2167119 h 6386516"/>
              <a:gd name="connsiteX4324" fmla="*/ 2464113 w 6789110"/>
              <a:gd name="connsiteY4324" fmla="*/ 2167119 h 6386516"/>
              <a:gd name="connsiteX4325" fmla="*/ 2475663 w 6789110"/>
              <a:gd name="connsiteY4325" fmla="*/ 2151717 h 6386516"/>
              <a:gd name="connsiteX4326" fmla="*/ 2300508 w 6789110"/>
              <a:gd name="connsiteY4326" fmla="*/ 2147864 h 6386516"/>
              <a:gd name="connsiteX4327" fmla="*/ 2308206 w 6789110"/>
              <a:gd name="connsiteY4327" fmla="*/ 2153640 h 6386516"/>
              <a:gd name="connsiteX4328" fmla="*/ 2300508 w 6789110"/>
              <a:gd name="connsiteY4328" fmla="*/ 2153640 h 6386516"/>
              <a:gd name="connsiteX4329" fmla="*/ 2398671 w 6789110"/>
              <a:gd name="connsiteY4329" fmla="*/ 2145935 h 6386516"/>
              <a:gd name="connsiteX4330" fmla="*/ 2404445 w 6789110"/>
              <a:gd name="connsiteY4330" fmla="*/ 2145935 h 6386516"/>
              <a:gd name="connsiteX4331" fmla="*/ 2400596 w 6789110"/>
              <a:gd name="connsiteY4331" fmla="*/ 2149788 h 6386516"/>
              <a:gd name="connsiteX4332" fmla="*/ 2398671 w 6789110"/>
              <a:gd name="connsiteY4332" fmla="*/ 2145935 h 6386516"/>
              <a:gd name="connsiteX4333" fmla="*/ 2102253 w 6789110"/>
              <a:gd name="connsiteY4333" fmla="*/ 2142093 h 6386516"/>
              <a:gd name="connsiteX4334" fmla="*/ 2111877 w 6789110"/>
              <a:gd name="connsiteY4334" fmla="*/ 2151721 h 6386516"/>
              <a:gd name="connsiteX4335" fmla="*/ 2102253 w 6789110"/>
              <a:gd name="connsiteY4335" fmla="*/ 2151721 h 6386516"/>
              <a:gd name="connsiteX4336" fmla="*/ 2342851 w 6789110"/>
              <a:gd name="connsiteY4336" fmla="*/ 2138234 h 6386516"/>
              <a:gd name="connsiteX4337" fmla="*/ 2352475 w 6789110"/>
              <a:gd name="connsiteY4337" fmla="*/ 2142084 h 6386516"/>
              <a:gd name="connsiteX4338" fmla="*/ 2339002 w 6789110"/>
              <a:gd name="connsiteY4338" fmla="*/ 2144010 h 6386516"/>
              <a:gd name="connsiteX4339" fmla="*/ 2313981 w 6789110"/>
              <a:gd name="connsiteY4339" fmla="*/ 2132458 h 6386516"/>
              <a:gd name="connsiteX4340" fmla="*/ 2319755 w 6789110"/>
              <a:gd name="connsiteY4340" fmla="*/ 2138234 h 6386516"/>
              <a:gd name="connsiteX4341" fmla="*/ 2312056 w 6789110"/>
              <a:gd name="connsiteY4341" fmla="*/ 2138234 h 6386516"/>
              <a:gd name="connsiteX4342" fmla="*/ 2404444 w 6789110"/>
              <a:gd name="connsiteY4342" fmla="*/ 2128612 h 6386516"/>
              <a:gd name="connsiteX4343" fmla="*/ 2410218 w 6789110"/>
              <a:gd name="connsiteY4343" fmla="*/ 2130540 h 6386516"/>
              <a:gd name="connsiteX4344" fmla="*/ 2423693 w 6789110"/>
              <a:gd name="connsiteY4344" fmla="*/ 2159418 h 6386516"/>
              <a:gd name="connsiteX4345" fmla="*/ 2421768 w 6789110"/>
              <a:gd name="connsiteY4345" fmla="*/ 2157493 h 6386516"/>
              <a:gd name="connsiteX4346" fmla="*/ 2412143 w 6789110"/>
              <a:gd name="connsiteY4346" fmla="*/ 2163268 h 6386516"/>
              <a:gd name="connsiteX4347" fmla="*/ 2415993 w 6789110"/>
              <a:gd name="connsiteY4347" fmla="*/ 2157493 h 6386516"/>
              <a:gd name="connsiteX4348" fmla="*/ 2406370 w 6789110"/>
              <a:gd name="connsiteY4348" fmla="*/ 2140166 h 6386516"/>
              <a:gd name="connsiteX4349" fmla="*/ 2410218 w 6789110"/>
              <a:gd name="connsiteY4349" fmla="*/ 2134388 h 6386516"/>
              <a:gd name="connsiteX4350" fmla="*/ 2404444 w 6789110"/>
              <a:gd name="connsiteY4350" fmla="*/ 2134388 h 6386516"/>
              <a:gd name="connsiteX4351" fmla="*/ 4935541 w 6789110"/>
              <a:gd name="connsiteY4351" fmla="*/ 2126725 h 6386516"/>
              <a:gd name="connsiteX4352" fmla="*/ 4927842 w 6789110"/>
              <a:gd name="connsiteY4352" fmla="*/ 2136351 h 6386516"/>
              <a:gd name="connsiteX4353" fmla="*/ 5047179 w 6789110"/>
              <a:gd name="connsiteY4353" fmla="*/ 2171011 h 6386516"/>
              <a:gd name="connsiteX4354" fmla="*/ 5062577 w 6789110"/>
              <a:gd name="connsiteY4354" fmla="*/ 2163308 h 6386516"/>
              <a:gd name="connsiteX4355" fmla="*/ 4935541 w 6789110"/>
              <a:gd name="connsiteY4355" fmla="*/ 2126725 h 6386516"/>
              <a:gd name="connsiteX4356" fmla="*/ 2279334 w 6789110"/>
              <a:gd name="connsiteY4356" fmla="*/ 2124760 h 6386516"/>
              <a:gd name="connsiteX4357" fmla="*/ 2279334 w 6789110"/>
              <a:gd name="connsiteY4357" fmla="*/ 2132460 h 6386516"/>
              <a:gd name="connsiteX4358" fmla="*/ 2273560 w 6789110"/>
              <a:gd name="connsiteY4358" fmla="*/ 2126685 h 6386516"/>
              <a:gd name="connsiteX4359" fmla="*/ 2267784 w 6789110"/>
              <a:gd name="connsiteY4359" fmla="*/ 2124760 h 6386516"/>
              <a:gd name="connsiteX4360" fmla="*/ 2273559 w 6789110"/>
              <a:gd name="connsiteY4360" fmla="*/ 2126687 h 6386516"/>
              <a:gd name="connsiteX4361" fmla="*/ 2269709 w 6789110"/>
              <a:gd name="connsiteY4361" fmla="*/ 2132462 h 6386516"/>
              <a:gd name="connsiteX4362" fmla="*/ 2263935 w 6789110"/>
              <a:gd name="connsiteY4362" fmla="*/ 2128610 h 6386516"/>
              <a:gd name="connsiteX4363" fmla="*/ 2292807 w 6789110"/>
              <a:gd name="connsiteY4363" fmla="*/ 2124757 h 6386516"/>
              <a:gd name="connsiteX4364" fmla="*/ 2288958 w 6789110"/>
              <a:gd name="connsiteY4364" fmla="*/ 2132458 h 6386516"/>
              <a:gd name="connsiteX4365" fmla="*/ 2281258 w 6789110"/>
              <a:gd name="connsiteY4365" fmla="*/ 2128608 h 6386516"/>
              <a:gd name="connsiteX4366" fmla="*/ 2460263 w 6789110"/>
              <a:gd name="connsiteY4366" fmla="*/ 2124745 h 6386516"/>
              <a:gd name="connsiteX4367" fmla="*/ 2466038 w 6789110"/>
              <a:gd name="connsiteY4367" fmla="*/ 2128595 h 6386516"/>
              <a:gd name="connsiteX4368" fmla="*/ 2456414 w 6789110"/>
              <a:gd name="connsiteY4368" fmla="*/ 2136296 h 6386516"/>
              <a:gd name="connsiteX4369" fmla="*/ 2452564 w 6789110"/>
              <a:gd name="connsiteY4369" fmla="*/ 2130521 h 6386516"/>
              <a:gd name="connsiteX4370" fmla="*/ 2460263 w 6789110"/>
              <a:gd name="connsiteY4370" fmla="*/ 2130521 h 6386516"/>
              <a:gd name="connsiteX4371" fmla="*/ 2077230 w 6789110"/>
              <a:gd name="connsiteY4371" fmla="*/ 2122841 h 6386516"/>
              <a:gd name="connsiteX4372" fmla="*/ 2092630 w 6789110"/>
              <a:gd name="connsiteY4372" fmla="*/ 2126691 h 6386516"/>
              <a:gd name="connsiteX4373" fmla="*/ 2084930 w 6789110"/>
              <a:gd name="connsiteY4373" fmla="*/ 2130542 h 6386516"/>
              <a:gd name="connsiteX4374" fmla="*/ 2090704 w 6789110"/>
              <a:gd name="connsiteY4374" fmla="*/ 2130542 h 6386516"/>
              <a:gd name="connsiteX4375" fmla="*/ 2090704 w 6789110"/>
              <a:gd name="connsiteY4375" fmla="*/ 2138242 h 6386516"/>
              <a:gd name="connsiteX4376" fmla="*/ 2069531 w 6789110"/>
              <a:gd name="connsiteY4376" fmla="*/ 2149796 h 6386516"/>
              <a:gd name="connsiteX4377" fmla="*/ 2073381 w 6789110"/>
              <a:gd name="connsiteY4377" fmla="*/ 2144020 h 6386516"/>
              <a:gd name="connsiteX4378" fmla="*/ 2067606 w 6789110"/>
              <a:gd name="connsiteY4378" fmla="*/ 2142095 h 6386516"/>
              <a:gd name="connsiteX4379" fmla="*/ 2063757 w 6789110"/>
              <a:gd name="connsiteY4379" fmla="*/ 2138242 h 6386516"/>
              <a:gd name="connsiteX4380" fmla="*/ 2067606 w 6789110"/>
              <a:gd name="connsiteY4380" fmla="*/ 2126691 h 6386516"/>
              <a:gd name="connsiteX4381" fmla="*/ 2227364 w 6789110"/>
              <a:gd name="connsiteY4381" fmla="*/ 2122832 h 6386516"/>
              <a:gd name="connsiteX4382" fmla="*/ 2227364 w 6789110"/>
              <a:gd name="connsiteY4382" fmla="*/ 2138232 h 6386516"/>
              <a:gd name="connsiteX4383" fmla="*/ 2219665 w 6789110"/>
              <a:gd name="connsiteY4383" fmla="*/ 2130531 h 6386516"/>
              <a:gd name="connsiteX4384" fmla="*/ 2325529 w 6789110"/>
              <a:gd name="connsiteY4384" fmla="*/ 2120907 h 6386516"/>
              <a:gd name="connsiteX4385" fmla="*/ 2337077 w 6789110"/>
              <a:gd name="connsiteY4385" fmla="*/ 2128608 h 6386516"/>
              <a:gd name="connsiteX4386" fmla="*/ 2333227 w 6789110"/>
              <a:gd name="connsiteY4386" fmla="*/ 2130533 h 6386516"/>
              <a:gd name="connsiteX4387" fmla="*/ 2325529 w 6789110"/>
              <a:gd name="connsiteY4387" fmla="*/ 2120907 h 6386516"/>
              <a:gd name="connsiteX4388" fmla="*/ 2385197 w 6789110"/>
              <a:gd name="connsiteY4388" fmla="*/ 2118982 h 6386516"/>
              <a:gd name="connsiteX4389" fmla="*/ 2390971 w 6789110"/>
              <a:gd name="connsiteY4389" fmla="*/ 2120907 h 6386516"/>
              <a:gd name="connsiteX4390" fmla="*/ 2385197 w 6789110"/>
              <a:gd name="connsiteY4390" fmla="*/ 2124757 h 6386516"/>
              <a:gd name="connsiteX4391" fmla="*/ 2244688 w 6789110"/>
              <a:gd name="connsiteY4391" fmla="*/ 2118975 h 6386516"/>
              <a:gd name="connsiteX4392" fmla="*/ 2262011 w 6789110"/>
              <a:gd name="connsiteY4392" fmla="*/ 2120901 h 6386516"/>
              <a:gd name="connsiteX4393" fmla="*/ 2260086 w 6789110"/>
              <a:gd name="connsiteY4393" fmla="*/ 2126674 h 6386516"/>
              <a:gd name="connsiteX4394" fmla="*/ 2244688 w 6789110"/>
              <a:gd name="connsiteY4394" fmla="*/ 2120901 h 6386516"/>
              <a:gd name="connsiteX4395" fmla="*/ 5330123 w 6789110"/>
              <a:gd name="connsiteY4395" fmla="*/ 2117099 h 6386516"/>
              <a:gd name="connsiteX4396" fmla="*/ 5314724 w 6789110"/>
              <a:gd name="connsiteY4396" fmla="*/ 2126729 h 6386516"/>
              <a:gd name="connsiteX4397" fmla="*/ 5297400 w 6789110"/>
              <a:gd name="connsiteY4397" fmla="*/ 2136351 h 6386516"/>
              <a:gd name="connsiteX4398" fmla="*/ 5303176 w 6789110"/>
              <a:gd name="connsiteY4398" fmla="*/ 2126729 h 6386516"/>
              <a:gd name="connsiteX4399" fmla="*/ 5330123 w 6789110"/>
              <a:gd name="connsiteY4399" fmla="*/ 2117099 h 6386516"/>
              <a:gd name="connsiteX4400" fmla="*/ 2313981 w 6789110"/>
              <a:gd name="connsiteY4400" fmla="*/ 2115131 h 6386516"/>
              <a:gd name="connsiteX4401" fmla="*/ 2319755 w 6789110"/>
              <a:gd name="connsiteY4401" fmla="*/ 2120907 h 6386516"/>
              <a:gd name="connsiteX4402" fmla="*/ 2312056 w 6789110"/>
              <a:gd name="connsiteY4402" fmla="*/ 2124757 h 6386516"/>
              <a:gd name="connsiteX4403" fmla="*/ 2402520 w 6789110"/>
              <a:gd name="connsiteY4403" fmla="*/ 2113208 h 6386516"/>
              <a:gd name="connsiteX4404" fmla="*/ 2404444 w 6789110"/>
              <a:gd name="connsiteY4404" fmla="*/ 2117057 h 6386516"/>
              <a:gd name="connsiteX4405" fmla="*/ 2398670 w 6789110"/>
              <a:gd name="connsiteY4405" fmla="*/ 2130535 h 6386516"/>
              <a:gd name="connsiteX4406" fmla="*/ 2394820 w 6789110"/>
              <a:gd name="connsiteY4406" fmla="*/ 2122834 h 6386516"/>
              <a:gd name="connsiteX4407" fmla="*/ 2390971 w 6789110"/>
              <a:gd name="connsiteY4407" fmla="*/ 2120909 h 6386516"/>
              <a:gd name="connsiteX4408" fmla="*/ 2292808 w 6789110"/>
              <a:gd name="connsiteY4408" fmla="*/ 2113208 h 6386516"/>
              <a:gd name="connsiteX4409" fmla="*/ 2298582 w 6789110"/>
              <a:gd name="connsiteY4409" fmla="*/ 2118984 h 6386516"/>
              <a:gd name="connsiteX4410" fmla="*/ 2290883 w 6789110"/>
              <a:gd name="connsiteY4410" fmla="*/ 2122834 h 6386516"/>
              <a:gd name="connsiteX4411" fmla="*/ 2267784 w 6789110"/>
              <a:gd name="connsiteY4411" fmla="*/ 2113206 h 6386516"/>
              <a:gd name="connsiteX4412" fmla="*/ 2283183 w 6789110"/>
              <a:gd name="connsiteY4412" fmla="*/ 2113206 h 6386516"/>
              <a:gd name="connsiteX4413" fmla="*/ 2279333 w 6789110"/>
              <a:gd name="connsiteY4413" fmla="*/ 2118980 h 6386516"/>
              <a:gd name="connsiteX4414" fmla="*/ 2102254 w 6789110"/>
              <a:gd name="connsiteY4414" fmla="*/ 2111287 h 6386516"/>
              <a:gd name="connsiteX4415" fmla="*/ 2108029 w 6789110"/>
              <a:gd name="connsiteY4415" fmla="*/ 2113214 h 6386516"/>
              <a:gd name="connsiteX4416" fmla="*/ 2106104 w 6789110"/>
              <a:gd name="connsiteY4416" fmla="*/ 2118988 h 6386516"/>
              <a:gd name="connsiteX4417" fmla="*/ 2121501 w 6789110"/>
              <a:gd name="connsiteY4417" fmla="*/ 2118988 h 6386516"/>
              <a:gd name="connsiteX4418" fmla="*/ 2117651 w 6789110"/>
              <a:gd name="connsiteY4418" fmla="*/ 2128614 h 6386516"/>
              <a:gd name="connsiteX4419" fmla="*/ 2113801 w 6789110"/>
              <a:gd name="connsiteY4419" fmla="*/ 2126689 h 6386516"/>
              <a:gd name="connsiteX4420" fmla="*/ 2106103 w 6789110"/>
              <a:gd name="connsiteY4420" fmla="*/ 2118990 h 6386516"/>
              <a:gd name="connsiteX4421" fmla="*/ 2327453 w 6789110"/>
              <a:gd name="connsiteY4421" fmla="*/ 2107431 h 6386516"/>
              <a:gd name="connsiteX4422" fmla="*/ 2331303 w 6789110"/>
              <a:gd name="connsiteY4422" fmla="*/ 2117057 h 6386516"/>
              <a:gd name="connsiteX4423" fmla="*/ 2315904 w 6789110"/>
              <a:gd name="connsiteY4423" fmla="*/ 2113206 h 6386516"/>
              <a:gd name="connsiteX4424" fmla="*/ 2267784 w 6789110"/>
              <a:gd name="connsiteY4424" fmla="*/ 2107431 h 6386516"/>
              <a:gd name="connsiteX4425" fmla="*/ 2268747 w 6789110"/>
              <a:gd name="connsiteY4425" fmla="*/ 2107911 h 6386516"/>
              <a:gd name="connsiteX4426" fmla="*/ 2265860 w 6789110"/>
              <a:gd name="connsiteY4426" fmla="*/ 2109356 h 6386516"/>
              <a:gd name="connsiteX4427" fmla="*/ 2265565 w 6789110"/>
              <a:gd name="connsiteY4427" fmla="*/ 2108169 h 6386516"/>
              <a:gd name="connsiteX4428" fmla="*/ 2279333 w 6789110"/>
              <a:gd name="connsiteY4428" fmla="*/ 2107428 h 6386516"/>
              <a:gd name="connsiteX4429" fmla="*/ 2288958 w 6789110"/>
              <a:gd name="connsiteY4429" fmla="*/ 2107428 h 6386516"/>
              <a:gd name="connsiteX4430" fmla="*/ 2283183 w 6789110"/>
              <a:gd name="connsiteY4430" fmla="*/ 2113204 h 6386516"/>
              <a:gd name="connsiteX4431" fmla="*/ 2442941 w 6789110"/>
              <a:gd name="connsiteY4431" fmla="*/ 2099721 h 6386516"/>
              <a:gd name="connsiteX4432" fmla="*/ 2446791 w 6789110"/>
              <a:gd name="connsiteY4432" fmla="*/ 2105495 h 6386516"/>
              <a:gd name="connsiteX4433" fmla="*/ 2442941 w 6789110"/>
              <a:gd name="connsiteY4433" fmla="*/ 2111270 h 6386516"/>
              <a:gd name="connsiteX4434" fmla="*/ 2431391 w 6789110"/>
              <a:gd name="connsiteY4434" fmla="*/ 2111270 h 6386516"/>
              <a:gd name="connsiteX4435" fmla="*/ 2427542 w 6789110"/>
              <a:gd name="connsiteY4435" fmla="*/ 2103572 h 6386516"/>
              <a:gd name="connsiteX4436" fmla="*/ 2437166 w 6789110"/>
              <a:gd name="connsiteY4436" fmla="*/ 2105495 h 6386516"/>
              <a:gd name="connsiteX4437" fmla="*/ 2393902 w 6789110"/>
              <a:gd name="connsiteY4437" fmla="*/ 2093563 h 6386516"/>
              <a:gd name="connsiteX4438" fmla="*/ 2396746 w 6789110"/>
              <a:gd name="connsiteY4438" fmla="*/ 2099729 h 6386516"/>
              <a:gd name="connsiteX4439" fmla="*/ 2394822 w 6789110"/>
              <a:gd name="connsiteY4439" fmla="*/ 2101655 h 6386516"/>
              <a:gd name="connsiteX4440" fmla="*/ 2391935 w 6789110"/>
              <a:gd name="connsiteY4440" fmla="*/ 2096841 h 6386516"/>
              <a:gd name="connsiteX4441" fmla="*/ 2190792 w 6789110"/>
              <a:gd name="connsiteY4441" fmla="*/ 2092031 h 6386516"/>
              <a:gd name="connsiteX4442" fmla="*/ 2196567 w 6789110"/>
              <a:gd name="connsiteY4442" fmla="*/ 2097806 h 6386516"/>
              <a:gd name="connsiteX4443" fmla="*/ 2204267 w 6789110"/>
              <a:gd name="connsiteY4443" fmla="*/ 2105507 h 6386516"/>
              <a:gd name="connsiteX4444" fmla="*/ 2200418 w 6789110"/>
              <a:gd name="connsiteY4444" fmla="*/ 2105507 h 6386516"/>
              <a:gd name="connsiteX4445" fmla="*/ 2200418 w 6789110"/>
              <a:gd name="connsiteY4445" fmla="*/ 2099732 h 6386516"/>
              <a:gd name="connsiteX4446" fmla="*/ 2188868 w 6789110"/>
              <a:gd name="connsiteY4446" fmla="*/ 2101657 h 6386516"/>
              <a:gd name="connsiteX4447" fmla="*/ 2185018 w 6789110"/>
              <a:gd name="connsiteY4447" fmla="*/ 2097806 h 6386516"/>
              <a:gd name="connsiteX4448" fmla="*/ 2190792 w 6789110"/>
              <a:gd name="connsiteY4448" fmla="*/ 2097806 h 6386516"/>
              <a:gd name="connsiteX4449" fmla="*/ 2392469 w 6789110"/>
              <a:gd name="connsiteY4449" fmla="*/ 2090460 h 6386516"/>
              <a:gd name="connsiteX4450" fmla="*/ 2394822 w 6789110"/>
              <a:gd name="connsiteY4450" fmla="*/ 2092029 h 6386516"/>
              <a:gd name="connsiteX4451" fmla="*/ 2393902 w 6789110"/>
              <a:gd name="connsiteY4451" fmla="*/ 2093563 h 6386516"/>
              <a:gd name="connsiteX4452" fmla="*/ 2121501 w 6789110"/>
              <a:gd name="connsiteY4452" fmla="*/ 2090108 h 6386516"/>
              <a:gd name="connsiteX4453" fmla="*/ 2125351 w 6789110"/>
              <a:gd name="connsiteY4453" fmla="*/ 2090108 h 6386516"/>
              <a:gd name="connsiteX4454" fmla="*/ 2133050 w 6789110"/>
              <a:gd name="connsiteY4454" fmla="*/ 2093960 h 6386516"/>
              <a:gd name="connsiteX4455" fmla="*/ 2121501 w 6789110"/>
              <a:gd name="connsiteY4455" fmla="*/ 2092033 h 6386516"/>
              <a:gd name="connsiteX4456" fmla="*/ 2156148 w 6789110"/>
              <a:gd name="connsiteY4456" fmla="*/ 2090105 h 6386516"/>
              <a:gd name="connsiteX4457" fmla="*/ 2161922 w 6789110"/>
              <a:gd name="connsiteY4457" fmla="*/ 2090105 h 6386516"/>
              <a:gd name="connsiteX4458" fmla="*/ 2161922 w 6789110"/>
              <a:gd name="connsiteY4458" fmla="*/ 2093956 h 6386516"/>
              <a:gd name="connsiteX4459" fmla="*/ 2156148 w 6789110"/>
              <a:gd name="connsiteY4459" fmla="*/ 2090105 h 6386516"/>
              <a:gd name="connsiteX4460" fmla="*/ 2235063 w 6789110"/>
              <a:gd name="connsiteY4460" fmla="*/ 2088174 h 6386516"/>
              <a:gd name="connsiteX4461" fmla="*/ 2244688 w 6789110"/>
              <a:gd name="connsiteY4461" fmla="*/ 2099725 h 6386516"/>
              <a:gd name="connsiteX4462" fmla="*/ 2229289 w 6789110"/>
              <a:gd name="connsiteY4462" fmla="*/ 2099725 h 6386516"/>
              <a:gd name="connsiteX4463" fmla="*/ 2235063 w 6789110"/>
              <a:gd name="connsiteY4463" fmla="*/ 2095875 h 6386516"/>
              <a:gd name="connsiteX4464" fmla="*/ 2235063 w 6789110"/>
              <a:gd name="connsiteY4464" fmla="*/ 2090099 h 6386516"/>
              <a:gd name="connsiteX4465" fmla="*/ 2225439 w 6789110"/>
              <a:gd name="connsiteY4465" fmla="*/ 2086251 h 6386516"/>
              <a:gd name="connsiteX4466" fmla="*/ 2235063 w 6789110"/>
              <a:gd name="connsiteY4466" fmla="*/ 2090099 h 6386516"/>
              <a:gd name="connsiteX4467" fmla="*/ 2229288 w 6789110"/>
              <a:gd name="connsiteY4467" fmla="*/ 2092024 h 6386516"/>
              <a:gd name="connsiteX4468" fmla="*/ 2390099 w 6789110"/>
              <a:gd name="connsiteY4468" fmla="*/ 2085323 h 6386516"/>
              <a:gd name="connsiteX4469" fmla="*/ 2392469 w 6789110"/>
              <a:gd name="connsiteY4469" fmla="*/ 2090460 h 6386516"/>
              <a:gd name="connsiteX4470" fmla="*/ 2389047 w 6789110"/>
              <a:gd name="connsiteY4470" fmla="*/ 2088178 h 6386516"/>
              <a:gd name="connsiteX4471" fmla="*/ 2013715 w 6789110"/>
              <a:gd name="connsiteY4471" fmla="*/ 2084334 h 6386516"/>
              <a:gd name="connsiteX4472" fmla="*/ 2019489 w 6789110"/>
              <a:gd name="connsiteY4472" fmla="*/ 2088185 h 6386516"/>
              <a:gd name="connsiteX4473" fmla="*/ 2011789 w 6789110"/>
              <a:gd name="connsiteY4473" fmla="*/ 2090110 h 6386516"/>
              <a:gd name="connsiteX4474" fmla="*/ 2385198 w 6789110"/>
              <a:gd name="connsiteY4474" fmla="*/ 2084328 h 6386516"/>
              <a:gd name="connsiteX4475" fmla="*/ 2385198 w 6789110"/>
              <a:gd name="connsiteY4475" fmla="*/ 2092029 h 6386516"/>
              <a:gd name="connsiteX4476" fmla="*/ 2389047 w 6789110"/>
              <a:gd name="connsiteY4476" fmla="*/ 2097804 h 6386516"/>
              <a:gd name="connsiteX4477" fmla="*/ 2389047 w 6789110"/>
              <a:gd name="connsiteY4477" fmla="*/ 2103580 h 6386516"/>
              <a:gd name="connsiteX4478" fmla="*/ 2379423 w 6789110"/>
              <a:gd name="connsiteY4478" fmla="*/ 2115131 h 6386516"/>
              <a:gd name="connsiteX4479" fmla="*/ 2377498 w 6789110"/>
              <a:gd name="connsiteY4479" fmla="*/ 2111281 h 6386516"/>
              <a:gd name="connsiteX4480" fmla="*/ 2387122 w 6789110"/>
              <a:gd name="connsiteY4480" fmla="*/ 2101655 h 6386516"/>
              <a:gd name="connsiteX4481" fmla="*/ 2377498 w 6789110"/>
              <a:gd name="connsiteY4481" fmla="*/ 2097804 h 6386516"/>
              <a:gd name="connsiteX4482" fmla="*/ 2367874 w 6789110"/>
              <a:gd name="connsiteY4482" fmla="*/ 2111281 h 6386516"/>
              <a:gd name="connsiteX4483" fmla="*/ 2373649 w 6789110"/>
              <a:gd name="connsiteY4483" fmla="*/ 2107431 h 6386516"/>
              <a:gd name="connsiteX4484" fmla="*/ 2367874 w 6789110"/>
              <a:gd name="connsiteY4484" fmla="*/ 2120905 h 6386516"/>
              <a:gd name="connsiteX4485" fmla="*/ 2362100 w 6789110"/>
              <a:gd name="connsiteY4485" fmla="*/ 2117055 h 6386516"/>
              <a:gd name="connsiteX4486" fmla="*/ 2356326 w 6789110"/>
              <a:gd name="connsiteY4486" fmla="*/ 2122830 h 6386516"/>
              <a:gd name="connsiteX4487" fmla="*/ 2352476 w 6789110"/>
              <a:gd name="connsiteY4487" fmla="*/ 2118980 h 6386516"/>
              <a:gd name="connsiteX4488" fmla="*/ 2358250 w 6789110"/>
              <a:gd name="connsiteY4488" fmla="*/ 2113206 h 6386516"/>
              <a:gd name="connsiteX4489" fmla="*/ 2356326 w 6789110"/>
              <a:gd name="connsiteY4489" fmla="*/ 2109356 h 6386516"/>
              <a:gd name="connsiteX4490" fmla="*/ 2364025 w 6789110"/>
              <a:gd name="connsiteY4490" fmla="*/ 2103580 h 6386516"/>
              <a:gd name="connsiteX4491" fmla="*/ 2360175 w 6789110"/>
              <a:gd name="connsiteY4491" fmla="*/ 2101655 h 6386516"/>
              <a:gd name="connsiteX4492" fmla="*/ 2352476 w 6789110"/>
              <a:gd name="connsiteY4492" fmla="*/ 2107431 h 6386516"/>
              <a:gd name="connsiteX4493" fmla="*/ 2352476 w 6789110"/>
              <a:gd name="connsiteY4493" fmla="*/ 2099729 h 6386516"/>
              <a:gd name="connsiteX4494" fmla="*/ 2342852 w 6789110"/>
              <a:gd name="connsiteY4494" fmla="*/ 2093954 h 6386516"/>
              <a:gd name="connsiteX4495" fmla="*/ 2337078 w 6789110"/>
              <a:gd name="connsiteY4495" fmla="*/ 2093954 h 6386516"/>
              <a:gd name="connsiteX4496" fmla="*/ 2340927 w 6789110"/>
              <a:gd name="connsiteY4496" fmla="*/ 2088178 h 6386516"/>
              <a:gd name="connsiteX4497" fmla="*/ 2352476 w 6789110"/>
              <a:gd name="connsiteY4497" fmla="*/ 2090103 h 6386516"/>
              <a:gd name="connsiteX4498" fmla="*/ 2358250 w 6789110"/>
              <a:gd name="connsiteY4498" fmla="*/ 2086253 h 6386516"/>
              <a:gd name="connsiteX4499" fmla="*/ 2362100 w 6789110"/>
              <a:gd name="connsiteY4499" fmla="*/ 2088178 h 6386516"/>
              <a:gd name="connsiteX4500" fmla="*/ 2356326 w 6789110"/>
              <a:gd name="connsiteY4500" fmla="*/ 2095879 h 6386516"/>
              <a:gd name="connsiteX4501" fmla="*/ 2365950 w 6789110"/>
              <a:gd name="connsiteY4501" fmla="*/ 2092029 h 6386516"/>
              <a:gd name="connsiteX4502" fmla="*/ 2373649 w 6789110"/>
              <a:gd name="connsiteY4502" fmla="*/ 2093954 h 6386516"/>
              <a:gd name="connsiteX4503" fmla="*/ 2375253 w 6789110"/>
              <a:gd name="connsiteY4503" fmla="*/ 2085932 h 6386516"/>
              <a:gd name="connsiteX4504" fmla="*/ 2375575 w 6789110"/>
              <a:gd name="connsiteY4504" fmla="*/ 2086253 h 6386516"/>
              <a:gd name="connsiteX4505" fmla="*/ 2376624 w 6789110"/>
              <a:gd name="connsiteY4505" fmla="*/ 2084678 h 6386516"/>
              <a:gd name="connsiteX4506" fmla="*/ 2381349 w 6789110"/>
              <a:gd name="connsiteY4506" fmla="*/ 2086253 h 6386516"/>
              <a:gd name="connsiteX4507" fmla="*/ 2357608 w 6789110"/>
              <a:gd name="connsiteY4507" fmla="*/ 2084328 h 6386516"/>
              <a:gd name="connsiteX4508" fmla="*/ 2360175 w 6789110"/>
              <a:gd name="connsiteY4508" fmla="*/ 2084328 h 6386516"/>
              <a:gd name="connsiteX4509" fmla="*/ 2361183 w 6789110"/>
              <a:gd name="connsiteY4509" fmla="*/ 2084365 h 6386516"/>
              <a:gd name="connsiteX4510" fmla="*/ 2358250 w 6789110"/>
              <a:gd name="connsiteY4510" fmla="*/ 2086253 h 6386516"/>
              <a:gd name="connsiteX4511" fmla="*/ 2388803 w 6789110"/>
              <a:gd name="connsiteY4511" fmla="*/ 2082516 h 6386516"/>
              <a:gd name="connsiteX4512" fmla="*/ 2390731 w 6789110"/>
              <a:gd name="connsiteY4512" fmla="*/ 2083605 h 6386516"/>
              <a:gd name="connsiteX4513" fmla="*/ 2390099 w 6789110"/>
              <a:gd name="connsiteY4513" fmla="*/ 2085323 h 6386516"/>
              <a:gd name="connsiteX4514" fmla="*/ 2300506 w 6789110"/>
              <a:gd name="connsiteY4514" fmla="*/ 2080477 h 6386516"/>
              <a:gd name="connsiteX4515" fmla="*/ 2310130 w 6789110"/>
              <a:gd name="connsiteY4515" fmla="*/ 2088178 h 6386516"/>
              <a:gd name="connsiteX4516" fmla="*/ 2225439 w 6789110"/>
              <a:gd name="connsiteY4516" fmla="*/ 2076625 h 6386516"/>
              <a:gd name="connsiteX4517" fmla="*/ 2235063 w 6789110"/>
              <a:gd name="connsiteY4517" fmla="*/ 2076625 h 6386516"/>
              <a:gd name="connsiteX4518" fmla="*/ 2229288 w 6789110"/>
              <a:gd name="connsiteY4518" fmla="*/ 2082400 h 6386516"/>
              <a:gd name="connsiteX4519" fmla="*/ 2342852 w 6789110"/>
              <a:gd name="connsiteY4519" fmla="*/ 2074702 h 6386516"/>
              <a:gd name="connsiteX4520" fmla="*/ 2342852 w 6789110"/>
              <a:gd name="connsiteY4520" fmla="*/ 2084328 h 6386516"/>
              <a:gd name="connsiteX4521" fmla="*/ 2348627 w 6789110"/>
              <a:gd name="connsiteY4521" fmla="*/ 2080477 h 6386516"/>
              <a:gd name="connsiteX4522" fmla="*/ 2210040 w 6789110"/>
              <a:gd name="connsiteY4522" fmla="*/ 2070849 h 6386516"/>
              <a:gd name="connsiteX4523" fmla="*/ 2211965 w 6789110"/>
              <a:gd name="connsiteY4523" fmla="*/ 2080475 h 6386516"/>
              <a:gd name="connsiteX4524" fmla="*/ 2221590 w 6789110"/>
              <a:gd name="connsiteY4524" fmla="*/ 2080475 h 6386516"/>
              <a:gd name="connsiteX4525" fmla="*/ 2215815 w 6789110"/>
              <a:gd name="connsiteY4525" fmla="*/ 2092024 h 6386516"/>
              <a:gd name="connsiteX4526" fmla="*/ 2215815 w 6789110"/>
              <a:gd name="connsiteY4526" fmla="*/ 2084326 h 6386516"/>
              <a:gd name="connsiteX4527" fmla="*/ 2211965 w 6789110"/>
              <a:gd name="connsiteY4527" fmla="*/ 2088174 h 6386516"/>
              <a:gd name="connsiteX4528" fmla="*/ 2206191 w 6789110"/>
              <a:gd name="connsiteY4528" fmla="*/ 2090099 h 6386516"/>
              <a:gd name="connsiteX4529" fmla="*/ 2210040 w 6789110"/>
              <a:gd name="connsiteY4529" fmla="*/ 2084326 h 6386516"/>
              <a:gd name="connsiteX4530" fmla="*/ 2206191 w 6789110"/>
              <a:gd name="connsiteY4530" fmla="*/ 2078550 h 6386516"/>
              <a:gd name="connsiteX4531" fmla="*/ 2175395 w 6789110"/>
              <a:gd name="connsiteY4531" fmla="*/ 2065075 h 6386516"/>
              <a:gd name="connsiteX4532" fmla="*/ 2181168 w 6789110"/>
              <a:gd name="connsiteY4532" fmla="*/ 2072774 h 6386516"/>
              <a:gd name="connsiteX4533" fmla="*/ 2175395 w 6789110"/>
              <a:gd name="connsiteY4533" fmla="*/ 2076625 h 6386516"/>
              <a:gd name="connsiteX4534" fmla="*/ 2175395 w 6789110"/>
              <a:gd name="connsiteY4534" fmla="*/ 2070849 h 6386516"/>
              <a:gd name="connsiteX4535" fmla="*/ 2167695 w 6789110"/>
              <a:gd name="connsiteY4535" fmla="*/ 2070849 h 6386516"/>
              <a:gd name="connsiteX4536" fmla="*/ 2181170 w 6789110"/>
              <a:gd name="connsiteY4536" fmla="*/ 2063150 h 6386516"/>
              <a:gd name="connsiteX4537" fmla="*/ 2186944 w 6789110"/>
              <a:gd name="connsiteY4537" fmla="*/ 2066999 h 6386516"/>
              <a:gd name="connsiteX4538" fmla="*/ 2181170 w 6789110"/>
              <a:gd name="connsiteY4538" fmla="*/ 2066999 h 6386516"/>
              <a:gd name="connsiteX4539" fmla="*/ 2260085 w 6789110"/>
              <a:gd name="connsiteY4539" fmla="*/ 2057377 h 6386516"/>
              <a:gd name="connsiteX4540" fmla="*/ 2265860 w 6789110"/>
              <a:gd name="connsiteY4540" fmla="*/ 2063152 h 6386516"/>
              <a:gd name="connsiteX4541" fmla="*/ 2269709 w 6789110"/>
              <a:gd name="connsiteY4541" fmla="*/ 2068928 h 6386516"/>
              <a:gd name="connsiteX4542" fmla="*/ 2275485 w 6789110"/>
              <a:gd name="connsiteY4542" fmla="*/ 2063152 h 6386516"/>
              <a:gd name="connsiteX4543" fmla="*/ 2265860 w 6789110"/>
              <a:gd name="connsiteY4543" fmla="*/ 2063152 h 6386516"/>
              <a:gd name="connsiteX4544" fmla="*/ 2269709 w 6789110"/>
              <a:gd name="connsiteY4544" fmla="*/ 2057377 h 6386516"/>
              <a:gd name="connsiteX4545" fmla="*/ 2131125 w 6789110"/>
              <a:gd name="connsiteY4545" fmla="*/ 2057377 h 6386516"/>
              <a:gd name="connsiteX4546" fmla="*/ 2138824 w 6789110"/>
              <a:gd name="connsiteY4546" fmla="*/ 2057377 h 6386516"/>
              <a:gd name="connsiteX4547" fmla="*/ 2138824 w 6789110"/>
              <a:gd name="connsiteY4547" fmla="*/ 2063152 h 6386516"/>
              <a:gd name="connsiteX4548" fmla="*/ 2171545 w 6789110"/>
              <a:gd name="connsiteY4548" fmla="*/ 2053524 h 6386516"/>
              <a:gd name="connsiteX4549" fmla="*/ 2181169 w 6789110"/>
              <a:gd name="connsiteY4549" fmla="*/ 2063150 h 6386516"/>
              <a:gd name="connsiteX4550" fmla="*/ 2175395 w 6789110"/>
              <a:gd name="connsiteY4550" fmla="*/ 2065075 h 6386516"/>
              <a:gd name="connsiteX4551" fmla="*/ 38881 w 6789110"/>
              <a:gd name="connsiteY4551" fmla="*/ 2049674 h 6386516"/>
              <a:gd name="connsiteX4552" fmla="*/ 25407 w 6789110"/>
              <a:gd name="connsiteY4552" fmla="*/ 2051599 h 6386516"/>
              <a:gd name="connsiteX4553" fmla="*/ 154368 w 6789110"/>
              <a:gd name="connsiteY4553" fmla="*/ 2165162 h 6386516"/>
              <a:gd name="connsiteX4554" fmla="*/ 38881 w 6789110"/>
              <a:gd name="connsiteY4554" fmla="*/ 2049674 h 6386516"/>
              <a:gd name="connsiteX4555" fmla="*/ 2158280 w 6789110"/>
              <a:gd name="connsiteY4555" fmla="*/ 2049170 h 6386516"/>
              <a:gd name="connsiteX4556" fmla="*/ 2160272 w 6789110"/>
              <a:gd name="connsiteY4556" fmla="*/ 2050730 h 6386516"/>
              <a:gd name="connsiteX4557" fmla="*/ 2159996 w 6789110"/>
              <a:gd name="connsiteY4557" fmla="*/ 2051601 h 6386516"/>
              <a:gd name="connsiteX4558" fmla="*/ 2231213 w 6789110"/>
              <a:gd name="connsiteY4558" fmla="*/ 2045825 h 6386516"/>
              <a:gd name="connsiteX4559" fmla="*/ 2231213 w 6789110"/>
              <a:gd name="connsiteY4559" fmla="*/ 2057377 h 6386516"/>
              <a:gd name="connsiteX4560" fmla="*/ 2240837 w 6789110"/>
              <a:gd name="connsiteY4560" fmla="*/ 2053526 h 6386516"/>
              <a:gd name="connsiteX4561" fmla="*/ 2219665 w 6789110"/>
              <a:gd name="connsiteY4561" fmla="*/ 2038125 h 6386516"/>
              <a:gd name="connsiteX4562" fmla="*/ 2219665 w 6789110"/>
              <a:gd name="connsiteY4562" fmla="*/ 2043900 h 6386516"/>
              <a:gd name="connsiteX4563" fmla="*/ 2229289 w 6789110"/>
              <a:gd name="connsiteY4563" fmla="*/ 2041975 h 6386516"/>
              <a:gd name="connsiteX4564" fmla="*/ 2123425 w 6789110"/>
              <a:gd name="connsiteY4564" fmla="*/ 2034275 h 6386516"/>
              <a:gd name="connsiteX4565" fmla="*/ 2146066 w 6789110"/>
              <a:gd name="connsiteY4565" fmla="*/ 2048208 h 6386516"/>
              <a:gd name="connsiteX4566" fmla="*/ 2146523 w 6789110"/>
              <a:gd name="connsiteY4566" fmla="*/ 2047751 h 6386516"/>
              <a:gd name="connsiteX4567" fmla="*/ 2159997 w 6789110"/>
              <a:gd name="connsiteY4567" fmla="*/ 2055451 h 6386516"/>
              <a:gd name="connsiteX4568" fmla="*/ 2156147 w 6789110"/>
              <a:gd name="connsiteY4568" fmla="*/ 2059302 h 6386516"/>
              <a:gd name="connsiteX4569" fmla="*/ 2167697 w 6789110"/>
              <a:gd name="connsiteY4569" fmla="*/ 2078552 h 6386516"/>
              <a:gd name="connsiteX4570" fmla="*/ 2159997 w 6789110"/>
              <a:gd name="connsiteY4570" fmla="*/ 2082402 h 6386516"/>
              <a:gd name="connsiteX4571" fmla="*/ 2150374 w 6789110"/>
              <a:gd name="connsiteY4571" fmla="*/ 2076629 h 6386516"/>
              <a:gd name="connsiteX4572" fmla="*/ 2150374 w 6789110"/>
              <a:gd name="connsiteY4572" fmla="*/ 2084330 h 6386516"/>
              <a:gd name="connsiteX4573" fmla="*/ 2142673 w 6789110"/>
              <a:gd name="connsiteY4573" fmla="*/ 2078552 h 6386516"/>
              <a:gd name="connsiteX4574" fmla="*/ 2142673 w 6789110"/>
              <a:gd name="connsiteY4574" fmla="*/ 2080477 h 6386516"/>
              <a:gd name="connsiteX4575" fmla="*/ 2136899 w 6789110"/>
              <a:gd name="connsiteY4575" fmla="*/ 2076629 h 6386516"/>
              <a:gd name="connsiteX4576" fmla="*/ 2142673 w 6789110"/>
              <a:gd name="connsiteY4576" fmla="*/ 2070853 h 6386516"/>
              <a:gd name="connsiteX4577" fmla="*/ 2133050 w 6789110"/>
              <a:gd name="connsiteY4577" fmla="*/ 2070853 h 6386516"/>
              <a:gd name="connsiteX4578" fmla="*/ 2133050 w 6789110"/>
              <a:gd name="connsiteY4578" fmla="*/ 2072781 h 6386516"/>
              <a:gd name="connsiteX4579" fmla="*/ 2129201 w 6789110"/>
              <a:gd name="connsiteY4579" fmla="*/ 2068928 h 6386516"/>
              <a:gd name="connsiteX4580" fmla="*/ 2131767 w 6789110"/>
              <a:gd name="connsiteY4580" fmla="*/ 2068928 h 6386516"/>
              <a:gd name="connsiteX4581" fmla="*/ 2129200 w 6789110"/>
              <a:gd name="connsiteY4581" fmla="*/ 2065078 h 6386516"/>
              <a:gd name="connsiteX4582" fmla="*/ 2144598 w 6789110"/>
              <a:gd name="connsiteY4582" fmla="*/ 2065078 h 6386516"/>
              <a:gd name="connsiteX4583" fmla="*/ 2140749 w 6789110"/>
              <a:gd name="connsiteY4583" fmla="*/ 2053526 h 6386516"/>
              <a:gd name="connsiteX4584" fmla="*/ 2145700 w 6789110"/>
              <a:gd name="connsiteY4584" fmla="*/ 2048576 h 6386516"/>
              <a:gd name="connsiteX4585" fmla="*/ 2138824 w 6789110"/>
              <a:gd name="connsiteY4585" fmla="*/ 2045825 h 6386516"/>
              <a:gd name="connsiteX4586" fmla="*/ 2138824 w 6789110"/>
              <a:gd name="connsiteY4586" fmla="*/ 2051599 h 6386516"/>
              <a:gd name="connsiteX4587" fmla="*/ 2123425 w 6789110"/>
              <a:gd name="connsiteY4587" fmla="*/ 2057375 h 6386516"/>
              <a:gd name="connsiteX4588" fmla="*/ 2117652 w 6789110"/>
              <a:gd name="connsiteY4588" fmla="*/ 2051601 h 6386516"/>
              <a:gd name="connsiteX4589" fmla="*/ 2119577 w 6789110"/>
              <a:gd name="connsiteY4589" fmla="*/ 2063150 h 6386516"/>
              <a:gd name="connsiteX4590" fmla="*/ 2108027 w 6789110"/>
              <a:gd name="connsiteY4590" fmla="*/ 2051599 h 6386516"/>
              <a:gd name="connsiteX4591" fmla="*/ 2117651 w 6789110"/>
              <a:gd name="connsiteY4591" fmla="*/ 2051599 h 6386516"/>
              <a:gd name="connsiteX4592" fmla="*/ 2123185 w 6789110"/>
              <a:gd name="connsiteY4592" fmla="*/ 2048952 h 6386516"/>
              <a:gd name="connsiteX4593" fmla="*/ 2133050 w 6789110"/>
              <a:gd name="connsiteY4593" fmla="*/ 2047749 h 6386516"/>
              <a:gd name="connsiteX4594" fmla="*/ 2121501 w 6789110"/>
              <a:gd name="connsiteY4594" fmla="*/ 2036200 h 6386516"/>
              <a:gd name="connsiteX4595" fmla="*/ 2138931 w 6789110"/>
              <a:gd name="connsiteY4595" fmla="*/ 2034027 h 6386516"/>
              <a:gd name="connsiteX4596" fmla="*/ 2146570 w 6789110"/>
              <a:gd name="connsiteY4596" fmla="*/ 2040004 h 6386516"/>
              <a:gd name="connsiteX4597" fmla="*/ 2146523 w 6789110"/>
              <a:gd name="connsiteY4597" fmla="*/ 2040050 h 6386516"/>
              <a:gd name="connsiteX4598" fmla="*/ 2138824 w 6789110"/>
              <a:gd name="connsiteY4598" fmla="*/ 2034278 h 6386516"/>
              <a:gd name="connsiteX4599" fmla="*/ 710632 w 6789110"/>
              <a:gd name="connsiteY4599" fmla="*/ 2032351 h 6386516"/>
              <a:gd name="connsiteX4600" fmla="*/ 962779 w 6789110"/>
              <a:gd name="connsiteY4600" fmla="*/ 2118967 h 6386516"/>
              <a:gd name="connsiteX4601" fmla="*/ 1397782 w 6789110"/>
              <a:gd name="connsiteY4601" fmla="*/ 2159388 h 6386516"/>
              <a:gd name="connsiteX4602" fmla="*/ 710632 w 6789110"/>
              <a:gd name="connsiteY4602" fmla="*/ 2032351 h 6386516"/>
              <a:gd name="connsiteX4603" fmla="*/ 2183094 w 6789110"/>
              <a:gd name="connsiteY4603" fmla="*/ 2030428 h 6386516"/>
              <a:gd name="connsiteX4604" fmla="*/ 2186943 w 6789110"/>
              <a:gd name="connsiteY4604" fmla="*/ 2036201 h 6386516"/>
              <a:gd name="connsiteX4605" fmla="*/ 2192718 w 6789110"/>
              <a:gd name="connsiteY4605" fmla="*/ 2030428 h 6386516"/>
              <a:gd name="connsiteX4606" fmla="*/ 2225439 w 6789110"/>
              <a:gd name="connsiteY4606" fmla="*/ 2026579 h 6386516"/>
              <a:gd name="connsiteX4607" fmla="*/ 2210041 w 6789110"/>
              <a:gd name="connsiteY4607" fmla="*/ 2034278 h 6386516"/>
              <a:gd name="connsiteX4608" fmla="*/ 2213891 w 6789110"/>
              <a:gd name="connsiteY4608" fmla="*/ 2038125 h 6386516"/>
              <a:gd name="connsiteX4609" fmla="*/ 2202342 w 6789110"/>
              <a:gd name="connsiteY4609" fmla="*/ 2026579 h 6386516"/>
              <a:gd name="connsiteX4610" fmla="*/ 2196567 w 6789110"/>
              <a:gd name="connsiteY4610" fmla="*/ 2032353 h 6386516"/>
              <a:gd name="connsiteX4611" fmla="*/ 2202342 w 6789110"/>
              <a:gd name="connsiteY4611" fmla="*/ 2032353 h 6386516"/>
              <a:gd name="connsiteX4612" fmla="*/ 2106103 w 6789110"/>
              <a:gd name="connsiteY4612" fmla="*/ 2026579 h 6386516"/>
              <a:gd name="connsiteX4613" fmla="*/ 2100328 w 6789110"/>
              <a:gd name="connsiteY4613" fmla="*/ 2038125 h 6386516"/>
              <a:gd name="connsiteX4614" fmla="*/ 2086854 w 6789110"/>
              <a:gd name="connsiteY4614" fmla="*/ 2034276 h 6386516"/>
              <a:gd name="connsiteX4615" fmla="*/ 2102253 w 6789110"/>
              <a:gd name="connsiteY4615" fmla="*/ 2032353 h 6386516"/>
              <a:gd name="connsiteX4616" fmla="*/ 2106103 w 6789110"/>
              <a:gd name="connsiteY4616" fmla="*/ 2026579 h 6386516"/>
              <a:gd name="connsiteX4617" fmla="*/ 2129225 w 6789110"/>
              <a:gd name="connsiteY4617" fmla="*/ 2026431 h 6386516"/>
              <a:gd name="connsiteX4618" fmla="*/ 2129314 w 6789110"/>
              <a:gd name="connsiteY4618" fmla="*/ 2026500 h 6386516"/>
              <a:gd name="connsiteX4619" fmla="*/ 2129200 w 6789110"/>
              <a:gd name="connsiteY4619" fmla="*/ 2026579 h 6386516"/>
              <a:gd name="connsiteX4620" fmla="*/ 4229143 w 6789110"/>
              <a:gd name="connsiteY4620" fmla="*/ 2024665 h 6386516"/>
              <a:gd name="connsiteX4621" fmla="*/ 4186798 w 6789110"/>
              <a:gd name="connsiteY4621" fmla="*/ 2043913 h 6386516"/>
              <a:gd name="connsiteX4622" fmla="*/ 4188723 w 6789110"/>
              <a:gd name="connsiteY4622" fmla="*/ 2067026 h 6386516"/>
              <a:gd name="connsiteX4623" fmla="*/ 4192572 w 6789110"/>
              <a:gd name="connsiteY4623" fmla="*/ 2074727 h 6386516"/>
              <a:gd name="connsiteX4624" fmla="*/ 4221444 w 6789110"/>
              <a:gd name="connsiteY4624" fmla="*/ 2061250 h 6386516"/>
              <a:gd name="connsiteX4625" fmla="*/ 4229143 w 6789110"/>
              <a:gd name="connsiteY4625" fmla="*/ 2024665 h 6386516"/>
              <a:gd name="connsiteX4626" fmla="*/ 810721 w 6789110"/>
              <a:gd name="connsiteY4626" fmla="*/ 2024652 h 6386516"/>
              <a:gd name="connsiteX4627" fmla="*/ 1228400 w 6789110"/>
              <a:gd name="connsiteY4627" fmla="*/ 2105493 h 6386516"/>
              <a:gd name="connsiteX4628" fmla="*/ 810721 w 6789110"/>
              <a:gd name="connsiteY4628" fmla="*/ 2024652 h 6386516"/>
              <a:gd name="connsiteX4629" fmla="*/ 1994466 w 6789110"/>
              <a:gd name="connsiteY4629" fmla="*/ 2020808 h 6386516"/>
              <a:gd name="connsiteX4630" fmla="*/ 1994466 w 6789110"/>
              <a:gd name="connsiteY4630" fmla="*/ 2026580 h 6386516"/>
              <a:gd name="connsiteX4631" fmla="*/ 1988692 w 6789110"/>
              <a:gd name="connsiteY4631" fmla="*/ 2026580 h 6386516"/>
              <a:gd name="connsiteX4632" fmla="*/ 2144598 w 6789110"/>
              <a:gd name="connsiteY4632" fmla="*/ 2020806 h 6386516"/>
              <a:gd name="connsiteX4633" fmla="*/ 2138931 w 6789110"/>
              <a:gd name="connsiteY4633" fmla="*/ 2034027 h 6386516"/>
              <a:gd name="connsiteX4634" fmla="*/ 2129314 w 6789110"/>
              <a:gd name="connsiteY4634" fmla="*/ 2026500 h 6386516"/>
              <a:gd name="connsiteX4635" fmla="*/ 2135455 w 6789110"/>
              <a:gd name="connsiteY4635" fmla="*/ 2022250 h 6386516"/>
              <a:gd name="connsiteX4636" fmla="*/ 2144598 w 6789110"/>
              <a:gd name="connsiteY4636" fmla="*/ 2020806 h 6386516"/>
              <a:gd name="connsiteX4637" fmla="*/ 5362362 w 6789110"/>
              <a:gd name="connsiteY4637" fmla="*/ 2017693 h 6386516"/>
              <a:gd name="connsiteX4638" fmla="*/ 5372467 w 6789110"/>
              <a:gd name="connsiteY4638" fmla="*/ 2022740 h 6386516"/>
              <a:gd name="connsiteX4639" fmla="*/ 5364768 w 6789110"/>
              <a:gd name="connsiteY4639" fmla="*/ 2036216 h 6386516"/>
              <a:gd name="connsiteX4640" fmla="*/ 5355144 w 6789110"/>
              <a:gd name="connsiteY4640" fmla="*/ 2022740 h 6386516"/>
              <a:gd name="connsiteX4641" fmla="*/ 5362362 w 6789110"/>
              <a:gd name="connsiteY4641" fmla="*/ 2017693 h 6386516"/>
              <a:gd name="connsiteX4642" fmla="*/ 2233138 w 6789110"/>
              <a:gd name="connsiteY4642" fmla="*/ 2016957 h 6386516"/>
              <a:gd name="connsiteX4643" fmla="*/ 2233138 w 6789110"/>
              <a:gd name="connsiteY4643" fmla="*/ 2022731 h 6386516"/>
              <a:gd name="connsiteX4644" fmla="*/ 2238914 w 6789110"/>
              <a:gd name="connsiteY4644" fmla="*/ 2016957 h 6386516"/>
              <a:gd name="connsiteX4645" fmla="*/ 2079155 w 6789110"/>
              <a:gd name="connsiteY4645" fmla="*/ 2013111 h 6386516"/>
              <a:gd name="connsiteX4646" fmla="*/ 2084930 w 6789110"/>
              <a:gd name="connsiteY4646" fmla="*/ 2016959 h 6386516"/>
              <a:gd name="connsiteX4647" fmla="*/ 2079155 w 6789110"/>
              <a:gd name="connsiteY4647" fmla="*/ 2022731 h 6386516"/>
              <a:gd name="connsiteX4648" fmla="*/ 2075306 w 6789110"/>
              <a:gd name="connsiteY4648" fmla="*/ 2018881 h 6386516"/>
              <a:gd name="connsiteX4649" fmla="*/ 2219665 w 6789110"/>
              <a:gd name="connsiteY4649" fmla="*/ 2007338 h 6386516"/>
              <a:gd name="connsiteX4650" fmla="*/ 2229289 w 6789110"/>
              <a:gd name="connsiteY4650" fmla="*/ 2020806 h 6386516"/>
              <a:gd name="connsiteX4651" fmla="*/ 2219665 w 6789110"/>
              <a:gd name="connsiteY4651" fmla="*/ 2007338 h 6386516"/>
              <a:gd name="connsiteX4652" fmla="*/ 4232993 w 6789110"/>
              <a:gd name="connsiteY4652" fmla="*/ 2003502 h 6386516"/>
              <a:gd name="connsiteX4653" fmla="*/ 4200271 w 6789110"/>
              <a:gd name="connsiteY4653" fmla="*/ 2026590 h 6386516"/>
              <a:gd name="connsiteX4654" fmla="*/ 4231068 w 6789110"/>
              <a:gd name="connsiteY4654" fmla="*/ 2011201 h 6386516"/>
              <a:gd name="connsiteX4655" fmla="*/ 4232993 w 6789110"/>
              <a:gd name="connsiteY4655" fmla="*/ 2003502 h 6386516"/>
              <a:gd name="connsiteX4656" fmla="*/ 2856770 w 6789110"/>
              <a:gd name="connsiteY4656" fmla="*/ 1997724 h 6386516"/>
              <a:gd name="connsiteX4657" fmla="*/ 2847146 w 6789110"/>
              <a:gd name="connsiteY4657" fmla="*/ 1999649 h 6386516"/>
              <a:gd name="connsiteX4658" fmla="*/ 2833672 w 6789110"/>
              <a:gd name="connsiteY4658" fmla="*/ 1999649 h 6386516"/>
              <a:gd name="connsiteX4659" fmla="*/ 2845221 w 6789110"/>
              <a:gd name="connsiteY4659" fmla="*/ 2040058 h 6386516"/>
              <a:gd name="connsiteX4660" fmla="*/ 2849070 w 6789110"/>
              <a:gd name="connsiteY4660" fmla="*/ 2018891 h 6386516"/>
              <a:gd name="connsiteX4661" fmla="*/ 2893341 w 6789110"/>
              <a:gd name="connsiteY4661" fmla="*/ 2184490 h 6386516"/>
              <a:gd name="connsiteX4662" fmla="*/ 2912588 w 6789110"/>
              <a:gd name="connsiteY4662" fmla="*/ 2180639 h 6386516"/>
              <a:gd name="connsiteX4663" fmla="*/ 2887567 w 6789110"/>
              <a:gd name="connsiteY4663" fmla="*/ 2063171 h 6386516"/>
              <a:gd name="connsiteX4664" fmla="*/ 2856770 w 6789110"/>
              <a:gd name="connsiteY4664" fmla="*/ 1997724 h 6386516"/>
              <a:gd name="connsiteX4665" fmla="*/ 2115726 w 6789110"/>
              <a:gd name="connsiteY4665" fmla="*/ 1997709 h 6386516"/>
              <a:gd name="connsiteX4666" fmla="*/ 2121501 w 6789110"/>
              <a:gd name="connsiteY4666" fmla="*/ 2001558 h 6386516"/>
              <a:gd name="connsiteX4667" fmla="*/ 2111877 w 6789110"/>
              <a:gd name="connsiteY4667" fmla="*/ 2003483 h 6386516"/>
              <a:gd name="connsiteX4668" fmla="*/ 2032962 w 6789110"/>
              <a:gd name="connsiteY4668" fmla="*/ 1991938 h 6386516"/>
              <a:gd name="connsiteX4669" fmla="*/ 2032962 w 6789110"/>
              <a:gd name="connsiteY4669" fmla="*/ 1999639 h 6386516"/>
              <a:gd name="connsiteX4670" fmla="*/ 2027187 w 6789110"/>
              <a:gd name="connsiteY4670" fmla="*/ 1997714 h 6386516"/>
              <a:gd name="connsiteX4671" fmla="*/ 2092629 w 6789110"/>
              <a:gd name="connsiteY4671" fmla="*/ 1991930 h 6386516"/>
              <a:gd name="connsiteX4672" fmla="*/ 2098403 w 6789110"/>
              <a:gd name="connsiteY4672" fmla="*/ 1997704 h 6386516"/>
              <a:gd name="connsiteX4673" fmla="*/ 2094554 w 6789110"/>
              <a:gd name="connsiteY4673" fmla="*/ 1999630 h 6386516"/>
              <a:gd name="connsiteX4674" fmla="*/ 2088780 w 6789110"/>
              <a:gd name="connsiteY4674" fmla="*/ 1995780 h 6386516"/>
              <a:gd name="connsiteX4675" fmla="*/ 4309984 w 6789110"/>
              <a:gd name="connsiteY4675" fmla="*/ 1990030 h 6386516"/>
              <a:gd name="connsiteX4676" fmla="*/ 4252241 w 6789110"/>
              <a:gd name="connsiteY4676" fmla="*/ 2015047 h 6386516"/>
              <a:gd name="connsiteX4677" fmla="*/ 4250316 w 6789110"/>
              <a:gd name="connsiteY4677" fmla="*/ 2047763 h 6386516"/>
              <a:gd name="connsiteX4678" fmla="*/ 4309984 w 6789110"/>
              <a:gd name="connsiteY4678" fmla="*/ 2020817 h 6386516"/>
              <a:gd name="connsiteX4679" fmla="*/ 4309984 w 6789110"/>
              <a:gd name="connsiteY4679" fmla="*/ 1990030 h 6386516"/>
              <a:gd name="connsiteX4680" fmla="*/ 2267784 w 6789110"/>
              <a:gd name="connsiteY4680" fmla="*/ 1990011 h 6386516"/>
              <a:gd name="connsiteX4681" fmla="*/ 2262010 w 6789110"/>
              <a:gd name="connsiteY4681" fmla="*/ 1995786 h 6386516"/>
              <a:gd name="connsiteX4682" fmla="*/ 2267784 w 6789110"/>
              <a:gd name="connsiteY4682" fmla="*/ 1995786 h 6386516"/>
              <a:gd name="connsiteX4683" fmla="*/ 2186943 w 6789110"/>
              <a:gd name="connsiteY4683" fmla="*/ 1988088 h 6386516"/>
              <a:gd name="connsiteX4684" fmla="*/ 2183094 w 6789110"/>
              <a:gd name="connsiteY4684" fmla="*/ 1990011 h 6386516"/>
              <a:gd name="connsiteX4685" fmla="*/ 2188868 w 6789110"/>
              <a:gd name="connsiteY4685" fmla="*/ 1997712 h 6386516"/>
              <a:gd name="connsiteX4686" fmla="*/ 2186943 w 6789110"/>
              <a:gd name="connsiteY4686" fmla="*/ 2001562 h 6386516"/>
              <a:gd name="connsiteX4687" fmla="*/ 2179244 w 6789110"/>
              <a:gd name="connsiteY4687" fmla="*/ 1995786 h 6386516"/>
              <a:gd name="connsiteX4688" fmla="*/ 2173470 w 6789110"/>
              <a:gd name="connsiteY4688" fmla="*/ 2001562 h 6386516"/>
              <a:gd name="connsiteX4689" fmla="*/ 2169621 w 6789110"/>
              <a:gd name="connsiteY4689" fmla="*/ 1999637 h 6386516"/>
              <a:gd name="connsiteX4690" fmla="*/ 2173470 w 6789110"/>
              <a:gd name="connsiteY4690" fmla="*/ 1993861 h 6386516"/>
              <a:gd name="connsiteX4691" fmla="*/ 2163847 w 6789110"/>
              <a:gd name="connsiteY4691" fmla="*/ 1993861 h 6386516"/>
              <a:gd name="connsiteX4692" fmla="*/ 2167696 w 6789110"/>
              <a:gd name="connsiteY4692" fmla="*/ 2005412 h 6386516"/>
              <a:gd name="connsiteX4693" fmla="*/ 2173470 w 6789110"/>
              <a:gd name="connsiteY4693" fmla="*/ 2001562 h 6386516"/>
              <a:gd name="connsiteX4694" fmla="*/ 2177320 w 6789110"/>
              <a:gd name="connsiteY4694" fmla="*/ 2007338 h 6386516"/>
              <a:gd name="connsiteX4695" fmla="*/ 2165771 w 6789110"/>
              <a:gd name="connsiteY4695" fmla="*/ 2009260 h 6386516"/>
              <a:gd name="connsiteX4696" fmla="*/ 2165771 w 6789110"/>
              <a:gd name="connsiteY4696" fmla="*/ 2011184 h 6386516"/>
              <a:gd name="connsiteX4697" fmla="*/ 2177320 w 6789110"/>
              <a:gd name="connsiteY4697" fmla="*/ 2013108 h 6386516"/>
              <a:gd name="connsiteX4698" fmla="*/ 2186943 w 6789110"/>
              <a:gd name="connsiteY4698" fmla="*/ 2001562 h 6386516"/>
              <a:gd name="connsiteX4699" fmla="*/ 2190153 w 6789110"/>
              <a:gd name="connsiteY4699" fmla="*/ 2003701 h 6386516"/>
              <a:gd name="connsiteX4700" fmla="*/ 2188868 w 6789110"/>
              <a:gd name="connsiteY4700" fmla="*/ 2005412 h 6386516"/>
              <a:gd name="connsiteX4701" fmla="*/ 2191476 w 6789110"/>
              <a:gd name="connsiteY4701" fmla="*/ 2006902 h 6386516"/>
              <a:gd name="connsiteX4702" fmla="*/ 2183094 w 6789110"/>
              <a:gd name="connsiteY4702" fmla="*/ 2016957 h 6386516"/>
              <a:gd name="connsiteX4703" fmla="*/ 2192718 w 6789110"/>
              <a:gd name="connsiteY4703" fmla="*/ 2016957 h 6386516"/>
              <a:gd name="connsiteX4704" fmla="*/ 2188868 w 6789110"/>
              <a:gd name="connsiteY4704" fmla="*/ 2022731 h 6386516"/>
              <a:gd name="connsiteX4705" fmla="*/ 2198492 w 6789110"/>
              <a:gd name="connsiteY4705" fmla="*/ 2018881 h 6386516"/>
              <a:gd name="connsiteX4706" fmla="*/ 2208116 w 6789110"/>
              <a:gd name="connsiteY4706" fmla="*/ 2020806 h 6386516"/>
              <a:gd name="connsiteX4707" fmla="*/ 2208116 w 6789110"/>
              <a:gd name="connsiteY4707" fmla="*/ 2015033 h 6386516"/>
              <a:gd name="connsiteX4708" fmla="*/ 2217740 w 6789110"/>
              <a:gd name="connsiteY4708" fmla="*/ 2015033 h 6386516"/>
              <a:gd name="connsiteX4709" fmla="*/ 2217740 w 6789110"/>
              <a:gd name="connsiteY4709" fmla="*/ 2013108 h 6386516"/>
              <a:gd name="connsiteX4710" fmla="*/ 2208116 w 6789110"/>
              <a:gd name="connsiteY4710" fmla="*/ 2013108 h 6386516"/>
              <a:gd name="connsiteX4711" fmla="*/ 2202342 w 6789110"/>
              <a:gd name="connsiteY4711" fmla="*/ 2013108 h 6386516"/>
              <a:gd name="connsiteX4712" fmla="*/ 2191476 w 6789110"/>
              <a:gd name="connsiteY4712" fmla="*/ 2006902 h 6386516"/>
              <a:gd name="connsiteX4713" fmla="*/ 2192718 w 6789110"/>
              <a:gd name="connsiteY4713" fmla="*/ 2005412 h 6386516"/>
              <a:gd name="connsiteX4714" fmla="*/ 2190153 w 6789110"/>
              <a:gd name="connsiteY4714" fmla="*/ 2003701 h 6386516"/>
              <a:gd name="connsiteX4715" fmla="*/ 2194642 w 6789110"/>
              <a:gd name="connsiteY4715" fmla="*/ 1997712 h 6386516"/>
              <a:gd name="connsiteX4716" fmla="*/ 2186943 w 6789110"/>
              <a:gd name="connsiteY4716" fmla="*/ 1988088 h 6386516"/>
              <a:gd name="connsiteX4717" fmla="*/ 2204266 w 6789110"/>
              <a:gd name="connsiteY4717" fmla="*/ 1984239 h 6386516"/>
              <a:gd name="connsiteX4718" fmla="*/ 2202342 w 6789110"/>
              <a:gd name="connsiteY4718" fmla="*/ 1993861 h 6386516"/>
              <a:gd name="connsiteX4719" fmla="*/ 2211966 w 6789110"/>
              <a:gd name="connsiteY4719" fmla="*/ 1993861 h 6386516"/>
              <a:gd name="connsiteX4720" fmla="*/ 2210041 w 6789110"/>
              <a:gd name="connsiteY4720" fmla="*/ 1988088 h 6386516"/>
              <a:gd name="connsiteX4721" fmla="*/ 2204266 w 6789110"/>
              <a:gd name="connsiteY4721" fmla="*/ 1984239 h 6386516"/>
              <a:gd name="connsiteX4722" fmla="*/ 2129200 w 6789110"/>
              <a:gd name="connsiteY4722" fmla="*/ 1978462 h 6386516"/>
              <a:gd name="connsiteX4723" fmla="*/ 2138826 w 6789110"/>
              <a:gd name="connsiteY4723" fmla="*/ 1978462 h 6386516"/>
              <a:gd name="connsiteX4724" fmla="*/ 2134975 w 6789110"/>
              <a:gd name="connsiteY4724" fmla="*/ 1990011 h 6386516"/>
              <a:gd name="connsiteX4725" fmla="*/ 2127275 w 6789110"/>
              <a:gd name="connsiteY4725" fmla="*/ 1990011 h 6386516"/>
              <a:gd name="connsiteX4726" fmla="*/ 2117651 w 6789110"/>
              <a:gd name="connsiteY4726" fmla="*/ 1986161 h 6386516"/>
              <a:gd name="connsiteX4727" fmla="*/ 2129200 w 6789110"/>
              <a:gd name="connsiteY4727" fmla="*/ 1978462 h 6386516"/>
              <a:gd name="connsiteX4728" fmla="*/ 2100329 w 6789110"/>
              <a:gd name="connsiteY4728" fmla="*/ 1970764 h 6386516"/>
              <a:gd name="connsiteX4729" fmla="*/ 2100329 w 6789110"/>
              <a:gd name="connsiteY4729" fmla="*/ 1976538 h 6386516"/>
              <a:gd name="connsiteX4730" fmla="*/ 2092630 w 6789110"/>
              <a:gd name="connsiteY4730" fmla="*/ 1976538 h 6386516"/>
              <a:gd name="connsiteX4731" fmla="*/ 2133050 w 6789110"/>
              <a:gd name="connsiteY4731" fmla="*/ 1970763 h 6386516"/>
              <a:gd name="connsiteX4732" fmla="*/ 2138824 w 6789110"/>
              <a:gd name="connsiteY4732" fmla="*/ 1974612 h 6386516"/>
              <a:gd name="connsiteX4733" fmla="*/ 2129200 w 6789110"/>
              <a:gd name="connsiteY4733" fmla="*/ 1976537 h 6386516"/>
              <a:gd name="connsiteX4734" fmla="*/ 4300360 w 6789110"/>
              <a:gd name="connsiteY4734" fmla="*/ 1963097 h 6386516"/>
              <a:gd name="connsiteX4735" fmla="*/ 4256090 w 6789110"/>
              <a:gd name="connsiteY4735" fmla="*/ 1984259 h 6386516"/>
              <a:gd name="connsiteX4736" fmla="*/ 4254165 w 6789110"/>
              <a:gd name="connsiteY4736" fmla="*/ 2001579 h 6386516"/>
              <a:gd name="connsiteX4737" fmla="*/ 4306134 w 6789110"/>
              <a:gd name="connsiteY4737" fmla="*/ 1976566 h 6386516"/>
              <a:gd name="connsiteX4738" fmla="*/ 4300360 w 6789110"/>
              <a:gd name="connsiteY4738" fmla="*/ 1963097 h 6386516"/>
              <a:gd name="connsiteX4739" fmla="*/ 5588043 w 6789110"/>
              <a:gd name="connsiteY4739" fmla="*/ 1961192 h 6386516"/>
              <a:gd name="connsiteX4740" fmla="*/ 5512976 w 6789110"/>
              <a:gd name="connsiteY4740" fmla="*/ 2016970 h 6386516"/>
              <a:gd name="connsiteX4741" fmla="*/ 5559171 w 6789110"/>
              <a:gd name="connsiteY4741" fmla="*/ 1976566 h 6386516"/>
              <a:gd name="connsiteX4742" fmla="*/ 5588043 w 6789110"/>
              <a:gd name="connsiteY4742" fmla="*/ 1961192 h 6386516"/>
              <a:gd name="connsiteX4743" fmla="*/ 2183094 w 6789110"/>
              <a:gd name="connsiteY4743" fmla="*/ 1959226 h 6386516"/>
              <a:gd name="connsiteX4744" fmla="*/ 2188868 w 6789110"/>
              <a:gd name="connsiteY4744" fmla="*/ 1970768 h 6386516"/>
              <a:gd name="connsiteX4745" fmla="*/ 2192718 w 6789110"/>
              <a:gd name="connsiteY4745" fmla="*/ 1959226 h 6386516"/>
              <a:gd name="connsiteX4746" fmla="*/ 2158073 w 6789110"/>
              <a:gd name="connsiteY4746" fmla="*/ 1959226 h 6386516"/>
              <a:gd name="connsiteX4747" fmla="*/ 2161921 w 6789110"/>
              <a:gd name="connsiteY4747" fmla="*/ 1970768 h 6386516"/>
              <a:gd name="connsiteX4748" fmla="*/ 2167696 w 6789110"/>
              <a:gd name="connsiteY4748" fmla="*/ 1964993 h 6386516"/>
              <a:gd name="connsiteX4749" fmla="*/ 2161921 w 6789110"/>
              <a:gd name="connsiteY4749" fmla="*/ 1963068 h 6386516"/>
              <a:gd name="connsiteX4750" fmla="*/ 2158073 w 6789110"/>
              <a:gd name="connsiteY4750" fmla="*/ 1959226 h 6386516"/>
              <a:gd name="connsiteX4751" fmla="*/ 1934797 w 6789110"/>
              <a:gd name="connsiteY4751" fmla="*/ 1949612 h 6386516"/>
              <a:gd name="connsiteX4752" fmla="*/ 1940571 w 6789110"/>
              <a:gd name="connsiteY4752" fmla="*/ 1951535 h 6386516"/>
              <a:gd name="connsiteX4753" fmla="*/ 1934797 w 6789110"/>
              <a:gd name="connsiteY4753" fmla="*/ 1957312 h 6386516"/>
              <a:gd name="connsiteX4754" fmla="*/ 1932872 w 6789110"/>
              <a:gd name="connsiteY4754" fmla="*/ 1953461 h 6386516"/>
              <a:gd name="connsiteX4755" fmla="*/ 2133771 w 6789110"/>
              <a:gd name="connsiteY4755" fmla="*/ 1942378 h 6386516"/>
              <a:gd name="connsiteX4756" fmla="*/ 2138824 w 6789110"/>
              <a:gd name="connsiteY4756" fmla="*/ 1947670 h 6386516"/>
              <a:gd name="connsiteX4757" fmla="*/ 2129199 w 6789110"/>
              <a:gd name="connsiteY4757" fmla="*/ 1947670 h 6386516"/>
              <a:gd name="connsiteX4758" fmla="*/ 2123425 w 6789110"/>
              <a:gd name="connsiteY4758" fmla="*/ 1947670 h 6386516"/>
              <a:gd name="connsiteX4759" fmla="*/ 2119577 w 6789110"/>
              <a:gd name="connsiteY4759" fmla="*/ 1959220 h 6386516"/>
              <a:gd name="connsiteX4760" fmla="*/ 2106102 w 6789110"/>
              <a:gd name="connsiteY4760" fmla="*/ 1953444 h 6386516"/>
              <a:gd name="connsiteX4761" fmla="*/ 2117651 w 6789110"/>
              <a:gd name="connsiteY4761" fmla="*/ 1951520 h 6386516"/>
              <a:gd name="connsiteX4762" fmla="*/ 2117651 w 6789110"/>
              <a:gd name="connsiteY4762" fmla="*/ 1945745 h 6386516"/>
              <a:gd name="connsiteX4763" fmla="*/ 2127275 w 6789110"/>
              <a:gd name="connsiteY4763" fmla="*/ 1945745 h 6386516"/>
              <a:gd name="connsiteX4764" fmla="*/ 2133771 w 6789110"/>
              <a:gd name="connsiteY4764" fmla="*/ 1942378 h 6386516"/>
              <a:gd name="connsiteX4765" fmla="*/ 2079156 w 6789110"/>
              <a:gd name="connsiteY4765" fmla="*/ 1941909 h 6386516"/>
              <a:gd name="connsiteX4766" fmla="*/ 2084930 w 6789110"/>
              <a:gd name="connsiteY4766" fmla="*/ 1941909 h 6386516"/>
              <a:gd name="connsiteX4767" fmla="*/ 2084930 w 6789110"/>
              <a:gd name="connsiteY4767" fmla="*/ 1949608 h 6386516"/>
              <a:gd name="connsiteX4768" fmla="*/ 2079156 w 6789110"/>
              <a:gd name="connsiteY4768" fmla="*/ 1941909 h 6386516"/>
              <a:gd name="connsiteX4769" fmla="*/ 4286887 w 6789110"/>
              <a:gd name="connsiteY4769" fmla="*/ 1940018 h 6386516"/>
              <a:gd name="connsiteX4770" fmla="*/ 4269564 w 6789110"/>
              <a:gd name="connsiteY4770" fmla="*/ 1941942 h 6386516"/>
              <a:gd name="connsiteX4771" fmla="*/ 4263789 w 6789110"/>
              <a:gd name="connsiteY4771" fmla="*/ 1949640 h 6386516"/>
              <a:gd name="connsiteX4772" fmla="*/ 4286887 w 6789110"/>
              <a:gd name="connsiteY4772" fmla="*/ 1940018 h 6386516"/>
              <a:gd name="connsiteX4773" fmla="*/ 2067608 w 6789110"/>
              <a:gd name="connsiteY4773" fmla="*/ 1938059 h 6386516"/>
              <a:gd name="connsiteX4774" fmla="*/ 2073382 w 6789110"/>
              <a:gd name="connsiteY4774" fmla="*/ 1943833 h 6386516"/>
              <a:gd name="connsiteX4775" fmla="*/ 2065683 w 6789110"/>
              <a:gd name="connsiteY4775" fmla="*/ 1943833 h 6386516"/>
              <a:gd name="connsiteX4776" fmla="*/ 2111877 w 6789110"/>
              <a:gd name="connsiteY4776" fmla="*/ 1936123 h 6386516"/>
              <a:gd name="connsiteX4777" fmla="*/ 2127276 w 6789110"/>
              <a:gd name="connsiteY4777" fmla="*/ 1936123 h 6386516"/>
              <a:gd name="connsiteX4778" fmla="*/ 2127276 w 6789110"/>
              <a:gd name="connsiteY4778" fmla="*/ 1943822 h 6386516"/>
              <a:gd name="connsiteX4779" fmla="*/ 2111877 w 6789110"/>
              <a:gd name="connsiteY4779" fmla="*/ 1936123 h 6386516"/>
              <a:gd name="connsiteX4780" fmla="*/ 5878685 w 6789110"/>
              <a:gd name="connsiteY4780" fmla="*/ 1934246 h 6386516"/>
              <a:gd name="connsiteX4781" fmla="*/ 5872911 w 6789110"/>
              <a:gd name="connsiteY4781" fmla="*/ 1945796 h 6386516"/>
              <a:gd name="connsiteX4782" fmla="*/ 5799769 w 6789110"/>
              <a:gd name="connsiteY4782" fmla="*/ 1966939 h 6386516"/>
              <a:gd name="connsiteX4783" fmla="*/ 5793995 w 6789110"/>
              <a:gd name="connsiteY4783" fmla="*/ 1961192 h 6386516"/>
              <a:gd name="connsiteX4784" fmla="*/ 5878685 w 6789110"/>
              <a:gd name="connsiteY4784" fmla="*/ 1934246 h 6386516"/>
              <a:gd name="connsiteX4785" fmla="*/ 2198492 w 6789110"/>
              <a:gd name="connsiteY4785" fmla="*/ 1928428 h 6386516"/>
              <a:gd name="connsiteX4786" fmla="*/ 2188868 w 6789110"/>
              <a:gd name="connsiteY4786" fmla="*/ 1932279 h 6386516"/>
              <a:gd name="connsiteX4787" fmla="*/ 2196567 w 6789110"/>
              <a:gd name="connsiteY4787" fmla="*/ 1938052 h 6386516"/>
              <a:gd name="connsiteX4788" fmla="*/ 2186943 w 6789110"/>
              <a:gd name="connsiteY4788" fmla="*/ 1926503 h 6386516"/>
              <a:gd name="connsiteX4789" fmla="*/ 2181169 w 6789110"/>
              <a:gd name="connsiteY4789" fmla="*/ 1932279 h 6386516"/>
              <a:gd name="connsiteX4790" fmla="*/ 2186943 w 6789110"/>
              <a:gd name="connsiteY4790" fmla="*/ 1936127 h 6386516"/>
              <a:gd name="connsiteX4791" fmla="*/ 2115727 w 6789110"/>
              <a:gd name="connsiteY4791" fmla="*/ 1926498 h 6386516"/>
              <a:gd name="connsiteX4792" fmla="*/ 2121501 w 6789110"/>
              <a:gd name="connsiteY4792" fmla="*/ 1932273 h 6386516"/>
              <a:gd name="connsiteX4793" fmla="*/ 2113803 w 6789110"/>
              <a:gd name="connsiteY4793" fmla="*/ 1932273 h 6386516"/>
              <a:gd name="connsiteX4794" fmla="*/ 2188868 w 6789110"/>
              <a:gd name="connsiteY4794" fmla="*/ 1922655 h 6386516"/>
              <a:gd name="connsiteX4795" fmla="*/ 2194642 w 6789110"/>
              <a:gd name="connsiteY4795" fmla="*/ 1926503 h 6386516"/>
              <a:gd name="connsiteX4796" fmla="*/ 2198492 w 6789110"/>
              <a:gd name="connsiteY4796" fmla="*/ 1922655 h 6386516"/>
              <a:gd name="connsiteX4797" fmla="*/ 3289847 w 6789110"/>
              <a:gd name="connsiteY4797" fmla="*/ 1913073 h 6386516"/>
              <a:gd name="connsiteX4798" fmla="*/ 3264825 w 6789110"/>
              <a:gd name="connsiteY4798" fmla="*/ 1940018 h 6386516"/>
              <a:gd name="connsiteX4799" fmla="*/ 3262900 w 6789110"/>
              <a:gd name="connsiteY4799" fmla="*/ 1926545 h 6386516"/>
              <a:gd name="connsiteX4800" fmla="*/ 3210930 w 6789110"/>
              <a:gd name="connsiteY4800" fmla="*/ 1978490 h 6386516"/>
              <a:gd name="connsiteX4801" fmla="*/ 3210930 w 6789110"/>
              <a:gd name="connsiteY4801" fmla="*/ 2005425 h 6386516"/>
              <a:gd name="connsiteX4802" fmla="*/ 3299471 w 6789110"/>
              <a:gd name="connsiteY4802" fmla="*/ 1922695 h 6386516"/>
              <a:gd name="connsiteX4803" fmla="*/ 3289847 w 6789110"/>
              <a:gd name="connsiteY4803" fmla="*/ 1913073 h 6386516"/>
              <a:gd name="connsiteX4804" fmla="*/ 2025261 w 6789110"/>
              <a:gd name="connsiteY4804" fmla="*/ 1913017 h 6386516"/>
              <a:gd name="connsiteX4805" fmla="*/ 2036810 w 6789110"/>
              <a:gd name="connsiteY4805" fmla="*/ 1920717 h 6386516"/>
              <a:gd name="connsiteX4806" fmla="*/ 2025261 w 6789110"/>
              <a:gd name="connsiteY4806" fmla="*/ 1913017 h 6386516"/>
              <a:gd name="connsiteX4807" fmla="*/ 2206191 w 6789110"/>
              <a:gd name="connsiteY4807" fmla="*/ 1911106 h 6386516"/>
              <a:gd name="connsiteX4808" fmla="*/ 2215815 w 6789110"/>
              <a:gd name="connsiteY4808" fmla="*/ 1918805 h 6386516"/>
              <a:gd name="connsiteX4809" fmla="*/ 2219665 w 6789110"/>
              <a:gd name="connsiteY4809" fmla="*/ 1913031 h 6386516"/>
              <a:gd name="connsiteX4810" fmla="*/ 2065682 w 6789110"/>
              <a:gd name="connsiteY4810" fmla="*/ 1909181 h 6386516"/>
              <a:gd name="connsiteX4811" fmla="*/ 2071456 w 6789110"/>
              <a:gd name="connsiteY4811" fmla="*/ 1916880 h 6386516"/>
              <a:gd name="connsiteX4812" fmla="*/ 2077231 w 6789110"/>
              <a:gd name="connsiteY4812" fmla="*/ 1914956 h 6386516"/>
              <a:gd name="connsiteX4813" fmla="*/ 2077231 w 6789110"/>
              <a:gd name="connsiteY4813" fmla="*/ 1922654 h 6386516"/>
              <a:gd name="connsiteX4814" fmla="*/ 2065682 w 6789110"/>
              <a:gd name="connsiteY4814" fmla="*/ 1909181 h 6386516"/>
              <a:gd name="connsiteX4815" fmla="*/ 2138824 w 6789110"/>
              <a:gd name="connsiteY4815" fmla="*/ 1905332 h 6386516"/>
              <a:gd name="connsiteX4816" fmla="*/ 2138824 w 6789110"/>
              <a:gd name="connsiteY4816" fmla="*/ 1911106 h 6386516"/>
              <a:gd name="connsiteX4817" fmla="*/ 2144598 w 6789110"/>
              <a:gd name="connsiteY4817" fmla="*/ 1905332 h 6386516"/>
              <a:gd name="connsiteX4818" fmla="*/ 2094554 w 6789110"/>
              <a:gd name="connsiteY4818" fmla="*/ 1903409 h 6386516"/>
              <a:gd name="connsiteX4819" fmla="*/ 2100328 w 6789110"/>
              <a:gd name="connsiteY4819" fmla="*/ 1903409 h 6386516"/>
              <a:gd name="connsiteX4820" fmla="*/ 2108029 w 6789110"/>
              <a:gd name="connsiteY4820" fmla="*/ 1903409 h 6386516"/>
              <a:gd name="connsiteX4821" fmla="*/ 2113803 w 6789110"/>
              <a:gd name="connsiteY4821" fmla="*/ 1911108 h 6386516"/>
              <a:gd name="connsiteX4822" fmla="*/ 2104177 w 6789110"/>
              <a:gd name="connsiteY4822" fmla="*/ 1914957 h 6386516"/>
              <a:gd name="connsiteX4823" fmla="*/ 2109953 w 6789110"/>
              <a:gd name="connsiteY4823" fmla="*/ 1916881 h 6386516"/>
              <a:gd name="connsiteX4824" fmla="*/ 2106102 w 6789110"/>
              <a:gd name="connsiteY4824" fmla="*/ 1924582 h 6386516"/>
              <a:gd name="connsiteX4825" fmla="*/ 2100328 w 6789110"/>
              <a:gd name="connsiteY4825" fmla="*/ 1924582 h 6386516"/>
              <a:gd name="connsiteX4826" fmla="*/ 2098403 w 6789110"/>
              <a:gd name="connsiteY4826" fmla="*/ 1918807 h 6386516"/>
              <a:gd name="connsiteX4827" fmla="*/ 2094554 w 6789110"/>
              <a:gd name="connsiteY4827" fmla="*/ 1914957 h 6386516"/>
              <a:gd name="connsiteX4828" fmla="*/ 2084929 w 6789110"/>
              <a:gd name="connsiteY4828" fmla="*/ 1918807 h 6386516"/>
              <a:gd name="connsiteX4829" fmla="*/ 2079155 w 6789110"/>
              <a:gd name="connsiteY4829" fmla="*/ 1914957 h 6386516"/>
              <a:gd name="connsiteX4830" fmla="*/ 2079155 w 6789110"/>
              <a:gd name="connsiteY4830" fmla="*/ 1909183 h 6386516"/>
              <a:gd name="connsiteX4831" fmla="*/ 2094554 w 6789110"/>
              <a:gd name="connsiteY4831" fmla="*/ 1911108 h 6386516"/>
              <a:gd name="connsiteX4832" fmla="*/ 2096478 w 6789110"/>
              <a:gd name="connsiteY4832" fmla="*/ 1909183 h 6386516"/>
              <a:gd name="connsiteX4833" fmla="*/ 2054134 w 6789110"/>
              <a:gd name="connsiteY4833" fmla="*/ 1897639 h 6386516"/>
              <a:gd name="connsiteX4834" fmla="*/ 2054134 w 6789110"/>
              <a:gd name="connsiteY4834" fmla="*/ 1905339 h 6386516"/>
              <a:gd name="connsiteX4835" fmla="*/ 2048360 w 6789110"/>
              <a:gd name="connsiteY4835" fmla="*/ 1903413 h 6386516"/>
              <a:gd name="connsiteX4836" fmla="*/ 2144598 w 6789110"/>
              <a:gd name="connsiteY4836" fmla="*/ 1897633 h 6386516"/>
              <a:gd name="connsiteX4837" fmla="*/ 2140749 w 6789110"/>
              <a:gd name="connsiteY4837" fmla="*/ 1903407 h 6386516"/>
              <a:gd name="connsiteX4838" fmla="*/ 2150372 w 6789110"/>
              <a:gd name="connsiteY4838" fmla="*/ 1903407 h 6386516"/>
              <a:gd name="connsiteX4839" fmla="*/ 2131125 w 6789110"/>
              <a:gd name="connsiteY4839" fmla="*/ 1888009 h 6386516"/>
              <a:gd name="connsiteX4840" fmla="*/ 2129200 w 6789110"/>
              <a:gd name="connsiteY4840" fmla="*/ 1897633 h 6386516"/>
              <a:gd name="connsiteX4841" fmla="*/ 2138824 w 6789110"/>
              <a:gd name="connsiteY4841" fmla="*/ 1903407 h 6386516"/>
              <a:gd name="connsiteX4842" fmla="*/ 2134974 w 6789110"/>
              <a:gd name="connsiteY4842" fmla="*/ 1895708 h 6386516"/>
              <a:gd name="connsiteX4843" fmla="*/ 2131125 w 6789110"/>
              <a:gd name="connsiteY4843" fmla="*/ 1888009 h 6386516"/>
              <a:gd name="connsiteX4844" fmla="*/ 2067606 w 6789110"/>
              <a:gd name="connsiteY4844" fmla="*/ 1886080 h 6386516"/>
              <a:gd name="connsiteX4845" fmla="*/ 2077230 w 6789110"/>
              <a:gd name="connsiteY4845" fmla="*/ 1886080 h 6386516"/>
              <a:gd name="connsiteX4846" fmla="*/ 2075305 w 6789110"/>
              <a:gd name="connsiteY4846" fmla="*/ 1897629 h 6386516"/>
              <a:gd name="connsiteX4847" fmla="*/ 2067606 w 6789110"/>
              <a:gd name="connsiteY4847" fmla="*/ 1886080 h 6386516"/>
              <a:gd name="connsiteX4848" fmla="*/ 2032962 w 6789110"/>
              <a:gd name="connsiteY4848" fmla="*/ 1886070 h 6386516"/>
              <a:gd name="connsiteX4849" fmla="*/ 2032962 w 6789110"/>
              <a:gd name="connsiteY4849" fmla="*/ 1891844 h 6386516"/>
              <a:gd name="connsiteX4850" fmla="*/ 2027187 w 6789110"/>
              <a:gd name="connsiteY4850" fmla="*/ 1887995 h 6386516"/>
              <a:gd name="connsiteX4851" fmla="*/ 2038736 w 6789110"/>
              <a:gd name="connsiteY4851" fmla="*/ 1882220 h 6386516"/>
              <a:gd name="connsiteX4852" fmla="*/ 2048359 w 6789110"/>
              <a:gd name="connsiteY4852" fmla="*/ 1882220 h 6386516"/>
              <a:gd name="connsiteX4853" fmla="*/ 2042585 w 6789110"/>
              <a:gd name="connsiteY4853" fmla="*/ 1887994 h 6386516"/>
              <a:gd name="connsiteX4854" fmla="*/ 2054134 w 6789110"/>
              <a:gd name="connsiteY4854" fmla="*/ 1872618 h 6386516"/>
              <a:gd name="connsiteX4855" fmla="*/ 2054134 w 6789110"/>
              <a:gd name="connsiteY4855" fmla="*/ 1891866 h 6386516"/>
              <a:gd name="connsiteX4856" fmla="*/ 2050284 w 6789110"/>
              <a:gd name="connsiteY4856" fmla="*/ 1880317 h 6386516"/>
              <a:gd name="connsiteX4857" fmla="*/ 2140749 w 6789110"/>
              <a:gd name="connsiteY4857" fmla="*/ 1872611 h 6386516"/>
              <a:gd name="connsiteX4858" fmla="*/ 2144598 w 6789110"/>
              <a:gd name="connsiteY4858" fmla="*/ 1878386 h 6386516"/>
              <a:gd name="connsiteX4859" fmla="*/ 2150372 w 6789110"/>
              <a:gd name="connsiteY4859" fmla="*/ 1872611 h 6386516"/>
              <a:gd name="connsiteX4860" fmla="*/ 2154222 w 6789110"/>
              <a:gd name="connsiteY4860" fmla="*/ 1870687 h 6386516"/>
              <a:gd name="connsiteX4861" fmla="*/ 2154222 w 6789110"/>
              <a:gd name="connsiteY4861" fmla="*/ 1880310 h 6386516"/>
              <a:gd name="connsiteX4862" fmla="*/ 2163847 w 6789110"/>
              <a:gd name="connsiteY4862" fmla="*/ 1878386 h 6386516"/>
              <a:gd name="connsiteX4863" fmla="*/ 2025262 w 6789110"/>
              <a:gd name="connsiteY4863" fmla="*/ 1866822 h 6386516"/>
              <a:gd name="connsiteX4864" fmla="*/ 2034886 w 6789110"/>
              <a:gd name="connsiteY4864" fmla="*/ 1872596 h 6386516"/>
              <a:gd name="connsiteX4865" fmla="*/ 2021412 w 6789110"/>
              <a:gd name="connsiteY4865" fmla="*/ 1872596 h 6386516"/>
              <a:gd name="connsiteX4866" fmla="*/ 2056059 w 6789110"/>
              <a:gd name="connsiteY4866" fmla="*/ 1861070 h 6386516"/>
              <a:gd name="connsiteX4867" fmla="*/ 2061833 w 6789110"/>
              <a:gd name="connsiteY4867" fmla="*/ 1866844 h 6386516"/>
              <a:gd name="connsiteX4868" fmla="*/ 2054134 w 6789110"/>
              <a:gd name="connsiteY4868" fmla="*/ 1870694 h 6386516"/>
              <a:gd name="connsiteX4869" fmla="*/ 1984841 w 6789110"/>
              <a:gd name="connsiteY4869" fmla="*/ 1859120 h 6386516"/>
              <a:gd name="connsiteX4870" fmla="*/ 1994466 w 6789110"/>
              <a:gd name="connsiteY4870" fmla="*/ 1861046 h 6386516"/>
              <a:gd name="connsiteX4871" fmla="*/ 1988690 w 6789110"/>
              <a:gd name="connsiteY4871" fmla="*/ 1864895 h 6386516"/>
              <a:gd name="connsiteX4872" fmla="*/ 2069531 w 6789110"/>
              <a:gd name="connsiteY4872" fmla="*/ 1855291 h 6386516"/>
              <a:gd name="connsiteX4873" fmla="*/ 2079155 w 6789110"/>
              <a:gd name="connsiteY4873" fmla="*/ 1855291 h 6386516"/>
              <a:gd name="connsiteX4874" fmla="*/ 2073381 w 6789110"/>
              <a:gd name="connsiteY4874" fmla="*/ 1861065 h 6386516"/>
              <a:gd name="connsiteX4875" fmla="*/ 3620910 w 6789110"/>
              <a:gd name="connsiteY4875" fmla="*/ 1853406 h 6386516"/>
              <a:gd name="connsiteX4876" fmla="*/ 3297546 w 6789110"/>
              <a:gd name="connsiteY4876" fmla="*/ 2197965 h 6386516"/>
              <a:gd name="connsiteX4877" fmla="*/ 3634384 w 6789110"/>
              <a:gd name="connsiteY4877" fmla="*/ 1870731 h 6386516"/>
              <a:gd name="connsiteX4878" fmla="*/ 3620910 w 6789110"/>
              <a:gd name="connsiteY4878" fmla="*/ 1853406 h 6386516"/>
              <a:gd name="connsiteX4879" fmla="*/ 2573825 w 6789110"/>
              <a:gd name="connsiteY4879" fmla="*/ 1851488 h 6386516"/>
              <a:gd name="connsiteX4880" fmla="*/ 2833671 w 6789110"/>
              <a:gd name="connsiteY4880" fmla="*/ 2400043 h 6386516"/>
              <a:gd name="connsiteX4881" fmla="*/ 2573825 w 6789110"/>
              <a:gd name="connsiteY4881" fmla="*/ 1851488 h 6386516"/>
              <a:gd name="connsiteX4882" fmla="*/ 217886 w 6789110"/>
              <a:gd name="connsiteY4882" fmla="*/ 1845647 h 6386516"/>
              <a:gd name="connsiteX4883" fmla="*/ 202488 w 6789110"/>
              <a:gd name="connsiteY4883" fmla="*/ 1859121 h 6386516"/>
              <a:gd name="connsiteX4884" fmla="*/ 252532 w 6789110"/>
              <a:gd name="connsiteY4884" fmla="*/ 2016953 h 6386516"/>
              <a:gd name="connsiteX4885" fmla="*/ 227510 w 6789110"/>
              <a:gd name="connsiteY4885" fmla="*/ 1861045 h 6386516"/>
              <a:gd name="connsiteX4886" fmla="*/ 258307 w 6789110"/>
              <a:gd name="connsiteY4886" fmla="*/ 1918788 h 6386516"/>
              <a:gd name="connsiteX4887" fmla="*/ 217886 w 6789110"/>
              <a:gd name="connsiteY4887" fmla="*/ 1845647 h 6386516"/>
              <a:gd name="connsiteX4888" fmla="*/ 3570866 w 6789110"/>
              <a:gd name="connsiteY4888" fmla="*/ 1843783 h 6386516"/>
              <a:gd name="connsiteX4889" fmla="*/ 3251351 w 6789110"/>
              <a:gd name="connsiteY4889" fmla="*/ 2172934 h 6386516"/>
              <a:gd name="connsiteX4890" fmla="*/ 3570866 w 6789110"/>
              <a:gd name="connsiteY4890" fmla="*/ 1843783 h 6386516"/>
              <a:gd name="connsiteX4891" fmla="*/ 2165771 w 6789110"/>
              <a:gd name="connsiteY4891" fmla="*/ 1828342 h 6386516"/>
              <a:gd name="connsiteX4892" fmla="*/ 2165771 w 6789110"/>
              <a:gd name="connsiteY4892" fmla="*/ 1837966 h 6386516"/>
              <a:gd name="connsiteX4893" fmla="*/ 2175395 w 6789110"/>
              <a:gd name="connsiteY4893" fmla="*/ 1830267 h 6386516"/>
              <a:gd name="connsiteX4894" fmla="*/ 2000239 w 6789110"/>
              <a:gd name="connsiteY4894" fmla="*/ 1826415 h 6386516"/>
              <a:gd name="connsiteX4895" fmla="*/ 1996389 w 6789110"/>
              <a:gd name="connsiteY4895" fmla="*/ 1832189 h 6386516"/>
              <a:gd name="connsiteX4896" fmla="*/ 1990615 w 6789110"/>
              <a:gd name="connsiteY4896" fmla="*/ 1828340 h 6386516"/>
              <a:gd name="connsiteX4897" fmla="*/ 2100329 w 6789110"/>
              <a:gd name="connsiteY4897" fmla="*/ 1826400 h 6386516"/>
              <a:gd name="connsiteX4898" fmla="*/ 2106103 w 6789110"/>
              <a:gd name="connsiteY4898" fmla="*/ 1826400 h 6386516"/>
              <a:gd name="connsiteX4899" fmla="*/ 2100329 w 6789110"/>
              <a:gd name="connsiteY4899" fmla="*/ 1834100 h 6386516"/>
              <a:gd name="connsiteX4900" fmla="*/ 2140749 w 6789110"/>
              <a:gd name="connsiteY4900" fmla="*/ 1815638 h 6386516"/>
              <a:gd name="connsiteX4901" fmla="*/ 2143066 w 6789110"/>
              <a:gd name="connsiteY4901" fmla="*/ 1816565 h 6386516"/>
              <a:gd name="connsiteX4902" fmla="*/ 2140749 w 6789110"/>
              <a:gd name="connsiteY4902" fmla="*/ 1816793 h 6386516"/>
              <a:gd name="connsiteX4903" fmla="*/ 2262010 w 6789110"/>
              <a:gd name="connsiteY4903" fmla="*/ 1812943 h 6386516"/>
              <a:gd name="connsiteX4904" fmla="*/ 2267784 w 6789110"/>
              <a:gd name="connsiteY4904" fmla="*/ 1818718 h 6386516"/>
              <a:gd name="connsiteX4905" fmla="*/ 2267784 w 6789110"/>
              <a:gd name="connsiteY4905" fmla="*/ 1812943 h 6386516"/>
              <a:gd name="connsiteX4906" fmla="*/ 1990616 w 6789110"/>
              <a:gd name="connsiteY4906" fmla="*/ 1811016 h 6386516"/>
              <a:gd name="connsiteX4907" fmla="*/ 1998315 w 6789110"/>
              <a:gd name="connsiteY4907" fmla="*/ 1811016 h 6386516"/>
              <a:gd name="connsiteX4908" fmla="*/ 1996390 w 6789110"/>
              <a:gd name="connsiteY4908" fmla="*/ 1816791 h 6386516"/>
              <a:gd name="connsiteX4909" fmla="*/ 2198492 w 6789110"/>
              <a:gd name="connsiteY4909" fmla="*/ 1809093 h 6386516"/>
              <a:gd name="connsiteX4910" fmla="*/ 2192718 w 6789110"/>
              <a:gd name="connsiteY4910" fmla="*/ 1812943 h 6386516"/>
              <a:gd name="connsiteX4911" fmla="*/ 2198492 w 6789110"/>
              <a:gd name="connsiteY4911" fmla="*/ 1816793 h 6386516"/>
              <a:gd name="connsiteX4912" fmla="*/ 2084931 w 6789110"/>
              <a:gd name="connsiteY4912" fmla="*/ 1805229 h 6386516"/>
              <a:gd name="connsiteX4913" fmla="*/ 2092630 w 6789110"/>
              <a:gd name="connsiteY4913" fmla="*/ 1811003 h 6386516"/>
              <a:gd name="connsiteX4914" fmla="*/ 2092630 w 6789110"/>
              <a:gd name="connsiteY4914" fmla="*/ 1818702 h 6386516"/>
              <a:gd name="connsiteX4915" fmla="*/ 2084931 w 6789110"/>
              <a:gd name="connsiteY4915" fmla="*/ 1824477 h 6386516"/>
              <a:gd name="connsiteX4916" fmla="*/ 2088780 w 6789110"/>
              <a:gd name="connsiteY4916" fmla="*/ 1830251 h 6386516"/>
              <a:gd name="connsiteX4917" fmla="*/ 2079155 w 6789110"/>
              <a:gd name="connsiteY4917" fmla="*/ 1830251 h 6386516"/>
              <a:gd name="connsiteX4918" fmla="*/ 2083006 w 6789110"/>
              <a:gd name="connsiteY4918" fmla="*/ 1824477 h 6386516"/>
              <a:gd name="connsiteX4919" fmla="*/ 2067607 w 6789110"/>
              <a:gd name="connsiteY4919" fmla="*/ 1826402 h 6386516"/>
              <a:gd name="connsiteX4920" fmla="*/ 2065682 w 6789110"/>
              <a:gd name="connsiteY4920" fmla="*/ 1818702 h 6386516"/>
              <a:gd name="connsiteX4921" fmla="*/ 2069531 w 6789110"/>
              <a:gd name="connsiteY4921" fmla="*/ 1816778 h 6386516"/>
              <a:gd name="connsiteX4922" fmla="*/ 2078193 w 6789110"/>
              <a:gd name="connsiteY4922" fmla="*/ 1822462 h 6386516"/>
              <a:gd name="connsiteX4923" fmla="*/ 2083006 w 6789110"/>
              <a:gd name="connsiteY4923" fmla="*/ 1822526 h 6386516"/>
              <a:gd name="connsiteX4924" fmla="*/ 2083006 w 6789110"/>
              <a:gd name="connsiteY4924" fmla="*/ 1822552 h 6386516"/>
              <a:gd name="connsiteX4925" fmla="*/ 2084931 w 6789110"/>
              <a:gd name="connsiteY4925" fmla="*/ 1822552 h 6386516"/>
              <a:gd name="connsiteX4926" fmla="*/ 2083006 w 6789110"/>
              <a:gd name="connsiteY4926" fmla="*/ 1822526 h 6386516"/>
              <a:gd name="connsiteX4927" fmla="*/ 2083006 w 6789110"/>
              <a:gd name="connsiteY4927" fmla="*/ 1814853 h 6386516"/>
              <a:gd name="connsiteX4928" fmla="*/ 2088780 w 6789110"/>
              <a:gd name="connsiteY4928" fmla="*/ 1814853 h 6386516"/>
              <a:gd name="connsiteX4929" fmla="*/ 2081081 w 6789110"/>
              <a:gd name="connsiteY4929" fmla="*/ 1807154 h 6386516"/>
              <a:gd name="connsiteX4930" fmla="*/ 2129521 w 6789110"/>
              <a:gd name="connsiteY4930" fmla="*/ 1804763 h 6386516"/>
              <a:gd name="connsiteX4931" fmla="*/ 2131125 w 6789110"/>
              <a:gd name="connsiteY4931" fmla="*/ 1807169 h 6386516"/>
              <a:gd name="connsiteX4932" fmla="*/ 2130911 w 6789110"/>
              <a:gd name="connsiteY4932" fmla="*/ 1807811 h 6386516"/>
              <a:gd name="connsiteX4933" fmla="*/ 2129200 w 6789110"/>
              <a:gd name="connsiteY4933" fmla="*/ 1805244 h 6386516"/>
              <a:gd name="connsiteX4934" fmla="*/ 2188868 w 6789110"/>
              <a:gd name="connsiteY4934" fmla="*/ 1799470 h 6386516"/>
              <a:gd name="connsiteX4935" fmla="*/ 2177320 w 6789110"/>
              <a:gd name="connsiteY4935" fmla="*/ 1801393 h 6386516"/>
              <a:gd name="connsiteX4936" fmla="*/ 2181169 w 6789110"/>
              <a:gd name="connsiteY4936" fmla="*/ 1812943 h 6386516"/>
              <a:gd name="connsiteX4937" fmla="*/ 2169621 w 6789110"/>
              <a:gd name="connsiteY4937" fmla="*/ 1812943 h 6386516"/>
              <a:gd name="connsiteX4938" fmla="*/ 2175395 w 6789110"/>
              <a:gd name="connsiteY4938" fmla="*/ 1820642 h 6386516"/>
              <a:gd name="connsiteX4939" fmla="*/ 2185019 w 6789110"/>
              <a:gd name="connsiteY4939" fmla="*/ 1822568 h 6386516"/>
              <a:gd name="connsiteX4940" fmla="*/ 2179244 w 6789110"/>
              <a:gd name="connsiteY4940" fmla="*/ 1826417 h 6386516"/>
              <a:gd name="connsiteX4941" fmla="*/ 2185019 w 6789110"/>
              <a:gd name="connsiteY4941" fmla="*/ 1826417 h 6386516"/>
              <a:gd name="connsiteX4942" fmla="*/ 2183094 w 6789110"/>
              <a:gd name="connsiteY4942" fmla="*/ 1837966 h 6386516"/>
              <a:gd name="connsiteX4943" fmla="*/ 2198492 w 6789110"/>
              <a:gd name="connsiteY4943" fmla="*/ 1826417 h 6386516"/>
              <a:gd name="connsiteX4944" fmla="*/ 2183094 w 6789110"/>
              <a:gd name="connsiteY4944" fmla="*/ 1805244 h 6386516"/>
              <a:gd name="connsiteX4945" fmla="*/ 2188868 w 6789110"/>
              <a:gd name="connsiteY4945" fmla="*/ 1805244 h 6386516"/>
              <a:gd name="connsiteX4946" fmla="*/ 2090704 w 6789110"/>
              <a:gd name="connsiteY4946" fmla="*/ 1797529 h 6386516"/>
              <a:gd name="connsiteX4947" fmla="*/ 2096478 w 6789110"/>
              <a:gd name="connsiteY4947" fmla="*/ 1801378 h 6386516"/>
              <a:gd name="connsiteX4948" fmla="*/ 2086854 w 6789110"/>
              <a:gd name="connsiteY4948" fmla="*/ 1803303 h 6386516"/>
              <a:gd name="connsiteX4949" fmla="*/ 2031035 w 6789110"/>
              <a:gd name="connsiteY4949" fmla="*/ 1795602 h 6386516"/>
              <a:gd name="connsiteX4950" fmla="*/ 2034885 w 6789110"/>
              <a:gd name="connsiteY4950" fmla="*/ 1803302 h 6386516"/>
              <a:gd name="connsiteX4951" fmla="*/ 2025261 w 6789110"/>
              <a:gd name="connsiteY4951" fmla="*/ 1799451 h 6386516"/>
              <a:gd name="connsiteX4952" fmla="*/ 2017563 w 6789110"/>
              <a:gd name="connsiteY4952" fmla="*/ 1795602 h 6386516"/>
              <a:gd name="connsiteX4953" fmla="*/ 2025262 w 6789110"/>
              <a:gd name="connsiteY4953" fmla="*/ 1797527 h 6386516"/>
              <a:gd name="connsiteX4954" fmla="*/ 2019489 w 6789110"/>
              <a:gd name="connsiteY4954" fmla="*/ 1799451 h 6386516"/>
              <a:gd name="connsiteX4955" fmla="*/ 2219665 w 6789110"/>
              <a:gd name="connsiteY4955" fmla="*/ 1791770 h 6386516"/>
              <a:gd name="connsiteX4956" fmla="*/ 2219665 w 6789110"/>
              <a:gd name="connsiteY4956" fmla="*/ 1801393 h 6386516"/>
              <a:gd name="connsiteX4957" fmla="*/ 2225439 w 6789110"/>
              <a:gd name="connsiteY4957" fmla="*/ 1797544 h 6386516"/>
              <a:gd name="connsiteX4958" fmla="*/ 2202342 w 6789110"/>
              <a:gd name="connsiteY4958" fmla="*/ 1791770 h 6386516"/>
              <a:gd name="connsiteX4959" fmla="*/ 2206191 w 6789110"/>
              <a:gd name="connsiteY4959" fmla="*/ 1797544 h 6386516"/>
              <a:gd name="connsiteX4960" fmla="*/ 2211966 w 6789110"/>
              <a:gd name="connsiteY4960" fmla="*/ 1791770 h 6386516"/>
              <a:gd name="connsiteX4961" fmla="*/ 3388011 w 6789110"/>
              <a:gd name="connsiteY4961" fmla="*/ 1789888 h 6386516"/>
              <a:gd name="connsiteX4962" fmla="*/ 3309095 w 6789110"/>
              <a:gd name="connsiteY4962" fmla="*/ 1888052 h 6386516"/>
              <a:gd name="connsiteX4963" fmla="*/ 3316794 w 6789110"/>
              <a:gd name="connsiteY4963" fmla="*/ 1897674 h 6386516"/>
              <a:gd name="connsiteX4964" fmla="*/ 3388011 w 6789110"/>
              <a:gd name="connsiteY4964" fmla="*/ 1789888 h 6386516"/>
              <a:gd name="connsiteX4965" fmla="*/ 2244688 w 6789110"/>
              <a:gd name="connsiteY4965" fmla="*/ 1785997 h 6386516"/>
              <a:gd name="connsiteX4966" fmla="*/ 2240837 w 6789110"/>
              <a:gd name="connsiteY4966" fmla="*/ 1791770 h 6386516"/>
              <a:gd name="connsiteX4967" fmla="*/ 2244688 w 6789110"/>
              <a:gd name="connsiteY4967" fmla="*/ 1793694 h 6386516"/>
              <a:gd name="connsiteX4968" fmla="*/ 2250462 w 6789110"/>
              <a:gd name="connsiteY4968" fmla="*/ 1791770 h 6386516"/>
              <a:gd name="connsiteX4969" fmla="*/ 5809395 w 6789110"/>
              <a:gd name="connsiteY4969" fmla="*/ 1784118 h 6386516"/>
              <a:gd name="connsiteX4970" fmla="*/ 5767049 w 6789110"/>
              <a:gd name="connsiteY4970" fmla="*/ 1826461 h 6386516"/>
              <a:gd name="connsiteX4971" fmla="*/ 5607291 w 6789110"/>
              <a:gd name="connsiteY4971" fmla="*/ 1938097 h 6386516"/>
              <a:gd name="connsiteX4972" fmla="*/ 5782448 w 6789110"/>
              <a:gd name="connsiteY4972" fmla="*/ 1801437 h 6386516"/>
              <a:gd name="connsiteX4973" fmla="*/ 5809395 w 6789110"/>
              <a:gd name="connsiteY4973" fmla="*/ 1784118 h 6386516"/>
              <a:gd name="connsiteX4974" fmla="*/ 2290882 w 6789110"/>
              <a:gd name="connsiteY4974" fmla="*/ 1782146 h 6386516"/>
              <a:gd name="connsiteX4975" fmla="*/ 2294732 w 6789110"/>
              <a:gd name="connsiteY4975" fmla="*/ 1787922 h 6386516"/>
              <a:gd name="connsiteX4976" fmla="*/ 2300506 w 6789110"/>
              <a:gd name="connsiteY4976" fmla="*/ 1782146 h 6386516"/>
              <a:gd name="connsiteX4977" fmla="*/ 2052208 w 6789110"/>
              <a:gd name="connsiteY4977" fmla="*/ 1778303 h 6386516"/>
              <a:gd name="connsiteX4978" fmla="*/ 2061832 w 6789110"/>
              <a:gd name="connsiteY4978" fmla="*/ 1778303 h 6386516"/>
              <a:gd name="connsiteX4979" fmla="*/ 2056057 w 6789110"/>
              <a:gd name="connsiteY4979" fmla="*/ 1784080 h 6386516"/>
              <a:gd name="connsiteX4980" fmla="*/ 1998315 w 6789110"/>
              <a:gd name="connsiteY4980" fmla="*/ 1778295 h 6386516"/>
              <a:gd name="connsiteX4981" fmla="*/ 2006014 w 6789110"/>
              <a:gd name="connsiteY4981" fmla="*/ 1778295 h 6386516"/>
              <a:gd name="connsiteX4982" fmla="*/ 2006014 w 6789110"/>
              <a:gd name="connsiteY4982" fmla="*/ 1785997 h 6386516"/>
              <a:gd name="connsiteX4983" fmla="*/ 1998315 w 6789110"/>
              <a:gd name="connsiteY4983" fmla="*/ 1785997 h 6386516"/>
              <a:gd name="connsiteX4984" fmla="*/ 1998315 w 6789110"/>
              <a:gd name="connsiteY4984" fmla="*/ 1778295 h 6386516"/>
              <a:gd name="connsiteX4985" fmla="*/ 2185019 w 6789110"/>
              <a:gd name="connsiteY4985" fmla="*/ 1778148 h 6386516"/>
              <a:gd name="connsiteX4986" fmla="*/ 2184805 w 6789110"/>
              <a:gd name="connsiteY4986" fmla="*/ 1778296 h 6386516"/>
              <a:gd name="connsiteX4987" fmla="*/ 2185019 w 6789110"/>
              <a:gd name="connsiteY4987" fmla="*/ 1778296 h 6386516"/>
              <a:gd name="connsiteX4988" fmla="*/ 2375573 w 6789110"/>
              <a:gd name="connsiteY4988" fmla="*/ 1776357 h 6386516"/>
              <a:gd name="connsiteX4989" fmla="*/ 2375573 w 6789110"/>
              <a:gd name="connsiteY4989" fmla="*/ 1784057 h 6386516"/>
              <a:gd name="connsiteX4990" fmla="*/ 2381347 w 6789110"/>
              <a:gd name="connsiteY4990" fmla="*/ 1782131 h 6386516"/>
              <a:gd name="connsiteX4991" fmla="*/ 2246612 w 6789110"/>
              <a:gd name="connsiteY4991" fmla="*/ 1772522 h 6386516"/>
              <a:gd name="connsiteX4992" fmla="*/ 2252386 w 6789110"/>
              <a:gd name="connsiteY4992" fmla="*/ 1784073 h 6386516"/>
              <a:gd name="connsiteX4993" fmla="*/ 2256236 w 6789110"/>
              <a:gd name="connsiteY4993" fmla="*/ 1778296 h 6386516"/>
              <a:gd name="connsiteX4994" fmla="*/ 2246612 w 6789110"/>
              <a:gd name="connsiteY4994" fmla="*/ 1772522 h 6386516"/>
              <a:gd name="connsiteX4995" fmla="*/ 2104178 w 6789110"/>
              <a:gd name="connsiteY4995" fmla="*/ 1772522 h 6386516"/>
              <a:gd name="connsiteX4996" fmla="*/ 2113801 w 6789110"/>
              <a:gd name="connsiteY4996" fmla="*/ 1772522 h 6386516"/>
              <a:gd name="connsiteX4997" fmla="*/ 2113801 w 6789110"/>
              <a:gd name="connsiteY4997" fmla="*/ 1778296 h 6386516"/>
              <a:gd name="connsiteX4998" fmla="*/ 2113801 w 6789110"/>
              <a:gd name="connsiteY4998" fmla="*/ 1784073 h 6386516"/>
              <a:gd name="connsiteX4999" fmla="*/ 2123425 w 6789110"/>
              <a:gd name="connsiteY4999" fmla="*/ 1784073 h 6386516"/>
              <a:gd name="connsiteX5000" fmla="*/ 2133050 w 6789110"/>
              <a:gd name="connsiteY5000" fmla="*/ 1799470 h 6386516"/>
              <a:gd name="connsiteX5001" fmla="*/ 2129521 w 6789110"/>
              <a:gd name="connsiteY5001" fmla="*/ 1804763 h 6386516"/>
              <a:gd name="connsiteX5002" fmla="*/ 2127275 w 6789110"/>
              <a:gd name="connsiteY5002" fmla="*/ 1801393 h 6386516"/>
              <a:gd name="connsiteX5003" fmla="*/ 2115726 w 6789110"/>
              <a:gd name="connsiteY5003" fmla="*/ 1799470 h 6386516"/>
              <a:gd name="connsiteX5004" fmla="*/ 2104178 w 6789110"/>
              <a:gd name="connsiteY5004" fmla="*/ 1803319 h 6386516"/>
              <a:gd name="connsiteX5005" fmla="*/ 2108027 w 6789110"/>
              <a:gd name="connsiteY5005" fmla="*/ 1797544 h 6386516"/>
              <a:gd name="connsiteX5006" fmla="*/ 2096478 w 6789110"/>
              <a:gd name="connsiteY5006" fmla="*/ 1784073 h 6386516"/>
              <a:gd name="connsiteX5007" fmla="*/ 2102253 w 6789110"/>
              <a:gd name="connsiteY5007" fmla="*/ 1784073 h 6386516"/>
              <a:gd name="connsiteX5008" fmla="*/ 2098403 w 6789110"/>
              <a:gd name="connsiteY5008" fmla="*/ 1778296 h 6386516"/>
              <a:gd name="connsiteX5009" fmla="*/ 2104178 w 6789110"/>
              <a:gd name="connsiteY5009" fmla="*/ 1778296 h 6386516"/>
              <a:gd name="connsiteX5010" fmla="*/ 2127276 w 6789110"/>
              <a:gd name="connsiteY5010" fmla="*/ 1772521 h 6386516"/>
              <a:gd name="connsiteX5011" fmla="*/ 2127276 w 6789110"/>
              <a:gd name="connsiteY5011" fmla="*/ 1782146 h 6386516"/>
              <a:gd name="connsiteX5012" fmla="*/ 2121502 w 6789110"/>
              <a:gd name="connsiteY5012" fmla="*/ 1778295 h 6386516"/>
              <a:gd name="connsiteX5013" fmla="*/ 2123427 w 6789110"/>
              <a:gd name="connsiteY5013" fmla="*/ 1776371 h 6386516"/>
              <a:gd name="connsiteX5014" fmla="*/ 2163845 w 6789110"/>
              <a:gd name="connsiteY5014" fmla="*/ 1770593 h 6386516"/>
              <a:gd name="connsiteX5015" fmla="*/ 2169621 w 6789110"/>
              <a:gd name="connsiteY5015" fmla="*/ 1774442 h 6386516"/>
              <a:gd name="connsiteX5016" fmla="*/ 2159996 w 6789110"/>
              <a:gd name="connsiteY5016" fmla="*/ 1776367 h 6386516"/>
              <a:gd name="connsiteX5017" fmla="*/ 2396745 w 6789110"/>
              <a:gd name="connsiteY5017" fmla="*/ 1770583 h 6386516"/>
              <a:gd name="connsiteX5018" fmla="*/ 2390970 w 6789110"/>
              <a:gd name="connsiteY5018" fmla="*/ 1778282 h 6386516"/>
              <a:gd name="connsiteX5019" fmla="*/ 2396745 w 6789110"/>
              <a:gd name="connsiteY5019" fmla="*/ 1778282 h 6386516"/>
              <a:gd name="connsiteX5020" fmla="*/ 2271634 w 6789110"/>
              <a:gd name="connsiteY5020" fmla="*/ 1766746 h 6386516"/>
              <a:gd name="connsiteX5021" fmla="*/ 2267784 w 6789110"/>
              <a:gd name="connsiteY5021" fmla="*/ 1772522 h 6386516"/>
              <a:gd name="connsiteX5022" fmla="*/ 2271634 w 6789110"/>
              <a:gd name="connsiteY5022" fmla="*/ 1774446 h 6386516"/>
              <a:gd name="connsiteX5023" fmla="*/ 2277408 w 6789110"/>
              <a:gd name="connsiteY5023" fmla="*/ 1772522 h 6386516"/>
              <a:gd name="connsiteX5024" fmla="*/ 6332937 w 6789110"/>
              <a:gd name="connsiteY5024" fmla="*/ 1764866 h 6386516"/>
              <a:gd name="connsiteX5025" fmla="*/ 6313689 w 6789110"/>
              <a:gd name="connsiteY5025" fmla="*/ 1786045 h 6386516"/>
              <a:gd name="connsiteX5026" fmla="*/ 6036518 w 6789110"/>
              <a:gd name="connsiteY5026" fmla="*/ 1938097 h 6386516"/>
              <a:gd name="connsiteX5027" fmla="*/ 6313689 w 6789110"/>
              <a:gd name="connsiteY5027" fmla="*/ 1774492 h 6386516"/>
              <a:gd name="connsiteX5028" fmla="*/ 6332937 w 6789110"/>
              <a:gd name="connsiteY5028" fmla="*/ 1764866 h 6386516"/>
              <a:gd name="connsiteX5029" fmla="*/ 2223514 w 6789110"/>
              <a:gd name="connsiteY5029" fmla="*/ 1764581 h 6386516"/>
              <a:gd name="connsiteX5030" fmla="*/ 2223514 w 6789110"/>
              <a:gd name="connsiteY5030" fmla="*/ 1770594 h 6386516"/>
              <a:gd name="connsiteX5031" fmla="*/ 2223512 w 6789110"/>
              <a:gd name="connsiteY5031" fmla="*/ 1770594 h 6386516"/>
              <a:gd name="connsiteX5032" fmla="*/ 2225439 w 6789110"/>
              <a:gd name="connsiteY5032" fmla="*/ 1772522 h 6386516"/>
              <a:gd name="connsiteX5033" fmla="*/ 2229289 w 6789110"/>
              <a:gd name="connsiteY5033" fmla="*/ 1766746 h 6386516"/>
              <a:gd name="connsiteX5034" fmla="*/ 2188868 w 6789110"/>
              <a:gd name="connsiteY5034" fmla="*/ 1762895 h 6386516"/>
              <a:gd name="connsiteX5035" fmla="*/ 2198492 w 6789110"/>
              <a:gd name="connsiteY5035" fmla="*/ 1762895 h 6386516"/>
              <a:gd name="connsiteX5036" fmla="*/ 2198492 w 6789110"/>
              <a:gd name="connsiteY5036" fmla="*/ 1770596 h 6386516"/>
              <a:gd name="connsiteX5037" fmla="*/ 2106103 w 6789110"/>
              <a:gd name="connsiteY5037" fmla="*/ 1759032 h 6386516"/>
              <a:gd name="connsiteX5038" fmla="*/ 2100328 w 6789110"/>
              <a:gd name="connsiteY5038" fmla="*/ 1770582 h 6386516"/>
              <a:gd name="connsiteX5039" fmla="*/ 2106103 w 6789110"/>
              <a:gd name="connsiteY5039" fmla="*/ 1759032 h 6386516"/>
              <a:gd name="connsiteX5040" fmla="*/ 2183095 w 6789110"/>
              <a:gd name="connsiteY5040" fmla="*/ 1757122 h 6386516"/>
              <a:gd name="connsiteX5041" fmla="*/ 2192718 w 6789110"/>
              <a:gd name="connsiteY5041" fmla="*/ 1757122 h 6386516"/>
              <a:gd name="connsiteX5042" fmla="*/ 2188868 w 6789110"/>
              <a:gd name="connsiteY5042" fmla="*/ 1762895 h 6386516"/>
              <a:gd name="connsiteX5043" fmla="*/ 2077231 w 6789110"/>
              <a:gd name="connsiteY5043" fmla="*/ 1757108 h 6386516"/>
              <a:gd name="connsiteX5044" fmla="*/ 2084930 w 6789110"/>
              <a:gd name="connsiteY5044" fmla="*/ 1757108 h 6386516"/>
              <a:gd name="connsiteX5045" fmla="*/ 2084930 w 6789110"/>
              <a:gd name="connsiteY5045" fmla="*/ 1762882 h 6386516"/>
              <a:gd name="connsiteX5046" fmla="*/ 3449604 w 6789110"/>
              <a:gd name="connsiteY5046" fmla="*/ 1755240 h 6386516"/>
              <a:gd name="connsiteX5047" fmla="*/ 3330268 w 6789110"/>
              <a:gd name="connsiteY5047" fmla="*/ 1922695 h 6386516"/>
              <a:gd name="connsiteX5048" fmla="*/ 3332192 w 6789110"/>
              <a:gd name="connsiteY5048" fmla="*/ 1926545 h 6386516"/>
              <a:gd name="connsiteX5049" fmla="*/ 3316794 w 6789110"/>
              <a:gd name="connsiteY5049" fmla="*/ 1943867 h 6386516"/>
              <a:gd name="connsiteX5050" fmla="*/ 3312944 w 6789110"/>
              <a:gd name="connsiteY5050" fmla="*/ 1940018 h 6386516"/>
              <a:gd name="connsiteX5051" fmla="*/ 3205157 w 6789110"/>
              <a:gd name="connsiteY5051" fmla="*/ 2040058 h 6386516"/>
              <a:gd name="connsiteX5052" fmla="*/ 3201306 w 6789110"/>
              <a:gd name="connsiteY5052" fmla="*/ 2063171 h 6386516"/>
              <a:gd name="connsiteX5053" fmla="*/ 3449604 w 6789110"/>
              <a:gd name="connsiteY5053" fmla="*/ 1755240 h 6386516"/>
              <a:gd name="connsiteX5054" fmla="*/ 2250462 w 6789110"/>
              <a:gd name="connsiteY5054" fmla="*/ 1755197 h 6386516"/>
              <a:gd name="connsiteX5055" fmla="*/ 2260085 w 6789110"/>
              <a:gd name="connsiteY5055" fmla="*/ 1762897 h 6386516"/>
              <a:gd name="connsiteX5056" fmla="*/ 2260085 w 6789110"/>
              <a:gd name="connsiteY5056" fmla="*/ 1755197 h 6386516"/>
              <a:gd name="connsiteX5057" fmla="*/ 2165771 w 6789110"/>
              <a:gd name="connsiteY5057" fmla="*/ 1753270 h 6386516"/>
              <a:gd name="connsiteX5058" fmla="*/ 2167696 w 6789110"/>
              <a:gd name="connsiteY5058" fmla="*/ 1764819 h 6386516"/>
              <a:gd name="connsiteX5059" fmla="*/ 2161922 w 6789110"/>
              <a:gd name="connsiteY5059" fmla="*/ 1766745 h 6386516"/>
              <a:gd name="connsiteX5060" fmla="*/ 2150372 w 6789110"/>
              <a:gd name="connsiteY5060" fmla="*/ 1764819 h 6386516"/>
              <a:gd name="connsiteX5061" fmla="*/ 2150372 w 6789110"/>
              <a:gd name="connsiteY5061" fmla="*/ 1768668 h 6386516"/>
              <a:gd name="connsiteX5062" fmla="*/ 2150374 w 6789110"/>
              <a:gd name="connsiteY5062" fmla="*/ 1768668 h 6386516"/>
              <a:gd name="connsiteX5063" fmla="*/ 2156148 w 6789110"/>
              <a:gd name="connsiteY5063" fmla="*/ 1774442 h 6386516"/>
              <a:gd name="connsiteX5064" fmla="*/ 2134974 w 6789110"/>
              <a:gd name="connsiteY5064" fmla="*/ 1782142 h 6386516"/>
              <a:gd name="connsiteX5065" fmla="*/ 2145260 w 6789110"/>
              <a:gd name="connsiteY5065" fmla="*/ 1774563 h 6386516"/>
              <a:gd name="connsiteX5066" fmla="*/ 2148702 w 6789110"/>
              <a:gd name="connsiteY5066" fmla="*/ 1770594 h 6386516"/>
              <a:gd name="connsiteX5067" fmla="*/ 2140748 w 6789110"/>
              <a:gd name="connsiteY5067" fmla="*/ 1770594 h 6386516"/>
              <a:gd name="connsiteX5068" fmla="*/ 2156147 w 6789110"/>
              <a:gd name="connsiteY5068" fmla="*/ 1757119 h 6386516"/>
              <a:gd name="connsiteX5069" fmla="*/ 2152297 w 6789110"/>
              <a:gd name="connsiteY5069" fmla="*/ 1760968 h 6386516"/>
              <a:gd name="connsiteX5070" fmla="*/ 2161922 w 6789110"/>
              <a:gd name="connsiteY5070" fmla="*/ 1760968 h 6386516"/>
              <a:gd name="connsiteX5071" fmla="*/ 2165771 w 6789110"/>
              <a:gd name="connsiteY5071" fmla="*/ 1753270 h 6386516"/>
              <a:gd name="connsiteX5072" fmla="*/ 2198493 w 6789110"/>
              <a:gd name="connsiteY5072" fmla="*/ 1751349 h 6386516"/>
              <a:gd name="connsiteX5073" fmla="*/ 2198493 w 6789110"/>
              <a:gd name="connsiteY5073" fmla="*/ 1759047 h 6386516"/>
              <a:gd name="connsiteX5074" fmla="*/ 2192719 w 6789110"/>
              <a:gd name="connsiteY5074" fmla="*/ 1757122 h 6386516"/>
              <a:gd name="connsiteX5075" fmla="*/ 2121501 w 6789110"/>
              <a:gd name="connsiteY5075" fmla="*/ 1751346 h 6386516"/>
              <a:gd name="connsiteX5076" fmla="*/ 2136900 w 6789110"/>
              <a:gd name="connsiteY5076" fmla="*/ 1751346 h 6386516"/>
              <a:gd name="connsiteX5077" fmla="*/ 2136900 w 6789110"/>
              <a:gd name="connsiteY5077" fmla="*/ 1759044 h 6386516"/>
              <a:gd name="connsiteX5078" fmla="*/ 2129200 w 6789110"/>
              <a:gd name="connsiteY5078" fmla="*/ 1764819 h 6386516"/>
              <a:gd name="connsiteX5079" fmla="*/ 2133050 w 6789110"/>
              <a:gd name="connsiteY5079" fmla="*/ 1770594 h 6386516"/>
              <a:gd name="connsiteX5080" fmla="*/ 2127275 w 6789110"/>
              <a:gd name="connsiteY5080" fmla="*/ 1772520 h 6386516"/>
              <a:gd name="connsiteX5081" fmla="*/ 2121501 w 6789110"/>
              <a:gd name="connsiteY5081" fmla="*/ 1766745 h 6386516"/>
              <a:gd name="connsiteX5082" fmla="*/ 2125351 w 6789110"/>
              <a:gd name="connsiteY5082" fmla="*/ 1760969 h 6386516"/>
              <a:gd name="connsiteX5083" fmla="*/ 2084931 w 6789110"/>
              <a:gd name="connsiteY5083" fmla="*/ 1751334 h 6386516"/>
              <a:gd name="connsiteX5084" fmla="*/ 2090705 w 6789110"/>
              <a:gd name="connsiteY5084" fmla="*/ 1751334 h 6386516"/>
              <a:gd name="connsiteX5085" fmla="*/ 2084931 w 6789110"/>
              <a:gd name="connsiteY5085" fmla="*/ 1757108 h 6386516"/>
              <a:gd name="connsiteX5086" fmla="*/ 2096479 w 6789110"/>
              <a:gd name="connsiteY5086" fmla="*/ 1749433 h 6386516"/>
              <a:gd name="connsiteX5087" fmla="*/ 2108027 w 6789110"/>
              <a:gd name="connsiteY5087" fmla="*/ 1751357 h 6386516"/>
              <a:gd name="connsiteX5088" fmla="*/ 2108027 w 6789110"/>
              <a:gd name="connsiteY5088" fmla="*/ 1755206 h 6386516"/>
              <a:gd name="connsiteX5089" fmla="*/ 2096479 w 6789110"/>
              <a:gd name="connsiteY5089" fmla="*/ 1757130 h 6386516"/>
              <a:gd name="connsiteX5090" fmla="*/ 2094554 w 6789110"/>
              <a:gd name="connsiteY5090" fmla="*/ 1753281 h 6386516"/>
              <a:gd name="connsiteX5091" fmla="*/ 2262010 w 6789110"/>
              <a:gd name="connsiteY5091" fmla="*/ 1749425 h 6386516"/>
              <a:gd name="connsiteX5092" fmla="*/ 2267784 w 6789110"/>
              <a:gd name="connsiteY5092" fmla="*/ 1755197 h 6386516"/>
              <a:gd name="connsiteX5093" fmla="*/ 2269709 w 6789110"/>
              <a:gd name="connsiteY5093" fmla="*/ 1759047 h 6386516"/>
              <a:gd name="connsiteX5094" fmla="*/ 2273559 w 6789110"/>
              <a:gd name="connsiteY5094" fmla="*/ 1766746 h 6386516"/>
              <a:gd name="connsiteX5095" fmla="*/ 2277408 w 6789110"/>
              <a:gd name="connsiteY5095" fmla="*/ 1755197 h 6386516"/>
              <a:gd name="connsiteX5096" fmla="*/ 2267784 w 6789110"/>
              <a:gd name="connsiteY5096" fmla="*/ 1755197 h 6386516"/>
              <a:gd name="connsiteX5097" fmla="*/ 2267784 w 6789110"/>
              <a:gd name="connsiteY5097" fmla="*/ 1749425 h 6386516"/>
              <a:gd name="connsiteX5098" fmla="*/ 2059907 w 6789110"/>
              <a:gd name="connsiteY5098" fmla="*/ 1745582 h 6386516"/>
              <a:gd name="connsiteX5099" fmla="*/ 2063757 w 6789110"/>
              <a:gd name="connsiteY5099" fmla="*/ 1749431 h 6386516"/>
              <a:gd name="connsiteX5100" fmla="*/ 2057983 w 6789110"/>
              <a:gd name="connsiteY5100" fmla="*/ 1755205 h 6386516"/>
              <a:gd name="connsiteX5101" fmla="*/ 2057983 w 6789110"/>
              <a:gd name="connsiteY5101" fmla="*/ 1762903 h 6386516"/>
              <a:gd name="connsiteX5102" fmla="*/ 2052208 w 6789110"/>
              <a:gd name="connsiteY5102" fmla="*/ 1751356 h 6386516"/>
              <a:gd name="connsiteX5103" fmla="*/ 2210041 w 6789110"/>
              <a:gd name="connsiteY5103" fmla="*/ 1741729 h 6386516"/>
              <a:gd name="connsiteX5104" fmla="*/ 2204266 w 6789110"/>
              <a:gd name="connsiteY5104" fmla="*/ 1747502 h 6386516"/>
              <a:gd name="connsiteX5105" fmla="*/ 2210041 w 6789110"/>
              <a:gd name="connsiteY5105" fmla="*/ 1751352 h 6386516"/>
              <a:gd name="connsiteX5106" fmla="*/ 2229186 w 6789110"/>
              <a:gd name="connsiteY5106" fmla="*/ 1739949 h 6386516"/>
              <a:gd name="connsiteX5107" fmla="*/ 2220407 w 6789110"/>
              <a:gd name="connsiteY5107" fmla="*/ 1752238 h 6386516"/>
              <a:gd name="connsiteX5108" fmla="*/ 2223514 w 6789110"/>
              <a:gd name="connsiteY5108" fmla="*/ 1753274 h 6386516"/>
              <a:gd name="connsiteX5109" fmla="*/ 2233138 w 6789110"/>
              <a:gd name="connsiteY5109" fmla="*/ 1741726 h 6386516"/>
              <a:gd name="connsiteX5110" fmla="*/ 2228326 w 6789110"/>
              <a:gd name="connsiteY5110" fmla="*/ 1739559 h 6386516"/>
              <a:gd name="connsiteX5111" fmla="*/ 2227788 w 6789110"/>
              <a:gd name="connsiteY5111" fmla="*/ 1739801 h 6386516"/>
              <a:gd name="connsiteX5112" fmla="*/ 2228865 w 6789110"/>
              <a:gd name="connsiteY5112" fmla="*/ 1739801 h 6386516"/>
              <a:gd name="connsiteX5113" fmla="*/ 2221271 w 6789110"/>
              <a:gd name="connsiteY5113" fmla="*/ 1737236 h 6386516"/>
              <a:gd name="connsiteX5114" fmla="*/ 2219667 w 6789110"/>
              <a:gd name="connsiteY5114" fmla="*/ 1737876 h 6386516"/>
              <a:gd name="connsiteX5115" fmla="*/ 2219667 w 6789110"/>
              <a:gd name="connsiteY5115" fmla="*/ 1739801 h 6386516"/>
              <a:gd name="connsiteX5116" fmla="*/ 2222554 w 6789110"/>
              <a:gd name="connsiteY5116" fmla="*/ 1739801 h 6386516"/>
              <a:gd name="connsiteX5117" fmla="*/ 2252386 w 6789110"/>
              <a:gd name="connsiteY5117" fmla="*/ 1735952 h 6386516"/>
              <a:gd name="connsiteX5118" fmla="*/ 2240837 w 6789110"/>
              <a:gd name="connsiteY5118" fmla="*/ 1737875 h 6386516"/>
              <a:gd name="connsiteX5119" fmla="*/ 2252386 w 6789110"/>
              <a:gd name="connsiteY5119" fmla="*/ 1745577 h 6386516"/>
              <a:gd name="connsiteX5120" fmla="*/ 2258161 w 6789110"/>
              <a:gd name="connsiteY5120" fmla="*/ 1737875 h 6386516"/>
              <a:gd name="connsiteX5121" fmla="*/ 2252386 w 6789110"/>
              <a:gd name="connsiteY5121" fmla="*/ 1735952 h 6386516"/>
              <a:gd name="connsiteX5122" fmla="*/ 2175395 w 6789110"/>
              <a:gd name="connsiteY5122" fmla="*/ 1732099 h 6386516"/>
              <a:gd name="connsiteX5123" fmla="*/ 2185019 w 6789110"/>
              <a:gd name="connsiteY5123" fmla="*/ 1739801 h 6386516"/>
              <a:gd name="connsiteX5124" fmla="*/ 2177320 w 6789110"/>
              <a:gd name="connsiteY5124" fmla="*/ 1743651 h 6386516"/>
              <a:gd name="connsiteX5125" fmla="*/ 2354399 w 6789110"/>
              <a:gd name="connsiteY5125" fmla="*/ 1732087 h 6386516"/>
              <a:gd name="connsiteX5126" fmla="*/ 2354399 w 6789110"/>
              <a:gd name="connsiteY5126" fmla="*/ 1737861 h 6386516"/>
              <a:gd name="connsiteX5127" fmla="*/ 2360174 w 6789110"/>
              <a:gd name="connsiteY5127" fmla="*/ 1732087 h 6386516"/>
              <a:gd name="connsiteX5128" fmla="*/ 2150372 w 6789110"/>
              <a:gd name="connsiteY5128" fmla="*/ 1730174 h 6386516"/>
              <a:gd name="connsiteX5129" fmla="*/ 2159996 w 6789110"/>
              <a:gd name="connsiteY5129" fmla="*/ 1732098 h 6386516"/>
              <a:gd name="connsiteX5130" fmla="*/ 2156146 w 6789110"/>
              <a:gd name="connsiteY5130" fmla="*/ 1737875 h 6386516"/>
              <a:gd name="connsiteX5131" fmla="*/ 2150372 w 6789110"/>
              <a:gd name="connsiteY5131" fmla="*/ 1735949 h 6386516"/>
              <a:gd name="connsiteX5132" fmla="*/ 2134975 w 6789110"/>
              <a:gd name="connsiteY5132" fmla="*/ 1730174 h 6386516"/>
              <a:gd name="connsiteX5133" fmla="*/ 2140749 w 6789110"/>
              <a:gd name="connsiteY5133" fmla="*/ 1730174 h 6386516"/>
              <a:gd name="connsiteX5134" fmla="*/ 2140749 w 6789110"/>
              <a:gd name="connsiteY5134" fmla="*/ 1735949 h 6386516"/>
              <a:gd name="connsiteX5135" fmla="*/ 2150372 w 6789110"/>
              <a:gd name="connsiteY5135" fmla="*/ 1735949 h 6386516"/>
              <a:gd name="connsiteX5136" fmla="*/ 2146522 w 6789110"/>
              <a:gd name="connsiteY5136" fmla="*/ 1739797 h 6386516"/>
              <a:gd name="connsiteX5137" fmla="*/ 2140749 w 6789110"/>
              <a:gd name="connsiteY5137" fmla="*/ 1739797 h 6386516"/>
              <a:gd name="connsiteX5138" fmla="*/ 2138824 w 6789110"/>
              <a:gd name="connsiteY5138" fmla="*/ 1747497 h 6386516"/>
              <a:gd name="connsiteX5139" fmla="*/ 2127274 w 6789110"/>
              <a:gd name="connsiteY5139" fmla="*/ 1741722 h 6386516"/>
              <a:gd name="connsiteX5140" fmla="*/ 2125351 w 6789110"/>
              <a:gd name="connsiteY5140" fmla="*/ 1747497 h 6386516"/>
              <a:gd name="connsiteX5141" fmla="*/ 2123425 w 6789110"/>
              <a:gd name="connsiteY5141" fmla="*/ 1739797 h 6386516"/>
              <a:gd name="connsiteX5142" fmla="*/ 2131124 w 6789110"/>
              <a:gd name="connsiteY5142" fmla="*/ 1737872 h 6386516"/>
              <a:gd name="connsiteX5143" fmla="*/ 2140748 w 6789110"/>
              <a:gd name="connsiteY5143" fmla="*/ 1739797 h 6386516"/>
              <a:gd name="connsiteX5144" fmla="*/ 2140748 w 6789110"/>
              <a:gd name="connsiteY5144" fmla="*/ 1735949 h 6386516"/>
              <a:gd name="connsiteX5145" fmla="*/ 2077230 w 6789110"/>
              <a:gd name="connsiteY5145" fmla="*/ 1730161 h 6386516"/>
              <a:gd name="connsiteX5146" fmla="*/ 2088780 w 6789110"/>
              <a:gd name="connsiteY5146" fmla="*/ 1734010 h 6386516"/>
              <a:gd name="connsiteX5147" fmla="*/ 2083004 w 6789110"/>
              <a:gd name="connsiteY5147" fmla="*/ 1737860 h 6386516"/>
              <a:gd name="connsiteX5148" fmla="*/ 2364023 w 6789110"/>
              <a:gd name="connsiteY5148" fmla="*/ 1726313 h 6386516"/>
              <a:gd name="connsiteX5149" fmla="*/ 2369799 w 6789110"/>
              <a:gd name="connsiteY5149" fmla="*/ 1732087 h 6386516"/>
              <a:gd name="connsiteX5150" fmla="*/ 2369799 w 6789110"/>
              <a:gd name="connsiteY5150" fmla="*/ 1726313 h 6386516"/>
              <a:gd name="connsiteX5151" fmla="*/ 2279333 w 6789110"/>
              <a:gd name="connsiteY5151" fmla="*/ 1724403 h 6386516"/>
              <a:gd name="connsiteX5152" fmla="*/ 2265860 w 6789110"/>
              <a:gd name="connsiteY5152" fmla="*/ 1726329 h 6386516"/>
              <a:gd name="connsiteX5153" fmla="*/ 2269709 w 6789110"/>
              <a:gd name="connsiteY5153" fmla="*/ 1732102 h 6386516"/>
              <a:gd name="connsiteX5154" fmla="*/ 2279333 w 6789110"/>
              <a:gd name="connsiteY5154" fmla="*/ 1730176 h 6386516"/>
              <a:gd name="connsiteX5155" fmla="*/ 2298581 w 6789110"/>
              <a:gd name="connsiteY5155" fmla="*/ 1720554 h 6386516"/>
              <a:gd name="connsiteX5156" fmla="*/ 2308205 w 6789110"/>
              <a:gd name="connsiteY5156" fmla="*/ 1732102 h 6386516"/>
              <a:gd name="connsiteX5157" fmla="*/ 2312056 w 6789110"/>
              <a:gd name="connsiteY5157" fmla="*/ 1730176 h 6386516"/>
              <a:gd name="connsiteX5158" fmla="*/ 2298581 w 6789110"/>
              <a:gd name="connsiteY5158" fmla="*/ 1720554 h 6386516"/>
              <a:gd name="connsiteX5159" fmla="*/ 2190794 w 6789110"/>
              <a:gd name="connsiteY5159" fmla="*/ 1718628 h 6386516"/>
              <a:gd name="connsiteX5160" fmla="*/ 2196568 w 6789110"/>
              <a:gd name="connsiteY5160" fmla="*/ 1724402 h 6386516"/>
              <a:gd name="connsiteX5161" fmla="*/ 2188870 w 6789110"/>
              <a:gd name="connsiteY5161" fmla="*/ 1728252 h 6386516"/>
              <a:gd name="connsiteX5162" fmla="*/ 2123426 w 6789110"/>
              <a:gd name="connsiteY5162" fmla="*/ 1718626 h 6386516"/>
              <a:gd name="connsiteX5163" fmla="*/ 2131125 w 6789110"/>
              <a:gd name="connsiteY5163" fmla="*/ 1724399 h 6386516"/>
              <a:gd name="connsiteX5164" fmla="*/ 2123426 w 6789110"/>
              <a:gd name="connsiteY5164" fmla="*/ 1728250 h 6386516"/>
              <a:gd name="connsiteX5165" fmla="*/ 2117651 w 6789110"/>
              <a:gd name="connsiteY5165" fmla="*/ 1716709 h 6386516"/>
              <a:gd name="connsiteX5166" fmla="*/ 2117651 w 6789110"/>
              <a:gd name="connsiteY5166" fmla="*/ 1724407 h 6386516"/>
              <a:gd name="connsiteX5167" fmla="*/ 2106102 w 6789110"/>
              <a:gd name="connsiteY5167" fmla="*/ 1718634 h 6386516"/>
              <a:gd name="connsiteX5168" fmla="*/ 2142673 w 6789110"/>
              <a:gd name="connsiteY5168" fmla="*/ 1716701 h 6386516"/>
              <a:gd name="connsiteX5169" fmla="*/ 2138824 w 6789110"/>
              <a:gd name="connsiteY5169" fmla="*/ 1728251 h 6386516"/>
              <a:gd name="connsiteX5170" fmla="*/ 2133050 w 6789110"/>
              <a:gd name="connsiteY5170" fmla="*/ 1718627 h 6386516"/>
              <a:gd name="connsiteX5171" fmla="*/ 2165771 w 6789110"/>
              <a:gd name="connsiteY5171" fmla="*/ 1709004 h 6386516"/>
              <a:gd name="connsiteX5172" fmla="*/ 2175397 w 6789110"/>
              <a:gd name="connsiteY5172" fmla="*/ 1710929 h 6386516"/>
              <a:gd name="connsiteX5173" fmla="*/ 2171546 w 6789110"/>
              <a:gd name="connsiteY5173" fmla="*/ 1714779 h 6386516"/>
              <a:gd name="connsiteX5174" fmla="*/ 2171545 w 6789110"/>
              <a:gd name="connsiteY5174" fmla="*/ 1714779 h 6386516"/>
              <a:gd name="connsiteX5175" fmla="*/ 2165771 w 6789110"/>
              <a:gd name="connsiteY5175" fmla="*/ 1716704 h 6386516"/>
              <a:gd name="connsiteX5176" fmla="*/ 2161921 w 6789110"/>
              <a:gd name="connsiteY5176" fmla="*/ 1724402 h 6386516"/>
              <a:gd name="connsiteX5177" fmla="*/ 2158073 w 6789110"/>
              <a:gd name="connsiteY5177" fmla="*/ 1712854 h 6386516"/>
              <a:gd name="connsiteX5178" fmla="*/ 2167696 w 6789110"/>
              <a:gd name="connsiteY5178" fmla="*/ 1712854 h 6386516"/>
              <a:gd name="connsiteX5179" fmla="*/ 2069531 w 6789110"/>
              <a:gd name="connsiteY5179" fmla="*/ 1707085 h 6386516"/>
              <a:gd name="connsiteX5180" fmla="*/ 2069531 w 6789110"/>
              <a:gd name="connsiteY5180" fmla="*/ 1712862 h 6386516"/>
              <a:gd name="connsiteX5181" fmla="*/ 2059907 w 6789110"/>
              <a:gd name="connsiteY5181" fmla="*/ 1712862 h 6386516"/>
              <a:gd name="connsiteX5182" fmla="*/ 2069531 w 6789110"/>
              <a:gd name="connsiteY5182" fmla="*/ 1707085 h 6386516"/>
              <a:gd name="connsiteX5183" fmla="*/ 2383271 w 6789110"/>
              <a:gd name="connsiteY5183" fmla="*/ 1701291 h 6386516"/>
              <a:gd name="connsiteX5184" fmla="*/ 2381347 w 6789110"/>
              <a:gd name="connsiteY5184" fmla="*/ 1705140 h 6386516"/>
              <a:gd name="connsiteX5185" fmla="*/ 2390970 w 6789110"/>
              <a:gd name="connsiteY5185" fmla="*/ 1716690 h 6386516"/>
              <a:gd name="connsiteX5186" fmla="*/ 2387121 w 6789110"/>
              <a:gd name="connsiteY5186" fmla="*/ 1708991 h 6386516"/>
              <a:gd name="connsiteX5187" fmla="*/ 2383271 w 6789110"/>
              <a:gd name="connsiteY5187" fmla="*/ 1701291 h 6386516"/>
              <a:gd name="connsiteX5188" fmla="*/ 2009864 w 6789110"/>
              <a:gd name="connsiteY5188" fmla="*/ 1699364 h 6386516"/>
              <a:gd name="connsiteX5189" fmla="*/ 2009864 w 6789110"/>
              <a:gd name="connsiteY5189" fmla="*/ 1705138 h 6386516"/>
              <a:gd name="connsiteX5190" fmla="*/ 2004090 w 6789110"/>
              <a:gd name="connsiteY5190" fmla="*/ 1705138 h 6386516"/>
              <a:gd name="connsiteX5191" fmla="*/ 2115726 w 6789110"/>
              <a:gd name="connsiteY5191" fmla="*/ 1697459 h 6386516"/>
              <a:gd name="connsiteX5192" fmla="*/ 2106102 w 6789110"/>
              <a:gd name="connsiteY5192" fmla="*/ 1707083 h 6386516"/>
              <a:gd name="connsiteX5193" fmla="*/ 2102253 w 6789110"/>
              <a:gd name="connsiteY5193" fmla="*/ 1701309 h 6386516"/>
              <a:gd name="connsiteX5194" fmla="*/ 2206191 w 6789110"/>
              <a:gd name="connsiteY5194" fmla="*/ 1697457 h 6386516"/>
              <a:gd name="connsiteX5195" fmla="*/ 2211965 w 6789110"/>
              <a:gd name="connsiteY5195" fmla="*/ 1697457 h 6386516"/>
              <a:gd name="connsiteX5196" fmla="*/ 2217741 w 6789110"/>
              <a:gd name="connsiteY5196" fmla="*/ 1703231 h 6386516"/>
              <a:gd name="connsiteX5197" fmla="*/ 2229290 w 6789110"/>
              <a:gd name="connsiteY5197" fmla="*/ 1701307 h 6386516"/>
              <a:gd name="connsiteX5198" fmla="*/ 2213891 w 6789110"/>
              <a:gd name="connsiteY5198" fmla="*/ 1710932 h 6386516"/>
              <a:gd name="connsiteX5199" fmla="*/ 2208116 w 6789110"/>
              <a:gd name="connsiteY5199" fmla="*/ 1703231 h 6386516"/>
              <a:gd name="connsiteX5200" fmla="*/ 2204266 w 6789110"/>
              <a:gd name="connsiteY5200" fmla="*/ 1714782 h 6386516"/>
              <a:gd name="connsiteX5201" fmla="*/ 2198492 w 6789110"/>
              <a:gd name="connsiteY5201" fmla="*/ 1714782 h 6386516"/>
              <a:gd name="connsiteX5202" fmla="*/ 2192718 w 6789110"/>
              <a:gd name="connsiteY5202" fmla="*/ 1710932 h 6386516"/>
              <a:gd name="connsiteX5203" fmla="*/ 2183094 w 6789110"/>
              <a:gd name="connsiteY5203" fmla="*/ 1714782 h 6386516"/>
              <a:gd name="connsiteX5204" fmla="*/ 2177319 w 6789110"/>
              <a:gd name="connsiteY5204" fmla="*/ 1722481 h 6386516"/>
              <a:gd name="connsiteX5205" fmla="*/ 2171545 w 6789110"/>
              <a:gd name="connsiteY5205" fmla="*/ 1716706 h 6386516"/>
              <a:gd name="connsiteX5206" fmla="*/ 2181169 w 6789110"/>
              <a:gd name="connsiteY5206" fmla="*/ 1716706 h 6386516"/>
              <a:gd name="connsiteX5207" fmla="*/ 2177319 w 6789110"/>
              <a:gd name="connsiteY5207" fmla="*/ 1709007 h 6386516"/>
              <a:gd name="connsiteX5208" fmla="*/ 2183094 w 6789110"/>
              <a:gd name="connsiteY5208" fmla="*/ 1705156 h 6386516"/>
              <a:gd name="connsiteX5209" fmla="*/ 2194642 w 6789110"/>
              <a:gd name="connsiteY5209" fmla="*/ 1709007 h 6386516"/>
              <a:gd name="connsiteX5210" fmla="*/ 2204267 w 6789110"/>
              <a:gd name="connsiteY5210" fmla="*/ 1699382 h 6386516"/>
              <a:gd name="connsiteX5211" fmla="*/ 2067606 w 6789110"/>
              <a:gd name="connsiteY5211" fmla="*/ 1693612 h 6386516"/>
              <a:gd name="connsiteX5212" fmla="*/ 2073381 w 6789110"/>
              <a:gd name="connsiteY5212" fmla="*/ 1699388 h 6386516"/>
              <a:gd name="connsiteX5213" fmla="*/ 2067606 w 6789110"/>
              <a:gd name="connsiteY5213" fmla="*/ 1703237 h 6386516"/>
              <a:gd name="connsiteX5214" fmla="*/ 2063757 w 6789110"/>
              <a:gd name="connsiteY5214" fmla="*/ 1699388 h 6386516"/>
              <a:gd name="connsiteX5215" fmla="*/ 2200418 w 6789110"/>
              <a:gd name="connsiteY5215" fmla="*/ 1693606 h 6386516"/>
              <a:gd name="connsiteX5216" fmla="*/ 2204267 w 6789110"/>
              <a:gd name="connsiteY5216" fmla="*/ 1699382 h 6386516"/>
              <a:gd name="connsiteX5217" fmla="*/ 2196568 w 6789110"/>
              <a:gd name="connsiteY5217" fmla="*/ 1699382 h 6386516"/>
              <a:gd name="connsiteX5218" fmla="*/ 2217741 w 6789110"/>
              <a:gd name="connsiteY5218" fmla="*/ 1693595 h 6386516"/>
              <a:gd name="connsiteX5219" fmla="*/ 2223515 w 6789110"/>
              <a:gd name="connsiteY5219" fmla="*/ 1699369 h 6386516"/>
              <a:gd name="connsiteX5220" fmla="*/ 2215816 w 6789110"/>
              <a:gd name="connsiteY5220" fmla="*/ 1699369 h 6386516"/>
              <a:gd name="connsiteX5221" fmla="*/ 2240838 w 6789110"/>
              <a:gd name="connsiteY5221" fmla="*/ 1691681 h 6386516"/>
              <a:gd name="connsiteX5222" fmla="*/ 2233138 w 6789110"/>
              <a:gd name="connsiteY5222" fmla="*/ 1701306 h 6386516"/>
              <a:gd name="connsiteX5223" fmla="*/ 2229289 w 6789110"/>
              <a:gd name="connsiteY5223" fmla="*/ 1695530 h 6386516"/>
              <a:gd name="connsiteX5224" fmla="*/ 2229289 w 6789110"/>
              <a:gd name="connsiteY5224" fmla="*/ 1685905 h 6386516"/>
              <a:gd name="connsiteX5225" fmla="*/ 2229289 w 6789110"/>
              <a:gd name="connsiteY5225" fmla="*/ 1695530 h 6386516"/>
              <a:gd name="connsiteX5226" fmla="*/ 2229289 w 6789110"/>
              <a:gd name="connsiteY5226" fmla="*/ 1695531 h 6386516"/>
              <a:gd name="connsiteX5227" fmla="*/ 2219665 w 6789110"/>
              <a:gd name="connsiteY5227" fmla="*/ 1687831 h 6386516"/>
              <a:gd name="connsiteX5228" fmla="*/ 2171545 w 6789110"/>
              <a:gd name="connsiteY5228" fmla="*/ 1685896 h 6386516"/>
              <a:gd name="connsiteX5229" fmla="*/ 2181169 w 6789110"/>
              <a:gd name="connsiteY5229" fmla="*/ 1687821 h 6386516"/>
              <a:gd name="connsiteX5230" fmla="*/ 2171545 w 6789110"/>
              <a:gd name="connsiteY5230" fmla="*/ 1695520 h 6386516"/>
              <a:gd name="connsiteX5231" fmla="*/ 2365948 w 6789110"/>
              <a:gd name="connsiteY5231" fmla="*/ 1685892 h 6386516"/>
              <a:gd name="connsiteX5232" fmla="*/ 2365948 w 6789110"/>
              <a:gd name="connsiteY5232" fmla="*/ 1691666 h 6386516"/>
              <a:gd name="connsiteX5233" fmla="*/ 2371722 w 6789110"/>
              <a:gd name="connsiteY5233" fmla="*/ 1691666 h 6386516"/>
              <a:gd name="connsiteX5234" fmla="*/ 3580490 w 6789110"/>
              <a:gd name="connsiteY5234" fmla="*/ 1684022 h 6386516"/>
              <a:gd name="connsiteX5235" fmla="*/ 3185908 w 6789110"/>
              <a:gd name="connsiteY5235" fmla="*/ 2169084 h 6386516"/>
              <a:gd name="connsiteX5236" fmla="*/ 3185908 w 6789110"/>
              <a:gd name="connsiteY5236" fmla="*/ 2171011 h 6386516"/>
              <a:gd name="connsiteX5237" fmla="*/ 3580490 w 6789110"/>
              <a:gd name="connsiteY5237" fmla="*/ 1684022 h 6386516"/>
              <a:gd name="connsiteX5238" fmla="*/ 3561242 w 6789110"/>
              <a:gd name="connsiteY5238" fmla="*/ 1680174 h 6386516"/>
              <a:gd name="connsiteX5239" fmla="*/ 3528520 w 6789110"/>
              <a:gd name="connsiteY5239" fmla="*/ 1745620 h 6386516"/>
              <a:gd name="connsiteX5240" fmla="*/ 3191683 w 6789110"/>
              <a:gd name="connsiteY5240" fmla="*/ 2132505 h 6386516"/>
              <a:gd name="connsiteX5241" fmla="*/ 3191683 w 6789110"/>
              <a:gd name="connsiteY5241" fmla="*/ 2149832 h 6386516"/>
              <a:gd name="connsiteX5242" fmla="*/ 3528520 w 6789110"/>
              <a:gd name="connsiteY5242" fmla="*/ 1766789 h 6386516"/>
              <a:gd name="connsiteX5243" fmla="*/ 3561242 w 6789110"/>
              <a:gd name="connsiteY5243" fmla="*/ 1680174 h 6386516"/>
              <a:gd name="connsiteX5244" fmla="*/ 2250462 w 6789110"/>
              <a:gd name="connsiteY5244" fmla="*/ 1680124 h 6386516"/>
              <a:gd name="connsiteX5245" fmla="*/ 2260086 w 6789110"/>
              <a:gd name="connsiteY5245" fmla="*/ 1687824 h 6386516"/>
              <a:gd name="connsiteX5246" fmla="*/ 2250462 w 6789110"/>
              <a:gd name="connsiteY5246" fmla="*/ 1687824 h 6386516"/>
              <a:gd name="connsiteX5247" fmla="*/ 2246612 w 6789110"/>
              <a:gd name="connsiteY5247" fmla="*/ 1693598 h 6386516"/>
              <a:gd name="connsiteX5248" fmla="*/ 2244688 w 6789110"/>
              <a:gd name="connsiteY5248" fmla="*/ 1685898 h 6386516"/>
              <a:gd name="connsiteX5249" fmla="*/ 2242763 w 6789110"/>
              <a:gd name="connsiteY5249" fmla="*/ 1678200 h 6386516"/>
              <a:gd name="connsiteX5250" fmla="*/ 2242763 w 6789110"/>
              <a:gd name="connsiteY5250" fmla="*/ 1683974 h 6386516"/>
              <a:gd name="connsiteX5251" fmla="*/ 2236989 w 6789110"/>
              <a:gd name="connsiteY5251" fmla="*/ 1683974 h 6386516"/>
              <a:gd name="connsiteX5252" fmla="*/ 2094554 w 6789110"/>
              <a:gd name="connsiteY5252" fmla="*/ 1678191 h 6386516"/>
              <a:gd name="connsiteX5253" fmla="*/ 2090704 w 6789110"/>
              <a:gd name="connsiteY5253" fmla="*/ 1689741 h 6386516"/>
              <a:gd name="connsiteX5254" fmla="*/ 2081080 w 6789110"/>
              <a:gd name="connsiteY5254" fmla="*/ 1682041 h 6386516"/>
              <a:gd name="connsiteX5255" fmla="*/ 2365948 w 6789110"/>
              <a:gd name="connsiteY5255" fmla="*/ 1676268 h 6386516"/>
              <a:gd name="connsiteX5256" fmla="*/ 2369799 w 6789110"/>
              <a:gd name="connsiteY5256" fmla="*/ 1682042 h 6386516"/>
              <a:gd name="connsiteX5257" fmla="*/ 2375573 w 6789110"/>
              <a:gd name="connsiteY5257" fmla="*/ 1676268 h 6386516"/>
              <a:gd name="connsiteX5258" fmla="*/ 2188868 w 6789110"/>
              <a:gd name="connsiteY5258" fmla="*/ 1672422 h 6386516"/>
              <a:gd name="connsiteX5259" fmla="*/ 2185018 w 6789110"/>
              <a:gd name="connsiteY5259" fmla="*/ 1691671 h 6386516"/>
              <a:gd name="connsiteX5260" fmla="*/ 2183093 w 6789110"/>
              <a:gd name="connsiteY5260" fmla="*/ 1687821 h 6386516"/>
              <a:gd name="connsiteX5261" fmla="*/ 2186943 w 6789110"/>
              <a:gd name="connsiteY5261" fmla="*/ 1678196 h 6386516"/>
              <a:gd name="connsiteX5262" fmla="*/ 2177319 w 6789110"/>
              <a:gd name="connsiteY5262" fmla="*/ 1676271 h 6386516"/>
              <a:gd name="connsiteX5263" fmla="*/ 2181168 w 6789110"/>
              <a:gd name="connsiteY5263" fmla="*/ 1662798 h 6386516"/>
              <a:gd name="connsiteX5264" fmla="*/ 2186943 w 6789110"/>
              <a:gd name="connsiteY5264" fmla="*/ 1664723 h 6386516"/>
              <a:gd name="connsiteX5265" fmla="*/ 2177319 w 6789110"/>
              <a:gd name="connsiteY5265" fmla="*/ 1674347 h 6386516"/>
              <a:gd name="connsiteX5266" fmla="*/ 2240837 w 6789110"/>
              <a:gd name="connsiteY5266" fmla="*/ 1660885 h 6386516"/>
              <a:gd name="connsiteX5267" fmla="*/ 2251562 w 6789110"/>
              <a:gd name="connsiteY5267" fmla="*/ 1671608 h 6386516"/>
              <a:gd name="connsiteX5268" fmla="*/ 2265860 w 6789110"/>
              <a:gd name="connsiteY5268" fmla="*/ 1660885 h 6386516"/>
              <a:gd name="connsiteX5269" fmla="*/ 2269711 w 6789110"/>
              <a:gd name="connsiteY5269" fmla="*/ 1664734 h 6386516"/>
              <a:gd name="connsiteX5270" fmla="*/ 2254281 w 6789110"/>
              <a:gd name="connsiteY5270" fmla="*/ 1677184 h 6386516"/>
              <a:gd name="connsiteX5271" fmla="*/ 2251013 w 6789110"/>
              <a:gd name="connsiteY5271" fmla="*/ 1673119 h 6386516"/>
              <a:gd name="connsiteX5272" fmla="*/ 2248537 w 6789110"/>
              <a:gd name="connsiteY5272" fmla="*/ 1674357 h 6386516"/>
              <a:gd name="connsiteX5273" fmla="*/ 2236988 w 6789110"/>
              <a:gd name="connsiteY5273" fmla="*/ 1672433 h 6386516"/>
              <a:gd name="connsiteX5274" fmla="*/ 2240837 w 6789110"/>
              <a:gd name="connsiteY5274" fmla="*/ 1660885 h 6386516"/>
              <a:gd name="connsiteX5275" fmla="*/ 2211965 w 6789110"/>
              <a:gd name="connsiteY5275" fmla="*/ 1660875 h 6386516"/>
              <a:gd name="connsiteX5276" fmla="*/ 2217740 w 6789110"/>
              <a:gd name="connsiteY5276" fmla="*/ 1666649 h 6386516"/>
              <a:gd name="connsiteX5277" fmla="*/ 2208116 w 6789110"/>
              <a:gd name="connsiteY5277" fmla="*/ 1668574 h 6386516"/>
              <a:gd name="connsiteX5278" fmla="*/ 2391612 w 6789110"/>
              <a:gd name="connsiteY5278" fmla="*/ 1656378 h 6386516"/>
              <a:gd name="connsiteX5279" fmla="*/ 2392895 w 6789110"/>
              <a:gd name="connsiteY5279" fmla="*/ 1657021 h 6386516"/>
              <a:gd name="connsiteX5280" fmla="*/ 2390970 w 6789110"/>
              <a:gd name="connsiteY5280" fmla="*/ 1657021 h 6386516"/>
              <a:gd name="connsiteX5281" fmla="*/ 2127276 w 6789110"/>
              <a:gd name="connsiteY5281" fmla="*/ 1655106 h 6386516"/>
              <a:gd name="connsiteX5282" fmla="*/ 2127276 w 6789110"/>
              <a:gd name="connsiteY5282" fmla="*/ 1658957 h 6386516"/>
              <a:gd name="connsiteX5283" fmla="*/ 2121502 w 6789110"/>
              <a:gd name="connsiteY5283" fmla="*/ 1658957 h 6386516"/>
              <a:gd name="connsiteX5284" fmla="*/ 4829678 w 6789110"/>
              <a:gd name="connsiteY5284" fmla="*/ 1653226 h 6386516"/>
              <a:gd name="connsiteX5285" fmla="*/ 4818129 w 6789110"/>
              <a:gd name="connsiteY5285" fmla="*/ 1662852 h 6386516"/>
              <a:gd name="connsiteX5286" fmla="*/ 4816204 w 6789110"/>
              <a:gd name="connsiteY5286" fmla="*/ 1668628 h 6386516"/>
              <a:gd name="connsiteX5287" fmla="*/ 4829678 w 6789110"/>
              <a:gd name="connsiteY5287" fmla="*/ 1653226 h 6386516"/>
              <a:gd name="connsiteX5288" fmla="*/ 2117652 w 6789110"/>
              <a:gd name="connsiteY5288" fmla="*/ 1651263 h 6386516"/>
              <a:gd name="connsiteX5289" fmla="*/ 2117652 w 6789110"/>
              <a:gd name="connsiteY5289" fmla="*/ 1657037 h 6386516"/>
              <a:gd name="connsiteX5290" fmla="*/ 2111878 w 6789110"/>
              <a:gd name="connsiteY5290" fmla="*/ 1657037 h 6386516"/>
              <a:gd name="connsiteX5291" fmla="*/ 2302431 w 6789110"/>
              <a:gd name="connsiteY5291" fmla="*/ 1651260 h 6386516"/>
              <a:gd name="connsiteX5292" fmla="*/ 2319755 w 6789110"/>
              <a:gd name="connsiteY5292" fmla="*/ 1658960 h 6386516"/>
              <a:gd name="connsiteX5293" fmla="*/ 2315905 w 6789110"/>
              <a:gd name="connsiteY5293" fmla="*/ 1664734 h 6386516"/>
              <a:gd name="connsiteX5294" fmla="*/ 2319755 w 6789110"/>
              <a:gd name="connsiteY5294" fmla="*/ 1666659 h 6386516"/>
              <a:gd name="connsiteX5295" fmla="*/ 2317830 w 6789110"/>
              <a:gd name="connsiteY5295" fmla="*/ 1674356 h 6386516"/>
              <a:gd name="connsiteX5296" fmla="*/ 2310130 w 6789110"/>
              <a:gd name="connsiteY5296" fmla="*/ 1672433 h 6386516"/>
              <a:gd name="connsiteX5297" fmla="*/ 2313981 w 6789110"/>
              <a:gd name="connsiteY5297" fmla="*/ 1683980 h 6386516"/>
              <a:gd name="connsiteX5298" fmla="*/ 2317830 w 6789110"/>
              <a:gd name="connsiteY5298" fmla="*/ 1682055 h 6386516"/>
              <a:gd name="connsiteX5299" fmla="*/ 2315905 w 6789110"/>
              <a:gd name="connsiteY5299" fmla="*/ 1691680 h 6386516"/>
              <a:gd name="connsiteX5300" fmla="*/ 2306280 w 6789110"/>
              <a:gd name="connsiteY5300" fmla="*/ 1691680 h 6386516"/>
              <a:gd name="connsiteX5301" fmla="*/ 2310130 w 6789110"/>
              <a:gd name="connsiteY5301" fmla="*/ 1685905 h 6386516"/>
              <a:gd name="connsiteX5302" fmla="*/ 2298581 w 6789110"/>
              <a:gd name="connsiteY5302" fmla="*/ 1683980 h 6386516"/>
              <a:gd name="connsiteX5303" fmla="*/ 2296656 w 6789110"/>
              <a:gd name="connsiteY5303" fmla="*/ 1685905 h 6386516"/>
              <a:gd name="connsiteX5304" fmla="*/ 2298581 w 6789110"/>
              <a:gd name="connsiteY5304" fmla="*/ 1691680 h 6386516"/>
              <a:gd name="connsiteX5305" fmla="*/ 2298581 w 6789110"/>
              <a:gd name="connsiteY5305" fmla="*/ 1697455 h 6386516"/>
              <a:gd name="connsiteX5306" fmla="*/ 2292807 w 6789110"/>
              <a:gd name="connsiteY5306" fmla="*/ 1701305 h 6386516"/>
              <a:gd name="connsiteX5307" fmla="*/ 2300506 w 6789110"/>
              <a:gd name="connsiteY5307" fmla="*/ 1709005 h 6386516"/>
              <a:gd name="connsiteX5308" fmla="*/ 2304355 w 6789110"/>
              <a:gd name="connsiteY5308" fmla="*/ 1705155 h 6386516"/>
              <a:gd name="connsiteX5309" fmla="*/ 2298581 w 6789110"/>
              <a:gd name="connsiteY5309" fmla="*/ 1697455 h 6386516"/>
              <a:gd name="connsiteX5310" fmla="*/ 2302431 w 6789110"/>
              <a:gd name="connsiteY5310" fmla="*/ 1695530 h 6386516"/>
              <a:gd name="connsiteX5311" fmla="*/ 2317830 w 6789110"/>
              <a:gd name="connsiteY5311" fmla="*/ 1701305 h 6386516"/>
              <a:gd name="connsiteX5312" fmla="*/ 2317830 w 6789110"/>
              <a:gd name="connsiteY5312" fmla="*/ 1714781 h 6386516"/>
              <a:gd name="connsiteX5313" fmla="*/ 2315905 w 6789110"/>
              <a:gd name="connsiteY5313" fmla="*/ 1714781 h 6386516"/>
              <a:gd name="connsiteX5314" fmla="*/ 2317830 w 6789110"/>
              <a:gd name="connsiteY5314" fmla="*/ 1716706 h 6386516"/>
              <a:gd name="connsiteX5315" fmla="*/ 2315905 w 6789110"/>
              <a:gd name="connsiteY5315" fmla="*/ 1741726 h 6386516"/>
              <a:gd name="connsiteX5316" fmla="*/ 2315905 w 6789110"/>
              <a:gd name="connsiteY5316" fmla="*/ 1743651 h 6386516"/>
              <a:gd name="connsiteX5317" fmla="*/ 2315905 w 6789110"/>
              <a:gd name="connsiteY5317" fmla="*/ 1753274 h 6386516"/>
              <a:gd name="connsiteX5318" fmla="*/ 2315905 w 6789110"/>
              <a:gd name="connsiteY5318" fmla="*/ 1755197 h 6386516"/>
              <a:gd name="connsiteX5319" fmla="*/ 2383273 w 6789110"/>
              <a:gd name="connsiteY5319" fmla="*/ 2068928 h 6386516"/>
              <a:gd name="connsiteX5320" fmla="*/ 2375575 w 6789110"/>
              <a:gd name="connsiteY5320" fmla="*/ 2067003 h 6386516"/>
              <a:gd name="connsiteX5321" fmla="*/ 2381349 w 6789110"/>
              <a:gd name="connsiteY5321" fmla="*/ 2078554 h 6386516"/>
              <a:gd name="connsiteX5322" fmla="*/ 2385198 w 6789110"/>
              <a:gd name="connsiteY5322" fmla="*/ 2074702 h 6386516"/>
              <a:gd name="connsiteX5323" fmla="*/ 2388803 w 6789110"/>
              <a:gd name="connsiteY5323" fmla="*/ 2082516 h 6386516"/>
              <a:gd name="connsiteX5324" fmla="*/ 2385198 w 6789110"/>
              <a:gd name="connsiteY5324" fmla="*/ 2080477 h 6386516"/>
              <a:gd name="connsiteX5325" fmla="*/ 2385198 w 6789110"/>
              <a:gd name="connsiteY5325" fmla="*/ 2084328 h 6386516"/>
              <a:gd name="connsiteX5326" fmla="*/ 2379423 w 6789110"/>
              <a:gd name="connsiteY5326" fmla="*/ 2080477 h 6386516"/>
              <a:gd name="connsiteX5327" fmla="*/ 2376624 w 6789110"/>
              <a:gd name="connsiteY5327" fmla="*/ 2084678 h 6386516"/>
              <a:gd name="connsiteX5328" fmla="*/ 2375575 w 6789110"/>
              <a:gd name="connsiteY5328" fmla="*/ 2084328 h 6386516"/>
              <a:gd name="connsiteX5329" fmla="*/ 2375253 w 6789110"/>
              <a:gd name="connsiteY5329" fmla="*/ 2085932 h 6386516"/>
              <a:gd name="connsiteX5330" fmla="*/ 2371724 w 6789110"/>
              <a:gd name="connsiteY5330" fmla="*/ 2082402 h 6386516"/>
              <a:gd name="connsiteX5331" fmla="*/ 2365950 w 6789110"/>
              <a:gd name="connsiteY5331" fmla="*/ 2086253 h 6386516"/>
              <a:gd name="connsiteX5332" fmla="*/ 2366671 w 6789110"/>
              <a:gd name="connsiteY5332" fmla="*/ 2084569 h 6386516"/>
              <a:gd name="connsiteX5333" fmla="*/ 2361183 w 6789110"/>
              <a:gd name="connsiteY5333" fmla="*/ 2084365 h 6386516"/>
              <a:gd name="connsiteX5334" fmla="*/ 2363483 w 6789110"/>
              <a:gd name="connsiteY5334" fmla="*/ 2082885 h 6386516"/>
              <a:gd name="connsiteX5335" fmla="*/ 2364025 w 6789110"/>
              <a:gd name="connsiteY5335" fmla="*/ 2078554 h 6386516"/>
              <a:gd name="connsiteX5336" fmla="*/ 2354401 w 6789110"/>
              <a:gd name="connsiteY5336" fmla="*/ 2074702 h 6386516"/>
              <a:gd name="connsiteX5337" fmla="*/ 2357608 w 6789110"/>
              <a:gd name="connsiteY5337" fmla="*/ 2084328 h 6386516"/>
              <a:gd name="connsiteX5338" fmla="*/ 2354401 w 6789110"/>
              <a:gd name="connsiteY5338" fmla="*/ 2084328 h 6386516"/>
              <a:gd name="connsiteX5339" fmla="*/ 2348627 w 6789110"/>
              <a:gd name="connsiteY5339" fmla="*/ 2086253 h 6386516"/>
              <a:gd name="connsiteX5340" fmla="*/ 2339004 w 6789110"/>
              <a:gd name="connsiteY5340" fmla="*/ 2084328 h 6386516"/>
              <a:gd name="connsiteX5341" fmla="*/ 2335153 w 6789110"/>
              <a:gd name="connsiteY5341" fmla="*/ 2082402 h 6386516"/>
              <a:gd name="connsiteX5342" fmla="*/ 2333228 w 6789110"/>
              <a:gd name="connsiteY5342" fmla="*/ 2074702 h 6386516"/>
              <a:gd name="connsiteX5343" fmla="*/ 2329379 w 6789110"/>
              <a:gd name="connsiteY5343" fmla="*/ 2076629 h 6386516"/>
              <a:gd name="connsiteX5344" fmla="*/ 2331304 w 6789110"/>
              <a:gd name="connsiteY5344" fmla="*/ 2084328 h 6386516"/>
              <a:gd name="connsiteX5345" fmla="*/ 2337078 w 6789110"/>
              <a:gd name="connsiteY5345" fmla="*/ 2084328 h 6386516"/>
              <a:gd name="connsiteX5346" fmla="*/ 2327454 w 6789110"/>
              <a:gd name="connsiteY5346" fmla="*/ 2088178 h 6386516"/>
              <a:gd name="connsiteX5347" fmla="*/ 2337078 w 6789110"/>
              <a:gd name="connsiteY5347" fmla="*/ 2095879 h 6386516"/>
              <a:gd name="connsiteX5348" fmla="*/ 2333228 w 6789110"/>
              <a:gd name="connsiteY5348" fmla="*/ 2101655 h 6386516"/>
              <a:gd name="connsiteX5349" fmla="*/ 2327454 w 6789110"/>
              <a:gd name="connsiteY5349" fmla="*/ 2097804 h 6386516"/>
              <a:gd name="connsiteX5350" fmla="*/ 2323604 w 6789110"/>
              <a:gd name="connsiteY5350" fmla="*/ 2099729 h 6386516"/>
              <a:gd name="connsiteX5351" fmla="*/ 2321680 w 6789110"/>
              <a:gd name="connsiteY5351" fmla="*/ 2097804 h 6386516"/>
              <a:gd name="connsiteX5352" fmla="*/ 2315905 w 6789110"/>
              <a:gd name="connsiteY5352" fmla="*/ 2090103 h 6386516"/>
              <a:gd name="connsiteX5353" fmla="*/ 2315905 w 6789110"/>
              <a:gd name="connsiteY5353" fmla="*/ 2097804 h 6386516"/>
              <a:gd name="connsiteX5354" fmla="*/ 2304355 w 6789110"/>
              <a:gd name="connsiteY5354" fmla="*/ 2099729 h 6386516"/>
              <a:gd name="connsiteX5355" fmla="*/ 2298581 w 6789110"/>
              <a:gd name="connsiteY5355" fmla="*/ 2093954 h 6386516"/>
              <a:gd name="connsiteX5356" fmla="*/ 2292807 w 6789110"/>
              <a:gd name="connsiteY5356" fmla="*/ 2093954 h 6386516"/>
              <a:gd name="connsiteX5357" fmla="*/ 2288958 w 6789110"/>
              <a:gd name="connsiteY5357" fmla="*/ 2082402 h 6386516"/>
              <a:gd name="connsiteX5358" fmla="*/ 2281258 w 6789110"/>
              <a:gd name="connsiteY5358" fmla="*/ 2084328 h 6386516"/>
              <a:gd name="connsiteX5359" fmla="*/ 2277408 w 6789110"/>
              <a:gd name="connsiteY5359" fmla="*/ 2092029 h 6386516"/>
              <a:gd name="connsiteX5360" fmla="*/ 2283183 w 6789110"/>
              <a:gd name="connsiteY5360" fmla="*/ 2092029 h 6386516"/>
              <a:gd name="connsiteX5361" fmla="*/ 2283183 w 6789110"/>
              <a:gd name="connsiteY5361" fmla="*/ 2086253 h 6386516"/>
              <a:gd name="connsiteX5362" fmla="*/ 2290882 w 6789110"/>
              <a:gd name="connsiteY5362" fmla="*/ 2092029 h 6386516"/>
              <a:gd name="connsiteX5363" fmla="*/ 2279333 w 6789110"/>
              <a:gd name="connsiteY5363" fmla="*/ 2097804 h 6386516"/>
              <a:gd name="connsiteX5364" fmla="*/ 2283183 w 6789110"/>
              <a:gd name="connsiteY5364" fmla="*/ 2103580 h 6386516"/>
              <a:gd name="connsiteX5365" fmla="*/ 2271634 w 6789110"/>
              <a:gd name="connsiteY5365" fmla="*/ 2109356 h 6386516"/>
              <a:gd name="connsiteX5366" fmla="*/ 2268747 w 6789110"/>
              <a:gd name="connsiteY5366" fmla="*/ 2107911 h 6386516"/>
              <a:gd name="connsiteX5367" fmla="*/ 2269709 w 6789110"/>
              <a:gd name="connsiteY5367" fmla="*/ 2107431 h 6386516"/>
              <a:gd name="connsiteX5368" fmla="*/ 2273559 w 6789110"/>
              <a:gd name="connsiteY5368" fmla="*/ 2101655 h 6386516"/>
              <a:gd name="connsiteX5369" fmla="*/ 2263935 w 6789110"/>
              <a:gd name="connsiteY5369" fmla="*/ 2101655 h 6386516"/>
              <a:gd name="connsiteX5370" fmla="*/ 2265565 w 6789110"/>
              <a:gd name="connsiteY5370" fmla="*/ 2108169 h 6386516"/>
              <a:gd name="connsiteX5371" fmla="*/ 2262010 w 6789110"/>
              <a:gd name="connsiteY5371" fmla="*/ 2109356 h 6386516"/>
              <a:gd name="connsiteX5372" fmla="*/ 2256236 w 6789110"/>
              <a:gd name="connsiteY5372" fmla="*/ 2103580 h 6386516"/>
              <a:gd name="connsiteX5373" fmla="*/ 2262010 w 6789110"/>
              <a:gd name="connsiteY5373" fmla="*/ 2097804 h 6386516"/>
              <a:gd name="connsiteX5374" fmla="*/ 2260085 w 6789110"/>
              <a:gd name="connsiteY5374" fmla="*/ 2088178 h 6386516"/>
              <a:gd name="connsiteX5375" fmla="*/ 2250462 w 6789110"/>
              <a:gd name="connsiteY5375" fmla="*/ 2092029 h 6386516"/>
              <a:gd name="connsiteX5376" fmla="*/ 2248537 w 6789110"/>
              <a:gd name="connsiteY5376" fmla="*/ 2086253 h 6386516"/>
              <a:gd name="connsiteX5377" fmla="*/ 2258161 w 6789110"/>
              <a:gd name="connsiteY5377" fmla="*/ 2082402 h 6386516"/>
              <a:gd name="connsiteX5378" fmla="*/ 2263935 w 6789110"/>
              <a:gd name="connsiteY5378" fmla="*/ 2093954 h 6386516"/>
              <a:gd name="connsiteX5379" fmla="*/ 2267784 w 6789110"/>
              <a:gd name="connsiteY5379" fmla="*/ 2086253 h 6386516"/>
              <a:gd name="connsiteX5380" fmla="*/ 2269709 w 6789110"/>
              <a:gd name="connsiteY5380" fmla="*/ 2078554 h 6386516"/>
              <a:gd name="connsiteX5381" fmla="*/ 2279333 w 6789110"/>
              <a:gd name="connsiteY5381" fmla="*/ 2068928 h 6386516"/>
              <a:gd name="connsiteX5382" fmla="*/ 2273559 w 6789110"/>
              <a:gd name="connsiteY5382" fmla="*/ 2074702 h 6386516"/>
              <a:gd name="connsiteX5383" fmla="*/ 2267784 w 6789110"/>
              <a:gd name="connsiteY5383" fmla="*/ 2070853 h 6386516"/>
              <a:gd name="connsiteX5384" fmla="*/ 2267784 w 6789110"/>
              <a:gd name="connsiteY5384" fmla="*/ 2076629 h 6386516"/>
              <a:gd name="connsiteX5385" fmla="*/ 2258161 w 6789110"/>
              <a:gd name="connsiteY5385" fmla="*/ 2076629 h 6386516"/>
              <a:gd name="connsiteX5386" fmla="*/ 2258161 w 6789110"/>
              <a:gd name="connsiteY5386" fmla="*/ 2082402 h 6386516"/>
              <a:gd name="connsiteX5387" fmla="*/ 2252386 w 6789110"/>
              <a:gd name="connsiteY5387" fmla="*/ 2080477 h 6386516"/>
              <a:gd name="connsiteX5388" fmla="*/ 2248537 w 6789110"/>
              <a:gd name="connsiteY5388" fmla="*/ 2086253 h 6386516"/>
              <a:gd name="connsiteX5389" fmla="*/ 2250462 w 6789110"/>
              <a:gd name="connsiteY5389" fmla="*/ 2076629 h 6386516"/>
              <a:gd name="connsiteX5390" fmla="*/ 2240837 w 6789110"/>
              <a:gd name="connsiteY5390" fmla="*/ 2076629 h 6386516"/>
              <a:gd name="connsiteX5391" fmla="*/ 2258161 w 6789110"/>
              <a:gd name="connsiteY5391" fmla="*/ 2074702 h 6386516"/>
              <a:gd name="connsiteX5392" fmla="*/ 2260085 w 6789110"/>
              <a:gd name="connsiteY5392" fmla="*/ 2067003 h 6386516"/>
              <a:gd name="connsiteX5393" fmla="*/ 2244688 w 6789110"/>
              <a:gd name="connsiteY5393" fmla="*/ 2061227 h 6386516"/>
              <a:gd name="connsiteX5394" fmla="*/ 2244688 w 6789110"/>
              <a:gd name="connsiteY5394" fmla="*/ 2067003 h 6386516"/>
              <a:gd name="connsiteX5395" fmla="*/ 2229289 w 6789110"/>
              <a:gd name="connsiteY5395" fmla="*/ 2055451 h 6386516"/>
              <a:gd name="connsiteX5396" fmla="*/ 2221590 w 6789110"/>
              <a:gd name="connsiteY5396" fmla="*/ 2061227 h 6386516"/>
              <a:gd name="connsiteX5397" fmla="*/ 2221590 w 6789110"/>
              <a:gd name="connsiteY5397" fmla="*/ 2053526 h 6386516"/>
              <a:gd name="connsiteX5398" fmla="*/ 2217740 w 6789110"/>
              <a:gd name="connsiteY5398" fmla="*/ 2061227 h 6386516"/>
              <a:gd name="connsiteX5399" fmla="*/ 2208116 w 6789110"/>
              <a:gd name="connsiteY5399" fmla="*/ 2061227 h 6386516"/>
              <a:gd name="connsiteX5400" fmla="*/ 2208116 w 6789110"/>
              <a:gd name="connsiteY5400" fmla="*/ 2068928 h 6386516"/>
              <a:gd name="connsiteX5401" fmla="*/ 2202342 w 6789110"/>
              <a:gd name="connsiteY5401" fmla="*/ 2057377 h 6386516"/>
              <a:gd name="connsiteX5402" fmla="*/ 2211966 w 6789110"/>
              <a:gd name="connsiteY5402" fmla="*/ 2057377 h 6386516"/>
              <a:gd name="connsiteX5403" fmla="*/ 2208116 w 6789110"/>
              <a:gd name="connsiteY5403" fmla="*/ 2045825 h 6386516"/>
              <a:gd name="connsiteX5404" fmla="*/ 2198492 w 6789110"/>
              <a:gd name="connsiteY5404" fmla="*/ 2053526 h 6386516"/>
              <a:gd name="connsiteX5405" fmla="*/ 2190793 w 6789110"/>
              <a:gd name="connsiteY5405" fmla="*/ 2051601 h 6386516"/>
              <a:gd name="connsiteX5406" fmla="*/ 2181169 w 6789110"/>
              <a:gd name="connsiteY5406" fmla="*/ 2051601 h 6386516"/>
              <a:gd name="connsiteX5407" fmla="*/ 2181169 w 6789110"/>
              <a:gd name="connsiteY5407" fmla="*/ 2043900 h 6386516"/>
              <a:gd name="connsiteX5408" fmla="*/ 2175395 w 6789110"/>
              <a:gd name="connsiteY5408" fmla="*/ 2049676 h 6386516"/>
              <a:gd name="connsiteX5409" fmla="*/ 2167696 w 6789110"/>
              <a:gd name="connsiteY5409" fmla="*/ 2043900 h 6386516"/>
              <a:gd name="connsiteX5410" fmla="*/ 2167696 w 6789110"/>
              <a:gd name="connsiteY5410" fmla="*/ 2051601 h 6386516"/>
              <a:gd name="connsiteX5411" fmla="*/ 2163847 w 6789110"/>
              <a:gd name="connsiteY5411" fmla="*/ 2053526 h 6386516"/>
              <a:gd name="connsiteX5412" fmla="*/ 2160272 w 6789110"/>
              <a:gd name="connsiteY5412" fmla="*/ 2050730 h 6386516"/>
              <a:gd name="connsiteX5413" fmla="*/ 2161440 w 6789110"/>
              <a:gd name="connsiteY5413" fmla="*/ 2047028 h 6386516"/>
              <a:gd name="connsiteX5414" fmla="*/ 2159996 w 6789110"/>
              <a:gd name="connsiteY5414" fmla="*/ 2043900 h 6386516"/>
              <a:gd name="connsiteX5415" fmla="*/ 2165771 w 6789110"/>
              <a:gd name="connsiteY5415" fmla="*/ 2038125 h 6386516"/>
              <a:gd name="connsiteX5416" fmla="*/ 2154222 w 6789110"/>
              <a:gd name="connsiteY5416" fmla="*/ 2043419 h 6386516"/>
              <a:gd name="connsiteX5417" fmla="*/ 2158280 w 6789110"/>
              <a:gd name="connsiteY5417" fmla="*/ 2049170 h 6386516"/>
              <a:gd name="connsiteX5418" fmla="*/ 2146570 w 6789110"/>
              <a:gd name="connsiteY5418" fmla="*/ 2040004 h 6386516"/>
              <a:gd name="connsiteX5419" fmla="*/ 2152297 w 6789110"/>
              <a:gd name="connsiteY5419" fmla="*/ 2034278 h 6386516"/>
              <a:gd name="connsiteX5420" fmla="*/ 2146523 w 6789110"/>
              <a:gd name="connsiteY5420" fmla="*/ 2034278 h 6386516"/>
              <a:gd name="connsiteX5421" fmla="*/ 2146523 w 6789110"/>
              <a:gd name="connsiteY5421" fmla="*/ 2028505 h 6386516"/>
              <a:gd name="connsiteX5422" fmla="*/ 2152297 w 6789110"/>
              <a:gd name="connsiteY5422" fmla="*/ 2030428 h 6386516"/>
              <a:gd name="connsiteX5423" fmla="*/ 2158073 w 6789110"/>
              <a:gd name="connsiteY5423" fmla="*/ 2024656 h 6386516"/>
              <a:gd name="connsiteX5424" fmla="*/ 2154222 w 6789110"/>
              <a:gd name="connsiteY5424" fmla="*/ 2016957 h 6386516"/>
              <a:gd name="connsiteX5425" fmla="*/ 2154222 w 6789110"/>
              <a:gd name="connsiteY5425" fmla="*/ 2009260 h 6386516"/>
              <a:gd name="connsiteX5426" fmla="*/ 2150372 w 6789110"/>
              <a:gd name="connsiteY5426" fmla="*/ 2009260 h 6386516"/>
              <a:gd name="connsiteX5427" fmla="*/ 2150372 w 6789110"/>
              <a:gd name="connsiteY5427" fmla="*/ 2016957 h 6386516"/>
              <a:gd name="connsiteX5428" fmla="*/ 2140749 w 6789110"/>
              <a:gd name="connsiteY5428" fmla="*/ 2016957 h 6386516"/>
              <a:gd name="connsiteX5429" fmla="*/ 2131125 w 6789110"/>
              <a:gd name="connsiteY5429" fmla="*/ 2015033 h 6386516"/>
              <a:gd name="connsiteX5430" fmla="*/ 2129225 w 6789110"/>
              <a:gd name="connsiteY5430" fmla="*/ 2026431 h 6386516"/>
              <a:gd name="connsiteX5431" fmla="*/ 2119577 w 6789110"/>
              <a:gd name="connsiteY5431" fmla="*/ 2018881 h 6386516"/>
              <a:gd name="connsiteX5432" fmla="*/ 2133050 w 6789110"/>
              <a:gd name="connsiteY5432" fmla="*/ 2007338 h 6386516"/>
              <a:gd name="connsiteX5433" fmla="*/ 2140749 w 6789110"/>
              <a:gd name="connsiteY5433" fmla="*/ 2007338 h 6386516"/>
              <a:gd name="connsiteX5434" fmla="*/ 2140749 w 6789110"/>
              <a:gd name="connsiteY5434" fmla="*/ 1999637 h 6386516"/>
              <a:gd name="connsiteX5435" fmla="*/ 2150372 w 6789110"/>
              <a:gd name="connsiteY5435" fmla="*/ 1999637 h 6386516"/>
              <a:gd name="connsiteX5436" fmla="*/ 2156147 w 6789110"/>
              <a:gd name="connsiteY5436" fmla="*/ 1993861 h 6386516"/>
              <a:gd name="connsiteX5437" fmla="*/ 2154222 w 6789110"/>
              <a:gd name="connsiteY5437" fmla="*/ 1980391 h 6386516"/>
              <a:gd name="connsiteX5438" fmla="*/ 2154222 w 6789110"/>
              <a:gd name="connsiteY5438" fmla="*/ 1990011 h 6386516"/>
              <a:gd name="connsiteX5439" fmla="*/ 2142673 w 6789110"/>
              <a:gd name="connsiteY5439" fmla="*/ 1990011 h 6386516"/>
              <a:gd name="connsiteX5440" fmla="*/ 2142673 w 6789110"/>
              <a:gd name="connsiteY5440" fmla="*/ 1982314 h 6386516"/>
              <a:gd name="connsiteX5441" fmla="*/ 2148448 w 6789110"/>
              <a:gd name="connsiteY5441" fmla="*/ 1986164 h 6386516"/>
              <a:gd name="connsiteX5442" fmla="*/ 2154222 w 6789110"/>
              <a:gd name="connsiteY5442" fmla="*/ 1966918 h 6386516"/>
              <a:gd name="connsiteX5443" fmla="*/ 2146523 w 6789110"/>
              <a:gd name="connsiteY5443" fmla="*/ 1972691 h 6386516"/>
              <a:gd name="connsiteX5444" fmla="*/ 2146523 w 6789110"/>
              <a:gd name="connsiteY5444" fmla="*/ 1959226 h 6386516"/>
              <a:gd name="connsiteX5445" fmla="*/ 2158073 w 6789110"/>
              <a:gd name="connsiteY5445" fmla="*/ 1963068 h 6386516"/>
              <a:gd name="connsiteX5446" fmla="*/ 2152297 w 6789110"/>
              <a:gd name="connsiteY5446" fmla="*/ 1955376 h 6386516"/>
              <a:gd name="connsiteX5447" fmla="*/ 2163847 w 6789110"/>
              <a:gd name="connsiteY5447" fmla="*/ 1945752 h 6386516"/>
              <a:gd name="connsiteX5448" fmla="*/ 2162350 w 6789110"/>
              <a:gd name="connsiteY5448" fmla="*/ 1941261 h 6386516"/>
              <a:gd name="connsiteX5449" fmla="*/ 2163205 w 6789110"/>
              <a:gd name="connsiteY5449" fmla="*/ 1939978 h 6386516"/>
              <a:gd name="connsiteX5450" fmla="*/ 2171545 w 6789110"/>
              <a:gd name="connsiteY5450" fmla="*/ 1939978 h 6386516"/>
              <a:gd name="connsiteX5451" fmla="*/ 2165771 w 6789110"/>
              <a:gd name="connsiteY5451" fmla="*/ 1936127 h 6386516"/>
              <a:gd name="connsiteX5452" fmla="*/ 2163205 w 6789110"/>
              <a:gd name="connsiteY5452" fmla="*/ 1939978 h 6386516"/>
              <a:gd name="connsiteX5453" fmla="*/ 2161921 w 6789110"/>
              <a:gd name="connsiteY5453" fmla="*/ 1939978 h 6386516"/>
              <a:gd name="connsiteX5454" fmla="*/ 2162350 w 6789110"/>
              <a:gd name="connsiteY5454" fmla="*/ 1941261 h 6386516"/>
              <a:gd name="connsiteX5455" fmla="*/ 2161921 w 6789110"/>
              <a:gd name="connsiteY5455" fmla="*/ 1941903 h 6386516"/>
              <a:gd name="connsiteX5456" fmla="*/ 2150372 w 6789110"/>
              <a:gd name="connsiteY5456" fmla="*/ 1955376 h 6386516"/>
              <a:gd name="connsiteX5457" fmla="*/ 2146523 w 6789110"/>
              <a:gd name="connsiteY5457" fmla="*/ 1949601 h 6386516"/>
              <a:gd name="connsiteX5458" fmla="*/ 2140749 w 6789110"/>
              <a:gd name="connsiteY5458" fmla="*/ 1941903 h 6386516"/>
              <a:gd name="connsiteX5459" fmla="*/ 2140749 w 6789110"/>
              <a:gd name="connsiteY5459" fmla="*/ 1930353 h 6386516"/>
              <a:gd name="connsiteX5460" fmla="*/ 2146523 w 6789110"/>
              <a:gd name="connsiteY5460" fmla="*/ 1928428 h 6386516"/>
              <a:gd name="connsiteX5461" fmla="*/ 2136899 w 6789110"/>
              <a:gd name="connsiteY5461" fmla="*/ 1926503 h 6386516"/>
              <a:gd name="connsiteX5462" fmla="*/ 2140749 w 6789110"/>
              <a:gd name="connsiteY5462" fmla="*/ 1920730 h 6386516"/>
              <a:gd name="connsiteX5463" fmla="*/ 2131125 w 6789110"/>
              <a:gd name="connsiteY5463" fmla="*/ 1920730 h 6386516"/>
              <a:gd name="connsiteX5464" fmla="*/ 2134974 w 6789110"/>
              <a:gd name="connsiteY5464" fmla="*/ 1914956 h 6386516"/>
              <a:gd name="connsiteX5465" fmla="*/ 2129200 w 6789110"/>
              <a:gd name="connsiteY5465" fmla="*/ 1913031 h 6386516"/>
              <a:gd name="connsiteX5466" fmla="*/ 2133050 w 6789110"/>
              <a:gd name="connsiteY5466" fmla="*/ 1901482 h 6386516"/>
              <a:gd name="connsiteX5467" fmla="*/ 2129200 w 6789110"/>
              <a:gd name="connsiteY5467" fmla="*/ 1905332 h 6386516"/>
              <a:gd name="connsiteX5468" fmla="*/ 2123425 w 6789110"/>
              <a:gd name="connsiteY5468" fmla="*/ 1907257 h 6386516"/>
              <a:gd name="connsiteX5469" fmla="*/ 2129200 w 6789110"/>
              <a:gd name="connsiteY5469" fmla="*/ 1913031 h 6386516"/>
              <a:gd name="connsiteX5470" fmla="*/ 2127275 w 6789110"/>
              <a:gd name="connsiteY5470" fmla="*/ 1916881 h 6386516"/>
              <a:gd name="connsiteX5471" fmla="*/ 2121501 w 6789110"/>
              <a:gd name="connsiteY5471" fmla="*/ 1924580 h 6386516"/>
              <a:gd name="connsiteX5472" fmla="*/ 2115726 w 6789110"/>
              <a:gd name="connsiteY5472" fmla="*/ 1918805 h 6386516"/>
              <a:gd name="connsiteX5473" fmla="*/ 2125351 w 6789110"/>
              <a:gd name="connsiteY5473" fmla="*/ 1918805 h 6386516"/>
              <a:gd name="connsiteX5474" fmla="*/ 2115726 w 6789110"/>
              <a:gd name="connsiteY5474" fmla="*/ 1907257 h 6386516"/>
              <a:gd name="connsiteX5475" fmla="*/ 2109952 w 6789110"/>
              <a:gd name="connsiteY5475" fmla="*/ 1893783 h 6386516"/>
              <a:gd name="connsiteX5476" fmla="*/ 2098403 w 6789110"/>
              <a:gd name="connsiteY5476" fmla="*/ 1901482 h 6386516"/>
              <a:gd name="connsiteX5477" fmla="*/ 2086854 w 6789110"/>
              <a:gd name="connsiteY5477" fmla="*/ 1893783 h 6386516"/>
              <a:gd name="connsiteX5478" fmla="*/ 2088780 w 6789110"/>
              <a:gd name="connsiteY5478" fmla="*/ 1889934 h 6386516"/>
              <a:gd name="connsiteX5479" fmla="*/ 2083006 w 6789110"/>
              <a:gd name="connsiteY5479" fmla="*/ 1888009 h 6386516"/>
              <a:gd name="connsiteX5480" fmla="*/ 2094554 w 6789110"/>
              <a:gd name="connsiteY5480" fmla="*/ 1882234 h 6386516"/>
              <a:gd name="connsiteX5481" fmla="*/ 2090704 w 6789110"/>
              <a:gd name="connsiteY5481" fmla="*/ 1876460 h 6386516"/>
              <a:gd name="connsiteX5482" fmla="*/ 2100328 w 6789110"/>
              <a:gd name="connsiteY5482" fmla="*/ 1882234 h 6386516"/>
              <a:gd name="connsiteX5483" fmla="*/ 2106102 w 6789110"/>
              <a:gd name="connsiteY5483" fmla="*/ 1882234 h 6386516"/>
              <a:gd name="connsiteX5484" fmla="*/ 2102253 w 6789110"/>
              <a:gd name="connsiteY5484" fmla="*/ 1884159 h 6386516"/>
              <a:gd name="connsiteX5485" fmla="*/ 2102253 w 6789110"/>
              <a:gd name="connsiteY5485" fmla="*/ 1891858 h 6386516"/>
              <a:gd name="connsiteX5486" fmla="*/ 2119577 w 6789110"/>
              <a:gd name="connsiteY5486" fmla="*/ 1888009 h 6386516"/>
              <a:gd name="connsiteX5487" fmla="*/ 2133050 w 6789110"/>
              <a:gd name="connsiteY5487" fmla="*/ 1876460 h 6386516"/>
              <a:gd name="connsiteX5488" fmla="*/ 2127275 w 6789110"/>
              <a:gd name="connsiteY5488" fmla="*/ 1870687 h 6386516"/>
              <a:gd name="connsiteX5489" fmla="*/ 2127275 w 6789110"/>
              <a:gd name="connsiteY5489" fmla="*/ 1862988 h 6386516"/>
              <a:gd name="connsiteX5490" fmla="*/ 2136899 w 6789110"/>
              <a:gd name="connsiteY5490" fmla="*/ 1862988 h 6386516"/>
              <a:gd name="connsiteX5491" fmla="*/ 2146523 w 6789110"/>
              <a:gd name="connsiteY5491" fmla="*/ 1861062 h 6386516"/>
              <a:gd name="connsiteX5492" fmla="*/ 2150372 w 6789110"/>
              <a:gd name="connsiteY5492" fmla="*/ 1866837 h 6386516"/>
              <a:gd name="connsiteX5493" fmla="*/ 2158073 w 6789110"/>
              <a:gd name="connsiteY5493" fmla="*/ 1861062 h 6386516"/>
              <a:gd name="connsiteX5494" fmla="*/ 2161921 w 6789110"/>
              <a:gd name="connsiteY5494" fmla="*/ 1849514 h 6386516"/>
              <a:gd name="connsiteX5495" fmla="*/ 2154222 w 6789110"/>
              <a:gd name="connsiteY5495" fmla="*/ 1849514 h 6386516"/>
              <a:gd name="connsiteX5496" fmla="*/ 2159996 w 6789110"/>
              <a:gd name="connsiteY5496" fmla="*/ 1843741 h 6386516"/>
              <a:gd name="connsiteX5497" fmla="*/ 2150372 w 6789110"/>
              <a:gd name="connsiteY5497" fmla="*/ 1841816 h 6386516"/>
              <a:gd name="connsiteX5498" fmla="*/ 2154222 w 6789110"/>
              <a:gd name="connsiteY5498" fmla="*/ 1849514 h 6386516"/>
              <a:gd name="connsiteX5499" fmla="*/ 2152297 w 6789110"/>
              <a:gd name="connsiteY5499" fmla="*/ 1849514 h 6386516"/>
              <a:gd name="connsiteX5500" fmla="*/ 2146523 w 6789110"/>
              <a:gd name="connsiteY5500" fmla="*/ 1861062 h 6386516"/>
              <a:gd name="connsiteX5501" fmla="*/ 2136899 w 6789110"/>
              <a:gd name="connsiteY5501" fmla="*/ 1853364 h 6386516"/>
              <a:gd name="connsiteX5502" fmla="*/ 2121501 w 6789110"/>
              <a:gd name="connsiteY5502" fmla="*/ 1861062 h 6386516"/>
              <a:gd name="connsiteX5503" fmla="*/ 2125351 w 6789110"/>
              <a:gd name="connsiteY5503" fmla="*/ 1868762 h 6386516"/>
              <a:gd name="connsiteX5504" fmla="*/ 2111877 w 6789110"/>
              <a:gd name="connsiteY5504" fmla="*/ 1882234 h 6386516"/>
              <a:gd name="connsiteX5505" fmla="*/ 2106102 w 6789110"/>
              <a:gd name="connsiteY5505" fmla="*/ 1878386 h 6386516"/>
              <a:gd name="connsiteX5506" fmla="*/ 2106102 w 6789110"/>
              <a:gd name="connsiteY5506" fmla="*/ 1872611 h 6386516"/>
              <a:gd name="connsiteX5507" fmla="*/ 2111877 w 6789110"/>
              <a:gd name="connsiteY5507" fmla="*/ 1872611 h 6386516"/>
              <a:gd name="connsiteX5508" fmla="*/ 2111877 w 6789110"/>
              <a:gd name="connsiteY5508" fmla="*/ 1864912 h 6386516"/>
              <a:gd name="connsiteX5509" fmla="*/ 2102253 w 6789110"/>
              <a:gd name="connsiteY5509" fmla="*/ 1864912 h 6386516"/>
              <a:gd name="connsiteX5510" fmla="*/ 2102253 w 6789110"/>
              <a:gd name="connsiteY5510" fmla="*/ 1862988 h 6386516"/>
              <a:gd name="connsiteX5511" fmla="*/ 2111877 w 6789110"/>
              <a:gd name="connsiteY5511" fmla="*/ 1862988 h 6386516"/>
              <a:gd name="connsiteX5512" fmla="*/ 2109952 w 6789110"/>
              <a:gd name="connsiteY5512" fmla="*/ 1851439 h 6386516"/>
              <a:gd name="connsiteX5513" fmla="*/ 2117651 w 6789110"/>
              <a:gd name="connsiteY5513" fmla="*/ 1851439 h 6386516"/>
              <a:gd name="connsiteX5514" fmla="*/ 2123425 w 6789110"/>
              <a:gd name="connsiteY5514" fmla="*/ 1843741 h 6386516"/>
              <a:gd name="connsiteX5515" fmla="*/ 2113801 w 6789110"/>
              <a:gd name="connsiteY5515" fmla="*/ 1836041 h 6386516"/>
              <a:gd name="connsiteX5516" fmla="*/ 2125351 w 6789110"/>
              <a:gd name="connsiteY5516" fmla="*/ 1832192 h 6386516"/>
              <a:gd name="connsiteX5517" fmla="*/ 2109952 w 6789110"/>
              <a:gd name="connsiteY5517" fmla="*/ 1830267 h 6386516"/>
              <a:gd name="connsiteX5518" fmla="*/ 2109952 w 6789110"/>
              <a:gd name="connsiteY5518" fmla="*/ 1822568 h 6386516"/>
              <a:gd name="connsiteX5519" fmla="*/ 2119577 w 6789110"/>
              <a:gd name="connsiteY5519" fmla="*/ 1822568 h 6386516"/>
              <a:gd name="connsiteX5520" fmla="*/ 2109952 w 6789110"/>
              <a:gd name="connsiteY5520" fmla="*/ 1814868 h 6386516"/>
              <a:gd name="connsiteX5521" fmla="*/ 2117892 w 6789110"/>
              <a:gd name="connsiteY5521" fmla="*/ 1815350 h 6386516"/>
              <a:gd name="connsiteX5522" fmla="*/ 2121499 w 6789110"/>
              <a:gd name="connsiteY5522" fmla="*/ 1812944 h 6386516"/>
              <a:gd name="connsiteX5523" fmla="*/ 2111877 w 6789110"/>
              <a:gd name="connsiteY5523" fmla="*/ 1812944 h 6386516"/>
              <a:gd name="connsiteX5524" fmla="*/ 2117651 w 6789110"/>
              <a:gd name="connsiteY5524" fmla="*/ 1807170 h 6386516"/>
              <a:gd name="connsiteX5525" fmla="*/ 2121501 w 6789110"/>
              <a:gd name="connsiteY5525" fmla="*/ 1812944 h 6386516"/>
              <a:gd name="connsiteX5526" fmla="*/ 2121501 w 6789110"/>
              <a:gd name="connsiteY5526" fmla="*/ 1812943 h 6386516"/>
              <a:gd name="connsiteX5527" fmla="*/ 2127275 w 6789110"/>
              <a:gd name="connsiteY5527" fmla="*/ 1816793 h 6386516"/>
              <a:gd name="connsiteX5528" fmla="*/ 2123425 w 6789110"/>
              <a:gd name="connsiteY5528" fmla="*/ 1826417 h 6386516"/>
              <a:gd name="connsiteX5529" fmla="*/ 2129200 w 6789110"/>
              <a:gd name="connsiteY5529" fmla="*/ 1826417 h 6386516"/>
              <a:gd name="connsiteX5530" fmla="*/ 2131125 w 6789110"/>
              <a:gd name="connsiteY5530" fmla="*/ 1818718 h 6386516"/>
              <a:gd name="connsiteX5531" fmla="*/ 2129200 w 6789110"/>
              <a:gd name="connsiteY5531" fmla="*/ 1812943 h 6386516"/>
              <a:gd name="connsiteX5532" fmla="*/ 2130911 w 6789110"/>
              <a:gd name="connsiteY5532" fmla="*/ 1807811 h 6386516"/>
              <a:gd name="connsiteX5533" fmla="*/ 2133050 w 6789110"/>
              <a:gd name="connsiteY5533" fmla="*/ 1811018 h 6386516"/>
              <a:gd name="connsiteX5534" fmla="*/ 2140749 w 6789110"/>
              <a:gd name="connsiteY5534" fmla="*/ 1809093 h 6386516"/>
              <a:gd name="connsiteX5535" fmla="*/ 2140749 w 6789110"/>
              <a:gd name="connsiteY5535" fmla="*/ 1815638 h 6386516"/>
              <a:gd name="connsiteX5536" fmla="*/ 2138824 w 6789110"/>
              <a:gd name="connsiteY5536" fmla="*/ 1814868 h 6386516"/>
              <a:gd name="connsiteX5537" fmla="*/ 2134974 w 6789110"/>
              <a:gd name="connsiteY5537" fmla="*/ 1820642 h 6386516"/>
              <a:gd name="connsiteX5538" fmla="*/ 2144598 w 6789110"/>
              <a:gd name="connsiteY5538" fmla="*/ 1832192 h 6386516"/>
              <a:gd name="connsiteX5539" fmla="*/ 2144598 w 6789110"/>
              <a:gd name="connsiteY5539" fmla="*/ 1839891 h 6386516"/>
              <a:gd name="connsiteX5540" fmla="*/ 2141711 w 6789110"/>
              <a:gd name="connsiteY5540" fmla="*/ 1841816 h 6386516"/>
              <a:gd name="connsiteX5541" fmla="*/ 2136899 w 6789110"/>
              <a:gd name="connsiteY5541" fmla="*/ 1841816 h 6386516"/>
              <a:gd name="connsiteX5542" fmla="*/ 2133050 w 6789110"/>
              <a:gd name="connsiteY5542" fmla="*/ 1834116 h 6386516"/>
              <a:gd name="connsiteX5543" fmla="*/ 2133050 w 6789110"/>
              <a:gd name="connsiteY5543" fmla="*/ 1849514 h 6386516"/>
              <a:gd name="connsiteX5544" fmla="*/ 2142673 w 6789110"/>
              <a:gd name="connsiteY5544" fmla="*/ 1851439 h 6386516"/>
              <a:gd name="connsiteX5545" fmla="*/ 2138824 w 6789110"/>
              <a:gd name="connsiteY5545" fmla="*/ 1843741 h 6386516"/>
              <a:gd name="connsiteX5546" fmla="*/ 2141711 w 6789110"/>
              <a:gd name="connsiteY5546" fmla="*/ 1841816 h 6386516"/>
              <a:gd name="connsiteX5547" fmla="*/ 2144598 w 6789110"/>
              <a:gd name="connsiteY5547" fmla="*/ 1841816 h 6386516"/>
              <a:gd name="connsiteX5548" fmla="*/ 2144598 w 6789110"/>
              <a:gd name="connsiteY5548" fmla="*/ 1839891 h 6386516"/>
              <a:gd name="connsiteX5549" fmla="*/ 2159996 w 6789110"/>
              <a:gd name="connsiteY5549" fmla="*/ 1834116 h 6386516"/>
              <a:gd name="connsiteX5550" fmla="*/ 2150372 w 6789110"/>
              <a:gd name="connsiteY5550" fmla="*/ 1828342 h 6386516"/>
              <a:gd name="connsiteX5551" fmla="*/ 2150372 w 6789110"/>
              <a:gd name="connsiteY5551" fmla="*/ 1834116 h 6386516"/>
              <a:gd name="connsiteX5552" fmla="*/ 2144598 w 6789110"/>
              <a:gd name="connsiteY5552" fmla="*/ 1830267 h 6386516"/>
              <a:gd name="connsiteX5553" fmla="*/ 2148448 w 6789110"/>
              <a:gd name="connsiteY5553" fmla="*/ 1828342 h 6386516"/>
              <a:gd name="connsiteX5554" fmla="*/ 2148448 w 6789110"/>
              <a:gd name="connsiteY5554" fmla="*/ 1818718 h 6386516"/>
              <a:gd name="connsiteX5555" fmla="*/ 2143066 w 6789110"/>
              <a:gd name="connsiteY5555" fmla="*/ 1816565 h 6386516"/>
              <a:gd name="connsiteX5556" fmla="*/ 2147155 w 6789110"/>
              <a:gd name="connsiteY5556" fmla="*/ 1816161 h 6386516"/>
              <a:gd name="connsiteX5557" fmla="*/ 2152297 w 6789110"/>
              <a:gd name="connsiteY5557" fmla="*/ 1811018 h 6386516"/>
              <a:gd name="connsiteX5558" fmla="*/ 2161921 w 6789110"/>
              <a:gd name="connsiteY5558" fmla="*/ 1811018 h 6386516"/>
              <a:gd name="connsiteX5559" fmla="*/ 2167696 w 6789110"/>
              <a:gd name="connsiteY5559" fmla="*/ 1803319 h 6386516"/>
              <a:gd name="connsiteX5560" fmla="*/ 2166595 w 6789110"/>
              <a:gd name="connsiteY5560" fmla="*/ 1801116 h 6386516"/>
              <a:gd name="connsiteX5561" fmla="*/ 2163847 w 6789110"/>
              <a:gd name="connsiteY5561" fmla="*/ 1805240 h 6386516"/>
              <a:gd name="connsiteX5562" fmla="*/ 2159997 w 6789110"/>
              <a:gd name="connsiteY5562" fmla="*/ 1799466 h 6386516"/>
              <a:gd name="connsiteX5563" fmla="*/ 2144598 w 6789110"/>
              <a:gd name="connsiteY5563" fmla="*/ 1805240 h 6386516"/>
              <a:gd name="connsiteX5564" fmla="*/ 2156147 w 6789110"/>
              <a:gd name="connsiteY5564" fmla="*/ 1793690 h 6386516"/>
              <a:gd name="connsiteX5565" fmla="*/ 2152297 w 6789110"/>
              <a:gd name="connsiteY5565" fmla="*/ 1785993 h 6386516"/>
              <a:gd name="connsiteX5566" fmla="*/ 2159997 w 6789110"/>
              <a:gd name="connsiteY5566" fmla="*/ 1778292 h 6386516"/>
              <a:gd name="connsiteX5567" fmla="*/ 2167696 w 6789110"/>
              <a:gd name="connsiteY5567" fmla="*/ 1778292 h 6386516"/>
              <a:gd name="connsiteX5568" fmla="*/ 2159997 w 6789110"/>
              <a:gd name="connsiteY5568" fmla="*/ 1791766 h 6386516"/>
              <a:gd name="connsiteX5569" fmla="*/ 2163847 w 6789110"/>
              <a:gd name="connsiteY5569" fmla="*/ 1797540 h 6386516"/>
              <a:gd name="connsiteX5570" fmla="*/ 2159999 w 6789110"/>
              <a:gd name="connsiteY5570" fmla="*/ 1799465 h 6386516"/>
              <a:gd name="connsiteX5571" fmla="*/ 2165769 w 6789110"/>
              <a:gd name="connsiteY5571" fmla="*/ 1799465 h 6386516"/>
              <a:gd name="connsiteX5572" fmla="*/ 2163847 w 6789110"/>
              <a:gd name="connsiteY5572" fmla="*/ 1795619 h 6386516"/>
              <a:gd name="connsiteX5573" fmla="*/ 2171545 w 6789110"/>
              <a:gd name="connsiteY5573" fmla="*/ 1789846 h 6386516"/>
              <a:gd name="connsiteX5574" fmla="*/ 2167696 w 6789110"/>
              <a:gd name="connsiteY5574" fmla="*/ 1784073 h 6386516"/>
              <a:gd name="connsiteX5575" fmla="*/ 2179244 w 6789110"/>
              <a:gd name="connsiteY5575" fmla="*/ 1789846 h 6386516"/>
              <a:gd name="connsiteX5576" fmla="*/ 2181169 w 6789110"/>
              <a:gd name="connsiteY5576" fmla="*/ 1784073 h 6386516"/>
              <a:gd name="connsiteX5577" fmla="*/ 2180287 w 6789110"/>
              <a:gd name="connsiteY5577" fmla="*/ 1781423 h 6386516"/>
              <a:gd name="connsiteX5578" fmla="*/ 2179244 w 6789110"/>
              <a:gd name="connsiteY5578" fmla="*/ 1782146 h 6386516"/>
              <a:gd name="connsiteX5579" fmla="*/ 2173470 w 6789110"/>
              <a:gd name="connsiteY5579" fmla="*/ 1776371 h 6386516"/>
              <a:gd name="connsiteX5580" fmla="*/ 2175395 w 6789110"/>
              <a:gd name="connsiteY5580" fmla="*/ 1768671 h 6386516"/>
              <a:gd name="connsiteX5581" fmla="*/ 2175395 w 6789110"/>
              <a:gd name="connsiteY5581" fmla="*/ 1762895 h 6386516"/>
              <a:gd name="connsiteX5582" fmla="*/ 2183094 w 6789110"/>
              <a:gd name="connsiteY5582" fmla="*/ 1757121 h 6386516"/>
              <a:gd name="connsiteX5583" fmla="*/ 2183095 w 6789110"/>
              <a:gd name="connsiteY5583" fmla="*/ 1757122 h 6386516"/>
              <a:gd name="connsiteX5584" fmla="*/ 2186944 w 6789110"/>
              <a:gd name="connsiteY5584" fmla="*/ 1768671 h 6386516"/>
              <a:gd name="connsiteX5585" fmla="*/ 2181169 w 6789110"/>
              <a:gd name="connsiteY5585" fmla="*/ 1774446 h 6386516"/>
              <a:gd name="connsiteX5586" fmla="*/ 2185019 w 6789110"/>
              <a:gd name="connsiteY5586" fmla="*/ 1774446 h 6386516"/>
              <a:gd name="connsiteX5587" fmla="*/ 2185019 w 6789110"/>
              <a:gd name="connsiteY5587" fmla="*/ 1772522 h 6386516"/>
              <a:gd name="connsiteX5588" fmla="*/ 2189295 w 6789110"/>
              <a:gd name="connsiteY5588" fmla="*/ 1774446 h 6386516"/>
              <a:gd name="connsiteX5589" fmla="*/ 2190367 w 6789110"/>
              <a:gd name="connsiteY5589" fmla="*/ 1774446 h 6386516"/>
              <a:gd name="connsiteX5590" fmla="*/ 2190695 w 6789110"/>
              <a:gd name="connsiteY5590" fmla="*/ 1774298 h 6386516"/>
              <a:gd name="connsiteX5591" fmla="*/ 2186944 w 6789110"/>
              <a:gd name="connsiteY5591" fmla="*/ 1768671 h 6386516"/>
              <a:gd name="connsiteX5592" fmla="*/ 2192719 w 6789110"/>
              <a:gd name="connsiteY5592" fmla="*/ 1768671 h 6386516"/>
              <a:gd name="connsiteX5593" fmla="*/ 2193779 w 6789110"/>
              <a:gd name="connsiteY5593" fmla="*/ 1772911 h 6386516"/>
              <a:gd name="connsiteX5594" fmla="*/ 2194642 w 6789110"/>
              <a:gd name="connsiteY5594" fmla="*/ 1772522 h 6386516"/>
              <a:gd name="connsiteX5595" fmla="*/ 2198492 w 6789110"/>
              <a:gd name="connsiteY5595" fmla="*/ 1778296 h 6386516"/>
              <a:gd name="connsiteX5596" fmla="*/ 2210041 w 6789110"/>
              <a:gd name="connsiteY5596" fmla="*/ 1780221 h 6386516"/>
              <a:gd name="connsiteX5597" fmla="*/ 2213891 w 6789110"/>
              <a:gd name="connsiteY5597" fmla="*/ 1776371 h 6386516"/>
              <a:gd name="connsiteX5598" fmla="*/ 2208116 w 6789110"/>
              <a:gd name="connsiteY5598" fmla="*/ 1774446 h 6386516"/>
              <a:gd name="connsiteX5599" fmla="*/ 2213891 w 6789110"/>
              <a:gd name="connsiteY5599" fmla="*/ 1770597 h 6386516"/>
              <a:gd name="connsiteX5600" fmla="*/ 2213895 w 6789110"/>
              <a:gd name="connsiteY5600" fmla="*/ 1770594 h 6386516"/>
              <a:gd name="connsiteX5601" fmla="*/ 2213891 w 6789110"/>
              <a:gd name="connsiteY5601" fmla="*/ 1770594 h 6386516"/>
              <a:gd name="connsiteX5602" fmla="*/ 2213891 w 6789110"/>
              <a:gd name="connsiteY5602" fmla="*/ 1762893 h 6386516"/>
              <a:gd name="connsiteX5603" fmla="*/ 2219014 w 6789110"/>
              <a:gd name="connsiteY5603" fmla="*/ 1762893 h 6386516"/>
              <a:gd name="connsiteX5604" fmla="*/ 2213891 w 6789110"/>
              <a:gd name="connsiteY5604" fmla="*/ 1760971 h 6386516"/>
              <a:gd name="connsiteX5605" fmla="*/ 2213891 w 6789110"/>
              <a:gd name="connsiteY5605" fmla="*/ 1759047 h 6386516"/>
              <a:gd name="connsiteX5606" fmla="*/ 2214612 w 6789110"/>
              <a:gd name="connsiteY5606" fmla="*/ 1757605 h 6386516"/>
              <a:gd name="connsiteX5607" fmla="*/ 2213891 w 6789110"/>
              <a:gd name="connsiteY5607" fmla="*/ 1757124 h 6386516"/>
              <a:gd name="connsiteX5608" fmla="*/ 2208116 w 6789110"/>
              <a:gd name="connsiteY5608" fmla="*/ 1762897 h 6386516"/>
              <a:gd name="connsiteX5609" fmla="*/ 2208116 w 6789110"/>
              <a:gd name="connsiteY5609" fmla="*/ 1755200 h 6386516"/>
              <a:gd name="connsiteX5610" fmla="*/ 2192718 w 6789110"/>
              <a:gd name="connsiteY5610" fmla="*/ 1743653 h 6386516"/>
              <a:gd name="connsiteX5611" fmla="*/ 2190793 w 6789110"/>
              <a:gd name="connsiteY5611" fmla="*/ 1732103 h 6386516"/>
              <a:gd name="connsiteX5612" fmla="*/ 2208116 w 6789110"/>
              <a:gd name="connsiteY5612" fmla="*/ 1724405 h 6386516"/>
              <a:gd name="connsiteX5613" fmla="*/ 2208116 w 6789110"/>
              <a:gd name="connsiteY5613" fmla="*/ 1716706 h 6386516"/>
              <a:gd name="connsiteX5614" fmla="*/ 2213891 w 6789110"/>
              <a:gd name="connsiteY5614" fmla="*/ 1722480 h 6386516"/>
              <a:gd name="connsiteX5615" fmla="*/ 2221590 w 6789110"/>
              <a:gd name="connsiteY5615" fmla="*/ 1722480 h 6386516"/>
              <a:gd name="connsiteX5616" fmla="*/ 2231214 w 6789110"/>
              <a:gd name="connsiteY5616" fmla="*/ 1718632 h 6386516"/>
              <a:gd name="connsiteX5617" fmla="*/ 2225441 w 6789110"/>
              <a:gd name="connsiteY5617" fmla="*/ 1724405 h 6386516"/>
              <a:gd name="connsiteX5618" fmla="*/ 2227365 w 6789110"/>
              <a:gd name="connsiteY5618" fmla="*/ 1728256 h 6386516"/>
              <a:gd name="connsiteX5619" fmla="*/ 2225655 w 6789110"/>
              <a:gd name="connsiteY5619" fmla="*/ 1729537 h 6386516"/>
              <a:gd name="connsiteX5620" fmla="*/ 2227364 w 6789110"/>
              <a:gd name="connsiteY5620" fmla="*/ 1732102 h 6386516"/>
              <a:gd name="connsiteX5621" fmla="*/ 2233136 w 6789110"/>
              <a:gd name="connsiteY5621" fmla="*/ 1726330 h 6386516"/>
              <a:gd name="connsiteX5622" fmla="*/ 2231214 w 6789110"/>
              <a:gd name="connsiteY5622" fmla="*/ 1726330 h 6386516"/>
              <a:gd name="connsiteX5623" fmla="*/ 2231214 w 6789110"/>
              <a:gd name="connsiteY5623" fmla="*/ 1718632 h 6386516"/>
              <a:gd name="connsiteX5624" fmla="*/ 2236988 w 6789110"/>
              <a:gd name="connsiteY5624" fmla="*/ 1716706 h 6386516"/>
              <a:gd name="connsiteX5625" fmla="*/ 2238912 w 6789110"/>
              <a:gd name="connsiteY5625" fmla="*/ 1720555 h 6386516"/>
              <a:gd name="connsiteX5626" fmla="*/ 2238914 w 6789110"/>
              <a:gd name="connsiteY5626" fmla="*/ 1720554 h 6386516"/>
              <a:gd name="connsiteX5627" fmla="*/ 2244573 w 6789110"/>
              <a:gd name="connsiteY5627" fmla="*/ 1719422 h 6386516"/>
              <a:gd name="connsiteX5628" fmla="*/ 2242762 w 6789110"/>
              <a:gd name="connsiteY5628" fmla="*/ 1716706 h 6386516"/>
              <a:gd name="connsiteX5629" fmla="*/ 2236988 w 6789110"/>
              <a:gd name="connsiteY5629" fmla="*/ 1716706 h 6386516"/>
              <a:gd name="connsiteX5630" fmla="*/ 2236987 w 6789110"/>
              <a:gd name="connsiteY5630" fmla="*/ 1716706 h 6386516"/>
              <a:gd name="connsiteX5631" fmla="*/ 2240837 w 6789110"/>
              <a:gd name="connsiteY5631" fmla="*/ 1710932 h 6386516"/>
              <a:gd name="connsiteX5632" fmla="*/ 2231213 w 6789110"/>
              <a:gd name="connsiteY5632" fmla="*/ 1710932 h 6386516"/>
              <a:gd name="connsiteX5633" fmla="*/ 2242762 w 6789110"/>
              <a:gd name="connsiteY5633" fmla="*/ 1699382 h 6386516"/>
              <a:gd name="connsiteX5634" fmla="*/ 2240837 w 6789110"/>
              <a:gd name="connsiteY5634" fmla="*/ 1709006 h 6386516"/>
              <a:gd name="connsiteX5635" fmla="*/ 2246612 w 6789110"/>
              <a:gd name="connsiteY5635" fmla="*/ 1709006 h 6386516"/>
              <a:gd name="connsiteX5636" fmla="*/ 2242762 w 6789110"/>
              <a:gd name="connsiteY5636" fmla="*/ 1712855 h 6386516"/>
              <a:gd name="connsiteX5637" fmla="*/ 2248537 w 6789110"/>
              <a:gd name="connsiteY5637" fmla="*/ 1716706 h 6386516"/>
              <a:gd name="connsiteX5638" fmla="*/ 2247850 w 6789110"/>
              <a:gd name="connsiteY5638" fmla="*/ 1718767 h 6386516"/>
              <a:gd name="connsiteX5639" fmla="*/ 2248537 w 6789110"/>
              <a:gd name="connsiteY5639" fmla="*/ 1718630 h 6386516"/>
              <a:gd name="connsiteX5640" fmla="*/ 2248537 w 6789110"/>
              <a:gd name="connsiteY5640" fmla="*/ 1730176 h 6386516"/>
              <a:gd name="connsiteX5641" fmla="*/ 2263935 w 6789110"/>
              <a:gd name="connsiteY5641" fmla="*/ 1718630 h 6386516"/>
              <a:gd name="connsiteX5642" fmla="*/ 2258161 w 6789110"/>
              <a:gd name="connsiteY5642" fmla="*/ 1710929 h 6386516"/>
              <a:gd name="connsiteX5643" fmla="*/ 2250462 w 6789110"/>
              <a:gd name="connsiteY5643" fmla="*/ 1716706 h 6386516"/>
              <a:gd name="connsiteX5644" fmla="*/ 2248537 w 6789110"/>
              <a:gd name="connsiteY5644" fmla="*/ 1712855 h 6386516"/>
              <a:gd name="connsiteX5645" fmla="*/ 2254311 w 6789110"/>
              <a:gd name="connsiteY5645" fmla="*/ 1707079 h 6386516"/>
              <a:gd name="connsiteX5646" fmla="*/ 2250462 w 6789110"/>
              <a:gd name="connsiteY5646" fmla="*/ 1697455 h 6386516"/>
              <a:gd name="connsiteX5647" fmla="*/ 2263935 w 6789110"/>
              <a:gd name="connsiteY5647" fmla="*/ 1697455 h 6386516"/>
              <a:gd name="connsiteX5648" fmla="*/ 2267784 w 6789110"/>
              <a:gd name="connsiteY5648" fmla="*/ 1689756 h 6386516"/>
              <a:gd name="connsiteX5649" fmla="*/ 2277408 w 6789110"/>
              <a:gd name="connsiteY5649" fmla="*/ 1693606 h 6386516"/>
              <a:gd name="connsiteX5650" fmla="*/ 2281258 w 6789110"/>
              <a:gd name="connsiteY5650" fmla="*/ 1701305 h 6386516"/>
              <a:gd name="connsiteX5651" fmla="*/ 2271634 w 6789110"/>
              <a:gd name="connsiteY5651" fmla="*/ 1709005 h 6386516"/>
              <a:gd name="connsiteX5652" fmla="*/ 2277408 w 6789110"/>
              <a:gd name="connsiteY5652" fmla="*/ 1712855 h 6386516"/>
              <a:gd name="connsiteX5653" fmla="*/ 2271634 w 6789110"/>
              <a:gd name="connsiteY5653" fmla="*/ 1720554 h 6386516"/>
              <a:gd name="connsiteX5654" fmla="*/ 2281258 w 6789110"/>
              <a:gd name="connsiteY5654" fmla="*/ 1720554 h 6386516"/>
              <a:gd name="connsiteX5655" fmla="*/ 2281258 w 6789110"/>
              <a:gd name="connsiteY5655" fmla="*/ 1726329 h 6386516"/>
              <a:gd name="connsiteX5656" fmla="*/ 2290882 w 6789110"/>
              <a:gd name="connsiteY5656" fmla="*/ 1728252 h 6386516"/>
              <a:gd name="connsiteX5657" fmla="*/ 2292807 w 6789110"/>
              <a:gd name="connsiteY5657" fmla="*/ 1724403 h 6386516"/>
              <a:gd name="connsiteX5658" fmla="*/ 2285108 w 6789110"/>
              <a:gd name="connsiteY5658" fmla="*/ 1722479 h 6386516"/>
              <a:gd name="connsiteX5659" fmla="*/ 2281258 w 6789110"/>
              <a:gd name="connsiteY5659" fmla="*/ 1720554 h 6386516"/>
              <a:gd name="connsiteX5660" fmla="*/ 2287032 w 6789110"/>
              <a:gd name="connsiteY5660" fmla="*/ 1712855 h 6386516"/>
              <a:gd name="connsiteX5661" fmla="*/ 2277408 w 6789110"/>
              <a:gd name="connsiteY5661" fmla="*/ 1712855 h 6386516"/>
              <a:gd name="connsiteX5662" fmla="*/ 2281258 w 6789110"/>
              <a:gd name="connsiteY5662" fmla="*/ 1707079 h 6386516"/>
              <a:gd name="connsiteX5663" fmla="*/ 2287032 w 6789110"/>
              <a:gd name="connsiteY5663" fmla="*/ 1709005 h 6386516"/>
              <a:gd name="connsiteX5664" fmla="*/ 2285108 w 6789110"/>
              <a:gd name="connsiteY5664" fmla="*/ 1697455 h 6386516"/>
              <a:gd name="connsiteX5665" fmla="*/ 2290882 w 6789110"/>
              <a:gd name="connsiteY5665" fmla="*/ 1695530 h 6386516"/>
              <a:gd name="connsiteX5666" fmla="*/ 2285108 w 6789110"/>
              <a:gd name="connsiteY5666" fmla="*/ 1693606 h 6386516"/>
              <a:gd name="connsiteX5667" fmla="*/ 2288958 w 6789110"/>
              <a:gd name="connsiteY5667" fmla="*/ 1687831 h 6386516"/>
              <a:gd name="connsiteX5668" fmla="*/ 2279333 w 6789110"/>
              <a:gd name="connsiteY5668" fmla="*/ 1687831 h 6386516"/>
              <a:gd name="connsiteX5669" fmla="*/ 2279333 w 6789110"/>
              <a:gd name="connsiteY5669" fmla="*/ 1682055 h 6386516"/>
              <a:gd name="connsiteX5670" fmla="*/ 2269709 w 6789110"/>
              <a:gd name="connsiteY5670" fmla="*/ 1683980 h 6386516"/>
              <a:gd name="connsiteX5671" fmla="*/ 2263935 w 6789110"/>
              <a:gd name="connsiteY5671" fmla="*/ 1672433 h 6386516"/>
              <a:gd name="connsiteX5672" fmla="*/ 2273559 w 6789110"/>
              <a:gd name="connsiteY5672" fmla="*/ 1670508 h 6386516"/>
              <a:gd name="connsiteX5673" fmla="*/ 2294732 w 6789110"/>
              <a:gd name="connsiteY5673" fmla="*/ 1683980 h 6386516"/>
              <a:gd name="connsiteX5674" fmla="*/ 2290882 w 6789110"/>
              <a:gd name="connsiteY5674" fmla="*/ 1678207 h 6386516"/>
              <a:gd name="connsiteX5675" fmla="*/ 2302431 w 6789110"/>
              <a:gd name="connsiteY5675" fmla="*/ 1680131 h 6386516"/>
              <a:gd name="connsiteX5676" fmla="*/ 2302431 w 6789110"/>
              <a:gd name="connsiteY5676" fmla="*/ 1674356 h 6386516"/>
              <a:gd name="connsiteX5677" fmla="*/ 2290882 w 6789110"/>
              <a:gd name="connsiteY5677" fmla="*/ 1674356 h 6386516"/>
              <a:gd name="connsiteX5678" fmla="*/ 2304355 w 6789110"/>
              <a:gd name="connsiteY5678" fmla="*/ 1660885 h 6386516"/>
              <a:gd name="connsiteX5679" fmla="*/ 2312056 w 6789110"/>
              <a:gd name="connsiteY5679" fmla="*/ 1660885 h 6386516"/>
              <a:gd name="connsiteX5680" fmla="*/ 2302431 w 6789110"/>
              <a:gd name="connsiteY5680" fmla="*/ 1658960 h 6386516"/>
              <a:gd name="connsiteX5681" fmla="*/ 2198492 w 6789110"/>
              <a:gd name="connsiteY5681" fmla="*/ 1649335 h 6386516"/>
              <a:gd name="connsiteX5682" fmla="*/ 2202341 w 6789110"/>
              <a:gd name="connsiteY5682" fmla="*/ 1653185 h 6386516"/>
              <a:gd name="connsiteX5683" fmla="*/ 2188868 w 6789110"/>
              <a:gd name="connsiteY5683" fmla="*/ 1657034 h 6386516"/>
              <a:gd name="connsiteX5684" fmla="*/ 2233139 w 6789110"/>
              <a:gd name="connsiteY5684" fmla="*/ 1647402 h 6386516"/>
              <a:gd name="connsiteX5685" fmla="*/ 2238914 w 6789110"/>
              <a:gd name="connsiteY5685" fmla="*/ 1653175 h 6386516"/>
              <a:gd name="connsiteX5686" fmla="*/ 2231214 w 6789110"/>
              <a:gd name="connsiteY5686" fmla="*/ 1657026 h 6386516"/>
              <a:gd name="connsiteX5687" fmla="*/ 2283183 w 6789110"/>
              <a:gd name="connsiteY5687" fmla="*/ 1645477 h 6386516"/>
              <a:gd name="connsiteX5688" fmla="*/ 2298582 w 6789110"/>
              <a:gd name="connsiteY5688" fmla="*/ 1658953 h 6386516"/>
              <a:gd name="connsiteX5689" fmla="*/ 2279333 w 6789110"/>
              <a:gd name="connsiteY5689" fmla="*/ 1647402 h 6386516"/>
              <a:gd name="connsiteX5690" fmla="*/ 2186943 w 6789110"/>
              <a:gd name="connsiteY5690" fmla="*/ 1645475 h 6386516"/>
              <a:gd name="connsiteX5691" fmla="*/ 2183093 w 6789110"/>
              <a:gd name="connsiteY5691" fmla="*/ 1655099 h 6386516"/>
              <a:gd name="connsiteX5692" fmla="*/ 2177319 w 6789110"/>
              <a:gd name="connsiteY5692" fmla="*/ 1649325 h 6386516"/>
              <a:gd name="connsiteX5693" fmla="*/ 5996099 w 6789110"/>
              <a:gd name="connsiteY5693" fmla="*/ 1643604 h 6386516"/>
              <a:gd name="connsiteX5694" fmla="*/ 5999948 w 6789110"/>
              <a:gd name="connsiteY5694" fmla="*/ 1657079 h 6386516"/>
              <a:gd name="connsiteX5695" fmla="*/ 5836340 w 6789110"/>
              <a:gd name="connsiteY5695" fmla="*/ 1772569 h 6386516"/>
              <a:gd name="connsiteX5696" fmla="*/ 5836340 w 6789110"/>
              <a:gd name="connsiteY5696" fmla="*/ 1762939 h 6386516"/>
              <a:gd name="connsiteX5697" fmla="*/ 5969151 w 6789110"/>
              <a:gd name="connsiteY5697" fmla="*/ 1664780 h 6386516"/>
              <a:gd name="connsiteX5698" fmla="*/ 5976851 w 6789110"/>
              <a:gd name="connsiteY5698" fmla="*/ 1651304 h 6386516"/>
              <a:gd name="connsiteX5699" fmla="*/ 5996099 w 6789110"/>
              <a:gd name="connsiteY5699" fmla="*/ 1643604 h 6386516"/>
              <a:gd name="connsiteX5700" fmla="*/ 2321679 w 6789110"/>
              <a:gd name="connsiteY5700" fmla="*/ 1637778 h 6386516"/>
              <a:gd name="connsiteX5701" fmla="*/ 2327453 w 6789110"/>
              <a:gd name="connsiteY5701" fmla="*/ 1637778 h 6386516"/>
              <a:gd name="connsiteX5702" fmla="*/ 2325529 w 6789110"/>
              <a:gd name="connsiteY5702" fmla="*/ 1645476 h 6386516"/>
              <a:gd name="connsiteX5703" fmla="*/ 2321679 w 6789110"/>
              <a:gd name="connsiteY5703" fmla="*/ 1645476 h 6386516"/>
              <a:gd name="connsiteX5704" fmla="*/ 2204266 w 6789110"/>
              <a:gd name="connsiteY5704" fmla="*/ 1635851 h 6386516"/>
              <a:gd name="connsiteX5705" fmla="*/ 2213891 w 6789110"/>
              <a:gd name="connsiteY5705" fmla="*/ 1635851 h 6386516"/>
              <a:gd name="connsiteX5706" fmla="*/ 2204266 w 6789110"/>
              <a:gd name="connsiteY5706" fmla="*/ 1641625 h 6386516"/>
              <a:gd name="connsiteX5707" fmla="*/ 2404444 w 6789110"/>
              <a:gd name="connsiteY5707" fmla="*/ 1635848 h 6386516"/>
              <a:gd name="connsiteX5708" fmla="*/ 2404444 w 6789110"/>
              <a:gd name="connsiteY5708" fmla="*/ 1643547 h 6386516"/>
              <a:gd name="connsiteX5709" fmla="*/ 2414068 w 6789110"/>
              <a:gd name="connsiteY5709" fmla="*/ 1643547 h 6386516"/>
              <a:gd name="connsiteX5710" fmla="*/ 2414068 w 6789110"/>
              <a:gd name="connsiteY5710" fmla="*/ 1635848 h 6386516"/>
              <a:gd name="connsiteX5711" fmla="*/ 2117652 w 6789110"/>
              <a:gd name="connsiteY5711" fmla="*/ 1635846 h 6386516"/>
              <a:gd name="connsiteX5712" fmla="*/ 2106102 w 6789110"/>
              <a:gd name="connsiteY5712" fmla="*/ 1647395 h 6386516"/>
              <a:gd name="connsiteX5713" fmla="*/ 2102253 w 6789110"/>
              <a:gd name="connsiteY5713" fmla="*/ 1641620 h 6386516"/>
              <a:gd name="connsiteX5714" fmla="*/ 2379422 w 6789110"/>
              <a:gd name="connsiteY5714" fmla="*/ 1633923 h 6386516"/>
              <a:gd name="connsiteX5715" fmla="*/ 2373647 w 6789110"/>
              <a:gd name="connsiteY5715" fmla="*/ 1635848 h 6386516"/>
              <a:gd name="connsiteX5716" fmla="*/ 2379422 w 6789110"/>
              <a:gd name="connsiteY5716" fmla="*/ 1637773 h 6386516"/>
              <a:gd name="connsiteX5717" fmla="*/ 2390970 w 6789110"/>
              <a:gd name="connsiteY5717" fmla="*/ 1643547 h 6386516"/>
              <a:gd name="connsiteX5718" fmla="*/ 2390970 w 6789110"/>
              <a:gd name="connsiteY5718" fmla="*/ 1635848 h 6386516"/>
              <a:gd name="connsiteX5719" fmla="*/ 1936722 w 6789110"/>
              <a:gd name="connsiteY5719" fmla="*/ 1632008 h 6386516"/>
              <a:gd name="connsiteX5720" fmla="*/ 1936722 w 6789110"/>
              <a:gd name="connsiteY5720" fmla="*/ 1637782 h 6386516"/>
              <a:gd name="connsiteX5721" fmla="*/ 1930948 w 6789110"/>
              <a:gd name="connsiteY5721" fmla="*/ 1633933 h 6386516"/>
              <a:gd name="connsiteX5722" fmla="*/ 2396745 w 6789110"/>
              <a:gd name="connsiteY5722" fmla="*/ 1628148 h 6386516"/>
              <a:gd name="connsiteX5723" fmla="*/ 2396745 w 6789110"/>
              <a:gd name="connsiteY5723" fmla="*/ 1643547 h 6386516"/>
              <a:gd name="connsiteX5724" fmla="*/ 2400594 w 6789110"/>
              <a:gd name="connsiteY5724" fmla="*/ 1637773 h 6386516"/>
              <a:gd name="connsiteX5725" fmla="*/ 2396745 w 6789110"/>
              <a:gd name="connsiteY5725" fmla="*/ 1628148 h 6386516"/>
              <a:gd name="connsiteX5726" fmla="*/ 2315904 w 6789110"/>
              <a:gd name="connsiteY5726" fmla="*/ 1624302 h 6386516"/>
              <a:gd name="connsiteX5727" fmla="*/ 2319755 w 6789110"/>
              <a:gd name="connsiteY5727" fmla="*/ 1630076 h 6386516"/>
              <a:gd name="connsiteX5728" fmla="*/ 2310130 w 6789110"/>
              <a:gd name="connsiteY5728" fmla="*/ 1628151 h 6386516"/>
              <a:gd name="connsiteX5729" fmla="*/ 2306280 w 6789110"/>
              <a:gd name="connsiteY5729" fmla="*/ 1624302 h 6386516"/>
              <a:gd name="connsiteX5730" fmla="*/ 2310129 w 6789110"/>
              <a:gd name="connsiteY5730" fmla="*/ 1628152 h 6386516"/>
              <a:gd name="connsiteX5731" fmla="*/ 2306280 w 6789110"/>
              <a:gd name="connsiteY5731" fmla="*/ 1630076 h 6386516"/>
              <a:gd name="connsiteX5732" fmla="*/ 2304356 w 6789110"/>
              <a:gd name="connsiteY5732" fmla="*/ 1632001 h 6386516"/>
              <a:gd name="connsiteX5733" fmla="*/ 2310130 w 6789110"/>
              <a:gd name="connsiteY5733" fmla="*/ 1635850 h 6386516"/>
              <a:gd name="connsiteX5734" fmla="*/ 2300506 w 6789110"/>
              <a:gd name="connsiteY5734" fmla="*/ 1645474 h 6386516"/>
              <a:gd name="connsiteX5735" fmla="*/ 2294732 w 6789110"/>
              <a:gd name="connsiteY5735" fmla="*/ 1637775 h 6386516"/>
              <a:gd name="connsiteX5736" fmla="*/ 2304355 w 6789110"/>
              <a:gd name="connsiteY5736" fmla="*/ 1637775 h 6386516"/>
              <a:gd name="connsiteX5737" fmla="*/ 2304355 w 6789110"/>
              <a:gd name="connsiteY5737" fmla="*/ 1632001 h 6386516"/>
              <a:gd name="connsiteX5738" fmla="*/ 2296656 w 6789110"/>
              <a:gd name="connsiteY5738" fmla="*/ 1628152 h 6386516"/>
              <a:gd name="connsiteX5739" fmla="*/ 2156147 w 6789110"/>
              <a:gd name="connsiteY5739" fmla="*/ 1610837 h 6386516"/>
              <a:gd name="connsiteX5740" fmla="*/ 2152297 w 6789110"/>
              <a:gd name="connsiteY5740" fmla="*/ 1616612 h 6386516"/>
              <a:gd name="connsiteX5741" fmla="*/ 2158073 w 6789110"/>
              <a:gd name="connsiteY5741" fmla="*/ 1618536 h 6386516"/>
              <a:gd name="connsiteX5742" fmla="*/ 2146522 w 6789110"/>
              <a:gd name="connsiteY5742" fmla="*/ 1624311 h 6386516"/>
              <a:gd name="connsiteX5743" fmla="*/ 2140748 w 6789110"/>
              <a:gd name="connsiteY5743" fmla="*/ 1616612 h 6386516"/>
              <a:gd name="connsiteX5744" fmla="*/ 2156147 w 6789110"/>
              <a:gd name="connsiteY5744" fmla="*/ 1610837 h 6386516"/>
              <a:gd name="connsiteX5745" fmla="*/ 2236989 w 6789110"/>
              <a:gd name="connsiteY5745" fmla="*/ 1610832 h 6386516"/>
              <a:gd name="connsiteX5746" fmla="*/ 2242763 w 6789110"/>
              <a:gd name="connsiteY5746" fmla="*/ 1610832 h 6386516"/>
              <a:gd name="connsiteX5747" fmla="*/ 2242763 w 6789110"/>
              <a:gd name="connsiteY5747" fmla="*/ 1616605 h 6386516"/>
              <a:gd name="connsiteX5748" fmla="*/ 2371722 w 6789110"/>
              <a:gd name="connsiteY5748" fmla="*/ 1610826 h 6386516"/>
              <a:gd name="connsiteX5749" fmla="*/ 2372389 w 6789110"/>
              <a:gd name="connsiteY5749" fmla="*/ 1611492 h 6386516"/>
              <a:gd name="connsiteX5750" fmla="*/ 2371722 w 6789110"/>
              <a:gd name="connsiteY5750" fmla="*/ 1614294 h 6386516"/>
              <a:gd name="connsiteX5751" fmla="*/ 2521165 w 6789110"/>
              <a:gd name="connsiteY5751" fmla="*/ 1609081 h 6386516"/>
              <a:gd name="connsiteX5752" fmla="*/ 2519933 w 6789110"/>
              <a:gd name="connsiteY5752" fmla="*/ 1626283 h 6386516"/>
              <a:gd name="connsiteX5753" fmla="*/ 2552653 w 6789110"/>
              <a:gd name="connsiteY5753" fmla="*/ 1793740 h 6386516"/>
              <a:gd name="connsiteX5754" fmla="*/ 2772079 w 6789110"/>
              <a:gd name="connsiteY5754" fmla="*/ 2411587 h 6386516"/>
              <a:gd name="connsiteX5755" fmla="*/ 2494910 w 6789110"/>
              <a:gd name="connsiteY5755" fmla="*/ 1720602 h 6386516"/>
              <a:gd name="connsiteX5756" fmla="*/ 2521165 w 6789110"/>
              <a:gd name="connsiteY5756" fmla="*/ 1609081 h 6386516"/>
              <a:gd name="connsiteX5757" fmla="*/ 2269709 w 6789110"/>
              <a:gd name="connsiteY5757" fmla="*/ 1608912 h 6386516"/>
              <a:gd name="connsiteX5758" fmla="*/ 2277408 w 6789110"/>
              <a:gd name="connsiteY5758" fmla="*/ 1612762 h 6386516"/>
              <a:gd name="connsiteX5759" fmla="*/ 2267784 w 6789110"/>
              <a:gd name="connsiteY5759" fmla="*/ 1614686 h 6386516"/>
              <a:gd name="connsiteX5760" fmla="*/ 2036809 w 6789110"/>
              <a:gd name="connsiteY5760" fmla="*/ 1606975 h 6386516"/>
              <a:gd name="connsiteX5761" fmla="*/ 2042584 w 6789110"/>
              <a:gd name="connsiteY5761" fmla="*/ 1612749 h 6386516"/>
              <a:gd name="connsiteX5762" fmla="*/ 2036809 w 6789110"/>
              <a:gd name="connsiteY5762" fmla="*/ 1616600 h 6386516"/>
              <a:gd name="connsiteX5763" fmla="*/ 2032960 w 6789110"/>
              <a:gd name="connsiteY5763" fmla="*/ 1610825 h 6386516"/>
              <a:gd name="connsiteX5764" fmla="*/ 1840482 w 6789110"/>
              <a:gd name="connsiteY5764" fmla="*/ 1605060 h 6386516"/>
              <a:gd name="connsiteX5765" fmla="*/ 1850106 w 6789110"/>
              <a:gd name="connsiteY5765" fmla="*/ 1606985 h 6386516"/>
              <a:gd name="connsiteX5766" fmla="*/ 1844331 w 6789110"/>
              <a:gd name="connsiteY5766" fmla="*/ 1610835 h 6386516"/>
              <a:gd name="connsiteX5767" fmla="*/ 2279334 w 6789110"/>
              <a:gd name="connsiteY5767" fmla="*/ 1605057 h 6386516"/>
              <a:gd name="connsiteX5768" fmla="*/ 2287033 w 6789110"/>
              <a:gd name="connsiteY5768" fmla="*/ 1610831 h 6386516"/>
              <a:gd name="connsiteX5769" fmla="*/ 2279334 w 6789110"/>
              <a:gd name="connsiteY5769" fmla="*/ 1614681 h 6386516"/>
              <a:gd name="connsiteX5770" fmla="*/ 2290882 w 6789110"/>
              <a:gd name="connsiteY5770" fmla="*/ 1605056 h 6386516"/>
              <a:gd name="connsiteX5771" fmla="*/ 2300506 w 6789110"/>
              <a:gd name="connsiteY5771" fmla="*/ 1605056 h 6386516"/>
              <a:gd name="connsiteX5772" fmla="*/ 2290882 w 6789110"/>
              <a:gd name="connsiteY5772" fmla="*/ 1616605 h 6386516"/>
              <a:gd name="connsiteX5773" fmla="*/ 2290882 w 6789110"/>
              <a:gd name="connsiteY5773" fmla="*/ 1605056 h 6386516"/>
              <a:gd name="connsiteX5774" fmla="*/ 1979066 w 6789110"/>
              <a:gd name="connsiteY5774" fmla="*/ 1605049 h 6386516"/>
              <a:gd name="connsiteX5775" fmla="*/ 1984841 w 6789110"/>
              <a:gd name="connsiteY5775" fmla="*/ 1612749 h 6386516"/>
              <a:gd name="connsiteX5776" fmla="*/ 1975217 w 6789110"/>
              <a:gd name="connsiteY5776" fmla="*/ 1612749 h 6386516"/>
              <a:gd name="connsiteX5777" fmla="*/ 2385196 w 6789110"/>
              <a:gd name="connsiteY5777" fmla="*/ 1597352 h 6386516"/>
              <a:gd name="connsiteX5778" fmla="*/ 2381347 w 6789110"/>
              <a:gd name="connsiteY5778" fmla="*/ 1599277 h 6386516"/>
              <a:gd name="connsiteX5779" fmla="*/ 2385196 w 6789110"/>
              <a:gd name="connsiteY5779" fmla="*/ 1599277 h 6386516"/>
              <a:gd name="connsiteX5780" fmla="*/ 2261769 w 6789110"/>
              <a:gd name="connsiteY5780" fmla="*/ 1595195 h 6386516"/>
              <a:gd name="connsiteX5781" fmla="*/ 2267784 w 6789110"/>
              <a:gd name="connsiteY5781" fmla="*/ 1597360 h 6386516"/>
              <a:gd name="connsiteX5782" fmla="*/ 2279334 w 6789110"/>
              <a:gd name="connsiteY5782" fmla="*/ 1597360 h 6386516"/>
              <a:gd name="connsiteX5783" fmla="*/ 2273559 w 6789110"/>
              <a:gd name="connsiteY5783" fmla="*/ 1603135 h 6386516"/>
              <a:gd name="connsiteX5784" fmla="*/ 2275485 w 6789110"/>
              <a:gd name="connsiteY5784" fmla="*/ 1606984 h 6386516"/>
              <a:gd name="connsiteX5785" fmla="*/ 2271634 w 6789110"/>
              <a:gd name="connsiteY5785" fmla="*/ 1608909 h 6386516"/>
              <a:gd name="connsiteX5786" fmla="*/ 2267784 w 6789110"/>
              <a:gd name="connsiteY5786" fmla="*/ 1606984 h 6386516"/>
              <a:gd name="connsiteX5787" fmla="*/ 2262010 w 6789110"/>
              <a:gd name="connsiteY5787" fmla="*/ 1608909 h 6386516"/>
              <a:gd name="connsiteX5788" fmla="*/ 2260085 w 6789110"/>
              <a:gd name="connsiteY5788" fmla="*/ 1597360 h 6386516"/>
              <a:gd name="connsiteX5789" fmla="*/ 2261769 w 6789110"/>
              <a:gd name="connsiteY5789" fmla="*/ 1595195 h 6386516"/>
              <a:gd name="connsiteX5790" fmla="*/ 1852031 w 6789110"/>
              <a:gd name="connsiteY5790" fmla="*/ 1589661 h 6386516"/>
              <a:gd name="connsiteX5791" fmla="*/ 1863579 w 6789110"/>
              <a:gd name="connsiteY5791" fmla="*/ 1589661 h 6386516"/>
              <a:gd name="connsiteX5792" fmla="*/ 1859729 w 6789110"/>
              <a:gd name="connsiteY5792" fmla="*/ 1595435 h 6386516"/>
              <a:gd name="connsiteX5793" fmla="*/ 2213891 w 6789110"/>
              <a:gd name="connsiteY5793" fmla="*/ 1587742 h 6386516"/>
              <a:gd name="connsiteX5794" fmla="*/ 2217741 w 6789110"/>
              <a:gd name="connsiteY5794" fmla="*/ 1589667 h 6386516"/>
              <a:gd name="connsiteX5795" fmla="*/ 2208116 w 6789110"/>
              <a:gd name="connsiteY5795" fmla="*/ 1597366 h 6386516"/>
              <a:gd name="connsiteX5796" fmla="*/ 2200418 w 6789110"/>
              <a:gd name="connsiteY5796" fmla="*/ 1589667 h 6386516"/>
              <a:gd name="connsiteX5797" fmla="*/ 2235063 w 6789110"/>
              <a:gd name="connsiteY5797" fmla="*/ 1585809 h 6386516"/>
              <a:gd name="connsiteX5798" fmla="*/ 2240837 w 6789110"/>
              <a:gd name="connsiteY5798" fmla="*/ 1591583 h 6386516"/>
              <a:gd name="connsiteX5799" fmla="*/ 2235063 w 6789110"/>
              <a:gd name="connsiteY5799" fmla="*/ 1595433 h 6386516"/>
              <a:gd name="connsiteX5800" fmla="*/ 2231213 w 6789110"/>
              <a:gd name="connsiteY5800" fmla="*/ 1591583 h 6386516"/>
              <a:gd name="connsiteX5801" fmla="*/ 6783336 w 6789110"/>
              <a:gd name="connsiteY5801" fmla="*/ 1574312 h 6386516"/>
              <a:gd name="connsiteX5802" fmla="*/ 6789110 w 6789110"/>
              <a:gd name="connsiteY5802" fmla="*/ 1589709 h 6386516"/>
              <a:gd name="connsiteX5803" fmla="*/ 6777561 w 6789110"/>
              <a:gd name="connsiteY5803" fmla="*/ 1587784 h 6386516"/>
              <a:gd name="connsiteX5804" fmla="*/ 6392604 w 6789110"/>
              <a:gd name="connsiteY5804" fmla="*/ 1795664 h 6386516"/>
              <a:gd name="connsiteX5805" fmla="*/ 6413777 w 6789110"/>
              <a:gd name="connsiteY5805" fmla="*/ 1770642 h 6386516"/>
              <a:gd name="connsiteX5806" fmla="*/ 2415992 w 6789110"/>
              <a:gd name="connsiteY5806" fmla="*/ 1572330 h 6386516"/>
              <a:gd name="connsiteX5807" fmla="*/ 2417917 w 6789110"/>
              <a:gd name="connsiteY5807" fmla="*/ 1574254 h 6386516"/>
              <a:gd name="connsiteX5808" fmla="*/ 2419843 w 6789110"/>
              <a:gd name="connsiteY5808" fmla="*/ 1572330 h 6386516"/>
              <a:gd name="connsiteX5809" fmla="*/ 2290882 w 6789110"/>
              <a:gd name="connsiteY5809" fmla="*/ 1570411 h 6386516"/>
              <a:gd name="connsiteX5810" fmla="*/ 2294732 w 6789110"/>
              <a:gd name="connsiteY5810" fmla="*/ 1576185 h 6386516"/>
              <a:gd name="connsiteX5811" fmla="*/ 2279333 w 6789110"/>
              <a:gd name="connsiteY5811" fmla="*/ 1583885 h 6386516"/>
              <a:gd name="connsiteX5812" fmla="*/ 2290882 w 6789110"/>
              <a:gd name="connsiteY5812" fmla="*/ 1570411 h 6386516"/>
              <a:gd name="connsiteX5813" fmla="*/ 2321678 w 6789110"/>
              <a:gd name="connsiteY5813" fmla="*/ 1566555 h 6386516"/>
              <a:gd name="connsiteX5814" fmla="*/ 2325527 w 6789110"/>
              <a:gd name="connsiteY5814" fmla="*/ 1572330 h 6386516"/>
              <a:gd name="connsiteX5815" fmla="*/ 2337076 w 6789110"/>
              <a:gd name="connsiteY5815" fmla="*/ 1574254 h 6386516"/>
              <a:gd name="connsiteX5816" fmla="*/ 2335151 w 6789110"/>
              <a:gd name="connsiteY5816" fmla="*/ 1576179 h 6386516"/>
              <a:gd name="connsiteX5817" fmla="*/ 2337076 w 6789110"/>
              <a:gd name="connsiteY5817" fmla="*/ 1580029 h 6386516"/>
              <a:gd name="connsiteX5818" fmla="*/ 2337076 w 6789110"/>
              <a:gd name="connsiteY5818" fmla="*/ 1578104 h 6386516"/>
              <a:gd name="connsiteX5819" fmla="*/ 2340926 w 6789110"/>
              <a:gd name="connsiteY5819" fmla="*/ 1578104 h 6386516"/>
              <a:gd name="connsiteX5820" fmla="*/ 2339002 w 6789110"/>
              <a:gd name="connsiteY5820" fmla="*/ 1576179 h 6386516"/>
              <a:gd name="connsiteX5821" fmla="*/ 2342851 w 6789110"/>
              <a:gd name="connsiteY5821" fmla="*/ 1572330 h 6386516"/>
              <a:gd name="connsiteX5822" fmla="*/ 2344776 w 6789110"/>
              <a:gd name="connsiteY5822" fmla="*/ 1574254 h 6386516"/>
              <a:gd name="connsiteX5823" fmla="*/ 2348625 w 6789110"/>
              <a:gd name="connsiteY5823" fmla="*/ 1570405 h 6386516"/>
              <a:gd name="connsiteX5824" fmla="*/ 2350550 w 6789110"/>
              <a:gd name="connsiteY5824" fmla="*/ 1570405 h 6386516"/>
              <a:gd name="connsiteX5825" fmla="*/ 2352475 w 6789110"/>
              <a:gd name="connsiteY5825" fmla="*/ 1570405 h 6386516"/>
              <a:gd name="connsiteX5826" fmla="*/ 2339002 w 6789110"/>
              <a:gd name="connsiteY5826" fmla="*/ 1628148 h 6386516"/>
              <a:gd name="connsiteX5827" fmla="*/ 2333227 w 6789110"/>
              <a:gd name="connsiteY5827" fmla="*/ 1622374 h 6386516"/>
              <a:gd name="connsiteX5828" fmla="*/ 2335151 w 6789110"/>
              <a:gd name="connsiteY5828" fmla="*/ 1618524 h 6386516"/>
              <a:gd name="connsiteX5829" fmla="*/ 2325527 w 6789110"/>
              <a:gd name="connsiteY5829" fmla="*/ 1618524 h 6386516"/>
              <a:gd name="connsiteX5830" fmla="*/ 2327452 w 6789110"/>
              <a:gd name="connsiteY5830" fmla="*/ 1614676 h 6386516"/>
              <a:gd name="connsiteX5831" fmla="*/ 2325527 w 6789110"/>
              <a:gd name="connsiteY5831" fmla="*/ 1610826 h 6386516"/>
              <a:gd name="connsiteX5832" fmla="*/ 2327452 w 6789110"/>
              <a:gd name="connsiteY5832" fmla="*/ 1608900 h 6386516"/>
              <a:gd name="connsiteX5833" fmla="*/ 2333227 w 6789110"/>
              <a:gd name="connsiteY5833" fmla="*/ 1608900 h 6386516"/>
              <a:gd name="connsiteX5834" fmla="*/ 2339002 w 6789110"/>
              <a:gd name="connsiteY5834" fmla="*/ 1603126 h 6386516"/>
              <a:gd name="connsiteX5835" fmla="*/ 2335151 w 6789110"/>
              <a:gd name="connsiteY5835" fmla="*/ 1593502 h 6386516"/>
              <a:gd name="connsiteX5836" fmla="*/ 2333227 w 6789110"/>
              <a:gd name="connsiteY5836" fmla="*/ 1593502 h 6386516"/>
              <a:gd name="connsiteX5837" fmla="*/ 2333227 w 6789110"/>
              <a:gd name="connsiteY5837" fmla="*/ 1601201 h 6386516"/>
              <a:gd name="connsiteX5838" fmla="*/ 2325527 w 6789110"/>
              <a:gd name="connsiteY5838" fmla="*/ 1595428 h 6386516"/>
              <a:gd name="connsiteX5839" fmla="*/ 2313979 w 6789110"/>
              <a:gd name="connsiteY5839" fmla="*/ 1601201 h 6386516"/>
              <a:gd name="connsiteX5840" fmla="*/ 2313979 w 6789110"/>
              <a:gd name="connsiteY5840" fmla="*/ 1593502 h 6386516"/>
              <a:gd name="connsiteX5841" fmla="*/ 2319753 w 6789110"/>
              <a:gd name="connsiteY5841" fmla="*/ 1593502 h 6386516"/>
              <a:gd name="connsiteX5842" fmla="*/ 2319753 w 6789110"/>
              <a:gd name="connsiteY5842" fmla="*/ 1591578 h 6386516"/>
              <a:gd name="connsiteX5843" fmla="*/ 2323603 w 6789110"/>
              <a:gd name="connsiteY5843" fmla="*/ 1593502 h 6386516"/>
              <a:gd name="connsiteX5844" fmla="*/ 2327452 w 6789110"/>
              <a:gd name="connsiteY5844" fmla="*/ 1593502 h 6386516"/>
              <a:gd name="connsiteX5845" fmla="*/ 2321678 w 6789110"/>
              <a:gd name="connsiteY5845" fmla="*/ 1587728 h 6386516"/>
              <a:gd name="connsiteX5846" fmla="*/ 2321678 w 6789110"/>
              <a:gd name="connsiteY5846" fmla="*/ 1585803 h 6386516"/>
              <a:gd name="connsiteX5847" fmla="*/ 2327452 w 6789110"/>
              <a:gd name="connsiteY5847" fmla="*/ 1581954 h 6386516"/>
              <a:gd name="connsiteX5848" fmla="*/ 2329377 w 6789110"/>
              <a:gd name="connsiteY5848" fmla="*/ 1581954 h 6386516"/>
              <a:gd name="connsiteX5849" fmla="*/ 2327452 w 6789110"/>
              <a:gd name="connsiteY5849" fmla="*/ 1580029 h 6386516"/>
              <a:gd name="connsiteX5850" fmla="*/ 2327452 w 6789110"/>
              <a:gd name="connsiteY5850" fmla="*/ 1581954 h 6386516"/>
              <a:gd name="connsiteX5851" fmla="*/ 2323603 w 6789110"/>
              <a:gd name="connsiteY5851" fmla="*/ 1580029 h 6386516"/>
              <a:gd name="connsiteX5852" fmla="*/ 2317828 w 6789110"/>
              <a:gd name="connsiteY5852" fmla="*/ 1583878 h 6386516"/>
              <a:gd name="connsiteX5853" fmla="*/ 2312054 w 6789110"/>
              <a:gd name="connsiteY5853" fmla="*/ 1581954 h 6386516"/>
              <a:gd name="connsiteX5854" fmla="*/ 2313979 w 6789110"/>
              <a:gd name="connsiteY5854" fmla="*/ 1587728 h 6386516"/>
              <a:gd name="connsiteX5855" fmla="*/ 2317828 w 6789110"/>
              <a:gd name="connsiteY5855" fmla="*/ 1591578 h 6386516"/>
              <a:gd name="connsiteX5856" fmla="*/ 2306280 w 6789110"/>
              <a:gd name="connsiteY5856" fmla="*/ 1589653 h 6386516"/>
              <a:gd name="connsiteX5857" fmla="*/ 2315904 w 6789110"/>
              <a:gd name="connsiteY5857" fmla="*/ 1568480 h 6386516"/>
              <a:gd name="connsiteX5858" fmla="*/ 2321678 w 6789110"/>
              <a:gd name="connsiteY5858" fmla="*/ 1572330 h 6386516"/>
              <a:gd name="connsiteX5859" fmla="*/ 4960563 w 6789110"/>
              <a:gd name="connsiteY5859" fmla="*/ 1562763 h 6386516"/>
              <a:gd name="connsiteX5860" fmla="*/ 4829678 w 6789110"/>
              <a:gd name="connsiteY5860" fmla="*/ 1689797 h 6386516"/>
              <a:gd name="connsiteX5861" fmla="*/ 4839302 w 6789110"/>
              <a:gd name="connsiteY5861" fmla="*/ 1705197 h 6386516"/>
              <a:gd name="connsiteX5862" fmla="*/ 4854700 w 6789110"/>
              <a:gd name="connsiteY5862" fmla="*/ 1678249 h 6386516"/>
              <a:gd name="connsiteX5863" fmla="*/ 4854700 w 6789110"/>
              <a:gd name="connsiteY5863" fmla="*/ 1684022 h 6386516"/>
              <a:gd name="connsiteX5864" fmla="*/ 4847001 w 6789110"/>
              <a:gd name="connsiteY5864" fmla="*/ 1703274 h 6386516"/>
              <a:gd name="connsiteX5865" fmla="*/ 4966338 w 6789110"/>
              <a:gd name="connsiteY5865" fmla="*/ 1572385 h 6386516"/>
              <a:gd name="connsiteX5866" fmla="*/ 4960563 w 6789110"/>
              <a:gd name="connsiteY5866" fmla="*/ 1562763 h 6386516"/>
              <a:gd name="connsiteX5867" fmla="*/ 2140749 w 6789110"/>
              <a:gd name="connsiteY5867" fmla="*/ 1558868 h 6386516"/>
              <a:gd name="connsiteX5868" fmla="*/ 2146524 w 6789110"/>
              <a:gd name="connsiteY5868" fmla="*/ 1562718 h 6386516"/>
              <a:gd name="connsiteX5869" fmla="*/ 2136899 w 6789110"/>
              <a:gd name="connsiteY5869" fmla="*/ 1570417 h 6386516"/>
              <a:gd name="connsiteX5870" fmla="*/ 2129200 w 6789110"/>
              <a:gd name="connsiteY5870" fmla="*/ 1562718 h 6386516"/>
              <a:gd name="connsiteX5871" fmla="*/ 2140749 w 6789110"/>
              <a:gd name="connsiteY5871" fmla="*/ 1558868 h 6386516"/>
              <a:gd name="connsiteX5872" fmla="*/ 4922067 w 6789110"/>
              <a:gd name="connsiteY5872" fmla="*/ 1556986 h 6386516"/>
              <a:gd name="connsiteX5873" fmla="*/ 4839302 w 6789110"/>
              <a:gd name="connsiteY5873" fmla="*/ 1630130 h 6386516"/>
              <a:gd name="connsiteX5874" fmla="*/ 4858550 w 6789110"/>
              <a:gd name="connsiteY5874" fmla="*/ 1626278 h 6386516"/>
              <a:gd name="connsiteX5875" fmla="*/ 4922067 w 6789110"/>
              <a:gd name="connsiteY5875" fmla="*/ 1556986 h 6386516"/>
              <a:gd name="connsiteX5876" fmla="*/ 2279334 w 6789110"/>
              <a:gd name="connsiteY5876" fmla="*/ 1556938 h 6386516"/>
              <a:gd name="connsiteX5877" fmla="*/ 2287033 w 6789110"/>
              <a:gd name="connsiteY5877" fmla="*/ 1562712 h 6386516"/>
              <a:gd name="connsiteX5878" fmla="*/ 2279334 w 6789110"/>
              <a:gd name="connsiteY5878" fmla="*/ 1562712 h 6386516"/>
              <a:gd name="connsiteX5879" fmla="*/ 3536219 w 6789110"/>
              <a:gd name="connsiteY5879" fmla="*/ 1553138 h 6386516"/>
              <a:gd name="connsiteX5880" fmla="*/ 3199383 w 6789110"/>
              <a:gd name="connsiteY5880" fmla="*/ 2076656 h 6386516"/>
              <a:gd name="connsiteX5881" fmla="*/ 3195532 w 6789110"/>
              <a:gd name="connsiteY5881" fmla="*/ 2105547 h 6386516"/>
              <a:gd name="connsiteX5882" fmla="*/ 3255201 w 6789110"/>
              <a:gd name="connsiteY5882" fmla="*/ 2059325 h 6386516"/>
              <a:gd name="connsiteX5883" fmla="*/ 3543919 w 6789110"/>
              <a:gd name="connsiteY5883" fmla="*/ 1659005 h 6386516"/>
              <a:gd name="connsiteX5884" fmla="*/ 3536219 w 6789110"/>
              <a:gd name="connsiteY5884" fmla="*/ 1653226 h 6386516"/>
              <a:gd name="connsiteX5885" fmla="*/ 3545843 w 6789110"/>
              <a:gd name="connsiteY5885" fmla="*/ 1639755 h 6386516"/>
              <a:gd name="connsiteX5886" fmla="*/ 3547768 w 6789110"/>
              <a:gd name="connsiteY5886" fmla="*/ 1639755 h 6386516"/>
              <a:gd name="connsiteX5887" fmla="*/ 3551618 w 6789110"/>
              <a:gd name="connsiteY5887" fmla="*/ 1616654 h 6386516"/>
              <a:gd name="connsiteX5888" fmla="*/ 3536219 w 6789110"/>
              <a:gd name="connsiteY5888" fmla="*/ 1553138 h 6386516"/>
              <a:gd name="connsiteX5889" fmla="*/ 2288958 w 6789110"/>
              <a:gd name="connsiteY5889" fmla="*/ 1553088 h 6386516"/>
              <a:gd name="connsiteX5890" fmla="*/ 2300506 w 6789110"/>
              <a:gd name="connsiteY5890" fmla="*/ 1556937 h 6386516"/>
              <a:gd name="connsiteX5891" fmla="*/ 2292807 w 6789110"/>
              <a:gd name="connsiteY5891" fmla="*/ 1570411 h 6386516"/>
              <a:gd name="connsiteX5892" fmla="*/ 2292807 w 6789110"/>
              <a:gd name="connsiteY5892" fmla="*/ 1564637 h 6386516"/>
              <a:gd name="connsiteX5893" fmla="*/ 2398669 w 6789110"/>
              <a:gd name="connsiteY5893" fmla="*/ 1553082 h 6386516"/>
              <a:gd name="connsiteX5894" fmla="*/ 2392895 w 6789110"/>
              <a:gd name="connsiteY5894" fmla="*/ 1555007 h 6386516"/>
              <a:gd name="connsiteX5895" fmla="*/ 2398669 w 6789110"/>
              <a:gd name="connsiteY5895" fmla="*/ 1560781 h 6386516"/>
              <a:gd name="connsiteX5896" fmla="*/ 2402519 w 6789110"/>
              <a:gd name="connsiteY5896" fmla="*/ 1556931 h 6386516"/>
              <a:gd name="connsiteX5897" fmla="*/ 2027186 w 6789110"/>
              <a:gd name="connsiteY5897" fmla="*/ 1551154 h 6386516"/>
              <a:gd name="connsiteX5898" fmla="*/ 2036810 w 6789110"/>
              <a:gd name="connsiteY5898" fmla="*/ 1551154 h 6386516"/>
              <a:gd name="connsiteX5899" fmla="*/ 2032960 w 6789110"/>
              <a:gd name="connsiteY5899" fmla="*/ 1556929 h 6386516"/>
              <a:gd name="connsiteX5900" fmla="*/ 2092629 w 6789110"/>
              <a:gd name="connsiteY5900" fmla="*/ 1545385 h 6386516"/>
              <a:gd name="connsiteX5901" fmla="*/ 2102253 w 6789110"/>
              <a:gd name="connsiteY5901" fmla="*/ 1545385 h 6386516"/>
              <a:gd name="connsiteX5902" fmla="*/ 2102253 w 6789110"/>
              <a:gd name="connsiteY5902" fmla="*/ 1551160 h 6386516"/>
              <a:gd name="connsiteX5903" fmla="*/ 2096478 w 6789110"/>
              <a:gd name="connsiteY5903" fmla="*/ 1551160 h 6386516"/>
              <a:gd name="connsiteX5904" fmla="*/ 2092629 w 6789110"/>
              <a:gd name="connsiteY5904" fmla="*/ 1545385 h 6386516"/>
              <a:gd name="connsiteX5905" fmla="*/ 5187689 w 6789110"/>
              <a:gd name="connsiteY5905" fmla="*/ 1543515 h 6386516"/>
              <a:gd name="connsiteX5906" fmla="*/ 5135719 w 6789110"/>
              <a:gd name="connsiteY5906" fmla="*/ 1580082 h 6386516"/>
              <a:gd name="connsiteX5907" fmla="*/ 5143418 w 6789110"/>
              <a:gd name="connsiteY5907" fmla="*/ 1595482 h 6386516"/>
              <a:gd name="connsiteX5908" fmla="*/ 5147268 w 6789110"/>
              <a:gd name="connsiteY5908" fmla="*/ 1583933 h 6386516"/>
              <a:gd name="connsiteX5909" fmla="*/ 5168441 w 6789110"/>
              <a:gd name="connsiteY5909" fmla="*/ 1582008 h 6386516"/>
              <a:gd name="connsiteX5910" fmla="*/ 5187689 w 6789110"/>
              <a:gd name="connsiteY5910" fmla="*/ 1543515 h 6386516"/>
              <a:gd name="connsiteX5911" fmla="*/ 4991360 w 6789110"/>
              <a:gd name="connsiteY5911" fmla="*/ 1541589 h 6386516"/>
              <a:gd name="connsiteX5912" fmla="*/ 4966338 w 6789110"/>
              <a:gd name="connsiteY5912" fmla="*/ 1560837 h 6386516"/>
              <a:gd name="connsiteX5913" fmla="*/ 4972112 w 6789110"/>
              <a:gd name="connsiteY5913" fmla="*/ 1568537 h 6386516"/>
              <a:gd name="connsiteX5914" fmla="*/ 4991360 w 6789110"/>
              <a:gd name="connsiteY5914" fmla="*/ 1541589 h 6386516"/>
              <a:gd name="connsiteX5915" fmla="*/ 2285107 w 6789110"/>
              <a:gd name="connsiteY5915" fmla="*/ 1531915 h 6386516"/>
              <a:gd name="connsiteX5916" fmla="*/ 2288958 w 6789110"/>
              <a:gd name="connsiteY5916" fmla="*/ 1537689 h 6386516"/>
              <a:gd name="connsiteX5917" fmla="*/ 2285107 w 6789110"/>
              <a:gd name="connsiteY5917" fmla="*/ 1539614 h 6386516"/>
              <a:gd name="connsiteX5918" fmla="*/ 2279333 w 6789110"/>
              <a:gd name="connsiteY5918" fmla="*/ 1535765 h 6386516"/>
              <a:gd name="connsiteX5919" fmla="*/ 4902820 w 6789110"/>
              <a:gd name="connsiteY5919" fmla="*/ 1530041 h 6386516"/>
              <a:gd name="connsiteX5920" fmla="*/ 4873948 w 6789110"/>
              <a:gd name="connsiteY5920" fmla="*/ 1533891 h 6386516"/>
              <a:gd name="connsiteX5921" fmla="*/ 4858550 w 6789110"/>
              <a:gd name="connsiteY5921" fmla="*/ 1547362 h 6386516"/>
              <a:gd name="connsiteX5922" fmla="*/ 4843151 w 6789110"/>
              <a:gd name="connsiteY5922" fmla="*/ 1547362 h 6386516"/>
              <a:gd name="connsiteX5923" fmla="*/ 4839302 w 6789110"/>
              <a:gd name="connsiteY5923" fmla="*/ 1551212 h 6386516"/>
              <a:gd name="connsiteX5924" fmla="*/ 4837377 w 6789110"/>
              <a:gd name="connsiteY5924" fmla="*/ 1583933 h 6386516"/>
              <a:gd name="connsiteX5925" fmla="*/ 4800806 w 6789110"/>
              <a:gd name="connsiteY5925" fmla="*/ 1626278 h 6386516"/>
              <a:gd name="connsiteX5926" fmla="*/ 4808505 w 6789110"/>
              <a:gd name="connsiteY5926" fmla="*/ 1628205 h 6386516"/>
              <a:gd name="connsiteX5927" fmla="*/ 4902820 w 6789110"/>
              <a:gd name="connsiteY5927" fmla="*/ 1530041 h 6386516"/>
              <a:gd name="connsiteX5928" fmla="*/ 2298582 w 6789110"/>
              <a:gd name="connsiteY5928" fmla="*/ 1522290 h 6386516"/>
              <a:gd name="connsiteX5929" fmla="*/ 2302432 w 6789110"/>
              <a:gd name="connsiteY5929" fmla="*/ 1533840 h 6386516"/>
              <a:gd name="connsiteX5930" fmla="*/ 2287032 w 6789110"/>
              <a:gd name="connsiteY5930" fmla="*/ 1533840 h 6386516"/>
              <a:gd name="connsiteX5931" fmla="*/ 2283183 w 6789110"/>
              <a:gd name="connsiteY5931" fmla="*/ 1528065 h 6386516"/>
              <a:gd name="connsiteX5932" fmla="*/ 5324348 w 6789110"/>
              <a:gd name="connsiteY5932" fmla="*/ 1510793 h 6386516"/>
              <a:gd name="connsiteX5933" fmla="*/ 5312800 w 6789110"/>
              <a:gd name="connsiteY5933" fmla="*/ 1512717 h 6386516"/>
              <a:gd name="connsiteX5934" fmla="*/ 5308950 w 6789110"/>
              <a:gd name="connsiteY5934" fmla="*/ 1520417 h 6386516"/>
              <a:gd name="connsiteX5935" fmla="*/ 5308950 w 6789110"/>
              <a:gd name="connsiteY5935" fmla="*/ 1541589 h 6386516"/>
              <a:gd name="connsiteX5936" fmla="*/ 5324348 w 6789110"/>
              <a:gd name="connsiteY5936" fmla="*/ 1510793 h 6386516"/>
              <a:gd name="connsiteX5937" fmla="*/ 2425617 w 6789110"/>
              <a:gd name="connsiteY5937" fmla="*/ 1506887 h 6386516"/>
              <a:gd name="connsiteX5938" fmla="*/ 2425617 w 6789110"/>
              <a:gd name="connsiteY5938" fmla="*/ 1512662 h 6386516"/>
              <a:gd name="connsiteX5939" fmla="*/ 2429466 w 6789110"/>
              <a:gd name="connsiteY5939" fmla="*/ 1510737 h 6386516"/>
              <a:gd name="connsiteX5940" fmla="*/ 383418 w 6789110"/>
              <a:gd name="connsiteY5940" fmla="*/ 1499185 h 6386516"/>
              <a:gd name="connsiteX5941" fmla="*/ 373794 w 6789110"/>
              <a:gd name="connsiteY5941" fmla="*/ 1501109 h 6386516"/>
              <a:gd name="connsiteX5942" fmla="*/ 602844 w 6789110"/>
              <a:gd name="connsiteY5942" fmla="*/ 1595424 h 6386516"/>
              <a:gd name="connsiteX5943" fmla="*/ 608618 w 6789110"/>
              <a:gd name="connsiteY5943" fmla="*/ 1670492 h 6386516"/>
              <a:gd name="connsiteX5944" fmla="*/ 610543 w 6789110"/>
              <a:gd name="connsiteY5944" fmla="*/ 1580026 h 6386516"/>
              <a:gd name="connsiteX5945" fmla="*/ 383418 w 6789110"/>
              <a:gd name="connsiteY5945" fmla="*/ 1499185 h 6386516"/>
              <a:gd name="connsiteX5946" fmla="*/ 2439090 w 6789110"/>
              <a:gd name="connsiteY5946" fmla="*/ 1497263 h 6386516"/>
              <a:gd name="connsiteX5947" fmla="*/ 2433316 w 6789110"/>
              <a:gd name="connsiteY5947" fmla="*/ 1503038 h 6386516"/>
              <a:gd name="connsiteX5948" fmla="*/ 2431391 w 6789110"/>
              <a:gd name="connsiteY5948" fmla="*/ 1506887 h 6386516"/>
              <a:gd name="connsiteX5949" fmla="*/ 2437165 w 6789110"/>
              <a:gd name="connsiteY5949" fmla="*/ 1503038 h 6386516"/>
              <a:gd name="connsiteX5950" fmla="*/ 2441015 w 6789110"/>
              <a:gd name="connsiteY5950" fmla="*/ 1499189 h 6386516"/>
              <a:gd name="connsiteX5951" fmla="*/ 1973293 w 6789110"/>
              <a:gd name="connsiteY5951" fmla="*/ 1491486 h 6386516"/>
              <a:gd name="connsiteX5952" fmla="*/ 1980992 w 6789110"/>
              <a:gd name="connsiteY5952" fmla="*/ 1497260 h 6386516"/>
              <a:gd name="connsiteX5953" fmla="*/ 1973293 w 6789110"/>
              <a:gd name="connsiteY5953" fmla="*/ 1501110 h 6386516"/>
              <a:gd name="connsiteX5954" fmla="*/ 4925917 w 6789110"/>
              <a:gd name="connsiteY5954" fmla="*/ 1489622 h 6386516"/>
              <a:gd name="connsiteX5955" fmla="*/ 4927842 w 6789110"/>
              <a:gd name="connsiteY5955" fmla="*/ 1499244 h 6386516"/>
              <a:gd name="connsiteX5956" fmla="*/ 4933616 w 6789110"/>
              <a:gd name="connsiteY5956" fmla="*/ 1489622 h 6386516"/>
              <a:gd name="connsiteX5957" fmla="*/ 4925917 w 6789110"/>
              <a:gd name="connsiteY5957" fmla="*/ 1489622 h 6386516"/>
              <a:gd name="connsiteX5958" fmla="*/ 2429466 w 6789110"/>
              <a:gd name="connsiteY5958" fmla="*/ 1487639 h 6386516"/>
              <a:gd name="connsiteX5959" fmla="*/ 2431391 w 6789110"/>
              <a:gd name="connsiteY5959" fmla="*/ 1491489 h 6386516"/>
              <a:gd name="connsiteX5960" fmla="*/ 2427541 w 6789110"/>
              <a:gd name="connsiteY5960" fmla="*/ 1493414 h 6386516"/>
              <a:gd name="connsiteX5961" fmla="*/ 2425617 w 6789110"/>
              <a:gd name="connsiteY5961" fmla="*/ 1491489 h 6386516"/>
              <a:gd name="connsiteX5962" fmla="*/ 2421767 w 6789110"/>
              <a:gd name="connsiteY5962" fmla="*/ 1497263 h 6386516"/>
              <a:gd name="connsiteX5963" fmla="*/ 2423692 w 6789110"/>
              <a:gd name="connsiteY5963" fmla="*/ 1497263 h 6386516"/>
              <a:gd name="connsiteX5964" fmla="*/ 2425617 w 6789110"/>
              <a:gd name="connsiteY5964" fmla="*/ 1497263 h 6386516"/>
              <a:gd name="connsiteX5965" fmla="*/ 2427541 w 6789110"/>
              <a:gd name="connsiteY5965" fmla="*/ 1493414 h 6386516"/>
              <a:gd name="connsiteX5966" fmla="*/ 2433316 w 6789110"/>
              <a:gd name="connsiteY5966" fmla="*/ 1487639 h 6386516"/>
              <a:gd name="connsiteX5967" fmla="*/ 2444864 w 6789110"/>
              <a:gd name="connsiteY5967" fmla="*/ 1481866 h 6386516"/>
              <a:gd name="connsiteX5968" fmla="*/ 2444864 w 6789110"/>
              <a:gd name="connsiteY5968" fmla="*/ 1483790 h 6386516"/>
              <a:gd name="connsiteX5969" fmla="*/ 2442940 w 6789110"/>
              <a:gd name="connsiteY5969" fmla="*/ 1483790 h 6386516"/>
              <a:gd name="connsiteX5970" fmla="*/ 2444864 w 6789110"/>
              <a:gd name="connsiteY5970" fmla="*/ 1481866 h 6386516"/>
              <a:gd name="connsiteX5971" fmla="*/ 2337076 w 6789110"/>
              <a:gd name="connsiteY5971" fmla="*/ 1478016 h 6386516"/>
              <a:gd name="connsiteX5972" fmla="*/ 2321678 w 6789110"/>
              <a:gd name="connsiteY5972" fmla="*/ 1485715 h 6386516"/>
              <a:gd name="connsiteX5973" fmla="*/ 2333227 w 6789110"/>
              <a:gd name="connsiteY5973" fmla="*/ 1493414 h 6386516"/>
              <a:gd name="connsiteX5974" fmla="*/ 2337076 w 6789110"/>
              <a:gd name="connsiteY5974" fmla="*/ 1485715 h 6386516"/>
              <a:gd name="connsiteX5975" fmla="*/ 2439090 w 6789110"/>
              <a:gd name="connsiteY5975" fmla="*/ 1476091 h 6386516"/>
              <a:gd name="connsiteX5976" fmla="*/ 2441015 w 6789110"/>
              <a:gd name="connsiteY5976" fmla="*/ 1478016 h 6386516"/>
              <a:gd name="connsiteX5977" fmla="*/ 2439090 w 6789110"/>
              <a:gd name="connsiteY5977" fmla="*/ 1479941 h 6386516"/>
              <a:gd name="connsiteX5978" fmla="*/ 2441015 w 6789110"/>
              <a:gd name="connsiteY5978" fmla="*/ 1479941 h 6386516"/>
              <a:gd name="connsiteX5979" fmla="*/ 2439090 w 6789110"/>
              <a:gd name="connsiteY5979" fmla="*/ 1481866 h 6386516"/>
              <a:gd name="connsiteX5980" fmla="*/ 2441015 w 6789110"/>
              <a:gd name="connsiteY5980" fmla="*/ 1481866 h 6386516"/>
              <a:gd name="connsiteX5981" fmla="*/ 2439090 w 6789110"/>
              <a:gd name="connsiteY5981" fmla="*/ 1485715 h 6386516"/>
              <a:gd name="connsiteX5982" fmla="*/ 2444864 w 6789110"/>
              <a:gd name="connsiteY5982" fmla="*/ 1485715 h 6386516"/>
              <a:gd name="connsiteX5983" fmla="*/ 2444864 w 6789110"/>
              <a:gd name="connsiteY5983" fmla="*/ 1483790 h 6386516"/>
              <a:gd name="connsiteX5984" fmla="*/ 2450640 w 6789110"/>
              <a:gd name="connsiteY5984" fmla="*/ 1479941 h 6386516"/>
              <a:gd name="connsiteX5985" fmla="*/ 2442940 w 6789110"/>
              <a:gd name="connsiteY5985" fmla="*/ 1478016 h 6386516"/>
              <a:gd name="connsiteX5986" fmla="*/ 2441015 w 6789110"/>
              <a:gd name="connsiteY5986" fmla="*/ 1476091 h 6386516"/>
              <a:gd name="connsiteX5987" fmla="*/ 2479511 w 6789110"/>
              <a:gd name="connsiteY5987" fmla="*/ 1449144 h 6386516"/>
              <a:gd name="connsiteX5988" fmla="*/ 2477586 w 6789110"/>
              <a:gd name="connsiteY5988" fmla="*/ 1451069 h 6386516"/>
              <a:gd name="connsiteX5989" fmla="*/ 2481435 w 6789110"/>
              <a:gd name="connsiteY5989" fmla="*/ 1451069 h 6386516"/>
              <a:gd name="connsiteX5990" fmla="*/ 2481435 w 6789110"/>
              <a:gd name="connsiteY5990" fmla="*/ 1441445 h 6386516"/>
              <a:gd name="connsiteX5991" fmla="*/ 2483360 w 6789110"/>
              <a:gd name="connsiteY5991" fmla="*/ 1443370 h 6386516"/>
              <a:gd name="connsiteX5992" fmla="*/ 2485285 w 6789110"/>
              <a:gd name="connsiteY5992" fmla="*/ 1441445 h 6386516"/>
              <a:gd name="connsiteX5993" fmla="*/ 2460263 w 6789110"/>
              <a:gd name="connsiteY5993" fmla="*/ 1441445 h 6386516"/>
              <a:gd name="connsiteX5994" fmla="*/ 2462188 w 6789110"/>
              <a:gd name="connsiteY5994" fmla="*/ 1443370 h 6386516"/>
              <a:gd name="connsiteX5995" fmla="*/ 2464112 w 6789110"/>
              <a:gd name="connsiteY5995" fmla="*/ 1445295 h 6386516"/>
              <a:gd name="connsiteX5996" fmla="*/ 2464112 w 6789110"/>
              <a:gd name="connsiteY5996" fmla="*/ 1441445 h 6386516"/>
              <a:gd name="connsiteX5997" fmla="*/ 2487210 w 6789110"/>
              <a:gd name="connsiteY5997" fmla="*/ 1433746 h 6386516"/>
              <a:gd name="connsiteX5998" fmla="*/ 2489134 w 6789110"/>
              <a:gd name="connsiteY5998" fmla="*/ 1437596 h 6386516"/>
              <a:gd name="connsiteX5999" fmla="*/ 2487210 w 6789110"/>
              <a:gd name="connsiteY5999" fmla="*/ 1433746 h 6386516"/>
              <a:gd name="connsiteX6000" fmla="*/ 3174360 w 6789110"/>
              <a:gd name="connsiteY6000" fmla="*/ 1431878 h 6386516"/>
              <a:gd name="connsiteX6001" fmla="*/ 3103142 w 6789110"/>
              <a:gd name="connsiteY6001" fmla="*/ 1503094 h 6386516"/>
              <a:gd name="connsiteX6002" fmla="*/ 3133939 w 6789110"/>
              <a:gd name="connsiteY6002" fmla="*/ 1555062 h 6386516"/>
              <a:gd name="connsiteX6003" fmla="*/ 3197457 w 6789110"/>
              <a:gd name="connsiteY6003" fmla="*/ 1449202 h 6386516"/>
              <a:gd name="connsiteX6004" fmla="*/ 3182059 w 6789110"/>
              <a:gd name="connsiteY6004" fmla="*/ 1437653 h 6386516"/>
              <a:gd name="connsiteX6005" fmla="*/ 3174360 w 6789110"/>
              <a:gd name="connsiteY6005" fmla="*/ 1431878 h 6386516"/>
              <a:gd name="connsiteX6006" fmla="*/ 2508352 w 6789110"/>
              <a:gd name="connsiteY6006" fmla="*/ 1429837 h 6386516"/>
              <a:gd name="connsiteX6007" fmla="*/ 2508382 w 6789110"/>
              <a:gd name="connsiteY6007" fmla="*/ 1429896 h 6386516"/>
              <a:gd name="connsiteX6008" fmla="*/ 2508310 w 6789110"/>
              <a:gd name="connsiteY6008" fmla="*/ 1429896 h 6386516"/>
              <a:gd name="connsiteX6009" fmla="*/ 2496833 w 6789110"/>
              <a:gd name="connsiteY6009" fmla="*/ 1427972 h 6386516"/>
              <a:gd name="connsiteX6010" fmla="*/ 2492984 w 6789110"/>
              <a:gd name="connsiteY6010" fmla="*/ 1429896 h 6386516"/>
              <a:gd name="connsiteX6011" fmla="*/ 2489134 w 6789110"/>
              <a:gd name="connsiteY6011" fmla="*/ 1429896 h 6386516"/>
              <a:gd name="connsiteX6012" fmla="*/ 2491059 w 6789110"/>
              <a:gd name="connsiteY6012" fmla="*/ 1431821 h 6386516"/>
              <a:gd name="connsiteX6013" fmla="*/ 2492984 w 6789110"/>
              <a:gd name="connsiteY6013" fmla="*/ 1429896 h 6386516"/>
              <a:gd name="connsiteX6014" fmla="*/ 2496833 w 6789110"/>
              <a:gd name="connsiteY6014" fmla="*/ 1427972 h 6386516"/>
              <a:gd name="connsiteX6015" fmla="*/ 2489134 w 6789110"/>
              <a:gd name="connsiteY6015" fmla="*/ 1427972 h 6386516"/>
              <a:gd name="connsiteX6016" fmla="*/ 2485285 w 6789110"/>
              <a:gd name="connsiteY6016" fmla="*/ 1431821 h 6386516"/>
              <a:gd name="connsiteX6017" fmla="*/ 2487210 w 6789110"/>
              <a:gd name="connsiteY6017" fmla="*/ 1429896 h 6386516"/>
              <a:gd name="connsiteX6018" fmla="*/ 2471811 w 6789110"/>
              <a:gd name="connsiteY6018" fmla="*/ 1427972 h 6386516"/>
              <a:gd name="connsiteX6019" fmla="*/ 2471811 w 6789110"/>
              <a:gd name="connsiteY6019" fmla="*/ 1429896 h 6386516"/>
              <a:gd name="connsiteX6020" fmla="*/ 2473736 w 6789110"/>
              <a:gd name="connsiteY6020" fmla="*/ 1427972 h 6386516"/>
              <a:gd name="connsiteX6021" fmla="*/ 2104178 w 6789110"/>
              <a:gd name="connsiteY6021" fmla="*/ 1424134 h 6386516"/>
              <a:gd name="connsiteX6022" fmla="*/ 2111877 w 6789110"/>
              <a:gd name="connsiteY6022" fmla="*/ 1429908 h 6386516"/>
              <a:gd name="connsiteX6023" fmla="*/ 2108029 w 6789110"/>
              <a:gd name="connsiteY6023" fmla="*/ 1441458 h 6386516"/>
              <a:gd name="connsiteX6024" fmla="*/ 2096478 w 6789110"/>
              <a:gd name="connsiteY6024" fmla="*/ 1447232 h 6386516"/>
              <a:gd name="connsiteX6025" fmla="*/ 2086854 w 6789110"/>
              <a:gd name="connsiteY6025" fmla="*/ 1441458 h 6386516"/>
              <a:gd name="connsiteX6026" fmla="*/ 2090704 w 6789110"/>
              <a:gd name="connsiteY6026" fmla="*/ 1427984 h 6386516"/>
              <a:gd name="connsiteX6027" fmla="*/ 2104178 w 6789110"/>
              <a:gd name="connsiteY6027" fmla="*/ 1424134 h 6386516"/>
              <a:gd name="connsiteX6028" fmla="*/ 2491059 w 6789110"/>
              <a:gd name="connsiteY6028" fmla="*/ 1420272 h 6386516"/>
              <a:gd name="connsiteX6029" fmla="*/ 2489134 w 6789110"/>
              <a:gd name="connsiteY6029" fmla="*/ 1422197 h 6386516"/>
              <a:gd name="connsiteX6030" fmla="*/ 2489134 w 6789110"/>
              <a:gd name="connsiteY6030" fmla="*/ 1424122 h 6386516"/>
              <a:gd name="connsiteX6031" fmla="*/ 2492984 w 6789110"/>
              <a:gd name="connsiteY6031" fmla="*/ 1424122 h 6386516"/>
              <a:gd name="connsiteX6032" fmla="*/ 2491059 w 6789110"/>
              <a:gd name="connsiteY6032" fmla="*/ 1420272 h 6386516"/>
              <a:gd name="connsiteX6033" fmla="*/ 2483360 w 6789110"/>
              <a:gd name="connsiteY6033" fmla="*/ 1420272 h 6386516"/>
              <a:gd name="connsiteX6034" fmla="*/ 2481435 w 6789110"/>
              <a:gd name="connsiteY6034" fmla="*/ 1422197 h 6386516"/>
              <a:gd name="connsiteX6035" fmla="*/ 2479511 w 6789110"/>
              <a:gd name="connsiteY6035" fmla="*/ 1424122 h 6386516"/>
              <a:gd name="connsiteX6036" fmla="*/ 2483360 w 6789110"/>
              <a:gd name="connsiteY6036" fmla="*/ 1424122 h 6386516"/>
              <a:gd name="connsiteX6037" fmla="*/ 2485285 w 6789110"/>
              <a:gd name="connsiteY6037" fmla="*/ 1424122 h 6386516"/>
              <a:gd name="connsiteX6038" fmla="*/ 2483360 w 6789110"/>
              <a:gd name="connsiteY6038" fmla="*/ 1420272 h 6386516"/>
              <a:gd name="connsiteX6039" fmla="*/ 2454488 w 6789110"/>
              <a:gd name="connsiteY6039" fmla="*/ 1420272 h 6386516"/>
              <a:gd name="connsiteX6040" fmla="*/ 2452563 w 6789110"/>
              <a:gd name="connsiteY6040" fmla="*/ 1422197 h 6386516"/>
              <a:gd name="connsiteX6041" fmla="*/ 2452563 w 6789110"/>
              <a:gd name="connsiteY6041" fmla="*/ 1424122 h 6386516"/>
              <a:gd name="connsiteX6042" fmla="*/ 2450640 w 6789110"/>
              <a:gd name="connsiteY6042" fmla="*/ 1426047 h 6386516"/>
              <a:gd name="connsiteX6043" fmla="*/ 2454488 w 6789110"/>
              <a:gd name="connsiteY6043" fmla="*/ 1426047 h 6386516"/>
              <a:gd name="connsiteX6044" fmla="*/ 2329377 w 6789110"/>
              <a:gd name="connsiteY6044" fmla="*/ 1420272 h 6386516"/>
              <a:gd name="connsiteX6045" fmla="*/ 2325527 w 6789110"/>
              <a:gd name="connsiteY6045" fmla="*/ 1422197 h 6386516"/>
              <a:gd name="connsiteX6046" fmla="*/ 2323603 w 6789110"/>
              <a:gd name="connsiteY6046" fmla="*/ 1424122 h 6386516"/>
              <a:gd name="connsiteX6047" fmla="*/ 2325527 w 6789110"/>
              <a:gd name="connsiteY6047" fmla="*/ 1427972 h 6386516"/>
              <a:gd name="connsiteX6048" fmla="*/ 2325527 w 6789110"/>
              <a:gd name="connsiteY6048" fmla="*/ 1424122 h 6386516"/>
              <a:gd name="connsiteX6049" fmla="*/ 2329377 w 6789110"/>
              <a:gd name="connsiteY6049" fmla="*/ 1422197 h 6386516"/>
              <a:gd name="connsiteX6050" fmla="*/ 2329377 w 6789110"/>
              <a:gd name="connsiteY6050" fmla="*/ 1420272 h 6386516"/>
              <a:gd name="connsiteX6051" fmla="*/ 2508382 w 6789110"/>
              <a:gd name="connsiteY6051" fmla="*/ 1412573 h 6386516"/>
              <a:gd name="connsiteX6052" fmla="*/ 2504533 w 6789110"/>
              <a:gd name="connsiteY6052" fmla="*/ 1414498 h 6386516"/>
              <a:gd name="connsiteX6053" fmla="*/ 2506458 w 6789110"/>
              <a:gd name="connsiteY6053" fmla="*/ 1416423 h 6386516"/>
              <a:gd name="connsiteX6054" fmla="*/ 2506458 w 6789110"/>
              <a:gd name="connsiteY6054" fmla="*/ 1420272 h 6386516"/>
              <a:gd name="connsiteX6055" fmla="*/ 2510307 w 6789110"/>
              <a:gd name="connsiteY6055" fmla="*/ 1416423 h 6386516"/>
              <a:gd name="connsiteX6056" fmla="*/ 2508382 w 6789110"/>
              <a:gd name="connsiteY6056" fmla="*/ 1412573 h 6386516"/>
              <a:gd name="connsiteX6057" fmla="*/ 2489134 w 6789110"/>
              <a:gd name="connsiteY6057" fmla="*/ 1412573 h 6386516"/>
              <a:gd name="connsiteX6058" fmla="*/ 2491059 w 6789110"/>
              <a:gd name="connsiteY6058" fmla="*/ 1414498 h 6386516"/>
              <a:gd name="connsiteX6059" fmla="*/ 2492984 w 6789110"/>
              <a:gd name="connsiteY6059" fmla="*/ 1412573 h 6386516"/>
              <a:gd name="connsiteX6060" fmla="*/ 2333227 w 6789110"/>
              <a:gd name="connsiteY6060" fmla="*/ 1412573 h 6386516"/>
              <a:gd name="connsiteX6061" fmla="*/ 2331303 w 6789110"/>
              <a:gd name="connsiteY6061" fmla="*/ 1414498 h 6386516"/>
              <a:gd name="connsiteX6062" fmla="*/ 2333227 w 6789110"/>
              <a:gd name="connsiteY6062" fmla="*/ 1416423 h 6386516"/>
              <a:gd name="connsiteX6063" fmla="*/ 2462189 w 6789110"/>
              <a:gd name="connsiteY6063" fmla="*/ 1410651 h 6386516"/>
              <a:gd name="connsiteX6064" fmla="*/ 2466038 w 6789110"/>
              <a:gd name="connsiteY6064" fmla="*/ 1410651 h 6386516"/>
              <a:gd name="connsiteX6065" fmla="*/ 2464114 w 6789110"/>
              <a:gd name="connsiteY6065" fmla="*/ 1412576 h 6386516"/>
              <a:gd name="connsiteX6066" fmla="*/ 2044510 w 6789110"/>
              <a:gd name="connsiteY6066" fmla="*/ 1410647 h 6386516"/>
              <a:gd name="connsiteX6067" fmla="*/ 2052209 w 6789110"/>
              <a:gd name="connsiteY6067" fmla="*/ 1410647 h 6386516"/>
              <a:gd name="connsiteX6068" fmla="*/ 2050284 w 6789110"/>
              <a:gd name="connsiteY6068" fmla="*/ 1416422 h 6386516"/>
              <a:gd name="connsiteX6069" fmla="*/ 2325527 w 6789110"/>
              <a:gd name="connsiteY6069" fmla="*/ 1408724 h 6386516"/>
              <a:gd name="connsiteX6070" fmla="*/ 2321678 w 6789110"/>
              <a:gd name="connsiteY6070" fmla="*/ 1410648 h 6386516"/>
              <a:gd name="connsiteX6071" fmla="*/ 2323603 w 6789110"/>
              <a:gd name="connsiteY6071" fmla="*/ 1412573 h 6386516"/>
              <a:gd name="connsiteX6072" fmla="*/ 2325527 w 6789110"/>
              <a:gd name="connsiteY6072" fmla="*/ 1414498 h 6386516"/>
              <a:gd name="connsiteX6073" fmla="*/ 2339002 w 6789110"/>
              <a:gd name="connsiteY6073" fmla="*/ 1406799 h 6386516"/>
              <a:gd name="connsiteX6074" fmla="*/ 2339002 w 6789110"/>
              <a:gd name="connsiteY6074" fmla="*/ 1408724 h 6386516"/>
              <a:gd name="connsiteX6075" fmla="*/ 2339002 w 6789110"/>
              <a:gd name="connsiteY6075" fmla="*/ 1410648 h 6386516"/>
              <a:gd name="connsiteX6076" fmla="*/ 2342851 w 6789110"/>
              <a:gd name="connsiteY6076" fmla="*/ 1410648 h 6386516"/>
              <a:gd name="connsiteX6077" fmla="*/ 2342851 w 6789110"/>
              <a:gd name="connsiteY6077" fmla="*/ 1408724 h 6386516"/>
              <a:gd name="connsiteX6078" fmla="*/ 2340926 w 6789110"/>
              <a:gd name="connsiteY6078" fmla="*/ 1406799 h 6386516"/>
              <a:gd name="connsiteX6079" fmla="*/ 2467964 w 6789110"/>
              <a:gd name="connsiteY6079" fmla="*/ 1404878 h 6386516"/>
              <a:gd name="connsiteX6080" fmla="*/ 2471813 w 6789110"/>
              <a:gd name="connsiteY6080" fmla="*/ 1404878 h 6386516"/>
              <a:gd name="connsiteX6081" fmla="*/ 2466039 w 6789110"/>
              <a:gd name="connsiteY6081" fmla="*/ 1410652 h 6386516"/>
              <a:gd name="connsiteX6082" fmla="*/ 2466039 w 6789110"/>
              <a:gd name="connsiteY6082" fmla="*/ 1406803 h 6386516"/>
              <a:gd name="connsiteX6083" fmla="*/ 2358249 w 6789110"/>
              <a:gd name="connsiteY6083" fmla="*/ 1404874 h 6386516"/>
              <a:gd name="connsiteX6084" fmla="*/ 2356324 w 6789110"/>
              <a:gd name="connsiteY6084" fmla="*/ 1406799 h 6386516"/>
              <a:gd name="connsiteX6085" fmla="*/ 2358249 w 6789110"/>
              <a:gd name="connsiteY6085" fmla="*/ 1408724 h 6386516"/>
              <a:gd name="connsiteX6086" fmla="*/ 2331303 w 6789110"/>
              <a:gd name="connsiteY6086" fmla="*/ 1404874 h 6386516"/>
              <a:gd name="connsiteX6087" fmla="*/ 2331303 w 6789110"/>
              <a:gd name="connsiteY6087" fmla="*/ 1406799 h 6386516"/>
              <a:gd name="connsiteX6088" fmla="*/ 2333227 w 6789110"/>
              <a:gd name="connsiteY6088" fmla="*/ 1404874 h 6386516"/>
              <a:gd name="connsiteX6089" fmla="*/ 2494428 w 6789110"/>
              <a:gd name="connsiteY6089" fmla="*/ 1404633 h 6386516"/>
              <a:gd name="connsiteX6090" fmla="*/ 2492984 w 6789110"/>
              <a:gd name="connsiteY6090" fmla="*/ 1404874 h 6386516"/>
              <a:gd name="connsiteX6091" fmla="*/ 2492984 w 6789110"/>
              <a:gd name="connsiteY6091" fmla="*/ 1408724 h 6386516"/>
              <a:gd name="connsiteX6092" fmla="*/ 2494428 w 6789110"/>
              <a:gd name="connsiteY6092" fmla="*/ 1404633 h 6386516"/>
              <a:gd name="connsiteX6093" fmla="*/ 3120465 w 6789110"/>
              <a:gd name="connsiteY6093" fmla="*/ 1403008 h 6386516"/>
              <a:gd name="connsiteX6094" fmla="*/ 3103142 w 6789110"/>
              <a:gd name="connsiteY6094" fmla="*/ 1429954 h 6386516"/>
              <a:gd name="connsiteX6095" fmla="*/ 3085819 w 6789110"/>
              <a:gd name="connsiteY6095" fmla="*/ 1453052 h 6386516"/>
              <a:gd name="connsiteX6096" fmla="*/ 3087745 w 6789110"/>
              <a:gd name="connsiteY6096" fmla="*/ 1460750 h 6386516"/>
              <a:gd name="connsiteX6097" fmla="*/ 3095443 w 6789110"/>
              <a:gd name="connsiteY6097" fmla="*/ 1491546 h 6386516"/>
              <a:gd name="connsiteX6098" fmla="*/ 3141638 w 6789110"/>
              <a:gd name="connsiteY6098" fmla="*/ 1412631 h 6386516"/>
              <a:gd name="connsiteX6099" fmla="*/ 3120465 w 6789110"/>
              <a:gd name="connsiteY6099" fmla="*/ 1403008 h 6386516"/>
              <a:gd name="connsiteX6100" fmla="*/ 2450640 w 6789110"/>
              <a:gd name="connsiteY6100" fmla="*/ 1399100 h 6386516"/>
              <a:gd name="connsiteX6101" fmla="*/ 2448716 w 6789110"/>
              <a:gd name="connsiteY6101" fmla="*/ 1402950 h 6386516"/>
              <a:gd name="connsiteX6102" fmla="*/ 2446791 w 6789110"/>
              <a:gd name="connsiteY6102" fmla="*/ 1404875 h 6386516"/>
              <a:gd name="connsiteX6103" fmla="*/ 2450640 w 6789110"/>
              <a:gd name="connsiteY6103" fmla="*/ 1399100 h 6386516"/>
              <a:gd name="connsiteX6104" fmla="*/ 1855880 w 6789110"/>
              <a:gd name="connsiteY6104" fmla="*/ 1397183 h 6386516"/>
              <a:gd name="connsiteX6105" fmla="*/ 1863579 w 6789110"/>
              <a:gd name="connsiteY6105" fmla="*/ 1401033 h 6386516"/>
              <a:gd name="connsiteX6106" fmla="*/ 1857805 w 6789110"/>
              <a:gd name="connsiteY6106" fmla="*/ 1406807 h 6386516"/>
              <a:gd name="connsiteX6107" fmla="*/ 1853955 w 6789110"/>
              <a:gd name="connsiteY6107" fmla="*/ 1402957 h 6386516"/>
              <a:gd name="connsiteX6108" fmla="*/ 2358249 w 6789110"/>
              <a:gd name="connsiteY6108" fmla="*/ 1397175 h 6386516"/>
              <a:gd name="connsiteX6109" fmla="*/ 2356324 w 6789110"/>
              <a:gd name="connsiteY6109" fmla="*/ 1399100 h 6386516"/>
              <a:gd name="connsiteX6110" fmla="*/ 2358249 w 6789110"/>
              <a:gd name="connsiteY6110" fmla="*/ 1401025 h 6386516"/>
              <a:gd name="connsiteX6111" fmla="*/ 2486247 w 6789110"/>
              <a:gd name="connsiteY6111" fmla="*/ 1396212 h 6386516"/>
              <a:gd name="connsiteX6112" fmla="*/ 2487210 w 6789110"/>
              <a:gd name="connsiteY6112" fmla="*/ 1397175 h 6386516"/>
              <a:gd name="connsiteX6113" fmla="*/ 2485285 w 6789110"/>
              <a:gd name="connsiteY6113" fmla="*/ 1397175 h 6386516"/>
              <a:gd name="connsiteX6114" fmla="*/ 2481437 w 6789110"/>
              <a:gd name="connsiteY6114" fmla="*/ 1393328 h 6386516"/>
              <a:gd name="connsiteX6115" fmla="*/ 2479512 w 6789110"/>
              <a:gd name="connsiteY6115" fmla="*/ 1399102 h 6386516"/>
              <a:gd name="connsiteX6116" fmla="*/ 2477587 w 6789110"/>
              <a:gd name="connsiteY6116" fmla="*/ 1397177 h 6386516"/>
              <a:gd name="connsiteX6117" fmla="*/ 2481437 w 6789110"/>
              <a:gd name="connsiteY6117" fmla="*/ 1393328 h 6386516"/>
              <a:gd name="connsiteX6118" fmla="*/ 2485285 w 6789110"/>
              <a:gd name="connsiteY6118" fmla="*/ 1393325 h 6386516"/>
              <a:gd name="connsiteX6119" fmla="*/ 2487210 w 6789110"/>
              <a:gd name="connsiteY6119" fmla="*/ 1395250 h 6386516"/>
              <a:gd name="connsiteX6120" fmla="*/ 2486247 w 6789110"/>
              <a:gd name="connsiteY6120" fmla="*/ 1396212 h 6386516"/>
              <a:gd name="connsiteX6121" fmla="*/ 2485285 w 6789110"/>
              <a:gd name="connsiteY6121" fmla="*/ 1395250 h 6386516"/>
              <a:gd name="connsiteX6122" fmla="*/ 2466037 w 6789110"/>
              <a:gd name="connsiteY6122" fmla="*/ 1393325 h 6386516"/>
              <a:gd name="connsiteX6123" fmla="*/ 2466037 w 6789110"/>
              <a:gd name="connsiteY6123" fmla="*/ 1395250 h 6386516"/>
              <a:gd name="connsiteX6124" fmla="*/ 2467962 w 6789110"/>
              <a:gd name="connsiteY6124" fmla="*/ 1395250 h 6386516"/>
              <a:gd name="connsiteX6125" fmla="*/ 2467962 w 6789110"/>
              <a:gd name="connsiteY6125" fmla="*/ 1393325 h 6386516"/>
              <a:gd name="connsiteX6126" fmla="*/ 2054133 w 6789110"/>
              <a:gd name="connsiteY6126" fmla="*/ 1391399 h 6386516"/>
              <a:gd name="connsiteX6127" fmla="*/ 2063757 w 6789110"/>
              <a:gd name="connsiteY6127" fmla="*/ 1393324 h 6386516"/>
              <a:gd name="connsiteX6128" fmla="*/ 2057983 w 6789110"/>
              <a:gd name="connsiteY6128" fmla="*/ 1397173 h 6386516"/>
              <a:gd name="connsiteX6129" fmla="*/ 2512232 w 6789110"/>
              <a:gd name="connsiteY6129" fmla="*/ 1389476 h 6386516"/>
              <a:gd name="connsiteX6130" fmla="*/ 2508382 w 6789110"/>
              <a:gd name="connsiteY6130" fmla="*/ 1393325 h 6386516"/>
              <a:gd name="connsiteX6131" fmla="*/ 2514157 w 6789110"/>
              <a:gd name="connsiteY6131" fmla="*/ 1397175 h 6386516"/>
              <a:gd name="connsiteX6132" fmla="*/ 2514157 w 6789110"/>
              <a:gd name="connsiteY6132" fmla="*/ 1395250 h 6386516"/>
              <a:gd name="connsiteX6133" fmla="*/ 2514157 w 6789110"/>
              <a:gd name="connsiteY6133" fmla="*/ 1393325 h 6386516"/>
              <a:gd name="connsiteX6134" fmla="*/ 2518006 w 6789110"/>
              <a:gd name="connsiteY6134" fmla="*/ 1393325 h 6386516"/>
              <a:gd name="connsiteX6135" fmla="*/ 2518006 w 6789110"/>
              <a:gd name="connsiteY6135" fmla="*/ 1389476 h 6386516"/>
              <a:gd name="connsiteX6136" fmla="*/ 2365948 w 6789110"/>
              <a:gd name="connsiteY6136" fmla="*/ 1387551 h 6386516"/>
              <a:gd name="connsiteX6137" fmla="*/ 2364023 w 6789110"/>
              <a:gd name="connsiteY6137" fmla="*/ 1389476 h 6386516"/>
              <a:gd name="connsiteX6138" fmla="*/ 2362098 w 6789110"/>
              <a:gd name="connsiteY6138" fmla="*/ 1391401 h 6386516"/>
              <a:gd name="connsiteX6139" fmla="*/ 2364023 w 6789110"/>
              <a:gd name="connsiteY6139" fmla="*/ 1391401 h 6386516"/>
              <a:gd name="connsiteX6140" fmla="*/ 2364023 w 6789110"/>
              <a:gd name="connsiteY6140" fmla="*/ 1389476 h 6386516"/>
              <a:gd name="connsiteX6141" fmla="*/ 2365948 w 6789110"/>
              <a:gd name="connsiteY6141" fmla="*/ 1389476 h 6386516"/>
              <a:gd name="connsiteX6142" fmla="*/ 2487210 w 6789110"/>
              <a:gd name="connsiteY6142" fmla="*/ 1385626 h 6386516"/>
              <a:gd name="connsiteX6143" fmla="*/ 2487210 w 6789110"/>
              <a:gd name="connsiteY6143" fmla="*/ 1387551 h 6386516"/>
              <a:gd name="connsiteX6144" fmla="*/ 2483360 w 6789110"/>
              <a:gd name="connsiteY6144" fmla="*/ 1387551 h 6386516"/>
              <a:gd name="connsiteX6145" fmla="*/ 2479511 w 6789110"/>
              <a:gd name="connsiteY6145" fmla="*/ 1391401 h 6386516"/>
              <a:gd name="connsiteX6146" fmla="*/ 2477586 w 6789110"/>
              <a:gd name="connsiteY6146" fmla="*/ 1391401 h 6386516"/>
              <a:gd name="connsiteX6147" fmla="*/ 2471811 w 6789110"/>
              <a:gd name="connsiteY6147" fmla="*/ 1395250 h 6386516"/>
              <a:gd name="connsiteX6148" fmla="*/ 2464112 w 6789110"/>
              <a:gd name="connsiteY6148" fmla="*/ 1406799 h 6386516"/>
              <a:gd name="connsiteX6149" fmla="*/ 2460263 w 6789110"/>
              <a:gd name="connsiteY6149" fmla="*/ 1410648 h 6386516"/>
              <a:gd name="connsiteX6150" fmla="*/ 2456414 w 6789110"/>
              <a:gd name="connsiteY6150" fmla="*/ 1412573 h 6386516"/>
              <a:gd name="connsiteX6151" fmla="*/ 2458338 w 6789110"/>
              <a:gd name="connsiteY6151" fmla="*/ 1412573 h 6386516"/>
              <a:gd name="connsiteX6152" fmla="*/ 2460263 w 6789110"/>
              <a:gd name="connsiteY6152" fmla="*/ 1414498 h 6386516"/>
              <a:gd name="connsiteX6153" fmla="*/ 2460263 w 6789110"/>
              <a:gd name="connsiteY6153" fmla="*/ 1418348 h 6386516"/>
              <a:gd name="connsiteX6154" fmla="*/ 2456894 w 6789110"/>
              <a:gd name="connsiteY6154" fmla="*/ 1419550 h 6386516"/>
              <a:gd name="connsiteX6155" fmla="*/ 2456763 w 6789110"/>
              <a:gd name="connsiteY6155" fmla="*/ 1420272 h 6386516"/>
              <a:gd name="connsiteX6156" fmla="*/ 2456414 w 6789110"/>
              <a:gd name="connsiteY6156" fmla="*/ 1422197 h 6386516"/>
              <a:gd name="connsiteX6157" fmla="*/ 2466037 w 6789110"/>
              <a:gd name="connsiteY6157" fmla="*/ 1422197 h 6386516"/>
              <a:gd name="connsiteX6158" fmla="*/ 2471811 w 6789110"/>
              <a:gd name="connsiteY6158" fmla="*/ 1420272 h 6386516"/>
              <a:gd name="connsiteX6159" fmla="*/ 2469887 w 6789110"/>
              <a:gd name="connsiteY6159" fmla="*/ 1418348 h 6386516"/>
              <a:gd name="connsiteX6160" fmla="*/ 2471811 w 6789110"/>
              <a:gd name="connsiteY6160" fmla="*/ 1418348 h 6386516"/>
              <a:gd name="connsiteX6161" fmla="*/ 2469889 w 6789110"/>
              <a:gd name="connsiteY6161" fmla="*/ 1416424 h 6386516"/>
              <a:gd name="connsiteX6162" fmla="*/ 2471813 w 6789110"/>
              <a:gd name="connsiteY6162" fmla="*/ 1414499 h 6386516"/>
              <a:gd name="connsiteX6163" fmla="*/ 2475663 w 6789110"/>
              <a:gd name="connsiteY6163" fmla="*/ 1416424 h 6386516"/>
              <a:gd name="connsiteX6164" fmla="*/ 2473739 w 6789110"/>
              <a:gd name="connsiteY6164" fmla="*/ 1418348 h 6386516"/>
              <a:gd name="connsiteX6165" fmla="*/ 2477586 w 6789110"/>
              <a:gd name="connsiteY6165" fmla="*/ 1418348 h 6386516"/>
              <a:gd name="connsiteX6166" fmla="*/ 2481435 w 6789110"/>
              <a:gd name="connsiteY6166" fmla="*/ 1416423 h 6386516"/>
              <a:gd name="connsiteX6167" fmla="*/ 2477586 w 6789110"/>
              <a:gd name="connsiteY6167" fmla="*/ 1412573 h 6386516"/>
              <a:gd name="connsiteX6168" fmla="*/ 2479511 w 6789110"/>
              <a:gd name="connsiteY6168" fmla="*/ 1412573 h 6386516"/>
              <a:gd name="connsiteX6169" fmla="*/ 2481435 w 6789110"/>
              <a:gd name="connsiteY6169" fmla="*/ 1414498 h 6386516"/>
              <a:gd name="connsiteX6170" fmla="*/ 2483360 w 6789110"/>
              <a:gd name="connsiteY6170" fmla="*/ 1414498 h 6386516"/>
              <a:gd name="connsiteX6171" fmla="*/ 2485285 w 6789110"/>
              <a:gd name="connsiteY6171" fmla="*/ 1412573 h 6386516"/>
              <a:gd name="connsiteX6172" fmla="*/ 2485285 w 6789110"/>
              <a:gd name="connsiteY6172" fmla="*/ 1410652 h 6386516"/>
              <a:gd name="connsiteX6173" fmla="*/ 2479512 w 6789110"/>
              <a:gd name="connsiteY6173" fmla="*/ 1408727 h 6386516"/>
              <a:gd name="connsiteX6174" fmla="*/ 2479512 w 6789110"/>
              <a:gd name="connsiteY6174" fmla="*/ 1406802 h 6386516"/>
              <a:gd name="connsiteX6175" fmla="*/ 2483361 w 6789110"/>
              <a:gd name="connsiteY6175" fmla="*/ 1406802 h 6386516"/>
              <a:gd name="connsiteX6176" fmla="*/ 2485045 w 6789110"/>
              <a:gd name="connsiteY6176" fmla="*/ 1408005 h 6386516"/>
              <a:gd name="connsiteX6177" fmla="*/ 2485285 w 6789110"/>
              <a:gd name="connsiteY6177" fmla="*/ 1410648 h 6386516"/>
              <a:gd name="connsiteX6178" fmla="*/ 2489134 w 6789110"/>
              <a:gd name="connsiteY6178" fmla="*/ 1408724 h 6386516"/>
              <a:gd name="connsiteX6179" fmla="*/ 2489134 w 6789110"/>
              <a:gd name="connsiteY6179" fmla="*/ 1406799 h 6386516"/>
              <a:gd name="connsiteX6180" fmla="*/ 2487210 w 6789110"/>
              <a:gd name="connsiteY6180" fmla="*/ 1404874 h 6386516"/>
              <a:gd name="connsiteX6181" fmla="*/ 2487210 w 6789110"/>
              <a:gd name="connsiteY6181" fmla="*/ 1402949 h 6386516"/>
              <a:gd name="connsiteX6182" fmla="*/ 2487210 w 6789110"/>
              <a:gd name="connsiteY6182" fmla="*/ 1401025 h 6386516"/>
              <a:gd name="connsiteX6183" fmla="*/ 2485285 w 6789110"/>
              <a:gd name="connsiteY6183" fmla="*/ 1399100 h 6386516"/>
              <a:gd name="connsiteX6184" fmla="*/ 2487210 w 6789110"/>
              <a:gd name="connsiteY6184" fmla="*/ 1397175 h 6386516"/>
              <a:gd name="connsiteX6185" fmla="*/ 2489134 w 6789110"/>
              <a:gd name="connsiteY6185" fmla="*/ 1397175 h 6386516"/>
              <a:gd name="connsiteX6186" fmla="*/ 2492984 w 6789110"/>
              <a:gd name="connsiteY6186" fmla="*/ 1397175 h 6386516"/>
              <a:gd name="connsiteX6187" fmla="*/ 2491059 w 6789110"/>
              <a:gd name="connsiteY6187" fmla="*/ 1395250 h 6386516"/>
              <a:gd name="connsiteX6188" fmla="*/ 2492984 w 6789110"/>
              <a:gd name="connsiteY6188" fmla="*/ 1391401 h 6386516"/>
              <a:gd name="connsiteX6189" fmla="*/ 2494910 w 6789110"/>
              <a:gd name="connsiteY6189" fmla="*/ 1389476 h 6386516"/>
              <a:gd name="connsiteX6190" fmla="*/ 2491059 w 6789110"/>
              <a:gd name="connsiteY6190" fmla="*/ 1387551 h 6386516"/>
              <a:gd name="connsiteX6191" fmla="*/ 2485285 w 6789110"/>
              <a:gd name="connsiteY6191" fmla="*/ 1393325 h 6386516"/>
              <a:gd name="connsiteX6192" fmla="*/ 2485285 w 6789110"/>
              <a:gd name="connsiteY6192" fmla="*/ 1391401 h 6386516"/>
              <a:gd name="connsiteX6193" fmla="*/ 2487210 w 6789110"/>
              <a:gd name="connsiteY6193" fmla="*/ 1389476 h 6386516"/>
              <a:gd name="connsiteX6194" fmla="*/ 2489134 w 6789110"/>
              <a:gd name="connsiteY6194" fmla="*/ 1385626 h 6386516"/>
              <a:gd name="connsiteX6195" fmla="*/ 4962488 w 6789110"/>
              <a:gd name="connsiteY6195" fmla="*/ 1381836 h 6386516"/>
              <a:gd name="connsiteX6196" fmla="*/ 4918218 w 6789110"/>
              <a:gd name="connsiteY6196" fmla="*/ 1453052 h 6386516"/>
              <a:gd name="connsiteX6197" fmla="*/ 4952864 w 6789110"/>
              <a:gd name="connsiteY6197" fmla="*/ 1458825 h 6386516"/>
              <a:gd name="connsiteX6198" fmla="*/ 4981736 w 6789110"/>
              <a:gd name="connsiteY6198" fmla="*/ 1406858 h 6386516"/>
              <a:gd name="connsiteX6199" fmla="*/ 3074270 w 6789110"/>
              <a:gd name="connsiteY6199" fmla="*/ 1379912 h 6386516"/>
              <a:gd name="connsiteX6200" fmla="*/ 3072346 w 6789110"/>
              <a:gd name="connsiteY6200" fmla="*/ 1381836 h 6386516"/>
              <a:gd name="connsiteX6201" fmla="*/ 3070421 w 6789110"/>
              <a:gd name="connsiteY6201" fmla="*/ 1387610 h 6386516"/>
              <a:gd name="connsiteX6202" fmla="*/ 3074270 w 6789110"/>
              <a:gd name="connsiteY6202" fmla="*/ 1379912 h 6386516"/>
              <a:gd name="connsiteX6203" fmla="*/ 2494910 w 6789110"/>
              <a:gd name="connsiteY6203" fmla="*/ 1379852 h 6386516"/>
              <a:gd name="connsiteX6204" fmla="*/ 2496833 w 6789110"/>
              <a:gd name="connsiteY6204" fmla="*/ 1381777 h 6386516"/>
              <a:gd name="connsiteX6205" fmla="*/ 2492984 w 6789110"/>
              <a:gd name="connsiteY6205" fmla="*/ 1381777 h 6386516"/>
              <a:gd name="connsiteX6206" fmla="*/ 2496833 w 6789110"/>
              <a:gd name="connsiteY6206" fmla="*/ 1383701 h 6386516"/>
              <a:gd name="connsiteX6207" fmla="*/ 2500684 w 6789110"/>
              <a:gd name="connsiteY6207" fmla="*/ 1383701 h 6386516"/>
              <a:gd name="connsiteX6208" fmla="*/ 2500684 w 6789110"/>
              <a:gd name="connsiteY6208" fmla="*/ 1379852 h 6386516"/>
              <a:gd name="connsiteX6209" fmla="*/ 2175395 w 6789110"/>
              <a:gd name="connsiteY6209" fmla="*/ 1379852 h 6386516"/>
              <a:gd name="connsiteX6210" fmla="*/ 2179244 w 6789110"/>
              <a:gd name="connsiteY6210" fmla="*/ 1381777 h 6386516"/>
              <a:gd name="connsiteX6211" fmla="*/ 2181169 w 6789110"/>
              <a:gd name="connsiteY6211" fmla="*/ 1387552 h 6386516"/>
              <a:gd name="connsiteX6212" fmla="*/ 2171545 w 6789110"/>
              <a:gd name="connsiteY6212" fmla="*/ 1387552 h 6386516"/>
              <a:gd name="connsiteX6213" fmla="*/ 2510307 w 6789110"/>
              <a:gd name="connsiteY6213" fmla="*/ 1376002 h 6386516"/>
              <a:gd name="connsiteX6214" fmla="*/ 2510307 w 6789110"/>
              <a:gd name="connsiteY6214" fmla="*/ 1379852 h 6386516"/>
              <a:gd name="connsiteX6215" fmla="*/ 2512232 w 6789110"/>
              <a:gd name="connsiteY6215" fmla="*/ 1381777 h 6386516"/>
              <a:gd name="connsiteX6216" fmla="*/ 2512232 w 6789110"/>
              <a:gd name="connsiteY6216" fmla="*/ 1383701 h 6386516"/>
              <a:gd name="connsiteX6217" fmla="*/ 2506458 w 6789110"/>
              <a:gd name="connsiteY6217" fmla="*/ 1387551 h 6386516"/>
              <a:gd name="connsiteX6218" fmla="*/ 2510307 w 6789110"/>
              <a:gd name="connsiteY6218" fmla="*/ 1389476 h 6386516"/>
              <a:gd name="connsiteX6219" fmla="*/ 2512232 w 6789110"/>
              <a:gd name="connsiteY6219" fmla="*/ 1385626 h 6386516"/>
              <a:gd name="connsiteX6220" fmla="*/ 2523781 w 6789110"/>
              <a:gd name="connsiteY6220" fmla="*/ 1385626 h 6386516"/>
              <a:gd name="connsiteX6221" fmla="*/ 2521856 w 6789110"/>
              <a:gd name="connsiteY6221" fmla="*/ 1379852 h 6386516"/>
              <a:gd name="connsiteX6222" fmla="*/ 2519931 w 6789110"/>
              <a:gd name="connsiteY6222" fmla="*/ 1383701 h 6386516"/>
              <a:gd name="connsiteX6223" fmla="*/ 2516081 w 6789110"/>
              <a:gd name="connsiteY6223" fmla="*/ 1383701 h 6386516"/>
              <a:gd name="connsiteX6224" fmla="*/ 2516081 w 6789110"/>
              <a:gd name="connsiteY6224" fmla="*/ 1379852 h 6386516"/>
              <a:gd name="connsiteX6225" fmla="*/ 2519931 w 6789110"/>
              <a:gd name="connsiteY6225" fmla="*/ 1376002 h 6386516"/>
              <a:gd name="connsiteX6226" fmla="*/ 2518006 w 6789110"/>
              <a:gd name="connsiteY6226" fmla="*/ 1376002 h 6386516"/>
              <a:gd name="connsiteX6227" fmla="*/ 2516081 w 6789110"/>
              <a:gd name="connsiteY6227" fmla="*/ 1379852 h 6386516"/>
              <a:gd name="connsiteX6228" fmla="*/ 2512232 w 6789110"/>
              <a:gd name="connsiteY6228" fmla="*/ 1377927 h 6386516"/>
              <a:gd name="connsiteX6229" fmla="*/ 2514157 w 6789110"/>
              <a:gd name="connsiteY6229" fmla="*/ 1376002 h 6386516"/>
              <a:gd name="connsiteX6230" fmla="*/ 2504533 w 6789110"/>
              <a:gd name="connsiteY6230" fmla="*/ 1376002 h 6386516"/>
              <a:gd name="connsiteX6231" fmla="*/ 2504533 w 6789110"/>
              <a:gd name="connsiteY6231" fmla="*/ 1379852 h 6386516"/>
              <a:gd name="connsiteX6232" fmla="*/ 2506458 w 6789110"/>
              <a:gd name="connsiteY6232" fmla="*/ 1381777 h 6386516"/>
              <a:gd name="connsiteX6233" fmla="*/ 2506458 w 6789110"/>
              <a:gd name="connsiteY6233" fmla="*/ 1377927 h 6386516"/>
              <a:gd name="connsiteX6234" fmla="*/ 2491059 w 6789110"/>
              <a:gd name="connsiteY6234" fmla="*/ 1374077 h 6386516"/>
              <a:gd name="connsiteX6235" fmla="*/ 2487210 w 6789110"/>
              <a:gd name="connsiteY6235" fmla="*/ 1377927 h 6386516"/>
              <a:gd name="connsiteX6236" fmla="*/ 2492984 w 6789110"/>
              <a:gd name="connsiteY6236" fmla="*/ 1377927 h 6386516"/>
              <a:gd name="connsiteX6237" fmla="*/ 2527630 w 6789110"/>
              <a:gd name="connsiteY6237" fmla="*/ 1370228 h 6386516"/>
              <a:gd name="connsiteX6238" fmla="*/ 2519931 w 6789110"/>
              <a:gd name="connsiteY6238" fmla="*/ 1374077 h 6386516"/>
              <a:gd name="connsiteX6239" fmla="*/ 2521856 w 6789110"/>
              <a:gd name="connsiteY6239" fmla="*/ 1376002 h 6386516"/>
              <a:gd name="connsiteX6240" fmla="*/ 2523781 w 6789110"/>
              <a:gd name="connsiteY6240" fmla="*/ 1374077 h 6386516"/>
              <a:gd name="connsiteX6241" fmla="*/ 2523781 w 6789110"/>
              <a:gd name="connsiteY6241" fmla="*/ 1372153 h 6386516"/>
              <a:gd name="connsiteX6242" fmla="*/ 2485285 w 6789110"/>
              <a:gd name="connsiteY6242" fmla="*/ 1368303 h 6386516"/>
              <a:gd name="connsiteX6243" fmla="*/ 2485285 w 6789110"/>
              <a:gd name="connsiteY6243" fmla="*/ 1372153 h 6386516"/>
              <a:gd name="connsiteX6244" fmla="*/ 2487210 w 6789110"/>
              <a:gd name="connsiteY6244" fmla="*/ 1370228 h 6386516"/>
              <a:gd name="connsiteX6245" fmla="*/ 2396745 w 6789110"/>
              <a:gd name="connsiteY6245" fmla="*/ 1368303 h 6386516"/>
              <a:gd name="connsiteX6246" fmla="*/ 2392895 w 6789110"/>
              <a:gd name="connsiteY6246" fmla="*/ 1370228 h 6386516"/>
              <a:gd name="connsiteX6247" fmla="*/ 2394820 w 6789110"/>
              <a:gd name="connsiteY6247" fmla="*/ 1372153 h 6386516"/>
              <a:gd name="connsiteX6248" fmla="*/ 2394820 w 6789110"/>
              <a:gd name="connsiteY6248" fmla="*/ 1376002 h 6386516"/>
              <a:gd name="connsiteX6249" fmla="*/ 2398669 w 6789110"/>
              <a:gd name="connsiteY6249" fmla="*/ 1377927 h 6386516"/>
              <a:gd name="connsiteX6250" fmla="*/ 2400594 w 6789110"/>
              <a:gd name="connsiteY6250" fmla="*/ 1374077 h 6386516"/>
              <a:gd name="connsiteX6251" fmla="*/ 2396745 w 6789110"/>
              <a:gd name="connsiteY6251" fmla="*/ 1374077 h 6386516"/>
              <a:gd name="connsiteX6252" fmla="*/ 2425617 w 6789110"/>
              <a:gd name="connsiteY6252" fmla="*/ 1366378 h 6386516"/>
              <a:gd name="connsiteX6253" fmla="*/ 2425617 w 6789110"/>
              <a:gd name="connsiteY6253" fmla="*/ 1368303 h 6386516"/>
              <a:gd name="connsiteX6254" fmla="*/ 2427541 w 6789110"/>
              <a:gd name="connsiteY6254" fmla="*/ 1368303 h 6386516"/>
              <a:gd name="connsiteX6255" fmla="*/ 2544954 w 6789110"/>
              <a:gd name="connsiteY6255" fmla="*/ 1364454 h 6386516"/>
              <a:gd name="connsiteX6256" fmla="*/ 2539179 w 6789110"/>
              <a:gd name="connsiteY6256" fmla="*/ 1368303 h 6386516"/>
              <a:gd name="connsiteX6257" fmla="*/ 2535329 w 6789110"/>
              <a:gd name="connsiteY6257" fmla="*/ 1366378 h 6386516"/>
              <a:gd name="connsiteX6258" fmla="*/ 2533405 w 6789110"/>
              <a:gd name="connsiteY6258" fmla="*/ 1368303 h 6386516"/>
              <a:gd name="connsiteX6259" fmla="*/ 2535329 w 6789110"/>
              <a:gd name="connsiteY6259" fmla="*/ 1370228 h 6386516"/>
              <a:gd name="connsiteX6260" fmla="*/ 2531481 w 6789110"/>
              <a:gd name="connsiteY6260" fmla="*/ 1374077 h 6386516"/>
              <a:gd name="connsiteX6261" fmla="*/ 2531481 w 6789110"/>
              <a:gd name="connsiteY6261" fmla="*/ 1376002 h 6386516"/>
              <a:gd name="connsiteX6262" fmla="*/ 2531481 w 6789110"/>
              <a:gd name="connsiteY6262" fmla="*/ 1377927 h 6386516"/>
              <a:gd name="connsiteX6263" fmla="*/ 2527630 w 6789110"/>
              <a:gd name="connsiteY6263" fmla="*/ 1377927 h 6386516"/>
              <a:gd name="connsiteX6264" fmla="*/ 2529555 w 6789110"/>
              <a:gd name="connsiteY6264" fmla="*/ 1379852 h 6386516"/>
              <a:gd name="connsiteX6265" fmla="*/ 2525705 w 6789110"/>
              <a:gd name="connsiteY6265" fmla="*/ 1379852 h 6386516"/>
              <a:gd name="connsiteX6266" fmla="*/ 2523781 w 6789110"/>
              <a:gd name="connsiteY6266" fmla="*/ 1383701 h 6386516"/>
              <a:gd name="connsiteX6267" fmla="*/ 2525705 w 6789110"/>
              <a:gd name="connsiteY6267" fmla="*/ 1385626 h 6386516"/>
              <a:gd name="connsiteX6268" fmla="*/ 2533405 w 6789110"/>
              <a:gd name="connsiteY6268" fmla="*/ 1377927 h 6386516"/>
              <a:gd name="connsiteX6269" fmla="*/ 2537255 w 6789110"/>
              <a:gd name="connsiteY6269" fmla="*/ 1376002 h 6386516"/>
              <a:gd name="connsiteX6270" fmla="*/ 2535329 w 6789110"/>
              <a:gd name="connsiteY6270" fmla="*/ 1376002 h 6386516"/>
              <a:gd name="connsiteX6271" fmla="*/ 2535329 w 6789110"/>
              <a:gd name="connsiteY6271" fmla="*/ 1370228 h 6386516"/>
              <a:gd name="connsiteX6272" fmla="*/ 2539179 w 6789110"/>
              <a:gd name="connsiteY6272" fmla="*/ 1368303 h 6386516"/>
              <a:gd name="connsiteX6273" fmla="*/ 2539179 w 6789110"/>
              <a:gd name="connsiteY6273" fmla="*/ 1372153 h 6386516"/>
              <a:gd name="connsiteX6274" fmla="*/ 2541104 w 6789110"/>
              <a:gd name="connsiteY6274" fmla="*/ 1370228 h 6386516"/>
              <a:gd name="connsiteX6275" fmla="*/ 2544954 w 6789110"/>
              <a:gd name="connsiteY6275" fmla="*/ 1368303 h 6386516"/>
              <a:gd name="connsiteX6276" fmla="*/ 2546878 w 6789110"/>
              <a:gd name="connsiteY6276" fmla="*/ 1366378 h 6386516"/>
              <a:gd name="connsiteX6277" fmla="*/ 2381347 w 6789110"/>
              <a:gd name="connsiteY6277" fmla="*/ 1364454 h 6386516"/>
              <a:gd name="connsiteX6278" fmla="*/ 2383271 w 6789110"/>
              <a:gd name="connsiteY6278" fmla="*/ 1366378 h 6386516"/>
              <a:gd name="connsiteX6279" fmla="*/ 2383271 w 6789110"/>
              <a:gd name="connsiteY6279" fmla="*/ 1368303 h 6386516"/>
              <a:gd name="connsiteX6280" fmla="*/ 2377497 w 6789110"/>
              <a:gd name="connsiteY6280" fmla="*/ 1374077 h 6386516"/>
              <a:gd name="connsiteX6281" fmla="*/ 2381347 w 6789110"/>
              <a:gd name="connsiteY6281" fmla="*/ 1376002 h 6386516"/>
              <a:gd name="connsiteX6282" fmla="*/ 2377497 w 6789110"/>
              <a:gd name="connsiteY6282" fmla="*/ 1377927 h 6386516"/>
              <a:gd name="connsiteX6283" fmla="*/ 2377497 w 6789110"/>
              <a:gd name="connsiteY6283" fmla="*/ 1379852 h 6386516"/>
              <a:gd name="connsiteX6284" fmla="*/ 2375573 w 6789110"/>
              <a:gd name="connsiteY6284" fmla="*/ 1381777 h 6386516"/>
              <a:gd name="connsiteX6285" fmla="*/ 2379422 w 6789110"/>
              <a:gd name="connsiteY6285" fmla="*/ 1385626 h 6386516"/>
              <a:gd name="connsiteX6286" fmla="*/ 2379422 w 6789110"/>
              <a:gd name="connsiteY6286" fmla="*/ 1383701 h 6386516"/>
              <a:gd name="connsiteX6287" fmla="*/ 2379422 w 6789110"/>
              <a:gd name="connsiteY6287" fmla="*/ 1381777 h 6386516"/>
              <a:gd name="connsiteX6288" fmla="*/ 2381347 w 6789110"/>
              <a:gd name="connsiteY6288" fmla="*/ 1379852 h 6386516"/>
              <a:gd name="connsiteX6289" fmla="*/ 2379422 w 6789110"/>
              <a:gd name="connsiteY6289" fmla="*/ 1377927 h 6386516"/>
              <a:gd name="connsiteX6290" fmla="*/ 2383271 w 6789110"/>
              <a:gd name="connsiteY6290" fmla="*/ 1377927 h 6386516"/>
              <a:gd name="connsiteX6291" fmla="*/ 2381347 w 6789110"/>
              <a:gd name="connsiteY6291" fmla="*/ 1374077 h 6386516"/>
              <a:gd name="connsiteX6292" fmla="*/ 2381347 w 6789110"/>
              <a:gd name="connsiteY6292" fmla="*/ 1370228 h 6386516"/>
              <a:gd name="connsiteX6293" fmla="*/ 2385196 w 6789110"/>
              <a:gd name="connsiteY6293" fmla="*/ 1368303 h 6386516"/>
              <a:gd name="connsiteX6294" fmla="*/ 2383271 w 6789110"/>
              <a:gd name="connsiteY6294" fmla="*/ 1366378 h 6386516"/>
              <a:gd name="connsiteX6295" fmla="*/ 2383271 w 6789110"/>
              <a:gd name="connsiteY6295" fmla="*/ 1364454 h 6386516"/>
              <a:gd name="connsiteX6296" fmla="*/ 2548803 w 6789110"/>
              <a:gd name="connsiteY6296" fmla="*/ 1362529 h 6386516"/>
              <a:gd name="connsiteX6297" fmla="*/ 2548803 w 6789110"/>
              <a:gd name="connsiteY6297" fmla="*/ 1366378 h 6386516"/>
              <a:gd name="connsiteX6298" fmla="*/ 2550728 w 6789110"/>
              <a:gd name="connsiteY6298" fmla="*/ 1364454 h 6386516"/>
              <a:gd name="connsiteX6299" fmla="*/ 2550728 w 6789110"/>
              <a:gd name="connsiteY6299" fmla="*/ 1362529 h 6386516"/>
              <a:gd name="connsiteX6300" fmla="*/ 2548803 w 6789110"/>
              <a:gd name="connsiteY6300" fmla="*/ 1362529 h 6386516"/>
              <a:gd name="connsiteX6301" fmla="*/ 2375573 w 6789110"/>
              <a:gd name="connsiteY6301" fmla="*/ 1362529 h 6386516"/>
              <a:gd name="connsiteX6302" fmla="*/ 2375573 w 6789110"/>
              <a:gd name="connsiteY6302" fmla="*/ 1364454 h 6386516"/>
              <a:gd name="connsiteX6303" fmla="*/ 2377497 w 6789110"/>
              <a:gd name="connsiteY6303" fmla="*/ 1362529 h 6386516"/>
              <a:gd name="connsiteX6304" fmla="*/ 2138824 w 6789110"/>
              <a:gd name="connsiteY6304" fmla="*/ 1362529 h 6386516"/>
              <a:gd name="connsiteX6305" fmla="*/ 2138824 w 6789110"/>
              <a:gd name="connsiteY6305" fmla="*/ 1370228 h 6386516"/>
              <a:gd name="connsiteX6306" fmla="*/ 2133050 w 6789110"/>
              <a:gd name="connsiteY6306" fmla="*/ 1368303 h 6386516"/>
              <a:gd name="connsiteX6307" fmla="*/ 1817384 w 6789110"/>
              <a:gd name="connsiteY6307" fmla="*/ 1362527 h 6386516"/>
              <a:gd name="connsiteX6308" fmla="*/ 1828933 w 6789110"/>
              <a:gd name="connsiteY6308" fmla="*/ 1364452 h 6386516"/>
              <a:gd name="connsiteX6309" fmla="*/ 1825083 w 6789110"/>
              <a:gd name="connsiteY6309" fmla="*/ 1370226 h 6386516"/>
              <a:gd name="connsiteX6310" fmla="*/ 2398669 w 6789110"/>
              <a:gd name="connsiteY6310" fmla="*/ 1360604 h 6386516"/>
              <a:gd name="connsiteX6311" fmla="*/ 2400594 w 6789110"/>
              <a:gd name="connsiteY6311" fmla="*/ 1362529 h 6386516"/>
              <a:gd name="connsiteX6312" fmla="*/ 2402519 w 6789110"/>
              <a:gd name="connsiteY6312" fmla="*/ 1360604 h 6386516"/>
              <a:gd name="connsiteX6313" fmla="*/ 2392895 w 6789110"/>
              <a:gd name="connsiteY6313" fmla="*/ 1360604 h 6386516"/>
              <a:gd name="connsiteX6314" fmla="*/ 2389046 w 6789110"/>
              <a:gd name="connsiteY6314" fmla="*/ 1366378 h 6386516"/>
              <a:gd name="connsiteX6315" fmla="*/ 2394820 w 6789110"/>
              <a:gd name="connsiteY6315" fmla="*/ 1364454 h 6386516"/>
              <a:gd name="connsiteX6316" fmla="*/ 2392895 w 6789110"/>
              <a:gd name="connsiteY6316" fmla="*/ 1360604 h 6386516"/>
              <a:gd name="connsiteX6317" fmla="*/ 2535329 w 6789110"/>
              <a:gd name="connsiteY6317" fmla="*/ 1358679 h 6386516"/>
              <a:gd name="connsiteX6318" fmla="*/ 2531481 w 6789110"/>
              <a:gd name="connsiteY6318" fmla="*/ 1360604 h 6386516"/>
              <a:gd name="connsiteX6319" fmla="*/ 2533405 w 6789110"/>
              <a:gd name="connsiteY6319" fmla="*/ 1362529 h 6386516"/>
              <a:gd name="connsiteX6320" fmla="*/ 2560352 w 6789110"/>
              <a:gd name="connsiteY6320" fmla="*/ 1356754 h 6386516"/>
              <a:gd name="connsiteX6321" fmla="*/ 2560352 w 6789110"/>
              <a:gd name="connsiteY6321" fmla="*/ 1358679 h 6386516"/>
              <a:gd name="connsiteX6322" fmla="*/ 2559389 w 6789110"/>
              <a:gd name="connsiteY6322" fmla="*/ 1357717 h 6386516"/>
              <a:gd name="connsiteX6323" fmla="*/ 4920143 w 6789110"/>
              <a:gd name="connsiteY6323" fmla="*/ 1354890 h 6386516"/>
              <a:gd name="connsiteX6324" fmla="*/ 4887422 w 6789110"/>
              <a:gd name="connsiteY6324" fmla="*/ 1397234 h 6386516"/>
              <a:gd name="connsiteX6325" fmla="*/ 4891271 w 6789110"/>
              <a:gd name="connsiteY6325" fmla="*/ 1426104 h 6386516"/>
              <a:gd name="connsiteX6326" fmla="*/ 4933616 w 6789110"/>
              <a:gd name="connsiteY6326" fmla="*/ 1356815 h 6386516"/>
              <a:gd name="connsiteX6327" fmla="*/ 4933616 w 6789110"/>
              <a:gd name="connsiteY6327" fmla="*/ 1354890 h 6386516"/>
              <a:gd name="connsiteX6328" fmla="*/ 4920143 w 6789110"/>
              <a:gd name="connsiteY6328" fmla="*/ 1354890 h 6386516"/>
              <a:gd name="connsiteX6329" fmla="*/ 2121501 w 6789110"/>
              <a:gd name="connsiteY6329" fmla="*/ 1352919 h 6386516"/>
              <a:gd name="connsiteX6330" fmla="*/ 2117650 w 6789110"/>
              <a:gd name="connsiteY6330" fmla="*/ 1358693 h 6386516"/>
              <a:gd name="connsiteX6331" fmla="*/ 2121501 w 6789110"/>
              <a:gd name="connsiteY6331" fmla="*/ 1364468 h 6386516"/>
              <a:gd name="connsiteX6332" fmla="*/ 2117650 w 6789110"/>
              <a:gd name="connsiteY6332" fmla="*/ 1366392 h 6386516"/>
              <a:gd name="connsiteX6333" fmla="*/ 2119577 w 6789110"/>
              <a:gd name="connsiteY6333" fmla="*/ 1370242 h 6386516"/>
              <a:gd name="connsiteX6334" fmla="*/ 2117650 w 6789110"/>
              <a:gd name="connsiteY6334" fmla="*/ 1372167 h 6386516"/>
              <a:gd name="connsiteX6335" fmla="*/ 2108027 w 6789110"/>
              <a:gd name="connsiteY6335" fmla="*/ 1374092 h 6386516"/>
              <a:gd name="connsiteX6336" fmla="*/ 2104177 w 6789110"/>
              <a:gd name="connsiteY6336" fmla="*/ 1358693 h 6386516"/>
              <a:gd name="connsiteX6337" fmla="*/ 2121501 w 6789110"/>
              <a:gd name="connsiteY6337" fmla="*/ 1352919 h 6386516"/>
              <a:gd name="connsiteX6338" fmla="*/ 2375573 w 6789110"/>
              <a:gd name="connsiteY6338" fmla="*/ 1352905 h 6386516"/>
              <a:gd name="connsiteX6339" fmla="*/ 2377497 w 6789110"/>
              <a:gd name="connsiteY6339" fmla="*/ 1360604 h 6386516"/>
              <a:gd name="connsiteX6340" fmla="*/ 2381347 w 6789110"/>
              <a:gd name="connsiteY6340" fmla="*/ 1360604 h 6386516"/>
              <a:gd name="connsiteX6341" fmla="*/ 2381347 w 6789110"/>
              <a:gd name="connsiteY6341" fmla="*/ 1356754 h 6386516"/>
              <a:gd name="connsiteX6342" fmla="*/ 2377497 w 6789110"/>
              <a:gd name="connsiteY6342" fmla="*/ 1356754 h 6386516"/>
              <a:gd name="connsiteX6343" fmla="*/ 2375573 w 6789110"/>
              <a:gd name="connsiteY6343" fmla="*/ 1352905 h 6386516"/>
              <a:gd name="connsiteX6344" fmla="*/ 2140749 w 6789110"/>
              <a:gd name="connsiteY6344" fmla="*/ 1350982 h 6386516"/>
              <a:gd name="connsiteX6345" fmla="*/ 2140749 w 6789110"/>
              <a:gd name="connsiteY6345" fmla="*/ 1356756 h 6386516"/>
              <a:gd name="connsiteX6346" fmla="*/ 2134975 w 6789110"/>
              <a:gd name="connsiteY6346" fmla="*/ 1352907 h 6386516"/>
              <a:gd name="connsiteX6347" fmla="*/ 2406370 w 6789110"/>
              <a:gd name="connsiteY6347" fmla="*/ 1350980 h 6386516"/>
              <a:gd name="connsiteX6348" fmla="*/ 2406370 w 6789110"/>
              <a:gd name="connsiteY6348" fmla="*/ 1354830 h 6386516"/>
              <a:gd name="connsiteX6349" fmla="*/ 2408293 w 6789110"/>
              <a:gd name="connsiteY6349" fmla="*/ 1352905 h 6386516"/>
              <a:gd name="connsiteX6350" fmla="*/ 2425617 w 6789110"/>
              <a:gd name="connsiteY6350" fmla="*/ 1349055 h 6386516"/>
              <a:gd name="connsiteX6351" fmla="*/ 2425617 w 6789110"/>
              <a:gd name="connsiteY6351" fmla="*/ 1350980 h 6386516"/>
              <a:gd name="connsiteX6352" fmla="*/ 2427541 w 6789110"/>
              <a:gd name="connsiteY6352" fmla="*/ 1349055 h 6386516"/>
              <a:gd name="connsiteX6353" fmla="*/ 2029112 w 6789110"/>
              <a:gd name="connsiteY6353" fmla="*/ 1349051 h 6386516"/>
              <a:gd name="connsiteX6354" fmla="*/ 2036811 w 6789110"/>
              <a:gd name="connsiteY6354" fmla="*/ 1352901 h 6386516"/>
              <a:gd name="connsiteX6355" fmla="*/ 2029112 w 6789110"/>
              <a:gd name="connsiteY6355" fmla="*/ 1360600 h 6386516"/>
              <a:gd name="connsiteX6356" fmla="*/ 2444864 w 6789110"/>
              <a:gd name="connsiteY6356" fmla="*/ 1345206 h 6386516"/>
              <a:gd name="connsiteX6357" fmla="*/ 2441015 w 6789110"/>
              <a:gd name="connsiteY6357" fmla="*/ 1347130 h 6386516"/>
              <a:gd name="connsiteX6358" fmla="*/ 2444864 w 6789110"/>
              <a:gd name="connsiteY6358" fmla="*/ 1347130 h 6386516"/>
              <a:gd name="connsiteX6359" fmla="*/ 1859729 w 6789110"/>
              <a:gd name="connsiteY6359" fmla="*/ 1341366 h 6386516"/>
              <a:gd name="connsiteX6360" fmla="*/ 1869353 w 6789110"/>
              <a:gd name="connsiteY6360" fmla="*/ 1341366 h 6386516"/>
              <a:gd name="connsiteX6361" fmla="*/ 1867428 w 6789110"/>
              <a:gd name="connsiteY6361" fmla="*/ 1349065 h 6386516"/>
              <a:gd name="connsiteX6362" fmla="*/ 2163847 w 6789110"/>
              <a:gd name="connsiteY6362" fmla="*/ 1341357 h 6386516"/>
              <a:gd name="connsiteX6363" fmla="*/ 2173470 w 6789110"/>
              <a:gd name="connsiteY6363" fmla="*/ 1345206 h 6386516"/>
              <a:gd name="connsiteX6364" fmla="*/ 2179245 w 6789110"/>
              <a:gd name="connsiteY6364" fmla="*/ 1352906 h 6386516"/>
              <a:gd name="connsiteX6365" fmla="*/ 2167696 w 6789110"/>
              <a:gd name="connsiteY6365" fmla="*/ 1364454 h 6386516"/>
              <a:gd name="connsiteX6366" fmla="*/ 2148448 w 6789110"/>
              <a:gd name="connsiteY6366" fmla="*/ 1354830 h 6386516"/>
              <a:gd name="connsiteX6367" fmla="*/ 2154222 w 6789110"/>
              <a:gd name="connsiteY6367" fmla="*/ 1349056 h 6386516"/>
              <a:gd name="connsiteX6368" fmla="*/ 2152297 w 6789110"/>
              <a:gd name="connsiteY6368" fmla="*/ 1345206 h 6386516"/>
              <a:gd name="connsiteX6369" fmla="*/ 2154222 w 6789110"/>
              <a:gd name="connsiteY6369" fmla="*/ 1343282 h 6386516"/>
              <a:gd name="connsiteX6370" fmla="*/ 2163847 w 6789110"/>
              <a:gd name="connsiteY6370" fmla="*/ 1341357 h 6386516"/>
              <a:gd name="connsiteX6371" fmla="*/ 2533791 w 6789110"/>
              <a:gd name="connsiteY6371" fmla="*/ 1336737 h 6386516"/>
              <a:gd name="connsiteX6372" fmla="*/ 2535329 w 6789110"/>
              <a:gd name="connsiteY6372" fmla="*/ 1337506 h 6386516"/>
              <a:gd name="connsiteX6373" fmla="*/ 2533405 w 6789110"/>
              <a:gd name="connsiteY6373" fmla="*/ 1337506 h 6386516"/>
              <a:gd name="connsiteX6374" fmla="*/ 2417917 w 6789110"/>
              <a:gd name="connsiteY6374" fmla="*/ 1335582 h 6386516"/>
              <a:gd name="connsiteX6375" fmla="*/ 2414068 w 6789110"/>
              <a:gd name="connsiteY6375" fmla="*/ 1337506 h 6386516"/>
              <a:gd name="connsiteX6376" fmla="*/ 2417917 w 6789110"/>
              <a:gd name="connsiteY6376" fmla="*/ 1337506 h 6386516"/>
              <a:gd name="connsiteX6377" fmla="*/ 2068088 w 6789110"/>
              <a:gd name="connsiteY6377" fmla="*/ 1332934 h 6386516"/>
              <a:gd name="connsiteX6378" fmla="*/ 2075306 w 6789110"/>
              <a:gd name="connsiteY6378" fmla="*/ 1335581 h 6386516"/>
              <a:gd name="connsiteX6379" fmla="*/ 2075306 w 6789110"/>
              <a:gd name="connsiteY6379" fmla="*/ 1345205 h 6386516"/>
              <a:gd name="connsiteX6380" fmla="*/ 2063757 w 6789110"/>
              <a:gd name="connsiteY6380" fmla="*/ 1343280 h 6386516"/>
              <a:gd name="connsiteX6381" fmla="*/ 2068088 w 6789110"/>
              <a:gd name="connsiteY6381" fmla="*/ 1332934 h 6386516"/>
              <a:gd name="connsiteX6382" fmla="*/ 1946346 w 6789110"/>
              <a:gd name="connsiteY6382" fmla="*/ 1331743 h 6386516"/>
              <a:gd name="connsiteX6383" fmla="*/ 1954045 w 6789110"/>
              <a:gd name="connsiteY6383" fmla="*/ 1337517 h 6386516"/>
              <a:gd name="connsiteX6384" fmla="*/ 1946346 w 6789110"/>
              <a:gd name="connsiteY6384" fmla="*/ 1337517 h 6386516"/>
              <a:gd name="connsiteX6385" fmla="*/ 2533405 w 6789110"/>
              <a:gd name="connsiteY6385" fmla="*/ 1331732 h 6386516"/>
              <a:gd name="connsiteX6386" fmla="*/ 2535329 w 6789110"/>
              <a:gd name="connsiteY6386" fmla="*/ 1333657 h 6386516"/>
              <a:gd name="connsiteX6387" fmla="*/ 2533791 w 6789110"/>
              <a:gd name="connsiteY6387" fmla="*/ 1336737 h 6386516"/>
              <a:gd name="connsiteX6388" fmla="*/ 2527630 w 6789110"/>
              <a:gd name="connsiteY6388" fmla="*/ 1333657 h 6386516"/>
              <a:gd name="connsiteX6389" fmla="*/ 2529555 w 6789110"/>
              <a:gd name="connsiteY6389" fmla="*/ 1335582 h 6386516"/>
              <a:gd name="connsiteX6390" fmla="*/ 2531481 w 6789110"/>
              <a:gd name="connsiteY6390" fmla="*/ 1345206 h 6386516"/>
              <a:gd name="connsiteX6391" fmla="*/ 2535329 w 6789110"/>
              <a:gd name="connsiteY6391" fmla="*/ 1339431 h 6386516"/>
              <a:gd name="connsiteX6392" fmla="*/ 2535329 w 6789110"/>
              <a:gd name="connsiteY6392" fmla="*/ 1337506 h 6386516"/>
              <a:gd name="connsiteX6393" fmla="*/ 2539179 w 6789110"/>
              <a:gd name="connsiteY6393" fmla="*/ 1337506 h 6386516"/>
              <a:gd name="connsiteX6394" fmla="*/ 2539179 w 6789110"/>
              <a:gd name="connsiteY6394" fmla="*/ 1333657 h 6386516"/>
              <a:gd name="connsiteX6395" fmla="*/ 2693163 w 6789110"/>
              <a:gd name="connsiteY6395" fmla="*/ 1329871 h 6386516"/>
              <a:gd name="connsiteX6396" fmla="*/ 2608472 w 6789110"/>
              <a:gd name="connsiteY6396" fmla="*/ 1435730 h 6386516"/>
              <a:gd name="connsiteX6397" fmla="*/ 2693163 w 6789110"/>
              <a:gd name="connsiteY6397" fmla="*/ 1329871 h 6386516"/>
              <a:gd name="connsiteX6398" fmla="*/ 2175397 w 6789110"/>
              <a:gd name="connsiteY6398" fmla="*/ 1322109 h 6386516"/>
              <a:gd name="connsiteX6399" fmla="*/ 2181170 w 6789110"/>
              <a:gd name="connsiteY6399" fmla="*/ 1325959 h 6386516"/>
              <a:gd name="connsiteX6400" fmla="*/ 2175397 w 6789110"/>
              <a:gd name="connsiteY6400" fmla="*/ 1327884 h 6386516"/>
              <a:gd name="connsiteX6401" fmla="*/ 1888602 w 6789110"/>
              <a:gd name="connsiteY6401" fmla="*/ 1318268 h 6386516"/>
              <a:gd name="connsiteX6402" fmla="*/ 1896301 w 6789110"/>
              <a:gd name="connsiteY6402" fmla="*/ 1318268 h 6386516"/>
              <a:gd name="connsiteX6403" fmla="*/ 1896301 w 6789110"/>
              <a:gd name="connsiteY6403" fmla="*/ 1324043 h 6386516"/>
              <a:gd name="connsiteX6404" fmla="*/ 2133050 w 6789110"/>
              <a:gd name="connsiteY6404" fmla="*/ 1318258 h 6386516"/>
              <a:gd name="connsiteX6405" fmla="*/ 2138824 w 6789110"/>
              <a:gd name="connsiteY6405" fmla="*/ 1320183 h 6386516"/>
              <a:gd name="connsiteX6406" fmla="*/ 2133050 w 6789110"/>
              <a:gd name="connsiteY6406" fmla="*/ 1325957 h 6386516"/>
              <a:gd name="connsiteX6407" fmla="*/ 2466037 w 6789110"/>
              <a:gd name="connsiteY6407" fmla="*/ 1312484 h 6386516"/>
              <a:gd name="connsiteX6408" fmla="*/ 2467962 w 6789110"/>
              <a:gd name="connsiteY6408" fmla="*/ 1314409 h 6386516"/>
              <a:gd name="connsiteX6409" fmla="*/ 2467962 w 6789110"/>
              <a:gd name="connsiteY6409" fmla="*/ 1312484 h 6386516"/>
              <a:gd name="connsiteX6410" fmla="*/ 1925172 w 6789110"/>
              <a:gd name="connsiteY6410" fmla="*/ 1308645 h 6386516"/>
              <a:gd name="connsiteX6411" fmla="*/ 1934796 w 6789110"/>
              <a:gd name="connsiteY6411" fmla="*/ 1316344 h 6386516"/>
              <a:gd name="connsiteX6412" fmla="*/ 1925172 w 6789110"/>
              <a:gd name="connsiteY6412" fmla="*/ 1316344 h 6386516"/>
              <a:gd name="connsiteX6413" fmla="*/ 5214635 w 6789110"/>
              <a:gd name="connsiteY6413" fmla="*/ 1299074 h 6386516"/>
              <a:gd name="connsiteX6414" fmla="*/ 5131869 w 6789110"/>
              <a:gd name="connsiteY6414" fmla="*/ 1379912 h 6386516"/>
              <a:gd name="connsiteX6415" fmla="*/ 5139569 w 6789110"/>
              <a:gd name="connsiteY6415" fmla="*/ 1379912 h 6386516"/>
              <a:gd name="connsiteX6416" fmla="*/ 5104922 w 6789110"/>
              <a:gd name="connsiteY6416" fmla="*/ 1433804 h 6386516"/>
              <a:gd name="connsiteX6417" fmla="*/ 5235808 w 6789110"/>
              <a:gd name="connsiteY6417" fmla="*/ 1308696 h 6386516"/>
              <a:gd name="connsiteX6418" fmla="*/ 5214635 w 6789110"/>
              <a:gd name="connsiteY6418" fmla="*/ 1299074 h 6386516"/>
              <a:gd name="connsiteX6419" fmla="*/ 2612322 w 6789110"/>
              <a:gd name="connsiteY6419" fmla="*/ 1299011 h 6386516"/>
              <a:gd name="connsiteX6420" fmla="*/ 2612322 w 6789110"/>
              <a:gd name="connsiteY6420" fmla="*/ 1300935 h 6386516"/>
              <a:gd name="connsiteX6421" fmla="*/ 2614246 w 6789110"/>
              <a:gd name="connsiteY6421" fmla="*/ 1300935 h 6386516"/>
              <a:gd name="connsiteX6422" fmla="*/ 2618095 w 6789110"/>
              <a:gd name="connsiteY6422" fmla="*/ 1299011 h 6386516"/>
              <a:gd name="connsiteX6423" fmla="*/ 2616171 w 6789110"/>
              <a:gd name="connsiteY6423" fmla="*/ 1299011 h 6386516"/>
              <a:gd name="connsiteX6424" fmla="*/ 1886676 w 6789110"/>
              <a:gd name="connsiteY6424" fmla="*/ 1297095 h 6386516"/>
              <a:gd name="connsiteX6425" fmla="*/ 1884751 w 6789110"/>
              <a:gd name="connsiteY6425" fmla="*/ 1308644 h 6386516"/>
              <a:gd name="connsiteX6426" fmla="*/ 1877052 w 6789110"/>
              <a:gd name="connsiteY6426" fmla="*/ 1304794 h 6386516"/>
              <a:gd name="connsiteX6427" fmla="*/ 5189613 w 6789110"/>
              <a:gd name="connsiteY6427" fmla="*/ 1295223 h 6386516"/>
              <a:gd name="connsiteX6428" fmla="*/ 5166516 w 6789110"/>
              <a:gd name="connsiteY6428" fmla="*/ 1331794 h 6386516"/>
              <a:gd name="connsiteX6429" fmla="*/ 5203087 w 6789110"/>
              <a:gd name="connsiteY6429" fmla="*/ 1299074 h 6386516"/>
              <a:gd name="connsiteX6430" fmla="*/ 5195388 w 6789110"/>
              <a:gd name="connsiteY6430" fmla="*/ 1300998 h 6386516"/>
              <a:gd name="connsiteX6431" fmla="*/ 5189613 w 6789110"/>
              <a:gd name="connsiteY6431" fmla="*/ 1295223 h 6386516"/>
              <a:gd name="connsiteX6432" fmla="*/ 2044510 w 6789110"/>
              <a:gd name="connsiteY6432" fmla="*/ 1291311 h 6386516"/>
              <a:gd name="connsiteX6433" fmla="*/ 2054133 w 6789110"/>
              <a:gd name="connsiteY6433" fmla="*/ 1291311 h 6386516"/>
              <a:gd name="connsiteX6434" fmla="*/ 2054133 w 6789110"/>
              <a:gd name="connsiteY6434" fmla="*/ 1297085 h 6386516"/>
              <a:gd name="connsiteX6435" fmla="*/ 2044510 w 6789110"/>
              <a:gd name="connsiteY6435" fmla="*/ 1291311 h 6386516"/>
              <a:gd name="connsiteX6436" fmla="*/ 2695087 w 6789110"/>
              <a:gd name="connsiteY6436" fmla="*/ 1287528 h 6386516"/>
              <a:gd name="connsiteX6437" fmla="*/ 2533405 w 6789110"/>
              <a:gd name="connsiteY6437" fmla="*/ 1549292 h 6386516"/>
              <a:gd name="connsiteX6438" fmla="*/ 2654666 w 6789110"/>
              <a:gd name="connsiteY6438" fmla="*/ 2373109 h 6386516"/>
              <a:gd name="connsiteX6439" fmla="*/ 2612322 w 6789110"/>
              <a:gd name="connsiteY6439" fmla="*/ 1329871 h 6386516"/>
              <a:gd name="connsiteX6440" fmla="*/ 2695087 w 6789110"/>
              <a:gd name="connsiteY6440" fmla="*/ 1287528 h 6386516"/>
              <a:gd name="connsiteX6441" fmla="*/ 2795176 w 6789110"/>
              <a:gd name="connsiteY6441" fmla="*/ 1287525 h 6386516"/>
              <a:gd name="connsiteX6442" fmla="*/ 2710486 w 6789110"/>
              <a:gd name="connsiteY6442" fmla="*/ 1428029 h 6386516"/>
              <a:gd name="connsiteX6443" fmla="*/ 2756680 w 6789110"/>
              <a:gd name="connsiteY6443" fmla="*/ 1431878 h 6386516"/>
              <a:gd name="connsiteX6444" fmla="*/ 2774004 w 6789110"/>
              <a:gd name="connsiteY6444" fmla="*/ 1408783 h 6386516"/>
              <a:gd name="connsiteX6445" fmla="*/ 2777853 w 6789110"/>
              <a:gd name="connsiteY6445" fmla="*/ 1389535 h 6386516"/>
              <a:gd name="connsiteX6446" fmla="*/ 2787477 w 6789110"/>
              <a:gd name="connsiteY6446" fmla="*/ 1383761 h 6386516"/>
              <a:gd name="connsiteX6447" fmla="*/ 2810575 w 6789110"/>
              <a:gd name="connsiteY6447" fmla="*/ 1339492 h 6386516"/>
              <a:gd name="connsiteX6448" fmla="*/ 2800951 w 6789110"/>
              <a:gd name="connsiteY6448" fmla="*/ 1300998 h 6386516"/>
              <a:gd name="connsiteX6449" fmla="*/ 2795176 w 6789110"/>
              <a:gd name="connsiteY6449" fmla="*/ 1287525 h 6386516"/>
              <a:gd name="connsiteX6450" fmla="*/ 1963669 w 6789110"/>
              <a:gd name="connsiteY6450" fmla="*/ 1281698 h 6386516"/>
              <a:gd name="connsiteX6451" fmla="*/ 1963669 w 6789110"/>
              <a:gd name="connsiteY6451" fmla="*/ 1287472 h 6386516"/>
              <a:gd name="connsiteX6452" fmla="*/ 1957895 w 6789110"/>
              <a:gd name="connsiteY6452" fmla="*/ 1285549 h 6386516"/>
              <a:gd name="connsiteX6453" fmla="*/ 3135864 w 6789110"/>
              <a:gd name="connsiteY6453" fmla="*/ 1272127 h 6386516"/>
              <a:gd name="connsiteX6454" fmla="*/ 3093519 w 6789110"/>
              <a:gd name="connsiteY6454" fmla="*/ 1279827 h 6386516"/>
              <a:gd name="connsiteX6455" fmla="*/ 3070421 w 6789110"/>
              <a:gd name="connsiteY6455" fmla="*/ 1322170 h 6386516"/>
              <a:gd name="connsiteX6456" fmla="*/ 3095443 w 6789110"/>
              <a:gd name="connsiteY6456" fmla="*/ 1295223 h 6386516"/>
              <a:gd name="connsiteX6457" fmla="*/ 3093519 w 6789110"/>
              <a:gd name="connsiteY6457" fmla="*/ 1318320 h 6386516"/>
              <a:gd name="connsiteX6458" fmla="*/ 3078120 w 6789110"/>
              <a:gd name="connsiteY6458" fmla="*/ 1337567 h 6386516"/>
              <a:gd name="connsiteX6459" fmla="*/ 3083894 w 6789110"/>
              <a:gd name="connsiteY6459" fmla="*/ 1358739 h 6386516"/>
              <a:gd name="connsiteX6460" fmla="*/ 3085819 w 6789110"/>
              <a:gd name="connsiteY6460" fmla="*/ 1360664 h 6386516"/>
              <a:gd name="connsiteX6461" fmla="*/ 3135864 w 6789110"/>
              <a:gd name="connsiteY6461" fmla="*/ 1272127 h 6386516"/>
              <a:gd name="connsiteX6462" fmla="*/ 625941 w 6789110"/>
              <a:gd name="connsiteY6462" fmla="*/ 1270135 h 6386516"/>
              <a:gd name="connsiteX6463" fmla="*/ 839593 w 6789110"/>
              <a:gd name="connsiteY6463" fmla="*/ 1472238 h 6386516"/>
              <a:gd name="connsiteX6464" fmla="*/ 625941 w 6789110"/>
              <a:gd name="connsiteY6464" fmla="*/ 1270135 h 6386516"/>
              <a:gd name="connsiteX6465" fmla="*/ 1979067 w 6789110"/>
              <a:gd name="connsiteY6465" fmla="*/ 1262437 h 6386516"/>
              <a:gd name="connsiteX6466" fmla="*/ 1979067 w 6789110"/>
              <a:gd name="connsiteY6466" fmla="*/ 1268211 h 6386516"/>
              <a:gd name="connsiteX6467" fmla="*/ 1973293 w 6789110"/>
              <a:gd name="connsiteY6467" fmla="*/ 1268211 h 6386516"/>
              <a:gd name="connsiteX6468" fmla="*/ 2774003 w 6789110"/>
              <a:gd name="connsiteY6468" fmla="*/ 1256732 h 6386516"/>
              <a:gd name="connsiteX6469" fmla="*/ 2643118 w 6789110"/>
              <a:gd name="connsiteY6469" fmla="*/ 1460753 h 6386516"/>
              <a:gd name="connsiteX6470" fmla="*/ 2631569 w 6789110"/>
              <a:gd name="connsiteY6470" fmla="*/ 1449205 h 6386516"/>
              <a:gd name="connsiteX6471" fmla="*/ 2774003 w 6789110"/>
              <a:gd name="connsiteY6471" fmla="*/ 1256732 h 6386516"/>
              <a:gd name="connsiteX6472" fmla="*/ 5287777 w 6789110"/>
              <a:gd name="connsiteY6472" fmla="*/ 1254804 h 6386516"/>
              <a:gd name="connsiteX6473" fmla="*/ 5237733 w 6789110"/>
              <a:gd name="connsiteY6473" fmla="*/ 1283675 h 6386516"/>
              <a:gd name="connsiteX6474" fmla="*/ 5253131 w 6789110"/>
              <a:gd name="connsiteY6474" fmla="*/ 1291373 h 6386516"/>
              <a:gd name="connsiteX6475" fmla="*/ 5287777 w 6789110"/>
              <a:gd name="connsiteY6475" fmla="*/ 1254804 h 6386516"/>
              <a:gd name="connsiteX6476" fmla="*/ 3986620 w 6789110"/>
              <a:gd name="connsiteY6476" fmla="*/ 1243257 h 6386516"/>
              <a:gd name="connsiteX6477" fmla="*/ 3984695 w 6789110"/>
              <a:gd name="connsiteY6477" fmla="*/ 1245181 h 6386516"/>
              <a:gd name="connsiteX6478" fmla="*/ 3976996 w 6789110"/>
              <a:gd name="connsiteY6478" fmla="*/ 1264428 h 6386516"/>
              <a:gd name="connsiteX6479" fmla="*/ 3986620 w 6789110"/>
              <a:gd name="connsiteY6479" fmla="*/ 1272127 h 6386516"/>
              <a:gd name="connsiteX6480" fmla="*/ 3986620 w 6789110"/>
              <a:gd name="connsiteY6480" fmla="*/ 1243257 h 6386516"/>
              <a:gd name="connsiteX6481" fmla="*/ 2733582 w 6789110"/>
              <a:gd name="connsiteY6481" fmla="*/ 1237418 h 6386516"/>
              <a:gd name="connsiteX6482" fmla="*/ 2733582 w 6789110"/>
              <a:gd name="connsiteY6482" fmla="*/ 1239342 h 6386516"/>
              <a:gd name="connsiteX6483" fmla="*/ 2735507 w 6789110"/>
              <a:gd name="connsiteY6483" fmla="*/ 1237418 h 6386516"/>
              <a:gd name="connsiteX6484" fmla="*/ 2747056 w 6789110"/>
              <a:gd name="connsiteY6484" fmla="*/ 1235493 h 6386516"/>
              <a:gd name="connsiteX6485" fmla="*/ 2750906 w 6789110"/>
              <a:gd name="connsiteY6485" fmla="*/ 1235493 h 6386516"/>
              <a:gd name="connsiteX6486" fmla="*/ 2754755 w 6789110"/>
              <a:gd name="connsiteY6486" fmla="*/ 1235493 h 6386516"/>
              <a:gd name="connsiteX6487" fmla="*/ 2750906 w 6789110"/>
              <a:gd name="connsiteY6487" fmla="*/ 1237418 h 6386516"/>
              <a:gd name="connsiteX6488" fmla="*/ 2747056 w 6789110"/>
              <a:gd name="connsiteY6488" fmla="*/ 1235493 h 6386516"/>
              <a:gd name="connsiteX6489" fmla="*/ 5255056 w 6789110"/>
              <a:gd name="connsiteY6489" fmla="*/ 1231708 h 6386516"/>
              <a:gd name="connsiteX6490" fmla="*/ 5210786 w 6789110"/>
              <a:gd name="connsiteY6490" fmla="*/ 1268277 h 6386516"/>
              <a:gd name="connsiteX6491" fmla="*/ 5226184 w 6789110"/>
              <a:gd name="connsiteY6491" fmla="*/ 1275976 h 6386516"/>
              <a:gd name="connsiteX6492" fmla="*/ 5274304 w 6789110"/>
              <a:gd name="connsiteY6492" fmla="*/ 1237482 h 6386516"/>
              <a:gd name="connsiteX6493" fmla="*/ 5255056 w 6789110"/>
              <a:gd name="connsiteY6493" fmla="*/ 1231708 h 6386516"/>
              <a:gd name="connsiteX6494" fmla="*/ 5141493 w 6789110"/>
              <a:gd name="connsiteY6494" fmla="*/ 1229783 h 6386516"/>
              <a:gd name="connsiteX6495" fmla="*/ 5054878 w 6789110"/>
              <a:gd name="connsiteY6495" fmla="*/ 1308696 h 6386516"/>
              <a:gd name="connsiteX6496" fmla="*/ 5052799 w 6789110"/>
              <a:gd name="connsiteY6496" fmla="*/ 1311469 h 6386516"/>
              <a:gd name="connsiteX6497" fmla="*/ 5042711 w 6789110"/>
              <a:gd name="connsiteY6497" fmla="*/ 1320206 h 6386516"/>
              <a:gd name="connsiteX6498" fmla="*/ 5037555 w 6789110"/>
              <a:gd name="connsiteY6498" fmla="*/ 1322170 h 6386516"/>
              <a:gd name="connsiteX6499" fmla="*/ 5027931 w 6789110"/>
              <a:gd name="connsiteY6499" fmla="*/ 1329869 h 6386516"/>
              <a:gd name="connsiteX6500" fmla="*/ 5033706 w 6789110"/>
              <a:gd name="connsiteY6500" fmla="*/ 1320245 h 6386516"/>
              <a:gd name="connsiteX6501" fmla="*/ 5041405 w 6789110"/>
              <a:gd name="connsiteY6501" fmla="*/ 1299074 h 6386516"/>
              <a:gd name="connsiteX6502" fmla="*/ 5047179 w 6789110"/>
              <a:gd name="connsiteY6502" fmla="*/ 1295223 h 6386516"/>
              <a:gd name="connsiteX6503" fmla="*/ 5039480 w 6789110"/>
              <a:gd name="connsiteY6503" fmla="*/ 1233633 h 6386516"/>
              <a:gd name="connsiteX6504" fmla="*/ 5035630 w 6789110"/>
              <a:gd name="connsiteY6504" fmla="*/ 1231708 h 6386516"/>
              <a:gd name="connsiteX6505" fmla="*/ 5002909 w 6789110"/>
              <a:gd name="connsiteY6505" fmla="*/ 1308696 h 6386516"/>
              <a:gd name="connsiteX6506" fmla="*/ 5026006 w 6789110"/>
              <a:gd name="connsiteY6506" fmla="*/ 1320245 h 6386516"/>
              <a:gd name="connsiteX6507" fmla="*/ 5010608 w 6789110"/>
              <a:gd name="connsiteY6507" fmla="*/ 1327944 h 6386516"/>
              <a:gd name="connsiteX6508" fmla="*/ 5010608 w 6789110"/>
              <a:gd name="connsiteY6508" fmla="*/ 1339492 h 6386516"/>
              <a:gd name="connsiteX6509" fmla="*/ 4987510 w 6789110"/>
              <a:gd name="connsiteY6509" fmla="*/ 1337567 h 6386516"/>
              <a:gd name="connsiteX6510" fmla="*/ 4974037 w 6789110"/>
              <a:gd name="connsiteY6510" fmla="*/ 1364513 h 6386516"/>
              <a:gd name="connsiteX6511" fmla="*/ 4993285 w 6789110"/>
              <a:gd name="connsiteY6511" fmla="*/ 1387610 h 6386516"/>
              <a:gd name="connsiteX6512" fmla="*/ 5004834 w 6789110"/>
              <a:gd name="connsiteY6512" fmla="*/ 1364513 h 6386516"/>
              <a:gd name="connsiteX6513" fmla="*/ 5028533 w 6789110"/>
              <a:gd name="connsiteY6513" fmla="*/ 1332485 h 6386516"/>
              <a:gd name="connsiteX6514" fmla="*/ 5042711 w 6789110"/>
              <a:gd name="connsiteY6514" fmla="*/ 1320206 h 6386516"/>
              <a:gd name="connsiteX6515" fmla="*/ 5047660 w 6789110"/>
              <a:gd name="connsiteY6515" fmla="*/ 1318320 h 6386516"/>
              <a:gd name="connsiteX6516" fmla="*/ 5052799 w 6789110"/>
              <a:gd name="connsiteY6516" fmla="*/ 1311469 h 6386516"/>
              <a:gd name="connsiteX6517" fmla="*/ 5067389 w 6789110"/>
              <a:gd name="connsiteY6517" fmla="*/ 1298832 h 6386516"/>
              <a:gd name="connsiteX6518" fmla="*/ 5153042 w 6789110"/>
              <a:gd name="connsiteY6518" fmla="*/ 1237482 h 6386516"/>
              <a:gd name="connsiteX6519" fmla="*/ 5141493 w 6789110"/>
              <a:gd name="connsiteY6519" fmla="*/ 1229783 h 6386516"/>
              <a:gd name="connsiteX6520" fmla="*/ 3946199 w 6789110"/>
              <a:gd name="connsiteY6520" fmla="*/ 1225934 h 6386516"/>
              <a:gd name="connsiteX6521" fmla="*/ 3946426 w 6789110"/>
              <a:gd name="connsiteY6521" fmla="*/ 1225934 h 6386516"/>
              <a:gd name="connsiteX6522" fmla="*/ 3946145 w 6789110"/>
              <a:gd name="connsiteY6522" fmla="*/ 1226459 h 6386516"/>
              <a:gd name="connsiteX6523" fmla="*/ 5222334 w 6789110"/>
              <a:gd name="connsiteY6523" fmla="*/ 1222085 h 6386516"/>
              <a:gd name="connsiteX6524" fmla="*/ 5189613 w 6789110"/>
              <a:gd name="connsiteY6524" fmla="*/ 1260579 h 6386516"/>
              <a:gd name="connsiteX6525" fmla="*/ 5193463 w 6789110"/>
              <a:gd name="connsiteY6525" fmla="*/ 1258654 h 6386516"/>
              <a:gd name="connsiteX6526" fmla="*/ 5201162 w 6789110"/>
              <a:gd name="connsiteY6526" fmla="*/ 1264428 h 6386516"/>
              <a:gd name="connsiteX6527" fmla="*/ 5243507 w 6789110"/>
              <a:gd name="connsiteY6527" fmla="*/ 1229783 h 6386516"/>
              <a:gd name="connsiteX6528" fmla="*/ 5222334 w 6789110"/>
              <a:gd name="connsiteY6528" fmla="*/ 1222085 h 6386516"/>
              <a:gd name="connsiteX6529" fmla="*/ 5299326 w 6789110"/>
              <a:gd name="connsiteY6529" fmla="*/ 1218234 h 6386516"/>
              <a:gd name="connsiteX6530" fmla="*/ 5287777 w 6789110"/>
              <a:gd name="connsiteY6530" fmla="*/ 1222085 h 6386516"/>
              <a:gd name="connsiteX6531" fmla="*/ 5291627 w 6789110"/>
              <a:gd name="connsiteY6531" fmla="*/ 1224009 h 6386516"/>
              <a:gd name="connsiteX6532" fmla="*/ 5299326 w 6789110"/>
              <a:gd name="connsiteY6532" fmla="*/ 1218234 h 6386516"/>
              <a:gd name="connsiteX6533" fmla="*/ 2914513 w 6789110"/>
              <a:gd name="connsiteY6533" fmla="*/ 1208612 h 6386516"/>
              <a:gd name="connsiteX6534" fmla="*/ 2841371 w 6789110"/>
              <a:gd name="connsiteY6534" fmla="*/ 1343342 h 6386516"/>
              <a:gd name="connsiteX6535" fmla="*/ 2847146 w 6789110"/>
              <a:gd name="connsiteY6535" fmla="*/ 1356815 h 6386516"/>
              <a:gd name="connsiteX6536" fmla="*/ 2879867 w 6789110"/>
              <a:gd name="connsiteY6536" fmla="*/ 1291373 h 6386516"/>
              <a:gd name="connsiteX6537" fmla="*/ 2920287 w 6789110"/>
              <a:gd name="connsiteY6537" fmla="*/ 1227858 h 6386516"/>
              <a:gd name="connsiteX6538" fmla="*/ 2914513 w 6789110"/>
              <a:gd name="connsiteY6538" fmla="*/ 1208612 h 6386516"/>
              <a:gd name="connsiteX6539" fmla="*/ 4960563 w 6789110"/>
              <a:gd name="connsiteY6539" fmla="*/ 1198988 h 6386516"/>
              <a:gd name="connsiteX6540" fmla="*/ 4956714 w 6789110"/>
              <a:gd name="connsiteY6540" fmla="*/ 1208612 h 6386516"/>
              <a:gd name="connsiteX6541" fmla="*/ 4964413 w 6789110"/>
              <a:gd name="connsiteY6541" fmla="*/ 1200912 h 6386516"/>
              <a:gd name="connsiteX6542" fmla="*/ 2639268 w 6789110"/>
              <a:gd name="connsiteY6542" fmla="*/ 1198922 h 6386516"/>
              <a:gd name="connsiteX6543" fmla="*/ 2639268 w 6789110"/>
              <a:gd name="connsiteY6543" fmla="*/ 1200847 h 6386516"/>
              <a:gd name="connsiteX6544" fmla="*/ 2637343 w 6789110"/>
              <a:gd name="connsiteY6544" fmla="*/ 1200847 h 6386516"/>
              <a:gd name="connsiteX6545" fmla="*/ 2633494 w 6789110"/>
              <a:gd name="connsiteY6545" fmla="*/ 1197960 h 6386516"/>
              <a:gd name="connsiteX6546" fmla="*/ 2635418 w 6789110"/>
              <a:gd name="connsiteY6546" fmla="*/ 1198922 h 6386516"/>
              <a:gd name="connsiteX6547" fmla="*/ 2635418 w 6789110"/>
              <a:gd name="connsiteY6547" fmla="*/ 1200847 h 6386516"/>
              <a:gd name="connsiteX6548" fmla="*/ 2637343 w 6789110"/>
              <a:gd name="connsiteY6548" fmla="*/ 1200847 h 6386516"/>
              <a:gd name="connsiteX6549" fmla="*/ 2637343 w 6789110"/>
              <a:gd name="connsiteY6549" fmla="*/ 1202771 h 6386516"/>
              <a:gd name="connsiteX6550" fmla="*/ 2640232 w 6789110"/>
              <a:gd name="connsiteY6550" fmla="*/ 1201809 h 6386516"/>
              <a:gd name="connsiteX6551" fmla="*/ 2637343 w 6789110"/>
              <a:gd name="connsiteY6551" fmla="*/ 1204696 h 6386516"/>
              <a:gd name="connsiteX6552" fmla="*/ 2633494 w 6789110"/>
              <a:gd name="connsiteY6552" fmla="*/ 1204696 h 6386516"/>
              <a:gd name="connsiteX6553" fmla="*/ 2631569 w 6789110"/>
              <a:gd name="connsiteY6553" fmla="*/ 1204696 h 6386516"/>
              <a:gd name="connsiteX6554" fmla="*/ 2631569 w 6789110"/>
              <a:gd name="connsiteY6554" fmla="*/ 1204522 h 6386516"/>
              <a:gd name="connsiteX6555" fmla="*/ 2635418 w 6789110"/>
              <a:gd name="connsiteY6555" fmla="*/ 1202771 h 6386516"/>
              <a:gd name="connsiteX6556" fmla="*/ 2633494 w 6789110"/>
              <a:gd name="connsiteY6556" fmla="*/ 1200847 h 6386516"/>
              <a:gd name="connsiteX6557" fmla="*/ 2181168 w 6789110"/>
              <a:gd name="connsiteY6557" fmla="*/ 1196999 h 6386516"/>
              <a:gd name="connsiteX6558" fmla="*/ 2186943 w 6789110"/>
              <a:gd name="connsiteY6558" fmla="*/ 1202774 h 6386516"/>
              <a:gd name="connsiteX6559" fmla="*/ 2177319 w 6789110"/>
              <a:gd name="connsiteY6559" fmla="*/ 1202774 h 6386516"/>
              <a:gd name="connsiteX6560" fmla="*/ 2683860 w 6789110"/>
              <a:gd name="connsiteY6560" fmla="*/ 1196570 h 6386516"/>
              <a:gd name="connsiteX6561" fmla="*/ 2684500 w 6789110"/>
              <a:gd name="connsiteY6561" fmla="*/ 1196997 h 6386516"/>
              <a:gd name="connsiteX6562" fmla="*/ 2687389 w 6789110"/>
              <a:gd name="connsiteY6562" fmla="*/ 1198922 h 6386516"/>
              <a:gd name="connsiteX6563" fmla="*/ 2681613 w 6789110"/>
              <a:gd name="connsiteY6563" fmla="*/ 1198922 h 6386516"/>
              <a:gd name="connsiteX6564" fmla="*/ 2681613 w 6789110"/>
              <a:gd name="connsiteY6564" fmla="*/ 1196728 h 6386516"/>
              <a:gd name="connsiteX6565" fmla="*/ 2625795 w 6789110"/>
              <a:gd name="connsiteY6565" fmla="*/ 1195072 h 6386516"/>
              <a:gd name="connsiteX6566" fmla="*/ 2629644 w 6789110"/>
              <a:gd name="connsiteY6566" fmla="*/ 1195072 h 6386516"/>
              <a:gd name="connsiteX6567" fmla="*/ 2733582 w 6789110"/>
              <a:gd name="connsiteY6567" fmla="*/ 1191223 h 6386516"/>
              <a:gd name="connsiteX6568" fmla="*/ 2731659 w 6789110"/>
              <a:gd name="connsiteY6568" fmla="*/ 1193147 h 6386516"/>
              <a:gd name="connsiteX6569" fmla="*/ 2733582 w 6789110"/>
              <a:gd name="connsiteY6569" fmla="*/ 1195072 h 6386516"/>
              <a:gd name="connsiteX6570" fmla="*/ 2735507 w 6789110"/>
              <a:gd name="connsiteY6570" fmla="*/ 1193147 h 6386516"/>
              <a:gd name="connsiteX6571" fmla="*/ 2739357 w 6789110"/>
              <a:gd name="connsiteY6571" fmla="*/ 1191223 h 6386516"/>
              <a:gd name="connsiteX6572" fmla="*/ 2735507 w 6789110"/>
              <a:gd name="connsiteY6572" fmla="*/ 1191223 h 6386516"/>
              <a:gd name="connsiteX6573" fmla="*/ 2664290 w 6789110"/>
              <a:gd name="connsiteY6573" fmla="*/ 1191223 h 6386516"/>
              <a:gd name="connsiteX6574" fmla="*/ 2666215 w 6789110"/>
              <a:gd name="connsiteY6574" fmla="*/ 1193147 h 6386516"/>
              <a:gd name="connsiteX6575" fmla="*/ 2666215 w 6789110"/>
              <a:gd name="connsiteY6575" fmla="*/ 1191223 h 6386516"/>
              <a:gd name="connsiteX6576" fmla="*/ 2675839 w 6789110"/>
              <a:gd name="connsiteY6576" fmla="*/ 1189298 h 6386516"/>
              <a:gd name="connsiteX6577" fmla="*/ 2677764 w 6789110"/>
              <a:gd name="connsiteY6577" fmla="*/ 1193147 h 6386516"/>
              <a:gd name="connsiteX6578" fmla="*/ 2675839 w 6789110"/>
              <a:gd name="connsiteY6578" fmla="*/ 1195072 h 6386516"/>
              <a:gd name="connsiteX6579" fmla="*/ 2677764 w 6789110"/>
              <a:gd name="connsiteY6579" fmla="*/ 1196997 h 6386516"/>
              <a:gd name="connsiteX6580" fmla="*/ 2674104 w 6789110"/>
              <a:gd name="connsiteY6580" fmla="*/ 1194835 h 6386516"/>
              <a:gd name="connsiteX6581" fmla="*/ 2674876 w 6789110"/>
              <a:gd name="connsiteY6581" fmla="*/ 1193869 h 6386516"/>
              <a:gd name="connsiteX6582" fmla="*/ 2675839 w 6789110"/>
              <a:gd name="connsiteY6582" fmla="*/ 1191223 h 6386516"/>
              <a:gd name="connsiteX6583" fmla="*/ 2720109 w 6789110"/>
              <a:gd name="connsiteY6583" fmla="*/ 1187373 h 6386516"/>
              <a:gd name="connsiteX6584" fmla="*/ 2720720 w 6789110"/>
              <a:gd name="connsiteY6584" fmla="*/ 1189409 h 6386516"/>
              <a:gd name="connsiteX6585" fmla="*/ 2720109 w 6789110"/>
              <a:gd name="connsiteY6585" fmla="*/ 1189298 h 6386516"/>
              <a:gd name="connsiteX6586" fmla="*/ 2720831 w 6789110"/>
              <a:gd name="connsiteY6586" fmla="*/ 1189779 h 6386516"/>
              <a:gd name="connsiteX6587" fmla="*/ 2720720 w 6789110"/>
              <a:gd name="connsiteY6587" fmla="*/ 1189409 h 6386516"/>
              <a:gd name="connsiteX6588" fmla="*/ 2722755 w 6789110"/>
              <a:gd name="connsiteY6588" fmla="*/ 1189780 h 6386516"/>
              <a:gd name="connsiteX6589" fmla="*/ 2723958 w 6789110"/>
              <a:gd name="connsiteY6589" fmla="*/ 1187373 h 6386516"/>
              <a:gd name="connsiteX6590" fmla="*/ 2702786 w 6789110"/>
              <a:gd name="connsiteY6590" fmla="*/ 1187373 h 6386516"/>
              <a:gd name="connsiteX6591" fmla="*/ 2698936 w 6789110"/>
              <a:gd name="connsiteY6591" fmla="*/ 1189298 h 6386516"/>
              <a:gd name="connsiteX6592" fmla="*/ 2702786 w 6789110"/>
              <a:gd name="connsiteY6592" fmla="*/ 1191223 h 6386516"/>
              <a:gd name="connsiteX6593" fmla="*/ 2706636 w 6789110"/>
              <a:gd name="connsiteY6593" fmla="*/ 1191223 h 6386516"/>
              <a:gd name="connsiteX6594" fmla="*/ 2702786 w 6789110"/>
              <a:gd name="connsiteY6594" fmla="*/ 1187373 h 6386516"/>
              <a:gd name="connsiteX6595" fmla="*/ 2747056 w 6789110"/>
              <a:gd name="connsiteY6595" fmla="*/ 1185448 h 6386516"/>
              <a:gd name="connsiteX6596" fmla="*/ 2743207 w 6789110"/>
              <a:gd name="connsiteY6596" fmla="*/ 1187373 h 6386516"/>
              <a:gd name="connsiteX6597" fmla="*/ 2747056 w 6789110"/>
              <a:gd name="connsiteY6597" fmla="*/ 1189298 h 6386516"/>
              <a:gd name="connsiteX6598" fmla="*/ 2625795 w 6789110"/>
              <a:gd name="connsiteY6598" fmla="*/ 1185448 h 6386516"/>
              <a:gd name="connsiteX6599" fmla="*/ 2625795 w 6789110"/>
              <a:gd name="connsiteY6599" fmla="*/ 1189298 h 6386516"/>
              <a:gd name="connsiteX6600" fmla="*/ 2629644 w 6789110"/>
              <a:gd name="connsiteY6600" fmla="*/ 1185448 h 6386516"/>
              <a:gd name="connsiteX6601" fmla="*/ 2655869 w 6789110"/>
              <a:gd name="connsiteY6601" fmla="*/ 1182802 h 6386516"/>
              <a:gd name="connsiteX6602" fmla="*/ 2654666 w 6789110"/>
              <a:gd name="connsiteY6602" fmla="*/ 1183523 h 6386516"/>
              <a:gd name="connsiteX6603" fmla="*/ 2656592 w 6789110"/>
              <a:gd name="connsiteY6603" fmla="*/ 1185448 h 6386516"/>
              <a:gd name="connsiteX6604" fmla="*/ 2660440 w 6789110"/>
              <a:gd name="connsiteY6604" fmla="*/ 1185448 h 6386516"/>
              <a:gd name="connsiteX6605" fmla="*/ 2658516 w 6789110"/>
              <a:gd name="connsiteY6605" fmla="*/ 1183523 h 6386516"/>
              <a:gd name="connsiteX6606" fmla="*/ 2655869 w 6789110"/>
              <a:gd name="connsiteY6606" fmla="*/ 1182802 h 6386516"/>
              <a:gd name="connsiteX6607" fmla="*/ 2668140 w 6789110"/>
              <a:gd name="connsiteY6607" fmla="*/ 1181599 h 6386516"/>
              <a:gd name="connsiteX6608" fmla="*/ 2670064 w 6789110"/>
              <a:gd name="connsiteY6608" fmla="*/ 1185448 h 6386516"/>
              <a:gd name="connsiteX6609" fmla="*/ 2671989 w 6789110"/>
              <a:gd name="connsiteY6609" fmla="*/ 1181599 h 6386516"/>
              <a:gd name="connsiteX6610" fmla="*/ 2727808 w 6789110"/>
              <a:gd name="connsiteY6610" fmla="*/ 1177749 h 6386516"/>
              <a:gd name="connsiteX6611" fmla="*/ 2729733 w 6789110"/>
              <a:gd name="connsiteY6611" fmla="*/ 1181599 h 6386516"/>
              <a:gd name="connsiteX6612" fmla="*/ 2737433 w 6789110"/>
              <a:gd name="connsiteY6612" fmla="*/ 1179674 h 6386516"/>
              <a:gd name="connsiteX6613" fmla="*/ 2729733 w 6789110"/>
              <a:gd name="connsiteY6613" fmla="*/ 1177749 h 6386516"/>
              <a:gd name="connsiteX6614" fmla="*/ 2637343 w 6789110"/>
              <a:gd name="connsiteY6614" fmla="*/ 1177749 h 6386516"/>
              <a:gd name="connsiteX6615" fmla="*/ 2643117 w 6789110"/>
              <a:gd name="connsiteY6615" fmla="*/ 1179674 h 6386516"/>
              <a:gd name="connsiteX6616" fmla="*/ 2637343 w 6789110"/>
              <a:gd name="connsiteY6616" fmla="*/ 1177749 h 6386516"/>
              <a:gd name="connsiteX6617" fmla="*/ 2656592 w 6789110"/>
              <a:gd name="connsiteY6617" fmla="*/ 1173899 h 6386516"/>
              <a:gd name="connsiteX6618" fmla="*/ 2654666 w 6789110"/>
              <a:gd name="connsiteY6618" fmla="*/ 1177749 h 6386516"/>
              <a:gd name="connsiteX6619" fmla="*/ 2658516 w 6789110"/>
              <a:gd name="connsiteY6619" fmla="*/ 1177749 h 6386516"/>
              <a:gd name="connsiteX6620" fmla="*/ 2770154 w 6789110"/>
              <a:gd name="connsiteY6620" fmla="*/ 1170050 h 6386516"/>
              <a:gd name="connsiteX6621" fmla="*/ 2768228 w 6789110"/>
              <a:gd name="connsiteY6621" fmla="*/ 1171975 h 6386516"/>
              <a:gd name="connsiteX6622" fmla="*/ 2766304 w 6789110"/>
              <a:gd name="connsiteY6622" fmla="*/ 1171975 h 6386516"/>
              <a:gd name="connsiteX6623" fmla="*/ 2764379 w 6789110"/>
              <a:gd name="connsiteY6623" fmla="*/ 1171975 h 6386516"/>
              <a:gd name="connsiteX6624" fmla="*/ 2762454 w 6789110"/>
              <a:gd name="connsiteY6624" fmla="*/ 1173899 h 6386516"/>
              <a:gd name="connsiteX6625" fmla="*/ 2766304 w 6789110"/>
              <a:gd name="connsiteY6625" fmla="*/ 1173899 h 6386516"/>
              <a:gd name="connsiteX6626" fmla="*/ 2768228 w 6789110"/>
              <a:gd name="connsiteY6626" fmla="*/ 1171975 h 6386516"/>
              <a:gd name="connsiteX6627" fmla="*/ 2768230 w 6789110"/>
              <a:gd name="connsiteY6627" fmla="*/ 1171975 h 6386516"/>
              <a:gd name="connsiteX6628" fmla="*/ 2159998 w 6789110"/>
              <a:gd name="connsiteY6628" fmla="*/ 1170047 h 6386516"/>
              <a:gd name="connsiteX6629" fmla="*/ 2154223 w 6789110"/>
              <a:gd name="connsiteY6629" fmla="*/ 1181597 h 6386516"/>
              <a:gd name="connsiteX6630" fmla="*/ 2159998 w 6789110"/>
              <a:gd name="connsiteY6630" fmla="*/ 1170047 h 6386516"/>
              <a:gd name="connsiteX6631" fmla="*/ 4995210 w 6789110"/>
              <a:gd name="connsiteY6631" fmla="*/ 1168192 h 6386516"/>
              <a:gd name="connsiteX6632" fmla="*/ 4987510 w 6789110"/>
              <a:gd name="connsiteY6632" fmla="*/ 1175891 h 6386516"/>
              <a:gd name="connsiteX6633" fmla="*/ 4995210 w 6789110"/>
              <a:gd name="connsiteY6633" fmla="*/ 1168192 h 6386516"/>
              <a:gd name="connsiteX6634" fmla="*/ 1898226 w 6789110"/>
              <a:gd name="connsiteY6634" fmla="*/ 1168133 h 6386516"/>
              <a:gd name="connsiteX6635" fmla="*/ 1898226 w 6789110"/>
              <a:gd name="connsiteY6635" fmla="*/ 1175833 h 6386516"/>
              <a:gd name="connsiteX6636" fmla="*/ 1892452 w 6789110"/>
              <a:gd name="connsiteY6636" fmla="*/ 1171983 h 6386516"/>
              <a:gd name="connsiteX6637" fmla="*/ 2795176 w 6789110"/>
              <a:gd name="connsiteY6637" fmla="*/ 1168125 h 6386516"/>
              <a:gd name="connsiteX6638" fmla="*/ 2795176 w 6789110"/>
              <a:gd name="connsiteY6638" fmla="*/ 1171975 h 6386516"/>
              <a:gd name="connsiteX6639" fmla="*/ 2799025 w 6789110"/>
              <a:gd name="connsiteY6639" fmla="*/ 1170050 h 6386516"/>
              <a:gd name="connsiteX6640" fmla="*/ 2673914 w 6789110"/>
              <a:gd name="connsiteY6640" fmla="*/ 1166201 h 6386516"/>
              <a:gd name="connsiteX6641" fmla="*/ 2670064 w 6789110"/>
              <a:gd name="connsiteY6641" fmla="*/ 1168125 h 6386516"/>
              <a:gd name="connsiteX6642" fmla="*/ 2673914 w 6789110"/>
              <a:gd name="connsiteY6642" fmla="*/ 1171975 h 6386516"/>
              <a:gd name="connsiteX6643" fmla="*/ 2675839 w 6789110"/>
              <a:gd name="connsiteY6643" fmla="*/ 1170050 h 6386516"/>
              <a:gd name="connsiteX6644" fmla="*/ 2675839 w 6789110"/>
              <a:gd name="connsiteY6644" fmla="*/ 1168125 h 6386516"/>
              <a:gd name="connsiteX6645" fmla="*/ 2715585 w 6789110"/>
              <a:gd name="connsiteY6645" fmla="*/ 1165527 h 6386516"/>
              <a:gd name="connsiteX6646" fmla="*/ 2716259 w 6789110"/>
              <a:gd name="connsiteY6646" fmla="*/ 1166201 h 6386516"/>
              <a:gd name="connsiteX6647" fmla="*/ 2714335 w 6789110"/>
              <a:gd name="connsiteY6647" fmla="*/ 1166201 h 6386516"/>
              <a:gd name="connsiteX6648" fmla="*/ 2756680 w 6789110"/>
              <a:gd name="connsiteY6648" fmla="*/ 1164276 h 6386516"/>
              <a:gd name="connsiteX6649" fmla="*/ 2756680 w 6789110"/>
              <a:gd name="connsiteY6649" fmla="*/ 1166201 h 6386516"/>
              <a:gd name="connsiteX6650" fmla="*/ 2756680 w 6789110"/>
              <a:gd name="connsiteY6650" fmla="*/ 1168125 h 6386516"/>
              <a:gd name="connsiteX6651" fmla="*/ 2762454 w 6789110"/>
              <a:gd name="connsiteY6651" fmla="*/ 1171975 h 6386516"/>
              <a:gd name="connsiteX6652" fmla="*/ 2764379 w 6789110"/>
              <a:gd name="connsiteY6652" fmla="*/ 1170050 h 6386516"/>
              <a:gd name="connsiteX6653" fmla="*/ 2762454 w 6789110"/>
              <a:gd name="connsiteY6653" fmla="*/ 1166201 h 6386516"/>
              <a:gd name="connsiteX6654" fmla="*/ 2764379 w 6789110"/>
              <a:gd name="connsiteY6654" fmla="*/ 1166201 h 6386516"/>
              <a:gd name="connsiteX6655" fmla="*/ 2762454 w 6789110"/>
              <a:gd name="connsiteY6655" fmla="*/ 1164276 h 6386516"/>
              <a:gd name="connsiteX6656" fmla="*/ 2758605 w 6789110"/>
              <a:gd name="connsiteY6656" fmla="*/ 1164276 h 6386516"/>
              <a:gd name="connsiteX6657" fmla="*/ 2681613 w 6789110"/>
              <a:gd name="connsiteY6657" fmla="*/ 1162351 h 6386516"/>
              <a:gd name="connsiteX6658" fmla="*/ 2683538 w 6789110"/>
              <a:gd name="connsiteY6658" fmla="*/ 1166201 h 6386516"/>
              <a:gd name="connsiteX6659" fmla="*/ 2683538 w 6789110"/>
              <a:gd name="connsiteY6659" fmla="*/ 1170050 h 6386516"/>
              <a:gd name="connsiteX6660" fmla="*/ 2687389 w 6789110"/>
              <a:gd name="connsiteY6660" fmla="*/ 1168125 h 6386516"/>
              <a:gd name="connsiteX6661" fmla="*/ 2685463 w 6789110"/>
              <a:gd name="connsiteY6661" fmla="*/ 1164276 h 6386516"/>
              <a:gd name="connsiteX6662" fmla="*/ 2747056 w 6789110"/>
              <a:gd name="connsiteY6662" fmla="*/ 1158501 h 6386516"/>
              <a:gd name="connsiteX6663" fmla="*/ 2745131 w 6789110"/>
              <a:gd name="connsiteY6663" fmla="*/ 1160426 h 6386516"/>
              <a:gd name="connsiteX6664" fmla="*/ 2741282 w 6789110"/>
              <a:gd name="connsiteY6664" fmla="*/ 1160426 h 6386516"/>
              <a:gd name="connsiteX6665" fmla="*/ 2739357 w 6789110"/>
              <a:gd name="connsiteY6665" fmla="*/ 1162351 h 6386516"/>
              <a:gd name="connsiteX6666" fmla="*/ 2739357 w 6789110"/>
              <a:gd name="connsiteY6666" fmla="*/ 1164276 h 6386516"/>
              <a:gd name="connsiteX6667" fmla="*/ 2741282 w 6789110"/>
              <a:gd name="connsiteY6667" fmla="*/ 1164276 h 6386516"/>
              <a:gd name="connsiteX6668" fmla="*/ 2741282 w 6789110"/>
              <a:gd name="connsiteY6668" fmla="*/ 1162351 h 6386516"/>
              <a:gd name="connsiteX6669" fmla="*/ 2743207 w 6789110"/>
              <a:gd name="connsiteY6669" fmla="*/ 1166201 h 6386516"/>
              <a:gd name="connsiteX6670" fmla="*/ 2745131 w 6789110"/>
              <a:gd name="connsiteY6670" fmla="*/ 1168125 h 6386516"/>
              <a:gd name="connsiteX6671" fmla="*/ 2745131 w 6789110"/>
              <a:gd name="connsiteY6671" fmla="*/ 1170050 h 6386516"/>
              <a:gd name="connsiteX6672" fmla="*/ 2747056 w 6789110"/>
              <a:gd name="connsiteY6672" fmla="*/ 1168125 h 6386516"/>
              <a:gd name="connsiteX6673" fmla="*/ 2745131 w 6789110"/>
              <a:gd name="connsiteY6673" fmla="*/ 1164276 h 6386516"/>
              <a:gd name="connsiteX6674" fmla="*/ 2748981 w 6789110"/>
              <a:gd name="connsiteY6674" fmla="*/ 1164276 h 6386516"/>
              <a:gd name="connsiteX6675" fmla="*/ 2750906 w 6789110"/>
              <a:gd name="connsiteY6675" fmla="*/ 1160426 h 6386516"/>
              <a:gd name="connsiteX6676" fmla="*/ 2750906 w 6789110"/>
              <a:gd name="connsiteY6676" fmla="*/ 1158501 h 6386516"/>
              <a:gd name="connsiteX6677" fmla="*/ 2698936 w 6789110"/>
              <a:gd name="connsiteY6677" fmla="*/ 1158501 h 6386516"/>
              <a:gd name="connsiteX6678" fmla="*/ 2702786 w 6789110"/>
              <a:gd name="connsiteY6678" fmla="*/ 1160426 h 6386516"/>
              <a:gd name="connsiteX6679" fmla="*/ 2700862 w 6789110"/>
              <a:gd name="connsiteY6679" fmla="*/ 1162351 h 6386516"/>
              <a:gd name="connsiteX6680" fmla="*/ 2698936 w 6789110"/>
              <a:gd name="connsiteY6680" fmla="*/ 1158501 h 6386516"/>
              <a:gd name="connsiteX6681" fmla="*/ 2666215 w 6789110"/>
              <a:gd name="connsiteY6681" fmla="*/ 1158501 h 6386516"/>
              <a:gd name="connsiteX6682" fmla="*/ 2666215 w 6789110"/>
              <a:gd name="connsiteY6682" fmla="*/ 1160426 h 6386516"/>
              <a:gd name="connsiteX6683" fmla="*/ 2670064 w 6789110"/>
              <a:gd name="connsiteY6683" fmla="*/ 1160426 h 6386516"/>
              <a:gd name="connsiteX6684" fmla="*/ 2670064 w 6789110"/>
              <a:gd name="connsiteY6684" fmla="*/ 1158501 h 6386516"/>
              <a:gd name="connsiteX6685" fmla="*/ 2673914 w 6789110"/>
              <a:gd name="connsiteY6685" fmla="*/ 1156577 h 6386516"/>
              <a:gd name="connsiteX6686" fmla="*/ 2675839 w 6789110"/>
              <a:gd name="connsiteY6686" fmla="*/ 1158501 h 6386516"/>
              <a:gd name="connsiteX6687" fmla="*/ 2675839 w 6789110"/>
              <a:gd name="connsiteY6687" fmla="*/ 1156577 h 6386516"/>
              <a:gd name="connsiteX6688" fmla="*/ 2706636 w 6789110"/>
              <a:gd name="connsiteY6688" fmla="*/ 1154652 h 6386516"/>
              <a:gd name="connsiteX6689" fmla="*/ 2708560 w 6789110"/>
              <a:gd name="connsiteY6689" fmla="*/ 1156577 h 6386516"/>
              <a:gd name="connsiteX6690" fmla="*/ 2710485 w 6789110"/>
              <a:gd name="connsiteY6690" fmla="*/ 1154652 h 6386516"/>
              <a:gd name="connsiteX6691" fmla="*/ 5349371 w 6789110"/>
              <a:gd name="connsiteY6691" fmla="*/ 1152795 h 6386516"/>
              <a:gd name="connsiteX6692" fmla="*/ 5241582 w 6789110"/>
              <a:gd name="connsiteY6692" fmla="*/ 1204761 h 6386516"/>
              <a:gd name="connsiteX6693" fmla="*/ 5266604 w 6789110"/>
              <a:gd name="connsiteY6693" fmla="*/ 1212461 h 6386516"/>
              <a:gd name="connsiteX6694" fmla="*/ 5349371 w 6789110"/>
              <a:gd name="connsiteY6694" fmla="*/ 1152795 h 6386516"/>
              <a:gd name="connsiteX6695" fmla="*/ 2734865 w 6789110"/>
              <a:gd name="connsiteY6695" fmla="*/ 1152086 h 6386516"/>
              <a:gd name="connsiteX6696" fmla="*/ 2735507 w 6789110"/>
              <a:gd name="connsiteY6696" fmla="*/ 1152727 h 6386516"/>
              <a:gd name="connsiteX6697" fmla="*/ 2735507 w 6789110"/>
              <a:gd name="connsiteY6697" fmla="*/ 1154652 h 6386516"/>
              <a:gd name="connsiteX6698" fmla="*/ 2737433 w 6789110"/>
              <a:gd name="connsiteY6698" fmla="*/ 1156577 h 6386516"/>
              <a:gd name="connsiteX6699" fmla="*/ 2733582 w 6789110"/>
              <a:gd name="connsiteY6699" fmla="*/ 1156577 h 6386516"/>
              <a:gd name="connsiteX6700" fmla="*/ 2733582 w 6789110"/>
              <a:gd name="connsiteY6700" fmla="*/ 1152727 h 6386516"/>
              <a:gd name="connsiteX6701" fmla="*/ 2731659 w 6789110"/>
              <a:gd name="connsiteY6701" fmla="*/ 1148877 h 6386516"/>
              <a:gd name="connsiteX6702" fmla="*/ 2733582 w 6789110"/>
              <a:gd name="connsiteY6702" fmla="*/ 1150802 h 6386516"/>
              <a:gd name="connsiteX6703" fmla="*/ 2733582 w 6789110"/>
              <a:gd name="connsiteY6703" fmla="*/ 1152727 h 6386516"/>
              <a:gd name="connsiteX6704" fmla="*/ 2729733 w 6789110"/>
              <a:gd name="connsiteY6704" fmla="*/ 1150803 h 6386516"/>
              <a:gd name="connsiteX6705" fmla="*/ 2695087 w 6789110"/>
              <a:gd name="connsiteY6705" fmla="*/ 1146954 h 6386516"/>
              <a:gd name="connsiteX6706" fmla="*/ 2693162 w 6789110"/>
              <a:gd name="connsiteY6706" fmla="*/ 1148877 h 6386516"/>
              <a:gd name="connsiteX6707" fmla="*/ 2695087 w 6789110"/>
              <a:gd name="connsiteY6707" fmla="*/ 1150803 h 6386516"/>
              <a:gd name="connsiteX6708" fmla="*/ 2698936 w 6789110"/>
              <a:gd name="connsiteY6708" fmla="*/ 1150803 h 6386516"/>
              <a:gd name="connsiteX6709" fmla="*/ 2702786 w 6789110"/>
              <a:gd name="connsiteY6709" fmla="*/ 1148877 h 6386516"/>
              <a:gd name="connsiteX6710" fmla="*/ 2700862 w 6789110"/>
              <a:gd name="connsiteY6710" fmla="*/ 1146954 h 6386516"/>
              <a:gd name="connsiteX6711" fmla="*/ 2697012 w 6789110"/>
              <a:gd name="connsiteY6711" fmla="*/ 1148877 h 6386516"/>
              <a:gd name="connsiteX6712" fmla="*/ 2781703 w 6789110"/>
              <a:gd name="connsiteY6712" fmla="*/ 1145028 h 6386516"/>
              <a:gd name="connsiteX6713" fmla="*/ 2779777 w 6789110"/>
              <a:gd name="connsiteY6713" fmla="*/ 1148877 h 6386516"/>
              <a:gd name="connsiteX6714" fmla="*/ 2781703 w 6789110"/>
              <a:gd name="connsiteY6714" fmla="*/ 1150803 h 6386516"/>
              <a:gd name="connsiteX6715" fmla="*/ 2779777 w 6789110"/>
              <a:gd name="connsiteY6715" fmla="*/ 1152727 h 6386516"/>
              <a:gd name="connsiteX6716" fmla="*/ 2781703 w 6789110"/>
              <a:gd name="connsiteY6716" fmla="*/ 1154652 h 6386516"/>
              <a:gd name="connsiteX6717" fmla="*/ 2783627 w 6789110"/>
              <a:gd name="connsiteY6717" fmla="*/ 1156577 h 6386516"/>
              <a:gd name="connsiteX6718" fmla="*/ 2783627 w 6789110"/>
              <a:gd name="connsiteY6718" fmla="*/ 1150803 h 6386516"/>
              <a:gd name="connsiteX6719" fmla="*/ 2785552 w 6789110"/>
              <a:gd name="connsiteY6719" fmla="*/ 1148877 h 6386516"/>
              <a:gd name="connsiteX6720" fmla="*/ 2785552 w 6789110"/>
              <a:gd name="connsiteY6720" fmla="*/ 1145028 h 6386516"/>
              <a:gd name="connsiteX6721" fmla="*/ 2808649 w 6789110"/>
              <a:gd name="connsiteY6721" fmla="*/ 1141179 h 6386516"/>
              <a:gd name="connsiteX6722" fmla="*/ 2804799 w 6789110"/>
              <a:gd name="connsiteY6722" fmla="*/ 1143103 h 6386516"/>
              <a:gd name="connsiteX6723" fmla="*/ 2808649 w 6789110"/>
              <a:gd name="connsiteY6723" fmla="*/ 1145028 h 6386516"/>
              <a:gd name="connsiteX6724" fmla="*/ 2728714 w 6789110"/>
              <a:gd name="connsiteY6724" fmla="*/ 1139253 h 6386516"/>
              <a:gd name="connsiteX6725" fmla="*/ 2729733 w 6789110"/>
              <a:gd name="connsiteY6725" fmla="*/ 1139253 h 6386516"/>
              <a:gd name="connsiteX6726" fmla="*/ 2728770 w 6789110"/>
              <a:gd name="connsiteY6726" fmla="*/ 1139494 h 6386516"/>
              <a:gd name="connsiteX6727" fmla="*/ 2798545 w 6789110"/>
              <a:gd name="connsiteY6727" fmla="*/ 1138773 h 6386516"/>
              <a:gd name="connsiteX6728" fmla="*/ 2799025 w 6789110"/>
              <a:gd name="connsiteY6728" fmla="*/ 1141179 h 6386516"/>
              <a:gd name="connsiteX6729" fmla="*/ 2799025 w 6789110"/>
              <a:gd name="connsiteY6729" fmla="*/ 1145028 h 6386516"/>
              <a:gd name="connsiteX6730" fmla="*/ 2802875 w 6789110"/>
              <a:gd name="connsiteY6730" fmla="*/ 1141179 h 6386516"/>
              <a:gd name="connsiteX6731" fmla="*/ 2800950 w 6789110"/>
              <a:gd name="connsiteY6731" fmla="*/ 1141179 h 6386516"/>
              <a:gd name="connsiteX6732" fmla="*/ 2800950 w 6789110"/>
              <a:gd name="connsiteY6732" fmla="*/ 1139253 h 6386516"/>
              <a:gd name="connsiteX6733" fmla="*/ 2798545 w 6789110"/>
              <a:gd name="connsiteY6733" fmla="*/ 1138773 h 6386516"/>
              <a:gd name="connsiteX6734" fmla="*/ 2687389 w 6789110"/>
              <a:gd name="connsiteY6734" fmla="*/ 1137330 h 6386516"/>
              <a:gd name="connsiteX6735" fmla="*/ 2685463 w 6789110"/>
              <a:gd name="connsiteY6735" fmla="*/ 1139253 h 6386516"/>
              <a:gd name="connsiteX6736" fmla="*/ 2687389 w 6789110"/>
              <a:gd name="connsiteY6736" fmla="*/ 1141179 h 6386516"/>
              <a:gd name="connsiteX6737" fmla="*/ 2780596 w 6789110"/>
              <a:gd name="connsiteY6737" fmla="*/ 1136224 h 6386516"/>
              <a:gd name="connsiteX6738" fmla="*/ 2779056 w 6789110"/>
              <a:gd name="connsiteY6738" fmla="*/ 1137343 h 6386516"/>
              <a:gd name="connsiteX6739" fmla="*/ 2777853 w 6789110"/>
              <a:gd name="connsiteY6739" fmla="*/ 1139268 h 6386516"/>
              <a:gd name="connsiteX6740" fmla="*/ 2774017 w 6789110"/>
              <a:gd name="connsiteY6740" fmla="*/ 1139268 h 6386516"/>
              <a:gd name="connsiteX6741" fmla="*/ 2775928 w 6789110"/>
              <a:gd name="connsiteY6741" fmla="*/ 1141179 h 6386516"/>
              <a:gd name="connsiteX6742" fmla="*/ 2775904 w 6789110"/>
              <a:gd name="connsiteY6742" fmla="*/ 1141190 h 6386516"/>
              <a:gd name="connsiteX6743" fmla="*/ 2775929 w 6789110"/>
              <a:gd name="connsiteY6743" fmla="*/ 1141193 h 6386516"/>
              <a:gd name="connsiteX6744" fmla="*/ 2775899 w 6789110"/>
              <a:gd name="connsiteY6744" fmla="*/ 1141193 h 6386516"/>
              <a:gd name="connsiteX6745" fmla="*/ 2774004 w 6789110"/>
              <a:gd name="connsiteY6745" fmla="*/ 1142141 h 6386516"/>
              <a:gd name="connsiteX6746" fmla="*/ 2774004 w 6789110"/>
              <a:gd name="connsiteY6746" fmla="*/ 1143118 h 6386516"/>
              <a:gd name="connsiteX6747" fmla="*/ 2772097 w 6789110"/>
              <a:gd name="connsiteY6747" fmla="*/ 1143118 h 6386516"/>
              <a:gd name="connsiteX6748" fmla="*/ 2774243 w 6789110"/>
              <a:gd name="connsiteY6748" fmla="*/ 1144788 h 6386516"/>
              <a:gd name="connsiteX6749" fmla="*/ 2777853 w 6789110"/>
              <a:gd name="connsiteY6749" fmla="*/ 1145028 h 6386516"/>
              <a:gd name="connsiteX6750" fmla="*/ 2781703 w 6789110"/>
              <a:gd name="connsiteY6750" fmla="*/ 1141179 h 6386516"/>
              <a:gd name="connsiteX6751" fmla="*/ 2781703 w 6789110"/>
              <a:gd name="connsiteY6751" fmla="*/ 1137330 h 6386516"/>
              <a:gd name="connsiteX6752" fmla="*/ 2727808 w 6789110"/>
              <a:gd name="connsiteY6752" fmla="*/ 1135405 h 6386516"/>
              <a:gd name="connsiteX6753" fmla="*/ 2729733 w 6789110"/>
              <a:gd name="connsiteY6753" fmla="*/ 1139253 h 6386516"/>
              <a:gd name="connsiteX6754" fmla="*/ 2728400 w 6789110"/>
              <a:gd name="connsiteY6754" fmla="*/ 1137922 h 6386516"/>
              <a:gd name="connsiteX6755" fmla="*/ 3950530 w 6789110"/>
              <a:gd name="connsiteY6755" fmla="*/ 1134751 h 6386516"/>
              <a:gd name="connsiteX6756" fmla="*/ 3971222 w 6789110"/>
              <a:gd name="connsiteY6756" fmla="*/ 1147021 h 6386516"/>
              <a:gd name="connsiteX6757" fmla="*/ 3930800 w 6789110"/>
              <a:gd name="connsiteY6757" fmla="*/ 1150870 h 6386516"/>
              <a:gd name="connsiteX6758" fmla="*/ 3932725 w 6789110"/>
              <a:gd name="connsiteY6758" fmla="*/ 1135473 h 6386516"/>
              <a:gd name="connsiteX6759" fmla="*/ 3950530 w 6789110"/>
              <a:gd name="connsiteY6759" fmla="*/ 1134751 h 6386516"/>
              <a:gd name="connsiteX6760" fmla="*/ 2698936 w 6789110"/>
              <a:gd name="connsiteY6760" fmla="*/ 1133479 h 6386516"/>
              <a:gd name="connsiteX6761" fmla="*/ 2698936 w 6789110"/>
              <a:gd name="connsiteY6761" fmla="*/ 1137330 h 6386516"/>
              <a:gd name="connsiteX6762" fmla="*/ 2702786 w 6789110"/>
              <a:gd name="connsiteY6762" fmla="*/ 1135405 h 6386516"/>
              <a:gd name="connsiteX6763" fmla="*/ 2799025 w 6789110"/>
              <a:gd name="connsiteY6763" fmla="*/ 1131555 h 6386516"/>
              <a:gd name="connsiteX6764" fmla="*/ 2793251 w 6789110"/>
              <a:gd name="connsiteY6764" fmla="*/ 1133479 h 6386516"/>
              <a:gd name="connsiteX6765" fmla="*/ 2795176 w 6789110"/>
              <a:gd name="connsiteY6765" fmla="*/ 1135405 h 6386516"/>
              <a:gd name="connsiteX6766" fmla="*/ 2797100 w 6789110"/>
              <a:gd name="connsiteY6766" fmla="*/ 1137330 h 6386516"/>
              <a:gd name="connsiteX6767" fmla="*/ 2799025 w 6789110"/>
              <a:gd name="connsiteY6767" fmla="*/ 1135405 h 6386516"/>
              <a:gd name="connsiteX6768" fmla="*/ 2802875 w 6789110"/>
              <a:gd name="connsiteY6768" fmla="*/ 1135405 h 6386516"/>
              <a:gd name="connsiteX6769" fmla="*/ 2799025 w 6789110"/>
              <a:gd name="connsiteY6769" fmla="*/ 1131555 h 6386516"/>
              <a:gd name="connsiteX6770" fmla="*/ 2770155 w 6789110"/>
              <a:gd name="connsiteY6770" fmla="*/ 1129631 h 6386516"/>
              <a:gd name="connsiteX6771" fmla="*/ 2770155 w 6789110"/>
              <a:gd name="connsiteY6771" fmla="*/ 1131557 h 6386516"/>
              <a:gd name="connsiteX6772" fmla="*/ 2768230 w 6789110"/>
              <a:gd name="connsiteY6772" fmla="*/ 1131557 h 6386516"/>
              <a:gd name="connsiteX6773" fmla="*/ 2745131 w 6789110"/>
              <a:gd name="connsiteY6773" fmla="*/ 1127706 h 6386516"/>
              <a:gd name="connsiteX6774" fmla="*/ 2739357 w 6789110"/>
              <a:gd name="connsiteY6774" fmla="*/ 1131555 h 6386516"/>
              <a:gd name="connsiteX6775" fmla="*/ 2747056 w 6789110"/>
              <a:gd name="connsiteY6775" fmla="*/ 1127706 h 6386516"/>
              <a:gd name="connsiteX6776" fmla="*/ 2720109 w 6789110"/>
              <a:gd name="connsiteY6776" fmla="*/ 1125781 h 6386516"/>
              <a:gd name="connsiteX6777" fmla="*/ 2722034 w 6789110"/>
              <a:gd name="connsiteY6777" fmla="*/ 1131555 h 6386516"/>
              <a:gd name="connsiteX6778" fmla="*/ 2725883 w 6789110"/>
              <a:gd name="connsiteY6778" fmla="*/ 1129629 h 6386516"/>
              <a:gd name="connsiteX6779" fmla="*/ 2720109 w 6789110"/>
              <a:gd name="connsiteY6779" fmla="*/ 1125781 h 6386516"/>
              <a:gd name="connsiteX6780" fmla="*/ 2772080 w 6789110"/>
              <a:gd name="connsiteY6780" fmla="*/ 1123870 h 6386516"/>
              <a:gd name="connsiteX6781" fmla="*/ 2774004 w 6789110"/>
              <a:gd name="connsiteY6781" fmla="*/ 1123870 h 6386516"/>
              <a:gd name="connsiteX6782" fmla="*/ 2775929 w 6789110"/>
              <a:gd name="connsiteY6782" fmla="*/ 1127719 h 6386516"/>
              <a:gd name="connsiteX6783" fmla="*/ 2772080 w 6789110"/>
              <a:gd name="connsiteY6783" fmla="*/ 1127719 h 6386516"/>
              <a:gd name="connsiteX6784" fmla="*/ 2770155 w 6789110"/>
              <a:gd name="connsiteY6784" fmla="*/ 1125795 h 6386516"/>
              <a:gd name="connsiteX6785" fmla="*/ 2772080 w 6789110"/>
              <a:gd name="connsiteY6785" fmla="*/ 1123870 h 6386516"/>
              <a:gd name="connsiteX6786" fmla="*/ 2756680 w 6789110"/>
              <a:gd name="connsiteY6786" fmla="*/ 1121931 h 6386516"/>
              <a:gd name="connsiteX6787" fmla="*/ 2754755 w 6789110"/>
              <a:gd name="connsiteY6787" fmla="*/ 1125781 h 6386516"/>
              <a:gd name="connsiteX6788" fmla="*/ 2758605 w 6789110"/>
              <a:gd name="connsiteY6788" fmla="*/ 1125781 h 6386516"/>
              <a:gd name="connsiteX6789" fmla="*/ 2747056 w 6789110"/>
              <a:gd name="connsiteY6789" fmla="*/ 1120006 h 6386516"/>
              <a:gd name="connsiteX6790" fmla="*/ 2737433 w 6789110"/>
              <a:gd name="connsiteY6790" fmla="*/ 1121931 h 6386516"/>
              <a:gd name="connsiteX6791" fmla="*/ 2737433 w 6789110"/>
              <a:gd name="connsiteY6791" fmla="*/ 1123856 h 6386516"/>
              <a:gd name="connsiteX6792" fmla="*/ 2735507 w 6789110"/>
              <a:gd name="connsiteY6792" fmla="*/ 1125781 h 6386516"/>
              <a:gd name="connsiteX6793" fmla="*/ 2739357 w 6789110"/>
              <a:gd name="connsiteY6793" fmla="*/ 1125781 h 6386516"/>
              <a:gd name="connsiteX6794" fmla="*/ 2741282 w 6789110"/>
              <a:gd name="connsiteY6794" fmla="*/ 1125781 h 6386516"/>
              <a:gd name="connsiteX6795" fmla="*/ 2747056 w 6789110"/>
              <a:gd name="connsiteY6795" fmla="*/ 1120006 h 6386516"/>
              <a:gd name="connsiteX6796" fmla="*/ 2735507 w 6789110"/>
              <a:gd name="connsiteY6796" fmla="*/ 1116157 h 6386516"/>
              <a:gd name="connsiteX6797" fmla="*/ 2737433 w 6789110"/>
              <a:gd name="connsiteY6797" fmla="*/ 1118082 h 6386516"/>
              <a:gd name="connsiteX6798" fmla="*/ 2739357 w 6789110"/>
              <a:gd name="connsiteY6798" fmla="*/ 1116157 h 6386516"/>
              <a:gd name="connsiteX6799" fmla="*/ 2758605 w 6789110"/>
              <a:gd name="connsiteY6799" fmla="*/ 1112307 h 6386516"/>
              <a:gd name="connsiteX6800" fmla="*/ 2756680 w 6789110"/>
              <a:gd name="connsiteY6800" fmla="*/ 1116157 h 6386516"/>
              <a:gd name="connsiteX6801" fmla="*/ 2760530 w 6789110"/>
              <a:gd name="connsiteY6801" fmla="*/ 1116157 h 6386516"/>
              <a:gd name="connsiteX6802" fmla="*/ 2762454 w 6789110"/>
              <a:gd name="connsiteY6802" fmla="*/ 1114232 h 6386516"/>
              <a:gd name="connsiteX6803" fmla="*/ 2770154 w 6789110"/>
              <a:gd name="connsiteY6803" fmla="*/ 1110383 h 6386516"/>
              <a:gd name="connsiteX6804" fmla="*/ 2764379 w 6789110"/>
              <a:gd name="connsiteY6804" fmla="*/ 1114232 h 6386516"/>
              <a:gd name="connsiteX6805" fmla="*/ 2764379 w 6789110"/>
              <a:gd name="connsiteY6805" fmla="*/ 1116157 h 6386516"/>
              <a:gd name="connsiteX6806" fmla="*/ 2770154 w 6789110"/>
              <a:gd name="connsiteY6806" fmla="*/ 1116157 h 6386516"/>
              <a:gd name="connsiteX6807" fmla="*/ 2768230 w 6789110"/>
              <a:gd name="connsiteY6807" fmla="*/ 1114232 h 6386516"/>
              <a:gd name="connsiteX6808" fmla="*/ 2770154 w 6789110"/>
              <a:gd name="connsiteY6808" fmla="*/ 1112307 h 6386516"/>
              <a:gd name="connsiteX6809" fmla="*/ 2770154 w 6789110"/>
              <a:gd name="connsiteY6809" fmla="*/ 1110383 h 6386516"/>
              <a:gd name="connsiteX6810" fmla="*/ 2774773 w 6789110"/>
              <a:gd name="connsiteY6810" fmla="*/ 1111922 h 6386516"/>
              <a:gd name="connsiteX6811" fmla="*/ 2775928 w 6789110"/>
              <a:gd name="connsiteY6811" fmla="*/ 1114232 h 6386516"/>
              <a:gd name="connsiteX6812" fmla="*/ 2776890 w 6789110"/>
              <a:gd name="connsiteY6812" fmla="*/ 1115194 h 6386516"/>
              <a:gd name="connsiteX6813" fmla="*/ 2775928 w 6789110"/>
              <a:gd name="connsiteY6813" fmla="*/ 1116157 h 6386516"/>
              <a:gd name="connsiteX6814" fmla="*/ 2777853 w 6789110"/>
              <a:gd name="connsiteY6814" fmla="*/ 1116157 h 6386516"/>
              <a:gd name="connsiteX6815" fmla="*/ 2776890 w 6789110"/>
              <a:gd name="connsiteY6815" fmla="*/ 1115194 h 6386516"/>
              <a:gd name="connsiteX6816" fmla="*/ 2777853 w 6789110"/>
              <a:gd name="connsiteY6816" fmla="*/ 1114232 h 6386516"/>
              <a:gd name="connsiteX6817" fmla="*/ 2775928 w 6789110"/>
              <a:gd name="connsiteY6817" fmla="*/ 1112307 h 6386516"/>
              <a:gd name="connsiteX6818" fmla="*/ 2774773 w 6789110"/>
              <a:gd name="connsiteY6818" fmla="*/ 1111922 h 6386516"/>
              <a:gd name="connsiteX6819" fmla="*/ 2774003 w 6789110"/>
              <a:gd name="connsiteY6819" fmla="*/ 1110383 h 6386516"/>
              <a:gd name="connsiteX6820" fmla="*/ 2770154 w 6789110"/>
              <a:gd name="connsiteY6820" fmla="*/ 1110383 h 6386516"/>
              <a:gd name="connsiteX6821" fmla="*/ 2764379 w 6789110"/>
              <a:gd name="connsiteY6821" fmla="*/ 1104608 h 6386516"/>
              <a:gd name="connsiteX6822" fmla="*/ 2760530 w 6789110"/>
              <a:gd name="connsiteY6822" fmla="*/ 1108458 h 6386516"/>
              <a:gd name="connsiteX6823" fmla="*/ 2762454 w 6789110"/>
              <a:gd name="connsiteY6823" fmla="*/ 1108458 h 6386516"/>
              <a:gd name="connsiteX6824" fmla="*/ 2138824 w 6789110"/>
              <a:gd name="connsiteY6824" fmla="*/ 1102684 h 6386516"/>
              <a:gd name="connsiteX6825" fmla="*/ 2127274 w 6789110"/>
              <a:gd name="connsiteY6825" fmla="*/ 1114233 h 6386516"/>
              <a:gd name="connsiteX6826" fmla="*/ 2123425 w 6789110"/>
              <a:gd name="connsiteY6826" fmla="*/ 1110384 h 6386516"/>
              <a:gd name="connsiteX6827" fmla="*/ 2138824 w 6789110"/>
              <a:gd name="connsiteY6827" fmla="*/ 1102684 h 6386516"/>
              <a:gd name="connsiteX6828" fmla="*/ 1902077 w 6789110"/>
              <a:gd name="connsiteY6828" fmla="*/ 1054574 h 6386516"/>
              <a:gd name="connsiteX6829" fmla="*/ 1905925 w 6789110"/>
              <a:gd name="connsiteY6829" fmla="*/ 1056499 h 6386516"/>
              <a:gd name="connsiteX6830" fmla="*/ 1905925 w 6789110"/>
              <a:gd name="connsiteY6830" fmla="*/ 1062273 h 6386516"/>
              <a:gd name="connsiteX6831" fmla="*/ 1902077 w 6789110"/>
              <a:gd name="connsiteY6831" fmla="*/ 1062273 h 6386516"/>
              <a:gd name="connsiteX6832" fmla="*/ 2113803 w 6789110"/>
              <a:gd name="connsiteY6832" fmla="*/ 1046878 h 6386516"/>
              <a:gd name="connsiteX6833" fmla="*/ 2109952 w 6789110"/>
              <a:gd name="connsiteY6833" fmla="*/ 1058428 h 6386516"/>
              <a:gd name="connsiteX6834" fmla="*/ 2102253 w 6789110"/>
              <a:gd name="connsiteY6834" fmla="*/ 1056503 h 6386516"/>
              <a:gd name="connsiteX6835" fmla="*/ 2113803 w 6789110"/>
              <a:gd name="connsiteY6835" fmla="*/ 1046878 h 6386516"/>
              <a:gd name="connsiteX6836" fmla="*/ 5041405 w 6789110"/>
              <a:gd name="connsiteY6836" fmla="*/ 1035384 h 6386516"/>
              <a:gd name="connsiteX6837" fmla="*/ 4991360 w 6789110"/>
              <a:gd name="connsiteY6837" fmla="*/ 1127773 h 6386516"/>
              <a:gd name="connsiteX6838" fmla="*/ 5012533 w 6789110"/>
              <a:gd name="connsiteY6838" fmla="*/ 1110450 h 6386516"/>
              <a:gd name="connsiteX6839" fmla="*/ 4993285 w 6789110"/>
              <a:gd name="connsiteY6839" fmla="*/ 1141246 h 6386516"/>
              <a:gd name="connsiteX6840" fmla="*/ 5006758 w 6789110"/>
              <a:gd name="connsiteY6840" fmla="*/ 1148945 h 6386516"/>
              <a:gd name="connsiteX6841" fmla="*/ 5068351 w 6789110"/>
              <a:gd name="connsiteY6841" fmla="*/ 1037308 h 6386516"/>
              <a:gd name="connsiteX6842" fmla="*/ 5041405 w 6789110"/>
              <a:gd name="connsiteY6842" fmla="*/ 1035384 h 6386516"/>
              <a:gd name="connsiteX6843" fmla="*/ 4975962 w 6789110"/>
              <a:gd name="connsiteY6843" fmla="*/ 1029609 h 6386516"/>
              <a:gd name="connsiteX6844" fmla="*/ 4947090 w 6789110"/>
              <a:gd name="connsiteY6844" fmla="*/ 1096978 h 6386516"/>
              <a:gd name="connsiteX6845" fmla="*/ 4989435 w 6789110"/>
              <a:gd name="connsiteY6845" fmla="*/ 1031534 h 6386516"/>
              <a:gd name="connsiteX6846" fmla="*/ 4975962 w 6789110"/>
              <a:gd name="connsiteY6846" fmla="*/ 1029609 h 6386516"/>
              <a:gd name="connsiteX6847" fmla="*/ 5560856 w 6789110"/>
              <a:gd name="connsiteY6847" fmla="*/ 954780 h 6386516"/>
              <a:gd name="connsiteX6848" fmla="*/ 5574570 w 6789110"/>
              <a:gd name="connsiteY6848" fmla="*/ 964163 h 6386516"/>
              <a:gd name="connsiteX6849" fmla="*/ 5557247 w 6789110"/>
              <a:gd name="connsiteY6849" fmla="*/ 964163 h 6386516"/>
              <a:gd name="connsiteX6850" fmla="*/ 5560856 w 6789110"/>
              <a:gd name="connsiteY6850" fmla="*/ 954780 h 6386516"/>
              <a:gd name="connsiteX6851" fmla="*/ 5056803 w 6789110"/>
              <a:gd name="connsiteY6851" fmla="*/ 946840 h 6386516"/>
              <a:gd name="connsiteX6852" fmla="*/ 5024082 w 6789110"/>
              <a:gd name="connsiteY6852" fmla="*/ 1012285 h 6386516"/>
              <a:gd name="connsiteX6853" fmla="*/ 5024082 w 6789110"/>
              <a:gd name="connsiteY6853" fmla="*/ 1008436 h 6386516"/>
              <a:gd name="connsiteX6854" fmla="*/ 5022157 w 6789110"/>
              <a:gd name="connsiteY6854" fmla="*/ 1012285 h 6386516"/>
              <a:gd name="connsiteX6855" fmla="*/ 5024082 w 6789110"/>
              <a:gd name="connsiteY6855" fmla="*/ 1012285 h 6386516"/>
              <a:gd name="connsiteX6856" fmla="*/ 5027931 w 6789110"/>
              <a:gd name="connsiteY6856" fmla="*/ 1019985 h 6386516"/>
              <a:gd name="connsiteX6857" fmla="*/ 5056803 w 6789110"/>
              <a:gd name="connsiteY6857" fmla="*/ 946840 h 6386516"/>
              <a:gd name="connsiteX6858" fmla="*/ 2579600 w 6789110"/>
              <a:gd name="connsiteY6858" fmla="*/ 937219 h 6386516"/>
              <a:gd name="connsiteX6859" fmla="*/ 2487210 w 6789110"/>
              <a:gd name="connsiteY6859" fmla="*/ 1123927 h 6386516"/>
              <a:gd name="connsiteX6860" fmla="*/ 2579600 w 6789110"/>
              <a:gd name="connsiteY6860" fmla="*/ 937219 h 6386516"/>
              <a:gd name="connsiteX6861" fmla="*/ 1982916 w 6789110"/>
              <a:gd name="connsiteY6861" fmla="*/ 923677 h 6386516"/>
              <a:gd name="connsiteX6862" fmla="*/ 1984840 w 6789110"/>
              <a:gd name="connsiteY6862" fmla="*/ 923677 h 6386516"/>
              <a:gd name="connsiteX6863" fmla="*/ 1984840 w 6789110"/>
              <a:gd name="connsiteY6863" fmla="*/ 929452 h 6386516"/>
              <a:gd name="connsiteX6864" fmla="*/ 1979066 w 6789110"/>
              <a:gd name="connsiteY6864" fmla="*/ 925602 h 6386516"/>
              <a:gd name="connsiteX6865" fmla="*/ 5035630 w 6789110"/>
              <a:gd name="connsiteY6865" fmla="*/ 885226 h 6386516"/>
              <a:gd name="connsiteX6866" fmla="*/ 5020232 w 6789110"/>
              <a:gd name="connsiteY6866" fmla="*/ 891001 h 6386516"/>
              <a:gd name="connsiteX6867" fmla="*/ 4983661 w 6789110"/>
              <a:gd name="connsiteY6867" fmla="*/ 1006511 h 6386516"/>
              <a:gd name="connsiteX6868" fmla="*/ 4987510 w 6789110"/>
              <a:gd name="connsiteY6868" fmla="*/ 1014211 h 6386516"/>
              <a:gd name="connsiteX6869" fmla="*/ 4995210 w 6789110"/>
              <a:gd name="connsiteY6869" fmla="*/ 1018060 h 6386516"/>
              <a:gd name="connsiteX6870" fmla="*/ 5035630 w 6789110"/>
              <a:gd name="connsiteY6870" fmla="*/ 885226 h 6386516"/>
              <a:gd name="connsiteX6871" fmla="*/ 5066427 w 6789110"/>
              <a:gd name="connsiteY6871" fmla="*/ 879452 h 6386516"/>
              <a:gd name="connsiteX6872" fmla="*/ 5051028 w 6789110"/>
              <a:gd name="connsiteY6872" fmla="*/ 885226 h 6386516"/>
              <a:gd name="connsiteX6873" fmla="*/ 5033706 w 6789110"/>
              <a:gd name="connsiteY6873" fmla="*/ 966088 h 6386516"/>
              <a:gd name="connsiteX6874" fmla="*/ 5062577 w 6789110"/>
              <a:gd name="connsiteY6874" fmla="*/ 908324 h 6386516"/>
              <a:gd name="connsiteX6875" fmla="*/ 5066427 w 6789110"/>
              <a:gd name="connsiteY6875" fmla="*/ 879452 h 6386516"/>
              <a:gd name="connsiteX6876" fmla="*/ 5410963 w 6789110"/>
              <a:gd name="connsiteY6876" fmla="*/ 873679 h 6386516"/>
              <a:gd name="connsiteX6877" fmla="*/ 5370543 w 6789110"/>
              <a:gd name="connsiteY6877" fmla="*/ 941067 h 6386516"/>
              <a:gd name="connsiteX6878" fmla="*/ 5376317 w 6789110"/>
              <a:gd name="connsiteY6878" fmla="*/ 917969 h 6386516"/>
              <a:gd name="connsiteX6879" fmla="*/ 5410963 w 6789110"/>
              <a:gd name="connsiteY6879" fmla="*/ 873679 h 6386516"/>
              <a:gd name="connsiteX6880" fmla="*/ 5061374 w 6789110"/>
              <a:gd name="connsiteY6880" fmla="*/ 830851 h 6386516"/>
              <a:gd name="connsiteX6881" fmla="*/ 5049104 w 6789110"/>
              <a:gd name="connsiteY6881" fmla="*/ 837106 h 6386516"/>
              <a:gd name="connsiteX6882" fmla="*/ 5052953 w 6789110"/>
              <a:gd name="connsiteY6882" fmla="*/ 846730 h 6386516"/>
              <a:gd name="connsiteX6883" fmla="*/ 5077975 w 6789110"/>
              <a:gd name="connsiteY6883" fmla="*/ 833257 h 6386516"/>
              <a:gd name="connsiteX6884" fmla="*/ 5061374 w 6789110"/>
              <a:gd name="connsiteY6884" fmla="*/ 830851 h 6386516"/>
              <a:gd name="connsiteX6885" fmla="*/ 1286144 w 6789110"/>
              <a:gd name="connsiteY6885" fmla="*/ 825509 h 6386516"/>
              <a:gd name="connsiteX6886" fmla="*/ 1365060 w 6789110"/>
              <a:gd name="connsiteY6886" fmla="*/ 854381 h 6386516"/>
              <a:gd name="connsiteX6887" fmla="*/ 1349662 w 6789110"/>
              <a:gd name="connsiteY6887" fmla="*/ 950620 h 6386516"/>
              <a:gd name="connsiteX6888" fmla="*/ 1355436 w 6789110"/>
              <a:gd name="connsiteY6888" fmla="*/ 1247037 h 6386516"/>
              <a:gd name="connsiteX6889" fmla="*/ 1359286 w 6789110"/>
              <a:gd name="connsiteY6889" fmla="*/ 1279759 h 6386516"/>
              <a:gd name="connsiteX6890" fmla="*/ 1172582 w 6789110"/>
              <a:gd name="connsiteY6890" fmla="*/ 1135400 h 6386516"/>
              <a:gd name="connsiteX6891" fmla="*/ 1161033 w 6789110"/>
              <a:gd name="connsiteY6891" fmla="*/ 1145024 h 6386516"/>
              <a:gd name="connsiteX6892" fmla="*/ 1355436 w 6789110"/>
              <a:gd name="connsiteY6892" fmla="*/ 1293232 h 6386516"/>
              <a:gd name="connsiteX6893" fmla="*/ 1359286 w 6789110"/>
              <a:gd name="connsiteY6893" fmla="*/ 1306706 h 6386516"/>
              <a:gd name="connsiteX6894" fmla="*/ 1368910 w 6789110"/>
              <a:gd name="connsiteY6894" fmla="*/ 1414494 h 6386516"/>
              <a:gd name="connsiteX6895" fmla="*/ 1361211 w 6789110"/>
              <a:gd name="connsiteY6895" fmla="*/ 1470313 h 6386516"/>
              <a:gd name="connsiteX6896" fmla="*/ 1376609 w 6789110"/>
              <a:gd name="connsiteY6896" fmla="*/ 1558854 h 6386516"/>
              <a:gd name="connsiteX6897" fmla="*/ 1343888 w 6789110"/>
              <a:gd name="connsiteY6897" fmla="*/ 1680116 h 6386516"/>
              <a:gd name="connsiteX6898" fmla="*/ 1351587 w 6789110"/>
              <a:gd name="connsiteY6898" fmla="*/ 1774429 h 6386516"/>
              <a:gd name="connsiteX6899" fmla="*/ 1409331 w 6789110"/>
              <a:gd name="connsiteY6899" fmla="*/ 1897617 h 6386516"/>
              <a:gd name="connsiteX6900" fmla="*/ 1586411 w 6789110"/>
              <a:gd name="connsiteY6900" fmla="*/ 2167087 h 6386516"/>
              <a:gd name="connsiteX6901" fmla="*/ 1586629 w 6789110"/>
              <a:gd name="connsiteY6901" fmla="*/ 2169128 h 6386516"/>
              <a:gd name="connsiteX6902" fmla="*/ 1455615 w 6789110"/>
              <a:gd name="connsiteY6902" fmla="*/ 2178005 h 6386516"/>
              <a:gd name="connsiteX6903" fmla="*/ 1010898 w 6789110"/>
              <a:gd name="connsiteY6903" fmla="*/ 2172861 h 6386516"/>
              <a:gd name="connsiteX6904" fmla="*/ 552800 w 6789110"/>
              <a:gd name="connsiteY6904" fmla="*/ 1907241 h 6386516"/>
              <a:gd name="connsiteX6905" fmla="*/ 543175 w 6789110"/>
              <a:gd name="connsiteY6905" fmla="*/ 1909165 h 6386516"/>
              <a:gd name="connsiteX6906" fmla="*/ 1026298 w 6789110"/>
              <a:gd name="connsiteY6906" fmla="*/ 2194034 h 6386516"/>
              <a:gd name="connsiteX6907" fmla="*/ 1472367 w 6789110"/>
              <a:gd name="connsiteY6907" fmla="*/ 2195930 h 6386516"/>
              <a:gd name="connsiteX6908" fmla="*/ 1586659 w 6789110"/>
              <a:gd name="connsiteY6908" fmla="*/ 2169401 h 6386516"/>
              <a:gd name="connsiteX6909" fmla="*/ 1592185 w 6789110"/>
              <a:gd name="connsiteY6909" fmla="*/ 2220981 h 6386516"/>
              <a:gd name="connsiteX6910" fmla="*/ 803021 w 6789110"/>
              <a:gd name="connsiteY6910" fmla="*/ 2174786 h 6386516"/>
              <a:gd name="connsiteX6911" fmla="*/ 903110 w 6789110"/>
              <a:gd name="connsiteY6911" fmla="*/ 2230605 h 6386516"/>
              <a:gd name="connsiteX6912" fmla="*/ 897336 w 6789110"/>
              <a:gd name="connsiteY6912" fmla="*/ 2220981 h 6386516"/>
              <a:gd name="connsiteX6913" fmla="*/ 1597960 w 6789110"/>
              <a:gd name="connsiteY6913" fmla="*/ 2240229 h 6386516"/>
              <a:gd name="connsiteX6914" fmla="*/ 1599885 w 6789110"/>
              <a:gd name="connsiteY6914" fmla="*/ 2292199 h 6386516"/>
              <a:gd name="connsiteX6915" fmla="*/ 341072 w 6789110"/>
              <a:gd name="connsiteY6915" fmla="*/ 2540496 h 6386516"/>
              <a:gd name="connsiteX6916" fmla="*/ 1597960 w 6789110"/>
              <a:gd name="connsiteY6916" fmla="*/ 2311447 h 6386516"/>
              <a:gd name="connsiteX6917" fmla="*/ 1596035 w 6789110"/>
              <a:gd name="connsiteY6917" fmla="*/ 2376889 h 6386516"/>
              <a:gd name="connsiteX6918" fmla="*/ 1584486 w 6789110"/>
              <a:gd name="connsiteY6918" fmla="*/ 2378815 h 6386516"/>
              <a:gd name="connsiteX6919" fmla="*/ 1351587 w 6789110"/>
              <a:gd name="connsiteY6919" fmla="*/ 2417309 h 6386516"/>
              <a:gd name="connsiteX6920" fmla="*/ 991652 w 6789110"/>
              <a:gd name="connsiteY6920" fmla="*/ 2548196 h 6386516"/>
              <a:gd name="connsiteX6921" fmla="*/ 866539 w 6789110"/>
              <a:gd name="connsiteY6921" fmla="*/ 2838838 h 6386516"/>
              <a:gd name="connsiteX6922" fmla="*/ 685609 w 6789110"/>
              <a:gd name="connsiteY6922" fmla="*/ 2763771 h 6386516"/>
              <a:gd name="connsiteX6923" fmla="*/ 550874 w 6789110"/>
              <a:gd name="connsiteY6923" fmla="*/ 2850387 h 6386516"/>
              <a:gd name="connsiteX6924" fmla="*/ 518153 w 6789110"/>
              <a:gd name="connsiteY6924" fmla="*/ 2783019 h 6386516"/>
              <a:gd name="connsiteX6925" fmla="*/ 701008 w 6789110"/>
              <a:gd name="connsiteY6925" fmla="*/ 2655983 h 6386516"/>
              <a:gd name="connsiteX6926" fmla="*/ 645190 w 6789110"/>
              <a:gd name="connsiteY6926" fmla="*/ 2673307 h 6386516"/>
              <a:gd name="connsiteX6927" fmla="*/ 739504 w 6789110"/>
              <a:gd name="connsiteY6927" fmla="*/ 2617487 h 6386516"/>
              <a:gd name="connsiteX6928" fmla="*/ 591295 w 6789110"/>
              <a:gd name="connsiteY6928" fmla="*/ 2682931 h 6386516"/>
              <a:gd name="connsiteX6929" fmla="*/ 618242 w 6789110"/>
              <a:gd name="connsiteY6929" fmla="*/ 2654059 h 6386516"/>
              <a:gd name="connsiteX6930" fmla="*/ 470033 w 6789110"/>
              <a:gd name="connsiteY6930" fmla="*/ 2754147 h 6386516"/>
              <a:gd name="connsiteX6931" fmla="*/ 572047 w 6789110"/>
              <a:gd name="connsiteY6931" fmla="*/ 2704103 h 6386516"/>
              <a:gd name="connsiteX6932" fmla="*/ 471958 w 6789110"/>
              <a:gd name="connsiteY6932" fmla="*/ 2788792 h 6386516"/>
              <a:gd name="connsiteX6933" fmla="*/ 402666 w 6789110"/>
              <a:gd name="connsiteY6933" fmla="*/ 2769545 h 6386516"/>
              <a:gd name="connsiteX6934" fmla="*/ 321824 w 6789110"/>
              <a:gd name="connsiteY6934" fmla="*/ 2648284 h 6386516"/>
              <a:gd name="connsiteX6935" fmla="*/ 183240 w 6789110"/>
              <a:gd name="connsiteY6935" fmla="*/ 2630961 h 6386516"/>
              <a:gd name="connsiteX6936" fmla="*/ 46580 w 6789110"/>
              <a:gd name="connsiteY6936" fmla="*/ 2475054 h 6386516"/>
              <a:gd name="connsiteX6937" fmla="*/ 2310 w 6789110"/>
              <a:gd name="connsiteY6937" fmla="*/ 2271026 h 6386516"/>
              <a:gd name="connsiteX6938" fmla="*/ 79301 w 6789110"/>
              <a:gd name="connsiteY6938" fmla="*/ 2155538 h 6386516"/>
              <a:gd name="connsiteX6939" fmla="*/ 396891 w 6789110"/>
              <a:gd name="connsiteY6939" fmla="*/ 2261403 h 6386516"/>
              <a:gd name="connsiteX6940" fmla="*/ 90850 w 6789110"/>
              <a:gd name="connsiteY6940" fmla="*/ 2145914 h 6386516"/>
              <a:gd name="connsiteX6941" fmla="*/ 10009 w 6789110"/>
              <a:gd name="connsiteY6941" fmla="*/ 2041975 h 6386516"/>
              <a:gd name="connsiteX6942" fmla="*/ 108173 w 6789110"/>
              <a:gd name="connsiteY6942" fmla="*/ 1887993 h 6386516"/>
              <a:gd name="connsiteX6943" fmla="*/ 237134 w 6789110"/>
              <a:gd name="connsiteY6943" fmla="*/ 1830249 h 6386516"/>
              <a:gd name="connsiteX6944" fmla="*/ 335298 w 6789110"/>
              <a:gd name="connsiteY6944" fmla="*/ 2080471 h 6386516"/>
              <a:gd name="connsiteX6945" fmla="*/ 239059 w 6789110"/>
              <a:gd name="connsiteY6945" fmla="*/ 1816776 h 6386516"/>
              <a:gd name="connsiteX6946" fmla="*/ 231359 w 6789110"/>
              <a:gd name="connsiteY6946" fmla="*/ 1776354 h 6386516"/>
              <a:gd name="connsiteX6947" fmla="*/ 368019 w 6789110"/>
              <a:gd name="connsiteY6947" fmla="*/ 1876444 h 6386516"/>
              <a:gd name="connsiteX6948" fmla="*/ 250607 w 6789110"/>
              <a:gd name="connsiteY6948" fmla="*/ 1764805 h 6386516"/>
              <a:gd name="connsiteX6949" fmla="*/ 267930 w 6789110"/>
              <a:gd name="connsiteY6949" fmla="*/ 1705138 h 6386516"/>
              <a:gd name="connsiteX6950" fmla="*/ 350696 w 6789110"/>
              <a:gd name="connsiteY6950" fmla="*/ 1735935 h 6386516"/>
              <a:gd name="connsiteX6951" fmla="*/ 375719 w 6789110"/>
              <a:gd name="connsiteY6951" fmla="*/ 1703212 h 6386516"/>
              <a:gd name="connsiteX6952" fmla="*/ 466184 w 6789110"/>
              <a:gd name="connsiteY6952" fmla="*/ 1722460 h 6386516"/>
              <a:gd name="connsiteX6953" fmla="*/ 493131 w 6789110"/>
              <a:gd name="connsiteY6953" fmla="*/ 1676266 h 6386516"/>
              <a:gd name="connsiteX6954" fmla="*/ 252532 w 6789110"/>
              <a:gd name="connsiteY6954" fmla="*/ 1597350 h 6386516"/>
              <a:gd name="connsiteX6955" fmla="*/ 371869 w 6789110"/>
              <a:gd name="connsiteY6955" fmla="*/ 1464538 h 6386516"/>
              <a:gd name="connsiteX6956" fmla="*/ 421913 w 6789110"/>
              <a:gd name="connsiteY6956" fmla="*/ 1393321 h 6386516"/>
              <a:gd name="connsiteX6957" fmla="*/ 475807 w 6789110"/>
              <a:gd name="connsiteY6957" fmla="*/ 1404870 h 6386516"/>
              <a:gd name="connsiteX6958" fmla="*/ 518153 w 6789110"/>
              <a:gd name="connsiteY6958" fmla="*/ 1314405 h 6386516"/>
              <a:gd name="connsiteX6959" fmla="*/ 570123 w 6789110"/>
              <a:gd name="connsiteY6959" fmla="*/ 1316330 h 6386516"/>
              <a:gd name="connsiteX6960" fmla="*/ 585521 w 6789110"/>
              <a:gd name="connsiteY6960" fmla="*/ 1264361 h 6386516"/>
              <a:gd name="connsiteX6961" fmla="*/ 735654 w 6789110"/>
              <a:gd name="connsiteY6961" fmla="*/ 1362525 h 6386516"/>
              <a:gd name="connsiteX6962" fmla="*/ 1035922 w 6789110"/>
              <a:gd name="connsiteY6962" fmla="*/ 1468388 h 6386516"/>
              <a:gd name="connsiteX6963" fmla="*/ 687535 w 6789110"/>
              <a:gd name="connsiteY6963" fmla="*/ 1256661 h 6386516"/>
              <a:gd name="connsiteX6964" fmla="*/ 939681 w 6789110"/>
              <a:gd name="connsiteY6964" fmla="*/ 1416419 h 6386516"/>
              <a:gd name="connsiteX6965" fmla="*/ 716406 w 6789110"/>
              <a:gd name="connsiteY6965" fmla="*/ 1241263 h 6386516"/>
              <a:gd name="connsiteX6966" fmla="*/ 702932 w 6789110"/>
              <a:gd name="connsiteY6966" fmla="*/ 1247037 h 6386516"/>
              <a:gd name="connsiteX6967" fmla="*/ 760676 w 6789110"/>
              <a:gd name="connsiteY6967" fmla="*/ 1177745 h 6386516"/>
              <a:gd name="connsiteX6968" fmla="*/ 812645 w 6789110"/>
              <a:gd name="connsiteY6968" fmla="*/ 1237414 h 6386516"/>
              <a:gd name="connsiteX6969" fmla="*/ 914659 w 6789110"/>
              <a:gd name="connsiteY6969" fmla="*/ 1183519 h 6386516"/>
              <a:gd name="connsiteX6970" fmla="*/ 1022447 w 6789110"/>
              <a:gd name="connsiteY6970" fmla="*/ 1108453 h 6386516"/>
              <a:gd name="connsiteX6971" fmla="*/ 1024372 w 6789110"/>
              <a:gd name="connsiteY6971" fmla="*/ 1017988 h 6386516"/>
              <a:gd name="connsiteX6972" fmla="*/ 1320790 w 6789110"/>
              <a:gd name="connsiteY6972" fmla="*/ 1191219 h 6386516"/>
              <a:gd name="connsiteX6973" fmla="*/ 1112913 w 6789110"/>
              <a:gd name="connsiteY6973" fmla="*/ 1023762 h 6386516"/>
              <a:gd name="connsiteX6974" fmla="*/ 1130236 w 6789110"/>
              <a:gd name="connsiteY6974" fmla="*/ 1002589 h 6386516"/>
              <a:gd name="connsiteX6975" fmla="*/ 1286144 w 6789110"/>
              <a:gd name="connsiteY6975" fmla="*/ 825509 h 6386516"/>
              <a:gd name="connsiteX6976" fmla="*/ 5318572 w 6789110"/>
              <a:gd name="connsiteY6976" fmla="*/ 785139 h 6386516"/>
              <a:gd name="connsiteX6977" fmla="*/ 5330121 w 6789110"/>
              <a:gd name="connsiteY6977" fmla="*/ 823635 h 6386516"/>
              <a:gd name="connsiteX6978" fmla="*/ 5226182 w 6789110"/>
              <a:gd name="connsiteY6978" fmla="*/ 858280 h 6386516"/>
              <a:gd name="connsiteX6979" fmla="*/ 5201160 w 6789110"/>
              <a:gd name="connsiteY6979" fmla="*/ 844807 h 6386516"/>
              <a:gd name="connsiteX6980" fmla="*/ 5212709 w 6789110"/>
              <a:gd name="connsiteY6980" fmla="*/ 831334 h 6386516"/>
              <a:gd name="connsiteX6981" fmla="*/ 5220408 w 6789110"/>
              <a:gd name="connsiteY6981" fmla="*/ 817860 h 6386516"/>
              <a:gd name="connsiteX6982" fmla="*/ 5318572 w 6789110"/>
              <a:gd name="connsiteY6982" fmla="*/ 785139 h 6386516"/>
              <a:gd name="connsiteX6983" fmla="*/ 1877052 w 6789110"/>
              <a:gd name="connsiteY6983" fmla="*/ 750454 h 6386516"/>
              <a:gd name="connsiteX6984" fmla="*/ 1973291 w 6789110"/>
              <a:gd name="connsiteY6984" fmla="*/ 923690 h 6386516"/>
              <a:gd name="connsiteX6985" fmla="*/ 1957893 w 6789110"/>
              <a:gd name="connsiteY6985" fmla="*/ 925615 h 6386516"/>
              <a:gd name="connsiteX6986" fmla="*/ 1877052 w 6789110"/>
              <a:gd name="connsiteY6986" fmla="*/ 750454 h 6386516"/>
              <a:gd name="connsiteX6987" fmla="*/ 1816605 w 6789110"/>
              <a:gd name="connsiteY6987" fmla="*/ 737183 h 6386516"/>
              <a:gd name="connsiteX6988" fmla="*/ 1930946 w 6789110"/>
              <a:gd name="connsiteY6988" fmla="*/ 873629 h 6386516"/>
              <a:gd name="connsiteX6989" fmla="*/ 1946345 w 6789110"/>
              <a:gd name="connsiteY6989" fmla="*/ 929447 h 6386516"/>
              <a:gd name="connsiteX6990" fmla="*/ 1938646 w 6789110"/>
              <a:gd name="connsiteY6990" fmla="*/ 933297 h 6386516"/>
              <a:gd name="connsiteX6991" fmla="*/ 1911699 w 6789110"/>
              <a:gd name="connsiteY6991" fmla="*/ 944847 h 6386516"/>
              <a:gd name="connsiteX6992" fmla="*/ 1817384 w 6789110"/>
              <a:gd name="connsiteY6992" fmla="*/ 746593 h 6386516"/>
              <a:gd name="connsiteX6993" fmla="*/ 1811610 w 6789110"/>
              <a:gd name="connsiteY6993" fmla="*/ 750442 h 6386516"/>
              <a:gd name="connsiteX6994" fmla="*/ 1894376 w 6789110"/>
              <a:gd name="connsiteY6994" fmla="*/ 952545 h 6386516"/>
              <a:gd name="connsiteX6995" fmla="*/ 1873203 w 6789110"/>
              <a:gd name="connsiteY6995" fmla="*/ 960245 h 6386516"/>
              <a:gd name="connsiteX6996" fmla="*/ 1825083 w 6789110"/>
              <a:gd name="connsiteY6996" fmla="*/ 825509 h 6386516"/>
              <a:gd name="connsiteX6997" fmla="*/ 1855880 w 6789110"/>
              <a:gd name="connsiteY6997" fmla="*/ 966019 h 6386516"/>
              <a:gd name="connsiteX6998" fmla="*/ 1850105 w 6789110"/>
              <a:gd name="connsiteY6998" fmla="*/ 967944 h 6386516"/>
              <a:gd name="connsiteX6999" fmla="*/ 1803910 w 6789110"/>
              <a:gd name="connsiteY6999" fmla="*/ 989117 h 6386516"/>
              <a:gd name="connsiteX7000" fmla="*/ 1740392 w 6789110"/>
              <a:gd name="connsiteY7000" fmla="*/ 1093055 h 6386516"/>
              <a:gd name="connsiteX7001" fmla="*/ 1686498 w 6789110"/>
              <a:gd name="connsiteY7001" fmla="*/ 1148874 h 6386516"/>
              <a:gd name="connsiteX7002" fmla="*/ 1715370 w 6789110"/>
              <a:gd name="connsiteY7002" fmla="*/ 1266286 h 6386516"/>
              <a:gd name="connsiteX7003" fmla="*/ 1724994 w 6789110"/>
              <a:gd name="connsiteY7003" fmla="*/ 1335578 h 6386516"/>
              <a:gd name="connsiteX7004" fmla="*/ 1792362 w 6789110"/>
              <a:gd name="connsiteY7004" fmla="*/ 1424118 h 6386516"/>
              <a:gd name="connsiteX7005" fmla="*/ 1834707 w 6789110"/>
              <a:gd name="connsiteY7005" fmla="*/ 1476087 h 6386516"/>
              <a:gd name="connsiteX7006" fmla="*/ 1813535 w 6789110"/>
              <a:gd name="connsiteY7006" fmla="*/ 1597349 h 6386516"/>
              <a:gd name="connsiteX7007" fmla="*/ 1690348 w 6789110"/>
              <a:gd name="connsiteY7007" fmla="*/ 1531906 h 6386516"/>
              <a:gd name="connsiteX7008" fmla="*/ 1655702 w 6789110"/>
              <a:gd name="connsiteY7008" fmla="*/ 1364449 h 6386516"/>
              <a:gd name="connsiteX7009" fmla="*/ 1621056 w 6789110"/>
              <a:gd name="connsiteY7009" fmla="*/ 1337503 h 6386516"/>
              <a:gd name="connsiteX7010" fmla="*/ 1557539 w 6789110"/>
              <a:gd name="connsiteY7010" fmla="*/ 1233565 h 6386516"/>
              <a:gd name="connsiteX7011" fmla="*/ 1557539 w 6789110"/>
              <a:gd name="connsiteY7011" fmla="*/ 862080 h 6386516"/>
              <a:gd name="connsiteX7012" fmla="*/ 1545989 w 6789110"/>
              <a:gd name="connsiteY7012" fmla="*/ 792787 h 6386516"/>
              <a:gd name="connsiteX7013" fmla="*/ 1594109 w 6789110"/>
              <a:gd name="connsiteY7013" fmla="*/ 819735 h 6386516"/>
              <a:gd name="connsiteX7014" fmla="*/ 1694197 w 6789110"/>
              <a:gd name="connsiteY7014" fmla="*/ 794712 h 6386516"/>
              <a:gd name="connsiteX7015" fmla="*/ 1821234 w 6789110"/>
              <a:gd name="connsiteY7015" fmla="*/ 823584 h 6386516"/>
              <a:gd name="connsiteX7016" fmla="*/ 1796211 w 6789110"/>
              <a:gd name="connsiteY7016" fmla="*/ 744668 h 6386516"/>
              <a:gd name="connsiteX7017" fmla="*/ 1816605 w 6789110"/>
              <a:gd name="connsiteY7017" fmla="*/ 737183 h 6386516"/>
              <a:gd name="connsiteX7018" fmla="*/ 1979066 w 6789110"/>
              <a:gd name="connsiteY7018" fmla="*/ 735047 h 6386516"/>
              <a:gd name="connsiteX7019" fmla="*/ 2208115 w 6789110"/>
              <a:gd name="connsiteY7019" fmla="*/ 748520 h 6386516"/>
              <a:gd name="connsiteX7020" fmla="*/ 2331303 w 6789110"/>
              <a:gd name="connsiteY7020" fmla="*/ 792791 h 6386516"/>
              <a:gd name="connsiteX7021" fmla="*/ 2415992 w 6789110"/>
              <a:gd name="connsiteY7021" fmla="*/ 854384 h 6386516"/>
              <a:gd name="connsiteX7022" fmla="*/ 2546878 w 6789110"/>
              <a:gd name="connsiteY7022" fmla="*/ 904428 h 6386516"/>
              <a:gd name="connsiteX7023" fmla="*/ 2383271 w 6789110"/>
              <a:gd name="connsiteY7023" fmla="*/ 1208546 h 6386516"/>
              <a:gd name="connsiteX7024" fmla="*/ 2562276 w 6789110"/>
              <a:gd name="connsiteY7024" fmla="*/ 925602 h 6386516"/>
              <a:gd name="connsiteX7025" fmla="*/ 2352475 w 6789110"/>
              <a:gd name="connsiteY7025" fmla="*/ 1308635 h 6386516"/>
              <a:gd name="connsiteX7026" fmla="*/ 2491059 w 6789110"/>
              <a:gd name="connsiteY7026" fmla="*/ 1127706 h 6386516"/>
              <a:gd name="connsiteX7027" fmla="*/ 2600772 w 6789110"/>
              <a:gd name="connsiteY7027" fmla="*/ 867857 h 6386516"/>
              <a:gd name="connsiteX7028" fmla="*/ 2693162 w 6789110"/>
              <a:gd name="connsiteY7028" fmla="*/ 914052 h 6386516"/>
              <a:gd name="connsiteX7029" fmla="*/ 2770154 w 6789110"/>
              <a:gd name="connsiteY7029" fmla="*/ 1089210 h 6386516"/>
              <a:gd name="connsiteX7030" fmla="*/ 2772078 w 6789110"/>
              <a:gd name="connsiteY7030" fmla="*/ 1091135 h 6386516"/>
              <a:gd name="connsiteX7031" fmla="*/ 2774003 w 6789110"/>
              <a:gd name="connsiteY7031" fmla="*/ 1093059 h 6386516"/>
              <a:gd name="connsiteX7032" fmla="*/ 2779777 w 6789110"/>
              <a:gd name="connsiteY7032" fmla="*/ 1098834 h 6386516"/>
              <a:gd name="connsiteX7033" fmla="*/ 2781703 w 6789110"/>
              <a:gd name="connsiteY7033" fmla="*/ 1102683 h 6386516"/>
              <a:gd name="connsiteX7034" fmla="*/ 2783627 w 6789110"/>
              <a:gd name="connsiteY7034" fmla="*/ 1102683 h 6386516"/>
              <a:gd name="connsiteX7035" fmla="*/ 2791326 w 6789110"/>
              <a:gd name="connsiteY7035" fmla="*/ 1110383 h 6386516"/>
              <a:gd name="connsiteX7036" fmla="*/ 2791326 w 6789110"/>
              <a:gd name="connsiteY7036" fmla="*/ 1112307 h 6386516"/>
              <a:gd name="connsiteX7037" fmla="*/ 2787477 w 6789110"/>
              <a:gd name="connsiteY7037" fmla="*/ 1116157 h 6386516"/>
              <a:gd name="connsiteX7038" fmla="*/ 2784843 w 6789110"/>
              <a:gd name="connsiteY7038" fmla="*/ 1117386 h 6386516"/>
              <a:gd name="connsiteX7039" fmla="*/ 2787477 w 6789110"/>
              <a:gd name="connsiteY7039" fmla="*/ 1120020 h 6386516"/>
              <a:gd name="connsiteX7040" fmla="*/ 2783627 w 6789110"/>
              <a:gd name="connsiteY7040" fmla="*/ 1120020 h 6386516"/>
              <a:gd name="connsiteX7041" fmla="*/ 2781703 w 6789110"/>
              <a:gd name="connsiteY7041" fmla="*/ 1121945 h 6386516"/>
              <a:gd name="connsiteX7042" fmla="*/ 2781703 w 6789110"/>
              <a:gd name="connsiteY7042" fmla="*/ 1123870 h 6386516"/>
              <a:gd name="connsiteX7043" fmla="*/ 2777853 w 6789110"/>
              <a:gd name="connsiteY7043" fmla="*/ 1120020 h 6386516"/>
              <a:gd name="connsiteX7044" fmla="*/ 2779778 w 6789110"/>
              <a:gd name="connsiteY7044" fmla="*/ 1118096 h 6386516"/>
              <a:gd name="connsiteX7045" fmla="*/ 2783627 w 6789110"/>
              <a:gd name="connsiteY7045" fmla="*/ 1118096 h 6386516"/>
              <a:gd name="connsiteX7046" fmla="*/ 2783627 w 6789110"/>
              <a:gd name="connsiteY7046" fmla="*/ 1117868 h 6386516"/>
              <a:gd name="connsiteX7047" fmla="*/ 2781703 w 6789110"/>
              <a:gd name="connsiteY7047" fmla="*/ 1118082 h 6386516"/>
              <a:gd name="connsiteX7048" fmla="*/ 2779777 w 6789110"/>
              <a:gd name="connsiteY7048" fmla="*/ 1118082 h 6386516"/>
              <a:gd name="connsiteX7049" fmla="*/ 2775928 w 6789110"/>
              <a:gd name="connsiteY7049" fmla="*/ 1118082 h 6386516"/>
              <a:gd name="connsiteX7050" fmla="*/ 2768230 w 6789110"/>
              <a:gd name="connsiteY7050" fmla="*/ 1121931 h 6386516"/>
              <a:gd name="connsiteX7051" fmla="*/ 2768230 w 6789110"/>
              <a:gd name="connsiteY7051" fmla="*/ 1123856 h 6386516"/>
              <a:gd name="connsiteX7052" fmla="*/ 2766304 w 6789110"/>
              <a:gd name="connsiteY7052" fmla="*/ 1125781 h 6386516"/>
              <a:gd name="connsiteX7053" fmla="*/ 2766304 w 6789110"/>
              <a:gd name="connsiteY7053" fmla="*/ 1129629 h 6386516"/>
              <a:gd name="connsiteX7054" fmla="*/ 2770154 w 6789110"/>
              <a:gd name="connsiteY7054" fmla="*/ 1129629 h 6386516"/>
              <a:gd name="connsiteX7055" fmla="*/ 2766304 w 6789110"/>
              <a:gd name="connsiteY7055" fmla="*/ 1131555 h 6386516"/>
              <a:gd name="connsiteX7056" fmla="*/ 2766304 w 6789110"/>
              <a:gd name="connsiteY7056" fmla="*/ 1133479 h 6386516"/>
              <a:gd name="connsiteX7057" fmla="*/ 2762454 w 6789110"/>
              <a:gd name="connsiteY7057" fmla="*/ 1135405 h 6386516"/>
              <a:gd name="connsiteX7058" fmla="*/ 2762454 w 6789110"/>
              <a:gd name="connsiteY7058" fmla="*/ 1133479 h 6386516"/>
              <a:gd name="connsiteX7059" fmla="*/ 2760530 w 6789110"/>
              <a:gd name="connsiteY7059" fmla="*/ 1133479 h 6386516"/>
              <a:gd name="connsiteX7060" fmla="*/ 2760530 w 6789110"/>
              <a:gd name="connsiteY7060" fmla="*/ 1131555 h 6386516"/>
              <a:gd name="connsiteX7061" fmla="*/ 2760530 w 6789110"/>
              <a:gd name="connsiteY7061" fmla="*/ 1129629 h 6386516"/>
              <a:gd name="connsiteX7062" fmla="*/ 2756680 w 6789110"/>
              <a:gd name="connsiteY7062" fmla="*/ 1129629 h 6386516"/>
              <a:gd name="connsiteX7063" fmla="*/ 2758605 w 6789110"/>
              <a:gd name="connsiteY7063" fmla="*/ 1131555 h 6386516"/>
              <a:gd name="connsiteX7064" fmla="*/ 2754755 w 6789110"/>
              <a:gd name="connsiteY7064" fmla="*/ 1135405 h 6386516"/>
              <a:gd name="connsiteX7065" fmla="*/ 2750906 w 6789110"/>
              <a:gd name="connsiteY7065" fmla="*/ 1135405 h 6386516"/>
              <a:gd name="connsiteX7066" fmla="*/ 2754755 w 6789110"/>
              <a:gd name="connsiteY7066" fmla="*/ 1131555 h 6386516"/>
              <a:gd name="connsiteX7067" fmla="*/ 2754755 w 6789110"/>
              <a:gd name="connsiteY7067" fmla="*/ 1129629 h 6386516"/>
              <a:gd name="connsiteX7068" fmla="*/ 2752830 w 6789110"/>
              <a:gd name="connsiteY7068" fmla="*/ 1129629 h 6386516"/>
              <a:gd name="connsiteX7069" fmla="*/ 2750906 w 6789110"/>
              <a:gd name="connsiteY7069" fmla="*/ 1131555 h 6386516"/>
              <a:gd name="connsiteX7070" fmla="*/ 2750906 w 6789110"/>
              <a:gd name="connsiteY7070" fmla="*/ 1135405 h 6386516"/>
              <a:gd name="connsiteX7071" fmla="*/ 2754230 w 6789110"/>
              <a:gd name="connsiteY7071" fmla="*/ 1138729 h 6386516"/>
              <a:gd name="connsiteX7072" fmla="*/ 2752830 w 6789110"/>
              <a:gd name="connsiteY7072" fmla="*/ 1139253 h 6386516"/>
              <a:gd name="connsiteX7073" fmla="*/ 2748981 w 6789110"/>
              <a:gd name="connsiteY7073" fmla="*/ 1139253 h 6386516"/>
              <a:gd name="connsiteX7074" fmla="*/ 2748981 w 6789110"/>
              <a:gd name="connsiteY7074" fmla="*/ 1137330 h 6386516"/>
              <a:gd name="connsiteX7075" fmla="*/ 2745131 w 6789110"/>
              <a:gd name="connsiteY7075" fmla="*/ 1137330 h 6386516"/>
              <a:gd name="connsiteX7076" fmla="*/ 2743207 w 6789110"/>
              <a:gd name="connsiteY7076" fmla="*/ 1135405 h 6386516"/>
              <a:gd name="connsiteX7077" fmla="*/ 2743207 w 6789110"/>
              <a:gd name="connsiteY7077" fmla="*/ 1131555 h 6386516"/>
              <a:gd name="connsiteX7078" fmla="*/ 2735507 w 6789110"/>
              <a:gd name="connsiteY7078" fmla="*/ 1135405 h 6386516"/>
              <a:gd name="connsiteX7079" fmla="*/ 2737433 w 6789110"/>
              <a:gd name="connsiteY7079" fmla="*/ 1131555 h 6386516"/>
              <a:gd name="connsiteX7080" fmla="*/ 2733582 w 6789110"/>
              <a:gd name="connsiteY7080" fmla="*/ 1131555 h 6386516"/>
              <a:gd name="connsiteX7081" fmla="*/ 2735507 w 6789110"/>
              <a:gd name="connsiteY7081" fmla="*/ 1127706 h 6386516"/>
              <a:gd name="connsiteX7082" fmla="*/ 2727808 w 6789110"/>
              <a:gd name="connsiteY7082" fmla="*/ 1121931 h 6386516"/>
              <a:gd name="connsiteX7083" fmla="*/ 2725883 w 6789110"/>
              <a:gd name="connsiteY7083" fmla="*/ 1125781 h 6386516"/>
              <a:gd name="connsiteX7084" fmla="*/ 2731659 w 6789110"/>
              <a:gd name="connsiteY7084" fmla="*/ 1127706 h 6386516"/>
              <a:gd name="connsiteX7085" fmla="*/ 2729733 w 6789110"/>
              <a:gd name="connsiteY7085" fmla="*/ 1129629 h 6386516"/>
              <a:gd name="connsiteX7086" fmla="*/ 2733582 w 6789110"/>
              <a:gd name="connsiteY7086" fmla="*/ 1131555 h 6386516"/>
              <a:gd name="connsiteX7087" fmla="*/ 2731659 w 6789110"/>
              <a:gd name="connsiteY7087" fmla="*/ 1133479 h 6386516"/>
              <a:gd name="connsiteX7088" fmla="*/ 2729733 w 6789110"/>
              <a:gd name="connsiteY7088" fmla="*/ 1133479 h 6386516"/>
              <a:gd name="connsiteX7089" fmla="*/ 2727808 w 6789110"/>
              <a:gd name="connsiteY7089" fmla="*/ 1135405 h 6386516"/>
              <a:gd name="connsiteX7090" fmla="*/ 2727808 w 6789110"/>
              <a:gd name="connsiteY7090" fmla="*/ 1137330 h 6386516"/>
              <a:gd name="connsiteX7091" fmla="*/ 2728400 w 6789110"/>
              <a:gd name="connsiteY7091" fmla="*/ 1137922 h 6386516"/>
              <a:gd name="connsiteX7092" fmla="*/ 2728714 w 6789110"/>
              <a:gd name="connsiteY7092" fmla="*/ 1139253 h 6386516"/>
              <a:gd name="connsiteX7093" fmla="*/ 2725883 w 6789110"/>
              <a:gd name="connsiteY7093" fmla="*/ 1139253 h 6386516"/>
              <a:gd name="connsiteX7094" fmla="*/ 2723958 w 6789110"/>
              <a:gd name="connsiteY7094" fmla="*/ 1143103 h 6386516"/>
              <a:gd name="connsiteX7095" fmla="*/ 2722034 w 6789110"/>
              <a:gd name="connsiteY7095" fmla="*/ 1145028 h 6386516"/>
              <a:gd name="connsiteX7096" fmla="*/ 2720109 w 6789110"/>
              <a:gd name="connsiteY7096" fmla="*/ 1145028 h 6386516"/>
              <a:gd name="connsiteX7097" fmla="*/ 2720109 w 6789110"/>
              <a:gd name="connsiteY7097" fmla="*/ 1146954 h 6386516"/>
              <a:gd name="connsiteX7098" fmla="*/ 2716259 w 6789110"/>
              <a:gd name="connsiteY7098" fmla="*/ 1146954 h 6386516"/>
              <a:gd name="connsiteX7099" fmla="*/ 2712410 w 6789110"/>
              <a:gd name="connsiteY7099" fmla="*/ 1143103 h 6386516"/>
              <a:gd name="connsiteX7100" fmla="*/ 2716259 w 6789110"/>
              <a:gd name="connsiteY7100" fmla="*/ 1139253 h 6386516"/>
              <a:gd name="connsiteX7101" fmla="*/ 2718184 w 6789110"/>
              <a:gd name="connsiteY7101" fmla="*/ 1137330 h 6386516"/>
              <a:gd name="connsiteX7102" fmla="*/ 2716259 w 6789110"/>
              <a:gd name="connsiteY7102" fmla="*/ 1137330 h 6386516"/>
              <a:gd name="connsiteX7103" fmla="*/ 2716259 w 6789110"/>
              <a:gd name="connsiteY7103" fmla="*/ 1133479 h 6386516"/>
              <a:gd name="connsiteX7104" fmla="*/ 2712410 w 6789110"/>
              <a:gd name="connsiteY7104" fmla="*/ 1135405 h 6386516"/>
              <a:gd name="connsiteX7105" fmla="*/ 2712410 w 6789110"/>
              <a:gd name="connsiteY7105" fmla="*/ 1137330 h 6386516"/>
              <a:gd name="connsiteX7106" fmla="*/ 2716259 w 6789110"/>
              <a:gd name="connsiteY7106" fmla="*/ 1139253 h 6386516"/>
              <a:gd name="connsiteX7107" fmla="*/ 2712410 w 6789110"/>
              <a:gd name="connsiteY7107" fmla="*/ 1139253 h 6386516"/>
              <a:gd name="connsiteX7108" fmla="*/ 2710485 w 6789110"/>
              <a:gd name="connsiteY7108" fmla="*/ 1139253 h 6386516"/>
              <a:gd name="connsiteX7109" fmla="*/ 2708560 w 6789110"/>
              <a:gd name="connsiteY7109" fmla="*/ 1143103 h 6386516"/>
              <a:gd name="connsiteX7110" fmla="*/ 2708560 w 6789110"/>
              <a:gd name="connsiteY7110" fmla="*/ 1146954 h 6386516"/>
              <a:gd name="connsiteX7111" fmla="*/ 2710485 w 6789110"/>
              <a:gd name="connsiteY7111" fmla="*/ 1148877 h 6386516"/>
              <a:gd name="connsiteX7112" fmla="*/ 2712410 w 6789110"/>
              <a:gd name="connsiteY7112" fmla="*/ 1148877 h 6386516"/>
              <a:gd name="connsiteX7113" fmla="*/ 2716259 w 6789110"/>
              <a:gd name="connsiteY7113" fmla="*/ 1150803 h 6386516"/>
              <a:gd name="connsiteX7114" fmla="*/ 2716259 w 6789110"/>
              <a:gd name="connsiteY7114" fmla="*/ 1154652 h 6386516"/>
              <a:gd name="connsiteX7115" fmla="*/ 2718184 w 6789110"/>
              <a:gd name="connsiteY7115" fmla="*/ 1156577 h 6386516"/>
              <a:gd name="connsiteX7116" fmla="*/ 2720109 w 6789110"/>
              <a:gd name="connsiteY7116" fmla="*/ 1154652 h 6386516"/>
              <a:gd name="connsiteX7117" fmla="*/ 2722034 w 6789110"/>
              <a:gd name="connsiteY7117" fmla="*/ 1150803 h 6386516"/>
              <a:gd name="connsiteX7118" fmla="*/ 2725883 w 6789110"/>
              <a:gd name="connsiteY7118" fmla="*/ 1152727 h 6386516"/>
              <a:gd name="connsiteX7119" fmla="*/ 2722034 w 6789110"/>
              <a:gd name="connsiteY7119" fmla="*/ 1156577 h 6386516"/>
              <a:gd name="connsiteX7120" fmla="*/ 2722034 w 6789110"/>
              <a:gd name="connsiteY7120" fmla="*/ 1158501 h 6386516"/>
              <a:gd name="connsiteX7121" fmla="*/ 2718184 w 6789110"/>
              <a:gd name="connsiteY7121" fmla="*/ 1160426 h 6386516"/>
              <a:gd name="connsiteX7122" fmla="*/ 2718184 w 6789110"/>
              <a:gd name="connsiteY7122" fmla="*/ 1162351 h 6386516"/>
              <a:gd name="connsiteX7123" fmla="*/ 2716259 w 6789110"/>
              <a:gd name="connsiteY7123" fmla="*/ 1164276 h 6386516"/>
              <a:gd name="connsiteX7124" fmla="*/ 2719868 w 6789110"/>
              <a:gd name="connsiteY7124" fmla="*/ 1163795 h 6386516"/>
              <a:gd name="connsiteX7125" fmla="*/ 2720380 w 6789110"/>
              <a:gd name="connsiteY7125" fmla="*/ 1164363 h 6386516"/>
              <a:gd name="connsiteX7126" fmla="*/ 2717462 w 6789110"/>
              <a:gd name="connsiteY7126" fmla="*/ 1164517 h 6386516"/>
              <a:gd name="connsiteX7127" fmla="*/ 2715585 w 6789110"/>
              <a:gd name="connsiteY7127" fmla="*/ 1165527 h 6386516"/>
              <a:gd name="connsiteX7128" fmla="*/ 2712410 w 6789110"/>
              <a:gd name="connsiteY7128" fmla="*/ 1162351 h 6386516"/>
              <a:gd name="connsiteX7129" fmla="*/ 2714335 w 6789110"/>
              <a:gd name="connsiteY7129" fmla="*/ 1160426 h 6386516"/>
              <a:gd name="connsiteX7130" fmla="*/ 2716259 w 6789110"/>
              <a:gd name="connsiteY7130" fmla="*/ 1158501 h 6386516"/>
              <a:gd name="connsiteX7131" fmla="*/ 2712410 w 6789110"/>
              <a:gd name="connsiteY7131" fmla="*/ 1158501 h 6386516"/>
              <a:gd name="connsiteX7132" fmla="*/ 2708560 w 6789110"/>
              <a:gd name="connsiteY7132" fmla="*/ 1160426 h 6386516"/>
              <a:gd name="connsiteX7133" fmla="*/ 2704711 w 6789110"/>
              <a:gd name="connsiteY7133" fmla="*/ 1158501 h 6386516"/>
              <a:gd name="connsiteX7134" fmla="*/ 2702786 w 6789110"/>
              <a:gd name="connsiteY7134" fmla="*/ 1156577 h 6386516"/>
              <a:gd name="connsiteX7135" fmla="*/ 2700862 w 6789110"/>
              <a:gd name="connsiteY7135" fmla="*/ 1156577 h 6386516"/>
              <a:gd name="connsiteX7136" fmla="*/ 2698936 w 6789110"/>
              <a:gd name="connsiteY7136" fmla="*/ 1158501 h 6386516"/>
              <a:gd name="connsiteX7137" fmla="*/ 2700862 w 6789110"/>
              <a:gd name="connsiteY7137" fmla="*/ 1154652 h 6386516"/>
              <a:gd name="connsiteX7138" fmla="*/ 2698936 w 6789110"/>
              <a:gd name="connsiteY7138" fmla="*/ 1154652 h 6386516"/>
              <a:gd name="connsiteX7139" fmla="*/ 2695087 w 6789110"/>
              <a:gd name="connsiteY7139" fmla="*/ 1158501 h 6386516"/>
              <a:gd name="connsiteX7140" fmla="*/ 2696531 w 6789110"/>
              <a:gd name="connsiteY7140" fmla="*/ 1161389 h 6386516"/>
              <a:gd name="connsiteX7141" fmla="*/ 2695087 w 6789110"/>
              <a:gd name="connsiteY7141" fmla="*/ 1160426 h 6386516"/>
              <a:gd name="connsiteX7142" fmla="*/ 2693162 w 6789110"/>
              <a:gd name="connsiteY7142" fmla="*/ 1160426 h 6386516"/>
              <a:gd name="connsiteX7143" fmla="*/ 2691237 w 6789110"/>
              <a:gd name="connsiteY7143" fmla="*/ 1164276 h 6386516"/>
              <a:gd name="connsiteX7144" fmla="*/ 2691237 w 6789110"/>
              <a:gd name="connsiteY7144" fmla="*/ 1171975 h 6386516"/>
              <a:gd name="connsiteX7145" fmla="*/ 2689312 w 6789110"/>
              <a:gd name="connsiteY7145" fmla="*/ 1173899 h 6386516"/>
              <a:gd name="connsiteX7146" fmla="*/ 2689313 w 6789110"/>
              <a:gd name="connsiteY7146" fmla="*/ 1173900 h 6386516"/>
              <a:gd name="connsiteX7147" fmla="*/ 2687389 w 6789110"/>
              <a:gd name="connsiteY7147" fmla="*/ 1175824 h 6386516"/>
              <a:gd name="connsiteX7148" fmla="*/ 2685463 w 6789110"/>
              <a:gd name="connsiteY7148" fmla="*/ 1179674 h 6386516"/>
              <a:gd name="connsiteX7149" fmla="*/ 2685463 w 6789110"/>
              <a:gd name="connsiteY7149" fmla="*/ 1181599 h 6386516"/>
              <a:gd name="connsiteX7150" fmla="*/ 2689312 w 6789110"/>
              <a:gd name="connsiteY7150" fmla="*/ 1179674 h 6386516"/>
              <a:gd name="connsiteX7151" fmla="*/ 2693162 w 6789110"/>
              <a:gd name="connsiteY7151" fmla="*/ 1177749 h 6386516"/>
              <a:gd name="connsiteX7152" fmla="*/ 2689313 w 6789110"/>
              <a:gd name="connsiteY7152" fmla="*/ 1173900 h 6386516"/>
              <a:gd name="connsiteX7153" fmla="*/ 2691237 w 6789110"/>
              <a:gd name="connsiteY7153" fmla="*/ 1171975 h 6386516"/>
              <a:gd name="connsiteX7154" fmla="*/ 2693162 w 6789110"/>
              <a:gd name="connsiteY7154" fmla="*/ 1171975 h 6386516"/>
              <a:gd name="connsiteX7155" fmla="*/ 2693162 w 6789110"/>
              <a:gd name="connsiteY7155" fmla="*/ 1162351 h 6386516"/>
              <a:gd name="connsiteX7156" fmla="*/ 2697012 w 6789110"/>
              <a:gd name="connsiteY7156" fmla="*/ 1162351 h 6386516"/>
              <a:gd name="connsiteX7157" fmla="*/ 2696531 w 6789110"/>
              <a:gd name="connsiteY7157" fmla="*/ 1161389 h 6386516"/>
              <a:gd name="connsiteX7158" fmla="*/ 2700862 w 6789110"/>
              <a:gd name="connsiteY7158" fmla="*/ 1162351 h 6386516"/>
              <a:gd name="connsiteX7159" fmla="*/ 2698936 w 6789110"/>
              <a:gd name="connsiteY7159" fmla="*/ 1164276 h 6386516"/>
              <a:gd name="connsiteX7160" fmla="*/ 2700862 w 6789110"/>
              <a:gd name="connsiteY7160" fmla="*/ 1168125 h 6386516"/>
              <a:gd name="connsiteX7161" fmla="*/ 2704711 w 6789110"/>
              <a:gd name="connsiteY7161" fmla="*/ 1164276 h 6386516"/>
              <a:gd name="connsiteX7162" fmla="*/ 2704712 w 6789110"/>
              <a:gd name="connsiteY7162" fmla="*/ 1164276 h 6386516"/>
              <a:gd name="connsiteX7163" fmla="*/ 2706638 w 6789110"/>
              <a:gd name="connsiteY7163" fmla="*/ 1164276 h 6386516"/>
              <a:gd name="connsiteX7164" fmla="*/ 2706638 w 6789110"/>
              <a:gd name="connsiteY7164" fmla="*/ 1164277 h 6386516"/>
              <a:gd name="connsiteX7165" fmla="*/ 2710485 w 6789110"/>
              <a:gd name="connsiteY7165" fmla="*/ 1166201 h 6386516"/>
              <a:gd name="connsiteX7166" fmla="*/ 2708561 w 6789110"/>
              <a:gd name="connsiteY7166" fmla="*/ 1168125 h 6386516"/>
              <a:gd name="connsiteX7167" fmla="*/ 2708560 w 6789110"/>
              <a:gd name="connsiteY7167" fmla="*/ 1168125 h 6386516"/>
              <a:gd name="connsiteX7168" fmla="*/ 2710485 w 6789110"/>
              <a:gd name="connsiteY7168" fmla="*/ 1170050 h 6386516"/>
              <a:gd name="connsiteX7169" fmla="*/ 2710485 w 6789110"/>
              <a:gd name="connsiteY7169" fmla="*/ 1168125 h 6386516"/>
              <a:gd name="connsiteX7170" fmla="*/ 2714335 w 6789110"/>
              <a:gd name="connsiteY7170" fmla="*/ 1168125 h 6386516"/>
              <a:gd name="connsiteX7171" fmla="*/ 2714335 w 6789110"/>
              <a:gd name="connsiteY7171" fmla="*/ 1170050 h 6386516"/>
              <a:gd name="connsiteX7172" fmla="*/ 2714335 w 6789110"/>
              <a:gd name="connsiteY7172" fmla="*/ 1171975 h 6386516"/>
              <a:gd name="connsiteX7173" fmla="*/ 2712410 w 6789110"/>
              <a:gd name="connsiteY7173" fmla="*/ 1173899 h 6386516"/>
              <a:gd name="connsiteX7174" fmla="*/ 2716259 w 6789110"/>
              <a:gd name="connsiteY7174" fmla="*/ 1173899 h 6386516"/>
              <a:gd name="connsiteX7175" fmla="*/ 2718184 w 6789110"/>
              <a:gd name="connsiteY7175" fmla="*/ 1173899 h 6386516"/>
              <a:gd name="connsiteX7176" fmla="*/ 2720109 w 6789110"/>
              <a:gd name="connsiteY7176" fmla="*/ 1173899 h 6386516"/>
              <a:gd name="connsiteX7177" fmla="*/ 2723958 w 6789110"/>
              <a:gd name="connsiteY7177" fmla="*/ 1170050 h 6386516"/>
              <a:gd name="connsiteX7178" fmla="*/ 2723958 w 6789110"/>
              <a:gd name="connsiteY7178" fmla="*/ 1168125 h 6386516"/>
              <a:gd name="connsiteX7179" fmla="*/ 2720109 w 6789110"/>
              <a:gd name="connsiteY7179" fmla="*/ 1168125 h 6386516"/>
              <a:gd name="connsiteX7180" fmla="*/ 2722034 w 6789110"/>
              <a:gd name="connsiteY7180" fmla="*/ 1170050 h 6386516"/>
              <a:gd name="connsiteX7181" fmla="*/ 2716259 w 6789110"/>
              <a:gd name="connsiteY7181" fmla="*/ 1168125 h 6386516"/>
              <a:gd name="connsiteX7182" fmla="*/ 2718184 w 6789110"/>
              <a:gd name="connsiteY7182" fmla="*/ 1166201 h 6386516"/>
              <a:gd name="connsiteX7183" fmla="*/ 2722034 w 6789110"/>
              <a:gd name="connsiteY7183" fmla="*/ 1166201 h 6386516"/>
              <a:gd name="connsiteX7184" fmla="*/ 2720380 w 6789110"/>
              <a:gd name="connsiteY7184" fmla="*/ 1164363 h 6386516"/>
              <a:gd name="connsiteX7185" fmla="*/ 2722034 w 6789110"/>
              <a:gd name="connsiteY7185" fmla="*/ 1164276 h 6386516"/>
              <a:gd name="connsiteX7186" fmla="*/ 2725883 w 6789110"/>
              <a:gd name="connsiteY7186" fmla="*/ 1164276 h 6386516"/>
              <a:gd name="connsiteX7187" fmla="*/ 2725883 w 6789110"/>
              <a:gd name="connsiteY7187" fmla="*/ 1166201 h 6386516"/>
              <a:gd name="connsiteX7188" fmla="*/ 2731659 w 6789110"/>
              <a:gd name="connsiteY7188" fmla="*/ 1164276 h 6386516"/>
              <a:gd name="connsiteX7189" fmla="*/ 2731659 w 6789110"/>
              <a:gd name="connsiteY7189" fmla="*/ 1162351 h 6386516"/>
              <a:gd name="connsiteX7190" fmla="*/ 2731659 w 6789110"/>
              <a:gd name="connsiteY7190" fmla="*/ 1158501 h 6386516"/>
              <a:gd name="connsiteX7191" fmla="*/ 2729733 w 6789110"/>
              <a:gd name="connsiteY7191" fmla="*/ 1160426 h 6386516"/>
              <a:gd name="connsiteX7192" fmla="*/ 2725883 w 6789110"/>
              <a:gd name="connsiteY7192" fmla="*/ 1160426 h 6386516"/>
              <a:gd name="connsiteX7193" fmla="*/ 2723958 w 6789110"/>
              <a:gd name="connsiteY7193" fmla="*/ 1160426 h 6386516"/>
              <a:gd name="connsiteX7194" fmla="*/ 2727808 w 6789110"/>
              <a:gd name="connsiteY7194" fmla="*/ 1156577 h 6386516"/>
              <a:gd name="connsiteX7195" fmla="*/ 2731659 w 6789110"/>
              <a:gd name="connsiteY7195" fmla="*/ 1154652 h 6386516"/>
              <a:gd name="connsiteX7196" fmla="*/ 2733582 w 6789110"/>
              <a:gd name="connsiteY7196" fmla="*/ 1156577 h 6386516"/>
              <a:gd name="connsiteX7197" fmla="*/ 2733582 w 6789110"/>
              <a:gd name="connsiteY7197" fmla="*/ 1158501 h 6386516"/>
              <a:gd name="connsiteX7198" fmla="*/ 2733582 w 6789110"/>
              <a:gd name="connsiteY7198" fmla="*/ 1160426 h 6386516"/>
              <a:gd name="connsiteX7199" fmla="*/ 2737433 w 6789110"/>
              <a:gd name="connsiteY7199" fmla="*/ 1158501 h 6386516"/>
              <a:gd name="connsiteX7200" fmla="*/ 2739357 w 6789110"/>
              <a:gd name="connsiteY7200" fmla="*/ 1158501 h 6386516"/>
              <a:gd name="connsiteX7201" fmla="*/ 2741282 w 6789110"/>
              <a:gd name="connsiteY7201" fmla="*/ 1158501 h 6386516"/>
              <a:gd name="connsiteX7202" fmla="*/ 2743207 w 6789110"/>
              <a:gd name="connsiteY7202" fmla="*/ 1156577 h 6386516"/>
              <a:gd name="connsiteX7203" fmla="*/ 2743207 w 6789110"/>
              <a:gd name="connsiteY7203" fmla="*/ 1154652 h 6386516"/>
              <a:gd name="connsiteX7204" fmla="*/ 2741282 w 6789110"/>
              <a:gd name="connsiteY7204" fmla="*/ 1152727 h 6386516"/>
              <a:gd name="connsiteX7205" fmla="*/ 2737433 w 6789110"/>
              <a:gd name="connsiteY7205" fmla="*/ 1150803 h 6386516"/>
              <a:gd name="connsiteX7206" fmla="*/ 2734865 w 6789110"/>
              <a:gd name="connsiteY7206" fmla="*/ 1152086 h 6386516"/>
              <a:gd name="connsiteX7207" fmla="*/ 2733582 w 6789110"/>
              <a:gd name="connsiteY7207" fmla="*/ 1150802 h 6386516"/>
              <a:gd name="connsiteX7208" fmla="*/ 2733582 w 6789110"/>
              <a:gd name="connsiteY7208" fmla="*/ 1148877 h 6386516"/>
              <a:gd name="connsiteX7209" fmla="*/ 2739357 w 6789110"/>
              <a:gd name="connsiteY7209" fmla="*/ 1148877 h 6386516"/>
              <a:gd name="connsiteX7210" fmla="*/ 2739357 w 6789110"/>
              <a:gd name="connsiteY7210" fmla="*/ 1146954 h 6386516"/>
              <a:gd name="connsiteX7211" fmla="*/ 2733582 w 6789110"/>
              <a:gd name="connsiteY7211" fmla="*/ 1148877 h 6386516"/>
              <a:gd name="connsiteX7212" fmla="*/ 2731659 w 6789110"/>
              <a:gd name="connsiteY7212" fmla="*/ 1148877 h 6386516"/>
              <a:gd name="connsiteX7213" fmla="*/ 2729733 w 6789110"/>
              <a:gd name="connsiteY7213" fmla="*/ 1148877 h 6386516"/>
              <a:gd name="connsiteX7214" fmla="*/ 2729733 w 6789110"/>
              <a:gd name="connsiteY7214" fmla="*/ 1146954 h 6386516"/>
              <a:gd name="connsiteX7215" fmla="*/ 2725883 w 6789110"/>
              <a:gd name="connsiteY7215" fmla="*/ 1148877 h 6386516"/>
              <a:gd name="connsiteX7216" fmla="*/ 2729733 w 6789110"/>
              <a:gd name="connsiteY7216" fmla="*/ 1148877 h 6386516"/>
              <a:gd name="connsiteX7217" fmla="*/ 2723958 w 6789110"/>
              <a:gd name="connsiteY7217" fmla="*/ 1150803 h 6386516"/>
              <a:gd name="connsiteX7218" fmla="*/ 2723958 w 6789110"/>
              <a:gd name="connsiteY7218" fmla="*/ 1145028 h 6386516"/>
              <a:gd name="connsiteX7219" fmla="*/ 2729733 w 6789110"/>
              <a:gd name="connsiteY7219" fmla="*/ 1139253 h 6386516"/>
              <a:gd name="connsiteX7220" fmla="*/ 2729733 w 6789110"/>
              <a:gd name="connsiteY7220" fmla="*/ 1141179 h 6386516"/>
              <a:gd name="connsiteX7221" fmla="*/ 2727808 w 6789110"/>
              <a:gd name="connsiteY7221" fmla="*/ 1142382 h 6386516"/>
              <a:gd name="connsiteX7222" fmla="*/ 2725883 w 6789110"/>
              <a:gd name="connsiteY7222" fmla="*/ 1145028 h 6386516"/>
              <a:gd name="connsiteX7223" fmla="*/ 2729733 w 6789110"/>
              <a:gd name="connsiteY7223" fmla="*/ 1141179 h 6386516"/>
              <a:gd name="connsiteX7224" fmla="*/ 2731659 w 6789110"/>
              <a:gd name="connsiteY7224" fmla="*/ 1139253 h 6386516"/>
              <a:gd name="connsiteX7225" fmla="*/ 2735507 w 6789110"/>
              <a:gd name="connsiteY7225" fmla="*/ 1135405 h 6386516"/>
              <a:gd name="connsiteX7226" fmla="*/ 2737433 w 6789110"/>
              <a:gd name="connsiteY7226" fmla="*/ 1135405 h 6386516"/>
              <a:gd name="connsiteX7227" fmla="*/ 2739357 w 6789110"/>
              <a:gd name="connsiteY7227" fmla="*/ 1139253 h 6386516"/>
              <a:gd name="connsiteX7228" fmla="*/ 2741282 w 6789110"/>
              <a:gd name="connsiteY7228" fmla="*/ 1137330 h 6386516"/>
              <a:gd name="connsiteX7229" fmla="*/ 2743207 w 6789110"/>
              <a:gd name="connsiteY7229" fmla="*/ 1141179 h 6386516"/>
              <a:gd name="connsiteX7230" fmla="*/ 2747056 w 6789110"/>
              <a:gd name="connsiteY7230" fmla="*/ 1139253 h 6386516"/>
              <a:gd name="connsiteX7231" fmla="*/ 2750906 w 6789110"/>
              <a:gd name="connsiteY7231" fmla="*/ 1141179 h 6386516"/>
              <a:gd name="connsiteX7232" fmla="*/ 2752830 w 6789110"/>
              <a:gd name="connsiteY7232" fmla="*/ 1139253 h 6386516"/>
              <a:gd name="connsiteX7233" fmla="*/ 2754755 w 6789110"/>
              <a:gd name="connsiteY7233" fmla="*/ 1139253 h 6386516"/>
              <a:gd name="connsiteX7234" fmla="*/ 2754230 w 6789110"/>
              <a:gd name="connsiteY7234" fmla="*/ 1138729 h 6386516"/>
              <a:gd name="connsiteX7235" fmla="*/ 2754755 w 6789110"/>
              <a:gd name="connsiteY7235" fmla="*/ 1138532 h 6386516"/>
              <a:gd name="connsiteX7236" fmla="*/ 2756680 w 6789110"/>
              <a:gd name="connsiteY7236" fmla="*/ 1139253 h 6386516"/>
              <a:gd name="connsiteX7237" fmla="*/ 2760530 w 6789110"/>
              <a:gd name="connsiteY7237" fmla="*/ 1137330 h 6386516"/>
              <a:gd name="connsiteX7238" fmla="*/ 2764379 w 6789110"/>
              <a:gd name="connsiteY7238" fmla="*/ 1137330 h 6386516"/>
              <a:gd name="connsiteX7239" fmla="*/ 2768230 w 6789110"/>
              <a:gd name="connsiteY7239" fmla="*/ 1133479 h 6386516"/>
              <a:gd name="connsiteX7240" fmla="*/ 2772078 w 6789110"/>
              <a:gd name="connsiteY7240" fmla="*/ 1133479 h 6386516"/>
              <a:gd name="connsiteX7241" fmla="*/ 2772078 w 6789110"/>
              <a:gd name="connsiteY7241" fmla="*/ 1135405 h 6386516"/>
              <a:gd name="connsiteX7242" fmla="*/ 2770154 w 6789110"/>
              <a:gd name="connsiteY7242" fmla="*/ 1137330 h 6386516"/>
              <a:gd name="connsiteX7243" fmla="*/ 2770154 w 6789110"/>
              <a:gd name="connsiteY7243" fmla="*/ 1139253 h 6386516"/>
              <a:gd name="connsiteX7244" fmla="*/ 2768230 w 6789110"/>
              <a:gd name="connsiteY7244" fmla="*/ 1141179 h 6386516"/>
              <a:gd name="connsiteX7245" fmla="*/ 2766304 w 6789110"/>
              <a:gd name="connsiteY7245" fmla="*/ 1139253 h 6386516"/>
              <a:gd name="connsiteX7246" fmla="*/ 2764379 w 6789110"/>
              <a:gd name="connsiteY7246" fmla="*/ 1141179 h 6386516"/>
              <a:gd name="connsiteX7247" fmla="*/ 2762454 w 6789110"/>
              <a:gd name="connsiteY7247" fmla="*/ 1139253 h 6386516"/>
              <a:gd name="connsiteX7248" fmla="*/ 2758605 w 6789110"/>
              <a:gd name="connsiteY7248" fmla="*/ 1143103 h 6386516"/>
              <a:gd name="connsiteX7249" fmla="*/ 2762454 w 6789110"/>
              <a:gd name="connsiteY7249" fmla="*/ 1143103 h 6386516"/>
              <a:gd name="connsiteX7250" fmla="*/ 2766304 w 6789110"/>
              <a:gd name="connsiteY7250" fmla="*/ 1145028 h 6386516"/>
              <a:gd name="connsiteX7251" fmla="*/ 2770154 w 6789110"/>
              <a:gd name="connsiteY7251" fmla="*/ 1143103 h 6386516"/>
              <a:gd name="connsiteX7252" fmla="*/ 2770154 w 6789110"/>
              <a:gd name="connsiteY7252" fmla="*/ 1141179 h 6386516"/>
              <a:gd name="connsiteX7253" fmla="*/ 2772078 w 6789110"/>
              <a:gd name="connsiteY7253" fmla="*/ 1139253 h 6386516"/>
              <a:gd name="connsiteX7254" fmla="*/ 2770154 w 6789110"/>
              <a:gd name="connsiteY7254" fmla="*/ 1137330 h 6386516"/>
              <a:gd name="connsiteX7255" fmla="*/ 2772078 w 6789110"/>
              <a:gd name="connsiteY7255" fmla="*/ 1137330 h 6386516"/>
              <a:gd name="connsiteX7256" fmla="*/ 2772238 w 6789110"/>
              <a:gd name="connsiteY7256" fmla="*/ 1137169 h 6386516"/>
              <a:gd name="connsiteX7257" fmla="*/ 2772079 w 6789110"/>
              <a:gd name="connsiteY7257" fmla="*/ 1135419 h 6386516"/>
              <a:gd name="connsiteX7258" fmla="*/ 2773352 w 6789110"/>
              <a:gd name="connsiteY7258" fmla="*/ 1136055 h 6386516"/>
              <a:gd name="connsiteX7259" fmla="*/ 2775928 w 6789110"/>
              <a:gd name="connsiteY7259" fmla="*/ 1133479 h 6386516"/>
              <a:gd name="connsiteX7260" fmla="*/ 2777853 w 6789110"/>
              <a:gd name="connsiteY7260" fmla="*/ 1133479 h 6386516"/>
              <a:gd name="connsiteX7261" fmla="*/ 2777853 w 6789110"/>
              <a:gd name="connsiteY7261" fmla="*/ 1136140 h 6386516"/>
              <a:gd name="connsiteX7262" fmla="*/ 2779778 w 6789110"/>
              <a:gd name="connsiteY7262" fmla="*/ 1133494 h 6386516"/>
              <a:gd name="connsiteX7263" fmla="*/ 2783598 w 6789110"/>
              <a:gd name="connsiteY7263" fmla="*/ 1133494 h 6386516"/>
              <a:gd name="connsiteX7264" fmla="*/ 2783627 w 6789110"/>
              <a:gd name="connsiteY7264" fmla="*/ 1133479 h 6386516"/>
              <a:gd name="connsiteX7265" fmla="*/ 2781703 w 6789110"/>
              <a:gd name="connsiteY7265" fmla="*/ 1131555 h 6386516"/>
              <a:gd name="connsiteX7266" fmla="*/ 2784007 w 6789110"/>
              <a:gd name="connsiteY7266" fmla="*/ 1130402 h 6386516"/>
              <a:gd name="connsiteX7267" fmla="*/ 2783629 w 6789110"/>
              <a:gd name="connsiteY7267" fmla="*/ 1129646 h 6386516"/>
              <a:gd name="connsiteX7268" fmla="*/ 2785554 w 6789110"/>
              <a:gd name="connsiteY7268" fmla="*/ 1127720 h 6386516"/>
              <a:gd name="connsiteX7269" fmla="*/ 2786941 w 6789110"/>
              <a:gd name="connsiteY7269" fmla="*/ 1129109 h 6386516"/>
              <a:gd name="connsiteX7270" fmla="*/ 2787477 w 6789110"/>
              <a:gd name="connsiteY7270" fmla="*/ 1128908 h 6386516"/>
              <a:gd name="connsiteX7271" fmla="*/ 2789401 w 6789110"/>
              <a:gd name="connsiteY7271" fmla="*/ 1129629 h 6386516"/>
              <a:gd name="connsiteX7272" fmla="*/ 2791326 w 6789110"/>
              <a:gd name="connsiteY7272" fmla="*/ 1127706 h 6386516"/>
              <a:gd name="connsiteX7273" fmla="*/ 2793251 w 6789110"/>
              <a:gd name="connsiteY7273" fmla="*/ 1127706 h 6386516"/>
              <a:gd name="connsiteX7274" fmla="*/ 2791326 w 6789110"/>
              <a:gd name="connsiteY7274" fmla="*/ 1123856 h 6386516"/>
              <a:gd name="connsiteX7275" fmla="*/ 2795176 w 6789110"/>
              <a:gd name="connsiteY7275" fmla="*/ 1120006 h 6386516"/>
              <a:gd name="connsiteX7276" fmla="*/ 2795176 w 6789110"/>
              <a:gd name="connsiteY7276" fmla="*/ 1118082 h 6386516"/>
              <a:gd name="connsiteX7277" fmla="*/ 2793251 w 6789110"/>
              <a:gd name="connsiteY7277" fmla="*/ 1116157 h 6386516"/>
              <a:gd name="connsiteX7278" fmla="*/ 2793251 w 6789110"/>
              <a:gd name="connsiteY7278" fmla="*/ 1114232 h 6386516"/>
              <a:gd name="connsiteX7279" fmla="*/ 2799025 w 6789110"/>
              <a:gd name="connsiteY7279" fmla="*/ 1112307 h 6386516"/>
              <a:gd name="connsiteX7280" fmla="*/ 2808649 w 6789110"/>
              <a:gd name="connsiteY7280" fmla="*/ 1121931 h 6386516"/>
              <a:gd name="connsiteX7281" fmla="*/ 2816348 w 6789110"/>
              <a:gd name="connsiteY7281" fmla="*/ 1129629 h 6386516"/>
              <a:gd name="connsiteX7282" fmla="*/ 2816348 w 6789110"/>
              <a:gd name="connsiteY7282" fmla="*/ 1131555 h 6386516"/>
              <a:gd name="connsiteX7283" fmla="*/ 2818274 w 6789110"/>
              <a:gd name="connsiteY7283" fmla="*/ 1131555 h 6386516"/>
              <a:gd name="connsiteX7284" fmla="*/ 2831747 w 6789110"/>
              <a:gd name="connsiteY7284" fmla="*/ 1145028 h 6386516"/>
              <a:gd name="connsiteX7285" fmla="*/ 2762454 w 6789110"/>
              <a:gd name="connsiteY7285" fmla="*/ 1223944 h 6386516"/>
              <a:gd name="connsiteX7286" fmla="*/ 2752830 w 6789110"/>
              <a:gd name="connsiteY7286" fmla="*/ 1229718 h 6386516"/>
              <a:gd name="connsiteX7287" fmla="*/ 2754755 w 6789110"/>
              <a:gd name="connsiteY7287" fmla="*/ 1227794 h 6386516"/>
              <a:gd name="connsiteX7288" fmla="*/ 2754755 w 6789110"/>
              <a:gd name="connsiteY7288" fmla="*/ 1225869 h 6386516"/>
              <a:gd name="connsiteX7289" fmla="*/ 2752830 w 6789110"/>
              <a:gd name="connsiteY7289" fmla="*/ 1227794 h 6386516"/>
              <a:gd name="connsiteX7290" fmla="*/ 2748981 w 6789110"/>
              <a:gd name="connsiteY7290" fmla="*/ 1229718 h 6386516"/>
              <a:gd name="connsiteX7291" fmla="*/ 2747056 w 6789110"/>
              <a:gd name="connsiteY7291" fmla="*/ 1229718 h 6386516"/>
              <a:gd name="connsiteX7292" fmla="*/ 2745131 w 6789110"/>
              <a:gd name="connsiteY7292" fmla="*/ 1231643 h 6386516"/>
              <a:gd name="connsiteX7293" fmla="*/ 2747056 w 6789110"/>
              <a:gd name="connsiteY7293" fmla="*/ 1233568 h 6386516"/>
              <a:gd name="connsiteX7294" fmla="*/ 2743207 w 6789110"/>
              <a:gd name="connsiteY7294" fmla="*/ 1233568 h 6386516"/>
              <a:gd name="connsiteX7295" fmla="*/ 2745131 w 6789110"/>
              <a:gd name="connsiteY7295" fmla="*/ 1235493 h 6386516"/>
              <a:gd name="connsiteX7296" fmla="*/ 2722034 w 6789110"/>
              <a:gd name="connsiteY7296" fmla="*/ 1248966 h 6386516"/>
              <a:gd name="connsiteX7297" fmla="*/ 2716259 w 6789110"/>
              <a:gd name="connsiteY7297" fmla="*/ 1241267 h 6386516"/>
              <a:gd name="connsiteX7298" fmla="*/ 2610396 w 6789110"/>
              <a:gd name="connsiteY7298" fmla="*/ 1306710 h 6386516"/>
              <a:gd name="connsiteX7299" fmla="*/ 2608471 w 6789110"/>
              <a:gd name="connsiteY7299" fmla="*/ 1308635 h 6386516"/>
              <a:gd name="connsiteX7300" fmla="*/ 2560352 w 6789110"/>
              <a:gd name="connsiteY7300" fmla="*/ 1356754 h 6386516"/>
              <a:gd name="connsiteX7301" fmla="*/ 2560592 w 6789110"/>
              <a:gd name="connsiteY7301" fmla="*/ 1354829 h 6386516"/>
              <a:gd name="connsiteX7302" fmla="*/ 2562276 w 6789110"/>
              <a:gd name="connsiteY7302" fmla="*/ 1352905 h 6386516"/>
              <a:gd name="connsiteX7303" fmla="*/ 2560352 w 6789110"/>
              <a:gd name="connsiteY7303" fmla="*/ 1352905 h 6386516"/>
              <a:gd name="connsiteX7304" fmla="*/ 2558427 w 6789110"/>
              <a:gd name="connsiteY7304" fmla="*/ 1356754 h 6386516"/>
              <a:gd name="connsiteX7305" fmla="*/ 2559389 w 6789110"/>
              <a:gd name="connsiteY7305" fmla="*/ 1357717 h 6386516"/>
              <a:gd name="connsiteX7306" fmla="*/ 2556502 w 6789110"/>
              <a:gd name="connsiteY7306" fmla="*/ 1360604 h 6386516"/>
              <a:gd name="connsiteX7307" fmla="*/ 2556502 w 6789110"/>
              <a:gd name="connsiteY7307" fmla="*/ 1362529 h 6386516"/>
              <a:gd name="connsiteX7308" fmla="*/ 2552652 w 6789110"/>
              <a:gd name="connsiteY7308" fmla="*/ 1366378 h 6386516"/>
              <a:gd name="connsiteX7309" fmla="*/ 2546878 w 6789110"/>
              <a:gd name="connsiteY7309" fmla="*/ 1370228 h 6386516"/>
              <a:gd name="connsiteX7310" fmla="*/ 2550728 w 6789110"/>
              <a:gd name="connsiteY7310" fmla="*/ 1370228 h 6386516"/>
              <a:gd name="connsiteX7311" fmla="*/ 2508352 w 6789110"/>
              <a:gd name="connsiteY7311" fmla="*/ 1429837 h 6386516"/>
              <a:gd name="connsiteX7312" fmla="*/ 2506458 w 6789110"/>
              <a:gd name="connsiteY7312" fmla="*/ 1426047 h 6386516"/>
              <a:gd name="connsiteX7313" fmla="*/ 2502608 w 6789110"/>
              <a:gd name="connsiteY7313" fmla="*/ 1426047 h 6386516"/>
              <a:gd name="connsiteX7314" fmla="*/ 2504533 w 6789110"/>
              <a:gd name="connsiteY7314" fmla="*/ 1429896 h 6386516"/>
              <a:gd name="connsiteX7315" fmla="*/ 2508310 w 6789110"/>
              <a:gd name="connsiteY7315" fmla="*/ 1429896 h 6386516"/>
              <a:gd name="connsiteX7316" fmla="*/ 2500444 w 6789110"/>
              <a:gd name="connsiteY7316" fmla="*/ 1440963 h 6386516"/>
              <a:gd name="connsiteX7317" fmla="*/ 2460263 w 6789110"/>
              <a:gd name="connsiteY7317" fmla="*/ 1520361 h 6386516"/>
              <a:gd name="connsiteX7318" fmla="*/ 2458338 w 6789110"/>
              <a:gd name="connsiteY7318" fmla="*/ 1520361 h 6386516"/>
              <a:gd name="connsiteX7319" fmla="*/ 2454488 w 6789110"/>
              <a:gd name="connsiteY7319" fmla="*/ 1520361 h 6386516"/>
              <a:gd name="connsiteX7320" fmla="*/ 2456414 w 6789110"/>
              <a:gd name="connsiteY7320" fmla="*/ 1522285 h 6386516"/>
              <a:gd name="connsiteX7321" fmla="*/ 2458338 w 6789110"/>
              <a:gd name="connsiteY7321" fmla="*/ 1522285 h 6386516"/>
              <a:gd name="connsiteX7322" fmla="*/ 2406370 w 6789110"/>
              <a:gd name="connsiteY7322" fmla="*/ 1772507 h 6386516"/>
              <a:gd name="connsiteX7323" fmla="*/ 2458338 w 6789110"/>
              <a:gd name="connsiteY7323" fmla="*/ 2068922 h 6386516"/>
              <a:gd name="connsiteX7324" fmla="*/ 2456414 w 6789110"/>
              <a:gd name="connsiteY7324" fmla="*/ 2068922 h 6386516"/>
              <a:gd name="connsiteX7325" fmla="*/ 2460263 w 6789110"/>
              <a:gd name="connsiteY7325" fmla="*/ 2074697 h 6386516"/>
              <a:gd name="connsiteX7326" fmla="*/ 2454488 w 6789110"/>
              <a:gd name="connsiteY7326" fmla="*/ 2074697 h 6386516"/>
              <a:gd name="connsiteX7327" fmla="*/ 2450640 w 6789110"/>
              <a:gd name="connsiteY7327" fmla="*/ 2080471 h 6386516"/>
              <a:gd name="connsiteX7328" fmla="*/ 2450640 w 6789110"/>
              <a:gd name="connsiteY7328" fmla="*/ 2072772 h 6386516"/>
              <a:gd name="connsiteX7329" fmla="*/ 2435240 w 6789110"/>
              <a:gd name="connsiteY7329" fmla="*/ 2074697 h 6386516"/>
              <a:gd name="connsiteX7330" fmla="*/ 2439090 w 6789110"/>
              <a:gd name="connsiteY7330" fmla="*/ 2065073 h 6386516"/>
              <a:gd name="connsiteX7331" fmla="*/ 2433316 w 6789110"/>
              <a:gd name="connsiteY7331" fmla="*/ 2065073 h 6386516"/>
              <a:gd name="connsiteX7332" fmla="*/ 2429466 w 6789110"/>
              <a:gd name="connsiteY7332" fmla="*/ 2057372 h 6386516"/>
              <a:gd name="connsiteX7333" fmla="*/ 2427541 w 6789110"/>
              <a:gd name="connsiteY7333" fmla="*/ 2082396 h 6386516"/>
              <a:gd name="connsiteX7334" fmla="*/ 2437165 w 6789110"/>
              <a:gd name="connsiteY7334" fmla="*/ 2080471 h 6386516"/>
              <a:gd name="connsiteX7335" fmla="*/ 2446789 w 6789110"/>
              <a:gd name="connsiteY7335" fmla="*/ 2080471 h 6386516"/>
              <a:gd name="connsiteX7336" fmla="*/ 2442940 w 6789110"/>
              <a:gd name="connsiteY7336" fmla="*/ 2086247 h 6386516"/>
              <a:gd name="connsiteX7337" fmla="*/ 2448714 w 6789110"/>
              <a:gd name="connsiteY7337" fmla="*/ 2093946 h 6386516"/>
              <a:gd name="connsiteX7338" fmla="*/ 2442940 w 6789110"/>
              <a:gd name="connsiteY7338" fmla="*/ 2093946 h 6386516"/>
              <a:gd name="connsiteX7339" fmla="*/ 2442940 w 6789110"/>
              <a:gd name="connsiteY7339" fmla="*/ 2088172 h 6386516"/>
              <a:gd name="connsiteX7340" fmla="*/ 2433316 w 6789110"/>
              <a:gd name="connsiteY7340" fmla="*/ 2090095 h 6386516"/>
              <a:gd name="connsiteX7341" fmla="*/ 2427541 w 6789110"/>
              <a:gd name="connsiteY7341" fmla="*/ 2088172 h 6386516"/>
              <a:gd name="connsiteX7342" fmla="*/ 2423692 w 6789110"/>
              <a:gd name="connsiteY7342" fmla="*/ 2088172 h 6386516"/>
              <a:gd name="connsiteX7343" fmla="*/ 2421767 w 6789110"/>
              <a:gd name="connsiteY7343" fmla="*/ 2088172 h 6386516"/>
              <a:gd name="connsiteX7344" fmla="*/ 2348625 w 6789110"/>
              <a:gd name="connsiteY7344" fmla="*/ 1699367 h 6386516"/>
              <a:gd name="connsiteX7345" fmla="*/ 2353349 w 6789110"/>
              <a:gd name="connsiteY7345" fmla="*/ 1697792 h 6386516"/>
              <a:gd name="connsiteX7346" fmla="*/ 2354399 w 6789110"/>
              <a:gd name="connsiteY7346" fmla="*/ 1699367 h 6386516"/>
              <a:gd name="connsiteX7347" fmla="*/ 2356176 w 6789110"/>
              <a:gd name="connsiteY7347" fmla="*/ 1699663 h 6386516"/>
              <a:gd name="connsiteX7348" fmla="*/ 2362098 w 6789110"/>
              <a:gd name="connsiteY7348" fmla="*/ 1707065 h 6386516"/>
              <a:gd name="connsiteX7349" fmla="*/ 2365948 w 6789110"/>
              <a:gd name="connsiteY7349" fmla="*/ 1701291 h 6386516"/>
              <a:gd name="connsiteX7350" fmla="*/ 2356176 w 6789110"/>
              <a:gd name="connsiteY7350" fmla="*/ 1699663 h 6386516"/>
              <a:gd name="connsiteX7351" fmla="*/ 2354399 w 6789110"/>
              <a:gd name="connsiteY7351" fmla="*/ 1697442 h 6386516"/>
              <a:gd name="connsiteX7352" fmla="*/ 2353349 w 6789110"/>
              <a:gd name="connsiteY7352" fmla="*/ 1697792 h 6386516"/>
              <a:gd name="connsiteX7353" fmla="*/ 2350550 w 6789110"/>
              <a:gd name="connsiteY7353" fmla="*/ 1693591 h 6386516"/>
              <a:gd name="connsiteX7354" fmla="*/ 2360174 w 6789110"/>
              <a:gd name="connsiteY7354" fmla="*/ 1693591 h 6386516"/>
              <a:gd name="connsiteX7355" fmla="*/ 2356324 w 6789110"/>
              <a:gd name="connsiteY7355" fmla="*/ 1687817 h 6386516"/>
              <a:gd name="connsiteX7356" fmla="*/ 2360174 w 6789110"/>
              <a:gd name="connsiteY7356" fmla="*/ 1680119 h 6386516"/>
              <a:gd name="connsiteX7357" fmla="*/ 2350550 w 6789110"/>
              <a:gd name="connsiteY7357" fmla="*/ 1685892 h 6386516"/>
              <a:gd name="connsiteX7358" fmla="*/ 2354399 w 6789110"/>
              <a:gd name="connsiteY7358" fmla="*/ 1691666 h 6386516"/>
              <a:gd name="connsiteX7359" fmla="*/ 2348625 w 6789110"/>
              <a:gd name="connsiteY7359" fmla="*/ 1693591 h 6386516"/>
              <a:gd name="connsiteX7360" fmla="*/ 2350550 w 6789110"/>
              <a:gd name="connsiteY7360" fmla="*/ 1670494 h 6386516"/>
              <a:gd name="connsiteX7361" fmla="*/ 2352475 w 6789110"/>
              <a:gd name="connsiteY7361" fmla="*/ 1666645 h 6386516"/>
              <a:gd name="connsiteX7362" fmla="*/ 2352475 w 6789110"/>
              <a:gd name="connsiteY7362" fmla="*/ 1664720 h 6386516"/>
              <a:gd name="connsiteX7363" fmla="*/ 2352475 w 6789110"/>
              <a:gd name="connsiteY7363" fmla="*/ 1658945 h 6386516"/>
              <a:gd name="connsiteX7364" fmla="*/ 2354399 w 6789110"/>
              <a:gd name="connsiteY7364" fmla="*/ 1657021 h 6386516"/>
              <a:gd name="connsiteX7365" fmla="*/ 2360174 w 6789110"/>
              <a:gd name="connsiteY7365" fmla="*/ 1657021 h 6386516"/>
              <a:gd name="connsiteX7366" fmla="*/ 2360174 w 6789110"/>
              <a:gd name="connsiteY7366" fmla="*/ 1662796 h 6386516"/>
              <a:gd name="connsiteX7367" fmla="*/ 2356324 w 6789110"/>
              <a:gd name="connsiteY7367" fmla="*/ 1668570 h 6386516"/>
              <a:gd name="connsiteX7368" fmla="*/ 2360174 w 6789110"/>
              <a:gd name="connsiteY7368" fmla="*/ 1670494 h 6386516"/>
              <a:gd name="connsiteX7369" fmla="*/ 2367873 w 6789110"/>
              <a:gd name="connsiteY7369" fmla="*/ 1664720 h 6386516"/>
              <a:gd name="connsiteX7370" fmla="*/ 2385196 w 6789110"/>
              <a:gd name="connsiteY7370" fmla="*/ 1672419 h 6386516"/>
              <a:gd name="connsiteX7371" fmla="*/ 2389046 w 6789110"/>
              <a:gd name="connsiteY7371" fmla="*/ 1683967 h 6386516"/>
              <a:gd name="connsiteX7372" fmla="*/ 2385196 w 6789110"/>
              <a:gd name="connsiteY7372" fmla="*/ 1689743 h 6386516"/>
              <a:gd name="connsiteX7373" fmla="*/ 2394820 w 6789110"/>
              <a:gd name="connsiteY7373" fmla="*/ 1689743 h 6386516"/>
              <a:gd name="connsiteX7374" fmla="*/ 2400594 w 6789110"/>
              <a:gd name="connsiteY7374" fmla="*/ 1695517 h 6386516"/>
              <a:gd name="connsiteX7375" fmla="*/ 2404444 w 6789110"/>
              <a:gd name="connsiteY7375" fmla="*/ 1703215 h 6386516"/>
              <a:gd name="connsiteX7376" fmla="*/ 2408293 w 6789110"/>
              <a:gd name="connsiteY7376" fmla="*/ 1695517 h 6386516"/>
              <a:gd name="connsiteX7377" fmla="*/ 2408293 w 6789110"/>
              <a:gd name="connsiteY7377" fmla="*/ 1687817 h 6386516"/>
              <a:gd name="connsiteX7378" fmla="*/ 2402519 w 6789110"/>
              <a:gd name="connsiteY7378" fmla="*/ 1691666 h 6386516"/>
              <a:gd name="connsiteX7379" fmla="*/ 2402519 w 6789110"/>
              <a:gd name="connsiteY7379" fmla="*/ 1689743 h 6386516"/>
              <a:gd name="connsiteX7380" fmla="*/ 2398669 w 6789110"/>
              <a:gd name="connsiteY7380" fmla="*/ 1680119 h 6386516"/>
              <a:gd name="connsiteX7381" fmla="*/ 2404444 w 6789110"/>
              <a:gd name="connsiteY7381" fmla="*/ 1680119 h 6386516"/>
              <a:gd name="connsiteX7382" fmla="*/ 2404444 w 6789110"/>
              <a:gd name="connsiteY7382" fmla="*/ 1674343 h 6386516"/>
              <a:gd name="connsiteX7383" fmla="*/ 2394820 w 6789110"/>
              <a:gd name="connsiteY7383" fmla="*/ 1674343 h 6386516"/>
              <a:gd name="connsiteX7384" fmla="*/ 2387121 w 6789110"/>
              <a:gd name="connsiteY7384" fmla="*/ 1664720 h 6386516"/>
              <a:gd name="connsiteX7385" fmla="*/ 2392895 w 6789110"/>
              <a:gd name="connsiteY7385" fmla="*/ 1657021 h 6386516"/>
              <a:gd name="connsiteX7386" fmla="*/ 2396745 w 6789110"/>
              <a:gd name="connsiteY7386" fmla="*/ 1657021 h 6386516"/>
              <a:gd name="connsiteX7387" fmla="*/ 2396745 w 6789110"/>
              <a:gd name="connsiteY7387" fmla="*/ 1651246 h 6386516"/>
              <a:gd name="connsiteX7388" fmla="*/ 2391612 w 6789110"/>
              <a:gd name="connsiteY7388" fmla="*/ 1656378 h 6386516"/>
              <a:gd name="connsiteX7389" fmla="*/ 2389046 w 6789110"/>
              <a:gd name="connsiteY7389" fmla="*/ 1655096 h 6386516"/>
              <a:gd name="connsiteX7390" fmla="*/ 2383271 w 6789110"/>
              <a:gd name="connsiteY7390" fmla="*/ 1658945 h 6386516"/>
              <a:gd name="connsiteX7391" fmla="*/ 2375573 w 6789110"/>
              <a:gd name="connsiteY7391" fmla="*/ 1657021 h 6386516"/>
              <a:gd name="connsiteX7392" fmla="*/ 2369799 w 6789110"/>
              <a:gd name="connsiteY7392" fmla="*/ 1660871 h 6386516"/>
              <a:gd name="connsiteX7393" fmla="*/ 2369799 w 6789110"/>
              <a:gd name="connsiteY7393" fmla="*/ 1655096 h 6386516"/>
              <a:gd name="connsiteX7394" fmla="*/ 2375573 w 6789110"/>
              <a:gd name="connsiteY7394" fmla="*/ 1655096 h 6386516"/>
              <a:gd name="connsiteX7395" fmla="*/ 2369799 w 6789110"/>
              <a:gd name="connsiteY7395" fmla="*/ 1643547 h 6386516"/>
              <a:gd name="connsiteX7396" fmla="*/ 2369799 w 6789110"/>
              <a:gd name="connsiteY7396" fmla="*/ 1635848 h 6386516"/>
              <a:gd name="connsiteX7397" fmla="*/ 2365948 w 6789110"/>
              <a:gd name="connsiteY7397" fmla="*/ 1637773 h 6386516"/>
              <a:gd name="connsiteX7398" fmla="*/ 2367873 w 6789110"/>
              <a:gd name="connsiteY7398" fmla="*/ 1628148 h 6386516"/>
              <a:gd name="connsiteX7399" fmla="*/ 2373647 w 6789110"/>
              <a:gd name="connsiteY7399" fmla="*/ 1626224 h 6386516"/>
              <a:gd name="connsiteX7400" fmla="*/ 2373647 w 6789110"/>
              <a:gd name="connsiteY7400" fmla="*/ 1631998 h 6386516"/>
              <a:gd name="connsiteX7401" fmla="*/ 2379422 w 6789110"/>
              <a:gd name="connsiteY7401" fmla="*/ 1626224 h 6386516"/>
              <a:gd name="connsiteX7402" fmla="*/ 2385196 w 6789110"/>
              <a:gd name="connsiteY7402" fmla="*/ 1630074 h 6386516"/>
              <a:gd name="connsiteX7403" fmla="*/ 2389046 w 6789110"/>
              <a:gd name="connsiteY7403" fmla="*/ 1624299 h 6386516"/>
              <a:gd name="connsiteX7404" fmla="*/ 2379422 w 6789110"/>
              <a:gd name="connsiteY7404" fmla="*/ 1626224 h 6386516"/>
              <a:gd name="connsiteX7405" fmla="*/ 2369799 w 6789110"/>
              <a:gd name="connsiteY7405" fmla="*/ 1622374 h 6386516"/>
              <a:gd name="connsiteX7406" fmla="*/ 2371722 w 6789110"/>
              <a:gd name="connsiteY7406" fmla="*/ 1614294 h 6386516"/>
              <a:gd name="connsiteX7407" fmla="*/ 2371722 w 6789110"/>
              <a:gd name="connsiteY7407" fmla="*/ 1616600 h 6386516"/>
              <a:gd name="connsiteX7408" fmla="*/ 2377497 w 6789110"/>
              <a:gd name="connsiteY7408" fmla="*/ 1616600 h 6386516"/>
              <a:gd name="connsiteX7409" fmla="*/ 2372389 w 6789110"/>
              <a:gd name="connsiteY7409" fmla="*/ 1611492 h 6386516"/>
              <a:gd name="connsiteX7410" fmla="*/ 2379422 w 6789110"/>
              <a:gd name="connsiteY7410" fmla="*/ 1581954 h 6386516"/>
              <a:gd name="connsiteX7411" fmla="*/ 2383271 w 6789110"/>
              <a:gd name="connsiteY7411" fmla="*/ 1581954 h 6386516"/>
              <a:gd name="connsiteX7412" fmla="*/ 2381347 w 6789110"/>
              <a:gd name="connsiteY7412" fmla="*/ 1576179 h 6386516"/>
              <a:gd name="connsiteX7413" fmla="*/ 2414067 w 6789110"/>
              <a:gd name="connsiteY7413" fmla="*/ 1484512 h 6386516"/>
              <a:gd name="connsiteX7414" fmla="*/ 2453114 w 6789110"/>
              <a:gd name="connsiteY7414" fmla="*/ 1412573 h 6386516"/>
              <a:gd name="connsiteX7415" fmla="*/ 2458338 w 6789110"/>
              <a:gd name="connsiteY7415" fmla="*/ 1402949 h 6386516"/>
              <a:gd name="connsiteX7416" fmla="*/ 2462188 w 6789110"/>
              <a:gd name="connsiteY7416" fmla="*/ 1402949 h 6386516"/>
              <a:gd name="connsiteX7417" fmla="*/ 2464112 w 6789110"/>
              <a:gd name="connsiteY7417" fmla="*/ 1401025 h 6386516"/>
              <a:gd name="connsiteX7418" fmla="*/ 2462188 w 6789110"/>
              <a:gd name="connsiteY7418" fmla="*/ 1395250 h 6386516"/>
              <a:gd name="connsiteX7419" fmla="*/ 2577675 w 6789110"/>
              <a:gd name="connsiteY7419" fmla="*/ 1262440 h 6386516"/>
              <a:gd name="connsiteX7420" fmla="*/ 2637343 w 6789110"/>
              <a:gd name="connsiteY7420" fmla="*/ 1233568 h 6386516"/>
              <a:gd name="connsiteX7421" fmla="*/ 2754755 w 6789110"/>
              <a:gd name="connsiteY7421" fmla="*/ 1198922 h 6386516"/>
              <a:gd name="connsiteX7422" fmla="*/ 2715537 w 6789110"/>
              <a:gd name="connsiteY7422" fmla="*/ 1194350 h 6386516"/>
              <a:gd name="connsiteX7423" fmla="*/ 2683860 w 6789110"/>
              <a:gd name="connsiteY7423" fmla="*/ 1196570 h 6386516"/>
              <a:gd name="connsiteX7424" fmla="*/ 2681613 w 6789110"/>
              <a:gd name="connsiteY7424" fmla="*/ 1195072 h 6386516"/>
              <a:gd name="connsiteX7425" fmla="*/ 2681613 w 6789110"/>
              <a:gd name="connsiteY7425" fmla="*/ 1196728 h 6386516"/>
              <a:gd name="connsiteX7426" fmla="*/ 2677764 w 6789110"/>
              <a:gd name="connsiteY7426" fmla="*/ 1196997 h 6386516"/>
              <a:gd name="connsiteX7427" fmla="*/ 2677764 w 6789110"/>
              <a:gd name="connsiteY7427" fmla="*/ 1193147 h 6386516"/>
              <a:gd name="connsiteX7428" fmla="*/ 2677764 w 6789110"/>
              <a:gd name="connsiteY7428" fmla="*/ 1191223 h 6386516"/>
              <a:gd name="connsiteX7429" fmla="*/ 2679688 w 6789110"/>
              <a:gd name="connsiteY7429" fmla="*/ 1191223 h 6386516"/>
              <a:gd name="connsiteX7430" fmla="*/ 2677764 w 6789110"/>
              <a:gd name="connsiteY7430" fmla="*/ 1187373 h 6386516"/>
              <a:gd name="connsiteX7431" fmla="*/ 2679688 w 6789110"/>
              <a:gd name="connsiteY7431" fmla="*/ 1187373 h 6386516"/>
              <a:gd name="connsiteX7432" fmla="*/ 2679688 w 6789110"/>
              <a:gd name="connsiteY7432" fmla="*/ 1189298 h 6386516"/>
              <a:gd name="connsiteX7433" fmla="*/ 2685463 w 6789110"/>
              <a:gd name="connsiteY7433" fmla="*/ 1193147 h 6386516"/>
              <a:gd name="connsiteX7434" fmla="*/ 2691237 w 6789110"/>
              <a:gd name="connsiteY7434" fmla="*/ 1191223 h 6386516"/>
              <a:gd name="connsiteX7435" fmla="*/ 2689312 w 6789110"/>
              <a:gd name="connsiteY7435" fmla="*/ 1193147 h 6386516"/>
              <a:gd name="connsiteX7436" fmla="*/ 2695087 w 6789110"/>
              <a:gd name="connsiteY7436" fmla="*/ 1191223 h 6386516"/>
              <a:gd name="connsiteX7437" fmla="*/ 2695087 w 6789110"/>
              <a:gd name="connsiteY7437" fmla="*/ 1189298 h 6386516"/>
              <a:gd name="connsiteX7438" fmla="*/ 2691237 w 6789110"/>
              <a:gd name="connsiteY7438" fmla="*/ 1187373 h 6386516"/>
              <a:gd name="connsiteX7439" fmla="*/ 2691237 w 6789110"/>
              <a:gd name="connsiteY7439" fmla="*/ 1185448 h 6386516"/>
              <a:gd name="connsiteX7440" fmla="*/ 2693162 w 6789110"/>
              <a:gd name="connsiteY7440" fmla="*/ 1183523 h 6386516"/>
              <a:gd name="connsiteX7441" fmla="*/ 2689312 w 6789110"/>
              <a:gd name="connsiteY7441" fmla="*/ 1185448 h 6386516"/>
              <a:gd name="connsiteX7442" fmla="*/ 2691237 w 6789110"/>
              <a:gd name="connsiteY7442" fmla="*/ 1187373 h 6386516"/>
              <a:gd name="connsiteX7443" fmla="*/ 2689312 w 6789110"/>
              <a:gd name="connsiteY7443" fmla="*/ 1189298 h 6386516"/>
              <a:gd name="connsiteX7444" fmla="*/ 2685463 w 6789110"/>
              <a:gd name="connsiteY7444" fmla="*/ 1187373 h 6386516"/>
              <a:gd name="connsiteX7445" fmla="*/ 2685463 w 6789110"/>
              <a:gd name="connsiteY7445" fmla="*/ 1185448 h 6386516"/>
              <a:gd name="connsiteX7446" fmla="*/ 2679688 w 6789110"/>
              <a:gd name="connsiteY7446" fmla="*/ 1181599 h 6386516"/>
              <a:gd name="connsiteX7447" fmla="*/ 2683538 w 6789110"/>
              <a:gd name="connsiteY7447" fmla="*/ 1177749 h 6386516"/>
              <a:gd name="connsiteX7448" fmla="*/ 2681613 w 6789110"/>
              <a:gd name="connsiteY7448" fmla="*/ 1175824 h 6386516"/>
              <a:gd name="connsiteX7449" fmla="*/ 2683538 w 6789110"/>
              <a:gd name="connsiteY7449" fmla="*/ 1173899 h 6386516"/>
              <a:gd name="connsiteX7450" fmla="*/ 2677764 w 6789110"/>
              <a:gd name="connsiteY7450" fmla="*/ 1175824 h 6386516"/>
              <a:gd name="connsiteX7451" fmla="*/ 2675839 w 6789110"/>
              <a:gd name="connsiteY7451" fmla="*/ 1177749 h 6386516"/>
              <a:gd name="connsiteX7452" fmla="*/ 2671989 w 6789110"/>
              <a:gd name="connsiteY7452" fmla="*/ 1173899 h 6386516"/>
              <a:gd name="connsiteX7453" fmla="*/ 2670064 w 6789110"/>
              <a:gd name="connsiteY7453" fmla="*/ 1177749 h 6386516"/>
              <a:gd name="connsiteX7454" fmla="*/ 2671989 w 6789110"/>
              <a:gd name="connsiteY7454" fmla="*/ 1179674 h 6386516"/>
              <a:gd name="connsiteX7455" fmla="*/ 2675839 w 6789110"/>
              <a:gd name="connsiteY7455" fmla="*/ 1179674 h 6386516"/>
              <a:gd name="connsiteX7456" fmla="*/ 2673914 w 6789110"/>
              <a:gd name="connsiteY7456" fmla="*/ 1181599 h 6386516"/>
              <a:gd name="connsiteX7457" fmla="*/ 2677764 w 6789110"/>
              <a:gd name="connsiteY7457" fmla="*/ 1183523 h 6386516"/>
              <a:gd name="connsiteX7458" fmla="*/ 2675839 w 6789110"/>
              <a:gd name="connsiteY7458" fmla="*/ 1185448 h 6386516"/>
              <a:gd name="connsiteX7459" fmla="*/ 2670064 w 6789110"/>
              <a:gd name="connsiteY7459" fmla="*/ 1189298 h 6386516"/>
              <a:gd name="connsiteX7460" fmla="*/ 2672470 w 6789110"/>
              <a:gd name="connsiteY7460" fmla="*/ 1193869 h 6386516"/>
              <a:gd name="connsiteX7461" fmla="*/ 2674104 w 6789110"/>
              <a:gd name="connsiteY7461" fmla="*/ 1194835 h 6386516"/>
              <a:gd name="connsiteX7462" fmla="*/ 2673914 w 6789110"/>
              <a:gd name="connsiteY7462" fmla="*/ 1195072 h 6386516"/>
              <a:gd name="connsiteX7463" fmla="*/ 2670064 w 6789110"/>
              <a:gd name="connsiteY7463" fmla="*/ 1195072 h 6386516"/>
              <a:gd name="connsiteX7464" fmla="*/ 2668140 w 6789110"/>
              <a:gd name="connsiteY7464" fmla="*/ 1195072 h 6386516"/>
              <a:gd name="connsiteX7465" fmla="*/ 2666215 w 6789110"/>
              <a:gd name="connsiteY7465" fmla="*/ 1195072 h 6386516"/>
              <a:gd name="connsiteX7466" fmla="*/ 2643117 w 6789110"/>
              <a:gd name="connsiteY7466" fmla="*/ 1200847 h 6386516"/>
              <a:gd name="connsiteX7467" fmla="*/ 2640232 w 6789110"/>
              <a:gd name="connsiteY7467" fmla="*/ 1201809 h 6386516"/>
              <a:gd name="connsiteX7468" fmla="*/ 2641193 w 6789110"/>
              <a:gd name="connsiteY7468" fmla="*/ 1200847 h 6386516"/>
              <a:gd name="connsiteX7469" fmla="*/ 2639268 w 6789110"/>
              <a:gd name="connsiteY7469" fmla="*/ 1198922 h 6386516"/>
              <a:gd name="connsiteX7470" fmla="*/ 2637343 w 6789110"/>
              <a:gd name="connsiteY7470" fmla="*/ 1195072 h 6386516"/>
              <a:gd name="connsiteX7471" fmla="*/ 2633494 w 6789110"/>
              <a:gd name="connsiteY7471" fmla="*/ 1195072 h 6386516"/>
              <a:gd name="connsiteX7472" fmla="*/ 2633494 w 6789110"/>
              <a:gd name="connsiteY7472" fmla="*/ 1197960 h 6386516"/>
              <a:gd name="connsiteX7473" fmla="*/ 2631569 w 6789110"/>
              <a:gd name="connsiteY7473" fmla="*/ 1196997 h 6386516"/>
              <a:gd name="connsiteX7474" fmla="*/ 2631569 w 6789110"/>
              <a:gd name="connsiteY7474" fmla="*/ 1204522 h 6386516"/>
              <a:gd name="connsiteX7475" fmla="*/ 2588209 w 6789110"/>
              <a:gd name="connsiteY7475" fmla="*/ 1224241 h 6386516"/>
              <a:gd name="connsiteX7476" fmla="*/ 2352475 w 6789110"/>
              <a:gd name="connsiteY7476" fmla="*/ 1564630 h 6386516"/>
              <a:gd name="connsiteX7477" fmla="*/ 2348625 w 6789110"/>
              <a:gd name="connsiteY7477" fmla="*/ 1568480 h 6386516"/>
              <a:gd name="connsiteX7478" fmla="*/ 2342851 w 6789110"/>
              <a:gd name="connsiteY7478" fmla="*/ 1568480 h 6386516"/>
              <a:gd name="connsiteX7479" fmla="*/ 2344776 w 6789110"/>
              <a:gd name="connsiteY7479" fmla="*/ 1570405 h 6386516"/>
              <a:gd name="connsiteX7480" fmla="*/ 2342851 w 6789110"/>
              <a:gd name="connsiteY7480" fmla="*/ 1570405 h 6386516"/>
              <a:gd name="connsiteX7481" fmla="*/ 2342851 w 6789110"/>
              <a:gd name="connsiteY7481" fmla="*/ 1572330 h 6386516"/>
              <a:gd name="connsiteX7482" fmla="*/ 2339002 w 6789110"/>
              <a:gd name="connsiteY7482" fmla="*/ 1574254 h 6386516"/>
              <a:gd name="connsiteX7483" fmla="*/ 2337076 w 6789110"/>
              <a:gd name="connsiteY7483" fmla="*/ 1574254 h 6386516"/>
              <a:gd name="connsiteX7484" fmla="*/ 2338359 w 6789110"/>
              <a:gd name="connsiteY7484" fmla="*/ 1570405 h 6386516"/>
              <a:gd name="connsiteX7485" fmla="*/ 2339002 w 6789110"/>
              <a:gd name="connsiteY7485" fmla="*/ 1570405 h 6386516"/>
              <a:gd name="connsiteX7486" fmla="*/ 2338681 w 6789110"/>
              <a:gd name="connsiteY7486" fmla="*/ 1569443 h 6386516"/>
              <a:gd name="connsiteX7487" fmla="*/ 2339002 w 6789110"/>
              <a:gd name="connsiteY7487" fmla="*/ 1568480 h 6386516"/>
              <a:gd name="connsiteX7488" fmla="*/ 2342851 w 6789110"/>
              <a:gd name="connsiteY7488" fmla="*/ 1560781 h 6386516"/>
              <a:gd name="connsiteX7489" fmla="*/ 2348625 w 6789110"/>
              <a:gd name="connsiteY7489" fmla="*/ 1560781 h 6386516"/>
              <a:gd name="connsiteX7490" fmla="*/ 2348625 w 6789110"/>
              <a:gd name="connsiteY7490" fmla="*/ 1555007 h 6386516"/>
              <a:gd name="connsiteX7491" fmla="*/ 2342851 w 6789110"/>
              <a:gd name="connsiteY7491" fmla="*/ 1560781 h 6386516"/>
              <a:gd name="connsiteX7492" fmla="*/ 2337076 w 6789110"/>
              <a:gd name="connsiteY7492" fmla="*/ 1564630 h 6386516"/>
              <a:gd name="connsiteX7493" fmla="*/ 2338681 w 6789110"/>
              <a:gd name="connsiteY7493" fmla="*/ 1569443 h 6386516"/>
              <a:gd name="connsiteX7494" fmla="*/ 2338359 w 6789110"/>
              <a:gd name="connsiteY7494" fmla="*/ 1570405 h 6386516"/>
              <a:gd name="connsiteX7495" fmla="*/ 2329377 w 6789110"/>
              <a:gd name="connsiteY7495" fmla="*/ 1570405 h 6386516"/>
              <a:gd name="connsiteX7496" fmla="*/ 2333227 w 6789110"/>
              <a:gd name="connsiteY7496" fmla="*/ 1564630 h 6386516"/>
              <a:gd name="connsiteX7497" fmla="*/ 2323603 w 6789110"/>
              <a:gd name="connsiteY7497" fmla="*/ 1564630 h 6386516"/>
              <a:gd name="connsiteX7498" fmla="*/ 2317828 w 6789110"/>
              <a:gd name="connsiteY7498" fmla="*/ 1558856 h 6386516"/>
              <a:gd name="connsiteX7499" fmla="*/ 2325527 w 6789110"/>
              <a:gd name="connsiteY7499" fmla="*/ 1551157 h 6386516"/>
              <a:gd name="connsiteX7500" fmla="*/ 2321678 w 6789110"/>
              <a:gd name="connsiteY7500" fmla="*/ 1543458 h 6386516"/>
              <a:gd name="connsiteX7501" fmla="*/ 2313979 w 6789110"/>
              <a:gd name="connsiteY7501" fmla="*/ 1541533 h 6386516"/>
              <a:gd name="connsiteX7502" fmla="*/ 2313979 w 6789110"/>
              <a:gd name="connsiteY7502" fmla="*/ 1549233 h 6386516"/>
              <a:gd name="connsiteX7503" fmla="*/ 2298580 w 6789110"/>
              <a:gd name="connsiteY7503" fmla="*/ 1535759 h 6386516"/>
              <a:gd name="connsiteX7504" fmla="*/ 2304355 w 6789110"/>
              <a:gd name="connsiteY7504" fmla="*/ 1537683 h 6386516"/>
              <a:gd name="connsiteX7505" fmla="*/ 2313979 w 6789110"/>
              <a:gd name="connsiteY7505" fmla="*/ 1533835 h 6386516"/>
              <a:gd name="connsiteX7506" fmla="*/ 2325527 w 6789110"/>
              <a:gd name="connsiteY7506" fmla="*/ 1535759 h 6386516"/>
              <a:gd name="connsiteX7507" fmla="*/ 2321678 w 6789110"/>
              <a:gd name="connsiteY7507" fmla="*/ 1539609 h 6386516"/>
              <a:gd name="connsiteX7508" fmla="*/ 2339002 w 6789110"/>
              <a:gd name="connsiteY7508" fmla="*/ 1553082 h 6386516"/>
              <a:gd name="connsiteX7509" fmla="*/ 2342851 w 6789110"/>
              <a:gd name="connsiteY7509" fmla="*/ 1549233 h 6386516"/>
              <a:gd name="connsiteX7510" fmla="*/ 2335151 w 6789110"/>
              <a:gd name="connsiteY7510" fmla="*/ 1541533 h 6386516"/>
              <a:gd name="connsiteX7511" fmla="*/ 2337076 w 6789110"/>
              <a:gd name="connsiteY7511" fmla="*/ 1537683 h 6386516"/>
              <a:gd name="connsiteX7512" fmla="*/ 2333227 w 6789110"/>
              <a:gd name="connsiteY7512" fmla="*/ 1529985 h 6386516"/>
              <a:gd name="connsiteX7513" fmla="*/ 2354399 w 6789110"/>
              <a:gd name="connsiteY7513" fmla="*/ 1535759 h 6386516"/>
              <a:gd name="connsiteX7514" fmla="*/ 2344776 w 6789110"/>
              <a:gd name="connsiteY7514" fmla="*/ 1524211 h 6386516"/>
              <a:gd name="connsiteX7515" fmla="*/ 2350550 w 6789110"/>
              <a:gd name="connsiteY7515" fmla="*/ 1518437 h 6386516"/>
              <a:gd name="connsiteX7516" fmla="*/ 2344776 w 6789110"/>
              <a:gd name="connsiteY7516" fmla="*/ 1518437 h 6386516"/>
              <a:gd name="connsiteX7517" fmla="*/ 2344776 w 6789110"/>
              <a:gd name="connsiteY7517" fmla="*/ 1524211 h 6386516"/>
              <a:gd name="connsiteX7518" fmla="*/ 2344776 w 6789110"/>
              <a:gd name="connsiteY7518" fmla="*/ 1528059 h 6386516"/>
              <a:gd name="connsiteX7519" fmla="*/ 2339002 w 6789110"/>
              <a:gd name="connsiteY7519" fmla="*/ 1522285 h 6386516"/>
              <a:gd name="connsiteX7520" fmla="*/ 2329377 w 6789110"/>
              <a:gd name="connsiteY7520" fmla="*/ 1520361 h 6386516"/>
              <a:gd name="connsiteX7521" fmla="*/ 2321678 w 6789110"/>
              <a:gd name="connsiteY7521" fmla="*/ 1522285 h 6386516"/>
              <a:gd name="connsiteX7522" fmla="*/ 2310129 w 6789110"/>
              <a:gd name="connsiteY7522" fmla="*/ 1518437 h 6386516"/>
              <a:gd name="connsiteX7523" fmla="*/ 2306280 w 6789110"/>
              <a:gd name="connsiteY7523" fmla="*/ 1524211 h 6386516"/>
              <a:gd name="connsiteX7524" fmla="*/ 2300506 w 6789110"/>
              <a:gd name="connsiteY7524" fmla="*/ 1512662 h 6386516"/>
              <a:gd name="connsiteX7525" fmla="*/ 2312054 w 6789110"/>
              <a:gd name="connsiteY7525" fmla="*/ 1508813 h 6386516"/>
              <a:gd name="connsiteX7526" fmla="*/ 2317828 w 6789110"/>
              <a:gd name="connsiteY7526" fmla="*/ 1503038 h 6386516"/>
              <a:gd name="connsiteX7527" fmla="*/ 2315904 w 6789110"/>
              <a:gd name="connsiteY7527" fmla="*/ 1499189 h 6386516"/>
              <a:gd name="connsiteX7528" fmla="*/ 2321678 w 6789110"/>
              <a:gd name="connsiteY7528" fmla="*/ 1499189 h 6386516"/>
              <a:gd name="connsiteX7529" fmla="*/ 2313979 w 6789110"/>
              <a:gd name="connsiteY7529" fmla="*/ 1487639 h 6386516"/>
              <a:gd name="connsiteX7530" fmla="*/ 2308204 w 6789110"/>
              <a:gd name="connsiteY7530" fmla="*/ 1491489 h 6386516"/>
              <a:gd name="connsiteX7531" fmla="*/ 2312054 w 6789110"/>
              <a:gd name="connsiteY7531" fmla="*/ 1491489 h 6386516"/>
              <a:gd name="connsiteX7532" fmla="*/ 2312054 w 6789110"/>
              <a:gd name="connsiteY7532" fmla="*/ 1499189 h 6386516"/>
              <a:gd name="connsiteX7533" fmla="*/ 2296656 w 6789110"/>
              <a:gd name="connsiteY7533" fmla="*/ 1506887 h 6386516"/>
              <a:gd name="connsiteX7534" fmla="*/ 2294732 w 6789110"/>
              <a:gd name="connsiteY7534" fmla="*/ 1506887 h 6386516"/>
              <a:gd name="connsiteX7535" fmla="*/ 2290881 w 6789110"/>
              <a:gd name="connsiteY7535" fmla="*/ 1510737 h 6386516"/>
              <a:gd name="connsiteX7536" fmla="*/ 2294732 w 6789110"/>
              <a:gd name="connsiteY7536" fmla="*/ 1514587 h 6386516"/>
              <a:gd name="connsiteX7537" fmla="*/ 2287032 w 6789110"/>
              <a:gd name="connsiteY7537" fmla="*/ 1514587 h 6386516"/>
              <a:gd name="connsiteX7538" fmla="*/ 2279034 w 6789110"/>
              <a:gd name="connsiteY7538" fmla="*/ 1524758 h 6386516"/>
              <a:gd name="connsiteX7539" fmla="*/ 2283183 w 6789110"/>
              <a:gd name="connsiteY7539" fmla="*/ 1526141 h 6386516"/>
              <a:gd name="connsiteX7540" fmla="*/ 2279333 w 6789110"/>
              <a:gd name="connsiteY7540" fmla="*/ 1529990 h 6386516"/>
              <a:gd name="connsiteX7541" fmla="*/ 2273559 w 6789110"/>
              <a:gd name="connsiteY7541" fmla="*/ 1531916 h 6386516"/>
              <a:gd name="connsiteX7542" fmla="*/ 2273828 w 6789110"/>
              <a:gd name="connsiteY7542" fmla="*/ 1531379 h 6386516"/>
              <a:gd name="connsiteX7543" fmla="*/ 2264897 w 6789110"/>
              <a:gd name="connsiteY7543" fmla="*/ 1542737 h 6386516"/>
              <a:gd name="connsiteX7544" fmla="*/ 2252014 w 6789110"/>
              <a:gd name="connsiteY7544" fmla="*/ 1556945 h 6386516"/>
              <a:gd name="connsiteX7545" fmla="*/ 2256237 w 6789110"/>
              <a:gd name="connsiteY7545" fmla="*/ 1556945 h 6386516"/>
              <a:gd name="connsiteX7546" fmla="*/ 2254312 w 6789110"/>
              <a:gd name="connsiteY7546" fmla="*/ 1562719 h 6386516"/>
              <a:gd name="connsiteX7547" fmla="*/ 2250361 w 6789110"/>
              <a:gd name="connsiteY7547" fmla="*/ 1558768 h 6386516"/>
              <a:gd name="connsiteX7548" fmla="*/ 2248536 w 6789110"/>
              <a:gd name="connsiteY7548" fmla="*/ 1560781 h 6386516"/>
              <a:gd name="connsiteX7549" fmla="*/ 2246611 w 6789110"/>
              <a:gd name="connsiteY7549" fmla="*/ 1560781 h 6386516"/>
              <a:gd name="connsiteX7550" fmla="*/ 2246611 w 6789110"/>
              <a:gd name="connsiteY7550" fmla="*/ 1562706 h 6386516"/>
              <a:gd name="connsiteX7551" fmla="*/ 2240837 w 6789110"/>
              <a:gd name="connsiteY7551" fmla="*/ 1566555 h 6386516"/>
              <a:gd name="connsiteX7552" fmla="*/ 2236987 w 6789110"/>
              <a:gd name="connsiteY7552" fmla="*/ 1570405 h 6386516"/>
              <a:gd name="connsiteX7553" fmla="*/ 2236987 w 6789110"/>
              <a:gd name="connsiteY7553" fmla="*/ 1568480 h 6386516"/>
              <a:gd name="connsiteX7554" fmla="*/ 2154221 w 6789110"/>
              <a:gd name="connsiteY7554" fmla="*/ 1493414 h 6386516"/>
              <a:gd name="connsiteX7555" fmla="*/ 2152297 w 6789110"/>
              <a:gd name="connsiteY7555" fmla="*/ 1466467 h 6386516"/>
              <a:gd name="connsiteX7556" fmla="*/ 2136898 w 6789110"/>
              <a:gd name="connsiteY7556" fmla="*/ 1478016 h 6386516"/>
              <a:gd name="connsiteX7557" fmla="*/ 2125351 w 6789110"/>
              <a:gd name="connsiteY7557" fmla="*/ 1474166 h 6386516"/>
              <a:gd name="connsiteX7558" fmla="*/ 2119575 w 6789110"/>
              <a:gd name="connsiteY7558" fmla="*/ 1468392 h 6386516"/>
              <a:gd name="connsiteX7559" fmla="*/ 2117650 w 6789110"/>
              <a:gd name="connsiteY7559" fmla="*/ 1460693 h 6386516"/>
              <a:gd name="connsiteX7560" fmla="*/ 2119575 w 6789110"/>
              <a:gd name="connsiteY7560" fmla="*/ 1451069 h 6386516"/>
              <a:gd name="connsiteX7561" fmla="*/ 2133050 w 6789110"/>
              <a:gd name="connsiteY7561" fmla="*/ 1443370 h 6386516"/>
              <a:gd name="connsiteX7562" fmla="*/ 2148447 w 6789110"/>
              <a:gd name="connsiteY7562" fmla="*/ 1443370 h 6386516"/>
              <a:gd name="connsiteX7563" fmla="*/ 2148447 w 6789110"/>
              <a:gd name="connsiteY7563" fmla="*/ 1449144 h 6386516"/>
              <a:gd name="connsiteX7564" fmla="*/ 2150372 w 6789110"/>
              <a:gd name="connsiteY7564" fmla="*/ 1449144 h 6386516"/>
              <a:gd name="connsiteX7565" fmla="*/ 2183093 w 6789110"/>
              <a:gd name="connsiteY7565" fmla="*/ 1406799 h 6386516"/>
              <a:gd name="connsiteX7566" fmla="*/ 2190792 w 6789110"/>
              <a:gd name="connsiteY7566" fmla="*/ 1331732 h 6386516"/>
              <a:gd name="connsiteX7567" fmla="*/ 2188868 w 6789110"/>
              <a:gd name="connsiteY7567" fmla="*/ 1327883 h 6386516"/>
              <a:gd name="connsiteX7568" fmla="*/ 2188868 w 6789110"/>
              <a:gd name="connsiteY7568" fmla="*/ 1322108 h 6386516"/>
              <a:gd name="connsiteX7569" fmla="*/ 2188868 w 6789110"/>
              <a:gd name="connsiteY7569" fmla="*/ 1287462 h 6386516"/>
              <a:gd name="connsiteX7570" fmla="*/ 2198492 w 6789110"/>
              <a:gd name="connsiteY7570" fmla="*/ 1216245 h 6386516"/>
              <a:gd name="connsiteX7571" fmla="*/ 2198492 w 6789110"/>
              <a:gd name="connsiteY7571" fmla="*/ 1191223 h 6386516"/>
              <a:gd name="connsiteX7572" fmla="*/ 2190792 w 6789110"/>
              <a:gd name="connsiteY7572" fmla="*/ 1191223 h 6386516"/>
              <a:gd name="connsiteX7573" fmla="*/ 2185018 w 6789110"/>
              <a:gd name="connsiteY7573" fmla="*/ 1177749 h 6386516"/>
              <a:gd name="connsiteX7574" fmla="*/ 2198492 w 6789110"/>
              <a:gd name="connsiteY7574" fmla="*/ 1168125 h 6386516"/>
              <a:gd name="connsiteX7575" fmla="*/ 2198492 w 6789110"/>
              <a:gd name="connsiteY7575" fmla="*/ 1170050 h 6386516"/>
              <a:gd name="connsiteX7576" fmla="*/ 2204266 w 6789110"/>
              <a:gd name="connsiteY7576" fmla="*/ 1106533 h 6386516"/>
              <a:gd name="connsiteX7577" fmla="*/ 2169621 w 6789110"/>
              <a:gd name="connsiteY7577" fmla="*/ 1041090 h 6386516"/>
              <a:gd name="connsiteX7578" fmla="*/ 2146522 w 6789110"/>
              <a:gd name="connsiteY7578" fmla="*/ 1002593 h 6386516"/>
              <a:gd name="connsiteX7579" fmla="*/ 2111876 w 6789110"/>
              <a:gd name="connsiteY7579" fmla="*/ 964098 h 6386516"/>
              <a:gd name="connsiteX7580" fmla="*/ 1994464 w 6789110"/>
              <a:gd name="connsiteY7580" fmla="*/ 923677 h 6386516"/>
              <a:gd name="connsiteX7581" fmla="*/ 1990614 w 6789110"/>
              <a:gd name="connsiteY7581" fmla="*/ 923677 h 6386516"/>
              <a:gd name="connsiteX7582" fmla="*/ 1950194 w 6789110"/>
              <a:gd name="connsiteY7582" fmla="*/ 767768 h 6386516"/>
              <a:gd name="connsiteX7583" fmla="*/ 1979066 w 6789110"/>
              <a:gd name="connsiteY7583" fmla="*/ 735047 h 6386516"/>
              <a:gd name="connsiteX7584" fmla="*/ 3239802 w 6789110"/>
              <a:gd name="connsiteY7584" fmla="*/ 681201 h 6386516"/>
              <a:gd name="connsiteX7585" fmla="*/ 3108917 w 6789110"/>
              <a:gd name="connsiteY7585" fmla="*/ 977639 h 6386516"/>
              <a:gd name="connsiteX7586" fmla="*/ 2993429 w 6789110"/>
              <a:gd name="connsiteY7586" fmla="*/ 1193214 h 6386516"/>
              <a:gd name="connsiteX7587" fmla="*/ 2989580 w 6789110"/>
              <a:gd name="connsiteY7587" fmla="*/ 1216310 h 6386516"/>
              <a:gd name="connsiteX7588" fmla="*/ 2997279 w 6789110"/>
              <a:gd name="connsiteY7588" fmla="*/ 1233633 h 6386516"/>
              <a:gd name="connsiteX7589" fmla="*/ 3239802 w 6789110"/>
              <a:gd name="connsiteY7589" fmla="*/ 681201 h 6386516"/>
              <a:gd name="connsiteX7590" fmla="*/ 3162812 w 6789110"/>
              <a:gd name="connsiteY7590" fmla="*/ 681201 h 6386516"/>
              <a:gd name="connsiteX7591" fmla="*/ 2953009 w 6789110"/>
              <a:gd name="connsiteY7591" fmla="*/ 1137396 h 6386516"/>
              <a:gd name="connsiteX7592" fmla="*/ 2953009 w 6789110"/>
              <a:gd name="connsiteY7592" fmla="*/ 1183590 h 6386516"/>
              <a:gd name="connsiteX7593" fmla="*/ 2954934 w 6789110"/>
              <a:gd name="connsiteY7593" fmla="*/ 1197063 h 6386516"/>
              <a:gd name="connsiteX7594" fmla="*/ 2985730 w 6789110"/>
              <a:gd name="connsiteY7594" fmla="*/ 1131623 h 6386516"/>
              <a:gd name="connsiteX7595" fmla="*/ 3001129 w 6789110"/>
              <a:gd name="connsiteY7595" fmla="*/ 1066181 h 6386516"/>
              <a:gd name="connsiteX7596" fmla="*/ 3020377 w 6789110"/>
              <a:gd name="connsiteY7596" fmla="*/ 1052707 h 6386516"/>
              <a:gd name="connsiteX7597" fmla="*/ 3162812 w 6789110"/>
              <a:gd name="connsiteY7597" fmla="*/ 681201 h 6386516"/>
              <a:gd name="connsiteX7598" fmla="*/ 3095443 w 6789110"/>
              <a:gd name="connsiteY7598" fmla="*/ 671577 h 6386516"/>
              <a:gd name="connsiteX7599" fmla="*/ 2956858 w 6789110"/>
              <a:gd name="connsiteY7599" fmla="*/ 979563 h 6386516"/>
              <a:gd name="connsiteX7600" fmla="*/ 2976106 w 6789110"/>
              <a:gd name="connsiteY7600" fmla="*/ 981488 h 6386516"/>
              <a:gd name="connsiteX7601" fmla="*/ 3095443 w 6789110"/>
              <a:gd name="connsiteY7601" fmla="*/ 671577 h 6386516"/>
              <a:gd name="connsiteX7602" fmla="*/ 3316794 w 6789110"/>
              <a:gd name="connsiteY7602" fmla="*/ 642705 h 6386516"/>
              <a:gd name="connsiteX7603" fmla="*/ 3012678 w 6789110"/>
              <a:gd name="connsiteY7603" fmla="*/ 1283675 h 6386516"/>
              <a:gd name="connsiteX7604" fmla="*/ 3016527 w 6789110"/>
              <a:gd name="connsiteY7604" fmla="*/ 1295223 h 6386516"/>
              <a:gd name="connsiteX7605" fmla="*/ 3043475 w 6789110"/>
              <a:gd name="connsiteY7605" fmla="*/ 1287525 h 6386516"/>
              <a:gd name="connsiteX7606" fmla="*/ 3316794 w 6789110"/>
              <a:gd name="connsiteY7606" fmla="*/ 642705 h 6386516"/>
              <a:gd name="connsiteX7607" fmla="*/ 2945310 w 6789110"/>
              <a:gd name="connsiteY7607" fmla="*/ 609990 h 6386516"/>
              <a:gd name="connsiteX7608" fmla="*/ 2741282 w 6789110"/>
              <a:gd name="connsiteY7608" fmla="*/ 1039240 h 6386516"/>
              <a:gd name="connsiteX7609" fmla="*/ 2727808 w 6789110"/>
              <a:gd name="connsiteY7609" fmla="*/ 987269 h 6386516"/>
              <a:gd name="connsiteX7610" fmla="*/ 2797100 w 6789110"/>
              <a:gd name="connsiteY7610" fmla="*/ 869834 h 6386516"/>
              <a:gd name="connsiteX7611" fmla="*/ 2766304 w 6789110"/>
              <a:gd name="connsiteY7611" fmla="*/ 910254 h 6386516"/>
              <a:gd name="connsiteX7612" fmla="*/ 2945310 w 6789110"/>
              <a:gd name="connsiteY7612" fmla="*/ 609990 h 6386516"/>
              <a:gd name="connsiteX7613" fmla="*/ 3413033 w 6789110"/>
              <a:gd name="connsiteY7613" fmla="*/ 583038 h 6386516"/>
              <a:gd name="connsiteX7614" fmla="*/ 3101218 w 6789110"/>
              <a:gd name="connsiteY7614" fmla="*/ 1268277 h 6386516"/>
              <a:gd name="connsiteX7615" fmla="*/ 3141638 w 6789110"/>
              <a:gd name="connsiteY7615" fmla="*/ 1260579 h 6386516"/>
              <a:gd name="connsiteX7616" fmla="*/ 3413033 w 6789110"/>
              <a:gd name="connsiteY7616" fmla="*/ 583038 h 6386516"/>
              <a:gd name="connsiteX7617" fmla="*/ 4650372 w 6789110"/>
              <a:gd name="connsiteY7617" fmla="*/ 577299 h 6386516"/>
              <a:gd name="connsiteX7618" fmla="*/ 4652597 w 6789110"/>
              <a:gd name="connsiteY7618" fmla="*/ 583043 h 6386516"/>
              <a:gd name="connsiteX7619" fmla="*/ 4637199 w 6789110"/>
              <a:gd name="connsiteY7619" fmla="*/ 596518 h 6386516"/>
              <a:gd name="connsiteX7620" fmla="*/ 4631425 w 6789110"/>
              <a:gd name="connsiteY7620" fmla="*/ 579194 h 6386516"/>
              <a:gd name="connsiteX7621" fmla="*/ 4650372 w 6789110"/>
              <a:gd name="connsiteY7621" fmla="*/ 577299 h 6386516"/>
              <a:gd name="connsiteX7622" fmla="*/ 4442794 w 6789110"/>
              <a:gd name="connsiteY7622" fmla="*/ 554167 h 6386516"/>
              <a:gd name="connsiteX7623" fmla="*/ 4446643 w 6789110"/>
              <a:gd name="connsiteY7623" fmla="*/ 567640 h 6386516"/>
              <a:gd name="connsiteX7624" fmla="*/ 4435095 w 6789110"/>
              <a:gd name="connsiteY7624" fmla="*/ 584965 h 6386516"/>
              <a:gd name="connsiteX7625" fmla="*/ 4442794 w 6789110"/>
              <a:gd name="connsiteY7625" fmla="*/ 554167 h 6386516"/>
              <a:gd name="connsiteX7626" fmla="*/ 3087745 w 6789110"/>
              <a:gd name="connsiteY7626" fmla="*/ 413659 h 6386516"/>
              <a:gd name="connsiteX7627" fmla="*/ 2818274 w 6789110"/>
              <a:gd name="connsiteY7627" fmla="*/ 1077735 h 6386516"/>
              <a:gd name="connsiteX7628" fmla="*/ 2770154 w 6789110"/>
              <a:gd name="connsiteY7628" fmla="*/ 1062335 h 6386516"/>
              <a:gd name="connsiteX7629" fmla="*/ 3087745 w 6789110"/>
              <a:gd name="connsiteY7629" fmla="*/ 413659 h 6386516"/>
              <a:gd name="connsiteX7630" fmla="*/ 4458193 w 6789110"/>
              <a:gd name="connsiteY7630" fmla="*/ 290474 h 6386516"/>
              <a:gd name="connsiteX7631" fmla="*/ 4454343 w 6789110"/>
              <a:gd name="connsiteY7631" fmla="*/ 388637 h 6386516"/>
              <a:gd name="connsiteX7632" fmla="*/ 4448569 w 6789110"/>
              <a:gd name="connsiteY7632" fmla="*/ 394411 h 6386516"/>
              <a:gd name="connsiteX7633" fmla="*/ 4454343 w 6789110"/>
              <a:gd name="connsiteY7633" fmla="*/ 409808 h 6386516"/>
              <a:gd name="connsiteX7634" fmla="*/ 4444719 w 6789110"/>
              <a:gd name="connsiteY7634" fmla="*/ 527219 h 6386516"/>
              <a:gd name="connsiteX7635" fmla="*/ 4448569 w 6789110"/>
              <a:gd name="connsiteY7635" fmla="*/ 394410 h 6386516"/>
              <a:gd name="connsiteX7636" fmla="*/ 4450494 w 6789110"/>
              <a:gd name="connsiteY7636" fmla="*/ 342442 h 6386516"/>
              <a:gd name="connsiteX7637" fmla="*/ 4458193 w 6789110"/>
              <a:gd name="connsiteY7637" fmla="*/ 290474 h 6386516"/>
              <a:gd name="connsiteX7638" fmla="*/ 4687243 w 6789110"/>
              <a:gd name="connsiteY7638" fmla="*/ 250053 h 6386516"/>
              <a:gd name="connsiteX7639" fmla="*/ 4700716 w 6789110"/>
              <a:gd name="connsiteY7639" fmla="*/ 303947 h 6386516"/>
              <a:gd name="connsiteX7640" fmla="*/ 4687243 w 6789110"/>
              <a:gd name="connsiteY7640" fmla="*/ 250053 h 6386516"/>
              <a:gd name="connsiteX7641" fmla="*/ 5415655 w 6789110"/>
              <a:gd name="connsiteY7641" fmla="*/ 220640 h 6386516"/>
              <a:gd name="connsiteX7642" fmla="*/ 5416737 w 6789110"/>
              <a:gd name="connsiteY7642" fmla="*/ 238505 h 6386516"/>
              <a:gd name="connsiteX7643" fmla="*/ 5266604 w 6789110"/>
              <a:gd name="connsiteY7643" fmla="*/ 631161 h 6386516"/>
              <a:gd name="connsiteX7644" fmla="*/ 5220408 w 6789110"/>
              <a:gd name="connsiteY7644" fmla="*/ 700452 h 6386516"/>
              <a:gd name="connsiteX7645" fmla="*/ 5345520 w 6789110"/>
              <a:gd name="connsiteY7645" fmla="*/ 380938 h 6386516"/>
              <a:gd name="connsiteX7646" fmla="*/ 5412888 w 6789110"/>
              <a:gd name="connsiteY7646" fmla="*/ 225031 h 6386516"/>
              <a:gd name="connsiteX7647" fmla="*/ 5415655 w 6789110"/>
              <a:gd name="connsiteY7647" fmla="*/ 220640 h 6386516"/>
              <a:gd name="connsiteX7648" fmla="*/ 3478717 w 6789110"/>
              <a:gd name="connsiteY7648" fmla="*/ 76100 h 6386516"/>
              <a:gd name="connsiteX7649" fmla="*/ 3468852 w 6789110"/>
              <a:gd name="connsiteY7649" fmla="*/ 76822 h 6386516"/>
              <a:gd name="connsiteX7650" fmla="*/ 3389936 w 6789110"/>
              <a:gd name="connsiteY7650" fmla="*/ 369387 h 6386516"/>
              <a:gd name="connsiteX7651" fmla="*/ 3490025 w 6789110"/>
              <a:gd name="connsiteY7651" fmla="*/ 76822 h 6386516"/>
              <a:gd name="connsiteX7652" fmla="*/ 3478717 w 6789110"/>
              <a:gd name="connsiteY7652" fmla="*/ 76100 h 6386516"/>
              <a:gd name="connsiteX7653" fmla="*/ 3549693 w 6789110"/>
              <a:gd name="connsiteY7653" fmla="*/ 30627 h 6386516"/>
              <a:gd name="connsiteX7654" fmla="*/ 3499649 w 6789110"/>
              <a:gd name="connsiteY7654" fmla="*/ 234653 h 6386516"/>
              <a:gd name="connsiteX7655" fmla="*/ 3572791 w 6789110"/>
              <a:gd name="connsiteY7655" fmla="*/ 44101 h 6386516"/>
              <a:gd name="connsiteX7656" fmla="*/ 3549693 w 6789110"/>
              <a:gd name="connsiteY7656" fmla="*/ 30627 h 6386516"/>
              <a:gd name="connsiteX7657" fmla="*/ 3617061 w 6789110"/>
              <a:gd name="connsiteY7657" fmla="*/ 17154 h 6386516"/>
              <a:gd name="connsiteX7658" fmla="*/ 3468852 w 6789110"/>
              <a:gd name="connsiteY7658" fmla="*/ 604209 h 6386516"/>
              <a:gd name="connsiteX7659" fmla="*/ 3130089 w 6789110"/>
              <a:gd name="connsiteY7659" fmla="*/ 1389535 h 6386516"/>
              <a:gd name="connsiteX7660" fmla="*/ 3149337 w 6789110"/>
              <a:gd name="connsiteY7660" fmla="*/ 1403008 h 6386516"/>
              <a:gd name="connsiteX7661" fmla="*/ 3618985 w 6789110"/>
              <a:gd name="connsiteY7661" fmla="*/ 67198 h 6386516"/>
              <a:gd name="connsiteX7662" fmla="*/ 3617061 w 6789110"/>
              <a:gd name="connsiteY7662" fmla="*/ 17154 h 6386516"/>
              <a:gd name="connsiteX7663" fmla="*/ 3671553 w 6789110"/>
              <a:gd name="connsiteY7663" fmla="*/ 188 h 6386516"/>
              <a:gd name="connsiteX7664" fmla="*/ 3717150 w 6789110"/>
              <a:gd name="connsiteY7664" fmla="*/ 5605 h 6386516"/>
              <a:gd name="connsiteX7665" fmla="*/ 3786442 w 6789110"/>
              <a:gd name="connsiteY7665" fmla="*/ 1039233 h 6386516"/>
              <a:gd name="connsiteX7666" fmla="*/ 3784517 w 6789110"/>
              <a:gd name="connsiteY7666" fmla="*/ 1035384 h 6386516"/>
              <a:gd name="connsiteX7667" fmla="*/ 3670955 w 6789110"/>
              <a:gd name="connsiteY7667" fmla="*/ 1250955 h 6386516"/>
              <a:gd name="connsiteX7668" fmla="*/ 3732548 w 6789110"/>
              <a:gd name="connsiteY7668" fmla="*/ 1031534 h 6386516"/>
              <a:gd name="connsiteX7669" fmla="*/ 3632459 w 6789110"/>
              <a:gd name="connsiteY7669" fmla="*/ 1264428 h 6386516"/>
              <a:gd name="connsiteX7670" fmla="*/ 3584339 w 6789110"/>
              <a:gd name="connsiteY7670" fmla="*/ 1266353 h 6386516"/>
              <a:gd name="connsiteX7671" fmla="*/ 3705601 w 6789110"/>
              <a:gd name="connsiteY7671" fmla="*/ 952615 h 6386516"/>
              <a:gd name="connsiteX7672" fmla="*/ 3759495 w 6789110"/>
              <a:gd name="connsiteY7672" fmla="*/ 765890 h 6386516"/>
              <a:gd name="connsiteX7673" fmla="*/ 3561242 w 6789110"/>
              <a:gd name="connsiteY7673" fmla="*/ 1268277 h 6386516"/>
              <a:gd name="connsiteX7674" fmla="*/ 3516971 w 6789110"/>
              <a:gd name="connsiteY7674" fmla="*/ 1258654 h 6386516"/>
              <a:gd name="connsiteX7675" fmla="*/ 3586264 w 6789110"/>
              <a:gd name="connsiteY7675" fmla="*/ 1145096 h 6386516"/>
              <a:gd name="connsiteX7676" fmla="*/ 3574715 w 6789110"/>
              <a:gd name="connsiteY7676" fmla="*/ 1120074 h 6386516"/>
              <a:gd name="connsiteX7677" fmla="*/ 3709450 w 6789110"/>
              <a:gd name="connsiteY7677" fmla="*/ 788988 h 6386516"/>
              <a:gd name="connsiteX7678" fmla="*/ 3780668 w 6789110"/>
              <a:gd name="connsiteY7678" fmla="*/ 584961 h 6386516"/>
              <a:gd name="connsiteX7679" fmla="*/ 3757570 w 6789110"/>
              <a:gd name="connsiteY7679" fmla="*/ 532993 h 6386516"/>
              <a:gd name="connsiteX7680" fmla="*/ 3491949 w 6789110"/>
              <a:gd name="connsiteY7680" fmla="*/ 1262504 h 6386516"/>
              <a:gd name="connsiteX7681" fmla="*/ 3439980 w 6789110"/>
              <a:gd name="connsiteY7681" fmla="*/ 1268277 h 6386516"/>
              <a:gd name="connsiteX7682" fmla="*/ 3788367 w 6789110"/>
              <a:gd name="connsiteY7682" fmla="*/ 311644 h 6386516"/>
              <a:gd name="connsiteX7683" fmla="*/ 3765269 w 6789110"/>
              <a:gd name="connsiteY7683" fmla="*/ 336666 h 6386516"/>
              <a:gd name="connsiteX7684" fmla="*/ 3738322 w 6789110"/>
              <a:gd name="connsiteY7684" fmla="*/ 417507 h 6386516"/>
              <a:gd name="connsiteX7685" fmla="*/ 3420732 w 6789110"/>
              <a:gd name="connsiteY7685" fmla="*/ 1260579 h 6386516"/>
              <a:gd name="connsiteX7686" fmla="*/ 3349515 w 6789110"/>
              <a:gd name="connsiteY7686" fmla="*/ 1308696 h 6386516"/>
              <a:gd name="connsiteX7687" fmla="*/ 3730623 w 6789110"/>
              <a:gd name="connsiteY7687" fmla="*/ 123016 h 6386516"/>
              <a:gd name="connsiteX7688" fmla="*/ 3684428 w 6789110"/>
              <a:gd name="connsiteY7688" fmla="*/ 305870 h 6386516"/>
              <a:gd name="connsiteX7689" fmla="*/ 3642083 w 6789110"/>
              <a:gd name="connsiteY7689" fmla="*/ 498347 h 6386516"/>
              <a:gd name="connsiteX7690" fmla="*/ 3359139 w 6789110"/>
              <a:gd name="connsiteY7690" fmla="*/ 1241332 h 6386516"/>
              <a:gd name="connsiteX7691" fmla="*/ 3224404 w 6789110"/>
              <a:gd name="connsiteY7691" fmla="*/ 1418405 h 6386516"/>
              <a:gd name="connsiteX7692" fmla="*/ 3599737 w 6789110"/>
              <a:gd name="connsiteY7692" fmla="*/ 473325 h 6386516"/>
              <a:gd name="connsiteX7693" fmla="*/ 3678654 w 6789110"/>
              <a:gd name="connsiteY7693" fmla="*/ 117242 h 6386516"/>
              <a:gd name="connsiteX7694" fmla="*/ 3665180 w 6789110"/>
              <a:gd name="connsiteY7694" fmla="*/ 19079 h 6386516"/>
              <a:gd name="connsiteX7695" fmla="*/ 3201306 w 6789110"/>
              <a:gd name="connsiteY7695" fmla="*/ 1401083 h 6386516"/>
              <a:gd name="connsiteX7696" fmla="*/ 3187833 w 6789110"/>
              <a:gd name="connsiteY7696" fmla="*/ 1418405 h 6386516"/>
              <a:gd name="connsiteX7697" fmla="*/ 3191683 w 6789110"/>
              <a:gd name="connsiteY7697" fmla="*/ 1422256 h 6386516"/>
              <a:gd name="connsiteX7698" fmla="*/ 3226329 w 6789110"/>
              <a:gd name="connsiteY7698" fmla="*/ 1437653 h 6386516"/>
              <a:gd name="connsiteX7699" fmla="*/ 3280224 w 6789110"/>
              <a:gd name="connsiteY7699" fmla="*/ 1437653 h 6386516"/>
              <a:gd name="connsiteX7700" fmla="*/ 3499649 w 6789110"/>
              <a:gd name="connsiteY7700" fmla="*/ 1287525 h 6386516"/>
              <a:gd name="connsiteX7701" fmla="*/ 3561242 w 6789110"/>
              <a:gd name="connsiteY7701" fmla="*/ 1300998 h 6386516"/>
              <a:gd name="connsiteX7702" fmla="*/ 3905779 w 6789110"/>
              <a:gd name="connsiteY7702" fmla="*/ 1245181 h 6386516"/>
              <a:gd name="connsiteX7703" fmla="*/ 3900004 w 6789110"/>
              <a:gd name="connsiteY7703" fmla="*/ 1308696 h 6386516"/>
              <a:gd name="connsiteX7704" fmla="*/ 3901929 w 6789110"/>
              <a:gd name="connsiteY7704" fmla="*/ 1310621 h 6386516"/>
              <a:gd name="connsiteX7705" fmla="*/ 3915403 w 6789110"/>
              <a:gd name="connsiteY7705" fmla="*/ 1304847 h 6386516"/>
              <a:gd name="connsiteX7706" fmla="*/ 3933688 w 6789110"/>
              <a:gd name="connsiteY7706" fmla="*/ 1249752 h 6386516"/>
              <a:gd name="connsiteX7707" fmla="*/ 3946145 w 6789110"/>
              <a:gd name="connsiteY7707" fmla="*/ 1226459 h 6386516"/>
              <a:gd name="connsiteX7708" fmla="*/ 3940425 w 6789110"/>
              <a:gd name="connsiteY7708" fmla="*/ 1281750 h 6386516"/>
              <a:gd name="connsiteX7709" fmla="*/ 3946199 w 6789110"/>
              <a:gd name="connsiteY7709" fmla="*/ 1249030 h 6386516"/>
              <a:gd name="connsiteX7710" fmla="*/ 3951974 w 6789110"/>
              <a:gd name="connsiteY7710" fmla="*/ 1225934 h 6386516"/>
              <a:gd name="connsiteX7711" fmla="*/ 3946426 w 6789110"/>
              <a:gd name="connsiteY7711" fmla="*/ 1225934 h 6386516"/>
              <a:gd name="connsiteX7712" fmla="*/ 3957748 w 6789110"/>
              <a:gd name="connsiteY7712" fmla="*/ 1204761 h 6386516"/>
              <a:gd name="connsiteX7713" fmla="*/ 3963522 w 6789110"/>
              <a:gd name="connsiteY7713" fmla="*/ 1204761 h 6386516"/>
              <a:gd name="connsiteX7714" fmla="*/ 3994319 w 6789110"/>
              <a:gd name="connsiteY7714" fmla="*/ 1200912 h 6386516"/>
              <a:gd name="connsiteX7715" fmla="*/ 4000093 w 6789110"/>
              <a:gd name="connsiteY7715" fmla="*/ 1216310 h 6386516"/>
              <a:gd name="connsiteX7716" fmla="*/ 4017416 w 6789110"/>
              <a:gd name="connsiteY7716" fmla="*/ 1229783 h 6386516"/>
              <a:gd name="connsiteX7717" fmla="*/ 4005868 w 6789110"/>
              <a:gd name="connsiteY7717" fmla="*/ 1277901 h 6386516"/>
              <a:gd name="connsiteX7718" fmla="*/ 4017416 w 6789110"/>
              <a:gd name="connsiteY7718" fmla="*/ 1279827 h 6386516"/>
              <a:gd name="connsiteX7719" fmla="*/ 4027040 w 6789110"/>
              <a:gd name="connsiteY7719" fmla="*/ 1268277 h 6386516"/>
              <a:gd name="connsiteX7720" fmla="*/ 4028965 w 6789110"/>
              <a:gd name="connsiteY7720" fmla="*/ 1237482 h 6386516"/>
              <a:gd name="connsiteX7721" fmla="*/ 4036664 w 6789110"/>
              <a:gd name="connsiteY7721" fmla="*/ 1258654 h 6386516"/>
              <a:gd name="connsiteX7722" fmla="*/ 4053987 w 6789110"/>
              <a:gd name="connsiteY7722" fmla="*/ 1231708 h 6386516"/>
              <a:gd name="connsiteX7723" fmla="*/ 4052063 w 6789110"/>
              <a:gd name="connsiteY7723" fmla="*/ 1191288 h 6386516"/>
              <a:gd name="connsiteX7724" fmla="*/ 3863433 w 6789110"/>
              <a:gd name="connsiteY7724" fmla="*/ 1066181 h 6386516"/>
              <a:gd name="connsiteX7725" fmla="*/ 3863433 w 6789110"/>
              <a:gd name="connsiteY7725" fmla="*/ 1041158 h 6386516"/>
              <a:gd name="connsiteX7726" fmla="*/ 3905779 w 6789110"/>
              <a:gd name="connsiteY7726" fmla="*/ 1033459 h 6386516"/>
              <a:gd name="connsiteX7727" fmla="*/ 4038589 w 6789110"/>
              <a:gd name="connsiteY7727" fmla="*/ 1125849 h 6386516"/>
              <a:gd name="connsiteX7728" fmla="*/ 4053987 w 6789110"/>
              <a:gd name="connsiteY7728" fmla="*/ 1131623 h 6386516"/>
              <a:gd name="connsiteX7729" fmla="*/ 4055912 w 6789110"/>
              <a:gd name="connsiteY7729" fmla="*/ 1114300 h 6386516"/>
              <a:gd name="connsiteX7730" fmla="*/ 4079010 w 6789110"/>
              <a:gd name="connsiteY7730" fmla="*/ 981488 h 6386516"/>
              <a:gd name="connsiteX7731" fmla="*/ 4073235 w 6789110"/>
              <a:gd name="connsiteY7731" fmla="*/ 981488 h 6386516"/>
              <a:gd name="connsiteX7732" fmla="*/ 4023191 w 6789110"/>
              <a:gd name="connsiteY7732" fmla="*/ 971863 h 6386516"/>
              <a:gd name="connsiteX7733" fmla="*/ 4015492 w 6789110"/>
              <a:gd name="connsiteY7733" fmla="*/ 948765 h 6386516"/>
              <a:gd name="connsiteX7734" fmla="*/ 4090558 w 6789110"/>
              <a:gd name="connsiteY7734" fmla="*/ 931441 h 6386516"/>
              <a:gd name="connsiteX7735" fmla="*/ 4092483 w 6789110"/>
              <a:gd name="connsiteY7735" fmla="*/ 931441 h 6386516"/>
              <a:gd name="connsiteX7736" fmla="*/ 4142527 w 6789110"/>
              <a:gd name="connsiteY7736" fmla="*/ 812084 h 6386516"/>
              <a:gd name="connsiteX7737" fmla="*/ 4121355 w 6789110"/>
              <a:gd name="connsiteY7737" fmla="*/ 806311 h 6386516"/>
              <a:gd name="connsiteX7738" fmla="*/ 4104032 w 6789110"/>
              <a:gd name="connsiteY7738" fmla="*/ 771665 h 6386516"/>
              <a:gd name="connsiteX7739" fmla="*/ 4171399 w 6789110"/>
              <a:gd name="connsiteY7739" fmla="*/ 765890 h 6386516"/>
              <a:gd name="connsiteX7740" fmla="*/ 4398524 w 6789110"/>
              <a:gd name="connsiteY7740" fmla="*/ 638855 h 6386516"/>
              <a:gd name="connsiteX7741" fmla="*/ 4386976 w 6789110"/>
              <a:gd name="connsiteY7741" fmla="*/ 787063 h 6386516"/>
              <a:gd name="connsiteX7742" fmla="*/ 4435095 w 6789110"/>
              <a:gd name="connsiteY7742" fmla="*/ 625382 h 6386516"/>
              <a:gd name="connsiteX7743" fmla="*/ 4423547 w 6789110"/>
              <a:gd name="connsiteY7743" fmla="*/ 777438 h 6386516"/>
              <a:gd name="connsiteX7744" fmla="*/ 4554432 w 6789110"/>
              <a:gd name="connsiteY7744" fmla="*/ 561864 h 6386516"/>
              <a:gd name="connsiteX7745" fmla="*/ 4583304 w 6789110"/>
              <a:gd name="connsiteY7745" fmla="*/ 531067 h 6386516"/>
              <a:gd name="connsiteX7746" fmla="*/ 4594853 w 6789110"/>
              <a:gd name="connsiteY7746" fmla="*/ 559940 h 6386516"/>
              <a:gd name="connsiteX7747" fmla="*/ 4585229 w 6789110"/>
              <a:gd name="connsiteY7747" fmla="*/ 608059 h 6386516"/>
              <a:gd name="connsiteX7748" fmla="*/ 4581379 w 6789110"/>
              <a:gd name="connsiteY7748" fmla="*/ 656178 h 6386516"/>
              <a:gd name="connsiteX7749" fmla="*/ 4600627 w 6789110"/>
              <a:gd name="connsiteY7749" fmla="*/ 700448 h 6386516"/>
              <a:gd name="connsiteX7750" fmla="*/ 4614100 w 6789110"/>
              <a:gd name="connsiteY7750" fmla="*/ 575337 h 6386516"/>
              <a:gd name="connsiteX7751" fmla="*/ 4621801 w 6789110"/>
              <a:gd name="connsiteY7751" fmla="*/ 690824 h 6386516"/>
              <a:gd name="connsiteX7752" fmla="*/ 4656447 w 6789110"/>
              <a:gd name="connsiteY7752" fmla="*/ 629231 h 6386516"/>
              <a:gd name="connsiteX7753" fmla="*/ 4671845 w 6789110"/>
              <a:gd name="connsiteY7753" fmla="*/ 617683 h 6386516"/>
              <a:gd name="connsiteX7754" fmla="*/ 4673770 w 6789110"/>
              <a:gd name="connsiteY7754" fmla="*/ 609984 h 6386516"/>
              <a:gd name="connsiteX7755" fmla="*/ 4673770 w 6789110"/>
              <a:gd name="connsiteY7755" fmla="*/ 575337 h 6386516"/>
              <a:gd name="connsiteX7756" fmla="*/ 4681469 w 6789110"/>
              <a:gd name="connsiteY7756" fmla="*/ 575337 h 6386516"/>
              <a:gd name="connsiteX7757" fmla="*/ 4725739 w 6789110"/>
              <a:gd name="connsiteY7757" fmla="*/ 340515 h 6386516"/>
              <a:gd name="connsiteX7758" fmla="*/ 4725739 w 6789110"/>
              <a:gd name="connsiteY7758" fmla="*/ 321268 h 6386516"/>
              <a:gd name="connsiteX7759" fmla="*/ 4746912 w 6789110"/>
              <a:gd name="connsiteY7759" fmla="*/ 315494 h 6386516"/>
              <a:gd name="connsiteX7760" fmla="*/ 4760385 w 6789110"/>
              <a:gd name="connsiteY7760" fmla="*/ 188459 h 6386516"/>
              <a:gd name="connsiteX7761" fmla="*/ 4785408 w 6789110"/>
              <a:gd name="connsiteY7761" fmla="*/ 157662 h 6386516"/>
              <a:gd name="connsiteX7762" fmla="*/ 4804656 w 6789110"/>
              <a:gd name="connsiteY7762" fmla="*/ 200008 h 6386516"/>
              <a:gd name="connsiteX7763" fmla="*/ 4843151 w 6789110"/>
              <a:gd name="connsiteY7763" fmla="*/ 217331 h 6386516"/>
              <a:gd name="connsiteX7764" fmla="*/ 4821979 w 6789110"/>
              <a:gd name="connsiteY7764" fmla="*/ 290472 h 6386516"/>
              <a:gd name="connsiteX7765" fmla="*/ 4764235 w 6789110"/>
              <a:gd name="connsiteY7765" fmla="*/ 436754 h 6386516"/>
              <a:gd name="connsiteX7766" fmla="*/ 4725739 w 6789110"/>
              <a:gd name="connsiteY7766" fmla="*/ 561864 h 6386516"/>
              <a:gd name="connsiteX7767" fmla="*/ 4779633 w 6789110"/>
              <a:gd name="connsiteY7767" fmla="*/ 519520 h 6386516"/>
              <a:gd name="connsiteX7768" fmla="*/ 4777708 w 6789110"/>
              <a:gd name="connsiteY7768" fmla="*/ 477174 h 6386516"/>
              <a:gd name="connsiteX7769" fmla="*/ 4812355 w 6789110"/>
              <a:gd name="connsiteY7769" fmla="*/ 469475 h 6386516"/>
              <a:gd name="connsiteX7770" fmla="*/ 4818129 w 6789110"/>
              <a:gd name="connsiteY7770" fmla="*/ 502196 h 6386516"/>
              <a:gd name="connsiteX7771" fmla="*/ 4872023 w 6789110"/>
              <a:gd name="connsiteY7771" fmla="*/ 452153 h 6386516"/>
              <a:gd name="connsiteX7772" fmla="*/ 4881647 w 6789110"/>
              <a:gd name="connsiteY7772" fmla="*/ 313569 h 6386516"/>
              <a:gd name="connsiteX7773" fmla="*/ 4947090 w 6789110"/>
              <a:gd name="connsiteY7773" fmla="*/ 300096 h 6386516"/>
              <a:gd name="connsiteX7774" fmla="*/ 4962488 w 6789110"/>
              <a:gd name="connsiteY7774" fmla="*/ 390560 h 6386516"/>
              <a:gd name="connsiteX7775" fmla="*/ 4974037 w 6789110"/>
              <a:gd name="connsiteY7775" fmla="*/ 423281 h 6386516"/>
              <a:gd name="connsiteX7776" fmla="*/ 4987510 w 6789110"/>
              <a:gd name="connsiteY7776" fmla="*/ 496422 h 6386516"/>
              <a:gd name="connsiteX7777" fmla="*/ 5008683 w 6789110"/>
              <a:gd name="connsiteY7777" fmla="*/ 494497 h 6386516"/>
              <a:gd name="connsiteX7778" fmla="*/ 5026006 w 6789110"/>
              <a:gd name="connsiteY7778" fmla="*/ 477174 h 6386516"/>
              <a:gd name="connsiteX7779" fmla="*/ 5043329 w 6789110"/>
              <a:gd name="connsiteY7779" fmla="*/ 473325 h 6386516"/>
              <a:gd name="connsiteX7780" fmla="*/ 5102997 w 6789110"/>
              <a:gd name="connsiteY7780" fmla="*/ 409808 h 6386516"/>
              <a:gd name="connsiteX7781" fmla="*/ 5128020 w 6789110"/>
              <a:gd name="connsiteY7781" fmla="*/ 411732 h 6386516"/>
              <a:gd name="connsiteX7782" fmla="*/ 5131869 w 6789110"/>
              <a:gd name="connsiteY7782" fmla="*/ 446378 h 6386516"/>
              <a:gd name="connsiteX7783" fmla="*/ 5000984 w 6789110"/>
              <a:gd name="connsiteY7783" fmla="*/ 586887 h 6386516"/>
              <a:gd name="connsiteX7784" fmla="*/ 5002909 w 6789110"/>
              <a:gd name="connsiteY7784" fmla="*/ 621532 h 6386516"/>
              <a:gd name="connsiteX7785" fmla="*/ 5024082 w 6789110"/>
              <a:gd name="connsiteY7785" fmla="*/ 613833 h 6386516"/>
              <a:gd name="connsiteX7786" fmla="*/ 5029856 w 6789110"/>
              <a:gd name="connsiteY7786" fmla="*/ 762041 h 6386516"/>
              <a:gd name="connsiteX7787" fmla="*/ 5045254 w 6789110"/>
              <a:gd name="connsiteY7787" fmla="*/ 767815 h 6386516"/>
              <a:gd name="connsiteX7788" fmla="*/ 5058728 w 6789110"/>
              <a:gd name="connsiteY7788" fmla="*/ 742793 h 6386516"/>
              <a:gd name="connsiteX7789" fmla="*/ 5072201 w 6789110"/>
              <a:gd name="connsiteY7789" fmla="*/ 792837 h 6386516"/>
              <a:gd name="connsiteX7790" fmla="*/ 5106847 w 6789110"/>
              <a:gd name="connsiteY7790" fmla="*/ 804385 h 6386516"/>
              <a:gd name="connsiteX7791" fmla="*/ 5108772 w 6789110"/>
              <a:gd name="connsiteY7791" fmla="*/ 856354 h 6386516"/>
              <a:gd name="connsiteX7792" fmla="*/ 5081825 w 6789110"/>
              <a:gd name="connsiteY7792" fmla="*/ 875602 h 6386516"/>
              <a:gd name="connsiteX7793" fmla="*/ 5083750 w 6789110"/>
              <a:gd name="connsiteY7793" fmla="*/ 892925 h 6386516"/>
              <a:gd name="connsiteX7794" fmla="*/ 5095298 w 6789110"/>
              <a:gd name="connsiteY7794" fmla="*/ 881377 h 6386516"/>
              <a:gd name="connsiteX7795" fmla="*/ 5083750 w 6789110"/>
              <a:gd name="connsiteY7795" fmla="*/ 904473 h 6386516"/>
              <a:gd name="connsiteX7796" fmla="*/ 5056803 w 6789110"/>
              <a:gd name="connsiteY7796" fmla="*/ 1019985 h 6386516"/>
              <a:gd name="connsiteX7797" fmla="*/ 5087599 w 6789110"/>
              <a:gd name="connsiteY7797" fmla="*/ 1006511 h 6386516"/>
              <a:gd name="connsiteX7798" fmla="*/ 5102997 w 6789110"/>
              <a:gd name="connsiteY7798" fmla="*/ 939141 h 6386516"/>
              <a:gd name="connsiteX7799" fmla="*/ 5258905 w 6789110"/>
              <a:gd name="connsiteY7799" fmla="*/ 969939 h 6386516"/>
              <a:gd name="connsiteX7800" fmla="*/ 5314724 w 6789110"/>
              <a:gd name="connsiteY7800" fmla="*/ 1068106 h 6386516"/>
              <a:gd name="connsiteX7801" fmla="*/ 5179989 w 6789110"/>
              <a:gd name="connsiteY7801" fmla="*/ 1195138 h 6386516"/>
              <a:gd name="connsiteX7802" fmla="*/ 5193463 w 6789110"/>
              <a:gd name="connsiteY7802" fmla="*/ 1200912 h 6386516"/>
              <a:gd name="connsiteX7803" fmla="*/ 5195388 w 6789110"/>
              <a:gd name="connsiteY7803" fmla="*/ 1202837 h 6386516"/>
              <a:gd name="connsiteX7804" fmla="*/ 5332048 w 6789110"/>
              <a:gd name="connsiteY7804" fmla="*/ 1071956 h 6386516"/>
              <a:gd name="connsiteX7805" fmla="*/ 5414813 w 6789110"/>
              <a:gd name="connsiteY7805" fmla="*/ 1147020 h 6386516"/>
              <a:gd name="connsiteX7806" fmla="*/ 5358994 w 6789110"/>
              <a:gd name="connsiteY7806" fmla="*/ 1218234 h 6386516"/>
              <a:gd name="connsiteX7807" fmla="*/ 5374393 w 6789110"/>
              <a:gd name="connsiteY7807" fmla="*/ 1212461 h 6386516"/>
              <a:gd name="connsiteX7808" fmla="*/ 5387866 w 6789110"/>
              <a:gd name="connsiteY7808" fmla="*/ 1262504 h 6386516"/>
              <a:gd name="connsiteX7809" fmla="*/ 5362844 w 6789110"/>
              <a:gd name="connsiteY7809" fmla="*/ 1270202 h 6386516"/>
              <a:gd name="connsiteX7810" fmla="*/ 5376317 w 6789110"/>
              <a:gd name="connsiteY7810" fmla="*/ 1300998 h 6386516"/>
              <a:gd name="connsiteX7811" fmla="*/ 5320499 w 6789110"/>
              <a:gd name="connsiteY7811" fmla="*/ 1395310 h 6386516"/>
              <a:gd name="connsiteX7812" fmla="*/ 5118396 w 6789110"/>
              <a:gd name="connsiteY7812" fmla="*/ 1487696 h 6386516"/>
              <a:gd name="connsiteX7813" fmla="*/ 5193463 w 6789110"/>
              <a:gd name="connsiteY7813" fmla="*/ 1454974 h 6386516"/>
              <a:gd name="connsiteX7814" fmla="*/ 5199237 w 6789110"/>
              <a:gd name="connsiteY7814" fmla="*/ 1445351 h 6386516"/>
              <a:gd name="connsiteX7815" fmla="*/ 5195388 w 6789110"/>
              <a:gd name="connsiteY7815" fmla="*/ 1454974 h 6386516"/>
              <a:gd name="connsiteX7816" fmla="*/ 5274304 w 6789110"/>
              <a:gd name="connsiteY7816" fmla="*/ 1426104 h 6386516"/>
              <a:gd name="connsiteX7817" fmla="*/ 5278153 w 6789110"/>
              <a:gd name="connsiteY7817" fmla="*/ 1424180 h 6386516"/>
              <a:gd name="connsiteX7818" fmla="*/ 5280078 w 6789110"/>
              <a:gd name="connsiteY7818" fmla="*/ 1424180 h 6386516"/>
              <a:gd name="connsiteX7819" fmla="*/ 5393640 w 6789110"/>
              <a:gd name="connsiteY7819" fmla="*/ 1395310 h 6386516"/>
              <a:gd name="connsiteX7820" fmla="*/ 5389791 w 6789110"/>
              <a:gd name="connsiteY7820" fmla="*/ 1506944 h 6386516"/>
              <a:gd name="connsiteX7821" fmla="*/ 5333972 w 6789110"/>
              <a:gd name="connsiteY7821" fmla="*/ 1508867 h 6386516"/>
              <a:gd name="connsiteX7822" fmla="*/ 5326273 w 6789110"/>
              <a:gd name="connsiteY7822" fmla="*/ 1568537 h 6386516"/>
              <a:gd name="connsiteX7823" fmla="*/ 5307025 w 6789110"/>
              <a:gd name="connsiteY7823" fmla="*/ 1685947 h 6386516"/>
              <a:gd name="connsiteX7824" fmla="*/ 5282003 w 6789110"/>
              <a:gd name="connsiteY7824" fmla="*/ 1757164 h 6386516"/>
              <a:gd name="connsiteX7825" fmla="*/ 5285852 w 6789110"/>
              <a:gd name="connsiteY7825" fmla="*/ 1768715 h 6386516"/>
              <a:gd name="connsiteX7826" fmla="*/ 5276228 w 6789110"/>
              <a:gd name="connsiteY7826" fmla="*/ 1774490 h 6386516"/>
              <a:gd name="connsiteX7827" fmla="*/ 5260830 w 6789110"/>
              <a:gd name="connsiteY7827" fmla="*/ 1811060 h 6386516"/>
              <a:gd name="connsiteX7828" fmla="*/ 5291627 w 6789110"/>
              <a:gd name="connsiteY7828" fmla="*/ 1780265 h 6386516"/>
              <a:gd name="connsiteX7829" fmla="*/ 5266604 w 6789110"/>
              <a:gd name="connsiteY7829" fmla="*/ 1845708 h 6386516"/>
              <a:gd name="connsiteX7830" fmla="*/ 5443685 w 6789110"/>
              <a:gd name="connsiteY7830" fmla="*/ 1770640 h 6386516"/>
              <a:gd name="connsiteX7831" fmla="*/ 5470632 w 6789110"/>
              <a:gd name="connsiteY7831" fmla="*/ 1778340 h 6386516"/>
              <a:gd name="connsiteX7832" fmla="*/ 5457159 w 6789110"/>
              <a:gd name="connsiteY7832" fmla="*/ 1807211 h 6386516"/>
              <a:gd name="connsiteX7833" fmla="*/ 5441760 w 6789110"/>
              <a:gd name="connsiteY7833" fmla="*/ 1799511 h 6386516"/>
              <a:gd name="connsiteX7834" fmla="*/ 5409039 w 6789110"/>
              <a:gd name="connsiteY7834" fmla="*/ 1811060 h 6386516"/>
              <a:gd name="connsiteX7835" fmla="*/ 5320499 w 6789110"/>
              <a:gd name="connsiteY7835" fmla="*/ 1864956 h 6386516"/>
              <a:gd name="connsiteX7836" fmla="*/ 5332048 w 6789110"/>
              <a:gd name="connsiteY7836" fmla="*/ 1884202 h 6386516"/>
              <a:gd name="connsiteX7837" fmla="*/ 5416738 w 6789110"/>
              <a:gd name="connsiteY7837" fmla="*/ 1836083 h 6386516"/>
              <a:gd name="connsiteX7838" fmla="*/ 5407114 w 6789110"/>
              <a:gd name="connsiteY7838" fmla="*/ 1859182 h 6386516"/>
              <a:gd name="connsiteX7839" fmla="*/ 5358994 w 6789110"/>
              <a:gd name="connsiteY7839" fmla="*/ 1888052 h 6386516"/>
              <a:gd name="connsiteX7840" fmla="*/ 5324348 w 6789110"/>
              <a:gd name="connsiteY7840" fmla="*/ 1936169 h 6386516"/>
              <a:gd name="connsiteX7841" fmla="*/ 5285852 w 6789110"/>
              <a:gd name="connsiteY7841" fmla="*/ 1970796 h 6386516"/>
              <a:gd name="connsiteX7842" fmla="*/ 5282003 w 6789110"/>
              <a:gd name="connsiteY7842" fmla="*/ 1966939 h 6386516"/>
              <a:gd name="connsiteX7843" fmla="*/ 5241582 w 6789110"/>
              <a:gd name="connsiteY7843" fmla="*/ 2034289 h 6386516"/>
              <a:gd name="connsiteX7844" fmla="*/ 5267480 w 6789110"/>
              <a:gd name="connsiteY7844" fmla="*/ 2026194 h 6386516"/>
              <a:gd name="connsiteX7845" fmla="*/ 5267325 w 6789110"/>
              <a:gd name="connsiteY7845" fmla="*/ 2026114 h 6386516"/>
              <a:gd name="connsiteX7846" fmla="*/ 5266603 w 6789110"/>
              <a:gd name="connsiteY7846" fmla="*/ 2015047 h 6386516"/>
              <a:gd name="connsiteX7847" fmla="*/ 5287776 w 6789110"/>
              <a:gd name="connsiteY7847" fmla="*/ 2005425 h 6386516"/>
              <a:gd name="connsiteX7848" fmla="*/ 5305912 w 6789110"/>
              <a:gd name="connsiteY7848" fmla="*/ 1995406 h 6386516"/>
              <a:gd name="connsiteX7849" fmla="*/ 5312799 w 6789110"/>
              <a:gd name="connsiteY7849" fmla="*/ 2001579 h 6386516"/>
              <a:gd name="connsiteX7850" fmla="*/ 5278152 w 6789110"/>
              <a:gd name="connsiteY7850" fmla="*/ 2022740 h 6386516"/>
              <a:gd name="connsiteX7851" fmla="*/ 5271746 w 6789110"/>
              <a:gd name="connsiteY7851" fmla="*/ 2028574 h 6386516"/>
              <a:gd name="connsiteX7852" fmla="*/ 5268978 w 6789110"/>
              <a:gd name="connsiteY7852" fmla="*/ 2027031 h 6386516"/>
              <a:gd name="connsiteX7853" fmla="*/ 5228109 w 6789110"/>
              <a:gd name="connsiteY7853" fmla="*/ 2055470 h 6386516"/>
              <a:gd name="connsiteX7854" fmla="*/ 5210786 w 6789110"/>
              <a:gd name="connsiteY7854" fmla="*/ 2099767 h 6386516"/>
              <a:gd name="connsiteX7855" fmla="*/ 5210786 w 6789110"/>
              <a:gd name="connsiteY7855" fmla="*/ 2101692 h 6386516"/>
              <a:gd name="connsiteX7856" fmla="*/ 5235808 w 6789110"/>
              <a:gd name="connsiteY7856" fmla="*/ 2107468 h 6386516"/>
              <a:gd name="connsiteX7857" fmla="*/ 5228109 w 6789110"/>
              <a:gd name="connsiteY7857" fmla="*/ 2134432 h 6386516"/>
              <a:gd name="connsiteX7858" fmla="*/ 5205011 w 6789110"/>
              <a:gd name="connsiteY7858" fmla="*/ 2134432 h 6386516"/>
              <a:gd name="connsiteX7859" fmla="*/ 5206936 w 6789110"/>
              <a:gd name="connsiteY7859" fmla="*/ 2165236 h 6386516"/>
              <a:gd name="connsiteX7860" fmla="*/ 5195388 w 6789110"/>
              <a:gd name="connsiteY7860" fmla="*/ 2174860 h 6386516"/>
              <a:gd name="connsiteX7861" fmla="*/ 5256980 w 6789110"/>
              <a:gd name="connsiteY7861" fmla="*/ 2182565 h 6386516"/>
              <a:gd name="connsiteX7862" fmla="*/ 5480256 w 6789110"/>
              <a:gd name="connsiteY7862" fmla="*/ 2155607 h 6386516"/>
              <a:gd name="connsiteX7863" fmla="*/ 5582270 w 6789110"/>
              <a:gd name="connsiteY7863" fmla="*/ 2138276 h 6386516"/>
              <a:gd name="connsiteX7864" fmla="*/ 5624615 w 6789110"/>
              <a:gd name="connsiteY7864" fmla="*/ 2111319 h 6386516"/>
              <a:gd name="connsiteX7865" fmla="*/ 5659261 w 6789110"/>
              <a:gd name="connsiteY7865" fmla="*/ 2128650 h 6386516"/>
              <a:gd name="connsiteX7866" fmla="*/ 5651562 w 6789110"/>
              <a:gd name="connsiteY7866" fmla="*/ 2153682 h 6386516"/>
              <a:gd name="connsiteX7867" fmla="*/ 5599593 w 6789110"/>
              <a:gd name="connsiteY7867" fmla="*/ 2157532 h 6386516"/>
              <a:gd name="connsiteX7868" fmla="*/ 5362844 w 6789110"/>
              <a:gd name="connsiteY7868" fmla="*/ 2203742 h 6386516"/>
              <a:gd name="connsiteX7869" fmla="*/ 5276228 w 6789110"/>
              <a:gd name="connsiteY7869" fmla="*/ 2224920 h 6386516"/>
              <a:gd name="connsiteX7870" fmla="*/ 5274304 w 6789110"/>
              <a:gd name="connsiteY7870" fmla="*/ 2244176 h 6386516"/>
              <a:gd name="connsiteX7871" fmla="*/ 5231958 w 6789110"/>
              <a:gd name="connsiteY7871" fmla="*/ 2234548 h 6386516"/>
              <a:gd name="connsiteX7872" fmla="*/ 5195388 w 6789110"/>
              <a:gd name="connsiteY7872" fmla="*/ 2265356 h 6386516"/>
              <a:gd name="connsiteX7873" fmla="*/ 5216560 w 6789110"/>
              <a:gd name="connsiteY7873" fmla="*/ 2300012 h 6386516"/>
              <a:gd name="connsiteX7874" fmla="*/ 5299326 w 6789110"/>
              <a:gd name="connsiteY7874" fmla="*/ 2290384 h 6386516"/>
              <a:gd name="connsiteX7875" fmla="*/ 5322424 w 6789110"/>
              <a:gd name="connsiteY7875" fmla="*/ 2276907 h 6386516"/>
              <a:gd name="connsiteX7876" fmla="*/ 5347446 w 6789110"/>
              <a:gd name="connsiteY7876" fmla="*/ 2288458 h 6386516"/>
              <a:gd name="connsiteX7877" fmla="*/ 5462933 w 6789110"/>
              <a:gd name="connsiteY7877" fmla="*/ 2288458 h 6386516"/>
              <a:gd name="connsiteX7878" fmla="*/ 5484106 w 6789110"/>
              <a:gd name="connsiteY7878" fmla="*/ 2284610 h 6386516"/>
              <a:gd name="connsiteX7879" fmla="*/ 5568796 w 6789110"/>
              <a:gd name="connsiteY7879" fmla="*/ 2276907 h 6386516"/>
              <a:gd name="connsiteX7880" fmla="*/ 5578420 w 6789110"/>
              <a:gd name="connsiteY7880" fmla="*/ 2294238 h 6386516"/>
              <a:gd name="connsiteX7881" fmla="*/ 5559172 w 6789110"/>
              <a:gd name="connsiteY7881" fmla="*/ 2313475 h 6386516"/>
              <a:gd name="connsiteX7882" fmla="*/ 5358994 w 6789110"/>
              <a:gd name="connsiteY7882" fmla="*/ 2323093 h 6386516"/>
              <a:gd name="connsiteX7883" fmla="*/ 5366694 w 6789110"/>
              <a:gd name="connsiteY7883" fmla="*/ 2369259 h 6386516"/>
              <a:gd name="connsiteX7884" fmla="*/ 5409039 w 6789110"/>
              <a:gd name="connsiteY7884" fmla="*/ 2430822 h 6386516"/>
              <a:gd name="connsiteX7885" fmla="*/ 5382092 w 6789110"/>
              <a:gd name="connsiteY7885" fmla="*/ 2442389 h 6386516"/>
              <a:gd name="connsiteX7886" fmla="*/ 5368618 w 6789110"/>
              <a:gd name="connsiteY7886" fmla="*/ 2440457 h 6386516"/>
              <a:gd name="connsiteX7887" fmla="*/ 5357070 w 6789110"/>
              <a:gd name="connsiteY7887" fmla="*/ 2388496 h 6386516"/>
              <a:gd name="connsiteX7888" fmla="*/ 5318574 w 6789110"/>
              <a:gd name="connsiteY7888" fmla="*/ 2319245 h 6386516"/>
              <a:gd name="connsiteX7889" fmla="*/ 5126095 w 6789110"/>
              <a:gd name="connsiteY7889" fmla="*/ 2342327 h 6386516"/>
              <a:gd name="connsiteX7890" fmla="*/ 5043329 w 6789110"/>
              <a:gd name="connsiteY7890" fmla="*/ 2407737 h 6386516"/>
              <a:gd name="connsiteX7891" fmla="*/ 5087599 w 6789110"/>
              <a:gd name="connsiteY7891" fmla="*/ 2388496 h 6386516"/>
              <a:gd name="connsiteX7892" fmla="*/ 5153042 w 6789110"/>
              <a:gd name="connsiteY7892" fmla="*/ 2346173 h 6386516"/>
              <a:gd name="connsiteX7893" fmla="*/ 5139569 w 6789110"/>
              <a:gd name="connsiteY7893" fmla="*/ 2365413 h 6386516"/>
              <a:gd name="connsiteX7894" fmla="*/ 5062577 w 6789110"/>
              <a:gd name="connsiteY7894" fmla="*/ 2413509 h 6386516"/>
              <a:gd name="connsiteX7895" fmla="*/ 5126095 w 6789110"/>
              <a:gd name="connsiteY7895" fmla="*/ 2444311 h 6386516"/>
              <a:gd name="connsiteX7896" fmla="*/ 5166516 w 6789110"/>
              <a:gd name="connsiteY7896" fmla="*/ 2436601 h 6386516"/>
              <a:gd name="connsiteX7897" fmla="*/ 5170365 w 6789110"/>
              <a:gd name="connsiteY7897" fmla="*/ 2440457 h 6386516"/>
              <a:gd name="connsiteX7898" fmla="*/ 5241582 w 6789110"/>
              <a:gd name="connsiteY7898" fmla="*/ 2463549 h 6386516"/>
              <a:gd name="connsiteX7899" fmla="*/ 5307025 w 6789110"/>
              <a:gd name="connsiteY7899" fmla="*/ 2490536 h 6386516"/>
              <a:gd name="connsiteX7900" fmla="*/ 5301251 w 6789110"/>
              <a:gd name="connsiteY7900" fmla="*/ 2504006 h 6386516"/>
              <a:gd name="connsiteX7901" fmla="*/ 5176140 w 6789110"/>
              <a:gd name="connsiteY7901" fmla="*/ 2486679 h 6386516"/>
              <a:gd name="connsiteX7902" fmla="*/ 5151117 w 6789110"/>
              <a:gd name="connsiteY7902" fmla="*/ 2477055 h 6386516"/>
              <a:gd name="connsiteX7903" fmla="*/ 5066427 w 6789110"/>
              <a:gd name="connsiteY7903" fmla="*/ 2502083 h 6386516"/>
              <a:gd name="connsiteX7904" fmla="*/ 5083750 w 6789110"/>
              <a:gd name="connsiteY7904" fmla="*/ 2480904 h 6386516"/>
              <a:gd name="connsiteX7905" fmla="*/ 4914368 w 6789110"/>
              <a:gd name="connsiteY7905" fmla="*/ 2502083 h 6386516"/>
              <a:gd name="connsiteX7906" fmla="*/ 5041405 w 6789110"/>
              <a:gd name="connsiteY7906" fmla="*/ 2563666 h 6386516"/>
              <a:gd name="connsiteX7907" fmla="*/ 5064502 w 6789110"/>
              <a:gd name="connsiteY7907" fmla="*/ 2586770 h 6386516"/>
              <a:gd name="connsiteX7908" fmla="*/ 4991360 w 6789110"/>
              <a:gd name="connsiteY7908" fmla="*/ 2563666 h 6386516"/>
              <a:gd name="connsiteX7909" fmla="*/ 4902820 w 6789110"/>
              <a:gd name="connsiteY7909" fmla="*/ 2584848 h 6386516"/>
              <a:gd name="connsiteX7910" fmla="*/ 5000984 w 6789110"/>
              <a:gd name="connsiteY7910" fmla="*/ 2656053 h 6386516"/>
              <a:gd name="connsiteX7911" fmla="*/ 5018307 w 6789110"/>
              <a:gd name="connsiteY7911" fmla="*/ 2656053 h 6386516"/>
              <a:gd name="connsiteX7912" fmla="*/ 5033706 w 6789110"/>
              <a:gd name="connsiteY7912" fmla="*/ 2688771 h 6386516"/>
              <a:gd name="connsiteX7913" fmla="*/ 5101073 w 6789110"/>
              <a:gd name="connsiteY7913" fmla="*/ 2731110 h 6386516"/>
              <a:gd name="connsiteX7914" fmla="*/ 5147268 w 6789110"/>
              <a:gd name="connsiteY7914" fmla="*/ 2719565 h 6386516"/>
              <a:gd name="connsiteX7915" fmla="*/ 5141493 w 6789110"/>
              <a:gd name="connsiteY7915" fmla="*/ 2734960 h 6386516"/>
              <a:gd name="connsiteX7916" fmla="*/ 5104922 w 6789110"/>
              <a:gd name="connsiteY7916" fmla="*/ 2740734 h 6386516"/>
              <a:gd name="connsiteX7917" fmla="*/ 5102997 w 6789110"/>
              <a:gd name="connsiteY7917" fmla="*/ 2761902 h 6386516"/>
              <a:gd name="connsiteX7918" fmla="*/ 5085674 w 6789110"/>
              <a:gd name="connsiteY7918" fmla="*/ 2758055 h 6386516"/>
              <a:gd name="connsiteX7919" fmla="*/ 5066427 w 6789110"/>
              <a:gd name="connsiteY7919" fmla="*/ 2748431 h 6386516"/>
              <a:gd name="connsiteX7920" fmla="*/ 5016382 w 6789110"/>
              <a:gd name="connsiteY7920" fmla="*/ 2758055 h 6386516"/>
              <a:gd name="connsiteX7921" fmla="*/ 5064502 w 6789110"/>
              <a:gd name="connsiteY7921" fmla="*/ 2740734 h 6386516"/>
              <a:gd name="connsiteX7922" fmla="*/ 4997134 w 6789110"/>
              <a:gd name="connsiteY7922" fmla="*/ 2679149 h 6386516"/>
              <a:gd name="connsiteX7923" fmla="*/ 4898970 w 6789110"/>
              <a:gd name="connsiteY7923" fmla="*/ 2713791 h 6386516"/>
              <a:gd name="connsiteX7924" fmla="*/ 4895121 w 6789110"/>
              <a:gd name="connsiteY7924" fmla="*/ 2740734 h 6386516"/>
              <a:gd name="connsiteX7925" fmla="*/ 4925917 w 6789110"/>
              <a:gd name="connsiteY7925" fmla="*/ 2844656 h 6386516"/>
              <a:gd name="connsiteX7926" fmla="*/ 4956714 w 6789110"/>
              <a:gd name="connsiteY7926" fmla="*/ 2842731 h 6386516"/>
              <a:gd name="connsiteX7927" fmla="*/ 4929767 w 6789110"/>
              <a:gd name="connsiteY7927" fmla="*/ 2825410 h 6386516"/>
              <a:gd name="connsiteX7928" fmla="*/ 5039480 w 6789110"/>
              <a:gd name="connsiteY7928" fmla="*/ 2835032 h 6386516"/>
              <a:gd name="connsiteX7929" fmla="*/ 5201162 w 6789110"/>
              <a:gd name="connsiteY7929" fmla="*/ 2823485 h 6386516"/>
              <a:gd name="connsiteX7930" fmla="*/ 5291627 w 6789110"/>
              <a:gd name="connsiteY7930" fmla="*/ 2815788 h 6386516"/>
              <a:gd name="connsiteX7931" fmla="*/ 5299326 w 6789110"/>
              <a:gd name="connsiteY7931" fmla="*/ 2825410 h 6386516"/>
              <a:gd name="connsiteX7932" fmla="*/ 5220410 w 6789110"/>
              <a:gd name="connsiteY7932" fmla="*/ 2833107 h 6386516"/>
              <a:gd name="connsiteX7933" fmla="*/ 5253131 w 6789110"/>
              <a:gd name="connsiteY7933" fmla="*/ 2881219 h 6386516"/>
              <a:gd name="connsiteX7934" fmla="*/ 5216560 w 6789110"/>
              <a:gd name="connsiteY7934" fmla="*/ 2865823 h 6386516"/>
              <a:gd name="connsiteX7935" fmla="*/ 5120321 w 6789110"/>
              <a:gd name="connsiteY7935" fmla="*/ 2840806 h 6386516"/>
              <a:gd name="connsiteX7936" fmla="*/ 4950939 w 6789110"/>
              <a:gd name="connsiteY7936" fmla="*/ 2856203 h 6386516"/>
              <a:gd name="connsiteX7937" fmla="*/ 4931691 w 6789110"/>
              <a:gd name="connsiteY7937" fmla="*/ 2861975 h 6386516"/>
              <a:gd name="connsiteX7938" fmla="*/ 4947090 w 6789110"/>
              <a:gd name="connsiteY7938" fmla="*/ 2885068 h 6386516"/>
              <a:gd name="connsiteX7939" fmla="*/ 5058728 w 6789110"/>
              <a:gd name="connsiteY7939" fmla="*/ 2875447 h 6386516"/>
              <a:gd name="connsiteX7940" fmla="*/ 5102997 w 6789110"/>
              <a:gd name="connsiteY7940" fmla="*/ 2881219 h 6386516"/>
              <a:gd name="connsiteX7941" fmla="*/ 4975962 w 6789110"/>
              <a:gd name="connsiteY7941" fmla="*/ 2902390 h 6386516"/>
              <a:gd name="connsiteX7942" fmla="*/ 4958638 w 6789110"/>
              <a:gd name="connsiteY7942" fmla="*/ 2935104 h 6386516"/>
              <a:gd name="connsiteX7943" fmla="*/ 4956714 w 6789110"/>
              <a:gd name="connsiteY7943" fmla="*/ 3019782 h 6386516"/>
              <a:gd name="connsiteX7944" fmla="*/ 4956714 w 6789110"/>
              <a:gd name="connsiteY7944" fmla="*/ 3079442 h 6386516"/>
              <a:gd name="connsiteX7945" fmla="*/ 5033706 w 6789110"/>
              <a:gd name="connsiteY7945" fmla="*/ 3089065 h 6386516"/>
              <a:gd name="connsiteX7946" fmla="*/ 5135719 w 6789110"/>
              <a:gd name="connsiteY7946" fmla="*/ 3075592 h 6386516"/>
              <a:gd name="connsiteX7947" fmla="*/ 5154967 w 6789110"/>
              <a:gd name="connsiteY7947" fmla="*/ 3079442 h 6386516"/>
              <a:gd name="connsiteX7948" fmla="*/ 5195388 w 6789110"/>
              <a:gd name="connsiteY7948" fmla="*/ 3102536 h 6386516"/>
              <a:gd name="connsiteX7949" fmla="*/ 5280078 w 6789110"/>
              <a:gd name="connsiteY7949" fmla="*/ 3142955 h 6386516"/>
              <a:gd name="connsiteX7950" fmla="*/ 5358994 w 6789110"/>
              <a:gd name="connsiteY7950" fmla="*/ 3175680 h 6386516"/>
              <a:gd name="connsiteX7951" fmla="*/ 5353220 w 6789110"/>
              <a:gd name="connsiteY7951" fmla="*/ 3191080 h 6386516"/>
              <a:gd name="connsiteX7952" fmla="*/ 5258905 w 6789110"/>
              <a:gd name="connsiteY7952" fmla="*/ 3154506 h 6386516"/>
              <a:gd name="connsiteX7953" fmla="*/ 5243507 w 6789110"/>
              <a:gd name="connsiteY7953" fmla="*/ 3152582 h 6386516"/>
              <a:gd name="connsiteX7954" fmla="*/ 5120321 w 6789110"/>
              <a:gd name="connsiteY7954" fmla="*/ 3146807 h 6386516"/>
              <a:gd name="connsiteX7955" fmla="*/ 5076050 w 6789110"/>
              <a:gd name="connsiteY7955" fmla="*/ 3127557 h 6386516"/>
              <a:gd name="connsiteX7956" fmla="*/ 4968262 w 6789110"/>
              <a:gd name="connsiteY7956" fmla="*/ 3116008 h 6386516"/>
              <a:gd name="connsiteX7957" fmla="*/ 4941315 w 6789110"/>
              <a:gd name="connsiteY7957" fmla="*/ 3148730 h 6386516"/>
              <a:gd name="connsiteX7958" fmla="*/ 4897045 w 6789110"/>
              <a:gd name="connsiteY7958" fmla="*/ 3468241 h 6386516"/>
              <a:gd name="connsiteX7959" fmla="*/ 4947090 w 6789110"/>
              <a:gd name="connsiteY7959" fmla="*/ 3510587 h 6386516"/>
              <a:gd name="connsiteX7960" fmla="*/ 4931691 w 6789110"/>
              <a:gd name="connsiteY7960" fmla="*/ 3529834 h 6386516"/>
              <a:gd name="connsiteX7961" fmla="*/ 4906669 w 6789110"/>
              <a:gd name="connsiteY7961" fmla="*/ 3497113 h 6386516"/>
              <a:gd name="connsiteX7962" fmla="*/ 4893196 w 6789110"/>
              <a:gd name="connsiteY7962" fmla="*/ 3500963 h 6386516"/>
              <a:gd name="connsiteX7963" fmla="*/ 4887422 w 6789110"/>
              <a:gd name="connsiteY7963" fmla="*/ 3583729 h 6386516"/>
              <a:gd name="connsiteX7964" fmla="*/ 4887422 w 6789110"/>
              <a:gd name="connsiteY7964" fmla="*/ 3601052 h 6386516"/>
              <a:gd name="connsiteX7965" fmla="*/ 4974037 w 6789110"/>
              <a:gd name="connsiteY7965" fmla="*/ 3737712 h 6386516"/>
              <a:gd name="connsiteX7966" fmla="*/ 4887422 w 6789110"/>
              <a:gd name="connsiteY7966" fmla="*/ 3641472 h 6386516"/>
              <a:gd name="connsiteX7967" fmla="*/ 4887422 w 6789110"/>
              <a:gd name="connsiteY7967" fmla="*/ 3664570 h 6386516"/>
              <a:gd name="connsiteX7968" fmla="*/ 5012533 w 6789110"/>
              <a:gd name="connsiteY7968" fmla="*/ 3822402 h 6386516"/>
              <a:gd name="connsiteX7969" fmla="*/ 4893196 w 6789110"/>
              <a:gd name="connsiteY7969" fmla="*/ 3701140 h 6386516"/>
              <a:gd name="connsiteX7970" fmla="*/ 5070276 w 6789110"/>
              <a:gd name="connsiteY7970" fmla="*/ 3964837 h 6386516"/>
              <a:gd name="connsiteX7971" fmla="*/ 4966338 w 6789110"/>
              <a:gd name="connsiteY7971" fmla="*/ 3855123 h 6386516"/>
              <a:gd name="connsiteX7972" fmla="*/ 4962488 w 6789110"/>
              <a:gd name="connsiteY7972" fmla="*/ 3889770 h 6386516"/>
              <a:gd name="connsiteX7973" fmla="*/ 5104922 w 6789110"/>
              <a:gd name="connsiteY7973" fmla="*/ 4114970 h 6386516"/>
              <a:gd name="connsiteX7974" fmla="*/ 5002909 w 6789110"/>
              <a:gd name="connsiteY7974" fmla="*/ 4032204 h 6386516"/>
              <a:gd name="connsiteX7975" fmla="*/ 5116471 w 6789110"/>
              <a:gd name="connsiteY7975" fmla="*/ 4143842 h 6386516"/>
              <a:gd name="connsiteX7976" fmla="*/ 5114546 w 6789110"/>
              <a:gd name="connsiteY7976" fmla="*/ 4247780 h 6386516"/>
              <a:gd name="connsiteX7977" fmla="*/ 5012533 w 6789110"/>
              <a:gd name="connsiteY7977" fmla="*/ 4130368 h 6386516"/>
              <a:gd name="connsiteX7978" fmla="*/ 4991360 w 6789110"/>
              <a:gd name="connsiteY7978" fmla="*/ 4147691 h 6386516"/>
              <a:gd name="connsiteX7979" fmla="*/ 5124170 w 6789110"/>
              <a:gd name="connsiteY7979" fmla="*/ 4290126 h 6386516"/>
              <a:gd name="connsiteX7980" fmla="*/ 5108772 w 6789110"/>
              <a:gd name="connsiteY7980" fmla="*/ 4355568 h 6386516"/>
              <a:gd name="connsiteX7981" fmla="*/ 4989435 w 6789110"/>
              <a:gd name="connsiteY7981" fmla="*/ 4216984 h 6386516"/>
              <a:gd name="connsiteX7982" fmla="*/ 4972112 w 6789110"/>
              <a:gd name="connsiteY7982" fmla="*/ 4234307 h 6386516"/>
              <a:gd name="connsiteX7983" fmla="*/ 5104922 w 6789110"/>
              <a:gd name="connsiteY7983" fmla="*/ 4394064 h 6386516"/>
              <a:gd name="connsiteX7984" fmla="*/ 5087599 w 6789110"/>
              <a:gd name="connsiteY7984" fmla="*/ 4449883 h 6386516"/>
              <a:gd name="connsiteX7985" fmla="*/ 4852775 w 6789110"/>
              <a:gd name="connsiteY7985" fmla="*/ 4168864 h 6386516"/>
              <a:gd name="connsiteX7986" fmla="*/ 4858550 w 6789110"/>
              <a:gd name="connsiteY7986" fmla="*/ 4211209 h 6386516"/>
              <a:gd name="connsiteX7987" fmla="*/ 5064502 w 6789110"/>
              <a:gd name="connsiteY7987" fmla="*/ 4457582 h 6386516"/>
              <a:gd name="connsiteX7988" fmla="*/ 4935541 w 6789110"/>
              <a:gd name="connsiteY7988" fmla="*/ 4376741 h 6386516"/>
              <a:gd name="connsiteX7989" fmla="*/ 4902820 w 6789110"/>
              <a:gd name="connsiteY7989" fmla="*/ 4342095 h 6386516"/>
              <a:gd name="connsiteX7990" fmla="*/ 4908594 w 6789110"/>
              <a:gd name="connsiteY7990" fmla="*/ 4349794 h 6386516"/>
              <a:gd name="connsiteX7991" fmla="*/ 4893196 w 6789110"/>
              <a:gd name="connsiteY7991" fmla="*/ 4361343 h 6386516"/>
              <a:gd name="connsiteX7992" fmla="*/ 5018307 w 6789110"/>
              <a:gd name="connsiteY7992" fmla="*/ 4549972 h 6386516"/>
              <a:gd name="connsiteX7993" fmla="*/ 4877798 w 6789110"/>
              <a:gd name="connsiteY7993" fmla="*/ 4386365 h 6386516"/>
              <a:gd name="connsiteX7994" fmla="*/ 4866249 w 6789110"/>
              <a:gd name="connsiteY7994" fmla="*/ 4388290 h 6386516"/>
              <a:gd name="connsiteX7995" fmla="*/ 4856625 w 6789110"/>
              <a:gd name="connsiteY7995" fmla="*/ 4388290 h 6386516"/>
              <a:gd name="connsiteX7996" fmla="*/ 4997134 w 6789110"/>
              <a:gd name="connsiteY7996" fmla="*/ 4598092 h 6386516"/>
              <a:gd name="connsiteX7997" fmla="*/ 4864324 w 6789110"/>
              <a:gd name="connsiteY7997" fmla="*/ 4434485 h 6386516"/>
              <a:gd name="connsiteX7998" fmla="*/ 4860474 w 6789110"/>
              <a:gd name="connsiteY7998" fmla="*/ 4446034 h 6386516"/>
              <a:gd name="connsiteX7999" fmla="*/ 4875873 w 6789110"/>
              <a:gd name="connsiteY7999" fmla="*/ 4484529 h 6386516"/>
              <a:gd name="connsiteX8000" fmla="*/ 4970187 w 6789110"/>
              <a:gd name="connsiteY8000" fmla="*/ 4636588 h 6386516"/>
              <a:gd name="connsiteX8001" fmla="*/ 4927842 w 6789110"/>
              <a:gd name="connsiteY8001" fmla="*/ 4596167 h 6386516"/>
              <a:gd name="connsiteX8002" fmla="*/ 4879722 w 6789110"/>
              <a:gd name="connsiteY8002" fmla="*/ 4536499 h 6386516"/>
              <a:gd name="connsiteX8003" fmla="*/ 4873948 w 6789110"/>
              <a:gd name="connsiteY8003" fmla="*/ 4573069 h 6386516"/>
              <a:gd name="connsiteX8004" fmla="*/ 4922067 w 6789110"/>
              <a:gd name="connsiteY8004" fmla="*/ 4659685 h 6386516"/>
              <a:gd name="connsiteX8005" fmla="*/ 4850850 w 6789110"/>
              <a:gd name="connsiteY8005" fmla="*/ 4605791 h 6386516"/>
              <a:gd name="connsiteX8006" fmla="*/ 4841226 w 6789110"/>
              <a:gd name="connsiteY8006" fmla="*/ 4613490 h 6386516"/>
              <a:gd name="connsiteX8007" fmla="*/ 4850850 w 6789110"/>
              <a:gd name="connsiteY8007" fmla="*/ 4632738 h 6386516"/>
              <a:gd name="connsiteX8008" fmla="*/ 4841226 w 6789110"/>
              <a:gd name="connsiteY8008" fmla="*/ 4626964 h 6386516"/>
              <a:gd name="connsiteX8009" fmla="*/ 4868174 w 6789110"/>
              <a:gd name="connsiteY8009" fmla="*/ 4661610 h 6386516"/>
              <a:gd name="connsiteX8010" fmla="*/ 4820054 w 6789110"/>
              <a:gd name="connsiteY8010" fmla="*/ 4663534 h 6386516"/>
              <a:gd name="connsiteX8011" fmla="*/ 4741138 w 6789110"/>
              <a:gd name="connsiteY8011" fmla="*/ 4569220 h 6386516"/>
              <a:gd name="connsiteX8012" fmla="*/ 4729589 w 6789110"/>
              <a:gd name="connsiteY8012" fmla="*/ 4569220 h 6386516"/>
              <a:gd name="connsiteX8013" fmla="*/ 4700717 w 6789110"/>
              <a:gd name="connsiteY8013" fmla="*/ 4526875 h 6386516"/>
              <a:gd name="connsiteX8014" fmla="*/ 4227218 w 6789110"/>
              <a:gd name="connsiteY8014" fmla="*/ 4034129 h 6386516"/>
              <a:gd name="connsiteX8015" fmla="*/ 4211820 w 6789110"/>
              <a:gd name="connsiteY8015" fmla="*/ 4076474 h 6386516"/>
              <a:gd name="connsiteX8016" fmla="*/ 4408148 w 6789110"/>
              <a:gd name="connsiteY8016" fmla="*/ 4245856 h 6386516"/>
              <a:gd name="connsiteX8017" fmla="*/ 4785408 w 6789110"/>
              <a:gd name="connsiteY8017" fmla="*/ 4657760 h 6386516"/>
              <a:gd name="connsiteX8018" fmla="*/ 4710341 w 6789110"/>
              <a:gd name="connsiteY8018" fmla="*/ 4650061 h 6386516"/>
              <a:gd name="connsiteX8019" fmla="*/ 4204121 w 6789110"/>
              <a:gd name="connsiteY8019" fmla="*/ 4107271 h 6386516"/>
              <a:gd name="connsiteX8020" fmla="*/ 4198346 w 6789110"/>
              <a:gd name="connsiteY8020" fmla="*/ 4113045 h 6386516"/>
              <a:gd name="connsiteX8021" fmla="*/ 4194497 w 6789110"/>
              <a:gd name="connsiteY8021" fmla="*/ 4134218 h 6386516"/>
              <a:gd name="connsiteX8022" fmla="*/ 4664146 w 6789110"/>
              <a:gd name="connsiteY8022" fmla="*/ 4630813 h 6386516"/>
              <a:gd name="connsiteX8023" fmla="*/ 4437020 w 6789110"/>
              <a:gd name="connsiteY8023" fmla="*/ 4469131 h 6386516"/>
              <a:gd name="connsiteX8024" fmla="*/ 4184873 w 6789110"/>
              <a:gd name="connsiteY8024" fmla="*/ 4186187 h 6386516"/>
              <a:gd name="connsiteX8025" fmla="*/ 4179099 w 6789110"/>
              <a:gd name="connsiteY8025" fmla="*/ 4216984 h 6386516"/>
              <a:gd name="connsiteX8026" fmla="*/ 4527485 w 6789110"/>
              <a:gd name="connsiteY8026" fmla="*/ 4600017 h 6386516"/>
              <a:gd name="connsiteX8027" fmla="*/ 4323458 w 6789110"/>
              <a:gd name="connsiteY8027" fmla="*/ 4434485 h 6386516"/>
              <a:gd name="connsiteX8028" fmla="*/ 4169475 w 6789110"/>
              <a:gd name="connsiteY8028" fmla="*/ 4267028 h 6386516"/>
              <a:gd name="connsiteX8029" fmla="*/ 4163700 w 6789110"/>
              <a:gd name="connsiteY8029" fmla="*/ 4293975 h 6386516"/>
              <a:gd name="connsiteX8030" fmla="*/ 4369652 w 6789110"/>
              <a:gd name="connsiteY8030" fmla="*/ 4534574 h 6386516"/>
              <a:gd name="connsiteX8031" fmla="*/ 4150227 w 6789110"/>
              <a:gd name="connsiteY8031" fmla="*/ 4372892 h 6386516"/>
              <a:gd name="connsiteX8032" fmla="*/ 4148302 w 6789110"/>
              <a:gd name="connsiteY8032" fmla="*/ 4380591 h 6386516"/>
              <a:gd name="connsiteX8033" fmla="*/ 4152151 w 6789110"/>
              <a:gd name="connsiteY8033" fmla="*/ 4394064 h 6386516"/>
              <a:gd name="connsiteX8034" fmla="*/ 4194497 w 6789110"/>
              <a:gd name="connsiteY8034" fmla="*/ 4447958 h 6386516"/>
              <a:gd name="connsiteX8035" fmla="*/ 4156001 w 6789110"/>
              <a:gd name="connsiteY8035" fmla="*/ 4430635 h 6386516"/>
              <a:gd name="connsiteX8036" fmla="*/ 4157926 w 6789110"/>
              <a:gd name="connsiteY8036" fmla="*/ 4438334 h 6386516"/>
              <a:gd name="connsiteX8037" fmla="*/ 4175249 w 6789110"/>
              <a:gd name="connsiteY8037" fmla="*/ 4719353 h 6386516"/>
              <a:gd name="connsiteX8038" fmla="*/ 4179099 w 6789110"/>
              <a:gd name="connsiteY8038" fmla="*/ 4850239 h 6386516"/>
              <a:gd name="connsiteX8039" fmla="*/ 4169475 w 6789110"/>
              <a:gd name="connsiteY8039" fmla="*/ 4859863 h 6386516"/>
              <a:gd name="connsiteX8040" fmla="*/ 4181023 w 6789110"/>
              <a:gd name="connsiteY8040" fmla="*/ 4881035 h 6386516"/>
              <a:gd name="connsiteX8041" fmla="*/ 4181023 w 6789110"/>
              <a:gd name="connsiteY8041" fmla="*/ 4956102 h 6386516"/>
              <a:gd name="connsiteX8042" fmla="*/ 4130979 w 6789110"/>
              <a:gd name="connsiteY8042" fmla="*/ 4934930 h 6386516"/>
              <a:gd name="connsiteX8043" fmla="*/ 4117505 w 6789110"/>
              <a:gd name="connsiteY8043" fmla="*/ 4958027 h 6386516"/>
              <a:gd name="connsiteX8044" fmla="*/ 4154076 w 6789110"/>
              <a:gd name="connsiteY8044" fmla="*/ 5000372 h 6386516"/>
              <a:gd name="connsiteX8045" fmla="*/ 4169475 w 6789110"/>
              <a:gd name="connsiteY8045" fmla="*/ 5006147 h 6386516"/>
              <a:gd name="connsiteX8046" fmla="*/ 4159851 w 6789110"/>
              <a:gd name="connsiteY8046" fmla="*/ 5019620 h 6386516"/>
              <a:gd name="connsiteX8047" fmla="*/ 4136753 w 6789110"/>
              <a:gd name="connsiteY8047" fmla="*/ 5029244 h 6386516"/>
              <a:gd name="connsiteX8048" fmla="*/ 4132904 w 6789110"/>
              <a:gd name="connsiteY8048" fmla="*/ 5040793 h 6386516"/>
              <a:gd name="connsiteX8049" fmla="*/ 4127129 w 6789110"/>
              <a:gd name="connsiteY8049" fmla="*/ 5085063 h 6386516"/>
              <a:gd name="connsiteX8050" fmla="*/ 4142527 w 6789110"/>
              <a:gd name="connsiteY8050" fmla="*/ 5102386 h 6386516"/>
              <a:gd name="connsiteX8051" fmla="*/ 4102107 w 6789110"/>
              <a:gd name="connsiteY8051" fmla="*/ 5112010 h 6386516"/>
              <a:gd name="connsiteX8052" fmla="*/ 4098258 w 6789110"/>
              <a:gd name="connsiteY8052" fmla="*/ 5133183 h 6386516"/>
              <a:gd name="connsiteX8053" fmla="*/ 4065536 w 6789110"/>
              <a:gd name="connsiteY8053" fmla="*/ 5127408 h 6386516"/>
              <a:gd name="connsiteX8054" fmla="*/ 4030890 w 6789110"/>
              <a:gd name="connsiteY8054" fmla="*/ 5144731 h 6386516"/>
              <a:gd name="connsiteX8055" fmla="*/ 4017416 w 6789110"/>
              <a:gd name="connsiteY8055" fmla="*/ 5152430 h 6386516"/>
              <a:gd name="connsiteX8056" fmla="*/ 3992394 w 6789110"/>
              <a:gd name="connsiteY8056" fmla="*/ 5121634 h 6386516"/>
              <a:gd name="connsiteX8057" fmla="*/ 4000093 w 6789110"/>
              <a:gd name="connsiteY8057" fmla="*/ 5119709 h 6386516"/>
              <a:gd name="connsiteX8058" fmla="*/ 3978921 w 6789110"/>
              <a:gd name="connsiteY8058" fmla="*/ 5086988 h 6386516"/>
              <a:gd name="connsiteX8059" fmla="*/ 3986620 w 6789110"/>
              <a:gd name="connsiteY8059" fmla="*/ 5038868 h 6386516"/>
              <a:gd name="connsiteX8060" fmla="*/ 3978921 w 6789110"/>
              <a:gd name="connsiteY8060" fmla="*/ 5058116 h 6386516"/>
              <a:gd name="connsiteX8061" fmla="*/ 3900004 w 6789110"/>
              <a:gd name="connsiteY8061" fmla="*/ 5121634 h 6386516"/>
              <a:gd name="connsiteX8062" fmla="*/ 3513122 w 6789110"/>
              <a:gd name="connsiteY8062" fmla="*/ 4927231 h 6386516"/>
              <a:gd name="connsiteX8063" fmla="*/ 3874982 w 6789110"/>
              <a:gd name="connsiteY8063" fmla="*/ 5137032 h 6386516"/>
              <a:gd name="connsiteX8064" fmla="*/ 3950049 w 6789110"/>
              <a:gd name="connsiteY8064" fmla="*/ 5171678 h 6386516"/>
              <a:gd name="connsiteX8065" fmla="*/ 3925027 w 6789110"/>
              <a:gd name="connsiteY8065" fmla="*/ 5187077 h 6386516"/>
              <a:gd name="connsiteX8066" fmla="*/ 3751796 w 6789110"/>
              <a:gd name="connsiteY8066" fmla="*/ 5152430 h 6386516"/>
              <a:gd name="connsiteX8067" fmla="*/ 3932726 w 6789110"/>
              <a:gd name="connsiteY8067" fmla="*/ 5214024 h 6386516"/>
              <a:gd name="connsiteX8068" fmla="*/ 3863433 w 6789110"/>
              <a:gd name="connsiteY8068" fmla="*/ 5393029 h 6386516"/>
              <a:gd name="connsiteX8069" fmla="*/ 3811464 w 6789110"/>
              <a:gd name="connsiteY8069" fmla="*/ 5394954 h 6386516"/>
              <a:gd name="connsiteX8070" fmla="*/ 3846110 w 6789110"/>
              <a:gd name="connsiteY8070" fmla="*/ 5468096 h 6386516"/>
              <a:gd name="connsiteX8071" fmla="*/ 3736397 w 6789110"/>
              <a:gd name="connsiteY8071" fmla="*/ 5577809 h 6386516"/>
              <a:gd name="connsiteX8072" fmla="*/ 3755645 w 6789110"/>
              <a:gd name="connsiteY8072" fmla="*/ 5535464 h 6386516"/>
              <a:gd name="connsiteX8073" fmla="*/ 3713300 w 6789110"/>
              <a:gd name="connsiteY8073" fmla="*/ 5491193 h 6386516"/>
              <a:gd name="connsiteX8074" fmla="*/ 3572791 w 6789110"/>
              <a:gd name="connsiteY8074" fmla="*/ 5366082 h 6386516"/>
              <a:gd name="connsiteX8075" fmla="*/ 3087745 w 6789110"/>
              <a:gd name="connsiteY8075" fmla="*/ 4956102 h 6386516"/>
              <a:gd name="connsiteX8076" fmla="*/ 3557392 w 6789110"/>
              <a:gd name="connsiteY8076" fmla="*/ 5379556 h 6386516"/>
              <a:gd name="connsiteX8077" fmla="*/ 3445754 w 6789110"/>
              <a:gd name="connsiteY8077" fmla="*/ 5396879 h 6386516"/>
              <a:gd name="connsiteX8078" fmla="*/ 3605512 w 6789110"/>
              <a:gd name="connsiteY8078" fmla="*/ 5371857 h 6386516"/>
              <a:gd name="connsiteX8079" fmla="*/ 3632459 w 6789110"/>
              <a:gd name="connsiteY8079" fmla="*/ 5485419 h 6386516"/>
              <a:gd name="connsiteX8080" fmla="*/ 3578565 w 6789110"/>
              <a:gd name="connsiteY8080" fmla="*/ 5689447 h 6386516"/>
              <a:gd name="connsiteX8081" fmla="*/ 3461153 w 6789110"/>
              <a:gd name="connsiteY8081" fmla="*/ 5714469 h 6386516"/>
              <a:gd name="connsiteX8082" fmla="*/ 3422657 w 6789110"/>
              <a:gd name="connsiteY8082" fmla="*/ 5829956 h 6386516"/>
              <a:gd name="connsiteX8083" fmla="*/ 3274448 w 6789110"/>
              <a:gd name="connsiteY8083" fmla="*/ 5418051 h 6386516"/>
              <a:gd name="connsiteX8084" fmla="*/ 3012678 w 6789110"/>
              <a:gd name="connsiteY8084" fmla="*/ 5179378 h 6386516"/>
              <a:gd name="connsiteX8085" fmla="*/ 3314869 w 6789110"/>
              <a:gd name="connsiteY8085" fmla="*/ 5525840 h 6386516"/>
              <a:gd name="connsiteX8086" fmla="*/ 3282147 w 6789110"/>
              <a:gd name="connsiteY8086" fmla="*/ 5514291 h 6386516"/>
              <a:gd name="connsiteX8087" fmla="*/ 3099293 w 6789110"/>
              <a:gd name="connsiteY8087" fmla="*/ 5387255 h 6386516"/>
              <a:gd name="connsiteX8088" fmla="*/ 2868318 w 6789110"/>
              <a:gd name="connsiteY8088" fmla="*/ 4934930 h 6386516"/>
              <a:gd name="connsiteX8089" fmla="*/ 2795176 w 6789110"/>
              <a:gd name="connsiteY8089" fmla="*/ 4474905 h 6386516"/>
              <a:gd name="connsiteX8090" fmla="*/ 2818274 w 6789110"/>
              <a:gd name="connsiteY8090" fmla="*/ 4815593 h 6386516"/>
              <a:gd name="connsiteX8091" fmla="*/ 3070421 w 6789110"/>
              <a:gd name="connsiteY8091" fmla="*/ 5368007 h 6386516"/>
              <a:gd name="connsiteX8092" fmla="*/ 3003053 w 6789110"/>
              <a:gd name="connsiteY8092" fmla="*/ 5300639 h 6386516"/>
              <a:gd name="connsiteX8093" fmla="*/ 2912588 w 6789110"/>
              <a:gd name="connsiteY8093" fmla="*/ 5281391 h 6386516"/>
              <a:gd name="connsiteX8094" fmla="*/ 2850995 w 6789110"/>
              <a:gd name="connsiteY8094" fmla="*/ 5229422 h 6386516"/>
              <a:gd name="connsiteX8095" fmla="*/ 2729733 w 6789110"/>
              <a:gd name="connsiteY8095" fmla="*/ 5198626 h 6386516"/>
              <a:gd name="connsiteX8096" fmla="*/ 2716260 w 6789110"/>
              <a:gd name="connsiteY8096" fmla="*/ 5138957 h 6386516"/>
              <a:gd name="connsiteX8097" fmla="*/ 2725885 w 6789110"/>
              <a:gd name="connsiteY8097" fmla="*/ 4496078 h 6386516"/>
              <a:gd name="connsiteX8098" fmla="*/ 2822123 w 6789110"/>
              <a:gd name="connsiteY8098" fmla="*/ 4061076 h 6386516"/>
              <a:gd name="connsiteX8099" fmla="*/ 2991505 w 6789110"/>
              <a:gd name="connsiteY8099" fmla="*/ 4382516 h 6386516"/>
              <a:gd name="connsiteX8100" fmla="*/ 3072346 w 6789110"/>
              <a:gd name="connsiteY8100" fmla="*/ 4636588 h 6386516"/>
              <a:gd name="connsiteX8101" fmla="*/ 3516971 w 6789110"/>
              <a:gd name="connsiteY8101" fmla="*/ 5110085 h 6386516"/>
              <a:gd name="connsiteX8102" fmla="*/ 3047323 w 6789110"/>
              <a:gd name="connsiteY8102" fmla="*/ 4457582 h 6386516"/>
              <a:gd name="connsiteX8103" fmla="*/ 3001129 w 6789110"/>
              <a:gd name="connsiteY8103" fmla="*/ 4374816 h 6386516"/>
              <a:gd name="connsiteX8104" fmla="*/ 2983805 w 6789110"/>
              <a:gd name="connsiteY8104" fmla="*/ 4370967 h 6386516"/>
              <a:gd name="connsiteX8105" fmla="*/ 2906814 w 6789110"/>
              <a:gd name="connsiteY8105" fmla="*/ 4039903 h 6386516"/>
              <a:gd name="connsiteX8106" fmla="*/ 3112766 w 6789110"/>
              <a:gd name="connsiteY8106" fmla="*/ 4392140 h 6386516"/>
              <a:gd name="connsiteX8107" fmla="*/ 2981881 w 6789110"/>
              <a:gd name="connsiteY8107" fmla="*/ 4147691 h 6386516"/>
              <a:gd name="connsiteX8108" fmla="*/ 3207081 w 6789110"/>
              <a:gd name="connsiteY8108" fmla="*/ 4409463 h 6386516"/>
              <a:gd name="connsiteX8109" fmla="*/ 3199383 w 6789110"/>
              <a:gd name="connsiteY8109" fmla="*/ 4292051 h 6386516"/>
              <a:gd name="connsiteX8110" fmla="*/ 3297546 w 6789110"/>
              <a:gd name="connsiteY8110" fmla="*/ 4318998 h 6386516"/>
              <a:gd name="connsiteX8111" fmla="*/ 3436130 w 6789110"/>
              <a:gd name="connsiteY8111" fmla="*/ 4255480 h 6386516"/>
              <a:gd name="connsiteX8112" fmla="*/ 3191683 w 6789110"/>
              <a:gd name="connsiteY8112" fmla="*/ 4097647 h 6386516"/>
              <a:gd name="connsiteX8113" fmla="*/ 3164736 w 6789110"/>
              <a:gd name="connsiteY8113" fmla="*/ 4122669 h 6386516"/>
              <a:gd name="connsiteX8114" fmla="*/ 3185908 w 6789110"/>
              <a:gd name="connsiteY8114" fmla="*/ 4084173 h 6386516"/>
              <a:gd name="connsiteX8115" fmla="*/ 3426507 w 6789110"/>
              <a:gd name="connsiteY8115" fmla="*/ 4163090 h 6386516"/>
              <a:gd name="connsiteX8116" fmla="*/ 3424582 w 6789110"/>
              <a:gd name="connsiteY8116" fmla="*/ 4136143 h 6386516"/>
              <a:gd name="connsiteX8117" fmla="*/ 3272524 w 6789110"/>
              <a:gd name="connsiteY8117" fmla="*/ 4080324 h 6386516"/>
              <a:gd name="connsiteX8118" fmla="*/ 3195532 w 6789110"/>
              <a:gd name="connsiteY8118" fmla="*/ 4016806 h 6386516"/>
              <a:gd name="connsiteX8119" fmla="*/ 3078120 w 6789110"/>
              <a:gd name="connsiteY8119" fmla="*/ 3947513 h 6386516"/>
              <a:gd name="connsiteX8120" fmla="*/ 3301395 w 6789110"/>
              <a:gd name="connsiteY8120" fmla="*/ 4005257 h 6386516"/>
              <a:gd name="connsiteX8121" fmla="*/ 3266749 w 6789110"/>
              <a:gd name="connsiteY8121" fmla="*/ 4028354 h 6386516"/>
              <a:gd name="connsiteX8122" fmla="*/ 3484250 w 6789110"/>
              <a:gd name="connsiteY8122" fmla="*/ 4041828 h 6386516"/>
              <a:gd name="connsiteX8123" fmla="*/ 3372612 w 6789110"/>
              <a:gd name="connsiteY8123" fmla="*/ 4020655 h 6386516"/>
              <a:gd name="connsiteX8124" fmla="*/ 3420732 w 6789110"/>
              <a:gd name="connsiteY8124" fmla="*/ 3976385 h 6386516"/>
              <a:gd name="connsiteX8125" fmla="*/ 3351440 w 6789110"/>
              <a:gd name="connsiteY8125" fmla="*/ 3978310 h 6386516"/>
              <a:gd name="connsiteX8126" fmla="*/ 3401484 w 6789110"/>
              <a:gd name="connsiteY8126" fmla="*/ 3924416 h 6386516"/>
              <a:gd name="connsiteX8127" fmla="*/ 3257125 w 6789110"/>
              <a:gd name="connsiteY8127" fmla="*/ 3918642 h 6386516"/>
              <a:gd name="connsiteX8128" fmla="*/ 3151262 w 6789110"/>
              <a:gd name="connsiteY8128" fmla="*/ 3756959 h 6386516"/>
              <a:gd name="connsiteX8129" fmla="*/ 3245577 w 6789110"/>
              <a:gd name="connsiteY8129" fmla="*/ 3851274 h 6386516"/>
              <a:gd name="connsiteX8130" fmla="*/ 3041549 w 6789110"/>
              <a:gd name="connsiteY8130" fmla="*/ 3585653 h 6386516"/>
              <a:gd name="connsiteX8131" fmla="*/ 3234028 w 6789110"/>
              <a:gd name="connsiteY8131" fmla="*/ 3533684 h 6386516"/>
              <a:gd name="connsiteX8132" fmla="*/ 3257125 w 6789110"/>
              <a:gd name="connsiteY8132" fmla="*/ 3504812 h 6386516"/>
              <a:gd name="connsiteX8133" fmla="*/ 3386086 w 6789110"/>
              <a:gd name="connsiteY8133" fmla="*/ 3701140 h 6386516"/>
              <a:gd name="connsiteX8134" fmla="*/ 3461153 w 6789110"/>
              <a:gd name="connsiteY8134" fmla="*/ 3554857 h 6386516"/>
              <a:gd name="connsiteX8135" fmla="*/ 3611286 w 6789110"/>
              <a:gd name="connsiteY8135" fmla="*/ 3618375 h 6386516"/>
              <a:gd name="connsiteX8136" fmla="*/ 3684428 w 6789110"/>
              <a:gd name="connsiteY8136" fmla="*/ 3695366 h 6386516"/>
              <a:gd name="connsiteX8137" fmla="*/ 3684428 w 6789110"/>
              <a:gd name="connsiteY8137" fmla="*/ 3868597 h 6386516"/>
              <a:gd name="connsiteX8138" fmla="*/ 3774893 w 6789110"/>
              <a:gd name="connsiteY8138" fmla="*/ 3733862 h 6386516"/>
              <a:gd name="connsiteX8139" fmla="*/ 3909628 w 6789110"/>
              <a:gd name="connsiteY8139" fmla="*/ 3918642 h 6386516"/>
              <a:gd name="connsiteX8140" fmla="*/ 3932726 w 6789110"/>
              <a:gd name="connsiteY8140" fmla="*/ 3978310 h 6386516"/>
              <a:gd name="connsiteX8141" fmla="*/ 3942350 w 6789110"/>
              <a:gd name="connsiteY8141" fmla="*/ 3935965 h 6386516"/>
              <a:gd name="connsiteX8142" fmla="*/ 3944275 w 6789110"/>
              <a:gd name="connsiteY8142" fmla="*/ 3909018 h 6386516"/>
              <a:gd name="connsiteX8143" fmla="*/ 3925027 w 6789110"/>
              <a:gd name="connsiteY8143" fmla="*/ 3916717 h 6386516"/>
              <a:gd name="connsiteX8144" fmla="*/ 3882681 w 6789110"/>
              <a:gd name="connsiteY8144" fmla="*/ 3872447 h 6386516"/>
              <a:gd name="connsiteX8145" fmla="*/ 3780668 w 6789110"/>
              <a:gd name="connsiteY8145" fmla="*/ 3712689 h 6386516"/>
              <a:gd name="connsiteX8146" fmla="*/ 3686353 w 6789110"/>
              <a:gd name="connsiteY8146" fmla="*/ 3847424 h 6386516"/>
              <a:gd name="connsiteX8147" fmla="*/ 3705601 w 6789110"/>
              <a:gd name="connsiteY8147" fmla="*/ 3701140 h 6386516"/>
              <a:gd name="connsiteX8148" fmla="*/ 3678654 w 6789110"/>
              <a:gd name="connsiteY8148" fmla="*/ 3664570 h 6386516"/>
              <a:gd name="connsiteX8149" fmla="*/ 3659406 w 6789110"/>
              <a:gd name="connsiteY8149" fmla="*/ 3256515 h 6386516"/>
              <a:gd name="connsiteX8150" fmla="*/ 3640158 w 6789110"/>
              <a:gd name="connsiteY8150" fmla="*/ 3229568 h 6386516"/>
              <a:gd name="connsiteX8151" fmla="*/ 3632459 w 6789110"/>
              <a:gd name="connsiteY8151" fmla="*/ 3202621 h 6386516"/>
              <a:gd name="connsiteX8152" fmla="*/ 3653632 w 6789110"/>
              <a:gd name="connsiteY8152" fmla="*/ 3356604 h 6386516"/>
              <a:gd name="connsiteX8153" fmla="*/ 3603587 w 6789110"/>
              <a:gd name="connsiteY8153" fmla="*/ 3331581 h 6386516"/>
              <a:gd name="connsiteX8154" fmla="*/ 3459228 w 6789110"/>
              <a:gd name="connsiteY8154" fmla="*/ 2971670 h 6386516"/>
              <a:gd name="connsiteX8155" fmla="*/ 3445754 w 6789110"/>
              <a:gd name="connsiteY8155" fmla="*/ 2985141 h 6386516"/>
              <a:gd name="connsiteX8156" fmla="*/ 3595888 w 6789110"/>
              <a:gd name="connsiteY8156" fmla="*/ 3325807 h 6386516"/>
              <a:gd name="connsiteX8157" fmla="*/ 3526595 w 6789110"/>
              <a:gd name="connsiteY8157" fmla="*/ 3310409 h 6386516"/>
              <a:gd name="connsiteX8158" fmla="*/ 3426507 w 6789110"/>
              <a:gd name="connsiteY8158" fmla="*/ 3031330 h 6386516"/>
              <a:gd name="connsiteX8159" fmla="*/ 3418086 w 6789110"/>
              <a:gd name="connsiteY8159" fmla="*/ 3041432 h 6386516"/>
              <a:gd name="connsiteX8160" fmla="*/ 3410135 w 6789110"/>
              <a:gd name="connsiteY8160" fmla="*/ 3042333 h 6386516"/>
              <a:gd name="connsiteX8161" fmla="*/ 3442868 w 6789110"/>
              <a:gd name="connsiteY8161" fmla="*/ 3098207 h 6386516"/>
              <a:gd name="connsiteX8162" fmla="*/ 3518897 w 6789110"/>
              <a:gd name="connsiteY8162" fmla="*/ 3304634 h 6386516"/>
              <a:gd name="connsiteX8163" fmla="*/ 3465003 w 6789110"/>
              <a:gd name="connsiteY8163" fmla="*/ 3296935 h 6386516"/>
              <a:gd name="connsiteX8164" fmla="*/ 3388011 w 6789110"/>
              <a:gd name="connsiteY8164" fmla="*/ 3116008 h 6386516"/>
              <a:gd name="connsiteX8165" fmla="*/ 3384161 w 6789110"/>
              <a:gd name="connsiteY8165" fmla="*/ 3135255 h 6386516"/>
              <a:gd name="connsiteX8166" fmla="*/ 3443830 w 6789110"/>
              <a:gd name="connsiteY8166" fmla="*/ 3291161 h 6386516"/>
              <a:gd name="connsiteX8167" fmla="*/ 3372612 w 6789110"/>
              <a:gd name="connsiteY8167" fmla="*/ 3171830 h 6386516"/>
              <a:gd name="connsiteX8168" fmla="*/ 3368764 w 6789110"/>
              <a:gd name="connsiteY8168" fmla="*/ 3185305 h 6386516"/>
              <a:gd name="connsiteX8169" fmla="*/ 3403409 w 6789110"/>
              <a:gd name="connsiteY8169" fmla="*/ 3277687 h 6386516"/>
              <a:gd name="connsiteX8170" fmla="*/ 3320643 w 6789110"/>
              <a:gd name="connsiteY8170" fmla="*/ 3090989 h 6386516"/>
              <a:gd name="connsiteX8171" fmla="*/ 3351440 w 6789110"/>
              <a:gd name="connsiteY8171" fmla="*/ 3148730 h 6386516"/>
              <a:gd name="connsiteX8172" fmla="*/ 3357214 w 6789110"/>
              <a:gd name="connsiteY8172" fmla="*/ 3133331 h 6386516"/>
              <a:gd name="connsiteX8173" fmla="*/ 3320643 w 6789110"/>
              <a:gd name="connsiteY8173" fmla="*/ 3077516 h 6386516"/>
              <a:gd name="connsiteX8174" fmla="*/ 3324494 w 6789110"/>
              <a:gd name="connsiteY8174" fmla="*/ 3021706 h 6386516"/>
              <a:gd name="connsiteX8175" fmla="*/ 3370688 w 6789110"/>
              <a:gd name="connsiteY8175" fmla="*/ 3110236 h 6386516"/>
              <a:gd name="connsiteX8176" fmla="*/ 3378387 w 6789110"/>
              <a:gd name="connsiteY8176" fmla="*/ 3096764 h 6386516"/>
              <a:gd name="connsiteX8177" fmla="*/ 3322568 w 6789110"/>
              <a:gd name="connsiteY8177" fmla="*/ 2994763 h 6386516"/>
              <a:gd name="connsiteX8178" fmla="*/ 3388011 w 6789110"/>
              <a:gd name="connsiteY8178" fmla="*/ 3083292 h 6386516"/>
              <a:gd name="connsiteX8179" fmla="*/ 3394767 w 6789110"/>
              <a:gd name="connsiteY8179" fmla="*/ 3076534 h 6386516"/>
              <a:gd name="connsiteX8180" fmla="*/ 3395212 w 6789110"/>
              <a:gd name="connsiteY8180" fmla="*/ 3080569 h 6386516"/>
              <a:gd name="connsiteX8181" fmla="*/ 3393785 w 6789110"/>
              <a:gd name="connsiteY8181" fmla="*/ 3094839 h 6386516"/>
              <a:gd name="connsiteX8182" fmla="*/ 3397635 w 6789110"/>
              <a:gd name="connsiteY8182" fmla="*/ 3102536 h 6386516"/>
              <a:gd name="connsiteX8183" fmla="*/ 3395212 w 6789110"/>
              <a:gd name="connsiteY8183" fmla="*/ 3080569 h 6386516"/>
              <a:gd name="connsiteX8184" fmla="*/ 3395710 w 6789110"/>
              <a:gd name="connsiteY8184" fmla="*/ 3075592 h 6386516"/>
              <a:gd name="connsiteX8185" fmla="*/ 3394767 w 6789110"/>
              <a:gd name="connsiteY8185" fmla="*/ 3076534 h 6386516"/>
              <a:gd name="connsiteX8186" fmla="*/ 3394496 w 6789110"/>
              <a:gd name="connsiteY8186" fmla="*/ 3074074 h 6386516"/>
              <a:gd name="connsiteX8187" fmla="*/ 3326418 w 6789110"/>
              <a:gd name="connsiteY8187" fmla="*/ 2917784 h 6386516"/>
              <a:gd name="connsiteX8188" fmla="*/ 3388432 w 6789110"/>
              <a:gd name="connsiteY8188" fmla="*/ 3005288 h 6386516"/>
              <a:gd name="connsiteX8189" fmla="*/ 3406626 w 6789110"/>
              <a:gd name="connsiteY8189" fmla="*/ 3036343 h 6386516"/>
              <a:gd name="connsiteX8190" fmla="*/ 3409665 w 6789110"/>
              <a:gd name="connsiteY8190" fmla="*/ 3020985 h 6386516"/>
              <a:gd name="connsiteX8191" fmla="*/ 3411108 w 6789110"/>
              <a:gd name="connsiteY8191" fmla="*/ 3006310 h 6386516"/>
              <a:gd name="connsiteX8192" fmla="*/ 3413033 w 6789110"/>
              <a:gd name="connsiteY8192" fmla="*/ 3004384 h 6386516"/>
              <a:gd name="connsiteX8193" fmla="*/ 3391860 w 6789110"/>
              <a:gd name="connsiteY8193" fmla="*/ 2969744 h 6386516"/>
              <a:gd name="connsiteX8194" fmla="*/ 3391860 w 6789110"/>
              <a:gd name="connsiteY8194" fmla="*/ 2975520 h 6386516"/>
              <a:gd name="connsiteX8195" fmla="*/ 3361065 w 6789110"/>
              <a:gd name="connsiteY8195" fmla="*/ 2963971 h 6386516"/>
              <a:gd name="connsiteX8196" fmla="*/ 3362988 w 6789110"/>
              <a:gd name="connsiteY8196" fmla="*/ 2931255 h 6386516"/>
              <a:gd name="connsiteX8197" fmla="*/ 3295621 w 6789110"/>
              <a:gd name="connsiteY8197" fmla="*/ 2804240 h 6386516"/>
              <a:gd name="connsiteX8198" fmla="*/ 3382236 w 6789110"/>
              <a:gd name="connsiteY8198" fmla="*/ 2890841 h 6386516"/>
              <a:gd name="connsiteX8199" fmla="*/ 3384161 w 6789110"/>
              <a:gd name="connsiteY8199" fmla="*/ 2883144 h 6386516"/>
              <a:gd name="connsiteX8200" fmla="*/ 3349515 w 6789110"/>
              <a:gd name="connsiteY8200" fmla="*/ 2838881 h 6386516"/>
              <a:gd name="connsiteX8201" fmla="*/ 3349515 w 6789110"/>
              <a:gd name="connsiteY8201" fmla="*/ 2831183 h 6386516"/>
              <a:gd name="connsiteX8202" fmla="*/ 3257125 w 6789110"/>
              <a:gd name="connsiteY8202" fmla="*/ 2752279 h 6386516"/>
              <a:gd name="connsiteX8203" fmla="*/ 3239802 w 6789110"/>
              <a:gd name="connsiteY8203" fmla="*/ 2761902 h 6386516"/>
              <a:gd name="connsiteX8204" fmla="*/ 3235953 w 6789110"/>
              <a:gd name="connsiteY8204" fmla="*/ 2736883 h 6386516"/>
              <a:gd name="connsiteX8205" fmla="*/ 3220554 w 6789110"/>
              <a:gd name="connsiteY8205" fmla="*/ 2727262 h 6386516"/>
              <a:gd name="connsiteX8206" fmla="*/ 3247501 w 6789110"/>
              <a:gd name="connsiteY8206" fmla="*/ 2721488 h 6386516"/>
              <a:gd name="connsiteX8207" fmla="*/ 3276373 w 6789110"/>
              <a:gd name="connsiteY8207" fmla="*/ 2692620 h 6386516"/>
              <a:gd name="connsiteX8208" fmla="*/ 3266749 w 6789110"/>
              <a:gd name="connsiteY8208" fmla="*/ 2690696 h 6386516"/>
              <a:gd name="connsiteX8209" fmla="*/ 3287922 w 6789110"/>
              <a:gd name="connsiteY8209" fmla="*/ 2675300 h 6386516"/>
              <a:gd name="connsiteX8210" fmla="*/ 3276373 w 6789110"/>
              <a:gd name="connsiteY8210" fmla="*/ 2681073 h 6386516"/>
              <a:gd name="connsiteX8211" fmla="*/ 3239802 w 6789110"/>
              <a:gd name="connsiteY8211" fmla="*/ 2661824 h 6386516"/>
              <a:gd name="connsiteX8212" fmla="*/ 3222479 w 6789110"/>
              <a:gd name="connsiteY8212" fmla="*/ 2671449 h 6386516"/>
              <a:gd name="connsiteX8213" fmla="*/ 3220554 w 6789110"/>
              <a:gd name="connsiteY8213" fmla="*/ 2673376 h 6386516"/>
              <a:gd name="connsiteX8214" fmla="*/ 3132014 w 6789110"/>
              <a:gd name="connsiteY8214" fmla="*/ 2704168 h 6386516"/>
              <a:gd name="connsiteX8215" fmla="*/ 3189758 w 6789110"/>
              <a:gd name="connsiteY8215" fmla="*/ 2656053 h 6386516"/>
              <a:gd name="connsiteX8216" fmla="*/ 3162812 w 6789110"/>
              <a:gd name="connsiteY8216" fmla="*/ 2636801 h 6386516"/>
              <a:gd name="connsiteX8217" fmla="*/ 3053098 w 6789110"/>
              <a:gd name="connsiteY8217" fmla="*/ 2713791 h 6386516"/>
              <a:gd name="connsiteX8218" fmla="*/ 3157036 w 6789110"/>
              <a:gd name="connsiteY8218" fmla="*/ 2632957 h 6386516"/>
              <a:gd name="connsiteX8219" fmla="*/ 3126240 w 6789110"/>
              <a:gd name="connsiteY8219" fmla="*/ 2604083 h 6386516"/>
              <a:gd name="connsiteX8220" fmla="*/ 3120465 w 6789110"/>
              <a:gd name="connsiteY8220" fmla="*/ 2607937 h 6386516"/>
              <a:gd name="connsiteX8221" fmla="*/ 3126240 w 6789110"/>
              <a:gd name="connsiteY8221" fmla="*/ 2602161 h 6386516"/>
              <a:gd name="connsiteX8222" fmla="*/ 3105067 w 6789110"/>
              <a:gd name="connsiteY8222" fmla="*/ 2579072 h 6386516"/>
              <a:gd name="connsiteX8223" fmla="*/ 3095443 w 6789110"/>
              <a:gd name="connsiteY8223" fmla="*/ 2588694 h 6386516"/>
              <a:gd name="connsiteX8224" fmla="*/ 3103142 w 6789110"/>
              <a:gd name="connsiteY8224" fmla="*/ 2577142 h 6386516"/>
              <a:gd name="connsiteX8225" fmla="*/ 3089669 w 6789110"/>
              <a:gd name="connsiteY8225" fmla="*/ 2559819 h 6386516"/>
              <a:gd name="connsiteX8226" fmla="*/ 3051173 w 6789110"/>
              <a:gd name="connsiteY8226" fmla="*/ 2594463 h 6386516"/>
              <a:gd name="connsiteX8227" fmla="*/ 3072346 w 6789110"/>
              <a:gd name="connsiteY8227" fmla="*/ 2534807 h 6386516"/>
              <a:gd name="connsiteX8228" fmla="*/ 3064646 w 6789110"/>
              <a:gd name="connsiteY8228" fmla="*/ 2525181 h 6386516"/>
              <a:gd name="connsiteX8229" fmla="*/ 3055022 w 6789110"/>
              <a:gd name="connsiteY8229" fmla="*/ 2538654 h 6386516"/>
              <a:gd name="connsiteX8230" fmla="*/ 3037699 w 6789110"/>
              <a:gd name="connsiteY8230" fmla="*/ 2484750 h 6386516"/>
              <a:gd name="connsiteX8231" fmla="*/ 3028076 w 6789110"/>
              <a:gd name="connsiteY8231" fmla="*/ 2494388 h 6386516"/>
              <a:gd name="connsiteX8232" fmla="*/ 3016527 w 6789110"/>
              <a:gd name="connsiteY8232" fmla="*/ 2571367 h 6386516"/>
              <a:gd name="connsiteX8233" fmla="*/ 2906814 w 6789110"/>
              <a:gd name="connsiteY8233" fmla="*/ 2448183 h 6386516"/>
              <a:gd name="connsiteX8234" fmla="*/ 2862544 w 6789110"/>
              <a:gd name="connsiteY8234" fmla="*/ 2321170 h 6386516"/>
              <a:gd name="connsiteX8235" fmla="*/ 2912588 w 6789110"/>
              <a:gd name="connsiteY8235" fmla="*/ 2255727 h 6386516"/>
              <a:gd name="connsiteX8236" fmla="*/ 2908739 w 6789110"/>
              <a:gd name="connsiteY8236" fmla="*/ 2196041 h 6386516"/>
              <a:gd name="connsiteX8237" fmla="*/ 2891416 w 6789110"/>
              <a:gd name="connsiteY8237" fmla="*/ 2192189 h 6386516"/>
              <a:gd name="connsiteX8238" fmla="*/ 2897190 w 6789110"/>
              <a:gd name="connsiteY8238" fmla="*/ 2209518 h 6386516"/>
              <a:gd name="connsiteX8239" fmla="*/ 2789402 w 6789110"/>
              <a:gd name="connsiteY8239" fmla="*/ 1949640 h 6386516"/>
              <a:gd name="connsiteX8240" fmla="*/ 2770154 w 6789110"/>
              <a:gd name="connsiteY8240" fmla="*/ 1941942 h 6386516"/>
              <a:gd name="connsiteX8241" fmla="*/ 2754756 w 6789110"/>
              <a:gd name="connsiteY8241" fmla="*/ 1916921 h 6386516"/>
              <a:gd name="connsiteX8242" fmla="*/ 2864469 w 6789110"/>
              <a:gd name="connsiteY8242" fmla="*/ 2228772 h 6386516"/>
              <a:gd name="connsiteX8243" fmla="*/ 2720110 w 6789110"/>
              <a:gd name="connsiteY8243" fmla="*/ 1888052 h 6386516"/>
              <a:gd name="connsiteX8244" fmla="*/ 2708561 w 6789110"/>
              <a:gd name="connsiteY8244" fmla="*/ 1882277 h 6386516"/>
              <a:gd name="connsiteX8245" fmla="*/ 2689313 w 6789110"/>
              <a:gd name="connsiteY8245" fmla="*/ 1824536 h 6386516"/>
              <a:gd name="connsiteX8246" fmla="*/ 2856770 w 6789110"/>
              <a:gd name="connsiteY8246" fmla="*/ 2282683 h 6386516"/>
              <a:gd name="connsiteX8247" fmla="*/ 2658516 w 6789110"/>
              <a:gd name="connsiteY8247" fmla="*/ 1701349 h 6386516"/>
              <a:gd name="connsiteX8248" fmla="*/ 2666215 w 6789110"/>
              <a:gd name="connsiteY8248" fmla="*/ 1624354 h 6386516"/>
              <a:gd name="connsiteX8249" fmla="*/ 2645043 w 6789110"/>
              <a:gd name="connsiteY8249" fmla="*/ 1612806 h 6386516"/>
              <a:gd name="connsiteX8250" fmla="*/ 2829822 w 6789110"/>
              <a:gd name="connsiteY8250" fmla="*/ 2317320 h 6386516"/>
              <a:gd name="connsiteX8251" fmla="*/ 2623870 w 6789110"/>
              <a:gd name="connsiteY8251" fmla="*/ 1564686 h 6386516"/>
              <a:gd name="connsiteX8252" fmla="*/ 2594998 w 6789110"/>
              <a:gd name="connsiteY8252" fmla="*/ 1570461 h 6386516"/>
              <a:gd name="connsiteX8253" fmla="*/ 2589224 w 6789110"/>
              <a:gd name="connsiteY8253" fmla="*/ 1560837 h 6386516"/>
              <a:gd name="connsiteX8254" fmla="*/ 2577675 w 6789110"/>
              <a:gd name="connsiteY8254" fmla="*/ 1764862 h 6386516"/>
              <a:gd name="connsiteX8255" fmla="*/ 2604622 w 6789110"/>
              <a:gd name="connsiteY8255" fmla="*/ 1474223 h 6386516"/>
              <a:gd name="connsiteX8256" fmla="*/ 2593073 w 6789110"/>
              <a:gd name="connsiteY8256" fmla="*/ 1535814 h 6386516"/>
              <a:gd name="connsiteX8257" fmla="*/ 2600774 w 6789110"/>
              <a:gd name="connsiteY8257" fmla="*/ 1530041 h 6386516"/>
              <a:gd name="connsiteX8258" fmla="*/ 2621945 w 6789110"/>
              <a:gd name="connsiteY8258" fmla="*/ 1522342 h 6386516"/>
              <a:gd name="connsiteX8259" fmla="*/ 2633494 w 6789110"/>
              <a:gd name="connsiteY8259" fmla="*/ 1530041 h 6386516"/>
              <a:gd name="connsiteX8260" fmla="*/ 2639269 w 6789110"/>
              <a:gd name="connsiteY8260" fmla="*/ 1508867 h 6386516"/>
              <a:gd name="connsiteX8261" fmla="*/ 2664291 w 6789110"/>
              <a:gd name="connsiteY8261" fmla="*/ 1530041 h 6386516"/>
              <a:gd name="connsiteX8262" fmla="*/ 2697012 w 6789110"/>
              <a:gd name="connsiteY8262" fmla="*/ 1514642 h 6386516"/>
              <a:gd name="connsiteX8263" fmla="*/ 2702787 w 6789110"/>
              <a:gd name="connsiteY8263" fmla="*/ 1510793 h 6386516"/>
              <a:gd name="connsiteX8264" fmla="*/ 2687389 w 6789110"/>
              <a:gd name="connsiteY8264" fmla="*/ 1493470 h 6386516"/>
              <a:gd name="connsiteX8265" fmla="*/ 2718185 w 6789110"/>
              <a:gd name="connsiteY8265" fmla="*/ 1478073 h 6386516"/>
              <a:gd name="connsiteX8266" fmla="*/ 2714335 w 6789110"/>
              <a:gd name="connsiteY8266" fmla="*/ 1468449 h 6386516"/>
              <a:gd name="connsiteX8267" fmla="*/ 2687389 w 6789110"/>
              <a:gd name="connsiteY8267" fmla="*/ 1460750 h 6386516"/>
              <a:gd name="connsiteX8268" fmla="*/ 2660441 w 6789110"/>
              <a:gd name="connsiteY8268" fmla="*/ 1478073 h 6386516"/>
              <a:gd name="connsiteX8269" fmla="*/ 2679689 w 6789110"/>
              <a:gd name="connsiteY8269" fmla="*/ 1456900 h 6386516"/>
              <a:gd name="connsiteX8270" fmla="*/ 2673915 w 6789110"/>
              <a:gd name="connsiteY8270" fmla="*/ 1451127 h 6386516"/>
              <a:gd name="connsiteX8271" fmla="*/ 2685463 w 6789110"/>
              <a:gd name="connsiteY8271" fmla="*/ 1431878 h 6386516"/>
              <a:gd name="connsiteX8272" fmla="*/ 2697012 w 6789110"/>
              <a:gd name="connsiteY8272" fmla="*/ 1431878 h 6386516"/>
              <a:gd name="connsiteX8273" fmla="*/ 2795176 w 6789110"/>
              <a:gd name="connsiteY8273" fmla="*/ 1264428 h 6386516"/>
              <a:gd name="connsiteX8274" fmla="*/ 2795176 w 6789110"/>
              <a:gd name="connsiteY8274" fmla="*/ 1245181 h 6386516"/>
              <a:gd name="connsiteX8275" fmla="*/ 2808650 w 6789110"/>
              <a:gd name="connsiteY8275" fmla="*/ 1227858 h 6386516"/>
              <a:gd name="connsiteX8276" fmla="*/ 2820198 w 6789110"/>
              <a:gd name="connsiteY8276" fmla="*/ 1233633 h 6386516"/>
              <a:gd name="connsiteX8277" fmla="*/ 2849070 w 6789110"/>
              <a:gd name="connsiteY8277" fmla="*/ 1210536 h 6386516"/>
              <a:gd name="connsiteX8278" fmla="*/ 2824048 w 6789110"/>
              <a:gd name="connsiteY8278" fmla="*/ 1247105 h 6386516"/>
              <a:gd name="connsiteX8279" fmla="*/ 2824048 w 6789110"/>
              <a:gd name="connsiteY8279" fmla="*/ 1252880 h 6386516"/>
              <a:gd name="connsiteX8280" fmla="*/ 2824048 w 6789110"/>
              <a:gd name="connsiteY8280" fmla="*/ 1314471 h 6386516"/>
              <a:gd name="connsiteX8281" fmla="*/ 2825973 w 6789110"/>
              <a:gd name="connsiteY8281" fmla="*/ 1316396 h 6386516"/>
              <a:gd name="connsiteX8282" fmla="*/ 2847146 w 6789110"/>
              <a:gd name="connsiteY8282" fmla="*/ 1274051 h 6386516"/>
              <a:gd name="connsiteX8283" fmla="*/ 2831747 w 6789110"/>
              <a:gd name="connsiteY8283" fmla="*/ 1283675 h 6386516"/>
              <a:gd name="connsiteX8284" fmla="*/ 2914513 w 6789110"/>
              <a:gd name="connsiteY8284" fmla="*/ 1118149 h 6386516"/>
              <a:gd name="connsiteX8285" fmla="*/ 2941460 w 6789110"/>
              <a:gd name="connsiteY8285" fmla="*/ 1046932 h 6386516"/>
              <a:gd name="connsiteX8286" fmla="*/ 2951084 w 6789110"/>
              <a:gd name="connsiteY8286" fmla="*/ 996887 h 6386516"/>
              <a:gd name="connsiteX8287" fmla="*/ 2856770 w 6789110"/>
              <a:gd name="connsiteY8287" fmla="*/ 1185515 h 6386516"/>
              <a:gd name="connsiteX8288" fmla="*/ 2837523 w 6789110"/>
              <a:gd name="connsiteY8288" fmla="*/ 1098903 h 6386516"/>
              <a:gd name="connsiteX8289" fmla="*/ 3078120 w 6789110"/>
              <a:gd name="connsiteY8289" fmla="*/ 519520 h 6386516"/>
              <a:gd name="connsiteX8290" fmla="*/ 3080045 w 6789110"/>
              <a:gd name="connsiteY8290" fmla="*/ 546467 h 6386516"/>
              <a:gd name="connsiteX8291" fmla="*/ 3212855 w 6789110"/>
              <a:gd name="connsiteY8291" fmla="*/ 278923 h 6386516"/>
              <a:gd name="connsiteX8292" fmla="*/ 3132014 w 6789110"/>
              <a:gd name="connsiteY8292" fmla="*/ 544542 h 6386516"/>
              <a:gd name="connsiteX8293" fmla="*/ 3303320 w 6789110"/>
              <a:gd name="connsiteY8293" fmla="*/ 182685 h 6386516"/>
              <a:gd name="connsiteX8294" fmla="*/ 3228253 w 6789110"/>
              <a:gd name="connsiteY8294" fmla="*/ 502196 h 6386516"/>
              <a:gd name="connsiteX8295" fmla="*/ 3401484 w 6789110"/>
              <a:gd name="connsiteY8295" fmla="*/ 109544 h 6386516"/>
              <a:gd name="connsiteX8296" fmla="*/ 3312944 w 6789110"/>
              <a:gd name="connsiteY8296" fmla="*/ 446378 h 6386516"/>
              <a:gd name="connsiteX8297" fmla="*/ 3411108 w 6789110"/>
              <a:gd name="connsiteY8297" fmla="*/ 101845 h 6386516"/>
              <a:gd name="connsiteX8298" fmla="*/ 3671553 w 6789110"/>
              <a:gd name="connsiteY8298" fmla="*/ 188 h 6386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  <a:cxn ang="0">
                <a:pos x="connsiteX4801" y="connsiteY4801"/>
              </a:cxn>
              <a:cxn ang="0">
                <a:pos x="connsiteX4802" y="connsiteY4802"/>
              </a:cxn>
              <a:cxn ang="0">
                <a:pos x="connsiteX4803" y="connsiteY4803"/>
              </a:cxn>
              <a:cxn ang="0">
                <a:pos x="connsiteX4804" y="connsiteY4804"/>
              </a:cxn>
              <a:cxn ang="0">
                <a:pos x="connsiteX4805" y="connsiteY4805"/>
              </a:cxn>
              <a:cxn ang="0">
                <a:pos x="connsiteX4806" y="connsiteY4806"/>
              </a:cxn>
              <a:cxn ang="0">
                <a:pos x="connsiteX4807" y="connsiteY4807"/>
              </a:cxn>
              <a:cxn ang="0">
                <a:pos x="connsiteX4808" y="connsiteY4808"/>
              </a:cxn>
              <a:cxn ang="0">
                <a:pos x="connsiteX4809" y="connsiteY4809"/>
              </a:cxn>
              <a:cxn ang="0">
                <a:pos x="connsiteX4810" y="connsiteY4810"/>
              </a:cxn>
              <a:cxn ang="0">
                <a:pos x="connsiteX4811" y="connsiteY4811"/>
              </a:cxn>
              <a:cxn ang="0">
                <a:pos x="connsiteX4812" y="connsiteY4812"/>
              </a:cxn>
              <a:cxn ang="0">
                <a:pos x="connsiteX4813" y="connsiteY4813"/>
              </a:cxn>
              <a:cxn ang="0">
                <a:pos x="connsiteX4814" y="connsiteY4814"/>
              </a:cxn>
              <a:cxn ang="0">
                <a:pos x="connsiteX4815" y="connsiteY4815"/>
              </a:cxn>
              <a:cxn ang="0">
                <a:pos x="connsiteX4816" y="connsiteY4816"/>
              </a:cxn>
              <a:cxn ang="0">
                <a:pos x="connsiteX4817" y="connsiteY4817"/>
              </a:cxn>
              <a:cxn ang="0">
                <a:pos x="connsiteX4818" y="connsiteY4818"/>
              </a:cxn>
              <a:cxn ang="0">
                <a:pos x="connsiteX4819" y="connsiteY4819"/>
              </a:cxn>
              <a:cxn ang="0">
                <a:pos x="connsiteX4820" y="connsiteY4820"/>
              </a:cxn>
              <a:cxn ang="0">
                <a:pos x="connsiteX4821" y="connsiteY4821"/>
              </a:cxn>
              <a:cxn ang="0">
                <a:pos x="connsiteX4822" y="connsiteY4822"/>
              </a:cxn>
              <a:cxn ang="0">
                <a:pos x="connsiteX4823" y="connsiteY4823"/>
              </a:cxn>
              <a:cxn ang="0">
                <a:pos x="connsiteX4824" y="connsiteY4824"/>
              </a:cxn>
              <a:cxn ang="0">
                <a:pos x="connsiteX4825" y="connsiteY4825"/>
              </a:cxn>
              <a:cxn ang="0">
                <a:pos x="connsiteX4826" y="connsiteY4826"/>
              </a:cxn>
              <a:cxn ang="0">
                <a:pos x="connsiteX4827" y="connsiteY4827"/>
              </a:cxn>
              <a:cxn ang="0">
                <a:pos x="connsiteX4828" y="connsiteY4828"/>
              </a:cxn>
              <a:cxn ang="0">
                <a:pos x="connsiteX4829" y="connsiteY4829"/>
              </a:cxn>
              <a:cxn ang="0">
                <a:pos x="connsiteX4830" y="connsiteY4830"/>
              </a:cxn>
              <a:cxn ang="0">
                <a:pos x="connsiteX4831" y="connsiteY4831"/>
              </a:cxn>
              <a:cxn ang="0">
                <a:pos x="connsiteX4832" y="connsiteY4832"/>
              </a:cxn>
              <a:cxn ang="0">
                <a:pos x="connsiteX4833" y="connsiteY4833"/>
              </a:cxn>
              <a:cxn ang="0">
                <a:pos x="connsiteX4834" y="connsiteY4834"/>
              </a:cxn>
              <a:cxn ang="0">
                <a:pos x="connsiteX4835" y="connsiteY4835"/>
              </a:cxn>
              <a:cxn ang="0">
                <a:pos x="connsiteX4836" y="connsiteY4836"/>
              </a:cxn>
              <a:cxn ang="0">
                <a:pos x="connsiteX4837" y="connsiteY4837"/>
              </a:cxn>
              <a:cxn ang="0">
                <a:pos x="connsiteX4838" y="connsiteY4838"/>
              </a:cxn>
              <a:cxn ang="0">
                <a:pos x="connsiteX4839" y="connsiteY4839"/>
              </a:cxn>
              <a:cxn ang="0">
                <a:pos x="connsiteX4840" y="connsiteY4840"/>
              </a:cxn>
              <a:cxn ang="0">
                <a:pos x="connsiteX4841" y="connsiteY4841"/>
              </a:cxn>
              <a:cxn ang="0">
                <a:pos x="connsiteX4842" y="connsiteY4842"/>
              </a:cxn>
              <a:cxn ang="0">
                <a:pos x="connsiteX4843" y="connsiteY4843"/>
              </a:cxn>
              <a:cxn ang="0">
                <a:pos x="connsiteX4844" y="connsiteY4844"/>
              </a:cxn>
              <a:cxn ang="0">
                <a:pos x="connsiteX4845" y="connsiteY4845"/>
              </a:cxn>
              <a:cxn ang="0">
                <a:pos x="connsiteX4846" y="connsiteY4846"/>
              </a:cxn>
              <a:cxn ang="0">
                <a:pos x="connsiteX4847" y="connsiteY4847"/>
              </a:cxn>
              <a:cxn ang="0">
                <a:pos x="connsiteX4848" y="connsiteY4848"/>
              </a:cxn>
              <a:cxn ang="0">
                <a:pos x="connsiteX4849" y="connsiteY4849"/>
              </a:cxn>
              <a:cxn ang="0">
                <a:pos x="connsiteX4850" y="connsiteY4850"/>
              </a:cxn>
              <a:cxn ang="0">
                <a:pos x="connsiteX4851" y="connsiteY4851"/>
              </a:cxn>
              <a:cxn ang="0">
                <a:pos x="connsiteX4852" y="connsiteY4852"/>
              </a:cxn>
              <a:cxn ang="0">
                <a:pos x="connsiteX4853" y="connsiteY4853"/>
              </a:cxn>
              <a:cxn ang="0">
                <a:pos x="connsiteX4854" y="connsiteY4854"/>
              </a:cxn>
              <a:cxn ang="0">
                <a:pos x="connsiteX4855" y="connsiteY4855"/>
              </a:cxn>
              <a:cxn ang="0">
                <a:pos x="connsiteX4856" y="connsiteY4856"/>
              </a:cxn>
              <a:cxn ang="0">
                <a:pos x="connsiteX4857" y="connsiteY4857"/>
              </a:cxn>
              <a:cxn ang="0">
                <a:pos x="connsiteX4858" y="connsiteY4858"/>
              </a:cxn>
              <a:cxn ang="0">
                <a:pos x="connsiteX4859" y="connsiteY4859"/>
              </a:cxn>
              <a:cxn ang="0">
                <a:pos x="connsiteX4860" y="connsiteY4860"/>
              </a:cxn>
              <a:cxn ang="0">
                <a:pos x="connsiteX4861" y="connsiteY4861"/>
              </a:cxn>
              <a:cxn ang="0">
                <a:pos x="connsiteX4862" y="connsiteY4862"/>
              </a:cxn>
              <a:cxn ang="0">
                <a:pos x="connsiteX4863" y="connsiteY4863"/>
              </a:cxn>
              <a:cxn ang="0">
                <a:pos x="connsiteX4864" y="connsiteY4864"/>
              </a:cxn>
              <a:cxn ang="0">
                <a:pos x="connsiteX4865" y="connsiteY4865"/>
              </a:cxn>
              <a:cxn ang="0">
                <a:pos x="connsiteX4866" y="connsiteY4866"/>
              </a:cxn>
              <a:cxn ang="0">
                <a:pos x="connsiteX4867" y="connsiteY4867"/>
              </a:cxn>
              <a:cxn ang="0">
                <a:pos x="connsiteX4868" y="connsiteY4868"/>
              </a:cxn>
              <a:cxn ang="0">
                <a:pos x="connsiteX4869" y="connsiteY4869"/>
              </a:cxn>
              <a:cxn ang="0">
                <a:pos x="connsiteX4870" y="connsiteY4870"/>
              </a:cxn>
              <a:cxn ang="0">
                <a:pos x="connsiteX4871" y="connsiteY4871"/>
              </a:cxn>
              <a:cxn ang="0">
                <a:pos x="connsiteX4872" y="connsiteY4872"/>
              </a:cxn>
              <a:cxn ang="0">
                <a:pos x="connsiteX4873" y="connsiteY4873"/>
              </a:cxn>
              <a:cxn ang="0">
                <a:pos x="connsiteX4874" y="connsiteY4874"/>
              </a:cxn>
              <a:cxn ang="0">
                <a:pos x="connsiteX4875" y="connsiteY4875"/>
              </a:cxn>
              <a:cxn ang="0">
                <a:pos x="connsiteX4876" y="connsiteY4876"/>
              </a:cxn>
              <a:cxn ang="0">
                <a:pos x="connsiteX4877" y="connsiteY4877"/>
              </a:cxn>
              <a:cxn ang="0">
                <a:pos x="connsiteX4878" y="connsiteY4878"/>
              </a:cxn>
              <a:cxn ang="0">
                <a:pos x="connsiteX4879" y="connsiteY4879"/>
              </a:cxn>
              <a:cxn ang="0">
                <a:pos x="connsiteX4880" y="connsiteY4880"/>
              </a:cxn>
              <a:cxn ang="0">
                <a:pos x="connsiteX4881" y="connsiteY4881"/>
              </a:cxn>
              <a:cxn ang="0">
                <a:pos x="connsiteX4882" y="connsiteY4882"/>
              </a:cxn>
              <a:cxn ang="0">
                <a:pos x="connsiteX4883" y="connsiteY4883"/>
              </a:cxn>
              <a:cxn ang="0">
                <a:pos x="connsiteX4884" y="connsiteY4884"/>
              </a:cxn>
              <a:cxn ang="0">
                <a:pos x="connsiteX4885" y="connsiteY4885"/>
              </a:cxn>
              <a:cxn ang="0">
                <a:pos x="connsiteX4886" y="connsiteY4886"/>
              </a:cxn>
              <a:cxn ang="0">
                <a:pos x="connsiteX4887" y="connsiteY4887"/>
              </a:cxn>
              <a:cxn ang="0">
                <a:pos x="connsiteX4888" y="connsiteY4888"/>
              </a:cxn>
              <a:cxn ang="0">
                <a:pos x="connsiteX4889" y="connsiteY4889"/>
              </a:cxn>
              <a:cxn ang="0">
                <a:pos x="connsiteX4890" y="connsiteY4890"/>
              </a:cxn>
              <a:cxn ang="0">
                <a:pos x="connsiteX4891" y="connsiteY4891"/>
              </a:cxn>
              <a:cxn ang="0">
                <a:pos x="connsiteX4892" y="connsiteY4892"/>
              </a:cxn>
              <a:cxn ang="0">
                <a:pos x="connsiteX4893" y="connsiteY4893"/>
              </a:cxn>
              <a:cxn ang="0">
                <a:pos x="connsiteX4894" y="connsiteY4894"/>
              </a:cxn>
              <a:cxn ang="0">
                <a:pos x="connsiteX4895" y="connsiteY4895"/>
              </a:cxn>
              <a:cxn ang="0">
                <a:pos x="connsiteX4896" y="connsiteY4896"/>
              </a:cxn>
              <a:cxn ang="0">
                <a:pos x="connsiteX4897" y="connsiteY4897"/>
              </a:cxn>
              <a:cxn ang="0">
                <a:pos x="connsiteX4898" y="connsiteY4898"/>
              </a:cxn>
              <a:cxn ang="0">
                <a:pos x="connsiteX4899" y="connsiteY4899"/>
              </a:cxn>
              <a:cxn ang="0">
                <a:pos x="connsiteX4900" y="connsiteY4900"/>
              </a:cxn>
              <a:cxn ang="0">
                <a:pos x="connsiteX4901" y="connsiteY4901"/>
              </a:cxn>
              <a:cxn ang="0">
                <a:pos x="connsiteX4902" y="connsiteY4902"/>
              </a:cxn>
              <a:cxn ang="0">
                <a:pos x="connsiteX4903" y="connsiteY4903"/>
              </a:cxn>
              <a:cxn ang="0">
                <a:pos x="connsiteX4904" y="connsiteY4904"/>
              </a:cxn>
              <a:cxn ang="0">
                <a:pos x="connsiteX4905" y="connsiteY4905"/>
              </a:cxn>
              <a:cxn ang="0">
                <a:pos x="connsiteX4906" y="connsiteY4906"/>
              </a:cxn>
              <a:cxn ang="0">
                <a:pos x="connsiteX4907" y="connsiteY4907"/>
              </a:cxn>
              <a:cxn ang="0">
                <a:pos x="connsiteX4908" y="connsiteY4908"/>
              </a:cxn>
              <a:cxn ang="0">
                <a:pos x="connsiteX4909" y="connsiteY4909"/>
              </a:cxn>
              <a:cxn ang="0">
                <a:pos x="connsiteX4910" y="connsiteY4910"/>
              </a:cxn>
              <a:cxn ang="0">
                <a:pos x="connsiteX4911" y="connsiteY4911"/>
              </a:cxn>
              <a:cxn ang="0">
                <a:pos x="connsiteX4912" y="connsiteY4912"/>
              </a:cxn>
              <a:cxn ang="0">
                <a:pos x="connsiteX4913" y="connsiteY4913"/>
              </a:cxn>
              <a:cxn ang="0">
                <a:pos x="connsiteX4914" y="connsiteY4914"/>
              </a:cxn>
              <a:cxn ang="0">
                <a:pos x="connsiteX4915" y="connsiteY4915"/>
              </a:cxn>
              <a:cxn ang="0">
                <a:pos x="connsiteX4916" y="connsiteY4916"/>
              </a:cxn>
              <a:cxn ang="0">
                <a:pos x="connsiteX4917" y="connsiteY4917"/>
              </a:cxn>
              <a:cxn ang="0">
                <a:pos x="connsiteX4918" y="connsiteY4918"/>
              </a:cxn>
              <a:cxn ang="0">
                <a:pos x="connsiteX4919" y="connsiteY4919"/>
              </a:cxn>
              <a:cxn ang="0">
                <a:pos x="connsiteX4920" y="connsiteY4920"/>
              </a:cxn>
              <a:cxn ang="0">
                <a:pos x="connsiteX4921" y="connsiteY4921"/>
              </a:cxn>
              <a:cxn ang="0">
                <a:pos x="connsiteX4922" y="connsiteY4922"/>
              </a:cxn>
              <a:cxn ang="0">
                <a:pos x="connsiteX4923" y="connsiteY4923"/>
              </a:cxn>
              <a:cxn ang="0">
                <a:pos x="connsiteX4924" y="connsiteY4924"/>
              </a:cxn>
              <a:cxn ang="0">
                <a:pos x="connsiteX4925" y="connsiteY4925"/>
              </a:cxn>
              <a:cxn ang="0">
                <a:pos x="connsiteX4926" y="connsiteY4926"/>
              </a:cxn>
              <a:cxn ang="0">
                <a:pos x="connsiteX4927" y="connsiteY4927"/>
              </a:cxn>
              <a:cxn ang="0">
                <a:pos x="connsiteX4928" y="connsiteY4928"/>
              </a:cxn>
              <a:cxn ang="0">
                <a:pos x="connsiteX4929" y="connsiteY4929"/>
              </a:cxn>
              <a:cxn ang="0">
                <a:pos x="connsiteX4930" y="connsiteY4930"/>
              </a:cxn>
              <a:cxn ang="0">
                <a:pos x="connsiteX4931" y="connsiteY4931"/>
              </a:cxn>
              <a:cxn ang="0">
                <a:pos x="connsiteX4932" y="connsiteY4932"/>
              </a:cxn>
              <a:cxn ang="0">
                <a:pos x="connsiteX4933" y="connsiteY4933"/>
              </a:cxn>
              <a:cxn ang="0">
                <a:pos x="connsiteX4934" y="connsiteY4934"/>
              </a:cxn>
              <a:cxn ang="0">
                <a:pos x="connsiteX4935" y="connsiteY4935"/>
              </a:cxn>
              <a:cxn ang="0">
                <a:pos x="connsiteX4936" y="connsiteY4936"/>
              </a:cxn>
              <a:cxn ang="0">
                <a:pos x="connsiteX4937" y="connsiteY4937"/>
              </a:cxn>
              <a:cxn ang="0">
                <a:pos x="connsiteX4938" y="connsiteY4938"/>
              </a:cxn>
              <a:cxn ang="0">
                <a:pos x="connsiteX4939" y="connsiteY4939"/>
              </a:cxn>
              <a:cxn ang="0">
                <a:pos x="connsiteX4940" y="connsiteY4940"/>
              </a:cxn>
              <a:cxn ang="0">
                <a:pos x="connsiteX4941" y="connsiteY4941"/>
              </a:cxn>
              <a:cxn ang="0">
                <a:pos x="connsiteX4942" y="connsiteY4942"/>
              </a:cxn>
              <a:cxn ang="0">
                <a:pos x="connsiteX4943" y="connsiteY4943"/>
              </a:cxn>
              <a:cxn ang="0">
                <a:pos x="connsiteX4944" y="connsiteY4944"/>
              </a:cxn>
              <a:cxn ang="0">
                <a:pos x="connsiteX4945" y="connsiteY4945"/>
              </a:cxn>
              <a:cxn ang="0">
                <a:pos x="connsiteX4946" y="connsiteY4946"/>
              </a:cxn>
              <a:cxn ang="0">
                <a:pos x="connsiteX4947" y="connsiteY4947"/>
              </a:cxn>
              <a:cxn ang="0">
                <a:pos x="connsiteX4948" y="connsiteY4948"/>
              </a:cxn>
              <a:cxn ang="0">
                <a:pos x="connsiteX4949" y="connsiteY4949"/>
              </a:cxn>
              <a:cxn ang="0">
                <a:pos x="connsiteX4950" y="connsiteY4950"/>
              </a:cxn>
              <a:cxn ang="0">
                <a:pos x="connsiteX4951" y="connsiteY4951"/>
              </a:cxn>
              <a:cxn ang="0">
                <a:pos x="connsiteX4952" y="connsiteY4952"/>
              </a:cxn>
              <a:cxn ang="0">
                <a:pos x="connsiteX4953" y="connsiteY4953"/>
              </a:cxn>
              <a:cxn ang="0">
                <a:pos x="connsiteX4954" y="connsiteY4954"/>
              </a:cxn>
              <a:cxn ang="0">
                <a:pos x="connsiteX4955" y="connsiteY4955"/>
              </a:cxn>
              <a:cxn ang="0">
                <a:pos x="connsiteX4956" y="connsiteY4956"/>
              </a:cxn>
              <a:cxn ang="0">
                <a:pos x="connsiteX4957" y="connsiteY4957"/>
              </a:cxn>
              <a:cxn ang="0">
                <a:pos x="connsiteX4958" y="connsiteY4958"/>
              </a:cxn>
              <a:cxn ang="0">
                <a:pos x="connsiteX4959" y="connsiteY4959"/>
              </a:cxn>
              <a:cxn ang="0">
                <a:pos x="connsiteX4960" y="connsiteY4960"/>
              </a:cxn>
              <a:cxn ang="0">
                <a:pos x="connsiteX4961" y="connsiteY4961"/>
              </a:cxn>
              <a:cxn ang="0">
                <a:pos x="connsiteX4962" y="connsiteY4962"/>
              </a:cxn>
              <a:cxn ang="0">
                <a:pos x="connsiteX4963" y="connsiteY4963"/>
              </a:cxn>
              <a:cxn ang="0">
                <a:pos x="connsiteX4964" y="connsiteY4964"/>
              </a:cxn>
              <a:cxn ang="0">
                <a:pos x="connsiteX4965" y="connsiteY4965"/>
              </a:cxn>
              <a:cxn ang="0">
                <a:pos x="connsiteX4966" y="connsiteY4966"/>
              </a:cxn>
              <a:cxn ang="0">
                <a:pos x="connsiteX4967" y="connsiteY4967"/>
              </a:cxn>
              <a:cxn ang="0">
                <a:pos x="connsiteX4968" y="connsiteY4968"/>
              </a:cxn>
              <a:cxn ang="0">
                <a:pos x="connsiteX4969" y="connsiteY4969"/>
              </a:cxn>
              <a:cxn ang="0">
                <a:pos x="connsiteX4970" y="connsiteY4970"/>
              </a:cxn>
              <a:cxn ang="0">
                <a:pos x="connsiteX4971" y="connsiteY4971"/>
              </a:cxn>
              <a:cxn ang="0">
                <a:pos x="connsiteX4972" y="connsiteY4972"/>
              </a:cxn>
              <a:cxn ang="0">
                <a:pos x="connsiteX4973" y="connsiteY4973"/>
              </a:cxn>
              <a:cxn ang="0">
                <a:pos x="connsiteX4974" y="connsiteY4974"/>
              </a:cxn>
              <a:cxn ang="0">
                <a:pos x="connsiteX4975" y="connsiteY4975"/>
              </a:cxn>
              <a:cxn ang="0">
                <a:pos x="connsiteX4976" y="connsiteY4976"/>
              </a:cxn>
              <a:cxn ang="0">
                <a:pos x="connsiteX4977" y="connsiteY4977"/>
              </a:cxn>
              <a:cxn ang="0">
                <a:pos x="connsiteX4978" y="connsiteY4978"/>
              </a:cxn>
              <a:cxn ang="0">
                <a:pos x="connsiteX4979" y="connsiteY4979"/>
              </a:cxn>
              <a:cxn ang="0">
                <a:pos x="connsiteX4980" y="connsiteY4980"/>
              </a:cxn>
              <a:cxn ang="0">
                <a:pos x="connsiteX4981" y="connsiteY4981"/>
              </a:cxn>
              <a:cxn ang="0">
                <a:pos x="connsiteX4982" y="connsiteY4982"/>
              </a:cxn>
              <a:cxn ang="0">
                <a:pos x="connsiteX4983" y="connsiteY4983"/>
              </a:cxn>
              <a:cxn ang="0">
                <a:pos x="connsiteX4984" y="connsiteY4984"/>
              </a:cxn>
              <a:cxn ang="0">
                <a:pos x="connsiteX4985" y="connsiteY4985"/>
              </a:cxn>
              <a:cxn ang="0">
                <a:pos x="connsiteX4986" y="connsiteY4986"/>
              </a:cxn>
              <a:cxn ang="0">
                <a:pos x="connsiteX4987" y="connsiteY4987"/>
              </a:cxn>
              <a:cxn ang="0">
                <a:pos x="connsiteX4988" y="connsiteY4988"/>
              </a:cxn>
              <a:cxn ang="0">
                <a:pos x="connsiteX4989" y="connsiteY4989"/>
              </a:cxn>
              <a:cxn ang="0">
                <a:pos x="connsiteX4990" y="connsiteY4990"/>
              </a:cxn>
              <a:cxn ang="0">
                <a:pos x="connsiteX4991" y="connsiteY4991"/>
              </a:cxn>
              <a:cxn ang="0">
                <a:pos x="connsiteX4992" y="connsiteY4992"/>
              </a:cxn>
              <a:cxn ang="0">
                <a:pos x="connsiteX4993" y="connsiteY4993"/>
              </a:cxn>
              <a:cxn ang="0">
                <a:pos x="connsiteX4994" y="connsiteY4994"/>
              </a:cxn>
              <a:cxn ang="0">
                <a:pos x="connsiteX4995" y="connsiteY4995"/>
              </a:cxn>
              <a:cxn ang="0">
                <a:pos x="connsiteX4996" y="connsiteY4996"/>
              </a:cxn>
              <a:cxn ang="0">
                <a:pos x="connsiteX4997" y="connsiteY4997"/>
              </a:cxn>
              <a:cxn ang="0">
                <a:pos x="connsiteX4998" y="connsiteY4998"/>
              </a:cxn>
              <a:cxn ang="0">
                <a:pos x="connsiteX4999" y="connsiteY4999"/>
              </a:cxn>
              <a:cxn ang="0">
                <a:pos x="connsiteX5000" y="connsiteY5000"/>
              </a:cxn>
              <a:cxn ang="0">
                <a:pos x="connsiteX5001" y="connsiteY5001"/>
              </a:cxn>
              <a:cxn ang="0">
                <a:pos x="connsiteX5002" y="connsiteY5002"/>
              </a:cxn>
              <a:cxn ang="0">
                <a:pos x="connsiteX5003" y="connsiteY5003"/>
              </a:cxn>
              <a:cxn ang="0">
                <a:pos x="connsiteX5004" y="connsiteY5004"/>
              </a:cxn>
              <a:cxn ang="0">
                <a:pos x="connsiteX5005" y="connsiteY5005"/>
              </a:cxn>
              <a:cxn ang="0">
                <a:pos x="connsiteX5006" y="connsiteY5006"/>
              </a:cxn>
              <a:cxn ang="0">
                <a:pos x="connsiteX5007" y="connsiteY5007"/>
              </a:cxn>
              <a:cxn ang="0">
                <a:pos x="connsiteX5008" y="connsiteY5008"/>
              </a:cxn>
              <a:cxn ang="0">
                <a:pos x="connsiteX5009" y="connsiteY5009"/>
              </a:cxn>
              <a:cxn ang="0">
                <a:pos x="connsiteX5010" y="connsiteY5010"/>
              </a:cxn>
              <a:cxn ang="0">
                <a:pos x="connsiteX5011" y="connsiteY5011"/>
              </a:cxn>
              <a:cxn ang="0">
                <a:pos x="connsiteX5012" y="connsiteY5012"/>
              </a:cxn>
              <a:cxn ang="0">
                <a:pos x="connsiteX5013" y="connsiteY5013"/>
              </a:cxn>
              <a:cxn ang="0">
                <a:pos x="connsiteX5014" y="connsiteY5014"/>
              </a:cxn>
              <a:cxn ang="0">
                <a:pos x="connsiteX5015" y="connsiteY5015"/>
              </a:cxn>
              <a:cxn ang="0">
                <a:pos x="connsiteX5016" y="connsiteY5016"/>
              </a:cxn>
              <a:cxn ang="0">
                <a:pos x="connsiteX5017" y="connsiteY5017"/>
              </a:cxn>
              <a:cxn ang="0">
                <a:pos x="connsiteX5018" y="connsiteY5018"/>
              </a:cxn>
              <a:cxn ang="0">
                <a:pos x="connsiteX5019" y="connsiteY5019"/>
              </a:cxn>
              <a:cxn ang="0">
                <a:pos x="connsiteX5020" y="connsiteY5020"/>
              </a:cxn>
              <a:cxn ang="0">
                <a:pos x="connsiteX5021" y="connsiteY5021"/>
              </a:cxn>
              <a:cxn ang="0">
                <a:pos x="connsiteX5022" y="connsiteY5022"/>
              </a:cxn>
              <a:cxn ang="0">
                <a:pos x="connsiteX5023" y="connsiteY5023"/>
              </a:cxn>
              <a:cxn ang="0">
                <a:pos x="connsiteX5024" y="connsiteY5024"/>
              </a:cxn>
              <a:cxn ang="0">
                <a:pos x="connsiteX5025" y="connsiteY5025"/>
              </a:cxn>
              <a:cxn ang="0">
                <a:pos x="connsiteX5026" y="connsiteY5026"/>
              </a:cxn>
              <a:cxn ang="0">
                <a:pos x="connsiteX5027" y="connsiteY5027"/>
              </a:cxn>
              <a:cxn ang="0">
                <a:pos x="connsiteX5028" y="connsiteY5028"/>
              </a:cxn>
              <a:cxn ang="0">
                <a:pos x="connsiteX5029" y="connsiteY5029"/>
              </a:cxn>
              <a:cxn ang="0">
                <a:pos x="connsiteX5030" y="connsiteY5030"/>
              </a:cxn>
              <a:cxn ang="0">
                <a:pos x="connsiteX5031" y="connsiteY5031"/>
              </a:cxn>
              <a:cxn ang="0">
                <a:pos x="connsiteX5032" y="connsiteY5032"/>
              </a:cxn>
              <a:cxn ang="0">
                <a:pos x="connsiteX5033" y="connsiteY5033"/>
              </a:cxn>
              <a:cxn ang="0">
                <a:pos x="connsiteX5034" y="connsiteY5034"/>
              </a:cxn>
              <a:cxn ang="0">
                <a:pos x="connsiteX5035" y="connsiteY5035"/>
              </a:cxn>
              <a:cxn ang="0">
                <a:pos x="connsiteX5036" y="connsiteY5036"/>
              </a:cxn>
              <a:cxn ang="0">
                <a:pos x="connsiteX5037" y="connsiteY5037"/>
              </a:cxn>
              <a:cxn ang="0">
                <a:pos x="connsiteX5038" y="connsiteY5038"/>
              </a:cxn>
              <a:cxn ang="0">
                <a:pos x="connsiteX5039" y="connsiteY5039"/>
              </a:cxn>
              <a:cxn ang="0">
                <a:pos x="connsiteX5040" y="connsiteY5040"/>
              </a:cxn>
              <a:cxn ang="0">
                <a:pos x="connsiteX5041" y="connsiteY5041"/>
              </a:cxn>
              <a:cxn ang="0">
                <a:pos x="connsiteX5042" y="connsiteY5042"/>
              </a:cxn>
              <a:cxn ang="0">
                <a:pos x="connsiteX5043" y="connsiteY5043"/>
              </a:cxn>
              <a:cxn ang="0">
                <a:pos x="connsiteX5044" y="connsiteY5044"/>
              </a:cxn>
              <a:cxn ang="0">
                <a:pos x="connsiteX5045" y="connsiteY5045"/>
              </a:cxn>
              <a:cxn ang="0">
                <a:pos x="connsiteX5046" y="connsiteY5046"/>
              </a:cxn>
              <a:cxn ang="0">
                <a:pos x="connsiteX5047" y="connsiteY5047"/>
              </a:cxn>
              <a:cxn ang="0">
                <a:pos x="connsiteX5048" y="connsiteY5048"/>
              </a:cxn>
              <a:cxn ang="0">
                <a:pos x="connsiteX5049" y="connsiteY5049"/>
              </a:cxn>
              <a:cxn ang="0">
                <a:pos x="connsiteX5050" y="connsiteY5050"/>
              </a:cxn>
              <a:cxn ang="0">
                <a:pos x="connsiteX5051" y="connsiteY5051"/>
              </a:cxn>
              <a:cxn ang="0">
                <a:pos x="connsiteX5052" y="connsiteY5052"/>
              </a:cxn>
              <a:cxn ang="0">
                <a:pos x="connsiteX5053" y="connsiteY5053"/>
              </a:cxn>
              <a:cxn ang="0">
                <a:pos x="connsiteX5054" y="connsiteY5054"/>
              </a:cxn>
              <a:cxn ang="0">
                <a:pos x="connsiteX5055" y="connsiteY5055"/>
              </a:cxn>
              <a:cxn ang="0">
                <a:pos x="connsiteX5056" y="connsiteY5056"/>
              </a:cxn>
              <a:cxn ang="0">
                <a:pos x="connsiteX5057" y="connsiteY5057"/>
              </a:cxn>
              <a:cxn ang="0">
                <a:pos x="connsiteX5058" y="connsiteY5058"/>
              </a:cxn>
              <a:cxn ang="0">
                <a:pos x="connsiteX5059" y="connsiteY5059"/>
              </a:cxn>
              <a:cxn ang="0">
                <a:pos x="connsiteX5060" y="connsiteY5060"/>
              </a:cxn>
              <a:cxn ang="0">
                <a:pos x="connsiteX5061" y="connsiteY5061"/>
              </a:cxn>
              <a:cxn ang="0">
                <a:pos x="connsiteX5062" y="connsiteY5062"/>
              </a:cxn>
              <a:cxn ang="0">
                <a:pos x="connsiteX5063" y="connsiteY5063"/>
              </a:cxn>
              <a:cxn ang="0">
                <a:pos x="connsiteX5064" y="connsiteY5064"/>
              </a:cxn>
              <a:cxn ang="0">
                <a:pos x="connsiteX5065" y="connsiteY5065"/>
              </a:cxn>
              <a:cxn ang="0">
                <a:pos x="connsiteX5066" y="connsiteY5066"/>
              </a:cxn>
              <a:cxn ang="0">
                <a:pos x="connsiteX5067" y="connsiteY5067"/>
              </a:cxn>
              <a:cxn ang="0">
                <a:pos x="connsiteX5068" y="connsiteY5068"/>
              </a:cxn>
              <a:cxn ang="0">
                <a:pos x="connsiteX5069" y="connsiteY5069"/>
              </a:cxn>
              <a:cxn ang="0">
                <a:pos x="connsiteX5070" y="connsiteY5070"/>
              </a:cxn>
              <a:cxn ang="0">
                <a:pos x="connsiteX5071" y="connsiteY5071"/>
              </a:cxn>
              <a:cxn ang="0">
                <a:pos x="connsiteX5072" y="connsiteY5072"/>
              </a:cxn>
              <a:cxn ang="0">
                <a:pos x="connsiteX5073" y="connsiteY5073"/>
              </a:cxn>
              <a:cxn ang="0">
                <a:pos x="connsiteX5074" y="connsiteY5074"/>
              </a:cxn>
              <a:cxn ang="0">
                <a:pos x="connsiteX5075" y="connsiteY5075"/>
              </a:cxn>
              <a:cxn ang="0">
                <a:pos x="connsiteX5076" y="connsiteY5076"/>
              </a:cxn>
              <a:cxn ang="0">
                <a:pos x="connsiteX5077" y="connsiteY5077"/>
              </a:cxn>
              <a:cxn ang="0">
                <a:pos x="connsiteX5078" y="connsiteY5078"/>
              </a:cxn>
              <a:cxn ang="0">
                <a:pos x="connsiteX5079" y="connsiteY5079"/>
              </a:cxn>
              <a:cxn ang="0">
                <a:pos x="connsiteX5080" y="connsiteY5080"/>
              </a:cxn>
              <a:cxn ang="0">
                <a:pos x="connsiteX5081" y="connsiteY5081"/>
              </a:cxn>
              <a:cxn ang="0">
                <a:pos x="connsiteX5082" y="connsiteY5082"/>
              </a:cxn>
              <a:cxn ang="0">
                <a:pos x="connsiteX5083" y="connsiteY5083"/>
              </a:cxn>
              <a:cxn ang="0">
                <a:pos x="connsiteX5084" y="connsiteY5084"/>
              </a:cxn>
              <a:cxn ang="0">
                <a:pos x="connsiteX5085" y="connsiteY5085"/>
              </a:cxn>
              <a:cxn ang="0">
                <a:pos x="connsiteX5086" y="connsiteY5086"/>
              </a:cxn>
              <a:cxn ang="0">
                <a:pos x="connsiteX5087" y="connsiteY5087"/>
              </a:cxn>
              <a:cxn ang="0">
                <a:pos x="connsiteX5088" y="connsiteY5088"/>
              </a:cxn>
              <a:cxn ang="0">
                <a:pos x="connsiteX5089" y="connsiteY5089"/>
              </a:cxn>
              <a:cxn ang="0">
                <a:pos x="connsiteX5090" y="connsiteY5090"/>
              </a:cxn>
              <a:cxn ang="0">
                <a:pos x="connsiteX5091" y="connsiteY5091"/>
              </a:cxn>
              <a:cxn ang="0">
                <a:pos x="connsiteX5092" y="connsiteY5092"/>
              </a:cxn>
              <a:cxn ang="0">
                <a:pos x="connsiteX5093" y="connsiteY5093"/>
              </a:cxn>
              <a:cxn ang="0">
                <a:pos x="connsiteX5094" y="connsiteY5094"/>
              </a:cxn>
              <a:cxn ang="0">
                <a:pos x="connsiteX5095" y="connsiteY5095"/>
              </a:cxn>
              <a:cxn ang="0">
                <a:pos x="connsiteX5096" y="connsiteY5096"/>
              </a:cxn>
              <a:cxn ang="0">
                <a:pos x="connsiteX5097" y="connsiteY5097"/>
              </a:cxn>
              <a:cxn ang="0">
                <a:pos x="connsiteX5098" y="connsiteY5098"/>
              </a:cxn>
              <a:cxn ang="0">
                <a:pos x="connsiteX5099" y="connsiteY5099"/>
              </a:cxn>
              <a:cxn ang="0">
                <a:pos x="connsiteX5100" y="connsiteY5100"/>
              </a:cxn>
              <a:cxn ang="0">
                <a:pos x="connsiteX5101" y="connsiteY5101"/>
              </a:cxn>
              <a:cxn ang="0">
                <a:pos x="connsiteX5102" y="connsiteY5102"/>
              </a:cxn>
              <a:cxn ang="0">
                <a:pos x="connsiteX5103" y="connsiteY5103"/>
              </a:cxn>
              <a:cxn ang="0">
                <a:pos x="connsiteX5104" y="connsiteY5104"/>
              </a:cxn>
              <a:cxn ang="0">
                <a:pos x="connsiteX5105" y="connsiteY5105"/>
              </a:cxn>
              <a:cxn ang="0">
                <a:pos x="connsiteX5106" y="connsiteY5106"/>
              </a:cxn>
              <a:cxn ang="0">
                <a:pos x="connsiteX5107" y="connsiteY5107"/>
              </a:cxn>
              <a:cxn ang="0">
                <a:pos x="connsiteX5108" y="connsiteY5108"/>
              </a:cxn>
              <a:cxn ang="0">
                <a:pos x="connsiteX5109" y="connsiteY5109"/>
              </a:cxn>
              <a:cxn ang="0">
                <a:pos x="connsiteX5110" y="connsiteY5110"/>
              </a:cxn>
              <a:cxn ang="0">
                <a:pos x="connsiteX5111" y="connsiteY5111"/>
              </a:cxn>
              <a:cxn ang="0">
                <a:pos x="connsiteX5112" y="connsiteY5112"/>
              </a:cxn>
              <a:cxn ang="0">
                <a:pos x="connsiteX5113" y="connsiteY5113"/>
              </a:cxn>
              <a:cxn ang="0">
                <a:pos x="connsiteX5114" y="connsiteY5114"/>
              </a:cxn>
              <a:cxn ang="0">
                <a:pos x="connsiteX5115" y="connsiteY5115"/>
              </a:cxn>
              <a:cxn ang="0">
                <a:pos x="connsiteX5116" y="connsiteY5116"/>
              </a:cxn>
              <a:cxn ang="0">
                <a:pos x="connsiteX5117" y="connsiteY5117"/>
              </a:cxn>
              <a:cxn ang="0">
                <a:pos x="connsiteX5118" y="connsiteY5118"/>
              </a:cxn>
              <a:cxn ang="0">
                <a:pos x="connsiteX5119" y="connsiteY5119"/>
              </a:cxn>
              <a:cxn ang="0">
                <a:pos x="connsiteX5120" y="connsiteY5120"/>
              </a:cxn>
              <a:cxn ang="0">
                <a:pos x="connsiteX5121" y="connsiteY5121"/>
              </a:cxn>
              <a:cxn ang="0">
                <a:pos x="connsiteX5122" y="connsiteY5122"/>
              </a:cxn>
              <a:cxn ang="0">
                <a:pos x="connsiteX5123" y="connsiteY5123"/>
              </a:cxn>
              <a:cxn ang="0">
                <a:pos x="connsiteX5124" y="connsiteY5124"/>
              </a:cxn>
              <a:cxn ang="0">
                <a:pos x="connsiteX5125" y="connsiteY5125"/>
              </a:cxn>
              <a:cxn ang="0">
                <a:pos x="connsiteX5126" y="connsiteY5126"/>
              </a:cxn>
              <a:cxn ang="0">
                <a:pos x="connsiteX5127" y="connsiteY5127"/>
              </a:cxn>
              <a:cxn ang="0">
                <a:pos x="connsiteX5128" y="connsiteY5128"/>
              </a:cxn>
              <a:cxn ang="0">
                <a:pos x="connsiteX5129" y="connsiteY5129"/>
              </a:cxn>
              <a:cxn ang="0">
                <a:pos x="connsiteX5130" y="connsiteY5130"/>
              </a:cxn>
              <a:cxn ang="0">
                <a:pos x="connsiteX5131" y="connsiteY5131"/>
              </a:cxn>
              <a:cxn ang="0">
                <a:pos x="connsiteX5132" y="connsiteY5132"/>
              </a:cxn>
              <a:cxn ang="0">
                <a:pos x="connsiteX5133" y="connsiteY5133"/>
              </a:cxn>
              <a:cxn ang="0">
                <a:pos x="connsiteX5134" y="connsiteY5134"/>
              </a:cxn>
              <a:cxn ang="0">
                <a:pos x="connsiteX5135" y="connsiteY5135"/>
              </a:cxn>
              <a:cxn ang="0">
                <a:pos x="connsiteX5136" y="connsiteY5136"/>
              </a:cxn>
              <a:cxn ang="0">
                <a:pos x="connsiteX5137" y="connsiteY5137"/>
              </a:cxn>
              <a:cxn ang="0">
                <a:pos x="connsiteX5138" y="connsiteY5138"/>
              </a:cxn>
              <a:cxn ang="0">
                <a:pos x="connsiteX5139" y="connsiteY5139"/>
              </a:cxn>
              <a:cxn ang="0">
                <a:pos x="connsiteX5140" y="connsiteY5140"/>
              </a:cxn>
              <a:cxn ang="0">
                <a:pos x="connsiteX5141" y="connsiteY5141"/>
              </a:cxn>
              <a:cxn ang="0">
                <a:pos x="connsiteX5142" y="connsiteY5142"/>
              </a:cxn>
              <a:cxn ang="0">
                <a:pos x="connsiteX5143" y="connsiteY5143"/>
              </a:cxn>
              <a:cxn ang="0">
                <a:pos x="connsiteX5144" y="connsiteY5144"/>
              </a:cxn>
              <a:cxn ang="0">
                <a:pos x="connsiteX5145" y="connsiteY5145"/>
              </a:cxn>
              <a:cxn ang="0">
                <a:pos x="connsiteX5146" y="connsiteY5146"/>
              </a:cxn>
              <a:cxn ang="0">
                <a:pos x="connsiteX5147" y="connsiteY5147"/>
              </a:cxn>
              <a:cxn ang="0">
                <a:pos x="connsiteX5148" y="connsiteY5148"/>
              </a:cxn>
              <a:cxn ang="0">
                <a:pos x="connsiteX5149" y="connsiteY5149"/>
              </a:cxn>
              <a:cxn ang="0">
                <a:pos x="connsiteX5150" y="connsiteY5150"/>
              </a:cxn>
              <a:cxn ang="0">
                <a:pos x="connsiteX5151" y="connsiteY5151"/>
              </a:cxn>
              <a:cxn ang="0">
                <a:pos x="connsiteX5152" y="connsiteY5152"/>
              </a:cxn>
              <a:cxn ang="0">
                <a:pos x="connsiteX5153" y="connsiteY5153"/>
              </a:cxn>
              <a:cxn ang="0">
                <a:pos x="connsiteX5154" y="connsiteY5154"/>
              </a:cxn>
              <a:cxn ang="0">
                <a:pos x="connsiteX5155" y="connsiteY5155"/>
              </a:cxn>
              <a:cxn ang="0">
                <a:pos x="connsiteX5156" y="connsiteY5156"/>
              </a:cxn>
              <a:cxn ang="0">
                <a:pos x="connsiteX5157" y="connsiteY5157"/>
              </a:cxn>
              <a:cxn ang="0">
                <a:pos x="connsiteX5158" y="connsiteY5158"/>
              </a:cxn>
              <a:cxn ang="0">
                <a:pos x="connsiteX5159" y="connsiteY5159"/>
              </a:cxn>
              <a:cxn ang="0">
                <a:pos x="connsiteX5160" y="connsiteY5160"/>
              </a:cxn>
              <a:cxn ang="0">
                <a:pos x="connsiteX5161" y="connsiteY5161"/>
              </a:cxn>
              <a:cxn ang="0">
                <a:pos x="connsiteX5162" y="connsiteY5162"/>
              </a:cxn>
              <a:cxn ang="0">
                <a:pos x="connsiteX5163" y="connsiteY5163"/>
              </a:cxn>
              <a:cxn ang="0">
                <a:pos x="connsiteX5164" y="connsiteY5164"/>
              </a:cxn>
              <a:cxn ang="0">
                <a:pos x="connsiteX5165" y="connsiteY5165"/>
              </a:cxn>
              <a:cxn ang="0">
                <a:pos x="connsiteX5166" y="connsiteY5166"/>
              </a:cxn>
              <a:cxn ang="0">
                <a:pos x="connsiteX5167" y="connsiteY5167"/>
              </a:cxn>
              <a:cxn ang="0">
                <a:pos x="connsiteX5168" y="connsiteY5168"/>
              </a:cxn>
              <a:cxn ang="0">
                <a:pos x="connsiteX5169" y="connsiteY5169"/>
              </a:cxn>
              <a:cxn ang="0">
                <a:pos x="connsiteX5170" y="connsiteY5170"/>
              </a:cxn>
              <a:cxn ang="0">
                <a:pos x="connsiteX5171" y="connsiteY5171"/>
              </a:cxn>
              <a:cxn ang="0">
                <a:pos x="connsiteX5172" y="connsiteY5172"/>
              </a:cxn>
              <a:cxn ang="0">
                <a:pos x="connsiteX5173" y="connsiteY5173"/>
              </a:cxn>
              <a:cxn ang="0">
                <a:pos x="connsiteX5174" y="connsiteY5174"/>
              </a:cxn>
              <a:cxn ang="0">
                <a:pos x="connsiteX5175" y="connsiteY5175"/>
              </a:cxn>
              <a:cxn ang="0">
                <a:pos x="connsiteX5176" y="connsiteY5176"/>
              </a:cxn>
              <a:cxn ang="0">
                <a:pos x="connsiteX5177" y="connsiteY5177"/>
              </a:cxn>
              <a:cxn ang="0">
                <a:pos x="connsiteX5178" y="connsiteY5178"/>
              </a:cxn>
              <a:cxn ang="0">
                <a:pos x="connsiteX5179" y="connsiteY5179"/>
              </a:cxn>
              <a:cxn ang="0">
                <a:pos x="connsiteX5180" y="connsiteY5180"/>
              </a:cxn>
              <a:cxn ang="0">
                <a:pos x="connsiteX5181" y="connsiteY5181"/>
              </a:cxn>
              <a:cxn ang="0">
                <a:pos x="connsiteX5182" y="connsiteY5182"/>
              </a:cxn>
              <a:cxn ang="0">
                <a:pos x="connsiteX5183" y="connsiteY5183"/>
              </a:cxn>
              <a:cxn ang="0">
                <a:pos x="connsiteX5184" y="connsiteY5184"/>
              </a:cxn>
              <a:cxn ang="0">
                <a:pos x="connsiteX5185" y="connsiteY5185"/>
              </a:cxn>
              <a:cxn ang="0">
                <a:pos x="connsiteX5186" y="connsiteY5186"/>
              </a:cxn>
              <a:cxn ang="0">
                <a:pos x="connsiteX5187" y="connsiteY5187"/>
              </a:cxn>
              <a:cxn ang="0">
                <a:pos x="connsiteX5188" y="connsiteY5188"/>
              </a:cxn>
              <a:cxn ang="0">
                <a:pos x="connsiteX5189" y="connsiteY5189"/>
              </a:cxn>
              <a:cxn ang="0">
                <a:pos x="connsiteX5190" y="connsiteY5190"/>
              </a:cxn>
              <a:cxn ang="0">
                <a:pos x="connsiteX5191" y="connsiteY5191"/>
              </a:cxn>
              <a:cxn ang="0">
                <a:pos x="connsiteX5192" y="connsiteY5192"/>
              </a:cxn>
              <a:cxn ang="0">
                <a:pos x="connsiteX5193" y="connsiteY5193"/>
              </a:cxn>
              <a:cxn ang="0">
                <a:pos x="connsiteX5194" y="connsiteY5194"/>
              </a:cxn>
              <a:cxn ang="0">
                <a:pos x="connsiteX5195" y="connsiteY5195"/>
              </a:cxn>
              <a:cxn ang="0">
                <a:pos x="connsiteX5196" y="connsiteY5196"/>
              </a:cxn>
              <a:cxn ang="0">
                <a:pos x="connsiteX5197" y="connsiteY5197"/>
              </a:cxn>
              <a:cxn ang="0">
                <a:pos x="connsiteX5198" y="connsiteY5198"/>
              </a:cxn>
              <a:cxn ang="0">
                <a:pos x="connsiteX5199" y="connsiteY5199"/>
              </a:cxn>
              <a:cxn ang="0">
                <a:pos x="connsiteX5200" y="connsiteY5200"/>
              </a:cxn>
              <a:cxn ang="0">
                <a:pos x="connsiteX5201" y="connsiteY5201"/>
              </a:cxn>
              <a:cxn ang="0">
                <a:pos x="connsiteX5202" y="connsiteY5202"/>
              </a:cxn>
              <a:cxn ang="0">
                <a:pos x="connsiteX5203" y="connsiteY5203"/>
              </a:cxn>
              <a:cxn ang="0">
                <a:pos x="connsiteX5204" y="connsiteY5204"/>
              </a:cxn>
              <a:cxn ang="0">
                <a:pos x="connsiteX5205" y="connsiteY5205"/>
              </a:cxn>
              <a:cxn ang="0">
                <a:pos x="connsiteX5206" y="connsiteY5206"/>
              </a:cxn>
              <a:cxn ang="0">
                <a:pos x="connsiteX5207" y="connsiteY5207"/>
              </a:cxn>
              <a:cxn ang="0">
                <a:pos x="connsiteX5208" y="connsiteY5208"/>
              </a:cxn>
              <a:cxn ang="0">
                <a:pos x="connsiteX5209" y="connsiteY5209"/>
              </a:cxn>
              <a:cxn ang="0">
                <a:pos x="connsiteX5210" y="connsiteY5210"/>
              </a:cxn>
              <a:cxn ang="0">
                <a:pos x="connsiteX5211" y="connsiteY5211"/>
              </a:cxn>
              <a:cxn ang="0">
                <a:pos x="connsiteX5212" y="connsiteY5212"/>
              </a:cxn>
              <a:cxn ang="0">
                <a:pos x="connsiteX5213" y="connsiteY5213"/>
              </a:cxn>
              <a:cxn ang="0">
                <a:pos x="connsiteX5214" y="connsiteY5214"/>
              </a:cxn>
              <a:cxn ang="0">
                <a:pos x="connsiteX5215" y="connsiteY5215"/>
              </a:cxn>
              <a:cxn ang="0">
                <a:pos x="connsiteX5216" y="connsiteY5216"/>
              </a:cxn>
              <a:cxn ang="0">
                <a:pos x="connsiteX5217" y="connsiteY5217"/>
              </a:cxn>
              <a:cxn ang="0">
                <a:pos x="connsiteX5218" y="connsiteY5218"/>
              </a:cxn>
              <a:cxn ang="0">
                <a:pos x="connsiteX5219" y="connsiteY5219"/>
              </a:cxn>
              <a:cxn ang="0">
                <a:pos x="connsiteX5220" y="connsiteY5220"/>
              </a:cxn>
              <a:cxn ang="0">
                <a:pos x="connsiteX5221" y="connsiteY5221"/>
              </a:cxn>
              <a:cxn ang="0">
                <a:pos x="connsiteX5222" y="connsiteY5222"/>
              </a:cxn>
              <a:cxn ang="0">
                <a:pos x="connsiteX5223" y="connsiteY5223"/>
              </a:cxn>
              <a:cxn ang="0">
                <a:pos x="connsiteX5224" y="connsiteY5224"/>
              </a:cxn>
              <a:cxn ang="0">
                <a:pos x="connsiteX5225" y="connsiteY5225"/>
              </a:cxn>
              <a:cxn ang="0">
                <a:pos x="connsiteX5226" y="connsiteY5226"/>
              </a:cxn>
              <a:cxn ang="0">
                <a:pos x="connsiteX5227" y="connsiteY5227"/>
              </a:cxn>
              <a:cxn ang="0">
                <a:pos x="connsiteX5228" y="connsiteY5228"/>
              </a:cxn>
              <a:cxn ang="0">
                <a:pos x="connsiteX5229" y="connsiteY5229"/>
              </a:cxn>
              <a:cxn ang="0">
                <a:pos x="connsiteX5230" y="connsiteY5230"/>
              </a:cxn>
              <a:cxn ang="0">
                <a:pos x="connsiteX5231" y="connsiteY5231"/>
              </a:cxn>
              <a:cxn ang="0">
                <a:pos x="connsiteX5232" y="connsiteY5232"/>
              </a:cxn>
              <a:cxn ang="0">
                <a:pos x="connsiteX5233" y="connsiteY5233"/>
              </a:cxn>
              <a:cxn ang="0">
                <a:pos x="connsiteX5234" y="connsiteY5234"/>
              </a:cxn>
              <a:cxn ang="0">
                <a:pos x="connsiteX5235" y="connsiteY5235"/>
              </a:cxn>
              <a:cxn ang="0">
                <a:pos x="connsiteX5236" y="connsiteY5236"/>
              </a:cxn>
              <a:cxn ang="0">
                <a:pos x="connsiteX5237" y="connsiteY5237"/>
              </a:cxn>
              <a:cxn ang="0">
                <a:pos x="connsiteX5238" y="connsiteY5238"/>
              </a:cxn>
              <a:cxn ang="0">
                <a:pos x="connsiteX5239" y="connsiteY5239"/>
              </a:cxn>
              <a:cxn ang="0">
                <a:pos x="connsiteX5240" y="connsiteY5240"/>
              </a:cxn>
              <a:cxn ang="0">
                <a:pos x="connsiteX5241" y="connsiteY5241"/>
              </a:cxn>
              <a:cxn ang="0">
                <a:pos x="connsiteX5242" y="connsiteY5242"/>
              </a:cxn>
              <a:cxn ang="0">
                <a:pos x="connsiteX5243" y="connsiteY5243"/>
              </a:cxn>
              <a:cxn ang="0">
                <a:pos x="connsiteX5244" y="connsiteY5244"/>
              </a:cxn>
              <a:cxn ang="0">
                <a:pos x="connsiteX5245" y="connsiteY5245"/>
              </a:cxn>
              <a:cxn ang="0">
                <a:pos x="connsiteX5246" y="connsiteY5246"/>
              </a:cxn>
              <a:cxn ang="0">
                <a:pos x="connsiteX5247" y="connsiteY5247"/>
              </a:cxn>
              <a:cxn ang="0">
                <a:pos x="connsiteX5248" y="connsiteY5248"/>
              </a:cxn>
              <a:cxn ang="0">
                <a:pos x="connsiteX5249" y="connsiteY5249"/>
              </a:cxn>
              <a:cxn ang="0">
                <a:pos x="connsiteX5250" y="connsiteY5250"/>
              </a:cxn>
              <a:cxn ang="0">
                <a:pos x="connsiteX5251" y="connsiteY5251"/>
              </a:cxn>
              <a:cxn ang="0">
                <a:pos x="connsiteX5252" y="connsiteY5252"/>
              </a:cxn>
              <a:cxn ang="0">
                <a:pos x="connsiteX5253" y="connsiteY5253"/>
              </a:cxn>
              <a:cxn ang="0">
                <a:pos x="connsiteX5254" y="connsiteY5254"/>
              </a:cxn>
              <a:cxn ang="0">
                <a:pos x="connsiteX5255" y="connsiteY5255"/>
              </a:cxn>
              <a:cxn ang="0">
                <a:pos x="connsiteX5256" y="connsiteY5256"/>
              </a:cxn>
              <a:cxn ang="0">
                <a:pos x="connsiteX5257" y="connsiteY5257"/>
              </a:cxn>
              <a:cxn ang="0">
                <a:pos x="connsiteX5258" y="connsiteY5258"/>
              </a:cxn>
              <a:cxn ang="0">
                <a:pos x="connsiteX5259" y="connsiteY5259"/>
              </a:cxn>
              <a:cxn ang="0">
                <a:pos x="connsiteX5260" y="connsiteY5260"/>
              </a:cxn>
              <a:cxn ang="0">
                <a:pos x="connsiteX5261" y="connsiteY5261"/>
              </a:cxn>
              <a:cxn ang="0">
                <a:pos x="connsiteX5262" y="connsiteY5262"/>
              </a:cxn>
              <a:cxn ang="0">
                <a:pos x="connsiteX5263" y="connsiteY5263"/>
              </a:cxn>
              <a:cxn ang="0">
                <a:pos x="connsiteX5264" y="connsiteY5264"/>
              </a:cxn>
              <a:cxn ang="0">
                <a:pos x="connsiteX5265" y="connsiteY5265"/>
              </a:cxn>
              <a:cxn ang="0">
                <a:pos x="connsiteX5266" y="connsiteY5266"/>
              </a:cxn>
              <a:cxn ang="0">
                <a:pos x="connsiteX5267" y="connsiteY5267"/>
              </a:cxn>
              <a:cxn ang="0">
                <a:pos x="connsiteX5268" y="connsiteY5268"/>
              </a:cxn>
              <a:cxn ang="0">
                <a:pos x="connsiteX5269" y="connsiteY5269"/>
              </a:cxn>
              <a:cxn ang="0">
                <a:pos x="connsiteX5270" y="connsiteY5270"/>
              </a:cxn>
              <a:cxn ang="0">
                <a:pos x="connsiteX5271" y="connsiteY5271"/>
              </a:cxn>
              <a:cxn ang="0">
                <a:pos x="connsiteX5272" y="connsiteY5272"/>
              </a:cxn>
              <a:cxn ang="0">
                <a:pos x="connsiteX5273" y="connsiteY5273"/>
              </a:cxn>
              <a:cxn ang="0">
                <a:pos x="connsiteX5274" y="connsiteY5274"/>
              </a:cxn>
              <a:cxn ang="0">
                <a:pos x="connsiteX5275" y="connsiteY5275"/>
              </a:cxn>
              <a:cxn ang="0">
                <a:pos x="connsiteX5276" y="connsiteY5276"/>
              </a:cxn>
              <a:cxn ang="0">
                <a:pos x="connsiteX5277" y="connsiteY5277"/>
              </a:cxn>
              <a:cxn ang="0">
                <a:pos x="connsiteX5278" y="connsiteY5278"/>
              </a:cxn>
              <a:cxn ang="0">
                <a:pos x="connsiteX5279" y="connsiteY5279"/>
              </a:cxn>
              <a:cxn ang="0">
                <a:pos x="connsiteX5280" y="connsiteY5280"/>
              </a:cxn>
              <a:cxn ang="0">
                <a:pos x="connsiteX5281" y="connsiteY5281"/>
              </a:cxn>
              <a:cxn ang="0">
                <a:pos x="connsiteX5282" y="connsiteY5282"/>
              </a:cxn>
              <a:cxn ang="0">
                <a:pos x="connsiteX5283" y="connsiteY5283"/>
              </a:cxn>
              <a:cxn ang="0">
                <a:pos x="connsiteX5284" y="connsiteY5284"/>
              </a:cxn>
              <a:cxn ang="0">
                <a:pos x="connsiteX5285" y="connsiteY5285"/>
              </a:cxn>
              <a:cxn ang="0">
                <a:pos x="connsiteX5286" y="connsiteY5286"/>
              </a:cxn>
              <a:cxn ang="0">
                <a:pos x="connsiteX5287" y="connsiteY5287"/>
              </a:cxn>
              <a:cxn ang="0">
                <a:pos x="connsiteX5288" y="connsiteY5288"/>
              </a:cxn>
              <a:cxn ang="0">
                <a:pos x="connsiteX5289" y="connsiteY5289"/>
              </a:cxn>
              <a:cxn ang="0">
                <a:pos x="connsiteX5290" y="connsiteY5290"/>
              </a:cxn>
              <a:cxn ang="0">
                <a:pos x="connsiteX5291" y="connsiteY5291"/>
              </a:cxn>
              <a:cxn ang="0">
                <a:pos x="connsiteX5292" y="connsiteY5292"/>
              </a:cxn>
              <a:cxn ang="0">
                <a:pos x="connsiteX5293" y="connsiteY5293"/>
              </a:cxn>
              <a:cxn ang="0">
                <a:pos x="connsiteX5294" y="connsiteY5294"/>
              </a:cxn>
              <a:cxn ang="0">
                <a:pos x="connsiteX5295" y="connsiteY5295"/>
              </a:cxn>
              <a:cxn ang="0">
                <a:pos x="connsiteX5296" y="connsiteY5296"/>
              </a:cxn>
              <a:cxn ang="0">
                <a:pos x="connsiteX5297" y="connsiteY5297"/>
              </a:cxn>
              <a:cxn ang="0">
                <a:pos x="connsiteX5298" y="connsiteY5298"/>
              </a:cxn>
              <a:cxn ang="0">
                <a:pos x="connsiteX5299" y="connsiteY5299"/>
              </a:cxn>
              <a:cxn ang="0">
                <a:pos x="connsiteX5300" y="connsiteY5300"/>
              </a:cxn>
              <a:cxn ang="0">
                <a:pos x="connsiteX5301" y="connsiteY5301"/>
              </a:cxn>
              <a:cxn ang="0">
                <a:pos x="connsiteX5302" y="connsiteY5302"/>
              </a:cxn>
              <a:cxn ang="0">
                <a:pos x="connsiteX5303" y="connsiteY5303"/>
              </a:cxn>
              <a:cxn ang="0">
                <a:pos x="connsiteX5304" y="connsiteY5304"/>
              </a:cxn>
              <a:cxn ang="0">
                <a:pos x="connsiteX5305" y="connsiteY5305"/>
              </a:cxn>
              <a:cxn ang="0">
                <a:pos x="connsiteX5306" y="connsiteY5306"/>
              </a:cxn>
              <a:cxn ang="0">
                <a:pos x="connsiteX5307" y="connsiteY5307"/>
              </a:cxn>
              <a:cxn ang="0">
                <a:pos x="connsiteX5308" y="connsiteY5308"/>
              </a:cxn>
              <a:cxn ang="0">
                <a:pos x="connsiteX5309" y="connsiteY5309"/>
              </a:cxn>
              <a:cxn ang="0">
                <a:pos x="connsiteX5310" y="connsiteY5310"/>
              </a:cxn>
              <a:cxn ang="0">
                <a:pos x="connsiteX5311" y="connsiteY5311"/>
              </a:cxn>
              <a:cxn ang="0">
                <a:pos x="connsiteX5312" y="connsiteY5312"/>
              </a:cxn>
              <a:cxn ang="0">
                <a:pos x="connsiteX5313" y="connsiteY5313"/>
              </a:cxn>
              <a:cxn ang="0">
                <a:pos x="connsiteX5314" y="connsiteY5314"/>
              </a:cxn>
              <a:cxn ang="0">
                <a:pos x="connsiteX5315" y="connsiteY5315"/>
              </a:cxn>
              <a:cxn ang="0">
                <a:pos x="connsiteX5316" y="connsiteY5316"/>
              </a:cxn>
              <a:cxn ang="0">
                <a:pos x="connsiteX5317" y="connsiteY5317"/>
              </a:cxn>
              <a:cxn ang="0">
                <a:pos x="connsiteX5318" y="connsiteY5318"/>
              </a:cxn>
              <a:cxn ang="0">
                <a:pos x="connsiteX5319" y="connsiteY5319"/>
              </a:cxn>
              <a:cxn ang="0">
                <a:pos x="connsiteX5320" y="connsiteY5320"/>
              </a:cxn>
              <a:cxn ang="0">
                <a:pos x="connsiteX5321" y="connsiteY5321"/>
              </a:cxn>
              <a:cxn ang="0">
                <a:pos x="connsiteX5322" y="connsiteY5322"/>
              </a:cxn>
              <a:cxn ang="0">
                <a:pos x="connsiteX5323" y="connsiteY5323"/>
              </a:cxn>
              <a:cxn ang="0">
                <a:pos x="connsiteX5324" y="connsiteY5324"/>
              </a:cxn>
              <a:cxn ang="0">
                <a:pos x="connsiteX5325" y="connsiteY5325"/>
              </a:cxn>
              <a:cxn ang="0">
                <a:pos x="connsiteX5326" y="connsiteY5326"/>
              </a:cxn>
              <a:cxn ang="0">
                <a:pos x="connsiteX5327" y="connsiteY5327"/>
              </a:cxn>
              <a:cxn ang="0">
                <a:pos x="connsiteX5328" y="connsiteY5328"/>
              </a:cxn>
              <a:cxn ang="0">
                <a:pos x="connsiteX5329" y="connsiteY5329"/>
              </a:cxn>
              <a:cxn ang="0">
                <a:pos x="connsiteX5330" y="connsiteY5330"/>
              </a:cxn>
              <a:cxn ang="0">
                <a:pos x="connsiteX5331" y="connsiteY5331"/>
              </a:cxn>
              <a:cxn ang="0">
                <a:pos x="connsiteX5332" y="connsiteY5332"/>
              </a:cxn>
              <a:cxn ang="0">
                <a:pos x="connsiteX5333" y="connsiteY5333"/>
              </a:cxn>
              <a:cxn ang="0">
                <a:pos x="connsiteX5334" y="connsiteY5334"/>
              </a:cxn>
              <a:cxn ang="0">
                <a:pos x="connsiteX5335" y="connsiteY5335"/>
              </a:cxn>
              <a:cxn ang="0">
                <a:pos x="connsiteX5336" y="connsiteY5336"/>
              </a:cxn>
              <a:cxn ang="0">
                <a:pos x="connsiteX5337" y="connsiteY5337"/>
              </a:cxn>
              <a:cxn ang="0">
                <a:pos x="connsiteX5338" y="connsiteY5338"/>
              </a:cxn>
              <a:cxn ang="0">
                <a:pos x="connsiteX5339" y="connsiteY5339"/>
              </a:cxn>
              <a:cxn ang="0">
                <a:pos x="connsiteX5340" y="connsiteY5340"/>
              </a:cxn>
              <a:cxn ang="0">
                <a:pos x="connsiteX5341" y="connsiteY5341"/>
              </a:cxn>
              <a:cxn ang="0">
                <a:pos x="connsiteX5342" y="connsiteY5342"/>
              </a:cxn>
              <a:cxn ang="0">
                <a:pos x="connsiteX5343" y="connsiteY5343"/>
              </a:cxn>
              <a:cxn ang="0">
                <a:pos x="connsiteX5344" y="connsiteY5344"/>
              </a:cxn>
              <a:cxn ang="0">
                <a:pos x="connsiteX5345" y="connsiteY5345"/>
              </a:cxn>
              <a:cxn ang="0">
                <a:pos x="connsiteX5346" y="connsiteY5346"/>
              </a:cxn>
              <a:cxn ang="0">
                <a:pos x="connsiteX5347" y="connsiteY5347"/>
              </a:cxn>
              <a:cxn ang="0">
                <a:pos x="connsiteX5348" y="connsiteY5348"/>
              </a:cxn>
              <a:cxn ang="0">
                <a:pos x="connsiteX5349" y="connsiteY5349"/>
              </a:cxn>
              <a:cxn ang="0">
                <a:pos x="connsiteX5350" y="connsiteY5350"/>
              </a:cxn>
              <a:cxn ang="0">
                <a:pos x="connsiteX5351" y="connsiteY5351"/>
              </a:cxn>
              <a:cxn ang="0">
                <a:pos x="connsiteX5352" y="connsiteY5352"/>
              </a:cxn>
              <a:cxn ang="0">
                <a:pos x="connsiteX5353" y="connsiteY5353"/>
              </a:cxn>
              <a:cxn ang="0">
                <a:pos x="connsiteX5354" y="connsiteY5354"/>
              </a:cxn>
              <a:cxn ang="0">
                <a:pos x="connsiteX5355" y="connsiteY5355"/>
              </a:cxn>
              <a:cxn ang="0">
                <a:pos x="connsiteX5356" y="connsiteY5356"/>
              </a:cxn>
              <a:cxn ang="0">
                <a:pos x="connsiteX5357" y="connsiteY5357"/>
              </a:cxn>
              <a:cxn ang="0">
                <a:pos x="connsiteX5358" y="connsiteY5358"/>
              </a:cxn>
              <a:cxn ang="0">
                <a:pos x="connsiteX5359" y="connsiteY5359"/>
              </a:cxn>
              <a:cxn ang="0">
                <a:pos x="connsiteX5360" y="connsiteY5360"/>
              </a:cxn>
              <a:cxn ang="0">
                <a:pos x="connsiteX5361" y="connsiteY5361"/>
              </a:cxn>
              <a:cxn ang="0">
                <a:pos x="connsiteX5362" y="connsiteY5362"/>
              </a:cxn>
              <a:cxn ang="0">
                <a:pos x="connsiteX5363" y="connsiteY5363"/>
              </a:cxn>
              <a:cxn ang="0">
                <a:pos x="connsiteX5364" y="connsiteY5364"/>
              </a:cxn>
              <a:cxn ang="0">
                <a:pos x="connsiteX5365" y="connsiteY5365"/>
              </a:cxn>
              <a:cxn ang="0">
                <a:pos x="connsiteX5366" y="connsiteY5366"/>
              </a:cxn>
              <a:cxn ang="0">
                <a:pos x="connsiteX5367" y="connsiteY5367"/>
              </a:cxn>
              <a:cxn ang="0">
                <a:pos x="connsiteX5368" y="connsiteY5368"/>
              </a:cxn>
              <a:cxn ang="0">
                <a:pos x="connsiteX5369" y="connsiteY5369"/>
              </a:cxn>
              <a:cxn ang="0">
                <a:pos x="connsiteX5370" y="connsiteY5370"/>
              </a:cxn>
              <a:cxn ang="0">
                <a:pos x="connsiteX5371" y="connsiteY5371"/>
              </a:cxn>
              <a:cxn ang="0">
                <a:pos x="connsiteX5372" y="connsiteY5372"/>
              </a:cxn>
              <a:cxn ang="0">
                <a:pos x="connsiteX5373" y="connsiteY5373"/>
              </a:cxn>
              <a:cxn ang="0">
                <a:pos x="connsiteX5374" y="connsiteY5374"/>
              </a:cxn>
              <a:cxn ang="0">
                <a:pos x="connsiteX5375" y="connsiteY5375"/>
              </a:cxn>
              <a:cxn ang="0">
                <a:pos x="connsiteX5376" y="connsiteY5376"/>
              </a:cxn>
              <a:cxn ang="0">
                <a:pos x="connsiteX5377" y="connsiteY5377"/>
              </a:cxn>
              <a:cxn ang="0">
                <a:pos x="connsiteX5378" y="connsiteY5378"/>
              </a:cxn>
              <a:cxn ang="0">
                <a:pos x="connsiteX5379" y="connsiteY5379"/>
              </a:cxn>
              <a:cxn ang="0">
                <a:pos x="connsiteX5380" y="connsiteY5380"/>
              </a:cxn>
              <a:cxn ang="0">
                <a:pos x="connsiteX5381" y="connsiteY5381"/>
              </a:cxn>
              <a:cxn ang="0">
                <a:pos x="connsiteX5382" y="connsiteY5382"/>
              </a:cxn>
              <a:cxn ang="0">
                <a:pos x="connsiteX5383" y="connsiteY5383"/>
              </a:cxn>
              <a:cxn ang="0">
                <a:pos x="connsiteX5384" y="connsiteY5384"/>
              </a:cxn>
              <a:cxn ang="0">
                <a:pos x="connsiteX5385" y="connsiteY5385"/>
              </a:cxn>
              <a:cxn ang="0">
                <a:pos x="connsiteX5386" y="connsiteY5386"/>
              </a:cxn>
              <a:cxn ang="0">
                <a:pos x="connsiteX5387" y="connsiteY5387"/>
              </a:cxn>
              <a:cxn ang="0">
                <a:pos x="connsiteX5388" y="connsiteY5388"/>
              </a:cxn>
              <a:cxn ang="0">
                <a:pos x="connsiteX5389" y="connsiteY5389"/>
              </a:cxn>
              <a:cxn ang="0">
                <a:pos x="connsiteX5390" y="connsiteY5390"/>
              </a:cxn>
              <a:cxn ang="0">
                <a:pos x="connsiteX5391" y="connsiteY5391"/>
              </a:cxn>
              <a:cxn ang="0">
                <a:pos x="connsiteX5392" y="connsiteY5392"/>
              </a:cxn>
              <a:cxn ang="0">
                <a:pos x="connsiteX5393" y="connsiteY5393"/>
              </a:cxn>
              <a:cxn ang="0">
                <a:pos x="connsiteX5394" y="connsiteY5394"/>
              </a:cxn>
              <a:cxn ang="0">
                <a:pos x="connsiteX5395" y="connsiteY5395"/>
              </a:cxn>
              <a:cxn ang="0">
                <a:pos x="connsiteX5396" y="connsiteY5396"/>
              </a:cxn>
              <a:cxn ang="0">
                <a:pos x="connsiteX5397" y="connsiteY5397"/>
              </a:cxn>
              <a:cxn ang="0">
                <a:pos x="connsiteX5398" y="connsiteY5398"/>
              </a:cxn>
              <a:cxn ang="0">
                <a:pos x="connsiteX5399" y="connsiteY5399"/>
              </a:cxn>
              <a:cxn ang="0">
                <a:pos x="connsiteX5400" y="connsiteY5400"/>
              </a:cxn>
              <a:cxn ang="0">
                <a:pos x="connsiteX5401" y="connsiteY5401"/>
              </a:cxn>
              <a:cxn ang="0">
                <a:pos x="connsiteX5402" y="connsiteY5402"/>
              </a:cxn>
              <a:cxn ang="0">
                <a:pos x="connsiteX5403" y="connsiteY5403"/>
              </a:cxn>
              <a:cxn ang="0">
                <a:pos x="connsiteX5404" y="connsiteY5404"/>
              </a:cxn>
              <a:cxn ang="0">
                <a:pos x="connsiteX5405" y="connsiteY5405"/>
              </a:cxn>
              <a:cxn ang="0">
                <a:pos x="connsiteX5406" y="connsiteY5406"/>
              </a:cxn>
              <a:cxn ang="0">
                <a:pos x="connsiteX5407" y="connsiteY5407"/>
              </a:cxn>
              <a:cxn ang="0">
                <a:pos x="connsiteX5408" y="connsiteY5408"/>
              </a:cxn>
              <a:cxn ang="0">
                <a:pos x="connsiteX5409" y="connsiteY5409"/>
              </a:cxn>
              <a:cxn ang="0">
                <a:pos x="connsiteX5410" y="connsiteY5410"/>
              </a:cxn>
              <a:cxn ang="0">
                <a:pos x="connsiteX5411" y="connsiteY5411"/>
              </a:cxn>
              <a:cxn ang="0">
                <a:pos x="connsiteX5412" y="connsiteY5412"/>
              </a:cxn>
              <a:cxn ang="0">
                <a:pos x="connsiteX5413" y="connsiteY5413"/>
              </a:cxn>
              <a:cxn ang="0">
                <a:pos x="connsiteX5414" y="connsiteY5414"/>
              </a:cxn>
              <a:cxn ang="0">
                <a:pos x="connsiteX5415" y="connsiteY5415"/>
              </a:cxn>
              <a:cxn ang="0">
                <a:pos x="connsiteX5416" y="connsiteY5416"/>
              </a:cxn>
              <a:cxn ang="0">
                <a:pos x="connsiteX5417" y="connsiteY5417"/>
              </a:cxn>
              <a:cxn ang="0">
                <a:pos x="connsiteX5418" y="connsiteY5418"/>
              </a:cxn>
              <a:cxn ang="0">
                <a:pos x="connsiteX5419" y="connsiteY5419"/>
              </a:cxn>
              <a:cxn ang="0">
                <a:pos x="connsiteX5420" y="connsiteY5420"/>
              </a:cxn>
              <a:cxn ang="0">
                <a:pos x="connsiteX5421" y="connsiteY5421"/>
              </a:cxn>
              <a:cxn ang="0">
                <a:pos x="connsiteX5422" y="connsiteY5422"/>
              </a:cxn>
              <a:cxn ang="0">
                <a:pos x="connsiteX5423" y="connsiteY5423"/>
              </a:cxn>
              <a:cxn ang="0">
                <a:pos x="connsiteX5424" y="connsiteY5424"/>
              </a:cxn>
              <a:cxn ang="0">
                <a:pos x="connsiteX5425" y="connsiteY5425"/>
              </a:cxn>
              <a:cxn ang="0">
                <a:pos x="connsiteX5426" y="connsiteY5426"/>
              </a:cxn>
              <a:cxn ang="0">
                <a:pos x="connsiteX5427" y="connsiteY5427"/>
              </a:cxn>
              <a:cxn ang="0">
                <a:pos x="connsiteX5428" y="connsiteY5428"/>
              </a:cxn>
              <a:cxn ang="0">
                <a:pos x="connsiteX5429" y="connsiteY5429"/>
              </a:cxn>
              <a:cxn ang="0">
                <a:pos x="connsiteX5430" y="connsiteY5430"/>
              </a:cxn>
              <a:cxn ang="0">
                <a:pos x="connsiteX5431" y="connsiteY5431"/>
              </a:cxn>
              <a:cxn ang="0">
                <a:pos x="connsiteX5432" y="connsiteY5432"/>
              </a:cxn>
              <a:cxn ang="0">
                <a:pos x="connsiteX5433" y="connsiteY5433"/>
              </a:cxn>
              <a:cxn ang="0">
                <a:pos x="connsiteX5434" y="connsiteY5434"/>
              </a:cxn>
              <a:cxn ang="0">
                <a:pos x="connsiteX5435" y="connsiteY5435"/>
              </a:cxn>
              <a:cxn ang="0">
                <a:pos x="connsiteX5436" y="connsiteY5436"/>
              </a:cxn>
              <a:cxn ang="0">
                <a:pos x="connsiteX5437" y="connsiteY5437"/>
              </a:cxn>
              <a:cxn ang="0">
                <a:pos x="connsiteX5438" y="connsiteY5438"/>
              </a:cxn>
              <a:cxn ang="0">
                <a:pos x="connsiteX5439" y="connsiteY5439"/>
              </a:cxn>
              <a:cxn ang="0">
                <a:pos x="connsiteX5440" y="connsiteY5440"/>
              </a:cxn>
              <a:cxn ang="0">
                <a:pos x="connsiteX5441" y="connsiteY5441"/>
              </a:cxn>
              <a:cxn ang="0">
                <a:pos x="connsiteX5442" y="connsiteY5442"/>
              </a:cxn>
              <a:cxn ang="0">
                <a:pos x="connsiteX5443" y="connsiteY5443"/>
              </a:cxn>
              <a:cxn ang="0">
                <a:pos x="connsiteX5444" y="connsiteY5444"/>
              </a:cxn>
              <a:cxn ang="0">
                <a:pos x="connsiteX5445" y="connsiteY5445"/>
              </a:cxn>
              <a:cxn ang="0">
                <a:pos x="connsiteX5446" y="connsiteY5446"/>
              </a:cxn>
              <a:cxn ang="0">
                <a:pos x="connsiteX5447" y="connsiteY5447"/>
              </a:cxn>
              <a:cxn ang="0">
                <a:pos x="connsiteX5448" y="connsiteY5448"/>
              </a:cxn>
              <a:cxn ang="0">
                <a:pos x="connsiteX5449" y="connsiteY5449"/>
              </a:cxn>
              <a:cxn ang="0">
                <a:pos x="connsiteX5450" y="connsiteY5450"/>
              </a:cxn>
              <a:cxn ang="0">
                <a:pos x="connsiteX5451" y="connsiteY5451"/>
              </a:cxn>
              <a:cxn ang="0">
                <a:pos x="connsiteX5452" y="connsiteY5452"/>
              </a:cxn>
              <a:cxn ang="0">
                <a:pos x="connsiteX5453" y="connsiteY5453"/>
              </a:cxn>
              <a:cxn ang="0">
                <a:pos x="connsiteX5454" y="connsiteY5454"/>
              </a:cxn>
              <a:cxn ang="0">
                <a:pos x="connsiteX5455" y="connsiteY5455"/>
              </a:cxn>
              <a:cxn ang="0">
                <a:pos x="connsiteX5456" y="connsiteY5456"/>
              </a:cxn>
              <a:cxn ang="0">
                <a:pos x="connsiteX5457" y="connsiteY5457"/>
              </a:cxn>
              <a:cxn ang="0">
                <a:pos x="connsiteX5458" y="connsiteY5458"/>
              </a:cxn>
              <a:cxn ang="0">
                <a:pos x="connsiteX5459" y="connsiteY5459"/>
              </a:cxn>
              <a:cxn ang="0">
                <a:pos x="connsiteX5460" y="connsiteY5460"/>
              </a:cxn>
              <a:cxn ang="0">
                <a:pos x="connsiteX5461" y="connsiteY5461"/>
              </a:cxn>
              <a:cxn ang="0">
                <a:pos x="connsiteX5462" y="connsiteY5462"/>
              </a:cxn>
              <a:cxn ang="0">
                <a:pos x="connsiteX5463" y="connsiteY5463"/>
              </a:cxn>
              <a:cxn ang="0">
                <a:pos x="connsiteX5464" y="connsiteY5464"/>
              </a:cxn>
              <a:cxn ang="0">
                <a:pos x="connsiteX5465" y="connsiteY5465"/>
              </a:cxn>
              <a:cxn ang="0">
                <a:pos x="connsiteX5466" y="connsiteY5466"/>
              </a:cxn>
              <a:cxn ang="0">
                <a:pos x="connsiteX5467" y="connsiteY5467"/>
              </a:cxn>
              <a:cxn ang="0">
                <a:pos x="connsiteX5468" y="connsiteY5468"/>
              </a:cxn>
              <a:cxn ang="0">
                <a:pos x="connsiteX5469" y="connsiteY5469"/>
              </a:cxn>
              <a:cxn ang="0">
                <a:pos x="connsiteX5470" y="connsiteY5470"/>
              </a:cxn>
              <a:cxn ang="0">
                <a:pos x="connsiteX5471" y="connsiteY5471"/>
              </a:cxn>
              <a:cxn ang="0">
                <a:pos x="connsiteX5472" y="connsiteY5472"/>
              </a:cxn>
              <a:cxn ang="0">
                <a:pos x="connsiteX5473" y="connsiteY5473"/>
              </a:cxn>
              <a:cxn ang="0">
                <a:pos x="connsiteX5474" y="connsiteY5474"/>
              </a:cxn>
              <a:cxn ang="0">
                <a:pos x="connsiteX5475" y="connsiteY5475"/>
              </a:cxn>
              <a:cxn ang="0">
                <a:pos x="connsiteX5476" y="connsiteY5476"/>
              </a:cxn>
              <a:cxn ang="0">
                <a:pos x="connsiteX5477" y="connsiteY5477"/>
              </a:cxn>
              <a:cxn ang="0">
                <a:pos x="connsiteX5478" y="connsiteY5478"/>
              </a:cxn>
              <a:cxn ang="0">
                <a:pos x="connsiteX5479" y="connsiteY5479"/>
              </a:cxn>
              <a:cxn ang="0">
                <a:pos x="connsiteX5480" y="connsiteY5480"/>
              </a:cxn>
              <a:cxn ang="0">
                <a:pos x="connsiteX5481" y="connsiteY5481"/>
              </a:cxn>
              <a:cxn ang="0">
                <a:pos x="connsiteX5482" y="connsiteY5482"/>
              </a:cxn>
              <a:cxn ang="0">
                <a:pos x="connsiteX5483" y="connsiteY5483"/>
              </a:cxn>
              <a:cxn ang="0">
                <a:pos x="connsiteX5484" y="connsiteY5484"/>
              </a:cxn>
              <a:cxn ang="0">
                <a:pos x="connsiteX5485" y="connsiteY5485"/>
              </a:cxn>
              <a:cxn ang="0">
                <a:pos x="connsiteX5486" y="connsiteY5486"/>
              </a:cxn>
              <a:cxn ang="0">
                <a:pos x="connsiteX5487" y="connsiteY5487"/>
              </a:cxn>
              <a:cxn ang="0">
                <a:pos x="connsiteX5488" y="connsiteY5488"/>
              </a:cxn>
              <a:cxn ang="0">
                <a:pos x="connsiteX5489" y="connsiteY5489"/>
              </a:cxn>
              <a:cxn ang="0">
                <a:pos x="connsiteX5490" y="connsiteY5490"/>
              </a:cxn>
              <a:cxn ang="0">
                <a:pos x="connsiteX5491" y="connsiteY5491"/>
              </a:cxn>
              <a:cxn ang="0">
                <a:pos x="connsiteX5492" y="connsiteY5492"/>
              </a:cxn>
              <a:cxn ang="0">
                <a:pos x="connsiteX5493" y="connsiteY5493"/>
              </a:cxn>
              <a:cxn ang="0">
                <a:pos x="connsiteX5494" y="connsiteY5494"/>
              </a:cxn>
              <a:cxn ang="0">
                <a:pos x="connsiteX5495" y="connsiteY5495"/>
              </a:cxn>
              <a:cxn ang="0">
                <a:pos x="connsiteX5496" y="connsiteY5496"/>
              </a:cxn>
              <a:cxn ang="0">
                <a:pos x="connsiteX5497" y="connsiteY5497"/>
              </a:cxn>
              <a:cxn ang="0">
                <a:pos x="connsiteX5498" y="connsiteY5498"/>
              </a:cxn>
              <a:cxn ang="0">
                <a:pos x="connsiteX5499" y="connsiteY5499"/>
              </a:cxn>
              <a:cxn ang="0">
                <a:pos x="connsiteX5500" y="connsiteY5500"/>
              </a:cxn>
              <a:cxn ang="0">
                <a:pos x="connsiteX5501" y="connsiteY5501"/>
              </a:cxn>
              <a:cxn ang="0">
                <a:pos x="connsiteX5502" y="connsiteY5502"/>
              </a:cxn>
              <a:cxn ang="0">
                <a:pos x="connsiteX5503" y="connsiteY5503"/>
              </a:cxn>
              <a:cxn ang="0">
                <a:pos x="connsiteX5504" y="connsiteY5504"/>
              </a:cxn>
              <a:cxn ang="0">
                <a:pos x="connsiteX5505" y="connsiteY5505"/>
              </a:cxn>
              <a:cxn ang="0">
                <a:pos x="connsiteX5506" y="connsiteY5506"/>
              </a:cxn>
              <a:cxn ang="0">
                <a:pos x="connsiteX5507" y="connsiteY5507"/>
              </a:cxn>
              <a:cxn ang="0">
                <a:pos x="connsiteX5508" y="connsiteY5508"/>
              </a:cxn>
              <a:cxn ang="0">
                <a:pos x="connsiteX5509" y="connsiteY5509"/>
              </a:cxn>
              <a:cxn ang="0">
                <a:pos x="connsiteX5510" y="connsiteY5510"/>
              </a:cxn>
              <a:cxn ang="0">
                <a:pos x="connsiteX5511" y="connsiteY5511"/>
              </a:cxn>
              <a:cxn ang="0">
                <a:pos x="connsiteX5512" y="connsiteY5512"/>
              </a:cxn>
              <a:cxn ang="0">
                <a:pos x="connsiteX5513" y="connsiteY5513"/>
              </a:cxn>
              <a:cxn ang="0">
                <a:pos x="connsiteX5514" y="connsiteY5514"/>
              </a:cxn>
              <a:cxn ang="0">
                <a:pos x="connsiteX5515" y="connsiteY5515"/>
              </a:cxn>
              <a:cxn ang="0">
                <a:pos x="connsiteX5516" y="connsiteY5516"/>
              </a:cxn>
              <a:cxn ang="0">
                <a:pos x="connsiteX5517" y="connsiteY5517"/>
              </a:cxn>
              <a:cxn ang="0">
                <a:pos x="connsiteX5518" y="connsiteY5518"/>
              </a:cxn>
              <a:cxn ang="0">
                <a:pos x="connsiteX5519" y="connsiteY5519"/>
              </a:cxn>
              <a:cxn ang="0">
                <a:pos x="connsiteX5520" y="connsiteY5520"/>
              </a:cxn>
              <a:cxn ang="0">
                <a:pos x="connsiteX5521" y="connsiteY5521"/>
              </a:cxn>
              <a:cxn ang="0">
                <a:pos x="connsiteX5522" y="connsiteY5522"/>
              </a:cxn>
              <a:cxn ang="0">
                <a:pos x="connsiteX5523" y="connsiteY5523"/>
              </a:cxn>
              <a:cxn ang="0">
                <a:pos x="connsiteX5524" y="connsiteY5524"/>
              </a:cxn>
              <a:cxn ang="0">
                <a:pos x="connsiteX5525" y="connsiteY5525"/>
              </a:cxn>
              <a:cxn ang="0">
                <a:pos x="connsiteX5526" y="connsiteY5526"/>
              </a:cxn>
              <a:cxn ang="0">
                <a:pos x="connsiteX5527" y="connsiteY5527"/>
              </a:cxn>
              <a:cxn ang="0">
                <a:pos x="connsiteX5528" y="connsiteY5528"/>
              </a:cxn>
              <a:cxn ang="0">
                <a:pos x="connsiteX5529" y="connsiteY5529"/>
              </a:cxn>
              <a:cxn ang="0">
                <a:pos x="connsiteX5530" y="connsiteY5530"/>
              </a:cxn>
              <a:cxn ang="0">
                <a:pos x="connsiteX5531" y="connsiteY5531"/>
              </a:cxn>
              <a:cxn ang="0">
                <a:pos x="connsiteX5532" y="connsiteY5532"/>
              </a:cxn>
              <a:cxn ang="0">
                <a:pos x="connsiteX5533" y="connsiteY5533"/>
              </a:cxn>
              <a:cxn ang="0">
                <a:pos x="connsiteX5534" y="connsiteY5534"/>
              </a:cxn>
              <a:cxn ang="0">
                <a:pos x="connsiteX5535" y="connsiteY5535"/>
              </a:cxn>
              <a:cxn ang="0">
                <a:pos x="connsiteX5536" y="connsiteY5536"/>
              </a:cxn>
              <a:cxn ang="0">
                <a:pos x="connsiteX5537" y="connsiteY5537"/>
              </a:cxn>
              <a:cxn ang="0">
                <a:pos x="connsiteX5538" y="connsiteY5538"/>
              </a:cxn>
              <a:cxn ang="0">
                <a:pos x="connsiteX5539" y="connsiteY5539"/>
              </a:cxn>
              <a:cxn ang="0">
                <a:pos x="connsiteX5540" y="connsiteY5540"/>
              </a:cxn>
              <a:cxn ang="0">
                <a:pos x="connsiteX5541" y="connsiteY5541"/>
              </a:cxn>
              <a:cxn ang="0">
                <a:pos x="connsiteX5542" y="connsiteY5542"/>
              </a:cxn>
              <a:cxn ang="0">
                <a:pos x="connsiteX5543" y="connsiteY5543"/>
              </a:cxn>
              <a:cxn ang="0">
                <a:pos x="connsiteX5544" y="connsiteY5544"/>
              </a:cxn>
              <a:cxn ang="0">
                <a:pos x="connsiteX5545" y="connsiteY5545"/>
              </a:cxn>
              <a:cxn ang="0">
                <a:pos x="connsiteX5546" y="connsiteY5546"/>
              </a:cxn>
              <a:cxn ang="0">
                <a:pos x="connsiteX5547" y="connsiteY5547"/>
              </a:cxn>
              <a:cxn ang="0">
                <a:pos x="connsiteX5548" y="connsiteY5548"/>
              </a:cxn>
              <a:cxn ang="0">
                <a:pos x="connsiteX5549" y="connsiteY5549"/>
              </a:cxn>
              <a:cxn ang="0">
                <a:pos x="connsiteX5550" y="connsiteY5550"/>
              </a:cxn>
              <a:cxn ang="0">
                <a:pos x="connsiteX5551" y="connsiteY5551"/>
              </a:cxn>
              <a:cxn ang="0">
                <a:pos x="connsiteX5552" y="connsiteY5552"/>
              </a:cxn>
              <a:cxn ang="0">
                <a:pos x="connsiteX5553" y="connsiteY5553"/>
              </a:cxn>
              <a:cxn ang="0">
                <a:pos x="connsiteX5554" y="connsiteY5554"/>
              </a:cxn>
              <a:cxn ang="0">
                <a:pos x="connsiteX5555" y="connsiteY5555"/>
              </a:cxn>
              <a:cxn ang="0">
                <a:pos x="connsiteX5556" y="connsiteY5556"/>
              </a:cxn>
              <a:cxn ang="0">
                <a:pos x="connsiteX5557" y="connsiteY5557"/>
              </a:cxn>
              <a:cxn ang="0">
                <a:pos x="connsiteX5558" y="connsiteY5558"/>
              </a:cxn>
              <a:cxn ang="0">
                <a:pos x="connsiteX5559" y="connsiteY5559"/>
              </a:cxn>
              <a:cxn ang="0">
                <a:pos x="connsiteX5560" y="connsiteY5560"/>
              </a:cxn>
              <a:cxn ang="0">
                <a:pos x="connsiteX5561" y="connsiteY5561"/>
              </a:cxn>
              <a:cxn ang="0">
                <a:pos x="connsiteX5562" y="connsiteY5562"/>
              </a:cxn>
              <a:cxn ang="0">
                <a:pos x="connsiteX5563" y="connsiteY5563"/>
              </a:cxn>
              <a:cxn ang="0">
                <a:pos x="connsiteX5564" y="connsiteY5564"/>
              </a:cxn>
              <a:cxn ang="0">
                <a:pos x="connsiteX5565" y="connsiteY5565"/>
              </a:cxn>
              <a:cxn ang="0">
                <a:pos x="connsiteX5566" y="connsiteY5566"/>
              </a:cxn>
              <a:cxn ang="0">
                <a:pos x="connsiteX5567" y="connsiteY5567"/>
              </a:cxn>
              <a:cxn ang="0">
                <a:pos x="connsiteX5568" y="connsiteY5568"/>
              </a:cxn>
              <a:cxn ang="0">
                <a:pos x="connsiteX5569" y="connsiteY5569"/>
              </a:cxn>
              <a:cxn ang="0">
                <a:pos x="connsiteX5570" y="connsiteY5570"/>
              </a:cxn>
              <a:cxn ang="0">
                <a:pos x="connsiteX5571" y="connsiteY5571"/>
              </a:cxn>
              <a:cxn ang="0">
                <a:pos x="connsiteX5572" y="connsiteY5572"/>
              </a:cxn>
              <a:cxn ang="0">
                <a:pos x="connsiteX5573" y="connsiteY5573"/>
              </a:cxn>
              <a:cxn ang="0">
                <a:pos x="connsiteX5574" y="connsiteY5574"/>
              </a:cxn>
              <a:cxn ang="0">
                <a:pos x="connsiteX5575" y="connsiteY5575"/>
              </a:cxn>
              <a:cxn ang="0">
                <a:pos x="connsiteX5576" y="connsiteY5576"/>
              </a:cxn>
              <a:cxn ang="0">
                <a:pos x="connsiteX5577" y="connsiteY5577"/>
              </a:cxn>
              <a:cxn ang="0">
                <a:pos x="connsiteX5578" y="connsiteY5578"/>
              </a:cxn>
              <a:cxn ang="0">
                <a:pos x="connsiteX5579" y="connsiteY5579"/>
              </a:cxn>
              <a:cxn ang="0">
                <a:pos x="connsiteX5580" y="connsiteY5580"/>
              </a:cxn>
              <a:cxn ang="0">
                <a:pos x="connsiteX5581" y="connsiteY5581"/>
              </a:cxn>
              <a:cxn ang="0">
                <a:pos x="connsiteX5582" y="connsiteY5582"/>
              </a:cxn>
              <a:cxn ang="0">
                <a:pos x="connsiteX5583" y="connsiteY5583"/>
              </a:cxn>
              <a:cxn ang="0">
                <a:pos x="connsiteX5584" y="connsiteY5584"/>
              </a:cxn>
              <a:cxn ang="0">
                <a:pos x="connsiteX5585" y="connsiteY5585"/>
              </a:cxn>
              <a:cxn ang="0">
                <a:pos x="connsiteX5586" y="connsiteY5586"/>
              </a:cxn>
              <a:cxn ang="0">
                <a:pos x="connsiteX5587" y="connsiteY5587"/>
              </a:cxn>
              <a:cxn ang="0">
                <a:pos x="connsiteX5588" y="connsiteY5588"/>
              </a:cxn>
              <a:cxn ang="0">
                <a:pos x="connsiteX5589" y="connsiteY5589"/>
              </a:cxn>
              <a:cxn ang="0">
                <a:pos x="connsiteX5590" y="connsiteY5590"/>
              </a:cxn>
              <a:cxn ang="0">
                <a:pos x="connsiteX5591" y="connsiteY5591"/>
              </a:cxn>
              <a:cxn ang="0">
                <a:pos x="connsiteX5592" y="connsiteY5592"/>
              </a:cxn>
              <a:cxn ang="0">
                <a:pos x="connsiteX5593" y="connsiteY5593"/>
              </a:cxn>
              <a:cxn ang="0">
                <a:pos x="connsiteX5594" y="connsiteY5594"/>
              </a:cxn>
              <a:cxn ang="0">
                <a:pos x="connsiteX5595" y="connsiteY5595"/>
              </a:cxn>
              <a:cxn ang="0">
                <a:pos x="connsiteX5596" y="connsiteY5596"/>
              </a:cxn>
              <a:cxn ang="0">
                <a:pos x="connsiteX5597" y="connsiteY5597"/>
              </a:cxn>
              <a:cxn ang="0">
                <a:pos x="connsiteX5598" y="connsiteY5598"/>
              </a:cxn>
              <a:cxn ang="0">
                <a:pos x="connsiteX5599" y="connsiteY5599"/>
              </a:cxn>
              <a:cxn ang="0">
                <a:pos x="connsiteX5600" y="connsiteY5600"/>
              </a:cxn>
              <a:cxn ang="0">
                <a:pos x="connsiteX5601" y="connsiteY5601"/>
              </a:cxn>
              <a:cxn ang="0">
                <a:pos x="connsiteX5602" y="connsiteY5602"/>
              </a:cxn>
              <a:cxn ang="0">
                <a:pos x="connsiteX5603" y="connsiteY5603"/>
              </a:cxn>
              <a:cxn ang="0">
                <a:pos x="connsiteX5604" y="connsiteY5604"/>
              </a:cxn>
              <a:cxn ang="0">
                <a:pos x="connsiteX5605" y="connsiteY5605"/>
              </a:cxn>
              <a:cxn ang="0">
                <a:pos x="connsiteX5606" y="connsiteY5606"/>
              </a:cxn>
              <a:cxn ang="0">
                <a:pos x="connsiteX5607" y="connsiteY5607"/>
              </a:cxn>
              <a:cxn ang="0">
                <a:pos x="connsiteX5608" y="connsiteY5608"/>
              </a:cxn>
              <a:cxn ang="0">
                <a:pos x="connsiteX5609" y="connsiteY5609"/>
              </a:cxn>
              <a:cxn ang="0">
                <a:pos x="connsiteX5610" y="connsiteY5610"/>
              </a:cxn>
              <a:cxn ang="0">
                <a:pos x="connsiteX5611" y="connsiteY5611"/>
              </a:cxn>
              <a:cxn ang="0">
                <a:pos x="connsiteX5612" y="connsiteY5612"/>
              </a:cxn>
              <a:cxn ang="0">
                <a:pos x="connsiteX5613" y="connsiteY5613"/>
              </a:cxn>
              <a:cxn ang="0">
                <a:pos x="connsiteX5614" y="connsiteY5614"/>
              </a:cxn>
              <a:cxn ang="0">
                <a:pos x="connsiteX5615" y="connsiteY5615"/>
              </a:cxn>
              <a:cxn ang="0">
                <a:pos x="connsiteX5616" y="connsiteY5616"/>
              </a:cxn>
              <a:cxn ang="0">
                <a:pos x="connsiteX5617" y="connsiteY5617"/>
              </a:cxn>
              <a:cxn ang="0">
                <a:pos x="connsiteX5618" y="connsiteY5618"/>
              </a:cxn>
              <a:cxn ang="0">
                <a:pos x="connsiteX5619" y="connsiteY5619"/>
              </a:cxn>
              <a:cxn ang="0">
                <a:pos x="connsiteX5620" y="connsiteY5620"/>
              </a:cxn>
              <a:cxn ang="0">
                <a:pos x="connsiteX5621" y="connsiteY5621"/>
              </a:cxn>
              <a:cxn ang="0">
                <a:pos x="connsiteX5622" y="connsiteY5622"/>
              </a:cxn>
              <a:cxn ang="0">
                <a:pos x="connsiteX5623" y="connsiteY5623"/>
              </a:cxn>
              <a:cxn ang="0">
                <a:pos x="connsiteX5624" y="connsiteY5624"/>
              </a:cxn>
              <a:cxn ang="0">
                <a:pos x="connsiteX5625" y="connsiteY5625"/>
              </a:cxn>
              <a:cxn ang="0">
                <a:pos x="connsiteX5626" y="connsiteY5626"/>
              </a:cxn>
              <a:cxn ang="0">
                <a:pos x="connsiteX5627" y="connsiteY5627"/>
              </a:cxn>
              <a:cxn ang="0">
                <a:pos x="connsiteX5628" y="connsiteY5628"/>
              </a:cxn>
              <a:cxn ang="0">
                <a:pos x="connsiteX5629" y="connsiteY5629"/>
              </a:cxn>
              <a:cxn ang="0">
                <a:pos x="connsiteX5630" y="connsiteY5630"/>
              </a:cxn>
              <a:cxn ang="0">
                <a:pos x="connsiteX5631" y="connsiteY5631"/>
              </a:cxn>
              <a:cxn ang="0">
                <a:pos x="connsiteX5632" y="connsiteY5632"/>
              </a:cxn>
              <a:cxn ang="0">
                <a:pos x="connsiteX5633" y="connsiteY5633"/>
              </a:cxn>
              <a:cxn ang="0">
                <a:pos x="connsiteX5634" y="connsiteY5634"/>
              </a:cxn>
              <a:cxn ang="0">
                <a:pos x="connsiteX5635" y="connsiteY5635"/>
              </a:cxn>
              <a:cxn ang="0">
                <a:pos x="connsiteX5636" y="connsiteY5636"/>
              </a:cxn>
              <a:cxn ang="0">
                <a:pos x="connsiteX5637" y="connsiteY5637"/>
              </a:cxn>
              <a:cxn ang="0">
                <a:pos x="connsiteX5638" y="connsiteY5638"/>
              </a:cxn>
              <a:cxn ang="0">
                <a:pos x="connsiteX5639" y="connsiteY5639"/>
              </a:cxn>
              <a:cxn ang="0">
                <a:pos x="connsiteX5640" y="connsiteY5640"/>
              </a:cxn>
              <a:cxn ang="0">
                <a:pos x="connsiteX5641" y="connsiteY5641"/>
              </a:cxn>
              <a:cxn ang="0">
                <a:pos x="connsiteX5642" y="connsiteY5642"/>
              </a:cxn>
              <a:cxn ang="0">
                <a:pos x="connsiteX5643" y="connsiteY5643"/>
              </a:cxn>
              <a:cxn ang="0">
                <a:pos x="connsiteX5644" y="connsiteY5644"/>
              </a:cxn>
              <a:cxn ang="0">
                <a:pos x="connsiteX5645" y="connsiteY5645"/>
              </a:cxn>
              <a:cxn ang="0">
                <a:pos x="connsiteX5646" y="connsiteY5646"/>
              </a:cxn>
              <a:cxn ang="0">
                <a:pos x="connsiteX5647" y="connsiteY5647"/>
              </a:cxn>
              <a:cxn ang="0">
                <a:pos x="connsiteX5648" y="connsiteY5648"/>
              </a:cxn>
              <a:cxn ang="0">
                <a:pos x="connsiteX5649" y="connsiteY5649"/>
              </a:cxn>
              <a:cxn ang="0">
                <a:pos x="connsiteX5650" y="connsiteY5650"/>
              </a:cxn>
              <a:cxn ang="0">
                <a:pos x="connsiteX5651" y="connsiteY5651"/>
              </a:cxn>
              <a:cxn ang="0">
                <a:pos x="connsiteX5652" y="connsiteY5652"/>
              </a:cxn>
              <a:cxn ang="0">
                <a:pos x="connsiteX5653" y="connsiteY5653"/>
              </a:cxn>
              <a:cxn ang="0">
                <a:pos x="connsiteX5654" y="connsiteY5654"/>
              </a:cxn>
              <a:cxn ang="0">
                <a:pos x="connsiteX5655" y="connsiteY5655"/>
              </a:cxn>
              <a:cxn ang="0">
                <a:pos x="connsiteX5656" y="connsiteY5656"/>
              </a:cxn>
              <a:cxn ang="0">
                <a:pos x="connsiteX5657" y="connsiteY5657"/>
              </a:cxn>
              <a:cxn ang="0">
                <a:pos x="connsiteX5658" y="connsiteY5658"/>
              </a:cxn>
              <a:cxn ang="0">
                <a:pos x="connsiteX5659" y="connsiteY5659"/>
              </a:cxn>
              <a:cxn ang="0">
                <a:pos x="connsiteX5660" y="connsiteY5660"/>
              </a:cxn>
              <a:cxn ang="0">
                <a:pos x="connsiteX5661" y="connsiteY5661"/>
              </a:cxn>
              <a:cxn ang="0">
                <a:pos x="connsiteX5662" y="connsiteY5662"/>
              </a:cxn>
              <a:cxn ang="0">
                <a:pos x="connsiteX5663" y="connsiteY5663"/>
              </a:cxn>
              <a:cxn ang="0">
                <a:pos x="connsiteX5664" y="connsiteY5664"/>
              </a:cxn>
              <a:cxn ang="0">
                <a:pos x="connsiteX5665" y="connsiteY5665"/>
              </a:cxn>
              <a:cxn ang="0">
                <a:pos x="connsiteX5666" y="connsiteY5666"/>
              </a:cxn>
              <a:cxn ang="0">
                <a:pos x="connsiteX5667" y="connsiteY5667"/>
              </a:cxn>
              <a:cxn ang="0">
                <a:pos x="connsiteX5668" y="connsiteY5668"/>
              </a:cxn>
              <a:cxn ang="0">
                <a:pos x="connsiteX5669" y="connsiteY5669"/>
              </a:cxn>
              <a:cxn ang="0">
                <a:pos x="connsiteX5670" y="connsiteY5670"/>
              </a:cxn>
              <a:cxn ang="0">
                <a:pos x="connsiteX5671" y="connsiteY5671"/>
              </a:cxn>
              <a:cxn ang="0">
                <a:pos x="connsiteX5672" y="connsiteY5672"/>
              </a:cxn>
              <a:cxn ang="0">
                <a:pos x="connsiteX5673" y="connsiteY5673"/>
              </a:cxn>
              <a:cxn ang="0">
                <a:pos x="connsiteX5674" y="connsiteY5674"/>
              </a:cxn>
              <a:cxn ang="0">
                <a:pos x="connsiteX5675" y="connsiteY5675"/>
              </a:cxn>
              <a:cxn ang="0">
                <a:pos x="connsiteX5676" y="connsiteY5676"/>
              </a:cxn>
              <a:cxn ang="0">
                <a:pos x="connsiteX5677" y="connsiteY5677"/>
              </a:cxn>
              <a:cxn ang="0">
                <a:pos x="connsiteX5678" y="connsiteY5678"/>
              </a:cxn>
              <a:cxn ang="0">
                <a:pos x="connsiteX5679" y="connsiteY5679"/>
              </a:cxn>
              <a:cxn ang="0">
                <a:pos x="connsiteX5680" y="connsiteY5680"/>
              </a:cxn>
              <a:cxn ang="0">
                <a:pos x="connsiteX5681" y="connsiteY5681"/>
              </a:cxn>
              <a:cxn ang="0">
                <a:pos x="connsiteX5682" y="connsiteY5682"/>
              </a:cxn>
              <a:cxn ang="0">
                <a:pos x="connsiteX5683" y="connsiteY5683"/>
              </a:cxn>
              <a:cxn ang="0">
                <a:pos x="connsiteX5684" y="connsiteY5684"/>
              </a:cxn>
              <a:cxn ang="0">
                <a:pos x="connsiteX5685" y="connsiteY5685"/>
              </a:cxn>
              <a:cxn ang="0">
                <a:pos x="connsiteX5686" y="connsiteY5686"/>
              </a:cxn>
              <a:cxn ang="0">
                <a:pos x="connsiteX5687" y="connsiteY5687"/>
              </a:cxn>
              <a:cxn ang="0">
                <a:pos x="connsiteX5688" y="connsiteY5688"/>
              </a:cxn>
              <a:cxn ang="0">
                <a:pos x="connsiteX5689" y="connsiteY5689"/>
              </a:cxn>
              <a:cxn ang="0">
                <a:pos x="connsiteX5690" y="connsiteY5690"/>
              </a:cxn>
              <a:cxn ang="0">
                <a:pos x="connsiteX5691" y="connsiteY5691"/>
              </a:cxn>
              <a:cxn ang="0">
                <a:pos x="connsiteX5692" y="connsiteY5692"/>
              </a:cxn>
              <a:cxn ang="0">
                <a:pos x="connsiteX5693" y="connsiteY5693"/>
              </a:cxn>
              <a:cxn ang="0">
                <a:pos x="connsiteX5694" y="connsiteY5694"/>
              </a:cxn>
              <a:cxn ang="0">
                <a:pos x="connsiteX5695" y="connsiteY5695"/>
              </a:cxn>
              <a:cxn ang="0">
                <a:pos x="connsiteX5696" y="connsiteY5696"/>
              </a:cxn>
              <a:cxn ang="0">
                <a:pos x="connsiteX5697" y="connsiteY5697"/>
              </a:cxn>
              <a:cxn ang="0">
                <a:pos x="connsiteX5698" y="connsiteY5698"/>
              </a:cxn>
              <a:cxn ang="0">
                <a:pos x="connsiteX5699" y="connsiteY5699"/>
              </a:cxn>
              <a:cxn ang="0">
                <a:pos x="connsiteX5700" y="connsiteY5700"/>
              </a:cxn>
              <a:cxn ang="0">
                <a:pos x="connsiteX5701" y="connsiteY5701"/>
              </a:cxn>
              <a:cxn ang="0">
                <a:pos x="connsiteX5702" y="connsiteY5702"/>
              </a:cxn>
              <a:cxn ang="0">
                <a:pos x="connsiteX5703" y="connsiteY5703"/>
              </a:cxn>
              <a:cxn ang="0">
                <a:pos x="connsiteX5704" y="connsiteY5704"/>
              </a:cxn>
              <a:cxn ang="0">
                <a:pos x="connsiteX5705" y="connsiteY5705"/>
              </a:cxn>
              <a:cxn ang="0">
                <a:pos x="connsiteX5706" y="connsiteY5706"/>
              </a:cxn>
              <a:cxn ang="0">
                <a:pos x="connsiteX5707" y="connsiteY5707"/>
              </a:cxn>
              <a:cxn ang="0">
                <a:pos x="connsiteX5708" y="connsiteY5708"/>
              </a:cxn>
              <a:cxn ang="0">
                <a:pos x="connsiteX5709" y="connsiteY5709"/>
              </a:cxn>
              <a:cxn ang="0">
                <a:pos x="connsiteX5710" y="connsiteY5710"/>
              </a:cxn>
              <a:cxn ang="0">
                <a:pos x="connsiteX5711" y="connsiteY5711"/>
              </a:cxn>
              <a:cxn ang="0">
                <a:pos x="connsiteX5712" y="connsiteY5712"/>
              </a:cxn>
              <a:cxn ang="0">
                <a:pos x="connsiteX5713" y="connsiteY5713"/>
              </a:cxn>
              <a:cxn ang="0">
                <a:pos x="connsiteX5714" y="connsiteY5714"/>
              </a:cxn>
              <a:cxn ang="0">
                <a:pos x="connsiteX5715" y="connsiteY5715"/>
              </a:cxn>
              <a:cxn ang="0">
                <a:pos x="connsiteX5716" y="connsiteY5716"/>
              </a:cxn>
              <a:cxn ang="0">
                <a:pos x="connsiteX5717" y="connsiteY5717"/>
              </a:cxn>
              <a:cxn ang="0">
                <a:pos x="connsiteX5718" y="connsiteY5718"/>
              </a:cxn>
              <a:cxn ang="0">
                <a:pos x="connsiteX5719" y="connsiteY5719"/>
              </a:cxn>
              <a:cxn ang="0">
                <a:pos x="connsiteX5720" y="connsiteY5720"/>
              </a:cxn>
              <a:cxn ang="0">
                <a:pos x="connsiteX5721" y="connsiteY5721"/>
              </a:cxn>
              <a:cxn ang="0">
                <a:pos x="connsiteX5722" y="connsiteY5722"/>
              </a:cxn>
              <a:cxn ang="0">
                <a:pos x="connsiteX5723" y="connsiteY5723"/>
              </a:cxn>
              <a:cxn ang="0">
                <a:pos x="connsiteX5724" y="connsiteY5724"/>
              </a:cxn>
              <a:cxn ang="0">
                <a:pos x="connsiteX5725" y="connsiteY5725"/>
              </a:cxn>
              <a:cxn ang="0">
                <a:pos x="connsiteX5726" y="connsiteY5726"/>
              </a:cxn>
              <a:cxn ang="0">
                <a:pos x="connsiteX5727" y="connsiteY5727"/>
              </a:cxn>
              <a:cxn ang="0">
                <a:pos x="connsiteX5728" y="connsiteY5728"/>
              </a:cxn>
              <a:cxn ang="0">
                <a:pos x="connsiteX5729" y="connsiteY5729"/>
              </a:cxn>
              <a:cxn ang="0">
                <a:pos x="connsiteX5730" y="connsiteY5730"/>
              </a:cxn>
              <a:cxn ang="0">
                <a:pos x="connsiteX5731" y="connsiteY5731"/>
              </a:cxn>
              <a:cxn ang="0">
                <a:pos x="connsiteX5732" y="connsiteY5732"/>
              </a:cxn>
              <a:cxn ang="0">
                <a:pos x="connsiteX5733" y="connsiteY5733"/>
              </a:cxn>
              <a:cxn ang="0">
                <a:pos x="connsiteX5734" y="connsiteY5734"/>
              </a:cxn>
              <a:cxn ang="0">
                <a:pos x="connsiteX5735" y="connsiteY5735"/>
              </a:cxn>
              <a:cxn ang="0">
                <a:pos x="connsiteX5736" y="connsiteY5736"/>
              </a:cxn>
              <a:cxn ang="0">
                <a:pos x="connsiteX5737" y="connsiteY5737"/>
              </a:cxn>
              <a:cxn ang="0">
                <a:pos x="connsiteX5738" y="connsiteY5738"/>
              </a:cxn>
              <a:cxn ang="0">
                <a:pos x="connsiteX5739" y="connsiteY5739"/>
              </a:cxn>
              <a:cxn ang="0">
                <a:pos x="connsiteX5740" y="connsiteY5740"/>
              </a:cxn>
              <a:cxn ang="0">
                <a:pos x="connsiteX5741" y="connsiteY5741"/>
              </a:cxn>
              <a:cxn ang="0">
                <a:pos x="connsiteX5742" y="connsiteY5742"/>
              </a:cxn>
              <a:cxn ang="0">
                <a:pos x="connsiteX5743" y="connsiteY5743"/>
              </a:cxn>
              <a:cxn ang="0">
                <a:pos x="connsiteX5744" y="connsiteY5744"/>
              </a:cxn>
              <a:cxn ang="0">
                <a:pos x="connsiteX5745" y="connsiteY5745"/>
              </a:cxn>
              <a:cxn ang="0">
                <a:pos x="connsiteX5746" y="connsiteY5746"/>
              </a:cxn>
              <a:cxn ang="0">
                <a:pos x="connsiteX5747" y="connsiteY5747"/>
              </a:cxn>
              <a:cxn ang="0">
                <a:pos x="connsiteX5748" y="connsiteY5748"/>
              </a:cxn>
              <a:cxn ang="0">
                <a:pos x="connsiteX5749" y="connsiteY5749"/>
              </a:cxn>
              <a:cxn ang="0">
                <a:pos x="connsiteX5750" y="connsiteY5750"/>
              </a:cxn>
              <a:cxn ang="0">
                <a:pos x="connsiteX5751" y="connsiteY5751"/>
              </a:cxn>
              <a:cxn ang="0">
                <a:pos x="connsiteX5752" y="connsiteY5752"/>
              </a:cxn>
              <a:cxn ang="0">
                <a:pos x="connsiteX5753" y="connsiteY5753"/>
              </a:cxn>
              <a:cxn ang="0">
                <a:pos x="connsiteX5754" y="connsiteY5754"/>
              </a:cxn>
              <a:cxn ang="0">
                <a:pos x="connsiteX5755" y="connsiteY5755"/>
              </a:cxn>
              <a:cxn ang="0">
                <a:pos x="connsiteX5756" y="connsiteY5756"/>
              </a:cxn>
              <a:cxn ang="0">
                <a:pos x="connsiteX5757" y="connsiteY5757"/>
              </a:cxn>
              <a:cxn ang="0">
                <a:pos x="connsiteX5758" y="connsiteY5758"/>
              </a:cxn>
              <a:cxn ang="0">
                <a:pos x="connsiteX5759" y="connsiteY5759"/>
              </a:cxn>
              <a:cxn ang="0">
                <a:pos x="connsiteX5760" y="connsiteY5760"/>
              </a:cxn>
              <a:cxn ang="0">
                <a:pos x="connsiteX5761" y="connsiteY5761"/>
              </a:cxn>
              <a:cxn ang="0">
                <a:pos x="connsiteX5762" y="connsiteY5762"/>
              </a:cxn>
              <a:cxn ang="0">
                <a:pos x="connsiteX5763" y="connsiteY5763"/>
              </a:cxn>
              <a:cxn ang="0">
                <a:pos x="connsiteX5764" y="connsiteY5764"/>
              </a:cxn>
              <a:cxn ang="0">
                <a:pos x="connsiteX5765" y="connsiteY5765"/>
              </a:cxn>
              <a:cxn ang="0">
                <a:pos x="connsiteX5766" y="connsiteY5766"/>
              </a:cxn>
              <a:cxn ang="0">
                <a:pos x="connsiteX5767" y="connsiteY5767"/>
              </a:cxn>
              <a:cxn ang="0">
                <a:pos x="connsiteX5768" y="connsiteY5768"/>
              </a:cxn>
              <a:cxn ang="0">
                <a:pos x="connsiteX5769" y="connsiteY5769"/>
              </a:cxn>
              <a:cxn ang="0">
                <a:pos x="connsiteX5770" y="connsiteY5770"/>
              </a:cxn>
              <a:cxn ang="0">
                <a:pos x="connsiteX5771" y="connsiteY5771"/>
              </a:cxn>
              <a:cxn ang="0">
                <a:pos x="connsiteX5772" y="connsiteY5772"/>
              </a:cxn>
              <a:cxn ang="0">
                <a:pos x="connsiteX5773" y="connsiteY5773"/>
              </a:cxn>
              <a:cxn ang="0">
                <a:pos x="connsiteX5774" y="connsiteY5774"/>
              </a:cxn>
              <a:cxn ang="0">
                <a:pos x="connsiteX5775" y="connsiteY5775"/>
              </a:cxn>
              <a:cxn ang="0">
                <a:pos x="connsiteX5776" y="connsiteY5776"/>
              </a:cxn>
              <a:cxn ang="0">
                <a:pos x="connsiteX5777" y="connsiteY5777"/>
              </a:cxn>
              <a:cxn ang="0">
                <a:pos x="connsiteX5778" y="connsiteY5778"/>
              </a:cxn>
              <a:cxn ang="0">
                <a:pos x="connsiteX5779" y="connsiteY5779"/>
              </a:cxn>
              <a:cxn ang="0">
                <a:pos x="connsiteX5780" y="connsiteY5780"/>
              </a:cxn>
              <a:cxn ang="0">
                <a:pos x="connsiteX5781" y="connsiteY5781"/>
              </a:cxn>
              <a:cxn ang="0">
                <a:pos x="connsiteX5782" y="connsiteY5782"/>
              </a:cxn>
              <a:cxn ang="0">
                <a:pos x="connsiteX5783" y="connsiteY5783"/>
              </a:cxn>
              <a:cxn ang="0">
                <a:pos x="connsiteX5784" y="connsiteY5784"/>
              </a:cxn>
              <a:cxn ang="0">
                <a:pos x="connsiteX5785" y="connsiteY5785"/>
              </a:cxn>
              <a:cxn ang="0">
                <a:pos x="connsiteX5786" y="connsiteY5786"/>
              </a:cxn>
              <a:cxn ang="0">
                <a:pos x="connsiteX5787" y="connsiteY5787"/>
              </a:cxn>
              <a:cxn ang="0">
                <a:pos x="connsiteX5788" y="connsiteY5788"/>
              </a:cxn>
              <a:cxn ang="0">
                <a:pos x="connsiteX5789" y="connsiteY5789"/>
              </a:cxn>
              <a:cxn ang="0">
                <a:pos x="connsiteX5790" y="connsiteY5790"/>
              </a:cxn>
              <a:cxn ang="0">
                <a:pos x="connsiteX5791" y="connsiteY5791"/>
              </a:cxn>
              <a:cxn ang="0">
                <a:pos x="connsiteX5792" y="connsiteY5792"/>
              </a:cxn>
              <a:cxn ang="0">
                <a:pos x="connsiteX5793" y="connsiteY5793"/>
              </a:cxn>
              <a:cxn ang="0">
                <a:pos x="connsiteX5794" y="connsiteY5794"/>
              </a:cxn>
              <a:cxn ang="0">
                <a:pos x="connsiteX5795" y="connsiteY5795"/>
              </a:cxn>
              <a:cxn ang="0">
                <a:pos x="connsiteX5796" y="connsiteY5796"/>
              </a:cxn>
              <a:cxn ang="0">
                <a:pos x="connsiteX5797" y="connsiteY5797"/>
              </a:cxn>
              <a:cxn ang="0">
                <a:pos x="connsiteX5798" y="connsiteY5798"/>
              </a:cxn>
              <a:cxn ang="0">
                <a:pos x="connsiteX5799" y="connsiteY5799"/>
              </a:cxn>
              <a:cxn ang="0">
                <a:pos x="connsiteX5800" y="connsiteY5800"/>
              </a:cxn>
              <a:cxn ang="0">
                <a:pos x="connsiteX5801" y="connsiteY5801"/>
              </a:cxn>
              <a:cxn ang="0">
                <a:pos x="connsiteX5802" y="connsiteY5802"/>
              </a:cxn>
              <a:cxn ang="0">
                <a:pos x="connsiteX5803" y="connsiteY5803"/>
              </a:cxn>
              <a:cxn ang="0">
                <a:pos x="connsiteX5804" y="connsiteY5804"/>
              </a:cxn>
              <a:cxn ang="0">
                <a:pos x="connsiteX5805" y="connsiteY5805"/>
              </a:cxn>
              <a:cxn ang="0">
                <a:pos x="connsiteX5806" y="connsiteY5806"/>
              </a:cxn>
              <a:cxn ang="0">
                <a:pos x="connsiteX5807" y="connsiteY5807"/>
              </a:cxn>
              <a:cxn ang="0">
                <a:pos x="connsiteX5808" y="connsiteY5808"/>
              </a:cxn>
              <a:cxn ang="0">
                <a:pos x="connsiteX5809" y="connsiteY5809"/>
              </a:cxn>
              <a:cxn ang="0">
                <a:pos x="connsiteX5810" y="connsiteY5810"/>
              </a:cxn>
              <a:cxn ang="0">
                <a:pos x="connsiteX5811" y="connsiteY5811"/>
              </a:cxn>
              <a:cxn ang="0">
                <a:pos x="connsiteX5812" y="connsiteY5812"/>
              </a:cxn>
              <a:cxn ang="0">
                <a:pos x="connsiteX5813" y="connsiteY5813"/>
              </a:cxn>
              <a:cxn ang="0">
                <a:pos x="connsiteX5814" y="connsiteY5814"/>
              </a:cxn>
              <a:cxn ang="0">
                <a:pos x="connsiteX5815" y="connsiteY5815"/>
              </a:cxn>
              <a:cxn ang="0">
                <a:pos x="connsiteX5816" y="connsiteY5816"/>
              </a:cxn>
              <a:cxn ang="0">
                <a:pos x="connsiteX5817" y="connsiteY5817"/>
              </a:cxn>
              <a:cxn ang="0">
                <a:pos x="connsiteX5818" y="connsiteY5818"/>
              </a:cxn>
              <a:cxn ang="0">
                <a:pos x="connsiteX5819" y="connsiteY5819"/>
              </a:cxn>
              <a:cxn ang="0">
                <a:pos x="connsiteX5820" y="connsiteY5820"/>
              </a:cxn>
              <a:cxn ang="0">
                <a:pos x="connsiteX5821" y="connsiteY5821"/>
              </a:cxn>
              <a:cxn ang="0">
                <a:pos x="connsiteX5822" y="connsiteY5822"/>
              </a:cxn>
              <a:cxn ang="0">
                <a:pos x="connsiteX5823" y="connsiteY5823"/>
              </a:cxn>
              <a:cxn ang="0">
                <a:pos x="connsiteX5824" y="connsiteY5824"/>
              </a:cxn>
              <a:cxn ang="0">
                <a:pos x="connsiteX5825" y="connsiteY5825"/>
              </a:cxn>
              <a:cxn ang="0">
                <a:pos x="connsiteX5826" y="connsiteY5826"/>
              </a:cxn>
              <a:cxn ang="0">
                <a:pos x="connsiteX5827" y="connsiteY5827"/>
              </a:cxn>
              <a:cxn ang="0">
                <a:pos x="connsiteX5828" y="connsiteY5828"/>
              </a:cxn>
              <a:cxn ang="0">
                <a:pos x="connsiteX5829" y="connsiteY5829"/>
              </a:cxn>
              <a:cxn ang="0">
                <a:pos x="connsiteX5830" y="connsiteY5830"/>
              </a:cxn>
              <a:cxn ang="0">
                <a:pos x="connsiteX5831" y="connsiteY5831"/>
              </a:cxn>
              <a:cxn ang="0">
                <a:pos x="connsiteX5832" y="connsiteY5832"/>
              </a:cxn>
              <a:cxn ang="0">
                <a:pos x="connsiteX5833" y="connsiteY5833"/>
              </a:cxn>
              <a:cxn ang="0">
                <a:pos x="connsiteX5834" y="connsiteY5834"/>
              </a:cxn>
              <a:cxn ang="0">
                <a:pos x="connsiteX5835" y="connsiteY5835"/>
              </a:cxn>
              <a:cxn ang="0">
                <a:pos x="connsiteX5836" y="connsiteY5836"/>
              </a:cxn>
              <a:cxn ang="0">
                <a:pos x="connsiteX5837" y="connsiteY5837"/>
              </a:cxn>
              <a:cxn ang="0">
                <a:pos x="connsiteX5838" y="connsiteY5838"/>
              </a:cxn>
              <a:cxn ang="0">
                <a:pos x="connsiteX5839" y="connsiteY5839"/>
              </a:cxn>
              <a:cxn ang="0">
                <a:pos x="connsiteX5840" y="connsiteY5840"/>
              </a:cxn>
              <a:cxn ang="0">
                <a:pos x="connsiteX5841" y="connsiteY5841"/>
              </a:cxn>
              <a:cxn ang="0">
                <a:pos x="connsiteX5842" y="connsiteY5842"/>
              </a:cxn>
              <a:cxn ang="0">
                <a:pos x="connsiteX5843" y="connsiteY5843"/>
              </a:cxn>
              <a:cxn ang="0">
                <a:pos x="connsiteX5844" y="connsiteY5844"/>
              </a:cxn>
              <a:cxn ang="0">
                <a:pos x="connsiteX5845" y="connsiteY5845"/>
              </a:cxn>
              <a:cxn ang="0">
                <a:pos x="connsiteX5846" y="connsiteY5846"/>
              </a:cxn>
              <a:cxn ang="0">
                <a:pos x="connsiteX5847" y="connsiteY5847"/>
              </a:cxn>
              <a:cxn ang="0">
                <a:pos x="connsiteX5848" y="connsiteY5848"/>
              </a:cxn>
              <a:cxn ang="0">
                <a:pos x="connsiteX5849" y="connsiteY5849"/>
              </a:cxn>
              <a:cxn ang="0">
                <a:pos x="connsiteX5850" y="connsiteY5850"/>
              </a:cxn>
              <a:cxn ang="0">
                <a:pos x="connsiteX5851" y="connsiteY5851"/>
              </a:cxn>
              <a:cxn ang="0">
                <a:pos x="connsiteX5852" y="connsiteY5852"/>
              </a:cxn>
              <a:cxn ang="0">
                <a:pos x="connsiteX5853" y="connsiteY5853"/>
              </a:cxn>
              <a:cxn ang="0">
                <a:pos x="connsiteX5854" y="connsiteY5854"/>
              </a:cxn>
              <a:cxn ang="0">
                <a:pos x="connsiteX5855" y="connsiteY5855"/>
              </a:cxn>
              <a:cxn ang="0">
                <a:pos x="connsiteX5856" y="connsiteY5856"/>
              </a:cxn>
              <a:cxn ang="0">
                <a:pos x="connsiteX5857" y="connsiteY5857"/>
              </a:cxn>
              <a:cxn ang="0">
                <a:pos x="connsiteX5858" y="connsiteY5858"/>
              </a:cxn>
              <a:cxn ang="0">
                <a:pos x="connsiteX5859" y="connsiteY5859"/>
              </a:cxn>
              <a:cxn ang="0">
                <a:pos x="connsiteX5860" y="connsiteY5860"/>
              </a:cxn>
              <a:cxn ang="0">
                <a:pos x="connsiteX5861" y="connsiteY5861"/>
              </a:cxn>
              <a:cxn ang="0">
                <a:pos x="connsiteX5862" y="connsiteY5862"/>
              </a:cxn>
              <a:cxn ang="0">
                <a:pos x="connsiteX5863" y="connsiteY5863"/>
              </a:cxn>
              <a:cxn ang="0">
                <a:pos x="connsiteX5864" y="connsiteY5864"/>
              </a:cxn>
              <a:cxn ang="0">
                <a:pos x="connsiteX5865" y="connsiteY5865"/>
              </a:cxn>
              <a:cxn ang="0">
                <a:pos x="connsiteX5866" y="connsiteY5866"/>
              </a:cxn>
              <a:cxn ang="0">
                <a:pos x="connsiteX5867" y="connsiteY5867"/>
              </a:cxn>
              <a:cxn ang="0">
                <a:pos x="connsiteX5868" y="connsiteY5868"/>
              </a:cxn>
              <a:cxn ang="0">
                <a:pos x="connsiteX5869" y="connsiteY5869"/>
              </a:cxn>
              <a:cxn ang="0">
                <a:pos x="connsiteX5870" y="connsiteY5870"/>
              </a:cxn>
              <a:cxn ang="0">
                <a:pos x="connsiteX5871" y="connsiteY5871"/>
              </a:cxn>
              <a:cxn ang="0">
                <a:pos x="connsiteX5872" y="connsiteY5872"/>
              </a:cxn>
              <a:cxn ang="0">
                <a:pos x="connsiteX5873" y="connsiteY5873"/>
              </a:cxn>
              <a:cxn ang="0">
                <a:pos x="connsiteX5874" y="connsiteY5874"/>
              </a:cxn>
              <a:cxn ang="0">
                <a:pos x="connsiteX5875" y="connsiteY5875"/>
              </a:cxn>
              <a:cxn ang="0">
                <a:pos x="connsiteX5876" y="connsiteY5876"/>
              </a:cxn>
              <a:cxn ang="0">
                <a:pos x="connsiteX5877" y="connsiteY5877"/>
              </a:cxn>
              <a:cxn ang="0">
                <a:pos x="connsiteX5878" y="connsiteY5878"/>
              </a:cxn>
              <a:cxn ang="0">
                <a:pos x="connsiteX5879" y="connsiteY5879"/>
              </a:cxn>
              <a:cxn ang="0">
                <a:pos x="connsiteX5880" y="connsiteY5880"/>
              </a:cxn>
              <a:cxn ang="0">
                <a:pos x="connsiteX5881" y="connsiteY5881"/>
              </a:cxn>
              <a:cxn ang="0">
                <a:pos x="connsiteX5882" y="connsiteY5882"/>
              </a:cxn>
              <a:cxn ang="0">
                <a:pos x="connsiteX5883" y="connsiteY5883"/>
              </a:cxn>
              <a:cxn ang="0">
                <a:pos x="connsiteX5884" y="connsiteY5884"/>
              </a:cxn>
              <a:cxn ang="0">
                <a:pos x="connsiteX5885" y="connsiteY5885"/>
              </a:cxn>
              <a:cxn ang="0">
                <a:pos x="connsiteX5886" y="connsiteY5886"/>
              </a:cxn>
              <a:cxn ang="0">
                <a:pos x="connsiteX5887" y="connsiteY5887"/>
              </a:cxn>
              <a:cxn ang="0">
                <a:pos x="connsiteX5888" y="connsiteY5888"/>
              </a:cxn>
              <a:cxn ang="0">
                <a:pos x="connsiteX5889" y="connsiteY5889"/>
              </a:cxn>
              <a:cxn ang="0">
                <a:pos x="connsiteX5890" y="connsiteY5890"/>
              </a:cxn>
              <a:cxn ang="0">
                <a:pos x="connsiteX5891" y="connsiteY5891"/>
              </a:cxn>
              <a:cxn ang="0">
                <a:pos x="connsiteX5892" y="connsiteY5892"/>
              </a:cxn>
              <a:cxn ang="0">
                <a:pos x="connsiteX5893" y="connsiteY5893"/>
              </a:cxn>
              <a:cxn ang="0">
                <a:pos x="connsiteX5894" y="connsiteY5894"/>
              </a:cxn>
              <a:cxn ang="0">
                <a:pos x="connsiteX5895" y="connsiteY5895"/>
              </a:cxn>
              <a:cxn ang="0">
                <a:pos x="connsiteX5896" y="connsiteY5896"/>
              </a:cxn>
              <a:cxn ang="0">
                <a:pos x="connsiteX5897" y="connsiteY5897"/>
              </a:cxn>
              <a:cxn ang="0">
                <a:pos x="connsiteX5898" y="connsiteY5898"/>
              </a:cxn>
              <a:cxn ang="0">
                <a:pos x="connsiteX5899" y="connsiteY5899"/>
              </a:cxn>
              <a:cxn ang="0">
                <a:pos x="connsiteX5900" y="connsiteY5900"/>
              </a:cxn>
              <a:cxn ang="0">
                <a:pos x="connsiteX5901" y="connsiteY5901"/>
              </a:cxn>
              <a:cxn ang="0">
                <a:pos x="connsiteX5902" y="connsiteY5902"/>
              </a:cxn>
              <a:cxn ang="0">
                <a:pos x="connsiteX5903" y="connsiteY5903"/>
              </a:cxn>
              <a:cxn ang="0">
                <a:pos x="connsiteX5904" y="connsiteY5904"/>
              </a:cxn>
              <a:cxn ang="0">
                <a:pos x="connsiteX5905" y="connsiteY5905"/>
              </a:cxn>
              <a:cxn ang="0">
                <a:pos x="connsiteX5906" y="connsiteY5906"/>
              </a:cxn>
              <a:cxn ang="0">
                <a:pos x="connsiteX5907" y="connsiteY5907"/>
              </a:cxn>
              <a:cxn ang="0">
                <a:pos x="connsiteX5908" y="connsiteY5908"/>
              </a:cxn>
              <a:cxn ang="0">
                <a:pos x="connsiteX5909" y="connsiteY5909"/>
              </a:cxn>
              <a:cxn ang="0">
                <a:pos x="connsiteX5910" y="connsiteY5910"/>
              </a:cxn>
              <a:cxn ang="0">
                <a:pos x="connsiteX5911" y="connsiteY5911"/>
              </a:cxn>
              <a:cxn ang="0">
                <a:pos x="connsiteX5912" y="connsiteY5912"/>
              </a:cxn>
              <a:cxn ang="0">
                <a:pos x="connsiteX5913" y="connsiteY5913"/>
              </a:cxn>
              <a:cxn ang="0">
                <a:pos x="connsiteX5914" y="connsiteY5914"/>
              </a:cxn>
              <a:cxn ang="0">
                <a:pos x="connsiteX5915" y="connsiteY5915"/>
              </a:cxn>
              <a:cxn ang="0">
                <a:pos x="connsiteX5916" y="connsiteY5916"/>
              </a:cxn>
              <a:cxn ang="0">
                <a:pos x="connsiteX5917" y="connsiteY5917"/>
              </a:cxn>
              <a:cxn ang="0">
                <a:pos x="connsiteX5918" y="connsiteY5918"/>
              </a:cxn>
              <a:cxn ang="0">
                <a:pos x="connsiteX5919" y="connsiteY5919"/>
              </a:cxn>
              <a:cxn ang="0">
                <a:pos x="connsiteX5920" y="connsiteY5920"/>
              </a:cxn>
              <a:cxn ang="0">
                <a:pos x="connsiteX5921" y="connsiteY5921"/>
              </a:cxn>
              <a:cxn ang="0">
                <a:pos x="connsiteX5922" y="connsiteY5922"/>
              </a:cxn>
              <a:cxn ang="0">
                <a:pos x="connsiteX5923" y="connsiteY5923"/>
              </a:cxn>
              <a:cxn ang="0">
                <a:pos x="connsiteX5924" y="connsiteY5924"/>
              </a:cxn>
              <a:cxn ang="0">
                <a:pos x="connsiteX5925" y="connsiteY5925"/>
              </a:cxn>
              <a:cxn ang="0">
                <a:pos x="connsiteX5926" y="connsiteY5926"/>
              </a:cxn>
              <a:cxn ang="0">
                <a:pos x="connsiteX5927" y="connsiteY5927"/>
              </a:cxn>
              <a:cxn ang="0">
                <a:pos x="connsiteX5928" y="connsiteY5928"/>
              </a:cxn>
              <a:cxn ang="0">
                <a:pos x="connsiteX5929" y="connsiteY5929"/>
              </a:cxn>
              <a:cxn ang="0">
                <a:pos x="connsiteX5930" y="connsiteY5930"/>
              </a:cxn>
              <a:cxn ang="0">
                <a:pos x="connsiteX5931" y="connsiteY5931"/>
              </a:cxn>
              <a:cxn ang="0">
                <a:pos x="connsiteX5932" y="connsiteY5932"/>
              </a:cxn>
              <a:cxn ang="0">
                <a:pos x="connsiteX5933" y="connsiteY5933"/>
              </a:cxn>
              <a:cxn ang="0">
                <a:pos x="connsiteX5934" y="connsiteY5934"/>
              </a:cxn>
              <a:cxn ang="0">
                <a:pos x="connsiteX5935" y="connsiteY5935"/>
              </a:cxn>
              <a:cxn ang="0">
                <a:pos x="connsiteX5936" y="connsiteY5936"/>
              </a:cxn>
              <a:cxn ang="0">
                <a:pos x="connsiteX5937" y="connsiteY5937"/>
              </a:cxn>
              <a:cxn ang="0">
                <a:pos x="connsiteX5938" y="connsiteY5938"/>
              </a:cxn>
              <a:cxn ang="0">
                <a:pos x="connsiteX5939" y="connsiteY5939"/>
              </a:cxn>
              <a:cxn ang="0">
                <a:pos x="connsiteX5940" y="connsiteY5940"/>
              </a:cxn>
              <a:cxn ang="0">
                <a:pos x="connsiteX5941" y="connsiteY5941"/>
              </a:cxn>
              <a:cxn ang="0">
                <a:pos x="connsiteX5942" y="connsiteY5942"/>
              </a:cxn>
              <a:cxn ang="0">
                <a:pos x="connsiteX5943" y="connsiteY5943"/>
              </a:cxn>
              <a:cxn ang="0">
                <a:pos x="connsiteX5944" y="connsiteY5944"/>
              </a:cxn>
              <a:cxn ang="0">
                <a:pos x="connsiteX5945" y="connsiteY5945"/>
              </a:cxn>
              <a:cxn ang="0">
                <a:pos x="connsiteX5946" y="connsiteY5946"/>
              </a:cxn>
              <a:cxn ang="0">
                <a:pos x="connsiteX5947" y="connsiteY5947"/>
              </a:cxn>
              <a:cxn ang="0">
                <a:pos x="connsiteX5948" y="connsiteY5948"/>
              </a:cxn>
              <a:cxn ang="0">
                <a:pos x="connsiteX5949" y="connsiteY5949"/>
              </a:cxn>
              <a:cxn ang="0">
                <a:pos x="connsiteX5950" y="connsiteY5950"/>
              </a:cxn>
              <a:cxn ang="0">
                <a:pos x="connsiteX5951" y="connsiteY5951"/>
              </a:cxn>
              <a:cxn ang="0">
                <a:pos x="connsiteX5952" y="connsiteY5952"/>
              </a:cxn>
              <a:cxn ang="0">
                <a:pos x="connsiteX5953" y="connsiteY5953"/>
              </a:cxn>
              <a:cxn ang="0">
                <a:pos x="connsiteX5954" y="connsiteY5954"/>
              </a:cxn>
              <a:cxn ang="0">
                <a:pos x="connsiteX5955" y="connsiteY5955"/>
              </a:cxn>
              <a:cxn ang="0">
                <a:pos x="connsiteX5956" y="connsiteY5956"/>
              </a:cxn>
              <a:cxn ang="0">
                <a:pos x="connsiteX5957" y="connsiteY5957"/>
              </a:cxn>
              <a:cxn ang="0">
                <a:pos x="connsiteX5958" y="connsiteY5958"/>
              </a:cxn>
              <a:cxn ang="0">
                <a:pos x="connsiteX5959" y="connsiteY5959"/>
              </a:cxn>
              <a:cxn ang="0">
                <a:pos x="connsiteX5960" y="connsiteY5960"/>
              </a:cxn>
              <a:cxn ang="0">
                <a:pos x="connsiteX5961" y="connsiteY5961"/>
              </a:cxn>
              <a:cxn ang="0">
                <a:pos x="connsiteX5962" y="connsiteY5962"/>
              </a:cxn>
              <a:cxn ang="0">
                <a:pos x="connsiteX5963" y="connsiteY5963"/>
              </a:cxn>
              <a:cxn ang="0">
                <a:pos x="connsiteX5964" y="connsiteY5964"/>
              </a:cxn>
              <a:cxn ang="0">
                <a:pos x="connsiteX5965" y="connsiteY5965"/>
              </a:cxn>
              <a:cxn ang="0">
                <a:pos x="connsiteX5966" y="connsiteY5966"/>
              </a:cxn>
              <a:cxn ang="0">
                <a:pos x="connsiteX5967" y="connsiteY5967"/>
              </a:cxn>
              <a:cxn ang="0">
                <a:pos x="connsiteX5968" y="connsiteY5968"/>
              </a:cxn>
              <a:cxn ang="0">
                <a:pos x="connsiteX5969" y="connsiteY5969"/>
              </a:cxn>
              <a:cxn ang="0">
                <a:pos x="connsiteX5970" y="connsiteY5970"/>
              </a:cxn>
              <a:cxn ang="0">
                <a:pos x="connsiteX5971" y="connsiteY5971"/>
              </a:cxn>
              <a:cxn ang="0">
                <a:pos x="connsiteX5972" y="connsiteY5972"/>
              </a:cxn>
              <a:cxn ang="0">
                <a:pos x="connsiteX5973" y="connsiteY5973"/>
              </a:cxn>
              <a:cxn ang="0">
                <a:pos x="connsiteX5974" y="connsiteY5974"/>
              </a:cxn>
              <a:cxn ang="0">
                <a:pos x="connsiteX5975" y="connsiteY5975"/>
              </a:cxn>
              <a:cxn ang="0">
                <a:pos x="connsiteX5976" y="connsiteY5976"/>
              </a:cxn>
              <a:cxn ang="0">
                <a:pos x="connsiteX5977" y="connsiteY5977"/>
              </a:cxn>
              <a:cxn ang="0">
                <a:pos x="connsiteX5978" y="connsiteY5978"/>
              </a:cxn>
              <a:cxn ang="0">
                <a:pos x="connsiteX5979" y="connsiteY5979"/>
              </a:cxn>
              <a:cxn ang="0">
                <a:pos x="connsiteX5980" y="connsiteY5980"/>
              </a:cxn>
              <a:cxn ang="0">
                <a:pos x="connsiteX5981" y="connsiteY5981"/>
              </a:cxn>
              <a:cxn ang="0">
                <a:pos x="connsiteX5982" y="connsiteY5982"/>
              </a:cxn>
              <a:cxn ang="0">
                <a:pos x="connsiteX5983" y="connsiteY5983"/>
              </a:cxn>
              <a:cxn ang="0">
                <a:pos x="connsiteX5984" y="connsiteY5984"/>
              </a:cxn>
              <a:cxn ang="0">
                <a:pos x="connsiteX5985" y="connsiteY5985"/>
              </a:cxn>
              <a:cxn ang="0">
                <a:pos x="connsiteX5986" y="connsiteY5986"/>
              </a:cxn>
              <a:cxn ang="0">
                <a:pos x="connsiteX5987" y="connsiteY5987"/>
              </a:cxn>
              <a:cxn ang="0">
                <a:pos x="connsiteX5988" y="connsiteY5988"/>
              </a:cxn>
              <a:cxn ang="0">
                <a:pos x="connsiteX5989" y="connsiteY5989"/>
              </a:cxn>
              <a:cxn ang="0">
                <a:pos x="connsiteX5990" y="connsiteY5990"/>
              </a:cxn>
              <a:cxn ang="0">
                <a:pos x="connsiteX5991" y="connsiteY5991"/>
              </a:cxn>
              <a:cxn ang="0">
                <a:pos x="connsiteX5992" y="connsiteY5992"/>
              </a:cxn>
              <a:cxn ang="0">
                <a:pos x="connsiteX5993" y="connsiteY5993"/>
              </a:cxn>
              <a:cxn ang="0">
                <a:pos x="connsiteX5994" y="connsiteY5994"/>
              </a:cxn>
              <a:cxn ang="0">
                <a:pos x="connsiteX5995" y="connsiteY5995"/>
              </a:cxn>
              <a:cxn ang="0">
                <a:pos x="connsiteX5996" y="connsiteY5996"/>
              </a:cxn>
              <a:cxn ang="0">
                <a:pos x="connsiteX5997" y="connsiteY5997"/>
              </a:cxn>
              <a:cxn ang="0">
                <a:pos x="connsiteX5998" y="connsiteY5998"/>
              </a:cxn>
              <a:cxn ang="0">
                <a:pos x="connsiteX5999" y="connsiteY5999"/>
              </a:cxn>
              <a:cxn ang="0">
                <a:pos x="connsiteX6000" y="connsiteY6000"/>
              </a:cxn>
              <a:cxn ang="0">
                <a:pos x="connsiteX6001" y="connsiteY6001"/>
              </a:cxn>
              <a:cxn ang="0">
                <a:pos x="connsiteX6002" y="connsiteY6002"/>
              </a:cxn>
              <a:cxn ang="0">
                <a:pos x="connsiteX6003" y="connsiteY6003"/>
              </a:cxn>
              <a:cxn ang="0">
                <a:pos x="connsiteX6004" y="connsiteY6004"/>
              </a:cxn>
              <a:cxn ang="0">
                <a:pos x="connsiteX6005" y="connsiteY6005"/>
              </a:cxn>
              <a:cxn ang="0">
                <a:pos x="connsiteX6006" y="connsiteY6006"/>
              </a:cxn>
              <a:cxn ang="0">
                <a:pos x="connsiteX6007" y="connsiteY6007"/>
              </a:cxn>
              <a:cxn ang="0">
                <a:pos x="connsiteX6008" y="connsiteY6008"/>
              </a:cxn>
              <a:cxn ang="0">
                <a:pos x="connsiteX6009" y="connsiteY6009"/>
              </a:cxn>
              <a:cxn ang="0">
                <a:pos x="connsiteX6010" y="connsiteY6010"/>
              </a:cxn>
              <a:cxn ang="0">
                <a:pos x="connsiteX6011" y="connsiteY6011"/>
              </a:cxn>
              <a:cxn ang="0">
                <a:pos x="connsiteX6012" y="connsiteY6012"/>
              </a:cxn>
              <a:cxn ang="0">
                <a:pos x="connsiteX6013" y="connsiteY6013"/>
              </a:cxn>
              <a:cxn ang="0">
                <a:pos x="connsiteX6014" y="connsiteY6014"/>
              </a:cxn>
              <a:cxn ang="0">
                <a:pos x="connsiteX6015" y="connsiteY6015"/>
              </a:cxn>
              <a:cxn ang="0">
                <a:pos x="connsiteX6016" y="connsiteY6016"/>
              </a:cxn>
              <a:cxn ang="0">
                <a:pos x="connsiteX6017" y="connsiteY6017"/>
              </a:cxn>
              <a:cxn ang="0">
                <a:pos x="connsiteX6018" y="connsiteY6018"/>
              </a:cxn>
              <a:cxn ang="0">
                <a:pos x="connsiteX6019" y="connsiteY6019"/>
              </a:cxn>
              <a:cxn ang="0">
                <a:pos x="connsiteX6020" y="connsiteY6020"/>
              </a:cxn>
              <a:cxn ang="0">
                <a:pos x="connsiteX6021" y="connsiteY6021"/>
              </a:cxn>
              <a:cxn ang="0">
                <a:pos x="connsiteX6022" y="connsiteY6022"/>
              </a:cxn>
              <a:cxn ang="0">
                <a:pos x="connsiteX6023" y="connsiteY6023"/>
              </a:cxn>
              <a:cxn ang="0">
                <a:pos x="connsiteX6024" y="connsiteY6024"/>
              </a:cxn>
              <a:cxn ang="0">
                <a:pos x="connsiteX6025" y="connsiteY6025"/>
              </a:cxn>
              <a:cxn ang="0">
                <a:pos x="connsiteX6026" y="connsiteY6026"/>
              </a:cxn>
              <a:cxn ang="0">
                <a:pos x="connsiteX6027" y="connsiteY6027"/>
              </a:cxn>
              <a:cxn ang="0">
                <a:pos x="connsiteX6028" y="connsiteY6028"/>
              </a:cxn>
              <a:cxn ang="0">
                <a:pos x="connsiteX6029" y="connsiteY6029"/>
              </a:cxn>
              <a:cxn ang="0">
                <a:pos x="connsiteX6030" y="connsiteY6030"/>
              </a:cxn>
              <a:cxn ang="0">
                <a:pos x="connsiteX6031" y="connsiteY6031"/>
              </a:cxn>
              <a:cxn ang="0">
                <a:pos x="connsiteX6032" y="connsiteY6032"/>
              </a:cxn>
              <a:cxn ang="0">
                <a:pos x="connsiteX6033" y="connsiteY6033"/>
              </a:cxn>
              <a:cxn ang="0">
                <a:pos x="connsiteX6034" y="connsiteY6034"/>
              </a:cxn>
              <a:cxn ang="0">
                <a:pos x="connsiteX6035" y="connsiteY6035"/>
              </a:cxn>
              <a:cxn ang="0">
                <a:pos x="connsiteX6036" y="connsiteY6036"/>
              </a:cxn>
              <a:cxn ang="0">
                <a:pos x="connsiteX6037" y="connsiteY6037"/>
              </a:cxn>
              <a:cxn ang="0">
                <a:pos x="connsiteX6038" y="connsiteY6038"/>
              </a:cxn>
              <a:cxn ang="0">
                <a:pos x="connsiteX6039" y="connsiteY6039"/>
              </a:cxn>
              <a:cxn ang="0">
                <a:pos x="connsiteX6040" y="connsiteY6040"/>
              </a:cxn>
              <a:cxn ang="0">
                <a:pos x="connsiteX6041" y="connsiteY6041"/>
              </a:cxn>
              <a:cxn ang="0">
                <a:pos x="connsiteX6042" y="connsiteY6042"/>
              </a:cxn>
              <a:cxn ang="0">
                <a:pos x="connsiteX6043" y="connsiteY6043"/>
              </a:cxn>
              <a:cxn ang="0">
                <a:pos x="connsiteX6044" y="connsiteY6044"/>
              </a:cxn>
              <a:cxn ang="0">
                <a:pos x="connsiteX6045" y="connsiteY6045"/>
              </a:cxn>
              <a:cxn ang="0">
                <a:pos x="connsiteX6046" y="connsiteY6046"/>
              </a:cxn>
              <a:cxn ang="0">
                <a:pos x="connsiteX6047" y="connsiteY6047"/>
              </a:cxn>
              <a:cxn ang="0">
                <a:pos x="connsiteX6048" y="connsiteY6048"/>
              </a:cxn>
              <a:cxn ang="0">
                <a:pos x="connsiteX6049" y="connsiteY6049"/>
              </a:cxn>
              <a:cxn ang="0">
                <a:pos x="connsiteX6050" y="connsiteY6050"/>
              </a:cxn>
              <a:cxn ang="0">
                <a:pos x="connsiteX6051" y="connsiteY6051"/>
              </a:cxn>
              <a:cxn ang="0">
                <a:pos x="connsiteX6052" y="connsiteY6052"/>
              </a:cxn>
              <a:cxn ang="0">
                <a:pos x="connsiteX6053" y="connsiteY6053"/>
              </a:cxn>
              <a:cxn ang="0">
                <a:pos x="connsiteX6054" y="connsiteY6054"/>
              </a:cxn>
              <a:cxn ang="0">
                <a:pos x="connsiteX6055" y="connsiteY6055"/>
              </a:cxn>
              <a:cxn ang="0">
                <a:pos x="connsiteX6056" y="connsiteY6056"/>
              </a:cxn>
              <a:cxn ang="0">
                <a:pos x="connsiteX6057" y="connsiteY6057"/>
              </a:cxn>
              <a:cxn ang="0">
                <a:pos x="connsiteX6058" y="connsiteY6058"/>
              </a:cxn>
              <a:cxn ang="0">
                <a:pos x="connsiteX6059" y="connsiteY6059"/>
              </a:cxn>
              <a:cxn ang="0">
                <a:pos x="connsiteX6060" y="connsiteY6060"/>
              </a:cxn>
              <a:cxn ang="0">
                <a:pos x="connsiteX6061" y="connsiteY6061"/>
              </a:cxn>
              <a:cxn ang="0">
                <a:pos x="connsiteX6062" y="connsiteY6062"/>
              </a:cxn>
              <a:cxn ang="0">
                <a:pos x="connsiteX6063" y="connsiteY6063"/>
              </a:cxn>
              <a:cxn ang="0">
                <a:pos x="connsiteX6064" y="connsiteY6064"/>
              </a:cxn>
              <a:cxn ang="0">
                <a:pos x="connsiteX6065" y="connsiteY6065"/>
              </a:cxn>
              <a:cxn ang="0">
                <a:pos x="connsiteX6066" y="connsiteY6066"/>
              </a:cxn>
              <a:cxn ang="0">
                <a:pos x="connsiteX6067" y="connsiteY6067"/>
              </a:cxn>
              <a:cxn ang="0">
                <a:pos x="connsiteX6068" y="connsiteY6068"/>
              </a:cxn>
              <a:cxn ang="0">
                <a:pos x="connsiteX6069" y="connsiteY6069"/>
              </a:cxn>
              <a:cxn ang="0">
                <a:pos x="connsiteX6070" y="connsiteY6070"/>
              </a:cxn>
              <a:cxn ang="0">
                <a:pos x="connsiteX6071" y="connsiteY6071"/>
              </a:cxn>
              <a:cxn ang="0">
                <a:pos x="connsiteX6072" y="connsiteY6072"/>
              </a:cxn>
              <a:cxn ang="0">
                <a:pos x="connsiteX6073" y="connsiteY6073"/>
              </a:cxn>
              <a:cxn ang="0">
                <a:pos x="connsiteX6074" y="connsiteY6074"/>
              </a:cxn>
              <a:cxn ang="0">
                <a:pos x="connsiteX6075" y="connsiteY6075"/>
              </a:cxn>
              <a:cxn ang="0">
                <a:pos x="connsiteX6076" y="connsiteY6076"/>
              </a:cxn>
              <a:cxn ang="0">
                <a:pos x="connsiteX6077" y="connsiteY6077"/>
              </a:cxn>
              <a:cxn ang="0">
                <a:pos x="connsiteX6078" y="connsiteY6078"/>
              </a:cxn>
              <a:cxn ang="0">
                <a:pos x="connsiteX6079" y="connsiteY6079"/>
              </a:cxn>
              <a:cxn ang="0">
                <a:pos x="connsiteX6080" y="connsiteY6080"/>
              </a:cxn>
              <a:cxn ang="0">
                <a:pos x="connsiteX6081" y="connsiteY6081"/>
              </a:cxn>
              <a:cxn ang="0">
                <a:pos x="connsiteX6082" y="connsiteY6082"/>
              </a:cxn>
              <a:cxn ang="0">
                <a:pos x="connsiteX6083" y="connsiteY6083"/>
              </a:cxn>
              <a:cxn ang="0">
                <a:pos x="connsiteX6084" y="connsiteY6084"/>
              </a:cxn>
              <a:cxn ang="0">
                <a:pos x="connsiteX6085" y="connsiteY6085"/>
              </a:cxn>
              <a:cxn ang="0">
                <a:pos x="connsiteX6086" y="connsiteY6086"/>
              </a:cxn>
              <a:cxn ang="0">
                <a:pos x="connsiteX6087" y="connsiteY6087"/>
              </a:cxn>
              <a:cxn ang="0">
                <a:pos x="connsiteX6088" y="connsiteY6088"/>
              </a:cxn>
              <a:cxn ang="0">
                <a:pos x="connsiteX6089" y="connsiteY6089"/>
              </a:cxn>
              <a:cxn ang="0">
                <a:pos x="connsiteX6090" y="connsiteY6090"/>
              </a:cxn>
              <a:cxn ang="0">
                <a:pos x="connsiteX6091" y="connsiteY6091"/>
              </a:cxn>
              <a:cxn ang="0">
                <a:pos x="connsiteX6092" y="connsiteY6092"/>
              </a:cxn>
              <a:cxn ang="0">
                <a:pos x="connsiteX6093" y="connsiteY6093"/>
              </a:cxn>
              <a:cxn ang="0">
                <a:pos x="connsiteX6094" y="connsiteY6094"/>
              </a:cxn>
              <a:cxn ang="0">
                <a:pos x="connsiteX6095" y="connsiteY6095"/>
              </a:cxn>
              <a:cxn ang="0">
                <a:pos x="connsiteX6096" y="connsiteY6096"/>
              </a:cxn>
              <a:cxn ang="0">
                <a:pos x="connsiteX6097" y="connsiteY6097"/>
              </a:cxn>
              <a:cxn ang="0">
                <a:pos x="connsiteX6098" y="connsiteY6098"/>
              </a:cxn>
              <a:cxn ang="0">
                <a:pos x="connsiteX6099" y="connsiteY6099"/>
              </a:cxn>
              <a:cxn ang="0">
                <a:pos x="connsiteX6100" y="connsiteY6100"/>
              </a:cxn>
              <a:cxn ang="0">
                <a:pos x="connsiteX6101" y="connsiteY6101"/>
              </a:cxn>
              <a:cxn ang="0">
                <a:pos x="connsiteX6102" y="connsiteY6102"/>
              </a:cxn>
              <a:cxn ang="0">
                <a:pos x="connsiteX6103" y="connsiteY6103"/>
              </a:cxn>
              <a:cxn ang="0">
                <a:pos x="connsiteX6104" y="connsiteY6104"/>
              </a:cxn>
              <a:cxn ang="0">
                <a:pos x="connsiteX6105" y="connsiteY6105"/>
              </a:cxn>
              <a:cxn ang="0">
                <a:pos x="connsiteX6106" y="connsiteY6106"/>
              </a:cxn>
              <a:cxn ang="0">
                <a:pos x="connsiteX6107" y="connsiteY6107"/>
              </a:cxn>
              <a:cxn ang="0">
                <a:pos x="connsiteX6108" y="connsiteY6108"/>
              </a:cxn>
              <a:cxn ang="0">
                <a:pos x="connsiteX6109" y="connsiteY6109"/>
              </a:cxn>
              <a:cxn ang="0">
                <a:pos x="connsiteX6110" y="connsiteY6110"/>
              </a:cxn>
              <a:cxn ang="0">
                <a:pos x="connsiteX6111" y="connsiteY6111"/>
              </a:cxn>
              <a:cxn ang="0">
                <a:pos x="connsiteX6112" y="connsiteY6112"/>
              </a:cxn>
              <a:cxn ang="0">
                <a:pos x="connsiteX6113" y="connsiteY6113"/>
              </a:cxn>
              <a:cxn ang="0">
                <a:pos x="connsiteX6114" y="connsiteY6114"/>
              </a:cxn>
              <a:cxn ang="0">
                <a:pos x="connsiteX6115" y="connsiteY6115"/>
              </a:cxn>
              <a:cxn ang="0">
                <a:pos x="connsiteX6116" y="connsiteY6116"/>
              </a:cxn>
              <a:cxn ang="0">
                <a:pos x="connsiteX6117" y="connsiteY6117"/>
              </a:cxn>
              <a:cxn ang="0">
                <a:pos x="connsiteX6118" y="connsiteY6118"/>
              </a:cxn>
              <a:cxn ang="0">
                <a:pos x="connsiteX6119" y="connsiteY6119"/>
              </a:cxn>
              <a:cxn ang="0">
                <a:pos x="connsiteX6120" y="connsiteY6120"/>
              </a:cxn>
              <a:cxn ang="0">
                <a:pos x="connsiteX6121" y="connsiteY6121"/>
              </a:cxn>
              <a:cxn ang="0">
                <a:pos x="connsiteX6122" y="connsiteY6122"/>
              </a:cxn>
              <a:cxn ang="0">
                <a:pos x="connsiteX6123" y="connsiteY6123"/>
              </a:cxn>
              <a:cxn ang="0">
                <a:pos x="connsiteX6124" y="connsiteY6124"/>
              </a:cxn>
              <a:cxn ang="0">
                <a:pos x="connsiteX6125" y="connsiteY6125"/>
              </a:cxn>
              <a:cxn ang="0">
                <a:pos x="connsiteX6126" y="connsiteY6126"/>
              </a:cxn>
              <a:cxn ang="0">
                <a:pos x="connsiteX6127" y="connsiteY6127"/>
              </a:cxn>
              <a:cxn ang="0">
                <a:pos x="connsiteX6128" y="connsiteY6128"/>
              </a:cxn>
              <a:cxn ang="0">
                <a:pos x="connsiteX6129" y="connsiteY6129"/>
              </a:cxn>
              <a:cxn ang="0">
                <a:pos x="connsiteX6130" y="connsiteY6130"/>
              </a:cxn>
              <a:cxn ang="0">
                <a:pos x="connsiteX6131" y="connsiteY6131"/>
              </a:cxn>
              <a:cxn ang="0">
                <a:pos x="connsiteX6132" y="connsiteY6132"/>
              </a:cxn>
              <a:cxn ang="0">
                <a:pos x="connsiteX6133" y="connsiteY6133"/>
              </a:cxn>
              <a:cxn ang="0">
                <a:pos x="connsiteX6134" y="connsiteY6134"/>
              </a:cxn>
              <a:cxn ang="0">
                <a:pos x="connsiteX6135" y="connsiteY6135"/>
              </a:cxn>
              <a:cxn ang="0">
                <a:pos x="connsiteX6136" y="connsiteY6136"/>
              </a:cxn>
              <a:cxn ang="0">
                <a:pos x="connsiteX6137" y="connsiteY6137"/>
              </a:cxn>
              <a:cxn ang="0">
                <a:pos x="connsiteX6138" y="connsiteY6138"/>
              </a:cxn>
              <a:cxn ang="0">
                <a:pos x="connsiteX6139" y="connsiteY6139"/>
              </a:cxn>
              <a:cxn ang="0">
                <a:pos x="connsiteX6140" y="connsiteY6140"/>
              </a:cxn>
              <a:cxn ang="0">
                <a:pos x="connsiteX6141" y="connsiteY6141"/>
              </a:cxn>
              <a:cxn ang="0">
                <a:pos x="connsiteX6142" y="connsiteY6142"/>
              </a:cxn>
              <a:cxn ang="0">
                <a:pos x="connsiteX6143" y="connsiteY6143"/>
              </a:cxn>
              <a:cxn ang="0">
                <a:pos x="connsiteX6144" y="connsiteY6144"/>
              </a:cxn>
              <a:cxn ang="0">
                <a:pos x="connsiteX6145" y="connsiteY6145"/>
              </a:cxn>
              <a:cxn ang="0">
                <a:pos x="connsiteX6146" y="connsiteY6146"/>
              </a:cxn>
              <a:cxn ang="0">
                <a:pos x="connsiteX6147" y="connsiteY6147"/>
              </a:cxn>
              <a:cxn ang="0">
                <a:pos x="connsiteX6148" y="connsiteY6148"/>
              </a:cxn>
              <a:cxn ang="0">
                <a:pos x="connsiteX6149" y="connsiteY6149"/>
              </a:cxn>
              <a:cxn ang="0">
                <a:pos x="connsiteX6150" y="connsiteY6150"/>
              </a:cxn>
              <a:cxn ang="0">
                <a:pos x="connsiteX6151" y="connsiteY6151"/>
              </a:cxn>
              <a:cxn ang="0">
                <a:pos x="connsiteX6152" y="connsiteY6152"/>
              </a:cxn>
              <a:cxn ang="0">
                <a:pos x="connsiteX6153" y="connsiteY6153"/>
              </a:cxn>
              <a:cxn ang="0">
                <a:pos x="connsiteX6154" y="connsiteY6154"/>
              </a:cxn>
              <a:cxn ang="0">
                <a:pos x="connsiteX6155" y="connsiteY6155"/>
              </a:cxn>
              <a:cxn ang="0">
                <a:pos x="connsiteX6156" y="connsiteY6156"/>
              </a:cxn>
              <a:cxn ang="0">
                <a:pos x="connsiteX6157" y="connsiteY6157"/>
              </a:cxn>
              <a:cxn ang="0">
                <a:pos x="connsiteX6158" y="connsiteY6158"/>
              </a:cxn>
              <a:cxn ang="0">
                <a:pos x="connsiteX6159" y="connsiteY6159"/>
              </a:cxn>
              <a:cxn ang="0">
                <a:pos x="connsiteX6160" y="connsiteY6160"/>
              </a:cxn>
              <a:cxn ang="0">
                <a:pos x="connsiteX6161" y="connsiteY6161"/>
              </a:cxn>
              <a:cxn ang="0">
                <a:pos x="connsiteX6162" y="connsiteY6162"/>
              </a:cxn>
              <a:cxn ang="0">
                <a:pos x="connsiteX6163" y="connsiteY6163"/>
              </a:cxn>
              <a:cxn ang="0">
                <a:pos x="connsiteX6164" y="connsiteY6164"/>
              </a:cxn>
              <a:cxn ang="0">
                <a:pos x="connsiteX6165" y="connsiteY6165"/>
              </a:cxn>
              <a:cxn ang="0">
                <a:pos x="connsiteX6166" y="connsiteY6166"/>
              </a:cxn>
              <a:cxn ang="0">
                <a:pos x="connsiteX6167" y="connsiteY6167"/>
              </a:cxn>
              <a:cxn ang="0">
                <a:pos x="connsiteX6168" y="connsiteY6168"/>
              </a:cxn>
              <a:cxn ang="0">
                <a:pos x="connsiteX6169" y="connsiteY6169"/>
              </a:cxn>
              <a:cxn ang="0">
                <a:pos x="connsiteX6170" y="connsiteY6170"/>
              </a:cxn>
              <a:cxn ang="0">
                <a:pos x="connsiteX6171" y="connsiteY6171"/>
              </a:cxn>
              <a:cxn ang="0">
                <a:pos x="connsiteX6172" y="connsiteY6172"/>
              </a:cxn>
              <a:cxn ang="0">
                <a:pos x="connsiteX6173" y="connsiteY6173"/>
              </a:cxn>
              <a:cxn ang="0">
                <a:pos x="connsiteX6174" y="connsiteY6174"/>
              </a:cxn>
              <a:cxn ang="0">
                <a:pos x="connsiteX6175" y="connsiteY6175"/>
              </a:cxn>
              <a:cxn ang="0">
                <a:pos x="connsiteX6176" y="connsiteY6176"/>
              </a:cxn>
              <a:cxn ang="0">
                <a:pos x="connsiteX6177" y="connsiteY6177"/>
              </a:cxn>
              <a:cxn ang="0">
                <a:pos x="connsiteX6178" y="connsiteY6178"/>
              </a:cxn>
              <a:cxn ang="0">
                <a:pos x="connsiteX6179" y="connsiteY6179"/>
              </a:cxn>
              <a:cxn ang="0">
                <a:pos x="connsiteX6180" y="connsiteY6180"/>
              </a:cxn>
              <a:cxn ang="0">
                <a:pos x="connsiteX6181" y="connsiteY6181"/>
              </a:cxn>
              <a:cxn ang="0">
                <a:pos x="connsiteX6182" y="connsiteY6182"/>
              </a:cxn>
              <a:cxn ang="0">
                <a:pos x="connsiteX6183" y="connsiteY6183"/>
              </a:cxn>
              <a:cxn ang="0">
                <a:pos x="connsiteX6184" y="connsiteY6184"/>
              </a:cxn>
              <a:cxn ang="0">
                <a:pos x="connsiteX6185" y="connsiteY6185"/>
              </a:cxn>
              <a:cxn ang="0">
                <a:pos x="connsiteX6186" y="connsiteY6186"/>
              </a:cxn>
              <a:cxn ang="0">
                <a:pos x="connsiteX6187" y="connsiteY6187"/>
              </a:cxn>
              <a:cxn ang="0">
                <a:pos x="connsiteX6188" y="connsiteY6188"/>
              </a:cxn>
              <a:cxn ang="0">
                <a:pos x="connsiteX6189" y="connsiteY6189"/>
              </a:cxn>
              <a:cxn ang="0">
                <a:pos x="connsiteX6190" y="connsiteY6190"/>
              </a:cxn>
              <a:cxn ang="0">
                <a:pos x="connsiteX6191" y="connsiteY6191"/>
              </a:cxn>
              <a:cxn ang="0">
                <a:pos x="connsiteX6192" y="connsiteY6192"/>
              </a:cxn>
              <a:cxn ang="0">
                <a:pos x="connsiteX6193" y="connsiteY6193"/>
              </a:cxn>
              <a:cxn ang="0">
                <a:pos x="connsiteX6194" y="connsiteY6194"/>
              </a:cxn>
              <a:cxn ang="0">
                <a:pos x="connsiteX6195" y="connsiteY6195"/>
              </a:cxn>
              <a:cxn ang="0">
                <a:pos x="connsiteX6196" y="connsiteY6196"/>
              </a:cxn>
              <a:cxn ang="0">
                <a:pos x="connsiteX6197" y="connsiteY6197"/>
              </a:cxn>
              <a:cxn ang="0">
                <a:pos x="connsiteX6198" y="connsiteY6198"/>
              </a:cxn>
              <a:cxn ang="0">
                <a:pos x="connsiteX6199" y="connsiteY6199"/>
              </a:cxn>
              <a:cxn ang="0">
                <a:pos x="connsiteX6200" y="connsiteY6200"/>
              </a:cxn>
              <a:cxn ang="0">
                <a:pos x="connsiteX6201" y="connsiteY6201"/>
              </a:cxn>
              <a:cxn ang="0">
                <a:pos x="connsiteX6202" y="connsiteY6202"/>
              </a:cxn>
              <a:cxn ang="0">
                <a:pos x="connsiteX6203" y="connsiteY6203"/>
              </a:cxn>
              <a:cxn ang="0">
                <a:pos x="connsiteX6204" y="connsiteY6204"/>
              </a:cxn>
              <a:cxn ang="0">
                <a:pos x="connsiteX6205" y="connsiteY6205"/>
              </a:cxn>
              <a:cxn ang="0">
                <a:pos x="connsiteX6206" y="connsiteY6206"/>
              </a:cxn>
              <a:cxn ang="0">
                <a:pos x="connsiteX6207" y="connsiteY6207"/>
              </a:cxn>
              <a:cxn ang="0">
                <a:pos x="connsiteX6208" y="connsiteY6208"/>
              </a:cxn>
              <a:cxn ang="0">
                <a:pos x="connsiteX6209" y="connsiteY6209"/>
              </a:cxn>
              <a:cxn ang="0">
                <a:pos x="connsiteX6210" y="connsiteY6210"/>
              </a:cxn>
              <a:cxn ang="0">
                <a:pos x="connsiteX6211" y="connsiteY6211"/>
              </a:cxn>
              <a:cxn ang="0">
                <a:pos x="connsiteX6212" y="connsiteY6212"/>
              </a:cxn>
              <a:cxn ang="0">
                <a:pos x="connsiteX6213" y="connsiteY6213"/>
              </a:cxn>
              <a:cxn ang="0">
                <a:pos x="connsiteX6214" y="connsiteY6214"/>
              </a:cxn>
              <a:cxn ang="0">
                <a:pos x="connsiteX6215" y="connsiteY6215"/>
              </a:cxn>
              <a:cxn ang="0">
                <a:pos x="connsiteX6216" y="connsiteY6216"/>
              </a:cxn>
              <a:cxn ang="0">
                <a:pos x="connsiteX6217" y="connsiteY6217"/>
              </a:cxn>
              <a:cxn ang="0">
                <a:pos x="connsiteX6218" y="connsiteY6218"/>
              </a:cxn>
              <a:cxn ang="0">
                <a:pos x="connsiteX6219" y="connsiteY6219"/>
              </a:cxn>
              <a:cxn ang="0">
                <a:pos x="connsiteX6220" y="connsiteY6220"/>
              </a:cxn>
              <a:cxn ang="0">
                <a:pos x="connsiteX6221" y="connsiteY6221"/>
              </a:cxn>
              <a:cxn ang="0">
                <a:pos x="connsiteX6222" y="connsiteY6222"/>
              </a:cxn>
              <a:cxn ang="0">
                <a:pos x="connsiteX6223" y="connsiteY6223"/>
              </a:cxn>
              <a:cxn ang="0">
                <a:pos x="connsiteX6224" y="connsiteY6224"/>
              </a:cxn>
              <a:cxn ang="0">
                <a:pos x="connsiteX6225" y="connsiteY6225"/>
              </a:cxn>
              <a:cxn ang="0">
                <a:pos x="connsiteX6226" y="connsiteY6226"/>
              </a:cxn>
              <a:cxn ang="0">
                <a:pos x="connsiteX6227" y="connsiteY6227"/>
              </a:cxn>
              <a:cxn ang="0">
                <a:pos x="connsiteX6228" y="connsiteY6228"/>
              </a:cxn>
              <a:cxn ang="0">
                <a:pos x="connsiteX6229" y="connsiteY6229"/>
              </a:cxn>
              <a:cxn ang="0">
                <a:pos x="connsiteX6230" y="connsiteY6230"/>
              </a:cxn>
              <a:cxn ang="0">
                <a:pos x="connsiteX6231" y="connsiteY6231"/>
              </a:cxn>
              <a:cxn ang="0">
                <a:pos x="connsiteX6232" y="connsiteY6232"/>
              </a:cxn>
              <a:cxn ang="0">
                <a:pos x="connsiteX6233" y="connsiteY6233"/>
              </a:cxn>
              <a:cxn ang="0">
                <a:pos x="connsiteX6234" y="connsiteY6234"/>
              </a:cxn>
              <a:cxn ang="0">
                <a:pos x="connsiteX6235" y="connsiteY6235"/>
              </a:cxn>
              <a:cxn ang="0">
                <a:pos x="connsiteX6236" y="connsiteY6236"/>
              </a:cxn>
              <a:cxn ang="0">
                <a:pos x="connsiteX6237" y="connsiteY6237"/>
              </a:cxn>
              <a:cxn ang="0">
                <a:pos x="connsiteX6238" y="connsiteY6238"/>
              </a:cxn>
              <a:cxn ang="0">
                <a:pos x="connsiteX6239" y="connsiteY6239"/>
              </a:cxn>
              <a:cxn ang="0">
                <a:pos x="connsiteX6240" y="connsiteY6240"/>
              </a:cxn>
              <a:cxn ang="0">
                <a:pos x="connsiteX6241" y="connsiteY6241"/>
              </a:cxn>
              <a:cxn ang="0">
                <a:pos x="connsiteX6242" y="connsiteY6242"/>
              </a:cxn>
              <a:cxn ang="0">
                <a:pos x="connsiteX6243" y="connsiteY6243"/>
              </a:cxn>
              <a:cxn ang="0">
                <a:pos x="connsiteX6244" y="connsiteY6244"/>
              </a:cxn>
              <a:cxn ang="0">
                <a:pos x="connsiteX6245" y="connsiteY6245"/>
              </a:cxn>
              <a:cxn ang="0">
                <a:pos x="connsiteX6246" y="connsiteY6246"/>
              </a:cxn>
              <a:cxn ang="0">
                <a:pos x="connsiteX6247" y="connsiteY6247"/>
              </a:cxn>
              <a:cxn ang="0">
                <a:pos x="connsiteX6248" y="connsiteY6248"/>
              </a:cxn>
              <a:cxn ang="0">
                <a:pos x="connsiteX6249" y="connsiteY6249"/>
              </a:cxn>
              <a:cxn ang="0">
                <a:pos x="connsiteX6250" y="connsiteY6250"/>
              </a:cxn>
              <a:cxn ang="0">
                <a:pos x="connsiteX6251" y="connsiteY6251"/>
              </a:cxn>
              <a:cxn ang="0">
                <a:pos x="connsiteX6252" y="connsiteY6252"/>
              </a:cxn>
              <a:cxn ang="0">
                <a:pos x="connsiteX6253" y="connsiteY6253"/>
              </a:cxn>
              <a:cxn ang="0">
                <a:pos x="connsiteX6254" y="connsiteY6254"/>
              </a:cxn>
              <a:cxn ang="0">
                <a:pos x="connsiteX6255" y="connsiteY6255"/>
              </a:cxn>
              <a:cxn ang="0">
                <a:pos x="connsiteX6256" y="connsiteY6256"/>
              </a:cxn>
              <a:cxn ang="0">
                <a:pos x="connsiteX6257" y="connsiteY6257"/>
              </a:cxn>
              <a:cxn ang="0">
                <a:pos x="connsiteX6258" y="connsiteY6258"/>
              </a:cxn>
              <a:cxn ang="0">
                <a:pos x="connsiteX6259" y="connsiteY6259"/>
              </a:cxn>
              <a:cxn ang="0">
                <a:pos x="connsiteX6260" y="connsiteY6260"/>
              </a:cxn>
              <a:cxn ang="0">
                <a:pos x="connsiteX6261" y="connsiteY6261"/>
              </a:cxn>
              <a:cxn ang="0">
                <a:pos x="connsiteX6262" y="connsiteY6262"/>
              </a:cxn>
              <a:cxn ang="0">
                <a:pos x="connsiteX6263" y="connsiteY6263"/>
              </a:cxn>
              <a:cxn ang="0">
                <a:pos x="connsiteX6264" y="connsiteY6264"/>
              </a:cxn>
              <a:cxn ang="0">
                <a:pos x="connsiteX6265" y="connsiteY6265"/>
              </a:cxn>
              <a:cxn ang="0">
                <a:pos x="connsiteX6266" y="connsiteY6266"/>
              </a:cxn>
              <a:cxn ang="0">
                <a:pos x="connsiteX6267" y="connsiteY6267"/>
              </a:cxn>
              <a:cxn ang="0">
                <a:pos x="connsiteX6268" y="connsiteY6268"/>
              </a:cxn>
              <a:cxn ang="0">
                <a:pos x="connsiteX6269" y="connsiteY6269"/>
              </a:cxn>
              <a:cxn ang="0">
                <a:pos x="connsiteX6270" y="connsiteY6270"/>
              </a:cxn>
              <a:cxn ang="0">
                <a:pos x="connsiteX6271" y="connsiteY6271"/>
              </a:cxn>
              <a:cxn ang="0">
                <a:pos x="connsiteX6272" y="connsiteY6272"/>
              </a:cxn>
              <a:cxn ang="0">
                <a:pos x="connsiteX6273" y="connsiteY6273"/>
              </a:cxn>
              <a:cxn ang="0">
                <a:pos x="connsiteX6274" y="connsiteY6274"/>
              </a:cxn>
              <a:cxn ang="0">
                <a:pos x="connsiteX6275" y="connsiteY6275"/>
              </a:cxn>
              <a:cxn ang="0">
                <a:pos x="connsiteX6276" y="connsiteY6276"/>
              </a:cxn>
              <a:cxn ang="0">
                <a:pos x="connsiteX6277" y="connsiteY6277"/>
              </a:cxn>
              <a:cxn ang="0">
                <a:pos x="connsiteX6278" y="connsiteY6278"/>
              </a:cxn>
              <a:cxn ang="0">
                <a:pos x="connsiteX6279" y="connsiteY6279"/>
              </a:cxn>
              <a:cxn ang="0">
                <a:pos x="connsiteX6280" y="connsiteY6280"/>
              </a:cxn>
              <a:cxn ang="0">
                <a:pos x="connsiteX6281" y="connsiteY6281"/>
              </a:cxn>
              <a:cxn ang="0">
                <a:pos x="connsiteX6282" y="connsiteY6282"/>
              </a:cxn>
              <a:cxn ang="0">
                <a:pos x="connsiteX6283" y="connsiteY6283"/>
              </a:cxn>
              <a:cxn ang="0">
                <a:pos x="connsiteX6284" y="connsiteY6284"/>
              </a:cxn>
              <a:cxn ang="0">
                <a:pos x="connsiteX6285" y="connsiteY6285"/>
              </a:cxn>
              <a:cxn ang="0">
                <a:pos x="connsiteX6286" y="connsiteY6286"/>
              </a:cxn>
              <a:cxn ang="0">
                <a:pos x="connsiteX6287" y="connsiteY6287"/>
              </a:cxn>
              <a:cxn ang="0">
                <a:pos x="connsiteX6288" y="connsiteY6288"/>
              </a:cxn>
              <a:cxn ang="0">
                <a:pos x="connsiteX6289" y="connsiteY6289"/>
              </a:cxn>
              <a:cxn ang="0">
                <a:pos x="connsiteX6290" y="connsiteY6290"/>
              </a:cxn>
              <a:cxn ang="0">
                <a:pos x="connsiteX6291" y="connsiteY6291"/>
              </a:cxn>
              <a:cxn ang="0">
                <a:pos x="connsiteX6292" y="connsiteY6292"/>
              </a:cxn>
              <a:cxn ang="0">
                <a:pos x="connsiteX6293" y="connsiteY6293"/>
              </a:cxn>
              <a:cxn ang="0">
                <a:pos x="connsiteX6294" y="connsiteY6294"/>
              </a:cxn>
              <a:cxn ang="0">
                <a:pos x="connsiteX6295" y="connsiteY6295"/>
              </a:cxn>
              <a:cxn ang="0">
                <a:pos x="connsiteX6296" y="connsiteY6296"/>
              </a:cxn>
              <a:cxn ang="0">
                <a:pos x="connsiteX6297" y="connsiteY6297"/>
              </a:cxn>
              <a:cxn ang="0">
                <a:pos x="connsiteX6298" y="connsiteY6298"/>
              </a:cxn>
              <a:cxn ang="0">
                <a:pos x="connsiteX6299" y="connsiteY6299"/>
              </a:cxn>
              <a:cxn ang="0">
                <a:pos x="connsiteX6300" y="connsiteY6300"/>
              </a:cxn>
              <a:cxn ang="0">
                <a:pos x="connsiteX6301" y="connsiteY6301"/>
              </a:cxn>
              <a:cxn ang="0">
                <a:pos x="connsiteX6302" y="connsiteY6302"/>
              </a:cxn>
              <a:cxn ang="0">
                <a:pos x="connsiteX6303" y="connsiteY6303"/>
              </a:cxn>
              <a:cxn ang="0">
                <a:pos x="connsiteX6304" y="connsiteY6304"/>
              </a:cxn>
              <a:cxn ang="0">
                <a:pos x="connsiteX6305" y="connsiteY6305"/>
              </a:cxn>
              <a:cxn ang="0">
                <a:pos x="connsiteX6306" y="connsiteY6306"/>
              </a:cxn>
              <a:cxn ang="0">
                <a:pos x="connsiteX6307" y="connsiteY6307"/>
              </a:cxn>
              <a:cxn ang="0">
                <a:pos x="connsiteX6308" y="connsiteY6308"/>
              </a:cxn>
              <a:cxn ang="0">
                <a:pos x="connsiteX6309" y="connsiteY6309"/>
              </a:cxn>
              <a:cxn ang="0">
                <a:pos x="connsiteX6310" y="connsiteY6310"/>
              </a:cxn>
              <a:cxn ang="0">
                <a:pos x="connsiteX6311" y="connsiteY6311"/>
              </a:cxn>
              <a:cxn ang="0">
                <a:pos x="connsiteX6312" y="connsiteY6312"/>
              </a:cxn>
              <a:cxn ang="0">
                <a:pos x="connsiteX6313" y="connsiteY6313"/>
              </a:cxn>
              <a:cxn ang="0">
                <a:pos x="connsiteX6314" y="connsiteY6314"/>
              </a:cxn>
              <a:cxn ang="0">
                <a:pos x="connsiteX6315" y="connsiteY6315"/>
              </a:cxn>
              <a:cxn ang="0">
                <a:pos x="connsiteX6316" y="connsiteY6316"/>
              </a:cxn>
              <a:cxn ang="0">
                <a:pos x="connsiteX6317" y="connsiteY6317"/>
              </a:cxn>
              <a:cxn ang="0">
                <a:pos x="connsiteX6318" y="connsiteY6318"/>
              </a:cxn>
              <a:cxn ang="0">
                <a:pos x="connsiteX6319" y="connsiteY6319"/>
              </a:cxn>
              <a:cxn ang="0">
                <a:pos x="connsiteX6320" y="connsiteY6320"/>
              </a:cxn>
              <a:cxn ang="0">
                <a:pos x="connsiteX6321" y="connsiteY6321"/>
              </a:cxn>
              <a:cxn ang="0">
                <a:pos x="connsiteX6322" y="connsiteY6322"/>
              </a:cxn>
              <a:cxn ang="0">
                <a:pos x="connsiteX6323" y="connsiteY6323"/>
              </a:cxn>
              <a:cxn ang="0">
                <a:pos x="connsiteX6324" y="connsiteY6324"/>
              </a:cxn>
              <a:cxn ang="0">
                <a:pos x="connsiteX6325" y="connsiteY6325"/>
              </a:cxn>
              <a:cxn ang="0">
                <a:pos x="connsiteX6326" y="connsiteY6326"/>
              </a:cxn>
              <a:cxn ang="0">
                <a:pos x="connsiteX6327" y="connsiteY6327"/>
              </a:cxn>
              <a:cxn ang="0">
                <a:pos x="connsiteX6328" y="connsiteY6328"/>
              </a:cxn>
              <a:cxn ang="0">
                <a:pos x="connsiteX6329" y="connsiteY6329"/>
              </a:cxn>
              <a:cxn ang="0">
                <a:pos x="connsiteX6330" y="connsiteY6330"/>
              </a:cxn>
              <a:cxn ang="0">
                <a:pos x="connsiteX6331" y="connsiteY6331"/>
              </a:cxn>
              <a:cxn ang="0">
                <a:pos x="connsiteX6332" y="connsiteY6332"/>
              </a:cxn>
              <a:cxn ang="0">
                <a:pos x="connsiteX6333" y="connsiteY6333"/>
              </a:cxn>
              <a:cxn ang="0">
                <a:pos x="connsiteX6334" y="connsiteY6334"/>
              </a:cxn>
              <a:cxn ang="0">
                <a:pos x="connsiteX6335" y="connsiteY6335"/>
              </a:cxn>
              <a:cxn ang="0">
                <a:pos x="connsiteX6336" y="connsiteY6336"/>
              </a:cxn>
              <a:cxn ang="0">
                <a:pos x="connsiteX6337" y="connsiteY6337"/>
              </a:cxn>
              <a:cxn ang="0">
                <a:pos x="connsiteX6338" y="connsiteY6338"/>
              </a:cxn>
              <a:cxn ang="0">
                <a:pos x="connsiteX6339" y="connsiteY6339"/>
              </a:cxn>
              <a:cxn ang="0">
                <a:pos x="connsiteX6340" y="connsiteY6340"/>
              </a:cxn>
              <a:cxn ang="0">
                <a:pos x="connsiteX6341" y="connsiteY6341"/>
              </a:cxn>
              <a:cxn ang="0">
                <a:pos x="connsiteX6342" y="connsiteY6342"/>
              </a:cxn>
              <a:cxn ang="0">
                <a:pos x="connsiteX6343" y="connsiteY6343"/>
              </a:cxn>
              <a:cxn ang="0">
                <a:pos x="connsiteX6344" y="connsiteY6344"/>
              </a:cxn>
              <a:cxn ang="0">
                <a:pos x="connsiteX6345" y="connsiteY6345"/>
              </a:cxn>
              <a:cxn ang="0">
                <a:pos x="connsiteX6346" y="connsiteY6346"/>
              </a:cxn>
              <a:cxn ang="0">
                <a:pos x="connsiteX6347" y="connsiteY6347"/>
              </a:cxn>
              <a:cxn ang="0">
                <a:pos x="connsiteX6348" y="connsiteY6348"/>
              </a:cxn>
              <a:cxn ang="0">
                <a:pos x="connsiteX6349" y="connsiteY6349"/>
              </a:cxn>
              <a:cxn ang="0">
                <a:pos x="connsiteX6350" y="connsiteY6350"/>
              </a:cxn>
              <a:cxn ang="0">
                <a:pos x="connsiteX6351" y="connsiteY6351"/>
              </a:cxn>
              <a:cxn ang="0">
                <a:pos x="connsiteX6352" y="connsiteY6352"/>
              </a:cxn>
              <a:cxn ang="0">
                <a:pos x="connsiteX6353" y="connsiteY6353"/>
              </a:cxn>
              <a:cxn ang="0">
                <a:pos x="connsiteX6354" y="connsiteY6354"/>
              </a:cxn>
              <a:cxn ang="0">
                <a:pos x="connsiteX6355" y="connsiteY6355"/>
              </a:cxn>
              <a:cxn ang="0">
                <a:pos x="connsiteX6356" y="connsiteY6356"/>
              </a:cxn>
              <a:cxn ang="0">
                <a:pos x="connsiteX6357" y="connsiteY6357"/>
              </a:cxn>
              <a:cxn ang="0">
                <a:pos x="connsiteX6358" y="connsiteY6358"/>
              </a:cxn>
              <a:cxn ang="0">
                <a:pos x="connsiteX6359" y="connsiteY6359"/>
              </a:cxn>
              <a:cxn ang="0">
                <a:pos x="connsiteX6360" y="connsiteY6360"/>
              </a:cxn>
              <a:cxn ang="0">
                <a:pos x="connsiteX6361" y="connsiteY6361"/>
              </a:cxn>
              <a:cxn ang="0">
                <a:pos x="connsiteX6362" y="connsiteY6362"/>
              </a:cxn>
              <a:cxn ang="0">
                <a:pos x="connsiteX6363" y="connsiteY6363"/>
              </a:cxn>
              <a:cxn ang="0">
                <a:pos x="connsiteX6364" y="connsiteY6364"/>
              </a:cxn>
              <a:cxn ang="0">
                <a:pos x="connsiteX6365" y="connsiteY6365"/>
              </a:cxn>
              <a:cxn ang="0">
                <a:pos x="connsiteX6366" y="connsiteY6366"/>
              </a:cxn>
              <a:cxn ang="0">
                <a:pos x="connsiteX6367" y="connsiteY6367"/>
              </a:cxn>
              <a:cxn ang="0">
                <a:pos x="connsiteX6368" y="connsiteY6368"/>
              </a:cxn>
              <a:cxn ang="0">
                <a:pos x="connsiteX6369" y="connsiteY6369"/>
              </a:cxn>
              <a:cxn ang="0">
                <a:pos x="connsiteX6370" y="connsiteY6370"/>
              </a:cxn>
              <a:cxn ang="0">
                <a:pos x="connsiteX6371" y="connsiteY6371"/>
              </a:cxn>
              <a:cxn ang="0">
                <a:pos x="connsiteX6372" y="connsiteY6372"/>
              </a:cxn>
              <a:cxn ang="0">
                <a:pos x="connsiteX6373" y="connsiteY6373"/>
              </a:cxn>
              <a:cxn ang="0">
                <a:pos x="connsiteX6374" y="connsiteY6374"/>
              </a:cxn>
              <a:cxn ang="0">
                <a:pos x="connsiteX6375" y="connsiteY6375"/>
              </a:cxn>
              <a:cxn ang="0">
                <a:pos x="connsiteX6376" y="connsiteY6376"/>
              </a:cxn>
              <a:cxn ang="0">
                <a:pos x="connsiteX6377" y="connsiteY6377"/>
              </a:cxn>
              <a:cxn ang="0">
                <a:pos x="connsiteX6378" y="connsiteY6378"/>
              </a:cxn>
              <a:cxn ang="0">
                <a:pos x="connsiteX6379" y="connsiteY6379"/>
              </a:cxn>
              <a:cxn ang="0">
                <a:pos x="connsiteX6380" y="connsiteY6380"/>
              </a:cxn>
              <a:cxn ang="0">
                <a:pos x="connsiteX6381" y="connsiteY6381"/>
              </a:cxn>
              <a:cxn ang="0">
                <a:pos x="connsiteX6382" y="connsiteY6382"/>
              </a:cxn>
              <a:cxn ang="0">
                <a:pos x="connsiteX6383" y="connsiteY6383"/>
              </a:cxn>
              <a:cxn ang="0">
                <a:pos x="connsiteX6384" y="connsiteY6384"/>
              </a:cxn>
              <a:cxn ang="0">
                <a:pos x="connsiteX6385" y="connsiteY6385"/>
              </a:cxn>
              <a:cxn ang="0">
                <a:pos x="connsiteX6386" y="connsiteY6386"/>
              </a:cxn>
              <a:cxn ang="0">
                <a:pos x="connsiteX6387" y="connsiteY6387"/>
              </a:cxn>
              <a:cxn ang="0">
                <a:pos x="connsiteX6388" y="connsiteY6388"/>
              </a:cxn>
              <a:cxn ang="0">
                <a:pos x="connsiteX6389" y="connsiteY6389"/>
              </a:cxn>
              <a:cxn ang="0">
                <a:pos x="connsiteX6390" y="connsiteY6390"/>
              </a:cxn>
              <a:cxn ang="0">
                <a:pos x="connsiteX6391" y="connsiteY6391"/>
              </a:cxn>
              <a:cxn ang="0">
                <a:pos x="connsiteX6392" y="connsiteY6392"/>
              </a:cxn>
              <a:cxn ang="0">
                <a:pos x="connsiteX6393" y="connsiteY6393"/>
              </a:cxn>
              <a:cxn ang="0">
                <a:pos x="connsiteX6394" y="connsiteY6394"/>
              </a:cxn>
              <a:cxn ang="0">
                <a:pos x="connsiteX6395" y="connsiteY6395"/>
              </a:cxn>
              <a:cxn ang="0">
                <a:pos x="connsiteX6396" y="connsiteY6396"/>
              </a:cxn>
              <a:cxn ang="0">
                <a:pos x="connsiteX6397" y="connsiteY6397"/>
              </a:cxn>
              <a:cxn ang="0">
                <a:pos x="connsiteX6398" y="connsiteY6398"/>
              </a:cxn>
              <a:cxn ang="0">
                <a:pos x="connsiteX6399" y="connsiteY6399"/>
              </a:cxn>
              <a:cxn ang="0">
                <a:pos x="connsiteX6400" y="connsiteY6400"/>
              </a:cxn>
              <a:cxn ang="0">
                <a:pos x="connsiteX6401" y="connsiteY6401"/>
              </a:cxn>
              <a:cxn ang="0">
                <a:pos x="connsiteX6402" y="connsiteY6402"/>
              </a:cxn>
              <a:cxn ang="0">
                <a:pos x="connsiteX6403" y="connsiteY6403"/>
              </a:cxn>
              <a:cxn ang="0">
                <a:pos x="connsiteX6404" y="connsiteY6404"/>
              </a:cxn>
              <a:cxn ang="0">
                <a:pos x="connsiteX6405" y="connsiteY6405"/>
              </a:cxn>
              <a:cxn ang="0">
                <a:pos x="connsiteX6406" y="connsiteY6406"/>
              </a:cxn>
              <a:cxn ang="0">
                <a:pos x="connsiteX6407" y="connsiteY6407"/>
              </a:cxn>
              <a:cxn ang="0">
                <a:pos x="connsiteX6408" y="connsiteY6408"/>
              </a:cxn>
              <a:cxn ang="0">
                <a:pos x="connsiteX6409" y="connsiteY6409"/>
              </a:cxn>
              <a:cxn ang="0">
                <a:pos x="connsiteX6410" y="connsiteY6410"/>
              </a:cxn>
              <a:cxn ang="0">
                <a:pos x="connsiteX6411" y="connsiteY6411"/>
              </a:cxn>
              <a:cxn ang="0">
                <a:pos x="connsiteX6412" y="connsiteY6412"/>
              </a:cxn>
              <a:cxn ang="0">
                <a:pos x="connsiteX6413" y="connsiteY6413"/>
              </a:cxn>
              <a:cxn ang="0">
                <a:pos x="connsiteX6414" y="connsiteY6414"/>
              </a:cxn>
              <a:cxn ang="0">
                <a:pos x="connsiteX6415" y="connsiteY6415"/>
              </a:cxn>
              <a:cxn ang="0">
                <a:pos x="connsiteX6416" y="connsiteY6416"/>
              </a:cxn>
              <a:cxn ang="0">
                <a:pos x="connsiteX6417" y="connsiteY6417"/>
              </a:cxn>
              <a:cxn ang="0">
                <a:pos x="connsiteX6418" y="connsiteY6418"/>
              </a:cxn>
              <a:cxn ang="0">
                <a:pos x="connsiteX6419" y="connsiteY6419"/>
              </a:cxn>
              <a:cxn ang="0">
                <a:pos x="connsiteX6420" y="connsiteY6420"/>
              </a:cxn>
              <a:cxn ang="0">
                <a:pos x="connsiteX6421" y="connsiteY6421"/>
              </a:cxn>
              <a:cxn ang="0">
                <a:pos x="connsiteX6422" y="connsiteY6422"/>
              </a:cxn>
              <a:cxn ang="0">
                <a:pos x="connsiteX6423" y="connsiteY6423"/>
              </a:cxn>
              <a:cxn ang="0">
                <a:pos x="connsiteX6424" y="connsiteY6424"/>
              </a:cxn>
              <a:cxn ang="0">
                <a:pos x="connsiteX6425" y="connsiteY6425"/>
              </a:cxn>
              <a:cxn ang="0">
                <a:pos x="connsiteX6426" y="connsiteY6426"/>
              </a:cxn>
              <a:cxn ang="0">
                <a:pos x="connsiteX6427" y="connsiteY6427"/>
              </a:cxn>
              <a:cxn ang="0">
                <a:pos x="connsiteX6428" y="connsiteY6428"/>
              </a:cxn>
              <a:cxn ang="0">
                <a:pos x="connsiteX6429" y="connsiteY6429"/>
              </a:cxn>
              <a:cxn ang="0">
                <a:pos x="connsiteX6430" y="connsiteY6430"/>
              </a:cxn>
              <a:cxn ang="0">
                <a:pos x="connsiteX6431" y="connsiteY6431"/>
              </a:cxn>
              <a:cxn ang="0">
                <a:pos x="connsiteX6432" y="connsiteY6432"/>
              </a:cxn>
              <a:cxn ang="0">
                <a:pos x="connsiteX6433" y="connsiteY6433"/>
              </a:cxn>
              <a:cxn ang="0">
                <a:pos x="connsiteX6434" y="connsiteY6434"/>
              </a:cxn>
              <a:cxn ang="0">
                <a:pos x="connsiteX6435" y="connsiteY6435"/>
              </a:cxn>
              <a:cxn ang="0">
                <a:pos x="connsiteX6436" y="connsiteY6436"/>
              </a:cxn>
              <a:cxn ang="0">
                <a:pos x="connsiteX6437" y="connsiteY6437"/>
              </a:cxn>
              <a:cxn ang="0">
                <a:pos x="connsiteX6438" y="connsiteY6438"/>
              </a:cxn>
              <a:cxn ang="0">
                <a:pos x="connsiteX6439" y="connsiteY6439"/>
              </a:cxn>
              <a:cxn ang="0">
                <a:pos x="connsiteX6440" y="connsiteY6440"/>
              </a:cxn>
              <a:cxn ang="0">
                <a:pos x="connsiteX6441" y="connsiteY6441"/>
              </a:cxn>
              <a:cxn ang="0">
                <a:pos x="connsiteX6442" y="connsiteY6442"/>
              </a:cxn>
              <a:cxn ang="0">
                <a:pos x="connsiteX6443" y="connsiteY6443"/>
              </a:cxn>
              <a:cxn ang="0">
                <a:pos x="connsiteX6444" y="connsiteY6444"/>
              </a:cxn>
              <a:cxn ang="0">
                <a:pos x="connsiteX6445" y="connsiteY6445"/>
              </a:cxn>
              <a:cxn ang="0">
                <a:pos x="connsiteX6446" y="connsiteY6446"/>
              </a:cxn>
              <a:cxn ang="0">
                <a:pos x="connsiteX6447" y="connsiteY6447"/>
              </a:cxn>
              <a:cxn ang="0">
                <a:pos x="connsiteX6448" y="connsiteY6448"/>
              </a:cxn>
              <a:cxn ang="0">
                <a:pos x="connsiteX6449" y="connsiteY6449"/>
              </a:cxn>
              <a:cxn ang="0">
                <a:pos x="connsiteX6450" y="connsiteY6450"/>
              </a:cxn>
              <a:cxn ang="0">
                <a:pos x="connsiteX6451" y="connsiteY6451"/>
              </a:cxn>
              <a:cxn ang="0">
                <a:pos x="connsiteX6452" y="connsiteY6452"/>
              </a:cxn>
              <a:cxn ang="0">
                <a:pos x="connsiteX6453" y="connsiteY6453"/>
              </a:cxn>
              <a:cxn ang="0">
                <a:pos x="connsiteX6454" y="connsiteY6454"/>
              </a:cxn>
              <a:cxn ang="0">
                <a:pos x="connsiteX6455" y="connsiteY6455"/>
              </a:cxn>
              <a:cxn ang="0">
                <a:pos x="connsiteX6456" y="connsiteY6456"/>
              </a:cxn>
              <a:cxn ang="0">
                <a:pos x="connsiteX6457" y="connsiteY6457"/>
              </a:cxn>
              <a:cxn ang="0">
                <a:pos x="connsiteX6458" y="connsiteY6458"/>
              </a:cxn>
              <a:cxn ang="0">
                <a:pos x="connsiteX6459" y="connsiteY6459"/>
              </a:cxn>
              <a:cxn ang="0">
                <a:pos x="connsiteX6460" y="connsiteY6460"/>
              </a:cxn>
              <a:cxn ang="0">
                <a:pos x="connsiteX6461" y="connsiteY6461"/>
              </a:cxn>
              <a:cxn ang="0">
                <a:pos x="connsiteX6462" y="connsiteY6462"/>
              </a:cxn>
              <a:cxn ang="0">
                <a:pos x="connsiteX6463" y="connsiteY6463"/>
              </a:cxn>
              <a:cxn ang="0">
                <a:pos x="connsiteX6464" y="connsiteY6464"/>
              </a:cxn>
              <a:cxn ang="0">
                <a:pos x="connsiteX6465" y="connsiteY6465"/>
              </a:cxn>
              <a:cxn ang="0">
                <a:pos x="connsiteX6466" y="connsiteY6466"/>
              </a:cxn>
              <a:cxn ang="0">
                <a:pos x="connsiteX6467" y="connsiteY6467"/>
              </a:cxn>
              <a:cxn ang="0">
                <a:pos x="connsiteX6468" y="connsiteY6468"/>
              </a:cxn>
              <a:cxn ang="0">
                <a:pos x="connsiteX6469" y="connsiteY6469"/>
              </a:cxn>
              <a:cxn ang="0">
                <a:pos x="connsiteX6470" y="connsiteY6470"/>
              </a:cxn>
              <a:cxn ang="0">
                <a:pos x="connsiteX6471" y="connsiteY6471"/>
              </a:cxn>
              <a:cxn ang="0">
                <a:pos x="connsiteX6472" y="connsiteY6472"/>
              </a:cxn>
              <a:cxn ang="0">
                <a:pos x="connsiteX6473" y="connsiteY6473"/>
              </a:cxn>
              <a:cxn ang="0">
                <a:pos x="connsiteX6474" y="connsiteY6474"/>
              </a:cxn>
              <a:cxn ang="0">
                <a:pos x="connsiteX6475" y="connsiteY6475"/>
              </a:cxn>
              <a:cxn ang="0">
                <a:pos x="connsiteX6476" y="connsiteY6476"/>
              </a:cxn>
              <a:cxn ang="0">
                <a:pos x="connsiteX6477" y="connsiteY6477"/>
              </a:cxn>
              <a:cxn ang="0">
                <a:pos x="connsiteX6478" y="connsiteY6478"/>
              </a:cxn>
              <a:cxn ang="0">
                <a:pos x="connsiteX6479" y="connsiteY6479"/>
              </a:cxn>
              <a:cxn ang="0">
                <a:pos x="connsiteX6480" y="connsiteY6480"/>
              </a:cxn>
              <a:cxn ang="0">
                <a:pos x="connsiteX6481" y="connsiteY6481"/>
              </a:cxn>
              <a:cxn ang="0">
                <a:pos x="connsiteX6482" y="connsiteY6482"/>
              </a:cxn>
              <a:cxn ang="0">
                <a:pos x="connsiteX6483" y="connsiteY6483"/>
              </a:cxn>
              <a:cxn ang="0">
                <a:pos x="connsiteX6484" y="connsiteY6484"/>
              </a:cxn>
              <a:cxn ang="0">
                <a:pos x="connsiteX6485" y="connsiteY6485"/>
              </a:cxn>
              <a:cxn ang="0">
                <a:pos x="connsiteX6486" y="connsiteY6486"/>
              </a:cxn>
              <a:cxn ang="0">
                <a:pos x="connsiteX6487" y="connsiteY6487"/>
              </a:cxn>
              <a:cxn ang="0">
                <a:pos x="connsiteX6488" y="connsiteY6488"/>
              </a:cxn>
              <a:cxn ang="0">
                <a:pos x="connsiteX6489" y="connsiteY6489"/>
              </a:cxn>
              <a:cxn ang="0">
                <a:pos x="connsiteX6490" y="connsiteY6490"/>
              </a:cxn>
              <a:cxn ang="0">
                <a:pos x="connsiteX6491" y="connsiteY6491"/>
              </a:cxn>
              <a:cxn ang="0">
                <a:pos x="connsiteX6492" y="connsiteY6492"/>
              </a:cxn>
              <a:cxn ang="0">
                <a:pos x="connsiteX6493" y="connsiteY6493"/>
              </a:cxn>
              <a:cxn ang="0">
                <a:pos x="connsiteX6494" y="connsiteY6494"/>
              </a:cxn>
              <a:cxn ang="0">
                <a:pos x="connsiteX6495" y="connsiteY6495"/>
              </a:cxn>
              <a:cxn ang="0">
                <a:pos x="connsiteX6496" y="connsiteY6496"/>
              </a:cxn>
              <a:cxn ang="0">
                <a:pos x="connsiteX6497" y="connsiteY6497"/>
              </a:cxn>
              <a:cxn ang="0">
                <a:pos x="connsiteX6498" y="connsiteY6498"/>
              </a:cxn>
              <a:cxn ang="0">
                <a:pos x="connsiteX6499" y="connsiteY6499"/>
              </a:cxn>
              <a:cxn ang="0">
                <a:pos x="connsiteX6500" y="connsiteY6500"/>
              </a:cxn>
              <a:cxn ang="0">
                <a:pos x="connsiteX6501" y="connsiteY6501"/>
              </a:cxn>
              <a:cxn ang="0">
                <a:pos x="connsiteX6502" y="connsiteY6502"/>
              </a:cxn>
              <a:cxn ang="0">
                <a:pos x="connsiteX6503" y="connsiteY6503"/>
              </a:cxn>
              <a:cxn ang="0">
                <a:pos x="connsiteX6504" y="connsiteY6504"/>
              </a:cxn>
              <a:cxn ang="0">
                <a:pos x="connsiteX6505" y="connsiteY6505"/>
              </a:cxn>
              <a:cxn ang="0">
                <a:pos x="connsiteX6506" y="connsiteY6506"/>
              </a:cxn>
              <a:cxn ang="0">
                <a:pos x="connsiteX6507" y="connsiteY6507"/>
              </a:cxn>
              <a:cxn ang="0">
                <a:pos x="connsiteX6508" y="connsiteY6508"/>
              </a:cxn>
              <a:cxn ang="0">
                <a:pos x="connsiteX6509" y="connsiteY6509"/>
              </a:cxn>
              <a:cxn ang="0">
                <a:pos x="connsiteX6510" y="connsiteY6510"/>
              </a:cxn>
              <a:cxn ang="0">
                <a:pos x="connsiteX6511" y="connsiteY6511"/>
              </a:cxn>
              <a:cxn ang="0">
                <a:pos x="connsiteX6512" y="connsiteY6512"/>
              </a:cxn>
              <a:cxn ang="0">
                <a:pos x="connsiteX6513" y="connsiteY6513"/>
              </a:cxn>
              <a:cxn ang="0">
                <a:pos x="connsiteX6514" y="connsiteY6514"/>
              </a:cxn>
              <a:cxn ang="0">
                <a:pos x="connsiteX6515" y="connsiteY6515"/>
              </a:cxn>
              <a:cxn ang="0">
                <a:pos x="connsiteX6516" y="connsiteY6516"/>
              </a:cxn>
              <a:cxn ang="0">
                <a:pos x="connsiteX6517" y="connsiteY6517"/>
              </a:cxn>
              <a:cxn ang="0">
                <a:pos x="connsiteX6518" y="connsiteY6518"/>
              </a:cxn>
              <a:cxn ang="0">
                <a:pos x="connsiteX6519" y="connsiteY6519"/>
              </a:cxn>
              <a:cxn ang="0">
                <a:pos x="connsiteX6520" y="connsiteY6520"/>
              </a:cxn>
              <a:cxn ang="0">
                <a:pos x="connsiteX6521" y="connsiteY6521"/>
              </a:cxn>
              <a:cxn ang="0">
                <a:pos x="connsiteX6522" y="connsiteY6522"/>
              </a:cxn>
              <a:cxn ang="0">
                <a:pos x="connsiteX6523" y="connsiteY6523"/>
              </a:cxn>
              <a:cxn ang="0">
                <a:pos x="connsiteX6524" y="connsiteY6524"/>
              </a:cxn>
              <a:cxn ang="0">
                <a:pos x="connsiteX6525" y="connsiteY6525"/>
              </a:cxn>
              <a:cxn ang="0">
                <a:pos x="connsiteX6526" y="connsiteY6526"/>
              </a:cxn>
              <a:cxn ang="0">
                <a:pos x="connsiteX6527" y="connsiteY6527"/>
              </a:cxn>
              <a:cxn ang="0">
                <a:pos x="connsiteX6528" y="connsiteY6528"/>
              </a:cxn>
              <a:cxn ang="0">
                <a:pos x="connsiteX6529" y="connsiteY6529"/>
              </a:cxn>
              <a:cxn ang="0">
                <a:pos x="connsiteX6530" y="connsiteY6530"/>
              </a:cxn>
              <a:cxn ang="0">
                <a:pos x="connsiteX6531" y="connsiteY6531"/>
              </a:cxn>
              <a:cxn ang="0">
                <a:pos x="connsiteX6532" y="connsiteY6532"/>
              </a:cxn>
              <a:cxn ang="0">
                <a:pos x="connsiteX6533" y="connsiteY6533"/>
              </a:cxn>
              <a:cxn ang="0">
                <a:pos x="connsiteX6534" y="connsiteY6534"/>
              </a:cxn>
              <a:cxn ang="0">
                <a:pos x="connsiteX6535" y="connsiteY6535"/>
              </a:cxn>
              <a:cxn ang="0">
                <a:pos x="connsiteX6536" y="connsiteY6536"/>
              </a:cxn>
              <a:cxn ang="0">
                <a:pos x="connsiteX6537" y="connsiteY6537"/>
              </a:cxn>
              <a:cxn ang="0">
                <a:pos x="connsiteX6538" y="connsiteY6538"/>
              </a:cxn>
              <a:cxn ang="0">
                <a:pos x="connsiteX6539" y="connsiteY6539"/>
              </a:cxn>
              <a:cxn ang="0">
                <a:pos x="connsiteX6540" y="connsiteY6540"/>
              </a:cxn>
              <a:cxn ang="0">
                <a:pos x="connsiteX6541" y="connsiteY6541"/>
              </a:cxn>
              <a:cxn ang="0">
                <a:pos x="connsiteX6542" y="connsiteY6542"/>
              </a:cxn>
              <a:cxn ang="0">
                <a:pos x="connsiteX6543" y="connsiteY6543"/>
              </a:cxn>
              <a:cxn ang="0">
                <a:pos x="connsiteX6544" y="connsiteY6544"/>
              </a:cxn>
              <a:cxn ang="0">
                <a:pos x="connsiteX6545" y="connsiteY6545"/>
              </a:cxn>
              <a:cxn ang="0">
                <a:pos x="connsiteX6546" y="connsiteY6546"/>
              </a:cxn>
              <a:cxn ang="0">
                <a:pos x="connsiteX6547" y="connsiteY6547"/>
              </a:cxn>
              <a:cxn ang="0">
                <a:pos x="connsiteX6548" y="connsiteY6548"/>
              </a:cxn>
              <a:cxn ang="0">
                <a:pos x="connsiteX6549" y="connsiteY6549"/>
              </a:cxn>
              <a:cxn ang="0">
                <a:pos x="connsiteX6550" y="connsiteY6550"/>
              </a:cxn>
              <a:cxn ang="0">
                <a:pos x="connsiteX6551" y="connsiteY6551"/>
              </a:cxn>
              <a:cxn ang="0">
                <a:pos x="connsiteX6552" y="connsiteY6552"/>
              </a:cxn>
              <a:cxn ang="0">
                <a:pos x="connsiteX6553" y="connsiteY6553"/>
              </a:cxn>
              <a:cxn ang="0">
                <a:pos x="connsiteX6554" y="connsiteY6554"/>
              </a:cxn>
              <a:cxn ang="0">
                <a:pos x="connsiteX6555" y="connsiteY6555"/>
              </a:cxn>
              <a:cxn ang="0">
                <a:pos x="connsiteX6556" y="connsiteY6556"/>
              </a:cxn>
              <a:cxn ang="0">
                <a:pos x="connsiteX6557" y="connsiteY6557"/>
              </a:cxn>
              <a:cxn ang="0">
                <a:pos x="connsiteX6558" y="connsiteY6558"/>
              </a:cxn>
              <a:cxn ang="0">
                <a:pos x="connsiteX6559" y="connsiteY6559"/>
              </a:cxn>
              <a:cxn ang="0">
                <a:pos x="connsiteX6560" y="connsiteY6560"/>
              </a:cxn>
              <a:cxn ang="0">
                <a:pos x="connsiteX6561" y="connsiteY6561"/>
              </a:cxn>
              <a:cxn ang="0">
                <a:pos x="connsiteX6562" y="connsiteY6562"/>
              </a:cxn>
              <a:cxn ang="0">
                <a:pos x="connsiteX6563" y="connsiteY6563"/>
              </a:cxn>
              <a:cxn ang="0">
                <a:pos x="connsiteX6564" y="connsiteY6564"/>
              </a:cxn>
              <a:cxn ang="0">
                <a:pos x="connsiteX6565" y="connsiteY6565"/>
              </a:cxn>
              <a:cxn ang="0">
                <a:pos x="connsiteX6566" y="connsiteY6566"/>
              </a:cxn>
              <a:cxn ang="0">
                <a:pos x="connsiteX6567" y="connsiteY6567"/>
              </a:cxn>
              <a:cxn ang="0">
                <a:pos x="connsiteX6568" y="connsiteY6568"/>
              </a:cxn>
              <a:cxn ang="0">
                <a:pos x="connsiteX6569" y="connsiteY6569"/>
              </a:cxn>
              <a:cxn ang="0">
                <a:pos x="connsiteX6570" y="connsiteY6570"/>
              </a:cxn>
              <a:cxn ang="0">
                <a:pos x="connsiteX6571" y="connsiteY6571"/>
              </a:cxn>
              <a:cxn ang="0">
                <a:pos x="connsiteX6572" y="connsiteY6572"/>
              </a:cxn>
              <a:cxn ang="0">
                <a:pos x="connsiteX6573" y="connsiteY6573"/>
              </a:cxn>
              <a:cxn ang="0">
                <a:pos x="connsiteX6574" y="connsiteY6574"/>
              </a:cxn>
              <a:cxn ang="0">
                <a:pos x="connsiteX6575" y="connsiteY6575"/>
              </a:cxn>
              <a:cxn ang="0">
                <a:pos x="connsiteX6576" y="connsiteY6576"/>
              </a:cxn>
              <a:cxn ang="0">
                <a:pos x="connsiteX6577" y="connsiteY6577"/>
              </a:cxn>
              <a:cxn ang="0">
                <a:pos x="connsiteX6578" y="connsiteY6578"/>
              </a:cxn>
              <a:cxn ang="0">
                <a:pos x="connsiteX6579" y="connsiteY6579"/>
              </a:cxn>
              <a:cxn ang="0">
                <a:pos x="connsiteX6580" y="connsiteY6580"/>
              </a:cxn>
              <a:cxn ang="0">
                <a:pos x="connsiteX6581" y="connsiteY6581"/>
              </a:cxn>
              <a:cxn ang="0">
                <a:pos x="connsiteX6582" y="connsiteY6582"/>
              </a:cxn>
              <a:cxn ang="0">
                <a:pos x="connsiteX6583" y="connsiteY6583"/>
              </a:cxn>
              <a:cxn ang="0">
                <a:pos x="connsiteX6584" y="connsiteY6584"/>
              </a:cxn>
              <a:cxn ang="0">
                <a:pos x="connsiteX6585" y="connsiteY6585"/>
              </a:cxn>
              <a:cxn ang="0">
                <a:pos x="connsiteX6586" y="connsiteY6586"/>
              </a:cxn>
              <a:cxn ang="0">
                <a:pos x="connsiteX6587" y="connsiteY6587"/>
              </a:cxn>
              <a:cxn ang="0">
                <a:pos x="connsiteX6588" y="connsiteY6588"/>
              </a:cxn>
              <a:cxn ang="0">
                <a:pos x="connsiteX6589" y="connsiteY6589"/>
              </a:cxn>
              <a:cxn ang="0">
                <a:pos x="connsiteX6590" y="connsiteY6590"/>
              </a:cxn>
              <a:cxn ang="0">
                <a:pos x="connsiteX6591" y="connsiteY6591"/>
              </a:cxn>
              <a:cxn ang="0">
                <a:pos x="connsiteX6592" y="connsiteY6592"/>
              </a:cxn>
              <a:cxn ang="0">
                <a:pos x="connsiteX6593" y="connsiteY6593"/>
              </a:cxn>
              <a:cxn ang="0">
                <a:pos x="connsiteX6594" y="connsiteY6594"/>
              </a:cxn>
              <a:cxn ang="0">
                <a:pos x="connsiteX6595" y="connsiteY6595"/>
              </a:cxn>
              <a:cxn ang="0">
                <a:pos x="connsiteX6596" y="connsiteY6596"/>
              </a:cxn>
              <a:cxn ang="0">
                <a:pos x="connsiteX6597" y="connsiteY6597"/>
              </a:cxn>
              <a:cxn ang="0">
                <a:pos x="connsiteX6598" y="connsiteY6598"/>
              </a:cxn>
              <a:cxn ang="0">
                <a:pos x="connsiteX6599" y="connsiteY6599"/>
              </a:cxn>
              <a:cxn ang="0">
                <a:pos x="connsiteX6600" y="connsiteY6600"/>
              </a:cxn>
              <a:cxn ang="0">
                <a:pos x="connsiteX6601" y="connsiteY6601"/>
              </a:cxn>
              <a:cxn ang="0">
                <a:pos x="connsiteX6602" y="connsiteY6602"/>
              </a:cxn>
              <a:cxn ang="0">
                <a:pos x="connsiteX6603" y="connsiteY6603"/>
              </a:cxn>
              <a:cxn ang="0">
                <a:pos x="connsiteX6604" y="connsiteY6604"/>
              </a:cxn>
              <a:cxn ang="0">
                <a:pos x="connsiteX6605" y="connsiteY6605"/>
              </a:cxn>
              <a:cxn ang="0">
                <a:pos x="connsiteX6606" y="connsiteY6606"/>
              </a:cxn>
              <a:cxn ang="0">
                <a:pos x="connsiteX6607" y="connsiteY6607"/>
              </a:cxn>
              <a:cxn ang="0">
                <a:pos x="connsiteX6608" y="connsiteY6608"/>
              </a:cxn>
              <a:cxn ang="0">
                <a:pos x="connsiteX6609" y="connsiteY6609"/>
              </a:cxn>
              <a:cxn ang="0">
                <a:pos x="connsiteX6610" y="connsiteY6610"/>
              </a:cxn>
              <a:cxn ang="0">
                <a:pos x="connsiteX6611" y="connsiteY6611"/>
              </a:cxn>
              <a:cxn ang="0">
                <a:pos x="connsiteX6612" y="connsiteY6612"/>
              </a:cxn>
              <a:cxn ang="0">
                <a:pos x="connsiteX6613" y="connsiteY6613"/>
              </a:cxn>
              <a:cxn ang="0">
                <a:pos x="connsiteX6614" y="connsiteY6614"/>
              </a:cxn>
              <a:cxn ang="0">
                <a:pos x="connsiteX6615" y="connsiteY6615"/>
              </a:cxn>
              <a:cxn ang="0">
                <a:pos x="connsiteX6616" y="connsiteY6616"/>
              </a:cxn>
              <a:cxn ang="0">
                <a:pos x="connsiteX6617" y="connsiteY6617"/>
              </a:cxn>
              <a:cxn ang="0">
                <a:pos x="connsiteX6618" y="connsiteY6618"/>
              </a:cxn>
              <a:cxn ang="0">
                <a:pos x="connsiteX6619" y="connsiteY6619"/>
              </a:cxn>
              <a:cxn ang="0">
                <a:pos x="connsiteX6620" y="connsiteY6620"/>
              </a:cxn>
              <a:cxn ang="0">
                <a:pos x="connsiteX6621" y="connsiteY6621"/>
              </a:cxn>
              <a:cxn ang="0">
                <a:pos x="connsiteX6622" y="connsiteY6622"/>
              </a:cxn>
              <a:cxn ang="0">
                <a:pos x="connsiteX6623" y="connsiteY6623"/>
              </a:cxn>
              <a:cxn ang="0">
                <a:pos x="connsiteX6624" y="connsiteY6624"/>
              </a:cxn>
              <a:cxn ang="0">
                <a:pos x="connsiteX6625" y="connsiteY6625"/>
              </a:cxn>
              <a:cxn ang="0">
                <a:pos x="connsiteX6626" y="connsiteY6626"/>
              </a:cxn>
              <a:cxn ang="0">
                <a:pos x="connsiteX6627" y="connsiteY6627"/>
              </a:cxn>
              <a:cxn ang="0">
                <a:pos x="connsiteX6628" y="connsiteY6628"/>
              </a:cxn>
              <a:cxn ang="0">
                <a:pos x="connsiteX6629" y="connsiteY6629"/>
              </a:cxn>
              <a:cxn ang="0">
                <a:pos x="connsiteX6630" y="connsiteY6630"/>
              </a:cxn>
              <a:cxn ang="0">
                <a:pos x="connsiteX6631" y="connsiteY6631"/>
              </a:cxn>
              <a:cxn ang="0">
                <a:pos x="connsiteX6632" y="connsiteY6632"/>
              </a:cxn>
              <a:cxn ang="0">
                <a:pos x="connsiteX6633" y="connsiteY6633"/>
              </a:cxn>
              <a:cxn ang="0">
                <a:pos x="connsiteX6634" y="connsiteY6634"/>
              </a:cxn>
              <a:cxn ang="0">
                <a:pos x="connsiteX6635" y="connsiteY6635"/>
              </a:cxn>
              <a:cxn ang="0">
                <a:pos x="connsiteX6636" y="connsiteY6636"/>
              </a:cxn>
              <a:cxn ang="0">
                <a:pos x="connsiteX6637" y="connsiteY6637"/>
              </a:cxn>
              <a:cxn ang="0">
                <a:pos x="connsiteX6638" y="connsiteY6638"/>
              </a:cxn>
              <a:cxn ang="0">
                <a:pos x="connsiteX6639" y="connsiteY6639"/>
              </a:cxn>
              <a:cxn ang="0">
                <a:pos x="connsiteX6640" y="connsiteY6640"/>
              </a:cxn>
              <a:cxn ang="0">
                <a:pos x="connsiteX6641" y="connsiteY6641"/>
              </a:cxn>
              <a:cxn ang="0">
                <a:pos x="connsiteX6642" y="connsiteY6642"/>
              </a:cxn>
              <a:cxn ang="0">
                <a:pos x="connsiteX6643" y="connsiteY6643"/>
              </a:cxn>
              <a:cxn ang="0">
                <a:pos x="connsiteX6644" y="connsiteY6644"/>
              </a:cxn>
              <a:cxn ang="0">
                <a:pos x="connsiteX6645" y="connsiteY6645"/>
              </a:cxn>
              <a:cxn ang="0">
                <a:pos x="connsiteX6646" y="connsiteY6646"/>
              </a:cxn>
              <a:cxn ang="0">
                <a:pos x="connsiteX6647" y="connsiteY6647"/>
              </a:cxn>
              <a:cxn ang="0">
                <a:pos x="connsiteX6648" y="connsiteY6648"/>
              </a:cxn>
              <a:cxn ang="0">
                <a:pos x="connsiteX6649" y="connsiteY6649"/>
              </a:cxn>
              <a:cxn ang="0">
                <a:pos x="connsiteX6650" y="connsiteY6650"/>
              </a:cxn>
              <a:cxn ang="0">
                <a:pos x="connsiteX6651" y="connsiteY6651"/>
              </a:cxn>
              <a:cxn ang="0">
                <a:pos x="connsiteX6652" y="connsiteY6652"/>
              </a:cxn>
              <a:cxn ang="0">
                <a:pos x="connsiteX6653" y="connsiteY6653"/>
              </a:cxn>
              <a:cxn ang="0">
                <a:pos x="connsiteX6654" y="connsiteY6654"/>
              </a:cxn>
              <a:cxn ang="0">
                <a:pos x="connsiteX6655" y="connsiteY6655"/>
              </a:cxn>
              <a:cxn ang="0">
                <a:pos x="connsiteX6656" y="connsiteY6656"/>
              </a:cxn>
              <a:cxn ang="0">
                <a:pos x="connsiteX6657" y="connsiteY6657"/>
              </a:cxn>
              <a:cxn ang="0">
                <a:pos x="connsiteX6658" y="connsiteY6658"/>
              </a:cxn>
              <a:cxn ang="0">
                <a:pos x="connsiteX6659" y="connsiteY6659"/>
              </a:cxn>
              <a:cxn ang="0">
                <a:pos x="connsiteX6660" y="connsiteY6660"/>
              </a:cxn>
              <a:cxn ang="0">
                <a:pos x="connsiteX6661" y="connsiteY6661"/>
              </a:cxn>
              <a:cxn ang="0">
                <a:pos x="connsiteX6662" y="connsiteY6662"/>
              </a:cxn>
              <a:cxn ang="0">
                <a:pos x="connsiteX6663" y="connsiteY6663"/>
              </a:cxn>
              <a:cxn ang="0">
                <a:pos x="connsiteX6664" y="connsiteY6664"/>
              </a:cxn>
              <a:cxn ang="0">
                <a:pos x="connsiteX6665" y="connsiteY6665"/>
              </a:cxn>
              <a:cxn ang="0">
                <a:pos x="connsiteX6666" y="connsiteY6666"/>
              </a:cxn>
              <a:cxn ang="0">
                <a:pos x="connsiteX6667" y="connsiteY6667"/>
              </a:cxn>
              <a:cxn ang="0">
                <a:pos x="connsiteX6668" y="connsiteY6668"/>
              </a:cxn>
              <a:cxn ang="0">
                <a:pos x="connsiteX6669" y="connsiteY6669"/>
              </a:cxn>
              <a:cxn ang="0">
                <a:pos x="connsiteX6670" y="connsiteY6670"/>
              </a:cxn>
              <a:cxn ang="0">
                <a:pos x="connsiteX6671" y="connsiteY6671"/>
              </a:cxn>
              <a:cxn ang="0">
                <a:pos x="connsiteX6672" y="connsiteY6672"/>
              </a:cxn>
              <a:cxn ang="0">
                <a:pos x="connsiteX6673" y="connsiteY6673"/>
              </a:cxn>
              <a:cxn ang="0">
                <a:pos x="connsiteX6674" y="connsiteY6674"/>
              </a:cxn>
              <a:cxn ang="0">
                <a:pos x="connsiteX6675" y="connsiteY6675"/>
              </a:cxn>
              <a:cxn ang="0">
                <a:pos x="connsiteX6676" y="connsiteY6676"/>
              </a:cxn>
              <a:cxn ang="0">
                <a:pos x="connsiteX6677" y="connsiteY6677"/>
              </a:cxn>
              <a:cxn ang="0">
                <a:pos x="connsiteX6678" y="connsiteY6678"/>
              </a:cxn>
              <a:cxn ang="0">
                <a:pos x="connsiteX6679" y="connsiteY6679"/>
              </a:cxn>
              <a:cxn ang="0">
                <a:pos x="connsiteX6680" y="connsiteY6680"/>
              </a:cxn>
              <a:cxn ang="0">
                <a:pos x="connsiteX6681" y="connsiteY6681"/>
              </a:cxn>
              <a:cxn ang="0">
                <a:pos x="connsiteX6682" y="connsiteY6682"/>
              </a:cxn>
              <a:cxn ang="0">
                <a:pos x="connsiteX6683" y="connsiteY6683"/>
              </a:cxn>
              <a:cxn ang="0">
                <a:pos x="connsiteX6684" y="connsiteY6684"/>
              </a:cxn>
              <a:cxn ang="0">
                <a:pos x="connsiteX6685" y="connsiteY6685"/>
              </a:cxn>
              <a:cxn ang="0">
                <a:pos x="connsiteX6686" y="connsiteY6686"/>
              </a:cxn>
              <a:cxn ang="0">
                <a:pos x="connsiteX6687" y="connsiteY6687"/>
              </a:cxn>
              <a:cxn ang="0">
                <a:pos x="connsiteX6688" y="connsiteY6688"/>
              </a:cxn>
              <a:cxn ang="0">
                <a:pos x="connsiteX6689" y="connsiteY6689"/>
              </a:cxn>
              <a:cxn ang="0">
                <a:pos x="connsiteX6690" y="connsiteY6690"/>
              </a:cxn>
              <a:cxn ang="0">
                <a:pos x="connsiteX6691" y="connsiteY6691"/>
              </a:cxn>
              <a:cxn ang="0">
                <a:pos x="connsiteX6692" y="connsiteY6692"/>
              </a:cxn>
              <a:cxn ang="0">
                <a:pos x="connsiteX6693" y="connsiteY6693"/>
              </a:cxn>
              <a:cxn ang="0">
                <a:pos x="connsiteX6694" y="connsiteY6694"/>
              </a:cxn>
              <a:cxn ang="0">
                <a:pos x="connsiteX6695" y="connsiteY6695"/>
              </a:cxn>
              <a:cxn ang="0">
                <a:pos x="connsiteX6696" y="connsiteY6696"/>
              </a:cxn>
              <a:cxn ang="0">
                <a:pos x="connsiteX6697" y="connsiteY6697"/>
              </a:cxn>
              <a:cxn ang="0">
                <a:pos x="connsiteX6698" y="connsiteY6698"/>
              </a:cxn>
              <a:cxn ang="0">
                <a:pos x="connsiteX6699" y="connsiteY6699"/>
              </a:cxn>
              <a:cxn ang="0">
                <a:pos x="connsiteX6700" y="connsiteY6700"/>
              </a:cxn>
              <a:cxn ang="0">
                <a:pos x="connsiteX6701" y="connsiteY6701"/>
              </a:cxn>
              <a:cxn ang="0">
                <a:pos x="connsiteX6702" y="connsiteY6702"/>
              </a:cxn>
              <a:cxn ang="0">
                <a:pos x="connsiteX6703" y="connsiteY6703"/>
              </a:cxn>
              <a:cxn ang="0">
                <a:pos x="connsiteX6704" y="connsiteY6704"/>
              </a:cxn>
              <a:cxn ang="0">
                <a:pos x="connsiteX6705" y="connsiteY6705"/>
              </a:cxn>
              <a:cxn ang="0">
                <a:pos x="connsiteX6706" y="connsiteY6706"/>
              </a:cxn>
              <a:cxn ang="0">
                <a:pos x="connsiteX6707" y="connsiteY6707"/>
              </a:cxn>
              <a:cxn ang="0">
                <a:pos x="connsiteX6708" y="connsiteY6708"/>
              </a:cxn>
              <a:cxn ang="0">
                <a:pos x="connsiteX6709" y="connsiteY6709"/>
              </a:cxn>
              <a:cxn ang="0">
                <a:pos x="connsiteX6710" y="connsiteY6710"/>
              </a:cxn>
              <a:cxn ang="0">
                <a:pos x="connsiteX6711" y="connsiteY6711"/>
              </a:cxn>
              <a:cxn ang="0">
                <a:pos x="connsiteX6712" y="connsiteY6712"/>
              </a:cxn>
              <a:cxn ang="0">
                <a:pos x="connsiteX6713" y="connsiteY6713"/>
              </a:cxn>
              <a:cxn ang="0">
                <a:pos x="connsiteX6714" y="connsiteY6714"/>
              </a:cxn>
              <a:cxn ang="0">
                <a:pos x="connsiteX6715" y="connsiteY6715"/>
              </a:cxn>
              <a:cxn ang="0">
                <a:pos x="connsiteX6716" y="connsiteY6716"/>
              </a:cxn>
              <a:cxn ang="0">
                <a:pos x="connsiteX6717" y="connsiteY6717"/>
              </a:cxn>
              <a:cxn ang="0">
                <a:pos x="connsiteX6718" y="connsiteY6718"/>
              </a:cxn>
              <a:cxn ang="0">
                <a:pos x="connsiteX6719" y="connsiteY6719"/>
              </a:cxn>
              <a:cxn ang="0">
                <a:pos x="connsiteX6720" y="connsiteY6720"/>
              </a:cxn>
              <a:cxn ang="0">
                <a:pos x="connsiteX6721" y="connsiteY6721"/>
              </a:cxn>
              <a:cxn ang="0">
                <a:pos x="connsiteX6722" y="connsiteY6722"/>
              </a:cxn>
              <a:cxn ang="0">
                <a:pos x="connsiteX6723" y="connsiteY6723"/>
              </a:cxn>
              <a:cxn ang="0">
                <a:pos x="connsiteX6724" y="connsiteY6724"/>
              </a:cxn>
              <a:cxn ang="0">
                <a:pos x="connsiteX6725" y="connsiteY6725"/>
              </a:cxn>
              <a:cxn ang="0">
                <a:pos x="connsiteX6726" y="connsiteY6726"/>
              </a:cxn>
              <a:cxn ang="0">
                <a:pos x="connsiteX6727" y="connsiteY6727"/>
              </a:cxn>
              <a:cxn ang="0">
                <a:pos x="connsiteX6728" y="connsiteY6728"/>
              </a:cxn>
              <a:cxn ang="0">
                <a:pos x="connsiteX6729" y="connsiteY6729"/>
              </a:cxn>
              <a:cxn ang="0">
                <a:pos x="connsiteX6730" y="connsiteY6730"/>
              </a:cxn>
              <a:cxn ang="0">
                <a:pos x="connsiteX6731" y="connsiteY6731"/>
              </a:cxn>
              <a:cxn ang="0">
                <a:pos x="connsiteX6732" y="connsiteY6732"/>
              </a:cxn>
              <a:cxn ang="0">
                <a:pos x="connsiteX6733" y="connsiteY6733"/>
              </a:cxn>
              <a:cxn ang="0">
                <a:pos x="connsiteX6734" y="connsiteY6734"/>
              </a:cxn>
              <a:cxn ang="0">
                <a:pos x="connsiteX6735" y="connsiteY6735"/>
              </a:cxn>
              <a:cxn ang="0">
                <a:pos x="connsiteX6736" y="connsiteY6736"/>
              </a:cxn>
              <a:cxn ang="0">
                <a:pos x="connsiteX6737" y="connsiteY6737"/>
              </a:cxn>
              <a:cxn ang="0">
                <a:pos x="connsiteX6738" y="connsiteY6738"/>
              </a:cxn>
              <a:cxn ang="0">
                <a:pos x="connsiteX6739" y="connsiteY6739"/>
              </a:cxn>
              <a:cxn ang="0">
                <a:pos x="connsiteX6740" y="connsiteY6740"/>
              </a:cxn>
              <a:cxn ang="0">
                <a:pos x="connsiteX6741" y="connsiteY6741"/>
              </a:cxn>
              <a:cxn ang="0">
                <a:pos x="connsiteX6742" y="connsiteY6742"/>
              </a:cxn>
              <a:cxn ang="0">
                <a:pos x="connsiteX6743" y="connsiteY6743"/>
              </a:cxn>
              <a:cxn ang="0">
                <a:pos x="connsiteX6744" y="connsiteY6744"/>
              </a:cxn>
              <a:cxn ang="0">
                <a:pos x="connsiteX6745" y="connsiteY6745"/>
              </a:cxn>
              <a:cxn ang="0">
                <a:pos x="connsiteX6746" y="connsiteY6746"/>
              </a:cxn>
              <a:cxn ang="0">
                <a:pos x="connsiteX6747" y="connsiteY6747"/>
              </a:cxn>
              <a:cxn ang="0">
                <a:pos x="connsiteX6748" y="connsiteY6748"/>
              </a:cxn>
              <a:cxn ang="0">
                <a:pos x="connsiteX6749" y="connsiteY6749"/>
              </a:cxn>
              <a:cxn ang="0">
                <a:pos x="connsiteX6750" y="connsiteY6750"/>
              </a:cxn>
              <a:cxn ang="0">
                <a:pos x="connsiteX6751" y="connsiteY6751"/>
              </a:cxn>
              <a:cxn ang="0">
                <a:pos x="connsiteX6752" y="connsiteY6752"/>
              </a:cxn>
              <a:cxn ang="0">
                <a:pos x="connsiteX6753" y="connsiteY6753"/>
              </a:cxn>
              <a:cxn ang="0">
                <a:pos x="connsiteX6754" y="connsiteY6754"/>
              </a:cxn>
              <a:cxn ang="0">
                <a:pos x="connsiteX6755" y="connsiteY6755"/>
              </a:cxn>
              <a:cxn ang="0">
                <a:pos x="connsiteX6756" y="connsiteY6756"/>
              </a:cxn>
              <a:cxn ang="0">
                <a:pos x="connsiteX6757" y="connsiteY6757"/>
              </a:cxn>
              <a:cxn ang="0">
                <a:pos x="connsiteX6758" y="connsiteY6758"/>
              </a:cxn>
              <a:cxn ang="0">
                <a:pos x="connsiteX6759" y="connsiteY6759"/>
              </a:cxn>
              <a:cxn ang="0">
                <a:pos x="connsiteX6760" y="connsiteY6760"/>
              </a:cxn>
              <a:cxn ang="0">
                <a:pos x="connsiteX6761" y="connsiteY6761"/>
              </a:cxn>
              <a:cxn ang="0">
                <a:pos x="connsiteX6762" y="connsiteY6762"/>
              </a:cxn>
              <a:cxn ang="0">
                <a:pos x="connsiteX6763" y="connsiteY6763"/>
              </a:cxn>
              <a:cxn ang="0">
                <a:pos x="connsiteX6764" y="connsiteY6764"/>
              </a:cxn>
              <a:cxn ang="0">
                <a:pos x="connsiteX6765" y="connsiteY6765"/>
              </a:cxn>
              <a:cxn ang="0">
                <a:pos x="connsiteX6766" y="connsiteY6766"/>
              </a:cxn>
              <a:cxn ang="0">
                <a:pos x="connsiteX6767" y="connsiteY6767"/>
              </a:cxn>
              <a:cxn ang="0">
                <a:pos x="connsiteX6768" y="connsiteY6768"/>
              </a:cxn>
              <a:cxn ang="0">
                <a:pos x="connsiteX6769" y="connsiteY6769"/>
              </a:cxn>
              <a:cxn ang="0">
                <a:pos x="connsiteX6770" y="connsiteY6770"/>
              </a:cxn>
              <a:cxn ang="0">
                <a:pos x="connsiteX6771" y="connsiteY6771"/>
              </a:cxn>
              <a:cxn ang="0">
                <a:pos x="connsiteX6772" y="connsiteY6772"/>
              </a:cxn>
              <a:cxn ang="0">
                <a:pos x="connsiteX6773" y="connsiteY6773"/>
              </a:cxn>
              <a:cxn ang="0">
                <a:pos x="connsiteX6774" y="connsiteY6774"/>
              </a:cxn>
              <a:cxn ang="0">
                <a:pos x="connsiteX6775" y="connsiteY6775"/>
              </a:cxn>
              <a:cxn ang="0">
                <a:pos x="connsiteX6776" y="connsiteY6776"/>
              </a:cxn>
              <a:cxn ang="0">
                <a:pos x="connsiteX6777" y="connsiteY6777"/>
              </a:cxn>
              <a:cxn ang="0">
                <a:pos x="connsiteX6778" y="connsiteY6778"/>
              </a:cxn>
              <a:cxn ang="0">
                <a:pos x="connsiteX6779" y="connsiteY6779"/>
              </a:cxn>
              <a:cxn ang="0">
                <a:pos x="connsiteX6780" y="connsiteY6780"/>
              </a:cxn>
              <a:cxn ang="0">
                <a:pos x="connsiteX6781" y="connsiteY6781"/>
              </a:cxn>
              <a:cxn ang="0">
                <a:pos x="connsiteX6782" y="connsiteY6782"/>
              </a:cxn>
              <a:cxn ang="0">
                <a:pos x="connsiteX6783" y="connsiteY6783"/>
              </a:cxn>
              <a:cxn ang="0">
                <a:pos x="connsiteX6784" y="connsiteY6784"/>
              </a:cxn>
              <a:cxn ang="0">
                <a:pos x="connsiteX6785" y="connsiteY6785"/>
              </a:cxn>
              <a:cxn ang="0">
                <a:pos x="connsiteX6786" y="connsiteY6786"/>
              </a:cxn>
              <a:cxn ang="0">
                <a:pos x="connsiteX6787" y="connsiteY6787"/>
              </a:cxn>
              <a:cxn ang="0">
                <a:pos x="connsiteX6788" y="connsiteY6788"/>
              </a:cxn>
              <a:cxn ang="0">
                <a:pos x="connsiteX6789" y="connsiteY6789"/>
              </a:cxn>
              <a:cxn ang="0">
                <a:pos x="connsiteX6790" y="connsiteY6790"/>
              </a:cxn>
              <a:cxn ang="0">
                <a:pos x="connsiteX6791" y="connsiteY6791"/>
              </a:cxn>
              <a:cxn ang="0">
                <a:pos x="connsiteX6792" y="connsiteY6792"/>
              </a:cxn>
              <a:cxn ang="0">
                <a:pos x="connsiteX6793" y="connsiteY6793"/>
              </a:cxn>
              <a:cxn ang="0">
                <a:pos x="connsiteX6794" y="connsiteY6794"/>
              </a:cxn>
              <a:cxn ang="0">
                <a:pos x="connsiteX6795" y="connsiteY6795"/>
              </a:cxn>
              <a:cxn ang="0">
                <a:pos x="connsiteX6796" y="connsiteY6796"/>
              </a:cxn>
              <a:cxn ang="0">
                <a:pos x="connsiteX6797" y="connsiteY6797"/>
              </a:cxn>
              <a:cxn ang="0">
                <a:pos x="connsiteX6798" y="connsiteY6798"/>
              </a:cxn>
              <a:cxn ang="0">
                <a:pos x="connsiteX6799" y="connsiteY6799"/>
              </a:cxn>
              <a:cxn ang="0">
                <a:pos x="connsiteX6800" y="connsiteY6800"/>
              </a:cxn>
              <a:cxn ang="0">
                <a:pos x="connsiteX6801" y="connsiteY6801"/>
              </a:cxn>
              <a:cxn ang="0">
                <a:pos x="connsiteX6802" y="connsiteY6802"/>
              </a:cxn>
              <a:cxn ang="0">
                <a:pos x="connsiteX6803" y="connsiteY6803"/>
              </a:cxn>
              <a:cxn ang="0">
                <a:pos x="connsiteX6804" y="connsiteY6804"/>
              </a:cxn>
              <a:cxn ang="0">
                <a:pos x="connsiteX6805" y="connsiteY6805"/>
              </a:cxn>
              <a:cxn ang="0">
                <a:pos x="connsiteX6806" y="connsiteY6806"/>
              </a:cxn>
              <a:cxn ang="0">
                <a:pos x="connsiteX6807" y="connsiteY6807"/>
              </a:cxn>
              <a:cxn ang="0">
                <a:pos x="connsiteX6808" y="connsiteY6808"/>
              </a:cxn>
              <a:cxn ang="0">
                <a:pos x="connsiteX6809" y="connsiteY6809"/>
              </a:cxn>
              <a:cxn ang="0">
                <a:pos x="connsiteX6810" y="connsiteY6810"/>
              </a:cxn>
              <a:cxn ang="0">
                <a:pos x="connsiteX6811" y="connsiteY6811"/>
              </a:cxn>
              <a:cxn ang="0">
                <a:pos x="connsiteX6812" y="connsiteY6812"/>
              </a:cxn>
              <a:cxn ang="0">
                <a:pos x="connsiteX6813" y="connsiteY6813"/>
              </a:cxn>
              <a:cxn ang="0">
                <a:pos x="connsiteX6814" y="connsiteY6814"/>
              </a:cxn>
              <a:cxn ang="0">
                <a:pos x="connsiteX6815" y="connsiteY6815"/>
              </a:cxn>
              <a:cxn ang="0">
                <a:pos x="connsiteX6816" y="connsiteY6816"/>
              </a:cxn>
              <a:cxn ang="0">
                <a:pos x="connsiteX6817" y="connsiteY6817"/>
              </a:cxn>
              <a:cxn ang="0">
                <a:pos x="connsiteX6818" y="connsiteY6818"/>
              </a:cxn>
              <a:cxn ang="0">
                <a:pos x="connsiteX6819" y="connsiteY6819"/>
              </a:cxn>
              <a:cxn ang="0">
                <a:pos x="connsiteX6820" y="connsiteY6820"/>
              </a:cxn>
              <a:cxn ang="0">
                <a:pos x="connsiteX6821" y="connsiteY6821"/>
              </a:cxn>
              <a:cxn ang="0">
                <a:pos x="connsiteX6822" y="connsiteY6822"/>
              </a:cxn>
              <a:cxn ang="0">
                <a:pos x="connsiteX6823" y="connsiteY6823"/>
              </a:cxn>
              <a:cxn ang="0">
                <a:pos x="connsiteX6824" y="connsiteY6824"/>
              </a:cxn>
              <a:cxn ang="0">
                <a:pos x="connsiteX6825" y="connsiteY6825"/>
              </a:cxn>
              <a:cxn ang="0">
                <a:pos x="connsiteX6826" y="connsiteY6826"/>
              </a:cxn>
              <a:cxn ang="0">
                <a:pos x="connsiteX6827" y="connsiteY6827"/>
              </a:cxn>
              <a:cxn ang="0">
                <a:pos x="connsiteX6828" y="connsiteY6828"/>
              </a:cxn>
              <a:cxn ang="0">
                <a:pos x="connsiteX6829" y="connsiteY6829"/>
              </a:cxn>
              <a:cxn ang="0">
                <a:pos x="connsiteX6830" y="connsiteY6830"/>
              </a:cxn>
              <a:cxn ang="0">
                <a:pos x="connsiteX6831" y="connsiteY6831"/>
              </a:cxn>
              <a:cxn ang="0">
                <a:pos x="connsiteX6832" y="connsiteY6832"/>
              </a:cxn>
              <a:cxn ang="0">
                <a:pos x="connsiteX6833" y="connsiteY6833"/>
              </a:cxn>
              <a:cxn ang="0">
                <a:pos x="connsiteX6834" y="connsiteY6834"/>
              </a:cxn>
              <a:cxn ang="0">
                <a:pos x="connsiteX6835" y="connsiteY6835"/>
              </a:cxn>
              <a:cxn ang="0">
                <a:pos x="connsiteX6836" y="connsiteY6836"/>
              </a:cxn>
              <a:cxn ang="0">
                <a:pos x="connsiteX6837" y="connsiteY6837"/>
              </a:cxn>
              <a:cxn ang="0">
                <a:pos x="connsiteX6838" y="connsiteY6838"/>
              </a:cxn>
              <a:cxn ang="0">
                <a:pos x="connsiteX6839" y="connsiteY6839"/>
              </a:cxn>
              <a:cxn ang="0">
                <a:pos x="connsiteX6840" y="connsiteY6840"/>
              </a:cxn>
              <a:cxn ang="0">
                <a:pos x="connsiteX6841" y="connsiteY6841"/>
              </a:cxn>
              <a:cxn ang="0">
                <a:pos x="connsiteX6842" y="connsiteY6842"/>
              </a:cxn>
              <a:cxn ang="0">
                <a:pos x="connsiteX6843" y="connsiteY6843"/>
              </a:cxn>
              <a:cxn ang="0">
                <a:pos x="connsiteX6844" y="connsiteY6844"/>
              </a:cxn>
              <a:cxn ang="0">
                <a:pos x="connsiteX6845" y="connsiteY6845"/>
              </a:cxn>
              <a:cxn ang="0">
                <a:pos x="connsiteX6846" y="connsiteY6846"/>
              </a:cxn>
              <a:cxn ang="0">
                <a:pos x="connsiteX6847" y="connsiteY6847"/>
              </a:cxn>
              <a:cxn ang="0">
                <a:pos x="connsiteX6848" y="connsiteY6848"/>
              </a:cxn>
              <a:cxn ang="0">
                <a:pos x="connsiteX6849" y="connsiteY6849"/>
              </a:cxn>
              <a:cxn ang="0">
                <a:pos x="connsiteX6850" y="connsiteY6850"/>
              </a:cxn>
              <a:cxn ang="0">
                <a:pos x="connsiteX6851" y="connsiteY6851"/>
              </a:cxn>
              <a:cxn ang="0">
                <a:pos x="connsiteX6852" y="connsiteY6852"/>
              </a:cxn>
              <a:cxn ang="0">
                <a:pos x="connsiteX6853" y="connsiteY6853"/>
              </a:cxn>
              <a:cxn ang="0">
                <a:pos x="connsiteX6854" y="connsiteY6854"/>
              </a:cxn>
              <a:cxn ang="0">
                <a:pos x="connsiteX6855" y="connsiteY6855"/>
              </a:cxn>
              <a:cxn ang="0">
                <a:pos x="connsiteX6856" y="connsiteY6856"/>
              </a:cxn>
              <a:cxn ang="0">
                <a:pos x="connsiteX6857" y="connsiteY6857"/>
              </a:cxn>
              <a:cxn ang="0">
                <a:pos x="connsiteX6858" y="connsiteY6858"/>
              </a:cxn>
              <a:cxn ang="0">
                <a:pos x="connsiteX6859" y="connsiteY6859"/>
              </a:cxn>
              <a:cxn ang="0">
                <a:pos x="connsiteX6860" y="connsiteY6860"/>
              </a:cxn>
              <a:cxn ang="0">
                <a:pos x="connsiteX6861" y="connsiteY6861"/>
              </a:cxn>
              <a:cxn ang="0">
                <a:pos x="connsiteX6862" y="connsiteY6862"/>
              </a:cxn>
              <a:cxn ang="0">
                <a:pos x="connsiteX6863" y="connsiteY6863"/>
              </a:cxn>
              <a:cxn ang="0">
                <a:pos x="connsiteX6864" y="connsiteY6864"/>
              </a:cxn>
              <a:cxn ang="0">
                <a:pos x="connsiteX6865" y="connsiteY6865"/>
              </a:cxn>
              <a:cxn ang="0">
                <a:pos x="connsiteX6866" y="connsiteY6866"/>
              </a:cxn>
              <a:cxn ang="0">
                <a:pos x="connsiteX6867" y="connsiteY6867"/>
              </a:cxn>
              <a:cxn ang="0">
                <a:pos x="connsiteX6868" y="connsiteY6868"/>
              </a:cxn>
              <a:cxn ang="0">
                <a:pos x="connsiteX6869" y="connsiteY6869"/>
              </a:cxn>
              <a:cxn ang="0">
                <a:pos x="connsiteX6870" y="connsiteY6870"/>
              </a:cxn>
              <a:cxn ang="0">
                <a:pos x="connsiteX6871" y="connsiteY6871"/>
              </a:cxn>
              <a:cxn ang="0">
                <a:pos x="connsiteX6872" y="connsiteY6872"/>
              </a:cxn>
              <a:cxn ang="0">
                <a:pos x="connsiteX6873" y="connsiteY6873"/>
              </a:cxn>
              <a:cxn ang="0">
                <a:pos x="connsiteX6874" y="connsiteY6874"/>
              </a:cxn>
              <a:cxn ang="0">
                <a:pos x="connsiteX6875" y="connsiteY6875"/>
              </a:cxn>
              <a:cxn ang="0">
                <a:pos x="connsiteX6876" y="connsiteY6876"/>
              </a:cxn>
              <a:cxn ang="0">
                <a:pos x="connsiteX6877" y="connsiteY6877"/>
              </a:cxn>
              <a:cxn ang="0">
                <a:pos x="connsiteX6878" y="connsiteY6878"/>
              </a:cxn>
              <a:cxn ang="0">
                <a:pos x="connsiteX6879" y="connsiteY6879"/>
              </a:cxn>
              <a:cxn ang="0">
                <a:pos x="connsiteX6880" y="connsiteY6880"/>
              </a:cxn>
              <a:cxn ang="0">
                <a:pos x="connsiteX6881" y="connsiteY6881"/>
              </a:cxn>
              <a:cxn ang="0">
                <a:pos x="connsiteX6882" y="connsiteY6882"/>
              </a:cxn>
              <a:cxn ang="0">
                <a:pos x="connsiteX6883" y="connsiteY6883"/>
              </a:cxn>
              <a:cxn ang="0">
                <a:pos x="connsiteX6884" y="connsiteY6884"/>
              </a:cxn>
              <a:cxn ang="0">
                <a:pos x="connsiteX6885" y="connsiteY6885"/>
              </a:cxn>
              <a:cxn ang="0">
                <a:pos x="connsiteX6886" y="connsiteY6886"/>
              </a:cxn>
              <a:cxn ang="0">
                <a:pos x="connsiteX6887" y="connsiteY6887"/>
              </a:cxn>
              <a:cxn ang="0">
                <a:pos x="connsiteX6888" y="connsiteY6888"/>
              </a:cxn>
              <a:cxn ang="0">
                <a:pos x="connsiteX6889" y="connsiteY6889"/>
              </a:cxn>
              <a:cxn ang="0">
                <a:pos x="connsiteX6890" y="connsiteY6890"/>
              </a:cxn>
              <a:cxn ang="0">
                <a:pos x="connsiteX6891" y="connsiteY6891"/>
              </a:cxn>
              <a:cxn ang="0">
                <a:pos x="connsiteX6892" y="connsiteY6892"/>
              </a:cxn>
              <a:cxn ang="0">
                <a:pos x="connsiteX6893" y="connsiteY6893"/>
              </a:cxn>
              <a:cxn ang="0">
                <a:pos x="connsiteX6894" y="connsiteY6894"/>
              </a:cxn>
              <a:cxn ang="0">
                <a:pos x="connsiteX6895" y="connsiteY6895"/>
              </a:cxn>
              <a:cxn ang="0">
                <a:pos x="connsiteX6896" y="connsiteY6896"/>
              </a:cxn>
              <a:cxn ang="0">
                <a:pos x="connsiteX6897" y="connsiteY6897"/>
              </a:cxn>
              <a:cxn ang="0">
                <a:pos x="connsiteX6898" y="connsiteY6898"/>
              </a:cxn>
              <a:cxn ang="0">
                <a:pos x="connsiteX6899" y="connsiteY6899"/>
              </a:cxn>
              <a:cxn ang="0">
                <a:pos x="connsiteX6900" y="connsiteY6900"/>
              </a:cxn>
              <a:cxn ang="0">
                <a:pos x="connsiteX6901" y="connsiteY6901"/>
              </a:cxn>
              <a:cxn ang="0">
                <a:pos x="connsiteX6902" y="connsiteY6902"/>
              </a:cxn>
              <a:cxn ang="0">
                <a:pos x="connsiteX6903" y="connsiteY6903"/>
              </a:cxn>
              <a:cxn ang="0">
                <a:pos x="connsiteX6904" y="connsiteY6904"/>
              </a:cxn>
              <a:cxn ang="0">
                <a:pos x="connsiteX6905" y="connsiteY6905"/>
              </a:cxn>
              <a:cxn ang="0">
                <a:pos x="connsiteX6906" y="connsiteY6906"/>
              </a:cxn>
              <a:cxn ang="0">
                <a:pos x="connsiteX6907" y="connsiteY6907"/>
              </a:cxn>
              <a:cxn ang="0">
                <a:pos x="connsiteX6908" y="connsiteY6908"/>
              </a:cxn>
              <a:cxn ang="0">
                <a:pos x="connsiteX6909" y="connsiteY6909"/>
              </a:cxn>
              <a:cxn ang="0">
                <a:pos x="connsiteX6910" y="connsiteY6910"/>
              </a:cxn>
              <a:cxn ang="0">
                <a:pos x="connsiteX6911" y="connsiteY6911"/>
              </a:cxn>
              <a:cxn ang="0">
                <a:pos x="connsiteX6912" y="connsiteY6912"/>
              </a:cxn>
              <a:cxn ang="0">
                <a:pos x="connsiteX6913" y="connsiteY6913"/>
              </a:cxn>
              <a:cxn ang="0">
                <a:pos x="connsiteX6914" y="connsiteY6914"/>
              </a:cxn>
              <a:cxn ang="0">
                <a:pos x="connsiteX6915" y="connsiteY6915"/>
              </a:cxn>
              <a:cxn ang="0">
                <a:pos x="connsiteX6916" y="connsiteY6916"/>
              </a:cxn>
              <a:cxn ang="0">
                <a:pos x="connsiteX6917" y="connsiteY6917"/>
              </a:cxn>
              <a:cxn ang="0">
                <a:pos x="connsiteX6918" y="connsiteY6918"/>
              </a:cxn>
              <a:cxn ang="0">
                <a:pos x="connsiteX6919" y="connsiteY6919"/>
              </a:cxn>
              <a:cxn ang="0">
                <a:pos x="connsiteX6920" y="connsiteY6920"/>
              </a:cxn>
              <a:cxn ang="0">
                <a:pos x="connsiteX6921" y="connsiteY6921"/>
              </a:cxn>
              <a:cxn ang="0">
                <a:pos x="connsiteX6922" y="connsiteY6922"/>
              </a:cxn>
              <a:cxn ang="0">
                <a:pos x="connsiteX6923" y="connsiteY6923"/>
              </a:cxn>
              <a:cxn ang="0">
                <a:pos x="connsiteX6924" y="connsiteY6924"/>
              </a:cxn>
              <a:cxn ang="0">
                <a:pos x="connsiteX6925" y="connsiteY6925"/>
              </a:cxn>
              <a:cxn ang="0">
                <a:pos x="connsiteX6926" y="connsiteY6926"/>
              </a:cxn>
              <a:cxn ang="0">
                <a:pos x="connsiteX6927" y="connsiteY6927"/>
              </a:cxn>
              <a:cxn ang="0">
                <a:pos x="connsiteX6928" y="connsiteY6928"/>
              </a:cxn>
              <a:cxn ang="0">
                <a:pos x="connsiteX6929" y="connsiteY6929"/>
              </a:cxn>
              <a:cxn ang="0">
                <a:pos x="connsiteX6930" y="connsiteY6930"/>
              </a:cxn>
              <a:cxn ang="0">
                <a:pos x="connsiteX6931" y="connsiteY6931"/>
              </a:cxn>
              <a:cxn ang="0">
                <a:pos x="connsiteX6932" y="connsiteY6932"/>
              </a:cxn>
              <a:cxn ang="0">
                <a:pos x="connsiteX6933" y="connsiteY6933"/>
              </a:cxn>
              <a:cxn ang="0">
                <a:pos x="connsiteX6934" y="connsiteY6934"/>
              </a:cxn>
              <a:cxn ang="0">
                <a:pos x="connsiteX6935" y="connsiteY6935"/>
              </a:cxn>
              <a:cxn ang="0">
                <a:pos x="connsiteX6936" y="connsiteY6936"/>
              </a:cxn>
              <a:cxn ang="0">
                <a:pos x="connsiteX6937" y="connsiteY6937"/>
              </a:cxn>
              <a:cxn ang="0">
                <a:pos x="connsiteX6938" y="connsiteY6938"/>
              </a:cxn>
              <a:cxn ang="0">
                <a:pos x="connsiteX6939" y="connsiteY6939"/>
              </a:cxn>
              <a:cxn ang="0">
                <a:pos x="connsiteX6940" y="connsiteY6940"/>
              </a:cxn>
              <a:cxn ang="0">
                <a:pos x="connsiteX6941" y="connsiteY6941"/>
              </a:cxn>
              <a:cxn ang="0">
                <a:pos x="connsiteX6942" y="connsiteY6942"/>
              </a:cxn>
              <a:cxn ang="0">
                <a:pos x="connsiteX6943" y="connsiteY6943"/>
              </a:cxn>
              <a:cxn ang="0">
                <a:pos x="connsiteX6944" y="connsiteY6944"/>
              </a:cxn>
              <a:cxn ang="0">
                <a:pos x="connsiteX6945" y="connsiteY6945"/>
              </a:cxn>
              <a:cxn ang="0">
                <a:pos x="connsiteX6946" y="connsiteY6946"/>
              </a:cxn>
              <a:cxn ang="0">
                <a:pos x="connsiteX6947" y="connsiteY6947"/>
              </a:cxn>
              <a:cxn ang="0">
                <a:pos x="connsiteX6948" y="connsiteY6948"/>
              </a:cxn>
              <a:cxn ang="0">
                <a:pos x="connsiteX6949" y="connsiteY6949"/>
              </a:cxn>
              <a:cxn ang="0">
                <a:pos x="connsiteX6950" y="connsiteY6950"/>
              </a:cxn>
              <a:cxn ang="0">
                <a:pos x="connsiteX6951" y="connsiteY6951"/>
              </a:cxn>
              <a:cxn ang="0">
                <a:pos x="connsiteX6952" y="connsiteY6952"/>
              </a:cxn>
              <a:cxn ang="0">
                <a:pos x="connsiteX6953" y="connsiteY6953"/>
              </a:cxn>
              <a:cxn ang="0">
                <a:pos x="connsiteX6954" y="connsiteY6954"/>
              </a:cxn>
              <a:cxn ang="0">
                <a:pos x="connsiteX6955" y="connsiteY6955"/>
              </a:cxn>
              <a:cxn ang="0">
                <a:pos x="connsiteX6956" y="connsiteY6956"/>
              </a:cxn>
              <a:cxn ang="0">
                <a:pos x="connsiteX6957" y="connsiteY6957"/>
              </a:cxn>
              <a:cxn ang="0">
                <a:pos x="connsiteX6958" y="connsiteY6958"/>
              </a:cxn>
              <a:cxn ang="0">
                <a:pos x="connsiteX6959" y="connsiteY6959"/>
              </a:cxn>
              <a:cxn ang="0">
                <a:pos x="connsiteX6960" y="connsiteY6960"/>
              </a:cxn>
              <a:cxn ang="0">
                <a:pos x="connsiteX6961" y="connsiteY6961"/>
              </a:cxn>
              <a:cxn ang="0">
                <a:pos x="connsiteX6962" y="connsiteY6962"/>
              </a:cxn>
              <a:cxn ang="0">
                <a:pos x="connsiteX6963" y="connsiteY6963"/>
              </a:cxn>
              <a:cxn ang="0">
                <a:pos x="connsiteX6964" y="connsiteY6964"/>
              </a:cxn>
              <a:cxn ang="0">
                <a:pos x="connsiteX6965" y="connsiteY6965"/>
              </a:cxn>
              <a:cxn ang="0">
                <a:pos x="connsiteX6966" y="connsiteY6966"/>
              </a:cxn>
              <a:cxn ang="0">
                <a:pos x="connsiteX6967" y="connsiteY6967"/>
              </a:cxn>
              <a:cxn ang="0">
                <a:pos x="connsiteX6968" y="connsiteY6968"/>
              </a:cxn>
              <a:cxn ang="0">
                <a:pos x="connsiteX6969" y="connsiteY6969"/>
              </a:cxn>
              <a:cxn ang="0">
                <a:pos x="connsiteX6970" y="connsiteY6970"/>
              </a:cxn>
              <a:cxn ang="0">
                <a:pos x="connsiteX6971" y="connsiteY6971"/>
              </a:cxn>
              <a:cxn ang="0">
                <a:pos x="connsiteX6972" y="connsiteY6972"/>
              </a:cxn>
              <a:cxn ang="0">
                <a:pos x="connsiteX6973" y="connsiteY6973"/>
              </a:cxn>
              <a:cxn ang="0">
                <a:pos x="connsiteX6974" y="connsiteY6974"/>
              </a:cxn>
              <a:cxn ang="0">
                <a:pos x="connsiteX6975" y="connsiteY6975"/>
              </a:cxn>
              <a:cxn ang="0">
                <a:pos x="connsiteX6976" y="connsiteY6976"/>
              </a:cxn>
              <a:cxn ang="0">
                <a:pos x="connsiteX6977" y="connsiteY6977"/>
              </a:cxn>
              <a:cxn ang="0">
                <a:pos x="connsiteX6978" y="connsiteY6978"/>
              </a:cxn>
              <a:cxn ang="0">
                <a:pos x="connsiteX6979" y="connsiteY6979"/>
              </a:cxn>
              <a:cxn ang="0">
                <a:pos x="connsiteX6980" y="connsiteY6980"/>
              </a:cxn>
              <a:cxn ang="0">
                <a:pos x="connsiteX6981" y="connsiteY6981"/>
              </a:cxn>
              <a:cxn ang="0">
                <a:pos x="connsiteX6982" y="connsiteY6982"/>
              </a:cxn>
              <a:cxn ang="0">
                <a:pos x="connsiteX6983" y="connsiteY6983"/>
              </a:cxn>
              <a:cxn ang="0">
                <a:pos x="connsiteX6984" y="connsiteY6984"/>
              </a:cxn>
              <a:cxn ang="0">
                <a:pos x="connsiteX6985" y="connsiteY6985"/>
              </a:cxn>
              <a:cxn ang="0">
                <a:pos x="connsiteX6986" y="connsiteY6986"/>
              </a:cxn>
              <a:cxn ang="0">
                <a:pos x="connsiteX6987" y="connsiteY6987"/>
              </a:cxn>
              <a:cxn ang="0">
                <a:pos x="connsiteX6988" y="connsiteY6988"/>
              </a:cxn>
              <a:cxn ang="0">
                <a:pos x="connsiteX6989" y="connsiteY6989"/>
              </a:cxn>
              <a:cxn ang="0">
                <a:pos x="connsiteX6990" y="connsiteY6990"/>
              </a:cxn>
              <a:cxn ang="0">
                <a:pos x="connsiteX6991" y="connsiteY6991"/>
              </a:cxn>
              <a:cxn ang="0">
                <a:pos x="connsiteX6992" y="connsiteY6992"/>
              </a:cxn>
              <a:cxn ang="0">
                <a:pos x="connsiteX6993" y="connsiteY6993"/>
              </a:cxn>
              <a:cxn ang="0">
                <a:pos x="connsiteX6994" y="connsiteY6994"/>
              </a:cxn>
              <a:cxn ang="0">
                <a:pos x="connsiteX6995" y="connsiteY6995"/>
              </a:cxn>
              <a:cxn ang="0">
                <a:pos x="connsiteX6996" y="connsiteY6996"/>
              </a:cxn>
              <a:cxn ang="0">
                <a:pos x="connsiteX6997" y="connsiteY6997"/>
              </a:cxn>
              <a:cxn ang="0">
                <a:pos x="connsiteX6998" y="connsiteY6998"/>
              </a:cxn>
              <a:cxn ang="0">
                <a:pos x="connsiteX6999" y="connsiteY6999"/>
              </a:cxn>
              <a:cxn ang="0">
                <a:pos x="connsiteX7000" y="connsiteY7000"/>
              </a:cxn>
              <a:cxn ang="0">
                <a:pos x="connsiteX7001" y="connsiteY7001"/>
              </a:cxn>
              <a:cxn ang="0">
                <a:pos x="connsiteX7002" y="connsiteY7002"/>
              </a:cxn>
              <a:cxn ang="0">
                <a:pos x="connsiteX7003" y="connsiteY7003"/>
              </a:cxn>
              <a:cxn ang="0">
                <a:pos x="connsiteX7004" y="connsiteY7004"/>
              </a:cxn>
              <a:cxn ang="0">
                <a:pos x="connsiteX7005" y="connsiteY7005"/>
              </a:cxn>
              <a:cxn ang="0">
                <a:pos x="connsiteX7006" y="connsiteY7006"/>
              </a:cxn>
              <a:cxn ang="0">
                <a:pos x="connsiteX7007" y="connsiteY7007"/>
              </a:cxn>
              <a:cxn ang="0">
                <a:pos x="connsiteX7008" y="connsiteY7008"/>
              </a:cxn>
              <a:cxn ang="0">
                <a:pos x="connsiteX7009" y="connsiteY7009"/>
              </a:cxn>
              <a:cxn ang="0">
                <a:pos x="connsiteX7010" y="connsiteY7010"/>
              </a:cxn>
              <a:cxn ang="0">
                <a:pos x="connsiteX7011" y="connsiteY7011"/>
              </a:cxn>
              <a:cxn ang="0">
                <a:pos x="connsiteX7012" y="connsiteY7012"/>
              </a:cxn>
              <a:cxn ang="0">
                <a:pos x="connsiteX7013" y="connsiteY7013"/>
              </a:cxn>
              <a:cxn ang="0">
                <a:pos x="connsiteX7014" y="connsiteY7014"/>
              </a:cxn>
              <a:cxn ang="0">
                <a:pos x="connsiteX7015" y="connsiteY7015"/>
              </a:cxn>
              <a:cxn ang="0">
                <a:pos x="connsiteX7016" y="connsiteY7016"/>
              </a:cxn>
              <a:cxn ang="0">
                <a:pos x="connsiteX7017" y="connsiteY7017"/>
              </a:cxn>
              <a:cxn ang="0">
                <a:pos x="connsiteX7018" y="connsiteY7018"/>
              </a:cxn>
              <a:cxn ang="0">
                <a:pos x="connsiteX7019" y="connsiteY7019"/>
              </a:cxn>
              <a:cxn ang="0">
                <a:pos x="connsiteX7020" y="connsiteY7020"/>
              </a:cxn>
              <a:cxn ang="0">
                <a:pos x="connsiteX7021" y="connsiteY7021"/>
              </a:cxn>
              <a:cxn ang="0">
                <a:pos x="connsiteX7022" y="connsiteY7022"/>
              </a:cxn>
              <a:cxn ang="0">
                <a:pos x="connsiteX7023" y="connsiteY7023"/>
              </a:cxn>
              <a:cxn ang="0">
                <a:pos x="connsiteX7024" y="connsiteY7024"/>
              </a:cxn>
              <a:cxn ang="0">
                <a:pos x="connsiteX7025" y="connsiteY7025"/>
              </a:cxn>
              <a:cxn ang="0">
                <a:pos x="connsiteX7026" y="connsiteY7026"/>
              </a:cxn>
              <a:cxn ang="0">
                <a:pos x="connsiteX7027" y="connsiteY7027"/>
              </a:cxn>
              <a:cxn ang="0">
                <a:pos x="connsiteX7028" y="connsiteY7028"/>
              </a:cxn>
              <a:cxn ang="0">
                <a:pos x="connsiteX7029" y="connsiteY7029"/>
              </a:cxn>
              <a:cxn ang="0">
                <a:pos x="connsiteX7030" y="connsiteY7030"/>
              </a:cxn>
              <a:cxn ang="0">
                <a:pos x="connsiteX7031" y="connsiteY7031"/>
              </a:cxn>
              <a:cxn ang="0">
                <a:pos x="connsiteX7032" y="connsiteY7032"/>
              </a:cxn>
              <a:cxn ang="0">
                <a:pos x="connsiteX7033" y="connsiteY7033"/>
              </a:cxn>
              <a:cxn ang="0">
                <a:pos x="connsiteX7034" y="connsiteY7034"/>
              </a:cxn>
              <a:cxn ang="0">
                <a:pos x="connsiteX7035" y="connsiteY7035"/>
              </a:cxn>
              <a:cxn ang="0">
                <a:pos x="connsiteX7036" y="connsiteY7036"/>
              </a:cxn>
              <a:cxn ang="0">
                <a:pos x="connsiteX7037" y="connsiteY7037"/>
              </a:cxn>
              <a:cxn ang="0">
                <a:pos x="connsiteX7038" y="connsiteY7038"/>
              </a:cxn>
              <a:cxn ang="0">
                <a:pos x="connsiteX7039" y="connsiteY7039"/>
              </a:cxn>
              <a:cxn ang="0">
                <a:pos x="connsiteX7040" y="connsiteY7040"/>
              </a:cxn>
              <a:cxn ang="0">
                <a:pos x="connsiteX7041" y="connsiteY7041"/>
              </a:cxn>
              <a:cxn ang="0">
                <a:pos x="connsiteX7042" y="connsiteY7042"/>
              </a:cxn>
              <a:cxn ang="0">
                <a:pos x="connsiteX7043" y="connsiteY7043"/>
              </a:cxn>
              <a:cxn ang="0">
                <a:pos x="connsiteX7044" y="connsiteY7044"/>
              </a:cxn>
              <a:cxn ang="0">
                <a:pos x="connsiteX7045" y="connsiteY7045"/>
              </a:cxn>
              <a:cxn ang="0">
                <a:pos x="connsiteX7046" y="connsiteY7046"/>
              </a:cxn>
              <a:cxn ang="0">
                <a:pos x="connsiteX7047" y="connsiteY7047"/>
              </a:cxn>
              <a:cxn ang="0">
                <a:pos x="connsiteX7048" y="connsiteY7048"/>
              </a:cxn>
              <a:cxn ang="0">
                <a:pos x="connsiteX7049" y="connsiteY7049"/>
              </a:cxn>
              <a:cxn ang="0">
                <a:pos x="connsiteX7050" y="connsiteY7050"/>
              </a:cxn>
              <a:cxn ang="0">
                <a:pos x="connsiteX7051" y="connsiteY7051"/>
              </a:cxn>
              <a:cxn ang="0">
                <a:pos x="connsiteX7052" y="connsiteY7052"/>
              </a:cxn>
              <a:cxn ang="0">
                <a:pos x="connsiteX7053" y="connsiteY7053"/>
              </a:cxn>
              <a:cxn ang="0">
                <a:pos x="connsiteX7054" y="connsiteY7054"/>
              </a:cxn>
              <a:cxn ang="0">
                <a:pos x="connsiteX7055" y="connsiteY7055"/>
              </a:cxn>
              <a:cxn ang="0">
                <a:pos x="connsiteX7056" y="connsiteY7056"/>
              </a:cxn>
              <a:cxn ang="0">
                <a:pos x="connsiteX7057" y="connsiteY7057"/>
              </a:cxn>
              <a:cxn ang="0">
                <a:pos x="connsiteX7058" y="connsiteY7058"/>
              </a:cxn>
              <a:cxn ang="0">
                <a:pos x="connsiteX7059" y="connsiteY7059"/>
              </a:cxn>
              <a:cxn ang="0">
                <a:pos x="connsiteX7060" y="connsiteY7060"/>
              </a:cxn>
              <a:cxn ang="0">
                <a:pos x="connsiteX7061" y="connsiteY7061"/>
              </a:cxn>
              <a:cxn ang="0">
                <a:pos x="connsiteX7062" y="connsiteY7062"/>
              </a:cxn>
              <a:cxn ang="0">
                <a:pos x="connsiteX7063" y="connsiteY7063"/>
              </a:cxn>
              <a:cxn ang="0">
                <a:pos x="connsiteX7064" y="connsiteY7064"/>
              </a:cxn>
              <a:cxn ang="0">
                <a:pos x="connsiteX7065" y="connsiteY7065"/>
              </a:cxn>
              <a:cxn ang="0">
                <a:pos x="connsiteX7066" y="connsiteY7066"/>
              </a:cxn>
              <a:cxn ang="0">
                <a:pos x="connsiteX7067" y="connsiteY7067"/>
              </a:cxn>
              <a:cxn ang="0">
                <a:pos x="connsiteX7068" y="connsiteY7068"/>
              </a:cxn>
              <a:cxn ang="0">
                <a:pos x="connsiteX7069" y="connsiteY7069"/>
              </a:cxn>
              <a:cxn ang="0">
                <a:pos x="connsiteX7070" y="connsiteY7070"/>
              </a:cxn>
              <a:cxn ang="0">
                <a:pos x="connsiteX7071" y="connsiteY7071"/>
              </a:cxn>
              <a:cxn ang="0">
                <a:pos x="connsiteX7072" y="connsiteY7072"/>
              </a:cxn>
              <a:cxn ang="0">
                <a:pos x="connsiteX7073" y="connsiteY7073"/>
              </a:cxn>
              <a:cxn ang="0">
                <a:pos x="connsiteX7074" y="connsiteY7074"/>
              </a:cxn>
              <a:cxn ang="0">
                <a:pos x="connsiteX7075" y="connsiteY7075"/>
              </a:cxn>
              <a:cxn ang="0">
                <a:pos x="connsiteX7076" y="connsiteY7076"/>
              </a:cxn>
              <a:cxn ang="0">
                <a:pos x="connsiteX7077" y="connsiteY7077"/>
              </a:cxn>
              <a:cxn ang="0">
                <a:pos x="connsiteX7078" y="connsiteY7078"/>
              </a:cxn>
              <a:cxn ang="0">
                <a:pos x="connsiteX7079" y="connsiteY7079"/>
              </a:cxn>
              <a:cxn ang="0">
                <a:pos x="connsiteX7080" y="connsiteY7080"/>
              </a:cxn>
              <a:cxn ang="0">
                <a:pos x="connsiteX7081" y="connsiteY7081"/>
              </a:cxn>
              <a:cxn ang="0">
                <a:pos x="connsiteX7082" y="connsiteY7082"/>
              </a:cxn>
              <a:cxn ang="0">
                <a:pos x="connsiteX7083" y="connsiteY7083"/>
              </a:cxn>
              <a:cxn ang="0">
                <a:pos x="connsiteX7084" y="connsiteY7084"/>
              </a:cxn>
              <a:cxn ang="0">
                <a:pos x="connsiteX7085" y="connsiteY7085"/>
              </a:cxn>
              <a:cxn ang="0">
                <a:pos x="connsiteX7086" y="connsiteY7086"/>
              </a:cxn>
              <a:cxn ang="0">
                <a:pos x="connsiteX7087" y="connsiteY7087"/>
              </a:cxn>
              <a:cxn ang="0">
                <a:pos x="connsiteX7088" y="connsiteY7088"/>
              </a:cxn>
              <a:cxn ang="0">
                <a:pos x="connsiteX7089" y="connsiteY7089"/>
              </a:cxn>
              <a:cxn ang="0">
                <a:pos x="connsiteX7090" y="connsiteY7090"/>
              </a:cxn>
              <a:cxn ang="0">
                <a:pos x="connsiteX7091" y="connsiteY7091"/>
              </a:cxn>
              <a:cxn ang="0">
                <a:pos x="connsiteX7092" y="connsiteY7092"/>
              </a:cxn>
              <a:cxn ang="0">
                <a:pos x="connsiteX7093" y="connsiteY7093"/>
              </a:cxn>
              <a:cxn ang="0">
                <a:pos x="connsiteX7094" y="connsiteY7094"/>
              </a:cxn>
              <a:cxn ang="0">
                <a:pos x="connsiteX7095" y="connsiteY7095"/>
              </a:cxn>
              <a:cxn ang="0">
                <a:pos x="connsiteX7096" y="connsiteY7096"/>
              </a:cxn>
              <a:cxn ang="0">
                <a:pos x="connsiteX7097" y="connsiteY7097"/>
              </a:cxn>
              <a:cxn ang="0">
                <a:pos x="connsiteX7098" y="connsiteY7098"/>
              </a:cxn>
              <a:cxn ang="0">
                <a:pos x="connsiteX7099" y="connsiteY7099"/>
              </a:cxn>
              <a:cxn ang="0">
                <a:pos x="connsiteX7100" y="connsiteY7100"/>
              </a:cxn>
              <a:cxn ang="0">
                <a:pos x="connsiteX7101" y="connsiteY7101"/>
              </a:cxn>
              <a:cxn ang="0">
                <a:pos x="connsiteX7102" y="connsiteY7102"/>
              </a:cxn>
              <a:cxn ang="0">
                <a:pos x="connsiteX7103" y="connsiteY7103"/>
              </a:cxn>
              <a:cxn ang="0">
                <a:pos x="connsiteX7104" y="connsiteY7104"/>
              </a:cxn>
              <a:cxn ang="0">
                <a:pos x="connsiteX7105" y="connsiteY7105"/>
              </a:cxn>
              <a:cxn ang="0">
                <a:pos x="connsiteX7106" y="connsiteY7106"/>
              </a:cxn>
              <a:cxn ang="0">
                <a:pos x="connsiteX7107" y="connsiteY7107"/>
              </a:cxn>
              <a:cxn ang="0">
                <a:pos x="connsiteX7108" y="connsiteY7108"/>
              </a:cxn>
              <a:cxn ang="0">
                <a:pos x="connsiteX7109" y="connsiteY7109"/>
              </a:cxn>
              <a:cxn ang="0">
                <a:pos x="connsiteX7110" y="connsiteY7110"/>
              </a:cxn>
              <a:cxn ang="0">
                <a:pos x="connsiteX7111" y="connsiteY7111"/>
              </a:cxn>
              <a:cxn ang="0">
                <a:pos x="connsiteX7112" y="connsiteY7112"/>
              </a:cxn>
              <a:cxn ang="0">
                <a:pos x="connsiteX7113" y="connsiteY7113"/>
              </a:cxn>
              <a:cxn ang="0">
                <a:pos x="connsiteX7114" y="connsiteY7114"/>
              </a:cxn>
              <a:cxn ang="0">
                <a:pos x="connsiteX7115" y="connsiteY7115"/>
              </a:cxn>
              <a:cxn ang="0">
                <a:pos x="connsiteX7116" y="connsiteY7116"/>
              </a:cxn>
              <a:cxn ang="0">
                <a:pos x="connsiteX7117" y="connsiteY7117"/>
              </a:cxn>
              <a:cxn ang="0">
                <a:pos x="connsiteX7118" y="connsiteY7118"/>
              </a:cxn>
              <a:cxn ang="0">
                <a:pos x="connsiteX7119" y="connsiteY7119"/>
              </a:cxn>
              <a:cxn ang="0">
                <a:pos x="connsiteX7120" y="connsiteY7120"/>
              </a:cxn>
              <a:cxn ang="0">
                <a:pos x="connsiteX7121" y="connsiteY7121"/>
              </a:cxn>
              <a:cxn ang="0">
                <a:pos x="connsiteX7122" y="connsiteY7122"/>
              </a:cxn>
              <a:cxn ang="0">
                <a:pos x="connsiteX7123" y="connsiteY7123"/>
              </a:cxn>
              <a:cxn ang="0">
                <a:pos x="connsiteX7124" y="connsiteY7124"/>
              </a:cxn>
              <a:cxn ang="0">
                <a:pos x="connsiteX7125" y="connsiteY7125"/>
              </a:cxn>
              <a:cxn ang="0">
                <a:pos x="connsiteX7126" y="connsiteY7126"/>
              </a:cxn>
              <a:cxn ang="0">
                <a:pos x="connsiteX7127" y="connsiteY7127"/>
              </a:cxn>
              <a:cxn ang="0">
                <a:pos x="connsiteX7128" y="connsiteY7128"/>
              </a:cxn>
              <a:cxn ang="0">
                <a:pos x="connsiteX7129" y="connsiteY7129"/>
              </a:cxn>
              <a:cxn ang="0">
                <a:pos x="connsiteX7130" y="connsiteY7130"/>
              </a:cxn>
              <a:cxn ang="0">
                <a:pos x="connsiteX7131" y="connsiteY7131"/>
              </a:cxn>
              <a:cxn ang="0">
                <a:pos x="connsiteX7132" y="connsiteY7132"/>
              </a:cxn>
              <a:cxn ang="0">
                <a:pos x="connsiteX7133" y="connsiteY7133"/>
              </a:cxn>
              <a:cxn ang="0">
                <a:pos x="connsiteX7134" y="connsiteY7134"/>
              </a:cxn>
              <a:cxn ang="0">
                <a:pos x="connsiteX7135" y="connsiteY7135"/>
              </a:cxn>
              <a:cxn ang="0">
                <a:pos x="connsiteX7136" y="connsiteY7136"/>
              </a:cxn>
              <a:cxn ang="0">
                <a:pos x="connsiteX7137" y="connsiteY7137"/>
              </a:cxn>
              <a:cxn ang="0">
                <a:pos x="connsiteX7138" y="connsiteY7138"/>
              </a:cxn>
              <a:cxn ang="0">
                <a:pos x="connsiteX7139" y="connsiteY7139"/>
              </a:cxn>
              <a:cxn ang="0">
                <a:pos x="connsiteX7140" y="connsiteY7140"/>
              </a:cxn>
              <a:cxn ang="0">
                <a:pos x="connsiteX7141" y="connsiteY7141"/>
              </a:cxn>
              <a:cxn ang="0">
                <a:pos x="connsiteX7142" y="connsiteY7142"/>
              </a:cxn>
              <a:cxn ang="0">
                <a:pos x="connsiteX7143" y="connsiteY7143"/>
              </a:cxn>
              <a:cxn ang="0">
                <a:pos x="connsiteX7144" y="connsiteY7144"/>
              </a:cxn>
              <a:cxn ang="0">
                <a:pos x="connsiteX7145" y="connsiteY7145"/>
              </a:cxn>
              <a:cxn ang="0">
                <a:pos x="connsiteX7146" y="connsiteY7146"/>
              </a:cxn>
              <a:cxn ang="0">
                <a:pos x="connsiteX7147" y="connsiteY7147"/>
              </a:cxn>
              <a:cxn ang="0">
                <a:pos x="connsiteX7148" y="connsiteY7148"/>
              </a:cxn>
              <a:cxn ang="0">
                <a:pos x="connsiteX7149" y="connsiteY7149"/>
              </a:cxn>
              <a:cxn ang="0">
                <a:pos x="connsiteX7150" y="connsiteY7150"/>
              </a:cxn>
              <a:cxn ang="0">
                <a:pos x="connsiteX7151" y="connsiteY7151"/>
              </a:cxn>
              <a:cxn ang="0">
                <a:pos x="connsiteX7152" y="connsiteY7152"/>
              </a:cxn>
              <a:cxn ang="0">
                <a:pos x="connsiteX7153" y="connsiteY7153"/>
              </a:cxn>
              <a:cxn ang="0">
                <a:pos x="connsiteX7154" y="connsiteY7154"/>
              </a:cxn>
              <a:cxn ang="0">
                <a:pos x="connsiteX7155" y="connsiteY7155"/>
              </a:cxn>
              <a:cxn ang="0">
                <a:pos x="connsiteX7156" y="connsiteY7156"/>
              </a:cxn>
              <a:cxn ang="0">
                <a:pos x="connsiteX7157" y="connsiteY7157"/>
              </a:cxn>
              <a:cxn ang="0">
                <a:pos x="connsiteX7158" y="connsiteY7158"/>
              </a:cxn>
              <a:cxn ang="0">
                <a:pos x="connsiteX7159" y="connsiteY7159"/>
              </a:cxn>
              <a:cxn ang="0">
                <a:pos x="connsiteX7160" y="connsiteY7160"/>
              </a:cxn>
              <a:cxn ang="0">
                <a:pos x="connsiteX7161" y="connsiteY7161"/>
              </a:cxn>
              <a:cxn ang="0">
                <a:pos x="connsiteX7162" y="connsiteY7162"/>
              </a:cxn>
              <a:cxn ang="0">
                <a:pos x="connsiteX7163" y="connsiteY7163"/>
              </a:cxn>
              <a:cxn ang="0">
                <a:pos x="connsiteX7164" y="connsiteY7164"/>
              </a:cxn>
              <a:cxn ang="0">
                <a:pos x="connsiteX7165" y="connsiteY7165"/>
              </a:cxn>
              <a:cxn ang="0">
                <a:pos x="connsiteX7166" y="connsiteY7166"/>
              </a:cxn>
              <a:cxn ang="0">
                <a:pos x="connsiteX7167" y="connsiteY7167"/>
              </a:cxn>
              <a:cxn ang="0">
                <a:pos x="connsiteX7168" y="connsiteY7168"/>
              </a:cxn>
              <a:cxn ang="0">
                <a:pos x="connsiteX7169" y="connsiteY7169"/>
              </a:cxn>
              <a:cxn ang="0">
                <a:pos x="connsiteX7170" y="connsiteY7170"/>
              </a:cxn>
              <a:cxn ang="0">
                <a:pos x="connsiteX7171" y="connsiteY7171"/>
              </a:cxn>
              <a:cxn ang="0">
                <a:pos x="connsiteX7172" y="connsiteY7172"/>
              </a:cxn>
              <a:cxn ang="0">
                <a:pos x="connsiteX7173" y="connsiteY7173"/>
              </a:cxn>
              <a:cxn ang="0">
                <a:pos x="connsiteX7174" y="connsiteY7174"/>
              </a:cxn>
              <a:cxn ang="0">
                <a:pos x="connsiteX7175" y="connsiteY7175"/>
              </a:cxn>
              <a:cxn ang="0">
                <a:pos x="connsiteX7176" y="connsiteY7176"/>
              </a:cxn>
              <a:cxn ang="0">
                <a:pos x="connsiteX7177" y="connsiteY7177"/>
              </a:cxn>
              <a:cxn ang="0">
                <a:pos x="connsiteX7178" y="connsiteY7178"/>
              </a:cxn>
              <a:cxn ang="0">
                <a:pos x="connsiteX7179" y="connsiteY7179"/>
              </a:cxn>
              <a:cxn ang="0">
                <a:pos x="connsiteX7180" y="connsiteY7180"/>
              </a:cxn>
              <a:cxn ang="0">
                <a:pos x="connsiteX7181" y="connsiteY7181"/>
              </a:cxn>
              <a:cxn ang="0">
                <a:pos x="connsiteX7182" y="connsiteY7182"/>
              </a:cxn>
              <a:cxn ang="0">
                <a:pos x="connsiteX7183" y="connsiteY7183"/>
              </a:cxn>
              <a:cxn ang="0">
                <a:pos x="connsiteX7184" y="connsiteY7184"/>
              </a:cxn>
              <a:cxn ang="0">
                <a:pos x="connsiteX7185" y="connsiteY7185"/>
              </a:cxn>
              <a:cxn ang="0">
                <a:pos x="connsiteX7186" y="connsiteY7186"/>
              </a:cxn>
              <a:cxn ang="0">
                <a:pos x="connsiteX7187" y="connsiteY7187"/>
              </a:cxn>
              <a:cxn ang="0">
                <a:pos x="connsiteX7188" y="connsiteY7188"/>
              </a:cxn>
              <a:cxn ang="0">
                <a:pos x="connsiteX7189" y="connsiteY7189"/>
              </a:cxn>
              <a:cxn ang="0">
                <a:pos x="connsiteX7190" y="connsiteY7190"/>
              </a:cxn>
              <a:cxn ang="0">
                <a:pos x="connsiteX7191" y="connsiteY7191"/>
              </a:cxn>
              <a:cxn ang="0">
                <a:pos x="connsiteX7192" y="connsiteY7192"/>
              </a:cxn>
              <a:cxn ang="0">
                <a:pos x="connsiteX7193" y="connsiteY7193"/>
              </a:cxn>
              <a:cxn ang="0">
                <a:pos x="connsiteX7194" y="connsiteY7194"/>
              </a:cxn>
              <a:cxn ang="0">
                <a:pos x="connsiteX7195" y="connsiteY7195"/>
              </a:cxn>
              <a:cxn ang="0">
                <a:pos x="connsiteX7196" y="connsiteY7196"/>
              </a:cxn>
              <a:cxn ang="0">
                <a:pos x="connsiteX7197" y="connsiteY7197"/>
              </a:cxn>
              <a:cxn ang="0">
                <a:pos x="connsiteX7198" y="connsiteY7198"/>
              </a:cxn>
              <a:cxn ang="0">
                <a:pos x="connsiteX7199" y="connsiteY7199"/>
              </a:cxn>
              <a:cxn ang="0">
                <a:pos x="connsiteX7200" y="connsiteY7200"/>
              </a:cxn>
              <a:cxn ang="0">
                <a:pos x="connsiteX7201" y="connsiteY7201"/>
              </a:cxn>
              <a:cxn ang="0">
                <a:pos x="connsiteX7202" y="connsiteY7202"/>
              </a:cxn>
              <a:cxn ang="0">
                <a:pos x="connsiteX7203" y="connsiteY7203"/>
              </a:cxn>
              <a:cxn ang="0">
                <a:pos x="connsiteX7204" y="connsiteY7204"/>
              </a:cxn>
              <a:cxn ang="0">
                <a:pos x="connsiteX7205" y="connsiteY7205"/>
              </a:cxn>
              <a:cxn ang="0">
                <a:pos x="connsiteX7206" y="connsiteY7206"/>
              </a:cxn>
              <a:cxn ang="0">
                <a:pos x="connsiteX7207" y="connsiteY7207"/>
              </a:cxn>
              <a:cxn ang="0">
                <a:pos x="connsiteX7208" y="connsiteY7208"/>
              </a:cxn>
              <a:cxn ang="0">
                <a:pos x="connsiteX7209" y="connsiteY7209"/>
              </a:cxn>
              <a:cxn ang="0">
                <a:pos x="connsiteX7210" y="connsiteY7210"/>
              </a:cxn>
              <a:cxn ang="0">
                <a:pos x="connsiteX7211" y="connsiteY7211"/>
              </a:cxn>
              <a:cxn ang="0">
                <a:pos x="connsiteX7212" y="connsiteY7212"/>
              </a:cxn>
              <a:cxn ang="0">
                <a:pos x="connsiteX7213" y="connsiteY7213"/>
              </a:cxn>
              <a:cxn ang="0">
                <a:pos x="connsiteX7214" y="connsiteY7214"/>
              </a:cxn>
              <a:cxn ang="0">
                <a:pos x="connsiteX7215" y="connsiteY7215"/>
              </a:cxn>
              <a:cxn ang="0">
                <a:pos x="connsiteX7216" y="connsiteY7216"/>
              </a:cxn>
              <a:cxn ang="0">
                <a:pos x="connsiteX7217" y="connsiteY7217"/>
              </a:cxn>
              <a:cxn ang="0">
                <a:pos x="connsiteX7218" y="connsiteY7218"/>
              </a:cxn>
              <a:cxn ang="0">
                <a:pos x="connsiteX7219" y="connsiteY7219"/>
              </a:cxn>
              <a:cxn ang="0">
                <a:pos x="connsiteX7220" y="connsiteY7220"/>
              </a:cxn>
              <a:cxn ang="0">
                <a:pos x="connsiteX7221" y="connsiteY7221"/>
              </a:cxn>
              <a:cxn ang="0">
                <a:pos x="connsiteX7222" y="connsiteY7222"/>
              </a:cxn>
              <a:cxn ang="0">
                <a:pos x="connsiteX7223" y="connsiteY7223"/>
              </a:cxn>
              <a:cxn ang="0">
                <a:pos x="connsiteX7224" y="connsiteY7224"/>
              </a:cxn>
              <a:cxn ang="0">
                <a:pos x="connsiteX7225" y="connsiteY7225"/>
              </a:cxn>
              <a:cxn ang="0">
                <a:pos x="connsiteX7226" y="connsiteY7226"/>
              </a:cxn>
              <a:cxn ang="0">
                <a:pos x="connsiteX7227" y="connsiteY7227"/>
              </a:cxn>
              <a:cxn ang="0">
                <a:pos x="connsiteX7228" y="connsiteY7228"/>
              </a:cxn>
              <a:cxn ang="0">
                <a:pos x="connsiteX7229" y="connsiteY7229"/>
              </a:cxn>
              <a:cxn ang="0">
                <a:pos x="connsiteX7230" y="connsiteY7230"/>
              </a:cxn>
              <a:cxn ang="0">
                <a:pos x="connsiteX7231" y="connsiteY7231"/>
              </a:cxn>
              <a:cxn ang="0">
                <a:pos x="connsiteX7232" y="connsiteY7232"/>
              </a:cxn>
              <a:cxn ang="0">
                <a:pos x="connsiteX7233" y="connsiteY7233"/>
              </a:cxn>
              <a:cxn ang="0">
                <a:pos x="connsiteX7234" y="connsiteY7234"/>
              </a:cxn>
              <a:cxn ang="0">
                <a:pos x="connsiteX7235" y="connsiteY7235"/>
              </a:cxn>
              <a:cxn ang="0">
                <a:pos x="connsiteX7236" y="connsiteY7236"/>
              </a:cxn>
              <a:cxn ang="0">
                <a:pos x="connsiteX7237" y="connsiteY7237"/>
              </a:cxn>
              <a:cxn ang="0">
                <a:pos x="connsiteX7238" y="connsiteY7238"/>
              </a:cxn>
              <a:cxn ang="0">
                <a:pos x="connsiteX7239" y="connsiteY7239"/>
              </a:cxn>
              <a:cxn ang="0">
                <a:pos x="connsiteX7240" y="connsiteY7240"/>
              </a:cxn>
              <a:cxn ang="0">
                <a:pos x="connsiteX7241" y="connsiteY7241"/>
              </a:cxn>
              <a:cxn ang="0">
                <a:pos x="connsiteX7242" y="connsiteY7242"/>
              </a:cxn>
              <a:cxn ang="0">
                <a:pos x="connsiteX7243" y="connsiteY7243"/>
              </a:cxn>
              <a:cxn ang="0">
                <a:pos x="connsiteX7244" y="connsiteY7244"/>
              </a:cxn>
              <a:cxn ang="0">
                <a:pos x="connsiteX7245" y="connsiteY7245"/>
              </a:cxn>
              <a:cxn ang="0">
                <a:pos x="connsiteX7246" y="connsiteY7246"/>
              </a:cxn>
              <a:cxn ang="0">
                <a:pos x="connsiteX7247" y="connsiteY7247"/>
              </a:cxn>
              <a:cxn ang="0">
                <a:pos x="connsiteX7248" y="connsiteY7248"/>
              </a:cxn>
              <a:cxn ang="0">
                <a:pos x="connsiteX7249" y="connsiteY7249"/>
              </a:cxn>
              <a:cxn ang="0">
                <a:pos x="connsiteX7250" y="connsiteY7250"/>
              </a:cxn>
              <a:cxn ang="0">
                <a:pos x="connsiteX7251" y="connsiteY7251"/>
              </a:cxn>
              <a:cxn ang="0">
                <a:pos x="connsiteX7252" y="connsiteY7252"/>
              </a:cxn>
              <a:cxn ang="0">
                <a:pos x="connsiteX7253" y="connsiteY7253"/>
              </a:cxn>
              <a:cxn ang="0">
                <a:pos x="connsiteX7254" y="connsiteY7254"/>
              </a:cxn>
              <a:cxn ang="0">
                <a:pos x="connsiteX7255" y="connsiteY7255"/>
              </a:cxn>
              <a:cxn ang="0">
                <a:pos x="connsiteX7256" y="connsiteY7256"/>
              </a:cxn>
              <a:cxn ang="0">
                <a:pos x="connsiteX7257" y="connsiteY7257"/>
              </a:cxn>
              <a:cxn ang="0">
                <a:pos x="connsiteX7258" y="connsiteY7258"/>
              </a:cxn>
              <a:cxn ang="0">
                <a:pos x="connsiteX7259" y="connsiteY7259"/>
              </a:cxn>
              <a:cxn ang="0">
                <a:pos x="connsiteX7260" y="connsiteY7260"/>
              </a:cxn>
              <a:cxn ang="0">
                <a:pos x="connsiteX7261" y="connsiteY7261"/>
              </a:cxn>
              <a:cxn ang="0">
                <a:pos x="connsiteX7262" y="connsiteY7262"/>
              </a:cxn>
              <a:cxn ang="0">
                <a:pos x="connsiteX7263" y="connsiteY7263"/>
              </a:cxn>
              <a:cxn ang="0">
                <a:pos x="connsiteX7264" y="connsiteY7264"/>
              </a:cxn>
              <a:cxn ang="0">
                <a:pos x="connsiteX7265" y="connsiteY7265"/>
              </a:cxn>
              <a:cxn ang="0">
                <a:pos x="connsiteX7266" y="connsiteY7266"/>
              </a:cxn>
              <a:cxn ang="0">
                <a:pos x="connsiteX7267" y="connsiteY7267"/>
              </a:cxn>
              <a:cxn ang="0">
                <a:pos x="connsiteX7268" y="connsiteY7268"/>
              </a:cxn>
              <a:cxn ang="0">
                <a:pos x="connsiteX7269" y="connsiteY7269"/>
              </a:cxn>
              <a:cxn ang="0">
                <a:pos x="connsiteX7270" y="connsiteY7270"/>
              </a:cxn>
              <a:cxn ang="0">
                <a:pos x="connsiteX7271" y="connsiteY7271"/>
              </a:cxn>
              <a:cxn ang="0">
                <a:pos x="connsiteX7272" y="connsiteY7272"/>
              </a:cxn>
              <a:cxn ang="0">
                <a:pos x="connsiteX7273" y="connsiteY7273"/>
              </a:cxn>
              <a:cxn ang="0">
                <a:pos x="connsiteX7274" y="connsiteY7274"/>
              </a:cxn>
              <a:cxn ang="0">
                <a:pos x="connsiteX7275" y="connsiteY7275"/>
              </a:cxn>
              <a:cxn ang="0">
                <a:pos x="connsiteX7276" y="connsiteY7276"/>
              </a:cxn>
              <a:cxn ang="0">
                <a:pos x="connsiteX7277" y="connsiteY7277"/>
              </a:cxn>
              <a:cxn ang="0">
                <a:pos x="connsiteX7278" y="connsiteY7278"/>
              </a:cxn>
              <a:cxn ang="0">
                <a:pos x="connsiteX7279" y="connsiteY7279"/>
              </a:cxn>
              <a:cxn ang="0">
                <a:pos x="connsiteX7280" y="connsiteY7280"/>
              </a:cxn>
              <a:cxn ang="0">
                <a:pos x="connsiteX7281" y="connsiteY7281"/>
              </a:cxn>
              <a:cxn ang="0">
                <a:pos x="connsiteX7282" y="connsiteY7282"/>
              </a:cxn>
              <a:cxn ang="0">
                <a:pos x="connsiteX7283" y="connsiteY7283"/>
              </a:cxn>
              <a:cxn ang="0">
                <a:pos x="connsiteX7284" y="connsiteY7284"/>
              </a:cxn>
              <a:cxn ang="0">
                <a:pos x="connsiteX7285" y="connsiteY7285"/>
              </a:cxn>
              <a:cxn ang="0">
                <a:pos x="connsiteX7286" y="connsiteY7286"/>
              </a:cxn>
              <a:cxn ang="0">
                <a:pos x="connsiteX7287" y="connsiteY7287"/>
              </a:cxn>
              <a:cxn ang="0">
                <a:pos x="connsiteX7288" y="connsiteY7288"/>
              </a:cxn>
              <a:cxn ang="0">
                <a:pos x="connsiteX7289" y="connsiteY7289"/>
              </a:cxn>
              <a:cxn ang="0">
                <a:pos x="connsiteX7290" y="connsiteY7290"/>
              </a:cxn>
              <a:cxn ang="0">
                <a:pos x="connsiteX7291" y="connsiteY7291"/>
              </a:cxn>
              <a:cxn ang="0">
                <a:pos x="connsiteX7292" y="connsiteY7292"/>
              </a:cxn>
              <a:cxn ang="0">
                <a:pos x="connsiteX7293" y="connsiteY7293"/>
              </a:cxn>
              <a:cxn ang="0">
                <a:pos x="connsiteX7294" y="connsiteY7294"/>
              </a:cxn>
              <a:cxn ang="0">
                <a:pos x="connsiteX7295" y="connsiteY7295"/>
              </a:cxn>
              <a:cxn ang="0">
                <a:pos x="connsiteX7296" y="connsiteY7296"/>
              </a:cxn>
              <a:cxn ang="0">
                <a:pos x="connsiteX7297" y="connsiteY7297"/>
              </a:cxn>
              <a:cxn ang="0">
                <a:pos x="connsiteX7298" y="connsiteY7298"/>
              </a:cxn>
              <a:cxn ang="0">
                <a:pos x="connsiteX7299" y="connsiteY7299"/>
              </a:cxn>
              <a:cxn ang="0">
                <a:pos x="connsiteX7300" y="connsiteY7300"/>
              </a:cxn>
              <a:cxn ang="0">
                <a:pos x="connsiteX7301" y="connsiteY7301"/>
              </a:cxn>
              <a:cxn ang="0">
                <a:pos x="connsiteX7302" y="connsiteY7302"/>
              </a:cxn>
              <a:cxn ang="0">
                <a:pos x="connsiteX7303" y="connsiteY7303"/>
              </a:cxn>
              <a:cxn ang="0">
                <a:pos x="connsiteX7304" y="connsiteY7304"/>
              </a:cxn>
              <a:cxn ang="0">
                <a:pos x="connsiteX7305" y="connsiteY7305"/>
              </a:cxn>
              <a:cxn ang="0">
                <a:pos x="connsiteX7306" y="connsiteY7306"/>
              </a:cxn>
              <a:cxn ang="0">
                <a:pos x="connsiteX7307" y="connsiteY7307"/>
              </a:cxn>
              <a:cxn ang="0">
                <a:pos x="connsiteX7308" y="connsiteY7308"/>
              </a:cxn>
              <a:cxn ang="0">
                <a:pos x="connsiteX7309" y="connsiteY7309"/>
              </a:cxn>
              <a:cxn ang="0">
                <a:pos x="connsiteX7310" y="connsiteY7310"/>
              </a:cxn>
              <a:cxn ang="0">
                <a:pos x="connsiteX7311" y="connsiteY7311"/>
              </a:cxn>
              <a:cxn ang="0">
                <a:pos x="connsiteX7312" y="connsiteY7312"/>
              </a:cxn>
              <a:cxn ang="0">
                <a:pos x="connsiteX7313" y="connsiteY7313"/>
              </a:cxn>
              <a:cxn ang="0">
                <a:pos x="connsiteX7314" y="connsiteY7314"/>
              </a:cxn>
              <a:cxn ang="0">
                <a:pos x="connsiteX7315" y="connsiteY7315"/>
              </a:cxn>
              <a:cxn ang="0">
                <a:pos x="connsiteX7316" y="connsiteY7316"/>
              </a:cxn>
              <a:cxn ang="0">
                <a:pos x="connsiteX7317" y="connsiteY7317"/>
              </a:cxn>
              <a:cxn ang="0">
                <a:pos x="connsiteX7318" y="connsiteY7318"/>
              </a:cxn>
              <a:cxn ang="0">
                <a:pos x="connsiteX7319" y="connsiteY7319"/>
              </a:cxn>
              <a:cxn ang="0">
                <a:pos x="connsiteX7320" y="connsiteY7320"/>
              </a:cxn>
              <a:cxn ang="0">
                <a:pos x="connsiteX7321" y="connsiteY7321"/>
              </a:cxn>
              <a:cxn ang="0">
                <a:pos x="connsiteX7322" y="connsiteY7322"/>
              </a:cxn>
              <a:cxn ang="0">
                <a:pos x="connsiteX7323" y="connsiteY7323"/>
              </a:cxn>
              <a:cxn ang="0">
                <a:pos x="connsiteX7324" y="connsiteY7324"/>
              </a:cxn>
              <a:cxn ang="0">
                <a:pos x="connsiteX7325" y="connsiteY7325"/>
              </a:cxn>
              <a:cxn ang="0">
                <a:pos x="connsiteX7326" y="connsiteY7326"/>
              </a:cxn>
              <a:cxn ang="0">
                <a:pos x="connsiteX7327" y="connsiteY7327"/>
              </a:cxn>
              <a:cxn ang="0">
                <a:pos x="connsiteX7328" y="connsiteY7328"/>
              </a:cxn>
              <a:cxn ang="0">
                <a:pos x="connsiteX7329" y="connsiteY7329"/>
              </a:cxn>
              <a:cxn ang="0">
                <a:pos x="connsiteX7330" y="connsiteY7330"/>
              </a:cxn>
              <a:cxn ang="0">
                <a:pos x="connsiteX7331" y="connsiteY7331"/>
              </a:cxn>
              <a:cxn ang="0">
                <a:pos x="connsiteX7332" y="connsiteY7332"/>
              </a:cxn>
              <a:cxn ang="0">
                <a:pos x="connsiteX7333" y="connsiteY7333"/>
              </a:cxn>
              <a:cxn ang="0">
                <a:pos x="connsiteX7334" y="connsiteY7334"/>
              </a:cxn>
              <a:cxn ang="0">
                <a:pos x="connsiteX7335" y="connsiteY7335"/>
              </a:cxn>
              <a:cxn ang="0">
                <a:pos x="connsiteX7336" y="connsiteY7336"/>
              </a:cxn>
              <a:cxn ang="0">
                <a:pos x="connsiteX7337" y="connsiteY7337"/>
              </a:cxn>
              <a:cxn ang="0">
                <a:pos x="connsiteX7338" y="connsiteY7338"/>
              </a:cxn>
              <a:cxn ang="0">
                <a:pos x="connsiteX7339" y="connsiteY7339"/>
              </a:cxn>
              <a:cxn ang="0">
                <a:pos x="connsiteX7340" y="connsiteY7340"/>
              </a:cxn>
              <a:cxn ang="0">
                <a:pos x="connsiteX7341" y="connsiteY7341"/>
              </a:cxn>
              <a:cxn ang="0">
                <a:pos x="connsiteX7342" y="connsiteY7342"/>
              </a:cxn>
              <a:cxn ang="0">
                <a:pos x="connsiteX7343" y="connsiteY7343"/>
              </a:cxn>
              <a:cxn ang="0">
                <a:pos x="connsiteX7344" y="connsiteY7344"/>
              </a:cxn>
              <a:cxn ang="0">
                <a:pos x="connsiteX7345" y="connsiteY7345"/>
              </a:cxn>
              <a:cxn ang="0">
                <a:pos x="connsiteX7346" y="connsiteY7346"/>
              </a:cxn>
              <a:cxn ang="0">
                <a:pos x="connsiteX7347" y="connsiteY7347"/>
              </a:cxn>
              <a:cxn ang="0">
                <a:pos x="connsiteX7348" y="connsiteY7348"/>
              </a:cxn>
              <a:cxn ang="0">
                <a:pos x="connsiteX7349" y="connsiteY7349"/>
              </a:cxn>
              <a:cxn ang="0">
                <a:pos x="connsiteX7350" y="connsiteY7350"/>
              </a:cxn>
              <a:cxn ang="0">
                <a:pos x="connsiteX7351" y="connsiteY7351"/>
              </a:cxn>
              <a:cxn ang="0">
                <a:pos x="connsiteX7352" y="connsiteY7352"/>
              </a:cxn>
              <a:cxn ang="0">
                <a:pos x="connsiteX7353" y="connsiteY7353"/>
              </a:cxn>
              <a:cxn ang="0">
                <a:pos x="connsiteX7354" y="connsiteY7354"/>
              </a:cxn>
              <a:cxn ang="0">
                <a:pos x="connsiteX7355" y="connsiteY7355"/>
              </a:cxn>
              <a:cxn ang="0">
                <a:pos x="connsiteX7356" y="connsiteY7356"/>
              </a:cxn>
              <a:cxn ang="0">
                <a:pos x="connsiteX7357" y="connsiteY7357"/>
              </a:cxn>
              <a:cxn ang="0">
                <a:pos x="connsiteX7358" y="connsiteY7358"/>
              </a:cxn>
              <a:cxn ang="0">
                <a:pos x="connsiteX7359" y="connsiteY7359"/>
              </a:cxn>
              <a:cxn ang="0">
                <a:pos x="connsiteX7360" y="connsiteY7360"/>
              </a:cxn>
              <a:cxn ang="0">
                <a:pos x="connsiteX7361" y="connsiteY7361"/>
              </a:cxn>
              <a:cxn ang="0">
                <a:pos x="connsiteX7362" y="connsiteY7362"/>
              </a:cxn>
              <a:cxn ang="0">
                <a:pos x="connsiteX7363" y="connsiteY7363"/>
              </a:cxn>
              <a:cxn ang="0">
                <a:pos x="connsiteX7364" y="connsiteY7364"/>
              </a:cxn>
              <a:cxn ang="0">
                <a:pos x="connsiteX7365" y="connsiteY7365"/>
              </a:cxn>
              <a:cxn ang="0">
                <a:pos x="connsiteX7366" y="connsiteY7366"/>
              </a:cxn>
              <a:cxn ang="0">
                <a:pos x="connsiteX7367" y="connsiteY7367"/>
              </a:cxn>
              <a:cxn ang="0">
                <a:pos x="connsiteX7368" y="connsiteY7368"/>
              </a:cxn>
              <a:cxn ang="0">
                <a:pos x="connsiteX7369" y="connsiteY7369"/>
              </a:cxn>
              <a:cxn ang="0">
                <a:pos x="connsiteX7370" y="connsiteY7370"/>
              </a:cxn>
              <a:cxn ang="0">
                <a:pos x="connsiteX7371" y="connsiteY7371"/>
              </a:cxn>
              <a:cxn ang="0">
                <a:pos x="connsiteX7372" y="connsiteY7372"/>
              </a:cxn>
              <a:cxn ang="0">
                <a:pos x="connsiteX7373" y="connsiteY7373"/>
              </a:cxn>
              <a:cxn ang="0">
                <a:pos x="connsiteX7374" y="connsiteY7374"/>
              </a:cxn>
              <a:cxn ang="0">
                <a:pos x="connsiteX7375" y="connsiteY7375"/>
              </a:cxn>
              <a:cxn ang="0">
                <a:pos x="connsiteX7376" y="connsiteY7376"/>
              </a:cxn>
              <a:cxn ang="0">
                <a:pos x="connsiteX7377" y="connsiteY7377"/>
              </a:cxn>
              <a:cxn ang="0">
                <a:pos x="connsiteX7378" y="connsiteY7378"/>
              </a:cxn>
              <a:cxn ang="0">
                <a:pos x="connsiteX7379" y="connsiteY7379"/>
              </a:cxn>
              <a:cxn ang="0">
                <a:pos x="connsiteX7380" y="connsiteY7380"/>
              </a:cxn>
              <a:cxn ang="0">
                <a:pos x="connsiteX7381" y="connsiteY7381"/>
              </a:cxn>
              <a:cxn ang="0">
                <a:pos x="connsiteX7382" y="connsiteY7382"/>
              </a:cxn>
              <a:cxn ang="0">
                <a:pos x="connsiteX7383" y="connsiteY7383"/>
              </a:cxn>
              <a:cxn ang="0">
                <a:pos x="connsiteX7384" y="connsiteY7384"/>
              </a:cxn>
              <a:cxn ang="0">
                <a:pos x="connsiteX7385" y="connsiteY7385"/>
              </a:cxn>
              <a:cxn ang="0">
                <a:pos x="connsiteX7386" y="connsiteY7386"/>
              </a:cxn>
              <a:cxn ang="0">
                <a:pos x="connsiteX7387" y="connsiteY7387"/>
              </a:cxn>
              <a:cxn ang="0">
                <a:pos x="connsiteX7388" y="connsiteY7388"/>
              </a:cxn>
              <a:cxn ang="0">
                <a:pos x="connsiteX7389" y="connsiteY7389"/>
              </a:cxn>
              <a:cxn ang="0">
                <a:pos x="connsiteX7390" y="connsiteY7390"/>
              </a:cxn>
              <a:cxn ang="0">
                <a:pos x="connsiteX7391" y="connsiteY7391"/>
              </a:cxn>
              <a:cxn ang="0">
                <a:pos x="connsiteX7392" y="connsiteY7392"/>
              </a:cxn>
              <a:cxn ang="0">
                <a:pos x="connsiteX7393" y="connsiteY7393"/>
              </a:cxn>
              <a:cxn ang="0">
                <a:pos x="connsiteX7394" y="connsiteY7394"/>
              </a:cxn>
              <a:cxn ang="0">
                <a:pos x="connsiteX7395" y="connsiteY7395"/>
              </a:cxn>
              <a:cxn ang="0">
                <a:pos x="connsiteX7396" y="connsiteY7396"/>
              </a:cxn>
              <a:cxn ang="0">
                <a:pos x="connsiteX7397" y="connsiteY7397"/>
              </a:cxn>
              <a:cxn ang="0">
                <a:pos x="connsiteX7398" y="connsiteY7398"/>
              </a:cxn>
              <a:cxn ang="0">
                <a:pos x="connsiteX7399" y="connsiteY7399"/>
              </a:cxn>
              <a:cxn ang="0">
                <a:pos x="connsiteX7400" y="connsiteY7400"/>
              </a:cxn>
              <a:cxn ang="0">
                <a:pos x="connsiteX7401" y="connsiteY7401"/>
              </a:cxn>
              <a:cxn ang="0">
                <a:pos x="connsiteX7402" y="connsiteY7402"/>
              </a:cxn>
              <a:cxn ang="0">
                <a:pos x="connsiteX7403" y="connsiteY7403"/>
              </a:cxn>
              <a:cxn ang="0">
                <a:pos x="connsiteX7404" y="connsiteY7404"/>
              </a:cxn>
              <a:cxn ang="0">
                <a:pos x="connsiteX7405" y="connsiteY7405"/>
              </a:cxn>
              <a:cxn ang="0">
                <a:pos x="connsiteX7406" y="connsiteY7406"/>
              </a:cxn>
              <a:cxn ang="0">
                <a:pos x="connsiteX7407" y="connsiteY7407"/>
              </a:cxn>
              <a:cxn ang="0">
                <a:pos x="connsiteX7408" y="connsiteY7408"/>
              </a:cxn>
              <a:cxn ang="0">
                <a:pos x="connsiteX7409" y="connsiteY7409"/>
              </a:cxn>
              <a:cxn ang="0">
                <a:pos x="connsiteX7410" y="connsiteY7410"/>
              </a:cxn>
              <a:cxn ang="0">
                <a:pos x="connsiteX7411" y="connsiteY7411"/>
              </a:cxn>
              <a:cxn ang="0">
                <a:pos x="connsiteX7412" y="connsiteY7412"/>
              </a:cxn>
              <a:cxn ang="0">
                <a:pos x="connsiteX7413" y="connsiteY7413"/>
              </a:cxn>
              <a:cxn ang="0">
                <a:pos x="connsiteX7414" y="connsiteY7414"/>
              </a:cxn>
              <a:cxn ang="0">
                <a:pos x="connsiteX7415" y="connsiteY7415"/>
              </a:cxn>
              <a:cxn ang="0">
                <a:pos x="connsiteX7416" y="connsiteY7416"/>
              </a:cxn>
              <a:cxn ang="0">
                <a:pos x="connsiteX7417" y="connsiteY7417"/>
              </a:cxn>
              <a:cxn ang="0">
                <a:pos x="connsiteX7418" y="connsiteY7418"/>
              </a:cxn>
              <a:cxn ang="0">
                <a:pos x="connsiteX7419" y="connsiteY7419"/>
              </a:cxn>
              <a:cxn ang="0">
                <a:pos x="connsiteX7420" y="connsiteY7420"/>
              </a:cxn>
              <a:cxn ang="0">
                <a:pos x="connsiteX7421" y="connsiteY7421"/>
              </a:cxn>
              <a:cxn ang="0">
                <a:pos x="connsiteX7422" y="connsiteY7422"/>
              </a:cxn>
              <a:cxn ang="0">
                <a:pos x="connsiteX7423" y="connsiteY7423"/>
              </a:cxn>
              <a:cxn ang="0">
                <a:pos x="connsiteX7424" y="connsiteY7424"/>
              </a:cxn>
              <a:cxn ang="0">
                <a:pos x="connsiteX7425" y="connsiteY7425"/>
              </a:cxn>
              <a:cxn ang="0">
                <a:pos x="connsiteX7426" y="connsiteY7426"/>
              </a:cxn>
              <a:cxn ang="0">
                <a:pos x="connsiteX7427" y="connsiteY7427"/>
              </a:cxn>
              <a:cxn ang="0">
                <a:pos x="connsiteX7428" y="connsiteY7428"/>
              </a:cxn>
              <a:cxn ang="0">
                <a:pos x="connsiteX7429" y="connsiteY7429"/>
              </a:cxn>
              <a:cxn ang="0">
                <a:pos x="connsiteX7430" y="connsiteY7430"/>
              </a:cxn>
              <a:cxn ang="0">
                <a:pos x="connsiteX7431" y="connsiteY7431"/>
              </a:cxn>
              <a:cxn ang="0">
                <a:pos x="connsiteX7432" y="connsiteY7432"/>
              </a:cxn>
              <a:cxn ang="0">
                <a:pos x="connsiteX7433" y="connsiteY7433"/>
              </a:cxn>
              <a:cxn ang="0">
                <a:pos x="connsiteX7434" y="connsiteY7434"/>
              </a:cxn>
              <a:cxn ang="0">
                <a:pos x="connsiteX7435" y="connsiteY7435"/>
              </a:cxn>
              <a:cxn ang="0">
                <a:pos x="connsiteX7436" y="connsiteY7436"/>
              </a:cxn>
              <a:cxn ang="0">
                <a:pos x="connsiteX7437" y="connsiteY7437"/>
              </a:cxn>
              <a:cxn ang="0">
                <a:pos x="connsiteX7438" y="connsiteY7438"/>
              </a:cxn>
              <a:cxn ang="0">
                <a:pos x="connsiteX7439" y="connsiteY7439"/>
              </a:cxn>
              <a:cxn ang="0">
                <a:pos x="connsiteX7440" y="connsiteY7440"/>
              </a:cxn>
              <a:cxn ang="0">
                <a:pos x="connsiteX7441" y="connsiteY7441"/>
              </a:cxn>
              <a:cxn ang="0">
                <a:pos x="connsiteX7442" y="connsiteY7442"/>
              </a:cxn>
              <a:cxn ang="0">
                <a:pos x="connsiteX7443" y="connsiteY7443"/>
              </a:cxn>
              <a:cxn ang="0">
                <a:pos x="connsiteX7444" y="connsiteY7444"/>
              </a:cxn>
              <a:cxn ang="0">
                <a:pos x="connsiteX7445" y="connsiteY7445"/>
              </a:cxn>
              <a:cxn ang="0">
                <a:pos x="connsiteX7446" y="connsiteY7446"/>
              </a:cxn>
              <a:cxn ang="0">
                <a:pos x="connsiteX7447" y="connsiteY7447"/>
              </a:cxn>
              <a:cxn ang="0">
                <a:pos x="connsiteX7448" y="connsiteY7448"/>
              </a:cxn>
              <a:cxn ang="0">
                <a:pos x="connsiteX7449" y="connsiteY7449"/>
              </a:cxn>
              <a:cxn ang="0">
                <a:pos x="connsiteX7450" y="connsiteY7450"/>
              </a:cxn>
              <a:cxn ang="0">
                <a:pos x="connsiteX7451" y="connsiteY7451"/>
              </a:cxn>
              <a:cxn ang="0">
                <a:pos x="connsiteX7452" y="connsiteY7452"/>
              </a:cxn>
              <a:cxn ang="0">
                <a:pos x="connsiteX7453" y="connsiteY7453"/>
              </a:cxn>
              <a:cxn ang="0">
                <a:pos x="connsiteX7454" y="connsiteY7454"/>
              </a:cxn>
              <a:cxn ang="0">
                <a:pos x="connsiteX7455" y="connsiteY7455"/>
              </a:cxn>
              <a:cxn ang="0">
                <a:pos x="connsiteX7456" y="connsiteY7456"/>
              </a:cxn>
              <a:cxn ang="0">
                <a:pos x="connsiteX7457" y="connsiteY7457"/>
              </a:cxn>
              <a:cxn ang="0">
                <a:pos x="connsiteX7458" y="connsiteY7458"/>
              </a:cxn>
              <a:cxn ang="0">
                <a:pos x="connsiteX7459" y="connsiteY7459"/>
              </a:cxn>
              <a:cxn ang="0">
                <a:pos x="connsiteX7460" y="connsiteY7460"/>
              </a:cxn>
              <a:cxn ang="0">
                <a:pos x="connsiteX7461" y="connsiteY7461"/>
              </a:cxn>
              <a:cxn ang="0">
                <a:pos x="connsiteX7462" y="connsiteY7462"/>
              </a:cxn>
              <a:cxn ang="0">
                <a:pos x="connsiteX7463" y="connsiteY7463"/>
              </a:cxn>
              <a:cxn ang="0">
                <a:pos x="connsiteX7464" y="connsiteY7464"/>
              </a:cxn>
              <a:cxn ang="0">
                <a:pos x="connsiteX7465" y="connsiteY7465"/>
              </a:cxn>
              <a:cxn ang="0">
                <a:pos x="connsiteX7466" y="connsiteY7466"/>
              </a:cxn>
              <a:cxn ang="0">
                <a:pos x="connsiteX7467" y="connsiteY7467"/>
              </a:cxn>
              <a:cxn ang="0">
                <a:pos x="connsiteX7468" y="connsiteY7468"/>
              </a:cxn>
              <a:cxn ang="0">
                <a:pos x="connsiteX7469" y="connsiteY7469"/>
              </a:cxn>
              <a:cxn ang="0">
                <a:pos x="connsiteX7470" y="connsiteY7470"/>
              </a:cxn>
              <a:cxn ang="0">
                <a:pos x="connsiteX7471" y="connsiteY7471"/>
              </a:cxn>
              <a:cxn ang="0">
                <a:pos x="connsiteX7472" y="connsiteY7472"/>
              </a:cxn>
              <a:cxn ang="0">
                <a:pos x="connsiteX7473" y="connsiteY7473"/>
              </a:cxn>
              <a:cxn ang="0">
                <a:pos x="connsiteX7474" y="connsiteY7474"/>
              </a:cxn>
              <a:cxn ang="0">
                <a:pos x="connsiteX7475" y="connsiteY7475"/>
              </a:cxn>
              <a:cxn ang="0">
                <a:pos x="connsiteX7476" y="connsiteY7476"/>
              </a:cxn>
              <a:cxn ang="0">
                <a:pos x="connsiteX7477" y="connsiteY7477"/>
              </a:cxn>
              <a:cxn ang="0">
                <a:pos x="connsiteX7478" y="connsiteY7478"/>
              </a:cxn>
              <a:cxn ang="0">
                <a:pos x="connsiteX7479" y="connsiteY7479"/>
              </a:cxn>
              <a:cxn ang="0">
                <a:pos x="connsiteX7480" y="connsiteY7480"/>
              </a:cxn>
              <a:cxn ang="0">
                <a:pos x="connsiteX7481" y="connsiteY7481"/>
              </a:cxn>
              <a:cxn ang="0">
                <a:pos x="connsiteX7482" y="connsiteY7482"/>
              </a:cxn>
              <a:cxn ang="0">
                <a:pos x="connsiteX7483" y="connsiteY7483"/>
              </a:cxn>
              <a:cxn ang="0">
                <a:pos x="connsiteX7484" y="connsiteY7484"/>
              </a:cxn>
              <a:cxn ang="0">
                <a:pos x="connsiteX7485" y="connsiteY7485"/>
              </a:cxn>
              <a:cxn ang="0">
                <a:pos x="connsiteX7486" y="connsiteY7486"/>
              </a:cxn>
              <a:cxn ang="0">
                <a:pos x="connsiteX7487" y="connsiteY7487"/>
              </a:cxn>
              <a:cxn ang="0">
                <a:pos x="connsiteX7488" y="connsiteY7488"/>
              </a:cxn>
              <a:cxn ang="0">
                <a:pos x="connsiteX7489" y="connsiteY7489"/>
              </a:cxn>
              <a:cxn ang="0">
                <a:pos x="connsiteX7490" y="connsiteY7490"/>
              </a:cxn>
              <a:cxn ang="0">
                <a:pos x="connsiteX7491" y="connsiteY7491"/>
              </a:cxn>
              <a:cxn ang="0">
                <a:pos x="connsiteX7492" y="connsiteY7492"/>
              </a:cxn>
              <a:cxn ang="0">
                <a:pos x="connsiteX7493" y="connsiteY7493"/>
              </a:cxn>
              <a:cxn ang="0">
                <a:pos x="connsiteX7494" y="connsiteY7494"/>
              </a:cxn>
              <a:cxn ang="0">
                <a:pos x="connsiteX7495" y="connsiteY7495"/>
              </a:cxn>
              <a:cxn ang="0">
                <a:pos x="connsiteX7496" y="connsiteY7496"/>
              </a:cxn>
              <a:cxn ang="0">
                <a:pos x="connsiteX7497" y="connsiteY7497"/>
              </a:cxn>
              <a:cxn ang="0">
                <a:pos x="connsiteX7498" y="connsiteY7498"/>
              </a:cxn>
              <a:cxn ang="0">
                <a:pos x="connsiteX7499" y="connsiteY7499"/>
              </a:cxn>
              <a:cxn ang="0">
                <a:pos x="connsiteX7500" y="connsiteY7500"/>
              </a:cxn>
              <a:cxn ang="0">
                <a:pos x="connsiteX7501" y="connsiteY7501"/>
              </a:cxn>
              <a:cxn ang="0">
                <a:pos x="connsiteX7502" y="connsiteY7502"/>
              </a:cxn>
              <a:cxn ang="0">
                <a:pos x="connsiteX7503" y="connsiteY7503"/>
              </a:cxn>
              <a:cxn ang="0">
                <a:pos x="connsiteX7504" y="connsiteY7504"/>
              </a:cxn>
              <a:cxn ang="0">
                <a:pos x="connsiteX7505" y="connsiteY7505"/>
              </a:cxn>
              <a:cxn ang="0">
                <a:pos x="connsiteX7506" y="connsiteY7506"/>
              </a:cxn>
              <a:cxn ang="0">
                <a:pos x="connsiteX7507" y="connsiteY7507"/>
              </a:cxn>
              <a:cxn ang="0">
                <a:pos x="connsiteX7508" y="connsiteY7508"/>
              </a:cxn>
              <a:cxn ang="0">
                <a:pos x="connsiteX7509" y="connsiteY7509"/>
              </a:cxn>
              <a:cxn ang="0">
                <a:pos x="connsiteX7510" y="connsiteY7510"/>
              </a:cxn>
              <a:cxn ang="0">
                <a:pos x="connsiteX7511" y="connsiteY7511"/>
              </a:cxn>
              <a:cxn ang="0">
                <a:pos x="connsiteX7512" y="connsiteY7512"/>
              </a:cxn>
              <a:cxn ang="0">
                <a:pos x="connsiteX7513" y="connsiteY7513"/>
              </a:cxn>
              <a:cxn ang="0">
                <a:pos x="connsiteX7514" y="connsiteY7514"/>
              </a:cxn>
              <a:cxn ang="0">
                <a:pos x="connsiteX7515" y="connsiteY7515"/>
              </a:cxn>
              <a:cxn ang="0">
                <a:pos x="connsiteX7516" y="connsiteY7516"/>
              </a:cxn>
              <a:cxn ang="0">
                <a:pos x="connsiteX7517" y="connsiteY7517"/>
              </a:cxn>
              <a:cxn ang="0">
                <a:pos x="connsiteX7518" y="connsiteY7518"/>
              </a:cxn>
              <a:cxn ang="0">
                <a:pos x="connsiteX7519" y="connsiteY7519"/>
              </a:cxn>
              <a:cxn ang="0">
                <a:pos x="connsiteX7520" y="connsiteY7520"/>
              </a:cxn>
              <a:cxn ang="0">
                <a:pos x="connsiteX7521" y="connsiteY7521"/>
              </a:cxn>
              <a:cxn ang="0">
                <a:pos x="connsiteX7522" y="connsiteY7522"/>
              </a:cxn>
              <a:cxn ang="0">
                <a:pos x="connsiteX7523" y="connsiteY7523"/>
              </a:cxn>
              <a:cxn ang="0">
                <a:pos x="connsiteX7524" y="connsiteY7524"/>
              </a:cxn>
              <a:cxn ang="0">
                <a:pos x="connsiteX7525" y="connsiteY7525"/>
              </a:cxn>
              <a:cxn ang="0">
                <a:pos x="connsiteX7526" y="connsiteY7526"/>
              </a:cxn>
              <a:cxn ang="0">
                <a:pos x="connsiteX7527" y="connsiteY7527"/>
              </a:cxn>
              <a:cxn ang="0">
                <a:pos x="connsiteX7528" y="connsiteY7528"/>
              </a:cxn>
              <a:cxn ang="0">
                <a:pos x="connsiteX7529" y="connsiteY7529"/>
              </a:cxn>
              <a:cxn ang="0">
                <a:pos x="connsiteX7530" y="connsiteY7530"/>
              </a:cxn>
              <a:cxn ang="0">
                <a:pos x="connsiteX7531" y="connsiteY7531"/>
              </a:cxn>
              <a:cxn ang="0">
                <a:pos x="connsiteX7532" y="connsiteY7532"/>
              </a:cxn>
              <a:cxn ang="0">
                <a:pos x="connsiteX7533" y="connsiteY7533"/>
              </a:cxn>
              <a:cxn ang="0">
                <a:pos x="connsiteX7534" y="connsiteY7534"/>
              </a:cxn>
              <a:cxn ang="0">
                <a:pos x="connsiteX7535" y="connsiteY7535"/>
              </a:cxn>
              <a:cxn ang="0">
                <a:pos x="connsiteX7536" y="connsiteY7536"/>
              </a:cxn>
              <a:cxn ang="0">
                <a:pos x="connsiteX7537" y="connsiteY7537"/>
              </a:cxn>
              <a:cxn ang="0">
                <a:pos x="connsiteX7538" y="connsiteY7538"/>
              </a:cxn>
              <a:cxn ang="0">
                <a:pos x="connsiteX7539" y="connsiteY7539"/>
              </a:cxn>
              <a:cxn ang="0">
                <a:pos x="connsiteX7540" y="connsiteY7540"/>
              </a:cxn>
              <a:cxn ang="0">
                <a:pos x="connsiteX7541" y="connsiteY7541"/>
              </a:cxn>
              <a:cxn ang="0">
                <a:pos x="connsiteX7542" y="connsiteY7542"/>
              </a:cxn>
              <a:cxn ang="0">
                <a:pos x="connsiteX7543" y="connsiteY7543"/>
              </a:cxn>
              <a:cxn ang="0">
                <a:pos x="connsiteX7544" y="connsiteY7544"/>
              </a:cxn>
              <a:cxn ang="0">
                <a:pos x="connsiteX7545" y="connsiteY7545"/>
              </a:cxn>
              <a:cxn ang="0">
                <a:pos x="connsiteX7546" y="connsiteY7546"/>
              </a:cxn>
              <a:cxn ang="0">
                <a:pos x="connsiteX7547" y="connsiteY7547"/>
              </a:cxn>
              <a:cxn ang="0">
                <a:pos x="connsiteX7548" y="connsiteY7548"/>
              </a:cxn>
              <a:cxn ang="0">
                <a:pos x="connsiteX7549" y="connsiteY7549"/>
              </a:cxn>
              <a:cxn ang="0">
                <a:pos x="connsiteX7550" y="connsiteY7550"/>
              </a:cxn>
              <a:cxn ang="0">
                <a:pos x="connsiteX7551" y="connsiteY7551"/>
              </a:cxn>
              <a:cxn ang="0">
                <a:pos x="connsiteX7552" y="connsiteY7552"/>
              </a:cxn>
              <a:cxn ang="0">
                <a:pos x="connsiteX7553" y="connsiteY7553"/>
              </a:cxn>
              <a:cxn ang="0">
                <a:pos x="connsiteX7554" y="connsiteY7554"/>
              </a:cxn>
              <a:cxn ang="0">
                <a:pos x="connsiteX7555" y="connsiteY7555"/>
              </a:cxn>
              <a:cxn ang="0">
                <a:pos x="connsiteX7556" y="connsiteY7556"/>
              </a:cxn>
              <a:cxn ang="0">
                <a:pos x="connsiteX7557" y="connsiteY7557"/>
              </a:cxn>
              <a:cxn ang="0">
                <a:pos x="connsiteX7558" y="connsiteY7558"/>
              </a:cxn>
              <a:cxn ang="0">
                <a:pos x="connsiteX7559" y="connsiteY7559"/>
              </a:cxn>
              <a:cxn ang="0">
                <a:pos x="connsiteX7560" y="connsiteY7560"/>
              </a:cxn>
              <a:cxn ang="0">
                <a:pos x="connsiteX7561" y="connsiteY7561"/>
              </a:cxn>
              <a:cxn ang="0">
                <a:pos x="connsiteX7562" y="connsiteY7562"/>
              </a:cxn>
              <a:cxn ang="0">
                <a:pos x="connsiteX7563" y="connsiteY7563"/>
              </a:cxn>
              <a:cxn ang="0">
                <a:pos x="connsiteX7564" y="connsiteY7564"/>
              </a:cxn>
              <a:cxn ang="0">
                <a:pos x="connsiteX7565" y="connsiteY7565"/>
              </a:cxn>
              <a:cxn ang="0">
                <a:pos x="connsiteX7566" y="connsiteY7566"/>
              </a:cxn>
              <a:cxn ang="0">
                <a:pos x="connsiteX7567" y="connsiteY7567"/>
              </a:cxn>
              <a:cxn ang="0">
                <a:pos x="connsiteX7568" y="connsiteY7568"/>
              </a:cxn>
              <a:cxn ang="0">
                <a:pos x="connsiteX7569" y="connsiteY7569"/>
              </a:cxn>
              <a:cxn ang="0">
                <a:pos x="connsiteX7570" y="connsiteY7570"/>
              </a:cxn>
              <a:cxn ang="0">
                <a:pos x="connsiteX7571" y="connsiteY7571"/>
              </a:cxn>
              <a:cxn ang="0">
                <a:pos x="connsiteX7572" y="connsiteY7572"/>
              </a:cxn>
              <a:cxn ang="0">
                <a:pos x="connsiteX7573" y="connsiteY7573"/>
              </a:cxn>
              <a:cxn ang="0">
                <a:pos x="connsiteX7574" y="connsiteY7574"/>
              </a:cxn>
              <a:cxn ang="0">
                <a:pos x="connsiteX7575" y="connsiteY7575"/>
              </a:cxn>
              <a:cxn ang="0">
                <a:pos x="connsiteX7576" y="connsiteY7576"/>
              </a:cxn>
              <a:cxn ang="0">
                <a:pos x="connsiteX7577" y="connsiteY7577"/>
              </a:cxn>
              <a:cxn ang="0">
                <a:pos x="connsiteX7578" y="connsiteY7578"/>
              </a:cxn>
              <a:cxn ang="0">
                <a:pos x="connsiteX7579" y="connsiteY7579"/>
              </a:cxn>
              <a:cxn ang="0">
                <a:pos x="connsiteX7580" y="connsiteY7580"/>
              </a:cxn>
              <a:cxn ang="0">
                <a:pos x="connsiteX7581" y="connsiteY7581"/>
              </a:cxn>
              <a:cxn ang="0">
                <a:pos x="connsiteX7582" y="connsiteY7582"/>
              </a:cxn>
              <a:cxn ang="0">
                <a:pos x="connsiteX7583" y="connsiteY7583"/>
              </a:cxn>
              <a:cxn ang="0">
                <a:pos x="connsiteX7584" y="connsiteY7584"/>
              </a:cxn>
              <a:cxn ang="0">
                <a:pos x="connsiteX7585" y="connsiteY7585"/>
              </a:cxn>
              <a:cxn ang="0">
                <a:pos x="connsiteX7586" y="connsiteY7586"/>
              </a:cxn>
              <a:cxn ang="0">
                <a:pos x="connsiteX7587" y="connsiteY7587"/>
              </a:cxn>
              <a:cxn ang="0">
                <a:pos x="connsiteX7588" y="connsiteY7588"/>
              </a:cxn>
              <a:cxn ang="0">
                <a:pos x="connsiteX7589" y="connsiteY7589"/>
              </a:cxn>
              <a:cxn ang="0">
                <a:pos x="connsiteX7590" y="connsiteY7590"/>
              </a:cxn>
              <a:cxn ang="0">
                <a:pos x="connsiteX7591" y="connsiteY7591"/>
              </a:cxn>
              <a:cxn ang="0">
                <a:pos x="connsiteX7592" y="connsiteY7592"/>
              </a:cxn>
              <a:cxn ang="0">
                <a:pos x="connsiteX7593" y="connsiteY7593"/>
              </a:cxn>
              <a:cxn ang="0">
                <a:pos x="connsiteX7594" y="connsiteY7594"/>
              </a:cxn>
              <a:cxn ang="0">
                <a:pos x="connsiteX7595" y="connsiteY7595"/>
              </a:cxn>
              <a:cxn ang="0">
                <a:pos x="connsiteX7596" y="connsiteY7596"/>
              </a:cxn>
              <a:cxn ang="0">
                <a:pos x="connsiteX7597" y="connsiteY7597"/>
              </a:cxn>
              <a:cxn ang="0">
                <a:pos x="connsiteX7598" y="connsiteY7598"/>
              </a:cxn>
              <a:cxn ang="0">
                <a:pos x="connsiteX7599" y="connsiteY7599"/>
              </a:cxn>
              <a:cxn ang="0">
                <a:pos x="connsiteX7600" y="connsiteY7600"/>
              </a:cxn>
              <a:cxn ang="0">
                <a:pos x="connsiteX7601" y="connsiteY7601"/>
              </a:cxn>
              <a:cxn ang="0">
                <a:pos x="connsiteX7602" y="connsiteY7602"/>
              </a:cxn>
              <a:cxn ang="0">
                <a:pos x="connsiteX7603" y="connsiteY7603"/>
              </a:cxn>
              <a:cxn ang="0">
                <a:pos x="connsiteX7604" y="connsiteY7604"/>
              </a:cxn>
              <a:cxn ang="0">
                <a:pos x="connsiteX7605" y="connsiteY7605"/>
              </a:cxn>
              <a:cxn ang="0">
                <a:pos x="connsiteX7606" y="connsiteY7606"/>
              </a:cxn>
              <a:cxn ang="0">
                <a:pos x="connsiteX7607" y="connsiteY7607"/>
              </a:cxn>
              <a:cxn ang="0">
                <a:pos x="connsiteX7608" y="connsiteY7608"/>
              </a:cxn>
              <a:cxn ang="0">
                <a:pos x="connsiteX7609" y="connsiteY7609"/>
              </a:cxn>
              <a:cxn ang="0">
                <a:pos x="connsiteX7610" y="connsiteY7610"/>
              </a:cxn>
              <a:cxn ang="0">
                <a:pos x="connsiteX7611" y="connsiteY7611"/>
              </a:cxn>
              <a:cxn ang="0">
                <a:pos x="connsiteX7612" y="connsiteY7612"/>
              </a:cxn>
              <a:cxn ang="0">
                <a:pos x="connsiteX7613" y="connsiteY7613"/>
              </a:cxn>
              <a:cxn ang="0">
                <a:pos x="connsiteX7614" y="connsiteY7614"/>
              </a:cxn>
              <a:cxn ang="0">
                <a:pos x="connsiteX7615" y="connsiteY7615"/>
              </a:cxn>
              <a:cxn ang="0">
                <a:pos x="connsiteX7616" y="connsiteY7616"/>
              </a:cxn>
              <a:cxn ang="0">
                <a:pos x="connsiteX7617" y="connsiteY7617"/>
              </a:cxn>
              <a:cxn ang="0">
                <a:pos x="connsiteX7618" y="connsiteY7618"/>
              </a:cxn>
              <a:cxn ang="0">
                <a:pos x="connsiteX7619" y="connsiteY7619"/>
              </a:cxn>
              <a:cxn ang="0">
                <a:pos x="connsiteX7620" y="connsiteY7620"/>
              </a:cxn>
              <a:cxn ang="0">
                <a:pos x="connsiteX7621" y="connsiteY7621"/>
              </a:cxn>
              <a:cxn ang="0">
                <a:pos x="connsiteX7622" y="connsiteY7622"/>
              </a:cxn>
              <a:cxn ang="0">
                <a:pos x="connsiteX7623" y="connsiteY7623"/>
              </a:cxn>
              <a:cxn ang="0">
                <a:pos x="connsiteX7624" y="connsiteY7624"/>
              </a:cxn>
              <a:cxn ang="0">
                <a:pos x="connsiteX7625" y="connsiteY7625"/>
              </a:cxn>
              <a:cxn ang="0">
                <a:pos x="connsiteX7626" y="connsiteY7626"/>
              </a:cxn>
              <a:cxn ang="0">
                <a:pos x="connsiteX7627" y="connsiteY7627"/>
              </a:cxn>
              <a:cxn ang="0">
                <a:pos x="connsiteX7628" y="connsiteY7628"/>
              </a:cxn>
              <a:cxn ang="0">
                <a:pos x="connsiteX7629" y="connsiteY7629"/>
              </a:cxn>
              <a:cxn ang="0">
                <a:pos x="connsiteX7630" y="connsiteY7630"/>
              </a:cxn>
              <a:cxn ang="0">
                <a:pos x="connsiteX7631" y="connsiteY7631"/>
              </a:cxn>
              <a:cxn ang="0">
                <a:pos x="connsiteX7632" y="connsiteY7632"/>
              </a:cxn>
              <a:cxn ang="0">
                <a:pos x="connsiteX7633" y="connsiteY7633"/>
              </a:cxn>
              <a:cxn ang="0">
                <a:pos x="connsiteX7634" y="connsiteY7634"/>
              </a:cxn>
              <a:cxn ang="0">
                <a:pos x="connsiteX7635" y="connsiteY7635"/>
              </a:cxn>
              <a:cxn ang="0">
                <a:pos x="connsiteX7636" y="connsiteY7636"/>
              </a:cxn>
              <a:cxn ang="0">
                <a:pos x="connsiteX7637" y="connsiteY7637"/>
              </a:cxn>
              <a:cxn ang="0">
                <a:pos x="connsiteX7638" y="connsiteY7638"/>
              </a:cxn>
              <a:cxn ang="0">
                <a:pos x="connsiteX7639" y="connsiteY7639"/>
              </a:cxn>
              <a:cxn ang="0">
                <a:pos x="connsiteX7640" y="connsiteY7640"/>
              </a:cxn>
              <a:cxn ang="0">
                <a:pos x="connsiteX7641" y="connsiteY7641"/>
              </a:cxn>
              <a:cxn ang="0">
                <a:pos x="connsiteX7642" y="connsiteY7642"/>
              </a:cxn>
              <a:cxn ang="0">
                <a:pos x="connsiteX7643" y="connsiteY7643"/>
              </a:cxn>
              <a:cxn ang="0">
                <a:pos x="connsiteX7644" y="connsiteY7644"/>
              </a:cxn>
              <a:cxn ang="0">
                <a:pos x="connsiteX7645" y="connsiteY7645"/>
              </a:cxn>
              <a:cxn ang="0">
                <a:pos x="connsiteX7646" y="connsiteY7646"/>
              </a:cxn>
              <a:cxn ang="0">
                <a:pos x="connsiteX7647" y="connsiteY7647"/>
              </a:cxn>
              <a:cxn ang="0">
                <a:pos x="connsiteX7648" y="connsiteY7648"/>
              </a:cxn>
              <a:cxn ang="0">
                <a:pos x="connsiteX7649" y="connsiteY7649"/>
              </a:cxn>
              <a:cxn ang="0">
                <a:pos x="connsiteX7650" y="connsiteY7650"/>
              </a:cxn>
              <a:cxn ang="0">
                <a:pos x="connsiteX7651" y="connsiteY7651"/>
              </a:cxn>
              <a:cxn ang="0">
                <a:pos x="connsiteX7652" y="connsiteY7652"/>
              </a:cxn>
              <a:cxn ang="0">
                <a:pos x="connsiteX7653" y="connsiteY7653"/>
              </a:cxn>
              <a:cxn ang="0">
                <a:pos x="connsiteX7654" y="connsiteY7654"/>
              </a:cxn>
              <a:cxn ang="0">
                <a:pos x="connsiteX7655" y="connsiteY7655"/>
              </a:cxn>
              <a:cxn ang="0">
                <a:pos x="connsiteX7656" y="connsiteY7656"/>
              </a:cxn>
              <a:cxn ang="0">
                <a:pos x="connsiteX7657" y="connsiteY7657"/>
              </a:cxn>
              <a:cxn ang="0">
                <a:pos x="connsiteX7658" y="connsiteY7658"/>
              </a:cxn>
              <a:cxn ang="0">
                <a:pos x="connsiteX7659" y="connsiteY7659"/>
              </a:cxn>
              <a:cxn ang="0">
                <a:pos x="connsiteX7660" y="connsiteY7660"/>
              </a:cxn>
              <a:cxn ang="0">
                <a:pos x="connsiteX7661" y="connsiteY7661"/>
              </a:cxn>
              <a:cxn ang="0">
                <a:pos x="connsiteX7662" y="connsiteY7662"/>
              </a:cxn>
              <a:cxn ang="0">
                <a:pos x="connsiteX7663" y="connsiteY7663"/>
              </a:cxn>
              <a:cxn ang="0">
                <a:pos x="connsiteX7664" y="connsiteY7664"/>
              </a:cxn>
              <a:cxn ang="0">
                <a:pos x="connsiteX7665" y="connsiteY7665"/>
              </a:cxn>
              <a:cxn ang="0">
                <a:pos x="connsiteX7666" y="connsiteY7666"/>
              </a:cxn>
              <a:cxn ang="0">
                <a:pos x="connsiteX7667" y="connsiteY7667"/>
              </a:cxn>
              <a:cxn ang="0">
                <a:pos x="connsiteX7668" y="connsiteY7668"/>
              </a:cxn>
              <a:cxn ang="0">
                <a:pos x="connsiteX7669" y="connsiteY7669"/>
              </a:cxn>
              <a:cxn ang="0">
                <a:pos x="connsiteX7670" y="connsiteY7670"/>
              </a:cxn>
              <a:cxn ang="0">
                <a:pos x="connsiteX7671" y="connsiteY7671"/>
              </a:cxn>
              <a:cxn ang="0">
                <a:pos x="connsiteX7672" y="connsiteY7672"/>
              </a:cxn>
              <a:cxn ang="0">
                <a:pos x="connsiteX7673" y="connsiteY7673"/>
              </a:cxn>
              <a:cxn ang="0">
                <a:pos x="connsiteX7674" y="connsiteY7674"/>
              </a:cxn>
              <a:cxn ang="0">
                <a:pos x="connsiteX7675" y="connsiteY7675"/>
              </a:cxn>
              <a:cxn ang="0">
                <a:pos x="connsiteX7676" y="connsiteY7676"/>
              </a:cxn>
              <a:cxn ang="0">
                <a:pos x="connsiteX7677" y="connsiteY7677"/>
              </a:cxn>
              <a:cxn ang="0">
                <a:pos x="connsiteX7678" y="connsiteY7678"/>
              </a:cxn>
              <a:cxn ang="0">
                <a:pos x="connsiteX7679" y="connsiteY7679"/>
              </a:cxn>
              <a:cxn ang="0">
                <a:pos x="connsiteX7680" y="connsiteY7680"/>
              </a:cxn>
              <a:cxn ang="0">
                <a:pos x="connsiteX7681" y="connsiteY7681"/>
              </a:cxn>
              <a:cxn ang="0">
                <a:pos x="connsiteX7682" y="connsiteY7682"/>
              </a:cxn>
              <a:cxn ang="0">
                <a:pos x="connsiteX7683" y="connsiteY7683"/>
              </a:cxn>
              <a:cxn ang="0">
                <a:pos x="connsiteX7684" y="connsiteY7684"/>
              </a:cxn>
              <a:cxn ang="0">
                <a:pos x="connsiteX7685" y="connsiteY7685"/>
              </a:cxn>
              <a:cxn ang="0">
                <a:pos x="connsiteX7686" y="connsiteY7686"/>
              </a:cxn>
              <a:cxn ang="0">
                <a:pos x="connsiteX7687" y="connsiteY7687"/>
              </a:cxn>
              <a:cxn ang="0">
                <a:pos x="connsiteX7688" y="connsiteY7688"/>
              </a:cxn>
              <a:cxn ang="0">
                <a:pos x="connsiteX7689" y="connsiteY7689"/>
              </a:cxn>
              <a:cxn ang="0">
                <a:pos x="connsiteX7690" y="connsiteY7690"/>
              </a:cxn>
              <a:cxn ang="0">
                <a:pos x="connsiteX7691" y="connsiteY7691"/>
              </a:cxn>
              <a:cxn ang="0">
                <a:pos x="connsiteX7692" y="connsiteY7692"/>
              </a:cxn>
              <a:cxn ang="0">
                <a:pos x="connsiteX7693" y="connsiteY7693"/>
              </a:cxn>
              <a:cxn ang="0">
                <a:pos x="connsiteX7694" y="connsiteY7694"/>
              </a:cxn>
              <a:cxn ang="0">
                <a:pos x="connsiteX7695" y="connsiteY7695"/>
              </a:cxn>
              <a:cxn ang="0">
                <a:pos x="connsiteX7696" y="connsiteY7696"/>
              </a:cxn>
              <a:cxn ang="0">
                <a:pos x="connsiteX7697" y="connsiteY7697"/>
              </a:cxn>
              <a:cxn ang="0">
                <a:pos x="connsiteX7698" y="connsiteY7698"/>
              </a:cxn>
              <a:cxn ang="0">
                <a:pos x="connsiteX7699" y="connsiteY7699"/>
              </a:cxn>
              <a:cxn ang="0">
                <a:pos x="connsiteX7700" y="connsiteY7700"/>
              </a:cxn>
              <a:cxn ang="0">
                <a:pos x="connsiteX7701" y="connsiteY7701"/>
              </a:cxn>
              <a:cxn ang="0">
                <a:pos x="connsiteX7702" y="connsiteY7702"/>
              </a:cxn>
              <a:cxn ang="0">
                <a:pos x="connsiteX7703" y="connsiteY7703"/>
              </a:cxn>
              <a:cxn ang="0">
                <a:pos x="connsiteX7704" y="connsiteY7704"/>
              </a:cxn>
              <a:cxn ang="0">
                <a:pos x="connsiteX7705" y="connsiteY7705"/>
              </a:cxn>
              <a:cxn ang="0">
                <a:pos x="connsiteX7706" y="connsiteY7706"/>
              </a:cxn>
              <a:cxn ang="0">
                <a:pos x="connsiteX7707" y="connsiteY7707"/>
              </a:cxn>
              <a:cxn ang="0">
                <a:pos x="connsiteX7708" y="connsiteY7708"/>
              </a:cxn>
              <a:cxn ang="0">
                <a:pos x="connsiteX7709" y="connsiteY7709"/>
              </a:cxn>
              <a:cxn ang="0">
                <a:pos x="connsiteX7710" y="connsiteY7710"/>
              </a:cxn>
              <a:cxn ang="0">
                <a:pos x="connsiteX7711" y="connsiteY7711"/>
              </a:cxn>
              <a:cxn ang="0">
                <a:pos x="connsiteX7712" y="connsiteY7712"/>
              </a:cxn>
              <a:cxn ang="0">
                <a:pos x="connsiteX7713" y="connsiteY7713"/>
              </a:cxn>
              <a:cxn ang="0">
                <a:pos x="connsiteX7714" y="connsiteY7714"/>
              </a:cxn>
              <a:cxn ang="0">
                <a:pos x="connsiteX7715" y="connsiteY7715"/>
              </a:cxn>
              <a:cxn ang="0">
                <a:pos x="connsiteX7716" y="connsiteY7716"/>
              </a:cxn>
              <a:cxn ang="0">
                <a:pos x="connsiteX7717" y="connsiteY7717"/>
              </a:cxn>
              <a:cxn ang="0">
                <a:pos x="connsiteX7718" y="connsiteY7718"/>
              </a:cxn>
              <a:cxn ang="0">
                <a:pos x="connsiteX7719" y="connsiteY7719"/>
              </a:cxn>
              <a:cxn ang="0">
                <a:pos x="connsiteX7720" y="connsiteY7720"/>
              </a:cxn>
              <a:cxn ang="0">
                <a:pos x="connsiteX7721" y="connsiteY7721"/>
              </a:cxn>
              <a:cxn ang="0">
                <a:pos x="connsiteX7722" y="connsiteY7722"/>
              </a:cxn>
              <a:cxn ang="0">
                <a:pos x="connsiteX7723" y="connsiteY7723"/>
              </a:cxn>
              <a:cxn ang="0">
                <a:pos x="connsiteX7724" y="connsiteY7724"/>
              </a:cxn>
              <a:cxn ang="0">
                <a:pos x="connsiteX7725" y="connsiteY7725"/>
              </a:cxn>
              <a:cxn ang="0">
                <a:pos x="connsiteX7726" y="connsiteY7726"/>
              </a:cxn>
              <a:cxn ang="0">
                <a:pos x="connsiteX7727" y="connsiteY7727"/>
              </a:cxn>
              <a:cxn ang="0">
                <a:pos x="connsiteX7728" y="connsiteY7728"/>
              </a:cxn>
              <a:cxn ang="0">
                <a:pos x="connsiteX7729" y="connsiteY7729"/>
              </a:cxn>
              <a:cxn ang="0">
                <a:pos x="connsiteX7730" y="connsiteY7730"/>
              </a:cxn>
              <a:cxn ang="0">
                <a:pos x="connsiteX7731" y="connsiteY7731"/>
              </a:cxn>
              <a:cxn ang="0">
                <a:pos x="connsiteX7732" y="connsiteY7732"/>
              </a:cxn>
              <a:cxn ang="0">
                <a:pos x="connsiteX7733" y="connsiteY7733"/>
              </a:cxn>
              <a:cxn ang="0">
                <a:pos x="connsiteX7734" y="connsiteY7734"/>
              </a:cxn>
              <a:cxn ang="0">
                <a:pos x="connsiteX7735" y="connsiteY7735"/>
              </a:cxn>
              <a:cxn ang="0">
                <a:pos x="connsiteX7736" y="connsiteY7736"/>
              </a:cxn>
              <a:cxn ang="0">
                <a:pos x="connsiteX7737" y="connsiteY7737"/>
              </a:cxn>
              <a:cxn ang="0">
                <a:pos x="connsiteX7738" y="connsiteY7738"/>
              </a:cxn>
              <a:cxn ang="0">
                <a:pos x="connsiteX7739" y="connsiteY7739"/>
              </a:cxn>
              <a:cxn ang="0">
                <a:pos x="connsiteX7740" y="connsiteY7740"/>
              </a:cxn>
              <a:cxn ang="0">
                <a:pos x="connsiteX7741" y="connsiteY7741"/>
              </a:cxn>
              <a:cxn ang="0">
                <a:pos x="connsiteX7742" y="connsiteY7742"/>
              </a:cxn>
              <a:cxn ang="0">
                <a:pos x="connsiteX7743" y="connsiteY7743"/>
              </a:cxn>
              <a:cxn ang="0">
                <a:pos x="connsiteX7744" y="connsiteY7744"/>
              </a:cxn>
              <a:cxn ang="0">
                <a:pos x="connsiteX7745" y="connsiteY7745"/>
              </a:cxn>
              <a:cxn ang="0">
                <a:pos x="connsiteX7746" y="connsiteY7746"/>
              </a:cxn>
              <a:cxn ang="0">
                <a:pos x="connsiteX7747" y="connsiteY7747"/>
              </a:cxn>
              <a:cxn ang="0">
                <a:pos x="connsiteX7748" y="connsiteY7748"/>
              </a:cxn>
              <a:cxn ang="0">
                <a:pos x="connsiteX7749" y="connsiteY7749"/>
              </a:cxn>
              <a:cxn ang="0">
                <a:pos x="connsiteX7750" y="connsiteY7750"/>
              </a:cxn>
              <a:cxn ang="0">
                <a:pos x="connsiteX7751" y="connsiteY7751"/>
              </a:cxn>
              <a:cxn ang="0">
                <a:pos x="connsiteX7752" y="connsiteY7752"/>
              </a:cxn>
              <a:cxn ang="0">
                <a:pos x="connsiteX7753" y="connsiteY7753"/>
              </a:cxn>
              <a:cxn ang="0">
                <a:pos x="connsiteX7754" y="connsiteY7754"/>
              </a:cxn>
              <a:cxn ang="0">
                <a:pos x="connsiteX7755" y="connsiteY7755"/>
              </a:cxn>
              <a:cxn ang="0">
                <a:pos x="connsiteX7756" y="connsiteY7756"/>
              </a:cxn>
              <a:cxn ang="0">
                <a:pos x="connsiteX7757" y="connsiteY7757"/>
              </a:cxn>
              <a:cxn ang="0">
                <a:pos x="connsiteX7758" y="connsiteY7758"/>
              </a:cxn>
              <a:cxn ang="0">
                <a:pos x="connsiteX7759" y="connsiteY7759"/>
              </a:cxn>
              <a:cxn ang="0">
                <a:pos x="connsiteX7760" y="connsiteY7760"/>
              </a:cxn>
              <a:cxn ang="0">
                <a:pos x="connsiteX7761" y="connsiteY7761"/>
              </a:cxn>
              <a:cxn ang="0">
                <a:pos x="connsiteX7762" y="connsiteY7762"/>
              </a:cxn>
              <a:cxn ang="0">
                <a:pos x="connsiteX7763" y="connsiteY7763"/>
              </a:cxn>
              <a:cxn ang="0">
                <a:pos x="connsiteX7764" y="connsiteY7764"/>
              </a:cxn>
              <a:cxn ang="0">
                <a:pos x="connsiteX7765" y="connsiteY7765"/>
              </a:cxn>
              <a:cxn ang="0">
                <a:pos x="connsiteX7766" y="connsiteY7766"/>
              </a:cxn>
              <a:cxn ang="0">
                <a:pos x="connsiteX7767" y="connsiteY7767"/>
              </a:cxn>
              <a:cxn ang="0">
                <a:pos x="connsiteX7768" y="connsiteY7768"/>
              </a:cxn>
              <a:cxn ang="0">
                <a:pos x="connsiteX7769" y="connsiteY7769"/>
              </a:cxn>
              <a:cxn ang="0">
                <a:pos x="connsiteX7770" y="connsiteY7770"/>
              </a:cxn>
              <a:cxn ang="0">
                <a:pos x="connsiteX7771" y="connsiteY7771"/>
              </a:cxn>
              <a:cxn ang="0">
                <a:pos x="connsiteX7772" y="connsiteY7772"/>
              </a:cxn>
              <a:cxn ang="0">
                <a:pos x="connsiteX7773" y="connsiteY7773"/>
              </a:cxn>
              <a:cxn ang="0">
                <a:pos x="connsiteX7774" y="connsiteY7774"/>
              </a:cxn>
              <a:cxn ang="0">
                <a:pos x="connsiteX7775" y="connsiteY7775"/>
              </a:cxn>
              <a:cxn ang="0">
                <a:pos x="connsiteX7776" y="connsiteY7776"/>
              </a:cxn>
              <a:cxn ang="0">
                <a:pos x="connsiteX7777" y="connsiteY7777"/>
              </a:cxn>
              <a:cxn ang="0">
                <a:pos x="connsiteX7778" y="connsiteY7778"/>
              </a:cxn>
              <a:cxn ang="0">
                <a:pos x="connsiteX7779" y="connsiteY7779"/>
              </a:cxn>
              <a:cxn ang="0">
                <a:pos x="connsiteX7780" y="connsiteY7780"/>
              </a:cxn>
              <a:cxn ang="0">
                <a:pos x="connsiteX7781" y="connsiteY7781"/>
              </a:cxn>
              <a:cxn ang="0">
                <a:pos x="connsiteX7782" y="connsiteY7782"/>
              </a:cxn>
              <a:cxn ang="0">
                <a:pos x="connsiteX7783" y="connsiteY7783"/>
              </a:cxn>
              <a:cxn ang="0">
                <a:pos x="connsiteX7784" y="connsiteY7784"/>
              </a:cxn>
              <a:cxn ang="0">
                <a:pos x="connsiteX7785" y="connsiteY7785"/>
              </a:cxn>
              <a:cxn ang="0">
                <a:pos x="connsiteX7786" y="connsiteY7786"/>
              </a:cxn>
              <a:cxn ang="0">
                <a:pos x="connsiteX7787" y="connsiteY7787"/>
              </a:cxn>
              <a:cxn ang="0">
                <a:pos x="connsiteX7788" y="connsiteY7788"/>
              </a:cxn>
              <a:cxn ang="0">
                <a:pos x="connsiteX7789" y="connsiteY7789"/>
              </a:cxn>
              <a:cxn ang="0">
                <a:pos x="connsiteX7790" y="connsiteY7790"/>
              </a:cxn>
              <a:cxn ang="0">
                <a:pos x="connsiteX7791" y="connsiteY7791"/>
              </a:cxn>
              <a:cxn ang="0">
                <a:pos x="connsiteX7792" y="connsiteY7792"/>
              </a:cxn>
              <a:cxn ang="0">
                <a:pos x="connsiteX7793" y="connsiteY7793"/>
              </a:cxn>
              <a:cxn ang="0">
                <a:pos x="connsiteX7794" y="connsiteY7794"/>
              </a:cxn>
              <a:cxn ang="0">
                <a:pos x="connsiteX7795" y="connsiteY7795"/>
              </a:cxn>
              <a:cxn ang="0">
                <a:pos x="connsiteX7796" y="connsiteY7796"/>
              </a:cxn>
              <a:cxn ang="0">
                <a:pos x="connsiteX7797" y="connsiteY7797"/>
              </a:cxn>
              <a:cxn ang="0">
                <a:pos x="connsiteX7798" y="connsiteY7798"/>
              </a:cxn>
              <a:cxn ang="0">
                <a:pos x="connsiteX7799" y="connsiteY7799"/>
              </a:cxn>
              <a:cxn ang="0">
                <a:pos x="connsiteX7800" y="connsiteY7800"/>
              </a:cxn>
              <a:cxn ang="0">
                <a:pos x="connsiteX7801" y="connsiteY7801"/>
              </a:cxn>
              <a:cxn ang="0">
                <a:pos x="connsiteX7802" y="connsiteY7802"/>
              </a:cxn>
              <a:cxn ang="0">
                <a:pos x="connsiteX7803" y="connsiteY7803"/>
              </a:cxn>
              <a:cxn ang="0">
                <a:pos x="connsiteX7804" y="connsiteY7804"/>
              </a:cxn>
              <a:cxn ang="0">
                <a:pos x="connsiteX7805" y="connsiteY7805"/>
              </a:cxn>
              <a:cxn ang="0">
                <a:pos x="connsiteX7806" y="connsiteY7806"/>
              </a:cxn>
              <a:cxn ang="0">
                <a:pos x="connsiteX7807" y="connsiteY7807"/>
              </a:cxn>
              <a:cxn ang="0">
                <a:pos x="connsiteX7808" y="connsiteY7808"/>
              </a:cxn>
              <a:cxn ang="0">
                <a:pos x="connsiteX7809" y="connsiteY7809"/>
              </a:cxn>
              <a:cxn ang="0">
                <a:pos x="connsiteX7810" y="connsiteY7810"/>
              </a:cxn>
              <a:cxn ang="0">
                <a:pos x="connsiteX7811" y="connsiteY7811"/>
              </a:cxn>
              <a:cxn ang="0">
                <a:pos x="connsiteX7812" y="connsiteY7812"/>
              </a:cxn>
              <a:cxn ang="0">
                <a:pos x="connsiteX7813" y="connsiteY7813"/>
              </a:cxn>
              <a:cxn ang="0">
                <a:pos x="connsiteX7814" y="connsiteY7814"/>
              </a:cxn>
              <a:cxn ang="0">
                <a:pos x="connsiteX7815" y="connsiteY7815"/>
              </a:cxn>
              <a:cxn ang="0">
                <a:pos x="connsiteX7816" y="connsiteY7816"/>
              </a:cxn>
              <a:cxn ang="0">
                <a:pos x="connsiteX7817" y="connsiteY7817"/>
              </a:cxn>
              <a:cxn ang="0">
                <a:pos x="connsiteX7818" y="connsiteY7818"/>
              </a:cxn>
              <a:cxn ang="0">
                <a:pos x="connsiteX7819" y="connsiteY7819"/>
              </a:cxn>
              <a:cxn ang="0">
                <a:pos x="connsiteX7820" y="connsiteY7820"/>
              </a:cxn>
              <a:cxn ang="0">
                <a:pos x="connsiteX7821" y="connsiteY7821"/>
              </a:cxn>
              <a:cxn ang="0">
                <a:pos x="connsiteX7822" y="connsiteY7822"/>
              </a:cxn>
              <a:cxn ang="0">
                <a:pos x="connsiteX7823" y="connsiteY7823"/>
              </a:cxn>
              <a:cxn ang="0">
                <a:pos x="connsiteX7824" y="connsiteY7824"/>
              </a:cxn>
              <a:cxn ang="0">
                <a:pos x="connsiteX7825" y="connsiteY7825"/>
              </a:cxn>
              <a:cxn ang="0">
                <a:pos x="connsiteX7826" y="connsiteY7826"/>
              </a:cxn>
              <a:cxn ang="0">
                <a:pos x="connsiteX7827" y="connsiteY7827"/>
              </a:cxn>
              <a:cxn ang="0">
                <a:pos x="connsiteX7828" y="connsiteY7828"/>
              </a:cxn>
              <a:cxn ang="0">
                <a:pos x="connsiteX7829" y="connsiteY7829"/>
              </a:cxn>
              <a:cxn ang="0">
                <a:pos x="connsiteX7830" y="connsiteY7830"/>
              </a:cxn>
              <a:cxn ang="0">
                <a:pos x="connsiteX7831" y="connsiteY7831"/>
              </a:cxn>
              <a:cxn ang="0">
                <a:pos x="connsiteX7832" y="connsiteY7832"/>
              </a:cxn>
              <a:cxn ang="0">
                <a:pos x="connsiteX7833" y="connsiteY7833"/>
              </a:cxn>
              <a:cxn ang="0">
                <a:pos x="connsiteX7834" y="connsiteY7834"/>
              </a:cxn>
              <a:cxn ang="0">
                <a:pos x="connsiteX7835" y="connsiteY7835"/>
              </a:cxn>
              <a:cxn ang="0">
                <a:pos x="connsiteX7836" y="connsiteY7836"/>
              </a:cxn>
              <a:cxn ang="0">
                <a:pos x="connsiteX7837" y="connsiteY7837"/>
              </a:cxn>
              <a:cxn ang="0">
                <a:pos x="connsiteX7838" y="connsiteY7838"/>
              </a:cxn>
              <a:cxn ang="0">
                <a:pos x="connsiteX7839" y="connsiteY7839"/>
              </a:cxn>
              <a:cxn ang="0">
                <a:pos x="connsiteX7840" y="connsiteY7840"/>
              </a:cxn>
              <a:cxn ang="0">
                <a:pos x="connsiteX7841" y="connsiteY7841"/>
              </a:cxn>
              <a:cxn ang="0">
                <a:pos x="connsiteX7842" y="connsiteY7842"/>
              </a:cxn>
              <a:cxn ang="0">
                <a:pos x="connsiteX7843" y="connsiteY7843"/>
              </a:cxn>
              <a:cxn ang="0">
                <a:pos x="connsiteX7844" y="connsiteY7844"/>
              </a:cxn>
              <a:cxn ang="0">
                <a:pos x="connsiteX7845" y="connsiteY7845"/>
              </a:cxn>
              <a:cxn ang="0">
                <a:pos x="connsiteX7846" y="connsiteY7846"/>
              </a:cxn>
              <a:cxn ang="0">
                <a:pos x="connsiteX7847" y="connsiteY7847"/>
              </a:cxn>
              <a:cxn ang="0">
                <a:pos x="connsiteX7848" y="connsiteY7848"/>
              </a:cxn>
              <a:cxn ang="0">
                <a:pos x="connsiteX7849" y="connsiteY7849"/>
              </a:cxn>
              <a:cxn ang="0">
                <a:pos x="connsiteX7850" y="connsiteY7850"/>
              </a:cxn>
              <a:cxn ang="0">
                <a:pos x="connsiteX7851" y="connsiteY7851"/>
              </a:cxn>
              <a:cxn ang="0">
                <a:pos x="connsiteX7852" y="connsiteY7852"/>
              </a:cxn>
              <a:cxn ang="0">
                <a:pos x="connsiteX7853" y="connsiteY7853"/>
              </a:cxn>
              <a:cxn ang="0">
                <a:pos x="connsiteX7854" y="connsiteY7854"/>
              </a:cxn>
              <a:cxn ang="0">
                <a:pos x="connsiteX7855" y="connsiteY7855"/>
              </a:cxn>
              <a:cxn ang="0">
                <a:pos x="connsiteX7856" y="connsiteY7856"/>
              </a:cxn>
              <a:cxn ang="0">
                <a:pos x="connsiteX7857" y="connsiteY7857"/>
              </a:cxn>
              <a:cxn ang="0">
                <a:pos x="connsiteX7858" y="connsiteY7858"/>
              </a:cxn>
              <a:cxn ang="0">
                <a:pos x="connsiteX7859" y="connsiteY7859"/>
              </a:cxn>
              <a:cxn ang="0">
                <a:pos x="connsiteX7860" y="connsiteY7860"/>
              </a:cxn>
              <a:cxn ang="0">
                <a:pos x="connsiteX7861" y="connsiteY7861"/>
              </a:cxn>
              <a:cxn ang="0">
                <a:pos x="connsiteX7862" y="connsiteY7862"/>
              </a:cxn>
              <a:cxn ang="0">
                <a:pos x="connsiteX7863" y="connsiteY7863"/>
              </a:cxn>
              <a:cxn ang="0">
                <a:pos x="connsiteX7864" y="connsiteY7864"/>
              </a:cxn>
              <a:cxn ang="0">
                <a:pos x="connsiteX7865" y="connsiteY7865"/>
              </a:cxn>
              <a:cxn ang="0">
                <a:pos x="connsiteX7866" y="connsiteY7866"/>
              </a:cxn>
              <a:cxn ang="0">
                <a:pos x="connsiteX7867" y="connsiteY7867"/>
              </a:cxn>
              <a:cxn ang="0">
                <a:pos x="connsiteX7868" y="connsiteY7868"/>
              </a:cxn>
              <a:cxn ang="0">
                <a:pos x="connsiteX7869" y="connsiteY7869"/>
              </a:cxn>
              <a:cxn ang="0">
                <a:pos x="connsiteX7870" y="connsiteY7870"/>
              </a:cxn>
              <a:cxn ang="0">
                <a:pos x="connsiteX7871" y="connsiteY7871"/>
              </a:cxn>
              <a:cxn ang="0">
                <a:pos x="connsiteX7872" y="connsiteY7872"/>
              </a:cxn>
              <a:cxn ang="0">
                <a:pos x="connsiteX7873" y="connsiteY7873"/>
              </a:cxn>
              <a:cxn ang="0">
                <a:pos x="connsiteX7874" y="connsiteY7874"/>
              </a:cxn>
              <a:cxn ang="0">
                <a:pos x="connsiteX7875" y="connsiteY7875"/>
              </a:cxn>
              <a:cxn ang="0">
                <a:pos x="connsiteX7876" y="connsiteY7876"/>
              </a:cxn>
              <a:cxn ang="0">
                <a:pos x="connsiteX7877" y="connsiteY7877"/>
              </a:cxn>
              <a:cxn ang="0">
                <a:pos x="connsiteX7878" y="connsiteY7878"/>
              </a:cxn>
              <a:cxn ang="0">
                <a:pos x="connsiteX7879" y="connsiteY7879"/>
              </a:cxn>
              <a:cxn ang="0">
                <a:pos x="connsiteX7880" y="connsiteY7880"/>
              </a:cxn>
              <a:cxn ang="0">
                <a:pos x="connsiteX7881" y="connsiteY7881"/>
              </a:cxn>
              <a:cxn ang="0">
                <a:pos x="connsiteX7882" y="connsiteY7882"/>
              </a:cxn>
              <a:cxn ang="0">
                <a:pos x="connsiteX7883" y="connsiteY7883"/>
              </a:cxn>
              <a:cxn ang="0">
                <a:pos x="connsiteX7884" y="connsiteY7884"/>
              </a:cxn>
              <a:cxn ang="0">
                <a:pos x="connsiteX7885" y="connsiteY7885"/>
              </a:cxn>
              <a:cxn ang="0">
                <a:pos x="connsiteX7886" y="connsiteY7886"/>
              </a:cxn>
              <a:cxn ang="0">
                <a:pos x="connsiteX7887" y="connsiteY7887"/>
              </a:cxn>
              <a:cxn ang="0">
                <a:pos x="connsiteX7888" y="connsiteY7888"/>
              </a:cxn>
              <a:cxn ang="0">
                <a:pos x="connsiteX7889" y="connsiteY7889"/>
              </a:cxn>
              <a:cxn ang="0">
                <a:pos x="connsiteX7890" y="connsiteY7890"/>
              </a:cxn>
              <a:cxn ang="0">
                <a:pos x="connsiteX7891" y="connsiteY7891"/>
              </a:cxn>
              <a:cxn ang="0">
                <a:pos x="connsiteX7892" y="connsiteY7892"/>
              </a:cxn>
              <a:cxn ang="0">
                <a:pos x="connsiteX7893" y="connsiteY7893"/>
              </a:cxn>
              <a:cxn ang="0">
                <a:pos x="connsiteX7894" y="connsiteY7894"/>
              </a:cxn>
              <a:cxn ang="0">
                <a:pos x="connsiteX7895" y="connsiteY7895"/>
              </a:cxn>
              <a:cxn ang="0">
                <a:pos x="connsiteX7896" y="connsiteY7896"/>
              </a:cxn>
              <a:cxn ang="0">
                <a:pos x="connsiteX7897" y="connsiteY7897"/>
              </a:cxn>
              <a:cxn ang="0">
                <a:pos x="connsiteX7898" y="connsiteY7898"/>
              </a:cxn>
              <a:cxn ang="0">
                <a:pos x="connsiteX7899" y="connsiteY7899"/>
              </a:cxn>
              <a:cxn ang="0">
                <a:pos x="connsiteX7900" y="connsiteY7900"/>
              </a:cxn>
              <a:cxn ang="0">
                <a:pos x="connsiteX7901" y="connsiteY7901"/>
              </a:cxn>
              <a:cxn ang="0">
                <a:pos x="connsiteX7902" y="connsiteY7902"/>
              </a:cxn>
              <a:cxn ang="0">
                <a:pos x="connsiteX7903" y="connsiteY7903"/>
              </a:cxn>
              <a:cxn ang="0">
                <a:pos x="connsiteX7904" y="connsiteY7904"/>
              </a:cxn>
              <a:cxn ang="0">
                <a:pos x="connsiteX7905" y="connsiteY7905"/>
              </a:cxn>
              <a:cxn ang="0">
                <a:pos x="connsiteX7906" y="connsiteY7906"/>
              </a:cxn>
              <a:cxn ang="0">
                <a:pos x="connsiteX7907" y="connsiteY7907"/>
              </a:cxn>
              <a:cxn ang="0">
                <a:pos x="connsiteX7908" y="connsiteY7908"/>
              </a:cxn>
              <a:cxn ang="0">
                <a:pos x="connsiteX7909" y="connsiteY7909"/>
              </a:cxn>
              <a:cxn ang="0">
                <a:pos x="connsiteX7910" y="connsiteY7910"/>
              </a:cxn>
              <a:cxn ang="0">
                <a:pos x="connsiteX7911" y="connsiteY7911"/>
              </a:cxn>
              <a:cxn ang="0">
                <a:pos x="connsiteX7912" y="connsiteY7912"/>
              </a:cxn>
              <a:cxn ang="0">
                <a:pos x="connsiteX7913" y="connsiteY7913"/>
              </a:cxn>
              <a:cxn ang="0">
                <a:pos x="connsiteX7914" y="connsiteY7914"/>
              </a:cxn>
              <a:cxn ang="0">
                <a:pos x="connsiteX7915" y="connsiteY7915"/>
              </a:cxn>
              <a:cxn ang="0">
                <a:pos x="connsiteX7916" y="connsiteY7916"/>
              </a:cxn>
              <a:cxn ang="0">
                <a:pos x="connsiteX7917" y="connsiteY7917"/>
              </a:cxn>
              <a:cxn ang="0">
                <a:pos x="connsiteX7918" y="connsiteY7918"/>
              </a:cxn>
              <a:cxn ang="0">
                <a:pos x="connsiteX7919" y="connsiteY7919"/>
              </a:cxn>
              <a:cxn ang="0">
                <a:pos x="connsiteX7920" y="connsiteY7920"/>
              </a:cxn>
              <a:cxn ang="0">
                <a:pos x="connsiteX7921" y="connsiteY7921"/>
              </a:cxn>
              <a:cxn ang="0">
                <a:pos x="connsiteX7922" y="connsiteY7922"/>
              </a:cxn>
              <a:cxn ang="0">
                <a:pos x="connsiteX7923" y="connsiteY7923"/>
              </a:cxn>
              <a:cxn ang="0">
                <a:pos x="connsiteX7924" y="connsiteY7924"/>
              </a:cxn>
              <a:cxn ang="0">
                <a:pos x="connsiteX7925" y="connsiteY7925"/>
              </a:cxn>
              <a:cxn ang="0">
                <a:pos x="connsiteX7926" y="connsiteY7926"/>
              </a:cxn>
              <a:cxn ang="0">
                <a:pos x="connsiteX7927" y="connsiteY7927"/>
              </a:cxn>
              <a:cxn ang="0">
                <a:pos x="connsiteX7928" y="connsiteY7928"/>
              </a:cxn>
              <a:cxn ang="0">
                <a:pos x="connsiteX7929" y="connsiteY7929"/>
              </a:cxn>
              <a:cxn ang="0">
                <a:pos x="connsiteX7930" y="connsiteY7930"/>
              </a:cxn>
              <a:cxn ang="0">
                <a:pos x="connsiteX7931" y="connsiteY7931"/>
              </a:cxn>
              <a:cxn ang="0">
                <a:pos x="connsiteX7932" y="connsiteY7932"/>
              </a:cxn>
              <a:cxn ang="0">
                <a:pos x="connsiteX7933" y="connsiteY7933"/>
              </a:cxn>
              <a:cxn ang="0">
                <a:pos x="connsiteX7934" y="connsiteY7934"/>
              </a:cxn>
              <a:cxn ang="0">
                <a:pos x="connsiteX7935" y="connsiteY7935"/>
              </a:cxn>
              <a:cxn ang="0">
                <a:pos x="connsiteX7936" y="connsiteY7936"/>
              </a:cxn>
              <a:cxn ang="0">
                <a:pos x="connsiteX7937" y="connsiteY7937"/>
              </a:cxn>
              <a:cxn ang="0">
                <a:pos x="connsiteX7938" y="connsiteY7938"/>
              </a:cxn>
              <a:cxn ang="0">
                <a:pos x="connsiteX7939" y="connsiteY7939"/>
              </a:cxn>
              <a:cxn ang="0">
                <a:pos x="connsiteX7940" y="connsiteY7940"/>
              </a:cxn>
              <a:cxn ang="0">
                <a:pos x="connsiteX7941" y="connsiteY7941"/>
              </a:cxn>
              <a:cxn ang="0">
                <a:pos x="connsiteX7942" y="connsiteY7942"/>
              </a:cxn>
              <a:cxn ang="0">
                <a:pos x="connsiteX7943" y="connsiteY7943"/>
              </a:cxn>
              <a:cxn ang="0">
                <a:pos x="connsiteX7944" y="connsiteY7944"/>
              </a:cxn>
              <a:cxn ang="0">
                <a:pos x="connsiteX7945" y="connsiteY7945"/>
              </a:cxn>
              <a:cxn ang="0">
                <a:pos x="connsiteX7946" y="connsiteY7946"/>
              </a:cxn>
              <a:cxn ang="0">
                <a:pos x="connsiteX7947" y="connsiteY7947"/>
              </a:cxn>
              <a:cxn ang="0">
                <a:pos x="connsiteX7948" y="connsiteY7948"/>
              </a:cxn>
              <a:cxn ang="0">
                <a:pos x="connsiteX7949" y="connsiteY7949"/>
              </a:cxn>
              <a:cxn ang="0">
                <a:pos x="connsiteX7950" y="connsiteY7950"/>
              </a:cxn>
              <a:cxn ang="0">
                <a:pos x="connsiteX7951" y="connsiteY7951"/>
              </a:cxn>
              <a:cxn ang="0">
                <a:pos x="connsiteX7952" y="connsiteY7952"/>
              </a:cxn>
              <a:cxn ang="0">
                <a:pos x="connsiteX7953" y="connsiteY7953"/>
              </a:cxn>
              <a:cxn ang="0">
                <a:pos x="connsiteX7954" y="connsiteY7954"/>
              </a:cxn>
              <a:cxn ang="0">
                <a:pos x="connsiteX7955" y="connsiteY7955"/>
              </a:cxn>
              <a:cxn ang="0">
                <a:pos x="connsiteX7956" y="connsiteY7956"/>
              </a:cxn>
              <a:cxn ang="0">
                <a:pos x="connsiteX7957" y="connsiteY7957"/>
              </a:cxn>
              <a:cxn ang="0">
                <a:pos x="connsiteX7958" y="connsiteY7958"/>
              </a:cxn>
              <a:cxn ang="0">
                <a:pos x="connsiteX7959" y="connsiteY7959"/>
              </a:cxn>
              <a:cxn ang="0">
                <a:pos x="connsiteX7960" y="connsiteY7960"/>
              </a:cxn>
              <a:cxn ang="0">
                <a:pos x="connsiteX7961" y="connsiteY7961"/>
              </a:cxn>
              <a:cxn ang="0">
                <a:pos x="connsiteX7962" y="connsiteY7962"/>
              </a:cxn>
              <a:cxn ang="0">
                <a:pos x="connsiteX7963" y="connsiteY7963"/>
              </a:cxn>
              <a:cxn ang="0">
                <a:pos x="connsiteX7964" y="connsiteY7964"/>
              </a:cxn>
              <a:cxn ang="0">
                <a:pos x="connsiteX7965" y="connsiteY7965"/>
              </a:cxn>
              <a:cxn ang="0">
                <a:pos x="connsiteX7966" y="connsiteY7966"/>
              </a:cxn>
              <a:cxn ang="0">
                <a:pos x="connsiteX7967" y="connsiteY7967"/>
              </a:cxn>
              <a:cxn ang="0">
                <a:pos x="connsiteX7968" y="connsiteY7968"/>
              </a:cxn>
              <a:cxn ang="0">
                <a:pos x="connsiteX7969" y="connsiteY7969"/>
              </a:cxn>
              <a:cxn ang="0">
                <a:pos x="connsiteX7970" y="connsiteY7970"/>
              </a:cxn>
              <a:cxn ang="0">
                <a:pos x="connsiteX7971" y="connsiteY7971"/>
              </a:cxn>
              <a:cxn ang="0">
                <a:pos x="connsiteX7972" y="connsiteY7972"/>
              </a:cxn>
              <a:cxn ang="0">
                <a:pos x="connsiteX7973" y="connsiteY7973"/>
              </a:cxn>
              <a:cxn ang="0">
                <a:pos x="connsiteX7974" y="connsiteY7974"/>
              </a:cxn>
              <a:cxn ang="0">
                <a:pos x="connsiteX7975" y="connsiteY7975"/>
              </a:cxn>
              <a:cxn ang="0">
                <a:pos x="connsiteX7976" y="connsiteY7976"/>
              </a:cxn>
              <a:cxn ang="0">
                <a:pos x="connsiteX7977" y="connsiteY7977"/>
              </a:cxn>
              <a:cxn ang="0">
                <a:pos x="connsiteX7978" y="connsiteY7978"/>
              </a:cxn>
              <a:cxn ang="0">
                <a:pos x="connsiteX7979" y="connsiteY7979"/>
              </a:cxn>
              <a:cxn ang="0">
                <a:pos x="connsiteX7980" y="connsiteY7980"/>
              </a:cxn>
              <a:cxn ang="0">
                <a:pos x="connsiteX7981" y="connsiteY7981"/>
              </a:cxn>
              <a:cxn ang="0">
                <a:pos x="connsiteX7982" y="connsiteY7982"/>
              </a:cxn>
              <a:cxn ang="0">
                <a:pos x="connsiteX7983" y="connsiteY7983"/>
              </a:cxn>
              <a:cxn ang="0">
                <a:pos x="connsiteX7984" y="connsiteY7984"/>
              </a:cxn>
              <a:cxn ang="0">
                <a:pos x="connsiteX7985" y="connsiteY7985"/>
              </a:cxn>
              <a:cxn ang="0">
                <a:pos x="connsiteX7986" y="connsiteY7986"/>
              </a:cxn>
              <a:cxn ang="0">
                <a:pos x="connsiteX7987" y="connsiteY7987"/>
              </a:cxn>
              <a:cxn ang="0">
                <a:pos x="connsiteX7988" y="connsiteY7988"/>
              </a:cxn>
              <a:cxn ang="0">
                <a:pos x="connsiteX7989" y="connsiteY7989"/>
              </a:cxn>
              <a:cxn ang="0">
                <a:pos x="connsiteX7990" y="connsiteY7990"/>
              </a:cxn>
              <a:cxn ang="0">
                <a:pos x="connsiteX7991" y="connsiteY7991"/>
              </a:cxn>
              <a:cxn ang="0">
                <a:pos x="connsiteX7992" y="connsiteY7992"/>
              </a:cxn>
              <a:cxn ang="0">
                <a:pos x="connsiteX7993" y="connsiteY7993"/>
              </a:cxn>
              <a:cxn ang="0">
                <a:pos x="connsiteX7994" y="connsiteY7994"/>
              </a:cxn>
              <a:cxn ang="0">
                <a:pos x="connsiteX7995" y="connsiteY7995"/>
              </a:cxn>
              <a:cxn ang="0">
                <a:pos x="connsiteX7996" y="connsiteY7996"/>
              </a:cxn>
              <a:cxn ang="0">
                <a:pos x="connsiteX7997" y="connsiteY7997"/>
              </a:cxn>
              <a:cxn ang="0">
                <a:pos x="connsiteX7998" y="connsiteY7998"/>
              </a:cxn>
              <a:cxn ang="0">
                <a:pos x="connsiteX7999" y="connsiteY7999"/>
              </a:cxn>
              <a:cxn ang="0">
                <a:pos x="connsiteX8000" y="connsiteY8000"/>
              </a:cxn>
              <a:cxn ang="0">
                <a:pos x="connsiteX8001" y="connsiteY8001"/>
              </a:cxn>
              <a:cxn ang="0">
                <a:pos x="connsiteX8002" y="connsiteY8002"/>
              </a:cxn>
              <a:cxn ang="0">
                <a:pos x="connsiteX8003" y="connsiteY8003"/>
              </a:cxn>
              <a:cxn ang="0">
                <a:pos x="connsiteX8004" y="connsiteY8004"/>
              </a:cxn>
              <a:cxn ang="0">
                <a:pos x="connsiteX8005" y="connsiteY8005"/>
              </a:cxn>
              <a:cxn ang="0">
                <a:pos x="connsiteX8006" y="connsiteY8006"/>
              </a:cxn>
              <a:cxn ang="0">
                <a:pos x="connsiteX8007" y="connsiteY8007"/>
              </a:cxn>
              <a:cxn ang="0">
                <a:pos x="connsiteX8008" y="connsiteY8008"/>
              </a:cxn>
              <a:cxn ang="0">
                <a:pos x="connsiteX8009" y="connsiteY8009"/>
              </a:cxn>
              <a:cxn ang="0">
                <a:pos x="connsiteX8010" y="connsiteY8010"/>
              </a:cxn>
              <a:cxn ang="0">
                <a:pos x="connsiteX8011" y="connsiteY8011"/>
              </a:cxn>
              <a:cxn ang="0">
                <a:pos x="connsiteX8012" y="connsiteY8012"/>
              </a:cxn>
              <a:cxn ang="0">
                <a:pos x="connsiteX8013" y="connsiteY8013"/>
              </a:cxn>
              <a:cxn ang="0">
                <a:pos x="connsiteX8014" y="connsiteY8014"/>
              </a:cxn>
              <a:cxn ang="0">
                <a:pos x="connsiteX8015" y="connsiteY8015"/>
              </a:cxn>
              <a:cxn ang="0">
                <a:pos x="connsiteX8016" y="connsiteY8016"/>
              </a:cxn>
              <a:cxn ang="0">
                <a:pos x="connsiteX8017" y="connsiteY8017"/>
              </a:cxn>
              <a:cxn ang="0">
                <a:pos x="connsiteX8018" y="connsiteY8018"/>
              </a:cxn>
              <a:cxn ang="0">
                <a:pos x="connsiteX8019" y="connsiteY8019"/>
              </a:cxn>
              <a:cxn ang="0">
                <a:pos x="connsiteX8020" y="connsiteY8020"/>
              </a:cxn>
              <a:cxn ang="0">
                <a:pos x="connsiteX8021" y="connsiteY8021"/>
              </a:cxn>
              <a:cxn ang="0">
                <a:pos x="connsiteX8022" y="connsiteY8022"/>
              </a:cxn>
              <a:cxn ang="0">
                <a:pos x="connsiteX8023" y="connsiteY8023"/>
              </a:cxn>
              <a:cxn ang="0">
                <a:pos x="connsiteX8024" y="connsiteY8024"/>
              </a:cxn>
              <a:cxn ang="0">
                <a:pos x="connsiteX8025" y="connsiteY8025"/>
              </a:cxn>
              <a:cxn ang="0">
                <a:pos x="connsiteX8026" y="connsiteY8026"/>
              </a:cxn>
              <a:cxn ang="0">
                <a:pos x="connsiteX8027" y="connsiteY8027"/>
              </a:cxn>
              <a:cxn ang="0">
                <a:pos x="connsiteX8028" y="connsiteY8028"/>
              </a:cxn>
              <a:cxn ang="0">
                <a:pos x="connsiteX8029" y="connsiteY8029"/>
              </a:cxn>
              <a:cxn ang="0">
                <a:pos x="connsiteX8030" y="connsiteY8030"/>
              </a:cxn>
              <a:cxn ang="0">
                <a:pos x="connsiteX8031" y="connsiteY8031"/>
              </a:cxn>
              <a:cxn ang="0">
                <a:pos x="connsiteX8032" y="connsiteY8032"/>
              </a:cxn>
              <a:cxn ang="0">
                <a:pos x="connsiteX8033" y="connsiteY8033"/>
              </a:cxn>
              <a:cxn ang="0">
                <a:pos x="connsiteX8034" y="connsiteY8034"/>
              </a:cxn>
              <a:cxn ang="0">
                <a:pos x="connsiteX8035" y="connsiteY8035"/>
              </a:cxn>
              <a:cxn ang="0">
                <a:pos x="connsiteX8036" y="connsiteY8036"/>
              </a:cxn>
              <a:cxn ang="0">
                <a:pos x="connsiteX8037" y="connsiteY8037"/>
              </a:cxn>
              <a:cxn ang="0">
                <a:pos x="connsiteX8038" y="connsiteY8038"/>
              </a:cxn>
              <a:cxn ang="0">
                <a:pos x="connsiteX8039" y="connsiteY8039"/>
              </a:cxn>
              <a:cxn ang="0">
                <a:pos x="connsiteX8040" y="connsiteY8040"/>
              </a:cxn>
              <a:cxn ang="0">
                <a:pos x="connsiteX8041" y="connsiteY8041"/>
              </a:cxn>
              <a:cxn ang="0">
                <a:pos x="connsiteX8042" y="connsiteY8042"/>
              </a:cxn>
              <a:cxn ang="0">
                <a:pos x="connsiteX8043" y="connsiteY8043"/>
              </a:cxn>
              <a:cxn ang="0">
                <a:pos x="connsiteX8044" y="connsiteY8044"/>
              </a:cxn>
              <a:cxn ang="0">
                <a:pos x="connsiteX8045" y="connsiteY8045"/>
              </a:cxn>
              <a:cxn ang="0">
                <a:pos x="connsiteX8046" y="connsiteY8046"/>
              </a:cxn>
              <a:cxn ang="0">
                <a:pos x="connsiteX8047" y="connsiteY8047"/>
              </a:cxn>
              <a:cxn ang="0">
                <a:pos x="connsiteX8048" y="connsiteY8048"/>
              </a:cxn>
              <a:cxn ang="0">
                <a:pos x="connsiteX8049" y="connsiteY8049"/>
              </a:cxn>
              <a:cxn ang="0">
                <a:pos x="connsiteX8050" y="connsiteY8050"/>
              </a:cxn>
              <a:cxn ang="0">
                <a:pos x="connsiteX8051" y="connsiteY8051"/>
              </a:cxn>
              <a:cxn ang="0">
                <a:pos x="connsiteX8052" y="connsiteY8052"/>
              </a:cxn>
              <a:cxn ang="0">
                <a:pos x="connsiteX8053" y="connsiteY8053"/>
              </a:cxn>
              <a:cxn ang="0">
                <a:pos x="connsiteX8054" y="connsiteY8054"/>
              </a:cxn>
              <a:cxn ang="0">
                <a:pos x="connsiteX8055" y="connsiteY8055"/>
              </a:cxn>
              <a:cxn ang="0">
                <a:pos x="connsiteX8056" y="connsiteY8056"/>
              </a:cxn>
              <a:cxn ang="0">
                <a:pos x="connsiteX8057" y="connsiteY8057"/>
              </a:cxn>
              <a:cxn ang="0">
                <a:pos x="connsiteX8058" y="connsiteY8058"/>
              </a:cxn>
              <a:cxn ang="0">
                <a:pos x="connsiteX8059" y="connsiteY8059"/>
              </a:cxn>
              <a:cxn ang="0">
                <a:pos x="connsiteX8060" y="connsiteY8060"/>
              </a:cxn>
              <a:cxn ang="0">
                <a:pos x="connsiteX8061" y="connsiteY8061"/>
              </a:cxn>
              <a:cxn ang="0">
                <a:pos x="connsiteX8062" y="connsiteY8062"/>
              </a:cxn>
              <a:cxn ang="0">
                <a:pos x="connsiteX8063" y="connsiteY8063"/>
              </a:cxn>
              <a:cxn ang="0">
                <a:pos x="connsiteX8064" y="connsiteY8064"/>
              </a:cxn>
              <a:cxn ang="0">
                <a:pos x="connsiteX8065" y="connsiteY8065"/>
              </a:cxn>
              <a:cxn ang="0">
                <a:pos x="connsiteX8066" y="connsiteY8066"/>
              </a:cxn>
              <a:cxn ang="0">
                <a:pos x="connsiteX8067" y="connsiteY8067"/>
              </a:cxn>
              <a:cxn ang="0">
                <a:pos x="connsiteX8068" y="connsiteY8068"/>
              </a:cxn>
              <a:cxn ang="0">
                <a:pos x="connsiteX8069" y="connsiteY8069"/>
              </a:cxn>
              <a:cxn ang="0">
                <a:pos x="connsiteX8070" y="connsiteY8070"/>
              </a:cxn>
              <a:cxn ang="0">
                <a:pos x="connsiteX8071" y="connsiteY8071"/>
              </a:cxn>
              <a:cxn ang="0">
                <a:pos x="connsiteX8072" y="connsiteY8072"/>
              </a:cxn>
              <a:cxn ang="0">
                <a:pos x="connsiteX8073" y="connsiteY8073"/>
              </a:cxn>
              <a:cxn ang="0">
                <a:pos x="connsiteX8074" y="connsiteY8074"/>
              </a:cxn>
              <a:cxn ang="0">
                <a:pos x="connsiteX8075" y="connsiteY8075"/>
              </a:cxn>
              <a:cxn ang="0">
                <a:pos x="connsiteX8076" y="connsiteY8076"/>
              </a:cxn>
              <a:cxn ang="0">
                <a:pos x="connsiteX8077" y="connsiteY8077"/>
              </a:cxn>
              <a:cxn ang="0">
                <a:pos x="connsiteX8078" y="connsiteY8078"/>
              </a:cxn>
              <a:cxn ang="0">
                <a:pos x="connsiteX8079" y="connsiteY8079"/>
              </a:cxn>
              <a:cxn ang="0">
                <a:pos x="connsiteX8080" y="connsiteY8080"/>
              </a:cxn>
              <a:cxn ang="0">
                <a:pos x="connsiteX8081" y="connsiteY8081"/>
              </a:cxn>
              <a:cxn ang="0">
                <a:pos x="connsiteX8082" y="connsiteY8082"/>
              </a:cxn>
              <a:cxn ang="0">
                <a:pos x="connsiteX8083" y="connsiteY8083"/>
              </a:cxn>
              <a:cxn ang="0">
                <a:pos x="connsiteX8084" y="connsiteY8084"/>
              </a:cxn>
              <a:cxn ang="0">
                <a:pos x="connsiteX8085" y="connsiteY8085"/>
              </a:cxn>
              <a:cxn ang="0">
                <a:pos x="connsiteX8086" y="connsiteY8086"/>
              </a:cxn>
              <a:cxn ang="0">
                <a:pos x="connsiteX8087" y="connsiteY8087"/>
              </a:cxn>
              <a:cxn ang="0">
                <a:pos x="connsiteX8088" y="connsiteY8088"/>
              </a:cxn>
              <a:cxn ang="0">
                <a:pos x="connsiteX8089" y="connsiteY8089"/>
              </a:cxn>
              <a:cxn ang="0">
                <a:pos x="connsiteX8090" y="connsiteY8090"/>
              </a:cxn>
              <a:cxn ang="0">
                <a:pos x="connsiteX8091" y="connsiteY8091"/>
              </a:cxn>
              <a:cxn ang="0">
                <a:pos x="connsiteX8092" y="connsiteY8092"/>
              </a:cxn>
              <a:cxn ang="0">
                <a:pos x="connsiteX8093" y="connsiteY8093"/>
              </a:cxn>
              <a:cxn ang="0">
                <a:pos x="connsiteX8094" y="connsiteY8094"/>
              </a:cxn>
              <a:cxn ang="0">
                <a:pos x="connsiteX8095" y="connsiteY8095"/>
              </a:cxn>
              <a:cxn ang="0">
                <a:pos x="connsiteX8096" y="connsiteY8096"/>
              </a:cxn>
              <a:cxn ang="0">
                <a:pos x="connsiteX8097" y="connsiteY8097"/>
              </a:cxn>
              <a:cxn ang="0">
                <a:pos x="connsiteX8098" y="connsiteY8098"/>
              </a:cxn>
              <a:cxn ang="0">
                <a:pos x="connsiteX8099" y="connsiteY8099"/>
              </a:cxn>
              <a:cxn ang="0">
                <a:pos x="connsiteX8100" y="connsiteY8100"/>
              </a:cxn>
              <a:cxn ang="0">
                <a:pos x="connsiteX8101" y="connsiteY8101"/>
              </a:cxn>
              <a:cxn ang="0">
                <a:pos x="connsiteX8102" y="connsiteY8102"/>
              </a:cxn>
              <a:cxn ang="0">
                <a:pos x="connsiteX8103" y="connsiteY8103"/>
              </a:cxn>
              <a:cxn ang="0">
                <a:pos x="connsiteX8104" y="connsiteY8104"/>
              </a:cxn>
              <a:cxn ang="0">
                <a:pos x="connsiteX8105" y="connsiteY8105"/>
              </a:cxn>
              <a:cxn ang="0">
                <a:pos x="connsiteX8106" y="connsiteY8106"/>
              </a:cxn>
              <a:cxn ang="0">
                <a:pos x="connsiteX8107" y="connsiteY8107"/>
              </a:cxn>
              <a:cxn ang="0">
                <a:pos x="connsiteX8108" y="connsiteY8108"/>
              </a:cxn>
              <a:cxn ang="0">
                <a:pos x="connsiteX8109" y="connsiteY8109"/>
              </a:cxn>
              <a:cxn ang="0">
                <a:pos x="connsiteX8110" y="connsiteY8110"/>
              </a:cxn>
              <a:cxn ang="0">
                <a:pos x="connsiteX8111" y="connsiteY8111"/>
              </a:cxn>
              <a:cxn ang="0">
                <a:pos x="connsiteX8112" y="connsiteY8112"/>
              </a:cxn>
              <a:cxn ang="0">
                <a:pos x="connsiteX8113" y="connsiteY8113"/>
              </a:cxn>
              <a:cxn ang="0">
                <a:pos x="connsiteX8114" y="connsiteY8114"/>
              </a:cxn>
              <a:cxn ang="0">
                <a:pos x="connsiteX8115" y="connsiteY8115"/>
              </a:cxn>
              <a:cxn ang="0">
                <a:pos x="connsiteX8116" y="connsiteY8116"/>
              </a:cxn>
              <a:cxn ang="0">
                <a:pos x="connsiteX8117" y="connsiteY8117"/>
              </a:cxn>
              <a:cxn ang="0">
                <a:pos x="connsiteX8118" y="connsiteY8118"/>
              </a:cxn>
              <a:cxn ang="0">
                <a:pos x="connsiteX8119" y="connsiteY8119"/>
              </a:cxn>
              <a:cxn ang="0">
                <a:pos x="connsiteX8120" y="connsiteY8120"/>
              </a:cxn>
              <a:cxn ang="0">
                <a:pos x="connsiteX8121" y="connsiteY8121"/>
              </a:cxn>
              <a:cxn ang="0">
                <a:pos x="connsiteX8122" y="connsiteY8122"/>
              </a:cxn>
              <a:cxn ang="0">
                <a:pos x="connsiteX8123" y="connsiteY8123"/>
              </a:cxn>
              <a:cxn ang="0">
                <a:pos x="connsiteX8124" y="connsiteY8124"/>
              </a:cxn>
              <a:cxn ang="0">
                <a:pos x="connsiteX8125" y="connsiteY8125"/>
              </a:cxn>
              <a:cxn ang="0">
                <a:pos x="connsiteX8126" y="connsiteY8126"/>
              </a:cxn>
              <a:cxn ang="0">
                <a:pos x="connsiteX8127" y="connsiteY8127"/>
              </a:cxn>
              <a:cxn ang="0">
                <a:pos x="connsiteX8128" y="connsiteY8128"/>
              </a:cxn>
              <a:cxn ang="0">
                <a:pos x="connsiteX8129" y="connsiteY8129"/>
              </a:cxn>
              <a:cxn ang="0">
                <a:pos x="connsiteX8130" y="connsiteY8130"/>
              </a:cxn>
              <a:cxn ang="0">
                <a:pos x="connsiteX8131" y="connsiteY8131"/>
              </a:cxn>
              <a:cxn ang="0">
                <a:pos x="connsiteX8132" y="connsiteY8132"/>
              </a:cxn>
              <a:cxn ang="0">
                <a:pos x="connsiteX8133" y="connsiteY8133"/>
              </a:cxn>
              <a:cxn ang="0">
                <a:pos x="connsiteX8134" y="connsiteY8134"/>
              </a:cxn>
              <a:cxn ang="0">
                <a:pos x="connsiteX8135" y="connsiteY8135"/>
              </a:cxn>
              <a:cxn ang="0">
                <a:pos x="connsiteX8136" y="connsiteY8136"/>
              </a:cxn>
              <a:cxn ang="0">
                <a:pos x="connsiteX8137" y="connsiteY8137"/>
              </a:cxn>
              <a:cxn ang="0">
                <a:pos x="connsiteX8138" y="connsiteY8138"/>
              </a:cxn>
              <a:cxn ang="0">
                <a:pos x="connsiteX8139" y="connsiteY8139"/>
              </a:cxn>
              <a:cxn ang="0">
                <a:pos x="connsiteX8140" y="connsiteY8140"/>
              </a:cxn>
              <a:cxn ang="0">
                <a:pos x="connsiteX8141" y="connsiteY8141"/>
              </a:cxn>
              <a:cxn ang="0">
                <a:pos x="connsiteX8142" y="connsiteY8142"/>
              </a:cxn>
              <a:cxn ang="0">
                <a:pos x="connsiteX8143" y="connsiteY8143"/>
              </a:cxn>
              <a:cxn ang="0">
                <a:pos x="connsiteX8144" y="connsiteY8144"/>
              </a:cxn>
              <a:cxn ang="0">
                <a:pos x="connsiteX8145" y="connsiteY8145"/>
              </a:cxn>
              <a:cxn ang="0">
                <a:pos x="connsiteX8146" y="connsiteY8146"/>
              </a:cxn>
              <a:cxn ang="0">
                <a:pos x="connsiteX8147" y="connsiteY8147"/>
              </a:cxn>
              <a:cxn ang="0">
                <a:pos x="connsiteX8148" y="connsiteY8148"/>
              </a:cxn>
              <a:cxn ang="0">
                <a:pos x="connsiteX8149" y="connsiteY8149"/>
              </a:cxn>
              <a:cxn ang="0">
                <a:pos x="connsiteX8150" y="connsiteY8150"/>
              </a:cxn>
              <a:cxn ang="0">
                <a:pos x="connsiteX8151" y="connsiteY8151"/>
              </a:cxn>
              <a:cxn ang="0">
                <a:pos x="connsiteX8152" y="connsiteY8152"/>
              </a:cxn>
              <a:cxn ang="0">
                <a:pos x="connsiteX8153" y="connsiteY8153"/>
              </a:cxn>
              <a:cxn ang="0">
                <a:pos x="connsiteX8154" y="connsiteY8154"/>
              </a:cxn>
              <a:cxn ang="0">
                <a:pos x="connsiteX8155" y="connsiteY8155"/>
              </a:cxn>
              <a:cxn ang="0">
                <a:pos x="connsiteX8156" y="connsiteY8156"/>
              </a:cxn>
              <a:cxn ang="0">
                <a:pos x="connsiteX8157" y="connsiteY8157"/>
              </a:cxn>
              <a:cxn ang="0">
                <a:pos x="connsiteX8158" y="connsiteY8158"/>
              </a:cxn>
              <a:cxn ang="0">
                <a:pos x="connsiteX8159" y="connsiteY8159"/>
              </a:cxn>
              <a:cxn ang="0">
                <a:pos x="connsiteX8160" y="connsiteY8160"/>
              </a:cxn>
              <a:cxn ang="0">
                <a:pos x="connsiteX8161" y="connsiteY8161"/>
              </a:cxn>
              <a:cxn ang="0">
                <a:pos x="connsiteX8162" y="connsiteY8162"/>
              </a:cxn>
              <a:cxn ang="0">
                <a:pos x="connsiteX8163" y="connsiteY8163"/>
              </a:cxn>
              <a:cxn ang="0">
                <a:pos x="connsiteX8164" y="connsiteY8164"/>
              </a:cxn>
              <a:cxn ang="0">
                <a:pos x="connsiteX8165" y="connsiteY8165"/>
              </a:cxn>
              <a:cxn ang="0">
                <a:pos x="connsiteX8166" y="connsiteY8166"/>
              </a:cxn>
              <a:cxn ang="0">
                <a:pos x="connsiteX8167" y="connsiteY8167"/>
              </a:cxn>
              <a:cxn ang="0">
                <a:pos x="connsiteX8168" y="connsiteY8168"/>
              </a:cxn>
              <a:cxn ang="0">
                <a:pos x="connsiteX8169" y="connsiteY8169"/>
              </a:cxn>
              <a:cxn ang="0">
                <a:pos x="connsiteX8170" y="connsiteY8170"/>
              </a:cxn>
              <a:cxn ang="0">
                <a:pos x="connsiteX8171" y="connsiteY8171"/>
              </a:cxn>
              <a:cxn ang="0">
                <a:pos x="connsiteX8172" y="connsiteY8172"/>
              </a:cxn>
              <a:cxn ang="0">
                <a:pos x="connsiteX8173" y="connsiteY8173"/>
              </a:cxn>
              <a:cxn ang="0">
                <a:pos x="connsiteX8174" y="connsiteY8174"/>
              </a:cxn>
              <a:cxn ang="0">
                <a:pos x="connsiteX8175" y="connsiteY8175"/>
              </a:cxn>
              <a:cxn ang="0">
                <a:pos x="connsiteX8176" y="connsiteY8176"/>
              </a:cxn>
              <a:cxn ang="0">
                <a:pos x="connsiteX8177" y="connsiteY8177"/>
              </a:cxn>
              <a:cxn ang="0">
                <a:pos x="connsiteX8178" y="connsiteY8178"/>
              </a:cxn>
              <a:cxn ang="0">
                <a:pos x="connsiteX8179" y="connsiteY8179"/>
              </a:cxn>
              <a:cxn ang="0">
                <a:pos x="connsiteX8180" y="connsiteY8180"/>
              </a:cxn>
              <a:cxn ang="0">
                <a:pos x="connsiteX8181" y="connsiteY8181"/>
              </a:cxn>
              <a:cxn ang="0">
                <a:pos x="connsiteX8182" y="connsiteY8182"/>
              </a:cxn>
              <a:cxn ang="0">
                <a:pos x="connsiteX8183" y="connsiteY8183"/>
              </a:cxn>
              <a:cxn ang="0">
                <a:pos x="connsiteX8184" y="connsiteY8184"/>
              </a:cxn>
              <a:cxn ang="0">
                <a:pos x="connsiteX8185" y="connsiteY8185"/>
              </a:cxn>
              <a:cxn ang="0">
                <a:pos x="connsiteX8186" y="connsiteY8186"/>
              </a:cxn>
              <a:cxn ang="0">
                <a:pos x="connsiteX8187" y="connsiteY8187"/>
              </a:cxn>
              <a:cxn ang="0">
                <a:pos x="connsiteX8188" y="connsiteY8188"/>
              </a:cxn>
              <a:cxn ang="0">
                <a:pos x="connsiteX8189" y="connsiteY8189"/>
              </a:cxn>
              <a:cxn ang="0">
                <a:pos x="connsiteX8190" y="connsiteY8190"/>
              </a:cxn>
              <a:cxn ang="0">
                <a:pos x="connsiteX8191" y="connsiteY8191"/>
              </a:cxn>
              <a:cxn ang="0">
                <a:pos x="connsiteX8192" y="connsiteY8192"/>
              </a:cxn>
              <a:cxn ang="0">
                <a:pos x="connsiteX8193" y="connsiteY8193"/>
              </a:cxn>
              <a:cxn ang="0">
                <a:pos x="connsiteX8194" y="connsiteY8194"/>
              </a:cxn>
              <a:cxn ang="0">
                <a:pos x="connsiteX8195" y="connsiteY8195"/>
              </a:cxn>
              <a:cxn ang="0">
                <a:pos x="connsiteX8196" y="connsiteY8196"/>
              </a:cxn>
              <a:cxn ang="0">
                <a:pos x="connsiteX8197" y="connsiteY8197"/>
              </a:cxn>
              <a:cxn ang="0">
                <a:pos x="connsiteX8198" y="connsiteY8198"/>
              </a:cxn>
              <a:cxn ang="0">
                <a:pos x="connsiteX8199" y="connsiteY8199"/>
              </a:cxn>
              <a:cxn ang="0">
                <a:pos x="connsiteX8200" y="connsiteY8200"/>
              </a:cxn>
              <a:cxn ang="0">
                <a:pos x="connsiteX8201" y="connsiteY8201"/>
              </a:cxn>
              <a:cxn ang="0">
                <a:pos x="connsiteX8202" y="connsiteY8202"/>
              </a:cxn>
              <a:cxn ang="0">
                <a:pos x="connsiteX8203" y="connsiteY8203"/>
              </a:cxn>
              <a:cxn ang="0">
                <a:pos x="connsiteX8204" y="connsiteY8204"/>
              </a:cxn>
              <a:cxn ang="0">
                <a:pos x="connsiteX8205" y="connsiteY8205"/>
              </a:cxn>
              <a:cxn ang="0">
                <a:pos x="connsiteX8206" y="connsiteY8206"/>
              </a:cxn>
              <a:cxn ang="0">
                <a:pos x="connsiteX8207" y="connsiteY8207"/>
              </a:cxn>
              <a:cxn ang="0">
                <a:pos x="connsiteX8208" y="connsiteY8208"/>
              </a:cxn>
              <a:cxn ang="0">
                <a:pos x="connsiteX8209" y="connsiteY8209"/>
              </a:cxn>
              <a:cxn ang="0">
                <a:pos x="connsiteX8210" y="connsiteY8210"/>
              </a:cxn>
              <a:cxn ang="0">
                <a:pos x="connsiteX8211" y="connsiteY8211"/>
              </a:cxn>
              <a:cxn ang="0">
                <a:pos x="connsiteX8212" y="connsiteY8212"/>
              </a:cxn>
              <a:cxn ang="0">
                <a:pos x="connsiteX8213" y="connsiteY8213"/>
              </a:cxn>
              <a:cxn ang="0">
                <a:pos x="connsiteX8214" y="connsiteY8214"/>
              </a:cxn>
              <a:cxn ang="0">
                <a:pos x="connsiteX8215" y="connsiteY8215"/>
              </a:cxn>
              <a:cxn ang="0">
                <a:pos x="connsiteX8216" y="connsiteY8216"/>
              </a:cxn>
              <a:cxn ang="0">
                <a:pos x="connsiteX8217" y="connsiteY8217"/>
              </a:cxn>
              <a:cxn ang="0">
                <a:pos x="connsiteX8218" y="connsiteY8218"/>
              </a:cxn>
              <a:cxn ang="0">
                <a:pos x="connsiteX8219" y="connsiteY8219"/>
              </a:cxn>
              <a:cxn ang="0">
                <a:pos x="connsiteX8220" y="connsiteY8220"/>
              </a:cxn>
              <a:cxn ang="0">
                <a:pos x="connsiteX8221" y="connsiteY8221"/>
              </a:cxn>
              <a:cxn ang="0">
                <a:pos x="connsiteX8222" y="connsiteY8222"/>
              </a:cxn>
              <a:cxn ang="0">
                <a:pos x="connsiteX8223" y="connsiteY8223"/>
              </a:cxn>
              <a:cxn ang="0">
                <a:pos x="connsiteX8224" y="connsiteY8224"/>
              </a:cxn>
              <a:cxn ang="0">
                <a:pos x="connsiteX8225" y="connsiteY8225"/>
              </a:cxn>
              <a:cxn ang="0">
                <a:pos x="connsiteX8226" y="connsiteY8226"/>
              </a:cxn>
              <a:cxn ang="0">
                <a:pos x="connsiteX8227" y="connsiteY8227"/>
              </a:cxn>
              <a:cxn ang="0">
                <a:pos x="connsiteX8228" y="connsiteY8228"/>
              </a:cxn>
              <a:cxn ang="0">
                <a:pos x="connsiteX8229" y="connsiteY8229"/>
              </a:cxn>
              <a:cxn ang="0">
                <a:pos x="connsiteX8230" y="connsiteY8230"/>
              </a:cxn>
              <a:cxn ang="0">
                <a:pos x="connsiteX8231" y="connsiteY8231"/>
              </a:cxn>
              <a:cxn ang="0">
                <a:pos x="connsiteX8232" y="connsiteY8232"/>
              </a:cxn>
              <a:cxn ang="0">
                <a:pos x="connsiteX8233" y="connsiteY8233"/>
              </a:cxn>
              <a:cxn ang="0">
                <a:pos x="connsiteX8234" y="connsiteY8234"/>
              </a:cxn>
              <a:cxn ang="0">
                <a:pos x="connsiteX8235" y="connsiteY8235"/>
              </a:cxn>
              <a:cxn ang="0">
                <a:pos x="connsiteX8236" y="connsiteY8236"/>
              </a:cxn>
              <a:cxn ang="0">
                <a:pos x="connsiteX8237" y="connsiteY8237"/>
              </a:cxn>
              <a:cxn ang="0">
                <a:pos x="connsiteX8238" y="connsiteY8238"/>
              </a:cxn>
              <a:cxn ang="0">
                <a:pos x="connsiteX8239" y="connsiteY8239"/>
              </a:cxn>
              <a:cxn ang="0">
                <a:pos x="connsiteX8240" y="connsiteY8240"/>
              </a:cxn>
              <a:cxn ang="0">
                <a:pos x="connsiteX8241" y="connsiteY8241"/>
              </a:cxn>
              <a:cxn ang="0">
                <a:pos x="connsiteX8242" y="connsiteY8242"/>
              </a:cxn>
              <a:cxn ang="0">
                <a:pos x="connsiteX8243" y="connsiteY8243"/>
              </a:cxn>
              <a:cxn ang="0">
                <a:pos x="connsiteX8244" y="connsiteY8244"/>
              </a:cxn>
              <a:cxn ang="0">
                <a:pos x="connsiteX8245" y="connsiteY8245"/>
              </a:cxn>
              <a:cxn ang="0">
                <a:pos x="connsiteX8246" y="connsiteY8246"/>
              </a:cxn>
              <a:cxn ang="0">
                <a:pos x="connsiteX8247" y="connsiteY8247"/>
              </a:cxn>
              <a:cxn ang="0">
                <a:pos x="connsiteX8248" y="connsiteY8248"/>
              </a:cxn>
              <a:cxn ang="0">
                <a:pos x="connsiteX8249" y="connsiteY8249"/>
              </a:cxn>
              <a:cxn ang="0">
                <a:pos x="connsiteX8250" y="connsiteY8250"/>
              </a:cxn>
              <a:cxn ang="0">
                <a:pos x="connsiteX8251" y="connsiteY8251"/>
              </a:cxn>
              <a:cxn ang="0">
                <a:pos x="connsiteX8252" y="connsiteY8252"/>
              </a:cxn>
              <a:cxn ang="0">
                <a:pos x="connsiteX8253" y="connsiteY8253"/>
              </a:cxn>
              <a:cxn ang="0">
                <a:pos x="connsiteX8254" y="connsiteY8254"/>
              </a:cxn>
              <a:cxn ang="0">
                <a:pos x="connsiteX8255" y="connsiteY8255"/>
              </a:cxn>
              <a:cxn ang="0">
                <a:pos x="connsiteX8256" y="connsiteY8256"/>
              </a:cxn>
              <a:cxn ang="0">
                <a:pos x="connsiteX8257" y="connsiteY8257"/>
              </a:cxn>
              <a:cxn ang="0">
                <a:pos x="connsiteX8258" y="connsiteY8258"/>
              </a:cxn>
              <a:cxn ang="0">
                <a:pos x="connsiteX8259" y="connsiteY8259"/>
              </a:cxn>
              <a:cxn ang="0">
                <a:pos x="connsiteX8260" y="connsiteY8260"/>
              </a:cxn>
              <a:cxn ang="0">
                <a:pos x="connsiteX8261" y="connsiteY8261"/>
              </a:cxn>
              <a:cxn ang="0">
                <a:pos x="connsiteX8262" y="connsiteY8262"/>
              </a:cxn>
              <a:cxn ang="0">
                <a:pos x="connsiteX8263" y="connsiteY8263"/>
              </a:cxn>
              <a:cxn ang="0">
                <a:pos x="connsiteX8264" y="connsiteY8264"/>
              </a:cxn>
              <a:cxn ang="0">
                <a:pos x="connsiteX8265" y="connsiteY8265"/>
              </a:cxn>
              <a:cxn ang="0">
                <a:pos x="connsiteX8266" y="connsiteY8266"/>
              </a:cxn>
              <a:cxn ang="0">
                <a:pos x="connsiteX8267" y="connsiteY8267"/>
              </a:cxn>
              <a:cxn ang="0">
                <a:pos x="connsiteX8268" y="connsiteY8268"/>
              </a:cxn>
              <a:cxn ang="0">
                <a:pos x="connsiteX8269" y="connsiteY8269"/>
              </a:cxn>
              <a:cxn ang="0">
                <a:pos x="connsiteX8270" y="connsiteY8270"/>
              </a:cxn>
              <a:cxn ang="0">
                <a:pos x="connsiteX8271" y="connsiteY8271"/>
              </a:cxn>
              <a:cxn ang="0">
                <a:pos x="connsiteX8272" y="connsiteY8272"/>
              </a:cxn>
              <a:cxn ang="0">
                <a:pos x="connsiteX8273" y="connsiteY8273"/>
              </a:cxn>
              <a:cxn ang="0">
                <a:pos x="connsiteX8274" y="connsiteY8274"/>
              </a:cxn>
              <a:cxn ang="0">
                <a:pos x="connsiteX8275" y="connsiteY8275"/>
              </a:cxn>
              <a:cxn ang="0">
                <a:pos x="connsiteX8276" y="connsiteY8276"/>
              </a:cxn>
              <a:cxn ang="0">
                <a:pos x="connsiteX8277" y="connsiteY8277"/>
              </a:cxn>
              <a:cxn ang="0">
                <a:pos x="connsiteX8278" y="connsiteY8278"/>
              </a:cxn>
              <a:cxn ang="0">
                <a:pos x="connsiteX8279" y="connsiteY8279"/>
              </a:cxn>
              <a:cxn ang="0">
                <a:pos x="connsiteX8280" y="connsiteY8280"/>
              </a:cxn>
              <a:cxn ang="0">
                <a:pos x="connsiteX8281" y="connsiteY8281"/>
              </a:cxn>
              <a:cxn ang="0">
                <a:pos x="connsiteX8282" y="connsiteY8282"/>
              </a:cxn>
              <a:cxn ang="0">
                <a:pos x="connsiteX8283" y="connsiteY8283"/>
              </a:cxn>
              <a:cxn ang="0">
                <a:pos x="connsiteX8284" y="connsiteY8284"/>
              </a:cxn>
              <a:cxn ang="0">
                <a:pos x="connsiteX8285" y="connsiteY8285"/>
              </a:cxn>
              <a:cxn ang="0">
                <a:pos x="connsiteX8286" y="connsiteY8286"/>
              </a:cxn>
              <a:cxn ang="0">
                <a:pos x="connsiteX8287" y="connsiteY8287"/>
              </a:cxn>
              <a:cxn ang="0">
                <a:pos x="connsiteX8288" y="connsiteY8288"/>
              </a:cxn>
              <a:cxn ang="0">
                <a:pos x="connsiteX8289" y="connsiteY8289"/>
              </a:cxn>
              <a:cxn ang="0">
                <a:pos x="connsiteX8290" y="connsiteY8290"/>
              </a:cxn>
              <a:cxn ang="0">
                <a:pos x="connsiteX8291" y="connsiteY8291"/>
              </a:cxn>
              <a:cxn ang="0">
                <a:pos x="connsiteX8292" y="connsiteY8292"/>
              </a:cxn>
              <a:cxn ang="0">
                <a:pos x="connsiteX8293" y="connsiteY8293"/>
              </a:cxn>
              <a:cxn ang="0">
                <a:pos x="connsiteX8294" y="connsiteY8294"/>
              </a:cxn>
              <a:cxn ang="0">
                <a:pos x="connsiteX8295" y="connsiteY8295"/>
              </a:cxn>
              <a:cxn ang="0">
                <a:pos x="connsiteX8296" y="connsiteY8296"/>
              </a:cxn>
              <a:cxn ang="0">
                <a:pos x="connsiteX8297" y="connsiteY8297"/>
              </a:cxn>
              <a:cxn ang="0">
                <a:pos x="connsiteX8298" y="connsiteY8298"/>
              </a:cxn>
            </a:cxnLst>
            <a:rect l="l" t="t" r="r" b="b"/>
            <a:pathLst>
              <a:path w="6789110" h="6386516">
                <a:moveTo>
                  <a:pt x="1977142" y="6313078"/>
                </a:moveTo>
                <a:cubicBezTo>
                  <a:pt x="1977142" y="6313078"/>
                  <a:pt x="1977142" y="6315003"/>
                  <a:pt x="1977142" y="6315003"/>
                </a:cubicBezTo>
                <a:cubicBezTo>
                  <a:pt x="1977142" y="6320777"/>
                  <a:pt x="1979067" y="6324627"/>
                  <a:pt x="1979067" y="6328476"/>
                </a:cubicBezTo>
                <a:cubicBezTo>
                  <a:pt x="1977142" y="6328476"/>
                  <a:pt x="1977142" y="6328476"/>
                  <a:pt x="1977142" y="6328476"/>
                </a:cubicBezTo>
                <a:cubicBezTo>
                  <a:pt x="1973291" y="6330401"/>
                  <a:pt x="1971367" y="6334251"/>
                  <a:pt x="1967517" y="6336175"/>
                </a:cubicBezTo>
                <a:cubicBezTo>
                  <a:pt x="1965592" y="6336175"/>
                  <a:pt x="1963667" y="6336175"/>
                  <a:pt x="1959818" y="6336175"/>
                </a:cubicBezTo>
                <a:cubicBezTo>
                  <a:pt x="1963667" y="6328476"/>
                  <a:pt x="1971367" y="6320777"/>
                  <a:pt x="1977142" y="6313078"/>
                </a:cubicBezTo>
                <a:close/>
                <a:moveTo>
                  <a:pt x="2006184" y="6295073"/>
                </a:moveTo>
                <a:lnTo>
                  <a:pt x="2006013" y="6295755"/>
                </a:lnTo>
                <a:cubicBezTo>
                  <a:pt x="2006013" y="6301529"/>
                  <a:pt x="2002164" y="6307304"/>
                  <a:pt x="1998314" y="6313078"/>
                </a:cubicBezTo>
                <a:cubicBezTo>
                  <a:pt x="1996389" y="6315003"/>
                  <a:pt x="1992540" y="6315003"/>
                  <a:pt x="1990615" y="6316928"/>
                </a:cubicBezTo>
                <a:cubicBezTo>
                  <a:pt x="1990615" y="6315003"/>
                  <a:pt x="1992540" y="6311153"/>
                  <a:pt x="1992540" y="6309229"/>
                </a:cubicBezTo>
                <a:cubicBezTo>
                  <a:pt x="1990615" y="6309229"/>
                  <a:pt x="1990615" y="6305379"/>
                  <a:pt x="1992540" y="6307304"/>
                </a:cubicBezTo>
                <a:cubicBezTo>
                  <a:pt x="1990615" y="6307304"/>
                  <a:pt x="1992540" y="6305379"/>
                  <a:pt x="1992540" y="6303454"/>
                </a:cubicBezTo>
                <a:cubicBezTo>
                  <a:pt x="1994466" y="6305379"/>
                  <a:pt x="1996389" y="6301529"/>
                  <a:pt x="1994466" y="6301529"/>
                </a:cubicBezTo>
                <a:cubicBezTo>
                  <a:pt x="1996389" y="6301529"/>
                  <a:pt x="1994466" y="6303454"/>
                  <a:pt x="1996389" y="6303454"/>
                </a:cubicBezTo>
                <a:cubicBezTo>
                  <a:pt x="1997352" y="6300567"/>
                  <a:pt x="1999758" y="6299123"/>
                  <a:pt x="2002164" y="6297920"/>
                </a:cubicBezTo>
                <a:close/>
                <a:moveTo>
                  <a:pt x="2007939" y="6293830"/>
                </a:moveTo>
                <a:lnTo>
                  <a:pt x="2006184" y="6295073"/>
                </a:lnTo>
                <a:lnTo>
                  <a:pt x="2006476" y="6293905"/>
                </a:lnTo>
                <a:close/>
                <a:moveTo>
                  <a:pt x="1884752" y="6289981"/>
                </a:moveTo>
                <a:cubicBezTo>
                  <a:pt x="1888602" y="6293831"/>
                  <a:pt x="1894376" y="6295756"/>
                  <a:pt x="1902077" y="6293831"/>
                </a:cubicBezTo>
                <a:cubicBezTo>
                  <a:pt x="1902077" y="6295756"/>
                  <a:pt x="1902077" y="6295756"/>
                  <a:pt x="1902077" y="6295756"/>
                </a:cubicBezTo>
                <a:cubicBezTo>
                  <a:pt x="1900151" y="6299605"/>
                  <a:pt x="1898226" y="6301530"/>
                  <a:pt x="1896301" y="6305380"/>
                </a:cubicBezTo>
                <a:cubicBezTo>
                  <a:pt x="1896301" y="6305380"/>
                  <a:pt x="1894376" y="6305380"/>
                  <a:pt x="1894376" y="6305380"/>
                </a:cubicBezTo>
                <a:cubicBezTo>
                  <a:pt x="1890526" y="6301530"/>
                  <a:pt x="1886677" y="6295756"/>
                  <a:pt x="1884752" y="6289981"/>
                </a:cubicBezTo>
                <a:close/>
                <a:moveTo>
                  <a:pt x="1959819" y="6284206"/>
                </a:moveTo>
                <a:cubicBezTo>
                  <a:pt x="1963669" y="6288055"/>
                  <a:pt x="1965593" y="6289981"/>
                  <a:pt x="1967519" y="6291906"/>
                </a:cubicBezTo>
                <a:cubicBezTo>
                  <a:pt x="1959819" y="6305380"/>
                  <a:pt x="1952119" y="6320778"/>
                  <a:pt x="1946345" y="6334252"/>
                </a:cubicBezTo>
                <a:cubicBezTo>
                  <a:pt x="1944420" y="6332327"/>
                  <a:pt x="1940571" y="6330402"/>
                  <a:pt x="1938646" y="6328477"/>
                </a:cubicBezTo>
                <a:cubicBezTo>
                  <a:pt x="1938646" y="6326552"/>
                  <a:pt x="1940571" y="6324628"/>
                  <a:pt x="1942495" y="6324628"/>
                </a:cubicBezTo>
                <a:cubicBezTo>
                  <a:pt x="1940571" y="6311154"/>
                  <a:pt x="1950195" y="6303455"/>
                  <a:pt x="1955969" y="6291906"/>
                </a:cubicBezTo>
                <a:cubicBezTo>
                  <a:pt x="1957895" y="6291906"/>
                  <a:pt x="1959819" y="6291906"/>
                  <a:pt x="1961743" y="6289981"/>
                </a:cubicBezTo>
                <a:cubicBezTo>
                  <a:pt x="1961743" y="6286131"/>
                  <a:pt x="1959819" y="6286131"/>
                  <a:pt x="1959819" y="6284206"/>
                </a:cubicBezTo>
                <a:close/>
                <a:moveTo>
                  <a:pt x="1940570" y="6274582"/>
                </a:moveTo>
                <a:cubicBezTo>
                  <a:pt x="1944420" y="6274582"/>
                  <a:pt x="1944420" y="6278432"/>
                  <a:pt x="1946344" y="6278432"/>
                </a:cubicBezTo>
                <a:cubicBezTo>
                  <a:pt x="1946344" y="6278432"/>
                  <a:pt x="1944420" y="6282282"/>
                  <a:pt x="1946344" y="6284207"/>
                </a:cubicBezTo>
                <a:cubicBezTo>
                  <a:pt x="1950194" y="6286132"/>
                  <a:pt x="1950194" y="6282282"/>
                  <a:pt x="1952121" y="6282282"/>
                </a:cubicBezTo>
                <a:cubicBezTo>
                  <a:pt x="1950194" y="6284207"/>
                  <a:pt x="1954044" y="6282282"/>
                  <a:pt x="1954044" y="6284207"/>
                </a:cubicBezTo>
                <a:cubicBezTo>
                  <a:pt x="1948269" y="6289981"/>
                  <a:pt x="1948269" y="6295756"/>
                  <a:pt x="1942495" y="6301530"/>
                </a:cubicBezTo>
                <a:cubicBezTo>
                  <a:pt x="1942495" y="6299605"/>
                  <a:pt x="1942495" y="6299605"/>
                  <a:pt x="1940570" y="6299605"/>
                </a:cubicBezTo>
                <a:cubicBezTo>
                  <a:pt x="1942495" y="6301530"/>
                  <a:pt x="1938646" y="6299605"/>
                  <a:pt x="1938646" y="6301530"/>
                </a:cubicBezTo>
                <a:cubicBezTo>
                  <a:pt x="1940570" y="6303455"/>
                  <a:pt x="1938646" y="6303455"/>
                  <a:pt x="1940570" y="6305380"/>
                </a:cubicBezTo>
                <a:cubicBezTo>
                  <a:pt x="1936721" y="6309229"/>
                  <a:pt x="1936721" y="6318853"/>
                  <a:pt x="1930946" y="6318853"/>
                </a:cubicBezTo>
                <a:cubicBezTo>
                  <a:pt x="1930946" y="6318853"/>
                  <a:pt x="1930946" y="6320778"/>
                  <a:pt x="1930946" y="6320778"/>
                </a:cubicBezTo>
                <a:cubicBezTo>
                  <a:pt x="1929021" y="6318853"/>
                  <a:pt x="1927098" y="6316928"/>
                  <a:pt x="1923247" y="6315004"/>
                </a:cubicBezTo>
                <a:cubicBezTo>
                  <a:pt x="1927098" y="6301530"/>
                  <a:pt x="1932872" y="6286132"/>
                  <a:pt x="1940570" y="6276508"/>
                </a:cubicBezTo>
                <a:cubicBezTo>
                  <a:pt x="1940570" y="6278432"/>
                  <a:pt x="1940570" y="6276508"/>
                  <a:pt x="1940570" y="6274582"/>
                </a:cubicBezTo>
                <a:close/>
                <a:moveTo>
                  <a:pt x="1878977" y="6270733"/>
                </a:moveTo>
                <a:cubicBezTo>
                  <a:pt x="1884751" y="6270733"/>
                  <a:pt x="1892450" y="6270733"/>
                  <a:pt x="1898226" y="6270733"/>
                </a:cubicBezTo>
                <a:cubicBezTo>
                  <a:pt x="1900151" y="6270733"/>
                  <a:pt x="1900151" y="6272658"/>
                  <a:pt x="1900151" y="6274583"/>
                </a:cubicBezTo>
                <a:cubicBezTo>
                  <a:pt x="1898226" y="6276508"/>
                  <a:pt x="1898226" y="6276508"/>
                  <a:pt x="1898226" y="6278432"/>
                </a:cubicBezTo>
                <a:cubicBezTo>
                  <a:pt x="1898226" y="6280357"/>
                  <a:pt x="1898226" y="6280357"/>
                  <a:pt x="1900151" y="6284207"/>
                </a:cubicBezTo>
                <a:cubicBezTo>
                  <a:pt x="1890526" y="6282282"/>
                  <a:pt x="1880902" y="6280357"/>
                  <a:pt x="1878977" y="6270733"/>
                </a:cubicBezTo>
                <a:close/>
                <a:moveTo>
                  <a:pt x="1971368" y="6263034"/>
                </a:moveTo>
                <a:cubicBezTo>
                  <a:pt x="1971368" y="6272658"/>
                  <a:pt x="1975218" y="6276508"/>
                  <a:pt x="1973293" y="6284207"/>
                </a:cubicBezTo>
                <a:cubicBezTo>
                  <a:pt x="1969443" y="6280357"/>
                  <a:pt x="1969443" y="6276508"/>
                  <a:pt x="1965594" y="6274583"/>
                </a:cubicBezTo>
                <a:cubicBezTo>
                  <a:pt x="1967519" y="6272658"/>
                  <a:pt x="1967519" y="6270733"/>
                  <a:pt x="1967519" y="6268808"/>
                </a:cubicBezTo>
                <a:cubicBezTo>
                  <a:pt x="1971368" y="6270733"/>
                  <a:pt x="1967519" y="6264959"/>
                  <a:pt x="1971368" y="6263034"/>
                </a:cubicBezTo>
                <a:close/>
                <a:moveTo>
                  <a:pt x="1963669" y="6259184"/>
                </a:moveTo>
                <a:cubicBezTo>
                  <a:pt x="1957895" y="6261109"/>
                  <a:pt x="1957895" y="6268808"/>
                  <a:pt x="1957895" y="6272658"/>
                </a:cubicBezTo>
                <a:cubicBezTo>
                  <a:pt x="1955969" y="6272658"/>
                  <a:pt x="1955969" y="6270733"/>
                  <a:pt x="1955969" y="6270733"/>
                </a:cubicBezTo>
                <a:cubicBezTo>
                  <a:pt x="1955969" y="6264959"/>
                  <a:pt x="1954044" y="6264959"/>
                  <a:pt x="1948270" y="6264959"/>
                </a:cubicBezTo>
                <a:cubicBezTo>
                  <a:pt x="1948270" y="6263034"/>
                  <a:pt x="1948270" y="6263034"/>
                  <a:pt x="1948270" y="6261109"/>
                </a:cubicBezTo>
                <a:cubicBezTo>
                  <a:pt x="1954044" y="6259184"/>
                  <a:pt x="1957895" y="6259184"/>
                  <a:pt x="1963669" y="6259184"/>
                </a:cubicBezTo>
                <a:close/>
                <a:moveTo>
                  <a:pt x="1980991" y="6259183"/>
                </a:moveTo>
                <a:cubicBezTo>
                  <a:pt x="1992540" y="6259183"/>
                  <a:pt x="2002164" y="6263033"/>
                  <a:pt x="2013713" y="6264959"/>
                </a:cubicBezTo>
                <a:lnTo>
                  <a:pt x="2006476" y="6293905"/>
                </a:lnTo>
                <a:lnTo>
                  <a:pt x="1998555" y="6294311"/>
                </a:lnTo>
                <a:cubicBezTo>
                  <a:pt x="1995428" y="6295274"/>
                  <a:pt x="1992540" y="6296717"/>
                  <a:pt x="1990615" y="6297680"/>
                </a:cubicBezTo>
                <a:cubicBezTo>
                  <a:pt x="1994466" y="6293830"/>
                  <a:pt x="1998314" y="6288056"/>
                  <a:pt x="2000239" y="6280357"/>
                </a:cubicBezTo>
                <a:cubicBezTo>
                  <a:pt x="1994466" y="6284207"/>
                  <a:pt x="1990615" y="6284207"/>
                  <a:pt x="1986765" y="6282282"/>
                </a:cubicBezTo>
                <a:cubicBezTo>
                  <a:pt x="1984841" y="6274583"/>
                  <a:pt x="1982916" y="6266884"/>
                  <a:pt x="1980991" y="6259183"/>
                </a:cubicBezTo>
                <a:close/>
                <a:moveTo>
                  <a:pt x="1341962" y="6255334"/>
                </a:moveTo>
                <a:cubicBezTo>
                  <a:pt x="1347737" y="6259184"/>
                  <a:pt x="1351586" y="6263034"/>
                  <a:pt x="1357361" y="6266884"/>
                </a:cubicBezTo>
                <a:cubicBezTo>
                  <a:pt x="1355436" y="6274583"/>
                  <a:pt x="1359286" y="6286132"/>
                  <a:pt x="1357361" y="6291906"/>
                </a:cubicBezTo>
                <a:cubicBezTo>
                  <a:pt x="1353512" y="6288056"/>
                  <a:pt x="1349661" y="6282282"/>
                  <a:pt x="1345812" y="6278432"/>
                </a:cubicBezTo>
                <a:cubicBezTo>
                  <a:pt x="1343887" y="6272658"/>
                  <a:pt x="1341962" y="6264959"/>
                  <a:pt x="1341962" y="6255334"/>
                </a:cubicBezTo>
                <a:close/>
                <a:moveTo>
                  <a:pt x="1952119" y="6241861"/>
                </a:moveTo>
                <a:cubicBezTo>
                  <a:pt x="1954044" y="6241861"/>
                  <a:pt x="1955969" y="6243786"/>
                  <a:pt x="1957895" y="6243786"/>
                </a:cubicBezTo>
                <a:cubicBezTo>
                  <a:pt x="1957895" y="6245711"/>
                  <a:pt x="1965594" y="6249560"/>
                  <a:pt x="1963669" y="6247636"/>
                </a:cubicBezTo>
                <a:cubicBezTo>
                  <a:pt x="1965594" y="6247636"/>
                  <a:pt x="1965594" y="6249560"/>
                  <a:pt x="1965594" y="6253410"/>
                </a:cubicBezTo>
                <a:cubicBezTo>
                  <a:pt x="1959819" y="6253410"/>
                  <a:pt x="1954044" y="6253410"/>
                  <a:pt x="1948270" y="6253410"/>
                </a:cubicBezTo>
                <a:cubicBezTo>
                  <a:pt x="1950195" y="6249560"/>
                  <a:pt x="1950195" y="6245711"/>
                  <a:pt x="1952119" y="6241861"/>
                </a:cubicBezTo>
                <a:close/>
                <a:moveTo>
                  <a:pt x="1900150" y="6241860"/>
                </a:moveTo>
                <a:cubicBezTo>
                  <a:pt x="1909774" y="6245711"/>
                  <a:pt x="1917474" y="6253410"/>
                  <a:pt x="1925173" y="6259184"/>
                </a:cubicBezTo>
                <a:cubicBezTo>
                  <a:pt x="1923248" y="6259184"/>
                  <a:pt x="1923248" y="6263034"/>
                  <a:pt x="1921324" y="6263034"/>
                </a:cubicBezTo>
                <a:cubicBezTo>
                  <a:pt x="1921324" y="6261109"/>
                  <a:pt x="1921324" y="6261109"/>
                  <a:pt x="1919399" y="6261109"/>
                </a:cubicBezTo>
                <a:cubicBezTo>
                  <a:pt x="1915549" y="6263034"/>
                  <a:pt x="1915549" y="6266884"/>
                  <a:pt x="1917474" y="6268808"/>
                </a:cubicBezTo>
                <a:cubicBezTo>
                  <a:pt x="1913623" y="6274583"/>
                  <a:pt x="1911699" y="6280357"/>
                  <a:pt x="1907849" y="6286131"/>
                </a:cubicBezTo>
                <a:cubicBezTo>
                  <a:pt x="1907849" y="6280357"/>
                  <a:pt x="1907849" y="6274583"/>
                  <a:pt x="1905924" y="6268808"/>
                </a:cubicBezTo>
                <a:cubicBezTo>
                  <a:pt x="1907849" y="6268808"/>
                  <a:pt x="1909774" y="6266884"/>
                  <a:pt x="1911699" y="6266884"/>
                </a:cubicBezTo>
                <a:cubicBezTo>
                  <a:pt x="1907849" y="6266884"/>
                  <a:pt x="1905924" y="6264959"/>
                  <a:pt x="1903999" y="6264959"/>
                </a:cubicBezTo>
                <a:cubicBezTo>
                  <a:pt x="1902075" y="6257260"/>
                  <a:pt x="1900150" y="6249560"/>
                  <a:pt x="1900150" y="6241860"/>
                </a:cubicBezTo>
                <a:close/>
                <a:moveTo>
                  <a:pt x="1863579" y="6234162"/>
                </a:moveTo>
                <a:cubicBezTo>
                  <a:pt x="1875128" y="6232237"/>
                  <a:pt x="1884752" y="6234162"/>
                  <a:pt x="1892452" y="6238012"/>
                </a:cubicBezTo>
                <a:cubicBezTo>
                  <a:pt x="1892452" y="6241861"/>
                  <a:pt x="1892452" y="6245711"/>
                  <a:pt x="1890526" y="6249560"/>
                </a:cubicBezTo>
                <a:cubicBezTo>
                  <a:pt x="1894376" y="6251485"/>
                  <a:pt x="1894376" y="6255335"/>
                  <a:pt x="1896301" y="6261109"/>
                </a:cubicBezTo>
                <a:cubicBezTo>
                  <a:pt x="1882828" y="6257260"/>
                  <a:pt x="1871278" y="6251485"/>
                  <a:pt x="1865504" y="6239936"/>
                </a:cubicBezTo>
                <a:cubicBezTo>
                  <a:pt x="1863579" y="6238012"/>
                  <a:pt x="1863579" y="6236087"/>
                  <a:pt x="1863579" y="6234162"/>
                </a:cubicBezTo>
                <a:close/>
                <a:moveTo>
                  <a:pt x="1905924" y="6228388"/>
                </a:moveTo>
                <a:cubicBezTo>
                  <a:pt x="1913623" y="6226463"/>
                  <a:pt x="1923247" y="6230312"/>
                  <a:pt x="1934797" y="6232237"/>
                </a:cubicBezTo>
                <a:cubicBezTo>
                  <a:pt x="1934797" y="6232237"/>
                  <a:pt x="1936722" y="6234162"/>
                  <a:pt x="1936722" y="6234162"/>
                </a:cubicBezTo>
                <a:cubicBezTo>
                  <a:pt x="1934797" y="6236087"/>
                  <a:pt x="1934797" y="6239936"/>
                  <a:pt x="1932872" y="6241861"/>
                </a:cubicBezTo>
                <a:cubicBezTo>
                  <a:pt x="1930946" y="6238012"/>
                  <a:pt x="1929021" y="6245711"/>
                  <a:pt x="1927098" y="6245711"/>
                </a:cubicBezTo>
                <a:cubicBezTo>
                  <a:pt x="1925172" y="6243786"/>
                  <a:pt x="1923247" y="6243786"/>
                  <a:pt x="1919399" y="6245711"/>
                </a:cubicBezTo>
                <a:cubicBezTo>
                  <a:pt x="1913623" y="6241861"/>
                  <a:pt x="1907849" y="6236087"/>
                  <a:pt x="1905924" y="6228388"/>
                </a:cubicBezTo>
                <a:close/>
                <a:moveTo>
                  <a:pt x="1965594" y="6226463"/>
                </a:moveTo>
                <a:cubicBezTo>
                  <a:pt x="1967519" y="6232237"/>
                  <a:pt x="1967519" y="6236087"/>
                  <a:pt x="1965594" y="6239936"/>
                </a:cubicBezTo>
                <a:cubicBezTo>
                  <a:pt x="1965594" y="6238012"/>
                  <a:pt x="1963669" y="6234162"/>
                  <a:pt x="1963669" y="6228388"/>
                </a:cubicBezTo>
                <a:cubicBezTo>
                  <a:pt x="1963669" y="6228388"/>
                  <a:pt x="1965594" y="6226463"/>
                  <a:pt x="1965594" y="6226463"/>
                </a:cubicBezTo>
                <a:close/>
                <a:moveTo>
                  <a:pt x="1930948" y="6218764"/>
                </a:moveTo>
                <a:cubicBezTo>
                  <a:pt x="1930948" y="6218764"/>
                  <a:pt x="1932874" y="6218764"/>
                  <a:pt x="1934797" y="6218764"/>
                </a:cubicBezTo>
                <a:cubicBezTo>
                  <a:pt x="1936722" y="6220688"/>
                  <a:pt x="1936722" y="6220688"/>
                  <a:pt x="1938648" y="6220688"/>
                </a:cubicBezTo>
                <a:cubicBezTo>
                  <a:pt x="1936722" y="6220688"/>
                  <a:pt x="1934797" y="6220688"/>
                  <a:pt x="1932874" y="6220688"/>
                </a:cubicBezTo>
                <a:cubicBezTo>
                  <a:pt x="1930948" y="6220688"/>
                  <a:pt x="1930948" y="6218764"/>
                  <a:pt x="1930948" y="6218764"/>
                </a:cubicBezTo>
                <a:close/>
                <a:moveTo>
                  <a:pt x="1986766" y="6212989"/>
                </a:moveTo>
                <a:cubicBezTo>
                  <a:pt x="1986766" y="6218764"/>
                  <a:pt x="1982916" y="6224538"/>
                  <a:pt x="1980992" y="6230312"/>
                </a:cubicBezTo>
                <a:cubicBezTo>
                  <a:pt x="1979067" y="6226463"/>
                  <a:pt x="1980992" y="6222613"/>
                  <a:pt x="1979067" y="6216839"/>
                </a:cubicBezTo>
                <a:cubicBezTo>
                  <a:pt x="1980992" y="6214914"/>
                  <a:pt x="1982916" y="6214914"/>
                  <a:pt x="1986766" y="6212989"/>
                </a:cubicBezTo>
                <a:close/>
                <a:moveTo>
                  <a:pt x="2023337" y="6203364"/>
                </a:moveTo>
                <a:cubicBezTo>
                  <a:pt x="2023337" y="6205290"/>
                  <a:pt x="2023337" y="6207215"/>
                  <a:pt x="2023337" y="6209140"/>
                </a:cubicBezTo>
                <a:cubicBezTo>
                  <a:pt x="2021412" y="6220688"/>
                  <a:pt x="2019489" y="6232237"/>
                  <a:pt x="2017563" y="6245710"/>
                </a:cubicBezTo>
                <a:cubicBezTo>
                  <a:pt x="2006013" y="6247635"/>
                  <a:pt x="1994466" y="6247635"/>
                  <a:pt x="1980991" y="6249560"/>
                </a:cubicBezTo>
                <a:cubicBezTo>
                  <a:pt x="1980991" y="6245710"/>
                  <a:pt x="1980991" y="6239936"/>
                  <a:pt x="1984841" y="6238011"/>
                </a:cubicBezTo>
                <a:cubicBezTo>
                  <a:pt x="1982916" y="6236087"/>
                  <a:pt x="1986765" y="6230312"/>
                  <a:pt x="1988690" y="6230312"/>
                </a:cubicBezTo>
                <a:cubicBezTo>
                  <a:pt x="1988690" y="6228388"/>
                  <a:pt x="1990615" y="6220688"/>
                  <a:pt x="1994466" y="6222613"/>
                </a:cubicBezTo>
                <a:cubicBezTo>
                  <a:pt x="1996389" y="6218764"/>
                  <a:pt x="1994466" y="6214914"/>
                  <a:pt x="1994466" y="6212989"/>
                </a:cubicBezTo>
                <a:cubicBezTo>
                  <a:pt x="1994466" y="6211064"/>
                  <a:pt x="1994466" y="6211064"/>
                  <a:pt x="1994466" y="6209140"/>
                </a:cubicBezTo>
                <a:cubicBezTo>
                  <a:pt x="1996389" y="6207215"/>
                  <a:pt x="2000239" y="6207215"/>
                  <a:pt x="2000239" y="6205290"/>
                </a:cubicBezTo>
                <a:cubicBezTo>
                  <a:pt x="2007939" y="6203364"/>
                  <a:pt x="2015638" y="6203364"/>
                  <a:pt x="2023337" y="6203364"/>
                </a:cubicBezTo>
                <a:close/>
                <a:moveTo>
                  <a:pt x="1950195" y="6201440"/>
                </a:moveTo>
                <a:cubicBezTo>
                  <a:pt x="1952121" y="6201440"/>
                  <a:pt x="1952121" y="6207215"/>
                  <a:pt x="1950195" y="6203365"/>
                </a:cubicBezTo>
                <a:cubicBezTo>
                  <a:pt x="1952121" y="6203365"/>
                  <a:pt x="1950195" y="6203365"/>
                  <a:pt x="1950195" y="6201440"/>
                </a:cubicBezTo>
                <a:close/>
                <a:moveTo>
                  <a:pt x="1905925" y="6201440"/>
                </a:moveTo>
                <a:cubicBezTo>
                  <a:pt x="1909774" y="6207215"/>
                  <a:pt x="1915549" y="6211064"/>
                  <a:pt x="1919399" y="6216839"/>
                </a:cubicBezTo>
                <a:cubicBezTo>
                  <a:pt x="1913625" y="6214914"/>
                  <a:pt x="1907851" y="6212989"/>
                  <a:pt x="1904000" y="6209140"/>
                </a:cubicBezTo>
                <a:cubicBezTo>
                  <a:pt x="1904000" y="6209140"/>
                  <a:pt x="1904000" y="6207215"/>
                  <a:pt x="1904000" y="6207215"/>
                </a:cubicBezTo>
                <a:cubicBezTo>
                  <a:pt x="1904000" y="6205290"/>
                  <a:pt x="1905925" y="6203365"/>
                  <a:pt x="1905925" y="6201440"/>
                </a:cubicBezTo>
                <a:close/>
                <a:moveTo>
                  <a:pt x="1894377" y="6189892"/>
                </a:moveTo>
                <a:cubicBezTo>
                  <a:pt x="1898227" y="6193741"/>
                  <a:pt x="1900151" y="6195666"/>
                  <a:pt x="1902077" y="6197591"/>
                </a:cubicBezTo>
                <a:cubicBezTo>
                  <a:pt x="1900151" y="6199516"/>
                  <a:pt x="1898227" y="6201440"/>
                  <a:pt x="1896302" y="6203365"/>
                </a:cubicBezTo>
                <a:cubicBezTo>
                  <a:pt x="1896302" y="6199516"/>
                  <a:pt x="1894377" y="6193741"/>
                  <a:pt x="1894377" y="6189892"/>
                </a:cubicBezTo>
                <a:close/>
                <a:moveTo>
                  <a:pt x="1480546" y="6187966"/>
                </a:moveTo>
                <a:cubicBezTo>
                  <a:pt x="1484396" y="6187966"/>
                  <a:pt x="1488245" y="6187966"/>
                  <a:pt x="1492095" y="6189891"/>
                </a:cubicBezTo>
                <a:cubicBezTo>
                  <a:pt x="1497869" y="6205290"/>
                  <a:pt x="1503643" y="6222613"/>
                  <a:pt x="1509419" y="6238012"/>
                </a:cubicBezTo>
                <a:cubicBezTo>
                  <a:pt x="1497869" y="6228388"/>
                  <a:pt x="1482471" y="6224538"/>
                  <a:pt x="1478621" y="6211064"/>
                </a:cubicBezTo>
                <a:cubicBezTo>
                  <a:pt x="1476696" y="6201440"/>
                  <a:pt x="1478621" y="6193741"/>
                  <a:pt x="1480546" y="6187966"/>
                </a:cubicBezTo>
                <a:close/>
                <a:moveTo>
                  <a:pt x="1456728" y="6180749"/>
                </a:moveTo>
                <a:cubicBezTo>
                  <a:pt x="1458412" y="6181231"/>
                  <a:pt x="1460337" y="6182193"/>
                  <a:pt x="1461299" y="6182193"/>
                </a:cubicBezTo>
                <a:cubicBezTo>
                  <a:pt x="1459374" y="6184118"/>
                  <a:pt x="1455525" y="6182193"/>
                  <a:pt x="1453600" y="6182193"/>
                </a:cubicBezTo>
                <a:cubicBezTo>
                  <a:pt x="1453600" y="6180268"/>
                  <a:pt x="1455044" y="6180268"/>
                  <a:pt x="1456728" y="6180749"/>
                </a:cubicBezTo>
                <a:close/>
                <a:moveTo>
                  <a:pt x="1934797" y="6178343"/>
                </a:moveTo>
                <a:cubicBezTo>
                  <a:pt x="1932872" y="6180268"/>
                  <a:pt x="1932872" y="6180268"/>
                  <a:pt x="1932872" y="6180268"/>
                </a:cubicBezTo>
                <a:cubicBezTo>
                  <a:pt x="1932872" y="6184117"/>
                  <a:pt x="1938648" y="6184117"/>
                  <a:pt x="1936722" y="6186042"/>
                </a:cubicBezTo>
                <a:cubicBezTo>
                  <a:pt x="1936722" y="6186042"/>
                  <a:pt x="1934797" y="6182192"/>
                  <a:pt x="1932872" y="6182192"/>
                </a:cubicBezTo>
                <a:cubicBezTo>
                  <a:pt x="1932872" y="6184117"/>
                  <a:pt x="1930948" y="6184117"/>
                  <a:pt x="1930948" y="6186042"/>
                </a:cubicBezTo>
                <a:cubicBezTo>
                  <a:pt x="1932872" y="6187967"/>
                  <a:pt x="1938648" y="6189892"/>
                  <a:pt x="1936722" y="6193741"/>
                </a:cubicBezTo>
                <a:cubicBezTo>
                  <a:pt x="1934797" y="6193741"/>
                  <a:pt x="1932872" y="6191816"/>
                  <a:pt x="1930948" y="6191816"/>
                </a:cubicBezTo>
                <a:cubicBezTo>
                  <a:pt x="1929023" y="6197591"/>
                  <a:pt x="1934797" y="6199516"/>
                  <a:pt x="1934797" y="6205290"/>
                </a:cubicBezTo>
                <a:cubicBezTo>
                  <a:pt x="1925173" y="6203365"/>
                  <a:pt x="1919399" y="6199516"/>
                  <a:pt x="1909774" y="6197591"/>
                </a:cubicBezTo>
                <a:cubicBezTo>
                  <a:pt x="1915548" y="6189892"/>
                  <a:pt x="1927098" y="6184117"/>
                  <a:pt x="1934797" y="6178343"/>
                </a:cubicBezTo>
                <a:close/>
                <a:moveTo>
                  <a:pt x="1492095" y="6176418"/>
                </a:moveTo>
                <a:cubicBezTo>
                  <a:pt x="1492095" y="6178343"/>
                  <a:pt x="1492095" y="6178343"/>
                  <a:pt x="1492095" y="6180268"/>
                </a:cubicBezTo>
                <a:cubicBezTo>
                  <a:pt x="1490171" y="6180268"/>
                  <a:pt x="1490171" y="6180268"/>
                  <a:pt x="1488246" y="6180268"/>
                </a:cubicBezTo>
                <a:cubicBezTo>
                  <a:pt x="1490171" y="6178343"/>
                  <a:pt x="1490171" y="6178343"/>
                  <a:pt x="1492095" y="6176418"/>
                </a:cubicBezTo>
                <a:close/>
                <a:moveTo>
                  <a:pt x="1985805" y="6174974"/>
                </a:moveTo>
                <a:cubicBezTo>
                  <a:pt x="1988210" y="6176899"/>
                  <a:pt x="1990616" y="6180267"/>
                  <a:pt x="1992541" y="6182192"/>
                </a:cubicBezTo>
                <a:cubicBezTo>
                  <a:pt x="1986766" y="6187967"/>
                  <a:pt x="1982916" y="6195666"/>
                  <a:pt x="1980991" y="6205290"/>
                </a:cubicBezTo>
                <a:cubicBezTo>
                  <a:pt x="1979066" y="6205290"/>
                  <a:pt x="1977142" y="6205290"/>
                  <a:pt x="1975217" y="6203365"/>
                </a:cubicBezTo>
                <a:cubicBezTo>
                  <a:pt x="1975217" y="6199516"/>
                  <a:pt x="1973292" y="6193741"/>
                  <a:pt x="1973292" y="6189892"/>
                </a:cubicBezTo>
                <a:cubicBezTo>
                  <a:pt x="1977142" y="6186042"/>
                  <a:pt x="1982916" y="6180268"/>
                  <a:pt x="1979066" y="6176418"/>
                </a:cubicBezTo>
                <a:cubicBezTo>
                  <a:pt x="1980991" y="6172568"/>
                  <a:pt x="1983398" y="6173049"/>
                  <a:pt x="1985805" y="6174974"/>
                </a:cubicBezTo>
                <a:close/>
                <a:moveTo>
                  <a:pt x="2025262" y="6166794"/>
                </a:moveTo>
                <a:cubicBezTo>
                  <a:pt x="2025262" y="6174494"/>
                  <a:pt x="2025262" y="6182193"/>
                  <a:pt x="2025262" y="6187968"/>
                </a:cubicBezTo>
                <a:cubicBezTo>
                  <a:pt x="2017562" y="6193742"/>
                  <a:pt x="2007937" y="6197592"/>
                  <a:pt x="2000238" y="6197592"/>
                </a:cubicBezTo>
                <a:cubicBezTo>
                  <a:pt x="1998314" y="6189893"/>
                  <a:pt x="2009862" y="6182193"/>
                  <a:pt x="2009862" y="6172569"/>
                </a:cubicBezTo>
                <a:cubicBezTo>
                  <a:pt x="2013713" y="6172569"/>
                  <a:pt x="2011787" y="6170645"/>
                  <a:pt x="2013713" y="6168720"/>
                </a:cubicBezTo>
                <a:cubicBezTo>
                  <a:pt x="2017562" y="6168720"/>
                  <a:pt x="2021412" y="6168720"/>
                  <a:pt x="2025262" y="6166794"/>
                </a:cubicBezTo>
                <a:close/>
                <a:moveTo>
                  <a:pt x="1850106" y="6166794"/>
                </a:moveTo>
                <a:cubicBezTo>
                  <a:pt x="1855880" y="6166794"/>
                  <a:pt x="1861655" y="6166794"/>
                  <a:pt x="1869354" y="6166794"/>
                </a:cubicBezTo>
                <a:cubicBezTo>
                  <a:pt x="1878979" y="6170644"/>
                  <a:pt x="1884753" y="6182193"/>
                  <a:pt x="1888604" y="6184118"/>
                </a:cubicBezTo>
                <a:cubicBezTo>
                  <a:pt x="1888604" y="6186043"/>
                  <a:pt x="1884753" y="6184118"/>
                  <a:pt x="1884753" y="6186043"/>
                </a:cubicBezTo>
                <a:cubicBezTo>
                  <a:pt x="1886678" y="6191817"/>
                  <a:pt x="1888604" y="6199517"/>
                  <a:pt x="1890527" y="6209140"/>
                </a:cubicBezTo>
                <a:cubicBezTo>
                  <a:pt x="1884753" y="6212990"/>
                  <a:pt x="1877054" y="6216840"/>
                  <a:pt x="1873203" y="6220689"/>
                </a:cubicBezTo>
                <a:cubicBezTo>
                  <a:pt x="1871279" y="6220689"/>
                  <a:pt x="1867429" y="6220689"/>
                  <a:pt x="1865504" y="6220689"/>
                </a:cubicBezTo>
                <a:cubicBezTo>
                  <a:pt x="1863579" y="6209140"/>
                  <a:pt x="1861655" y="6197592"/>
                  <a:pt x="1855880" y="6184118"/>
                </a:cubicBezTo>
                <a:cubicBezTo>
                  <a:pt x="1853955" y="6178344"/>
                  <a:pt x="1852031" y="6172569"/>
                  <a:pt x="1850106" y="6166794"/>
                </a:cubicBezTo>
                <a:close/>
                <a:moveTo>
                  <a:pt x="1886676" y="6162945"/>
                </a:moveTo>
                <a:cubicBezTo>
                  <a:pt x="1886676" y="6166795"/>
                  <a:pt x="1886676" y="6168720"/>
                  <a:pt x="1886676" y="6172569"/>
                </a:cubicBezTo>
                <a:cubicBezTo>
                  <a:pt x="1882826" y="6170645"/>
                  <a:pt x="1880902" y="6166795"/>
                  <a:pt x="1877052" y="6164870"/>
                </a:cubicBezTo>
                <a:cubicBezTo>
                  <a:pt x="1880902" y="6164870"/>
                  <a:pt x="1884751" y="6162945"/>
                  <a:pt x="1886676" y="6162945"/>
                </a:cubicBezTo>
                <a:close/>
                <a:moveTo>
                  <a:pt x="1863581" y="6153321"/>
                </a:moveTo>
                <a:cubicBezTo>
                  <a:pt x="1863581" y="6153321"/>
                  <a:pt x="1865504" y="6155246"/>
                  <a:pt x="1865504" y="6155246"/>
                </a:cubicBezTo>
                <a:cubicBezTo>
                  <a:pt x="1865504" y="6155246"/>
                  <a:pt x="1863581" y="6155246"/>
                  <a:pt x="1861655" y="6155246"/>
                </a:cubicBezTo>
                <a:cubicBezTo>
                  <a:pt x="1863581" y="6153321"/>
                  <a:pt x="1863581" y="6153321"/>
                  <a:pt x="1863581" y="6153321"/>
                </a:cubicBezTo>
                <a:close/>
                <a:moveTo>
                  <a:pt x="1886677" y="6141773"/>
                </a:moveTo>
                <a:cubicBezTo>
                  <a:pt x="1888602" y="6145622"/>
                  <a:pt x="1888602" y="6149472"/>
                  <a:pt x="1888602" y="6153321"/>
                </a:cubicBezTo>
                <a:cubicBezTo>
                  <a:pt x="1882826" y="6155246"/>
                  <a:pt x="1878977" y="6157171"/>
                  <a:pt x="1873202" y="6157171"/>
                </a:cubicBezTo>
                <a:cubicBezTo>
                  <a:pt x="1871278" y="6155246"/>
                  <a:pt x="1871278" y="6151397"/>
                  <a:pt x="1869353" y="6149472"/>
                </a:cubicBezTo>
                <a:cubicBezTo>
                  <a:pt x="1873202" y="6145622"/>
                  <a:pt x="1878977" y="6143697"/>
                  <a:pt x="1886677" y="6141773"/>
                </a:cubicBezTo>
                <a:close/>
                <a:moveTo>
                  <a:pt x="1538290" y="6137922"/>
                </a:moveTo>
                <a:cubicBezTo>
                  <a:pt x="1545991" y="6159095"/>
                  <a:pt x="1561388" y="6176418"/>
                  <a:pt x="1559463" y="6201441"/>
                </a:cubicBezTo>
                <a:cubicBezTo>
                  <a:pt x="1557539" y="6239936"/>
                  <a:pt x="1553689" y="6284207"/>
                  <a:pt x="1551765" y="6330402"/>
                </a:cubicBezTo>
                <a:cubicBezTo>
                  <a:pt x="1542139" y="6315004"/>
                  <a:pt x="1538290" y="6295756"/>
                  <a:pt x="1534440" y="6278432"/>
                </a:cubicBezTo>
                <a:cubicBezTo>
                  <a:pt x="1526742" y="6263034"/>
                  <a:pt x="1522891" y="6243786"/>
                  <a:pt x="1517117" y="6228388"/>
                </a:cubicBezTo>
                <a:cubicBezTo>
                  <a:pt x="1517117" y="6226463"/>
                  <a:pt x="1517117" y="6224538"/>
                  <a:pt x="1517117" y="6220689"/>
                </a:cubicBezTo>
                <a:cubicBezTo>
                  <a:pt x="1515192" y="6218764"/>
                  <a:pt x="1513268" y="6216839"/>
                  <a:pt x="1511343" y="6214914"/>
                </a:cubicBezTo>
                <a:cubicBezTo>
                  <a:pt x="1505568" y="6203366"/>
                  <a:pt x="1501719" y="6186043"/>
                  <a:pt x="1499794" y="6168719"/>
                </a:cubicBezTo>
                <a:cubicBezTo>
                  <a:pt x="1513268" y="6157170"/>
                  <a:pt x="1530590" y="6147546"/>
                  <a:pt x="1538290" y="6137922"/>
                </a:cubicBezTo>
                <a:close/>
                <a:moveTo>
                  <a:pt x="1890526" y="6128298"/>
                </a:moveTo>
                <a:cubicBezTo>
                  <a:pt x="1902075" y="6135997"/>
                  <a:pt x="1921322" y="6139847"/>
                  <a:pt x="1934797" y="6145621"/>
                </a:cubicBezTo>
                <a:cubicBezTo>
                  <a:pt x="1944422" y="6149471"/>
                  <a:pt x="1946346" y="6151396"/>
                  <a:pt x="1948271" y="6159095"/>
                </a:cubicBezTo>
                <a:cubicBezTo>
                  <a:pt x="1952121" y="6166794"/>
                  <a:pt x="1955970" y="6178343"/>
                  <a:pt x="1955970" y="6187966"/>
                </a:cubicBezTo>
                <a:cubicBezTo>
                  <a:pt x="1954045" y="6184117"/>
                  <a:pt x="1950195" y="6182192"/>
                  <a:pt x="1946346" y="6184117"/>
                </a:cubicBezTo>
                <a:cubicBezTo>
                  <a:pt x="1944422" y="6180267"/>
                  <a:pt x="1946346" y="6174493"/>
                  <a:pt x="1942496" y="6172568"/>
                </a:cubicBezTo>
                <a:cubicBezTo>
                  <a:pt x="1927098" y="6172568"/>
                  <a:pt x="1915548" y="6182192"/>
                  <a:pt x="1903999" y="6195665"/>
                </a:cubicBezTo>
                <a:cubicBezTo>
                  <a:pt x="1902075" y="6193741"/>
                  <a:pt x="1898225" y="6189891"/>
                  <a:pt x="1894376" y="6186042"/>
                </a:cubicBezTo>
                <a:cubicBezTo>
                  <a:pt x="1894376" y="6180267"/>
                  <a:pt x="1892451" y="6166794"/>
                  <a:pt x="1896300" y="6162944"/>
                </a:cubicBezTo>
                <a:cubicBezTo>
                  <a:pt x="1894376" y="6161020"/>
                  <a:pt x="1894376" y="6161020"/>
                  <a:pt x="1894376" y="6159095"/>
                </a:cubicBezTo>
                <a:cubicBezTo>
                  <a:pt x="1894376" y="6159095"/>
                  <a:pt x="1896300" y="6157170"/>
                  <a:pt x="1896300" y="6157170"/>
                </a:cubicBezTo>
                <a:cubicBezTo>
                  <a:pt x="1894376" y="6155245"/>
                  <a:pt x="1894376" y="6155245"/>
                  <a:pt x="1892451" y="6155245"/>
                </a:cubicBezTo>
                <a:cubicBezTo>
                  <a:pt x="1892451" y="6151396"/>
                  <a:pt x="1890526" y="6147546"/>
                  <a:pt x="1890526" y="6143696"/>
                </a:cubicBezTo>
                <a:cubicBezTo>
                  <a:pt x="1896300" y="6143696"/>
                  <a:pt x="1900150" y="6143696"/>
                  <a:pt x="1905924" y="6143696"/>
                </a:cubicBezTo>
                <a:cubicBezTo>
                  <a:pt x="1902075" y="6139847"/>
                  <a:pt x="1896300" y="6139847"/>
                  <a:pt x="1890526" y="6137922"/>
                </a:cubicBezTo>
                <a:cubicBezTo>
                  <a:pt x="1890526" y="6134072"/>
                  <a:pt x="1890526" y="6130223"/>
                  <a:pt x="1890526" y="6128298"/>
                </a:cubicBezTo>
                <a:close/>
                <a:moveTo>
                  <a:pt x="1519043" y="6126373"/>
                </a:moveTo>
                <a:cubicBezTo>
                  <a:pt x="1513268" y="6137923"/>
                  <a:pt x="1505568" y="6147547"/>
                  <a:pt x="1497869" y="6157171"/>
                </a:cubicBezTo>
                <a:cubicBezTo>
                  <a:pt x="1497869" y="6149472"/>
                  <a:pt x="1497869" y="6145622"/>
                  <a:pt x="1501719" y="6139848"/>
                </a:cubicBezTo>
                <a:cubicBezTo>
                  <a:pt x="1507493" y="6135998"/>
                  <a:pt x="1513268" y="6130224"/>
                  <a:pt x="1519043" y="6126373"/>
                </a:cubicBezTo>
                <a:close/>
                <a:moveTo>
                  <a:pt x="2023336" y="6122524"/>
                </a:moveTo>
                <a:cubicBezTo>
                  <a:pt x="2025261" y="6134073"/>
                  <a:pt x="2025261" y="6147547"/>
                  <a:pt x="2025261" y="6159096"/>
                </a:cubicBezTo>
                <a:cubicBezTo>
                  <a:pt x="2023336" y="6159096"/>
                  <a:pt x="2021411" y="6159096"/>
                  <a:pt x="2019487" y="6157171"/>
                </a:cubicBezTo>
                <a:cubicBezTo>
                  <a:pt x="2019487" y="6155246"/>
                  <a:pt x="2019487" y="6155246"/>
                  <a:pt x="2019487" y="6155246"/>
                </a:cubicBezTo>
                <a:cubicBezTo>
                  <a:pt x="2019487" y="6157171"/>
                  <a:pt x="2017561" y="6157171"/>
                  <a:pt x="2017561" y="6157171"/>
                </a:cubicBezTo>
                <a:cubicBezTo>
                  <a:pt x="2015637" y="6157171"/>
                  <a:pt x="2015637" y="6155246"/>
                  <a:pt x="2013713" y="6155246"/>
                </a:cubicBezTo>
                <a:cubicBezTo>
                  <a:pt x="2015637" y="6147547"/>
                  <a:pt x="2019487" y="6141773"/>
                  <a:pt x="2019487" y="6134073"/>
                </a:cubicBezTo>
                <a:cubicBezTo>
                  <a:pt x="2019487" y="6130224"/>
                  <a:pt x="2021411" y="6126374"/>
                  <a:pt x="2023336" y="6122524"/>
                </a:cubicBezTo>
                <a:close/>
                <a:moveTo>
                  <a:pt x="1844332" y="6120600"/>
                </a:moveTo>
                <a:cubicBezTo>
                  <a:pt x="1844332" y="6122525"/>
                  <a:pt x="1846257" y="6126374"/>
                  <a:pt x="1848181" y="6128299"/>
                </a:cubicBezTo>
                <a:cubicBezTo>
                  <a:pt x="1846257" y="6128299"/>
                  <a:pt x="1846257" y="6130224"/>
                  <a:pt x="1844332" y="6132149"/>
                </a:cubicBezTo>
                <a:cubicBezTo>
                  <a:pt x="1844332" y="6128299"/>
                  <a:pt x="1844332" y="6124449"/>
                  <a:pt x="1844332" y="6120600"/>
                </a:cubicBezTo>
                <a:close/>
                <a:moveTo>
                  <a:pt x="1996390" y="6112901"/>
                </a:moveTo>
                <a:cubicBezTo>
                  <a:pt x="1998314" y="6112901"/>
                  <a:pt x="2000239" y="6112901"/>
                  <a:pt x="2002164" y="6114825"/>
                </a:cubicBezTo>
                <a:cubicBezTo>
                  <a:pt x="2000239" y="6118675"/>
                  <a:pt x="1996390" y="6122525"/>
                  <a:pt x="1994466" y="6126374"/>
                </a:cubicBezTo>
                <a:cubicBezTo>
                  <a:pt x="1994466" y="6124449"/>
                  <a:pt x="1992540" y="6122525"/>
                  <a:pt x="1992540" y="6122525"/>
                </a:cubicBezTo>
                <a:cubicBezTo>
                  <a:pt x="1994466" y="6120600"/>
                  <a:pt x="1994466" y="6116750"/>
                  <a:pt x="1996390" y="6112901"/>
                </a:cubicBezTo>
                <a:close/>
                <a:moveTo>
                  <a:pt x="2019487" y="6109050"/>
                </a:moveTo>
                <a:cubicBezTo>
                  <a:pt x="2015638" y="6124449"/>
                  <a:pt x="2013713" y="6139848"/>
                  <a:pt x="2004088" y="6149472"/>
                </a:cubicBezTo>
                <a:cubicBezTo>
                  <a:pt x="2006013" y="6145622"/>
                  <a:pt x="2000238" y="6143697"/>
                  <a:pt x="1998314" y="6145622"/>
                </a:cubicBezTo>
                <a:cubicBezTo>
                  <a:pt x="1998314" y="6143697"/>
                  <a:pt x="1996389" y="6141773"/>
                  <a:pt x="1996389" y="6139848"/>
                </a:cubicBezTo>
                <a:cubicBezTo>
                  <a:pt x="1996389" y="6137923"/>
                  <a:pt x="1998314" y="6137923"/>
                  <a:pt x="1998314" y="6137923"/>
                </a:cubicBezTo>
                <a:cubicBezTo>
                  <a:pt x="1998314" y="6135998"/>
                  <a:pt x="1998314" y="6135998"/>
                  <a:pt x="1998314" y="6135998"/>
                </a:cubicBezTo>
                <a:cubicBezTo>
                  <a:pt x="2000238" y="6135998"/>
                  <a:pt x="2000238" y="6135998"/>
                  <a:pt x="2002163" y="6135998"/>
                </a:cubicBezTo>
                <a:cubicBezTo>
                  <a:pt x="2002163" y="6134073"/>
                  <a:pt x="2000238" y="6134073"/>
                  <a:pt x="2000238" y="6132149"/>
                </a:cubicBezTo>
                <a:cubicBezTo>
                  <a:pt x="2004088" y="6128299"/>
                  <a:pt x="2009862" y="6124449"/>
                  <a:pt x="2011788" y="6118675"/>
                </a:cubicBezTo>
                <a:cubicBezTo>
                  <a:pt x="2011788" y="6116750"/>
                  <a:pt x="2011788" y="6116750"/>
                  <a:pt x="2011788" y="6116750"/>
                </a:cubicBezTo>
                <a:cubicBezTo>
                  <a:pt x="2013713" y="6116750"/>
                  <a:pt x="2013713" y="6116750"/>
                  <a:pt x="2015638" y="6116750"/>
                </a:cubicBezTo>
                <a:cubicBezTo>
                  <a:pt x="2015638" y="6116750"/>
                  <a:pt x="2013713" y="6114825"/>
                  <a:pt x="2013713" y="6114825"/>
                </a:cubicBezTo>
                <a:cubicBezTo>
                  <a:pt x="2015638" y="6112901"/>
                  <a:pt x="2015638" y="6110976"/>
                  <a:pt x="2019487" y="6109050"/>
                </a:cubicBezTo>
                <a:close/>
                <a:moveTo>
                  <a:pt x="1979067" y="6109050"/>
                </a:moveTo>
                <a:cubicBezTo>
                  <a:pt x="1979067" y="6110976"/>
                  <a:pt x="1979067" y="6114825"/>
                  <a:pt x="1979067" y="6118675"/>
                </a:cubicBezTo>
                <a:cubicBezTo>
                  <a:pt x="1979067" y="6118675"/>
                  <a:pt x="1979067" y="6120600"/>
                  <a:pt x="1979067" y="6120600"/>
                </a:cubicBezTo>
                <a:cubicBezTo>
                  <a:pt x="1979067" y="6126374"/>
                  <a:pt x="1977142" y="6134073"/>
                  <a:pt x="1975218" y="6137923"/>
                </a:cubicBezTo>
                <a:cubicBezTo>
                  <a:pt x="1973293" y="6139848"/>
                  <a:pt x="1973293" y="6143697"/>
                  <a:pt x="1971368" y="6143697"/>
                </a:cubicBezTo>
                <a:cubicBezTo>
                  <a:pt x="1975218" y="6134073"/>
                  <a:pt x="1975218" y="6120600"/>
                  <a:pt x="1979067" y="6109050"/>
                </a:cubicBezTo>
                <a:close/>
                <a:moveTo>
                  <a:pt x="1880903" y="6107126"/>
                </a:moveTo>
                <a:cubicBezTo>
                  <a:pt x="1880903" y="6107126"/>
                  <a:pt x="1882828" y="6107126"/>
                  <a:pt x="1882828" y="6109051"/>
                </a:cubicBezTo>
                <a:lnTo>
                  <a:pt x="1878978" y="6109051"/>
                </a:lnTo>
                <a:cubicBezTo>
                  <a:pt x="1878978" y="6109051"/>
                  <a:pt x="1878978" y="6107126"/>
                  <a:pt x="1880903" y="6107126"/>
                </a:cubicBezTo>
                <a:close/>
                <a:moveTo>
                  <a:pt x="1971368" y="6101351"/>
                </a:moveTo>
                <a:cubicBezTo>
                  <a:pt x="1969443" y="6122525"/>
                  <a:pt x="1965593" y="6139848"/>
                  <a:pt x="1963669" y="6162945"/>
                </a:cubicBezTo>
                <a:cubicBezTo>
                  <a:pt x="1955969" y="6147547"/>
                  <a:pt x="1954044" y="6132149"/>
                  <a:pt x="1954044" y="6110976"/>
                </a:cubicBezTo>
                <a:cubicBezTo>
                  <a:pt x="1955969" y="6110976"/>
                  <a:pt x="1957895" y="6110976"/>
                  <a:pt x="1959818" y="6109051"/>
                </a:cubicBezTo>
                <a:cubicBezTo>
                  <a:pt x="1961743" y="6109051"/>
                  <a:pt x="1961743" y="6112901"/>
                  <a:pt x="1965593" y="6112901"/>
                </a:cubicBezTo>
                <a:cubicBezTo>
                  <a:pt x="1969443" y="6112901"/>
                  <a:pt x="1969443" y="6105200"/>
                  <a:pt x="1971368" y="6101351"/>
                </a:cubicBezTo>
                <a:close/>
                <a:moveTo>
                  <a:pt x="1842406" y="6101351"/>
                </a:moveTo>
                <a:cubicBezTo>
                  <a:pt x="1852031" y="6107126"/>
                  <a:pt x="1859729" y="6112901"/>
                  <a:pt x="1869353" y="6116750"/>
                </a:cubicBezTo>
                <a:cubicBezTo>
                  <a:pt x="1869353" y="6118675"/>
                  <a:pt x="1869353" y="6120600"/>
                  <a:pt x="1871279" y="6120600"/>
                </a:cubicBezTo>
                <a:cubicBezTo>
                  <a:pt x="1875128" y="6120600"/>
                  <a:pt x="1880903" y="6120600"/>
                  <a:pt x="1882828" y="6124449"/>
                </a:cubicBezTo>
                <a:cubicBezTo>
                  <a:pt x="1882828" y="6128299"/>
                  <a:pt x="1884752" y="6132149"/>
                  <a:pt x="1884752" y="6135998"/>
                </a:cubicBezTo>
                <a:cubicBezTo>
                  <a:pt x="1877054" y="6135998"/>
                  <a:pt x="1869353" y="6137923"/>
                  <a:pt x="1861654" y="6137923"/>
                </a:cubicBezTo>
                <a:cubicBezTo>
                  <a:pt x="1855879" y="6128299"/>
                  <a:pt x="1848180" y="6118675"/>
                  <a:pt x="1842406" y="6109051"/>
                </a:cubicBezTo>
                <a:cubicBezTo>
                  <a:pt x="1842406" y="6107126"/>
                  <a:pt x="1842406" y="6103277"/>
                  <a:pt x="1842406" y="6101351"/>
                </a:cubicBezTo>
                <a:close/>
                <a:moveTo>
                  <a:pt x="1486321" y="6095576"/>
                </a:moveTo>
                <a:cubicBezTo>
                  <a:pt x="1495945" y="6103277"/>
                  <a:pt x="1505568" y="6110976"/>
                  <a:pt x="1515194" y="6118675"/>
                </a:cubicBezTo>
                <a:cubicBezTo>
                  <a:pt x="1507493" y="6122524"/>
                  <a:pt x="1501719" y="6130223"/>
                  <a:pt x="1495945" y="6132148"/>
                </a:cubicBezTo>
                <a:cubicBezTo>
                  <a:pt x="1490171" y="6122524"/>
                  <a:pt x="1486321" y="6110976"/>
                  <a:pt x="1482471" y="6099427"/>
                </a:cubicBezTo>
                <a:cubicBezTo>
                  <a:pt x="1482471" y="6097502"/>
                  <a:pt x="1484396" y="6097502"/>
                  <a:pt x="1486321" y="6095576"/>
                </a:cubicBezTo>
                <a:close/>
                <a:moveTo>
                  <a:pt x="1478622" y="6089803"/>
                </a:moveTo>
                <a:cubicBezTo>
                  <a:pt x="1478622" y="6089803"/>
                  <a:pt x="1480547" y="6091728"/>
                  <a:pt x="1480547" y="6091728"/>
                </a:cubicBezTo>
                <a:cubicBezTo>
                  <a:pt x="1478622" y="6091728"/>
                  <a:pt x="1478622" y="6091728"/>
                  <a:pt x="1478622" y="6091728"/>
                </a:cubicBezTo>
                <a:cubicBezTo>
                  <a:pt x="1478622" y="6091728"/>
                  <a:pt x="1478622" y="6089803"/>
                  <a:pt x="1478622" y="6089803"/>
                </a:cubicBezTo>
                <a:close/>
                <a:moveTo>
                  <a:pt x="1463224" y="6089803"/>
                </a:moveTo>
                <a:cubicBezTo>
                  <a:pt x="1463224" y="6091728"/>
                  <a:pt x="1468998" y="6089803"/>
                  <a:pt x="1468998" y="6091728"/>
                </a:cubicBezTo>
                <a:cubicBezTo>
                  <a:pt x="1467074" y="6091728"/>
                  <a:pt x="1465149" y="6091728"/>
                  <a:pt x="1463224" y="6091728"/>
                </a:cubicBezTo>
                <a:cubicBezTo>
                  <a:pt x="1463224" y="6091728"/>
                  <a:pt x="1463224" y="6089803"/>
                  <a:pt x="1463224" y="6089803"/>
                </a:cubicBezTo>
                <a:close/>
                <a:moveTo>
                  <a:pt x="1413179" y="6089802"/>
                </a:moveTo>
                <a:cubicBezTo>
                  <a:pt x="1411254" y="6099426"/>
                  <a:pt x="1415104" y="6109050"/>
                  <a:pt x="1422803" y="6109050"/>
                </a:cubicBezTo>
                <a:cubicBezTo>
                  <a:pt x="1430503" y="6109050"/>
                  <a:pt x="1434352" y="6097501"/>
                  <a:pt x="1440127" y="6091727"/>
                </a:cubicBezTo>
                <a:cubicBezTo>
                  <a:pt x="1445900" y="6091727"/>
                  <a:pt x="1453599" y="6091727"/>
                  <a:pt x="1453599" y="6097501"/>
                </a:cubicBezTo>
                <a:cubicBezTo>
                  <a:pt x="1451676" y="6095576"/>
                  <a:pt x="1447826" y="6095576"/>
                  <a:pt x="1445900" y="6097501"/>
                </a:cubicBezTo>
                <a:cubicBezTo>
                  <a:pt x="1445900" y="6099426"/>
                  <a:pt x="1447826" y="6099426"/>
                  <a:pt x="1449751" y="6101351"/>
                </a:cubicBezTo>
                <a:cubicBezTo>
                  <a:pt x="1443976" y="6109050"/>
                  <a:pt x="1438202" y="6116749"/>
                  <a:pt x="1438202" y="6130223"/>
                </a:cubicBezTo>
                <a:cubicBezTo>
                  <a:pt x="1440127" y="6132147"/>
                  <a:pt x="1443976" y="6134072"/>
                  <a:pt x="1445900" y="6134072"/>
                </a:cubicBezTo>
                <a:cubicBezTo>
                  <a:pt x="1455525" y="6128298"/>
                  <a:pt x="1463223" y="6120599"/>
                  <a:pt x="1472848" y="6112900"/>
                </a:cubicBezTo>
                <a:cubicBezTo>
                  <a:pt x="1482472" y="6128298"/>
                  <a:pt x="1488247" y="6147546"/>
                  <a:pt x="1490171" y="6168718"/>
                </a:cubicBezTo>
                <a:cubicBezTo>
                  <a:pt x="1484397" y="6174492"/>
                  <a:pt x="1480547" y="6178342"/>
                  <a:pt x="1474772" y="6182191"/>
                </a:cubicBezTo>
                <a:cubicBezTo>
                  <a:pt x="1472848" y="6182191"/>
                  <a:pt x="1470923" y="6180267"/>
                  <a:pt x="1468998" y="6180267"/>
                </a:cubicBezTo>
                <a:cubicBezTo>
                  <a:pt x="1470923" y="6178342"/>
                  <a:pt x="1470923" y="6170643"/>
                  <a:pt x="1467073" y="6166793"/>
                </a:cubicBezTo>
                <a:cubicBezTo>
                  <a:pt x="1465149" y="6168718"/>
                  <a:pt x="1465149" y="6174492"/>
                  <a:pt x="1463223" y="6176417"/>
                </a:cubicBezTo>
                <a:cubicBezTo>
                  <a:pt x="1461299" y="6174492"/>
                  <a:pt x="1459374" y="6176417"/>
                  <a:pt x="1457450" y="6176417"/>
                </a:cubicBezTo>
                <a:cubicBezTo>
                  <a:pt x="1455525" y="6174492"/>
                  <a:pt x="1457450" y="6168718"/>
                  <a:pt x="1449751" y="6168718"/>
                </a:cubicBezTo>
                <a:cubicBezTo>
                  <a:pt x="1447826" y="6168718"/>
                  <a:pt x="1453599" y="6172568"/>
                  <a:pt x="1449751" y="6172568"/>
                </a:cubicBezTo>
                <a:cubicBezTo>
                  <a:pt x="1440127" y="6161019"/>
                  <a:pt x="1438202" y="6141771"/>
                  <a:pt x="1428577" y="6130223"/>
                </a:cubicBezTo>
                <a:cubicBezTo>
                  <a:pt x="1424728" y="6134072"/>
                  <a:pt x="1430503" y="6141771"/>
                  <a:pt x="1430503" y="6147546"/>
                </a:cubicBezTo>
                <a:cubicBezTo>
                  <a:pt x="1422803" y="6143696"/>
                  <a:pt x="1411254" y="6132147"/>
                  <a:pt x="1397782" y="6135997"/>
                </a:cubicBezTo>
                <a:cubicBezTo>
                  <a:pt x="1397782" y="6143696"/>
                  <a:pt x="1403555" y="6149470"/>
                  <a:pt x="1407405" y="6155245"/>
                </a:cubicBezTo>
                <a:cubicBezTo>
                  <a:pt x="1407405" y="6155245"/>
                  <a:pt x="1411254" y="6157169"/>
                  <a:pt x="1409329" y="6159094"/>
                </a:cubicBezTo>
                <a:cubicBezTo>
                  <a:pt x="1399706" y="6159094"/>
                  <a:pt x="1384307" y="6157169"/>
                  <a:pt x="1382382" y="6166793"/>
                </a:cubicBezTo>
                <a:cubicBezTo>
                  <a:pt x="1395856" y="6174492"/>
                  <a:pt x="1420878" y="6168718"/>
                  <a:pt x="1432428" y="6176417"/>
                </a:cubicBezTo>
                <a:cubicBezTo>
                  <a:pt x="1436277" y="6174492"/>
                  <a:pt x="1436277" y="6172568"/>
                  <a:pt x="1440127" y="6174492"/>
                </a:cubicBezTo>
                <a:cubicBezTo>
                  <a:pt x="1440127" y="6176417"/>
                  <a:pt x="1438202" y="6176417"/>
                  <a:pt x="1438202" y="6178342"/>
                </a:cubicBezTo>
                <a:cubicBezTo>
                  <a:pt x="1430503" y="6178342"/>
                  <a:pt x="1417029" y="6178342"/>
                  <a:pt x="1409329" y="6180267"/>
                </a:cubicBezTo>
                <a:cubicBezTo>
                  <a:pt x="1415104" y="6182191"/>
                  <a:pt x="1424728" y="6182191"/>
                  <a:pt x="1434352" y="6182191"/>
                </a:cubicBezTo>
                <a:cubicBezTo>
                  <a:pt x="1438202" y="6182191"/>
                  <a:pt x="1443976" y="6180267"/>
                  <a:pt x="1445900" y="6184116"/>
                </a:cubicBezTo>
                <a:cubicBezTo>
                  <a:pt x="1440127" y="6184116"/>
                  <a:pt x="1428577" y="6187966"/>
                  <a:pt x="1428577" y="6193740"/>
                </a:cubicBezTo>
                <a:cubicBezTo>
                  <a:pt x="1432428" y="6195665"/>
                  <a:pt x="1438202" y="6195665"/>
                  <a:pt x="1442051" y="6195665"/>
                </a:cubicBezTo>
                <a:cubicBezTo>
                  <a:pt x="1434352" y="6199515"/>
                  <a:pt x="1424728" y="6201439"/>
                  <a:pt x="1415104" y="6201439"/>
                </a:cubicBezTo>
                <a:cubicBezTo>
                  <a:pt x="1413179" y="6207214"/>
                  <a:pt x="1401630" y="6220687"/>
                  <a:pt x="1413179" y="6222612"/>
                </a:cubicBezTo>
                <a:cubicBezTo>
                  <a:pt x="1418953" y="6207214"/>
                  <a:pt x="1442051" y="6197590"/>
                  <a:pt x="1459374" y="6197590"/>
                </a:cubicBezTo>
                <a:cubicBezTo>
                  <a:pt x="1467073" y="6203364"/>
                  <a:pt x="1461299" y="6212988"/>
                  <a:pt x="1459374" y="6220687"/>
                </a:cubicBezTo>
                <a:cubicBezTo>
                  <a:pt x="1428577" y="6232236"/>
                  <a:pt x="1405480" y="6280356"/>
                  <a:pt x="1426653" y="6315002"/>
                </a:cubicBezTo>
                <a:cubicBezTo>
                  <a:pt x="1428577" y="6274582"/>
                  <a:pt x="1434352" y="6236086"/>
                  <a:pt x="1467073" y="6224537"/>
                </a:cubicBezTo>
                <a:cubicBezTo>
                  <a:pt x="1492095" y="6249559"/>
                  <a:pt x="1449751" y="6293830"/>
                  <a:pt x="1472848" y="6322701"/>
                </a:cubicBezTo>
                <a:cubicBezTo>
                  <a:pt x="1478622" y="6305378"/>
                  <a:pt x="1472848" y="6276507"/>
                  <a:pt x="1486322" y="6264958"/>
                </a:cubicBezTo>
                <a:cubicBezTo>
                  <a:pt x="1490171" y="6276507"/>
                  <a:pt x="1494020" y="6289980"/>
                  <a:pt x="1501719" y="6299604"/>
                </a:cubicBezTo>
                <a:cubicBezTo>
                  <a:pt x="1515194" y="6278431"/>
                  <a:pt x="1482472" y="6259183"/>
                  <a:pt x="1492095" y="6241860"/>
                </a:cubicBezTo>
                <a:cubicBezTo>
                  <a:pt x="1501719" y="6238011"/>
                  <a:pt x="1505569" y="6257259"/>
                  <a:pt x="1515194" y="6257259"/>
                </a:cubicBezTo>
                <a:cubicBezTo>
                  <a:pt x="1520968" y="6272657"/>
                  <a:pt x="1526742" y="6288055"/>
                  <a:pt x="1530592" y="6303453"/>
                </a:cubicBezTo>
                <a:cubicBezTo>
                  <a:pt x="1530592" y="6305378"/>
                  <a:pt x="1528667" y="6305378"/>
                  <a:pt x="1528667" y="6307303"/>
                </a:cubicBezTo>
                <a:cubicBezTo>
                  <a:pt x="1534442" y="6316927"/>
                  <a:pt x="1540217" y="6326551"/>
                  <a:pt x="1544066" y="6338099"/>
                </a:cubicBezTo>
                <a:cubicBezTo>
                  <a:pt x="1545991" y="6341949"/>
                  <a:pt x="1547915" y="6345798"/>
                  <a:pt x="1549840" y="6349648"/>
                </a:cubicBezTo>
                <a:cubicBezTo>
                  <a:pt x="1547915" y="6357347"/>
                  <a:pt x="1547915" y="6366971"/>
                  <a:pt x="1547915" y="6374670"/>
                </a:cubicBezTo>
                <a:cubicBezTo>
                  <a:pt x="1542141" y="6382370"/>
                  <a:pt x="1536366" y="6386219"/>
                  <a:pt x="1532518" y="6386219"/>
                </a:cubicBezTo>
                <a:cubicBezTo>
                  <a:pt x="1520968" y="6384294"/>
                  <a:pt x="1492095" y="6372746"/>
                  <a:pt x="1472848" y="6384294"/>
                </a:cubicBezTo>
                <a:cubicBezTo>
                  <a:pt x="1465149" y="6388144"/>
                  <a:pt x="1457450" y="6386219"/>
                  <a:pt x="1449751" y="6384294"/>
                </a:cubicBezTo>
                <a:cubicBezTo>
                  <a:pt x="1428577" y="6357347"/>
                  <a:pt x="1409329" y="6328475"/>
                  <a:pt x="1393931" y="6297679"/>
                </a:cubicBezTo>
                <a:cubicBezTo>
                  <a:pt x="1397782" y="6295754"/>
                  <a:pt x="1401630" y="6293830"/>
                  <a:pt x="1405480" y="6291905"/>
                </a:cubicBezTo>
                <a:cubicBezTo>
                  <a:pt x="1407405" y="6289980"/>
                  <a:pt x="1409329" y="6293830"/>
                  <a:pt x="1411254" y="6291905"/>
                </a:cubicBezTo>
                <a:cubicBezTo>
                  <a:pt x="1411254" y="6291905"/>
                  <a:pt x="1409329" y="6289980"/>
                  <a:pt x="1407405" y="6289980"/>
                </a:cubicBezTo>
                <a:cubicBezTo>
                  <a:pt x="1401630" y="6291905"/>
                  <a:pt x="1397782" y="6295754"/>
                  <a:pt x="1392006" y="6297679"/>
                </a:cubicBezTo>
                <a:cubicBezTo>
                  <a:pt x="1384307" y="6280356"/>
                  <a:pt x="1376608" y="6261108"/>
                  <a:pt x="1370834" y="6239935"/>
                </a:cubicBezTo>
                <a:cubicBezTo>
                  <a:pt x="1368909" y="6230311"/>
                  <a:pt x="1363135" y="6209139"/>
                  <a:pt x="1365059" y="6195665"/>
                </a:cubicBezTo>
                <a:cubicBezTo>
                  <a:pt x="1366984" y="6182191"/>
                  <a:pt x="1384307" y="6162944"/>
                  <a:pt x="1392006" y="6145621"/>
                </a:cubicBezTo>
                <a:cubicBezTo>
                  <a:pt x="1401630" y="6126373"/>
                  <a:pt x="1407405" y="6109050"/>
                  <a:pt x="1411254" y="6091727"/>
                </a:cubicBezTo>
                <a:cubicBezTo>
                  <a:pt x="1411254" y="6091727"/>
                  <a:pt x="1413179" y="6089802"/>
                  <a:pt x="1413179" y="6089802"/>
                </a:cubicBezTo>
                <a:close/>
                <a:moveTo>
                  <a:pt x="1946346" y="6084029"/>
                </a:moveTo>
                <a:cubicBezTo>
                  <a:pt x="1950195" y="6084029"/>
                  <a:pt x="1952121" y="6084029"/>
                  <a:pt x="1954045" y="6085953"/>
                </a:cubicBezTo>
                <a:cubicBezTo>
                  <a:pt x="1954045" y="6087878"/>
                  <a:pt x="1954045" y="6087878"/>
                  <a:pt x="1954045" y="6087878"/>
                </a:cubicBezTo>
                <a:cubicBezTo>
                  <a:pt x="1950195" y="6087878"/>
                  <a:pt x="1948271" y="6087878"/>
                  <a:pt x="1946346" y="6087878"/>
                </a:cubicBezTo>
                <a:cubicBezTo>
                  <a:pt x="1946346" y="6085953"/>
                  <a:pt x="1946346" y="6085953"/>
                  <a:pt x="1946346" y="6084029"/>
                </a:cubicBezTo>
                <a:close/>
                <a:moveTo>
                  <a:pt x="1992541" y="6080179"/>
                </a:moveTo>
                <a:cubicBezTo>
                  <a:pt x="1990616" y="6084029"/>
                  <a:pt x="1988692" y="6089803"/>
                  <a:pt x="1986767" y="6093653"/>
                </a:cubicBezTo>
                <a:cubicBezTo>
                  <a:pt x="1986767" y="6091728"/>
                  <a:pt x="1984842" y="6091728"/>
                  <a:pt x="1984842" y="6089803"/>
                </a:cubicBezTo>
                <a:cubicBezTo>
                  <a:pt x="1988692" y="6087878"/>
                  <a:pt x="1988692" y="6084029"/>
                  <a:pt x="1986767" y="6082104"/>
                </a:cubicBezTo>
                <a:cubicBezTo>
                  <a:pt x="1988692" y="6082104"/>
                  <a:pt x="1992541" y="6080179"/>
                  <a:pt x="1992541" y="6080179"/>
                </a:cubicBezTo>
                <a:close/>
                <a:moveTo>
                  <a:pt x="1884752" y="6080178"/>
                </a:moveTo>
                <a:cubicBezTo>
                  <a:pt x="1898226" y="6080178"/>
                  <a:pt x="1917473" y="6082103"/>
                  <a:pt x="1934797" y="6084028"/>
                </a:cubicBezTo>
                <a:cubicBezTo>
                  <a:pt x="1936722" y="6085953"/>
                  <a:pt x="1936722" y="6085953"/>
                  <a:pt x="1936722" y="6087878"/>
                </a:cubicBezTo>
                <a:cubicBezTo>
                  <a:pt x="1927098" y="6087878"/>
                  <a:pt x="1919399" y="6089803"/>
                  <a:pt x="1915548" y="6097502"/>
                </a:cubicBezTo>
                <a:cubicBezTo>
                  <a:pt x="1919399" y="6099427"/>
                  <a:pt x="1923248" y="6101352"/>
                  <a:pt x="1923248" y="6105201"/>
                </a:cubicBezTo>
                <a:cubicBezTo>
                  <a:pt x="1927098" y="6105201"/>
                  <a:pt x="1930948" y="6103277"/>
                  <a:pt x="1934797" y="6101352"/>
                </a:cubicBezTo>
                <a:cubicBezTo>
                  <a:pt x="1932874" y="6107126"/>
                  <a:pt x="1936722" y="6110976"/>
                  <a:pt x="1940572" y="6109051"/>
                </a:cubicBezTo>
                <a:cubicBezTo>
                  <a:pt x="1940572" y="6118675"/>
                  <a:pt x="1944422" y="6130224"/>
                  <a:pt x="1942497" y="6137923"/>
                </a:cubicBezTo>
                <a:cubicBezTo>
                  <a:pt x="1932874" y="6139847"/>
                  <a:pt x="1923248" y="6134073"/>
                  <a:pt x="1911699" y="6130224"/>
                </a:cubicBezTo>
                <a:cubicBezTo>
                  <a:pt x="1902075" y="6128299"/>
                  <a:pt x="1894376" y="6124449"/>
                  <a:pt x="1888602" y="6120600"/>
                </a:cubicBezTo>
                <a:cubicBezTo>
                  <a:pt x="1888602" y="6109051"/>
                  <a:pt x="1886677" y="6095577"/>
                  <a:pt x="1884752" y="6080178"/>
                </a:cubicBezTo>
                <a:close/>
                <a:moveTo>
                  <a:pt x="1422803" y="6074405"/>
                </a:moveTo>
                <a:cubicBezTo>
                  <a:pt x="1424728" y="6074405"/>
                  <a:pt x="1426653" y="6074405"/>
                  <a:pt x="1426653" y="6076329"/>
                </a:cubicBezTo>
                <a:cubicBezTo>
                  <a:pt x="1420878" y="6076329"/>
                  <a:pt x="1420878" y="6082104"/>
                  <a:pt x="1417028" y="6084029"/>
                </a:cubicBezTo>
                <a:cubicBezTo>
                  <a:pt x="1418953" y="6080179"/>
                  <a:pt x="1420878" y="6078254"/>
                  <a:pt x="1422803" y="6074405"/>
                </a:cubicBezTo>
                <a:close/>
                <a:moveTo>
                  <a:pt x="2007939" y="6074404"/>
                </a:moveTo>
                <a:cubicBezTo>
                  <a:pt x="2007939" y="6074404"/>
                  <a:pt x="2009863" y="6074404"/>
                  <a:pt x="2009863" y="6074404"/>
                </a:cubicBezTo>
                <a:cubicBezTo>
                  <a:pt x="2011787" y="6076329"/>
                  <a:pt x="2013713" y="6078254"/>
                  <a:pt x="2013713" y="6078254"/>
                </a:cubicBezTo>
                <a:cubicBezTo>
                  <a:pt x="2013713" y="6084029"/>
                  <a:pt x="2013713" y="6087878"/>
                  <a:pt x="2015638" y="6091728"/>
                </a:cubicBezTo>
                <a:cubicBezTo>
                  <a:pt x="2013713" y="6097502"/>
                  <a:pt x="2009863" y="6103277"/>
                  <a:pt x="2006013" y="6107126"/>
                </a:cubicBezTo>
                <a:cubicBezTo>
                  <a:pt x="2004088" y="6107126"/>
                  <a:pt x="2000239" y="6105201"/>
                  <a:pt x="1998314" y="6103277"/>
                </a:cubicBezTo>
                <a:cubicBezTo>
                  <a:pt x="2002163" y="6093653"/>
                  <a:pt x="2004088" y="6084029"/>
                  <a:pt x="2007939" y="6074404"/>
                </a:cubicBezTo>
                <a:close/>
                <a:moveTo>
                  <a:pt x="1844331" y="6072479"/>
                </a:moveTo>
                <a:cubicBezTo>
                  <a:pt x="1853955" y="6072479"/>
                  <a:pt x="1863579" y="6072479"/>
                  <a:pt x="1873204" y="6074405"/>
                </a:cubicBezTo>
                <a:cubicBezTo>
                  <a:pt x="1875128" y="6076329"/>
                  <a:pt x="1877054" y="6076329"/>
                  <a:pt x="1878978" y="6076329"/>
                </a:cubicBezTo>
                <a:cubicBezTo>
                  <a:pt x="1878978" y="6078254"/>
                  <a:pt x="1878978" y="6080179"/>
                  <a:pt x="1878978" y="6082104"/>
                </a:cubicBezTo>
                <a:cubicBezTo>
                  <a:pt x="1877054" y="6084029"/>
                  <a:pt x="1875128" y="6085953"/>
                  <a:pt x="1873204" y="6087878"/>
                </a:cubicBezTo>
                <a:cubicBezTo>
                  <a:pt x="1869353" y="6085953"/>
                  <a:pt x="1871278" y="6080179"/>
                  <a:pt x="1865504" y="6080179"/>
                </a:cubicBezTo>
                <a:cubicBezTo>
                  <a:pt x="1861654" y="6080179"/>
                  <a:pt x="1863579" y="6085953"/>
                  <a:pt x="1863579" y="6085953"/>
                </a:cubicBezTo>
                <a:cubicBezTo>
                  <a:pt x="1859729" y="6087878"/>
                  <a:pt x="1855880" y="6091728"/>
                  <a:pt x="1853955" y="6095577"/>
                </a:cubicBezTo>
                <a:cubicBezTo>
                  <a:pt x="1857805" y="6099427"/>
                  <a:pt x="1867428" y="6099427"/>
                  <a:pt x="1871278" y="6105201"/>
                </a:cubicBezTo>
                <a:cubicBezTo>
                  <a:pt x="1869353" y="6107126"/>
                  <a:pt x="1867428" y="6103277"/>
                  <a:pt x="1863579" y="6105201"/>
                </a:cubicBezTo>
                <a:cubicBezTo>
                  <a:pt x="1857805" y="6101352"/>
                  <a:pt x="1852031" y="6097502"/>
                  <a:pt x="1844331" y="6093653"/>
                </a:cubicBezTo>
                <a:cubicBezTo>
                  <a:pt x="1844331" y="6085953"/>
                  <a:pt x="1844331" y="6080179"/>
                  <a:pt x="1844331" y="6072479"/>
                </a:cubicBezTo>
                <a:close/>
                <a:moveTo>
                  <a:pt x="1522893" y="6064781"/>
                </a:moveTo>
                <a:cubicBezTo>
                  <a:pt x="1526742" y="6068630"/>
                  <a:pt x="1530592" y="6076329"/>
                  <a:pt x="1528667" y="6080179"/>
                </a:cubicBezTo>
                <a:cubicBezTo>
                  <a:pt x="1528667" y="6076329"/>
                  <a:pt x="1524818" y="6076329"/>
                  <a:pt x="1520968" y="6074405"/>
                </a:cubicBezTo>
                <a:cubicBezTo>
                  <a:pt x="1520968" y="6070555"/>
                  <a:pt x="1520968" y="6068630"/>
                  <a:pt x="1522893" y="6064781"/>
                </a:cubicBezTo>
                <a:close/>
                <a:moveTo>
                  <a:pt x="1428578" y="6064781"/>
                </a:moveTo>
                <a:cubicBezTo>
                  <a:pt x="1430502" y="6066705"/>
                  <a:pt x="1434352" y="6068630"/>
                  <a:pt x="1432427" y="6070555"/>
                </a:cubicBezTo>
                <a:cubicBezTo>
                  <a:pt x="1428578" y="6070555"/>
                  <a:pt x="1428578" y="6068630"/>
                  <a:pt x="1424728" y="6068630"/>
                </a:cubicBezTo>
                <a:cubicBezTo>
                  <a:pt x="1424728" y="6066705"/>
                  <a:pt x="1426653" y="6064781"/>
                  <a:pt x="1428578" y="6064781"/>
                </a:cubicBezTo>
                <a:close/>
                <a:moveTo>
                  <a:pt x="1366984" y="6064780"/>
                </a:moveTo>
                <a:cubicBezTo>
                  <a:pt x="1376609" y="6066704"/>
                  <a:pt x="1388158" y="6064780"/>
                  <a:pt x="1395857" y="6068629"/>
                </a:cubicBezTo>
                <a:cubicBezTo>
                  <a:pt x="1393932" y="6070554"/>
                  <a:pt x="1392007" y="6074404"/>
                  <a:pt x="1390083" y="6078253"/>
                </a:cubicBezTo>
                <a:cubicBezTo>
                  <a:pt x="1388158" y="6076328"/>
                  <a:pt x="1386233" y="6074404"/>
                  <a:pt x="1382383" y="6074404"/>
                </a:cubicBezTo>
                <a:cubicBezTo>
                  <a:pt x="1380459" y="6082103"/>
                  <a:pt x="1380459" y="6093652"/>
                  <a:pt x="1380459" y="6105200"/>
                </a:cubicBezTo>
                <a:cubicBezTo>
                  <a:pt x="1380459" y="6107125"/>
                  <a:pt x="1380459" y="6110975"/>
                  <a:pt x="1380459" y="6112900"/>
                </a:cubicBezTo>
                <a:cubicBezTo>
                  <a:pt x="1382383" y="6139847"/>
                  <a:pt x="1382383" y="6166793"/>
                  <a:pt x="1357360" y="6168718"/>
                </a:cubicBezTo>
                <a:cubicBezTo>
                  <a:pt x="1355435" y="6159094"/>
                  <a:pt x="1353511" y="6149470"/>
                  <a:pt x="1351586" y="6139847"/>
                </a:cubicBezTo>
                <a:cubicBezTo>
                  <a:pt x="1353511" y="6122524"/>
                  <a:pt x="1357360" y="6105200"/>
                  <a:pt x="1359286" y="6093652"/>
                </a:cubicBezTo>
                <a:cubicBezTo>
                  <a:pt x="1361210" y="6084028"/>
                  <a:pt x="1363136" y="6074404"/>
                  <a:pt x="1366984" y="6064780"/>
                </a:cubicBezTo>
                <a:close/>
                <a:moveTo>
                  <a:pt x="1977142" y="6055157"/>
                </a:moveTo>
                <a:cubicBezTo>
                  <a:pt x="1977142" y="6059006"/>
                  <a:pt x="1977142" y="6060931"/>
                  <a:pt x="1977142" y="6064781"/>
                </a:cubicBezTo>
                <a:cubicBezTo>
                  <a:pt x="1965593" y="6064781"/>
                  <a:pt x="1954044" y="6064781"/>
                  <a:pt x="1944420" y="6064781"/>
                </a:cubicBezTo>
                <a:cubicBezTo>
                  <a:pt x="1957895" y="6062856"/>
                  <a:pt x="1967517" y="6059006"/>
                  <a:pt x="1977142" y="6055157"/>
                </a:cubicBezTo>
                <a:close/>
                <a:moveTo>
                  <a:pt x="1877054" y="6049382"/>
                </a:moveTo>
                <a:cubicBezTo>
                  <a:pt x="1877054" y="6051307"/>
                  <a:pt x="1877054" y="6053232"/>
                  <a:pt x="1877054" y="6055157"/>
                </a:cubicBezTo>
                <a:cubicBezTo>
                  <a:pt x="1873203" y="6053232"/>
                  <a:pt x="1869354" y="6051307"/>
                  <a:pt x="1867429" y="6051307"/>
                </a:cubicBezTo>
                <a:cubicBezTo>
                  <a:pt x="1873203" y="6051307"/>
                  <a:pt x="1873203" y="6049382"/>
                  <a:pt x="1877054" y="6049382"/>
                </a:cubicBezTo>
                <a:close/>
                <a:moveTo>
                  <a:pt x="1488245" y="6035908"/>
                </a:moveTo>
                <a:cubicBezTo>
                  <a:pt x="1494020" y="6047457"/>
                  <a:pt x="1507493" y="6049382"/>
                  <a:pt x="1522893" y="6053232"/>
                </a:cubicBezTo>
                <a:cubicBezTo>
                  <a:pt x="1519043" y="6057081"/>
                  <a:pt x="1522893" y="6066705"/>
                  <a:pt x="1519043" y="6072480"/>
                </a:cubicBezTo>
                <a:cubicBezTo>
                  <a:pt x="1515194" y="6068630"/>
                  <a:pt x="1509418" y="6066705"/>
                  <a:pt x="1501719" y="6064781"/>
                </a:cubicBezTo>
                <a:cubicBezTo>
                  <a:pt x="1501719" y="6062856"/>
                  <a:pt x="1501719" y="6057081"/>
                  <a:pt x="1497869" y="6055157"/>
                </a:cubicBezTo>
                <a:cubicBezTo>
                  <a:pt x="1494020" y="6053232"/>
                  <a:pt x="1492095" y="6059006"/>
                  <a:pt x="1490171" y="6057081"/>
                </a:cubicBezTo>
                <a:cubicBezTo>
                  <a:pt x="1488245" y="6055157"/>
                  <a:pt x="1495945" y="6055157"/>
                  <a:pt x="1494020" y="6051307"/>
                </a:cubicBezTo>
                <a:cubicBezTo>
                  <a:pt x="1492095" y="6047457"/>
                  <a:pt x="1486321" y="6047457"/>
                  <a:pt x="1482471" y="6045533"/>
                </a:cubicBezTo>
                <a:cubicBezTo>
                  <a:pt x="1484396" y="6043608"/>
                  <a:pt x="1486321" y="6039758"/>
                  <a:pt x="1488245" y="6035908"/>
                </a:cubicBezTo>
                <a:close/>
                <a:moveTo>
                  <a:pt x="1465149" y="6030134"/>
                </a:moveTo>
                <a:cubicBezTo>
                  <a:pt x="1468997" y="6037833"/>
                  <a:pt x="1472848" y="6041683"/>
                  <a:pt x="1476697" y="6047457"/>
                </a:cubicBezTo>
                <a:cubicBezTo>
                  <a:pt x="1474773" y="6047457"/>
                  <a:pt x="1472848" y="6047457"/>
                  <a:pt x="1472848" y="6051307"/>
                </a:cubicBezTo>
                <a:cubicBezTo>
                  <a:pt x="1470923" y="6051307"/>
                  <a:pt x="1470923" y="6047457"/>
                  <a:pt x="1467072" y="6049382"/>
                </a:cubicBezTo>
                <a:cubicBezTo>
                  <a:pt x="1467072" y="6045533"/>
                  <a:pt x="1465149" y="6043608"/>
                  <a:pt x="1461298" y="6043608"/>
                </a:cubicBezTo>
                <a:cubicBezTo>
                  <a:pt x="1459373" y="6037833"/>
                  <a:pt x="1459373" y="6032059"/>
                  <a:pt x="1465149" y="6030134"/>
                </a:cubicBezTo>
                <a:close/>
                <a:moveTo>
                  <a:pt x="1499794" y="6028210"/>
                </a:moveTo>
                <a:cubicBezTo>
                  <a:pt x="1501719" y="6033985"/>
                  <a:pt x="1505569" y="6037834"/>
                  <a:pt x="1503644" y="6041684"/>
                </a:cubicBezTo>
                <a:cubicBezTo>
                  <a:pt x="1501719" y="6037834"/>
                  <a:pt x="1495945" y="6035910"/>
                  <a:pt x="1490171" y="6035910"/>
                </a:cubicBezTo>
                <a:cubicBezTo>
                  <a:pt x="1492095" y="6032060"/>
                  <a:pt x="1495945" y="6028210"/>
                  <a:pt x="1499794" y="6028210"/>
                </a:cubicBezTo>
                <a:close/>
                <a:moveTo>
                  <a:pt x="1384306" y="6026285"/>
                </a:moveTo>
                <a:cubicBezTo>
                  <a:pt x="1384306" y="6028209"/>
                  <a:pt x="1386231" y="6030134"/>
                  <a:pt x="1388157" y="6032059"/>
                </a:cubicBezTo>
                <a:cubicBezTo>
                  <a:pt x="1390081" y="6032059"/>
                  <a:pt x="1390081" y="6033984"/>
                  <a:pt x="1390081" y="6035909"/>
                </a:cubicBezTo>
                <a:cubicBezTo>
                  <a:pt x="1386231" y="6033984"/>
                  <a:pt x="1382382" y="6032059"/>
                  <a:pt x="1380458" y="6032059"/>
                </a:cubicBezTo>
                <a:cubicBezTo>
                  <a:pt x="1380458" y="6032059"/>
                  <a:pt x="1380458" y="6030134"/>
                  <a:pt x="1380458" y="6030134"/>
                </a:cubicBezTo>
                <a:cubicBezTo>
                  <a:pt x="1380458" y="6028209"/>
                  <a:pt x="1382382" y="6026285"/>
                  <a:pt x="1384306" y="6026285"/>
                </a:cubicBezTo>
                <a:close/>
                <a:moveTo>
                  <a:pt x="1944420" y="6024360"/>
                </a:moveTo>
                <a:cubicBezTo>
                  <a:pt x="1954044" y="6028209"/>
                  <a:pt x="1963669" y="6028209"/>
                  <a:pt x="1975217" y="6030134"/>
                </a:cubicBezTo>
                <a:cubicBezTo>
                  <a:pt x="1975217" y="6032059"/>
                  <a:pt x="1975217" y="6032059"/>
                  <a:pt x="1975217" y="6033984"/>
                </a:cubicBezTo>
                <a:cubicBezTo>
                  <a:pt x="1969443" y="6043608"/>
                  <a:pt x="1955969" y="6047457"/>
                  <a:pt x="1942495" y="6051307"/>
                </a:cubicBezTo>
                <a:cubicBezTo>
                  <a:pt x="1942495" y="6047457"/>
                  <a:pt x="1942495" y="6041683"/>
                  <a:pt x="1942495" y="6035909"/>
                </a:cubicBezTo>
                <a:cubicBezTo>
                  <a:pt x="1942495" y="6033984"/>
                  <a:pt x="1946345" y="6033984"/>
                  <a:pt x="1946345" y="6032059"/>
                </a:cubicBezTo>
                <a:cubicBezTo>
                  <a:pt x="1944420" y="6030134"/>
                  <a:pt x="1940570" y="6026285"/>
                  <a:pt x="1944420" y="6024360"/>
                </a:cubicBezTo>
                <a:close/>
                <a:moveTo>
                  <a:pt x="1461299" y="6022435"/>
                </a:moveTo>
                <a:lnTo>
                  <a:pt x="1461299" y="6024360"/>
                </a:lnTo>
                <a:cubicBezTo>
                  <a:pt x="1459375" y="6024360"/>
                  <a:pt x="1459375" y="6024360"/>
                  <a:pt x="1457450" y="6024360"/>
                </a:cubicBezTo>
                <a:close/>
                <a:moveTo>
                  <a:pt x="1538291" y="6020511"/>
                </a:moveTo>
                <a:cubicBezTo>
                  <a:pt x="1540215" y="6024361"/>
                  <a:pt x="1540215" y="6028210"/>
                  <a:pt x="1542140" y="6032060"/>
                </a:cubicBezTo>
                <a:cubicBezTo>
                  <a:pt x="1540215" y="6032060"/>
                  <a:pt x="1538291" y="6033985"/>
                  <a:pt x="1536366" y="6032060"/>
                </a:cubicBezTo>
                <a:cubicBezTo>
                  <a:pt x="1536366" y="6030135"/>
                  <a:pt x="1538291" y="6024361"/>
                  <a:pt x="1538291" y="6020511"/>
                </a:cubicBezTo>
                <a:close/>
                <a:moveTo>
                  <a:pt x="1413179" y="6016661"/>
                </a:moveTo>
                <a:cubicBezTo>
                  <a:pt x="1411255" y="6018585"/>
                  <a:pt x="1413179" y="6020510"/>
                  <a:pt x="1413179" y="6022435"/>
                </a:cubicBezTo>
                <a:cubicBezTo>
                  <a:pt x="1411255" y="6020510"/>
                  <a:pt x="1411255" y="6020510"/>
                  <a:pt x="1409330" y="6018585"/>
                </a:cubicBezTo>
                <a:cubicBezTo>
                  <a:pt x="1411255" y="6018585"/>
                  <a:pt x="1411255" y="6014736"/>
                  <a:pt x="1413179" y="6016661"/>
                </a:cubicBezTo>
                <a:close/>
                <a:moveTo>
                  <a:pt x="1863581" y="6005111"/>
                </a:moveTo>
                <a:cubicBezTo>
                  <a:pt x="1867430" y="6007037"/>
                  <a:pt x="1871279" y="6010886"/>
                  <a:pt x="1873204" y="6014736"/>
                </a:cubicBezTo>
                <a:cubicBezTo>
                  <a:pt x="1873204" y="6020510"/>
                  <a:pt x="1875129" y="6026285"/>
                  <a:pt x="1875129" y="6033984"/>
                </a:cubicBezTo>
                <a:cubicBezTo>
                  <a:pt x="1869355" y="6037833"/>
                  <a:pt x="1863581" y="6039758"/>
                  <a:pt x="1853955" y="6037833"/>
                </a:cubicBezTo>
                <a:cubicBezTo>
                  <a:pt x="1852031" y="6039758"/>
                  <a:pt x="1848181" y="6041683"/>
                  <a:pt x="1848181" y="6041683"/>
                </a:cubicBezTo>
                <a:cubicBezTo>
                  <a:pt x="1848181" y="6032059"/>
                  <a:pt x="1850106" y="6022435"/>
                  <a:pt x="1852031" y="6012811"/>
                </a:cubicBezTo>
                <a:cubicBezTo>
                  <a:pt x="1855880" y="6010886"/>
                  <a:pt x="1859730" y="6007037"/>
                  <a:pt x="1863581" y="6005111"/>
                </a:cubicBezTo>
                <a:close/>
                <a:moveTo>
                  <a:pt x="2002164" y="5997413"/>
                </a:moveTo>
                <a:cubicBezTo>
                  <a:pt x="2002164" y="5999337"/>
                  <a:pt x="2004089" y="5999337"/>
                  <a:pt x="2004089" y="5999337"/>
                </a:cubicBezTo>
                <a:cubicBezTo>
                  <a:pt x="2004089" y="6005112"/>
                  <a:pt x="2002164" y="6010886"/>
                  <a:pt x="2002164" y="6016661"/>
                </a:cubicBezTo>
                <a:cubicBezTo>
                  <a:pt x="1998314" y="6016661"/>
                  <a:pt x="1996390" y="6014736"/>
                  <a:pt x="1994466" y="6014736"/>
                </a:cubicBezTo>
                <a:cubicBezTo>
                  <a:pt x="1994466" y="6008961"/>
                  <a:pt x="1996390" y="6005112"/>
                  <a:pt x="2000239" y="6001262"/>
                </a:cubicBezTo>
                <a:cubicBezTo>
                  <a:pt x="2000239" y="6001262"/>
                  <a:pt x="1998314" y="5999337"/>
                  <a:pt x="1998314" y="5999337"/>
                </a:cubicBezTo>
                <a:cubicBezTo>
                  <a:pt x="2000239" y="5999337"/>
                  <a:pt x="2000239" y="5997413"/>
                  <a:pt x="2002164" y="5997413"/>
                </a:cubicBezTo>
                <a:close/>
                <a:moveTo>
                  <a:pt x="1875128" y="5995489"/>
                </a:moveTo>
                <a:cubicBezTo>
                  <a:pt x="1873203" y="5999338"/>
                  <a:pt x="1873203" y="6003188"/>
                  <a:pt x="1873203" y="6007038"/>
                </a:cubicBezTo>
                <a:cubicBezTo>
                  <a:pt x="1869354" y="6007038"/>
                  <a:pt x="1867429" y="6007038"/>
                  <a:pt x="1865504" y="6005113"/>
                </a:cubicBezTo>
                <a:cubicBezTo>
                  <a:pt x="1869354" y="6001263"/>
                  <a:pt x="1871278" y="5999338"/>
                  <a:pt x="1875128" y="5995489"/>
                </a:cubicBezTo>
                <a:close/>
                <a:moveTo>
                  <a:pt x="1451674" y="5995489"/>
                </a:moveTo>
                <a:cubicBezTo>
                  <a:pt x="1453599" y="6001263"/>
                  <a:pt x="1455525" y="6007038"/>
                  <a:pt x="1455525" y="6010887"/>
                </a:cubicBezTo>
                <a:cubicBezTo>
                  <a:pt x="1453599" y="6010887"/>
                  <a:pt x="1451674" y="6012812"/>
                  <a:pt x="1447826" y="6012812"/>
                </a:cubicBezTo>
                <a:cubicBezTo>
                  <a:pt x="1447826" y="6010887"/>
                  <a:pt x="1445900" y="6008962"/>
                  <a:pt x="1445900" y="6007038"/>
                </a:cubicBezTo>
                <a:cubicBezTo>
                  <a:pt x="1445900" y="6003188"/>
                  <a:pt x="1449749" y="5999338"/>
                  <a:pt x="1451674" y="5995489"/>
                </a:cubicBezTo>
                <a:close/>
                <a:moveTo>
                  <a:pt x="1501719" y="5993564"/>
                </a:moveTo>
                <a:cubicBezTo>
                  <a:pt x="1505569" y="6001263"/>
                  <a:pt x="1509418" y="6008962"/>
                  <a:pt x="1511344" y="6016662"/>
                </a:cubicBezTo>
                <a:cubicBezTo>
                  <a:pt x="1509418" y="6016662"/>
                  <a:pt x="1507495" y="6016662"/>
                  <a:pt x="1507495" y="6016662"/>
                </a:cubicBezTo>
                <a:cubicBezTo>
                  <a:pt x="1505569" y="6012812"/>
                  <a:pt x="1503644" y="6008962"/>
                  <a:pt x="1499794" y="6008962"/>
                </a:cubicBezTo>
                <a:cubicBezTo>
                  <a:pt x="1497870" y="6010887"/>
                  <a:pt x="1497870" y="6010887"/>
                  <a:pt x="1497870" y="6012812"/>
                </a:cubicBezTo>
                <a:cubicBezTo>
                  <a:pt x="1494020" y="6012812"/>
                  <a:pt x="1488246" y="6016662"/>
                  <a:pt x="1482471" y="6014737"/>
                </a:cubicBezTo>
                <a:cubicBezTo>
                  <a:pt x="1482471" y="6010887"/>
                  <a:pt x="1480547" y="6008962"/>
                  <a:pt x="1482471" y="6010887"/>
                </a:cubicBezTo>
                <a:cubicBezTo>
                  <a:pt x="1482471" y="6008962"/>
                  <a:pt x="1482471" y="6007038"/>
                  <a:pt x="1484396" y="6005113"/>
                </a:cubicBezTo>
                <a:cubicBezTo>
                  <a:pt x="1484396" y="6003188"/>
                  <a:pt x="1484396" y="6003188"/>
                  <a:pt x="1484396" y="6003188"/>
                </a:cubicBezTo>
                <a:cubicBezTo>
                  <a:pt x="1488246" y="5997414"/>
                  <a:pt x="1495945" y="5997414"/>
                  <a:pt x="1501719" y="5993564"/>
                </a:cubicBezTo>
                <a:close/>
                <a:moveTo>
                  <a:pt x="1472848" y="5989714"/>
                </a:moveTo>
                <a:cubicBezTo>
                  <a:pt x="1474773" y="5989714"/>
                  <a:pt x="1474773" y="5989714"/>
                  <a:pt x="1476698" y="5989714"/>
                </a:cubicBezTo>
                <a:cubicBezTo>
                  <a:pt x="1476698" y="5989714"/>
                  <a:pt x="1474773" y="5991639"/>
                  <a:pt x="1474773" y="5993564"/>
                </a:cubicBezTo>
                <a:cubicBezTo>
                  <a:pt x="1472848" y="5991639"/>
                  <a:pt x="1472848" y="5991639"/>
                  <a:pt x="1472848" y="5989714"/>
                </a:cubicBezTo>
                <a:close/>
                <a:moveTo>
                  <a:pt x="1407404" y="5987789"/>
                </a:moveTo>
                <a:cubicBezTo>
                  <a:pt x="1411254" y="5987789"/>
                  <a:pt x="1413180" y="5989713"/>
                  <a:pt x="1417029" y="5989713"/>
                </a:cubicBezTo>
                <a:cubicBezTo>
                  <a:pt x="1417029" y="5997413"/>
                  <a:pt x="1417029" y="6005112"/>
                  <a:pt x="1413180" y="6010886"/>
                </a:cubicBezTo>
                <a:cubicBezTo>
                  <a:pt x="1405479" y="6007037"/>
                  <a:pt x="1405479" y="5997413"/>
                  <a:pt x="1407404" y="5987789"/>
                </a:cubicBezTo>
                <a:close/>
                <a:moveTo>
                  <a:pt x="1948270" y="5982014"/>
                </a:moveTo>
                <a:cubicBezTo>
                  <a:pt x="1959819" y="5985865"/>
                  <a:pt x="1973292" y="5989714"/>
                  <a:pt x="1982918" y="5995489"/>
                </a:cubicBezTo>
                <a:cubicBezTo>
                  <a:pt x="1980992" y="6001263"/>
                  <a:pt x="1980992" y="6007038"/>
                  <a:pt x="1979068" y="6012812"/>
                </a:cubicBezTo>
                <a:cubicBezTo>
                  <a:pt x="1967518" y="6010887"/>
                  <a:pt x="1955969" y="6012812"/>
                  <a:pt x="1946345" y="6014737"/>
                </a:cubicBezTo>
                <a:cubicBezTo>
                  <a:pt x="1944420" y="6008962"/>
                  <a:pt x="1946345" y="5999338"/>
                  <a:pt x="1948270" y="5993564"/>
                </a:cubicBezTo>
                <a:cubicBezTo>
                  <a:pt x="1950195" y="5991639"/>
                  <a:pt x="1952121" y="5989714"/>
                  <a:pt x="1957895" y="5987790"/>
                </a:cubicBezTo>
                <a:cubicBezTo>
                  <a:pt x="1954044" y="5985865"/>
                  <a:pt x="1952121" y="5987790"/>
                  <a:pt x="1948270" y="5987790"/>
                </a:cubicBezTo>
                <a:cubicBezTo>
                  <a:pt x="1948270" y="5985865"/>
                  <a:pt x="1948270" y="5983940"/>
                  <a:pt x="1948270" y="5982014"/>
                </a:cubicBezTo>
                <a:close/>
                <a:moveTo>
                  <a:pt x="1393931" y="5978166"/>
                </a:moveTo>
                <a:cubicBezTo>
                  <a:pt x="1393931" y="5978166"/>
                  <a:pt x="1395856" y="5980090"/>
                  <a:pt x="1395856" y="5980090"/>
                </a:cubicBezTo>
                <a:cubicBezTo>
                  <a:pt x="1393931" y="5987790"/>
                  <a:pt x="1401630" y="5993564"/>
                  <a:pt x="1403556" y="5999338"/>
                </a:cubicBezTo>
                <a:cubicBezTo>
                  <a:pt x="1401630" y="5999338"/>
                  <a:pt x="1401630" y="5997414"/>
                  <a:pt x="1399705" y="5999338"/>
                </a:cubicBezTo>
                <a:cubicBezTo>
                  <a:pt x="1399705" y="6001263"/>
                  <a:pt x="1397782" y="6001263"/>
                  <a:pt x="1397782" y="6003188"/>
                </a:cubicBezTo>
                <a:cubicBezTo>
                  <a:pt x="1395856" y="5999338"/>
                  <a:pt x="1393931" y="5993564"/>
                  <a:pt x="1393931" y="5989714"/>
                </a:cubicBezTo>
                <a:cubicBezTo>
                  <a:pt x="1393931" y="5985865"/>
                  <a:pt x="1393931" y="5982015"/>
                  <a:pt x="1393931" y="5978166"/>
                </a:cubicBezTo>
                <a:close/>
                <a:moveTo>
                  <a:pt x="1875129" y="5972391"/>
                </a:moveTo>
                <a:cubicBezTo>
                  <a:pt x="1875129" y="5974316"/>
                  <a:pt x="1875129" y="5976241"/>
                  <a:pt x="1875129" y="5978166"/>
                </a:cubicBezTo>
                <a:cubicBezTo>
                  <a:pt x="1869355" y="5985865"/>
                  <a:pt x="1863579" y="5993564"/>
                  <a:pt x="1853955" y="5997414"/>
                </a:cubicBezTo>
                <a:cubicBezTo>
                  <a:pt x="1853955" y="5989714"/>
                  <a:pt x="1852031" y="5982015"/>
                  <a:pt x="1850106" y="5976241"/>
                </a:cubicBezTo>
                <a:cubicBezTo>
                  <a:pt x="1857805" y="5972391"/>
                  <a:pt x="1865505" y="5972391"/>
                  <a:pt x="1875129" y="5972391"/>
                </a:cubicBezTo>
                <a:close/>
                <a:moveTo>
                  <a:pt x="1927098" y="5968541"/>
                </a:moveTo>
                <a:cubicBezTo>
                  <a:pt x="1929022" y="5970465"/>
                  <a:pt x="1932872" y="5974315"/>
                  <a:pt x="1936722" y="5976240"/>
                </a:cubicBezTo>
                <a:cubicBezTo>
                  <a:pt x="1938646" y="5989713"/>
                  <a:pt x="1936722" y="6003186"/>
                  <a:pt x="1934797" y="6018585"/>
                </a:cubicBezTo>
                <a:cubicBezTo>
                  <a:pt x="1932872" y="6020509"/>
                  <a:pt x="1929022" y="6020509"/>
                  <a:pt x="1929022" y="6022434"/>
                </a:cubicBezTo>
                <a:cubicBezTo>
                  <a:pt x="1929022" y="6024359"/>
                  <a:pt x="1930947" y="6026284"/>
                  <a:pt x="1932872" y="6028208"/>
                </a:cubicBezTo>
                <a:cubicBezTo>
                  <a:pt x="1929022" y="6035908"/>
                  <a:pt x="1932872" y="6045532"/>
                  <a:pt x="1932872" y="6055156"/>
                </a:cubicBezTo>
                <a:cubicBezTo>
                  <a:pt x="1927098" y="6057080"/>
                  <a:pt x="1921322" y="6060930"/>
                  <a:pt x="1917473" y="6066704"/>
                </a:cubicBezTo>
                <a:cubicBezTo>
                  <a:pt x="1907849" y="6062855"/>
                  <a:pt x="1896300" y="6060930"/>
                  <a:pt x="1886676" y="6055156"/>
                </a:cubicBezTo>
                <a:cubicBezTo>
                  <a:pt x="1886676" y="6053231"/>
                  <a:pt x="1886676" y="6051306"/>
                  <a:pt x="1886676" y="6049381"/>
                </a:cubicBezTo>
                <a:cubicBezTo>
                  <a:pt x="1886676" y="6047456"/>
                  <a:pt x="1882826" y="6047456"/>
                  <a:pt x="1882826" y="6045532"/>
                </a:cubicBezTo>
                <a:cubicBezTo>
                  <a:pt x="1896300" y="6032058"/>
                  <a:pt x="1915548" y="6016660"/>
                  <a:pt x="1923248" y="6003186"/>
                </a:cubicBezTo>
                <a:cubicBezTo>
                  <a:pt x="1902075" y="5997412"/>
                  <a:pt x="1896300" y="6020509"/>
                  <a:pt x="1880902" y="6032058"/>
                </a:cubicBezTo>
                <a:cubicBezTo>
                  <a:pt x="1878977" y="6026284"/>
                  <a:pt x="1878977" y="6020509"/>
                  <a:pt x="1878977" y="6014735"/>
                </a:cubicBezTo>
                <a:cubicBezTo>
                  <a:pt x="1878977" y="6008961"/>
                  <a:pt x="1878977" y="5997412"/>
                  <a:pt x="1880902" y="5989713"/>
                </a:cubicBezTo>
                <a:cubicBezTo>
                  <a:pt x="1892450" y="5976240"/>
                  <a:pt x="1905924" y="5964691"/>
                  <a:pt x="1927098" y="5968541"/>
                </a:cubicBezTo>
                <a:close/>
                <a:moveTo>
                  <a:pt x="1982916" y="5964692"/>
                </a:moveTo>
                <a:cubicBezTo>
                  <a:pt x="1984841" y="5970466"/>
                  <a:pt x="1988692" y="5976241"/>
                  <a:pt x="1988692" y="5983940"/>
                </a:cubicBezTo>
                <a:cubicBezTo>
                  <a:pt x="1975216" y="5980090"/>
                  <a:pt x="1961743" y="5978166"/>
                  <a:pt x="1952119" y="5970466"/>
                </a:cubicBezTo>
                <a:cubicBezTo>
                  <a:pt x="1955969" y="5970466"/>
                  <a:pt x="1959818" y="5968542"/>
                  <a:pt x="1963669" y="5966617"/>
                </a:cubicBezTo>
                <a:cubicBezTo>
                  <a:pt x="1971367" y="5964692"/>
                  <a:pt x="1977141" y="5964692"/>
                  <a:pt x="1982916" y="5964692"/>
                </a:cubicBezTo>
                <a:close/>
                <a:moveTo>
                  <a:pt x="1519042" y="5962766"/>
                </a:moveTo>
                <a:cubicBezTo>
                  <a:pt x="1522892" y="5972391"/>
                  <a:pt x="1524817" y="5982015"/>
                  <a:pt x="1528667" y="5991639"/>
                </a:cubicBezTo>
                <a:cubicBezTo>
                  <a:pt x="1524817" y="5995489"/>
                  <a:pt x="1522892" y="6003188"/>
                  <a:pt x="1520968" y="6008962"/>
                </a:cubicBezTo>
                <a:cubicBezTo>
                  <a:pt x="1520968" y="6008962"/>
                  <a:pt x="1519042" y="6007037"/>
                  <a:pt x="1519042" y="6007037"/>
                </a:cubicBezTo>
                <a:cubicBezTo>
                  <a:pt x="1515194" y="5993564"/>
                  <a:pt x="1507493" y="5982015"/>
                  <a:pt x="1515194" y="5968542"/>
                </a:cubicBezTo>
                <a:cubicBezTo>
                  <a:pt x="1515194" y="5966617"/>
                  <a:pt x="1511343" y="5968542"/>
                  <a:pt x="1511343" y="5966617"/>
                </a:cubicBezTo>
                <a:cubicBezTo>
                  <a:pt x="1513268" y="5964692"/>
                  <a:pt x="1517117" y="5962766"/>
                  <a:pt x="1519042" y="5962766"/>
                </a:cubicBezTo>
                <a:close/>
                <a:moveTo>
                  <a:pt x="1486322" y="5956992"/>
                </a:moveTo>
                <a:cubicBezTo>
                  <a:pt x="1488247" y="5962767"/>
                  <a:pt x="1492096" y="5966617"/>
                  <a:pt x="1494021" y="5970466"/>
                </a:cubicBezTo>
                <a:cubicBezTo>
                  <a:pt x="1492096" y="5970466"/>
                  <a:pt x="1492096" y="5972391"/>
                  <a:pt x="1490171" y="5972391"/>
                </a:cubicBezTo>
                <a:cubicBezTo>
                  <a:pt x="1490171" y="5972391"/>
                  <a:pt x="1490171" y="5970466"/>
                  <a:pt x="1490171" y="5970466"/>
                </a:cubicBezTo>
                <a:cubicBezTo>
                  <a:pt x="1484397" y="5974316"/>
                  <a:pt x="1482472" y="5980090"/>
                  <a:pt x="1476697" y="5983940"/>
                </a:cubicBezTo>
                <a:cubicBezTo>
                  <a:pt x="1474772" y="5983940"/>
                  <a:pt x="1474772" y="5985865"/>
                  <a:pt x="1470923" y="5985865"/>
                </a:cubicBezTo>
                <a:cubicBezTo>
                  <a:pt x="1468998" y="5982015"/>
                  <a:pt x="1468998" y="5978166"/>
                  <a:pt x="1467073" y="5974316"/>
                </a:cubicBezTo>
                <a:cubicBezTo>
                  <a:pt x="1470923" y="5970466"/>
                  <a:pt x="1470923" y="5966617"/>
                  <a:pt x="1470923" y="5960842"/>
                </a:cubicBezTo>
                <a:cubicBezTo>
                  <a:pt x="1476697" y="5960842"/>
                  <a:pt x="1482472" y="5958918"/>
                  <a:pt x="1486322" y="5956992"/>
                </a:cubicBezTo>
                <a:close/>
                <a:moveTo>
                  <a:pt x="1499795" y="5953143"/>
                </a:moveTo>
                <a:cubicBezTo>
                  <a:pt x="1501721" y="5951218"/>
                  <a:pt x="1503645" y="5955068"/>
                  <a:pt x="1505569" y="5955068"/>
                </a:cubicBezTo>
                <a:cubicBezTo>
                  <a:pt x="1503645" y="5958918"/>
                  <a:pt x="1505569" y="5962767"/>
                  <a:pt x="1501721" y="5964692"/>
                </a:cubicBezTo>
                <a:cubicBezTo>
                  <a:pt x="1501721" y="5960842"/>
                  <a:pt x="1501721" y="5956993"/>
                  <a:pt x="1499795" y="5953143"/>
                </a:cubicBezTo>
                <a:close/>
                <a:moveTo>
                  <a:pt x="1515194" y="5947369"/>
                </a:moveTo>
                <a:cubicBezTo>
                  <a:pt x="1517118" y="5949294"/>
                  <a:pt x="1517118" y="5949294"/>
                  <a:pt x="1517118" y="5951218"/>
                </a:cubicBezTo>
                <a:cubicBezTo>
                  <a:pt x="1515194" y="5953143"/>
                  <a:pt x="1515194" y="5955068"/>
                  <a:pt x="1513269" y="5956993"/>
                </a:cubicBezTo>
                <a:cubicBezTo>
                  <a:pt x="1513269" y="5955068"/>
                  <a:pt x="1515194" y="5953143"/>
                  <a:pt x="1515194" y="5947369"/>
                </a:cubicBezTo>
                <a:close/>
                <a:moveTo>
                  <a:pt x="1411254" y="5943518"/>
                </a:moveTo>
                <a:cubicBezTo>
                  <a:pt x="1415105" y="5951218"/>
                  <a:pt x="1418955" y="5960842"/>
                  <a:pt x="1422804" y="5968542"/>
                </a:cubicBezTo>
                <a:cubicBezTo>
                  <a:pt x="1420879" y="5970466"/>
                  <a:pt x="1420879" y="5974316"/>
                  <a:pt x="1418955" y="5976241"/>
                </a:cubicBezTo>
                <a:cubicBezTo>
                  <a:pt x="1418955" y="5964692"/>
                  <a:pt x="1411254" y="5958918"/>
                  <a:pt x="1409330" y="5949294"/>
                </a:cubicBezTo>
                <a:cubicBezTo>
                  <a:pt x="1409330" y="5949294"/>
                  <a:pt x="1409330" y="5949294"/>
                  <a:pt x="1405481" y="5949294"/>
                </a:cubicBezTo>
                <a:cubicBezTo>
                  <a:pt x="1407406" y="5947369"/>
                  <a:pt x="1409330" y="5945444"/>
                  <a:pt x="1411254" y="5943518"/>
                </a:cubicBezTo>
                <a:close/>
                <a:moveTo>
                  <a:pt x="1332338" y="5943518"/>
                </a:moveTo>
                <a:cubicBezTo>
                  <a:pt x="1340037" y="5951218"/>
                  <a:pt x="1349661" y="5956993"/>
                  <a:pt x="1357361" y="5964692"/>
                </a:cubicBezTo>
                <a:cubicBezTo>
                  <a:pt x="1359286" y="5968542"/>
                  <a:pt x="1361211" y="5974316"/>
                  <a:pt x="1365060" y="5978165"/>
                </a:cubicBezTo>
                <a:cubicBezTo>
                  <a:pt x="1347737" y="5976241"/>
                  <a:pt x="1340037" y="5964692"/>
                  <a:pt x="1332338" y="5943518"/>
                </a:cubicBezTo>
                <a:close/>
                <a:moveTo>
                  <a:pt x="1996391" y="5939670"/>
                </a:moveTo>
                <a:cubicBezTo>
                  <a:pt x="1996391" y="5941594"/>
                  <a:pt x="1996391" y="5941594"/>
                  <a:pt x="1996391" y="5943519"/>
                </a:cubicBezTo>
                <a:cubicBezTo>
                  <a:pt x="1994466" y="5941594"/>
                  <a:pt x="1994466" y="5941594"/>
                  <a:pt x="1992541" y="5941594"/>
                </a:cubicBezTo>
                <a:cubicBezTo>
                  <a:pt x="1992541" y="5941594"/>
                  <a:pt x="1994466" y="5939670"/>
                  <a:pt x="1996391" y="5939670"/>
                </a:cubicBezTo>
                <a:close/>
                <a:moveTo>
                  <a:pt x="2009863" y="5933895"/>
                </a:moveTo>
                <a:cubicBezTo>
                  <a:pt x="2007939" y="5937745"/>
                  <a:pt x="2007939" y="5943519"/>
                  <a:pt x="2007939" y="5949294"/>
                </a:cubicBezTo>
                <a:cubicBezTo>
                  <a:pt x="2007939" y="5951218"/>
                  <a:pt x="2007939" y="5951218"/>
                  <a:pt x="2007939" y="5953143"/>
                </a:cubicBezTo>
                <a:cubicBezTo>
                  <a:pt x="2007939" y="5953143"/>
                  <a:pt x="2006013" y="5953143"/>
                  <a:pt x="2004089" y="5953143"/>
                </a:cubicBezTo>
                <a:cubicBezTo>
                  <a:pt x="2002164" y="5951218"/>
                  <a:pt x="2002164" y="5949294"/>
                  <a:pt x="2000239" y="5947369"/>
                </a:cubicBezTo>
                <a:cubicBezTo>
                  <a:pt x="2002164" y="5943519"/>
                  <a:pt x="2002164" y="5939670"/>
                  <a:pt x="2002164" y="5935820"/>
                </a:cubicBezTo>
                <a:cubicBezTo>
                  <a:pt x="2004089" y="5935820"/>
                  <a:pt x="2007939" y="5933895"/>
                  <a:pt x="2009863" y="5933895"/>
                </a:cubicBezTo>
                <a:close/>
                <a:moveTo>
                  <a:pt x="1936721" y="5930046"/>
                </a:moveTo>
                <a:cubicBezTo>
                  <a:pt x="1936721" y="5933895"/>
                  <a:pt x="1936721" y="5937745"/>
                  <a:pt x="1936721" y="5941594"/>
                </a:cubicBezTo>
                <a:cubicBezTo>
                  <a:pt x="1930947" y="5943519"/>
                  <a:pt x="1927098" y="5943519"/>
                  <a:pt x="1925172" y="5947369"/>
                </a:cubicBezTo>
                <a:cubicBezTo>
                  <a:pt x="1923248" y="5937745"/>
                  <a:pt x="1930947" y="5933895"/>
                  <a:pt x="1936721" y="5930046"/>
                </a:cubicBezTo>
                <a:close/>
                <a:moveTo>
                  <a:pt x="1480547" y="5922346"/>
                </a:moveTo>
                <a:cubicBezTo>
                  <a:pt x="1482472" y="5931970"/>
                  <a:pt x="1486322" y="5937745"/>
                  <a:pt x="1488246" y="5947369"/>
                </a:cubicBezTo>
                <a:cubicBezTo>
                  <a:pt x="1486322" y="5941594"/>
                  <a:pt x="1476697" y="5931970"/>
                  <a:pt x="1480547" y="5922346"/>
                </a:cubicBezTo>
                <a:close/>
                <a:moveTo>
                  <a:pt x="2002165" y="5906947"/>
                </a:moveTo>
                <a:cubicBezTo>
                  <a:pt x="2002165" y="5914647"/>
                  <a:pt x="2000240" y="5922346"/>
                  <a:pt x="1998315" y="5930046"/>
                </a:cubicBezTo>
                <a:cubicBezTo>
                  <a:pt x="1996390" y="5931970"/>
                  <a:pt x="1992541" y="5931970"/>
                  <a:pt x="1988690" y="5931970"/>
                </a:cubicBezTo>
                <a:cubicBezTo>
                  <a:pt x="1982916" y="5933895"/>
                  <a:pt x="1977141" y="5935820"/>
                  <a:pt x="1969443" y="5937745"/>
                </a:cubicBezTo>
                <a:cubicBezTo>
                  <a:pt x="1967518" y="5930046"/>
                  <a:pt x="1965593" y="5924271"/>
                  <a:pt x="1957895" y="5922346"/>
                </a:cubicBezTo>
                <a:cubicBezTo>
                  <a:pt x="1952119" y="5926196"/>
                  <a:pt x="1954044" y="5931970"/>
                  <a:pt x="1955969" y="5937745"/>
                </a:cubicBezTo>
                <a:cubicBezTo>
                  <a:pt x="1954044" y="5935820"/>
                  <a:pt x="1950194" y="5933895"/>
                  <a:pt x="1946345" y="5933895"/>
                </a:cubicBezTo>
                <a:cubicBezTo>
                  <a:pt x="1946345" y="5928121"/>
                  <a:pt x="1946345" y="5922346"/>
                  <a:pt x="1948270" y="5922346"/>
                </a:cubicBezTo>
                <a:cubicBezTo>
                  <a:pt x="1967518" y="5918497"/>
                  <a:pt x="1984841" y="5910798"/>
                  <a:pt x="2002165" y="5906947"/>
                </a:cubicBezTo>
                <a:close/>
                <a:moveTo>
                  <a:pt x="1484396" y="5905022"/>
                </a:moveTo>
                <a:cubicBezTo>
                  <a:pt x="1488245" y="5905022"/>
                  <a:pt x="1494020" y="5906947"/>
                  <a:pt x="1499795" y="5910798"/>
                </a:cubicBezTo>
                <a:cubicBezTo>
                  <a:pt x="1501721" y="5918497"/>
                  <a:pt x="1505570" y="5926196"/>
                  <a:pt x="1507495" y="5933895"/>
                </a:cubicBezTo>
                <a:cubicBezTo>
                  <a:pt x="1507495" y="5933895"/>
                  <a:pt x="1505570" y="5933895"/>
                  <a:pt x="1505570" y="5935820"/>
                </a:cubicBezTo>
                <a:cubicBezTo>
                  <a:pt x="1505570" y="5937745"/>
                  <a:pt x="1505570" y="5939669"/>
                  <a:pt x="1509419" y="5939669"/>
                </a:cubicBezTo>
                <a:cubicBezTo>
                  <a:pt x="1507495" y="5943519"/>
                  <a:pt x="1507495" y="5949293"/>
                  <a:pt x="1505570" y="5951218"/>
                </a:cubicBezTo>
                <a:cubicBezTo>
                  <a:pt x="1507495" y="5945444"/>
                  <a:pt x="1501721" y="5945444"/>
                  <a:pt x="1497869" y="5945444"/>
                </a:cubicBezTo>
                <a:cubicBezTo>
                  <a:pt x="1497869" y="5949293"/>
                  <a:pt x="1501721" y="5949293"/>
                  <a:pt x="1503645" y="5953143"/>
                </a:cubicBezTo>
                <a:cubicBezTo>
                  <a:pt x="1501721" y="5953143"/>
                  <a:pt x="1499795" y="5951218"/>
                  <a:pt x="1497869" y="5951218"/>
                </a:cubicBezTo>
                <a:cubicBezTo>
                  <a:pt x="1497869" y="5947368"/>
                  <a:pt x="1497869" y="5943519"/>
                  <a:pt x="1495945" y="5939669"/>
                </a:cubicBezTo>
                <a:cubicBezTo>
                  <a:pt x="1503645" y="5935820"/>
                  <a:pt x="1497869" y="5920422"/>
                  <a:pt x="1490171" y="5924271"/>
                </a:cubicBezTo>
                <a:cubicBezTo>
                  <a:pt x="1488245" y="5916572"/>
                  <a:pt x="1486321" y="5910798"/>
                  <a:pt x="1484396" y="5905022"/>
                </a:cubicBezTo>
                <a:close/>
                <a:moveTo>
                  <a:pt x="1442050" y="5903097"/>
                </a:moveTo>
                <a:cubicBezTo>
                  <a:pt x="1443975" y="5905022"/>
                  <a:pt x="1445900" y="5905022"/>
                  <a:pt x="1447825" y="5906947"/>
                </a:cubicBezTo>
                <a:cubicBezTo>
                  <a:pt x="1453600" y="5910797"/>
                  <a:pt x="1455525" y="5918496"/>
                  <a:pt x="1459374" y="5924270"/>
                </a:cubicBezTo>
                <a:cubicBezTo>
                  <a:pt x="1451675" y="5922345"/>
                  <a:pt x="1442050" y="5918496"/>
                  <a:pt x="1436276" y="5922345"/>
                </a:cubicBezTo>
                <a:cubicBezTo>
                  <a:pt x="1442050" y="5931969"/>
                  <a:pt x="1457449" y="5928120"/>
                  <a:pt x="1467073" y="5931969"/>
                </a:cubicBezTo>
                <a:cubicBezTo>
                  <a:pt x="1468998" y="5937743"/>
                  <a:pt x="1474772" y="5939668"/>
                  <a:pt x="1474772" y="5945442"/>
                </a:cubicBezTo>
                <a:cubicBezTo>
                  <a:pt x="1468998" y="5945442"/>
                  <a:pt x="1463224" y="5945442"/>
                  <a:pt x="1455525" y="5947367"/>
                </a:cubicBezTo>
                <a:cubicBezTo>
                  <a:pt x="1453600" y="5941593"/>
                  <a:pt x="1451675" y="5939668"/>
                  <a:pt x="1445900" y="5939668"/>
                </a:cubicBezTo>
                <a:cubicBezTo>
                  <a:pt x="1449750" y="5956991"/>
                  <a:pt x="1443975" y="5970464"/>
                  <a:pt x="1438201" y="5983938"/>
                </a:cubicBezTo>
                <a:cubicBezTo>
                  <a:pt x="1436276" y="5978164"/>
                  <a:pt x="1434351" y="5972389"/>
                  <a:pt x="1430502" y="5966615"/>
                </a:cubicBezTo>
                <a:cubicBezTo>
                  <a:pt x="1430502" y="5964690"/>
                  <a:pt x="1430502" y="5960841"/>
                  <a:pt x="1430502" y="5958916"/>
                </a:cubicBezTo>
                <a:cubicBezTo>
                  <a:pt x="1430502" y="5956991"/>
                  <a:pt x="1432426" y="5956991"/>
                  <a:pt x="1432426" y="5953142"/>
                </a:cubicBezTo>
                <a:cubicBezTo>
                  <a:pt x="1430502" y="5953142"/>
                  <a:pt x="1430502" y="5951217"/>
                  <a:pt x="1428577" y="5951217"/>
                </a:cubicBezTo>
                <a:cubicBezTo>
                  <a:pt x="1426652" y="5951217"/>
                  <a:pt x="1424727" y="5953142"/>
                  <a:pt x="1424727" y="5955066"/>
                </a:cubicBezTo>
                <a:cubicBezTo>
                  <a:pt x="1420877" y="5949292"/>
                  <a:pt x="1418953" y="5943518"/>
                  <a:pt x="1415103" y="5935819"/>
                </a:cubicBezTo>
                <a:cubicBezTo>
                  <a:pt x="1426652" y="5926195"/>
                  <a:pt x="1436276" y="5916571"/>
                  <a:pt x="1442050" y="5903097"/>
                </a:cubicBezTo>
                <a:close/>
                <a:moveTo>
                  <a:pt x="2518008" y="5899249"/>
                </a:moveTo>
                <a:cubicBezTo>
                  <a:pt x="2519933" y="5901174"/>
                  <a:pt x="2521857" y="5905023"/>
                  <a:pt x="2521857" y="5906948"/>
                </a:cubicBezTo>
                <a:cubicBezTo>
                  <a:pt x="2516082" y="5912722"/>
                  <a:pt x="2510308" y="5918497"/>
                  <a:pt x="2504533" y="5924271"/>
                </a:cubicBezTo>
                <a:cubicBezTo>
                  <a:pt x="2500684" y="5918497"/>
                  <a:pt x="2494910" y="5916572"/>
                  <a:pt x="2489135" y="5916572"/>
                </a:cubicBezTo>
                <a:cubicBezTo>
                  <a:pt x="2489135" y="5910798"/>
                  <a:pt x="2494910" y="5910798"/>
                  <a:pt x="2491060" y="5906948"/>
                </a:cubicBezTo>
                <a:cubicBezTo>
                  <a:pt x="2494910" y="5908873"/>
                  <a:pt x="2494910" y="5905023"/>
                  <a:pt x="2498759" y="5905023"/>
                </a:cubicBezTo>
                <a:cubicBezTo>
                  <a:pt x="2500684" y="5905023"/>
                  <a:pt x="2502608" y="5908873"/>
                  <a:pt x="2506458" y="5906948"/>
                </a:cubicBezTo>
                <a:cubicBezTo>
                  <a:pt x="2508383" y="5906948"/>
                  <a:pt x="2506458" y="5905023"/>
                  <a:pt x="2506458" y="5903098"/>
                </a:cubicBezTo>
                <a:cubicBezTo>
                  <a:pt x="2508383" y="5903098"/>
                  <a:pt x="2512232" y="5901174"/>
                  <a:pt x="2518008" y="5899249"/>
                </a:cubicBezTo>
                <a:close/>
                <a:moveTo>
                  <a:pt x="2019489" y="5899249"/>
                </a:moveTo>
                <a:cubicBezTo>
                  <a:pt x="2021413" y="5899249"/>
                  <a:pt x="2021413" y="5899249"/>
                  <a:pt x="2021413" y="5903098"/>
                </a:cubicBezTo>
                <a:cubicBezTo>
                  <a:pt x="2021413" y="5903098"/>
                  <a:pt x="2023338" y="5905023"/>
                  <a:pt x="2025263" y="5906948"/>
                </a:cubicBezTo>
                <a:cubicBezTo>
                  <a:pt x="2021413" y="5908873"/>
                  <a:pt x="2017562" y="5916572"/>
                  <a:pt x="2013713" y="5924271"/>
                </a:cubicBezTo>
                <a:cubicBezTo>
                  <a:pt x="2009863" y="5924271"/>
                  <a:pt x="2007939" y="5924271"/>
                  <a:pt x="2004089" y="5926196"/>
                </a:cubicBezTo>
                <a:cubicBezTo>
                  <a:pt x="2006014" y="5914647"/>
                  <a:pt x="2007939" y="5903098"/>
                  <a:pt x="2019489" y="5899249"/>
                </a:cubicBezTo>
                <a:close/>
                <a:moveTo>
                  <a:pt x="1936722" y="5899248"/>
                </a:moveTo>
                <a:cubicBezTo>
                  <a:pt x="1936722" y="5906948"/>
                  <a:pt x="1936722" y="5912722"/>
                  <a:pt x="1936722" y="5920422"/>
                </a:cubicBezTo>
                <a:cubicBezTo>
                  <a:pt x="1915548" y="5924271"/>
                  <a:pt x="1911698" y="5947369"/>
                  <a:pt x="1886676" y="5941594"/>
                </a:cubicBezTo>
                <a:cubicBezTo>
                  <a:pt x="1898225" y="5924271"/>
                  <a:pt x="1915548" y="5908873"/>
                  <a:pt x="1936722" y="5899248"/>
                </a:cubicBezTo>
                <a:close/>
                <a:moveTo>
                  <a:pt x="1334263" y="5899248"/>
                </a:moveTo>
                <a:cubicBezTo>
                  <a:pt x="1349661" y="5910798"/>
                  <a:pt x="1361210" y="5926196"/>
                  <a:pt x="1359285" y="5947369"/>
                </a:cubicBezTo>
                <a:cubicBezTo>
                  <a:pt x="1357360" y="5945444"/>
                  <a:pt x="1355436" y="5943519"/>
                  <a:pt x="1353511" y="5941594"/>
                </a:cubicBezTo>
                <a:cubicBezTo>
                  <a:pt x="1353511" y="5943519"/>
                  <a:pt x="1353511" y="5945444"/>
                  <a:pt x="1353511" y="5947369"/>
                </a:cubicBezTo>
                <a:cubicBezTo>
                  <a:pt x="1345812" y="5941594"/>
                  <a:pt x="1340037" y="5933895"/>
                  <a:pt x="1330414" y="5935820"/>
                </a:cubicBezTo>
                <a:cubicBezTo>
                  <a:pt x="1328489" y="5931970"/>
                  <a:pt x="1328489" y="5928121"/>
                  <a:pt x="1326563" y="5924271"/>
                </a:cubicBezTo>
                <a:cubicBezTo>
                  <a:pt x="1328489" y="5922346"/>
                  <a:pt x="1328489" y="5920422"/>
                  <a:pt x="1330414" y="5918497"/>
                </a:cubicBezTo>
                <a:cubicBezTo>
                  <a:pt x="1332337" y="5916572"/>
                  <a:pt x="1336187" y="5914647"/>
                  <a:pt x="1336187" y="5910798"/>
                </a:cubicBezTo>
                <a:cubicBezTo>
                  <a:pt x="1336187" y="5908873"/>
                  <a:pt x="1332337" y="5910798"/>
                  <a:pt x="1332337" y="5908873"/>
                </a:cubicBezTo>
                <a:cubicBezTo>
                  <a:pt x="1332337" y="5905023"/>
                  <a:pt x="1334263" y="5903097"/>
                  <a:pt x="1334263" y="5899248"/>
                </a:cubicBezTo>
                <a:close/>
                <a:moveTo>
                  <a:pt x="1584485" y="5895398"/>
                </a:moveTo>
                <a:cubicBezTo>
                  <a:pt x="1584485" y="5895398"/>
                  <a:pt x="1584485" y="5897323"/>
                  <a:pt x="1584485" y="5899248"/>
                </a:cubicBezTo>
                <a:cubicBezTo>
                  <a:pt x="1576786" y="5918497"/>
                  <a:pt x="1567161" y="5939669"/>
                  <a:pt x="1559462" y="5955067"/>
                </a:cubicBezTo>
                <a:cubicBezTo>
                  <a:pt x="1559462" y="5939669"/>
                  <a:pt x="1555613" y="5924271"/>
                  <a:pt x="1553688" y="5908873"/>
                </a:cubicBezTo>
                <a:cubicBezTo>
                  <a:pt x="1565237" y="5905023"/>
                  <a:pt x="1576786" y="5903098"/>
                  <a:pt x="1584485" y="5895398"/>
                </a:cubicBezTo>
                <a:close/>
                <a:moveTo>
                  <a:pt x="2052209" y="5893474"/>
                </a:moveTo>
                <a:cubicBezTo>
                  <a:pt x="2052209" y="5893474"/>
                  <a:pt x="2054133" y="5893474"/>
                  <a:pt x="2054133" y="5893474"/>
                </a:cubicBezTo>
                <a:cubicBezTo>
                  <a:pt x="2056058" y="5895399"/>
                  <a:pt x="2056058" y="5897324"/>
                  <a:pt x="2056058" y="5899249"/>
                </a:cubicBezTo>
                <a:cubicBezTo>
                  <a:pt x="2059908" y="5897324"/>
                  <a:pt x="2059908" y="5899249"/>
                  <a:pt x="2061833" y="5901174"/>
                </a:cubicBezTo>
                <a:cubicBezTo>
                  <a:pt x="2057983" y="5903098"/>
                  <a:pt x="2056058" y="5899249"/>
                  <a:pt x="2056058" y="5903098"/>
                </a:cubicBezTo>
                <a:cubicBezTo>
                  <a:pt x="2056058" y="5905023"/>
                  <a:pt x="2057983" y="5906948"/>
                  <a:pt x="2059908" y="5906948"/>
                </a:cubicBezTo>
                <a:cubicBezTo>
                  <a:pt x="2056058" y="5908873"/>
                  <a:pt x="2052209" y="5908873"/>
                  <a:pt x="2048359" y="5908873"/>
                </a:cubicBezTo>
                <a:cubicBezTo>
                  <a:pt x="2048359" y="5906948"/>
                  <a:pt x="2048359" y="5906948"/>
                  <a:pt x="2048359" y="5906948"/>
                </a:cubicBezTo>
                <a:cubicBezTo>
                  <a:pt x="2048359" y="5903098"/>
                  <a:pt x="2050284" y="5897324"/>
                  <a:pt x="2052209" y="5893474"/>
                </a:cubicBezTo>
                <a:close/>
                <a:moveTo>
                  <a:pt x="1453599" y="5889625"/>
                </a:moveTo>
                <a:cubicBezTo>
                  <a:pt x="1459373" y="5893474"/>
                  <a:pt x="1457450" y="5903098"/>
                  <a:pt x="1467074" y="5903098"/>
                </a:cubicBezTo>
                <a:cubicBezTo>
                  <a:pt x="1467074" y="5905023"/>
                  <a:pt x="1470923" y="5906948"/>
                  <a:pt x="1468998" y="5908873"/>
                </a:cubicBezTo>
                <a:cubicBezTo>
                  <a:pt x="1467074" y="5908873"/>
                  <a:pt x="1465149" y="5906948"/>
                  <a:pt x="1463223" y="5906948"/>
                </a:cubicBezTo>
                <a:cubicBezTo>
                  <a:pt x="1463223" y="5906948"/>
                  <a:pt x="1465149" y="5910798"/>
                  <a:pt x="1463223" y="5910798"/>
                </a:cubicBezTo>
                <a:cubicBezTo>
                  <a:pt x="1461298" y="5905023"/>
                  <a:pt x="1453599" y="5897324"/>
                  <a:pt x="1453599" y="5889625"/>
                </a:cubicBezTo>
                <a:close/>
                <a:moveTo>
                  <a:pt x="2006014" y="5887700"/>
                </a:moveTo>
                <a:cubicBezTo>
                  <a:pt x="2007939" y="5887700"/>
                  <a:pt x="2009863" y="5887700"/>
                  <a:pt x="2011788" y="5887700"/>
                </a:cubicBezTo>
                <a:cubicBezTo>
                  <a:pt x="2011788" y="5891550"/>
                  <a:pt x="2011788" y="5895399"/>
                  <a:pt x="2013713" y="5897324"/>
                </a:cubicBezTo>
                <a:cubicBezTo>
                  <a:pt x="2011788" y="5899249"/>
                  <a:pt x="2009863" y="5899249"/>
                  <a:pt x="2007939" y="5899249"/>
                </a:cubicBezTo>
                <a:cubicBezTo>
                  <a:pt x="2006014" y="5895399"/>
                  <a:pt x="2006014" y="5891550"/>
                  <a:pt x="2006014" y="5887700"/>
                </a:cubicBezTo>
                <a:close/>
                <a:moveTo>
                  <a:pt x="1318864" y="5887700"/>
                </a:moveTo>
                <a:cubicBezTo>
                  <a:pt x="1320790" y="5889625"/>
                  <a:pt x="1324638" y="5891550"/>
                  <a:pt x="1330414" y="5891550"/>
                </a:cubicBezTo>
                <a:cubicBezTo>
                  <a:pt x="1330414" y="5893474"/>
                  <a:pt x="1330414" y="5895399"/>
                  <a:pt x="1330414" y="5897324"/>
                </a:cubicBezTo>
                <a:cubicBezTo>
                  <a:pt x="1328489" y="5901174"/>
                  <a:pt x="1328489" y="5906948"/>
                  <a:pt x="1326563" y="5910798"/>
                </a:cubicBezTo>
                <a:cubicBezTo>
                  <a:pt x="1324638" y="5906948"/>
                  <a:pt x="1324638" y="5903098"/>
                  <a:pt x="1322714" y="5897324"/>
                </a:cubicBezTo>
                <a:cubicBezTo>
                  <a:pt x="1320790" y="5895399"/>
                  <a:pt x="1320790" y="5891550"/>
                  <a:pt x="1318864" y="5887700"/>
                </a:cubicBezTo>
                <a:close/>
                <a:moveTo>
                  <a:pt x="1392006" y="5887699"/>
                </a:moveTo>
                <a:cubicBezTo>
                  <a:pt x="1393931" y="5897324"/>
                  <a:pt x="1397781" y="5905023"/>
                  <a:pt x="1401630" y="5912722"/>
                </a:cubicBezTo>
                <a:cubicBezTo>
                  <a:pt x="1401630" y="5914647"/>
                  <a:pt x="1399705" y="5914647"/>
                  <a:pt x="1399705" y="5918497"/>
                </a:cubicBezTo>
                <a:cubicBezTo>
                  <a:pt x="1403556" y="5924271"/>
                  <a:pt x="1405480" y="5930045"/>
                  <a:pt x="1411255" y="5937745"/>
                </a:cubicBezTo>
                <a:cubicBezTo>
                  <a:pt x="1409330" y="5939669"/>
                  <a:pt x="1407405" y="5943519"/>
                  <a:pt x="1403556" y="5945444"/>
                </a:cubicBezTo>
                <a:cubicBezTo>
                  <a:pt x="1395856" y="5937745"/>
                  <a:pt x="1390081" y="5931970"/>
                  <a:pt x="1382382" y="5928121"/>
                </a:cubicBezTo>
                <a:cubicBezTo>
                  <a:pt x="1382382" y="5912722"/>
                  <a:pt x="1386231" y="5901174"/>
                  <a:pt x="1392006" y="5887699"/>
                </a:cubicBezTo>
                <a:close/>
                <a:moveTo>
                  <a:pt x="2000240" y="5885775"/>
                </a:moveTo>
                <a:cubicBezTo>
                  <a:pt x="2002165" y="5889625"/>
                  <a:pt x="2002165" y="5895399"/>
                  <a:pt x="2002165" y="5899249"/>
                </a:cubicBezTo>
                <a:cubicBezTo>
                  <a:pt x="1982916" y="5903098"/>
                  <a:pt x="1967517" y="5912722"/>
                  <a:pt x="1946345" y="5912722"/>
                </a:cubicBezTo>
                <a:cubicBezTo>
                  <a:pt x="1946345" y="5906948"/>
                  <a:pt x="1944420" y="5901174"/>
                  <a:pt x="1944420" y="5895399"/>
                </a:cubicBezTo>
                <a:cubicBezTo>
                  <a:pt x="1961743" y="5889625"/>
                  <a:pt x="1979066" y="5885775"/>
                  <a:pt x="2000240" y="5885775"/>
                </a:cubicBezTo>
                <a:close/>
                <a:moveTo>
                  <a:pt x="1478622" y="5885775"/>
                </a:moveTo>
                <a:cubicBezTo>
                  <a:pt x="1480547" y="5887700"/>
                  <a:pt x="1482472" y="5889625"/>
                  <a:pt x="1484397" y="5891550"/>
                </a:cubicBezTo>
                <a:cubicBezTo>
                  <a:pt x="1482472" y="5891550"/>
                  <a:pt x="1482472" y="5893474"/>
                  <a:pt x="1480547" y="5893474"/>
                </a:cubicBezTo>
                <a:cubicBezTo>
                  <a:pt x="1478622" y="5891550"/>
                  <a:pt x="1476697" y="5885775"/>
                  <a:pt x="1478622" y="5885775"/>
                </a:cubicBezTo>
                <a:close/>
                <a:moveTo>
                  <a:pt x="2063757" y="5880002"/>
                </a:moveTo>
                <a:cubicBezTo>
                  <a:pt x="2063757" y="5881927"/>
                  <a:pt x="2063757" y="5881927"/>
                  <a:pt x="2063757" y="5883851"/>
                </a:cubicBezTo>
                <a:cubicBezTo>
                  <a:pt x="2061832" y="5883851"/>
                  <a:pt x="2061832" y="5883851"/>
                  <a:pt x="2061832" y="5883851"/>
                </a:cubicBezTo>
                <a:cubicBezTo>
                  <a:pt x="2061832" y="5881927"/>
                  <a:pt x="2063757" y="5881927"/>
                  <a:pt x="2063757" y="5880002"/>
                </a:cubicBezTo>
                <a:close/>
                <a:moveTo>
                  <a:pt x="2000238" y="5854979"/>
                </a:moveTo>
                <a:cubicBezTo>
                  <a:pt x="2000238" y="5858829"/>
                  <a:pt x="2000238" y="5862679"/>
                  <a:pt x="2000238" y="5866528"/>
                </a:cubicBezTo>
                <a:cubicBezTo>
                  <a:pt x="1994464" y="5864603"/>
                  <a:pt x="1990614" y="5864603"/>
                  <a:pt x="1986765" y="5862679"/>
                </a:cubicBezTo>
                <a:cubicBezTo>
                  <a:pt x="1990614" y="5860754"/>
                  <a:pt x="1996389" y="5856904"/>
                  <a:pt x="2000238" y="5854979"/>
                </a:cubicBezTo>
                <a:close/>
                <a:moveTo>
                  <a:pt x="1405481" y="5851128"/>
                </a:moveTo>
                <a:cubicBezTo>
                  <a:pt x="1411254" y="5856902"/>
                  <a:pt x="1415105" y="5862677"/>
                  <a:pt x="1417029" y="5868451"/>
                </a:cubicBezTo>
                <a:cubicBezTo>
                  <a:pt x="1415105" y="5868451"/>
                  <a:pt x="1415105" y="5868451"/>
                  <a:pt x="1415105" y="5868451"/>
                </a:cubicBezTo>
                <a:cubicBezTo>
                  <a:pt x="1415105" y="5872301"/>
                  <a:pt x="1409329" y="5870376"/>
                  <a:pt x="1409329" y="5874225"/>
                </a:cubicBezTo>
                <a:cubicBezTo>
                  <a:pt x="1409329" y="5880000"/>
                  <a:pt x="1418954" y="5881925"/>
                  <a:pt x="1420879" y="5885774"/>
                </a:cubicBezTo>
                <a:cubicBezTo>
                  <a:pt x="1418954" y="5885774"/>
                  <a:pt x="1417029" y="5883849"/>
                  <a:pt x="1415105" y="5885774"/>
                </a:cubicBezTo>
                <a:cubicBezTo>
                  <a:pt x="1413180" y="5887699"/>
                  <a:pt x="1420879" y="5889624"/>
                  <a:pt x="1417029" y="5889624"/>
                </a:cubicBezTo>
                <a:cubicBezTo>
                  <a:pt x="1413180" y="5889624"/>
                  <a:pt x="1411254" y="5889624"/>
                  <a:pt x="1409329" y="5891549"/>
                </a:cubicBezTo>
                <a:cubicBezTo>
                  <a:pt x="1413180" y="5893473"/>
                  <a:pt x="1418954" y="5895398"/>
                  <a:pt x="1422804" y="5895398"/>
                </a:cubicBezTo>
                <a:cubicBezTo>
                  <a:pt x="1422804" y="5906947"/>
                  <a:pt x="1420879" y="5918495"/>
                  <a:pt x="1415105" y="5928119"/>
                </a:cubicBezTo>
                <a:cubicBezTo>
                  <a:pt x="1409329" y="5916571"/>
                  <a:pt x="1405481" y="5903097"/>
                  <a:pt x="1399705" y="5891549"/>
                </a:cubicBezTo>
                <a:cubicBezTo>
                  <a:pt x="1397782" y="5887699"/>
                  <a:pt x="1395856" y="5881925"/>
                  <a:pt x="1393931" y="5878075"/>
                </a:cubicBezTo>
                <a:cubicBezTo>
                  <a:pt x="1397782" y="5868451"/>
                  <a:pt x="1401630" y="5858827"/>
                  <a:pt x="1405481" y="5851128"/>
                </a:cubicBezTo>
                <a:close/>
                <a:moveTo>
                  <a:pt x="1388158" y="5849205"/>
                </a:moveTo>
                <a:cubicBezTo>
                  <a:pt x="1388158" y="5849205"/>
                  <a:pt x="1388158" y="5851130"/>
                  <a:pt x="1386233" y="5853055"/>
                </a:cubicBezTo>
                <a:cubicBezTo>
                  <a:pt x="1386233" y="5853055"/>
                  <a:pt x="1386233" y="5851130"/>
                  <a:pt x="1386233" y="5851130"/>
                </a:cubicBezTo>
                <a:cubicBezTo>
                  <a:pt x="1386233" y="5849205"/>
                  <a:pt x="1388158" y="5849205"/>
                  <a:pt x="1388158" y="5849205"/>
                </a:cubicBezTo>
                <a:close/>
                <a:moveTo>
                  <a:pt x="1930947" y="5845354"/>
                </a:moveTo>
                <a:cubicBezTo>
                  <a:pt x="1932872" y="5854979"/>
                  <a:pt x="1932872" y="5862678"/>
                  <a:pt x="1932872" y="5868453"/>
                </a:cubicBezTo>
                <a:cubicBezTo>
                  <a:pt x="1929022" y="5872302"/>
                  <a:pt x="1925172" y="5874227"/>
                  <a:pt x="1921323" y="5876152"/>
                </a:cubicBezTo>
                <a:cubicBezTo>
                  <a:pt x="1923248" y="5864603"/>
                  <a:pt x="1925172" y="5853055"/>
                  <a:pt x="1930947" y="5845354"/>
                </a:cubicBezTo>
                <a:close/>
                <a:moveTo>
                  <a:pt x="1443976" y="5843430"/>
                </a:moveTo>
                <a:cubicBezTo>
                  <a:pt x="1447826" y="5845354"/>
                  <a:pt x="1451676" y="5847279"/>
                  <a:pt x="1451676" y="5853054"/>
                </a:cubicBezTo>
                <a:cubicBezTo>
                  <a:pt x="1449751" y="5853054"/>
                  <a:pt x="1449751" y="5851129"/>
                  <a:pt x="1447826" y="5851129"/>
                </a:cubicBezTo>
                <a:cubicBezTo>
                  <a:pt x="1447826" y="5853054"/>
                  <a:pt x="1447826" y="5854978"/>
                  <a:pt x="1445901" y="5858828"/>
                </a:cubicBezTo>
                <a:cubicBezTo>
                  <a:pt x="1445901" y="5856903"/>
                  <a:pt x="1443976" y="5856903"/>
                  <a:pt x="1442051" y="5856903"/>
                </a:cubicBezTo>
                <a:cubicBezTo>
                  <a:pt x="1442051" y="5853054"/>
                  <a:pt x="1442051" y="5847279"/>
                  <a:pt x="1443976" y="5843430"/>
                </a:cubicBezTo>
                <a:close/>
                <a:moveTo>
                  <a:pt x="1890526" y="5839580"/>
                </a:moveTo>
                <a:cubicBezTo>
                  <a:pt x="1888602" y="5845354"/>
                  <a:pt x="1886676" y="5849204"/>
                  <a:pt x="1884752" y="5853054"/>
                </a:cubicBezTo>
                <a:cubicBezTo>
                  <a:pt x="1882828" y="5874226"/>
                  <a:pt x="1878977" y="5893474"/>
                  <a:pt x="1877052" y="5912722"/>
                </a:cubicBezTo>
                <a:cubicBezTo>
                  <a:pt x="1863579" y="5926195"/>
                  <a:pt x="1852031" y="5939669"/>
                  <a:pt x="1834707" y="5951217"/>
                </a:cubicBezTo>
                <a:cubicBezTo>
                  <a:pt x="1830858" y="5926195"/>
                  <a:pt x="1852031" y="5924270"/>
                  <a:pt x="1852031" y="5905023"/>
                </a:cubicBezTo>
                <a:cubicBezTo>
                  <a:pt x="1834707" y="5910797"/>
                  <a:pt x="1827008" y="5924270"/>
                  <a:pt x="1821234" y="5941593"/>
                </a:cubicBezTo>
                <a:cubicBezTo>
                  <a:pt x="1817384" y="5937744"/>
                  <a:pt x="1813535" y="5933894"/>
                  <a:pt x="1809685" y="5931969"/>
                </a:cubicBezTo>
                <a:cubicBezTo>
                  <a:pt x="1823159" y="5916571"/>
                  <a:pt x="1836632" y="5901173"/>
                  <a:pt x="1852031" y="5885775"/>
                </a:cubicBezTo>
                <a:cubicBezTo>
                  <a:pt x="1867429" y="5870377"/>
                  <a:pt x="1878977" y="5854978"/>
                  <a:pt x="1890526" y="5839580"/>
                </a:cubicBezTo>
                <a:close/>
                <a:moveTo>
                  <a:pt x="1422804" y="5839580"/>
                </a:moveTo>
                <a:cubicBezTo>
                  <a:pt x="1424728" y="5837655"/>
                  <a:pt x="1428577" y="5839580"/>
                  <a:pt x="1432428" y="5841505"/>
                </a:cubicBezTo>
                <a:cubicBezTo>
                  <a:pt x="1432428" y="5845354"/>
                  <a:pt x="1432428" y="5849204"/>
                  <a:pt x="1432428" y="5854978"/>
                </a:cubicBezTo>
                <a:cubicBezTo>
                  <a:pt x="1428577" y="5851129"/>
                  <a:pt x="1426653" y="5845354"/>
                  <a:pt x="1422804" y="5839580"/>
                </a:cubicBezTo>
                <a:close/>
                <a:moveTo>
                  <a:pt x="1411254" y="5837655"/>
                </a:moveTo>
                <a:cubicBezTo>
                  <a:pt x="1417029" y="5841506"/>
                  <a:pt x="1418953" y="5847280"/>
                  <a:pt x="1424728" y="5854979"/>
                </a:cubicBezTo>
                <a:cubicBezTo>
                  <a:pt x="1428578" y="5858829"/>
                  <a:pt x="1430503" y="5862679"/>
                  <a:pt x="1432428" y="5866528"/>
                </a:cubicBezTo>
                <a:cubicBezTo>
                  <a:pt x="1432428" y="5868453"/>
                  <a:pt x="1432428" y="5870378"/>
                  <a:pt x="1432428" y="5872302"/>
                </a:cubicBezTo>
                <a:cubicBezTo>
                  <a:pt x="1430503" y="5870378"/>
                  <a:pt x="1428578" y="5868453"/>
                  <a:pt x="1426653" y="5870378"/>
                </a:cubicBezTo>
                <a:cubicBezTo>
                  <a:pt x="1426653" y="5872302"/>
                  <a:pt x="1428578" y="5874227"/>
                  <a:pt x="1430503" y="5876152"/>
                </a:cubicBezTo>
                <a:cubicBezTo>
                  <a:pt x="1428578" y="5876152"/>
                  <a:pt x="1428578" y="5874227"/>
                  <a:pt x="1426653" y="5874227"/>
                </a:cubicBezTo>
                <a:cubicBezTo>
                  <a:pt x="1422804" y="5862679"/>
                  <a:pt x="1418953" y="5849205"/>
                  <a:pt x="1407405" y="5843431"/>
                </a:cubicBezTo>
                <a:cubicBezTo>
                  <a:pt x="1407405" y="5847280"/>
                  <a:pt x="1405480" y="5849205"/>
                  <a:pt x="1403555" y="5849205"/>
                </a:cubicBezTo>
                <a:cubicBezTo>
                  <a:pt x="1403555" y="5847280"/>
                  <a:pt x="1403555" y="5843431"/>
                  <a:pt x="1403555" y="5841506"/>
                </a:cubicBezTo>
                <a:cubicBezTo>
                  <a:pt x="1405480" y="5839581"/>
                  <a:pt x="1409329" y="5837655"/>
                  <a:pt x="1411254" y="5837655"/>
                </a:cubicBezTo>
                <a:close/>
                <a:moveTo>
                  <a:pt x="1467074" y="5833806"/>
                </a:moveTo>
                <a:cubicBezTo>
                  <a:pt x="1468999" y="5835730"/>
                  <a:pt x="1470923" y="5839580"/>
                  <a:pt x="1472848" y="5843430"/>
                </a:cubicBezTo>
                <a:cubicBezTo>
                  <a:pt x="1470923" y="5843430"/>
                  <a:pt x="1468999" y="5843430"/>
                  <a:pt x="1467074" y="5843430"/>
                </a:cubicBezTo>
                <a:cubicBezTo>
                  <a:pt x="1467074" y="5841505"/>
                  <a:pt x="1467074" y="5837655"/>
                  <a:pt x="1467074" y="5833806"/>
                </a:cubicBezTo>
                <a:close/>
                <a:moveTo>
                  <a:pt x="1407406" y="5822258"/>
                </a:moveTo>
                <a:cubicBezTo>
                  <a:pt x="1407406" y="5824183"/>
                  <a:pt x="1409331" y="5826107"/>
                  <a:pt x="1409331" y="5828032"/>
                </a:cubicBezTo>
                <a:cubicBezTo>
                  <a:pt x="1407406" y="5828032"/>
                  <a:pt x="1407406" y="5828032"/>
                  <a:pt x="1405481" y="5826107"/>
                </a:cubicBezTo>
                <a:cubicBezTo>
                  <a:pt x="1405481" y="5826107"/>
                  <a:pt x="1407406" y="5824183"/>
                  <a:pt x="1407406" y="5822258"/>
                </a:cubicBezTo>
                <a:close/>
                <a:moveTo>
                  <a:pt x="1413180" y="5820332"/>
                </a:moveTo>
                <a:cubicBezTo>
                  <a:pt x="1415105" y="5820332"/>
                  <a:pt x="1417029" y="5820332"/>
                  <a:pt x="1418953" y="5820332"/>
                </a:cubicBezTo>
                <a:cubicBezTo>
                  <a:pt x="1426653" y="5814558"/>
                  <a:pt x="1432428" y="5824182"/>
                  <a:pt x="1434352" y="5831881"/>
                </a:cubicBezTo>
                <a:cubicBezTo>
                  <a:pt x="1434352" y="5831881"/>
                  <a:pt x="1432428" y="5831881"/>
                  <a:pt x="1428578" y="5831881"/>
                </a:cubicBezTo>
                <a:cubicBezTo>
                  <a:pt x="1426653" y="5833806"/>
                  <a:pt x="1428578" y="5835730"/>
                  <a:pt x="1426653" y="5835730"/>
                </a:cubicBezTo>
                <a:cubicBezTo>
                  <a:pt x="1426653" y="5835730"/>
                  <a:pt x="1426653" y="5833806"/>
                  <a:pt x="1424729" y="5833806"/>
                </a:cubicBezTo>
                <a:cubicBezTo>
                  <a:pt x="1424729" y="5829956"/>
                  <a:pt x="1426653" y="5831881"/>
                  <a:pt x="1426653" y="5828031"/>
                </a:cubicBezTo>
                <a:cubicBezTo>
                  <a:pt x="1424729" y="5828031"/>
                  <a:pt x="1424729" y="5828031"/>
                  <a:pt x="1424729" y="5828031"/>
                </a:cubicBezTo>
                <a:cubicBezTo>
                  <a:pt x="1420878" y="5828031"/>
                  <a:pt x="1418953" y="5829956"/>
                  <a:pt x="1415105" y="5829956"/>
                </a:cubicBezTo>
                <a:cubicBezTo>
                  <a:pt x="1415105" y="5826106"/>
                  <a:pt x="1411254" y="5822257"/>
                  <a:pt x="1413180" y="5820332"/>
                </a:cubicBezTo>
                <a:close/>
                <a:moveTo>
                  <a:pt x="1347737" y="5818407"/>
                </a:moveTo>
                <a:cubicBezTo>
                  <a:pt x="1349661" y="5818407"/>
                  <a:pt x="1351586" y="5820332"/>
                  <a:pt x="1353511" y="5820332"/>
                </a:cubicBezTo>
                <a:cubicBezTo>
                  <a:pt x="1355436" y="5822257"/>
                  <a:pt x="1355436" y="5824182"/>
                  <a:pt x="1357361" y="5826106"/>
                </a:cubicBezTo>
                <a:cubicBezTo>
                  <a:pt x="1355436" y="5829956"/>
                  <a:pt x="1353511" y="5833806"/>
                  <a:pt x="1355436" y="5837655"/>
                </a:cubicBezTo>
                <a:cubicBezTo>
                  <a:pt x="1357361" y="5839580"/>
                  <a:pt x="1361210" y="5839580"/>
                  <a:pt x="1363135" y="5839580"/>
                </a:cubicBezTo>
                <a:cubicBezTo>
                  <a:pt x="1363135" y="5843430"/>
                  <a:pt x="1365060" y="5847279"/>
                  <a:pt x="1363135" y="5853053"/>
                </a:cubicBezTo>
                <a:cubicBezTo>
                  <a:pt x="1366985" y="5858828"/>
                  <a:pt x="1372759" y="5862677"/>
                  <a:pt x="1378534" y="5866527"/>
                </a:cubicBezTo>
                <a:cubicBezTo>
                  <a:pt x="1378534" y="5866527"/>
                  <a:pt x="1378534" y="5868452"/>
                  <a:pt x="1378534" y="5868452"/>
                </a:cubicBezTo>
                <a:cubicBezTo>
                  <a:pt x="1380458" y="5870376"/>
                  <a:pt x="1382383" y="5870376"/>
                  <a:pt x="1384308" y="5872301"/>
                </a:cubicBezTo>
                <a:cubicBezTo>
                  <a:pt x="1378534" y="5885774"/>
                  <a:pt x="1374684" y="5899248"/>
                  <a:pt x="1365060" y="5906947"/>
                </a:cubicBezTo>
                <a:cubicBezTo>
                  <a:pt x="1351586" y="5897323"/>
                  <a:pt x="1345811" y="5878075"/>
                  <a:pt x="1340037" y="5860752"/>
                </a:cubicBezTo>
                <a:cubicBezTo>
                  <a:pt x="1341962" y="5853053"/>
                  <a:pt x="1343886" y="5847279"/>
                  <a:pt x="1345811" y="5839580"/>
                </a:cubicBezTo>
                <a:cubicBezTo>
                  <a:pt x="1343886" y="5833806"/>
                  <a:pt x="1343886" y="5822257"/>
                  <a:pt x="1347737" y="5818407"/>
                </a:cubicBezTo>
                <a:close/>
                <a:moveTo>
                  <a:pt x="1913625" y="5816482"/>
                </a:moveTo>
                <a:cubicBezTo>
                  <a:pt x="1917474" y="5818407"/>
                  <a:pt x="1919399" y="5816482"/>
                  <a:pt x="1921323" y="5816482"/>
                </a:cubicBezTo>
                <a:cubicBezTo>
                  <a:pt x="1921323" y="5822257"/>
                  <a:pt x="1921323" y="5829956"/>
                  <a:pt x="1923248" y="5835730"/>
                </a:cubicBezTo>
                <a:cubicBezTo>
                  <a:pt x="1907849" y="5849204"/>
                  <a:pt x="1907849" y="5876150"/>
                  <a:pt x="1898225" y="5895398"/>
                </a:cubicBezTo>
                <a:cubicBezTo>
                  <a:pt x="1892451" y="5899248"/>
                  <a:pt x="1888602" y="5903097"/>
                  <a:pt x="1880902" y="5905022"/>
                </a:cubicBezTo>
                <a:cubicBezTo>
                  <a:pt x="1880902" y="5895398"/>
                  <a:pt x="1882828" y="5887699"/>
                  <a:pt x="1886676" y="5881925"/>
                </a:cubicBezTo>
                <a:cubicBezTo>
                  <a:pt x="1886676" y="5880000"/>
                  <a:pt x="1884751" y="5880000"/>
                  <a:pt x="1884751" y="5878075"/>
                </a:cubicBezTo>
                <a:cubicBezTo>
                  <a:pt x="1884751" y="5870376"/>
                  <a:pt x="1888602" y="5860752"/>
                  <a:pt x="1890526" y="5851128"/>
                </a:cubicBezTo>
                <a:cubicBezTo>
                  <a:pt x="1894376" y="5843429"/>
                  <a:pt x="1894376" y="5831881"/>
                  <a:pt x="1898225" y="5826106"/>
                </a:cubicBezTo>
                <a:cubicBezTo>
                  <a:pt x="1902075" y="5822257"/>
                  <a:pt x="1905924" y="5824182"/>
                  <a:pt x="1907849" y="5822257"/>
                </a:cubicBezTo>
                <a:cubicBezTo>
                  <a:pt x="1911699" y="5820332"/>
                  <a:pt x="1909775" y="5816482"/>
                  <a:pt x="1913625" y="5816482"/>
                </a:cubicBezTo>
                <a:close/>
                <a:moveTo>
                  <a:pt x="1453599" y="5814558"/>
                </a:moveTo>
                <a:cubicBezTo>
                  <a:pt x="1453599" y="5814558"/>
                  <a:pt x="1455525" y="5816483"/>
                  <a:pt x="1455525" y="5816483"/>
                </a:cubicBezTo>
                <a:cubicBezTo>
                  <a:pt x="1457450" y="5826107"/>
                  <a:pt x="1459374" y="5833807"/>
                  <a:pt x="1459374" y="5843431"/>
                </a:cubicBezTo>
                <a:cubicBezTo>
                  <a:pt x="1451674" y="5839581"/>
                  <a:pt x="1445900" y="5833807"/>
                  <a:pt x="1445900" y="5822258"/>
                </a:cubicBezTo>
                <a:cubicBezTo>
                  <a:pt x="1447826" y="5820333"/>
                  <a:pt x="1451674" y="5818408"/>
                  <a:pt x="1455525" y="5818408"/>
                </a:cubicBezTo>
                <a:cubicBezTo>
                  <a:pt x="1455525" y="5816483"/>
                  <a:pt x="1453599" y="5814558"/>
                  <a:pt x="1453599" y="5814558"/>
                </a:cubicBezTo>
                <a:close/>
                <a:moveTo>
                  <a:pt x="1447826" y="5812634"/>
                </a:moveTo>
                <a:cubicBezTo>
                  <a:pt x="1449750" y="5812634"/>
                  <a:pt x="1449750" y="5814559"/>
                  <a:pt x="1449750" y="5814559"/>
                </a:cubicBezTo>
                <a:lnTo>
                  <a:pt x="1447661" y="5812768"/>
                </a:lnTo>
                <a:close/>
                <a:moveTo>
                  <a:pt x="1322714" y="5812633"/>
                </a:moveTo>
                <a:cubicBezTo>
                  <a:pt x="1328489" y="5814559"/>
                  <a:pt x="1334264" y="5816483"/>
                  <a:pt x="1341963" y="5818408"/>
                </a:cubicBezTo>
                <a:cubicBezTo>
                  <a:pt x="1340038" y="5828032"/>
                  <a:pt x="1340038" y="5835731"/>
                  <a:pt x="1338113" y="5845355"/>
                </a:cubicBezTo>
                <a:cubicBezTo>
                  <a:pt x="1332338" y="5831882"/>
                  <a:pt x="1328489" y="5820333"/>
                  <a:pt x="1322714" y="5812633"/>
                </a:cubicBezTo>
                <a:close/>
                <a:moveTo>
                  <a:pt x="1411254" y="5810709"/>
                </a:moveTo>
                <a:cubicBezTo>
                  <a:pt x="1415103" y="5812634"/>
                  <a:pt x="1418953" y="5814559"/>
                  <a:pt x="1422803" y="5816483"/>
                </a:cubicBezTo>
                <a:cubicBezTo>
                  <a:pt x="1418953" y="5814559"/>
                  <a:pt x="1417028" y="5816483"/>
                  <a:pt x="1413179" y="5818408"/>
                </a:cubicBezTo>
                <a:cubicBezTo>
                  <a:pt x="1413179" y="5816483"/>
                  <a:pt x="1413179" y="5814559"/>
                  <a:pt x="1409329" y="5812634"/>
                </a:cubicBezTo>
                <a:cubicBezTo>
                  <a:pt x="1411254" y="5812634"/>
                  <a:pt x="1411254" y="5810709"/>
                  <a:pt x="1411254" y="5810709"/>
                </a:cubicBezTo>
                <a:close/>
                <a:moveTo>
                  <a:pt x="1982918" y="5810708"/>
                </a:moveTo>
                <a:cubicBezTo>
                  <a:pt x="1984842" y="5810708"/>
                  <a:pt x="1984842" y="5810708"/>
                  <a:pt x="1984842" y="5810708"/>
                </a:cubicBezTo>
                <a:cubicBezTo>
                  <a:pt x="1982918" y="5810708"/>
                  <a:pt x="1984842" y="5812633"/>
                  <a:pt x="1984842" y="5812633"/>
                </a:cubicBezTo>
                <a:cubicBezTo>
                  <a:pt x="1986766" y="5812633"/>
                  <a:pt x="1986766" y="5812633"/>
                  <a:pt x="1986766" y="5812633"/>
                </a:cubicBezTo>
                <a:cubicBezTo>
                  <a:pt x="1979067" y="5822258"/>
                  <a:pt x="1971367" y="5831882"/>
                  <a:pt x="1975218" y="5843431"/>
                </a:cubicBezTo>
                <a:cubicBezTo>
                  <a:pt x="1965593" y="5851130"/>
                  <a:pt x="1954044" y="5856904"/>
                  <a:pt x="1944420" y="5862678"/>
                </a:cubicBezTo>
                <a:cubicBezTo>
                  <a:pt x="1944420" y="5854979"/>
                  <a:pt x="1944420" y="5847280"/>
                  <a:pt x="1944420" y="5841506"/>
                </a:cubicBezTo>
                <a:cubicBezTo>
                  <a:pt x="1959818" y="5833807"/>
                  <a:pt x="1969443" y="5820333"/>
                  <a:pt x="1982918" y="5810708"/>
                </a:cubicBezTo>
                <a:close/>
                <a:moveTo>
                  <a:pt x="1934797" y="5808784"/>
                </a:moveTo>
                <a:cubicBezTo>
                  <a:pt x="1936722" y="5808784"/>
                  <a:pt x="1938648" y="5808784"/>
                  <a:pt x="1940571" y="5808784"/>
                </a:cubicBezTo>
                <a:cubicBezTo>
                  <a:pt x="1940571" y="5810709"/>
                  <a:pt x="1938648" y="5808784"/>
                  <a:pt x="1938648" y="5810709"/>
                </a:cubicBezTo>
                <a:cubicBezTo>
                  <a:pt x="1936722" y="5810709"/>
                  <a:pt x="1934797" y="5810709"/>
                  <a:pt x="1934797" y="5808784"/>
                </a:cubicBezTo>
                <a:close/>
                <a:moveTo>
                  <a:pt x="1996390" y="5799160"/>
                </a:moveTo>
                <a:cubicBezTo>
                  <a:pt x="1994466" y="5803010"/>
                  <a:pt x="1992541" y="5804935"/>
                  <a:pt x="1990616" y="5806859"/>
                </a:cubicBezTo>
                <a:cubicBezTo>
                  <a:pt x="1990616" y="5804935"/>
                  <a:pt x="1990616" y="5804935"/>
                  <a:pt x="1990616" y="5803010"/>
                </a:cubicBezTo>
                <a:cubicBezTo>
                  <a:pt x="1992541" y="5801085"/>
                  <a:pt x="1996390" y="5801085"/>
                  <a:pt x="1996390" y="5799160"/>
                </a:cubicBezTo>
                <a:close/>
                <a:moveTo>
                  <a:pt x="1984842" y="5795311"/>
                </a:moveTo>
                <a:cubicBezTo>
                  <a:pt x="1986767" y="5795311"/>
                  <a:pt x="1986767" y="5797235"/>
                  <a:pt x="1986767" y="5799160"/>
                </a:cubicBezTo>
                <a:cubicBezTo>
                  <a:pt x="1984842" y="5799160"/>
                  <a:pt x="1984842" y="5797235"/>
                  <a:pt x="1982918" y="5801085"/>
                </a:cubicBezTo>
                <a:cubicBezTo>
                  <a:pt x="1982918" y="5801085"/>
                  <a:pt x="1982918" y="5799160"/>
                  <a:pt x="1982918" y="5799160"/>
                </a:cubicBezTo>
                <a:cubicBezTo>
                  <a:pt x="1982918" y="5797235"/>
                  <a:pt x="1984842" y="5797235"/>
                  <a:pt x="1984842" y="5795311"/>
                </a:cubicBezTo>
                <a:close/>
                <a:moveTo>
                  <a:pt x="1574861" y="5795310"/>
                </a:moveTo>
                <a:cubicBezTo>
                  <a:pt x="1578710" y="5799159"/>
                  <a:pt x="1584485" y="5801085"/>
                  <a:pt x="1586410" y="5804935"/>
                </a:cubicBezTo>
                <a:cubicBezTo>
                  <a:pt x="1594110" y="5814559"/>
                  <a:pt x="1596035" y="5835731"/>
                  <a:pt x="1594110" y="5853055"/>
                </a:cubicBezTo>
                <a:cubicBezTo>
                  <a:pt x="1586410" y="5837656"/>
                  <a:pt x="1580635" y="5820333"/>
                  <a:pt x="1578710" y="5801085"/>
                </a:cubicBezTo>
                <a:lnTo>
                  <a:pt x="1576786" y="5801085"/>
                </a:lnTo>
                <a:cubicBezTo>
                  <a:pt x="1576786" y="5799159"/>
                  <a:pt x="1574861" y="5797234"/>
                  <a:pt x="1574861" y="5795310"/>
                </a:cubicBezTo>
                <a:close/>
                <a:moveTo>
                  <a:pt x="1388158" y="5791461"/>
                </a:moveTo>
                <a:cubicBezTo>
                  <a:pt x="1390083" y="5797235"/>
                  <a:pt x="1392007" y="5801085"/>
                  <a:pt x="1392007" y="5804935"/>
                </a:cubicBezTo>
                <a:cubicBezTo>
                  <a:pt x="1392007" y="5804935"/>
                  <a:pt x="1392007" y="5804935"/>
                  <a:pt x="1390083" y="5804935"/>
                </a:cubicBezTo>
                <a:cubicBezTo>
                  <a:pt x="1388158" y="5803010"/>
                  <a:pt x="1388158" y="5801085"/>
                  <a:pt x="1384307" y="5801085"/>
                </a:cubicBezTo>
                <a:cubicBezTo>
                  <a:pt x="1382382" y="5803010"/>
                  <a:pt x="1382382" y="5804935"/>
                  <a:pt x="1382382" y="5806859"/>
                </a:cubicBezTo>
                <a:cubicBezTo>
                  <a:pt x="1380459" y="5806859"/>
                  <a:pt x="1380459" y="5806859"/>
                  <a:pt x="1378533" y="5806859"/>
                </a:cubicBezTo>
                <a:cubicBezTo>
                  <a:pt x="1382382" y="5801085"/>
                  <a:pt x="1382382" y="5793386"/>
                  <a:pt x="1388158" y="5791461"/>
                </a:cubicBezTo>
                <a:close/>
                <a:moveTo>
                  <a:pt x="1422802" y="5791460"/>
                </a:moveTo>
                <a:lnTo>
                  <a:pt x="1447661" y="5812768"/>
                </a:lnTo>
                <a:lnTo>
                  <a:pt x="1445179" y="5814799"/>
                </a:lnTo>
                <a:cubicBezTo>
                  <a:pt x="1444938" y="5816002"/>
                  <a:pt x="1444938" y="5817445"/>
                  <a:pt x="1443976" y="5818408"/>
                </a:cubicBezTo>
                <a:cubicBezTo>
                  <a:pt x="1443013" y="5816483"/>
                  <a:pt x="1442051" y="5816483"/>
                  <a:pt x="1440848" y="5816724"/>
                </a:cubicBezTo>
                <a:lnTo>
                  <a:pt x="1438202" y="5816584"/>
                </a:lnTo>
                <a:lnTo>
                  <a:pt x="1438202" y="5816483"/>
                </a:lnTo>
                <a:lnTo>
                  <a:pt x="1436276" y="5816483"/>
                </a:lnTo>
                <a:lnTo>
                  <a:pt x="1438202" y="5816584"/>
                </a:lnTo>
                <a:lnTo>
                  <a:pt x="1438202" y="5824183"/>
                </a:lnTo>
                <a:cubicBezTo>
                  <a:pt x="1434351" y="5818408"/>
                  <a:pt x="1428577" y="5812634"/>
                  <a:pt x="1428577" y="5804935"/>
                </a:cubicBezTo>
                <a:cubicBezTo>
                  <a:pt x="1424727" y="5803010"/>
                  <a:pt x="1424727" y="5804935"/>
                  <a:pt x="1422802" y="5804935"/>
                </a:cubicBezTo>
                <a:cubicBezTo>
                  <a:pt x="1420878" y="5803010"/>
                  <a:pt x="1418953" y="5801085"/>
                  <a:pt x="1418953" y="5799160"/>
                </a:cubicBezTo>
                <a:cubicBezTo>
                  <a:pt x="1418953" y="5797235"/>
                  <a:pt x="1420878" y="5795311"/>
                  <a:pt x="1420878" y="5793386"/>
                </a:cubicBezTo>
                <a:cubicBezTo>
                  <a:pt x="1420878" y="5791460"/>
                  <a:pt x="1422802" y="5791460"/>
                  <a:pt x="1422802" y="5791460"/>
                </a:cubicBezTo>
                <a:close/>
                <a:moveTo>
                  <a:pt x="1382383" y="5789536"/>
                </a:moveTo>
                <a:lnTo>
                  <a:pt x="1384308" y="5789536"/>
                </a:lnTo>
                <a:cubicBezTo>
                  <a:pt x="1384308" y="5789536"/>
                  <a:pt x="1382383" y="5791461"/>
                  <a:pt x="1382383" y="5793386"/>
                </a:cubicBezTo>
                <a:cubicBezTo>
                  <a:pt x="1380459" y="5791461"/>
                  <a:pt x="1382383" y="5791461"/>
                  <a:pt x="1382383" y="5789536"/>
                </a:cubicBezTo>
                <a:close/>
                <a:moveTo>
                  <a:pt x="1980992" y="5787611"/>
                </a:moveTo>
                <a:cubicBezTo>
                  <a:pt x="1982918" y="5787611"/>
                  <a:pt x="1982918" y="5787611"/>
                  <a:pt x="1982918" y="5787611"/>
                </a:cubicBezTo>
                <a:cubicBezTo>
                  <a:pt x="1982918" y="5787611"/>
                  <a:pt x="1982918" y="5789536"/>
                  <a:pt x="1982918" y="5789536"/>
                </a:cubicBezTo>
                <a:cubicBezTo>
                  <a:pt x="1982918" y="5789536"/>
                  <a:pt x="1980992" y="5791461"/>
                  <a:pt x="1980992" y="5791461"/>
                </a:cubicBezTo>
                <a:cubicBezTo>
                  <a:pt x="1980992" y="5789536"/>
                  <a:pt x="1980992" y="5789536"/>
                  <a:pt x="1980992" y="5787611"/>
                </a:cubicBezTo>
                <a:close/>
                <a:moveTo>
                  <a:pt x="1907851" y="5783762"/>
                </a:moveTo>
                <a:cubicBezTo>
                  <a:pt x="1905925" y="5785687"/>
                  <a:pt x="1904001" y="5787611"/>
                  <a:pt x="1902077" y="5789536"/>
                </a:cubicBezTo>
                <a:cubicBezTo>
                  <a:pt x="1902077" y="5787611"/>
                  <a:pt x="1902077" y="5785687"/>
                  <a:pt x="1902077" y="5785687"/>
                </a:cubicBezTo>
                <a:cubicBezTo>
                  <a:pt x="1904001" y="5783762"/>
                  <a:pt x="1905925" y="5783762"/>
                  <a:pt x="1907851" y="5783762"/>
                </a:cubicBezTo>
                <a:close/>
                <a:moveTo>
                  <a:pt x="1946346" y="5781837"/>
                </a:moveTo>
                <a:cubicBezTo>
                  <a:pt x="1948271" y="5787611"/>
                  <a:pt x="1954045" y="5795311"/>
                  <a:pt x="1948271" y="5801085"/>
                </a:cubicBezTo>
                <a:cubicBezTo>
                  <a:pt x="1946346" y="5795311"/>
                  <a:pt x="1944420" y="5787611"/>
                  <a:pt x="1946346" y="5781837"/>
                </a:cubicBezTo>
                <a:close/>
                <a:moveTo>
                  <a:pt x="1447826" y="5779912"/>
                </a:moveTo>
                <a:cubicBezTo>
                  <a:pt x="1449751" y="5783762"/>
                  <a:pt x="1449751" y="5785687"/>
                  <a:pt x="1449751" y="5787611"/>
                </a:cubicBezTo>
                <a:cubicBezTo>
                  <a:pt x="1447826" y="5785687"/>
                  <a:pt x="1443977" y="5783762"/>
                  <a:pt x="1442052" y="5781837"/>
                </a:cubicBezTo>
                <a:cubicBezTo>
                  <a:pt x="1443977" y="5781837"/>
                  <a:pt x="1445902" y="5779912"/>
                  <a:pt x="1447826" y="5779912"/>
                </a:cubicBezTo>
                <a:close/>
                <a:moveTo>
                  <a:pt x="1351587" y="5774138"/>
                </a:moveTo>
                <a:cubicBezTo>
                  <a:pt x="1351587" y="5774138"/>
                  <a:pt x="1353512" y="5781837"/>
                  <a:pt x="1349662" y="5779912"/>
                </a:cubicBezTo>
                <a:cubicBezTo>
                  <a:pt x="1349662" y="5777987"/>
                  <a:pt x="1347737" y="5774138"/>
                  <a:pt x="1351587" y="5774138"/>
                </a:cubicBezTo>
                <a:close/>
                <a:moveTo>
                  <a:pt x="1388158" y="5772213"/>
                </a:moveTo>
                <a:cubicBezTo>
                  <a:pt x="1388158" y="5776063"/>
                  <a:pt x="1392007" y="5779912"/>
                  <a:pt x="1392007" y="5783762"/>
                </a:cubicBezTo>
                <a:cubicBezTo>
                  <a:pt x="1388158" y="5785687"/>
                  <a:pt x="1388158" y="5783762"/>
                  <a:pt x="1386233" y="5781837"/>
                </a:cubicBezTo>
                <a:cubicBezTo>
                  <a:pt x="1386233" y="5777987"/>
                  <a:pt x="1386233" y="5774138"/>
                  <a:pt x="1388158" y="5772213"/>
                </a:cubicBezTo>
                <a:close/>
                <a:moveTo>
                  <a:pt x="1960782" y="5768844"/>
                </a:moveTo>
                <a:cubicBezTo>
                  <a:pt x="1962706" y="5768363"/>
                  <a:pt x="1964631" y="5768363"/>
                  <a:pt x="1965593" y="5770288"/>
                </a:cubicBezTo>
                <a:cubicBezTo>
                  <a:pt x="1963669" y="5772213"/>
                  <a:pt x="1963669" y="5770288"/>
                  <a:pt x="1959818" y="5770288"/>
                </a:cubicBezTo>
                <a:cubicBezTo>
                  <a:pt x="1959818" y="5770288"/>
                  <a:pt x="1959818" y="5770288"/>
                  <a:pt x="1957895" y="5772213"/>
                </a:cubicBezTo>
                <a:cubicBezTo>
                  <a:pt x="1955969" y="5772213"/>
                  <a:pt x="1957895" y="5770288"/>
                  <a:pt x="1955969" y="5770288"/>
                </a:cubicBezTo>
                <a:cubicBezTo>
                  <a:pt x="1956932" y="5770288"/>
                  <a:pt x="1958857" y="5769326"/>
                  <a:pt x="1960782" y="5768844"/>
                </a:cubicBezTo>
                <a:close/>
                <a:moveTo>
                  <a:pt x="1439645" y="5768844"/>
                </a:moveTo>
                <a:cubicBezTo>
                  <a:pt x="1442532" y="5768363"/>
                  <a:pt x="1444938" y="5768363"/>
                  <a:pt x="1445901" y="5770288"/>
                </a:cubicBezTo>
                <a:cubicBezTo>
                  <a:pt x="1443976" y="5770288"/>
                  <a:pt x="1443976" y="5772213"/>
                  <a:pt x="1443976" y="5772213"/>
                </a:cubicBezTo>
                <a:cubicBezTo>
                  <a:pt x="1443976" y="5774137"/>
                  <a:pt x="1440127" y="5770288"/>
                  <a:pt x="1440127" y="5772213"/>
                </a:cubicBezTo>
                <a:cubicBezTo>
                  <a:pt x="1440127" y="5774137"/>
                  <a:pt x="1440127" y="5774137"/>
                  <a:pt x="1440127" y="5774137"/>
                </a:cubicBezTo>
                <a:cubicBezTo>
                  <a:pt x="1440127" y="5777987"/>
                  <a:pt x="1445901" y="5776062"/>
                  <a:pt x="1445901" y="5779912"/>
                </a:cubicBezTo>
                <a:cubicBezTo>
                  <a:pt x="1443976" y="5779912"/>
                  <a:pt x="1440127" y="5779912"/>
                  <a:pt x="1438202" y="5779912"/>
                </a:cubicBezTo>
                <a:cubicBezTo>
                  <a:pt x="1438202" y="5779912"/>
                  <a:pt x="1436276" y="5777987"/>
                  <a:pt x="1434351" y="5779912"/>
                </a:cubicBezTo>
                <a:cubicBezTo>
                  <a:pt x="1434351" y="5776062"/>
                  <a:pt x="1430503" y="5774137"/>
                  <a:pt x="1430503" y="5770288"/>
                </a:cubicBezTo>
                <a:cubicBezTo>
                  <a:pt x="1433389" y="5770288"/>
                  <a:pt x="1436758" y="5769325"/>
                  <a:pt x="1439645" y="5768844"/>
                </a:cubicBezTo>
                <a:close/>
                <a:moveTo>
                  <a:pt x="1948270" y="5768363"/>
                </a:moveTo>
                <a:cubicBezTo>
                  <a:pt x="1948270" y="5768363"/>
                  <a:pt x="1950194" y="5768363"/>
                  <a:pt x="1952119" y="5768363"/>
                </a:cubicBezTo>
                <a:cubicBezTo>
                  <a:pt x="1954044" y="5772213"/>
                  <a:pt x="1955969" y="5776063"/>
                  <a:pt x="1955969" y="5777987"/>
                </a:cubicBezTo>
                <a:lnTo>
                  <a:pt x="1955969" y="5781115"/>
                </a:lnTo>
                <a:cubicBezTo>
                  <a:pt x="1956451" y="5782799"/>
                  <a:pt x="1956932" y="5784724"/>
                  <a:pt x="1955969" y="5787611"/>
                </a:cubicBezTo>
                <a:lnTo>
                  <a:pt x="1952119" y="5787611"/>
                </a:lnTo>
                <a:cubicBezTo>
                  <a:pt x="1952119" y="5781837"/>
                  <a:pt x="1948270" y="5776063"/>
                  <a:pt x="1946345" y="5772213"/>
                </a:cubicBezTo>
                <a:cubicBezTo>
                  <a:pt x="1946345" y="5770288"/>
                  <a:pt x="1948270" y="5770288"/>
                  <a:pt x="1948270" y="5768363"/>
                </a:cubicBezTo>
                <a:close/>
                <a:moveTo>
                  <a:pt x="1561387" y="5764514"/>
                </a:moveTo>
                <a:cubicBezTo>
                  <a:pt x="1567161" y="5772213"/>
                  <a:pt x="1571012" y="5777987"/>
                  <a:pt x="1574860" y="5783762"/>
                </a:cubicBezTo>
                <a:cubicBezTo>
                  <a:pt x="1572936" y="5783762"/>
                  <a:pt x="1572936" y="5781837"/>
                  <a:pt x="1569086" y="5781837"/>
                </a:cubicBezTo>
                <a:cubicBezTo>
                  <a:pt x="1567161" y="5777987"/>
                  <a:pt x="1563312" y="5770288"/>
                  <a:pt x="1561387" y="5764514"/>
                </a:cubicBezTo>
                <a:close/>
                <a:moveTo>
                  <a:pt x="1365060" y="5762589"/>
                </a:moveTo>
                <a:cubicBezTo>
                  <a:pt x="1365060" y="5764514"/>
                  <a:pt x="1366985" y="5766439"/>
                  <a:pt x="1368910" y="5768363"/>
                </a:cubicBezTo>
                <a:cubicBezTo>
                  <a:pt x="1366985" y="5768363"/>
                  <a:pt x="1368910" y="5770288"/>
                  <a:pt x="1366985" y="5770288"/>
                </a:cubicBezTo>
                <a:cubicBezTo>
                  <a:pt x="1363135" y="5768363"/>
                  <a:pt x="1363135" y="5764514"/>
                  <a:pt x="1365060" y="5762589"/>
                </a:cubicBezTo>
                <a:close/>
                <a:moveTo>
                  <a:pt x="1909775" y="5754890"/>
                </a:moveTo>
                <a:cubicBezTo>
                  <a:pt x="1909775" y="5758739"/>
                  <a:pt x="1911699" y="5762589"/>
                  <a:pt x="1911699" y="5766439"/>
                </a:cubicBezTo>
                <a:cubicBezTo>
                  <a:pt x="1909775" y="5766439"/>
                  <a:pt x="1907851" y="5768363"/>
                  <a:pt x="1905925" y="5768363"/>
                </a:cubicBezTo>
                <a:cubicBezTo>
                  <a:pt x="1907851" y="5764514"/>
                  <a:pt x="1907851" y="5758739"/>
                  <a:pt x="1909775" y="5754890"/>
                </a:cubicBezTo>
                <a:close/>
                <a:moveTo>
                  <a:pt x="1430502" y="5754890"/>
                </a:moveTo>
                <a:cubicBezTo>
                  <a:pt x="1428578" y="5754890"/>
                  <a:pt x="1426653" y="5758739"/>
                  <a:pt x="1424728" y="5756815"/>
                </a:cubicBezTo>
                <a:cubicBezTo>
                  <a:pt x="1426653" y="5756815"/>
                  <a:pt x="1428578" y="5752965"/>
                  <a:pt x="1430502" y="5754890"/>
                </a:cubicBezTo>
                <a:close/>
                <a:moveTo>
                  <a:pt x="1355436" y="5754890"/>
                </a:moveTo>
                <a:cubicBezTo>
                  <a:pt x="1355436" y="5754890"/>
                  <a:pt x="1357361" y="5760664"/>
                  <a:pt x="1355436" y="5760664"/>
                </a:cubicBezTo>
                <a:cubicBezTo>
                  <a:pt x="1353512" y="5758739"/>
                  <a:pt x="1351587" y="5754890"/>
                  <a:pt x="1355436" y="5754890"/>
                </a:cubicBezTo>
                <a:close/>
                <a:moveTo>
                  <a:pt x="1917473" y="5749115"/>
                </a:moveTo>
                <a:cubicBezTo>
                  <a:pt x="1919397" y="5751040"/>
                  <a:pt x="1923247" y="5752965"/>
                  <a:pt x="1925172" y="5754890"/>
                </a:cubicBezTo>
                <a:cubicBezTo>
                  <a:pt x="1925172" y="5756815"/>
                  <a:pt x="1925172" y="5756815"/>
                  <a:pt x="1925172" y="5758739"/>
                </a:cubicBezTo>
                <a:cubicBezTo>
                  <a:pt x="1923247" y="5758739"/>
                  <a:pt x="1919397" y="5760664"/>
                  <a:pt x="1919397" y="5762589"/>
                </a:cubicBezTo>
                <a:cubicBezTo>
                  <a:pt x="1919397" y="5764514"/>
                  <a:pt x="1921322" y="5764514"/>
                  <a:pt x="1923247" y="5764514"/>
                </a:cubicBezTo>
                <a:cubicBezTo>
                  <a:pt x="1923247" y="5764514"/>
                  <a:pt x="1923247" y="5766438"/>
                  <a:pt x="1923247" y="5766438"/>
                </a:cubicBezTo>
                <a:cubicBezTo>
                  <a:pt x="1921322" y="5766438"/>
                  <a:pt x="1919397" y="5766438"/>
                  <a:pt x="1917473" y="5766438"/>
                </a:cubicBezTo>
                <a:cubicBezTo>
                  <a:pt x="1915548" y="5760664"/>
                  <a:pt x="1911698" y="5751040"/>
                  <a:pt x="1917473" y="5749115"/>
                </a:cubicBezTo>
                <a:close/>
                <a:moveTo>
                  <a:pt x="1443976" y="5747191"/>
                </a:moveTo>
                <a:cubicBezTo>
                  <a:pt x="1443976" y="5747191"/>
                  <a:pt x="1443976" y="5749115"/>
                  <a:pt x="1443976" y="5749115"/>
                </a:cubicBezTo>
                <a:cubicBezTo>
                  <a:pt x="1442052" y="5749115"/>
                  <a:pt x="1442052" y="5749115"/>
                  <a:pt x="1440127" y="5749115"/>
                </a:cubicBezTo>
                <a:cubicBezTo>
                  <a:pt x="1440127" y="5747191"/>
                  <a:pt x="1442052" y="5747191"/>
                  <a:pt x="1443976" y="5747191"/>
                </a:cubicBezTo>
                <a:close/>
                <a:moveTo>
                  <a:pt x="1808783" y="5741055"/>
                </a:moveTo>
                <a:cubicBezTo>
                  <a:pt x="1828452" y="5749356"/>
                  <a:pt x="1835669" y="5780393"/>
                  <a:pt x="1838558" y="5804935"/>
                </a:cubicBezTo>
                <a:cubicBezTo>
                  <a:pt x="1830858" y="5804935"/>
                  <a:pt x="1825083" y="5804935"/>
                  <a:pt x="1817384" y="5804935"/>
                </a:cubicBezTo>
                <a:cubicBezTo>
                  <a:pt x="1813535" y="5795311"/>
                  <a:pt x="1815459" y="5779912"/>
                  <a:pt x="1815459" y="5768362"/>
                </a:cubicBezTo>
                <a:cubicBezTo>
                  <a:pt x="1805835" y="5772212"/>
                  <a:pt x="1807761" y="5783762"/>
                  <a:pt x="1798136" y="5787611"/>
                </a:cubicBezTo>
                <a:cubicBezTo>
                  <a:pt x="1794287" y="5781837"/>
                  <a:pt x="1790437" y="5776063"/>
                  <a:pt x="1786588" y="5770287"/>
                </a:cubicBezTo>
                <a:cubicBezTo>
                  <a:pt x="1778888" y="5785687"/>
                  <a:pt x="1792362" y="5797235"/>
                  <a:pt x="1796212" y="5806859"/>
                </a:cubicBezTo>
                <a:cubicBezTo>
                  <a:pt x="1780813" y="5808784"/>
                  <a:pt x="1771189" y="5806859"/>
                  <a:pt x="1761565" y="5801085"/>
                </a:cubicBezTo>
                <a:cubicBezTo>
                  <a:pt x="1755791" y="5831881"/>
                  <a:pt x="1801987" y="5814558"/>
                  <a:pt x="1827008" y="5814558"/>
                </a:cubicBezTo>
                <a:cubicBezTo>
                  <a:pt x="1827008" y="5816483"/>
                  <a:pt x="1827008" y="5818408"/>
                  <a:pt x="1830858" y="5818408"/>
                </a:cubicBezTo>
                <a:cubicBezTo>
                  <a:pt x="1834707" y="5845355"/>
                  <a:pt x="1815459" y="5864602"/>
                  <a:pt x="1801987" y="5876151"/>
                </a:cubicBezTo>
                <a:cubicBezTo>
                  <a:pt x="1780813" y="5870377"/>
                  <a:pt x="1805835" y="5835731"/>
                  <a:pt x="1788512" y="5829957"/>
                </a:cubicBezTo>
                <a:cubicBezTo>
                  <a:pt x="1784663" y="5835731"/>
                  <a:pt x="1788512" y="5851129"/>
                  <a:pt x="1780813" y="5853054"/>
                </a:cubicBezTo>
                <a:cubicBezTo>
                  <a:pt x="1771189" y="5849204"/>
                  <a:pt x="1769264" y="5835731"/>
                  <a:pt x="1757717" y="5831881"/>
                </a:cubicBezTo>
                <a:cubicBezTo>
                  <a:pt x="1746167" y="5856903"/>
                  <a:pt x="1788512" y="5858828"/>
                  <a:pt x="1792362" y="5881926"/>
                </a:cubicBezTo>
                <a:cubicBezTo>
                  <a:pt x="1792362" y="5891550"/>
                  <a:pt x="1790437" y="5901174"/>
                  <a:pt x="1784663" y="5908873"/>
                </a:cubicBezTo>
                <a:cubicBezTo>
                  <a:pt x="1780813" y="5895399"/>
                  <a:pt x="1790437" y="5876151"/>
                  <a:pt x="1784663" y="5876151"/>
                </a:cubicBezTo>
                <a:cubicBezTo>
                  <a:pt x="1775039" y="5874226"/>
                  <a:pt x="1742317" y="5847280"/>
                  <a:pt x="1740393" y="5833806"/>
                </a:cubicBezTo>
                <a:cubicBezTo>
                  <a:pt x="1740393" y="5831881"/>
                  <a:pt x="1738468" y="5826107"/>
                  <a:pt x="1738468" y="5816483"/>
                </a:cubicBezTo>
                <a:cubicBezTo>
                  <a:pt x="1740393" y="5814558"/>
                  <a:pt x="1742317" y="5810709"/>
                  <a:pt x="1742317" y="5808784"/>
                </a:cubicBezTo>
                <a:cubicBezTo>
                  <a:pt x="1767340" y="5795311"/>
                  <a:pt x="1757717" y="5751039"/>
                  <a:pt x="1784663" y="5741415"/>
                </a:cubicBezTo>
                <a:cubicBezTo>
                  <a:pt x="1794287" y="5738047"/>
                  <a:pt x="1802227" y="5738288"/>
                  <a:pt x="1808783" y="5741055"/>
                </a:cubicBezTo>
                <a:close/>
                <a:moveTo>
                  <a:pt x="1888602" y="5735642"/>
                </a:moveTo>
                <a:cubicBezTo>
                  <a:pt x="1890527" y="5735642"/>
                  <a:pt x="1890527" y="5735642"/>
                  <a:pt x="1890527" y="5737567"/>
                </a:cubicBezTo>
                <a:cubicBezTo>
                  <a:pt x="1890527" y="5737567"/>
                  <a:pt x="1888602" y="5737567"/>
                  <a:pt x="1886677" y="5737567"/>
                </a:cubicBezTo>
                <a:cubicBezTo>
                  <a:pt x="1886677" y="5737567"/>
                  <a:pt x="1888602" y="5735642"/>
                  <a:pt x="1888602" y="5735642"/>
                </a:cubicBezTo>
                <a:close/>
                <a:moveTo>
                  <a:pt x="1226474" y="5731792"/>
                </a:moveTo>
                <a:cubicBezTo>
                  <a:pt x="1228400" y="5739491"/>
                  <a:pt x="1232249" y="5745266"/>
                  <a:pt x="1234175" y="5752965"/>
                </a:cubicBezTo>
                <a:cubicBezTo>
                  <a:pt x="1230324" y="5747191"/>
                  <a:pt x="1226474" y="5743341"/>
                  <a:pt x="1222626" y="5739491"/>
                </a:cubicBezTo>
                <a:cubicBezTo>
                  <a:pt x="1224550" y="5737567"/>
                  <a:pt x="1226474" y="5733717"/>
                  <a:pt x="1226474" y="5731792"/>
                </a:cubicBezTo>
                <a:close/>
                <a:moveTo>
                  <a:pt x="1900150" y="5729867"/>
                </a:moveTo>
                <a:cubicBezTo>
                  <a:pt x="1900150" y="5731792"/>
                  <a:pt x="1902075" y="5731792"/>
                  <a:pt x="1902075" y="5733717"/>
                </a:cubicBezTo>
                <a:cubicBezTo>
                  <a:pt x="1900150" y="5733717"/>
                  <a:pt x="1898226" y="5731792"/>
                  <a:pt x="1898226" y="5733717"/>
                </a:cubicBezTo>
                <a:cubicBezTo>
                  <a:pt x="1898226" y="5739491"/>
                  <a:pt x="1904000" y="5741416"/>
                  <a:pt x="1909775" y="5745266"/>
                </a:cubicBezTo>
                <a:cubicBezTo>
                  <a:pt x="1907851" y="5747190"/>
                  <a:pt x="1907851" y="5749115"/>
                  <a:pt x="1907851" y="5751040"/>
                </a:cubicBezTo>
                <a:cubicBezTo>
                  <a:pt x="1900150" y="5747190"/>
                  <a:pt x="1902075" y="5735642"/>
                  <a:pt x="1894376" y="5733717"/>
                </a:cubicBezTo>
                <a:cubicBezTo>
                  <a:pt x="1896301" y="5731792"/>
                  <a:pt x="1898226" y="5731792"/>
                  <a:pt x="1900150" y="5729867"/>
                </a:cubicBezTo>
                <a:close/>
                <a:moveTo>
                  <a:pt x="1301542" y="5726017"/>
                </a:moveTo>
                <a:cubicBezTo>
                  <a:pt x="1301542" y="5729866"/>
                  <a:pt x="1299617" y="5731791"/>
                  <a:pt x="1299617" y="5737566"/>
                </a:cubicBezTo>
                <a:cubicBezTo>
                  <a:pt x="1301542" y="5737566"/>
                  <a:pt x="1301542" y="5737566"/>
                  <a:pt x="1303467" y="5737566"/>
                </a:cubicBezTo>
                <a:cubicBezTo>
                  <a:pt x="1307316" y="5756815"/>
                  <a:pt x="1320790" y="5764514"/>
                  <a:pt x="1340038" y="5768363"/>
                </a:cubicBezTo>
                <a:cubicBezTo>
                  <a:pt x="1334264" y="5774138"/>
                  <a:pt x="1326565" y="5762589"/>
                  <a:pt x="1318864" y="5766439"/>
                </a:cubicBezTo>
                <a:cubicBezTo>
                  <a:pt x="1320790" y="5776063"/>
                  <a:pt x="1330414" y="5777987"/>
                  <a:pt x="1336189" y="5783762"/>
                </a:cubicBezTo>
                <a:cubicBezTo>
                  <a:pt x="1326565" y="5783762"/>
                  <a:pt x="1324640" y="5776063"/>
                  <a:pt x="1313091" y="5776063"/>
                </a:cubicBezTo>
                <a:cubicBezTo>
                  <a:pt x="1313091" y="5776063"/>
                  <a:pt x="1311166" y="5777987"/>
                  <a:pt x="1311166" y="5777987"/>
                </a:cubicBezTo>
                <a:cubicBezTo>
                  <a:pt x="1311166" y="5785686"/>
                  <a:pt x="1315016" y="5787611"/>
                  <a:pt x="1316940" y="5793385"/>
                </a:cubicBezTo>
                <a:cubicBezTo>
                  <a:pt x="1315016" y="5797235"/>
                  <a:pt x="1305392" y="5795310"/>
                  <a:pt x="1303467" y="5797235"/>
                </a:cubicBezTo>
                <a:cubicBezTo>
                  <a:pt x="1307316" y="5803009"/>
                  <a:pt x="1311166" y="5806859"/>
                  <a:pt x="1316940" y="5808784"/>
                </a:cubicBezTo>
                <a:cubicBezTo>
                  <a:pt x="1318864" y="5831881"/>
                  <a:pt x="1330414" y="5856903"/>
                  <a:pt x="1330414" y="5876151"/>
                </a:cubicBezTo>
                <a:cubicBezTo>
                  <a:pt x="1328489" y="5876151"/>
                  <a:pt x="1328489" y="5876151"/>
                  <a:pt x="1328489" y="5874226"/>
                </a:cubicBezTo>
                <a:cubicBezTo>
                  <a:pt x="1320790" y="5868452"/>
                  <a:pt x="1313091" y="5860753"/>
                  <a:pt x="1305392" y="5853054"/>
                </a:cubicBezTo>
                <a:cubicBezTo>
                  <a:pt x="1301542" y="5847279"/>
                  <a:pt x="1299617" y="5841505"/>
                  <a:pt x="1295767" y="5835730"/>
                </a:cubicBezTo>
                <a:cubicBezTo>
                  <a:pt x="1288068" y="5803009"/>
                  <a:pt x="1297692" y="5756815"/>
                  <a:pt x="1288068" y="5727942"/>
                </a:cubicBezTo>
                <a:cubicBezTo>
                  <a:pt x="1293842" y="5727942"/>
                  <a:pt x="1297692" y="5727942"/>
                  <a:pt x="1301542" y="5726017"/>
                </a:cubicBezTo>
                <a:close/>
                <a:moveTo>
                  <a:pt x="1330414" y="5724093"/>
                </a:moveTo>
                <a:cubicBezTo>
                  <a:pt x="1332339" y="5726018"/>
                  <a:pt x="1332339" y="5724093"/>
                  <a:pt x="1334263" y="5724093"/>
                </a:cubicBezTo>
                <a:cubicBezTo>
                  <a:pt x="1334263" y="5726018"/>
                  <a:pt x="1336188" y="5727943"/>
                  <a:pt x="1338113" y="5729867"/>
                </a:cubicBezTo>
                <a:cubicBezTo>
                  <a:pt x="1338113" y="5729867"/>
                  <a:pt x="1336188" y="5729867"/>
                  <a:pt x="1334263" y="5729867"/>
                </a:cubicBezTo>
                <a:cubicBezTo>
                  <a:pt x="1332339" y="5729867"/>
                  <a:pt x="1330414" y="5727943"/>
                  <a:pt x="1330414" y="5724093"/>
                </a:cubicBezTo>
                <a:close/>
                <a:moveTo>
                  <a:pt x="1316218" y="5723853"/>
                </a:moveTo>
                <a:cubicBezTo>
                  <a:pt x="1319827" y="5724575"/>
                  <a:pt x="1324639" y="5726018"/>
                  <a:pt x="1328489" y="5724093"/>
                </a:cubicBezTo>
                <a:cubicBezTo>
                  <a:pt x="1330414" y="5726018"/>
                  <a:pt x="1328489" y="5727943"/>
                  <a:pt x="1326564" y="5729867"/>
                </a:cubicBezTo>
                <a:cubicBezTo>
                  <a:pt x="1320790" y="5729867"/>
                  <a:pt x="1316939" y="5726018"/>
                  <a:pt x="1311166" y="5727943"/>
                </a:cubicBezTo>
                <a:cubicBezTo>
                  <a:pt x="1310203" y="5723131"/>
                  <a:pt x="1312609" y="5723131"/>
                  <a:pt x="1316218" y="5723853"/>
                </a:cubicBezTo>
                <a:close/>
                <a:moveTo>
                  <a:pt x="1434351" y="5712545"/>
                </a:moveTo>
                <a:cubicBezTo>
                  <a:pt x="1434351" y="5714470"/>
                  <a:pt x="1436276" y="5716395"/>
                  <a:pt x="1436276" y="5718320"/>
                </a:cubicBezTo>
                <a:cubicBezTo>
                  <a:pt x="1436276" y="5722169"/>
                  <a:pt x="1438202" y="5726019"/>
                  <a:pt x="1438202" y="5729868"/>
                </a:cubicBezTo>
                <a:cubicBezTo>
                  <a:pt x="1434351" y="5727944"/>
                  <a:pt x="1430502" y="5727944"/>
                  <a:pt x="1426653" y="5727944"/>
                </a:cubicBezTo>
                <a:cubicBezTo>
                  <a:pt x="1428577" y="5722169"/>
                  <a:pt x="1432426" y="5718320"/>
                  <a:pt x="1434351" y="5712545"/>
                </a:cubicBezTo>
                <a:close/>
                <a:moveTo>
                  <a:pt x="1313091" y="5710619"/>
                </a:moveTo>
                <a:lnTo>
                  <a:pt x="1313861" y="5710619"/>
                </a:lnTo>
                <a:lnTo>
                  <a:pt x="1313091" y="5714469"/>
                </a:lnTo>
                <a:cubicBezTo>
                  <a:pt x="1316941" y="5714469"/>
                  <a:pt x="1315016" y="5712544"/>
                  <a:pt x="1313091" y="5710619"/>
                </a:cubicBezTo>
                <a:close/>
                <a:moveTo>
                  <a:pt x="1934797" y="5708695"/>
                </a:moveTo>
                <a:cubicBezTo>
                  <a:pt x="1934797" y="5712544"/>
                  <a:pt x="1934797" y="5718319"/>
                  <a:pt x="1934797" y="5724093"/>
                </a:cubicBezTo>
                <a:cubicBezTo>
                  <a:pt x="1934797" y="5726018"/>
                  <a:pt x="1932872" y="5726018"/>
                  <a:pt x="1932872" y="5727943"/>
                </a:cubicBezTo>
                <a:cubicBezTo>
                  <a:pt x="1927098" y="5726018"/>
                  <a:pt x="1921322" y="5724093"/>
                  <a:pt x="1917473" y="5722168"/>
                </a:cubicBezTo>
                <a:cubicBezTo>
                  <a:pt x="1917473" y="5722168"/>
                  <a:pt x="1917473" y="5720243"/>
                  <a:pt x="1919399" y="5718319"/>
                </a:cubicBezTo>
                <a:cubicBezTo>
                  <a:pt x="1923247" y="5714469"/>
                  <a:pt x="1929022" y="5712544"/>
                  <a:pt x="1934797" y="5708695"/>
                </a:cubicBezTo>
                <a:close/>
                <a:moveTo>
                  <a:pt x="1284219" y="5706769"/>
                </a:moveTo>
                <a:cubicBezTo>
                  <a:pt x="1286144" y="5708694"/>
                  <a:pt x="1291918" y="5710618"/>
                  <a:pt x="1297693" y="5712543"/>
                </a:cubicBezTo>
                <a:cubicBezTo>
                  <a:pt x="1293843" y="5712543"/>
                  <a:pt x="1289993" y="5714468"/>
                  <a:pt x="1289993" y="5716393"/>
                </a:cubicBezTo>
                <a:cubicBezTo>
                  <a:pt x="1280370" y="5714468"/>
                  <a:pt x="1272670" y="5722167"/>
                  <a:pt x="1280370" y="5731791"/>
                </a:cubicBezTo>
                <a:cubicBezTo>
                  <a:pt x="1282294" y="5731791"/>
                  <a:pt x="1284219" y="5731791"/>
                  <a:pt x="1286144" y="5731791"/>
                </a:cubicBezTo>
                <a:cubicBezTo>
                  <a:pt x="1282294" y="5751039"/>
                  <a:pt x="1282294" y="5774136"/>
                  <a:pt x="1278445" y="5793384"/>
                </a:cubicBezTo>
                <a:cubicBezTo>
                  <a:pt x="1270746" y="5783760"/>
                  <a:pt x="1264970" y="5772212"/>
                  <a:pt x="1259196" y="5760663"/>
                </a:cubicBezTo>
                <a:cubicBezTo>
                  <a:pt x="1261121" y="5743340"/>
                  <a:pt x="1264970" y="5722167"/>
                  <a:pt x="1270746" y="5716393"/>
                </a:cubicBezTo>
                <a:cubicBezTo>
                  <a:pt x="1274594" y="5712543"/>
                  <a:pt x="1282294" y="5710618"/>
                  <a:pt x="1284219" y="5706769"/>
                </a:cubicBezTo>
                <a:close/>
                <a:moveTo>
                  <a:pt x="1266896" y="5706769"/>
                </a:moveTo>
                <a:cubicBezTo>
                  <a:pt x="1264971" y="5716394"/>
                  <a:pt x="1263047" y="5727943"/>
                  <a:pt x="1257271" y="5735642"/>
                </a:cubicBezTo>
                <a:cubicBezTo>
                  <a:pt x="1255346" y="5733717"/>
                  <a:pt x="1251497" y="5733717"/>
                  <a:pt x="1249572" y="5729867"/>
                </a:cubicBezTo>
                <a:cubicBezTo>
                  <a:pt x="1249572" y="5727943"/>
                  <a:pt x="1249572" y="5726018"/>
                  <a:pt x="1249572" y="5722168"/>
                </a:cubicBezTo>
                <a:cubicBezTo>
                  <a:pt x="1255346" y="5718319"/>
                  <a:pt x="1261122" y="5714469"/>
                  <a:pt x="1266896" y="5706769"/>
                </a:cubicBezTo>
                <a:close/>
                <a:moveTo>
                  <a:pt x="1315016" y="5704845"/>
                </a:moveTo>
                <a:cubicBezTo>
                  <a:pt x="1316941" y="5706770"/>
                  <a:pt x="1318865" y="5708695"/>
                  <a:pt x="1318865" y="5710619"/>
                </a:cubicBezTo>
                <a:lnTo>
                  <a:pt x="1313861" y="5710619"/>
                </a:lnTo>
                <a:close/>
                <a:moveTo>
                  <a:pt x="1193753" y="5704845"/>
                </a:moveTo>
                <a:cubicBezTo>
                  <a:pt x="1197602" y="5708695"/>
                  <a:pt x="1207226" y="5710619"/>
                  <a:pt x="1211077" y="5714469"/>
                </a:cubicBezTo>
                <a:cubicBezTo>
                  <a:pt x="1214926" y="5714469"/>
                  <a:pt x="1216851" y="5714469"/>
                  <a:pt x="1220701" y="5714469"/>
                </a:cubicBezTo>
                <a:cubicBezTo>
                  <a:pt x="1220701" y="5716394"/>
                  <a:pt x="1222626" y="5718319"/>
                  <a:pt x="1224550" y="5720243"/>
                </a:cubicBezTo>
                <a:cubicBezTo>
                  <a:pt x="1218776" y="5722168"/>
                  <a:pt x="1213001" y="5724093"/>
                  <a:pt x="1209151" y="5727943"/>
                </a:cubicBezTo>
                <a:cubicBezTo>
                  <a:pt x="1207226" y="5726018"/>
                  <a:pt x="1205302" y="5724093"/>
                  <a:pt x="1203378" y="5724093"/>
                </a:cubicBezTo>
                <a:cubicBezTo>
                  <a:pt x="1201452" y="5724093"/>
                  <a:pt x="1199527" y="5722168"/>
                  <a:pt x="1197602" y="5720243"/>
                </a:cubicBezTo>
                <a:cubicBezTo>
                  <a:pt x="1195678" y="5714469"/>
                  <a:pt x="1195678" y="5710619"/>
                  <a:pt x="1193753" y="5704845"/>
                </a:cubicBezTo>
                <a:close/>
                <a:moveTo>
                  <a:pt x="1515192" y="5702920"/>
                </a:moveTo>
                <a:cubicBezTo>
                  <a:pt x="1520966" y="5708695"/>
                  <a:pt x="1528665" y="5712544"/>
                  <a:pt x="1536365" y="5712544"/>
                </a:cubicBezTo>
                <a:cubicBezTo>
                  <a:pt x="1536365" y="5716394"/>
                  <a:pt x="1538289" y="5722168"/>
                  <a:pt x="1540214" y="5726018"/>
                </a:cubicBezTo>
                <a:cubicBezTo>
                  <a:pt x="1540214" y="5724093"/>
                  <a:pt x="1540214" y="5724093"/>
                  <a:pt x="1538289" y="5722168"/>
                </a:cubicBezTo>
                <a:cubicBezTo>
                  <a:pt x="1536365" y="5722168"/>
                  <a:pt x="1536365" y="5726018"/>
                  <a:pt x="1536365" y="5727943"/>
                </a:cubicBezTo>
                <a:cubicBezTo>
                  <a:pt x="1534440" y="5724093"/>
                  <a:pt x="1530590" y="5727943"/>
                  <a:pt x="1530590" y="5729867"/>
                </a:cubicBezTo>
                <a:cubicBezTo>
                  <a:pt x="1530590" y="5731792"/>
                  <a:pt x="1532516" y="5731792"/>
                  <a:pt x="1532516" y="5733717"/>
                </a:cubicBezTo>
                <a:cubicBezTo>
                  <a:pt x="1530590" y="5733717"/>
                  <a:pt x="1524816" y="5731792"/>
                  <a:pt x="1524816" y="5735642"/>
                </a:cubicBezTo>
                <a:cubicBezTo>
                  <a:pt x="1526742" y="5739491"/>
                  <a:pt x="1534440" y="5737566"/>
                  <a:pt x="1536365" y="5741416"/>
                </a:cubicBezTo>
                <a:cubicBezTo>
                  <a:pt x="1532516" y="5741416"/>
                  <a:pt x="1526742" y="5737566"/>
                  <a:pt x="1526742" y="5743342"/>
                </a:cubicBezTo>
                <a:cubicBezTo>
                  <a:pt x="1530590" y="5743342"/>
                  <a:pt x="1544064" y="5739491"/>
                  <a:pt x="1542139" y="5747191"/>
                </a:cubicBezTo>
                <a:cubicBezTo>
                  <a:pt x="1538289" y="5743342"/>
                  <a:pt x="1528665" y="5745266"/>
                  <a:pt x="1530590" y="5751041"/>
                </a:cubicBezTo>
                <a:cubicBezTo>
                  <a:pt x="1540214" y="5743342"/>
                  <a:pt x="1547913" y="5751041"/>
                  <a:pt x="1555612" y="5756815"/>
                </a:cubicBezTo>
                <a:cubicBezTo>
                  <a:pt x="1559462" y="5764514"/>
                  <a:pt x="1561387" y="5772213"/>
                  <a:pt x="1565236" y="5779912"/>
                </a:cubicBezTo>
                <a:cubicBezTo>
                  <a:pt x="1551763" y="5774138"/>
                  <a:pt x="1545989" y="5760665"/>
                  <a:pt x="1536365" y="5752966"/>
                </a:cubicBezTo>
                <a:cubicBezTo>
                  <a:pt x="1532516" y="5777988"/>
                  <a:pt x="1551763" y="5783762"/>
                  <a:pt x="1569086" y="5791461"/>
                </a:cubicBezTo>
                <a:cubicBezTo>
                  <a:pt x="1574860" y="5808784"/>
                  <a:pt x="1580635" y="5826107"/>
                  <a:pt x="1584484" y="5843431"/>
                </a:cubicBezTo>
                <a:cubicBezTo>
                  <a:pt x="1582560" y="5845355"/>
                  <a:pt x="1582560" y="5845355"/>
                  <a:pt x="1580635" y="5847280"/>
                </a:cubicBezTo>
                <a:cubicBezTo>
                  <a:pt x="1586409" y="5851130"/>
                  <a:pt x="1588334" y="5854979"/>
                  <a:pt x="1592183" y="5860754"/>
                </a:cubicBezTo>
                <a:cubicBezTo>
                  <a:pt x="1592183" y="5862679"/>
                  <a:pt x="1592183" y="5864603"/>
                  <a:pt x="1592183" y="5866528"/>
                </a:cubicBezTo>
                <a:cubicBezTo>
                  <a:pt x="1592183" y="5866528"/>
                  <a:pt x="1592183" y="5868453"/>
                  <a:pt x="1592183" y="5868453"/>
                </a:cubicBezTo>
                <a:cubicBezTo>
                  <a:pt x="1592183" y="5868453"/>
                  <a:pt x="1590259" y="5870378"/>
                  <a:pt x="1590259" y="5870378"/>
                </a:cubicBezTo>
                <a:cubicBezTo>
                  <a:pt x="1588334" y="5872303"/>
                  <a:pt x="1586409" y="5876152"/>
                  <a:pt x="1586409" y="5881927"/>
                </a:cubicBezTo>
                <a:cubicBezTo>
                  <a:pt x="1584484" y="5881927"/>
                  <a:pt x="1582560" y="5881927"/>
                  <a:pt x="1580635" y="5881927"/>
                </a:cubicBezTo>
                <a:cubicBezTo>
                  <a:pt x="1571012" y="5883851"/>
                  <a:pt x="1559462" y="5887701"/>
                  <a:pt x="1551763" y="5891550"/>
                </a:cubicBezTo>
                <a:cubicBezTo>
                  <a:pt x="1551763" y="5891550"/>
                  <a:pt x="1551763" y="5889626"/>
                  <a:pt x="1551763" y="5887701"/>
                </a:cubicBezTo>
                <a:cubicBezTo>
                  <a:pt x="1557537" y="5881927"/>
                  <a:pt x="1567161" y="5880002"/>
                  <a:pt x="1572936" y="5874227"/>
                </a:cubicBezTo>
                <a:cubicBezTo>
                  <a:pt x="1565236" y="5870378"/>
                  <a:pt x="1557537" y="5874227"/>
                  <a:pt x="1549838" y="5876152"/>
                </a:cubicBezTo>
                <a:cubicBezTo>
                  <a:pt x="1553688" y="5862679"/>
                  <a:pt x="1547913" y="5849205"/>
                  <a:pt x="1547913" y="5835731"/>
                </a:cubicBezTo>
                <a:cubicBezTo>
                  <a:pt x="1545989" y="5837656"/>
                  <a:pt x="1544064" y="5839581"/>
                  <a:pt x="1542139" y="5841506"/>
                </a:cubicBezTo>
                <a:cubicBezTo>
                  <a:pt x="1530590" y="5797235"/>
                  <a:pt x="1519041" y="5751041"/>
                  <a:pt x="1515192" y="5702920"/>
                </a:cubicBezTo>
                <a:close/>
                <a:moveTo>
                  <a:pt x="1921324" y="5695222"/>
                </a:moveTo>
                <a:cubicBezTo>
                  <a:pt x="1923249" y="5695222"/>
                  <a:pt x="1923249" y="5695222"/>
                  <a:pt x="1925173" y="5695222"/>
                </a:cubicBezTo>
                <a:lnTo>
                  <a:pt x="1925173" y="5697147"/>
                </a:lnTo>
                <a:lnTo>
                  <a:pt x="1923247" y="5697147"/>
                </a:lnTo>
                <a:lnTo>
                  <a:pt x="1919399" y="5700995"/>
                </a:lnTo>
                <a:cubicBezTo>
                  <a:pt x="1919399" y="5700995"/>
                  <a:pt x="1919399" y="5699071"/>
                  <a:pt x="1919399" y="5697146"/>
                </a:cubicBezTo>
                <a:lnTo>
                  <a:pt x="1921324" y="5697146"/>
                </a:lnTo>
                <a:close/>
                <a:moveTo>
                  <a:pt x="1280368" y="5693297"/>
                </a:moveTo>
                <a:cubicBezTo>
                  <a:pt x="1291917" y="5691372"/>
                  <a:pt x="1299616" y="5695222"/>
                  <a:pt x="1305391" y="5700996"/>
                </a:cubicBezTo>
                <a:cubicBezTo>
                  <a:pt x="1305391" y="5704845"/>
                  <a:pt x="1305391" y="5708695"/>
                  <a:pt x="1309241" y="5710620"/>
                </a:cubicBezTo>
                <a:cubicBezTo>
                  <a:pt x="1301541" y="5710620"/>
                  <a:pt x="1301541" y="5702921"/>
                  <a:pt x="1295767" y="5699071"/>
                </a:cubicBezTo>
                <a:cubicBezTo>
                  <a:pt x="1291917" y="5695222"/>
                  <a:pt x="1288068" y="5693297"/>
                  <a:pt x="1280368" y="5693297"/>
                </a:cubicBezTo>
                <a:close/>
                <a:moveTo>
                  <a:pt x="1913625" y="5691372"/>
                </a:moveTo>
                <a:cubicBezTo>
                  <a:pt x="1915549" y="5691372"/>
                  <a:pt x="1915549" y="5691372"/>
                  <a:pt x="1917474" y="5691372"/>
                </a:cubicBezTo>
                <a:cubicBezTo>
                  <a:pt x="1915549" y="5691372"/>
                  <a:pt x="1913625" y="5693297"/>
                  <a:pt x="1913625" y="5693297"/>
                </a:cubicBezTo>
                <a:cubicBezTo>
                  <a:pt x="1913625" y="5693297"/>
                  <a:pt x="1913625" y="5691372"/>
                  <a:pt x="1913625" y="5691372"/>
                </a:cubicBezTo>
                <a:close/>
                <a:moveTo>
                  <a:pt x="1461299" y="5683673"/>
                </a:moveTo>
                <a:cubicBezTo>
                  <a:pt x="1461299" y="5683673"/>
                  <a:pt x="1461299" y="5685598"/>
                  <a:pt x="1463224" y="5687523"/>
                </a:cubicBezTo>
                <a:cubicBezTo>
                  <a:pt x="1463224" y="5687523"/>
                  <a:pt x="1461299" y="5687523"/>
                  <a:pt x="1461299" y="5687523"/>
                </a:cubicBezTo>
                <a:cubicBezTo>
                  <a:pt x="1461299" y="5685598"/>
                  <a:pt x="1461299" y="5685598"/>
                  <a:pt x="1461299" y="5683673"/>
                </a:cubicBezTo>
                <a:close/>
                <a:moveTo>
                  <a:pt x="1480547" y="5683672"/>
                </a:moveTo>
                <a:cubicBezTo>
                  <a:pt x="1480547" y="5689447"/>
                  <a:pt x="1482472" y="5695221"/>
                  <a:pt x="1484397" y="5700995"/>
                </a:cubicBezTo>
                <a:cubicBezTo>
                  <a:pt x="1486322" y="5745265"/>
                  <a:pt x="1490171" y="5787610"/>
                  <a:pt x="1497871" y="5826106"/>
                </a:cubicBezTo>
                <a:cubicBezTo>
                  <a:pt x="1490171" y="5795310"/>
                  <a:pt x="1470923" y="5762588"/>
                  <a:pt x="1461299" y="5726017"/>
                </a:cubicBezTo>
                <a:cubicBezTo>
                  <a:pt x="1465149" y="5722168"/>
                  <a:pt x="1470923" y="5718318"/>
                  <a:pt x="1468998" y="5712544"/>
                </a:cubicBezTo>
                <a:cubicBezTo>
                  <a:pt x="1467073" y="5714469"/>
                  <a:pt x="1463223" y="5718318"/>
                  <a:pt x="1461299" y="5720243"/>
                </a:cubicBezTo>
                <a:cubicBezTo>
                  <a:pt x="1461299" y="5714469"/>
                  <a:pt x="1459374" y="5710619"/>
                  <a:pt x="1459374" y="5704845"/>
                </a:cubicBezTo>
                <a:cubicBezTo>
                  <a:pt x="1461299" y="5700995"/>
                  <a:pt x="1461299" y="5699071"/>
                  <a:pt x="1461299" y="5697146"/>
                </a:cubicBezTo>
                <a:cubicBezTo>
                  <a:pt x="1468998" y="5693296"/>
                  <a:pt x="1476697" y="5689447"/>
                  <a:pt x="1480547" y="5683672"/>
                </a:cubicBezTo>
                <a:close/>
                <a:moveTo>
                  <a:pt x="1977142" y="5681748"/>
                </a:moveTo>
                <a:lnTo>
                  <a:pt x="1975217" y="5683674"/>
                </a:lnTo>
                <a:lnTo>
                  <a:pt x="1973549" y="5693042"/>
                </a:lnTo>
                <a:close/>
                <a:moveTo>
                  <a:pt x="1536366" y="5681747"/>
                </a:moveTo>
                <a:cubicBezTo>
                  <a:pt x="1536366" y="5681747"/>
                  <a:pt x="1536366" y="5683673"/>
                  <a:pt x="1536366" y="5683673"/>
                </a:cubicBezTo>
                <a:cubicBezTo>
                  <a:pt x="1534442" y="5687523"/>
                  <a:pt x="1534442" y="5693297"/>
                  <a:pt x="1534442" y="5697147"/>
                </a:cubicBezTo>
                <a:cubicBezTo>
                  <a:pt x="1534442" y="5699071"/>
                  <a:pt x="1534442" y="5699071"/>
                  <a:pt x="1534442" y="5699071"/>
                </a:cubicBezTo>
                <a:cubicBezTo>
                  <a:pt x="1534442" y="5702921"/>
                  <a:pt x="1534442" y="5706771"/>
                  <a:pt x="1534442" y="5710620"/>
                </a:cubicBezTo>
                <a:cubicBezTo>
                  <a:pt x="1528667" y="5704846"/>
                  <a:pt x="1520968" y="5699071"/>
                  <a:pt x="1513268" y="5693297"/>
                </a:cubicBezTo>
                <a:cubicBezTo>
                  <a:pt x="1513268" y="5691372"/>
                  <a:pt x="1513268" y="5687523"/>
                  <a:pt x="1515194" y="5683673"/>
                </a:cubicBezTo>
                <a:cubicBezTo>
                  <a:pt x="1522892" y="5683673"/>
                  <a:pt x="1530592" y="5683673"/>
                  <a:pt x="1536366" y="5681747"/>
                </a:cubicBezTo>
                <a:close/>
                <a:moveTo>
                  <a:pt x="1399706" y="5677899"/>
                </a:moveTo>
                <a:cubicBezTo>
                  <a:pt x="1399706" y="5679824"/>
                  <a:pt x="1401631" y="5677899"/>
                  <a:pt x="1403556" y="5679824"/>
                </a:cubicBezTo>
                <a:cubicBezTo>
                  <a:pt x="1403556" y="5681748"/>
                  <a:pt x="1401631" y="5681748"/>
                  <a:pt x="1401631" y="5685598"/>
                </a:cubicBezTo>
                <a:cubicBezTo>
                  <a:pt x="1401631" y="5687523"/>
                  <a:pt x="1403556" y="5687523"/>
                  <a:pt x="1403556" y="5687523"/>
                </a:cubicBezTo>
                <a:cubicBezTo>
                  <a:pt x="1403556" y="5689448"/>
                  <a:pt x="1403556" y="5693297"/>
                  <a:pt x="1401631" y="5693297"/>
                </a:cubicBezTo>
                <a:cubicBezTo>
                  <a:pt x="1399706" y="5689448"/>
                  <a:pt x="1397781" y="5681748"/>
                  <a:pt x="1399706" y="5677899"/>
                </a:cubicBezTo>
                <a:close/>
                <a:moveTo>
                  <a:pt x="1921324" y="5674049"/>
                </a:moveTo>
                <a:cubicBezTo>
                  <a:pt x="1921324" y="5677899"/>
                  <a:pt x="1919399" y="5679824"/>
                  <a:pt x="1919399" y="5681748"/>
                </a:cubicBezTo>
                <a:cubicBezTo>
                  <a:pt x="1919399" y="5679824"/>
                  <a:pt x="1919399" y="5679824"/>
                  <a:pt x="1919399" y="5677899"/>
                </a:cubicBezTo>
                <a:cubicBezTo>
                  <a:pt x="1919399" y="5677899"/>
                  <a:pt x="1921324" y="5675974"/>
                  <a:pt x="1921324" y="5674049"/>
                </a:cubicBezTo>
                <a:close/>
                <a:moveTo>
                  <a:pt x="1478621" y="5662500"/>
                </a:moveTo>
                <a:cubicBezTo>
                  <a:pt x="1480547" y="5666350"/>
                  <a:pt x="1480547" y="5668275"/>
                  <a:pt x="1482472" y="5672124"/>
                </a:cubicBezTo>
                <a:cubicBezTo>
                  <a:pt x="1478621" y="5672124"/>
                  <a:pt x="1482472" y="5670200"/>
                  <a:pt x="1478621" y="5670200"/>
                </a:cubicBezTo>
                <a:cubicBezTo>
                  <a:pt x="1476697" y="5670200"/>
                  <a:pt x="1474772" y="5670200"/>
                  <a:pt x="1474772" y="5674049"/>
                </a:cubicBezTo>
                <a:cubicBezTo>
                  <a:pt x="1472848" y="5674049"/>
                  <a:pt x="1472848" y="5672124"/>
                  <a:pt x="1472848" y="5670200"/>
                </a:cubicBezTo>
                <a:cubicBezTo>
                  <a:pt x="1476697" y="5670200"/>
                  <a:pt x="1474772" y="5666350"/>
                  <a:pt x="1474772" y="5664425"/>
                </a:cubicBezTo>
                <a:cubicBezTo>
                  <a:pt x="1476697" y="5662500"/>
                  <a:pt x="1476697" y="5662500"/>
                  <a:pt x="1478621" y="5662500"/>
                </a:cubicBezTo>
                <a:close/>
                <a:moveTo>
                  <a:pt x="1511343" y="5660576"/>
                </a:moveTo>
                <a:cubicBezTo>
                  <a:pt x="1515194" y="5660576"/>
                  <a:pt x="1517117" y="5660576"/>
                  <a:pt x="1520968" y="5660576"/>
                </a:cubicBezTo>
                <a:cubicBezTo>
                  <a:pt x="1520968" y="5664425"/>
                  <a:pt x="1517117" y="5660576"/>
                  <a:pt x="1515194" y="5662500"/>
                </a:cubicBezTo>
                <a:cubicBezTo>
                  <a:pt x="1513268" y="5662500"/>
                  <a:pt x="1513268" y="5664425"/>
                  <a:pt x="1513268" y="5666350"/>
                </a:cubicBezTo>
                <a:cubicBezTo>
                  <a:pt x="1513268" y="5666350"/>
                  <a:pt x="1511343" y="5666350"/>
                  <a:pt x="1511343" y="5666350"/>
                </a:cubicBezTo>
                <a:cubicBezTo>
                  <a:pt x="1511343" y="5664425"/>
                  <a:pt x="1511343" y="5664425"/>
                  <a:pt x="1511343" y="5662500"/>
                </a:cubicBezTo>
                <a:cubicBezTo>
                  <a:pt x="1511343" y="5662500"/>
                  <a:pt x="1511343" y="5660576"/>
                  <a:pt x="1511343" y="5660576"/>
                </a:cubicBezTo>
                <a:close/>
                <a:moveTo>
                  <a:pt x="2083006" y="5650952"/>
                </a:moveTo>
                <a:cubicBezTo>
                  <a:pt x="2083006" y="5650952"/>
                  <a:pt x="2084930" y="5650952"/>
                  <a:pt x="2084930" y="5650952"/>
                </a:cubicBezTo>
                <a:cubicBezTo>
                  <a:pt x="2084930" y="5652876"/>
                  <a:pt x="2086855" y="5652876"/>
                  <a:pt x="2086855" y="5654801"/>
                </a:cubicBezTo>
                <a:cubicBezTo>
                  <a:pt x="2084930" y="5658651"/>
                  <a:pt x="2084930" y="5662500"/>
                  <a:pt x="2083006" y="5664425"/>
                </a:cubicBezTo>
                <a:cubicBezTo>
                  <a:pt x="2081081" y="5660576"/>
                  <a:pt x="2083006" y="5656726"/>
                  <a:pt x="2083006" y="5654801"/>
                </a:cubicBezTo>
                <a:cubicBezTo>
                  <a:pt x="2081081" y="5654801"/>
                  <a:pt x="2081081" y="5654801"/>
                  <a:pt x="2079156" y="5654801"/>
                </a:cubicBezTo>
                <a:cubicBezTo>
                  <a:pt x="2081081" y="5654801"/>
                  <a:pt x="2083006" y="5652876"/>
                  <a:pt x="2083006" y="5650952"/>
                </a:cubicBezTo>
                <a:close/>
                <a:moveTo>
                  <a:pt x="1332341" y="5647107"/>
                </a:moveTo>
                <a:lnTo>
                  <a:pt x="1336188" y="5658650"/>
                </a:lnTo>
                <a:cubicBezTo>
                  <a:pt x="1338113" y="5664424"/>
                  <a:pt x="1338113" y="5668274"/>
                  <a:pt x="1338113" y="5672123"/>
                </a:cubicBezTo>
                <a:close/>
                <a:moveTo>
                  <a:pt x="1511344" y="5647102"/>
                </a:moveTo>
                <a:cubicBezTo>
                  <a:pt x="1513269" y="5649027"/>
                  <a:pt x="1515194" y="5649027"/>
                  <a:pt x="1515194" y="5650952"/>
                </a:cubicBezTo>
                <a:cubicBezTo>
                  <a:pt x="1513269" y="5650952"/>
                  <a:pt x="1513269" y="5650952"/>
                  <a:pt x="1511344" y="5650952"/>
                </a:cubicBezTo>
                <a:cubicBezTo>
                  <a:pt x="1511344" y="5649027"/>
                  <a:pt x="1511344" y="5649027"/>
                  <a:pt x="1511344" y="5647102"/>
                </a:cubicBezTo>
                <a:close/>
                <a:moveTo>
                  <a:pt x="1332339" y="5647101"/>
                </a:moveTo>
                <a:lnTo>
                  <a:pt x="1332341" y="5647107"/>
                </a:lnTo>
                <a:lnTo>
                  <a:pt x="1332339" y="5647102"/>
                </a:lnTo>
                <a:close/>
                <a:moveTo>
                  <a:pt x="1634530" y="5645176"/>
                </a:moveTo>
                <a:cubicBezTo>
                  <a:pt x="1632606" y="5654801"/>
                  <a:pt x="1630681" y="5666350"/>
                  <a:pt x="1628756" y="5679823"/>
                </a:cubicBezTo>
                <a:cubicBezTo>
                  <a:pt x="1628756" y="5675974"/>
                  <a:pt x="1628756" y="5672124"/>
                  <a:pt x="1628756" y="5668275"/>
                </a:cubicBezTo>
                <a:cubicBezTo>
                  <a:pt x="1628756" y="5660576"/>
                  <a:pt x="1630681" y="5652876"/>
                  <a:pt x="1634530" y="5645176"/>
                </a:cubicBezTo>
                <a:close/>
                <a:moveTo>
                  <a:pt x="1193754" y="5643251"/>
                </a:moveTo>
                <a:cubicBezTo>
                  <a:pt x="1201452" y="5662500"/>
                  <a:pt x="1207227" y="5681748"/>
                  <a:pt x="1214927" y="5700996"/>
                </a:cubicBezTo>
                <a:cubicBezTo>
                  <a:pt x="1209152" y="5697146"/>
                  <a:pt x="1197603" y="5693297"/>
                  <a:pt x="1189903" y="5697146"/>
                </a:cubicBezTo>
                <a:cubicBezTo>
                  <a:pt x="1189903" y="5691372"/>
                  <a:pt x="1187979" y="5685597"/>
                  <a:pt x="1186054" y="5679823"/>
                </a:cubicBezTo>
                <a:cubicBezTo>
                  <a:pt x="1186054" y="5674049"/>
                  <a:pt x="1186054" y="5668275"/>
                  <a:pt x="1186054" y="5660575"/>
                </a:cubicBezTo>
                <a:cubicBezTo>
                  <a:pt x="1187979" y="5658651"/>
                  <a:pt x="1189903" y="5654801"/>
                  <a:pt x="1189903" y="5652876"/>
                </a:cubicBezTo>
                <a:cubicBezTo>
                  <a:pt x="1191828" y="5649027"/>
                  <a:pt x="1191828" y="5647101"/>
                  <a:pt x="1193754" y="5643251"/>
                </a:cubicBezTo>
                <a:close/>
                <a:moveTo>
                  <a:pt x="1515194" y="5631704"/>
                </a:moveTo>
                <a:cubicBezTo>
                  <a:pt x="1517118" y="5637478"/>
                  <a:pt x="1519043" y="5641328"/>
                  <a:pt x="1520968" y="5647102"/>
                </a:cubicBezTo>
                <a:cubicBezTo>
                  <a:pt x="1519043" y="5645177"/>
                  <a:pt x="1515194" y="5643252"/>
                  <a:pt x="1513269" y="5643252"/>
                </a:cubicBezTo>
                <a:cubicBezTo>
                  <a:pt x="1513269" y="5639403"/>
                  <a:pt x="1513269" y="5635553"/>
                  <a:pt x="1515194" y="5631704"/>
                </a:cubicBezTo>
                <a:close/>
                <a:moveTo>
                  <a:pt x="1189905" y="5631704"/>
                </a:moveTo>
                <a:cubicBezTo>
                  <a:pt x="1189905" y="5633628"/>
                  <a:pt x="1189905" y="5633628"/>
                  <a:pt x="1191829" y="5637478"/>
                </a:cubicBezTo>
                <a:cubicBezTo>
                  <a:pt x="1189905" y="5639403"/>
                  <a:pt x="1189905" y="5643252"/>
                  <a:pt x="1187980" y="5645177"/>
                </a:cubicBezTo>
                <a:cubicBezTo>
                  <a:pt x="1187980" y="5641328"/>
                  <a:pt x="1189905" y="5635553"/>
                  <a:pt x="1189905" y="5631704"/>
                </a:cubicBezTo>
                <a:close/>
                <a:moveTo>
                  <a:pt x="1484397" y="5618230"/>
                </a:moveTo>
                <a:cubicBezTo>
                  <a:pt x="1484397" y="5624004"/>
                  <a:pt x="1484397" y="5627854"/>
                  <a:pt x="1484397" y="5631704"/>
                </a:cubicBezTo>
                <a:cubicBezTo>
                  <a:pt x="1484397" y="5631704"/>
                  <a:pt x="1482472" y="5631704"/>
                  <a:pt x="1482472" y="5631704"/>
                </a:cubicBezTo>
                <a:cubicBezTo>
                  <a:pt x="1476697" y="5633628"/>
                  <a:pt x="1474772" y="5635553"/>
                  <a:pt x="1470923" y="5639403"/>
                </a:cubicBezTo>
                <a:cubicBezTo>
                  <a:pt x="1468998" y="5639403"/>
                  <a:pt x="1468998" y="5637478"/>
                  <a:pt x="1468998" y="5637478"/>
                </a:cubicBezTo>
                <a:cubicBezTo>
                  <a:pt x="1470923" y="5637478"/>
                  <a:pt x="1472848" y="5635553"/>
                  <a:pt x="1472848" y="5631704"/>
                </a:cubicBezTo>
                <a:cubicBezTo>
                  <a:pt x="1468998" y="5629779"/>
                  <a:pt x="1467073" y="5635553"/>
                  <a:pt x="1467073" y="5631704"/>
                </a:cubicBezTo>
                <a:cubicBezTo>
                  <a:pt x="1468998" y="5631704"/>
                  <a:pt x="1468998" y="5629779"/>
                  <a:pt x="1470923" y="5629779"/>
                </a:cubicBezTo>
                <a:cubicBezTo>
                  <a:pt x="1472848" y="5631704"/>
                  <a:pt x="1476697" y="5631704"/>
                  <a:pt x="1478623" y="5633628"/>
                </a:cubicBezTo>
                <a:cubicBezTo>
                  <a:pt x="1478623" y="5633628"/>
                  <a:pt x="1480547" y="5631704"/>
                  <a:pt x="1480547" y="5631704"/>
                </a:cubicBezTo>
                <a:cubicBezTo>
                  <a:pt x="1480547" y="5627854"/>
                  <a:pt x="1476697" y="5625929"/>
                  <a:pt x="1476697" y="5622080"/>
                </a:cubicBezTo>
                <a:cubicBezTo>
                  <a:pt x="1478623" y="5620155"/>
                  <a:pt x="1482472" y="5620155"/>
                  <a:pt x="1484397" y="5618230"/>
                </a:cubicBezTo>
                <a:close/>
                <a:moveTo>
                  <a:pt x="1286144" y="5614380"/>
                </a:moveTo>
                <a:cubicBezTo>
                  <a:pt x="1286144" y="5614380"/>
                  <a:pt x="1288069" y="5614380"/>
                  <a:pt x="1288069" y="5614380"/>
                </a:cubicBezTo>
                <a:cubicBezTo>
                  <a:pt x="1288069" y="5614380"/>
                  <a:pt x="1288069" y="5616305"/>
                  <a:pt x="1286144" y="5616305"/>
                </a:cubicBezTo>
                <a:cubicBezTo>
                  <a:pt x="1286144" y="5616305"/>
                  <a:pt x="1286144" y="5614380"/>
                  <a:pt x="1286144" y="5614380"/>
                </a:cubicBezTo>
                <a:close/>
                <a:moveTo>
                  <a:pt x="1295768" y="5612455"/>
                </a:moveTo>
                <a:cubicBezTo>
                  <a:pt x="1303467" y="5614379"/>
                  <a:pt x="1309240" y="5616304"/>
                  <a:pt x="1316940" y="5616304"/>
                </a:cubicBezTo>
                <a:cubicBezTo>
                  <a:pt x="1318865" y="5620154"/>
                  <a:pt x="1301541" y="5629778"/>
                  <a:pt x="1307315" y="5635552"/>
                </a:cubicBezTo>
                <a:cubicBezTo>
                  <a:pt x="1316940" y="5631703"/>
                  <a:pt x="1324640" y="5625928"/>
                  <a:pt x="1330414" y="5618229"/>
                </a:cubicBezTo>
                <a:cubicBezTo>
                  <a:pt x="1330414" y="5622079"/>
                  <a:pt x="1332339" y="5627853"/>
                  <a:pt x="1332339" y="5631703"/>
                </a:cubicBezTo>
                <a:cubicBezTo>
                  <a:pt x="1330414" y="5633627"/>
                  <a:pt x="1328489" y="5633627"/>
                  <a:pt x="1328489" y="5635552"/>
                </a:cubicBezTo>
                <a:lnTo>
                  <a:pt x="1332339" y="5647102"/>
                </a:lnTo>
                <a:lnTo>
                  <a:pt x="1330414" y="5664424"/>
                </a:lnTo>
                <a:cubicBezTo>
                  <a:pt x="1320790" y="5662499"/>
                  <a:pt x="1301541" y="5647101"/>
                  <a:pt x="1295768" y="5662499"/>
                </a:cubicBezTo>
                <a:cubicBezTo>
                  <a:pt x="1307315" y="5666349"/>
                  <a:pt x="1318865" y="5670199"/>
                  <a:pt x="1326564" y="5675973"/>
                </a:cubicBezTo>
                <a:cubicBezTo>
                  <a:pt x="1324640" y="5679822"/>
                  <a:pt x="1324640" y="5685597"/>
                  <a:pt x="1324640" y="5691371"/>
                </a:cubicBezTo>
                <a:cubicBezTo>
                  <a:pt x="1322715" y="5691371"/>
                  <a:pt x="1320790" y="5689446"/>
                  <a:pt x="1318865" y="5689446"/>
                </a:cubicBezTo>
                <a:cubicBezTo>
                  <a:pt x="1316940" y="5683672"/>
                  <a:pt x="1316940" y="5674048"/>
                  <a:pt x="1313091" y="5670199"/>
                </a:cubicBezTo>
                <a:cubicBezTo>
                  <a:pt x="1307315" y="5674048"/>
                  <a:pt x="1309240" y="5681747"/>
                  <a:pt x="1309240" y="5687522"/>
                </a:cubicBezTo>
                <a:cubicBezTo>
                  <a:pt x="1295768" y="5683672"/>
                  <a:pt x="1284218" y="5677898"/>
                  <a:pt x="1276519" y="5683672"/>
                </a:cubicBezTo>
                <a:cubicBezTo>
                  <a:pt x="1276519" y="5677898"/>
                  <a:pt x="1278444" y="5674048"/>
                  <a:pt x="1280368" y="5670199"/>
                </a:cubicBezTo>
                <a:cubicBezTo>
                  <a:pt x="1280368" y="5668274"/>
                  <a:pt x="1278444" y="5668274"/>
                  <a:pt x="1278444" y="5666349"/>
                </a:cubicBezTo>
                <a:cubicBezTo>
                  <a:pt x="1282293" y="5650951"/>
                  <a:pt x="1286143" y="5633627"/>
                  <a:pt x="1289992" y="5618229"/>
                </a:cubicBezTo>
                <a:cubicBezTo>
                  <a:pt x="1293842" y="5618229"/>
                  <a:pt x="1295768" y="5614379"/>
                  <a:pt x="1295768" y="5612455"/>
                </a:cubicBezTo>
                <a:close/>
                <a:moveTo>
                  <a:pt x="1366983" y="5598981"/>
                </a:moveTo>
                <a:cubicBezTo>
                  <a:pt x="1395855" y="5608605"/>
                  <a:pt x="1411254" y="5631703"/>
                  <a:pt x="1420878" y="5658649"/>
                </a:cubicBezTo>
                <a:cubicBezTo>
                  <a:pt x="1417028" y="5662499"/>
                  <a:pt x="1415103" y="5666348"/>
                  <a:pt x="1411254" y="5672123"/>
                </a:cubicBezTo>
                <a:cubicBezTo>
                  <a:pt x="1405479" y="5672123"/>
                  <a:pt x="1401630" y="5674048"/>
                  <a:pt x="1397780" y="5674048"/>
                </a:cubicBezTo>
                <a:cubicBezTo>
                  <a:pt x="1395855" y="5674048"/>
                  <a:pt x="1397780" y="5668273"/>
                  <a:pt x="1395855" y="5668273"/>
                </a:cubicBezTo>
                <a:cubicBezTo>
                  <a:pt x="1393931" y="5645176"/>
                  <a:pt x="1372758" y="5631703"/>
                  <a:pt x="1365059" y="5612455"/>
                </a:cubicBezTo>
                <a:cubicBezTo>
                  <a:pt x="1359284" y="5620154"/>
                  <a:pt x="1361209" y="5625928"/>
                  <a:pt x="1365059" y="5631703"/>
                </a:cubicBezTo>
                <a:cubicBezTo>
                  <a:pt x="1361209" y="5633627"/>
                  <a:pt x="1357360" y="5643251"/>
                  <a:pt x="1357360" y="5649026"/>
                </a:cubicBezTo>
                <a:cubicBezTo>
                  <a:pt x="1357360" y="5649026"/>
                  <a:pt x="1357360" y="5650950"/>
                  <a:pt x="1357360" y="5650950"/>
                </a:cubicBezTo>
                <a:cubicBezTo>
                  <a:pt x="1353510" y="5647101"/>
                  <a:pt x="1349661" y="5643251"/>
                  <a:pt x="1345811" y="5643251"/>
                </a:cubicBezTo>
                <a:cubicBezTo>
                  <a:pt x="1341961" y="5654800"/>
                  <a:pt x="1349661" y="5662499"/>
                  <a:pt x="1359284" y="5668273"/>
                </a:cubicBezTo>
                <a:cubicBezTo>
                  <a:pt x="1363134" y="5679822"/>
                  <a:pt x="1368908" y="5689446"/>
                  <a:pt x="1372758" y="5695220"/>
                </a:cubicBezTo>
                <a:cubicBezTo>
                  <a:pt x="1363134" y="5691370"/>
                  <a:pt x="1361209" y="5679822"/>
                  <a:pt x="1347736" y="5677897"/>
                </a:cubicBezTo>
                <a:cubicBezTo>
                  <a:pt x="1347736" y="5662499"/>
                  <a:pt x="1340037" y="5649026"/>
                  <a:pt x="1341961" y="5633627"/>
                </a:cubicBezTo>
                <a:cubicBezTo>
                  <a:pt x="1336187" y="5625928"/>
                  <a:pt x="1347736" y="5616304"/>
                  <a:pt x="1340037" y="5612455"/>
                </a:cubicBezTo>
                <a:cubicBezTo>
                  <a:pt x="1338112" y="5610530"/>
                  <a:pt x="1338112" y="5614379"/>
                  <a:pt x="1336187" y="5614379"/>
                </a:cubicBezTo>
                <a:cubicBezTo>
                  <a:pt x="1336187" y="5612455"/>
                  <a:pt x="1336187" y="5612455"/>
                  <a:pt x="1336187" y="5610530"/>
                </a:cubicBezTo>
                <a:cubicBezTo>
                  <a:pt x="1338112" y="5606680"/>
                  <a:pt x="1340037" y="5604755"/>
                  <a:pt x="1341961" y="5600906"/>
                </a:cubicBezTo>
                <a:cubicBezTo>
                  <a:pt x="1349661" y="5598981"/>
                  <a:pt x="1357360" y="5598981"/>
                  <a:pt x="1366983" y="5598981"/>
                </a:cubicBezTo>
                <a:close/>
                <a:moveTo>
                  <a:pt x="1486322" y="5597057"/>
                </a:moveTo>
                <a:cubicBezTo>
                  <a:pt x="1486322" y="5600907"/>
                  <a:pt x="1486322" y="5602832"/>
                  <a:pt x="1486322" y="5604756"/>
                </a:cubicBezTo>
                <a:cubicBezTo>
                  <a:pt x="1484397" y="5606681"/>
                  <a:pt x="1482472" y="5606681"/>
                  <a:pt x="1482472" y="5606681"/>
                </a:cubicBezTo>
                <a:cubicBezTo>
                  <a:pt x="1484397" y="5602832"/>
                  <a:pt x="1486322" y="5600907"/>
                  <a:pt x="1486322" y="5597057"/>
                </a:cubicBezTo>
                <a:close/>
                <a:moveTo>
                  <a:pt x="1203378" y="5587433"/>
                </a:moveTo>
                <a:cubicBezTo>
                  <a:pt x="1203378" y="5589358"/>
                  <a:pt x="1203378" y="5589358"/>
                  <a:pt x="1201453" y="5591283"/>
                </a:cubicBezTo>
                <a:cubicBezTo>
                  <a:pt x="1201453" y="5593208"/>
                  <a:pt x="1201453" y="5595132"/>
                  <a:pt x="1201453" y="5597057"/>
                </a:cubicBezTo>
                <a:cubicBezTo>
                  <a:pt x="1199528" y="5595132"/>
                  <a:pt x="1197604" y="5591283"/>
                  <a:pt x="1195679" y="5589358"/>
                </a:cubicBezTo>
                <a:cubicBezTo>
                  <a:pt x="1199528" y="5589358"/>
                  <a:pt x="1201453" y="5587433"/>
                  <a:pt x="1203378" y="5587433"/>
                </a:cubicBezTo>
                <a:close/>
                <a:moveTo>
                  <a:pt x="1220701" y="5585507"/>
                </a:moveTo>
                <a:cubicBezTo>
                  <a:pt x="1218776" y="5598982"/>
                  <a:pt x="1213001" y="5614380"/>
                  <a:pt x="1209151" y="5624004"/>
                </a:cubicBezTo>
                <a:cubicBezTo>
                  <a:pt x="1207226" y="5618230"/>
                  <a:pt x="1205302" y="5612455"/>
                  <a:pt x="1203378" y="5606681"/>
                </a:cubicBezTo>
                <a:cubicBezTo>
                  <a:pt x="1205302" y="5598982"/>
                  <a:pt x="1207226" y="5593208"/>
                  <a:pt x="1209151" y="5587433"/>
                </a:cubicBezTo>
                <a:cubicBezTo>
                  <a:pt x="1213001" y="5587433"/>
                  <a:pt x="1216851" y="5585507"/>
                  <a:pt x="1220701" y="5585507"/>
                </a:cubicBezTo>
                <a:close/>
                <a:moveTo>
                  <a:pt x="1284218" y="5579733"/>
                </a:moveTo>
                <a:cubicBezTo>
                  <a:pt x="1297691" y="5583584"/>
                  <a:pt x="1311166" y="5585508"/>
                  <a:pt x="1322715" y="5579733"/>
                </a:cubicBezTo>
                <a:cubicBezTo>
                  <a:pt x="1324639" y="5585508"/>
                  <a:pt x="1324639" y="5591283"/>
                  <a:pt x="1326564" y="5597057"/>
                </a:cubicBezTo>
                <a:cubicBezTo>
                  <a:pt x="1315015" y="5600907"/>
                  <a:pt x="1303467" y="5604756"/>
                  <a:pt x="1289992" y="5608606"/>
                </a:cubicBezTo>
                <a:cubicBezTo>
                  <a:pt x="1288067" y="5608606"/>
                  <a:pt x="1288067" y="5606681"/>
                  <a:pt x="1286143" y="5606681"/>
                </a:cubicBezTo>
                <a:cubicBezTo>
                  <a:pt x="1286143" y="5598982"/>
                  <a:pt x="1286143" y="5591283"/>
                  <a:pt x="1288067" y="5585508"/>
                </a:cubicBezTo>
                <a:cubicBezTo>
                  <a:pt x="1286143" y="5583584"/>
                  <a:pt x="1284218" y="5581659"/>
                  <a:pt x="1284218" y="5579733"/>
                </a:cubicBezTo>
                <a:close/>
                <a:moveTo>
                  <a:pt x="1332338" y="5573960"/>
                </a:moveTo>
                <a:cubicBezTo>
                  <a:pt x="1336187" y="5577809"/>
                  <a:pt x="1343888" y="5579734"/>
                  <a:pt x="1347737" y="5583584"/>
                </a:cubicBezTo>
                <a:cubicBezTo>
                  <a:pt x="1343888" y="5585508"/>
                  <a:pt x="1340037" y="5587433"/>
                  <a:pt x="1338113" y="5591283"/>
                </a:cubicBezTo>
                <a:cubicBezTo>
                  <a:pt x="1338113" y="5591283"/>
                  <a:pt x="1338113" y="5589358"/>
                  <a:pt x="1338113" y="5589358"/>
                </a:cubicBezTo>
                <a:cubicBezTo>
                  <a:pt x="1334263" y="5585508"/>
                  <a:pt x="1334263" y="5579734"/>
                  <a:pt x="1332338" y="5573960"/>
                </a:cubicBezTo>
                <a:close/>
                <a:moveTo>
                  <a:pt x="1459374" y="5572034"/>
                </a:moveTo>
                <a:cubicBezTo>
                  <a:pt x="1461299" y="5585508"/>
                  <a:pt x="1461299" y="5598982"/>
                  <a:pt x="1459374" y="5610531"/>
                </a:cubicBezTo>
                <a:cubicBezTo>
                  <a:pt x="1457450" y="5608606"/>
                  <a:pt x="1457450" y="5606681"/>
                  <a:pt x="1455525" y="5602832"/>
                </a:cubicBezTo>
                <a:cubicBezTo>
                  <a:pt x="1455525" y="5593208"/>
                  <a:pt x="1457450" y="5581659"/>
                  <a:pt x="1459374" y="5572034"/>
                </a:cubicBezTo>
                <a:close/>
                <a:moveTo>
                  <a:pt x="1264971" y="5572034"/>
                </a:moveTo>
                <a:cubicBezTo>
                  <a:pt x="1270745" y="5573959"/>
                  <a:pt x="1274595" y="5573959"/>
                  <a:pt x="1278445" y="5575883"/>
                </a:cubicBezTo>
                <a:cubicBezTo>
                  <a:pt x="1278445" y="5583583"/>
                  <a:pt x="1282294" y="5593207"/>
                  <a:pt x="1278445" y="5600906"/>
                </a:cubicBezTo>
                <a:cubicBezTo>
                  <a:pt x="1270745" y="5598981"/>
                  <a:pt x="1261121" y="5597056"/>
                  <a:pt x="1259196" y="5604756"/>
                </a:cubicBezTo>
                <a:cubicBezTo>
                  <a:pt x="1264971" y="5606681"/>
                  <a:pt x="1272670" y="5608606"/>
                  <a:pt x="1280369" y="5610531"/>
                </a:cubicBezTo>
                <a:cubicBezTo>
                  <a:pt x="1282294" y="5624004"/>
                  <a:pt x="1280369" y="5637478"/>
                  <a:pt x="1276520" y="5649026"/>
                </a:cubicBezTo>
                <a:cubicBezTo>
                  <a:pt x="1276520" y="5650951"/>
                  <a:pt x="1272670" y="5649026"/>
                  <a:pt x="1272670" y="5650951"/>
                </a:cubicBezTo>
                <a:cubicBezTo>
                  <a:pt x="1274595" y="5658650"/>
                  <a:pt x="1272670" y="5670199"/>
                  <a:pt x="1268821" y="5674048"/>
                </a:cubicBezTo>
                <a:cubicBezTo>
                  <a:pt x="1272670" y="5681747"/>
                  <a:pt x="1268821" y="5693296"/>
                  <a:pt x="1266896" y="5702920"/>
                </a:cubicBezTo>
                <a:cubicBezTo>
                  <a:pt x="1255346" y="5695221"/>
                  <a:pt x="1245723" y="5708695"/>
                  <a:pt x="1245723" y="5718319"/>
                </a:cubicBezTo>
                <a:cubicBezTo>
                  <a:pt x="1243797" y="5718319"/>
                  <a:pt x="1245723" y="5716394"/>
                  <a:pt x="1243797" y="5716394"/>
                </a:cubicBezTo>
                <a:cubicBezTo>
                  <a:pt x="1241873" y="5714469"/>
                  <a:pt x="1241873" y="5714469"/>
                  <a:pt x="1241873" y="5712544"/>
                </a:cubicBezTo>
                <a:cubicBezTo>
                  <a:pt x="1241873" y="5710619"/>
                  <a:pt x="1241873" y="5706770"/>
                  <a:pt x="1243797" y="5704845"/>
                </a:cubicBezTo>
                <a:cubicBezTo>
                  <a:pt x="1241873" y="5704845"/>
                  <a:pt x="1239948" y="5706770"/>
                  <a:pt x="1239948" y="5706770"/>
                </a:cubicBezTo>
                <a:cubicBezTo>
                  <a:pt x="1239948" y="5706770"/>
                  <a:pt x="1239948" y="5704845"/>
                  <a:pt x="1239948" y="5704845"/>
                </a:cubicBezTo>
                <a:cubicBezTo>
                  <a:pt x="1243797" y="5699071"/>
                  <a:pt x="1247647" y="5693296"/>
                  <a:pt x="1249572" y="5683672"/>
                </a:cubicBezTo>
                <a:cubicBezTo>
                  <a:pt x="1243797" y="5679823"/>
                  <a:pt x="1239948" y="5687522"/>
                  <a:pt x="1236099" y="5691371"/>
                </a:cubicBezTo>
                <a:cubicBezTo>
                  <a:pt x="1228399" y="5654801"/>
                  <a:pt x="1228399" y="5616305"/>
                  <a:pt x="1236099" y="5579733"/>
                </a:cubicBezTo>
                <a:cubicBezTo>
                  <a:pt x="1245723" y="5575883"/>
                  <a:pt x="1255346" y="5573959"/>
                  <a:pt x="1264971" y="5572034"/>
                </a:cubicBezTo>
                <a:close/>
                <a:moveTo>
                  <a:pt x="1859730" y="5568186"/>
                </a:moveTo>
                <a:cubicBezTo>
                  <a:pt x="1859730" y="5572036"/>
                  <a:pt x="1861655" y="5575885"/>
                  <a:pt x="1861655" y="5579735"/>
                </a:cubicBezTo>
                <a:cubicBezTo>
                  <a:pt x="1865504" y="5606682"/>
                  <a:pt x="1852031" y="5606682"/>
                  <a:pt x="1840482" y="5625930"/>
                </a:cubicBezTo>
                <a:cubicBezTo>
                  <a:pt x="1830858" y="5641328"/>
                  <a:pt x="1823159" y="5664425"/>
                  <a:pt x="1813535" y="5683673"/>
                </a:cubicBezTo>
                <a:cubicBezTo>
                  <a:pt x="1817384" y="5689448"/>
                  <a:pt x="1821234" y="5695222"/>
                  <a:pt x="1827008" y="5700996"/>
                </a:cubicBezTo>
                <a:cubicBezTo>
                  <a:pt x="1828933" y="5699072"/>
                  <a:pt x="1828933" y="5697147"/>
                  <a:pt x="1830858" y="5697147"/>
                </a:cubicBezTo>
                <a:cubicBezTo>
                  <a:pt x="1830858" y="5699072"/>
                  <a:pt x="1830858" y="5702921"/>
                  <a:pt x="1830858" y="5704846"/>
                </a:cubicBezTo>
                <a:cubicBezTo>
                  <a:pt x="1838558" y="5716395"/>
                  <a:pt x="1848181" y="5726019"/>
                  <a:pt x="1855880" y="5737568"/>
                </a:cubicBezTo>
                <a:cubicBezTo>
                  <a:pt x="1859730" y="5727944"/>
                  <a:pt x="1865504" y="5720244"/>
                  <a:pt x="1865504" y="5708696"/>
                </a:cubicBezTo>
                <a:lnTo>
                  <a:pt x="1874578" y="5708696"/>
                </a:lnTo>
                <a:lnTo>
                  <a:pt x="1874887" y="5706530"/>
                </a:lnTo>
                <a:cubicBezTo>
                  <a:pt x="1876090" y="5698109"/>
                  <a:pt x="1878015" y="5690409"/>
                  <a:pt x="1882828" y="5685597"/>
                </a:cubicBezTo>
                <a:lnTo>
                  <a:pt x="1892742" y="5684696"/>
                </a:lnTo>
                <a:lnTo>
                  <a:pt x="1893414" y="5669237"/>
                </a:lnTo>
                <a:cubicBezTo>
                  <a:pt x="1896301" y="5662981"/>
                  <a:pt x="1901113" y="5657688"/>
                  <a:pt x="1905925" y="5652876"/>
                </a:cubicBezTo>
                <a:cubicBezTo>
                  <a:pt x="1905925" y="5647102"/>
                  <a:pt x="1905925" y="5641328"/>
                  <a:pt x="1905925" y="5635553"/>
                </a:cubicBezTo>
                <a:cubicBezTo>
                  <a:pt x="1902075" y="5641328"/>
                  <a:pt x="1896301" y="5649027"/>
                  <a:pt x="1890526" y="5654801"/>
                </a:cubicBezTo>
                <a:cubicBezTo>
                  <a:pt x="1888602" y="5643252"/>
                  <a:pt x="1898226" y="5635553"/>
                  <a:pt x="1890526" y="5629779"/>
                </a:cubicBezTo>
                <a:cubicBezTo>
                  <a:pt x="1873203" y="5641328"/>
                  <a:pt x="1877054" y="5672124"/>
                  <a:pt x="1871278" y="5695222"/>
                </a:cubicBezTo>
                <a:cubicBezTo>
                  <a:pt x="1869354" y="5691372"/>
                  <a:pt x="1869354" y="5685598"/>
                  <a:pt x="1863579" y="5685598"/>
                </a:cubicBezTo>
                <a:cubicBezTo>
                  <a:pt x="1859730" y="5695222"/>
                  <a:pt x="1857805" y="5708696"/>
                  <a:pt x="1844331" y="5712545"/>
                </a:cubicBezTo>
                <a:cubicBezTo>
                  <a:pt x="1844331" y="5702921"/>
                  <a:pt x="1844331" y="5695222"/>
                  <a:pt x="1844331" y="5685598"/>
                </a:cubicBezTo>
                <a:cubicBezTo>
                  <a:pt x="1840482" y="5683673"/>
                  <a:pt x="1838558" y="5679824"/>
                  <a:pt x="1834707" y="5683673"/>
                </a:cubicBezTo>
                <a:cubicBezTo>
                  <a:pt x="1850106" y="5656726"/>
                  <a:pt x="1867429" y="5616306"/>
                  <a:pt x="1896301" y="5598983"/>
                </a:cubicBezTo>
                <a:cubicBezTo>
                  <a:pt x="1892451" y="5591284"/>
                  <a:pt x="1886677" y="5585509"/>
                  <a:pt x="1878978" y="5579735"/>
                </a:cubicBezTo>
                <a:cubicBezTo>
                  <a:pt x="1878978" y="5579735"/>
                  <a:pt x="1877054" y="5581660"/>
                  <a:pt x="1877054" y="5581660"/>
                </a:cubicBezTo>
                <a:cubicBezTo>
                  <a:pt x="1875128" y="5577810"/>
                  <a:pt x="1875128" y="5575885"/>
                  <a:pt x="1873203" y="5573961"/>
                </a:cubicBezTo>
                <a:cubicBezTo>
                  <a:pt x="1869354" y="5572036"/>
                  <a:pt x="1863579" y="5570111"/>
                  <a:pt x="1859730" y="5568186"/>
                </a:cubicBezTo>
                <a:close/>
                <a:moveTo>
                  <a:pt x="1792362" y="5562412"/>
                </a:moveTo>
                <a:cubicBezTo>
                  <a:pt x="1790437" y="5562412"/>
                  <a:pt x="1790437" y="5562412"/>
                  <a:pt x="1788514" y="5564337"/>
                </a:cubicBezTo>
                <a:cubicBezTo>
                  <a:pt x="1788514" y="5566261"/>
                  <a:pt x="1786588" y="5566261"/>
                  <a:pt x="1786588" y="5568186"/>
                </a:cubicBezTo>
                <a:cubicBezTo>
                  <a:pt x="1780813" y="5579735"/>
                  <a:pt x="1780813" y="5602832"/>
                  <a:pt x="1773114" y="5616306"/>
                </a:cubicBezTo>
                <a:cubicBezTo>
                  <a:pt x="1775039" y="5620155"/>
                  <a:pt x="1775039" y="5622080"/>
                  <a:pt x="1775039" y="5625930"/>
                </a:cubicBezTo>
                <a:cubicBezTo>
                  <a:pt x="1786588" y="5608607"/>
                  <a:pt x="1792362" y="5583585"/>
                  <a:pt x="1809685" y="5570111"/>
                </a:cubicBezTo>
                <a:cubicBezTo>
                  <a:pt x="1803911" y="5573961"/>
                  <a:pt x="1798136" y="5577810"/>
                  <a:pt x="1788514" y="5577810"/>
                </a:cubicBezTo>
                <a:cubicBezTo>
                  <a:pt x="1784663" y="5575885"/>
                  <a:pt x="1790437" y="5566261"/>
                  <a:pt x="1792362" y="5562412"/>
                </a:cubicBezTo>
                <a:close/>
                <a:moveTo>
                  <a:pt x="1305392" y="5562411"/>
                </a:moveTo>
                <a:cubicBezTo>
                  <a:pt x="1307317" y="5564336"/>
                  <a:pt x="1307317" y="5566260"/>
                  <a:pt x="1309241" y="5568185"/>
                </a:cubicBezTo>
                <a:cubicBezTo>
                  <a:pt x="1297692" y="5572035"/>
                  <a:pt x="1286143" y="5572035"/>
                  <a:pt x="1278444" y="5568185"/>
                </a:cubicBezTo>
                <a:cubicBezTo>
                  <a:pt x="1288069" y="5566260"/>
                  <a:pt x="1295768" y="5564336"/>
                  <a:pt x="1305392" y="5562411"/>
                </a:cubicBezTo>
                <a:close/>
                <a:moveTo>
                  <a:pt x="1345812" y="5552787"/>
                </a:moveTo>
                <a:cubicBezTo>
                  <a:pt x="1345812" y="5554712"/>
                  <a:pt x="1347737" y="5556636"/>
                  <a:pt x="1347737" y="5556636"/>
                </a:cubicBezTo>
                <a:cubicBezTo>
                  <a:pt x="1345812" y="5556636"/>
                  <a:pt x="1343888" y="5556636"/>
                  <a:pt x="1341963" y="5554712"/>
                </a:cubicBezTo>
                <a:cubicBezTo>
                  <a:pt x="1341963" y="5554712"/>
                  <a:pt x="1343888" y="5554712"/>
                  <a:pt x="1345812" y="5552787"/>
                </a:cubicBezTo>
                <a:close/>
                <a:moveTo>
                  <a:pt x="1216851" y="5543163"/>
                </a:moveTo>
                <a:cubicBezTo>
                  <a:pt x="1218776" y="5545088"/>
                  <a:pt x="1218776" y="5548937"/>
                  <a:pt x="1218776" y="5550862"/>
                </a:cubicBezTo>
                <a:cubicBezTo>
                  <a:pt x="1218776" y="5550862"/>
                  <a:pt x="1216851" y="5550862"/>
                  <a:pt x="1216851" y="5550862"/>
                </a:cubicBezTo>
                <a:cubicBezTo>
                  <a:pt x="1216851" y="5548937"/>
                  <a:pt x="1216851" y="5545088"/>
                  <a:pt x="1216851" y="5543163"/>
                </a:cubicBezTo>
                <a:close/>
                <a:moveTo>
                  <a:pt x="1397782" y="5539313"/>
                </a:moveTo>
                <a:cubicBezTo>
                  <a:pt x="1403556" y="5554713"/>
                  <a:pt x="1407405" y="5570111"/>
                  <a:pt x="1407405" y="5585509"/>
                </a:cubicBezTo>
                <a:cubicBezTo>
                  <a:pt x="1405481" y="5585509"/>
                  <a:pt x="1405481" y="5583584"/>
                  <a:pt x="1403556" y="5583584"/>
                </a:cubicBezTo>
                <a:cubicBezTo>
                  <a:pt x="1401631" y="5585509"/>
                  <a:pt x="1401631" y="5585509"/>
                  <a:pt x="1401631" y="5587434"/>
                </a:cubicBezTo>
                <a:cubicBezTo>
                  <a:pt x="1386233" y="5575885"/>
                  <a:pt x="1366984" y="5570111"/>
                  <a:pt x="1347736" y="5560487"/>
                </a:cubicBezTo>
                <a:cubicBezTo>
                  <a:pt x="1347736" y="5560487"/>
                  <a:pt x="1347736" y="5558562"/>
                  <a:pt x="1347736" y="5558562"/>
                </a:cubicBezTo>
                <a:cubicBezTo>
                  <a:pt x="1351586" y="5558562"/>
                  <a:pt x="1351586" y="5562412"/>
                  <a:pt x="1355435" y="5560487"/>
                </a:cubicBezTo>
                <a:cubicBezTo>
                  <a:pt x="1357360" y="5558562"/>
                  <a:pt x="1357360" y="5554713"/>
                  <a:pt x="1355435" y="5550863"/>
                </a:cubicBezTo>
                <a:cubicBezTo>
                  <a:pt x="1368909" y="5547013"/>
                  <a:pt x="1384308" y="5543163"/>
                  <a:pt x="1397782" y="5539313"/>
                </a:cubicBezTo>
                <a:close/>
                <a:moveTo>
                  <a:pt x="1850106" y="5533540"/>
                </a:moveTo>
                <a:cubicBezTo>
                  <a:pt x="1846256" y="5533540"/>
                  <a:pt x="1842407" y="5533540"/>
                  <a:pt x="1838558" y="5535465"/>
                </a:cubicBezTo>
                <a:cubicBezTo>
                  <a:pt x="1842407" y="5533540"/>
                  <a:pt x="1846256" y="5533540"/>
                  <a:pt x="1850106" y="5535465"/>
                </a:cubicBezTo>
                <a:cubicBezTo>
                  <a:pt x="1850106" y="5533540"/>
                  <a:pt x="1850106" y="5533540"/>
                  <a:pt x="1850106" y="5533540"/>
                </a:cubicBezTo>
                <a:close/>
                <a:moveTo>
                  <a:pt x="1207227" y="5533539"/>
                </a:moveTo>
                <a:cubicBezTo>
                  <a:pt x="1207227" y="5533539"/>
                  <a:pt x="1209152" y="5535464"/>
                  <a:pt x="1209152" y="5535464"/>
                </a:cubicBezTo>
                <a:cubicBezTo>
                  <a:pt x="1209152" y="5541238"/>
                  <a:pt x="1209152" y="5547012"/>
                  <a:pt x="1209152" y="5552787"/>
                </a:cubicBezTo>
                <a:cubicBezTo>
                  <a:pt x="1207227" y="5552787"/>
                  <a:pt x="1205303" y="5552787"/>
                  <a:pt x="1203378" y="5552787"/>
                </a:cubicBezTo>
                <a:cubicBezTo>
                  <a:pt x="1205303" y="5545088"/>
                  <a:pt x="1207227" y="5539313"/>
                  <a:pt x="1207227" y="5533539"/>
                </a:cubicBezTo>
                <a:close/>
                <a:moveTo>
                  <a:pt x="1671102" y="5531615"/>
                </a:moveTo>
                <a:cubicBezTo>
                  <a:pt x="1665326" y="5535465"/>
                  <a:pt x="1659552" y="5539314"/>
                  <a:pt x="1653777" y="5543164"/>
                </a:cubicBezTo>
                <a:cubicBezTo>
                  <a:pt x="1659552" y="5541239"/>
                  <a:pt x="1665326" y="5539314"/>
                  <a:pt x="1673025" y="5537389"/>
                </a:cubicBezTo>
                <a:cubicBezTo>
                  <a:pt x="1673025" y="5535465"/>
                  <a:pt x="1671102" y="5533540"/>
                  <a:pt x="1671102" y="5531615"/>
                </a:cubicBezTo>
                <a:close/>
                <a:moveTo>
                  <a:pt x="1428578" y="5529689"/>
                </a:moveTo>
                <a:cubicBezTo>
                  <a:pt x="1432427" y="5543164"/>
                  <a:pt x="1440126" y="5558562"/>
                  <a:pt x="1432427" y="5570111"/>
                </a:cubicBezTo>
                <a:cubicBezTo>
                  <a:pt x="1424728" y="5560487"/>
                  <a:pt x="1420878" y="5548938"/>
                  <a:pt x="1417028" y="5533540"/>
                </a:cubicBezTo>
                <a:cubicBezTo>
                  <a:pt x="1420878" y="5531615"/>
                  <a:pt x="1424728" y="5531615"/>
                  <a:pt x="1428578" y="5529689"/>
                </a:cubicBezTo>
                <a:close/>
                <a:moveTo>
                  <a:pt x="1952119" y="5527765"/>
                </a:moveTo>
                <a:cubicBezTo>
                  <a:pt x="1952119" y="5529690"/>
                  <a:pt x="1950195" y="5529690"/>
                  <a:pt x="1948270" y="5529690"/>
                </a:cubicBezTo>
                <a:cubicBezTo>
                  <a:pt x="1948270" y="5529690"/>
                  <a:pt x="1948270" y="5531615"/>
                  <a:pt x="1948270" y="5531615"/>
                </a:cubicBezTo>
                <a:cubicBezTo>
                  <a:pt x="1950195" y="5531615"/>
                  <a:pt x="1952119" y="5529690"/>
                  <a:pt x="1952119" y="5529690"/>
                </a:cubicBezTo>
                <a:cubicBezTo>
                  <a:pt x="1952119" y="5529690"/>
                  <a:pt x="1952119" y="5527765"/>
                  <a:pt x="1952119" y="5527765"/>
                </a:cubicBezTo>
                <a:close/>
                <a:moveTo>
                  <a:pt x="1686499" y="5523916"/>
                </a:moveTo>
                <a:cubicBezTo>
                  <a:pt x="1684574" y="5525841"/>
                  <a:pt x="1682650" y="5529690"/>
                  <a:pt x="1680724" y="5535465"/>
                </a:cubicBezTo>
                <a:cubicBezTo>
                  <a:pt x="1686499" y="5531615"/>
                  <a:pt x="1694198" y="5527765"/>
                  <a:pt x="1701897" y="5523916"/>
                </a:cubicBezTo>
                <a:cubicBezTo>
                  <a:pt x="1696123" y="5523916"/>
                  <a:pt x="1692273" y="5521991"/>
                  <a:pt x="1686499" y="5523916"/>
                </a:cubicBezTo>
                <a:close/>
                <a:moveTo>
                  <a:pt x="1449751" y="5523916"/>
                </a:moveTo>
                <a:cubicBezTo>
                  <a:pt x="1447826" y="5527765"/>
                  <a:pt x="1443975" y="5533540"/>
                  <a:pt x="1438202" y="5537389"/>
                </a:cubicBezTo>
                <a:cubicBezTo>
                  <a:pt x="1438202" y="5533540"/>
                  <a:pt x="1438202" y="5531615"/>
                  <a:pt x="1438202" y="5527765"/>
                </a:cubicBezTo>
                <a:cubicBezTo>
                  <a:pt x="1442050" y="5525841"/>
                  <a:pt x="1445900" y="5525841"/>
                  <a:pt x="1449751" y="5523916"/>
                </a:cubicBezTo>
                <a:close/>
                <a:moveTo>
                  <a:pt x="1917473" y="5518141"/>
                </a:moveTo>
                <a:cubicBezTo>
                  <a:pt x="1911699" y="5520066"/>
                  <a:pt x="1905925" y="5521991"/>
                  <a:pt x="1898226" y="5521991"/>
                </a:cubicBezTo>
                <a:cubicBezTo>
                  <a:pt x="1898226" y="5521991"/>
                  <a:pt x="1896301" y="5523916"/>
                  <a:pt x="1896301" y="5525841"/>
                </a:cubicBezTo>
                <a:cubicBezTo>
                  <a:pt x="1902075" y="5525841"/>
                  <a:pt x="1907849" y="5525841"/>
                  <a:pt x="1913625" y="5523916"/>
                </a:cubicBezTo>
                <a:cubicBezTo>
                  <a:pt x="1913625" y="5521991"/>
                  <a:pt x="1915548" y="5520066"/>
                  <a:pt x="1917473" y="5518141"/>
                </a:cubicBezTo>
                <a:close/>
                <a:moveTo>
                  <a:pt x="1921323" y="5516217"/>
                </a:moveTo>
                <a:cubicBezTo>
                  <a:pt x="1921323" y="5518141"/>
                  <a:pt x="1921323" y="5520066"/>
                  <a:pt x="1921323" y="5521991"/>
                </a:cubicBezTo>
                <a:cubicBezTo>
                  <a:pt x="1921323" y="5521991"/>
                  <a:pt x="1923248" y="5521991"/>
                  <a:pt x="1925172" y="5521991"/>
                </a:cubicBezTo>
                <a:cubicBezTo>
                  <a:pt x="1927098" y="5520066"/>
                  <a:pt x="1927098" y="5518141"/>
                  <a:pt x="1927098" y="5516217"/>
                </a:cubicBezTo>
                <a:cubicBezTo>
                  <a:pt x="1925172" y="5516217"/>
                  <a:pt x="1923248" y="5518141"/>
                  <a:pt x="1921323" y="5516217"/>
                </a:cubicBezTo>
                <a:close/>
                <a:moveTo>
                  <a:pt x="2006014" y="5514292"/>
                </a:moveTo>
                <a:cubicBezTo>
                  <a:pt x="1994466" y="5518141"/>
                  <a:pt x="1984841" y="5520066"/>
                  <a:pt x="1975217" y="5521991"/>
                </a:cubicBezTo>
                <a:cubicBezTo>
                  <a:pt x="1975217" y="5523916"/>
                  <a:pt x="1975217" y="5523916"/>
                  <a:pt x="1975217" y="5525841"/>
                </a:cubicBezTo>
                <a:cubicBezTo>
                  <a:pt x="1982916" y="5523916"/>
                  <a:pt x="1988690" y="5523916"/>
                  <a:pt x="1996390" y="5521991"/>
                </a:cubicBezTo>
                <a:cubicBezTo>
                  <a:pt x="2000239" y="5520066"/>
                  <a:pt x="2004089" y="5518141"/>
                  <a:pt x="2006014" y="5514292"/>
                </a:cubicBezTo>
                <a:close/>
                <a:moveTo>
                  <a:pt x="1236099" y="5512367"/>
                </a:moveTo>
                <a:cubicBezTo>
                  <a:pt x="1238024" y="5518141"/>
                  <a:pt x="1238024" y="5523916"/>
                  <a:pt x="1232248" y="5529690"/>
                </a:cubicBezTo>
                <a:cubicBezTo>
                  <a:pt x="1230323" y="5523916"/>
                  <a:pt x="1228400" y="5518141"/>
                  <a:pt x="1226474" y="5514292"/>
                </a:cubicBezTo>
                <a:cubicBezTo>
                  <a:pt x="1230323" y="5514292"/>
                  <a:pt x="1232248" y="5512367"/>
                  <a:pt x="1236099" y="5512367"/>
                </a:cubicBezTo>
                <a:close/>
                <a:moveTo>
                  <a:pt x="1497870" y="5512366"/>
                </a:moveTo>
                <a:cubicBezTo>
                  <a:pt x="1497870" y="5516216"/>
                  <a:pt x="1495945" y="5520065"/>
                  <a:pt x="1495945" y="5523915"/>
                </a:cubicBezTo>
                <a:cubicBezTo>
                  <a:pt x="1495945" y="5523915"/>
                  <a:pt x="1494021" y="5521990"/>
                  <a:pt x="1494021" y="5523915"/>
                </a:cubicBezTo>
                <a:cubicBezTo>
                  <a:pt x="1495945" y="5523915"/>
                  <a:pt x="1495945" y="5525840"/>
                  <a:pt x="1495945" y="5525840"/>
                </a:cubicBezTo>
                <a:cubicBezTo>
                  <a:pt x="1494021" y="5535464"/>
                  <a:pt x="1492095" y="5543163"/>
                  <a:pt x="1492095" y="5552787"/>
                </a:cubicBezTo>
                <a:cubicBezTo>
                  <a:pt x="1490171" y="5552787"/>
                  <a:pt x="1490171" y="5552787"/>
                  <a:pt x="1488246" y="5552787"/>
                </a:cubicBezTo>
                <a:cubicBezTo>
                  <a:pt x="1486321" y="5556636"/>
                  <a:pt x="1488246" y="5558561"/>
                  <a:pt x="1490171" y="5560486"/>
                </a:cubicBezTo>
                <a:cubicBezTo>
                  <a:pt x="1488246" y="5564335"/>
                  <a:pt x="1488246" y="5570110"/>
                  <a:pt x="1488246" y="5573959"/>
                </a:cubicBezTo>
                <a:cubicBezTo>
                  <a:pt x="1488246" y="5570110"/>
                  <a:pt x="1486321" y="5566260"/>
                  <a:pt x="1484396" y="5564335"/>
                </a:cubicBezTo>
                <a:cubicBezTo>
                  <a:pt x="1474772" y="5568185"/>
                  <a:pt x="1474772" y="5577809"/>
                  <a:pt x="1468997" y="5583583"/>
                </a:cubicBezTo>
                <a:cubicBezTo>
                  <a:pt x="1467073" y="5572034"/>
                  <a:pt x="1465149" y="5560486"/>
                  <a:pt x="1465149" y="5547012"/>
                </a:cubicBezTo>
                <a:cubicBezTo>
                  <a:pt x="1467073" y="5537388"/>
                  <a:pt x="1468997" y="5525840"/>
                  <a:pt x="1474772" y="5520065"/>
                </a:cubicBezTo>
                <a:cubicBezTo>
                  <a:pt x="1482472" y="5516216"/>
                  <a:pt x="1490171" y="5514291"/>
                  <a:pt x="1497870" y="5512366"/>
                </a:cubicBezTo>
                <a:close/>
                <a:moveTo>
                  <a:pt x="1950195" y="5510442"/>
                </a:moveTo>
                <a:cubicBezTo>
                  <a:pt x="1950195" y="5514292"/>
                  <a:pt x="1950195" y="5516217"/>
                  <a:pt x="1950195" y="5518141"/>
                </a:cubicBezTo>
                <a:cubicBezTo>
                  <a:pt x="1952119" y="5518141"/>
                  <a:pt x="1952119" y="5518141"/>
                  <a:pt x="1954044" y="5518141"/>
                </a:cubicBezTo>
                <a:cubicBezTo>
                  <a:pt x="1954044" y="5514292"/>
                  <a:pt x="1954044" y="5512367"/>
                  <a:pt x="1954044" y="5510442"/>
                </a:cubicBezTo>
                <a:cubicBezTo>
                  <a:pt x="1952119" y="5510442"/>
                  <a:pt x="1952119" y="5510442"/>
                  <a:pt x="1950195" y="5510442"/>
                </a:cubicBezTo>
                <a:close/>
                <a:moveTo>
                  <a:pt x="1309241" y="5510442"/>
                </a:moveTo>
                <a:cubicBezTo>
                  <a:pt x="1309241" y="5514292"/>
                  <a:pt x="1311166" y="5516217"/>
                  <a:pt x="1311166" y="5520066"/>
                </a:cubicBezTo>
                <a:cubicBezTo>
                  <a:pt x="1309241" y="5520066"/>
                  <a:pt x="1309241" y="5521991"/>
                  <a:pt x="1309241" y="5523916"/>
                </a:cubicBezTo>
                <a:cubicBezTo>
                  <a:pt x="1309241" y="5523916"/>
                  <a:pt x="1309241" y="5523916"/>
                  <a:pt x="1305392" y="5521991"/>
                </a:cubicBezTo>
                <a:cubicBezTo>
                  <a:pt x="1305392" y="5520066"/>
                  <a:pt x="1309241" y="5518141"/>
                  <a:pt x="1307317" y="5516217"/>
                </a:cubicBezTo>
                <a:cubicBezTo>
                  <a:pt x="1307317" y="5516217"/>
                  <a:pt x="1307317" y="5516217"/>
                  <a:pt x="1305392" y="5516217"/>
                </a:cubicBezTo>
                <a:cubicBezTo>
                  <a:pt x="1307317" y="5514292"/>
                  <a:pt x="1307317" y="5510442"/>
                  <a:pt x="1309241" y="5510442"/>
                </a:cubicBezTo>
                <a:close/>
                <a:moveTo>
                  <a:pt x="1264971" y="5504667"/>
                </a:moveTo>
                <a:cubicBezTo>
                  <a:pt x="1266896" y="5510442"/>
                  <a:pt x="1270746" y="5514292"/>
                  <a:pt x="1272671" y="5518141"/>
                </a:cubicBezTo>
                <a:cubicBezTo>
                  <a:pt x="1270746" y="5518141"/>
                  <a:pt x="1268821" y="5518141"/>
                  <a:pt x="1266896" y="5520066"/>
                </a:cubicBezTo>
                <a:cubicBezTo>
                  <a:pt x="1270746" y="5521991"/>
                  <a:pt x="1274595" y="5525841"/>
                  <a:pt x="1280370" y="5527765"/>
                </a:cubicBezTo>
                <a:cubicBezTo>
                  <a:pt x="1284219" y="5531615"/>
                  <a:pt x="1286144" y="5533540"/>
                  <a:pt x="1288069" y="5537389"/>
                </a:cubicBezTo>
                <a:cubicBezTo>
                  <a:pt x="1276520" y="5539314"/>
                  <a:pt x="1263047" y="5543164"/>
                  <a:pt x="1251497" y="5545089"/>
                </a:cubicBezTo>
                <a:cubicBezTo>
                  <a:pt x="1245723" y="5535465"/>
                  <a:pt x="1243798" y="5523916"/>
                  <a:pt x="1241873" y="5510442"/>
                </a:cubicBezTo>
                <a:cubicBezTo>
                  <a:pt x="1249572" y="5508517"/>
                  <a:pt x="1257271" y="5506593"/>
                  <a:pt x="1264971" y="5504667"/>
                </a:cubicBezTo>
                <a:close/>
                <a:moveTo>
                  <a:pt x="2390971" y="5500818"/>
                </a:moveTo>
                <a:cubicBezTo>
                  <a:pt x="2371723" y="5514292"/>
                  <a:pt x="2356326" y="5535465"/>
                  <a:pt x="2342851" y="5562412"/>
                </a:cubicBezTo>
                <a:cubicBezTo>
                  <a:pt x="2246612" y="5572036"/>
                  <a:pt x="2267785" y="5812634"/>
                  <a:pt x="2206192" y="5858829"/>
                </a:cubicBezTo>
                <a:cubicBezTo>
                  <a:pt x="2159997" y="5876152"/>
                  <a:pt x="2190793" y="5754891"/>
                  <a:pt x="2202342" y="5724094"/>
                </a:cubicBezTo>
                <a:cubicBezTo>
                  <a:pt x="2229289" y="5649028"/>
                  <a:pt x="2280296" y="5595133"/>
                  <a:pt x="2333708" y="5545089"/>
                </a:cubicBezTo>
                <a:lnTo>
                  <a:pt x="2376124" y="5505282"/>
                </a:lnTo>
                <a:lnTo>
                  <a:pt x="2376926" y="5504848"/>
                </a:lnTo>
                <a:cubicBezTo>
                  <a:pt x="2382309" y="5502382"/>
                  <a:pt x="2387121" y="5500818"/>
                  <a:pt x="2390971" y="5500818"/>
                </a:cubicBezTo>
                <a:close/>
                <a:moveTo>
                  <a:pt x="1984841" y="5500818"/>
                </a:moveTo>
                <a:cubicBezTo>
                  <a:pt x="1980991" y="5502743"/>
                  <a:pt x="1977142" y="5502743"/>
                  <a:pt x="1973292" y="5504668"/>
                </a:cubicBezTo>
                <a:cubicBezTo>
                  <a:pt x="1973292" y="5506593"/>
                  <a:pt x="1973292" y="5510442"/>
                  <a:pt x="1973292" y="5512367"/>
                </a:cubicBezTo>
                <a:cubicBezTo>
                  <a:pt x="1977142" y="5512367"/>
                  <a:pt x="1980991" y="5510442"/>
                  <a:pt x="1984841" y="5508517"/>
                </a:cubicBezTo>
                <a:cubicBezTo>
                  <a:pt x="1984841" y="5506593"/>
                  <a:pt x="1984841" y="5502743"/>
                  <a:pt x="1984841" y="5500818"/>
                </a:cubicBezTo>
                <a:close/>
                <a:moveTo>
                  <a:pt x="1320790" y="5500818"/>
                </a:moveTo>
                <a:cubicBezTo>
                  <a:pt x="1320790" y="5502743"/>
                  <a:pt x="1320790" y="5502743"/>
                  <a:pt x="1320790" y="5504668"/>
                </a:cubicBezTo>
                <a:cubicBezTo>
                  <a:pt x="1320790" y="5506593"/>
                  <a:pt x="1318865" y="5506593"/>
                  <a:pt x="1318865" y="5508517"/>
                </a:cubicBezTo>
                <a:cubicBezTo>
                  <a:pt x="1318865" y="5504668"/>
                  <a:pt x="1320790" y="5502743"/>
                  <a:pt x="1320790" y="5500818"/>
                </a:cubicBezTo>
                <a:close/>
                <a:moveTo>
                  <a:pt x="1388158" y="5498893"/>
                </a:moveTo>
                <a:cubicBezTo>
                  <a:pt x="1388158" y="5502743"/>
                  <a:pt x="1388158" y="5508517"/>
                  <a:pt x="1390082" y="5512367"/>
                </a:cubicBezTo>
                <a:cubicBezTo>
                  <a:pt x="1382383" y="5516216"/>
                  <a:pt x="1374683" y="5518141"/>
                  <a:pt x="1366984" y="5518141"/>
                </a:cubicBezTo>
                <a:cubicBezTo>
                  <a:pt x="1374683" y="5512367"/>
                  <a:pt x="1382383" y="5506593"/>
                  <a:pt x="1388158" y="5498893"/>
                </a:cubicBezTo>
                <a:close/>
                <a:moveTo>
                  <a:pt x="2383752" y="5498123"/>
                </a:moveTo>
                <a:lnTo>
                  <a:pt x="2376124" y="5505282"/>
                </a:lnTo>
                <a:lnTo>
                  <a:pt x="2359453" y="5514292"/>
                </a:lnTo>
                <a:cubicBezTo>
                  <a:pt x="2347182" y="5521510"/>
                  <a:pt x="2334190" y="5529691"/>
                  <a:pt x="2323604" y="5533540"/>
                </a:cubicBezTo>
                <a:cubicBezTo>
                  <a:pt x="2342852" y="5524157"/>
                  <a:pt x="2362550" y="5512698"/>
                  <a:pt x="2382238" y="5499308"/>
                </a:cubicBezTo>
                <a:close/>
                <a:moveTo>
                  <a:pt x="1825084" y="5496969"/>
                </a:moveTo>
                <a:cubicBezTo>
                  <a:pt x="1823159" y="5498893"/>
                  <a:pt x="1821234" y="5500818"/>
                  <a:pt x="1819309" y="5502743"/>
                </a:cubicBezTo>
                <a:cubicBezTo>
                  <a:pt x="1821234" y="5506593"/>
                  <a:pt x="1823159" y="5508517"/>
                  <a:pt x="1825084" y="5508517"/>
                </a:cubicBezTo>
                <a:cubicBezTo>
                  <a:pt x="1827008" y="5508517"/>
                  <a:pt x="1827008" y="5506593"/>
                  <a:pt x="1828933" y="5506593"/>
                </a:cubicBezTo>
                <a:cubicBezTo>
                  <a:pt x="1827008" y="5504668"/>
                  <a:pt x="1825084" y="5500818"/>
                  <a:pt x="1825084" y="5496969"/>
                </a:cubicBezTo>
                <a:close/>
                <a:moveTo>
                  <a:pt x="1309241" y="5496969"/>
                </a:moveTo>
                <a:cubicBezTo>
                  <a:pt x="1309241" y="5500818"/>
                  <a:pt x="1309241" y="5504668"/>
                  <a:pt x="1311166" y="5508517"/>
                </a:cubicBezTo>
                <a:cubicBezTo>
                  <a:pt x="1309241" y="5508517"/>
                  <a:pt x="1309241" y="5506593"/>
                  <a:pt x="1307316" y="5506593"/>
                </a:cubicBezTo>
                <a:cubicBezTo>
                  <a:pt x="1309241" y="5504668"/>
                  <a:pt x="1307316" y="5498893"/>
                  <a:pt x="1309241" y="5496969"/>
                </a:cubicBezTo>
                <a:close/>
                <a:moveTo>
                  <a:pt x="2079155" y="5495044"/>
                </a:moveTo>
                <a:cubicBezTo>
                  <a:pt x="2059908" y="5500818"/>
                  <a:pt x="2040660" y="5504668"/>
                  <a:pt x="2021412" y="5510442"/>
                </a:cubicBezTo>
                <a:cubicBezTo>
                  <a:pt x="2021412" y="5510442"/>
                  <a:pt x="2019487" y="5510442"/>
                  <a:pt x="2019487" y="5512367"/>
                </a:cubicBezTo>
                <a:cubicBezTo>
                  <a:pt x="2019487" y="5512367"/>
                  <a:pt x="2019487" y="5514292"/>
                  <a:pt x="2021412" y="5514292"/>
                </a:cubicBezTo>
                <a:cubicBezTo>
                  <a:pt x="2025261" y="5514292"/>
                  <a:pt x="2027186" y="5512367"/>
                  <a:pt x="2029111" y="5510442"/>
                </a:cubicBezTo>
                <a:cubicBezTo>
                  <a:pt x="2029111" y="5510442"/>
                  <a:pt x="2031036" y="5512367"/>
                  <a:pt x="2031036" y="5514292"/>
                </a:cubicBezTo>
                <a:cubicBezTo>
                  <a:pt x="2048359" y="5510442"/>
                  <a:pt x="2065682" y="5506593"/>
                  <a:pt x="2083006" y="5500818"/>
                </a:cubicBezTo>
                <a:cubicBezTo>
                  <a:pt x="2081080" y="5498893"/>
                  <a:pt x="2081080" y="5496969"/>
                  <a:pt x="2079155" y="5495044"/>
                </a:cubicBezTo>
                <a:close/>
                <a:moveTo>
                  <a:pt x="1326564" y="5491194"/>
                </a:moveTo>
                <a:cubicBezTo>
                  <a:pt x="1326564" y="5491194"/>
                  <a:pt x="1328488" y="5491194"/>
                  <a:pt x="1328488" y="5491194"/>
                </a:cubicBezTo>
                <a:cubicBezTo>
                  <a:pt x="1328488" y="5493119"/>
                  <a:pt x="1328488" y="5495044"/>
                  <a:pt x="1328488" y="5496969"/>
                </a:cubicBezTo>
                <a:cubicBezTo>
                  <a:pt x="1328488" y="5496969"/>
                  <a:pt x="1328488" y="5496969"/>
                  <a:pt x="1326564" y="5496969"/>
                </a:cubicBezTo>
                <a:cubicBezTo>
                  <a:pt x="1326564" y="5496969"/>
                  <a:pt x="1324639" y="5495044"/>
                  <a:pt x="1324639" y="5493119"/>
                </a:cubicBezTo>
                <a:cubicBezTo>
                  <a:pt x="1324639" y="5493119"/>
                  <a:pt x="1326564" y="5491194"/>
                  <a:pt x="1326564" y="5491194"/>
                </a:cubicBezTo>
                <a:close/>
                <a:moveTo>
                  <a:pt x="2031036" y="5487345"/>
                </a:moveTo>
                <a:cubicBezTo>
                  <a:pt x="2023337" y="5491194"/>
                  <a:pt x="2017562" y="5493119"/>
                  <a:pt x="2009863" y="5495044"/>
                </a:cubicBezTo>
                <a:cubicBezTo>
                  <a:pt x="2011788" y="5496969"/>
                  <a:pt x="2015638" y="5498893"/>
                  <a:pt x="2017562" y="5500818"/>
                </a:cubicBezTo>
                <a:cubicBezTo>
                  <a:pt x="2025261" y="5498893"/>
                  <a:pt x="2031036" y="5496969"/>
                  <a:pt x="2038736" y="5495044"/>
                </a:cubicBezTo>
                <a:cubicBezTo>
                  <a:pt x="2038736" y="5493119"/>
                  <a:pt x="2036810" y="5491194"/>
                  <a:pt x="2034885" y="5489269"/>
                </a:cubicBezTo>
                <a:cubicBezTo>
                  <a:pt x="2034885" y="5489269"/>
                  <a:pt x="2034885" y="5491194"/>
                  <a:pt x="2034885" y="5491194"/>
                </a:cubicBezTo>
                <a:cubicBezTo>
                  <a:pt x="2032962" y="5489269"/>
                  <a:pt x="2032962" y="5489269"/>
                  <a:pt x="2031036" y="5487345"/>
                </a:cubicBezTo>
                <a:close/>
                <a:moveTo>
                  <a:pt x="1796212" y="5485420"/>
                </a:moveTo>
                <a:cubicBezTo>
                  <a:pt x="1794287" y="5485420"/>
                  <a:pt x="1790437" y="5485420"/>
                  <a:pt x="1788514" y="5487345"/>
                </a:cubicBezTo>
                <a:cubicBezTo>
                  <a:pt x="1751943" y="5518141"/>
                  <a:pt x="1717295" y="5550863"/>
                  <a:pt x="1684574" y="5579735"/>
                </a:cubicBezTo>
                <a:cubicBezTo>
                  <a:pt x="1707673" y="5568186"/>
                  <a:pt x="1726920" y="5552788"/>
                  <a:pt x="1744243" y="5537389"/>
                </a:cubicBezTo>
                <a:cubicBezTo>
                  <a:pt x="1746167" y="5535465"/>
                  <a:pt x="1746167" y="5533540"/>
                  <a:pt x="1746167" y="5533540"/>
                </a:cubicBezTo>
                <a:cubicBezTo>
                  <a:pt x="1748092" y="5533540"/>
                  <a:pt x="1748092" y="5533540"/>
                  <a:pt x="1750017" y="5533540"/>
                </a:cubicBezTo>
                <a:cubicBezTo>
                  <a:pt x="1753866" y="5529690"/>
                  <a:pt x="1755791" y="5527765"/>
                  <a:pt x="1759641" y="5525841"/>
                </a:cubicBezTo>
                <a:cubicBezTo>
                  <a:pt x="1757717" y="5527765"/>
                  <a:pt x="1753866" y="5527765"/>
                  <a:pt x="1751943" y="5525841"/>
                </a:cubicBezTo>
                <a:cubicBezTo>
                  <a:pt x="1755791" y="5521991"/>
                  <a:pt x="1757717" y="5516217"/>
                  <a:pt x="1761565" y="5512367"/>
                </a:cubicBezTo>
                <a:cubicBezTo>
                  <a:pt x="1775039" y="5504668"/>
                  <a:pt x="1790437" y="5498893"/>
                  <a:pt x="1796212" y="5485420"/>
                </a:cubicBezTo>
                <a:close/>
                <a:moveTo>
                  <a:pt x="1386232" y="5477720"/>
                </a:moveTo>
                <a:cubicBezTo>
                  <a:pt x="1380458" y="5491194"/>
                  <a:pt x="1374683" y="5502743"/>
                  <a:pt x="1366984" y="5510442"/>
                </a:cubicBezTo>
                <a:cubicBezTo>
                  <a:pt x="1359284" y="5502743"/>
                  <a:pt x="1343886" y="5512367"/>
                  <a:pt x="1343886" y="5523916"/>
                </a:cubicBezTo>
                <a:cubicBezTo>
                  <a:pt x="1338111" y="5506593"/>
                  <a:pt x="1343886" y="5495044"/>
                  <a:pt x="1353511" y="5485420"/>
                </a:cubicBezTo>
                <a:cubicBezTo>
                  <a:pt x="1363135" y="5483495"/>
                  <a:pt x="1374683" y="5479645"/>
                  <a:pt x="1386232" y="5477720"/>
                </a:cubicBezTo>
                <a:close/>
                <a:moveTo>
                  <a:pt x="2596923" y="5466172"/>
                </a:moveTo>
                <a:cubicBezTo>
                  <a:pt x="2552653" y="5535465"/>
                  <a:pt x="2429466" y="5595133"/>
                  <a:pt x="2460263" y="5710620"/>
                </a:cubicBezTo>
                <a:cubicBezTo>
                  <a:pt x="2464113" y="5585509"/>
                  <a:pt x="2569976" y="5572036"/>
                  <a:pt x="2596923" y="5466172"/>
                </a:cubicBezTo>
                <a:close/>
                <a:moveTo>
                  <a:pt x="2165771" y="5466172"/>
                </a:moveTo>
                <a:cubicBezTo>
                  <a:pt x="2142673" y="5473871"/>
                  <a:pt x="2117651" y="5483495"/>
                  <a:pt x="2094554" y="5489269"/>
                </a:cubicBezTo>
                <a:cubicBezTo>
                  <a:pt x="2090704" y="5491194"/>
                  <a:pt x="2088780" y="5495044"/>
                  <a:pt x="2086855" y="5498893"/>
                </a:cubicBezTo>
                <a:cubicBezTo>
                  <a:pt x="2092629" y="5496969"/>
                  <a:pt x="2096479" y="5496969"/>
                  <a:pt x="2102253" y="5495044"/>
                </a:cubicBezTo>
                <a:cubicBezTo>
                  <a:pt x="2119577" y="5491194"/>
                  <a:pt x="2136899" y="5483495"/>
                  <a:pt x="2154222" y="5477721"/>
                </a:cubicBezTo>
                <a:cubicBezTo>
                  <a:pt x="2156147" y="5477721"/>
                  <a:pt x="2158073" y="5475796"/>
                  <a:pt x="2159997" y="5473871"/>
                </a:cubicBezTo>
                <a:cubicBezTo>
                  <a:pt x="2161921" y="5473871"/>
                  <a:pt x="2165771" y="5473871"/>
                  <a:pt x="2167696" y="5473871"/>
                </a:cubicBezTo>
                <a:cubicBezTo>
                  <a:pt x="2171545" y="5473871"/>
                  <a:pt x="2175395" y="5471947"/>
                  <a:pt x="2179244" y="5470022"/>
                </a:cubicBezTo>
                <a:cubicBezTo>
                  <a:pt x="2173470" y="5470022"/>
                  <a:pt x="2169621" y="5470022"/>
                  <a:pt x="2163847" y="5470022"/>
                </a:cubicBezTo>
                <a:cubicBezTo>
                  <a:pt x="2163847" y="5468097"/>
                  <a:pt x="2165771" y="5468097"/>
                  <a:pt x="2165771" y="5466172"/>
                </a:cubicBezTo>
                <a:close/>
                <a:moveTo>
                  <a:pt x="1442051" y="5462321"/>
                </a:moveTo>
                <a:cubicBezTo>
                  <a:pt x="1447826" y="5471946"/>
                  <a:pt x="1451675" y="5483495"/>
                  <a:pt x="1453600" y="5493119"/>
                </a:cubicBezTo>
                <a:cubicBezTo>
                  <a:pt x="1440127" y="5498893"/>
                  <a:pt x="1426653" y="5502743"/>
                  <a:pt x="1413179" y="5506592"/>
                </a:cubicBezTo>
                <a:cubicBezTo>
                  <a:pt x="1413179" y="5495044"/>
                  <a:pt x="1413179" y="5481570"/>
                  <a:pt x="1411254" y="5470021"/>
                </a:cubicBezTo>
                <a:cubicBezTo>
                  <a:pt x="1422804" y="5468097"/>
                  <a:pt x="1432428" y="5464247"/>
                  <a:pt x="1442051" y="5462321"/>
                </a:cubicBezTo>
                <a:close/>
                <a:moveTo>
                  <a:pt x="1823159" y="5458473"/>
                </a:moveTo>
                <a:cubicBezTo>
                  <a:pt x="1817384" y="5464247"/>
                  <a:pt x="1809685" y="5470022"/>
                  <a:pt x="1800061" y="5477721"/>
                </a:cubicBezTo>
                <a:cubicBezTo>
                  <a:pt x="1803911" y="5481570"/>
                  <a:pt x="1805836" y="5483495"/>
                  <a:pt x="1807761" y="5487345"/>
                </a:cubicBezTo>
                <a:cubicBezTo>
                  <a:pt x="1811610" y="5483495"/>
                  <a:pt x="1817384" y="5477721"/>
                  <a:pt x="1821234" y="5473871"/>
                </a:cubicBezTo>
                <a:cubicBezTo>
                  <a:pt x="1821234" y="5468097"/>
                  <a:pt x="1823159" y="5464247"/>
                  <a:pt x="1823159" y="5458473"/>
                </a:cubicBezTo>
                <a:close/>
                <a:moveTo>
                  <a:pt x="1299616" y="5458473"/>
                </a:moveTo>
                <a:cubicBezTo>
                  <a:pt x="1301541" y="5460397"/>
                  <a:pt x="1301541" y="5462322"/>
                  <a:pt x="1303467" y="5464247"/>
                </a:cubicBezTo>
                <a:cubicBezTo>
                  <a:pt x="1299616" y="5466172"/>
                  <a:pt x="1297691" y="5462322"/>
                  <a:pt x="1295767" y="5466172"/>
                </a:cubicBezTo>
                <a:cubicBezTo>
                  <a:pt x="1293842" y="5468097"/>
                  <a:pt x="1295767" y="5468097"/>
                  <a:pt x="1295767" y="5470021"/>
                </a:cubicBezTo>
                <a:cubicBezTo>
                  <a:pt x="1293842" y="5470021"/>
                  <a:pt x="1293842" y="5470021"/>
                  <a:pt x="1293842" y="5470021"/>
                </a:cubicBezTo>
                <a:cubicBezTo>
                  <a:pt x="1293842" y="5466172"/>
                  <a:pt x="1293842" y="5464247"/>
                  <a:pt x="1291917" y="5460397"/>
                </a:cubicBezTo>
                <a:cubicBezTo>
                  <a:pt x="1291917" y="5460397"/>
                  <a:pt x="1291917" y="5462322"/>
                  <a:pt x="1293842" y="5462322"/>
                </a:cubicBezTo>
                <a:cubicBezTo>
                  <a:pt x="1295767" y="5460397"/>
                  <a:pt x="1297691" y="5460397"/>
                  <a:pt x="1299616" y="5458473"/>
                </a:cubicBezTo>
                <a:close/>
                <a:moveTo>
                  <a:pt x="3393785" y="5448848"/>
                </a:moveTo>
                <a:cubicBezTo>
                  <a:pt x="3428431" y="5495043"/>
                  <a:pt x="3495799" y="5541238"/>
                  <a:pt x="3543919" y="5568185"/>
                </a:cubicBezTo>
                <a:cubicBezTo>
                  <a:pt x="3511197" y="5516216"/>
                  <a:pt x="3449604" y="5485419"/>
                  <a:pt x="3393785" y="5448848"/>
                </a:cubicBezTo>
                <a:close/>
                <a:moveTo>
                  <a:pt x="1494021" y="5448848"/>
                </a:moveTo>
                <a:cubicBezTo>
                  <a:pt x="1494021" y="5450773"/>
                  <a:pt x="1492096" y="5452698"/>
                  <a:pt x="1490171" y="5452698"/>
                </a:cubicBezTo>
                <a:cubicBezTo>
                  <a:pt x="1492096" y="5458473"/>
                  <a:pt x="1494021" y="5471946"/>
                  <a:pt x="1490171" y="5475796"/>
                </a:cubicBezTo>
                <a:cubicBezTo>
                  <a:pt x="1492096" y="5475796"/>
                  <a:pt x="1492096" y="5477721"/>
                  <a:pt x="1492096" y="5479645"/>
                </a:cubicBezTo>
                <a:cubicBezTo>
                  <a:pt x="1486321" y="5481570"/>
                  <a:pt x="1482472" y="5483495"/>
                  <a:pt x="1476697" y="5485420"/>
                </a:cubicBezTo>
                <a:cubicBezTo>
                  <a:pt x="1480547" y="5473871"/>
                  <a:pt x="1480547" y="5464247"/>
                  <a:pt x="1480547" y="5452698"/>
                </a:cubicBezTo>
                <a:cubicBezTo>
                  <a:pt x="1484396" y="5450773"/>
                  <a:pt x="1490171" y="5450773"/>
                  <a:pt x="1494021" y="5448848"/>
                </a:cubicBezTo>
                <a:close/>
                <a:moveTo>
                  <a:pt x="1792362" y="5446924"/>
                </a:moveTo>
                <a:cubicBezTo>
                  <a:pt x="1790437" y="5448849"/>
                  <a:pt x="1786588" y="5450774"/>
                  <a:pt x="1782738" y="5452699"/>
                </a:cubicBezTo>
                <a:cubicBezTo>
                  <a:pt x="1782738" y="5454624"/>
                  <a:pt x="1780813" y="5456548"/>
                  <a:pt x="1780813" y="5456548"/>
                </a:cubicBezTo>
                <a:cubicBezTo>
                  <a:pt x="1771189" y="5466172"/>
                  <a:pt x="1753866" y="5470022"/>
                  <a:pt x="1744243" y="5479646"/>
                </a:cubicBezTo>
                <a:cubicBezTo>
                  <a:pt x="1740393" y="5485420"/>
                  <a:pt x="1740393" y="5493119"/>
                  <a:pt x="1736543" y="5496969"/>
                </a:cubicBezTo>
                <a:cubicBezTo>
                  <a:pt x="1755791" y="5483495"/>
                  <a:pt x="1775039" y="5466172"/>
                  <a:pt x="1794287" y="5450774"/>
                </a:cubicBezTo>
                <a:cubicBezTo>
                  <a:pt x="1794287" y="5450774"/>
                  <a:pt x="1792362" y="5450774"/>
                  <a:pt x="1792362" y="5450774"/>
                </a:cubicBezTo>
                <a:cubicBezTo>
                  <a:pt x="1792362" y="5448849"/>
                  <a:pt x="1792362" y="5448849"/>
                  <a:pt x="1792362" y="5446924"/>
                </a:cubicBezTo>
                <a:close/>
                <a:moveTo>
                  <a:pt x="3347590" y="5446923"/>
                </a:moveTo>
                <a:cubicBezTo>
                  <a:pt x="3401484" y="5506592"/>
                  <a:pt x="3453454" y="5568185"/>
                  <a:pt x="3524671" y="5616304"/>
                </a:cubicBezTo>
                <a:cubicBezTo>
                  <a:pt x="3482326" y="5548937"/>
                  <a:pt x="3414958" y="5496968"/>
                  <a:pt x="3347590" y="5446923"/>
                </a:cubicBezTo>
                <a:close/>
                <a:moveTo>
                  <a:pt x="1507493" y="5444998"/>
                </a:moveTo>
                <a:cubicBezTo>
                  <a:pt x="1503644" y="5456548"/>
                  <a:pt x="1501719" y="5466172"/>
                  <a:pt x="1499794" y="5477721"/>
                </a:cubicBezTo>
                <a:cubicBezTo>
                  <a:pt x="1499794" y="5477721"/>
                  <a:pt x="1497869" y="5479645"/>
                  <a:pt x="1495945" y="5479645"/>
                </a:cubicBezTo>
                <a:cubicBezTo>
                  <a:pt x="1495945" y="5473871"/>
                  <a:pt x="1495945" y="5468097"/>
                  <a:pt x="1497869" y="5464247"/>
                </a:cubicBezTo>
                <a:cubicBezTo>
                  <a:pt x="1492095" y="5460397"/>
                  <a:pt x="1497869" y="5454623"/>
                  <a:pt x="1499794" y="5446924"/>
                </a:cubicBezTo>
                <a:cubicBezTo>
                  <a:pt x="1501719" y="5446924"/>
                  <a:pt x="1505568" y="5444998"/>
                  <a:pt x="1507493" y="5444998"/>
                </a:cubicBezTo>
                <a:close/>
                <a:moveTo>
                  <a:pt x="1809685" y="5439225"/>
                </a:moveTo>
                <a:cubicBezTo>
                  <a:pt x="1805836" y="5441150"/>
                  <a:pt x="1801987" y="5443075"/>
                  <a:pt x="1798136" y="5445000"/>
                </a:cubicBezTo>
                <a:cubicBezTo>
                  <a:pt x="1798136" y="5446924"/>
                  <a:pt x="1796212" y="5448849"/>
                  <a:pt x="1796212" y="5450774"/>
                </a:cubicBezTo>
                <a:cubicBezTo>
                  <a:pt x="1801987" y="5446924"/>
                  <a:pt x="1805836" y="5443075"/>
                  <a:pt x="1809685" y="5439225"/>
                </a:cubicBezTo>
                <a:close/>
                <a:moveTo>
                  <a:pt x="1861655" y="5429602"/>
                </a:moveTo>
                <a:cubicBezTo>
                  <a:pt x="1852031" y="5435376"/>
                  <a:pt x="1844331" y="5441150"/>
                  <a:pt x="1834707" y="5448849"/>
                </a:cubicBezTo>
                <a:cubicBezTo>
                  <a:pt x="1836632" y="5450774"/>
                  <a:pt x="1840482" y="5450774"/>
                  <a:pt x="1844331" y="5452699"/>
                </a:cubicBezTo>
                <a:cubicBezTo>
                  <a:pt x="1850106" y="5446924"/>
                  <a:pt x="1855880" y="5443075"/>
                  <a:pt x="1863579" y="5437301"/>
                </a:cubicBezTo>
                <a:cubicBezTo>
                  <a:pt x="1861655" y="5437301"/>
                  <a:pt x="1861655" y="5437301"/>
                  <a:pt x="1861655" y="5437301"/>
                </a:cubicBezTo>
                <a:cubicBezTo>
                  <a:pt x="1861655" y="5435376"/>
                  <a:pt x="1861655" y="5431526"/>
                  <a:pt x="1861655" y="5429602"/>
                </a:cubicBezTo>
                <a:close/>
                <a:moveTo>
                  <a:pt x="2167696" y="5427677"/>
                </a:moveTo>
                <a:cubicBezTo>
                  <a:pt x="2163847" y="5429602"/>
                  <a:pt x="2161921" y="5429602"/>
                  <a:pt x="2159997" y="5431526"/>
                </a:cubicBezTo>
                <a:cubicBezTo>
                  <a:pt x="2154222" y="5443075"/>
                  <a:pt x="2144598" y="5448849"/>
                  <a:pt x="2125351" y="5448849"/>
                </a:cubicBezTo>
                <a:cubicBezTo>
                  <a:pt x="2115726" y="5454624"/>
                  <a:pt x="2106102" y="5458473"/>
                  <a:pt x="2096479" y="5462323"/>
                </a:cubicBezTo>
                <a:cubicBezTo>
                  <a:pt x="2098403" y="5464247"/>
                  <a:pt x="2098403" y="5464247"/>
                  <a:pt x="2100328" y="5464247"/>
                </a:cubicBezTo>
                <a:cubicBezTo>
                  <a:pt x="2100328" y="5464247"/>
                  <a:pt x="2100328" y="5466172"/>
                  <a:pt x="2100328" y="5466172"/>
                </a:cubicBezTo>
                <a:cubicBezTo>
                  <a:pt x="2098403" y="5466172"/>
                  <a:pt x="2096479" y="5464247"/>
                  <a:pt x="2094554" y="5464247"/>
                </a:cubicBezTo>
                <a:cubicBezTo>
                  <a:pt x="2079155" y="5471947"/>
                  <a:pt x="2061832" y="5477721"/>
                  <a:pt x="2044510" y="5483495"/>
                </a:cubicBezTo>
                <a:cubicBezTo>
                  <a:pt x="2044510" y="5485420"/>
                  <a:pt x="2044510" y="5489269"/>
                  <a:pt x="2044510" y="5493119"/>
                </a:cubicBezTo>
                <a:cubicBezTo>
                  <a:pt x="2052209" y="5491194"/>
                  <a:pt x="2061832" y="5487345"/>
                  <a:pt x="2069531" y="5485420"/>
                </a:cubicBezTo>
                <a:cubicBezTo>
                  <a:pt x="2067607" y="5483495"/>
                  <a:pt x="2063757" y="5481570"/>
                  <a:pt x="2059908" y="5479646"/>
                </a:cubicBezTo>
                <a:cubicBezTo>
                  <a:pt x="2065682" y="5479646"/>
                  <a:pt x="2073381" y="5479646"/>
                  <a:pt x="2081080" y="5481570"/>
                </a:cubicBezTo>
                <a:cubicBezTo>
                  <a:pt x="2096479" y="5477721"/>
                  <a:pt x="2109952" y="5471947"/>
                  <a:pt x="2123426" y="5466172"/>
                </a:cubicBezTo>
                <a:cubicBezTo>
                  <a:pt x="2123426" y="5466172"/>
                  <a:pt x="2123426" y="5464247"/>
                  <a:pt x="2123426" y="5464247"/>
                </a:cubicBezTo>
                <a:cubicBezTo>
                  <a:pt x="2127275" y="5464247"/>
                  <a:pt x="2129200" y="5464247"/>
                  <a:pt x="2131125" y="5464247"/>
                </a:cubicBezTo>
                <a:cubicBezTo>
                  <a:pt x="2148448" y="5456548"/>
                  <a:pt x="2165771" y="5448849"/>
                  <a:pt x="2181169" y="5441150"/>
                </a:cubicBezTo>
                <a:cubicBezTo>
                  <a:pt x="2175395" y="5441150"/>
                  <a:pt x="2171545" y="5443075"/>
                  <a:pt x="2165771" y="5439225"/>
                </a:cubicBezTo>
                <a:cubicBezTo>
                  <a:pt x="2165771" y="5435376"/>
                  <a:pt x="2167696" y="5431526"/>
                  <a:pt x="2167696" y="5427677"/>
                </a:cubicBezTo>
                <a:close/>
                <a:moveTo>
                  <a:pt x="1415105" y="5427676"/>
                </a:moveTo>
                <a:cubicBezTo>
                  <a:pt x="1418953" y="5431525"/>
                  <a:pt x="1422804" y="5435375"/>
                  <a:pt x="1426654" y="5441149"/>
                </a:cubicBezTo>
                <a:cubicBezTo>
                  <a:pt x="1422804" y="5443074"/>
                  <a:pt x="1417029" y="5443074"/>
                  <a:pt x="1413180" y="5444999"/>
                </a:cubicBezTo>
                <a:cubicBezTo>
                  <a:pt x="1415105" y="5439225"/>
                  <a:pt x="1415105" y="5433450"/>
                  <a:pt x="1415105" y="5427676"/>
                </a:cubicBezTo>
                <a:close/>
                <a:moveTo>
                  <a:pt x="1984841" y="5425752"/>
                </a:moveTo>
                <a:cubicBezTo>
                  <a:pt x="1980991" y="5427677"/>
                  <a:pt x="1975217" y="5427677"/>
                  <a:pt x="1971367" y="5427677"/>
                </a:cubicBezTo>
                <a:cubicBezTo>
                  <a:pt x="1965593" y="5431526"/>
                  <a:pt x="1957895" y="5433451"/>
                  <a:pt x="1952119" y="5437301"/>
                </a:cubicBezTo>
                <a:cubicBezTo>
                  <a:pt x="1963669" y="5433451"/>
                  <a:pt x="1975217" y="5429602"/>
                  <a:pt x="1984841" y="5425752"/>
                </a:cubicBezTo>
                <a:close/>
                <a:moveTo>
                  <a:pt x="1605657" y="5425751"/>
                </a:moveTo>
                <a:cubicBezTo>
                  <a:pt x="1611431" y="5425751"/>
                  <a:pt x="1617206" y="5427676"/>
                  <a:pt x="1617206" y="5431525"/>
                </a:cubicBezTo>
                <a:cubicBezTo>
                  <a:pt x="1615281" y="5433450"/>
                  <a:pt x="1611431" y="5433450"/>
                  <a:pt x="1609507" y="5435375"/>
                </a:cubicBezTo>
                <a:cubicBezTo>
                  <a:pt x="1609507" y="5431525"/>
                  <a:pt x="1607583" y="5429601"/>
                  <a:pt x="1605657" y="5425751"/>
                </a:cubicBezTo>
                <a:close/>
                <a:moveTo>
                  <a:pt x="1461300" y="5416127"/>
                </a:moveTo>
                <a:cubicBezTo>
                  <a:pt x="1461300" y="5419977"/>
                  <a:pt x="1461300" y="5421901"/>
                  <a:pt x="1461300" y="5427676"/>
                </a:cubicBezTo>
                <a:cubicBezTo>
                  <a:pt x="1459375" y="5427676"/>
                  <a:pt x="1459375" y="5427676"/>
                  <a:pt x="1459375" y="5427676"/>
                </a:cubicBezTo>
                <a:cubicBezTo>
                  <a:pt x="1461300" y="5423826"/>
                  <a:pt x="1461300" y="5419977"/>
                  <a:pt x="1461300" y="5416127"/>
                </a:cubicBezTo>
                <a:close/>
                <a:moveTo>
                  <a:pt x="1438202" y="5410353"/>
                </a:moveTo>
                <a:cubicBezTo>
                  <a:pt x="1440127" y="5414202"/>
                  <a:pt x="1443976" y="5416127"/>
                  <a:pt x="1447826" y="5418052"/>
                </a:cubicBezTo>
                <a:cubicBezTo>
                  <a:pt x="1447826" y="5414202"/>
                  <a:pt x="1445901" y="5410353"/>
                  <a:pt x="1447826" y="5410353"/>
                </a:cubicBezTo>
                <a:cubicBezTo>
                  <a:pt x="1451676" y="5416127"/>
                  <a:pt x="1451676" y="5423826"/>
                  <a:pt x="1451676" y="5431525"/>
                </a:cubicBezTo>
                <a:cubicBezTo>
                  <a:pt x="1449751" y="5431525"/>
                  <a:pt x="1445901" y="5433450"/>
                  <a:pt x="1442052" y="5435375"/>
                </a:cubicBezTo>
                <a:cubicBezTo>
                  <a:pt x="1438202" y="5429601"/>
                  <a:pt x="1434351" y="5425751"/>
                  <a:pt x="1430503" y="5421901"/>
                </a:cubicBezTo>
                <a:cubicBezTo>
                  <a:pt x="1432428" y="5418052"/>
                  <a:pt x="1436276" y="5414202"/>
                  <a:pt x="1438202" y="5410353"/>
                </a:cubicBezTo>
                <a:close/>
                <a:moveTo>
                  <a:pt x="1894376" y="5406504"/>
                </a:moveTo>
                <a:cubicBezTo>
                  <a:pt x="1890526" y="5408429"/>
                  <a:pt x="1886677" y="5412278"/>
                  <a:pt x="1882828" y="5414203"/>
                </a:cubicBezTo>
                <a:cubicBezTo>
                  <a:pt x="1884752" y="5414203"/>
                  <a:pt x="1884752" y="5414203"/>
                  <a:pt x="1886677" y="5414203"/>
                </a:cubicBezTo>
                <a:cubicBezTo>
                  <a:pt x="1888602" y="5412278"/>
                  <a:pt x="1892451" y="5410354"/>
                  <a:pt x="1894376" y="5406504"/>
                </a:cubicBezTo>
                <a:close/>
                <a:moveTo>
                  <a:pt x="1434352" y="5398804"/>
                </a:moveTo>
                <a:cubicBezTo>
                  <a:pt x="1434352" y="5398804"/>
                  <a:pt x="1432428" y="5400729"/>
                  <a:pt x="1434352" y="5402653"/>
                </a:cubicBezTo>
                <a:cubicBezTo>
                  <a:pt x="1432428" y="5402653"/>
                  <a:pt x="1432428" y="5404578"/>
                  <a:pt x="1430503" y="5404578"/>
                </a:cubicBezTo>
                <a:cubicBezTo>
                  <a:pt x="1430503" y="5404578"/>
                  <a:pt x="1432428" y="5396879"/>
                  <a:pt x="1434352" y="5398804"/>
                </a:cubicBezTo>
                <a:close/>
                <a:moveTo>
                  <a:pt x="1295767" y="5394954"/>
                </a:moveTo>
                <a:cubicBezTo>
                  <a:pt x="1307316" y="5400729"/>
                  <a:pt x="1316940" y="5406503"/>
                  <a:pt x="1330413" y="5408428"/>
                </a:cubicBezTo>
                <a:cubicBezTo>
                  <a:pt x="1328488" y="5408428"/>
                  <a:pt x="1324639" y="5414202"/>
                  <a:pt x="1328488" y="5414202"/>
                </a:cubicBezTo>
                <a:cubicBezTo>
                  <a:pt x="1340037" y="5414202"/>
                  <a:pt x="1351586" y="5410353"/>
                  <a:pt x="1363134" y="5406503"/>
                </a:cubicBezTo>
                <a:cubicBezTo>
                  <a:pt x="1365059" y="5408428"/>
                  <a:pt x="1365059" y="5408428"/>
                  <a:pt x="1366984" y="5408428"/>
                </a:cubicBezTo>
                <a:cubicBezTo>
                  <a:pt x="1366984" y="5408428"/>
                  <a:pt x="1366984" y="5406503"/>
                  <a:pt x="1366984" y="5406503"/>
                </a:cubicBezTo>
                <a:cubicBezTo>
                  <a:pt x="1374683" y="5404578"/>
                  <a:pt x="1380458" y="5404578"/>
                  <a:pt x="1386232" y="5406503"/>
                </a:cubicBezTo>
                <a:cubicBezTo>
                  <a:pt x="1386232" y="5408428"/>
                  <a:pt x="1386232" y="5408428"/>
                  <a:pt x="1386232" y="5410353"/>
                </a:cubicBezTo>
                <a:cubicBezTo>
                  <a:pt x="1388157" y="5412277"/>
                  <a:pt x="1390082" y="5414202"/>
                  <a:pt x="1393931" y="5414202"/>
                </a:cubicBezTo>
                <a:cubicBezTo>
                  <a:pt x="1393931" y="5427676"/>
                  <a:pt x="1393931" y="5441149"/>
                  <a:pt x="1392006" y="5454622"/>
                </a:cubicBezTo>
                <a:cubicBezTo>
                  <a:pt x="1390082" y="5454622"/>
                  <a:pt x="1386232" y="5456547"/>
                  <a:pt x="1384307" y="5456547"/>
                </a:cubicBezTo>
                <a:cubicBezTo>
                  <a:pt x="1380458" y="5456547"/>
                  <a:pt x="1378533" y="5458472"/>
                  <a:pt x="1374683" y="5458472"/>
                </a:cubicBezTo>
                <a:cubicBezTo>
                  <a:pt x="1374683" y="5452698"/>
                  <a:pt x="1374683" y="5446923"/>
                  <a:pt x="1372758" y="5441149"/>
                </a:cubicBezTo>
                <a:cubicBezTo>
                  <a:pt x="1370834" y="5446923"/>
                  <a:pt x="1366984" y="5454622"/>
                  <a:pt x="1363134" y="5460397"/>
                </a:cubicBezTo>
                <a:cubicBezTo>
                  <a:pt x="1357360" y="5460397"/>
                  <a:pt x="1349661" y="5462321"/>
                  <a:pt x="1343887" y="5464246"/>
                </a:cubicBezTo>
                <a:cubicBezTo>
                  <a:pt x="1347736" y="5454622"/>
                  <a:pt x="1353511" y="5446923"/>
                  <a:pt x="1349661" y="5437299"/>
                </a:cubicBezTo>
                <a:cubicBezTo>
                  <a:pt x="1343887" y="5444999"/>
                  <a:pt x="1340037" y="5454622"/>
                  <a:pt x="1336187" y="5466171"/>
                </a:cubicBezTo>
                <a:cubicBezTo>
                  <a:pt x="1336187" y="5466171"/>
                  <a:pt x="1334263" y="5466171"/>
                  <a:pt x="1334263" y="5466171"/>
                </a:cubicBezTo>
                <a:cubicBezTo>
                  <a:pt x="1330413" y="5462321"/>
                  <a:pt x="1326563" y="5458472"/>
                  <a:pt x="1324639" y="5454622"/>
                </a:cubicBezTo>
                <a:cubicBezTo>
                  <a:pt x="1320789" y="5456547"/>
                  <a:pt x="1320789" y="5462321"/>
                  <a:pt x="1320789" y="5468096"/>
                </a:cubicBezTo>
                <a:cubicBezTo>
                  <a:pt x="1318864" y="5468096"/>
                  <a:pt x="1318864" y="5468096"/>
                  <a:pt x="1316940" y="5468096"/>
                </a:cubicBezTo>
                <a:cubicBezTo>
                  <a:pt x="1315015" y="5466171"/>
                  <a:pt x="1313090" y="5464246"/>
                  <a:pt x="1311165" y="5464246"/>
                </a:cubicBezTo>
                <a:cubicBezTo>
                  <a:pt x="1307316" y="5450773"/>
                  <a:pt x="1309240" y="5437299"/>
                  <a:pt x="1318864" y="5433450"/>
                </a:cubicBezTo>
                <a:cubicBezTo>
                  <a:pt x="1318864" y="5431525"/>
                  <a:pt x="1315015" y="5431525"/>
                  <a:pt x="1315015" y="5429600"/>
                </a:cubicBezTo>
                <a:cubicBezTo>
                  <a:pt x="1318864" y="5423826"/>
                  <a:pt x="1328488" y="5418052"/>
                  <a:pt x="1324639" y="5412277"/>
                </a:cubicBezTo>
                <a:cubicBezTo>
                  <a:pt x="1320789" y="5412277"/>
                  <a:pt x="1318864" y="5416127"/>
                  <a:pt x="1316940" y="5418052"/>
                </a:cubicBezTo>
                <a:cubicBezTo>
                  <a:pt x="1315015" y="5414202"/>
                  <a:pt x="1313090" y="5408428"/>
                  <a:pt x="1307316" y="5408428"/>
                </a:cubicBezTo>
                <a:cubicBezTo>
                  <a:pt x="1305391" y="5408428"/>
                  <a:pt x="1303466" y="5410353"/>
                  <a:pt x="1301541" y="5412277"/>
                </a:cubicBezTo>
                <a:cubicBezTo>
                  <a:pt x="1301541" y="5419977"/>
                  <a:pt x="1307316" y="5425751"/>
                  <a:pt x="1307316" y="5431525"/>
                </a:cubicBezTo>
                <a:cubicBezTo>
                  <a:pt x="1301541" y="5433450"/>
                  <a:pt x="1303466" y="5427676"/>
                  <a:pt x="1303466" y="5423826"/>
                </a:cubicBezTo>
                <a:cubicBezTo>
                  <a:pt x="1299616" y="5414202"/>
                  <a:pt x="1297692" y="5404578"/>
                  <a:pt x="1295767" y="5394954"/>
                </a:cubicBezTo>
                <a:close/>
                <a:moveTo>
                  <a:pt x="1622982" y="5393030"/>
                </a:moveTo>
                <a:cubicBezTo>
                  <a:pt x="1622982" y="5393030"/>
                  <a:pt x="1622982" y="5394955"/>
                  <a:pt x="1622982" y="5394955"/>
                </a:cubicBezTo>
                <a:cubicBezTo>
                  <a:pt x="1622982" y="5394955"/>
                  <a:pt x="1621058" y="5394955"/>
                  <a:pt x="1621058" y="5394955"/>
                </a:cubicBezTo>
                <a:cubicBezTo>
                  <a:pt x="1621058" y="5394955"/>
                  <a:pt x="1622982" y="5393030"/>
                  <a:pt x="1622982" y="5393030"/>
                </a:cubicBezTo>
                <a:close/>
                <a:moveTo>
                  <a:pt x="1486322" y="5391105"/>
                </a:moveTo>
                <a:cubicBezTo>
                  <a:pt x="1486322" y="5394954"/>
                  <a:pt x="1490171" y="5394954"/>
                  <a:pt x="1492096" y="5398804"/>
                </a:cubicBezTo>
                <a:cubicBezTo>
                  <a:pt x="1488247" y="5396879"/>
                  <a:pt x="1486322" y="5398804"/>
                  <a:pt x="1486322" y="5398804"/>
                </a:cubicBezTo>
                <a:cubicBezTo>
                  <a:pt x="1486322" y="5396879"/>
                  <a:pt x="1486322" y="5393029"/>
                  <a:pt x="1486322" y="5391105"/>
                </a:cubicBezTo>
                <a:close/>
                <a:moveTo>
                  <a:pt x="1520968" y="5389180"/>
                </a:moveTo>
                <a:cubicBezTo>
                  <a:pt x="1520968" y="5396879"/>
                  <a:pt x="1519043" y="5404578"/>
                  <a:pt x="1517118" y="5412277"/>
                </a:cubicBezTo>
                <a:cubicBezTo>
                  <a:pt x="1515194" y="5414202"/>
                  <a:pt x="1515194" y="5414202"/>
                  <a:pt x="1513269" y="5414202"/>
                </a:cubicBezTo>
                <a:cubicBezTo>
                  <a:pt x="1513269" y="5404578"/>
                  <a:pt x="1517118" y="5394954"/>
                  <a:pt x="1520968" y="5389180"/>
                </a:cubicBezTo>
                <a:close/>
                <a:moveTo>
                  <a:pt x="1459374" y="5387256"/>
                </a:moveTo>
                <a:lnTo>
                  <a:pt x="1459374" y="5389181"/>
                </a:lnTo>
                <a:cubicBezTo>
                  <a:pt x="1459374" y="5389181"/>
                  <a:pt x="1457450" y="5389181"/>
                  <a:pt x="1455525" y="5389181"/>
                </a:cubicBezTo>
                <a:cubicBezTo>
                  <a:pt x="1455525" y="5387256"/>
                  <a:pt x="1457450" y="5387256"/>
                  <a:pt x="1459374" y="5387256"/>
                </a:cubicBezTo>
                <a:close/>
                <a:moveTo>
                  <a:pt x="1359284" y="5383406"/>
                </a:moveTo>
                <a:cubicBezTo>
                  <a:pt x="1363135" y="5383406"/>
                  <a:pt x="1366985" y="5387256"/>
                  <a:pt x="1368909" y="5391106"/>
                </a:cubicBezTo>
                <a:cubicBezTo>
                  <a:pt x="1366985" y="5391106"/>
                  <a:pt x="1363135" y="5393030"/>
                  <a:pt x="1361209" y="5393030"/>
                </a:cubicBezTo>
                <a:cubicBezTo>
                  <a:pt x="1355435" y="5389181"/>
                  <a:pt x="1353510" y="5383406"/>
                  <a:pt x="1359284" y="5383406"/>
                </a:cubicBezTo>
                <a:close/>
                <a:moveTo>
                  <a:pt x="2658516" y="5379557"/>
                </a:moveTo>
                <a:cubicBezTo>
                  <a:pt x="2623870" y="5433451"/>
                  <a:pt x="2623870" y="5550863"/>
                  <a:pt x="2658516" y="5595133"/>
                </a:cubicBezTo>
                <a:cubicBezTo>
                  <a:pt x="2658516" y="5537389"/>
                  <a:pt x="2646967" y="5456548"/>
                  <a:pt x="2658516" y="5379557"/>
                </a:cubicBezTo>
                <a:close/>
                <a:moveTo>
                  <a:pt x="1951271" y="5377109"/>
                </a:moveTo>
                <a:lnTo>
                  <a:pt x="1951638" y="5379557"/>
                </a:lnTo>
                <a:lnTo>
                  <a:pt x="1950499" y="5387156"/>
                </a:lnTo>
                <a:close/>
                <a:moveTo>
                  <a:pt x="1417028" y="5373782"/>
                </a:moveTo>
                <a:cubicBezTo>
                  <a:pt x="1418953" y="5377632"/>
                  <a:pt x="1424728" y="5381482"/>
                  <a:pt x="1426653" y="5381482"/>
                </a:cubicBezTo>
                <a:cubicBezTo>
                  <a:pt x="1430502" y="5381482"/>
                  <a:pt x="1436277" y="5383406"/>
                  <a:pt x="1434352" y="5385331"/>
                </a:cubicBezTo>
                <a:cubicBezTo>
                  <a:pt x="1430502" y="5383406"/>
                  <a:pt x="1426653" y="5385331"/>
                  <a:pt x="1424728" y="5387256"/>
                </a:cubicBezTo>
                <a:cubicBezTo>
                  <a:pt x="1422803" y="5385331"/>
                  <a:pt x="1418953" y="5383406"/>
                  <a:pt x="1415103" y="5383406"/>
                </a:cubicBezTo>
                <a:cubicBezTo>
                  <a:pt x="1417028" y="5379557"/>
                  <a:pt x="1417028" y="5377632"/>
                  <a:pt x="1417028" y="5373782"/>
                </a:cubicBezTo>
                <a:close/>
                <a:moveTo>
                  <a:pt x="1309240" y="5373782"/>
                </a:moveTo>
                <a:cubicBezTo>
                  <a:pt x="1309240" y="5375707"/>
                  <a:pt x="1311165" y="5375707"/>
                  <a:pt x="1313090" y="5377632"/>
                </a:cubicBezTo>
                <a:cubicBezTo>
                  <a:pt x="1324638" y="5387256"/>
                  <a:pt x="1334263" y="5391105"/>
                  <a:pt x="1347737" y="5396880"/>
                </a:cubicBezTo>
                <a:cubicBezTo>
                  <a:pt x="1338113" y="5396880"/>
                  <a:pt x="1330414" y="5396880"/>
                  <a:pt x="1320790" y="5394955"/>
                </a:cubicBezTo>
                <a:cubicBezTo>
                  <a:pt x="1316939" y="5389181"/>
                  <a:pt x="1313090" y="5381482"/>
                  <a:pt x="1309240" y="5373782"/>
                </a:cubicBezTo>
                <a:close/>
                <a:moveTo>
                  <a:pt x="1536365" y="5368008"/>
                </a:moveTo>
                <a:cubicBezTo>
                  <a:pt x="1536365" y="5369933"/>
                  <a:pt x="1534441" y="5369933"/>
                  <a:pt x="1534441" y="5369933"/>
                </a:cubicBezTo>
                <a:lnTo>
                  <a:pt x="1535284" y="5368278"/>
                </a:lnTo>
                <a:close/>
                <a:moveTo>
                  <a:pt x="1428577" y="5366083"/>
                </a:moveTo>
                <a:cubicBezTo>
                  <a:pt x="1432426" y="5368008"/>
                  <a:pt x="1434351" y="5369933"/>
                  <a:pt x="1438202" y="5371858"/>
                </a:cubicBezTo>
                <a:cubicBezTo>
                  <a:pt x="1438202" y="5373782"/>
                  <a:pt x="1438202" y="5375707"/>
                  <a:pt x="1438202" y="5379557"/>
                </a:cubicBezTo>
                <a:cubicBezTo>
                  <a:pt x="1440127" y="5381482"/>
                  <a:pt x="1442051" y="5383406"/>
                  <a:pt x="1440127" y="5385331"/>
                </a:cubicBezTo>
                <a:cubicBezTo>
                  <a:pt x="1432426" y="5385331"/>
                  <a:pt x="1434351" y="5379557"/>
                  <a:pt x="1434351" y="5375707"/>
                </a:cubicBezTo>
                <a:cubicBezTo>
                  <a:pt x="1434351" y="5371858"/>
                  <a:pt x="1432426" y="5368008"/>
                  <a:pt x="1428577" y="5366083"/>
                </a:cubicBezTo>
                <a:close/>
                <a:moveTo>
                  <a:pt x="2127275" y="5358384"/>
                </a:moveTo>
                <a:cubicBezTo>
                  <a:pt x="2125351" y="5360309"/>
                  <a:pt x="2123426" y="5360309"/>
                  <a:pt x="2121501" y="5362234"/>
                </a:cubicBezTo>
                <a:cubicBezTo>
                  <a:pt x="2119577" y="5366083"/>
                  <a:pt x="2117651" y="5371858"/>
                  <a:pt x="2115726" y="5375707"/>
                </a:cubicBezTo>
                <a:cubicBezTo>
                  <a:pt x="2106102" y="5377632"/>
                  <a:pt x="2096479" y="5381482"/>
                  <a:pt x="2084930" y="5383406"/>
                </a:cubicBezTo>
                <a:cubicBezTo>
                  <a:pt x="2084930" y="5381482"/>
                  <a:pt x="2084930" y="5379557"/>
                  <a:pt x="2084930" y="5377632"/>
                </a:cubicBezTo>
                <a:cubicBezTo>
                  <a:pt x="2083006" y="5377632"/>
                  <a:pt x="2081080" y="5379557"/>
                  <a:pt x="2079155" y="5379557"/>
                </a:cubicBezTo>
                <a:cubicBezTo>
                  <a:pt x="2081080" y="5381482"/>
                  <a:pt x="2081080" y="5381482"/>
                  <a:pt x="2081080" y="5383406"/>
                </a:cubicBezTo>
                <a:cubicBezTo>
                  <a:pt x="2077231" y="5385331"/>
                  <a:pt x="2073381" y="5385331"/>
                  <a:pt x="2069531" y="5385331"/>
                </a:cubicBezTo>
                <a:cubicBezTo>
                  <a:pt x="2056058" y="5393030"/>
                  <a:pt x="2042585" y="5398805"/>
                  <a:pt x="2029111" y="5404579"/>
                </a:cubicBezTo>
                <a:cubicBezTo>
                  <a:pt x="2031036" y="5408429"/>
                  <a:pt x="2032962" y="5410354"/>
                  <a:pt x="2032962" y="5414203"/>
                </a:cubicBezTo>
                <a:cubicBezTo>
                  <a:pt x="2042585" y="5410354"/>
                  <a:pt x="2052209" y="5406504"/>
                  <a:pt x="2061832" y="5402654"/>
                </a:cubicBezTo>
                <a:cubicBezTo>
                  <a:pt x="2061832" y="5400730"/>
                  <a:pt x="2061832" y="5400730"/>
                  <a:pt x="2061832" y="5398805"/>
                </a:cubicBezTo>
                <a:cubicBezTo>
                  <a:pt x="2067607" y="5398805"/>
                  <a:pt x="2071456" y="5396880"/>
                  <a:pt x="2075306" y="5396880"/>
                </a:cubicBezTo>
                <a:cubicBezTo>
                  <a:pt x="2094554" y="5389181"/>
                  <a:pt x="2113803" y="5381482"/>
                  <a:pt x="2133050" y="5371858"/>
                </a:cubicBezTo>
                <a:cubicBezTo>
                  <a:pt x="2133050" y="5369933"/>
                  <a:pt x="2134974" y="5368008"/>
                  <a:pt x="2134974" y="5366083"/>
                </a:cubicBezTo>
                <a:cubicBezTo>
                  <a:pt x="2129200" y="5368008"/>
                  <a:pt x="2125351" y="5369933"/>
                  <a:pt x="2121501" y="5373782"/>
                </a:cubicBezTo>
                <a:cubicBezTo>
                  <a:pt x="2123426" y="5368008"/>
                  <a:pt x="2125351" y="5364158"/>
                  <a:pt x="2127275" y="5358384"/>
                </a:cubicBezTo>
                <a:close/>
                <a:moveTo>
                  <a:pt x="1965593" y="5358384"/>
                </a:moveTo>
                <a:cubicBezTo>
                  <a:pt x="1963669" y="5364158"/>
                  <a:pt x="1963669" y="5368008"/>
                  <a:pt x="1959819" y="5369933"/>
                </a:cubicBezTo>
                <a:cubicBezTo>
                  <a:pt x="1959819" y="5368008"/>
                  <a:pt x="1959819" y="5368008"/>
                  <a:pt x="1959819" y="5368008"/>
                </a:cubicBezTo>
                <a:cubicBezTo>
                  <a:pt x="1961744" y="5366083"/>
                  <a:pt x="1963669" y="5362234"/>
                  <a:pt x="1965593" y="5358384"/>
                </a:cubicBezTo>
                <a:close/>
                <a:moveTo>
                  <a:pt x="1503644" y="5358384"/>
                </a:moveTo>
                <a:cubicBezTo>
                  <a:pt x="1505569" y="5360309"/>
                  <a:pt x="1507495" y="5360309"/>
                  <a:pt x="1511344" y="5364158"/>
                </a:cubicBezTo>
                <a:cubicBezTo>
                  <a:pt x="1505569" y="5366083"/>
                  <a:pt x="1501719" y="5368008"/>
                  <a:pt x="1497870" y="5371858"/>
                </a:cubicBezTo>
                <a:cubicBezTo>
                  <a:pt x="1497870" y="5369933"/>
                  <a:pt x="1495945" y="5369933"/>
                  <a:pt x="1495945" y="5368008"/>
                </a:cubicBezTo>
                <a:cubicBezTo>
                  <a:pt x="1497870" y="5366083"/>
                  <a:pt x="1501719" y="5362234"/>
                  <a:pt x="1503644" y="5358384"/>
                </a:cubicBezTo>
                <a:close/>
                <a:moveTo>
                  <a:pt x="1975217" y="5342986"/>
                </a:moveTo>
                <a:cubicBezTo>
                  <a:pt x="1975217" y="5342986"/>
                  <a:pt x="1975217" y="5342986"/>
                  <a:pt x="1973292" y="5344910"/>
                </a:cubicBezTo>
                <a:lnTo>
                  <a:pt x="1973292" y="5344911"/>
                </a:lnTo>
                <a:lnTo>
                  <a:pt x="1952119" y="5366083"/>
                </a:lnTo>
                <a:lnTo>
                  <a:pt x="1951271" y="5377109"/>
                </a:lnTo>
                <a:lnTo>
                  <a:pt x="1950195" y="5369933"/>
                </a:lnTo>
                <a:cubicBezTo>
                  <a:pt x="1946345" y="5373782"/>
                  <a:pt x="1944420" y="5375707"/>
                  <a:pt x="1942496" y="5377632"/>
                </a:cubicBezTo>
                <a:cubicBezTo>
                  <a:pt x="1942496" y="5381482"/>
                  <a:pt x="1944420" y="5387256"/>
                  <a:pt x="1950195" y="5389181"/>
                </a:cubicBezTo>
                <a:lnTo>
                  <a:pt x="1950499" y="5387156"/>
                </a:lnTo>
                <a:lnTo>
                  <a:pt x="1950195" y="5391106"/>
                </a:lnTo>
                <a:cubicBezTo>
                  <a:pt x="1942496" y="5391106"/>
                  <a:pt x="1934796" y="5391106"/>
                  <a:pt x="1927098" y="5391106"/>
                </a:cubicBezTo>
                <a:cubicBezTo>
                  <a:pt x="1915548" y="5402654"/>
                  <a:pt x="1904000" y="5416128"/>
                  <a:pt x="1892451" y="5427677"/>
                </a:cubicBezTo>
                <a:cubicBezTo>
                  <a:pt x="1894376" y="5433451"/>
                  <a:pt x="1896301" y="5437301"/>
                  <a:pt x="1896301" y="5443075"/>
                </a:cubicBezTo>
                <a:cubicBezTo>
                  <a:pt x="1896301" y="5443075"/>
                  <a:pt x="1894376" y="5445000"/>
                  <a:pt x="1894376" y="5445000"/>
                </a:cubicBezTo>
                <a:cubicBezTo>
                  <a:pt x="1888602" y="5443075"/>
                  <a:pt x="1884752" y="5441150"/>
                  <a:pt x="1878978" y="5441150"/>
                </a:cubicBezTo>
                <a:cubicBezTo>
                  <a:pt x="1867429" y="5454624"/>
                  <a:pt x="1853955" y="5468097"/>
                  <a:pt x="1840482" y="5481570"/>
                </a:cubicBezTo>
                <a:cubicBezTo>
                  <a:pt x="1840482" y="5487345"/>
                  <a:pt x="1838558" y="5495044"/>
                  <a:pt x="1836632" y="5500818"/>
                </a:cubicBezTo>
                <a:cubicBezTo>
                  <a:pt x="1844331" y="5495044"/>
                  <a:pt x="1850106" y="5489269"/>
                  <a:pt x="1857805" y="5483495"/>
                </a:cubicBezTo>
                <a:cubicBezTo>
                  <a:pt x="1859730" y="5473871"/>
                  <a:pt x="1863579" y="5464247"/>
                  <a:pt x="1867429" y="5454624"/>
                </a:cubicBezTo>
                <a:cubicBezTo>
                  <a:pt x="1873203" y="5454624"/>
                  <a:pt x="1877054" y="5456548"/>
                  <a:pt x="1882828" y="5456548"/>
                </a:cubicBezTo>
                <a:cubicBezTo>
                  <a:pt x="1884752" y="5456548"/>
                  <a:pt x="1884752" y="5456548"/>
                  <a:pt x="1886677" y="5458473"/>
                </a:cubicBezTo>
                <a:cubicBezTo>
                  <a:pt x="1898226" y="5448849"/>
                  <a:pt x="1907849" y="5439225"/>
                  <a:pt x="1917473" y="5429602"/>
                </a:cubicBezTo>
                <a:cubicBezTo>
                  <a:pt x="1915548" y="5431526"/>
                  <a:pt x="1913625" y="5431526"/>
                  <a:pt x="1911699" y="5433451"/>
                </a:cubicBezTo>
                <a:cubicBezTo>
                  <a:pt x="1911699" y="5433451"/>
                  <a:pt x="1911699" y="5433451"/>
                  <a:pt x="1909774" y="5433451"/>
                </a:cubicBezTo>
                <a:cubicBezTo>
                  <a:pt x="1909774" y="5429602"/>
                  <a:pt x="1911699" y="5427677"/>
                  <a:pt x="1911699" y="5425752"/>
                </a:cubicBezTo>
                <a:cubicBezTo>
                  <a:pt x="1911699" y="5425752"/>
                  <a:pt x="1913625" y="5427677"/>
                  <a:pt x="1913625" y="5427677"/>
                </a:cubicBezTo>
                <a:cubicBezTo>
                  <a:pt x="1915548" y="5423827"/>
                  <a:pt x="1919399" y="5423827"/>
                  <a:pt x="1923248" y="5419978"/>
                </a:cubicBezTo>
                <a:cubicBezTo>
                  <a:pt x="1923248" y="5418053"/>
                  <a:pt x="1923248" y="5416128"/>
                  <a:pt x="1923248" y="5414203"/>
                </a:cubicBezTo>
                <a:cubicBezTo>
                  <a:pt x="1927098" y="5414203"/>
                  <a:pt x="1929022" y="5414203"/>
                  <a:pt x="1932872" y="5414203"/>
                </a:cubicBezTo>
                <a:cubicBezTo>
                  <a:pt x="1938646" y="5408429"/>
                  <a:pt x="1946345" y="5400730"/>
                  <a:pt x="1954044" y="5393030"/>
                </a:cubicBezTo>
                <a:cubicBezTo>
                  <a:pt x="1955969" y="5391106"/>
                  <a:pt x="1955969" y="5391106"/>
                  <a:pt x="1957895" y="5389181"/>
                </a:cubicBezTo>
                <a:cubicBezTo>
                  <a:pt x="1961743" y="5379557"/>
                  <a:pt x="1965593" y="5369933"/>
                  <a:pt x="1969443" y="5362234"/>
                </a:cubicBezTo>
                <a:cubicBezTo>
                  <a:pt x="1975217" y="5360309"/>
                  <a:pt x="1980991" y="5360309"/>
                  <a:pt x="1984841" y="5354534"/>
                </a:cubicBezTo>
                <a:cubicBezTo>
                  <a:pt x="1980991" y="5352610"/>
                  <a:pt x="1973292" y="5354534"/>
                  <a:pt x="1969443" y="5352610"/>
                </a:cubicBezTo>
                <a:cubicBezTo>
                  <a:pt x="1969443" y="5348760"/>
                  <a:pt x="1973292" y="5348760"/>
                  <a:pt x="1975217" y="5346835"/>
                </a:cubicBezTo>
                <a:lnTo>
                  <a:pt x="1973292" y="5344911"/>
                </a:lnTo>
                <a:close/>
                <a:moveTo>
                  <a:pt x="1426653" y="5341061"/>
                </a:moveTo>
                <a:cubicBezTo>
                  <a:pt x="1428577" y="5342986"/>
                  <a:pt x="1430502" y="5342986"/>
                  <a:pt x="1434351" y="5342986"/>
                </a:cubicBezTo>
                <a:cubicBezTo>
                  <a:pt x="1436277" y="5344910"/>
                  <a:pt x="1436277" y="5346835"/>
                  <a:pt x="1438202" y="5348760"/>
                </a:cubicBezTo>
                <a:cubicBezTo>
                  <a:pt x="1432426" y="5346835"/>
                  <a:pt x="1428577" y="5346835"/>
                  <a:pt x="1424728" y="5344910"/>
                </a:cubicBezTo>
                <a:cubicBezTo>
                  <a:pt x="1424728" y="5344910"/>
                  <a:pt x="1426653" y="5342986"/>
                  <a:pt x="1426653" y="5341061"/>
                </a:cubicBezTo>
                <a:close/>
                <a:moveTo>
                  <a:pt x="2083006" y="5337211"/>
                </a:moveTo>
                <a:cubicBezTo>
                  <a:pt x="2081080" y="5339136"/>
                  <a:pt x="2081080" y="5341061"/>
                  <a:pt x="2079155" y="5342986"/>
                </a:cubicBezTo>
                <a:cubicBezTo>
                  <a:pt x="2079155" y="5342986"/>
                  <a:pt x="2081080" y="5341061"/>
                  <a:pt x="2083006" y="5341061"/>
                </a:cubicBezTo>
                <a:cubicBezTo>
                  <a:pt x="2083006" y="5339136"/>
                  <a:pt x="2083006" y="5339136"/>
                  <a:pt x="2083006" y="5337211"/>
                </a:cubicBezTo>
                <a:close/>
                <a:moveTo>
                  <a:pt x="1380458" y="5337210"/>
                </a:moveTo>
                <a:cubicBezTo>
                  <a:pt x="1384308" y="5341060"/>
                  <a:pt x="1390082" y="5342986"/>
                  <a:pt x="1395857" y="5346835"/>
                </a:cubicBezTo>
                <a:cubicBezTo>
                  <a:pt x="1399706" y="5356459"/>
                  <a:pt x="1399706" y="5369933"/>
                  <a:pt x="1397782" y="5383406"/>
                </a:cubicBezTo>
                <a:cubicBezTo>
                  <a:pt x="1395857" y="5383406"/>
                  <a:pt x="1395857" y="5385331"/>
                  <a:pt x="1393932" y="5385331"/>
                </a:cubicBezTo>
                <a:cubicBezTo>
                  <a:pt x="1393932" y="5387256"/>
                  <a:pt x="1395857" y="5389180"/>
                  <a:pt x="1397782" y="5389180"/>
                </a:cubicBezTo>
                <a:cubicBezTo>
                  <a:pt x="1397782" y="5391105"/>
                  <a:pt x="1397782" y="5391105"/>
                  <a:pt x="1397782" y="5391105"/>
                </a:cubicBezTo>
                <a:cubicBezTo>
                  <a:pt x="1386233" y="5391105"/>
                  <a:pt x="1378533" y="5389180"/>
                  <a:pt x="1374683" y="5383406"/>
                </a:cubicBezTo>
                <a:cubicBezTo>
                  <a:pt x="1380458" y="5385331"/>
                  <a:pt x="1386233" y="5387256"/>
                  <a:pt x="1388158" y="5381481"/>
                </a:cubicBezTo>
                <a:cubicBezTo>
                  <a:pt x="1382383" y="5377632"/>
                  <a:pt x="1376608" y="5375707"/>
                  <a:pt x="1370834" y="5371857"/>
                </a:cubicBezTo>
                <a:cubicBezTo>
                  <a:pt x="1368909" y="5362234"/>
                  <a:pt x="1374683" y="5346835"/>
                  <a:pt x="1380458" y="5337210"/>
                </a:cubicBezTo>
                <a:close/>
                <a:moveTo>
                  <a:pt x="1432427" y="5333362"/>
                </a:moveTo>
                <a:cubicBezTo>
                  <a:pt x="1434352" y="5337211"/>
                  <a:pt x="1434352" y="5339136"/>
                  <a:pt x="1436277" y="5342986"/>
                </a:cubicBezTo>
                <a:cubicBezTo>
                  <a:pt x="1434352" y="5341061"/>
                  <a:pt x="1430503" y="5339136"/>
                  <a:pt x="1428578" y="5337211"/>
                </a:cubicBezTo>
                <a:cubicBezTo>
                  <a:pt x="1430503" y="5335286"/>
                  <a:pt x="1432427" y="5335286"/>
                  <a:pt x="1432427" y="5333362"/>
                </a:cubicBezTo>
                <a:close/>
                <a:moveTo>
                  <a:pt x="1438202" y="5329512"/>
                </a:moveTo>
                <a:cubicBezTo>
                  <a:pt x="1440127" y="5331437"/>
                  <a:pt x="1442051" y="5335286"/>
                  <a:pt x="1443976" y="5337211"/>
                </a:cubicBezTo>
                <a:cubicBezTo>
                  <a:pt x="1443976" y="5339136"/>
                  <a:pt x="1443976" y="5339136"/>
                  <a:pt x="1443976" y="5339136"/>
                </a:cubicBezTo>
                <a:cubicBezTo>
                  <a:pt x="1440127" y="5337211"/>
                  <a:pt x="1440127" y="5333362"/>
                  <a:pt x="1438202" y="5329512"/>
                </a:cubicBezTo>
                <a:close/>
                <a:moveTo>
                  <a:pt x="1800061" y="5327587"/>
                </a:moveTo>
                <a:cubicBezTo>
                  <a:pt x="1792362" y="5333362"/>
                  <a:pt x="1786588" y="5339136"/>
                  <a:pt x="1778889" y="5344910"/>
                </a:cubicBezTo>
                <a:cubicBezTo>
                  <a:pt x="1778889" y="5346835"/>
                  <a:pt x="1778889" y="5350685"/>
                  <a:pt x="1780813" y="5352610"/>
                </a:cubicBezTo>
                <a:cubicBezTo>
                  <a:pt x="1782738" y="5356459"/>
                  <a:pt x="1784663" y="5358384"/>
                  <a:pt x="1786588" y="5362234"/>
                </a:cubicBezTo>
                <a:cubicBezTo>
                  <a:pt x="1792362" y="5358384"/>
                  <a:pt x="1798136" y="5352610"/>
                  <a:pt x="1801987" y="5348760"/>
                </a:cubicBezTo>
                <a:cubicBezTo>
                  <a:pt x="1800061" y="5348760"/>
                  <a:pt x="1800061" y="5348760"/>
                  <a:pt x="1800061" y="5348760"/>
                </a:cubicBezTo>
                <a:cubicBezTo>
                  <a:pt x="1800061" y="5342986"/>
                  <a:pt x="1800061" y="5339136"/>
                  <a:pt x="1800061" y="5333362"/>
                </a:cubicBezTo>
                <a:cubicBezTo>
                  <a:pt x="1801987" y="5333362"/>
                  <a:pt x="1803911" y="5333362"/>
                  <a:pt x="1805836" y="5333362"/>
                </a:cubicBezTo>
                <a:cubicBezTo>
                  <a:pt x="1803911" y="5333362"/>
                  <a:pt x="1803911" y="5331437"/>
                  <a:pt x="1803911" y="5331437"/>
                </a:cubicBezTo>
                <a:cubicBezTo>
                  <a:pt x="1801987" y="5329512"/>
                  <a:pt x="1801987" y="5329512"/>
                  <a:pt x="1800061" y="5327587"/>
                </a:cubicBezTo>
                <a:close/>
                <a:moveTo>
                  <a:pt x="1253422" y="5319887"/>
                </a:moveTo>
                <a:cubicBezTo>
                  <a:pt x="1291918" y="5310263"/>
                  <a:pt x="1289993" y="5346834"/>
                  <a:pt x="1305391" y="5369933"/>
                </a:cubicBezTo>
                <a:cubicBezTo>
                  <a:pt x="1303466" y="5366083"/>
                  <a:pt x="1301541" y="5366083"/>
                  <a:pt x="1297692" y="5364158"/>
                </a:cubicBezTo>
                <a:cubicBezTo>
                  <a:pt x="1295767" y="5377632"/>
                  <a:pt x="1305391" y="5379557"/>
                  <a:pt x="1307316" y="5389180"/>
                </a:cubicBezTo>
                <a:cubicBezTo>
                  <a:pt x="1305391" y="5389180"/>
                  <a:pt x="1301541" y="5387256"/>
                  <a:pt x="1299617" y="5389180"/>
                </a:cubicBezTo>
                <a:cubicBezTo>
                  <a:pt x="1299617" y="5385331"/>
                  <a:pt x="1297692" y="5381481"/>
                  <a:pt x="1297692" y="5377632"/>
                </a:cubicBezTo>
                <a:cubicBezTo>
                  <a:pt x="1291918" y="5369933"/>
                  <a:pt x="1289993" y="5360309"/>
                  <a:pt x="1289993" y="5348760"/>
                </a:cubicBezTo>
                <a:cubicBezTo>
                  <a:pt x="1286143" y="5346834"/>
                  <a:pt x="1288068" y="5342985"/>
                  <a:pt x="1284218" y="5341060"/>
                </a:cubicBezTo>
                <a:cubicBezTo>
                  <a:pt x="1282294" y="5344909"/>
                  <a:pt x="1286143" y="5348760"/>
                  <a:pt x="1286143" y="5350685"/>
                </a:cubicBezTo>
                <a:cubicBezTo>
                  <a:pt x="1286143" y="5352610"/>
                  <a:pt x="1286143" y="5356459"/>
                  <a:pt x="1286143" y="5360309"/>
                </a:cubicBezTo>
                <a:cubicBezTo>
                  <a:pt x="1288068" y="5369933"/>
                  <a:pt x="1293842" y="5381481"/>
                  <a:pt x="1293842" y="5391105"/>
                </a:cubicBezTo>
                <a:cubicBezTo>
                  <a:pt x="1293842" y="5393030"/>
                  <a:pt x="1291918" y="5394955"/>
                  <a:pt x="1291918" y="5396879"/>
                </a:cubicBezTo>
                <a:cubicBezTo>
                  <a:pt x="1291918" y="5406503"/>
                  <a:pt x="1299617" y="5419977"/>
                  <a:pt x="1299617" y="5429601"/>
                </a:cubicBezTo>
                <a:cubicBezTo>
                  <a:pt x="1299617" y="5431525"/>
                  <a:pt x="1295767" y="5429601"/>
                  <a:pt x="1295767" y="5433450"/>
                </a:cubicBezTo>
                <a:cubicBezTo>
                  <a:pt x="1297692" y="5433450"/>
                  <a:pt x="1297692" y="5431525"/>
                  <a:pt x="1299617" y="5431525"/>
                </a:cubicBezTo>
                <a:cubicBezTo>
                  <a:pt x="1299617" y="5437300"/>
                  <a:pt x="1303466" y="5443074"/>
                  <a:pt x="1301541" y="5448849"/>
                </a:cubicBezTo>
                <a:cubicBezTo>
                  <a:pt x="1301541" y="5441149"/>
                  <a:pt x="1291918" y="5444999"/>
                  <a:pt x="1289993" y="5448849"/>
                </a:cubicBezTo>
                <a:cubicBezTo>
                  <a:pt x="1291918" y="5450773"/>
                  <a:pt x="1291918" y="5452698"/>
                  <a:pt x="1293842" y="5452698"/>
                </a:cubicBezTo>
                <a:cubicBezTo>
                  <a:pt x="1293842" y="5454623"/>
                  <a:pt x="1291918" y="5454623"/>
                  <a:pt x="1291918" y="5456548"/>
                </a:cubicBezTo>
                <a:cubicBezTo>
                  <a:pt x="1289993" y="5452698"/>
                  <a:pt x="1288068" y="5450773"/>
                  <a:pt x="1286143" y="5448849"/>
                </a:cubicBezTo>
                <a:cubicBezTo>
                  <a:pt x="1284218" y="5456548"/>
                  <a:pt x="1288068" y="5466172"/>
                  <a:pt x="1284218" y="5470021"/>
                </a:cubicBezTo>
                <a:cubicBezTo>
                  <a:pt x="1280369" y="5460397"/>
                  <a:pt x="1278444" y="5450773"/>
                  <a:pt x="1268820" y="5444999"/>
                </a:cubicBezTo>
                <a:cubicBezTo>
                  <a:pt x="1266895" y="5456548"/>
                  <a:pt x="1270745" y="5464247"/>
                  <a:pt x="1274594" y="5471946"/>
                </a:cubicBezTo>
                <a:cubicBezTo>
                  <a:pt x="1272670" y="5471946"/>
                  <a:pt x="1268820" y="5473871"/>
                  <a:pt x="1266895" y="5473871"/>
                </a:cubicBezTo>
                <a:cubicBezTo>
                  <a:pt x="1259196" y="5458473"/>
                  <a:pt x="1251497" y="5444999"/>
                  <a:pt x="1247647" y="5425751"/>
                </a:cubicBezTo>
                <a:cubicBezTo>
                  <a:pt x="1245723" y="5446924"/>
                  <a:pt x="1249572" y="5462322"/>
                  <a:pt x="1253422" y="5477721"/>
                </a:cubicBezTo>
                <a:cubicBezTo>
                  <a:pt x="1243798" y="5479645"/>
                  <a:pt x="1234174" y="5479645"/>
                  <a:pt x="1224550" y="5481570"/>
                </a:cubicBezTo>
                <a:cubicBezTo>
                  <a:pt x="1224550" y="5477721"/>
                  <a:pt x="1224550" y="5471946"/>
                  <a:pt x="1224550" y="5468097"/>
                </a:cubicBezTo>
                <a:cubicBezTo>
                  <a:pt x="1226475" y="5454623"/>
                  <a:pt x="1230324" y="5441149"/>
                  <a:pt x="1236099" y="5429601"/>
                </a:cubicBezTo>
                <a:cubicBezTo>
                  <a:pt x="1245723" y="5419977"/>
                  <a:pt x="1249572" y="5408428"/>
                  <a:pt x="1253422" y="5394955"/>
                </a:cubicBezTo>
                <a:cubicBezTo>
                  <a:pt x="1247647" y="5400729"/>
                  <a:pt x="1243798" y="5404579"/>
                  <a:pt x="1239948" y="5410353"/>
                </a:cubicBezTo>
                <a:cubicBezTo>
                  <a:pt x="1243798" y="5385331"/>
                  <a:pt x="1247647" y="5356459"/>
                  <a:pt x="1251497" y="5329511"/>
                </a:cubicBezTo>
                <a:cubicBezTo>
                  <a:pt x="1251497" y="5325661"/>
                  <a:pt x="1253422" y="5323737"/>
                  <a:pt x="1253422" y="5319887"/>
                </a:cubicBezTo>
                <a:close/>
                <a:moveTo>
                  <a:pt x="2117651" y="5312189"/>
                </a:moveTo>
                <a:cubicBezTo>
                  <a:pt x="2115726" y="5312189"/>
                  <a:pt x="2115726" y="5314114"/>
                  <a:pt x="2113803" y="5314114"/>
                </a:cubicBezTo>
                <a:cubicBezTo>
                  <a:pt x="2113803" y="5314114"/>
                  <a:pt x="2115726" y="5314114"/>
                  <a:pt x="2115726" y="5314114"/>
                </a:cubicBezTo>
                <a:cubicBezTo>
                  <a:pt x="2121501" y="5316039"/>
                  <a:pt x="2121501" y="5314114"/>
                  <a:pt x="2117651" y="5312189"/>
                </a:cubicBezTo>
                <a:close/>
                <a:moveTo>
                  <a:pt x="1445900" y="5312189"/>
                </a:moveTo>
                <a:cubicBezTo>
                  <a:pt x="1449749" y="5312189"/>
                  <a:pt x="1453599" y="5316038"/>
                  <a:pt x="1457450" y="5317963"/>
                </a:cubicBezTo>
                <a:cubicBezTo>
                  <a:pt x="1455525" y="5317963"/>
                  <a:pt x="1453599" y="5319888"/>
                  <a:pt x="1453599" y="5321813"/>
                </a:cubicBezTo>
                <a:cubicBezTo>
                  <a:pt x="1451674" y="5317963"/>
                  <a:pt x="1447826" y="5316038"/>
                  <a:pt x="1445900" y="5312189"/>
                </a:cubicBezTo>
                <a:close/>
                <a:moveTo>
                  <a:pt x="1340037" y="5308338"/>
                </a:moveTo>
                <a:cubicBezTo>
                  <a:pt x="1341961" y="5310263"/>
                  <a:pt x="1343886" y="5314114"/>
                  <a:pt x="1341961" y="5321813"/>
                </a:cubicBezTo>
                <a:cubicBezTo>
                  <a:pt x="1361209" y="5325662"/>
                  <a:pt x="1370833" y="5348760"/>
                  <a:pt x="1359284" y="5366083"/>
                </a:cubicBezTo>
                <a:cubicBezTo>
                  <a:pt x="1345811" y="5358384"/>
                  <a:pt x="1345811" y="5339136"/>
                  <a:pt x="1334262" y="5329512"/>
                </a:cubicBezTo>
                <a:cubicBezTo>
                  <a:pt x="1334262" y="5342985"/>
                  <a:pt x="1343886" y="5352609"/>
                  <a:pt x="1343886" y="5366083"/>
                </a:cubicBezTo>
                <a:cubicBezTo>
                  <a:pt x="1318864" y="5356459"/>
                  <a:pt x="1297691" y="5348760"/>
                  <a:pt x="1291917" y="5329512"/>
                </a:cubicBezTo>
                <a:cubicBezTo>
                  <a:pt x="1305390" y="5316038"/>
                  <a:pt x="1322713" y="5312188"/>
                  <a:pt x="1340037" y="5308338"/>
                </a:cubicBezTo>
                <a:close/>
                <a:moveTo>
                  <a:pt x="1832784" y="5306415"/>
                </a:moveTo>
                <a:cubicBezTo>
                  <a:pt x="1832784" y="5306415"/>
                  <a:pt x="1834707" y="5308339"/>
                  <a:pt x="1836632" y="5308339"/>
                </a:cubicBezTo>
                <a:cubicBezTo>
                  <a:pt x="1838558" y="5308339"/>
                  <a:pt x="1838558" y="5306415"/>
                  <a:pt x="1838558" y="5306415"/>
                </a:cubicBezTo>
                <a:cubicBezTo>
                  <a:pt x="1836632" y="5306415"/>
                  <a:pt x="1834707" y="5306415"/>
                  <a:pt x="1832784" y="5306415"/>
                </a:cubicBezTo>
                <a:close/>
                <a:moveTo>
                  <a:pt x="1386486" y="5304631"/>
                </a:moveTo>
                <a:lnTo>
                  <a:pt x="1400428" y="5312429"/>
                </a:lnTo>
                <a:cubicBezTo>
                  <a:pt x="1405962" y="5314594"/>
                  <a:pt x="1412217" y="5316038"/>
                  <a:pt x="1418954" y="5316038"/>
                </a:cubicBezTo>
                <a:cubicBezTo>
                  <a:pt x="1417030" y="5321813"/>
                  <a:pt x="1415105" y="5327587"/>
                  <a:pt x="1411255" y="5335286"/>
                </a:cubicBezTo>
                <a:cubicBezTo>
                  <a:pt x="1402593" y="5329512"/>
                  <a:pt x="1395856" y="5321813"/>
                  <a:pt x="1390322" y="5312911"/>
                </a:cubicBezTo>
                <a:close/>
                <a:moveTo>
                  <a:pt x="1386232" y="5304490"/>
                </a:moveTo>
                <a:lnTo>
                  <a:pt x="1386420" y="5304490"/>
                </a:lnTo>
                <a:lnTo>
                  <a:pt x="1386486" y="5304631"/>
                </a:lnTo>
                <a:close/>
                <a:moveTo>
                  <a:pt x="1405481" y="5291016"/>
                </a:moveTo>
                <a:cubicBezTo>
                  <a:pt x="1407406" y="5291016"/>
                  <a:pt x="1409330" y="5292941"/>
                  <a:pt x="1413180" y="5292941"/>
                </a:cubicBezTo>
                <a:cubicBezTo>
                  <a:pt x="1415105" y="5294866"/>
                  <a:pt x="1415105" y="5298715"/>
                  <a:pt x="1417030" y="5302565"/>
                </a:cubicBezTo>
                <a:cubicBezTo>
                  <a:pt x="1417030" y="5304490"/>
                  <a:pt x="1417030" y="5304490"/>
                  <a:pt x="1417030" y="5304490"/>
                </a:cubicBezTo>
                <a:cubicBezTo>
                  <a:pt x="1411254" y="5300640"/>
                  <a:pt x="1411254" y="5294866"/>
                  <a:pt x="1405481" y="5291016"/>
                </a:cubicBezTo>
                <a:close/>
                <a:moveTo>
                  <a:pt x="1376608" y="5283316"/>
                </a:moveTo>
                <a:cubicBezTo>
                  <a:pt x="1386232" y="5294866"/>
                  <a:pt x="1405481" y="5296790"/>
                  <a:pt x="1418954" y="5306414"/>
                </a:cubicBezTo>
                <a:cubicBezTo>
                  <a:pt x="1418954" y="5310264"/>
                  <a:pt x="1418954" y="5312189"/>
                  <a:pt x="1418954" y="5314114"/>
                </a:cubicBezTo>
                <a:cubicBezTo>
                  <a:pt x="1411255" y="5312189"/>
                  <a:pt x="1405481" y="5304490"/>
                  <a:pt x="1395856" y="5304490"/>
                </a:cubicBezTo>
                <a:lnTo>
                  <a:pt x="1386420" y="5304490"/>
                </a:lnTo>
                <a:close/>
                <a:moveTo>
                  <a:pt x="2664291" y="5277543"/>
                </a:moveTo>
                <a:cubicBezTo>
                  <a:pt x="2602697" y="5416128"/>
                  <a:pt x="2494910" y="5487345"/>
                  <a:pt x="2396745" y="5570111"/>
                </a:cubicBezTo>
                <a:cubicBezTo>
                  <a:pt x="2364024" y="5622080"/>
                  <a:pt x="2292807" y="5722169"/>
                  <a:pt x="2321678" y="5795311"/>
                </a:cubicBezTo>
                <a:cubicBezTo>
                  <a:pt x="2348625" y="5512367"/>
                  <a:pt x="2612322" y="5521991"/>
                  <a:pt x="2664291" y="5277543"/>
                </a:cubicBezTo>
                <a:close/>
                <a:moveTo>
                  <a:pt x="1366984" y="5275618"/>
                </a:moveTo>
                <a:cubicBezTo>
                  <a:pt x="1368909" y="5281392"/>
                  <a:pt x="1374684" y="5289091"/>
                  <a:pt x="1366984" y="5292941"/>
                </a:cubicBezTo>
                <a:cubicBezTo>
                  <a:pt x="1363135" y="5289091"/>
                  <a:pt x="1359284" y="5287166"/>
                  <a:pt x="1353511" y="5285242"/>
                </a:cubicBezTo>
                <a:cubicBezTo>
                  <a:pt x="1357359" y="5281392"/>
                  <a:pt x="1361209" y="5277542"/>
                  <a:pt x="1366984" y="5275618"/>
                </a:cubicBezTo>
                <a:close/>
                <a:moveTo>
                  <a:pt x="1374683" y="5273693"/>
                </a:moveTo>
                <a:cubicBezTo>
                  <a:pt x="1388157" y="5277542"/>
                  <a:pt x="1399706" y="5283317"/>
                  <a:pt x="1409330" y="5289091"/>
                </a:cubicBezTo>
                <a:cubicBezTo>
                  <a:pt x="1395856" y="5289091"/>
                  <a:pt x="1386231" y="5275618"/>
                  <a:pt x="1372759" y="5277542"/>
                </a:cubicBezTo>
                <a:cubicBezTo>
                  <a:pt x="1372759" y="5275618"/>
                  <a:pt x="1372759" y="5275618"/>
                  <a:pt x="1374683" y="5273693"/>
                </a:cubicBezTo>
                <a:close/>
                <a:moveTo>
                  <a:pt x="2073140" y="5267679"/>
                </a:moveTo>
                <a:cubicBezTo>
                  <a:pt x="2070494" y="5267920"/>
                  <a:pt x="2065682" y="5269845"/>
                  <a:pt x="2063757" y="5273694"/>
                </a:cubicBezTo>
                <a:cubicBezTo>
                  <a:pt x="2056058" y="5275618"/>
                  <a:pt x="2050284" y="5279468"/>
                  <a:pt x="2042585" y="5281393"/>
                </a:cubicBezTo>
                <a:cubicBezTo>
                  <a:pt x="2027186" y="5292941"/>
                  <a:pt x="2011788" y="5306415"/>
                  <a:pt x="1996390" y="5323738"/>
                </a:cubicBezTo>
                <a:cubicBezTo>
                  <a:pt x="2000239" y="5329512"/>
                  <a:pt x="2004089" y="5335286"/>
                  <a:pt x="2006014" y="5341061"/>
                </a:cubicBezTo>
                <a:cubicBezTo>
                  <a:pt x="2009863" y="5337211"/>
                  <a:pt x="2013713" y="5333362"/>
                  <a:pt x="2017562" y="5329512"/>
                </a:cubicBezTo>
                <a:cubicBezTo>
                  <a:pt x="2017562" y="5329512"/>
                  <a:pt x="2017562" y="5327587"/>
                  <a:pt x="2017562" y="5327587"/>
                </a:cubicBezTo>
                <a:cubicBezTo>
                  <a:pt x="2017562" y="5327587"/>
                  <a:pt x="2017562" y="5325662"/>
                  <a:pt x="2015638" y="5325662"/>
                </a:cubicBezTo>
                <a:cubicBezTo>
                  <a:pt x="2011788" y="5323738"/>
                  <a:pt x="2013713" y="5327587"/>
                  <a:pt x="2009863" y="5327587"/>
                </a:cubicBezTo>
                <a:cubicBezTo>
                  <a:pt x="2007939" y="5325662"/>
                  <a:pt x="2007939" y="5321813"/>
                  <a:pt x="2006014" y="5319888"/>
                </a:cubicBezTo>
                <a:cubicBezTo>
                  <a:pt x="2013713" y="5319888"/>
                  <a:pt x="2019487" y="5319888"/>
                  <a:pt x="2027186" y="5319888"/>
                </a:cubicBezTo>
                <a:cubicBezTo>
                  <a:pt x="2031036" y="5316039"/>
                  <a:pt x="2032962" y="5314114"/>
                  <a:pt x="2036810" y="5310264"/>
                </a:cubicBezTo>
                <a:cubicBezTo>
                  <a:pt x="2032962" y="5310264"/>
                  <a:pt x="2031036" y="5308339"/>
                  <a:pt x="2029111" y="5308339"/>
                </a:cubicBezTo>
                <a:cubicBezTo>
                  <a:pt x="2032962" y="5306415"/>
                  <a:pt x="2038736" y="5306415"/>
                  <a:pt x="2042585" y="5304490"/>
                </a:cubicBezTo>
                <a:cubicBezTo>
                  <a:pt x="2050284" y="5298716"/>
                  <a:pt x="2056058" y="5292941"/>
                  <a:pt x="2061832" y="5287167"/>
                </a:cubicBezTo>
                <a:cubicBezTo>
                  <a:pt x="2057983" y="5287167"/>
                  <a:pt x="2056058" y="5285242"/>
                  <a:pt x="2054133" y="5285242"/>
                </a:cubicBezTo>
                <a:cubicBezTo>
                  <a:pt x="2050284" y="5277543"/>
                  <a:pt x="2065682" y="5277543"/>
                  <a:pt x="2069531" y="5271769"/>
                </a:cubicBezTo>
                <a:cubicBezTo>
                  <a:pt x="2076268" y="5268882"/>
                  <a:pt x="2075787" y="5267439"/>
                  <a:pt x="2073140" y="5267679"/>
                </a:cubicBezTo>
                <a:close/>
                <a:moveTo>
                  <a:pt x="1428577" y="5252519"/>
                </a:moveTo>
                <a:cubicBezTo>
                  <a:pt x="1428577" y="5256370"/>
                  <a:pt x="1430503" y="5258294"/>
                  <a:pt x="1432428" y="5262144"/>
                </a:cubicBezTo>
                <a:cubicBezTo>
                  <a:pt x="1428577" y="5267918"/>
                  <a:pt x="1424728" y="5273693"/>
                  <a:pt x="1422804" y="5281392"/>
                </a:cubicBezTo>
                <a:cubicBezTo>
                  <a:pt x="1422804" y="5279467"/>
                  <a:pt x="1422804" y="5279467"/>
                  <a:pt x="1422804" y="5277542"/>
                </a:cubicBezTo>
                <a:cubicBezTo>
                  <a:pt x="1420878" y="5267918"/>
                  <a:pt x="1424728" y="5260219"/>
                  <a:pt x="1428577" y="5252519"/>
                </a:cubicBezTo>
                <a:close/>
                <a:moveTo>
                  <a:pt x="1376608" y="5250595"/>
                </a:moveTo>
                <a:cubicBezTo>
                  <a:pt x="1380459" y="5256370"/>
                  <a:pt x="1386233" y="5262144"/>
                  <a:pt x="1390083" y="5265994"/>
                </a:cubicBezTo>
                <a:cubicBezTo>
                  <a:pt x="1388158" y="5265994"/>
                  <a:pt x="1388158" y="5265994"/>
                  <a:pt x="1386233" y="5265994"/>
                </a:cubicBezTo>
                <a:cubicBezTo>
                  <a:pt x="1378533" y="5262144"/>
                  <a:pt x="1372759" y="5258294"/>
                  <a:pt x="1368909" y="5254445"/>
                </a:cubicBezTo>
                <a:cubicBezTo>
                  <a:pt x="1372759" y="5252520"/>
                  <a:pt x="1374683" y="5252520"/>
                  <a:pt x="1376608" y="5250595"/>
                </a:cubicBezTo>
                <a:close/>
                <a:moveTo>
                  <a:pt x="1266895" y="5248670"/>
                </a:moveTo>
                <a:cubicBezTo>
                  <a:pt x="1289993" y="5254446"/>
                  <a:pt x="1311165" y="5275618"/>
                  <a:pt x="1328488" y="5283317"/>
                </a:cubicBezTo>
                <a:cubicBezTo>
                  <a:pt x="1330413" y="5285242"/>
                  <a:pt x="1330413" y="5287167"/>
                  <a:pt x="1332338" y="5289092"/>
                </a:cubicBezTo>
                <a:cubicBezTo>
                  <a:pt x="1330413" y="5291016"/>
                  <a:pt x="1328488" y="5291016"/>
                  <a:pt x="1326564" y="5292941"/>
                </a:cubicBezTo>
                <a:cubicBezTo>
                  <a:pt x="1305391" y="5306415"/>
                  <a:pt x="1284218" y="5302565"/>
                  <a:pt x="1251497" y="5300640"/>
                </a:cubicBezTo>
                <a:cubicBezTo>
                  <a:pt x="1251497" y="5298716"/>
                  <a:pt x="1251497" y="5294866"/>
                  <a:pt x="1251497" y="5292941"/>
                </a:cubicBezTo>
                <a:cubicBezTo>
                  <a:pt x="1255347" y="5279468"/>
                  <a:pt x="1259196" y="5264070"/>
                  <a:pt x="1266895" y="5248670"/>
                </a:cubicBezTo>
                <a:close/>
                <a:moveTo>
                  <a:pt x="2111877" y="5233273"/>
                </a:moveTo>
                <a:cubicBezTo>
                  <a:pt x="2109952" y="5235198"/>
                  <a:pt x="2106102" y="5237123"/>
                  <a:pt x="2102253" y="5239047"/>
                </a:cubicBezTo>
                <a:cubicBezTo>
                  <a:pt x="2104178" y="5240972"/>
                  <a:pt x="2106102" y="5240972"/>
                  <a:pt x="2108027" y="5242897"/>
                </a:cubicBezTo>
                <a:cubicBezTo>
                  <a:pt x="2109952" y="5239047"/>
                  <a:pt x="2113803" y="5237123"/>
                  <a:pt x="2115726" y="5235198"/>
                </a:cubicBezTo>
                <a:cubicBezTo>
                  <a:pt x="2113803" y="5235198"/>
                  <a:pt x="2111877" y="5233273"/>
                  <a:pt x="2111877" y="5233273"/>
                </a:cubicBezTo>
                <a:close/>
                <a:moveTo>
                  <a:pt x="1538290" y="5229423"/>
                </a:moveTo>
                <a:cubicBezTo>
                  <a:pt x="1538290" y="5229423"/>
                  <a:pt x="1536365" y="5231348"/>
                  <a:pt x="1536365" y="5231348"/>
                </a:cubicBezTo>
                <a:cubicBezTo>
                  <a:pt x="1534441" y="5233273"/>
                  <a:pt x="1534441" y="5233273"/>
                  <a:pt x="1534441" y="5235198"/>
                </a:cubicBezTo>
                <a:cubicBezTo>
                  <a:pt x="1532516" y="5235198"/>
                  <a:pt x="1532516" y="5235198"/>
                  <a:pt x="1532516" y="5235198"/>
                </a:cubicBezTo>
                <a:cubicBezTo>
                  <a:pt x="1530591" y="5237123"/>
                  <a:pt x="1528666" y="5237123"/>
                  <a:pt x="1528666" y="5239047"/>
                </a:cubicBezTo>
                <a:cubicBezTo>
                  <a:pt x="1530591" y="5237123"/>
                  <a:pt x="1534441" y="5235198"/>
                  <a:pt x="1542140" y="5231348"/>
                </a:cubicBezTo>
                <a:cubicBezTo>
                  <a:pt x="1540215" y="5231348"/>
                  <a:pt x="1540215" y="5229423"/>
                  <a:pt x="1538290" y="5229423"/>
                </a:cubicBezTo>
                <a:close/>
                <a:moveTo>
                  <a:pt x="1501719" y="5214025"/>
                </a:moveTo>
                <a:cubicBezTo>
                  <a:pt x="1499794" y="5215950"/>
                  <a:pt x="1497870" y="5219799"/>
                  <a:pt x="1497870" y="5223649"/>
                </a:cubicBezTo>
                <a:cubicBezTo>
                  <a:pt x="1499794" y="5219799"/>
                  <a:pt x="1503644" y="5217875"/>
                  <a:pt x="1507495" y="5215950"/>
                </a:cubicBezTo>
                <a:cubicBezTo>
                  <a:pt x="1505569" y="5215950"/>
                  <a:pt x="1503644" y="5214025"/>
                  <a:pt x="1501719" y="5214025"/>
                </a:cubicBezTo>
                <a:close/>
                <a:moveTo>
                  <a:pt x="1366984" y="5204400"/>
                </a:moveTo>
                <a:cubicBezTo>
                  <a:pt x="1365060" y="5217874"/>
                  <a:pt x="1366984" y="5227498"/>
                  <a:pt x="1370834" y="5237122"/>
                </a:cubicBezTo>
                <a:cubicBezTo>
                  <a:pt x="1365060" y="5239046"/>
                  <a:pt x="1357360" y="5244821"/>
                  <a:pt x="1353511" y="5250595"/>
                </a:cubicBezTo>
                <a:cubicBezTo>
                  <a:pt x="1345812" y="5260219"/>
                  <a:pt x="1341961" y="5271767"/>
                  <a:pt x="1338112" y="5279467"/>
                </a:cubicBezTo>
                <a:cubicBezTo>
                  <a:pt x="1336187" y="5277542"/>
                  <a:pt x="1332337" y="5275617"/>
                  <a:pt x="1332337" y="5271767"/>
                </a:cubicBezTo>
                <a:cubicBezTo>
                  <a:pt x="1330412" y="5262144"/>
                  <a:pt x="1340036" y="5258294"/>
                  <a:pt x="1345812" y="5244821"/>
                </a:cubicBezTo>
                <a:cubicBezTo>
                  <a:pt x="1355436" y="5225573"/>
                  <a:pt x="1351585" y="5206325"/>
                  <a:pt x="1366984" y="5204400"/>
                </a:cubicBezTo>
                <a:close/>
                <a:moveTo>
                  <a:pt x="3638233" y="5202475"/>
                </a:moveTo>
                <a:cubicBezTo>
                  <a:pt x="3667105" y="5267918"/>
                  <a:pt x="3749871" y="5329511"/>
                  <a:pt x="3803765" y="5389180"/>
                </a:cubicBezTo>
                <a:cubicBezTo>
                  <a:pt x="3782592" y="5319887"/>
                  <a:pt x="3680578" y="5271767"/>
                  <a:pt x="3638233" y="5202475"/>
                </a:cubicBezTo>
                <a:close/>
                <a:moveTo>
                  <a:pt x="1803911" y="5200551"/>
                </a:moveTo>
                <a:cubicBezTo>
                  <a:pt x="1801987" y="5204401"/>
                  <a:pt x="1796212" y="5206326"/>
                  <a:pt x="1792362" y="5208251"/>
                </a:cubicBezTo>
                <a:cubicBezTo>
                  <a:pt x="1794287" y="5208251"/>
                  <a:pt x="1794287" y="5210175"/>
                  <a:pt x="1796212" y="5212100"/>
                </a:cubicBezTo>
                <a:cubicBezTo>
                  <a:pt x="1800061" y="5208251"/>
                  <a:pt x="1803911" y="5206326"/>
                  <a:pt x="1803911" y="5200551"/>
                </a:cubicBezTo>
                <a:close/>
                <a:moveTo>
                  <a:pt x="1792362" y="5198627"/>
                </a:moveTo>
                <a:cubicBezTo>
                  <a:pt x="1790437" y="5200551"/>
                  <a:pt x="1788514" y="5200551"/>
                  <a:pt x="1788514" y="5202476"/>
                </a:cubicBezTo>
                <a:cubicBezTo>
                  <a:pt x="1788514" y="5202476"/>
                  <a:pt x="1790437" y="5204401"/>
                  <a:pt x="1790437" y="5204401"/>
                </a:cubicBezTo>
                <a:cubicBezTo>
                  <a:pt x="1792362" y="5202476"/>
                  <a:pt x="1794287" y="5200551"/>
                  <a:pt x="1792362" y="5198627"/>
                </a:cubicBezTo>
                <a:close/>
                <a:moveTo>
                  <a:pt x="1886677" y="5175529"/>
                </a:moveTo>
                <a:cubicBezTo>
                  <a:pt x="1884752" y="5177454"/>
                  <a:pt x="1880902" y="5179379"/>
                  <a:pt x="1878978" y="5181303"/>
                </a:cubicBezTo>
                <a:cubicBezTo>
                  <a:pt x="1882828" y="5185153"/>
                  <a:pt x="1884752" y="5189003"/>
                  <a:pt x="1888602" y="5190927"/>
                </a:cubicBezTo>
                <a:cubicBezTo>
                  <a:pt x="1890526" y="5190927"/>
                  <a:pt x="1894376" y="5189003"/>
                  <a:pt x="1896301" y="5187078"/>
                </a:cubicBezTo>
                <a:cubicBezTo>
                  <a:pt x="1892451" y="5183228"/>
                  <a:pt x="1888602" y="5179379"/>
                  <a:pt x="1886677" y="5175529"/>
                </a:cubicBezTo>
                <a:close/>
                <a:moveTo>
                  <a:pt x="1907849" y="5163980"/>
                </a:moveTo>
                <a:cubicBezTo>
                  <a:pt x="1904000" y="5167830"/>
                  <a:pt x="1900150" y="5169755"/>
                  <a:pt x="1896301" y="5171679"/>
                </a:cubicBezTo>
                <a:cubicBezTo>
                  <a:pt x="1904000" y="5173604"/>
                  <a:pt x="1909774" y="5175529"/>
                  <a:pt x="1915548" y="5179379"/>
                </a:cubicBezTo>
                <a:cubicBezTo>
                  <a:pt x="1917473" y="5177454"/>
                  <a:pt x="1921323" y="5175529"/>
                  <a:pt x="1923248" y="5173604"/>
                </a:cubicBezTo>
                <a:cubicBezTo>
                  <a:pt x="1917473" y="5169755"/>
                  <a:pt x="1911699" y="5167830"/>
                  <a:pt x="1907849" y="5163980"/>
                </a:cubicBezTo>
                <a:close/>
                <a:moveTo>
                  <a:pt x="1934796" y="5146657"/>
                </a:moveTo>
                <a:cubicBezTo>
                  <a:pt x="1930947" y="5148582"/>
                  <a:pt x="1927098" y="5150507"/>
                  <a:pt x="1925172" y="5152432"/>
                </a:cubicBezTo>
                <a:cubicBezTo>
                  <a:pt x="1934796" y="5156281"/>
                  <a:pt x="1946345" y="5158206"/>
                  <a:pt x="1954044" y="5150507"/>
                </a:cubicBezTo>
                <a:cubicBezTo>
                  <a:pt x="1948270" y="5150507"/>
                  <a:pt x="1940571" y="5148582"/>
                  <a:pt x="1934796" y="5146657"/>
                </a:cubicBezTo>
                <a:close/>
                <a:moveTo>
                  <a:pt x="1878978" y="5146657"/>
                </a:moveTo>
                <a:cubicBezTo>
                  <a:pt x="1873203" y="5150507"/>
                  <a:pt x="1867429" y="5154356"/>
                  <a:pt x="1861655" y="5156281"/>
                </a:cubicBezTo>
                <a:cubicBezTo>
                  <a:pt x="1863579" y="5158206"/>
                  <a:pt x="1863579" y="5158206"/>
                  <a:pt x="1865504" y="5160131"/>
                </a:cubicBezTo>
                <a:cubicBezTo>
                  <a:pt x="1867429" y="5163980"/>
                  <a:pt x="1869354" y="5165905"/>
                  <a:pt x="1871278" y="5169755"/>
                </a:cubicBezTo>
                <a:cubicBezTo>
                  <a:pt x="1877054" y="5165905"/>
                  <a:pt x="1884752" y="5160131"/>
                  <a:pt x="1892451" y="5154356"/>
                </a:cubicBezTo>
                <a:cubicBezTo>
                  <a:pt x="1886677" y="5152432"/>
                  <a:pt x="1882828" y="5148582"/>
                  <a:pt x="1878978" y="5146657"/>
                </a:cubicBezTo>
                <a:close/>
                <a:moveTo>
                  <a:pt x="1347736" y="5144731"/>
                </a:moveTo>
                <a:cubicBezTo>
                  <a:pt x="1365059" y="5148581"/>
                  <a:pt x="1368909" y="5175528"/>
                  <a:pt x="1357360" y="5187076"/>
                </a:cubicBezTo>
                <a:cubicBezTo>
                  <a:pt x="1332338" y="5189001"/>
                  <a:pt x="1326563" y="5175528"/>
                  <a:pt x="1311165" y="5167829"/>
                </a:cubicBezTo>
                <a:cubicBezTo>
                  <a:pt x="1307315" y="5187076"/>
                  <a:pt x="1338112" y="5189001"/>
                  <a:pt x="1347736" y="5200550"/>
                </a:cubicBezTo>
                <a:cubicBezTo>
                  <a:pt x="1345811" y="5212098"/>
                  <a:pt x="1343886" y="5225572"/>
                  <a:pt x="1334262" y="5231346"/>
                </a:cubicBezTo>
                <a:cubicBezTo>
                  <a:pt x="1326563" y="5223647"/>
                  <a:pt x="1324639" y="5212098"/>
                  <a:pt x="1320789" y="5202474"/>
                </a:cubicBezTo>
                <a:cubicBezTo>
                  <a:pt x="1316939" y="5208249"/>
                  <a:pt x="1320789" y="5221722"/>
                  <a:pt x="1318864" y="5229421"/>
                </a:cubicBezTo>
                <a:cubicBezTo>
                  <a:pt x="1309240" y="5225572"/>
                  <a:pt x="1307315" y="5215948"/>
                  <a:pt x="1301541" y="5208249"/>
                </a:cubicBezTo>
                <a:cubicBezTo>
                  <a:pt x="1293842" y="5233271"/>
                  <a:pt x="1336187" y="5242895"/>
                  <a:pt x="1318864" y="5269842"/>
                </a:cubicBezTo>
                <a:cubicBezTo>
                  <a:pt x="1297691" y="5262143"/>
                  <a:pt x="1286143" y="5244820"/>
                  <a:pt x="1276519" y="5225572"/>
                </a:cubicBezTo>
                <a:cubicBezTo>
                  <a:pt x="1272669" y="5225572"/>
                  <a:pt x="1282293" y="5239045"/>
                  <a:pt x="1280368" y="5248669"/>
                </a:cubicBezTo>
                <a:cubicBezTo>
                  <a:pt x="1274594" y="5248669"/>
                  <a:pt x="1270744" y="5246745"/>
                  <a:pt x="1266895" y="5242895"/>
                </a:cubicBezTo>
                <a:cubicBezTo>
                  <a:pt x="1278444" y="5214023"/>
                  <a:pt x="1291917" y="5185151"/>
                  <a:pt x="1303466" y="5156280"/>
                </a:cubicBezTo>
                <a:cubicBezTo>
                  <a:pt x="1320789" y="5154355"/>
                  <a:pt x="1330413" y="5140882"/>
                  <a:pt x="1347736" y="5144731"/>
                </a:cubicBezTo>
                <a:close/>
                <a:moveTo>
                  <a:pt x="1902075" y="5131259"/>
                </a:moveTo>
                <a:cubicBezTo>
                  <a:pt x="1900150" y="5133184"/>
                  <a:pt x="1896301" y="5135109"/>
                  <a:pt x="1890526" y="5137034"/>
                </a:cubicBezTo>
                <a:cubicBezTo>
                  <a:pt x="1896301" y="5140883"/>
                  <a:pt x="1900150" y="5142808"/>
                  <a:pt x="1904000" y="5144733"/>
                </a:cubicBezTo>
                <a:cubicBezTo>
                  <a:pt x="1907849" y="5140883"/>
                  <a:pt x="1909774" y="5138958"/>
                  <a:pt x="1913625" y="5137034"/>
                </a:cubicBezTo>
                <a:cubicBezTo>
                  <a:pt x="1909774" y="5135109"/>
                  <a:pt x="1905925" y="5133184"/>
                  <a:pt x="1902075" y="5131259"/>
                </a:cubicBezTo>
                <a:close/>
                <a:moveTo>
                  <a:pt x="1963669" y="5129334"/>
                </a:moveTo>
                <a:cubicBezTo>
                  <a:pt x="1961743" y="5129334"/>
                  <a:pt x="1961743" y="5131259"/>
                  <a:pt x="1959819" y="5131259"/>
                </a:cubicBezTo>
                <a:cubicBezTo>
                  <a:pt x="1959819" y="5137034"/>
                  <a:pt x="1959819" y="5142808"/>
                  <a:pt x="1957895" y="5150507"/>
                </a:cubicBezTo>
                <a:cubicBezTo>
                  <a:pt x="1959819" y="5148582"/>
                  <a:pt x="1961743" y="5148582"/>
                  <a:pt x="1961743" y="5150507"/>
                </a:cubicBezTo>
                <a:cubicBezTo>
                  <a:pt x="1961743" y="5146657"/>
                  <a:pt x="1963669" y="5142808"/>
                  <a:pt x="1963669" y="5138958"/>
                </a:cubicBezTo>
                <a:cubicBezTo>
                  <a:pt x="1965593" y="5137034"/>
                  <a:pt x="1969443" y="5135109"/>
                  <a:pt x="1967518" y="5131259"/>
                </a:cubicBezTo>
                <a:cubicBezTo>
                  <a:pt x="1965593" y="5129334"/>
                  <a:pt x="1963669" y="5135109"/>
                  <a:pt x="1963669" y="5131259"/>
                </a:cubicBezTo>
                <a:cubicBezTo>
                  <a:pt x="1963669" y="5129334"/>
                  <a:pt x="1963669" y="5129334"/>
                  <a:pt x="1963669" y="5129334"/>
                </a:cubicBezTo>
                <a:close/>
                <a:moveTo>
                  <a:pt x="2762456" y="5110085"/>
                </a:moveTo>
                <a:cubicBezTo>
                  <a:pt x="2747056" y="5131258"/>
                  <a:pt x="2764380" y="5162054"/>
                  <a:pt x="2772079" y="5181302"/>
                </a:cubicBezTo>
                <a:cubicBezTo>
                  <a:pt x="2785552" y="5162054"/>
                  <a:pt x="2764380" y="5133183"/>
                  <a:pt x="2762456" y="5110085"/>
                </a:cubicBezTo>
                <a:close/>
                <a:moveTo>
                  <a:pt x="1767340" y="5108162"/>
                </a:moveTo>
                <a:cubicBezTo>
                  <a:pt x="1765415" y="5108162"/>
                  <a:pt x="1763491" y="5108162"/>
                  <a:pt x="1759641" y="5110087"/>
                </a:cubicBezTo>
                <a:cubicBezTo>
                  <a:pt x="1759641" y="5112012"/>
                  <a:pt x="1759641" y="5112012"/>
                  <a:pt x="1759641" y="5113936"/>
                </a:cubicBezTo>
                <a:cubicBezTo>
                  <a:pt x="1761565" y="5112012"/>
                  <a:pt x="1765415" y="5110087"/>
                  <a:pt x="1767340" y="5108162"/>
                </a:cubicBezTo>
                <a:close/>
                <a:moveTo>
                  <a:pt x="2019487" y="5106237"/>
                </a:moveTo>
                <a:cubicBezTo>
                  <a:pt x="2009863" y="5106237"/>
                  <a:pt x="1998314" y="5108162"/>
                  <a:pt x="1990615" y="5110087"/>
                </a:cubicBezTo>
                <a:cubicBezTo>
                  <a:pt x="1984841" y="5113936"/>
                  <a:pt x="1979067" y="5117786"/>
                  <a:pt x="1973292" y="5121635"/>
                </a:cubicBezTo>
                <a:cubicBezTo>
                  <a:pt x="1977142" y="5125485"/>
                  <a:pt x="1980991" y="5129334"/>
                  <a:pt x="1984841" y="5133184"/>
                </a:cubicBezTo>
                <a:cubicBezTo>
                  <a:pt x="1990615" y="5129334"/>
                  <a:pt x="1994466" y="5125485"/>
                  <a:pt x="2000239" y="5121635"/>
                </a:cubicBezTo>
                <a:cubicBezTo>
                  <a:pt x="2002164" y="5119711"/>
                  <a:pt x="2004089" y="5115861"/>
                  <a:pt x="2007939" y="5115861"/>
                </a:cubicBezTo>
                <a:cubicBezTo>
                  <a:pt x="2011788" y="5112012"/>
                  <a:pt x="2015638" y="5110087"/>
                  <a:pt x="2019487" y="5106237"/>
                </a:cubicBezTo>
                <a:close/>
                <a:moveTo>
                  <a:pt x="3309095" y="5098537"/>
                </a:moveTo>
                <a:cubicBezTo>
                  <a:pt x="3359139" y="5194776"/>
                  <a:pt x="3474626" y="5283316"/>
                  <a:pt x="3603587" y="5344909"/>
                </a:cubicBezTo>
                <a:cubicBezTo>
                  <a:pt x="3516971" y="5269843"/>
                  <a:pt x="3378387" y="5196701"/>
                  <a:pt x="3309095" y="5098537"/>
                </a:cubicBezTo>
                <a:close/>
                <a:moveTo>
                  <a:pt x="1961744" y="5092763"/>
                </a:moveTo>
                <a:cubicBezTo>
                  <a:pt x="1963669" y="5092763"/>
                  <a:pt x="1963669" y="5092763"/>
                  <a:pt x="1965594" y="5092763"/>
                </a:cubicBezTo>
                <a:cubicBezTo>
                  <a:pt x="1965594" y="5094687"/>
                  <a:pt x="1965594" y="5094687"/>
                  <a:pt x="1965594" y="5096612"/>
                </a:cubicBezTo>
                <a:cubicBezTo>
                  <a:pt x="1963669" y="5096612"/>
                  <a:pt x="1963669" y="5094687"/>
                  <a:pt x="1961744" y="5092763"/>
                </a:cubicBezTo>
                <a:close/>
                <a:moveTo>
                  <a:pt x="1969443" y="5085064"/>
                </a:moveTo>
                <a:cubicBezTo>
                  <a:pt x="1967518" y="5086989"/>
                  <a:pt x="1965593" y="5088914"/>
                  <a:pt x="1961743" y="5090839"/>
                </a:cubicBezTo>
                <a:cubicBezTo>
                  <a:pt x="1955969" y="5094688"/>
                  <a:pt x="1950195" y="5098538"/>
                  <a:pt x="1944420" y="5102388"/>
                </a:cubicBezTo>
                <a:cubicBezTo>
                  <a:pt x="1948270" y="5104312"/>
                  <a:pt x="1952119" y="5106237"/>
                  <a:pt x="1954044" y="5108162"/>
                </a:cubicBezTo>
                <a:cubicBezTo>
                  <a:pt x="1959819" y="5104312"/>
                  <a:pt x="1965593" y="5098538"/>
                  <a:pt x="1971367" y="5094688"/>
                </a:cubicBezTo>
                <a:cubicBezTo>
                  <a:pt x="1971367" y="5094688"/>
                  <a:pt x="1971367" y="5092764"/>
                  <a:pt x="1971367" y="5090839"/>
                </a:cubicBezTo>
                <a:cubicBezTo>
                  <a:pt x="1975217" y="5090839"/>
                  <a:pt x="1977142" y="5088914"/>
                  <a:pt x="1979067" y="5086989"/>
                </a:cubicBezTo>
                <a:cubicBezTo>
                  <a:pt x="1977142" y="5086989"/>
                  <a:pt x="1979067" y="5085064"/>
                  <a:pt x="1977142" y="5085064"/>
                </a:cubicBezTo>
                <a:cubicBezTo>
                  <a:pt x="1973292" y="5085064"/>
                  <a:pt x="1971367" y="5086989"/>
                  <a:pt x="1969443" y="5088914"/>
                </a:cubicBezTo>
                <a:cubicBezTo>
                  <a:pt x="1969443" y="5086989"/>
                  <a:pt x="1969443" y="5086989"/>
                  <a:pt x="1969443" y="5085064"/>
                </a:cubicBezTo>
                <a:close/>
                <a:moveTo>
                  <a:pt x="1998314" y="5060042"/>
                </a:moveTo>
                <a:cubicBezTo>
                  <a:pt x="1994466" y="5061967"/>
                  <a:pt x="1992540" y="5063892"/>
                  <a:pt x="1990615" y="5065816"/>
                </a:cubicBezTo>
                <a:cubicBezTo>
                  <a:pt x="1996390" y="5065816"/>
                  <a:pt x="2000239" y="5065816"/>
                  <a:pt x="2006014" y="5065816"/>
                </a:cubicBezTo>
                <a:cubicBezTo>
                  <a:pt x="2006014" y="5065816"/>
                  <a:pt x="2007939" y="5063892"/>
                  <a:pt x="2007939" y="5063892"/>
                </a:cubicBezTo>
                <a:cubicBezTo>
                  <a:pt x="2006014" y="5061967"/>
                  <a:pt x="2002164" y="5060042"/>
                  <a:pt x="1998314" y="5060042"/>
                </a:cubicBezTo>
                <a:close/>
                <a:moveTo>
                  <a:pt x="3318720" y="5052342"/>
                </a:moveTo>
                <a:cubicBezTo>
                  <a:pt x="3434206" y="5206325"/>
                  <a:pt x="3665180" y="5287166"/>
                  <a:pt x="3759495" y="5452697"/>
                </a:cubicBezTo>
                <a:cubicBezTo>
                  <a:pt x="3686353" y="5271767"/>
                  <a:pt x="3455378" y="5192851"/>
                  <a:pt x="3318720" y="5052342"/>
                </a:cubicBezTo>
                <a:close/>
                <a:moveTo>
                  <a:pt x="2031036" y="5031170"/>
                </a:moveTo>
                <a:cubicBezTo>
                  <a:pt x="2025261" y="5036944"/>
                  <a:pt x="2021412" y="5040794"/>
                  <a:pt x="2015638" y="5046568"/>
                </a:cubicBezTo>
                <a:cubicBezTo>
                  <a:pt x="2013713" y="5048493"/>
                  <a:pt x="2013713" y="5048493"/>
                  <a:pt x="2011788" y="5050418"/>
                </a:cubicBezTo>
                <a:cubicBezTo>
                  <a:pt x="2019487" y="5046568"/>
                  <a:pt x="2027186" y="5044644"/>
                  <a:pt x="2034885" y="5040794"/>
                </a:cubicBezTo>
                <a:cubicBezTo>
                  <a:pt x="2036810" y="5038869"/>
                  <a:pt x="2038736" y="5036944"/>
                  <a:pt x="2040660" y="5035020"/>
                </a:cubicBezTo>
                <a:cubicBezTo>
                  <a:pt x="2036810" y="5035020"/>
                  <a:pt x="2032962" y="5033095"/>
                  <a:pt x="2031036" y="5031170"/>
                </a:cubicBezTo>
                <a:close/>
                <a:moveTo>
                  <a:pt x="2117651" y="5000373"/>
                </a:moveTo>
                <a:cubicBezTo>
                  <a:pt x="2115726" y="5000373"/>
                  <a:pt x="2113803" y="5002298"/>
                  <a:pt x="2111877" y="5002298"/>
                </a:cubicBezTo>
                <a:cubicBezTo>
                  <a:pt x="2111877" y="5002298"/>
                  <a:pt x="2113803" y="5004223"/>
                  <a:pt x="2113803" y="5004223"/>
                </a:cubicBezTo>
                <a:cubicBezTo>
                  <a:pt x="2115726" y="5004223"/>
                  <a:pt x="2115726" y="5002298"/>
                  <a:pt x="2117651" y="5000373"/>
                </a:cubicBezTo>
                <a:close/>
                <a:moveTo>
                  <a:pt x="4003943" y="4996523"/>
                </a:moveTo>
                <a:cubicBezTo>
                  <a:pt x="4003943" y="5004222"/>
                  <a:pt x="4002018" y="5013846"/>
                  <a:pt x="3998168" y="5021545"/>
                </a:cubicBezTo>
                <a:cubicBezTo>
                  <a:pt x="4007792" y="5019620"/>
                  <a:pt x="4013567" y="5011921"/>
                  <a:pt x="4011642" y="5004222"/>
                </a:cubicBezTo>
                <a:cubicBezTo>
                  <a:pt x="4007792" y="5004222"/>
                  <a:pt x="4005868" y="5000372"/>
                  <a:pt x="4003943" y="4996523"/>
                </a:cubicBezTo>
                <a:close/>
                <a:moveTo>
                  <a:pt x="2079155" y="4979201"/>
                </a:moveTo>
                <a:cubicBezTo>
                  <a:pt x="2079155" y="4979201"/>
                  <a:pt x="2077231" y="4981126"/>
                  <a:pt x="2077231" y="4981126"/>
                </a:cubicBezTo>
                <a:cubicBezTo>
                  <a:pt x="2081080" y="4983050"/>
                  <a:pt x="2084930" y="4986900"/>
                  <a:pt x="2088780" y="4988825"/>
                </a:cubicBezTo>
                <a:cubicBezTo>
                  <a:pt x="2090704" y="4988825"/>
                  <a:pt x="2090704" y="4986900"/>
                  <a:pt x="2092629" y="4984975"/>
                </a:cubicBezTo>
                <a:cubicBezTo>
                  <a:pt x="2088780" y="4983050"/>
                  <a:pt x="2083006" y="4981126"/>
                  <a:pt x="2079155" y="4979201"/>
                </a:cubicBezTo>
                <a:close/>
                <a:moveTo>
                  <a:pt x="2102253" y="4954179"/>
                </a:moveTo>
                <a:cubicBezTo>
                  <a:pt x="2100328" y="4954179"/>
                  <a:pt x="2100328" y="4956104"/>
                  <a:pt x="2100328" y="4956104"/>
                </a:cubicBezTo>
                <a:cubicBezTo>
                  <a:pt x="2104178" y="4958028"/>
                  <a:pt x="2106102" y="4958028"/>
                  <a:pt x="2109952" y="4959953"/>
                </a:cubicBezTo>
                <a:cubicBezTo>
                  <a:pt x="2117651" y="4963803"/>
                  <a:pt x="2113803" y="4958028"/>
                  <a:pt x="2108027" y="4958028"/>
                </a:cubicBezTo>
                <a:cubicBezTo>
                  <a:pt x="2106102" y="4956104"/>
                  <a:pt x="2104178" y="4956104"/>
                  <a:pt x="2102253" y="4954179"/>
                </a:cubicBezTo>
                <a:close/>
                <a:moveTo>
                  <a:pt x="1838558" y="4940705"/>
                </a:moveTo>
                <a:cubicBezTo>
                  <a:pt x="1811610" y="4961878"/>
                  <a:pt x="1782738" y="4983050"/>
                  <a:pt x="1748092" y="4996524"/>
                </a:cubicBezTo>
                <a:cubicBezTo>
                  <a:pt x="1751943" y="5004223"/>
                  <a:pt x="1753866" y="5011922"/>
                  <a:pt x="1755791" y="5017696"/>
                </a:cubicBezTo>
                <a:cubicBezTo>
                  <a:pt x="1782738" y="5006148"/>
                  <a:pt x="1809685" y="4990750"/>
                  <a:pt x="1832784" y="4971502"/>
                </a:cubicBezTo>
                <a:cubicBezTo>
                  <a:pt x="1834707" y="4967652"/>
                  <a:pt x="1836632" y="4963803"/>
                  <a:pt x="1836632" y="4959953"/>
                </a:cubicBezTo>
                <a:cubicBezTo>
                  <a:pt x="1838558" y="4959953"/>
                  <a:pt x="1840482" y="4961878"/>
                  <a:pt x="1842407" y="4963803"/>
                </a:cubicBezTo>
                <a:cubicBezTo>
                  <a:pt x="1846256" y="4961878"/>
                  <a:pt x="1850106" y="4958028"/>
                  <a:pt x="1853955" y="4954179"/>
                </a:cubicBezTo>
                <a:cubicBezTo>
                  <a:pt x="1848181" y="4950329"/>
                  <a:pt x="1844331" y="4948405"/>
                  <a:pt x="1838558" y="4944555"/>
                </a:cubicBezTo>
                <a:cubicBezTo>
                  <a:pt x="1838558" y="4942630"/>
                  <a:pt x="1838558" y="4942630"/>
                  <a:pt x="1838558" y="4940705"/>
                </a:cubicBezTo>
                <a:close/>
                <a:moveTo>
                  <a:pt x="2119577" y="4933006"/>
                </a:moveTo>
                <a:cubicBezTo>
                  <a:pt x="2117651" y="4934931"/>
                  <a:pt x="2117651" y="4934931"/>
                  <a:pt x="2115726" y="4936856"/>
                </a:cubicBezTo>
                <a:cubicBezTo>
                  <a:pt x="2117651" y="4936856"/>
                  <a:pt x="2121501" y="4938781"/>
                  <a:pt x="2123426" y="4938781"/>
                </a:cubicBezTo>
                <a:cubicBezTo>
                  <a:pt x="2121501" y="4936856"/>
                  <a:pt x="2119577" y="4936856"/>
                  <a:pt x="2119577" y="4933006"/>
                </a:cubicBezTo>
                <a:close/>
                <a:moveTo>
                  <a:pt x="4013567" y="4931080"/>
                </a:moveTo>
                <a:cubicBezTo>
                  <a:pt x="4002018" y="4938779"/>
                  <a:pt x="3992394" y="4948403"/>
                  <a:pt x="3990469" y="4971500"/>
                </a:cubicBezTo>
                <a:cubicBezTo>
                  <a:pt x="3996244" y="4975350"/>
                  <a:pt x="4000093" y="4981124"/>
                  <a:pt x="4002018" y="4986899"/>
                </a:cubicBezTo>
                <a:cubicBezTo>
                  <a:pt x="4003943" y="4984974"/>
                  <a:pt x="4003943" y="4983049"/>
                  <a:pt x="4005868" y="4981124"/>
                </a:cubicBezTo>
                <a:cubicBezTo>
                  <a:pt x="4015492" y="4969576"/>
                  <a:pt x="4009717" y="4952253"/>
                  <a:pt x="4011642" y="4942629"/>
                </a:cubicBezTo>
                <a:cubicBezTo>
                  <a:pt x="4013567" y="4938779"/>
                  <a:pt x="4013567" y="4934930"/>
                  <a:pt x="4013567" y="4931080"/>
                </a:cubicBezTo>
                <a:close/>
                <a:moveTo>
                  <a:pt x="1761565" y="4925307"/>
                </a:moveTo>
                <a:cubicBezTo>
                  <a:pt x="1751943" y="4925307"/>
                  <a:pt x="1740393" y="4929157"/>
                  <a:pt x="1730769" y="4931081"/>
                </a:cubicBezTo>
                <a:cubicBezTo>
                  <a:pt x="1730769" y="4934931"/>
                  <a:pt x="1732694" y="4936856"/>
                  <a:pt x="1732694" y="4940705"/>
                </a:cubicBezTo>
                <a:cubicBezTo>
                  <a:pt x="1742318" y="4934931"/>
                  <a:pt x="1751943" y="4931081"/>
                  <a:pt x="1761565" y="4925307"/>
                </a:cubicBezTo>
                <a:close/>
                <a:moveTo>
                  <a:pt x="1890526" y="4898360"/>
                </a:moveTo>
                <a:cubicBezTo>
                  <a:pt x="1886677" y="4902209"/>
                  <a:pt x="1880902" y="4906059"/>
                  <a:pt x="1877054" y="4909909"/>
                </a:cubicBezTo>
                <a:cubicBezTo>
                  <a:pt x="1880902" y="4913758"/>
                  <a:pt x="1884752" y="4917608"/>
                  <a:pt x="1888602" y="4921457"/>
                </a:cubicBezTo>
                <a:cubicBezTo>
                  <a:pt x="1894376" y="4913758"/>
                  <a:pt x="1900150" y="4907984"/>
                  <a:pt x="1905925" y="4902209"/>
                </a:cubicBezTo>
                <a:cubicBezTo>
                  <a:pt x="1900150" y="4900285"/>
                  <a:pt x="1894376" y="4900285"/>
                  <a:pt x="1890526" y="4898360"/>
                </a:cubicBezTo>
                <a:close/>
                <a:moveTo>
                  <a:pt x="1844331" y="4898360"/>
                </a:moveTo>
                <a:cubicBezTo>
                  <a:pt x="1811610" y="4923382"/>
                  <a:pt x="1776964" y="4946480"/>
                  <a:pt x="1738468" y="4963803"/>
                </a:cubicBezTo>
                <a:cubicBezTo>
                  <a:pt x="1738468" y="4969577"/>
                  <a:pt x="1740393" y="4975351"/>
                  <a:pt x="1742318" y="4981126"/>
                </a:cubicBezTo>
                <a:cubicBezTo>
                  <a:pt x="1776964" y="4967652"/>
                  <a:pt x="1809685" y="4948405"/>
                  <a:pt x="1840482" y="4925307"/>
                </a:cubicBezTo>
                <a:cubicBezTo>
                  <a:pt x="1842407" y="4915683"/>
                  <a:pt x="1844331" y="4906059"/>
                  <a:pt x="1844331" y="4898360"/>
                </a:cubicBezTo>
                <a:close/>
                <a:moveTo>
                  <a:pt x="1869354" y="4879112"/>
                </a:moveTo>
                <a:cubicBezTo>
                  <a:pt x="1865504" y="4882962"/>
                  <a:pt x="1861655" y="4886811"/>
                  <a:pt x="1855880" y="4888736"/>
                </a:cubicBezTo>
                <a:cubicBezTo>
                  <a:pt x="1859730" y="4894510"/>
                  <a:pt x="1865504" y="4900285"/>
                  <a:pt x="1869354" y="4904134"/>
                </a:cubicBezTo>
                <a:cubicBezTo>
                  <a:pt x="1873203" y="4900285"/>
                  <a:pt x="1877054" y="4898360"/>
                  <a:pt x="1880902" y="4894510"/>
                </a:cubicBezTo>
                <a:cubicBezTo>
                  <a:pt x="1878978" y="4892586"/>
                  <a:pt x="1875128" y="4892586"/>
                  <a:pt x="1873203" y="4890661"/>
                </a:cubicBezTo>
                <a:cubicBezTo>
                  <a:pt x="1871278" y="4888736"/>
                  <a:pt x="1871278" y="4884886"/>
                  <a:pt x="1869354" y="4879112"/>
                </a:cubicBezTo>
                <a:close/>
                <a:moveTo>
                  <a:pt x="1923248" y="4869488"/>
                </a:moveTo>
                <a:cubicBezTo>
                  <a:pt x="1919399" y="4873338"/>
                  <a:pt x="1913625" y="4877187"/>
                  <a:pt x="1909774" y="4881037"/>
                </a:cubicBezTo>
                <a:cubicBezTo>
                  <a:pt x="1913625" y="4882962"/>
                  <a:pt x="1917473" y="4882962"/>
                  <a:pt x="1921323" y="4884886"/>
                </a:cubicBezTo>
                <a:cubicBezTo>
                  <a:pt x="1925172" y="4879112"/>
                  <a:pt x="1930947" y="4875262"/>
                  <a:pt x="1934796" y="4869488"/>
                </a:cubicBezTo>
                <a:cubicBezTo>
                  <a:pt x="1930947" y="4869488"/>
                  <a:pt x="1927098" y="4869488"/>
                  <a:pt x="1923248" y="4869488"/>
                </a:cubicBezTo>
                <a:close/>
                <a:moveTo>
                  <a:pt x="1896301" y="4856014"/>
                </a:moveTo>
                <a:cubicBezTo>
                  <a:pt x="1892451" y="4861789"/>
                  <a:pt x="1886677" y="4865638"/>
                  <a:pt x="1882828" y="4867563"/>
                </a:cubicBezTo>
                <a:cubicBezTo>
                  <a:pt x="1888602" y="4869488"/>
                  <a:pt x="1894376" y="4873338"/>
                  <a:pt x="1902075" y="4875262"/>
                </a:cubicBezTo>
                <a:cubicBezTo>
                  <a:pt x="1905925" y="4873338"/>
                  <a:pt x="1909774" y="4869488"/>
                  <a:pt x="1913625" y="4865638"/>
                </a:cubicBezTo>
                <a:cubicBezTo>
                  <a:pt x="1907849" y="4863714"/>
                  <a:pt x="1902075" y="4859864"/>
                  <a:pt x="1896301" y="4856014"/>
                </a:cubicBezTo>
                <a:close/>
                <a:moveTo>
                  <a:pt x="2198492" y="4836767"/>
                </a:moveTo>
                <a:cubicBezTo>
                  <a:pt x="2196568" y="4838691"/>
                  <a:pt x="2194644" y="4842541"/>
                  <a:pt x="2192718" y="4844466"/>
                </a:cubicBezTo>
                <a:cubicBezTo>
                  <a:pt x="2198492" y="4848315"/>
                  <a:pt x="2206192" y="4852165"/>
                  <a:pt x="2211966" y="4854090"/>
                </a:cubicBezTo>
                <a:cubicBezTo>
                  <a:pt x="2213891" y="4854090"/>
                  <a:pt x="2213891" y="4852165"/>
                  <a:pt x="2215815" y="4850240"/>
                </a:cubicBezTo>
                <a:cubicBezTo>
                  <a:pt x="2208116" y="4846390"/>
                  <a:pt x="2202342" y="4842541"/>
                  <a:pt x="2198492" y="4836767"/>
                </a:cubicBezTo>
                <a:close/>
                <a:moveTo>
                  <a:pt x="2747056" y="4817517"/>
                </a:moveTo>
                <a:cubicBezTo>
                  <a:pt x="2743207" y="4819442"/>
                  <a:pt x="2739357" y="4821367"/>
                  <a:pt x="2733583" y="4819442"/>
                </a:cubicBezTo>
                <a:cubicBezTo>
                  <a:pt x="2741282" y="4965726"/>
                  <a:pt x="2787477" y="5086988"/>
                  <a:pt x="2835597" y="5208250"/>
                </a:cubicBezTo>
                <a:cubicBezTo>
                  <a:pt x="2804800" y="5092762"/>
                  <a:pt x="2772079" y="4948403"/>
                  <a:pt x="2747056" y="4817517"/>
                </a:cubicBezTo>
                <a:close/>
                <a:moveTo>
                  <a:pt x="2219665" y="4811745"/>
                </a:moveTo>
                <a:cubicBezTo>
                  <a:pt x="2217740" y="4813669"/>
                  <a:pt x="2217740" y="4813669"/>
                  <a:pt x="2215815" y="4815594"/>
                </a:cubicBezTo>
                <a:cubicBezTo>
                  <a:pt x="2221590" y="4819444"/>
                  <a:pt x="2227364" y="4825218"/>
                  <a:pt x="2233138" y="4827143"/>
                </a:cubicBezTo>
                <a:cubicBezTo>
                  <a:pt x="2235063" y="4827143"/>
                  <a:pt x="2235063" y="4825218"/>
                  <a:pt x="2236988" y="4821368"/>
                </a:cubicBezTo>
                <a:cubicBezTo>
                  <a:pt x="2229289" y="4821368"/>
                  <a:pt x="2221590" y="4817519"/>
                  <a:pt x="2219665" y="4811745"/>
                </a:cubicBezTo>
                <a:close/>
                <a:moveTo>
                  <a:pt x="3193607" y="4805969"/>
                </a:moveTo>
                <a:cubicBezTo>
                  <a:pt x="3201306" y="4817518"/>
                  <a:pt x="3210931" y="4827142"/>
                  <a:pt x="3216706" y="4840616"/>
                </a:cubicBezTo>
                <a:cubicBezTo>
                  <a:pt x="3203231" y="4834842"/>
                  <a:pt x="3187833" y="4811744"/>
                  <a:pt x="3193607" y="4805969"/>
                </a:cubicBezTo>
                <a:close/>
                <a:moveTo>
                  <a:pt x="2233138" y="4796346"/>
                </a:moveTo>
                <a:cubicBezTo>
                  <a:pt x="2231214" y="4798271"/>
                  <a:pt x="2231214" y="4798271"/>
                  <a:pt x="2229289" y="4800196"/>
                </a:cubicBezTo>
                <a:cubicBezTo>
                  <a:pt x="2235063" y="4800196"/>
                  <a:pt x="2240838" y="4800196"/>
                  <a:pt x="2244688" y="4796346"/>
                </a:cubicBezTo>
                <a:cubicBezTo>
                  <a:pt x="2240838" y="4798271"/>
                  <a:pt x="2236988" y="4798271"/>
                  <a:pt x="2233138" y="4796346"/>
                </a:cubicBezTo>
                <a:close/>
                <a:moveTo>
                  <a:pt x="1986766" y="4775173"/>
                </a:moveTo>
                <a:cubicBezTo>
                  <a:pt x="1984841" y="4777098"/>
                  <a:pt x="1984841" y="4779023"/>
                  <a:pt x="1982916" y="4780948"/>
                </a:cubicBezTo>
                <a:cubicBezTo>
                  <a:pt x="1980991" y="4782873"/>
                  <a:pt x="1977142" y="4786722"/>
                  <a:pt x="1973292" y="4788647"/>
                </a:cubicBezTo>
                <a:cubicBezTo>
                  <a:pt x="1979067" y="4788647"/>
                  <a:pt x="1982916" y="4790572"/>
                  <a:pt x="1988690" y="4790572"/>
                </a:cubicBezTo>
                <a:cubicBezTo>
                  <a:pt x="1992540" y="4786722"/>
                  <a:pt x="1996390" y="4782873"/>
                  <a:pt x="2000239" y="4779023"/>
                </a:cubicBezTo>
                <a:cubicBezTo>
                  <a:pt x="1994466" y="4777098"/>
                  <a:pt x="1990615" y="4777098"/>
                  <a:pt x="1986766" y="4775173"/>
                </a:cubicBezTo>
                <a:close/>
                <a:moveTo>
                  <a:pt x="1657627" y="4730903"/>
                </a:moveTo>
                <a:cubicBezTo>
                  <a:pt x="1646079" y="4734753"/>
                  <a:pt x="1632606" y="4736678"/>
                  <a:pt x="1621056" y="4738603"/>
                </a:cubicBezTo>
                <a:cubicBezTo>
                  <a:pt x="1622981" y="4744377"/>
                  <a:pt x="1624906" y="4752076"/>
                  <a:pt x="1626830" y="4757850"/>
                </a:cubicBezTo>
                <a:cubicBezTo>
                  <a:pt x="1628755" y="4755925"/>
                  <a:pt x="1630680" y="4755925"/>
                  <a:pt x="1632606" y="4755925"/>
                </a:cubicBezTo>
                <a:cubicBezTo>
                  <a:pt x="1640304" y="4748226"/>
                  <a:pt x="1649928" y="4740527"/>
                  <a:pt x="1657627" y="4730903"/>
                </a:cubicBezTo>
                <a:close/>
                <a:moveTo>
                  <a:pt x="4148302" y="4725128"/>
                </a:moveTo>
                <a:cubicBezTo>
                  <a:pt x="4148302" y="4732827"/>
                  <a:pt x="4140603" y="4740526"/>
                  <a:pt x="4150227" y="4746300"/>
                </a:cubicBezTo>
                <a:cubicBezTo>
                  <a:pt x="4157926" y="4742451"/>
                  <a:pt x="4159851" y="4727052"/>
                  <a:pt x="4148302" y="4725128"/>
                </a:cubicBezTo>
                <a:close/>
                <a:moveTo>
                  <a:pt x="2057983" y="4713580"/>
                </a:moveTo>
                <a:cubicBezTo>
                  <a:pt x="2046434" y="4719355"/>
                  <a:pt x="2032962" y="4725129"/>
                  <a:pt x="2019487" y="4728979"/>
                </a:cubicBezTo>
                <a:cubicBezTo>
                  <a:pt x="2015638" y="4732828"/>
                  <a:pt x="2013713" y="4738603"/>
                  <a:pt x="2009863" y="4742452"/>
                </a:cubicBezTo>
                <a:cubicBezTo>
                  <a:pt x="2017562" y="4742452"/>
                  <a:pt x="2025261" y="4742452"/>
                  <a:pt x="2032962" y="4742452"/>
                </a:cubicBezTo>
                <a:cubicBezTo>
                  <a:pt x="2042585" y="4732828"/>
                  <a:pt x="2050284" y="4723204"/>
                  <a:pt x="2057983" y="4713580"/>
                </a:cubicBezTo>
                <a:close/>
                <a:moveTo>
                  <a:pt x="1386232" y="4700107"/>
                </a:moveTo>
                <a:cubicBezTo>
                  <a:pt x="1384307" y="4705881"/>
                  <a:pt x="1384307" y="4713580"/>
                  <a:pt x="1384307" y="4719355"/>
                </a:cubicBezTo>
                <a:cubicBezTo>
                  <a:pt x="1384307" y="4723204"/>
                  <a:pt x="1384307" y="4727054"/>
                  <a:pt x="1388157" y="4730903"/>
                </a:cubicBezTo>
                <a:cubicBezTo>
                  <a:pt x="1405480" y="4738603"/>
                  <a:pt x="1420878" y="4748226"/>
                  <a:pt x="1440126" y="4754001"/>
                </a:cubicBezTo>
                <a:cubicBezTo>
                  <a:pt x="1440126" y="4742452"/>
                  <a:pt x="1440126" y="4730903"/>
                  <a:pt x="1438201" y="4719355"/>
                </a:cubicBezTo>
                <a:cubicBezTo>
                  <a:pt x="1428577" y="4717430"/>
                  <a:pt x="1420878" y="4713580"/>
                  <a:pt x="1411254" y="4709731"/>
                </a:cubicBezTo>
                <a:cubicBezTo>
                  <a:pt x="1409329" y="4713580"/>
                  <a:pt x="1407405" y="4717430"/>
                  <a:pt x="1405480" y="4721279"/>
                </a:cubicBezTo>
                <a:cubicBezTo>
                  <a:pt x="1403555" y="4717430"/>
                  <a:pt x="1403555" y="4713580"/>
                  <a:pt x="1403555" y="4707806"/>
                </a:cubicBezTo>
                <a:cubicBezTo>
                  <a:pt x="1397781" y="4705881"/>
                  <a:pt x="1392006" y="4702031"/>
                  <a:pt x="1386232" y="4700107"/>
                </a:cubicBezTo>
                <a:close/>
                <a:moveTo>
                  <a:pt x="3946921" y="4695053"/>
                </a:moveTo>
                <a:cubicBezTo>
                  <a:pt x="3934651" y="4692888"/>
                  <a:pt x="3922140" y="4693369"/>
                  <a:pt x="3909628" y="4698181"/>
                </a:cubicBezTo>
                <a:cubicBezTo>
                  <a:pt x="3926951" y="4711654"/>
                  <a:pt x="3959673" y="4711654"/>
                  <a:pt x="3984695" y="4719353"/>
                </a:cubicBezTo>
                <a:lnTo>
                  <a:pt x="3982770" y="4707805"/>
                </a:lnTo>
                <a:cubicBezTo>
                  <a:pt x="3971222" y="4702031"/>
                  <a:pt x="3959192" y="4697219"/>
                  <a:pt x="3946921" y="4695053"/>
                </a:cubicBezTo>
                <a:close/>
                <a:moveTo>
                  <a:pt x="1688424" y="4694332"/>
                </a:moveTo>
                <a:cubicBezTo>
                  <a:pt x="1676876" y="4694332"/>
                  <a:pt x="1665326" y="4696257"/>
                  <a:pt x="1653777" y="4696257"/>
                </a:cubicBezTo>
                <a:cubicBezTo>
                  <a:pt x="1651853" y="4700107"/>
                  <a:pt x="1649928" y="4703956"/>
                  <a:pt x="1648003" y="4707806"/>
                </a:cubicBezTo>
                <a:cubicBezTo>
                  <a:pt x="1661477" y="4703956"/>
                  <a:pt x="1673025" y="4702031"/>
                  <a:pt x="1684574" y="4700107"/>
                </a:cubicBezTo>
                <a:cubicBezTo>
                  <a:pt x="1684574" y="4698182"/>
                  <a:pt x="1686499" y="4696257"/>
                  <a:pt x="1688424" y="4694332"/>
                </a:cubicBezTo>
                <a:close/>
                <a:moveTo>
                  <a:pt x="1420878" y="4684708"/>
                </a:moveTo>
                <a:cubicBezTo>
                  <a:pt x="1418953" y="4686633"/>
                  <a:pt x="1418953" y="4690483"/>
                  <a:pt x="1417029" y="4692407"/>
                </a:cubicBezTo>
                <a:cubicBezTo>
                  <a:pt x="1420878" y="4696257"/>
                  <a:pt x="1424728" y="4698182"/>
                  <a:pt x="1430502" y="4700107"/>
                </a:cubicBezTo>
                <a:cubicBezTo>
                  <a:pt x="1428577" y="4694332"/>
                  <a:pt x="1428577" y="4690483"/>
                  <a:pt x="1426653" y="4686633"/>
                </a:cubicBezTo>
                <a:cubicBezTo>
                  <a:pt x="1424728" y="4684708"/>
                  <a:pt x="1422803" y="4684708"/>
                  <a:pt x="1420878" y="4684708"/>
                </a:cubicBezTo>
                <a:close/>
                <a:moveTo>
                  <a:pt x="1393931" y="4669310"/>
                </a:moveTo>
                <a:cubicBezTo>
                  <a:pt x="1393931" y="4671235"/>
                  <a:pt x="1392006" y="4673160"/>
                  <a:pt x="1390082" y="4675084"/>
                </a:cubicBezTo>
                <a:cubicBezTo>
                  <a:pt x="1393931" y="4678934"/>
                  <a:pt x="1399705" y="4680859"/>
                  <a:pt x="1403555" y="4684708"/>
                </a:cubicBezTo>
                <a:cubicBezTo>
                  <a:pt x="1403555" y="4682784"/>
                  <a:pt x="1405480" y="4678934"/>
                  <a:pt x="1405480" y="4677009"/>
                </a:cubicBezTo>
                <a:cubicBezTo>
                  <a:pt x="1401630" y="4675084"/>
                  <a:pt x="1397781" y="4671235"/>
                  <a:pt x="1393931" y="4669310"/>
                </a:cubicBezTo>
                <a:close/>
                <a:moveTo>
                  <a:pt x="1341962" y="4667385"/>
                </a:moveTo>
                <a:cubicBezTo>
                  <a:pt x="1336187" y="4673160"/>
                  <a:pt x="1332338" y="4678934"/>
                  <a:pt x="1326563" y="4684708"/>
                </a:cubicBezTo>
                <a:cubicBezTo>
                  <a:pt x="1336187" y="4694332"/>
                  <a:pt x="1345811" y="4702031"/>
                  <a:pt x="1357360" y="4709731"/>
                </a:cubicBezTo>
                <a:cubicBezTo>
                  <a:pt x="1361210" y="4703956"/>
                  <a:pt x="1365059" y="4696257"/>
                  <a:pt x="1368909" y="4690483"/>
                </a:cubicBezTo>
                <a:cubicBezTo>
                  <a:pt x="1359285" y="4686633"/>
                  <a:pt x="1349661" y="4680859"/>
                  <a:pt x="1340037" y="4675084"/>
                </a:cubicBezTo>
                <a:cubicBezTo>
                  <a:pt x="1340037" y="4673160"/>
                  <a:pt x="1340037" y="4671235"/>
                  <a:pt x="1341962" y="4667385"/>
                </a:cubicBezTo>
                <a:close/>
                <a:moveTo>
                  <a:pt x="1649928" y="4657762"/>
                </a:moveTo>
                <a:cubicBezTo>
                  <a:pt x="1632606" y="4661611"/>
                  <a:pt x="1615282" y="4663536"/>
                  <a:pt x="1596035" y="4665461"/>
                </a:cubicBezTo>
                <a:cubicBezTo>
                  <a:pt x="1609507" y="4671235"/>
                  <a:pt x="1628755" y="4673160"/>
                  <a:pt x="1644153" y="4677009"/>
                </a:cubicBezTo>
                <a:cubicBezTo>
                  <a:pt x="1651853" y="4675084"/>
                  <a:pt x="1661477" y="4673160"/>
                  <a:pt x="1669176" y="4671235"/>
                </a:cubicBezTo>
                <a:cubicBezTo>
                  <a:pt x="1661477" y="4669310"/>
                  <a:pt x="1655702" y="4667385"/>
                  <a:pt x="1648003" y="4663536"/>
                </a:cubicBezTo>
                <a:cubicBezTo>
                  <a:pt x="1648003" y="4661611"/>
                  <a:pt x="1649928" y="4659686"/>
                  <a:pt x="1649928" y="4657762"/>
                </a:cubicBezTo>
                <a:close/>
                <a:moveTo>
                  <a:pt x="1366984" y="4648138"/>
                </a:moveTo>
                <a:cubicBezTo>
                  <a:pt x="1372758" y="4655837"/>
                  <a:pt x="1378533" y="4661611"/>
                  <a:pt x="1384307" y="4669310"/>
                </a:cubicBezTo>
                <a:cubicBezTo>
                  <a:pt x="1384307" y="4667385"/>
                  <a:pt x="1386232" y="4667385"/>
                  <a:pt x="1386232" y="4665461"/>
                </a:cubicBezTo>
                <a:cubicBezTo>
                  <a:pt x="1380458" y="4659686"/>
                  <a:pt x="1372758" y="4653912"/>
                  <a:pt x="1366984" y="4648138"/>
                </a:cubicBezTo>
                <a:close/>
                <a:moveTo>
                  <a:pt x="1717295" y="4640438"/>
                </a:moveTo>
                <a:cubicBezTo>
                  <a:pt x="1705747" y="4644288"/>
                  <a:pt x="1692273" y="4648138"/>
                  <a:pt x="1676876" y="4651987"/>
                </a:cubicBezTo>
                <a:cubicBezTo>
                  <a:pt x="1676876" y="4657762"/>
                  <a:pt x="1674950" y="4665461"/>
                  <a:pt x="1673025" y="4671235"/>
                </a:cubicBezTo>
                <a:cubicBezTo>
                  <a:pt x="1684574" y="4669310"/>
                  <a:pt x="1696123" y="4665461"/>
                  <a:pt x="1707673" y="4661611"/>
                </a:cubicBezTo>
                <a:cubicBezTo>
                  <a:pt x="1711521" y="4653912"/>
                  <a:pt x="1715371" y="4648138"/>
                  <a:pt x="1717295" y="4640438"/>
                </a:cubicBezTo>
                <a:close/>
                <a:moveTo>
                  <a:pt x="2134974" y="4632739"/>
                </a:moveTo>
                <a:cubicBezTo>
                  <a:pt x="2125351" y="4634664"/>
                  <a:pt x="2117651" y="4634664"/>
                  <a:pt x="2108027" y="4634664"/>
                </a:cubicBezTo>
                <a:cubicBezTo>
                  <a:pt x="2106102" y="4636589"/>
                  <a:pt x="2104178" y="4638514"/>
                  <a:pt x="2102253" y="4640438"/>
                </a:cubicBezTo>
                <a:cubicBezTo>
                  <a:pt x="2109952" y="4640438"/>
                  <a:pt x="2117651" y="4642363"/>
                  <a:pt x="2125351" y="4642363"/>
                </a:cubicBezTo>
                <a:cubicBezTo>
                  <a:pt x="2127275" y="4638514"/>
                  <a:pt x="2131125" y="4636589"/>
                  <a:pt x="2134974" y="4632739"/>
                </a:cubicBezTo>
                <a:close/>
                <a:moveTo>
                  <a:pt x="3538144" y="4628888"/>
                </a:moveTo>
                <a:cubicBezTo>
                  <a:pt x="3582414" y="4717429"/>
                  <a:pt x="3832637" y="4809818"/>
                  <a:pt x="3936575" y="4734752"/>
                </a:cubicBezTo>
                <a:cubicBezTo>
                  <a:pt x="3805690" y="4769398"/>
                  <a:pt x="3628609" y="4711654"/>
                  <a:pt x="3538144" y="4628888"/>
                </a:cubicBezTo>
                <a:close/>
                <a:moveTo>
                  <a:pt x="3401484" y="4628888"/>
                </a:moveTo>
                <a:cubicBezTo>
                  <a:pt x="3395710" y="4628888"/>
                  <a:pt x="3395710" y="4634663"/>
                  <a:pt x="3399560" y="4636588"/>
                </a:cubicBezTo>
                <a:cubicBezTo>
                  <a:pt x="3493874" y="4700106"/>
                  <a:pt x="3644008" y="4800194"/>
                  <a:pt x="3797991" y="4815593"/>
                </a:cubicBezTo>
                <a:cubicBezTo>
                  <a:pt x="3859584" y="4821367"/>
                  <a:pt x="3921177" y="4794420"/>
                  <a:pt x="3975071" y="4817517"/>
                </a:cubicBezTo>
                <a:cubicBezTo>
                  <a:pt x="3936575" y="4763624"/>
                  <a:pt x="3859584" y="4805969"/>
                  <a:pt x="3801840" y="4800194"/>
                </a:cubicBezTo>
                <a:cubicBezTo>
                  <a:pt x="3651707" y="4786721"/>
                  <a:pt x="3513122" y="4680858"/>
                  <a:pt x="3401484" y="4628888"/>
                </a:cubicBezTo>
                <a:close/>
                <a:moveTo>
                  <a:pt x="4145054" y="4589250"/>
                </a:moveTo>
                <a:cubicBezTo>
                  <a:pt x="4143611" y="4589069"/>
                  <a:pt x="4142047" y="4589911"/>
                  <a:pt x="4140603" y="4592317"/>
                </a:cubicBezTo>
                <a:cubicBezTo>
                  <a:pt x="4134828" y="4601941"/>
                  <a:pt x="4134828" y="4619265"/>
                  <a:pt x="4136753" y="4621189"/>
                </a:cubicBezTo>
                <a:cubicBezTo>
                  <a:pt x="4144452" y="4630813"/>
                  <a:pt x="4159851" y="4640437"/>
                  <a:pt x="4163700" y="4625039"/>
                </a:cubicBezTo>
                <a:cubicBezTo>
                  <a:pt x="4142527" y="4630813"/>
                  <a:pt x="4159851" y="4615415"/>
                  <a:pt x="4148302" y="4603866"/>
                </a:cubicBezTo>
                <a:cubicBezTo>
                  <a:pt x="4152633" y="4599536"/>
                  <a:pt x="4149385" y="4589791"/>
                  <a:pt x="4145054" y="4589250"/>
                </a:cubicBezTo>
                <a:close/>
                <a:moveTo>
                  <a:pt x="1380458" y="4580770"/>
                </a:moveTo>
                <a:cubicBezTo>
                  <a:pt x="1380458" y="4592319"/>
                  <a:pt x="1376608" y="4605792"/>
                  <a:pt x="1370834" y="4617341"/>
                </a:cubicBezTo>
                <a:cubicBezTo>
                  <a:pt x="1376608" y="4613491"/>
                  <a:pt x="1384307" y="4609642"/>
                  <a:pt x="1392006" y="4605792"/>
                </a:cubicBezTo>
                <a:cubicBezTo>
                  <a:pt x="1388157" y="4598093"/>
                  <a:pt x="1382382" y="4590394"/>
                  <a:pt x="1380458" y="4580770"/>
                </a:cubicBezTo>
                <a:close/>
                <a:moveTo>
                  <a:pt x="2183094" y="4578845"/>
                </a:moveTo>
                <a:cubicBezTo>
                  <a:pt x="2175395" y="4578845"/>
                  <a:pt x="2167696" y="4582695"/>
                  <a:pt x="2159997" y="4582695"/>
                </a:cubicBezTo>
                <a:cubicBezTo>
                  <a:pt x="2152297" y="4592319"/>
                  <a:pt x="2142673" y="4600018"/>
                  <a:pt x="2134974" y="4607717"/>
                </a:cubicBezTo>
                <a:cubicBezTo>
                  <a:pt x="2142673" y="4609642"/>
                  <a:pt x="2152297" y="4607717"/>
                  <a:pt x="2159997" y="4607717"/>
                </a:cubicBezTo>
                <a:cubicBezTo>
                  <a:pt x="2161921" y="4605792"/>
                  <a:pt x="2163847" y="4603867"/>
                  <a:pt x="2165771" y="4601942"/>
                </a:cubicBezTo>
                <a:cubicBezTo>
                  <a:pt x="2163847" y="4601942"/>
                  <a:pt x="2159997" y="4601942"/>
                  <a:pt x="2158073" y="4598093"/>
                </a:cubicBezTo>
                <a:cubicBezTo>
                  <a:pt x="2165771" y="4590394"/>
                  <a:pt x="2173470" y="4580770"/>
                  <a:pt x="2183094" y="4578845"/>
                </a:cubicBezTo>
                <a:close/>
                <a:moveTo>
                  <a:pt x="1884752" y="4569221"/>
                </a:moveTo>
                <a:cubicBezTo>
                  <a:pt x="1853955" y="4584620"/>
                  <a:pt x="1819309" y="4601942"/>
                  <a:pt x="1780813" y="4617341"/>
                </a:cubicBezTo>
                <a:cubicBezTo>
                  <a:pt x="1780813" y="4619266"/>
                  <a:pt x="1780813" y="4623115"/>
                  <a:pt x="1780813" y="4625040"/>
                </a:cubicBezTo>
                <a:cubicBezTo>
                  <a:pt x="1780813" y="4626965"/>
                  <a:pt x="1780813" y="4628890"/>
                  <a:pt x="1780813" y="4630814"/>
                </a:cubicBezTo>
                <a:cubicBezTo>
                  <a:pt x="1819309" y="4611566"/>
                  <a:pt x="1853955" y="4590394"/>
                  <a:pt x="1884752" y="4569221"/>
                </a:cubicBezTo>
                <a:close/>
                <a:moveTo>
                  <a:pt x="2225439" y="4542274"/>
                </a:moveTo>
                <a:cubicBezTo>
                  <a:pt x="2217740" y="4546124"/>
                  <a:pt x="2210041" y="4549973"/>
                  <a:pt x="2202342" y="4551898"/>
                </a:cubicBezTo>
                <a:cubicBezTo>
                  <a:pt x="2198492" y="4551898"/>
                  <a:pt x="2196568" y="4551898"/>
                  <a:pt x="2192718" y="4549973"/>
                </a:cubicBezTo>
                <a:cubicBezTo>
                  <a:pt x="2190793" y="4553823"/>
                  <a:pt x="2186944" y="4555748"/>
                  <a:pt x="2185019" y="4559597"/>
                </a:cubicBezTo>
                <a:cubicBezTo>
                  <a:pt x="2192718" y="4559597"/>
                  <a:pt x="2198492" y="4561522"/>
                  <a:pt x="2206192" y="4561522"/>
                </a:cubicBezTo>
                <a:cubicBezTo>
                  <a:pt x="2213891" y="4555748"/>
                  <a:pt x="2219665" y="4549973"/>
                  <a:pt x="2225439" y="4542274"/>
                </a:cubicBezTo>
                <a:close/>
                <a:moveTo>
                  <a:pt x="3058872" y="4534575"/>
                </a:moveTo>
                <a:cubicBezTo>
                  <a:pt x="3058872" y="4549973"/>
                  <a:pt x="3081971" y="4567296"/>
                  <a:pt x="3066571" y="4578845"/>
                </a:cubicBezTo>
                <a:cubicBezTo>
                  <a:pt x="3068496" y="4565371"/>
                  <a:pt x="3049249" y="4530724"/>
                  <a:pt x="3058872" y="4534575"/>
                </a:cubicBezTo>
                <a:close/>
                <a:moveTo>
                  <a:pt x="3164736" y="4523025"/>
                </a:moveTo>
                <a:cubicBezTo>
                  <a:pt x="3336042" y="4696256"/>
                  <a:pt x="3618985" y="4898359"/>
                  <a:pt x="3944275" y="4875261"/>
                </a:cubicBezTo>
                <a:cubicBezTo>
                  <a:pt x="3853809" y="4842540"/>
                  <a:pt x="3757570" y="4859863"/>
                  <a:pt x="3661331" y="4829066"/>
                </a:cubicBezTo>
                <a:cubicBezTo>
                  <a:pt x="3501573" y="4777097"/>
                  <a:pt x="3345666" y="4653910"/>
                  <a:pt x="3230178" y="4576919"/>
                </a:cubicBezTo>
                <a:cubicBezTo>
                  <a:pt x="3205157" y="4559596"/>
                  <a:pt x="3187833" y="4542273"/>
                  <a:pt x="3172435" y="4524950"/>
                </a:cubicBezTo>
                <a:cubicBezTo>
                  <a:pt x="3170510" y="4524950"/>
                  <a:pt x="3166660" y="4523025"/>
                  <a:pt x="3164736" y="4523025"/>
                </a:cubicBezTo>
                <a:close/>
                <a:moveTo>
                  <a:pt x="2748981" y="4511476"/>
                </a:moveTo>
                <a:cubicBezTo>
                  <a:pt x="2743207" y="4509551"/>
                  <a:pt x="2741282" y="4509551"/>
                  <a:pt x="2739357" y="4513401"/>
                </a:cubicBezTo>
                <a:cubicBezTo>
                  <a:pt x="2695087" y="4825217"/>
                  <a:pt x="2825973" y="5033094"/>
                  <a:pt x="2941460" y="5252520"/>
                </a:cubicBezTo>
                <a:cubicBezTo>
                  <a:pt x="2835597" y="5033094"/>
                  <a:pt x="2741282" y="4805969"/>
                  <a:pt x="2748981" y="4511476"/>
                </a:cubicBezTo>
                <a:close/>
                <a:moveTo>
                  <a:pt x="2265860" y="4492230"/>
                </a:moveTo>
                <a:cubicBezTo>
                  <a:pt x="2258161" y="4494155"/>
                  <a:pt x="2250462" y="4496079"/>
                  <a:pt x="2240838" y="4496079"/>
                </a:cubicBezTo>
                <a:cubicBezTo>
                  <a:pt x="2236988" y="4499929"/>
                  <a:pt x="2235063" y="4501854"/>
                  <a:pt x="2233138" y="4505703"/>
                </a:cubicBezTo>
                <a:cubicBezTo>
                  <a:pt x="2240838" y="4505703"/>
                  <a:pt x="2248537" y="4507628"/>
                  <a:pt x="2256236" y="4507628"/>
                </a:cubicBezTo>
                <a:cubicBezTo>
                  <a:pt x="2258161" y="4501854"/>
                  <a:pt x="2262010" y="4498004"/>
                  <a:pt x="2265860" y="4492230"/>
                </a:cubicBezTo>
                <a:close/>
                <a:moveTo>
                  <a:pt x="1336187" y="4492230"/>
                </a:moveTo>
                <a:cubicBezTo>
                  <a:pt x="1326563" y="4517252"/>
                  <a:pt x="1345811" y="4530725"/>
                  <a:pt x="1361210" y="4546124"/>
                </a:cubicBezTo>
                <a:cubicBezTo>
                  <a:pt x="1359285" y="4542274"/>
                  <a:pt x="1357360" y="4536500"/>
                  <a:pt x="1355435" y="4530725"/>
                </a:cubicBezTo>
                <a:cubicBezTo>
                  <a:pt x="1351586" y="4519177"/>
                  <a:pt x="1343887" y="4505703"/>
                  <a:pt x="1336187" y="4492230"/>
                </a:cubicBezTo>
                <a:close/>
                <a:moveTo>
                  <a:pt x="3955823" y="4478755"/>
                </a:moveTo>
                <a:cubicBezTo>
                  <a:pt x="3859584" y="4542273"/>
                  <a:pt x="3740247" y="4567295"/>
                  <a:pt x="3590114" y="4546123"/>
                </a:cubicBezTo>
                <a:cubicBezTo>
                  <a:pt x="3761420" y="4605791"/>
                  <a:pt x="3857659" y="4549972"/>
                  <a:pt x="3957748" y="4498003"/>
                </a:cubicBezTo>
                <a:close/>
                <a:moveTo>
                  <a:pt x="2083006" y="4447959"/>
                </a:moveTo>
                <a:cubicBezTo>
                  <a:pt x="2056058" y="4442185"/>
                  <a:pt x="2042585" y="4478756"/>
                  <a:pt x="2017562" y="4492230"/>
                </a:cubicBezTo>
                <a:cubicBezTo>
                  <a:pt x="2009863" y="4499929"/>
                  <a:pt x="2004089" y="4505703"/>
                  <a:pt x="1996390" y="4513402"/>
                </a:cubicBezTo>
                <a:cubicBezTo>
                  <a:pt x="1998314" y="4513402"/>
                  <a:pt x="2000239" y="4513402"/>
                  <a:pt x="2002164" y="4513402"/>
                </a:cubicBezTo>
                <a:cubicBezTo>
                  <a:pt x="1977142" y="4549973"/>
                  <a:pt x="1950195" y="4582695"/>
                  <a:pt x="1917473" y="4601942"/>
                </a:cubicBezTo>
                <a:cubicBezTo>
                  <a:pt x="1921323" y="4565372"/>
                  <a:pt x="1973292" y="4563447"/>
                  <a:pt x="1975217" y="4532650"/>
                </a:cubicBezTo>
                <a:cubicBezTo>
                  <a:pt x="1952119" y="4553823"/>
                  <a:pt x="1929022" y="4574996"/>
                  <a:pt x="1905925" y="4594243"/>
                </a:cubicBezTo>
                <a:cubicBezTo>
                  <a:pt x="1905925" y="4598093"/>
                  <a:pt x="1904000" y="4600018"/>
                  <a:pt x="1904000" y="4603867"/>
                </a:cubicBezTo>
                <a:cubicBezTo>
                  <a:pt x="1902075" y="4611566"/>
                  <a:pt x="1898226" y="4617341"/>
                  <a:pt x="1894376" y="4621190"/>
                </a:cubicBezTo>
                <a:cubicBezTo>
                  <a:pt x="1894376" y="4615416"/>
                  <a:pt x="1894376" y="4609642"/>
                  <a:pt x="1892451" y="4603867"/>
                </a:cubicBezTo>
                <a:cubicBezTo>
                  <a:pt x="1828933" y="4653912"/>
                  <a:pt x="1761565" y="4696257"/>
                  <a:pt x="1694198" y="4719355"/>
                </a:cubicBezTo>
                <a:cubicBezTo>
                  <a:pt x="1674950" y="4734753"/>
                  <a:pt x="1653777" y="4748226"/>
                  <a:pt x="1634529" y="4755925"/>
                </a:cubicBezTo>
                <a:cubicBezTo>
                  <a:pt x="1780813" y="4721279"/>
                  <a:pt x="1904000" y="4619266"/>
                  <a:pt x="2002164" y="4540349"/>
                </a:cubicBezTo>
                <a:cubicBezTo>
                  <a:pt x="2011788" y="4530725"/>
                  <a:pt x="2019487" y="4519177"/>
                  <a:pt x="2029111" y="4509553"/>
                </a:cubicBezTo>
                <a:cubicBezTo>
                  <a:pt x="2032962" y="4488380"/>
                  <a:pt x="2044510" y="4478756"/>
                  <a:pt x="2059908" y="4472982"/>
                </a:cubicBezTo>
                <a:cubicBezTo>
                  <a:pt x="2067607" y="4463358"/>
                  <a:pt x="2075306" y="4455659"/>
                  <a:pt x="2083006" y="4447959"/>
                </a:cubicBezTo>
                <a:close/>
                <a:moveTo>
                  <a:pt x="2281258" y="4440260"/>
                </a:moveTo>
                <a:cubicBezTo>
                  <a:pt x="2279333" y="4442185"/>
                  <a:pt x="2277409" y="4446035"/>
                  <a:pt x="2275485" y="4449884"/>
                </a:cubicBezTo>
                <a:cubicBezTo>
                  <a:pt x="2275485" y="4451809"/>
                  <a:pt x="2279333" y="4455659"/>
                  <a:pt x="2281258" y="4459508"/>
                </a:cubicBezTo>
                <a:cubicBezTo>
                  <a:pt x="2275485" y="4463358"/>
                  <a:pt x="2269709" y="4465283"/>
                  <a:pt x="2263935" y="4465283"/>
                </a:cubicBezTo>
                <a:cubicBezTo>
                  <a:pt x="2262010" y="4467207"/>
                  <a:pt x="2260085" y="4471057"/>
                  <a:pt x="2258161" y="4472982"/>
                </a:cubicBezTo>
                <a:cubicBezTo>
                  <a:pt x="2265860" y="4471057"/>
                  <a:pt x="2275485" y="4469132"/>
                  <a:pt x="2283183" y="4467207"/>
                </a:cubicBezTo>
                <a:cubicBezTo>
                  <a:pt x="2285108" y="4463358"/>
                  <a:pt x="2288958" y="4459508"/>
                  <a:pt x="2292807" y="4457583"/>
                </a:cubicBezTo>
                <a:cubicBezTo>
                  <a:pt x="2290882" y="4449884"/>
                  <a:pt x="2285108" y="4446035"/>
                  <a:pt x="2281258" y="4440260"/>
                </a:cubicBezTo>
                <a:close/>
                <a:moveTo>
                  <a:pt x="1366984" y="4421013"/>
                </a:moveTo>
                <a:cubicBezTo>
                  <a:pt x="1365059" y="4422937"/>
                  <a:pt x="1365059" y="4426787"/>
                  <a:pt x="1363134" y="4430636"/>
                </a:cubicBezTo>
                <a:cubicBezTo>
                  <a:pt x="1365059" y="4434486"/>
                  <a:pt x="1368909" y="4436411"/>
                  <a:pt x="1370834" y="4436411"/>
                </a:cubicBezTo>
                <a:cubicBezTo>
                  <a:pt x="1368909" y="4430636"/>
                  <a:pt x="1366984" y="4424862"/>
                  <a:pt x="1366984" y="4421013"/>
                </a:cubicBezTo>
                <a:close/>
                <a:moveTo>
                  <a:pt x="3797179" y="4384982"/>
                </a:moveTo>
                <a:cubicBezTo>
                  <a:pt x="3691526" y="4380832"/>
                  <a:pt x="3591558" y="4433523"/>
                  <a:pt x="3468852" y="4401763"/>
                </a:cubicBezTo>
                <a:cubicBezTo>
                  <a:pt x="3626685" y="4472981"/>
                  <a:pt x="3740247" y="4351719"/>
                  <a:pt x="3905779" y="4413312"/>
                </a:cubicBezTo>
                <a:cubicBezTo>
                  <a:pt x="3868246" y="4394065"/>
                  <a:pt x="3832397" y="4386365"/>
                  <a:pt x="3797179" y="4384982"/>
                </a:cubicBezTo>
                <a:close/>
                <a:moveTo>
                  <a:pt x="1326563" y="4384441"/>
                </a:moveTo>
                <a:cubicBezTo>
                  <a:pt x="1332338" y="4392141"/>
                  <a:pt x="1338112" y="4401765"/>
                  <a:pt x="1343887" y="4407539"/>
                </a:cubicBezTo>
                <a:cubicBezTo>
                  <a:pt x="1345811" y="4401765"/>
                  <a:pt x="1347736" y="4394065"/>
                  <a:pt x="1349661" y="4388291"/>
                </a:cubicBezTo>
                <a:cubicBezTo>
                  <a:pt x="1341962" y="4388291"/>
                  <a:pt x="1334263" y="4386366"/>
                  <a:pt x="1326563" y="4384441"/>
                </a:cubicBezTo>
                <a:close/>
                <a:moveTo>
                  <a:pt x="2916438" y="4365192"/>
                </a:moveTo>
                <a:cubicBezTo>
                  <a:pt x="2993429" y="4536499"/>
                  <a:pt x="2949159" y="4817517"/>
                  <a:pt x="3016527" y="4994598"/>
                </a:cubicBezTo>
                <a:cubicBezTo>
                  <a:pt x="3070421" y="5158205"/>
                  <a:pt x="3205157" y="5269843"/>
                  <a:pt x="3314869" y="5396879"/>
                </a:cubicBezTo>
                <a:cubicBezTo>
                  <a:pt x="3270599" y="5302564"/>
                  <a:pt x="3166660" y="5215949"/>
                  <a:pt x="3095443" y="5127408"/>
                </a:cubicBezTo>
                <a:cubicBezTo>
                  <a:pt x="3043475" y="4990748"/>
                  <a:pt x="2970332" y="4809818"/>
                  <a:pt x="2978031" y="4632738"/>
                </a:cubicBezTo>
                <a:cubicBezTo>
                  <a:pt x="2981881" y="4526875"/>
                  <a:pt x="2981881" y="4434485"/>
                  <a:pt x="2916438" y="4365192"/>
                </a:cubicBezTo>
                <a:close/>
                <a:moveTo>
                  <a:pt x="2186944" y="4359419"/>
                </a:moveTo>
                <a:cubicBezTo>
                  <a:pt x="2169621" y="4361344"/>
                  <a:pt x="2152297" y="4367118"/>
                  <a:pt x="2133050" y="4363269"/>
                </a:cubicBezTo>
                <a:cubicBezTo>
                  <a:pt x="2129200" y="4367118"/>
                  <a:pt x="2125351" y="4372893"/>
                  <a:pt x="2121501" y="4376742"/>
                </a:cubicBezTo>
                <a:cubicBezTo>
                  <a:pt x="2131125" y="4382517"/>
                  <a:pt x="2136899" y="4386366"/>
                  <a:pt x="2142673" y="4392141"/>
                </a:cubicBezTo>
                <a:cubicBezTo>
                  <a:pt x="2158073" y="4378667"/>
                  <a:pt x="2171545" y="4369043"/>
                  <a:pt x="2186944" y="4359419"/>
                </a:cubicBezTo>
                <a:close/>
                <a:moveTo>
                  <a:pt x="2331303" y="4357495"/>
                </a:moveTo>
                <a:cubicBezTo>
                  <a:pt x="2325529" y="4355570"/>
                  <a:pt x="2323604" y="4359419"/>
                  <a:pt x="2317829" y="4359419"/>
                </a:cubicBezTo>
                <a:cubicBezTo>
                  <a:pt x="2310130" y="4380592"/>
                  <a:pt x="2302431" y="4399840"/>
                  <a:pt x="2290882" y="4417163"/>
                </a:cubicBezTo>
                <a:cubicBezTo>
                  <a:pt x="2296656" y="4419088"/>
                  <a:pt x="2300506" y="4422937"/>
                  <a:pt x="2306280" y="4424862"/>
                </a:cubicBezTo>
                <a:cubicBezTo>
                  <a:pt x="2315904" y="4403689"/>
                  <a:pt x="2325529" y="4380592"/>
                  <a:pt x="2331303" y="4357495"/>
                </a:cubicBezTo>
                <a:close/>
                <a:moveTo>
                  <a:pt x="1363134" y="4357495"/>
                </a:moveTo>
                <a:cubicBezTo>
                  <a:pt x="1361210" y="4359419"/>
                  <a:pt x="1357360" y="4359419"/>
                  <a:pt x="1355435" y="4361344"/>
                </a:cubicBezTo>
                <a:cubicBezTo>
                  <a:pt x="1355435" y="4363269"/>
                  <a:pt x="1357360" y="4363269"/>
                  <a:pt x="1357360" y="4363269"/>
                </a:cubicBezTo>
                <a:cubicBezTo>
                  <a:pt x="1359285" y="4361344"/>
                  <a:pt x="1359285" y="4361344"/>
                  <a:pt x="1361210" y="4361344"/>
                </a:cubicBezTo>
                <a:cubicBezTo>
                  <a:pt x="1361210" y="4359419"/>
                  <a:pt x="1363134" y="4359419"/>
                  <a:pt x="1363134" y="4357495"/>
                </a:cubicBezTo>
                <a:close/>
                <a:moveTo>
                  <a:pt x="1888602" y="4355570"/>
                </a:moveTo>
                <a:cubicBezTo>
                  <a:pt x="1780813" y="4395990"/>
                  <a:pt x="1628755" y="4365194"/>
                  <a:pt x="1494020" y="4365194"/>
                </a:cubicBezTo>
                <a:cubicBezTo>
                  <a:pt x="1497870" y="4369043"/>
                  <a:pt x="1501719" y="4374817"/>
                  <a:pt x="1503644" y="4380592"/>
                </a:cubicBezTo>
                <a:cubicBezTo>
                  <a:pt x="1642229" y="4394065"/>
                  <a:pt x="1796212" y="4415238"/>
                  <a:pt x="1888602" y="4355570"/>
                </a:cubicBezTo>
                <a:close/>
                <a:moveTo>
                  <a:pt x="3409184" y="4338245"/>
                </a:moveTo>
                <a:cubicBezTo>
                  <a:pt x="3572791" y="4434485"/>
                  <a:pt x="3720999" y="4326697"/>
                  <a:pt x="3898080" y="4382516"/>
                </a:cubicBezTo>
                <a:cubicBezTo>
                  <a:pt x="3734473" y="4292051"/>
                  <a:pt x="3578565" y="4413312"/>
                  <a:pt x="3409184" y="4338245"/>
                </a:cubicBezTo>
                <a:close/>
                <a:moveTo>
                  <a:pt x="3278298" y="4338245"/>
                </a:moveTo>
                <a:cubicBezTo>
                  <a:pt x="3334117" y="4417162"/>
                  <a:pt x="3445754" y="4478755"/>
                  <a:pt x="3549693" y="4515326"/>
                </a:cubicBezTo>
                <a:cubicBezTo>
                  <a:pt x="3457303" y="4457582"/>
                  <a:pt x="3355289" y="4407538"/>
                  <a:pt x="3278298" y="4338245"/>
                </a:cubicBezTo>
                <a:close/>
                <a:moveTo>
                  <a:pt x="1422803" y="4334397"/>
                </a:moveTo>
                <a:cubicBezTo>
                  <a:pt x="1418953" y="4334397"/>
                  <a:pt x="1415104" y="4336322"/>
                  <a:pt x="1411254" y="4336322"/>
                </a:cubicBezTo>
                <a:cubicBezTo>
                  <a:pt x="1411254" y="4340172"/>
                  <a:pt x="1413179" y="4342096"/>
                  <a:pt x="1413179" y="4345946"/>
                </a:cubicBezTo>
                <a:cubicBezTo>
                  <a:pt x="1413179" y="4345946"/>
                  <a:pt x="1415104" y="4345946"/>
                  <a:pt x="1417029" y="4345946"/>
                </a:cubicBezTo>
                <a:cubicBezTo>
                  <a:pt x="1418953" y="4344021"/>
                  <a:pt x="1422803" y="4344021"/>
                  <a:pt x="1424728" y="4344021"/>
                </a:cubicBezTo>
                <a:cubicBezTo>
                  <a:pt x="1424728" y="4340172"/>
                  <a:pt x="1422803" y="4338247"/>
                  <a:pt x="1422803" y="4334397"/>
                </a:cubicBezTo>
                <a:close/>
                <a:moveTo>
                  <a:pt x="1513268" y="4332472"/>
                </a:moveTo>
                <a:cubicBezTo>
                  <a:pt x="1509418" y="4336322"/>
                  <a:pt x="1505569" y="4342096"/>
                  <a:pt x="1503644" y="4345946"/>
                </a:cubicBezTo>
                <a:cubicBezTo>
                  <a:pt x="1597959" y="4351720"/>
                  <a:pt x="1701897" y="4374817"/>
                  <a:pt x="1771189" y="4342096"/>
                </a:cubicBezTo>
                <a:cubicBezTo>
                  <a:pt x="1713447" y="4359419"/>
                  <a:pt x="1607583" y="4336322"/>
                  <a:pt x="1513268" y="4332472"/>
                </a:cubicBezTo>
                <a:close/>
                <a:moveTo>
                  <a:pt x="1467073" y="4332472"/>
                </a:moveTo>
                <a:cubicBezTo>
                  <a:pt x="1457449" y="4332472"/>
                  <a:pt x="1447825" y="4334397"/>
                  <a:pt x="1440126" y="4334397"/>
                </a:cubicBezTo>
                <a:cubicBezTo>
                  <a:pt x="1440126" y="4336322"/>
                  <a:pt x="1440126" y="4340172"/>
                  <a:pt x="1440126" y="4344021"/>
                </a:cubicBezTo>
                <a:cubicBezTo>
                  <a:pt x="1449750" y="4342096"/>
                  <a:pt x="1457449" y="4342096"/>
                  <a:pt x="1463223" y="4344021"/>
                </a:cubicBezTo>
                <a:cubicBezTo>
                  <a:pt x="1463223" y="4338247"/>
                  <a:pt x="1465148" y="4334397"/>
                  <a:pt x="1467073" y="4332472"/>
                </a:cubicBezTo>
                <a:close/>
                <a:moveTo>
                  <a:pt x="3728939" y="4317554"/>
                </a:moveTo>
                <a:cubicBezTo>
                  <a:pt x="3657963" y="4316592"/>
                  <a:pt x="3590114" y="4321885"/>
                  <a:pt x="3538144" y="4344020"/>
                </a:cubicBezTo>
                <a:cubicBezTo>
                  <a:pt x="3651707" y="4332471"/>
                  <a:pt x="3801840" y="4332471"/>
                  <a:pt x="3940425" y="4340170"/>
                </a:cubicBezTo>
                <a:lnTo>
                  <a:pt x="3938500" y="4328621"/>
                </a:lnTo>
                <a:cubicBezTo>
                  <a:pt x="3874020" y="4325734"/>
                  <a:pt x="3799916" y="4318517"/>
                  <a:pt x="3728939" y="4317554"/>
                </a:cubicBezTo>
                <a:close/>
                <a:moveTo>
                  <a:pt x="1411254" y="4315149"/>
                </a:moveTo>
                <a:cubicBezTo>
                  <a:pt x="1411254" y="4317074"/>
                  <a:pt x="1411254" y="4317074"/>
                  <a:pt x="1411254" y="4318999"/>
                </a:cubicBezTo>
                <a:cubicBezTo>
                  <a:pt x="1413179" y="4318999"/>
                  <a:pt x="1413179" y="4318999"/>
                  <a:pt x="1415104" y="4318999"/>
                </a:cubicBezTo>
                <a:cubicBezTo>
                  <a:pt x="1413179" y="4318999"/>
                  <a:pt x="1413179" y="4317074"/>
                  <a:pt x="1411254" y="4315149"/>
                </a:cubicBezTo>
                <a:close/>
                <a:moveTo>
                  <a:pt x="1386232" y="4311300"/>
                </a:moveTo>
                <a:cubicBezTo>
                  <a:pt x="1365059" y="4320924"/>
                  <a:pt x="1343887" y="4332472"/>
                  <a:pt x="1328488" y="4349795"/>
                </a:cubicBezTo>
                <a:cubicBezTo>
                  <a:pt x="1328488" y="4349795"/>
                  <a:pt x="1328488" y="4351720"/>
                  <a:pt x="1326563" y="4351720"/>
                </a:cubicBezTo>
                <a:cubicBezTo>
                  <a:pt x="1341962" y="4344021"/>
                  <a:pt x="1357360" y="4336322"/>
                  <a:pt x="1374683" y="4330548"/>
                </a:cubicBezTo>
                <a:cubicBezTo>
                  <a:pt x="1378533" y="4322848"/>
                  <a:pt x="1382382" y="4317074"/>
                  <a:pt x="1386232" y="4311300"/>
                </a:cubicBezTo>
                <a:close/>
                <a:moveTo>
                  <a:pt x="2394822" y="4309375"/>
                </a:moveTo>
                <a:cubicBezTo>
                  <a:pt x="2389046" y="4307450"/>
                  <a:pt x="2387121" y="4307450"/>
                  <a:pt x="2385197" y="4311300"/>
                </a:cubicBezTo>
                <a:cubicBezTo>
                  <a:pt x="2396745" y="4532650"/>
                  <a:pt x="2466038" y="4836767"/>
                  <a:pt x="2362099" y="5071591"/>
                </a:cubicBezTo>
                <a:cubicBezTo>
                  <a:pt x="2323604" y="5162056"/>
                  <a:pt x="2254311" y="5217875"/>
                  <a:pt x="2183094" y="5267919"/>
                </a:cubicBezTo>
                <a:cubicBezTo>
                  <a:pt x="2183094" y="5273694"/>
                  <a:pt x="2183094" y="5279468"/>
                  <a:pt x="2183094" y="5285242"/>
                </a:cubicBezTo>
                <a:cubicBezTo>
                  <a:pt x="2275485" y="5225574"/>
                  <a:pt x="2358250" y="5146657"/>
                  <a:pt x="2402520" y="5025396"/>
                </a:cubicBezTo>
                <a:cubicBezTo>
                  <a:pt x="2494910" y="4773249"/>
                  <a:pt x="2400596" y="4523026"/>
                  <a:pt x="2394822" y="4309375"/>
                </a:cubicBezTo>
                <a:close/>
                <a:moveTo>
                  <a:pt x="1526742" y="4307450"/>
                </a:moveTo>
                <a:cubicBezTo>
                  <a:pt x="1524817" y="4311300"/>
                  <a:pt x="1522892" y="4313224"/>
                  <a:pt x="1522892" y="4315149"/>
                </a:cubicBezTo>
                <a:cubicBezTo>
                  <a:pt x="1540215" y="4317074"/>
                  <a:pt x="1559463" y="4322848"/>
                  <a:pt x="1580636" y="4328623"/>
                </a:cubicBezTo>
                <a:cubicBezTo>
                  <a:pt x="1563312" y="4318999"/>
                  <a:pt x="1544065" y="4313224"/>
                  <a:pt x="1526742" y="4307450"/>
                </a:cubicBezTo>
                <a:close/>
                <a:moveTo>
                  <a:pt x="1467073" y="4299751"/>
                </a:moveTo>
                <a:cubicBezTo>
                  <a:pt x="1465148" y="4303600"/>
                  <a:pt x="1461299" y="4307450"/>
                  <a:pt x="1459374" y="4313224"/>
                </a:cubicBezTo>
                <a:cubicBezTo>
                  <a:pt x="1465148" y="4313224"/>
                  <a:pt x="1470923" y="4311300"/>
                  <a:pt x="1474772" y="4311300"/>
                </a:cubicBezTo>
                <a:cubicBezTo>
                  <a:pt x="1476697" y="4307450"/>
                  <a:pt x="1478622" y="4303600"/>
                  <a:pt x="1480546" y="4299751"/>
                </a:cubicBezTo>
                <a:cubicBezTo>
                  <a:pt x="1476697" y="4299751"/>
                  <a:pt x="1470923" y="4299751"/>
                  <a:pt x="1467073" y="4299751"/>
                </a:cubicBezTo>
                <a:close/>
                <a:moveTo>
                  <a:pt x="1442051" y="4297826"/>
                </a:moveTo>
                <a:cubicBezTo>
                  <a:pt x="1442051" y="4303600"/>
                  <a:pt x="1442051" y="4307450"/>
                  <a:pt x="1442051" y="4313224"/>
                </a:cubicBezTo>
                <a:cubicBezTo>
                  <a:pt x="1445900" y="4311300"/>
                  <a:pt x="1451675" y="4311300"/>
                  <a:pt x="1455524" y="4311300"/>
                </a:cubicBezTo>
                <a:cubicBezTo>
                  <a:pt x="1453599" y="4307450"/>
                  <a:pt x="1453599" y="4303600"/>
                  <a:pt x="1453599" y="4297826"/>
                </a:cubicBezTo>
                <a:cubicBezTo>
                  <a:pt x="1449750" y="4299751"/>
                  <a:pt x="1445900" y="4299751"/>
                  <a:pt x="1442051" y="4297826"/>
                </a:cubicBezTo>
                <a:close/>
                <a:moveTo>
                  <a:pt x="2510308" y="4282428"/>
                </a:moveTo>
                <a:cubicBezTo>
                  <a:pt x="2477586" y="4544199"/>
                  <a:pt x="2623870" y="4869488"/>
                  <a:pt x="2471812" y="5165905"/>
                </a:cubicBezTo>
                <a:cubicBezTo>
                  <a:pt x="2462188" y="5179379"/>
                  <a:pt x="2489135" y="5171679"/>
                  <a:pt x="2479511" y="5185153"/>
                </a:cubicBezTo>
                <a:cubicBezTo>
                  <a:pt x="2414068" y="5323738"/>
                  <a:pt x="2310130" y="5404579"/>
                  <a:pt x="2192718" y="5456548"/>
                </a:cubicBezTo>
                <a:cubicBezTo>
                  <a:pt x="2190793" y="5458473"/>
                  <a:pt x="2190793" y="5462323"/>
                  <a:pt x="2188868" y="5466172"/>
                </a:cubicBezTo>
                <a:cubicBezTo>
                  <a:pt x="2335152" y="5404579"/>
                  <a:pt x="2456414" y="5300640"/>
                  <a:pt x="2529556" y="5129334"/>
                </a:cubicBezTo>
                <a:cubicBezTo>
                  <a:pt x="2546879" y="5088914"/>
                  <a:pt x="2554578" y="5038869"/>
                  <a:pt x="2560352" y="4990750"/>
                </a:cubicBezTo>
                <a:cubicBezTo>
                  <a:pt x="2579600" y="4804045"/>
                  <a:pt x="2525707" y="4601942"/>
                  <a:pt x="2523781" y="4419088"/>
                </a:cubicBezTo>
                <a:cubicBezTo>
                  <a:pt x="2521857" y="4370968"/>
                  <a:pt x="2546879" y="4324773"/>
                  <a:pt x="2510308" y="4282428"/>
                </a:cubicBezTo>
                <a:close/>
                <a:moveTo>
                  <a:pt x="2683538" y="4270878"/>
                </a:moveTo>
                <a:cubicBezTo>
                  <a:pt x="2633494" y="4361343"/>
                  <a:pt x="2677764" y="4415237"/>
                  <a:pt x="2693162" y="4474906"/>
                </a:cubicBezTo>
                <a:cubicBezTo>
                  <a:pt x="2704711" y="4523025"/>
                  <a:pt x="2683538" y="4592317"/>
                  <a:pt x="2679689" y="4648136"/>
                </a:cubicBezTo>
                <a:cubicBezTo>
                  <a:pt x="2668140" y="4802120"/>
                  <a:pt x="2729733" y="4977276"/>
                  <a:pt x="2698937" y="5121635"/>
                </a:cubicBezTo>
                <a:cubicBezTo>
                  <a:pt x="2677764" y="5125485"/>
                  <a:pt x="2671990" y="5208251"/>
                  <a:pt x="2677764" y="5237123"/>
                </a:cubicBezTo>
                <a:cubicBezTo>
                  <a:pt x="2766304" y="5260220"/>
                  <a:pt x="2689313" y="5366083"/>
                  <a:pt x="2723959" y="5416128"/>
                </a:cubicBezTo>
                <a:cubicBezTo>
                  <a:pt x="2747056" y="5448849"/>
                  <a:pt x="2785552" y="5433451"/>
                  <a:pt x="2783627" y="5481570"/>
                </a:cubicBezTo>
                <a:cubicBezTo>
                  <a:pt x="2745132" y="5512367"/>
                  <a:pt x="2706636" y="5539314"/>
                  <a:pt x="2700862" y="5622080"/>
                </a:cubicBezTo>
                <a:cubicBezTo>
                  <a:pt x="2683538" y="5645177"/>
                  <a:pt x="2650818" y="5641328"/>
                  <a:pt x="2631569" y="5658651"/>
                </a:cubicBezTo>
                <a:cubicBezTo>
                  <a:pt x="2623870" y="5726019"/>
                  <a:pt x="2587299" y="5747191"/>
                  <a:pt x="2550728" y="5766439"/>
                </a:cubicBezTo>
                <a:cubicBezTo>
                  <a:pt x="2506458" y="5727943"/>
                  <a:pt x="2460263" y="5783762"/>
                  <a:pt x="2429466" y="5770288"/>
                </a:cubicBezTo>
                <a:cubicBezTo>
                  <a:pt x="2404444" y="5758740"/>
                  <a:pt x="2429466" y="5739492"/>
                  <a:pt x="2400596" y="5726019"/>
                </a:cubicBezTo>
                <a:cubicBezTo>
                  <a:pt x="2385196" y="5824183"/>
                  <a:pt x="2327453" y="5906948"/>
                  <a:pt x="2235063" y="5849205"/>
                </a:cubicBezTo>
                <a:cubicBezTo>
                  <a:pt x="2252386" y="5766439"/>
                  <a:pt x="2275483" y="5679824"/>
                  <a:pt x="2317829" y="5614381"/>
                </a:cubicBezTo>
                <a:cubicBezTo>
                  <a:pt x="2427542" y="5444999"/>
                  <a:pt x="2668140" y="5348760"/>
                  <a:pt x="2660441" y="5083140"/>
                </a:cubicBezTo>
                <a:cubicBezTo>
                  <a:pt x="2654667" y="4829067"/>
                  <a:pt x="2621945" y="4555747"/>
                  <a:pt x="2627719" y="4288201"/>
                </a:cubicBezTo>
                <a:cubicBezTo>
                  <a:pt x="2652742" y="4293975"/>
                  <a:pt x="2668140" y="4280502"/>
                  <a:pt x="2683538" y="4270878"/>
                </a:cubicBezTo>
                <a:close/>
                <a:moveTo>
                  <a:pt x="901185" y="4242007"/>
                </a:moveTo>
                <a:cubicBezTo>
                  <a:pt x="889637" y="4238158"/>
                  <a:pt x="881938" y="4242007"/>
                  <a:pt x="881938" y="4255481"/>
                </a:cubicBezTo>
                <a:cubicBezTo>
                  <a:pt x="891562" y="4257406"/>
                  <a:pt x="899261" y="4251631"/>
                  <a:pt x="901185" y="4242007"/>
                </a:cubicBezTo>
                <a:close/>
                <a:moveTo>
                  <a:pt x="3919252" y="4151541"/>
                </a:moveTo>
                <a:cubicBezTo>
                  <a:pt x="3900004" y="4159240"/>
                  <a:pt x="3880757" y="4170789"/>
                  <a:pt x="3871133" y="4195811"/>
                </a:cubicBezTo>
                <a:cubicBezTo>
                  <a:pt x="3884606" y="4186187"/>
                  <a:pt x="3901929" y="4178488"/>
                  <a:pt x="3917327" y="4170789"/>
                </a:cubicBezTo>
                <a:lnTo>
                  <a:pt x="3917327" y="4166939"/>
                </a:lnTo>
                <a:cubicBezTo>
                  <a:pt x="3919252" y="4161165"/>
                  <a:pt x="3919252" y="4157315"/>
                  <a:pt x="3919252" y="4151541"/>
                </a:cubicBezTo>
                <a:close/>
                <a:moveTo>
                  <a:pt x="3176284" y="4126519"/>
                </a:moveTo>
                <a:cubicBezTo>
                  <a:pt x="3182058" y="4166940"/>
                  <a:pt x="3197457" y="4201586"/>
                  <a:pt x="3216704" y="4234307"/>
                </a:cubicBezTo>
                <a:cubicBezTo>
                  <a:pt x="3197457" y="4220833"/>
                  <a:pt x="3185908" y="4226608"/>
                  <a:pt x="3166660" y="4226608"/>
                </a:cubicBezTo>
                <a:cubicBezTo>
                  <a:pt x="3160885" y="4216984"/>
                  <a:pt x="3155111" y="4205435"/>
                  <a:pt x="3147412" y="4195811"/>
                </a:cubicBezTo>
                <a:lnTo>
                  <a:pt x="3147413" y="4195812"/>
                </a:lnTo>
                <a:lnTo>
                  <a:pt x="3166660" y="4205435"/>
                </a:lnTo>
                <a:cubicBezTo>
                  <a:pt x="3189757" y="4182338"/>
                  <a:pt x="3157036" y="4147692"/>
                  <a:pt x="3176284" y="4126519"/>
                </a:cubicBezTo>
                <a:close/>
                <a:moveTo>
                  <a:pt x="1755791" y="4111122"/>
                </a:moveTo>
                <a:cubicBezTo>
                  <a:pt x="1751943" y="4114971"/>
                  <a:pt x="1750017" y="4116896"/>
                  <a:pt x="1746167" y="4120746"/>
                </a:cubicBezTo>
                <a:cubicBezTo>
                  <a:pt x="1751943" y="4122670"/>
                  <a:pt x="1757717" y="4122670"/>
                  <a:pt x="1763491" y="4122670"/>
                </a:cubicBezTo>
                <a:cubicBezTo>
                  <a:pt x="1765415" y="4120746"/>
                  <a:pt x="1767340" y="4118821"/>
                  <a:pt x="1769265" y="4116896"/>
                </a:cubicBezTo>
                <a:cubicBezTo>
                  <a:pt x="1765415" y="4116896"/>
                  <a:pt x="1759641" y="4114971"/>
                  <a:pt x="1755791" y="4111122"/>
                </a:cubicBezTo>
                <a:close/>
                <a:moveTo>
                  <a:pt x="1734619" y="4107272"/>
                </a:moveTo>
                <a:cubicBezTo>
                  <a:pt x="1730769" y="4111122"/>
                  <a:pt x="1726920" y="4114971"/>
                  <a:pt x="1723070" y="4118821"/>
                </a:cubicBezTo>
                <a:cubicBezTo>
                  <a:pt x="1726920" y="4118821"/>
                  <a:pt x="1730769" y="4120746"/>
                  <a:pt x="1734619" y="4120746"/>
                </a:cubicBezTo>
                <a:cubicBezTo>
                  <a:pt x="1736543" y="4116896"/>
                  <a:pt x="1736543" y="4113047"/>
                  <a:pt x="1736543" y="4107272"/>
                </a:cubicBezTo>
                <a:cubicBezTo>
                  <a:pt x="1736543" y="4107272"/>
                  <a:pt x="1734619" y="4107272"/>
                  <a:pt x="1734619" y="4107272"/>
                </a:cubicBezTo>
                <a:close/>
                <a:moveTo>
                  <a:pt x="2818274" y="4105346"/>
                </a:moveTo>
                <a:cubicBezTo>
                  <a:pt x="2756680" y="4182338"/>
                  <a:pt x="2723959" y="4380591"/>
                  <a:pt x="2750906" y="4465282"/>
                </a:cubicBezTo>
                <a:cubicBezTo>
                  <a:pt x="2795176" y="4478755"/>
                  <a:pt x="2793253" y="4421011"/>
                  <a:pt x="2804800" y="4382516"/>
                </a:cubicBezTo>
                <a:cubicBezTo>
                  <a:pt x="2822123" y="4388290"/>
                  <a:pt x="2822123" y="4436410"/>
                  <a:pt x="2854845" y="4446034"/>
                </a:cubicBezTo>
                <a:cubicBezTo>
                  <a:pt x="2785552" y="4752075"/>
                  <a:pt x="2910663" y="4967651"/>
                  <a:pt x="3030000" y="5165904"/>
                </a:cubicBezTo>
                <a:cubicBezTo>
                  <a:pt x="2951084" y="4965726"/>
                  <a:pt x="2833672" y="4759774"/>
                  <a:pt x="2852920" y="4482605"/>
                </a:cubicBezTo>
                <a:cubicBezTo>
                  <a:pt x="2864469" y="4474905"/>
                  <a:pt x="2856770" y="4509551"/>
                  <a:pt x="2877942" y="4505702"/>
                </a:cubicBezTo>
                <a:cubicBezTo>
                  <a:pt x="2879867" y="4752075"/>
                  <a:pt x="2941460" y="4959952"/>
                  <a:pt x="3066571" y="5129333"/>
                </a:cubicBezTo>
                <a:cubicBezTo>
                  <a:pt x="2987655" y="4936855"/>
                  <a:pt x="2868318" y="4730902"/>
                  <a:pt x="2904889" y="4486454"/>
                </a:cubicBezTo>
                <a:cubicBezTo>
                  <a:pt x="2931837" y="4355568"/>
                  <a:pt x="2820198" y="4297825"/>
                  <a:pt x="2808650" y="4184262"/>
                </a:cubicBezTo>
                <a:cubicBezTo>
                  <a:pt x="2810575" y="4151541"/>
                  <a:pt x="2839446" y="4122669"/>
                  <a:pt x="2818274" y="4105346"/>
                </a:cubicBezTo>
                <a:close/>
                <a:moveTo>
                  <a:pt x="4379276" y="4086098"/>
                </a:moveTo>
                <a:cubicBezTo>
                  <a:pt x="4375427" y="4093797"/>
                  <a:pt x="4371577" y="4103421"/>
                  <a:pt x="4371577" y="4111120"/>
                </a:cubicBezTo>
                <a:cubicBezTo>
                  <a:pt x="4371577" y="4114970"/>
                  <a:pt x="4379276" y="4130368"/>
                  <a:pt x="4379276" y="4138068"/>
                </a:cubicBezTo>
                <a:cubicBezTo>
                  <a:pt x="4458193" y="4216984"/>
                  <a:pt x="4540959" y="4293975"/>
                  <a:pt x="4621801" y="4372892"/>
                </a:cubicBezTo>
                <a:cubicBezTo>
                  <a:pt x="4614100" y="4357493"/>
                  <a:pt x="4606401" y="4340170"/>
                  <a:pt x="4600627" y="4322847"/>
                </a:cubicBezTo>
                <a:cubicBezTo>
                  <a:pt x="4567906" y="4292051"/>
                  <a:pt x="4537109" y="4267028"/>
                  <a:pt x="4514012" y="4228533"/>
                </a:cubicBezTo>
                <a:cubicBezTo>
                  <a:pt x="4504388" y="4220833"/>
                  <a:pt x="4496689" y="4211209"/>
                  <a:pt x="4487065" y="4201585"/>
                </a:cubicBezTo>
                <a:cubicBezTo>
                  <a:pt x="4485140" y="4201585"/>
                  <a:pt x="4483215" y="4203510"/>
                  <a:pt x="4481290" y="4207360"/>
                </a:cubicBezTo>
                <a:cubicBezTo>
                  <a:pt x="4477441" y="4199661"/>
                  <a:pt x="4475516" y="4193886"/>
                  <a:pt x="4471666" y="4186187"/>
                </a:cubicBezTo>
                <a:cubicBezTo>
                  <a:pt x="4450493" y="4163090"/>
                  <a:pt x="4427396" y="4138068"/>
                  <a:pt x="4406224" y="4114970"/>
                </a:cubicBezTo>
                <a:lnTo>
                  <a:pt x="4411998" y="4138068"/>
                </a:lnTo>
                <a:cubicBezTo>
                  <a:pt x="4406224" y="4130368"/>
                  <a:pt x="4400449" y="4118820"/>
                  <a:pt x="4396600" y="4105346"/>
                </a:cubicBezTo>
                <a:cubicBezTo>
                  <a:pt x="4390825" y="4099572"/>
                  <a:pt x="4385051" y="4091872"/>
                  <a:pt x="4379276" y="4086098"/>
                </a:cubicBezTo>
                <a:close/>
                <a:moveTo>
                  <a:pt x="1648003" y="4068776"/>
                </a:moveTo>
                <a:cubicBezTo>
                  <a:pt x="1640304" y="4072626"/>
                  <a:pt x="1628755" y="4074551"/>
                  <a:pt x="1619131" y="4074551"/>
                </a:cubicBezTo>
                <a:cubicBezTo>
                  <a:pt x="1624906" y="4076475"/>
                  <a:pt x="1628755" y="4080325"/>
                  <a:pt x="1634529" y="4082250"/>
                </a:cubicBezTo>
                <a:cubicBezTo>
                  <a:pt x="1634529" y="4080325"/>
                  <a:pt x="1634529" y="4080325"/>
                  <a:pt x="1636454" y="4078400"/>
                </a:cubicBezTo>
                <a:cubicBezTo>
                  <a:pt x="1651853" y="4076475"/>
                  <a:pt x="1655702" y="4084175"/>
                  <a:pt x="1653777" y="4091874"/>
                </a:cubicBezTo>
                <a:cubicBezTo>
                  <a:pt x="1663401" y="4097648"/>
                  <a:pt x="1674950" y="4103423"/>
                  <a:pt x="1686499" y="4107272"/>
                </a:cubicBezTo>
                <a:cubicBezTo>
                  <a:pt x="1692273" y="4103423"/>
                  <a:pt x="1699972" y="4099573"/>
                  <a:pt x="1709596" y="4097648"/>
                </a:cubicBezTo>
                <a:cubicBezTo>
                  <a:pt x="1688424" y="4089949"/>
                  <a:pt x="1667251" y="4078400"/>
                  <a:pt x="1648003" y="4068776"/>
                </a:cubicBezTo>
                <a:close/>
                <a:moveTo>
                  <a:pt x="1295767" y="4066851"/>
                </a:moveTo>
                <a:cubicBezTo>
                  <a:pt x="1270745" y="4089949"/>
                  <a:pt x="1247647" y="4111122"/>
                  <a:pt x="1224550" y="4134219"/>
                </a:cubicBezTo>
                <a:cubicBezTo>
                  <a:pt x="1116762" y="4197737"/>
                  <a:pt x="1010898" y="4232383"/>
                  <a:pt x="881938" y="4259330"/>
                </a:cubicBezTo>
                <a:cubicBezTo>
                  <a:pt x="874238" y="4259330"/>
                  <a:pt x="858840" y="4261255"/>
                  <a:pt x="854991" y="4278578"/>
                </a:cubicBezTo>
                <a:cubicBezTo>
                  <a:pt x="1022447" y="4265105"/>
                  <a:pt x="1166806" y="4190038"/>
                  <a:pt x="1288068" y="4105347"/>
                </a:cubicBezTo>
                <a:cubicBezTo>
                  <a:pt x="1286143" y="4093799"/>
                  <a:pt x="1284218" y="4086099"/>
                  <a:pt x="1284218" y="4080325"/>
                </a:cubicBezTo>
                <a:cubicBezTo>
                  <a:pt x="1288068" y="4076475"/>
                  <a:pt x="1291917" y="4072626"/>
                  <a:pt x="1295767" y="4066851"/>
                </a:cubicBezTo>
                <a:close/>
                <a:moveTo>
                  <a:pt x="4852775" y="4064926"/>
                </a:moveTo>
                <a:cubicBezTo>
                  <a:pt x="4852775" y="4066850"/>
                  <a:pt x="4852775" y="4070700"/>
                  <a:pt x="4852775" y="4072625"/>
                </a:cubicBezTo>
                <a:cubicBezTo>
                  <a:pt x="4854700" y="4074549"/>
                  <a:pt x="4856625" y="4076474"/>
                  <a:pt x="4858550" y="4078399"/>
                </a:cubicBezTo>
                <a:cubicBezTo>
                  <a:pt x="4856625" y="4074549"/>
                  <a:pt x="4854700" y="4068775"/>
                  <a:pt x="4852775" y="4064926"/>
                </a:cubicBezTo>
                <a:close/>
                <a:moveTo>
                  <a:pt x="2958783" y="4043753"/>
                </a:moveTo>
                <a:cubicBezTo>
                  <a:pt x="2960708" y="4074550"/>
                  <a:pt x="2985731" y="4107271"/>
                  <a:pt x="2981883" y="4130368"/>
                </a:cubicBezTo>
                <a:cubicBezTo>
                  <a:pt x="2974184" y="4103421"/>
                  <a:pt x="2947235" y="4068775"/>
                  <a:pt x="2958783" y="4043753"/>
                </a:cubicBezTo>
                <a:close/>
                <a:moveTo>
                  <a:pt x="1592184" y="4039904"/>
                </a:moveTo>
                <a:cubicBezTo>
                  <a:pt x="1590259" y="4045678"/>
                  <a:pt x="1586410" y="4051452"/>
                  <a:pt x="1584485" y="4055302"/>
                </a:cubicBezTo>
                <a:cubicBezTo>
                  <a:pt x="1588335" y="4059151"/>
                  <a:pt x="1594109" y="4061077"/>
                  <a:pt x="1597959" y="4063002"/>
                </a:cubicBezTo>
                <a:cubicBezTo>
                  <a:pt x="1603733" y="4057226"/>
                  <a:pt x="1607583" y="4053377"/>
                  <a:pt x="1613357" y="4049527"/>
                </a:cubicBezTo>
                <a:cubicBezTo>
                  <a:pt x="1607583" y="4047603"/>
                  <a:pt x="1599883" y="4043753"/>
                  <a:pt x="1592184" y="4039904"/>
                </a:cubicBezTo>
                <a:close/>
                <a:moveTo>
                  <a:pt x="1353511" y="4020897"/>
                </a:moveTo>
                <a:cubicBezTo>
                  <a:pt x="1351105" y="4019694"/>
                  <a:pt x="1348699" y="4019694"/>
                  <a:pt x="1343887" y="4022581"/>
                </a:cubicBezTo>
                <a:cubicBezTo>
                  <a:pt x="1340037" y="4024505"/>
                  <a:pt x="1338112" y="4028355"/>
                  <a:pt x="1334263" y="4030280"/>
                </a:cubicBezTo>
                <a:cubicBezTo>
                  <a:pt x="1324639" y="4055302"/>
                  <a:pt x="1313090" y="4078400"/>
                  <a:pt x="1299616" y="4095723"/>
                </a:cubicBezTo>
                <a:cubicBezTo>
                  <a:pt x="1307316" y="4089949"/>
                  <a:pt x="1315015" y="4084175"/>
                  <a:pt x="1322714" y="4078400"/>
                </a:cubicBezTo>
                <a:cubicBezTo>
                  <a:pt x="1318864" y="4088024"/>
                  <a:pt x="1328488" y="4099573"/>
                  <a:pt x="1322714" y="4113047"/>
                </a:cubicBezTo>
                <a:cubicBezTo>
                  <a:pt x="1232249" y="4199662"/>
                  <a:pt x="1085965" y="4228534"/>
                  <a:pt x="983951" y="4278578"/>
                </a:cubicBezTo>
                <a:cubicBezTo>
                  <a:pt x="1105213" y="4263180"/>
                  <a:pt x="1230324" y="4184264"/>
                  <a:pt x="1318864" y="4143843"/>
                </a:cubicBezTo>
                <a:cubicBezTo>
                  <a:pt x="1326563" y="4114971"/>
                  <a:pt x="1341962" y="4082250"/>
                  <a:pt x="1355435" y="4055302"/>
                </a:cubicBezTo>
                <a:cubicBezTo>
                  <a:pt x="1357360" y="4061077"/>
                  <a:pt x="1361210" y="4066851"/>
                  <a:pt x="1363134" y="4074551"/>
                </a:cubicBezTo>
                <a:cubicBezTo>
                  <a:pt x="1368909" y="4070701"/>
                  <a:pt x="1374683" y="4068776"/>
                  <a:pt x="1380458" y="4066851"/>
                </a:cubicBezTo>
                <a:cubicBezTo>
                  <a:pt x="1374683" y="4053377"/>
                  <a:pt x="1366984" y="4039904"/>
                  <a:pt x="1363134" y="4026430"/>
                </a:cubicBezTo>
                <a:cubicBezTo>
                  <a:pt x="1358322" y="4024506"/>
                  <a:pt x="1355917" y="4022100"/>
                  <a:pt x="1353511" y="4020897"/>
                </a:cubicBezTo>
                <a:close/>
                <a:moveTo>
                  <a:pt x="1490170" y="4009107"/>
                </a:moveTo>
                <a:cubicBezTo>
                  <a:pt x="1492095" y="4012957"/>
                  <a:pt x="1494020" y="4016806"/>
                  <a:pt x="1495945" y="4020656"/>
                </a:cubicBezTo>
                <a:cubicBezTo>
                  <a:pt x="1509418" y="4022581"/>
                  <a:pt x="1522892" y="4026430"/>
                  <a:pt x="1536365" y="4032204"/>
                </a:cubicBezTo>
                <a:cubicBezTo>
                  <a:pt x="1538290" y="4028355"/>
                  <a:pt x="1542140" y="4024505"/>
                  <a:pt x="1544065" y="4020656"/>
                </a:cubicBezTo>
                <a:cubicBezTo>
                  <a:pt x="1538290" y="4018731"/>
                  <a:pt x="1534441" y="4018731"/>
                  <a:pt x="1528666" y="4016806"/>
                </a:cubicBezTo>
                <a:cubicBezTo>
                  <a:pt x="1524817" y="4020656"/>
                  <a:pt x="1520968" y="4024505"/>
                  <a:pt x="1515194" y="4024505"/>
                </a:cubicBezTo>
                <a:cubicBezTo>
                  <a:pt x="1511343" y="4022581"/>
                  <a:pt x="1509418" y="4016806"/>
                  <a:pt x="1507495" y="4012957"/>
                </a:cubicBezTo>
                <a:cubicBezTo>
                  <a:pt x="1501719" y="4011032"/>
                  <a:pt x="1495945" y="4011032"/>
                  <a:pt x="1490170" y="4009107"/>
                </a:cubicBezTo>
                <a:close/>
                <a:moveTo>
                  <a:pt x="1330413" y="3993709"/>
                </a:moveTo>
                <a:cubicBezTo>
                  <a:pt x="1326563" y="3995633"/>
                  <a:pt x="1324639" y="3999483"/>
                  <a:pt x="1320789" y="4003333"/>
                </a:cubicBezTo>
                <a:cubicBezTo>
                  <a:pt x="1326563" y="4003333"/>
                  <a:pt x="1332338" y="4001408"/>
                  <a:pt x="1338112" y="3999483"/>
                </a:cubicBezTo>
                <a:cubicBezTo>
                  <a:pt x="1334263" y="3997558"/>
                  <a:pt x="1332338" y="3995633"/>
                  <a:pt x="1330413" y="3993709"/>
                </a:cubicBezTo>
                <a:close/>
                <a:moveTo>
                  <a:pt x="3882681" y="3993708"/>
                </a:moveTo>
                <a:cubicBezTo>
                  <a:pt x="3842261" y="4009107"/>
                  <a:pt x="3799916" y="4020655"/>
                  <a:pt x="3767194" y="4045678"/>
                </a:cubicBezTo>
                <a:cubicBezTo>
                  <a:pt x="3809539" y="4036054"/>
                  <a:pt x="3859584" y="4036054"/>
                  <a:pt x="3882681" y="3993708"/>
                </a:cubicBezTo>
                <a:close/>
                <a:moveTo>
                  <a:pt x="3876907" y="3953288"/>
                </a:moveTo>
                <a:cubicBezTo>
                  <a:pt x="3811464" y="3986009"/>
                  <a:pt x="3746021" y="4022580"/>
                  <a:pt x="3672879" y="4041828"/>
                </a:cubicBezTo>
                <a:cubicBezTo>
                  <a:pt x="3744097" y="4041828"/>
                  <a:pt x="3830712" y="4012956"/>
                  <a:pt x="3876907" y="3953288"/>
                </a:cubicBezTo>
                <a:close/>
                <a:moveTo>
                  <a:pt x="910809" y="3951363"/>
                </a:moveTo>
                <a:cubicBezTo>
                  <a:pt x="851141" y="3995633"/>
                  <a:pt x="737579" y="3951363"/>
                  <a:pt x="699083" y="4028355"/>
                </a:cubicBezTo>
                <a:cubicBezTo>
                  <a:pt x="758751" y="3987934"/>
                  <a:pt x="880013" y="4018731"/>
                  <a:pt x="910809" y="3951363"/>
                </a:cubicBezTo>
                <a:close/>
                <a:moveTo>
                  <a:pt x="4265714" y="3949438"/>
                </a:moveTo>
                <a:cubicBezTo>
                  <a:pt x="4258015" y="3962912"/>
                  <a:pt x="4248391" y="3978310"/>
                  <a:pt x="4242617" y="3991784"/>
                </a:cubicBezTo>
                <a:cubicBezTo>
                  <a:pt x="4283037" y="4036054"/>
                  <a:pt x="4323458" y="4080324"/>
                  <a:pt x="4365803" y="4122669"/>
                </a:cubicBezTo>
                <a:cubicBezTo>
                  <a:pt x="4363878" y="4120744"/>
                  <a:pt x="4363878" y="4118820"/>
                  <a:pt x="4363878" y="4116895"/>
                </a:cubicBezTo>
                <a:cubicBezTo>
                  <a:pt x="4358104" y="4099572"/>
                  <a:pt x="4358104" y="4080324"/>
                  <a:pt x="4358104" y="4061076"/>
                </a:cubicBezTo>
                <a:cubicBezTo>
                  <a:pt x="4327307" y="4024505"/>
                  <a:pt x="4294586" y="3987934"/>
                  <a:pt x="4265714" y="3949438"/>
                </a:cubicBezTo>
                <a:close/>
                <a:moveTo>
                  <a:pt x="4291218" y="3916145"/>
                </a:moveTo>
                <a:cubicBezTo>
                  <a:pt x="4289052" y="3916356"/>
                  <a:pt x="4286887" y="3917679"/>
                  <a:pt x="4284962" y="3920566"/>
                </a:cubicBezTo>
                <a:cubicBezTo>
                  <a:pt x="4283037" y="3920566"/>
                  <a:pt x="4283037" y="3922491"/>
                  <a:pt x="4283037" y="3922491"/>
                </a:cubicBezTo>
                <a:cubicBezTo>
                  <a:pt x="4309984" y="3949438"/>
                  <a:pt x="4336931" y="3976385"/>
                  <a:pt x="4363878" y="4005257"/>
                </a:cubicBezTo>
                <a:cubicBezTo>
                  <a:pt x="4361953" y="3997558"/>
                  <a:pt x="4354254" y="3980235"/>
                  <a:pt x="4352329" y="3974461"/>
                </a:cubicBezTo>
                <a:cubicBezTo>
                  <a:pt x="4356179" y="3974461"/>
                  <a:pt x="4367728" y="3976385"/>
                  <a:pt x="4365803" y="3986009"/>
                </a:cubicBezTo>
                <a:cubicBezTo>
                  <a:pt x="4363878" y="3997558"/>
                  <a:pt x="4367728" y="4007182"/>
                  <a:pt x="4373502" y="4016806"/>
                </a:cubicBezTo>
                <a:cubicBezTo>
                  <a:pt x="4390825" y="4036054"/>
                  <a:pt x="4408148" y="4053377"/>
                  <a:pt x="4427396" y="4070700"/>
                </a:cubicBezTo>
                <a:cubicBezTo>
                  <a:pt x="4417772" y="4049527"/>
                  <a:pt x="4410073" y="4026430"/>
                  <a:pt x="4400449" y="4003332"/>
                </a:cubicBezTo>
                <a:cubicBezTo>
                  <a:pt x="4375427" y="3978310"/>
                  <a:pt x="4350405" y="3953288"/>
                  <a:pt x="4325382" y="3928265"/>
                </a:cubicBezTo>
                <a:lnTo>
                  <a:pt x="4304210" y="3932115"/>
                </a:lnTo>
                <a:cubicBezTo>
                  <a:pt x="4304210" y="3924897"/>
                  <a:pt x="4297714" y="3915514"/>
                  <a:pt x="4291218" y="3916145"/>
                </a:cubicBezTo>
                <a:close/>
                <a:moveTo>
                  <a:pt x="1311165" y="3914792"/>
                </a:moveTo>
                <a:cubicBezTo>
                  <a:pt x="1311165" y="3920567"/>
                  <a:pt x="1311165" y="3924416"/>
                  <a:pt x="1309240" y="3928266"/>
                </a:cubicBezTo>
                <a:cubicBezTo>
                  <a:pt x="1274594" y="4047603"/>
                  <a:pt x="1093664" y="4088024"/>
                  <a:pt x="991650" y="4093799"/>
                </a:cubicBezTo>
                <a:cubicBezTo>
                  <a:pt x="976252" y="4093799"/>
                  <a:pt x="926208" y="4099573"/>
                  <a:pt x="922358" y="4101498"/>
                </a:cubicBezTo>
                <a:cubicBezTo>
                  <a:pt x="878088" y="4099573"/>
                  <a:pt x="829968" y="4070701"/>
                  <a:pt x="795322" y="4084175"/>
                </a:cubicBezTo>
                <a:cubicBezTo>
                  <a:pt x="964703" y="4157317"/>
                  <a:pt x="1213001" y="4107272"/>
                  <a:pt x="1299616" y="3984085"/>
                </a:cubicBezTo>
                <a:cubicBezTo>
                  <a:pt x="1299616" y="3978310"/>
                  <a:pt x="1301541" y="3974461"/>
                  <a:pt x="1301541" y="3970611"/>
                </a:cubicBezTo>
                <a:cubicBezTo>
                  <a:pt x="1303466" y="3972536"/>
                  <a:pt x="1303466" y="3972536"/>
                  <a:pt x="1305391" y="3974461"/>
                </a:cubicBezTo>
                <a:cubicBezTo>
                  <a:pt x="1309240" y="3968686"/>
                  <a:pt x="1313090" y="3960987"/>
                  <a:pt x="1316940" y="3953288"/>
                </a:cubicBezTo>
                <a:cubicBezTo>
                  <a:pt x="1311165" y="3941739"/>
                  <a:pt x="1315015" y="3926341"/>
                  <a:pt x="1311165" y="3914792"/>
                </a:cubicBezTo>
                <a:close/>
                <a:moveTo>
                  <a:pt x="3880757" y="3907093"/>
                </a:moveTo>
                <a:cubicBezTo>
                  <a:pt x="3784517" y="3970611"/>
                  <a:pt x="3670955" y="4003332"/>
                  <a:pt x="3561242" y="4041828"/>
                </a:cubicBezTo>
                <a:cubicBezTo>
                  <a:pt x="3688278" y="4030279"/>
                  <a:pt x="3803765" y="3997558"/>
                  <a:pt x="3880757" y="3907093"/>
                </a:cubicBezTo>
                <a:close/>
                <a:moveTo>
                  <a:pt x="1372758" y="3895544"/>
                </a:moveTo>
                <a:cubicBezTo>
                  <a:pt x="1366984" y="3903243"/>
                  <a:pt x="1361210" y="3909018"/>
                  <a:pt x="1357360" y="3916717"/>
                </a:cubicBezTo>
                <a:cubicBezTo>
                  <a:pt x="1363134" y="3916717"/>
                  <a:pt x="1368909" y="3914792"/>
                  <a:pt x="1374683" y="3910943"/>
                </a:cubicBezTo>
                <a:cubicBezTo>
                  <a:pt x="1372758" y="3907093"/>
                  <a:pt x="1372758" y="3901319"/>
                  <a:pt x="1372758" y="3895544"/>
                </a:cubicBezTo>
                <a:close/>
                <a:moveTo>
                  <a:pt x="1272671" y="3889771"/>
                </a:moveTo>
                <a:cubicBezTo>
                  <a:pt x="1268821" y="3897470"/>
                  <a:pt x="1274595" y="3920568"/>
                  <a:pt x="1259196" y="3912868"/>
                </a:cubicBezTo>
                <a:cubicBezTo>
                  <a:pt x="1261122" y="3901320"/>
                  <a:pt x="1264971" y="3891696"/>
                  <a:pt x="1272671" y="3889771"/>
                </a:cubicBezTo>
                <a:close/>
                <a:moveTo>
                  <a:pt x="3676729" y="3876296"/>
                </a:moveTo>
                <a:cubicBezTo>
                  <a:pt x="3613211" y="3885920"/>
                  <a:pt x="3570866" y="3926341"/>
                  <a:pt x="3507348" y="3937889"/>
                </a:cubicBezTo>
                <a:cubicBezTo>
                  <a:pt x="3557392" y="3949438"/>
                  <a:pt x="3634384" y="3910943"/>
                  <a:pt x="3676729" y="3876296"/>
                </a:cubicBezTo>
                <a:close/>
                <a:moveTo>
                  <a:pt x="1203377" y="3874372"/>
                </a:moveTo>
                <a:cubicBezTo>
                  <a:pt x="1197603" y="3872447"/>
                  <a:pt x="1195678" y="3878221"/>
                  <a:pt x="1189904" y="3876297"/>
                </a:cubicBezTo>
                <a:cubicBezTo>
                  <a:pt x="1199528" y="3937890"/>
                  <a:pt x="1137934" y="3924416"/>
                  <a:pt x="1118686" y="3962912"/>
                </a:cubicBezTo>
                <a:cubicBezTo>
                  <a:pt x="1161032" y="3962912"/>
                  <a:pt x="1226475" y="3924416"/>
                  <a:pt x="1203377" y="3874372"/>
                </a:cubicBezTo>
                <a:close/>
                <a:moveTo>
                  <a:pt x="3751796" y="3866672"/>
                </a:moveTo>
                <a:cubicBezTo>
                  <a:pt x="3697902" y="3889770"/>
                  <a:pt x="3651707" y="3924416"/>
                  <a:pt x="3599737" y="3949438"/>
                </a:cubicBezTo>
                <a:cubicBezTo>
                  <a:pt x="3647857" y="3943664"/>
                  <a:pt x="3726774" y="3910943"/>
                  <a:pt x="3751796" y="3866672"/>
                </a:cubicBezTo>
                <a:close/>
                <a:moveTo>
                  <a:pt x="3809539" y="3857048"/>
                </a:moveTo>
                <a:cubicBezTo>
                  <a:pt x="3724849" y="3943664"/>
                  <a:pt x="3618985" y="3997558"/>
                  <a:pt x="3490025" y="4014881"/>
                </a:cubicBezTo>
                <a:cubicBezTo>
                  <a:pt x="3618985" y="4020655"/>
                  <a:pt x="3738322" y="3962912"/>
                  <a:pt x="3809539" y="3857048"/>
                </a:cubicBezTo>
                <a:close/>
                <a:moveTo>
                  <a:pt x="3624760" y="3855123"/>
                </a:moveTo>
                <a:cubicBezTo>
                  <a:pt x="3568941" y="3885920"/>
                  <a:pt x="3503498" y="3901319"/>
                  <a:pt x="3441905" y="3922491"/>
                </a:cubicBezTo>
                <a:cubicBezTo>
                  <a:pt x="3503498" y="3926341"/>
                  <a:pt x="3597813" y="3905168"/>
                  <a:pt x="3624760" y="3855123"/>
                </a:cubicBezTo>
                <a:close/>
                <a:moveTo>
                  <a:pt x="4323458" y="3847424"/>
                </a:moveTo>
                <a:cubicBezTo>
                  <a:pt x="4325382" y="3868597"/>
                  <a:pt x="4329232" y="3885920"/>
                  <a:pt x="4335006" y="3903243"/>
                </a:cubicBezTo>
                <a:cubicBezTo>
                  <a:pt x="4350405" y="3916717"/>
                  <a:pt x="4363878" y="3930190"/>
                  <a:pt x="4377352" y="3943664"/>
                </a:cubicBezTo>
                <a:cubicBezTo>
                  <a:pt x="4369652" y="3920566"/>
                  <a:pt x="4361953" y="3899394"/>
                  <a:pt x="4354254" y="3876296"/>
                </a:cubicBezTo>
                <a:cubicBezTo>
                  <a:pt x="4344630" y="3866672"/>
                  <a:pt x="4333082" y="3857048"/>
                  <a:pt x="4323458" y="3847424"/>
                </a:cubicBezTo>
                <a:close/>
                <a:moveTo>
                  <a:pt x="3553543" y="3843575"/>
                </a:moveTo>
                <a:cubicBezTo>
                  <a:pt x="3518896" y="3839725"/>
                  <a:pt x="3509272" y="3876296"/>
                  <a:pt x="3476551" y="3878221"/>
                </a:cubicBezTo>
                <a:cubicBezTo>
                  <a:pt x="3501573" y="3885920"/>
                  <a:pt x="3536219" y="3864747"/>
                  <a:pt x="3553543" y="3843575"/>
                </a:cubicBezTo>
                <a:close/>
                <a:moveTo>
                  <a:pt x="2956858" y="3801230"/>
                </a:moveTo>
                <a:cubicBezTo>
                  <a:pt x="2999203" y="3922491"/>
                  <a:pt x="3081969" y="4018731"/>
                  <a:pt x="3122390" y="4143842"/>
                </a:cubicBezTo>
                <a:cubicBezTo>
                  <a:pt x="3132014" y="4153466"/>
                  <a:pt x="3133939" y="4170789"/>
                  <a:pt x="3139714" y="4184263"/>
                </a:cubicBezTo>
                <a:cubicBezTo>
                  <a:pt x="3060796" y="4068775"/>
                  <a:pt x="2970331" y="3959062"/>
                  <a:pt x="2956858" y="3801230"/>
                </a:cubicBezTo>
                <a:close/>
                <a:moveTo>
                  <a:pt x="1008974" y="3785832"/>
                </a:moveTo>
                <a:cubicBezTo>
                  <a:pt x="953155" y="3835876"/>
                  <a:pt x="926208" y="3909018"/>
                  <a:pt x="853066" y="3928266"/>
                </a:cubicBezTo>
                <a:cubicBezTo>
                  <a:pt x="781849" y="3947514"/>
                  <a:pt x="681760" y="3916717"/>
                  <a:pt x="660587" y="4014881"/>
                </a:cubicBezTo>
                <a:cubicBezTo>
                  <a:pt x="689459" y="4020656"/>
                  <a:pt x="699083" y="3972536"/>
                  <a:pt x="729879" y="3959062"/>
                </a:cubicBezTo>
                <a:cubicBezTo>
                  <a:pt x="801096" y="3930191"/>
                  <a:pt x="868464" y="3960987"/>
                  <a:pt x="931982" y="3901319"/>
                </a:cubicBezTo>
                <a:cubicBezTo>
                  <a:pt x="957004" y="3878221"/>
                  <a:pt x="991650" y="3841650"/>
                  <a:pt x="1008974" y="3785832"/>
                </a:cubicBezTo>
                <a:close/>
                <a:moveTo>
                  <a:pt x="2899145" y="3755967"/>
                </a:moveTo>
                <a:cubicBezTo>
                  <a:pt x="2902483" y="3755636"/>
                  <a:pt x="2905852" y="3756478"/>
                  <a:pt x="2908739" y="3758884"/>
                </a:cubicBezTo>
                <a:cubicBezTo>
                  <a:pt x="2912588" y="3760809"/>
                  <a:pt x="2912588" y="3764659"/>
                  <a:pt x="2912588" y="3768508"/>
                </a:cubicBezTo>
                <a:cubicBezTo>
                  <a:pt x="2912588" y="3772359"/>
                  <a:pt x="2914513" y="3774283"/>
                  <a:pt x="2916438" y="3776208"/>
                </a:cubicBezTo>
                <a:cubicBezTo>
                  <a:pt x="2918364" y="3778133"/>
                  <a:pt x="2920287" y="3778133"/>
                  <a:pt x="2920287" y="3781983"/>
                </a:cubicBezTo>
                <a:cubicBezTo>
                  <a:pt x="2912588" y="3783907"/>
                  <a:pt x="2910663" y="3776208"/>
                  <a:pt x="2901039" y="3778133"/>
                </a:cubicBezTo>
                <a:cubicBezTo>
                  <a:pt x="2899115" y="3783907"/>
                  <a:pt x="2904889" y="3785832"/>
                  <a:pt x="2908739" y="3789682"/>
                </a:cubicBezTo>
                <a:cubicBezTo>
                  <a:pt x="2912588" y="3793531"/>
                  <a:pt x="2910663" y="3801231"/>
                  <a:pt x="2906814" y="3805080"/>
                </a:cubicBezTo>
                <a:cubicBezTo>
                  <a:pt x="2899115" y="3812779"/>
                  <a:pt x="2887567" y="3812779"/>
                  <a:pt x="2877942" y="3812779"/>
                </a:cubicBezTo>
                <a:cubicBezTo>
                  <a:pt x="2866394" y="3812779"/>
                  <a:pt x="2852920" y="3812779"/>
                  <a:pt x="2841371" y="3808930"/>
                </a:cubicBezTo>
                <a:cubicBezTo>
                  <a:pt x="2837523" y="3807005"/>
                  <a:pt x="2833672" y="3805080"/>
                  <a:pt x="2829822" y="3801231"/>
                </a:cubicBezTo>
                <a:cubicBezTo>
                  <a:pt x="2827898" y="3799306"/>
                  <a:pt x="2825973" y="3795456"/>
                  <a:pt x="2822123" y="3793531"/>
                </a:cubicBezTo>
                <a:cubicBezTo>
                  <a:pt x="2820198" y="3791607"/>
                  <a:pt x="2816349" y="3791607"/>
                  <a:pt x="2816349" y="3789682"/>
                </a:cubicBezTo>
                <a:cubicBezTo>
                  <a:pt x="2816349" y="3785832"/>
                  <a:pt x="2820198" y="3787757"/>
                  <a:pt x="2822123" y="3785832"/>
                </a:cubicBezTo>
                <a:cubicBezTo>
                  <a:pt x="2822123" y="3783907"/>
                  <a:pt x="2824048" y="3781983"/>
                  <a:pt x="2824048" y="3781983"/>
                </a:cubicBezTo>
                <a:cubicBezTo>
                  <a:pt x="2833672" y="3780058"/>
                  <a:pt x="2843297" y="3776208"/>
                  <a:pt x="2852920" y="3774283"/>
                </a:cubicBezTo>
                <a:cubicBezTo>
                  <a:pt x="2862544" y="3772359"/>
                  <a:pt x="2874093" y="3776208"/>
                  <a:pt x="2883716" y="3780058"/>
                </a:cubicBezTo>
                <a:cubicBezTo>
                  <a:pt x="2879386" y="3768509"/>
                  <a:pt x="2889130" y="3756960"/>
                  <a:pt x="2899145" y="3755967"/>
                </a:cubicBezTo>
                <a:close/>
                <a:moveTo>
                  <a:pt x="1828934" y="3751185"/>
                </a:moveTo>
                <a:cubicBezTo>
                  <a:pt x="1832784" y="3764659"/>
                  <a:pt x="1830859" y="3781983"/>
                  <a:pt x="1836633" y="3795456"/>
                </a:cubicBezTo>
                <a:cubicBezTo>
                  <a:pt x="1825083" y="3797381"/>
                  <a:pt x="1823159" y="3797381"/>
                  <a:pt x="1811610" y="3789682"/>
                </a:cubicBezTo>
                <a:cubicBezTo>
                  <a:pt x="1821234" y="3783907"/>
                  <a:pt x="1817384" y="3756959"/>
                  <a:pt x="1828934" y="3751185"/>
                </a:cubicBezTo>
                <a:close/>
                <a:moveTo>
                  <a:pt x="1773115" y="3741561"/>
                </a:moveTo>
                <a:cubicBezTo>
                  <a:pt x="1761565" y="3768508"/>
                  <a:pt x="1750016" y="3793530"/>
                  <a:pt x="1734618" y="3812778"/>
                </a:cubicBezTo>
                <a:cubicBezTo>
                  <a:pt x="1738468" y="3793530"/>
                  <a:pt x="1744242" y="3774282"/>
                  <a:pt x="1750016" y="3755034"/>
                </a:cubicBezTo>
                <a:cubicBezTo>
                  <a:pt x="1757715" y="3751185"/>
                  <a:pt x="1765415" y="3745410"/>
                  <a:pt x="1773115" y="3741561"/>
                </a:cubicBezTo>
                <a:close/>
                <a:moveTo>
                  <a:pt x="2764411" y="3732869"/>
                </a:moveTo>
                <a:cubicBezTo>
                  <a:pt x="2767748" y="3732538"/>
                  <a:pt x="2771117" y="3733380"/>
                  <a:pt x="2774004" y="3735786"/>
                </a:cubicBezTo>
                <a:cubicBezTo>
                  <a:pt x="2777853" y="3737711"/>
                  <a:pt x="2777853" y="3741561"/>
                  <a:pt x="2777853" y="3745410"/>
                </a:cubicBezTo>
                <a:cubicBezTo>
                  <a:pt x="2777853" y="3749261"/>
                  <a:pt x="2779778" y="3751185"/>
                  <a:pt x="2781703" y="3753110"/>
                </a:cubicBezTo>
                <a:cubicBezTo>
                  <a:pt x="2783628" y="3755035"/>
                  <a:pt x="2785552" y="3755035"/>
                  <a:pt x="2785552" y="3758884"/>
                </a:cubicBezTo>
                <a:cubicBezTo>
                  <a:pt x="2777853" y="3758884"/>
                  <a:pt x="2775928" y="3751185"/>
                  <a:pt x="2766304" y="3755035"/>
                </a:cubicBezTo>
                <a:cubicBezTo>
                  <a:pt x="2764380" y="3760809"/>
                  <a:pt x="2770154" y="3762734"/>
                  <a:pt x="2774004" y="3766584"/>
                </a:cubicBezTo>
                <a:cubicBezTo>
                  <a:pt x="2777853" y="3770433"/>
                  <a:pt x="2775928" y="3778132"/>
                  <a:pt x="2772079" y="3781982"/>
                </a:cubicBezTo>
                <a:cubicBezTo>
                  <a:pt x="2764380" y="3789681"/>
                  <a:pt x="2752831" y="3789681"/>
                  <a:pt x="2743207" y="3789681"/>
                </a:cubicBezTo>
                <a:cubicBezTo>
                  <a:pt x="2731659" y="3789681"/>
                  <a:pt x="2718185" y="3789681"/>
                  <a:pt x="2706636" y="3785832"/>
                </a:cubicBezTo>
                <a:cubicBezTo>
                  <a:pt x="2702787" y="3783907"/>
                  <a:pt x="2698937" y="3781982"/>
                  <a:pt x="2695087" y="3778132"/>
                </a:cubicBezTo>
                <a:cubicBezTo>
                  <a:pt x="2693163" y="3776208"/>
                  <a:pt x="2691238" y="3772358"/>
                  <a:pt x="2687389" y="3770433"/>
                </a:cubicBezTo>
                <a:cubicBezTo>
                  <a:pt x="2685463" y="3768508"/>
                  <a:pt x="2681615" y="3768508"/>
                  <a:pt x="2681615" y="3766584"/>
                </a:cubicBezTo>
                <a:cubicBezTo>
                  <a:pt x="2681615" y="3762734"/>
                  <a:pt x="2685463" y="3764659"/>
                  <a:pt x="2687389" y="3762734"/>
                </a:cubicBezTo>
                <a:cubicBezTo>
                  <a:pt x="2687389" y="3760809"/>
                  <a:pt x="2689313" y="3758884"/>
                  <a:pt x="2689313" y="3758884"/>
                </a:cubicBezTo>
                <a:cubicBezTo>
                  <a:pt x="2698937" y="3756960"/>
                  <a:pt x="2708561" y="3753110"/>
                  <a:pt x="2718185" y="3751185"/>
                </a:cubicBezTo>
                <a:cubicBezTo>
                  <a:pt x="2727809" y="3749261"/>
                  <a:pt x="2739358" y="3753110"/>
                  <a:pt x="2748981" y="3756960"/>
                </a:cubicBezTo>
                <a:cubicBezTo>
                  <a:pt x="2744650" y="3745411"/>
                  <a:pt x="2754395" y="3733862"/>
                  <a:pt x="2764411" y="3732869"/>
                </a:cubicBezTo>
                <a:close/>
                <a:moveTo>
                  <a:pt x="1803910" y="3703065"/>
                </a:moveTo>
                <a:cubicBezTo>
                  <a:pt x="1803910" y="3706914"/>
                  <a:pt x="1803910" y="3712689"/>
                  <a:pt x="1805835" y="3718463"/>
                </a:cubicBezTo>
                <a:cubicBezTo>
                  <a:pt x="1811609" y="3718463"/>
                  <a:pt x="1817385" y="3716538"/>
                  <a:pt x="1821234" y="3714614"/>
                </a:cubicBezTo>
                <a:cubicBezTo>
                  <a:pt x="1811609" y="3733862"/>
                  <a:pt x="1800060" y="3753110"/>
                  <a:pt x="1790437" y="3772357"/>
                </a:cubicBezTo>
                <a:cubicBezTo>
                  <a:pt x="1784662" y="3747335"/>
                  <a:pt x="1792361" y="3724238"/>
                  <a:pt x="1803910" y="3703065"/>
                </a:cubicBezTo>
                <a:close/>
                <a:moveTo>
                  <a:pt x="3611286" y="3701140"/>
                </a:moveTo>
                <a:cubicBezTo>
                  <a:pt x="3530445" y="3726163"/>
                  <a:pt x="3503498" y="3835876"/>
                  <a:pt x="3430356" y="3872447"/>
                </a:cubicBezTo>
                <a:cubicBezTo>
                  <a:pt x="3516971" y="3858973"/>
                  <a:pt x="3555467" y="3741561"/>
                  <a:pt x="3611286" y="3701140"/>
                </a:cubicBezTo>
                <a:close/>
                <a:moveTo>
                  <a:pt x="1657627" y="3695366"/>
                </a:moveTo>
                <a:cubicBezTo>
                  <a:pt x="1657627" y="3704991"/>
                  <a:pt x="1676876" y="3703066"/>
                  <a:pt x="1678800" y="3712690"/>
                </a:cubicBezTo>
                <a:cubicBezTo>
                  <a:pt x="1663401" y="3712690"/>
                  <a:pt x="1655701" y="3722314"/>
                  <a:pt x="1653777" y="3735787"/>
                </a:cubicBezTo>
                <a:cubicBezTo>
                  <a:pt x="1646077" y="3735787"/>
                  <a:pt x="1640303" y="3733863"/>
                  <a:pt x="1632604" y="3731938"/>
                </a:cubicBezTo>
                <a:cubicBezTo>
                  <a:pt x="1644153" y="3718464"/>
                  <a:pt x="1646077" y="3695366"/>
                  <a:pt x="1657627" y="3695366"/>
                </a:cubicBezTo>
                <a:close/>
                <a:moveTo>
                  <a:pt x="2883746" y="3692449"/>
                </a:moveTo>
                <a:cubicBezTo>
                  <a:pt x="2887084" y="3692118"/>
                  <a:pt x="2890454" y="3692960"/>
                  <a:pt x="2893341" y="3695366"/>
                </a:cubicBezTo>
                <a:cubicBezTo>
                  <a:pt x="2897189" y="3697291"/>
                  <a:pt x="2897189" y="3701140"/>
                  <a:pt x="2897189" y="3704990"/>
                </a:cubicBezTo>
                <a:cubicBezTo>
                  <a:pt x="2897189" y="3708841"/>
                  <a:pt x="2899114" y="3710765"/>
                  <a:pt x="2901039" y="3712690"/>
                </a:cubicBezTo>
                <a:cubicBezTo>
                  <a:pt x="2902964" y="3714615"/>
                  <a:pt x="2904889" y="3714615"/>
                  <a:pt x="2904889" y="3718465"/>
                </a:cubicBezTo>
                <a:cubicBezTo>
                  <a:pt x="2897189" y="3720389"/>
                  <a:pt x="2893341" y="3710765"/>
                  <a:pt x="2885641" y="3714615"/>
                </a:cubicBezTo>
                <a:cubicBezTo>
                  <a:pt x="2885641" y="3720389"/>
                  <a:pt x="2889490" y="3722314"/>
                  <a:pt x="2893341" y="3726164"/>
                </a:cubicBezTo>
                <a:cubicBezTo>
                  <a:pt x="2897189" y="3730013"/>
                  <a:pt x="2895265" y="3737712"/>
                  <a:pt x="2891415" y="3741562"/>
                </a:cubicBezTo>
                <a:cubicBezTo>
                  <a:pt x="2883716" y="3749261"/>
                  <a:pt x="2872167" y="3749261"/>
                  <a:pt x="2862544" y="3749261"/>
                </a:cubicBezTo>
                <a:cubicBezTo>
                  <a:pt x="2850995" y="3749261"/>
                  <a:pt x="2837521" y="3749261"/>
                  <a:pt x="2825972" y="3745411"/>
                </a:cubicBezTo>
                <a:cubicBezTo>
                  <a:pt x="2822123" y="3743487"/>
                  <a:pt x="2818274" y="3741562"/>
                  <a:pt x="2814423" y="3737712"/>
                </a:cubicBezTo>
                <a:cubicBezTo>
                  <a:pt x="2812500" y="3735787"/>
                  <a:pt x="2810574" y="3731938"/>
                  <a:pt x="2806724" y="3730013"/>
                </a:cubicBezTo>
                <a:cubicBezTo>
                  <a:pt x="2804799" y="3728088"/>
                  <a:pt x="2800950" y="3728088"/>
                  <a:pt x="2800950" y="3726164"/>
                </a:cubicBezTo>
                <a:cubicBezTo>
                  <a:pt x="2800950" y="3722314"/>
                  <a:pt x="2804799" y="3724239"/>
                  <a:pt x="2806724" y="3722314"/>
                </a:cubicBezTo>
                <a:cubicBezTo>
                  <a:pt x="2806724" y="3720389"/>
                  <a:pt x="2808649" y="3718465"/>
                  <a:pt x="2808649" y="3718465"/>
                </a:cubicBezTo>
                <a:cubicBezTo>
                  <a:pt x="2818274" y="3716540"/>
                  <a:pt x="2827897" y="3712690"/>
                  <a:pt x="2837521" y="3710765"/>
                </a:cubicBezTo>
                <a:cubicBezTo>
                  <a:pt x="2847145" y="3708841"/>
                  <a:pt x="2858694" y="3712690"/>
                  <a:pt x="2868318" y="3716540"/>
                </a:cubicBezTo>
                <a:cubicBezTo>
                  <a:pt x="2863986" y="3704990"/>
                  <a:pt x="2873731" y="3693441"/>
                  <a:pt x="2883746" y="3692449"/>
                </a:cubicBezTo>
                <a:close/>
                <a:moveTo>
                  <a:pt x="1622981" y="3679968"/>
                </a:moveTo>
                <a:cubicBezTo>
                  <a:pt x="1632606" y="3679968"/>
                  <a:pt x="1638380" y="3683817"/>
                  <a:pt x="1642230" y="3689592"/>
                </a:cubicBezTo>
                <a:cubicBezTo>
                  <a:pt x="1636455" y="3693441"/>
                  <a:pt x="1626830" y="3733863"/>
                  <a:pt x="1603733" y="3728089"/>
                </a:cubicBezTo>
                <a:cubicBezTo>
                  <a:pt x="1603733" y="3703066"/>
                  <a:pt x="1617206" y="3695367"/>
                  <a:pt x="1622981" y="3679968"/>
                </a:cubicBezTo>
                <a:close/>
                <a:moveTo>
                  <a:pt x="1776964" y="3676118"/>
                </a:moveTo>
                <a:cubicBezTo>
                  <a:pt x="1778888" y="3687667"/>
                  <a:pt x="1784663" y="3697291"/>
                  <a:pt x="1788514" y="3706915"/>
                </a:cubicBezTo>
                <a:cubicBezTo>
                  <a:pt x="1786587" y="3708840"/>
                  <a:pt x="1786587" y="3712690"/>
                  <a:pt x="1784663" y="3714615"/>
                </a:cubicBezTo>
                <a:cubicBezTo>
                  <a:pt x="1778888" y="3704991"/>
                  <a:pt x="1775039" y="3693442"/>
                  <a:pt x="1773114" y="3685743"/>
                </a:cubicBezTo>
                <a:cubicBezTo>
                  <a:pt x="1775039" y="3681892"/>
                  <a:pt x="1775039" y="3679967"/>
                  <a:pt x="1776964" y="3676118"/>
                </a:cubicBezTo>
                <a:close/>
                <a:moveTo>
                  <a:pt x="2691237" y="3668419"/>
                </a:moveTo>
                <a:cubicBezTo>
                  <a:pt x="2693162" y="3670344"/>
                  <a:pt x="2695087" y="3674193"/>
                  <a:pt x="2697012" y="3678043"/>
                </a:cubicBezTo>
                <a:cubicBezTo>
                  <a:pt x="2698936" y="3679968"/>
                  <a:pt x="2700862" y="3681892"/>
                  <a:pt x="2702786" y="3683817"/>
                </a:cubicBezTo>
                <a:cubicBezTo>
                  <a:pt x="2704711" y="3685742"/>
                  <a:pt x="2708560" y="3683817"/>
                  <a:pt x="2708560" y="3687667"/>
                </a:cubicBezTo>
                <a:cubicBezTo>
                  <a:pt x="2700862" y="3691516"/>
                  <a:pt x="2695087" y="3683817"/>
                  <a:pt x="2689313" y="3689591"/>
                </a:cubicBezTo>
                <a:cubicBezTo>
                  <a:pt x="2691237" y="3693441"/>
                  <a:pt x="2697012" y="3695366"/>
                  <a:pt x="2700862" y="3697291"/>
                </a:cubicBezTo>
                <a:cubicBezTo>
                  <a:pt x="2706636" y="3701140"/>
                  <a:pt x="2706636" y="3706914"/>
                  <a:pt x="2704711" y="3712689"/>
                </a:cubicBezTo>
                <a:cubicBezTo>
                  <a:pt x="2700862" y="3722313"/>
                  <a:pt x="2689313" y="3726162"/>
                  <a:pt x="2679689" y="3728087"/>
                </a:cubicBezTo>
                <a:cubicBezTo>
                  <a:pt x="2668140" y="3731937"/>
                  <a:pt x="2656592" y="3735786"/>
                  <a:pt x="2643118" y="3735786"/>
                </a:cubicBezTo>
                <a:cubicBezTo>
                  <a:pt x="2639268" y="3735786"/>
                  <a:pt x="2633494" y="3733862"/>
                  <a:pt x="2629644" y="3731937"/>
                </a:cubicBezTo>
                <a:cubicBezTo>
                  <a:pt x="2625795" y="3730012"/>
                  <a:pt x="2623870" y="3726162"/>
                  <a:pt x="2620020" y="3726162"/>
                </a:cubicBezTo>
                <a:cubicBezTo>
                  <a:pt x="2618095" y="3726162"/>
                  <a:pt x="2614246" y="3726162"/>
                  <a:pt x="2614246" y="3724238"/>
                </a:cubicBezTo>
                <a:cubicBezTo>
                  <a:pt x="2614246" y="3722313"/>
                  <a:pt x="2616171" y="3722313"/>
                  <a:pt x="2618095" y="3720388"/>
                </a:cubicBezTo>
                <a:cubicBezTo>
                  <a:pt x="2618095" y="3718463"/>
                  <a:pt x="2618095" y="3716538"/>
                  <a:pt x="2618095" y="3716538"/>
                </a:cubicBezTo>
                <a:cubicBezTo>
                  <a:pt x="2625795" y="3710764"/>
                  <a:pt x="2633494" y="3703065"/>
                  <a:pt x="2643118" y="3699215"/>
                </a:cubicBezTo>
                <a:cubicBezTo>
                  <a:pt x="2652742" y="3695366"/>
                  <a:pt x="2664291" y="3695366"/>
                  <a:pt x="2673914" y="3695366"/>
                </a:cubicBezTo>
                <a:cubicBezTo>
                  <a:pt x="2664291" y="3683817"/>
                  <a:pt x="2677764" y="3662644"/>
                  <a:pt x="2691237" y="3668419"/>
                </a:cubicBezTo>
                <a:close/>
                <a:moveTo>
                  <a:pt x="3576640" y="3664570"/>
                </a:moveTo>
                <a:cubicBezTo>
                  <a:pt x="3547768" y="3712689"/>
                  <a:pt x="3497724" y="3728088"/>
                  <a:pt x="3478476" y="3793530"/>
                </a:cubicBezTo>
                <a:cubicBezTo>
                  <a:pt x="3511197" y="3753110"/>
                  <a:pt x="3572791" y="3730012"/>
                  <a:pt x="3576640" y="3664570"/>
                </a:cubicBezTo>
                <a:close/>
                <a:moveTo>
                  <a:pt x="3530445" y="3662645"/>
                </a:moveTo>
                <a:cubicBezTo>
                  <a:pt x="3484250" y="3701140"/>
                  <a:pt x="3449604" y="3791606"/>
                  <a:pt x="3428431" y="3851274"/>
                </a:cubicBezTo>
                <a:cubicBezTo>
                  <a:pt x="3472702" y="3805079"/>
                  <a:pt x="3497724" y="3728088"/>
                  <a:pt x="3530445" y="3662645"/>
                </a:cubicBezTo>
                <a:close/>
                <a:moveTo>
                  <a:pt x="1705176" y="3659607"/>
                </a:moveTo>
                <a:cubicBezTo>
                  <a:pt x="1707794" y="3658675"/>
                  <a:pt x="1711041" y="3658795"/>
                  <a:pt x="1715372" y="3660720"/>
                </a:cubicBezTo>
                <a:cubicBezTo>
                  <a:pt x="1721146" y="3674194"/>
                  <a:pt x="1719221" y="3679969"/>
                  <a:pt x="1709596" y="3689592"/>
                </a:cubicBezTo>
                <a:cubicBezTo>
                  <a:pt x="1698048" y="3687668"/>
                  <a:pt x="1690348" y="3683818"/>
                  <a:pt x="1686499" y="3676119"/>
                </a:cubicBezTo>
                <a:cubicBezTo>
                  <a:pt x="1695161" y="3674675"/>
                  <a:pt x="1697326" y="3662404"/>
                  <a:pt x="1705176" y="3659607"/>
                </a:cubicBezTo>
                <a:close/>
                <a:moveTo>
                  <a:pt x="2197981" y="3657863"/>
                </a:moveTo>
                <a:cubicBezTo>
                  <a:pt x="2216176" y="3661683"/>
                  <a:pt x="2233138" y="3676600"/>
                  <a:pt x="2244688" y="3706915"/>
                </a:cubicBezTo>
                <a:cubicBezTo>
                  <a:pt x="2196567" y="3730013"/>
                  <a:pt x="2152297" y="3762735"/>
                  <a:pt x="2113801" y="3807005"/>
                </a:cubicBezTo>
                <a:cubicBezTo>
                  <a:pt x="2077712" y="3734825"/>
                  <a:pt x="2143394" y="3646404"/>
                  <a:pt x="2197981" y="3657863"/>
                </a:cubicBezTo>
                <a:close/>
                <a:moveTo>
                  <a:pt x="2096479" y="3649171"/>
                </a:moveTo>
                <a:cubicBezTo>
                  <a:pt x="2092628" y="3654945"/>
                  <a:pt x="2086854" y="3658796"/>
                  <a:pt x="2083004" y="3662645"/>
                </a:cubicBezTo>
                <a:cubicBezTo>
                  <a:pt x="2092628" y="3670345"/>
                  <a:pt x="2086854" y="3703066"/>
                  <a:pt x="2067606" y="3693442"/>
                </a:cubicBezTo>
                <a:cubicBezTo>
                  <a:pt x="2073380" y="3679969"/>
                  <a:pt x="2079155" y="3666495"/>
                  <a:pt x="2084929" y="3654945"/>
                </a:cubicBezTo>
                <a:cubicBezTo>
                  <a:pt x="2088780" y="3653020"/>
                  <a:pt x="2092628" y="3651096"/>
                  <a:pt x="2096479" y="3649171"/>
                </a:cubicBezTo>
                <a:close/>
                <a:moveTo>
                  <a:pt x="1973291" y="3637624"/>
                </a:moveTo>
                <a:cubicBezTo>
                  <a:pt x="1971367" y="3641473"/>
                  <a:pt x="1969443" y="3643398"/>
                  <a:pt x="1971367" y="3645323"/>
                </a:cubicBezTo>
                <a:cubicBezTo>
                  <a:pt x="1982916" y="3647248"/>
                  <a:pt x="1990615" y="3645323"/>
                  <a:pt x="2000239" y="3645323"/>
                </a:cubicBezTo>
                <a:cubicBezTo>
                  <a:pt x="1986765" y="3647248"/>
                  <a:pt x="1977141" y="3654947"/>
                  <a:pt x="1965592" y="3660721"/>
                </a:cubicBezTo>
                <a:cubicBezTo>
                  <a:pt x="1961743" y="3658796"/>
                  <a:pt x="1959818" y="3654947"/>
                  <a:pt x="1959818" y="3651097"/>
                </a:cubicBezTo>
                <a:cubicBezTo>
                  <a:pt x="1963667" y="3647248"/>
                  <a:pt x="1969443" y="3641473"/>
                  <a:pt x="1973291" y="3637624"/>
                </a:cubicBezTo>
                <a:close/>
                <a:moveTo>
                  <a:pt x="1915548" y="3637623"/>
                </a:moveTo>
                <a:cubicBezTo>
                  <a:pt x="1894376" y="3664570"/>
                  <a:pt x="1871278" y="3691517"/>
                  <a:pt x="1846256" y="3718464"/>
                </a:cubicBezTo>
                <a:cubicBezTo>
                  <a:pt x="1842406" y="3720389"/>
                  <a:pt x="1838556" y="3722313"/>
                  <a:pt x="1834707" y="3724238"/>
                </a:cubicBezTo>
                <a:cubicBezTo>
                  <a:pt x="1842406" y="3706915"/>
                  <a:pt x="1852031" y="3691517"/>
                  <a:pt x="1861654" y="3678043"/>
                </a:cubicBezTo>
                <a:cubicBezTo>
                  <a:pt x="1863579" y="3678043"/>
                  <a:pt x="1863579" y="3679968"/>
                  <a:pt x="1865503" y="3681893"/>
                </a:cubicBezTo>
                <a:cubicBezTo>
                  <a:pt x="1880902" y="3668419"/>
                  <a:pt x="1898225" y="3651096"/>
                  <a:pt x="1915548" y="3637623"/>
                </a:cubicBezTo>
                <a:close/>
                <a:moveTo>
                  <a:pt x="3490025" y="3627999"/>
                </a:moveTo>
                <a:cubicBezTo>
                  <a:pt x="3466927" y="3656871"/>
                  <a:pt x="3455378" y="3704990"/>
                  <a:pt x="3418808" y="3710764"/>
                </a:cubicBezTo>
                <a:cubicBezTo>
                  <a:pt x="3409184" y="3760809"/>
                  <a:pt x="3397635" y="3807004"/>
                  <a:pt x="3374538" y="3833951"/>
                </a:cubicBezTo>
                <a:cubicBezTo>
                  <a:pt x="3347590" y="3812778"/>
                  <a:pt x="3349515" y="3751185"/>
                  <a:pt x="3297546" y="3756959"/>
                </a:cubicBezTo>
                <a:cubicBezTo>
                  <a:pt x="3330268" y="3781982"/>
                  <a:pt x="3341816" y="3822402"/>
                  <a:pt x="3366838" y="3853199"/>
                </a:cubicBezTo>
                <a:cubicBezTo>
                  <a:pt x="3424582" y="3839725"/>
                  <a:pt x="3407259" y="3774282"/>
                  <a:pt x="3434206" y="3722313"/>
                </a:cubicBezTo>
                <a:cubicBezTo>
                  <a:pt x="3449604" y="3695366"/>
                  <a:pt x="3499649" y="3678043"/>
                  <a:pt x="3490025" y="3627999"/>
                </a:cubicBezTo>
                <a:close/>
                <a:moveTo>
                  <a:pt x="1694199" y="3626074"/>
                </a:moveTo>
                <a:cubicBezTo>
                  <a:pt x="1705748" y="3649172"/>
                  <a:pt x="1680724" y="3656872"/>
                  <a:pt x="1667251" y="3672270"/>
                </a:cubicBezTo>
                <a:cubicBezTo>
                  <a:pt x="1659552" y="3668420"/>
                  <a:pt x="1649928" y="3666496"/>
                  <a:pt x="1648003" y="3658796"/>
                </a:cubicBezTo>
                <a:cubicBezTo>
                  <a:pt x="1669176" y="3656872"/>
                  <a:pt x="1671100" y="3626074"/>
                  <a:pt x="1694199" y="3626074"/>
                </a:cubicBezTo>
                <a:close/>
                <a:moveTo>
                  <a:pt x="1798136" y="3602976"/>
                </a:moveTo>
                <a:cubicBezTo>
                  <a:pt x="1801985" y="3602976"/>
                  <a:pt x="1803910" y="3602976"/>
                  <a:pt x="1805835" y="3604901"/>
                </a:cubicBezTo>
                <a:cubicBezTo>
                  <a:pt x="1769264" y="3660720"/>
                  <a:pt x="1740392" y="3728088"/>
                  <a:pt x="1711520" y="3799305"/>
                </a:cubicBezTo>
                <a:cubicBezTo>
                  <a:pt x="1688424" y="3785832"/>
                  <a:pt x="1690348" y="3755035"/>
                  <a:pt x="1669175" y="3741562"/>
                </a:cubicBezTo>
                <a:cubicBezTo>
                  <a:pt x="1673024" y="3728088"/>
                  <a:pt x="1684573" y="3728088"/>
                  <a:pt x="1684573" y="3710765"/>
                </a:cubicBezTo>
                <a:cubicBezTo>
                  <a:pt x="1694197" y="3712690"/>
                  <a:pt x="1707671" y="3716539"/>
                  <a:pt x="1713445" y="3712690"/>
                </a:cubicBezTo>
                <a:cubicBezTo>
                  <a:pt x="1707671" y="3735787"/>
                  <a:pt x="1680724" y="3758885"/>
                  <a:pt x="1699971" y="3774283"/>
                </a:cubicBezTo>
                <a:cubicBezTo>
                  <a:pt x="1740392" y="3716539"/>
                  <a:pt x="1744242" y="3647246"/>
                  <a:pt x="1798136" y="3602976"/>
                </a:cubicBezTo>
                <a:close/>
                <a:moveTo>
                  <a:pt x="1892452" y="3601052"/>
                </a:moveTo>
                <a:cubicBezTo>
                  <a:pt x="1888602" y="3606826"/>
                  <a:pt x="1886678" y="3610676"/>
                  <a:pt x="1886678" y="3616450"/>
                </a:cubicBezTo>
                <a:cubicBezTo>
                  <a:pt x="1878979" y="3627999"/>
                  <a:pt x="1869354" y="3639548"/>
                  <a:pt x="1861654" y="3651097"/>
                </a:cubicBezTo>
                <a:cubicBezTo>
                  <a:pt x="1857805" y="3653021"/>
                  <a:pt x="1855880" y="3656871"/>
                  <a:pt x="1855880" y="3658796"/>
                </a:cubicBezTo>
                <a:cubicBezTo>
                  <a:pt x="1850106" y="3668419"/>
                  <a:pt x="1842407" y="3679968"/>
                  <a:pt x="1836632" y="3689592"/>
                </a:cubicBezTo>
                <a:cubicBezTo>
                  <a:pt x="1836632" y="3685743"/>
                  <a:pt x="1838558" y="3681893"/>
                  <a:pt x="1842407" y="3679968"/>
                </a:cubicBezTo>
                <a:cubicBezTo>
                  <a:pt x="1834707" y="3676119"/>
                  <a:pt x="1830858" y="3670344"/>
                  <a:pt x="1828933" y="3664570"/>
                </a:cubicBezTo>
                <a:cubicBezTo>
                  <a:pt x="1830858" y="3660720"/>
                  <a:pt x="1834707" y="3656871"/>
                  <a:pt x="1836632" y="3653021"/>
                </a:cubicBezTo>
                <a:cubicBezTo>
                  <a:pt x="1838558" y="3654946"/>
                  <a:pt x="1838558" y="3654946"/>
                  <a:pt x="1840482" y="3658796"/>
                </a:cubicBezTo>
                <a:cubicBezTo>
                  <a:pt x="1853955" y="3631849"/>
                  <a:pt x="1877054" y="3622225"/>
                  <a:pt x="1892452" y="3601052"/>
                </a:cubicBezTo>
                <a:close/>
                <a:moveTo>
                  <a:pt x="3372612" y="3597202"/>
                </a:moveTo>
                <a:cubicBezTo>
                  <a:pt x="3370688" y="3620300"/>
                  <a:pt x="3407260" y="3618376"/>
                  <a:pt x="3405335" y="3643398"/>
                </a:cubicBezTo>
                <a:cubicBezTo>
                  <a:pt x="3384161" y="3637624"/>
                  <a:pt x="3349515" y="3608752"/>
                  <a:pt x="3372612" y="3597202"/>
                </a:cubicBezTo>
                <a:close/>
                <a:moveTo>
                  <a:pt x="1929023" y="3597202"/>
                </a:moveTo>
                <a:cubicBezTo>
                  <a:pt x="1927098" y="3610676"/>
                  <a:pt x="1915548" y="3620300"/>
                  <a:pt x="1902075" y="3626075"/>
                </a:cubicBezTo>
                <a:cubicBezTo>
                  <a:pt x="1907849" y="3620300"/>
                  <a:pt x="1911699" y="3612601"/>
                  <a:pt x="1917474" y="3606827"/>
                </a:cubicBezTo>
                <a:cubicBezTo>
                  <a:pt x="1921324" y="3602976"/>
                  <a:pt x="1925173" y="3601051"/>
                  <a:pt x="1929023" y="3597202"/>
                </a:cubicBezTo>
                <a:close/>
                <a:moveTo>
                  <a:pt x="1755792" y="3583728"/>
                </a:moveTo>
                <a:cubicBezTo>
                  <a:pt x="1751943" y="3593352"/>
                  <a:pt x="1767341" y="3591427"/>
                  <a:pt x="1765416" y="3599126"/>
                </a:cubicBezTo>
                <a:cubicBezTo>
                  <a:pt x="1751943" y="3608750"/>
                  <a:pt x="1742318" y="3645321"/>
                  <a:pt x="1736543" y="3653020"/>
                </a:cubicBezTo>
                <a:cubicBezTo>
                  <a:pt x="1713447" y="3629923"/>
                  <a:pt x="1707673" y="3581803"/>
                  <a:pt x="1755792" y="3583728"/>
                </a:cubicBezTo>
                <a:close/>
                <a:moveTo>
                  <a:pt x="1990615" y="3574106"/>
                </a:moveTo>
                <a:cubicBezTo>
                  <a:pt x="1994466" y="3574106"/>
                  <a:pt x="1998314" y="3576031"/>
                  <a:pt x="2002165" y="3581805"/>
                </a:cubicBezTo>
                <a:cubicBezTo>
                  <a:pt x="1996390" y="3583730"/>
                  <a:pt x="1990615" y="3583730"/>
                  <a:pt x="1984841" y="3583730"/>
                </a:cubicBezTo>
                <a:cubicBezTo>
                  <a:pt x="1986766" y="3579880"/>
                  <a:pt x="1988690" y="3577955"/>
                  <a:pt x="1990615" y="3574106"/>
                </a:cubicBezTo>
                <a:close/>
                <a:moveTo>
                  <a:pt x="3374538" y="3562556"/>
                </a:moveTo>
                <a:cubicBezTo>
                  <a:pt x="3393785" y="3558706"/>
                  <a:pt x="3399559" y="3593353"/>
                  <a:pt x="3418808" y="3599128"/>
                </a:cubicBezTo>
                <a:cubicBezTo>
                  <a:pt x="3416883" y="3608752"/>
                  <a:pt x="3409184" y="3608752"/>
                  <a:pt x="3405334" y="3616451"/>
                </a:cubicBezTo>
                <a:cubicBezTo>
                  <a:pt x="3389935" y="3601052"/>
                  <a:pt x="3368762" y="3591428"/>
                  <a:pt x="3374538" y="3562556"/>
                </a:cubicBezTo>
                <a:close/>
                <a:moveTo>
                  <a:pt x="1990616" y="3541383"/>
                </a:moveTo>
                <a:cubicBezTo>
                  <a:pt x="1988692" y="3543308"/>
                  <a:pt x="1984842" y="3547157"/>
                  <a:pt x="1982918" y="3551008"/>
                </a:cubicBezTo>
                <a:cubicBezTo>
                  <a:pt x="1969443" y="3552932"/>
                  <a:pt x="1954044" y="3554857"/>
                  <a:pt x="1948270" y="3564481"/>
                </a:cubicBezTo>
                <a:cubicBezTo>
                  <a:pt x="1952119" y="3570256"/>
                  <a:pt x="1959819" y="3572180"/>
                  <a:pt x="1967518" y="3572180"/>
                </a:cubicBezTo>
                <a:cubicBezTo>
                  <a:pt x="1965593" y="3574105"/>
                  <a:pt x="1963669" y="3577955"/>
                  <a:pt x="1961743" y="3579880"/>
                </a:cubicBezTo>
                <a:cubicBezTo>
                  <a:pt x="1954044" y="3577955"/>
                  <a:pt x="1946345" y="3576030"/>
                  <a:pt x="1938646" y="3574105"/>
                </a:cubicBezTo>
                <a:cubicBezTo>
                  <a:pt x="1942495" y="3568331"/>
                  <a:pt x="1946345" y="3560632"/>
                  <a:pt x="1950195" y="3552932"/>
                </a:cubicBezTo>
                <a:cubicBezTo>
                  <a:pt x="1965593" y="3551008"/>
                  <a:pt x="1977142" y="3545232"/>
                  <a:pt x="1990616" y="3541383"/>
                </a:cubicBezTo>
                <a:close/>
                <a:moveTo>
                  <a:pt x="2011787" y="3537534"/>
                </a:moveTo>
                <a:cubicBezTo>
                  <a:pt x="2015637" y="3535609"/>
                  <a:pt x="2019487" y="3535609"/>
                  <a:pt x="2021412" y="3537534"/>
                </a:cubicBezTo>
                <a:cubicBezTo>
                  <a:pt x="2017562" y="3541384"/>
                  <a:pt x="2011787" y="3545234"/>
                  <a:pt x="2006013" y="3547158"/>
                </a:cubicBezTo>
                <a:cubicBezTo>
                  <a:pt x="2007939" y="3543309"/>
                  <a:pt x="2009862" y="3541384"/>
                  <a:pt x="2011787" y="3537534"/>
                </a:cubicBezTo>
                <a:close/>
                <a:moveTo>
                  <a:pt x="3430355" y="3493264"/>
                </a:moveTo>
                <a:cubicBezTo>
                  <a:pt x="3432280" y="3512513"/>
                  <a:pt x="3449604" y="3522137"/>
                  <a:pt x="3449604" y="3541385"/>
                </a:cubicBezTo>
                <a:cubicBezTo>
                  <a:pt x="3432280" y="3537535"/>
                  <a:pt x="3439979" y="3518287"/>
                  <a:pt x="3426506" y="3514437"/>
                </a:cubicBezTo>
                <a:cubicBezTo>
                  <a:pt x="3438055" y="3504812"/>
                  <a:pt x="3420731" y="3497113"/>
                  <a:pt x="3430355" y="3493264"/>
                </a:cubicBezTo>
                <a:close/>
                <a:moveTo>
                  <a:pt x="2138824" y="3481715"/>
                </a:moveTo>
                <a:cubicBezTo>
                  <a:pt x="2131124" y="3497113"/>
                  <a:pt x="2121500" y="3512512"/>
                  <a:pt x="2121500" y="3525985"/>
                </a:cubicBezTo>
                <a:cubicBezTo>
                  <a:pt x="2131124" y="3520211"/>
                  <a:pt x="2138824" y="3512512"/>
                  <a:pt x="2150372" y="3508662"/>
                </a:cubicBezTo>
                <a:cubicBezTo>
                  <a:pt x="2117651" y="3547158"/>
                  <a:pt x="2056058" y="3597203"/>
                  <a:pt x="2063757" y="3653022"/>
                </a:cubicBezTo>
                <a:cubicBezTo>
                  <a:pt x="2056058" y="3664571"/>
                  <a:pt x="2048358" y="3678044"/>
                  <a:pt x="2042584" y="3691518"/>
                </a:cubicBezTo>
                <a:cubicBezTo>
                  <a:pt x="2038736" y="3679969"/>
                  <a:pt x="2027186" y="3689593"/>
                  <a:pt x="2017562" y="3689593"/>
                </a:cubicBezTo>
                <a:cubicBezTo>
                  <a:pt x="2031035" y="3683819"/>
                  <a:pt x="2038736" y="3678044"/>
                  <a:pt x="2046434" y="3654947"/>
                </a:cubicBezTo>
                <a:cubicBezTo>
                  <a:pt x="2050283" y="3641473"/>
                  <a:pt x="2050283" y="3628000"/>
                  <a:pt x="2050283" y="3614526"/>
                </a:cubicBezTo>
                <a:cubicBezTo>
                  <a:pt x="2079155" y="3572181"/>
                  <a:pt x="2109952" y="3527910"/>
                  <a:pt x="2138824" y="3481715"/>
                </a:cubicBezTo>
                <a:close/>
                <a:moveTo>
                  <a:pt x="1855880" y="3481715"/>
                </a:moveTo>
                <a:cubicBezTo>
                  <a:pt x="1861654" y="3514436"/>
                  <a:pt x="1805835" y="3541383"/>
                  <a:pt x="1788512" y="3574105"/>
                </a:cubicBezTo>
                <a:cubicBezTo>
                  <a:pt x="1775039" y="3570255"/>
                  <a:pt x="1763491" y="3566405"/>
                  <a:pt x="1761565" y="3554857"/>
                </a:cubicBezTo>
                <a:cubicBezTo>
                  <a:pt x="1798136" y="3537534"/>
                  <a:pt x="1823158" y="3502888"/>
                  <a:pt x="1855880" y="3481715"/>
                </a:cubicBezTo>
                <a:close/>
                <a:moveTo>
                  <a:pt x="3351440" y="3479790"/>
                </a:moveTo>
                <a:cubicBezTo>
                  <a:pt x="3370688" y="3522135"/>
                  <a:pt x="3407259" y="3552932"/>
                  <a:pt x="3434206" y="3593353"/>
                </a:cubicBezTo>
                <a:cubicBezTo>
                  <a:pt x="3399560" y="3576029"/>
                  <a:pt x="3361065" y="3512512"/>
                  <a:pt x="3351440" y="3479790"/>
                </a:cubicBezTo>
                <a:close/>
                <a:moveTo>
                  <a:pt x="1977142" y="3472091"/>
                </a:moveTo>
                <a:cubicBezTo>
                  <a:pt x="1977142" y="3493264"/>
                  <a:pt x="1942495" y="3495188"/>
                  <a:pt x="1942495" y="3516361"/>
                </a:cubicBezTo>
                <a:cubicBezTo>
                  <a:pt x="1959819" y="3508662"/>
                  <a:pt x="1979067" y="3504812"/>
                  <a:pt x="1998315" y="3500963"/>
                </a:cubicBezTo>
                <a:cubicBezTo>
                  <a:pt x="1973293" y="3520211"/>
                  <a:pt x="1934796" y="3531759"/>
                  <a:pt x="1915548" y="3549082"/>
                </a:cubicBezTo>
                <a:cubicBezTo>
                  <a:pt x="1927098" y="3552932"/>
                  <a:pt x="1936721" y="3552932"/>
                  <a:pt x="1944420" y="3551007"/>
                </a:cubicBezTo>
                <a:cubicBezTo>
                  <a:pt x="1938646" y="3558706"/>
                  <a:pt x="1930946" y="3564481"/>
                  <a:pt x="1925172" y="3570255"/>
                </a:cubicBezTo>
                <a:cubicBezTo>
                  <a:pt x="1907849" y="3566405"/>
                  <a:pt x="1888602" y="3564481"/>
                  <a:pt x="1869353" y="3574105"/>
                </a:cubicBezTo>
                <a:cubicBezTo>
                  <a:pt x="1855880" y="3579879"/>
                  <a:pt x="1842406" y="3587578"/>
                  <a:pt x="1827008" y="3595277"/>
                </a:cubicBezTo>
                <a:cubicBezTo>
                  <a:pt x="1840482" y="3581804"/>
                  <a:pt x="1842406" y="3577954"/>
                  <a:pt x="1855880" y="3552932"/>
                </a:cubicBezTo>
                <a:cubicBezTo>
                  <a:pt x="1857805" y="3551007"/>
                  <a:pt x="1859729" y="3547158"/>
                  <a:pt x="1861654" y="3545233"/>
                </a:cubicBezTo>
                <a:cubicBezTo>
                  <a:pt x="1863579" y="3543308"/>
                  <a:pt x="1863579" y="3543308"/>
                  <a:pt x="1865504" y="3541383"/>
                </a:cubicBezTo>
                <a:cubicBezTo>
                  <a:pt x="1869353" y="3537534"/>
                  <a:pt x="1873203" y="3533684"/>
                  <a:pt x="1877052" y="3531759"/>
                </a:cubicBezTo>
                <a:cubicBezTo>
                  <a:pt x="1867428" y="3543308"/>
                  <a:pt x="1855880" y="3554857"/>
                  <a:pt x="1857805" y="3568330"/>
                </a:cubicBezTo>
                <a:cubicBezTo>
                  <a:pt x="1909774" y="3560631"/>
                  <a:pt x="1932872" y="3497113"/>
                  <a:pt x="1977142" y="3472091"/>
                </a:cubicBezTo>
                <a:close/>
                <a:moveTo>
                  <a:pt x="3613211" y="3460542"/>
                </a:moveTo>
                <a:cubicBezTo>
                  <a:pt x="3634384" y="3485564"/>
                  <a:pt x="3674805" y="3518286"/>
                  <a:pt x="3661332" y="3552932"/>
                </a:cubicBezTo>
                <a:cubicBezTo>
                  <a:pt x="3649782" y="3522135"/>
                  <a:pt x="3617061" y="3485564"/>
                  <a:pt x="3613211" y="3460542"/>
                </a:cubicBezTo>
                <a:close/>
                <a:moveTo>
                  <a:pt x="2029111" y="3454768"/>
                </a:moveTo>
                <a:cubicBezTo>
                  <a:pt x="2031035" y="3470166"/>
                  <a:pt x="2029111" y="3495188"/>
                  <a:pt x="2040659" y="3499038"/>
                </a:cubicBezTo>
                <a:cubicBezTo>
                  <a:pt x="2052208" y="3491339"/>
                  <a:pt x="2052208" y="3464392"/>
                  <a:pt x="2065683" y="3458617"/>
                </a:cubicBezTo>
                <a:cubicBezTo>
                  <a:pt x="2065683" y="3474016"/>
                  <a:pt x="2050283" y="3493264"/>
                  <a:pt x="2057983" y="3504812"/>
                </a:cubicBezTo>
                <a:cubicBezTo>
                  <a:pt x="2050283" y="3516361"/>
                  <a:pt x="2044510" y="3525985"/>
                  <a:pt x="2036810" y="3535609"/>
                </a:cubicBezTo>
                <a:cubicBezTo>
                  <a:pt x="2029111" y="3508662"/>
                  <a:pt x="2023336" y="3479790"/>
                  <a:pt x="2029111" y="3454768"/>
                </a:cubicBezTo>
                <a:close/>
                <a:moveTo>
                  <a:pt x="2223515" y="3450918"/>
                </a:moveTo>
                <a:cubicBezTo>
                  <a:pt x="2233138" y="3454768"/>
                  <a:pt x="2219665" y="3468241"/>
                  <a:pt x="2229289" y="3472091"/>
                </a:cubicBezTo>
                <a:cubicBezTo>
                  <a:pt x="2235063" y="3466316"/>
                  <a:pt x="2240838" y="3460542"/>
                  <a:pt x="2246612" y="3456692"/>
                </a:cubicBezTo>
                <a:cubicBezTo>
                  <a:pt x="2242762" y="3462467"/>
                  <a:pt x="2240838" y="3468241"/>
                  <a:pt x="2236988" y="3474016"/>
                </a:cubicBezTo>
                <a:cubicBezTo>
                  <a:pt x="2208116" y="3504813"/>
                  <a:pt x="2165771" y="3529835"/>
                  <a:pt x="2167696" y="3572181"/>
                </a:cubicBezTo>
                <a:cubicBezTo>
                  <a:pt x="2161921" y="3579880"/>
                  <a:pt x="2154222" y="3587579"/>
                  <a:pt x="2148448" y="3595278"/>
                </a:cubicBezTo>
                <a:cubicBezTo>
                  <a:pt x="2158073" y="3574106"/>
                  <a:pt x="2165771" y="3549083"/>
                  <a:pt x="2171545" y="3525986"/>
                </a:cubicBezTo>
                <a:cubicBezTo>
                  <a:pt x="2183094" y="3510587"/>
                  <a:pt x="2192718" y="3495188"/>
                  <a:pt x="2202342" y="3479790"/>
                </a:cubicBezTo>
                <a:cubicBezTo>
                  <a:pt x="2210041" y="3470166"/>
                  <a:pt x="2217740" y="3462467"/>
                  <a:pt x="2223515" y="3450918"/>
                </a:cubicBezTo>
                <a:close/>
                <a:moveTo>
                  <a:pt x="2292808" y="3441294"/>
                </a:moveTo>
                <a:cubicBezTo>
                  <a:pt x="2290883" y="3448993"/>
                  <a:pt x="2288958" y="3458617"/>
                  <a:pt x="2285109" y="3468241"/>
                </a:cubicBezTo>
                <a:cubicBezTo>
                  <a:pt x="2273560" y="3479790"/>
                  <a:pt x="2263937" y="3495188"/>
                  <a:pt x="2258161" y="3516362"/>
                </a:cubicBezTo>
                <a:cubicBezTo>
                  <a:pt x="2262010" y="3514437"/>
                  <a:pt x="2265861" y="3514437"/>
                  <a:pt x="2269711" y="3512512"/>
                </a:cubicBezTo>
                <a:cubicBezTo>
                  <a:pt x="2254311" y="3551008"/>
                  <a:pt x="2236988" y="3587579"/>
                  <a:pt x="2213891" y="3618376"/>
                </a:cubicBezTo>
                <a:cubicBezTo>
                  <a:pt x="2186944" y="3606827"/>
                  <a:pt x="2161921" y="3628000"/>
                  <a:pt x="2148448" y="3620300"/>
                </a:cubicBezTo>
                <a:cubicBezTo>
                  <a:pt x="2165771" y="3602977"/>
                  <a:pt x="2183094" y="3583729"/>
                  <a:pt x="2200418" y="3562557"/>
                </a:cubicBezTo>
                <a:cubicBezTo>
                  <a:pt x="2235063" y="3535610"/>
                  <a:pt x="2263937" y="3497113"/>
                  <a:pt x="2285109" y="3443219"/>
                </a:cubicBezTo>
                <a:cubicBezTo>
                  <a:pt x="2287034" y="3441294"/>
                  <a:pt x="2290883" y="3441294"/>
                  <a:pt x="2292808" y="3441294"/>
                </a:cubicBezTo>
                <a:close/>
                <a:moveTo>
                  <a:pt x="2113801" y="3437445"/>
                </a:moveTo>
                <a:cubicBezTo>
                  <a:pt x="2111876" y="3452843"/>
                  <a:pt x="2109951" y="3470166"/>
                  <a:pt x="2113801" y="3483640"/>
                </a:cubicBezTo>
                <a:cubicBezTo>
                  <a:pt x="2092628" y="3516362"/>
                  <a:pt x="2069531" y="3551009"/>
                  <a:pt x="2048358" y="3583730"/>
                </a:cubicBezTo>
                <a:cubicBezTo>
                  <a:pt x="2046433" y="3576031"/>
                  <a:pt x="2044510" y="3568332"/>
                  <a:pt x="2042584" y="3560633"/>
                </a:cubicBezTo>
                <a:cubicBezTo>
                  <a:pt x="2069531" y="3524061"/>
                  <a:pt x="2094554" y="3483640"/>
                  <a:pt x="2113801" y="3437445"/>
                </a:cubicBezTo>
                <a:close/>
                <a:moveTo>
                  <a:pt x="3336041" y="3425896"/>
                </a:moveTo>
                <a:cubicBezTo>
                  <a:pt x="3364913" y="3475940"/>
                  <a:pt x="3436130" y="3516362"/>
                  <a:pt x="3432280" y="3576030"/>
                </a:cubicBezTo>
                <a:cubicBezTo>
                  <a:pt x="3413032" y="3522136"/>
                  <a:pt x="3339890" y="3466316"/>
                  <a:pt x="3336041" y="3425896"/>
                </a:cubicBezTo>
                <a:close/>
                <a:moveTo>
                  <a:pt x="3178209" y="3423971"/>
                </a:moveTo>
                <a:cubicBezTo>
                  <a:pt x="3180134" y="3433595"/>
                  <a:pt x="3178209" y="3445144"/>
                  <a:pt x="3180134" y="3454768"/>
                </a:cubicBezTo>
                <a:cubicBezTo>
                  <a:pt x="3168586" y="3458617"/>
                  <a:pt x="3149337" y="3448993"/>
                  <a:pt x="3147412" y="3468241"/>
                </a:cubicBezTo>
                <a:cubicBezTo>
                  <a:pt x="3164735" y="3497113"/>
                  <a:pt x="3209005" y="3479790"/>
                  <a:pt x="3218630" y="3458617"/>
                </a:cubicBezTo>
                <a:cubicBezTo>
                  <a:pt x="3222479" y="3472091"/>
                  <a:pt x="3235952" y="3481715"/>
                  <a:pt x="3239802" y="3497113"/>
                </a:cubicBezTo>
                <a:cubicBezTo>
                  <a:pt x="3210930" y="3516361"/>
                  <a:pt x="3149337" y="3462467"/>
                  <a:pt x="3112766" y="3487489"/>
                </a:cubicBezTo>
                <a:cubicBezTo>
                  <a:pt x="3130089" y="3458617"/>
                  <a:pt x="3153187" y="3441294"/>
                  <a:pt x="3178209" y="3423971"/>
                </a:cubicBezTo>
                <a:close/>
                <a:moveTo>
                  <a:pt x="3305245" y="3416272"/>
                </a:moveTo>
                <a:cubicBezTo>
                  <a:pt x="3312944" y="3431671"/>
                  <a:pt x="3336042" y="3454769"/>
                  <a:pt x="3332193" y="3466317"/>
                </a:cubicBezTo>
                <a:cubicBezTo>
                  <a:pt x="3324494" y="3450919"/>
                  <a:pt x="3299471" y="3429745"/>
                  <a:pt x="3305245" y="3416272"/>
                </a:cubicBezTo>
                <a:close/>
                <a:moveTo>
                  <a:pt x="2175395" y="3412422"/>
                </a:moveTo>
                <a:cubicBezTo>
                  <a:pt x="2179244" y="3420121"/>
                  <a:pt x="2181168" y="3427820"/>
                  <a:pt x="2194644" y="3427820"/>
                </a:cubicBezTo>
                <a:cubicBezTo>
                  <a:pt x="2185019" y="3445144"/>
                  <a:pt x="2185019" y="3458617"/>
                  <a:pt x="2185019" y="3470166"/>
                </a:cubicBezTo>
                <a:cubicBezTo>
                  <a:pt x="2183094" y="3474015"/>
                  <a:pt x="2179244" y="3477865"/>
                  <a:pt x="2177319" y="3481714"/>
                </a:cubicBezTo>
                <a:cubicBezTo>
                  <a:pt x="2177319" y="3477865"/>
                  <a:pt x="2177319" y="3475940"/>
                  <a:pt x="2177319" y="3474015"/>
                </a:cubicBezTo>
                <a:cubicBezTo>
                  <a:pt x="2177319" y="3456692"/>
                  <a:pt x="2173469" y="3439369"/>
                  <a:pt x="2167695" y="3425896"/>
                </a:cubicBezTo>
                <a:cubicBezTo>
                  <a:pt x="2171544" y="3422046"/>
                  <a:pt x="2173469" y="3418196"/>
                  <a:pt x="2175395" y="3412422"/>
                </a:cubicBezTo>
                <a:close/>
                <a:moveTo>
                  <a:pt x="2161922" y="3393175"/>
                </a:moveTo>
                <a:cubicBezTo>
                  <a:pt x="2161922" y="3393175"/>
                  <a:pt x="2163847" y="3395100"/>
                  <a:pt x="2163847" y="3395100"/>
                </a:cubicBezTo>
                <a:cubicBezTo>
                  <a:pt x="2163847" y="3395100"/>
                  <a:pt x="2161922" y="3397025"/>
                  <a:pt x="2161922" y="3398949"/>
                </a:cubicBezTo>
                <a:cubicBezTo>
                  <a:pt x="2161922" y="3397025"/>
                  <a:pt x="2161922" y="3395100"/>
                  <a:pt x="2161922" y="3393175"/>
                </a:cubicBezTo>
                <a:close/>
                <a:moveTo>
                  <a:pt x="3237877" y="3372002"/>
                </a:moveTo>
                <a:cubicBezTo>
                  <a:pt x="3259050" y="3404723"/>
                  <a:pt x="3268674" y="3443219"/>
                  <a:pt x="3297547" y="3472091"/>
                </a:cubicBezTo>
                <a:cubicBezTo>
                  <a:pt x="3262900" y="3450918"/>
                  <a:pt x="3234028" y="3406648"/>
                  <a:pt x="3237877" y="3372002"/>
                </a:cubicBezTo>
                <a:close/>
                <a:moveTo>
                  <a:pt x="3634384" y="3366227"/>
                </a:moveTo>
                <a:cubicBezTo>
                  <a:pt x="3644008" y="3373927"/>
                  <a:pt x="3670956" y="3387401"/>
                  <a:pt x="3651708" y="3400874"/>
                </a:cubicBezTo>
                <a:cubicBezTo>
                  <a:pt x="3647858" y="3391250"/>
                  <a:pt x="3626685" y="3372001"/>
                  <a:pt x="3634384" y="3366227"/>
                </a:cubicBezTo>
                <a:close/>
                <a:moveTo>
                  <a:pt x="3411108" y="3333506"/>
                </a:moveTo>
                <a:cubicBezTo>
                  <a:pt x="3478475" y="3414347"/>
                  <a:pt x="3551617" y="3491338"/>
                  <a:pt x="3609362" y="3579879"/>
                </a:cubicBezTo>
                <a:cubicBezTo>
                  <a:pt x="3513122" y="3552932"/>
                  <a:pt x="3532370" y="3452843"/>
                  <a:pt x="3466927" y="3406648"/>
                </a:cubicBezTo>
                <a:cubicBezTo>
                  <a:pt x="3451529" y="3410497"/>
                  <a:pt x="3474626" y="3422046"/>
                  <a:pt x="3465002" y="3422046"/>
                </a:cubicBezTo>
                <a:cubicBezTo>
                  <a:pt x="3453453" y="3391250"/>
                  <a:pt x="3413033" y="3358528"/>
                  <a:pt x="3411108" y="3333506"/>
                </a:cubicBezTo>
                <a:close/>
                <a:moveTo>
                  <a:pt x="3472701" y="3321957"/>
                </a:moveTo>
                <a:cubicBezTo>
                  <a:pt x="3516971" y="3364302"/>
                  <a:pt x="3576639" y="3414347"/>
                  <a:pt x="3588188" y="3464391"/>
                </a:cubicBezTo>
                <a:cubicBezTo>
                  <a:pt x="3553542" y="3412422"/>
                  <a:pt x="3509272" y="3370077"/>
                  <a:pt x="3472701" y="3321957"/>
                </a:cubicBezTo>
                <a:close/>
                <a:moveTo>
                  <a:pt x="3520821" y="3320033"/>
                </a:moveTo>
                <a:cubicBezTo>
                  <a:pt x="3532369" y="3323882"/>
                  <a:pt x="3557392" y="3321958"/>
                  <a:pt x="3561241" y="3333506"/>
                </a:cubicBezTo>
                <a:cubicBezTo>
                  <a:pt x="3563166" y="3379702"/>
                  <a:pt x="3634383" y="3429747"/>
                  <a:pt x="3657482" y="3462468"/>
                </a:cubicBezTo>
                <a:cubicBezTo>
                  <a:pt x="3640159" y="3429747"/>
                  <a:pt x="3682504" y="3477866"/>
                  <a:pt x="3659407" y="3489415"/>
                </a:cubicBezTo>
                <a:cubicBezTo>
                  <a:pt x="3615135" y="3431671"/>
                  <a:pt x="3567016" y="3375852"/>
                  <a:pt x="3520821" y="3320033"/>
                </a:cubicBezTo>
                <a:close/>
                <a:moveTo>
                  <a:pt x="3434206" y="3318108"/>
                </a:moveTo>
                <a:cubicBezTo>
                  <a:pt x="3530445" y="3397024"/>
                  <a:pt x="3590114" y="3500964"/>
                  <a:pt x="3665180" y="3593354"/>
                </a:cubicBezTo>
                <a:cubicBezTo>
                  <a:pt x="3657481" y="3614526"/>
                  <a:pt x="3670955" y="3622225"/>
                  <a:pt x="3667105" y="3641473"/>
                </a:cubicBezTo>
                <a:cubicBezTo>
                  <a:pt x="3638233" y="3639548"/>
                  <a:pt x="3640158" y="3616451"/>
                  <a:pt x="3644008" y="3593354"/>
                </a:cubicBezTo>
                <a:cubicBezTo>
                  <a:pt x="3576640" y="3500964"/>
                  <a:pt x="3516972" y="3400874"/>
                  <a:pt x="3434206" y="3318108"/>
                </a:cubicBezTo>
                <a:close/>
                <a:moveTo>
                  <a:pt x="1588334" y="3304634"/>
                </a:moveTo>
                <a:cubicBezTo>
                  <a:pt x="1594108" y="3306559"/>
                  <a:pt x="1599884" y="3306559"/>
                  <a:pt x="1605658" y="3308483"/>
                </a:cubicBezTo>
                <a:cubicBezTo>
                  <a:pt x="1597959" y="3325807"/>
                  <a:pt x="1582560" y="3327732"/>
                  <a:pt x="1569086" y="3335431"/>
                </a:cubicBezTo>
                <a:cubicBezTo>
                  <a:pt x="1572936" y="3321958"/>
                  <a:pt x="1580635" y="3314259"/>
                  <a:pt x="1588334" y="3304634"/>
                </a:cubicBezTo>
                <a:close/>
                <a:moveTo>
                  <a:pt x="1938646" y="3285386"/>
                </a:moveTo>
                <a:cubicBezTo>
                  <a:pt x="1932872" y="3318108"/>
                  <a:pt x="1921322" y="3337356"/>
                  <a:pt x="1896300" y="3341206"/>
                </a:cubicBezTo>
                <a:cubicBezTo>
                  <a:pt x="1909774" y="3321958"/>
                  <a:pt x="1925173" y="3306559"/>
                  <a:pt x="1938646" y="3285386"/>
                </a:cubicBezTo>
                <a:close/>
                <a:moveTo>
                  <a:pt x="1003199" y="3266139"/>
                </a:moveTo>
                <a:cubicBezTo>
                  <a:pt x="993575" y="3289236"/>
                  <a:pt x="972403" y="3296935"/>
                  <a:pt x="964703" y="3321958"/>
                </a:cubicBezTo>
                <a:cubicBezTo>
                  <a:pt x="983951" y="3321958"/>
                  <a:pt x="987801" y="3296935"/>
                  <a:pt x="1008974" y="3296935"/>
                </a:cubicBezTo>
                <a:cubicBezTo>
                  <a:pt x="1016673" y="3339281"/>
                  <a:pt x="949305" y="3343130"/>
                  <a:pt x="939681" y="3393175"/>
                </a:cubicBezTo>
                <a:cubicBezTo>
                  <a:pt x="995500" y="3364303"/>
                  <a:pt x="1045545" y="3325807"/>
                  <a:pt x="1089815" y="3279612"/>
                </a:cubicBezTo>
                <a:cubicBezTo>
                  <a:pt x="1084040" y="3329657"/>
                  <a:pt x="1033996" y="3352754"/>
                  <a:pt x="1005124" y="3385476"/>
                </a:cubicBezTo>
                <a:cubicBezTo>
                  <a:pt x="1041695" y="3377777"/>
                  <a:pt x="1072492" y="3356604"/>
                  <a:pt x="1099439" y="3333506"/>
                </a:cubicBezTo>
                <a:cubicBezTo>
                  <a:pt x="1074416" y="3379701"/>
                  <a:pt x="1007049" y="3387401"/>
                  <a:pt x="997425" y="3439370"/>
                </a:cubicBezTo>
                <a:cubicBezTo>
                  <a:pt x="1045545" y="3429746"/>
                  <a:pt x="1080191" y="3346980"/>
                  <a:pt x="1122536" y="3364303"/>
                </a:cubicBezTo>
                <a:cubicBezTo>
                  <a:pt x="1103288" y="3406648"/>
                  <a:pt x="1030146" y="3439370"/>
                  <a:pt x="1010898" y="3481715"/>
                </a:cubicBezTo>
                <a:cubicBezTo>
                  <a:pt x="1060943" y="3443219"/>
                  <a:pt x="1126386" y="3425896"/>
                  <a:pt x="1161032" y="3364303"/>
                </a:cubicBezTo>
                <a:cubicBezTo>
                  <a:pt x="1172580" y="3368153"/>
                  <a:pt x="1189904" y="3354679"/>
                  <a:pt x="1195678" y="3368153"/>
                </a:cubicBezTo>
                <a:cubicBezTo>
                  <a:pt x="1128310" y="3431670"/>
                  <a:pt x="1043620" y="3472091"/>
                  <a:pt x="974327" y="3533684"/>
                </a:cubicBezTo>
                <a:cubicBezTo>
                  <a:pt x="1097514" y="3481715"/>
                  <a:pt x="1213001" y="3385476"/>
                  <a:pt x="1318864" y="3321958"/>
                </a:cubicBezTo>
                <a:cubicBezTo>
                  <a:pt x="1259196" y="3377777"/>
                  <a:pt x="1203377" y="3443219"/>
                  <a:pt x="1136010" y="3483640"/>
                </a:cubicBezTo>
                <a:cubicBezTo>
                  <a:pt x="1114837" y="3497113"/>
                  <a:pt x="1076341" y="3495189"/>
                  <a:pt x="1078266" y="3531760"/>
                </a:cubicBezTo>
                <a:cubicBezTo>
                  <a:pt x="1176430" y="3483640"/>
                  <a:pt x="1261121" y="3418197"/>
                  <a:pt x="1343887" y="3348905"/>
                </a:cubicBezTo>
                <a:cubicBezTo>
                  <a:pt x="1322714" y="3404724"/>
                  <a:pt x="1236099" y="3435520"/>
                  <a:pt x="1216851" y="3497113"/>
                </a:cubicBezTo>
                <a:cubicBezTo>
                  <a:pt x="1280369" y="3466317"/>
                  <a:pt x="1316940" y="3391250"/>
                  <a:pt x="1393931" y="3377777"/>
                </a:cubicBezTo>
                <a:cubicBezTo>
                  <a:pt x="1374683" y="3429746"/>
                  <a:pt x="1291917" y="3439370"/>
                  <a:pt x="1295767" y="3489414"/>
                </a:cubicBezTo>
                <a:cubicBezTo>
                  <a:pt x="1338112" y="3468242"/>
                  <a:pt x="1361210" y="3418197"/>
                  <a:pt x="1409329" y="3406648"/>
                </a:cubicBezTo>
                <a:cubicBezTo>
                  <a:pt x="1445900" y="3387401"/>
                  <a:pt x="1467073" y="3320033"/>
                  <a:pt x="1515194" y="3339281"/>
                </a:cubicBezTo>
                <a:cubicBezTo>
                  <a:pt x="1461299" y="3420122"/>
                  <a:pt x="1380458" y="3454768"/>
                  <a:pt x="1318864" y="3520211"/>
                </a:cubicBezTo>
                <a:cubicBezTo>
                  <a:pt x="1409329" y="3481715"/>
                  <a:pt x="1484396" y="3389325"/>
                  <a:pt x="1567162" y="3352754"/>
                </a:cubicBezTo>
                <a:cubicBezTo>
                  <a:pt x="1519042" y="3406648"/>
                  <a:pt x="1449750" y="3456693"/>
                  <a:pt x="1415104" y="3512512"/>
                </a:cubicBezTo>
                <a:cubicBezTo>
                  <a:pt x="1495945" y="3460542"/>
                  <a:pt x="1557539" y="3379701"/>
                  <a:pt x="1640304" y="3333506"/>
                </a:cubicBezTo>
                <a:cubicBezTo>
                  <a:pt x="1599883" y="3387401"/>
                  <a:pt x="1511343" y="3441294"/>
                  <a:pt x="1476697" y="3502888"/>
                </a:cubicBezTo>
                <a:cubicBezTo>
                  <a:pt x="1461299" y="3512512"/>
                  <a:pt x="1420878" y="3516361"/>
                  <a:pt x="1428577" y="3547158"/>
                </a:cubicBezTo>
                <a:cubicBezTo>
                  <a:pt x="1540215" y="3483640"/>
                  <a:pt x="1619131" y="3372002"/>
                  <a:pt x="1734619" y="3318108"/>
                </a:cubicBezTo>
                <a:cubicBezTo>
                  <a:pt x="1609507" y="3450918"/>
                  <a:pt x="1459374" y="3547158"/>
                  <a:pt x="1315015" y="3651096"/>
                </a:cubicBezTo>
                <a:cubicBezTo>
                  <a:pt x="1291917" y="3641473"/>
                  <a:pt x="1270745" y="3660720"/>
                  <a:pt x="1274594" y="3676119"/>
                </a:cubicBezTo>
                <a:cubicBezTo>
                  <a:pt x="1453599" y="3599127"/>
                  <a:pt x="1607583" y="3466317"/>
                  <a:pt x="1757717" y="3345055"/>
                </a:cubicBezTo>
                <a:cubicBezTo>
                  <a:pt x="1773114" y="3333506"/>
                  <a:pt x="1780813" y="3302710"/>
                  <a:pt x="1811610" y="3318108"/>
                </a:cubicBezTo>
                <a:cubicBezTo>
                  <a:pt x="1653777" y="3468242"/>
                  <a:pt x="1476697" y="3635698"/>
                  <a:pt x="1289993" y="3760809"/>
                </a:cubicBezTo>
                <a:cubicBezTo>
                  <a:pt x="1274594" y="3758884"/>
                  <a:pt x="1286143" y="3739637"/>
                  <a:pt x="1264970" y="3741561"/>
                </a:cubicBezTo>
                <a:cubicBezTo>
                  <a:pt x="1257271" y="3756960"/>
                  <a:pt x="1270745" y="3758884"/>
                  <a:pt x="1266895" y="3772358"/>
                </a:cubicBezTo>
                <a:cubicBezTo>
                  <a:pt x="1236099" y="3797380"/>
                  <a:pt x="1195678" y="3814703"/>
                  <a:pt x="1153333" y="3837801"/>
                </a:cubicBezTo>
                <a:cubicBezTo>
                  <a:pt x="1109063" y="3862823"/>
                  <a:pt x="1008974" y="3909018"/>
                  <a:pt x="993575" y="3939815"/>
                </a:cubicBezTo>
                <a:cubicBezTo>
                  <a:pt x="991650" y="3945589"/>
                  <a:pt x="989726" y="3951363"/>
                  <a:pt x="993575" y="3960987"/>
                </a:cubicBezTo>
                <a:cubicBezTo>
                  <a:pt x="997425" y="3960987"/>
                  <a:pt x="997425" y="3964837"/>
                  <a:pt x="1001274" y="3966762"/>
                </a:cubicBezTo>
                <a:cubicBezTo>
                  <a:pt x="1082116" y="3918642"/>
                  <a:pt x="1162957" y="3868598"/>
                  <a:pt x="1241873" y="3818553"/>
                </a:cubicBezTo>
                <a:cubicBezTo>
                  <a:pt x="1313090" y="3957138"/>
                  <a:pt x="1118686" y="3993709"/>
                  <a:pt x="1076341" y="4036054"/>
                </a:cubicBezTo>
                <a:cubicBezTo>
                  <a:pt x="1178355" y="4041828"/>
                  <a:pt x="1355435" y="3922491"/>
                  <a:pt x="1245722" y="3814703"/>
                </a:cubicBezTo>
                <a:cubicBezTo>
                  <a:pt x="1289993" y="3760809"/>
                  <a:pt x="1311165" y="3822402"/>
                  <a:pt x="1316940" y="3876297"/>
                </a:cubicBezTo>
                <a:cubicBezTo>
                  <a:pt x="1316940" y="3866673"/>
                  <a:pt x="1316940" y="3857049"/>
                  <a:pt x="1318864" y="3847425"/>
                </a:cubicBezTo>
                <a:cubicBezTo>
                  <a:pt x="1320789" y="3849350"/>
                  <a:pt x="1320789" y="3849350"/>
                  <a:pt x="1322714" y="3851274"/>
                </a:cubicBezTo>
                <a:cubicBezTo>
                  <a:pt x="1324639" y="3866673"/>
                  <a:pt x="1332338" y="3880146"/>
                  <a:pt x="1326563" y="3899394"/>
                </a:cubicBezTo>
                <a:cubicBezTo>
                  <a:pt x="1328488" y="3901319"/>
                  <a:pt x="1332338" y="3903243"/>
                  <a:pt x="1334263" y="3907093"/>
                </a:cubicBezTo>
                <a:cubicBezTo>
                  <a:pt x="1340037" y="3868598"/>
                  <a:pt x="1330413" y="3824327"/>
                  <a:pt x="1301541" y="3776208"/>
                </a:cubicBezTo>
                <a:cubicBezTo>
                  <a:pt x="1505569" y="3653021"/>
                  <a:pt x="1682650" y="3458618"/>
                  <a:pt x="1867429" y="3321958"/>
                </a:cubicBezTo>
                <a:cubicBezTo>
                  <a:pt x="1734619" y="3487489"/>
                  <a:pt x="1569087" y="3635698"/>
                  <a:pt x="1411254" y="3745411"/>
                </a:cubicBezTo>
                <a:cubicBezTo>
                  <a:pt x="1417029" y="3747336"/>
                  <a:pt x="1422803" y="3747336"/>
                  <a:pt x="1426653" y="3747336"/>
                </a:cubicBezTo>
                <a:cubicBezTo>
                  <a:pt x="1426653" y="3743486"/>
                  <a:pt x="1426653" y="3741561"/>
                  <a:pt x="1426653" y="3739637"/>
                </a:cubicBezTo>
                <a:cubicBezTo>
                  <a:pt x="1426653" y="3737712"/>
                  <a:pt x="1428577" y="3735787"/>
                  <a:pt x="1432427" y="3737712"/>
                </a:cubicBezTo>
                <a:cubicBezTo>
                  <a:pt x="1432427" y="3739637"/>
                  <a:pt x="1434352" y="3741561"/>
                  <a:pt x="1436276" y="3743486"/>
                </a:cubicBezTo>
                <a:cubicBezTo>
                  <a:pt x="1445900" y="3735787"/>
                  <a:pt x="1453599" y="3722314"/>
                  <a:pt x="1463223" y="3714615"/>
                </a:cubicBezTo>
                <a:cubicBezTo>
                  <a:pt x="1578711" y="3622225"/>
                  <a:pt x="1719220" y="3558707"/>
                  <a:pt x="1811610" y="3429746"/>
                </a:cubicBezTo>
                <a:cubicBezTo>
                  <a:pt x="1825084" y="3435520"/>
                  <a:pt x="1828933" y="3448994"/>
                  <a:pt x="1834707" y="3460542"/>
                </a:cubicBezTo>
                <a:cubicBezTo>
                  <a:pt x="1726920" y="3585653"/>
                  <a:pt x="1592184" y="3670344"/>
                  <a:pt x="1467073" y="3770433"/>
                </a:cubicBezTo>
                <a:cubicBezTo>
                  <a:pt x="1467073" y="3770433"/>
                  <a:pt x="1468998" y="3772358"/>
                  <a:pt x="1468998" y="3772358"/>
                </a:cubicBezTo>
                <a:cubicBezTo>
                  <a:pt x="1455524" y="3781982"/>
                  <a:pt x="1451675" y="3797380"/>
                  <a:pt x="1449750" y="3812779"/>
                </a:cubicBezTo>
                <a:cubicBezTo>
                  <a:pt x="1455524" y="3810854"/>
                  <a:pt x="1459374" y="3808929"/>
                  <a:pt x="1463223" y="3807004"/>
                </a:cubicBezTo>
                <a:cubicBezTo>
                  <a:pt x="1467073" y="3797380"/>
                  <a:pt x="1472847" y="3787756"/>
                  <a:pt x="1480546" y="3785832"/>
                </a:cubicBezTo>
                <a:cubicBezTo>
                  <a:pt x="1482471" y="3785832"/>
                  <a:pt x="1484396" y="3787756"/>
                  <a:pt x="1484396" y="3789681"/>
                </a:cubicBezTo>
                <a:cubicBezTo>
                  <a:pt x="1501719" y="3772358"/>
                  <a:pt x="1517117" y="3751185"/>
                  <a:pt x="1538290" y="3756960"/>
                </a:cubicBezTo>
                <a:cubicBezTo>
                  <a:pt x="1522892" y="3785832"/>
                  <a:pt x="1499794" y="3807004"/>
                  <a:pt x="1474772" y="3826252"/>
                </a:cubicBezTo>
                <a:cubicBezTo>
                  <a:pt x="1472847" y="3828177"/>
                  <a:pt x="1468998" y="3830102"/>
                  <a:pt x="1467073" y="3832026"/>
                </a:cubicBezTo>
                <a:cubicBezTo>
                  <a:pt x="1461299" y="3837801"/>
                  <a:pt x="1453599" y="3841650"/>
                  <a:pt x="1445900" y="3847425"/>
                </a:cubicBezTo>
                <a:cubicBezTo>
                  <a:pt x="1443976" y="3857049"/>
                  <a:pt x="1440126" y="3864748"/>
                  <a:pt x="1432427" y="3870522"/>
                </a:cubicBezTo>
                <a:cubicBezTo>
                  <a:pt x="1428577" y="3868598"/>
                  <a:pt x="1424728" y="3866673"/>
                  <a:pt x="1422803" y="3864748"/>
                </a:cubicBezTo>
                <a:cubicBezTo>
                  <a:pt x="1420878" y="3866673"/>
                  <a:pt x="1417029" y="3870522"/>
                  <a:pt x="1413179" y="3872447"/>
                </a:cubicBezTo>
                <a:cubicBezTo>
                  <a:pt x="1417029" y="3880146"/>
                  <a:pt x="1418953" y="3889770"/>
                  <a:pt x="1420878" y="3897469"/>
                </a:cubicBezTo>
                <a:cubicBezTo>
                  <a:pt x="1455524" y="3878221"/>
                  <a:pt x="1492095" y="3851274"/>
                  <a:pt x="1520968" y="3843575"/>
                </a:cubicBezTo>
                <a:cubicBezTo>
                  <a:pt x="1488246" y="3872447"/>
                  <a:pt x="1453599" y="3897469"/>
                  <a:pt x="1418953" y="3924416"/>
                </a:cubicBezTo>
                <a:cubicBezTo>
                  <a:pt x="1415104" y="3934040"/>
                  <a:pt x="1409329" y="3941739"/>
                  <a:pt x="1397781" y="3951363"/>
                </a:cubicBezTo>
                <a:cubicBezTo>
                  <a:pt x="1395856" y="3949439"/>
                  <a:pt x="1395856" y="3947514"/>
                  <a:pt x="1393931" y="3945589"/>
                </a:cubicBezTo>
                <a:cubicBezTo>
                  <a:pt x="1388157" y="3951363"/>
                  <a:pt x="1382382" y="3955213"/>
                  <a:pt x="1376608" y="3960987"/>
                </a:cubicBezTo>
                <a:cubicBezTo>
                  <a:pt x="1376608" y="3970611"/>
                  <a:pt x="1372758" y="3982160"/>
                  <a:pt x="1366984" y="3993709"/>
                </a:cubicBezTo>
                <a:cubicBezTo>
                  <a:pt x="1386232" y="3982160"/>
                  <a:pt x="1405480" y="3966762"/>
                  <a:pt x="1420878" y="3959062"/>
                </a:cubicBezTo>
                <a:cubicBezTo>
                  <a:pt x="1424728" y="3957138"/>
                  <a:pt x="1428577" y="3955213"/>
                  <a:pt x="1434352" y="3953288"/>
                </a:cubicBezTo>
                <a:cubicBezTo>
                  <a:pt x="1434352" y="3953288"/>
                  <a:pt x="1434352" y="3955213"/>
                  <a:pt x="1434352" y="3955213"/>
                </a:cubicBezTo>
                <a:cubicBezTo>
                  <a:pt x="1438201" y="3955213"/>
                  <a:pt x="1440126" y="3955213"/>
                  <a:pt x="1443976" y="3957138"/>
                </a:cubicBezTo>
                <a:cubicBezTo>
                  <a:pt x="1445900" y="3964837"/>
                  <a:pt x="1443976" y="3972536"/>
                  <a:pt x="1438201" y="3978310"/>
                </a:cubicBezTo>
                <a:cubicBezTo>
                  <a:pt x="1438201" y="3989859"/>
                  <a:pt x="1438201" y="4001408"/>
                  <a:pt x="1436276" y="4012957"/>
                </a:cubicBezTo>
                <a:cubicBezTo>
                  <a:pt x="1443976" y="4007182"/>
                  <a:pt x="1451675" y="3997558"/>
                  <a:pt x="1459374" y="3987934"/>
                </a:cubicBezTo>
                <a:cubicBezTo>
                  <a:pt x="1461299" y="4005257"/>
                  <a:pt x="1447825" y="4024505"/>
                  <a:pt x="1430502" y="4034129"/>
                </a:cubicBezTo>
                <a:cubicBezTo>
                  <a:pt x="1428577" y="4043753"/>
                  <a:pt x="1424728" y="4053377"/>
                  <a:pt x="1420878" y="4063002"/>
                </a:cubicBezTo>
                <a:cubicBezTo>
                  <a:pt x="1432427" y="4059151"/>
                  <a:pt x="1445900" y="4055302"/>
                  <a:pt x="1457449" y="4051452"/>
                </a:cubicBezTo>
                <a:cubicBezTo>
                  <a:pt x="1465148" y="4034129"/>
                  <a:pt x="1472847" y="4022581"/>
                  <a:pt x="1486321" y="4014881"/>
                </a:cubicBezTo>
                <a:cubicBezTo>
                  <a:pt x="1486321" y="4007182"/>
                  <a:pt x="1484396" y="3999483"/>
                  <a:pt x="1482471" y="3991784"/>
                </a:cubicBezTo>
                <a:cubicBezTo>
                  <a:pt x="1476697" y="3995633"/>
                  <a:pt x="1470923" y="3999483"/>
                  <a:pt x="1463223" y="4003333"/>
                </a:cubicBezTo>
                <a:cubicBezTo>
                  <a:pt x="1467073" y="3991784"/>
                  <a:pt x="1470923" y="3982160"/>
                  <a:pt x="1476697" y="3974461"/>
                </a:cubicBezTo>
                <a:cubicBezTo>
                  <a:pt x="1472847" y="3962912"/>
                  <a:pt x="1465148" y="3953288"/>
                  <a:pt x="1459374" y="3943664"/>
                </a:cubicBezTo>
                <a:cubicBezTo>
                  <a:pt x="1476697" y="3905168"/>
                  <a:pt x="1515194" y="3920567"/>
                  <a:pt x="1532516" y="3882071"/>
                </a:cubicBezTo>
                <a:cubicBezTo>
                  <a:pt x="1532516" y="3874372"/>
                  <a:pt x="1534441" y="3866673"/>
                  <a:pt x="1538290" y="3858974"/>
                </a:cubicBezTo>
                <a:cubicBezTo>
                  <a:pt x="1540215" y="3849350"/>
                  <a:pt x="1540215" y="3839726"/>
                  <a:pt x="1540215" y="3830102"/>
                </a:cubicBezTo>
                <a:cubicBezTo>
                  <a:pt x="1536365" y="3833951"/>
                  <a:pt x="1530591" y="3837801"/>
                  <a:pt x="1528666" y="3841650"/>
                </a:cubicBezTo>
                <a:cubicBezTo>
                  <a:pt x="1522892" y="3826252"/>
                  <a:pt x="1528666" y="3801230"/>
                  <a:pt x="1542140" y="3783907"/>
                </a:cubicBezTo>
                <a:cubicBezTo>
                  <a:pt x="1545989" y="3766584"/>
                  <a:pt x="1557539" y="3755035"/>
                  <a:pt x="1582560" y="3751185"/>
                </a:cubicBezTo>
                <a:cubicBezTo>
                  <a:pt x="1597959" y="3755035"/>
                  <a:pt x="1594109" y="3768508"/>
                  <a:pt x="1613357" y="3770433"/>
                </a:cubicBezTo>
                <a:cubicBezTo>
                  <a:pt x="1613357" y="3758884"/>
                  <a:pt x="1597959" y="3755035"/>
                  <a:pt x="1609507" y="3747336"/>
                </a:cubicBezTo>
                <a:cubicBezTo>
                  <a:pt x="1630680" y="3751185"/>
                  <a:pt x="1649928" y="3756960"/>
                  <a:pt x="1671102" y="3760809"/>
                </a:cubicBezTo>
                <a:cubicBezTo>
                  <a:pt x="1688424" y="3795456"/>
                  <a:pt x="1705747" y="3878221"/>
                  <a:pt x="1773114" y="3847425"/>
                </a:cubicBezTo>
                <a:cubicBezTo>
                  <a:pt x="1775039" y="3830102"/>
                  <a:pt x="1786588" y="3808929"/>
                  <a:pt x="1780813" y="3797380"/>
                </a:cubicBezTo>
                <a:cubicBezTo>
                  <a:pt x="1809685" y="3805079"/>
                  <a:pt x="1821234" y="3824327"/>
                  <a:pt x="1850106" y="3833951"/>
                </a:cubicBezTo>
                <a:cubicBezTo>
                  <a:pt x="1902075" y="3808929"/>
                  <a:pt x="1859730" y="3756960"/>
                  <a:pt x="1877054" y="3714615"/>
                </a:cubicBezTo>
                <a:cubicBezTo>
                  <a:pt x="1913142" y="3630887"/>
                  <a:pt x="2003366" y="3692239"/>
                  <a:pt x="2036479" y="3767937"/>
                </a:cubicBezTo>
                <a:lnTo>
                  <a:pt x="2042906" y="3789836"/>
                </a:lnTo>
                <a:lnTo>
                  <a:pt x="2037381" y="3758252"/>
                </a:lnTo>
                <a:cubicBezTo>
                  <a:pt x="2034885" y="3745290"/>
                  <a:pt x="2031516" y="3732899"/>
                  <a:pt x="2025261" y="3722313"/>
                </a:cubicBezTo>
                <a:cubicBezTo>
                  <a:pt x="2050283" y="3722313"/>
                  <a:pt x="2069531" y="3741561"/>
                  <a:pt x="2086854" y="3735786"/>
                </a:cubicBezTo>
                <a:cubicBezTo>
                  <a:pt x="2088780" y="3731937"/>
                  <a:pt x="2088780" y="3730012"/>
                  <a:pt x="2092628" y="3731937"/>
                </a:cubicBezTo>
                <a:cubicBezTo>
                  <a:pt x="2088780" y="3764658"/>
                  <a:pt x="2096478" y="3789680"/>
                  <a:pt x="2104177" y="3816627"/>
                </a:cubicBezTo>
                <a:cubicBezTo>
                  <a:pt x="2083006" y="3816627"/>
                  <a:pt x="2102252" y="3841650"/>
                  <a:pt x="2090704" y="3857048"/>
                </a:cubicBezTo>
                <a:cubicBezTo>
                  <a:pt x="2075305" y="3851755"/>
                  <a:pt x="2065080" y="3843334"/>
                  <a:pt x="2058012" y="3833018"/>
                </a:cubicBezTo>
                <a:lnTo>
                  <a:pt x="2047753" y="3806596"/>
                </a:lnTo>
                <a:lnTo>
                  <a:pt x="2046434" y="3843575"/>
                </a:lnTo>
                <a:cubicBezTo>
                  <a:pt x="2063757" y="3860898"/>
                  <a:pt x="2077231" y="3868598"/>
                  <a:pt x="2104178" y="3874372"/>
                </a:cubicBezTo>
                <a:cubicBezTo>
                  <a:pt x="2142673" y="3799305"/>
                  <a:pt x="2200418" y="3756960"/>
                  <a:pt x="2263935" y="3720389"/>
                </a:cubicBezTo>
                <a:cubicBezTo>
                  <a:pt x="2283183" y="3751185"/>
                  <a:pt x="2287033" y="3789681"/>
                  <a:pt x="2300506" y="3824327"/>
                </a:cubicBezTo>
                <a:cubicBezTo>
                  <a:pt x="2242762" y="3824327"/>
                  <a:pt x="2181169" y="3835876"/>
                  <a:pt x="2125351" y="3855124"/>
                </a:cubicBezTo>
                <a:cubicBezTo>
                  <a:pt x="2121501" y="3870522"/>
                  <a:pt x="2140749" y="3870522"/>
                  <a:pt x="2131125" y="3889770"/>
                </a:cubicBezTo>
                <a:cubicBezTo>
                  <a:pt x="2071456" y="3882071"/>
                  <a:pt x="2009863" y="3872447"/>
                  <a:pt x="1996390" y="3937890"/>
                </a:cubicBezTo>
                <a:cubicBezTo>
                  <a:pt x="2104178" y="3976385"/>
                  <a:pt x="2206192" y="3899394"/>
                  <a:pt x="2273559" y="3891695"/>
                </a:cubicBezTo>
                <a:cubicBezTo>
                  <a:pt x="2152297" y="3962912"/>
                  <a:pt x="2000239" y="3986009"/>
                  <a:pt x="1884752" y="4066851"/>
                </a:cubicBezTo>
                <a:cubicBezTo>
                  <a:pt x="2042585" y="4097648"/>
                  <a:pt x="2215815" y="3987934"/>
                  <a:pt x="2335152" y="3922491"/>
                </a:cubicBezTo>
                <a:cubicBezTo>
                  <a:pt x="2258161" y="4014881"/>
                  <a:pt x="2140749" y="4043753"/>
                  <a:pt x="2034885" y="4091874"/>
                </a:cubicBezTo>
                <a:cubicBezTo>
                  <a:pt x="2038736" y="4099573"/>
                  <a:pt x="2046434" y="4107272"/>
                  <a:pt x="2056058" y="4113047"/>
                </a:cubicBezTo>
                <a:cubicBezTo>
                  <a:pt x="2208116" y="4116896"/>
                  <a:pt x="2329378" y="4074551"/>
                  <a:pt x="2421768" y="3984085"/>
                </a:cubicBezTo>
                <a:cubicBezTo>
                  <a:pt x="2419843" y="3991784"/>
                  <a:pt x="2419843" y="3997558"/>
                  <a:pt x="2425617" y="4001408"/>
                </a:cubicBezTo>
                <a:cubicBezTo>
                  <a:pt x="2494910" y="3964837"/>
                  <a:pt x="2550728" y="3905168"/>
                  <a:pt x="2612322" y="3857049"/>
                </a:cubicBezTo>
                <a:cubicBezTo>
                  <a:pt x="2564202" y="3943664"/>
                  <a:pt x="2485286" y="3978310"/>
                  <a:pt x="2423692" y="4043753"/>
                </a:cubicBezTo>
                <a:cubicBezTo>
                  <a:pt x="2421768" y="4037979"/>
                  <a:pt x="2433316" y="4024505"/>
                  <a:pt x="2423692" y="4022581"/>
                </a:cubicBezTo>
                <a:cubicBezTo>
                  <a:pt x="2356326" y="4030280"/>
                  <a:pt x="2317829" y="4091874"/>
                  <a:pt x="2260085" y="4114971"/>
                </a:cubicBezTo>
                <a:cubicBezTo>
                  <a:pt x="2158073" y="4157317"/>
                  <a:pt x="2044510" y="4193888"/>
                  <a:pt x="1954044" y="4249706"/>
                </a:cubicBezTo>
                <a:cubicBezTo>
                  <a:pt x="1979067" y="4261255"/>
                  <a:pt x="2004089" y="4267030"/>
                  <a:pt x="2027186" y="4270879"/>
                </a:cubicBezTo>
                <a:cubicBezTo>
                  <a:pt x="2044510" y="4265105"/>
                  <a:pt x="2065682" y="4267030"/>
                  <a:pt x="2086855" y="4270879"/>
                </a:cubicBezTo>
                <a:cubicBezTo>
                  <a:pt x="2169621" y="4261255"/>
                  <a:pt x="2238914" y="4211210"/>
                  <a:pt x="2304356" y="4178489"/>
                </a:cubicBezTo>
                <a:cubicBezTo>
                  <a:pt x="2262010" y="4222759"/>
                  <a:pt x="2213891" y="4274729"/>
                  <a:pt x="2171545" y="4326698"/>
                </a:cubicBezTo>
                <a:cubicBezTo>
                  <a:pt x="2186944" y="4328623"/>
                  <a:pt x="2206192" y="4336322"/>
                  <a:pt x="2225439" y="4344021"/>
                </a:cubicBezTo>
                <a:cubicBezTo>
                  <a:pt x="2238914" y="4336322"/>
                  <a:pt x="2254311" y="4330548"/>
                  <a:pt x="2269709" y="4326698"/>
                </a:cubicBezTo>
                <a:cubicBezTo>
                  <a:pt x="2288958" y="4301676"/>
                  <a:pt x="2321679" y="4293976"/>
                  <a:pt x="2329378" y="4249706"/>
                </a:cubicBezTo>
                <a:cubicBezTo>
                  <a:pt x="2339002" y="4240082"/>
                  <a:pt x="2358250" y="4247782"/>
                  <a:pt x="2365949" y="4236233"/>
                </a:cubicBezTo>
                <a:cubicBezTo>
                  <a:pt x="2429467" y="4136144"/>
                  <a:pt x="2510308" y="4059151"/>
                  <a:pt x="2587301" y="3976385"/>
                </a:cubicBezTo>
                <a:cubicBezTo>
                  <a:pt x="2550728" y="4099573"/>
                  <a:pt x="2396745" y="4141918"/>
                  <a:pt x="2394822" y="4299751"/>
                </a:cubicBezTo>
                <a:cubicBezTo>
                  <a:pt x="2408294" y="4305525"/>
                  <a:pt x="2410219" y="4295901"/>
                  <a:pt x="2423692" y="4301676"/>
                </a:cubicBezTo>
                <a:cubicBezTo>
                  <a:pt x="2435241" y="4542274"/>
                  <a:pt x="2512233" y="4740527"/>
                  <a:pt x="2425617" y="5042719"/>
                </a:cubicBezTo>
                <a:cubicBezTo>
                  <a:pt x="2417918" y="5060042"/>
                  <a:pt x="2396745" y="5067741"/>
                  <a:pt x="2402520" y="5088914"/>
                </a:cubicBezTo>
                <a:cubicBezTo>
                  <a:pt x="2412144" y="5092764"/>
                  <a:pt x="2410219" y="5077365"/>
                  <a:pt x="2417918" y="5079290"/>
                </a:cubicBezTo>
                <a:cubicBezTo>
                  <a:pt x="2367874" y="5200551"/>
                  <a:pt x="2283183" y="5273694"/>
                  <a:pt x="2186944" y="5327587"/>
                </a:cubicBezTo>
                <a:cubicBezTo>
                  <a:pt x="2186944" y="5333362"/>
                  <a:pt x="2188868" y="5339136"/>
                  <a:pt x="2188868" y="5344910"/>
                </a:cubicBezTo>
                <a:cubicBezTo>
                  <a:pt x="2308205" y="5279468"/>
                  <a:pt x="2406370" y="5181303"/>
                  <a:pt x="2462188" y="5008072"/>
                </a:cubicBezTo>
                <a:cubicBezTo>
                  <a:pt x="2543029" y="4750151"/>
                  <a:pt x="2429467" y="4513402"/>
                  <a:pt x="2433316" y="4286277"/>
                </a:cubicBezTo>
                <a:cubicBezTo>
                  <a:pt x="2446790" y="4272804"/>
                  <a:pt x="2460263" y="4257406"/>
                  <a:pt x="2479511" y="4249706"/>
                </a:cubicBezTo>
                <a:cubicBezTo>
                  <a:pt x="2452564" y="4324773"/>
                  <a:pt x="2469887" y="4430636"/>
                  <a:pt x="2473737" y="4528800"/>
                </a:cubicBezTo>
                <a:cubicBezTo>
                  <a:pt x="2481437" y="4725129"/>
                  <a:pt x="2544954" y="4983050"/>
                  <a:pt x="2410219" y="5177454"/>
                </a:cubicBezTo>
                <a:cubicBezTo>
                  <a:pt x="2414068" y="5185153"/>
                  <a:pt x="2423692" y="5187078"/>
                  <a:pt x="2423692" y="5196702"/>
                </a:cubicBezTo>
                <a:cubicBezTo>
                  <a:pt x="2364024" y="5294866"/>
                  <a:pt x="2287033" y="5364158"/>
                  <a:pt x="2198492" y="5416128"/>
                </a:cubicBezTo>
                <a:cubicBezTo>
                  <a:pt x="2198492" y="5421902"/>
                  <a:pt x="2198492" y="5425752"/>
                  <a:pt x="2196568" y="5429602"/>
                </a:cubicBezTo>
                <a:cubicBezTo>
                  <a:pt x="2194644" y="5429602"/>
                  <a:pt x="2194644" y="5431526"/>
                  <a:pt x="2194644" y="5431526"/>
                </a:cubicBezTo>
                <a:cubicBezTo>
                  <a:pt x="2192718" y="5433451"/>
                  <a:pt x="2190793" y="5435376"/>
                  <a:pt x="2188868" y="5437301"/>
                </a:cubicBezTo>
                <a:cubicBezTo>
                  <a:pt x="2358250" y="5350685"/>
                  <a:pt x="2491060" y="5200551"/>
                  <a:pt x="2510308" y="4958028"/>
                </a:cubicBezTo>
                <a:cubicBezTo>
                  <a:pt x="2529556" y="4715505"/>
                  <a:pt x="2467962" y="4484531"/>
                  <a:pt x="2489135" y="4242007"/>
                </a:cubicBezTo>
                <a:cubicBezTo>
                  <a:pt x="2506458" y="4234308"/>
                  <a:pt x="2527631" y="4205436"/>
                  <a:pt x="2543029" y="4215060"/>
                </a:cubicBezTo>
                <a:cubicBezTo>
                  <a:pt x="2519933" y="4503778"/>
                  <a:pt x="2646968" y="4779023"/>
                  <a:pt x="2562278" y="5088914"/>
                </a:cubicBezTo>
                <a:cubicBezTo>
                  <a:pt x="2552653" y="5123560"/>
                  <a:pt x="2531481" y="5146657"/>
                  <a:pt x="2521857" y="5175529"/>
                </a:cubicBezTo>
                <a:cubicBezTo>
                  <a:pt x="2502609" y="5233273"/>
                  <a:pt x="2494910" y="5277543"/>
                  <a:pt x="2469887" y="5314114"/>
                </a:cubicBezTo>
                <a:cubicBezTo>
                  <a:pt x="2381347" y="5439225"/>
                  <a:pt x="2190793" y="5441150"/>
                  <a:pt x="2146523" y="5620155"/>
                </a:cubicBezTo>
                <a:cubicBezTo>
                  <a:pt x="2231214" y="5443075"/>
                  <a:pt x="2446790" y="5437301"/>
                  <a:pt x="2527631" y="5265995"/>
                </a:cubicBezTo>
                <a:cubicBezTo>
                  <a:pt x="2706636" y="4886811"/>
                  <a:pt x="2521857" y="4542274"/>
                  <a:pt x="2560352" y="4191963"/>
                </a:cubicBezTo>
                <a:cubicBezTo>
                  <a:pt x="2614246" y="4099573"/>
                  <a:pt x="2662366" y="3966762"/>
                  <a:pt x="2739358" y="3926341"/>
                </a:cubicBezTo>
                <a:cubicBezTo>
                  <a:pt x="2718185" y="4041828"/>
                  <a:pt x="2716260" y="4257406"/>
                  <a:pt x="2621945" y="4261255"/>
                </a:cubicBezTo>
                <a:cubicBezTo>
                  <a:pt x="2643118" y="4224684"/>
                  <a:pt x="2691238" y="4188113"/>
                  <a:pt x="2700862" y="4122670"/>
                </a:cubicBezTo>
                <a:cubicBezTo>
                  <a:pt x="2706636" y="4086099"/>
                  <a:pt x="2704711" y="4045678"/>
                  <a:pt x="2698937" y="4018731"/>
                </a:cubicBezTo>
                <a:cubicBezTo>
                  <a:pt x="2631569" y="4047603"/>
                  <a:pt x="2610397" y="4147693"/>
                  <a:pt x="2581525" y="4238158"/>
                </a:cubicBezTo>
                <a:cubicBezTo>
                  <a:pt x="2587301" y="4245857"/>
                  <a:pt x="2593074" y="4253556"/>
                  <a:pt x="2608472" y="4253556"/>
                </a:cubicBezTo>
                <a:cubicBezTo>
                  <a:pt x="2598848" y="4501854"/>
                  <a:pt x="2627720" y="4725129"/>
                  <a:pt x="2620021" y="4971502"/>
                </a:cubicBezTo>
                <a:cubicBezTo>
                  <a:pt x="2621945" y="4984975"/>
                  <a:pt x="2629645" y="4973427"/>
                  <a:pt x="2635419" y="4983050"/>
                </a:cubicBezTo>
                <a:cubicBezTo>
                  <a:pt x="2654185" y="5183710"/>
                  <a:pt x="2556021" y="5350805"/>
                  <a:pt x="2440805" y="5453481"/>
                </a:cubicBezTo>
                <a:lnTo>
                  <a:pt x="2383752" y="5498123"/>
                </a:lnTo>
                <a:lnTo>
                  <a:pt x="2412925" y="5470744"/>
                </a:lnTo>
                <a:cubicBezTo>
                  <a:pt x="2438128" y="5445481"/>
                  <a:pt x="2461225" y="5419015"/>
                  <a:pt x="2479511" y="5389181"/>
                </a:cubicBezTo>
                <a:cubicBezTo>
                  <a:pt x="2358250" y="5516217"/>
                  <a:pt x="2185019" y="5587434"/>
                  <a:pt x="2158073" y="5843431"/>
                </a:cubicBezTo>
                <a:cubicBezTo>
                  <a:pt x="2167696" y="5868453"/>
                  <a:pt x="2198492" y="5897325"/>
                  <a:pt x="2177320" y="5930046"/>
                </a:cubicBezTo>
                <a:cubicBezTo>
                  <a:pt x="2163847" y="5937745"/>
                  <a:pt x="2165771" y="5908874"/>
                  <a:pt x="2142673" y="5912723"/>
                </a:cubicBezTo>
                <a:cubicBezTo>
                  <a:pt x="2127275" y="5914648"/>
                  <a:pt x="2129200" y="5945444"/>
                  <a:pt x="2104178" y="5933896"/>
                </a:cubicBezTo>
                <a:cubicBezTo>
                  <a:pt x="2094554" y="5914648"/>
                  <a:pt x="2081080" y="5895400"/>
                  <a:pt x="2063757" y="5880002"/>
                </a:cubicBezTo>
                <a:cubicBezTo>
                  <a:pt x="2063757" y="5880002"/>
                  <a:pt x="2061832" y="5878077"/>
                  <a:pt x="2061832" y="5878077"/>
                </a:cubicBezTo>
                <a:cubicBezTo>
                  <a:pt x="2057983" y="5880002"/>
                  <a:pt x="2056058" y="5883851"/>
                  <a:pt x="2052209" y="5885776"/>
                </a:cubicBezTo>
                <a:cubicBezTo>
                  <a:pt x="2050284" y="5885776"/>
                  <a:pt x="2050284" y="5885776"/>
                  <a:pt x="2050284" y="5885776"/>
                </a:cubicBezTo>
                <a:cubicBezTo>
                  <a:pt x="2048359" y="5881927"/>
                  <a:pt x="2046434" y="5880002"/>
                  <a:pt x="2044510" y="5878077"/>
                </a:cubicBezTo>
                <a:cubicBezTo>
                  <a:pt x="2042585" y="5880002"/>
                  <a:pt x="2044510" y="5883851"/>
                  <a:pt x="2044510" y="5885776"/>
                </a:cubicBezTo>
                <a:cubicBezTo>
                  <a:pt x="2034885" y="5885776"/>
                  <a:pt x="2029111" y="5885776"/>
                  <a:pt x="2021412" y="5883851"/>
                </a:cubicBezTo>
                <a:cubicBezTo>
                  <a:pt x="2021412" y="5878077"/>
                  <a:pt x="2021412" y="5872303"/>
                  <a:pt x="2021412" y="5868453"/>
                </a:cubicBezTo>
                <a:cubicBezTo>
                  <a:pt x="2023337" y="5866528"/>
                  <a:pt x="2027186" y="5864603"/>
                  <a:pt x="2029111" y="5862679"/>
                </a:cubicBezTo>
                <a:cubicBezTo>
                  <a:pt x="2032962" y="5864603"/>
                  <a:pt x="2036810" y="5864603"/>
                  <a:pt x="2040660" y="5864603"/>
                </a:cubicBezTo>
                <a:cubicBezTo>
                  <a:pt x="2032962" y="5858829"/>
                  <a:pt x="2023337" y="5851130"/>
                  <a:pt x="2013713" y="5845355"/>
                </a:cubicBezTo>
                <a:cubicBezTo>
                  <a:pt x="2007939" y="5845355"/>
                  <a:pt x="2007939" y="5847280"/>
                  <a:pt x="2009863" y="5851130"/>
                </a:cubicBezTo>
                <a:cubicBezTo>
                  <a:pt x="2007939" y="5851130"/>
                  <a:pt x="2007939" y="5853055"/>
                  <a:pt x="2006014" y="5853055"/>
                </a:cubicBezTo>
                <a:cubicBezTo>
                  <a:pt x="2006014" y="5849205"/>
                  <a:pt x="2006014" y="5845355"/>
                  <a:pt x="2007939" y="5843431"/>
                </a:cubicBezTo>
                <a:cubicBezTo>
                  <a:pt x="2009863" y="5843431"/>
                  <a:pt x="2009863" y="5843431"/>
                  <a:pt x="2011788" y="5843431"/>
                </a:cubicBezTo>
                <a:cubicBezTo>
                  <a:pt x="2019487" y="5828032"/>
                  <a:pt x="2019487" y="5818408"/>
                  <a:pt x="2015638" y="5810709"/>
                </a:cubicBezTo>
                <a:cubicBezTo>
                  <a:pt x="2011788" y="5812634"/>
                  <a:pt x="2007939" y="5814559"/>
                  <a:pt x="2004089" y="5816483"/>
                </a:cubicBezTo>
                <a:cubicBezTo>
                  <a:pt x="2002164" y="5808784"/>
                  <a:pt x="2007939" y="5806859"/>
                  <a:pt x="2007939" y="5801085"/>
                </a:cubicBezTo>
                <a:cubicBezTo>
                  <a:pt x="2004089" y="5795311"/>
                  <a:pt x="2002164" y="5791461"/>
                  <a:pt x="2000239" y="5787612"/>
                </a:cubicBezTo>
                <a:cubicBezTo>
                  <a:pt x="1996390" y="5787612"/>
                  <a:pt x="1994466" y="5785687"/>
                  <a:pt x="1992540" y="5783762"/>
                </a:cubicBezTo>
                <a:cubicBezTo>
                  <a:pt x="1994466" y="5781837"/>
                  <a:pt x="1994466" y="5781837"/>
                  <a:pt x="1994466" y="5779913"/>
                </a:cubicBezTo>
                <a:cubicBezTo>
                  <a:pt x="1996390" y="5779913"/>
                  <a:pt x="1996390" y="5779913"/>
                  <a:pt x="1998314" y="5779913"/>
                </a:cubicBezTo>
                <a:cubicBezTo>
                  <a:pt x="1996390" y="5777988"/>
                  <a:pt x="1998314" y="5774138"/>
                  <a:pt x="1998314" y="5770289"/>
                </a:cubicBezTo>
                <a:cubicBezTo>
                  <a:pt x="2002164" y="5768364"/>
                  <a:pt x="2007939" y="5764514"/>
                  <a:pt x="2013713" y="5762590"/>
                </a:cubicBezTo>
                <a:cubicBezTo>
                  <a:pt x="2013713" y="5751041"/>
                  <a:pt x="2015638" y="5739492"/>
                  <a:pt x="2013713" y="5729868"/>
                </a:cubicBezTo>
                <a:cubicBezTo>
                  <a:pt x="2017562" y="5733718"/>
                  <a:pt x="2029111" y="5729868"/>
                  <a:pt x="2029111" y="5722169"/>
                </a:cubicBezTo>
                <a:cubicBezTo>
                  <a:pt x="2036810" y="5727944"/>
                  <a:pt x="2029111" y="5739492"/>
                  <a:pt x="2027186" y="5749116"/>
                </a:cubicBezTo>
                <a:cubicBezTo>
                  <a:pt x="2027186" y="5752966"/>
                  <a:pt x="2025261" y="5754891"/>
                  <a:pt x="2025261" y="5758740"/>
                </a:cubicBezTo>
                <a:cubicBezTo>
                  <a:pt x="2027186" y="5758740"/>
                  <a:pt x="2029111" y="5756815"/>
                  <a:pt x="2031036" y="5756815"/>
                </a:cubicBezTo>
                <a:cubicBezTo>
                  <a:pt x="2031036" y="5751041"/>
                  <a:pt x="2032962" y="5745267"/>
                  <a:pt x="2034885" y="5739492"/>
                </a:cubicBezTo>
                <a:cubicBezTo>
                  <a:pt x="2036810" y="5741417"/>
                  <a:pt x="2036810" y="5745267"/>
                  <a:pt x="2040660" y="5745267"/>
                </a:cubicBezTo>
                <a:cubicBezTo>
                  <a:pt x="2046434" y="5739492"/>
                  <a:pt x="2042585" y="5731793"/>
                  <a:pt x="2038736" y="5727944"/>
                </a:cubicBezTo>
                <a:cubicBezTo>
                  <a:pt x="2042585" y="5726019"/>
                  <a:pt x="2036810" y="5720244"/>
                  <a:pt x="2038736" y="5718320"/>
                </a:cubicBezTo>
                <a:cubicBezTo>
                  <a:pt x="2046434" y="5726019"/>
                  <a:pt x="2056058" y="5718320"/>
                  <a:pt x="2056058" y="5708696"/>
                </a:cubicBezTo>
                <a:cubicBezTo>
                  <a:pt x="2052209" y="5704846"/>
                  <a:pt x="2046434" y="5710620"/>
                  <a:pt x="2040660" y="5708696"/>
                </a:cubicBezTo>
                <a:cubicBezTo>
                  <a:pt x="2044510" y="5704846"/>
                  <a:pt x="2052209" y="5702921"/>
                  <a:pt x="2057983" y="5700996"/>
                </a:cubicBezTo>
                <a:cubicBezTo>
                  <a:pt x="2059908" y="5704846"/>
                  <a:pt x="2059908" y="5710620"/>
                  <a:pt x="2063757" y="5710620"/>
                </a:cubicBezTo>
                <a:cubicBezTo>
                  <a:pt x="2071456" y="5708696"/>
                  <a:pt x="2069531" y="5699072"/>
                  <a:pt x="2065682" y="5695222"/>
                </a:cubicBezTo>
                <a:cubicBezTo>
                  <a:pt x="2069531" y="5695222"/>
                  <a:pt x="2071456" y="5693297"/>
                  <a:pt x="2075306" y="5693297"/>
                </a:cubicBezTo>
                <a:cubicBezTo>
                  <a:pt x="2077231" y="5710620"/>
                  <a:pt x="2073381" y="5729868"/>
                  <a:pt x="2073381" y="5745267"/>
                </a:cubicBezTo>
                <a:cubicBezTo>
                  <a:pt x="2077231" y="5745267"/>
                  <a:pt x="2081080" y="5743342"/>
                  <a:pt x="2084930" y="5741417"/>
                </a:cubicBezTo>
                <a:cubicBezTo>
                  <a:pt x="2084930" y="5731793"/>
                  <a:pt x="2084930" y="5722169"/>
                  <a:pt x="2086855" y="5712545"/>
                </a:cubicBezTo>
                <a:cubicBezTo>
                  <a:pt x="2088780" y="5708696"/>
                  <a:pt x="2090704" y="5706771"/>
                  <a:pt x="2092629" y="5702921"/>
                </a:cubicBezTo>
                <a:cubicBezTo>
                  <a:pt x="2092629" y="5700996"/>
                  <a:pt x="2092629" y="5699072"/>
                  <a:pt x="2092629" y="5699072"/>
                </a:cubicBezTo>
                <a:cubicBezTo>
                  <a:pt x="2094554" y="5697147"/>
                  <a:pt x="2096479" y="5695222"/>
                  <a:pt x="2098403" y="5693297"/>
                </a:cubicBezTo>
                <a:cubicBezTo>
                  <a:pt x="2104178" y="5693297"/>
                  <a:pt x="2109952" y="5693297"/>
                  <a:pt x="2115726" y="5693297"/>
                </a:cubicBezTo>
                <a:cubicBezTo>
                  <a:pt x="2117651" y="5697147"/>
                  <a:pt x="2119577" y="5700996"/>
                  <a:pt x="2123426" y="5700996"/>
                </a:cubicBezTo>
                <a:cubicBezTo>
                  <a:pt x="2123426" y="5699072"/>
                  <a:pt x="2123426" y="5699072"/>
                  <a:pt x="2123426" y="5697147"/>
                </a:cubicBezTo>
                <a:cubicBezTo>
                  <a:pt x="2121501" y="5695222"/>
                  <a:pt x="2121501" y="5695222"/>
                  <a:pt x="2119577" y="5693297"/>
                </a:cubicBezTo>
                <a:cubicBezTo>
                  <a:pt x="2121501" y="5693297"/>
                  <a:pt x="2121501" y="5693297"/>
                  <a:pt x="2123426" y="5693297"/>
                </a:cubicBezTo>
                <a:cubicBezTo>
                  <a:pt x="2123426" y="5691372"/>
                  <a:pt x="2123426" y="5687523"/>
                  <a:pt x="2123426" y="5685598"/>
                </a:cubicBezTo>
                <a:cubicBezTo>
                  <a:pt x="2117651" y="5685598"/>
                  <a:pt x="2113803" y="5685598"/>
                  <a:pt x="2108027" y="5685598"/>
                </a:cubicBezTo>
                <a:cubicBezTo>
                  <a:pt x="2111877" y="5681748"/>
                  <a:pt x="2117651" y="5679824"/>
                  <a:pt x="2121501" y="5675974"/>
                </a:cubicBezTo>
                <a:cubicBezTo>
                  <a:pt x="2121501" y="5675974"/>
                  <a:pt x="2119577" y="5674049"/>
                  <a:pt x="2119577" y="5672124"/>
                </a:cubicBezTo>
                <a:cubicBezTo>
                  <a:pt x="2117651" y="5674049"/>
                  <a:pt x="2115726" y="5675974"/>
                  <a:pt x="2113803" y="5677899"/>
                </a:cubicBezTo>
                <a:cubicBezTo>
                  <a:pt x="2115726" y="5674049"/>
                  <a:pt x="2111877" y="5675974"/>
                  <a:pt x="2111877" y="5674049"/>
                </a:cubicBezTo>
                <a:cubicBezTo>
                  <a:pt x="2111877" y="5670200"/>
                  <a:pt x="2115726" y="5670200"/>
                  <a:pt x="2117651" y="5668275"/>
                </a:cubicBezTo>
                <a:cubicBezTo>
                  <a:pt x="2117651" y="5666350"/>
                  <a:pt x="2115726" y="5664425"/>
                  <a:pt x="2115726" y="5662500"/>
                </a:cubicBezTo>
                <a:cubicBezTo>
                  <a:pt x="2108027" y="5656726"/>
                  <a:pt x="2100328" y="5654801"/>
                  <a:pt x="2094554" y="5650952"/>
                </a:cubicBezTo>
                <a:cubicBezTo>
                  <a:pt x="2092629" y="5650952"/>
                  <a:pt x="2092629" y="5652876"/>
                  <a:pt x="2092629" y="5652876"/>
                </a:cubicBezTo>
                <a:cubicBezTo>
                  <a:pt x="2094554" y="5654801"/>
                  <a:pt x="2098403" y="5656726"/>
                  <a:pt x="2100328" y="5660576"/>
                </a:cubicBezTo>
                <a:cubicBezTo>
                  <a:pt x="2096479" y="5664425"/>
                  <a:pt x="2092629" y="5668275"/>
                  <a:pt x="2086855" y="5672124"/>
                </a:cubicBezTo>
                <a:lnTo>
                  <a:pt x="2086855" y="5654801"/>
                </a:lnTo>
                <a:lnTo>
                  <a:pt x="2086855" y="5649027"/>
                </a:lnTo>
                <a:cubicBezTo>
                  <a:pt x="2081080" y="5647102"/>
                  <a:pt x="2077231" y="5647102"/>
                  <a:pt x="2071456" y="5645177"/>
                </a:cubicBezTo>
                <a:cubicBezTo>
                  <a:pt x="2071456" y="5645177"/>
                  <a:pt x="2071456" y="5647102"/>
                  <a:pt x="2071456" y="5647102"/>
                </a:cubicBezTo>
                <a:cubicBezTo>
                  <a:pt x="2067607" y="5649027"/>
                  <a:pt x="2061832" y="5650952"/>
                  <a:pt x="2057983" y="5652876"/>
                </a:cubicBezTo>
                <a:lnTo>
                  <a:pt x="2059633" y="5644627"/>
                </a:lnTo>
                <a:lnTo>
                  <a:pt x="2054133" y="5643252"/>
                </a:lnTo>
                <a:lnTo>
                  <a:pt x="2045953" y="5643252"/>
                </a:lnTo>
                <a:lnTo>
                  <a:pt x="2056058" y="5649027"/>
                </a:lnTo>
                <a:cubicBezTo>
                  <a:pt x="2056058" y="5649027"/>
                  <a:pt x="2054134" y="5650952"/>
                  <a:pt x="2054134" y="5652876"/>
                </a:cubicBezTo>
                <a:cubicBezTo>
                  <a:pt x="2050284" y="5652876"/>
                  <a:pt x="2050284" y="5649027"/>
                  <a:pt x="2046433" y="5649027"/>
                </a:cubicBezTo>
                <a:cubicBezTo>
                  <a:pt x="2046433" y="5654801"/>
                  <a:pt x="2050284" y="5658651"/>
                  <a:pt x="2052209" y="5662500"/>
                </a:cubicBezTo>
                <a:cubicBezTo>
                  <a:pt x="2048359" y="5666350"/>
                  <a:pt x="2040659" y="5668275"/>
                  <a:pt x="2034885" y="5670200"/>
                </a:cubicBezTo>
                <a:cubicBezTo>
                  <a:pt x="2034885" y="5670200"/>
                  <a:pt x="2032960" y="5670200"/>
                  <a:pt x="2032960" y="5670200"/>
                </a:cubicBezTo>
                <a:lnTo>
                  <a:pt x="2033559" y="5666616"/>
                </a:lnTo>
                <a:lnTo>
                  <a:pt x="2015638" y="5704846"/>
                </a:lnTo>
                <a:cubicBezTo>
                  <a:pt x="2012750" y="5694741"/>
                  <a:pt x="2015276" y="5686531"/>
                  <a:pt x="2019562" y="5679098"/>
                </a:cubicBezTo>
                <a:lnTo>
                  <a:pt x="2023512" y="5673349"/>
                </a:lnTo>
                <a:lnTo>
                  <a:pt x="2021412" y="5674049"/>
                </a:lnTo>
                <a:cubicBezTo>
                  <a:pt x="2021412" y="5666350"/>
                  <a:pt x="2025262" y="5658651"/>
                  <a:pt x="2031036" y="5652876"/>
                </a:cubicBezTo>
                <a:lnTo>
                  <a:pt x="2028350" y="5666307"/>
                </a:lnTo>
                <a:lnTo>
                  <a:pt x="2034043" y="5658019"/>
                </a:lnTo>
                <a:lnTo>
                  <a:pt x="2036035" y="5651752"/>
                </a:lnTo>
                <a:lnTo>
                  <a:pt x="2036809" y="5647102"/>
                </a:lnTo>
                <a:lnTo>
                  <a:pt x="2037839" y="5646072"/>
                </a:lnTo>
                <a:lnTo>
                  <a:pt x="2038736" y="5643252"/>
                </a:lnTo>
                <a:cubicBezTo>
                  <a:pt x="2036810" y="5643252"/>
                  <a:pt x="2032962" y="5645177"/>
                  <a:pt x="2031036" y="5645177"/>
                </a:cubicBezTo>
                <a:cubicBezTo>
                  <a:pt x="2027186" y="5650952"/>
                  <a:pt x="2023337" y="5656726"/>
                  <a:pt x="2017562" y="5660576"/>
                </a:cubicBezTo>
                <a:cubicBezTo>
                  <a:pt x="2017562" y="5654801"/>
                  <a:pt x="2017562" y="5650952"/>
                  <a:pt x="2017562" y="5647102"/>
                </a:cubicBezTo>
                <a:cubicBezTo>
                  <a:pt x="2013713" y="5649027"/>
                  <a:pt x="2009863" y="5649027"/>
                  <a:pt x="2006014" y="5650952"/>
                </a:cubicBezTo>
                <a:cubicBezTo>
                  <a:pt x="2004089" y="5658651"/>
                  <a:pt x="2002164" y="5666350"/>
                  <a:pt x="1996390" y="5670200"/>
                </a:cubicBezTo>
                <a:cubicBezTo>
                  <a:pt x="1992540" y="5666350"/>
                  <a:pt x="1990615" y="5662500"/>
                  <a:pt x="1988690" y="5656726"/>
                </a:cubicBezTo>
                <a:cubicBezTo>
                  <a:pt x="1984841" y="5658651"/>
                  <a:pt x="1982916" y="5658651"/>
                  <a:pt x="1979067" y="5660576"/>
                </a:cubicBezTo>
                <a:cubicBezTo>
                  <a:pt x="1986766" y="5677899"/>
                  <a:pt x="2004089" y="5691372"/>
                  <a:pt x="2006014" y="5708696"/>
                </a:cubicBezTo>
                <a:cubicBezTo>
                  <a:pt x="2004089" y="5706771"/>
                  <a:pt x="2000239" y="5702921"/>
                  <a:pt x="1996390" y="5700996"/>
                </a:cubicBezTo>
                <a:cubicBezTo>
                  <a:pt x="1994466" y="5700996"/>
                  <a:pt x="1994466" y="5702921"/>
                  <a:pt x="1992540" y="5704846"/>
                </a:cubicBezTo>
                <a:cubicBezTo>
                  <a:pt x="1985803" y="5700997"/>
                  <a:pt x="1980991" y="5704365"/>
                  <a:pt x="1976179" y="5707734"/>
                </a:cubicBezTo>
                <a:lnTo>
                  <a:pt x="1972626" y="5709711"/>
                </a:lnTo>
                <a:lnTo>
                  <a:pt x="1973292" y="5720244"/>
                </a:lnTo>
                <a:cubicBezTo>
                  <a:pt x="1969443" y="5724094"/>
                  <a:pt x="1967517" y="5726018"/>
                  <a:pt x="1963669" y="5727943"/>
                </a:cubicBezTo>
                <a:cubicBezTo>
                  <a:pt x="1963669" y="5722169"/>
                  <a:pt x="1963669" y="5714470"/>
                  <a:pt x="1957893" y="5710620"/>
                </a:cubicBezTo>
                <a:cubicBezTo>
                  <a:pt x="1957893" y="5714470"/>
                  <a:pt x="1961743" y="5720244"/>
                  <a:pt x="1959818" y="5724094"/>
                </a:cubicBezTo>
                <a:cubicBezTo>
                  <a:pt x="1959818" y="5722169"/>
                  <a:pt x="1957893" y="5720244"/>
                  <a:pt x="1954044" y="5720244"/>
                </a:cubicBezTo>
                <a:cubicBezTo>
                  <a:pt x="1950194" y="5720244"/>
                  <a:pt x="1952119" y="5724094"/>
                  <a:pt x="1950194" y="5724094"/>
                </a:cubicBezTo>
                <a:cubicBezTo>
                  <a:pt x="1948269" y="5718319"/>
                  <a:pt x="1944420" y="5712545"/>
                  <a:pt x="1942495" y="5704846"/>
                </a:cubicBezTo>
                <a:lnTo>
                  <a:pt x="1955969" y="5696127"/>
                </a:lnTo>
                <a:lnTo>
                  <a:pt x="1955969" y="5677899"/>
                </a:lnTo>
                <a:cubicBezTo>
                  <a:pt x="1959819" y="5675974"/>
                  <a:pt x="1963669" y="5675974"/>
                  <a:pt x="1965593" y="5672124"/>
                </a:cubicBezTo>
                <a:cubicBezTo>
                  <a:pt x="1965593" y="5670200"/>
                  <a:pt x="1961743" y="5670200"/>
                  <a:pt x="1961743" y="5668275"/>
                </a:cubicBezTo>
                <a:cubicBezTo>
                  <a:pt x="1954044" y="5670200"/>
                  <a:pt x="1946345" y="5672124"/>
                  <a:pt x="1938646" y="5674049"/>
                </a:cubicBezTo>
                <a:cubicBezTo>
                  <a:pt x="1938646" y="5674049"/>
                  <a:pt x="1938646" y="5675974"/>
                  <a:pt x="1938646" y="5675974"/>
                </a:cubicBezTo>
                <a:lnTo>
                  <a:pt x="1932872" y="5677899"/>
                </a:lnTo>
                <a:lnTo>
                  <a:pt x="1932872" y="5679342"/>
                </a:lnTo>
                <a:cubicBezTo>
                  <a:pt x="1932390" y="5684635"/>
                  <a:pt x="1930947" y="5689448"/>
                  <a:pt x="1927098" y="5693297"/>
                </a:cubicBezTo>
                <a:cubicBezTo>
                  <a:pt x="1927098" y="5691372"/>
                  <a:pt x="1927098" y="5687523"/>
                  <a:pt x="1923247" y="5689447"/>
                </a:cubicBezTo>
                <a:lnTo>
                  <a:pt x="1925438" y="5676506"/>
                </a:lnTo>
                <a:lnTo>
                  <a:pt x="1925172" y="5675974"/>
                </a:lnTo>
                <a:cubicBezTo>
                  <a:pt x="1925172" y="5675974"/>
                  <a:pt x="1925172" y="5674049"/>
                  <a:pt x="1925172" y="5674049"/>
                </a:cubicBezTo>
                <a:lnTo>
                  <a:pt x="1921324" y="5674049"/>
                </a:lnTo>
                <a:lnTo>
                  <a:pt x="1915548" y="5674049"/>
                </a:lnTo>
                <a:cubicBezTo>
                  <a:pt x="1913625" y="5677899"/>
                  <a:pt x="1911699" y="5679824"/>
                  <a:pt x="1909774" y="5683673"/>
                </a:cubicBezTo>
                <a:cubicBezTo>
                  <a:pt x="1907849" y="5683673"/>
                  <a:pt x="1907849" y="5683673"/>
                  <a:pt x="1905925" y="5683673"/>
                </a:cubicBezTo>
                <a:cubicBezTo>
                  <a:pt x="1905925" y="5683673"/>
                  <a:pt x="1907849" y="5685598"/>
                  <a:pt x="1907849" y="5685598"/>
                </a:cubicBezTo>
                <a:cubicBezTo>
                  <a:pt x="1905925" y="5685598"/>
                  <a:pt x="1905925" y="5687523"/>
                  <a:pt x="1904000" y="5687523"/>
                </a:cubicBezTo>
                <a:lnTo>
                  <a:pt x="1904000" y="5691372"/>
                </a:lnTo>
                <a:cubicBezTo>
                  <a:pt x="1898225" y="5710620"/>
                  <a:pt x="1892451" y="5727943"/>
                  <a:pt x="1871278" y="5731793"/>
                </a:cubicBezTo>
                <a:lnTo>
                  <a:pt x="1873972" y="5712933"/>
                </a:lnTo>
                <a:lnTo>
                  <a:pt x="1863579" y="5751041"/>
                </a:lnTo>
                <a:lnTo>
                  <a:pt x="1864323" y="5752530"/>
                </a:lnTo>
                <a:lnTo>
                  <a:pt x="1886676" y="5739490"/>
                </a:lnTo>
                <a:cubicBezTo>
                  <a:pt x="1886676" y="5743340"/>
                  <a:pt x="1888602" y="5745265"/>
                  <a:pt x="1888602" y="5747190"/>
                </a:cubicBezTo>
                <a:cubicBezTo>
                  <a:pt x="1892451" y="5749114"/>
                  <a:pt x="1900150" y="5749114"/>
                  <a:pt x="1903999" y="5752964"/>
                </a:cubicBezTo>
                <a:cubicBezTo>
                  <a:pt x="1903999" y="5758738"/>
                  <a:pt x="1903999" y="5764513"/>
                  <a:pt x="1902075" y="5770287"/>
                </a:cubicBezTo>
                <a:cubicBezTo>
                  <a:pt x="1896300" y="5774136"/>
                  <a:pt x="1886676" y="5776061"/>
                  <a:pt x="1884751" y="5783760"/>
                </a:cubicBezTo>
                <a:cubicBezTo>
                  <a:pt x="1886676" y="5785685"/>
                  <a:pt x="1892451" y="5785685"/>
                  <a:pt x="1898225" y="5785685"/>
                </a:cubicBezTo>
                <a:cubicBezTo>
                  <a:pt x="1896300" y="5789535"/>
                  <a:pt x="1896300" y="5791459"/>
                  <a:pt x="1896300" y="5795309"/>
                </a:cubicBezTo>
                <a:cubicBezTo>
                  <a:pt x="1894376" y="5797234"/>
                  <a:pt x="1892451" y="5797234"/>
                  <a:pt x="1892451" y="5799158"/>
                </a:cubicBezTo>
                <a:cubicBezTo>
                  <a:pt x="1871278" y="5824181"/>
                  <a:pt x="1853955" y="5858827"/>
                  <a:pt x="1834707" y="5876150"/>
                </a:cubicBezTo>
                <a:cubicBezTo>
                  <a:pt x="1843368" y="5858827"/>
                  <a:pt x="1851549" y="5840061"/>
                  <a:pt x="1857082" y="5819610"/>
                </a:cubicBezTo>
                <a:lnTo>
                  <a:pt x="1862742" y="5761553"/>
                </a:lnTo>
                <a:lnTo>
                  <a:pt x="1861414" y="5762349"/>
                </a:lnTo>
                <a:cubicBezTo>
                  <a:pt x="1860211" y="5764514"/>
                  <a:pt x="1859730" y="5767402"/>
                  <a:pt x="1859730" y="5770289"/>
                </a:cubicBezTo>
                <a:cubicBezTo>
                  <a:pt x="1815460" y="5756815"/>
                  <a:pt x="1790437" y="5718320"/>
                  <a:pt x="1763491" y="5689448"/>
                </a:cubicBezTo>
                <a:lnTo>
                  <a:pt x="1754683" y="5697277"/>
                </a:lnTo>
                <a:lnTo>
                  <a:pt x="1760303" y="5709387"/>
                </a:lnTo>
                <a:cubicBezTo>
                  <a:pt x="1763009" y="5726620"/>
                  <a:pt x="1750017" y="5741417"/>
                  <a:pt x="1732694" y="5752965"/>
                </a:cubicBezTo>
                <a:cubicBezTo>
                  <a:pt x="1732694" y="5737567"/>
                  <a:pt x="1730769" y="5720244"/>
                  <a:pt x="1730769" y="5702921"/>
                </a:cubicBezTo>
                <a:cubicBezTo>
                  <a:pt x="1735581" y="5701958"/>
                  <a:pt x="1739431" y="5700996"/>
                  <a:pt x="1742799" y="5699312"/>
                </a:cubicBezTo>
                <a:lnTo>
                  <a:pt x="1746167" y="5696387"/>
                </a:lnTo>
                <a:lnTo>
                  <a:pt x="1746167" y="5675974"/>
                </a:lnTo>
                <a:cubicBezTo>
                  <a:pt x="1748092" y="5675974"/>
                  <a:pt x="1751943" y="5677899"/>
                  <a:pt x="1755791" y="5677899"/>
                </a:cubicBezTo>
                <a:cubicBezTo>
                  <a:pt x="1740393" y="5664425"/>
                  <a:pt x="1723070" y="5652876"/>
                  <a:pt x="1701897" y="5650952"/>
                </a:cubicBezTo>
                <a:cubicBezTo>
                  <a:pt x="1684574" y="5637478"/>
                  <a:pt x="1678800" y="5604757"/>
                  <a:pt x="1659552" y="5575885"/>
                </a:cubicBezTo>
                <a:cubicBezTo>
                  <a:pt x="1659552" y="5589359"/>
                  <a:pt x="1659552" y="5602832"/>
                  <a:pt x="1659552" y="5612456"/>
                </a:cubicBezTo>
                <a:cubicBezTo>
                  <a:pt x="1657627" y="5614381"/>
                  <a:pt x="1653777" y="5618230"/>
                  <a:pt x="1649928" y="5620155"/>
                </a:cubicBezTo>
                <a:cubicBezTo>
                  <a:pt x="1648003" y="5600908"/>
                  <a:pt x="1649928" y="5581660"/>
                  <a:pt x="1651853" y="5564337"/>
                </a:cubicBezTo>
                <a:cubicBezTo>
                  <a:pt x="1648003" y="5560487"/>
                  <a:pt x="1644153" y="5556637"/>
                  <a:pt x="1640304" y="5552788"/>
                </a:cubicBezTo>
                <a:cubicBezTo>
                  <a:pt x="1638379" y="5564337"/>
                  <a:pt x="1634529" y="5577810"/>
                  <a:pt x="1632606" y="5589359"/>
                </a:cubicBezTo>
                <a:cubicBezTo>
                  <a:pt x="1628755" y="5614381"/>
                  <a:pt x="1624906" y="5639403"/>
                  <a:pt x="1619131" y="5658651"/>
                </a:cubicBezTo>
                <a:cubicBezTo>
                  <a:pt x="1582560" y="5641328"/>
                  <a:pt x="1603733" y="5585509"/>
                  <a:pt x="1599883" y="5548938"/>
                </a:cubicBezTo>
                <a:cubicBezTo>
                  <a:pt x="1596035" y="5568186"/>
                  <a:pt x="1586410" y="5581660"/>
                  <a:pt x="1586410" y="5602832"/>
                </a:cubicBezTo>
                <a:cubicBezTo>
                  <a:pt x="1567162" y="5591284"/>
                  <a:pt x="1584485" y="5556637"/>
                  <a:pt x="1572936" y="5541239"/>
                </a:cubicBezTo>
                <a:cubicBezTo>
                  <a:pt x="1551765" y="5573961"/>
                  <a:pt x="1580636" y="5610531"/>
                  <a:pt x="1584485" y="5641328"/>
                </a:cubicBezTo>
                <a:cubicBezTo>
                  <a:pt x="1569087" y="5639403"/>
                  <a:pt x="1565237" y="5614381"/>
                  <a:pt x="1551765" y="5614381"/>
                </a:cubicBezTo>
                <a:cubicBezTo>
                  <a:pt x="1557539" y="5649027"/>
                  <a:pt x="1596035" y="5654801"/>
                  <a:pt x="1615282" y="5677899"/>
                </a:cubicBezTo>
                <a:cubicBezTo>
                  <a:pt x="1628755" y="5710620"/>
                  <a:pt x="1634529" y="5779913"/>
                  <a:pt x="1615282" y="5810709"/>
                </a:cubicBezTo>
                <a:cubicBezTo>
                  <a:pt x="1613357" y="5783762"/>
                  <a:pt x="1582560" y="5774138"/>
                  <a:pt x="1588335" y="5747191"/>
                </a:cubicBezTo>
                <a:cubicBezTo>
                  <a:pt x="1592184" y="5729868"/>
                  <a:pt x="1630680" y="5716395"/>
                  <a:pt x="1611432" y="5697147"/>
                </a:cubicBezTo>
                <a:cubicBezTo>
                  <a:pt x="1599883" y="5700996"/>
                  <a:pt x="1605658" y="5718320"/>
                  <a:pt x="1596035" y="5722169"/>
                </a:cubicBezTo>
                <a:cubicBezTo>
                  <a:pt x="1592184" y="5714470"/>
                  <a:pt x="1594109" y="5699072"/>
                  <a:pt x="1588335" y="5691372"/>
                </a:cubicBezTo>
                <a:cubicBezTo>
                  <a:pt x="1580636" y="5706771"/>
                  <a:pt x="1582560" y="5729868"/>
                  <a:pt x="1574861" y="5745267"/>
                </a:cubicBezTo>
                <a:cubicBezTo>
                  <a:pt x="1572936" y="5743342"/>
                  <a:pt x="1571012" y="5743342"/>
                  <a:pt x="1569087" y="5741417"/>
                </a:cubicBezTo>
                <a:cubicBezTo>
                  <a:pt x="1569087" y="5737568"/>
                  <a:pt x="1567162" y="5735643"/>
                  <a:pt x="1567162" y="5731793"/>
                </a:cubicBezTo>
                <a:cubicBezTo>
                  <a:pt x="1567162" y="5729868"/>
                  <a:pt x="1569087" y="5729868"/>
                  <a:pt x="1569087" y="5726019"/>
                </a:cubicBezTo>
                <a:cubicBezTo>
                  <a:pt x="1567162" y="5724094"/>
                  <a:pt x="1565237" y="5726019"/>
                  <a:pt x="1563312" y="5726019"/>
                </a:cubicBezTo>
                <a:cubicBezTo>
                  <a:pt x="1565237" y="5712545"/>
                  <a:pt x="1574861" y="5695222"/>
                  <a:pt x="1565237" y="5685598"/>
                </a:cubicBezTo>
                <a:cubicBezTo>
                  <a:pt x="1561388" y="5691372"/>
                  <a:pt x="1559463" y="5699072"/>
                  <a:pt x="1555613" y="5704846"/>
                </a:cubicBezTo>
                <a:cubicBezTo>
                  <a:pt x="1555613" y="5699072"/>
                  <a:pt x="1553688" y="5693297"/>
                  <a:pt x="1551765" y="5687523"/>
                </a:cubicBezTo>
                <a:cubicBezTo>
                  <a:pt x="1553688" y="5687523"/>
                  <a:pt x="1553688" y="5687523"/>
                  <a:pt x="1553688" y="5685598"/>
                </a:cubicBezTo>
                <a:cubicBezTo>
                  <a:pt x="1547914" y="5681748"/>
                  <a:pt x="1549839" y="5675974"/>
                  <a:pt x="1547914" y="5670200"/>
                </a:cubicBezTo>
                <a:cubicBezTo>
                  <a:pt x="1553688" y="5670200"/>
                  <a:pt x="1559463" y="5675974"/>
                  <a:pt x="1563312" y="5672124"/>
                </a:cubicBezTo>
                <a:cubicBezTo>
                  <a:pt x="1561388" y="5668275"/>
                  <a:pt x="1553688" y="5668275"/>
                  <a:pt x="1549839" y="5664425"/>
                </a:cubicBezTo>
                <a:cubicBezTo>
                  <a:pt x="1553688" y="5666350"/>
                  <a:pt x="1557539" y="5664425"/>
                  <a:pt x="1559463" y="5660576"/>
                </a:cubicBezTo>
                <a:cubicBezTo>
                  <a:pt x="1557539" y="5658651"/>
                  <a:pt x="1553688" y="5658651"/>
                  <a:pt x="1551765" y="5654801"/>
                </a:cubicBezTo>
                <a:cubicBezTo>
                  <a:pt x="1549839" y="5654801"/>
                  <a:pt x="1547914" y="5658651"/>
                  <a:pt x="1545989" y="5656726"/>
                </a:cubicBezTo>
                <a:cubicBezTo>
                  <a:pt x="1551765" y="5652876"/>
                  <a:pt x="1561388" y="5643252"/>
                  <a:pt x="1553688" y="5637478"/>
                </a:cubicBezTo>
                <a:cubicBezTo>
                  <a:pt x="1545989" y="5639403"/>
                  <a:pt x="1545989" y="5649027"/>
                  <a:pt x="1544065" y="5654801"/>
                </a:cubicBezTo>
                <a:cubicBezTo>
                  <a:pt x="1544065" y="5650952"/>
                  <a:pt x="1544065" y="5649027"/>
                  <a:pt x="1542140" y="5647102"/>
                </a:cubicBezTo>
                <a:cubicBezTo>
                  <a:pt x="1538290" y="5645177"/>
                  <a:pt x="1540215" y="5649027"/>
                  <a:pt x="1536365" y="5649027"/>
                </a:cubicBezTo>
                <a:cubicBezTo>
                  <a:pt x="1530591" y="5641328"/>
                  <a:pt x="1524817" y="5622080"/>
                  <a:pt x="1530591" y="5612456"/>
                </a:cubicBezTo>
                <a:cubicBezTo>
                  <a:pt x="1530591" y="5610531"/>
                  <a:pt x="1530591" y="5610531"/>
                  <a:pt x="1530591" y="5610531"/>
                </a:cubicBezTo>
                <a:cubicBezTo>
                  <a:pt x="1530591" y="5602832"/>
                  <a:pt x="1534441" y="5593208"/>
                  <a:pt x="1536365" y="5585509"/>
                </a:cubicBezTo>
                <a:cubicBezTo>
                  <a:pt x="1545989" y="5589359"/>
                  <a:pt x="1557539" y="5591284"/>
                  <a:pt x="1563312" y="5585509"/>
                </a:cubicBezTo>
                <a:cubicBezTo>
                  <a:pt x="1559463" y="5581660"/>
                  <a:pt x="1551765" y="5579735"/>
                  <a:pt x="1544065" y="5577810"/>
                </a:cubicBezTo>
                <a:cubicBezTo>
                  <a:pt x="1547914" y="5572036"/>
                  <a:pt x="1557539" y="5572036"/>
                  <a:pt x="1557539" y="5564337"/>
                </a:cubicBezTo>
                <a:cubicBezTo>
                  <a:pt x="1555613" y="5564337"/>
                  <a:pt x="1555613" y="5562412"/>
                  <a:pt x="1555613" y="5562412"/>
                </a:cubicBezTo>
                <a:cubicBezTo>
                  <a:pt x="1551765" y="5564337"/>
                  <a:pt x="1547914" y="5564337"/>
                  <a:pt x="1544065" y="5566261"/>
                </a:cubicBezTo>
                <a:cubicBezTo>
                  <a:pt x="1545989" y="5562412"/>
                  <a:pt x="1547914" y="5558562"/>
                  <a:pt x="1549839" y="5554713"/>
                </a:cubicBezTo>
                <a:cubicBezTo>
                  <a:pt x="1557539" y="5541239"/>
                  <a:pt x="1571012" y="5531615"/>
                  <a:pt x="1578711" y="5520066"/>
                </a:cubicBezTo>
                <a:cubicBezTo>
                  <a:pt x="1574861" y="5518141"/>
                  <a:pt x="1572936" y="5516217"/>
                  <a:pt x="1569087" y="5514292"/>
                </a:cubicBezTo>
                <a:cubicBezTo>
                  <a:pt x="1565237" y="5520066"/>
                  <a:pt x="1561388" y="5525841"/>
                  <a:pt x="1553688" y="5527765"/>
                </a:cubicBezTo>
                <a:cubicBezTo>
                  <a:pt x="1553688" y="5518141"/>
                  <a:pt x="1555613" y="5512367"/>
                  <a:pt x="1557539" y="5506593"/>
                </a:cubicBezTo>
                <a:cubicBezTo>
                  <a:pt x="1555613" y="5504668"/>
                  <a:pt x="1555613" y="5504668"/>
                  <a:pt x="1553688" y="5502743"/>
                </a:cubicBezTo>
                <a:cubicBezTo>
                  <a:pt x="1544065" y="5512367"/>
                  <a:pt x="1540215" y="5527765"/>
                  <a:pt x="1536365" y="5543164"/>
                </a:cubicBezTo>
                <a:cubicBezTo>
                  <a:pt x="1536365" y="5543164"/>
                  <a:pt x="1534441" y="5541239"/>
                  <a:pt x="1534441" y="5541239"/>
                </a:cubicBezTo>
                <a:cubicBezTo>
                  <a:pt x="1524817" y="5543164"/>
                  <a:pt x="1524817" y="5554713"/>
                  <a:pt x="1519042" y="5560487"/>
                </a:cubicBezTo>
                <a:cubicBezTo>
                  <a:pt x="1519042" y="5543164"/>
                  <a:pt x="1522892" y="5525841"/>
                  <a:pt x="1524817" y="5510442"/>
                </a:cubicBezTo>
                <a:cubicBezTo>
                  <a:pt x="1532516" y="5506593"/>
                  <a:pt x="1542140" y="5504668"/>
                  <a:pt x="1549839" y="5500818"/>
                </a:cubicBezTo>
                <a:cubicBezTo>
                  <a:pt x="1542140" y="5493119"/>
                  <a:pt x="1538290" y="5483495"/>
                  <a:pt x="1542140" y="5471947"/>
                </a:cubicBezTo>
                <a:cubicBezTo>
                  <a:pt x="1538290" y="5473871"/>
                  <a:pt x="1534441" y="5473871"/>
                  <a:pt x="1530591" y="5475796"/>
                </a:cubicBezTo>
                <a:cubicBezTo>
                  <a:pt x="1534441" y="5464247"/>
                  <a:pt x="1538290" y="5454624"/>
                  <a:pt x="1544065" y="5445000"/>
                </a:cubicBezTo>
                <a:cubicBezTo>
                  <a:pt x="1555613" y="5441150"/>
                  <a:pt x="1567162" y="5439225"/>
                  <a:pt x="1578711" y="5435376"/>
                </a:cubicBezTo>
                <a:cubicBezTo>
                  <a:pt x="1580636" y="5441150"/>
                  <a:pt x="1584485" y="5445000"/>
                  <a:pt x="1580636" y="5448849"/>
                </a:cubicBezTo>
                <a:cubicBezTo>
                  <a:pt x="1574861" y="5446924"/>
                  <a:pt x="1565237" y="5441150"/>
                  <a:pt x="1561388" y="5445000"/>
                </a:cubicBezTo>
                <a:cubicBezTo>
                  <a:pt x="1563312" y="5448849"/>
                  <a:pt x="1563312" y="5450774"/>
                  <a:pt x="1565237" y="5452699"/>
                </a:cubicBezTo>
                <a:cubicBezTo>
                  <a:pt x="1574861" y="5450774"/>
                  <a:pt x="1586410" y="5448849"/>
                  <a:pt x="1599883" y="5448849"/>
                </a:cubicBezTo>
                <a:cubicBezTo>
                  <a:pt x="1596035" y="5445000"/>
                  <a:pt x="1590259" y="5439225"/>
                  <a:pt x="1586410" y="5435376"/>
                </a:cubicBezTo>
                <a:cubicBezTo>
                  <a:pt x="1592184" y="5435376"/>
                  <a:pt x="1597959" y="5433451"/>
                  <a:pt x="1603733" y="5431526"/>
                </a:cubicBezTo>
                <a:cubicBezTo>
                  <a:pt x="1605658" y="5433451"/>
                  <a:pt x="1605658" y="5433451"/>
                  <a:pt x="1607583" y="5433451"/>
                </a:cubicBezTo>
                <a:cubicBezTo>
                  <a:pt x="1607583" y="5439225"/>
                  <a:pt x="1607583" y="5445000"/>
                  <a:pt x="1607583" y="5448849"/>
                </a:cubicBezTo>
                <a:cubicBezTo>
                  <a:pt x="1605658" y="5448849"/>
                  <a:pt x="1605658" y="5450774"/>
                  <a:pt x="1603733" y="5450774"/>
                </a:cubicBezTo>
                <a:cubicBezTo>
                  <a:pt x="1621056" y="5450774"/>
                  <a:pt x="1640304" y="5454624"/>
                  <a:pt x="1653777" y="5458473"/>
                </a:cubicBezTo>
                <a:cubicBezTo>
                  <a:pt x="1655702" y="5458473"/>
                  <a:pt x="1657627" y="5456548"/>
                  <a:pt x="1657627" y="5456548"/>
                </a:cubicBezTo>
                <a:cubicBezTo>
                  <a:pt x="1655702" y="5448849"/>
                  <a:pt x="1651853" y="5439225"/>
                  <a:pt x="1649928" y="5431526"/>
                </a:cubicBezTo>
                <a:cubicBezTo>
                  <a:pt x="1648003" y="5431526"/>
                  <a:pt x="1644153" y="5433451"/>
                  <a:pt x="1642229" y="5433451"/>
                </a:cubicBezTo>
                <a:cubicBezTo>
                  <a:pt x="1638379" y="5427677"/>
                  <a:pt x="1640304" y="5418053"/>
                  <a:pt x="1632606" y="5414203"/>
                </a:cubicBezTo>
                <a:cubicBezTo>
                  <a:pt x="1634529" y="5410354"/>
                  <a:pt x="1638379" y="5408429"/>
                  <a:pt x="1640304" y="5404579"/>
                </a:cubicBezTo>
                <a:cubicBezTo>
                  <a:pt x="1638379" y="5400730"/>
                  <a:pt x="1636454" y="5394955"/>
                  <a:pt x="1634529" y="5391106"/>
                </a:cubicBezTo>
                <a:cubicBezTo>
                  <a:pt x="1632606" y="5393030"/>
                  <a:pt x="1632606" y="5393030"/>
                  <a:pt x="1632606" y="5393030"/>
                </a:cubicBezTo>
                <a:cubicBezTo>
                  <a:pt x="1630680" y="5391106"/>
                  <a:pt x="1630680" y="5389181"/>
                  <a:pt x="1630680" y="5387256"/>
                </a:cubicBezTo>
                <a:cubicBezTo>
                  <a:pt x="1630680" y="5383406"/>
                  <a:pt x="1628755" y="5381482"/>
                  <a:pt x="1626830" y="5377632"/>
                </a:cubicBezTo>
                <a:cubicBezTo>
                  <a:pt x="1619131" y="5381482"/>
                  <a:pt x="1609507" y="5385331"/>
                  <a:pt x="1603733" y="5389181"/>
                </a:cubicBezTo>
                <a:cubicBezTo>
                  <a:pt x="1607583" y="5379557"/>
                  <a:pt x="1611432" y="5369933"/>
                  <a:pt x="1617206" y="5362234"/>
                </a:cubicBezTo>
                <a:cubicBezTo>
                  <a:pt x="1615282" y="5360309"/>
                  <a:pt x="1615282" y="5358384"/>
                  <a:pt x="1613357" y="5356459"/>
                </a:cubicBezTo>
                <a:cubicBezTo>
                  <a:pt x="1609507" y="5352610"/>
                  <a:pt x="1603733" y="5348760"/>
                  <a:pt x="1597959" y="5346835"/>
                </a:cubicBezTo>
                <a:cubicBezTo>
                  <a:pt x="1597959" y="5348760"/>
                  <a:pt x="1597959" y="5352610"/>
                  <a:pt x="1597959" y="5354534"/>
                </a:cubicBezTo>
                <a:lnTo>
                  <a:pt x="1579263" y="5361133"/>
                </a:lnTo>
                <a:lnTo>
                  <a:pt x="1590261" y="5358383"/>
                </a:lnTo>
                <a:cubicBezTo>
                  <a:pt x="1588336" y="5364158"/>
                  <a:pt x="1588336" y="5369933"/>
                  <a:pt x="1588336" y="5371858"/>
                </a:cubicBezTo>
                <a:cubicBezTo>
                  <a:pt x="1576786" y="5381482"/>
                  <a:pt x="1565237" y="5393030"/>
                  <a:pt x="1553689" y="5402654"/>
                </a:cubicBezTo>
                <a:cubicBezTo>
                  <a:pt x="1549839" y="5402654"/>
                  <a:pt x="1545989" y="5404579"/>
                  <a:pt x="1542140" y="5404579"/>
                </a:cubicBezTo>
                <a:cubicBezTo>
                  <a:pt x="1542140" y="5393030"/>
                  <a:pt x="1542140" y="5381482"/>
                  <a:pt x="1544065" y="5369933"/>
                </a:cubicBezTo>
                <a:lnTo>
                  <a:pt x="1567658" y="5364034"/>
                </a:lnTo>
                <a:lnTo>
                  <a:pt x="1590259" y="5344910"/>
                </a:lnTo>
                <a:cubicBezTo>
                  <a:pt x="1584485" y="5342986"/>
                  <a:pt x="1574861" y="5341061"/>
                  <a:pt x="1567162" y="5341061"/>
                </a:cubicBezTo>
                <a:cubicBezTo>
                  <a:pt x="1563312" y="5344910"/>
                  <a:pt x="1561388" y="5346835"/>
                  <a:pt x="1557539" y="5350685"/>
                </a:cubicBezTo>
                <a:cubicBezTo>
                  <a:pt x="1557539" y="5346835"/>
                  <a:pt x="1559463" y="5344910"/>
                  <a:pt x="1561388" y="5341061"/>
                </a:cubicBezTo>
                <a:cubicBezTo>
                  <a:pt x="1553688" y="5341061"/>
                  <a:pt x="1545989" y="5341061"/>
                  <a:pt x="1538290" y="5341061"/>
                </a:cubicBezTo>
                <a:cubicBezTo>
                  <a:pt x="1539252" y="5346836"/>
                  <a:pt x="1540697" y="5352610"/>
                  <a:pt x="1540697" y="5357663"/>
                </a:cubicBezTo>
                <a:lnTo>
                  <a:pt x="1535284" y="5368278"/>
                </a:lnTo>
                <a:lnTo>
                  <a:pt x="1528666" y="5369933"/>
                </a:lnTo>
                <a:cubicBezTo>
                  <a:pt x="1520968" y="5364158"/>
                  <a:pt x="1517117" y="5354534"/>
                  <a:pt x="1519042" y="5344910"/>
                </a:cubicBezTo>
                <a:cubicBezTo>
                  <a:pt x="1509418" y="5346835"/>
                  <a:pt x="1501719" y="5346835"/>
                  <a:pt x="1494020" y="5348760"/>
                </a:cubicBezTo>
                <a:cubicBezTo>
                  <a:pt x="1494020" y="5350685"/>
                  <a:pt x="1492095" y="5350685"/>
                  <a:pt x="1492095" y="5352610"/>
                </a:cubicBezTo>
                <a:cubicBezTo>
                  <a:pt x="1490170" y="5350685"/>
                  <a:pt x="1490170" y="5348760"/>
                  <a:pt x="1490170" y="5348760"/>
                </a:cubicBezTo>
                <a:cubicBezTo>
                  <a:pt x="1488246" y="5350685"/>
                  <a:pt x="1484396" y="5350685"/>
                  <a:pt x="1482471" y="5350685"/>
                </a:cubicBezTo>
                <a:cubicBezTo>
                  <a:pt x="1482471" y="5354534"/>
                  <a:pt x="1482471" y="5358384"/>
                  <a:pt x="1484396" y="5362234"/>
                </a:cubicBezTo>
                <a:cubicBezTo>
                  <a:pt x="1484396" y="5362234"/>
                  <a:pt x="1482471" y="5364158"/>
                  <a:pt x="1482471" y="5364158"/>
                </a:cubicBezTo>
                <a:cubicBezTo>
                  <a:pt x="1480546" y="5364158"/>
                  <a:pt x="1480546" y="5364158"/>
                  <a:pt x="1480546" y="5364158"/>
                </a:cubicBezTo>
                <a:cubicBezTo>
                  <a:pt x="1480546" y="5362234"/>
                  <a:pt x="1478622" y="5360309"/>
                  <a:pt x="1478622" y="5358384"/>
                </a:cubicBezTo>
                <a:cubicBezTo>
                  <a:pt x="1478622" y="5354534"/>
                  <a:pt x="1478622" y="5352610"/>
                  <a:pt x="1478622" y="5350685"/>
                </a:cubicBezTo>
                <a:cubicBezTo>
                  <a:pt x="1474772" y="5352610"/>
                  <a:pt x="1470923" y="5352610"/>
                  <a:pt x="1468998" y="5352610"/>
                </a:cubicBezTo>
                <a:cubicBezTo>
                  <a:pt x="1463223" y="5339136"/>
                  <a:pt x="1463223" y="5327587"/>
                  <a:pt x="1467073" y="5317963"/>
                </a:cubicBezTo>
                <a:cubicBezTo>
                  <a:pt x="1465148" y="5316039"/>
                  <a:pt x="1463223" y="5314114"/>
                  <a:pt x="1463223" y="5312189"/>
                </a:cubicBezTo>
                <a:cubicBezTo>
                  <a:pt x="1465148" y="5310264"/>
                  <a:pt x="1468998" y="5310264"/>
                  <a:pt x="1470923" y="5310264"/>
                </a:cubicBezTo>
                <a:cubicBezTo>
                  <a:pt x="1478622" y="5294866"/>
                  <a:pt x="1492095" y="5279468"/>
                  <a:pt x="1499794" y="5264070"/>
                </a:cubicBezTo>
                <a:cubicBezTo>
                  <a:pt x="1499794" y="5262145"/>
                  <a:pt x="1497870" y="5262145"/>
                  <a:pt x="1497870" y="5260220"/>
                </a:cubicBezTo>
                <a:cubicBezTo>
                  <a:pt x="1495945" y="5254446"/>
                  <a:pt x="1494020" y="5248671"/>
                  <a:pt x="1494020" y="5240972"/>
                </a:cubicBezTo>
                <a:cubicBezTo>
                  <a:pt x="1492095" y="5231348"/>
                  <a:pt x="1492095" y="5223649"/>
                  <a:pt x="1490170" y="5215950"/>
                </a:cubicBezTo>
                <a:cubicBezTo>
                  <a:pt x="1490170" y="5214025"/>
                  <a:pt x="1488246" y="5214025"/>
                  <a:pt x="1488246" y="5214025"/>
                </a:cubicBezTo>
                <a:cubicBezTo>
                  <a:pt x="1486321" y="5217875"/>
                  <a:pt x="1484396" y="5223649"/>
                  <a:pt x="1482471" y="5227499"/>
                </a:cubicBezTo>
                <a:cubicBezTo>
                  <a:pt x="1478622" y="5223649"/>
                  <a:pt x="1476697" y="5215950"/>
                  <a:pt x="1474772" y="5208251"/>
                </a:cubicBezTo>
                <a:cubicBezTo>
                  <a:pt x="1472847" y="5206326"/>
                  <a:pt x="1468998" y="5206326"/>
                  <a:pt x="1467073" y="5204401"/>
                </a:cubicBezTo>
                <a:cubicBezTo>
                  <a:pt x="1467073" y="5204401"/>
                  <a:pt x="1465148" y="5206326"/>
                  <a:pt x="1465148" y="5206326"/>
                </a:cubicBezTo>
                <a:cubicBezTo>
                  <a:pt x="1465148" y="5212100"/>
                  <a:pt x="1467073" y="5215950"/>
                  <a:pt x="1467073" y="5221724"/>
                </a:cubicBezTo>
                <a:cubicBezTo>
                  <a:pt x="1468998" y="5231348"/>
                  <a:pt x="1470923" y="5242897"/>
                  <a:pt x="1474772" y="5252521"/>
                </a:cubicBezTo>
                <a:cubicBezTo>
                  <a:pt x="1478622" y="5260220"/>
                  <a:pt x="1484396" y="5269844"/>
                  <a:pt x="1486321" y="5275618"/>
                </a:cubicBezTo>
                <a:cubicBezTo>
                  <a:pt x="1486321" y="5275618"/>
                  <a:pt x="1484396" y="5275618"/>
                  <a:pt x="1484396" y="5275618"/>
                </a:cubicBezTo>
                <a:cubicBezTo>
                  <a:pt x="1474772" y="5273694"/>
                  <a:pt x="1465148" y="5275618"/>
                  <a:pt x="1457449" y="5277543"/>
                </a:cubicBezTo>
                <a:cubicBezTo>
                  <a:pt x="1457449" y="5277543"/>
                  <a:pt x="1455524" y="5277543"/>
                  <a:pt x="1455524" y="5277543"/>
                </a:cubicBezTo>
                <a:cubicBezTo>
                  <a:pt x="1457449" y="5273694"/>
                  <a:pt x="1459374" y="5271769"/>
                  <a:pt x="1455524" y="5269844"/>
                </a:cubicBezTo>
                <a:cubicBezTo>
                  <a:pt x="1451675" y="5271769"/>
                  <a:pt x="1451675" y="5273694"/>
                  <a:pt x="1447825" y="5273694"/>
                </a:cubicBezTo>
                <a:cubicBezTo>
                  <a:pt x="1445900" y="5265995"/>
                  <a:pt x="1451675" y="5262145"/>
                  <a:pt x="1449750" y="5258295"/>
                </a:cubicBezTo>
                <a:cubicBezTo>
                  <a:pt x="1447825" y="5258295"/>
                  <a:pt x="1445900" y="5260220"/>
                  <a:pt x="1443976" y="5262145"/>
                </a:cubicBezTo>
                <a:cubicBezTo>
                  <a:pt x="1442051" y="5260220"/>
                  <a:pt x="1442051" y="5256371"/>
                  <a:pt x="1440126" y="5252521"/>
                </a:cubicBezTo>
                <a:cubicBezTo>
                  <a:pt x="1447825" y="5240972"/>
                  <a:pt x="1455524" y="5231348"/>
                  <a:pt x="1455524" y="5219799"/>
                </a:cubicBezTo>
                <a:cubicBezTo>
                  <a:pt x="1455524" y="5219799"/>
                  <a:pt x="1455524" y="5219799"/>
                  <a:pt x="1455524" y="5217875"/>
                </a:cubicBezTo>
                <a:cubicBezTo>
                  <a:pt x="1447825" y="5225574"/>
                  <a:pt x="1442051" y="5235198"/>
                  <a:pt x="1436276" y="5244822"/>
                </a:cubicBezTo>
                <a:lnTo>
                  <a:pt x="1415105" y="5244365"/>
                </a:lnTo>
                <a:lnTo>
                  <a:pt x="1415105" y="5264069"/>
                </a:lnTo>
                <a:cubicBezTo>
                  <a:pt x="1411255" y="5258294"/>
                  <a:pt x="1407406" y="5252520"/>
                  <a:pt x="1401630" y="5248670"/>
                </a:cubicBezTo>
                <a:cubicBezTo>
                  <a:pt x="1399706" y="5254445"/>
                  <a:pt x="1401630" y="5260219"/>
                  <a:pt x="1403556" y="5265994"/>
                </a:cubicBezTo>
                <a:cubicBezTo>
                  <a:pt x="1395856" y="5262144"/>
                  <a:pt x="1390082" y="5256370"/>
                  <a:pt x="1386232" y="5248670"/>
                </a:cubicBezTo>
                <a:cubicBezTo>
                  <a:pt x="1393931" y="5246746"/>
                  <a:pt x="1399706" y="5244821"/>
                  <a:pt x="1403556" y="5244821"/>
                </a:cubicBezTo>
                <a:lnTo>
                  <a:pt x="1407299" y="5244197"/>
                </a:lnTo>
                <a:lnTo>
                  <a:pt x="1402833" y="5244100"/>
                </a:lnTo>
                <a:cubicBezTo>
                  <a:pt x="1392969" y="5242416"/>
                  <a:pt x="1384307" y="5238085"/>
                  <a:pt x="1376608" y="5227499"/>
                </a:cubicBezTo>
                <a:cubicBezTo>
                  <a:pt x="1380458" y="5215950"/>
                  <a:pt x="1382382" y="5206326"/>
                  <a:pt x="1384307" y="5198627"/>
                </a:cubicBezTo>
                <a:cubicBezTo>
                  <a:pt x="1384307" y="5190927"/>
                  <a:pt x="1382382" y="5185153"/>
                  <a:pt x="1380458" y="5179379"/>
                </a:cubicBezTo>
                <a:cubicBezTo>
                  <a:pt x="1380458" y="5177454"/>
                  <a:pt x="1380458" y="5175529"/>
                  <a:pt x="1384307" y="5175529"/>
                </a:cubicBezTo>
                <a:cubicBezTo>
                  <a:pt x="1384307" y="5171679"/>
                  <a:pt x="1384307" y="5167830"/>
                  <a:pt x="1382382" y="5163980"/>
                </a:cubicBezTo>
                <a:cubicBezTo>
                  <a:pt x="1378533" y="5162056"/>
                  <a:pt x="1374683" y="5160131"/>
                  <a:pt x="1370834" y="5158206"/>
                </a:cubicBezTo>
                <a:cubicBezTo>
                  <a:pt x="1365059" y="5154356"/>
                  <a:pt x="1359285" y="5150507"/>
                  <a:pt x="1353511" y="5146657"/>
                </a:cubicBezTo>
                <a:cubicBezTo>
                  <a:pt x="1349661" y="5144733"/>
                  <a:pt x="1347736" y="5144733"/>
                  <a:pt x="1343887" y="5142808"/>
                </a:cubicBezTo>
                <a:cubicBezTo>
                  <a:pt x="1343887" y="5142808"/>
                  <a:pt x="1345811" y="5140883"/>
                  <a:pt x="1345811" y="5140883"/>
                </a:cubicBezTo>
                <a:cubicBezTo>
                  <a:pt x="1324639" y="5125485"/>
                  <a:pt x="1301541" y="5110087"/>
                  <a:pt x="1280369" y="5092764"/>
                </a:cubicBezTo>
                <a:cubicBezTo>
                  <a:pt x="1272670" y="5112012"/>
                  <a:pt x="1263046" y="5131259"/>
                  <a:pt x="1255346" y="5150507"/>
                </a:cubicBezTo>
                <a:cubicBezTo>
                  <a:pt x="1251497" y="5127410"/>
                  <a:pt x="1251497" y="5102388"/>
                  <a:pt x="1253422" y="5075440"/>
                </a:cubicBezTo>
                <a:cubicBezTo>
                  <a:pt x="1253422" y="5075440"/>
                  <a:pt x="1255346" y="5073516"/>
                  <a:pt x="1255346" y="5073516"/>
                </a:cubicBezTo>
                <a:cubicBezTo>
                  <a:pt x="1234174" y="5054268"/>
                  <a:pt x="1213001" y="5035020"/>
                  <a:pt x="1193753" y="5011922"/>
                </a:cubicBezTo>
                <a:cubicBezTo>
                  <a:pt x="1147558" y="4956104"/>
                  <a:pt x="1120611" y="4890661"/>
                  <a:pt x="1078266" y="4832917"/>
                </a:cubicBezTo>
                <a:cubicBezTo>
                  <a:pt x="1047469" y="4788647"/>
                  <a:pt x="987801" y="4752076"/>
                  <a:pt x="993575" y="4690483"/>
                </a:cubicBezTo>
                <a:cubicBezTo>
                  <a:pt x="999350" y="4625040"/>
                  <a:pt x="1095589" y="4571146"/>
                  <a:pt x="1155257" y="4596168"/>
                </a:cubicBezTo>
                <a:cubicBezTo>
                  <a:pt x="1197603" y="4613491"/>
                  <a:pt x="1263046" y="4569221"/>
                  <a:pt x="1309240" y="4574996"/>
                </a:cubicBezTo>
                <a:cubicBezTo>
                  <a:pt x="1288068" y="4607717"/>
                  <a:pt x="1239948" y="4621190"/>
                  <a:pt x="1205302" y="4636589"/>
                </a:cubicBezTo>
                <a:cubicBezTo>
                  <a:pt x="1180280" y="4648138"/>
                  <a:pt x="1155257" y="4675084"/>
                  <a:pt x="1184129" y="4700107"/>
                </a:cubicBezTo>
                <a:cubicBezTo>
                  <a:pt x="1207227" y="4719355"/>
                  <a:pt x="1255346" y="4707806"/>
                  <a:pt x="1291917" y="4711655"/>
                </a:cubicBezTo>
                <a:cubicBezTo>
                  <a:pt x="1313090" y="4636589"/>
                  <a:pt x="1316940" y="4555748"/>
                  <a:pt x="1334263" y="4476831"/>
                </a:cubicBezTo>
                <a:cubicBezTo>
                  <a:pt x="1315015" y="4442185"/>
                  <a:pt x="1293842" y="4407539"/>
                  <a:pt x="1297692" y="4369043"/>
                </a:cubicBezTo>
                <a:cubicBezTo>
                  <a:pt x="1299616" y="4372893"/>
                  <a:pt x="1309240" y="4376742"/>
                  <a:pt x="1313090" y="4380592"/>
                </a:cubicBezTo>
                <a:cubicBezTo>
                  <a:pt x="1313090" y="4378667"/>
                  <a:pt x="1313090" y="4374817"/>
                  <a:pt x="1313090" y="4372893"/>
                </a:cubicBezTo>
                <a:cubicBezTo>
                  <a:pt x="1278444" y="4317074"/>
                  <a:pt x="1315015" y="4259330"/>
                  <a:pt x="1340037" y="4195812"/>
                </a:cubicBezTo>
                <a:cubicBezTo>
                  <a:pt x="1338112" y="4195812"/>
                  <a:pt x="1336187" y="4197737"/>
                  <a:pt x="1334263" y="4197737"/>
                </a:cubicBezTo>
                <a:cubicBezTo>
                  <a:pt x="1340037" y="4182339"/>
                  <a:pt x="1341962" y="4168865"/>
                  <a:pt x="1336187" y="4159241"/>
                </a:cubicBezTo>
                <a:cubicBezTo>
                  <a:pt x="1318864" y="4180414"/>
                  <a:pt x="1332338" y="4218910"/>
                  <a:pt x="1311165" y="4234308"/>
                </a:cubicBezTo>
                <a:cubicBezTo>
                  <a:pt x="1305391" y="4216985"/>
                  <a:pt x="1307316" y="4195812"/>
                  <a:pt x="1313090" y="4172715"/>
                </a:cubicBezTo>
                <a:cubicBezTo>
                  <a:pt x="1289993" y="4188113"/>
                  <a:pt x="1259196" y="4197737"/>
                  <a:pt x="1234174" y="4207361"/>
                </a:cubicBezTo>
                <a:cubicBezTo>
                  <a:pt x="1126386" y="4251631"/>
                  <a:pt x="943531" y="4355570"/>
                  <a:pt x="837667" y="4320924"/>
                </a:cubicBezTo>
                <a:cubicBezTo>
                  <a:pt x="810720" y="4313224"/>
                  <a:pt x="799172" y="4276653"/>
                  <a:pt x="793397" y="4268954"/>
                </a:cubicBezTo>
                <a:cubicBezTo>
                  <a:pt x="774150" y="4240082"/>
                  <a:pt x="745278" y="4218910"/>
                  <a:pt x="752977" y="4178489"/>
                </a:cubicBezTo>
                <a:cubicBezTo>
                  <a:pt x="756826" y="4159241"/>
                  <a:pt x="793397" y="4120746"/>
                  <a:pt x="762601" y="4099573"/>
                </a:cubicBezTo>
                <a:cubicBezTo>
                  <a:pt x="699083" y="4103423"/>
                  <a:pt x="639414" y="4082250"/>
                  <a:pt x="616317" y="4036054"/>
                </a:cubicBezTo>
                <a:cubicBezTo>
                  <a:pt x="622091" y="3704991"/>
                  <a:pt x="822269" y="3427821"/>
                  <a:pt x="1003199" y="3266139"/>
                </a:cubicBezTo>
                <a:close/>
                <a:moveTo>
                  <a:pt x="3347590" y="3264214"/>
                </a:moveTo>
                <a:cubicBezTo>
                  <a:pt x="3374538" y="3269988"/>
                  <a:pt x="3397635" y="3298861"/>
                  <a:pt x="3391861" y="3318109"/>
                </a:cubicBezTo>
                <a:cubicBezTo>
                  <a:pt x="3374538" y="3300786"/>
                  <a:pt x="3362988" y="3281538"/>
                  <a:pt x="3347590" y="3264214"/>
                </a:cubicBezTo>
                <a:close/>
                <a:moveTo>
                  <a:pt x="3239802" y="3260364"/>
                </a:moveTo>
                <a:cubicBezTo>
                  <a:pt x="3241726" y="3273838"/>
                  <a:pt x="3266749" y="3289237"/>
                  <a:pt x="3257125" y="3295011"/>
                </a:cubicBezTo>
                <a:cubicBezTo>
                  <a:pt x="3253276" y="3283462"/>
                  <a:pt x="3230178" y="3268064"/>
                  <a:pt x="3239802" y="3260364"/>
                </a:cubicBezTo>
                <a:close/>
                <a:moveTo>
                  <a:pt x="3203233" y="3235342"/>
                </a:moveTo>
                <a:cubicBezTo>
                  <a:pt x="3132015" y="3414347"/>
                  <a:pt x="2995354" y="3487489"/>
                  <a:pt x="2872168" y="3583729"/>
                </a:cubicBezTo>
                <a:cubicBezTo>
                  <a:pt x="3003053" y="3531759"/>
                  <a:pt x="3103142" y="3431670"/>
                  <a:pt x="3191684" y="3314258"/>
                </a:cubicBezTo>
                <a:cubicBezTo>
                  <a:pt x="3197458" y="3356604"/>
                  <a:pt x="3162812" y="3389325"/>
                  <a:pt x="3137791" y="3418197"/>
                </a:cubicBezTo>
                <a:cubicBezTo>
                  <a:pt x="3070421" y="3491339"/>
                  <a:pt x="2981881" y="3543308"/>
                  <a:pt x="2931837" y="3604901"/>
                </a:cubicBezTo>
                <a:cubicBezTo>
                  <a:pt x="3014602" y="3601052"/>
                  <a:pt x="3058873" y="3499038"/>
                  <a:pt x="3118542" y="3462467"/>
                </a:cubicBezTo>
                <a:cubicBezTo>
                  <a:pt x="3060797" y="3531759"/>
                  <a:pt x="3004978" y="3602976"/>
                  <a:pt x="2918364" y="3624149"/>
                </a:cubicBezTo>
                <a:cubicBezTo>
                  <a:pt x="2883717" y="3610676"/>
                  <a:pt x="2858694" y="3591428"/>
                  <a:pt x="2854845" y="3558706"/>
                </a:cubicBezTo>
                <a:cubicBezTo>
                  <a:pt x="2993431" y="3483640"/>
                  <a:pt x="3106992" y="3372002"/>
                  <a:pt x="3203233" y="3235342"/>
                </a:cubicBezTo>
                <a:close/>
                <a:moveTo>
                  <a:pt x="2027186" y="3204545"/>
                </a:moveTo>
                <a:cubicBezTo>
                  <a:pt x="2029110" y="3214169"/>
                  <a:pt x="2007939" y="3225717"/>
                  <a:pt x="2011787" y="3239191"/>
                </a:cubicBezTo>
                <a:cubicBezTo>
                  <a:pt x="2031035" y="3235341"/>
                  <a:pt x="2046434" y="3223793"/>
                  <a:pt x="2065681" y="3219943"/>
                </a:cubicBezTo>
                <a:cubicBezTo>
                  <a:pt x="2063757" y="3225717"/>
                  <a:pt x="2052208" y="3231492"/>
                  <a:pt x="2056058" y="3235341"/>
                </a:cubicBezTo>
                <a:cubicBezTo>
                  <a:pt x="2067606" y="3233417"/>
                  <a:pt x="2086854" y="3225717"/>
                  <a:pt x="2094554" y="3229567"/>
                </a:cubicBezTo>
                <a:cubicBezTo>
                  <a:pt x="2052208" y="3244965"/>
                  <a:pt x="2009863" y="3262289"/>
                  <a:pt x="1973292" y="3289235"/>
                </a:cubicBezTo>
                <a:cubicBezTo>
                  <a:pt x="1973292" y="3275762"/>
                  <a:pt x="1969443" y="3264213"/>
                  <a:pt x="1961743" y="3256514"/>
                </a:cubicBezTo>
                <a:cubicBezTo>
                  <a:pt x="1986765" y="3244965"/>
                  <a:pt x="2006013" y="3223793"/>
                  <a:pt x="2027186" y="3204545"/>
                </a:cubicBezTo>
                <a:close/>
                <a:moveTo>
                  <a:pt x="3287922" y="3202622"/>
                </a:moveTo>
                <a:cubicBezTo>
                  <a:pt x="3293697" y="3204547"/>
                  <a:pt x="3299471" y="3204547"/>
                  <a:pt x="3305247" y="3206471"/>
                </a:cubicBezTo>
                <a:cubicBezTo>
                  <a:pt x="3299471" y="3216095"/>
                  <a:pt x="3311020" y="3216095"/>
                  <a:pt x="3309096" y="3223795"/>
                </a:cubicBezTo>
                <a:cubicBezTo>
                  <a:pt x="3295621" y="3219945"/>
                  <a:pt x="3295621" y="3210321"/>
                  <a:pt x="3287922" y="3202622"/>
                </a:cubicBezTo>
                <a:close/>
                <a:moveTo>
                  <a:pt x="1888602" y="3202621"/>
                </a:moveTo>
                <a:cubicBezTo>
                  <a:pt x="1900151" y="3214171"/>
                  <a:pt x="1907851" y="3225719"/>
                  <a:pt x="1913625" y="3241118"/>
                </a:cubicBezTo>
                <a:cubicBezTo>
                  <a:pt x="1890526" y="3235343"/>
                  <a:pt x="1869354" y="3227644"/>
                  <a:pt x="1850106" y="3218020"/>
                </a:cubicBezTo>
                <a:cubicBezTo>
                  <a:pt x="1865504" y="3223795"/>
                  <a:pt x="1877054" y="3214171"/>
                  <a:pt x="1888602" y="3202621"/>
                </a:cubicBezTo>
                <a:close/>
                <a:moveTo>
                  <a:pt x="2158073" y="3198771"/>
                </a:moveTo>
                <a:cubicBezTo>
                  <a:pt x="2158073" y="3204545"/>
                  <a:pt x="2146523" y="3206470"/>
                  <a:pt x="2152298" y="3210319"/>
                </a:cubicBezTo>
                <a:cubicBezTo>
                  <a:pt x="2159997" y="3208395"/>
                  <a:pt x="2167696" y="3210319"/>
                  <a:pt x="2173470" y="3206470"/>
                </a:cubicBezTo>
                <a:cubicBezTo>
                  <a:pt x="2167696" y="3216094"/>
                  <a:pt x="2156147" y="3214169"/>
                  <a:pt x="2152298" y="3225718"/>
                </a:cubicBezTo>
                <a:cubicBezTo>
                  <a:pt x="2175395" y="3235342"/>
                  <a:pt x="2183094" y="3221868"/>
                  <a:pt x="2202342" y="3223793"/>
                </a:cubicBezTo>
                <a:cubicBezTo>
                  <a:pt x="2208117" y="3221868"/>
                  <a:pt x="2186944" y="3229567"/>
                  <a:pt x="2179245" y="3227643"/>
                </a:cubicBezTo>
                <a:cubicBezTo>
                  <a:pt x="2136899" y="3244966"/>
                  <a:pt x="2088780" y="3254590"/>
                  <a:pt x="2054132" y="3285386"/>
                </a:cubicBezTo>
                <a:cubicBezTo>
                  <a:pt x="2054132" y="3289236"/>
                  <a:pt x="2063757" y="3289236"/>
                  <a:pt x="2057983" y="3295010"/>
                </a:cubicBezTo>
                <a:cubicBezTo>
                  <a:pt x="2027185" y="3287311"/>
                  <a:pt x="2013713" y="3316183"/>
                  <a:pt x="1994464" y="3331581"/>
                </a:cubicBezTo>
                <a:cubicBezTo>
                  <a:pt x="2023336" y="3356603"/>
                  <a:pt x="2056057" y="3331581"/>
                  <a:pt x="2077230" y="3320033"/>
                </a:cubicBezTo>
                <a:cubicBezTo>
                  <a:pt x="2077230" y="3325807"/>
                  <a:pt x="2067606" y="3333506"/>
                  <a:pt x="2073380" y="3335431"/>
                </a:cubicBezTo>
                <a:cubicBezTo>
                  <a:pt x="2083004" y="3337356"/>
                  <a:pt x="2096478" y="3331581"/>
                  <a:pt x="2100328" y="3335431"/>
                </a:cubicBezTo>
                <a:cubicBezTo>
                  <a:pt x="2084929" y="3343130"/>
                  <a:pt x="2067606" y="3343130"/>
                  <a:pt x="2057983" y="3358528"/>
                </a:cubicBezTo>
                <a:cubicBezTo>
                  <a:pt x="2065681" y="3370077"/>
                  <a:pt x="2081080" y="3377776"/>
                  <a:pt x="2096478" y="3385475"/>
                </a:cubicBezTo>
                <a:cubicBezTo>
                  <a:pt x="2036809" y="3381626"/>
                  <a:pt x="1992539" y="3408573"/>
                  <a:pt x="1946344" y="3433595"/>
                </a:cubicBezTo>
                <a:cubicBezTo>
                  <a:pt x="1967517" y="3445144"/>
                  <a:pt x="1986765" y="3431670"/>
                  <a:pt x="2004088" y="3447068"/>
                </a:cubicBezTo>
                <a:cubicBezTo>
                  <a:pt x="1957893" y="3452843"/>
                  <a:pt x="1911698" y="3448993"/>
                  <a:pt x="1875127" y="3462467"/>
                </a:cubicBezTo>
                <a:cubicBezTo>
                  <a:pt x="1857805" y="3443219"/>
                  <a:pt x="1832782" y="3429745"/>
                  <a:pt x="1836631" y="3408573"/>
                </a:cubicBezTo>
                <a:cubicBezTo>
                  <a:pt x="1844331" y="3356603"/>
                  <a:pt x="1929021" y="3375851"/>
                  <a:pt x="1952119" y="3352754"/>
                </a:cubicBezTo>
                <a:cubicBezTo>
                  <a:pt x="1955968" y="3346980"/>
                  <a:pt x="1959818" y="3343130"/>
                  <a:pt x="1961743" y="3337356"/>
                </a:cubicBezTo>
                <a:cubicBezTo>
                  <a:pt x="1979066" y="3331581"/>
                  <a:pt x="1996389" y="3323882"/>
                  <a:pt x="2009862" y="3310409"/>
                </a:cubicBezTo>
                <a:cubicBezTo>
                  <a:pt x="2015637" y="3304634"/>
                  <a:pt x="2017562" y="3295010"/>
                  <a:pt x="2023336" y="3289236"/>
                </a:cubicBezTo>
                <a:cubicBezTo>
                  <a:pt x="2052208" y="3260364"/>
                  <a:pt x="2104177" y="3260364"/>
                  <a:pt x="2121501" y="3218019"/>
                </a:cubicBezTo>
                <a:cubicBezTo>
                  <a:pt x="2121501" y="3221868"/>
                  <a:pt x="2125351" y="3223793"/>
                  <a:pt x="2129200" y="3225718"/>
                </a:cubicBezTo>
                <a:cubicBezTo>
                  <a:pt x="2144598" y="3225718"/>
                  <a:pt x="2144598" y="3202620"/>
                  <a:pt x="2158073" y="3198771"/>
                </a:cubicBezTo>
                <a:close/>
                <a:moveTo>
                  <a:pt x="3241727" y="3191080"/>
                </a:moveTo>
                <a:cubicBezTo>
                  <a:pt x="3307169" y="3266139"/>
                  <a:pt x="3364913" y="3364304"/>
                  <a:pt x="3430356" y="3427822"/>
                </a:cubicBezTo>
                <a:cubicBezTo>
                  <a:pt x="3432280" y="3420123"/>
                  <a:pt x="3411108" y="3406649"/>
                  <a:pt x="3422657" y="3404724"/>
                </a:cubicBezTo>
                <a:cubicBezTo>
                  <a:pt x="3453453" y="3454769"/>
                  <a:pt x="3501573" y="3491340"/>
                  <a:pt x="3520821" y="3547159"/>
                </a:cubicBezTo>
                <a:cubicBezTo>
                  <a:pt x="3505422" y="3539460"/>
                  <a:pt x="3497723" y="3527911"/>
                  <a:pt x="3478475" y="3524061"/>
                </a:cubicBezTo>
                <a:cubicBezTo>
                  <a:pt x="3407258" y="3416273"/>
                  <a:pt x="3334116" y="3323883"/>
                  <a:pt x="3239802" y="3225718"/>
                </a:cubicBezTo>
                <a:cubicBezTo>
                  <a:pt x="3243651" y="3216094"/>
                  <a:pt x="3232103" y="3196846"/>
                  <a:pt x="3241727" y="3191080"/>
                </a:cubicBezTo>
                <a:close/>
                <a:moveTo>
                  <a:pt x="5316648" y="3191079"/>
                </a:moveTo>
                <a:cubicBezTo>
                  <a:pt x="5326272" y="3189155"/>
                  <a:pt x="5330122" y="3204546"/>
                  <a:pt x="5320498" y="3204546"/>
                </a:cubicBezTo>
                <a:cubicBezTo>
                  <a:pt x="5318573" y="3202621"/>
                  <a:pt x="5316648" y="3202621"/>
                  <a:pt x="5314723" y="3202621"/>
                </a:cubicBezTo>
                <a:cubicBezTo>
                  <a:pt x="5301249" y="3202621"/>
                  <a:pt x="5308949" y="3191079"/>
                  <a:pt x="5316648" y="3191079"/>
                </a:cubicBezTo>
                <a:close/>
                <a:moveTo>
                  <a:pt x="4028965" y="3183380"/>
                </a:moveTo>
                <a:cubicBezTo>
                  <a:pt x="4032815" y="3200697"/>
                  <a:pt x="4052064" y="3210321"/>
                  <a:pt x="4048214" y="3231494"/>
                </a:cubicBezTo>
                <a:cubicBezTo>
                  <a:pt x="4021266" y="3243042"/>
                  <a:pt x="4017417" y="3194922"/>
                  <a:pt x="4028965" y="3183380"/>
                </a:cubicBezTo>
                <a:close/>
                <a:moveTo>
                  <a:pt x="5029373" y="3173995"/>
                </a:moveTo>
                <a:cubicBezTo>
                  <a:pt x="5040922" y="3175198"/>
                  <a:pt x="5053914" y="3178567"/>
                  <a:pt x="5062576" y="3181455"/>
                </a:cubicBezTo>
                <a:cubicBezTo>
                  <a:pt x="5120319" y="3202621"/>
                  <a:pt x="5172288" y="3225718"/>
                  <a:pt x="5231957" y="3239191"/>
                </a:cubicBezTo>
                <a:cubicBezTo>
                  <a:pt x="5235806" y="3239191"/>
                  <a:pt x="5243505" y="3246891"/>
                  <a:pt x="5237731" y="3258439"/>
                </a:cubicBezTo>
                <a:cubicBezTo>
                  <a:pt x="5166514" y="3231492"/>
                  <a:pt x="5089522" y="3214169"/>
                  <a:pt x="5020230" y="3194922"/>
                </a:cubicBezTo>
                <a:cubicBezTo>
                  <a:pt x="5010606" y="3191080"/>
                  <a:pt x="5008681" y="3181455"/>
                  <a:pt x="5004832" y="3179530"/>
                </a:cubicBezTo>
                <a:cubicBezTo>
                  <a:pt x="5007719" y="3173754"/>
                  <a:pt x="5017824" y="3172792"/>
                  <a:pt x="5029373" y="3173995"/>
                </a:cubicBezTo>
                <a:close/>
                <a:moveTo>
                  <a:pt x="3199383" y="3173755"/>
                </a:moveTo>
                <a:cubicBezTo>
                  <a:pt x="3201308" y="3183380"/>
                  <a:pt x="3199383" y="3194922"/>
                  <a:pt x="3201308" y="3204546"/>
                </a:cubicBezTo>
                <a:cubicBezTo>
                  <a:pt x="3105067" y="3346981"/>
                  <a:pt x="2995354" y="3470167"/>
                  <a:pt x="2854845" y="3541385"/>
                </a:cubicBezTo>
                <a:cubicBezTo>
                  <a:pt x="2881793" y="3477867"/>
                  <a:pt x="2949159" y="3441295"/>
                  <a:pt x="2999205" y="3393176"/>
                </a:cubicBezTo>
                <a:cubicBezTo>
                  <a:pt x="3064647" y="3329658"/>
                  <a:pt x="3137791" y="3264214"/>
                  <a:pt x="3187835" y="3181455"/>
                </a:cubicBezTo>
                <a:cubicBezTo>
                  <a:pt x="3189759" y="3177605"/>
                  <a:pt x="3189759" y="3175680"/>
                  <a:pt x="3193609" y="3177605"/>
                </a:cubicBezTo>
                <a:cubicBezTo>
                  <a:pt x="3195533" y="3173755"/>
                  <a:pt x="3195533" y="3171830"/>
                  <a:pt x="3199383" y="3173755"/>
                </a:cubicBezTo>
                <a:close/>
                <a:moveTo>
                  <a:pt x="1218776" y="3167975"/>
                </a:moveTo>
                <a:cubicBezTo>
                  <a:pt x="1199527" y="3214170"/>
                  <a:pt x="1164881" y="3264214"/>
                  <a:pt x="1147558" y="3298860"/>
                </a:cubicBezTo>
                <a:cubicBezTo>
                  <a:pt x="1197602" y="3289236"/>
                  <a:pt x="1209151" y="3212245"/>
                  <a:pt x="1218776" y="3167975"/>
                </a:cubicBezTo>
                <a:close/>
                <a:moveTo>
                  <a:pt x="3241727" y="3137182"/>
                </a:moveTo>
                <a:cubicBezTo>
                  <a:pt x="3243653" y="3148730"/>
                  <a:pt x="3255203" y="3154506"/>
                  <a:pt x="3257126" y="3166057"/>
                </a:cubicBezTo>
                <a:cubicBezTo>
                  <a:pt x="3241727" y="3164132"/>
                  <a:pt x="3234028" y="3141031"/>
                  <a:pt x="3241727" y="3137182"/>
                </a:cubicBezTo>
                <a:close/>
                <a:moveTo>
                  <a:pt x="4034740" y="3135255"/>
                </a:moveTo>
                <a:cubicBezTo>
                  <a:pt x="4013567" y="3167980"/>
                  <a:pt x="3992394" y="3183380"/>
                  <a:pt x="3988544" y="3208395"/>
                </a:cubicBezTo>
                <a:cubicBezTo>
                  <a:pt x="3982770" y="3264214"/>
                  <a:pt x="4013567" y="3266139"/>
                  <a:pt x="4046288" y="3254590"/>
                </a:cubicBezTo>
                <a:lnTo>
                  <a:pt x="4067461" y="3214169"/>
                </a:lnTo>
                <a:cubicBezTo>
                  <a:pt x="4055912" y="3204546"/>
                  <a:pt x="4053987" y="3189154"/>
                  <a:pt x="4048213" y="3175680"/>
                </a:cubicBezTo>
                <a:cubicBezTo>
                  <a:pt x="4050138" y="3171830"/>
                  <a:pt x="4053987" y="3171830"/>
                  <a:pt x="4057837" y="3169904"/>
                </a:cubicBezTo>
                <a:cubicBezTo>
                  <a:pt x="4061686" y="3181455"/>
                  <a:pt x="4069386" y="3191080"/>
                  <a:pt x="4075160" y="3202621"/>
                </a:cubicBezTo>
                <a:lnTo>
                  <a:pt x="4077085" y="3198771"/>
                </a:lnTo>
                <a:cubicBezTo>
                  <a:pt x="4080934" y="3191080"/>
                  <a:pt x="4075160" y="3177604"/>
                  <a:pt x="4073235" y="3175680"/>
                </a:cubicBezTo>
                <a:cubicBezTo>
                  <a:pt x="4059762" y="3162206"/>
                  <a:pt x="4048213" y="3148730"/>
                  <a:pt x="4034740" y="3135255"/>
                </a:cubicBezTo>
                <a:close/>
                <a:moveTo>
                  <a:pt x="2042584" y="3135254"/>
                </a:moveTo>
                <a:cubicBezTo>
                  <a:pt x="2038734" y="3142954"/>
                  <a:pt x="2034885" y="3150653"/>
                  <a:pt x="2038734" y="3156429"/>
                </a:cubicBezTo>
                <a:cubicBezTo>
                  <a:pt x="2048358" y="3154503"/>
                  <a:pt x="2052208" y="3144878"/>
                  <a:pt x="2061833" y="3144878"/>
                </a:cubicBezTo>
                <a:cubicBezTo>
                  <a:pt x="2052208" y="3158353"/>
                  <a:pt x="2025261" y="3166054"/>
                  <a:pt x="2036809" y="3183378"/>
                </a:cubicBezTo>
                <a:cubicBezTo>
                  <a:pt x="2057983" y="3181453"/>
                  <a:pt x="2088780" y="3177602"/>
                  <a:pt x="2104178" y="3175678"/>
                </a:cubicBezTo>
                <a:cubicBezTo>
                  <a:pt x="2056057" y="3200696"/>
                  <a:pt x="1984840" y="3179527"/>
                  <a:pt x="1938646" y="3208395"/>
                </a:cubicBezTo>
                <a:cubicBezTo>
                  <a:pt x="1940570" y="3214169"/>
                  <a:pt x="1936720" y="3221868"/>
                  <a:pt x="1940570" y="3227643"/>
                </a:cubicBezTo>
                <a:cubicBezTo>
                  <a:pt x="1952119" y="3223793"/>
                  <a:pt x="1969443" y="3227643"/>
                  <a:pt x="1982916" y="3223793"/>
                </a:cubicBezTo>
                <a:cubicBezTo>
                  <a:pt x="1979066" y="3233417"/>
                  <a:pt x="1959818" y="3235342"/>
                  <a:pt x="1948269" y="3244966"/>
                </a:cubicBezTo>
                <a:cubicBezTo>
                  <a:pt x="1944420" y="3243041"/>
                  <a:pt x="1938646" y="3241116"/>
                  <a:pt x="1932872" y="3241116"/>
                </a:cubicBezTo>
                <a:cubicBezTo>
                  <a:pt x="1929021" y="3223793"/>
                  <a:pt x="1921322" y="3210320"/>
                  <a:pt x="1913623" y="3198771"/>
                </a:cubicBezTo>
                <a:cubicBezTo>
                  <a:pt x="1938646" y="3187227"/>
                  <a:pt x="1959818" y="3169902"/>
                  <a:pt x="1982916" y="3152578"/>
                </a:cubicBezTo>
                <a:cubicBezTo>
                  <a:pt x="1977141" y="3164128"/>
                  <a:pt x="1959818" y="3177602"/>
                  <a:pt x="1957893" y="3185303"/>
                </a:cubicBezTo>
                <a:cubicBezTo>
                  <a:pt x="2002163" y="3198771"/>
                  <a:pt x="2021411" y="3166054"/>
                  <a:pt x="2042584" y="3135254"/>
                </a:cubicBezTo>
                <a:close/>
                <a:moveTo>
                  <a:pt x="1270745" y="3114081"/>
                </a:moveTo>
                <a:cubicBezTo>
                  <a:pt x="1226474" y="3175674"/>
                  <a:pt x="1222624" y="3302710"/>
                  <a:pt x="1157182" y="3329657"/>
                </a:cubicBezTo>
                <a:cubicBezTo>
                  <a:pt x="1234173" y="3345055"/>
                  <a:pt x="1249571" y="3185298"/>
                  <a:pt x="1270745" y="3114081"/>
                </a:cubicBezTo>
                <a:close/>
                <a:moveTo>
                  <a:pt x="5251205" y="3090988"/>
                </a:moveTo>
                <a:cubicBezTo>
                  <a:pt x="5293551" y="3096764"/>
                  <a:pt x="5330122" y="3114084"/>
                  <a:pt x="5370542" y="3133331"/>
                </a:cubicBezTo>
                <a:cubicBezTo>
                  <a:pt x="5362843" y="3156432"/>
                  <a:pt x="5333971" y="3127557"/>
                  <a:pt x="5324347" y="3125633"/>
                </a:cubicBezTo>
                <a:cubicBezTo>
                  <a:pt x="5293551" y="3121783"/>
                  <a:pt x="5268528" y="3112159"/>
                  <a:pt x="5245431" y="3102536"/>
                </a:cubicBezTo>
                <a:cubicBezTo>
                  <a:pt x="5231957" y="3096764"/>
                  <a:pt x="5245431" y="3089065"/>
                  <a:pt x="5251205" y="3090988"/>
                </a:cubicBezTo>
                <a:close/>
                <a:moveTo>
                  <a:pt x="3195533" y="3079442"/>
                </a:moveTo>
                <a:cubicBezTo>
                  <a:pt x="3193609" y="3090988"/>
                  <a:pt x="3195533" y="3102536"/>
                  <a:pt x="3195533" y="3114082"/>
                </a:cubicBezTo>
                <a:cubicBezTo>
                  <a:pt x="3130091" y="3227643"/>
                  <a:pt x="3045399" y="3329656"/>
                  <a:pt x="2962634" y="3406648"/>
                </a:cubicBezTo>
                <a:cubicBezTo>
                  <a:pt x="2935686" y="3431670"/>
                  <a:pt x="2902965" y="3475940"/>
                  <a:pt x="2864469" y="3466316"/>
                </a:cubicBezTo>
                <a:cubicBezTo>
                  <a:pt x="2972257" y="3356603"/>
                  <a:pt x="3110843" y="3244965"/>
                  <a:pt x="3195533" y="3079442"/>
                </a:cubicBezTo>
                <a:close/>
                <a:moveTo>
                  <a:pt x="1742317" y="3079436"/>
                </a:moveTo>
                <a:cubicBezTo>
                  <a:pt x="1765415" y="3108307"/>
                  <a:pt x="1790437" y="3135253"/>
                  <a:pt x="1817384" y="3160276"/>
                </a:cubicBezTo>
                <a:cubicBezTo>
                  <a:pt x="1811610" y="3169900"/>
                  <a:pt x="1803910" y="3179524"/>
                  <a:pt x="1800061" y="3187224"/>
                </a:cubicBezTo>
                <a:cubicBezTo>
                  <a:pt x="1775039" y="3167975"/>
                  <a:pt x="1755791" y="3144877"/>
                  <a:pt x="1736543" y="3119854"/>
                </a:cubicBezTo>
                <a:cubicBezTo>
                  <a:pt x="1738468" y="3106382"/>
                  <a:pt x="1740392" y="3090983"/>
                  <a:pt x="1742317" y="3079436"/>
                </a:cubicBezTo>
                <a:close/>
                <a:moveTo>
                  <a:pt x="3944274" y="3077516"/>
                </a:moveTo>
                <a:cubicBezTo>
                  <a:pt x="3951973" y="3079442"/>
                  <a:pt x="3957747" y="3079442"/>
                  <a:pt x="3961597" y="3077516"/>
                </a:cubicBezTo>
                <a:cubicBezTo>
                  <a:pt x="3957747" y="3094839"/>
                  <a:pt x="3973147" y="3102536"/>
                  <a:pt x="3975071" y="3114084"/>
                </a:cubicBezTo>
                <a:cubicBezTo>
                  <a:pt x="3967371" y="3114084"/>
                  <a:pt x="3961597" y="3112160"/>
                  <a:pt x="3953898" y="3110235"/>
                </a:cubicBezTo>
                <a:cubicBezTo>
                  <a:pt x="3961597" y="3092913"/>
                  <a:pt x="3944274" y="3090989"/>
                  <a:pt x="3944274" y="3077516"/>
                </a:cubicBezTo>
                <a:close/>
                <a:moveTo>
                  <a:pt x="3243653" y="3071743"/>
                </a:moveTo>
                <a:cubicBezTo>
                  <a:pt x="3285998" y="3146808"/>
                  <a:pt x="3237878" y="3114084"/>
                  <a:pt x="3243653" y="3071743"/>
                </a:cubicBezTo>
                <a:close/>
                <a:moveTo>
                  <a:pt x="4002018" y="3064046"/>
                </a:moveTo>
                <a:cubicBezTo>
                  <a:pt x="3994319" y="3062121"/>
                  <a:pt x="3984695" y="3069819"/>
                  <a:pt x="3994319" y="3073669"/>
                </a:cubicBezTo>
                <a:cubicBezTo>
                  <a:pt x="3996244" y="3071742"/>
                  <a:pt x="3998168" y="3071742"/>
                  <a:pt x="4002018" y="3073669"/>
                </a:cubicBezTo>
                <a:cubicBezTo>
                  <a:pt x="4002018" y="3077516"/>
                  <a:pt x="4002018" y="3079442"/>
                  <a:pt x="4003943" y="3081366"/>
                </a:cubicBezTo>
                <a:cubicBezTo>
                  <a:pt x="4028965" y="3108310"/>
                  <a:pt x="4053987" y="3127557"/>
                  <a:pt x="4069386" y="3156432"/>
                </a:cubicBezTo>
                <a:cubicBezTo>
                  <a:pt x="4069386" y="3154506"/>
                  <a:pt x="4071310" y="3150655"/>
                  <a:pt x="4071310" y="3148730"/>
                </a:cubicBezTo>
                <a:cubicBezTo>
                  <a:pt x="4071310" y="3144880"/>
                  <a:pt x="4069386" y="3142955"/>
                  <a:pt x="4069386" y="3139106"/>
                </a:cubicBezTo>
                <a:cubicBezTo>
                  <a:pt x="4069386" y="3139106"/>
                  <a:pt x="4071310" y="3141030"/>
                  <a:pt x="4071310" y="3141030"/>
                </a:cubicBezTo>
                <a:cubicBezTo>
                  <a:pt x="4071310" y="3139106"/>
                  <a:pt x="4071310" y="3137180"/>
                  <a:pt x="4071310" y="3137180"/>
                </a:cubicBezTo>
                <a:cubicBezTo>
                  <a:pt x="4052063" y="3104461"/>
                  <a:pt x="4030890" y="3077516"/>
                  <a:pt x="4002018" y="3064046"/>
                </a:cubicBezTo>
                <a:close/>
                <a:moveTo>
                  <a:pt x="3951974" y="3050573"/>
                </a:moveTo>
                <a:cubicBezTo>
                  <a:pt x="3940425" y="3050573"/>
                  <a:pt x="3930801" y="3050573"/>
                  <a:pt x="3923102" y="3056346"/>
                </a:cubicBezTo>
                <a:cubicBezTo>
                  <a:pt x="3886531" y="3156432"/>
                  <a:pt x="3975071" y="3142955"/>
                  <a:pt x="4030890" y="3133331"/>
                </a:cubicBezTo>
                <a:cubicBezTo>
                  <a:pt x="4023191" y="3125633"/>
                  <a:pt x="4015492" y="3117934"/>
                  <a:pt x="4007792" y="3110236"/>
                </a:cubicBezTo>
                <a:cubicBezTo>
                  <a:pt x="4000093" y="3106385"/>
                  <a:pt x="3998168" y="3112160"/>
                  <a:pt x="3990469" y="3110236"/>
                </a:cubicBezTo>
                <a:cubicBezTo>
                  <a:pt x="3992394" y="3098688"/>
                  <a:pt x="3986620" y="3092914"/>
                  <a:pt x="3982770" y="3083292"/>
                </a:cubicBezTo>
                <a:cubicBezTo>
                  <a:pt x="3973146" y="3071742"/>
                  <a:pt x="3963522" y="3062121"/>
                  <a:pt x="3951974" y="3050573"/>
                </a:cubicBezTo>
                <a:close/>
                <a:moveTo>
                  <a:pt x="1755791" y="3040945"/>
                </a:moveTo>
                <a:cubicBezTo>
                  <a:pt x="1784663" y="3073663"/>
                  <a:pt x="1821234" y="3100608"/>
                  <a:pt x="1863579" y="3112156"/>
                </a:cubicBezTo>
                <a:cubicBezTo>
                  <a:pt x="1853955" y="3119854"/>
                  <a:pt x="1844331" y="3127554"/>
                  <a:pt x="1834707" y="3137179"/>
                </a:cubicBezTo>
                <a:cubicBezTo>
                  <a:pt x="1813535" y="3125628"/>
                  <a:pt x="1794287" y="3114081"/>
                  <a:pt x="1776964" y="3098685"/>
                </a:cubicBezTo>
                <a:cubicBezTo>
                  <a:pt x="1765415" y="3089061"/>
                  <a:pt x="1755791" y="3077513"/>
                  <a:pt x="1746167" y="3065964"/>
                </a:cubicBezTo>
                <a:cubicBezTo>
                  <a:pt x="1750016" y="3056341"/>
                  <a:pt x="1751941" y="3048643"/>
                  <a:pt x="1755791" y="3040945"/>
                </a:cubicBezTo>
                <a:close/>
                <a:moveTo>
                  <a:pt x="3178210" y="3012084"/>
                </a:moveTo>
                <a:cubicBezTo>
                  <a:pt x="3185909" y="3017857"/>
                  <a:pt x="3180134" y="3031327"/>
                  <a:pt x="3185909" y="3039026"/>
                </a:cubicBezTo>
                <a:cubicBezTo>
                  <a:pt x="3105068" y="3219943"/>
                  <a:pt x="2983805" y="3341205"/>
                  <a:pt x="2850995" y="3441294"/>
                </a:cubicBezTo>
                <a:cubicBezTo>
                  <a:pt x="2850995" y="3395099"/>
                  <a:pt x="2897190" y="3370077"/>
                  <a:pt x="2924137" y="3345054"/>
                </a:cubicBezTo>
                <a:cubicBezTo>
                  <a:pt x="3020376" y="3256514"/>
                  <a:pt x="3116617" y="3154505"/>
                  <a:pt x="3174360" y="3014008"/>
                </a:cubicBezTo>
                <a:cubicBezTo>
                  <a:pt x="3176285" y="3012084"/>
                  <a:pt x="3176285" y="3010160"/>
                  <a:pt x="3178210" y="3012084"/>
                </a:cubicBezTo>
                <a:close/>
                <a:moveTo>
                  <a:pt x="1549839" y="3008221"/>
                </a:moveTo>
                <a:cubicBezTo>
                  <a:pt x="1549839" y="3010145"/>
                  <a:pt x="1549839" y="3010145"/>
                  <a:pt x="1549839" y="3012071"/>
                </a:cubicBezTo>
                <a:cubicBezTo>
                  <a:pt x="1547915" y="3017845"/>
                  <a:pt x="1545991" y="3025543"/>
                  <a:pt x="1544065" y="3031319"/>
                </a:cubicBezTo>
                <a:cubicBezTo>
                  <a:pt x="1542139" y="3023618"/>
                  <a:pt x="1542139" y="3015919"/>
                  <a:pt x="1549839" y="3008221"/>
                </a:cubicBezTo>
                <a:close/>
                <a:moveTo>
                  <a:pt x="5126093" y="3000538"/>
                </a:moveTo>
                <a:cubicBezTo>
                  <a:pt x="5156891" y="3000538"/>
                  <a:pt x="5187688" y="3015933"/>
                  <a:pt x="5210785" y="3027479"/>
                </a:cubicBezTo>
                <a:cubicBezTo>
                  <a:pt x="5305099" y="3058272"/>
                  <a:pt x="5410963" y="3067894"/>
                  <a:pt x="5505278" y="3083292"/>
                </a:cubicBezTo>
                <a:cubicBezTo>
                  <a:pt x="5528375" y="3087140"/>
                  <a:pt x="5499503" y="3100612"/>
                  <a:pt x="5493729" y="3098688"/>
                </a:cubicBezTo>
                <a:cubicBezTo>
                  <a:pt x="5459082" y="3089065"/>
                  <a:pt x="5428286" y="3081366"/>
                  <a:pt x="5389790" y="3077516"/>
                </a:cubicBezTo>
                <a:cubicBezTo>
                  <a:pt x="5328197" y="3071742"/>
                  <a:pt x="5256980" y="3048649"/>
                  <a:pt x="5199236" y="3058272"/>
                </a:cubicBezTo>
                <a:lnTo>
                  <a:pt x="5039478" y="3015933"/>
                </a:lnTo>
                <a:cubicBezTo>
                  <a:pt x="5074124" y="3021706"/>
                  <a:pt x="5116469" y="3027479"/>
                  <a:pt x="5158816" y="3017857"/>
                </a:cubicBezTo>
                <a:cubicBezTo>
                  <a:pt x="5149191" y="3012084"/>
                  <a:pt x="5128018" y="3015933"/>
                  <a:pt x="5126093" y="3000538"/>
                </a:cubicBezTo>
                <a:close/>
                <a:moveTo>
                  <a:pt x="3230178" y="3000538"/>
                </a:moveTo>
                <a:cubicBezTo>
                  <a:pt x="3245576" y="3014008"/>
                  <a:pt x="3282148" y="3035178"/>
                  <a:pt x="3264825" y="3060197"/>
                </a:cubicBezTo>
                <a:cubicBezTo>
                  <a:pt x="3255201" y="3039027"/>
                  <a:pt x="3230178" y="3027480"/>
                  <a:pt x="3230178" y="3000538"/>
                </a:cubicBezTo>
                <a:close/>
                <a:moveTo>
                  <a:pt x="1711521" y="2987055"/>
                </a:moveTo>
                <a:cubicBezTo>
                  <a:pt x="1707671" y="3004377"/>
                  <a:pt x="1717296" y="3017849"/>
                  <a:pt x="1723071" y="3031323"/>
                </a:cubicBezTo>
                <a:cubicBezTo>
                  <a:pt x="1715371" y="3019774"/>
                  <a:pt x="1707671" y="3006302"/>
                  <a:pt x="1701897" y="2992829"/>
                </a:cubicBezTo>
                <a:cubicBezTo>
                  <a:pt x="1705747" y="2988980"/>
                  <a:pt x="1707671" y="2987055"/>
                  <a:pt x="1711521" y="2987055"/>
                </a:cubicBezTo>
                <a:close/>
                <a:moveTo>
                  <a:pt x="1499794" y="2985119"/>
                </a:moveTo>
                <a:cubicBezTo>
                  <a:pt x="1497869" y="2988969"/>
                  <a:pt x="1495945" y="2992818"/>
                  <a:pt x="1494020" y="2996668"/>
                </a:cubicBezTo>
                <a:cubicBezTo>
                  <a:pt x="1517117" y="3013991"/>
                  <a:pt x="1534440" y="3033239"/>
                  <a:pt x="1540214" y="3050563"/>
                </a:cubicBezTo>
                <a:cubicBezTo>
                  <a:pt x="1519042" y="3150652"/>
                  <a:pt x="1532516" y="3246891"/>
                  <a:pt x="1559462" y="3304635"/>
                </a:cubicBezTo>
                <a:cubicBezTo>
                  <a:pt x="1555613" y="3316183"/>
                  <a:pt x="1540214" y="3310409"/>
                  <a:pt x="1534440" y="3320033"/>
                </a:cubicBezTo>
                <a:cubicBezTo>
                  <a:pt x="1511343" y="3308484"/>
                  <a:pt x="1497869" y="3277688"/>
                  <a:pt x="1467073" y="3283462"/>
                </a:cubicBezTo>
                <a:cubicBezTo>
                  <a:pt x="1420878" y="3212245"/>
                  <a:pt x="1457449" y="3067885"/>
                  <a:pt x="1497869" y="2987044"/>
                </a:cubicBezTo>
                <a:cubicBezTo>
                  <a:pt x="1497869" y="2987044"/>
                  <a:pt x="1497869" y="2985119"/>
                  <a:pt x="1499794" y="2985119"/>
                </a:cubicBezTo>
                <a:close/>
                <a:moveTo>
                  <a:pt x="1459374" y="2973572"/>
                </a:moveTo>
                <a:cubicBezTo>
                  <a:pt x="1470923" y="2979346"/>
                  <a:pt x="1480547" y="2985119"/>
                  <a:pt x="1490171" y="2992820"/>
                </a:cubicBezTo>
                <a:cubicBezTo>
                  <a:pt x="1492096" y="2990894"/>
                  <a:pt x="1494021" y="2988970"/>
                  <a:pt x="1497870" y="2985119"/>
                </a:cubicBezTo>
                <a:cubicBezTo>
                  <a:pt x="1428578" y="3064037"/>
                  <a:pt x="1418953" y="3198772"/>
                  <a:pt x="1443976" y="3289237"/>
                </a:cubicBezTo>
                <a:cubicBezTo>
                  <a:pt x="1418953" y="3310410"/>
                  <a:pt x="1395856" y="3327733"/>
                  <a:pt x="1366983" y="3341206"/>
                </a:cubicBezTo>
                <a:cubicBezTo>
                  <a:pt x="1343886" y="3312334"/>
                  <a:pt x="1345811" y="3268064"/>
                  <a:pt x="1289992" y="3260365"/>
                </a:cubicBezTo>
                <a:cubicBezTo>
                  <a:pt x="1303466" y="3108307"/>
                  <a:pt x="1384307" y="3042863"/>
                  <a:pt x="1459374" y="2973572"/>
                </a:cubicBezTo>
                <a:close/>
                <a:moveTo>
                  <a:pt x="1582560" y="2963950"/>
                </a:moveTo>
                <a:cubicBezTo>
                  <a:pt x="1597958" y="2979348"/>
                  <a:pt x="1599883" y="2998596"/>
                  <a:pt x="1630680" y="3006294"/>
                </a:cubicBezTo>
                <a:cubicBezTo>
                  <a:pt x="1636454" y="3002445"/>
                  <a:pt x="1642228" y="2996670"/>
                  <a:pt x="1646079" y="2988971"/>
                </a:cubicBezTo>
                <a:cubicBezTo>
                  <a:pt x="1661476" y="3025542"/>
                  <a:pt x="1682650" y="3060188"/>
                  <a:pt x="1703821" y="3094833"/>
                </a:cubicBezTo>
                <a:cubicBezTo>
                  <a:pt x="1688424" y="3104457"/>
                  <a:pt x="1669175" y="3114081"/>
                  <a:pt x="1665326" y="3133329"/>
                </a:cubicBezTo>
                <a:cubicBezTo>
                  <a:pt x="1659551" y="3156427"/>
                  <a:pt x="1676874" y="3173750"/>
                  <a:pt x="1680724" y="3198772"/>
                </a:cubicBezTo>
                <a:cubicBezTo>
                  <a:pt x="1696123" y="3187223"/>
                  <a:pt x="1730768" y="3175676"/>
                  <a:pt x="1738468" y="3150652"/>
                </a:cubicBezTo>
                <a:cubicBezTo>
                  <a:pt x="1742317" y="3154502"/>
                  <a:pt x="1744242" y="3158351"/>
                  <a:pt x="1746167" y="3162201"/>
                </a:cubicBezTo>
                <a:cubicBezTo>
                  <a:pt x="1755791" y="3175676"/>
                  <a:pt x="1775039" y="3185299"/>
                  <a:pt x="1794286" y="3194922"/>
                </a:cubicBezTo>
                <a:cubicBezTo>
                  <a:pt x="1786587" y="3210320"/>
                  <a:pt x="1786587" y="3225719"/>
                  <a:pt x="1794286" y="3239192"/>
                </a:cubicBezTo>
                <a:cubicBezTo>
                  <a:pt x="1811611" y="3235343"/>
                  <a:pt x="1828934" y="3231493"/>
                  <a:pt x="1842407" y="3218020"/>
                </a:cubicBezTo>
                <a:cubicBezTo>
                  <a:pt x="1859730" y="3227644"/>
                  <a:pt x="1873204" y="3239192"/>
                  <a:pt x="1878978" y="3256516"/>
                </a:cubicBezTo>
                <a:cubicBezTo>
                  <a:pt x="1861655" y="3264215"/>
                  <a:pt x="1852031" y="3283462"/>
                  <a:pt x="1836633" y="3295011"/>
                </a:cubicBezTo>
                <a:cubicBezTo>
                  <a:pt x="1765415" y="3269989"/>
                  <a:pt x="1711521" y="3285387"/>
                  <a:pt x="1661476" y="3308485"/>
                </a:cubicBezTo>
                <a:cubicBezTo>
                  <a:pt x="1632604" y="3295011"/>
                  <a:pt x="1646079" y="3252666"/>
                  <a:pt x="1626830" y="3233418"/>
                </a:cubicBezTo>
                <a:cubicBezTo>
                  <a:pt x="1622980" y="3252666"/>
                  <a:pt x="1630680" y="3268064"/>
                  <a:pt x="1632604" y="3285387"/>
                </a:cubicBezTo>
                <a:cubicBezTo>
                  <a:pt x="1613356" y="3273839"/>
                  <a:pt x="1584485" y="3285387"/>
                  <a:pt x="1563312" y="3291162"/>
                </a:cubicBezTo>
                <a:cubicBezTo>
                  <a:pt x="1540214" y="3231493"/>
                  <a:pt x="1536365" y="3160276"/>
                  <a:pt x="1545989" y="3081360"/>
                </a:cubicBezTo>
                <a:cubicBezTo>
                  <a:pt x="1555613" y="3069812"/>
                  <a:pt x="1553688" y="3058262"/>
                  <a:pt x="1549838" y="3046715"/>
                </a:cubicBezTo>
                <a:cubicBezTo>
                  <a:pt x="1551763" y="3039016"/>
                  <a:pt x="1551763" y="3033240"/>
                  <a:pt x="1553688" y="3027467"/>
                </a:cubicBezTo>
                <a:cubicBezTo>
                  <a:pt x="1555613" y="3031316"/>
                  <a:pt x="1557539" y="3035166"/>
                  <a:pt x="1561387" y="3037091"/>
                </a:cubicBezTo>
                <a:cubicBezTo>
                  <a:pt x="1567161" y="3029392"/>
                  <a:pt x="1569086" y="3012069"/>
                  <a:pt x="1576786" y="3008219"/>
                </a:cubicBezTo>
                <a:cubicBezTo>
                  <a:pt x="1576786" y="3021693"/>
                  <a:pt x="1572936" y="3037091"/>
                  <a:pt x="1578710" y="3048638"/>
                </a:cubicBezTo>
                <a:cubicBezTo>
                  <a:pt x="1594109" y="3046715"/>
                  <a:pt x="1601809" y="3031316"/>
                  <a:pt x="1611432" y="3017843"/>
                </a:cubicBezTo>
                <a:cubicBezTo>
                  <a:pt x="1605657" y="3000520"/>
                  <a:pt x="1567161" y="2985121"/>
                  <a:pt x="1582560" y="2963950"/>
                </a:cubicBezTo>
                <a:close/>
                <a:moveTo>
                  <a:pt x="3580490" y="2956274"/>
                </a:moveTo>
                <a:cubicBezTo>
                  <a:pt x="3574715" y="2958198"/>
                  <a:pt x="3568941" y="2963971"/>
                  <a:pt x="3563167" y="2965897"/>
                </a:cubicBezTo>
                <a:cubicBezTo>
                  <a:pt x="3578565" y="2992838"/>
                  <a:pt x="3592038" y="3021706"/>
                  <a:pt x="3603587" y="3052498"/>
                </a:cubicBezTo>
                <a:cubicBezTo>
                  <a:pt x="3605512" y="3056346"/>
                  <a:pt x="3607437" y="3062121"/>
                  <a:pt x="3609361" y="3067894"/>
                </a:cubicBezTo>
                <a:cubicBezTo>
                  <a:pt x="3620910" y="3104461"/>
                  <a:pt x="3630534" y="3141030"/>
                  <a:pt x="3638233" y="3179530"/>
                </a:cubicBezTo>
                <a:cubicBezTo>
                  <a:pt x="3638233" y="3171830"/>
                  <a:pt x="3638233" y="3166055"/>
                  <a:pt x="3640158" y="3158356"/>
                </a:cubicBezTo>
                <a:cubicBezTo>
                  <a:pt x="3642083" y="3152582"/>
                  <a:pt x="3647857" y="3154506"/>
                  <a:pt x="3649782" y="3158356"/>
                </a:cubicBezTo>
                <a:cubicBezTo>
                  <a:pt x="3636309" y="3098688"/>
                  <a:pt x="3618985" y="3044800"/>
                  <a:pt x="3597813" y="2994763"/>
                </a:cubicBezTo>
                <a:cubicBezTo>
                  <a:pt x="3597813" y="3006310"/>
                  <a:pt x="3582414" y="3004384"/>
                  <a:pt x="3584339" y="2994763"/>
                </a:cubicBezTo>
                <a:cubicBezTo>
                  <a:pt x="3584339" y="2985141"/>
                  <a:pt x="3584339" y="2973594"/>
                  <a:pt x="3582414" y="2962047"/>
                </a:cubicBezTo>
                <a:cubicBezTo>
                  <a:pt x="3582414" y="2960123"/>
                  <a:pt x="3582414" y="2958198"/>
                  <a:pt x="3580490" y="2956274"/>
                </a:cubicBezTo>
                <a:close/>
                <a:moveTo>
                  <a:pt x="3158961" y="2950501"/>
                </a:moveTo>
                <a:cubicBezTo>
                  <a:pt x="3157036" y="2960123"/>
                  <a:pt x="3158961" y="2963971"/>
                  <a:pt x="3168586" y="2965897"/>
                </a:cubicBezTo>
                <a:cubicBezTo>
                  <a:pt x="3116616" y="3114084"/>
                  <a:pt x="3035774" y="3214170"/>
                  <a:pt x="2943385" y="3298861"/>
                </a:cubicBezTo>
                <a:cubicBezTo>
                  <a:pt x="2999205" y="3156432"/>
                  <a:pt x="3108916" y="3100612"/>
                  <a:pt x="3158961" y="2950501"/>
                </a:cubicBezTo>
                <a:close/>
                <a:moveTo>
                  <a:pt x="3501573" y="2938954"/>
                </a:moveTo>
                <a:cubicBezTo>
                  <a:pt x="3495799" y="2940877"/>
                  <a:pt x="3490025" y="2944728"/>
                  <a:pt x="3486175" y="2946652"/>
                </a:cubicBezTo>
                <a:cubicBezTo>
                  <a:pt x="3532370" y="3025554"/>
                  <a:pt x="3567016" y="3110236"/>
                  <a:pt x="3607437" y="3183380"/>
                </a:cubicBezTo>
                <a:cubicBezTo>
                  <a:pt x="3597813" y="3116008"/>
                  <a:pt x="3551618" y="3021706"/>
                  <a:pt x="3501573" y="2938954"/>
                </a:cubicBezTo>
                <a:close/>
                <a:moveTo>
                  <a:pt x="985876" y="2938925"/>
                </a:moveTo>
                <a:cubicBezTo>
                  <a:pt x="974327" y="2987045"/>
                  <a:pt x="962778" y="3035165"/>
                  <a:pt x="939681" y="3065961"/>
                </a:cubicBezTo>
                <a:cubicBezTo>
                  <a:pt x="974327" y="3058262"/>
                  <a:pt x="1022446" y="2971647"/>
                  <a:pt x="985876" y="2938925"/>
                </a:cubicBezTo>
                <a:close/>
                <a:moveTo>
                  <a:pt x="1417029" y="2921603"/>
                </a:moveTo>
                <a:cubicBezTo>
                  <a:pt x="1418954" y="2923527"/>
                  <a:pt x="1420878" y="2925452"/>
                  <a:pt x="1422803" y="2929301"/>
                </a:cubicBezTo>
                <a:cubicBezTo>
                  <a:pt x="1420878" y="2931227"/>
                  <a:pt x="1418954" y="2933151"/>
                  <a:pt x="1417029" y="2935077"/>
                </a:cubicBezTo>
                <a:cubicBezTo>
                  <a:pt x="1417029" y="2929301"/>
                  <a:pt x="1417029" y="2925452"/>
                  <a:pt x="1417029" y="2921603"/>
                </a:cubicBezTo>
                <a:close/>
                <a:moveTo>
                  <a:pt x="3430356" y="2910088"/>
                </a:moveTo>
                <a:cubicBezTo>
                  <a:pt x="3424582" y="2913936"/>
                  <a:pt x="3420732" y="2917784"/>
                  <a:pt x="3416883" y="2921633"/>
                </a:cubicBezTo>
                <a:cubicBezTo>
                  <a:pt x="3426507" y="2935104"/>
                  <a:pt x="3436130" y="2948577"/>
                  <a:pt x="3445754" y="2963971"/>
                </a:cubicBezTo>
                <a:cubicBezTo>
                  <a:pt x="3449604" y="2958198"/>
                  <a:pt x="3451529" y="2952425"/>
                  <a:pt x="3455378" y="2944728"/>
                </a:cubicBezTo>
                <a:cubicBezTo>
                  <a:pt x="3447679" y="2933180"/>
                  <a:pt x="3438055" y="2921633"/>
                  <a:pt x="3430356" y="2910088"/>
                </a:cubicBezTo>
                <a:close/>
                <a:moveTo>
                  <a:pt x="1640304" y="2900445"/>
                </a:moveTo>
                <a:cubicBezTo>
                  <a:pt x="1642228" y="2911991"/>
                  <a:pt x="1649928" y="2927390"/>
                  <a:pt x="1661476" y="2933164"/>
                </a:cubicBezTo>
                <a:cubicBezTo>
                  <a:pt x="1680724" y="2977431"/>
                  <a:pt x="1703822" y="3021699"/>
                  <a:pt x="1730769" y="3060192"/>
                </a:cubicBezTo>
                <a:cubicBezTo>
                  <a:pt x="1730769" y="3064041"/>
                  <a:pt x="1728844" y="3069815"/>
                  <a:pt x="1726920" y="3073665"/>
                </a:cubicBezTo>
                <a:cubicBezTo>
                  <a:pt x="1724994" y="3079439"/>
                  <a:pt x="1719220" y="3083288"/>
                  <a:pt x="1715370" y="3087137"/>
                </a:cubicBezTo>
                <a:cubicBezTo>
                  <a:pt x="1686499" y="3042869"/>
                  <a:pt x="1663401" y="2994752"/>
                  <a:pt x="1644153" y="2950485"/>
                </a:cubicBezTo>
                <a:cubicBezTo>
                  <a:pt x="1657627" y="2960108"/>
                  <a:pt x="1671100" y="2967808"/>
                  <a:pt x="1673025" y="2977431"/>
                </a:cubicBezTo>
                <a:cubicBezTo>
                  <a:pt x="1673025" y="2948562"/>
                  <a:pt x="1619131" y="2931238"/>
                  <a:pt x="1640304" y="2900445"/>
                </a:cubicBezTo>
                <a:close/>
                <a:moveTo>
                  <a:pt x="1676876" y="2898522"/>
                </a:moveTo>
                <a:cubicBezTo>
                  <a:pt x="1674950" y="2908145"/>
                  <a:pt x="1674950" y="2919694"/>
                  <a:pt x="1674950" y="2929317"/>
                </a:cubicBezTo>
                <a:cubicBezTo>
                  <a:pt x="1673025" y="2923543"/>
                  <a:pt x="1671102" y="2919694"/>
                  <a:pt x="1669176" y="2913919"/>
                </a:cubicBezTo>
                <a:cubicBezTo>
                  <a:pt x="1671102" y="2908145"/>
                  <a:pt x="1673025" y="2902370"/>
                  <a:pt x="1676876" y="2898522"/>
                </a:cubicBezTo>
                <a:close/>
                <a:moveTo>
                  <a:pt x="3207081" y="2894692"/>
                </a:moveTo>
                <a:cubicBezTo>
                  <a:pt x="3220554" y="2929332"/>
                  <a:pt x="3260976" y="2967821"/>
                  <a:pt x="3264825" y="2998613"/>
                </a:cubicBezTo>
                <a:cubicBezTo>
                  <a:pt x="3232103" y="2975520"/>
                  <a:pt x="3199381" y="2933181"/>
                  <a:pt x="3207081" y="2894692"/>
                </a:cubicBezTo>
                <a:close/>
                <a:moveTo>
                  <a:pt x="1538290" y="2892740"/>
                </a:moveTo>
                <a:cubicBezTo>
                  <a:pt x="1545989" y="2910062"/>
                  <a:pt x="1574861" y="2950482"/>
                  <a:pt x="1605657" y="2935083"/>
                </a:cubicBezTo>
                <a:cubicBezTo>
                  <a:pt x="1601809" y="2921611"/>
                  <a:pt x="1584485" y="2911987"/>
                  <a:pt x="1586410" y="2896589"/>
                </a:cubicBezTo>
                <a:cubicBezTo>
                  <a:pt x="1596033" y="2900438"/>
                  <a:pt x="1594109" y="2908137"/>
                  <a:pt x="1603733" y="2911987"/>
                </a:cubicBezTo>
                <a:cubicBezTo>
                  <a:pt x="1609507" y="2908137"/>
                  <a:pt x="1611432" y="2898513"/>
                  <a:pt x="1619131" y="2898513"/>
                </a:cubicBezTo>
                <a:cubicBezTo>
                  <a:pt x="1609507" y="2915837"/>
                  <a:pt x="1615281" y="2927384"/>
                  <a:pt x="1626830" y="2935083"/>
                </a:cubicBezTo>
                <a:cubicBezTo>
                  <a:pt x="1628755" y="2940858"/>
                  <a:pt x="1628755" y="2944707"/>
                  <a:pt x="1630680" y="2950482"/>
                </a:cubicBezTo>
                <a:cubicBezTo>
                  <a:pt x="1609507" y="2942783"/>
                  <a:pt x="1588334" y="2958181"/>
                  <a:pt x="1565237" y="2944707"/>
                </a:cubicBezTo>
                <a:cubicBezTo>
                  <a:pt x="1555613" y="2929310"/>
                  <a:pt x="1532516" y="2908137"/>
                  <a:pt x="1538290" y="2892740"/>
                </a:cubicBezTo>
                <a:close/>
                <a:moveTo>
                  <a:pt x="3139714" y="2890841"/>
                </a:moveTo>
                <a:cubicBezTo>
                  <a:pt x="3128165" y="3002462"/>
                  <a:pt x="3076195" y="3081366"/>
                  <a:pt x="3026150" y="3144882"/>
                </a:cubicBezTo>
                <a:cubicBezTo>
                  <a:pt x="2997278" y="3179530"/>
                  <a:pt x="2968408" y="3227644"/>
                  <a:pt x="2929911" y="3231493"/>
                </a:cubicBezTo>
                <a:cubicBezTo>
                  <a:pt x="3004978" y="3156433"/>
                  <a:pt x="3093519" y="3054424"/>
                  <a:pt x="3126240" y="2892767"/>
                </a:cubicBezTo>
                <a:cubicBezTo>
                  <a:pt x="3132015" y="2892767"/>
                  <a:pt x="3133940" y="2888917"/>
                  <a:pt x="3139714" y="2890841"/>
                </a:cubicBezTo>
                <a:close/>
                <a:moveTo>
                  <a:pt x="1759641" y="2888898"/>
                </a:moveTo>
                <a:cubicBezTo>
                  <a:pt x="1761566" y="2913919"/>
                  <a:pt x="1784663" y="2931240"/>
                  <a:pt x="1775039" y="2962035"/>
                </a:cubicBezTo>
                <a:cubicBezTo>
                  <a:pt x="1798137" y="2960110"/>
                  <a:pt x="1798137" y="2921617"/>
                  <a:pt x="1801987" y="2911993"/>
                </a:cubicBezTo>
                <a:cubicBezTo>
                  <a:pt x="1827008" y="2938940"/>
                  <a:pt x="1767340" y="2977432"/>
                  <a:pt x="1784663" y="3006302"/>
                </a:cubicBezTo>
                <a:cubicBezTo>
                  <a:pt x="1821234" y="3012076"/>
                  <a:pt x="1811610" y="2963960"/>
                  <a:pt x="1823159" y="2946638"/>
                </a:cubicBezTo>
                <a:cubicBezTo>
                  <a:pt x="1819309" y="2960110"/>
                  <a:pt x="1825084" y="2969733"/>
                  <a:pt x="1827008" y="2981281"/>
                </a:cubicBezTo>
                <a:cubicBezTo>
                  <a:pt x="1838558" y="2975507"/>
                  <a:pt x="1848181" y="2965883"/>
                  <a:pt x="1861655" y="2963960"/>
                </a:cubicBezTo>
                <a:cubicBezTo>
                  <a:pt x="1857805" y="2988979"/>
                  <a:pt x="1827008" y="2992830"/>
                  <a:pt x="1819309" y="3017849"/>
                </a:cubicBezTo>
                <a:cubicBezTo>
                  <a:pt x="1819309" y="3027472"/>
                  <a:pt x="1828933" y="3033246"/>
                  <a:pt x="1836632" y="3040945"/>
                </a:cubicBezTo>
                <a:cubicBezTo>
                  <a:pt x="1869354" y="3029397"/>
                  <a:pt x="1859730" y="2975507"/>
                  <a:pt x="1886677" y="2960110"/>
                </a:cubicBezTo>
                <a:cubicBezTo>
                  <a:pt x="1878978" y="2973583"/>
                  <a:pt x="1865504" y="2994753"/>
                  <a:pt x="1873203" y="3006302"/>
                </a:cubicBezTo>
                <a:cubicBezTo>
                  <a:pt x="1896301" y="3000528"/>
                  <a:pt x="1909774" y="2973583"/>
                  <a:pt x="1934796" y="2971658"/>
                </a:cubicBezTo>
                <a:cubicBezTo>
                  <a:pt x="1921323" y="2987055"/>
                  <a:pt x="1894376" y="2994753"/>
                  <a:pt x="1894376" y="3021699"/>
                </a:cubicBezTo>
                <a:cubicBezTo>
                  <a:pt x="1921323" y="3019774"/>
                  <a:pt x="1936721" y="3000528"/>
                  <a:pt x="1954045" y="2983207"/>
                </a:cubicBezTo>
                <a:cubicBezTo>
                  <a:pt x="1950195" y="2992830"/>
                  <a:pt x="1946345" y="3000528"/>
                  <a:pt x="1942496" y="3010151"/>
                </a:cubicBezTo>
                <a:cubicBezTo>
                  <a:pt x="1957895" y="3010151"/>
                  <a:pt x="1963669" y="2987055"/>
                  <a:pt x="1980992" y="2988979"/>
                </a:cubicBezTo>
                <a:cubicBezTo>
                  <a:pt x="1977143" y="2992830"/>
                  <a:pt x="1982918" y="2992830"/>
                  <a:pt x="1984842" y="2996678"/>
                </a:cubicBezTo>
                <a:cubicBezTo>
                  <a:pt x="1965594" y="3033246"/>
                  <a:pt x="1873203" y="3012076"/>
                  <a:pt x="1855880" y="3044795"/>
                </a:cubicBezTo>
                <a:cubicBezTo>
                  <a:pt x="1848181" y="3060192"/>
                  <a:pt x="1867429" y="3073664"/>
                  <a:pt x="1873203" y="3089061"/>
                </a:cubicBezTo>
                <a:cubicBezTo>
                  <a:pt x="1925173" y="3077513"/>
                  <a:pt x="1952121" y="3015925"/>
                  <a:pt x="2011789" y="3017849"/>
                </a:cubicBezTo>
                <a:cubicBezTo>
                  <a:pt x="1992541" y="3033246"/>
                  <a:pt x="1954045" y="3029397"/>
                  <a:pt x="1950195" y="3060192"/>
                </a:cubicBezTo>
                <a:cubicBezTo>
                  <a:pt x="1975218" y="3064041"/>
                  <a:pt x="2000240" y="3014000"/>
                  <a:pt x="2017563" y="3040945"/>
                </a:cubicBezTo>
                <a:cubicBezTo>
                  <a:pt x="2004090" y="3046718"/>
                  <a:pt x="1988692" y="3042869"/>
                  <a:pt x="1979068" y="3056341"/>
                </a:cubicBezTo>
                <a:cubicBezTo>
                  <a:pt x="2000240" y="3069815"/>
                  <a:pt x="2011789" y="3044795"/>
                  <a:pt x="2023338" y="3052493"/>
                </a:cubicBezTo>
                <a:cubicBezTo>
                  <a:pt x="1996391" y="3077513"/>
                  <a:pt x="1950195" y="3065964"/>
                  <a:pt x="1917473" y="3077513"/>
                </a:cubicBezTo>
                <a:cubicBezTo>
                  <a:pt x="1973293" y="3106383"/>
                  <a:pt x="2013715" y="3085211"/>
                  <a:pt x="2046435" y="3079438"/>
                </a:cubicBezTo>
                <a:cubicBezTo>
                  <a:pt x="2029112" y="3094834"/>
                  <a:pt x="2004090" y="3094834"/>
                  <a:pt x="1986767" y="3110231"/>
                </a:cubicBezTo>
                <a:cubicBezTo>
                  <a:pt x="2007939" y="3114081"/>
                  <a:pt x="2025263" y="3112156"/>
                  <a:pt x="2042586" y="3114081"/>
                </a:cubicBezTo>
                <a:cubicBezTo>
                  <a:pt x="2032962" y="3137179"/>
                  <a:pt x="2000240" y="3117931"/>
                  <a:pt x="1980992" y="3125629"/>
                </a:cubicBezTo>
                <a:cubicBezTo>
                  <a:pt x="1940571" y="3090986"/>
                  <a:pt x="1898226" y="3090986"/>
                  <a:pt x="1865504" y="3110231"/>
                </a:cubicBezTo>
                <a:cubicBezTo>
                  <a:pt x="1828933" y="3081362"/>
                  <a:pt x="1794287" y="3048643"/>
                  <a:pt x="1765415" y="3014000"/>
                </a:cubicBezTo>
                <a:cubicBezTo>
                  <a:pt x="1769265" y="3006302"/>
                  <a:pt x="1769265" y="2998603"/>
                  <a:pt x="1769265" y="2990905"/>
                </a:cubicBezTo>
                <a:cubicBezTo>
                  <a:pt x="1765415" y="2948562"/>
                  <a:pt x="1705747" y="2929317"/>
                  <a:pt x="1711521" y="2894672"/>
                </a:cubicBezTo>
                <a:cubicBezTo>
                  <a:pt x="1736543" y="2908145"/>
                  <a:pt x="1736543" y="2938940"/>
                  <a:pt x="1765415" y="2944714"/>
                </a:cubicBezTo>
                <a:cubicBezTo>
                  <a:pt x="1771190" y="2923542"/>
                  <a:pt x="1748092" y="2906221"/>
                  <a:pt x="1759641" y="2888898"/>
                </a:cubicBezTo>
                <a:close/>
                <a:moveTo>
                  <a:pt x="3457303" y="2886994"/>
                </a:moveTo>
                <a:cubicBezTo>
                  <a:pt x="3455378" y="2885068"/>
                  <a:pt x="3451529" y="2885068"/>
                  <a:pt x="3449604" y="2888917"/>
                </a:cubicBezTo>
                <a:cubicBezTo>
                  <a:pt x="3453454" y="2892767"/>
                  <a:pt x="3455378" y="2898540"/>
                  <a:pt x="3459228" y="2902390"/>
                </a:cubicBezTo>
                <a:cubicBezTo>
                  <a:pt x="3459228" y="2896615"/>
                  <a:pt x="3457303" y="2892767"/>
                  <a:pt x="3457303" y="2886994"/>
                </a:cubicBezTo>
                <a:close/>
                <a:moveTo>
                  <a:pt x="2972257" y="2863899"/>
                </a:moveTo>
                <a:cubicBezTo>
                  <a:pt x="2964558" y="2886994"/>
                  <a:pt x="2945309" y="2890843"/>
                  <a:pt x="2929911" y="2898540"/>
                </a:cubicBezTo>
                <a:cubicBezTo>
                  <a:pt x="2933761" y="2873521"/>
                  <a:pt x="2958784" y="2879295"/>
                  <a:pt x="2972257" y="2863899"/>
                </a:cubicBezTo>
                <a:close/>
                <a:moveTo>
                  <a:pt x="3018452" y="2854277"/>
                </a:moveTo>
                <a:cubicBezTo>
                  <a:pt x="3004978" y="2921633"/>
                  <a:pt x="2968408" y="2954350"/>
                  <a:pt x="2945310" y="3006311"/>
                </a:cubicBezTo>
                <a:cubicBezTo>
                  <a:pt x="2914513" y="2950501"/>
                  <a:pt x="2989580" y="2888917"/>
                  <a:pt x="3018452" y="2854277"/>
                </a:cubicBezTo>
                <a:close/>
                <a:moveTo>
                  <a:pt x="3183983" y="2821561"/>
                </a:moveTo>
                <a:cubicBezTo>
                  <a:pt x="3210930" y="2856203"/>
                  <a:pt x="3251350" y="2885068"/>
                  <a:pt x="3262899" y="2929332"/>
                </a:cubicBezTo>
                <a:cubicBezTo>
                  <a:pt x="3239802" y="2894692"/>
                  <a:pt x="3182058" y="2861975"/>
                  <a:pt x="3183983" y="2821561"/>
                </a:cubicBezTo>
                <a:close/>
                <a:moveTo>
                  <a:pt x="3223652" y="2804120"/>
                </a:moveTo>
                <a:cubicBezTo>
                  <a:pt x="3237276" y="2805564"/>
                  <a:pt x="3244133" y="2825410"/>
                  <a:pt x="3262901" y="2831183"/>
                </a:cubicBezTo>
                <a:cubicBezTo>
                  <a:pt x="3255203" y="2850428"/>
                  <a:pt x="3278299" y="2867747"/>
                  <a:pt x="3264826" y="2879294"/>
                </a:cubicBezTo>
                <a:cubicBezTo>
                  <a:pt x="3253277" y="2852353"/>
                  <a:pt x="3237877" y="2825410"/>
                  <a:pt x="3207081" y="2810014"/>
                </a:cubicBezTo>
                <a:cubicBezTo>
                  <a:pt x="3213818" y="2805203"/>
                  <a:pt x="3219112" y="2803640"/>
                  <a:pt x="3223652" y="2804120"/>
                </a:cubicBezTo>
                <a:close/>
                <a:moveTo>
                  <a:pt x="5503353" y="2788846"/>
                </a:moveTo>
                <a:cubicBezTo>
                  <a:pt x="5509127" y="2786921"/>
                  <a:pt x="5512977" y="2792695"/>
                  <a:pt x="5503353" y="2794618"/>
                </a:cubicBezTo>
                <a:lnTo>
                  <a:pt x="5376316" y="2806166"/>
                </a:lnTo>
                <a:cubicBezTo>
                  <a:pt x="5370542" y="2806166"/>
                  <a:pt x="5360918" y="2811940"/>
                  <a:pt x="5358993" y="2802318"/>
                </a:cubicBezTo>
                <a:cubicBezTo>
                  <a:pt x="5409039" y="2794618"/>
                  <a:pt x="5455233" y="2794618"/>
                  <a:pt x="5503353" y="2788846"/>
                </a:cubicBezTo>
                <a:close/>
                <a:moveTo>
                  <a:pt x="5568795" y="2781147"/>
                </a:moveTo>
                <a:cubicBezTo>
                  <a:pt x="5563021" y="2788846"/>
                  <a:pt x="5541849" y="2796543"/>
                  <a:pt x="5526449" y="2790770"/>
                </a:cubicBezTo>
                <a:cubicBezTo>
                  <a:pt x="5536074" y="2783073"/>
                  <a:pt x="5553397" y="2784994"/>
                  <a:pt x="5568795" y="2781147"/>
                </a:cubicBezTo>
                <a:close/>
                <a:moveTo>
                  <a:pt x="5591082" y="2779854"/>
                </a:moveTo>
                <a:cubicBezTo>
                  <a:pt x="5593458" y="2780545"/>
                  <a:pt x="5595744" y="2782110"/>
                  <a:pt x="5597668" y="2784997"/>
                </a:cubicBezTo>
                <a:cubicBezTo>
                  <a:pt x="5609217" y="2796543"/>
                  <a:pt x="5580345" y="2784997"/>
                  <a:pt x="5574570" y="2784997"/>
                </a:cubicBezTo>
                <a:cubicBezTo>
                  <a:pt x="5576014" y="2783552"/>
                  <a:pt x="5583954" y="2777779"/>
                  <a:pt x="5591082" y="2779854"/>
                </a:cubicBezTo>
                <a:close/>
                <a:moveTo>
                  <a:pt x="933906" y="2767675"/>
                </a:moveTo>
                <a:cubicBezTo>
                  <a:pt x="922357" y="2823485"/>
                  <a:pt x="895410" y="2856202"/>
                  <a:pt x="868463" y="2890841"/>
                </a:cubicBezTo>
                <a:cubicBezTo>
                  <a:pt x="872313" y="2877370"/>
                  <a:pt x="868463" y="2867747"/>
                  <a:pt x="862689" y="2860051"/>
                </a:cubicBezTo>
                <a:cubicBezTo>
                  <a:pt x="887711" y="2831183"/>
                  <a:pt x="914659" y="2806166"/>
                  <a:pt x="933906" y="2767675"/>
                </a:cubicBezTo>
                <a:close/>
                <a:moveTo>
                  <a:pt x="3030000" y="2758053"/>
                </a:moveTo>
                <a:cubicBezTo>
                  <a:pt x="3033850" y="2758053"/>
                  <a:pt x="3037699" y="2759978"/>
                  <a:pt x="3043475" y="2761902"/>
                </a:cubicBezTo>
                <a:cubicBezTo>
                  <a:pt x="3047324" y="2784994"/>
                  <a:pt x="3033850" y="2821561"/>
                  <a:pt x="3018452" y="2833107"/>
                </a:cubicBezTo>
                <a:cubicBezTo>
                  <a:pt x="3008827" y="2806166"/>
                  <a:pt x="3018452" y="2788846"/>
                  <a:pt x="3030000" y="2758053"/>
                </a:cubicBezTo>
                <a:close/>
                <a:moveTo>
                  <a:pt x="3072347" y="2756128"/>
                </a:moveTo>
                <a:cubicBezTo>
                  <a:pt x="3060798" y="2950501"/>
                  <a:pt x="2953009" y="3083293"/>
                  <a:pt x="2866393" y="3196847"/>
                </a:cubicBezTo>
                <a:cubicBezTo>
                  <a:pt x="2962634" y="3146807"/>
                  <a:pt x="3072347" y="2913936"/>
                  <a:pt x="3091594" y="2829259"/>
                </a:cubicBezTo>
                <a:cubicBezTo>
                  <a:pt x="3132015" y="2954350"/>
                  <a:pt x="2978031" y="3200697"/>
                  <a:pt x="2879867" y="3221869"/>
                </a:cubicBezTo>
                <a:cubicBezTo>
                  <a:pt x="2833672" y="3218020"/>
                  <a:pt x="2806726" y="3200697"/>
                  <a:pt x="2795176" y="3173756"/>
                </a:cubicBezTo>
                <a:cubicBezTo>
                  <a:pt x="2800950" y="3121783"/>
                  <a:pt x="2827898" y="3098688"/>
                  <a:pt x="2870243" y="3104461"/>
                </a:cubicBezTo>
                <a:cubicBezTo>
                  <a:pt x="2860619" y="3131407"/>
                  <a:pt x="2818274" y="3142957"/>
                  <a:pt x="2824048" y="3175681"/>
                </a:cubicBezTo>
                <a:cubicBezTo>
                  <a:pt x="2862544" y="3152582"/>
                  <a:pt x="2885641" y="3102537"/>
                  <a:pt x="2933761" y="3092915"/>
                </a:cubicBezTo>
                <a:cubicBezTo>
                  <a:pt x="2962634" y="2983216"/>
                  <a:pt x="3037701" y="2890841"/>
                  <a:pt x="3072347" y="2756128"/>
                </a:cubicBezTo>
                <a:close/>
                <a:moveTo>
                  <a:pt x="4067461" y="2754204"/>
                </a:moveTo>
                <a:cubicBezTo>
                  <a:pt x="4065536" y="2759978"/>
                  <a:pt x="4065536" y="2763828"/>
                  <a:pt x="4065536" y="2769601"/>
                </a:cubicBezTo>
                <a:cubicBezTo>
                  <a:pt x="4071310" y="2771525"/>
                  <a:pt x="4075160" y="2771525"/>
                  <a:pt x="4079010" y="2773449"/>
                </a:cubicBezTo>
                <a:cubicBezTo>
                  <a:pt x="4079010" y="2773449"/>
                  <a:pt x="4079010" y="2771525"/>
                  <a:pt x="4079010" y="2771525"/>
                </a:cubicBezTo>
                <a:cubicBezTo>
                  <a:pt x="4082859" y="2767675"/>
                  <a:pt x="4086709" y="2763828"/>
                  <a:pt x="4090558" y="2759978"/>
                </a:cubicBezTo>
                <a:cubicBezTo>
                  <a:pt x="4086709" y="2758055"/>
                  <a:pt x="4084784" y="2756128"/>
                  <a:pt x="4082859" y="2754204"/>
                </a:cubicBezTo>
                <a:cubicBezTo>
                  <a:pt x="4077085" y="2756128"/>
                  <a:pt x="4071310" y="2756128"/>
                  <a:pt x="4067461" y="2754204"/>
                </a:cubicBezTo>
                <a:close/>
                <a:moveTo>
                  <a:pt x="3307170" y="2750356"/>
                </a:moveTo>
                <a:cubicBezTo>
                  <a:pt x="3324494" y="2761902"/>
                  <a:pt x="3339891" y="2773449"/>
                  <a:pt x="3355289" y="2784994"/>
                </a:cubicBezTo>
                <a:cubicBezTo>
                  <a:pt x="3357214" y="2781147"/>
                  <a:pt x="3359139" y="2775373"/>
                  <a:pt x="3361065" y="2771525"/>
                </a:cubicBezTo>
                <a:cubicBezTo>
                  <a:pt x="3347590" y="2763828"/>
                  <a:pt x="3326418" y="2759978"/>
                  <a:pt x="3307170" y="2750356"/>
                </a:cubicBezTo>
                <a:close/>
                <a:moveTo>
                  <a:pt x="2594999" y="2744546"/>
                </a:moveTo>
                <a:lnTo>
                  <a:pt x="2594999" y="2748395"/>
                </a:lnTo>
                <a:cubicBezTo>
                  <a:pt x="2593075" y="2750321"/>
                  <a:pt x="2593075" y="2750321"/>
                  <a:pt x="2591150" y="2752246"/>
                </a:cubicBezTo>
                <a:close/>
                <a:moveTo>
                  <a:pt x="2498759" y="2744546"/>
                </a:moveTo>
                <a:lnTo>
                  <a:pt x="2510309" y="2746471"/>
                </a:lnTo>
                <a:lnTo>
                  <a:pt x="2506460" y="2752245"/>
                </a:lnTo>
                <a:cubicBezTo>
                  <a:pt x="2510309" y="2756095"/>
                  <a:pt x="2510309" y="2746471"/>
                  <a:pt x="2510309" y="2758019"/>
                </a:cubicBezTo>
                <a:cubicBezTo>
                  <a:pt x="2510309" y="2759944"/>
                  <a:pt x="2510309" y="2759944"/>
                  <a:pt x="2506460" y="2759944"/>
                </a:cubicBezTo>
                <a:lnTo>
                  <a:pt x="2510309" y="2765719"/>
                </a:lnTo>
                <a:cubicBezTo>
                  <a:pt x="2504534" y="2769567"/>
                  <a:pt x="2506460" y="2771493"/>
                  <a:pt x="2498759" y="2771493"/>
                </a:cubicBezTo>
                <a:cubicBezTo>
                  <a:pt x="2494910" y="2771493"/>
                  <a:pt x="2489135" y="2765719"/>
                  <a:pt x="2489135" y="2759944"/>
                </a:cubicBezTo>
                <a:lnTo>
                  <a:pt x="2489135" y="2746471"/>
                </a:lnTo>
                <a:close/>
                <a:moveTo>
                  <a:pt x="1028221" y="2727199"/>
                </a:moveTo>
                <a:cubicBezTo>
                  <a:pt x="1035920" y="2796491"/>
                  <a:pt x="1043619" y="2867708"/>
                  <a:pt x="1033995" y="2948549"/>
                </a:cubicBezTo>
                <a:cubicBezTo>
                  <a:pt x="1026296" y="2937000"/>
                  <a:pt x="1033995" y="2915828"/>
                  <a:pt x="1010898" y="2913903"/>
                </a:cubicBezTo>
                <a:cubicBezTo>
                  <a:pt x="1028221" y="3002443"/>
                  <a:pt x="970477" y="3077510"/>
                  <a:pt x="933906" y="3142953"/>
                </a:cubicBezTo>
                <a:cubicBezTo>
                  <a:pt x="970477" y="3131404"/>
                  <a:pt x="985876" y="3090983"/>
                  <a:pt x="1005123" y="3050563"/>
                </a:cubicBezTo>
                <a:cubicBezTo>
                  <a:pt x="987800" y="3112156"/>
                  <a:pt x="941605" y="3173749"/>
                  <a:pt x="899260" y="3206471"/>
                </a:cubicBezTo>
                <a:cubicBezTo>
                  <a:pt x="1039770" y="3183373"/>
                  <a:pt x="1097513" y="2842686"/>
                  <a:pt x="1028221" y="2727199"/>
                </a:cubicBezTo>
                <a:close/>
                <a:moveTo>
                  <a:pt x="2596924" y="2717611"/>
                </a:moveTo>
                <a:lnTo>
                  <a:pt x="2596924" y="2719535"/>
                </a:lnTo>
                <a:lnTo>
                  <a:pt x="2596924" y="2727234"/>
                </a:lnTo>
                <a:cubicBezTo>
                  <a:pt x="2602698" y="2736858"/>
                  <a:pt x="2602698" y="2734932"/>
                  <a:pt x="2593073" y="2742631"/>
                </a:cubicBezTo>
                <a:lnTo>
                  <a:pt x="2591149" y="2731083"/>
                </a:lnTo>
                <a:lnTo>
                  <a:pt x="2579600" y="2734932"/>
                </a:lnTo>
                <a:cubicBezTo>
                  <a:pt x="2585374" y="2729157"/>
                  <a:pt x="2591149" y="2723384"/>
                  <a:pt x="2596924" y="2717611"/>
                </a:cubicBezTo>
                <a:close/>
                <a:moveTo>
                  <a:pt x="3120977" y="2708857"/>
                </a:moveTo>
                <a:cubicBezTo>
                  <a:pt x="3127082" y="2708136"/>
                  <a:pt x="3132977" y="2709460"/>
                  <a:pt x="3137789" y="2713791"/>
                </a:cubicBezTo>
                <a:cubicBezTo>
                  <a:pt x="3116616" y="2717640"/>
                  <a:pt x="3106992" y="2740734"/>
                  <a:pt x="3083894" y="2744582"/>
                </a:cubicBezTo>
                <a:cubicBezTo>
                  <a:pt x="3082451" y="2731591"/>
                  <a:pt x="3102661" y="2711024"/>
                  <a:pt x="3120977" y="2708857"/>
                </a:cubicBezTo>
                <a:close/>
                <a:moveTo>
                  <a:pt x="2467962" y="2707987"/>
                </a:moveTo>
                <a:cubicBezTo>
                  <a:pt x="2473736" y="2709911"/>
                  <a:pt x="2467962" y="2711836"/>
                  <a:pt x="2475661" y="2707987"/>
                </a:cubicBezTo>
                <a:lnTo>
                  <a:pt x="2481437" y="2713761"/>
                </a:lnTo>
                <a:cubicBezTo>
                  <a:pt x="2479512" y="2715685"/>
                  <a:pt x="2479512" y="2715685"/>
                  <a:pt x="2479512" y="2717610"/>
                </a:cubicBezTo>
                <a:cubicBezTo>
                  <a:pt x="2473736" y="2719534"/>
                  <a:pt x="2466037" y="2723384"/>
                  <a:pt x="2462188" y="2725309"/>
                </a:cubicBezTo>
                <a:cubicBezTo>
                  <a:pt x="2464113" y="2721459"/>
                  <a:pt x="2464113" y="2717610"/>
                  <a:pt x="2462188" y="2713761"/>
                </a:cubicBezTo>
                <a:close/>
                <a:moveTo>
                  <a:pt x="2939536" y="2681073"/>
                </a:moveTo>
                <a:cubicBezTo>
                  <a:pt x="2933762" y="2694545"/>
                  <a:pt x="2937611" y="2727263"/>
                  <a:pt x="2914513" y="2713791"/>
                </a:cubicBezTo>
                <a:cubicBezTo>
                  <a:pt x="2918362" y="2696470"/>
                  <a:pt x="2931837" y="2692622"/>
                  <a:pt x="2939536" y="2681073"/>
                </a:cubicBezTo>
                <a:close/>
                <a:moveTo>
                  <a:pt x="2995354" y="2677222"/>
                </a:moveTo>
                <a:cubicBezTo>
                  <a:pt x="3039625" y="2686847"/>
                  <a:pt x="3008827" y="2750356"/>
                  <a:pt x="2993429" y="2781147"/>
                </a:cubicBezTo>
                <a:cubicBezTo>
                  <a:pt x="2974182" y="2758053"/>
                  <a:pt x="2985730" y="2717639"/>
                  <a:pt x="2995354" y="2677222"/>
                </a:cubicBezTo>
                <a:close/>
                <a:moveTo>
                  <a:pt x="4028965" y="2671449"/>
                </a:moveTo>
                <a:cubicBezTo>
                  <a:pt x="4025116" y="2673376"/>
                  <a:pt x="4023191" y="2675300"/>
                  <a:pt x="4021266" y="2681073"/>
                </a:cubicBezTo>
                <a:cubicBezTo>
                  <a:pt x="4021266" y="2677224"/>
                  <a:pt x="4017416" y="2673376"/>
                  <a:pt x="4015492" y="2673376"/>
                </a:cubicBezTo>
                <a:cubicBezTo>
                  <a:pt x="4013567" y="2681073"/>
                  <a:pt x="4009717" y="2686847"/>
                  <a:pt x="4005868" y="2692620"/>
                </a:cubicBezTo>
                <a:cubicBezTo>
                  <a:pt x="4011642" y="2694543"/>
                  <a:pt x="4015492" y="2694543"/>
                  <a:pt x="4019341" y="2696470"/>
                </a:cubicBezTo>
                <a:cubicBezTo>
                  <a:pt x="4023191" y="2688771"/>
                  <a:pt x="4025116" y="2681073"/>
                  <a:pt x="4028965" y="2671449"/>
                </a:cubicBezTo>
                <a:close/>
                <a:moveTo>
                  <a:pt x="2512232" y="2671420"/>
                </a:moveTo>
                <a:lnTo>
                  <a:pt x="2523781" y="2671420"/>
                </a:lnTo>
                <a:lnTo>
                  <a:pt x="2519931" y="2675272"/>
                </a:lnTo>
                <a:close/>
                <a:moveTo>
                  <a:pt x="4250316" y="2669525"/>
                </a:moveTo>
                <a:cubicBezTo>
                  <a:pt x="4221444" y="2706091"/>
                  <a:pt x="4196422" y="2742657"/>
                  <a:pt x="4186798" y="2788846"/>
                </a:cubicBezTo>
                <a:cubicBezTo>
                  <a:pt x="4221444" y="2788846"/>
                  <a:pt x="4207970" y="2763828"/>
                  <a:pt x="4217594" y="2744582"/>
                </a:cubicBezTo>
                <a:cubicBezTo>
                  <a:pt x="4227218" y="2723413"/>
                  <a:pt x="4242617" y="2702242"/>
                  <a:pt x="4258015" y="2681073"/>
                </a:cubicBezTo>
                <a:cubicBezTo>
                  <a:pt x="4254165" y="2677224"/>
                  <a:pt x="4252241" y="2675300"/>
                  <a:pt x="4250316" y="2669525"/>
                </a:cubicBezTo>
                <a:close/>
                <a:moveTo>
                  <a:pt x="4202196" y="2667602"/>
                </a:moveTo>
                <a:cubicBezTo>
                  <a:pt x="4177174" y="2692620"/>
                  <a:pt x="4154076" y="2721488"/>
                  <a:pt x="4136753" y="2752279"/>
                </a:cubicBezTo>
                <a:cubicBezTo>
                  <a:pt x="4140603" y="2758055"/>
                  <a:pt x="4140603" y="2779222"/>
                  <a:pt x="4130979" y="2777297"/>
                </a:cubicBezTo>
                <a:cubicBezTo>
                  <a:pt x="4129054" y="2775373"/>
                  <a:pt x="4127129" y="2775373"/>
                  <a:pt x="4123280" y="2777297"/>
                </a:cubicBezTo>
                <a:cubicBezTo>
                  <a:pt x="4123280" y="2781147"/>
                  <a:pt x="4121355" y="2783070"/>
                  <a:pt x="4121355" y="2786921"/>
                </a:cubicBezTo>
                <a:cubicBezTo>
                  <a:pt x="4130979" y="2788846"/>
                  <a:pt x="4138678" y="2790770"/>
                  <a:pt x="4146377" y="2792695"/>
                </a:cubicBezTo>
                <a:cubicBezTo>
                  <a:pt x="4169475" y="2744582"/>
                  <a:pt x="4196422" y="2706091"/>
                  <a:pt x="4223369" y="2669525"/>
                </a:cubicBezTo>
                <a:close/>
                <a:moveTo>
                  <a:pt x="2600774" y="2665639"/>
                </a:moveTo>
                <a:lnTo>
                  <a:pt x="2600774" y="2673337"/>
                </a:lnTo>
                <a:lnTo>
                  <a:pt x="2594999" y="2673337"/>
                </a:lnTo>
                <a:cubicBezTo>
                  <a:pt x="2596924" y="2665639"/>
                  <a:pt x="2594999" y="2669487"/>
                  <a:pt x="2600774" y="2665639"/>
                </a:cubicBezTo>
                <a:close/>
                <a:moveTo>
                  <a:pt x="4365803" y="2657977"/>
                </a:moveTo>
                <a:cubicBezTo>
                  <a:pt x="4365803" y="2663754"/>
                  <a:pt x="4363878" y="2669525"/>
                  <a:pt x="4361953" y="2675300"/>
                </a:cubicBezTo>
                <a:cubicBezTo>
                  <a:pt x="4363878" y="2675300"/>
                  <a:pt x="4367728" y="2675300"/>
                  <a:pt x="4371577" y="2675300"/>
                </a:cubicBezTo>
                <a:cubicBezTo>
                  <a:pt x="4371577" y="2669525"/>
                  <a:pt x="4369652" y="2663754"/>
                  <a:pt x="4365803" y="2657977"/>
                </a:cubicBezTo>
                <a:close/>
                <a:moveTo>
                  <a:pt x="5614989" y="2646433"/>
                </a:moveTo>
                <a:cubicBezTo>
                  <a:pt x="5599591" y="2659901"/>
                  <a:pt x="5566870" y="2661824"/>
                  <a:pt x="5545697" y="2669525"/>
                </a:cubicBezTo>
                <a:cubicBezTo>
                  <a:pt x="5559171" y="2656053"/>
                  <a:pt x="5593817" y="2654130"/>
                  <a:pt x="5614989" y="2646433"/>
                </a:cubicBezTo>
                <a:close/>
                <a:moveTo>
                  <a:pt x="5643863" y="2640657"/>
                </a:moveTo>
                <a:cubicBezTo>
                  <a:pt x="5651562" y="2646433"/>
                  <a:pt x="5641938" y="2652206"/>
                  <a:pt x="5636164" y="2648356"/>
                </a:cubicBezTo>
                <a:cubicBezTo>
                  <a:pt x="5630390" y="2650281"/>
                  <a:pt x="5620766" y="2657977"/>
                  <a:pt x="5616915" y="2648356"/>
                </a:cubicBezTo>
                <a:close/>
                <a:moveTo>
                  <a:pt x="2720110" y="2636765"/>
                </a:moveTo>
                <a:cubicBezTo>
                  <a:pt x="2710485" y="2654090"/>
                  <a:pt x="2700862" y="2669487"/>
                  <a:pt x="2687389" y="2686809"/>
                </a:cubicBezTo>
                <a:cubicBezTo>
                  <a:pt x="2687389" y="2682960"/>
                  <a:pt x="2685463" y="2681035"/>
                  <a:pt x="2685463" y="2677185"/>
                </a:cubicBezTo>
                <a:cubicBezTo>
                  <a:pt x="2697012" y="2663713"/>
                  <a:pt x="2708560" y="2650239"/>
                  <a:pt x="2720110" y="2636765"/>
                </a:cubicBezTo>
                <a:close/>
                <a:moveTo>
                  <a:pt x="4281112" y="2625263"/>
                </a:moveTo>
                <a:cubicBezTo>
                  <a:pt x="4271488" y="2638732"/>
                  <a:pt x="4263789" y="2650281"/>
                  <a:pt x="4254165" y="2661824"/>
                </a:cubicBezTo>
                <a:cubicBezTo>
                  <a:pt x="4259940" y="2661824"/>
                  <a:pt x="4265714" y="2663754"/>
                  <a:pt x="4271488" y="2663754"/>
                </a:cubicBezTo>
                <a:cubicBezTo>
                  <a:pt x="4275338" y="2656053"/>
                  <a:pt x="4281112" y="2650281"/>
                  <a:pt x="4286887" y="2642581"/>
                </a:cubicBezTo>
                <a:cubicBezTo>
                  <a:pt x="4284962" y="2636801"/>
                  <a:pt x="4281112" y="2631033"/>
                  <a:pt x="4281112" y="2625263"/>
                </a:cubicBezTo>
                <a:close/>
                <a:moveTo>
                  <a:pt x="2978032" y="2625263"/>
                </a:moveTo>
                <a:cubicBezTo>
                  <a:pt x="2962634" y="2648356"/>
                  <a:pt x="2983807" y="2694543"/>
                  <a:pt x="2964558" y="2721488"/>
                </a:cubicBezTo>
                <a:cubicBezTo>
                  <a:pt x="2964558" y="2696470"/>
                  <a:pt x="2953009" y="2642581"/>
                  <a:pt x="2978032" y="2625263"/>
                </a:cubicBezTo>
                <a:close/>
                <a:moveTo>
                  <a:pt x="2943387" y="2625263"/>
                </a:moveTo>
                <a:cubicBezTo>
                  <a:pt x="2929911" y="2661824"/>
                  <a:pt x="2902964" y="2690696"/>
                  <a:pt x="2889491" y="2708015"/>
                </a:cubicBezTo>
                <a:cubicBezTo>
                  <a:pt x="2891416" y="2677222"/>
                  <a:pt x="2924137" y="2648356"/>
                  <a:pt x="2943387" y="2625263"/>
                </a:cubicBezTo>
                <a:close/>
                <a:moveTo>
                  <a:pt x="5072832" y="2621653"/>
                </a:moveTo>
                <a:cubicBezTo>
                  <a:pt x="5077253" y="2622372"/>
                  <a:pt x="5076532" y="2633916"/>
                  <a:pt x="5077975" y="2636805"/>
                </a:cubicBezTo>
                <a:lnTo>
                  <a:pt x="5014456" y="2654130"/>
                </a:lnTo>
                <a:cubicBezTo>
                  <a:pt x="5031780" y="2644506"/>
                  <a:pt x="5051028" y="2638735"/>
                  <a:pt x="5066426" y="2625263"/>
                </a:cubicBezTo>
                <a:cubicBezTo>
                  <a:pt x="5069314" y="2622372"/>
                  <a:pt x="5071359" y="2621411"/>
                  <a:pt x="5072832" y="2621653"/>
                </a:cubicBezTo>
                <a:close/>
                <a:moveTo>
                  <a:pt x="4891271" y="2611777"/>
                </a:moveTo>
                <a:cubicBezTo>
                  <a:pt x="4887422" y="2611777"/>
                  <a:pt x="4881647" y="2621411"/>
                  <a:pt x="4879722" y="2625263"/>
                </a:cubicBezTo>
                <a:cubicBezTo>
                  <a:pt x="4870098" y="2640657"/>
                  <a:pt x="4873948" y="2665675"/>
                  <a:pt x="4889346" y="2682996"/>
                </a:cubicBezTo>
                <a:cubicBezTo>
                  <a:pt x="4895121" y="2690696"/>
                  <a:pt x="4877798" y="2696470"/>
                  <a:pt x="4879722" y="2708015"/>
                </a:cubicBezTo>
                <a:cubicBezTo>
                  <a:pt x="4910519" y="2692620"/>
                  <a:pt x="4939390" y="2682996"/>
                  <a:pt x="4962488" y="2667602"/>
                </a:cubicBezTo>
                <a:cubicBezTo>
                  <a:pt x="4943240" y="2640657"/>
                  <a:pt x="4916293" y="2615634"/>
                  <a:pt x="4891271" y="2611777"/>
                </a:cubicBezTo>
                <a:close/>
                <a:moveTo>
                  <a:pt x="3122391" y="2609861"/>
                </a:moveTo>
                <a:cubicBezTo>
                  <a:pt x="3108917" y="2617567"/>
                  <a:pt x="3089668" y="2646433"/>
                  <a:pt x="3078120" y="2638732"/>
                </a:cubicBezTo>
                <a:cubicBezTo>
                  <a:pt x="3093519" y="2632957"/>
                  <a:pt x="3112768" y="2606012"/>
                  <a:pt x="3122391" y="2609861"/>
                </a:cubicBezTo>
                <a:close/>
                <a:moveTo>
                  <a:pt x="2652743" y="2609829"/>
                </a:moveTo>
                <a:lnTo>
                  <a:pt x="2654668" y="2617530"/>
                </a:lnTo>
                <a:cubicBezTo>
                  <a:pt x="2654668" y="2619453"/>
                  <a:pt x="2652743" y="2619453"/>
                  <a:pt x="2652743" y="2621376"/>
                </a:cubicBezTo>
                <a:cubicBezTo>
                  <a:pt x="2648893" y="2625222"/>
                  <a:pt x="2648893" y="2623301"/>
                  <a:pt x="2646967" y="2631002"/>
                </a:cubicBezTo>
                <a:lnTo>
                  <a:pt x="2637343" y="2632925"/>
                </a:lnTo>
                <a:cubicBezTo>
                  <a:pt x="2635419" y="2629079"/>
                  <a:pt x="2633494" y="2627150"/>
                  <a:pt x="2633494" y="2623301"/>
                </a:cubicBezTo>
                <a:cubicBezTo>
                  <a:pt x="2639268" y="2617530"/>
                  <a:pt x="2646967" y="2613675"/>
                  <a:pt x="2652743" y="2609829"/>
                </a:cubicBezTo>
                <a:close/>
                <a:moveTo>
                  <a:pt x="2939535" y="2594463"/>
                </a:moveTo>
                <a:cubicBezTo>
                  <a:pt x="2897189" y="2634880"/>
                  <a:pt x="2874092" y="2706095"/>
                  <a:pt x="2829822" y="2742659"/>
                </a:cubicBezTo>
                <a:cubicBezTo>
                  <a:pt x="2854844" y="2663754"/>
                  <a:pt x="2897189" y="2634880"/>
                  <a:pt x="2939535" y="2594463"/>
                </a:cubicBezTo>
                <a:close/>
                <a:moveTo>
                  <a:pt x="5077974" y="2590619"/>
                </a:moveTo>
                <a:cubicBezTo>
                  <a:pt x="5137642" y="2600235"/>
                  <a:pt x="5195386" y="2638732"/>
                  <a:pt x="5255055" y="2657977"/>
                </a:cubicBezTo>
                <a:cubicBezTo>
                  <a:pt x="5266603" y="2661824"/>
                  <a:pt x="5295475" y="2681073"/>
                  <a:pt x="5305099" y="2686847"/>
                </a:cubicBezTo>
                <a:cubicBezTo>
                  <a:pt x="5301249" y="2708015"/>
                  <a:pt x="5280077" y="2696470"/>
                  <a:pt x="5272378" y="2692620"/>
                </a:cubicBezTo>
                <a:cubicBezTo>
                  <a:pt x="5214634" y="2661824"/>
                  <a:pt x="5147266" y="2638732"/>
                  <a:pt x="5089523" y="2606012"/>
                </a:cubicBezTo>
                <a:cubicBezTo>
                  <a:pt x="5085673" y="2606012"/>
                  <a:pt x="5079899" y="2596386"/>
                  <a:pt x="5077974" y="2590619"/>
                </a:cubicBezTo>
                <a:close/>
                <a:moveTo>
                  <a:pt x="4046288" y="2586770"/>
                </a:moveTo>
                <a:cubicBezTo>
                  <a:pt x="4042439" y="2606012"/>
                  <a:pt x="4036664" y="2625263"/>
                  <a:pt x="4028965" y="2642581"/>
                </a:cubicBezTo>
                <a:cubicBezTo>
                  <a:pt x="4032815" y="2642581"/>
                  <a:pt x="4034740" y="2642581"/>
                  <a:pt x="4038589" y="2642581"/>
                </a:cubicBezTo>
                <a:cubicBezTo>
                  <a:pt x="4042439" y="2625263"/>
                  <a:pt x="4046288" y="2606012"/>
                  <a:pt x="4048213" y="2586770"/>
                </a:cubicBezTo>
                <a:cubicBezTo>
                  <a:pt x="4048213" y="2586770"/>
                  <a:pt x="4046288" y="2586770"/>
                  <a:pt x="4046288" y="2586770"/>
                </a:cubicBezTo>
                <a:close/>
                <a:moveTo>
                  <a:pt x="2829822" y="2571367"/>
                </a:moveTo>
                <a:cubicBezTo>
                  <a:pt x="2808650" y="2744582"/>
                  <a:pt x="2835597" y="2888917"/>
                  <a:pt x="2785552" y="3065969"/>
                </a:cubicBezTo>
                <a:cubicBezTo>
                  <a:pt x="2737433" y="3129480"/>
                  <a:pt x="2631569" y="3096764"/>
                  <a:pt x="2602697" y="3189155"/>
                </a:cubicBezTo>
                <a:cubicBezTo>
                  <a:pt x="2666215" y="3233418"/>
                  <a:pt x="2731659" y="3302710"/>
                  <a:pt x="2671990" y="3402799"/>
                </a:cubicBezTo>
                <a:cubicBezTo>
                  <a:pt x="2604622" y="3435521"/>
                  <a:pt x="2479511" y="3373927"/>
                  <a:pt x="2469887" y="3499039"/>
                </a:cubicBezTo>
                <a:cubicBezTo>
                  <a:pt x="2481437" y="3579880"/>
                  <a:pt x="2668140" y="3658796"/>
                  <a:pt x="2552653" y="3766584"/>
                </a:cubicBezTo>
                <a:cubicBezTo>
                  <a:pt x="2523781" y="3793531"/>
                  <a:pt x="2467962" y="3778133"/>
                  <a:pt x="2444866" y="3824328"/>
                </a:cubicBezTo>
                <a:cubicBezTo>
                  <a:pt x="2296656" y="3880147"/>
                  <a:pt x="2281258" y="3716540"/>
                  <a:pt x="2227364" y="3641473"/>
                </a:cubicBezTo>
                <a:cubicBezTo>
                  <a:pt x="2267784" y="3654946"/>
                  <a:pt x="2256236" y="3701141"/>
                  <a:pt x="2292807" y="3716540"/>
                </a:cubicBezTo>
                <a:cubicBezTo>
                  <a:pt x="2287032" y="3676119"/>
                  <a:pt x="2258160" y="3649172"/>
                  <a:pt x="2236988" y="3618376"/>
                </a:cubicBezTo>
                <a:cubicBezTo>
                  <a:pt x="2244688" y="3616451"/>
                  <a:pt x="2248537" y="3606827"/>
                  <a:pt x="2250462" y="3595278"/>
                </a:cubicBezTo>
                <a:cubicBezTo>
                  <a:pt x="2269709" y="3647247"/>
                  <a:pt x="2344776" y="3681893"/>
                  <a:pt x="2329378" y="3745411"/>
                </a:cubicBezTo>
                <a:cubicBezTo>
                  <a:pt x="2392896" y="3685743"/>
                  <a:pt x="2236988" y="3631849"/>
                  <a:pt x="2271634" y="3556782"/>
                </a:cubicBezTo>
                <a:cubicBezTo>
                  <a:pt x="2308205" y="3629924"/>
                  <a:pt x="2427542" y="3691517"/>
                  <a:pt x="2398670" y="3774283"/>
                </a:cubicBezTo>
                <a:cubicBezTo>
                  <a:pt x="2496834" y="3704991"/>
                  <a:pt x="2271634" y="3602977"/>
                  <a:pt x="2290882" y="3522136"/>
                </a:cubicBezTo>
                <a:cubicBezTo>
                  <a:pt x="2364024" y="3566406"/>
                  <a:pt x="2350550" y="3641473"/>
                  <a:pt x="2439091" y="3672269"/>
                </a:cubicBezTo>
                <a:cubicBezTo>
                  <a:pt x="2441015" y="3687668"/>
                  <a:pt x="2439091" y="3706916"/>
                  <a:pt x="2460263" y="3710765"/>
                </a:cubicBezTo>
                <a:cubicBezTo>
                  <a:pt x="2466038" y="3601052"/>
                  <a:pt x="2312055" y="3576030"/>
                  <a:pt x="2308205" y="3483640"/>
                </a:cubicBezTo>
                <a:cubicBezTo>
                  <a:pt x="2354400" y="3539459"/>
                  <a:pt x="2439091" y="3620300"/>
                  <a:pt x="2494910" y="3668420"/>
                </a:cubicBezTo>
                <a:cubicBezTo>
                  <a:pt x="2504533" y="3645323"/>
                  <a:pt x="2487210" y="3637624"/>
                  <a:pt x="2473737" y="3629924"/>
                </a:cubicBezTo>
                <a:cubicBezTo>
                  <a:pt x="2471812" y="3614526"/>
                  <a:pt x="2487210" y="3629924"/>
                  <a:pt x="2485285" y="3614526"/>
                </a:cubicBezTo>
                <a:cubicBezTo>
                  <a:pt x="2442940" y="3589504"/>
                  <a:pt x="2377497" y="3564481"/>
                  <a:pt x="2385196" y="3518286"/>
                </a:cubicBezTo>
                <a:cubicBezTo>
                  <a:pt x="2358249" y="3493264"/>
                  <a:pt x="2312055" y="3462468"/>
                  <a:pt x="2325529" y="3422047"/>
                </a:cubicBezTo>
                <a:cubicBezTo>
                  <a:pt x="2365949" y="3479791"/>
                  <a:pt x="2415993" y="3547158"/>
                  <a:pt x="2469887" y="3583729"/>
                </a:cubicBezTo>
                <a:cubicBezTo>
                  <a:pt x="2425617" y="3522136"/>
                  <a:pt x="2385196" y="3458618"/>
                  <a:pt x="2335152" y="3398950"/>
                </a:cubicBezTo>
                <a:cubicBezTo>
                  <a:pt x="2340926" y="3385476"/>
                  <a:pt x="2337077" y="3360454"/>
                  <a:pt x="2348625" y="3354679"/>
                </a:cubicBezTo>
                <a:cubicBezTo>
                  <a:pt x="2369799" y="3406649"/>
                  <a:pt x="2414068" y="3443220"/>
                  <a:pt x="2458338" y="3481716"/>
                </a:cubicBezTo>
                <a:cubicBezTo>
                  <a:pt x="2444866" y="3406649"/>
                  <a:pt x="2333227" y="3375852"/>
                  <a:pt x="2369799" y="3281538"/>
                </a:cubicBezTo>
                <a:cubicBezTo>
                  <a:pt x="2396745" y="3320034"/>
                  <a:pt x="2415993" y="3381627"/>
                  <a:pt x="2460263" y="3397025"/>
                </a:cubicBezTo>
                <a:cubicBezTo>
                  <a:pt x="2448714" y="3321958"/>
                  <a:pt x="2362099" y="3275763"/>
                  <a:pt x="2390971" y="3187230"/>
                </a:cubicBezTo>
                <a:cubicBezTo>
                  <a:pt x="2427542" y="3250741"/>
                  <a:pt x="2454489" y="3316184"/>
                  <a:pt x="2516082" y="3362379"/>
                </a:cubicBezTo>
                <a:cubicBezTo>
                  <a:pt x="2491060" y="3277688"/>
                  <a:pt x="2381347" y="3227644"/>
                  <a:pt x="2419843" y="3116009"/>
                </a:cubicBezTo>
                <a:cubicBezTo>
                  <a:pt x="2444866" y="3189155"/>
                  <a:pt x="2489135" y="3266139"/>
                  <a:pt x="2544954" y="3308485"/>
                </a:cubicBezTo>
                <a:cubicBezTo>
                  <a:pt x="2518007" y="3219944"/>
                  <a:pt x="2406370" y="3150656"/>
                  <a:pt x="2444866" y="3044800"/>
                </a:cubicBezTo>
                <a:cubicBezTo>
                  <a:pt x="2489135" y="3144881"/>
                  <a:pt x="2527631" y="3246892"/>
                  <a:pt x="2627720" y="3310410"/>
                </a:cubicBezTo>
                <a:cubicBezTo>
                  <a:pt x="2591149" y="3254591"/>
                  <a:pt x="2550728" y="3210320"/>
                  <a:pt x="2514157" y="3146807"/>
                </a:cubicBezTo>
                <a:cubicBezTo>
                  <a:pt x="2487210" y="3098688"/>
                  <a:pt x="2442940" y="3031330"/>
                  <a:pt x="2475663" y="2990914"/>
                </a:cubicBezTo>
                <a:cubicBezTo>
                  <a:pt x="2514157" y="3035178"/>
                  <a:pt x="2523781" y="3116009"/>
                  <a:pt x="2569976" y="3144881"/>
                </a:cubicBezTo>
                <a:cubicBezTo>
                  <a:pt x="2548804" y="3083292"/>
                  <a:pt x="2516082" y="3027480"/>
                  <a:pt x="2492985" y="2967820"/>
                </a:cubicBezTo>
                <a:cubicBezTo>
                  <a:pt x="2504533" y="2962047"/>
                  <a:pt x="2510308" y="2948575"/>
                  <a:pt x="2518007" y="2935105"/>
                </a:cubicBezTo>
                <a:cubicBezTo>
                  <a:pt x="2550728" y="2990914"/>
                  <a:pt x="2558427" y="3062121"/>
                  <a:pt x="2608472" y="3106385"/>
                </a:cubicBezTo>
                <a:cubicBezTo>
                  <a:pt x="2585374" y="3044800"/>
                  <a:pt x="2569976" y="2975519"/>
                  <a:pt x="2543029" y="2915859"/>
                </a:cubicBezTo>
                <a:cubicBezTo>
                  <a:pt x="2554578" y="2904314"/>
                  <a:pt x="2560352" y="2883144"/>
                  <a:pt x="2573826" y="2875446"/>
                </a:cubicBezTo>
                <a:cubicBezTo>
                  <a:pt x="2587299" y="2948575"/>
                  <a:pt x="2614246" y="3033253"/>
                  <a:pt x="2664291" y="3071743"/>
                </a:cubicBezTo>
                <a:cubicBezTo>
                  <a:pt x="2648892" y="3000538"/>
                  <a:pt x="2552653" y="2902390"/>
                  <a:pt x="2621945" y="2835032"/>
                </a:cubicBezTo>
                <a:cubicBezTo>
                  <a:pt x="2633494" y="2913936"/>
                  <a:pt x="2660441" y="2985140"/>
                  <a:pt x="2710486" y="3039026"/>
                </a:cubicBezTo>
                <a:cubicBezTo>
                  <a:pt x="2691238" y="2963971"/>
                  <a:pt x="2610397" y="2861975"/>
                  <a:pt x="2658516" y="2790770"/>
                </a:cubicBezTo>
                <a:cubicBezTo>
                  <a:pt x="2670065" y="2856203"/>
                  <a:pt x="2695087" y="2912011"/>
                  <a:pt x="2731659" y="2962047"/>
                </a:cubicBezTo>
                <a:cubicBezTo>
                  <a:pt x="2716260" y="2894691"/>
                  <a:pt x="2652742" y="2794618"/>
                  <a:pt x="2700862" y="2731110"/>
                </a:cubicBezTo>
                <a:cubicBezTo>
                  <a:pt x="2693163" y="2804240"/>
                  <a:pt x="2729733" y="2848504"/>
                  <a:pt x="2754756" y="2898540"/>
                </a:cubicBezTo>
                <a:cubicBezTo>
                  <a:pt x="2743207" y="2835032"/>
                  <a:pt x="2693163" y="2750356"/>
                  <a:pt x="2743207" y="2681073"/>
                </a:cubicBezTo>
                <a:cubicBezTo>
                  <a:pt x="2752831" y="2723413"/>
                  <a:pt x="2756680" y="2771525"/>
                  <a:pt x="2781703" y="2802317"/>
                </a:cubicBezTo>
                <a:cubicBezTo>
                  <a:pt x="2777853" y="2750356"/>
                  <a:pt x="2741282" y="2661824"/>
                  <a:pt x="2793253" y="2619485"/>
                </a:cubicBezTo>
                <a:cubicBezTo>
                  <a:pt x="2793253" y="2642581"/>
                  <a:pt x="2791327" y="2667601"/>
                  <a:pt x="2810574" y="2679149"/>
                </a:cubicBezTo>
                <a:cubicBezTo>
                  <a:pt x="2818274" y="2642581"/>
                  <a:pt x="2785552" y="2575220"/>
                  <a:pt x="2829822" y="2571367"/>
                </a:cubicBezTo>
                <a:close/>
                <a:moveTo>
                  <a:pt x="2733584" y="2569397"/>
                </a:moveTo>
                <a:cubicBezTo>
                  <a:pt x="2718186" y="2598271"/>
                  <a:pt x="2700862" y="2625215"/>
                  <a:pt x="2679689" y="2652161"/>
                </a:cubicBezTo>
                <a:cubicBezTo>
                  <a:pt x="2679689" y="2652161"/>
                  <a:pt x="2677764" y="2650237"/>
                  <a:pt x="2677764" y="2648312"/>
                </a:cubicBezTo>
                <a:cubicBezTo>
                  <a:pt x="2675841" y="2644464"/>
                  <a:pt x="2675841" y="2640614"/>
                  <a:pt x="2673915" y="2636762"/>
                </a:cubicBezTo>
                <a:cubicBezTo>
                  <a:pt x="2693163" y="2615592"/>
                  <a:pt x="2712412" y="2592496"/>
                  <a:pt x="2733584" y="2569397"/>
                </a:cubicBezTo>
                <a:close/>
                <a:moveTo>
                  <a:pt x="4277263" y="2567520"/>
                </a:moveTo>
                <a:cubicBezTo>
                  <a:pt x="4269564" y="2582922"/>
                  <a:pt x="4261865" y="2598315"/>
                  <a:pt x="4250316" y="2615634"/>
                </a:cubicBezTo>
                <a:cubicBezTo>
                  <a:pt x="4238767" y="2629113"/>
                  <a:pt x="4223369" y="2644506"/>
                  <a:pt x="4206046" y="2661824"/>
                </a:cubicBezTo>
                <a:cubicBezTo>
                  <a:pt x="4213745" y="2661824"/>
                  <a:pt x="4219519" y="2661824"/>
                  <a:pt x="4227218" y="2661824"/>
                </a:cubicBezTo>
                <a:cubicBezTo>
                  <a:pt x="4244541" y="2640657"/>
                  <a:pt x="4259940" y="2619485"/>
                  <a:pt x="4273413" y="2596386"/>
                </a:cubicBezTo>
                <a:cubicBezTo>
                  <a:pt x="4273413" y="2586770"/>
                  <a:pt x="4275338" y="2577142"/>
                  <a:pt x="4277263" y="2567520"/>
                </a:cubicBezTo>
                <a:close/>
                <a:moveTo>
                  <a:pt x="1180279" y="2555892"/>
                </a:moveTo>
                <a:cubicBezTo>
                  <a:pt x="1112911" y="2573216"/>
                  <a:pt x="1055168" y="2607862"/>
                  <a:pt x="1020522" y="2675229"/>
                </a:cubicBezTo>
                <a:cubicBezTo>
                  <a:pt x="1066717" y="2625186"/>
                  <a:pt x="1130235" y="2600162"/>
                  <a:pt x="1180279" y="2555892"/>
                </a:cubicBezTo>
                <a:close/>
                <a:moveTo>
                  <a:pt x="2529556" y="2548239"/>
                </a:moveTo>
                <a:lnTo>
                  <a:pt x="2535330" y="2554011"/>
                </a:lnTo>
                <a:lnTo>
                  <a:pt x="2529556" y="2557865"/>
                </a:lnTo>
                <a:lnTo>
                  <a:pt x="2525707" y="2554011"/>
                </a:lnTo>
                <a:close/>
                <a:moveTo>
                  <a:pt x="2877582" y="2548152"/>
                </a:moveTo>
                <a:cubicBezTo>
                  <a:pt x="2880108" y="2547071"/>
                  <a:pt x="2883236" y="2546830"/>
                  <a:pt x="2887567" y="2548276"/>
                </a:cubicBezTo>
                <a:cubicBezTo>
                  <a:pt x="2887567" y="2579072"/>
                  <a:pt x="2868318" y="2592542"/>
                  <a:pt x="2845221" y="2600235"/>
                </a:cubicBezTo>
                <a:cubicBezTo>
                  <a:pt x="2849070" y="2586770"/>
                  <a:pt x="2850995" y="2573296"/>
                  <a:pt x="2854845" y="2557902"/>
                </a:cubicBezTo>
                <a:cubicBezTo>
                  <a:pt x="2867838" y="2562226"/>
                  <a:pt x="2870003" y="2551399"/>
                  <a:pt x="2877582" y="2548152"/>
                </a:cubicBezTo>
                <a:close/>
                <a:moveTo>
                  <a:pt x="4236842" y="2538654"/>
                </a:moveTo>
                <a:cubicBezTo>
                  <a:pt x="4221444" y="2567520"/>
                  <a:pt x="4207970" y="2594463"/>
                  <a:pt x="4192572" y="2619485"/>
                </a:cubicBezTo>
                <a:cubicBezTo>
                  <a:pt x="4186798" y="2627181"/>
                  <a:pt x="4177174" y="2638732"/>
                  <a:pt x="4165625" y="2648356"/>
                </a:cubicBezTo>
                <a:cubicBezTo>
                  <a:pt x="4169475" y="2652206"/>
                  <a:pt x="4173324" y="2656053"/>
                  <a:pt x="4177174" y="2657977"/>
                </a:cubicBezTo>
                <a:cubicBezTo>
                  <a:pt x="4177174" y="2657977"/>
                  <a:pt x="4175249" y="2657977"/>
                  <a:pt x="4175249" y="2657977"/>
                </a:cubicBezTo>
                <a:lnTo>
                  <a:pt x="4175249" y="2659078"/>
                </a:lnTo>
                <a:lnTo>
                  <a:pt x="4158648" y="2668566"/>
                </a:lnTo>
                <a:cubicBezTo>
                  <a:pt x="4152633" y="2671930"/>
                  <a:pt x="4147340" y="2674334"/>
                  <a:pt x="4144452" y="2673376"/>
                </a:cubicBezTo>
                <a:cubicBezTo>
                  <a:pt x="4142527" y="2673376"/>
                  <a:pt x="4140603" y="2671449"/>
                  <a:pt x="4138678" y="2671449"/>
                </a:cubicBezTo>
                <a:cubicBezTo>
                  <a:pt x="4125205" y="2682996"/>
                  <a:pt x="4109806" y="2694543"/>
                  <a:pt x="4098258" y="2708015"/>
                </a:cubicBezTo>
                <a:cubicBezTo>
                  <a:pt x="4104032" y="2709941"/>
                  <a:pt x="4107882" y="2711866"/>
                  <a:pt x="4111731" y="2719565"/>
                </a:cubicBezTo>
                <a:cubicBezTo>
                  <a:pt x="4119430" y="2733035"/>
                  <a:pt x="4092483" y="2731110"/>
                  <a:pt x="4094408" y="2740734"/>
                </a:cubicBezTo>
                <a:cubicBezTo>
                  <a:pt x="4100182" y="2736883"/>
                  <a:pt x="4104032" y="2734960"/>
                  <a:pt x="4109806" y="2734960"/>
                </a:cubicBezTo>
                <a:cubicBezTo>
                  <a:pt x="4132904" y="2711866"/>
                  <a:pt x="4154076" y="2686847"/>
                  <a:pt x="4175249" y="2659901"/>
                </a:cubicBezTo>
                <a:lnTo>
                  <a:pt x="4175249" y="2659078"/>
                </a:lnTo>
                <a:lnTo>
                  <a:pt x="4177174" y="2657977"/>
                </a:lnTo>
                <a:cubicBezTo>
                  <a:pt x="4206046" y="2623338"/>
                  <a:pt x="4231068" y="2584848"/>
                  <a:pt x="4254165" y="2540578"/>
                </a:cubicBezTo>
                <a:cubicBezTo>
                  <a:pt x="4254165" y="2540578"/>
                  <a:pt x="4252241" y="2540578"/>
                  <a:pt x="4252241" y="2540578"/>
                </a:cubicBezTo>
                <a:cubicBezTo>
                  <a:pt x="4246466" y="2540578"/>
                  <a:pt x="4238767" y="2538654"/>
                  <a:pt x="4236842" y="2538654"/>
                </a:cubicBezTo>
                <a:close/>
                <a:moveTo>
                  <a:pt x="2516082" y="2534771"/>
                </a:moveTo>
                <a:lnTo>
                  <a:pt x="2514157" y="2540543"/>
                </a:lnTo>
                <a:lnTo>
                  <a:pt x="2506458" y="2536694"/>
                </a:lnTo>
                <a:close/>
                <a:moveTo>
                  <a:pt x="2502609" y="2527072"/>
                </a:moveTo>
                <a:lnTo>
                  <a:pt x="2502609" y="2532846"/>
                </a:lnTo>
                <a:lnTo>
                  <a:pt x="2494910" y="2532846"/>
                </a:lnTo>
                <a:close/>
                <a:moveTo>
                  <a:pt x="5464646" y="2524822"/>
                </a:moveTo>
                <a:cubicBezTo>
                  <a:pt x="5468104" y="2524585"/>
                  <a:pt x="5471112" y="2524702"/>
                  <a:pt x="5472555" y="2525181"/>
                </a:cubicBezTo>
                <a:cubicBezTo>
                  <a:pt x="5539923" y="2540578"/>
                  <a:pt x="5605365" y="2565597"/>
                  <a:pt x="5678508" y="2571367"/>
                </a:cubicBezTo>
                <a:cubicBezTo>
                  <a:pt x="5686207" y="2573296"/>
                  <a:pt x="5709304" y="2582922"/>
                  <a:pt x="5697756" y="2594463"/>
                </a:cubicBezTo>
                <a:cubicBezTo>
                  <a:pt x="5688132" y="2602161"/>
                  <a:pt x="5676583" y="2590619"/>
                  <a:pt x="5663109" y="2590619"/>
                </a:cubicBezTo>
                <a:cubicBezTo>
                  <a:pt x="5663109" y="2582922"/>
                  <a:pt x="5655410" y="2579068"/>
                  <a:pt x="5649636" y="2584848"/>
                </a:cubicBezTo>
                <a:cubicBezTo>
                  <a:pt x="5603440" y="2565597"/>
                  <a:pt x="5553396" y="2554044"/>
                  <a:pt x="5499502" y="2554044"/>
                </a:cubicBezTo>
                <a:cubicBezTo>
                  <a:pt x="5482179" y="2554044"/>
                  <a:pt x="5466781" y="2546350"/>
                  <a:pt x="5451382" y="2536732"/>
                </a:cubicBezTo>
                <a:cubicBezTo>
                  <a:pt x="5439834" y="2529514"/>
                  <a:pt x="5454270" y="2525547"/>
                  <a:pt x="5464646" y="2524822"/>
                </a:cubicBezTo>
                <a:close/>
                <a:moveTo>
                  <a:pt x="2985732" y="2515557"/>
                </a:moveTo>
                <a:cubicBezTo>
                  <a:pt x="2987657" y="2532882"/>
                  <a:pt x="2974184" y="2559819"/>
                  <a:pt x="2960708" y="2569444"/>
                </a:cubicBezTo>
                <a:cubicBezTo>
                  <a:pt x="2953009" y="2548276"/>
                  <a:pt x="2972257" y="2523258"/>
                  <a:pt x="2985732" y="2515557"/>
                </a:cubicBezTo>
                <a:close/>
                <a:moveTo>
                  <a:pt x="2523242" y="2499120"/>
                </a:moveTo>
                <a:lnTo>
                  <a:pt x="2533405" y="2505899"/>
                </a:lnTo>
                <a:cubicBezTo>
                  <a:pt x="2531481" y="2507821"/>
                  <a:pt x="2529555" y="2509746"/>
                  <a:pt x="2529555" y="2509746"/>
                </a:cubicBezTo>
                <a:lnTo>
                  <a:pt x="2521856" y="2503972"/>
                </a:lnTo>
                <a:close/>
                <a:moveTo>
                  <a:pt x="2521856" y="2498201"/>
                </a:moveTo>
                <a:cubicBezTo>
                  <a:pt x="2521856" y="2499160"/>
                  <a:pt x="2522820" y="2498679"/>
                  <a:pt x="2523300" y="2498919"/>
                </a:cubicBezTo>
                <a:lnTo>
                  <a:pt x="2523242" y="2499120"/>
                </a:lnTo>
                <a:close/>
                <a:moveTo>
                  <a:pt x="2960709" y="2488613"/>
                </a:moveTo>
                <a:cubicBezTo>
                  <a:pt x="2970333" y="2504006"/>
                  <a:pt x="2945310" y="2546350"/>
                  <a:pt x="2931837" y="2563666"/>
                </a:cubicBezTo>
                <a:cubicBezTo>
                  <a:pt x="2924137" y="2552123"/>
                  <a:pt x="2943385" y="2498232"/>
                  <a:pt x="2960709" y="2488613"/>
                </a:cubicBezTo>
                <a:close/>
                <a:moveTo>
                  <a:pt x="2845221" y="2482835"/>
                </a:moveTo>
                <a:cubicBezTo>
                  <a:pt x="2837523" y="2502083"/>
                  <a:pt x="2849072" y="2515557"/>
                  <a:pt x="2833672" y="2519409"/>
                </a:cubicBezTo>
                <a:cubicBezTo>
                  <a:pt x="2827898" y="2507858"/>
                  <a:pt x="2837523" y="2488613"/>
                  <a:pt x="2845221" y="2482835"/>
                </a:cubicBezTo>
                <a:close/>
                <a:moveTo>
                  <a:pt x="4928414" y="2470444"/>
                </a:moveTo>
                <a:cubicBezTo>
                  <a:pt x="4927000" y="2470089"/>
                  <a:pt x="4925436" y="2470805"/>
                  <a:pt x="4923992" y="2473207"/>
                </a:cubicBezTo>
                <a:cubicBezTo>
                  <a:pt x="4922067" y="2475125"/>
                  <a:pt x="4916293" y="2478984"/>
                  <a:pt x="4916293" y="2482828"/>
                </a:cubicBezTo>
                <a:cubicBezTo>
                  <a:pt x="4914368" y="2492459"/>
                  <a:pt x="4925917" y="2488613"/>
                  <a:pt x="4929767" y="2486679"/>
                </a:cubicBezTo>
                <a:cubicBezTo>
                  <a:pt x="4935542" y="2482346"/>
                  <a:pt x="4932654" y="2471521"/>
                  <a:pt x="4928414" y="2470444"/>
                </a:cubicBezTo>
                <a:close/>
                <a:moveTo>
                  <a:pt x="2935686" y="2469367"/>
                </a:moveTo>
                <a:cubicBezTo>
                  <a:pt x="2935686" y="2492459"/>
                  <a:pt x="2920287" y="2534807"/>
                  <a:pt x="2901039" y="2544426"/>
                </a:cubicBezTo>
                <a:cubicBezTo>
                  <a:pt x="2908738" y="2511709"/>
                  <a:pt x="2918362" y="2486679"/>
                  <a:pt x="2935686" y="2469367"/>
                </a:cubicBezTo>
                <a:close/>
                <a:moveTo>
                  <a:pt x="2877943" y="2469367"/>
                </a:moveTo>
                <a:cubicBezTo>
                  <a:pt x="2872168" y="2488613"/>
                  <a:pt x="2874093" y="2519409"/>
                  <a:pt x="2860619" y="2530961"/>
                </a:cubicBezTo>
                <a:cubicBezTo>
                  <a:pt x="2852919" y="2521333"/>
                  <a:pt x="2856770" y="2465490"/>
                  <a:pt x="2877943" y="2469367"/>
                </a:cubicBezTo>
                <a:close/>
                <a:moveTo>
                  <a:pt x="2635419" y="2461586"/>
                </a:moveTo>
                <a:cubicBezTo>
                  <a:pt x="2646967" y="2471235"/>
                  <a:pt x="2658516" y="2482789"/>
                  <a:pt x="2671991" y="2492412"/>
                </a:cubicBezTo>
                <a:cubicBezTo>
                  <a:pt x="2660441" y="2490484"/>
                  <a:pt x="2648892" y="2486634"/>
                  <a:pt x="2639268" y="2482789"/>
                </a:cubicBezTo>
                <a:cubicBezTo>
                  <a:pt x="2637345" y="2475082"/>
                  <a:pt x="2637345" y="2469317"/>
                  <a:pt x="2635419" y="2461586"/>
                </a:cubicBezTo>
                <a:close/>
                <a:moveTo>
                  <a:pt x="3251351" y="2457781"/>
                </a:moveTo>
                <a:cubicBezTo>
                  <a:pt x="3249427" y="2457781"/>
                  <a:pt x="3247501" y="2459699"/>
                  <a:pt x="3245577" y="2461608"/>
                </a:cubicBezTo>
                <a:cubicBezTo>
                  <a:pt x="3253276" y="2469367"/>
                  <a:pt x="3262900" y="2477055"/>
                  <a:pt x="3272524" y="2478984"/>
                </a:cubicBezTo>
                <a:cubicBezTo>
                  <a:pt x="3276373" y="2477055"/>
                  <a:pt x="3280224" y="2473207"/>
                  <a:pt x="3284072" y="2471284"/>
                </a:cubicBezTo>
                <a:cubicBezTo>
                  <a:pt x="3272524" y="2469367"/>
                  <a:pt x="3260975" y="2467431"/>
                  <a:pt x="3251351" y="2457781"/>
                </a:cubicBezTo>
                <a:close/>
                <a:moveTo>
                  <a:pt x="2895265" y="2455869"/>
                </a:moveTo>
                <a:cubicBezTo>
                  <a:pt x="2901039" y="2459699"/>
                  <a:pt x="2916438" y="2455869"/>
                  <a:pt x="2916438" y="2465490"/>
                </a:cubicBezTo>
                <a:cubicBezTo>
                  <a:pt x="2899114" y="2477055"/>
                  <a:pt x="2904889" y="2523258"/>
                  <a:pt x="2883716" y="2530961"/>
                </a:cubicBezTo>
                <a:cubicBezTo>
                  <a:pt x="2877942" y="2511709"/>
                  <a:pt x="2893341" y="2478984"/>
                  <a:pt x="2895265" y="2455869"/>
                </a:cubicBezTo>
                <a:close/>
                <a:moveTo>
                  <a:pt x="2342852" y="2438507"/>
                </a:moveTo>
                <a:lnTo>
                  <a:pt x="2348626" y="2438507"/>
                </a:lnTo>
                <a:lnTo>
                  <a:pt x="2342852" y="2444279"/>
                </a:lnTo>
                <a:close/>
                <a:moveTo>
                  <a:pt x="2585134" y="2422377"/>
                </a:moveTo>
                <a:cubicBezTo>
                  <a:pt x="2586337" y="2421656"/>
                  <a:pt x="2588262" y="2422138"/>
                  <a:pt x="2593073" y="2423100"/>
                </a:cubicBezTo>
                <a:cubicBezTo>
                  <a:pt x="2589224" y="2428872"/>
                  <a:pt x="2593073" y="2426948"/>
                  <a:pt x="2581525" y="2428872"/>
                </a:cubicBezTo>
                <a:cubicBezTo>
                  <a:pt x="2583450" y="2425024"/>
                  <a:pt x="2583932" y="2423100"/>
                  <a:pt x="2585134" y="2422377"/>
                </a:cubicBezTo>
                <a:close/>
                <a:moveTo>
                  <a:pt x="2458338" y="2409637"/>
                </a:moveTo>
                <a:cubicBezTo>
                  <a:pt x="2460263" y="2409637"/>
                  <a:pt x="2466038" y="2413485"/>
                  <a:pt x="2467963" y="2415407"/>
                </a:cubicBezTo>
                <a:cubicBezTo>
                  <a:pt x="2467963" y="2419255"/>
                  <a:pt x="2467963" y="2419255"/>
                  <a:pt x="2464113" y="2419255"/>
                </a:cubicBezTo>
                <a:cubicBezTo>
                  <a:pt x="2458338" y="2417331"/>
                  <a:pt x="2454488" y="2415407"/>
                  <a:pt x="2448714" y="2413485"/>
                </a:cubicBezTo>
                <a:cubicBezTo>
                  <a:pt x="2452563" y="2411561"/>
                  <a:pt x="2452563" y="2409637"/>
                  <a:pt x="2458338" y="2409637"/>
                </a:cubicBezTo>
                <a:close/>
                <a:moveTo>
                  <a:pt x="3340944" y="2407464"/>
                </a:moveTo>
                <a:cubicBezTo>
                  <a:pt x="3338449" y="2407136"/>
                  <a:pt x="3335560" y="2407737"/>
                  <a:pt x="3332192" y="2409661"/>
                </a:cubicBezTo>
                <a:cubicBezTo>
                  <a:pt x="3326418" y="2411583"/>
                  <a:pt x="3324494" y="2426974"/>
                  <a:pt x="3312944" y="2413509"/>
                </a:cubicBezTo>
                <a:cubicBezTo>
                  <a:pt x="3303320" y="2421196"/>
                  <a:pt x="3295621" y="2426974"/>
                  <a:pt x="3287922" y="2430822"/>
                </a:cubicBezTo>
                <a:cubicBezTo>
                  <a:pt x="3299471" y="2438527"/>
                  <a:pt x="3311019" y="2444311"/>
                  <a:pt x="3324494" y="2444311"/>
                </a:cubicBezTo>
                <a:cubicBezTo>
                  <a:pt x="3334117" y="2438527"/>
                  <a:pt x="3345666" y="2430822"/>
                  <a:pt x="3355289" y="2425046"/>
                </a:cubicBezTo>
                <a:cubicBezTo>
                  <a:pt x="3352402" y="2417834"/>
                  <a:pt x="3348432" y="2408456"/>
                  <a:pt x="3340944" y="2407464"/>
                </a:cubicBezTo>
                <a:close/>
                <a:moveTo>
                  <a:pt x="2539181" y="2405789"/>
                </a:moveTo>
                <a:lnTo>
                  <a:pt x="2544956" y="2411561"/>
                </a:lnTo>
                <a:lnTo>
                  <a:pt x="2539181" y="2413485"/>
                </a:lnTo>
                <a:close/>
                <a:moveTo>
                  <a:pt x="394966" y="2405761"/>
                </a:moveTo>
                <a:cubicBezTo>
                  <a:pt x="333373" y="2413461"/>
                  <a:pt x="214036" y="2426933"/>
                  <a:pt x="162067" y="2486603"/>
                </a:cubicBezTo>
                <a:cubicBezTo>
                  <a:pt x="237134" y="2455805"/>
                  <a:pt x="314125" y="2428859"/>
                  <a:pt x="394966" y="2405761"/>
                </a:cubicBezTo>
                <a:close/>
                <a:moveTo>
                  <a:pt x="1596035" y="2405759"/>
                </a:moveTo>
                <a:cubicBezTo>
                  <a:pt x="1596035" y="2530870"/>
                  <a:pt x="1596035" y="2721425"/>
                  <a:pt x="1545991" y="2746446"/>
                </a:cubicBezTo>
                <a:cubicBezTo>
                  <a:pt x="1484397" y="2777244"/>
                  <a:pt x="1378533" y="2898506"/>
                  <a:pt x="1405480" y="2942775"/>
                </a:cubicBezTo>
                <a:cubicBezTo>
                  <a:pt x="1361210" y="2977421"/>
                  <a:pt x="1324639" y="3033240"/>
                  <a:pt x="1293842" y="3089059"/>
                </a:cubicBezTo>
                <a:cubicBezTo>
                  <a:pt x="1341962" y="3052488"/>
                  <a:pt x="1376608" y="2987045"/>
                  <a:pt x="1426653" y="2942775"/>
                </a:cubicBezTo>
                <a:cubicBezTo>
                  <a:pt x="1426653" y="2948549"/>
                  <a:pt x="1426653" y="2952399"/>
                  <a:pt x="1426653" y="2958173"/>
                </a:cubicBezTo>
                <a:cubicBezTo>
                  <a:pt x="1434352" y="2962023"/>
                  <a:pt x="1442051" y="2963948"/>
                  <a:pt x="1447826" y="2967797"/>
                </a:cubicBezTo>
                <a:cubicBezTo>
                  <a:pt x="1445901" y="2965872"/>
                  <a:pt x="1447826" y="2962023"/>
                  <a:pt x="1447826" y="2960098"/>
                </a:cubicBezTo>
                <a:cubicBezTo>
                  <a:pt x="1451675" y="2962023"/>
                  <a:pt x="1455525" y="2967797"/>
                  <a:pt x="1457449" y="2973571"/>
                </a:cubicBezTo>
                <a:cubicBezTo>
                  <a:pt x="1459374" y="2973571"/>
                  <a:pt x="1459374" y="2973571"/>
                  <a:pt x="1459374" y="2973571"/>
                </a:cubicBezTo>
                <a:cubicBezTo>
                  <a:pt x="1372759" y="3033240"/>
                  <a:pt x="1288067" y="3108307"/>
                  <a:pt x="1278444" y="3258440"/>
                </a:cubicBezTo>
                <a:cubicBezTo>
                  <a:pt x="1247647" y="3283462"/>
                  <a:pt x="1232248" y="3333507"/>
                  <a:pt x="1193754" y="3346980"/>
                </a:cubicBezTo>
                <a:cubicBezTo>
                  <a:pt x="1101364" y="3368153"/>
                  <a:pt x="1122535" y="3154501"/>
                  <a:pt x="1045544" y="3275763"/>
                </a:cubicBezTo>
                <a:cubicBezTo>
                  <a:pt x="1026296" y="3248816"/>
                  <a:pt x="1022446" y="3212245"/>
                  <a:pt x="964703" y="3210320"/>
                </a:cubicBezTo>
                <a:cubicBezTo>
                  <a:pt x="945455" y="3210320"/>
                  <a:pt x="943530" y="3235342"/>
                  <a:pt x="924282" y="3235342"/>
                </a:cubicBezTo>
                <a:cubicBezTo>
                  <a:pt x="808795" y="3206471"/>
                  <a:pt x="914658" y="3166050"/>
                  <a:pt x="926207" y="3121780"/>
                </a:cubicBezTo>
                <a:cubicBezTo>
                  <a:pt x="945455" y="3058262"/>
                  <a:pt x="880012" y="3035165"/>
                  <a:pt x="828043" y="3000518"/>
                </a:cubicBezTo>
                <a:cubicBezTo>
                  <a:pt x="847291" y="2900429"/>
                  <a:pt x="906959" y="2867708"/>
                  <a:pt x="939681" y="2788792"/>
                </a:cubicBezTo>
                <a:cubicBezTo>
                  <a:pt x="941605" y="2781093"/>
                  <a:pt x="951229" y="2746446"/>
                  <a:pt x="949305" y="2769545"/>
                </a:cubicBezTo>
                <a:cubicBezTo>
                  <a:pt x="937756" y="2840762"/>
                  <a:pt x="895410" y="2890805"/>
                  <a:pt x="878087" y="2935076"/>
                </a:cubicBezTo>
                <a:cubicBezTo>
                  <a:pt x="937756" y="2900429"/>
                  <a:pt x="947380" y="2815739"/>
                  <a:pt x="964703" y="2738748"/>
                </a:cubicBezTo>
                <a:cubicBezTo>
                  <a:pt x="999349" y="2594388"/>
                  <a:pt x="1091739" y="2542420"/>
                  <a:pt x="1211077" y="2505849"/>
                </a:cubicBezTo>
                <a:cubicBezTo>
                  <a:pt x="1087889" y="2513547"/>
                  <a:pt x="995499" y="2571292"/>
                  <a:pt x="960853" y="2721425"/>
                </a:cubicBezTo>
                <a:cubicBezTo>
                  <a:pt x="951229" y="2686778"/>
                  <a:pt x="964703" y="2640584"/>
                  <a:pt x="972402" y="2594388"/>
                </a:cubicBezTo>
                <a:cubicBezTo>
                  <a:pt x="1126386" y="2448105"/>
                  <a:pt x="1365060" y="2434631"/>
                  <a:pt x="1596035" y="2405759"/>
                </a:cubicBezTo>
                <a:close/>
                <a:moveTo>
                  <a:pt x="3297546" y="2390420"/>
                </a:moveTo>
                <a:cubicBezTo>
                  <a:pt x="3270599" y="2396195"/>
                  <a:pt x="3247501" y="2407737"/>
                  <a:pt x="3226329" y="2423125"/>
                </a:cubicBezTo>
                <a:cubicBezTo>
                  <a:pt x="3232103" y="2426974"/>
                  <a:pt x="3239802" y="2428896"/>
                  <a:pt x="3243653" y="2432748"/>
                </a:cubicBezTo>
                <a:cubicBezTo>
                  <a:pt x="3239802" y="2434674"/>
                  <a:pt x="3226329" y="2434674"/>
                  <a:pt x="3232103" y="2442389"/>
                </a:cubicBezTo>
                <a:cubicBezTo>
                  <a:pt x="3232103" y="2442389"/>
                  <a:pt x="3234028" y="2444311"/>
                  <a:pt x="3234028" y="2446242"/>
                </a:cubicBezTo>
                <a:cubicBezTo>
                  <a:pt x="3237877" y="2442389"/>
                  <a:pt x="3241727" y="2440457"/>
                  <a:pt x="3245577" y="2436601"/>
                </a:cubicBezTo>
                <a:cubicBezTo>
                  <a:pt x="3243653" y="2434674"/>
                  <a:pt x="3243653" y="2434674"/>
                  <a:pt x="3243653" y="2432748"/>
                </a:cubicBezTo>
                <a:cubicBezTo>
                  <a:pt x="3249427" y="2428896"/>
                  <a:pt x="3262900" y="2415429"/>
                  <a:pt x="3268674" y="2417354"/>
                </a:cubicBezTo>
                <a:cubicBezTo>
                  <a:pt x="3278298" y="2409661"/>
                  <a:pt x="3287922" y="2400043"/>
                  <a:pt x="3297546" y="2390420"/>
                </a:cubicBezTo>
                <a:close/>
                <a:moveTo>
                  <a:pt x="5261552" y="2387056"/>
                </a:moveTo>
                <a:cubicBezTo>
                  <a:pt x="5263717" y="2388500"/>
                  <a:pt x="5264680" y="2391386"/>
                  <a:pt x="5262755" y="2394272"/>
                </a:cubicBezTo>
                <a:cubicBezTo>
                  <a:pt x="5249281" y="2405818"/>
                  <a:pt x="5230033" y="2415431"/>
                  <a:pt x="5206935" y="2421203"/>
                </a:cubicBezTo>
                <a:cubicBezTo>
                  <a:pt x="5216560" y="2407737"/>
                  <a:pt x="5237732" y="2398118"/>
                  <a:pt x="5253131" y="2388500"/>
                </a:cubicBezTo>
                <a:cubicBezTo>
                  <a:pt x="5256018" y="2385614"/>
                  <a:pt x="5259387" y="2385614"/>
                  <a:pt x="5261552" y="2387056"/>
                </a:cubicBezTo>
                <a:close/>
                <a:moveTo>
                  <a:pt x="2514157" y="2384621"/>
                </a:moveTo>
                <a:cubicBezTo>
                  <a:pt x="2521857" y="2384621"/>
                  <a:pt x="2519933" y="2392317"/>
                  <a:pt x="2518007" y="2400013"/>
                </a:cubicBezTo>
                <a:cubicBezTo>
                  <a:pt x="2514157" y="2396165"/>
                  <a:pt x="2508382" y="2394241"/>
                  <a:pt x="2504533" y="2392317"/>
                </a:cubicBezTo>
                <a:cubicBezTo>
                  <a:pt x="2502608" y="2392317"/>
                  <a:pt x="2502608" y="2392317"/>
                  <a:pt x="2502608" y="2390392"/>
                </a:cubicBezTo>
                <a:cubicBezTo>
                  <a:pt x="2508382" y="2386544"/>
                  <a:pt x="2508382" y="2384621"/>
                  <a:pt x="2514157" y="2384621"/>
                </a:cubicBezTo>
                <a:close/>
                <a:moveTo>
                  <a:pt x="397433" y="2368679"/>
                </a:moveTo>
                <a:cubicBezTo>
                  <a:pt x="313524" y="2374363"/>
                  <a:pt x="240984" y="2397099"/>
                  <a:pt x="171691" y="2423085"/>
                </a:cubicBezTo>
                <a:cubicBezTo>
                  <a:pt x="260231" y="2403837"/>
                  <a:pt x="377643" y="2380739"/>
                  <a:pt x="485431" y="2369191"/>
                </a:cubicBezTo>
                <a:cubicBezTo>
                  <a:pt x="454635" y="2366785"/>
                  <a:pt x="425402" y="2366783"/>
                  <a:pt x="397433" y="2368679"/>
                </a:cubicBezTo>
                <a:close/>
                <a:moveTo>
                  <a:pt x="2618096" y="2359601"/>
                </a:moveTo>
                <a:cubicBezTo>
                  <a:pt x="2635419" y="2380767"/>
                  <a:pt x="2652742" y="2400009"/>
                  <a:pt x="2670066" y="2419250"/>
                </a:cubicBezTo>
                <a:cubicBezTo>
                  <a:pt x="2652742" y="2403857"/>
                  <a:pt x="2637345" y="2388463"/>
                  <a:pt x="2620021" y="2371144"/>
                </a:cubicBezTo>
                <a:cubicBezTo>
                  <a:pt x="2620021" y="2367296"/>
                  <a:pt x="2618096" y="2363449"/>
                  <a:pt x="2618096" y="2359601"/>
                </a:cubicBezTo>
                <a:close/>
                <a:moveTo>
                  <a:pt x="223419" y="2353070"/>
                </a:moveTo>
                <a:cubicBezTo>
                  <a:pt x="164954" y="2355717"/>
                  <a:pt x="111060" y="2366303"/>
                  <a:pt x="79301" y="2398061"/>
                </a:cubicBezTo>
                <a:cubicBezTo>
                  <a:pt x="144744" y="2382663"/>
                  <a:pt x="210187" y="2365341"/>
                  <a:pt x="281404" y="2357641"/>
                </a:cubicBezTo>
                <a:cubicBezTo>
                  <a:pt x="208262" y="2376889"/>
                  <a:pt x="137045" y="2398061"/>
                  <a:pt x="81226" y="2442333"/>
                </a:cubicBezTo>
                <a:cubicBezTo>
                  <a:pt x="173616" y="2417309"/>
                  <a:pt x="277554" y="2365341"/>
                  <a:pt x="394966" y="2355717"/>
                </a:cubicBezTo>
                <a:cubicBezTo>
                  <a:pt x="344922" y="2355717"/>
                  <a:pt x="281885" y="2350423"/>
                  <a:pt x="223419" y="2353070"/>
                </a:cubicBezTo>
                <a:close/>
                <a:moveTo>
                  <a:pt x="3503498" y="2351945"/>
                </a:moveTo>
                <a:cubicBezTo>
                  <a:pt x="3486175" y="2365413"/>
                  <a:pt x="3466927" y="2376958"/>
                  <a:pt x="3447679" y="2390420"/>
                </a:cubicBezTo>
                <a:cubicBezTo>
                  <a:pt x="3453454" y="2390420"/>
                  <a:pt x="3457303" y="2390420"/>
                  <a:pt x="3461153" y="2390420"/>
                </a:cubicBezTo>
                <a:cubicBezTo>
                  <a:pt x="3472702" y="2388496"/>
                  <a:pt x="3490025" y="2373109"/>
                  <a:pt x="3497724" y="2371182"/>
                </a:cubicBezTo>
                <a:cubicBezTo>
                  <a:pt x="3499649" y="2369259"/>
                  <a:pt x="3499649" y="2367338"/>
                  <a:pt x="3501573" y="2363485"/>
                </a:cubicBezTo>
                <a:cubicBezTo>
                  <a:pt x="3495799" y="2365413"/>
                  <a:pt x="3491949" y="2367338"/>
                  <a:pt x="3486175" y="2369259"/>
                </a:cubicBezTo>
                <a:cubicBezTo>
                  <a:pt x="3493874" y="2367338"/>
                  <a:pt x="3497724" y="2357717"/>
                  <a:pt x="3503498" y="2351945"/>
                </a:cubicBezTo>
                <a:close/>
                <a:moveTo>
                  <a:pt x="3565091" y="2330786"/>
                </a:moveTo>
                <a:cubicBezTo>
                  <a:pt x="3553543" y="2336556"/>
                  <a:pt x="3543919" y="2342327"/>
                  <a:pt x="3532370" y="2348097"/>
                </a:cubicBezTo>
                <a:cubicBezTo>
                  <a:pt x="3543919" y="2353869"/>
                  <a:pt x="3553543" y="2357717"/>
                  <a:pt x="3559317" y="2348097"/>
                </a:cubicBezTo>
                <a:cubicBezTo>
                  <a:pt x="3561242" y="2344249"/>
                  <a:pt x="3563167" y="2338480"/>
                  <a:pt x="3565091" y="2330786"/>
                </a:cubicBezTo>
                <a:close/>
                <a:moveTo>
                  <a:pt x="2446789" y="2324975"/>
                </a:moveTo>
                <a:lnTo>
                  <a:pt x="2452565" y="2330746"/>
                </a:lnTo>
                <a:lnTo>
                  <a:pt x="2456414" y="2342291"/>
                </a:lnTo>
                <a:lnTo>
                  <a:pt x="2452565" y="2349988"/>
                </a:lnTo>
                <a:lnTo>
                  <a:pt x="2446789" y="2353836"/>
                </a:lnTo>
                <a:lnTo>
                  <a:pt x="2450640" y="2359608"/>
                </a:lnTo>
                <a:lnTo>
                  <a:pt x="2433316" y="2363456"/>
                </a:lnTo>
                <a:lnTo>
                  <a:pt x="2427542" y="2351911"/>
                </a:lnTo>
                <a:lnTo>
                  <a:pt x="2427542" y="2346139"/>
                </a:lnTo>
                <a:lnTo>
                  <a:pt x="2423692" y="2346139"/>
                </a:lnTo>
                <a:lnTo>
                  <a:pt x="2423692" y="2340368"/>
                </a:lnTo>
                <a:cubicBezTo>
                  <a:pt x="2427542" y="2344216"/>
                  <a:pt x="2433316" y="2346139"/>
                  <a:pt x="2437166" y="2348064"/>
                </a:cubicBezTo>
                <a:cubicBezTo>
                  <a:pt x="2433316" y="2344216"/>
                  <a:pt x="2429466" y="2338443"/>
                  <a:pt x="2425617" y="2334595"/>
                </a:cubicBezTo>
                <a:lnTo>
                  <a:pt x="2427542" y="2328821"/>
                </a:lnTo>
                <a:lnTo>
                  <a:pt x="2437166" y="2326899"/>
                </a:lnTo>
                <a:cubicBezTo>
                  <a:pt x="2444866" y="2326899"/>
                  <a:pt x="2439090" y="2328821"/>
                  <a:pt x="2446789" y="2324975"/>
                </a:cubicBezTo>
                <a:close/>
                <a:moveTo>
                  <a:pt x="2323604" y="2274934"/>
                </a:moveTo>
                <a:lnTo>
                  <a:pt x="2323604" y="2284560"/>
                </a:lnTo>
                <a:lnTo>
                  <a:pt x="2317830" y="2278784"/>
                </a:lnTo>
                <a:close/>
                <a:moveTo>
                  <a:pt x="2554579" y="2272998"/>
                </a:moveTo>
                <a:cubicBezTo>
                  <a:pt x="2556504" y="2274923"/>
                  <a:pt x="2556504" y="2276849"/>
                  <a:pt x="2556504" y="2278773"/>
                </a:cubicBezTo>
                <a:lnTo>
                  <a:pt x="2554579" y="2278773"/>
                </a:lnTo>
                <a:lnTo>
                  <a:pt x="2552654" y="2274923"/>
                </a:lnTo>
                <a:close/>
                <a:moveTo>
                  <a:pt x="2333227" y="2271085"/>
                </a:moveTo>
                <a:lnTo>
                  <a:pt x="2342851" y="2271085"/>
                </a:lnTo>
                <a:lnTo>
                  <a:pt x="2337076" y="2276861"/>
                </a:lnTo>
                <a:close/>
                <a:moveTo>
                  <a:pt x="2541104" y="2267233"/>
                </a:moveTo>
                <a:lnTo>
                  <a:pt x="2546879" y="2273008"/>
                </a:lnTo>
                <a:lnTo>
                  <a:pt x="2537255" y="2273008"/>
                </a:lnTo>
                <a:close/>
                <a:moveTo>
                  <a:pt x="4975962" y="2263429"/>
                </a:moveTo>
                <a:cubicBezTo>
                  <a:pt x="4975962" y="2263429"/>
                  <a:pt x="4974037" y="2263429"/>
                  <a:pt x="4974037" y="2265356"/>
                </a:cubicBezTo>
                <a:cubicBezTo>
                  <a:pt x="4975962" y="2265356"/>
                  <a:pt x="4977886" y="2263429"/>
                  <a:pt x="4979811" y="2263429"/>
                </a:cubicBezTo>
                <a:cubicBezTo>
                  <a:pt x="4979811" y="2263429"/>
                  <a:pt x="4977886" y="2263429"/>
                  <a:pt x="4975962" y="2263429"/>
                </a:cubicBezTo>
                <a:close/>
                <a:moveTo>
                  <a:pt x="2481437" y="2259580"/>
                </a:moveTo>
                <a:cubicBezTo>
                  <a:pt x="2531481" y="2326938"/>
                  <a:pt x="2589224" y="2388500"/>
                  <a:pt x="2660442" y="2442389"/>
                </a:cubicBezTo>
                <a:cubicBezTo>
                  <a:pt x="2575751" y="2400043"/>
                  <a:pt x="2519933" y="2321170"/>
                  <a:pt x="2481437" y="2259580"/>
                </a:cubicBezTo>
                <a:close/>
                <a:moveTo>
                  <a:pt x="2375573" y="2259523"/>
                </a:moveTo>
                <a:cubicBezTo>
                  <a:pt x="2383272" y="2263372"/>
                  <a:pt x="2379423" y="2259523"/>
                  <a:pt x="2381347" y="2267225"/>
                </a:cubicBezTo>
                <a:lnTo>
                  <a:pt x="2375573" y="2267225"/>
                </a:lnTo>
                <a:close/>
                <a:moveTo>
                  <a:pt x="6253929" y="2256811"/>
                </a:moveTo>
                <a:cubicBezTo>
                  <a:pt x="6269057" y="2256450"/>
                  <a:pt x="6283373" y="2256693"/>
                  <a:pt x="6296365" y="2257653"/>
                </a:cubicBezTo>
                <a:lnTo>
                  <a:pt x="6123133" y="2278832"/>
                </a:lnTo>
                <a:cubicBezTo>
                  <a:pt x="6123133" y="2278832"/>
                  <a:pt x="6115434" y="2274982"/>
                  <a:pt x="6109660" y="2273059"/>
                </a:cubicBezTo>
                <a:cubicBezTo>
                  <a:pt x="6155855" y="2264394"/>
                  <a:pt x="6208546" y="2257896"/>
                  <a:pt x="6253929" y="2256811"/>
                </a:cubicBezTo>
                <a:close/>
                <a:moveTo>
                  <a:pt x="5443684" y="2251877"/>
                </a:moveTo>
                <a:cubicBezTo>
                  <a:pt x="5451383" y="2249954"/>
                  <a:pt x="5455233" y="2267281"/>
                  <a:pt x="5439834" y="2265356"/>
                </a:cubicBezTo>
                <a:cubicBezTo>
                  <a:pt x="5420587" y="2263433"/>
                  <a:pt x="5387866" y="2271131"/>
                  <a:pt x="5357069" y="2276907"/>
                </a:cubicBezTo>
                <a:cubicBezTo>
                  <a:pt x="5351295" y="2276907"/>
                  <a:pt x="5341671" y="2269206"/>
                  <a:pt x="5337821" y="2267281"/>
                </a:cubicBezTo>
                <a:close/>
                <a:moveTo>
                  <a:pt x="6340636" y="2248025"/>
                </a:moveTo>
                <a:cubicBezTo>
                  <a:pt x="6344485" y="2253803"/>
                  <a:pt x="6338711" y="2269208"/>
                  <a:pt x="6329087" y="2265356"/>
                </a:cubicBezTo>
                <a:cubicBezTo>
                  <a:pt x="6321388" y="2261505"/>
                  <a:pt x="6309838" y="2263433"/>
                  <a:pt x="6300214" y="2257655"/>
                </a:cubicBezTo>
                <a:cubicBezTo>
                  <a:pt x="6309838" y="2248025"/>
                  <a:pt x="6329087" y="2249954"/>
                  <a:pt x="6340636" y="2248025"/>
                </a:cubicBezTo>
                <a:close/>
                <a:moveTo>
                  <a:pt x="2246613" y="2234502"/>
                </a:moveTo>
                <a:cubicBezTo>
                  <a:pt x="2254312" y="2234502"/>
                  <a:pt x="2248537" y="2244128"/>
                  <a:pt x="2252387" y="2249903"/>
                </a:cubicBezTo>
                <a:cubicBezTo>
                  <a:pt x="2246613" y="2253756"/>
                  <a:pt x="2242763" y="2261457"/>
                  <a:pt x="2235063" y="2261457"/>
                </a:cubicBezTo>
                <a:cubicBezTo>
                  <a:pt x="2233138" y="2261457"/>
                  <a:pt x="2227364" y="2257605"/>
                  <a:pt x="2225439" y="2255681"/>
                </a:cubicBezTo>
                <a:cubicBezTo>
                  <a:pt x="2229288" y="2249903"/>
                  <a:pt x="2229288" y="2255681"/>
                  <a:pt x="2225439" y="2247981"/>
                </a:cubicBezTo>
                <a:cubicBezTo>
                  <a:pt x="2235063" y="2240277"/>
                  <a:pt x="2229288" y="2249903"/>
                  <a:pt x="2231213" y="2236427"/>
                </a:cubicBezTo>
                <a:lnTo>
                  <a:pt x="2236988" y="2240277"/>
                </a:lnTo>
                <a:cubicBezTo>
                  <a:pt x="2240838" y="2236427"/>
                  <a:pt x="2238912" y="2234502"/>
                  <a:pt x="2246613" y="2234502"/>
                </a:cubicBezTo>
                <a:close/>
                <a:moveTo>
                  <a:pt x="2186944" y="2222957"/>
                </a:moveTo>
                <a:lnTo>
                  <a:pt x="2192718" y="2228733"/>
                </a:lnTo>
                <a:lnTo>
                  <a:pt x="2186944" y="2232583"/>
                </a:lnTo>
                <a:lnTo>
                  <a:pt x="2185019" y="2228733"/>
                </a:lnTo>
                <a:close/>
                <a:moveTo>
                  <a:pt x="2337076" y="2213314"/>
                </a:moveTo>
                <a:lnTo>
                  <a:pt x="2342851" y="2219089"/>
                </a:lnTo>
                <a:lnTo>
                  <a:pt x="2333227" y="2219089"/>
                </a:lnTo>
                <a:close/>
                <a:moveTo>
                  <a:pt x="5091449" y="2209518"/>
                </a:moveTo>
                <a:cubicBezTo>
                  <a:pt x="5054878" y="2257655"/>
                  <a:pt x="5012533" y="2300012"/>
                  <a:pt x="4962488" y="2326938"/>
                </a:cubicBezTo>
                <a:cubicBezTo>
                  <a:pt x="5022157" y="2319245"/>
                  <a:pt x="5079900" y="2309627"/>
                  <a:pt x="5147268" y="2290384"/>
                </a:cubicBezTo>
                <a:cubicBezTo>
                  <a:pt x="5151117" y="2267281"/>
                  <a:pt x="5179989" y="2276907"/>
                  <a:pt x="5183839" y="2257655"/>
                </a:cubicBezTo>
                <a:cubicBezTo>
                  <a:pt x="5176140" y="2253803"/>
                  <a:pt x="5168441" y="2251877"/>
                  <a:pt x="5166516" y="2244176"/>
                </a:cubicBezTo>
                <a:cubicBezTo>
                  <a:pt x="5172290" y="2244176"/>
                  <a:pt x="5185764" y="2232620"/>
                  <a:pt x="5178065" y="2234548"/>
                </a:cubicBezTo>
                <a:cubicBezTo>
                  <a:pt x="5151117" y="2238396"/>
                  <a:pt x="5124170" y="2240322"/>
                  <a:pt x="5095298" y="2248025"/>
                </a:cubicBezTo>
                <a:cubicBezTo>
                  <a:pt x="5087599" y="2249952"/>
                  <a:pt x="5083750" y="2238396"/>
                  <a:pt x="5089524" y="2234548"/>
                </a:cubicBezTo>
                <a:cubicBezTo>
                  <a:pt x="5099148" y="2228772"/>
                  <a:pt x="5110697" y="2232620"/>
                  <a:pt x="5122245" y="2226847"/>
                </a:cubicBezTo>
                <a:cubicBezTo>
                  <a:pt x="5112621" y="2221072"/>
                  <a:pt x="5102997" y="2217219"/>
                  <a:pt x="5091449" y="2209518"/>
                </a:cubicBezTo>
                <a:close/>
                <a:moveTo>
                  <a:pt x="2032962" y="2203704"/>
                </a:moveTo>
                <a:lnTo>
                  <a:pt x="2032962" y="2207555"/>
                </a:lnTo>
                <a:lnTo>
                  <a:pt x="2027187" y="2207555"/>
                </a:lnTo>
                <a:close/>
                <a:moveTo>
                  <a:pt x="3719074" y="2199889"/>
                </a:moveTo>
                <a:cubicBezTo>
                  <a:pt x="3599737" y="2242247"/>
                  <a:pt x="3480401" y="2303858"/>
                  <a:pt x="3368764" y="2376958"/>
                </a:cubicBezTo>
                <a:cubicBezTo>
                  <a:pt x="3386086" y="2376958"/>
                  <a:pt x="3403409" y="2380800"/>
                  <a:pt x="3418808" y="2384648"/>
                </a:cubicBezTo>
                <a:cubicBezTo>
                  <a:pt x="3468852" y="2353869"/>
                  <a:pt x="3520821" y="2323093"/>
                  <a:pt x="3572791" y="2292311"/>
                </a:cubicBezTo>
                <a:cubicBezTo>
                  <a:pt x="3574715" y="2288458"/>
                  <a:pt x="3574715" y="2284610"/>
                  <a:pt x="3576640" y="2282683"/>
                </a:cubicBezTo>
                <a:cubicBezTo>
                  <a:pt x="3584339" y="2274982"/>
                  <a:pt x="3593963" y="2274982"/>
                  <a:pt x="3601662" y="2274982"/>
                </a:cubicBezTo>
                <a:cubicBezTo>
                  <a:pt x="3611286" y="2269206"/>
                  <a:pt x="3618985" y="2263429"/>
                  <a:pt x="3628609" y="2257655"/>
                </a:cubicBezTo>
                <a:cubicBezTo>
                  <a:pt x="3634384" y="2253803"/>
                  <a:pt x="3638233" y="2249952"/>
                  <a:pt x="3644008" y="2248025"/>
                </a:cubicBezTo>
                <a:cubicBezTo>
                  <a:pt x="3669030" y="2232620"/>
                  <a:pt x="3694052" y="2217219"/>
                  <a:pt x="3719074" y="2199889"/>
                </a:cubicBezTo>
                <a:close/>
                <a:moveTo>
                  <a:pt x="3830712" y="2197965"/>
                </a:moveTo>
                <a:cubicBezTo>
                  <a:pt x="3792216" y="2213368"/>
                  <a:pt x="3753720" y="2228772"/>
                  <a:pt x="3715225" y="2244176"/>
                </a:cubicBezTo>
                <a:cubicBezTo>
                  <a:pt x="3715225" y="2244176"/>
                  <a:pt x="3715225" y="2246101"/>
                  <a:pt x="3715225" y="2246101"/>
                </a:cubicBezTo>
                <a:cubicBezTo>
                  <a:pt x="3713300" y="2257655"/>
                  <a:pt x="3701751" y="2267281"/>
                  <a:pt x="3701751" y="2276907"/>
                </a:cubicBezTo>
                <a:cubicBezTo>
                  <a:pt x="3749871" y="2253803"/>
                  <a:pt x="3799916" y="2230698"/>
                  <a:pt x="3851885" y="2211443"/>
                </a:cubicBezTo>
                <a:cubicBezTo>
                  <a:pt x="3851885" y="2211443"/>
                  <a:pt x="3849960" y="2211443"/>
                  <a:pt x="3849960" y="2211443"/>
                </a:cubicBezTo>
                <a:cubicBezTo>
                  <a:pt x="3844185" y="2207593"/>
                  <a:pt x="3836486" y="2201815"/>
                  <a:pt x="3830712" y="2197965"/>
                </a:cubicBezTo>
                <a:close/>
                <a:moveTo>
                  <a:pt x="2121501" y="2192153"/>
                </a:moveTo>
                <a:lnTo>
                  <a:pt x="2127275" y="2196004"/>
                </a:lnTo>
                <a:lnTo>
                  <a:pt x="2121501" y="2199856"/>
                </a:lnTo>
                <a:lnTo>
                  <a:pt x="2117651" y="2197929"/>
                </a:lnTo>
                <a:close/>
                <a:moveTo>
                  <a:pt x="2496835" y="2182512"/>
                </a:moveTo>
                <a:lnTo>
                  <a:pt x="2502609" y="2184439"/>
                </a:lnTo>
                <a:cubicBezTo>
                  <a:pt x="2502609" y="2186363"/>
                  <a:pt x="2504534" y="2188288"/>
                  <a:pt x="2504534" y="2190215"/>
                </a:cubicBezTo>
                <a:cubicBezTo>
                  <a:pt x="2504534" y="2192141"/>
                  <a:pt x="2504534" y="2190215"/>
                  <a:pt x="2500686" y="2190215"/>
                </a:cubicBezTo>
                <a:close/>
                <a:moveTo>
                  <a:pt x="2364025" y="2178672"/>
                </a:moveTo>
                <a:lnTo>
                  <a:pt x="2369799" y="2182521"/>
                </a:lnTo>
                <a:lnTo>
                  <a:pt x="2364025" y="2186373"/>
                </a:lnTo>
                <a:close/>
                <a:moveTo>
                  <a:pt x="2427543" y="2178664"/>
                </a:moveTo>
                <a:lnTo>
                  <a:pt x="2433317" y="2178664"/>
                </a:lnTo>
                <a:lnTo>
                  <a:pt x="2427543" y="2184439"/>
                </a:lnTo>
                <a:close/>
                <a:moveTo>
                  <a:pt x="5077975" y="2171011"/>
                </a:moveTo>
                <a:cubicBezTo>
                  <a:pt x="5074126" y="2172934"/>
                  <a:pt x="5068351" y="2176787"/>
                  <a:pt x="5062577" y="2178714"/>
                </a:cubicBezTo>
                <a:cubicBezTo>
                  <a:pt x="5074126" y="2184490"/>
                  <a:pt x="5085674" y="2192189"/>
                  <a:pt x="5095298" y="2201815"/>
                </a:cubicBezTo>
                <a:cubicBezTo>
                  <a:pt x="5095298" y="2201815"/>
                  <a:pt x="5093373" y="2203742"/>
                  <a:pt x="5093373" y="2203742"/>
                </a:cubicBezTo>
                <a:cubicBezTo>
                  <a:pt x="5124170" y="2196041"/>
                  <a:pt x="5154967" y="2199889"/>
                  <a:pt x="5183839" y="2184490"/>
                </a:cubicBezTo>
                <a:cubicBezTo>
                  <a:pt x="5183839" y="2184490"/>
                  <a:pt x="5181914" y="2180639"/>
                  <a:pt x="5176140" y="2176787"/>
                </a:cubicBezTo>
                <a:cubicBezTo>
                  <a:pt x="5145343" y="2194114"/>
                  <a:pt x="5112621" y="2186415"/>
                  <a:pt x="5077975" y="2171011"/>
                </a:cubicBezTo>
                <a:close/>
                <a:moveTo>
                  <a:pt x="1588336" y="2169013"/>
                </a:moveTo>
                <a:lnTo>
                  <a:pt x="1586659" y="2169401"/>
                </a:lnTo>
                <a:lnTo>
                  <a:pt x="1586629" y="2169128"/>
                </a:lnTo>
                <a:close/>
                <a:moveTo>
                  <a:pt x="2354399" y="2157486"/>
                </a:moveTo>
                <a:lnTo>
                  <a:pt x="2358249" y="2161337"/>
                </a:lnTo>
                <a:lnTo>
                  <a:pt x="2352475" y="2165187"/>
                </a:lnTo>
                <a:lnTo>
                  <a:pt x="2348625" y="2161337"/>
                </a:lnTo>
                <a:close/>
                <a:moveTo>
                  <a:pt x="2140749" y="2153644"/>
                </a:moveTo>
                <a:lnTo>
                  <a:pt x="2148448" y="2155569"/>
                </a:lnTo>
                <a:lnTo>
                  <a:pt x="2142674" y="2159420"/>
                </a:lnTo>
                <a:close/>
                <a:moveTo>
                  <a:pt x="2277409" y="2153640"/>
                </a:moveTo>
                <a:lnTo>
                  <a:pt x="2283183" y="2159416"/>
                </a:lnTo>
                <a:lnTo>
                  <a:pt x="2277409" y="2159416"/>
                </a:lnTo>
                <a:close/>
                <a:moveTo>
                  <a:pt x="2475663" y="2151717"/>
                </a:moveTo>
                <a:cubicBezTo>
                  <a:pt x="2479512" y="2159418"/>
                  <a:pt x="2477586" y="2149792"/>
                  <a:pt x="2479512" y="2159418"/>
                </a:cubicBezTo>
                <a:lnTo>
                  <a:pt x="2479512" y="2167119"/>
                </a:lnTo>
                <a:lnTo>
                  <a:pt x="2489136" y="2167119"/>
                </a:lnTo>
                <a:cubicBezTo>
                  <a:pt x="2487211" y="2172895"/>
                  <a:pt x="2487211" y="2174820"/>
                  <a:pt x="2489136" y="2180595"/>
                </a:cubicBezTo>
                <a:lnTo>
                  <a:pt x="2473737" y="2180595"/>
                </a:lnTo>
                <a:lnTo>
                  <a:pt x="2473737" y="2167119"/>
                </a:lnTo>
                <a:lnTo>
                  <a:pt x="2464113" y="2167119"/>
                </a:lnTo>
                <a:cubicBezTo>
                  <a:pt x="2466038" y="2157493"/>
                  <a:pt x="2466038" y="2157493"/>
                  <a:pt x="2475663" y="2151717"/>
                </a:cubicBezTo>
                <a:close/>
                <a:moveTo>
                  <a:pt x="2300508" y="2147864"/>
                </a:moveTo>
                <a:lnTo>
                  <a:pt x="2308206" y="2153640"/>
                </a:lnTo>
                <a:lnTo>
                  <a:pt x="2300508" y="2153640"/>
                </a:lnTo>
                <a:close/>
                <a:moveTo>
                  <a:pt x="2398671" y="2145935"/>
                </a:moveTo>
                <a:lnTo>
                  <a:pt x="2404445" y="2145935"/>
                </a:lnTo>
                <a:lnTo>
                  <a:pt x="2400596" y="2149788"/>
                </a:lnTo>
                <a:cubicBezTo>
                  <a:pt x="2398671" y="2147860"/>
                  <a:pt x="2398671" y="2147860"/>
                  <a:pt x="2398671" y="2145935"/>
                </a:cubicBezTo>
                <a:close/>
                <a:moveTo>
                  <a:pt x="2102253" y="2142093"/>
                </a:moveTo>
                <a:lnTo>
                  <a:pt x="2111877" y="2151721"/>
                </a:lnTo>
                <a:lnTo>
                  <a:pt x="2102253" y="2151721"/>
                </a:lnTo>
                <a:close/>
                <a:moveTo>
                  <a:pt x="2342851" y="2138234"/>
                </a:moveTo>
                <a:lnTo>
                  <a:pt x="2352475" y="2142084"/>
                </a:lnTo>
                <a:lnTo>
                  <a:pt x="2339002" y="2144010"/>
                </a:lnTo>
                <a:close/>
                <a:moveTo>
                  <a:pt x="2313981" y="2132458"/>
                </a:moveTo>
                <a:lnTo>
                  <a:pt x="2319755" y="2138234"/>
                </a:lnTo>
                <a:lnTo>
                  <a:pt x="2312056" y="2138234"/>
                </a:lnTo>
                <a:close/>
                <a:moveTo>
                  <a:pt x="2404444" y="2128612"/>
                </a:moveTo>
                <a:cubicBezTo>
                  <a:pt x="2410218" y="2130540"/>
                  <a:pt x="2410218" y="2130540"/>
                  <a:pt x="2410218" y="2130540"/>
                </a:cubicBezTo>
                <a:cubicBezTo>
                  <a:pt x="2414068" y="2140166"/>
                  <a:pt x="2419843" y="2149792"/>
                  <a:pt x="2423693" y="2159418"/>
                </a:cubicBezTo>
                <a:lnTo>
                  <a:pt x="2421768" y="2157493"/>
                </a:lnTo>
                <a:lnTo>
                  <a:pt x="2412143" y="2163268"/>
                </a:lnTo>
                <a:lnTo>
                  <a:pt x="2415993" y="2157493"/>
                </a:lnTo>
                <a:lnTo>
                  <a:pt x="2406370" y="2140166"/>
                </a:lnTo>
                <a:lnTo>
                  <a:pt x="2410218" y="2134388"/>
                </a:lnTo>
                <a:lnTo>
                  <a:pt x="2404444" y="2134388"/>
                </a:lnTo>
                <a:close/>
                <a:moveTo>
                  <a:pt x="4935541" y="2126725"/>
                </a:moveTo>
                <a:cubicBezTo>
                  <a:pt x="4931691" y="2128650"/>
                  <a:pt x="4929767" y="2132505"/>
                  <a:pt x="4927842" y="2136351"/>
                </a:cubicBezTo>
                <a:cubicBezTo>
                  <a:pt x="4970187" y="2145977"/>
                  <a:pt x="5012533" y="2155607"/>
                  <a:pt x="5047179" y="2171011"/>
                </a:cubicBezTo>
                <a:cubicBezTo>
                  <a:pt x="5052953" y="2169084"/>
                  <a:pt x="5056803" y="2165236"/>
                  <a:pt x="5062577" y="2163308"/>
                </a:cubicBezTo>
                <a:cubicBezTo>
                  <a:pt x="5024082" y="2145977"/>
                  <a:pt x="4981736" y="2126725"/>
                  <a:pt x="4935541" y="2126725"/>
                </a:cubicBezTo>
                <a:close/>
                <a:moveTo>
                  <a:pt x="2279334" y="2124760"/>
                </a:moveTo>
                <a:lnTo>
                  <a:pt x="2279334" y="2132460"/>
                </a:lnTo>
                <a:lnTo>
                  <a:pt x="2273560" y="2126685"/>
                </a:lnTo>
                <a:close/>
                <a:moveTo>
                  <a:pt x="2267784" y="2124760"/>
                </a:moveTo>
                <a:lnTo>
                  <a:pt x="2273559" y="2126687"/>
                </a:lnTo>
                <a:lnTo>
                  <a:pt x="2269709" y="2132462"/>
                </a:lnTo>
                <a:lnTo>
                  <a:pt x="2263935" y="2128610"/>
                </a:lnTo>
                <a:close/>
                <a:moveTo>
                  <a:pt x="2292807" y="2124757"/>
                </a:moveTo>
                <a:lnTo>
                  <a:pt x="2288958" y="2132458"/>
                </a:lnTo>
                <a:lnTo>
                  <a:pt x="2281258" y="2128608"/>
                </a:lnTo>
                <a:close/>
                <a:moveTo>
                  <a:pt x="2460263" y="2124745"/>
                </a:moveTo>
                <a:lnTo>
                  <a:pt x="2466038" y="2128595"/>
                </a:lnTo>
                <a:lnTo>
                  <a:pt x="2456414" y="2136296"/>
                </a:lnTo>
                <a:lnTo>
                  <a:pt x="2452564" y="2130521"/>
                </a:lnTo>
                <a:lnTo>
                  <a:pt x="2460263" y="2130521"/>
                </a:lnTo>
                <a:close/>
                <a:moveTo>
                  <a:pt x="2077230" y="2122841"/>
                </a:moveTo>
                <a:lnTo>
                  <a:pt x="2092630" y="2126691"/>
                </a:lnTo>
                <a:lnTo>
                  <a:pt x="2084930" y="2130542"/>
                </a:lnTo>
                <a:lnTo>
                  <a:pt x="2090704" y="2130542"/>
                </a:lnTo>
                <a:lnTo>
                  <a:pt x="2090704" y="2138242"/>
                </a:lnTo>
                <a:cubicBezTo>
                  <a:pt x="2075306" y="2144020"/>
                  <a:pt x="2088780" y="2147871"/>
                  <a:pt x="2069531" y="2149796"/>
                </a:cubicBezTo>
                <a:lnTo>
                  <a:pt x="2073381" y="2144020"/>
                </a:lnTo>
                <a:cubicBezTo>
                  <a:pt x="2069531" y="2142095"/>
                  <a:pt x="2067606" y="2142095"/>
                  <a:pt x="2067606" y="2142095"/>
                </a:cubicBezTo>
                <a:cubicBezTo>
                  <a:pt x="2067606" y="2142095"/>
                  <a:pt x="2065682" y="2140170"/>
                  <a:pt x="2063757" y="2138242"/>
                </a:cubicBezTo>
                <a:lnTo>
                  <a:pt x="2067606" y="2126691"/>
                </a:lnTo>
                <a:close/>
                <a:moveTo>
                  <a:pt x="2227364" y="2122832"/>
                </a:moveTo>
                <a:cubicBezTo>
                  <a:pt x="2229289" y="2132456"/>
                  <a:pt x="2231214" y="2130531"/>
                  <a:pt x="2227364" y="2138232"/>
                </a:cubicBezTo>
                <a:lnTo>
                  <a:pt x="2219665" y="2130531"/>
                </a:lnTo>
                <a:close/>
                <a:moveTo>
                  <a:pt x="2325529" y="2120907"/>
                </a:moveTo>
                <a:cubicBezTo>
                  <a:pt x="2335152" y="2122832"/>
                  <a:pt x="2331303" y="2120907"/>
                  <a:pt x="2337077" y="2128608"/>
                </a:cubicBezTo>
                <a:lnTo>
                  <a:pt x="2333227" y="2130533"/>
                </a:lnTo>
                <a:cubicBezTo>
                  <a:pt x="2327453" y="2124757"/>
                  <a:pt x="2327453" y="2130533"/>
                  <a:pt x="2325529" y="2120907"/>
                </a:cubicBezTo>
                <a:close/>
                <a:moveTo>
                  <a:pt x="2385197" y="2118982"/>
                </a:moveTo>
                <a:lnTo>
                  <a:pt x="2390971" y="2120907"/>
                </a:lnTo>
                <a:lnTo>
                  <a:pt x="2385197" y="2124757"/>
                </a:lnTo>
                <a:close/>
                <a:moveTo>
                  <a:pt x="2244688" y="2118975"/>
                </a:moveTo>
                <a:lnTo>
                  <a:pt x="2262011" y="2120901"/>
                </a:lnTo>
                <a:lnTo>
                  <a:pt x="2260086" y="2126674"/>
                </a:lnTo>
                <a:cubicBezTo>
                  <a:pt x="2256236" y="2122826"/>
                  <a:pt x="2252386" y="2120901"/>
                  <a:pt x="2244688" y="2120901"/>
                </a:cubicBezTo>
                <a:close/>
                <a:moveTo>
                  <a:pt x="5330123" y="2117099"/>
                </a:moveTo>
                <a:cubicBezTo>
                  <a:pt x="5337822" y="2136351"/>
                  <a:pt x="5320499" y="2119024"/>
                  <a:pt x="5314724" y="2126729"/>
                </a:cubicBezTo>
                <a:cubicBezTo>
                  <a:pt x="5310875" y="2132505"/>
                  <a:pt x="5305100" y="2134432"/>
                  <a:pt x="5297400" y="2136351"/>
                </a:cubicBezTo>
                <a:cubicBezTo>
                  <a:pt x="5299326" y="2134432"/>
                  <a:pt x="5301251" y="2128656"/>
                  <a:pt x="5303176" y="2126729"/>
                </a:cubicBezTo>
                <a:cubicBezTo>
                  <a:pt x="5308950" y="2122874"/>
                  <a:pt x="5324348" y="2119024"/>
                  <a:pt x="5330123" y="2117099"/>
                </a:cubicBezTo>
                <a:close/>
                <a:moveTo>
                  <a:pt x="2313981" y="2115131"/>
                </a:moveTo>
                <a:lnTo>
                  <a:pt x="2319755" y="2120907"/>
                </a:lnTo>
                <a:lnTo>
                  <a:pt x="2312056" y="2124757"/>
                </a:lnTo>
                <a:close/>
                <a:moveTo>
                  <a:pt x="2402520" y="2113208"/>
                </a:moveTo>
                <a:lnTo>
                  <a:pt x="2404444" y="2117057"/>
                </a:lnTo>
                <a:cubicBezTo>
                  <a:pt x="2398670" y="2124760"/>
                  <a:pt x="2400596" y="2118984"/>
                  <a:pt x="2398670" y="2130535"/>
                </a:cubicBezTo>
                <a:cubicBezTo>
                  <a:pt x="2389046" y="2126685"/>
                  <a:pt x="2390971" y="2130535"/>
                  <a:pt x="2394820" y="2122834"/>
                </a:cubicBezTo>
                <a:lnTo>
                  <a:pt x="2390971" y="2120909"/>
                </a:lnTo>
                <a:close/>
                <a:moveTo>
                  <a:pt x="2292808" y="2113208"/>
                </a:moveTo>
                <a:lnTo>
                  <a:pt x="2298582" y="2118984"/>
                </a:lnTo>
                <a:lnTo>
                  <a:pt x="2290883" y="2122834"/>
                </a:lnTo>
                <a:close/>
                <a:moveTo>
                  <a:pt x="2267784" y="2113206"/>
                </a:moveTo>
                <a:lnTo>
                  <a:pt x="2283183" y="2113206"/>
                </a:lnTo>
                <a:lnTo>
                  <a:pt x="2279333" y="2118980"/>
                </a:lnTo>
                <a:close/>
                <a:moveTo>
                  <a:pt x="2102254" y="2111287"/>
                </a:moveTo>
                <a:lnTo>
                  <a:pt x="2108029" y="2113214"/>
                </a:lnTo>
                <a:lnTo>
                  <a:pt x="2106104" y="2118988"/>
                </a:lnTo>
                <a:lnTo>
                  <a:pt x="2121501" y="2118988"/>
                </a:lnTo>
                <a:lnTo>
                  <a:pt x="2117651" y="2128614"/>
                </a:lnTo>
                <a:cubicBezTo>
                  <a:pt x="2115726" y="2128614"/>
                  <a:pt x="2115726" y="2126689"/>
                  <a:pt x="2113801" y="2126689"/>
                </a:cubicBezTo>
                <a:lnTo>
                  <a:pt x="2106103" y="2118990"/>
                </a:lnTo>
                <a:close/>
                <a:moveTo>
                  <a:pt x="2327453" y="2107431"/>
                </a:moveTo>
                <a:lnTo>
                  <a:pt x="2331303" y="2117057"/>
                </a:lnTo>
                <a:lnTo>
                  <a:pt x="2315904" y="2113206"/>
                </a:lnTo>
                <a:close/>
                <a:moveTo>
                  <a:pt x="2267784" y="2107431"/>
                </a:moveTo>
                <a:lnTo>
                  <a:pt x="2268747" y="2107911"/>
                </a:lnTo>
                <a:lnTo>
                  <a:pt x="2265860" y="2109356"/>
                </a:lnTo>
                <a:lnTo>
                  <a:pt x="2265565" y="2108169"/>
                </a:lnTo>
                <a:close/>
                <a:moveTo>
                  <a:pt x="2279333" y="2107428"/>
                </a:moveTo>
                <a:lnTo>
                  <a:pt x="2288958" y="2107428"/>
                </a:lnTo>
                <a:lnTo>
                  <a:pt x="2283183" y="2113204"/>
                </a:lnTo>
                <a:close/>
                <a:moveTo>
                  <a:pt x="2442941" y="2099721"/>
                </a:moveTo>
                <a:lnTo>
                  <a:pt x="2446791" y="2105495"/>
                </a:lnTo>
                <a:lnTo>
                  <a:pt x="2442941" y="2111270"/>
                </a:lnTo>
                <a:lnTo>
                  <a:pt x="2431391" y="2111270"/>
                </a:lnTo>
                <a:cubicBezTo>
                  <a:pt x="2429467" y="2109345"/>
                  <a:pt x="2429467" y="2105495"/>
                  <a:pt x="2427542" y="2103572"/>
                </a:cubicBezTo>
                <a:lnTo>
                  <a:pt x="2437166" y="2105495"/>
                </a:lnTo>
                <a:close/>
                <a:moveTo>
                  <a:pt x="2393902" y="2093563"/>
                </a:moveTo>
                <a:lnTo>
                  <a:pt x="2396746" y="2099729"/>
                </a:lnTo>
                <a:lnTo>
                  <a:pt x="2394822" y="2101655"/>
                </a:lnTo>
                <a:cubicBezTo>
                  <a:pt x="2392896" y="2097804"/>
                  <a:pt x="2391935" y="2097323"/>
                  <a:pt x="2391935" y="2096841"/>
                </a:cubicBezTo>
                <a:close/>
                <a:moveTo>
                  <a:pt x="2190792" y="2092031"/>
                </a:moveTo>
                <a:lnTo>
                  <a:pt x="2196567" y="2097806"/>
                </a:lnTo>
                <a:cubicBezTo>
                  <a:pt x="2204267" y="2093956"/>
                  <a:pt x="2202342" y="2093956"/>
                  <a:pt x="2204267" y="2105507"/>
                </a:cubicBezTo>
                <a:lnTo>
                  <a:pt x="2200418" y="2105507"/>
                </a:lnTo>
                <a:lnTo>
                  <a:pt x="2200418" y="2099732"/>
                </a:lnTo>
                <a:lnTo>
                  <a:pt x="2188868" y="2101657"/>
                </a:lnTo>
                <a:lnTo>
                  <a:pt x="2185018" y="2097806"/>
                </a:lnTo>
                <a:lnTo>
                  <a:pt x="2190792" y="2097806"/>
                </a:lnTo>
                <a:close/>
                <a:moveTo>
                  <a:pt x="2392469" y="2090460"/>
                </a:moveTo>
                <a:lnTo>
                  <a:pt x="2394822" y="2092029"/>
                </a:lnTo>
                <a:lnTo>
                  <a:pt x="2393902" y="2093563"/>
                </a:lnTo>
                <a:close/>
                <a:moveTo>
                  <a:pt x="2121501" y="2090108"/>
                </a:moveTo>
                <a:lnTo>
                  <a:pt x="2125351" y="2090108"/>
                </a:lnTo>
                <a:cubicBezTo>
                  <a:pt x="2127275" y="2090108"/>
                  <a:pt x="2129200" y="2092033"/>
                  <a:pt x="2133050" y="2093960"/>
                </a:cubicBezTo>
                <a:lnTo>
                  <a:pt x="2121501" y="2092033"/>
                </a:lnTo>
                <a:close/>
                <a:moveTo>
                  <a:pt x="2156148" y="2090105"/>
                </a:moveTo>
                <a:lnTo>
                  <a:pt x="2161922" y="2090105"/>
                </a:lnTo>
                <a:lnTo>
                  <a:pt x="2161922" y="2093956"/>
                </a:lnTo>
                <a:cubicBezTo>
                  <a:pt x="2159998" y="2092031"/>
                  <a:pt x="2158073" y="2090105"/>
                  <a:pt x="2156148" y="2090105"/>
                </a:cubicBezTo>
                <a:close/>
                <a:moveTo>
                  <a:pt x="2235063" y="2088174"/>
                </a:moveTo>
                <a:cubicBezTo>
                  <a:pt x="2242762" y="2093950"/>
                  <a:pt x="2242762" y="2090099"/>
                  <a:pt x="2244688" y="2099725"/>
                </a:cubicBezTo>
                <a:lnTo>
                  <a:pt x="2229289" y="2099725"/>
                </a:lnTo>
                <a:lnTo>
                  <a:pt x="2235063" y="2095875"/>
                </a:lnTo>
                <a:lnTo>
                  <a:pt x="2235063" y="2090099"/>
                </a:lnTo>
                <a:close/>
                <a:moveTo>
                  <a:pt x="2225439" y="2086251"/>
                </a:moveTo>
                <a:lnTo>
                  <a:pt x="2235063" y="2090099"/>
                </a:lnTo>
                <a:lnTo>
                  <a:pt x="2229288" y="2092024"/>
                </a:lnTo>
                <a:close/>
                <a:moveTo>
                  <a:pt x="2390099" y="2085323"/>
                </a:moveTo>
                <a:lnTo>
                  <a:pt x="2392469" y="2090460"/>
                </a:lnTo>
                <a:lnTo>
                  <a:pt x="2389047" y="2088178"/>
                </a:lnTo>
                <a:close/>
                <a:moveTo>
                  <a:pt x="2013715" y="2084334"/>
                </a:moveTo>
                <a:lnTo>
                  <a:pt x="2019489" y="2088185"/>
                </a:lnTo>
                <a:lnTo>
                  <a:pt x="2011789" y="2090110"/>
                </a:lnTo>
                <a:close/>
                <a:moveTo>
                  <a:pt x="2385198" y="2084328"/>
                </a:moveTo>
                <a:lnTo>
                  <a:pt x="2385198" y="2092029"/>
                </a:lnTo>
                <a:lnTo>
                  <a:pt x="2389047" y="2097804"/>
                </a:lnTo>
                <a:lnTo>
                  <a:pt x="2389047" y="2103580"/>
                </a:lnTo>
                <a:cubicBezTo>
                  <a:pt x="2389047" y="2111281"/>
                  <a:pt x="2383273" y="2113206"/>
                  <a:pt x="2379423" y="2115131"/>
                </a:cubicBezTo>
                <a:lnTo>
                  <a:pt x="2377498" y="2111281"/>
                </a:lnTo>
                <a:lnTo>
                  <a:pt x="2387122" y="2101655"/>
                </a:lnTo>
                <a:cubicBezTo>
                  <a:pt x="2379423" y="2097804"/>
                  <a:pt x="2389047" y="2097804"/>
                  <a:pt x="2377498" y="2097804"/>
                </a:cubicBezTo>
                <a:cubicBezTo>
                  <a:pt x="2369799" y="2097804"/>
                  <a:pt x="2367874" y="2105505"/>
                  <a:pt x="2367874" y="2111281"/>
                </a:cubicBezTo>
                <a:lnTo>
                  <a:pt x="2373649" y="2107431"/>
                </a:lnTo>
                <a:cubicBezTo>
                  <a:pt x="2373649" y="2118980"/>
                  <a:pt x="2373649" y="2113206"/>
                  <a:pt x="2367874" y="2120905"/>
                </a:cubicBezTo>
                <a:lnTo>
                  <a:pt x="2362100" y="2117055"/>
                </a:lnTo>
                <a:lnTo>
                  <a:pt x="2356326" y="2122830"/>
                </a:lnTo>
                <a:lnTo>
                  <a:pt x="2352476" y="2118980"/>
                </a:lnTo>
                <a:lnTo>
                  <a:pt x="2358250" y="2113206"/>
                </a:lnTo>
                <a:lnTo>
                  <a:pt x="2356326" y="2109356"/>
                </a:lnTo>
                <a:lnTo>
                  <a:pt x="2364025" y="2103580"/>
                </a:lnTo>
                <a:lnTo>
                  <a:pt x="2360175" y="2101655"/>
                </a:lnTo>
                <a:lnTo>
                  <a:pt x="2352476" y="2107431"/>
                </a:lnTo>
                <a:lnTo>
                  <a:pt x="2352476" y="2099729"/>
                </a:lnTo>
                <a:cubicBezTo>
                  <a:pt x="2342852" y="2097804"/>
                  <a:pt x="2346702" y="2099729"/>
                  <a:pt x="2342852" y="2093954"/>
                </a:cubicBezTo>
                <a:lnTo>
                  <a:pt x="2337078" y="2093954"/>
                </a:lnTo>
                <a:lnTo>
                  <a:pt x="2340927" y="2088178"/>
                </a:lnTo>
                <a:cubicBezTo>
                  <a:pt x="2354401" y="2092029"/>
                  <a:pt x="2340927" y="2086253"/>
                  <a:pt x="2352476" y="2090103"/>
                </a:cubicBezTo>
                <a:lnTo>
                  <a:pt x="2358250" y="2086253"/>
                </a:lnTo>
                <a:lnTo>
                  <a:pt x="2362100" y="2088178"/>
                </a:lnTo>
                <a:lnTo>
                  <a:pt x="2356326" y="2095879"/>
                </a:lnTo>
                <a:lnTo>
                  <a:pt x="2365950" y="2092029"/>
                </a:lnTo>
                <a:cubicBezTo>
                  <a:pt x="2370762" y="2093954"/>
                  <a:pt x="2372688" y="2094917"/>
                  <a:pt x="2373649" y="2093954"/>
                </a:cubicBezTo>
                <a:lnTo>
                  <a:pt x="2375253" y="2085932"/>
                </a:lnTo>
                <a:lnTo>
                  <a:pt x="2375575" y="2086253"/>
                </a:lnTo>
                <a:lnTo>
                  <a:pt x="2376624" y="2084678"/>
                </a:lnTo>
                <a:lnTo>
                  <a:pt x="2381349" y="2086253"/>
                </a:lnTo>
                <a:close/>
                <a:moveTo>
                  <a:pt x="2357608" y="2084328"/>
                </a:moveTo>
                <a:lnTo>
                  <a:pt x="2360175" y="2084328"/>
                </a:lnTo>
                <a:lnTo>
                  <a:pt x="2361183" y="2084365"/>
                </a:lnTo>
                <a:lnTo>
                  <a:pt x="2358250" y="2086253"/>
                </a:lnTo>
                <a:close/>
                <a:moveTo>
                  <a:pt x="2388803" y="2082516"/>
                </a:moveTo>
                <a:lnTo>
                  <a:pt x="2390731" y="2083605"/>
                </a:lnTo>
                <a:lnTo>
                  <a:pt x="2390099" y="2085323"/>
                </a:lnTo>
                <a:close/>
                <a:moveTo>
                  <a:pt x="2300506" y="2080477"/>
                </a:moveTo>
                <a:cubicBezTo>
                  <a:pt x="2304355" y="2092029"/>
                  <a:pt x="2298581" y="2084328"/>
                  <a:pt x="2310130" y="2088178"/>
                </a:cubicBezTo>
                <a:close/>
                <a:moveTo>
                  <a:pt x="2225439" y="2076625"/>
                </a:moveTo>
                <a:lnTo>
                  <a:pt x="2235063" y="2076625"/>
                </a:lnTo>
                <a:lnTo>
                  <a:pt x="2229288" y="2082400"/>
                </a:lnTo>
                <a:close/>
                <a:moveTo>
                  <a:pt x="2342852" y="2074702"/>
                </a:moveTo>
                <a:lnTo>
                  <a:pt x="2342852" y="2084328"/>
                </a:lnTo>
                <a:lnTo>
                  <a:pt x="2348627" y="2080477"/>
                </a:lnTo>
                <a:close/>
                <a:moveTo>
                  <a:pt x="2210040" y="2070849"/>
                </a:moveTo>
                <a:cubicBezTo>
                  <a:pt x="2215815" y="2072774"/>
                  <a:pt x="2219665" y="2066999"/>
                  <a:pt x="2211965" y="2080475"/>
                </a:cubicBezTo>
                <a:lnTo>
                  <a:pt x="2221590" y="2080475"/>
                </a:lnTo>
                <a:cubicBezTo>
                  <a:pt x="2215815" y="2092024"/>
                  <a:pt x="2227365" y="2084326"/>
                  <a:pt x="2215815" y="2092024"/>
                </a:cubicBezTo>
                <a:lnTo>
                  <a:pt x="2215815" y="2084326"/>
                </a:lnTo>
                <a:cubicBezTo>
                  <a:pt x="2213891" y="2086249"/>
                  <a:pt x="2211965" y="2088174"/>
                  <a:pt x="2211965" y="2088174"/>
                </a:cubicBezTo>
                <a:cubicBezTo>
                  <a:pt x="2210040" y="2088174"/>
                  <a:pt x="2210040" y="2088174"/>
                  <a:pt x="2206191" y="2090099"/>
                </a:cubicBezTo>
                <a:lnTo>
                  <a:pt x="2210040" y="2084326"/>
                </a:lnTo>
                <a:lnTo>
                  <a:pt x="2206191" y="2078550"/>
                </a:lnTo>
                <a:close/>
                <a:moveTo>
                  <a:pt x="2175395" y="2065075"/>
                </a:moveTo>
                <a:lnTo>
                  <a:pt x="2181168" y="2072774"/>
                </a:lnTo>
                <a:lnTo>
                  <a:pt x="2175395" y="2076625"/>
                </a:lnTo>
                <a:lnTo>
                  <a:pt x="2175395" y="2070849"/>
                </a:lnTo>
                <a:lnTo>
                  <a:pt x="2167695" y="2070849"/>
                </a:lnTo>
                <a:close/>
                <a:moveTo>
                  <a:pt x="2181170" y="2063150"/>
                </a:moveTo>
                <a:lnTo>
                  <a:pt x="2186944" y="2066999"/>
                </a:lnTo>
                <a:lnTo>
                  <a:pt x="2181170" y="2066999"/>
                </a:lnTo>
                <a:close/>
                <a:moveTo>
                  <a:pt x="2260085" y="2057377"/>
                </a:moveTo>
                <a:lnTo>
                  <a:pt x="2265860" y="2063152"/>
                </a:lnTo>
                <a:lnTo>
                  <a:pt x="2269709" y="2068928"/>
                </a:lnTo>
                <a:lnTo>
                  <a:pt x="2275485" y="2063152"/>
                </a:lnTo>
                <a:lnTo>
                  <a:pt x="2265860" y="2063152"/>
                </a:lnTo>
                <a:lnTo>
                  <a:pt x="2269709" y="2057377"/>
                </a:lnTo>
                <a:close/>
                <a:moveTo>
                  <a:pt x="2131125" y="2057377"/>
                </a:moveTo>
                <a:lnTo>
                  <a:pt x="2138824" y="2057377"/>
                </a:lnTo>
                <a:lnTo>
                  <a:pt x="2138824" y="2063152"/>
                </a:lnTo>
                <a:close/>
                <a:moveTo>
                  <a:pt x="2171545" y="2053524"/>
                </a:moveTo>
                <a:lnTo>
                  <a:pt x="2181169" y="2063150"/>
                </a:lnTo>
                <a:lnTo>
                  <a:pt x="2175395" y="2065075"/>
                </a:lnTo>
                <a:close/>
                <a:moveTo>
                  <a:pt x="38881" y="2049674"/>
                </a:moveTo>
                <a:cubicBezTo>
                  <a:pt x="33106" y="2047749"/>
                  <a:pt x="31182" y="2053524"/>
                  <a:pt x="25407" y="2051599"/>
                </a:cubicBezTo>
                <a:cubicBezTo>
                  <a:pt x="31182" y="2115117"/>
                  <a:pt x="96624" y="2138215"/>
                  <a:pt x="154368" y="2165162"/>
                </a:cubicBezTo>
                <a:cubicBezTo>
                  <a:pt x="125496" y="2120892"/>
                  <a:pt x="40805" y="2113192"/>
                  <a:pt x="38881" y="2049674"/>
                </a:cubicBezTo>
                <a:close/>
                <a:moveTo>
                  <a:pt x="2158280" y="2049170"/>
                </a:moveTo>
                <a:lnTo>
                  <a:pt x="2160272" y="2050730"/>
                </a:lnTo>
                <a:lnTo>
                  <a:pt x="2159996" y="2051601"/>
                </a:lnTo>
                <a:close/>
                <a:moveTo>
                  <a:pt x="2231213" y="2045825"/>
                </a:moveTo>
                <a:lnTo>
                  <a:pt x="2231213" y="2057377"/>
                </a:lnTo>
                <a:lnTo>
                  <a:pt x="2240837" y="2053526"/>
                </a:lnTo>
                <a:close/>
                <a:moveTo>
                  <a:pt x="2219665" y="2038125"/>
                </a:moveTo>
                <a:lnTo>
                  <a:pt x="2219665" y="2043900"/>
                </a:lnTo>
                <a:lnTo>
                  <a:pt x="2229289" y="2041975"/>
                </a:lnTo>
                <a:close/>
                <a:moveTo>
                  <a:pt x="2123425" y="2034275"/>
                </a:moveTo>
                <a:lnTo>
                  <a:pt x="2146066" y="2048208"/>
                </a:lnTo>
                <a:lnTo>
                  <a:pt x="2146523" y="2047751"/>
                </a:lnTo>
                <a:cubicBezTo>
                  <a:pt x="2150374" y="2049676"/>
                  <a:pt x="2156147" y="2053526"/>
                  <a:pt x="2159997" y="2055451"/>
                </a:cubicBezTo>
                <a:lnTo>
                  <a:pt x="2156147" y="2059302"/>
                </a:lnTo>
                <a:cubicBezTo>
                  <a:pt x="2159997" y="2067003"/>
                  <a:pt x="2163847" y="2070853"/>
                  <a:pt x="2167697" y="2078552"/>
                </a:cubicBezTo>
                <a:cubicBezTo>
                  <a:pt x="2159997" y="2082402"/>
                  <a:pt x="2171546" y="2080477"/>
                  <a:pt x="2159997" y="2082402"/>
                </a:cubicBezTo>
                <a:cubicBezTo>
                  <a:pt x="2158073" y="2082402"/>
                  <a:pt x="2152297" y="2078552"/>
                  <a:pt x="2150374" y="2076629"/>
                </a:cubicBezTo>
                <a:lnTo>
                  <a:pt x="2150374" y="2084330"/>
                </a:lnTo>
                <a:lnTo>
                  <a:pt x="2142673" y="2078552"/>
                </a:lnTo>
                <a:lnTo>
                  <a:pt x="2142673" y="2080477"/>
                </a:lnTo>
                <a:cubicBezTo>
                  <a:pt x="2140749" y="2078552"/>
                  <a:pt x="2138824" y="2078552"/>
                  <a:pt x="2136899" y="2076629"/>
                </a:cubicBezTo>
                <a:cubicBezTo>
                  <a:pt x="2140749" y="2074704"/>
                  <a:pt x="2138824" y="2076629"/>
                  <a:pt x="2142673" y="2070853"/>
                </a:cubicBezTo>
                <a:lnTo>
                  <a:pt x="2133050" y="2070853"/>
                </a:lnTo>
                <a:lnTo>
                  <a:pt x="2133050" y="2072781"/>
                </a:lnTo>
                <a:cubicBezTo>
                  <a:pt x="2131126" y="2072781"/>
                  <a:pt x="2129201" y="2070853"/>
                  <a:pt x="2129201" y="2068928"/>
                </a:cubicBezTo>
                <a:lnTo>
                  <a:pt x="2131767" y="2068928"/>
                </a:lnTo>
                <a:lnTo>
                  <a:pt x="2129200" y="2065078"/>
                </a:lnTo>
                <a:lnTo>
                  <a:pt x="2144598" y="2065078"/>
                </a:lnTo>
                <a:cubicBezTo>
                  <a:pt x="2138824" y="2053526"/>
                  <a:pt x="2146523" y="2065078"/>
                  <a:pt x="2140749" y="2053526"/>
                </a:cubicBezTo>
                <a:lnTo>
                  <a:pt x="2145700" y="2048576"/>
                </a:lnTo>
                <a:lnTo>
                  <a:pt x="2138824" y="2045825"/>
                </a:lnTo>
                <a:lnTo>
                  <a:pt x="2138824" y="2051599"/>
                </a:lnTo>
                <a:cubicBezTo>
                  <a:pt x="2125351" y="2053524"/>
                  <a:pt x="2133050" y="2051599"/>
                  <a:pt x="2123425" y="2057375"/>
                </a:cubicBezTo>
                <a:lnTo>
                  <a:pt x="2117652" y="2051601"/>
                </a:lnTo>
                <a:lnTo>
                  <a:pt x="2119577" y="2063150"/>
                </a:lnTo>
                <a:cubicBezTo>
                  <a:pt x="2111877" y="2059300"/>
                  <a:pt x="2113801" y="2059300"/>
                  <a:pt x="2108027" y="2051599"/>
                </a:cubicBezTo>
                <a:lnTo>
                  <a:pt x="2117651" y="2051599"/>
                </a:lnTo>
                <a:lnTo>
                  <a:pt x="2123185" y="2048952"/>
                </a:lnTo>
                <a:cubicBezTo>
                  <a:pt x="2125351" y="2048712"/>
                  <a:pt x="2128237" y="2048712"/>
                  <a:pt x="2133050" y="2047749"/>
                </a:cubicBezTo>
                <a:lnTo>
                  <a:pt x="2121501" y="2036200"/>
                </a:lnTo>
                <a:close/>
                <a:moveTo>
                  <a:pt x="2138931" y="2034027"/>
                </a:moveTo>
                <a:lnTo>
                  <a:pt x="2146570" y="2040004"/>
                </a:lnTo>
                <a:lnTo>
                  <a:pt x="2146523" y="2040050"/>
                </a:lnTo>
                <a:lnTo>
                  <a:pt x="2138824" y="2034278"/>
                </a:lnTo>
                <a:close/>
                <a:moveTo>
                  <a:pt x="710632" y="2032351"/>
                </a:moveTo>
                <a:cubicBezTo>
                  <a:pt x="770300" y="2092020"/>
                  <a:pt x="876163" y="2105493"/>
                  <a:pt x="962779" y="2118967"/>
                </a:cubicBezTo>
                <a:cubicBezTo>
                  <a:pt x="1101365" y="2140140"/>
                  <a:pt x="1266896" y="2197885"/>
                  <a:pt x="1397782" y="2159388"/>
                </a:cubicBezTo>
                <a:cubicBezTo>
                  <a:pt x="1205303" y="2153613"/>
                  <a:pt x="901186" y="2115117"/>
                  <a:pt x="710632" y="2032351"/>
                </a:cubicBezTo>
                <a:close/>
                <a:moveTo>
                  <a:pt x="2183094" y="2030428"/>
                </a:moveTo>
                <a:lnTo>
                  <a:pt x="2186943" y="2036201"/>
                </a:lnTo>
                <a:lnTo>
                  <a:pt x="2192718" y="2030428"/>
                </a:lnTo>
                <a:close/>
                <a:moveTo>
                  <a:pt x="2225439" y="2026579"/>
                </a:moveTo>
                <a:cubicBezTo>
                  <a:pt x="2211966" y="2026579"/>
                  <a:pt x="2213891" y="2028505"/>
                  <a:pt x="2210041" y="2034278"/>
                </a:cubicBezTo>
                <a:lnTo>
                  <a:pt x="2213891" y="2038125"/>
                </a:lnTo>
                <a:close/>
                <a:moveTo>
                  <a:pt x="2202342" y="2026579"/>
                </a:moveTo>
                <a:lnTo>
                  <a:pt x="2196567" y="2032353"/>
                </a:lnTo>
                <a:lnTo>
                  <a:pt x="2202342" y="2032353"/>
                </a:lnTo>
                <a:close/>
                <a:moveTo>
                  <a:pt x="2106103" y="2026579"/>
                </a:moveTo>
                <a:cubicBezTo>
                  <a:pt x="2106103" y="2036201"/>
                  <a:pt x="2104178" y="2034276"/>
                  <a:pt x="2100328" y="2038125"/>
                </a:cubicBezTo>
                <a:lnTo>
                  <a:pt x="2086854" y="2034276"/>
                </a:lnTo>
                <a:cubicBezTo>
                  <a:pt x="2094554" y="2026579"/>
                  <a:pt x="2086854" y="2030428"/>
                  <a:pt x="2102253" y="2032353"/>
                </a:cubicBezTo>
                <a:cubicBezTo>
                  <a:pt x="2100328" y="2024656"/>
                  <a:pt x="2096478" y="2028505"/>
                  <a:pt x="2106103" y="2026579"/>
                </a:cubicBezTo>
                <a:close/>
                <a:moveTo>
                  <a:pt x="2129225" y="2026431"/>
                </a:moveTo>
                <a:lnTo>
                  <a:pt x="2129314" y="2026500"/>
                </a:lnTo>
                <a:lnTo>
                  <a:pt x="2129200" y="2026579"/>
                </a:lnTo>
                <a:close/>
                <a:moveTo>
                  <a:pt x="4229143" y="2024665"/>
                </a:moveTo>
                <a:cubicBezTo>
                  <a:pt x="4215669" y="2032364"/>
                  <a:pt x="4200271" y="2038133"/>
                  <a:pt x="4186798" y="2043913"/>
                </a:cubicBezTo>
                <a:cubicBezTo>
                  <a:pt x="4184873" y="2051620"/>
                  <a:pt x="4184873" y="2059325"/>
                  <a:pt x="4188723" y="2067026"/>
                </a:cubicBezTo>
                <a:cubicBezTo>
                  <a:pt x="4190647" y="2068951"/>
                  <a:pt x="4192572" y="2072802"/>
                  <a:pt x="4192572" y="2074727"/>
                </a:cubicBezTo>
                <a:cubicBezTo>
                  <a:pt x="4202196" y="2070876"/>
                  <a:pt x="4211820" y="2065101"/>
                  <a:pt x="4221444" y="2061250"/>
                </a:cubicBezTo>
                <a:cubicBezTo>
                  <a:pt x="4223369" y="2047763"/>
                  <a:pt x="4227218" y="2036206"/>
                  <a:pt x="4229143" y="2024665"/>
                </a:cubicBezTo>
                <a:close/>
                <a:moveTo>
                  <a:pt x="810721" y="2024652"/>
                </a:moveTo>
                <a:cubicBezTo>
                  <a:pt x="910809" y="2101644"/>
                  <a:pt x="1101365" y="2101644"/>
                  <a:pt x="1228400" y="2105493"/>
                </a:cubicBezTo>
                <a:cubicBezTo>
                  <a:pt x="1095589" y="2070847"/>
                  <a:pt x="930057" y="2080471"/>
                  <a:pt x="810721" y="2024652"/>
                </a:cubicBezTo>
                <a:close/>
                <a:moveTo>
                  <a:pt x="1994466" y="2020808"/>
                </a:moveTo>
                <a:lnTo>
                  <a:pt x="1994466" y="2026580"/>
                </a:lnTo>
                <a:lnTo>
                  <a:pt x="1988692" y="2026580"/>
                </a:lnTo>
                <a:close/>
                <a:moveTo>
                  <a:pt x="2144598" y="2020806"/>
                </a:moveTo>
                <a:lnTo>
                  <a:pt x="2138931" y="2034027"/>
                </a:lnTo>
                <a:lnTo>
                  <a:pt x="2129314" y="2026500"/>
                </a:lnTo>
                <a:lnTo>
                  <a:pt x="2135455" y="2022250"/>
                </a:lnTo>
                <a:cubicBezTo>
                  <a:pt x="2136419" y="2021768"/>
                  <a:pt x="2137861" y="2021768"/>
                  <a:pt x="2144598" y="2020806"/>
                </a:cubicBezTo>
                <a:close/>
                <a:moveTo>
                  <a:pt x="5362362" y="2017693"/>
                </a:moveTo>
                <a:cubicBezTo>
                  <a:pt x="5365730" y="2016970"/>
                  <a:pt x="5369580" y="2017932"/>
                  <a:pt x="5372467" y="2022740"/>
                </a:cubicBezTo>
                <a:cubicBezTo>
                  <a:pt x="5378242" y="2028516"/>
                  <a:pt x="5374392" y="2036216"/>
                  <a:pt x="5364768" y="2036216"/>
                </a:cubicBezTo>
                <a:cubicBezTo>
                  <a:pt x="5357069" y="2036216"/>
                  <a:pt x="5353220" y="2028516"/>
                  <a:pt x="5355144" y="2022740"/>
                </a:cubicBezTo>
                <a:cubicBezTo>
                  <a:pt x="5356106" y="2020817"/>
                  <a:pt x="5358993" y="2018411"/>
                  <a:pt x="5362362" y="2017693"/>
                </a:cubicBezTo>
                <a:close/>
                <a:moveTo>
                  <a:pt x="2233138" y="2016957"/>
                </a:moveTo>
                <a:lnTo>
                  <a:pt x="2233138" y="2022731"/>
                </a:lnTo>
                <a:lnTo>
                  <a:pt x="2238914" y="2016957"/>
                </a:lnTo>
                <a:close/>
                <a:moveTo>
                  <a:pt x="2079155" y="2013111"/>
                </a:moveTo>
                <a:lnTo>
                  <a:pt x="2084930" y="2016959"/>
                </a:lnTo>
                <a:lnTo>
                  <a:pt x="2079155" y="2022731"/>
                </a:lnTo>
                <a:lnTo>
                  <a:pt x="2075306" y="2018881"/>
                </a:lnTo>
                <a:close/>
                <a:moveTo>
                  <a:pt x="2219665" y="2007338"/>
                </a:moveTo>
                <a:cubicBezTo>
                  <a:pt x="2221590" y="2013108"/>
                  <a:pt x="2225439" y="2018881"/>
                  <a:pt x="2229289" y="2020806"/>
                </a:cubicBezTo>
                <a:cubicBezTo>
                  <a:pt x="2227364" y="2011184"/>
                  <a:pt x="2227364" y="2013108"/>
                  <a:pt x="2219665" y="2007338"/>
                </a:cubicBezTo>
                <a:close/>
                <a:moveTo>
                  <a:pt x="4232993" y="2003502"/>
                </a:moveTo>
                <a:cubicBezTo>
                  <a:pt x="4223369" y="2009274"/>
                  <a:pt x="4209895" y="2016970"/>
                  <a:pt x="4200271" y="2026590"/>
                </a:cubicBezTo>
                <a:cubicBezTo>
                  <a:pt x="4209895" y="2020817"/>
                  <a:pt x="4221444" y="2016970"/>
                  <a:pt x="4231068" y="2011201"/>
                </a:cubicBezTo>
                <a:cubicBezTo>
                  <a:pt x="4232993" y="2009274"/>
                  <a:pt x="4232993" y="2007348"/>
                  <a:pt x="4232993" y="2003502"/>
                </a:cubicBezTo>
                <a:close/>
                <a:moveTo>
                  <a:pt x="2856770" y="1997724"/>
                </a:moveTo>
                <a:cubicBezTo>
                  <a:pt x="2852920" y="1997724"/>
                  <a:pt x="2850995" y="1999649"/>
                  <a:pt x="2847146" y="1999649"/>
                </a:cubicBezTo>
                <a:cubicBezTo>
                  <a:pt x="2843297" y="2001579"/>
                  <a:pt x="2837523" y="2001579"/>
                  <a:pt x="2833672" y="1999649"/>
                </a:cubicBezTo>
                <a:cubicBezTo>
                  <a:pt x="2837523" y="2013122"/>
                  <a:pt x="2841371" y="2026590"/>
                  <a:pt x="2845221" y="2040058"/>
                </a:cubicBezTo>
                <a:cubicBezTo>
                  <a:pt x="2852920" y="2030440"/>
                  <a:pt x="2835597" y="2018891"/>
                  <a:pt x="2849070" y="2018891"/>
                </a:cubicBezTo>
                <a:cubicBezTo>
                  <a:pt x="2854845" y="2076656"/>
                  <a:pt x="2877942" y="2134432"/>
                  <a:pt x="2893341" y="2184490"/>
                </a:cubicBezTo>
                <a:cubicBezTo>
                  <a:pt x="2901039" y="2180639"/>
                  <a:pt x="2906814" y="2182565"/>
                  <a:pt x="2912588" y="2180639"/>
                </a:cubicBezTo>
                <a:cubicBezTo>
                  <a:pt x="2897190" y="2140205"/>
                  <a:pt x="2893341" y="2103618"/>
                  <a:pt x="2887567" y="2063171"/>
                </a:cubicBezTo>
                <a:cubicBezTo>
                  <a:pt x="2876017" y="2043913"/>
                  <a:pt x="2864469" y="2020817"/>
                  <a:pt x="2856770" y="1997724"/>
                </a:cubicBezTo>
                <a:close/>
                <a:moveTo>
                  <a:pt x="2115726" y="1997709"/>
                </a:moveTo>
                <a:lnTo>
                  <a:pt x="2121501" y="2001558"/>
                </a:lnTo>
                <a:lnTo>
                  <a:pt x="2111877" y="2003483"/>
                </a:lnTo>
                <a:close/>
                <a:moveTo>
                  <a:pt x="2032962" y="1991938"/>
                </a:moveTo>
                <a:lnTo>
                  <a:pt x="2032962" y="1999639"/>
                </a:lnTo>
                <a:lnTo>
                  <a:pt x="2027187" y="1997714"/>
                </a:lnTo>
                <a:close/>
                <a:moveTo>
                  <a:pt x="2092629" y="1991930"/>
                </a:moveTo>
                <a:lnTo>
                  <a:pt x="2098403" y="1997704"/>
                </a:lnTo>
                <a:lnTo>
                  <a:pt x="2094554" y="1999630"/>
                </a:lnTo>
                <a:cubicBezTo>
                  <a:pt x="2092629" y="1997704"/>
                  <a:pt x="2090704" y="1997704"/>
                  <a:pt x="2088780" y="1995780"/>
                </a:cubicBezTo>
                <a:close/>
                <a:moveTo>
                  <a:pt x="4309984" y="1990030"/>
                </a:moveTo>
                <a:cubicBezTo>
                  <a:pt x="4290736" y="1997724"/>
                  <a:pt x="4271488" y="2007348"/>
                  <a:pt x="4252241" y="2015047"/>
                </a:cubicBezTo>
                <a:cubicBezTo>
                  <a:pt x="4252241" y="2026590"/>
                  <a:pt x="4250316" y="2036206"/>
                  <a:pt x="4250316" y="2047763"/>
                </a:cubicBezTo>
                <a:cubicBezTo>
                  <a:pt x="4269564" y="2038133"/>
                  <a:pt x="4290736" y="2030440"/>
                  <a:pt x="4309984" y="2020817"/>
                </a:cubicBezTo>
                <a:cubicBezTo>
                  <a:pt x="4309984" y="2011201"/>
                  <a:pt x="4309984" y="1999649"/>
                  <a:pt x="4309984" y="1990030"/>
                </a:cubicBezTo>
                <a:close/>
                <a:moveTo>
                  <a:pt x="2267784" y="1990011"/>
                </a:moveTo>
                <a:lnTo>
                  <a:pt x="2262010" y="1995786"/>
                </a:lnTo>
                <a:lnTo>
                  <a:pt x="2267784" y="1995786"/>
                </a:lnTo>
                <a:close/>
                <a:moveTo>
                  <a:pt x="2186943" y="1988088"/>
                </a:moveTo>
                <a:lnTo>
                  <a:pt x="2183094" y="1990011"/>
                </a:lnTo>
                <a:lnTo>
                  <a:pt x="2188868" y="1997712"/>
                </a:lnTo>
                <a:lnTo>
                  <a:pt x="2186943" y="2001562"/>
                </a:lnTo>
                <a:lnTo>
                  <a:pt x="2179244" y="1995786"/>
                </a:lnTo>
                <a:lnTo>
                  <a:pt x="2173470" y="2001562"/>
                </a:lnTo>
                <a:lnTo>
                  <a:pt x="2169621" y="1999637"/>
                </a:lnTo>
                <a:lnTo>
                  <a:pt x="2173470" y="1993861"/>
                </a:lnTo>
                <a:lnTo>
                  <a:pt x="2163847" y="1993861"/>
                </a:lnTo>
                <a:cubicBezTo>
                  <a:pt x="2169621" y="2005412"/>
                  <a:pt x="2161921" y="1993861"/>
                  <a:pt x="2167696" y="2005412"/>
                </a:cubicBezTo>
                <a:lnTo>
                  <a:pt x="2173470" y="2001562"/>
                </a:lnTo>
                <a:lnTo>
                  <a:pt x="2177320" y="2007338"/>
                </a:lnTo>
                <a:lnTo>
                  <a:pt x="2165771" y="2009260"/>
                </a:lnTo>
                <a:lnTo>
                  <a:pt x="2165771" y="2011184"/>
                </a:lnTo>
                <a:lnTo>
                  <a:pt x="2177320" y="2013108"/>
                </a:lnTo>
                <a:lnTo>
                  <a:pt x="2186943" y="2001562"/>
                </a:lnTo>
                <a:lnTo>
                  <a:pt x="2190153" y="2003701"/>
                </a:lnTo>
                <a:lnTo>
                  <a:pt x="2188868" y="2005412"/>
                </a:lnTo>
                <a:lnTo>
                  <a:pt x="2191476" y="2006902"/>
                </a:lnTo>
                <a:lnTo>
                  <a:pt x="2183094" y="2016957"/>
                </a:lnTo>
                <a:lnTo>
                  <a:pt x="2192718" y="2016957"/>
                </a:lnTo>
                <a:lnTo>
                  <a:pt x="2188868" y="2022731"/>
                </a:lnTo>
                <a:lnTo>
                  <a:pt x="2198492" y="2018881"/>
                </a:lnTo>
                <a:lnTo>
                  <a:pt x="2208116" y="2020806"/>
                </a:lnTo>
                <a:lnTo>
                  <a:pt x="2208116" y="2015033"/>
                </a:lnTo>
                <a:lnTo>
                  <a:pt x="2217740" y="2015033"/>
                </a:lnTo>
                <a:lnTo>
                  <a:pt x="2217740" y="2013108"/>
                </a:lnTo>
                <a:lnTo>
                  <a:pt x="2208116" y="2013108"/>
                </a:lnTo>
                <a:lnTo>
                  <a:pt x="2202342" y="2013108"/>
                </a:lnTo>
                <a:lnTo>
                  <a:pt x="2191476" y="2006902"/>
                </a:lnTo>
                <a:lnTo>
                  <a:pt x="2192718" y="2005412"/>
                </a:lnTo>
                <a:lnTo>
                  <a:pt x="2190153" y="2003701"/>
                </a:lnTo>
                <a:lnTo>
                  <a:pt x="2194642" y="1997712"/>
                </a:lnTo>
                <a:cubicBezTo>
                  <a:pt x="2194642" y="1991936"/>
                  <a:pt x="2190793" y="1990011"/>
                  <a:pt x="2186943" y="1988088"/>
                </a:cubicBezTo>
                <a:close/>
                <a:moveTo>
                  <a:pt x="2204266" y="1984239"/>
                </a:moveTo>
                <a:cubicBezTo>
                  <a:pt x="2198492" y="1995786"/>
                  <a:pt x="2206191" y="1984239"/>
                  <a:pt x="2202342" y="1993861"/>
                </a:cubicBezTo>
                <a:lnTo>
                  <a:pt x="2211966" y="1993861"/>
                </a:lnTo>
                <a:cubicBezTo>
                  <a:pt x="2208116" y="1988088"/>
                  <a:pt x="2210041" y="1988088"/>
                  <a:pt x="2210041" y="1988088"/>
                </a:cubicBezTo>
                <a:cubicBezTo>
                  <a:pt x="2208116" y="1988088"/>
                  <a:pt x="2208116" y="1986164"/>
                  <a:pt x="2204266" y="1984239"/>
                </a:cubicBezTo>
                <a:close/>
                <a:moveTo>
                  <a:pt x="2129200" y="1978462"/>
                </a:moveTo>
                <a:cubicBezTo>
                  <a:pt x="2136900" y="1980387"/>
                  <a:pt x="2131125" y="1982310"/>
                  <a:pt x="2138826" y="1978462"/>
                </a:cubicBezTo>
                <a:lnTo>
                  <a:pt x="2134975" y="1990011"/>
                </a:lnTo>
                <a:cubicBezTo>
                  <a:pt x="2127275" y="1986161"/>
                  <a:pt x="2134975" y="1986161"/>
                  <a:pt x="2127275" y="1990011"/>
                </a:cubicBezTo>
                <a:lnTo>
                  <a:pt x="2117651" y="1986161"/>
                </a:lnTo>
                <a:cubicBezTo>
                  <a:pt x="2125351" y="1976537"/>
                  <a:pt x="2119577" y="1984237"/>
                  <a:pt x="2129200" y="1978462"/>
                </a:cubicBezTo>
                <a:close/>
                <a:moveTo>
                  <a:pt x="2100329" y="1970764"/>
                </a:moveTo>
                <a:lnTo>
                  <a:pt x="2100329" y="1976538"/>
                </a:lnTo>
                <a:lnTo>
                  <a:pt x="2092630" y="1976538"/>
                </a:lnTo>
                <a:close/>
                <a:moveTo>
                  <a:pt x="2133050" y="1970763"/>
                </a:moveTo>
                <a:lnTo>
                  <a:pt x="2138824" y="1974612"/>
                </a:lnTo>
                <a:lnTo>
                  <a:pt x="2129200" y="1976537"/>
                </a:lnTo>
                <a:close/>
                <a:moveTo>
                  <a:pt x="4300360" y="1963097"/>
                </a:moveTo>
                <a:cubicBezTo>
                  <a:pt x="4284962" y="1970796"/>
                  <a:pt x="4269564" y="1976566"/>
                  <a:pt x="4256090" y="1984259"/>
                </a:cubicBezTo>
                <a:cubicBezTo>
                  <a:pt x="4256090" y="1990030"/>
                  <a:pt x="4254165" y="1995801"/>
                  <a:pt x="4254165" y="2001579"/>
                </a:cubicBezTo>
                <a:cubicBezTo>
                  <a:pt x="4271488" y="1993879"/>
                  <a:pt x="4288811" y="1984259"/>
                  <a:pt x="4306134" y="1976566"/>
                </a:cubicBezTo>
                <a:cubicBezTo>
                  <a:pt x="4304210" y="1972721"/>
                  <a:pt x="4302285" y="1966939"/>
                  <a:pt x="4300360" y="1963097"/>
                </a:cubicBezTo>
                <a:close/>
                <a:moveTo>
                  <a:pt x="5588043" y="1961192"/>
                </a:moveTo>
                <a:cubicBezTo>
                  <a:pt x="5572644" y="1980412"/>
                  <a:pt x="5537998" y="1997724"/>
                  <a:pt x="5512976" y="2016970"/>
                </a:cubicBezTo>
                <a:cubicBezTo>
                  <a:pt x="5526449" y="1991954"/>
                  <a:pt x="5543773" y="1986182"/>
                  <a:pt x="5559171" y="1976566"/>
                </a:cubicBezTo>
                <a:cubicBezTo>
                  <a:pt x="5566870" y="1970796"/>
                  <a:pt x="5574569" y="1963097"/>
                  <a:pt x="5588043" y="1961192"/>
                </a:cubicBezTo>
                <a:close/>
                <a:moveTo>
                  <a:pt x="2183094" y="1959226"/>
                </a:moveTo>
                <a:cubicBezTo>
                  <a:pt x="2188868" y="1970768"/>
                  <a:pt x="2177320" y="1963068"/>
                  <a:pt x="2188868" y="1970768"/>
                </a:cubicBezTo>
                <a:cubicBezTo>
                  <a:pt x="2194642" y="1959226"/>
                  <a:pt x="2186943" y="1970768"/>
                  <a:pt x="2192718" y="1959226"/>
                </a:cubicBezTo>
                <a:close/>
                <a:moveTo>
                  <a:pt x="2158073" y="1959226"/>
                </a:moveTo>
                <a:lnTo>
                  <a:pt x="2161921" y="1970768"/>
                </a:lnTo>
                <a:lnTo>
                  <a:pt x="2167696" y="1964993"/>
                </a:lnTo>
                <a:cubicBezTo>
                  <a:pt x="2163847" y="1963068"/>
                  <a:pt x="2161921" y="1963068"/>
                  <a:pt x="2161921" y="1963068"/>
                </a:cubicBezTo>
                <a:cubicBezTo>
                  <a:pt x="2161921" y="1963068"/>
                  <a:pt x="2159996" y="1961151"/>
                  <a:pt x="2158073" y="1959226"/>
                </a:cubicBezTo>
                <a:close/>
                <a:moveTo>
                  <a:pt x="1934797" y="1949612"/>
                </a:moveTo>
                <a:lnTo>
                  <a:pt x="1940571" y="1951535"/>
                </a:lnTo>
                <a:lnTo>
                  <a:pt x="1934797" y="1957312"/>
                </a:lnTo>
                <a:lnTo>
                  <a:pt x="1932872" y="1953461"/>
                </a:lnTo>
                <a:close/>
                <a:moveTo>
                  <a:pt x="2133771" y="1942378"/>
                </a:moveTo>
                <a:cubicBezTo>
                  <a:pt x="2134012" y="1941415"/>
                  <a:pt x="2134012" y="1941896"/>
                  <a:pt x="2138824" y="1947670"/>
                </a:cubicBezTo>
                <a:lnTo>
                  <a:pt x="2129199" y="1947670"/>
                </a:lnTo>
                <a:lnTo>
                  <a:pt x="2123425" y="1947670"/>
                </a:lnTo>
                <a:lnTo>
                  <a:pt x="2119577" y="1959220"/>
                </a:lnTo>
                <a:cubicBezTo>
                  <a:pt x="2111876" y="1953444"/>
                  <a:pt x="2119577" y="1953444"/>
                  <a:pt x="2106102" y="1953444"/>
                </a:cubicBezTo>
                <a:cubicBezTo>
                  <a:pt x="2111876" y="1945745"/>
                  <a:pt x="2104177" y="1949596"/>
                  <a:pt x="2117651" y="1951520"/>
                </a:cubicBezTo>
                <a:lnTo>
                  <a:pt x="2117651" y="1945745"/>
                </a:lnTo>
                <a:lnTo>
                  <a:pt x="2127275" y="1945745"/>
                </a:lnTo>
                <a:cubicBezTo>
                  <a:pt x="2133050" y="1945745"/>
                  <a:pt x="2133532" y="1943339"/>
                  <a:pt x="2133771" y="1942378"/>
                </a:cubicBezTo>
                <a:close/>
                <a:moveTo>
                  <a:pt x="2079156" y="1941909"/>
                </a:moveTo>
                <a:lnTo>
                  <a:pt x="2084930" y="1941909"/>
                </a:lnTo>
                <a:lnTo>
                  <a:pt x="2084930" y="1949608"/>
                </a:lnTo>
                <a:cubicBezTo>
                  <a:pt x="2084930" y="1947683"/>
                  <a:pt x="2081081" y="1951533"/>
                  <a:pt x="2079156" y="1941909"/>
                </a:cubicBezTo>
                <a:close/>
                <a:moveTo>
                  <a:pt x="4286887" y="1940018"/>
                </a:moveTo>
                <a:cubicBezTo>
                  <a:pt x="4281112" y="1938092"/>
                  <a:pt x="4275338" y="1938092"/>
                  <a:pt x="4269564" y="1941942"/>
                </a:cubicBezTo>
                <a:cubicBezTo>
                  <a:pt x="4269564" y="1943867"/>
                  <a:pt x="4265714" y="1947715"/>
                  <a:pt x="4263789" y="1949640"/>
                </a:cubicBezTo>
                <a:cubicBezTo>
                  <a:pt x="4271488" y="1945791"/>
                  <a:pt x="4279188" y="1943867"/>
                  <a:pt x="4286887" y="1940018"/>
                </a:cubicBezTo>
                <a:close/>
                <a:moveTo>
                  <a:pt x="2067608" y="1938059"/>
                </a:moveTo>
                <a:lnTo>
                  <a:pt x="2073382" y="1943833"/>
                </a:lnTo>
                <a:lnTo>
                  <a:pt x="2065683" y="1943833"/>
                </a:lnTo>
                <a:close/>
                <a:moveTo>
                  <a:pt x="2111877" y="1936123"/>
                </a:moveTo>
                <a:lnTo>
                  <a:pt x="2127276" y="1936123"/>
                </a:lnTo>
                <a:lnTo>
                  <a:pt x="2127276" y="1943822"/>
                </a:lnTo>
                <a:cubicBezTo>
                  <a:pt x="2113803" y="1941898"/>
                  <a:pt x="2117651" y="1941898"/>
                  <a:pt x="2111877" y="1936123"/>
                </a:cubicBezTo>
                <a:close/>
                <a:moveTo>
                  <a:pt x="5878685" y="1934246"/>
                </a:moveTo>
                <a:cubicBezTo>
                  <a:pt x="5888309" y="1934246"/>
                  <a:pt x="5882535" y="1941947"/>
                  <a:pt x="5872911" y="1945796"/>
                </a:cubicBezTo>
                <a:cubicBezTo>
                  <a:pt x="5851739" y="1951567"/>
                  <a:pt x="5824791" y="1955422"/>
                  <a:pt x="5799769" y="1966939"/>
                </a:cubicBezTo>
                <a:cubicBezTo>
                  <a:pt x="5797844" y="1966939"/>
                  <a:pt x="5782446" y="1965023"/>
                  <a:pt x="5793995" y="1961192"/>
                </a:cubicBezTo>
                <a:cubicBezTo>
                  <a:pt x="5824791" y="1947721"/>
                  <a:pt x="5851739" y="1932323"/>
                  <a:pt x="5878685" y="1934246"/>
                </a:cubicBezTo>
                <a:close/>
                <a:moveTo>
                  <a:pt x="2198492" y="1928428"/>
                </a:moveTo>
                <a:lnTo>
                  <a:pt x="2188868" y="1932279"/>
                </a:lnTo>
                <a:lnTo>
                  <a:pt x="2196567" y="1938052"/>
                </a:lnTo>
                <a:close/>
                <a:moveTo>
                  <a:pt x="2186943" y="1926503"/>
                </a:moveTo>
                <a:lnTo>
                  <a:pt x="2181169" y="1932279"/>
                </a:lnTo>
                <a:lnTo>
                  <a:pt x="2186943" y="1936127"/>
                </a:lnTo>
                <a:close/>
                <a:moveTo>
                  <a:pt x="2115727" y="1926498"/>
                </a:moveTo>
                <a:lnTo>
                  <a:pt x="2121501" y="1932273"/>
                </a:lnTo>
                <a:lnTo>
                  <a:pt x="2113803" y="1932273"/>
                </a:lnTo>
                <a:close/>
                <a:moveTo>
                  <a:pt x="2188868" y="1922655"/>
                </a:moveTo>
                <a:lnTo>
                  <a:pt x="2194642" y="1926503"/>
                </a:lnTo>
                <a:lnTo>
                  <a:pt x="2198492" y="1922655"/>
                </a:lnTo>
                <a:close/>
                <a:moveTo>
                  <a:pt x="3289847" y="1913073"/>
                </a:moveTo>
                <a:cubicBezTo>
                  <a:pt x="3280224" y="1922695"/>
                  <a:pt x="3272524" y="1930395"/>
                  <a:pt x="3264825" y="1940018"/>
                </a:cubicBezTo>
                <a:cubicBezTo>
                  <a:pt x="3249427" y="1943867"/>
                  <a:pt x="3262900" y="1940018"/>
                  <a:pt x="3262900" y="1926545"/>
                </a:cubicBezTo>
                <a:cubicBezTo>
                  <a:pt x="3245577" y="1945791"/>
                  <a:pt x="3228253" y="1963097"/>
                  <a:pt x="3210930" y="1978490"/>
                </a:cubicBezTo>
                <a:cubicBezTo>
                  <a:pt x="3210930" y="1988106"/>
                  <a:pt x="3210930" y="1997724"/>
                  <a:pt x="3210930" y="2005425"/>
                </a:cubicBezTo>
                <a:cubicBezTo>
                  <a:pt x="3241727" y="1982337"/>
                  <a:pt x="3272524" y="1953493"/>
                  <a:pt x="3299471" y="1922695"/>
                </a:cubicBezTo>
                <a:cubicBezTo>
                  <a:pt x="3295621" y="1918846"/>
                  <a:pt x="3293697" y="1916921"/>
                  <a:pt x="3289847" y="1913073"/>
                </a:cubicBezTo>
                <a:close/>
                <a:moveTo>
                  <a:pt x="2025261" y="1913017"/>
                </a:moveTo>
                <a:cubicBezTo>
                  <a:pt x="2034885" y="1916867"/>
                  <a:pt x="2031035" y="1914942"/>
                  <a:pt x="2036810" y="1920717"/>
                </a:cubicBezTo>
                <a:cubicBezTo>
                  <a:pt x="2025261" y="1916867"/>
                  <a:pt x="2029110" y="1922642"/>
                  <a:pt x="2025261" y="1913017"/>
                </a:cubicBezTo>
                <a:close/>
                <a:moveTo>
                  <a:pt x="2206191" y="1911106"/>
                </a:moveTo>
                <a:lnTo>
                  <a:pt x="2215815" y="1918805"/>
                </a:lnTo>
                <a:lnTo>
                  <a:pt x="2219665" y="1913031"/>
                </a:lnTo>
                <a:close/>
                <a:moveTo>
                  <a:pt x="2065682" y="1909181"/>
                </a:moveTo>
                <a:lnTo>
                  <a:pt x="2071456" y="1916880"/>
                </a:lnTo>
                <a:lnTo>
                  <a:pt x="2077231" y="1914956"/>
                </a:lnTo>
                <a:lnTo>
                  <a:pt x="2077231" y="1922654"/>
                </a:lnTo>
                <a:cubicBezTo>
                  <a:pt x="2065682" y="1922654"/>
                  <a:pt x="2065682" y="1920730"/>
                  <a:pt x="2065682" y="1909181"/>
                </a:cubicBezTo>
                <a:close/>
                <a:moveTo>
                  <a:pt x="2138824" y="1905332"/>
                </a:moveTo>
                <a:lnTo>
                  <a:pt x="2138824" y="1911106"/>
                </a:lnTo>
                <a:lnTo>
                  <a:pt x="2144598" y="1905332"/>
                </a:lnTo>
                <a:close/>
                <a:moveTo>
                  <a:pt x="2094554" y="1903409"/>
                </a:moveTo>
                <a:lnTo>
                  <a:pt x="2100328" y="1903409"/>
                </a:lnTo>
                <a:lnTo>
                  <a:pt x="2108029" y="1903409"/>
                </a:lnTo>
                <a:lnTo>
                  <a:pt x="2113803" y="1911108"/>
                </a:lnTo>
                <a:lnTo>
                  <a:pt x="2104177" y="1914957"/>
                </a:lnTo>
                <a:lnTo>
                  <a:pt x="2109953" y="1916881"/>
                </a:lnTo>
                <a:lnTo>
                  <a:pt x="2106102" y="1924582"/>
                </a:lnTo>
                <a:lnTo>
                  <a:pt x="2100328" y="1924582"/>
                </a:lnTo>
                <a:cubicBezTo>
                  <a:pt x="2098403" y="1920732"/>
                  <a:pt x="2098403" y="1918807"/>
                  <a:pt x="2098403" y="1918807"/>
                </a:cubicBezTo>
                <a:cubicBezTo>
                  <a:pt x="2098403" y="1916881"/>
                  <a:pt x="2096478" y="1916881"/>
                  <a:pt x="2094554" y="1914957"/>
                </a:cubicBezTo>
                <a:lnTo>
                  <a:pt x="2084929" y="1918807"/>
                </a:lnTo>
                <a:lnTo>
                  <a:pt x="2079155" y="1914957"/>
                </a:lnTo>
                <a:lnTo>
                  <a:pt x="2079155" y="1909183"/>
                </a:lnTo>
                <a:lnTo>
                  <a:pt x="2094554" y="1911108"/>
                </a:lnTo>
                <a:lnTo>
                  <a:pt x="2096478" y="1909183"/>
                </a:lnTo>
                <a:close/>
                <a:moveTo>
                  <a:pt x="2054134" y="1897639"/>
                </a:moveTo>
                <a:lnTo>
                  <a:pt x="2054134" y="1905339"/>
                </a:lnTo>
                <a:lnTo>
                  <a:pt x="2048360" y="1903413"/>
                </a:lnTo>
                <a:close/>
                <a:moveTo>
                  <a:pt x="2144598" y="1897633"/>
                </a:moveTo>
                <a:lnTo>
                  <a:pt x="2140749" y="1903407"/>
                </a:lnTo>
                <a:lnTo>
                  <a:pt x="2150372" y="1903407"/>
                </a:lnTo>
                <a:close/>
                <a:moveTo>
                  <a:pt x="2131125" y="1888009"/>
                </a:moveTo>
                <a:lnTo>
                  <a:pt x="2129200" y="1897633"/>
                </a:lnTo>
                <a:lnTo>
                  <a:pt x="2138824" y="1903407"/>
                </a:lnTo>
                <a:lnTo>
                  <a:pt x="2134974" y="1895708"/>
                </a:lnTo>
                <a:cubicBezTo>
                  <a:pt x="2138824" y="1888009"/>
                  <a:pt x="2136899" y="1893783"/>
                  <a:pt x="2131125" y="1888009"/>
                </a:cubicBezTo>
                <a:close/>
                <a:moveTo>
                  <a:pt x="2067606" y="1886080"/>
                </a:moveTo>
                <a:lnTo>
                  <a:pt x="2077230" y="1886080"/>
                </a:lnTo>
                <a:lnTo>
                  <a:pt x="2075305" y="1897629"/>
                </a:lnTo>
                <a:cubicBezTo>
                  <a:pt x="2063757" y="1889930"/>
                  <a:pt x="2075305" y="1897629"/>
                  <a:pt x="2067606" y="1886080"/>
                </a:cubicBezTo>
                <a:close/>
                <a:moveTo>
                  <a:pt x="2032962" y="1886070"/>
                </a:moveTo>
                <a:lnTo>
                  <a:pt x="2032962" y="1891844"/>
                </a:lnTo>
                <a:lnTo>
                  <a:pt x="2027187" y="1887995"/>
                </a:lnTo>
                <a:close/>
                <a:moveTo>
                  <a:pt x="2038736" y="1882220"/>
                </a:moveTo>
                <a:lnTo>
                  <a:pt x="2048359" y="1882220"/>
                </a:lnTo>
                <a:lnTo>
                  <a:pt x="2042585" y="1887994"/>
                </a:lnTo>
                <a:close/>
                <a:moveTo>
                  <a:pt x="2054134" y="1872618"/>
                </a:moveTo>
                <a:cubicBezTo>
                  <a:pt x="2059908" y="1878392"/>
                  <a:pt x="2061833" y="1886091"/>
                  <a:pt x="2054134" y="1891866"/>
                </a:cubicBezTo>
                <a:cubicBezTo>
                  <a:pt x="2050284" y="1880317"/>
                  <a:pt x="2056058" y="1891866"/>
                  <a:pt x="2050284" y="1880317"/>
                </a:cubicBezTo>
                <a:close/>
                <a:moveTo>
                  <a:pt x="2140749" y="1872611"/>
                </a:moveTo>
                <a:lnTo>
                  <a:pt x="2144598" y="1878386"/>
                </a:lnTo>
                <a:lnTo>
                  <a:pt x="2150372" y="1872611"/>
                </a:lnTo>
                <a:close/>
                <a:moveTo>
                  <a:pt x="2154222" y="1870687"/>
                </a:moveTo>
                <a:lnTo>
                  <a:pt x="2154222" y="1880310"/>
                </a:lnTo>
                <a:lnTo>
                  <a:pt x="2163847" y="1878386"/>
                </a:lnTo>
                <a:close/>
                <a:moveTo>
                  <a:pt x="2025262" y="1866822"/>
                </a:moveTo>
                <a:lnTo>
                  <a:pt x="2034886" y="1872596"/>
                </a:lnTo>
                <a:lnTo>
                  <a:pt x="2021412" y="1872596"/>
                </a:lnTo>
                <a:close/>
                <a:moveTo>
                  <a:pt x="2056059" y="1861070"/>
                </a:moveTo>
                <a:lnTo>
                  <a:pt x="2061833" y="1866844"/>
                </a:lnTo>
                <a:lnTo>
                  <a:pt x="2054134" y="1870694"/>
                </a:lnTo>
                <a:close/>
                <a:moveTo>
                  <a:pt x="1984841" y="1859120"/>
                </a:moveTo>
                <a:lnTo>
                  <a:pt x="1994466" y="1861046"/>
                </a:lnTo>
                <a:lnTo>
                  <a:pt x="1988690" y="1864895"/>
                </a:lnTo>
                <a:close/>
                <a:moveTo>
                  <a:pt x="2069531" y="1855291"/>
                </a:moveTo>
                <a:lnTo>
                  <a:pt x="2079155" y="1855291"/>
                </a:lnTo>
                <a:lnTo>
                  <a:pt x="2073381" y="1861065"/>
                </a:lnTo>
                <a:close/>
                <a:moveTo>
                  <a:pt x="3620910" y="1853406"/>
                </a:moveTo>
                <a:cubicBezTo>
                  <a:pt x="3518896" y="1976566"/>
                  <a:pt x="3443830" y="2142131"/>
                  <a:pt x="3297546" y="2197965"/>
                </a:cubicBezTo>
                <a:cubicBezTo>
                  <a:pt x="3461153" y="2171011"/>
                  <a:pt x="3538144" y="2007348"/>
                  <a:pt x="3634384" y="1870731"/>
                </a:cubicBezTo>
                <a:cubicBezTo>
                  <a:pt x="3630534" y="1864956"/>
                  <a:pt x="3624760" y="1859182"/>
                  <a:pt x="3620910" y="1853406"/>
                </a:cubicBezTo>
                <a:close/>
                <a:moveTo>
                  <a:pt x="2573825" y="1851488"/>
                </a:moveTo>
                <a:cubicBezTo>
                  <a:pt x="2616170" y="2061250"/>
                  <a:pt x="2735507" y="2224920"/>
                  <a:pt x="2833671" y="2400043"/>
                </a:cubicBezTo>
                <a:cubicBezTo>
                  <a:pt x="2702786" y="2253803"/>
                  <a:pt x="2579599" y="2074727"/>
                  <a:pt x="2573825" y="1851488"/>
                </a:cubicBezTo>
                <a:close/>
                <a:moveTo>
                  <a:pt x="217886" y="1845647"/>
                </a:moveTo>
                <a:cubicBezTo>
                  <a:pt x="219811" y="1859121"/>
                  <a:pt x="210187" y="1857196"/>
                  <a:pt x="202488" y="1859121"/>
                </a:cubicBezTo>
                <a:cubicBezTo>
                  <a:pt x="252532" y="1889917"/>
                  <a:pt x="235209" y="1964983"/>
                  <a:pt x="252532" y="2016953"/>
                </a:cubicBezTo>
                <a:cubicBezTo>
                  <a:pt x="267930" y="1949586"/>
                  <a:pt x="256382" y="1899541"/>
                  <a:pt x="227510" y="1861045"/>
                </a:cubicBezTo>
                <a:cubicBezTo>
                  <a:pt x="256382" y="1868745"/>
                  <a:pt x="250607" y="1897617"/>
                  <a:pt x="258307" y="1918788"/>
                </a:cubicBezTo>
                <a:cubicBezTo>
                  <a:pt x="273705" y="1889917"/>
                  <a:pt x="260231" y="1849497"/>
                  <a:pt x="217886" y="1845647"/>
                </a:cubicBezTo>
                <a:close/>
                <a:moveTo>
                  <a:pt x="3570866" y="1843783"/>
                </a:moveTo>
                <a:cubicBezTo>
                  <a:pt x="3486175" y="1988106"/>
                  <a:pt x="3382236" y="2101692"/>
                  <a:pt x="3251351" y="2172934"/>
                </a:cubicBezTo>
                <a:cubicBezTo>
                  <a:pt x="3397635" y="2126725"/>
                  <a:pt x="3499649" y="2011201"/>
                  <a:pt x="3570866" y="1843783"/>
                </a:cubicBezTo>
                <a:close/>
                <a:moveTo>
                  <a:pt x="2165771" y="1828342"/>
                </a:moveTo>
                <a:lnTo>
                  <a:pt x="2165771" y="1837966"/>
                </a:lnTo>
                <a:lnTo>
                  <a:pt x="2175395" y="1830267"/>
                </a:lnTo>
                <a:close/>
                <a:moveTo>
                  <a:pt x="2000239" y="1826415"/>
                </a:moveTo>
                <a:lnTo>
                  <a:pt x="1996389" y="1832189"/>
                </a:lnTo>
                <a:lnTo>
                  <a:pt x="1990615" y="1828340"/>
                </a:lnTo>
                <a:close/>
                <a:moveTo>
                  <a:pt x="2100329" y="1826400"/>
                </a:moveTo>
                <a:lnTo>
                  <a:pt x="2106103" y="1826400"/>
                </a:lnTo>
                <a:cubicBezTo>
                  <a:pt x="2102254" y="1834100"/>
                  <a:pt x="2111878" y="1826400"/>
                  <a:pt x="2100329" y="1834100"/>
                </a:cubicBezTo>
                <a:close/>
                <a:moveTo>
                  <a:pt x="2140749" y="1815638"/>
                </a:moveTo>
                <a:lnTo>
                  <a:pt x="2143066" y="1816565"/>
                </a:lnTo>
                <a:lnTo>
                  <a:pt x="2140749" y="1816793"/>
                </a:lnTo>
                <a:close/>
                <a:moveTo>
                  <a:pt x="2262010" y="1812943"/>
                </a:moveTo>
                <a:lnTo>
                  <a:pt x="2267784" y="1818718"/>
                </a:lnTo>
                <a:lnTo>
                  <a:pt x="2267784" y="1812943"/>
                </a:lnTo>
                <a:close/>
                <a:moveTo>
                  <a:pt x="1990616" y="1811016"/>
                </a:moveTo>
                <a:lnTo>
                  <a:pt x="1998315" y="1811016"/>
                </a:lnTo>
                <a:lnTo>
                  <a:pt x="1996390" y="1816791"/>
                </a:lnTo>
                <a:close/>
                <a:moveTo>
                  <a:pt x="2198492" y="1809093"/>
                </a:moveTo>
                <a:lnTo>
                  <a:pt x="2192718" y="1812943"/>
                </a:lnTo>
                <a:lnTo>
                  <a:pt x="2198492" y="1816793"/>
                </a:lnTo>
                <a:close/>
                <a:moveTo>
                  <a:pt x="2084931" y="1805229"/>
                </a:moveTo>
                <a:lnTo>
                  <a:pt x="2092630" y="1811003"/>
                </a:lnTo>
                <a:cubicBezTo>
                  <a:pt x="2088780" y="1816778"/>
                  <a:pt x="2088780" y="1811003"/>
                  <a:pt x="2092630" y="1818702"/>
                </a:cubicBezTo>
                <a:lnTo>
                  <a:pt x="2084931" y="1824477"/>
                </a:lnTo>
                <a:lnTo>
                  <a:pt x="2088780" y="1830251"/>
                </a:lnTo>
                <a:lnTo>
                  <a:pt x="2079155" y="1830251"/>
                </a:lnTo>
                <a:lnTo>
                  <a:pt x="2083006" y="1824477"/>
                </a:lnTo>
                <a:lnTo>
                  <a:pt x="2067607" y="1826402"/>
                </a:lnTo>
                <a:lnTo>
                  <a:pt x="2065682" y="1818702"/>
                </a:lnTo>
                <a:lnTo>
                  <a:pt x="2069531" y="1816778"/>
                </a:lnTo>
                <a:cubicBezTo>
                  <a:pt x="2076749" y="1821109"/>
                  <a:pt x="2074223" y="1822191"/>
                  <a:pt x="2078193" y="1822462"/>
                </a:cubicBezTo>
                <a:lnTo>
                  <a:pt x="2083006" y="1822526"/>
                </a:lnTo>
                <a:lnTo>
                  <a:pt x="2083006" y="1822552"/>
                </a:lnTo>
                <a:lnTo>
                  <a:pt x="2084931" y="1822552"/>
                </a:lnTo>
                <a:lnTo>
                  <a:pt x="2083006" y="1822526"/>
                </a:lnTo>
                <a:lnTo>
                  <a:pt x="2083006" y="1814853"/>
                </a:lnTo>
                <a:lnTo>
                  <a:pt x="2088780" y="1814853"/>
                </a:lnTo>
                <a:lnTo>
                  <a:pt x="2081081" y="1807154"/>
                </a:lnTo>
                <a:close/>
                <a:moveTo>
                  <a:pt x="2129521" y="1804763"/>
                </a:moveTo>
                <a:lnTo>
                  <a:pt x="2131125" y="1807169"/>
                </a:lnTo>
                <a:lnTo>
                  <a:pt x="2130911" y="1807811"/>
                </a:lnTo>
                <a:lnTo>
                  <a:pt x="2129200" y="1805244"/>
                </a:lnTo>
                <a:close/>
                <a:moveTo>
                  <a:pt x="2188868" y="1799470"/>
                </a:moveTo>
                <a:lnTo>
                  <a:pt x="2177320" y="1801393"/>
                </a:lnTo>
                <a:cubicBezTo>
                  <a:pt x="2183094" y="1812943"/>
                  <a:pt x="2175395" y="1801393"/>
                  <a:pt x="2181169" y="1812943"/>
                </a:cubicBezTo>
                <a:lnTo>
                  <a:pt x="2169621" y="1812943"/>
                </a:lnTo>
                <a:lnTo>
                  <a:pt x="2175395" y="1820642"/>
                </a:lnTo>
                <a:cubicBezTo>
                  <a:pt x="2185019" y="1816793"/>
                  <a:pt x="2179244" y="1814868"/>
                  <a:pt x="2185019" y="1822568"/>
                </a:cubicBezTo>
                <a:lnTo>
                  <a:pt x="2179244" y="1826417"/>
                </a:lnTo>
                <a:lnTo>
                  <a:pt x="2185019" y="1826417"/>
                </a:lnTo>
                <a:lnTo>
                  <a:pt x="2183094" y="1837966"/>
                </a:lnTo>
                <a:cubicBezTo>
                  <a:pt x="2188868" y="1832192"/>
                  <a:pt x="2190793" y="1830267"/>
                  <a:pt x="2198492" y="1826417"/>
                </a:cubicBezTo>
                <a:cubicBezTo>
                  <a:pt x="2190793" y="1816793"/>
                  <a:pt x="2185019" y="1818718"/>
                  <a:pt x="2183094" y="1805244"/>
                </a:cubicBezTo>
                <a:lnTo>
                  <a:pt x="2188868" y="1805244"/>
                </a:lnTo>
                <a:close/>
                <a:moveTo>
                  <a:pt x="2090704" y="1797529"/>
                </a:moveTo>
                <a:lnTo>
                  <a:pt x="2096478" y="1801378"/>
                </a:lnTo>
                <a:lnTo>
                  <a:pt x="2086854" y="1803303"/>
                </a:lnTo>
                <a:close/>
                <a:moveTo>
                  <a:pt x="2031035" y="1795602"/>
                </a:moveTo>
                <a:lnTo>
                  <a:pt x="2034885" y="1803302"/>
                </a:lnTo>
                <a:cubicBezTo>
                  <a:pt x="2025261" y="1801377"/>
                  <a:pt x="2029110" y="1803302"/>
                  <a:pt x="2025261" y="1799451"/>
                </a:cubicBezTo>
                <a:close/>
                <a:moveTo>
                  <a:pt x="2017563" y="1795602"/>
                </a:moveTo>
                <a:lnTo>
                  <a:pt x="2025262" y="1797527"/>
                </a:lnTo>
                <a:lnTo>
                  <a:pt x="2019489" y="1799451"/>
                </a:lnTo>
                <a:close/>
                <a:moveTo>
                  <a:pt x="2219665" y="1791770"/>
                </a:moveTo>
                <a:lnTo>
                  <a:pt x="2219665" y="1801393"/>
                </a:lnTo>
                <a:lnTo>
                  <a:pt x="2225439" y="1797544"/>
                </a:lnTo>
                <a:close/>
                <a:moveTo>
                  <a:pt x="2202342" y="1791770"/>
                </a:moveTo>
                <a:lnTo>
                  <a:pt x="2206191" y="1797544"/>
                </a:lnTo>
                <a:lnTo>
                  <a:pt x="2211966" y="1791770"/>
                </a:lnTo>
                <a:close/>
                <a:moveTo>
                  <a:pt x="3388011" y="1789888"/>
                </a:moveTo>
                <a:cubicBezTo>
                  <a:pt x="3361065" y="1822611"/>
                  <a:pt x="3336042" y="1857256"/>
                  <a:pt x="3309095" y="1888052"/>
                </a:cubicBezTo>
                <a:cubicBezTo>
                  <a:pt x="3311019" y="1889975"/>
                  <a:pt x="3314869" y="1893827"/>
                  <a:pt x="3316794" y="1897674"/>
                </a:cubicBezTo>
                <a:cubicBezTo>
                  <a:pt x="3343741" y="1866880"/>
                  <a:pt x="3366838" y="1830310"/>
                  <a:pt x="3388011" y="1789888"/>
                </a:cubicBezTo>
                <a:close/>
                <a:moveTo>
                  <a:pt x="2244688" y="1785997"/>
                </a:moveTo>
                <a:lnTo>
                  <a:pt x="2240837" y="1791770"/>
                </a:lnTo>
                <a:lnTo>
                  <a:pt x="2244688" y="1793694"/>
                </a:lnTo>
                <a:lnTo>
                  <a:pt x="2250462" y="1791770"/>
                </a:lnTo>
                <a:close/>
                <a:moveTo>
                  <a:pt x="5809395" y="1784118"/>
                </a:moveTo>
                <a:cubicBezTo>
                  <a:pt x="5797846" y="1797586"/>
                  <a:pt x="5782448" y="1811063"/>
                  <a:pt x="5767049" y="1826461"/>
                </a:cubicBezTo>
                <a:cubicBezTo>
                  <a:pt x="5724704" y="1866881"/>
                  <a:pt x="5668885" y="1903450"/>
                  <a:pt x="5607291" y="1938097"/>
                </a:cubicBezTo>
                <a:cubicBezTo>
                  <a:pt x="5653487" y="1884202"/>
                  <a:pt x="5724704" y="1845710"/>
                  <a:pt x="5782448" y="1801437"/>
                </a:cubicBezTo>
                <a:cubicBezTo>
                  <a:pt x="5786297" y="1797586"/>
                  <a:pt x="5803620" y="1787966"/>
                  <a:pt x="5809395" y="1784118"/>
                </a:cubicBezTo>
                <a:close/>
                <a:moveTo>
                  <a:pt x="2290882" y="1782146"/>
                </a:moveTo>
                <a:lnTo>
                  <a:pt x="2294732" y="1787922"/>
                </a:lnTo>
                <a:lnTo>
                  <a:pt x="2300506" y="1782146"/>
                </a:lnTo>
                <a:close/>
                <a:moveTo>
                  <a:pt x="2052208" y="1778303"/>
                </a:moveTo>
                <a:lnTo>
                  <a:pt x="2061832" y="1778303"/>
                </a:lnTo>
                <a:lnTo>
                  <a:pt x="2056057" y="1784080"/>
                </a:lnTo>
                <a:close/>
                <a:moveTo>
                  <a:pt x="1998315" y="1778295"/>
                </a:moveTo>
                <a:lnTo>
                  <a:pt x="2006014" y="1778295"/>
                </a:lnTo>
                <a:cubicBezTo>
                  <a:pt x="2002164" y="1784071"/>
                  <a:pt x="2002164" y="1778295"/>
                  <a:pt x="2006014" y="1785997"/>
                </a:cubicBezTo>
                <a:lnTo>
                  <a:pt x="1998315" y="1785997"/>
                </a:lnTo>
                <a:cubicBezTo>
                  <a:pt x="2002164" y="1780219"/>
                  <a:pt x="2002164" y="1785997"/>
                  <a:pt x="1998315" y="1778295"/>
                </a:cubicBezTo>
                <a:close/>
                <a:moveTo>
                  <a:pt x="2185019" y="1778148"/>
                </a:moveTo>
                <a:lnTo>
                  <a:pt x="2184805" y="1778296"/>
                </a:lnTo>
                <a:lnTo>
                  <a:pt x="2185019" y="1778296"/>
                </a:lnTo>
                <a:close/>
                <a:moveTo>
                  <a:pt x="2375573" y="1776357"/>
                </a:moveTo>
                <a:lnTo>
                  <a:pt x="2375573" y="1784057"/>
                </a:lnTo>
                <a:lnTo>
                  <a:pt x="2381347" y="1782131"/>
                </a:lnTo>
                <a:close/>
                <a:moveTo>
                  <a:pt x="2246612" y="1772522"/>
                </a:moveTo>
                <a:cubicBezTo>
                  <a:pt x="2252386" y="1784073"/>
                  <a:pt x="2240837" y="1776371"/>
                  <a:pt x="2252386" y="1784073"/>
                </a:cubicBezTo>
                <a:cubicBezTo>
                  <a:pt x="2256236" y="1776371"/>
                  <a:pt x="2256236" y="1784073"/>
                  <a:pt x="2256236" y="1778296"/>
                </a:cubicBezTo>
                <a:cubicBezTo>
                  <a:pt x="2256236" y="1772522"/>
                  <a:pt x="2250462" y="1772522"/>
                  <a:pt x="2246612" y="1772522"/>
                </a:cubicBezTo>
                <a:close/>
                <a:moveTo>
                  <a:pt x="2104178" y="1772522"/>
                </a:moveTo>
                <a:cubicBezTo>
                  <a:pt x="2111877" y="1774446"/>
                  <a:pt x="2106102" y="1776371"/>
                  <a:pt x="2113801" y="1772522"/>
                </a:cubicBezTo>
                <a:lnTo>
                  <a:pt x="2113801" y="1778296"/>
                </a:lnTo>
                <a:lnTo>
                  <a:pt x="2113801" y="1784073"/>
                </a:lnTo>
                <a:lnTo>
                  <a:pt x="2123425" y="1784073"/>
                </a:lnTo>
                <a:cubicBezTo>
                  <a:pt x="2121501" y="1793694"/>
                  <a:pt x="2117651" y="1797544"/>
                  <a:pt x="2133050" y="1799470"/>
                </a:cubicBezTo>
                <a:lnTo>
                  <a:pt x="2129521" y="1804763"/>
                </a:lnTo>
                <a:lnTo>
                  <a:pt x="2127275" y="1801393"/>
                </a:lnTo>
                <a:cubicBezTo>
                  <a:pt x="2115726" y="1801393"/>
                  <a:pt x="2121501" y="1803319"/>
                  <a:pt x="2115726" y="1799470"/>
                </a:cubicBezTo>
                <a:lnTo>
                  <a:pt x="2104178" y="1803319"/>
                </a:lnTo>
                <a:lnTo>
                  <a:pt x="2108027" y="1797544"/>
                </a:lnTo>
                <a:cubicBezTo>
                  <a:pt x="2100328" y="1793694"/>
                  <a:pt x="2098403" y="1793694"/>
                  <a:pt x="2096478" y="1784073"/>
                </a:cubicBezTo>
                <a:lnTo>
                  <a:pt x="2102253" y="1784073"/>
                </a:lnTo>
                <a:lnTo>
                  <a:pt x="2098403" y="1778296"/>
                </a:lnTo>
                <a:lnTo>
                  <a:pt x="2104178" y="1778296"/>
                </a:lnTo>
                <a:close/>
                <a:moveTo>
                  <a:pt x="2127276" y="1772521"/>
                </a:moveTo>
                <a:lnTo>
                  <a:pt x="2127276" y="1782146"/>
                </a:lnTo>
                <a:lnTo>
                  <a:pt x="2121502" y="1778295"/>
                </a:lnTo>
                <a:lnTo>
                  <a:pt x="2123427" y="1776371"/>
                </a:lnTo>
                <a:close/>
                <a:moveTo>
                  <a:pt x="2163845" y="1770593"/>
                </a:moveTo>
                <a:lnTo>
                  <a:pt x="2169621" y="1774442"/>
                </a:lnTo>
                <a:lnTo>
                  <a:pt x="2159996" y="1776367"/>
                </a:lnTo>
                <a:close/>
                <a:moveTo>
                  <a:pt x="2396745" y="1770583"/>
                </a:moveTo>
                <a:cubicBezTo>
                  <a:pt x="2390970" y="1774432"/>
                  <a:pt x="2392895" y="1770583"/>
                  <a:pt x="2390970" y="1778282"/>
                </a:cubicBezTo>
                <a:lnTo>
                  <a:pt x="2396745" y="1778282"/>
                </a:lnTo>
                <a:close/>
                <a:moveTo>
                  <a:pt x="2271634" y="1766746"/>
                </a:moveTo>
                <a:lnTo>
                  <a:pt x="2267784" y="1772522"/>
                </a:lnTo>
                <a:lnTo>
                  <a:pt x="2271634" y="1774446"/>
                </a:lnTo>
                <a:lnTo>
                  <a:pt x="2277408" y="1772522"/>
                </a:lnTo>
                <a:close/>
                <a:moveTo>
                  <a:pt x="6332937" y="1764866"/>
                </a:moveTo>
                <a:cubicBezTo>
                  <a:pt x="6342561" y="1778342"/>
                  <a:pt x="6317538" y="1780267"/>
                  <a:pt x="6313689" y="1786045"/>
                </a:cubicBezTo>
                <a:cubicBezTo>
                  <a:pt x="6223224" y="1838013"/>
                  <a:pt x="6132757" y="1891903"/>
                  <a:pt x="6036518" y="1938097"/>
                </a:cubicBezTo>
                <a:cubicBezTo>
                  <a:pt x="6123133" y="1880357"/>
                  <a:pt x="6219374" y="1828388"/>
                  <a:pt x="6313689" y="1774492"/>
                </a:cubicBezTo>
                <a:cubicBezTo>
                  <a:pt x="6319463" y="1770642"/>
                  <a:pt x="6325237" y="1766792"/>
                  <a:pt x="6332937" y="1764866"/>
                </a:cubicBezTo>
                <a:close/>
                <a:moveTo>
                  <a:pt x="2223514" y="1764581"/>
                </a:moveTo>
                <a:lnTo>
                  <a:pt x="2223514" y="1770594"/>
                </a:lnTo>
                <a:lnTo>
                  <a:pt x="2223512" y="1770594"/>
                </a:lnTo>
                <a:lnTo>
                  <a:pt x="2225439" y="1772522"/>
                </a:lnTo>
                <a:lnTo>
                  <a:pt x="2229289" y="1766746"/>
                </a:lnTo>
                <a:close/>
                <a:moveTo>
                  <a:pt x="2188868" y="1762895"/>
                </a:moveTo>
                <a:lnTo>
                  <a:pt x="2198492" y="1762895"/>
                </a:lnTo>
                <a:lnTo>
                  <a:pt x="2198492" y="1770596"/>
                </a:lnTo>
                <a:close/>
                <a:moveTo>
                  <a:pt x="2106103" y="1759032"/>
                </a:moveTo>
                <a:cubicBezTo>
                  <a:pt x="2104178" y="1772506"/>
                  <a:pt x="2109952" y="1764807"/>
                  <a:pt x="2100328" y="1770582"/>
                </a:cubicBezTo>
                <a:cubicBezTo>
                  <a:pt x="2100328" y="1757108"/>
                  <a:pt x="2096478" y="1764807"/>
                  <a:pt x="2106103" y="1759032"/>
                </a:cubicBezTo>
                <a:close/>
                <a:moveTo>
                  <a:pt x="2183095" y="1757122"/>
                </a:moveTo>
                <a:lnTo>
                  <a:pt x="2192718" y="1757122"/>
                </a:lnTo>
                <a:lnTo>
                  <a:pt x="2188868" y="1762895"/>
                </a:lnTo>
                <a:close/>
                <a:moveTo>
                  <a:pt x="2077231" y="1757108"/>
                </a:moveTo>
                <a:lnTo>
                  <a:pt x="2084930" y="1757108"/>
                </a:lnTo>
                <a:lnTo>
                  <a:pt x="2084930" y="1762882"/>
                </a:lnTo>
                <a:close/>
                <a:moveTo>
                  <a:pt x="3449604" y="1755240"/>
                </a:moveTo>
                <a:cubicBezTo>
                  <a:pt x="3413033" y="1816836"/>
                  <a:pt x="3374538" y="1872654"/>
                  <a:pt x="3330268" y="1922695"/>
                </a:cubicBezTo>
                <a:cubicBezTo>
                  <a:pt x="3330268" y="1924620"/>
                  <a:pt x="3332192" y="1924620"/>
                  <a:pt x="3332192" y="1926545"/>
                </a:cubicBezTo>
                <a:cubicBezTo>
                  <a:pt x="3336042" y="1936169"/>
                  <a:pt x="3322568" y="1949640"/>
                  <a:pt x="3316794" y="1943867"/>
                </a:cubicBezTo>
                <a:cubicBezTo>
                  <a:pt x="3314869" y="1941942"/>
                  <a:pt x="3314869" y="1941942"/>
                  <a:pt x="3312944" y="1940018"/>
                </a:cubicBezTo>
                <a:cubicBezTo>
                  <a:pt x="3280224" y="1976566"/>
                  <a:pt x="3243653" y="2009274"/>
                  <a:pt x="3205157" y="2040058"/>
                </a:cubicBezTo>
                <a:cubicBezTo>
                  <a:pt x="3203231" y="2047763"/>
                  <a:pt x="3203231" y="2055470"/>
                  <a:pt x="3201306" y="2063171"/>
                </a:cubicBezTo>
                <a:cubicBezTo>
                  <a:pt x="3307170" y="1990030"/>
                  <a:pt x="3393785" y="1888052"/>
                  <a:pt x="3449604" y="1755240"/>
                </a:cubicBezTo>
                <a:close/>
                <a:moveTo>
                  <a:pt x="2250462" y="1755197"/>
                </a:moveTo>
                <a:lnTo>
                  <a:pt x="2260085" y="1762897"/>
                </a:lnTo>
                <a:lnTo>
                  <a:pt x="2260085" y="1755197"/>
                </a:lnTo>
                <a:close/>
                <a:moveTo>
                  <a:pt x="2165771" y="1753270"/>
                </a:moveTo>
                <a:lnTo>
                  <a:pt x="2167696" y="1764819"/>
                </a:lnTo>
                <a:cubicBezTo>
                  <a:pt x="2159997" y="1768668"/>
                  <a:pt x="2169621" y="1766745"/>
                  <a:pt x="2161922" y="1766745"/>
                </a:cubicBezTo>
                <a:cubicBezTo>
                  <a:pt x="2156147" y="1766745"/>
                  <a:pt x="2158073" y="1766745"/>
                  <a:pt x="2150372" y="1764819"/>
                </a:cubicBezTo>
                <a:lnTo>
                  <a:pt x="2150372" y="1768668"/>
                </a:lnTo>
                <a:lnTo>
                  <a:pt x="2150374" y="1768668"/>
                </a:lnTo>
                <a:lnTo>
                  <a:pt x="2156148" y="1774442"/>
                </a:lnTo>
                <a:lnTo>
                  <a:pt x="2134974" y="1782142"/>
                </a:lnTo>
                <a:cubicBezTo>
                  <a:pt x="2142192" y="1772037"/>
                  <a:pt x="2141832" y="1777089"/>
                  <a:pt x="2145260" y="1774563"/>
                </a:cubicBezTo>
                <a:lnTo>
                  <a:pt x="2148702" y="1770594"/>
                </a:lnTo>
                <a:lnTo>
                  <a:pt x="2140748" y="1770594"/>
                </a:lnTo>
                <a:cubicBezTo>
                  <a:pt x="2146522" y="1759044"/>
                  <a:pt x="2138824" y="1759044"/>
                  <a:pt x="2156147" y="1757119"/>
                </a:cubicBezTo>
                <a:lnTo>
                  <a:pt x="2152297" y="1760968"/>
                </a:lnTo>
                <a:lnTo>
                  <a:pt x="2161922" y="1760968"/>
                </a:lnTo>
                <a:cubicBezTo>
                  <a:pt x="2159997" y="1753270"/>
                  <a:pt x="2158073" y="1759044"/>
                  <a:pt x="2165771" y="1753270"/>
                </a:cubicBezTo>
                <a:close/>
                <a:moveTo>
                  <a:pt x="2198493" y="1751349"/>
                </a:moveTo>
                <a:lnTo>
                  <a:pt x="2198493" y="1759047"/>
                </a:lnTo>
                <a:lnTo>
                  <a:pt x="2192719" y="1757122"/>
                </a:lnTo>
                <a:close/>
                <a:moveTo>
                  <a:pt x="2121501" y="1751346"/>
                </a:moveTo>
                <a:lnTo>
                  <a:pt x="2136900" y="1751346"/>
                </a:lnTo>
                <a:cubicBezTo>
                  <a:pt x="2133050" y="1757119"/>
                  <a:pt x="2133050" y="1751346"/>
                  <a:pt x="2136900" y="1759044"/>
                </a:cubicBezTo>
                <a:lnTo>
                  <a:pt x="2129200" y="1764819"/>
                </a:lnTo>
                <a:lnTo>
                  <a:pt x="2133050" y="1770594"/>
                </a:lnTo>
                <a:lnTo>
                  <a:pt x="2127275" y="1772520"/>
                </a:lnTo>
                <a:lnTo>
                  <a:pt x="2121501" y="1766745"/>
                </a:lnTo>
                <a:lnTo>
                  <a:pt x="2125351" y="1760969"/>
                </a:lnTo>
                <a:close/>
                <a:moveTo>
                  <a:pt x="2084931" y="1751334"/>
                </a:moveTo>
                <a:lnTo>
                  <a:pt x="2090705" y="1751334"/>
                </a:lnTo>
                <a:lnTo>
                  <a:pt x="2084931" y="1757108"/>
                </a:lnTo>
                <a:close/>
                <a:moveTo>
                  <a:pt x="2096479" y="1749433"/>
                </a:moveTo>
                <a:lnTo>
                  <a:pt x="2108027" y="1751357"/>
                </a:lnTo>
                <a:lnTo>
                  <a:pt x="2108027" y="1755206"/>
                </a:lnTo>
                <a:lnTo>
                  <a:pt x="2096479" y="1757130"/>
                </a:lnTo>
                <a:lnTo>
                  <a:pt x="2094554" y="1753281"/>
                </a:lnTo>
                <a:close/>
                <a:moveTo>
                  <a:pt x="2262010" y="1749425"/>
                </a:moveTo>
                <a:lnTo>
                  <a:pt x="2267784" y="1755197"/>
                </a:lnTo>
                <a:lnTo>
                  <a:pt x="2269709" y="1759047"/>
                </a:lnTo>
                <a:cubicBezTo>
                  <a:pt x="2267784" y="1766746"/>
                  <a:pt x="2265860" y="1760971"/>
                  <a:pt x="2273559" y="1766746"/>
                </a:cubicBezTo>
                <a:cubicBezTo>
                  <a:pt x="2279333" y="1755197"/>
                  <a:pt x="2271634" y="1766746"/>
                  <a:pt x="2277408" y="1755197"/>
                </a:cubicBezTo>
                <a:lnTo>
                  <a:pt x="2267784" y="1755197"/>
                </a:lnTo>
                <a:lnTo>
                  <a:pt x="2267784" y="1749425"/>
                </a:lnTo>
                <a:close/>
                <a:moveTo>
                  <a:pt x="2059907" y="1745582"/>
                </a:moveTo>
                <a:lnTo>
                  <a:pt x="2063757" y="1749431"/>
                </a:lnTo>
                <a:lnTo>
                  <a:pt x="2057983" y="1755205"/>
                </a:lnTo>
                <a:cubicBezTo>
                  <a:pt x="2061832" y="1760978"/>
                  <a:pt x="2061832" y="1755205"/>
                  <a:pt x="2057983" y="1762903"/>
                </a:cubicBezTo>
                <a:cubicBezTo>
                  <a:pt x="2046433" y="1755205"/>
                  <a:pt x="2057983" y="1762903"/>
                  <a:pt x="2052208" y="1751356"/>
                </a:cubicBezTo>
                <a:close/>
                <a:moveTo>
                  <a:pt x="2210041" y="1741729"/>
                </a:moveTo>
                <a:lnTo>
                  <a:pt x="2204266" y="1747502"/>
                </a:lnTo>
                <a:lnTo>
                  <a:pt x="2210041" y="1751352"/>
                </a:lnTo>
                <a:close/>
                <a:moveTo>
                  <a:pt x="2229186" y="1739949"/>
                </a:moveTo>
                <a:lnTo>
                  <a:pt x="2220407" y="1752238"/>
                </a:lnTo>
                <a:lnTo>
                  <a:pt x="2223514" y="1753274"/>
                </a:lnTo>
                <a:lnTo>
                  <a:pt x="2233138" y="1741726"/>
                </a:lnTo>
                <a:close/>
                <a:moveTo>
                  <a:pt x="2228326" y="1739559"/>
                </a:moveTo>
                <a:lnTo>
                  <a:pt x="2227788" y="1739801"/>
                </a:lnTo>
                <a:lnTo>
                  <a:pt x="2228865" y="1739801"/>
                </a:lnTo>
                <a:close/>
                <a:moveTo>
                  <a:pt x="2221271" y="1737236"/>
                </a:moveTo>
                <a:lnTo>
                  <a:pt x="2219667" y="1737876"/>
                </a:lnTo>
                <a:lnTo>
                  <a:pt x="2219667" y="1739801"/>
                </a:lnTo>
                <a:lnTo>
                  <a:pt x="2222554" y="1739801"/>
                </a:lnTo>
                <a:close/>
                <a:moveTo>
                  <a:pt x="2252386" y="1735952"/>
                </a:moveTo>
                <a:cubicBezTo>
                  <a:pt x="2246612" y="1735952"/>
                  <a:pt x="2248537" y="1735952"/>
                  <a:pt x="2240837" y="1737875"/>
                </a:cubicBezTo>
                <a:lnTo>
                  <a:pt x="2252386" y="1745577"/>
                </a:lnTo>
                <a:lnTo>
                  <a:pt x="2258161" y="1737875"/>
                </a:lnTo>
                <a:cubicBezTo>
                  <a:pt x="2258161" y="1737875"/>
                  <a:pt x="2254311" y="1735952"/>
                  <a:pt x="2252386" y="1735952"/>
                </a:cubicBezTo>
                <a:close/>
                <a:moveTo>
                  <a:pt x="2175395" y="1732099"/>
                </a:moveTo>
                <a:lnTo>
                  <a:pt x="2185019" y="1739801"/>
                </a:lnTo>
                <a:lnTo>
                  <a:pt x="2177320" y="1743651"/>
                </a:lnTo>
                <a:close/>
                <a:moveTo>
                  <a:pt x="2354399" y="1732087"/>
                </a:moveTo>
                <a:lnTo>
                  <a:pt x="2354399" y="1737861"/>
                </a:lnTo>
                <a:lnTo>
                  <a:pt x="2360174" y="1732087"/>
                </a:lnTo>
                <a:close/>
                <a:moveTo>
                  <a:pt x="2150372" y="1730174"/>
                </a:moveTo>
                <a:lnTo>
                  <a:pt x="2159996" y="1732098"/>
                </a:lnTo>
                <a:lnTo>
                  <a:pt x="2156146" y="1737875"/>
                </a:lnTo>
                <a:lnTo>
                  <a:pt x="2150372" y="1735949"/>
                </a:lnTo>
                <a:close/>
                <a:moveTo>
                  <a:pt x="2134975" y="1730174"/>
                </a:moveTo>
                <a:lnTo>
                  <a:pt x="2140749" y="1730174"/>
                </a:lnTo>
                <a:lnTo>
                  <a:pt x="2140749" y="1735949"/>
                </a:lnTo>
                <a:lnTo>
                  <a:pt x="2150372" y="1735949"/>
                </a:lnTo>
                <a:lnTo>
                  <a:pt x="2146522" y="1739797"/>
                </a:lnTo>
                <a:lnTo>
                  <a:pt x="2140749" y="1739797"/>
                </a:lnTo>
                <a:lnTo>
                  <a:pt x="2138824" y="1747497"/>
                </a:lnTo>
                <a:cubicBezTo>
                  <a:pt x="2133050" y="1743647"/>
                  <a:pt x="2136898" y="1743647"/>
                  <a:pt x="2127274" y="1741722"/>
                </a:cubicBezTo>
                <a:lnTo>
                  <a:pt x="2125351" y="1747497"/>
                </a:lnTo>
                <a:lnTo>
                  <a:pt x="2123425" y="1739797"/>
                </a:lnTo>
                <a:lnTo>
                  <a:pt x="2131124" y="1737872"/>
                </a:lnTo>
                <a:lnTo>
                  <a:pt x="2140748" y="1739797"/>
                </a:lnTo>
                <a:lnTo>
                  <a:pt x="2140748" y="1735949"/>
                </a:lnTo>
                <a:close/>
                <a:moveTo>
                  <a:pt x="2077230" y="1730161"/>
                </a:moveTo>
                <a:lnTo>
                  <a:pt x="2088780" y="1734010"/>
                </a:lnTo>
                <a:lnTo>
                  <a:pt x="2083004" y="1737860"/>
                </a:lnTo>
                <a:close/>
                <a:moveTo>
                  <a:pt x="2364023" y="1726313"/>
                </a:moveTo>
                <a:lnTo>
                  <a:pt x="2369799" y="1732087"/>
                </a:lnTo>
                <a:lnTo>
                  <a:pt x="2369799" y="1726313"/>
                </a:lnTo>
                <a:close/>
                <a:moveTo>
                  <a:pt x="2279333" y="1724403"/>
                </a:moveTo>
                <a:lnTo>
                  <a:pt x="2265860" y="1726329"/>
                </a:lnTo>
                <a:lnTo>
                  <a:pt x="2269709" y="1732102"/>
                </a:lnTo>
                <a:lnTo>
                  <a:pt x="2279333" y="1730176"/>
                </a:lnTo>
                <a:close/>
                <a:moveTo>
                  <a:pt x="2298581" y="1720554"/>
                </a:moveTo>
                <a:cubicBezTo>
                  <a:pt x="2302431" y="1730176"/>
                  <a:pt x="2300506" y="1728252"/>
                  <a:pt x="2308205" y="1732102"/>
                </a:cubicBezTo>
                <a:lnTo>
                  <a:pt x="2312056" y="1730176"/>
                </a:lnTo>
                <a:cubicBezTo>
                  <a:pt x="2308205" y="1722479"/>
                  <a:pt x="2310130" y="1724403"/>
                  <a:pt x="2298581" y="1720554"/>
                </a:cubicBezTo>
                <a:close/>
                <a:moveTo>
                  <a:pt x="2190794" y="1718628"/>
                </a:moveTo>
                <a:lnTo>
                  <a:pt x="2196568" y="1724402"/>
                </a:lnTo>
                <a:lnTo>
                  <a:pt x="2188870" y="1728252"/>
                </a:lnTo>
                <a:close/>
                <a:moveTo>
                  <a:pt x="2123426" y="1718626"/>
                </a:moveTo>
                <a:lnTo>
                  <a:pt x="2131125" y="1724399"/>
                </a:lnTo>
                <a:lnTo>
                  <a:pt x="2123426" y="1728250"/>
                </a:lnTo>
                <a:close/>
                <a:moveTo>
                  <a:pt x="2117651" y="1716709"/>
                </a:moveTo>
                <a:lnTo>
                  <a:pt x="2117651" y="1724407"/>
                </a:lnTo>
                <a:cubicBezTo>
                  <a:pt x="2111876" y="1718634"/>
                  <a:pt x="2111876" y="1728258"/>
                  <a:pt x="2106102" y="1718634"/>
                </a:cubicBezTo>
                <a:close/>
                <a:moveTo>
                  <a:pt x="2142673" y="1716701"/>
                </a:moveTo>
                <a:lnTo>
                  <a:pt x="2138824" y="1728251"/>
                </a:lnTo>
                <a:cubicBezTo>
                  <a:pt x="2133050" y="1722476"/>
                  <a:pt x="2134974" y="1726325"/>
                  <a:pt x="2133050" y="1718627"/>
                </a:cubicBezTo>
                <a:close/>
                <a:moveTo>
                  <a:pt x="2165771" y="1709004"/>
                </a:moveTo>
                <a:lnTo>
                  <a:pt x="2175397" y="1710929"/>
                </a:lnTo>
                <a:lnTo>
                  <a:pt x="2171546" y="1714779"/>
                </a:lnTo>
                <a:lnTo>
                  <a:pt x="2171545" y="1714779"/>
                </a:lnTo>
                <a:cubicBezTo>
                  <a:pt x="2169621" y="1714779"/>
                  <a:pt x="2169621" y="1714779"/>
                  <a:pt x="2165771" y="1716704"/>
                </a:cubicBezTo>
                <a:cubicBezTo>
                  <a:pt x="2167696" y="1724402"/>
                  <a:pt x="2169621" y="1718630"/>
                  <a:pt x="2161921" y="1724402"/>
                </a:cubicBezTo>
                <a:cubicBezTo>
                  <a:pt x="2156147" y="1712854"/>
                  <a:pt x="2163847" y="1724402"/>
                  <a:pt x="2158073" y="1712854"/>
                </a:cubicBezTo>
                <a:lnTo>
                  <a:pt x="2167696" y="1712854"/>
                </a:lnTo>
                <a:close/>
                <a:moveTo>
                  <a:pt x="2069531" y="1707085"/>
                </a:moveTo>
                <a:lnTo>
                  <a:pt x="2069531" y="1712862"/>
                </a:lnTo>
                <a:lnTo>
                  <a:pt x="2059907" y="1712862"/>
                </a:lnTo>
                <a:cubicBezTo>
                  <a:pt x="2065681" y="1707085"/>
                  <a:pt x="2059907" y="1710936"/>
                  <a:pt x="2069531" y="1707085"/>
                </a:cubicBezTo>
                <a:close/>
                <a:moveTo>
                  <a:pt x="2383271" y="1701291"/>
                </a:moveTo>
                <a:lnTo>
                  <a:pt x="2381347" y="1705140"/>
                </a:lnTo>
                <a:cubicBezTo>
                  <a:pt x="2387121" y="1716690"/>
                  <a:pt x="2381347" y="1712840"/>
                  <a:pt x="2390970" y="1716690"/>
                </a:cubicBezTo>
                <a:lnTo>
                  <a:pt x="2387121" y="1708991"/>
                </a:lnTo>
                <a:cubicBezTo>
                  <a:pt x="2390970" y="1701291"/>
                  <a:pt x="2390970" y="1705140"/>
                  <a:pt x="2383271" y="1701291"/>
                </a:cubicBezTo>
                <a:close/>
                <a:moveTo>
                  <a:pt x="2009864" y="1699364"/>
                </a:moveTo>
                <a:lnTo>
                  <a:pt x="2009864" y="1705138"/>
                </a:lnTo>
                <a:lnTo>
                  <a:pt x="2004090" y="1705138"/>
                </a:lnTo>
                <a:close/>
                <a:moveTo>
                  <a:pt x="2115726" y="1697459"/>
                </a:moveTo>
                <a:lnTo>
                  <a:pt x="2106102" y="1707083"/>
                </a:lnTo>
                <a:lnTo>
                  <a:pt x="2102253" y="1701309"/>
                </a:lnTo>
                <a:close/>
                <a:moveTo>
                  <a:pt x="2206191" y="1697457"/>
                </a:moveTo>
                <a:lnTo>
                  <a:pt x="2211965" y="1697457"/>
                </a:lnTo>
                <a:lnTo>
                  <a:pt x="2217741" y="1703231"/>
                </a:lnTo>
                <a:lnTo>
                  <a:pt x="2229290" y="1701307"/>
                </a:lnTo>
                <a:cubicBezTo>
                  <a:pt x="2221590" y="1710932"/>
                  <a:pt x="2225441" y="1705156"/>
                  <a:pt x="2213891" y="1710932"/>
                </a:cubicBezTo>
                <a:lnTo>
                  <a:pt x="2208116" y="1703231"/>
                </a:lnTo>
                <a:lnTo>
                  <a:pt x="2204266" y="1714782"/>
                </a:lnTo>
                <a:lnTo>
                  <a:pt x="2198492" y="1714782"/>
                </a:lnTo>
                <a:lnTo>
                  <a:pt x="2192718" y="1710932"/>
                </a:lnTo>
                <a:lnTo>
                  <a:pt x="2183094" y="1714782"/>
                </a:lnTo>
                <a:cubicBezTo>
                  <a:pt x="2185018" y="1718633"/>
                  <a:pt x="2186943" y="1722481"/>
                  <a:pt x="2177319" y="1722481"/>
                </a:cubicBezTo>
                <a:cubicBezTo>
                  <a:pt x="2173470" y="1722481"/>
                  <a:pt x="2173470" y="1718633"/>
                  <a:pt x="2171545" y="1716706"/>
                </a:cubicBezTo>
                <a:lnTo>
                  <a:pt x="2181169" y="1716706"/>
                </a:lnTo>
                <a:lnTo>
                  <a:pt x="2177319" y="1709007"/>
                </a:lnTo>
                <a:lnTo>
                  <a:pt x="2183094" y="1705156"/>
                </a:lnTo>
                <a:lnTo>
                  <a:pt x="2194642" y="1709007"/>
                </a:lnTo>
                <a:lnTo>
                  <a:pt x="2204267" y="1699382"/>
                </a:lnTo>
                <a:close/>
                <a:moveTo>
                  <a:pt x="2067606" y="1693612"/>
                </a:moveTo>
                <a:lnTo>
                  <a:pt x="2073381" y="1699388"/>
                </a:lnTo>
                <a:lnTo>
                  <a:pt x="2067606" y="1703237"/>
                </a:lnTo>
                <a:lnTo>
                  <a:pt x="2063757" y="1699388"/>
                </a:lnTo>
                <a:close/>
                <a:moveTo>
                  <a:pt x="2200418" y="1693606"/>
                </a:moveTo>
                <a:lnTo>
                  <a:pt x="2204267" y="1699382"/>
                </a:lnTo>
                <a:lnTo>
                  <a:pt x="2196568" y="1699382"/>
                </a:lnTo>
                <a:close/>
                <a:moveTo>
                  <a:pt x="2217741" y="1693595"/>
                </a:moveTo>
                <a:lnTo>
                  <a:pt x="2223515" y="1699369"/>
                </a:lnTo>
                <a:lnTo>
                  <a:pt x="2215816" y="1699369"/>
                </a:lnTo>
                <a:close/>
                <a:moveTo>
                  <a:pt x="2240838" y="1691681"/>
                </a:moveTo>
                <a:lnTo>
                  <a:pt x="2233138" y="1701306"/>
                </a:lnTo>
                <a:lnTo>
                  <a:pt x="2229289" y="1695530"/>
                </a:lnTo>
                <a:close/>
                <a:moveTo>
                  <a:pt x="2229289" y="1685905"/>
                </a:moveTo>
                <a:lnTo>
                  <a:pt x="2229289" y="1695530"/>
                </a:lnTo>
                <a:lnTo>
                  <a:pt x="2229289" y="1695531"/>
                </a:lnTo>
                <a:lnTo>
                  <a:pt x="2219665" y="1687831"/>
                </a:lnTo>
                <a:close/>
                <a:moveTo>
                  <a:pt x="2171545" y="1685896"/>
                </a:moveTo>
                <a:lnTo>
                  <a:pt x="2181169" y="1687821"/>
                </a:lnTo>
                <a:lnTo>
                  <a:pt x="2171545" y="1695520"/>
                </a:lnTo>
                <a:close/>
                <a:moveTo>
                  <a:pt x="2365948" y="1685892"/>
                </a:moveTo>
                <a:lnTo>
                  <a:pt x="2365948" y="1691666"/>
                </a:lnTo>
                <a:lnTo>
                  <a:pt x="2371722" y="1691666"/>
                </a:lnTo>
                <a:close/>
                <a:moveTo>
                  <a:pt x="3580490" y="1684022"/>
                </a:moveTo>
                <a:cubicBezTo>
                  <a:pt x="3520821" y="1951565"/>
                  <a:pt x="3334117" y="2070876"/>
                  <a:pt x="3185908" y="2169084"/>
                </a:cubicBezTo>
                <a:cubicBezTo>
                  <a:pt x="3185908" y="2169084"/>
                  <a:pt x="3185908" y="2171011"/>
                  <a:pt x="3185908" y="2171011"/>
                </a:cubicBezTo>
                <a:cubicBezTo>
                  <a:pt x="3362988" y="2086287"/>
                  <a:pt x="3540069" y="1951565"/>
                  <a:pt x="3580490" y="1684022"/>
                </a:cubicBezTo>
                <a:close/>
                <a:moveTo>
                  <a:pt x="3561242" y="1680174"/>
                </a:moveTo>
                <a:cubicBezTo>
                  <a:pt x="3536219" y="1691723"/>
                  <a:pt x="3540069" y="1712899"/>
                  <a:pt x="3528520" y="1745620"/>
                </a:cubicBezTo>
                <a:cubicBezTo>
                  <a:pt x="3459228" y="1943867"/>
                  <a:pt x="3324494" y="2032364"/>
                  <a:pt x="3191683" y="2132505"/>
                </a:cubicBezTo>
                <a:cubicBezTo>
                  <a:pt x="3191683" y="2136351"/>
                  <a:pt x="3189758" y="2142131"/>
                  <a:pt x="3191683" y="2149832"/>
                </a:cubicBezTo>
                <a:cubicBezTo>
                  <a:pt x="3336042" y="2065101"/>
                  <a:pt x="3482326" y="1943867"/>
                  <a:pt x="3528520" y="1766789"/>
                </a:cubicBezTo>
                <a:cubicBezTo>
                  <a:pt x="3541994" y="1770640"/>
                  <a:pt x="3557392" y="1699424"/>
                  <a:pt x="3561242" y="1680174"/>
                </a:cubicBezTo>
                <a:close/>
                <a:moveTo>
                  <a:pt x="2250462" y="1680124"/>
                </a:moveTo>
                <a:lnTo>
                  <a:pt x="2260086" y="1687824"/>
                </a:lnTo>
                <a:lnTo>
                  <a:pt x="2250462" y="1687824"/>
                </a:lnTo>
                <a:cubicBezTo>
                  <a:pt x="2252386" y="1695523"/>
                  <a:pt x="2256236" y="1691674"/>
                  <a:pt x="2246612" y="1693598"/>
                </a:cubicBezTo>
                <a:lnTo>
                  <a:pt x="2244688" y="1685898"/>
                </a:lnTo>
                <a:close/>
                <a:moveTo>
                  <a:pt x="2242763" y="1678200"/>
                </a:moveTo>
                <a:lnTo>
                  <a:pt x="2242763" y="1683974"/>
                </a:lnTo>
                <a:lnTo>
                  <a:pt x="2236989" y="1683974"/>
                </a:lnTo>
                <a:close/>
                <a:moveTo>
                  <a:pt x="2094554" y="1678191"/>
                </a:moveTo>
                <a:lnTo>
                  <a:pt x="2090704" y="1689741"/>
                </a:lnTo>
                <a:lnTo>
                  <a:pt x="2081080" y="1682041"/>
                </a:lnTo>
                <a:close/>
                <a:moveTo>
                  <a:pt x="2365948" y="1676268"/>
                </a:moveTo>
                <a:lnTo>
                  <a:pt x="2369799" y="1682042"/>
                </a:lnTo>
                <a:lnTo>
                  <a:pt x="2375573" y="1676268"/>
                </a:lnTo>
                <a:close/>
                <a:moveTo>
                  <a:pt x="2188868" y="1672422"/>
                </a:moveTo>
                <a:cubicBezTo>
                  <a:pt x="2186943" y="1678196"/>
                  <a:pt x="2194644" y="1685896"/>
                  <a:pt x="2185018" y="1691671"/>
                </a:cubicBezTo>
                <a:lnTo>
                  <a:pt x="2183093" y="1687821"/>
                </a:lnTo>
                <a:lnTo>
                  <a:pt x="2186943" y="1678196"/>
                </a:lnTo>
                <a:cubicBezTo>
                  <a:pt x="2177319" y="1682047"/>
                  <a:pt x="2183093" y="1683971"/>
                  <a:pt x="2177319" y="1676271"/>
                </a:cubicBezTo>
                <a:close/>
                <a:moveTo>
                  <a:pt x="2181168" y="1662798"/>
                </a:moveTo>
                <a:lnTo>
                  <a:pt x="2186943" y="1664723"/>
                </a:lnTo>
                <a:lnTo>
                  <a:pt x="2177319" y="1674347"/>
                </a:lnTo>
                <a:close/>
                <a:moveTo>
                  <a:pt x="2240837" y="1660885"/>
                </a:moveTo>
                <a:lnTo>
                  <a:pt x="2251562" y="1671608"/>
                </a:lnTo>
                <a:lnTo>
                  <a:pt x="2265860" y="1660885"/>
                </a:lnTo>
                <a:lnTo>
                  <a:pt x="2269711" y="1664734"/>
                </a:lnTo>
                <a:cubicBezTo>
                  <a:pt x="2269711" y="1666177"/>
                  <a:pt x="2259965" y="1677365"/>
                  <a:pt x="2254281" y="1677184"/>
                </a:cubicBezTo>
                <a:lnTo>
                  <a:pt x="2251013" y="1673119"/>
                </a:lnTo>
                <a:lnTo>
                  <a:pt x="2248537" y="1674357"/>
                </a:lnTo>
                <a:lnTo>
                  <a:pt x="2236988" y="1672433"/>
                </a:lnTo>
                <a:cubicBezTo>
                  <a:pt x="2242762" y="1662809"/>
                  <a:pt x="2235063" y="1674357"/>
                  <a:pt x="2240837" y="1660885"/>
                </a:cubicBezTo>
                <a:close/>
                <a:moveTo>
                  <a:pt x="2211965" y="1660875"/>
                </a:moveTo>
                <a:lnTo>
                  <a:pt x="2217740" y="1666649"/>
                </a:lnTo>
                <a:lnTo>
                  <a:pt x="2208116" y="1668574"/>
                </a:lnTo>
                <a:close/>
                <a:moveTo>
                  <a:pt x="2391612" y="1656378"/>
                </a:moveTo>
                <a:lnTo>
                  <a:pt x="2392895" y="1657021"/>
                </a:lnTo>
                <a:lnTo>
                  <a:pt x="2390970" y="1657021"/>
                </a:lnTo>
                <a:close/>
                <a:moveTo>
                  <a:pt x="2127276" y="1655106"/>
                </a:moveTo>
                <a:lnTo>
                  <a:pt x="2127276" y="1658957"/>
                </a:lnTo>
                <a:lnTo>
                  <a:pt x="2121502" y="1658957"/>
                </a:lnTo>
                <a:close/>
                <a:moveTo>
                  <a:pt x="4829678" y="1653226"/>
                </a:moveTo>
                <a:cubicBezTo>
                  <a:pt x="4825828" y="1657078"/>
                  <a:pt x="4820054" y="1659005"/>
                  <a:pt x="4818129" y="1662852"/>
                </a:cubicBezTo>
                <a:cubicBezTo>
                  <a:pt x="4818129" y="1664777"/>
                  <a:pt x="4816204" y="1666703"/>
                  <a:pt x="4816204" y="1668628"/>
                </a:cubicBezTo>
                <a:cubicBezTo>
                  <a:pt x="4821979" y="1662852"/>
                  <a:pt x="4825828" y="1659005"/>
                  <a:pt x="4829678" y="1653226"/>
                </a:cubicBezTo>
                <a:close/>
                <a:moveTo>
                  <a:pt x="2117652" y="1651263"/>
                </a:moveTo>
                <a:lnTo>
                  <a:pt x="2117652" y="1657037"/>
                </a:lnTo>
                <a:lnTo>
                  <a:pt x="2111878" y="1657037"/>
                </a:lnTo>
                <a:close/>
                <a:moveTo>
                  <a:pt x="2302431" y="1651260"/>
                </a:moveTo>
                <a:cubicBezTo>
                  <a:pt x="2315905" y="1651260"/>
                  <a:pt x="2310130" y="1653185"/>
                  <a:pt x="2319755" y="1658960"/>
                </a:cubicBezTo>
                <a:lnTo>
                  <a:pt x="2315905" y="1664734"/>
                </a:lnTo>
                <a:lnTo>
                  <a:pt x="2319755" y="1666659"/>
                </a:lnTo>
                <a:cubicBezTo>
                  <a:pt x="2317830" y="1668583"/>
                  <a:pt x="2317830" y="1672433"/>
                  <a:pt x="2317830" y="1674356"/>
                </a:cubicBezTo>
                <a:lnTo>
                  <a:pt x="2310130" y="1672433"/>
                </a:lnTo>
                <a:lnTo>
                  <a:pt x="2313981" y="1683980"/>
                </a:lnTo>
                <a:lnTo>
                  <a:pt x="2317830" y="1682055"/>
                </a:lnTo>
                <a:cubicBezTo>
                  <a:pt x="2315905" y="1685905"/>
                  <a:pt x="2315905" y="1687831"/>
                  <a:pt x="2315905" y="1691680"/>
                </a:cubicBezTo>
                <a:lnTo>
                  <a:pt x="2306280" y="1691680"/>
                </a:lnTo>
                <a:lnTo>
                  <a:pt x="2310130" y="1685905"/>
                </a:lnTo>
                <a:lnTo>
                  <a:pt x="2298581" y="1683980"/>
                </a:lnTo>
                <a:lnTo>
                  <a:pt x="2296656" y="1685905"/>
                </a:lnTo>
                <a:lnTo>
                  <a:pt x="2298581" y="1691680"/>
                </a:lnTo>
                <a:lnTo>
                  <a:pt x="2298581" y="1697455"/>
                </a:lnTo>
                <a:lnTo>
                  <a:pt x="2292807" y="1701305"/>
                </a:lnTo>
                <a:lnTo>
                  <a:pt x="2300506" y="1709005"/>
                </a:lnTo>
                <a:lnTo>
                  <a:pt x="2304355" y="1705155"/>
                </a:lnTo>
                <a:lnTo>
                  <a:pt x="2298581" y="1697455"/>
                </a:lnTo>
                <a:lnTo>
                  <a:pt x="2302431" y="1695530"/>
                </a:lnTo>
                <a:lnTo>
                  <a:pt x="2317830" y="1701305"/>
                </a:lnTo>
                <a:cubicBezTo>
                  <a:pt x="2317830" y="1705155"/>
                  <a:pt x="2317830" y="1710929"/>
                  <a:pt x="2317830" y="1714781"/>
                </a:cubicBezTo>
                <a:lnTo>
                  <a:pt x="2315905" y="1714781"/>
                </a:lnTo>
                <a:cubicBezTo>
                  <a:pt x="2315905" y="1714781"/>
                  <a:pt x="2317830" y="1716706"/>
                  <a:pt x="2317830" y="1716706"/>
                </a:cubicBezTo>
                <a:cubicBezTo>
                  <a:pt x="2315905" y="1726329"/>
                  <a:pt x="2315905" y="1734027"/>
                  <a:pt x="2315905" y="1741726"/>
                </a:cubicBezTo>
                <a:cubicBezTo>
                  <a:pt x="2315905" y="1743651"/>
                  <a:pt x="2315905" y="1743651"/>
                  <a:pt x="2315905" y="1743651"/>
                </a:cubicBezTo>
                <a:cubicBezTo>
                  <a:pt x="2315905" y="1745577"/>
                  <a:pt x="2315905" y="1749425"/>
                  <a:pt x="2315905" y="1753274"/>
                </a:cubicBezTo>
                <a:cubicBezTo>
                  <a:pt x="2315905" y="1753274"/>
                  <a:pt x="2315905" y="1755197"/>
                  <a:pt x="2315905" y="1755197"/>
                </a:cubicBezTo>
                <a:cubicBezTo>
                  <a:pt x="2315905" y="1868762"/>
                  <a:pt x="2344778" y="1974616"/>
                  <a:pt x="2383273" y="2068928"/>
                </a:cubicBezTo>
                <a:lnTo>
                  <a:pt x="2375575" y="2067003"/>
                </a:lnTo>
                <a:cubicBezTo>
                  <a:pt x="2377498" y="2074702"/>
                  <a:pt x="2375575" y="2070853"/>
                  <a:pt x="2381349" y="2078554"/>
                </a:cubicBezTo>
                <a:lnTo>
                  <a:pt x="2385198" y="2074702"/>
                </a:lnTo>
                <a:lnTo>
                  <a:pt x="2388803" y="2082516"/>
                </a:lnTo>
                <a:lnTo>
                  <a:pt x="2385198" y="2080477"/>
                </a:lnTo>
                <a:lnTo>
                  <a:pt x="2385198" y="2084328"/>
                </a:lnTo>
                <a:lnTo>
                  <a:pt x="2379423" y="2080477"/>
                </a:lnTo>
                <a:lnTo>
                  <a:pt x="2376624" y="2084678"/>
                </a:lnTo>
                <a:lnTo>
                  <a:pt x="2375575" y="2084328"/>
                </a:lnTo>
                <a:lnTo>
                  <a:pt x="2375253" y="2085932"/>
                </a:lnTo>
                <a:lnTo>
                  <a:pt x="2371724" y="2082402"/>
                </a:lnTo>
                <a:lnTo>
                  <a:pt x="2365950" y="2086253"/>
                </a:lnTo>
                <a:cubicBezTo>
                  <a:pt x="2364987" y="2085291"/>
                  <a:pt x="2366431" y="2084808"/>
                  <a:pt x="2366671" y="2084569"/>
                </a:cubicBezTo>
                <a:lnTo>
                  <a:pt x="2361183" y="2084365"/>
                </a:lnTo>
                <a:lnTo>
                  <a:pt x="2363483" y="2082885"/>
                </a:lnTo>
                <a:cubicBezTo>
                  <a:pt x="2365829" y="2081441"/>
                  <a:pt x="2361137" y="2084328"/>
                  <a:pt x="2364025" y="2078554"/>
                </a:cubicBezTo>
                <a:lnTo>
                  <a:pt x="2354401" y="2074702"/>
                </a:lnTo>
                <a:lnTo>
                  <a:pt x="2357608" y="2084328"/>
                </a:lnTo>
                <a:lnTo>
                  <a:pt x="2354401" y="2084328"/>
                </a:lnTo>
                <a:lnTo>
                  <a:pt x="2348627" y="2086253"/>
                </a:lnTo>
                <a:lnTo>
                  <a:pt x="2339004" y="2084328"/>
                </a:lnTo>
                <a:lnTo>
                  <a:pt x="2335153" y="2082402"/>
                </a:lnTo>
                <a:cubicBezTo>
                  <a:pt x="2339004" y="2074702"/>
                  <a:pt x="2340927" y="2078554"/>
                  <a:pt x="2333228" y="2074702"/>
                </a:cubicBezTo>
                <a:lnTo>
                  <a:pt x="2329379" y="2076629"/>
                </a:lnTo>
                <a:lnTo>
                  <a:pt x="2331304" y="2084328"/>
                </a:lnTo>
                <a:lnTo>
                  <a:pt x="2337078" y="2084328"/>
                </a:lnTo>
                <a:lnTo>
                  <a:pt x="2327454" y="2088178"/>
                </a:lnTo>
                <a:lnTo>
                  <a:pt x="2337078" y="2095879"/>
                </a:lnTo>
                <a:lnTo>
                  <a:pt x="2333228" y="2101655"/>
                </a:lnTo>
                <a:lnTo>
                  <a:pt x="2327454" y="2097804"/>
                </a:lnTo>
                <a:cubicBezTo>
                  <a:pt x="2325529" y="2099729"/>
                  <a:pt x="2323604" y="2099729"/>
                  <a:pt x="2323604" y="2099729"/>
                </a:cubicBezTo>
                <a:cubicBezTo>
                  <a:pt x="2323604" y="2099729"/>
                  <a:pt x="2323604" y="2097804"/>
                  <a:pt x="2321680" y="2097804"/>
                </a:cubicBezTo>
                <a:cubicBezTo>
                  <a:pt x="2315905" y="2088178"/>
                  <a:pt x="2327454" y="2097804"/>
                  <a:pt x="2315905" y="2090103"/>
                </a:cubicBezTo>
                <a:cubicBezTo>
                  <a:pt x="2312056" y="2095879"/>
                  <a:pt x="2312056" y="2090103"/>
                  <a:pt x="2315905" y="2097804"/>
                </a:cubicBezTo>
                <a:lnTo>
                  <a:pt x="2304355" y="2099729"/>
                </a:lnTo>
                <a:lnTo>
                  <a:pt x="2298581" y="2093954"/>
                </a:lnTo>
                <a:lnTo>
                  <a:pt x="2292807" y="2093954"/>
                </a:lnTo>
                <a:lnTo>
                  <a:pt x="2288958" y="2082402"/>
                </a:lnTo>
                <a:lnTo>
                  <a:pt x="2281258" y="2084328"/>
                </a:lnTo>
                <a:lnTo>
                  <a:pt x="2277408" y="2092029"/>
                </a:lnTo>
                <a:lnTo>
                  <a:pt x="2283183" y="2092029"/>
                </a:lnTo>
                <a:lnTo>
                  <a:pt x="2283183" y="2086253"/>
                </a:lnTo>
                <a:lnTo>
                  <a:pt x="2290882" y="2092029"/>
                </a:lnTo>
                <a:lnTo>
                  <a:pt x="2279333" y="2097804"/>
                </a:lnTo>
                <a:lnTo>
                  <a:pt x="2283183" y="2103580"/>
                </a:lnTo>
                <a:lnTo>
                  <a:pt x="2271634" y="2109356"/>
                </a:lnTo>
                <a:lnTo>
                  <a:pt x="2268747" y="2107911"/>
                </a:lnTo>
                <a:lnTo>
                  <a:pt x="2269709" y="2107431"/>
                </a:lnTo>
                <a:cubicBezTo>
                  <a:pt x="2269709" y="2107431"/>
                  <a:pt x="2267784" y="2105505"/>
                  <a:pt x="2273559" y="2101655"/>
                </a:cubicBezTo>
                <a:lnTo>
                  <a:pt x="2263935" y="2101655"/>
                </a:lnTo>
                <a:lnTo>
                  <a:pt x="2265565" y="2108169"/>
                </a:lnTo>
                <a:lnTo>
                  <a:pt x="2262010" y="2109356"/>
                </a:lnTo>
                <a:lnTo>
                  <a:pt x="2256236" y="2103580"/>
                </a:lnTo>
                <a:lnTo>
                  <a:pt x="2262010" y="2097804"/>
                </a:lnTo>
                <a:cubicBezTo>
                  <a:pt x="2258161" y="2088178"/>
                  <a:pt x="2265860" y="2099729"/>
                  <a:pt x="2260085" y="2088178"/>
                </a:cubicBezTo>
                <a:lnTo>
                  <a:pt x="2250462" y="2092029"/>
                </a:lnTo>
                <a:lnTo>
                  <a:pt x="2248537" y="2086253"/>
                </a:lnTo>
                <a:lnTo>
                  <a:pt x="2258161" y="2082402"/>
                </a:lnTo>
                <a:cubicBezTo>
                  <a:pt x="2267784" y="2090103"/>
                  <a:pt x="2262010" y="2080477"/>
                  <a:pt x="2263935" y="2093954"/>
                </a:cubicBezTo>
                <a:cubicBezTo>
                  <a:pt x="2271634" y="2088178"/>
                  <a:pt x="2269709" y="2093954"/>
                  <a:pt x="2267784" y="2086253"/>
                </a:cubicBezTo>
                <a:lnTo>
                  <a:pt x="2269709" y="2078554"/>
                </a:lnTo>
                <a:cubicBezTo>
                  <a:pt x="2279333" y="2082402"/>
                  <a:pt x="2279333" y="2080477"/>
                  <a:pt x="2279333" y="2068928"/>
                </a:cubicBezTo>
                <a:lnTo>
                  <a:pt x="2273559" y="2074702"/>
                </a:lnTo>
                <a:lnTo>
                  <a:pt x="2267784" y="2070853"/>
                </a:lnTo>
                <a:lnTo>
                  <a:pt x="2267784" y="2076629"/>
                </a:lnTo>
                <a:lnTo>
                  <a:pt x="2258161" y="2076629"/>
                </a:lnTo>
                <a:lnTo>
                  <a:pt x="2258161" y="2082402"/>
                </a:lnTo>
                <a:lnTo>
                  <a:pt x="2252386" y="2080477"/>
                </a:lnTo>
                <a:lnTo>
                  <a:pt x="2248537" y="2086253"/>
                </a:lnTo>
                <a:cubicBezTo>
                  <a:pt x="2252386" y="2076629"/>
                  <a:pt x="2244688" y="2088178"/>
                  <a:pt x="2250462" y="2076629"/>
                </a:cubicBezTo>
                <a:lnTo>
                  <a:pt x="2240837" y="2076629"/>
                </a:lnTo>
                <a:cubicBezTo>
                  <a:pt x="2246612" y="2068928"/>
                  <a:pt x="2240837" y="2074702"/>
                  <a:pt x="2258161" y="2074702"/>
                </a:cubicBezTo>
                <a:lnTo>
                  <a:pt x="2260085" y="2067003"/>
                </a:lnTo>
                <a:cubicBezTo>
                  <a:pt x="2246612" y="2065078"/>
                  <a:pt x="2254311" y="2067003"/>
                  <a:pt x="2244688" y="2061227"/>
                </a:cubicBezTo>
                <a:lnTo>
                  <a:pt x="2244688" y="2067003"/>
                </a:lnTo>
                <a:cubicBezTo>
                  <a:pt x="2235063" y="2063152"/>
                  <a:pt x="2235063" y="2063152"/>
                  <a:pt x="2229289" y="2055451"/>
                </a:cubicBezTo>
                <a:lnTo>
                  <a:pt x="2221590" y="2061227"/>
                </a:lnTo>
                <a:lnTo>
                  <a:pt x="2221590" y="2053526"/>
                </a:lnTo>
                <a:cubicBezTo>
                  <a:pt x="2211966" y="2057377"/>
                  <a:pt x="2213891" y="2053526"/>
                  <a:pt x="2217740" y="2061227"/>
                </a:cubicBezTo>
                <a:lnTo>
                  <a:pt x="2208116" y="2061227"/>
                </a:lnTo>
                <a:cubicBezTo>
                  <a:pt x="2211966" y="2067003"/>
                  <a:pt x="2211966" y="2061227"/>
                  <a:pt x="2208116" y="2068928"/>
                </a:cubicBezTo>
                <a:cubicBezTo>
                  <a:pt x="2196567" y="2061227"/>
                  <a:pt x="2208116" y="2068928"/>
                  <a:pt x="2202342" y="2057377"/>
                </a:cubicBezTo>
                <a:lnTo>
                  <a:pt x="2211966" y="2057377"/>
                </a:lnTo>
                <a:cubicBezTo>
                  <a:pt x="2206191" y="2045825"/>
                  <a:pt x="2213891" y="2057377"/>
                  <a:pt x="2208116" y="2045825"/>
                </a:cubicBezTo>
                <a:lnTo>
                  <a:pt x="2198492" y="2053526"/>
                </a:lnTo>
                <a:cubicBezTo>
                  <a:pt x="2192718" y="2051601"/>
                  <a:pt x="2202342" y="2051601"/>
                  <a:pt x="2190793" y="2051601"/>
                </a:cubicBezTo>
                <a:lnTo>
                  <a:pt x="2181169" y="2051601"/>
                </a:lnTo>
                <a:cubicBezTo>
                  <a:pt x="2185019" y="2045825"/>
                  <a:pt x="2185019" y="2051601"/>
                  <a:pt x="2181169" y="2043900"/>
                </a:cubicBezTo>
                <a:lnTo>
                  <a:pt x="2175395" y="2049676"/>
                </a:lnTo>
                <a:lnTo>
                  <a:pt x="2167696" y="2043900"/>
                </a:lnTo>
                <a:lnTo>
                  <a:pt x="2167696" y="2051601"/>
                </a:lnTo>
                <a:lnTo>
                  <a:pt x="2163847" y="2053526"/>
                </a:lnTo>
                <a:lnTo>
                  <a:pt x="2160272" y="2050730"/>
                </a:lnTo>
                <a:lnTo>
                  <a:pt x="2161440" y="2047028"/>
                </a:lnTo>
                <a:cubicBezTo>
                  <a:pt x="2161440" y="2046789"/>
                  <a:pt x="2160960" y="2046789"/>
                  <a:pt x="2159996" y="2043900"/>
                </a:cubicBezTo>
                <a:lnTo>
                  <a:pt x="2165771" y="2038125"/>
                </a:lnTo>
                <a:cubicBezTo>
                  <a:pt x="2158073" y="2039088"/>
                  <a:pt x="2154703" y="2041013"/>
                  <a:pt x="2154222" y="2043419"/>
                </a:cubicBezTo>
                <a:lnTo>
                  <a:pt x="2158280" y="2049170"/>
                </a:lnTo>
                <a:lnTo>
                  <a:pt x="2146570" y="2040004"/>
                </a:lnTo>
                <a:lnTo>
                  <a:pt x="2152297" y="2034278"/>
                </a:lnTo>
                <a:lnTo>
                  <a:pt x="2146523" y="2034278"/>
                </a:lnTo>
                <a:lnTo>
                  <a:pt x="2146523" y="2028505"/>
                </a:lnTo>
                <a:lnTo>
                  <a:pt x="2152297" y="2030428"/>
                </a:lnTo>
                <a:lnTo>
                  <a:pt x="2158073" y="2024656"/>
                </a:lnTo>
                <a:cubicBezTo>
                  <a:pt x="2154222" y="2020806"/>
                  <a:pt x="2154222" y="2022731"/>
                  <a:pt x="2154222" y="2016957"/>
                </a:cubicBezTo>
                <a:lnTo>
                  <a:pt x="2154222" y="2009260"/>
                </a:lnTo>
                <a:lnTo>
                  <a:pt x="2150372" y="2009260"/>
                </a:lnTo>
                <a:lnTo>
                  <a:pt x="2150372" y="2016957"/>
                </a:lnTo>
                <a:lnTo>
                  <a:pt x="2140749" y="2016957"/>
                </a:lnTo>
                <a:cubicBezTo>
                  <a:pt x="2129200" y="2016957"/>
                  <a:pt x="2138824" y="2018881"/>
                  <a:pt x="2131125" y="2015033"/>
                </a:cubicBezTo>
                <a:lnTo>
                  <a:pt x="2129225" y="2026431"/>
                </a:lnTo>
                <a:lnTo>
                  <a:pt x="2119577" y="2018881"/>
                </a:lnTo>
                <a:lnTo>
                  <a:pt x="2133050" y="2007338"/>
                </a:lnTo>
                <a:lnTo>
                  <a:pt x="2140749" y="2007338"/>
                </a:lnTo>
                <a:lnTo>
                  <a:pt x="2140749" y="1999637"/>
                </a:lnTo>
                <a:lnTo>
                  <a:pt x="2150372" y="1999637"/>
                </a:lnTo>
                <a:lnTo>
                  <a:pt x="2156147" y="1993861"/>
                </a:lnTo>
                <a:cubicBezTo>
                  <a:pt x="2158073" y="1978466"/>
                  <a:pt x="2163847" y="1986164"/>
                  <a:pt x="2154222" y="1980391"/>
                </a:cubicBezTo>
                <a:lnTo>
                  <a:pt x="2154222" y="1990011"/>
                </a:lnTo>
                <a:cubicBezTo>
                  <a:pt x="2144598" y="1988088"/>
                  <a:pt x="2150372" y="1988088"/>
                  <a:pt x="2142673" y="1990011"/>
                </a:cubicBezTo>
                <a:lnTo>
                  <a:pt x="2142673" y="1982314"/>
                </a:lnTo>
                <a:lnTo>
                  <a:pt x="2148448" y="1986164"/>
                </a:lnTo>
                <a:cubicBezTo>
                  <a:pt x="2150372" y="1970768"/>
                  <a:pt x="2152297" y="1982314"/>
                  <a:pt x="2154222" y="1966918"/>
                </a:cubicBezTo>
                <a:lnTo>
                  <a:pt x="2146523" y="1972691"/>
                </a:lnTo>
                <a:cubicBezTo>
                  <a:pt x="2144598" y="1966918"/>
                  <a:pt x="2144598" y="1964993"/>
                  <a:pt x="2146523" y="1959226"/>
                </a:cubicBezTo>
                <a:lnTo>
                  <a:pt x="2158073" y="1963068"/>
                </a:lnTo>
                <a:lnTo>
                  <a:pt x="2152297" y="1955376"/>
                </a:lnTo>
                <a:lnTo>
                  <a:pt x="2163847" y="1945752"/>
                </a:lnTo>
                <a:lnTo>
                  <a:pt x="2162350" y="1941261"/>
                </a:lnTo>
                <a:lnTo>
                  <a:pt x="2163205" y="1939978"/>
                </a:lnTo>
                <a:lnTo>
                  <a:pt x="2171545" y="1939978"/>
                </a:lnTo>
                <a:lnTo>
                  <a:pt x="2165771" y="1936127"/>
                </a:lnTo>
                <a:lnTo>
                  <a:pt x="2163205" y="1939978"/>
                </a:lnTo>
                <a:lnTo>
                  <a:pt x="2161921" y="1939978"/>
                </a:lnTo>
                <a:lnTo>
                  <a:pt x="2162350" y="1941261"/>
                </a:lnTo>
                <a:lnTo>
                  <a:pt x="2161921" y="1941903"/>
                </a:lnTo>
                <a:cubicBezTo>
                  <a:pt x="2154222" y="1945752"/>
                  <a:pt x="2152297" y="1945752"/>
                  <a:pt x="2150372" y="1955376"/>
                </a:cubicBezTo>
                <a:cubicBezTo>
                  <a:pt x="2140749" y="1953452"/>
                  <a:pt x="2142673" y="1957301"/>
                  <a:pt x="2146523" y="1949601"/>
                </a:cubicBezTo>
                <a:lnTo>
                  <a:pt x="2140749" y="1941903"/>
                </a:lnTo>
                <a:cubicBezTo>
                  <a:pt x="2144598" y="1934203"/>
                  <a:pt x="2142673" y="1938052"/>
                  <a:pt x="2140749" y="1930353"/>
                </a:cubicBezTo>
                <a:lnTo>
                  <a:pt x="2146523" y="1928428"/>
                </a:lnTo>
                <a:lnTo>
                  <a:pt x="2136899" y="1926503"/>
                </a:lnTo>
                <a:lnTo>
                  <a:pt x="2140749" y="1920730"/>
                </a:lnTo>
                <a:lnTo>
                  <a:pt x="2131125" y="1920730"/>
                </a:lnTo>
                <a:lnTo>
                  <a:pt x="2134974" y="1914956"/>
                </a:lnTo>
                <a:lnTo>
                  <a:pt x="2129200" y="1913031"/>
                </a:lnTo>
                <a:lnTo>
                  <a:pt x="2133050" y="1901482"/>
                </a:lnTo>
                <a:cubicBezTo>
                  <a:pt x="2131125" y="1903407"/>
                  <a:pt x="2129200" y="1905332"/>
                  <a:pt x="2129200" y="1905332"/>
                </a:cubicBezTo>
                <a:cubicBezTo>
                  <a:pt x="2129200" y="1905332"/>
                  <a:pt x="2127275" y="1905332"/>
                  <a:pt x="2123425" y="1907257"/>
                </a:cubicBezTo>
                <a:lnTo>
                  <a:pt x="2129200" y="1913031"/>
                </a:lnTo>
                <a:lnTo>
                  <a:pt x="2127275" y="1916881"/>
                </a:lnTo>
                <a:cubicBezTo>
                  <a:pt x="2129200" y="1920730"/>
                  <a:pt x="2131125" y="1924580"/>
                  <a:pt x="2121501" y="1924580"/>
                </a:cubicBezTo>
                <a:cubicBezTo>
                  <a:pt x="2117651" y="1924580"/>
                  <a:pt x="2117651" y="1920730"/>
                  <a:pt x="2115726" y="1918805"/>
                </a:cubicBezTo>
                <a:lnTo>
                  <a:pt x="2125351" y="1918805"/>
                </a:lnTo>
                <a:lnTo>
                  <a:pt x="2115726" y="1907257"/>
                </a:lnTo>
                <a:cubicBezTo>
                  <a:pt x="2125351" y="1907257"/>
                  <a:pt x="2115726" y="1893783"/>
                  <a:pt x="2109952" y="1893783"/>
                </a:cubicBezTo>
                <a:cubicBezTo>
                  <a:pt x="2102253" y="1893783"/>
                  <a:pt x="2102253" y="1897633"/>
                  <a:pt x="2098403" y="1901482"/>
                </a:cubicBezTo>
                <a:lnTo>
                  <a:pt x="2086854" y="1893783"/>
                </a:lnTo>
                <a:lnTo>
                  <a:pt x="2088780" y="1889934"/>
                </a:lnTo>
                <a:lnTo>
                  <a:pt x="2083006" y="1888009"/>
                </a:lnTo>
                <a:cubicBezTo>
                  <a:pt x="2088780" y="1878386"/>
                  <a:pt x="2081080" y="1884159"/>
                  <a:pt x="2094554" y="1882234"/>
                </a:cubicBezTo>
                <a:lnTo>
                  <a:pt x="2090704" y="1876460"/>
                </a:lnTo>
                <a:cubicBezTo>
                  <a:pt x="2100328" y="1878386"/>
                  <a:pt x="2096478" y="1876460"/>
                  <a:pt x="2100328" y="1882234"/>
                </a:cubicBezTo>
                <a:lnTo>
                  <a:pt x="2106102" y="1882234"/>
                </a:lnTo>
                <a:lnTo>
                  <a:pt x="2102253" y="1884159"/>
                </a:lnTo>
                <a:cubicBezTo>
                  <a:pt x="2106102" y="1889934"/>
                  <a:pt x="2106102" y="1884159"/>
                  <a:pt x="2102253" y="1891858"/>
                </a:cubicBezTo>
                <a:lnTo>
                  <a:pt x="2119577" y="1888009"/>
                </a:lnTo>
                <a:cubicBezTo>
                  <a:pt x="2115726" y="1876460"/>
                  <a:pt x="2121501" y="1882234"/>
                  <a:pt x="2133050" y="1876460"/>
                </a:cubicBezTo>
                <a:lnTo>
                  <a:pt x="2127275" y="1870687"/>
                </a:lnTo>
                <a:cubicBezTo>
                  <a:pt x="2131125" y="1864912"/>
                  <a:pt x="2131125" y="1870687"/>
                  <a:pt x="2127275" y="1862988"/>
                </a:cubicBezTo>
                <a:lnTo>
                  <a:pt x="2136899" y="1862988"/>
                </a:lnTo>
                <a:cubicBezTo>
                  <a:pt x="2148448" y="1862988"/>
                  <a:pt x="2138824" y="1864912"/>
                  <a:pt x="2146523" y="1861062"/>
                </a:cubicBezTo>
                <a:lnTo>
                  <a:pt x="2150372" y="1866837"/>
                </a:lnTo>
                <a:lnTo>
                  <a:pt x="2158073" y="1861062"/>
                </a:lnTo>
                <a:lnTo>
                  <a:pt x="2161921" y="1849514"/>
                </a:lnTo>
                <a:lnTo>
                  <a:pt x="2154222" y="1849514"/>
                </a:lnTo>
                <a:lnTo>
                  <a:pt x="2159996" y="1843741"/>
                </a:lnTo>
                <a:lnTo>
                  <a:pt x="2150372" y="1841816"/>
                </a:lnTo>
                <a:lnTo>
                  <a:pt x="2154222" y="1849514"/>
                </a:lnTo>
                <a:lnTo>
                  <a:pt x="2152297" y="1849514"/>
                </a:lnTo>
                <a:cubicBezTo>
                  <a:pt x="2152297" y="1862988"/>
                  <a:pt x="2156147" y="1855289"/>
                  <a:pt x="2146523" y="1861062"/>
                </a:cubicBezTo>
                <a:cubicBezTo>
                  <a:pt x="2144598" y="1859138"/>
                  <a:pt x="2140749" y="1853364"/>
                  <a:pt x="2136899" y="1853364"/>
                </a:cubicBezTo>
                <a:cubicBezTo>
                  <a:pt x="2129200" y="1853364"/>
                  <a:pt x="2127275" y="1857213"/>
                  <a:pt x="2121501" y="1861062"/>
                </a:cubicBezTo>
                <a:lnTo>
                  <a:pt x="2125351" y="1868762"/>
                </a:lnTo>
                <a:lnTo>
                  <a:pt x="2111877" y="1882234"/>
                </a:lnTo>
                <a:lnTo>
                  <a:pt x="2106102" y="1878386"/>
                </a:lnTo>
                <a:lnTo>
                  <a:pt x="2106102" y="1872611"/>
                </a:lnTo>
                <a:lnTo>
                  <a:pt x="2111877" y="1872611"/>
                </a:lnTo>
                <a:cubicBezTo>
                  <a:pt x="2108027" y="1866837"/>
                  <a:pt x="2108027" y="1872611"/>
                  <a:pt x="2111877" y="1864912"/>
                </a:cubicBezTo>
                <a:lnTo>
                  <a:pt x="2102253" y="1864912"/>
                </a:lnTo>
                <a:lnTo>
                  <a:pt x="2102253" y="1862988"/>
                </a:lnTo>
                <a:lnTo>
                  <a:pt x="2111877" y="1862988"/>
                </a:lnTo>
                <a:lnTo>
                  <a:pt x="2109952" y="1851439"/>
                </a:lnTo>
                <a:cubicBezTo>
                  <a:pt x="2115726" y="1849514"/>
                  <a:pt x="2109952" y="1847589"/>
                  <a:pt x="2117651" y="1851439"/>
                </a:cubicBezTo>
                <a:lnTo>
                  <a:pt x="2123425" y="1843741"/>
                </a:lnTo>
                <a:lnTo>
                  <a:pt x="2113801" y="1836041"/>
                </a:lnTo>
                <a:lnTo>
                  <a:pt x="2125351" y="1832192"/>
                </a:lnTo>
                <a:cubicBezTo>
                  <a:pt x="2119577" y="1826417"/>
                  <a:pt x="2117651" y="1828342"/>
                  <a:pt x="2109952" y="1830267"/>
                </a:cubicBezTo>
                <a:lnTo>
                  <a:pt x="2109952" y="1822568"/>
                </a:lnTo>
                <a:cubicBezTo>
                  <a:pt x="2117651" y="1824492"/>
                  <a:pt x="2111877" y="1826417"/>
                  <a:pt x="2119577" y="1822568"/>
                </a:cubicBezTo>
                <a:cubicBezTo>
                  <a:pt x="2108027" y="1809093"/>
                  <a:pt x="2115726" y="1830267"/>
                  <a:pt x="2109952" y="1814868"/>
                </a:cubicBezTo>
                <a:cubicBezTo>
                  <a:pt x="2115726" y="1814868"/>
                  <a:pt x="2117170" y="1815350"/>
                  <a:pt x="2117892" y="1815350"/>
                </a:cubicBezTo>
                <a:lnTo>
                  <a:pt x="2121499" y="1812944"/>
                </a:lnTo>
                <a:lnTo>
                  <a:pt x="2111877" y="1812944"/>
                </a:lnTo>
                <a:lnTo>
                  <a:pt x="2117651" y="1807170"/>
                </a:lnTo>
                <a:lnTo>
                  <a:pt x="2121501" y="1812944"/>
                </a:lnTo>
                <a:lnTo>
                  <a:pt x="2121501" y="1812943"/>
                </a:lnTo>
                <a:lnTo>
                  <a:pt x="2127275" y="1816793"/>
                </a:lnTo>
                <a:lnTo>
                  <a:pt x="2123425" y="1826417"/>
                </a:lnTo>
                <a:lnTo>
                  <a:pt x="2129200" y="1826417"/>
                </a:lnTo>
                <a:lnTo>
                  <a:pt x="2131125" y="1818718"/>
                </a:lnTo>
                <a:lnTo>
                  <a:pt x="2129200" y="1812943"/>
                </a:lnTo>
                <a:lnTo>
                  <a:pt x="2130911" y="1807811"/>
                </a:lnTo>
                <a:lnTo>
                  <a:pt x="2133050" y="1811018"/>
                </a:lnTo>
                <a:lnTo>
                  <a:pt x="2140749" y="1809093"/>
                </a:lnTo>
                <a:lnTo>
                  <a:pt x="2140749" y="1815638"/>
                </a:lnTo>
                <a:lnTo>
                  <a:pt x="2138824" y="1814868"/>
                </a:lnTo>
                <a:cubicBezTo>
                  <a:pt x="2138824" y="1814868"/>
                  <a:pt x="2134974" y="1820642"/>
                  <a:pt x="2134974" y="1820642"/>
                </a:cubicBezTo>
                <a:cubicBezTo>
                  <a:pt x="2134974" y="1828342"/>
                  <a:pt x="2140749" y="1830267"/>
                  <a:pt x="2144598" y="1832192"/>
                </a:cubicBezTo>
                <a:lnTo>
                  <a:pt x="2144598" y="1839891"/>
                </a:lnTo>
                <a:lnTo>
                  <a:pt x="2141711" y="1841816"/>
                </a:lnTo>
                <a:lnTo>
                  <a:pt x="2136899" y="1841816"/>
                </a:lnTo>
                <a:cubicBezTo>
                  <a:pt x="2138824" y="1834116"/>
                  <a:pt x="2140749" y="1839891"/>
                  <a:pt x="2133050" y="1834116"/>
                </a:cubicBezTo>
                <a:cubicBezTo>
                  <a:pt x="2131125" y="1839891"/>
                  <a:pt x="2131125" y="1845664"/>
                  <a:pt x="2133050" y="1849514"/>
                </a:cubicBezTo>
                <a:cubicBezTo>
                  <a:pt x="2140749" y="1853364"/>
                  <a:pt x="2133050" y="1847589"/>
                  <a:pt x="2142673" y="1851439"/>
                </a:cubicBezTo>
                <a:lnTo>
                  <a:pt x="2138824" y="1843741"/>
                </a:lnTo>
                <a:lnTo>
                  <a:pt x="2141711" y="1841816"/>
                </a:lnTo>
                <a:lnTo>
                  <a:pt x="2144598" y="1841816"/>
                </a:lnTo>
                <a:lnTo>
                  <a:pt x="2144598" y="1839891"/>
                </a:lnTo>
                <a:lnTo>
                  <a:pt x="2159996" y="1834116"/>
                </a:lnTo>
                <a:cubicBezTo>
                  <a:pt x="2154222" y="1828342"/>
                  <a:pt x="2158073" y="1830267"/>
                  <a:pt x="2150372" y="1828342"/>
                </a:cubicBezTo>
                <a:lnTo>
                  <a:pt x="2150372" y="1834116"/>
                </a:lnTo>
                <a:lnTo>
                  <a:pt x="2144598" y="1830267"/>
                </a:lnTo>
                <a:lnTo>
                  <a:pt x="2148448" y="1828342"/>
                </a:lnTo>
                <a:cubicBezTo>
                  <a:pt x="2146523" y="1822568"/>
                  <a:pt x="2146523" y="1826417"/>
                  <a:pt x="2148448" y="1818718"/>
                </a:cubicBezTo>
                <a:lnTo>
                  <a:pt x="2143066" y="1816565"/>
                </a:lnTo>
                <a:lnTo>
                  <a:pt x="2147155" y="1816161"/>
                </a:lnTo>
                <a:cubicBezTo>
                  <a:pt x="2150493" y="1816071"/>
                  <a:pt x="2146523" y="1816792"/>
                  <a:pt x="2152297" y="1811018"/>
                </a:cubicBezTo>
                <a:lnTo>
                  <a:pt x="2161921" y="1811018"/>
                </a:lnTo>
                <a:lnTo>
                  <a:pt x="2167696" y="1803319"/>
                </a:lnTo>
                <a:lnTo>
                  <a:pt x="2166595" y="1801116"/>
                </a:lnTo>
                <a:lnTo>
                  <a:pt x="2163847" y="1805240"/>
                </a:lnTo>
                <a:lnTo>
                  <a:pt x="2159997" y="1799466"/>
                </a:lnTo>
                <a:cubicBezTo>
                  <a:pt x="2150372" y="1805240"/>
                  <a:pt x="2158073" y="1805240"/>
                  <a:pt x="2144598" y="1805240"/>
                </a:cubicBezTo>
                <a:lnTo>
                  <a:pt x="2156147" y="1793690"/>
                </a:lnTo>
                <a:lnTo>
                  <a:pt x="2152297" y="1785993"/>
                </a:lnTo>
                <a:lnTo>
                  <a:pt x="2159997" y="1778292"/>
                </a:lnTo>
                <a:cubicBezTo>
                  <a:pt x="2165772" y="1780217"/>
                  <a:pt x="2159997" y="1782142"/>
                  <a:pt x="2167696" y="1778292"/>
                </a:cubicBezTo>
                <a:cubicBezTo>
                  <a:pt x="2167696" y="1789842"/>
                  <a:pt x="2167696" y="1787918"/>
                  <a:pt x="2159997" y="1791766"/>
                </a:cubicBezTo>
                <a:lnTo>
                  <a:pt x="2163847" y="1797540"/>
                </a:lnTo>
                <a:lnTo>
                  <a:pt x="2159999" y="1799465"/>
                </a:lnTo>
                <a:lnTo>
                  <a:pt x="2165769" y="1799465"/>
                </a:lnTo>
                <a:lnTo>
                  <a:pt x="2163847" y="1795619"/>
                </a:lnTo>
                <a:lnTo>
                  <a:pt x="2171545" y="1789846"/>
                </a:lnTo>
                <a:lnTo>
                  <a:pt x="2167696" y="1784073"/>
                </a:lnTo>
                <a:cubicBezTo>
                  <a:pt x="2175395" y="1785997"/>
                  <a:pt x="2175395" y="1785997"/>
                  <a:pt x="2179244" y="1789846"/>
                </a:cubicBezTo>
                <a:lnTo>
                  <a:pt x="2181169" y="1784073"/>
                </a:lnTo>
                <a:lnTo>
                  <a:pt x="2180287" y="1781423"/>
                </a:lnTo>
                <a:lnTo>
                  <a:pt x="2179244" y="1782146"/>
                </a:lnTo>
                <a:lnTo>
                  <a:pt x="2173470" y="1776371"/>
                </a:lnTo>
                <a:cubicBezTo>
                  <a:pt x="2175395" y="1770596"/>
                  <a:pt x="2175395" y="1778296"/>
                  <a:pt x="2175395" y="1768671"/>
                </a:cubicBezTo>
                <a:cubicBezTo>
                  <a:pt x="2175395" y="1766745"/>
                  <a:pt x="2171545" y="1762895"/>
                  <a:pt x="2175395" y="1762895"/>
                </a:cubicBezTo>
                <a:lnTo>
                  <a:pt x="2183094" y="1757121"/>
                </a:lnTo>
                <a:lnTo>
                  <a:pt x="2183095" y="1757122"/>
                </a:lnTo>
                <a:lnTo>
                  <a:pt x="2186944" y="1768671"/>
                </a:lnTo>
                <a:lnTo>
                  <a:pt x="2181169" y="1774446"/>
                </a:lnTo>
                <a:lnTo>
                  <a:pt x="2185019" y="1774446"/>
                </a:lnTo>
                <a:lnTo>
                  <a:pt x="2185019" y="1772522"/>
                </a:lnTo>
                <a:lnTo>
                  <a:pt x="2189295" y="1774446"/>
                </a:lnTo>
                <a:lnTo>
                  <a:pt x="2190367" y="1774446"/>
                </a:lnTo>
                <a:lnTo>
                  <a:pt x="2190695" y="1774298"/>
                </a:lnTo>
                <a:lnTo>
                  <a:pt x="2186944" y="1768671"/>
                </a:lnTo>
                <a:lnTo>
                  <a:pt x="2192719" y="1768671"/>
                </a:lnTo>
                <a:lnTo>
                  <a:pt x="2193779" y="1772911"/>
                </a:lnTo>
                <a:lnTo>
                  <a:pt x="2194642" y="1772522"/>
                </a:lnTo>
                <a:lnTo>
                  <a:pt x="2198492" y="1778296"/>
                </a:lnTo>
                <a:lnTo>
                  <a:pt x="2210041" y="1780221"/>
                </a:lnTo>
                <a:lnTo>
                  <a:pt x="2213891" y="1776371"/>
                </a:lnTo>
                <a:lnTo>
                  <a:pt x="2208116" y="1774446"/>
                </a:lnTo>
                <a:lnTo>
                  <a:pt x="2213891" y="1770597"/>
                </a:lnTo>
                <a:lnTo>
                  <a:pt x="2213895" y="1770594"/>
                </a:lnTo>
                <a:lnTo>
                  <a:pt x="2213891" y="1770594"/>
                </a:lnTo>
                <a:lnTo>
                  <a:pt x="2213891" y="1762893"/>
                </a:lnTo>
                <a:lnTo>
                  <a:pt x="2219014" y="1762893"/>
                </a:lnTo>
                <a:lnTo>
                  <a:pt x="2213891" y="1760971"/>
                </a:lnTo>
                <a:lnTo>
                  <a:pt x="2213891" y="1759047"/>
                </a:lnTo>
                <a:lnTo>
                  <a:pt x="2214612" y="1757605"/>
                </a:lnTo>
                <a:lnTo>
                  <a:pt x="2213891" y="1757124"/>
                </a:lnTo>
                <a:lnTo>
                  <a:pt x="2208116" y="1762897"/>
                </a:lnTo>
                <a:cubicBezTo>
                  <a:pt x="2204266" y="1757124"/>
                  <a:pt x="2204266" y="1762897"/>
                  <a:pt x="2208116" y="1755200"/>
                </a:cubicBezTo>
                <a:cubicBezTo>
                  <a:pt x="2202342" y="1747502"/>
                  <a:pt x="2204266" y="1743653"/>
                  <a:pt x="2192718" y="1743653"/>
                </a:cubicBezTo>
                <a:lnTo>
                  <a:pt x="2190793" y="1732103"/>
                </a:lnTo>
                <a:cubicBezTo>
                  <a:pt x="2198492" y="1730178"/>
                  <a:pt x="2202342" y="1728256"/>
                  <a:pt x="2208116" y="1724405"/>
                </a:cubicBezTo>
                <a:lnTo>
                  <a:pt x="2208116" y="1716706"/>
                </a:lnTo>
                <a:lnTo>
                  <a:pt x="2213891" y="1722480"/>
                </a:lnTo>
                <a:cubicBezTo>
                  <a:pt x="2219667" y="1720556"/>
                  <a:pt x="2213891" y="1718632"/>
                  <a:pt x="2221590" y="1722480"/>
                </a:cubicBezTo>
                <a:lnTo>
                  <a:pt x="2231214" y="1718632"/>
                </a:lnTo>
                <a:lnTo>
                  <a:pt x="2225441" y="1724405"/>
                </a:lnTo>
                <a:lnTo>
                  <a:pt x="2227365" y="1728256"/>
                </a:lnTo>
                <a:lnTo>
                  <a:pt x="2225655" y="1729537"/>
                </a:lnTo>
                <a:lnTo>
                  <a:pt x="2227364" y="1732102"/>
                </a:lnTo>
                <a:lnTo>
                  <a:pt x="2233136" y="1726330"/>
                </a:lnTo>
                <a:lnTo>
                  <a:pt x="2231214" y="1726330"/>
                </a:lnTo>
                <a:lnTo>
                  <a:pt x="2231214" y="1718632"/>
                </a:lnTo>
                <a:lnTo>
                  <a:pt x="2236988" y="1716706"/>
                </a:lnTo>
                <a:lnTo>
                  <a:pt x="2238912" y="1720555"/>
                </a:lnTo>
                <a:lnTo>
                  <a:pt x="2238914" y="1720554"/>
                </a:lnTo>
                <a:lnTo>
                  <a:pt x="2244573" y="1719422"/>
                </a:lnTo>
                <a:lnTo>
                  <a:pt x="2242762" y="1716706"/>
                </a:lnTo>
                <a:lnTo>
                  <a:pt x="2236988" y="1716706"/>
                </a:lnTo>
                <a:lnTo>
                  <a:pt x="2236987" y="1716706"/>
                </a:lnTo>
                <a:lnTo>
                  <a:pt x="2240837" y="1710932"/>
                </a:lnTo>
                <a:lnTo>
                  <a:pt x="2231213" y="1710932"/>
                </a:lnTo>
                <a:lnTo>
                  <a:pt x="2242762" y="1699382"/>
                </a:lnTo>
                <a:lnTo>
                  <a:pt x="2240837" y="1709006"/>
                </a:lnTo>
                <a:lnTo>
                  <a:pt x="2246612" y="1709006"/>
                </a:lnTo>
                <a:lnTo>
                  <a:pt x="2242762" y="1712855"/>
                </a:lnTo>
                <a:lnTo>
                  <a:pt x="2248537" y="1716706"/>
                </a:lnTo>
                <a:lnTo>
                  <a:pt x="2247850" y="1718767"/>
                </a:lnTo>
                <a:lnTo>
                  <a:pt x="2248537" y="1718630"/>
                </a:lnTo>
                <a:lnTo>
                  <a:pt x="2248537" y="1730176"/>
                </a:lnTo>
                <a:lnTo>
                  <a:pt x="2263935" y="1718630"/>
                </a:lnTo>
                <a:lnTo>
                  <a:pt x="2258161" y="1710929"/>
                </a:lnTo>
                <a:lnTo>
                  <a:pt x="2250462" y="1716706"/>
                </a:lnTo>
                <a:lnTo>
                  <a:pt x="2248537" y="1712855"/>
                </a:lnTo>
                <a:lnTo>
                  <a:pt x="2254311" y="1707079"/>
                </a:lnTo>
                <a:lnTo>
                  <a:pt x="2250462" y="1697455"/>
                </a:lnTo>
                <a:cubicBezTo>
                  <a:pt x="2260085" y="1701305"/>
                  <a:pt x="2260085" y="1699381"/>
                  <a:pt x="2263935" y="1697455"/>
                </a:cubicBezTo>
                <a:cubicBezTo>
                  <a:pt x="2269709" y="1691680"/>
                  <a:pt x="2263935" y="1697455"/>
                  <a:pt x="2267784" y="1689756"/>
                </a:cubicBezTo>
                <a:lnTo>
                  <a:pt x="2277408" y="1693606"/>
                </a:lnTo>
                <a:lnTo>
                  <a:pt x="2281258" y="1701305"/>
                </a:lnTo>
                <a:lnTo>
                  <a:pt x="2271634" y="1709005"/>
                </a:lnTo>
                <a:lnTo>
                  <a:pt x="2277408" y="1712855"/>
                </a:lnTo>
                <a:lnTo>
                  <a:pt x="2271634" y="1720554"/>
                </a:lnTo>
                <a:lnTo>
                  <a:pt x="2281258" y="1720554"/>
                </a:lnTo>
                <a:lnTo>
                  <a:pt x="2281258" y="1726329"/>
                </a:lnTo>
                <a:lnTo>
                  <a:pt x="2290882" y="1728252"/>
                </a:lnTo>
                <a:lnTo>
                  <a:pt x="2292807" y="1724403"/>
                </a:lnTo>
                <a:cubicBezTo>
                  <a:pt x="2288958" y="1718630"/>
                  <a:pt x="2292807" y="1718630"/>
                  <a:pt x="2285108" y="1722479"/>
                </a:cubicBezTo>
                <a:lnTo>
                  <a:pt x="2281258" y="1720554"/>
                </a:lnTo>
                <a:lnTo>
                  <a:pt x="2287032" y="1712855"/>
                </a:lnTo>
                <a:lnTo>
                  <a:pt x="2277408" y="1712855"/>
                </a:lnTo>
                <a:lnTo>
                  <a:pt x="2281258" y="1707079"/>
                </a:lnTo>
                <a:lnTo>
                  <a:pt x="2287032" y="1709005"/>
                </a:lnTo>
                <a:lnTo>
                  <a:pt x="2285108" y="1697455"/>
                </a:lnTo>
                <a:lnTo>
                  <a:pt x="2290882" y="1695530"/>
                </a:lnTo>
                <a:lnTo>
                  <a:pt x="2285108" y="1693606"/>
                </a:lnTo>
                <a:lnTo>
                  <a:pt x="2288958" y="1687831"/>
                </a:lnTo>
                <a:lnTo>
                  <a:pt x="2279333" y="1687831"/>
                </a:lnTo>
                <a:lnTo>
                  <a:pt x="2279333" y="1682055"/>
                </a:lnTo>
                <a:lnTo>
                  <a:pt x="2269709" y="1683980"/>
                </a:lnTo>
                <a:cubicBezTo>
                  <a:pt x="2265860" y="1676282"/>
                  <a:pt x="2265860" y="1680131"/>
                  <a:pt x="2263935" y="1672433"/>
                </a:cubicBezTo>
                <a:lnTo>
                  <a:pt x="2273559" y="1670508"/>
                </a:lnTo>
                <a:cubicBezTo>
                  <a:pt x="2279333" y="1678207"/>
                  <a:pt x="2283183" y="1683980"/>
                  <a:pt x="2294732" y="1683980"/>
                </a:cubicBezTo>
                <a:lnTo>
                  <a:pt x="2290882" y="1678207"/>
                </a:lnTo>
                <a:lnTo>
                  <a:pt x="2302431" y="1680131"/>
                </a:lnTo>
                <a:lnTo>
                  <a:pt x="2302431" y="1674356"/>
                </a:lnTo>
                <a:lnTo>
                  <a:pt x="2290882" y="1674356"/>
                </a:lnTo>
                <a:lnTo>
                  <a:pt x="2304355" y="1660885"/>
                </a:lnTo>
                <a:lnTo>
                  <a:pt x="2312056" y="1660885"/>
                </a:lnTo>
                <a:cubicBezTo>
                  <a:pt x="2306280" y="1655108"/>
                  <a:pt x="2310130" y="1655108"/>
                  <a:pt x="2302431" y="1658960"/>
                </a:cubicBezTo>
                <a:close/>
                <a:moveTo>
                  <a:pt x="2198492" y="1649335"/>
                </a:moveTo>
                <a:lnTo>
                  <a:pt x="2202341" y="1653185"/>
                </a:lnTo>
                <a:lnTo>
                  <a:pt x="2188868" y="1657034"/>
                </a:lnTo>
                <a:close/>
                <a:moveTo>
                  <a:pt x="2233139" y="1647402"/>
                </a:moveTo>
                <a:lnTo>
                  <a:pt x="2238914" y="1653175"/>
                </a:lnTo>
                <a:lnTo>
                  <a:pt x="2231214" y="1657026"/>
                </a:lnTo>
                <a:close/>
                <a:moveTo>
                  <a:pt x="2283183" y="1645477"/>
                </a:moveTo>
                <a:lnTo>
                  <a:pt x="2298582" y="1658953"/>
                </a:lnTo>
                <a:cubicBezTo>
                  <a:pt x="2285107" y="1658953"/>
                  <a:pt x="2285107" y="1657026"/>
                  <a:pt x="2279333" y="1647402"/>
                </a:cubicBezTo>
                <a:close/>
                <a:moveTo>
                  <a:pt x="2186943" y="1645475"/>
                </a:moveTo>
                <a:lnTo>
                  <a:pt x="2183093" y="1655099"/>
                </a:lnTo>
                <a:lnTo>
                  <a:pt x="2177319" y="1649325"/>
                </a:lnTo>
                <a:close/>
                <a:moveTo>
                  <a:pt x="5996099" y="1643604"/>
                </a:moveTo>
                <a:cubicBezTo>
                  <a:pt x="6003798" y="1651304"/>
                  <a:pt x="5998023" y="1657079"/>
                  <a:pt x="5999948" y="1657079"/>
                </a:cubicBezTo>
                <a:cubicBezTo>
                  <a:pt x="5938355" y="1695575"/>
                  <a:pt x="5886385" y="1735996"/>
                  <a:pt x="5836340" y="1772569"/>
                </a:cubicBezTo>
                <a:cubicBezTo>
                  <a:pt x="5819017" y="1786043"/>
                  <a:pt x="5836340" y="1762939"/>
                  <a:pt x="5836340" y="1762939"/>
                </a:cubicBezTo>
                <a:lnTo>
                  <a:pt x="5969151" y="1664780"/>
                </a:lnTo>
                <a:cubicBezTo>
                  <a:pt x="5973001" y="1660932"/>
                  <a:pt x="5974926" y="1653229"/>
                  <a:pt x="5976851" y="1651304"/>
                </a:cubicBezTo>
                <a:cubicBezTo>
                  <a:pt x="5980700" y="1647455"/>
                  <a:pt x="5992249" y="1645529"/>
                  <a:pt x="5996099" y="1643604"/>
                </a:cubicBezTo>
                <a:close/>
                <a:moveTo>
                  <a:pt x="2321679" y="1637778"/>
                </a:moveTo>
                <a:lnTo>
                  <a:pt x="2327453" y="1637778"/>
                </a:lnTo>
                <a:cubicBezTo>
                  <a:pt x="2327453" y="1639703"/>
                  <a:pt x="2327453" y="1641628"/>
                  <a:pt x="2325529" y="1645476"/>
                </a:cubicBezTo>
                <a:lnTo>
                  <a:pt x="2321679" y="1645476"/>
                </a:lnTo>
                <a:close/>
                <a:moveTo>
                  <a:pt x="2204266" y="1635851"/>
                </a:moveTo>
                <a:lnTo>
                  <a:pt x="2213891" y="1635851"/>
                </a:lnTo>
                <a:cubicBezTo>
                  <a:pt x="2208116" y="1641625"/>
                  <a:pt x="2213891" y="1639702"/>
                  <a:pt x="2204266" y="1641625"/>
                </a:cubicBezTo>
                <a:close/>
                <a:moveTo>
                  <a:pt x="2404444" y="1635848"/>
                </a:moveTo>
                <a:cubicBezTo>
                  <a:pt x="2408293" y="1641622"/>
                  <a:pt x="2408293" y="1635848"/>
                  <a:pt x="2404444" y="1643547"/>
                </a:cubicBezTo>
                <a:lnTo>
                  <a:pt x="2414068" y="1643547"/>
                </a:lnTo>
                <a:cubicBezTo>
                  <a:pt x="2412143" y="1637773"/>
                  <a:pt x="2412143" y="1639698"/>
                  <a:pt x="2414068" y="1635848"/>
                </a:cubicBezTo>
                <a:close/>
                <a:moveTo>
                  <a:pt x="2117652" y="1635846"/>
                </a:moveTo>
                <a:lnTo>
                  <a:pt x="2106102" y="1647395"/>
                </a:lnTo>
                <a:lnTo>
                  <a:pt x="2102253" y="1641620"/>
                </a:lnTo>
                <a:close/>
                <a:moveTo>
                  <a:pt x="2379422" y="1633923"/>
                </a:moveTo>
                <a:lnTo>
                  <a:pt x="2373647" y="1635848"/>
                </a:lnTo>
                <a:cubicBezTo>
                  <a:pt x="2375573" y="1641622"/>
                  <a:pt x="2371722" y="1641622"/>
                  <a:pt x="2379422" y="1637773"/>
                </a:cubicBezTo>
                <a:cubicBezTo>
                  <a:pt x="2385196" y="1645472"/>
                  <a:pt x="2377497" y="1641622"/>
                  <a:pt x="2390970" y="1643547"/>
                </a:cubicBezTo>
                <a:lnTo>
                  <a:pt x="2390970" y="1635848"/>
                </a:lnTo>
                <a:close/>
                <a:moveTo>
                  <a:pt x="1936722" y="1632008"/>
                </a:moveTo>
                <a:lnTo>
                  <a:pt x="1936722" y="1637782"/>
                </a:lnTo>
                <a:lnTo>
                  <a:pt x="1930948" y="1633933"/>
                </a:lnTo>
                <a:close/>
                <a:moveTo>
                  <a:pt x="2396745" y="1628148"/>
                </a:moveTo>
                <a:lnTo>
                  <a:pt x="2396745" y="1643547"/>
                </a:lnTo>
                <a:cubicBezTo>
                  <a:pt x="2406370" y="1639698"/>
                  <a:pt x="2400594" y="1643547"/>
                  <a:pt x="2400594" y="1637773"/>
                </a:cubicBezTo>
                <a:cubicBezTo>
                  <a:pt x="2400594" y="1631998"/>
                  <a:pt x="2402519" y="1631998"/>
                  <a:pt x="2396745" y="1628148"/>
                </a:cubicBezTo>
                <a:close/>
                <a:moveTo>
                  <a:pt x="2315904" y="1624302"/>
                </a:moveTo>
                <a:lnTo>
                  <a:pt x="2319755" y="1630076"/>
                </a:lnTo>
                <a:lnTo>
                  <a:pt x="2310130" y="1628151"/>
                </a:lnTo>
                <a:close/>
                <a:moveTo>
                  <a:pt x="2306280" y="1624302"/>
                </a:moveTo>
                <a:lnTo>
                  <a:pt x="2310129" y="1628152"/>
                </a:lnTo>
                <a:lnTo>
                  <a:pt x="2306280" y="1630076"/>
                </a:lnTo>
                <a:lnTo>
                  <a:pt x="2304356" y="1632001"/>
                </a:lnTo>
                <a:lnTo>
                  <a:pt x="2310130" y="1635850"/>
                </a:lnTo>
                <a:cubicBezTo>
                  <a:pt x="2300506" y="1645474"/>
                  <a:pt x="2304355" y="1633926"/>
                  <a:pt x="2300506" y="1645474"/>
                </a:cubicBezTo>
                <a:cubicBezTo>
                  <a:pt x="2294732" y="1641625"/>
                  <a:pt x="2296656" y="1645474"/>
                  <a:pt x="2294732" y="1637775"/>
                </a:cubicBezTo>
                <a:lnTo>
                  <a:pt x="2304355" y="1637775"/>
                </a:lnTo>
                <a:lnTo>
                  <a:pt x="2304355" y="1632001"/>
                </a:lnTo>
                <a:lnTo>
                  <a:pt x="2296656" y="1628152"/>
                </a:lnTo>
                <a:close/>
                <a:moveTo>
                  <a:pt x="2156147" y="1610837"/>
                </a:moveTo>
                <a:lnTo>
                  <a:pt x="2152297" y="1616612"/>
                </a:lnTo>
                <a:lnTo>
                  <a:pt x="2158073" y="1618536"/>
                </a:lnTo>
                <a:cubicBezTo>
                  <a:pt x="2150372" y="1620462"/>
                  <a:pt x="2154221" y="1620462"/>
                  <a:pt x="2146522" y="1624311"/>
                </a:cubicBezTo>
                <a:lnTo>
                  <a:pt x="2140748" y="1616612"/>
                </a:lnTo>
                <a:cubicBezTo>
                  <a:pt x="2150372" y="1610837"/>
                  <a:pt x="2144598" y="1612762"/>
                  <a:pt x="2156147" y="1610837"/>
                </a:cubicBezTo>
                <a:close/>
                <a:moveTo>
                  <a:pt x="2236989" y="1610832"/>
                </a:moveTo>
                <a:lnTo>
                  <a:pt x="2242763" y="1610832"/>
                </a:lnTo>
                <a:lnTo>
                  <a:pt x="2242763" y="1616605"/>
                </a:lnTo>
                <a:close/>
                <a:moveTo>
                  <a:pt x="2371722" y="1610826"/>
                </a:moveTo>
                <a:lnTo>
                  <a:pt x="2372389" y="1611492"/>
                </a:lnTo>
                <a:lnTo>
                  <a:pt x="2371722" y="1614294"/>
                </a:lnTo>
                <a:close/>
                <a:moveTo>
                  <a:pt x="2521165" y="1609081"/>
                </a:moveTo>
                <a:cubicBezTo>
                  <a:pt x="2522820" y="1605350"/>
                  <a:pt x="2522820" y="1609441"/>
                  <a:pt x="2519933" y="1626283"/>
                </a:cubicBezTo>
                <a:cubicBezTo>
                  <a:pt x="2529556" y="1684026"/>
                  <a:pt x="2523782" y="1749472"/>
                  <a:pt x="2552653" y="1793740"/>
                </a:cubicBezTo>
                <a:cubicBezTo>
                  <a:pt x="2521857" y="2051620"/>
                  <a:pt x="2670065" y="2226847"/>
                  <a:pt x="2772079" y="2411587"/>
                </a:cubicBezTo>
                <a:cubicBezTo>
                  <a:pt x="2614246" y="2290386"/>
                  <a:pt x="2462188" y="1991954"/>
                  <a:pt x="2494910" y="1720602"/>
                </a:cubicBezTo>
                <a:cubicBezTo>
                  <a:pt x="2496353" y="1701833"/>
                  <a:pt x="2516202" y="1620270"/>
                  <a:pt x="2521165" y="1609081"/>
                </a:cubicBezTo>
                <a:close/>
                <a:moveTo>
                  <a:pt x="2269709" y="1608912"/>
                </a:moveTo>
                <a:lnTo>
                  <a:pt x="2277408" y="1612762"/>
                </a:lnTo>
                <a:lnTo>
                  <a:pt x="2267784" y="1614686"/>
                </a:lnTo>
                <a:close/>
                <a:moveTo>
                  <a:pt x="2036809" y="1606975"/>
                </a:moveTo>
                <a:lnTo>
                  <a:pt x="2042584" y="1612749"/>
                </a:lnTo>
                <a:lnTo>
                  <a:pt x="2036809" y="1616600"/>
                </a:lnTo>
                <a:lnTo>
                  <a:pt x="2032960" y="1610825"/>
                </a:lnTo>
                <a:close/>
                <a:moveTo>
                  <a:pt x="1840482" y="1605060"/>
                </a:moveTo>
                <a:lnTo>
                  <a:pt x="1850106" y="1606985"/>
                </a:lnTo>
                <a:lnTo>
                  <a:pt x="1844331" y="1610835"/>
                </a:lnTo>
                <a:close/>
                <a:moveTo>
                  <a:pt x="2279334" y="1605057"/>
                </a:moveTo>
                <a:lnTo>
                  <a:pt x="2287033" y="1610831"/>
                </a:lnTo>
                <a:lnTo>
                  <a:pt x="2279334" y="1614681"/>
                </a:lnTo>
                <a:close/>
                <a:moveTo>
                  <a:pt x="2290882" y="1605056"/>
                </a:moveTo>
                <a:lnTo>
                  <a:pt x="2300506" y="1605056"/>
                </a:lnTo>
                <a:cubicBezTo>
                  <a:pt x="2294732" y="1616605"/>
                  <a:pt x="2306281" y="1612756"/>
                  <a:pt x="2290882" y="1616605"/>
                </a:cubicBezTo>
                <a:cubicBezTo>
                  <a:pt x="2292807" y="1606981"/>
                  <a:pt x="2294732" y="1610831"/>
                  <a:pt x="2290882" y="1605056"/>
                </a:cubicBezTo>
                <a:close/>
                <a:moveTo>
                  <a:pt x="1979066" y="1605049"/>
                </a:moveTo>
                <a:cubicBezTo>
                  <a:pt x="1986766" y="1608898"/>
                  <a:pt x="1982916" y="1606974"/>
                  <a:pt x="1984841" y="1612749"/>
                </a:cubicBezTo>
                <a:lnTo>
                  <a:pt x="1975217" y="1612749"/>
                </a:lnTo>
                <a:close/>
                <a:moveTo>
                  <a:pt x="2385196" y="1597352"/>
                </a:moveTo>
                <a:lnTo>
                  <a:pt x="2381347" y="1599277"/>
                </a:lnTo>
                <a:lnTo>
                  <a:pt x="2385196" y="1599277"/>
                </a:lnTo>
                <a:close/>
                <a:moveTo>
                  <a:pt x="2261769" y="1595195"/>
                </a:moveTo>
                <a:cubicBezTo>
                  <a:pt x="2261530" y="1595435"/>
                  <a:pt x="2262010" y="1596398"/>
                  <a:pt x="2267784" y="1597360"/>
                </a:cubicBezTo>
                <a:lnTo>
                  <a:pt x="2279334" y="1597360"/>
                </a:lnTo>
                <a:lnTo>
                  <a:pt x="2273559" y="1603135"/>
                </a:lnTo>
                <a:lnTo>
                  <a:pt x="2275485" y="1606984"/>
                </a:lnTo>
                <a:lnTo>
                  <a:pt x="2271634" y="1608909"/>
                </a:lnTo>
                <a:lnTo>
                  <a:pt x="2267784" y="1606984"/>
                </a:lnTo>
                <a:lnTo>
                  <a:pt x="2262010" y="1608909"/>
                </a:lnTo>
                <a:lnTo>
                  <a:pt x="2260085" y="1597360"/>
                </a:lnTo>
                <a:cubicBezTo>
                  <a:pt x="2262972" y="1595435"/>
                  <a:pt x="2262010" y="1594954"/>
                  <a:pt x="2261769" y="1595195"/>
                </a:cubicBezTo>
                <a:close/>
                <a:moveTo>
                  <a:pt x="1852031" y="1589661"/>
                </a:moveTo>
                <a:lnTo>
                  <a:pt x="1863579" y="1589661"/>
                </a:lnTo>
                <a:lnTo>
                  <a:pt x="1859729" y="1595435"/>
                </a:lnTo>
                <a:close/>
                <a:moveTo>
                  <a:pt x="2213891" y="1587742"/>
                </a:moveTo>
                <a:lnTo>
                  <a:pt x="2217741" y="1589667"/>
                </a:lnTo>
                <a:lnTo>
                  <a:pt x="2208116" y="1597366"/>
                </a:lnTo>
                <a:lnTo>
                  <a:pt x="2200418" y="1589667"/>
                </a:lnTo>
                <a:close/>
                <a:moveTo>
                  <a:pt x="2235063" y="1585809"/>
                </a:moveTo>
                <a:lnTo>
                  <a:pt x="2240837" y="1591583"/>
                </a:lnTo>
                <a:lnTo>
                  <a:pt x="2235063" y="1595433"/>
                </a:lnTo>
                <a:lnTo>
                  <a:pt x="2231213" y="1591583"/>
                </a:lnTo>
                <a:close/>
                <a:moveTo>
                  <a:pt x="6783336" y="1574312"/>
                </a:moveTo>
                <a:lnTo>
                  <a:pt x="6789110" y="1589709"/>
                </a:lnTo>
                <a:cubicBezTo>
                  <a:pt x="6785261" y="1589709"/>
                  <a:pt x="6779486" y="1585859"/>
                  <a:pt x="6777561" y="1587784"/>
                </a:cubicBezTo>
                <a:cubicBezTo>
                  <a:pt x="6650526" y="1657079"/>
                  <a:pt x="6527339" y="1726374"/>
                  <a:pt x="6392604" y="1795664"/>
                </a:cubicBezTo>
                <a:cubicBezTo>
                  <a:pt x="6396454" y="1782193"/>
                  <a:pt x="6406078" y="1774492"/>
                  <a:pt x="6413777" y="1770642"/>
                </a:cubicBezTo>
                <a:close/>
                <a:moveTo>
                  <a:pt x="2415992" y="1572330"/>
                </a:moveTo>
                <a:cubicBezTo>
                  <a:pt x="2415992" y="1572330"/>
                  <a:pt x="2415992" y="1572330"/>
                  <a:pt x="2417917" y="1574254"/>
                </a:cubicBezTo>
                <a:cubicBezTo>
                  <a:pt x="2421767" y="1574254"/>
                  <a:pt x="2419843" y="1572330"/>
                  <a:pt x="2419843" y="1572330"/>
                </a:cubicBezTo>
                <a:close/>
                <a:moveTo>
                  <a:pt x="2290882" y="1570411"/>
                </a:moveTo>
                <a:lnTo>
                  <a:pt x="2294732" y="1576185"/>
                </a:lnTo>
                <a:cubicBezTo>
                  <a:pt x="2285107" y="1581960"/>
                  <a:pt x="2290882" y="1581960"/>
                  <a:pt x="2279333" y="1583885"/>
                </a:cubicBezTo>
                <a:cubicBezTo>
                  <a:pt x="2283183" y="1574261"/>
                  <a:pt x="2283183" y="1574261"/>
                  <a:pt x="2290882" y="1570411"/>
                </a:cubicBezTo>
                <a:close/>
                <a:moveTo>
                  <a:pt x="2321678" y="1566555"/>
                </a:moveTo>
                <a:cubicBezTo>
                  <a:pt x="2331303" y="1568480"/>
                  <a:pt x="2329377" y="1564630"/>
                  <a:pt x="2325527" y="1572330"/>
                </a:cubicBezTo>
                <a:lnTo>
                  <a:pt x="2337076" y="1574254"/>
                </a:lnTo>
                <a:lnTo>
                  <a:pt x="2335151" y="1576179"/>
                </a:lnTo>
                <a:cubicBezTo>
                  <a:pt x="2337076" y="1580029"/>
                  <a:pt x="2333227" y="1578104"/>
                  <a:pt x="2337076" y="1580029"/>
                </a:cubicBezTo>
                <a:lnTo>
                  <a:pt x="2337076" y="1578104"/>
                </a:lnTo>
                <a:lnTo>
                  <a:pt x="2340926" y="1578104"/>
                </a:lnTo>
                <a:lnTo>
                  <a:pt x="2339002" y="1576179"/>
                </a:lnTo>
                <a:cubicBezTo>
                  <a:pt x="2342851" y="1576179"/>
                  <a:pt x="2342851" y="1576179"/>
                  <a:pt x="2342851" y="1572330"/>
                </a:cubicBezTo>
                <a:lnTo>
                  <a:pt x="2344776" y="1574254"/>
                </a:lnTo>
                <a:cubicBezTo>
                  <a:pt x="2346700" y="1572330"/>
                  <a:pt x="2346700" y="1572330"/>
                  <a:pt x="2348625" y="1570405"/>
                </a:cubicBezTo>
                <a:lnTo>
                  <a:pt x="2350550" y="1570405"/>
                </a:lnTo>
                <a:cubicBezTo>
                  <a:pt x="2350550" y="1570405"/>
                  <a:pt x="2352475" y="1570405"/>
                  <a:pt x="2352475" y="1570405"/>
                </a:cubicBezTo>
                <a:cubicBezTo>
                  <a:pt x="2346700" y="1589653"/>
                  <a:pt x="2342851" y="1608900"/>
                  <a:pt x="2339002" y="1628148"/>
                </a:cubicBezTo>
                <a:lnTo>
                  <a:pt x="2333227" y="1622374"/>
                </a:lnTo>
                <a:lnTo>
                  <a:pt x="2335151" y="1618524"/>
                </a:lnTo>
                <a:lnTo>
                  <a:pt x="2325527" y="1618524"/>
                </a:lnTo>
                <a:lnTo>
                  <a:pt x="2327452" y="1614676"/>
                </a:lnTo>
                <a:cubicBezTo>
                  <a:pt x="2325527" y="1612750"/>
                  <a:pt x="2325527" y="1610826"/>
                  <a:pt x="2325527" y="1610826"/>
                </a:cubicBezTo>
                <a:cubicBezTo>
                  <a:pt x="2325527" y="1610826"/>
                  <a:pt x="2327452" y="1610826"/>
                  <a:pt x="2327452" y="1608900"/>
                </a:cubicBezTo>
                <a:cubicBezTo>
                  <a:pt x="2329377" y="1606976"/>
                  <a:pt x="2325527" y="1605052"/>
                  <a:pt x="2333227" y="1608900"/>
                </a:cubicBezTo>
                <a:lnTo>
                  <a:pt x="2339002" y="1603126"/>
                </a:lnTo>
                <a:lnTo>
                  <a:pt x="2335151" y="1593502"/>
                </a:lnTo>
                <a:lnTo>
                  <a:pt x="2333227" y="1593502"/>
                </a:lnTo>
                <a:lnTo>
                  <a:pt x="2333227" y="1601201"/>
                </a:lnTo>
                <a:lnTo>
                  <a:pt x="2325527" y="1595428"/>
                </a:lnTo>
                <a:cubicBezTo>
                  <a:pt x="2319753" y="1605052"/>
                  <a:pt x="2327452" y="1599277"/>
                  <a:pt x="2313979" y="1601201"/>
                </a:cubicBezTo>
                <a:lnTo>
                  <a:pt x="2313979" y="1593502"/>
                </a:lnTo>
                <a:lnTo>
                  <a:pt x="2319753" y="1593502"/>
                </a:lnTo>
                <a:lnTo>
                  <a:pt x="2319753" y="1591578"/>
                </a:lnTo>
                <a:cubicBezTo>
                  <a:pt x="2321678" y="1591578"/>
                  <a:pt x="2321678" y="1591578"/>
                  <a:pt x="2323603" y="1593502"/>
                </a:cubicBezTo>
                <a:lnTo>
                  <a:pt x="2327452" y="1593502"/>
                </a:lnTo>
                <a:lnTo>
                  <a:pt x="2321678" y="1587728"/>
                </a:lnTo>
                <a:cubicBezTo>
                  <a:pt x="2321678" y="1585803"/>
                  <a:pt x="2321678" y="1585803"/>
                  <a:pt x="2321678" y="1585803"/>
                </a:cubicBezTo>
                <a:lnTo>
                  <a:pt x="2327452" y="1581954"/>
                </a:lnTo>
                <a:lnTo>
                  <a:pt x="2329377" y="1581954"/>
                </a:lnTo>
                <a:lnTo>
                  <a:pt x="2327452" y="1580029"/>
                </a:lnTo>
                <a:lnTo>
                  <a:pt x="2327452" y="1581954"/>
                </a:lnTo>
                <a:lnTo>
                  <a:pt x="2323603" y="1580029"/>
                </a:lnTo>
                <a:lnTo>
                  <a:pt x="2317828" y="1583878"/>
                </a:lnTo>
                <a:lnTo>
                  <a:pt x="2312054" y="1581954"/>
                </a:lnTo>
                <a:cubicBezTo>
                  <a:pt x="2313979" y="1585803"/>
                  <a:pt x="2313979" y="1587728"/>
                  <a:pt x="2313979" y="1587728"/>
                </a:cubicBezTo>
                <a:cubicBezTo>
                  <a:pt x="2313979" y="1589653"/>
                  <a:pt x="2315904" y="1589653"/>
                  <a:pt x="2317828" y="1591578"/>
                </a:cubicBezTo>
                <a:lnTo>
                  <a:pt x="2306280" y="1589653"/>
                </a:lnTo>
                <a:cubicBezTo>
                  <a:pt x="2312054" y="1581954"/>
                  <a:pt x="2315904" y="1578104"/>
                  <a:pt x="2315904" y="1568480"/>
                </a:cubicBezTo>
                <a:lnTo>
                  <a:pt x="2321678" y="1572330"/>
                </a:lnTo>
                <a:close/>
                <a:moveTo>
                  <a:pt x="4960563" y="1562763"/>
                </a:moveTo>
                <a:cubicBezTo>
                  <a:pt x="4914368" y="1603183"/>
                  <a:pt x="4872023" y="1647452"/>
                  <a:pt x="4829678" y="1689797"/>
                </a:cubicBezTo>
                <a:cubicBezTo>
                  <a:pt x="4833527" y="1695574"/>
                  <a:pt x="4837377" y="1699424"/>
                  <a:pt x="4839302" y="1705197"/>
                </a:cubicBezTo>
                <a:lnTo>
                  <a:pt x="4854700" y="1678249"/>
                </a:lnTo>
                <a:cubicBezTo>
                  <a:pt x="4854700" y="1680174"/>
                  <a:pt x="4854700" y="1687874"/>
                  <a:pt x="4854700" y="1684022"/>
                </a:cubicBezTo>
                <a:cubicBezTo>
                  <a:pt x="4850850" y="1691723"/>
                  <a:pt x="4848926" y="1697498"/>
                  <a:pt x="4847001" y="1703274"/>
                </a:cubicBezTo>
                <a:cubicBezTo>
                  <a:pt x="4891271" y="1664777"/>
                  <a:pt x="4929767" y="1620505"/>
                  <a:pt x="4966338" y="1572385"/>
                </a:cubicBezTo>
                <a:cubicBezTo>
                  <a:pt x="4964413" y="1568537"/>
                  <a:pt x="4962488" y="1566611"/>
                  <a:pt x="4960563" y="1562763"/>
                </a:cubicBezTo>
                <a:close/>
                <a:moveTo>
                  <a:pt x="2140749" y="1558868"/>
                </a:moveTo>
                <a:cubicBezTo>
                  <a:pt x="2140749" y="1558868"/>
                  <a:pt x="2146524" y="1562718"/>
                  <a:pt x="2146524" y="1562718"/>
                </a:cubicBezTo>
                <a:lnTo>
                  <a:pt x="2136899" y="1570417"/>
                </a:lnTo>
                <a:lnTo>
                  <a:pt x="2129200" y="1562718"/>
                </a:lnTo>
                <a:cubicBezTo>
                  <a:pt x="2136899" y="1558868"/>
                  <a:pt x="2127275" y="1558868"/>
                  <a:pt x="2140749" y="1558868"/>
                </a:cubicBezTo>
                <a:close/>
                <a:moveTo>
                  <a:pt x="4922067" y="1556986"/>
                </a:moveTo>
                <a:cubicBezTo>
                  <a:pt x="4895121" y="1582008"/>
                  <a:pt x="4868174" y="1605106"/>
                  <a:pt x="4839302" y="1630130"/>
                </a:cubicBezTo>
                <a:cubicBezTo>
                  <a:pt x="4845076" y="1628205"/>
                  <a:pt x="4852775" y="1628205"/>
                  <a:pt x="4858550" y="1626278"/>
                </a:cubicBezTo>
                <a:cubicBezTo>
                  <a:pt x="4879722" y="1603183"/>
                  <a:pt x="4900895" y="1580082"/>
                  <a:pt x="4922067" y="1556986"/>
                </a:cubicBezTo>
                <a:close/>
                <a:moveTo>
                  <a:pt x="2279334" y="1556938"/>
                </a:moveTo>
                <a:lnTo>
                  <a:pt x="2287033" y="1562712"/>
                </a:lnTo>
                <a:lnTo>
                  <a:pt x="2279334" y="1562712"/>
                </a:lnTo>
                <a:close/>
                <a:moveTo>
                  <a:pt x="3536219" y="1553138"/>
                </a:moveTo>
                <a:cubicBezTo>
                  <a:pt x="3509272" y="1816836"/>
                  <a:pt x="3364913" y="1966939"/>
                  <a:pt x="3199383" y="2076656"/>
                </a:cubicBezTo>
                <a:cubicBezTo>
                  <a:pt x="3199383" y="2086287"/>
                  <a:pt x="3197457" y="2095917"/>
                  <a:pt x="3195532" y="2105547"/>
                </a:cubicBezTo>
                <a:cubicBezTo>
                  <a:pt x="3209005" y="2099767"/>
                  <a:pt x="3253276" y="2061250"/>
                  <a:pt x="3255201" y="2059325"/>
                </a:cubicBezTo>
                <a:cubicBezTo>
                  <a:pt x="3359139" y="1980412"/>
                  <a:pt x="3499649" y="1841858"/>
                  <a:pt x="3543919" y="1659005"/>
                </a:cubicBezTo>
                <a:cubicBezTo>
                  <a:pt x="3541994" y="1657078"/>
                  <a:pt x="3538144" y="1655151"/>
                  <a:pt x="3536219" y="1653226"/>
                </a:cubicBezTo>
                <a:cubicBezTo>
                  <a:pt x="3522746" y="1643602"/>
                  <a:pt x="3540069" y="1637829"/>
                  <a:pt x="3545843" y="1639755"/>
                </a:cubicBezTo>
                <a:cubicBezTo>
                  <a:pt x="3545843" y="1639755"/>
                  <a:pt x="3547768" y="1639755"/>
                  <a:pt x="3547768" y="1639755"/>
                </a:cubicBezTo>
                <a:cubicBezTo>
                  <a:pt x="3547768" y="1632054"/>
                  <a:pt x="3549693" y="1624354"/>
                  <a:pt x="3551618" y="1616654"/>
                </a:cubicBezTo>
                <a:cubicBezTo>
                  <a:pt x="3555467" y="1597407"/>
                  <a:pt x="3557392" y="1562763"/>
                  <a:pt x="3536219" y="1553138"/>
                </a:cubicBezTo>
                <a:close/>
                <a:moveTo>
                  <a:pt x="2288958" y="1553088"/>
                </a:moveTo>
                <a:cubicBezTo>
                  <a:pt x="2292807" y="1555012"/>
                  <a:pt x="2292807" y="1556937"/>
                  <a:pt x="2300506" y="1556937"/>
                </a:cubicBezTo>
                <a:cubicBezTo>
                  <a:pt x="2300506" y="1568486"/>
                  <a:pt x="2298581" y="1566561"/>
                  <a:pt x="2292807" y="1570411"/>
                </a:cubicBezTo>
                <a:lnTo>
                  <a:pt x="2292807" y="1564637"/>
                </a:lnTo>
                <a:close/>
                <a:moveTo>
                  <a:pt x="2398669" y="1553082"/>
                </a:moveTo>
                <a:lnTo>
                  <a:pt x="2392895" y="1555007"/>
                </a:lnTo>
                <a:lnTo>
                  <a:pt x="2398669" y="1560781"/>
                </a:lnTo>
                <a:lnTo>
                  <a:pt x="2402519" y="1556931"/>
                </a:lnTo>
                <a:close/>
                <a:moveTo>
                  <a:pt x="2027186" y="1551154"/>
                </a:moveTo>
                <a:lnTo>
                  <a:pt x="2036810" y="1551154"/>
                </a:lnTo>
                <a:lnTo>
                  <a:pt x="2032960" y="1556929"/>
                </a:lnTo>
                <a:close/>
                <a:moveTo>
                  <a:pt x="2092629" y="1545385"/>
                </a:moveTo>
                <a:lnTo>
                  <a:pt x="2102253" y="1545385"/>
                </a:lnTo>
                <a:lnTo>
                  <a:pt x="2102253" y="1551160"/>
                </a:lnTo>
                <a:cubicBezTo>
                  <a:pt x="2096478" y="1549235"/>
                  <a:pt x="2096478" y="1551160"/>
                  <a:pt x="2096478" y="1551160"/>
                </a:cubicBezTo>
                <a:cubicBezTo>
                  <a:pt x="2096478" y="1549235"/>
                  <a:pt x="2094554" y="1549235"/>
                  <a:pt x="2092629" y="1545385"/>
                </a:cubicBezTo>
                <a:close/>
                <a:moveTo>
                  <a:pt x="5187689" y="1543515"/>
                </a:moveTo>
                <a:cubicBezTo>
                  <a:pt x="5168441" y="1553138"/>
                  <a:pt x="5151117" y="1564686"/>
                  <a:pt x="5135719" y="1580082"/>
                </a:cubicBezTo>
                <a:cubicBezTo>
                  <a:pt x="5137644" y="1585858"/>
                  <a:pt x="5141493" y="1589707"/>
                  <a:pt x="5143418" y="1595482"/>
                </a:cubicBezTo>
                <a:cubicBezTo>
                  <a:pt x="5143418" y="1591631"/>
                  <a:pt x="5145343" y="1587783"/>
                  <a:pt x="5147268" y="1583933"/>
                </a:cubicBezTo>
                <a:cubicBezTo>
                  <a:pt x="5154967" y="1582008"/>
                  <a:pt x="5160741" y="1582008"/>
                  <a:pt x="5168441" y="1582008"/>
                </a:cubicBezTo>
                <a:cubicBezTo>
                  <a:pt x="5176140" y="1570461"/>
                  <a:pt x="5181914" y="1556986"/>
                  <a:pt x="5187689" y="1543515"/>
                </a:cubicBezTo>
                <a:close/>
                <a:moveTo>
                  <a:pt x="4991360" y="1541589"/>
                </a:moveTo>
                <a:cubicBezTo>
                  <a:pt x="4981736" y="1547362"/>
                  <a:pt x="4974037" y="1555062"/>
                  <a:pt x="4966338" y="1560837"/>
                </a:cubicBezTo>
                <a:cubicBezTo>
                  <a:pt x="4968262" y="1562763"/>
                  <a:pt x="4970187" y="1564686"/>
                  <a:pt x="4972112" y="1568537"/>
                </a:cubicBezTo>
                <a:cubicBezTo>
                  <a:pt x="4979811" y="1558911"/>
                  <a:pt x="4985586" y="1551212"/>
                  <a:pt x="4991360" y="1541589"/>
                </a:cubicBezTo>
                <a:close/>
                <a:moveTo>
                  <a:pt x="2285107" y="1531915"/>
                </a:moveTo>
                <a:lnTo>
                  <a:pt x="2288958" y="1537689"/>
                </a:lnTo>
                <a:lnTo>
                  <a:pt x="2285107" y="1539614"/>
                </a:lnTo>
                <a:lnTo>
                  <a:pt x="2279333" y="1535765"/>
                </a:lnTo>
                <a:close/>
                <a:moveTo>
                  <a:pt x="4902820" y="1530041"/>
                </a:moveTo>
                <a:cubicBezTo>
                  <a:pt x="4895121" y="1533891"/>
                  <a:pt x="4883572" y="1535814"/>
                  <a:pt x="4873948" y="1533891"/>
                </a:cubicBezTo>
                <a:cubicBezTo>
                  <a:pt x="4864324" y="1531965"/>
                  <a:pt x="4860474" y="1545438"/>
                  <a:pt x="4858550" y="1547362"/>
                </a:cubicBezTo>
                <a:cubicBezTo>
                  <a:pt x="4852775" y="1553138"/>
                  <a:pt x="4847001" y="1551212"/>
                  <a:pt x="4843151" y="1547362"/>
                </a:cubicBezTo>
                <a:cubicBezTo>
                  <a:pt x="4841226" y="1549288"/>
                  <a:pt x="4841226" y="1549288"/>
                  <a:pt x="4839302" y="1551212"/>
                </a:cubicBezTo>
                <a:cubicBezTo>
                  <a:pt x="4839302" y="1564686"/>
                  <a:pt x="4841226" y="1576234"/>
                  <a:pt x="4837377" y="1583933"/>
                </a:cubicBezTo>
                <a:cubicBezTo>
                  <a:pt x="4831603" y="1601256"/>
                  <a:pt x="4810430" y="1605106"/>
                  <a:pt x="4800806" y="1626278"/>
                </a:cubicBezTo>
                <a:cubicBezTo>
                  <a:pt x="4804656" y="1626278"/>
                  <a:pt x="4806580" y="1628205"/>
                  <a:pt x="4808505" y="1628205"/>
                </a:cubicBezTo>
                <a:cubicBezTo>
                  <a:pt x="4845076" y="1597407"/>
                  <a:pt x="4875873" y="1562763"/>
                  <a:pt x="4902820" y="1530041"/>
                </a:cubicBezTo>
                <a:close/>
                <a:moveTo>
                  <a:pt x="2298582" y="1522290"/>
                </a:moveTo>
                <a:cubicBezTo>
                  <a:pt x="2302432" y="1533840"/>
                  <a:pt x="2294732" y="1522290"/>
                  <a:pt x="2302432" y="1533840"/>
                </a:cubicBezTo>
                <a:lnTo>
                  <a:pt x="2287032" y="1533840"/>
                </a:lnTo>
                <a:lnTo>
                  <a:pt x="2283183" y="1528065"/>
                </a:lnTo>
                <a:close/>
                <a:moveTo>
                  <a:pt x="5324348" y="1510793"/>
                </a:moveTo>
                <a:cubicBezTo>
                  <a:pt x="5320499" y="1512717"/>
                  <a:pt x="5316649" y="1512717"/>
                  <a:pt x="5312800" y="1512717"/>
                </a:cubicBezTo>
                <a:cubicBezTo>
                  <a:pt x="5310875" y="1514642"/>
                  <a:pt x="5310875" y="1518492"/>
                  <a:pt x="5308950" y="1520417"/>
                </a:cubicBezTo>
                <a:cubicBezTo>
                  <a:pt x="5305100" y="1526192"/>
                  <a:pt x="5305100" y="1533891"/>
                  <a:pt x="5308950" y="1541589"/>
                </a:cubicBezTo>
                <a:cubicBezTo>
                  <a:pt x="5314724" y="1533891"/>
                  <a:pt x="5320499" y="1522342"/>
                  <a:pt x="5324348" y="1510793"/>
                </a:cubicBezTo>
                <a:close/>
                <a:moveTo>
                  <a:pt x="2425617" y="1506887"/>
                </a:moveTo>
                <a:lnTo>
                  <a:pt x="2425617" y="1512662"/>
                </a:lnTo>
                <a:lnTo>
                  <a:pt x="2429466" y="1510737"/>
                </a:lnTo>
                <a:close/>
                <a:moveTo>
                  <a:pt x="383418" y="1499185"/>
                </a:moveTo>
                <a:cubicBezTo>
                  <a:pt x="377643" y="1497260"/>
                  <a:pt x="375719" y="1497260"/>
                  <a:pt x="373794" y="1501109"/>
                </a:cubicBezTo>
                <a:cubicBezTo>
                  <a:pt x="379568" y="1583875"/>
                  <a:pt x="518153" y="1564627"/>
                  <a:pt x="602844" y="1595424"/>
                </a:cubicBezTo>
                <a:cubicBezTo>
                  <a:pt x="624016" y="1608897"/>
                  <a:pt x="616317" y="1639694"/>
                  <a:pt x="608618" y="1670492"/>
                </a:cubicBezTo>
                <a:cubicBezTo>
                  <a:pt x="647115" y="1660867"/>
                  <a:pt x="633640" y="1591574"/>
                  <a:pt x="610543" y="1580026"/>
                </a:cubicBezTo>
                <a:cubicBezTo>
                  <a:pt x="527777" y="1549230"/>
                  <a:pt x="402666" y="1576176"/>
                  <a:pt x="383418" y="1499185"/>
                </a:cubicBezTo>
                <a:close/>
                <a:moveTo>
                  <a:pt x="2439090" y="1497263"/>
                </a:moveTo>
                <a:lnTo>
                  <a:pt x="2433316" y="1503038"/>
                </a:lnTo>
                <a:lnTo>
                  <a:pt x="2431391" y="1506887"/>
                </a:lnTo>
                <a:cubicBezTo>
                  <a:pt x="2437165" y="1506887"/>
                  <a:pt x="2439090" y="1506887"/>
                  <a:pt x="2437165" y="1503038"/>
                </a:cubicBezTo>
                <a:lnTo>
                  <a:pt x="2441015" y="1499189"/>
                </a:lnTo>
                <a:close/>
                <a:moveTo>
                  <a:pt x="1973293" y="1491486"/>
                </a:moveTo>
                <a:lnTo>
                  <a:pt x="1980992" y="1497260"/>
                </a:lnTo>
                <a:lnTo>
                  <a:pt x="1973293" y="1501110"/>
                </a:lnTo>
                <a:close/>
                <a:moveTo>
                  <a:pt x="4925917" y="1489622"/>
                </a:moveTo>
                <a:cubicBezTo>
                  <a:pt x="4927842" y="1491546"/>
                  <a:pt x="4927842" y="1495396"/>
                  <a:pt x="4927842" y="1499244"/>
                </a:cubicBezTo>
                <a:cubicBezTo>
                  <a:pt x="4929767" y="1495396"/>
                  <a:pt x="4931691" y="1493470"/>
                  <a:pt x="4933616" y="1489622"/>
                </a:cubicBezTo>
                <a:cubicBezTo>
                  <a:pt x="4929767" y="1489622"/>
                  <a:pt x="4927842" y="1489622"/>
                  <a:pt x="4925917" y="1489622"/>
                </a:cubicBezTo>
                <a:close/>
                <a:moveTo>
                  <a:pt x="2429466" y="1487639"/>
                </a:moveTo>
                <a:cubicBezTo>
                  <a:pt x="2431391" y="1491489"/>
                  <a:pt x="2429466" y="1487639"/>
                  <a:pt x="2431391" y="1491489"/>
                </a:cubicBezTo>
                <a:lnTo>
                  <a:pt x="2427541" y="1493414"/>
                </a:lnTo>
                <a:lnTo>
                  <a:pt x="2425617" y="1491489"/>
                </a:lnTo>
                <a:cubicBezTo>
                  <a:pt x="2423692" y="1493414"/>
                  <a:pt x="2423692" y="1495339"/>
                  <a:pt x="2421767" y="1497263"/>
                </a:cubicBezTo>
                <a:lnTo>
                  <a:pt x="2423692" y="1497263"/>
                </a:lnTo>
                <a:lnTo>
                  <a:pt x="2425617" y="1497263"/>
                </a:lnTo>
                <a:lnTo>
                  <a:pt x="2427541" y="1493414"/>
                </a:lnTo>
                <a:cubicBezTo>
                  <a:pt x="2433316" y="1493414"/>
                  <a:pt x="2431391" y="1493414"/>
                  <a:pt x="2433316" y="1487639"/>
                </a:cubicBezTo>
                <a:close/>
                <a:moveTo>
                  <a:pt x="2444864" y="1481866"/>
                </a:moveTo>
                <a:lnTo>
                  <a:pt x="2444864" y="1483790"/>
                </a:lnTo>
                <a:lnTo>
                  <a:pt x="2442940" y="1483790"/>
                </a:lnTo>
                <a:cubicBezTo>
                  <a:pt x="2442940" y="1481866"/>
                  <a:pt x="2442940" y="1483790"/>
                  <a:pt x="2444864" y="1481866"/>
                </a:cubicBezTo>
                <a:close/>
                <a:moveTo>
                  <a:pt x="2337076" y="1478016"/>
                </a:moveTo>
                <a:cubicBezTo>
                  <a:pt x="2325527" y="1483790"/>
                  <a:pt x="2329377" y="1478016"/>
                  <a:pt x="2321678" y="1485715"/>
                </a:cubicBezTo>
                <a:cubicBezTo>
                  <a:pt x="2333227" y="1489565"/>
                  <a:pt x="2321678" y="1485715"/>
                  <a:pt x="2333227" y="1493414"/>
                </a:cubicBezTo>
                <a:cubicBezTo>
                  <a:pt x="2337076" y="1487639"/>
                  <a:pt x="2337076" y="1495339"/>
                  <a:pt x="2337076" y="1485715"/>
                </a:cubicBezTo>
                <a:close/>
                <a:moveTo>
                  <a:pt x="2439090" y="1476091"/>
                </a:moveTo>
                <a:lnTo>
                  <a:pt x="2441015" y="1478016"/>
                </a:lnTo>
                <a:lnTo>
                  <a:pt x="2439090" y="1479941"/>
                </a:lnTo>
                <a:cubicBezTo>
                  <a:pt x="2441015" y="1479941"/>
                  <a:pt x="2441015" y="1478016"/>
                  <a:pt x="2441015" y="1479941"/>
                </a:cubicBezTo>
                <a:cubicBezTo>
                  <a:pt x="2441015" y="1481866"/>
                  <a:pt x="2441015" y="1479941"/>
                  <a:pt x="2439090" y="1481866"/>
                </a:cubicBezTo>
                <a:cubicBezTo>
                  <a:pt x="2441015" y="1481866"/>
                  <a:pt x="2441015" y="1479941"/>
                  <a:pt x="2441015" y="1481866"/>
                </a:cubicBezTo>
                <a:cubicBezTo>
                  <a:pt x="2441015" y="1485715"/>
                  <a:pt x="2441015" y="1483790"/>
                  <a:pt x="2439090" y="1485715"/>
                </a:cubicBezTo>
                <a:lnTo>
                  <a:pt x="2444864" y="1485715"/>
                </a:lnTo>
                <a:lnTo>
                  <a:pt x="2444864" y="1483790"/>
                </a:lnTo>
                <a:cubicBezTo>
                  <a:pt x="2448714" y="1481866"/>
                  <a:pt x="2448714" y="1483790"/>
                  <a:pt x="2450640" y="1479941"/>
                </a:cubicBezTo>
                <a:lnTo>
                  <a:pt x="2442940" y="1478016"/>
                </a:lnTo>
                <a:lnTo>
                  <a:pt x="2441015" y="1476091"/>
                </a:lnTo>
                <a:close/>
                <a:moveTo>
                  <a:pt x="2479511" y="1449144"/>
                </a:moveTo>
                <a:lnTo>
                  <a:pt x="2477586" y="1451069"/>
                </a:lnTo>
                <a:lnTo>
                  <a:pt x="2481435" y="1451069"/>
                </a:lnTo>
                <a:close/>
                <a:moveTo>
                  <a:pt x="2481435" y="1441445"/>
                </a:moveTo>
                <a:lnTo>
                  <a:pt x="2483360" y="1443370"/>
                </a:lnTo>
                <a:lnTo>
                  <a:pt x="2485285" y="1441445"/>
                </a:lnTo>
                <a:close/>
                <a:moveTo>
                  <a:pt x="2460263" y="1441445"/>
                </a:moveTo>
                <a:cubicBezTo>
                  <a:pt x="2462188" y="1443370"/>
                  <a:pt x="2462188" y="1443370"/>
                  <a:pt x="2462188" y="1443370"/>
                </a:cubicBezTo>
                <a:cubicBezTo>
                  <a:pt x="2462188" y="1443370"/>
                  <a:pt x="2462188" y="1445295"/>
                  <a:pt x="2464112" y="1445295"/>
                </a:cubicBezTo>
                <a:cubicBezTo>
                  <a:pt x="2464112" y="1445295"/>
                  <a:pt x="2464112" y="1445295"/>
                  <a:pt x="2464112" y="1441445"/>
                </a:cubicBezTo>
                <a:close/>
                <a:moveTo>
                  <a:pt x="2487210" y="1433746"/>
                </a:moveTo>
                <a:cubicBezTo>
                  <a:pt x="2487210" y="1439520"/>
                  <a:pt x="2489134" y="1437596"/>
                  <a:pt x="2489134" y="1437596"/>
                </a:cubicBezTo>
                <a:cubicBezTo>
                  <a:pt x="2489134" y="1433746"/>
                  <a:pt x="2491059" y="1437596"/>
                  <a:pt x="2487210" y="1433746"/>
                </a:cubicBezTo>
                <a:close/>
                <a:moveTo>
                  <a:pt x="3174360" y="1431878"/>
                </a:moveTo>
                <a:cubicBezTo>
                  <a:pt x="3151262" y="1454974"/>
                  <a:pt x="3124316" y="1474223"/>
                  <a:pt x="3103142" y="1503094"/>
                </a:cubicBezTo>
                <a:lnTo>
                  <a:pt x="3133939" y="1555062"/>
                </a:lnTo>
                <a:cubicBezTo>
                  <a:pt x="3143563" y="1508867"/>
                  <a:pt x="3160886" y="1470374"/>
                  <a:pt x="3197457" y="1449202"/>
                </a:cubicBezTo>
                <a:cubicBezTo>
                  <a:pt x="3191683" y="1445351"/>
                  <a:pt x="3185908" y="1439578"/>
                  <a:pt x="3182059" y="1437653"/>
                </a:cubicBezTo>
                <a:cubicBezTo>
                  <a:pt x="3180134" y="1435728"/>
                  <a:pt x="3176284" y="1433804"/>
                  <a:pt x="3174360" y="1431878"/>
                </a:cubicBezTo>
                <a:close/>
                <a:moveTo>
                  <a:pt x="2508352" y="1429837"/>
                </a:moveTo>
                <a:lnTo>
                  <a:pt x="2508382" y="1429896"/>
                </a:lnTo>
                <a:lnTo>
                  <a:pt x="2508310" y="1429896"/>
                </a:lnTo>
                <a:close/>
                <a:moveTo>
                  <a:pt x="2496833" y="1427972"/>
                </a:moveTo>
                <a:cubicBezTo>
                  <a:pt x="2492984" y="1427972"/>
                  <a:pt x="2494910" y="1427972"/>
                  <a:pt x="2492984" y="1429896"/>
                </a:cubicBezTo>
                <a:lnTo>
                  <a:pt x="2489134" y="1429896"/>
                </a:lnTo>
                <a:lnTo>
                  <a:pt x="2491059" y="1431821"/>
                </a:lnTo>
                <a:lnTo>
                  <a:pt x="2492984" y="1429896"/>
                </a:lnTo>
                <a:cubicBezTo>
                  <a:pt x="2498758" y="1429896"/>
                  <a:pt x="2494910" y="1431821"/>
                  <a:pt x="2496833" y="1427972"/>
                </a:cubicBezTo>
                <a:close/>
                <a:moveTo>
                  <a:pt x="2489134" y="1427972"/>
                </a:moveTo>
                <a:cubicBezTo>
                  <a:pt x="2485285" y="1427972"/>
                  <a:pt x="2485285" y="1427972"/>
                  <a:pt x="2485285" y="1431821"/>
                </a:cubicBezTo>
                <a:lnTo>
                  <a:pt x="2487210" y="1429896"/>
                </a:lnTo>
                <a:close/>
                <a:moveTo>
                  <a:pt x="2471811" y="1427972"/>
                </a:moveTo>
                <a:lnTo>
                  <a:pt x="2471811" y="1429896"/>
                </a:lnTo>
                <a:lnTo>
                  <a:pt x="2473736" y="1427972"/>
                </a:lnTo>
                <a:close/>
                <a:moveTo>
                  <a:pt x="2104178" y="1424134"/>
                </a:moveTo>
                <a:cubicBezTo>
                  <a:pt x="2104178" y="1424134"/>
                  <a:pt x="2109952" y="1427984"/>
                  <a:pt x="2111877" y="1429908"/>
                </a:cubicBezTo>
                <a:lnTo>
                  <a:pt x="2108029" y="1441458"/>
                </a:lnTo>
                <a:cubicBezTo>
                  <a:pt x="2102253" y="1445307"/>
                  <a:pt x="2102253" y="1447232"/>
                  <a:pt x="2096478" y="1447232"/>
                </a:cubicBezTo>
                <a:cubicBezTo>
                  <a:pt x="2094554" y="1447232"/>
                  <a:pt x="2088780" y="1443382"/>
                  <a:pt x="2086854" y="1441458"/>
                </a:cubicBezTo>
                <a:lnTo>
                  <a:pt x="2090704" y="1427984"/>
                </a:lnTo>
                <a:cubicBezTo>
                  <a:pt x="2098403" y="1426059"/>
                  <a:pt x="2096478" y="1424134"/>
                  <a:pt x="2104178" y="1424134"/>
                </a:cubicBezTo>
                <a:close/>
                <a:moveTo>
                  <a:pt x="2491059" y="1420272"/>
                </a:moveTo>
                <a:lnTo>
                  <a:pt x="2489134" y="1422197"/>
                </a:lnTo>
                <a:cubicBezTo>
                  <a:pt x="2491059" y="1426047"/>
                  <a:pt x="2489134" y="1422197"/>
                  <a:pt x="2489134" y="1424122"/>
                </a:cubicBezTo>
                <a:lnTo>
                  <a:pt x="2492984" y="1424122"/>
                </a:lnTo>
                <a:cubicBezTo>
                  <a:pt x="2491059" y="1422197"/>
                  <a:pt x="2491059" y="1424122"/>
                  <a:pt x="2491059" y="1420272"/>
                </a:cubicBezTo>
                <a:close/>
                <a:moveTo>
                  <a:pt x="2483360" y="1420272"/>
                </a:moveTo>
                <a:lnTo>
                  <a:pt x="2481435" y="1422197"/>
                </a:lnTo>
                <a:cubicBezTo>
                  <a:pt x="2483360" y="1426047"/>
                  <a:pt x="2481435" y="1422197"/>
                  <a:pt x="2479511" y="1424122"/>
                </a:cubicBezTo>
                <a:lnTo>
                  <a:pt x="2483360" y="1424122"/>
                </a:lnTo>
                <a:lnTo>
                  <a:pt x="2485285" y="1424122"/>
                </a:lnTo>
                <a:cubicBezTo>
                  <a:pt x="2483360" y="1422197"/>
                  <a:pt x="2483360" y="1424122"/>
                  <a:pt x="2483360" y="1420272"/>
                </a:cubicBezTo>
                <a:close/>
                <a:moveTo>
                  <a:pt x="2454488" y="1420272"/>
                </a:moveTo>
                <a:lnTo>
                  <a:pt x="2452563" y="1422197"/>
                </a:lnTo>
                <a:lnTo>
                  <a:pt x="2452563" y="1424122"/>
                </a:lnTo>
                <a:lnTo>
                  <a:pt x="2450640" y="1426047"/>
                </a:lnTo>
                <a:lnTo>
                  <a:pt x="2454488" y="1426047"/>
                </a:lnTo>
                <a:close/>
                <a:moveTo>
                  <a:pt x="2329377" y="1420272"/>
                </a:moveTo>
                <a:cubicBezTo>
                  <a:pt x="2325527" y="1420272"/>
                  <a:pt x="2325527" y="1420272"/>
                  <a:pt x="2325527" y="1422197"/>
                </a:cubicBezTo>
                <a:cubicBezTo>
                  <a:pt x="2325527" y="1426047"/>
                  <a:pt x="2325527" y="1422197"/>
                  <a:pt x="2323603" y="1424122"/>
                </a:cubicBezTo>
                <a:cubicBezTo>
                  <a:pt x="2325527" y="1427972"/>
                  <a:pt x="2321678" y="1426047"/>
                  <a:pt x="2325527" y="1427972"/>
                </a:cubicBezTo>
                <a:lnTo>
                  <a:pt x="2325527" y="1424122"/>
                </a:lnTo>
                <a:cubicBezTo>
                  <a:pt x="2327452" y="1424122"/>
                  <a:pt x="2329377" y="1424122"/>
                  <a:pt x="2329377" y="1422197"/>
                </a:cubicBezTo>
                <a:cubicBezTo>
                  <a:pt x="2329377" y="1422197"/>
                  <a:pt x="2329377" y="1420272"/>
                  <a:pt x="2329377" y="1420272"/>
                </a:cubicBezTo>
                <a:close/>
                <a:moveTo>
                  <a:pt x="2508382" y="1412573"/>
                </a:moveTo>
                <a:lnTo>
                  <a:pt x="2504533" y="1414498"/>
                </a:lnTo>
                <a:lnTo>
                  <a:pt x="2506458" y="1416423"/>
                </a:lnTo>
                <a:cubicBezTo>
                  <a:pt x="2506458" y="1420272"/>
                  <a:pt x="2508382" y="1416423"/>
                  <a:pt x="2506458" y="1420272"/>
                </a:cubicBezTo>
                <a:cubicBezTo>
                  <a:pt x="2508382" y="1420272"/>
                  <a:pt x="2510307" y="1420272"/>
                  <a:pt x="2510307" y="1416423"/>
                </a:cubicBezTo>
                <a:cubicBezTo>
                  <a:pt x="2510307" y="1414498"/>
                  <a:pt x="2508382" y="1414498"/>
                  <a:pt x="2508382" y="1412573"/>
                </a:cubicBezTo>
                <a:close/>
                <a:moveTo>
                  <a:pt x="2489134" y="1412573"/>
                </a:moveTo>
                <a:lnTo>
                  <a:pt x="2491059" y="1414498"/>
                </a:lnTo>
                <a:lnTo>
                  <a:pt x="2492984" y="1412573"/>
                </a:lnTo>
                <a:close/>
                <a:moveTo>
                  <a:pt x="2333227" y="1412573"/>
                </a:moveTo>
                <a:lnTo>
                  <a:pt x="2331303" y="1414498"/>
                </a:lnTo>
                <a:lnTo>
                  <a:pt x="2333227" y="1416423"/>
                </a:lnTo>
                <a:close/>
                <a:moveTo>
                  <a:pt x="2462189" y="1410651"/>
                </a:moveTo>
                <a:lnTo>
                  <a:pt x="2466038" y="1410651"/>
                </a:lnTo>
                <a:lnTo>
                  <a:pt x="2464114" y="1412576"/>
                </a:lnTo>
                <a:close/>
                <a:moveTo>
                  <a:pt x="2044510" y="1410647"/>
                </a:moveTo>
                <a:lnTo>
                  <a:pt x="2052209" y="1410647"/>
                </a:lnTo>
                <a:lnTo>
                  <a:pt x="2050284" y="1416422"/>
                </a:lnTo>
                <a:close/>
                <a:moveTo>
                  <a:pt x="2325527" y="1408724"/>
                </a:moveTo>
                <a:lnTo>
                  <a:pt x="2321678" y="1410648"/>
                </a:lnTo>
                <a:lnTo>
                  <a:pt x="2323603" y="1412573"/>
                </a:lnTo>
                <a:cubicBezTo>
                  <a:pt x="2323603" y="1414498"/>
                  <a:pt x="2323603" y="1412573"/>
                  <a:pt x="2325527" y="1414498"/>
                </a:cubicBezTo>
                <a:close/>
                <a:moveTo>
                  <a:pt x="2339002" y="1406799"/>
                </a:moveTo>
                <a:lnTo>
                  <a:pt x="2339002" y="1408724"/>
                </a:lnTo>
                <a:lnTo>
                  <a:pt x="2339002" y="1410648"/>
                </a:lnTo>
                <a:lnTo>
                  <a:pt x="2342851" y="1410648"/>
                </a:lnTo>
                <a:cubicBezTo>
                  <a:pt x="2340926" y="1408724"/>
                  <a:pt x="2340926" y="1410648"/>
                  <a:pt x="2342851" y="1408724"/>
                </a:cubicBezTo>
                <a:lnTo>
                  <a:pt x="2340926" y="1406799"/>
                </a:lnTo>
                <a:close/>
                <a:moveTo>
                  <a:pt x="2467964" y="1404878"/>
                </a:moveTo>
                <a:cubicBezTo>
                  <a:pt x="2471813" y="1406803"/>
                  <a:pt x="2469889" y="1404878"/>
                  <a:pt x="2471813" y="1404878"/>
                </a:cubicBezTo>
                <a:cubicBezTo>
                  <a:pt x="2469889" y="1408728"/>
                  <a:pt x="2469889" y="1408728"/>
                  <a:pt x="2466039" y="1410652"/>
                </a:cubicBezTo>
                <a:cubicBezTo>
                  <a:pt x="2466039" y="1406803"/>
                  <a:pt x="2467964" y="1410652"/>
                  <a:pt x="2466039" y="1406803"/>
                </a:cubicBezTo>
                <a:close/>
                <a:moveTo>
                  <a:pt x="2358249" y="1404874"/>
                </a:moveTo>
                <a:lnTo>
                  <a:pt x="2356324" y="1406799"/>
                </a:lnTo>
                <a:lnTo>
                  <a:pt x="2358249" y="1408724"/>
                </a:lnTo>
                <a:close/>
                <a:moveTo>
                  <a:pt x="2331303" y="1404874"/>
                </a:moveTo>
                <a:lnTo>
                  <a:pt x="2331303" y="1406799"/>
                </a:lnTo>
                <a:lnTo>
                  <a:pt x="2333227" y="1404874"/>
                </a:lnTo>
                <a:close/>
                <a:moveTo>
                  <a:pt x="2494428" y="1404633"/>
                </a:moveTo>
                <a:cubicBezTo>
                  <a:pt x="2494428" y="1404393"/>
                  <a:pt x="2493946" y="1404874"/>
                  <a:pt x="2492984" y="1404874"/>
                </a:cubicBezTo>
                <a:cubicBezTo>
                  <a:pt x="2491059" y="1404874"/>
                  <a:pt x="2491059" y="1406799"/>
                  <a:pt x="2492984" y="1408724"/>
                </a:cubicBezTo>
                <a:cubicBezTo>
                  <a:pt x="2493946" y="1405836"/>
                  <a:pt x="2494428" y="1404874"/>
                  <a:pt x="2494428" y="1404633"/>
                </a:cubicBezTo>
                <a:close/>
                <a:moveTo>
                  <a:pt x="3120465" y="1403008"/>
                </a:moveTo>
                <a:cubicBezTo>
                  <a:pt x="3114691" y="1412631"/>
                  <a:pt x="3108917" y="1420331"/>
                  <a:pt x="3103142" y="1429954"/>
                </a:cubicBezTo>
                <a:cubicBezTo>
                  <a:pt x="3097368" y="1437653"/>
                  <a:pt x="3091594" y="1445351"/>
                  <a:pt x="3085819" y="1453052"/>
                </a:cubicBezTo>
                <a:cubicBezTo>
                  <a:pt x="3089669" y="1454974"/>
                  <a:pt x="3089669" y="1456900"/>
                  <a:pt x="3087745" y="1460750"/>
                </a:cubicBezTo>
                <a:cubicBezTo>
                  <a:pt x="3080045" y="1472299"/>
                  <a:pt x="3087745" y="1481921"/>
                  <a:pt x="3095443" y="1491546"/>
                </a:cubicBezTo>
                <a:cubicBezTo>
                  <a:pt x="3110841" y="1466525"/>
                  <a:pt x="3126240" y="1439578"/>
                  <a:pt x="3141638" y="1412631"/>
                </a:cubicBezTo>
                <a:cubicBezTo>
                  <a:pt x="3135864" y="1408783"/>
                  <a:pt x="3128164" y="1406858"/>
                  <a:pt x="3120465" y="1403008"/>
                </a:cubicBezTo>
                <a:close/>
                <a:moveTo>
                  <a:pt x="2450640" y="1399100"/>
                </a:moveTo>
                <a:lnTo>
                  <a:pt x="2448716" y="1402950"/>
                </a:lnTo>
                <a:lnTo>
                  <a:pt x="2446791" y="1404875"/>
                </a:lnTo>
                <a:cubicBezTo>
                  <a:pt x="2448716" y="1402950"/>
                  <a:pt x="2448716" y="1401025"/>
                  <a:pt x="2450640" y="1399100"/>
                </a:cubicBezTo>
                <a:close/>
                <a:moveTo>
                  <a:pt x="1855880" y="1397183"/>
                </a:moveTo>
                <a:lnTo>
                  <a:pt x="1863579" y="1401033"/>
                </a:lnTo>
                <a:lnTo>
                  <a:pt x="1857805" y="1406807"/>
                </a:lnTo>
                <a:lnTo>
                  <a:pt x="1853955" y="1402957"/>
                </a:lnTo>
                <a:close/>
                <a:moveTo>
                  <a:pt x="2358249" y="1397175"/>
                </a:moveTo>
                <a:lnTo>
                  <a:pt x="2356324" y="1399100"/>
                </a:lnTo>
                <a:lnTo>
                  <a:pt x="2358249" y="1401025"/>
                </a:lnTo>
                <a:close/>
                <a:moveTo>
                  <a:pt x="2486247" y="1396212"/>
                </a:moveTo>
                <a:lnTo>
                  <a:pt x="2487210" y="1397175"/>
                </a:lnTo>
                <a:lnTo>
                  <a:pt x="2485285" y="1397175"/>
                </a:lnTo>
                <a:close/>
                <a:moveTo>
                  <a:pt x="2481437" y="1393328"/>
                </a:moveTo>
                <a:lnTo>
                  <a:pt x="2479512" y="1399102"/>
                </a:lnTo>
                <a:lnTo>
                  <a:pt x="2477587" y="1397177"/>
                </a:lnTo>
                <a:cubicBezTo>
                  <a:pt x="2479512" y="1393328"/>
                  <a:pt x="2475661" y="1393328"/>
                  <a:pt x="2481437" y="1393328"/>
                </a:cubicBezTo>
                <a:close/>
                <a:moveTo>
                  <a:pt x="2485285" y="1393325"/>
                </a:moveTo>
                <a:cubicBezTo>
                  <a:pt x="2485285" y="1393325"/>
                  <a:pt x="2487210" y="1395250"/>
                  <a:pt x="2487210" y="1395250"/>
                </a:cubicBezTo>
                <a:lnTo>
                  <a:pt x="2486247" y="1396212"/>
                </a:lnTo>
                <a:lnTo>
                  <a:pt x="2485285" y="1395250"/>
                </a:lnTo>
                <a:close/>
                <a:moveTo>
                  <a:pt x="2466037" y="1393325"/>
                </a:moveTo>
                <a:lnTo>
                  <a:pt x="2466037" y="1395250"/>
                </a:lnTo>
                <a:lnTo>
                  <a:pt x="2467962" y="1395250"/>
                </a:lnTo>
                <a:lnTo>
                  <a:pt x="2467962" y="1393325"/>
                </a:lnTo>
                <a:close/>
                <a:moveTo>
                  <a:pt x="2054133" y="1391399"/>
                </a:moveTo>
                <a:lnTo>
                  <a:pt x="2063757" y="1393324"/>
                </a:lnTo>
                <a:lnTo>
                  <a:pt x="2057983" y="1397173"/>
                </a:lnTo>
                <a:close/>
                <a:moveTo>
                  <a:pt x="2512232" y="1389476"/>
                </a:moveTo>
                <a:cubicBezTo>
                  <a:pt x="2512232" y="1391401"/>
                  <a:pt x="2510307" y="1391401"/>
                  <a:pt x="2508382" y="1393325"/>
                </a:cubicBezTo>
                <a:cubicBezTo>
                  <a:pt x="2510307" y="1395250"/>
                  <a:pt x="2510307" y="1397175"/>
                  <a:pt x="2514157" y="1397175"/>
                </a:cubicBezTo>
                <a:lnTo>
                  <a:pt x="2514157" y="1395250"/>
                </a:lnTo>
                <a:lnTo>
                  <a:pt x="2514157" y="1393325"/>
                </a:lnTo>
                <a:lnTo>
                  <a:pt x="2518006" y="1393325"/>
                </a:lnTo>
                <a:lnTo>
                  <a:pt x="2518006" y="1389476"/>
                </a:lnTo>
                <a:close/>
                <a:moveTo>
                  <a:pt x="2365948" y="1387551"/>
                </a:moveTo>
                <a:lnTo>
                  <a:pt x="2364023" y="1389476"/>
                </a:lnTo>
                <a:cubicBezTo>
                  <a:pt x="2362098" y="1391401"/>
                  <a:pt x="2362098" y="1389476"/>
                  <a:pt x="2362098" y="1391401"/>
                </a:cubicBezTo>
                <a:lnTo>
                  <a:pt x="2364023" y="1391401"/>
                </a:lnTo>
                <a:lnTo>
                  <a:pt x="2364023" y="1389476"/>
                </a:lnTo>
                <a:lnTo>
                  <a:pt x="2365948" y="1389476"/>
                </a:lnTo>
                <a:close/>
                <a:moveTo>
                  <a:pt x="2487210" y="1385626"/>
                </a:moveTo>
                <a:lnTo>
                  <a:pt x="2487210" y="1387551"/>
                </a:lnTo>
                <a:lnTo>
                  <a:pt x="2483360" y="1387551"/>
                </a:lnTo>
                <a:cubicBezTo>
                  <a:pt x="2481435" y="1391401"/>
                  <a:pt x="2481435" y="1389476"/>
                  <a:pt x="2479511" y="1391401"/>
                </a:cubicBezTo>
                <a:lnTo>
                  <a:pt x="2477586" y="1391401"/>
                </a:lnTo>
                <a:lnTo>
                  <a:pt x="2471811" y="1395250"/>
                </a:lnTo>
                <a:cubicBezTo>
                  <a:pt x="2469887" y="1410648"/>
                  <a:pt x="2464112" y="1399100"/>
                  <a:pt x="2464112" y="1406799"/>
                </a:cubicBezTo>
                <a:cubicBezTo>
                  <a:pt x="2460263" y="1408724"/>
                  <a:pt x="2460263" y="1406799"/>
                  <a:pt x="2460263" y="1410648"/>
                </a:cubicBezTo>
                <a:cubicBezTo>
                  <a:pt x="2456414" y="1410648"/>
                  <a:pt x="2458338" y="1410648"/>
                  <a:pt x="2456414" y="1412573"/>
                </a:cubicBezTo>
                <a:cubicBezTo>
                  <a:pt x="2458338" y="1412573"/>
                  <a:pt x="2458338" y="1412573"/>
                  <a:pt x="2458338" y="1412573"/>
                </a:cubicBezTo>
                <a:cubicBezTo>
                  <a:pt x="2458338" y="1412573"/>
                  <a:pt x="2460263" y="1414498"/>
                  <a:pt x="2460263" y="1414498"/>
                </a:cubicBezTo>
                <a:lnTo>
                  <a:pt x="2460263" y="1418348"/>
                </a:lnTo>
                <a:cubicBezTo>
                  <a:pt x="2458338" y="1419310"/>
                  <a:pt x="2457375" y="1419310"/>
                  <a:pt x="2456894" y="1419550"/>
                </a:cubicBezTo>
                <a:lnTo>
                  <a:pt x="2456763" y="1420272"/>
                </a:lnTo>
                <a:lnTo>
                  <a:pt x="2456414" y="1422197"/>
                </a:lnTo>
                <a:lnTo>
                  <a:pt x="2466037" y="1422197"/>
                </a:lnTo>
                <a:lnTo>
                  <a:pt x="2471811" y="1420272"/>
                </a:lnTo>
                <a:lnTo>
                  <a:pt x="2469887" y="1418348"/>
                </a:lnTo>
                <a:lnTo>
                  <a:pt x="2471811" y="1418348"/>
                </a:lnTo>
                <a:lnTo>
                  <a:pt x="2469889" y="1416424"/>
                </a:lnTo>
                <a:lnTo>
                  <a:pt x="2471813" y="1414499"/>
                </a:lnTo>
                <a:lnTo>
                  <a:pt x="2475663" y="1416424"/>
                </a:lnTo>
                <a:lnTo>
                  <a:pt x="2473739" y="1418348"/>
                </a:lnTo>
                <a:lnTo>
                  <a:pt x="2477586" y="1418348"/>
                </a:lnTo>
                <a:lnTo>
                  <a:pt x="2481435" y="1416423"/>
                </a:lnTo>
                <a:lnTo>
                  <a:pt x="2477586" y="1412573"/>
                </a:lnTo>
                <a:lnTo>
                  <a:pt x="2479511" y="1412573"/>
                </a:lnTo>
                <a:lnTo>
                  <a:pt x="2481435" y="1414498"/>
                </a:lnTo>
                <a:cubicBezTo>
                  <a:pt x="2483360" y="1414498"/>
                  <a:pt x="2481435" y="1414498"/>
                  <a:pt x="2483360" y="1414498"/>
                </a:cubicBezTo>
                <a:lnTo>
                  <a:pt x="2485285" y="1412573"/>
                </a:lnTo>
                <a:lnTo>
                  <a:pt x="2485285" y="1410652"/>
                </a:lnTo>
                <a:lnTo>
                  <a:pt x="2479512" y="1408727"/>
                </a:lnTo>
                <a:lnTo>
                  <a:pt x="2479512" y="1406802"/>
                </a:lnTo>
                <a:cubicBezTo>
                  <a:pt x="2483361" y="1408727"/>
                  <a:pt x="2481437" y="1406802"/>
                  <a:pt x="2483361" y="1406802"/>
                </a:cubicBezTo>
                <a:cubicBezTo>
                  <a:pt x="2484324" y="1407765"/>
                  <a:pt x="2484805" y="1407765"/>
                  <a:pt x="2485045" y="1408005"/>
                </a:cubicBezTo>
                <a:lnTo>
                  <a:pt x="2485285" y="1410648"/>
                </a:lnTo>
                <a:lnTo>
                  <a:pt x="2489134" y="1408724"/>
                </a:lnTo>
                <a:cubicBezTo>
                  <a:pt x="2487210" y="1406799"/>
                  <a:pt x="2487210" y="1408724"/>
                  <a:pt x="2489134" y="1406799"/>
                </a:cubicBezTo>
                <a:cubicBezTo>
                  <a:pt x="2487210" y="1404874"/>
                  <a:pt x="2487210" y="1408724"/>
                  <a:pt x="2487210" y="1404874"/>
                </a:cubicBezTo>
                <a:lnTo>
                  <a:pt x="2487210" y="1402949"/>
                </a:lnTo>
                <a:cubicBezTo>
                  <a:pt x="2487210" y="1401025"/>
                  <a:pt x="2485285" y="1402949"/>
                  <a:pt x="2487210" y="1401025"/>
                </a:cubicBezTo>
                <a:lnTo>
                  <a:pt x="2485285" y="1399100"/>
                </a:lnTo>
                <a:lnTo>
                  <a:pt x="2487210" y="1397175"/>
                </a:lnTo>
                <a:lnTo>
                  <a:pt x="2489134" y="1397175"/>
                </a:lnTo>
                <a:lnTo>
                  <a:pt x="2492984" y="1397175"/>
                </a:lnTo>
                <a:lnTo>
                  <a:pt x="2491059" y="1395250"/>
                </a:lnTo>
                <a:lnTo>
                  <a:pt x="2492984" y="1391401"/>
                </a:lnTo>
                <a:lnTo>
                  <a:pt x="2494910" y="1389476"/>
                </a:lnTo>
                <a:lnTo>
                  <a:pt x="2491059" y="1387551"/>
                </a:lnTo>
                <a:lnTo>
                  <a:pt x="2485285" y="1393325"/>
                </a:lnTo>
                <a:lnTo>
                  <a:pt x="2485285" y="1391401"/>
                </a:lnTo>
                <a:lnTo>
                  <a:pt x="2487210" y="1389476"/>
                </a:lnTo>
                <a:lnTo>
                  <a:pt x="2489134" y="1385626"/>
                </a:lnTo>
                <a:close/>
                <a:moveTo>
                  <a:pt x="4962488" y="1381836"/>
                </a:moveTo>
                <a:cubicBezTo>
                  <a:pt x="4949014" y="1406858"/>
                  <a:pt x="4933616" y="1429954"/>
                  <a:pt x="4918218" y="1453052"/>
                </a:cubicBezTo>
                <a:cubicBezTo>
                  <a:pt x="4927842" y="1449202"/>
                  <a:pt x="4937466" y="1445351"/>
                  <a:pt x="4952864" y="1458825"/>
                </a:cubicBezTo>
                <a:cubicBezTo>
                  <a:pt x="4964413" y="1441503"/>
                  <a:pt x="4974037" y="1424180"/>
                  <a:pt x="4981736" y="1406858"/>
                </a:cubicBezTo>
                <a:close/>
                <a:moveTo>
                  <a:pt x="3074270" y="1379912"/>
                </a:moveTo>
                <a:cubicBezTo>
                  <a:pt x="3074270" y="1379912"/>
                  <a:pt x="3072346" y="1379912"/>
                  <a:pt x="3072346" y="1381836"/>
                </a:cubicBezTo>
                <a:cubicBezTo>
                  <a:pt x="3072346" y="1383761"/>
                  <a:pt x="3070421" y="1385685"/>
                  <a:pt x="3070421" y="1387610"/>
                </a:cubicBezTo>
                <a:cubicBezTo>
                  <a:pt x="3070421" y="1385685"/>
                  <a:pt x="3072346" y="1381836"/>
                  <a:pt x="3074270" y="1379912"/>
                </a:cubicBezTo>
                <a:close/>
                <a:moveTo>
                  <a:pt x="2494910" y="1379852"/>
                </a:moveTo>
                <a:lnTo>
                  <a:pt x="2496833" y="1381777"/>
                </a:lnTo>
                <a:lnTo>
                  <a:pt x="2492984" y="1381777"/>
                </a:lnTo>
                <a:cubicBezTo>
                  <a:pt x="2494910" y="1381777"/>
                  <a:pt x="2494910" y="1383701"/>
                  <a:pt x="2496833" y="1383701"/>
                </a:cubicBezTo>
                <a:cubicBezTo>
                  <a:pt x="2498758" y="1383701"/>
                  <a:pt x="2498758" y="1383701"/>
                  <a:pt x="2500684" y="1383701"/>
                </a:cubicBezTo>
                <a:lnTo>
                  <a:pt x="2500684" y="1379852"/>
                </a:lnTo>
                <a:close/>
                <a:moveTo>
                  <a:pt x="2175395" y="1379852"/>
                </a:moveTo>
                <a:cubicBezTo>
                  <a:pt x="2177319" y="1381777"/>
                  <a:pt x="2177319" y="1381777"/>
                  <a:pt x="2179244" y="1381777"/>
                </a:cubicBezTo>
                <a:cubicBezTo>
                  <a:pt x="2179244" y="1383701"/>
                  <a:pt x="2179244" y="1383701"/>
                  <a:pt x="2181169" y="1387552"/>
                </a:cubicBezTo>
                <a:lnTo>
                  <a:pt x="2171545" y="1387552"/>
                </a:lnTo>
                <a:close/>
                <a:moveTo>
                  <a:pt x="2510307" y="1376002"/>
                </a:moveTo>
                <a:lnTo>
                  <a:pt x="2510307" y="1379852"/>
                </a:lnTo>
                <a:lnTo>
                  <a:pt x="2512232" y="1381777"/>
                </a:lnTo>
                <a:cubicBezTo>
                  <a:pt x="2512232" y="1383701"/>
                  <a:pt x="2512232" y="1381777"/>
                  <a:pt x="2512232" y="1383701"/>
                </a:cubicBezTo>
                <a:lnTo>
                  <a:pt x="2506458" y="1387551"/>
                </a:lnTo>
                <a:lnTo>
                  <a:pt x="2510307" y="1389476"/>
                </a:lnTo>
                <a:cubicBezTo>
                  <a:pt x="2512232" y="1387551"/>
                  <a:pt x="2512232" y="1387551"/>
                  <a:pt x="2512232" y="1385626"/>
                </a:cubicBezTo>
                <a:lnTo>
                  <a:pt x="2523781" y="1385626"/>
                </a:lnTo>
                <a:cubicBezTo>
                  <a:pt x="2521856" y="1381777"/>
                  <a:pt x="2525705" y="1381777"/>
                  <a:pt x="2521856" y="1379852"/>
                </a:cubicBezTo>
                <a:cubicBezTo>
                  <a:pt x="2519931" y="1383701"/>
                  <a:pt x="2521856" y="1379852"/>
                  <a:pt x="2519931" y="1383701"/>
                </a:cubicBezTo>
                <a:lnTo>
                  <a:pt x="2516081" y="1383701"/>
                </a:lnTo>
                <a:lnTo>
                  <a:pt x="2516081" y="1379852"/>
                </a:lnTo>
                <a:lnTo>
                  <a:pt x="2519931" y="1376002"/>
                </a:lnTo>
                <a:lnTo>
                  <a:pt x="2518006" y="1376002"/>
                </a:lnTo>
                <a:cubicBezTo>
                  <a:pt x="2516081" y="1377927"/>
                  <a:pt x="2516081" y="1376002"/>
                  <a:pt x="2516081" y="1379852"/>
                </a:cubicBezTo>
                <a:lnTo>
                  <a:pt x="2512232" y="1377927"/>
                </a:lnTo>
                <a:lnTo>
                  <a:pt x="2514157" y="1376002"/>
                </a:lnTo>
                <a:close/>
                <a:moveTo>
                  <a:pt x="2504533" y="1376002"/>
                </a:moveTo>
                <a:lnTo>
                  <a:pt x="2504533" y="1379852"/>
                </a:lnTo>
                <a:cubicBezTo>
                  <a:pt x="2504533" y="1381777"/>
                  <a:pt x="2504533" y="1379852"/>
                  <a:pt x="2506458" y="1381777"/>
                </a:cubicBezTo>
                <a:cubicBezTo>
                  <a:pt x="2506458" y="1377927"/>
                  <a:pt x="2504533" y="1381777"/>
                  <a:pt x="2506458" y="1377927"/>
                </a:cubicBezTo>
                <a:close/>
                <a:moveTo>
                  <a:pt x="2491059" y="1374077"/>
                </a:moveTo>
                <a:lnTo>
                  <a:pt x="2487210" y="1377927"/>
                </a:lnTo>
                <a:lnTo>
                  <a:pt x="2492984" y="1377927"/>
                </a:lnTo>
                <a:close/>
                <a:moveTo>
                  <a:pt x="2527630" y="1370228"/>
                </a:moveTo>
                <a:cubicBezTo>
                  <a:pt x="2521856" y="1370228"/>
                  <a:pt x="2523781" y="1372153"/>
                  <a:pt x="2519931" y="1374077"/>
                </a:cubicBezTo>
                <a:lnTo>
                  <a:pt x="2521856" y="1376002"/>
                </a:lnTo>
                <a:lnTo>
                  <a:pt x="2523781" y="1374077"/>
                </a:lnTo>
                <a:lnTo>
                  <a:pt x="2523781" y="1372153"/>
                </a:lnTo>
                <a:close/>
                <a:moveTo>
                  <a:pt x="2485285" y="1368303"/>
                </a:moveTo>
                <a:lnTo>
                  <a:pt x="2485285" y="1372153"/>
                </a:lnTo>
                <a:lnTo>
                  <a:pt x="2487210" y="1370228"/>
                </a:lnTo>
                <a:close/>
                <a:moveTo>
                  <a:pt x="2396745" y="1368303"/>
                </a:moveTo>
                <a:lnTo>
                  <a:pt x="2392895" y="1370228"/>
                </a:lnTo>
                <a:lnTo>
                  <a:pt x="2394820" y="1372153"/>
                </a:lnTo>
                <a:cubicBezTo>
                  <a:pt x="2394820" y="1376002"/>
                  <a:pt x="2396745" y="1372153"/>
                  <a:pt x="2394820" y="1376002"/>
                </a:cubicBezTo>
                <a:lnTo>
                  <a:pt x="2398669" y="1377927"/>
                </a:lnTo>
                <a:cubicBezTo>
                  <a:pt x="2400594" y="1374077"/>
                  <a:pt x="2398669" y="1377927"/>
                  <a:pt x="2400594" y="1374077"/>
                </a:cubicBezTo>
                <a:lnTo>
                  <a:pt x="2396745" y="1374077"/>
                </a:lnTo>
                <a:close/>
                <a:moveTo>
                  <a:pt x="2425617" y="1366378"/>
                </a:moveTo>
                <a:lnTo>
                  <a:pt x="2425617" y="1368303"/>
                </a:lnTo>
                <a:lnTo>
                  <a:pt x="2427541" y="1368303"/>
                </a:lnTo>
                <a:close/>
                <a:moveTo>
                  <a:pt x="2544954" y="1364454"/>
                </a:moveTo>
                <a:lnTo>
                  <a:pt x="2539179" y="1368303"/>
                </a:lnTo>
                <a:lnTo>
                  <a:pt x="2535329" y="1366378"/>
                </a:lnTo>
                <a:cubicBezTo>
                  <a:pt x="2533405" y="1366378"/>
                  <a:pt x="2533405" y="1368303"/>
                  <a:pt x="2533405" y="1368303"/>
                </a:cubicBezTo>
                <a:cubicBezTo>
                  <a:pt x="2533405" y="1370228"/>
                  <a:pt x="2533405" y="1368303"/>
                  <a:pt x="2535329" y="1370228"/>
                </a:cubicBezTo>
                <a:cubicBezTo>
                  <a:pt x="2531481" y="1372153"/>
                  <a:pt x="2533405" y="1370228"/>
                  <a:pt x="2531481" y="1374077"/>
                </a:cubicBezTo>
                <a:lnTo>
                  <a:pt x="2531481" y="1376002"/>
                </a:lnTo>
                <a:lnTo>
                  <a:pt x="2531481" y="1377927"/>
                </a:lnTo>
                <a:lnTo>
                  <a:pt x="2527630" y="1377927"/>
                </a:lnTo>
                <a:lnTo>
                  <a:pt x="2529555" y="1379852"/>
                </a:lnTo>
                <a:lnTo>
                  <a:pt x="2525705" y="1379852"/>
                </a:lnTo>
                <a:cubicBezTo>
                  <a:pt x="2525705" y="1383701"/>
                  <a:pt x="2525705" y="1381777"/>
                  <a:pt x="2523781" y="1383701"/>
                </a:cubicBezTo>
                <a:lnTo>
                  <a:pt x="2525705" y="1385626"/>
                </a:lnTo>
                <a:cubicBezTo>
                  <a:pt x="2527630" y="1381777"/>
                  <a:pt x="2531481" y="1379852"/>
                  <a:pt x="2533405" y="1377927"/>
                </a:cubicBezTo>
                <a:lnTo>
                  <a:pt x="2537255" y="1376002"/>
                </a:lnTo>
                <a:lnTo>
                  <a:pt x="2535329" y="1376002"/>
                </a:lnTo>
                <a:lnTo>
                  <a:pt x="2535329" y="1370228"/>
                </a:lnTo>
                <a:lnTo>
                  <a:pt x="2539179" y="1368303"/>
                </a:lnTo>
                <a:lnTo>
                  <a:pt x="2539179" y="1372153"/>
                </a:lnTo>
                <a:lnTo>
                  <a:pt x="2541104" y="1370228"/>
                </a:lnTo>
                <a:cubicBezTo>
                  <a:pt x="2539179" y="1366378"/>
                  <a:pt x="2541104" y="1370228"/>
                  <a:pt x="2544954" y="1368303"/>
                </a:cubicBezTo>
                <a:lnTo>
                  <a:pt x="2546878" y="1366378"/>
                </a:lnTo>
                <a:close/>
                <a:moveTo>
                  <a:pt x="2381347" y="1364454"/>
                </a:moveTo>
                <a:cubicBezTo>
                  <a:pt x="2383271" y="1366378"/>
                  <a:pt x="2383271" y="1364454"/>
                  <a:pt x="2383271" y="1366378"/>
                </a:cubicBezTo>
                <a:lnTo>
                  <a:pt x="2383271" y="1368303"/>
                </a:lnTo>
                <a:cubicBezTo>
                  <a:pt x="2379422" y="1370228"/>
                  <a:pt x="2377497" y="1372153"/>
                  <a:pt x="2377497" y="1374077"/>
                </a:cubicBezTo>
                <a:lnTo>
                  <a:pt x="2381347" y="1376002"/>
                </a:lnTo>
                <a:lnTo>
                  <a:pt x="2377497" y="1377927"/>
                </a:lnTo>
                <a:lnTo>
                  <a:pt x="2377497" y="1379852"/>
                </a:lnTo>
                <a:cubicBezTo>
                  <a:pt x="2377497" y="1381777"/>
                  <a:pt x="2377497" y="1379852"/>
                  <a:pt x="2375573" y="1381777"/>
                </a:cubicBezTo>
                <a:cubicBezTo>
                  <a:pt x="2377497" y="1385626"/>
                  <a:pt x="2373647" y="1385626"/>
                  <a:pt x="2379422" y="1385626"/>
                </a:cubicBezTo>
                <a:lnTo>
                  <a:pt x="2379422" y="1383701"/>
                </a:lnTo>
                <a:lnTo>
                  <a:pt x="2379422" y="1381777"/>
                </a:lnTo>
                <a:lnTo>
                  <a:pt x="2381347" y="1379852"/>
                </a:lnTo>
                <a:lnTo>
                  <a:pt x="2379422" y="1377927"/>
                </a:lnTo>
                <a:lnTo>
                  <a:pt x="2383271" y="1377927"/>
                </a:lnTo>
                <a:cubicBezTo>
                  <a:pt x="2381347" y="1376002"/>
                  <a:pt x="2381347" y="1376002"/>
                  <a:pt x="2381347" y="1374077"/>
                </a:cubicBezTo>
                <a:lnTo>
                  <a:pt x="2381347" y="1370228"/>
                </a:lnTo>
                <a:cubicBezTo>
                  <a:pt x="2383271" y="1370228"/>
                  <a:pt x="2383271" y="1370228"/>
                  <a:pt x="2385196" y="1368303"/>
                </a:cubicBezTo>
                <a:lnTo>
                  <a:pt x="2383271" y="1366378"/>
                </a:lnTo>
                <a:lnTo>
                  <a:pt x="2383271" y="1364454"/>
                </a:lnTo>
                <a:close/>
                <a:moveTo>
                  <a:pt x="2548803" y="1362529"/>
                </a:moveTo>
                <a:lnTo>
                  <a:pt x="2548803" y="1366378"/>
                </a:lnTo>
                <a:cubicBezTo>
                  <a:pt x="2550728" y="1364454"/>
                  <a:pt x="2550728" y="1368303"/>
                  <a:pt x="2550728" y="1364454"/>
                </a:cubicBezTo>
                <a:cubicBezTo>
                  <a:pt x="2550728" y="1362529"/>
                  <a:pt x="2550728" y="1362529"/>
                  <a:pt x="2550728" y="1362529"/>
                </a:cubicBezTo>
                <a:cubicBezTo>
                  <a:pt x="2550728" y="1362529"/>
                  <a:pt x="2550728" y="1362529"/>
                  <a:pt x="2548803" y="1362529"/>
                </a:cubicBezTo>
                <a:close/>
                <a:moveTo>
                  <a:pt x="2375573" y="1362529"/>
                </a:moveTo>
                <a:lnTo>
                  <a:pt x="2375573" y="1364454"/>
                </a:lnTo>
                <a:lnTo>
                  <a:pt x="2377497" y="1362529"/>
                </a:lnTo>
                <a:close/>
                <a:moveTo>
                  <a:pt x="2138824" y="1362529"/>
                </a:moveTo>
                <a:lnTo>
                  <a:pt x="2138824" y="1370228"/>
                </a:lnTo>
                <a:lnTo>
                  <a:pt x="2133050" y="1368303"/>
                </a:lnTo>
                <a:close/>
                <a:moveTo>
                  <a:pt x="1817384" y="1362527"/>
                </a:moveTo>
                <a:lnTo>
                  <a:pt x="1828933" y="1364452"/>
                </a:lnTo>
                <a:lnTo>
                  <a:pt x="1825083" y="1370226"/>
                </a:lnTo>
                <a:close/>
                <a:moveTo>
                  <a:pt x="2398669" y="1360604"/>
                </a:moveTo>
                <a:lnTo>
                  <a:pt x="2400594" y="1362529"/>
                </a:lnTo>
                <a:lnTo>
                  <a:pt x="2402519" y="1360604"/>
                </a:lnTo>
                <a:close/>
                <a:moveTo>
                  <a:pt x="2392895" y="1360604"/>
                </a:moveTo>
                <a:cubicBezTo>
                  <a:pt x="2389046" y="1362529"/>
                  <a:pt x="2389046" y="1362529"/>
                  <a:pt x="2389046" y="1366378"/>
                </a:cubicBezTo>
                <a:cubicBezTo>
                  <a:pt x="2394820" y="1366378"/>
                  <a:pt x="2390970" y="1366378"/>
                  <a:pt x="2394820" y="1364454"/>
                </a:cubicBezTo>
                <a:cubicBezTo>
                  <a:pt x="2392895" y="1364454"/>
                  <a:pt x="2392895" y="1360604"/>
                  <a:pt x="2392895" y="1360604"/>
                </a:cubicBezTo>
                <a:close/>
                <a:moveTo>
                  <a:pt x="2535329" y="1358679"/>
                </a:moveTo>
                <a:cubicBezTo>
                  <a:pt x="2531481" y="1358679"/>
                  <a:pt x="2533405" y="1358679"/>
                  <a:pt x="2531481" y="1360604"/>
                </a:cubicBezTo>
                <a:lnTo>
                  <a:pt x="2533405" y="1362529"/>
                </a:lnTo>
                <a:close/>
                <a:moveTo>
                  <a:pt x="2560352" y="1356754"/>
                </a:moveTo>
                <a:lnTo>
                  <a:pt x="2560352" y="1358679"/>
                </a:lnTo>
                <a:lnTo>
                  <a:pt x="2559389" y="1357717"/>
                </a:lnTo>
                <a:close/>
                <a:moveTo>
                  <a:pt x="4920143" y="1354890"/>
                </a:moveTo>
                <a:cubicBezTo>
                  <a:pt x="4910519" y="1368363"/>
                  <a:pt x="4898970" y="1383761"/>
                  <a:pt x="4887422" y="1397234"/>
                </a:cubicBezTo>
                <a:cubicBezTo>
                  <a:pt x="4887422" y="1406858"/>
                  <a:pt x="4889346" y="1416482"/>
                  <a:pt x="4891271" y="1426104"/>
                </a:cubicBezTo>
                <a:cubicBezTo>
                  <a:pt x="4906669" y="1404933"/>
                  <a:pt x="4920143" y="1381836"/>
                  <a:pt x="4933616" y="1356815"/>
                </a:cubicBezTo>
                <a:cubicBezTo>
                  <a:pt x="4933616" y="1356815"/>
                  <a:pt x="4933616" y="1354890"/>
                  <a:pt x="4933616" y="1354890"/>
                </a:cubicBezTo>
                <a:cubicBezTo>
                  <a:pt x="4927842" y="1352966"/>
                  <a:pt x="4923992" y="1352966"/>
                  <a:pt x="4920143" y="1354890"/>
                </a:cubicBezTo>
                <a:close/>
                <a:moveTo>
                  <a:pt x="2121501" y="1352919"/>
                </a:moveTo>
                <a:lnTo>
                  <a:pt x="2117650" y="1358693"/>
                </a:lnTo>
                <a:cubicBezTo>
                  <a:pt x="2121501" y="1362543"/>
                  <a:pt x="2121501" y="1352919"/>
                  <a:pt x="2121501" y="1364468"/>
                </a:cubicBezTo>
                <a:cubicBezTo>
                  <a:pt x="2121501" y="1366392"/>
                  <a:pt x="2121501" y="1366392"/>
                  <a:pt x="2117650" y="1366392"/>
                </a:cubicBezTo>
                <a:cubicBezTo>
                  <a:pt x="2117650" y="1368317"/>
                  <a:pt x="2119577" y="1370242"/>
                  <a:pt x="2119577" y="1370242"/>
                </a:cubicBezTo>
                <a:cubicBezTo>
                  <a:pt x="2119577" y="1370242"/>
                  <a:pt x="2117650" y="1370242"/>
                  <a:pt x="2117650" y="1372167"/>
                </a:cubicBezTo>
                <a:cubicBezTo>
                  <a:pt x="2109951" y="1374092"/>
                  <a:pt x="2115726" y="1370242"/>
                  <a:pt x="2108027" y="1374092"/>
                </a:cubicBezTo>
                <a:cubicBezTo>
                  <a:pt x="2104177" y="1366392"/>
                  <a:pt x="2102252" y="1368317"/>
                  <a:pt x="2104177" y="1358693"/>
                </a:cubicBezTo>
                <a:cubicBezTo>
                  <a:pt x="2117650" y="1354844"/>
                  <a:pt x="2106102" y="1354844"/>
                  <a:pt x="2121501" y="1352919"/>
                </a:cubicBezTo>
                <a:close/>
                <a:moveTo>
                  <a:pt x="2375573" y="1352905"/>
                </a:moveTo>
                <a:lnTo>
                  <a:pt x="2377497" y="1360604"/>
                </a:lnTo>
                <a:lnTo>
                  <a:pt x="2381347" y="1360604"/>
                </a:lnTo>
                <a:lnTo>
                  <a:pt x="2381347" y="1356754"/>
                </a:lnTo>
                <a:lnTo>
                  <a:pt x="2377497" y="1356754"/>
                </a:lnTo>
                <a:cubicBezTo>
                  <a:pt x="2377497" y="1354830"/>
                  <a:pt x="2377497" y="1356754"/>
                  <a:pt x="2375573" y="1352905"/>
                </a:cubicBezTo>
                <a:close/>
                <a:moveTo>
                  <a:pt x="2140749" y="1350982"/>
                </a:moveTo>
                <a:lnTo>
                  <a:pt x="2140749" y="1356756"/>
                </a:lnTo>
                <a:lnTo>
                  <a:pt x="2134975" y="1352907"/>
                </a:lnTo>
                <a:close/>
                <a:moveTo>
                  <a:pt x="2406370" y="1350980"/>
                </a:moveTo>
                <a:lnTo>
                  <a:pt x="2406370" y="1354830"/>
                </a:lnTo>
                <a:lnTo>
                  <a:pt x="2408293" y="1352905"/>
                </a:lnTo>
                <a:close/>
                <a:moveTo>
                  <a:pt x="2425617" y="1349055"/>
                </a:moveTo>
                <a:lnTo>
                  <a:pt x="2425617" y="1350980"/>
                </a:lnTo>
                <a:lnTo>
                  <a:pt x="2427541" y="1349055"/>
                </a:lnTo>
                <a:close/>
                <a:moveTo>
                  <a:pt x="2029112" y="1349051"/>
                </a:moveTo>
                <a:lnTo>
                  <a:pt x="2036811" y="1352901"/>
                </a:lnTo>
                <a:lnTo>
                  <a:pt x="2029112" y="1360600"/>
                </a:lnTo>
                <a:close/>
                <a:moveTo>
                  <a:pt x="2444864" y="1345206"/>
                </a:moveTo>
                <a:lnTo>
                  <a:pt x="2441015" y="1347130"/>
                </a:lnTo>
                <a:lnTo>
                  <a:pt x="2444864" y="1347130"/>
                </a:lnTo>
                <a:close/>
                <a:moveTo>
                  <a:pt x="1859729" y="1341366"/>
                </a:moveTo>
                <a:lnTo>
                  <a:pt x="1869353" y="1341366"/>
                </a:lnTo>
                <a:lnTo>
                  <a:pt x="1867428" y="1349065"/>
                </a:lnTo>
                <a:close/>
                <a:moveTo>
                  <a:pt x="2163847" y="1341357"/>
                </a:moveTo>
                <a:lnTo>
                  <a:pt x="2173470" y="1345206"/>
                </a:lnTo>
                <a:lnTo>
                  <a:pt x="2179245" y="1352906"/>
                </a:lnTo>
                <a:cubicBezTo>
                  <a:pt x="2171545" y="1358680"/>
                  <a:pt x="2171545" y="1356755"/>
                  <a:pt x="2167696" y="1364454"/>
                </a:cubicBezTo>
                <a:cubicBezTo>
                  <a:pt x="2154222" y="1364454"/>
                  <a:pt x="2159997" y="1362530"/>
                  <a:pt x="2148448" y="1354830"/>
                </a:cubicBezTo>
                <a:lnTo>
                  <a:pt x="2154222" y="1349056"/>
                </a:lnTo>
                <a:cubicBezTo>
                  <a:pt x="2154222" y="1347131"/>
                  <a:pt x="2152297" y="1345206"/>
                  <a:pt x="2152297" y="1345206"/>
                </a:cubicBezTo>
                <a:cubicBezTo>
                  <a:pt x="2152297" y="1345206"/>
                  <a:pt x="2154222" y="1345206"/>
                  <a:pt x="2154222" y="1343282"/>
                </a:cubicBezTo>
                <a:cubicBezTo>
                  <a:pt x="2161921" y="1341357"/>
                  <a:pt x="2156147" y="1345206"/>
                  <a:pt x="2163847" y="1341357"/>
                </a:cubicBezTo>
                <a:close/>
                <a:moveTo>
                  <a:pt x="2533791" y="1336737"/>
                </a:moveTo>
                <a:lnTo>
                  <a:pt x="2535329" y="1337506"/>
                </a:lnTo>
                <a:lnTo>
                  <a:pt x="2533405" y="1337506"/>
                </a:lnTo>
                <a:close/>
                <a:moveTo>
                  <a:pt x="2417917" y="1335582"/>
                </a:moveTo>
                <a:cubicBezTo>
                  <a:pt x="2414068" y="1337506"/>
                  <a:pt x="2415992" y="1333657"/>
                  <a:pt x="2414068" y="1337506"/>
                </a:cubicBezTo>
                <a:lnTo>
                  <a:pt x="2417917" y="1337506"/>
                </a:lnTo>
                <a:close/>
                <a:moveTo>
                  <a:pt x="2068088" y="1332934"/>
                </a:moveTo>
                <a:cubicBezTo>
                  <a:pt x="2070013" y="1332212"/>
                  <a:pt x="2072420" y="1333656"/>
                  <a:pt x="2075306" y="1335581"/>
                </a:cubicBezTo>
                <a:cubicBezTo>
                  <a:pt x="2077230" y="1339430"/>
                  <a:pt x="2079156" y="1339430"/>
                  <a:pt x="2075306" y="1345205"/>
                </a:cubicBezTo>
                <a:lnTo>
                  <a:pt x="2063757" y="1343280"/>
                </a:lnTo>
                <a:cubicBezTo>
                  <a:pt x="2064720" y="1336543"/>
                  <a:pt x="2066163" y="1333656"/>
                  <a:pt x="2068088" y="1332934"/>
                </a:cubicBezTo>
                <a:close/>
                <a:moveTo>
                  <a:pt x="1946346" y="1331743"/>
                </a:moveTo>
                <a:lnTo>
                  <a:pt x="1954045" y="1337517"/>
                </a:lnTo>
                <a:lnTo>
                  <a:pt x="1946346" y="1337517"/>
                </a:lnTo>
                <a:close/>
                <a:moveTo>
                  <a:pt x="2533405" y="1331732"/>
                </a:moveTo>
                <a:lnTo>
                  <a:pt x="2535329" y="1333657"/>
                </a:lnTo>
                <a:lnTo>
                  <a:pt x="2533791" y="1336737"/>
                </a:lnTo>
                <a:lnTo>
                  <a:pt x="2527630" y="1333657"/>
                </a:lnTo>
                <a:lnTo>
                  <a:pt x="2529555" y="1335582"/>
                </a:lnTo>
                <a:cubicBezTo>
                  <a:pt x="2529555" y="1337506"/>
                  <a:pt x="2529555" y="1343281"/>
                  <a:pt x="2531481" y="1345206"/>
                </a:cubicBezTo>
                <a:cubicBezTo>
                  <a:pt x="2531481" y="1341356"/>
                  <a:pt x="2533405" y="1341356"/>
                  <a:pt x="2535329" y="1339431"/>
                </a:cubicBezTo>
                <a:cubicBezTo>
                  <a:pt x="2533405" y="1337506"/>
                  <a:pt x="2533405" y="1339431"/>
                  <a:pt x="2535329" y="1337506"/>
                </a:cubicBezTo>
                <a:cubicBezTo>
                  <a:pt x="2539179" y="1337506"/>
                  <a:pt x="2535329" y="1339431"/>
                  <a:pt x="2539179" y="1337506"/>
                </a:cubicBezTo>
                <a:lnTo>
                  <a:pt x="2539179" y="1333657"/>
                </a:lnTo>
                <a:close/>
                <a:moveTo>
                  <a:pt x="2693163" y="1329871"/>
                </a:moveTo>
                <a:cubicBezTo>
                  <a:pt x="2662366" y="1358742"/>
                  <a:pt x="2645043" y="1410710"/>
                  <a:pt x="2608472" y="1435730"/>
                </a:cubicBezTo>
                <a:cubicBezTo>
                  <a:pt x="2614246" y="1393387"/>
                  <a:pt x="2675839" y="1335645"/>
                  <a:pt x="2693163" y="1329871"/>
                </a:cubicBezTo>
                <a:close/>
                <a:moveTo>
                  <a:pt x="2175397" y="1322109"/>
                </a:moveTo>
                <a:lnTo>
                  <a:pt x="2181170" y="1325959"/>
                </a:lnTo>
                <a:lnTo>
                  <a:pt x="2175397" y="1327884"/>
                </a:lnTo>
                <a:close/>
                <a:moveTo>
                  <a:pt x="1888602" y="1318268"/>
                </a:moveTo>
                <a:lnTo>
                  <a:pt x="1896301" y="1318268"/>
                </a:lnTo>
                <a:lnTo>
                  <a:pt x="1896301" y="1324043"/>
                </a:lnTo>
                <a:close/>
                <a:moveTo>
                  <a:pt x="2133050" y="1318258"/>
                </a:moveTo>
                <a:lnTo>
                  <a:pt x="2138824" y="1320183"/>
                </a:lnTo>
                <a:lnTo>
                  <a:pt x="2133050" y="1325957"/>
                </a:lnTo>
                <a:close/>
                <a:moveTo>
                  <a:pt x="2466037" y="1312484"/>
                </a:moveTo>
                <a:lnTo>
                  <a:pt x="2467962" y="1314409"/>
                </a:lnTo>
                <a:lnTo>
                  <a:pt x="2467962" y="1312484"/>
                </a:lnTo>
                <a:close/>
                <a:moveTo>
                  <a:pt x="1925172" y="1308645"/>
                </a:moveTo>
                <a:lnTo>
                  <a:pt x="1934796" y="1316344"/>
                </a:lnTo>
                <a:lnTo>
                  <a:pt x="1925172" y="1316344"/>
                </a:lnTo>
                <a:close/>
                <a:moveTo>
                  <a:pt x="5214635" y="1299074"/>
                </a:moveTo>
                <a:cubicBezTo>
                  <a:pt x="5185764" y="1322170"/>
                  <a:pt x="5156892" y="1349115"/>
                  <a:pt x="5131869" y="1379912"/>
                </a:cubicBezTo>
                <a:cubicBezTo>
                  <a:pt x="5133794" y="1379912"/>
                  <a:pt x="5135719" y="1379912"/>
                  <a:pt x="5139569" y="1379912"/>
                </a:cubicBezTo>
                <a:cubicBezTo>
                  <a:pt x="5126095" y="1397234"/>
                  <a:pt x="5114546" y="1414556"/>
                  <a:pt x="5104922" y="1433804"/>
                </a:cubicBezTo>
                <a:cubicBezTo>
                  <a:pt x="5149193" y="1393384"/>
                  <a:pt x="5193463" y="1349115"/>
                  <a:pt x="5235808" y="1308696"/>
                </a:cubicBezTo>
                <a:cubicBezTo>
                  <a:pt x="5228109" y="1304847"/>
                  <a:pt x="5222334" y="1300998"/>
                  <a:pt x="5214635" y="1299074"/>
                </a:cubicBezTo>
                <a:close/>
                <a:moveTo>
                  <a:pt x="2612322" y="1299011"/>
                </a:moveTo>
                <a:lnTo>
                  <a:pt x="2612322" y="1300935"/>
                </a:lnTo>
                <a:lnTo>
                  <a:pt x="2614246" y="1300935"/>
                </a:lnTo>
                <a:lnTo>
                  <a:pt x="2618095" y="1299011"/>
                </a:lnTo>
                <a:lnTo>
                  <a:pt x="2616171" y="1299011"/>
                </a:lnTo>
                <a:close/>
                <a:moveTo>
                  <a:pt x="1886676" y="1297095"/>
                </a:moveTo>
                <a:lnTo>
                  <a:pt x="1884751" y="1308644"/>
                </a:lnTo>
                <a:lnTo>
                  <a:pt x="1877052" y="1304794"/>
                </a:lnTo>
                <a:close/>
                <a:moveTo>
                  <a:pt x="5189613" y="1295223"/>
                </a:moveTo>
                <a:cubicBezTo>
                  <a:pt x="5181914" y="1306772"/>
                  <a:pt x="5174215" y="1318320"/>
                  <a:pt x="5166516" y="1331794"/>
                </a:cubicBezTo>
                <a:cubicBezTo>
                  <a:pt x="5178065" y="1320245"/>
                  <a:pt x="5191538" y="1310621"/>
                  <a:pt x="5203087" y="1299074"/>
                </a:cubicBezTo>
                <a:cubicBezTo>
                  <a:pt x="5199237" y="1299074"/>
                  <a:pt x="5197312" y="1299074"/>
                  <a:pt x="5195388" y="1300998"/>
                </a:cubicBezTo>
                <a:cubicBezTo>
                  <a:pt x="5193463" y="1299074"/>
                  <a:pt x="5191538" y="1297149"/>
                  <a:pt x="5189613" y="1295223"/>
                </a:cubicBezTo>
                <a:close/>
                <a:moveTo>
                  <a:pt x="2044510" y="1291311"/>
                </a:moveTo>
                <a:lnTo>
                  <a:pt x="2054133" y="1291311"/>
                </a:lnTo>
                <a:lnTo>
                  <a:pt x="2054133" y="1297085"/>
                </a:lnTo>
                <a:cubicBezTo>
                  <a:pt x="2046434" y="1295161"/>
                  <a:pt x="2050283" y="1297085"/>
                  <a:pt x="2044510" y="1291311"/>
                </a:cubicBezTo>
                <a:close/>
                <a:moveTo>
                  <a:pt x="2695087" y="1287528"/>
                </a:moveTo>
                <a:cubicBezTo>
                  <a:pt x="2625795" y="1349119"/>
                  <a:pt x="2560352" y="1416484"/>
                  <a:pt x="2533405" y="1549292"/>
                </a:cubicBezTo>
                <a:cubicBezTo>
                  <a:pt x="2352475" y="1866883"/>
                  <a:pt x="2558427" y="2178714"/>
                  <a:pt x="2654666" y="2373109"/>
                </a:cubicBezTo>
                <a:cubicBezTo>
                  <a:pt x="2423692" y="2163310"/>
                  <a:pt x="2315904" y="1616660"/>
                  <a:pt x="2612322" y="1329871"/>
                </a:cubicBezTo>
                <a:cubicBezTo>
                  <a:pt x="2641193" y="1320247"/>
                  <a:pt x="2671989" y="1285604"/>
                  <a:pt x="2695087" y="1287528"/>
                </a:cubicBezTo>
                <a:close/>
                <a:moveTo>
                  <a:pt x="2795176" y="1287525"/>
                </a:moveTo>
                <a:cubicBezTo>
                  <a:pt x="2768230" y="1337567"/>
                  <a:pt x="2741282" y="1389535"/>
                  <a:pt x="2710486" y="1428029"/>
                </a:cubicBezTo>
                <a:cubicBezTo>
                  <a:pt x="2725885" y="1429954"/>
                  <a:pt x="2741282" y="1431878"/>
                  <a:pt x="2756680" y="1431878"/>
                </a:cubicBezTo>
                <a:cubicBezTo>
                  <a:pt x="2762456" y="1424180"/>
                  <a:pt x="2768230" y="1416482"/>
                  <a:pt x="2774004" y="1408783"/>
                </a:cubicBezTo>
                <a:cubicBezTo>
                  <a:pt x="2772079" y="1399159"/>
                  <a:pt x="2770154" y="1391459"/>
                  <a:pt x="2777853" y="1389535"/>
                </a:cubicBezTo>
                <a:cubicBezTo>
                  <a:pt x="2781703" y="1387610"/>
                  <a:pt x="2783628" y="1385685"/>
                  <a:pt x="2787477" y="1383761"/>
                </a:cubicBezTo>
                <a:cubicBezTo>
                  <a:pt x="2795176" y="1368363"/>
                  <a:pt x="2802875" y="1354890"/>
                  <a:pt x="2810575" y="1339492"/>
                </a:cubicBezTo>
                <a:cubicBezTo>
                  <a:pt x="2810575" y="1326019"/>
                  <a:pt x="2808650" y="1312546"/>
                  <a:pt x="2800951" y="1300998"/>
                </a:cubicBezTo>
                <a:cubicBezTo>
                  <a:pt x="2799026" y="1297149"/>
                  <a:pt x="2797101" y="1291373"/>
                  <a:pt x="2795176" y="1287525"/>
                </a:cubicBezTo>
                <a:close/>
                <a:moveTo>
                  <a:pt x="1963669" y="1281698"/>
                </a:moveTo>
                <a:lnTo>
                  <a:pt x="1963669" y="1287472"/>
                </a:lnTo>
                <a:lnTo>
                  <a:pt x="1957895" y="1285549"/>
                </a:lnTo>
                <a:close/>
                <a:moveTo>
                  <a:pt x="3135864" y="1272127"/>
                </a:moveTo>
                <a:cubicBezTo>
                  <a:pt x="3122390" y="1274051"/>
                  <a:pt x="3106992" y="1277901"/>
                  <a:pt x="3093519" y="1279827"/>
                </a:cubicBezTo>
                <a:cubicBezTo>
                  <a:pt x="3085819" y="1293299"/>
                  <a:pt x="3078120" y="1308696"/>
                  <a:pt x="3070421" y="1322170"/>
                </a:cubicBezTo>
                <a:cubicBezTo>
                  <a:pt x="3078120" y="1312546"/>
                  <a:pt x="3083894" y="1299074"/>
                  <a:pt x="3095443" y="1295223"/>
                </a:cubicBezTo>
                <a:cubicBezTo>
                  <a:pt x="3101218" y="1302922"/>
                  <a:pt x="3103142" y="1312546"/>
                  <a:pt x="3093519" y="1318320"/>
                </a:cubicBezTo>
                <a:cubicBezTo>
                  <a:pt x="3087745" y="1322170"/>
                  <a:pt x="3070421" y="1324095"/>
                  <a:pt x="3078120" y="1337567"/>
                </a:cubicBezTo>
                <a:cubicBezTo>
                  <a:pt x="3080045" y="1341417"/>
                  <a:pt x="3085819" y="1352966"/>
                  <a:pt x="3083894" y="1358739"/>
                </a:cubicBezTo>
                <a:cubicBezTo>
                  <a:pt x="3083894" y="1360664"/>
                  <a:pt x="3085819" y="1360664"/>
                  <a:pt x="3085819" y="1360664"/>
                </a:cubicBezTo>
                <a:cubicBezTo>
                  <a:pt x="3103142" y="1331794"/>
                  <a:pt x="3120465" y="1302922"/>
                  <a:pt x="3135864" y="1272127"/>
                </a:cubicBezTo>
                <a:close/>
                <a:moveTo>
                  <a:pt x="625941" y="1270135"/>
                </a:moveTo>
                <a:cubicBezTo>
                  <a:pt x="664438" y="1358676"/>
                  <a:pt x="733729" y="1426043"/>
                  <a:pt x="839593" y="1472238"/>
                </a:cubicBezTo>
                <a:cubicBezTo>
                  <a:pt x="751052" y="1414494"/>
                  <a:pt x="683685" y="1345202"/>
                  <a:pt x="625941" y="1270135"/>
                </a:cubicBezTo>
                <a:close/>
                <a:moveTo>
                  <a:pt x="1979067" y="1262437"/>
                </a:moveTo>
                <a:lnTo>
                  <a:pt x="1979067" y="1268211"/>
                </a:lnTo>
                <a:lnTo>
                  <a:pt x="1973293" y="1268211"/>
                </a:lnTo>
                <a:close/>
                <a:moveTo>
                  <a:pt x="2774003" y="1256732"/>
                </a:moveTo>
                <a:cubicBezTo>
                  <a:pt x="2735508" y="1333721"/>
                  <a:pt x="2679689" y="1395313"/>
                  <a:pt x="2643118" y="1460753"/>
                </a:cubicBezTo>
                <a:cubicBezTo>
                  <a:pt x="2643118" y="1454980"/>
                  <a:pt x="2635419" y="1454980"/>
                  <a:pt x="2631569" y="1449205"/>
                </a:cubicBezTo>
                <a:cubicBezTo>
                  <a:pt x="2679689" y="1408786"/>
                  <a:pt x="2720109" y="1306775"/>
                  <a:pt x="2774003" y="1256732"/>
                </a:cubicBezTo>
                <a:close/>
                <a:moveTo>
                  <a:pt x="5287777" y="1254804"/>
                </a:moveTo>
                <a:cubicBezTo>
                  <a:pt x="5270454" y="1262504"/>
                  <a:pt x="5253131" y="1274051"/>
                  <a:pt x="5237733" y="1283675"/>
                </a:cubicBezTo>
                <a:cubicBezTo>
                  <a:pt x="5243507" y="1285600"/>
                  <a:pt x="5247356" y="1289450"/>
                  <a:pt x="5253131" y="1291373"/>
                </a:cubicBezTo>
                <a:cubicBezTo>
                  <a:pt x="5264680" y="1277901"/>
                  <a:pt x="5276228" y="1266353"/>
                  <a:pt x="5287777" y="1254804"/>
                </a:cubicBezTo>
                <a:close/>
                <a:moveTo>
                  <a:pt x="3986620" y="1243257"/>
                </a:moveTo>
                <a:cubicBezTo>
                  <a:pt x="3984695" y="1243257"/>
                  <a:pt x="3984695" y="1245181"/>
                  <a:pt x="3984695" y="1245181"/>
                </a:cubicBezTo>
                <a:cubicBezTo>
                  <a:pt x="3980845" y="1249030"/>
                  <a:pt x="3971221" y="1258654"/>
                  <a:pt x="3976996" y="1264428"/>
                </a:cubicBezTo>
                <a:cubicBezTo>
                  <a:pt x="3978921" y="1266353"/>
                  <a:pt x="3982770" y="1270202"/>
                  <a:pt x="3986620" y="1272127"/>
                </a:cubicBezTo>
                <a:cubicBezTo>
                  <a:pt x="3988544" y="1262504"/>
                  <a:pt x="3988544" y="1252880"/>
                  <a:pt x="3986620" y="1243257"/>
                </a:cubicBezTo>
                <a:close/>
                <a:moveTo>
                  <a:pt x="2733582" y="1237418"/>
                </a:moveTo>
                <a:lnTo>
                  <a:pt x="2733582" y="1239342"/>
                </a:lnTo>
                <a:lnTo>
                  <a:pt x="2735507" y="1237418"/>
                </a:lnTo>
                <a:close/>
                <a:moveTo>
                  <a:pt x="2747056" y="1235493"/>
                </a:moveTo>
                <a:lnTo>
                  <a:pt x="2750906" y="1235493"/>
                </a:lnTo>
                <a:cubicBezTo>
                  <a:pt x="2752830" y="1235493"/>
                  <a:pt x="2752830" y="1235493"/>
                  <a:pt x="2754755" y="1235493"/>
                </a:cubicBezTo>
                <a:cubicBezTo>
                  <a:pt x="2752830" y="1237418"/>
                  <a:pt x="2752830" y="1237418"/>
                  <a:pt x="2750906" y="1237418"/>
                </a:cubicBezTo>
                <a:cubicBezTo>
                  <a:pt x="2748981" y="1237418"/>
                  <a:pt x="2748981" y="1235493"/>
                  <a:pt x="2747056" y="1235493"/>
                </a:cubicBezTo>
                <a:close/>
                <a:moveTo>
                  <a:pt x="5255056" y="1231708"/>
                </a:moveTo>
                <a:cubicBezTo>
                  <a:pt x="5239657" y="1241332"/>
                  <a:pt x="5224259" y="1252880"/>
                  <a:pt x="5210786" y="1268277"/>
                </a:cubicBezTo>
                <a:cubicBezTo>
                  <a:pt x="5216560" y="1270202"/>
                  <a:pt x="5220410" y="1274051"/>
                  <a:pt x="5226184" y="1275976"/>
                </a:cubicBezTo>
                <a:cubicBezTo>
                  <a:pt x="5241582" y="1262504"/>
                  <a:pt x="5258905" y="1250955"/>
                  <a:pt x="5274304" y="1237482"/>
                </a:cubicBezTo>
                <a:cubicBezTo>
                  <a:pt x="5268529" y="1235558"/>
                  <a:pt x="5262755" y="1235558"/>
                  <a:pt x="5255056" y="1231708"/>
                </a:cubicBezTo>
                <a:close/>
                <a:moveTo>
                  <a:pt x="5141493" y="1229783"/>
                </a:moveTo>
                <a:cubicBezTo>
                  <a:pt x="5112621" y="1258654"/>
                  <a:pt x="5083750" y="1285600"/>
                  <a:pt x="5054878" y="1308696"/>
                </a:cubicBezTo>
                <a:lnTo>
                  <a:pt x="5052799" y="1311469"/>
                </a:lnTo>
                <a:lnTo>
                  <a:pt x="5042711" y="1320206"/>
                </a:lnTo>
                <a:lnTo>
                  <a:pt x="5037555" y="1322170"/>
                </a:lnTo>
                <a:cubicBezTo>
                  <a:pt x="5035630" y="1326019"/>
                  <a:pt x="5031781" y="1327944"/>
                  <a:pt x="5027931" y="1329869"/>
                </a:cubicBezTo>
                <a:cubicBezTo>
                  <a:pt x="5029856" y="1326019"/>
                  <a:pt x="5031781" y="1324095"/>
                  <a:pt x="5033706" y="1320245"/>
                </a:cubicBezTo>
                <a:cubicBezTo>
                  <a:pt x="5031781" y="1312546"/>
                  <a:pt x="5037555" y="1304847"/>
                  <a:pt x="5041405" y="1299074"/>
                </a:cubicBezTo>
                <a:cubicBezTo>
                  <a:pt x="5043329" y="1295223"/>
                  <a:pt x="5045254" y="1295223"/>
                  <a:pt x="5047179" y="1295223"/>
                </a:cubicBezTo>
                <a:cubicBezTo>
                  <a:pt x="5058728" y="1270202"/>
                  <a:pt x="5064502" y="1243257"/>
                  <a:pt x="5039480" y="1233633"/>
                </a:cubicBezTo>
                <a:cubicBezTo>
                  <a:pt x="5037555" y="1231708"/>
                  <a:pt x="5037555" y="1231708"/>
                  <a:pt x="5035630" y="1231708"/>
                </a:cubicBezTo>
                <a:cubicBezTo>
                  <a:pt x="5026006" y="1258654"/>
                  <a:pt x="5014458" y="1283675"/>
                  <a:pt x="5002909" y="1308696"/>
                </a:cubicBezTo>
                <a:cubicBezTo>
                  <a:pt x="5012533" y="1308696"/>
                  <a:pt x="5024082" y="1310621"/>
                  <a:pt x="5026006" y="1320245"/>
                </a:cubicBezTo>
                <a:cubicBezTo>
                  <a:pt x="5020232" y="1322170"/>
                  <a:pt x="5012533" y="1324095"/>
                  <a:pt x="5010608" y="1327944"/>
                </a:cubicBezTo>
                <a:cubicBezTo>
                  <a:pt x="5016382" y="1327944"/>
                  <a:pt x="5022157" y="1335643"/>
                  <a:pt x="5010608" y="1339492"/>
                </a:cubicBezTo>
                <a:cubicBezTo>
                  <a:pt x="5004834" y="1341417"/>
                  <a:pt x="4995210" y="1339492"/>
                  <a:pt x="4987510" y="1337567"/>
                </a:cubicBezTo>
                <a:cubicBezTo>
                  <a:pt x="4983661" y="1347191"/>
                  <a:pt x="4979811" y="1354890"/>
                  <a:pt x="4974037" y="1364513"/>
                </a:cubicBezTo>
                <a:cubicBezTo>
                  <a:pt x="4979811" y="1372213"/>
                  <a:pt x="4987510" y="1379912"/>
                  <a:pt x="4993285" y="1387610"/>
                </a:cubicBezTo>
                <a:cubicBezTo>
                  <a:pt x="4997134" y="1379912"/>
                  <a:pt x="5000984" y="1372213"/>
                  <a:pt x="5004834" y="1364513"/>
                </a:cubicBezTo>
                <a:cubicBezTo>
                  <a:pt x="5009165" y="1354409"/>
                  <a:pt x="5017586" y="1343582"/>
                  <a:pt x="5028533" y="1332485"/>
                </a:cubicBezTo>
                <a:lnTo>
                  <a:pt x="5042711" y="1320206"/>
                </a:lnTo>
                <a:lnTo>
                  <a:pt x="5047660" y="1318320"/>
                </a:lnTo>
                <a:lnTo>
                  <a:pt x="5052799" y="1311469"/>
                </a:lnTo>
                <a:lnTo>
                  <a:pt x="5067389" y="1298832"/>
                </a:lnTo>
                <a:cubicBezTo>
                  <a:pt x="5096261" y="1276457"/>
                  <a:pt x="5128982" y="1254804"/>
                  <a:pt x="5153042" y="1237482"/>
                </a:cubicBezTo>
                <a:cubicBezTo>
                  <a:pt x="5149193" y="1235558"/>
                  <a:pt x="5145343" y="1231708"/>
                  <a:pt x="5141493" y="1229783"/>
                </a:cubicBezTo>
                <a:close/>
                <a:moveTo>
                  <a:pt x="3946199" y="1225934"/>
                </a:moveTo>
                <a:lnTo>
                  <a:pt x="3946426" y="1225934"/>
                </a:lnTo>
                <a:lnTo>
                  <a:pt x="3946145" y="1226459"/>
                </a:lnTo>
                <a:close/>
                <a:moveTo>
                  <a:pt x="5222334" y="1222085"/>
                </a:moveTo>
                <a:cubicBezTo>
                  <a:pt x="5212711" y="1233633"/>
                  <a:pt x="5201162" y="1247105"/>
                  <a:pt x="5189613" y="1260579"/>
                </a:cubicBezTo>
                <a:cubicBezTo>
                  <a:pt x="5191538" y="1258654"/>
                  <a:pt x="5191538" y="1258654"/>
                  <a:pt x="5193463" y="1258654"/>
                </a:cubicBezTo>
                <a:cubicBezTo>
                  <a:pt x="5195388" y="1260579"/>
                  <a:pt x="5199237" y="1262504"/>
                  <a:pt x="5201162" y="1264428"/>
                </a:cubicBezTo>
                <a:cubicBezTo>
                  <a:pt x="5214635" y="1252880"/>
                  <a:pt x="5230033" y="1241332"/>
                  <a:pt x="5243507" y="1229783"/>
                </a:cubicBezTo>
                <a:cubicBezTo>
                  <a:pt x="5235808" y="1227858"/>
                  <a:pt x="5230033" y="1225934"/>
                  <a:pt x="5222334" y="1222085"/>
                </a:cubicBezTo>
                <a:close/>
                <a:moveTo>
                  <a:pt x="5299326" y="1218234"/>
                </a:moveTo>
                <a:cubicBezTo>
                  <a:pt x="5295476" y="1220159"/>
                  <a:pt x="5291627" y="1220159"/>
                  <a:pt x="5287777" y="1222085"/>
                </a:cubicBezTo>
                <a:cubicBezTo>
                  <a:pt x="5287777" y="1222085"/>
                  <a:pt x="5289702" y="1224009"/>
                  <a:pt x="5291627" y="1224009"/>
                </a:cubicBezTo>
                <a:cubicBezTo>
                  <a:pt x="5295476" y="1222085"/>
                  <a:pt x="5297401" y="1220159"/>
                  <a:pt x="5299326" y="1218234"/>
                </a:cubicBezTo>
                <a:close/>
                <a:moveTo>
                  <a:pt x="2914513" y="1208612"/>
                </a:moveTo>
                <a:cubicBezTo>
                  <a:pt x="2889491" y="1254804"/>
                  <a:pt x="2866394" y="1299074"/>
                  <a:pt x="2841371" y="1343342"/>
                </a:cubicBezTo>
                <a:cubicBezTo>
                  <a:pt x="2843297" y="1347191"/>
                  <a:pt x="2845221" y="1351041"/>
                  <a:pt x="2847146" y="1356815"/>
                </a:cubicBezTo>
                <a:cubicBezTo>
                  <a:pt x="2868318" y="1337567"/>
                  <a:pt x="2877942" y="1304847"/>
                  <a:pt x="2879867" y="1291373"/>
                </a:cubicBezTo>
                <a:cubicBezTo>
                  <a:pt x="2885641" y="1260579"/>
                  <a:pt x="2899115" y="1239406"/>
                  <a:pt x="2920287" y="1227858"/>
                </a:cubicBezTo>
                <a:cubicBezTo>
                  <a:pt x="2916438" y="1220159"/>
                  <a:pt x="2914513" y="1214386"/>
                  <a:pt x="2914513" y="1208612"/>
                </a:cubicBezTo>
                <a:close/>
                <a:moveTo>
                  <a:pt x="4960563" y="1198988"/>
                </a:moveTo>
                <a:cubicBezTo>
                  <a:pt x="4960563" y="1202837"/>
                  <a:pt x="4958638" y="1204761"/>
                  <a:pt x="4956714" y="1208612"/>
                </a:cubicBezTo>
                <a:cubicBezTo>
                  <a:pt x="4958638" y="1204761"/>
                  <a:pt x="4962488" y="1202837"/>
                  <a:pt x="4964413" y="1200912"/>
                </a:cubicBezTo>
                <a:close/>
                <a:moveTo>
                  <a:pt x="2639268" y="1198922"/>
                </a:moveTo>
                <a:lnTo>
                  <a:pt x="2639268" y="1200847"/>
                </a:lnTo>
                <a:lnTo>
                  <a:pt x="2637343" y="1200847"/>
                </a:lnTo>
                <a:close/>
                <a:moveTo>
                  <a:pt x="2633494" y="1197960"/>
                </a:moveTo>
                <a:lnTo>
                  <a:pt x="2635418" y="1198922"/>
                </a:lnTo>
                <a:lnTo>
                  <a:pt x="2635418" y="1200847"/>
                </a:lnTo>
                <a:lnTo>
                  <a:pt x="2637343" y="1200847"/>
                </a:lnTo>
                <a:cubicBezTo>
                  <a:pt x="2637343" y="1202771"/>
                  <a:pt x="2637343" y="1202771"/>
                  <a:pt x="2637343" y="1202771"/>
                </a:cubicBezTo>
                <a:lnTo>
                  <a:pt x="2640232" y="1201809"/>
                </a:lnTo>
                <a:lnTo>
                  <a:pt x="2637343" y="1204696"/>
                </a:lnTo>
                <a:lnTo>
                  <a:pt x="2633494" y="1204696"/>
                </a:lnTo>
                <a:cubicBezTo>
                  <a:pt x="2631569" y="1204696"/>
                  <a:pt x="2633494" y="1204696"/>
                  <a:pt x="2631569" y="1204696"/>
                </a:cubicBezTo>
                <a:lnTo>
                  <a:pt x="2631569" y="1204522"/>
                </a:lnTo>
                <a:lnTo>
                  <a:pt x="2635418" y="1202771"/>
                </a:lnTo>
                <a:cubicBezTo>
                  <a:pt x="2633494" y="1202771"/>
                  <a:pt x="2633494" y="1202771"/>
                  <a:pt x="2633494" y="1200847"/>
                </a:cubicBezTo>
                <a:close/>
                <a:moveTo>
                  <a:pt x="2181168" y="1196999"/>
                </a:moveTo>
                <a:lnTo>
                  <a:pt x="2186943" y="1202774"/>
                </a:lnTo>
                <a:lnTo>
                  <a:pt x="2177319" y="1202774"/>
                </a:lnTo>
                <a:close/>
                <a:moveTo>
                  <a:pt x="2683860" y="1196570"/>
                </a:moveTo>
                <a:lnTo>
                  <a:pt x="2684500" y="1196997"/>
                </a:lnTo>
                <a:cubicBezTo>
                  <a:pt x="2684982" y="1197479"/>
                  <a:pt x="2685463" y="1197960"/>
                  <a:pt x="2687389" y="1198922"/>
                </a:cubicBezTo>
                <a:lnTo>
                  <a:pt x="2681613" y="1198922"/>
                </a:lnTo>
                <a:lnTo>
                  <a:pt x="2681613" y="1196728"/>
                </a:lnTo>
                <a:close/>
                <a:moveTo>
                  <a:pt x="2625795" y="1195072"/>
                </a:moveTo>
                <a:cubicBezTo>
                  <a:pt x="2627719" y="1196997"/>
                  <a:pt x="2629644" y="1198922"/>
                  <a:pt x="2629644" y="1195072"/>
                </a:cubicBezTo>
                <a:close/>
                <a:moveTo>
                  <a:pt x="2733582" y="1191223"/>
                </a:moveTo>
                <a:lnTo>
                  <a:pt x="2731659" y="1193147"/>
                </a:lnTo>
                <a:lnTo>
                  <a:pt x="2733582" y="1195072"/>
                </a:lnTo>
                <a:lnTo>
                  <a:pt x="2735507" y="1193147"/>
                </a:lnTo>
                <a:cubicBezTo>
                  <a:pt x="2739357" y="1193147"/>
                  <a:pt x="2739357" y="1195072"/>
                  <a:pt x="2739357" y="1191223"/>
                </a:cubicBezTo>
                <a:cubicBezTo>
                  <a:pt x="2735507" y="1193147"/>
                  <a:pt x="2737433" y="1191223"/>
                  <a:pt x="2735507" y="1191223"/>
                </a:cubicBezTo>
                <a:close/>
                <a:moveTo>
                  <a:pt x="2664290" y="1191223"/>
                </a:moveTo>
                <a:lnTo>
                  <a:pt x="2666215" y="1193147"/>
                </a:lnTo>
                <a:lnTo>
                  <a:pt x="2666215" y="1191223"/>
                </a:lnTo>
                <a:close/>
                <a:moveTo>
                  <a:pt x="2675839" y="1189298"/>
                </a:moveTo>
                <a:cubicBezTo>
                  <a:pt x="2677764" y="1191223"/>
                  <a:pt x="2677764" y="1189298"/>
                  <a:pt x="2677764" y="1193147"/>
                </a:cubicBezTo>
                <a:lnTo>
                  <a:pt x="2675839" y="1195072"/>
                </a:lnTo>
                <a:lnTo>
                  <a:pt x="2677764" y="1196997"/>
                </a:lnTo>
                <a:lnTo>
                  <a:pt x="2674104" y="1194835"/>
                </a:lnTo>
                <a:lnTo>
                  <a:pt x="2674876" y="1193869"/>
                </a:lnTo>
                <a:cubicBezTo>
                  <a:pt x="2675358" y="1193629"/>
                  <a:pt x="2675839" y="1193148"/>
                  <a:pt x="2675839" y="1191223"/>
                </a:cubicBezTo>
                <a:close/>
                <a:moveTo>
                  <a:pt x="2720109" y="1187373"/>
                </a:moveTo>
                <a:lnTo>
                  <a:pt x="2720720" y="1189409"/>
                </a:lnTo>
                <a:lnTo>
                  <a:pt x="2720109" y="1189298"/>
                </a:lnTo>
                <a:cubicBezTo>
                  <a:pt x="2720109" y="1188336"/>
                  <a:pt x="2720591" y="1189298"/>
                  <a:pt x="2720831" y="1189779"/>
                </a:cubicBezTo>
                <a:lnTo>
                  <a:pt x="2720720" y="1189409"/>
                </a:lnTo>
                <a:lnTo>
                  <a:pt x="2722755" y="1189780"/>
                </a:lnTo>
                <a:cubicBezTo>
                  <a:pt x="2722996" y="1189780"/>
                  <a:pt x="2722996" y="1189298"/>
                  <a:pt x="2723958" y="1187373"/>
                </a:cubicBezTo>
                <a:close/>
                <a:moveTo>
                  <a:pt x="2702786" y="1187373"/>
                </a:moveTo>
                <a:lnTo>
                  <a:pt x="2698936" y="1189298"/>
                </a:lnTo>
                <a:cubicBezTo>
                  <a:pt x="2704711" y="1189298"/>
                  <a:pt x="2700862" y="1187373"/>
                  <a:pt x="2702786" y="1191223"/>
                </a:cubicBezTo>
                <a:lnTo>
                  <a:pt x="2706636" y="1191223"/>
                </a:lnTo>
                <a:cubicBezTo>
                  <a:pt x="2704711" y="1189298"/>
                  <a:pt x="2704711" y="1189298"/>
                  <a:pt x="2702786" y="1187373"/>
                </a:cubicBezTo>
                <a:close/>
                <a:moveTo>
                  <a:pt x="2747056" y="1185448"/>
                </a:moveTo>
                <a:cubicBezTo>
                  <a:pt x="2745131" y="1185448"/>
                  <a:pt x="2743207" y="1185448"/>
                  <a:pt x="2743207" y="1187373"/>
                </a:cubicBezTo>
                <a:cubicBezTo>
                  <a:pt x="2743207" y="1191223"/>
                  <a:pt x="2747056" y="1187373"/>
                  <a:pt x="2747056" y="1189298"/>
                </a:cubicBezTo>
                <a:close/>
                <a:moveTo>
                  <a:pt x="2625795" y="1185448"/>
                </a:moveTo>
                <a:lnTo>
                  <a:pt x="2625795" y="1189298"/>
                </a:lnTo>
                <a:lnTo>
                  <a:pt x="2629644" y="1185448"/>
                </a:lnTo>
                <a:close/>
                <a:moveTo>
                  <a:pt x="2655869" y="1182802"/>
                </a:moveTo>
                <a:cubicBezTo>
                  <a:pt x="2655628" y="1182561"/>
                  <a:pt x="2655628" y="1182561"/>
                  <a:pt x="2654666" y="1183523"/>
                </a:cubicBezTo>
                <a:lnTo>
                  <a:pt x="2656592" y="1185448"/>
                </a:lnTo>
                <a:lnTo>
                  <a:pt x="2660440" y="1185448"/>
                </a:lnTo>
                <a:cubicBezTo>
                  <a:pt x="2660440" y="1185448"/>
                  <a:pt x="2658516" y="1183523"/>
                  <a:pt x="2658516" y="1183523"/>
                </a:cubicBezTo>
                <a:cubicBezTo>
                  <a:pt x="2656592" y="1183523"/>
                  <a:pt x="2656110" y="1183042"/>
                  <a:pt x="2655869" y="1182802"/>
                </a:cubicBezTo>
                <a:close/>
                <a:moveTo>
                  <a:pt x="2668140" y="1181599"/>
                </a:moveTo>
                <a:cubicBezTo>
                  <a:pt x="2670064" y="1185448"/>
                  <a:pt x="2666215" y="1183523"/>
                  <a:pt x="2670064" y="1185448"/>
                </a:cubicBezTo>
                <a:cubicBezTo>
                  <a:pt x="2671989" y="1181599"/>
                  <a:pt x="2670064" y="1185448"/>
                  <a:pt x="2671989" y="1181599"/>
                </a:cubicBezTo>
                <a:close/>
                <a:moveTo>
                  <a:pt x="2727808" y="1177749"/>
                </a:moveTo>
                <a:lnTo>
                  <a:pt x="2729733" y="1181599"/>
                </a:lnTo>
                <a:cubicBezTo>
                  <a:pt x="2735507" y="1181599"/>
                  <a:pt x="2731659" y="1179674"/>
                  <a:pt x="2737433" y="1179674"/>
                </a:cubicBezTo>
                <a:cubicBezTo>
                  <a:pt x="2735507" y="1175824"/>
                  <a:pt x="2733582" y="1179674"/>
                  <a:pt x="2729733" y="1177749"/>
                </a:cubicBezTo>
                <a:close/>
                <a:moveTo>
                  <a:pt x="2637343" y="1177749"/>
                </a:moveTo>
                <a:lnTo>
                  <a:pt x="2643117" y="1179674"/>
                </a:lnTo>
                <a:cubicBezTo>
                  <a:pt x="2641193" y="1175824"/>
                  <a:pt x="2641193" y="1179674"/>
                  <a:pt x="2637343" y="1177749"/>
                </a:cubicBezTo>
                <a:close/>
                <a:moveTo>
                  <a:pt x="2656592" y="1173899"/>
                </a:moveTo>
                <a:cubicBezTo>
                  <a:pt x="2654666" y="1175824"/>
                  <a:pt x="2654666" y="1175824"/>
                  <a:pt x="2654666" y="1177749"/>
                </a:cubicBezTo>
                <a:cubicBezTo>
                  <a:pt x="2656592" y="1177749"/>
                  <a:pt x="2658516" y="1177749"/>
                  <a:pt x="2658516" y="1177749"/>
                </a:cubicBezTo>
                <a:close/>
                <a:moveTo>
                  <a:pt x="2770154" y="1170050"/>
                </a:moveTo>
                <a:lnTo>
                  <a:pt x="2768228" y="1171975"/>
                </a:lnTo>
                <a:lnTo>
                  <a:pt x="2766304" y="1171975"/>
                </a:lnTo>
                <a:cubicBezTo>
                  <a:pt x="2762454" y="1171975"/>
                  <a:pt x="2766304" y="1170050"/>
                  <a:pt x="2764379" y="1171975"/>
                </a:cubicBezTo>
                <a:cubicBezTo>
                  <a:pt x="2762454" y="1171975"/>
                  <a:pt x="2762454" y="1173899"/>
                  <a:pt x="2762454" y="1173899"/>
                </a:cubicBezTo>
                <a:lnTo>
                  <a:pt x="2766304" y="1173899"/>
                </a:lnTo>
                <a:lnTo>
                  <a:pt x="2768228" y="1171975"/>
                </a:lnTo>
                <a:lnTo>
                  <a:pt x="2768230" y="1171975"/>
                </a:lnTo>
                <a:close/>
                <a:moveTo>
                  <a:pt x="2159998" y="1170047"/>
                </a:moveTo>
                <a:cubicBezTo>
                  <a:pt x="2158073" y="1183521"/>
                  <a:pt x="2161922" y="1175822"/>
                  <a:pt x="2154223" y="1181597"/>
                </a:cubicBezTo>
                <a:cubicBezTo>
                  <a:pt x="2154223" y="1168122"/>
                  <a:pt x="2150374" y="1175822"/>
                  <a:pt x="2159998" y="1170047"/>
                </a:cubicBezTo>
                <a:close/>
                <a:moveTo>
                  <a:pt x="4995210" y="1168192"/>
                </a:moveTo>
                <a:cubicBezTo>
                  <a:pt x="4991360" y="1166267"/>
                  <a:pt x="4983661" y="1168192"/>
                  <a:pt x="4987510" y="1175891"/>
                </a:cubicBezTo>
                <a:cubicBezTo>
                  <a:pt x="4989435" y="1172042"/>
                  <a:pt x="4993285" y="1170117"/>
                  <a:pt x="4995210" y="1168192"/>
                </a:cubicBezTo>
                <a:close/>
                <a:moveTo>
                  <a:pt x="1898226" y="1168133"/>
                </a:moveTo>
                <a:lnTo>
                  <a:pt x="1898226" y="1175833"/>
                </a:lnTo>
                <a:lnTo>
                  <a:pt x="1892452" y="1171983"/>
                </a:lnTo>
                <a:close/>
                <a:moveTo>
                  <a:pt x="2795176" y="1168125"/>
                </a:moveTo>
                <a:lnTo>
                  <a:pt x="2795176" y="1171975"/>
                </a:lnTo>
                <a:lnTo>
                  <a:pt x="2799025" y="1170050"/>
                </a:lnTo>
                <a:close/>
                <a:moveTo>
                  <a:pt x="2673914" y="1166201"/>
                </a:moveTo>
                <a:lnTo>
                  <a:pt x="2670064" y="1168125"/>
                </a:lnTo>
                <a:lnTo>
                  <a:pt x="2673914" y="1171975"/>
                </a:lnTo>
                <a:lnTo>
                  <a:pt x="2675839" y="1170050"/>
                </a:lnTo>
                <a:cubicBezTo>
                  <a:pt x="2673914" y="1168125"/>
                  <a:pt x="2673914" y="1170050"/>
                  <a:pt x="2675839" y="1168125"/>
                </a:cubicBezTo>
                <a:close/>
                <a:moveTo>
                  <a:pt x="2715585" y="1165527"/>
                </a:moveTo>
                <a:lnTo>
                  <a:pt x="2716259" y="1166201"/>
                </a:lnTo>
                <a:lnTo>
                  <a:pt x="2714335" y="1166201"/>
                </a:lnTo>
                <a:close/>
                <a:moveTo>
                  <a:pt x="2756680" y="1164276"/>
                </a:moveTo>
                <a:cubicBezTo>
                  <a:pt x="2752830" y="1164276"/>
                  <a:pt x="2756680" y="1164276"/>
                  <a:pt x="2756680" y="1166201"/>
                </a:cubicBezTo>
                <a:lnTo>
                  <a:pt x="2756680" y="1168125"/>
                </a:lnTo>
                <a:cubicBezTo>
                  <a:pt x="2760530" y="1170050"/>
                  <a:pt x="2758605" y="1170050"/>
                  <a:pt x="2762454" y="1171975"/>
                </a:cubicBezTo>
                <a:cubicBezTo>
                  <a:pt x="2762454" y="1171975"/>
                  <a:pt x="2764379" y="1170050"/>
                  <a:pt x="2764379" y="1170050"/>
                </a:cubicBezTo>
                <a:cubicBezTo>
                  <a:pt x="2764379" y="1168125"/>
                  <a:pt x="2762454" y="1168125"/>
                  <a:pt x="2762454" y="1166201"/>
                </a:cubicBezTo>
                <a:lnTo>
                  <a:pt x="2764379" y="1166201"/>
                </a:lnTo>
                <a:lnTo>
                  <a:pt x="2762454" y="1164276"/>
                </a:lnTo>
                <a:lnTo>
                  <a:pt x="2758605" y="1164276"/>
                </a:lnTo>
                <a:close/>
                <a:moveTo>
                  <a:pt x="2681613" y="1162351"/>
                </a:moveTo>
                <a:lnTo>
                  <a:pt x="2683538" y="1166201"/>
                </a:lnTo>
                <a:cubicBezTo>
                  <a:pt x="2681613" y="1168125"/>
                  <a:pt x="2681613" y="1168125"/>
                  <a:pt x="2683538" y="1170050"/>
                </a:cubicBezTo>
                <a:lnTo>
                  <a:pt x="2687389" y="1168125"/>
                </a:lnTo>
                <a:lnTo>
                  <a:pt x="2685463" y="1164276"/>
                </a:lnTo>
                <a:close/>
                <a:moveTo>
                  <a:pt x="2747056" y="1158501"/>
                </a:moveTo>
                <a:lnTo>
                  <a:pt x="2745131" y="1160426"/>
                </a:lnTo>
                <a:cubicBezTo>
                  <a:pt x="2743207" y="1158501"/>
                  <a:pt x="2743207" y="1160426"/>
                  <a:pt x="2741282" y="1160426"/>
                </a:cubicBezTo>
                <a:cubicBezTo>
                  <a:pt x="2739357" y="1162351"/>
                  <a:pt x="2741282" y="1160426"/>
                  <a:pt x="2739357" y="1162351"/>
                </a:cubicBezTo>
                <a:lnTo>
                  <a:pt x="2739357" y="1164276"/>
                </a:lnTo>
                <a:lnTo>
                  <a:pt x="2741282" y="1164276"/>
                </a:lnTo>
                <a:lnTo>
                  <a:pt x="2741282" y="1162351"/>
                </a:lnTo>
                <a:cubicBezTo>
                  <a:pt x="2745131" y="1162351"/>
                  <a:pt x="2745131" y="1162351"/>
                  <a:pt x="2743207" y="1166201"/>
                </a:cubicBezTo>
                <a:lnTo>
                  <a:pt x="2745131" y="1168125"/>
                </a:lnTo>
                <a:cubicBezTo>
                  <a:pt x="2743207" y="1170050"/>
                  <a:pt x="2743207" y="1170050"/>
                  <a:pt x="2745131" y="1170050"/>
                </a:cubicBezTo>
                <a:lnTo>
                  <a:pt x="2747056" y="1168125"/>
                </a:lnTo>
                <a:cubicBezTo>
                  <a:pt x="2745131" y="1164276"/>
                  <a:pt x="2747056" y="1168125"/>
                  <a:pt x="2745131" y="1164276"/>
                </a:cubicBezTo>
                <a:lnTo>
                  <a:pt x="2748981" y="1164276"/>
                </a:lnTo>
                <a:cubicBezTo>
                  <a:pt x="2750906" y="1162351"/>
                  <a:pt x="2750906" y="1162351"/>
                  <a:pt x="2750906" y="1160426"/>
                </a:cubicBezTo>
                <a:cubicBezTo>
                  <a:pt x="2750906" y="1158501"/>
                  <a:pt x="2752830" y="1160426"/>
                  <a:pt x="2750906" y="1158501"/>
                </a:cubicBezTo>
                <a:close/>
                <a:moveTo>
                  <a:pt x="2698936" y="1158501"/>
                </a:moveTo>
                <a:lnTo>
                  <a:pt x="2702786" y="1160426"/>
                </a:lnTo>
                <a:lnTo>
                  <a:pt x="2700862" y="1162351"/>
                </a:lnTo>
                <a:cubicBezTo>
                  <a:pt x="2698936" y="1158501"/>
                  <a:pt x="2700862" y="1162351"/>
                  <a:pt x="2698936" y="1158501"/>
                </a:cubicBezTo>
                <a:close/>
                <a:moveTo>
                  <a:pt x="2666215" y="1158501"/>
                </a:moveTo>
                <a:lnTo>
                  <a:pt x="2666215" y="1160426"/>
                </a:lnTo>
                <a:lnTo>
                  <a:pt x="2670064" y="1160426"/>
                </a:lnTo>
                <a:cubicBezTo>
                  <a:pt x="2668140" y="1158501"/>
                  <a:pt x="2668140" y="1160426"/>
                  <a:pt x="2670064" y="1158501"/>
                </a:cubicBezTo>
                <a:close/>
                <a:moveTo>
                  <a:pt x="2673914" y="1156577"/>
                </a:moveTo>
                <a:lnTo>
                  <a:pt x="2675839" y="1158501"/>
                </a:lnTo>
                <a:lnTo>
                  <a:pt x="2675839" y="1156577"/>
                </a:lnTo>
                <a:close/>
                <a:moveTo>
                  <a:pt x="2706636" y="1154652"/>
                </a:moveTo>
                <a:cubicBezTo>
                  <a:pt x="2706636" y="1156577"/>
                  <a:pt x="2706636" y="1154652"/>
                  <a:pt x="2708560" y="1156577"/>
                </a:cubicBezTo>
                <a:lnTo>
                  <a:pt x="2710485" y="1154652"/>
                </a:lnTo>
                <a:close/>
                <a:moveTo>
                  <a:pt x="5349371" y="1152795"/>
                </a:moveTo>
                <a:cubicBezTo>
                  <a:pt x="5308950" y="1152795"/>
                  <a:pt x="5274304" y="1173966"/>
                  <a:pt x="5241582" y="1204761"/>
                </a:cubicBezTo>
                <a:cubicBezTo>
                  <a:pt x="5251206" y="1206687"/>
                  <a:pt x="5258905" y="1208612"/>
                  <a:pt x="5266604" y="1212461"/>
                </a:cubicBezTo>
                <a:cubicBezTo>
                  <a:pt x="5293552" y="1189365"/>
                  <a:pt x="5320499" y="1168192"/>
                  <a:pt x="5349371" y="1152795"/>
                </a:cubicBezTo>
                <a:close/>
                <a:moveTo>
                  <a:pt x="2734865" y="1152086"/>
                </a:moveTo>
                <a:lnTo>
                  <a:pt x="2735507" y="1152727"/>
                </a:lnTo>
                <a:lnTo>
                  <a:pt x="2735507" y="1154652"/>
                </a:lnTo>
                <a:lnTo>
                  <a:pt x="2737433" y="1156577"/>
                </a:lnTo>
                <a:lnTo>
                  <a:pt x="2733582" y="1156577"/>
                </a:lnTo>
                <a:lnTo>
                  <a:pt x="2733582" y="1152727"/>
                </a:lnTo>
                <a:close/>
                <a:moveTo>
                  <a:pt x="2731659" y="1148877"/>
                </a:moveTo>
                <a:lnTo>
                  <a:pt x="2733582" y="1150802"/>
                </a:lnTo>
                <a:lnTo>
                  <a:pt x="2733582" y="1152727"/>
                </a:lnTo>
                <a:lnTo>
                  <a:pt x="2729733" y="1150803"/>
                </a:lnTo>
                <a:close/>
                <a:moveTo>
                  <a:pt x="2695087" y="1146954"/>
                </a:moveTo>
                <a:lnTo>
                  <a:pt x="2693162" y="1148877"/>
                </a:lnTo>
                <a:lnTo>
                  <a:pt x="2695087" y="1150803"/>
                </a:lnTo>
                <a:cubicBezTo>
                  <a:pt x="2698936" y="1150803"/>
                  <a:pt x="2695087" y="1152727"/>
                  <a:pt x="2698936" y="1150803"/>
                </a:cubicBezTo>
                <a:cubicBezTo>
                  <a:pt x="2702786" y="1152727"/>
                  <a:pt x="2702786" y="1152727"/>
                  <a:pt x="2702786" y="1148877"/>
                </a:cubicBezTo>
                <a:lnTo>
                  <a:pt x="2700862" y="1146954"/>
                </a:lnTo>
                <a:lnTo>
                  <a:pt x="2697012" y="1148877"/>
                </a:lnTo>
                <a:close/>
                <a:moveTo>
                  <a:pt x="2781703" y="1145028"/>
                </a:moveTo>
                <a:cubicBezTo>
                  <a:pt x="2781703" y="1146954"/>
                  <a:pt x="2779777" y="1148877"/>
                  <a:pt x="2779777" y="1148877"/>
                </a:cubicBezTo>
                <a:cubicBezTo>
                  <a:pt x="2779777" y="1150803"/>
                  <a:pt x="2779777" y="1148877"/>
                  <a:pt x="2781703" y="1150803"/>
                </a:cubicBezTo>
                <a:cubicBezTo>
                  <a:pt x="2781703" y="1150803"/>
                  <a:pt x="2779777" y="1152727"/>
                  <a:pt x="2779777" y="1152727"/>
                </a:cubicBezTo>
                <a:cubicBezTo>
                  <a:pt x="2779777" y="1156577"/>
                  <a:pt x="2779777" y="1152727"/>
                  <a:pt x="2781703" y="1154652"/>
                </a:cubicBezTo>
                <a:cubicBezTo>
                  <a:pt x="2781703" y="1156577"/>
                  <a:pt x="2779777" y="1154652"/>
                  <a:pt x="2783627" y="1156577"/>
                </a:cubicBezTo>
                <a:lnTo>
                  <a:pt x="2783627" y="1150803"/>
                </a:lnTo>
                <a:lnTo>
                  <a:pt x="2785552" y="1148877"/>
                </a:lnTo>
                <a:cubicBezTo>
                  <a:pt x="2785552" y="1146954"/>
                  <a:pt x="2783627" y="1146954"/>
                  <a:pt x="2785552" y="1145028"/>
                </a:cubicBezTo>
                <a:close/>
                <a:moveTo>
                  <a:pt x="2808649" y="1141179"/>
                </a:moveTo>
                <a:lnTo>
                  <a:pt x="2804799" y="1143103"/>
                </a:lnTo>
                <a:lnTo>
                  <a:pt x="2808649" y="1145028"/>
                </a:lnTo>
                <a:close/>
                <a:moveTo>
                  <a:pt x="2728714" y="1139253"/>
                </a:moveTo>
                <a:lnTo>
                  <a:pt x="2729733" y="1139253"/>
                </a:lnTo>
                <a:cubicBezTo>
                  <a:pt x="2729733" y="1139253"/>
                  <a:pt x="2729252" y="1139735"/>
                  <a:pt x="2728770" y="1139494"/>
                </a:cubicBezTo>
                <a:close/>
                <a:moveTo>
                  <a:pt x="2798545" y="1138773"/>
                </a:moveTo>
                <a:cubicBezTo>
                  <a:pt x="2798545" y="1138773"/>
                  <a:pt x="2799025" y="1139254"/>
                  <a:pt x="2799025" y="1141179"/>
                </a:cubicBezTo>
                <a:cubicBezTo>
                  <a:pt x="2799025" y="1143103"/>
                  <a:pt x="2799025" y="1143103"/>
                  <a:pt x="2799025" y="1145028"/>
                </a:cubicBezTo>
                <a:cubicBezTo>
                  <a:pt x="2800950" y="1143103"/>
                  <a:pt x="2800950" y="1145028"/>
                  <a:pt x="2802875" y="1141179"/>
                </a:cubicBezTo>
                <a:lnTo>
                  <a:pt x="2800950" y="1141179"/>
                </a:lnTo>
                <a:lnTo>
                  <a:pt x="2800950" y="1139253"/>
                </a:lnTo>
                <a:cubicBezTo>
                  <a:pt x="2799025" y="1139253"/>
                  <a:pt x="2798545" y="1138773"/>
                  <a:pt x="2798545" y="1138773"/>
                </a:cubicBezTo>
                <a:close/>
                <a:moveTo>
                  <a:pt x="2687389" y="1137330"/>
                </a:moveTo>
                <a:lnTo>
                  <a:pt x="2685463" y="1139253"/>
                </a:lnTo>
                <a:lnTo>
                  <a:pt x="2687389" y="1141179"/>
                </a:lnTo>
                <a:close/>
                <a:moveTo>
                  <a:pt x="2780596" y="1136224"/>
                </a:moveTo>
                <a:lnTo>
                  <a:pt x="2779056" y="1137343"/>
                </a:lnTo>
                <a:cubicBezTo>
                  <a:pt x="2778816" y="1137343"/>
                  <a:pt x="2778816" y="1137343"/>
                  <a:pt x="2777853" y="1139268"/>
                </a:cubicBezTo>
                <a:lnTo>
                  <a:pt x="2774017" y="1139268"/>
                </a:lnTo>
                <a:lnTo>
                  <a:pt x="2775928" y="1141179"/>
                </a:lnTo>
                <a:lnTo>
                  <a:pt x="2775904" y="1141190"/>
                </a:lnTo>
                <a:lnTo>
                  <a:pt x="2775929" y="1141193"/>
                </a:lnTo>
                <a:lnTo>
                  <a:pt x="2775899" y="1141193"/>
                </a:lnTo>
                <a:lnTo>
                  <a:pt x="2774004" y="1142141"/>
                </a:lnTo>
                <a:lnTo>
                  <a:pt x="2774004" y="1143118"/>
                </a:lnTo>
                <a:lnTo>
                  <a:pt x="2772097" y="1143118"/>
                </a:lnTo>
                <a:lnTo>
                  <a:pt x="2774243" y="1144788"/>
                </a:lnTo>
                <a:cubicBezTo>
                  <a:pt x="2774965" y="1144547"/>
                  <a:pt x="2775928" y="1144066"/>
                  <a:pt x="2777853" y="1145028"/>
                </a:cubicBezTo>
                <a:cubicBezTo>
                  <a:pt x="2779777" y="1143103"/>
                  <a:pt x="2779777" y="1143103"/>
                  <a:pt x="2781703" y="1141179"/>
                </a:cubicBezTo>
                <a:lnTo>
                  <a:pt x="2781703" y="1137330"/>
                </a:lnTo>
                <a:close/>
                <a:moveTo>
                  <a:pt x="2727808" y="1135405"/>
                </a:moveTo>
                <a:cubicBezTo>
                  <a:pt x="2729733" y="1137330"/>
                  <a:pt x="2727808" y="1135405"/>
                  <a:pt x="2729733" y="1139253"/>
                </a:cubicBezTo>
                <a:lnTo>
                  <a:pt x="2728400" y="1137922"/>
                </a:lnTo>
                <a:close/>
                <a:moveTo>
                  <a:pt x="3950530" y="1134751"/>
                </a:moveTo>
                <a:cubicBezTo>
                  <a:pt x="3958229" y="1137397"/>
                  <a:pt x="3966410" y="1142209"/>
                  <a:pt x="3971222" y="1147021"/>
                </a:cubicBezTo>
                <a:cubicBezTo>
                  <a:pt x="3961598" y="1158569"/>
                  <a:pt x="3942349" y="1158569"/>
                  <a:pt x="3930800" y="1150870"/>
                </a:cubicBezTo>
                <a:cubicBezTo>
                  <a:pt x="3926951" y="1148945"/>
                  <a:pt x="3928876" y="1139322"/>
                  <a:pt x="3932725" y="1135473"/>
                </a:cubicBezTo>
                <a:cubicBezTo>
                  <a:pt x="3935612" y="1131623"/>
                  <a:pt x="3942830" y="1132104"/>
                  <a:pt x="3950530" y="1134751"/>
                </a:cubicBezTo>
                <a:close/>
                <a:moveTo>
                  <a:pt x="2698936" y="1133479"/>
                </a:moveTo>
                <a:lnTo>
                  <a:pt x="2698936" y="1137330"/>
                </a:lnTo>
                <a:lnTo>
                  <a:pt x="2702786" y="1135405"/>
                </a:lnTo>
                <a:close/>
                <a:moveTo>
                  <a:pt x="2799025" y="1131555"/>
                </a:moveTo>
                <a:cubicBezTo>
                  <a:pt x="2795176" y="1131555"/>
                  <a:pt x="2795176" y="1131555"/>
                  <a:pt x="2793251" y="1133479"/>
                </a:cubicBezTo>
                <a:cubicBezTo>
                  <a:pt x="2795176" y="1137330"/>
                  <a:pt x="2791326" y="1133479"/>
                  <a:pt x="2795176" y="1135405"/>
                </a:cubicBezTo>
                <a:lnTo>
                  <a:pt x="2797100" y="1137330"/>
                </a:lnTo>
                <a:lnTo>
                  <a:pt x="2799025" y="1135405"/>
                </a:lnTo>
                <a:lnTo>
                  <a:pt x="2802875" y="1135405"/>
                </a:lnTo>
                <a:cubicBezTo>
                  <a:pt x="2800950" y="1133479"/>
                  <a:pt x="2800950" y="1131555"/>
                  <a:pt x="2799025" y="1131555"/>
                </a:cubicBezTo>
                <a:close/>
                <a:moveTo>
                  <a:pt x="2770155" y="1129631"/>
                </a:moveTo>
                <a:lnTo>
                  <a:pt x="2770155" y="1131557"/>
                </a:lnTo>
                <a:lnTo>
                  <a:pt x="2768230" y="1131557"/>
                </a:lnTo>
                <a:close/>
                <a:moveTo>
                  <a:pt x="2745131" y="1127706"/>
                </a:moveTo>
                <a:cubicBezTo>
                  <a:pt x="2737433" y="1129629"/>
                  <a:pt x="2741282" y="1125781"/>
                  <a:pt x="2739357" y="1131555"/>
                </a:cubicBezTo>
                <a:cubicBezTo>
                  <a:pt x="2743207" y="1131555"/>
                  <a:pt x="2743207" y="1129629"/>
                  <a:pt x="2747056" y="1127706"/>
                </a:cubicBezTo>
                <a:close/>
                <a:moveTo>
                  <a:pt x="2720109" y="1125781"/>
                </a:moveTo>
                <a:lnTo>
                  <a:pt x="2722034" y="1131555"/>
                </a:lnTo>
                <a:cubicBezTo>
                  <a:pt x="2725883" y="1131555"/>
                  <a:pt x="2723958" y="1133479"/>
                  <a:pt x="2725883" y="1129629"/>
                </a:cubicBezTo>
                <a:cubicBezTo>
                  <a:pt x="2722034" y="1127706"/>
                  <a:pt x="2723958" y="1127706"/>
                  <a:pt x="2720109" y="1125781"/>
                </a:cubicBezTo>
                <a:close/>
                <a:moveTo>
                  <a:pt x="2772080" y="1123870"/>
                </a:moveTo>
                <a:lnTo>
                  <a:pt x="2774004" y="1123870"/>
                </a:lnTo>
                <a:lnTo>
                  <a:pt x="2775929" y="1127719"/>
                </a:lnTo>
                <a:cubicBezTo>
                  <a:pt x="2772080" y="1127719"/>
                  <a:pt x="2774004" y="1127719"/>
                  <a:pt x="2772080" y="1127719"/>
                </a:cubicBezTo>
                <a:cubicBezTo>
                  <a:pt x="2772080" y="1127719"/>
                  <a:pt x="2770155" y="1125795"/>
                  <a:pt x="2770155" y="1125795"/>
                </a:cubicBezTo>
                <a:cubicBezTo>
                  <a:pt x="2770155" y="1123870"/>
                  <a:pt x="2770155" y="1123870"/>
                  <a:pt x="2772080" y="1123870"/>
                </a:cubicBezTo>
                <a:close/>
                <a:moveTo>
                  <a:pt x="2756680" y="1121931"/>
                </a:moveTo>
                <a:lnTo>
                  <a:pt x="2754755" y="1125781"/>
                </a:lnTo>
                <a:lnTo>
                  <a:pt x="2758605" y="1125781"/>
                </a:lnTo>
                <a:close/>
                <a:moveTo>
                  <a:pt x="2747056" y="1120006"/>
                </a:moveTo>
                <a:lnTo>
                  <a:pt x="2737433" y="1121931"/>
                </a:lnTo>
                <a:lnTo>
                  <a:pt x="2737433" y="1123856"/>
                </a:lnTo>
                <a:lnTo>
                  <a:pt x="2735507" y="1125781"/>
                </a:lnTo>
                <a:cubicBezTo>
                  <a:pt x="2737433" y="1125781"/>
                  <a:pt x="2737433" y="1125781"/>
                  <a:pt x="2739357" y="1125781"/>
                </a:cubicBezTo>
                <a:lnTo>
                  <a:pt x="2741282" y="1125781"/>
                </a:lnTo>
                <a:cubicBezTo>
                  <a:pt x="2743207" y="1121931"/>
                  <a:pt x="2745131" y="1121931"/>
                  <a:pt x="2747056" y="1120006"/>
                </a:cubicBezTo>
                <a:close/>
                <a:moveTo>
                  <a:pt x="2735507" y="1116157"/>
                </a:moveTo>
                <a:lnTo>
                  <a:pt x="2737433" y="1118082"/>
                </a:lnTo>
                <a:lnTo>
                  <a:pt x="2739357" y="1116157"/>
                </a:lnTo>
                <a:close/>
                <a:moveTo>
                  <a:pt x="2758605" y="1112307"/>
                </a:moveTo>
                <a:lnTo>
                  <a:pt x="2756680" y="1116157"/>
                </a:lnTo>
                <a:lnTo>
                  <a:pt x="2760530" y="1116157"/>
                </a:lnTo>
                <a:lnTo>
                  <a:pt x="2762454" y="1114232"/>
                </a:lnTo>
                <a:close/>
                <a:moveTo>
                  <a:pt x="2770154" y="1110383"/>
                </a:moveTo>
                <a:cubicBezTo>
                  <a:pt x="2766304" y="1112307"/>
                  <a:pt x="2768230" y="1112307"/>
                  <a:pt x="2764379" y="1114232"/>
                </a:cubicBezTo>
                <a:lnTo>
                  <a:pt x="2764379" y="1116157"/>
                </a:lnTo>
                <a:lnTo>
                  <a:pt x="2770154" y="1116157"/>
                </a:lnTo>
                <a:lnTo>
                  <a:pt x="2768230" y="1114232"/>
                </a:lnTo>
                <a:lnTo>
                  <a:pt x="2770154" y="1112307"/>
                </a:lnTo>
                <a:lnTo>
                  <a:pt x="2770154" y="1110383"/>
                </a:lnTo>
                <a:lnTo>
                  <a:pt x="2774773" y="1111922"/>
                </a:lnTo>
                <a:lnTo>
                  <a:pt x="2775928" y="1114232"/>
                </a:lnTo>
                <a:lnTo>
                  <a:pt x="2776890" y="1115194"/>
                </a:lnTo>
                <a:lnTo>
                  <a:pt x="2775928" y="1116157"/>
                </a:lnTo>
                <a:lnTo>
                  <a:pt x="2777853" y="1116157"/>
                </a:lnTo>
                <a:lnTo>
                  <a:pt x="2776890" y="1115194"/>
                </a:lnTo>
                <a:lnTo>
                  <a:pt x="2777853" y="1114232"/>
                </a:lnTo>
                <a:lnTo>
                  <a:pt x="2775928" y="1112307"/>
                </a:lnTo>
                <a:lnTo>
                  <a:pt x="2774773" y="1111922"/>
                </a:lnTo>
                <a:lnTo>
                  <a:pt x="2774003" y="1110383"/>
                </a:lnTo>
                <a:cubicBezTo>
                  <a:pt x="2770154" y="1110383"/>
                  <a:pt x="2770154" y="1108458"/>
                  <a:pt x="2770154" y="1110383"/>
                </a:cubicBezTo>
                <a:close/>
                <a:moveTo>
                  <a:pt x="2764379" y="1104608"/>
                </a:moveTo>
                <a:lnTo>
                  <a:pt x="2760530" y="1108458"/>
                </a:lnTo>
                <a:lnTo>
                  <a:pt x="2762454" y="1108458"/>
                </a:lnTo>
                <a:close/>
                <a:moveTo>
                  <a:pt x="2138824" y="1102684"/>
                </a:moveTo>
                <a:lnTo>
                  <a:pt x="2127274" y="1114233"/>
                </a:lnTo>
                <a:lnTo>
                  <a:pt x="2123425" y="1110384"/>
                </a:lnTo>
                <a:cubicBezTo>
                  <a:pt x="2129199" y="1104609"/>
                  <a:pt x="2127274" y="1104609"/>
                  <a:pt x="2138824" y="1102684"/>
                </a:cubicBezTo>
                <a:close/>
                <a:moveTo>
                  <a:pt x="1902077" y="1054574"/>
                </a:moveTo>
                <a:cubicBezTo>
                  <a:pt x="1902077" y="1054574"/>
                  <a:pt x="1904001" y="1054574"/>
                  <a:pt x="1905925" y="1056499"/>
                </a:cubicBezTo>
                <a:cubicBezTo>
                  <a:pt x="1905925" y="1058424"/>
                  <a:pt x="1905925" y="1060348"/>
                  <a:pt x="1905925" y="1062273"/>
                </a:cubicBezTo>
                <a:lnTo>
                  <a:pt x="1902077" y="1062273"/>
                </a:lnTo>
                <a:close/>
                <a:moveTo>
                  <a:pt x="2113803" y="1046878"/>
                </a:moveTo>
                <a:lnTo>
                  <a:pt x="2109952" y="1058428"/>
                </a:lnTo>
                <a:lnTo>
                  <a:pt x="2102253" y="1056503"/>
                </a:lnTo>
                <a:cubicBezTo>
                  <a:pt x="2106102" y="1046878"/>
                  <a:pt x="2102253" y="1050727"/>
                  <a:pt x="2113803" y="1046878"/>
                </a:cubicBezTo>
                <a:close/>
                <a:moveTo>
                  <a:pt x="5041405" y="1035384"/>
                </a:moveTo>
                <a:cubicBezTo>
                  <a:pt x="5024082" y="1070031"/>
                  <a:pt x="5006758" y="1102751"/>
                  <a:pt x="4991360" y="1127773"/>
                </a:cubicBezTo>
                <a:cubicBezTo>
                  <a:pt x="5002909" y="1127773"/>
                  <a:pt x="5002909" y="1112375"/>
                  <a:pt x="5012533" y="1110450"/>
                </a:cubicBezTo>
                <a:cubicBezTo>
                  <a:pt x="5006758" y="1121999"/>
                  <a:pt x="5000984" y="1131623"/>
                  <a:pt x="4993285" y="1141246"/>
                </a:cubicBezTo>
                <a:cubicBezTo>
                  <a:pt x="4997134" y="1143171"/>
                  <a:pt x="5002909" y="1147020"/>
                  <a:pt x="5006758" y="1148945"/>
                </a:cubicBezTo>
                <a:cubicBezTo>
                  <a:pt x="5031781" y="1118149"/>
                  <a:pt x="5052953" y="1081580"/>
                  <a:pt x="5068351" y="1037308"/>
                </a:cubicBezTo>
                <a:cubicBezTo>
                  <a:pt x="5060652" y="1035384"/>
                  <a:pt x="5051028" y="1035384"/>
                  <a:pt x="5041405" y="1035384"/>
                </a:cubicBezTo>
                <a:close/>
                <a:moveTo>
                  <a:pt x="4975962" y="1029609"/>
                </a:moveTo>
                <a:cubicBezTo>
                  <a:pt x="4966338" y="1054633"/>
                  <a:pt x="4956714" y="1075805"/>
                  <a:pt x="4947090" y="1096978"/>
                </a:cubicBezTo>
                <a:cubicBezTo>
                  <a:pt x="4960563" y="1079655"/>
                  <a:pt x="4975962" y="1056556"/>
                  <a:pt x="4989435" y="1031534"/>
                </a:cubicBezTo>
                <a:cubicBezTo>
                  <a:pt x="4985586" y="1029609"/>
                  <a:pt x="4979811" y="1029609"/>
                  <a:pt x="4975962" y="1029609"/>
                </a:cubicBezTo>
                <a:close/>
                <a:moveTo>
                  <a:pt x="5560856" y="954780"/>
                </a:moveTo>
                <a:cubicBezTo>
                  <a:pt x="5565909" y="955501"/>
                  <a:pt x="5572646" y="959352"/>
                  <a:pt x="5574570" y="964163"/>
                </a:cubicBezTo>
                <a:cubicBezTo>
                  <a:pt x="5574570" y="964163"/>
                  <a:pt x="5564947" y="971863"/>
                  <a:pt x="5557247" y="964163"/>
                </a:cubicBezTo>
                <a:cubicBezTo>
                  <a:pt x="5552435" y="956465"/>
                  <a:pt x="5555804" y="954058"/>
                  <a:pt x="5560856" y="954780"/>
                </a:cubicBezTo>
                <a:close/>
                <a:moveTo>
                  <a:pt x="5056803" y="946840"/>
                </a:moveTo>
                <a:lnTo>
                  <a:pt x="5024082" y="1012285"/>
                </a:lnTo>
                <a:cubicBezTo>
                  <a:pt x="5024082" y="1010360"/>
                  <a:pt x="5024082" y="1010360"/>
                  <a:pt x="5024082" y="1008436"/>
                </a:cubicBezTo>
                <a:cubicBezTo>
                  <a:pt x="5022157" y="1010360"/>
                  <a:pt x="5022157" y="1010360"/>
                  <a:pt x="5022157" y="1012285"/>
                </a:cubicBezTo>
                <a:cubicBezTo>
                  <a:pt x="5022157" y="1012285"/>
                  <a:pt x="5024082" y="1012285"/>
                  <a:pt x="5024082" y="1012285"/>
                </a:cubicBezTo>
                <a:cubicBezTo>
                  <a:pt x="5024082" y="1016135"/>
                  <a:pt x="5026006" y="1018060"/>
                  <a:pt x="5027931" y="1019985"/>
                </a:cubicBezTo>
                <a:cubicBezTo>
                  <a:pt x="5039480" y="998812"/>
                  <a:pt x="5047179" y="973788"/>
                  <a:pt x="5056803" y="946840"/>
                </a:cubicBezTo>
                <a:close/>
                <a:moveTo>
                  <a:pt x="2579600" y="937219"/>
                </a:moveTo>
                <a:cubicBezTo>
                  <a:pt x="2566126" y="1006514"/>
                  <a:pt x="2521856" y="1073885"/>
                  <a:pt x="2487210" y="1123927"/>
                </a:cubicBezTo>
                <a:cubicBezTo>
                  <a:pt x="2504533" y="1083509"/>
                  <a:pt x="2548803" y="993041"/>
                  <a:pt x="2579600" y="937219"/>
                </a:cubicBezTo>
                <a:close/>
                <a:moveTo>
                  <a:pt x="1982916" y="923677"/>
                </a:moveTo>
                <a:lnTo>
                  <a:pt x="1984840" y="923677"/>
                </a:lnTo>
                <a:lnTo>
                  <a:pt x="1984840" y="929452"/>
                </a:lnTo>
                <a:lnTo>
                  <a:pt x="1979066" y="925602"/>
                </a:lnTo>
                <a:close/>
                <a:moveTo>
                  <a:pt x="5035630" y="885226"/>
                </a:moveTo>
                <a:cubicBezTo>
                  <a:pt x="5029856" y="887151"/>
                  <a:pt x="5026006" y="889075"/>
                  <a:pt x="5020232" y="891001"/>
                </a:cubicBezTo>
                <a:cubicBezTo>
                  <a:pt x="5008683" y="929516"/>
                  <a:pt x="4997134" y="968014"/>
                  <a:pt x="4983661" y="1006511"/>
                </a:cubicBezTo>
                <a:cubicBezTo>
                  <a:pt x="4985586" y="1010360"/>
                  <a:pt x="4985586" y="1012285"/>
                  <a:pt x="4987510" y="1014211"/>
                </a:cubicBezTo>
                <a:cubicBezTo>
                  <a:pt x="4989435" y="1016135"/>
                  <a:pt x="4991360" y="1018060"/>
                  <a:pt x="4995210" y="1018060"/>
                </a:cubicBezTo>
                <a:cubicBezTo>
                  <a:pt x="5014458" y="977639"/>
                  <a:pt x="5029856" y="931441"/>
                  <a:pt x="5035630" y="885226"/>
                </a:cubicBezTo>
                <a:close/>
                <a:moveTo>
                  <a:pt x="5066427" y="879452"/>
                </a:moveTo>
                <a:cubicBezTo>
                  <a:pt x="5060652" y="883301"/>
                  <a:pt x="5056803" y="885226"/>
                  <a:pt x="5051028" y="885226"/>
                </a:cubicBezTo>
                <a:cubicBezTo>
                  <a:pt x="5047179" y="908324"/>
                  <a:pt x="5041405" y="937215"/>
                  <a:pt x="5033706" y="966088"/>
                </a:cubicBezTo>
                <a:cubicBezTo>
                  <a:pt x="5039480" y="946840"/>
                  <a:pt x="5049104" y="927590"/>
                  <a:pt x="5062577" y="908324"/>
                </a:cubicBezTo>
                <a:cubicBezTo>
                  <a:pt x="5064502" y="898700"/>
                  <a:pt x="5064502" y="889075"/>
                  <a:pt x="5066427" y="879452"/>
                </a:cubicBezTo>
                <a:close/>
                <a:moveTo>
                  <a:pt x="5410963" y="873679"/>
                </a:moveTo>
                <a:cubicBezTo>
                  <a:pt x="5409039" y="892927"/>
                  <a:pt x="5378242" y="927594"/>
                  <a:pt x="5370543" y="941067"/>
                </a:cubicBezTo>
                <a:cubicBezTo>
                  <a:pt x="5360918" y="958392"/>
                  <a:pt x="5372467" y="925669"/>
                  <a:pt x="5376317" y="917969"/>
                </a:cubicBezTo>
                <a:cubicBezTo>
                  <a:pt x="5382091" y="910250"/>
                  <a:pt x="5401339" y="887152"/>
                  <a:pt x="5410963" y="873679"/>
                </a:cubicBezTo>
                <a:close/>
                <a:moveTo>
                  <a:pt x="5061374" y="830851"/>
                </a:moveTo>
                <a:cubicBezTo>
                  <a:pt x="5055840" y="830370"/>
                  <a:pt x="5051029" y="831332"/>
                  <a:pt x="5049104" y="837106"/>
                </a:cubicBezTo>
                <a:cubicBezTo>
                  <a:pt x="5049104" y="840956"/>
                  <a:pt x="5052953" y="846730"/>
                  <a:pt x="5052953" y="846730"/>
                </a:cubicBezTo>
                <a:cubicBezTo>
                  <a:pt x="5058728" y="842881"/>
                  <a:pt x="5077975" y="846730"/>
                  <a:pt x="5077975" y="833257"/>
                </a:cubicBezTo>
                <a:cubicBezTo>
                  <a:pt x="5073163" y="833257"/>
                  <a:pt x="5066908" y="831332"/>
                  <a:pt x="5061374" y="830851"/>
                </a:cubicBezTo>
                <a:close/>
                <a:moveTo>
                  <a:pt x="1286144" y="825509"/>
                </a:moveTo>
                <a:cubicBezTo>
                  <a:pt x="1315016" y="848606"/>
                  <a:pt x="1343888" y="854381"/>
                  <a:pt x="1365060" y="854381"/>
                </a:cubicBezTo>
                <a:cubicBezTo>
                  <a:pt x="1361211" y="889027"/>
                  <a:pt x="1355436" y="921748"/>
                  <a:pt x="1349662" y="950620"/>
                </a:cubicBezTo>
                <a:cubicBezTo>
                  <a:pt x="1324640" y="1085355"/>
                  <a:pt x="1338113" y="1223941"/>
                  <a:pt x="1355436" y="1247037"/>
                </a:cubicBezTo>
                <a:cubicBezTo>
                  <a:pt x="1363136" y="1258586"/>
                  <a:pt x="1361211" y="1270135"/>
                  <a:pt x="1359286" y="1279759"/>
                </a:cubicBezTo>
                <a:cubicBezTo>
                  <a:pt x="1293843" y="1233565"/>
                  <a:pt x="1222626" y="1189295"/>
                  <a:pt x="1172582" y="1135400"/>
                </a:cubicBezTo>
                <a:cubicBezTo>
                  <a:pt x="1166807" y="1135400"/>
                  <a:pt x="1162958" y="1137325"/>
                  <a:pt x="1161033" y="1145024"/>
                </a:cubicBezTo>
                <a:cubicBezTo>
                  <a:pt x="1220701" y="1196993"/>
                  <a:pt x="1289994" y="1243189"/>
                  <a:pt x="1355436" y="1293232"/>
                </a:cubicBezTo>
                <a:cubicBezTo>
                  <a:pt x="1355436" y="1297082"/>
                  <a:pt x="1355436" y="1302856"/>
                  <a:pt x="1359286" y="1306706"/>
                </a:cubicBezTo>
                <a:cubicBezTo>
                  <a:pt x="1372760" y="1322104"/>
                  <a:pt x="1374684" y="1389472"/>
                  <a:pt x="1368910" y="1414494"/>
                </a:cubicBezTo>
                <a:cubicBezTo>
                  <a:pt x="1363136" y="1437591"/>
                  <a:pt x="1355436" y="1437591"/>
                  <a:pt x="1361211" y="1470313"/>
                </a:cubicBezTo>
                <a:cubicBezTo>
                  <a:pt x="1366985" y="1503034"/>
                  <a:pt x="1378534" y="1543455"/>
                  <a:pt x="1376609" y="1558854"/>
                </a:cubicBezTo>
                <a:cubicBezTo>
                  <a:pt x="1374684" y="1574251"/>
                  <a:pt x="1349662" y="1641619"/>
                  <a:pt x="1343888" y="1680116"/>
                </a:cubicBezTo>
                <a:cubicBezTo>
                  <a:pt x="1338113" y="1718610"/>
                  <a:pt x="1351587" y="1774429"/>
                  <a:pt x="1351587" y="1774429"/>
                </a:cubicBezTo>
                <a:cubicBezTo>
                  <a:pt x="1351587" y="1774429"/>
                  <a:pt x="1382383" y="1830249"/>
                  <a:pt x="1409331" y="1897617"/>
                </a:cubicBezTo>
                <a:cubicBezTo>
                  <a:pt x="1438202" y="1964983"/>
                  <a:pt x="1580637" y="2097794"/>
                  <a:pt x="1586411" y="2167087"/>
                </a:cubicBezTo>
                <a:lnTo>
                  <a:pt x="1586629" y="2169128"/>
                </a:lnTo>
                <a:lnTo>
                  <a:pt x="1455615" y="2178005"/>
                </a:lnTo>
                <a:cubicBezTo>
                  <a:pt x="1317662" y="2188741"/>
                  <a:pt x="1165364" y="2200289"/>
                  <a:pt x="1010898" y="2172861"/>
                </a:cubicBezTo>
                <a:cubicBezTo>
                  <a:pt x="810721" y="2138215"/>
                  <a:pt x="604768" y="2053524"/>
                  <a:pt x="552800" y="1907241"/>
                </a:cubicBezTo>
                <a:cubicBezTo>
                  <a:pt x="547025" y="1905316"/>
                  <a:pt x="545101" y="1905316"/>
                  <a:pt x="543175" y="1909165"/>
                </a:cubicBezTo>
                <a:cubicBezTo>
                  <a:pt x="566273" y="2057373"/>
                  <a:pt x="814571" y="2163237"/>
                  <a:pt x="1026298" y="2194034"/>
                </a:cubicBezTo>
                <a:cubicBezTo>
                  <a:pt x="1183649" y="2217133"/>
                  <a:pt x="1344249" y="2216410"/>
                  <a:pt x="1472367" y="2195930"/>
                </a:cubicBezTo>
                <a:lnTo>
                  <a:pt x="1586659" y="2169401"/>
                </a:lnTo>
                <a:lnTo>
                  <a:pt x="1592185" y="2220981"/>
                </a:lnTo>
                <a:cubicBezTo>
                  <a:pt x="1332339" y="2230605"/>
                  <a:pt x="1085966" y="2286424"/>
                  <a:pt x="803021" y="2174786"/>
                </a:cubicBezTo>
                <a:cubicBezTo>
                  <a:pt x="801097" y="2213282"/>
                  <a:pt x="872314" y="2222906"/>
                  <a:pt x="903110" y="2230605"/>
                </a:cubicBezTo>
                <a:cubicBezTo>
                  <a:pt x="905035" y="2226755"/>
                  <a:pt x="901186" y="2222906"/>
                  <a:pt x="897336" y="2220981"/>
                </a:cubicBezTo>
                <a:cubicBezTo>
                  <a:pt x="1162958" y="2288349"/>
                  <a:pt x="1370835" y="2249853"/>
                  <a:pt x="1597960" y="2240229"/>
                </a:cubicBezTo>
                <a:cubicBezTo>
                  <a:pt x="1601809" y="2257552"/>
                  <a:pt x="1601809" y="2272951"/>
                  <a:pt x="1599885" y="2292199"/>
                </a:cubicBezTo>
                <a:cubicBezTo>
                  <a:pt x="1116763" y="2278725"/>
                  <a:pt x="664438" y="2336469"/>
                  <a:pt x="341072" y="2540496"/>
                </a:cubicBezTo>
                <a:cubicBezTo>
                  <a:pt x="687535" y="2357641"/>
                  <a:pt x="1120612" y="2292199"/>
                  <a:pt x="1597960" y="2311447"/>
                </a:cubicBezTo>
                <a:cubicBezTo>
                  <a:pt x="1596035" y="2322995"/>
                  <a:pt x="1596035" y="2346093"/>
                  <a:pt x="1596035" y="2376889"/>
                </a:cubicBezTo>
                <a:cubicBezTo>
                  <a:pt x="1592185" y="2378815"/>
                  <a:pt x="1588336" y="2378815"/>
                  <a:pt x="1584486" y="2378815"/>
                </a:cubicBezTo>
                <a:cubicBezTo>
                  <a:pt x="1515194" y="2386513"/>
                  <a:pt x="1428578" y="2401911"/>
                  <a:pt x="1351587" y="2417309"/>
                </a:cubicBezTo>
                <a:cubicBezTo>
                  <a:pt x="1207228" y="2446181"/>
                  <a:pt x="1076342" y="2480828"/>
                  <a:pt x="991652" y="2548196"/>
                </a:cubicBezTo>
                <a:cubicBezTo>
                  <a:pt x="916585" y="2607863"/>
                  <a:pt x="947380" y="2765696"/>
                  <a:pt x="866539" y="2838838"/>
                </a:cubicBezTo>
                <a:cubicBezTo>
                  <a:pt x="847292" y="2765696"/>
                  <a:pt x="752977" y="2727200"/>
                  <a:pt x="685609" y="2763771"/>
                </a:cubicBezTo>
                <a:cubicBezTo>
                  <a:pt x="637491" y="2788792"/>
                  <a:pt x="612468" y="2871559"/>
                  <a:pt x="550874" y="2850387"/>
                </a:cubicBezTo>
                <a:cubicBezTo>
                  <a:pt x="537401" y="2829214"/>
                  <a:pt x="535476" y="2800342"/>
                  <a:pt x="518153" y="2783019"/>
                </a:cubicBezTo>
                <a:cubicBezTo>
                  <a:pt x="562424" y="2719501"/>
                  <a:pt x="652888" y="2696404"/>
                  <a:pt x="701008" y="2655983"/>
                </a:cubicBezTo>
                <a:cubicBezTo>
                  <a:pt x="683685" y="2659833"/>
                  <a:pt x="658662" y="2681005"/>
                  <a:pt x="645190" y="2673307"/>
                </a:cubicBezTo>
                <a:cubicBezTo>
                  <a:pt x="679836" y="2659833"/>
                  <a:pt x="710632" y="2640585"/>
                  <a:pt x="739504" y="2617487"/>
                </a:cubicBezTo>
                <a:cubicBezTo>
                  <a:pt x="687535" y="2630961"/>
                  <a:pt x="629792" y="2665607"/>
                  <a:pt x="591295" y="2682931"/>
                </a:cubicBezTo>
                <a:cubicBezTo>
                  <a:pt x="600919" y="2677156"/>
                  <a:pt x="624016" y="2665607"/>
                  <a:pt x="618242" y="2654059"/>
                </a:cubicBezTo>
                <a:cubicBezTo>
                  <a:pt x="570123" y="2686780"/>
                  <a:pt x="498905" y="2709877"/>
                  <a:pt x="470033" y="2754147"/>
                </a:cubicBezTo>
                <a:cubicBezTo>
                  <a:pt x="514303" y="2757997"/>
                  <a:pt x="541250" y="2702179"/>
                  <a:pt x="572047" y="2704103"/>
                </a:cubicBezTo>
                <a:cubicBezTo>
                  <a:pt x="533551" y="2723351"/>
                  <a:pt x="508529" y="2763771"/>
                  <a:pt x="471958" y="2788792"/>
                </a:cubicBezTo>
                <a:cubicBezTo>
                  <a:pt x="448860" y="2783019"/>
                  <a:pt x="418064" y="2781094"/>
                  <a:pt x="402666" y="2769545"/>
                </a:cubicBezTo>
                <a:cubicBezTo>
                  <a:pt x="391117" y="2715651"/>
                  <a:pt x="375719" y="2663683"/>
                  <a:pt x="321824" y="2648284"/>
                </a:cubicBezTo>
                <a:cubicBezTo>
                  <a:pt x="277554" y="2634811"/>
                  <a:pt x="214036" y="2684855"/>
                  <a:pt x="183240" y="2630961"/>
                </a:cubicBezTo>
                <a:cubicBezTo>
                  <a:pt x="202488" y="2528948"/>
                  <a:pt x="119722" y="2500076"/>
                  <a:pt x="46580" y="2475054"/>
                </a:cubicBezTo>
                <a:cubicBezTo>
                  <a:pt x="71602" y="2392287"/>
                  <a:pt x="-15013" y="2334544"/>
                  <a:pt x="2310" y="2271026"/>
                </a:cubicBezTo>
                <a:cubicBezTo>
                  <a:pt x="13858" y="2222906"/>
                  <a:pt x="71602" y="2222906"/>
                  <a:pt x="79301" y="2155538"/>
                </a:cubicBezTo>
                <a:cubicBezTo>
                  <a:pt x="167841" y="2197885"/>
                  <a:pt x="298727" y="2315296"/>
                  <a:pt x="396891" y="2261403"/>
                </a:cubicBezTo>
                <a:cubicBezTo>
                  <a:pt x="281404" y="2297973"/>
                  <a:pt x="189014" y="2180562"/>
                  <a:pt x="90850" y="2145914"/>
                </a:cubicBezTo>
                <a:cubicBezTo>
                  <a:pt x="27332" y="2122816"/>
                  <a:pt x="-13089" y="2105493"/>
                  <a:pt x="10009" y="2041975"/>
                </a:cubicBezTo>
                <a:cubicBezTo>
                  <a:pt x="79301" y="2026576"/>
                  <a:pt x="63903" y="1932262"/>
                  <a:pt x="108173" y="1887993"/>
                </a:cubicBezTo>
                <a:cubicBezTo>
                  <a:pt x="142819" y="1853347"/>
                  <a:pt x="200563" y="1859121"/>
                  <a:pt x="237134" y="1830249"/>
                </a:cubicBezTo>
                <a:cubicBezTo>
                  <a:pt x="333373" y="1862971"/>
                  <a:pt x="212112" y="2053524"/>
                  <a:pt x="335298" y="2080471"/>
                </a:cubicBezTo>
                <a:cubicBezTo>
                  <a:pt x="244833" y="2030426"/>
                  <a:pt x="360320" y="1834099"/>
                  <a:pt x="239059" y="1816776"/>
                </a:cubicBezTo>
                <a:cubicBezTo>
                  <a:pt x="244833" y="1799452"/>
                  <a:pt x="214036" y="1789828"/>
                  <a:pt x="231359" y="1776354"/>
                </a:cubicBezTo>
                <a:cubicBezTo>
                  <a:pt x="298727" y="1766730"/>
                  <a:pt x="296802" y="1878369"/>
                  <a:pt x="368019" y="1876444"/>
                </a:cubicBezTo>
                <a:cubicBezTo>
                  <a:pt x="308351" y="1851421"/>
                  <a:pt x="312201" y="1787904"/>
                  <a:pt x="250607" y="1764805"/>
                </a:cubicBezTo>
                <a:cubicBezTo>
                  <a:pt x="252532" y="1745557"/>
                  <a:pt x="250607" y="1716687"/>
                  <a:pt x="267930" y="1705138"/>
                </a:cubicBezTo>
                <a:cubicBezTo>
                  <a:pt x="287178" y="1718610"/>
                  <a:pt x="314125" y="1730160"/>
                  <a:pt x="350696" y="1735935"/>
                </a:cubicBezTo>
                <a:cubicBezTo>
                  <a:pt x="362245" y="1730160"/>
                  <a:pt x="366095" y="1712836"/>
                  <a:pt x="375719" y="1703212"/>
                </a:cubicBezTo>
                <a:cubicBezTo>
                  <a:pt x="414214" y="1708986"/>
                  <a:pt x="433462" y="1722460"/>
                  <a:pt x="466184" y="1722460"/>
                </a:cubicBezTo>
                <a:cubicBezTo>
                  <a:pt x="473883" y="1708986"/>
                  <a:pt x="495055" y="1689740"/>
                  <a:pt x="493131" y="1676266"/>
                </a:cubicBezTo>
                <a:cubicBezTo>
                  <a:pt x="458484" y="1568478"/>
                  <a:pt x="350696" y="1637769"/>
                  <a:pt x="252532" y="1597350"/>
                </a:cubicBezTo>
                <a:cubicBezTo>
                  <a:pt x="250607" y="1508809"/>
                  <a:pt x="296802" y="1451065"/>
                  <a:pt x="371869" y="1464538"/>
                </a:cubicBezTo>
                <a:cubicBezTo>
                  <a:pt x="377643" y="1424118"/>
                  <a:pt x="400741" y="1410644"/>
                  <a:pt x="421913" y="1393321"/>
                </a:cubicBezTo>
                <a:cubicBezTo>
                  <a:pt x="441161" y="1397171"/>
                  <a:pt x="458484" y="1401020"/>
                  <a:pt x="475807" y="1404870"/>
                </a:cubicBezTo>
                <a:cubicBezTo>
                  <a:pt x="504679" y="1383697"/>
                  <a:pt x="493131" y="1335578"/>
                  <a:pt x="518153" y="1314405"/>
                </a:cubicBezTo>
                <a:cubicBezTo>
                  <a:pt x="531626" y="1308631"/>
                  <a:pt x="556649" y="1322104"/>
                  <a:pt x="570123" y="1316330"/>
                </a:cubicBezTo>
                <a:cubicBezTo>
                  <a:pt x="572047" y="1295157"/>
                  <a:pt x="577822" y="1279759"/>
                  <a:pt x="585521" y="1264361"/>
                </a:cubicBezTo>
                <a:cubicBezTo>
                  <a:pt x="677910" y="1237414"/>
                  <a:pt x="687535" y="1320180"/>
                  <a:pt x="735654" y="1362525"/>
                </a:cubicBezTo>
                <a:cubicBezTo>
                  <a:pt x="808796" y="1426043"/>
                  <a:pt x="916585" y="1458764"/>
                  <a:pt x="1035922" y="1468388"/>
                </a:cubicBezTo>
                <a:cubicBezTo>
                  <a:pt x="870389" y="1431817"/>
                  <a:pt x="714482" y="1370224"/>
                  <a:pt x="687535" y="1256661"/>
                </a:cubicBezTo>
                <a:cubicBezTo>
                  <a:pt x="733729" y="1316330"/>
                  <a:pt x="818420" y="1402945"/>
                  <a:pt x="939681" y="1416419"/>
                </a:cubicBezTo>
                <a:cubicBezTo>
                  <a:pt x="845367" y="1370224"/>
                  <a:pt x="743353" y="1329804"/>
                  <a:pt x="716406" y="1241263"/>
                </a:cubicBezTo>
                <a:cubicBezTo>
                  <a:pt x="708707" y="1239338"/>
                  <a:pt x="706782" y="1245113"/>
                  <a:pt x="702932" y="1247037"/>
                </a:cubicBezTo>
                <a:cubicBezTo>
                  <a:pt x="712557" y="1208543"/>
                  <a:pt x="729880" y="1181595"/>
                  <a:pt x="760676" y="1177745"/>
                </a:cubicBezTo>
                <a:cubicBezTo>
                  <a:pt x="779925" y="1196993"/>
                  <a:pt x="789549" y="1222015"/>
                  <a:pt x="812645" y="1237414"/>
                </a:cubicBezTo>
                <a:cubicBezTo>
                  <a:pt x="853066" y="1231639"/>
                  <a:pt x="908886" y="1247037"/>
                  <a:pt x="914659" y="1183519"/>
                </a:cubicBezTo>
                <a:cubicBezTo>
                  <a:pt x="955080" y="1164272"/>
                  <a:pt x="1008975" y="1168121"/>
                  <a:pt x="1022447" y="1108453"/>
                </a:cubicBezTo>
                <a:cubicBezTo>
                  <a:pt x="991652" y="1087280"/>
                  <a:pt x="972403" y="1023762"/>
                  <a:pt x="1024372" y="1017988"/>
                </a:cubicBezTo>
                <a:cubicBezTo>
                  <a:pt x="1122537" y="1006439"/>
                  <a:pt x="1228400" y="1193143"/>
                  <a:pt x="1320790" y="1191219"/>
                </a:cubicBezTo>
                <a:cubicBezTo>
                  <a:pt x="1261122" y="1129625"/>
                  <a:pt x="1164882" y="1091130"/>
                  <a:pt x="1112913" y="1023762"/>
                </a:cubicBezTo>
                <a:cubicBezTo>
                  <a:pt x="1114838" y="1012213"/>
                  <a:pt x="1130236" y="1017988"/>
                  <a:pt x="1130236" y="1002589"/>
                </a:cubicBezTo>
                <a:cubicBezTo>
                  <a:pt x="1112913" y="889027"/>
                  <a:pt x="1211077" y="844757"/>
                  <a:pt x="1286144" y="825509"/>
                </a:cubicBezTo>
                <a:close/>
                <a:moveTo>
                  <a:pt x="5318572" y="785139"/>
                </a:moveTo>
                <a:cubicBezTo>
                  <a:pt x="5326271" y="798612"/>
                  <a:pt x="5339745" y="819785"/>
                  <a:pt x="5330121" y="823635"/>
                </a:cubicBezTo>
                <a:cubicBezTo>
                  <a:pt x="5283926" y="844807"/>
                  <a:pt x="5268527" y="846732"/>
                  <a:pt x="5226182" y="858280"/>
                </a:cubicBezTo>
                <a:cubicBezTo>
                  <a:pt x="5220408" y="860205"/>
                  <a:pt x="5208859" y="852505"/>
                  <a:pt x="5201160" y="844807"/>
                </a:cubicBezTo>
                <a:lnTo>
                  <a:pt x="5212709" y="831334"/>
                </a:lnTo>
                <a:cubicBezTo>
                  <a:pt x="5206935" y="825559"/>
                  <a:pt x="5206935" y="819785"/>
                  <a:pt x="5220408" y="817860"/>
                </a:cubicBezTo>
                <a:cubicBezTo>
                  <a:pt x="5256979" y="812086"/>
                  <a:pt x="5283926" y="790913"/>
                  <a:pt x="5318572" y="785139"/>
                </a:cubicBezTo>
                <a:close/>
                <a:moveTo>
                  <a:pt x="1877052" y="750454"/>
                </a:moveTo>
                <a:cubicBezTo>
                  <a:pt x="1965592" y="769702"/>
                  <a:pt x="1948269" y="871716"/>
                  <a:pt x="1973291" y="923690"/>
                </a:cubicBezTo>
                <a:cubicBezTo>
                  <a:pt x="1967517" y="925615"/>
                  <a:pt x="1961743" y="925615"/>
                  <a:pt x="1957893" y="925615"/>
                </a:cubicBezTo>
                <a:cubicBezTo>
                  <a:pt x="1942495" y="854392"/>
                  <a:pt x="1907849" y="794724"/>
                  <a:pt x="1877052" y="750454"/>
                </a:cubicBezTo>
                <a:close/>
                <a:moveTo>
                  <a:pt x="1816605" y="737183"/>
                </a:moveTo>
                <a:cubicBezTo>
                  <a:pt x="1864421" y="734894"/>
                  <a:pt x="1912420" y="831524"/>
                  <a:pt x="1930946" y="873629"/>
                </a:cubicBezTo>
                <a:cubicBezTo>
                  <a:pt x="1938646" y="892876"/>
                  <a:pt x="1942495" y="910200"/>
                  <a:pt x="1946345" y="929447"/>
                </a:cubicBezTo>
                <a:cubicBezTo>
                  <a:pt x="1944420" y="931373"/>
                  <a:pt x="1940570" y="931373"/>
                  <a:pt x="1938646" y="933297"/>
                </a:cubicBezTo>
                <a:cubicBezTo>
                  <a:pt x="1932872" y="935223"/>
                  <a:pt x="1923247" y="940997"/>
                  <a:pt x="1911699" y="944847"/>
                </a:cubicBezTo>
                <a:cubicBezTo>
                  <a:pt x="1898225" y="867854"/>
                  <a:pt x="1869353" y="798562"/>
                  <a:pt x="1817384" y="746593"/>
                </a:cubicBezTo>
                <a:cubicBezTo>
                  <a:pt x="1813535" y="746593"/>
                  <a:pt x="1811610" y="748517"/>
                  <a:pt x="1811610" y="750442"/>
                </a:cubicBezTo>
                <a:cubicBezTo>
                  <a:pt x="1855880" y="798562"/>
                  <a:pt x="1880902" y="869779"/>
                  <a:pt x="1894376" y="952545"/>
                </a:cubicBezTo>
                <a:cubicBezTo>
                  <a:pt x="1886676" y="954471"/>
                  <a:pt x="1880902" y="958320"/>
                  <a:pt x="1873203" y="960245"/>
                </a:cubicBezTo>
                <a:cubicBezTo>
                  <a:pt x="1869353" y="906350"/>
                  <a:pt x="1855880" y="858230"/>
                  <a:pt x="1825083" y="825509"/>
                </a:cubicBezTo>
                <a:cubicBezTo>
                  <a:pt x="1840481" y="869779"/>
                  <a:pt x="1850105" y="915975"/>
                  <a:pt x="1855880" y="966019"/>
                </a:cubicBezTo>
                <a:cubicBezTo>
                  <a:pt x="1853955" y="967944"/>
                  <a:pt x="1852031" y="967944"/>
                  <a:pt x="1850105" y="967944"/>
                </a:cubicBezTo>
                <a:cubicBezTo>
                  <a:pt x="1830858" y="971793"/>
                  <a:pt x="1819309" y="958320"/>
                  <a:pt x="1803910" y="989117"/>
                </a:cubicBezTo>
                <a:cubicBezTo>
                  <a:pt x="1788512" y="1019912"/>
                  <a:pt x="1778888" y="1069958"/>
                  <a:pt x="1740392" y="1093055"/>
                </a:cubicBezTo>
                <a:cubicBezTo>
                  <a:pt x="1701897" y="1116153"/>
                  <a:pt x="1684574" y="1114228"/>
                  <a:pt x="1686498" y="1148874"/>
                </a:cubicBezTo>
                <a:cubicBezTo>
                  <a:pt x="1690348" y="1183520"/>
                  <a:pt x="1717295" y="1248962"/>
                  <a:pt x="1715370" y="1266286"/>
                </a:cubicBezTo>
                <a:cubicBezTo>
                  <a:pt x="1713445" y="1283608"/>
                  <a:pt x="1719220" y="1327879"/>
                  <a:pt x="1724994" y="1335578"/>
                </a:cubicBezTo>
                <a:cubicBezTo>
                  <a:pt x="1730768" y="1343278"/>
                  <a:pt x="1763491" y="1401021"/>
                  <a:pt x="1792362" y="1424118"/>
                </a:cubicBezTo>
                <a:cubicBezTo>
                  <a:pt x="1821234" y="1447215"/>
                  <a:pt x="1834707" y="1439517"/>
                  <a:pt x="1834707" y="1476087"/>
                </a:cubicBezTo>
                <a:cubicBezTo>
                  <a:pt x="1834707" y="1512658"/>
                  <a:pt x="1855880" y="1597349"/>
                  <a:pt x="1813535" y="1597349"/>
                </a:cubicBezTo>
                <a:cubicBezTo>
                  <a:pt x="1771189" y="1597349"/>
                  <a:pt x="1694197" y="1549229"/>
                  <a:pt x="1690348" y="1531906"/>
                </a:cubicBezTo>
                <a:cubicBezTo>
                  <a:pt x="1688424" y="1514583"/>
                  <a:pt x="1684574" y="1381774"/>
                  <a:pt x="1655702" y="1364449"/>
                </a:cubicBezTo>
                <a:cubicBezTo>
                  <a:pt x="1626830" y="1347127"/>
                  <a:pt x="1634529" y="1350976"/>
                  <a:pt x="1621056" y="1337503"/>
                </a:cubicBezTo>
                <a:cubicBezTo>
                  <a:pt x="1607583" y="1325954"/>
                  <a:pt x="1557539" y="1247038"/>
                  <a:pt x="1557539" y="1233565"/>
                </a:cubicBezTo>
                <a:cubicBezTo>
                  <a:pt x="1557539" y="1220090"/>
                  <a:pt x="1590259" y="1050710"/>
                  <a:pt x="1557539" y="862080"/>
                </a:cubicBezTo>
                <a:cubicBezTo>
                  <a:pt x="1551763" y="837058"/>
                  <a:pt x="1547914" y="813960"/>
                  <a:pt x="1545989" y="792787"/>
                </a:cubicBezTo>
                <a:cubicBezTo>
                  <a:pt x="1561387" y="802411"/>
                  <a:pt x="1576786" y="812035"/>
                  <a:pt x="1594109" y="819735"/>
                </a:cubicBezTo>
                <a:cubicBezTo>
                  <a:pt x="1624905" y="819735"/>
                  <a:pt x="1642228" y="781239"/>
                  <a:pt x="1694197" y="794712"/>
                </a:cubicBezTo>
                <a:cubicBezTo>
                  <a:pt x="1738468" y="806261"/>
                  <a:pt x="1794287" y="871704"/>
                  <a:pt x="1821234" y="823584"/>
                </a:cubicBezTo>
                <a:cubicBezTo>
                  <a:pt x="1838558" y="792787"/>
                  <a:pt x="1800061" y="771615"/>
                  <a:pt x="1796211" y="744668"/>
                </a:cubicBezTo>
                <a:cubicBezTo>
                  <a:pt x="1802948" y="739856"/>
                  <a:pt x="1809775" y="737510"/>
                  <a:pt x="1816605" y="737183"/>
                </a:cubicBezTo>
                <a:close/>
                <a:moveTo>
                  <a:pt x="1979066" y="735047"/>
                </a:moveTo>
                <a:cubicBezTo>
                  <a:pt x="2042584" y="783167"/>
                  <a:pt x="2146522" y="790866"/>
                  <a:pt x="2208115" y="748520"/>
                </a:cubicBezTo>
                <a:cubicBezTo>
                  <a:pt x="2246611" y="765844"/>
                  <a:pt x="2281257" y="804339"/>
                  <a:pt x="2331303" y="792791"/>
                </a:cubicBezTo>
                <a:cubicBezTo>
                  <a:pt x="2337076" y="827437"/>
                  <a:pt x="2381347" y="837061"/>
                  <a:pt x="2415992" y="854384"/>
                </a:cubicBezTo>
                <a:cubicBezTo>
                  <a:pt x="2458338" y="810114"/>
                  <a:pt x="2546878" y="864008"/>
                  <a:pt x="2546878" y="904428"/>
                </a:cubicBezTo>
                <a:cubicBezTo>
                  <a:pt x="2546878" y="994894"/>
                  <a:pt x="2385196" y="1143103"/>
                  <a:pt x="2383271" y="1208546"/>
                </a:cubicBezTo>
                <a:cubicBezTo>
                  <a:pt x="2454488" y="1137330"/>
                  <a:pt x="2504533" y="1000669"/>
                  <a:pt x="2562276" y="925602"/>
                </a:cubicBezTo>
                <a:cubicBezTo>
                  <a:pt x="2525705" y="1079586"/>
                  <a:pt x="2417917" y="1198922"/>
                  <a:pt x="2352475" y="1308635"/>
                </a:cubicBezTo>
                <a:cubicBezTo>
                  <a:pt x="2400594" y="1250891"/>
                  <a:pt x="2452563" y="1200847"/>
                  <a:pt x="2491059" y="1127706"/>
                </a:cubicBezTo>
                <a:cubicBezTo>
                  <a:pt x="2537255" y="1096909"/>
                  <a:pt x="2645042" y="946775"/>
                  <a:pt x="2600772" y="867857"/>
                </a:cubicBezTo>
                <a:cubicBezTo>
                  <a:pt x="2645042" y="846685"/>
                  <a:pt x="2670064" y="896729"/>
                  <a:pt x="2693162" y="914052"/>
                </a:cubicBezTo>
                <a:cubicBezTo>
                  <a:pt x="2689312" y="991045"/>
                  <a:pt x="2725883" y="1043014"/>
                  <a:pt x="2770154" y="1089210"/>
                </a:cubicBezTo>
                <a:cubicBezTo>
                  <a:pt x="2772078" y="1091135"/>
                  <a:pt x="2772078" y="1091135"/>
                  <a:pt x="2772078" y="1091135"/>
                </a:cubicBezTo>
                <a:cubicBezTo>
                  <a:pt x="2772078" y="1091135"/>
                  <a:pt x="2774003" y="1093059"/>
                  <a:pt x="2774003" y="1093059"/>
                </a:cubicBezTo>
                <a:cubicBezTo>
                  <a:pt x="2775928" y="1094984"/>
                  <a:pt x="2777853" y="1096909"/>
                  <a:pt x="2779777" y="1098834"/>
                </a:cubicBezTo>
                <a:cubicBezTo>
                  <a:pt x="2781703" y="1100759"/>
                  <a:pt x="2781703" y="1100759"/>
                  <a:pt x="2781703" y="1102683"/>
                </a:cubicBezTo>
                <a:lnTo>
                  <a:pt x="2783627" y="1102683"/>
                </a:lnTo>
                <a:cubicBezTo>
                  <a:pt x="2785552" y="1104608"/>
                  <a:pt x="2789401" y="1108458"/>
                  <a:pt x="2791326" y="1110383"/>
                </a:cubicBezTo>
                <a:lnTo>
                  <a:pt x="2791326" y="1112307"/>
                </a:lnTo>
                <a:cubicBezTo>
                  <a:pt x="2787477" y="1114232"/>
                  <a:pt x="2787477" y="1112307"/>
                  <a:pt x="2787477" y="1116157"/>
                </a:cubicBezTo>
                <a:lnTo>
                  <a:pt x="2784843" y="1117386"/>
                </a:lnTo>
                <a:lnTo>
                  <a:pt x="2787477" y="1120020"/>
                </a:lnTo>
                <a:cubicBezTo>
                  <a:pt x="2785552" y="1120020"/>
                  <a:pt x="2785552" y="1120020"/>
                  <a:pt x="2783627" y="1120020"/>
                </a:cubicBezTo>
                <a:lnTo>
                  <a:pt x="2781703" y="1121945"/>
                </a:lnTo>
                <a:cubicBezTo>
                  <a:pt x="2783627" y="1123870"/>
                  <a:pt x="2783627" y="1121945"/>
                  <a:pt x="2781703" y="1123870"/>
                </a:cubicBezTo>
                <a:lnTo>
                  <a:pt x="2777853" y="1120020"/>
                </a:lnTo>
                <a:lnTo>
                  <a:pt x="2779778" y="1118096"/>
                </a:lnTo>
                <a:lnTo>
                  <a:pt x="2783627" y="1118096"/>
                </a:lnTo>
                <a:lnTo>
                  <a:pt x="2783627" y="1117868"/>
                </a:lnTo>
                <a:lnTo>
                  <a:pt x="2781703" y="1118082"/>
                </a:lnTo>
                <a:lnTo>
                  <a:pt x="2779777" y="1118082"/>
                </a:lnTo>
                <a:cubicBezTo>
                  <a:pt x="2775928" y="1118082"/>
                  <a:pt x="2777853" y="1120006"/>
                  <a:pt x="2775928" y="1118082"/>
                </a:cubicBezTo>
                <a:cubicBezTo>
                  <a:pt x="2774003" y="1120006"/>
                  <a:pt x="2770154" y="1120006"/>
                  <a:pt x="2768230" y="1121931"/>
                </a:cubicBezTo>
                <a:lnTo>
                  <a:pt x="2768230" y="1123856"/>
                </a:lnTo>
                <a:lnTo>
                  <a:pt x="2766304" y="1125781"/>
                </a:lnTo>
                <a:lnTo>
                  <a:pt x="2766304" y="1129629"/>
                </a:lnTo>
                <a:lnTo>
                  <a:pt x="2770154" y="1129629"/>
                </a:lnTo>
                <a:cubicBezTo>
                  <a:pt x="2766304" y="1133479"/>
                  <a:pt x="2770154" y="1129629"/>
                  <a:pt x="2766304" y="1131555"/>
                </a:cubicBezTo>
                <a:lnTo>
                  <a:pt x="2766304" y="1133479"/>
                </a:lnTo>
                <a:lnTo>
                  <a:pt x="2762454" y="1135405"/>
                </a:lnTo>
                <a:cubicBezTo>
                  <a:pt x="2760530" y="1133479"/>
                  <a:pt x="2760530" y="1135405"/>
                  <a:pt x="2762454" y="1133479"/>
                </a:cubicBezTo>
                <a:cubicBezTo>
                  <a:pt x="2760530" y="1133479"/>
                  <a:pt x="2760530" y="1135405"/>
                  <a:pt x="2760530" y="1133479"/>
                </a:cubicBezTo>
                <a:cubicBezTo>
                  <a:pt x="2760530" y="1131555"/>
                  <a:pt x="2760530" y="1133479"/>
                  <a:pt x="2760530" y="1131555"/>
                </a:cubicBezTo>
                <a:lnTo>
                  <a:pt x="2760530" y="1129629"/>
                </a:lnTo>
                <a:lnTo>
                  <a:pt x="2756680" y="1129629"/>
                </a:lnTo>
                <a:lnTo>
                  <a:pt x="2758605" y="1131555"/>
                </a:lnTo>
                <a:cubicBezTo>
                  <a:pt x="2754755" y="1133479"/>
                  <a:pt x="2754755" y="1131555"/>
                  <a:pt x="2754755" y="1135405"/>
                </a:cubicBezTo>
                <a:lnTo>
                  <a:pt x="2750906" y="1135405"/>
                </a:lnTo>
                <a:cubicBezTo>
                  <a:pt x="2752830" y="1131555"/>
                  <a:pt x="2750906" y="1131555"/>
                  <a:pt x="2754755" y="1131555"/>
                </a:cubicBezTo>
                <a:cubicBezTo>
                  <a:pt x="2754755" y="1129629"/>
                  <a:pt x="2754755" y="1129629"/>
                  <a:pt x="2754755" y="1129629"/>
                </a:cubicBezTo>
                <a:cubicBezTo>
                  <a:pt x="2754755" y="1129629"/>
                  <a:pt x="2754755" y="1129629"/>
                  <a:pt x="2752830" y="1129629"/>
                </a:cubicBezTo>
                <a:lnTo>
                  <a:pt x="2750906" y="1131555"/>
                </a:lnTo>
                <a:lnTo>
                  <a:pt x="2750906" y="1135405"/>
                </a:lnTo>
                <a:lnTo>
                  <a:pt x="2754230" y="1138729"/>
                </a:lnTo>
                <a:lnTo>
                  <a:pt x="2752830" y="1139253"/>
                </a:lnTo>
                <a:lnTo>
                  <a:pt x="2748981" y="1139253"/>
                </a:lnTo>
                <a:cubicBezTo>
                  <a:pt x="2750906" y="1137330"/>
                  <a:pt x="2748981" y="1137330"/>
                  <a:pt x="2748981" y="1137330"/>
                </a:cubicBezTo>
                <a:cubicBezTo>
                  <a:pt x="2747056" y="1137330"/>
                  <a:pt x="2747056" y="1137330"/>
                  <a:pt x="2745131" y="1137330"/>
                </a:cubicBezTo>
                <a:lnTo>
                  <a:pt x="2743207" y="1135405"/>
                </a:lnTo>
                <a:lnTo>
                  <a:pt x="2743207" y="1131555"/>
                </a:lnTo>
                <a:cubicBezTo>
                  <a:pt x="2737433" y="1131555"/>
                  <a:pt x="2739357" y="1133479"/>
                  <a:pt x="2735507" y="1135405"/>
                </a:cubicBezTo>
                <a:cubicBezTo>
                  <a:pt x="2735507" y="1133479"/>
                  <a:pt x="2735507" y="1133479"/>
                  <a:pt x="2737433" y="1131555"/>
                </a:cubicBezTo>
                <a:cubicBezTo>
                  <a:pt x="2733582" y="1129629"/>
                  <a:pt x="2737433" y="1131555"/>
                  <a:pt x="2733582" y="1131555"/>
                </a:cubicBezTo>
                <a:cubicBezTo>
                  <a:pt x="2733582" y="1127706"/>
                  <a:pt x="2733582" y="1129629"/>
                  <a:pt x="2735507" y="1127706"/>
                </a:cubicBezTo>
                <a:cubicBezTo>
                  <a:pt x="2731659" y="1125781"/>
                  <a:pt x="2731659" y="1121931"/>
                  <a:pt x="2727808" y="1121931"/>
                </a:cubicBezTo>
                <a:lnTo>
                  <a:pt x="2725883" y="1125781"/>
                </a:lnTo>
                <a:lnTo>
                  <a:pt x="2731659" y="1127706"/>
                </a:lnTo>
                <a:cubicBezTo>
                  <a:pt x="2731659" y="1127706"/>
                  <a:pt x="2729733" y="1129629"/>
                  <a:pt x="2729733" y="1129629"/>
                </a:cubicBezTo>
                <a:cubicBezTo>
                  <a:pt x="2729733" y="1131555"/>
                  <a:pt x="2731659" y="1131555"/>
                  <a:pt x="2733582" y="1131555"/>
                </a:cubicBezTo>
                <a:lnTo>
                  <a:pt x="2731659" y="1133479"/>
                </a:lnTo>
                <a:lnTo>
                  <a:pt x="2729733" y="1133479"/>
                </a:lnTo>
                <a:lnTo>
                  <a:pt x="2727808" y="1135405"/>
                </a:lnTo>
                <a:cubicBezTo>
                  <a:pt x="2727808" y="1137330"/>
                  <a:pt x="2727808" y="1135405"/>
                  <a:pt x="2727808" y="1137330"/>
                </a:cubicBezTo>
                <a:lnTo>
                  <a:pt x="2728400" y="1137922"/>
                </a:lnTo>
                <a:lnTo>
                  <a:pt x="2728714" y="1139253"/>
                </a:lnTo>
                <a:lnTo>
                  <a:pt x="2725883" y="1139253"/>
                </a:lnTo>
                <a:lnTo>
                  <a:pt x="2723958" y="1143103"/>
                </a:lnTo>
                <a:lnTo>
                  <a:pt x="2722034" y="1145028"/>
                </a:lnTo>
                <a:lnTo>
                  <a:pt x="2720109" y="1145028"/>
                </a:lnTo>
                <a:lnTo>
                  <a:pt x="2720109" y="1146954"/>
                </a:lnTo>
                <a:lnTo>
                  <a:pt x="2716259" y="1146954"/>
                </a:lnTo>
                <a:cubicBezTo>
                  <a:pt x="2714335" y="1143103"/>
                  <a:pt x="2714335" y="1145028"/>
                  <a:pt x="2712410" y="1143103"/>
                </a:cubicBezTo>
                <a:lnTo>
                  <a:pt x="2716259" y="1139253"/>
                </a:lnTo>
                <a:cubicBezTo>
                  <a:pt x="2718184" y="1139253"/>
                  <a:pt x="2718184" y="1139253"/>
                  <a:pt x="2718184" y="1137330"/>
                </a:cubicBezTo>
                <a:lnTo>
                  <a:pt x="2716259" y="1137330"/>
                </a:lnTo>
                <a:lnTo>
                  <a:pt x="2716259" y="1133479"/>
                </a:lnTo>
                <a:cubicBezTo>
                  <a:pt x="2714335" y="1133479"/>
                  <a:pt x="2714335" y="1133479"/>
                  <a:pt x="2712410" y="1135405"/>
                </a:cubicBezTo>
                <a:cubicBezTo>
                  <a:pt x="2714335" y="1139253"/>
                  <a:pt x="2712410" y="1133479"/>
                  <a:pt x="2712410" y="1137330"/>
                </a:cubicBezTo>
                <a:lnTo>
                  <a:pt x="2716259" y="1139253"/>
                </a:lnTo>
                <a:lnTo>
                  <a:pt x="2712410" y="1139253"/>
                </a:lnTo>
                <a:lnTo>
                  <a:pt x="2710485" y="1139253"/>
                </a:lnTo>
                <a:lnTo>
                  <a:pt x="2708560" y="1143103"/>
                </a:lnTo>
                <a:lnTo>
                  <a:pt x="2708560" y="1146954"/>
                </a:lnTo>
                <a:lnTo>
                  <a:pt x="2710485" y="1148877"/>
                </a:lnTo>
                <a:lnTo>
                  <a:pt x="2712410" y="1148877"/>
                </a:lnTo>
                <a:lnTo>
                  <a:pt x="2716259" y="1150803"/>
                </a:lnTo>
                <a:cubicBezTo>
                  <a:pt x="2716259" y="1154652"/>
                  <a:pt x="2718184" y="1150803"/>
                  <a:pt x="2716259" y="1154652"/>
                </a:cubicBezTo>
                <a:lnTo>
                  <a:pt x="2718184" y="1156577"/>
                </a:lnTo>
                <a:lnTo>
                  <a:pt x="2720109" y="1154652"/>
                </a:lnTo>
                <a:lnTo>
                  <a:pt x="2722034" y="1150803"/>
                </a:lnTo>
                <a:cubicBezTo>
                  <a:pt x="2723958" y="1150803"/>
                  <a:pt x="2725883" y="1150803"/>
                  <a:pt x="2725883" y="1152727"/>
                </a:cubicBezTo>
                <a:cubicBezTo>
                  <a:pt x="2725883" y="1154652"/>
                  <a:pt x="2723958" y="1156577"/>
                  <a:pt x="2722034" y="1156577"/>
                </a:cubicBezTo>
                <a:lnTo>
                  <a:pt x="2722034" y="1158501"/>
                </a:lnTo>
                <a:lnTo>
                  <a:pt x="2718184" y="1160426"/>
                </a:lnTo>
                <a:lnTo>
                  <a:pt x="2718184" y="1162351"/>
                </a:lnTo>
                <a:lnTo>
                  <a:pt x="2716259" y="1164276"/>
                </a:lnTo>
                <a:cubicBezTo>
                  <a:pt x="2718184" y="1164276"/>
                  <a:pt x="2719146" y="1163795"/>
                  <a:pt x="2719868" y="1163795"/>
                </a:cubicBezTo>
                <a:lnTo>
                  <a:pt x="2720380" y="1164363"/>
                </a:lnTo>
                <a:lnTo>
                  <a:pt x="2717462" y="1164517"/>
                </a:lnTo>
                <a:lnTo>
                  <a:pt x="2715585" y="1165527"/>
                </a:lnTo>
                <a:lnTo>
                  <a:pt x="2712410" y="1162351"/>
                </a:lnTo>
                <a:cubicBezTo>
                  <a:pt x="2712410" y="1160426"/>
                  <a:pt x="2712410" y="1160426"/>
                  <a:pt x="2714335" y="1160426"/>
                </a:cubicBezTo>
                <a:lnTo>
                  <a:pt x="2716259" y="1158501"/>
                </a:lnTo>
                <a:lnTo>
                  <a:pt x="2712410" y="1158501"/>
                </a:lnTo>
                <a:lnTo>
                  <a:pt x="2708560" y="1160426"/>
                </a:lnTo>
                <a:cubicBezTo>
                  <a:pt x="2706636" y="1158501"/>
                  <a:pt x="2706636" y="1158501"/>
                  <a:pt x="2704711" y="1158501"/>
                </a:cubicBezTo>
                <a:lnTo>
                  <a:pt x="2702786" y="1156577"/>
                </a:lnTo>
                <a:cubicBezTo>
                  <a:pt x="2700862" y="1156577"/>
                  <a:pt x="2702786" y="1156577"/>
                  <a:pt x="2700862" y="1156577"/>
                </a:cubicBezTo>
                <a:lnTo>
                  <a:pt x="2698936" y="1158501"/>
                </a:lnTo>
                <a:cubicBezTo>
                  <a:pt x="2698936" y="1156577"/>
                  <a:pt x="2698936" y="1156577"/>
                  <a:pt x="2700862" y="1154652"/>
                </a:cubicBezTo>
                <a:lnTo>
                  <a:pt x="2698936" y="1154652"/>
                </a:lnTo>
                <a:lnTo>
                  <a:pt x="2695087" y="1158501"/>
                </a:lnTo>
                <a:lnTo>
                  <a:pt x="2696531" y="1161389"/>
                </a:lnTo>
                <a:cubicBezTo>
                  <a:pt x="2696049" y="1160908"/>
                  <a:pt x="2696049" y="1160426"/>
                  <a:pt x="2695087" y="1160426"/>
                </a:cubicBezTo>
                <a:lnTo>
                  <a:pt x="2693162" y="1160426"/>
                </a:lnTo>
                <a:lnTo>
                  <a:pt x="2691237" y="1164276"/>
                </a:lnTo>
                <a:lnTo>
                  <a:pt x="2691237" y="1171975"/>
                </a:lnTo>
                <a:lnTo>
                  <a:pt x="2689312" y="1173899"/>
                </a:lnTo>
                <a:lnTo>
                  <a:pt x="2689313" y="1173900"/>
                </a:lnTo>
                <a:lnTo>
                  <a:pt x="2687389" y="1175824"/>
                </a:lnTo>
                <a:lnTo>
                  <a:pt x="2685463" y="1179674"/>
                </a:lnTo>
                <a:lnTo>
                  <a:pt x="2685463" y="1181599"/>
                </a:lnTo>
                <a:cubicBezTo>
                  <a:pt x="2689312" y="1181599"/>
                  <a:pt x="2687389" y="1181599"/>
                  <a:pt x="2689312" y="1179674"/>
                </a:cubicBezTo>
                <a:cubicBezTo>
                  <a:pt x="2691237" y="1179674"/>
                  <a:pt x="2693162" y="1179674"/>
                  <a:pt x="2693162" y="1177749"/>
                </a:cubicBezTo>
                <a:lnTo>
                  <a:pt x="2689313" y="1173900"/>
                </a:lnTo>
                <a:lnTo>
                  <a:pt x="2691237" y="1171975"/>
                </a:lnTo>
                <a:lnTo>
                  <a:pt x="2693162" y="1171975"/>
                </a:lnTo>
                <a:lnTo>
                  <a:pt x="2693162" y="1162351"/>
                </a:lnTo>
                <a:lnTo>
                  <a:pt x="2697012" y="1162351"/>
                </a:lnTo>
                <a:lnTo>
                  <a:pt x="2696531" y="1161389"/>
                </a:lnTo>
                <a:lnTo>
                  <a:pt x="2700862" y="1162351"/>
                </a:lnTo>
                <a:lnTo>
                  <a:pt x="2698936" y="1164276"/>
                </a:lnTo>
                <a:cubicBezTo>
                  <a:pt x="2700862" y="1168125"/>
                  <a:pt x="2698936" y="1164276"/>
                  <a:pt x="2700862" y="1168125"/>
                </a:cubicBezTo>
                <a:lnTo>
                  <a:pt x="2704711" y="1164276"/>
                </a:lnTo>
                <a:lnTo>
                  <a:pt x="2704712" y="1164276"/>
                </a:lnTo>
                <a:lnTo>
                  <a:pt x="2706638" y="1164276"/>
                </a:lnTo>
                <a:lnTo>
                  <a:pt x="2706638" y="1164277"/>
                </a:lnTo>
                <a:lnTo>
                  <a:pt x="2710485" y="1166201"/>
                </a:lnTo>
                <a:lnTo>
                  <a:pt x="2708561" y="1168125"/>
                </a:lnTo>
                <a:lnTo>
                  <a:pt x="2708560" y="1168125"/>
                </a:lnTo>
                <a:lnTo>
                  <a:pt x="2710485" y="1170050"/>
                </a:lnTo>
                <a:lnTo>
                  <a:pt x="2710485" y="1168125"/>
                </a:lnTo>
                <a:lnTo>
                  <a:pt x="2714335" y="1168125"/>
                </a:lnTo>
                <a:lnTo>
                  <a:pt x="2714335" y="1170050"/>
                </a:lnTo>
                <a:lnTo>
                  <a:pt x="2714335" y="1171975"/>
                </a:lnTo>
                <a:lnTo>
                  <a:pt x="2712410" y="1173899"/>
                </a:lnTo>
                <a:cubicBezTo>
                  <a:pt x="2714335" y="1173899"/>
                  <a:pt x="2714335" y="1173899"/>
                  <a:pt x="2716259" y="1173899"/>
                </a:cubicBezTo>
                <a:lnTo>
                  <a:pt x="2718184" y="1173899"/>
                </a:lnTo>
                <a:lnTo>
                  <a:pt x="2720109" y="1173899"/>
                </a:lnTo>
                <a:cubicBezTo>
                  <a:pt x="2722034" y="1170050"/>
                  <a:pt x="2720109" y="1171975"/>
                  <a:pt x="2723958" y="1170050"/>
                </a:cubicBezTo>
                <a:cubicBezTo>
                  <a:pt x="2722034" y="1168125"/>
                  <a:pt x="2722034" y="1170050"/>
                  <a:pt x="2723958" y="1168125"/>
                </a:cubicBezTo>
                <a:lnTo>
                  <a:pt x="2720109" y="1168125"/>
                </a:lnTo>
                <a:lnTo>
                  <a:pt x="2722034" y="1170050"/>
                </a:lnTo>
                <a:cubicBezTo>
                  <a:pt x="2716259" y="1170050"/>
                  <a:pt x="2720109" y="1170050"/>
                  <a:pt x="2716259" y="1168125"/>
                </a:cubicBezTo>
                <a:lnTo>
                  <a:pt x="2718184" y="1166201"/>
                </a:lnTo>
                <a:lnTo>
                  <a:pt x="2722034" y="1166201"/>
                </a:lnTo>
                <a:lnTo>
                  <a:pt x="2720380" y="1164363"/>
                </a:lnTo>
                <a:lnTo>
                  <a:pt x="2722034" y="1164276"/>
                </a:lnTo>
                <a:lnTo>
                  <a:pt x="2725883" y="1164276"/>
                </a:lnTo>
                <a:lnTo>
                  <a:pt x="2725883" y="1166201"/>
                </a:lnTo>
                <a:cubicBezTo>
                  <a:pt x="2729733" y="1166201"/>
                  <a:pt x="2727808" y="1166201"/>
                  <a:pt x="2731659" y="1164276"/>
                </a:cubicBezTo>
                <a:lnTo>
                  <a:pt x="2731659" y="1162351"/>
                </a:lnTo>
                <a:lnTo>
                  <a:pt x="2731659" y="1158501"/>
                </a:lnTo>
                <a:lnTo>
                  <a:pt x="2729733" y="1160426"/>
                </a:lnTo>
                <a:lnTo>
                  <a:pt x="2725883" y="1160426"/>
                </a:lnTo>
                <a:lnTo>
                  <a:pt x="2723958" y="1160426"/>
                </a:lnTo>
                <a:lnTo>
                  <a:pt x="2727808" y="1156577"/>
                </a:lnTo>
                <a:lnTo>
                  <a:pt x="2731659" y="1154652"/>
                </a:lnTo>
                <a:lnTo>
                  <a:pt x="2733582" y="1156577"/>
                </a:lnTo>
                <a:lnTo>
                  <a:pt x="2733582" y="1158501"/>
                </a:lnTo>
                <a:lnTo>
                  <a:pt x="2733582" y="1160426"/>
                </a:lnTo>
                <a:cubicBezTo>
                  <a:pt x="2737433" y="1160426"/>
                  <a:pt x="2737433" y="1160426"/>
                  <a:pt x="2737433" y="1158501"/>
                </a:cubicBezTo>
                <a:cubicBezTo>
                  <a:pt x="2739357" y="1158501"/>
                  <a:pt x="2737433" y="1158501"/>
                  <a:pt x="2739357" y="1158501"/>
                </a:cubicBezTo>
                <a:lnTo>
                  <a:pt x="2741282" y="1158501"/>
                </a:lnTo>
                <a:lnTo>
                  <a:pt x="2743207" y="1156577"/>
                </a:lnTo>
                <a:cubicBezTo>
                  <a:pt x="2743207" y="1154652"/>
                  <a:pt x="2743207" y="1156577"/>
                  <a:pt x="2743207" y="1154652"/>
                </a:cubicBezTo>
                <a:lnTo>
                  <a:pt x="2741282" y="1152727"/>
                </a:lnTo>
                <a:lnTo>
                  <a:pt x="2737433" y="1150803"/>
                </a:lnTo>
                <a:lnTo>
                  <a:pt x="2734865" y="1152086"/>
                </a:lnTo>
                <a:lnTo>
                  <a:pt x="2733582" y="1150802"/>
                </a:lnTo>
                <a:lnTo>
                  <a:pt x="2733582" y="1148877"/>
                </a:lnTo>
                <a:lnTo>
                  <a:pt x="2739357" y="1148877"/>
                </a:lnTo>
                <a:cubicBezTo>
                  <a:pt x="2737433" y="1146954"/>
                  <a:pt x="2737433" y="1148877"/>
                  <a:pt x="2739357" y="1146954"/>
                </a:cubicBezTo>
                <a:cubicBezTo>
                  <a:pt x="2735507" y="1146954"/>
                  <a:pt x="2735507" y="1146954"/>
                  <a:pt x="2733582" y="1148877"/>
                </a:cubicBezTo>
                <a:lnTo>
                  <a:pt x="2731659" y="1148877"/>
                </a:lnTo>
                <a:lnTo>
                  <a:pt x="2729733" y="1148877"/>
                </a:lnTo>
                <a:lnTo>
                  <a:pt x="2729733" y="1146954"/>
                </a:lnTo>
                <a:cubicBezTo>
                  <a:pt x="2725883" y="1146954"/>
                  <a:pt x="2727808" y="1145028"/>
                  <a:pt x="2725883" y="1148877"/>
                </a:cubicBezTo>
                <a:lnTo>
                  <a:pt x="2729733" y="1148877"/>
                </a:lnTo>
                <a:cubicBezTo>
                  <a:pt x="2729733" y="1154652"/>
                  <a:pt x="2727808" y="1150803"/>
                  <a:pt x="2723958" y="1150803"/>
                </a:cubicBezTo>
                <a:lnTo>
                  <a:pt x="2723958" y="1145028"/>
                </a:lnTo>
                <a:lnTo>
                  <a:pt x="2729733" y="1139253"/>
                </a:lnTo>
                <a:lnTo>
                  <a:pt x="2729733" y="1141179"/>
                </a:lnTo>
                <a:lnTo>
                  <a:pt x="2727808" y="1142382"/>
                </a:lnTo>
                <a:cubicBezTo>
                  <a:pt x="2727327" y="1142622"/>
                  <a:pt x="2726845" y="1143103"/>
                  <a:pt x="2725883" y="1145028"/>
                </a:cubicBezTo>
                <a:lnTo>
                  <a:pt x="2729733" y="1141179"/>
                </a:lnTo>
                <a:lnTo>
                  <a:pt x="2731659" y="1139253"/>
                </a:lnTo>
                <a:cubicBezTo>
                  <a:pt x="2735507" y="1139253"/>
                  <a:pt x="2733582" y="1139253"/>
                  <a:pt x="2735507" y="1135405"/>
                </a:cubicBezTo>
                <a:lnTo>
                  <a:pt x="2737433" y="1135405"/>
                </a:lnTo>
                <a:lnTo>
                  <a:pt x="2739357" y="1139253"/>
                </a:lnTo>
                <a:lnTo>
                  <a:pt x="2741282" y="1137330"/>
                </a:lnTo>
                <a:cubicBezTo>
                  <a:pt x="2743207" y="1139253"/>
                  <a:pt x="2743207" y="1139253"/>
                  <a:pt x="2743207" y="1141179"/>
                </a:cubicBezTo>
                <a:cubicBezTo>
                  <a:pt x="2747056" y="1141179"/>
                  <a:pt x="2745131" y="1141179"/>
                  <a:pt x="2747056" y="1139253"/>
                </a:cubicBezTo>
                <a:lnTo>
                  <a:pt x="2750906" y="1141179"/>
                </a:lnTo>
                <a:lnTo>
                  <a:pt x="2752830" y="1139253"/>
                </a:lnTo>
                <a:lnTo>
                  <a:pt x="2754755" y="1139253"/>
                </a:lnTo>
                <a:lnTo>
                  <a:pt x="2754230" y="1138729"/>
                </a:lnTo>
                <a:lnTo>
                  <a:pt x="2754755" y="1138532"/>
                </a:lnTo>
                <a:cubicBezTo>
                  <a:pt x="2754755" y="1138291"/>
                  <a:pt x="2754755" y="1138291"/>
                  <a:pt x="2756680" y="1139253"/>
                </a:cubicBezTo>
                <a:cubicBezTo>
                  <a:pt x="2758605" y="1137330"/>
                  <a:pt x="2758605" y="1137330"/>
                  <a:pt x="2760530" y="1137330"/>
                </a:cubicBezTo>
                <a:lnTo>
                  <a:pt x="2764379" y="1137330"/>
                </a:lnTo>
                <a:cubicBezTo>
                  <a:pt x="2768230" y="1137330"/>
                  <a:pt x="2768230" y="1135405"/>
                  <a:pt x="2768230" y="1133479"/>
                </a:cubicBezTo>
                <a:lnTo>
                  <a:pt x="2772078" y="1133479"/>
                </a:lnTo>
                <a:cubicBezTo>
                  <a:pt x="2772078" y="1135405"/>
                  <a:pt x="2772078" y="1133479"/>
                  <a:pt x="2772078" y="1135405"/>
                </a:cubicBezTo>
                <a:lnTo>
                  <a:pt x="2770154" y="1137330"/>
                </a:lnTo>
                <a:lnTo>
                  <a:pt x="2770154" y="1139253"/>
                </a:lnTo>
                <a:lnTo>
                  <a:pt x="2768230" y="1141179"/>
                </a:lnTo>
                <a:lnTo>
                  <a:pt x="2766304" y="1139253"/>
                </a:lnTo>
                <a:lnTo>
                  <a:pt x="2764379" y="1141179"/>
                </a:lnTo>
                <a:lnTo>
                  <a:pt x="2762454" y="1139253"/>
                </a:lnTo>
                <a:cubicBezTo>
                  <a:pt x="2760530" y="1139253"/>
                  <a:pt x="2758605" y="1139253"/>
                  <a:pt x="2758605" y="1143103"/>
                </a:cubicBezTo>
                <a:cubicBezTo>
                  <a:pt x="2762454" y="1143103"/>
                  <a:pt x="2758605" y="1145028"/>
                  <a:pt x="2762454" y="1143103"/>
                </a:cubicBezTo>
                <a:cubicBezTo>
                  <a:pt x="2764379" y="1143103"/>
                  <a:pt x="2764379" y="1145028"/>
                  <a:pt x="2766304" y="1145028"/>
                </a:cubicBezTo>
                <a:cubicBezTo>
                  <a:pt x="2768230" y="1145028"/>
                  <a:pt x="2768230" y="1145028"/>
                  <a:pt x="2770154" y="1143103"/>
                </a:cubicBezTo>
                <a:lnTo>
                  <a:pt x="2770154" y="1141179"/>
                </a:lnTo>
                <a:lnTo>
                  <a:pt x="2772078" y="1139253"/>
                </a:lnTo>
                <a:lnTo>
                  <a:pt x="2770154" y="1137330"/>
                </a:lnTo>
                <a:lnTo>
                  <a:pt x="2772078" y="1137330"/>
                </a:lnTo>
                <a:lnTo>
                  <a:pt x="2772238" y="1137169"/>
                </a:lnTo>
                <a:lnTo>
                  <a:pt x="2772079" y="1135419"/>
                </a:lnTo>
                <a:lnTo>
                  <a:pt x="2773352" y="1136055"/>
                </a:lnTo>
                <a:lnTo>
                  <a:pt x="2775928" y="1133479"/>
                </a:lnTo>
                <a:lnTo>
                  <a:pt x="2777853" y="1133479"/>
                </a:lnTo>
                <a:lnTo>
                  <a:pt x="2777853" y="1136140"/>
                </a:lnTo>
                <a:cubicBezTo>
                  <a:pt x="2778335" y="1135900"/>
                  <a:pt x="2778816" y="1135418"/>
                  <a:pt x="2779778" y="1133494"/>
                </a:cubicBezTo>
                <a:lnTo>
                  <a:pt x="2783598" y="1133494"/>
                </a:lnTo>
                <a:lnTo>
                  <a:pt x="2783627" y="1133479"/>
                </a:lnTo>
                <a:lnTo>
                  <a:pt x="2781703" y="1131555"/>
                </a:lnTo>
                <a:lnTo>
                  <a:pt x="2784007" y="1130402"/>
                </a:lnTo>
                <a:lnTo>
                  <a:pt x="2783629" y="1129646"/>
                </a:lnTo>
                <a:lnTo>
                  <a:pt x="2785554" y="1127720"/>
                </a:lnTo>
                <a:lnTo>
                  <a:pt x="2786941" y="1129109"/>
                </a:lnTo>
                <a:lnTo>
                  <a:pt x="2787477" y="1128908"/>
                </a:lnTo>
                <a:cubicBezTo>
                  <a:pt x="2787477" y="1128667"/>
                  <a:pt x="2787477" y="1128667"/>
                  <a:pt x="2789401" y="1129629"/>
                </a:cubicBezTo>
                <a:lnTo>
                  <a:pt x="2791326" y="1127706"/>
                </a:lnTo>
                <a:lnTo>
                  <a:pt x="2793251" y="1127706"/>
                </a:lnTo>
                <a:lnTo>
                  <a:pt x="2791326" y="1123856"/>
                </a:lnTo>
                <a:lnTo>
                  <a:pt x="2795176" y="1120006"/>
                </a:lnTo>
                <a:cubicBezTo>
                  <a:pt x="2793251" y="1118082"/>
                  <a:pt x="2793251" y="1120006"/>
                  <a:pt x="2795176" y="1118082"/>
                </a:cubicBezTo>
                <a:lnTo>
                  <a:pt x="2793251" y="1116157"/>
                </a:lnTo>
                <a:cubicBezTo>
                  <a:pt x="2795176" y="1114232"/>
                  <a:pt x="2795176" y="1116157"/>
                  <a:pt x="2793251" y="1114232"/>
                </a:cubicBezTo>
                <a:cubicBezTo>
                  <a:pt x="2795176" y="1114232"/>
                  <a:pt x="2797100" y="1112307"/>
                  <a:pt x="2799025" y="1112307"/>
                </a:cubicBezTo>
                <a:cubicBezTo>
                  <a:pt x="2802875" y="1116157"/>
                  <a:pt x="2804799" y="1118082"/>
                  <a:pt x="2808649" y="1121931"/>
                </a:cubicBezTo>
                <a:cubicBezTo>
                  <a:pt x="2810574" y="1123856"/>
                  <a:pt x="2814423" y="1127706"/>
                  <a:pt x="2816348" y="1129629"/>
                </a:cubicBezTo>
                <a:cubicBezTo>
                  <a:pt x="2816348" y="1129629"/>
                  <a:pt x="2816348" y="1131555"/>
                  <a:pt x="2816348" y="1131555"/>
                </a:cubicBezTo>
                <a:cubicBezTo>
                  <a:pt x="2818274" y="1131555"/>
                  <a:pt x="2818274" y="1131555"/>
                  <a:pt x="2818274" y="1131555"/>
                </a:cubicBezTo>
                <a:cubicBezTo>
                  <a:pt x="2822123" y="1135405"/>
                  <a:pt x="2827897" y="1141179"/>
                  <a:pt x="2831747" y="1145028"/>
                </a:cubicBezTo>
                <a:cubicBezTo>
                  <a:pt x="2820198" y="1183523"/>
                  <a:pt x="2791326" y="1206621"/>
                  <a:pt x="2762454" y="1223944"/>
                </a:cubicBezTo>
                <a:cubicBezTo>
                  <a:pt x="2760530" y="1225869"/>
                  <a:pt x="2756680" y="1227794"/>
                  <a:pt x="2752830" y="1229718"/>
                </a:cubicBezTo>
                <a:lnTo>
                  <a:pt x="2754755" y="1227794"/>
                </a:lnTo>
                <a:lnTo>
                  <a:pt x="2754755" y="1225869"/>
                </a:lnTo>
                <a:cubicBezTo>
                  <a:pt x="2750906" y="1225869"/>
                  <a:pt x="2752830" y="1225869"/>
                  <a:pt x="2752830" y="1227794"/>
                </a:cubicBezTo>
                <a:lnTo>
                  <a:pt x="2748981" y="1229718"/>
                </a:lnTo>
                <a:lnTo>
                  <a:pt x="2747056" y="1229718"/>
                </a:lnTo>
                <a:lnTo>
                  <a:pt x="2745131" y="1231643"/>
                </a:lnTo>
                <a:lnTo>
                  <a:pt x="2747056" y="1233568"/>
                </a:lnTo>
                <a:lnTo>
                  <a:pt x="2743207" y="1233568"/>
                </a:lnTo>
                <a:lnTo>
                  <a:pt x="2745131" y="1235493"/>
                </a:lnTo>
                <a:cubicBezTo>
                  <a:pt x="2735507" y="1241267"/>
                  <a:pt x="2727808" y="1245117"/>
                  <a:pt x="2722034" y="1248966"/>
                </a:cubicBezTo>
                <a:cubicBezTo>
                  <a:pt x="2722034" y="1247041"/>
                  <a:pt x="2720109" y="1243192"/>
                  <a:pt x="2716259" y="1241267"/>
                </a:cubicBezTo>
                <a:cubicBezTo>
                  <a:pt x="2679688" y="1256665"/>
                  <a:pt x="2643117" y="1277838"/>
                  <a:pt x="2610396" y="1306710"/>
                </a:cubicBezTo>
                <a:lnTo>
                  <a:pt x="2608471" y="1308635"/>
                </a:lnTo>
                <a:lnTo>
                  <a:pt x="2560352" y="1356754"/>
                </a:lnTo>
                <a:lnTo>
                  <a:pt x="2560592" y="1354829"/>
                </a:lnTo>
                <a:cubicBezTo>
                  <a:pt x="2560833" y="1354829"/>
                  <a:pt x="2561314" y="1354829"/>
                  <a:pt x="2562276" y="1352905"/>
                </a:cubicBezTo>
                <a:lnTo>
                  <a:pt x="2560352" y="1352905"/>
                </a:lnTo>
                <a:lnTo>
                  <a:pt x="2558427" y="1356754"/>
                </a:lnTo>
                <a:lnTo>
                  <a:pt x="2559389" y="1357717"/>
                </a:lnTo>
                <a:lnTo>
                  <a:pt x="2556502" y="1360604"/>
                </a:lnTo>
                <a:lnTo>
                  <a:pt x="2556502" y="1362529"/>
                </a:lnTo>
                <a:cubicBezTo>
                  <a:pt x="2554577" y="1364454"/>
                  <a:pt x="2554577" y="1364454"/>
                  <a:pt x="2552652" y="1366378"/>
                </a:cubicBezTo>
                <a:cubicBezTo>
                  <a:pt x="2546878" y="1368303"/>
                  <a:pt x="2548803" y="1366378"/>
                  <a:pt x="2546878" y="1370228"/>
                </a:cubicBezTo>
                <a:cubicBezTo>
                  <a:pt x="2548803" y="1370228"/>
                  <a:pt x="2550728" y="1370228"/>
                  <a:pt x="2550728" y="1370228"/>
                </a:cubicBezTo>
                <a:lnTo>
                  <a:pt x="2508352" y="1429837"/>
                </a:lnTo>
                <a:lnTo>
                  <a:pt x="2506458" y="1426047"/>
                </a:lnTo>
                <a:lnTo>
                  <a:pt x="2502608" y="1426047"/>
                </a:lnTo>
                <a:cubicBezTo>
                  <a:pt x="2502608" y="1429896"/>
                  <a:pt x="2502608" y="1426047"/>
                  <a:pt x="2504533" y="1429896"/>
                </a:cubicBezTo>
                <a:lnTo>
                  <a:pt x="2508310" y="1429896"/>
                </a:lnTo>
                <a:lnTo>
                  <a:pt x="2500444" y="1440963"/>
                </a:lnTo>
                <a:cubicBezTo>
                  <a:pt x="2485285" y="1465985"/>
                  <a:pt x="2471811" y="1492451"/>
                  <a:pt x="2460263" y="1520361"/>
                </a:cubicBezTo>
                <a:cubicBezTo>
                  <a:pt x="2458338" y="1520361"/>
                  <a:pt x="2458338" y="1520361"/>
                  <a:pt x="2458338" y="1520361"/>
                </a:cubicBezTo>
                <a:lnTo>
                  <a:pt x="2454488" y="1520361"/>
                </a:lnTo>
                <a:cubicBezTo>
                  <a:pt x="2456414" y="1522285"/>
                  <a:pt x="2454488" y="1520361"/>
                  <a:pt x="2456414" y="1522285"/>
                </a:cubicBezTo>
                <a:cubicBezTo>
                  <a:pt x="2458338" y="1522285"/>
                  <a:pt x="2458338" y="1522285"/>
                  <a:pt x="2458338" y="1522285"/>
                </a:cubicBezTo>
                <a:cubicBezTo>
                  <a:pt x="2425617" y="1597352"/>
                  <a:pt x="2408293" y="1682042"/>
                  <a:pt x="2406370" y="1772507"/>
                </a:cubicBezTo>
                <a:cubicBezTo>
                  <a:pt x="2404444" y="1880296"/>
                  <a:pt x="2425617" y="1978458"/>
                  <a:pt x="2458338" y="2068922"/>
                </a:cubicBezTo>
                <a:lnTo>
                  <a:pt x="2456414" y="2068922"/>
                </a:lnTo>
                <a:lnTo>
                  <a:pt x="2460263" y="2074697"/>
                </a:lnTo>
                <a:lnTo>
                  <a:pt x="2454488" y="2074697"/>
                </a:lnTo>
                <a:cubicBezTo>
                  <a:pt x="2456414" y="2082396"/>
                  <a:pt x="2460263" y="2078548"/>
                  <a:pt x="2450640" y="2080471"/>
                </a:cubicBezTo>
                <a:lnTo>
                  <a:pt x="2450640" y="2072772"/>
                </a:lnTo>
                <a:lnTo>
                  <a:pt x="2435240" y="2074697"/>
                </a:lnTo>
                <a:lnTo>
                  <a:pt x="2439090" y="2065073"/>
                </a:lnTo>
                <a:lnTo>
                  <a:pt x="2433316" y="2065073"/>
                </a:lnTo>
                <a:cubicBezTo>
                  <a:pt x="2435240" y="2057372"/>
                  <a:pt x="2437165" y="2063148"/>
                  <a:pt x="2429466" y="2057372"/>
                </a:cubicBezTo>
                <a:lnTo>
                  <a:pt x="2427541" y="2082396"/>
                </a:lnTo>
                <a:cubicBezTo>
                  <a:pt x="2435240" y="2080471"/>
                  <a:pt x="2425617" y="2080471"/>
                  <a:pt x="2437165" y="2080471"/>
                </a:cubicBezTo>
                <a:lnTo>
                  <a:pt x="2446789" y="2080471"/>
                </a:lnTo>
                <a:lnTo>
                  <a:pt x="2442940" y="2086247"/>
                </a:lnTo>
                <a:cubicBezTo>
                  <a:pt x="2448714" y="2090095"/>
                  <a:pt x="2446789" y="2086247"/>
                  <a:pt x="2448714" y="2093946"/>
                </a:cubicBezTo>
                <a:lnTo>
                  <a:pt x="2442940" y="2093946"/>
                </a:lnTo>
                <a:lnTo>
                  <a:pt x="2442940" y="2088172"/>
                </a:lnTo>
                <a:lnTo>
                  <a:pt x="2433316" y="2090095"/>
                </a:lnTo>
                <a:cubicBezTo>
                  <a:pt x="2429466" y="2088172"/>
                  <a:pt x="2439090" y="2088172"/>
                  <a:pt x="2427541" y="2088172"/>
                </a:cubicBezTo>
                <a:lnTo>
                  <a:pt x="2423692" y="2088172"/>
                </a:lnTo>
                <a:cubicBezTo>
                  <a:pt x="2421767" y="2088172"/>
                  <a:pt x="2421767" y="2088172"/>
                  <a:pt x="2421767" y="2088172"/>
                </a:cubicBezTo>
                <a:cubicBezTo>
                  <a:pt x="2367873" y="1974609"/>
                  <a:pt x="2339002" y="1843726"/>
                  <a:pt x="2348625" y="1699367"/>
                </a:cubicBezTo>
                <a:lnTo>
                  <a:pt x="2353349" y="1697792"/>
                </a:lnTo>
                <a:lnTo>
                  <a:pt x="2354399" y="1699367"/>
                </a:lnTo>
                <a:lnTo>
                  <a:pt x="2356176" y="1699663"/>
                </a:lnTo>
                <a:lnTo>
                  <a:pt x="2362098" y="1707065"/>
                </a:lnTo>
                <a:lnTo>
                  <a:pt x="2365948" y="1701291"/>
                </a:lnTo>
                <a:lnTo>
                  <a:pt x="2356176" y="1699663"/>
                </a:lnTo>
                <a:lnTo>
                  <a:pt x="2354399" y="1697442"/>
                </a:lnTo>
                <a:lnTo>
                  <a:pt x="2353349" y="1697792"/>
                </a:lnTo>
                <a:lnTo>
                  <a:pt x="2350550" y="1693591"/>
                </a:lnTo>
                <a:lnTo>
                  <a:pt x="2360174" y="1693591"/>
                </a:lnTo>
                <a:lnTo>
                  <a:pt x="2356324" y="1687817"/>
                </a:lnTo>
                <a:lnTo>
                  <a:pt x="2360174" y="1680119"/>
                </a:lnTo>
                <a:lnTo>
                  <a:pt x="2350550" y="1685892"/>
                </a:lnTo>
                <a:lnTo>
                  <a:pt x="2354399" y="1691666"/>
                </a:lnTo>
                <a:lnTo>
                  <a:pt x="2348625" y="1693591"/>
                </a:lnTo>
                <a:cubicBezTo>
                  <a:pt x="2348625" y="1685892"/>
                  <a:pt x="2350550" y="1678194"/>
                  <a:pt x="2350550" y="1670494"/>
                </a:cubicBezTo>
                <a:lnTo>
                  <a:pt x="2352475" y="1666645"/>
                </a:lnTo>
                <a:lnTo>
                  <a:pt x="2352475" y="1664720"/>
                </a:lnTo>
                <a:cubicBezTo>
                  <a:pt x="2352475" y="1662796"/>
                  <a:pt x="2352475" y="1660871"/>
                  <a:pt x="2352475" y="1658945"/>
                </a:cubicBezTo>
                <a:lnTo>
                  <a:pt x="2354399" y="1657021"/>
                </a:lnTo>
                <a:lnTo>
                  <a:pt x="2360174" y="1657021"/>
                </a:lnTo>
                <a:lnTo>
                  <a:pt x="2360174" y="1662796"/>
                </a:lnTo>
                <a:lnTo>
                  <a:pt x="2356324" y="1668570"/>
                </a:lnTo>
                <a:lnTo>
                  <a:pt x="2360174" y="1670494"/>
                </a:lnTo>
                <a:cubicBezTo>
                  <a:pt x="2362098" y="1668570"/>
                  <a:pt x="2365948" y="1664720"/>
                  <a:pt x="2367873" y="1664720"/>
                </a:cubicBezTo>
                <a:cubicBezTo>
                  <a:pt x="2377497" y="1664720"/>
                  <a:pt x="2375573" y="1668570"/>
                  <a:pt x="2385196" y="1672419"/>
                </a:cubicBezTo>
                <a:cubicBezTo>
                  <a:pt x="2387121" y="1683967"/>
                  <a:pt x="2385196" y="1678194"/>
                  <a:pt x="2389046" y="1683967"/>
                </a:cubicBezTo>
                <a:lnTo>
                  <a:pt x="2385196" y="1689743"/>
                </a:lnTo>
                <a:lnTo>
                  <a:pt x="2394820" y="1689743"/>
                </a:lnTo>
                <a:lnTo>
                  <a:pt x="2400594" y="1695517"/>
                </a:lnTo>
                <a:cubicBezTo>
                  <a:pt x="2398669" y="1703215"/>
                  <a:pt x="2396745" y="1697442"/>
                  <a:pt x="2404444" y="1703215"/>
                </a:cubicBezTo>
                <a:cubicBezTo>
                  <a:pt x="2408293" y="1697442"/>
                  <a:pt x="2408293" y="1705140"/>
                  <a:pt x="2408293" y="1695517"/>
                </a:cubicBezTo>
                <a:lnTo>
                  <a:pt x="2408293" y="1687817"/>
                </a:lnTo>
                <a:lnTo>
                  <a:pt x="2402519" y="1691666"/>
                </a:lnTo>
                <a:lnTo>
                  <a:pt x="2402519" y="1689743"/>
                </a:lnTo>
                <a:lnTo>
                  <a:pt x="2398669" y="1680119"/>
                </a:lnTo>
                <a:lnTo>
                  <a:pt x="2404444" y="1680119"/>
                </a:lnTo>
                <a:lnTo>
                  <a:pt x="2404444" y="1674343"/>
                </a:lnTo>
                <a:lnTo>
                  <a:pt x="2394820" y="1674343"/>
                </a:lnTo>
                <a:lnTo>
                  <a:pt x="2387121" y="1664720"/>
                </a:lnTo>
                <a:lnTo>
                  <a:pt x="2392895" y="1657021"/>
                </a:lnTo>
                <a:lnTo>
                  <a:pt x="2396745" y="1657021"/>
                </a:lnTo>
                <a:lnTo>
                  <a:pt x="2396745" y="1651246"/>
                </a:lnTo>
                <a:lnTo>
                  <a:pt x="2391612" y="1656378"/>
                </a:lnTo>
                <a:lnTo>
                  <a:pt x="2389046" y="1655096"/>
                </a:lnTo>
                <a:lnTo>
                  <a:pt x="2383271" y="1658945"/>
                </a:lnTo>
                <a:lnTo>
                  <a:pt x="2375573" y="1657021"/>
                </a:lnTo>
                <a:lnTo>
                  <a:pt x="2369799" y="1660871"/>
                </a:lnTo>
                <a:lnTo>
                  <a:pt x="2369799" y="1655096"/>
                </a:lnTo>
                <a:lnTo>
                  <a:pt x="2375573" y="1655096"/>
                </a:lnTo>
                <a:cubicBezTo>
                  <a:pt x="2375573" y="1641622"/>
                  <a:pt x="2379422" y="1649321"/>
                  <a:pt x="2369799" y="1643547"/>
                </a:cubicBezTo>
                <a:cubicBezTo>
                  <a:pt x="2373647" y="1637773"/>
                  <a:pt x="2373647" y="1643547"/>
                  <a:pt x="2369799" y="1635848"/>
                </a:cubicBezTo>
                <a:lnTo>
                  <a:pt x="2365948" y="1637773"/>
                </a:lnTo>
                <a:cubicBezTo>
                  <a:pt x="2367873" y="1633923"/>
                  <a:pt x="2367873" y="1631998"/>
                  <a:pt x="2367873" y="1628148"/>
                </a:cubicBezTo>
                <a:lnTo>
                  <a:pt x="2373647" y="1626224"/>
                </a:lnTo>
                <a:lnTo>
                  <a:pt x="2373647" y="1631998"/>
                </a:lnTo>
                <a:lnTo>
                  <a:pt x="2379422" y="1626224"/>
                </a:lnTo>
                <a:lnTo>
                  <a:pt x="2385196" y="1630074"/>
                </a:lnTo>
                <a:lnTo>
                  <a:pt x="2389046" y="1624299"/>
                </a:lnTo>
                <a:lnTo>
                  <a:pt x="2379422" y="1626224"/>
                </a:lnTo>
                <a:lnTo>
                  <a:pt x="2369799" y="1622374"/>
                </a:lnTo>
                <a:lnTo>
                  <a:pt x="2371722" y="1614294"/>
                </a:lnTo>
                <a:lnTo>
                  <a:pt x="2371722" y="1616600"/>
                </a:lnTo>
                <a:lnTo>
                  <a:pt x="2377497" y="1616600"/>
                </a:lnTo>
                <a:lnTo>
                  <a:pt x="2372389" y="1611492"/>
                </a:lnTo>
                <a:lnTo>
                  <a:pt x="2379422" y="1581954"/>
                </a:lnTo>
                <a:lnTo>
                  <a:pt x="2383271" y="1581954"/>
                </a:lnTo>
                <a:lnTo>
                  <a:pt x="2381347" y="1576179"/>
                </a:lnTo>
                <a:cubicBezTo>
                  <a:pt x="2390007" y="1544421"/>
                  <a:pt x="2401075" y="1513624"/>
                  <a:pt x="2414067" y="1484512"/>
                </a:cubicBezTo>
                <a:lnTo>
                  <a:pt x="2453114" y="1412573"/>
                </a:lnTo>
                <a:lnTo>
                  <a:pt x="2458338" y="1402949"/>
                </a:lnTo>
                <a:lnTo>
                  <a:pt x="2462188" y="1402949"/>
                </a:lnTo>
                <a:lnTo>
                  <a:pt x="2464112" y="1401025"/>
                </a:lnTo>
                <a:cubicBezTo>
                  <a:pt x="2462188" y="1395250"/>
                  <a:pt x="2466037" y="1399100"/>
                  <a:pt x="2462188" y="1395250"/>
                </a:cubicBezTo>
                <a:cubicBezTo>
                  <a:pt x="2496833" y="1341356"/>
                  <a:pt x="2535329" y="1297086"/>
                  <a:pt x="2577675" y="1262440"/>
                </a:cubicBezTo>
                <a:cubicBezTo>
                  <a:pt x="2594998" y="1247041"/>
                  <a:pt x="2616171" y="1239342"/>
                  <a:pt x="2637343" y="1233568"/>
                </a:cubicBezTo>
                <a:cubicBezTo>
                  <a:pt x="2677764" y="1225869"/>
                  <a:pt x="2718184" y="1223944"/>
                  <a:pt x="2754755" y="1198922"/>
                </a:cubicBezTo>
                <a:cubicBezTo>
                  <a:pt x="2741281" y="1196035"/>
                  <a:pt x="2728289" y="1194591"/>
                  <a:pt x="2715537" y="1194350"/>
                </a:cubicBezTo>
                <a:lnTo>
                  <a:pt x="2683860" y="1196570"/>
                </a:lnTo>
                <a:lnTo>
                  <a:pt x="2681613" y="1195072"/>
                </a:lnTo>
                <a:lnTo>
                  <a:pt x="2681613" y="1196728"/>
                </a:lnTo>
                <a:lnTo>
                  <a:pt x="2677764" y="1196997"/>
                </a:lnTo>
                <a:cubicBezTo>
                  <a:pt x="2677764" y="1195072"/>
                  <a:pt x="2677764" y="1195072"/>
                  <a:pt x="2677764" y="1193147"/>
                </a:cubicBezTo>
                <a:lnTo>
                  <a:pt x="2677764" y="1191223"/>
                </a:lnTo>
                <a:lnTo>
                  <a:pt x="2679688" y="1191223"/>
                </a:lnTo>
                <a:lnTo>
                  <a:pt x="2677764" y="1187373"/>
                </a:lnTo>
                <a:lnTo>
                  <a:pt x="2679688" y="1187373"/>
                </a:lnTo>
                <a:lnTo>
                  <a:pt x="2679688" y="1189298"/>
                </a:lnTo>
                <a:cubicBezTo>
                  <a:pt x="2685463" y="1187373"/>
                  <a:pt x="2681613" y="1193147"/>
                  <a:pt x="2685463" y="1193147"/>
                </a:cubicBezTo>
                <a:cubicBezTo>
                  <a:pt x="2689312" y="1193147"/>
                  <a:pt x="2685463" y="1191223"/>
                  <a:pt x="2691237" y="1191223"/>
                </a:cubicBezTo>
                <a:lnTo>
                  <a:pt x="2689312" y="1193147"/>
                </a:lnTo>
                <a:cubicBezTo>
                  <a:pt x="2695087" y="1193147"/>
                  <a:pt x="2691237" y="1193147"/>
                  <a:pt x="2695087" y="1191223"/>
                </a:cubicBezTo>
                <a:lnTo>
                  <a:pt x="2695087" y="1189298"/>
                </a:lnTo>
                <a:cubicBezTo>
                  <a:pt x="2693162" y="1189298"/>
                  <a:pt x="2693162" y="1189298"/>
                  <a:pt x="2691237" y="1187373"/>
                </a:cubicBezTo>
                <a:cubicBezTo>
                  <a:pt x="2691237" y="1185448"/>
                  <a:pt x="2691237" y="1187373"/>
                  <a:pt x="2691237" y="1185448"/>
                </a:cubicBezTo>
                <a:lnTo>
                  <a:pt x="2693162" y="1183523"/>
                </a:lnTo>
                <a:cubicBezTo>
                  <a:pt x="2691237" y="1183523"/>
                  <a:pt x="2691237" y="1183523"/>
                  <a:pt x="2689312" y="1185448"/>
                </a:cubicBezTo>
                <a:lnTo>
                  <a:pt x="2691237" y="1187373"/>
                </a:lnTo>
                <a:lnTo>
                  <a:pt x="2689312" y="1189298"/>
                </a:lnTo>
                <a:lnTo>
                  <a:pt x="2685463" y="1187373"/>
                </a:lnTo>
                <a:lnTo>
                  <a:pt x="2685463" y="1185448"/>
                </a:lnTo>
                <a:cubicBezTo>
                  <a:pt x="2683538" y="1185448"/>
                  <a:pt x="2679688" y="1183523"/>
                  <a:pt x="2679688" y="1181599"/>
                </a:cubicBezTo>
                <a:cubicBezTo>
                  <a:pt x="2679688" y="1179674"/>
                  <a:pt x="2681613" y="1177749"/>
                  <a:pt x="2683538" y="1177749"/>
                </a:cubicBezTo>
                <a:cubicBezTo>
                  <a:pt x="2683538" y="1177749"/>
                  <a:pt x="2681613" y="1175824"/>
                  <a:pt x="2681613" y="1175824"/>
                </a:cubicBezTo>
                <a:cubicBezTo>
                  <a:pt x="2681613" y="1173899"/>
                  <a:pt x="2681613" y="1175824"/>
                  <a:pt x="2683538" y="1173899"/>
                </a:cubicBezTo>
                <a:cubicBezTo>
                  <a:pt x="2679688" y="1173899"/>
                  <a:pt x="2679688" y="1175824"/>
                  <a:pt x="2677764" y="1175824"/>
                </a:cubicBezTo>
                <a:cubicBezTo>
                  <a:pt x="2677764" y="1177749"/>
                  <a:pt x="2677764" y="1177749"/>
                  <a:pt x="2675839" y="1177749"/>
                </a:cubicBezTo>
                <a:cubicBezTo>
                  <a:pt x="2673914" y="1173899"/>
                  <a:pt x="2673914" y="1175824"/>
                  <a:pt x="2671989" y="1173899"/>
                </a:cubicBezTo>
                <a:cubicBezTo>
                  <a:pt x="2671989" y="1177749"/>
                  <a:pt x="2671989" y="1175824"/>
                  <a:pt x="2670064" y="1177749"/>
                </a:cubicBezTo>
                <a:lnTo>
                  <a:pt x="2671989" y="1179674"/>
                </a:lnTo>
                <a:lnTo>
                  <a:pt x="2675839" y="1179674"/>
                </a:lnTo>
                <a:lnTo>
                  <a:pt x="2673914" y="1181599"/>
                </a:lnTo>
                <a:cubicBezTo>
                  <a:pt x="2675839" y="1181599"/>
                  <a:pt x="2677764" y="1181599"/>
                  <a:pt x="2677764" y="1183523"/>
                </a:cubicBezTo>
                <a:cubicBezTo>
                  <a:pt x="2677764" y="1187373"/>
                  <a:pt x="2677764" y="1185448"/>
                  <a:pt x="2675839" y="1185448"/>
                </a:cubicBezTo>
                <a:lnTo>
                  <a:pt x="2670064" y="1189298"/>
                </a:lnTo>
                <a:cubicBezTo>
                  <a:pt x="2671026" y="1191223"/>
                  <a:pt x="2671508" y="1192666"/>
                  <a:pt x="2672470" y="1193869"/>
                </a:cubicBezTo>
                <a:lnTo>
                  <a:pt x="2674104" y="1194835"/>
                </a:lnTo>
                <a:lnTo>
                  <a:pt x="2673914" y="1195072"/>
                </a:lnTo>
                <a:cubicBezTo>
                  <a:pt x="2671989" y="1195072"/>
                  <a:pt x="2671989" y="1195072"/>
                  <a:pt x="2670064" y="1195072"/>
                </a:cubicBezTo>
                <a:lnTo>
                  <a:pt x="2668140" y="1195072"/>
                </a:lnTo>
                <a:cubicBezTo>
                  <a:pt x="2666215" y="1195072"/>
                  <a:pt x="2666215" y="1195072"/>
                  <a:pt x="2666215" y="1195072"/>
                </a:cubicBezTo>
                <a:cubicBezTo>
                  <a:pt x="2658516" y="1196997"/>
                  <a:pt x="2650816" y="1198922"/>
                  <a:pt x="2643117" y="1200847"/>
                </a:cubicBezTo>
                <a:lnTo>
                  <a:pt x="2640232" y="1201809"/>
                </a:lnTo>
                <a:lnTo>
                  <a:pt x="2641193" y="1200847"/>
                </a:lnTo>
                <a:lnTo>
                  <a:pt x="2639268" y="1198922"/>
                </a:lnTo>
                <a:cubicBezTo>
                  <a:pt x="2637343" y="1196997"/>
                  <a:pt x="2637343" y="1198922"/>
                  <a:pt x="2637343" y="1195072"/>
                </a:cubicBezTo>
                <a:lnTo>
                  <a:pt x="2633494" y="1195072"/>
                </a:lnTo>
                <a:lnTo>
                  <a:pt x="2633494" y="1197960"/>
                </a:lnTo>
                <a:lnTo>
                  <a:pt x="2631569" y="1196997"/>
                </a:lnTo>
                <a:lnTo>
                  <a:pt x="2631569" y="1204522"/>
                </a:lnTo>
                <a:lnTo>
                  <a:pt x="2588209" y="1224241"/>
                </a:lnTo>
                <a:cubicBezTo>
                  <a:pt x="2480893" y="1285266"/>
                  <a:pt x="2394579" y="1419791"/>
                  <a:pt x="2352475" y="1564630"/>
                </a:cubicBezTo>
                <a:lnTo>
                  <a:pt x="2348625" y="1568480"/>
                </a:lnTo>
                <a:lnTo>
                  <a:pt x="2342851" y="1568480"/>
                </a:lnTo>
                <a:lnTo>
                  <a:pt x="2344776" y="1570405"/>
                </a:lnTo>
                <a:lnTo>
                  <a:pt x="2342851" y="1570405"/>
                </a:lnTo>
                <a:lnTo>
                  <a:pt x="2342851" y="1572330"/>
                </a:lnTo>
                <a:lnTo>
                  <a:pt x="2339002" y="1574254"/>
                </a:lnTo>
                <a:lnTo>
                  <a:pt x="2337076" y="1574254"/>
                </a:lnTo>
                <a:lnTo>
                  <a:pt x="2338359" y="1570405"/>
                </a:lnTo>
                <a:lnTo>
                  <a:pt x="2339002" y="1570405"/>
                </a:lnTo>
                <a:lnTo>
                  <a:pt x="2338681" y="1569443"/>
                </a:lnTo>
                <a:lnTo>
                  <a:pt x="2339002" y="1568480"/>
                </a:lnTo>
                <a:lnTo>
                  <a:pt x="2342851" y="1560781"/>
                </a:lnTo>
                <a:lnTo>
                  <a:pt x="2348625" y="1560781"/>
                </a:lnTo>
                <a:lnTo>
                  <a:pt x="2348625" y="1555007"/>
                </a:lnTo>
                <a:lnTo>
                  <a:pt x="2342851" y="1560781"/>
                </a:lnTo>
                <a:lnTo>
                  <a:pt x="2337076" y="1564630"/>
                </a:lnTo>
                <a:lnTo>
                  <a:pt x="2338681" y="1569443"/>
                </a:lnTo>
                <a:lnTo>
                  <a:pt x="2338359" y="1570405"/>
                </a:lnTo>
                <a:lnTo>
                  <a:pt x="2329377" y="1570405"/>
                </a:lnTo>
                <a:lnTo>
                  <a:pt x="2333227" y="1564630"/>
                </a:lnTo>
                <a:lnTo>
                  <a:pt x="2323603" y="1564630"/>
                </a:lnTo>
                <a:lnTo>
                  <a:pt x="2317828" y="1558856"/>
                </a:lnTo>
                <a:lnTo>
                  <a:pt x="2325527" y="1551157"/>
                </a:lnTo>
                <a:lnTo>
                  <a:pt x="2321678" y="1543458"/>
                </a:lnTo>
                <a:lnTo>
                  <a:pt x="2313979" y="1541533"/>
                </a:lnTo>
                <a:cubicBezTo>
                  <a:pt x="2310129" y="1547307"/>
                  <a:pt x="2310129" y="1541533"/>
                  <a:pt x="2313979" y="1549233"/>
                </a:cubicBezTo>
                <a:cubicBezTo>
                  <a:pt x="2300506" y="1547307"/>
                  <a:pt x="2300506" y="1545383"/>
                  <a:pt x="2298580" y="1535759"/>
                </a:cubicBezTo>
                <a:lnTo>
                  <a:pt x="2304355" y="1537683"/>
                </a:lnTo>
                <a:lnTo>
                  <a:pt x="2313979" y="1533835"/>
                </a:lnTo>
                <a:lnTo>
                  <a:pt x="2325527" y="1535759"/>
                </a:lnTo>
                <a:lnTo>
                  <a:pt x="2321678" y="1539609"/>
                </a:lnTo>
                <a:lnTo>
                  <a:pt x="2339002" y="1553082"/>
                </a:lnTo>
                <a:lnTo>
                  <a:pt x="2342851" y="1549233"/>
                </a:lnTo>
                <a:lnTo>
                  <a:pt x="2335151" y="1541533"/>
                </a:lnTo>
                <a:lnTo>
                  <a:pt x="2337076" y="1537683"/>
                </a:lnTo>
                <a:lnTo>
                  <a:pt x="2333227" y="1529985"/>
                </a:lnTo>
                <a:cubicBezTo>
                  <a:pt x="2350550" y="1531909"/>
                  <a:pt x="2337076" y="1533835"/>
                  <a:pt x="2354399" y="1535759"/>
                </a:cubicBezTo>
                <a:lnTo>
                  <a:pt x="2344776" y="1524211"/>
                </a:lnTo>
                <a:lnTo>
                  <a:pt x="2350550" y="1518437"/>
                </a:lnTo>
                <a:lnTo>
                  <a:pt x="2344776" y="1518437"/>
                </a:lnTo>
                <a:lnTo>
                  <a:pt x="2344776" y="1524211"/>
                </a:lnTo>
                <a:lnTo>
                  <a:pt x="2344776" y="1528059"/>
                </a:lnTo>
                <a:lnTo>
                  <a:pt x="2339002" y="1522285"/>
                </a:lnTo>
                <a:lnTo>
                  <a:pt x="2329377" y="1520361"/>
                </a:lnTo>
                <a:lnTo>
                  <a:pt x="2321678" y="1522285"/>
                </a:lnTo>
                <a:lnTo>
                  <a:pt x="2310129" y="1518437"/>
                </a:lnTo>
                <a:cubicBezTo>
                  <a:pt x="2312054" y="1526135"/>
                  <a:pt x="2315904" y="1522285"/>
                  <a:pt x="2306280" y="1524211"/>
                </a:cubicBezTo>
                <a:cubicBezTo>
                  <a:pt x="2304355" y="1514587"/>
                  <a:pt x="2304355" y="1518437"/>
                  <a:pt x="2300506" y="1512662"/>
                </a:cubicBezTo>
                <a:lnTo>
                  <a:pt x="2312054" y="1508813"/>
                </a:lnTo>
                <a:lnTo>
                  <a:pt x="2317828" y="1503038"/>
                </a:lnTo>
                <a:lnTo>
                  <a:pt x="2315904" y="1499189"/>
                </a:lnTo>
                <a:lnTo>
                  <a:pt x="2321678" y="1499189"/>
                </a:lnTo>
                <a:cubicBezTo>
                  <a:pt x="2319753" y="1491489"/>
                  <a:pt x="2317828" y="1489565"/>
                  <a:pt x="2313979" y="1487639"/>
                </a:cubicBezTo>
                <a:cubicBezTo>
                  <a:pt x="2312054" y="1487639"/>
                  <a:pt x="2310129" y="1489565"/>
                  <a:pt x="2308204" y="1491489"/>
                </a:cubicBezTo>
                <a:lnTo>
                  <a:pt x="2312054" y="1491489"/>
                </a:lnTo>
                <a:cubicBezTo>
                  <a:pt x="2308204" y="1497263"/>
                  <a:pt x="2308204" y="1491489"/>
                  <a:pt x="2312054" y="1499189"/>
                </a:cubicBezTo>
                <a:cubicBezTo>
                  <a:pt x="2306280" y="1503038"/>
                  <a:pt x="2302430" y="1503038"/>
                  <a:pt x="2296656" y="1506887"/>
                </a:cubicBezTo>
                <a:cubicBezTo>
                  <a:pt x="2296656" y="1506887"/>
                  <a:pt x="2294732" y="1506887"/>
                  <a:pt x="2294732" y="1506887"/>
                </a:cubicBezTo>
                <a:cubicBezTo>
                  <a:pt x="2292806" y="1506887"/>
                  <a:pt x="2292806" y="1508813"/>
                  <a:pt x="2290881" y="1510737"/>
                </a:cubicBezTo>
                <a:lnTo>
                  <a:pt x="2294732" y="1514587"/>
                </a:lnTo>
                <a:lnTo>
                  <a:pt x="2287032" y="1514587"/>
                </a:lnTo>
                <a:lnTo>
                  <a:pt x="2279034" y="1524758"/>
                </a:lnTo>
                <a:lnTo>
                  <a:pt x="2283183" y="1526141"/>
                </a:lnTo>
                <a:cubicBezTo>
                  <a:pt x="2281258" y="1528065"/>
                  <a:pt x="2279333" y="1529990"/>
                  <a:pt x="2279333" y="1529990"/>
                </a:cubicBezTo>
                <a:cubicBezTo>
                  <a:pt x="2277408" y="1529990"/>
                  <a:pt x="2277408" y="1529990"/>
                  <a:pt x="2273559" y="1531916"/>
                </a:cubicBezTo>
                <a:lnTo>
                  <a:pt x="2273828" y="1531379"/>
                </a:lnTo>
                <a:lnTo>
                  <a:pt x="2264897" y="1542737"/>
                </a:lnTo>
                <a:lnTo>
                  <a:pt x="2252014" y="1556945"/>
                </a:lnTo>
                <a:lnTo>
                  <a:pt x="2256237" y="1556945"/>
                </a:lnTo>
                <a:lnTo>
                  <a:pt x="2254312" y="1562719"/>
                </a:lnTo>
                <a:lnTo>
                  <a:pt x="2250361" y="1558768"/>
                </a:lnTo>
                <a:lnTo>
                  <a:pt x="2248536" y="1560781"/>
                </a:lnTo>
                <a:lnTo>
                  <a:pt x="2246611" y="1560781"/>
                </a:lnTo>
                <a:cubicBezTo>
                  <a:pt x="2246611" y="1562706"/>
                  <a:pt x="2246611" y="1562706"/>
                  <a:pt x="2246611" y="1562706"/>
                </a:cubicBezTo>
                <a:cubicBezTo>
                  <a:pt x="2244686" y="1564630"/>
                  <a:pt x="2242762" y="1566555"/>
                  <a:pt x="2240837" y="1566555"/>
                </a:cubicBezTo>
                <a:lnTo>
                  <a:pt x="2236987" y="1570405"/>
                </a:lnTo>
                <a:lnTo>
                  <a:pt x="2236987" y="1568480"/>
                </a:lnTo>
                <a:cubicBezTo>
                  <a:pt x="2221589" y="1568480"/>
                  <a:pt x="2163845" y="1570405"/>
                  <a:pt x="2154221" y="1493414"/>
                </a:cubicBezTo>
                <a:cubicBezTo>
                  <a:pt x="2154221" y="1483790"/>
                  <a:pt x="2152297" y="1474166"/>
                  <a:pt x="2152297" y="1466467"/>
                </a:cubicBezTo>
                <a:cubicBezTo>
                  <a:pt x="2144598" y="1474166"/>
                  <a:pt x="2148447" y="1468392"/>
                  <a:pt x="2136898" y="1478016"/>
                </a:cubicBezTo>
                <a:lnTo>
                  <a:pt x="2125351" y="1474166"/>
                </a:lnTo>
                <a:lnTo>
                  <a:pt x="2119575" y="1468392"/>
                </a:lnTo>
                <a:lnTo>
                  <a:pt x="2117650" y="1460693"/>
                </a:lnTo>
                <a:lnTo>
                  <a:pt x="2119575" y="1451069"/>
                </a:lnTo>
                <a:cubicBezTo>
                  <a:pt x="2123425" y="1447219"/>
                  <a:pt x="2125351" y="1443370"/>
                  <a:pt x="2133050" y="1443370"/>
                </a:cubicBezTo>
                <a:lnTo>
                  <a:pt x="2148447" y="1443370"/>
                </a:lnTo>
                <a:lnTo>
                  <a:pt x="2148447" y="1449144"/>
                </a:lnTo>
                <a:lnTo>
                  <a:pt x="2150372" y="1449144"/>
                </a:lnTo>
                <a:cubicBezTo>
                  <a:pt x="2152297" y="1420272"/>
                  <a:pt x="2167695" y="1422197"/>
                  <a:pt x="2183093" y="1406799"/>
                </a:cubicBezTo>
                <a:cubicBezTo>
                  <a:pt x="2196567" y="1393325"/>
                  <a:pt x="2192717" y="1360604"/>
                  <a:pt x="2190792" y="1331732"/>
                </a:cubicBezTo>
                <a:cubicBezTo>
                  <a:pt x="2188868" y="1329807"/>
                  <a:pt x="2188868" y="1329807"/>
                  <a:pt x="2188868" y="1327883"/>
                </a:cubicBezTo>
                <a:cubicBezTo>
                  <a:pt x="2188868" y="1324033"/>
                  <a:pt x="2188868" y="1324033"/>
                  <a:pt x="2188868" y="1322108"/>
                </a:cubicBezTo>
                <a:cubicBezTo>
                  <a:pt x="2186943" y="1308635"/>
                  <a:pt x="2186943" y="1297086"/>
                  <a:pt x="2188868" y="1287462"/>
                </a:cubicBezTo>
                <a:cubicBezTo>
                  <a:pt x="2194642" y="1256665"/>
                  <a:pt x="2198492" y="1235493"/>
                  <a:pt x="2198492" y="1216245"/>
                </a:cubicBezTo>
                <a:cubicBezTo>
                  <a:pt x="2198492" y="1210470"/>
                  <a:pt x="2198492" y="1200847"/>
                  <a:pt x="2198492" y="1191223"/>
                </a:cubicBezTo>
                <a:lnTo>
                  <a:pt x="2190792" y="1191223"/>
                </a:lnTo>
                <a:lnTo>
                  <a:pt x="2185018" y="1177749"/>
                </a:lnTo>
                <a:lnTo>
                  <a:pt x="2198492" y="1168125"/>
                </a:lnTo>
                <a:cubicBezTo>
                  <a:pt x="2198492" y="1170050"/>
                  <a:pt x="2198492" y="1170050"/>
                  <a:pt x="2198492" y="1170050"/>
                </a:cubicBezTo>
                <a:cubicBezTo>
                  <a:pt x="2198492" y="1146954"/>
                  <a:pt x="2200416" y="1121931"/>
                  <a:pt x="2204266" y="1106533"/>
                </a:cubicBezTo>
                <a:cubicBezTo>
                  <a:pt x="2210040" y="1081511"/>
                  <a:pt x="2183093" y="1060338"/>
                  <a:pt x="2169621" y="1041090"/>
                </a:cubicBezTo>
                <a:cubicBezTo>
                  <a:pt x="2156146" y="1021841"/>
                  <a:pt x="2161921" y="1031466"/>
                  <a:pt x="2146522" y="1002593"/>
                </a:cubicBezTo>
                <a:cubicBezTo>
                  <a:pt x="2133050" y="973722"/>
                  <a:pt x="2158071" y="971797"/>
                  <a:pt x="2111876" y="964098"/>
                </a:cubicBezTo>
                <a:cubicBezTo>
                  <a:pt x="2065681" y="958323"/>
                  <a:pt x="2021411" y="927527"/>
                  <a:pt x="1994464" y="923677"/>
                </a:cubicBezTo>
                <a:lnTo>
                  <a:pt x="1990614" y="923677"/>
                </a:lnTo>
                <a:cubicBezTo>
                  <a:pt x="1992539" y="862083"/>
                  <a:pt x="1977141" y="812038"/>
                  <a:pt x="1950194" y="767768"/>
                </a:cubicBezTo>
                <a:cubicBezTo>
                  <a:pt x="1963667" y="761994"/>
                  <a:pt x="1963667" y="736972"/>
                  <a:pt x="1979066" y="735047"/>
                </a:cubicBezTo>
                <a:close/>
                <a:moveTo>
                  <a:pt x="3239802" y="681201"/>
                </a:moveTo>
                <a:cubicBezTo>
                  <a:pt x="3178209" y="767815"/>
                  <a:pt x="3153187" y="881377"/>
                  <a:pt x="3108917" y="977639"/>
                </a:cubicBezTo>
                <a:cubicBezTo>
                  <a:pt x="3074270" y="1056556"/>
                  <a:pt x="3033850" y="1125849"/>
                  <a:pt x="2993429" y="1193214"/>
                </a:cubicBezTo>
                <a:cubicBezTo>
                  <a:pt x="2991505" y="1200912"/>
                  <a:pt x="2989580" y="1208612"/>
                  <a:pt x="2989580" y="1216310"/>
                </a:cubicBezTo>
                <a:cubicBezTo>
                  <a:pt x="2991505" y="1222085"/>
                  <a:pt x="2995354" y="1227858"/>
                  <a:pt x="2997279" y="1233633"/>
                </a:cubicBezTo>
                <a:cubicBezTo>
                  <a:pt x="3085819" y="1058482"/>
                  <a:pt x="3178209" y="873676"/>
                  <a:pt x="3239802" y="681201"/>
                </a:cubicBezTo>
                <a:close/>
                <a:moveTo>
                  <a:pt x="3162812" y="681201"/>
                </a:moveTo>
                <a:cubicBezTo>
                  <a:pt x="3091594" y="835182"/>
                  <a:pt x="3022301" y="991111"/>
                  <a:pt x="2953009" y="1137396"/>
                </a:cubicBezTo>
                <a:cubicBezTo>
                  <a:pt x="2951084" y="1152795"/>
                  <a:pt x="2951084" y="1168192"/>
                  <a:pt x="2953009" y="1183590"/>
                </a:cubicBezTo>
                <a:cubicBezTo>
                  <a:pt x="2953009" y="1187440"/>
                  <a:pt x="2953009" y="1191288"/>
                  <a:pt x="2954934" y="1197063"/>
                </a:cubicBezTo>
                <a:cubicBezTo>
                  <a:pt x="2964558" y="1175891"/>
                  <a:pt x="2976106" y="1154718"/>
                  <a:pt x="2985730" y="1131623"/>
                </a:cubicBezTo>
                <a:cubicBezTo>
                  <a:pt x="2991505" y="1110450"/>
                  <a:pt x="2997279" y="1089279"/>
                  <a:pt x="3001129" y="1066181"/>
                </a:cubicBezTo>
                <a:cubicBezTo>
                  <a:pt x="3001129" y="1058482"/>
                  <a:pt x="3010753" y="1046932"/>
                  <a:pt x="3020377" y="1052707"/>
                </a:cubicBezTo>
                <a:cubicBezTo>
                  <a:pt x="3072346" y="931441"/>
                  <a:pt x="3120465" y="802460"/>
                  <a:pt x="3162812" y="681201"/>
                </a:cubicBezTo>
                <a:close/>
                <a:moveTo>
                  <a:pt x="3095443" y="671577"/>
                </a:moveTo>
                <a:cubicBezTo>
                  <a:pt x="3045399" y="767815"/>
                  <a:pt x="3003053" y="875602"/>
                  <a:pt x="2956858" y="979563"/>
                </a:cubicBezTo>
                <a:cubicBezTo>
                  <a:pt x="2962634" y="973788"/>
                  <a:pt x="2968408" y="975713"/>
                  <a:pt x="2976106" y="981488"/>
                </a:cubicBezTo>
                <a:cubicBezTo>
                  <a:pt x="3020377" y="881377"/>
                  <a:pt x="3062722" y="777438"/>
                  <a:pt x="3095443" y="671577"/>
                </a:cubicBezTo>
                <a:close/>
                <a:moveTo>
                  <a:pt x="3316794" y="642705"/>
                </a:moveTo>
                <a:cubicBezTo>
                  <a:pt x="3228253" y="879452"/>
                  <a:pt x="3124316" y="1091203"/>
                  <a:pt x="3012678" y="1283675"/>
                </a:cubicBezTo>
                <a:cubicBezTo>
                  <a:pt x="3014602" y="1287525"/>
                  <a:pt x="3014602" y="1291373"/>
                  <a:pt x="3016527" y="1295223"/>
                </a:cubicBezTo>
                <a:cubicBezTo>
                  <a:pt x="3022301" y="1306772"/>
                  <a:pt x="3031925" y="1285600"/>
                  <a:pt x="3043475" y="1287525"/>
                </a:cubicBezTo>
                <a:cubicBezTo>
                  <a:pt x="3151262" y="1095053"/>
                  <a:pt x="3259050" y="881377"/>
                  <a:pt x="3316794" y="642705"/>
                </a:cubicBezTo>
                <a:close/>
                <a:moveTo>
                  <a:pt x="2945310" y="609990"/>
                </a:moveTo>
                <a:cubicBezTo>
                  <a:pt x="2887567" y="771671"/>
                  <a:pt x="2829822" y="927598"/>
                  <a:pt x="2741282" y="1039240"/>
                </a:cubicBezTo>
                <a:cubicBezTo>
                  <a:pt x="2737433" y="1021916"/>
                  <a:pt x="2727808" y="1008440"/>
                  <a:pt x="2727808" y="987269"/>
                </a:cubicBezTo>
                <a:cubicBezTo>
                  <a:pt x="2752830" y="954546"/>
                  <a:pt x="2791326" y="914103"/>
                  <a:pt x="2797100" y="869834"/>
                </a:cubicBezTo>
                <a:cubicBezTo>
                  <a:pt x="2789401" y="887157"/>
                  <a:pt x="2779777" y="900632"/>
                  <a:pt x="2766304" y="910254"/>
                </a:cubicBezTo>
                <a:cubicBezTo>
                  <a:pt x="2818274" y="798618"/>
                  <a:pt x="2877941" y="698530"/>
                  <a:pt x="2945310" y="609990"/>
                </a:cubicBezTo>
                <a:close/>
                <a:moveTo>
                  <a:pt x="3413033" y="583038"/>
                </a:moveTo>
                <a:cubicBezTo>
                  <a:pt x="3322568" y="829407"/>
                  <a:pt x="3216705" y="1056556"/>
                  <a:pt x="3101218" y="1268277"/>
                </a:cubicBezTo>
                <a:cubicBezTo>
                  <a:pt x="3114691" y="1266353"/>
                  <a:pt x="3128164" y="1262504"/>
                  <a:pt x="3141638" y="1260579"/>
                </a:cubicBezTo>
                <a:cubicBezTo>
                  <a:pt x="3251351" y="1052707"/>
                  <a:pt x="3347590" y="819783"/>
                  <a:pt x="3413033" y="583038"/>
                </a:cubicBezTo>
                <a:close/>
                <a:moveTo>
                  <a:pt x="4650372" y="577299"/>
                </a:moveTo>
                <a:cubicBezTo>
                  <a:pt x="4651755" y="577990"/>
                  <a:pt x="4652597" y="579674"/>
                  <a:pt x="4652597" y="583043"/>
                </a:cubicBezTo>
                <a:cubicBezTo>
                  <a:pt x="4642973" y="579194"/>
                  <a:pt x="4646823" y="596518"/>
                  <a:pt x="4637199" y="596518"/>
                </a:cubicBezTo>
                <a:cubicBezTo>
                  <a:pt x="4642973" y="586893"/>
                  <a:pt x="4631425" y="586893"/>
                  <a:pt x="4631425" y="579194"/>
                </a:cubicBezTo>
                <a:cubicBezTo>
                  <a:pt x="4637199" y="582080"/>
                  <a:pt x="4646221" y="575223"/>
                  <a:pt x="4650372" y="577299"/>
                </a:cubicBezTo>
                <a:close/>
                <a:moveTo>
                  <a:pt x="4442794" y="554167"/>
                </a:moveTo>
                <a:cubicBezTo>
                  <a:pt x="4442794" y="556092"/>
                  <a:pt x="4446643" y="563791"/>
                  <a:pt x="4446643" y="567640"/>
                </a:cubicBezTo>
                <a:cubicBezTo>
                  <a:pt x="4446643" y="573415"/>
                  <a:pt x="4446643" y="590739"/>
                  <a:pt x="4435095" y="584965"/>
                </a:cubicBezTo>
                <a:cubicBezTo>
                  <a:pt x="4438944" y="573415"/>
                  <a:pt x="4444719" y="563791"/>
                  <a:pt x="4442794" y="554167"/>
                </a:cubicBezTo>
                <a:close/>
                <a:moveTo>
                  <a:pt x="3087745" y="413659"/>
                </a:moveTo>
                <a:cubicBezTo>
                  <a:pt x="3022302" y="673506"/>
                  <a:pt x="2924137" y="871756"/>
                  <a:pt x="2818274" y="1077735"/>
                </a:cubicBezTo>
                <a:cubicBezTo>
                  <a:pt x="2800950" y="1073885"/>
                  <a:pt x="2781703" y="1070036"/>
                  <a:pt x="2770154" y="1062335"/>
                </a:cubicBezTo>
                <a:cubicBezTo>
                  <a:pt x="2864468" y="894855"/>
                  <a:pt x="2947234" y="581116"/>
                  <a:pt x="3087745" y="413659"/>
                </a:cubicBezTo>
                <a:close/>
                <a:moveTo>
                  <a:pt x="4458193" y="290474"/>
                </a:moveTo>
                <a:cubicBezTo>
                  <a:pt x="4460117" y="317420"/>
                  <a:pt x="4460117" y="361690"/>
                  <a:pt x="4454343" y="388637"/>
                </a:cubicBezTo>
                <a:lnTo>
                  <a:pt x="4448569" y="394411"/>
                </a:lnTo>
                <a:lnTo>
                  <a:pt x="4454343" y="409808"/>
                </a:lnTo>
                <a:cubicBezTo>
                  <a:pt x="4456269" y="448304"/>
                  <a:pt x="4450493" y="488724"/>
                  <a:pt x="4444719" y="527219"/>
                </a:cubicBezTo>
                <a:cubicBezTo>
                  <a:pt x="4437020" y="481024"/>
                  <a:pt x="4444719" y="436755"/>
                  <a:pt x="4448569" y="394410"/>
                </a:cubicBezTo>
                <a:lnTo>
                  <a:pt x="4450494" y="342442"/>
                </a:lnTo>
                <a:cubicBezTo>
                  <a:pt x="4451456" y="324638"/>
                  <a:pt x="4453381" y="306834"/>
                  <a:pt x="4458193" y="290474"/>
                </a:cubicBezTo>
                <a:close/>
                <a:moveTo>
                  <a:pt x="4687243" y="250053"/>
                </a:moveTo>
                <a:cubicBezTo>
                  <a:pt x="4696867" y="259677"/>
                  <a:pt x="4712265" y="288549"/>
                  <a:pt x="4700716" y="303947"/>
                </a:cubicBezTo>
                <a:cubicBezTo>
                  <a:pt x="4693017" y="286624"/>
                  <a:pt x="4691092" y="269301"/>
                  <a:pt x="4687243" y="250053"/>
                </a:cubicBezTo>
                <a:close/>
                <a:moveTo>
                  <a:pt x="5415655" y="220640"/>
                </a:moveTo>
                <a:cubicBezTo>
                  <a:pt x="5418181" y="221182"/>
                  <a:pt x="5419625" y="234174"/>
                  <a:pt x="5416737" y="238505"/>
                </a:cubicBezTo>
                <a:cubicBezTo>
                  <a:pt x="5357069" y="365540"/>
                  <a:pt x="5335896" y="509899"/>
                  <a:pt x="5266604" y="631161"/>
                </a:cubicBezTo>
                <a:lnTo>
                  <a:pt x="5220408" y="700452"/>
                </a:lnTo>
                <a:cubicBezTo>
                  <a:pt x="5233882" y="573417"/>
                  <a:pt x="5299325" y="482952"/>
                  <a:pt x="5345520" y="380938"/>
                </a:cubicBezTo>
                <a:cubicBezTo>
                  <a:pt x="5368618" y="328970"/>
                  <a:pt x="5393640" y="278925"/>
                  <a:pt x="5412888" y="225031"/>
                </a:cubicBezTo>
                <a:cubicBezTo>
                  <a:pt x="5413850" y="221663"/>
                  <a:pt x="5414813" y="220460"/>
                  <a:pt x="5415655" y="220640"/>
                </a:cubicBezTo>
                <a:close/>
                <a:moveTo>
                  <a:pt x="3478717" y="76100"/>
                </a:moveTo>
                <a:cubicBezTo>
                  <a:pt x="3476070" y="77304"/>
                  <a:pt x="3473664" y="78747"/>
                  <a:pt x="3468852" y="76822"/>
                </a:cubicBezTo>
                <a:cubicBezTo>
                  <a:pt x="3436130" y="157662"/>
                  <a:pt x="3428431" y="284697"/>
                  <a:pt x="3389936" y="369387"/>
                </a:cubicBezTo>
                <a:cubicBezTo>
                  <a:pt x="3447679" y="313569"/>
                  <a:pt x="3447679" y="138415"/>
                  <a:pt x="3490025" y="76822"/>
                </a:cubicBezTo>
                <a:cubicBezTo>
                  <a:pt x="3484251" y="73935"/>
                  <a:pt x="3481364" y="74897"/>
                  <a:pt x="3478717" y="76100"/>
                </a:cubicBezTo>
                <a:close/>
                <a:moveTo>
                  <a:pt x="3549693" y="30627"/>
                </a:moveTo>
                <a:cubicBezTo>
                  <a:pt x="3509272" y="71048"/>
                  <a:pt x="3530445" y="155738"/>
                  <a:pt x="3499649" y="234653"/>
                </a:cubicBezTo>
                <a:cubicBezTo>
                  <a:pt x="3532370" y="188459"/>
                  <a:pt x="3543919" y="76822"/>
                  <a:pt x="3572791" y="44101"/>
                </a:cubicBezTo>
                <a:cubicBezTo>
                  <a:pt x="3574715" y="30627"/>
                  <a:pt x="3561242" y="40251"/>
                  <a:pt x="3549693" y="30627"/>
                </a:cubicBezTo>
                <a:close/>
                <a:moveTo>
                  <a:pt x="3617061" y="17154"/>
                </a:moveTo>
                <a:cubicBezTo>
                  <a:pt x="3559317" y="228880"/>
                  <a:pt x="3528520" y="421356"/>
                  <a:pt x="3468852" y="604209"/>
                </a:cubicBezTo>
                <a:cubicBezTo>
                  <a:pt x="3378387" y="881377"/>
                  <a:pt x="3264825" y="1179741"/>
                  <a:pt x="3130089" y="1389535"/>
                </a:cubicBezTo>
                <a:cubicBezTo>
                  <a:pt x="3135864" y="1395310"/>
                  <a:pt x="3143563" y="1399159"/>
                  <a:pt x="3149337" y="1403008"/>
                </a:cubicBezTo>
                <a:cubicBezTo>
                  <a:pt x="3357214" y="1037308"/>
                  <a:pt x="3497724" y="583038"/>
                  <a:pt x="3618985" y="67198"/>
                </a:cubicBezTo>
                <a:cubicBezTo>
                  <a:pt x="3622835" y="49875"/>
                  <a:pt x="3647857" y="32552"/>
                  <a:pt x="3617061" y="17154"/>
                </a:cubicBezTo>
                <a:close/>
                <a:moveTo>
                  <a:pt x="3671553" y="188"/>
                </a:moveTo>
                <a:cubicBezTo>
                  <a:pt x="3686323" y="733"/>
                  <a:pt x="3701511" y="2478"/>
                  <a:pt x="3717150" y="5605"/>
                </a:cubicBezTo>
                <a:cubicBezTo>
                  <a:pt x="3874982" y="259675"/>
                  <a:pt x="3859584" y="660028"/>
                  <a:pt x="3786442" y="1039233"/>
                </a:cubicBezTo>
                <a:cubicBezTo>
                  <a:pt x="3786442" y="1037308"/>
                  <a:pt x="3786442" y="1035384"/>
                  <a:pt x="3784517" y="1035384"/>
                </a:cubicBezTo>
                <a:cubicBezTo>
                  <a:pt x="3755645" y="1116225"/>
                  <a:pt x="3732548" y="1208612"/>
                  <a:pt x="3670955" y="1250955"/>
                </a:cubicBezTo>
                <a:cubicBezTo>
                  <a:pt x="3694052" y="1179741"/>
                  <a:pt x="3747946" y="1100827"/>
                  <a:pt x="3732548" y="1031534"/>
                </a:cubicBezTo>
                <a:cubicBezTo>
                  <a:pt x="3701751" y="1114300"/>
                  <a:pt x="3661331" y="1179741"/>
                  <a:pt x="3632459" y="1264428"/>
                </a:cubicBezTo>
                <a:cubicBezTo>
                  <a:pt x="3617061" y="1264428"/>
                  <a:pt x="3601662" y="1268277"/>
                  <a:pt x="3584339" y="1266353"/>
                </a:cubicBezTo>
                <a:cubicBezTo>
                  <a:pt x="3642083" y="1181665"/>
                  <a:pt x="3661331" y="1054633"/>
                  <a:pt x="3705601" y="952615"/>
                </a:cubicBezTo>
                <a:cubicBezTo>
                  <a:pt x="3730623" y="894850"/>
                  <a:pt x="3803765" y="827483"/>
                  <a:pt x="3759495" y="765890"/>
                </a:cubicBezTo>
                <a:cubicBezTo>
                  <a:pt x="3715225" y="912172"/>
                  <a:pt x="3624760" y="1112375"/>
                  <a:pt x="3561242" y="1268277"/>
                </a:cubicBezTo>
                <a:cubicBezTo>
                  <a:pt x="3545843" y="1258654"/>
                  <a:pt x="3524671" y="1274051"/>
                  <a:pt x="3516971" y="1258654"/>
                </a:cubicBezTo>
                <a:cubicBezTo>
                  <a:pt x="3551618" y="1239406"/>
                  <a:pt x="3565091" y="1187440"/>
                  <a:pt x="3586264" y="1145096"/>
                </a:cubicBezTo>
                <a:cubicBezTo>
                  <a:pt x="3588189" y="1131623"/>
                  <a:pt x="3574715" y="1129698"/>
                  <a:pt x="3574715" y="1120074"/>
                </a:cubicBezTo>
                <a:cubicBezTo>
                  <a:pt x="3622835" y="1019985"/>
                  <a:pt x="3670955" y="900625"/>
                  <a:pt x="3709450" y="788988"/>
                </a:cubicBezTo>
                <a:cubicBezTo>
                  <a:pt x="3734473" y="713921"/>
                  <a:pt x="3771044" y="635006"/>
                  <a:pt x="3780668" y="584961"/>
                </a:cubicBezTo>
                <a:cubicBezTo>
                  <a:pt x="3782592" y="569563"/>
                  <a:pt x="3792216" y="532993"/>
                  <a:pt x="3757570" y="532993"/>
                </a:cubicBezTo>
                <a:cubicBezTo>
                  <a:pt x="3709450" y="775514"/>
                  <a:pt x="3592038" y="1048857"/>
                  <a:pt x="3491949" y="1262504"/>
                </a:cubicBezTo>
                <a:cubicBezTo>
                  <a:pt x="3470777" y="1256729"/>
                  <a:pt x="3455378" y="1264428"/>
                  <a:pt x="3439980" y="1268277"/>
                </a:cubicBezTo>
                <a:cubicBezTo>
                  <a:pt x="3565091" y="985337"/>
                  <a:pt x="3690202" y="671577"/>
                  <a:pt x="3788367" y="311644"/>
                </a:cubicBezTo>
                <a:cubicBezTo>
                  <a:pt x="3753720" y="251976"/>
                  <a:pt x="3767194" y="296246"/>
                  <a:pt x="3765269" y="336666"/>
                </a:cubicBezTo>
                <a:cubicBezTo>
                  <a:pt x="3763344" y="365537"/>
                  <a:pt x="3746021" y="392485"/>
                  <a:pt x="3738322" y="417507"/>
                </a:cubicBezTo>
                <a:cubicBezTo>
                  <a:pt x="3649782" y="698523"/>
                  <a:pt x="3541994" y="1045008"/>
                  <a:pt x="3420732" y="1260579"/>
                </a:cubicBezTo>
                <a:cubicBezTo>
                  <a:pt x="3389936" y="1266353"/>
                  <a:pt x="3380312" y="1302922"/>
                  <a:pt x="3349515" y="1308696"/>
                </a:cubicBezTo>
                <a:cubicBezTo>
                  <a:pt x="3497724" y="964163"/>
                  <a:pt x="3684428" y="559940"/>
                  <a:pt x="3730623" y="123016"/>
                </a:cubicBezTo>
                <a:cubicBezTo>
                  <a:pt x="3705601" y="176910"/>
                  <a:pt x="3705601" y="238502"/>
                  <a:pt x="3684428" y="305870"/>
                </a:cubicBezTo>
                <a:cubicBezTo>
                  <a:pt x="3665180" y="367462"/>
                  <a:pt x="3661331" y="434830"/>
                  <a:pt x="3642083" y="498347"/>
                </a:cubicBezTo>
                <a:cubicBezTo>
                  <a:pt x="3559317" y="762041"/>
                  <a:pt x="3453454" y="1023835"/>
                  <a:pt x="3359139" y="1241332"/>
                </a:cubicBezTo>
                <a:cubicBezTo>
                  <a:pt x="3307170" y="1289450"/>
                  <a:pt x="3287922" y="1389535"/>
                  <a:pt x="3224404" y="1418405"/>
                </a:cubicBezTo>
                <a:cubicBezTo>
                  <a:pt x="3374538" y="1164342"/>
                  <a:pt x="3493874" y="806311"/>
                  <a:pt x="3599737" y="473325"/>
                </a:cubicBezTo>
                <a:cubicBezTo>
                  <a:pt x="3630534" y="373237"/>
                  <a:pt x="3663255" y="226955"/>
                  <a:pt x="3678654" y="117242"/>
                </a:cubicBezTo>
                <a:cubicBezTo>
                  <a:pt x="3682503" y="86446"/>
                  <a:pt x="3699826" y="36402"/>
                  <a:pt x="3665180" y="19079"/>
                </a:cubicBezTo>
                <a:cubicBezTo>
                  <a:pt x="3593963" y="515670"/>
                  <a:pt x="3420732" y="1062331"/>
                  <a:pt x="3201306" y="1401083"/>
                </a:cubicBezTo>
                <a:cubicBezTo>
                  <a:pt x="3197457" y="1406858"/>
                  <a:pt x="3193607" y="1412631"/>
                  <a:pt x="3187833" y="1418405"/>
                </a:cubicBezTo>
                <a:cubicBezTo>
                  <a:pt x="3187833" y="1420331"/>
                  <a:pt x="3189758" y="1420331"/>
                  <a:pt x="3191683" y="1422256"/>
                </a:cubicBezTo>
                <a:cubicBezTo>
                  <a:pt x="3203231" y="1426104"/>
                  <a:pt x="3214780" y="1431878"/>
                  <a:pt x="3226329" y="1437653"/>
                </a:cubicBezTo>
                <a:cubicBezTo>
                  <a:pt x="3243653" y="1433804"/>
                  <a:pt x="3259050" y="1435728"/>
                  <a:pt x="3280224" y="1437653"/>
                </a:cubicBezTo>
                <a:cubicBezTo>
                  <a:pt x="3328343" y="1372213"/>
                  <a:pt x="3393785" y="1279827"/>
                  <a:pt x="3499649" y="1287525"/>
                </a:cubicBezTo>
                <a:cubicBezTo>
                  <a:pt x="3520821" y="1289450"/>
                  <a:pt x="3540069" y="1299074"/>
                  <a:pt x="3561242" y="1300998"/>
                </a:cubicBezTo>
                <a:cubicBezTo>
                  <a:pt x="3701751" y="1314471"/>
                  <a:pt x="3782592" y="1197063"/>
                  <a:pt x="3905779" y="1245181"/>
                </a:cubicBezTo>
                <a:cubicBezTo>
                  <a:pt x="3905779" y="1266353"/>
                  <a:pt x="3903854" y="1287525"/>
                  <a:pt x="3900004" y="1308696"/>
                </a:cubicBezTo>
                <a:cubicBezTo>
                  <a:pt x="3900004" y="1308696"/>
                  <a:pt x="3901929" y="1310621"/>
                  <a:pt x="3901929" y="1310621"/>
                </a:cubicBezTo>
                <a:lnTo>
                  <a:pt x="3915403" y="1304847"/>
                </a:lnTo>
                <a:cubicBezTo>
                  <a:pt x="3921177" y="1285600"/>
                  <a:pt x="3926952" y="1266834"/>
                  <a:pt x="3933688" y="1249752"/>
                </a:cubicBezTo>
                <a:lnTo>
                  <a:pt x="3946145" y="1226459"/>
                </a:lnTo>
                <a:lnTo>
                  <a:pt x="3940425" y="1281750"/>
                </a:lnTo>
                <a:cubicBezTo>
                  <a:pt x="3946199" y="1274051"/>
                  <a:pt x="3950049" y="1264428"/>
                  <a:pt x="3946199" y="1249030"/>
                </a:cubicBezTo>
                <a:cubicBezTo>
                  <a:pt x="3944275" y="1243257"/>
                  <a:pt x="3950049" y="1235558"/>
                  <a:pt x="3951974" y="1225934"/>
                </a:cubicBezTo>
                <a:lnTo>
                  <a:pt x="3946426" y="1225934"/>
                </a:lnTo>
                <a:lnTo>
                  <a:pt x="3957748" y="1204761"/>
                </a:lnTo>
                <a:cubicBezTo>
                  <a:pt x="3959673" y="1204761"/>
                  <a:pt x="3961598" y="1204761"/>
                  <a:pt x="3963522" y="1204761"/>
                </a:cubicBezTo>
                <a:cubicBezTo>
                  <a:pt x="3965447" y="1195138"/>
                  <a:pt x="3980845" y="1191288"/>
                  <a:pt x="3994319" y="1200912"/>
                </a:cubicBezTo>
                <a:cubicBezTo>
                  <a:pt x="3996244" y="1202837"/>
                  <a:pt x="4000093" y="1208612"/>
                  <a:pt x="4000093" y="1216310"/>
                </a:cubicBezTo>
                <a:cubicBezTo>
                  <a:pt x="4007792" y="1220159"/>
                  <a:pt x="4013567" y="1224009"/>
                  <a:pt x="4017416" y="1229783"/>
                </a:cubicBezTo>
                <a:cubicBezTo>
                  <a:pt x="4011642" y="1247105"/>
                  <a:pt x="4009717" y="1262504"/>
                  <a:pt x="4005868" y="1277901"/>
                </a:cubicBezTo>
                <a:cubicBezTo>
                  <a:pt x="4011642" y="1279827"/>
                  <a:pt x="4015492" y="1281750"/>
                  <a:pt x="4017416" y="1279827"/>
                </a:cubicBezTo>
                <a:cubicBezTo>
                  <a:pt x="4021266" y="1275976"/>
                  <a:pt x="4023191" y="1272127"/>
                  <a:pt x="4027040" y="1268277"/>
                </a:cubicBezTo>
                <a:cubicBezTo>
                  <a:pt x="4027040" y="1258654"/>
                  <a:pt x="4028965" y="1247105"/>
                  <a:pt x="4028965" y="1237482"/>
                </a:cubicBezTo>
                <a:cubicBezTo>
                  <a:pt x="4032815" y="1245181"/>
                  <a:pt x="4034740" y="1250955"/>
                  <a:pt x="4036664" y="1258654"/>
                </a:cubicBezTo>
                <a:cubicBezTo>
                  <a:pt x="4044363" y="1249030"/>
                  <a:pt x="4050138" y="1241332"/>
                  <a:pt x="4053987" y="1231708"/>
                </a:cubicBezTo>
                <a:cubicBezTo>
                  <a:pt x="4053987" y="1218234"/>
                  <a:pt x="4052063" y="1204761"/>
                  <a:pt x="4052063" y="1191288"/>
                </a:cubicBezTo>
                <a:cubicBezTo>
                  <a:pt x="3998168" y="1137396"/>
                  <a:pt x="3930801" y="1098903"/>
                  <a:pt x="3863433" y="1066181"/>
                </a:cubicBezTo>
                <a:cubicBezTo>
                  <a:pt x="3867283" y="1050782"/>
                  <a:pt x="3861509" y="1043083"/>
                  <a:pt x="3863433" y="1041158"/>
                </a:cubicBezTo>
                <a:cubicBezTo>
                  <a:pt x="3876907" y="1019985"/>
                  <a:pt x="3901929" y="1029609"/>
                  <a:pt x="3905779" y="1033459"/>
                </a:cubicBezTo>
                <a:cubicBezTo>
                  <a:pt x="3951974" y="1073880"/>
                  <a:pt x="3994319" y="1108526"/>
                  <a:pt x="4038589" y="1125849"/>
                </a:cubicBezTo>
                <a:cubicBezTo>
                  <a:pt x="4044363" y="1125849"/>
                  <a:pt x="4048213" y="1129698"/>
                  <a:pt x="4053987" y="1131623"/>
                </a:cubicBezTo>
                <a:cubicBezTo>
                  <a:pt x="4055912" y="1125849"/>
                  <a:pt x="4055912" y="1120074"/>
                  <a:pt x="4055912" y="1114300"/>
                </a:cubicBezTo>
                <a:cubicBezTo>
                  <a:pt x="4059762" y="1070031"/>
                  <a:pt x="4067461" y="1025759"/>
                  <a:pt x="4079010" y="981488"/>
                </a:cubicBezTo>
                <a:cubicBezTo>
                  <a:pt x="4077085" y="981488"/>
                  <a:pt x="4075160" y="981488"/>
                  <a:pt x="4073235" y="981488"/>
                </a:cubicBezTo>
                <a:cubicBezTo>
                  <a:pt x="4057837" y="979563"/>
                  <a:pt x="4036664" y="979563"/>
                  <a:pt x="4023191" y="971863"/>
                </a:cubicBezTo>
                <a:cubicBezTo>
                  <a:pt x="4021266" y="969939"/>
                  <a:pt x="4017416" y="952615"/>
                  <a:pt x="4015492" y="948765"/>
                </a:cubicBezTo>
                <a:cubicBezTo>
                  <a:pt x="4038589" y="927590"/>
                  <a:pt x="4067461" y="929516"/>
                  <a:pt x="4090558" y="931441"/>
                </a:cubicBezTo>
                <a:cubicBezTo>
                  <a:pt x="4090558" y="931441"/>
                  <a:pt x="4092483" y="931441"/>
                  <a:pt x="4092483" y="931441"/>
                </a:cubicBezTo>
                <a:cubicBezTo>
                  <a:pt x="4105957" y="889075"/>
                  <a:pt x="4123280" y="848655"/>
                  <a:pt x="4142527" y="812084"/>
                </a:cubicBezTo>
                <a:lnTo>
                  <a:pt x="4121355" y="806311"/>
                </a:lnTo>
                <a:cubicBezTo>
                  <a:pt x="4113656" y="804385"/>
                  <a:pt x="4105957" y="785138"/>
                  <a:pt x="4104032" y="771665"/>
                </a:cubicBezTo>
                <a:cubicBezTo>
                  <a:pt x="4127129" y="756266"/>
                  <a:pt x="4150227" y="758191"/>
                  <a:pt x="4171399" y="765890"/>
                </a:cubicBezTo>
                <a:cubicBezTo>
                  <a:pt x="4227218" y="686974"/>
                  <a:pt x="4302285" y="635006"/>
                  <a:pt x="4398524" y="638855"/>
                </a:cubicBezTo>
                <a:cubicBezTo>
                  <a:pt x="4400449" y="685049"/>
                  <a:pt x="4381201" y="744718"/>
                  <a:pt x="4386976" y="787063"/>
                </a:cubicBezTo>
                <a:cubicBezTo>
                  <a:pt x="4425471" y="738943"/>
                  <a:pt x="4386976" y="635006"/>
                  <a:pt x="4435095" y="625382"/>
                </a:cubicBezTo>
                <a:cubicBezTo>
                  <a:pt x="4452418" y="663878"/>
                  <a:pt x="4413923" y="735094"/>
                  <a:pt x="4423547" y="777438"/>
                </a:cubicBezTo>
                <a:cubicBezTo>
                  <a:pt x="4460117" y="685049"/>
                  <a:pt x="4448569" y="550316"/>
                  <a:pt x="4554432" y="561864"/>
                </a:cubicBezTo>
                <a:cubicBezTo>
                  <a:pt x="4560207" y="550316"/>
                  <a:pt x="4569831" y="538767"/>
                  <a:pt x="4583304" y="531067"/>
                </a:cubicBezTo>
                <a:cubicBezTo>
                  <a:pt x="4596777" y="523369"/>
                  <a:pt x="4596777" y="550316"/>
                  <a:pt x="4594853" y="559940"/>
                </a:cubicBezTo>
                <a:cubicBezTo>
                  <a:pt x="4592928" y="575337"/>
                  <a:pt x="4589078" y="592660"/>
                  <a:pt x="4585229" y="608059"/>
                </a:cubicBezTo>
                <a:cubicBezTo>
                  <a:pt x="4585229" y="623457"/>
                  <a:pt x="4583304" y="640780"/>
                  <a:pt x="4581379" y="656178"/>
                </a:cubicBezTo>
                <a:cubicBezTo>
                  <a:pt x="4587154" y="673501"/>
                  <a:pt x="4594853" y="688899"/>
                  <a:pt x="4600627" y="700448"/>
                </a:cubicBezTo>
                <a:cubicBezTo>
                  <a:pt x="4608326" y="661953"/>
                  <a:pt x="4614100" y="621532"/>
                  <a:pt x="4614100" y="575337"/>
                </a:cubicBezTo>
                <a:cubicBezTo>
                  <a:pt x="4656447" y="581112"/>
                  <a:pt x="4629500" y="652329"/>
                  <a:pt x="4621801" y="690824"/>
                </a:cubicBezTo>
                <a:cubicBezTo>
                  <a:pt x="4637199" y="671577"/>
                  <a:pt x="4650673" y="652329"/>
                  <a:pt x="4656447" y="629231"/>
                </a:cubicBezTo>
                <a:cubicBezTo>
                  <a:pt x="4656447" y="625382"/>
                  <a:pt x="4669920" y="625382"/>
                  <a:pt x="4671845" y="617683"/>
                </a:cubicBezTo>
                <a:cubicBezTo>
                  <a:pt x="4671845" y="613833"/>
                  <a:pt x="4673770" y="611908"/>
                  <a:pt x="4673770" y="609984"/>
                </a:cubicBezTo>
                <a:cubicBezTo>
                  <a:pt x="4673770" y="596510"/>
                  <a:pt x="4673770" y="584961"/>
                  <a:pt x="4673770" y="575337"/>
                </a:cubicBezTo>
                <a:cubicBezTo>
                  <a:pt x="4675695" y="575337"/>
                  <a:pt x="4679544" y="575337"/>
                  <a:pt x="4681469" y="575337"/>
                </a:cubicBezTo>
                <a:cubicBezTo>
                  <a:pt x="4698792" y="500272"/>
                  <a:pt x="4710341" y="423281"/>
                  <a:pt x="4725739" y="340515"/>
                </a:cubicBezTo>
                <a:cubicBezTo>
                  <a:pt x="4725739" y="344366"/>
                  <a:pt x="4725739" y="327043"/>
                  <a:pt x="4725739" y="321268"/>
                </a:cubicBezTo>
                <a:cubicBezTo>
                  <a:pt x="4733439" y="334741"/>
                  <a:pt x="4744987" y="323193"/>
                  <a:pt x="4746912" y="315494"/>
                </a:cubicBezTo>
                <a:cubicBezTo>
                  <a:pt x="4754611" y="273149"/>
                  <a:pt x="4760385" y="230803"/>
                  <a:pt x="4760385" y="188459"/>
                </a:cubicBezTo>
                <a:cubicBezTo>
                  <a:pt x="4760385" y="174986"/>
                  <a:pt x="4771934" y="163437"/>
                  <a:pt x="4785408" y="157662"/>
                </a:cubicBezTo>
                <a:cubicBezTo>
                  <a:pt x="4796956" y="167286"/>
                  <a:pt x="4798881" y="184609"/>
                  <a:pt x="4804656" y="200008"/>
                </a:cubicBezTo>
                <a:cubicBezTo>
                  <a:pt x="4818129" y="200008"/>
                  <a:pt x="4845076" y="203857"/>
                  <a:pt x="4843151" y="217331"/>
                </a:cubicBezTo>
                <a:cubicBezTo>
                  <a:pt x="4841226" y="244277"/>
                  <a:pt x="4821979" y="271224"/>
                  <a:pt x="4821979" y="290472"/>
                </a:cubicBezTo>
                <a:cubicBezTo>
                  <a:pt x="4791182" y="340515"/>
                  <a:pt x="4781558" y="390560"/>
                  <a:pt x="4764235" y="436754"/>
                </a:cubicBezTo>
                <a:cubicBezTo>
                  <a:pt x="4748837" y="477174"/>
                  <a:pt x="4737288" y="519520"/>
                  <a:pt x="4725739" y="561864"/>
                </a:cubicBezTo>
                <a:cubicBezTo>
                  <a:pt x="4744987" y="548390"/>
                  <a:pt x="4760385" y="529143"/>
                  <a:pt x="4779633" y="519520"/>
                </a:cubicBezTo>
                <a:cubicBezTo>
                  <a:pt x="4779633" y="506046"/>
                  <a:pt x="4777708" y="490648"/>
                  <a:pt x="4777708" y="477174"/>
                </a:cubicBezTo>
                <a:lnTo>
                  <a:pt x="4812355" y="469475"/>
                </a:lnTo>
                <a:cubicBezTo>
                  <a:pt x="4804656" y="481024"/>
                  <a:pt x="4814280" y="490648"/>
                  <a:pt x="4818129" y="502196"/>
                </a:cubicBezTo>
                <a:cubicBezTo>
                  <a:pt x="4831603" y="486798"/>
                  <a:pt x="4845076" y="457926"/>
                  <a:pt x="4872023" y="452153"/>
                </a:cubicBezTo>
                <a:cubicBezTo>
                  <a:pt x="4877798" y="407883"/>
                  <a:pt x="4887422" y="363613"/>
                  <a:pt x="4881647" y="313569"/>
                </a:cubicBezTo>
                <a:cubicBezTo>
                  <a:pt x="4908594" y="303945"/>
                  <a:pt x="4933616" y="294321"/>
                  <a:pt x="4947090" y="300096"/>
                </a:cubicBezTo>
                <a:cubicBezTo>
                  <a:pt x="4945165" y="327043"/>
                  <a:pt x="4952864" y="365537"/>
                  <a:pt x="4962488" y="390560"/>
                </a:cubicBezTo>
                <a:cubicBezTo>
                  <a:pt x="4989435" y="390560"/>
                  <a:pt x="4972112" y="413657"/>
                  <a:pt x="4974037" y="423281"/>
                </a:cubicBezTo>
                <a:cubicBezTo>
                  <a:pt x="4975962" y="448303"/>
                  <a:pt x="4975962" y="471400"/>
                  <a:pt x="4987510" y="496422"/>
                </a:cubicBezTo>
                <a:cubicBezTo>
                  <a:pt x="4989435" y="502196"/>
                  <a:pt x="5000984" y="502196"/>
                  <a:pt x="5008683" y="494497"/>
                </a:cubicBezTo>
                <a:cubicBezTo>
                  <a:pt x="5012533" y="490648"/>
                  <a:pt x="5012533" y="477174"/>
                  <a:pt x="5026006" y="477174"/>
                </a:cubicBezTo>
                <a:cubicBezTo>
                  <a:pt x="5031781" y="477174"/>
                  <a:pt x="5037555" y="479099"/>
                  <a:pt x="5043329" y="473325"/>
                </a:cubicBezTo>
                <a:cubicBezTo>
                  <a:pt x="5060652" y="450227"/>
                  <a:pt x="5077975" y="427131"/>
                  <a:pt x="5102997" y="409808"/>
                </a:cubicBezTo>
                <a:cubicBezTo>
                  <a:pt x="5110697" y="405958"/>
                  <a:pt x="5124170" y="405958"/>
                  <a:pt x="5128020" y="411732"/>
                </a:cubicBezTo>
                <a:cubicBezTo>
                  <a:pt x="5137644" y="423281"/>
                  <a:pt x="5141493" y="440603"/>
                  <a:pt x="5131869" y="446378"/>
                </a:cubicBezTo>
                <a:cubicBezTo>
                  <a:pt x="5068351" y="481024"/>
                  <a:pt x="5026006" y="531067"/>
                  <a:pt x="5000984" y="586887"/>
                </a:cubicBezTo>
                <a:cubicBezTo>
                  <a:pt x="4997134" y="596510"/>
                  <a:pt x="4999059" y="609984"/>
                  <a:pt x="5002909" y="621532"/>
                </a:cubicBezTo>
                <a:lnTo>
                  <a:pt x="5024082" y="613833"/>
                </a:lnTo>
                <a:cubicBezTo>
                  <a:pt x="5035630" y="667727"/>
                  <a:pt x="5026006" y="713921"/>
                  <a:pt x="5029856" y="762041"/>
                </a:cubicBezTo>
                <a:cubicBezTo>
                  <a:pt x="5031781" y="771665"/>
                  <a:pt x="5041405" y="773589"/>
                  <a:pt x="5045254" y="767815"/>
                </a:cubicBezTo>
                <a:cubicBezTo>
                  <a:pt x="5049104" y="763966"/>
                  <a:pt x="5056803" y="748567"/>
                  <a:pt x="5058728" y="742793"/>
                </a:cubicBezTo>
                <a:cubicBezTo>
                  <a:pt x="5049104" y="763966"/>
                  <a:pt x="5079900" y="769740"/>
                  <a:pt x="5072201" y="792837"/>
                </a:cubicBezTo>
                <a:cubicBezTo>
                  <a:pt x="5083750" y="796686"/>
                  <a:pt x="5104922" y="792837"/>
                  <a:pt x="5106847" y="804385"/>
                </a:cubicBezTo>
                <a:cubicBezTo>
                  <a:pt x="5110697" y="821708"/>
                  <a:pt x="5124170" y="844806"/>
                  <a:pt x="5108772" y="856354"/>
                </a:cubicBezTo>
                <a:cubicBezTo>
                  <a:pt x="5099148" y="862129"/>
                  <a:pt x="5089524" y="869828"/>
                  <a:pt x="5081825" y="875602"/>
                </a:cubicBezTo>
                <a:cubicBezTo>
                  <a:pt x="5081825" y="881377"/>
                  <a:pt x="5083750" y="887151"/>
                  <a:pt x="5083750" y="892925"/>
                </a:cubicBezTo>
                <a:cubicBezTo>
                  <a:pt x="5087599" y="889075"/>
                  <a:pt x="5091449" y="885226"/>
                  <a:pt x="5095298" y="881377"/>
                </a:cubicBezTo>
                <a:lnTo>
                  <a:pt x="5083750" y="904473"/>
                </a:lnTo>
                <a:cubicBezTo>
                  <a:pt x="5083750" y="941065"/>
                  <a:pt x="5072201" y="981488"/>
                  <a:pt x="5056803" y="1019985"/>
                </a:cubicBezTo>
                <a:cubicBezTo>
                  <a:pt x="5068351" y="1018060"/>
                  <a:pt x="5077975" y="1010360"/>
                  <a:pt x="5087599" y="1006511"/>
                </a:cubicBezTo>
                <a:cubicBezTo>
                  <a:pt x="5093373" y="985337"/>
                  <a:pt x="5099148" y="962239"/>
                  <a:pt x="5102997" y="939141"/>
                </a:cubicBezTo>
                <a:cubicBezTo>
                  <a:pt x="5135719" y="981488"/>
                  <a:pt x="5208861" y="948765"/>
                  <a:pt x="5258905" y="969939"/>
                </a:cubicBezTo>
                <a:cubicBezTo>
                  <a:pt x="5274304" y="1004586"/>
                  <a:pt x="5280078" y="1045008"/>
                  <a:pt x="5314724" y="1068106"/>
                </a:cubicBezTo>
                <a:cubicBezTo>
                  <a:pt x="5268529" y="1104676"/>
                  <a:pt x="5224259" y="1150870"/>
                  <a:pt x="5179989" y="1195138"/>
                </a:cubicBezTo>
                <a:cubicBezTo>
                  <a:pt x="5183839" y="1197063"/>
                  <a:pt x="5189613" y="1198988"/>
                  <a:pt x="5193463" y="1200912"/>
                </a:cubicBezTo>
                <a:cubicBezTo>
                  <a:pt x="5193463" y="1200912"/>
                  <a:pt x="5195388" y="1202837"/>
                  <a:pt x="5195388" y="1202837"/>
                </a:cubicBezTo>
                <a:cubicBezTo>
                  <a:pt x="5245432" y="1158569"/>
                  <a:pt x="5291627" y="1116225"/>
                  <a:pt x="5332048" y="1071956"/>
                </a:cubicBezTo>
                <a:cubicBezTo>
                  <a:pt x="5387866" y="1056556"/>
                  <a:pt x="5420587" y="1095053"/>
                  <a:pt x="5414813" y="1147020"/>
                </a:cubicBezTo>
                <a:cubicBezTo>
                  <a:pt x="5380167" y="1156644"/>
                  <a:pt x="5362844" y="1185515"/>
                  <a:pt x="5358994" y="1218234"/>
                </a:cubicBezTo>
                <a:cubicBezTo>
                  <a:pt x="5362844" y="1216310"/>
                  <a:pt x="5368618" y="1214386"/>
                  <a:pt x="5374393" y="1212461"/>
                </a:cubicBezTo>
                <a:cubicBezTo>
                  <a:pt x="5382092" y="1225934"/>
                  <a:pt x="5384016" y="1245181"/>
                  <a:pt x="5387866" y="1262504"/>
                </a:cubicBezTo>
                <a:cubicBezTo>
                  <a:pt x="5380167" y="1268277"/>
                  <a:pt x="5372468" y="1270202"/>
                  <a:pt x="5362844" y="1270202"/>
                </a:cubicBezTo>
                <a:cubicBezTo>
                  <a:pt x="5366694" y="1279827"/>
                  <a:pt x="5370543" y="1291373"/>
                  <a:pt x="5376317" y="1300998"/>
                </a:cubicBezTo>
                <a:cubicBezTo>
                  <a:pt x="5355145" y="1327944"/>
                  <a:pt x="5324348" y="1341417"/>
                  <a:pt x="5320499" y="1395310"/>
                </a:cubicBezTo>
                <a:cubicBezTo>
                  <a:pt x="5256980" y="1428029"/>
                  <a:pt x="5149193" y="1420331"/>
                  <a:pt x="5118396" y="1487696"/>
                </a:cubicBezTo>
                <a:cubicBezTo>
                  <a:pt x="5141493" y="1476148"/>
                  <a:pt x="5166516" y="1464599"/>
                  <a:pt x="5193463" y="1454974"/>
                </a:cubicBezTo>
                <a:cubicBezTo>
                  <a:pt x="5195388" y="1453052"/>
                  <a:pt x="5197312" y="1449202"/>
                  <a:pt x="5199237" y="1445351"/>
                </a:cubicBezTo>
                <a:cubicBezTo>
                  <a:pt x="5199237" y="1449202"/>
                  <a:pt x="5197312" y="1451127"/>
                  <a:pt x="5195388" y="1454974"/>
                </a:cubicBezTo>
                <a:cubicBezTo>
                  <a:pt x="5220410" y="1443427"/>
                  <a:pt x="5247356" y="1433804"/>
                  <a:pt x="5274304" y="1426104"/>
                </a:cubicBezTo>
                <a:cubicBezTo>
                  <a:pt x="5276228" y="1426104"/>
                  <a:pt x="5278153" y="1424180"/>
                  <a:pt x="5278153" y="1424180"/>
                </a:cubicBezTo>
                <a:cubicBezTo>
                  <a:pt x="5278153" y="1424180"/>
                  <a:pt x="5280078" y="1424180"/>
                  <a:pt x="5280078" y="1424180"/>
                </a:cubicBezTo>
                <a:cubicBezTo>
                  <a:pt x="5318574" y="1412631"/>
                  <a:pt x="5357070" y="1403008"/>
                  <a:pt x="5393640" y="1395310"/>
                </a:cubicBezTo>
                <a:cubicBezTo>
                  <a:pt x="5362844" y="1437653"/>
                  <a:pt x="5372468" y="1470374"/>
                  <a:pt x="5389791" y="1506944"/>
                </a:cubicBezTo>
                <a:cubicBezTo>
                  <a:pt x="5370543" y="1506944"/>
                  <a:pt x="5351295" y="1506944"/>
                  <a:pt x="5333972" y="1508867"/>
                </a:cubicBezTo>
                <a:cubicBezTo>
                  <a:pt x="5345521" y="1524266"/>
                  <a:pt x="5322424" y="1551212"/>
                  <a:pt x="5326273" y="1568537"/>
                </a:cubicBezTo>
                <a:cubicBezTo>
                  <a:pt x="5335897" y="1610881"/>
                  <a:pt x="5318574" y="1653226"/>
                  <a:pt x="5307025" y="1685947"/>
                </a:cubicBezTo>
                <a:cubicBezTo>
                  <a:pt x="5299326" y="1710976"/>
                  <a:pt x="5291627" y="1734069"/>
                  <a:pt x="5282003" y="1757164"/>
                </a:cubicBezTo>
                <a:cubicBezTo>
                  <a:pt x="5283928" y="1761013"/>
                  <a:pt x="5285852" y="1764862"/>
                  <a:pt x="5285852" y="1768715"/>
                </a:cubicBezTo>
                <a:cubicBezTo>
                  <a:pt x="5282003" y="1770640"/>
                  <a:pt x="5280078" y="1772567"/>
                  <a:pt x="5276228" y="1774490"/>
                </a:cubicBezTo>
                <a:cubicBezTo>
                  <a:pt x="5270454" y="1787966"/>
                  <a:pt x="5266604" y="1799511"/>
                  <a:pt x="5260830" y="1811060"/>
                </a:cubicBezTo>
                <a:cubicBezTo>
                  <a:pt x="5270454" y="1799511"/>
                  <a:pt x="5280078" y="1789888"/>
                  <a:pt x="5291627" y="1780265"/>
                </a:cubicBezTo>
                <a:cubicBezTo>
                  <a:pt x="5307025" y="1805287"/>
                  <a:pt x="5270454" y="1814911"/>
                  <a:pt x="5266604" y="1845708"/>
                </a:cubicBezTo>
                <a:cubicBezTo>
                  <a:pt x="5324348" y="1820686"/>
                  <a:pt x="5387866" y="1801437"/>
                  <a:pt x="5443685" y="1770640"/>
                </a:cubicBezTo>
                <a:cubicBezTo>
                  <a:pt x="5451384" y="1766789"/>
                  <a:pt x="5470632" y="1766789"/>
                  <a:pt x="5470632" y="1778340"/>
                </a:cubicBezTo>
                <a:cubicBezTo>
                  <a:pt x="5470632" y="1786043"/>
                  <a:pt x="5461008" y="1803362"/>
                  <a:pt x="5457159" y="1807211"/>
                </a:cubicBezTo>
                <a:cubicBezTo>
                  <a:pt x="5451384" y="1812986"/>
                  <a:pt x="5445610" y="1803362"/>
                  <a:pt x="5441760" y="1799511"/>
                </a:cubicBezTo>
                <a:cubicBezTo>
                  <a:pt x="5437911" y="1818760"/>
                  <a:pt x="5418663" y="1809136"/>
                  <a:pt x="5409039" y="1811060"/>
                </a:cubicBezTo>
                <a:cubicBezTo>
                  <a:pt x="5372468" y="1818760"/>
                  <a:pt x="5326273" y="1836083"/>
                  <a:pt x="5320499" y="1864956"/>
                </a:cubicBezTo>
                <a:cubicBezTo>
                  <a:pt x="5318574" y="1872654"/>
                  <a:pt x="5318574" y="1888052"/>
                  <a:pt x="5332048" y="1884202"/>
                </a:cubicBezTo>
                <a:cubicBezTo>
                  <a:pt x="5368618" y="1872654"/>
                  <a:pt x="5389791" y="1847632"/>
                  <a:pt x="5416738" y="1836083"/>
                </a:cubicBezTo>
                <a:cubicBezTo>
                  <a:pt x="5426362" y="1832234"/>
                  <a:pt x="5414813" y="1855332"/>
                  <a:pt x="5407114" y="1859182"/>
                </a:cubicBezTo>
                <a:cubicBezTo>
                  <a:pt x="5389791" y="1868805"/>
                  <a:pt x="5374393" y="1880352"/>
                  <a:pt x="5358994" y="1888052"/>
                </a:cubicBezTo>
                <a:cubicBezTo>
                  <a:pt x="5349371" y="1891900"/>
                  <a:pt x="5330123" y="1926545"/>
                  <a:pt x="5324348" y="1936169"/>
                </a:cubicBezTo>
                <a:cubicBezTo>
                  <a:pt x="5299326" y="1934243"/>
                  <a:pt x="5303176" y="1963097"/>
                  <a:pt x="5285852" y="1970796"/>
                </a:cubicBezTo>
                <a:cubicBezTo>
                  <a:pt x="5283928" y="1968868"/>
                  <a:pt x="5283928" y="1966939"/>
                  <a:pt x="5282003" y="1966939"/>
                </a:cubicBezTo>
                <a:cubicBezTo>
                  <a:pt x="5274304" y="1988106"/>
                  <a:pt x="5256980" y="2009274"/>
                  <a:pt x="5241582" y="2034289"/>
                </a:cubicBezTo>
                <a:lnTo>
                  <a:pt x="5267480" y="2026194"/>
                </a:lnTo>
                <a:lnTo>
                  <a:pt x="5267325" y="2026114"/>
                </a:lnTo>
                <a:cubicBezTo>
                  <a:pt x="5265159" y="2022740"/>
                  <a:pt x="5264678" y="2016970"/>
                  <a:pt x="5266603" y="2015047"/>
                </a:cubicBezTo>
                <a:cubicBezTo>
                  <a:pt x="5268527" y="2013122"/>
                  <a:pt x="5282002" y="2007354"/>
                  <a:pt x="5287776" y="2005425"/>
                </a:cubicBezTo>
                <a:cubicBezTo>
                  <a:pt x="5293550" y="2003983"/>
                  <a:pt x="5299325" y="1993879"/>
                  <a:pt x="5305912" y="1995406"/>
                </a:cubicBezTo>
                <a:cubicBezTo>
                  <a:pt x="5308107" y="1995925"/>
                  <a:pt x="5310393" y="1997724"/>
                  <a:pt x="5312799" y="2001579"/>
                </a:cubicBezTo>
                <a:cubicBezTo>
                  <a:pt x="5320498" y="2015047"/>
                  <a:pt x="5283927" y="2015047"/>
                  <a:pt x="5278152" y="2022740"/>
                </a:cubicBezTo>
                <a:cubicBezTo>
                  <a:pt x="5275746" y="2026590"/>
                  <a:pt x="5273580" y="2028276"/>
                  <a:pt x="5271746" y="2028574"/>
                </a:cubicBezTo>
                <a:lnTo>
                  <a:pt x="5268978" y="2027031"/>
                </a:lnTo>
                <a:lnTo>
                  <a:pt x="5228109" y="2055470"/>
                </a:lnTo>
                <a:cubicBezTo>
                  <a:pt x="5220410" y="2068951"/>
                  <a:pt x="5214635" y="2084357"/>
                  <a:pt x="5210786" y="2099767"/>
                </a:cubicBezTo>
                <a:cubicBezTo>
                  <a:pt x="5210786" y="2101692"/>
                  <a:pt x="5210786" y="2101692"/>
                  <a:pt x="5210786" y="2101692"/>
                </a:cubicBezTo>
                <a:cubicBezTo>
                  <a:pt x="5220410" y="2103618"/>
                  <a:pt x="5228109" y="2101692"/>
                  <a:pt x="5235808" y="2107468"/>
                </a:cubicBezTo>
                <a:cubicBezTo>
                  <a:pt x="5233883" y="2115169"/>
                  <a:pt x="5228109" y="2122874"/>
                  <a:pt x="5228109" y="2134432"/>
                </a:cubicBezTo>
                <a:cubicBezTo>
                  <a:pt x="5220410" y="2132505"/>
                  <a:pt x="5212711" y="2132505"/>
                  <a:pt x="5205011" y="2134432"/>
                </a:cubicBezTo>
                <a:cubicBezTo>
                  <a:pt x="5205011" y="2144060"/>
                  <a:pt x="5205011" y="2153682"/>
                  <a:pt x="5206936" y="2165236"/>
                </a:cubicBezTo>
                <a:cubicBezTo>
                  <a:pt x="5203087" y="2169084"/>
                  <a:pt x="5199237" y="2172934"/>
                  <a:pt x="5195388" y="2174860"/>
                </a:cubicBezTo>
                <a:cubicBezTo>
                  <a:pt x="5216560" y="2178714"/>
                  <a:pt x="5235808" y="2180639"/>
                  <a:pt x="5256980" y="2182565"/>
                </a:cubicBezTo>
                <a:cubicBezTo>
                  <a:pt x="5322424" y="2186415"/>
                  <a:pt x="5405189" y="2176787"/>
                  <a:pt x="5480256" y="2155607"/>
                </a:cubicBezTo>
                <a:lnTo>
                  <a:pt x="5582270" y="2138276"/>
                </a:lnTo>
                <a:cubicBezTo>
                  <a:pt x="5599593" y="2134432"/>
                  <a:pt x="5613066" y="2128650"/>
                  <a:pt x="5624615" y="2111319"/>
                </a:cubicBezTo>
                <a:cubicBezTo>
                  <a:pt x="5636164" y="2117099"/>
                  <a:pt x="5649638" y="2122874"/>
                  <a:pt x="5659261" y="2128650"/>
                </a:cubicBezTo>
                <a:cubicBezTo>
                  <a:pt x="5674660" y="2136351"/>
                  <a:pt x="5653487" y="2145977"/>
                  <a:pt x="5651562" y="2153682"/>
                </a:cubicBezTo>
                <a:cubicBezTo>
                  <a:pt x="5638089" y="2145977"/>
                  <a:pt x="5616916" y="2155607"/>
                  <a:pt x="5599593" y="2157532"/>
                </a:cubicBezTo>
                <a:cubicBezTo>
                  <a:pt x="5512977" y="2172934"/>
                  <a:pt x="5443685" y="2186415"/>
                  <a:pt x="5362844" y="2203742"/>
                </a:cubicBezTo>
                <a:cubicBezTo>
                  <a:pt x="5337822" y="2219144"/>
                  <a:pt x="5308950" y="2203742"/>
                  <a:pt x="5276228" y="2224920"/>
                </a:cubicBezTo>
                <a:cubicBezTo>
                  <a:pt x="5280078" y="2230698"/>
                  <a:pt x="5282003" y="2242247"/>
                  <a:pt x="5274304" y="2244176"/>
                </a:cubicBezTo>
                <a:cubicBezTo>
                  <a:pt x="5260830" y="2228772"/>
                  <a:pt x="5245432" y="2246101"/>
                  <a:pt x="5231958" y="2234548"/>
                </a:cubicBezTo>
                <a:cubicBezTo>
                  <a:pt x="5220410" y="2244176"/>
                  <a:pt x="5206936" y="2253803"/>
                  <a:pt x="5195388" y="2265356"/>
                </a:cubicBezTo>
                <a:cubicBezTo>
                  <a:pt x="5185764" y="2274982"/>
                  <a:pt x="5195388" y="2301935"/>
                  <a:pt x="5216560" y="2300012"/>
                </a:cubicBezTo>
                <a:lnTo>
                  <a:pt x="5299326" y="2290384"/>
                </a:lnTo>
                <a:cubicBezTo>
                  <a:pt x="5310875" y="2288458"/>
                  <a:pt x="5316649" y="2276907"/>
                  <a:pt x="5322424" y="2276907"/>
                </a:cubicBezTo>
                <a:cubicBezTo>
                  <a:pt x="5320499" y="2292311"/>
                  <a:pt x="5339747" y="2286533"/>
                  <a:pt x="5347446" y="2288458"/>
                </a:cubicBezTo>
                <a:cubicBezTo>
                  <a:pt x="5384016" y="2294238"/>
                  <a:pt x="5426362" y="2284610"/>
                  <a:pt x="5462933" y="2288458"/>
                </a:cubicBezTo>
                <a:cubicBezTo>
                  <a:pt x="5468707" y="2278832"/>
                  <a:pt x="5478331" y="2278832"/>
                  <a:pt x="5484106" y="2284610"/>
                </a:cubicBezTo>
                <a:cubicBezTo>
                  <a:pt x="5512977" y="2269206"/>
                  <a:pt x="5543774" y="2273057"/>
                  <a:pt x="5568796" y="2276907"/>
                </a:cubicBezTo>
                <a:cubicBezTo>
                  <a:pt x="5578420" y="2278832"/>
                  <a:pt x="5578420" y="2288458"/>
                  <a:pt x="5578420" y="2294238"/>
                </a:cubicBezTo>
                <a:cubicBezTo>
                  <a:pt x="5578420" y="2303858"/>
                  <a:pt x="5563022" y="2305781"/>
                  <a:pt x="5559172" y="2313475"/>
                </a:cubicBezTo>
                <a:cubicBezTo>
                  <a:pt x="5501429" y="2305781"/>
                  <a:pt x="5428287" y="2301935"/>
                  <a:pt x="5358994" y="2323093"/>
                </a:cubicBezTo>
                <a:cubicBezTo>
                  <a:pt x="5343596" y="2326938"/>
                  <a:pt x="5360919" y="2355795"/>
                  <a:pt x="5366694" y="2369259"/>
                </a:cubicBezTo>
                <a:cubicBezTo>
                  <a:pt x="5378242" y="2394270"/>
                  <a:pt x="5391716" y="2419277"/>
                  <a:pt x="5409039" y="2430822"/>
                </a:cubicBezTo>
                <a:cubicBezTo>
                  <a:pt x="5403264" y="2442389"/>
                  <a:pt x="5393640" y="2448183"/>
                  <a:pt x="5382092" y="2442389"/>
                </a:cubicBezTo>
                <a:cubicBezTo>
                  <a:pt x="5378242" y="2440457"/>
                  <a:pt x="5368618" y="2442389"/>
                  <a:pt x="5368618" y="2440457"/>
                </a:cubicBezTo>
                <a:cubicBezTo>
                  <a:pt x="5372468" y="2417354"/>
                  <a:pt x="5366694" y="2403889"/>
                  <a:pt x="5357070" y="2388496"/>
                </a:cubicBezTo>
                <a:cubicBezTo>
                  <a:pt x="5343596" y="2363485"/>
                  <a:pt x="5333972" y="2336556"/>
                  <a:pt x="5318574" y="2319245"/>
                </a:cubicBezTo>
                <a:cubicBezTo>
                  <a:pt x="5249281" y="2336556"/>
                  <a:pt x="5187689" y="2336556"/>
                  <a:pt x="5126095" y="2342327"/>
                </a:cubicBezTo>
                <a:cubicBezTo>
                  <a:pt x="5089524" y="2355795"/>
                  <a:pt x="5049104" y="2373109"/>
                  <a:pt x="5043329" y="2407737"/>
                </a:cubicBezTo>
                <a:cubicBezTo>
                  <a:pt x="5041405" y="2415429"/>
                  <a:pt x="5074126" y="2398118"/>
                  <a:pt x="5087599" y="2388496"/>
                </a:cubicBezTo>
                <a:lnTo>
                  <a:pt x="5153042" y="2346173"/>
                </a:lnTo>
                <a:cubicBezTo>
                  <a:pt x="5168441" y="2361562"/>
                  <a:pt x="5145343" y="2361562"/>
                  <a:pt x="5139569" y="2365413"/>
                </a:cubicBezTo>
                <a:cubicBezTo>
                  <a:pt x="5114546" y="2380800"/>
                  <a:pt x="5091449" y="2398118"/>
                  <a:pt x="5062577" y="2413509"/>
                </a:cubicBezTo>
                <a:cubicBezTo>
                  <a:pt x="5081825" y="2425046"/>
                  <a:pt x="5108772" y="2428896"/>
                  <a:pt x="5126095" y="2444311"/>
                </a:cubicBezTo>
                <a:cubicBezTo>
                  <a:pt x="5131869" y="2450101"/>
                  <a:pt x="5153042" y="2438527"/>
                  <a:pt x="5166516" y="2436601"/>
                </a:cubicBezTo>
                <a:cubicBezTo>
                  <a:pt x="5164591" y="2423125"/>
                  <a:pt x="5179989" y="2434674"/>
                  <a:pt x="5170365" y="2440457"/>
                </a:cubicBezTo>
                <a:cubicBezTo>
                  <a:pt x="5183839" y="2438527"/>
                  <a:pt x="5226184" y="2457781"/>
                  <a:pt x="5241582" y="2463549"/>
                </a:cubicBezTo>
                <a:cubicBezTo>
                  <a:pt x="5255056" y="2486679"/>
                  <a:pt x="5287777" y="2490536"/>
                  <a:pt x="5307025" y="2490536"/>
                </a:cubicBezTo>
                <a:cubicBezTo>
                  <a:pt x="5324348" y="2490536"/>
                  <a:pt x="5308950" y="2504006"/>
                  <a:pt x="5301251" y="2504006"/>
                </a:cubicBezTo>
                <a:cubicBezTo>
                  <a:pt x="5256980" y="2502083"/>
                  <a:pt x="5214635" y="2500160"/>
                  <a:pt x="5176140" y="2486679"/>
                </a:cubicBezTo>
                <a:cubicBezTo>
                  <a:pt x="5176140" y="2477055"/>
                  <a:pt x="5160741" y="2477055"/>
                  <a:pt x="5151117" y="2477055"/>
                </a:cubicBezTo>
                <a:cubicBezTo>
                  <a:pt x="5126095" y="2477055"/>
                  <a:pt x="5091449" y="2477055"/>
                  <a:pt x="5066427" y="2502083"/>
                </a:cubicBezTo>
                <a:cubicBezTo>
                  <a:pt x="5062577" y="2488613"/>
                  <a:pt x="5079900" y="2486679"/>
                  <a:pt x="5083750" y="2480904"/>
                </a:cubicBezTo>
                <a:cubicBezTo>
                  <a:pt x="5026006" y="2486679"/>
                  <a:pt x="4979811" y="2475125"/>
                  <a:pt x="4914368" y="2502083"/>
                </a:cubicBezTo>
                <a:cubicBezTo>
                  <a:pt x="4952864" y="2536732"/>
                  <a:pt x="4999059" y="2548276"/>
                  <a:pt x="5041405" y="2563666"/>
                </a:cubicBezTo>
                <a:cubicBezTo>
                  <a:pt x="5051028" y="2567520"/>
                  <a:pt x="5051028" y="2580995"/>
                  <a:pt x="5064502" y="2586770"/>
                </a:cubicBezTo>
                <a:cubicBezTo>
                  <a:pt x="5031781" y="2592542"/>
                  <a:pt x="5008683" y="2577142"/>
                  <a:pt x="4991360" y="2563666"/>
                </a:cubicBezTo>
                <a:cubicBezTo>
                  <a:pt x="4958638" y="2559819"/>
                  <a:pt x="4927842" y="2567520"/>
                  <a:pt x="4902820" y="2584848"/>
                </a:cubicBezTo>
                <a:cubicBezTo>
                  <a:pt x="4937466" y="2607937"/>
                  <a:pt x="4964413" y="2638732"/>
                  <a:pt x="5000984" y="2656053"/>
                </a:cubicBezTo>
                <a:cubicBezTo>
                  <a:pt x="5004834" y="2657977"/>
                  <a:pt x="5012533" y="2654130"/>
                  <a:pt x="5018307" y="2656053"/>
                </a:cubicBezTo>
                <a:cubicBezTo>
                  <a:pt x="4999059" y="2671449"/>
                  <a:pt x="5026006" y="2682996"/>
                  <a:pt x="5033706" y="2688771"/>
                </a:cubicBezTo>
                <a:lnTo>
                  <a:pt x="5101073" y="2731110"/>
                </a:lnTo>
                <a:cubicBezTo>
                  <a:pt x="5114546" y="2740734"/>
                  <a:pt x="5133794" y="2723413"/>
                  <a:pt x="5147268" y="2719565"/>
                </a:cubicBezTo>
                <a:cubicBezTo>
                  <a:pt x="5149193" y="2725338"/>
                  <a:pt x="5149193" y="2734960"/>
                  <a:pt x="5141493" y="2734960"/>
                </a:cubicBezTo>
                <a:cubicBezTo>
                  <a:pt x="5129945" y="2734960"/>
                  <a:pt x="5118396" y="2734960"/>
                  <a:pt x="5104922" y="2740734"/>
                </a:cubicBezTo>
                <a:cubicBezTo>
                  <a:pt x="5108772" y="2748431"/>
                  <a:pt x="5110697" y="2756128"/>
                  <a:pt x="5102997" y="2761902"/>
                </a:cubicBezTo>
                <a:cubicBezTo>
                  <a:pt x="5097223" y="2765751"/>
                  <a:pt x="5083750" y="2773449"/>
                  <a:pt x="5085674" y="2758055"/>
                </a:cubicBezTo>
                <a:cubicBezTo>
                  <a:pt x="5079900" y="2754204"/>
                  <a:pt x="5072201" y="2748431"/>
                  <a:pt x="5066427" y="2748431"/>
                </a:cubicBezTo>
                <a:cubicBezTo>
                  <a:pt x="5051028" y="2750356"/>
                  <a:pt x="5033706" y="2765751"/>
                  <a:pt x="5016382" y="2758055"/>
                </a:cubicBezTo>
                <a:cubicBezTo>
                  <a:pt x="5029856" y="2748431"/>
                  <a:pt x="5051028" y="2740734"/>
                  <a:pt x="5064502" y="2740734"/>
                </a:cubicBezTo>
                <a:cubicBezTo>
                  <a:pt x="5039480" y="2721488"/>
                  <a:pt x="5020232" y="2704168"/>
                  <a:pt x="4997134" y="2679149"/>
                </a:cubicBezTo>
                <a:cubicBezTo>
                  <a:pt x="4960563" y="2688771"/>
                  <a:pt x="4931691" y="2696470"/>
                  <a:pt x="4898970" y="2713791"/>
                </a:cubicBezTo>
                <a:cubicBezTo>
                  <a:pt x="4891271" y="2717639"/>
                  <a:pt x="4889346" y="2734960"/>
                  <a:pt x="4895121" y="2740734"/>
                </a:cubicBezTo>
                <a:cubicBezTo>
                  <a:pt x="4920143" y="2765751"/>
                  <a:pt x="4931691" y="2811938"/>
                  <a:pt x="4925917" y="2844656"/>
                </a:cubicBezTo>
                <a:cubicBezTo>
                  <a:pt x="4923992" y="2856203"/>
                  <a:pt x="4945165" y="2846580"/>
                  <a:pt x="4956714" y="2842731"/>
                </a:cubicBezTo>
                <a:cubicBezTo>
                  <a:pt x="4949014" y="2840806"/>
                  <a:pt x="4929767" y="2840806"/>
                  <a:pt x="4929767" y="2825410"/>
                </a:cubicBezTo>
                <a:cubicBezTo>
                  <a:pt x="4960563" y="2840806"/>
                  <a:pt x="4997134" y="2840806"/>
                  <a:pt x="5039480" y="2835032"/>
                </a:cubicBezTo>
                <a:cubicBezTo>
                  <a:pt x="5093373" y="2827334"/>
                  <a:pt x="5141493" y="2829259"/>
                  <a:pt x="5201162" y="2823485"/>
                </a:cubicBezTo>
                <a:cubicBezTo>
                  <a:pt x="5231958" y="2821561"/>
                  <a:pt x="5258905" y="2817712"/>
                  <a:pt x="5291627" y="2815788"/>
                </a:cubicBezTo>
                <a:cubicBezTo>
                  <a:pt x="5297401" y="2813863"/>
                  <a:pt x="5308950" y="2825410"/>
                  <a:pt x="5299326" y="2825410"/>
                </a:cubicBezTo>
                <a:cubicBezTo>
                  <a:pt x="5274304" y="2825410"/>
                  <a:pt x="5247356" y="2825410"/>
                  <a:pt x="5220410" y="2833107"/>
                </a:cubicBezTo>
                <a:cubicBezTo>
                  <a:pt x="5206936" y="2836956"/>
                  <a:pt x="5245432" y="2871597"/>
                  <a:pt x="5253131" y="2881219"/>
                </a:cubicBezTo>
                <a:cubicBezTo>
                  <a:pt x="5233883" y="2886994"/>
                  <a:pt x="5226184" y="2875447"/>
                  <a:pt x="5216560" y="2865823"/>
                </a:cubicBezTo>
                <a:cubicBezTo>
                  <a:pt x="5191538" y="2836956"/>
                  <a:pt x="5151117" y="2823485"/>
                  <a:pt x="5120321" y="2840806"/>
                </a:cubicBezTo>
                <a:cubicBezTo>
                  <a:pt x="5052953" y="2848504"/>
                  <a:pt x="5000984" y="2856203"/>
                  <a:pt x="4950939" y="2856203"/>
                </a:cubicBezTo>
                <a:cubicBezTo>
                  <a:pt x="4945165" y="2856203"/>
                  <a:pt x="4933616" y="2861975"/>
                  <a:pt x="4931691" y="2861975"/>
                </a:cubicBezTo>
                <a:cubicBezTo>
                  <a:pt x="4931691" y="2873521"/>
                  <a:pt x="4941315" y="2885068"/>
                  <a:pt x="4947090" y="2885068"/>
                </a:cubicBezTo>
                <a:cubicBezTo>
                  <a:pt x="4989435" y="2892767"/>
                  <a:pt x="5037555" y="2873521"/>
                  <a:pt x="5058728" y="2875447"/>
                </a:cubicBezTo>
                <a:cubicBezTo>
                  <a:pt x="5072201" y="2877371"/>
                  <a:pt x="5087599" y="2865823"/>
                  <a:pt x="5102997" y="2881219"/>
                </a:cubicBezTo>
                <a:cubicBezTo>
                  <a:pt x="5058728" y="2888917"/>
                  <a:pt x="5012533" y="2900465"/>
                  <a:pt x="4975962" y="2902390"/>
                </a:cubicBezTo>
                <a:cubicBezTo>
                  <a:pt x="4962488" y="2902390"/>
                  <a:pt x="4954789" y="2921633"/>
                  <a:pt x="4958638" y="2935104"/>
                </a:cubicBezTo>
                <a:cubicBezTo>
                  <a:pt x="4968262" y="2965897"/>
                  <a:pt x="4958638" y="2992838"/>
                  <a:pt x="4956714" y="3019782"/>
                </a:cubicBezTo>
                <a:cubicBezTo>
                  <a:pt x="4956714" y="3039027"/>
                  <a:pt x="4939390" y="3077516"/>
                  <a:pt x="4956714" y="3079442"/>
                </a:cubicBezTo>
                <a:cubicBezTo>
                  <a:pt x="4979811" y="3083292"/>
                  <a:pt x="5008683" y="3085214"/>
                  <a:pt x="5033706" y="3089065"/>
                </a:cubicBezTo>
                <a:lnTo>
                  <a:pt x="5135719" y="3075592"/>
                </a:lnTo>
                <a:cubicBezTo>
                  <a:pt x="5141493" y="3073669"/>
                  <a:pt x="5151117" y="3073669"/>
                  <a:pt x="5154967" y="3079442"/>
                </a:cubicBezTo>
                <a:cubicBezTo>
                  <a:pt x="5162666" y="3092914"/>
                  <a:pt x="5178065" y="3098688"/>
                  <a:pt x="5195388" y="3102536"/>
                </a:cubicBezTo>
                <a:cubicBezTo>
                  <a:pt x="5228109" y="3110236"/>
                  <a:pt x="5251206" y="3139106"/>
                  <a:pt x="5280078" y="3142955"/>
                </a:cubicBezTo>
                <a:cubicBezTo>
                  <a:pt x="5314724" y="3135255"/>
                  <a:pt x="5343596" y="3152582"/>
                  <a:pt x="5358994" y="3175680"/>
                </a:cubicBezTo>
                <a:cubicBezTo>
                  <a:pt x="5362844" y="3179530"/>
                  <a:pt x="5355145" y="3191080"/>
                  <a:pt x="5353220" y="3191080"/>
                </a:cubicBezTo>
                <a:cubicBezTo>
                  <a:pt x="5316649" y="3185305"/>
                  <a:pt x="5283928" y="3181455"/>
                  <a:pt x="5258905" y="3154506"/>
                </a:cubicBezTo>
                <a:cubicBezTo>
                  <a:pt x="5255056" y="3166055"/>
                  <a:pt x="5243507" y="3173755"/>
                  <a:pt x="5243507" y="3152582"/>
                </a:cubicBezTo>
                <a:cubicBezTo>
                  <a:pt x="5199237" y="3150655"/>
                  <a:pt x="5158817" y="3139106"/>
                  <a:pt x="5120321" y="3146807"/>
                </a:cubicBezTo>
                <a:cubicBezTo>
                  <a:pt x="5106847" y="3129482"/>
                  <a:pt x="5085674" y="3125633"/>
                  <a:pt x="5076050" y="3127557"/>
                </a:cubicBezTo>
                <a:cubicBezTo>
                  <a:pt x="5037555" y="3133331"/>
                  <a:pt x="4995210" y="3127557"/>
                  <a:pt x="4968262" y="3116008"/>
                </a:cubicBezTo>
                <a:cubicBezTo>
                  <a:pt x="4949014" y="3106385"/>
                  <a:pt x="4943240" y="3137180"/>
                  <a:pt x="4941315" y="3148730"/>
                </a:cubicBezTo>
                <a:cubicBezTo>
                  <a:pt x="4922067" y="3252665"/>
                  <a:pt x="4897045" y="3358529"/>
                  <a:pt x="4897045" y="3468241"/>
                </a:cubicBezTo>
                <a:cubicBezTo>
                  <a:pt x="4910519" y="3493264"/>
                  <a:pt x="4941315" y="3499038"/>
                  <a:pt x="4947090" y="3510587"/>
                </a:cubicBezTo>
                <a:cubicBezTo>
                  <a:pt x="4958638" y="3533684"/>
                  <a:pt x="4937466" y="3533684"/>
                  <a:pt x="4931691" y="3529834"/>
                </a:cubicBezTo>
                <a:cubicBezTo>
                  <a:pt x="4925917" y="3524060"/>
                  <a:pt x="4910519" y="3504812"/>
                  <a:pt x="4906669" y="3497113"/>
                </a:cubicBezTo>
                <a:cubicBezTo>
                  <a:pt x="4902820" y="3489414"/>
                  <a:pt x="4895121" y="3493264"/>
                  <a:pt x="4893196" y="3500963"/>
                </a:cubicBezTo>
                <a:cubicBezTo>
                  <a:pt x="4889346" y="3527910"/>
                  <a:pt x="4889346" y="3554857"/>
                  <a:pt x="4887422" y="3583729"/>
                </a:cubicBezTo>
                <a:cubicBezTo>
                  <a:pt x="4887422" y="3589503"/>
                  <a:pt x="4887422" y="3595277"/>
                  <a:pt x="4887422" y="3601052"/>
                </a:cubicBezTo>
                <a:cubicBezTo>
                  <a:pt x="4925917" y="3643397"/>
                  <a:pt x="4956714" y="3689592"/>
                  <a:pt x="4974037" y="3737712"/>
                </a:cubicBezTo>
                <a:cubicBezTo>
                  <a:pt x="4947090" y="3704990"/>
                  <a:pt x="4918218" y="3672269"/>
                  <a:pt x="4887422" y="3641472"/>
                </a:cubicBezTo>
                <a:cubicBezTo>
                  <a:pt x="4887422" y="3649171"/>
                  <a:pt x="4887422" y="3656871"/>
                  <a:pt x="4887422" y="3664570"/>
                </a:cubicBezTo>
                <a:cubicBezTo>
                  <a:pt x="4935541" y="3712689"/>
                  <a:pt x="4977886" y="3766583"/>
                  <a:pt x="5012533" y="3822402"/>
                </a:cubicBezTo>
                <a:cubicBezTo>
                  <a:pt x="4972112" y="3781982"/>
                  <a:pt x="4929767" y="3743486"/>
                  <a:pt x="4893196" y="3701140"/>
                </a:cubicBezTo>
                <a:cubicBezTo>
                  <a:pt x="4933616" y="3799305"/>
                  <a:pt x="5049104" y="3866672"/>
                  <a:pt x="5070276" y="3964837"/>
                </a:cubicBezTo>
                <a:cubicBezTo>
                  <a:pt x="5041405" y="3928265"/>
                  <a:pt x="4993285" y="3882071"/>
                  <a:pt x="4966338" y="3855123"/>
                </a:cubicBezTo>
                <a:cubicBezTo>
                  <a:pt x="4958638" y="3870522"/>
                  <a:pt x="4966338" y="3876296"/>
                  <a:pt x="4962488" y="3889770"/>
                </a:cubicBezTo>
                <a:cubicBezTo>
                  <a:pt x="5027931" y="3951363"/>
                  <a:pt x="5108772" y="4020655"/>
                  <a:pt x="5104922" y="4114970"/>
                </a:cubicBezTo>
                <a:cubicBezTo>
                  <a:pt x="5072201" y="4089948"/>
                  <a:pt x="5041405" y="4043753"/>
                  <a:pt x="5002909" y="4032204"/>
                </a:cubicBezTo>
                <a:cubicBezTo>
                  <a:pt x="5018307" y="4080324"/>
                  <a:pt x="5076050" y="4136143"/>
                  <a:pt x="5116471" y="4143842"/>
                </a:cubicBezTo>
                <a:cubicBezTo>
                  <a:pt x="5116471" y="4176563"/>
                  <a:pt x="5120321" y="4224683"/>
                  <a:pt x="5114546" y="4247780"/>
                </a:cubicBezTo>
                <a:cubicBezTo>
                  <a:pt x="5089524" y="4203510"/>
                  <a:pt x="5047179" y="4168864"/>
                  <a:pt x="5012533" y="4130368"/>
                </a:cubicBezTo>
                <a:cubicBezTo>
                  <a:pt x="5010608" y="4145767"/>
                  <a:pt x="4997134" y="4139992"/>
                  <a:pt x="4991360" y="4147691"/>
                </a:cubicBezTo>
                <a:cubicBezTo>
                  <a:pt x="5049104" y="4188112"/>
                  <a:pt x="5074126" y="4247780"/>
                  <a:pt x="5124170" y="4290126"/>
                </a:cubicBezTo>
                <a:cubicBezTo>
                  <a:pt x="5116471" y="4318998"/>
                  <a:pt x="5118396" y="4330546"/>
                  <a:pt x="5108772" y="4355568"/>
                </a:cubicBezTo>
                <a:cubicBezTo>
                  <a:pt x="5054878" y="4318998"/>
                  <a:pt x="5039480" y="4255480"/>
                  <a:pt x="4989435" y="4216984"/>
                </a:cubicBezTo>
                <a:cubicBezTo>
                  <a:pt x="4985586" y="4224683"/>
                  <a:pt x="4977886" y="4228533"/>
                  <a:pt x="4972112" y="4234307"/>
                </a:cubicBezTo>
                <a:cubicBezTo>
                  <a:pt x="5012533" y="4290126"/>
                  <a:pt x="5054878" y="4344020"/>
                  <a:pt x="5104922" y="4394064"/>
                </a:cubicBezTo>
                <a:cubicBezTo>
                  <a:pt x="5097223" y="4411387"/>
                  <a:pt x="5099148" y="4440259"/>
                  <a:pt x="5087599" y="4449883"/>
                </a:cubicBezTo>
                <a:cubicBezTo>
                  <a:pt x="5010608" y="4357493"/>
                  <a:pt x="4931691" y="4263179"/>
                  <a:pt x="4852775" y="4168864"/>
                </a:cubicBezTo>
                <a:cubicBezTo>
                  <a:pt x="4854700" y="4182338"/>
                  <a:pt x="4856625" y="4197736"/>
                  <a:pt x="4858550" y="4211209"/>
                </a:cubicBezTo>
                <a:cubicBezTo>
                  <a:pt x="4929767" y="4292051"/>
                  <a:pt x="4999059" y="4372892"/>
                  <a:pt x="5064502" y="4457582"/>
                </a:cubicBezTo>
                <a:cubicBezTo>
                  <a:pt x="4999059" y="4461432"/>
                  <a:pt x="4981736" y="4424861"/>
                  <a:pt x="4935541" y="4376741"/>
                </a:cubicBezTo>
                <a:cubicBezTo>
                  <a:pt x="4925917" y="4365192"/>
                  <a:pt x="4914368" y="4353644"/>
                  <a:pt x="4902820" y="4342095"/>
                </a:cubicBezTo>
                <a:cubicBezTo>
                  <a:pt x="4904745" y="4344020"/>
                  <a:pt x="4906669" y="4347869"/>
                  <a:pt x="4908594" y="4349794"/>
                </a:cubicBezTo>
                <a:cubicBezTo>
                  <a:pt x="4910519" y="4355568"/>
                  <a:pt x="4889346" y="4345944"/>
                  <a:pt x="4893196" y="4361343"/>
                </a:cubicBezTo>
                <a:cubicBezTo>
                  <a:pt x="4950939" y="4417162"/>
                  <a:pt x="5012533" y="4471056"/>
                  <a:pt x="5018307" y="4549972"/>
                </a:cubicBezTo>
                <a:cubicBezTo>
                  <a:pt x="4974037" y="4498003"/>
                  <a:pt x="4925917" y="4442184"/>
                  <a:pt x="4877798" y="4386365"/>
                </a:cubicBezTo>
                <a:cubicBezTo>
                  <a:pt x="4873948" y="4388290"/>
                  <a:pt x="4870098" y="4388290"/>
                  <a:pt x="4866249" y="4388290"/>
                </a:cubicBezTo>
                <a:cubicBezTo>
                  <a:pt x="4864324" y="4380591"/>
                  <a:pt x="4858550" y="4380591"/>
                  <a:pt x="4856625" y="4388290"/>
                </a:cubicBezTo>
                <a:cubicBezTo>
                  <a:pt x="4914368" y="4457582"/>
                  <a:pt x="4962488" y="4526875"/>
                  <a:pt x="4997134" y="4598092"/>
                </a:cubicBezTo>
                <a:cubicBezTo>
                  <a:pt x="4952864" y="4544198"/>
                  <a:pt x="4908594" y="4488379"/>
                  <a:pt x="4864324" y="4434485"/>
                </a:cubicBezTo>
                <a:cubicBezTo>
                  <a:pt x="4864324" y="4438334"/>
                  <a:pt x="4862399" y="4442184"/>
                  <a:pt x="4860474" y="4446034"/>
                </a:cubicBezTo>
                <a:cubicBezTo>
                  <a:pt x="4868174" y="4459507"/>
                  <a:pt x="4872023" y="4472981"/>
                  <a:pt x="4875873" y="4484529"/>
                </a:cubicBezTo>
                <a:cubicBezTo>
                  <a:pt x="4916293" y="4532649"/>
                  <a:pt x="4952864" y="4582693"/>
                  <a:pt x="4970187" y="4636588"/>
                </a:cubicBezTo>
                <a:cubicBezTo>
                  <a:pt x="4941315" y="4648136"/>
                  <a:pt x="4937466" y="4609641"/>
                  <a:pt x="4927842" y="4596167"/>
                </a:cubicBezTo>
                <a:cubicBezTo>
                  <a:pt x="4912444" y="4576919"/>
                  <a:pt x="4897045" y="4555746"/>
                  <a:pt x="4879722" y="4536499"/>
                </a:cubicBezTo>
                <a:cubicBezTo>
                  <a:pt x="4879722" y="4549972"/>
                  <a:pt x="4875873" y="4561521"/>
                  <a:pt x="4873948" y="4573069"/>
                </a:cubicBezTo>
                <a:cubicBezTo>
                  <a:pt x="4891271" y="4601941"/>
                  <a:pt x="4908594" y="4630813"/>
                  <a:pt x="4922067" y="4659685"/>
                </a:cubicBezTo>
                <a:cubicBezTo>
                  <a:pt x="4887422" y="4659685"/>
                  <a:pt x="4868174" y="4632738"/>
                  <a:pt x="4850850" y="4605791"/>
                </a:cubicBezTo>
                <a:cubicBezTo>
                  <a:pt x="4847001" y="4607716"/>
                  <a:pt x="4843151" y="4609641"/>
                  <a:pt x="4841226" y="4613490"/>
                </a:cubicBezTo>
                <a:cubicBezTo>
                  <a:pt x="4839302" y="4617340"/>
                  <a:pt x="4850850" y="4623114"/>
                  <a:pt x="4850850" y="4632738"/>
                </a:cubicBezTo>
                <a:cubicBezTo>
                  <a:pt x="4847001" y="4630813"/>
                  <a:pt x="4845076" y="4628888"/>
                  <a:pt x="4841226" y="4626964"/>
                </a:cubicBezTo>
                <a:cubicBezTo>
                  <a:pt x="4850850" y="4638512"/>
                  <a:pt x="4860474" y="4650061"/>
                  <a:pt x="4868174" y="4661610"/>
                </a:cubicBezTo>
                <a:cubicBezTo>
                  <a:pt x="4848926" y="4655835"/>
                  <a:pt x="4837377" y="4663534"/>
                  <a:pt x="4820054" y="4663534"/>
                </a:cubicBezTo>
                <a:cubicBezTo>
                  <a:pt x="4795032" y="4630813"/>
                  <a:pt x="4768084" y="4600017"/>
                  <a:pt x="4741138" y="4569220"/>
                </a:cubicBezTo>
                <a:cubicBezTo>
                  <a:pt x="4737288" y="4574994"/>
                  <a:pt x="4733439" y="4574994"/>
                  <a:pt x="4729589" y="4569220"/>
                </a:cubicBezTo>
                <a:cubicBezTo>
                  <a:pt x="4719965" y="4555746"/>
                  <a:pt x="4710341" y="4542273"/>
                  <a:pt x="4700717" y="4526875"/>
                </a:cubicBezTo>
                <a:cubicBezTo>
                  <a:pt x="4548658" y="4359418"/>
                  <a:pt x="4379276" y="4201585"/>
                  <a:pt x="4227218" y="4034129"/>
                </a:cubicBezTo>
                <a:cubicBezTo>
                  <a:pt x="4221444" y="4047602"/>
                  <a:pt x="4215669" y="4061076"/>
                  <a:pt x="4211820" y="4076474"/>
                </a:cubicBezTo>
                <a:cubicBezTo>
                  <a:pt x="4275338" y="4130368"/>
                  <a:pt x="4346555" y="4182338"/>
                  <a:pt x="4408148" y="4245856"/>
                </a:cubicBezTo>
                <a:cubicBezTo>
                  <a:pt x="4544808" y="4384440"/>
                  <a:pt x="4667996" y="4526875"/>
                  <a:pt x="4785408" y="4657760"/>
                </a:cubicBezTo>
                <a:cubicBezTo>
                  <a:pt x="4756536" y="4650061"/>
                  <a:pt x="4731514" y="4648136"/>
                  <a:pt x="4710341" y="4650061"/>
                </a:cubicBezTo>
                <a:cubicBezTo>
                  <a:pt x="4550583" y="4463357"/>
                  <a:pt x="4373502" y="4288201"/>
                  <a:pt x="4204121" y="4107271"/>
                </a:cubicBezTo>
                <a:cubicBezTo>
                  <a:pt x="4202196" y="4111120"/>
                  <a:pt x="4202196" y="4113045"/>
                  <a:pt x="4198346" y="4113045"/>
                </a:cubicBezTo>
                <a:lnTo>
                  <a:pt x="4194497" y="4134218"/>
                </a:lnTo>
                <a:cubicBezTo>
                  <a:pt x="4356179" y="4295900"/>
                  <a:pt x="4517861" y="4459507"/>
                  <a:pt x="4664146" y="4630813"/>
                </a:cubicBezTo>
                <a:cubicBezTo>
                  <a:pt x="4540959" y="4623114"/>
                  <a:pt x="4500538" y="4544198"/>
                  <a:pt x="4437020" y="4469131"/>
                </a:cubicBezTo>
                <a:cubicBezTo>
                  <a:pt x="4354254" y="4372892"/>
                  <a:pt x="4267639" y="4278577"/>
                  <a:pt x="4184873" y="4186187"/>
                </a:cubicBezTo>
                <a:lnTo>
                  <a:pt x="4179099" y="4216984"/>
                </a:lnTo>
                <a:cubicBezTo>
                  <a:pt x="4296510" y="4342095"/>
                  <a:pt x="4417772" y="4467206"/>
                  <a:pt x="4527485" y="4600017"/>
                </a:cubicBezTo>
                <a:cubicBezTo>
                  <a:pt x="4404299" y="4580769"/>
                  <a:pt x="4381201" y="4498003"/>
                  <a:pt x="4323458" y="4434485"/>
                </a:cubicBezTo>
                <a:cubicBezTo>
                  <a:pt x="4271488" y="4376741"/>
                  <a:pt x="4219519" y="4320922"/>
                  <a:pt x="4169475" y="4267028"/>
                </a:cubicBezTo>
                <a:lnTo>
                  <a:pt x="4163700" y="4293975"/>
                </a:lnTo>
                <a:cubicBezTo>
                  <a:pt x="4236842" y="4370967"/>
                  <a:pt x="4306134" y="4449883"/>
                  <a:pt x="4369652" y="4534574"/>
                </a:cubicBezTo>
                <a:cubicBezTo>
                  <a:pt x="4271488" y="4496078"/>
                  <a:pt x="4206046" y="4438334"/>
                  <a:pt x="4150227" y="4372892"/>
                </a:cubicBezTo>
                <a:lnTo>
                  <a:pt x="4148302" y="4380591"/>
                </a:lnTo>
                <a:cubicBezTo>
                  <a:pt x="4148302" y="4382516"/>
                  <a:pt x="4150227" y="4388290"/>
                  <a:pt x="4152151" y="4394064"/>
                </a:cubicBezTo>
                <a:cubicBezTo>
                  <a:pt x="4165625" y="4411387"/>
                  <a:pt x="4181023" y="4428710"/>
                  <a:pt x="4194497" y="4447958"/>
                </a:cubicBezTo>
                <a:cubicBezTo>
                  <a:pt x="4182948" y="4442184"/>
                  <a:pt x="4169475" y="4436410"/>
                  <a:pt x="4156001" y="4430635"/>
                </a:cubicBezTo>
                <a:cubicBezTo>
                  <a:pt x="4156001" y="4432560"/>
                  <a:pt x="4157926" y="4436410"/>
                  <a:pt x="4157926" y="4438334"/>
                </a:cubicBezTo>
                <a:cubicBezTo>
                  <a:pt x="4173324" y="4532649"/>
                  <a:pt x="4171399" y="4625039"/>
                  <a:pt x="4175249" y="4719353"/>
                </a:cubicBezTo>
                <a:cubicBezTo>
                  <a:pt x="4177174" y="4759774"/>
                  <a:pt x="4181023" y="4809818"/>
                  <a:pt x="4179099" y="4850239"/>
                </a:cubicBezTo>
                <a:cubicBezTo>
                  <a:pt x="4179099" y="4852164"/>
                  <a:pt x="4171399" y="4857938"/>
                  <a:pt x="4169475" y="4859863"/>
                </a:cubicBezTo>
                <a:cubicBezTo>
                  <a:pt x="4182948" y="4861788"/>
                  <a:pt x="4181023" y="4873336"/>
                  <a:pt x="4181023" y="4881035"/>
                </a:cubicBezTo>
                <a:cubicBezTo>
                  <a:pt x="4181023" y="4907983"/>
                  <a:pt x="4186798" y="4931080"/>
                  <a:pt x="4181023" y="4956102"/>
                </a:cubicBezTo>
                <a:cubicBezTo>
                  <a:pt x="4169475" y="4958027"/>
                  <a:pt x="4146377" y="4938779"/>
                  <a:pt x="4130979" y="4934930"/>
                </a:cubicBezTo>
                <a:cubicBezTo>
                  <a:pt x="4117505" y="4933005"/>
                  <a:pt x="4111731" y="4948403"/>
                  <a:pt x="4117505" y="4958027"/>
                </a:cubicBezTo>
                <a:cubicBezTo>
                  <a:pt x="4129054" y="4973425"/>
                  <a:pt x="4142527" y="4984974"/>
                  <a:pt x="4154076" y="5000372"/>
                </a:cubicBezTo>
                <a:cubicBezTo>
                  <a:pt x="4156001" y="5000372"/>
                  <a:pt x="4171399" y="4986899"/>
                  <a:pt x="4169475" y="5006147"/>
                </a:cubicBezTo>
                <a:cubicBezTo>
                  <a:pt x="4169475" y="5008071"/>
                  <a:pt x="4169475" y="5027319"/>
                  <a:pt x="4159851" y="5019620"/>
                </a:cubicBezTo>
                <a:cubicBezTo>
                  <a:pt x="4152151" y="5013846"/>
                  <a:pt x="4138678" y="5017695"/>
                  <a:pt x="4136753" y="5029244"/>
                </a:cubicBezTo>
                <a:cubicBezTo>
                  <a:pt x="4148302" y="5031169"/>
                  <a:pt x="4148302" y="5042718"/>
                  <a:pt x="4132904" y="5040793"/>
                </a:cubicBezTo>
                <a:cubicBezTo>
                  <a:pt x="4130979" y="5058116"/>
                  <a:pt x="4115581" y="5071590"/>
                  <a:pt x="4127129" y="5085063"/>
                </a:cubicBezTo>
                <a:cubicBezTo>
                  <a:pt x="4132904" y="5090838"/>
                  <a:pt x="4146377" y="5090838"/>
                  <a:pt x="4142527" y="5102386"/>
                </a:cubicBezTo>
                <a:cubicBezTo>
                  <a:pt x="4136753" y="5121634"/>
                  <a:pt x="4117505" y="5106236"/>
                  <a:pt x="4102107" y="5112010"/>
                </a:cubicBezTo>
                <a:cubicBezTo>
                  <a:pt x="4107882" y="5119709"/>
                  <a:pt x="4109806" y="5131258"/>
                  <a:pt x="4098258" y="5133183"/>
                </a:cubicBezTo>
                <a:cubicBezTo>
                  <a:pt x="4088634" y="5133183"/>
                  <a:pt x="4080934" y="5115860"/>
                  <a:pt x="4065536" y="5127408"/>
                </a:cubicBezTo>
                <a:cubicBezTo>
                  <a:pt x="4057837" y="5133183"/>
                  <a:pt x="4036664" y="5129333"/>
                  <a:pt x="4030890" y="5144731"/>
                </a:cubicBezTo>
                <a:cubicBezTo>
                  <a:pt x="4028965" y="5150506"/>
                  <a:pt x="4023191" y="5158205"/>
                  <a:pt x="4017416" y="5152430"/>
                </a:cubicBezTo>
                <a:cubicBezTo>
                  <a:pt x="4009717" y="5142806"/>
                  <a:pt x="3980845" y="5138957"/>
                  <a:pt x="3992394" y="5121634"/>
                </a:cubicBezTo>
                <a:cubicBezTo>
                  <a:pt x="3996244" y="5125483"/>
                  <a:pt x="4007792" y="5127408"/>
                  <a:pt x="4000093" y="5119709"/>
                </a:cubicBezTo>
                <a:cubicBezTo>
                  <a:pt x="3990469" y="5110085"/>
                  <a:pt x="3980845" y="5102386"/>
                  <a:pt x="3978921" y="5086988"/>
                </a:cubicBezTo>
                <a:cubicBezTo>
                  <a:pt x="3992394" y="5075439"/>
                  <a:pt x="3996244" y="5054267"/>
                  <a:pt x="3986620" y="5038868"/>
                </a:cubicBezTo>
                <a:cubicBezTo>
                  <a:pt x="3984695" y="5044643"/>
                  <a:pt x="3982770" y="5052342"/>
                  <a:pt x="3978921" y="5058116"/>
                </a:cubicBezTo>
                <a:cubicBezTo>
                  <a:pt x="3926951" y="5033094"/>
                  <a:pt x="3884606" y="5073515"/>
                  <a:pt x="3900004" y="5121634"/>
                </a:cubicBezTo>
                <a:cubicBezTo>
                  <a:pt x="3717150" y="5104311"/>
                  <a:pt x="3605512" y="5011921"/>
                  <a:pt x="3513122" y="4927231"/>
                </a:cubicBezTo>
                <a:cubicBezTo>
                  <a:pt x="3578565" y="5019620"/>
                  <a:pt x="3720999" y="5125483"/>
                  <a:pt x="3874982" y="5137032"/>
                </a:cubicBezTo>
                <a:cubicBezTo>
                  <a:pt x="3909628" y="5140882"/>
                  <a:pt x="3950049" y="5125483"/>
                  <a:pt x="3950049" y="5171678"/>
                </a:cubicBezTo>
                <a:cubicBezTo>
                  <a:pt x="3942350" y="5177453"/>
                  <a:pt x="3923102" y="5165904"/>
                  <a:pt x="3925027" y="5187077"/>
                </a:cubicBezTo>
                <a:cubicBezTo>
                  <a:pt x="3861509" y="5169754"/>
                  <a:pt x="3799916" y="5173603"/>
                  <a:pt x="3751796" y="5152430"/>
                </a:cubicBezTo>
                <a:cubicBezTo>
                  <a:pt x="3788367" y="5223648"/>
                  <a:pt x="3884606" y="5167829"/>
                  <a:pt x="3932726" y="5214024"/>
                </a:cubicBezTo>
                <a:cubicBezTo>
                  <a:pt x="3911553" y="5260219"/>
                  <a:pt x="3911553" y="5371857"/>
                  <a:pt x="3863433" y="5393029"/>
                </a:cubicBezTo>
                <a:cubicBezTo>
                  <a:pt x="3842261" y="5389180"/>
                  <a:pt x="3826862" y="5391105"/>
                  <a:pt x="3811464" y="5394954"/>
                </a:cubicBezTo>
                <a:cubicBezTo>
                  <a:pt x="3807615" y="5429600"/>
                  <a:pt x="3846110" y="5435374"/>
                  <a:pt x="3846110" y="5468096"/>
                </a:cubicBezTo>
                <a:cubicBezTo>
                  <a:pt x="3751796" y="5433449"/>
                  <a:pt x="3784517" y="5560486"/>
                  <a:pt x="3736397" y="5577809"/>
                </a:cubicBezTo>
                <a:cubicBezTo>
                  <a:pt x="3746021" y="5568185"/>
                  <a:pt x="3751796" y="5552787"/>
                  <a:pt x="3755645" y="5535464"/>
                </a:cubicBezTo>
                <a:cubicBezTo>
                  <a:pt x="3747946" y="5516216"/>
                  <a:pt x="3728698" y="5504667"/>
                  <a:pt x="3713300" y="5491193"/>
                </a:cubicBezTo>
                <a:cubicBezTo>
                  <a:pt x="3728698" y="5408427"/>
                  <a:pt x="3645933" y="5319887"/>
                  <a:pt x="3572791" y="5366082"/>
                </a:cubicBezTo>
                <a:cubicBezTo>
                  <a:pt x="3357214" y="5277542"/>
                  <a:pt x="3247501" y="5090838"/>
                  <a:pt x="3087745" y="4956102"/>
                </a:cubicBezTo>
                <a:cubicBezTo>
                  <a:pt x="3222479" y="5110085"/>
                  <a:pt x="3351440" y="5283316"/>
                  <a:pt x="3557392" y="5379556"/>
                </a:cubicBezTo>
                <a:cubicBezTo>
                  <a:pt x="3524671" y="5391105"/>
                  <a:pt x="3486175" y="5394954"/>
                  <a:pt x="3445754" y="5396879"/>
                </a:cubicBezTo>
                <a:cubicBezTo>
                  <a:pt x="3503498" y="5433449"/>
                  <a:pt x="3563167" y="5394954"/>
                  <a:pt x="3605512" y="5371857"/>
                </a:cubicBezTo>
                <a:cubicBezTo>
                  <a:pt x="3605512" y="5416127"/>
                  <a:pt x="3632459" y="5441149"/>
                  <a:pt x="3632459" y="5485419"/>
                </a:cubicBezTo>
                <a:cubicBezTo>
                  <a:pt x="3541994" y="5525840"/>
                  <a:pt x="3632459" y="5616304"/>
                  <a:pt x="3578565" y="5689447"/>
                </a:cubicBezTo>
                <a:cubicBezTo>
                  <a:pt x="3532370" y="5700995"/>
                  <a:pt x="3480401" y="5666349"/>
                  <a:pt x="3461153" y="5714469"/>
                </a:cubicBezTo>
                <a:cubicBezTo>
                  <a:pt x="3447679" y="5747190"/>
                  <a:pt x="3474626" y="5810708"/>
                  <a:pt x="3422657" y="5829956"/>
                </a:cubicBezTo>
                <a:cubicBezTo>
                  <a:pt x="3413033" y="5697146"/>
                  <a:pt x="3355289" y="5518140"/>
                  <a:pt x="3274448" y="5418051"/>
                </a:cubicBezTo>
                <a:cubicBezTo>
                  <a:pt x="3197457" y="5325661"/>
                  <a:pt x="3124316" y="5219798"/>
                  <a:pt x="3012678" y="5179378"/>
                </a:cubicBezTo>
                <a:cubicBezTo>
                  <a:pt x="3147412" y="5267918"/>
                  <a:pt x="3259050" y="5410352"/>
                  <a:pt x="3314869" y="5525840"/>
                </a:cubicBezTo>
                <a:cubicBezTo>
                  <a:pt x="3297546" y="5525840"/>
                  <a:pt x="3297546" y="5514291"/>
                  <a:pt x="3282147" y="5514291"/>
                </a:cubicBezTo>
                <a:cubicBezTo>
                  <a:pt x="3174360" y="5537388"/>
                  <a:pt x="3158961" y="5427675"/>
                  <a:pt x="3099293" y="5387255"/>
                </a:cubicBezTo>
                <a:cubicBezTo>
                  <a:pt x="3014602" y="5231347"/>
                  <a:pt x="2916438" y="5125483"/>
                  <a:pt x="2868318" y="4934930"/>
                </a:cubicBezTo>
                <a:cubicBezTo>
                  <a:pt x="2831747" y="4784796"/>
                  <a:pt x="2777853" y="4646211"/>
                  <a:pt x="2795176" y="4474905"/>
                </a:cubicBezTo>
                <a:cubicBezTo>
                  <a:pt x="2722034" y="4600017"/>
                  <a:pt x="2793253" y="4717429"/>
                  <a:pt x="2818274" y="4815593"/>
                </a:cubicBezTo>
                <a:cubicBezTo>
                  <a:pt x="2841371" y="5038868"/>
                  <a:pt x="2953009" y="5204400"/>
                  <a:pt x="3070421" y="5368007"/>
                </a:cubicBezTo>
                <a:cubicBezTo>
                  <a:pt x="3028076" y="5356458"/>
                  <a:pt x="3033850" y="5319887"/>
                  <a:pt x="3003053" y="5300639"/>
                </a:cubicBezTo>
                <a:cubicBezTo>
                  <a:pt x="2976106" y="5285241"/>
                  <a:pt x="2943385" y="5294865"/>
                  <a:pt x="2912588" y="5281391"/>
                </a:cubicBezTo>
                <a:cubicBezTo>
                  <a:pt x="2883716" y="5269843"/>
                  <a:pt x="2879867" y="5239046"/>
                  <a:pt x="2850995" y="5229422"/>
                </a:cubicBezTo>
                <a:cubicBezTo>
                  <a:pt x="2812500" y="5215949"/>
                  <a:pt x="2764380" y="5231347"/>
                  <a:pt x="2729733" y="5198626"/>
                </a:cubicBezTo>
                <a:cubicBezTo>
                  <a:pt x="2743207" y="5185152"/>
                  <a:pt x="2723959" y="5158205"/>
                  <a:pt x="2716260" y="5138957"/>
                </a:cubicBezTo>
                <a:cubicBezTo>
                  <a:pt x="2754756" y="4907983"/>
                  <a:pt x="2654667" y="4727052"/>
                  <a:pt x="2725885" y="4496078"/>
                </a:cubicBezTo>
                <a:cubicBezTo>
                  <a:pt x="2689313" y="4376741"/>
                  <a:pt x="2733583" y="4153466"/>
                  <a:pt x="2822123" y="4061076"/>
                </a:cubicBezTo>
                <a:cubicBezTo>
                  <a:pt x="2845221" y="4184262"/>
                  <a:pt x="2856770" y="4365192"/>
                  <a:pt x="2991505" y="4382516"/>
                </a:cubicBezTo>
                <a:cubicBezTo>
                  <a:pt x="3039624" y="4455658"/>
                  <a:pt x="3043475" y="4555746"/>
                  <a:pt x="3072346" y="4636588"/>
                </a:cubicBezTo>
                <a:cubicBezTo>
                  <a:pt x="3143563" y="4844465"/>
                  <a:pt x="3322568" y="4967651"/>
                  <a:pt x="3516971" y="5110085"/>
                </a:cubicBezTo>
                <a:cubicBezTo>
                  <a:pt x="3316794" y="4921456"/>
                  <a:pt x="3089669" y="4748225"/>
                  <a:pt x="3047323" y="4457582"/>
                </a:cubicBezTo>
                <a:cubicBezTo>
                  <a:pt x="3028076" y="4432560"/>
                  <a:pt x="3016527" y="4403688"/>
                  <a:pt x="3001129" y="4374816"/>
                </a:cubicBezTo>
                <a:cubicBezTo>
                  <a:pt x="2995354" y="4369042"/>
                  <a:pt x="2991505" y="4367117"/>
                  <a:pt x="2983805" y="4370967"/>
                </a:cubicBezTo>
                <a:cubicBezTo>
                  <a:pt x="2968408" y="4255480"/>
                  <a:pt x="2899115" y="4157315"/>
                  <a:pt x="2906814" y="4039903"/>
                </a:cubicBezTo>
                <a:cubicBezTo>
                  <a:pt x="2958783" y="4166939"/>
                  <a:pt x="2960708" y="4326697"/>
                  <a:pt x="3112766" y="4392140"/>
                </a:cubicBezTo>
                <a:cubicBezTo>
                  <a:pt x="3172435" y="4284351"/>
                  <a:pt x="3004978" y="4236232"/>
                  <a:pt x="2981881" y="4147691"/>
                </a:cubicBezTo>
                <a:cubicBezTo>
                  <a:pt x="3087745" y="4215059"/>
                  <a:pt x="3130089" y="4324772"/>
                  <a:pt x="3207081" y="4409463"/>
                </a:cubicBezTo>
                <a:cubicBezTo>
                  <a:pt x="3239802" y="4374816"/>
                  <a:pt x="3209005" y="4324772"/>
                  <a:pt x="3199383" y="4292051"/>
                </a:cubicBezTo>
                <a:cubicBezTo>
                  <a:pt x="3224404" y="4297825"/>
                  <a:pt x="3268674" y="4292051"/>
                  <a:pt x="3297546" y="4318998"/>
                </a:cubicBezTo>
                <a:cubicBezTo>
                  <a:pt x="3332192" y="4278577"/>
                  <a:pt x="3393785" y="4284351"/>
                  <a:pt x="3436130" y="4255480"/>
                </a:cubicBezTo>
                <a:cubicBezTo>
                  <a:pt x="3351440" y="4213134"/>
                  <a:pt x="3222479" y="4184262"/>
                  <a:pt x="3191683" y="4097647"/>
                </a:cubicBezTo>
                <a:cubicBezTo>
                  <a:pt x="3178209" y="4101496"/>
                  <a:pt x="3176284" y="4120744"/>
                  <a:pt x="3164736" y="4122669"/>
                </a:cubicBezTo>
                <a:cubicBezTo>
                  <a:pt x="3166660" y="4101496"/>
                  <a:pt x="3174360" y="4091872"/>
                  <a:pt x="3185908" y="4084173"/>
                </a:cubicBezTo>
                <a:cubicBezTo>
                  <a:pt x="3253276" y="4126519"/>
                  <a:pt x="3337966" y="4222758"/>
                  <a:pt x="3426507" y="4163090"/>
                </a:cubicBezTo>
                <a:cubicBezTo>
                  <a:pt x="3430356" y="4151541"/>
                  <a:pt x="3420732" y="4147691"/>
                  <a:pt x="3424582" y="4136143"/>
                </a:cubicBezTo>
                <a:cubicBezTo>
                  <a:pt x="3384161" y="4101496"/>
                  <a:pt x="3314869" y="4103421"/>
                  <a:pt x="3272524" y="4080324"/>
                </a:cubicBezTo>
                <a:cubicBezTo>
                  <a:pt x="3241727" y="4064926"/>
                  <a:pt x="3226329" y="4034129"/>
                  <a:pt x="3195532" y="4016806"/>
                </a:cubicBezTo>
                <a:cubicBezTo>
                  <a:pt x="3155113" y="3993708"/>
                  <a:pt x="3093519" y="3999483"/>
                  <a:pt x="3078120" y="3947513"/>
                </a:cubicBezTo>
                <a:cubicBezTo>
                  <a:pt x="3162812" y="3959062"/>
                  <a:pt x="3234028" y="4014881"/>
                  <a:pt x="3301395" y="4005257"/>
                </a:cubicBezTo>
                <a:cubicBezTo>
                  <a:pt x="3291771" y="4014881"/>
                  <a:pt x="3280224" y="4022580"/>
                  <a:pt x="3266749" y="4028354"/>
                </a:cubicBezTo>
                <a:cubicBezTo>
                  <a:pt x="3293697" y="4111120"/>
                  <a:pt x="3451529" y="4116895"/>
                  <a:pt x="3484250" y="4041828"/>
                </a:cubicBezTo>
                <a:cubicBezTo>
                  <a:pt x="3465002" y="4003332"/>
                  <a:pt x="3397635" y="4032204"/>
                  <a:pt x="3372612" y="4020655"/>
                </a:cubicBezTo>
                <a:cubicBezTo>
                  <a:pt x="3389936" y="4012956"/>
                  <a:pt x="3443830" y="4011031"/>
                  <a:pt x="3420732" y="3976385"/>
                </a:cubicBezTo>
                <a:cubicBezTo>
                  <a:pt x="3395710" y="3972536"/>
                  <a:pt x="3370688" y="3993708"/>
                  <a:pt x="3351440" y="3978310"/>
                </a:cubicBezTo>
                <a:cubicBezTo>
                  <a:pt x="3374538" y="3968686"/>
                  <a:pt x="3405334" y="3957137"/>
                  <a:pt x="3401484" y="3924416"/>
                </a:cubicBezTo>
                <a:cubicBezTo>
                  <a:pt x="3395710" y="3858973"/>
                  <a:pt x="3293697" y="3922491"/>
                  <a:pt x="3257125" y="3918642"/>
                </a:cubicBezTo>
                <a:cubicBezTo>
                  <a:pt x="3162812" y="3907093"/>
                  <a:pt x="3110841" y="3835876"/>
                  <a:pt x="3151262" y="3756959"/>
                </a:cubicBezTo>
                <a:cubicBezTo>
                  <a:pt x="3149337" y="3805079"/>
                  <a:pt x="3191683" y="3868597"/>
                  <a:pt x="3245577" y="3851274"/>
                </a:cubicBezTo>
                <a:cubicBezTo>
                  <a:pt x="3085819" y="3824327"/>
                  <a:pt x="3245577" y="3560631"/>
                  <a:pt x="3041549" y="3585653"/>
                </a:cubicBezTo>
                <a:cubicBezTo>
                  <a:pt x="3076195" y="3508662"/>
                  <a:pt x="3147412" y="3504812"/>
                  <a:pt x="3234028" y="3533684"/>
                </a:cubicBezTo>
                <a:cubicBezTo>
                  <a:pt x="3241727" y="3525985"/>
                  <a:pt x="3247501" y="3510587"/>
                  <a:pt x="3257125" y="3504812"/>
                </a:cubicBezTo>
                <a:cubicBezTo>
                  <a:pt x="3407259" y="3477865"/>
                  <a:pt x="3266749" y="3708840"/>
                  <a:pt x="3386086" y="3701140"/>
                </a:cubicBezTo>
                <a:cubicBezTo>
                  <a:pt x="3434206" y="3699216"/>
                  <a:pt x="3430356" y="3597202"/>
                  <a:pt x="3461153" y="3554857"/>
                </a:cubicBezTo>
                <a:cubicBezTo>
                  <a:pt x="3488100" y="3593353"/>
                  <a:pt x="3565091" y="3581804"/>
                  <a:pt x="3611286" y="3618375"/>
                </a:cubicBezTo>
                <a:cubicBezTo>
                  <a:pt x="3617061" y="3654946"/>
                  <a:pt x="3638233" y="3683818"/>
                  <a:pt x="3684428" y="3695366"/>
                </a:cubicBezTo>
                <a:cubicBezTo>
                  <a:pt x="3678654" y="3751185"/>
                  <a:pt x="3632459" y="3847424"/>
                  <a:pt x="3684428" y="3868597"/>
                </a:cubicBezTo>
                <a:cubicBezTo>
                  <a:pt x="3755645" y="3897469"/>
                  <a:pt x="3755645" y="3778132"/>
                  <a:pt x="3774893" y="3733862"/>
                </a:cubicBezTo>
                <a:cubicBezTo>
                  <a:pt x="3888456" y="3751185"/>
                  <a:pt x="3826862" y="3880146"/>
                  <a:pt x="3909628" y="3918642"/>
                </a:cubicBezTo>
                <a:cubicBezTo>
                  <a:pt x="3903854" y="3943664"/>
                  <a:pt x="3919252" y="3959062"/>
                  <a:pt x="3932726" y="3978310"/>
                </a:cubicBezTo>
                <a:cubicBezTo>
                  <a:pt x="3936575" y="3964837"/>
                  <a:pt x="3938500" y="3949438"/>
                  <a:pt x="3942350" y="3935965"/>
                </a:cubicBezTo>
                <a:cubicBezTo>
                  <a:pt x="3944275" y="3926341"/>
                  <a:pt x="3944275" y="3918642"/>
                  <a:pt x="3944275" y="3909018"/>
                </a:cubicBezTo>
                <a:cubicBezTo>
                  <a:pt x="3938500" y="3910943"/>
                  <a:pt x="3930801" y="3912867"/>
                  <a:pt x="3925027" y="3916717"/>
                </a:cubicBezTo>
                <a:cubicBezTo>
                  <a:pt x="3919252" y="3895544"/>
                  <a:pt x="3900004" y="3885920"/>
                  <a:pt x="3882681" y="3872447"/>
                </a:cubicBezTo>
                <a:cubicBezTo>
                  <a:pt x="3886531" y="3795455"/>
                  <a:pt x="3857659" y="3739636"/>
                  <a:pt x="3780668" y="3712689"/>
                </a:cubicBezTo>
                <a:cubicBezTo>
                  <a:pt x="3715225" y="3726163"/>
                  <a:pt x="3774893" y="3868597"/>
                  <a:pt x="3686353" y="3847424"/>
                </a:cubicBezTo>
                <a:cubicBezTo>
                  <a:pt x="3678654" y="3801230"/>
                  <a:pt x="3690202" y="3758884"/>
                  <a:pt x="3705601" y="3701140"/>
                </a:cubicBezTo>
                <a:cubicBezTo>
                  <a:pt x="3703676" y="3683818"/>
                  <a:pt x="3682503" y="3679968"/>
                  <a:pt x="3678654" y="3664570"/>
                </a:cubicBezTo>
                <a:cubicBezTo>
                  <a:pt x="3682503" y="3537534"/>
                  <a:pt x="3680578" y="3391250"/>
                  <a:pt x="3659406" y="3256515"/>
                </a:cubicBezTo>
                <a:cubicBezTo>
                  <a:pt x="3640158" y="3256515"/>
                  <a:pt x="3642083" y="3235342"/>
                  <a:pt x="3640158" y="3229568"/>
                </a:cubicBezTo>
                <a:cubicBezTo>
                  <a:pt x="3638233" y="3219944"/>
                  <a:pt x="3634384" y="3212245"/>
                  <a:pt x="3632459" y="3202621"/>
                </a:cubicBezTo>
                <a:cubicBezTo>
                  <a:pt x="3642083" y="3252665"/>
                  <a:pt x="3647857" y="3304634"/>
                  <a:pt x="3653632" y="3356604"/>
                </a:cubicBezTo>
                <a:cubicBezTo>
                  <a:pt x="3634384" y="3348905"/>
                  <a:pt x="3630534" y="3333506"/>
                  <a:pt x="3603587" y="3331581"/>
                </a:cubicBezTo>
                <a:cubicBezTo>
                  <a:pt x="3572791" y="3202621"/>
                  <a:pt x="3526595" y="3079442"/>
                  <a:pt x="3459228" y="2971670"/>
                </a:cubicBezTo>
                <a:cubicBezTo>
                  <a:pt x="3453454" y="2975520"/>
                  <a:pt x="3449604" y="2981292"/>
                  <a:pt x="3445754" y="2985141"/>
                </a:cubicBezTo>
                <a:cubicBezTo>
                  <a:pt x="3507348" y="3090989"/>
                  <a:pt x="3547768" y="3210320"/>
                  <a:pt x="3595888" y="3325807"/>
                </a:cubicBezTo>
                <a:cubicBezTo>
                  <a:pt x="3572791" y="3320033"/>
                  <a:pt x="3549693" y="3316183"/>
                  <a:pt x="3526595" y="3310409"/>
                </a:cubicBezTo>
                <a:cubicBezTo>
                  <a:pt x="3491949" y="3214169"/>
                  <a:pt x="3470777" y="3117934"/>
                  <a:pt x="3426507" y="3031330"/>
                </a:cubicBezTo>
                <a:cubicBezTo>
                  <a:pt x="3424582" y="3035178"/>
                  <a:pt x="3421695" y="3039027"/>
                  <a:pt x="3418086" y="3041432"/>
                </a:cubicBezTo>
                <a:lnTo>
                  <a:pt x="3410135" y="3042333"/>
                </a:lnTo>
                <a:lnTo>
                  <a:pt x="3442868" y="3098207"/>
                </a:lnTo>
                <a:cubicBezTo>
                  <a:pt x="3476070" y="3162206"/>
                  <a:pt x="3502536" y="3230530"/>
                  <a:pt x="3518897" y="3304634"/>
                </a:cubicBezTo>
                <a:cubicBezTo>
                  <a:pt x="3493875" y="3302709"/>
                  <a:pt x="3484251" y="3295010"/>
                  <a:pt x="3465003" y="3296935"/>
                </a:cubicBezTo>
                <a:cubicBezTo>
                  <a:pt x="3447679" y="3231492"/>
                  <a:pt x="3418807" y="3171830"/>
                  <a:pt x="3388011" y="3116008"/>
                </a:cubicBezTo>
                <a:cubicBezTo>
                  <a:pt x="3388011" y="3121783"/>
                  <a:pt x="3386086" y="3129482"/>
                  <a:pt x="3384161" y="3135255"/>
                </a:cubicBezTo>
                <a:cubicBezTo>
                  <a:pt x="3413033" y="3189154"/>
                  <a:pt x="3439980" y="3243041"/>
                  <a:pt x="3443830" y="3291161"/>
                </a:cubicBezTo>
                <a:cubicBezTo>
                  <a:pt x="3409184" y="3266139"/>
                  <a:pt x="3391860" y="3218019"/>
                  <a:pt x="3372612" y="3171830"/>
                </a:cubicBezTo>
                <a:cubicBezTo>
                  <a:pt x="3370688" y="3175680"/>
                  <a:pt x="3370688" y="3181455"/>
                  <a:pt x="3368764" y="3185305"/>
                </a:cubicBezTo>
                <a:cubicBezTo>
                  <a:pt x="3382236" y="3214169"/>
                  <a:pt x="3393785" y="3244966"/>
                  <a:pt x="3403409" y="3277687"/>
                </a:cubicBezTo>
                <a:cubicBezTo>
                  <a:pt x="3341816" y="3239191"/>
                  <a:pt x="3311019" y="3162206"/>
                  <a:pt x="3320643" y="3090989"/>
                </a:cubicBezTo>
                <a:cubicBezTo>
                  <a:pt x="3332192" y="3110236"/>
                  <a:pt x="3341816" y="3129482"/>
                  <a:pt x="3351440" y="3148730"/>
                </a:cubicBezTo>
                <a:cubicBezTo>
                  <a:pt x="3353365" y="3142955"/>
                  <a:pt x="3355289" y="3139105"/>
                  <a:pt x="3357214" y="3133331"/>
                </a:cubicBezTo>
                <a:cubicBezTo>
                  <a:pt x="3347590" y="3112160"/>
                  <a:pt x="3336042" y="3092914"/>
                  <a:pt x="3320643" y="3077516"/>
                </a:cubicBezTo>
                <a:cubicBezTo>
                  <a:pt x="3326418" y="3058270"/>
                  <a:pt x="3311019" y="3033253"/>
                  <a:pt x="3324494" y="3021706"/>
                </a:cubicBezTo>
                <a:cubicBezTo>
                  <a:pt x="3337966" y="3048649"/>
                  <a:pt x="3353365" y="3075592"/>
                  <a:pt x="3370688" y="3110236"/>
                </a:cubicBezTo>
                <a:cubicBezTo>
                  <a:pt x="3372612" y="3104461"/>
                  <a:pt x="3376462" y="3100612"/>
                  <a:pt x="3378387" y="3096764"/>
                </a:cubicBezTo>
                <a:cubicBezTo>
                  <a:pt x="3359139" y="3062121"/>
                  <a:pt x="3339891" y="3029405"/>
                  <a:pt x="3322568" y="2994763"/>
                </a:cubicBezTo>
                <a:cubicBezTo>
                  <a:pt x="3353365" y="3019782"/>
                  <a:pt x="3370688" y="3050573"/>
                  <a:pt x="3388011" y="3083292"/>
                </a:cubicBezTo>
                <a:lnTo>
                  <a:pt x="3394767" y="3076534"/>
                </a:lnTo>
                <a:lnTo>
                  <a:pt x="3395212" y="3080569"/>
                </a:lnTo>
                <a:lnTo>
                  <a:pt x="3393785" y="3094839"/>
                </a:lnTo>
                <a:cubicBezTo>
                  <a:pt x="3395710" y="3096764"/>
                  <a:pt x="3395710" y="3100612"/>
                  <a:pt x="3397635" y="3102536"/>
                </a:cubicBezTo>
                <a:lnTo>
                  <a:pt x="3395212" y="3080569"/>
                </a:lnTo>
                <a:lnTo>
                  <a:pt x="3395710" y="3075592"/>
                </a:lnTo>
                <a:lnTo>
                  <a:pt x="3394767" y="3076534"/>
                </a:lnTo>
                <a:lnTo>
                  <a:pt x="3394496" y="3074074"/>
                </a:lnTo>
                <a:cubicBezTo>
                  <a:pt x="3377575" y="3013137"/>
                  <a:pt x="3301155" y="2986824"/>
                  <a:pt x="3326418" y="2917784"/>
                </a:cubicBezTo>
                <a:cubicBezTo>
                  <a:pt x="3348072" y="2946171"/>
                  <a:pt x="3368885" y="2975278"/>
                  <a:pt x="3388432" y="3005288"/>
                </a:cubicBezTo>
                <a:lnTo>
                  <a:pt x="3406626" y="3036343"/>
                </a:lnTo>
                <a:lnTo>
                  <a:pt x="3409665" y="3020985"/>
                </a:lnTo>
                <a:cubicBezTo>
                  <a:pt x="3409183" y="3014490"/>
                  <a:pt x="3408221" y="3009197"/>
                  <a:pt x="3411108" y="3006310"/>
                </a:cubicBezTo>
                <a:cubicBezTo>
                  <a:pt x="3413033" y="3004384"/>
                  <a:pt x="3413033" y="3004384"/>
                  <a:pt x="3413033" y="3004384"/>
                </a:cubicBezTo>
                <a:cubicBezTo>
                  <a:pt x="3407259" y="2992838"/>
                  <a:pt x="3399560" y="2981292"/>
                  <a:pt x="3391860" y="2969744"/>
                </a:cubicBezTo>
                <a:cubicBezTo>
                  <a:pt x="3391860" y="2971670"/>
                  <a:pt x="3391860" y="2973594"/>
                  <a:pt x="3391860" y="2975520"/>
                </a:cubicBezTo>
                <a:cubicBezTo>
                  <a:pt x="3391860" y="2985141"/>
                  <a:pt x="3364913" y="2975520"/>
                  <a:pt x="3361065" y="2963971"/>
                </a:cubicBezTo>
                <a:cubicBezTo>
                  <a:pt x="3357214" y="2952425"/>
                  <a:pt x="3359139" y="2940877"/>
                  <a:pt x="3362988" y="2931255"/>
                </a:cubicBezTo>
                <a:cubicBezTo>
                  <a:pt x="3330268" y="2894692"/>
                  <a:pt x="3287922" y="2867749"/>
                  <a:pt x="3295621" y="2804240"/>
                </a:cubicBezTo>
                <a:cubicBezTo>
                  <a:pt x="3328343" y="2831183"/>
                  <a:pt x="3357214" y="2860051"/>
                  <a:pt x="3382236" y="2890841"/>
                </a:cubicBezTo>
                <a:cubicBezTo>
                  <a:pt x="3382236" y="2888917"/>
                  <a:pt x="3384161" y="2885068"/>
                  <a:pt x="3384161" y="2883144"/>
                </a:cubicBezTo>
                <a:cubicBezTo>
                  <a:pt x="3388011" y="2860051"/>
                  <a:pt x="3347590" y="2861975"/>
                  <a:pt x="3349515" y="2838881"/>
                </a:cubicBezTo>
                <a:cubicBezTo>
                  <a:pt x="3349515" y="2836956"/>
                  <a:pt x="3349515" y="2833107"/>
                  <a:pt x="3349515" y="2831183"/>
                </a:cubicBezTo>
                <a:cubicBezTo>
                  <a:pt x="3320643" y="2802318"/>
                  <a:pt x="3289847" y="2775373"/>
                  <a:pt x="3257125" y="2752279"/>
                </a:cubicBezTo>
                <a:cubicBezTo>
                  <a:pt x="3251351" y="2758055"/>
                  <a:pt x="3243653" y="2761902"/>
                  <a:pt x="3239802" y="2761902"/>
                </a:cubicBezTo>
                <a:cubicBezTo>
                  <a:pt x="3222479" y="2759978"/>
                  <a:pt x="3228253" y="2748431"/>
                  <a:pt x="3235953" y="2736883"/>
                </a:cubicBezTo>
                <a:cubicBezTo>
                  <a:pt x="3230178" y="2733035"/>
                  <a:pt x="3226329" y="2731110"/>
                  <a:pt x="3220554" y="2727262"/>
                </a:cubicBezTo>
                <a:cubicBezTo>
                  <a:pt x="3228253" y="2727262"/>
                  <a:pt x="3237877" y="2725338"/>
                  <a:pt x="3247501" y="2721488"/>
                </a:cubicBezTo>
                <a:cubicBezTo>
                  <a:pt x="3255201" y="2713791"/>
                  <a:pt x="3266749" y="2702242"/>
                  <a:pt x="3276373" y="2692620"/>
                </a:cubicBezTo>
                <a:cubicBezTo>
                  <a:pt x="3270599" y="2694543"/>
                  <a:pt x="3266749" y="2694543"/>
                  <a:pt x="3266749" y="2690696"/>
                </a:cubicBezTo>
                <a:cubicBezTo>
                  <a:pt x="3274448" y="2684920"/>
                  <a:pt x="3280224" y="2681073"/>
                  <a:pt x="3287922" y="2675300"/>
                </a:cubicBezTo>
                <a:cubicBezTo>
                  <a:pt x="3291771" y="2663754"/>
                  <a:pt x="3284072" y="2682996"/>
                  <a:pt x="3276373" y="2681073"/>
                </a:cubicBezTo>
                <a:cubicBezTo>
                  <a:pt x="3262900" y="2677224"/>
                  <a:pt x="3253276" y="2663754"/>
                  <a:pt x="3239802" y="2661824"/>
                </a:cubicBezTo>
                <a:cubicBezTo>
                  <a:pt x="3234028" y="2665675"/>
                  <a:pt x="3228253" y="2667602"/>
                  <a:pt x="3222479" y="2671449"/>
                </a:cubicBezTo>
                <a:cubicBezTo>
                  <a:pt x="3222479" y="2673376"/>
                  <a:pt x="3220554" y="2673376"/>
                  <a:pt x="3220554" y="2673376"/>
                </a:cubicBezTo>
                <a:cubicBezTo>
                  <a:pt x="3193607" y="2688771"/>
                  <a:pt x="3166660" y="2700318"/>
                  <a:pt x="3132014" y="2704168"/>
                </a:cubicBezTo>
                <a:cubicBezTo>
                  <a:pt x="3149337" y="2686847"/>
                  <a:pt x="3168586" y="2671449"/>
                  <a:pt x="3189758" y="2656053"/>
                </a:cubicBezTo>
                <a:cubicBezTo>
                  <a:pt x="3180134" y="2650281"/>
                  <a:pt x="3172435" y="2644506"/>
                  <a:pt x="3162812" y="2636801"/>
                </a:cubicBezTo>
                <a:cubicBezTo>
                  <a:pt x="3128164" y="2667602"/>
                  <a:pt x="3095443" y="2708015"/>
                  <a:pt x="3053098" y="2713791"/>
                </a:cubicBezTo>
                <a:cubicBezTo>
                  <a:pt x="3087745" y="2686847"/>
                  <a:pt x="3122390" y="2659901"/>
                  <a:pt x="3157036" y="2632957"/>
                </a:cubicBezTo>
                <a:cubicBezTo>
                  <a:pt x="3147412" y="2623338"/>
                  <a:pt x="3135864" y="2613707"/>
                  <a:pt x="3126240" y="2604083"/>
                </a:cubicBezTo>
                <a:cubicBezTo>
                  <a:pt x="3124316" y="2606012"/>
                  <a:pt x="3122390" y="2606012"/>
                  <a:pt x="3120465" y="2607937"/>
                </a:cubicBezTo>
                <a:cubicBezTo>
                  <a:pt x="3122390" y="2606012"/>
                  <a:pt x="3124316" y="2604083"/>
                  <a:pt x="3126240" y="2602161"/>
                </a:cubicBezTo>
                <a:cubicBezTo>
                  <a:pt x="3118542" y="2594463"/>
                  <a:pt x="3112766" y="2586770"/>
                  <a:pt x="3105067" y="2579072"/>
                </a:cubicBezTo>
                <a:cubicBezTo>
                  <a:pt x="3103142" y="2582922"/>
                  <a:pt x="3099293" y="2584848"/>
                  <a:pt x="3095443" y="2588694"/>
                </a:cubicBezTo>
                <a:cubicBezTo>
                  <a:pt x="3097368" y="2584848"/>
                  <a:pt x="3101218" y="2580995"/>
                  <a:pt x="3103142" y="2577142"/>
                </a:cubicBezTo>
                <a:cubicBezTo>
                  <a:pt x="3099293" y="2571367"/>
                  <a:pt x="3093519" y="2565597"/>
                  <a:pt x="3089669" y="2559819"/>
                </a:cubicBezTo>
                <a:cubicBezTo>
                  <a:pt x="3078120" y="2571367"/>
                  <a:pt x="3064646" y="2582922"/>
                  <a:pt x="3051173" y="2594463"/>
                </a:cubicBezTo>
                <a:cubicBezTo>
                  <a:pt x="3053098" y="2569444"/>
                  <a:pt x="3062722" y="2552123"/>
                  <a:pt x="3072346" y="2534807"/>
                </a:cubicBezTo>
                <a:cubicBezTo>
                  <a:pt x="3070421" y="2532882"/>
                  <a:pt x="3066571" y="2529033"/>
                  <a:pt x="3064646" y="2525181"/>
                </a:cubicBezTo>
                <a:cubicBezTo>
                  <a:pt x="3060797" y="2529033"/>
                  <a:pt x="3058872" y="2534807"/>
                  <a:pt x="3055022" y="2538654"/>
                </a:cubicBezTo>
                <a:cubicBezTo>
                  <a:pt x="3058872" y="2517487"/>
                  <a:pt x="3049249" y="2498232"/>
                  <a:pt x="3037699" y="2484750"/>
                </a:cubicBezTo>
                <a:cubicBezTo>
                  <a:pt x="3035775" y="2488613"/>
                  <a:pt x="3031925" y="2492459"/>
                  <a:pt x="3028076" y="2494388"/>
                </a:cubicBezTo>
                <a:cubicBezTo>
                  <a:pt x="3039624" y="2521333"/>
                  <a:pt x="3047323" y="2552123"/>
                  <a:pt x="3016527" y="2571367"/>
                </a:cubicBezTo>
                <a:cubicBezTo>
                  <a:pt x="3006903" y="2513634"/>
                  <a:pt x="2976106" y="2469367"/>
                  <a:pt x="2906814" y="2448183"/>
                </a:cubicBezTo>
                <a:cubicBezTo>
                  <a:pt x="2902964" y="2411583"/>
                  <a:pt x="2839446" y="2378880"/>
                  <a:pt x="2862544" y="2321170"/>
                </a:cubicBezTo>
                <a:cubicBezTo>
                  <a:pt x="2872168" y="2296162"/>
                  <a:pt x="2895265" y="2280758"/>
                  <a:pt x="2912588" y="2255727"/>
                </a:cubicBezTo>
                <a:cubicBezTo>
                  <a:pt x="2910663" y="2234548"/>
                  <a:pt x="2908739" y="2215291"/>
                  <a:pt x="2908739" y="2196041"/>
                </a:cubicBezTo>
                <a:cubicBezTo>
                  <a:pt x="2902964" y="2196041"/>
                  <a:pt x="2897190" y="2196041"/>
                  <a:pt x="2891416" y="2192189"/>
                </a:cubicBezTo>
                <a:cubicBezTo>
                  <a:pt x="2893341" y="2197965"/>
                  <a:pt x="2895265" y="2203742"/>
                  <a:pt x="2897190" y="2209518"/>
                </a:cubicBezTo>
                <a:cubicBezTo>
                  <a:pt x="2849070" y="2134432"/>
                  <a:pt x="2806726" y="2047763"/>
                  <a:pt x="2789402" y="1949640"/>
                </a:cubicBezTo>
                <a:cubicBezTo>
                  <a:pt x="2781703" y="1947715"/>
                  <a:pt x="2772079" y="1947715"/>
                  <a:pt x="2770154" y="1941942"/>
                </a:cubicBezTo>
                <a:cubicBezTo>
                  <a:pt x="2766304" y="1932319"/>
                  <a:pt x="2760530" y="1924620"/>
                  <a:pt x="2754756" y="1916921"/>
                </a:cubicBezTo>
                <a:cubicBezTo>
                  <a:pt x="2777853" y="2034289"/>
                  <a:pt x="2824048" y="2134432"/>
                  <a:pt x="2864469" y="2228772"/>
                </a:cubicBezTo>
                <a:cubicBezTo>
                  <a:pt x="2789402" y="2136351"/>
                  <a:pt x="2735508" y="2022740"/>
                  <a:pt x="2720110" y="1888052"/>
                </a:cubicBezTo>
                <a:cubicBezTo>
                  <a:pt x="2716260" y="1886126"/>
                  <a:pt x="2712412" y="1884202"/>
                  <a:pt x="2708561" y="1882277"/>
                </a:cubicBezTo>
                <a:cubicBezTo>
                  <a:pt x="2700862" y="1861106"/>
                  <a:pt x="2697012" y="1841858"/>
                  <a:pt x="2689313" y="1824536"/>
                </a:cubicBezTo>
                <a:cubicBezTo>
                  <a:pt x="2700862" y="1999649"/>
                  <a:pt x="2768230" y="2159458"/>
                  <a:pt x="2856770" y="2282683"/>
                </a:cubicBezTo>
                <a:cubicBezTo>
                  <a:pt x="2725885" y="2151757"/>
                  <a:pt x="2620021" y="1945791"/>
                  <a:pt x="2658516" y="1701349"/>
                </a:cubicBezTo>
                <a:cubicBezTo>
                  <a:pt x="2660441" y="1674399"/>
                  <a:pt x="2664291" y="1649379"/>
                  <a:pt x="2666215" y="1624354"/>
                </a:cubicBezTo>
                <a:cubicBezTo>
                  <a:pt x="2668140" y="1616654"/>
                  <a:pt x="2652742" y="1616654"/>
                  <a:pt x="2645043" y="1612806"/>
                </a:cubicBezTo>
                <a:cubicBezTo>
                  <a:pt x="2566127" y="1888052"/>
                  <a:pt x="2702787" y="2132505"/>
                  <a:pt x="2829822" y="2317320"/>
                </a:cubicBezTo>
                <a:cubicBezTo>
                  <a:pt x="2673915" y="2140205"/>
                  <a:pt x="2544954" y="1888052"/>
                  <a:pt x="2623870" y="1564686"/>
                </a:cubicBezTo>
                <a:cubicBezTo>
                  <a:pt x="2614246" y="1564686"/>
                  <a:pt x="2602697" y="1568537"/>
                  <a:pt x="2594998" y="1570461"/>
                </a:cubicBezTo>
                <a:cubicBezTo>
                  <a:pt x="2593073" y="1566611"/>
                  <a:pt x="2591149" y="1564686"/>
                  <a:pt x="2589224" y="1560837"/>
                </a:cubicBezTo>
                <a:cubicBezTo>
                  <a:pt x="2577675" y="1628205"/>
                  <a:pt x="2571901" y="1697498"/>
                  <a:pt x="2577675" y="1764862"/>
                </a:cubicBezTo>
                <a:cubicBezTo>
                  <a:pt x="2544954" y="1724449"/>
                  <a:pt x="2544954" y="1545438"/>
                  <a:pt x="2604622" y="1474223"/>
                </a:cubicBezTo>
                <a:cubicBezTo>
                  <a:pt x="2600774" y="1495396"/>
                  <a:pt x="2596923" y="1514642"/>
                  <a:pt x="2593073" y="1535814"/>
                </a:cubicBezTo>
                <a:cubicBezTo>
                  <a:pt x="2594998" y="1533891"/>
                  <a:pt x="2596923" y="1531965"/>
                  <a:pt x="2600774" y="1530041"/>
                </a:cubicBezTo>
                <a:cubicBezTo>
                  <a:pt x="2604622" y="1528116"/>
                  <a:pt x="2616171" y="1524266"/>
                  <a:pt x="2621945" y="1522342"/>
                </a:cubicBezTo>
                <a:cubicBezTo>
                  <a:pt x="2625795" y="1526192"/>
                  <a:pt x="2629645" y="1528116"/>
                  <a:pt x="2633494" y="1530041"/>
                </a:cubicBezTo>
                <a:cubicBezTo>
                  <a:pt x="2635419" y="1522342"/>
                  <a:pt x="2637345" y="1516568"/>
                  <a:pt x="2639269" y="1508867"/>
                </a:cubicBezTo>
                <a:cubicBezTo>
                  <a:pt x="2648892" y="1506944"/>
                  <a:pt x="2656592" y="1520417"/>
                  <a:pt x="2664291" y="1530041"/>
                </a:cubicBezTo>
                <a:cubicBezTo>
                  <a:pt x="2675839" y="1528116"/>
                  <a:pt x="2685463" y="1522342"/>
                  <a:pt x="2697012" y="1514642"/>
                </a:cubicBezTo>
                <a:cubicBezTo>
                  <a:pt x="2698937" y="1514642"/>
                  <a:pt x="2700862" y="1512717"/>
                  <a:pt x="2702787" y="1510793"/>
                </a:cubicBezTo>
                <a:cubicBezTo>
                  <a:pt x="2698937" y="1503094"/>
                  <a:pt x="2693163" y="1497320"/>
                  <a:pt x="2687389" y="1493470"/>
                </a:cubicBezTo>
                <a:cubicBezTo>
                  <a:pt x="2698937" y="1489622"/>
                  <a:pt x="2708561" y="1483846"/>
                  <a:pt x="2718185" y="1478073"/>
                </a:cubicBezTo>
                <a:cubicBezTo>
                  <a:pt x="2718185" y="1474223"/>
                  <a:pt x="2716260" y="1472299"/>
                  <a:pt x="2714335" y="1468449"/>
                </a:cubicBezTo>
                <a:cubicBezTo>
                  <a:pt x="2708561" y="1460750"/>
                  <a:pt x="2697012" y="1462674"/>
                  <a:pt x="2687389" y="1460750"/>
                </a:cubicBezTo>
                <a:cubicBezTo>
                  <a:pt x="2677764" y="1466525"/>
                  <a:pt x="2670065" y="1474223"/>
                  <a:pt x="2660441" y="1478073"/>
                </a:cubicBezTo>
                <a:cubicBezTo>
                  <a:pt x="2668140" y="1472299"/>
                  <a:pt x="2673915" y="1464599"/>
                  <a:pt x="2679689" y="1456900"/>
                </a:cubicBezTo>
                <a:cubicBezTo>
                  <a:pt x="2677764" y="1454974"/>
                  <a:pt x="2675839" y="1453052"/>
                  <a:pt x="2673915" y="1451127"/>
                </a:cubicBezTo>
                <a:cubicBezTo>
                  <a:pt x="2670065" y="1445351"/>
                  <a:pt x="2677764" y="1431878"/>
                  <a:pt x="2685463" y="1431878"/>
                </a:cubicBezTo>
                <a:cubicBezTo>
                  <a:pt x="2689313" y="1431878"/>
                  <a:pt x="2693163" y="1431878"/>
                  <a:pt x="2697012" y="1431878"/>
                </a:cubicBezTo>
                <a:cubicBezTo>
                  <a:pt x="2729733" y="1379912"/>
                  <a:pt x="2760530" y="1312546"/>
                  <a:pt x="2795176" y="1264428"/>
                </a:cubicBezTo>
                <a:cubicBezTo>
                  <a:pt x="2795176" y="1258654"/>
                  <a:pt x="2795176" y="1250955"/>
                  <a:pt x="2795176" y="1245181"/>
                </a:cubicBezTo>
                <a:cubicBezTo>
                  <a:pt x="2795176" y="1237482"/>
                  <a:pt x="2799026" y="1227858"/>
                  <a:pt x="2808650" y="1227858"/>
                </a:cubicBezTo>
                <a:cubicBezTo>
                  <a:pt x="2814424" y="1227858"/>
                  <a:pt x="2818274" y="1231708"/>
                  <a:pt x="2820198" y="1233633"/>
                </a:cubicBezTo>
                <a:cubicBezTo>
                  <a:pt x="2829822" y="1224009"/>
                  <a:pt x="2839446" y="1216310"/>
                  <a:pt x="2849070" y="1210536"/>
                </a:cubicBezTo>
                <a:cubicBezTo>
                  <a:pt x="2839446" y="1222085"/>
                  <a:pt x="2831747" y="1233633"/>
                  <a:pt x="2824048" y="1247105"/>
                </a:cubicBezTo>
                <a:cubicBezTo>
                  <a:pt x="2824048" y="1249030"/>
                  <a:pt x="2824048" y="1250955"/>
                  <a:pt x="2824048" y="1252880"/>
                </a:cubicBezTo>
                <a:cubicBezTo>
                  <a:pt x="2827898" y="1277901"/>
                  <a:pt x="2820198" y="1299074"/>
                  <a:pt x="2824048" y="1314471"/>
                </a:cubicBezTo>
                <a:cubicBezTo>
                  <a:pt x="2825973" y="1314471"/>
                  <a:pt x="2825973" y="1316396"/>
                  <a:pt x="2825973" y="1316396"/>
                </a:cubicBezTo>
                <a:cubicBezTo>
                  <a:pt x="2833672" y="1300998"/>
                  <a:pt x="2841371" y="1287525"/>
                  <a:pt x="2847146" y="1274051"/>
                </a:cubicBezTo>
                <a:cubicBezTo>
                  <a:pt x="2839446" y="1272127"/>
                  <a:pt x="2841371" y="1287525"/>
                  <a:pt x="2831747" y="1283675"/>
                </a:cubicBezTo>
                <a:cubicBezTo>
                  <a:pt x="2858694" y="1229783"/>
                  <a:pt x="2887567" y="1173966"/>
                  <a:pt x="2914513" y="1118149"/>
                </a:cubicBezTo>
                <a:cubicBezTo>
                  <a:pt x="2918364" y="1089279"/>
                  <a:pt x="2927987" y="1066181"/>
                  <a:pt x="2941460" y="1046932"/>
                </a:cubicBezTo>
                <a:cubicBezTo>
                  <a:pt x="2953009" y="1031534"/>
                  <a:pt x="2949159" y="1012285"/>
                  <a:pt x="2951084" y="996887"/>
                </a:cubicBezTo>
                <a:cubicBezTo>
                  <a:pt x="2922212" y="1062331"/>
                  <a:pt x="2891416" y="1127773"/>
                  <a:pt x="2856770" y="1185515"/>
                </a:cubicBezTo>
                <a:cubicBezTo>
                  <a:pt x="2864469" y="1147020"/>
                  <a:pt x="2854845" y="1120074"/>
                  <a:pt x="2837523" y="1098903"/>
                </a:cubicBezTo>
                <a:cubicBezTo>
                  <a:pt x="2933761" y="931441"/>
                  <a:pt x="2997279" y="713921"/>
                  <a:pt x="3078120" y="519520"/>
                </a:cubicBezTo>
                <a:cubicBezTo>
                  <a:pt x="3078120" y="529143"/>
                  <a:pt x="3064646" y="546467"/>
                  <a:pt x="3080045" y="546467"/>
                </a:cubicBezTo>
                <a:cubicBezTo>
                  <a:pt x="3105067" y="427131"/>
                  <a:pt x="3133939" y="315494"/>
                  <a:pt x="3212855" y="278923"/>
                </a:cubicBezTo>
                <a:cubicBezTo>
                  <a:pt x="3191683" y="371312"/>
                  <a:pt x="3149337" y="463701"/>
                  <a:pt x="3132014" y="544542"/>
                </a:cubicBezTo>
                <a:cubicBezTo>
                  <a:pt x="3212855" y="459851"/>
                  <a:pt x="3205157" y="240427"/>
                  <a:pt x="3303320" y="182685"/>
                </a:cubicBezTo>
                <a:cubicBezTo>
                  <a:pt x="3293697" y="302021"/>
                  <a:pt x="3214780" y="421356"/>
                  <a:pt x="3228253" y="502196"/>
                </a:cubicBezTo>
                <a:cubicBezTo>
                  <a:pt x="3291771" y="380936"/>
                  <a:pt x="3285997" y="149963"/>
                  <a:pt x="3401484" y="109544"/>
                </a:cubicBezTo>
                <a:cubicBezTo>
                  <a:pt x="3362988" y="184609"/>
                  <a:pt x="3337966" y="340515"/>
                  <a:pt x="3312944" y="446378"/>
                </a:cubicBezTo>
                <a:cubicBezTo>
                  <a:pt x="3357214" y="353989"/>
                  <a:pt x="3397635" y="207707"/>
                  <a:pt x="3411108" y="101845"/>
                </a:cubicBezTo>
                <a:cubicBezTo>
                  <a:pt x="3485213" y="51319"/>
                  <a:pt x="3568159" y="-3627"/>
                  <a:pt x="3671553" y="188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rtlCol="0" anchor="ctr">
            <a:noAutofit/>
          </a:bodyPr>
          <a:lstStyle>
            <a:lvl1pPr marL="0" indent="0" algn="ctr">
              <a:buNone/>
              <a:defRPr sz="12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rtl="0"/>
            <a:r>
              <a:rPr lang="pt-BR" noProof="0"/>
              <a:t>Insira ou Arraste e Solte sua foto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C9980B88-3F4A-4688-9ED0-17EF37E62D9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836402" y="4834783"/>
            <a:ext cx="3638852" cy="999487"/>
          </a:xfrm>
        </p:spPr>
        <p:txBody>
          <a:bodyPr rtlCol="0"/>
          <a:lstStyle>
            <a:lvl1pPr marL="0" indent="0" algn="l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rtl="0"/>
            <a:r>
              <a:rPr lang="pt-BR" noProof="0"/>
              <a:t>Clique para editar o estilo de subtítulo Mestre</a:t>
            </a:r>
          </a:p>
        </p:txBody>
      </p:sp>
    </p:spTree>
    <p:extLst>
      <p:ext uri="{BB962C8B-B14F-4D97-AF65-F5344CB8AC3E}">
        <p14:creationId xmlns:p14="http://schemas.microsoft.com/office/powerpoint/2010/main" val="18202728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s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>
            <a:extLst>
              <a:ext uri="{FF2B5EF4-FFF2-40B4-BE49-F238E27FC236}">
                <a16:creationId xmlns:a16="http://schemas.microsoft.com/office/drawing/2014/main" id="{ED68BF6F-5C35-4924-B7B1-6919E7B73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0"/>
            <a:ext cx="5105400" cy="6858000"/>
          </a:xfrm>
          <a:solidFill>
            <a:schemeClr val="bg1">
              <a:lumMod val="95000"/>
              <a:alpha val="50000"/>
            </a:schemeClr>
          </a:solidFill>
        </p:spPr>
        <p:txBody>
          <a:bodyPr vert="horz" lIns="720000" tIns="0" rIns="108000" bIns="2160000" rtlCol="0" anchor="b">
            <a:noAutofit/>
          </a:bodyPr>
          <a:lstStyle>
            <a:lvl1pPr>
              <a:defRPr lang="en-ZA" sz="5000" b="0">
                <a:ea typeface="+mn-ea"/>
                <a:cs typeface="+mn-cs"/>
              </a:defRPr>
            </a:lvl1pPr>
          </a:lstStyle>
          <a:p>
            <a:pPr marL="0" lvl="0" indent="0" rtl="0">
              <a:spcBef>
                <a:spcPts val="1000"/>
              </a:spcBef>
              <a:buClr>
                <a:schemeClr val="accent1"/>
              </a:buClr>
              <a:buFont typeface="Corbel" panose="020B0503020204020204" pitchFamily="34" charset="0"/>
            </a:pPr>
            <a:r>
              <a:rPr lang="pt-BR" noProof="0"/>
              <a:t>Clique para editar o estilo do título Mestre</a:t>
            </a:r>
          </a:p>
        </p:txBody>
      </p:sp>
      <p:sp>
        <p:nvSpPr>
          <p:cNvPr id="2" name="Espaço Reservado para Rodapé 1">
            <a:extLst>
              <a:ext uri="{FF2B5EF4-FFF2-40B4-BE49-F238E27FC236}">
                <a16:creationId xmlns:a16="http://schemas.microsoft.com/office/drawing/2014/main" id="{5CE5A980-FABB-4492-BC75-FA1774A3670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 rtlCol="0"/>
          <a:lstStyle/>
          <a:p>
            <a:pPr rtl="0"/>
            <a:r>
              <a:rPr lang="pt-BR" noProof="0"/>
              <a:t>Adicionar um rodapé</a:t>
            </a:r>
          </a:p>
        </p:txBody>
      </p:sp>
      <p:sp>
        <p:nvSpPr>
          <p:cNvPr id="4" name="Espaço reservado para o número do slide 3">
            <a:extLst>
              <a:ext uri="{FF2B5EF4-FFF2-40B4-BE49-F238E27FC236}">
                <a16:creationId xmlns:a16="http://schemas.microsoft.com/office/drawing/2014/main" id="{B1D58676-E85F-4F30-B1F4-2521D409739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/>
          <a:p>
            <a:pPr rtl="0"/>
            <a:fld id="{19B51A1E-902D-48AF-9020-955120F399B6}" type="slidenum">
              <a:rPr lang="pt-BR" noProof="0" smtClean="0"/>
              <a:pPr rtl="0"/>
              <a:t>‹nº›</a:t>
            </a:fld>
            <a:endParaRPr lang="pt-BR" noProof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C9980B88-3F4A-4688-9ED0-17EF37E62D9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9802" y="4834783"/>
            <a:ext cx="3638852" cy="999487"/>
          </a:xfrm>
        </p:spPr>
        <p:txBody>
          <a:bodyPr rtlCol="0"/>
          <a:lstStyle>
            <a:lvl1pPr marL="0" indent="0" algn="l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rtl="0"/>
            <a:r>
              <a:rPr lang="pt-BR" noProof="0"/>
              <a:t>Clique para editar o estilo de subtítulo Mestre</a:t>
            </a:r>
          </a:p>
        </p:txBody>
      </p:sp>
      <p:sp>
        <p:nvSpPr>
          <p:cNvPr id="7" name="Espaço Reservado para Imagem 6">
            <a:extLst>
              <a:ext uri="{FF2B5EF4-FFF2-40B4-BE49-F238E27FC236}">
                <a16:creationId xmlns:a16="http://schemas.microsoft.com/office/drawing/2014/main" id="{DD9FCD07-66E2-4422-84E3-2F1BCAD8963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244004" y="427529"/>
            <a:ext cx="6832795" cy="5536095"/>
          </a:xfrm>
          <a:custGeom>
            <a:avLst/>
            <a:gdLst>
              <a:gd name="connsiteX0" fmla="*/ 4399243 w 8267681"/>
              <a:gd name="connsiteY0" fmla="*/ 6517819 h 6698675"/>
              <a:gd name="connsiteX1" fmla="*/ 4394545 w 8267681"/>
              <a:gd name="connsiteY1" fmla="*/ 6538957 h 6698675"/>
              <a:gd name="connsiteX2" fmla="*/ 4399243 w 8267681"/>
              <a:gd name="connsiteY2" fmla="*/ 6517819 h 6698675"/>
              <a:gd name="connsiteX3" fmla="*/ 4660902 w 8267681"/>
              <a:gd name="connsiteY3" fmla="*/ 6379855 h 6698675"/>
              <a:gd name="connsiteX4" fmla="*/ 4664655 w 8267681"/>
              <a:gd name="connsiteY4" fmla="*/ 6393334 h 6698675"/>
              <a:gd name="connsiteX5" fmla="*/ 4660839 w 8267681"/>
              <a:gd name="connsiteY5" fmla="*/ 6380416 h 6698675"/>
              <a:gd name="connsiteX6" fmla="*/ 4624726 w 8267681"/>
              <a:gd name="connsiteY6" fmla="*/ 6351055 h 6698675"/>
              <a:gd name="connsiteX7" fmla="*/ 4631772 w 8267681"/>
              <a:gd name="connsiteY7" fmla="*/ 6355753 h 6698675"/>
              <a:gd name="connsiteX8" fmla="*/ 4624726 w 8267681"/>
              <a:gd name="connsiteY8" fmla="*/ 6351055 h 6698675"/>
              <a:gd name="connsiteX9" fmla="*/ 3985859 w 8267681"/>
              <a:gd name="connsiteY9" fmla="*/ 6238313 h 6698675"/>
              <a:gd name="connsiteX10" fmla="*/ 3985859 w 8267681"/>
              <a:gd name="connsiteY10" fmla="*/ 6245360 h 6698675"/>
              <a:gd name="connsiteX11" fmla="*/ 3985859 w 8267681"/>
              <a:gd name="connsiteY11" fmla="*/ 6238313 h 6698675"/>
              <a:gd name="connsiteX12" fmla="*/ 4594220 w 8267681"/>
              <a:gd name="connsiteY12" fmla="*/ 6237839 h 6698675"/>
              <a:gd name="connsiteX13" fmla="*/ 4594192 w 8267681"/>
              <a:gd name="connsiteY13" fmla="*/ 6238314 h 6698675"/>
              <a:gd name="connsiteX14" fmla="*/ 4594122 w 8267681"/>
              <a:gd name="connsiteY14" fmla="*/ 6237859 h 6698675"/>
              <a:gd name="connsiteX15" fmla="*/ 4375755 w 8267681"/>
              <a:gd name="connsiteY15" fmla="*/ 6224221 h 6698675"/>
              <a:gd name="connsiteX16" fmla="*/ 4371057 w 8267681"/>
              <a:gd name="connsiteY16" fmla="*/ 6243011 h 6698675"/>
              <a:gd name="connsiteX17" fmla="*/ 4375755 w 8267681"/>
              <a:gd name="connsiteY17" fmla="*/ 6224221 h 6698675"/>
              <a:gd name="connsiteX18" fmla="*/ 4650562 w 8267681"/>
              <a:gd name="connsiteY18" fmla="*/ 6214826 h 6698675"/>
              <a:gd name="connsiteX19" fmla="*/ 4730421 w 8267681"/>
              <a:gd name="connsiteY19" fmla="*/ 6348707 h 6698675"/>
              <a:gd name="connsiteX20" fmla="*/ 4650562 w 8267681"/>
              <a:gd name="connsiteY20" fmla="*/ 6214826 h 6698675"/>
              <a:gd name="connsiteX21" fmla="*/ 4676399 w 8267681"/>
              <a:gd name="connsiteY21" fmla="*/ 6212478 h 6698675"/>
              <a:gd name="connsiteX22" fmla="*/ 4716328 w 8267681"/>
              <a:gd name="connsiteY22" fmla="*/ 6287639 h 6698675"/>
              <a:gd name="connsiteX23" fmla="*/ 4676399 w 8267681"/>
              <a:gd name="connsiteY23" fmla="*/ 6212478 h 6698675"/>
              <a:gd name="connsiteX24" fmla="*/ 4608285 w 8267681"/>
              <a:gd name="connsiteY24" fmla="*/ 6210129 h 6698675"/>
              <a:gd name="connsiteX25" fmla="*/ 4610633 w 8267681"/>
              <a:gd name="connsiteY25" fmla="*/ 6235966 h 6698675"/>
              <a:gd name="connsiteX26" fmla="*/ 4612982 w 8267681"/>
              <a:gd name="connsiteY26" fmla="*/ 6217175 h 6698675"/>
              <a:gd name="connsiteX27" fmla="*/ 4608285 w 8267681"/>
              <a:gd name="connsiteY27" fmla="*/ 6210129 h 6698675"/>
              <a:gd name="connsiteX28" fmla="*/ 3082312 w 8267681"/>
              <a:gd name="connsiteY28" fmla="*/ 6207988 h 6698675"/>
              <a:gd name="connsiteX29" fmla="*/ 3081580 w 8267681"/>
              <a:gd name="connsiteY29" fmla="*/ 6214825 h 6698675"/>
              <a:gd name="connsiteX30" fmla="*/ 3081286 w 8267681"/>
              <a:gd name="connsiteY30" fmla="*/ 6211009 h 6698675"/>
              <a:gd name="connsiteX31" fmla="*/ 3082403 w 8267681"/>
              <a:gd name="connsiteY31" fmla="*/ 6207139 h 6698675"/>
              <a:gd name="connsiteX32" fmla="*/ 3082570 w 8267681"/>
              <a:gd name="connsiteY32" fmla="*/ 6207229 h 6698675"/>
              <a:gd name="connsiteX33" fmla="*/ 3082312 w 8267681"/>
              <a:gd name="connsiteY33" fmla="*/ 6207988 h 6698675"/>
              <a:gd name="connsiteX34" fmla="*/ 4690492 w 8267681"/>
              <a:gd name="connsiteY34" fmla="*/ 6196036 h 6698675"/>
              <a:gd name="connsiteX35" fmla="*/ 4784443 w 8267681"/>
              <a:gd name="connsiteY35" fmla="*/ 6308777 h 6698675"/>
              <a:gd name="connsiteX36" fmla="*/ 4782094 w 8267681"/>
              <a:gd name="connsiteY36" fmla="*/ 6322870 h 6698675"/>
              <a:gd name="connsiteX37" fmla="*/ 4690492 w 8267681"/>
              <a:gd name="connsiteY37" fmla="*/ 6196036 h 6698675"/>
              <a:gd name="connsiteX38" fmla="*/ 4709282 w 8267681"/>
              <a:gd name="connsiteY38" fmla="*/ 6158455 h 6698675"/>
              <a:gd name="connsiteX39" fmla="*/ 4742165 w 8267681"/>
              <a:gd name="connsiteY39" fmla="*/ 6198385 h 6698675"/>
              <a:gd name="connsiteX40" fmla="*/ 4796187 w 8267681"/>
              <a:gd name="connsiteY40" fmla="*/ 6261801 h 6698675"/>
              <a:gd name="connsiteX41" fmla="*/ 4709282 w 8267681"/>
              <a:gd name="connsiteY41" fmla="*/ 6158455 h 6698675"/>
              <a:gd name="connsiteX42" fmla="*/ 3949728 w 8267681"/>
              <a:gd name="connsiteY42" fmla="*/ 6154009 h 6698675"/>
              <a:gd name="connsiteX43" fmla="*/ 3956288 w 8267681"/>
              <a:gd name="connsiteY43" fmla="*/ 6156469 h 6698675"/>
              <a:gd name="connsiteX44" fmla="*/ 3952976 w 8267681"/>
              <a:gd name="connsiteY44" fmla="*/ 6158456 h 6698675"/>
              <a:gd name="connsiteX45" fmla="*/ 3948572 w 8267681"/>
              <a:gd name="connsiteY45" fmla="*/ 6154933 h 6698675"/>
              <a:gd name="connsiteX46" fmla="*/ 4584797 w 8267681"/>
              <a:gd name="connsiteY46" fmla="*/ 6151410 h 6698675"/>
              <a:gd name="connsiteX47" fmla="*/ 4580099 w 8267681"/>
              <a:gd name="connsiteY47" fmla="*/ 6153759 h 6698675"/>
              <a:gd name="connsiteX48" fmla="*/ 4582448 w 8267681"/>
              <a:gd name="connsiteY48" fmla="*/ 6174898 h 6698675"/>
              <a:gd name="connsiteX49" fmla="*/ 4584797 w 8267681"/>
              <a:gd name="connsiteY49" fmla="*/ 6151410 h 6698675"/>
              <a:gd name="connsiteX50" fmla="*/ 3833188 w 8267681"/>
              <a:gd name="connsiteY50" fmla="*/ 6130270 h 6698675"/>
              <a:gd name="connsiteX51" fmla="*/ 3835536 w 8267681"/>
              <a:gd name="connsiteY51" fmla="*/ 6142014 h 6698675"/>
              <a:gd name="connsiteX52" fmla="*/ 3833188 w 8267681"/>
              <a:gd name="connsiteY52" fmla="*/ 6130270 h 6698675"/>
              <a:gd name="connsiteX53" fmla="*/ 3095672 w 8267681"/>
              <a:gd name="connsiteY53" fmla="*/ 6097386 h 6698675"/>
              <a:gd name="connsiteX54" fmla="*/ 3095672 w 8267681"/>
              <a:gd name="connsiteY54" fmla="*/ 6184291 h 6698675"/>
              <a:gd name="connsiteX55" fmla="*/ 3102719 w 8267681"/>
              <a:gd name="connsiteY55" fmla="*/ 6142014 h 6698675"/>
              <a:gd name="connsiteX56" fmla="*/ 3095672 w 8267681"/>
              <a:gd name="connsiteY56" fmla="*/ 6097386 h 6698675"/>
              <a:gd name="connsiteX57" fmla="*/ 6538980 w 8267681"/>
              <a:gd name="connsiteY57" fmla="*/ 6085643 h 6698675"/>
              <a:gd name="connsiteX58" fmla="*/ 6719837 w 8267681"/>
              <a:gd name="connsiteY58" fmla="*/ 6226570 h 6698675"/>
              <a:gd name="connsiteX59" fmla="*/ 6553073 w 8267681"/>
              <a:gd name="connsiteY59" fmla="*/ 6102085 h 6698675"/>
              <a:gd name="connsiteX60" fmla="*/ 6625886 w 8267681"/>
              <a:gd name="connsiteY60" fmla="*/ 6336963 h 6698675"/>
              <a:gd name="connsiteX61" fmla="*/ 6562468 w 8267681"/>
              <a:gd name="connsiteY61" fmla="*/ 6116178 h 6698675"/>
              <a:gd name="connsiteX62" fmla="*/ 6689303 w 8267681"/>
              <a:gd name="connsiteY62" fmla="*/ 6224222 h 6698675"/>
              <a:gd name="connsiteX63" fmla="*/ 6588305 w 8267681"/>
              <a:gd name="connsiteY63" fmla="*/ 6142014 h 6698675"/>
              <a:gd name="connsiteX64" fmla="*/ 6703396 w 8267681"/>
              <a:gd name="connsiteY64" fmla="*/ 6292336 h 6698675"/>
              <a:gd name="connsiteX65" fmla="*/ 6614141 w 8267681"/>
              <a:gd name="connsiteY65" fmla="*/ 6193687 h 6698675"/>
              <a:gd name="connsiteX66" fmla="*/ 6656420 w 8267681"/>
              <a:gd name="connsiteY66" fmla="*/ 6320521 h 6698675"/>
              <a:gd name="connsiteX67" fmla="*/ 6651723 w 8267681"/>
              <a:gd name="connsiteY67" fmla="*/ 6308777 h 6698675"/>
              <a:gd name="connsiteX68" fmla="*/ 6658769 w 8267681"/>
              <a:gd name="connsiteY68" fmla="*/ 6344009 h 6698675"/>
              <a:gd name="connsiteX69" fmla="*/ 6658769 w 8267681"/>
              <a:gd name="connsiteY69" fmla="*/ 6329917 h 6698675"/>
              <a:gd name="connsiteX70" fmla="*/ 6679908 w 8267681"/>
              <a:gd name="connsiteY70" fmla="*/ 6393333 h 6698675"/>
              <a:gd name="connsiteX71" fmla="*/ 6670513 w 8267681"/>
              <a:gd name="connsiteY71" fmla="*/ 6362799 h 6698675"/>
              <a:gd name="connsiteX72" fmla="*/ 6609443 w 8267681"/>
              <a:gd name="connsiteY72" fmla="*/ 6228919 h 6698675"/>
              <a:gd name="connsiteX73" fmla="*/ 6686955 w 8267681"/>
              <a:gd name="connsiteY73" fmla="*/ 6414472 h 6698675"/>
              <a:gd name="connsiteX74" fmla="*/ 6691652 w 8267681"/>
              <a:gd name="connsiteY74" fmla="*/ 6412124 h 6698675"/>
              <a:gd name="connsiteX75" fmla="*/ 6701047 w 8267681"/>
              <a:gd name="connsiteY75" fmla="*/ 6435612 h 6698675"/>
              <a:gd name="connsiteX76" fmla="*/ 6538980 w 8267681"/>
              <a:gd name="connsiteY76" fmla="*/ 6085643 h 6698675"/>
              <a:gd name="connsiteX77" fmla="*/ 4450916 w 8267681"/>
              <a:gd name="connsiteY77" fmla="*/ 6085643 h 6698675"/>
              <a:gd name="connsiteX78" fmla="*/ 4462660 w 8267681"/>
              <a:gd name="connsiteY78" fmla="*/ 6149060 h 6698675"/>
              <a:gd name="connsiteX79" fmla="*/ 4490845 w 8267681"/>
              <a:gd name="connsiteY79" fmla="*/ 6130270 h 6698675"/>
              <a:gd name="connsiteX80" fmla="*/ 4511984 w 8267681"/>
              <a:gd name="connsiteY80" fmla="*/ 6212478 h 6698675"/>
              <a:gd name="connsiteX81" fmla="*/ 4415684 w 8267681"/>
              <a:gd name="connsiteY81" fmla="*/ 6134968 h 6698675"/>
              <a:gd name="connsiteX82" fmla="*/ 4450916 w 8267681"/>
              <a:gd name="connsiteY82" fmla="*/ 6085643 h 6698675"/>
              <a:gd name="connsiteX83" fmla="*/ 6517841 w 8267681"/>
              <a:gd name="connsiteY83" fmla="*/ 6057458 h 6698675"/>
              <a:gd name="connsiteX84" fmla="*/ 6616490 w 8267681"/>
              <a:gd name="connsiteY84" fmla="*/ 6111480 h 6698675"/>
              <a:gd name="connsiteX85" fmla="*/ 6705743 w 8267681"/>
              <a:gd name="connsiteY85" fmla="*/ 6172548 h 6698675"/>
              <a:gd name="connsiteX86" fmla="*/ 6752719 w 8267681"/>
              <a:gd name="connsiteY86" fmla="*/ 6257104 h 6698675"/>
              <a:gd name="connsiteX87" fmla="*/ 6731580 w 8267681"/>
              <a:gd name="connsiteY87" fmla="*/ 6226570 h 6698675"/>
              <a:gd name="connsiteX88" fmla="*/ 6731580 w 8267681"/>
              <a:gd name="connsiteY88" fmla="*/ 6292336 h 6698675"/>
              <a:gd name="connsiteX89" fmla="*/ 6724534 w 8267681"/>
              <a:gd name="connsiteY89" fmla="*/ 6240663 h 6698675"/>
              <a:gd name="connsiteX90" fmla="*/ 6689302 w 8267681"/>
              <a:gd name="connsiteY90" fmla="*/ 6165502 h 6698675"/>
              <a:gd name="connsiteX91" fmla="*/ 6531934 w 8267681"/>
              <a:gd name="connsiteY91" fmla="*/ 6073899 h 6698675"/>
              <a:gd name="connsiteX92" fmla="*/ 6628234 w 8267681"/>
              <a:gd name="connsiteY92" fmla="*/ 6400380 h 6698675"/>
              <a:gd name="connsiteX93" fmla="*/ 6517841 w 8267681"/>
              <a:gd name="connsiteY93" fmla="*/ 6057458 h 6698675"/>
              <a:gd name="connsiteX94" fmla="*/ 6271219 w 8267681"/>
              <a:gd name="connsiteY94" fmla="*/ 6043366 h 6698675"/>
              <a:gd name="connsiteX95" fmla="*/ 6271368 w 8267681"/>
              <a:gd name="connsiteY95" fmla="*/ 6069830 h 6698675"/>
              <a:gd name="connsiteX96" fmla="*/ 6268870 w 8267681"/>
              <a:gd name="connsiteY96" fmla="*/ 6099736 h 6698675"/>
              <a:gd name="connsiteX97" fmla="*/ 6264150 w 8267681"/>
              <a:gd name="connsiteY97" fmla="*/ 6067859 h 6698675"/>
              <a:gd name="connsiteX98" fmla="*/ 3767423 w 8267681"/>
              <a:gd name="connsiteY98" fmla="*/ 6043365 h 6698675"/>
              <a:gd name="connsiteX99" fmla="*/ 3774468 w 8267681"/>
              <a:gd name="connsiteY99" fmla="*/ 6045714 h 6698675"/>
              <a:gd name="connsiteX100" fmla="*/ 3767423 w 8267681"/>
              <a:gd name="connsiteY100" fmla="*/ 6050411 h 6698675"/>
              <a:gd name="connsiteX101" fmla="*/ 3767423 w 8267681"/>
              <a:gd name="connsiteY101" fmla="*/ 6043365 h 6698675"/>
              <a:gd name="connsiteX102" fmla="*/ 2964141 w 8267681"/>
              <a:gd name="connsiteY102" fmla="*/ 6036320 h 6698675"/>
              <a:gd name="connsiteX103" fmla="*/ 2957094 w 8267681"/>
              <a:gd name="connsiteY103" fmla="*/ 6073900 h 6698675"/>
              <a:gd name="connsiteX104" fmla="*/ 2940652 w 8267681"/>
              <a:gd name="connsiteY104" fmla="*/ 6116178 h 6698675"/>
              <a:gd name="connsiteX105" fmla="*/ 2964141 w 8267681"/>
              <a:gd name="connsiteY105" fmla="*/ 6036320 h 6698675"/>
              <a:gd name="connsiteX106" fmla="*/ 4817032 w 8267681"/>
              <a:gd name="connsiteY106" fmla="*/ 6017235 h 6698675"/>
              <a:gd name="connsiteX107" fmla="*/ 4819674 w 8267681"/>
              <a:gd name="connsiteY107" fmla="*/ 6022226 h 6698675"/>
              <a:gd name="connsiteX108" fmla="*/ 4812628 w 8267681"/>
              <a:gd name="connsiteY108" fmla="*/ 6017528 h 6698675"/>
              <a:gd name="connsiteX109" fmla="*/ 4817032 w 8267681"/>
              <a:gd name="connsiteY109" fmla="*/ 6017235 h 6698675"/>
              <a:gd name="connsiteX110" fmla="*/ 3704005 w 8267681"/>
              <a:gd name="connsiteY110" fmla="*/ 6001087 h 6698675"/>
              <a:gd name="connsiteX111" fmla="*/ 3704005 w 8267681"/>
              <a:gd name="connsiteY111" fmla="*/ 6008133 h 6698675"/>
              <a:gd name="connsiteX112" fmla="*/ 3704005 w 8267681"/>
              <a:gd name="connsiteY112" fmla="*/ 6001087 h 6698675"/>
              <a:gd name="connsiteX113" fmla="*/ 4429777 w 8267681"/>
              <a:gd name="connsiteY113" fmla="*/ 5998739 h 6698675"/>
              <a:gd name="connsiteX114" fmla="*/ 4415684 w 8267681"/>
              <a:gd name="connsiteY114" fmla="*/ 6083295 h 6698675"/>
              <a:gd name="connsiteX115" fmla="*/ 4418033 w 8267681"/>
              <a:gd name="connsiteY115" fmla="*/ 6057459 h 6698675"/>
              <a:gd name="connsiteX116" fmla="*/ 4406289 w 8267681"/>
              <a:gd name="connsiteY116" fmla="*/ 6008134 h 6698675"/>
              <a:gd name="connsiteX117" fmla="*/ 4429777 w 8267681"/>
              <a:gd name="connsiteY117" fmla="*/ 5998739 h 6698675"/>
              <a:gd name="connsiteX118" fmla="*/ 3950626 w 8267681"/>
              <a:gd name="connsiteY118" fmla="*/ 5986995 h 6698675"/>
              <a:gd name="connsiteX119" fmla="*/ 3948278 w 8267681"/>
              <a:gd name="connsiteY119" fmla="*/ 5998739 h 6698675"/>
              <a:gd name="connsiteX120" fmla="*/ 3957673 w 8267681"/>
              <a:gd name="connsiteY120" fmla="*/ 5996390 h 6698675"/>
              <a:gd name="connsiteX121" fmla="*/ 6421541 w 8267681"/>
              <a:gd name="connsiteY121" fmla="*/ 5977600 h 6698675"/>
              <a:gd name="connsiteX122" fmla="*/ 6428588 w 8267681"/>
              <a:gd name="connsiteY122" fmla="*/ 5984105 h 6698675"/>
              <a:gd name="connsiteX123" fmla="*/ 6428588 w 8267681"/>
              <a:gd name="connsiteY123" fmla="*/ 6076249 h 6698675"/>
              <a:gd name="connsiteX124" fmla="*/ 6431244 w 8267681"/>
              <a:gd name="connsiteY124" fmla="*/ 6125825 h 6698675"/>
              <a:gd name="connsiteX125" fmla="*/ 3616807 w 8267681"/>
              <a:gd name="connsiteY125" fmla="*/ 5974958 h 6698675"/>
              <a:gd name="connsiteX126" fmla="*/ 3619449 w 8267681"/>
              <a:gd name="connsiteY126" fmla="*/ 5979949 h 6698675"/>
              <a:gd name="connsiteX127" fmla="*/ 3615045 w 8267681"/>
              <a:gd name="connsiteY127" fmla="*/ 5980243 h 6698675"/>
              <a:gd name="connsiteX128" fmla="*/ 3613763 w 8267681"/>
              <a:gd name="connsiteY128" fmla="*/ 5977821 h 6698675"/>
              <a:gd name="connsiteX129" fmla="*/ 3614849 w 8267681"/>
              <a:gd name="connsiteY129" fmla="*/ 5975088 h 6698675"/>
              <a:gd name="connsiteX130" fmla="*/ 6590653 w 8267681"/>
              <a:gd name="connsiteY130" fmla="*/ 5972902 h 6698675"/>
              <a:gd name="connsiteX131" fmla="*/ 6672861 w 8267681"/>
              <a:gd name="connsiteY131" fmla="*/ 6019878 h 6698675"/>
              <a:gd name="connsiteX132" fmla="*/ 6590653 w 8267681"/>
              <a:gd name="connsiteY132" fmla="*/ 5972902 h 6698675"/>
              <a:gd name="connsiteX133" fmla="*/ 6146746 w 8267681"/>
              <a:gd name="connsiteY133" fmla="*/ 5958727 h 6698675"/>
              <a:gd name="connsiteX134" fmla="*/ 6149047 w 8267681"/>
              <a:gd name="connsiteY134" fmla="*/ 5964058 h 6698675"/>
              <a:gd name="connsiteX135" fmla="*/ 6149377 w 8267681"/>
              <a:gd name="connsiteY135" fmla="*/ 5989051 h 6698675"/>
              <a:gd name="connsiteX136" fmla="*/ 6148045 w 8267681"/>
              <a:gd name="connsiteY136" fmla="*/ 6015239 h 6698675"/>
              <a:gd name="connsiteX137" fmla="*/ 6145560 w 8267681"/>
              <a:gd name="connsiteY137" fmla="*/ 5967031 h 6698675"/>
              <a:gd name="connsiteX138" fmla="*/ 3691967 w 8267681"/>
              <a:gd name="connsiteY138" fmla="*/ 5956168 h 6698675"/>
              <a:gd name="connsiteX139" fmla="*/ 3687563 w 8267681"/>
              <a:gd name="connsiteY139" fmla="*/ 5956461 h 6698675"/>
              <a:gd name="connsiteX140" fmla="*/ 3694609 w 8267681"/>
              <a:gd name="connsiteY140" fmla="*/ 5961159 h 6698675"/>
              <a:gd name="connsiteX141" fmla="*/ 3691967 w 8267681"/>
              <a:gd name="connsiteY141" fmla="*/ 5956168 h 6698675"/>
              <a:gd name="connsiteX142" fmla="*/ 4914507 w 8267681"/>
              <a:gd name="connsiteY142" fmla="*/ 5952790 h 6698675"/>
              <a:gd name="connsiteX143" fmla="*/ 4948858 w 8267681"/>
              <a:gd name="connsiteY143" fmla="*/ 5954111 h 6698675"/>
              <a:gd name="connsiteX144" fmla="*/ 4913627 w 8267681"/>
              <a:gd name="connsiteY144" fmla="*/ 5965855 h 6698675"/>
              <a:gd name="connsiteX145" fmla="*/ 4914507 w 8267681"/>
              <a:gd name="connsiteY145" fmla="*/ 5952790 h 6698675"/>
              <a:gd name="connsiteX146" fmla="*/ 6433285 w 8267681"/>
              <a:gd name="connsiteY146" fmla="*/ 5947066 h 6698675"/>
              <a:gd name="connsiteX147" fmla="*/ 6668163 w 8267681"/>
              <a:gd name="connsiteY147" fmla="*/ 6064505 h 6698675"/>
              <a:gd name="connsiteX148" fmla="*/ 6527236 w 8267681"/>
              <a:gd name="connsiteY148" fmla="*/ 5977600 h 6698675"/>
              <a:gd name="connsiteX149" fmla="*/ 6433285 w 8267681"/>
              <a:gd name="connsiteY149" fmla="*/ 5947066 h 6698675"/>
              <a:gd name="connsiteX150" fmla="*/ 6015287 w 8267681"/>
              <a:gd name="connsiteY150" fmla="*/ 5933327 h 6698675"/>
              <a:gd name="connsiteX151" fmla="*/ 6015974 w 8267681"/>
              <a:gd name="connsiteY151" fmla="*/ 5935249 h 6698675"/>
              <a:gd name="connsiteX152" fmla="*/ 6017552 w 8267681"/>
              <a:gd name="connsiteY152" fmla="*/ 5961159 h 6698675"/>
              <a:gd name="connsiteX153" fmla="*/ 6012772 w 8267681"/>
              <a:gd name="connsiteY153" fmla="*/ 5950059 h 6698675"/>
              <a:gd name="connsiteX154" fmla="*/ 6013294 w 8267681"/>
              <a:gd name="connsiteY154" fmla="*/ 5946149 h 6698675"/>
              <a:gd name="connsiteX155" fmla="*/ 4556611 w 8267681"/>
              <a:gd name="connsiteY155" fmla="*/ 5932973 h 6698675"/>
              <a:gd name="connsiteX156" fmla="*/ 4556611 w 8267681"/>
              <a:gd name="connsiteY156" fmla="*/ 5942368 h 6698675"/>
              <a:gd name="connsiteX157" fmla="*/ 4561309 w 8267681"/>
              <a:gd name="connsiteY157" fmla="*/ 5935322 h 6698675"/>
              <a:gd name="connsiteX158" fmla="*/ 4556611 w 8267681"/>
              <a:gd name="connsiteY158" fmla="*/ 5932973 h 6698675"/>
              <a:gd name="connsiteX159" fmla="*/ 6166056 w 8267681"/>
              <a:gd name="connsiteY159" fmla="*/ 5932508 h 6698675"/>
              <a:gd name="connsiteX160" fmla="*/ 6170809 w 8267681"/>
              <a:gd name="connsiteY160" fmla="*/ 5935616 h 6698675"/>
              <a:gd name="connsiteX161" fmla="*/ 6174919 w 8267681"/>
              <a:gd name="connsiteY161" fmla="*/ 5942368 h 6698675"/>
              <a:gd name="connsiteX162" fmla="*/ 6174919 w 8267681"/>
              <a:gd name="connsiteY162" fmla="*/ 6010483 h 6698675"/>
              <a:gd name="connsiteX163" fmla="*/ 6174919 w 8267681"/>
              <a:gd name="connsiteY163" fmla="*/ 6017529 h 6698675"/>
              <a:gd name="connsiteX164" fmla="*/ 6172571 w 8267681"/>
              <a:gd name="connsiteY164" fmla="*/ 6010483 h 6698675"/>
              <a:gd name="connsiteX165" fmla="*/ 6164203 w 8267681"/>
              <a:gd name="connsiteY165" fmla="*/ 5945635 h 6698675"/>
              <a:gd name="connsiteX166" fmla="*/ 6419193 w 8267681"/>
              <a:gd name="connsiteY166" fmla="*/ 5925927 h 6698675"/>
              <a:gd name="connsiteX167" fmla="*/ 6414495 w 8267681"/>
              <a:gd name="connsiteY167" fmla="*/ 5928276 h 6698675"/>
              <a:gd name="connsiteX168" fmla="*/ 6585956 w 8267681"/>
              <a:gd name="connsiteY168" fmla="*/ 5986995 h 6698675"/>
              <a:gd name="connsiteX169" fmla="*/ 6419193 w 8267681"/>
              <a:gd name="connsiteY169" fmla="*/ 5925927 h 6698675"/>
              <a:gd name="connsiteX170" fmla="*/ 6152261 w 8267681"/>
              <a:gd name="connsiteY170" fmla="*/ 5920124 h 6698675"/>
              <a:gd name="connsiteX171" fmla="*/ 6153744 w 8267681"/>
              <a:gd name="connsiteY171" fmla="*/ 5926551 h 6698675"/>
              <a:gd name="connsiteX172" fmla="*/ 6151432 w 8267681"/>
              <a:gd name="connsiteY172" fmla="*/ 5942368 h 6698675"/>
              <a:gd name="connsiteX173" fmla="*/ 6149423 w 8267681"/>
              <a:gd name="connsiteY173" fmla="*/ 5939990 h 6698675"/>
              <a:gd name="connsiteX174" fmla="*/ 6001110 w 8267681"/>
              <a:gd name="connsiteY174" fmla="*/ 5918880 h 6698675"/>
              <a:gd name="connsiteX175" fmla="*/ 6008450 w 8267681"/>
              <a:gd name="connsiteY175" fmla="*/ 5940020 h 6698675"/>
              <a:gd name="connsiteX176" fmla="*/ 6012772 w 8267681"/>
              <a:gd name="connsiteY176" fmla="*/ 5950059 h 6698675"/>
              <a:gd name="connsiteX177" fmla="*/ 6008156 w 8267681"/>
              <a:gd name="connsiteY177" fmla="*/ 5984646 h 6698675"/>
              <a:gd name="connsiteX178" fmla="*/ 6000413 w 8267681"/>
              <a:gd name="connsiteY178" fmla="*/ 5954736 h 6698675"/>
              <a:gd name="connsiteX179" fmla="*/ 5998895 w 8267681"/>
              <a:gd name="connsiteY179" fmla="*/ 5937721 h 6698675"/>
              <a:gd name="connsiteX180" fmla="*/ 6120898 w 8267681"/>
              <a:gd name="connsiteY180" fmla="*/ 5916532 h 6698675"/>
              <a:gd name="connsiteX181" fmla="*/ 6132642 w 8267681"/>
              <a:gd name="connsiteY181" fmla="*/ 5991693 h 6698675"/>
              <a:gd name="connsiteX182" fmla="*/ 6120898 w 8267681"/>
              <a:gd name="connsiteY182" fmla="*/ 5916532 h 6698675"/>
              <a:gd name="connsiteX183" fmla="*/ 3903651 w 8267681"/>
              <a:gd name="connsiteY183" fmla="*/ 5916532 h 6698675"/>
              <a:gd name="connsiteX184" fmla="*/ 3875466 w 8267681"/>
              <a:gd name="connsiteY184" fmla="*/ 5977600 h 6698675"/>
              <a:gd name="connsiteX185" fmla="*/ 3915395 w 8267681"/>
              <a:gd name="connsiteY185" fmla="*/ 5932973 h 6698675"/>
              <a:gd name="connsiteX186" fmla="*/ 5315267 w 8267681"/>
              <a:gd name="connsiteY186" fmla="*/ 5911834 h 6698675"/>
              <a:gd name="connsiteX187" fmla="*/ 5327011 w 8267681"/>
              <a:gd name="connsiteY187" fmla="*/ 5911834 h 6698675"/>
              <a:gd name="connsiteX188" fmla="*/ 5315267 w 8267681"/>
              <a:gd name="connsiteY188" fmla="*/ 5911834 h 6698675"/>
              <a:gd name="connsiteX189" fmla="*/ 6304160 w 8267681"/>
              <a:gd name="connsiteY189" fmla="*/ 5907650 h 6698675"/>
              <a:gd name="connsiteX190" fmla="*/ 6304295 w 8267681"/>
              <a:gd name="connsiteY190" fmla="*/ 5947854 h 6698675"/>
              <a:gd name="connsiteX191" fmla="*/ 6303442 w 8267681"/>
              <a:gd name="connsiteY191" fmla="*/ 5956902 h 6698675"/>
              <a:gd name="connsiteX192" fmla="*/ 6303111 w 8267681"/>
              <a:gd name="connsiteY192" fmla="*/ 5966312 h 6698675"/>
              <a:gd name="connsiteX193" fmla="*/ 6297056 w 8267681"/>
              <a:gd name="connsiteY193" fmla="*/ 6018117 h 6698675"/>
              <a:gd name="connsiteX194" fmla="*/ 6281192 w 8267681"/>
              <a:gd name="connsiteY194" fmla="*/ 6105813 h 6698675"/>
              <a:gd name="connsiteX195" fmla="*/ 6281826 w 8267681"/>
              <a:gd name="connsiteY195" fmla="*/ 6085234 h 6698675"/>
              <a:gd name="connsiteX196" fmla="*/ 6290010 w 8267681"/>
              <a:gd name="connsiteY196" fmla="*/ 6016355 h 6698675"/>
              <a:gd name="connsiteX197" fmla="*/ 6294797 w 8267681"/>
              <a:gd name="connsiteY197" fmla="*/ 5973674 h 6698675"/>
              <a:gd name="connsiteX198" fmla="*/ 6298158 w 8267681"/>
              <a:gd name="connsiteY198" fmla="*/ 5952461 h 6698675"/>
              <a:gd name="connsiteX199" fmla="*/ 6398053 w 8267681"/>
              <a:gd name="connsiteY199" fmla="*/ 5900090 h 6698675"/>
              <a:gd name="connsiteX200" fmla="*/ 6393356 w 8267681"/>
              <a:gd name="connsiteY200" fmla="*/ 5904788 h 6698675"/>
              <a:gd name="connsiteX201" fmla="*/ 6529585 w 8267681"/>
              <a:gd name="connsiteY201" fmla="*/ 5937671 h 6698675"/>
              <a:gd name="connsiteX202" fmla="*/ 6398053 w 8267681"/>
              <a:gd name="connsiteY202" fmla="*/ 5900090 h 6698675"/>
              <a:gd name="connsiteX203" fmla="*/ 5820254 w 8267681"/>
              <a:gd name="connsiteY203" fmla="*/ 5897742 h 6698675"/>
              <a:gd name="connsiteX204" fmla="*/ 5821318 w 8267681"/>
              <a:gd name="connsiteY204" fmla="*/ 5905370 h 6698675"/>
              <a:gd name="connsiteX205" fmla="*/ 5820008 w 8267681"/>
              <a:gd name="connsiteY205" fmla="*/ 5898810 h 6698675"/>
              <a:gd name="connsiteX206" fmla="*/ 5237757 w 8267681"/>
              <a:gd name="connsiteY206" fmla="*/ 5895392 h 6698675"/>
              <a:gd name="connsiteX207" fmla="*/ 5256547 w 8267681"/>
              <a:gd name="connsiteY207" fmla="*/ 5911833 h 6698675"/>
              <a:gd name="connsiteX208" fmla="*/ 5244803 w 8267681"/>
              <a:gd name="connsiteY208" fmla="*/ 5909485 h 6698675"/>
              <a:gd name="connsiteX209" fmla="*/ 5240106 w 8267681"/>
              <a:gd name="connsiteY209" fmla="*/ 5904787 h 6698675"/>
              <a:gd name="connsiteX210" fmla="*/ 5237757 w 8267681"/>
              <a:gd name="connsiteY210" fmla="*/ 5895392 h 6698675"/>
              <a:gd name="connsiteX211" fmla="*/ 3098022 w 8267681"/>
              <a:gd name="connsiteY211" fmla="*/ 5895392 h 6698675"/>
              <a:gd name="connsiteX212" fmla="*/ 3069836 w 8267681"/>
              <a:gd name="connsiteY212" fmla="*/ 6041016 h 6698675"/>
              <a:gd name="connsiteX213" fmla="*/ 3072186 w 8267681"/>
              <a:gd name="connsiteY213" fmla="*/ 6043365 h 6698675"/>
              <a:gd name="connsiteX214" fmla="*/ 3098022 w 8267681"/>
              <a:gd name="connsiteY214" fmla="*/ 5895392 h 6698675"/>
              <a:gd name="connsiteX215" fmla="*/ 6172426 w 8267681"/>
              <a:gd name="connsiteY215" fmla="*/ 5887391 h 6698675"/>
              <a:gd name="connsiteX216" fmla="*/ 6176938 w 8267681"/>
              <a:gd name="connsiteY216" fmla="*/ 5891099 h 6698675"/>
              <a:gd name="connsiteX217" fmla="*/ 6177268 w 8267681"/>
              <a:gd name="connsiteY217" fmla="*/ 5937671 h 6698675"/>
              <a:gd name="connsiteX218" fmla="*/ 6167873 w 8267681"/>
              <a:gd name="connsiteY218" fmla="*/ 5928276 h 6698675"/>
              <a:gd name="connsiteX219" fmla="*/ 6167292 w 8267681"/>
              <a:gd name="connsiteY219" fmla="*/ 5923755 h 6698675"/>
              <a:gd name="connsiteX220" fmla="*/ 6367519 w 8267681"/>
              <a:gd name="connsiteY220" fmla="*/ 5883649 h 6698675"/>
              <a:gd name="connsiteX221" fmla="*/ 6367519 w 8267681"/>
              <a:gd name="connsiteY221" fmla="*/ 5935322 h 6698675"/>
              <a:gd name="connsiteX222" fmla="*/ 6367519 w 8267681"/>
              <a:gd name="connsiteY222" fmla="*/ 5963507 h 6698675"/>
              <a:gd name="connsiteX223" fmla="*/ 6369868 w 8267681"/>
              <a:gd name="connsiteY223" fmla="*/ 5937671 h 6698675"/>
              <a:gd name="connsiteX224" fmla="*/ 6374566 w 8267681"/>
              <a:gd name="connsiteY224" fmla="*/ 5883649 h 6698675"/>
              <a:gd name="connsiteX225" fmla="*/ 6475563 w 8267681"/>
              <a:gd name="connsiteY225" fmla="*/ 5902439 h 6698675"/>
              <a:gd name="connsiteX226" fmla="*/ 6374566 w 8267681"/>
              <a:gd name="connsiteY226" fmla="*/ 5883649 h 6698675"/>
              <a:gd name="connsiteX227" fmla="*/ 6367519 w 8267681"/>
              <a:gd name="connsiteY227" fmla="*/ 5883649 h 6698675"/>
              <a:gd name="connsiteX228" fmla="*/ 5827680 w 8267681"/>
              <a:gd name="connsiteY228" fmla="*/ 5883350 h 6698675"/>
              <a:gd name="connsiteX229" fmla="*/ 5833613 w 8267681"/>
              <a:gd name="connsiteY229" fmla="*/ 5938441 h 6698675"/>
              <a:gd name="connsiteX230" fmla="*/ 5839044 w 8267681"/>
              <a:gd name="connsiteY230" fmla="*/ 5996390 h 6698675"/>
              <a:gd name="connsiteX231" fmla="*/ 5827007 w 8267681"/>
              <a:gd name="connsiteY231" fmla="*/ 5946185 h 6698675"/>
              <a:gd name="connsiteX232" fmla="*/ 5821318 w 8267681"/>
              <a:gd name="connsiteY232" fmla="*/ 5905370 h 6698675"/>
              <a:gd name="connsiteX233" fmla="*/ 5824952 w 8267681"/>
              <a:gd name="connsiteY233" fmla="*/ 5923578 h 6698675"/>
              <a:gd name="connsiteX234" fmla="*/ 5331708 w 8267681"/>
              <a:gd name="connsiteY234" fmla="*/ 5876602 h 6698675"/>
              <a:gd name="connsiteX235" fmla="*/ 5254199 w 8267681"/>
              <a:gd name="connsiteY235" fmla="*/ 5885997 h 6698675"/>
              <a:gd name="connsiteX236" fmla="*/ 5265943 w 8267681"/>
              <a:gd name="connsiteY236" fmla="*/ 5897741 h 6698675"/>
              <a:gd name="connsiteX237" fmla="*/ 5298826 w 8267681"/>
              <a:gd name="connsiteY237" fmla="*/ 5895392 h 6698675"/>
              <a:gd name="connsiteX238" fmla="*/ 5277687 w 8267681"/>
              <a:gd name="connsiteY238" fmla="*/ 5897741 h 6698675"/>
              <a:gd name="connsiteX239" fmla="*/ 5301174 w 8267681"/>
              <a:gd name="connsiteY239" fmla="*/ 5911834 h 6698675"/>
              <a:gd name="connsiteX240" fmla="*/ 5315267 w 8267681"/>
              <a:gd name="connsiteY240" fmla="*/ 5911834 h 6698675"/>
              <a:gd name="connsiteX241" fmla="*/ 5371638 w 8267681"/>
              <a:gd name="connsiteY241" fmla="*/ 5951763 h 6698675"/>
              <a:gd name="connsiteX242" fmla="*/ 5317616 w 8267681"/>
              <a:gd name="connsiteY242" fmla="*/ 5930624 h 6698675"/>
              <a:gd name="connsiteX243" fmla="*/ 5341104 w 8267681"/>
              <a:gd name="connsiteY243" fmla="*/ 5958809 h 6698675"/>
              <a:gd name="connsiteX244" fmla="*/ 5289431 w 8267681"/>
              <a:gd name="connsiteY244" fmla="*/ 5928276 h 6698675"/>
              <a:gd name="connsiteX245" fmla="*/ 5284733 w 8267681"/>
              <a:gd name="connsiteY245" fmla="*/ 5914183 h 6698675"/>
              <a:gd name="connsiteX246" fmla="*/ 5280035 w 8267681"/>
              <a:gd name="connsiteY246" fmla="*/ 5921229 h 6698675"/>
              <a:gd name="connsiteX247" fmla="*/ 5240106 w 8267681"/>
              <a:gd name="connsiteY247" fmla="*/ 5888346 h 6698675"/>
              <a:gd name="connsiteX248" fmla="*/ 5242455 w 8267681"/>
              <a:gd name="connsiteY248" fmla="*/ 5885997 h 6698675"/>
              <a:gd name="connsiteX249" fmla="*/ 5251850 w 8267681"/>
              <a:gd name="connsiteY249" fmla="*/ 5895392 h 6698675"/>
              <a:gd name="connsiteX250" fmla="*/ 5247152 w 8267681"/>
              <a:gd name="connsiteY250" fmla="*/ 5881300 h 6698675"/>
              <a:gd name="connsiteX251" fmla="*/ 5331708 w 8267681"/>
              <a:gd name="connsiteY251" fmla="*/ 5876602 h 6698675"/>
              <a:gd name="connsiteX252" fmla="*/ 4845511 w 8267681"/>
              <a:gd name="connsiteY252" fmla="*/ 5876601 h 6698675"/>
              <a:gd name="connsiteX253" fmla="*/ 4852557 w 8267681"/>
              <a:gd name="connsiteY253" fmla="*/ 5881299 h 6698675"/>
              <a:gd name="connsiteX254" fmla="*/ 4845511 w 8267681"/>
              <a:gd name="connsiteY254" fmla="*/ 5876601 h 6698675"/>
              <a:gd name="connsiteX255" fmla="*/ 3537241 w 8267681"/>
              <a:gd name="connsiteY255" fmla="*/ 5874254 h 6698675"/>
              <a:gd name="connsiteX256" fmla="*/ 3520800 w 8267681"/>
              <a:gd name="connsiteY256" fmla="*/ 5888346 h 6698675"/>
              <a:gd name="connsiteX257" fmla="*/ 3537241 w 8267681"/>
              <a:gd name="connsiteY257" fmla="*/ 5874254 h 6698675"/>
              <a:gd name="connsiteX258" fmla="*/ 6001110 w 8267681"/>
              <a:gd name="connsiteY258" fmla="*/ 5867207 h 6698675"/>
              <a:gd name="connsiteX259" fmla="*/ 6013148 w 8267681"/>
              <a:gd name="connsiteY259" fmla="*/ 5885117 h 6698675"/>
              <a:gd name="connsiteX260" fmla="*/ 6018513 w 8267681"/>
              <a:gd name="connsiteY260" fmla="*/ 5892860 h 6698675"/>
              <a:gd name="connsiteX261" fmla="*/ 6019313 w 8267681"/>
              <a:gd name="connsiteY261" fmla="*/ 5907431 h 6698675"/>
              <a:gd name="connsiteX262" fmla="*/ 6015287 w 8267681"/>
              <a:gd name="connsiteY262" fmla="*/ 5933327 h 6698675"/>
              <a:gd name="connsiteX263" fmla="*/ 6008450 w 8267681"/>
              <a:gd name="connsiteY263" fmla="*/ 5914183 h 6698675"/>
              <a:gd name="connsiteX264" fmla="*/ 6001110 w 8267681"/>
              <a:gd name="connsiteY264" fmla="*/ 5867207 h 6698675"/>
              <a:gd name="connsiteX265" fmla="*/ 5324663 w 8267681"/>
              <a:gd name="connsiteY265" fmla="*/ 5855462 h 6698675"/>
              <a:gd name="connsiteX266" fmla="*/ 5249502 w 8267681"/>
              <a:gd name="connsiteY266" fmla="*/ 5871904 h 6698675"/>
              <a:gd name="connsiteX267" fmla="*/ 5251851 w 8267681"/>
              <a:gd name="connsiteY267" fmla="*/ 5864857 h 6698675"/>
              <a:gd name="connsiteX268" fmla="*/ 5324663 w 8267681"/>
              <a:gd name="connsiteY268" fmla="*/ 5855462 h 6698675"/>
              <a:gd name="connsiteX269" fmla="*/ 4725723 w 8267681"/>
              <a:gd name="connsiteY269" fmla="*/ 5853115 h 6698675"/>
              <a:gd name="connsiteX270" fmla="*/ 4718677 w 8267681"/>
              <a:gd name="connsiteY270" fmla="*/ 5855464 h 6698675"/>
              <a:gd name="connsiteX271" fmla="*/ 4737467 w 8267681"/>
              <a:gd name="connsiteY271" fmla="*/ 5876602 h 6698675"/>
              <a:gd name="connsiteX272" fmla="*/ 4744513 w 8267681"/>
              <a:gd name="connsiteY272" fmla="*/ 5874254 h 6698675"/>
              <a:gd name="connsiteX273" fmla="*/ 4725723 w 8267681"/>
              <a:gd name="connsiteY273" fmla="*/ 5853115 h 6698675"/>
              <a:gd name="connsiteX274" fmla="*/ 3079231 w 8267681"/>
              <a:gd name="connsiteY274" fmla="*/ 5853114 h 6698675"/>
              <a:gd name="connsiteX275" fmla="*/ 2999371 w 8267681"/>
              <a:gd name="connsiteY275" fmla="*/ 6125574 h 6698675"/>
              <a:gd name="connsiteX276" fmla="*/ 2992325 w 8267681"/>
              <a:gd name="connsiteY276" fmla="*/ 6095040 h 6698675"/>
              <a:gd name="connsiteX277" fmla="*/ 3079231 w 8267681"/>
              <a:gd name="connsiteY277" fmla="*/ 5853114 h 6698675"/>
              <a:gd name="connsiteX278" fmla="*/ 6059081 w 8267681"/>
              <a:gd name="connsiteY278" fmla="*/ 5852596 h 6698675"/>
              <a:gd name="connsiteX279" fmla="*/ 6062325 w 8267681"/>
              <a:gd name="connsiteY279" fmla="*/ 5857959 h 6698675"/>
              <a:gd name="connsiteX280" fmla="*/ 6066876 w 8267681"/>
              <a:gd name="connsiteY280" fmla="*/ 5867207 h 6698675"/>
              <a:gd name="connsiteX281" fmla="*/ 6067177 w 8267681"/>
              <a:gd name="connsiteY281" fmla="*/ 5871757 h 6698675"/>
              <a:gd name="connsiteX282" fmla="*/ 3090974 w 8267681"/>
              <a:gd name="connsiteY282" fmla="*/ 5846068 h 6698675"/>
              <a:gd name="connsiteX283" fmla="*/ 3022860 w 8267681"/>
              <a:gd name="connsiteY283" fmla="*/ 6142015 h 6698675"/>
              <a:gd name="connsiteX284" fmla="*/ 3051045 w 8267681"/>
              <a:gd name="connsiteY284" fmla="*/ 5991693 h 6698675"/>
              <a:gd name="connsiteX285" fmla="*/ 3090974 w 8267681"/>
              <a:gd name="connsiteY285" fmla="*/ 5846068 h 6698675"/>
              <a:gd name="connsiteX286" fmla="*/ 3196668 w 8267681"/>
              <a:gd name="connsiteY286" fmla="*/ 5845342 h 6698675"/>
              <a:gd name="connsiteX287" fmla="*/ 3203715 w 8267681"/>
              <a:gd name="connsiteY287" fmla="*/ 5914183 h 6698675"/>
              <a:gd name="connsiteX288" fmla="*/ 3196669 w 8267681"/>
              <a:gd name="connsiteY288" fmla="*/ 5879223 h 6698675"/>
              <a:gd name="connsiteX289" fmla="*/ 6477912 w 8267681"/>
              <a:gd name="connsiteY289" fmla="*/ 5841371 h 6698675"/>
              <a:gd name="connsiteX290" fmla="*/ 6506097 w 8267681"/>
              <a:gd name="connsiteY290" fmla="*/ 5876602 h 6698675"/>
              <a:gd name="connsiteX291" fmla="*/ 6553073 w 8267681"/>
              <a:gd name="connsiteY291" fmla="*/ 5902439 h 6698675"/>
              <a:gd name="connsiteX292" fmla="*/ 6477912 w 8267681"/>
              <a:gd name="connsiteY292" fmla="*/ 5841371 h 6698675"/>
              <a:gd name="connsiteX293" fmla="*/ 6336986 w 8267681"/>
              <a:gd name="connsiteY293" fmla="*/ 5841371 h 6698675"/>
              <a:gd name="connsiteX294" fmla="*/ 6348730 w 8267681"/>
              <a:gd name="connsiteY294" fmla="*/ 5850766 h 6698675"/>
              <a:gd name="connsiteX295" fmla="*/ 6527236 w 8267681"/>
              <a:gd name="connsiteY295" fmla="*/ 5923578 h 6698675"/>
              <a:gd name="connsiteX296" fmla="*/ 6531934 w 8267681"/>
              <a:gd name="connsiteY296" fmla="*/ 5921229 h 6698675"/>
              <a:gd name="connsiteX297" fmla="*/ 6562468 w 8267681"/>
              <a:gd name="connsiteY297" fmla="*/ 5935322 h 6698675"/>
              <a:gd name="connsiteX298" fmla="*/ 6524888 w 8267681"/>
              <a:gd name="connsiteY298" fmla="*/ 5911834 h 6698675"/>
              <a:gd name="connsiteX299" fmla="*/ 6336986 w 8267681"/>
              <a:gd name="connsiteY299" fmla="*/ 5841371 h 6698675"/>
              <a:gd name="connsiteX300" fmla="*/ 4803233 w 8267681"/>
              <a:gd name="connsiteY300" fmla="*/ 5834325 h 6698675"/>
              <a:gd name="connsiteX301" fmla="*/ 4817033 w 8267681"/>
              <a:gd name="connsiteY301" fmla="*/ 5839903 h 6698675"/>
              <a:gd name="connsiteX302" fmla="*/ 4817249 w 8267681"/>
              <a:gd name="connsiteY302" fmla="*/ 5840678 h 6698675"/>
              <a:gd name="connsiteX303" fmla="*/ 4817326 w 8267681"/>
              <a:gd name="connsiteY303" fmla="*/ 5841371 h 6698675"/>
              <a:gd name="connsiteX304" fmla="*/ 4807931 w 8267681"/>
              <a:gd name="connsiteY304" fmla="*/ 5855464 h 6698675"/>
              <a:gd name="connsiteX305" fmla="*/ 4786205 w 8267681"/>
              <a:gd name="connsiteY305" fmla="*/ 5858107 h 6698675"/>
              <a:gd name="connsiteX306" fmla="*/ 4780580 w 8267681"/>
              <a:gd name="connsiteY306" fmla="*/ 5857290 h 6698675"/>
              <a:gd name="connsiteX307" fmla="*/ 4781214 w 8267681"/>
              <a:gd name="connsiteY307" fmla="*/ 5855170 h 6698675"/>
              <a:gd name="connsiteX308" fmla="*/ 4805582 w 8267681"/>
              <a:gd name="connsiteY308" fmla="*/ 5853115 h 6698675"/>
              <a:gd name="connsiteX309" fmla="*/ 4803233 w 8267681"/>
              <a:gd name="connsiteY309" fmla="*/ 5834325 h 6698675"/>
              <a:gd name="connsiteX310" fmla="*/ 3652331 w 8267681"/>
              <a:gd name="connsiteY310" fmla="*/ 5834325 h 6698675"/>
              <a:gd name="connsiteX311" fmla="*/ 3628844 w 8267681"/>
              <a:gd name="connsiteY311" fmla="*/ 5895393 h 6698675"/>
              <a:gd name="connsiteX312" fmla="*/ 3666424 w 8267681"/>
              <a:gd name="connsiteY312" fmla="*/ 5864859 h 6698675"/>
              <a:gd name="connsiteX313" fmla="*/ 3652331 w 8267681"/>
              <a:gd name="connsiteY313" fmla="*/ 5834325 h 6698675"/>
              <a:gd name="connsiteX314" fmla="*/ 4742165 w 8267681"/>
              <a:gd name="connsiteY314" fmla="*/ 5834324 h 6698675"/>
              <a:gd name="connsiteX315" fmla="*/ 4742165 w 8267681"/>
              <a:gd name="connsiteY315" fmla="*/ 5841370 h 6698675"/>
              <a:gd name="connsiteX316" fmla="*/ 4742165 w 8267681"/>
              <a:gd name="connsiteY316" fmla="*/ 5834324 h 6698675"/>
              <a:gd name="connsiteX317" fmla="*/ 4706933 w 8267681"/>
              <a:gd name="connsiteY317" fmla="*/ 5831976 h 6698675"/>
              <a:gd name="connsiteX318" fmla="*/ 4699887 w 8267681"/>
              <a:gd name="connsiteY318" fmla="*/ 5836673 h 6698675"/>
              <a:gd name="connsiteX319" fmla="*/ 4713980 w 8267681"/>
              <a:gd name="connsiteY319" fmla="*/ 5848417 h 6698675"/>
              <a:gd name="connsiteX320" fmla="*/ 4706933 w 8267681"/>
              <a:gd name="connsiteY320" fmla="*/ 5831976 h 6698675"/>
              <a:gd name="connsiteX321" fmla="*/ 3036951 w 8267681"/>
              <a:gd name="connsiteY321" fmla="*/ 5831976 h 6698675"/>
              <a:gd name="connsiteX322" fmla="*/ 3026676 w 8267681"/>
              <a:gd name="connsiteY322" fmla="*/ 5865445 h 6698675"/>
              <a:gd name="connsiteX323" fmla="*/ 3026150 w 8267681"/>
              <a:gd name="connsiteY323" fmla="*/ 5866458 h 6698675"/>
              <a:gd name="connsiteX324" fmla="*/ 5348774 w 8267681"/>
              <a:gd name="connsiteY324" fmla="*/ 5831388 h 6698675"/>
              <a:gd name="connsiteX325" fmla="*/ 5373987 w 8267681"/>
              <a:gd name="connsiteY325" fmla="*/ 5834324 h 6698675"/>
              <a:gd name="connsiteX326" fmla="*/ 5254199 w 8267681"/>
              <a:gd name="connsiteY326" fmla="*/ 5855463 h 6698675"/>
              <a:gd name="connsiteX327" fmla="*/ 5258897 w 8267681"/>
              <a:gd name="connsiteY327" fmla="*/ 5841370 h 6698675"/>
              <a:gd name="connsiteX328" fmla="*/ 5261245 w 8267681"/>
              <a:gd name="connsiteY328" fmla="*/ 5836672 h 6698675"/>
              <a:gd name="connsiteX329" fmla="*/ 5348774 w 8267681"/>
              <a:gd name="connsiteY329" fmla="*/ 5831388 h 6698675"/>
              <a:gd name="connsiteX330" fmla="*/ 6318195 w 8267681"/>
              <a:gd name="connsiteY330" fmla="*/ 5822581 h 6698675"/>
              <a:gd name="connsiteX331" fmla="*/ 6412146 w 8267681"/>
              <a:gd name="connsiteY331" fmla="*/ 5834325 h 6698675"/>
              <a:gd name="connsiteX332" fmla="*/ 6318195 w 8267681"/>
              <a:gd name="connsiteY332" fmla="*/ 5822581 h 6698675"/>
              <a:gd name="connsiteX333" fmla="*/ 6137339 w 8267681"/>
              <a:gd name="connsiteY333" fmla="*/ 5820232 h 6698675"/>
              <a:gd name="connsiteX334" fmla="*/ 6153780 w 8267681"/>
              <a:gd name="connsiteY334" fmla="*/ 5871905 h 6698675"/>
              <a:gd name="connsiteX335" fmla="*/ 6153780 w 8267681"/>
              <a:gd name="connsiteY335" fmla="*/ 5829627 h 6698675"/>
              <a:gd name="connsiteX336" fmla="*/ 6137339 w 8267681"/>
              <a:gd name="connsiteY336" fmla="*/ 5820232 h 6698675"/>
              <a:gd name="connsiteX337" fmla="*/ 6116200 w 8267681"/>
              <a:gd name="connsiteY337" fmla="*/ 5820232 h 6698675"/>
              <a:gd name="connsiteX338" fmla="*/ 6125596 w 8267681"/>
              <a:gd name="connsiteY338" fmla="*/ 5909486 h 6698675"/>
              <a:gd name="connsiteX339" fmla="*/ 6120898 w 8267681"/>
              <a:gd name="connsiteY339" fmla="*/ 5857812 h 6698675"/>
              <a:gd name="connsiteX340" fmla="*/ 6127944 w 8267681"/>
              <a:gd name="connsiteY340" fmla="*/ 5860161 h 6698675"/>
              <a:gd name="connsiteX341" fmla="*/ 6116200 w 8267681"/>
              <a:gd name="connsiteY341" fmla="*/ 5820232 h 6698675"/>
              <a:gd name="connsiteX342" fmla="*/ 5836679 w 8267681"/>
              <a:gd name="connsiteY342" fmla="*/ 5808338 h 6698675"/>
              <a:gd name="connsiteX343" fmla="*/ 5829209 w 8267681"/>
              <a:gd name="connsiteY343" fmla="*/ 5860785 h 6698675"/>
              <a:gd name="connsiteX344" fmla="*/ 5827680 w 8267681"/>
              <a:gd name="connsiteY344" fmla="*/ 5883350 h 6698675"/>
              <a:gd name="connsiteX345" fmla="*/ 5827301 w 8267681"/>
              <a:gd name="connsiteY345" fmla="*/ 5879832 h 6698675"/>
              <a:gd name="connsiteX346" fmla="*/ 5829796 w 8267681"/>
              <a:gd name="connsiteY346" fmla="*/ 5824306 h 6698675"/>
              <a:gd name="connsiteX347" fmla="*/ 5303524 w 8267681"/>
              <a:gd name="connsiteY347" fmla="*/ 5803790 h 6698675"/>
              <a:gd name="connsiteX348" fmla="*/ 5298826 w 8267681"/>
              <a:gd name="connsiteY348" fmla="*/ 5808488 h 6698675"/>
              <a:gd name="connsiteX349" fmla="*/ 5270641 w 8267681"/>
              <a:gd name="connsiteY349" fmla="*/ 5817883 h 6698675"/>
              <a:gd name="connsiteX350" fmla="*/ 5272990 w 8267681"/>
              <a:gd name="connsiteY350" fmla="*/ 5810836 h 6698675"/>
              <a:gd name="connsiteX351" fmla="*/ 5303524 w 8267681"/>
              <a:gd name="connsiteY351" fmla="*/ 5803790 h 6698675"/>
              <a:gd name="connsiteX352" fmla="*/ 6299405 w 8267681"/>
              <a:gd name="connsiteY352" fmla="*/ 5801442 h 6698675"/>
              <a:gd name="connsiteX353" fmla="*/ 6383961 w 8267681"/>
              <a:gd name="connsiteY353" fmla="*/ 5817883 h 6698675"/>
              <a:gd name="connsiteX354" fmla="*/ 6299405 w 8267681"/>
              <a:gd name="connsiteY354" fmla="*/ 5801442 h 6698675"/>
              <a:gd name="connsiteX355" fmla="*/ 3830839 w 8267681"/>
              <a:gd name="connsiteY355" fmla="*/ 5801442 h 6698675"/>
              <a:gd name="connsiteX356" fmla="*/ 3732190 w 8267681"/>
              <a:gd name="connsiteY356" fmla="*/ 5956461 h 6698675"/>
              <a:gd name="connsiteX357" fmla="*/ 3767423 w 8267681"/>
              <a:gd name="connsiteY357" fmla="*/ 5951764 h 6698675"/>
              <a:gd name="connsiteX358" fmla="*/ 3781514 w 8267681"/>
              <a:gd name="connsiteY358" fmla="*/ 5911834 h 6698675"/>
              <a:gd name="connsiteX359" fmla="*/ 3805002 w 8267681"/>
              <a:gd name="connsiteY359" fmla="*/ 5902439 h 6698675"/>
              <a:gd name="connsiteX360" fmla="*/ 3849629 w 8267681"/>
              <a:gd name="connsiteY360" fmla="*/ 5829627 h 6698675"/>
              <a:gd name="connsiteX361" fmla="*/ 5804101 w 8267681"/>
              <a:gd name="connsiteY361" fmla="*/ 5799379 h 6698675"/>
              <a:gd name="connsiteX362" fmla="*/ 5807410 w 8267681"/>
              <a:gd name="connsiteY362" fmla="*/ 5846546 h 6698675"/>
              <a:gd name="connsiteX363" fmla="*/ 5812973 w 8267681"/>
              <a:gd name="connsiteY363" fmla="*/ 5893411 h 6698675"/>
              <a:gd name="connsiteX364" fmla="*/ 5812932 w 8267681"/>
              <a:gd name="connsiteY364" fmla="*/ 5894505 h 6698675"/>
              <a:gd name="connsiteX365" fmla="*/ 5794234 w 8267681"/>
              <a:gd name="connsiteY365" fmla="*/ 5834476 h 6698675"/>
              <a:gd name="connsiteX366" fmla="*/ 4662306 w 8267681"/>
              <a:gd name="connsiteY366" fmla="*/ 5789698 h 6698675"/>
              <a:gd name="connsiteX367" fmla="*/ 4662306 w 8267681"/>
              <a:gd name="connsiteY367" fmla="*/ 5799093 h 6698675"/>
              <a:gd name="connsiteX368" fmla="*/ 4676399 w 8267681"/>
              <a:gd name="connsiteY368" fmla="*/ 5806139 h 6698675"/>
              <a:gd name="connsiteX369" fmla="*/ 4662306 w 8267681"/>
              <a:gd name="connsiteY369" fmla="*/ 5789698 h 6698675"/>
              <a:gd name="connsiteX370" fmla="*/ 5317616 w 8267681"/>
              <a:gd name="connsiteY370" fmla="*/ 5787348 h 6698675"/>
              <a:gd name="connsiteX371" fmla="*/ 5275338 w 8267681"/>
              <a:gd name="connsiteY371" fmla="*/ 5799092 h 6698675"/>
              <a:gd name="connsiteX372" fmla="*/ 5277687 w 8267681"/>
              <a:gd name="connsiteY372" fmla="*/ 5792046 h 6698675"/>
              <a:gd name="connsiteX373" fmla="*/ 5317616 w 8267681"/>
              <a:gd name="connsiteY373" fmla="*/ 5787348 h 6698675"/>
              <a:gd name="connsiteX374" fmla="*/ 5867230 w 8267681"/>
              <a:gd name="connsiteY374" fmla="*/ 5785000 h 6698675"/>
              <a:gd name="connsiteX375" fmla="*/ 5876073 w 8267681"/>
              <a:gd name="connsiteY375" fmla="*/ 5795006 h 6698675"/>
              <a:gd name="connsiteX376" fmla="*/ 5871817 w 8267681"/>
              <a:gd name="connsiteY376" fmla="*/ 5814213 h 6698675"/>
              <a:gd name="connsiteX377" fmla="*/ 5862532 w 8267681"/>
              <a:gd name="connsiteY377" fmla="*/ 5839022 h 6698675"/>
              <a:gd name="connsiteX378" fmla="*/ 5863322 w 8267681"/>
              <a:gd name="connsiteY378" fmla="*/ 5802687 h 6698675"/>
              <a:gd name="connsiteX379" fmla="*/ 5864881 w 8267681"/>
              <a:gd name="connsiteY379" fmla="*/ 5796744 h 6698675"/>
              <a:gd name="connsiteX380" fmla="*/ 5874276 w 8267681"/>
              <a:gd name="connsiteY380" fmla="*/ 5799093 h 6698675"/>
              <a:gd name="connsiteX381" fmla="*/ 5867230 w 8267681"/>
              <a:gd name="connsiteY381" fmla="*/ 5785000 h 6698675"/>
              <a:gd name="connsiteX382" fmla="*/ 6083317 w 8267681"/>
              <a:gd name="connsiteY382" fmla="*/ 5782651 h 6698675"/>
              <a:gd name="connsiteX383" fmla="*/ 6109154 w 8267681"/>
              <a:gd name="connsiteY383" fmla="*/ 5848417 h 6698675"/>
              <a:gd name="connsiteX384" fmla="*/ 6083317 w 8267681"/>
              <a:gd name="connsiteY384" fmla="*/ 5782651 h 6698675"/>
              <a:gd name="connsiteX385" fmla="*/ 4969996 w 8267681"/>
              <a:gd name="connsiteY385" fmla="*/ 5782651 h 6698675"/>
              <a:gd name="connsiteX386" fmla="*/ 4972345 w 8267681"/>
              <a:gd name="connsiteY386" fmla="*/ 5801442 h 6698675"/>
              <a:gd name="connsiteX387" fmla="*/ 4984089 w 8267681"/>
              <a:gd name="connsiteY387" fmla="*/ 5794395 h 6698675"/>
              <a:gd name="connsiteX388" fmla="*/ 4969996 w 8267681"/>
              <a:gd name="connsiteY388" fmla="*/ 5782651 h 6698675"/>
              <a:gd name="connsiteX389" fmla="*/ 6282963 w 8267681"/>
              <a:gd name="connsiteY389" fmla="*/ 5780303 h 6698675"/>
              <a:gd name="connsiteX390" fmla="*/ 6287661 w 8267681"/>
              <a:gd name="connsiteY390" fmla="*/ 5789698 h 6698675"/>
              <a:gd name="connsiteX391" fmla="*/ 6477912 w 8267681"/>
              <a:gd name="connsiteY391" fmla="*/ 5853115 h 6698675"/>
              <a:gd name="connsiteX392" fmla="*/ 6282963 w 8267681"/>
              <a:gd name="connsiteY392" fmla="*/ 5780303 h 6698675"/>
              <a:gd name="connsiteX393" fmla="*/ 5305871 w 8267681"/>
              <a:gd name="connsiteY393" fmla="*/ 5770906 h 6698675"/>
              <a:gd name="connsiteX394" fmla="*/ 5284732 w 8267681"/>
              <a:gd name="connsiteY394" fmla="*/ 5780301 h 6698675"/>
              <a:gd name="connsiteX395" fmla="*/ 5287081 w 8267681"/>
              <a:gd name="connsiteY395" fmla="*/ 5775604 h 6698675"/>
              <a:gd name="connsiteX396" fmla="*/ 5305871 w 8267681"/>
              <a:gd name="connsiteY396" fmla="*/ 5770906 h 6698675"/>
              <a:gd name="connsiteX397" fmla="*/ 4685794 w 8267681"/>
              <a:gd name="connsiteY397" fmla="*/ 5768559 h 6698675"/>
              <a:gd name="connsiteX398" fmla="*/ 4678748 w 8267681"/>
              <a:gd name="connsiteY398" fmla="*/ 5770907 h 6698675"/>
              <a:gd name="connsiteX399" fmla="*/ 4669353 w 8267681"/>
              <a:gd name="connsiteY399" fmla="*/ 5777954 h 6698675"/>
              <a:gd name="connsiteX400" fmla="*/ 4697538 w 8267681"/>
              <a:gd name="connsiteY400" fmla="*/ 5813185 h 6698675"/>
              <a:gd name="connsiteX401" fmla="*/ 4704584 w 8267681"/>
              <a:gd name="connsiteY401" fmla="*/ 5813185 h 6698675"/>
              <a:gd name="connsiteX402" fmla="*/ 4713980 w 8267681"/>
              <a:gd name="connsiteY402" fmla="*/ 5831976 h 6698675"/>
              <a:gd name="connsiteX403" fmla="*/ 4749211 w 8267681"/>
              <a:gd name="connsiteY403" fmla="*/ 5871905 h 6698675"/>
              <a:gd name="connsiteX404" fmla="*/ 4758606 w 8267681"/>
              <a:gd name="connsiteY404" fmla="*/ 5876602 h 6698675"/>
              <a:gd name="connsiteX405" fmla="*/ 4756257 w 8267681"/>
              <a:gd name="connsiteY405" fmla="*/ 5841371 h 6698675"/>
              <a:gd name="connsiteX406" fmla="*/ 4718677 w 8267681"/>
              <a:gd name="connsiteY406" fmla="*/ 5796744 h 6698675"/>
              <a:gd name="connsiteX407" fmla="*/ 4685794 w 8267681"/>
              <a:gd name="connsiteY407" fmla="*/ 5768559 h 6698675"/>
              <a:gd name="connsiteX408" fmla="*/ 6381869 w 8267681"/>
              <a:gd name="connsiteY408" fmla="*/ 5762907 h 6698675"/>
              <a:gd name="connsiteX409" fmla="*/ 6365171 w 8267681"/>
              <a:gd name="connsiteY409" fmla="*/ 5763861 h 6698675"/>
              <a:gd name="connsiteX410" fmla="*/ 6419193 w 8267681"/>
              <a:gd name="connsiteY410" fmla="*/ 5787349 h 6698675"/>
              <a:gd name="connsiteX411" fmla="*/ 6381869 w 8267681"/>
              <a:gd name="connsiteY411" fmla="*/ 5762907 h 6698675"/>
              <a:gd name="connsiteX412" fmla="*/ 6212500 w 8267681"/>
              <a:gd name="connsiteY412" fmla="*/ 5761512 h 6698675"/>
              <a:gd name="connsiteX413" fmla="*/ 6215701 w 8267681"/>
              <a:gd name="connsiteY413" fmla="*/ 5766800 h 6698675"/>
              <a:gd name="connsiteX414" fmla="*/ 6212500 w 8267681"/>
              <a:gd name="connsiteY414" fmla="*/ 5785000 h 6698675"/>
              <a:gd name="connsiteX415" fmla="*/ 6211296 w 8267681"/>
              <a:gd name="connsiteY415" fmla="*/ 5769686 h 6698675"/>
              <a:gd name="connsiteX416" fmla="*/ 4605936 w 8267681"/>
              <a:gd name="connsiteY416" fmla="*/ 5761512 h 6698675"/>
              <a:gd name="connsiteX417" fmla="*/ 4603587 w 8267681"/>
              <a:gd name="connsiteY417" fmla="*/ 5763861 h 6698675"/>
              <a:gd name="connsiteX418" fmla="*/ 4620028 w 8267681"/>
              <a:gd name="connsiteY418" fmla="*/ 5785000 h 6698675"/>
              <a:gd name="connsiteX419" fmla="*/ 4624726 w 8267681"/>
              <a:gd name="connsiteY419" fmla="*/ 5777954 h 6698675"/>
              <a:gd name="connsiteX420" fmla="*/ 4617680 w 8267681"/>
              <a:gd name="connsiteY420" fmla="*/ 5770907 h 6698675"/>
              <a:gd name="connsiteX421" fmla="*/ 4605936 w 8267681"/>
              <a:gd name="connsiteY421" fmla="*/ 5761512 h 6698675"/>
              <a:gd name="connsiteX422" fmla="*/ 6259476 w 8267681"/>
              <a:gd name="connsiteY422" fmla="*/ 5756815 h 6698675"/>
              <a:gd name="connsiteX423" fmla="*/ 6266522 w 8267681"/>
              <a:gd name="connsiteY423" fmla="*/ 5770907 h 6698675"/>
              <a:gd name="connsiteX424" fmla="*/ 6391007 w 8267681"/>
              <a:gd name="connsiteY424" fmla="*/ 5785000 h 6698675"/>
              <a:gd name="connsiteX425" fmla="*/ 6259476 w 8267681"/>
              <a:gd name="connsiteY425" fmla="*/ 5756815 h 6698675"/>
              <a:gd name="connsiteX426" fmla="*/ 3772119 w 8267681"/>
              <a:gd name="connsiteY426" fmla="*/ 5752117 h 6698675"/>
              <a:gd name="connsiteX427" fmla="*/ 3755678 w 8267681"/>
              <a:gd name="connsiteY427" fmla="*/ 5773256 h 6698675"/>
              <a:gd name="connsiteX428" fmla="*/ 3772119 w 8267681"/>
              <a:gd name="connsiteY428" fmla="*/ 5752117 h 6698675"/>
              <a:gd name="connsiteX429" fmla="*/ 5277687 w 8267681"/>
              <a:gd name="connsiteY429" fmla="*/ 5752116 h 6698675"/>
              <a:gd name="connsiteX430" fmla="*/ 5280036 w 8267681"/>
              <a:gd name="connsiteY430" fmla="*/ 5752116 h 6698675"/>
              <a:gd name="connsiteX431" fmla="*/ 5322314 w 8267681"/>
              <a:gd name="connsiteY431" fmla="*/ 5752116 h 6698675"/>
              <a:gd name="connsiteX432" fmla="*/ 5284734 w 8267681"/>
              <a:gd name="connsiteY432" fmla="*/ 5759162 h 6698675"/>
              <a:gd name="connsiteX433" fmla="*/ 5294129 w 8267681"/>
              <a:gd name="connsiteY433" fmla="*/ 5761511 h 6698675"/>
              <a:gd name="connsiteX434" fmla="*/ 5270641 w 8267681"/>
              <a:gd name="connsiteY434" fmla="*/ 5768558 h 6698675"/>
              <a:gd name="connsiteX435" fmla="*/ 5277687 w 8267681"/>
              <a:gd name="connsiteY435" fmla="*/ 5752116 h 6698675"/>
              <a:gd name="connsiteX436" fmla="*/ 6192408 w 8267681"/>
              <a:gd name="connsiteY436" fmla="*/ 5746636 h 6698675"/>
              <a:gd name="connsiteX437" fmla="*/ 6193584 w 8267681"/>
              <a:gd name="connsiteY437" fmla="*/ 5751033 h 6698675"/>
              <a:gd name="connsiteX438" fmla="*/ 6187838 w 8267681"/>
              <a:gd name="connsiteY438" fmla="*/ 5808488 h 6698675"/>
              <a:gd name="connsiteX439" fmla="*/ 6179617 w 8267681"/>
              <a:gd name="connsiteY439" fmla="*/ 5883649 h 6698675"/>
              <a:gd name="connsiteX440" fmla="*/ 6173645 w 8267681"/>
              <a:gd name="connsiteY440" fmla="*/ 5878971 h 6698675"/>
              <a:gd name="connsiteX441" fmla="*/ 6184939 w 8267681"/>
              <a:gd name="connsiteY441" fmla="*/ 5811644 h 6698675"/>
              <a:gd name="connsiteX442" fmla="*/ 6190033 w 8267681"/>
              <a:gd name="connsiteY442" fmla="*/ 5756977 h 6698675"/>
              <a:gd name="connsiteX443" fmla="*/ 2073956 w 8267681"/>
              <a:gd name="connsiteY443" fmla="*/ 5745070 h 6698675"/>
              <a:gd name="connsiteX444" fmla="*/ 2066912 w 8267681"/>
              <a:gd name="connsiteY444" fmla="*/ 5752116 h 6698675"/>
              <a:gd name="connsiteX445" fmla="*/ 2069262 w 8267681"/>
              <a:gd name="connsiteY445" fmla="*/ 6073899 h 6698675"/>
              <a:gd name="connsiteX446" fmla="*/ 2076305 w 8267681"/>
              <a:gd name="connsiteY446" fmla="*/ 6080945 h 6698675"/>
              <a:gd name="connsiteX447" fmla="*/ 2081005 w 8267681"/>
              <a:gd name="connsiteY447" fmla="*/ 6073899 h 6698675"/>
              <a:gd name="connsiteX448" fmla="*/ 2085700 w 8267681"/>
              <a:gd name="connsiteY448" fmla="*/ 5921228 h 6698675"/>
              <a:gd name="connsiteX449" fmla="*/ 2083355 w 8267681"/>
              <a:gd name="connsiteY449" fmla="*/ 5836672 h 6698675"/>
              <a:gd name="connsiteX450" fmla="*/ 2081005 w 8267681"/>
              <a:gd name="connsiteY450" fmla="*/ 5770906 h 6698675"/>
              <a:gd name="connsiteX451" fmla="*/ 2073956 w 8267681"/>
              <a:gd name="connsiteY451" fmla="*/ 5745070 h 6698675"/>
              <a:gd name="connsiteX452" fmla="*/ 6376914 w 8267681"/>
              <a:gd name="connsiteY452" fmla="*/ 5735676 h 6698675"/>
              <a:gd name="connsiteX453" fmla="*/ 6433285 w 8267681"/>
              <a:gd name="connsiteY453" fmla="*/ 5761512 h 6698675"/>
              <a:gd name="connsiteX454" fmla="*/ 6376914 w 8267681"/>
              <a:gd name="connsiteY454" fmla="*/ 5735676 h 6698675"/>
              <a:gd name="connsiteX455" fmla="*/ 5331709 w 8267681"/>
              <a:gd name="connsiteY455" fmla="*/ 5733327 h 6698675"/>
              <a:gd name="connsiteX456" fmla="*/ 5334058 w 8267681"/>
              <a:gd name="connsiteY456" fmla="*/ 5735676 h 6698675"/>
              <a:gd name="connsiteX457" fmla="*/ 5329361 w 8267681"/>
              <a:gd name="connsiteY457" fmla="*/ 5796744 h 6698675"/>
              <a:gd name="connsiteX458" fmla="*/ 5369290 w 8267681"/>
              <a:gd name="connsiteY458" fmla="*/ 5792047 h 6698675"/>
              <a:gd name="connsiteX459" fmla="*/ 5331709 w 8267681"/>
              <a:gd name="connsiteY459" fmla="*/ 5801442 h 6698675"/>
              <a:gd name="connsiteX460" fmla="*/ 5319966 w 8267681"/>
              <a:gd name="connsiteY460" fmla="*/ 5829627 h 6698675"/>
              <a:gd name="connsiteX461" fmla="*/ 5327012 w 8267681"/>
              <a:gd name="connsiteY461" fmla="*/ 5801442 h 6698675"/>
              <a:gd name="connsiteX462" fmla="*/ 5308222 w 8267681"/>
              <a:gd name="connsiteY462" fmla="*/ 5806139 h 6698675"/>
              <a:gd name="connsiteX463" fmla="*/ 5305873 w 8267681"/>
              <a:gd name="connsiteY463" fmla="*/ 5801442 h 6698675"/>
              <a:gd name="connsiteX464" fmla="*/ 5327012 w 8267681"/>
              <a:gd name="connsiteY464" fmla="*/ 5799093 h 6698675"/>
              <a:gd name="connsiteX465" fmla="*/ 5331709 w 8267681"/>
              <a:gd name="connsiteY465" fmla="*/ 5733327 h 6698675"/>
              <a:gd name="connsiteX466" fmla="*/ 3593612 w 8267681"/>
              <a:gd name="connsiteY466" fmla="*/ 5733327 h 6698675"/>
              <a:gd name="connsiteX467" fmla="*/ 3595962 w 8267681"/>
              <a:gd name="connsiteY467" fmla="*/ 5745071 h 6698675"/>
              <a:gd name="connsiteX468" fmla="*/ 3593612 w 8267681"/>
              <a:gd name="connsiteY468" fmla="*/ 5733327 h 6698675"/>
              <a:gd name="connsiteX469" fmla="*/ 3062788 w 8267681"/>
              <a:gd name="connsiteY469" fmla="*/ 5730977 h 6698675"/>
              <a:gd name="connsiteX470" fmla="*/ 3011115 w 8267681"/>
              <a:gd name="connsiteY470" fmla="*/ 5895393 h 6698675"/>
              <a:gd name="connsiteX471" fmla="*/ 3026150 w 8267681"/>
              <a:gd name="connsiteY471" fmla="*/ 5866458 h 6698675"/>
              <a:gd name="connsiteX472" fmla="*/ 3006418 w 8267681"/>
              <a:gd name="connsiteY472" fmla="*/ 5929449 h 6698675"/>
              <a:gd name="connsiteX473" fmla="*/ 2968837 w 8267681"/>
              <a:gd name="connsiteY473" fmla="*/ 6026924 h 6698675"/>
              <a:gd name="connsiteX474" fmla="*/ 3062788 w 8267681"/>
              <a:gd name="connsiteY474" fmla="*/ 5730977 h 6698675"/>
              <a:gd name="connsiteX475" fmla="*/ 5098043 w 8267681"/>
              <a:gd name="connsiteY475" fmla="*/ 5727940 h 6698675"/>
              <a:gd name="connsiteX476" fmla="*/ 5146155 w 8267681"/>
              <a:gd name="connsiteY476" fmla="*/ 5730978 h 6698675"/>
              <a:gd name="connsiteX477" fmla="*/ 5097699 w 8267681"/>
              <a:gd name="connsiteY477" fmla="*/ 5734139 h 6698675"/>
              <a:gd name="connsiteX478" fmla="*/ 3779166 w 8267681"/>
              <a:gd name="connsiteY478" fmla="*/ 5726281 h 6698675"/>
              <a:gd name="connsiteX479" fmla="*/ 3781514 w 8267681"/>
              <a:gd name="connsiteY479" fmla="*/ 5738025 h 6698675"/>
              <a:gd name="connsiteX480" fmla="*/ 3783863 w 8267681"/>
              <a:gd name="connsiteY480" fmla="*/ 5728630 h 6698675"/>
              <a:gd name="connsiteX481" fmla="*/ 3781514 w 8267681"/>
              <a:gd name="connsiteY481" fmla="*/ 5726281 h 6698675"/>
              <a:gd name="connsiteX482" fmla="*/ 3779166 w 8267681"/>
              <a:gd name="connsiteY482" fmla="*/ 5726281 h 6698675"/>
              <a:gd name="connsiteX483" fmla="*/ 3090974 w 8267681"/>
              <a:gd name="connsiteY483" fmla="*/ 5723931 h 6698675"/>
              <a:gd name="connsiteX484" fmla="*/ 3081579 w 8267681"/>
              <a:gd name="connsiteY484" fmla="*/ 5768558 h 6698675"/>
              <a:gd name="connsiteX485" fmla="*/ 3053393 w 8267681"/>
              <a:gd name="connsiteY485" fmla="*/ 5883649 h 6698675"/>
              <a:gd name="connsiteX486" fmla="*/ 3008768 w 8267681"/>
              <a:gd name="connsiteY486" fmla="*/ 6036320 h 6698675"/>
              <a:gd name="connsiteX487" fmla="*/ 2961791 w 8267681"/>
              <a:gd name="connsiteY487" fmla="*/ 6146712 h 6698675"/>
              <a:gd name="connsiteX488" fmla="*/ 2997023 w 8267681"/>
              <a:gd name="connsiteY488" fmla="*/ 5991693 h 6698675"/>
              <a:gd name="connsiteX489" fmla="*/ 2994674 w 8267681"/>
              <a:gd name="connsiteY489" fmla="*/ 6022227 h 6698675"/>
              <a:gd name="connsiteX490" fmla="*/ 3004069 w 8267681"/>
              <a:gd name="connsiteY490" fmla="*/ 5977600 h 6698675"/>
              <a:gd name="connsiteX491" fmla="*/ 3090974 w 8267681"/>
              <a:gd name="connsiteY491" fmla="*/ 5723931 h 6698675"/>
              <a:gd name="connsiteX492" fmla="*/ 3209171 w 8267681"/>
              <a:gd name="connsiteY492" fmla="*/ 5721887 h 6698675"/>
              <a:gd name="connsiteX493" fmla="*/ 3216392 w 8267681"/>
              <a:gd name="connsiteY493" fmla="*/ 5724775 h 6698675"/>
              <a:gd name="connsiteX494" fmla="*/ 3220156 w 8267681"/>
              <a:gd name="connsiteY494" fmla="*/ 5775605 h 6698675"/>
              <a:gd name="connsiteX495" fmla="*/ 3212353 w 8267681"/>
              <a:gd name="connsiteY495" fmla="*/ 5751953 h 6698675"/>
              <a:gd name="connsiteX496" fmla="*/ 3209850 w 8267681"/>
              <a:gd name="connsiteY496" fmla="*/ 5732662 h 6698675"/>
              <a:gd name="connsiteX497" fmla="*/ 6261678 w 8267681"/>
              <a:gd name="connsiteY497" fmla="*/ 5720115 h 6698675"/>
              <a:gd name="connsiteX498" fmla="*/ 6217198 w 8267681"/>
              <a:gd name="connsiteY498" fmla="*/ 5721583 h 6698675"/>
              <a:gd name="connsiteX499" fmla="*/ 6264173 w 8267681"/>
              <a:gd name="connsiteY499" fmla="*/ 5733327 h 6698675"/>
              <a:gd name="connsiteX500" fmla="*/ 6379263 w 8267681"/>
              <a:gd name="connsiteY500" fmla="*/ 5754466 h 6698675"/>
              <a:gd name="connsiteX501" fmla="*/ 6261678 w 8267681"/>
              <a:gd name="connsiteY501" fmla="*/ 5720115 h 6698675"/>
              <a:gd name="connsiteX502" fmla="*/ 5289430 w 8267681"/>
              <a:gd name="connsiteY502" fmla="*/ 5719233 h 6698675"/>
              <a:gd name="connsiteX503" fmla="*/ 5308220 w 8267681"/>
              <a:gd name="connsiteY503" fmla="*/ 5728628 h 6698675"/>
              <a:gd name="connsiteX504" fmla="*/ 5315266 w 8267681"/>
              <a:gd name="connsiteY504" fmla="*/ 5730977 h 6698675"/>
              <a:gd name="connsiteX505" fmla="*/ 5298825 w 8267681"/>
              <a:gd name="connsiteY505" fmla="*/ 5733326 h 6698675"/>
              <a:gd name="connsiteX506" fmla="*/ 5289430 w 8267681"/>
              <a:gd name="connsiteY506" fmla="*/ 5719233 h 6698675"/>
              <a:gd name="connsiteX507" fmla="*/ 5272989 w 8267681"/>
              <a:gd name="connsiteY507" fmla="*/ 5719233 h 6698675"/>
              <a:gd name="connsiteX508" fmla="*/ 5289431 w 8267681"/>
              <a:gd name="connsiteY508" fmla="*/ 5730977 h 6698675"/>
              <a:gd name="connsiteX509" fmla="*/ 5282384 w 8267681"/>
              <a:gd name="connsiteY509" fmla="*/ 5728628 h 6698675"/>
              <a:gd name="connsiteX510" fmla="*/ 5275338 w 8267681"/>
              <a:gd name="connsiteY510" fmla="*/ 5738023 h 6698675"/>
              <a:gd name="connsiteX511" fmla="*/ 5275338 w 8267681"/>
              <a:gd name="connsiteY511" fmla="*/ 5733326 h 6698675"/>
              <a:gd name="connsiteX512" fmla="*/ 5277687 w 8267681"/>
              <a:gd name="connsiteY512" fmla="*/ 5730977 h 6698675"/>
              <a:gd name="connsiteX513" fmla="*/ 5275338 w 8267681"/>
              <a:gd name="connsiteY513" fmla="*/ 5730977 h 6698675"/>
              <a:gd name="connsiteX514" fmla="*/ 5272989 w 8267681"/>
              <a:gd name="connsiteY514" fmla="*/ 5719233 h 6698675"/>
              <a:gd name="connsiteX515" fmla="*/ 3685214 w 8267681"/>
              <a:gd name="connsiteY515" fmla="*/ 5712188 h 6698675"/>
              <a:gd name="connsiteX516" fmla="*/ 3685214 w 8267681"/>
              <a:gd name="connsiteY516" fmla="*/ 5763861 h 6698675"/>
              <a:gd name="connsiteX517" fmla="*/ 3699307 w 8267681"/>
              <a:gd name="connsiteY517" fmla="*/ 5742722 h 6698675"/>
              <a:gd name="connsiteX518" fmla="*/ 3685214 w 8267681"/>
              <a:gd name="connsiteY518" fmla="*/ 5712188 h 6698675"/>
              <a:gd name="connsiteX519" fmla="*/ 5362242 w 8267681"/>
              <a:gd name="connsiteY519" fmla="*/ 5712187 h 6698675"/>
              <a:gd name="connsiteX520" fmla="*/ 5364591 w 8267681"/>
              <a:gd name="connsiteY520" fmla="*/ 5716885 h 6698675"/>
              <a:gd name="connsiteX521" fmla="*/ 5355196 w 8267681"/>
              <a:gd name="connsiteY521" fmla="*/ 5740373 h 6698675"/>
              <a:gd name="connsiteX522" fmla="*/ 5362242 w 8267681"/>
              <a:gd name="connsiteY522" fmla="*/ 5712187 h 6698675"/>
              <a:gd name="connsiteX523" fmla="*/ 3118768 w 8267681"/>
              <a:gd name="connsiteY523" fmla="*/ 5711267 h 6698675"/>
              <a:gd name="connsiteX524" fmla="*/ 3118867 w 8267681"/>
              <a:gd name="connsiteY524" fmla="*/ 5713948 h 6698675"/>
              <a:gd name="connsiteX525" fmla="*/ 3126206 w 8267681"/>
              <a:gd name="connsiteY525" fmla="*/ 5773255 h 6698675"/>
              <a:gd name="connsiteX526" fmla="*/ 3124197 w 8267681"/>
              <a:gd name="connsiteY526" fmla="*/ 5771247 h 6698675"/>
              <a:gd name="connsiteX527" fmla="*/ 3152042 w 8267681"/>
              <a:gd name="connsiteY527" fmla="*/ 5914183 h 6698675"/>
              <a:gd name="connsiteX528" fmla="*/ 3138243 w 8267681"/>
              <a:gd name="connsiteY528" fmla="*/ 5797919 h 6698675"/>
              <a:gd name="connsiteX529" fmla="*/ 5099083 w 8267681"/>
              <a:gd name="connsiteY529" fmla="*/ 5709215 h 6698675"/>
              <a:gd name="connsiteX530" fmla="*/ 5100574 w 8267681"/>
              <a:gd name="connsiteY530" fmla="*/ 5709289 h 6698675"/>
              <a:gd name="connsiteX531" fmla="*/ 5125016 w 8267681"/>
              <a:gd name="connsiteY531" fmla="*/ 5714537 h 6698675"/>
              <a:gd name="connsiteX532" fmla="*/ 5103217 w 8267681"/>
              <a:gd name="connsiteY532" fmla="*/ 5713583 h 6698675"/>
              <a:gd name="connsiteX533" fmla="*/ 5098838 w 8267681"/>
              <a:gd name="connsiteY533" fmla="*/ 5713641 h 6698675"/>
              <a:gd name="connsiteX534" fmla="*/ 5446798 w 8267681"/>
              <a:gd name="connsiteY534" fmla="*/ 5707489 h 6698675"/>
              <a:gd name="connsiteX535" fmla="*/ 5446798 w 8267681"/>
              <a:gd name="connsiteY535" fmla="*/ 5735675 h 6698675"/>
              <a:gd name="connsiteX536" fmla="*/ 5416264 w 8267681"/>
              <a:gd name="connsiteY536" fmla="*/ 5867207 h 6698675"/>
              <a:gd name="connsiteX537" fmla="*/ 5446798 w 8267681"/>
              <a:gd name="connsiteY537" fmla="*/ 5707489 h 6698675"/>
              <a:gd name="connsiteX538" fmla="*/ 4852558 w 8267681"/>
              <a:gd name="connsiteY538" fmla="*/ 5702792 h 6698675"/>
              <a:gd name="connsiteX539" fmla="*/ 4829070 w 8267681"/>
              <a:gd name="connsiteY539" fmla="*/ 5705141 h 6698675"/>
              <a:gd name="connsiteX540" fmla="*/ 4852558 w 8267681"/>
              <a:gd name="connsiteY540" fmla="*/ 5702792 h 6698675"/>
              <a:gd name="connsiteX541" fmla="*/ 6264467 w 8267681"/>
              <a:gd name="connsiteY541" fmla="*/ 5700151 h 6698675"/>
              <a:gd name="connsiteX542" fmla="*/ 6198407 w 8267681"/>
              <a:gd name="connsiteY542" fmla="*/ 5702793 h 6698675"/>
              <a:gd name="connsiteX543" fmla="*/ 6325242 w 8267681"/>
              <a:gd name="connsiteY543" fmla="*/ 5709839 h 6698675"/>
              <a:gd name="connsiteX544" fmla="*/ 6264467 w 8267681"/>
              <a:gd name="connsiteY544" fmla="*/ 5700151 h 6698675"/>
              <a:gd name="connsiteX545" fmla="*/ 5404644 w 8267681"/>
              <a:gd name="connsiteY545" fmla="*/ 5691791 h 6698675"/>
              <a:gd name="connsiteX546" fmla="*/ 5409217 w 8267681"/>
              <a:gd name="connsiteY546" fmla="*/ 5719235 h 6698675"/>
              <a:gd name="connsiteX547" fmla="*/ 5402171 w 8267681"/>
              <a:gd name="connsiteY547" fmla="*/ 5700444 h 6698675"/>
              <a:gd name="connsiteX548" fmla="*/ 5404520 w 8267681"/>
              <a:gd name="connsiteY548" fmla="*/ 5691049 h 6698675"/>
              <a:gd name="connsiteX549" fmla="*/ 5404770 w 8267681"/>
              <a:gd name="connsiteY549" fmla="*/ 5691349 h 6698675"/>
              <a:gd name="connsiteX550" fmla="*/ 5404644 w 8267681"/>
              <a:gd name="connsiteY550" fmla="*/ 5691791 h 6698675"/>
              <a:gd name="connsiteX551" fmla="*/ 4719962 w 8267681"/>
              <a:gd name="connsiteY551" fmla="*/ 5689472 h 6698675"/>
              <a:gd name="connsiteX552" fmla="*/ 4716328 w 8267681"/>
              <a:gd name="connsiteY552" fmla="*/ 5695747 h 6698675"/>
              <a:gd name="connsiteX553" fmla="*/ 4719962 w 8267681"/>
              <a:gd name="connsiteY553" fmla="*/ 5689472 h 6698675"/>
              <a:gd name="connsiteX554" fmla="*/ 5105003 w 8267681"/>
              <a:gd name="connsiteY554" fmla="*/ 5685322 h 6698675"/>
              <a:gd name="connsiteX555" fmla="*/ 5136760 w 8267681"/>
              <a:gd name="connsiteY555" fmla="*/ 5700444 h 6698675"/>
              <a:gd name="connsiteX556" fmla="*/ 5088742 w 8267681"/>
              <a:gd name="connsiteY556" fmla="*/ 5701965 h 6698675"/>
              <a:gd name="connsiteX557" fmla="*/ 5059250 w 8267681"/>
              <a:gd name="connsiteY557" fmla="*/ 5686352 h 6698675"/>
              <a:gd name="connsiteX558" fmla="*/ 5103877 w 8267681"/>
              <a:gd name="connsiteY558" fmla="*/ 5688700 h 6698675"/>
              <a:gd name="connsiteX559" fmla="*/ 6172094 w 8267681"/>
              <a:gd name="connsiteY559" fmla="*/ 5684480 h 6698675"/>
              <a:gd name="connsiteX560" fmla="*/ 6167873 w 8267681"/>
              <a:gd name="connsiteY560" fmla="*/ 5686352 h 6698675"/>
              <a:gd name="connsiteX561" fmla="*/ 6160827 w 8267681"/>
              <a:gd name="connsiteY561" fmla="*/ 5827278 h 6698675"/>
              <a:gd name="connsiteX562" fmla="*/ 6184315 w 8267681"/>
              <a:gd name="connsiteY562" fmla="*/ 5693398 h 6698675"/>
              <a:gd name="connsiteX563" fmla="*/ 6172094 w 8267681"/>
              <a:gd name="connsiteY563" fmla="*/ 5684480 h 6698675"/>
              <a:gd name="connsiteX564" fmla="*/ 5406869 w 8267681"/>
              <a:gd name="connsiteY564" fmla="*/ 5684003 h 6698675"/>
              <a:gd name="connsiteX565" fmla="*/ 5416264 w 8267681"/>
              <a:gd name="connsiteY565" fmla="*/ 5705142 h 6698675"/>
              <a:gd name="connsiteX566" fmla="*/ 5410392 w 8267681"/>
              <a:gd name="connsiteY566" fmla="*/ 5698095 h 6698675"/>
              <a:gd name="connsiteX567" fmla="*/ 5404770 w 8267681"/>
              <a:gd name="connsiteY567" fmla="*/ 5691349 h 6698675"/>
              <a:gd name="connsiteX568" fmla="*/ 3177878 w 8267681"/>
              <a:gd name="connsiteY568" fmla="*/ 5684003 h 6698675"/>
              <a:gd name="connsiteX569" fmla="*/ 3201366 w 8267681"/>
              <a:gd name="connsiteY569" fmla="*/ 5801442 h 6698675"/>
              <a:gd name="connsiteX570" fmla="*/ 3189622 w 8267681"/>
              <a:gd name="connsiteY570" fmla="*/ 5695747 h 6698675"/>
              <a:gd name="connsiteX571" fmla="*/ 3180227 w 8267681"/>
              <a:gd name="connsiteY571" fmla="*/ 5684003 h 6698675"/>
              <a:gd name="connsiteX572" fmla="*/ 3177878 w 8267681"/>
              <a:gd name="connsiteY572" fmla="*/ 5684003 h 6698675"/>
              <a:gd name="connsiteX573" fmla="*/ 5066296 w 8267681"/>
              <a:gd name="connsiteY573" fmla="*/ 5676956 h 6698675"/>
              <a:gd name="connsiteX574" fmla="*/ 4979391 w 8267681"/>
              <a:gd name="connsiteY574" fmla="*/ 5691049 h 6698675"/>
              <a:gd name="connsiteX575" fmla="*/ 5066296 w 8267681"/>
              <a:gd name="connsiteY575" fmla="*/ 5676956 h 6698675"/>
              <a:gd name="connsiteX576" fmla="*/ 4462660 w 8267681"/>
              <a:gd name="connsiteY576" fmla="*/ 5672259 h 6698675"/>
              <a:gd name="connsiteX577" fmla="*/ 4462660 w 8267681"/>
              <a:gd name="connsiteY577" fmla="*/ 5681654 h 6698675"/>
              <a:gd name="connsiteX578" fmla="*/ 4467358 w 8267681"/>
              <a:gd name="connsiteY578" fmla="*/ 5684003 h 6698675"/>
              <a:gd name="connsiteX579" fmla="*/ 4469706 w 8267681"/>
              <a:gd name="connsiteY579" fmla="*/ 5681654 h 6698675"/>
              <a:gd name="connsiteX580" fmla="*/ 4462660 w 8267681"/>
              <a:gd name="connsiteY580" fmla="*/ 5672259 h 6698675"/>
              <a:gd name="connsiteX581" fmla="*/ 3036951 w 8267681"/>
              <a:gd name="connsiteY581" fmla="*/ 5672258 h 6698675"/>
              <a:gd name="connsiteX582" fmla="*/ 3018161 w 8267681"/>
              <a:gd name="connsiteY582" fmla="*/ 5712188 h 6698675"/>
              <a:gd name="connsiteX583" fmla="*/ 2950047 w 8267681"/>
              <a:gd name="connsiteY583" fmla="*/ 5857813 h 6698675"/>
              <a:gd name="connsiteX584" fmla="*/ 2968837 w 8267681"/>
              <a:gd name="connsiteY584" fmla="*/ 5817883 h 6698675"/>
              <a:gd name="connsiteX585" fmla="*/ 3036951 w 8267681"/>
              <a:gd name="connsiteY585" fmla="*/ 5672258 h 6698675"/>
              <a:gd name="connsiteX586" fmla="*/ 6148276 w 8267681"/>
              <a:gd name="connsiteY586" fmla="*/ 5666681 h 6698675"/>
              <a:gd name="connsiteX587" fmla="*/ 6144386 w 8267681"/>
              <a:gd name="connsiteY587" fmla="*/ 5669910 h 6698675"/>
              <a:gd name="connsiteX588" fmla="*/ 6137339 w 8267681"/>
              <a:gd name="connsiteY588" fmla="*/ 5815534 h 6698675"/>
              <a:gd name="connsiteX589" fmla="*/ 6153780 w 8267681"/>
              <a:gd name="connsiteY589" fmla="*/ 5820232 h 6698675"/>
              <a:gd name="connsiteX590" fmla="*/ 6160827 w 8267681"/>
              <a:gd name="connsiteY590" fmla="*/ 5674608 h 6698675"/>
              <a:gd name="connsiteX591" fmla="*/ 6148276 w 8267681"/>
              <a:gd name="connsiteY591" fmla="*/ 5666681 h 6698675"/>
              <a:gd name="connsiteX592" fmla="*/ 5636986 w 8267681"/>
              <a:gd name="connsiteY592" fmla="*/ 5666411 h 6698675"/>
              <a:gd name="connsiteX593" fmla="*/ 5635875 w 8267681"/>
              <a:gd name="connsiteY593" fmla="*/ 5682829 h 6698675"/>
              <a:gd name="connsiteX594" fmla="*/ 5625305 w 8267681"/>
              <a:gd name="connsiteY594" fmla="*/ 5822581 h 6698675"/>
              <a:gd name="connsiteX595" fmla="*/ 5622480 w 8267681"/>
              <a:gd name="connsiteY595" fmla="*/ 5752558 h 6698675"/>
              <a:gd name="connsiteX596" fmla="*/ 5622377 w 8267681"/>
              <a:gd name="connsiteY596" fmla="*/ 5734131 h 6698675"/>
              <a:gd name="connsiteX597" fmla="*/ 5625452 w 8267681"/>
              <a:gd name="connsiteY597" fmla="*/ 5705839 h 6698675"/>
              <a:gd name="connsiteX598" fmla="*/ 6158478 w 8267681"/>
              <a:gd name="connsiteY598" fmla="*/ 5665212 h 6698675"/>
              <a:gd name="connsiteX599" fmla="*/ 6174919 w 8267681"/>
              <a:gd name="connsiteY599" fmla="*/ 5676956 h 6698675"/>
              <a:gd name="connsiteX600" fmla="*/ 6271219 w 8267681"/>
              <a:gd name="connsiteY600" fmla="*/ 5681654 h 6698675"/>
              <a:gd name="connsiteX601" fmla="*/ 6158478 w 8267681"/>
              <a:gd name="connsiteY601" fmla="*/ 5665212 h 6698675"/>
              <a:gd name="connsiteX602" fmla="*/ 3283573 w 8267681"/>
              <a:gd name="connsiteY602" fmla="*/ 5665212 h 6698675"/>
              <a:gd name="connsiteX603" fmla="*/ 3250690 w 8267681"/>
              <a:gd name="connsiteY603" fmla="*/ 5679305 h 6698675"/>
              <a:gd name="connsiteX604" fmla="*/ 3250690 w 8267681"/>
              <a:gd name="connsiteY604" fmla="*/ 5688700 h 6698675"/>
              <a:gd name="connsiteX605" fmla="*/ 3283573 w 8267681"/>
              <a:gd name="connsiteY605" fmla="*/ 5665212 h 6698675"/>
              <a:gd name="connsiteX606" fmla="*/ 3058092 w 8267681"/>
              <a:gd name="connsiteY606" fmla="*/ 5660514 h 6698675"/>
              <a:gd name="connsiteX607" fmla="*/ 3046348 w 8267681"/>
              <a:gd name="connsiteY607" fmla="*/ 5705141 h 6698675"/>
              <a:gd name="connsiteX608" fmla="*/ 2997024 w 8267681"/>
              <a:gd name="connsiteY608" fmla="*/ 5839021 h 6698675"/>
              <a:gd name="connsiteX609" fmla="*/ 2985280 w 8267681"/>
              <a:gd name="connsiteY609" fmla="*/ 5862509 h 6698675"/>
              <a:gd name="connsiteX610" fmla="*/ 3058092 w 8267681"/>
              <a:gd name="connsiteY610" fmla="*/ 5660514 h 6698675"/>
              <a:gd name="connsiteX611" fmla="*/ 3116813 w 8267681"/>
              <a:gd name="connsiteY611" fmla="*/ 5658178 h 6698675"/>
              <a:gd name="connsiteX612" fmla="*/ 3117965 w 8267681"/>
              <a:gd name="connsiteY612" fmla="*/ 5689456 h 6698675"/>
              <a:gd name="connsiteX613" fmla="*/ 3140298 w 8267681"/>
              <a:gd name="connsiteY613" fmla="*/ 5799093 h 6698675"/>
              <a:gd name="connsiteX614" fmla="*/ 3121508 w 8267681"/>
              <a:gd name="connsiteY614" fmla="*/ 5676956 h 6698675"/>
              <a:gd name="connsiteX615" fmla="*/ 3119159 w 8267681"/>
              <a:gd name="connsiteY615" fmla="*/ 5676956 h 6698675"/>
              <a:gd name="connsiteX616" fmla="*/ 3119159 w 8267681"/>
              <a:gd name="connsiteY616" fmla="*/ 5672259 h 6698675"/>
              <a:gd name="connsiteX617" fmla="*/ 4446219 w 8267681"/>
              <a:gd name="connsiteY617" fmla="*/ 5651120 h 6698675"/>
              <a:gd name="connsiteX618" fmla="*/ 4448567 w 8267681"/>
              <a:gd name="connsiteY618" fmla="*/ 5665212 h 6698675"/>
              <a:gd name="connsiteX619" fmla="*/ 4460311 w 8267681"/>
              <a:gd name="connsiteY619" fmla="*/ 5679305 h 6698675"/>
              <a:gd name="connsiteX620" fmla="*/ 4446219 w 8267681"/>
              <a:gd name="connsiteY620" fmla="*/ 5651120 h 6698675"/>
              <a:gd name="connsiteX621" fmla="*/ 3262434 w 8267681"/>
              <a:gd name="connsiteY621" fmla="*/ 5646422 h 6698675"/>
              <a:gd name="connsiteX622" fmla="*/ 3248342 w 8267681"/>
              <a:gd name="connsiteY622" fmla="*/ 5648771 h 6698675"/>
              <a:gd name="connsiteX623" fmla="*/ 3248342 w 8267681"/>
              <a:gd name="connsiteY623" fmla="*/ 5655817 h 6698675"/>
              <a:gd name="connsiteX624" fmla="*/ 3262434 w 8267681"/>
              <a:gd name="connsiteY624" fmla="*/ 5646422 h 6698675"/>
              <a:gd name="connsiteX625" fmla="*/ 3180227 w 8267681"/>
              <a:gd name="connsiteY625" fmla="*/ 5646422 h 6698675"/>
              <a:gd name="connsiteX626" fmla="*/ 3168483 w 8267681"/>
              <a:gd name="connsiteY626" fmla="*/ 5655817 h 6698675"/>
              <a:gd name="connsiteX627" fmla="*/ 3170832 w 8267681"/>
              <a:gd name="connsiteY627" fmla="*/ 5667561 h 6698675"/>
              <a:gd name="connsiteX628" fmla="*/ 3182576 w 8267681"/>
              <a:gd name="connsiteY628" fmla="*/ 5665212 h 6698675"/>
              <a:gd name="connsiteX629" fmla="*/ 3180227 w 8267681"/>
              <a:gd name="connsiteY629" fmla="*/ 5646422 h 6698675"/>
              <a:gd name="connsiteX630" fmla="*/ 6196389 w 8267681"/>
              <a:gd name="connsiteY630" fmla="*/ 5646202 h 6698675"/>
              <a:gd name="connsiteX631" fmla="*/ 6137339 w 8267681"/>
              <a:gd name="connsiteY631" fmla="*/ 5646422 h 6698675"/>
              <a:gd name="connsiteX632" fmla="*/ 6144386 w 8267681"/>
              <a:gd name="connsiteY632" fmla="*/ 5651120 h 6698675"/>
              <a:gd name="connsiteX633" fmla="*/ 6224244 w 8267681"/>
              <a:gd name="connsiteY633" fmla="*/ 5653468 h 6698675"/>
              <a:gd name="connsiteX634" fmla="*/ 6344032 w 8267681"/>
              <a:gd name="connsiteY634" fmla="*/ 5695747 h 6698675"/>
              <a:gd name="connsiteX635" fmla="*/ 6196389 w 8267681"/>
              <a:gd name="connsiteY635" fmla="*/ 5646202 h 6698675"/>
              <a:gd name="connsiteX636" fmla="*/ 6120898 w 8267681"/>
              <a:gd name="connsiteY636" fmla="*/ 5644073 h 6698675"/>
              <a:gd name="connsiteX637" fmla="*/ 6125596 w 8267681"/>
              <a:gd name="connsiteY637" fmla="*/ 5672259 h 6698675"/>
              <a:gd name="connsiteX638" fmla="*/ 6127944 w 8267681"/>
              <a:gd name="connsiteY638" fmla="*/ 5803790 h 6698675"/>
              <a:gd name="connsiteX639" fmla="*/ 6132642 w 8267681"/>
              <a:gd name="connsiteY639" fmla="*/ 5695747 h 6698675"/>
              <a:gd name="connsiteX640" fmla="*/ 6120898 w 8267681"/>
              <a:gd name="connsiteY640" fmla="*/ 5644073 h 6698675"/>
              <a:gd name="connsiteX641" fmla="*/ 5218967 w 8267681"/>
              <a:gd name="connsiteY641" fmla="*/ 5644073 h 6698675"/>
              <a:gd name="connsiteX642" fmla="*/ 5216618 w 8267681"/>
              <a:gd name="connsiteY642" fmla="*/ 5653468 h 6698675"/>
              <a:gd name="connsiteX643" fmla="*/ 5218623 w 8267681"/>
              <a:gd name="connsiteY643" fmla="*/ 5644245 h 6698675"/>
              <a:gd name="connsiteX644" fmla="*/ 3107415 w 8267681"/>
              <a:gd name="connsiteY644" fmla="*/ 5644073 h 6698675"/>
              <a:gd name="connsiteX645" fmla="*/ 3111987 w 8267681"/>
              <a:gd name="connsiteY645" fmla="*/ 5664642 h 6698675"/>
              <a:gd name="connsiteX646" fmla="*/ 3116811 w 8267681"/>
              <a:gd name="connsiteY646" fmla="*/ 5658167 h 6698675"/>
              <a:gd name="connsiteX647" fmla="*/ 3114461 w 8267681"/>
              <a:gd name="connsiteY647" fmla="*/ 5644073 h 6698675"/>
              <a:gd name="connsiteX648" fmla="*/ 3107415 w 8267681"/>
              <a:gd name="connsiteY648" fmla="*/ 5644073 h 6698675"/>
              <a:gd name="connsiteX649" fmla="*/ 5792069 w 8267681"/>
              <a:gd name="connsiteY649" fmla="*/ 5637027 h 6698675"/>
              <a:gd name="connsiteX650" fmla="*/ 5801464 w 8267681"/>
              <a:gd name="connsiteY650" fmla="*/ 5752117 h 6698675"/>
              <a:gd name="connsiteX651" fmla="*/ 5803813 w 8267681"/>
              <a:gd name="connsiteY651" fmla="*/ 5644073 h 6698675"/>
              <a:gd name="connsiteX652" fmla="*/ 5792069 w 8267681"/>
              <a:gd name="connsiteY652" fmla="*/ 5637027 h 6698675"/>
              <a:gd name="connsiteX653" fmla="*/ 3173181 w 8267681"/>
              <a:gd name="connsiteY653" fmla="*/ 5634678 h 6698675"/>
              <a:gd name="connsiteX654" fmla="*/ 3177878 w 8267681"/>
              <a:gd name="connsiteY654" fmla="*/ 5639376 h 6698675"/>
              <a:gd name="connsiteX655" fmla="*/ 3177878 w 8267681"/>
              <a:gd name="connsiteY655" fmla="*/ 5634678 h 6698675"/>
              <a:gd name="connsiteX656" fmla="*/ 3173181 w 8267681"/>
              <a:gd name="connsiteY656" fmla="*/ 5634678 h 6698675"/>
              <a:gd name="connsiteX657" fmla="*/ 3527920 w 8267681"/>
              <a:gd name="connsiteY657" fmla="*/ 5629614 h 6698675"/>
              <a:gd name="connsiteX658" fmla="*/ 3532544 w 8267681"/>
              <a:gd name="connsiteY658" fmla="*/ 5648771 h 6698675"/>
              <a:gd name="connsiteX659" fmla="*/ 3537241 w 8267681"/>
              <a:gd name="connsiteY659" fmla="*/ 5641725 h 6698675"/>
              <a:gd name="connsiteX660" fmla="*/ 3537241 w 8267681"/>
              <a:gd name="connsiteY660" fmla="*/ 5629981 h 6698675"/>
              <a:gd name="connsiteX661" fmla="*/ 3527920 w 8267681"/>
              <a:gd name="connsiteY661" fmla="*/ 5629614 h 6698675"/>
              <a:gd name="connsiteX662" fmla="*/ 6099759 w 8267681"/>
              <a:gd name="connsiteY662" fmla="*/ 5627632 h 6698675"/>
              <a:gd name="connsiteX663" fmla="*/ 6106805 w 8267681"/>
              <a:gd name="connsiteY663" fmla="*/ 5782651 h 6698675"/>
              <a:gd name="connsiteX664" fmla="*/ 6111503 w 8267681"/>
              <a:gd name="connsiteY664" fmla="*/ 5634678 h 6698675"/>
              <a:gd name="connsiteX665" fmla="*/ 6099759 w 8267681"/>
              <a:gd name="connsiteY665" fmla="*/ 5627632 h 6698675"/>
              <a:gd name="connsiteX666" fmla="*/ 4432126 w 8267681"/>
              <a:gd name="connsiteY666" fmla="*/ 5625283 h 6698675"/>
              <a:gd name="connsiteX667" fmla="*/ 4432126 w 8267681"/>
              <a:gd name="connsiteY667" fmla="*/ 5651120 h 6698675"/>
              <a:gd name="connsiteX668" fmla="*/ 4441521 w 8267681"/>
              <a:gd name="connsiteY668" fmla="*/ 5655817 h 6698675"/>
              <a:gd name="connsiteX669" fmla="*/ 4432126 w 8267681"/>
              <a:gd name="connsiteY669" fmla="*/ 5625283 h 6698675"/>
              <a:gd name="connsiteX670" fmla="*/ 3692261 w 8267681"/>
              <a:gd name="connsiteY670" fmla="*/ 5620586 h 6698675"/>
              <a:gd name="connsiteX671" fmla="*/ 3642936 w 8267681"/>
              <a:gd name="connsiteY671" fmla="*/ 5653468 h 6698675"/>
              <a:gd name="connsiteX672" fmla="*/ 3610054 w 8267681"/>
              <a:gd name="connsiteY672" fmla="*/ 5728630 h 6698675"/>
              <a:gd name="connsiteX673" fmla="*/ 3640587 w 8267681"/>
              <a:gd name="connsiteY673" fmla="*/ 5691049 h 6698675"/>
              <a:gd name="connsiteX674" fmla="*/ 3678169 w 8267681"/>
              <a:gd name="connsiteY674" fmla="*/ 5660515 h 6698675"/>
              <a:gd name="connsiteX675" fmla="*/ 3692261 w 8267681"/>
              <a:gd name="connsiteY675" fmla="*/ 5620586 h 6698675"/>
              <a:gd name="connsiteX676" fmla="*/ 5481402 w 8267681"/>
              <a:gd name="connsiteY676" fmla="*/ 5615697 h 6698675"/>
              <a:gd name="connsiteX677" fmla="*/ 5498471 w 8267681"/>
              <a:gd name="connsiteY677" fmla="*/ 5646422 h 6698675"/>
              <a:gd name="connsiteX678" fmla="*/ 5503169 w 8267681"/>
              <a:gd name="connsiteY678" fmla="*/ 5679305 h 6698675"/>
              <a:gd name="connsiteX679" fmla="*/ 5487315 w 8267681"/>
              <a:gd name="connsiteY679" fmla="*/ 5644367 h 6698675"/>
              <a:gd name="connsiteX680" fmla="*/ 5480249 w 8267681"/>
              <a:gd name="connsiteY680" fmla="*/ 5621319 h 6698675"/>
              <a:gd name="connsiteX681" fmla="*/ 4415684 w 8267681"/>
              <a:gd name="connsiteY681" fmla="*/ 5608842 h 6698675"/>
              <a:gd name="connsiteX682" fmla="*/ 4420382 w 8267681"/>
              <a:gd name="connsiteY682" fmla="*/ 5651120 h 6698675"/>
              <a:gd name="connsiteX683" fmla="*/ 4427428 w 8267681"/>
              <a:gd name="connsiteY683" fmla="*/ 5651120 h 6698675"/>
              <a:gd name="connsiteX684" fmla="*/ 4422731 w 8267681"/>
              <a:gd name="connsiteY684" fmla="*/ 5608842 h 6698675"/>
              <a:gd name="connsiteX685" fmla="*/ 4415684 w 8267681"/>
              <a:gd name="connsiteY685" fmla="*/ 5608842 h 6698675"/>
              <a:gd name="connsiteX686" fmla="*/ 6080161 w 8267681"/>
              <a:gd name="connsiteY686" fmla="*/ 5607961 h 6698675"/>
              <a:gd name="connsiteX687" fmla="*/ 6076271 w 8267681"/>
              <a:gd name="connsiteY687" fmla="*/ 5611191 h 6698675"/>
              <a:gd name="connsiteX688" fmla="*/ 6078620 w 8267681"/>
              <a:gd name="connsiteY688" fmla="*/ 5745071 h 6698675"/>
              <a:gd name="connsiteX689" fmla="*/ 6092712 w 8267681"/>
              <a:gd name="connsiteY689" fmla="*/ 5615888 h 6698675"/>
              <a:gd name="connsiteX690" fmla="*/ 6080161 w 8267681"/>
              <a:gd name="connsiteY690" fmla="*/ 5607961 h 6698675"/>
              <a:gd name="connsiteX691" fmla="*/ 4699887 w 8267681"/>
              <a:gd name="connsiteY691" fmla="*/ 5601795 h 6698675"/>
              <a:gd name="connsiteX692" fmla="*/ 4716328 w 8267681"/>
              <a:gd name="connsiteY692" fmla="*/ 5620586 h 6698675"/>
              <a:gd name="connsiteX693" fmla="*/ 4753909 w 8267681"/>
              <a:gd name="connsiteY693" fmla="*/ 5639376 h 6698675"/>
              <a:gd name="connsiteX694" fmla="*/ 4775048 w 8267681"/>
              <a:gd name="connsiteY694" fmla="*/ 5637027 h 6698675"/>
              <a:gd name="connsiteX695" fmla="*/ 4753909 w 8267681"/>
              <a:gd name="connsiteY695" fmla="*/ 5620586 h 6698675"/>
              <a:gd name="connsiteX696" fmla="*/ 4742165 w 8267681"/>
              <a:gd name="connsiteY696" fmla="*/ 5627632 h 6698675"/>
              <a:gd name="connsiteX697" fmla="*/ 4751560 w 8267681"/>
              <a:gd name="connsiteY697" fmla="*/ 5620586 h 6698675"/>
              <a:gd name="connsiteX698" fmla="*/ 4739816 w 8267681"/>
              <a:gd name="connsiteY698" fmla="*/ 5604144 h 6698675"/>
              <a:gd name="connsiteX699" fmla="*/ 4699887 w 8267681"/>
              <a:gd name="connsiteY699" fmla="*/ 5601795 h 6698675"/>
              <a:gd name="connsiteX700" fmla="*/ 5165349 w 8267681"/>
              <a:gd name="connsiteY700" fmla="*/ 5600291 h 6698675"/>
              <a:gd name="connsiteX701" fmla="*/ 5169642 w 8267681"/>
              <a:gd name="connsiteY701" fmla="*/ 5611191 h 6698675"/>
              <a:gd name="connsiteX702" fmla="*/ 5165349 w 8267681"/>
              <a:gd name="connsiteY702" fmla="*/ 5600291 h 6698675"/>
              <a:gd name="connsiteX703" fmla="*/ 3133252 w 8267681"/>
              <a:gd name="connsiteY703" fmla="*/ 5599447 h 6698675"/>
              <a:gd name="connsiteX704" fmla="*/ 3126205 w 8267681"/>
              <a:gd name="connsiteY704" fmla="*/ 5604144 h 6698675"/>
              <a:gd name="connsiteX705" fmla="*/ 3133252 w 8267681"/>
              <a:gd name="connsiteY705" fmla="*/ 5632330 h 6698675"/>
              <a:gd name="connsiteX706" fmla="*/ 3140298 w 8267681"/>
              <a:gd name="connsiteY706" fmla="*/ 5629981 h 6698675"/>
              <a:gd name="connsiteX707" fmla="*/ 3133252 w 8267681"/>
              <a:gd name="connsiteY707" fmla="*/ 5599447 h 6698675"/>
              <a:gd name="connsiteX708" fmla="*/ 6212500 w 8267681"/>
              <a:gd name="connsiteY708" fmla="*/ 5594749 h 6698675"/>
              <a:gd name="connsiteX709" fmla="*/ 6151432 w 8267681"/>
              <a:gd name="connsiteY709" fmla="*/ 5604144 h 6698675"/>
              <a:gd name="connsiteX710" fmla="*/ 6090364 w 8267681"/>
              <a:gd name="connsiteY710" fmla="*/ 5608842 h 6698675"/>
              <a:gd name="connsiteX711" fmla="*/ 6146734 w 8267681"/>
              <a:gd name="connsiteY711" fmla="*/ 5613539 h 6698675"/>
              <a:gd name="connsiteX712" fmla="*/ 6463820 w 8267681"/>
              <a:gd name="connsiteY712" fmla="*/ 5723932 h 6698675"/>
              <a:gd name="connsiteX713" fmla="*/ 6212500 w 8267681"/>
              <a:gd name="connsiteY713" fmla="*/ 5594749 h 6698675"/>
              <a:gd name="connsiteX714" fmla="*/ 4610633 w 8267681"/>
              <a:gd name="connsiteY714" fmla="*/ 5592400 h 6698675"/>
              <a:gd name="connsiteX715" fmla="*/ 4641167 w 8267681"/>
              <a:gd name="connsiteY715" fmla="*/ 5601795 h 6698675"/>
              <a:gd name="connsiteX716" fmla="*/ 4664655 w 8267681"/>
              <a:gd name="connsiteY716" fmla="*/ 5604144 h 6698675"/>
              <a:gd name="connsiteX717" fmla="*/ 4610633 w 8267681"/>
              <a:gd name="connsiteY717" fmla="*/ 5592400 h 6698675"/>
              <a:gd name="connsiteX718" fmla="*/ 6052783 w 8267681"/>
              <a:gd name="connsiteY718" fmla="*/ 5590051 h 6698675"/>
              <a:gd name="connsiteX719" fmla="*/ 6045737 w 8267681"/>
              <a:gd name="connsiteY719" fmla="*/ 5709839 h 6698675"/>
              <a:gd name="connsiteX720" fmla="*/ 6069224 w 8267681"/>
              <a:gd name="connsiteY720" fmla="*/ 5599447 h 6698675"/>
              <a:gd name="connsiteX721" fmla="*/ 6052783 w 8267681"/>
              <a:gd name="connsiteY721" fmla="*/ 5590051 h 6698675"/>
              <a:gd name="connsiteX722" fmla="*/ 6071573 w 8267681"/>
              <a:gd name="connsiteY722" fmla="*/ 5587703 h 6698675"/>
              <a:gd name="connsiteX723" fmla="*/ 6083317 w 8267681"/>
              <a:gd name="connsiteY723" fmla="*/ 5599447 h 6698675"/>
              <a:gd name="connsiteX724" fmla="*/ 6125596 w 8267681"/>
              <a:gd name="connsiteY724" fmla="*/ 5587703 h 6698675"/>
              <a:gd name="connsiteX725" fmla="*/ 6071573 w 8267681"/>
              <a:gd name="connsiteY725" fmla="*/ 5587703 h 6698675"/>
              <a:gd name="connsiteX726" fmla="*/ 3025221 w 8267681"/>
              <a:gd name="connsiteY726" fmla="*/ 5585905 h 6698675"/>
              <a:gd name="connsiteX727" fmla="*/ 3013464 w 8267681"/>
              <a:gd name="connsiteY727" fmla="*/ 5618237 h 6698675"/>
              <a:gd name="connsiteX728" fmla="*/ 2984068 w 8267681"/>
              <a:gd name="connsiteY728" fmla="*/ 5682976 h 6698675"/>
              <a:gd name="connsiteX729" fmla="*/ 2983690 w 8267681"/>
              <a:gd name="connsiteY729" fmla="*/ 5690344 h 6698675"/>
              <a:gd name="connsiteX730" fmla="*/ 2947698 w 8267681"/>
              <a:gd name="connsiteY730" fmla="*/ 5766210 h 6698675"/>
              <a:gd name="connsiteX731" fmla="*/ 2985866 w 8267681"/>
              <a:gd name="connsiteY731" fmla="*/ 5674314 h 6698675"/>
              <a:gd name="connsiteX732" fmla="*/ 5049855 w 8267681"/>
              <a:gd name="connsiteY732" fmla="*/ 5585354 h 6698675"/>
              <a:gd name="connsiteX733" fmla="*/ 5045157 w 8267681"/>
              <a:gd name="connsiteY733" fmla="*/ 5592400 h 6698675"/>
              <a:gd name="connsiteX734" fmla="*/ 5049855 w 8267681"/>
              <a:gd name="connsiteY734" fmla="*/ 5585354 h 6698675"/>
              <a:gd name="connsiteX735" fmla="*/ 5672443 w 8267681"/>
              <a:gd name="connsiteY735" fmla="*/ 5585100 h 6698675"/>
              <a:gd name="connsiteX736" fmla="*/ 5672281 w 8267681"/>
              <a:gd name="connsiteY736" fmla="*/ 5587703 h 6698675"/>
              <a:gd name="connsiteX737" fmla="*/ 5672075 w 8267681"/>
              <a:gd name="connsiteY737" fmla="*/ 5587032 h 6698675"/>
              <a:gd name="connsiteX738" fmla="*/ 5768581 w 8267681"/>
              <a:gd name="connsiteY738" fmla="*/ 5583005 h 6698675"/>
              <a:gd name="connsiteX739" fmla="*/ 5770930 w 8267681"/>
              <a:gd name="connsiteY739" fmla="*/ 5644073 h 6698675"/>
              <a:gd name="connsiteX740" fmla="*/ 5768581 w 8267681"/>
              <a:gd name="connsiteY740" fmla="*/ 5583005 h 6698675"/>
              <a:gd name="connsiteX741" fmla="*/ 4894835 w 8267681"/>
              <a:gd name="connsiteY741" fmla="*/ 5580657 h 6698675"/>
              <a:gd name="connsiteX742" fmla="*/ 4871348 w 8267681"/>
              <a:gd name="connsiteY742" fmla="*/ 5585354 h 6698675"/>
              <a:gd name="connsiteX743" fmla="*/ 4878394 w 8267681"/>
              <a:gd name="connsiteY743" fmla="*/ 5587703 h 6698675"/>
              <a:gd name="connsiteX744" fmla="*/ 4892487 w 8267681"/>
              <a:gd name="connsiteY744" fmla="*/ 5587703 h 6698675"/>
              <a:gd name="connsiteX745" fmla="*/ 4894835 w 8267681"/>
              <a:gd name="connsiteY745" fmla="*/ 5580657 h 6698675"/>
              <a:gd name="connsiteX746" fmla="*/ 3027291 w 8267681"/>
              <a:gd name="connsiteY746" fmla="*/ 5580213 h 6698675"/>
              <a:gd name="connsiteX747" fmla="*/ 3027557 w 8267681"/>
              <a:gd name="connsiteY747" fmla="*/ 5580657 h 6698675"/>
              <a:gd name="connsiteX748" fmla="*/ 3025221 w 8267681"/>
              <a:gd name="connsiteY748" fmla="*/ 5585905 h 6698675"/>
              <a:gd name="connsiteX749" fmla="*/ 4969996 w 8267681"/>
              <a:gd name="connsiteY749" fmla="*/ 5575959 h 6698675"/>
              <a:gd name="connsiteX750" fmla="*/ 4960601 w 8267681"/>
              <a:gd name="connsiteY750" fmla="*/ 5590051 h 6698675"/>
              <a:gd name="connsiteX751" fmla="*/ 4981740 w 8267681"/>
              <a:gd name="connsiteY751" fmla="*/ 5592400 h 6698675"/>
              <a:gd name="connsiteX752" fmla="*/ 4984089 w 8267681"/>
              <a:gd name="connsiteY752" fmla="*/ 5575959 h 6698675"/>
              <a:gd name="connsiteX753" fmla="*/ 4969996 w 8267681"/>
              <a:gd name="connsiteY753" fmla="*/ 5575959 h 6698675"/>
              <a:gd name="connsiteX754" fmla="*/ 4951206 w 8267681"/>
              <a:gd name="connsiteY754" fmla="*/ 5575959 h 6698675"/>
              <a:gd name="connsiteX755" fmla="*/ 4915974 w 8267681"/>
              <a:gd name="connsiteY755" fmla="*/ 5578308 h 6698675"/>
              <a:gd name="connsiteX756" fmla="*/ 4920672 w 8267681"/>
              <a:gd name="connsiteY756" fmla="*/ 5587703 h 6698675"/>
              <a:gd name="connsiteX757" fmla="*/ 4932416 w 8267681"/>
              <a:gd name="connsiteY757" fmla="*/ 5587703 h 6698675"/>
              <a:gd name="connsiteX758" fmla="*/ 4951206 w 8267681"/>
              <a:gd name="connsiteY758" fmla="*/ 5575959 h 6698675"/>
              <a:gd name="connsiteX759" fmla="*/ 3027557 w 8267681"/>
              <a:gd name="connsiteY759" fmla="*/ 5573610 h 6698675"/>
              <a:gd name="connsiteX760" fmla="*/ 3029692 w 8267681"/>
              <a:gd name="connsiteY760" fmla="*/ 5573610 h 6698675"/>
              <a:gd name="connsiteX761" fmla="*/ 3027291 w 8267681"/>
              <a:gd name="connsiteY761" fmla="*/ 5580213 h 6698675"/>
              <a:gd name="connsiteX762" fmla="*/ 3024916 w 8267681"/>
              <a:gd name="connsiteY762" fmla="*/ 5576253 h 6698675"/>
              <a:gd name="connsiteX763" fmla="*/ 3027557 w 8267681"/>
              <a:gd name="connsiteY763" fmla="*/ 5573610 h 6698675"/>
              <a:gd name="connsiteX764" fmla="*/ 6029296 w 8267681"/>
              <a:gd name="connsiteY764" fmla="*/ 5571261 h 6698675"/>
              <a:gd name="connsiteX765" fmla="*/ 6033993 w 8267681"/>
              <a:gd name="connsiteY765" fmla="*/ 5691049 h 6698675"/>
              <a:gd name="connsiteX766" fmla="*/ 6045737 w 8267681"/>
              <a:gd name="connsiteY766" fmla="*/ 5578308 h 6698675"/>
              <a:gd name="connsiteX767" fmla="*/ 6029296 w 8267681"/>
              <a:gd name="connsiteY767" fmla="*/ 5571261 h 6698675"/>
              <a:gd name="connsiteX768" fmla="*/ 3032254 w 8267681"/>
              <a:gd name="connsiteY768" fmla="*/ 5566566 h 6698675"/>
              <a:gd name="connsiteX769" fmla="*/ 3029905 w 8267681"/>
              <a:gd name="connsiteY769" fmla="*/ 5573610 h 6698675"/>
              <a:gd name="connsiteX770" fmla="*/ 3029692 w 8267681"/>
              <a:gd name="connsiteY770" fmla="*/ 5573610 h 6698675"/>
              <a:gd name="connsiteX771" fmla="*/ 3036951 w 8267681"/>
              <a:gd name="connsiteY771" fmla="*/ 5564215 h 6698675"/>
              <a:gd name="connsiteX772" fmla="*/ 3038333 w 8267681"/>
              <a:gd name="connsiteY772" fmla="*/ 5566633 h 6698675"/>
              <a:gd name="connsiteX773" fmla="*/ 2982930 w 8267681"/>
              <a:gd name="connsiteY773" fmla="*/ 5705142 h 6698675"/>
              <a:gd name="connsiteX774" fmla="*/ 2983690 w 8267681"/>
              <a:gd name="connsiteY774" fmla="*/ 5690344 h 6698675"/>
              <a:gd name="connsiteX775" fmla="*/ 2988509 w 8267681"/>
              <a:gd name="connsiteY775" fmla="*/ 5680186 h 6698675"/>
              <a:gd name="connsiteX776" fmla="*/ 3027557 w 8267681"/>
              <a:gd name="connsiteY776" fmla="*/ 5592400 h 6698675"/>
              <a:gd name="connsiteX777" fmla="*/ 3032254 w 8267681"/>
              <a:gd name="connsiteY777" fmla="*/ 5578308 h 6698675"/>
              <a:gd name="connsiteX778" fmla="*/ 3036951 w 8267681"/>
              <a:gd name="connsiteY778" fmla="*/ 5564215 h 6698675"/>
              <a:gd name="connsiteX779" fmla="*/ 3126205 w 8267681"/>
              <a:gd name="connsiteY779" fmla="*/ 5561866 h 6698675"/>
              <a:gd name="connsiteX780" fmla="*/ 3121508 w 8267681"/>
              <a:gd name="connsiteY780" fmla="*/ 5578308 h 6698675"/>
              <a:gd name="connsiteX781" fmla="*/ 3119851 w 8267681"/>
              <a:gd name="connsiteY781" fmla="*/ 5582176 h 6698675"/>
              <a:gd name="connsiteX782" fmla="*/ 3119468 w 8267681"/>
              <a:gd name="connsiteY782" fmla="*/ 5582449 h 6698675"/>
              <a:gd name="connsiteX783" fmla="*/ 3114461 w 8267681"/>
              <a:gd name="connsiteY783" fmla="*/ 5583005 h 6698675"/>
              <a:gd name="connsiteX784" fmla="*/ 3112112 w 8267681"/>
              <a:gd name="connsiteY784" fmla="*/ 5587703 h 6698675"/>
              <a:gd name="connsiteX785" fmla="*/ 3119468 w 8267681"/>
              <a:gd name="connsiteY785" fmla="*/ 5582449 h 6698675"/>
              <a:gd name="connsiteX786" fmla="*/ 3119747 w 8267681"/>
              <a:gd name="connsiteY786" fmla="*/ 5582419 h 6698675"/>
              <a:gd name="connsiteX787" fmla="*/ 3119851 w 8267681"/>
              <a:gd name="connsiteY787" fmla="*/ 5582176 h 6698675"/>
              <a:gd name="connsiteX788" fmla="*/ 3128554 w 8267681"/>
              <a:gd name="connsiteY788" fmla="*/ 5575959 h 6698675"/>
              <a:gd name="connsiteX789" fmla="*/ 3126205 w 8267681"/>
              <a:gd name="connsiteY789" fmla="*/ 5561866 h 6698675"/>
              <a:gd name="connsiteX790" fmla="*/ 6003459 w 8267681"/>
              <a:gd name="connsiteY790" fmla="*/ 5552471 h 6698675"/>
              <a:gd name="connsiteX791" fmla="*/ 6008156 w 8267681"/>
              <a:gd name="connsiteY791" fmla="*/ 5660515 h 6698675"/>
              <a:gd name="connsiteX792" fmla="*/ 6019901 w 8267681"/>
              <a:gd name="connsiteY792" fmla="*/ 5561866 h 6698675"/>
              <a:gd name="connsiteX793" fmla="*/ 6003459 w 8267681"/>
              <a:gd name="connsiteY793" fmla="*/ 5552471 h 6698675"/>
              <a:gd name="connsiteX794" fmla="*/ 4901882 w 8267681"/>
              <a:gd name="connsiteY794" fmla="*/ 5552471 h 6698675"/>
              <a:gd name="connsiteX795" fmla="*/ 4871348 w 8267681"/>
              <a:gd name="connsiteY795" fmla="*/ 5557169 h 6698675"/>
              <a:gd name="connsiteX796" fmla="*/ 4904230 w 8267681"/>
              <a:gd name="connsiteY796" fmla="*/ 5557169 h 6698675"/>
              <a:gd name="connsiteX797" fmla="*/ 4901882 w 8267681"/>
              <a:gd name="connsiteY797" fmla="*/ 5552471 h 6698675"/>
              <a:gd name="connsiteX798" fmla="*/ 3135600 w 8267681"/>
              <a:gd name="connsiteY798" fmla="*/ 5552471 h 6698675"/>
              <a:gd name="connsiteX799" fmla="*/ 3130903 w 8267681"/>
              <a:gd name="connsiteY799" fmla="*/ 5554820 h 6698675"/>
              <a:gd name="connsiteX800" fmla="*/ 3133252 w 8267681"/>
              <a:gd name="connsiteY800" fmla="*/ 5561866 h 6698675"/>
              <a:gd name="connsiteX801" fmla="*/ 3137949 w 8267681"/>
              <a:gd name="connsiteY801" fmla="*/ 5561866 h 6698675"/>
              <a:gd name="connsiteX802" fmla="*/ 3135600 w 8267681"/>
              <a:gd name="connsiteY802" fmla="*/ 5552471 h 6698675"/>
              <a:gd name="connsiteX803" fmla="*/ 3053393 w 8267681"/>
              <a:gd name="connsiteY803" fmla="*/ 5550122 h 6698675"/>
              <a:gd name="connsiteX804" fmla="*/ 3046347 w 8267681"/>
              <a:gd name="connsiteY804" fmla="*/ 5573610 h 6698675"/>
              <a:gd name="connsiteX805" fmla="*/ 3055742 w 8267681"/>
              <a:gd name="connsiteY805" fmla="*/ 5554820 h 6698675"/>
              <a:gd name="connsiteX806" fmla="*/ 3053393 w 8267681"/>
              <a:gd name="connsiteY806" fmla="*/ 5550122 h 6698675"/>
              <a:gd name="connsiteX807" fmla="*/ 4930067 w 8267681"/>
              <a:gd name="connsiteY807" fmla="*/ 5547773 h 6698675"/>
              <a:gd name="connsiteX808" fmla="*/ 4930067 w 8267681"/>
              <a:gd name="connsiteY808" fmla="*/ 5550122 h 6698675"/>
              <a:gd name="connsiteX809" fmla="*/ 4920672 w 8267681"/>
              <a:gd name="connsiteY809" fmla="*/ 5557169 h 6698675"/>
              <a:gd name="connsiteX810" fmla="*/ 4941811 w 8267681"/>
              <a:gd name="connsiteY810" fmla="*/ 5554820 h 6698675"/>
              <a:gd name="connsiteX811" fmla="*/ 4972345 w 8267681"/>
              <a:gd name="connsiteY811" fmla="*/ 5557169 h 6698675"/>
              <a:gd name="connsiteX812" fmla="*/ 4986438 w 8267681"/>
              <a:gd name="connsiteY812" fmla="*/ 5557169 h 6698675"/>
              <a:gd name="connsiteX813" fmla="*/ 4984089 w 8267681"/>
              <a:gd name="connsiteY813" fmla="*/ 5547773 h 6698675"/>
              <a:gd name="connsiteX814" fmla="*/ 4930067 w 8267681"/>
              <a:gd name="connsiteY814" fmla="*/ 5547773 h 6698675"/>
              <a:gd name="connsiteX815" fmla="*/ 2294738 w 8267681"/>
              <a:gd name="connsiteY815" fmla="*/ 5543076 h 6698675"/>
              <a:gd name="connsiteX816" fmla="*/ 2292990 w 8267681"/>
              <a:gd name="connsiteY816" fmla="*/ 5543731 h 6698675"/>
              <a:gd name="connsiteX817" fmla="*/ 2293411 w 8267681"/>
              <a:gd name="connsiteY817" fmla="*/ 5545835 h 6698675"/>
              <a:gd name="connsiteX818" fmla="*/ 5204874 w 8267681"/>
              <a:gd name="connsiteY818" fmla="*/ 5540727 h 6698675"/>
              <a:gd name="connsiteX819" fmla="*/ 5204874 w 8267681"/>
              <a:gd name="connsiteY819" fmla="*/ 5543076 h 6698675"/>
              <a:gd name="connsiteX820" fmla="*/ 5204874 w 8267681"/>
              <a:gd name="connsiteY820" fmla="*/ 5547773 h 6698675"/>
              <a:gd name="connsiteX821" fmla="*/ 5204874 w 8267681"/>
              <a:gd name="connsiteY821" fmla="*/ 5559517 h 6698675"/>
              <a:gd name="connsiteX822" fmla="*/ 5216618 w 8267681"/>
              <a:gd name="connsiteY822" fmla="*/ 5557169 h 6698675"/>
              <a:gd name="connsiteX823" fmla="*/ 5221316 w 8267681"/>
              <a:gd name="connsiteY823" fmla="*/ 5550122 h 6698675"/>
              <a:gd name="connsiteX824" fmla="*/ 5204874 w 8267681"/>
              <a:gd name="connsiteY824" fmla="*/ 5540727 h 6698675"/>
              <a:gd name="connsiteX825" fmla="*/ 3144995 w 8267681"/>
              <a:gd name="connsiteY825" fmla="*/ 5538378 h 6698675"/>
              <a:gd name="connsiteX826" fmla="*/ 3140298 w 8267681"/>
              <a:gd name="connsiteY826" fmla="*/ 5545425 h 6698675"/>
              <a:gd name="connsiteX827" fmla="*/ 3144995 w 8267681"/>
              <a:gd name="connsiteY827" fmla="*/ 5559517 h 6698675"/>
              <a:gd name="connsiteX828" fmla="*/ 3144995 w 8267681"/>
              <a:gd name="connsiteY828" fmla="*/ 5538378 h 6698675"/>
              <a:gd name="connsiteX829" fmla="*/ 5395125 w 8267681"/>
              <a:gd name="connsiteY829" fmla="*/ 5536029 h 6698675"/>
              <a:gd name="connsiteX830" fmla="*/ 5408084 w 8267681"/>
              <a:gd name="connsiteY830" fmla="*/ 5556698 h 6698675"/>
              <a:gd name="connsiteX831" fmla="*/ 5402171 w 8267681"/>
              <a:gd name="connsiteY831" fmla="*/ 5568913 h 6698675"/>
              <a:gd name="connsiteX832" fmla="*/ 5394500 w 8267681"/>
              <a:gd name="connsiteY832" fmla="*/ 5537405 h 6698675"/>
              <a:gd name="connsiteX833" fmla="*/ 5979971 w 8267681"/>
              <a:gd name="connsiteY833" fmla="*/ 5533681 h 6698675"/>
              <a:gd name="connsiteX834" fmla="*/ 5987017 w 8267681"/>
              <a:gd name="connsiteY834" fmla="*/ 5632330 h 6698675"/>
              <a:gd name="connsiteX835" fmla="*/ 5996412 w 8267681"/>
              <a:gd name="connsiteY835" fmla="*/ 5540727 h 6698675"/>
              <a:gd name="connsiteX836" fmla="*/ 5979971 w 8267681"/>
              <a:gd name="connsiteY836" fmla="*/ 5533681 h 6698675"/>
              <a:gd name="connsiteX837" fmla="*/ 2391423 w 8267681"/>
              <a:gd name="connsiteY837" fmla="*/ 5525293 h 6698675"/>
              <a:gd name="connsiteX838" fmla="*/ 2386193 w 8267681"/>
              <a:gd name="connsiteY838" fmla="*/ 5541131 h 6698675"/>
              <a:gd name="connsiteX839" fmla="*/ 2374596 w 8267681"/>
              <a:gd name="connsiteY839" fmla="*/ 5561866 h 6698675"/>
              <a:gd name="connsiteX840" fmla="*/ 2379118 w 8267681"/>
              <a:gd name="connsiteY840" fmla="*/ 5541946 h 6698675"/>
              <a:gd name="connsiteX841" fmla="*/ 2383992 w 8267681"/>
              <a:gd name="connsiteY841" fmla="*/ 5540727 h 6698675"/>
              <a:gd name="connsiteX842" fmla="*/ 5214269 w 8267681"/>
              <a:gd name="connsiteY842" fmla="*/ 5524286 h 6698675"/>
              <a:gd name="connsiteX843" fmla="*/ 5221316 w 8267681"/>
              <a:gd name="connsiteY843" fmla="*/ 5528983 h 6698675"/>
              <a:gd name="connsiteX844" fmla="*/ 5214269 w 8267681"/>
              <a:gd name="connsiteY844" fmla="*/ 5524286 h 6698675"/>
              <a:gd name="connsiteX845" fmla="*/ 5033413 w 8267681"/>
              <a:gd name="connsiteY845" fmla="*/ 5524286 h 6698675"/>
              <a:gd name="connsiteX846" fmla="*/ 5033413 w 8267681"/>
              <a:gd name="connsiteY846" fmla="*/ 5528983 h 6698675"/>
              <a:gd name="connsiteX847" fmla="*/ 5038111 w 8267681"/>
              <a:gd name="connsiteY847" fmla="*/ 5528983 h 6698675"/>
              <a:gd name="connsiteX848" fmla="*/ 5040460 w 8267681"/>
              <a:gd name="connsiteY848" fmla="*/ 5526635 h 6698675"/>
              <a:gd name="connsiteX849" fmla="*/ 5033413 w 8267681"/>
              <a:gd name="connsiteY849" fmla="*/ 5524286 h 6698675"/>
              <a:gd name="connsiteX850" fmla="*/ 6153780 w 8267681"/>
              <a:gd name="connsiteY850" fmla="*/ 5519588 h 6698675"/>
              <a:gd name="connsiteX851" fmla="*/ 6017552 w 8267681"/>
              <a:gd name="connsiteY851" fmla="*/ 5547773 h 6698675"/>
              <a:gd name="connsiteX852" fmla="*/ 6113852 w 8267681"/>
              <a:gd name="connsiteY852" fmla="*/ 5559517 h 6698675"/>
              <a:gd name="connsiteX853" fmla="*/ 6226593 w 8267681"/>
              <a:gd name="connsiteY853" fmla="*/ 5573610 h 6698675"/>
              <a:gd name="connsiteX854" fmla="*/ 6221895 w 8267681"/>
              <a:gd name="connsiteY854" fmla="*/ 5564215 h 6698675"/>
              <a:gd name="connsiteX855" fmla="*/ 6332288 w 8267681"/>
              <a:gd name="connsiteY855" fmla="*/ 5597098 h 6698675"/>
              <a:gd name="connsiteX856" fmla="*/ 6217198 w 8267681"/>
              <a:gd name="connsiteY856" fmla="*/ 5543076 h 6698675"/>
              <a:gd name="connsiteX857" fmla="*/ 6240686 w 8267681"/>
              <a:gd name="connsiteY857" fmla="*/ 5571261 h 6698675"/>
              <a:gd name="connsiteX858" fmla="*/ 6190811 w 8267681"/>
              <a:gd name="connsiteY858" fmla="*/ 5528984 h 6698675"/>
              <a:gd name="connsiteX859" fmla="*/ 6173273 w 8267681"/>
              <a:gd name="connsiteY859" fmla="*/ 5527188 h 6698675"/>
              <a:gd name="connsiteX860" fmla="*/ 6217199 w 8267681"/>
              <a:gd name="connsiteY860" fmla="*/ 5561867 h 6698675"/>
              <a:gd name="connsiteX861" fmla="*/ 6193123 w 8267681"/>
              <a:gd name="connsiteY861" fmla="*/ 5545131 h 6698675"/>
              <a:gd name="connsiteX862" fmla="*/ 6173176 w 8267681"/>
              <a:gd name="connsiteY862" fmla="*/ 5527178 h 6698675"/>
              <a:gd name="connsiteX863" fmla="*/ 6167873 w 8267681"/>
              <a:gd name="connsiteY863" fmla="*/ 5526635 h 6698675"/>
              <a:gd name="connsiteX864" fmla="*/ 6170222 w 8267681"/>
              <a:gd name="connsiteY864" fmla="*/ 5526635 h 6698675"/>
              <a:gd name="connsiteX865" fmla="*/ 6153780 w 8267681"/>
              <a:gd name="connsiteY865" fmla="*/ 5519588 h 6698675"/>
              <a:gd name="connsiteX866" fmla="*/ 5040460 w 8267681"/>
              <a:gd name="connsiteY866" fmla="*/ 5517240 h 6698675"/>
              <a:gd name="connsiteX867" fmla="*/ 5031065 w 8267681"/>
              <a:gd name="connsiteY867" fmla="*/ 5519588 h 6698675"/>
              <a:gd name="connsiteX868" fmla="*/ 5038111 w 8267681"/>
              <a:gd name="connsiteY868" fmla="*/ 5521937 h 6698675"/>
              <a:gd name="connsiteX869" fmla="*/ 5040460 w 8267681"/>
              <a:gd name="connsiteY869" fmla="*/ 5517240 h 6698675"/>
              <a:gd name="connsiteX870" fmla="*/ 3285152 w 8267681"/>
              <a:gd name="connsiteY870" fmla="*/ 5514670 h 6698675"/>
              <a:gd name="connsiteX871" fmla="*/ 3269481 w 8267681"/>
              <a:gd name="connsiteY871" fmla="*/ 5547773 h 6698675"/>
              <a:gd name="connsiteX872" fmla="*/ 3278876 w 8267681"/>
              <a:gd name="connsiteY872" fmla="*/ 5606493 h 6698675"/>
              <a:gd name="connsiteX873" fmla="*/ 3285152 w 8267681"/>
              <a:gd name="connsiteY873" fmla="*/ 5514670 h 6698675"/>
              <a:gd name="connsiteX874" fmla="*/ 5954134 w 8267681"/>
              <a:gd name="connsiteY874" fmla="*/ 5512542 h 6698675"/>
              <a:gd name="connsiteX875" fmla="*/ 5965878 w 8267681"/>
              <a:gd name="connsiteY875" fmla="*/ 5608842 h 6698675"/>
              <a:gd name="connsiteX876" fmla="*/ 5975274 w 8267681"/>
              <a:gd name="connsiteY876" fmla="*/ 5524286 h 6698675"/>
              <a:gd name="connsiteX877" fmla="*/ 5954134 w 8267681"/>
              <a:gd name="connsiteY877" fmla="*/ 5512542 h 6698675"/>
              <a:gd name="connsiteX878" fmla="*/ 4850209 w 8267681"/>
              <a:gd name="connsiteY878" fmla="*/ 5512542 h 6698675"/>
              <a:gd name="connsiteX879" fmla="*/ 4824372 w 8267681"/>
              <a:gd name="connsiteY879" fmla="*/ 5517240 h 6698675"/>
              <a:gd name="connsiteX880" fmla="*/ 4871348 w 8267681"/>
              <a:gd name="connsiteY880" fmla="*/ 5521937 h 6698675"/>
              <a:gd name="connsiteX881" fmla="*/ 4876045 w 8267681"/>
              <a:gd name="connsiteY881" fmla="*/ 5514891 h 6698675"/>
              <a:gd name="connsiteX882" fmla="*/ 4850209 w 8267681"/>
              <a:gd name="connsiteY882" fmla="*/ 5512542 h 6698675"/>
              <a:gd name="connsiteX883" fmla="*/ 3180227 w 8267681"/>
              <a:gd name="connsiteY883" fmla="*/ 5512542 h 6698675"/>
              <a:gd name="connsiteX884" fmla="*/ 3182576 w 8267681"/>
              <a:gd name="connsiteY884" fmla="*/ 5528983 h 6698675"/>
              <a:gd name="connsiteX885" fmla="*/ 3187274 w 8267681"/>
              <a:gd name="connsiteY885" fmla="*/ 5519588 h 6698675"/>
              <a:gd name="connsiteX886" fmla="*/ 3180227 w 8267681"/>
              <a:gd name="connsiteY886" fmla="*/ 5512542 h 6698675"/>
              <a:gd name="connsiteX887" fmla="*/ 5207223 w 8267681"/>
              <a:gd name="connsiteY887" fmla="*/ 5510193 h 6698675"/>
              <a:gd name="connsiteX888" fmla="*/ 5206461 w 8267681"/>
              <a:gd name="connsiteY888" fmla="*/ 5516781 h 6698675"/>
              <a:gd name="connsiteX889" fmla="*/ 5204836 w 8267681"/>
              <a:gd name="connsiteY889" fmla="*/ 5517280 h 6698675"/>
              <a:gd name="connsiteX890" fmla="*/ 4967647 w 8267681"/>
              <a:gd name="connsiteY890" fmla="*/ 5510193 h 6698675"/>
              <a:gd name="connsiteX891" fmla="*/ 4993484 w 8267681"/>
              <a:gd name="connsiteY891" fmla="*/ 5524286 h 6698675"/>
              <a:gd name="connsiteX892" fmla="*/ 5005228 w 8267681"/>
              <a:gd name="connsiteY892" fmla="*/ 5519588 h 6698675"/>
              <a:gd name="connsiteX893" fmla="*/ 4967647 w 8267681"/>
              <a:gd name="connsiteY893" fmla="*/ 5510193 h 6698675"/>
              <a:gd name="connsiteX894" fmla="*/ 6112017 w 8267681"/>
              <a:gd name="connsiteY894" fmla="*/ 5505202 h 6698675"/>
              <a:gd name="connsiteX895" fmla="*/ 5996412 w 8267681"/>
              <a:gd name="connsiteY895" fmla="*/ 5528983 h 6698675"/>
              <a:gd name="connsiteX896" fmla="*/ 6005808 w 8267681"/>
              <a:gd name="connsiteY896" fmla="*/ 5543076 h 6698675"/>
              <a:gd name="connsiteX897" fmla="*/ 6144386 w 8267681"/>
              <a:gd name="connsiteY897" fmla="*/ 5512542 h 6698675"/>
              <a:gd name="connsiteX898" fmla="*/ 6112017 w 8267681"/>
              <a:gd name="connsiteY898" fmla="*/ 5505202 h 6698675"/>
              <a:gd name="connsiteX899" fmla="*/ 5031065 w 8267681"/>
              <a:gd name="connsiteY899" fmla="*/ 5503147 h 6698675"/>
              <a:gd name="connsiteX900" fmla="*/ 5031065 w 8267681"/>
              <a:gd name="connsiteY900" fmla="*/ 5505496 h 6698675"/>
              <a:gd name="connsiteX901" fmla="*/ 5042809 w 8267681"/>
              <a:gd name="connsiteY901" fmla="*/ 5507844 h 6698675"/>
              <a:gd name="connsiteX902" fmla="*/ 5031065 w 8267681"/>
              <a:gd name="connsiteY902" fmla="*/ 5503147 h 6698675"/>
              <a:gd name="connsiteX903" fmla="*/ 4347570 w 8267681"/>
              <a:gd name="connsiteY903" fmla="*/ 5498449 h 6698675"/>
              <a:gd name="connsiteX904" fmla="*/ 4387499 w 8267681"/>
              <a:gd name="connsiteY904" fmla="*/ 5519588 h 6698675"/>
              <a:gd name="connsiteX905" fmla="*/ 4364011 w 8267681"/>
              <a:gd name="connsiteY905" fmla="*/ 5500798 h 6698675"/>
              <a:gd name="connsiteX906" fmla="*/ 4347570 w 8267681"/>
              <a:gd name="connsiteY906" fmla="*/ 5498449 h 6698675"/>
              <a:gd name="connsiteX907" fmla="*/ 3612402 w 8267681"/>
              <a:gd name="connsiteY907" fmla="*/ 5498449 h 6698675"/>
              <a:gd name="connsiteX908" fmla="*/ 3551335 w 8267681"/>
              <a:gd name="connsiteY908" fmla="*/ 5538378 h 6698675"/>
              <a:gd name="connsiteX909" fmla="*/ 3565427 w 8267681"/>
              <a:gd name="connsiteY909" fmla="*/ 5568913 h 6698675"/>
              <a:gd name="connsiteX910" fmla="*/ 3612402 w 8267681"/>
              <a:gd name="connsiteY910" fmla="*/ 5498449 h 6698675"/>
              <a:gd name="connsiteX911" fmla="*/ 3316456 w 8267681"/>
              <a:gd name="connsiteY911" fmla="*/ 5498449 h 6698675"/>
              <a:gd name="connsiteX912" fmla="*/ 3317038 w 8267681"/>
              <a:gd name="connsiteY912" fmla="*/ 5499887 h 6698675"/>
              <a:gd name="connsiteX913" fmla="*/ 3315910 w 8267681"/>
              <a:gd name="connsiteY913" fmla="*/ 5499637 h 6698675"/>
              <a:gd name="connsiteX914" fmla="*/ 6154625 w 8267681"/>
              <a:gd name="connsiteY914" fmla="*/ 5496725 h 6698675"/>
              <a:gd name="connsiteX915" fmla="*/ 6139688 w 8267681"/>
              <a:gd name="connsiteY915" fmla="*/ 5500798 h 6698675"/>
              <a:gd name="connsiteX916" fmla="*/ 6186663 w 8267681"/>
              <a:gd name="connsiteY916" fmla="*/ 5514891 h 6698675"/>
              <a:gd name="connsiteX917" fmla="*/ 6154625 w 8267681"/>
              <a:gd name="connsiteY917" fmla="*/ 5496725 h 6698675"/>
              <a:gd name="connsiteX918" fmla="*/ 5928298 w 8267681"/>
              <a:gd name="connsiteY918" fmla="*/ 5496100 h 6698675"/>
              <a:gd name="connsiteX919" fmla="*/ 5932995 w 8267681"/>
              <a:gd name="connsiteY919" fmla="*/ 5559517 h 6698675"/>
              <a:gd name="connsiteX920" fmla="*/ 5947088 w 8267681"/>
              <a:gd name="connsiteY920" fmla="*/ 5505496 h 6698675"/>
              <a:gd name="connsiteX921" fmla="*/ 5928298 w 8267681"/>
              <a:gd name="connsiteY921" fmla="*/ 5496100 h 6698675"/>
              <a:gd name="connsiteX922" fmla="*/ 5012274 w 8267681"/>
              <a:gd name="connsiteY922" fmla="*/ 5496100 h 6698675"/>
              <a:gd name="connsiteX923" fmla="*/ 5012274 w 8267681"/>
              <a:gd name="connsiteY923" fmla="*/ 5503147 h 6698675"/>
              <a:gd name="connsiteX924" fmla="*/ 5019321 w 8267681"/>
              <a:gd name="connsiteY924" fmla="*/ 5498449 h 6698675"/>
              <a:gd name="connsiteX925" fmla="*/ 5012274 w 8267681"/>
              <a:gd name="connsiteY925" fmla="*/ 5496100 h 6698675"/>
              <a:gd name="connsiteX926" fmla="*/ 6113852 w 8267681"/>
              <a:gd name="connsiteY926" fmla="*/ 5493752 h 6698675"/>
              <a:gd name="connsiteX927" fmla="*/ 5968227 w 8267681"/>
              <a:gd name="connsiteY927" fmla="*/ 5512542 h 6698675"/>
              <a:gd name="connsiteX928" fmla="*/ 6036342 w 8267681"/>
              <a:gd name="connsiteY928" fmla="*/ 5507844 h 6698675"/>
              <a:gd name="connsiteX929" fmla="*/ 6113852 w 8267681"/>
              <a:gd name="connsiteY929" fmla="*/ 5493752 h 6698675"/>
              <a:gd name="connsiteX930" fmla="*/ 5721605 w 8267681"/>
              <a:gd name="connsiteY930" fmla="*/ 5493752 h 6698675"/>
              <a:gd name="connsiteX931" fmla="*/ 5749791 w 8267681"/>
              <a:gd name="connsiteY931" fmla="*/ 5578308 h 6698675"/>
              <a:gd name="connsiteX932" fmla="*/ 5731000 w 8267681"/>
              <a:gd name="connsiteY932" fmla="*/ 5510193 h 6698675"/>
              <a:gd name="connsiteX933" fmla="*/ 5721605 w 8267681"/>
              <a:gd name="connsiteY933" fmla="*/ 5493752 h 6698675"/>
              <a:gd name="connsiteX934" fmla="*/ 3083927 w 8267681"/>
              <a:gd name="connsiteY934" fmla="*/ 5491403 h 6698675"/>
              <a:gd name="connsiteX935" fmla="*/ 3074532 w 8267681"/>
              <a:gd name="connsiteY935" fmla="*/ 5517240 h 6698675"/>
              <a:gd name="connsiteX936" fmla="*/ 3083927 w 8267681"/>
              <a:gd name="connsiteY936" fmla="*/ 5491403 h 6698675"/>
              <a:gd name="connsiteX937" fmla="*/ 3627082 w 8267681"/>
              <a:gd name="connsiteY937" fmla="*/ 5491109 h 6698675"/>
              <a:gd name="connsiteX938" fmla="*/ 3621798 w 8267681"/>
              <a:gd name="connsiteY938" fmla="*/ 5491403 h 6698675"/>
              <a:gd name="connsiteX939" fmla="*/ 3628844 w 8267681"/>
              <a:gd name="connsiteY939" fmla="*/ 5496100 h 6698675"/>
              <a:gd name="connsiteX940" fmla="*/ 3627082 w 8267681"/>
              <a:gd name="connsiteY940" fmla="*/ 5491109 h 6698675"/>
              <a:gd name="connsiteX941" fmla="*/ 5242313 w 8267681"/>
              <a:gd name="connsiteY941" fmla="*/ 5490328 h 6698675"/>
              <a:gd name="connsiteX942" fmla="*/ 5227385 w 8267681"/>
              <a:gd name="connsiteY942" fmla="*/ 5624678 h 6698675"/>
              <a:gd name="connsiteX943" fmla="*/ 5230711 w 8267681"/>
              <a:gd name="connsiteY943" fmla="*/ 5625283 h 6698675"/>
              <a:gd name="connsiteX944" fmla="*/ 5227318 w 8267681"/>
              <a:gd name="connsiteY944" fmla="*/ 5625283 h 6698675"/>
              <a:gd name="connsiteX945" fmla="*/ 5226013 w 8267681"/>
              <a:gd name="connsiteY945" fmla="*/ 5637027 h 6698675"/>
              <a:gd name="connsiteX946" fmla="*/ 5219554 w 8267681"/>
              <a:gd name="connsiteY946" fmla="*/ 5639963 h 6698675"/>
              <a:gd name="connsiteX947" fmla="*/ 5218623 w 8267681"/>
              <a:gd name="connsiteY947" fmla="*/ 5644245 h 6698675"/>
              <a:gd name="connsiteX948" fmla="*/ 5214269 w 8267681"/>
              <a:gd name="connsiteY948" fmla="*/ 5646422 h 6698675"/>
              <a:gd name="connsiteX949" fmla="*/ 5214022 w 8267681"/>
              <a:gd name="connsiteY949" fmla="*/ 5641024 h 6698675"/>
              <a:gd name="connsiteX950" fmla="*/ 5211921 w 8267681"/>
              <a:gd name="connsiteY950" fmla="*/ 5641724 h 6698675"/>
              <a:gd name="connsiteX951" fmla="*/ 5209572 w 8267681"/>
              <a:gd name="connsiteY951" fmla="*/ 5639375 h 6698675"/>
              <a:gd name="connsiteX952" fmla="*/ 5213946 w 8267681"/>
              <a:gd name="connsiteY952" fmla="*/ 5639375 h 6698675"/>
              <a:gd name="connsiteX953" fmla="*/ 5213606 w 8267681"/>
              <a:gd name="connsiteY953" fmla="*/ 5631964 h 6698675"/>
              <a:gd name="connsiteX954" fmla="*/ 5207223 w 8267681"/>
              <a:gd name="connsiteY954" fmla="*/ 5632329 h 6698675"/>
              <a:gd name="connsiteX955" fmla="*/ 5204874 w 8267681"/>
              <a:gd name="connsiteY955" fmla="*/ 5627631 h 6698675"/>
              <a:gd name="connsiteX956" fmla="*/ 5213438 w 8267681"/>
              <a:gd name="connsiteY956" fmla="*/ 5628290 h 6698675"/>
              <a:gd name="connsiteX957" fmla="*/ 5213300 w 8267681"/>
              <a:gd name="connsiteY957" fmla="*/ 5625283 h 6698675"/>
              <a:gd name="connsiteX958" fmla="*/ 5204874 w 8267681"/>
              <a:gd name="connsiteY958" fmla="*/ 5625283 h 6698675"/>
              <a:gd name="connsiteX959" fmla="*/ 5204874 w 8267681"/>
              <a:gd name="connsiteY959" fmla="*/ 5620585 h 6698675"/>
              <a:gd name="connsiteX960" fmla="*/ 5213153 w 8267681"/>
              <a:gd name="connsiteY960" fmla="*/ 5622091 h 6698675"/>
              <a:gd name="connsiteX961" fmla="*/ 5212802 w 8267681"/>
              <a:gd name="connsiteY961" fmla="*/ 5614420 h 6698675"/>
              <a:gd name="connsiteX962" fmla="*/ 5209572 w 8267681"/>
              <a:gd name="connsiteY962" fmla="*/ 5580657 h 6698675"/>
              <a:gd name="connsiteX963" fmla="*/ 5188433 w 8267681"/>
              <a:gd name="connsiteY963" fmla="*/ 5648771 h 6698675"/>
              <a:gd name="connsiteX964" fmla="*/ 5183735 w 8267681"/>
              <a:gd name="connsiteY964" fmla="*/ 5648771 h 6698675"/>
              <a:gd name="connsiteX965" fmla="*/ 5199002 w 8267681"/>
              <a:gd name="connsiteY965" fmla="*/ 5581244 h 6698675"/>
              <a:gd name="connsiteX966" fmla="*/ 5206461 w 8267681"/>
              <a:gd name="connsiteY966" fmla="*/ 5516781 h 6698675"/>
              <a:gd name="connsiteX967" fmla="*/ 5218123 w 8267681"/>
              <a:gd name="connsiteY967" fmla="*/ 5513203 h 6698675"/>
              <a:gd name="connsiteX968" fmla="*/ 5241423 w 8267681"/>
              <a:gd name="connsiteY968" fmla="*/ 5491926 h 6698675"/>
              <a:gd name="connsiteX969" fmla="*/ 5472635 w 8267681"/>
              <a:gd name="connsiteY969" fmla="*/ 5489054 h 6698675"/>
              <a:gd name="connsiteX970" fmla="*/ 5474984 w 8267681"/>
              <a:gd name="connsiteY970" fmla="*/ 5573610 h 6698675"/>
              <a:gd name="connsiteX971" fmla="*/ 5472635 w 8267681"/>
              <a:gd name="connsiteY971" fmla="*/ 5489054 h 6698675"/>
              <a:gd name="connsiteX972" fmla="*/ 4871348 w 8267681"/>
              <a:gd name="connsiteY972" fmla="*/ 5489054 h 6698675"/>
              <a:gd name="connsiteX973" fmla="*/ 4871348 w 8267681"/>
              <a:gd name="connsiteY973" fmla="*/ 5493752 h 6698675"/>
              <a:gd name="connsiteX974" fmla="*/ 4885440 w 8267681"/>
              <a:gd name="connsiteY974" fmla="*/ 5493752 h 6698675"/>
              <a:gd name="connsiteX975" fmla="*/ 4871348 w 8267681"/>
              <a:gd name="connsiteY975" fmla="*/ 5489054 h 6698675"/>
              <a:gd name="connsiteX976" fmla="*/ 5527802 w 8267681"/>
              <a:gd name="connsiteY976" fmla="*/ 5488010 h 6698675"/>
              <a:gd name="connsiteX977" fmla="*/ 5532739 w 8267681"/>
              <a:gd name="connsiteY977" fmla="*/ 5517111 h 6698675"/>
              <a:gd name="connsiteX978" fmla="*/ 5531648 w 8267681"/>
              <a:gd name="connsiteY978" fmla="*/ 5526928 h 6698675"/>
              <a:gd name="connsiteX979" fmla="*/ 5521959 w 8267681"/>
              <a:gd name="connsiteY979" fmla="*/ 5587703 h 6698675"/>
              <a:gd name="connsiteX980" fmla="*/ 5523721 w 8267681"/>
              <a:gd name="connsiteY980" fmla="*/ 5532213 h 6698675"/>
              <a:gd name="connsiteX981" fmla="*/ 5075691 w 8267681"/>
              <a:gd name="connsiteY981" fmla="*/ 5486705 h 6698675"/>
              <a:gd name="connsiteX982" fmla="*/ 5075691 w 8267681"/>
              <a:gd name="connsiteY982" fmla="*/ 5498449 h 6698675"/>
              <a:gd name="connsiteX983" fmla="*/ 5099179 w 8267681"/>
              <a:gd name="connsiteY983" fmla="*/ 5489054 h 6698675"/>
              <a:gd name="connsiteX984" fmla="*/ 5075691 w 8267681"/>
              <a:gd name="connsiteY984" fmla="*/ 5486705 h 6698675"/>
              <a:gd name="connsiteX985" fmla="*/ 4803233 w 8267681"/>
              <a:gd name="connsiteY985" fmla="*/ 5486705 h 6698675"/>
              <a:gd name="connsiteX986" fmla="*/ 4793838 w 8267681"/>
              <a:gd name="connsiteY986" fmla="*/ 5489054 h 6698675"/>
              <a:gd name="connsiteX987" fmla="*/ 4805582 w 8267681"/>
              <a:gd name="connsiteY987" fmla="*/ 5489054 h 6698675"/>
              <a:gd name="connsiteX988" fmla="*/ 4803233 w 8267681"/>
              <a:gd name="connsiteY988" fmla="*/ 5486705 h 6698675"/>
              <a:gd name="connsiteX989" fmla="*/ 4984020 w 8267681"/>
              <a:gd name="connsiteY989" fmla="*/ 5486001 h 6698675"/>
              <a:gd name="connsiteX990" fmla="*/ 4988199 w 8267681"/>
              <a:gd name="connsiteY990" fmla="*/ 5486412 h 6698675"/>
              <a:gd name="connsiteX991" fmla="*/ 4991603 w 8267681"/>
              <a:gd name="connsiteY991" fmla="*/ 5487562 h 6698675"/>
              <a:gd name="connsiteX992" fmla="*/ 4817326 w 8267681"/>
              <a:gd name="connsiteY992" fmla="*/ 5484356 h 6698675"/>
              <a:gd name="connsiteX993" fmla="*/ 4824372 w 8267681"/>
              <a:gd name="connsiteY993" fmla="*/ 5489054 h 6698675"/>
              <a:gd name="connsiteX994" fmla="*/ 4819675 w 8267681"/>
              <a:gd name="connsiteY994" fmla="*/ 5491403 h 6698675"/>
              <a:gd name="connsiteX995" fmla="*/ 4859604 w 8267681"/>
              <a:gd name="connsiteY995" fmla="*/ 5493752 h 6698675"/>
              <a:gd name="connsiteX996" fmla="*/ 4861952 w 8267681"/>
              <a:gd name="connsiteY996" fmla="*/ 5486705 h 6698675"/>
              <a:gd name="connsiteX997" fmla="*/ 4817326 w 8267681"/>
              <a:gd name="connsiteY997" fmla="*/ 5484356 h 6698675"/>
              <a:gd name="connsiteX998" fmla="*/ 5902461 w 8267681"/>
              <a:gd name="connsiteY998" fmla="*/ 5477310 h 6698675"/>
              <a:gd name="connsiteX999" fmla="*/ 5909508 w 8267681"/>
              <a:gd name="connsiteY999" fmla="*/ 5543076 h 6698675"/>
              <a:gd name="connsiteX1000" fmla="*/ 5921252 w 8267681"/>
              <a:gd name="connsiteY1000" fmla="*/ 5486705 h 6698675"/>
              <a:gd name="connsiteX1001" fmla="*/ 5902461 w 8267681"/>
              <a:gd name="connsiteY1001" fmla="*/ 5477310 h 6698675"/>
              <a:gd name="connsiteX1002" fmla="*/ 2414525 w 8267681"/>
              <a:gd name="connsiteY1002" fmla="*/ 5477310 h 6698675"/>
              <a:gd name="connsiteX1003" fmla="*/ 2391423 w 8267681"/>
              <a:gd name="connsiteY1003" fmla="*/ 5525293 h 6698675"/>
              <a:gd name="connsiteX1004" fmla="*/ 2395148 w 8267681"/>
              <a:gd name="connsiteY1004" fmla="*/ 5514010 h 6698675"/>
              <a:gd name="connsiteX1005" fmla="*/ 2399699 w 8267681"/>
              <a:gd name="connsiteY1005" fmla="*/ 5485568 h 6698675"/>
              <a:gd name="connsiteX1006" fmla="*/ 2399599 w 8267681"/>
              <a:gd name="connsiteY1006" fmla="*/ 5484045 h 6698675"/>
              <a:gd name="connsiteX1007" fmla="*/ 3292969 w 8267681"/>
              <a:gd name="connsiteY1007" fmla="*/ 5470264 h 6698675"/>
              <a:gd name="connsiteX1008" fmla="*/ 3281225 w 8267681"/>
              <a:gd name="connsiteY1008" fmla="*/ 5477310 h 6698675"/>
              <a:gd name="connsiteX1009" fmla="*/ 3292969 w 8267681"/>
              <a:gd name="connsiteY1009" fmla="*/ 5470264 h 6698675"/>
              <a:gd name="connsiteX1010" fmla="*/ 2398415 w 8267681"/>
              <a:gd name="connsiteY1010" fmla="*/ 5465909 h 6698675"/>
              <a:gd name="connsiteX1011" fmla="*/ 2399599 w 8267681"/>
              <a:gd name="connsiteY1011" fmla="*/ 5484045 h 6698675"/>
              <a:gd name="connsiteX1012" fmla="*/ 2391735 w 8267681"/>
              <a:gd name="connsiteY1012" fmla="*/ 5487593 h 6698675"/>
              <a:gd name="connsiteX1013" fmla="*/ 2396645 w 8267681"/>
              <a:gd name="connsiteY1013" fmla="*/ 5466928 h 6698675"/>
              <a:gd name="connsiteX1014" fmla="*/ 4883092 w 8267681"/>
              <a:gd name="connsiteY1014" fmla="*/ 5465566 h 6698675"/>
              <a:gd name="connsiteX1015" fmla="*/ 4765653 w 8267681"/>
              <a:gd name="connsiteY1015" fmla="*/ 5477310 h 6698675"/>
              <a:gd name="connsiteX1016" fmla="*/ 4871348 w 8267681"/>
              <a:gd name="connsiteY1016" fmla="*/ 5474961 h 6698675"/>
              <a:gd name="connsiteX1017" fmla="*/ 4883092 w 8267681"/>
              <a:gd name="connsiteY1017" fmla="*/ 5465566 h 6698675"/>
              <a:gd name="connsiteX1018" fmla="*/ 5876625 w 8267681"/>
              <a:gd name="connsiteY1018" fmla="*/ 5463218 h 6698675"/>
              <a:gd name="connsiteX1019" fmla="*/ 5878973 w 8267681"/>
              <a:gd name="connsiteY1019" fmla="*/ 5514891 h 6698675"/>
              <a:gd name="connsiteX1020" fmla="*/ 5895415 w 8267681"/>
              <a:gd name="connsiteY1020" fmla="*/ 5470264 h 6698675"/>
              <a:gd name="connsiteX1021" fmla="*/ 5876625 w 8267681"/>
              <a:gd name="connsiteY1021" fmla="*/ 5463218 h 6698675"/>
              <a:gd name="connsiteX1022" fmla="*/ 4911277 w 8267681"/>
              <a:gd name="connsiteY1022" fmla="*/ 5463218 h 6698675"/>
              <a:gd name="connsiteX1023" fmla="*/ 4923021 w 8267681"/>
              <a:gd name="connsiteY1023" fmla="*/ 5474961 h 6698675"/>
              <a:gd name="connsiteX1024" fmla="*/ 4920672 w 8267681"/>
              <a:gd name="connsiteY1024" fmla="*/ 5463218 h 6698675"/>
              <a:gd name="connsiteX1025" fmla="*/ 4911277 w 8267681"/>
              <a:gd name="connsiteY1025" fmla="*/ 5463218 h 6698675"/>
              <a:gd name="connsiteX1026" fmla="*/ 4991135 w 8267681"/>
              <a:gd name="connsiteY1026" fmla="*/ 5460869 h 6698675"/>
              <a:gd name="connsiteX1027" fmla="*/ 4937114 w 8267681"/>
              <a:gd name="connsiteY1027" fmla="*/ 5463218 h 6698675"/>
              <a:gd name="connsiteX1028" fmla="*/ 4932416 w 8267681"/>
              <a:gd name="connsiteY1028" fmla="*/ 5472613 h 6698675"/>
              <a:gd name="connsiteX1029" fmla="*/ 4941811 w 8267681"/>
              <a:gd name="connsiteY1029" fmla="*/ 5477310 h 6698675"/>
              <a:gd name="connsiteX1030" fmla="*/ 4984020 w 8267681"/>
              <a:gd name="connsiteY1030" fmla="*/ 5486001 h 6698675"/>
              <a:gd name="connsiteX1031" fmla="*/ 4978878 w 8267681"/>
              <a:gd name="connsiteY1031" fmla="*/ 5485494 h 6698675"/>
              <a:gd name="connsiteX1032" fmla="*/ 4969996 w 8267681"/>
              <a:gd name="connsiteY1032" fmla="*/ 5491403 h 6698675"/>
              <a:gd name="connsiteX1033" fmla="*/ 4948857 w 8267681"/>
              <a:gd name="connsiteY1033" fmla="*/ 5486705 h 6698675"/>
              <a:gd name="connsiteX1034" fmla="*/ 4953555 w 8267681"/>
              <a:gd name="connsiteY1034" fmla="*/ 5493752 h 6698675"/>
              <a:gd name="connsiteX1035" fmla="*/ 5002879 w 8267681"/>
              <a:gd name="connsiteY1035" fmla="*/ 5510193 h 6698675"/>
              <a:gd name="connsiteX1036" fmla="*/ 5002879 w 8267681"/>
              <a:gd name="connsiteY1036" fmla="*/ 5500798 h 6698675"/>
              <a:gd name="connsiteX1037" fmla="*/ 5009925 w 8267681"/>
              <a:gd name="connsiteY1037" fmla="*/ 5503147 h 6698675"/>
              <a:gd name="connsiteX1038" fmla="*/ 5009925 w 8267681"/>
              <a:gd name="connsiteY1038" fmla="*/ 5493752 h 6698675"/>
              <a:gd name="connsiteX1039" fmla="*/ 4991603 w 8267681"/>
              <a:gd name="connsiteY1039" fmla="*/ 5487562 h 6698675"/>
              <a:gd name="connsiteX1040" fmla="*/ 5021669 w 8267681"/>
              <a:gd name="connsiteY1040" fmla="*/ 5493752 h 6698675"/>
              <a:gd name="connsiteX1041" fmla="*/ 5045157 w 8267681"/>
              <a:gd name="connsiteY1041" fmla="*/ 5477310 h 6698675"/>
              <a:gd name="connsiteX1042" fmla="*/ 5031065 w 8267681"/>
              <a:gd name="connsiteY1042" fmla="*/ 5498449 h 6698675"/>
              <a:gd name="connsiteX1043" fmla="*/ 5045157 w 8267681"/>
              <a:gd name="connsiteY1043" fmla="*/ 5503147 h 6698675"/>
              <a:gd name="connsiteX1044" fmla="*/ 5052204 w 8267681"/>
              <a:gd name="connsiteY1044" fmla="*/ 5479659 h 6698675"/>
              <a:gd name="connsiteX1045" fmla="*/ 5049855 w 8267681"/>
              <a:gd name="connsiteY1045" fmla="*/ 5500798 h 6698675"/>
              <a:gd name="connsiteX1046" fmla="*/ 5063947 w 8267681"/>
              <a:gd name="connsiteY1046" fmla="*/ 5486705 h 6698675"/>
              <a:gd name="connsiteX1047" fmla="*/ 5073342 w 8267681"/>
              <a:gd name="connsiteY1047" fmla="*/ 5493752 h 6698675"/>
              <a:gd name="connsiteX1048" fmla="*/ 5073342 w 8267681"/>
              <a:gd name="connsiteY1048" fmla="*/ 5479659 h 6698675"/>
              <a:gd name="connsiteX1049" fmla="*/ 5070994 w 8267681"/>
              <a:gd name="connsiteY1049" fmla="*/ 5470264 h 6698675"/>
              <a:gd name="connsiteX1050" fmla="*/ 5054552 w 8267681"/>
              <a:gd name="connsiteY1050" fmla="*/ 5467915 h 6698675"/>
              <a:gd name="connsiteX1051" fmla="*/ 5052204 w 8267681"/>
              <a:gd name="connsiteY1051" fmla="*/ 5477310 h 6698675"/>
              <a:gd name="connsiteX1052" fmla="*/ 5049855 w 8267681"/>
              <a:gd name="connsiteY1052" fmla="*/ 5465566 h 6698675"/>
              <a:gd name="connsiteX1053" fmla="*/ 5019321 w 8267681"/>
              <a:gd name="connsiteY1053" fmla="*/ 5463218 h 6698675"/>
              <a:gd name="connsiteX1054" fmla="*/ 5012274 w 8267681"/>
              <a:gd name="connsiteY1054" fmla="*/ 5486705 h 6698675"/>
              <a:gd name="connsiteX1055" fmla="*/ 5014623 w 8267681"/>
              <a:gd name="connsiteY1055" fmla="*/ 5460869 h 6698675"/>
              <a:gd name="connsiteX1056" fmla="*/ 4995833 w 8267681"/>
              <a:gd name="connsiteY1056" fmla="*/ 5460869 h 6698675"/>
              <a:gd name="connsiteX1057" fmla="*/ 4998182 w 8267681"/>
              <a:gd name="connsiteY1057" fmla="*/ 5486705 h 6698675"/>
              <a:gd name="connsiteX1058" fmla="*/ 4991135 w 8267681"/>
              <a:gd name="connsiteY1058" fmla="*/ 5460869 h 6698675"/>
              <a:gd name="connsiteX1059" fmla="*/ 6015350 w 8267681"/>
              <a:gd name="connsiteY1059" fmla="*/ 5458777 h 6698675"/>
              <a:gd name="connsiteX1060" fmla="*/ 5918903 w 8267681"/>
              <a:gd name="connsiteY1060" fmla="*/ 5474961 h 6698675"/>
              <a:gd name="connsiteX1061" fmla="*/ 5935344 w 8267681"/>
              <a:gd name="connsiteY1061" fmla="*/ 5489054 h 6698675"/>
              <a:gd name="connsiteX1062" fmla="*/ 6055132 w 8267681"/>
              <a:gd name="connsiteY1062" fmla="*/ 5463218 h 6698675"/>
              <a:gd name="connsiteX1063" fmla="*/ 6015350 w 8267681"/>
              <a:gd name="connsiteY1063" fmla="*/ 5458777 h 6698675"/>
              <a:gd name="connsiteX1064" fmla="*/ 5517045 w 8267681"/>
              <a:gd name="connsiteY1064" fmla="*/ 5453724 h 6698675"/>
              <a:gd name="connsiteX1065" fmla="*/ 5517519 w 8267681"/>
              <a:gd name="connsiteY1065" fmla="*/ 5454446 h 6698675"/>
              <a:gd name="connsiteX1066" fmla="*/ 5512564 w 8267681"/>
              <a:gd name="connsiteY1066" fmla="*/ 5514891 h 6698675"/>
              <a:gd name="connsiteX1067" fmla="*/ 5498471 w 8267681"/>
              <a:gd name="connsiteY1067" fmla="*/ 5646422 h 6698675"/>
              <a:gd name="connsiteX1068" fmla="*/ 5483463 w 8267681"/>
              <a:gd name="connsiteY1068" fmla="*/ 5605644 h 6698675"/>
              <a:gd name="connsiteX1069" fmla="*/ 5487021 w 8267681"/>
              <a:gd name="connsiteY1069" fmla="*/ 5588290 h 6698675"/>
              <a:gd name="connsiteX1070" fmla="*/ 5505628 w 8267681"/>
              <a:gd name="connsiteY1070" fmla="*/ 5515992 h 6698675"/>
              <a:gd name="connsiteX1071" fmla="*/ 3191384 w 8267681"/>
              <a:gd name="connsiteY1071" fmla="*/ 5447363 h 6698675"/>
              <a:gd name="connsiteX1072" fmla="*/ 3177878 w 8267681"/>
              <a:gd name="connsiteY1072" fmla="*/ 5456171 h 6698675"/>
              <a:gd name="connsiteX1073" fmla="*/ 3194321 w 8267681"/>
              <a:gd name="connsiteY1073" fmla="*/ 5463218 h 6698675"/>
              <a:gd name="connsiteX1074" fmla="*/ 3208412 w 8267681"/>
              <a:gd name="connsiteY1074" fmla="*/ 5449125 h 6698675"/>
              <a:gd name="connsiteX1075" fmla="*/ 3191384 w 8267681"/>
              <a:gd name="connsiteY1075" fmla="*/ 5447363 h 6698675"/>
              <a:gd name="connsiteX1076" fmla="*/ 5850788 w 8267681"/>
              <a:gd name="connsiteY1076" fmla="*/ 5444427 h 6698675"/>
              <a:gd name="connsiteX1077" fmla="*/ 5862532 w 8267681"/>
              <a:gd name="connsiteY1077" fmla="*/ 5489054 h 6698675"/>
              <a:gd name="connsiteX1078" fmla="*/ 5869579 w 8267681"/>
              <a:gd name="connsiteY1078" fmla="*/ 5453822 h 6698675"/>
              <a:gd name="connsiteX1079" fmla="*/ 5850788 w 8267681"/>
              <a:gd name="connsiteY1079" fmla="*/ 5444427 h 6698675"/>
              <a:gd name="connsiteX1080" fmla="*/ 4958252 w 8267681"/>
              <a:gd name="connsiteY1080" fmla="*/ 5444427 h 6698675"/>
              <a:gd name="connsiteX1081" fmla="*/ 4946509 w 8267681"/>
              <a:gd name="connsiteY1081" fmla="*/ 5456171 h 6698675"/>
              <a:gd name="connsiteX1082" fmla="*/ 4993484 w 8267681"/>
              <a:gd name="connsiteY1082" fmla="*/ 5456171 h 6698675"/>
              <a:gd name="connsiteX1083" fmla="*/ 4958252 w 8267681"/>
              <a:gd name="connsiteY1083" fmla="*/ 5444427 h 6698675"/>
              <a:gd name="connsiteX1084" fmla="*/ 4837584 w 8267681"/>
              <a:gd name="connsiteY1084" fmla="*/ 5441785 h 6698675"/>
              <a:gd name="connsiteX1085" fmla="*/ 4791489 w 8267681"/>
              <a:gd name="connsiteY1085" fmla="*/ 5446776 h 6698675"/>
              <a:gd name="connsiteX1086" fmla="*/ 4784443 w 8267681"/>
              <a:gd name="connsiteY1086" fmla="*/ 5456171 h 6698675"/>
              <a:gd name="connsiteX1087" fmla="*/ 4829070 w 8267681"/>
              <a:gd name="connsiteY1087" fmla="*/ 5456171 h 6698675"/>
              <a:gd name="connsiteX1088" fmla="*/ 4852557 w 8267681"/>
              <a:gd name="connsiteY1088" fmla="*/ 5456171 h 6698675"/>
              <a:gd name="connsiteX1089" fmla="*/ 4885440 w 8267681"/>
              <a:gd name="connsiteY1089" fmla="*/ 5456171 h 6698675"/>
              <a:gd name="connsiteX1090" fmla="*/ 4885440 w 8267681"/>
              <a:gd name="connsiteY1090" fmla="*/ 5442078 h 6698675"/>
              <a:gd name="connsiteX1091" fmla="*/ 4837584 w 8267681"/>
              <a:gd name="connsiteY1091" fmla="*/ 5441785 h 6698675"/>
              <a:gd name="connsiteX1092" fmla="*/ 5056901 w 8267681"/>
              <a:gd name="connsiteY1092" fmla="*/ 5439730 h 6698675"/>
              <a:gd name="connsiteX1093" fmla="*/ 5047506 w 8267681"/>
              <a:gd name="connsiteY1093" fmla="*/ 5442078 h 6698675"/>
              <a:gd name="connsiteX1094" fmla="*/ 5054552 w 8267681"/>
              <a:gd name="connsiteY1094" fmla="*/ 5444427 h 6698675"/>
              <a:gd name="connsiteX1095" fmla="*/ 5056901 w 8267681"/>
              <a:gd name="connsiteY1095" fmla="*/ 5439730 h 6698675"/>
              <a:gd name="connsiteX1096" fmla="*/ 5061599 w 8267681"/>
              <a:gd name="connsiteY1096" fmla="*/ 5437381 h 6698675"/>
              <a:gd name="connsiteX1097" fmla="*/ 5066296 w 8267681"/>
              <a:gd name="connsiteY1097" fmla="*/ 5449125 h 6698675"/>
              <a:gd name="connsiteX1098" fmla="*/ 5068645 w 8267681"/>
              <a:gd name="connsiteY1098" fmla="*/ 5446776 h 6698675"/>
              <a:gd name="connsiteX1099" fmla="*/ 5063947 w 8267681"/>
              <a:gd name="connsiteY1099" fmla="*/ 5437381 h 6698675"/>
              <a:gd name="connsiteX1100" fmla="*/ 5061599 w 8267681"/>
              <a:gd name="connsiteY1100" fmla="*/ 5437381 h 6698675"/>
              <a:gd name="connsiteX1101" fmla="*/ 5477333 w 8267681"/>
              <a:gd name="connsiteY1101" fmla="*/ 5435032 h 6698675"/>
              <a:gd name="connsiteX1102" fmla="*/ 5484379 w 8267681"/>
              <a:gd name="connsiteY1102" fmla="*/ 5512542 h 6698675"/>
              <a:gd name="connsiteX1103" fmla="*/ 5477333 w 8267681"/>
              <a:gd name="connsiteY1103" fmla="*/ 5435032 h 6698675"/>
              <a:gd name="connsiteX1104" fmla="*/ 6045737 w 8267681"/>
              <a:gd name="connsiteY1104" fmla="*/ 5432683 h 6698675"/>
              <a:gd name="connsiteX1105" fmla="*/ 6095061 w 8267681"/>
              <a:gd name="connsiteY1105" fmla="*/ 5453822 h 6698675"/>
              <a:gd name="connsiteX1106" fmla="*/ 6045737 w 8267681"/>
              <a:gd name="connsiteY1106" fmla="*/ 5432683 h 6698675"/>
              <a:gd name="connsiteX1107" fmla="*/ 5973513 w 8267681"/>
              <a:gd name="connsiteY1107" fmla="*/ 5432096 h 6698675"/>
              <a:gd name="connsiteX1108" fmla="*/ 5921252 w 8267681"/>
              <a:gd name="connsiteY1108" fmla="*/ 5453822 h 6698675"/>
              <a:gd name="connsiteX1109" fmla="*/ 5897764 w 8267681"/>
              <a:gd name="connsiteY1109" fmla="*/ 5456171 h 6698675"/>
              <a:gd name="connsiteX1110" fmla="*/ 5914205 w 8267681"/>
              <a:gd name="connsiteY1110" fmla="*/ 5467915 h 6698675"/>
              <a:gd name="connsiteX1111" fmla="*/ 5916554 w 8267681"/>
              <a:gd name="connsiteY1111" fmla="*/ 5458520 h 6698675"/>
              <a:gd name="connsiteX1112" fmla="*/ 6029296 w 8267681"/>
              <a:gd name="connsiteY1112" fmla="*/ 5449125 h 6698675"/>
              <a:gd name="connsiteX1113" fmla="*/ 5973513 w 8267681"/>
              <a:gd name="connsiteY1113" fmla="*/ 5432096 h 6698675"/>
              <a:gd name="connsiteX1114" fmla="*/ 5648793 w 8267681"/>
              <a:gd name="connsiteY1114" fmla="*/ 5430334 h 6698675"/>
              <a:gd name="connsiteX1115" fmla="*/ 5648793 w 8267681"/>
              <a:gd name="connsiteY1115" fmla="*/ 5493752 h 6698675"/>
              <a:gd name="connsiteX1116" fmla="*/ 5648793 w 8267681"/>
              <a:gd name="connsiteY1116" fmla="*/ 5430334 h 6698675"/>
              <a:gd name="connsiteX1117" fmla="*/ 2997022 w 8267681"/>
              <a:gd name="connsiteY1117" fmla="*/ 5430334 h 6698675"/>
              <a:gd name="connsiteX1118" fmla="*/ 2987627 w 8267681"/>
              <a:gd name="connsiteY1118" fmla="*/ 5467915 h 6698675"/>
              <a:gd name="connsiteX1119" fmla="*/ 2997022 w 8267681"/>
              <a:gd name="connsiteY1119" fmla="*/ 5430334 h 6698675"/>
              <a:gd name="connsiteX1120" fmla="*/ 5822603 w 8267681"/>
              <a:gd name="connsiteY1120" fmla="*/ 5427986 h 6698675"/>
              <a:gd name="connsiteX1121" fmla="*/ 5843742 w 8267681"/>
              <a:gd name="connsiteY1121" fmla="*/ 5467915 h 6698675"/>
              <a:gd name="connsiteX1122" fmla="*/ 5843742 w 8267681"/>
              <a:gd name="connsiteY1122" fmla="*/ 5435032 h 6698675"/>
              <a:gd name="connsiteX1123" fmla="*/ 5822603 w 8267681"/>
              <a:gd name="connsiteY1123" fmla="*/ 5427986 h 6698675"/>
              <a:gd name="connsiteX1124" fmla="*/ 4857255 w 8267681"/>
              <a:gd name="connsiteY1124" fmla="*/ 5420939 h 6698675"/>
              <a:gd name="connsiteX1125" fmla="*/ 4786792 w 8267681"/>
              <a:gd name="connsiteY1125" fmla="*/ 5432683 h 6698675"/>
              <a:gd name="connsiteX1126" fmla="*/ 4793838 w 8267681"/>
              <a:gd name="connsiteY1126" fmla="*/ 5437381 h 6698675"/>
              <a:gd name="connsiteX1127" fmla="*/ 4857255 w 8267681"/>
              <a:gd name="connsiteY1127" fmla="*/ 5435032 h 6698675"/>
              <a:gd name="connsiteX1128" fmla="*/ 4857255 w 8267681"/>
              <a:gd name="connsiteY1128" fmla="*/ 5420939 h 6698675"/>
              <a:gd name="connsiteX1129" fmla="*/ 4302943 w 8267681"/>
              <a:gd name="connsiteY1129" fmla="*/ 5420939 h 6698675"/>
              <a:gd name="connsiteX1130" fmla="*/ 4302943 w 8267681"/>
              <a:gd name="connsiteY1130" fmla="*/ 5430334 h 6698675"/>
              <a:gd name="connsiteX1131" fmla="*/ 4371058 w 8267681"/>
              <a:gd name="connsiteY1131" fmla="*/ 5456171 h 6698675"/>
              <a:gd name="connsiteX1132" fmla="*/ 4373407 w 8267681"/>
              <a:gd name="connsiteY1132" fmla="*/ 5451474 h 6698675"/>
              <a:gd name="connsiteX1133" fmla="*/ 4371058 w 8267681"/>
              <a:gd name="connsiteY1133" fmla="*/ 5449125 h 6698675"/>
              <a:gd name="connsiteX1134" fmla="*/ 4302943 w 8267681"/>
              <a:gd name="connsiteY1134" fmla="*/ 5420939 h 6698675"/>
              <a:gd name="connsiteX1135" fmla="*/ 3228964 w 8267681"/>
              <a:gd name="connsiteY1135" fmla="*/ 5418885 h 6698675"/>
              <a:gd name="connsiteX1136" fmla="*/ 3208412 w 8267681"/>
              <a:gd name="connsiteY1136" fmla="*/ 5442078 h 6698675"/>
              <a:gd name="connsiteX1137" fmla="*/ 3253039 w 8267681"/>
              <a:gd name="connsiteY1137" fmla="*/ 5432683 h 6698675"/>
              <a:gd name="connsiteX1138" fmla="*/ 3228964 w 8267681"/>
              <a:gd name="connsiteY1138" fmla="*/ 5418885 h 6698675"/>
              <a:gd name="connsiteX1139" fmla="*/ 4857255 w 8267681"/>
              <a:gd name="connsiteY1139" fmla="*/ 5411545 h 6698675"/>
              <a:gd name="connsiteX1140" fmla="*/ 4833767 w 8267681"/>
              <a:gd name="connsiteY1140" fmla="*/ 5418591 h 6698675"/>
              <a:gd name="connsiteX1141" fmla="*/ 4857255 w 8267681"/>
              <a:gd name="connsiteY1141" fmla="*/ 5416242 h 6698675"/>
              <a:gd name="connsiteX1142" fmla="*/ 4857255 w 8267681"/>
              <a:gd name="connsiteY1142" fmla="*/ 5411545 h 6698675"/>
              <a:gd name="connsiteX1143" fmla="*/ 5108574 w 8267681"/>
              <a:gd name="connsiteY1143" fmla="*/ 5409196 h 6698675"/>
              <a:gd name="connsiteX1144" fmla="*/ 5094482 w 8267681"/>
              <a:gd name="connsiteY1144" fmla="*/ 5437381 h 6698675"/>
              <a:gd name="connsiteX1145" fmla="*/ 5117969 w 8267681"/>
              <a:gd name="connsiteY1145" fmla="*/ 5442078 h 6698675"/>
              <a:gd name="connsiteX1146" fmla="*/ 5117969 w 8267681"/>
              <a:gd name="connsiteY1146" fmla="*/ 5411545 h 6698675"/>
              <a:gd name="connsiteX1147" fmla="*/ 5108574 w 8267681"/>
              <a:gd name="connsiteY1147" fmla="*/ 5409196 h 6698675"/>
              <a:gd name="connsiteX1148" fmla="*/ 5094482 w 8267681"/>
              <a:gd name="connsiteY1148" fmla="*/ 5404498 h 6698675"/>
              <a:gd name="connsiteX1149" fmla="*/ 5092133 w 8267681"/>
              <a:gd name="connsiteY1149" fmla="*/ 5418591 h 6698675"/>
              <a:gd name="connsiteX1150" fmla="*/ 5103877 w 8267681"/>
              <a:gd name="connsiteY1150" fmla="*/ 5411545 h 6698675"/>
              <a:gd name="connsiteX1151" fmla="*/ 5094482 w 8267681"/>
              <a:gd name="connsiteY1151" fmla="*/ 5404498 h 6698675"/>
              <a:gd name="connsiteX1152" fmla="*/ 5930206 w 8267681"/>
              <a:gd name="connsiteY1152" fmla="*/ 5401746 h 6698675"/>
              <a:gd name="connsiteX1153" fmla="*/ 5881322 w 8267681"/>
              <a:gd name="connsiteY1153" fmla="*/ 5418591 h 6698675"/>
              <a:gd name="connsiteX1154" fmla="*/ 5942390 w 8267681"/>
              <a:gd name="connsiteY1154" fmla="*/ 5411545 h 6698675"/>
              <a:gd name="connsiteX1155" fmla="*/ 5930206 w 8267681"/>
              <a:gd name="connsiteY1155" fmla="*/ 5401746 h 6698675"/>
              <a:gd name="connsiteX1156" fmla="*/ 5078040 w 8267681"/>
              <a:gd name="connsiteY1156" fmla="*/ 5397452 h 6698675"/>
              <a:gd name="connsiteX1157" fmla="*/ 5070994 w 8267681"/>
              <a:gd name="connsiteY1157" fmla="*/ 5411545 h 6698675"/>
              <a:gd name="connsiteX1158" fmla="*/ 5078040 w 8267681"/>
              <a:gd name="connsiteY1158" fmla="*/ 5413893 h 6698675"/>
              <a:gd name="connsiteX1159" fmla="*/ 5080389 w 8267681"/>
              <a:gd name="connsiteY1159" fmla="*/ 5402149 h 6698675"/>
              <a:gd name="connsiteX1160" fmla="*/ 5078040 w 8267681"/>
              <a:gd name="connsiteY1160" fmla="*/ 5397452 h 6698675"/>
              <a:gd name="connsiteX1161" fmla="*/ 5045157 w 8267681"/>
              <a:gd name="connsiteY1161" fmla="*/ 5390405 h 6698675"/>
              <a:gd name="connsiteX1162" fmla="*/ 5035762 w 8267681"/>
              <a:gd name="connsiteY1162" fmla="*/ 5411545 h 6698675"/>
              <a:gd name="connsiteX1163" fmla="*/ 5066296 w 8267681"/>
              <a:gd name="connsiteY1163" fmla="*/ 5409196 h 6698675"/>
              <a:gd name="connsiteX1164" fmla="*/ 5070994 w 8267681"/>
              <a:gd name="connsiteY1164" fmla="*/ 5390405 h 6698675"/>
              <a:gd name="connsiteX1165" fmla="*/ 5049855 w 8267681"/>
              <a:gd name="connsiteY1165" fmla="*/ 5406847 h 6698675"/>
              <a:gd name="connsiteX1166" fmla="*/ 5045157 w 8267681"/>
              <a:gd name="connsiteY1166" fmla="*/ 5390405 h 6698675"/>
              <a:gd name="connsiteX1167" fmla="*/ 4307641 w 8267681"/>
              <a:gd name="connsiteY1167" fmla="*/ 5388057 h 6698675"/>
              <a:gd name="connsiteX1168" fmla="*/ 4364011 w 8267681"/>
              <a:gd name="connsiteY1168" fmla="*/ 5416242 h 6698675"/>
              <a:gd name="connsiteX1169" fmla="*/ 4356965 w 8267681"/>
              <a:gd name="connsiteY1169" fmla="*/ 5397452 h 6698675"/>
              <a:gd name="connsiteX1170" fmla="*/ 4356965 w 8267681"/>
              <a:gd name="connsiteY1170" fmla="*/ 5395103 h 6698675"/>
              <a:gd name="connsiteX1171" fmla="*/ 4307641 w 8267681"/>
              <a:gd name="connsiteY1171" fmla="*/ 5388057 h 6698675"/>
              <a:gd name="connsiteX1172" fmla="*/ 6012854 w 8267681"/>
              <a:gd name="connsiteY1172" fmla="*/ 5383359 h 6698675"/>
              <a:gd name="connsiteX1173" fmla="*/ 6033993 w 8267681"/>
              <a:gd name="connsiteY1173" fmla="*/ 5423288 h 6698675"/>
              <a:gd name="connsiteX1174" fmla="*/ 6066876 w 8267681"/>
              <a:gd name="connsiteY1174" fmla="*/ 5423288 h 6698675"/>
              <a:gd name="connsiteX1175" fmla="*/ 6012854 w 8267681"/>
              <a:gd name="connsiteY1175" fmla="*/ 5383359 h 6698675"/>
              <a:gd name="connsiteX1176" fmla="*/ 5430357 w 8267681"/>
              <a:gd name="connsiteY1176" fmla="*/ 5383359 h 6698675"/>
              <a:gd name="connsiteX1177" fmla="*/ 5435055 w 8267681"/>
              <a:gd name="connsiteY1177" fmla="*/ 5479659 h 6698675"/>
              <a:gd name="connsiteX1178" fmla="*/ 5430357 w 8267681"/>
              <a:gd name="connsiteY1178" fmla="*/ 5383359 h 6698675"/>
              <a:gd name="connsiteX1179" fmla="*/ 5280035 w 8267681"/>
              <a:gd name="connsiteY1179" fmla="*/ 5381010 h 6698675"/>
              <a:gd name="connsiteX1180" fmla="*/ 5282219 w 8267681"/>
              <a:gd name="connsiteY1180" fmla="*/ 5393383 h 6698675"/>
              <a:gd name="connsiteX1181" fmla="*/ 5280439 w 8267681"/>
              <a:gd name="connsiteY1181" fmla="*/ 5397379 h 6698675"/>
              <a:gd name="connsiteX1182" fmla="*/ 5257428 w 8267681"/>
              <a:gd name="connsiteY1182" fmla="*/ 5463218 h 6698675"/>
              <a:gd name="connsiteX1183" fmla="*/ 5242313 w 8267681"/>
              <a:gd name="connsiteY1183" fmla="*/ 5490328 h 6698675"/>
              <a:gd name="connsiteX1184" fmla="*/ 5249501 w 8267681"/>
              <a:gd name="connsiteY1184" fmla="*/ 5425637 h 6698675"/>
              <a:gd name="connsiteX1185" fmla="*/ 5256547 w 8267681"/>
              <a:gd name="connsiteY1185" fmla="*/ 5409196 h 6698675"/>
              <a:gd name="connsiteX1186" fmla="*/ 5251850 w 8267681"/>
              <a:gd name="connsiteY1186" fmla="*/ 5409196 h 6698675"/>
              <a:gd name="connsiteX1187" fmla="*/ 5256547 w 8267681"/>
              <a:gd name="connsiteY1187" fmla="*/ 5385708 h 6698675"/>
              <a:gd name="connsiteX1188" fmla="*/ 5280035 w 8267681"/>
              <a:gd name="connsiteY1188" fmla="*/ 5381010 h 6698675"/>
              <a:gd name="connsiteX1189" fmla="*/ 4934765 w 8267681"/>
              <a:gd name="connsiteY1189" fmla="*/ 5381010 h 6698675"/>
              <a:gd name="connsiteX1190" fmla="*/ 4932556 w 8267681"/>
              <a:gd name="connsiteY1190" fmla="*/ 5382755 h 6698675"/>
              <a:gd name="connsiteX1191" fmla="*/ 4890138 w 8267681"/>
              <a:gd name="connsiteY1191" fmla="*/ 5388057 h 6698675"/>
              <a:gd name="connsiteX1192" fmla="*/ 4912452 w 8267681"/>
              <a:gd name="connsiteY1192" fmla="*/ 5398626 h 6698675"/>
              <a:gd name="connsiteX1193" fmla="*/ 4932556 w 8267681"/>
              <a:gd name="connsiteY1193" fmla="*/ 5382755 h 6698675"/>
              <a:gd name="connsiteX1194" fmla="*/ 4938680 w 8267681"/>
              <a:gd name="connsiteY1194" fmla="*/ 5381989 h 6698675"/>
              <a:gd name="connsiteX1195" fmla="*/ 4944160 w 8267681"/>
              <a:gd name="connsiteY1195" fmla="*/ 5383359 h 6698675"/>
              <a:gd name="connsiteX1196" fmla="*/ 4946509 w 8267681"/>
              <a:gd name="connsiteY1196" fmla="*/ 5381010 h 6698675"/>
              <a:gd name="connsiteX1197" fmla="*/ 4938680 w 8267681"/>
              <a:gd name="connsiteY1197" fmla="*/ 5381989 h 6698675"/>
              <a:gd name="connsiteX1198" fmla="*/ 5998761 w 8267681"/>
              <a:gd name="connsiteY1198" fmla="*/ 5378661 h 6698675"/>
              <a:gd name="connsiteX1199" fmla="*/ 5937693 w 8267681"/>
              <a:gd name="connsiteY1199" fmla="*/ 5395103 h 6698675"/>
              <a:gd name="connsiteX1200" fmla="*/ 5972925 w 8267681"/>
              <a:gd name="connsiteY1200" fmla="*/ 5411545 h 6698675"/>
              <a:gd name="connsiteX1201" fmla="*/ 5970576 w 8267681"/>
              <a:gd name="connsiteY1201" fmla="*/ 5397452 h 6698675"/>
              <a:gd name="connsiteX1202" fmla="*/ 6026947 w 8267681"/>
              <a:gd name="connsiteY1202" fmla="*/ 5423288 h 6698675"/>
              <a:gd name="connsiteX1203" fmla="*/ 5998761 w 8267681"/>
              <a:gd name="connsiteY1203" fmla="*/ 5378661 h 6698675"/>
              <a:gd name="connsiteX1204" fmla="*/ 5547796 w 8267681"/>
              <a:gd name="connsiteY1204" fmla="*/ 5378661 h 6698675"/>
              <a:gd name="connsiteX1205" fmla="*/ 5540750 w 8267681"/>
              <a:gd name="connsiteY1205" fmla="*/ 5470264 h 6698675"/>
              <a:gd name="connsiteX1206" fmla="*/ 5547796 w 8267681"/>
              <a:gd name="connsiteY1206" fmla="*/ 5378661 h 6698675"/>
              <a:gd name="connsiteX1207" fmla="*/ 5007577 w 8267681"/>
              <a:gd name="connsiteY1207" fmla="*/ 5378661 h 6698675"/>
              <a:gd name="connsiteX1208" fmla="*/ 5005228 w 8267681"/>
              <a:gd name="connsiteY1208" fmla="*/ 5399801 h 6698675"/>
              <a:gd name="connsiteX1209" fmla="*/ 5028716 w 8267681"/>
              <a:gd name="connsiteY1209" fmla="*/ 5411545 h 6698675"/>
              <a:gd name="connsiteX1210" fmla="*/ 5035762 w 8267681"/>
              <a:gd name="connsiteY1210" fmla="*/ 5383359 h 6698675"/>
              <a:gd name="connsiteX1211" fmla="*/ 5028716 w 8267681"/>
              <a:gd name="connsiteY1211" fmla="*/ 5381010 h 6698675"/>
              <a:gd name="connsiteX1212" fmla="*/ 5007577 w 8267681"/>
              <a:gd name="connsiteY1212" fmla="*/ 5378661 h 6698675"/>
              <a:gd name="connsiteX1213" fmla="*/ 2454455 w 8267681"/>
              <a:gd name="connsiteY1213" fmla="*/ 5378661 h 6698675"/>
              <a:gd name="connsiteX1214" fmla="*/ 2391037 w 8267681"/>
              <a:gd name="connsiteY1214" fmla="*/ 5390405 h 6698675"/>
              <a:gd name="connsiteX1215" fmla="*/ 2454455 w 8267681"/>
              <a:gd name="connsiteY1215" fmla="*/ 5378661 h 6698675"/>
              <a:gd name="connsiteX1216" fmla="*/ 4981740 w 8267681"/>
              <a:gd name="connsiteY1216" fmla="*/ 5376313 h 6698675"/>
              <a:gd name="connsiteX1217" fmla="*/ 4946509 w 8267681"/>
              <a:gd name="connsiteY1217" fmla="*/ 5388057 h 6698675"/>
              <a:gd name="connsiteX1218" fmla="*/ 4958252 w 8267681"/>
              <a:gd name="connsiteY1218" fmla="*/ 5399801 h 6698675"/>
              <a:gd name="connsiteX1219" fmla="*/ 4991135 w 8267681"/>
              <a:gd name="connsiteY1219" fmla="*/ 5395103 h 6698675"/>
              <a:gd name="connsiteX1220" fmla="*/ 4993484 w 8267681"/>
              <a:gd name="connsiteY1220" fmla="*/ 5385708 h 6698675"/>
              <a:gd name="connsiteX1221" fmla="*/ 4979391 w 8267681"/>
              <a:gd name="connsiteY1221" fmla="*/ 5390405 h 6698675"/>
              <a:gd name="connsiteX1222" fmla="*/ 4981740 w 8267681"/>
              <a:gd name="connsiteY1222" fmla="*/ 5376313 h 6698675"/>
              <a:gd name="connsiteX1223" fmla="*/ 4866650 w 8267681"/>
              <a:gd name="connsiteY1223" fmla="*/ 5376313 h 6698675"/>
              <a:gd name="connsiteX1224" fmla="*/ 4852557 w 8267681"/>
              <a:gd name="connsiteY1224" fmla="*/ 5381010 h 6698675"/>
              <a:gd name="connsiteX1225" fmla="*/ 4857255 w 8267681"/>
              <a:gd name="connsiteY1225" fmla="*/ 5383359 h 6698675"/>
              <a:gd name="connsiteX1226" fmla="*/ 4864301 w 8267681"/>
              <a:gd name="connsiteY1226" fmla="*/ 5383359 h 6698675"/>
              <a:gd name="connsiteX1227" fmla="*/ 4866650 w 8267681"/>
              <a:gd name="connsiteY1227" fmla="*/ 5376313 h 6698675"/>
              <a:gd name="connsiteX1228" fmla="*/ 5406869 w 8267681"/>
              <a:gd name="connsiteY1228" fmla="*/ 5362220 h 6698675"/>
              <a:gd name="connsiteX1229" fmla="*/ 5411567 w 8267681"/>
              <a:gd name="connsiteY1229" fmla="*/ 5423288 h 6698675"/>
              <a:gd name="connsiteX1230" fmla="*/ 5406869 w 8267681"/>
              <a:gd name="connsiteY1230" fmla="*/ 5362220 h 6698675"/>
              <a:gd name="connsiteX1231" fmla="*/ 3410811 w 8267681"/>
              <a:gd name="connsiteY1231" fmla="*/ 5356385 h 6698675"/>
              <a:gd name="connsiteX1232" fmla="*/ 3415105 w 8267681"/>
              <a:gd name="connsiteY1232" fmla="*/ 5369266 h 6698675"/>
              <a:gd name="connsiteX1233" fmla="*/ 3410811 w 8267681"/>
              <a:gd name="connsiteY1233" fmla="*/ 5356385 h 6698675"/>
              <a:gd name="connsiteX1234" fmla="*/ 6071573 w 8267681"/>
              <a:gd name="connsiteY1234" fmla="*/ 5352825 h 6698675"/>
              <a:gd name="connsiteX1235" fmla="*/ 6017552 w 8267681"/>
              <a:gd name="connsiteY1235" fmla="*/ 5366918 h 6698675"/>
              <a:gd name="connsiteX1236" fmla="*/ 6078620 w 8267681"/>
              <a:gd name="connsiteY1236" fmla="*/ 5427986 h 6698675"/>
              <a:gd name="connsiteX1237" fmla="*/ 6165524 w 8267681"/>
              <a:gd name="connsiteY1237" fmla="*/ 5460869 h 6698675"/>
              <a:gd name="connsiteX1238" fmla="*/ 6123247 w 8267681"/>
              <a:gd name="connsiteY1238" fmla="*/ 5402149 h 6698675"/>
              <a:gd name="connsiteX1239" fmla="*/ 6071573 w 8267681"/>
              <a:gd name="connsiteY1239" fmla="*/ 5352825 h 6698675"/>
              <a:gd name="connsiteX1240" fmla="*/ 4861952 w 8267681"/>
              <a:gd name="connsiteY1240" fmla="*/ 5352825 h 6698675"/>
              <a:gd name="connsiteX1241" fmla="*/ 4789140 w 8267681"/>
              <a:gd name="connsiteY1241" fmla="*/ 5357523 h 6698675"/>
              <a:gd name="connsiteX1242" fmla="*/ 4791489 w 8267681"/>
              <a:gd name="connsiteY1242" fmla="*/ 5366918 h 6698675"/>
              <a:gd name="connsiteX1243" fmla="*/ 4805582 w 8267681"/>
              <a:gd name="connsiteY1243" fmla="*/ 5366918 h 6698675"/>
              <a:gd name="connsiteX1244" fmla="*/ 4864301 w 8267681"/>
              <a:gd name="connsiteY1244" fmla="*/ 5359871 h 6698675"/>
              <a:gd name="connsiteX1245" fmla="*/ 4861952 w 8267681"/>
              <a:gd name="connsiteY1245" fmla="*/ 5352825 h 6698675"/>
              <a:gd name="connsiteX1246" fmla="*/ 3435327 w 8267681"/>
              <a:gd name="connsiteY1246" fmla="*/ 5350843 h 6698675"/>
              <a:gd name="connsiteX1247" fmla="*/ 3429198 w 8267681"/>
              <a:gd name="connsiteY1247" fmla="*/ 5355174 h 6698675"/>
              <a:gd name="connsiteX1248" fmla="*/ 3440941 w 8267681"/>
              <a:gd name="connsiteY1248" fmla="*/ 5373964 h 6698675"/>
              <a:gd name="connsiteX1249" fmla="*/ 3435327 w 8267681"/>
              <a:gd name="connsiteY1249" fmla="*/ 5350843 h 6698675"/>
              <a:gd name="connsiteX1250" fmla="*/ 4894835 w 8267681"/>
              <a:gd name="connsiteY1250" fmla="*/ 5350476 h 6698675"/>
              <a:gd name="connsiteX1251" fmla="*/ 4894835 w 8267681"/>
              <a:gd name="connsiteY1251" fmla="*/ 5355174 h 6698675"/>
              <a:gd name="connsiteX1252" fmla="*/ 4923021 w 8267681"/>
              <a:gd name="connsiteY1252" fmla="*/ 5352825 h 6698675"/>
              <a:gd name="connsiteX1253" fmla="*/ 4920672 w 8267681"/>
              <a:gd name="connsiteY1253" fmla="*/ 5350476 h 6698675"/>
              <a:gd name="connsiteX1254" fmla="*/ 4894835 w 8267681"/>
              <a:gd name="connsiteY1254" fmla="*/ 5350476 h 6698675"/>
              <a:gd name="connsiteX1255" fmla="*/ 3539590 w 8267681"/>
              <a:gd name="connsiteY1255" fmla="*/ 5348127 h 6698675"/>
              <a:gd name="connsiteX1256" fmla="*/ 3544288 w 8267681"/>
              <a:gd name="connsiteY1256" fmla="*/ 5352825 h 6698675"/>
              <a:gd name="connsiteX1257" fmla="*/ 4664655 w 8267681"/>
              <a:gd name="connsiteY1257" fmla="*/ 5345779 h 6698675"/>
              <a:gd name="connsiteX1258" fmla="*/ 4659958 w 8267681"/>
              <a:gd name="connsiteY1258" fmla="*/ 5348127 h 6698675"/>
              <a:gd name="connsiteX1259" fmla="*/ 4667004 w 8267681"/>
              <a:gd name="connsiteY1259" fmla="*/ 5348127 h 6698675"/>
              <a:gd name="connsiteX1260" fmla="*/ 4664655 w 8267681"/>
              <a:gd name="connsiteY1260" fmla="*/ 5345779 h 6698675"/>
              <a:gd name="connsiteX1261" fmla="*/ 2228981 w 8267681"/>
              <a:gd name="connsiteY1261" fmla="*/ 5341080 h 6698675"/>
              <a:gd name="connsiteX1262" fmla="*/ 2219582 w 8267681"/>
              <a:gd name="connsiteY1262" fmla="*/ 5350475 h 6698675"/>
              <a:gd name="connsiteX1263" fmla="*/ 2210188 w 8267681"/>
              <a:gd name="connsiteY1263" fmla="*/ 5350475 h 6698675"/>
              <a:gd name="connsiteX1264" fmla="*/ 2228981 w 8267681"/>
              <a:gd name="connsiteY1264" fmla="*/ 5341080 h 6698675"/>
              <a:gd name="connsiteX1265" fmla="*/ 4824372 w 8267681"/>
              <a:gd name="connsiteY1265" fmla="*/ 5331686 h 6698675"/>
              <a:gd name="connsiteX1266" fmla="*/ 4807931 w 8267681"/>
              <a:gd name="connsiteY1266" fmla="*/ 5334035 h 6698675"/>
              <a:gd name="connsiteX1267" fmla="*/ 4793838 w 8267681"/>
              <a:gd name="connsiteY1267" fmla="*/ 5348127 h 6698675"/>
              <a:gd name="connsiteX1268" fmla="*/ 4812628 w 8267681"/>
              <a:gd name="connsiteY1268" fmla="*/ 5348127 h 6698675"/>
              <a:gd name="connsiteX1269" fmla="*/ 4857255 w 8267681"/>
              <a:gd name="connsiteY1269" fmla="*/ 5343430 h 6698675"/>
              <a:gd name="connsiteX1270" fmla="*/ 4826721 w 8267681"/>
              <a:gd name="connsiteY1270" fmla="*/ 5338732 h 6698675"/>
              <a:gd name="connsiteX1271" fmla="*/ 4824372 w 8267681"/>
              <a:gd name="connsiteY1271" fmla="*/ 5331686 h 6698675"/>
              <a:gd name="connsiteX1272" fmla="*/ 5503169 w 8267681"/>
              <a:gd name="connsiteY1272" fmla="*/ 5329337 h 6698675"/>
              <a:gd name="connsiteX1273" fmla="*/ 5503169 w 8267681"/>
              <a:gd name="connsiteY1273" fmla="*/ 5336383 h 6698675"/>
              <a:gd name="connsiteX1274" fmla="*/ 5489076 w 8267681"/>
              <a:gd name="connsiteY1274" fmla="*/ 5334035 h 6698675"/>
              <a:gd name="connsiteX1275" fmla="*/ 5498471 w 8267681"/>
              <a:gd name="connsiteY1275" fmla="*/ 5357523 h 6698675"/>
              <a:gd name="connsiteX1276" fmla="*/ 5500820 w 8267681"/>
              <a:gd name="connsiteY1276" fmla="*/ 5355174 h 6698675"/>
              <a:gd name="connsiteX1277" fmla="*/ 5503169 w 8267681"/>
              <a:gd name="connsiteY1277" fmla="*/ 5406847 h 6698675"/>
              <a:gd name="connsiteX1278" fmla="*/ 5510215 w 8267681"/>
              <a:gd name="connsiteY1278" fmla="*/ 5331686 h 6698675"/>
              <a:gd name="connsiteX1279" fmla="*/ 5503169 w 8267681"/>
              <a:gd name="connsiteY1279" fmla="*/ 5329337 h 6698675"/>
              <a:gd name="connsiteX1280" fmla="*/ 5049855 w 8267681"/>
              <a:gd name="connsiteY1280" fmla="*/ 5329337 h 6698675"/>
              <a:gd name="connsiteX1281" fmla="*/ 5042809 w 8267681"/>
              <a:gd name="connsiteY1281" fmla="*/ 5336383 h 6698675"/>
              <a:gd name="connsiteX1282" fmla="*/ 5031065 w 8267681"/>
              <a:gd name="connsiteY1282" fmla="*/ 5338732 h 6698675"/>
              <a:gd name="connsiteX1283" fmla="*/ 5049855 w 8267681"/>
              <a:gd name="connsiteY1283" fmla="*/ 5338732 h 6698675"/>
              <a:gd name="connsiteX1284" fmla="*/ 5049855 w 8267681"/>
              <a:gd name="connsiteY1284" fmla="*/ 5329337 h 6698675"/>
              <a:gd name="connsiteX1285" fmla="*/ 5526657 w 8267681"/>
              <a:gd name="connsiteY1285" fmla="*/ 5326988 h 6698675"/>
              <a:gd name="connsiteX1286" fmla="*/ 5524308 w 8267681"/>
              <a:gd name="connsiteY1286" fmla="*/ 5439730 h 6698675"/>
              <a:gd name="connsiteX1287" fmla="*/ 5526657 w 8267681"/>
              <a:gd name="connsiteY1287" fmla="*/ 5326988 h 6698675"/>
              <a:gd name="connsiteX1288" fmla="*/ 4861952 w 8267681"/>
              <a:gd name="connsiteY1288" fmla="*/ 5326988 h 6698675"/>
              <a:gd name="connsiteX1289" fmla="*/ 4864301 w 8267681"/>
              <a:gd name="connsiteY1289" fmla="*/ 5334035 h 6698675"/>
              <a:gd name="connsiteX1290" fmla="*/ 4878394 w 8267681"/>
              <a:gd name="connsiteY1290" fmla="*/ 5329337 h 6698675"/>
              <a:gd name="connsiteX1291" fmla="*/ 4880743 w 8267681"/>
              <a:gd name="connsiteY1291" fmla="*/ 5326988 h 6698675"/>
              <a:gd name="connsiteX1292" fmla="*/ 4861952 w 8267681"/>
              <a:gd name="connsiteY1292" fmla="*/ 5326988 h 6698675"/>
              <a:gd name="connsiteX1293" fmla="*/ 2899548 w 8267681"/>
              <a:gd name="connsiteY1293" fmla="*/ 5323466 h 6698675"/>
              <a:gd name="connsiteX1294" fmla="*/ 2896027 w 8267681"/>
              <a:gd name="connsiteY1294" fmla="*/ 5326987 h 6698675"/>
              <a:gd name="connsiteX1295" fmla="*/ 2898374 w 8267681"/>
              <a:gd name="connsiteY1295" fmla="*/ 5326987 h 6698675"/>
              <a:gd name="connsiteX1296" fmla="*/ 5829649 w 8267681"/>
              <a:gd name="connsiteY1296" fmla="*/ 5317593 h 6698675"/>
              <a:gd name="connsiteX1297" fmla="*/ 5768581 w 8267681"/>
              <a:gd name="connsiteY1297" fmla="*/ 5331686 h 6698675"/>
              <a:gd name="connsiteX1298" fmla="*/ 5829649 w 8267681"/>
              <a:gd name="connsiteY1298" fmla="*/ 5317593 h 6698675"/>
              <a:gd name="connsiteX1299" fmla="*/ 5442101 w 8267681"/>
              <a:gd name="connsiteY1299" fmla="*/ 5317593 h 6698675"/>
              <a:gd name="connsiteX1300" fmla="*/ 5451496 w 8267681"/>
              <a:gd name="connsiteY1300" fmla="*/ 5392754 h 6698675"/>
              <a:gd name="connsiteX1301" fmla="*/ 5453845 w 8267681"/>
              <a:gd name="connsiteY1301" fmla="*/ 5390405 h 6698675"/>
              <a:gd name="connsiteX1302" fmla="*/ 5442101 w 8267681"/>
              <a:gd name="connsiteY1302" fmla="*/ 5317593 h 6698675"/>
              <a:gd name="connsiteX1303" fmla="*/ 5078040 w 8267681"/>
              <a:gd name="connsiteY1303" fmla="*/ 5308198 h 6698675"/>
              <a:gd name="connsiteX1304" fmla="*/ 5073342 w 8267681"/>
              <a:gd name="connsiteY1304" fmla="*/ 5312896 h 6698675"/>
              <a:gd name="connsiteX1305" fmla="*/ 5063947 w 8267681"/>
              <a:gd name="connsiteY1305" fmla="*/ 5338732 h 6698675"/>
              <a:gd name="connsiteX1306" fmla="*/ 5075691 w 8267681"/>
              <a:gd name="connsiteY1306" fmla="*/ 5341081 h 6698675"/>
              <a:gd name="connsiteX1307" fmla="*/ 5059250 w 8267681"/>
              <a:gd name="connsiteY1307" fmla="*/ 5343430 h 6698675"/>
              <a:gd name="connsiteX1308" fmla="*/ 5059250 w 8267681"/>
              <a:gd name="connsiteY1308" fmla="*/ 5345779 h 6698675"/>
              <a:gd name="connsiteX1309" fmla="*/ 5075691 w 8267681"/>
              <a:gd name="connsiteY1309" fmla="*/ 5357523 h 6698675"/>
              <a:gd name="connsiteX1310" fmla="*/ 5078040 w 8267681"/>
              <a:gd name="connsiteY1310" fmla="*/ 5308198 h 6698675"/>
              <a:gd name="connsiteX1311" fmla="*/ 3523149 w 8267681"/>
              <a:gd name="connsiteY1311" fmla="*/ 5305849 h 6698675"/>
              <a:gd name="connsiteX1312" fmla="*/ 3534892 w 8267681"/>
              <a:gd name="connsiteY1312" fmla="*/ 5324639 h 6698675"/>
              <a:gd name="connsiteX1313" fmla="*/ 3523149 w 8267681"/>
              <a:gd name="connsiteY1313" fmla="*/ 5305849 h 6698675"/>
              <a:gd name="connsiteX1314" fmla="*/ 4916415 w 8267681"/>
              <a:gd name="connsiteY1314" fmla="*/ 5305336 h 6698675"/>
              <a:gd name="connsiteX1315" fmla="*/ 4899533 w 8267681"/>
              <a:gd name="connsiteY1315" fmla="*/ 5308198 h 6698675"/>
              <a:gd name="connsiteX1316" fmla="*/ 4899533 w 8267681"/>
              <a:gd name="connsiteY1316" fmla="*/ 5315244 h 6698675"/>
              <a:gd name="connsiteX1317" fmla="*/ 4962950 w 8267681"/>
              <a:gd name="connsiteY1317" fmla="*/ 5326988 h 6698675"/>
              <a:gd name="connsiteX1318" fmla="*/ 4965299 w 8267681"/>
              <a:gd name="connsiteY1318" fmla="*/ 5315244 h 6698675"/>
              <a:gd name="connsiteX1319" fmla="*/ 4916415 w 8267681"/>
              <a:gd name="connsiteY1319" fmla="*/ 5305336 h 6698675"/>
              <a:gd name="connsiteX1320" fmla="*/ 5075691 w 8267681"/>
              <a:gd name="connsiteY1320" fmla="*/ 5298803 h 6698675"/>
              <a:gd name="connsiteX1321" fmla="*/ 5073342 w 8267681"/>
              <a:gd name="connsiteY1321" fmla="*/ 5305849 h 6698675"/>
              <a:gd name="connsiteX1322" fmla="*/ 5075691 w 8267681"/>
              <a:gd name="connsiteY1322" fmla="*/ 5305849 h 6698675"/>
              <a:gd name="connsiteX1323" fmla="*/ 5075691 w 8267681"/>
              <a:gd name="connsiteY1323" fmla="*/ 5298803 h 6698675"/>
              <a:gd name="connsiteX1324" fmla="*/ 2137375 w 8267681"/>
              <a:gd name="connsiteY1324" fmla="*/ 5296453 h 6698675"/>
              <a:gd name="connsiteX1325" fmla="*/ 2137375 w 8267681"/>
              <a:gd name="connsiteY1325" fmla="*/ 5303499 h 6698675"/>
              <a:gd name="connsiteX1326" fmla="*/ 2135025 w 8267681"/>
              <a:gd name="connsiteY1326" fmla="*/ 5345778 h 6698675"/>
              <a:gd name="connsiteX1327" fmla="*/ 2106840 w 8267681"/>
              <a:gd name="connsiteY1327" fmla="*/ 5378660 h 6698675"/>
              <a:gd name="connsiteX1328" fmla="*/ 2085700 w 8267681"/>
              <a:gd name="connsiteY1328" fmla="*/ 5514890 h 6698675"/>
              <a:gd name="connsiteX1329" fmla="*/ 2076305 w 8267681"/>
              <a:gd name="connsiteY1329" fmla="*/ 5547772 h 6698675"/>
              <a:gd name="connsiteX1330" fmla="*/ 2097447 w 8267681"/>
              <a:gd name="connsiteY1330" fmla="*/ 5625282 h 6698675"/>
              <a:gd name="connsiteX1331" fmla="*/ 2109190 w 8267681"/>
              <a:gd name="connsiteY1331" fmla="*/ 5691048 h 6698675"/>
              <a:gd name="connsiteX1332" fmla="*/ 2118582 w 8267681"/>
              <a:gd name="connsiteY1332" fmla="*/ 6078596 h 6698675"/>
              <a:gd name="connsiteX1333" fmla="*/ 2097447 w 8267681"/>
              <a:gd name="connsiteY1333" fmla="*/ 6200733 h 6698675"/>
              <a:gd name="connsiteX1334" fmla="*/ 2071607 w 8267681"/>
              <a:gd name="connsiteY1334" fmla="*/ 6203081 h 6698675"/>
              <a:gd name="connsiteX1335" fmla="*/ 2071607 w 8267681"/>
              <a:gd name="connsiteY1335" fmla="*/ 6188989 h 6698675"/>
              <a:gd name="connsiteX1336" fmla="*/ 2064562 w 8267681"/>
              <a:gd name="connsiteY1336" fmla="*/ 6179594 h 6698675"/>
              <a:gd name="connsiteX1337" fmla="*/ 2048120 w 8267681"/>
              <a:gd name="connsiteY1337" fmla="*/ 6181943 h 6698675"/>
              <a:gd name="connsiteX1338" fmla="*/ 2008192 w 8267681"/>
              <a:gd name="connsiteY1338" fmla="*/ 6127921 h 6698675"/>
              <a:gd name="connsiteX1339" fmla="*/ 2012892 w 8267681"/>
              <a:gd name="connsiteY1339" fmla="*/ 5984645 h 6698675"/>
              <a:gd name="connsiteX1340" fmla="*/ 2015237 w 8267681"/>
              <a:gd name="connsiteY1340" fmla="*/ 5618236 h 6698675"/>
              <a:gd name="connsiteX1341" fmla="*/ 2017586 w 8267681"/>
              <a:gd name="connsiteY1341" fmla="*/ 5620585 h 6698675"/>
              <a:gd name="connsiteX1342" fmla="*/ 2048120 w 8267681"/>
              <a:gd name="connsiteY1342" fmla="*/ 5531331 h 6698675"/>
              <a:gd name="connsiteX1343" fmla="*/ 2057515 w 8267681"/>
              <a:gd name="connsiteY1343" fmla="*/ 5554819 h 6698675"/>
              <a:gd name="connsiteX1344" fmla="*/ 2066912 w 8267681"/>
              <a:gd name="connsiteY1344" fmla="*/ 5315243 h 6698675"/>
              <a:gd name="connsiteX1345" fmla="*/ 2111540 w 8267681"/>
              <a:gd name="connsiteY1345" fmla="*/ 5319941 h 6698675"/>
              <a:gd name="connsiteX1346" fmla="*/ 2137375 w 8267681"/>
              <a:gd name="connsiteY1346" fmla="*/ 5296453 h 6698675"/>
              <a:gd name="connsiteX1347" fmla="*/ 5416264 w 8267681"/>
              <a:gd name="connsiteY1347" fmla="*/ 5294106 h 6698675"/>
              <a:gd name="connsiteX1348" fmla="*/ 5418613 w 8267681"/>
              <a:gd name="connsiteY1348" fmla="*/ 5357523 h 6698675"/>
              <a:gd name="connsiteX1349" fmla="*/ 5416264 w 8267681"/>
              <a:gd name="connsiteY1349" fmla="*/ 5294106 h 6698675"/>
              <a:gd name="connsiteX1350" fmla="*/ 4920672 w 8267681"/>
              <a:gd name="connsiteY1350" fmla="*/ 5291757 h 6698675"/>
              <a:gd name="connsiteX1351" fmla="*/ 4904230 w 8267681"/>
              <a:gd name="connsiteY1351" fmla="*/ 5298803 h 6698675"/>
              <a:gd name="connsiteX1352" fmla="*/ 4960601 w 8267681"/>
              <a:gd name="connsiteY1352" fmla="*/ 5310547 h 6698675"/>
              <a:gd name="connsiteX1353" fmla="*/ 4955903 w 8267681"/>
              <a:gd name="connsiteY1353" fmla="*/ 5301152 h 6698675"/>
              <a:gd name="connsiteX1354" fmla="*/ 4920672 w 8267681"/>
              <a:gd name="connsiteY1354" fmla="*/ 5291757 h 6698675"/>
              <a:gd name="connsiteX1355" fmla="*/ 4868999 w 8267681"/>
              <a:gd name="connsiteY1355" fmla="*/ 5289408 h 6698675"/>
              <a:gd name="connsiteX1356" fmla="*/ 4840813 w 8267681"/>
              <a:gd name="connsiteY1356" fmla="*/ 5298803 h 6698675"/>
              <a:gd name="connsiteX1357" fmla="*/ 4840813 w 8267681"/>
              <a:gd name="connsiteY1357" fmla="*/ 5301152 h 6698675"/>
              <a:gd name="connsiteX1358" fmla="*/ 4864301 w 8267681"/>
              <a:gd name="connsiteY1358" fmla="*/ 5298803 h 6698675"/>
              <a:gd name="connsiteX1359" fmla="*/ 4868999 w 8267681"/>
              <a:gd name="connsiteY1359" fmla="*/ 5289408 h 6698675"/>
              <a:gd name="connsiteX1360" fmla="*/ 2900569 w 8267681"/>
              <a:gd name="connsiteY1360" fmla="*/ 5284711 h 6698675"/>
              <a:gd name="connsiteX1361" fmla="*/ 2900723 w 8267681"/>
              <a:gd name="connsiteY1361" fmla="*/ 5284711 h 6698675"/>
              <a:gd name="connsiteX1362" fmla="*/ 2900493 w 8267681"/>
              <a:gd name="connsiteY1362" fmla="*/ 5285862 h 6698675"/>
              <a:gd name="connsiteX1363" fmla="*/ 2900723 w 8267681"/>
              <a:gd name="connsiteY1363" fmla="*/ 5282362 h 6698675"/>
              <a:gd name="connsiteX1364" fmla="*/ 2900569 w 8267681"/>
              <a:gd name="connsiteY1364" fmla="*/ 5284711 h 6698675"/>
              <a:gd name="connsiteX1365" fmla="*/ 2898374 w 8267681"/>
              <a:gd name="connsiteY1365" fmla="*/ 5284711 h 6698675"/>
              <a:gd name="connsiteX1366" fmla="*/ 2900723 w 8267681"/>
              <a:gd name="connsiteY1366" fmla="*/ 5282362 h 6698675"/>
              <a:gd name="connsiteX1367" fmla="*/ 5428008 w 8267681"/>
              <a:gd name="connsiteY1367" fmla="*/ 5280013 h 6698675"/>
              <a:gd name="connsiteX1368" fmla="*/ 5420962 w 8267681"/>
              <a:gd name="connsiteY1368" fmla="*/ 5296454 h 6698675"/>
              <a:gd name="connsiteX1369" fmla="*/ 5428008 w 8267681"/>
              <a:gd name="connsiteY1369" fmla="*/ 5294106 h 6698675"/>
              <a:gd name="connsiteX1370" fmla="*/ 5435055 w 8267681"/>
              <a:gd name="connsiteY1370" fmla="*/ 5310547 h 6698675"/>
              <a:gd name="connsiteX1371" fmla="*/ 5428008 w 8267681"/>
              <a:gd name="connsiteY1371" fmla="*/ 5280013 h 6698675"/>
              <a:gd name="connsiteX1372" fmla="*/ 2529615 w 8267681"/>
              <a:gd name="connsiteY1372" fmla="*/ 5280013 h 6698675"/>
              <a:gd name="connsiteX1373" fmla="*/ 2346412 w 8267681"/>
              <a:gd name="connsiteY1373" fmla="*/ 5303501 h 6698675"/>
              <a:gd name="connsiteX1374" fmla="*/ 2508476 w 8267681"/>
              <a:gd name="connsiteY1374" fmla="*/ 5289408 h 6698675"/>
              <a:gd name="connsiteX1375" fmla="*/ 2529615 w 8267681"/>
              <a:gd name="connsiteY1375" fmla="*/ 5280013 h 6698675"/>
              <a:gd name="connsiteX1376" fmla="*/ 5552493 w 8267681"/>
              <a:gd name="connsiteY1376" fmla="*/ 5275315 h 6698675"/>
              <a:gd name="connsiteX1377" fmla="*/ 5547796 w 8267681"/>
              <a:gd name="connsiteY1377" fmla="*/ 5301152 h 6698675"/>
              <a:gd name="connsiteX1378" fmla="*/ 5552493 w 8267681"/>
              <a:gd name="connsiteY1378" fmla="*/ 5275315 h 6698675"/>
              <a:gd name="connsiteX1379" fmla="*/ 5625269 w 8267681"/>
              <a:gd name="connsiteY1379" fmla="*/ 5263461 h 6698675"/>
              <a:gd name="connsiteX1380" fmla="*/ 5618259 w 8267681"/>
              <a:gd name="connsiteY1380" fmla="*/ 5263571 h 6698675"/>
              <a:gd name="connsiteX1381" fmla="*/ 5622957 w 8267681"/>
              <a:gd name="connsiteY1381" fmla="*/ 5298803 h 6698675"/>
              <a:gd name="connsiteX1382" fmla="*/ 5625269 w 8267681"/>
              <a:gd name="connsiteY1382" fmla="*/ 5263461 h 6698675"/>
              <a:gd name="connsiteX1383" fmla="*/ 5572972 w 8267681"/>
              <a:gd name="connsiteY1383" fmla="*/ 5259718 h 6698675"/>
              <a:gd name="connsiteX1384" fmla="*/ 5573632 w 8267681"/>
              <a:gd name="connsiteY1384" fmla="*/ 5270618 h 6698675"/>
              <a:gd name="connsiteX1385" fmla="*/ 5572972 w 8267681"/>
              <a:gd name="connsiteY1385" fmla="*/ 5259718 h 6698675"/>
              <a:gd name="connsiteX1386" fmla="*/ 2548406 w 8267681"/>
              <a:gd name="connsiteY1386" fmla="*/ 5251827 h 6698675"/>
              <a:gd name="connsiteX1387" fmla="*/ 2376945 w 8267681"/>
              <a:gd name="connsiteY1387" fmla="*/ 5284710 h 6698675"/>
              <a:gd name="connsiteX1388" fmla="*/ 2539011 w 8267681"/>
              <a:gd name="connsiteY1388" fmla="*/ 5268269 h 6698675"/>
              <a:gd name="connsiteX1389" fmla="*/ 2548406 w 8267681"/>
              <a:gd name="connsiteY1389" fmla="*/ 5251827 h 6698675"/>
              <a:gd name="connsiteX1390" fmla="*/ 4948857 w 8267681"/>
              <a:gd name="connsiteY1390" fmla="*/ 5249479 h 6698675"/>
              <a:gd name="connsiteX1391" fmla="*/ 4941811 w 8267681"/>
              <a:gd name="connsiteY1391" fmla="*/ 5261222 h 6698675"/>
              <a:gd name="connsiteX1392" fmla="*/ 4972345 w 8267681"/>
              <a:gd name="connsiteY1392" fmla="*/ 5268269 h 6698675"/>
              <a:gd name="connsiteX1393" fmla="*/ 4948857 w 8267681"/>
              <a:gd name="connsiteY1393" fmla="*/ 5249479 h 6698675"/>
              <a:gd name="connsiteX1394" fmla="*/ 4923021 w 8267681"/>
              <a:gd name="connsiteY1394" fmla="*/ 5235386 h 6698675"/>
              <a:gd name="connsiteX1395" fmla="*/ 4918323 w 8267681"/>
              <a:gd name="connsiteY1395" fmla="*/ 5242432 h 6698675"/>
              <a:gd name="connsiteX1396" fmla="*/ 4918323 w 8267681"/>
              <a:gd name="connsiteY1396" fmla="*/ 5244781 h 6698675"/>
              <a:gd name="connsiteX1397" fmla="*/ 4923021 w 8267681"/>
              <a:gd name="connsiteY1397" fmla="*/ 5247130 h 6698675"/>
              <a:gd name="connsiteX1398" fmla="*/ 4923021 w 8267681"/>
              <a:gd name="connsiteY1398" fmla="*/ 5235386 h 6698675"/>
              <a:gd name="connsiteX1399" fmla="*/ 2546057 w 8267681"/>
              <a:gd name="connsiteY1399" fmla="*/ 5221293 h 6698675"/>
              <a:gd name="connsiteX1400" fmla="*/ 2414525 w 8267681"/>
              <a:gd name="connsiteY1400" fmla="*/ 5254176 h 6698675"/>
              <a:gd name="connsiteX1401" fmla="*/ 2546057 w 8267681"/>
              <a:gd name="connsiteY1401" fmla="*/ 5221293 h 6698675"/>
              <a:gd name="connsiteX1402" fmla="*/ 5514913 w 8267681"/>
              <a:gd name="connsiteY1402" fmla="*/ 5218944 h 6698675"/>
              <a:gd name="connsiteX1403" fmla="*/ 5496123 w 8267681"/>
              <a:gd name="connsiteY1403" fmla="*/ 5244781 h 6698675"/>
              <a:gd name="connsiteX1404" fmla="*/ 5491425 w 8267681"/>
              <a:gd name="connsiteY1404" fmla="*/ 5223642 h 6698675"/>
              <a:gd name="connsiteX1405" fmla="*/ 5453845 w 8267681"/>
              <a:gd name="connsiteY1405" fmla="*/ 5263571 h 6698675"/>
              <a:gd name="connsiteX1406" fmla="*/ 5474984 w 8267681"/>
              <a:gd name="connsiteY1406" fmla="*/ 5284710 h 6698675"/>
              <a:gd name="connsiteX1407" fmla="*/ 5472635 w 8267681"/>
              <a:gd name="connsiteY1407" fmla="*/ 5256525 h 6698675"/>
              <a:gd name="connsiteX1408" fmla="*/ 5521959 w 8267681"/>
              <a:gd name="connsiteY1408" fmla="*/ 5249479 h 6698675"/>
              <a:gd name="connsiteX1409" fmla="*/ 5514913 w 8267681"/>
              <a:gd name="connsiteY1409" fmla="*/ 5218944 h 6698675"/>
              <a:gd name="connsiteX1410" fmla="*/ 5547796 w 8267681"/>
              <a:gd name="connsiteY1410" fmla="*/ 5214247 h 6698675"/>
              <a:gd name="connsiteX1411" fmla="*/ 5531354 w 8267681"/>
              <a:gd name="connsiteY1411" fmla="*/ 5235386 h 6698675"/>
              <a:gd name="connsiteX1412" fmla="*/ 5543098 w 8267681"/>
              <a:gd name="connsiteY1412" fmla="*/ 5240084 h 6698675"/>
              <a:gd name="connsiteX1413" fmla="*/ 5554842 w 8267681"/>
              <a:gd name="connsiteY1413" fmla="*/ 5230688 h 6698675"/>
              <a:gd name="connsiteX1414" fmla="*/ 5545447 w 8267681"/>
              <a:gd name="connsiteY1414" fmla="*/ 5218944 h 6698675"/>
              <a:gd name="connsiteX1415" fmla="*/ 5547796 w 8267681"/>
              <a:gd name="connsiteY1415" fmla="*/ 5214247 h 6698675"/>
              <a:gd name="connsiteX1416" fmla="*/ 2501430 w 8267681"/>
              <a:gd name="connsiteY1416" fmla="*/ 5214247 h 6698675"/>
              <a:gd name="connsiteX1417" fmla="*/ 2405130 w 8267681"/>
              <a:gd name="connsiteY1417" fmla="*/ 5237735 h 6698675"/>
              <a:gd name="connsiteX1418" fmla="*/ 2501430 w 8267681"/>
              <a:gd name="connsiteY1418" fmla="*/ 5214247 h 6698675"/>
              <a:gd name="connsiteX1419" fmla="*/ 5474984 w 8267681"/>
              <a:gd name="connsiteY1419" fmla="*/ 5211898 h 6698675"/>
              <a:gd name="connsiteX1420" fmla="*/ 5470286 w 8267681"/>
              <a:gd name="connsiteY1420" fmla="*/ 5223642 h 6698675"/>
              <a:gd name="connsiteX1421" fmla="*/ 5482030 w 8267681"/>
              <a:gd name="connsiteY1421" fmla="*/ 5228340 h 6698675"/>
              <a:gd name="connsiteX1422" fmla="*/ 5486728 w 8267681"/>
              <a:gd name="connsiteY1422" fmla="*/ 5216596 h 6698675"/>
              <a:gd name="connsiteX1423" fmla="*/ 5474984 w 8267681"/>
              <a:gd name="connsiteY1423" fmla="*/ 5211898 h 6698675"/>
              <a:gd name="connsiteX1424" fmla="*/ 2607125 w 8267681"/>
              <a:gd name="connsiteY1424" fmla="*/ 5204852 h 6698675"/>
              <a:gd name="connsiteX1425" fmla="*/ 2640008 w 8267681"/>
              <a:gd name="connsiteY1425" fmla="*/ 5225991 h 6698675"/>
              <a:gd name="connsiteX1426" fmla="*/ 2607125 w 8267681"/>
              <a:gd name="connsiteY1426" fmla="*/ 5204852 h 6698675"/>
              <a:gd name="connsiteX1427" fmla="*/ 2814406 w 8267681"/>
              <a:gd name="connsiteY1427" fmla="*/ 5201622 h 6698675"/>
              <a:gd name="connsiteX1428" fmla="*/ 2827912 w 8267681"/>
              <a:gd name="connsiteY1428" fmla="*/ 5223642 h 6698675"/>
              <a:gd name="connsiteX1429" fmla="*/ 2792680 w 8267681"/>
              <a:gd name="connsiteY1429" fmla="*/ 5228339 h 6698675"/>
              <a:gd name="connsiteX1430" fmla="*/ 2790331 w 8267681"/>
              <a:gd name="connsiteY1430" fmla="*/ 5209549 h 6698675"/>
              <a:gd name="connsiteX1431" fmla="*/ 2814406 w 8267681"/>
              <a:gd name="connsiteY1431" fmla="*/ 5201622 h 6698675"/>
              <a:gd name="connsiteX1432" fmla="*/ 5460891 w 8267681"/>
              <a:gd name="connsiteY1432" fmla="*/ 5197806 h 6698675"/>
              <a:gd name="connsiteX1433" fmla="*/ 5456193 w 8267681"/>
              <a:gd name="connsiteY1433" fmla="*/ 5209549 h 6698675"/>
              <a:gd name="connsiteX1434" fmla="*/ 5467937 w 8267681"/>
              <a:gd name="connsiteY1434" fmla="*/ 5214247 h 6698675"/>
              <a:gd name="connsiteX1435" fmla="*/ 5472635 w 8267681"/>
              <a:gd name="connsiteY1435" fmla="*/ 5202503 h 6698675"/>
              <a:gd name="connsiteX1436" fmla="*/ 5460891 w 8267681"/>
              <a:gd name="connsiteY1436" fmla="*/ 5197806 h 6698675"/>
              <a:gd name="connsiteX1437" fmla="*/ 5042809 w 8267681"/>
              <a:gd name="connsiteY1437" fmla="*/ 5195457 h 6698675"/>
              <a:gd name="connsiteX1438" fmla="*/ 5026367 w 8267681"/>
              <a:gd name="connsiteY1438" fmla="*/ 5233037 h 6698675"/>
              <a:gd name="connsiteX1439" fmla="*/ 5014623 w 8267681"/>
              <a:gd name="connsiteY1439" fmla="*/ 5247130 h 6698675"/>
              <a:gd name="connsiteX1440" fmla="*/ 5026367 w 8267681"/>
              <a:gd name="connsiteY1440" fmla="*/ 5258874 h 6698675"/>
              <a:gd name="connsiteX1441" fmla="*/ 5042809 w 8267681"/>
              <a:gd name="connsiteY1441" fmla="*/ 5195457 h 6698675"/>
              <a:gd name="connsiteX1442" fmla="*/ 2130329 w 8267681"/>
              <a:gd name="connsiteY1442" fmla="*/ 5195457 h 6698675"/>
              <a:gd name="connsiteX1443" fmla="*/ 2137376 w 8267681"/>
              <a:gd name="connsiteY1443" fmla="*/ 5204852 h 6698675"/>
              <a:gd name="connsiteX1444" fmla="*/ 2137376 w 8267681"/>
              <a:gd name="connsiteY1444" fmla="*/ 5287060 h 6698675"/>
              <a:gd name="connsiteX1445" fmla="*/ 2055170 w 8267681"/>
              <a:gd name="connsiteY1445" fmla="*/ 5294106 h 6698675"/>
              <a:gd name="connsiteX1446" fmla="*/ 2078657 w 8267681"/>
              <a:gd name="connsiteY1446" fmla="*/ 5221294 h 6698675"/>
              <a:gd name="connsiteX1447" fmla="*/ 2088055 w 8267681"/>
              <a:gd name="connsiteY1447" fmla="*/ 5244782 h 6698675"/>
              <a:gd name="connsiteX1448" fmla="*/ 2130329 w 8267681"/>
              <a:gd name="connsiteY1448" fmla="*/ 5195457 h 6698675"/>
              <a:gd name="connsiteX1449" fmla="*/ 5566586 w 8267681"/>
              <a:gd name="connsiteY1449" fmla="*/ 5188411 h 6698675"/>
              <a:gd name="connsiteX1450" fmla="*/ 5545447 w 8267681"/>
              <a:gd name="connsiteY1450" fmla="*/ 5207200 h 6698675"/>
              <a:gd name="connsiteX1451" fmla="*/ 5573632 w 8267681"/>
              <a:gd name="connsiteY1451" fmla="*/ 5251827 h 6698675"/>
              <a:gd name="connsiteX1452" fmla="*/ 5566586 w 8267681"/>
              <a:gd name="connsiteY1452" fmla="*/ 5188411 h 6698675"/>
              <a:gd name="connsiteX1453" fmla="*/ 4810279 w 8267681"/>
              <a:gd name="connsiteY1453" fmla="*/ 5186062 h 6698675"/>
              <a:gd name="connsiteX1454" fmla="*/ 4829070 w 8267681"/>
              <a:gd name="connsiteY1454" fmla="*/ 5207200 h 6698675"/>
              <a:gd name="connsiteX1455" fmla="*/ 4854906 w 8267681"/>
              <a:gd name="connsiteY1455" fmla="*/ 5209549 h 6698675"/>
              <a:gd name="connsiteX1456" fmla="*/ 4859604 w 8267681"/>
              <a:gd name="connsiteY1456" fmla="*/ 5207200 h 6698675"/>
              <a:gd name="connsiteX1457" fmla="*/ 4810279 w 8267681"/>
              <a:gd name="connsiteY1457" fmla="*/ 5186062 h 6698675"/>
              <a:gd name="connsiteX1458" fmla="*/ 5521042 w 8267681"/>
              <a:gd name="connsiteY1458" fmla="*/ 5181731 h 6698675"/>
              <a:gd name="connsiteX1459" fmla="*/ 5514913 w 8267681"/>
              <a:gd name="connsiteY1459" fmla="*/ 5186062 h 6698675"/>
              <a:gd name="connsiteX1460" fmla="*/ 5526657 w 8267681"/>
              <a:gd name="connsiteY1460" fmla="*/ 5204852 h 6698675"/>
              <a:gd name="connsiteX1461" fmla="*/ 5521042 w 8267681"/>
              <a:gd name="connsiteY1461" fmla="*/ 5181731 h 6698675"/>
              <a:gd name="connsiteX1462" fmla="*/ 2562498 w 8267681"/>
              <a:gd name="connsiteY1462" fmla="*/ 5181364 h 6698675"/>
              <a:gd name="connsiteX1463" fmla="*/ 2393386 w 8267681"/>
              <a:gd name="connsiteY1463" fmla="*/ 5228340 h 6698675"/>
              <a:gd name="connsiteX1464" fmla="*/ 2562498 w 8267681"/>
              <a:gd name="connsiteY1464" fmla="*/ 5181364 h 6698675"/>
              <a:gd name="connsiteX1465" fmla="*/ 5441440 w 8267681"/>
              <a:gd name="connsiteY1465" fmla="*/ 5177914 h 6698675"/>
              <a:gd name="connsiteX1466" fmla="*/ 5420962 w 8267681"/>
              <a:gd name="connsiteY1466" fmla="*/ 5214247 h 6698675"/>
              <a:gd name="connsiteX1467" fmla="*/ 5446798 w 8267681"/>
              <a:gd name="connsiteY1467" fmla="*/ 5233037 h 6698675"/>
              <a:gd name="connsiteX1468" fmla="*/ 5456193 w 8267681"/>
              <a:gd name="connsiteY1468" fmla="*/ 5181364 h 6698675"/>
              <a:gd name="connsiteX1469" fmla="*/ 5441440 w 8267681"/>
              <a:gd name="connsiteY1469" fmla="*/ 5177914 h 6698675"/>
              <a:gd name="connsiteX1470" fmla="*/ 3990556 w 8267681"/>
              <a:gd name="connsiteY1470" fmla="*/ 5174318 h 6698675"/>
              <a:gd name="connsiteX1471" fmla="*/ 3967068 w 8267681"/>
              <a:gd name="connsiteY1471" fmla="*/ 5179015 h 6698675"/>
              <a:gd name="connsiteX1472" fmla="*/ 3960021 w 8267681"/>
              <a:gd name="connsiteY1472" fmla="*/ 5181364 h 6698675"/>
              <a:gd name="connsiteX1473" fmla="*/ 3967068 w 8267681"/>
              <a:gd name="connsiteY1473" fmla="*/ 5195457 h 6698675"/>
              <a:gd name="connsiteX1474" fmla="*/ 3974114 w 8267681"/>
              <a:gd name="connsiteY1474" fmla="*/ 5195457 h 6698675"/>
              <a:gd name="connsiteX1475" fmla="*/ 3988207 w 8267681"/>
              <a:gd name="connsiteY1475" fmla="*/ 5188411 h 6698675"/>
              <a:gd name="connsiteX1476" fmla="*/ 3990556 w 8267681"/>
              <a:gd name="connsiteY1476" fmla="*/ 5174318 h 6698675"/>
              <a:gd name="connsiteX1477" fmla="*/ 5533703 w 8267681"/>
              <a:gd name="connsiteY1477" fmla="*/ 5167271 h 6698675"/>
              <a:gd name="connsiteX1478" fmla="*/ 5543098 w 8267681"/>
              <a:gd name="connsiteY1478" fmla="*/ 5190759 h 6698675"/>
              <a:gd name="connsiteX1479" fmla="*/ 5533703 w 8267681"/>
              <a:gd name="connsiteY1479" fmla="*/ 5167271 h 6698675"/>
              <a:gd name="connsiteX1480" fmla="*/ 4951206 w 8267681"/>
              <a:gd name="connsiteY1480" fmla="*/ 5167271 h 6698675"/>
              <a:gd name="connsiteX1481" fmla="*/ 4944160 w 8267681"/>
              <a:gd name="connsiteY1481" fmla="*/ 5176667 h 6698675"/>
              <a:gd name="connsiteX1482" fmla="*/ 4948857 w 8267681"/>
              <a:gd name="connsiteY1482" fmla="*/ 5190759 h 6698675"/>
              <a:gd name="connsiteX1483" fmla="*/ 4960601 w 8267681"/>
              <a:gd name="connsiteY1483" fmla="*/ 5167271 h 6698675"/>
              <a:gd name="connsiteX1484" fmla="*/ 4951206 w 8267681"/>
              <a:gd name="connsiteY1484" fmla="*/ 5167271 h 6698675"/>
              <a:gd name="connsiteX1485" fmla="*/ 2466198 w 8267681"/>
              <a:gd name="connsiteY1485" fmla="*/ 5143784 h 6698675"/>
              <a:gd name="connsiteX1486" fmla="*/ 2414525 w 8267681"/>
              <a:gd name="connsiteY1486" fmla="*/ 5202503 h 6698675"/>
              <a:gd name="connsiteX1487" fmla="*/ 2609474 w 8267681"/>
              <a:gd name="connsiteY1487" fmla="*/ 5160225 h 6698675"/>
              <a:gd name="connsiteX1488" fmla="*/ 2616520 w 8267681"/>
              <a:gd name="connsiteY1488" fmla="*/ 5143784 h 6698675"/>
              <a:gd name="connsiteX1489" fmla="*/ 2477942 w 8267681"/>
              <a:gd name="connsiteY1489" fmla="*/ 5150830 h 6698675"/>
              <a:gd name="connsiteX1490" fmla="*/ 2466198 w 8267681"/>
              <a:gd name="connsiteY1490" fmla="*/ 5143784 h 6698675"/>
              <a:gd name="connsiteX1491" fmla="*/ 1742791 w 8267681"/>
              <a:gd name="connsiteY1491" fmla="*/ 5141434 h 6698675"/>
              <a:gd name="connsiteX1492" fmla="*/ 1747485 w 8267681"/>
              <a:gd name="connsiteY1492" fmla="*/ 5146132 h 6698675"/>
              <a:gd name="connsiteX1493" fmla="*/ 1752183 w 8267681"/>
              <a:gd name="connsiteY1493" fmla="*/ 5153178 h 6698675"/>
              <a:gd name="connsiteX1494" fmla="*/ 1742791 w 8267681"/>
              <a:gd name="connsiteY1494" fmla="*/ 5157875 h 6698675"/>
              <a:gd name="connsiteX1495" fmla="*/ 1738091 w 8267681"/>
              <a:gd name="connsiteY1495" fmla="*/ 5153178 h 6698675"/>
              <a:gd name="connsiteX1496" fmla="*/ 1738091 w 8267681"/>
              <a:gd name="connsiteY1496" fmla="*/ 5143783 h 6698675"/>
              <a:gd name="connsiteX1497" fmla="*/ 1742791 w 8267681"/>
              <a:gd name="connsiteY1497" fmla="*/ 5141434 h 6698675"/>
              <a:gd name="connsiteX1498" fmla="*/ 2318226 w 8267681"/>
              <a:gd name="connsiteY1498" fmla="*/ 5134389 h 6698675"/>
              <a:gd name="connsiteX1499" fmla="*/ 2313529 w 8267681"/>
              <a:gd name="connsiteY1499" fmla="*/ 5146133 h 6698675"/>
              <a:gd name="connsiteX1500" fmla="*/ 2322924 w 8267681"/>
              <a:gd name="connsiteY1500" fmla="*/ 5153179 h 6698675"/>
              <a:gd name="connsiteX1501" fmla="*/ 2268902 w 8267681"/>
              <a:gd name="connsiteY1501" fmla="*/ 5179016 h 6698675"/>
              <a:gd name="connsiteX1502" fmla="*/ 2318226 w 8267681"/>
              <a:gd name="connsiteY1502" fmla="*/ 5134389 h 6698675"/>
              <a:gd name="connsiteX1503" fmla="*/ 1564280 w 8267681"/>
              <a:gd name="connsiteY1503" fmla="*/ 5129690 h 6698675"/>
              <a:gd name="connsiteX1504" fmla="*/ 1571330 w 8267681"/>
              <a:gd name="connsiteY1504" fmla="*/ 5132039 h 6698675"/>
              <a:gd name="connsiteX1505" fmla="*/ 1564280 w 8267681"/>
              <a:gd name="connsiteY1505" fmla="*/ 5141434 h 6698675"/>
              <a:gd name="connsiteX1506" fmla="*/ 1557238 w 8267681"/>
              <a:gd name="connsiteY1506" fmla="*/ 5132039 h 6698675"/>
              <a:gd name="connsiteX1507" fmla="*/ 2842003 w 8267681"/>
              <a:gd name="connsiteY1507" fmla="*/ 5122645 h 6698675"/>
              <a:gd name="connsiteX1508" fmla="*/ 2834957 w 8267681"/>
              <a:gd name="connsiteY1508" fmla="*/ 5127343 h 6698675"/>
              <a:gd name="connsiteX1509" fmla="*/ 2834170 w 8267681"/>
              <a:gd name="connsiteY1509" fmla="*/ 5126948 h 6698675"/>
              <a:gd name="connsiteX1510" fmla="*/ 2750400 w 8267681"/>
              <a:gd name="connsiteY1510" fmla="*/ 5110900 h 6698675"/>
              <a:gd name="connsiteX1511" fmla="*/ 2748053 w 8267681"/>
              <a:gd name="connsiteY1511" fmla="*/ 5120295 h 6698675"/>
              <a:gd name="connsiteX1512" fmla="*/ 2722215 w 8267681"/>
              <a:gd name="connsiteY1512" fmla="*/ 5122644 h 6698675"/>
              <a:gd name="connsiteX1513" fmla="*/ 2750400 w 8267681"/>
              <a:gd name="connsiteY1513" fmla="*/ 5110900 h 6698675"/>
              <a:gd name="connsiteX1514" fmla="*/ 1446842 w 8267681"/>
              <a:gd name="connsiteY1514" fmla="*/ 5108551 h 6698675"/>
              <a:gd name="connsiteX1515" fmla="*/ 1453889 w 8267681"/>
              <a:gd name="connsiteY1515" fmla="*/ 5113249 h 6698675"/>
              <a:gd name="connsiteX1516" fmla="*/ 1446842 w 8267681"/>
              <a:gd name="connsiteY1516" fmla="*/ 5122644 h 6698675"/>
              <a:gd name="connsiteX1517" fmla="*/ 1442147 w 8267681"/>
              <a:gd name="connsiteY1517" fmla="*/ 5113249 h 6698675"/>
              <a:gd name="connsiteX1518" fmla="*/ 1752183 w 8267681"/>
              <a:gd name="connsiteY1518" fmla="*/ 5106202 h 6698675"/>
              <a:gd name="connsiteX1519" fmla="*/ 1756884 w 8267681"/>
              <a:gd name="connsiteY1519" fmla="*/ 5108551 h 6698675"/>
              <a:gd name="connsiteX1520" fmla="*/ 1756884 w 8267681"/>
              <a:gd name="connsiteY1520" fmla="*/ 5117946 h 6698675"/>
              <a:gd name="connsiteX1521" fmla="*/ 1752183 w 8267681"/>
              <a:gd name="connsiteY1521" fmla="*/ 5122643 h 6698675"/>
              <a:gd name="connsiteX1522" fmla="*/ 1742787 w 8267681"/>
              <a:gd name="connsiteY1522" fmla="*/ 5124992 h 6698675"/>
              <a:gd name="connsiteX1523" fmla="*/ 1735741 w 8267681"/>
              <a:gd name="connsiteY1523" fmla="*/ 5117946 h 6698675"/>
              <a:gd name="connsiteX1524" fmla="*/ 1742787 w 8267681"/>
              <a:gd name="connsiteY1524" fmla="*/ 5108551 h 6698675"/>
              <a:gd name="connsiteX1525" fmla="*/ 2611823 w 8267681"/>
              <a:gd name="connsiteY1525" fmla="*/ 5103854 h 6698675"/>
              <a:gd name="connsiteX1526" fmla="*/ 2473246 w 8267681"/>
              <a:gd name="connsiteY1526" fmla="*/ 5122645 h 6698675"/>
              <a:gd name="connsiteX1527" fmla="*/ 2539011 w 8267681"/>
              <a:gd name="connsiteY1527" fmla="*/ 5115598 h 6698675"/>
              <a:gd name="connsiteX1528" fmla="*/ 2543709 w 8267681"/>
              <a:gd name="connsiteY1528" fmla="*/ 5120296 h 6698675"/>
              <a:gd name="connsiteX1529" fmla="*/ 2492035 w 8267681"/>
              <a:gd name="connsiteY1529" fmla="*/ 5136737 h 6698675"/>
              <a:gd name="connsiteX1530" fmla="*/ 2607125 w 8267681"/>
              <a:gd name="connsiteY1530" fmla="*/ 5124993 h 6698675"/>
              <a:gd name="connsiteX1531" fmla="*/ 2555452 w 8267681"/>
              <a:gd name="connsiteY1531" fmla="*/ 5122645 h 6698675"/>
              <a:gd name="connsiteX1532" fmla="*/ 2555452 w 8267681"/>
              <a:gd name="connsiteY1532" fmla="*/ 5115598 h 6698675"/>
              <a:gd name="connsiteX1533" fmla="*/ 2611823 w 8267681"/>
              <a:gd name="connsiteY1533" fmla="*/ 5103854 h 6698675"/>
              <a:gd name="connsiteX1534" fmla="*/ 2792680 w 8267681"/>
              <a:gd name="connsiteY1534" fmla="*/ 5101506 h 6698675"/>
              <a:gd name="connsiteX1535" fmla="*/ 2792680 w 8267681"/>
              <a:gd name="connsiteY1535" fmla="*/ 5106204 h 6698675"/>
              <a:gd name="connsiteX1536" fmla="*/ 2834170 w 8267681"/>
              <a:gd name="connsiteY1536" fmla="*/ 5126948 h 6698675"/>
              <a:gd name="connsiteX1537" fmla="*/ 2821159 w 8267681"/>
              <a:gd name="connsiteY1537" fmla="*/ 5134095 h 6698675"/>
              <a:gd name="connsiteX1538" fmla="*/ 2795027 w 8267681"/>
              <a:gd name="connsiteY1538" fmla="*/ 5143784 h 6698675"/>
              <a:gd name="connsiteX1539" fmla="*/ 2813817 w 8267681"/>
              <a:gd name="connsiteY1539" fmla="*/ 5162574 h 6698675"/>
              <a:gd name="connsiteX1540" fmla="*/ 2797376 w 8267681"/>
              <a:gd name="connsiteY1540" fmla="*/ 5162574 h 6698675"/>
              <a:gd name="connsiteX1541" fmla="*/ 2745703 w 8267681"/>
              <a:gd name="connsiteY1541" fmla="*/ 5132040 h 6698675"/>
              <a:gd name="connsiteX1542" fmla="*/ 2771540 w 8267681"/>
              <a:gd name="connsiteY1542" fmla="*/ 5113250 h 6698675"/>
              <a:gd name="connsiteX1543" fmla="*/ 2759797 w 8267681"/>
              <a:gd name="connsiteY1543" fmla="*/ 5110901 h 6698675"/>
              <a:gd name="connsiteX1544" fmla="*/ 2762144 w 8267681"/>
              <a:gd name="connsiteY1544" fmla="*/ 5108552 h 6698675"/>
              <a:gd name="connsiteX1545" fmla="*/ 2762144 w 8267681"/>
              <a:gd name="connsiteY1545" fmla="*/ 5106204 h 6698675"/>
              <a:gd name="connsiteX1546" fmla="*/ 2792680 w 8267681"/>
              <a:gd name="connsiteY1546" fmla="*/ 5101506 h 6698675"/>
              <a:gd name="connsiteX1547" fmla="*/ 2849049 w 8267681"/>
              <a:gd name="connsiteY1547" fmla="*/ 5092110 h 6698675"/>
              <a:gd name="connsiteX1548" fmla="*/ 2849049 w 8267681"/>
              <a:gd name="connsiteY1548" fmla="*/ 5099156 h 6698675"/>
              <a:gd name="connsiteX1549" fmla="*/ 2837305 w 8267681"/>
              <a:gd name="connsiteY1549" fmla="*/ 5101505 h 6698675"/>
              <a:gd name="connsiteX1550" fmla="*/ 2827910 w 8267681"/>
              <a:gd name="connsiteY1550" fmla="*/ 5096808 h 6698675"/>
              <a:gd name="connsiteX1551" fmla="*/ 2849049 w 8267681"/>
              <a:gd name="connsiteY1551" fmla="*/ 5092110 h 6698675"/>
              <a:gd name="connsiteX1552" fmla="*/ 1583073 w 8267681"/>
              <a:gd name="connsiteY1552" fmla="*/ 5092110 h 6698675"/>
              <a:gd name="connsiteX1553" fmla="*/ 1587773 w 8267681"/>
              <a:gd name="connsiteY1553" fmla="*/ 5096808 h 6698675"/>
              <a:gd name="connsiteX1554" fmla="*/ 1587773 w 8267681"/>
              <a:gd name="connsiteY1554" fmla="*/ 5106203 h 6698675"/>
              <a:gd name="connsiteX1555" fmla="*/ 1583073 w 8267681"/>
              <a:gd name="connsiteY1555" fmla="*/ 5110900 h 6698675"/>
              <a:gd name="connsiteX1556" fmla="*/ 1573676 w 8267681"/>
              <a:gd name="connsiteY1556" fmla="*/ 5110900 h 6698675"/>
              <a:gd name="connsiteX1557" fmla="*/ 1566630 w 8267681"/>
              <a:gd name="connsiteY1557" fmla="*/ 5106203 h 6698675"/>
              <a:gd name="connsiteX1558" fmla="*/ 1564280 w 8267681"/>
              <a:gd name="connsiteY1558" fmla="*/ 5096808 h 6698675"/>
              <a:gd name="connsiteX1559" fmla="*/ 1573676 w 8267681"/>
              <a:gd name="connsiteY1559" fmla="*/ 5094459 h 6698675"/>
              <a:gd name="connsiteX1560" fmla="*/ 2466198 w 8267681"/>
              <a:gd name="connsiteY1560" fmla="*/ 5075669 h 6698675"/>
              <a:gd name="connsiteX1561" fmla="*/ 2369898 w 8267681"/>
              <a:gd name="connsiteY1561" fmla="*/ 5141435 h 6698675"/>
              <a:gd name="connsiteX1562" fmla="*/ 2466198 w 8267681"/>
              <a:gd name="connsiteY1562" fmla="*/ 5075669 h 6698675"/>
              <a:gd name="connsiteX1563" fmla="*/ 5532235 w 8267681"/>
              <a:gd name="connsiteY1563" fmla="*/ 5072146 h 6698675"/>
              <a:gd name="connsiteX1564" fmla="*/ 5529006 w 8267681"/>
              <a:gd name="connsiteY1564" fmla="*/ 5078018 h 6698675"/>
              <a:gd name="connsiteX1565" fmla="*/ 5526657 w 8267681"/>
              <a:gd name="connsiteY1565" fmla="*/ 5080367 h 6698675"/>
              <a:gd name="connsiteX1566" fmla="*/ 5532235 w 8267681"/>
              <a:gd name="connsiteY1566" fmla="*/ 5072146 h 6698675"/>
              <a:gd name="connsiteX1567" fmla="*/ 1735741 w 8267681"/>
              <a:gd name="connsiteY1567" fmla="*/ 5056879 h 6698675"/>
              <a:gd name="connsiteX1568" fmla="*/ 1735741 w 8267681"/>
              <a:gd name="connsiteY1568" fmla="*/ 5059228 h 6698675"/>
              <a:gd name="connsiteX1569" fmla="*/ 1756884 w 8267681"/>
              <a:gd name="connsiteY1569" fmla="*/ 5075669 h 6698675"/>
              <a:gd name="connsiteX1570" fmla="*/ 1752183 w 8267681"/>
              <a:gd name="connsiteY1570" fmla="*/ 5099157 h 6698675"/>
              <a:gd name="connsiteX1571" fmla="*/ 1742787 w 8267681"/>
              <a:gd name="connsiteY1571" fmla="*/ 5094460 h 6698675"/>
              <a:gd name="connsiteX1572" fmla="*/ 1731044 w 8267681"/>
              <a:gd name="connsiteY1572" fmla="*/ 5082716 h 6698675"/>
              <a:gd name="connsiteX1573" fmla="*/ 1726349 w 8267681"/>
              <a:gd name="connsiteY1573" fmla="*/ 5066274 h 6698675"/>
              <a:gd name="connsiteX1574" fmla="*/ 2635310 w 8267681"/>
              <a:gd name="connsiteY1574" fmla="*/ 5052181 h 6698675"/>
              <a:gd name="connsiteX1575" fmla="*/ 2541359 w 8267681"/>
              <a:gd name="connsiteY1575" fmla="*/ 5063925 h 6698675"/>
              <a:gd name="connsiteX1576" fmla="*/ 2635310 w 8267681"/>
              <a:gd name="connsiteY1576" fmla="*/ 5052181 h 6698675"/>
              <a:gd name="connsiteX1577" fmla="*/ 1524353 w 8267681"/>
              <a:gd name="connsiteY1577" fmla="*/ 5045134 h 6698675"/>
              <a:gd name="connsiteX1578" fmla="*/ 1531403 w 8267681"/>
              <a:gd name="connsiteY1578" fmla="*/ 5045134 h 6698675"/>
              <a:gd name="connsiteX1579" fmla="*/ 1536096 w 8267681"/>
              <a:gd name="connsiteY1579" fmla="*/ 5047483 h 6698675"/>
              <a:gd name="connsiteX1580" fmla="*/ 1531403 w 8267681"/>
              <a:gd name="connsiteY1580" fmla="*/ 5056878 h 6698675"/>
              <a:gd name="connsiteX1581" fmla="*/ 1519655 w 8267681"/>
              <a:gd name="connsiteY1581" fmla="*/ 5047483 h 6698675"/>
              <a:gd name="connsiteX1582" fmla="*/ 1573676 w 8267681"/>
              <a:gd name="connsiteY1582" fmla="*/ 5040437 h 6698675"/>
              <a:gd name="connsiteX1583" fmla="*/ 1576025 w 8267681"/>
              <a:gd name="connsiteY1583" fmla="*/ 5040437 h 6698675"/>
              <a:gd name="connsiteX1584" fmla="*/ 1585423 w 8267681"/>
              <a:gd name="connsiteY1584" fmla="*/ 5045135 h 6698675"/>
              <a:gd name="connsiteX1585" fmla="*/ 1590117 w 8267681"/>
              <a:gd name="connsiteY1585" fmla="*/ 5049832 h 6698675"/>
              <a:gd name="connsiteX1586" fmla="*/ 1585423 w 8267681"/>
              <a:gd name="connsiteY1586" fmla="*/ 5059227 h 6698675"/>
              <a:gd name="connsiteX1587" fmla="*/ 1576025 w 8267681"/>
              <a:gd name="connsiteY1587" fmla="*/ 5054529 h 6698675"/>
              <a:gd name="connsiteX1588" fmla="*/ 1571330 w 8267681"/>
              <a:gd name="connsiteY1588" fmla="*/ 5049832 h 6698675"/>
              <a:gd name="connsiteX1589" fmla="*/ 3676224 w 8267681"/>
              <a:gd name="connsiteY1589" fmla="*/ 5036951 h 6698675"/>
              <a:gd name="connsiteX1590" fmla="*/ 3680517 w 8267681"/>
              <a:gd name="connsiteY1590" fmla="*/ 5049832 h 6698675"/>
              <a:gd name="connsiteX1591" fmla="*/ 3676224 w 8267681"/>
              <a:gd name="connsiteY1591" fmla="*/ 5036951 h 6698675"/>
              <a:gd name="connsiteX1592" fmla="*/ 5060718 w 8267681"/>
              <a:gd name="connsiteY1592" fmla="*/ 5031042 h 6698675"/>
              <a:gd name="connsiteX1593" fmla="*/ 5052204 w 8267681"/>
              <a:gd name="connsiteY1593" fmla="*/ 5033391 h 6698675"/>
              <a:gd name="connsiteX1594" fmla="*/ 5063947 w 8267681"/>
              <a:gd name="connsiteY1594" fmla="*/ 5052181 h 6698675"/>
              <a:gd name="connsiteX1595" fmla="*/ 5070994 w 8267681"/>
              <a:gd name="connsiteY1595" fmla="*/ 5035740 h 6698675"/>
              <a:gd name="connsiteX1596" fmla="*/ 5060718 w 8267681"/>
              <a:gd name="connsiteY1596" fmla="*/ 5031042 h 6698675"/>
              <a:gd name="connsiteX1597" fmla="*/ 5035762 w 8267681"/>
              <a:gd name="connsiteY1597" fmla="*/ 5026345 h 6698675"/>
              <a:gd name="connsiteX1598" fmla="*/ 5056901 w 8267681"/>
              <a:gd name="connsiteY1598" fmla="*/ 5054530 h 6698675"/>
              <a:gd name="connsiteX1599" fmla="*/ 5035762 w 8267681"/>
              <a:gd name="connsiteY1599" fmla="*/ 5026345 h 6698675"/>
              <a:gd name="connsiteX1600" fmla="*/ 1712256 w 8267681"/>
              <a:gd name="connsiteY1600" fmla="*/ 5023995 h 6698675"/>
              <a:gd name="connsiteX1601" fmla="*/ 1733394 w 8267681"/>
              <a:gd name="connsiteY1601" fmla="*/ 5023995 h 6698675"/>
              <a:gd name="connsiteX1602" fmla="*/ 1747487 w 8267681"/>
              <a:gd name="connsiteY1602" fmla="*/ 5033390 h 6698675"/>
              <a:gd name="connsiteX1603" fmla="*/ 1742791 w 8267681"/>
              <a:gd name="connsiteY1603" fmla="*/ 5045134 h 6698675"/>
              <a:gd name="connsiteX1604" fmla="*/ 1740441 w 8267681"/>
              <a:gd name="connsiteY1604" fmla="*/ 5042785 h 6698675"/>
              <a:gd name="connsiteX1605" fmla="*/ 5599470 w 8267681"/>
              <a:gd name="connsiteY1605" fmla="*/ 5019298 h 6698675"/>
              <a:gd name="connsiteX1606" fmla="*/ 5653492 w 8267681"/>
              <a:gd name="connsiteY1606" fmla="*/ 5085064 h 6698675"/>
              <a:gd name="connsiteX1607" fmla="*/ 5599470 w 8267681"/>
              <a:gd name="connsiteY1607" fmla="*/ 5019298 h 6698675"/>
              <a:gd name="connsiteX1608" fmla="*/ 1820298 w 8267681"/>
              <a:gd name="connsiteY1608" fmla="*/ 5019297 h 6698675"/>
              <a:gd name="connsiteX1609" fmla="*/ 1829697 w 8267681"/>
              <a:gd name="connsiteY1609" fmla="*/ 5023995 h 6698675"/>
              <a:gd name="connsiteX1610" fmla="*/ 1832042 w 8267681"/>
              <a:gd name="connsiteY1610" fmla="*/ 5026343 h 6698675"/>
              <a:gd name="connsiteX1611" fmla="*/ 1829697 w 8267681"/>
              <a:gd name="connsiteY1611" fmla="*/ 5031041 h 6698675"/>
              <a:gd name="connsiteX1612" fmla="*/ 1820298 w 8267681"/>
              <a:gd name="connsiteY1612" fmla="*/ 5031041 h 6698675"/>
              <a:gd name="connsiteX1613" fmla="*/ 1815600 w 8267681"/>
              <a:gd name="connsiteY1613" fmla="*/ 5026343 h 6698675"/>
              <a:gd name="connsiteX1614" fmla="*/ 1677023 w 8267681"/>
              <a:gd name="connsiteY1614" fmla="*/ 5005205 h 6698675"/>
              <a:gd name="connsiteX1615" fmla="*/ 1716951 w 8267681"/>
              <a:gd name="connsiteY1615" fmla="*/ 5031041 h 6698675"/>
              <a:gd name="connsiteX1616" fmla="*/ 1705207 w 8267681"/>
              <a:gd name="connsiteY1616" fmla="*/ 5040437 h 6698675"/>
              <a:gd name="connsiteX1617" fmla="*/ 1712256 w 8267681"/>
              <a:gd name="connsiteY1617" fmla="*/ 5049831 h 6698675"/>
              <a:gd name="connsiteX1618" fmla="*/ 1716951 w 8267681"/>
              <a:gd name="connsiteY1618" fmla="*/ 5092111 h 6698675"/>
              <a:gd name="connsiteX1619" fmla="*/ 1728699 w 8267681"/>
              <a:gd name="connsiteY1619" fmla="*/ 5101506 h 6698675"/>
              <a:gd name="connsiteX1620" fmla="*/ 1707556 w 8267681"/>
              <a:gd name="connsiteY1620" fmla="*/ 5108552 h 6698675"/>
              <a:gd name="connsiteX1621" fmla="*/ 1705207 w 8267681"/>
              <a:gd name="connsiteY1621" fmla="*/ 5117947 h 6698675"/>
              <a:gd name="connsiteX1622" fmla="*/ 1716951 w 8267681"/>
              <a:gd name="connsiteY1622" fmla="*/ 5127342 h 6698675"/>
              <a:gd name="connsiteX1623" fmla="*/ 1719300 w 8267681"/>
              <a:gd name="connsiteY1623" fmla="*/ 5132040 h 6698675"/>
              <a:gd name="connsiteX1624" fmla="*/ 1702858 w 8267681"/>
              <a:gd name="connsiteY1624" fmla="*/ 5207201 h 6698675"/>
              <a:gd name="connsiteX1625" fmla="*/ 1700509 w 8267681"/>
              <a:gd name="connsiteY1625" fmla="*/ 5216596 h 6698675"/>
              <a:gd name="connsiteX1626" fmla="*/ 1707556 w 8267681"/>
              <a:gd name="connsiteY1626" fmla="*/ 5225991 h 6698675"/>
              <a:gd name="connsiteX1627" fmla="*/ 1693463 w 8267681"/>
              <a:gd name="connsiteY1627" fmla="*/ 5305850 h 6698675"/>
              <a:gd name="connsiteX1628" fmla="*/ 1684071 w 8267681"/>
              <a:gd name="connsiteY1628" fmla="*/ 5305850 h 6698675"/>
              <a:gd name="connsiteX1629" fmla="*/ 1681721 w 8267681"/>
              <a:gd name="connsiteY1629" fmla="*/ 5301152 h 6698675"/>
              <a:gd name="connsiteX1630" fmla="*/ 1667628 w 8267681"/>
              <a:gd name="connsiteY1630" fmla="*/ 5291757 h 6698675"/>
              <a:gd name="connsiteX1631" fmla="*/ 1669978 w 8267681"/>
              <a:gd name="connsiteY1631" fmla="*/ 5275315 h 6698675"/>
              <a:gd name="connsiteX1632" fmla="*/ 1655886 w 8267681"/>
              <a:gd name="connsiteY1632" fmla="*/ 5223642 h 6698675"/>
              <a:gd name="connsiteX1633" fmla="*/ 1653535 w 8267681"/>
              <a:gd name="connsiteY1633" fmla="*/ 5143784 h 6698675"/>
              <a:gd name="connsiteX1634" fmla="*/ 1641793 w 8267681"/>
              <a:gd name="connsiteY1634" fmla="*/ 5096808 h 6698675"/>
              <a:gd name="connsiteX1635" fmla="*/ 1655886 w 8267681"/>
              <a:gd name="connsiteY1635" fmla="*/ 5092111 h 6698675"/>
              <a:gd name="connsiteX1636" fmla="*/ 1660580 w 8267681"/>
              <a:gd name="connsiteY1636" fmla="*/ 5089762 h 6698675"/>
              <a:gd name="connsiteX1637" fmla="*/ 1658231 w 8267681"/>
              <a:gd name="connsiteY1637" fmla="*/ 5033390 h 6698675"/>
              <a:gd name="connsiteX1638" fmla="*/ 1648837 w 8267681"/>
              <a:gd name="connsiteY1638" fmla="*/ 5052180 h 6698675"/>
              <a:gd name="connsiteX1639" fmla="*/ 1639443 w 8267681"/>
              <a:gd name="connsiteY1639" fmla="*/ 5047483 h 6698675"/>
              <a:gd name="connsiteX1640" fmla="*/ 1677023 w 8267681"/>
              <a:gd name="connsiteY1640" fmla="*/ 5005205 h 6698675"/>
              <a:gd name="connsiteX1641" fmla="*/ 2602485 w 8267681"/>
              <a:gd name="connsiteY1641" fmla="*/ 5001430 h 6698675"/>
              <a:gd name="connsiteX1642" fmla="*/ 2597730 w 8267681"/>
              <a:gd name="connsiteY1642" fmla="*/ 5005206 h 6698675"/>
              <a:gd name="connsiteX1643" fmla="*/ 2595467 w 8267681"/>
              <a:gd name="connsiteY1643" fmla="*/ 5002246 h 6698675"/>
              <a:gd name="connsiteX1644" fmla="*/ 5055140 w 8267681"/>
              <a:gd name="connsiteY1644" fmla="*/ 4996985 h 6698675"/>
              <a:gd name="connsiteX1645" fmla="*/ 5052204 w 8267681"/>
              <a:gd name="connsiteY1645" fmla="*/ 5016950 h 6698675"/>
              <a:gd name="connsiteX1646" fmla="*/ 5054552 w 8267681"/>
              <a:gd name="connsiteY1646" fmla="*/ 5012252 h 6698675"/>
              <a:gd name="connsiteX1647" fmla="*/ 5055140 w 8267681"/>
              <a:gd name="connsiteY1647" fmla="*/ 4996985 h 6698675"/>
              <a:gd name="connsiteX1648" fmla="*/ 5965878 w 8267681"/>
              <a:gd name="connsiteY1648" fmla="*/ 4993462 h 6698675"/>
              <a:gd name="connsiteX1649" fmla="*/ 5991715 w 8267681"/>
              <a:gd name="connsiteY1649" fmla="*/ 5042786 h 6698675"/>
              <a:gd name="connsiteX1650" fmla="*/ 5965878 w 8267681"/>
              <a:gd name="connsiteY1650" fmla="*/ 4993462 h 6698675"/>
              <a:gd name="connsiteX1651" fmla="*/ 4204882 w 8267681"/>
              <a:gd name="connsiteY1651" fmla="*/ 4992287 h 6698675"/>
              <a:gd name="connsiteX1652" fmla="*/ 4199597 w 8267681"/>
              <a:gd name="connsiteY1652" fmla="*/ 5009903 h 6698675"/>
              <a:gd name="connsiteX1653" fmla="*/ 4204882 w 8267681"/>
              <a:gd name="connsiteY1653" fmla="*/ 4992287 h 6698675"/>
              <a:gd name="connsiteX1654" fmla="*/ 1566630 w 8267681"/>
              <a:gd name="connsiteY1654" fmla="*/ 4991112 h 6698675"/>
              <a:gd name="connsiteX1655" fmla="*/ 1571330 w 8267681"/>
              <a:gd name="connsiteY1655" fmla="*/ 4995810 h 6698675"/>
              <a:gd name="connsiteX1656" fmla="*/ 1571330 w 8267681"/>
              <a:gd name="connsiteY1656" fmla="*/ 5005205 h 6698675"/>
              <a:gd name="connsiteX1657" fmla="*/ 1566630 w 8267681"/>
              <a:gd name="connsiteY1657" fmla="*/ 5014600 h 6698675"/>
              <a:gd name="connsiteX1658" fmla="*/ 1557238 w 8267681"/>
              <a:gd name="connsiteY1658" fmla="*/ 5014600 h 6698675"/>
              <a:gd name="connsiteX1659" fmla="*/ 1554887 w 8267681"/>
              <a:gd name="connsiteY1659" fmla="*/ 5012251 h 6698675"/>
              <a:gd name="connsiteX1660" fmla="*/ 1554887 w 8267681"/>
              <a:gd name="connsiteY1660" fmla="*/ 5002856 h 6698675"/>
              <a:gd name="connsiteX1661" fmla="*/ 1702859 w 8267681"/>
              <a:gd name="connsiteY1661" fmla="*/ 4988763 h 6698675"/>
              <a:gd name="connsiteX1662" fmla="*/ 1712256 w 8267681"/>
              <a:gd name="connsiteY1662" fmla="*/ 4991112 h 6698675"/>
              <a:gd name="connsiteX1663" fmla="*/ 1714606 w 8267681"/>
              <a:gd name="connsiteY1663" fmla="*/ 4993461 h 6698675"/>
              <a:gd name="connsiteX1664" fmla="*/ 1712256 w 8267681"/>
              <a:gd name="connsiteY1664" fmla="*/ 4998158 h 6698675"/>
              <a:gd name="connsiteX1665" fmla="*/ 1707556 w 8267681"/>
              <a:gd name="connsiteY1665" fmla="*/ 5000507 h 6698675"/>
              <a:gd name="connsiteX1666" fmla="*/ 1702859 w 8267681"/>
              <a:gd name="connsiteY1666" fmla="*/ 5002856 h 6698675"/>
              <a:gd name="connsiteX1667" fmla="*/ 1700514 w 8267681"/>
              <a:gd name="connsiteY1667" fmla="*/ 5000507 h 6698675"/>
              <a:gd name="connsiteX1668" fmla="*/ 1698163 w 8267681"/>
              <a:gd name="connsiteY1668" fmla="*/ 4991112 h 6698675"/>
              <a:gd name="connsiteX1669" fmla="*/ 1625350 w 8267681"/>
              <a:gd name="connsiteY1669" fmla="*/ 4986415 h 6698675"/>
              <a:gd name="connsiteX1670" fmla="*/ 1634745 w 8267681"/>
              <a:gd name="connsiteY1670" fmla="*/ 4988764 h 6698675"/>
              <a:gd name="connsiteX1671" fmla="*/ 1625350 w 8267681"/>
              <a:gd name="connsiteY1671" fmla="*/ 4995810 h 6698675"/>
              <a:gd name="connsiteX1672" fmla="*/ 1618302 w 8267681"/>
              <a:gd name="connsiteY1672" fmla="*/ 4988764 h 6698675"/>
              <a:gd name="connsiteX1673" fmla="*/ 2763614 w 8267681"/>
              <a:gd name="connsiteY1673" fmla="*/ 4982011 h 6698675"/>
              <a:gd name="connsiteX1674" fmla="*/ 2738657 w 8267681"/>
              <a:gd name="connsiteY1674" fmla="*/ 4998159 h 6698675"/>
              <a:gd name="connsiteX1675" fmla="*/ 2757447 w 8267681"/>
              <a:gd name="connsiteY1675" fmla="*/ 5000508 h 6698675"/>
              <a:gd name="connsiteX1676" fmla="*/ 2797376 w 8267681"/>
              <a:gd name="connsiteY1676" fmla="*/ 4988764 h 6698675"/>
              <a:gd name="connsiteX1677" fmla="*/ 2763614 w 8267681"/>
              <a:gd name="connsiteY1677" fmla="*/ 4982011 h 6698675"/>
              <a:gd name="connsiteX1678" fmla="*/ 2139727 w 8267681"/>
              <a:gd name="connsiteY1678" fmla="*/ 4981718 h 6698675"/>
              <a:gd name="connsiteX1679" fmla="*/ 2139727 w 8267681"/>
              <a:gd name="connsiteY1679" fmla="*/ 5056879 h 6698675"/>
              <a:gd name="connsiteX1680" fmla="*/ 2052822 w 8267681"/>
              <a:gd name="connsiteY1680" fmla="*/ 5047484 h 6698675"/>
              <a:gd name="connsiteX1681" fmla="*/ 2064565 w 8267681"/>
              <a:gd name="connsiteY1681" fmla="*/ 4984067 h 6698675"/>
              <a:gd name="connsiteX1682" fmla="*/ 2139727 w 8267681"/>
              <a:gd name="connsiteY1682" fmla="*/ 4981718 h 6698675"/>
              <a:gd name="connsiteX1683" fmla="*/ 1604209 w 8267681"/>
              <a:gd name="connsiteY1683" fmla="*/ 4981717 h 6698675"/>
              <a:gd name="connsiteX1684" fmla="*/ 1608908 w 8267681"/>
              <a:gd name="connsiteY1684" fmla="*/ 4981717 h 6698675"/>
              <a:gd name="connsiteX1685" fmla="*/ 1618302 w 8267681"/>
              <a:gd name="connsiteY1685" fmla="*/ 4988763 h 6698675"/>
              <a:gd name="connsiteX1686" fmla="*/ 1608908 w 8267681"/>
              <a:gd name="connsiteY1686" fmla="*/ 4993461 h 6698675"/>
              <a:gd name="connsiteX1687" fmla="*/ 1599515 w 8267681"/>
              <a:gd name="connsiteY1687" fmla="*/ 4988763 h 6698675"/>
              <a:gd name="connsiteX1688" fmla="*/ 5498471 w 8267681"/>
              <a:gd name="connsiteY1688" fmla="*/ 4977020 h 6698675"/>
              <a:gd name="connsiteX1689" fmla="*/ 5496123 w 8267681"/>
              <a:gd name="connsiteY1689" fmla="*/ 4979369 h 6698675"/>
              <a:gd name="connsiteX1690" fmla="*/ 5500820 w 8267681"/>
              <a:gd name="connsiteY1690" fmla="*/ 4984067 h 6698675"/>
              <a:gd name="connsiteX1691" fmla="*/ 5498471 w 8267681"/>
              <a:gd name="connsiteY1691" fmla="*/ 4977020 h 6698675"/>
              <a:gd name="connsiteX1692" fmla="*/ 2409828 w 8267681"/>
              <a:gd name="connsiteY1692" fmla="*/ 4972323 h 6698675"/>
              <a:gd name="connsiteX1693" fmla="*/ 2409828 w 8267681"/>
              <a:gd name="connsiteY1693" fmla="*/ 4986416 h 6698675"/>
              <a:gd name="connsiteX1694" fmla="*/ 2438013 w 8267681"/>
              <a:gd name="connsiteY1694" fmla="*/ 4988765 h 6698675"/>
              <a:gd name="connsiteX1695" fmla="*/ 2337016 w 8267681"/>
              <a:gd name="connsiteY1695" fmla="*/ 5052182 h 6698675"/>
              <a:gd name="connsiteX1696" fmla="*/ 2398084 w 8267681"/>
              <a:gd name="connsiteY1696" fmla="*/ 4995811 h 6698675"/>
              <a:gd name="connsiteX1697" fmla="*/ 2391039 w 8267681"/>
              <a:gd name="connsiteY1697" fmla="*/ 4991113 h 6698675"/>
              <a:gd name="connsiteX1698" fmla="*/ 2409828 w 8267681"/>
              <a:gd name="connsiteY1698" fmla="*/ 4972323 h 6698675"/>
              <a:gd name="connsiteX1699" fmla="*/ 1430405 w 8267681"/>
              <a:gd name="connsiteY1699" fmla="*/ 4965276 h 6698675"/>
              <a:gd name="connsiteX1700" fmla="*/ 1439797 w 8267681"/>
              <a:gd name="connsiteY1700" fmla="*/ 4972322 h 6698675"/>
              <a:gd name="connsiteX1701" fmla="*/ 1446842 w 8267681"/>
              <a:gd name="connsiteY1701" fmla="*/ 4979369 h 6698675"/>
              <a:gd name="connsiteX1702" fmla="*/ 1437447 w 8267681"/>
              <a:gd name="connsiteY1702" fmla="*/ 4991112 h 6698675"/>
              <a:gd name="connsiteX1703" fmla="*/ 1425704 w 8267681"/>
              <a:gd name="connsiteY1703" fmla="*/ 4986415 h 6698675"/>
              <a:gd name="connsiteX1704" fmla="*/ 1416312 w 8267681"/>
              <a:gd name="connsiteY1704" fmla="*/ 4969974 h 6698675"/>
              <a:gd name="connsiteX1705" fmla="*/ 1430405 w 8267681"/>
              <a:gd name="connsiteY1705" fmla="*/ 4965276 h 6698675"/>
              <a:gd name="connsiteX1706" fmla="*/ 1514956 w 8267681"/>
              <a:gd name="connsiteY1706" fmla="*/ 4960579 h 6698675"/>
              <a:gd name="connsiteX1707" fmla="*/ 1526702 w 8267681"/>
              <a:gd name="connsiteY1707" fmla="*/ 4972323 h 6698675"/>
              <a:gd name="connsiteX1708" fmla="*/ 1519655 w 8267681"/>
              <a:gd name="connsiteY1708" fmla="*/ 4979369 h 6698675"/>
              <a:gd name="connsiteX1709" fmla="*/ 1519655 w 8267681"/>
              <a:gd name="connsiteY1709" fmla="*/ 4988765 h 6698675"/>
              <a:gd name="connsiteX1710" fmla="*/ 1514956 w 8267681"/>
              <a:gd name="connsiteY1710" fmla="*/ 4993462 h 6698675"/>
              <a:gd name="connsiteX1711" fmla="*/ 1505561 w 8267681"/>
              <a:gd name="connsiteY1711" fmla="*/ 4998160 h 6698675"/>
              <a:gd name="connsiteX1712" fmla="*/ 1505561 w 8267681"/>
              <a:gd name="connsiteY1712" fmla="*/ 4972323 h 6698675"/>
              <a:gd name="connsiteX1713" fmla="*/ 1406915 w 8267681"/>
              <a:gd name="connsiteY1713" fmla="*/ 4960578 h 6698675"/>
              <a:gd name="connsiteX1714" fmla="*/ 1411612 w 8267681"/>
              <a:gd name="connsiteY1714" fmla="*/ 4969973 h 6698675"/>
              <a:gd name="connsiteX1715" fmla="*/ 1406915 w 8267681"/>
              <a:gd name="connsiteY1715" fmla="*/ 4972322 h 6698675"/>
              <a:gd name="connsiteX1716" fmla="*/ 1404570 w 8267681"/>
              <a:gd name="connsiteY1716" fmla="*/ 4969973 h 6698675"/>
              <a:gd name="connsiteX1717" fmla="*/ 5982320 w 8267681"/>
              <a:gd name="connsiteY1717" fmla="*/ 4958230 h 6698675"/>
              <a:gd name="connsiteX1718" fmla="*/ 6001110 w 8267681"/>
              <a:gd name="connsiteY1718" fmla="*/ 5019298 h 6698675"/>
              <a:gd name="connsiteX1719" fmla="*/ 6003459 w 8267681"/>
              <a:gd name="connsiteY1719" fmla="*/ 4984067 h 6698675"/>
              <a:gd name="connsiteX1720" fmla="*/ 5982320 w 8267681"/>
              <a:gd name="connsiteY1720" fmla="*/ 4958230 h 6698675"/>
              <a:gd name="connsiteX1721" fmla="*/ 1719300 w 8267681"/>
              <a:gd name="connsiteY1721" fmla="*/ 4958229 h 6698675"/>
              <a:gd name="connsiteX1722" fmla="*/ 1721650 w 8267681"/>
              <a:gd name="connsiteY1722" fmla="*/ 4965275 h 6698675"/>
              <a:gd name="connsiteX1723" fmla="*/ 1719300 w 8267681"/>
              <a:gd name="connsiteY1723" fmla="*/ 4969973 h 6698675"/>
              <a:gd name="connsiteX1724" fmla="*/ 1712256 w 8267681"/>
              <a:gd name="connsiteY1724" fmla="*/ 4965275 h 6698675"/>
              <a:gd name="connsiteX1725" fmla="*/ 1472682 w 8267681"/>
              <a:gd name="connsiteY1725" fmla="*/ 4958229 h 6698675"/>
              <a:gd name="connsiteX1726" fmla="*/ 1482075 w 8267681"/>
              <a:gd name="connsiteY1726" fmla="*/ 4962927 h 6698675"/>
              <a:gd name="connsiteX1727" fmla="*/ 1472682 w 8267681"/>
              <a:gd name="connsiteY1727" fmla="*/ 4972322 h 6698675"/>
              <a:gd name="connsiteX1728" fmla="*/ 1467982 w 8267681"/>
              <a:gd name="connsiteY1728" fmla="*/ 4972322 h 6698675"/>
              <a:gd name="connsiteX1729" fmla="*/ 1465632 w 8267681"/>
              <a:gd name="connsiteY1729" fmla="*/ 4962927 h 6698675"/>
              <a:gd name="connsiteX1730" fmla="*/ 6010505 w 8267681"/>
              <a:gd name="connsiteY1730" fmla="*/ 4953533 h 6698675"/>
              <a:gd name="connsiteX1731" fmla="*/ 6048085 w 8267681"/>
              <a:gd name="connsiteY1731" fmla="*/ 5019298 h 6698675"/>
              <a:gd name="connsiteX1732" fmla="*/ 6031644 w 8267681"/>
              <a:gd name="connsiteY1732" fmla="*/ 4986415 h 6698675"/>
              <a:gd name="connsiteX1733" fmla="*/ 6010505 w 8267681"/>
              <a:gd name="connsiteY1733" fmla="*/ 4953533 h 6698675"/>
              <a:gd name="connsiteX1734" fmla="*/ 2910118 w 8267681"/>
              <a:gd name="connsiteY1734" fmla="*/ 4948835 h 6698675"/>
              <a:gd name="connsiteX1735" fmla="*/ 2907769 w 8267681"/>
              <a:gd name="connsiteY1735" fmla="*/ 4974672 h 6698675"/>
              <a:gd name="connsiteX1736" fmla="*/ 2900531 w 8267681"/>
              <a:gd name="connsiteY1736" fmla="*/ 4976962 h 6698675"/>
              <a:gd name="connsiteX1737" fmla="*/ 2877235 w 8267681"/>
              <a:gd name="connsiteY1737" fmla="*/ 4969974 h 6698675"/>
              <a:gd name="connsiteX1738" fmla="*/ 2878279 w 8267681"/>
              <a:gd name="connsiteY1738" fmla="*/ 4964754 h 6698675"/>
              <a:gd name="connsiteX1739" fmla="*/ 2904078 w 8267681"/>
              <a:gd name="connsiteY1739" fmla="*/ 4951855 h 6698675"/>
              <a:gd name="connsiteX1740" fmla="*/ 2905420 w 8267681"/>
              <a:gd name="connsiteY1740" fmla="*/ 4953533 h 6698675"/>
              <a:gd name="connsiteX1741" fmla="*/ 2907083 w 8267681"/>
              <a:gd name="connsiteY1741" fmla="*/ 4950353 h 6698675"/>
              <a:gd name="connsiteX1742" fmla="*/ 1693464 w 8267681"/>
              <a:gd name="connsiteY1742" fmla="*/ 4937090 h 6698675"/>
              <a:gd name="connsiteX1743" fmla="*/ 1702859 w 8267681"/>
              <a:gd name="connsiteY1743" fmla="*/ 4937090 h 6698675"/>
              <a:gd name="connsiteX1744" fmla="*/ 1705207 w 8267681"/>
              <a:gd name="connsiteY1744" fmla="*/ 4946485 h 6698675"/>
              <a:gd name="connsiteX1745" fmla="*/ 1702859 w 8267681"/>
              <a:gd name="connsiteY1745" fmla="*/ 4948834 h 6698675"/>
              <a:gd name="connsiteX1746" fmla="*/ 1693464 w 8267681"/>
              <a:gd name="connsiteY1746" fmla="*/ 4948834 h 6698675"/>
              <a:gd name="connsiteX1747" fmla="*/ 1688766 w 8267681"/>
              <a:gd name="connsiteY1747" fmla="*/ 4946485 h 6698675"/>
              <a:gd name="connsiteX1748" fmla="*/ 5393290 w 8267681"/>
              <a:gd name="connsiteY1748" fmla="*/ 4933751 h 6698675"/>
              <a:gd name="connsiteX1749" fmla="*/ 5383381 w 8267681"/>
              <a:gd name="connsiteY1749" fmla="*/ 4955881 h 6698675"/>
              <a:gd name="connsiteX1750" fmla="*/ 5404520 w 8267681"/>
              <a:gd name="connsiteY1750" fmla="*/ 4937091 h 6698675"/>
              <a:gd name="connsiteX1751" fmla="*/ 5393290 w 8267681"/>
              <a:gd name="connsiteY1751" fmla="*/ 4933751 h 6698675"/>
              <a:gd name="connsiteX1752" fmla="*/ 5486728 w 8267681"/>
              <a:gd name="connsiteY1752" fmla="*/ 4918301 h 6698675"/>
              <a:gd name="connsiteX1753" fmla="*/ 5486728 w 8267681"/>
              <a:gd name="connsiteY1753" fmla="*/ 4922998 h 6698675"/>
              <a:gd name="connsiteX1754" fmla="*/ 5493774 w 8267681"/>
              <a:gd name="connsiteY1754" fmla="*/ 4927696 h 6698675"/>
              <a:gd name="connsiteX1755" fmla="*/ 5486728 w 8267681"/>
              <a:gd name="connsiteY1755" fmla="*/ 4918301 h 6698675"/>
              <a:gd name="connsiteX1756" fmla="*/ 2438014 w 8267681"/>
              <a:gd name="connsiteY1756" fmla="*/ 4915952 h 6698675"/>
              <a:gd name="connsiteX1757" fmla="*/ 2419224 w 8267681"/>
              <a:gd name="connsiteY1757" fmla="*/ 4944137 h 6698675"/>
              <a:gd name="connsiteX1758" fmla="*/ 2402783 w 8267681"/>
              <a:gd name="connsiteY1758" fmla="*/ 4962928 h 6698675"/>
              <a:gd name="connsiteX1759" fmla="*/ 2414526 w 8267681"/>
              <a:gd name="connsiteY1759" fmla="*/ 4955881 h 6698675"/>
              <a:gd name="connsiteX1760" fmla="*/ 2412178 w 8267681"/>
              <a:gd name="connsiteY1760" fmla="*/ 4965277 h 6698675"/>
              <a:gd name="connsiteX1761" fmla="*/ 2398085 w 8267681"/>
              <a:gd name="connsiteY1761" fmla="*/ 4967625 h 6698675"/>
              <a:gd name="connsiteX1762" fmla="*/ 2438014 w 8267681"/>
              <a:gd name="connsiteY1762" fmla="*/ 4915952 h 6698675"/>
              <a:gd name="connsiteX1763" fmla="*/ 1458585 w 8267681"/>
              <a:gd name="connsiteY1763" fmla="*/ 4915951 h 6698675"/>
              <a:gd name="connsiteX1764" fmla="*/ 1463283 w 8267681"/>
              <a:gd name="connsiteY1764" fmla="*/ 4920649 h 6698675"/>
              <a:gd name="connsiteX1765" fmla="*/ 1458585 w 8267681"/>
              <a:gd name="connsiteY1765" fmla="*/ 4922997 h 6698675"/>
              <a:gd name="connsiteX1766" fmla="*/ 1451539 w 8267681"/>
              <a:gd name="connsiteY1766" fmla="*/ 4920649 h 6698675"/>
              <a:gd name="connsiteX1767" fmla="*/ 1507909 w 8267681"/>
              <a:gd name="connsiteY1767" fmla="*/ 4911254 h 6698675"/>
              <a:gd name="connsiteX1768" fmla="*/ 1517305 w 8267681"/>
              <a:gd name="connsiteY1768" fmla="*/ 4911254 h 6698675"/>
              <a:gd name="connsiteX1769" fmla="*/ 1507909 w 8267681"/>
              <a:gd name="connsiteY1769" fmla="*/ 4932393 h 6698675"/>
              <a:gd name="connsiteX1770" fmla="*/ 1505561 w 8267681"/>
              <a:gd name="connsiteY1770" fmla="*/ 4932393 h 6698675"/>
              <a:gd name="connsiteX1771" fmla="*/ 1503213 w 8267681"/>
              <a:gd name="connsiteY1771" fmla="*/ 4922998 h 6698675"/>
              <a:gd name="connsiteX1772" fmla="*/ 1507909 w 8267681"/>
              <a:gd name="connsiteY1772" fmla="*/ 4913603 h 6698675"/>
              <a:gd name="connsiteX1773" fmla="*/ 1507909 w 8267681"/>
              <a:gd name="connsiteY1773" fmla="*/ 4911254 h 6698675"/>
              <a:gd name="connsiteX1774" fmla="*/ 5742745 w 8267681"/>
              <a:gd name="connsiteY1774" fmla="*/ 4906557 h 6698675"/>
              <a:gd name="connsiteX1775" fmla="*/ 5803813 w 8267681"/>
              <a:gd name="connsiteY1775" fmla="*/ 4993462 h 6698675"/>
              <a:gd name="connsiteX1776" fmla="*/ 5742745 w 8267681"/>
              <a:gd name="connsiteY1776" fmla="*/ 4918301 h 6698675"/>
              <a:gd name="connsiteX1777" fmla="*/ 5742745 w 8267681"/>
              <a:gd name="connsiteY1777" fmla="*/ 4906557 h 6698675"/>
              <a:gd name="connsiteX1778" fmla="*/ 2994674 w 8267681"/>
              <a:gd name="connsiteY1778" fmla="*/ 4906557 h 6698675"/>
              <a:gd name="connsiteX1779" fmla="*/ 2990233 w 8267681"/>
              <a:gd name="connsiteY1779" fmla="*/ 4922594 h 6698675"/>
              <a:gd name="connsiteX1780" fmla="*/ 2988718 w 8267681"/>
              <a:gd name="connsiteY1780" fmla="*/ 4923532 h 6698675"/>
              <a:gd name="connsiteX1781" fmla="*/ 2980581 w 8267681"/>
              <a:gd name="connsiteY1781" fmla="*/ 4922998 h 6698675"/>
              <a:gd name="connsiteX1782" fmla="*/ 2983224 w 8267681"/>
              <a:gd name="connsiteY1782" fmla="*/ 4914190 h 6698675"/>
              <a:gd name="connsiteX1783" fmla="*/ 2982353 w 8267681"/>
              <a:gd name="connsiteY1783" fmla="*/ 4912449 h 6698675"/>
              <a:gd name="connsiteX1784" fmla="*/ 1669978 w 8267681"/>
              <a:gd name="connsiteY1784" fmla="*/ 4906557 h 6698675"/>
              <a:gd name="connsiteX1785" fmla="*/ 1677023 w 8267681"/>
              <a:gd name="connsiteY1785" fmla="*/ 4911255 h 6698675"/>
              <a:gd name="connsiteX1786" fmla="*/ 1674674 w 8267681"/>
              <a:gd name="connsiteY1786" fmla="*/ 4920650 h 6698675"/>
              <a:gd name="connsiteX1787" fmla="*/ 1677023 w 8267681"/>
              <a:gd name="connsiteY1787" fmla="*/ 4930045 h 6698675"/>
              <a:gd name="connsiteX1788" fmla="*/ 1669978 w 8267681"/>
              <a:gd name="connsiteY1788" fmla="*/ 4939440 h 6698675"/>
              <a:gd name="connsiteX1789" fmla="*/ 1665278 w 8267681"/>
              <a:gd name="connsiteY1789" fmla="*/ 4930045 h 6698675"/>
              <a:gd name="connsiteX1790" fmla="*/ 1421006 w 8267681"/>
              <a:gd name="connsiteY1790" fmla="*/ 4906557 h 6698675"/>
              <a:gd name="connsiteX1791" fmla="*/ 1430405 w 8267681"/>
              <a:gd name="connsiteY1791" fmla="*/ 4908906 h 6698675"/>
              <a:gd name="connsiteX1792" fmla="*/ 1423355 w 8267681"/>
              <a:gd name="connsiteY1792" fmla="*/ 4918301 h 6698675"/>
              <a:gd name="connsiteX1793" fmla="*/ 1430405 w 8267681"/>
              <a:gd name="connsiteY1793" fmla="*/ 4925347 h 6698675"/>
              <a:gd name="connsiteX1794" fmla="*/ 1439797 w 8267681"/>
              <a:gd name="connsiteY1794" fmla="*/ 4920650 h 6698675"/>
              <a:gd name="connsiteX1795" fmla="*/ 1444497 w 8267681"/>
              <a:gd name="connsiteY1795" fmla="*/ 4927696 h 6698675"/>
              <a:gd name="connsiteX1796" fmla="*/ 1439797 w 8267681"/>
              <a:gd name="connsiteY1796" fmla="*/ 4944137 h 6698675"/>
              <a:gd name="connsiteX1797" fmla="*/ 1430405 w 8267681"/>
              <a:gd name="connsiteY1797" fmla="*/ 4944137 h 6698675"/>
              <a:gd name="connsiteX1798" fmla="*/ 1425704 w 8267681"/>
              <a:gd name="connsiteY1798" fmla="*/ 4927696 h 6698675"/>
              <a:gd name="connsiteX1799" fmla="*/ 1418657 w 8267681"/>
              <a:gd name="connsiteY1799" fmla="*/ 4920650 h 6698675"/>
              <a:gd name="connsiteX1800" fmla="*/ 1416312 w 8267681"/>
              <a:gd name="connsiteY1800" fmla="*/ 4911255 h 6698675"/>
              <a:gd name="connsiteX1801" fmla="*/ 1421006 w 8267681"/>
              <a:gd name="connsiteY1801" fmla="*/ 4906557 h 6698675"/>
              <a:gd name="connsiteX1802" fmla="*/ 1533749 w 8267681"/>
              <a:gd name="connsiteY1802" fmla="*/ 4906556 h 6698675"/>
              <a:gd name="connsiteX1803" fmla="*/ 1543145 w 8267681"/>
              <a:gd name="connsiteY1803" fmla="*/ 4906556 h 6698675"/>
              <a:gd name="connsiteX1804" fmla="*/ 1545495 w 8267681"/>
              <a:gd name="connsiteY1804" fmla="*/ 4913602 h 6698675"/>
              <a:gd name="connsiteX1805" fmla="*/ 1543145 w 8267681"/>
              <a:gd name="connsiteY1805" fmla="*/ 4920649 h 6698675"/>
              <a:gd name="connsiteX1806" fmla="*/ 1533749 w 8267681"/>
              <a:gd name="connsiteY1806" fmla="*/ 4925346 h 6698675"/>
              <a:gd name="connsiteX1807" fmla="*/ 1529053 w 8267681"/>
              <a:gd name="connsiteY1807" fmla="*/ 4920649 h 6698675"/>
              <a:gd name="connsiteX1808" fmla="*/ 1529053 w 8267681"/>
              <a:gd name="connsiteY1808" fmla="*/ 4911254 h 6698675"/>
              <a:gd name="connsiteX1809" fmla="*/ 1756884 w 8267681"/>
              <a:gd name="connsiteY1809" fmla="*/ 4901858 h 6698675"/>
              <a:gd name="connsiteX1810" fmla="*/ 1766276 w 8267681"/>
              <a:gd name="connsiteY1810" fmla="*/ 4906556 h 6698675"/>
              <a:gd name="connsiteX1811" fmla="*/ 1759229 w 8267681"/>
              <a:gd name="connsiteY1811" fmla="*/ 4915951 h 6698675"/>
              <a:gd name="connsiteX1812" fmla="*/ 1756884 w 8267681"/>
              <a:gd name="connsiteY1812" fmla="*/ 4915951 h 6698675"/>
              <a:gd name="connsiteX1813" fmla="*/ 1754534 w 8267681"/>
              <a:gd name="connsiteY1813" fmla="*/ 4915951 h 6698675"/>
              <a:gd name="connsiteX1814" fmla="*/ 1749835 w 8267681"/>
              <a:gd name="connsiteY1814" fmla="*/ 4906556 h 6698675"/>
              <a:gd name="connsiteX1815" fmla="*/ 1592466 w 8267681"/>
              <a:gd name="connsiteY1815" fmla="*/ 4899510 h 6698675"/>
              <a:gd name="connsiteX1816" fmla="*/ 1597165 w 8267681"/>
              <a:gd name="connsiteY1816" fmla="*/ 4904208 h 6698675"/>
              <a:gd name="connsiteX1817" fmla="*/ 1604209 w 8267681"/>
              <a:gd name="connsiteY1817" fmla="*/ 4915951 h 6698675"/>
              <a:gd name="connsiteX1818" fmla="*/ 1594816 w 8267681"/>
              <a:gd name="connsiteY1818" fmla="*/ 4920649 h 6698675"/>
              <a:gd name="connsiteX1819" fmla="*/ 1590117 w 8267681"/>
              <a:gd name="connsiteY1819" fmla="*/ 4913603 h 6698675"/>
              <a:gd name="connsiteX1820" fmla="*/ 1585423 w 8267681"/>
              <a:gd name="connsiteY1820" fmla="*/ 4906556 h 6698675"/>
              <a:gd name="connsiteX1821" fmla="*/ 1583073 w 8267681"/>
              <a:gd name="connsiteY1821" fmla="*/ 4904208 h 6698675"/>
              <a:gd name="connsiteX1822" fmla="*/ 2773888 w 8267681"/>
              <a:gd name="connsiteY1822" fmla="*/ 4894813 h 6698675"/>
              <a:gd name="connsiteX1823" fmla="*/ 2684635 w 8267681"/>
              <a:gd name="connsiteY1823" fmla="*/ 4913603 h 6698675"/>
              <a:gd name="connsiteX1824" fmla="*/ 2696379 w 8267681"/>
              <a:gd name="connsiteY1824" fmla="*/ 4922998 h 6698675"/>
              <a:gd name="connsiteX1825" fmla="*/ 2745703 w 8267681"/>
              <a:gd name="connsiteY1825" fmla="*/ 4908906 h 6698675"/>
              <a:gd name="connsiteX1826" fmla="*/ 2773888 w 8267681"/>
              <a:gd name="connsiteY1826" fmla="*/ 4901859 h 6698675"/>
              <a:gd name="connsiteX1827" fmla="*/ 2773888 w 8267681"/>
              <a:gd name="connsiteY1827" fmla="*/ 4894813 h 6698675"/>
              <a:gd name="connsiteX1828" fmla="*/ 3030193 w 8267681"/>
              <a:gd name="connsiteY1828" fmla="*/ 4893782 h 6698675"/>
              <a:gd name="connsiteX1829" fmla="*/ 3032254 w 8267681"/>
              <a:gd name="connsiteY1829" fmla="*/ 4894813 h 6698675"/>
              <a:gd name="connsiteX1830" fmla="*/ 3013464 w 8267681"/>
              <a:gd name="connsiteY1830" fmla="*/ 4906557 h 6698675"/>
              <a:gd name="connsiteX1831" fmla="*/ 3009134 w 8267681"/>
              <a:gd name="connsiteY1831" fmla="*/ 4899107 h 6698675"/>
              <a:gd name="connsiteX1832" fmla="*/ 3011601 w 8267681"/>
              <a:gd name="connsiteY1832" fmla="*/ 4895921 h 6698675"/>
              <a:gd name="connsiteX1833" fmla="*/ 1397519 w 8267681"/>
              <a:gd name="connsiteY1833" fmla="*/ 4892463 h 6698675"/>
              <a:gd name="connsiteX1834" fmla="*/ 1402219 w 8267681"/>
              <a:gd name="connsiteY1834" fmla="*/ 4901858 h 6698675"/>
              <a:gd name="connsiteX1835" fmla="*/ 1397519 w 8267681"/>
              <a:gd name="connsiteY1835" fmla="*/ 4908904 h 6698675"/>
              <a:gd name="connsiteX1836" fmla="*/ 1390472 w 8267681"/>
              <a:gd name="connsiteY1836" fmla="*/ 4901858 h 6698675"/>
              <a:gd name="connsiteX1837" fmla="*/ 2790330 w 8267681"/>
              <a:gd name="connsiteY1837" fmla="*/ 4887767 h 6698675"/>
              <a:gd name="connsiteX1838" fmla="*/ 2785633 w 8267681"/>
              <a:gd name="connsiteY1838" fmla="*/ 4899511 h 6698675"/>
              <a:gd name="connsiteX1839" fmla="*/ 2795027 w 8267681"/>
              <a:gd name="connsiteY1839" fmla="*/ 4899511 h 6698675"/>
              <a:gd name="connsiteX1840" fmla="*/ 2799725 w 8267681"/>
              <a:gd name="connsiteY1840" fmla="*/ 4897162 h 6698675"/>
              <a:gd name="connsiteX1841" fmla="*/ 2790330 w 8267681"/>
              <a:gd name="connsiteY1841" fmla="*/ 4887767 h 6698675"/>
              <a:gd name="connsiteX1842" fmla="*/ 5465589 w 8267681"/>
              <a:gd name="connsiteY1842" fmla="*/ 4885418 h 6698675"/>
              <a:gd name="connsiteX1843" fmla="*/ 5451496 w 8267681"/>
              <a:gd name="connsiteY1843" fmla="*/ 4887767 h 6698675"/>
              <a:gd name="connsiteX1844" fmla="*/ 5467937 w 8267681"/>
              <a:gd name="connsiteY1844" fmla="*/ 4908906 h 6698675"/>
              <a:gd name="connsiteX1845" fmla="*/ 5482030 w 8267681"/>
              <a:gd name="connsiteY1845" fmla="*/ 4908906 h 6698675"/>
              <a:gd name="connsiteX1846" fmla="*/ 5465589 w 8267681"/>
              <a:gd name="connsiteY1846" fmla="*/ 4885418 h 6698675"/>
              <a:gd name="connsiteX1847" fmla="*/ 5376335 w 8267681"/>
              <a:gd name="connsiteY1847" fmla="*/ 4885418 h 6698675"/>
              <a:gd name="connsiteX1848" fmla="*/ 5381033 w 8267681"/>
              <a:gd name="connsiteY1848" fmla="*/ 4920650 h 6698675"/>
              <a:gd name="connsiteX1849" fmla="*/ 5376335 w 8267681"/>
              <a:gd name="connsiteY1849" fmla="*/ 4885418 h 6698675"/>
              <a:gd name="connsiteX1850" fmla="*/ 1526702 w 8267681"/>
              <a:gd name="connsiteY1850" fmla="*/ 4885417 h 6698675"/>
              <a:gd name="connsiteX1851" fmla="*/ 1531398 w 8267681"/>
              <a:gd name="connsiteY1851" fmla="*/ 4890115 h 6698675"/>
              <a:gd name="connsiteX1852" fmla="*/ 1536096 w 8267681"/>
              <a:gd name="connsiteY1852" fmla="*/ 4899510 h 6698675"/>
              <a:gd name="connsiteX1853" fmla="*/ 1526702 w 8267681"/>
              <a:gd name="connsiteY1853" fmla="*/ 4901858 h 6698675"/>
              <a:gd name="connsiteX1854" fmla="*/ 1522003 w 8267681"/>
              <a:gd name="connsiteY1854" fmla="*/ 4897161 h 6698675"/>
              <a:gd name="connsiteX1855" fmla="*/ 1514956 w 8267681"/>
              <a:gd name="connsiteY1855" fmla="*/ 4887766 h 6698675"/>
              <a:gd name="connsiteX1856" fmla="*/ 5780325 w 8267681"/>
              <a:gd name="connsiteY1856" fmla="*/ 4871325 h 6698675"/>
              <a:gd name="connsiteX1857" fmla="*/ 5853137 w 8267681"/>
              <a:gd name="connsiteY1857" fmla="*/ 4962927 h 6698675"/>
              <a:gd name="connsiteX1858" fmla="*/ 5836695 w 8267681"/>
              <a:gd name="connsiteY1858" fmla="*/ 4944137 h 6698675"/>
              <a:gd name="connsiteX1859" fmla="*/ 5775627 w 8267681"/>
              <a:gd name="connsiteY1859" fmla="*/ 4880720 h 6698675"/>
              <a:gd name="connsiteX1860" fmla="*/ 5780325 w 8267681"/>
              <a:gd name="connsiteY1860" fmla="*/ 4871325 h 6698675"/>
              <a:gd name="connsiteX1861" fmla="*/ 5968227 w 8267681"/>
              <a:gd name="connsiteY1861" fmla="*/ 4868976 h 6698675"/>
              <a:gd name="connsiteX1862" fmla="*/ 6003459 w 8267681"/>
              <a:gd name="connsiteY1862" fmla="*/ 4934742 h 6698675"/>
              <a:gd name="connsiteX1863" fmla="*/ 5968227 w 8267681"/>
              <a:gd name="connsiteY1863" fmla="*/ 4868976 h 6698675"/>
              <a:gd name="connsiteX1864" fmla="*/ 2689332 w 8267681"/>
              <a:gd name="connsiteY1864" fmla="*/ 4866628 h 6698675"/>
              <a:gd name="connsiteX1865" fmla="*/ 2635536 w 8267681"/>
              <a:gd name="connsiteY1865" fmla="*/ 4876537 h 6698675"/>
              <a:gd name="connsiteX1866" fmla="*/ 2632963 w 8267681"/>
              <a:gd name="connsiteY1866" fmla="*/ 4876023 h 6698675"/>
              <a:gd name="connsiteX1867" fmla="*/ 2632612 w 8267681"/>
              <a:gd name="connsiteY1867" fmla="*/ 4877076 h 6698675"/>
              <a:gd name="connsiteX1868" fmla="*/ 2600079 w 8267681"/>
              <a:gd name="connsiteY1868" fmla="*/ 4883069 h 6698675"/>
              <a:gd name="connsiteX1869" fmla="*/ 2609474 w 8267681"/>
              <a:gd name="connsiteY1869" fmla="*/ 4887767 h 6698675"/>
              <a:gd name="connsiteX1870" fmla="*/ 2585986 w 8267681"/>
              <a:gd name="connsiteY1870" fmla="*/ 4885418 h 6698675"/>
              <a:gd name="connsiteX1871" fmla="*/ 2513174 w 8267681"/>
              <a:gd name="connsiteY1871" fmla="*/ 4932393 h 6698675"/>
              <a:gd name="connsiteX1872" fmla="*/ 2628264 w 8267681"/>
              <a:gd name="connsiteY1872" fmla="*/ 4890115 h 6698675"/>
              <a:gd name="connsiteX1873" fmla="*/ 2632612 w 8267681"/>
              <a:gd name="connsiteY1873" fmla="*/ 4877076 h 6698675"/>
              <a:gd name="connsiteX1874" fmla="*/ 2635536 w 8267681"/>
              <a:gd name="connsiteY1874" fmla="*/ 4876537 h 6698675"/>
              <a:gd name="connsiteX1875" fmla="*/ 2656449 w 8267681"/>
              <a:gd name="connsiteY1875" fmla="*/ 4880720 h 6698675"/>
              <a:gd name="connsiteX1876" fmla="*/ 2691681 w 8267681"/>
              <a:gd name="connsiteY1876" fmla="*/ 4866628 h 6698675"/>
              <a:gd name="connsiteX1877" fmla="*/ 2689332 w 8267681"/>
              <a:gd name="connsiteY1877" fmla="*/ 4866628 h 6698675"/>
              <a:gd name="connsiteX1878" fmla="*/ 2925752 w 8267681"/>
              <a:gd name="connsiteY1878" fmla="*/ 4865746 h 6698675"/>
              <a:gd name="connsiteX1879" fmla="*/ 2917164 w 8267681"/>
              <a:gd name="connsiteY1879" fmla="*/ 4894813 h 6698675"/>
              <a:gd name="connsiteX1880" fmla="*/ 2935954 w 8267681"/>
              <a:gd name="connsiteY1880" fmla="*/ 4868976 h 6698675"/>
              <a:gd name="connsiteX1881" fmla="*/ 2925752 w 8267681"/>
              <a:gd name="connsiteY1881" fmla="*/ 4865746 h 6698675"/>
              <a:gd name="connsiteX1882" fmla="*/ 6092712 w 8267681"/>
              <a:gd name="connsiteY1882" fmla="*/ 4859582 h 6698675"/>
              <a:gd name="connsiteX1883" fmla="*/ 6083317 w 8267681"/>
              <a:gd name="connsiteY1883" fmla="*/ 4953533 h 6698675"/>
              <a:gd name="connsiteX1884" fmla="*/ 6099759 w 8267681"/>
              <a:gd name="connsiteY1884" fmla="*/ 4977020 h 6698675"/>
              <a:gd name="connsiteX1885" fmla="*/ 6092712 w 8267681"/>
              <a:gd name="connsiteY1885" fmla="*/ 4859582 h 6698675"/>
              <a:gd name="connsiteX1886" fmla="*/ 5271228 w 8267681"/>
              <a:gd name="connsiteY1886" fmla="*/ 4856645 h 6698675"/>
              <a:gd name="connsiteX1887" fmla="*/ 5265943 w 8267681"/>
              <a:gd name="connsiteY1887" fmla="*/ 4861930 h 6698675"/>
              <a:gd name="connsiteX1888" fmla="*/ 5271228 w 8267681"/>
              <a:gd name="connsiteY1888" fmla="*/ 4856645 h 6698675"/>
              <a:gd name="connsiteX1889" fmla="*/ 5344479 w 8267681"/>
              <a:gd name="connsiteY1889" fmla="*/ 4856572 h 6698675"/>
              <a:gd name="connsiteX1890" fmla="*/ 5341103 w 8267681"/>
              <a:gd name="connsiteY1890" fmla="*/ 4857233 h 6698675"/>
              <a:gd name="connsiteX1891" fmla="*/ 5308220 w 8267681"/>
              <a:gd name="connsiteY1891" fmla="*/ 4878371 h 6698675"/>
              <a:gd name="connsiteX1892" fmla="*/ 5322313 w 8267681"/>
              <a:gd name="connsiteY1892" fmla="*/ 4911255 h 6698675"/>
              <a:gd name="connsiteX1893" fmla="*/ 5336406 w 8267681"/>
              <a:gd name="connsiteY1893" fmla="*/ 4897162 h 6698675"/>
              <a:gd name="connsiteX1894" fmla="*/ 5324662 w 8267681"/>
              <a:gd name="connsiteY1894" fmla="*/ 4878371 h 6698675"/>
              <a:gd name="connsiteX1895" fmla="*/ 5344479 w 8267681"/>
              <a:gd name="connsiteY1895" fmla="*/ 4856572 h 6698675"/>
              <a:gd name="connsiteX1896" fmla="*/ 1533749 w 8267681"/>
              <a:gd name="connsiteY1896" fmla="*/ 4854883 h 6698675"/>
              <a:gd name="connsiteX1897" fmla="*/ 1538446 w 8267681"/>
              <a:gd name="connsiteY1897" fmla="*/ 4861929 h 6698675"/>
              <a:gd name="connsiteX1898" fmla="*/ 1526702 w 8267681"/>
              <a:gd name="connsiteY1898" fmla="*/ 4871325 h 6698675"/>
              <a:gd name="connsiteX1899" fmla="*/ 1517305 w 8267681"/>
              <a:gd name="connsiteY1899" fmla="*/ 4871325 h 6698675"/>
              <a:gd name="connsiteX1900" fmla="*/ 1507909 w 8267681"/>
              <a:gd name="connsiteY1900" fmla="*/ 4871325 h 6698675"/>
              <a:gd name="connsiteX1901" fmla="*/ 1507909 w 8267681"/>
              <a:gd name="connsiteY1901" fmla="*/ 4868976 h 6698675"/>
              <a:gd name="connsiteX1902" fmla="*/ 1507909 w 8267681"/>
              <a:gd name="connsiteY1902" fmla="*/ 4861929 h 6698675"/>
              <a:gd name="connsiteX1903" fmla="*/ 1526702 w 8267681"/>
              <a:gd name="connsiteY1903" fmla="*/ 4857232 h 6698675"/>
              <a:gd name="connsiteX1904" fmla="*/ 1399869 w 8267681"/>
              <a:gd name="connsiteY1904" fmla="*/ 4854883 h 6698675"/>
              <a:gd name="connsiteX1905" fmla="*/ 1409264 w 8267681"/>
              <a:gd name="connsiteY1905" fmla="*/ 4854883 h 6698675"/>
              <a:gd name="connsiteX1906" fmla="*/ 1413962 w 8267681"/>
              <a:gd name="connsiteY1906" fmla="*/ 4859581 h 6698675"/>
              <a:gd name="connsiteX1907" fmla="*/ 1411613 w 8267681"/>
              <a:gd name="connsiteY1907" fmla="*/ 4868976 h 6698675"/>
              <a:gd name="connsiteX1908" fmla="*/ 1409264 w 8267681"/>
              <a:gd name="connsiteY1908" fmla="*/ 4871325 h 6698675"/>
              <a:gd name="connsiteX1909" fmla="*/ 1399869 w 8267681"/>
              <a:gd name="connsiteY1909" fmla="*/ 4871325 h 6698675"/>
              <a:gd name="connsiteX1910" fmla="*/ 1397520 w 8267681"/>
              <a:gd name="connsiteY1910" fmla="*/ 4868976 h 6698675"/>
              <a:gd name="connsiteX1911" fmla="*/ 1395171 w 8267681"/>
              <a:gd name="connsiteY1911" fmla="*/ 4859581 h 6698675"/>
              <a:gd name="connsiteX1912" fmla="*/ 5533703 w 8267681"/>
              <a:gd name="connsiteY1912" fmla="*/ 4852535 h 6698675"/>
              <a:gd name="connsiteX1913" fmla="*/ 5526657 w 8267681"/>
              <a:gd name="connsiteY1913" fmla="*/ 4857233 h 6698675"/>
              <a:gd name="connsiteX1914" fmla="*/ 5568935 w 8267681"/>
              <a:gd name="connsiteY1914" fmla="*/ 4927696 h 6698675"/>
              <a:gd name="connsiteX1915" fmla="*/ 5583028 w 8267681"/>
              <a:gd name="connsiteY1915" fmla="*/ 4927696 h 6698675"/>
              <a:gd name="connsiteX1916" fmla="*/ 5533703 w 8267681"/>
              <a:gd name="connsiteY1916" fmla="*/ 4852535 h 6698675"/>
              <a:gd name="connsiteX1917" fmla="*/ 6048085 w 8267681"/>
              <a:gd name="connsiteY1917" fmla="*/ 4845489 h 6698675"/>
              <a:gd name="connsiteX1918" fmla="*/ 6064527 w 8267681"/>
              <a:gd name="connsiteY1918" fmla="*/ 4908906 h 6698675"/>
              <a:gd name="connsiteX1919" fmla="*/ 6048085 w 8267681"/>
              <a:gd name="connsiteY1919" fmla="*/ 4845489 h 6698675"/>
              <a:gd name="connsiteX1920" fmla="*/ 3084348 w 8267681"/>
              <a:gd name="connsiteY1920" fmla="*/ 4842019 h 6698675"/>
              <a:gd name="connsiteX1921" fmla="*/ 3086325 w 8267681"/>
              <a:gd name="connsiteY1921" fmla="*/ 4842287 h 6698675"/>
              <a:gd name="connsiteX1922" fmla="*/ 3083927 w 8267681"/>
              <a:gd name="connsiteY1922" fmla="*/ 4843140 h 6698675"/>
              <a:gd name="connsiteX1923" fmla="*/ 3077468 w 8267681"/>
              <a:gd name="connsiteY1923" fmla="*/ 4841084 h 6698675"/>
              <a:gd name="connsiteX1924" fmla="*/ 3080239 w 8267681"/>
              <a:gd name="connsiteY1924" fmla="*/ 4841461 h 6698675"/>
              <a:gd name="connsiteX1925" fmla="*/ 3076881 w 8267681"/>
              <a:gd name="connsiteY1925" fmla="*/ 4843140 h 6698675"/>
              <a:gd name="connsiteX1926" fmla="*/ 3074112 w 8267681"/>
              <a:gd name="connsiteY1926" fmla="*/ 4842384 h 6698675"/>
              <a:gd name="connsiteX1927" fmla="*/ 5887011 w 8267681"/>
              <a:gd name="connsiteY1927" fmla="*/ 4838589 h 6698675"/>
              <a:gd name="connsiteX1928" fmla="*/ 5886020 w 8267681"/>
              <a:gd name="connsiteY1928" fmla="*/ 4868976 h 6698675"/>
              <a:gd name="connsiteX1929" fmla="*/ 5897764 w 8267681"/>
              <a:gd name="connsiteY1929" fmla="*/ 4840791 h 6698675"/>
              <a:gd name="connsiteX1930" fmla="*/ 5887011 w 8267681"/>
              <a:gd name="connsiteY1930" fmla="*/ 4838589 h 6698675"/>
              <a:gd name="connsiteX1931" fmla="*/ 2919514 w 8267681"/>
              <a:gd name="connsiteY1931" fmla="*/ 4838442 h 6698675"/>
              <a:gd name="connsiteX1932" fmla="*/ 2888979 w 8267681"/>
              <a:gd name="connsiteY1932" fmla="*/ 4847838 h 6698675"/>
              <a:gd name="connsiteX1933" fmla="*/ 2874887 w 8267681"/>
              <a:gd name="connsiteY1933" fmla="*/ 4873674 h 6698675"/>
              <a:gd name="connsiteX1934" fmla="*/ 2917164 w 8267681"/>
              <a:gd name="connsiteY1934" fmla="*/ 4859582 h 6698675"/>
              <a:gd name="connsiteX1935" fmla="*/ 2919514 w 8267681"/>
              <a:gd name="connsiteY1935" fmla="*/ 4838442 h 6698675"/>
              <a:gd name="connsiteX1936" fmla="*/ 5295486 w 8267681"/>
              <a:gd name="connsiteY1936" fmla="*/ 4837268 h 6698675"/>
              <a:gd name="connsiteX1937" fmla="*/ 5287081 w 8267681"/>
              <a:gd name="connsiteY1937" fmla="*/ 4840791 h 6698675"/>
              <a:gd name="connsiteX1938" fmla="*/ 5317616 w 8267681"/>
              <a:gd name="connsiteY1938" fmla="*/ 4847838 h 6698675"/>
              <a:gd name="connsiteX1939" fmla="*/ 5295486 w 8267681"/>
              <a:gd name="connsiteY1939" fmla="*/ 4837268 h 6698675"/>
              <a:gd name="connsiteX1940" fmla="*/ 1510260 w 8267681"/>
              <a:gd name="connsiteY1940" fmla="*/ 4836093 h 6698675"/>
              <a:gd name="connsiteX1941" fmla="*/ 1512610 w 8267681"/>
              <a:gd name="connsiteY1941" fmla="*/ 4845488 h 6698675"/>
              <a:gd name="connsiteX1942" fmla="*/ 1491468 w 8267681"/>
              <a:gd name="connsiteY1942" fmla="*/ 4847837 h 6698675"/>
              <a:gd name="connsiteX1943" fmla="*/ 1484425 w 8267681"/>
              <a:gd name="connsiteY1943" fmla="*/ 4843139 h 6698675"/>
              <a:gd name="connsiteX1944" fmla="*/ 1491468 w 8267681"/>
              <a:gd name="connsiteY1944" fmla="*/ 4840791 h 6698675"/>
              <a:gd name="connsiteX1945" fmla="*/ 5583028 w 8267681"/>
              <a:gd name="connsiteY1945" fmla="*/ 4829047 h 6698675"/>
              <a:gd name="connsiteX1946" fmla="*/ 5578330 w 8267681"/>
              <a:gd name="connsiteY1946" fmla="*/ 4831396 h 6698675"/>
              <a:gd name="connsiteX1947" fmla="*/ 5590074 w 8267681"/>
              <a:gd name="connsiteY1947" fmla="*/ 4838442 h 6698675"/>
              <a:gd name="connsiteX1948" fmla="*/ 5583028 w 8267681"/>
              <a:gd name="connsiteY1948" fmla="*/ 4829047 h 6698675"/>
              <a:gd name="connsiteX1949" fmla="*/ 4396894 w 8267681"/>
              <a:gd name="connsiteY1949" fmla="*/ 4826698 h 6698675"/>
              <a:gd name="connsiteX1950" fmla="*/ 4392197 w 8267681"/>
              <a:gd name="connsiteY1950" fmla="*/ 4838442 h 6698675"/>
              <a:gd name="connsiteX1951" fmla="*/ 4403940 w 8267681"/>
              <a:gd name="connsiteY1951" fmla="*/ 4843140 h 6698675"/>
              <a:gd name="connsiteX1952" fmla="*/ 4408638 w 8267681"/>
              <a:gd name="connsiteY1952" fmla="*/ 4831396 h 6698675"/>
              <a:gd name="connsiteX1953" fmla="*/ 4396894 w 8267681"/>
              <a:gd name="connsiteY1953" fmla="*/ 4826698 h 6698675"/>
              <a:gd name="connsiteX1954" fmla="*/ 1620652 w 8267681"/>
              <a:gd name="connsiteY1954" fmla="*/ 4826697 h 6698675"/>
              <a:gd name="connsiteX1955" fmla="*/ 1630051 w 8267681"/>
              <a:gd name="connsiteY1955" fmla="*/ 4826697 h 6698675"/>
              <a:gd name="connsiteX1956" fmla="*/ 1632395 w 8267681"/>
              <a:gd name="connsiteY1956" fmla="*/ 4829046 h 6698675"/>
              <a:gd name="connsiteX1957" fmla="*/ 1634745 w 8267681"/>
              <a:gd name="connsiteY1957" fmla="*/ 4838441 h 6698675"/>
              <a:gd name="connsiteX1958" fmla="*/ 1634745 w 8267681"/>
              <a:gd name="connsiteY1958" fmla="*/ 4847836 h 6698675"/>
              <a:gd name="connsiteX1959" fmla="*/ 1630051 w 8267681"/>
              <a:gd name="connsiteY1959" fmla="*/ 4852534 h 6698675"/>
              <a:gd name="connsiteX1960" fmla="*/ 1620652 w 8267681"/>
              <a:gd name="connsiteY1960" fmla="*/ 4852534 h 6698675"/>
              <a:gd name="connsiteX1961" fmla="*/ 1613608 w 8267681"/>
              <a:gd name="connsiteY1961" fmla="*/ 4845487 h 6698675"/>
              <a:gd name="connsiteX1962" fmla="*/ 1613608 w 8267681"/>
              <a:gd name="connsiteY1962" fmla="*/ 4838441 h 6698675"/>
              <a:gd name="connsiteX1963" fmla="*/ 1618302 w 8267681"/>
              <a:gd name="connsiteY1963" fmla="*/ 4829046 h 6698675"/>
              <a:gd name="connsiteX1964" fmla="*/ 1620652 w 8267681"/>
              <a:gd name="connsiteY1964" fmla="*/ 4826697 h 6698675"/>
              <a:gd name="connsiteX1965" fmla="*/ 2574242 w 8267681"/>
              <a:gd name="connsiteY1965" fmla="*/ 4824350 h 6698675"/>
              <a:gd name="connsiteX1966" fmla="*/ 2539011 w 8267681"/>
              <a:gd name="connsiteY1966" fmla="*/ 4843140 h 6698675"/>
              <a:gd name="connsiteX1967" fmla="*/ 2548406 w 8267681"/>
              <a:gd name="connsiteY1967" fmla="*/ 4850186 h 6698675"/>
              <a:gd name="connsiteX1968" fmla="*/ 2574242 w 8267681"/>
              <a:gd name="connsiteY1968" fmla="*/ 4824350 h 6698675"/>
              <a:gd name="connsiteX1969" fmla="*/ 1543145 w 8267681"/>
              <a:gd name="connsiteY1969" fmla="*/ 4824349 h 6698675"/>
              <a:gd name="connsiteX1970" fmla="*/ 1552537 w 8267681"/>
              <a:gd name="connsiteY1970" fmla="*/ 4829047 h 6698675"/>
              <a:gd name="connsiteX1971" fmla="*/ 1557238 w 8267681"/>
              <a:gd name="connsiteY1971" fmla="*/ 4836093 h 6698675"/>
              <a:gd name="connsiteX1972" fmla="*/ 1550189 w 8267681"/>
              <a:gd name="connsiteY1972" fmla="*/ 4843139 h 6698675"/>
              <a:gd name="connsiteX1973" fmla="*/ 1543145 w 8267681"/>
              <a:gd name="connsiteY1973" fmla="*/ 4838442 h 6698675"/>
              <a:gd name="connsiteX1974" fmla="*/ 1538446 w 8267681"/>
              <a:gd name="connsiteY1974" fmla="*/ 4833744 h 6698675"/>
              <a:gd name="connsiteX1975" fmla="*/ 1406915 w 8267681"/>
              <a:gd name="connsiteY1975" fmla="*/ 4824349 h 6698675"/>
              <a:gd name="connsiteX1976" fmla="*/ 1411612 w 8267681"/>
              <a:gd name="connsiteY1976" fmla="*/ 4826698 h 6698675"/>
              <a:gd name="connsiteX1977" fmla="*/ 1409262 w 8267681"/>
              <a:gd name="connsiteY1977" fmla="*/ 4836093 h 6698675"/>
              <a:gd name="connsiteX1978" fmla="*/ 1406915 w 8267681"/>
              <a:gd name="connsiteY1978" fmla="*/ 4838442 h 6698675"/>
              <a:gd name="connsiteX1979" fmla="*/ 1404570 w 8267681"/>
              <a:gd name="connsiteY1979" fmla="*/ 4836093 h 6698675"/>
              <a:gd name="connsiteX1980" fmla="*/ 1402219 w 8267681"/>
              <a:gd name="connsiteY1980" fmla="*/ 4826698 h 6698675"/>
              <a:gd name="connsiteX1981" fmla="*/ 5437403 w 8267681"/>
              <a:gd name="connsiteY1981" fmla="*/ 4822001 h 6698675"/>
              <a:gd name="connsiteX1982" fmla="*/ 5432706 w 8267681"/>
              <a:gd name="connsiteY1982" fmla="*/ 4833745 h 6698675"/>
              <a:gd name="connsiteX1983" fmla="*/ 5444449 w 8267681"/>
              <a:gd name="connsiteY1983" fmla="*/ 4838442 h 6698675"/>
              <a:gd name="connsiteX1984" fmla="*/ 5449147 w 8267681"/>
              <a:gd name="connsiteY1984" fmla="*/ 4826698 h 6698675"/>
              <a:gd name="connsiteX1985" fmla="*/ 5437403 w 8267681"/>
              <a:gd name="connsiteY1985" fmla="*/ 4822001 h 6698675"/>
              <a:gd name="connsiteX1986" fmla="*/ 3039300 w 8267681"/>
              <a:gd name="connsiteY1986" fmla="*/ 4812606 h 6698675"/>
              <a:gd name="connsiteX1987" fmla="*/ 3018161 w 8267681"/>
              <a:gd name="connsiteY1987" fmla="*/ 4819652 h 6698675"/>
              <a:gd name="connsiteX1988" fmla="*/ 3020510 w 8267681"/>
              <a:gd name="connsiteY1988" fmla="*/ 4822001 h 6698675"/>
              <a:gd name="connsiteX1989" fmla="*/ 3020510 w 8267681"/>
              <a:gd name="connsiteY1989" fmla="*/ 4831396 h 6698675"/>
              <a:gd name="connsiteX1990" fmla="*/ 3020510 w 8267681"/>
              <a:gd name="connsiteY1990" fmla="*/ 4836094 h 6698675"/>
              <a:gd name="connsiteX1991" fmla="*/ 3046347 w 8267681"/>
              <a:gd name="connsiteY1991" fmla="*/ 4833745 h 6698675"/>
              <a:gd name="connsiteX1992" fmla="*/ 3055742 w 8267681"/>
              <a:gd name="connsiteY1992" fmla="*/ 4819652 h 6698675"/>
              <a:gd name="connsiteX1993" fmla="*/ 3039300 w 8267681"/>
              <a:gd name="connsiteY1993" fmla="*/ 4812606 h 6698675"/>
              <a:gd name="connsiteX1994" fmla="*/ 2839654 w 8267681"/>
              <a:gd name="connsiteY1994" fmla="*/ 4810257 h 6698675"/>
              <a:gd name="connsiteX1995" fmla="*/ 2837305 w 8267681"/>
              <a:gd name="connsiteY1995" fmla="*/ 4812606 h 6698675"/>
              <a:gd name="connsiteX1996" fmla="*/ 2842003 w 8267681"/>
              <a:gd name="connsiteY1996" fmla="*/ 4812606 h 6698675"/>
              <a:gd name="connsiteX1997" fmla="*/ 2839654 w 8267681"/>
              <a:gd name="connsiteY1997" fmla="*/ 4810257 h 6698675"/>
              <a:gd name="connsiteX1998" fmla="*/ 1594816 w 8267681"/>
              <a:gd name="connsiteY1998" fmla="*/ 4810257 h 6698675"/>
              <a:gd name="connsiteX1999" fmla="*/ 1604210 w 8267681"/>
              <a:gd name="connsiteY1999" fmla="*/ 4810257 h 6698675"/>
              <a:gd name="connsiteX2000" fmla="*/ 1604210 w 8267681"/>
              <a:gd name="connsiteY2000" fmla="*/ 4857233 h 6698675"/>
              <a:gd name="connsiteX2001" fmla="*/ 1594816 w 8267681"/>
              <a:gd name="connsiteY2001" fmla="*/ 4859582 h 6698675"/>
              <a:gd name="connsiteX2002" fmla="*/ 1585423 w 8267681"/>
              <a:gd name="connsiteY2002" fmla="*/ 4854884 h 6698675"/>
              <a:gd name="connsiteX2003" fmla="*/ 1580723 w 8267681"/>
              <a:gd name="connsiteY2003" fmla="*/ 4861930 h 6698675"/>
              <a:gd name="connsiteX2004" fmla="*/ 1587773 w 8267681"/>
              <a:gd name="connsiteY2004" fmla="*/ 4878372 h 6698675"/>
              <a:gd name="connsiteX2005" fmla="*/ 1557238 w 8267681"/>
              <a:gd name="connsiteY2005" fmla="*/ 4892464 h 6698675"/>
              <a:gd name="connsiteX2006" fmla="*/ 1550189 w 8267681"/>
              <a:gd name="connsiteY2006" fmla="*/ 4880720 h 6698675"/>
              <a:gd name="connsiteX2007" fmla="*/ 1566630 w 8267681"/>
              <a:gd name="connsiteY2007" fmla="*/ 4861930 h 6698675"/>
              <a:gd name="connsiteX2008" fmla="*/ 1576025 w 8267681"/>
              <a:gd name="connsiteY2008" fmla="*/ 4861930 h 6698675"/>
              <a:gd name="connsiteX2009" fmla="*/ 1587773 w 8267681"/>
              <a:gd name="connsiteY2009" fmla="*/ 4847838 h 6698675"/>
              <a:gd name="connsiteX2010" fmla="*/ 1587773 w 8267681"/>
              <a:gd name="connsiteY2010" fmla="*/ 4838442 h 6698675"/>
              <a:gd name="connsiteX2011" fmla="*/ 1559588 w 8267681"/>
              <a:gd name="connsiteY2011" fmla="*/ 4829047 h 6698675"/>
              <a:gd name="connsiteX2012" fmla="*/ 1554887 w 8267681"/>
              <a:gd name="connsiteY2012" fmla="*/ 4819652 h 6698675"/>
              <a:gd name="connsiteX2013" fmla="*/ 1529053 w 8267681"/>
              <a:gd name="connsiteY2013" fmla="*/ 4810256 h 6698675"/>
              <a:gd name="connsiteX2014" fmla="*/ 1531403 w 8267681"/>
              <a:gd name="connsiteY2014" fmla="*/ 4819651 h 6698675"/>
              <a:gd name="connsiteX2015" fmla="*/ 1529053 w 8267681"/>
              <a:gd name="connsiteY2015" fmla="*/ 4826697 h 6698675"/>
              <a:gd name="connsiteX2016" fmla="*/ 1519655 w 8267681"/>
              <a:gd name="connsiteY2016" fmla="*/ 4824349 h 6698675"/>
              <a:gd name="connsiteX2017" fmla="*/ 2849049 w 8267681"/>
              <a:gd name="connsiteY2017" fmla="*/ 4803211 h 6698675"/>
              <a:gd name="connsiteX2018" fmla="*/ 2844352 w 8267681"/>
              <a:gd name="connsiteY2018" fmla="*/ 4805560 h 6698675"/>
              <a:gd name="connsiteX2019" fmla="*/ 2846700 w 8267681"/>
              <a:gd name="connsiteY2019" fmla="*/ 4812606 h 6698675"/>
              <a:gd name="connsiteX2020" fmla="*/ 2851398 w 8267681"/>
              <a:gd name="connsiteY2020" fmla="*/ 4812606 h 6698675"/>
              <a:gd name="connsiteX2021" fmla="*/ 2849049 w 8267681"/>
              <a:gd name="connsiteY2021" fmla="*/ 4803211 h 6698675"/>
              <a:gd name="connsiteX2022" fmla="*/ 2684635 w 8267681"/>
              <a:gd name="connsiteY2022" fmla="*/ 4800862 h 6698675"/>
              <a:gd name="connsiteX2023" fmla="*/ 2630613 w 8267681"/>
              <a:gd name="connsiteY2023" fmla="*/ 4826698 h 6698675"/>
              <a:gd name="connsiteX2024" fmla="*/ 2640008 w 8267681"/>
              <a:gd name="connsiteY2024" fmla="*/ 4824350 h 6698675"/>
              <a:gd name="connsiteX2025" fmla="*/ 2665845 w 8267681"/>
              <a:gd name="connsiteY2025" fmla="*/ 4817303 h 6698675"/>
              <a:gd name="connsiteX2026" fmla="*/ 2682286 w 8267681"/>
              <a:gd name="connsiteY2026" fmla="*/ 4812606 h 6698675"/>
              <a:gd name="connsiteX2027" fmla="*/ 2684635 w 8267681"/>
              <a:gd name="connsiteY2027" fmla="*/ 4800862 h 6698675"/>
              <a:gd name="connsiteX2028" fmla="*/ 5425659 w 8267681"/>
              <a:gd name="connsiteY2028" fmla="*/ 4798513 h 6698675"/>
              <a:gd name="connsiteX2029" fmla="*/ 5436932 w 8267681"/>
              <a:gd name="connsiteY2029" fmla="*/ 4803344 h 6698675"/>
              <a:gd name="connsiteX2030" fmla="*/ 5435164 w 8267681"/>
              <a:gd name="connsiteY2030" fmla="*/ 4807871 h 6698675"/>
              <a:gd name="connsiteX2031" fmla="*/ 5424462 w 8267681"/>
              <a:gd name="connsiteY2031" fmla="*/ 4817646 h 6698675"/>
              <a:gd name="connsiteX2032" fmla="*/ 5418613 w 8267681"/>
              <a:gd name="connsiteY2032" fmla="*/ 4814955 h 6698675"/>
              <a:gd name="connsiteX2033" fmla="*/ 5425659 w 8267681"/>
              <a:gd name="connsiteY2033" fmla="*/ 4798513 h 6698675"/>
              <a:gd name="connsiteX2034" fmla="*/ 1620652 w 8267681"/>
              <a:gd name="connsiteY2034" fmla="*/ 4798512 h 6698675"/>
              <a:gd name="connsiteX2035" fmla="*/ 1627701 w 8267681"/>
              <a:gd name="connsiteY2035" fmla="*/ 4803210 h 6698675"/>
              <a:gd name="connsiteX2036" fmla="*/ 1620652 w 8267681"/>
              <a:gd name="connsiteY2036" fmla="*/ 4810256 h 6698675"/>
              <a:gd name="connsiteX2037" fmla="*/ 1615958 w 8267681"/>
              <a:gd name="connsiteY2037" fmla="*/ 4803210 h 6698675"/>
              <a:gd name="connsiteX2038" fmla="*/ 5454506 w 8267681"/>
              <a:gd name="connsiteY2038" fmla="*/ 4796428 h 6698675"/>
              <a:gd name="connsiteX2039" fmla="*/ 5463310 w 8267681"/>
              <a:gd name="connsiteY2039" fmla="*/ 4799950 h 6698675"/>
              <a:gd name="connsiteX2040" fmla="*/ 5456193 w 8267681"/>
              <a:gd name="connsiteY2040" fmla="*/ 4810257 h 6698675"/>
              <a:gd name="connsiteX2041" fmla="*/ 5453698 w 8267681"/>
              <a:gd name="connsiteY2041" fmla="*/ 4798219 h 6698675"/>
              <a:gd name="connsiteX2042" fmla="*/ 2466198 w 8267681"/>
              <a:gd name="connsiteY2042" fmla="*/ 4791466 h 6698675"/>
              <a:gd name="connsiteX2043" fmla="*/ 2470896 w 8267681"/>
              <a:gd name="connsiteY2043" fmla="*/ 4798512 h 6698675"/>
              <a:gd name="connsiteX2044" fmla="*/ 2466198 w 8267681"/>
              <a:gd name="connsiteY2044" fmla="*/ 4805559 h 6698675"/>
              <a:gd name="connsiteX2045" fmla="*/ 2459152 w 8267681"/>
              <a:gd name="connsiteY2045" fmla="*/ 4798512 h 6698675"/>
              <a:gd name="connsiteX2046" fmla="*/ 1611258 w 8267681"/>
              <a:gd name="connsiteY2046" fmla="*/ 4791466 h 6698675"/>
              <a:gd name="connsiteX2047" fmla="*/ 1613608 w 8267681"/>
              <a:gd name="connsiteY2047" fmla="*/ 4796164 h 6698675"/>
              <a:gd name="connsiteX2048" fmla="*/ 1611258 w 8267681"/>
              <a:gd name="connsiteY2048" fmla="*/ 4798512 h 6698675"/>
              <a:gd name="connsiteX2049" fmla="*/ 1604209 w 8267681"/>
              <a:gd name="connsiteY2049" fmla="*/ 4796164 h 6698675"/>
              <a:gd name="connsiteX2050" fmla="*/ 2968837 w 8267681"/>
              <a:gd name="connsiteY2050" fmla="*/ 4786769 h 6698675"/>
              <a:gd name="connsiteX2051" fmla="*/ 2947698 w 8267681"/>
              <a:gd name="connsiteY2051" fmla="*/ 4814955 h 6698675"/>
              <a:gd name="connsiteX2052" fmla="*/ 2945350 w 8267681"/>
              <a:gd name="connsiteY2052" fmla="*/ 4814955 h 6698675"/>
              <a:gd name="connsiteX2053" fmla="*/ 2943000 w 8267681"/>
              <a:gd name="connsiteY2053" fmla="*/ 4817303 h 6698675"/>
              <a:gd name="connsiteX2054" fmla="*/ 2943000 w 8267681"/>
              <a:gd name="connsiteY2054" fmla="*/ 4819652 h 6698675"/>
              <a:gd name="connsiteX2055" fmla="*/ 2945350 w 8267681"/>
              <a:gd name="connsiteY2055" fmla="*/ 4822001 h 6698675"/>
              <a:gd name="connsiteX2056" fmla="*/ 2940652 w 8267681"/>
              <a:gd name="connsiteY2056" fmla="*/ 4850186 h 6698675"/>
              <a:gd name="connsiteX2057" fmla="*/ 2945350 w 8267681"/>
              <a:gd name="connsiteY2057" fmla="*/ 4840791 h 6698675"/>
              <a:gd name="connsiteX2058" fmla="*/ 2947698 w 8267681"/>
              <a:gd name="connsiteY2058" fmla="*/ 4840791 h 6698675"/>
              <a:gd name="connsiteX2059" fmla="*/ 2971186 w 8267681"/>
              <a:gd name="connsiteY2059" fmla="*/ 4850186 h 6698675"/>
              <a:gd name="connsiteX2060" fmla="*/ 3004069 w 8267681"/>
              <a:gd name="connsiteY2060" fmla="*/ 4838442 h 6698675"/>
              <a:gd name="connsiteX2061" fmla="*/ 3004069 w 8267681"/>
              <a:gd name="connsiteY2061" fmla="*/ 4831396 h 6698675"/>
              <a:gd name="connsiteX2062" fmla="*/ 3004069 w 8267681"/>
              <a:gd name="connsiteY2062" fmla="*/ 4822001 h 6698675"/>
              <a:gd name="connsiteX2063" fmla="*/ 2968837 w 8267681"/>
              <a:gd name="connsiteY2063" fmla="*/ 4817303 h 6698675"/>
              <a:gd name="connsiteX2064" fmla="*/ 2961791 w 8267681"/>
              <a:gd name="connsiteY2064" fmla="*/ 4819652 h 6698675"/>
              <a:gd name="connsiteX2065" fmla="*/ 2968837 w 8267681"/>
              <a:gd name="connsiteY2065" fmla="*/ 4786769 h 6698675"/>
              <a:gd name="connsiteX2066" fmla="*/ 2484988 w 8267681"/>
              <a:gd name="connsiteY2066" fmla="*/ 4786768 h 6698675"/>
              <a:gd name="connsiteX2067" fmla="*/ 2489686 w 8267681"/>
              <a:gd name="connsiteY2067" fmla="*/ 4791466 h 6698675"/>
              <a:gd name="connsiteX2068" fmla="*/ 2482640 w 8267681"/>
              <a:gd name="connsiteY2068" fmla="*/ 4796163 h 6698675"/>
              <a:gd name="connsiteX2069" fmla="*/ 2477942 w 8267681"/>
              <a:gd name="connsiteY2069" fmla="*/ 4791466 h 6698675"/>
              <a:gd name="connsiteX2070" fmla="*/ 1568980 w 8267681"/>
              <a:gd name="connsiteY2070" fmla="*/ 4786768 h 6698675"/>
              <a:gd name="connsiteX2071" fmla="*/ 1578373 w 8267681"/>
              <a:gd name="connsiteY2071" fmla="*/ 4789117 h 6698675"/>
              <a:gd name="connsiteX2072" fmla="*/ 1578373 w 8267681"/>
              <a:gd name="connsiteY2072" fmla="*/ 4796163 h 6698675"/>
              <a:gd name="connsiteX2073" fmla="*/ 1568980 w 8267681"/>
              <a:gd name="connsiteY2073" fmla="*/ 4796163 h 6698675"/>
              <a:gd name="connsiteX2074" fmla="*/ 1566630 w 8267681"/>
              <a:gd name="connsiteY2074" fmla="*/ 4793814 h 6698675"/>
              <a:gd name="connsiteX2075" fmla="*/ 3046090 w 8267681"/>
              <a:gd name="connsiteY2075" fmla="*/ 4785264 h 6698675"/>
              <a:gd name="connsiteX2076" fmla="*/ 3041649 w 8267681"/>
              <a:gd name="connsiteY2076" fmla="*/ 4789118 h 6698675"/>
              <a:gd name="connsiteX2077" fmla="*/ 3072184 w 8267681"/>
              <a:gd name="connsiteY2077" fmla="*/ 4796164 h 6698675"/>
              <a:gd name="connsiteX2078" fmla="*/ 3046090 w 8267681"/>
              <a:gd name="connsiteY2078" fmla="*/ 4785264 h 6698675"/>
              <a:gd name="connsiteX2079" fmla="*/ 2745703 w 8267681"/>
              <a:gd name="connsiteY2079" fmla="*/ 4784420 h 6698675"/>
              <a:gd name="connsiteX2080" fmla="*/ 2712820 w 8267681"/>
              <a:gd name="connsiteY2080" fmla="*/ 4791467 h 6698675"/>
              <a:gd name="connsiteX2081" fmla="*/ 2738657 w 8267681"/>
              <a:gd name="connsiteY2081" fmla="*/ 4789118 h 6698675"/>
              <a:gd name="connsiteX2082" fmla="*/ 2745703 w 8267681"/>
              <a:gd name="connsiteY2082" fmla="*/ 4784420 h 6698675"/>
              <a:gd name="connsiteX2083" fmla="*/ 3729841 w 8267681"/>
              <a:gd name="connsiteY2083" fmla="*/ 4779723 h 6698675"/>
              <a:gd name="connsiteX2084" fmla="*/ 3725144 w 8267681"/>
              <a:gd name="connsiteY2084" fmla="*/ 4791467 h 6698675"/>
              <a:gd name="connsiteX2085" fmla="*/ 3736888 w 8267681"/>
              <a:gd name="connsiteY2085" fmla="*/ 4796164 h 6698675"/>
              <a:gd name="connsiteX2086" fmla="*/ 3741585 w 8267681"/>
              <a:gd name="connsiteY2086" fmla="*/ 4784420 h 6698675"/>
              <a:gd name="connsiteX2087" fmla="*/ 3729841 w 8267681"/>
              <a:gd name="connsiteY2087" fmla="*/ 4779723 h 6698675"/>
              <a:gd name="connsiteX2088" fmla="*/ 5925949 w 8267681"/>
              <a:gd name="connsiteY2088" fmla="*/ 4774731 h 6698675"/>
              <a:gd name="connsiteX2089" fmla="*/ 5923600 w 8267681"/>
              <a:gd name="connsiteY2089" fmla="*/ 4777374 h 6698675"/>
              <a:gd name="connsiteX2090" fmla="*/ 5979971 w 8267681"/>
              <a:gd name="connsiteY2090" fmla="*/ 4868976 h 6698675"/>
              <a:gd name="connsiteX2091" fmla="*/ 5928298 w 8267681"/>
              <a:gd name="connsiteY2091" fmla="*/ 4777374 h 6698675"/>
              <a:gd name="connsiteX2092" fmla="*/ 5925949 w 8267681"/>
              <a:gd name="connsiteY2092" fmla="*/ 4774731 h 6698675"/>
              <a:gd name="connsiteX2093" fmla="*/ 6118549 w 8267681"/>
              <a:gd name="connsiteY2093" fmla="*/ 4770328 h 6698675"/>
              <a:gd name="connsiteX2094" fmla="*/ 6120898 w 8267681"/>
              <a:gd name="connsiteY2094" fmla="*/ 4775025 h 6698675"/>
              <a:gd name="connsiteX2095" fmla="*/ 6116385 w 8267681"/>
              <a:gd name="connsiteY2095" fmla="*/ 4770512 h 6698675"/>
              <a:gd name="connsiteX2096" fmla="*/ 6116200 w 8267681"/>
              <a:gd name="connsiteY2096" fmla="*/ 4770328 h 6698675"/>
              <a:gd name="connsiteX2097" fmla="*/ 6116385 w 8267681"/>
              <a:gd name="connsiteY2097" fmla="*/ 4770512 h 6698675"/>
              <a:gd name="connsiteX2098" fmla="*/ 6116160 w 8267681"/>
              <a:gd name="connsiteY2098" fmla="*/ 4770532 h 6698675"/>
              <a:gd name="connsiteX2099" fmla="*/ 1484425 w 8267681"/>
              <a:gd name="connsiteY2099" fmla="*/ 4770328 h 6698675"/>
              <a:gd name="connsiteX2100" fmla="*/ 1493818 w 8267681"/>
              <a:gd name="connsiteY2100" fmla="*/ 4770328 h 6698675"/>
              <a:gd name="connsiteX2101" fmla="*/ 1491470 w 8267681"/>
              <a:gd name="connsiteY2101" fmla="*/ 4793816 h 6698675"/>
              <a:gd name="connsiteX2102" fmla="*/ 1491470 w 8267681"/>
              <a:gd name="connsiteY2102" fmla="*/ 4810257 h 6698675"/>
              <a:gd name="connsiteX2103" fmla="*/ 1484425 w 8267681"/>
              <a:gd name="connsiteY2103" fmla="*/ 4800862 h 6698675"/>
              <a:gd name="connsiteX2104" fmla="*/ 1477377 w 8267681"/>
              <a:gd name="connsiteY2104" fmla="*/ 4796164 h 6698675"/>
              <a:gd name="connsiteX2105" fmla="*/ 1467982 w 8267681"/>
              <a:gd name="connsiteY2105" fmla="*/ 4800862 h 6698675"/>
              <a:gd name="connsiteX2106" fmla="*/ 1467982 w 8267681"/>
              <a:gd name="connsiteY2106" fmla="*/ 4789118 h 6698675"/>
              <a:gd name="connsiteX2107" fmla="*/ 1479726 w 8267681"/>
              <a:gd name="connsiteY2107" fmla="*/ 4777374 h 6698675"/>
              <a:gd name="connsiteX2108" fmla="*/ 1484425 w 8267681"/>
              <a:gd name="connsiteY2108" fmla="*/ 4770328 h 6698675"/>
              <a:gd name="connsiteX2109" fmla="*/ 1568980 w 8267681"/>
              <a:gd name="connsiteY2109" fmla="*/ 4765629 h 6698675"/>
              <a:gd name="connsiteX2110" fmla="*/ 1571330 w 8267681"/>
              <a:gd name="connsiteY2110" fmla="*/ 4767978 h 6698675"/>
              <a:gd name="connsiteX2111" fmla="*/ 1576024 w 8267681"/>
              <a:gd name="connsiteY2111" fmla="*/ 4777373 h 6698675"/>
              <a:gd name="connsiteX2112" fmla="*/ 1568980 w 8267681"/>
              <a:gd name="connsiteY2112" fmla="*/ 4786768 h 6698675"/>
              <a:gd name="connsiteX2113" fmla="*/ 1559588 w 8267681"/>
              <a:gd name="connsiteY2113" fmla="*/ 4782070 h 6698675"/>
              <a:gd name="connsiteX2114" fmla="*/ 1554887 w 8267681"/>
              <a:gd name="connsiteY2114" fmla="*/ 4777373 h 6698675"/>
              <a:gd name="connsiteX2115" fmla="*/ 1559588 w 8267681"/>
              <a:gd name="connsiteY2115" fmla="*/ 4767978 h 6698675"/>
              <a:gd name="connsiteX2116" fmla="*/ 1526702 w 8267681"/>
              <a:gd name="connsiteY2116" fmla="*/ 4765629 h 6698675"/>
              <a:gd name="connsiteX2117" fmla="*/ 1540795 w 8267681"/>
              <a:gd name="connsiteY2117" fmla="*/ 4775024 h 6698675"/>
              <a:gd name="connsiteX2118" fmla="*/ 1536096 w 8267681"/>
              <a:gd name="connsiteY2118" fmla="*/ 4784419 h 6698675"/>
              <a:gd name="connsiteX2119" fmla="*/ 1533749 w 8267681"/>
              <a:gd name="connsiteY2119" fmla="*/ 4784419 h 6698675"/>
              <a:gd name="connsiteX2120" fmla="*/ 1526702 w 8267681"/>
              <a:gd name="connsiteY2120" fmla="*/ 4784419 h 6698675"/>
              <a:gd name="connsiteX2121" fmla="*/ 1517305 w 8267681"/>
              <a:gd name="connsiteY2121" fmla="*/ 4777373 h 6698675"/>
              <a:gd name="connsiteX2122" fmla="*/ 1425704 w 8267681"/>
              <a:gd name="connsiteY2122" fmla="*/ 4763281 h 6698675"/>
              <a:gd name="connsiteX2123" fmla="*/ 1430400 w 8267681"/>
              <a:gd name="connsiteY2123" fmla="*/ 4767979 h 6698675"/>
              <a:gd name="connsiteX2124" fmla="*/ 1432749 w 8267681"/>
              <a:gd name="connsiteY2124" fmla="*/ 4775025 h 6698675"/>
              <a:gd name="connsiteX2125" fmla="*/ 1425704 w 8267681"/>
              <a:gd name="connsiteY2125" fmla="*/ 4779722 h 6698675"/>
              <a:gd name="connsiteX2126" fmla="*/ 1421006 w 8267681"/>
              <a:gd name="connsiteY2126" fmla="*/ 4775025 h 6698675"/>
              <a:gd name="connsiteX2127" fmla="*/ 1421006 w 8267681"/>
              <a:gd name="connsiteY2127" fmla="*/ 4767979 h 6698675"/>
              <a:gd name="connsiteX2128" fmla="*/ 2917164 w 8267681"/>
              <a:gd name="connsiteY2128" fmla="*/ 4760933 h 6698675"/>
              <a:gd name="connsiteX2129" fmla="*/ 2903071 w 8267681"/>
              <a:gd name="connsiteY2129" fmla="*/ 4772676 h 6698675"/>
              <a:gd name="connsiteX2130" fmla="*/ 2905420 w 8267681"/>
              <a:gd name="connsiteY2130" fmla="*/ 4791467 h 6698675"/>
              <a:gd name="connsiteX2131" fmla="*/ 2917164 w 8267681"/>
              <a:gd name="connsiteY2131" fmla="*/ 4760933 h 6698675"/>
              <a:gd name="connsiteX2132" fmla="*/ 2954744 w 8267681"/>
              <a:gd name="connsiteY2132" fmla="*/ 4758584 h 6698675"/>
              <a:gd name="connsiteX2133" fmla="*/ 2950047 w 8267681"/>
              <a:gd name="connsiteY2133" fmla="*/ 4763281 h 6698675"/>
              <a:gd name="connsiteX2134" fmla="*/ 2954744 w 8267681"/>
              <a:gd name="connsiteY2134" fmla="*/ 4763281 h 6698675"/>
              <a:gd name="connsiteX2135" fmla="*/ 2957093 w 8267681"/>
              <a:gd name="connsiteY2135" fmla="*/ 4758584 h 6698675"/>
              <a:gd name="connsiteX2136" fmla="*/ 2954744 w 8267681"/>
              <a:gd name="connsiteY2136" fmla="*/ 4758584 h 6698675"/>
              <a:gd name="connsiteX2137" fmla="*/ 5564825 w 8267681"/>
              <a:gd name="connsiteY2137" fmla="*/ 4755648 h 6698675"/>
              <a:gd name="connsiteX2138" fmla="*/ 5547796 w 8267681"/>
              <a:gd name="connsiteY2138" fmla="*/ 4765630 h 6698675"/>
              <a:gd name="connsiteX2139" fmla="*/ 5566586 w 8267681"/>
              <a:gd name="connsiteY2139" fmla="*/ 4800862 h 6698675"/>
              <a:gd name="connsiteX2140" fmla="*/ 5592423 w 8267681"/>
              <a:gd name="connsiteY2140" fmla="*/ 4756235 h 6698675"/>
              <a:gd name="connsiteX2141" fmla="*/ 5564825 w 8267681"/>
              <a:gd name="connsiteY2141" fmla="*/ 4755648 h 6698675"/>
              <a:gd name="connsiteX2142" fmla="*/ 2682286 w 8267681"/>
              <a:gd name="connsiteY2142" fmla="*/ 4753886 h 6698675"/>
              <a:gd name="connsiteX2143" fmla="*/ 2663496 w 8267681"/>
              <a:gd name="connsiteY2143" fmla="*/ 4765630 h 6698675"/>
              <a:gd name="connsiteX2144" fmla="*/ 2698728 w 8267681"/>
              <a:gd name="connsiteY2144" fmla="*/ 4758584 h 6698675"/>
              <a:gd name="connsiteX2145" fmla="*/ 2682286 w 8267681"/>
              <a:gd name="connsiteY2145" fmla="*/ 4753886 h 6698675"/>
              <a:gd name="connsiteX2146" fmla="*/ 4857843 w 8267681"/>
              <a:gd name="connsiteY2146" fmla="*/ 4751537 h 6698675"/>
              <a:gd name="connsiteX2147" fmla="*/ 4847860 w 8267681"/>
              <a:gd name="connsiteY2147" fmla="*/ 4751538 h 6698675"/>
              <a:gd name="connsiteX2148" fmla="*/ 4864301 w 8267681"/>
              <a:gd name="connsiteY2148" fmla="*/ 4758584 h 6698675"/>
              <a:gd name="connsiteX2149" fmla="*/ 4857843 w 8267681"/>
              <a:gd name="connsiteY2149" fmla="*/ 4751537 h 6698675"/>
              <a:gd name="connsiteX2150" fmla="*/ 5925949 w 8267681"/>
              <a:gd name="connsiteY2150" fmla="*/ 4746840 h 6698675"/>
              <a:gd name="connsiteX2151" fmla="*/ 5998761 w 8267681"/>
              <a:gd name="connsiteY2151" fmla="*/ 4887767 h 6698675"/>
              <a:gd name="connsiteX2152" fmla="*/ 5965878 w 8267681"/>
              <a:gd name="connsiteY2152" fmla="*/ 4800862 h 6698675"/>
              <a:gd name="connsiteX2153" fmla="*/ 5925949 w 8267681"/>
              <a:gd name="connsiteY2153" fmla="*/ 4746840 h 6698675"/>
              <a:gd name="connsiteX2154" fmla="*/ 1503213 w 8267681"/>
              <a:gd name="connsiteY2154" fmla="*/ 4744490 h 6698675"/>
              <a:gd name="connsiteX2155" fmla="*/ 1510260 w 8267681"/>
              <a:gd name="connsiteY2155" fmla="*/ 4749188 h 6698675"/>
              <a:gd name="connsiteX2156" fmla="*/ 1510260 w 8267681"/>
              <a:gd name="connsiteY2156" fmla="*/ 4758583 h 6698675"/>
              <a:gd name="connsiteX2157" fmla="*/ 1500867 w 8267681"/>
              <a:gd name="connsiteY2157" fmla="*/ 4760931 h 6698675"/>
              <a:gd name="connsiteX2158" fmla="*/ 1498517 w 8267681"/>
              <a:gd name="connsiteY2158" fmla="*/ 4758583 h 6698675"/>
              <a:gd name="connsiteX2159" fmla="*/ 1498517 w 8267681"/>
              <a:gd name="connsiteY2159" fmla="*/ 4749188 h 6698675"/>
              <a:gd name="connsiteX2160" fmla="*/ 1418657 w 8267681"/>
              <a:gd name="connsiteY2160" fmla="*/ 4744490 h 6698675"/>
              <a:gd name="connsiteX2161" fmla="*/ 1425704 w 8267681"/>
              <a:gd name="connsiteY2161" fmla="*/ 4749188 h 6698675"/>
              <a:gd name="connsiteX2162" fmla="*/ 1418657 w 8267681"/>
              <a:gd name="connsiteY2162" fmla="*/ 4756234 h 6698675"/>
              <a:gd name="connsiteX2163" fmla="*/ 1411612 w 8267681"/>
              <a:gd name="connsiteY2163" fmla="*/ 4749188 h 6698675"/>
              <a:gd name="connsiteX2164" fmla="*/ 3745953 w 8267681"/>
              <a:gd name="connsiteY2164" fmla="*/ 4740308 h 6698675"/>
              <a:gd name="connsiteX2165" fmla="*/ 3739236 w 8267681"/>
              <a:gd name="connsiteY2165" fmla="*/ 4742143 h 6698675"/>
              <a:gd name="connsiteX2166" fmla="*/ 3746282 w 8267681"/>
              <a:gd name="connsiteY2166" fmla="*/ 4772676 h 6698675"/>
              <a:gd name="connsiteX2167" fmla="*/ 3745953 w 8267681"/>
              <a:gd name="connsiteY2167" fmla="*/ 4740308 h 6698675"/>
              <a:gd name="connsiteX2168" fmla="*/ 1282428 w 8267681"/>
              <a:gd name="connsiteY2168" fmla="*/ 4732746 h 6698675"/>
              <a:gd name="connsiteX2169" fmla="*/ 1291823 w 8267681"/>
              <a:gd name="connsiteY2169" fmla="*/ 4732746 h 6698675"/>
              <a:gd name="connsiteX2170" fmla="*/ 1294172 w 8267681"/>
              <a:gd name="connsiteY2170" fmla="*/ 4739792 h 6698675"/>
              <a:gd name="connsiteX2171" fmla="*/ 1291823 w 8267681"/>
              <a:gd name="connsiteY2171" fmla="*/ 4746839 h 6698675"/>
              <a:gd name="connsiteX2172" fmla="*/ 1282428 w 8267681"/>
              <a:gd name="connsiteY2172" fmla="*/ 4746839 h 6698675"/>
              <a:gd name="connsiteX2173" fmla="*/ 1277730 w 8267681"/>
              <a:gd name="connsiteY2173" fmla="*/ 4739792 h 6698675"/>
              <a:gd name="connsiteX2174" fmla="*/ 3043301 w 8267681"/>
              <a:gd name="connsiteY2174" fmla="*/ 4728086 h 6698675"/>
              <a:gd name="connsiteX2175" fmla="*/ 2978232 w 8267681"/>
              <a:gd name="connsiteY2175" fmla="*/ 4751538 h 6698675"/>
              <a:gd name="connsiteX2176" fmla="*/ 2973535 w 8267681"/>
              <a:gd name="connsiteY2176" fmla="*/ 4760933 h 6698675"/>
              <a:gd name="connsiteX2177" fmla="*/ 2982930 w 8267681"/>
              <a:gd name="connsiteY2177" fmla="*/ 4758584 h 6698675"/>
              <a:gd name="connsiteX2178" fmla="*/ 2982930 w 8267681"/>
              <a:gd name="connsiteY2178" fmla="*/ 4756235 h 6698675"/>
              <a:gd name="connsiteX2179" fmla="*/ 2985278 w 8267681"/>
              <a:gd name="connsiteY2179" fmla="*/ 4756235 h 6698675"/>
              <a:gd name="connsiteX2180" fmla="*/ 2992325 w 8267681"/>
              <a:gd name="connsiteY2180" fmla="*/ 4756235 h 6698675"/>
              <a:gd name="connsiteX2181" fmla="*/ 2992325 w 8267681"/>
              <a:gd name="connsiteY2181" fmla="*/ 4758584 h 6698675"/>
              <a:gd name="connsiteX2182" fmla="*/ 3008766 w 8267681"/>
              <a:gd name="connsiteY2182" fmla="*/ 4751538 h 6698675"/>
              <a:gd name="connsiteX2183" fmla="*/ 3065137 w 8267681"/>
              <a:gd name="connsiteY2183" fmla="*/ 4730399 h 6698675"/>
              <a:gd name="connsiteX2184" fmla="*/ 3043301 w 8267681"/>
              <a:gd name="connsiteY2184" fmla="*/ 4728086 h 6698675"/>
              <a:gd name="connsiteX2185" fmla="*/ 2769191 w 8267681"/>
              <a:gd name="connsiteY2185" fmla="*/ 4728050 h 6698675"/>
              <a:gd name="connsiteX2186" fmla="*/ 2759797 w 8267681"/>
              <a:gd name="connsiteY2186" fmla="*/ 4732747 h 6698675"/>
              <a:gd name="connsiteX2187" fmla="*/ 2755098 w 8267681"/>
              <a:gd name="connsiteY2187" fmla="*/ 4737445 h 6698675"/>
              <a:gd name="connsiteX2188" fmla="*/ 2769191 w 8267681"/>
              <a:gd name="connsiteY2188" fmla="*/ 4728050 h 6698675"/>
              <a:gd name="connsiteX2189" fmla="*/ 6004891 w 8267681"/>
              <a:gd name="connsiteY2189" fmla="*/ 4727059 h 6698675"/>
              <a:gd name="connsiteX2190" fmla="*/ 6010799 w 8267681"/>
              <a:gd name="connsiteY2190" fmla="*/ 4731867 h 6698675"/>
              <a:gd name="connsiteX2191" fmla="*/ 6010739 w 8267681"/>
              <a:gd name="connsiteY2191" fmla="*/ 4735416 h 6698675"/>
              <a:gd name="connsiteX2192" fmla="*/ 5999451 w 8267681"/>
              <a:gd name="connsiteY2192" fmla="*/ 4730023 h 6698675"/>
              <a:gd name="connsiteX2193" fmla="*/ 2512121 w 8267681"/>
              <a:gd name="connsiteY2193" fmla="*/ 4721047 h 6698675"/>
              <a:gd name="connsiteX2194" fmla="*/ 2506128 w 8267681"/>
              <a:gd name="connsiteY2194" fmla="*/ 4723352 h 6698675"/>
              <a:gd name="connsiteX2195" fmla="*/ 2506788 w 8267681"/>
              <a:gd name="connsiteY2195" fmla="*/ 4722680 h 6698675"/>
              <a:gd name="connsiteX2196" fmla="*/ 5597120 w 8267681"/>
              <a:gd name="connsiteY2196" fmla="*/ 4716306 h 6698675"/>
              <a:gd name="connsiteX2197" fmla="*/ 5618259 w 8267681"/>
              <a:gd name="connsiteY2197" fmla="*/ 4744491 h 6698675"/>
              <a:gd name="connsiteX2198" fmla="*/ 5627654 w 8267681"/>
              <a:gd name="connsiteY2198" fmla="*/ 4742143 h 6698675"/>
              <a:gd name="connsiteX2199" fmla="*/ 5627654 w 8267681"/>
              <a:gd name="connsiteY2199" fmla="*/ 4732747 h 6698675"/>
              <a:gd name="connsiteX2200" fmla="*/ 5597120 w 8267681"/>
              <a:gd name="connsiteY2200" fmla="*/ 4716306 h 6698675"/>
              <a:gd name="connsiteX2201" fmla="*/ 5493774 w 8267681"/>
              <a:gd name="connsiteY2201" fmla="*/ 4716306 h 6698675"/>
              <a:gd name="connsiteX2202" fmla="*/ 5496634 w 8267681"/>
              <a:gd name="connsiteY2202" fmla="*/ 4720547 h 6698675"/>
              <a:gd name="connsiteX2203" fmla="*/ 5485653 w 8267681"/>
              <a:gd name="connsiteY2203" fmla="*/ 4730296 h 6698675"/>
              <a:gd name="connsiteX2204" fmla="*/ 5486691 w 8267681"/>
              <a:gd name="connsiteY2204" fmla="*/ 4728784 h 6698675"/>
              <a:gd name="connsiteX2205" fmla="*/ 5493774 w 8267681"/>
              <a:gd name="connsiteY2205" fmla="*/ 4716306 h 6698675"/>
              <a:gd name="connsiteX2206" fmla="*/ 6491637 w 8267681"/>
              <a:gd name="connsiteY2206" fmla="*/ 4710392 h 6698675"/>
              <a:gd name="connsiteX2207" fmla="*/ 6501401 w 8267681"/>
              <a:gd name="connsiteY2207" fmla="*/ 4812606 h 6698675"/>
              <a:gd name="connsiteX2208" fmla="*/ 6499052 w 8267681"/>
              <a:gd name="connsiteY2208" fmla="*/ 4793815 h 6698675"/>
              <a:gd name="connsiteX2209" fmla="*/ 1364636 w 8267681"/>
              <a:gd name="connsiteY2209" fmla="*/ 4709260 h 6698675"/>
              <a:gd name="connsiteX2210" fmla="*/ 1390472 w 8267681"/>
              <a:gd name="connsiteY2210" fmla="*/ 4737445 h 6698675"/>
              <a:gd name="connsiteX2211" fmla="*/ 1388127 w 8267681"/>
              <a:gd name="connsiteY2211" fmla="*/ 4756236 h 6698675"/>
              <a:gd name="connsiteX2212" fmla="*/ 1404570 w 8267681"/>
              <a:gd name="connsiteY2212" fmla="*/ 4772677 h 6698675"/>
              <a:gd name="connsiteX2213" fmla="*/ 1413962 w 8267681"/>
              <a:gd name="connsiteY2213" fmla="*/ 4782072 h 6698675"/>
              <a:gd name="connsiteX2214" fmla="*/ 1413962 w 8267681"/>
              <a:gd name="connsiteY2214" fmla="*/ 4791467 h 6698675"/>
              <a:gd name="connsiteX2215" fmla="*/ 1416312 w 8267681"/>
              <a:gd name="connsiteY2215" fmla="*/ 4796165 h 6698675"/>
              <a:gd name="connsiteX2216" fmla="*/ 1425704 w 8267681"/>
              <a:gd name="connsiteY2216" fmla="*/ 4798514 h 6698675"/>
              <a:gd name="connsiteX2217" fmla="*/ 1428054 w 8267681"/>
              <a:gd name="connsiteY2217" fmla="*/ 4800863 h 6698675"/>
              <a:gd name="connsiteX2218" fmla="*/ 1418662 w 8267681"/>
              <a:gd name="connsiteY2218" fmla="*/ 4803211 h 6698675"/>
              <a:gd name="connsiteX2219" fmla="*/ 1409265 w 8267681"/>
              <a:gd name="connsiteY2219" fmla="*/ 4800863 h 6698675"/>
              <a:gd name="connsiteX2220" fmla="*/ 1383426 w 8267681"/>
              <a:gd name="connsiteY2220" fmla="*/ 4791467 h 6698675"/>
              <a:gd name="connsiteX2221" fmla="*/ 1381077 w 8267681"/>
              <a:gd name="connsiteY2221" fmla="*/ 4775026 h 6698675"/>
              <a:gd name="connsiteX2222" fmla="*/ 1381077 w 8267681"/>
              <a:gd name="connsiteY2222" fmla="*/ 4765631 h 6698675"/>
              <a:gd name="connsiteX2223" fmla="*/ 1378730 w 8267681"/>
              <a:gd name="connsiteY2223" fmla="*/ 4763282 h 6698675"/>
              <a:gd name="connsiteX2224" fmla="*/ 1369334 w 8267681"/>
              <a:gd name="connsiteY2224" fmla="*/ 4782072 h 6698675"/>
              <a:gd name="connsiteX2225" fmla="*/ 1359937 w 8267681"/>
              <a:gd name="connsiteY2225" fmla="*/ 4765631 h 6698675"/>
              <a:gd name="connsiteX2226" fmla="*/ 1371684 w 8267681"/>
              <a:gd name="connsiteY2226" fmla="*/ 4742143 h 6698675"/>
              <a:gd name="connsiteX2227" fmla="*/ 1359937 w 8267681"/>
              <a:gd name="connsiteY2227" fmla="*/ 4713958 h 6698675"/>
              <a:gd name="connsiteX2228" fmla="*/ 1364636 w 8267681"/>
              <a:gd name="connsiteY2228" fmla="*/ 4709260 h 6698675"/>
              <a:gd name="connsiteX2229" fmla="*/ 1874309 w 8267681"/>
              <a:gd name="connsiteY2229" fmla="*/ 4706911 h 6698675"/>
              <a:gd name="connsiteX2230" fmla="*/ 1867266 w 8267681"/>
              <a:gd name="connsiteY2230" fmla="*/ 4713957 h 6698675"/>
              <a:gd name="connsiteX2231" fmla="*/ 1874309 w 8267681"/>
              <a:gd name="connsiteY2231" fmla="*/ 4721003 h 6698675"/>
              <a:gd name="connsiteX2232" fmla="*/ 1881358 w 8267681"/>
              <a:gd name="connsiteY2232" fmla="*/ 4713957 h 6698675"/>
              <a:gd name="connsiteX2233" fmla="*/ 2961791 w 8267681"/>
              <a:gd name="connsiteY2233" fmla="*/ 4704562 h 6698675"/>
              <a:gd name="connsiteX2234" fmla="*/ 2961791 w 8267681"/>
              <a:gd name="connsiteY2234" fmla="*/ 4709259 h 6698675"/>
              <a:gd name="connsiteX2235" fmla="*/ 2964139 w 8267681"/>
              <a:gd name="connsiteY2235" fmla="*/ 4709259 h 6698675"/>
              <a:gd name="connsiteX2236" fmla="*/ 2961791 w 8267681"/>
              <a:gd name="connsiteY2236" fmla="*/ 4704562 h 6698675"/>
              <a:gd name="connsiteX2237" fmla="*/ 5533703 w 8267681"/>
              <a:gd name="connsiteY2237" fmla="*/ 4699865 h 6698675"/>
              <a:gd name="connsiteX2238" fmla="*/ 5529006 w 8267681"/>
              <a:gd name="connsiteY2238" fmla="*/ 4711608 h 6698675"/>
              <a:gd name="connsiteX2239" fmla="*/ 5538401 w 8267681"/>
              <a:gd name="connsiteY2239" fmla="*/ 4723352 h 6698675"/>
              <a:gd name="connsiteX2240" fmla="*/ 5547796 w 8267681"/>
              <a:gd name="connsiteY2240" fmla="*/ 4699865 h 6698675"/>
              <a:gd name="connsiteX2241" fmla="*/ 5533703 w 8267681"/>
              <a:gd name="connsiteY2241" fmla="*/ 4699865 h 6698675"/>
              <a:gd name="connsiteX2242" fmla="*/ 1604209 w 8267681"/>
              <a:gd name="connsiteY2242" fmla="*/ 4695166 h 6698675"/>
              <a:gd name="connsiteX2243" fmla="*/ 1608908 w 8267681"/>
              <a:gd name="connsiteY2243" fmla="*/ 4702212 h 6698675"/>
              <a:gd name="connsiteX2244" fmla="*/ 1604209 w 8267681"/>
              <a:gd name="connsiteY2244" fmla="*/ 4709259 h 6698675"/>
              <a:gd name="connsiteX2245" fmla="*/ 1597165 w 8267681"/>
              <a:gd name="connsiteY2245" fmla="*/ 4702212 h 6698675"/>
              <a:gd name="connsiteX2246" fmla="*/ 1273032 w 8267681"/>
              <a:gd name="connsiteY2246" fmla="*/ 4695166 h 6698675"/>
              <a:gd name="connsiteX2247" fmla="*/ 1284778 w 8267681"/>
              <a:gd name="connsiteY2247" fmla="*/ 4695166 h 6698675"/>
              <a:gd name="connsiteX2248" fmla="*/ 1291821 w 8267681"/>
              <a:gd name="connsiteY2248" fmla="*/ 4704561 h 6698675"/>
              <a:gd name="connsiteX2249" fmla="*/ 1291821 w 8267681"/>
              <a:gd name="connsiteY2249" fmla="*/ 4716305 h 6698675"/>
              <a:gd name="connsiteX2250" fmla="*/ 1282428 w 8267681"/>
              <a:gd name="connsiteY2250" fmla="*/ 4716305 h 6698675"/>
              <a:gd name="connsiteX2251" fmla="*/ 1280078 w 8267681"/>
              <a:gd name="connsiteY2251" fmla="*/ 4711607 h 6698675"/>
              <a:gd name="connsiteX2252" fmla="*/ 1172038 w 8267681"/>
              <a:gd name="connsiteY2252" fmla="*/ 4692817 h 6698675"/>
              <a:gd name="connsiteX2253" fmla="*/ 1181432 w 8267681"/>
              <a:gd name="connsiteY2253" fmla="*/ 4692817 h 6698675"/>
              <a:gd name="connsiteX2254" fmla="*/ 1172038 w 8267681"/>
              <a:gd name="connsiteY2254" fmla="*/ 4704561 h 6698675"/>
              <a:gd name="connsiteX2255" fmla="*/ 1169688 w 8267681"/>
              <a:gd name="connsiteY2255" fmla="*/ 4695166 h 6698675"/>
              <a:gd name="connsiteX2256" fmla="*/ 1235452 w 8267681"/>
              <a:gd name="connsiteY2256" fmla="*/ 4690468 h 6698675"/>
              <a:gd name="connsiteX2257" fmla="*/ 1237800 w 8267681"/>
              <a:gd name="connsiteY2257" fmla="*/ 4695166 h 6698675"/>
              <a:gd name="connsiteX2258" fmla="*/ 1237800 w 8267681"/>
              <a:gd name="connsiteY2258" fmla="*/ 4704561 h 6698675"/>
              <a:gd name="connsiteX2259" fmla="*/ 1233102 w 8267681"/>
              <a:gd name="connsiteY2259" fmla="*/ 4709258 h 6698675"/>
              <a:gd name="connsiteX2260" fmla="*/ 1223708 w 8267681"/>
              <a:gd name="connsiteY2260" fmla="*/ 4713956 h 6698675"/>
              <a:gd name="connsiteX2261" fmla="*/ 1219010 w 8267681"/>
              <a:gd name="connsiteY2261" fmla="*/ 4704561 h 6698675"/>
              <a:gd name="connsiteX2262" fmla="*/ 1223708 w 8267681"/>
              <a:gd name="connsiteY2262" fmla="*/ 4695166 h 6698675"/>
              <a:gd name="connsiteX2263" fmla="*/ 3034604 w 8267681"/>
              <a:gd name="connsiteY2263" fmla="*/ 4688121 h 6698675"/>
              <a:gd name="connsiteX2264" fmla="*/ 3022859 w 8267681"/>
              <a:gd name="connsiteY2264" fmla="*/ 4690469 h 6698675"/>
              <a:gd name="connsiteX2265" fmla="*/ 3013464 w 8267681"/>
              <a:gd name="connsiteY2265" fmla="*/ 4699865 h 6698675"/>
              <a:gd name="connsiteX2266" fmla="*/ 3018161 w 8267681"/>
              <a:gd name="connsiteY2266" fmla="*/ 4690469 h 6698675"/>
              <a:gd name="connsiteX2267" fmla="*/ 3004069 w 8267681"/>
              <a:gd name="connsiteY2267" fmla="*/ 4695167 h 6698675"/>
              <a:gd name="connsiteX2268" fmla="*/ 3004069 w 8267681"/>
              <a:gd name="connsiteY2268" fmla="*/ 4697516 h 6698675"/>
              <a:gd name="connsiteX2269" fmla="*/ 2994674 w 8267681"/>
              <a:gd name="connsiteY2269" fmla="*/ 4709259 h 6698675"/>
              <a:gd name="connsiteX2270" fmla="*/ 3006417 w 8267681"/>
              <a:gd name="connsiteY2270" fmla="*/ 4709259 h 6698675"/>
              <a:gd name="connsiteX2271" fmla="*/ 3013464 w 8267681"/>
              <a:gd name="connsiteY2271" fmla="*/ 4704562 h 6698675"/>
              <a:gd name="connsiteX2272" fmla="*/ 3013464 w 8267681"/>
              <a:gd name="connsiteY2272" fmla="*/ 4706911 h 6698675"/>
              <a:gd name="connsiteX2273" fmla="*/ 3034604 w 8267681"/>
              <a:gd name="connsiteY2273" fmla="*/ 4688121 h 6698675"/>
              <a:gd name="connsiteX2274" fmla="*/ 6489287 w 8267681"/>
              <a:gd name="connsiteY2274" fmla="*/ 4685794 h 6698675"/>
              <a:gd name="connsiteX2275" fmla="*/ 6489657 w 8267681"/>
              <a:gd name="connsiteY2275" fmla="*/ 4688120 h 6698675"/>
              <a:gd name="connsiteX2276" fmla="*/ 6491637 w 8267681"/>
              <a:gd name="connsiteY2276" fmla="*/ 4710392 h 6698675"/>
              <a:gd name="connsiteX2277" fmla="*/ 1343499 w 8267681"/>
              <a:gd name="connsiteY2277" fmla="*/ 4683422 h 6698675"/>
              <a:gd name="connsiteX2278" fmla="*/ 1345844 w 8267681"/>
              <a:gd name="connsiteY2278" fmla="*/ 4690468 h 6698675"/>
              <a:gd name="connsiteX2279" fmla="*/ 1341149 w 8267681"/>
              <a:gd name="connsiteY2279" fmla="*/ 4692817 h 6698675"/>
              <a:gd name="connsiteX2280" fmla="*/ 1338799 w 8267681"/>
              <a:gd name="connsiteY2280" fmla="*/ 4690468 h 6698675"/>
              <a:gd name="connsiteX2281" fmla="*/ 1012319 w 8267681"/>
              <a:gd name="connsiteY2281" fmla="*/ 4664633 h 6698675"/>
              <a:gd name="connsiteX2282" fmla="*/ 1021714 w 8267681"/>
              <a:gd name="connsiteY2282" fmla="*/ 4666982 h 6698675"/>
              <a:gd name="connsiteX2283" fmla="*/ 1017014 w 8267681"/>
              <a:gd name="connsiteY2283" fmla="*/ 4685772 h 6698675"/>
              <a:gd name="connsiteX2284" fmla="*/ 1024062 w 8267681"/>
              <a:gd name="connsiteY2284" fmla="*/ 4702213 h 6698675"/>
              <a:gd name="connsiteX2285" fmla="*/ 1019363 w 8267681"/>
              <a:gd name="connsiteY2285" fmla="*/ 4709260 h 6698675"/>
              <a:gd name="connsiteX2286" fmla="*/ 1014664 w 8267681"/>
              <a:gd name="connsiteY2286" fmla="*/ 4702213 h 6698675"/>
              <a:gd name="connsiteX2287" fmla="*/ 1007619 w 8267681"/>
              <a:gd name="connsiteY2287" fmla="*/ 4692818 h 6698675"/>
              <a:gd name="connsiteX2288" fmla="*/ 1359937 w 8267681"/>
              <a:gd name="connsiteY2288" fmla="*/ 4664632 h 6698675"/>
              <a:gd name="connsiteX2289" fmla="*/ 1388127 w 8267681"/>
              <a:gd name="connsiteY2289" fmla="*/ 4664632 h 6698675"/>
              <a:gd name="connsiteX2290" fmla="*/ 1395172 w 8267681"/>
              <a:gd name="connsiteY2290" fmla="*/ 4674027 h 6698675"/>
              <a:gd name="connsiteX2291" fmla="*/ 1385777 w 8267681"/>
              <a:gd name="connsiteY2291" fmla="*/ 4678725 h 6698675"/>
              <a:gd name="connsiteX2292" fmla="*/ 1371684 w 8267681"/>
              <a:gd name="connsiteY2292" fmla="*/ 4683422 h 6698675"/>
              <a:gd name="connsiteX2293" fmla="*/ 1362287 w 8267681"/>
              <a:gd name="connsiteY2293" fmla="*/ 4676376 h 6698675"/>
              <a:gd name="connsiteX2294" fmla="*/ 1359937 w 8267681"/>
              <a:gd name="connsiteY2294" fmla="*/ 4674027 h 6698675"/>
              <a:gd name="connsiteX2295" fmla="*/ 1071040 w 8267681"/>
              <a:gd name="connsiteY2295" fmla="*/ 4664632 h 6698675"/>
              <a:gd name="connsiteX2296" fmla="*/ 1078084 w 8267681"/>
              <a:gd name="connsiteY2296" fmla="*/ 4669330 h 6698675"/>
              <a:gd name="connsiteX2297" fmla="*/ 1071040 w 8267681"/>
              <a:gd name="connsiteY2297" fmla="*/ 4678725 h 6698675"/>
              <a:gd name="connsiteX2298" fmla="*/ 1066340 w 8267681"/>
              <a:gd name="connsiteY2298" fmla="*/ 4669330 h 6698675"/>
              <a:gd name="connsiteX2299" fmla="*/ 1273032 w 8267681"/>
              <a:gd name="connsiteY2299" fmla="*/ 4662283 h 6698675"/>
              <a:gd name="connsiteX2300" fmla="*/ 1301221 w 8267681"/>
              <a:gd name="connsiteY2300" fmla="*/ 4662283 h 6698675"/>
              <a:gd name="connsiteX2301" fmla="*/ 1291821 w 8267681"/>
              <a:gd name="connsiteY2301" fmla="*/ 4671678 h 6698675"/>
              <a:gd name="connsiteX2302" fmla="*/ 1282428 w 8267681"/>
              <a:gd name="connsiteY2302" fmla="*/ 4671678 h 6698675"/>
              <a:gd name="connsiteX2303" fmla="*/ 876088 w 8267681"/>
              <a:gd name="connsiteY2303" fmla="*/ 4657585 h 6698675"/>
              <a:gd name="connsiteX2304" fmla="*/ 883136 w 8267681"/>
              <a:gd name="connsiteY2304" fmla="*/ 4666980 h 6698675"/>
              <a:gd name="connsiteX2305" fmla="*/ 883136 w 8267681"/>
              <a:gd name="connsiteY2305" fmla="*/ 4674026 h 6698675"/>
              <a:gd name="connsiteX2306" fmla="*/ 876088 w 8267681"/>
              <a:gd name="connsiteY2306" fmla="*/ 4678724 h 6698675"/>
              <a:gd name="connsiteX2307" fmla="*/ 1209615 w 8267681"/>
              <a:gd name="connsiteY2307" fmla="*/ 4650539 h 6698675"/>
              <a:gd name="connsiteX2308" fmla="*/ 1209615 w 8267681"/>
              <a:gd name="connsiteY2308" fmla="*/ 4652888 h 6698675"/>
              <a:gd name="connsiteX2309" fmla="*/ 1207265 w 8267681"/>
              <a:gd name="connsiteY2309" fmla="*/ 4659934 h 6698675"/>
              <a:gd name="connsiteX2310" fmla="*/ 1197873 w 8267681"/>
              <a:gd name="connsiteY2310" fmla="*/ 4659934 h 6698675"/>
              <a:gd name="connsiteX2311" fmla="*/ 1197873 w 8267681"/>
              <a:gd name="connsiteY2311" fmla="*/ 4652888 h 6698675"/>
              <a:gd name="connsiteX2312" fmla="*/ 2654101 w 8267681"/>
              <a:gd name="connsiteY2312" fmla="*/ 4643494 h 6698675"/>
              <a:gd name="connsiteX2313" fmla="*/ 2632963 w 8267681"/>
              <a:gd name="connsiteY2313" fmla="*/ 4652889 h 6698675"/>
              <a:gd name="connsiteX2314" fmla="*/ 2649403 w 8267681"/>
              <a:gd name="connsiteY2314" fmla="*/ 4662284 h 6698675"/>
              <a:gd name="connsiteX2315" fmla="*/ 2654101 w 8267681"/>
              <a:gd name="connsiteY2315" fmla="*/ 4643494 h 6698675"/>
              <a:gd name="connsiteX2316" fmla="*/ 1341149 w 8267681"/>
              <a:gd name="connsiteY2316" fmla="*/ 4638796 h 6698675"/>
              <a:gd name="connsiteX2317" fmla="*/ 1348194 w 8267681"/>
              <a:gd name="connsiteY2317" fmla="*/ 4641145 h 6698675"/>
              <a:gd name="connsiteX2318" fmla="*/ 1348194 w 8267681"/>
              <a:gd name="connsiteY2318" fmla="*/ 4666981 h 6698675"/>
              <a:gd name="connsiteX2319" fmla="*/ 1343499 w 8267681"/>
              <a:gd name="connsiteY2319" fmla="*/ 4669330 h 6698675"/>
              <a:gd name="connsiteX2320" fmla="*/ 1334102 w 8267681"/>
              <a:gd name="connsiteY2320" fmla="*/ 4669330 h 6698675"/>
              <a:gd name="connsiteX2321" fmla="*/ 1329406 w 8267681"/>
              <a:gd name="connsiteY2321" fmla="*/ 4664633 h 6698675"/>
              <a:gd name="connsiteX2322" fmla="*/ 1329406 w 8267681"/>
              <a:gd name="connsiteY2322" fmla="*/ 4655237 h 6698675"/>
              <a:gd name="connsiteX2323" fmla="*/ 1132110 w 8267681"/>
              <a:gd name="connsiteY2323" fmla="*/ 4638795 h 6698675"/>
              <a:gd name="connsiteX2324" fmla="*/ 1141503 w 8267681"/>
              <a:gd name="connsiteY2324" fmla="*/ 4641144 h 6698675"/>
              <a:gd name="connsiteX2325" fmla="*/ 1146203 w 8267681"/>
              <a:gd name="connsiteY2325" fmla="*/ 4648190 h 6698675"/>
              <a:gd name="connsiteX2326" fmla="*/ 1141503 w 8267681"/>
              <a:gd name="connsiteY2326" fmla="*/ 4650539 h 6698675"/>
              <a:gd name="connsiteX2327" fmla="*/ 1132110 w 8267681"/>
              <a:gd name="connsiteY2327" fmla="*/ 4652888 h 6698675"/>
              <a:gd name="connsiteX2328" fmla="*/ 1122711 w 8267681"/>
              <a:gd name="connsiteY2328" fmla="*/ 4652888 h 6698675"/>
              <a:gd name="connsiteX2329" fmla="*/ 1120361 w 8267681"/>
              <a:gd name="connsiteY2329" fmla="*/ 4645841 h 6698675"/>
              <a:gd name="connsiteX2330" fmla="*/ 1122711 w 8267681"/>
              <a:gd name="connsiteY2330" fmla="*/ 4643493 h 6698675"/>
              <a:gd name="connsiteX2331" fmla="*/ 2903071 w 8267681"/>
              <a:gd name="connsiteY2331" fmla="*/ 4631750 h 6698675"/>
              <a:gd name="connsiteX2332" fmla="*/ 2903071 w 8267681"/>
              <a:gd name="connsiteY2332" fmla="*/ 4641145 h 6698675"/>
              <a:gd name="connsiteX2333" fmla="*/ 2921861 w 8267681"/>
              <a:gd name="connsiteY2333" fmla="*/ 4641145 h 6698675"/>
              <a:gd name="connsiteX2334" fmla="*/ 2910118 w 8267681"/>
              <a:gd name="connsiteY2334" fmla="*/ 4631750 h 6698675"/>
              <a:gd name="connsiteX2335" fmla="*/ 2903071 w 8267681"/>
              <a:gd name="connsiteY2335" fmla="*/ 4631750 h 6698675"/>
              <a:gd name="connsiteX2336" fmla="*/ 1565848 w 8267681"/>
              <a:gd name="connsiteY2336" fmla="*/ 4629401 h 6698675"/>
              <a:gd name="connsiteX2337" fmla="*/ 1566630 w 8267681"/>
              <a:gd name="connsiteY2337" fmla="*/ 4629401 h 6698675"/>
              <a:gd name="connsiteX2338" fmla="*/ 1570425 w 8267681"/>
              <a:gd name="connsiteY2338" fmla="*/ 4631930 h 6698675"/>
              <a:gd name="connsiteX2339" fmla="*/ 1568980 w 8267681"/>
              <a:gd name="connsiteY2339" fmla="*/ 4634098 h 6698675"/>
              <a:gd name="connsiteX2340" fmla="*/ 1164996 w 8267681"/>
              <a:gd name="connsiteY2340" fmla="*/ 4629400 h 6698675"/>
              <a:gd name="connsiteX2341" fmla="*/ 1183780 w 8267681"/>
              <a:gd name="connsiteY2341" fmla="*/ 4629400 h 6698675"/>
              <a:gd name="connsiteX2342" fmla="*/ 1183780 w 8267681"/>
              <a:gd name="connsiteY2342" fmla="*/ 4638795 h 6698675"/>
              <a:gd name="connsiteX2343" fmla="*/ 1174388 w 8267681"/>
              <a:gd name="connsiteY2343" fmla="*/ 4645841 h 6698675"/>
              <a:gd name="connsiteX2344" fmla="*/ 1164996 w 8267681"/>
              <a:gd name="connsiteY2344" fmla="*/ 4641144 h 6698675"/>
              <a:gd name="connsiteX2345" fmla="*/ 1160296 w 8267681"/>
              <a:gd name="connsiteY2345" fmla="*/ 4636446 h 6698675"/>
              <a:gd name="connsiteX2346" fmla="*/ 1458590 w 8267681"/>
              <a:gd name="connsiteY2346" fmla="*/ 4627051 h 6698675"/>
              <a:gd name="connsiteX2347" fmla="*/ 1467982 w 8267681"/>
              <a:gd name="connsiteY2347" fmla="*/ 4643492 h 6698675"/>
              <a:gd name="connsiteX2348" fmla="*/ 1460934 w 8267681"/>
              <a:gd name="connsiteY2348" fmla="*/ 4652888 h 6698675"/>
              <a:gd name="connsiteX2349" fmla="*/ 1479726 w 8267681"/>
              <a:gd name="connsiteY2349" fmla="*/ 4678724 h 6698675"/>
              <a:gd name="connsiteX2350" fmla="*/ 1493818 w 8267681"/>
              <a:gd name="connsiteY2350" fmla="*/ 4690468 h 6698675"/>
              <a:gd name="connsiteX2351" fmla="*/ 1500867 w 8267681"/>
              <a:gd name="connsiteY2351" fmla="*/ 4685771 h 6698675"/>
              <a:gd name="connsiteX2352" fmla="*/ 1496167 w 8267681"/>
              <a:gd name="connsiteY2352" fmla="*/ 4676376 h 6698675"/>
              <a:gd name="connsiteX2353" fmla="*/ 1510260 w 8267681"/>
              <a:gd name="connsiteY2353" fmla="*/ 4669329 h 6698675"/>
              <a:gd name="connsiteX2354" fmla="*/ 1512610 w 8267681"/>
              <a:gd name="connsiteY2354" fmla="*/ 4676376 h 6698675"/>
              <a:gd name="connsiteX2355" fmla="*/ 1503213 w 8267681"/>
              <a:gd name="connsiteY2355" fmla="*/ 4685771 h 6698675"/>
              <a:gd name="connsiteX2356" fmla="*/ 1512610 w 8267681"/>
              <a:gd name="connsiteY2356" fmla="*/ 4702212 h 6698675"/>
              <a:gd name="connsiteX2357" fmla="*/ 1484425 w 8267681"/>
              <a:gd name="connsiteY2357" fmla="*/ 4709258 h 6698675"/>
              <a:gd name="connsiteX2358" fmla="*/ 1475028 w 8267681"/>
              <a:gd name="connsiteY2358" fmla="*/ 4702212 h 6698675"/>
              <a:gd name="connsiteX2359" fmla="*/ 1470332 w 8267681"/>
              <a:gd name="connsiteY2359" fmla="*/ 4718654 h 6698675"/>
              <a:gd name="connsiteX2360" fmla="*/ 1491468 w 8267681"/>
              <a:gd name="connsiteY2360" fmla="*/ 4718654 h 6698675"/>
              <a:gd name="connsiteX2361" fmla="*/ 1517305 w 8267681"/>
              <a:gd name="connsiteY2361" fmla="*/ 4721002 h 6698675"/>
              <a:gd name="connsiteX2362" fmla="*/ 1533749 w 8267681"/>
              <a:gd name="connsiteY2362" fmla="*/ 4692817 h 6698675"/>
              <a:gd name="connsiteX2363" fmla="*/ 1554887 w 8267681"/>
              <a:gd name="connsiteY2363" fmla="*/ 4711607 h 6698675"/>
              <a:gd name="connsiteX2364" fmla="*/ 1547841 w 8267681"/>
              <a:gd name="connsiteY2364" fmla="*/ 4728049 h 6698675"/>
              <a:gd name="connsiteX2365" fmla="*/ 1559588 w 8267681"/>
              <a:gd name="connsiteY2365" fmla="*/ 4725700 h 6698675"/>
              <a:gd name="connsiteX2366" fmla="*/ 1561931 w 8267681"/>
              <a:gd name="connsiteY2366" fmla="*/ 4728049 h 6698675"/>
              <a:gd name="connsiteX2367" fmla="*/ 1568980 w 8267681"/>
              <a:gd name="connsiteY2367" fmla="*/ 4737444 h 6698675"/>
              <a:gd name="connsiteX2368" fmla="*/ 1550189 w 8267681"/>
              <a:gd name="connsiteY2368" fmla="*/ 4744490 h 6698675"/>
              <a:gd name="connsiteX2369" fmla="*/ 1538446 w 8267681"/>
              <a:gd name="connsiteY2369" fmla="*/ 4739793 h 6698675"/>
              <a:gd name="connsiteX2370" fmla="*/ 1522003 w 8267681"/>
              <a:gd name="connsiteY2370" fmla="*/ 4746839 h 6698675"/>
              <a:gd name="connsiteX2371" fmla="*/ 1505561 w 8267681"/>
              <a:gd name="connsiteY2371" fmla="*/ 4732746 h 6698675"/>
              <a:gd name="connsiteX2372" fmla="*/ 1496167 w 8267681"/>
              <a:gd name="connsiteY2372" fmla="*/ 4746839 h 6698675"/>
              <a:gd name="connsiteX2373" fmla="*/ 1465632 w 8267681"/>
              <a:gd name="connsiteY2373" fmla="*/ 4730398 h 6698675"/>
              <a:gd name="connsiteX2374" fmla="*/ 1446842 w 8267681"/>
              <a:gd name="connsiteY2374" fmla="*/ 4746839 h 6698675"/>
              <a:gd name="connsiteX2375" fmla="*/ 1444497 w 8267681"/>
              <a:gd name="connsiteY2375" fmla="*/ 4772675 h 6698675"/>
              <a:gd name="connsiteX2376" fmla="*/ 1449189 w 8267681"/>
              <a:gd name="connsiteY2376" fmla="*/ 4789117 h 6698675"/>
              <a:gd name="connsiteX2377" fmla="*/ 1444497 w 8267681"/>
              <a:gd name="connsiteY2377" fmla="*/ 4805558 h 6698675"/>
              <a:gd name="connsiteX2378" fmla="*/ 1451539 w 8267681"/>
              <a:gd name="connsiteY2378" fmla="*/ 4812605 h 6698675"/>
              <a:gd name="connsiteX2379" fmla="*/ 1460934 w 8267681"/>
              <a:gd name="connsiteY2379" fmla="*/ 4807907 h 6698675"/>
              <a:gd name="connsiteX2380" fmla="*/ 1460934 w 8267681"/>
              <a:gd name="connsiteY2380" fmla="*/ 4822000 h 6698675"/>
              <a:gd name="connsiteX2381" fmla="*/ 1451539 w 8267681"/>
              <a:gd name="connsiteY2381" fmla="*/ 4822000 h 6698675"/>
              <a:gd name="connsiteX2382" fmla="*/ 1444497 w 8267681"/>
              <a:gd name="connsiteY2382" fmla="*/ 4807907 h 6698675"/>
              <a:gd name="connsiteX2383" fmla="*/ 1437447 w 8267681"/>
              <a:gd name="connsiteY2383" fmla="*/ 4814953 h 6698675"/>
              <a:gd name="connsiteX2384" fmla="*/ 1435098 w 8267681"/>
              <a:gd name="connsiteY2384" fmla="*/ 4782071 h 6698675"/>
              <a:gd name="connsiteX2385" fmla="*/ 1437447 w 8267681"/>
              <a:gd name="connsiteY2385" fmla="*/ 4772675 h 6698675"/>
              <a:gd name="connsiteX2386" fmla="*/ 1432749 w 8267681"/>
              <a:gd name="connsiteY2386" fmla="*/ 4763280 h 6698675"/>
              <a:gd name="connsiteX2387" fmla="*/ 1463283 w 8267681"/>
              <a:gd name="connsiteY2387" fmla="*/ 4704561 h 6698675"/>
              <a:gd name="connsiteX2388" fmla="*/ 1467982 w 8267681"/>
              <a:gd name="connsiteY2388" fmla="*/ 4699863 h 6698675"/>
              <a:gd name="connsiteX2389" fmla="*/ 1477377 w 8267681"/>
              <a:gd name="connsiteY2389" fmla="*/ 4688119 h 6698675"/>
              <a:gd name="connsiteX2390" fmla="*/ 1463283 w 8267681"/>
              <a:gd name="connsiteY2390" fmla="*/ 4688119 h 6698675"/>
              <a:gd name="connsiteX2391" fmla="*/ 1446842 w 8267681"/>
              <a:gd name="connsiteY2391" fmla="*/ 4685771 h 6698675"/>
              <a:gd name="connsiteX2392" fmla="*/ 1453889 w 8267681"/>
              <a:gd name="connsiteY2392" fmla="*/ 4659934 h 6698675"/>
              <a:gd name="connsiteX2393" fmla="*/ 1451539 w 8267681"/>
              <a:gd name="connsiteY2393" fmla="*/ 4634097 h 6698675"/>
              <a:gd name="connsiteX2394" fmla="*/ 1458590 w 8267681"/>
              <a:gd name="connsiteY2394" fmla="*/ 4627051 h 6698675"/>
              <a:gd name="connsiteX2395" fmla="*/ 970042 w 8267681"/>
              <a:gd name="connsiteY2395" fmla="*/ 4624703 h 6698675"/>
              <a:gd name="connsiteX2396" fmla="*/ 974738 w 8267681"/>
              <a:gd name="connsiteY2396" fmla="*/ 4634098 h 6698675"/>
              <a:gd name="connsiteX2397" fmla="*/ 970042 w 8267681"/>
              <a:gd name="connsiteY2397" fmla="*/ 4638796 h 6698675"/>
              <a:gd name="connsiteX2398" fmla="*/ 962993 w 8267681"/>
              <a:gd name="connsiteY2398" fmla="*/ 4634098 h 6698675"/>
              <a:gd name="connsiteX2399" fmla="*/ 1275381 w 8267681"/>
              <a:gd name="connsiteY2399" fmla="*/ 4622355 h 6698675"/>
              <a:gd name="connsiteX2400" fmla="*/ 1296521 w 8267681"/>
              <a:gd name="connsiteY2400" fmla="*/ 4638796 h 6698675"/>
              <a:gd name="connsiteX2401" fmla="*/ 1291823 w 8267681"/>
              <a:gd name="connsiteY2401" fmla="*/ 4648192 h 6698675"/>
              <a:gd name="connsiteX2402" fmla="*/ 1249545 w 8267681"/>
              <a:gd name="connsiteY2402" fmla="*/ 4662284 h 6698675"/>
              <a:gd name="connsiteX2403" fmla="*/ 1240151 w 8267681"/>
              <a:gd name="connsiteY2403" fmla="*/ 4657587 h 6698675"/>
              <a:gd name="connsiteX2404" fmla="*/ 1265986 w 8267681"/>
              <a:gd name="connsiteY2404" fmla="*/ 4631750 h 6698675"/>
              <a:gd name="connsiteX2405" fmla="*/ 1275381 w 8267681"/>
              <a:gd name="connsiteY2405" fmla="*/ 4622355 h 6698675"/>
              <a:gd name="connsiteX2406" fmla="*/ 2957093 w 8267681"/>
              <a:gd name="connsiteY2406" fmla="*/ 4620006 h 6698675"/>
              <a:gd name="connsiteX2407" fmla="*/ 2950047 w 8267681"/>
              <a:gd name="connsiteY2407" fmla="*/ 4622355 h 6698675"/>
              <a:gd name="connsiteX2408" fmla="*/ 2950047 w 8267681"/>
              <a:gd name="connsiteY2408" fmla="*/ 4627052 h 6698675"/>
              <a:gd name="connsiteX2409" fmla="*/ 2957093 w 8267681"/>
              <a:gd name="connsiteY2409" fmla="*/ 4622355 h 6698675"/>
              <a:gd name="connsiteX2410" fmla="*/ 2957093 w 8267681"/>
              <a:gd name="connsiteY2410" fmla="*/ 4620006 h 6698675"/>
              <a:gd name="connsiteX2411" fmla="*/ 2658799 w 8267681"/>
              <a:gd name="connsiteY2411" fmla="*/ 4620006 h 6698675"/>
              <a:gd name="connsiteX2412" fmla="*/ 2618869 w 8267681"/>
              <a:gd name="connsiteY2412" fmla="*/ 4643494 h 6698675"/>
              <a:gd name="connsiteX2413" fmla="*/ 2654101 w 8267681"/>
              <a:gd name="connsiteY2413" fmla="*/ 4636448 h 6698675"/>
              <a:gd name="connsiteX2414" fmla="*/ 2658799 w 8267681"/>
              <a:gd name="connsiteY2414" fmla="*/ 4620006 h 6698675"/>
              <a:gd name="connsiteX2415" fmla="*/ 885486 w 8267681"/>
              <a:gd name="connsiteY2415" fmla="*/ 4617656 h 6698675"/>
              <a:gd name="connsiteX2416" fmla="*/ 890181 w 8267681"/>
              <a:gd name="connsiteY2416" fmla="*/ 4624702 h 6698675"/>
              <a:gd name="connsiteX2417" fmla="*/ 885486 w 8267681"/>
              <a:gd name="connsiteY2417" fmla="*/ 4627051 h 6698675"/>
              <a:gd name="connsiteX2418" fmla="*/ 878437 w 8267681"/>
              <a:gd name="connsiteY2418" fmla="*/ 4624702 h 6698675"/>
              <a:gd name="connsiteX2419" fmla="*/ 1080432 w 8267681"/>
              <a:gd name="connsiteY2419" fmla="*/ 4615307 h 6698675"/>
              <a:gd name="connsiteX2420" fmla="*/ 1082782 w 8267681"/>
              <a:gd name="connsiteY2420" fmla="*/ 4617656 h 6698675"/>
              <a:gd name="connsiteX2421" fmla="*/ 1080432 w 8267681"/>
              <a:gd name="connsiteY2421" fmla="*/ 4634097 h 6698675"/>
              <a:gd name="connsiteX2422" fmla="*/ 1073390 w 8267681"/>
              <a:gd name="connsiteY2422" fmla="*/ 4643492 h 6698675"/>
              <a:gd name="connsiteX2423" fmla="*/ 1071040 w 8267681"/>
              <a:gd name="connsiteY2423" fmla="*/ 4643492 h 6698675"/>
              <a:gd name="connsiteX2424" fmla="*/ 1068690 w 8267681"/>
              <a:gd name="connsiteY2424" fmla="*/ 4634097 h 6698675"/>
              <a:gd name="connsiteX2425" fmla="*/ 1078084 w 8267681"/>
              <a:gd name="connsiteY2425" fmla="*/ 4617656 h 6698675"/>
              <a:gd name="connsiteX2426" fmla="*/ 1080432 w 8267681"/>
              <a:gd name="connsiteY2426" fmla="*/ 4615307 h 6698675"/>
              <a:gd name="connsiteX2427" fmla="*/ 927764 w 8267681"/>
              <a:gd name="connsiteY2427" fmla="*/ 4610610 h 6698675"/>
              <a:gd name="connsiteX2428" fmla="*/ 937157 w 8267681"/>
              <a:gd name="connsiteY2428" fmla="*/ 4612959 h 6698675"/>
              <a:gd name="connsiteX2429" fmla="*/ 939507 w 8267681"/>
              <a:gd name="connsiteY2429" fmla="*/ 4617656 h 6698675"/>
              <a:gd name="connsiteX2430" fmla="*/ 937157 w 8267681"/>
              <a:gd name="connsiteY2430" fmla="*/ 4622354 h 6698675"/>
              <a:gd name="connsiteX2431" fmla="*/ 934808 w 8267681"/>
              <a:gd name="connsiteY2431" fmla="*/ 4624703 h 6698675"/>
              <a:gd name="connsiteX2432" fmla="*/ 927764 w 8267681"/>
              <a:gd name="connsiteY2432" fmla="*/ 4629400 h 6698675"/>
              <a:gd name="connsiteX2433" fmla="*/ 923064 w 8267681"/>
              <a:gd name="connsiteY2433" fmla="*/ 4624703 h 6698675"/>
              <a:gd name="connsiteX2434" fmla="*/ 923064 w 8267681"/>
              <a:gd name="connsiteY2434" fmla="*/ 4615308 h 6698675"/>
              <a:gd name="connsiteX2435" fmla="*/ 927764 w 8267681"/>
              <a:gd name="connsiteY2435" fmla="*/ 4610610 h 6698675"/>
              <a:gd name="connsiteX2436" fmla="*/ 1698150 w 8267681"/>
              <a:gd name="connsiteY2436" fmla="*/ 4608262 h 6698675"/>
              <a:gd name="connsiteX2437" fmla="*/ 1691104 w 8267681"/>
              <a:gd name="connsiteY2437" fmla="*/ 4610611 h 6698675"/>
              <a:gd name="connsiteX2438" fmla="*/ 1698150 w 8267681"/>
              <a:gd name="connsiteY2438" fmla="*/ 4615308 h 6698675"/>
              <a:gd name="connsiteX2439" fmla="*/ 1707547 w 8267681"/>
              <a:gd name="connsiteY2439" fmla="*/ 4608262 h 6698675"/>
              <a:gd name="connsiteX2440" fmla="*/ 1310613 w 8267681"/>
              <a:gd name="connsiteY2440" fmla="*/ 4608261 h 6698675"/>
              <a:gd name="connsiteX2441" fmla="*/ 1331751 w 8267681"/>
              <a:gd name="connsiteY2441" fmla="*/ 4617656 h 6698675"/>
              <a:gd name="connsiteX2442" fmla="*/ 1317659 w 8267681"/>
              <a:gd name="connsiteY2442" fmla="*/ 4634098 h 6698675"/>
              <a:gd name="connsiteX2443" fmla="*/ 1305916 w 8267681"/>
              <a:gd name="connsiteY2443" fmla="*/ 4627051 h 6698675"/>
              <a:gd name="connsiteX2444" fmla="*/ 1303566 w 8267681"/>
              <a:gd name="connsiteY2444" fmla="*/ 4610610 h 6698675"/>
              <a:gd name="connsiteX2445" fmla="*/ 1310613 w 8267681"/>
              <a:gd name="connsiteY2445" fmla="*/ 4608261 h 6698675"/>
              <a:gd name="connsiteX2446" fmla="*/ 2489091 w 8267681"/>
              <a:gd name="connsiteY2446" fmla="*/ 4605304 h 6698675"/>
              <a:gd name="connsiteX2447" fmla="*/ 2492035 w 8267681"/>
              <a:gd name="connsiteY2447" fmla="*/ 4605913 h 6698675"/>
              <a:gd name="connsiteX2448" fmla="*/ 2473246 w 8267681"/>
              <a:gd name="connsiteY2448" fmla="*/ 4615308 h 6698675"/>
              <a:gd name="connsiteX2449" fmla="*/ 2473246 w 8267681"/>
              <a:gd name="connsiteY2449" fmla="*/ 4610784 h 6698675"/>
              <a:gd name="connsiteX2450" fmla="*/ 2488549 w 8267681"/>
              <a:gd name="connsiteY2450" fmla="*/ 4605399 h 6698675"/>
              <a:gd name="connsiteX2451" fmla="*/ 1531403 w 8267681"/>
              <a:gd name="connsiteY2451" fmla="*/ 4598867 h 6698675"/>
              <a:gd name="connsiteX2452" fmla="*/ 1524352 w 8267681"/>
              <a:gd name="connsiteY2452" fmla="*/ 4605913 h 6698675"/>
              <a:gd name="connsiteX2453" fmla="*/ 1526702 w 8267681"/>
              <a:gd name="connsiteY2453" fmla="*/ 4615308 h 6698675"/>
              <a:gd name="connsiteX2454" fmla="*/ 1522004 w 8267681"/>
              <a:gd name="connsiteY2454" fmla="*/ 4631749 h 6698675"/>
              <a:gd name="connsiteX2455" fmla="*/ 1529053 w 8267681"/>
              <a:gd name="connsiteY2455" fmla="*/ 4638796 h 6698675"/>
              <a:gd name="connsiteX2456" fmla="*/ 1545495 w 8267681"/>
              <a:gd name="connsiteY2456" fmla="*/ 4624703 h 6698675"/>
              <a:gd name="connsiteX2457" fmla="*/ 1543145 w 8267681"/>
              <a:gd name="connsiteY2457" fmla="*/ 4615308 h 6698675"/>
              <a:gd name="connsiteX2458" fmla="*/ 885486 w 8267681"/>
              <a:gd name="connsiteY2458" fmla="*/ 4598866 h 6698675"/>
              <a:gd name="connsiteX2459" fmla="*/ 892530 w 8267681"/>
              <a:gd name="connsiteY2459" fmla="*/ 4605912 h 6698675"/>
              <a:gd name="connsiteX2460" fmla="*/ 885486 w 8267681"/>
              <a:gd name="connsiteY2460" fmla="*/ 4612959 h 6698675"/>
              <a:gd name="connsiteX2461" fmla="*/ 880786 w 8267681"/>
              <a:gd name="connsiteY2461" fmla="*/ 4605912 h 6698675"/>
              <a:gd name="connsiteX2462" fmla="*/ 2714582 w 8267681"/>
              <a:gd name="connsiteY2462" fmla="*/ 4596518 h 6698675"/>
              <a:gd name="connsiteX2463" fmla="*/ 2696379 w 8267681"/>
              <a:gd name="connsiteY2463" fmla="*/ 4598867 h 6698675"/>
              <a:gd name="connsiteX2464" fmla="*/ 2663496 w 8267681"/>
              <a:gd name="connsiteY2464" fmla="*/ 4615308 h 6698675"/>
              <a:gd name="connsiteX2465" fmla="*/ 2733959 w 8267681"/>
              <a:gd name="connsiteY2465" fmla="*/ 4601216 h 6698675"/>
              <a:gd name="connsiteX2466" fmla="*/ 2741006 w 8267681"/>
              <a:gd name="connsiteY2466" fmla="*/ 4601216 h 6698675"/>
              <a:gd name="connsiteX2467" fmla="*/ 2729262 w 8267681"/>
              <a:gd name="connsiteY2467" fmla="*/ 4598867 h 6698675"/>
              <a:gd name="connsiteX2468" fmla="*/ 2729262 w 8267681"/>
              <a:gd name="connsiteY2468" fmla="*/ 4601216 h 6698675"/>
              <a:gd name="connsiteX2469" fmla="*/ 2714582 w 8267681"/>
              <a:gd name="connsiteY2469" fmla="*/ 4596518 h 6698675"/>
              <a:gd name="connsiteX2470" fmla="*/ 979435 w 8267681"/>
              <a:gd name="connsiteY2470" fmla="*/ 4596518 h 6698675"/>
              <a:gd name="connsiteX2471" fmla="*/ 988835 w 8267681"/>
              <a:gd name="connsiteY2471" fmla="*/ 4605913 h 6698675"/>
              <a:gd name="connsiteX2472" fmla="*/ 1005270 w 8267681"/>
              <a:gd name="connsiteY2472" fmla="*/ 4617657 h 6698675"/>
              <a:gd name="connsiteX2473" fmla="*/ 998227 w 8267681"/>
              <a:gd name="connsiteY2473" fmla="*/ 4634099 h 6698675"/>
              <a:gd name="connsiteX2474" fmla="*/ 995877 w 8267681"/>
              <a:gd name="connsiteY2474" fmla="*/ 4638796 h 6698675"/>
              <a:gd name="connsiteX2475" fmla="*/ 991178 w 8267681"/>
              <a:gd name="connsiteY2475" fmla="*/ 4634099 h 6698675"/>
              <a:gd name="connsiteX2476" fmla="*/ 988835 w 8267681"/>
              <a:gd name="connsiteY2476" fmla="*/ 4622355 h 6698675"/>
              <a:gd name="connsiteX2477" fmla="*/ 974742 w 8267681"/>
              <a:gd name="connsiteY2477" fmla="*/ 4608262 h 6698675"/>
              <a:gd name="connsiteX2478" fmla="*/ 974742 w 8267681"/>
              <a:gd name="connsiteY2478" fmla="*/ 4598867 h 6698675"/>
              <a:gd name="connsiteX2479" fmla="*/ 979435 w 8267681"/>
              <a:gd name="connsiteY2479" fmla="*/ 4596518 h 6698675"/>
              <a:gd name="connsiteX2480" fmla="*/ 2926559 w 8267681"/>
              <a:gd name="connsiteY2480" fmla="*/ 4594169 h 6698675"/>
              <a:gd name="connsiteX2481" fmla="*/ 2926559 w 8267681"/>
              <a:gd name="connsiteY2481" fmla="*/ 4596518 h 6698675"/>
              <a:gd name="connsiteX2482" fmla="*/ 2924210 w 8267681"/>
              <a:gd name="connsiteY2482" fmla="*/ 4598867 h 6698675"/>
              <a:gd name="connsiteX2483" fmla="*/ 1430400 w 8267681"/>
              <a:gd name="connsiteY2483" fmla="*/ 4593875 h 6698675"/>
              <a:gd name="connsiteX2484" fmla="*/ 1421006 w 8267681"/>
              <a:gd name="connsiteY2484" fmla="*/ 4594168 h 6698675"/>
              <a:gd name="connsiteX2485" fmla="*/ 1411612 w 8267681"/>
              <a:gd name="connsiteY2485" fmla="*/ 4596517 h 6698675"/>
              <a:gd name="connsiteX2486" fmla="*/ 1383426 w 8267681"/>
              <a:gd name="connsiteY2486" fmla="*/ 4605912 h 6698675"/>
              <a:gd name="connsiteX2487" fmla="*/ 1385777 w 8267681"/>
              <a:gd name="connsiteY2487" fmla="*/ 4631749 h 6698675"/>
              <a:gd name="connsiteX2488" fmla="*/ 1392822 w 8267681"/>
              <a:gd name="connsiteY2488" fmla="*/ 4638795 h 6698675"/>
              <a:gd name="connsiteX2489" fmla="*/ 1392822 w 8267681"/>
              <a:gd name="connsiteY2489" fmla="*/ 4622354 h 6698675"/>
              <a:gd name="connsiteX2490" fmla="*/ 1404570 w 8267681"/>
              <a:gd name="connsiteY2490" fmla="*/ 4605912 h 6698675"/>
              <a:gd name="connsiteX2491" fmla="*/ 1411612 w 8267681"/>
              <a:gd name="connsiteY2491" fmla="*/ 4603563 h 6698675"/>
              <a:gd name="connsiteX2492" fmla="*/ 1421006 w 8267681"/>
              <a:gd name="connsiteY2492" fmla="*/ 4610610 h 6698675"/>
              <a:gd name="connsiteX2493" fmla="*/ 1432749 w 8267681"/>
              <a:gd name="connsiteY2493" fmla="*/ 4598866 h 6698675"/>
              <a:gd name="connsiteX2494" fmla="*/ 1430400 w 8267681"/>
              <a:gd name="connsiteY2494" fmla="*/ 4593875 h 6698675"/>
              <a:gd name="connsiteX2495" fmla="*/ 1317659 w 8267681"/>
              <a:gd name="connsiteY2495" fmla="*/ 4591820 h 6698675"/>
              <a:gd name="connsiteX2496" fmla="*/ 1327056 w 8267681"/>
              <a:gd name="connsiteY2496" fmla="*/ 4591820 h 6698675"/>
              <a:gd name="connsiteX2497" fmla="*/ 1329406 w 8267681"/>
              <a:gd name="connsiteY2497" fmla="*/ 4596518 h 6698675"/>
              <a:gd name="connsiteX2498" fmla="*/ 1327056 w 8267681"/>
              <a:gd name="connsiteY2498" fmla="*/ 4598866 h 6698675"/>
              <a:gd name="connsiteX2499" fmla="*/ 1317659 w 8267681"/>
              <a:gd name="connsiteY2499" fmla="*/ 4596518 h 6698675"/>
              <a:gd name="connsiteX2500" fmla="*/ 1089827 w 8267681"/>
              <a:gd name="connsiteY2500" fmla="*/ 4591820 h 6698675"/>
              <a:gd name="connsiteX2501" fmla="*/ 1099225 w 8267681"/>
              <a:gd name="connsiteY2501" fmla="*/ 4601215 h 6698675"/>
              <a:gd name="connsiteX2502" fmla="*/ 1089827 w 8267681"/>
              <a:gd name="connsiteY2502" fmla="*/ 4610610 h 6698675"/>
              <a:gd name="connsiteX2503" fmla="*/ 1082782 w 8267681"/>
              <a:gd name="connsiteY2503" fmla="*/ 4603564 h 6698675"/>
              <a:gd name="connsiteX2504" fmla="*/ 1087482 w 8267681"/>
              <a:gd name="connsiteY2504" fmla="*/ 4594169 h 6698675"/>
              <a:gd name="connsiteX2505" fmla="*/ 1089827 w 8267681"/>
              <a:gd name="connsiteY2505" fmla="*/ 4591820 h 6698675"/>
              <a:gd name="connsiteX2506" fmla="*/ 1148548 w 8267681"/>
              <a:gd name="connsiteY2506" fmla="*/ 4584773 h 6698675"/>
              <a:gd name="connsiteX2507" fmla="*/ 1157945 w 8267681"/>
              <a:gd name="connsiteY2507" fmla="*/ 4584773 h 6698675"/>
              <a:gd name="connsiteX2508" fmla="*/ 1160296 w 8267681"/>
              <a:gd name="connsiteY2508" fmla="*/ 4591819 h 6698675"/>
              <a:gd name="connsiteX2509" fmla="*/ 1162646 w 8267681"/>
              <a:gd name="connsiteY2509" fmla="*/ 4601215 h 6698675"/>
              <a:gd name="connsiteX2510" fmla="*/ 1162646 w 8267681"/>
              <a:gd name="connsiteY2510" fmla="*/ 4610610 h 6698675"/>
              <a:gd name="connsiteX2511" fmla="*/ 1157945 w 8267681"/>
              <a:gd name="connsiteY2511" fmla="*/ 4615307 h 6698675"/>
              <a:gd name="connsiteX2512" fmla="*/ 1148548 w 8267681"/>
              <a:gd name="connsiteY2512" fmla="*/ 4612959 h 6698675"/>
              <a:gd name="connsiteX2513" fmla="*/ 1148548 w 8267681"/>
              <a:gd name="connsiteY2513" fmla="*/ 4610610 h 6698675"/>
              <a:gd name="connsiteX2514" fmla="*/ 1146203 w 8267681"/>
              <a:gd name="connsiteY2514" fmla="*/ 4601215 h 6698675"/>
              <a:gd name="connsiteX2515" fmla="*/ 1146203 w 8267681"/>
              <a:gd name="connsiteY2515" fmla="*/ 4591819 h 6698675"/>
              <a:gd name="connsiteX2516" fmla="*/ 1148548 w 8267681"/>
              <a:gd name="connsiteY2516" fmla="*/ 4584773 h 6698675"/>
              <a:gd name="connsiteX2517" fmla="*/ 5099253 w 8267681"/>
              <a:gd name="connsiteY2517" fmla="*/ 4582462 h 6698675"/>
              <a:gd name="connsiteX2518" fmla="*/ 5092133 w 8267681"/>
              <a:gd name="connsiteY2518" fmla="*/ 4587123 h 6698675"/>
              <a:gd name="connsiteX2519" fmla="*/ 5103877 w 8267681"/>
              <a:gd name="connsiteY2519" fmla="*/ 4605913 h 6698675"/>
              <a:gd name="connsiteX2520" fmla="*/ 5099253 w 8267681"/>
              <a:gd name="connsiteY2520" fmla="*/ 4582462 h 6698675"/>
              <a:gd name="connsiteX2521" fmla="*/ 2954744 w 8267681"/>
              <a:gd name="connsiteY2521" fmla="*/ 4582426 h 6698675"/>
              <a:gd name="connsiteX2522" fmla="*/ 2957093 w 8267681"/>
              <a:gd name="connsiteY2522" fmla="*/ 4596518 h 6698675"/>
              <a:gd name="connsiteX2523" fmla="*/ 2968837 w 8267681"/>
              <a:gd name="connsiteY2523" fmla="*/ 4594169 h 6698675"/>
              <a:gd name="connsiteX2524" fmla="*/ 2954744 w 8267681"/>
              <a:gd name="connsiteY2524" fmla="*/ 4582426 h 6698675"/>
              <a:gd name="connsiteX2525" fmla="*/ 2917164 w 8267681"/>
              <a:gd name="connsiteY2525" fmla="*/ 4582426 h 6698675"/>
              <a:gd name="connsiteX2526" fmla="*/ 2919514 w 8267681"/>
              <a:gd name="connsiteY2526" fmla="*/ 4589472 h 6698675"/>
              <a:gd name="connsiteX2527" fmla="*/ 2924210 w 8267681"/>
              <a:gd name="connsiteY2527" fmla="*/ 4594169 h 6698675"/>
              <a:gd name="connsiteX2528" fmla="*/ 2921861 w 8267681"/>
              <a:gd name="connsiteY2528" fmla="*/ 4596518 h 6698675"/>
              <a:gd name="connsiteX2529" fmla="*/ 2924210 w 8267681"/>
              <a:gd name="connsiteY2529" fmla="*/ 4601216 h 6698675"/>
              <a:gd name="connsiteX2530" fmla="*/ 2931256 w 8267681"/>
              <a:gd name="connsiteY2530" fmla="*/ 4601216 h 6698675"/>
              <a:gd name="connsiteX2531" fmla="*/ 2935954 w 8267681"/>
              <a:gd name="connsiteY2531" fmla="*/ 4601216 h 6698675"/>
              <a:gd name="connsiteX2532" fmla="*/ 2940652 w 8267681"/>
              <a:gd name="connsiteY2532" fmla="*/ 4598867 h 6698675"/>
              <a:gd name="connsiteX2533" fmla="*/ 2919514 w 8267681"/>
              <a:gd name="connsiteY2533" fmla="*/ 4582426 h 6698675"/>
              <a:gd name="connsiteX2534" fmla="*/ 2917164 w 8267681"/>
              <a:gd name="connsiteY2534" fmla="*/ 4582426 h 6698675"/>
              <a:gd name="connsiteX2535" fmla="*/ 2999371 w 8267681"/>
              <a:gd name="connsiteY2535" fmla="*/ 4580077 h 6698675"/>
              <a:gd name="connsiteX2536" fmla="*/ 2985278 w 8267681"/>
              <a:gd name="connsiteY2536" fmla="*/ 4584774 h 6698675"/>
              <a:gd name="connsiteX2537" fmla="*/ 2985278 w 8267681"/>
              <a:gd name="connsiteY2537" fmla="*/ 4594169 h 6698675"/>
              <a:gd name="connsiteX2538" fmla="*/ 3008766 w 8267681"/>
              <a:gd name="connsiteY2538" fmla="*/ 4596518 h 6698675"/>
              <a:gd name="connsiteX2539" fmla="*/ 2999371 w 8267681"/>
              <a:gd name="connsiteY2539" fmla="*/ 4580077 h 6698675"/>
              <a:gd name="connsiteX2540" fmla="*/ 2910118 w 8267681"/>
              <a:gd name="connsiteY2540" fmla="*/ 4580077 h 6698675"/>
              <a:gd name="connsiteX2541" fmla="*/ 2891327 w 8267681"/>
              <a:gd name="connsiteY2541" fmla="*/ 4605913 h 6698675"/>
              <a:gd name="connsiteX2542" fmla="*/ 2910118 w 8267681"/>
              <a:gd name="connsiteY2542" fmla="*/ 4580077 h 6698675"/>
              <a:gd name="connsiteX2543" fmla="*/ 962993 w 8267681"/>
              <a:gd name="connsiteY2543" fmla="*/ 4580076 h 6698675"/>
              <a:gd name="connsiteX2544" fmla="*/ 967692 w 8267681"/>
              <a:gd name="connsiteY2544" fmla="*/ 4582425 h 6698675"/>
              <a:gd name="connsiteX2545" fmla="*/ 960649 w 8267681"/>
              <a:gd name="connsiteY2545" fmla="*/ 4598866 h 6698675"/>
              <a:gd name="connsiteX2546" fmla="*/ 953599 w 8267681"/>
              <a:gd name="connsiteY2546" fmla="*/ 4605913 h 6698675"/>
              <a:gd name="connsiteX2547" fmla="*/ 944207 w 8267681"/>
              <a:gd name="connsiteY2547" fmla="*/ 4598866 h 6698675"/>
              <a:gd name="connsiteX2548" fmla="*/ 953599 w 8267681"/>
              <a:gd name="connsiteY2548" fmla="*/ 4582425 h 6698675"/>
              <a:gd name="connsiteX2549" fmla="*/ 1522004 w 8267681"/>
              <a:gd name="connsiteY2549" fmla="*/ 4577728 h 6698675"/>
              <a:gd name="connsiteX2550" fmla="*/ 1519655 w 8267681"/>
              <a:gd name="connsiteY2550" fmla="*/ 4591820 h 6698675"/>
              <a:gd name="connsiteX2551" fmla="*/ 1522004 w 8267681"/>
              <a:gd name="connsiteY2551" fmla="*/ 4589472 h 6698675"/>
              <a:gd name="connsiteX2552" fmla="*/ 1529053 w 8267681"/>
              <a:gd name="connsiteY2552" fmla="*/ 4580076 h 6698675"/>
              <a:gd name="connsiteX2553" fmla="*/ 1073390 w 8267681"/>
              <a:gd name="connsiteY2553" fmla="*/ 4577727 h 6698675"/>
              <a:gd name="connsiteX2554" fmla="*/ 1078084 w 8267681"/>
              <a:gd name="connsiteY2554" fmla="*/ 4584773 h 6698675"/>
              <a:gd name="connsiteX2555" fmla="*/ 1078084 w 8267681"/>
              <a:gd name="connsiteY2555" fmla="*/ 4591820 h 6698675"/>
              <a:gd name="connsiteX2556" fmla="*/ 1073390 w 8267681"/>
              <a:gd name="connsiteY2556" fmla="*/ 4596517 h 6698675"/>
              <a:gd name="connsiteX2557" fmla="*/ 1063991 w 8267681"/>
              <a:gd name="connsiteY2557" fmla="*/ 4594168 h 6698675"/>
              <a:gd name="connsiteX2558" fmla="*/ 3015813 w 8267681"/>
              <a:gd name="connsiteY2558" fmla="*/ 4573030 h 6698675"/>
              <a:gd name="connsiteX2559" fmla="*/ 3004069 w 8267681"/>
              <a:gd name="connsiteY2559" fmla="*/ 4577728 h 6698675"/>
              <a:gd name="connsiteX2560" fmla="*/ 3011115 w 8267681"/>
              <a:gd name="connsiteY2560" fmla="*/ 4598867 h 6698675"/>
              <a:gd name="connsiteX2561" fmla="*/ 3015813 w 8267681"/>
              <a:gd name="connsiteY2561" fmla="*/ 4601216 h 6698675"/>
              <a:gd name="connsiteX2562" fmla="*/ 3022859 w 8267681"/>
              <a:gd name="connsiteY2562" fmla="*/ 4594169 h 6698675"/>
              <a:gd name="connsiteX2563" fmla="*/ 3015813 w 8267681"/>
              <a:gd name="connsiteY2563" fmla="*/ 4573030 h 6698675"/>
              <a:gd name="connsiteX2564" fmla="*/ 5634700 w 8267681"/>
              <a:gd name="connsiteY2564" fmla="*/ 4573029 h 6698675"/>
              <a:gd name="connsiteX2565" fmla="*/ 5634700 w 8267681"/>
              <a:gd name="connsiteY2565" fmla="*/ 4580075 h 6698675"/>
              <a:gd name="connsiteX2566" fmla="*/ 5634700 w 8267681"/>
              <a:gd name="connsiteY2566" fmla="*/ 4573029 h 6698675"/>
              <a:gd name="connsiteX2567" fmla="*/ 3065137 w 8267681"/>
              <a:gd name="connsiteY2567" fmla="*/ 4570682 h 6698675"/>
              <a:gd name="connsiteX2568" fmla="*/ 3067486 w 8267681"/>
              <a:gd name="connsiteY2568" fmla="*/ 4575379 h 6698675"/>
              <a:gd name="connsiteX2569" fmla="*/ 3072184 w 8267681"/>
              <a:gd name="connsiteY2569" fmla="*/ 4573030 h 6698675"/>
              <a:gd name="connsiteX2570" fmla="*/ 3065137 w 8267681"/>
              <a:gd name="connsiteY2570" fmla="*/ 4570682 h 6698675"/>
              <a:gd name="connsiteX2571" fmla="*/ 1470332 w 8267681"/>
              <a:gd name="connsiteY2571" fmla="*/ 4570681 h 6698675"/>
              <a:gd name="connsiteX2572" fmla="*/ 1470332 w 8267681"/>
              <a:gd name="connsiteY2572" fmla="*/ 4573030 h 6698675"/>
              <a:gd name="connsiteX2573" fmla="*/ 1472682 w 8267681"/>
              <a:gd name="connsiteY2573" fmla="*/ 4582425 h 6698675"/>
              <a:gd name="connsiteX2574" fmla="*/ 1451539 w 8267681"/>
              <a:gd name="connsiteY2574" fmla="*/ 4584774 h 6698675"/>
              <a:gd name="connsiteX2575" fmla="*/ 1449189 w 8267681"/>
              <a:gd name="connsiteY2575" fmla="*/ 4582425 h 6698675"/>
              <a:gd name="connsiteX2576" fmla="*/ 1451539 w 8267681"/>
              <a:gd name="connsiteY2576" fmla="*/ 4577727 h 6698675"/>
              <a:gd name="connsiteX2577" fmla="*/ 1460934 w 8267681"/>
              <a:gd name="connsiteY2577" fmla="*/ 4577727 h 6698675"/>
              <a:gd name="connsiteX2578" fmla="*/ 1467982 w 8267681"/>
              <a:gd name="connsiteY2578" fmla="*/ 4573030 h 6698675"/>
              <a:gd name="connsiteX2579" fmla="*/ 1470332 w 8267681"/>
              <a:gd name="connsiteY2579" fmla="*/ 4570681 h 6698675"/>
              <a:gd name="connsiteX2580" fmla="*/ 3046347 w 8267681"/>
              <a:gd name="connsiteY2580" fmla="*/ 4568333 h 6698675"/>
              <a:gd name="connsiteX2581" fmla="*/ 3027557 w 8267681"/>
              <a:gd name="connsiteY2581" fmla="*/ 4570682 h 6698675"/>
              <a:gd name="connsiteX2582" fmla="*/ 3034604 w 8267681"/>
              <a:gd name="connsiteY2582" fmla="*/ 4587123 h 6698675"/>
              <a:gd name="connsiteX2583" fmla="*/ 3046347 w 8267681"/>
              <a:gd name="connsiteY2583" fmla="*/ 4582426 h 6698675"/>
              <a:gd name="connsiteX2584" fmla="*/ 3046347 w 8267681"/>
              <a:gd name="connsiteY2584" fmla="*/ 4568333 h 6698675"/>
              <a:gd name="connsiteX2585" fmla="*/ 2684635 w 8267681"/>
              <a:gd name="connsiteY2585" fmla="*/ 4568333 h 6698675"/>
              <a:gd name="connsiteX2586" fmla="*/ 2656449 w 8267681"/>
              <a:gd name="connsiteY2586" fmla="*/ 4573030 h 6698675"/>
              <a:gd name="connsiteX2587" fmla="*/ 2684635 w 8267681"/>
              <a:gd name="connsiteY2587" fmla="*/ 4573030 h 6698675"/>
              <a:gd name="connsiteX2588" fmla="*/ 2684635 w 8267681"/>
              <a:gd name="connsiteY2588" fmla="*/ 4568333 h 6698675"/>
              <a:gd name="connsiteX2589" fmla="*/ 1583073 w 8267681"/>
              <a:gd name="connsiteY2589" fmla="*/ 4568332 h 6698675"/>
              <a:gd name="connsiteX2590" fmla="*/ 1587769 w 8267681"/>
              <a:gd name="connsiteY2590" fmla="*/ 4575378 h 6698675"/>
              <a:gd name="connsiteX2591" fmla="*/ 1585423 w 8267681"/>
              <a:gd name="connsiteY2591" fmla="*/ 4584773 h 6698675"/>
              <a:gd name="connsiteX2592" fmla="*/ 1583073 w 8267681"/>
              <a:gd name="connsiteY2592" fmla="*/ 4587122 h 6698675"/>
              <a:gd name="connsiteX2593" fmla="*/ 1578373 w 8267681"/>
              <a:gd name="connsiteY2593" fmla="*/ 4584773 h 6698675"/>
              <a:gd name="connsiteX2594" fmla="*/ 1571330 w 8267681"/>
              <a:gd name="connsiteY2594" fmla="*/ 4575378 h 6698675"/>
              <a:gd name="connsiteX2595" fmla="*/ 1700499 w 8267681"/>
              <a:gd name="connsiteY2595" fmla="*/ 4563635 h 6698675"/>
              <a:gd name="connsiteX2596" fmla="*/ 1698150 w 8267681"/>
              <a:gd name="connsiteY2596" fmla="*/ 4565984 h 6698675"/>
              <a:gd name="connsiteX2597" fmla="*/ 1695805 w 8267681"/>
              <a:gd name="connsiteY2597" fmla="*/ 4575379 h 6698675"/>
              <a:gd name="connsiteX2598" fmla="*/ 1695805 w 8267681"/>
              <a:gd name="connsiteY2598" fmla="*/ 4584774 h 6698675"/>
              <a:gd name="connsiteX2599" fmla="*/ 1700499 w 8267681"/>
              <a:gd name="connsiteY2599" fmla="*/ 4587123 h 6698675"/>
              <a:gd name="connsiteX2600" fmla="*/ 1702848 w 8267681"/>
              <a:gd name="connsiteY2600" fmla="*/ 4584774 h 6698675"/>
              <a:gd name="connsiteX2601" fmla="*/ 1705197 w 8267681"/>
              <a:gd name="connsiteY2601" fmla="*/ 4575379 h 6698675"/>
              <a:gd name="connsiteX2602" fmla="*/ 1702848 w 8267681"/>
              <a:gd name="connsiteY2602" fmla="*/ 4565984 h 6698675"/>
              <a:gd name="connsiteX2603" fmla="*/ 1700499 w 8267681"/>
              <a:gd name="connsiteY2603" fmla="*/ 4563635 h 6698675"/>
              <a:gd name="connsiteX2604" fmla="*/ 1268336 w 8267681"/>
              <a:gd name="connsiteY2604" fmla="*/ 4563635 h 6698675"/>
              <a:gd name="connsiteX2605" fmla="*/ 1277730 w 8267681"/>
              <a:gd name="connsiteY2605" fmla="*/ 4570681 h 6698675"/>
              <a:gd name="connsiteX2606" fmla="*/ 1282428 w 8267681"/>
              <a:gd name="connsiteY2606" fmla="*/ 4580076 h 6698675"/>
              <a:gd name="connsiteX2607" fmla="*/ 1263637 w 8267681"/>
              <a:gd name="connsiteY2607" fmla="*/ 4580076 h 6698675"/>
              <a:gd name="connsiteX2608" fmla="*/ 1263637 w 8267681"/>
              <a:gd name="connsiteY2608" fmla="*/ 4570681 h 6698675"/>
              <a:gd name="connsiteX2609" fmla="*/ 1268336 w 8267681"/>
              <a:gd name="connsiteY2609" fmla="*/ 4563635 h 6698675"/>
              <a:gd name="connsiteX2610" fmla="*/ 845567 w 8267681"/>
              <a:gd name="connsiteY2610" fmla="*/ 4563634 h 6698675"/>
              <a:gd name="connsiteX2611" fmla="*/ 859660 w 8267681"/>
              <a:gd name="connsiteY2611" fmla="*/ 4570680 h 6698675"/>
              <a:gd name="connsiteX2612" fmla="*/ 854959 w 8267681"/>
              <a:gd name="connsiteY2612" fmla="*/ 4589471 h 6698675"/>
              <a:gd name="connsiteX2613" fmla="*/ 845567 w 8267681"/>
              <a:gd name="connsiteY2613" fmla="*/ 4594168 h 6698675"/>
              <a:gd name="connsiteX2614" fmla="*/ 840870 w 8267681"/>
              <a:gd name="connsiteY2614" fmla="*/ 4587122 h 6698675"/>
              <a:gd name="connsiteX2615" fmla="*/ 833817 w 8267681"/>
              <a:gd name="connsiteY2615" fmla="*/ 4570680 h 6698675"/>
              <a:gd name="connsiteX2616" fmla="*/ 2769191 w 8267681"/>
              <a:gd name="connsiteY2616" fmla="*/ 4558938 h 6698675"/>
              <a:gd name="connsiteX2617" fmla="*/ 2752749 w 8267681"/>
              <a:gd name="connsiteY2617" fmla="*/ 4561286 h 6698675"/>
              <a:gd name="connsiteX2618" fmla="*/ 2750401 w 8267681"/>
              <a:gd name="connsiteY2618" fmla="*/ 4563635 h 6698675"/>
              <a:gd name="connsiteX2619" fmla="*/ 2743354 w 8267681"/>
              <a:gd name="connsiteY2619" fmla="*/ 4561286 h 6698675"/>
              <a:gd name="connsiteX2620" fmla="*/ 2741006 w 8267681"/>
              <a:gd name="connsiteY2620" fmla="*/ 4573030 h 6698675"/>
              <a:gd name="connsiteX2621" fmla="*/ 2769191 w 8267681"/>
              <a:gd name="connsiteY2621" fmla="*/ 4570682 h 6698675"/>
              <a:gd name="connsiteX2622" fmla="*/ 2778586 w 8267681"/>
              <a:gd name="connsiteY2622" fmla="*/ 4570682 h 6698675"/>
              <a:gd name="connsiteX2623" fmla="*/ 2769191 w 8267681"/>
              <a:gd name="connsiteY2623" fmla="*/ 4558938 h 6698675"/>
              <a:gd name="connsiteX2624" fmla="*/ 1132110 w 8267681"/>
              <a:gd name="connsiteY2624" fmla="*/ 4558937 h 6698675"/>
              <a:gd name="connsiteX2625" fmla="*/ 1132110 w 8267681"/>
              <a:gd name="connsiteY2625" fmla="*/ 4570681 h 6698675"/>
              <a:gd name="connsiteX2626" fmla="*/ 1125060 w 8267681"/>
              <a:gd name="connsiteY2626" fmla="*/ 4568332 h 6698675"/>
              <a:gd name="connsiteX2627" fmla="*/ 963002 w 8267681"/>
              <a:gd name="connsiteY2627" fmla="*/ 4556588 h 6698675"/>
              <a:gd name="connsiteX2628" fmla="*/ 963002 w 8267681"/>
              <a:gd name="connsiteY2628" fmla="*/ 4558937 h 6698675"/>
              <a:gd name="connsiteX2629" fmla="*/ 967700 w 8267681"/>
              <a:gd name="connsiteY2629" fmla="*/ 4568332 h 6698675"/>
              <a:gd name="connsiteX2630" fmla="*/ 963002 w 8267681"/>
              <a:gd name="connsiteY2630" fmla="*/ 4570681 h 6698675"/>
              <a:gd name="connsiteX2631" fmla="*/ 958308 w 8267681"/>
              <a:gd name="connsiteY2631" fmla="*/ 4565983 h 6698675"/>
              <a:gd name="connsiteX2632" fmla="*/ 5742451 w 8267681"/>
              <a:gd name="connsiteY2632" fmla="*/ 4556002 h 6698675"/>
              <a:gd name="connsiteX2633" fmla="*/ 5756838 w 8267681"/>
              <a:gd name="connsiteY2633" fmla="*/ 4575379 h 6698675"/>
              <a:gd name="connsiteX2634" fmla="*/ 5735699 w 8267681"/>
              <a:gd name="connsiteY2634" fmla="*/ 4591821 h 6698675"/>
              <a:gd name="connsiteX2635" fmla="*/ 5719257 w 8267681"/>
              <a:gd name="connsiteY2635" fmla="*/ 4561287 h 6698675"/>
              <a:gd name="connsiteX2636" fmla="*/ 5742451 w 8267681"/>
              <a:gd name="connsiteY2636" fmla="*/ 4556002 h 6698675"/>
              <a:gd name="connsiteX2637" fmla="*/ 2398084 w 8267681"/>
              <a:gd name="connsiteY2637" fmla="*/ 4554240 h 6698675"/>
              <a:gd name="connsiteX2638" fmla="*/ 2386340 w 8267681"/>
              <a:gd name="connsiteY2638" fmla="*/ 4558938 h 6698675"/>
              <a:gd name="connsiteX2639" fmla="*/ 2391037 w 8267681"/>
              <a:gd name="connsiteY2639" fmla="*/ 4570682 h 6698675"/>
              <a:gd name="connsiteX2640" fmla="*/ 2393386 w 8267681"/>
              <a:gd name="connsiteY2640" fmla="*/ 4573030 h 6698675"/>
              <a:gd name="connsiteX2641" fmla="*/ 2402781 w 8267681"/>
              <a:gd name="connsiteY2641" fmla="*/ 4573030 h 6698675"/>
              <a:gd name="connsiteX2642" fmla="*/ 2398084 w 8267681"/>
              <a:gd name="connsiteY2642" fmla="*/ 4563635 h 6698675"/>
              <a:gd name="connsiteX2643" fmla="*/ 1174388 w 8267681"/>
              <a:gd name="connsiteY2643" fmla="*/ 4551890 h 6698675"/>
              <a:gd name="connsiteX2644" fmla="*/ 1183780 w 8267681"/>
              <a:gd name="connsiteY2644" fmla="*/ 4554239 h 6698675"/>
              <a:gd name="connsiteX2645" fmla="*/ 1188481 w 8267681"/>
              <a:gd name="connsiteY2645" fmla="*/ 4561285 h 6698675"/>
              <a:gd name="connsiteX2646" fmla="*/ 1183780 w 8267681"/>
              <a:gd name="connsiteY2646" fmla="*/ 4563634 h 6698675"/>
              <a:gd name="connsiteX2647" fmla="*/ 1174388 w 8267681"/>
              <a:gd name="connsiteY2647" fmla="*/ 4565983 h 6698675"/>
              <a:gd name="connsiteX2648" fmla="*/ 1167341 w 8267681"/>
              <a:gd name="connsiteY2648" fmla="*/ 4558936 h 6698675"/>
              <a:gd name="connsiteX2649" fmla="*/ 1207265 w 8267681"/>
              <a:gd name="connsiteY2649" fmla="*/ 4549543 h 6698675"/>
              <a:gd name="connsiteX2650" fmla="*/ 1223708 w 8267681"/>
              <a:gd name="connsiteY2650" fmla="*/ 4563636 h 6698675"/>
              <a:gd name="connsiteX2651" fmla="*/ 1233103 w 8267681"/>
              <a:gd name="connsiteY2651" fmla="*/ 4556589 h 6698675"/>
              <a:gd name="connsiteX2652" fmla="*/ 1240151 w 8267681"/>
              <a:gd name="connsiteY2652" fmla="*/ 4561287 h 6698675"/>
              <a:gd name="connsiteX2653" fmla="*/ 1230754 w 8267681"/>
              <a:gd name="connsiteY2653" fmla="*/ 4577729 h 6698675"/>
              <a:gd name="connsiteX2654" fmla="*/ 1247196 w 8267681"/>
              <a:gd name="connsiteY2654" fmla="*/ 4594170 h 6698675"/>
              <a:gd name="connsiteX2655" fmla="*/ 1233103 w 8267681"/>
              <a:gd name="connsiteY2655" fmla="*/ 4601216 h 6698675"/>
              <a:gd name="connsiteX2656" fmla="*/ 1202568 w 8267681"/>
              <a:gd name="connsiteY2656" fmla="*/ 4603565 h 6698675"/>
              <a:gd name="connsiteX2657" fmla="*/ 1207265 w 8267681"/>
              <a:gd name="connsiteY2657" fmla="*/ 4596519 h 6698675"/>
              <a:gd name="connsiteX2658" fmla="*/ 1216660 w 8267681"/>
              <a:gd name="connsiteY2658" fmla="*/ 4598868 h 6698675"/>
              <a:gd name="connsiteX2659" fmla="*/ 1219010 w 8267681"/>
              <a:gd name="connsiteY2659" fmla="*/ 4594170 h 6698675"/>
              <a:gd name="connsiteX2660" fmla="*/ 1197873 w 8267681"/>
              <a:gd name="connsiteY2660" fmla="*/ 4575380 h 6698675"/>
              <a:gd name="connsiteX2661" fmla="*/ 1188481 w 8267681"/>
              <a:gd name="connsiteY2661" fmla="*/ 4582426 h 6698675"/>
              <a:gd name="connsiteX2662" fmla="*/ 1176738 w 8267681"/>
              <a:gd name="connsiteY2662" fmla="*/ 4601216 h 6698675"/>
              <a:gd name="connsiteX2663" fmla="*/ 1186130 w 8267681"/>
              <a:gd name="connsiteY2663" fmla="*/ 4568333 h 6698675"/>
              <a:gd name="connsiteX2664" fmla="*/ 2477942 w 8267681"/>
              <a:gd name="connsiteY2664" fmla="*/ 4549542 h 6698675"/>
              <a:gd name="connsiteX2665" fmla="*/ 2475594 w 8267681"/>
              <a:gd name="connsiteY2665" fmla="*/ 4554240 h 6698675"/>
              <a:gd name="connsiteX2666" fmla="*/ 2475594 w 8267681"/>
              <a:gd name="connsiteY2666" fmla="*/ 4556589 h 6698675"/>
              <a:gd name="connsiteX2667" fmla="*/ 2487337 w 8267681"/>
              <a:gd name="connsiteY2667" fmla="*/ 4551891 h 6698675"/>
              <a:gd name="connsiteX2668" fmla="*/ 1362286 w 8267681"/>
              <a:gd name="connsiteY2668" fmla="*/ 4549542 h 6698675"/>
              <a:gd name="connsiteX2669" fmla="*/ 1371684 w 8267681"/>
              <a:gd name="connsiteY2669" fmla="*/ 4554240 h 6698675"/>
              <a:gd name="connsiteX2670" fmla="*/ 1374034 w 8267681"/>
              <a:gd name="connsiteY2670" fmla="*/ 4556588 h 6698675"/>
              <a:gd name="connsiteX2671" fmla="*/ 1371684 w 8267681"/>
              <a:gd name="connsiteY2671" fmla="*/ 4558937 h 6698675"/>
              <a:gd name="connsiteX2672" fmla="*/ 1366984 w 8267681"/>
              <a:gd name="connsiteY2672" fmla="*/ 4563635 h 6698675"/>
              <a:gd name="connsiteX2673" fmla="*/ 1362286 w 8267681"/>
              <a:gd name="connsiteY2673" fmla="*/ 4565984 h 6698675"/>
              <a:gd name="connsiteX2674" fmla="*/ 1359937 w 8267681"/>
              <a:gd name="connsiteY2674" fmla="*/ 4563635 h 6698675"/>
              <a:gd name="connsiteX2675" fmla="*/ 1357592 w 8267681"/>
              <a:gd name="connsiteY2675" fmla="*/ 4554240 h 6698675"/>
              <a:gd name="connsiteX2676" fmla="*/ 1618291 w 8267681"/>
              <a:gd name="connsiteY2676" fmla="*/ 4537799 h 6698675"/>
              <a:gd name="connsiteX2677" fmla="*/ 1606549 w 8267681"/>
              <a:gd name="connsiteY2677" fmla="*/ 4549542 h 6698675"/>
              <a:gd name="connsiteX2678" fmla="*/ 1608899 w 8267681"/>
              <a:gd name="connsiteY2678" fmla="*/ 4561286 h 6698675"/>
              <a:gd name="connsiteX2679" fmla="*/ 1599502 w 8267681"/>
              <a:gd name="connsiteY2679" fmla="*/ 4563635 h 6698675"/>
              <a:gd name="connsiteX2680" fmla="*/ 1587170 w 8267681"/>
              <a:gd name="connsiteY2680" fmla="*/ 4560992 h 6698675"/>
              <a:gd name="connsiteX2681" fmla="*/ 1580878 w 8267681"/>
              <a:gd name="connsiteY2681" fmla="*/ 4556448 h 6698675"/>
              <a:gd name="connsiteX2682" fmla="*/ 1580723 w 8267681"/>
              <a:gd name="connsiteY2682" fmla="*/ 4558937 h 6698675"/>
              <a:gd name="connsiteX2683" fmla="*/ 1578373 w 8267681"/>
              <a:gd name="connsiteY2683" fmla="*/ 4561286 h 6698675"/>
              <a:gd name="connsiteX2684" fmla="*/ 1561932 w 8267681"/>
              <a:gd name="connsiteY2684" fmla="*/ 4547194 h 6698675"/>
              <a:gd name="connsiteX2685" fmla="*/ 1538446 w 8267681"/>
              <a:gd name="connsiteY2685" fmla="*/ 4575379 h 6698675"/>
              <a:gd name="connsiteX2686" fmla="*/ 1545495 w 8267681"/>
              <a:gd name="connsiteY2686" fmla="*/ 4582425 h 6698675"/>
              <a:gd name="connsiteX2687" fmla="*/ 1561932 w 8267681"/>
              <a:gd name="connsiteY2687" fmla="*/ 4556589 h 6698675"/>
              <a:gd name="connsiteX2688" fmla="*/ 1566630 w 8267681"/>
              <a:gd name="connsiteY2688" fmla="*/ 4565984 h 6698675"/>
              <a:gd name="connsiteX2689" fmla="*/ 1561932 w 8267681"/>
              <a:gd name="connsiteY2689" fmla="*/ 4598867 h 6698675"/>
              <a:gd name="connsiteX2690" fmla="*/ 1552538 w 8267681"/>
              <a:gd name="connsiteY2690" fmla="*/ 4596518 h 6698675"/>
              <a:gd name="connsiteX2691" fmla="*/ 1552538 w 8267681"/>
              <a:gd name="connsiteY2691" fmla="*/ 4603564 h 6698675"/>
              <a:gd name="connsiteX2692" fmla="*/ 1564282 w 8267681"/>
              <a:gd name="connsiteY2692" fmla="*/ 4612959 h 6698675"/>
              <a:gd name="connsiteX2693" fmla="*/ 1601866 w 8267681"/>
              <a:gd name="connsiteY2693" fmla="*/ 4608262 h 6698675"/>
              <a:gd name="connsiteX2694" fmla="*/ 1603165 w 8267681"/>
              <a:gd name="connsiteY2694" fmla="*/ 4613457 h 6698675"/>
              <a:gd name="connsiteX2695" fmla="*/ 1609044 w 8267681"/>
              <a:gd name="connsiteY2695" fmla="*/ 4608225 h 6698675"/>
              <a:gd name="connsiteX2696" fmla="*/ 1627686 w 8267681"/>
              <a:gd name="connsiteY2696" fmla="*/ 4603564 h 6698675"/>
              <a:gd name="connsiteX2697" fmla="*/ 1622992 w 8267681"/>
              <a:gd name="connsiteY2697" fmla="*/ 4568333 h 6698675"/>
              <a:gd name="connsiteX2698" fmla="*/ 1627686 w 8267681"/>
              <a:gd name="connsiteY2698" fmla="*/ 4551891 h 6698675"/>
              <a:gd name="connsiteX2699" fmla="*/ 1618291 w 8267681"/>
              <a:gd name="connsiteY2699" fmla="*/ 4537799 h 6698675"/>
              <a:gd name="connsiteX2700" fmla="*/ 1021714 w 8267681"/>
              <a:gd name="connsiteY2700" fmla="*/ 4535450 h 6698675"/>
              <a:gd name="connsiteX2701" fmla="*/ 1038156 w 8267681"/>
              <a:gd name="connsiteY2701" fmla="*/ 4547194 h 6698675"/>
              <a:gd name="connsiteX2702" fmla="*/ 1026412 w 8267681"/>
              <a:gd name="connsiteY2702" fmla="*/ 4563635 h 6698675"/>
              <a:gd name="connsiteX2703" fmla="*/ 1031108 w 8267681"/>
              <a:gd name="connsiteY2703" fmla="*/ 4573030 h 6698675"/>
              <a:gd name="connsiteX2704" fmla="*/ 1026412 w 8267681"/>
              <a:gd name="connsiteY2704" fmla="*/ 4577728 h 6698675"/>
              <a:gd name="connsiteX2705" fmla="*/ 1017015 w 8267681"/>
              <a:gd name="connsiteY2705" fmla="*/ 4573030 h 6698675"/>
              <a:gd name="connsiteX2706" fmla="*/ 995877 w 8267681"/>
              <a:gd name="connsiteY2706" fmla="*/ 4556589 h 6698675"/>
              <a:gd name="connsiteX2707" fmla="*/ 1002922 w 8267681"/>
              <a:gd name="connsiteY2707" fmla="*/ 4549543 h 6698675"/>
              <a:gd name="connsiteX2708" fmla="*/ 1012319 w 8267681"/>
              <a:gd name="connsiteY2708" fmla="*/ 4551891 h 6698675"/>
              <a:gd name="connsiteX2709" fmla="*/ 1017015 w 8267681"/>
              <a:gd name="connsiteY2709" fmla="*/ 4540148 h 6698675"/>
              <a:gd name="connsiteX2710" fmla="*/ 1021714 w 8267681"/>
              <a:gd name="connsiteY2710" fmla="*/ 4535450 h 6698675"/>
              <a:gd name="connsiteX2711" fmla="*/ 1157945 w 8267681"/>
              <a:gd name="connsiteY2711" fmla="*/ 4535449 h 6698675"/>
              <a:gd name="connsiteX2712" fmla="*/ 1160296 w 8267681"/>
              <a:gd name="connsiteY2712" fmla="*/ 4535449 h 6698675"/>
              <a:gd name="connsiteX2713" fmla="*/ 1167341 w 8267681"/>
              <a:gd name="connsiteY2713" fmla="*/ 4544844 h 6698675"/>
              <a:gd name="connsiteX2714" fmla="*/ 1157945 w 8267681"/>
              <a:gd name="connsiteY2714" fmla="*/ 4547193 h 6698675"/>
              <a:gd name="connsiteX2715" fmla="*/ 1466513 w 8267681"/>
              <a:gd name="connsiteY2715" fmla="*/ 4534568 h 6698675"/>
              <a:gd name="connsiteX2716" fmla="*/ 1472682 w 8267681"/>
              <a:gd name="connsiteY2716" fmla="*/ 4535449 h 6698675"/>
              <a:gd name="connsiteX2717" fmla="*/ 1475028 w 8267681"/>
              <a:gd name="connsiteY2717" fmla="*/ 4542495 h 6698675"/>
              <a:gd name="connsiteX2718" fmla="*/ 1472682 w 8267681"/>
              <a:gd name="connsiteY2718" fmla="*/ 4547193 h 6698675"/>
              <a:gd name="connsiteX2719" fmla="*/ 1482074 w 8267681"/>
              <a:gd name="connsiteY2719" fmla="*/ 4558937 h 6698675"/>
              <a:gd name="connsiteX2720" fmla="*/ 1479726 w 8267681"/>
              <a:gd name="connsiteY2720" fmla="*/ 4561285 h 6698675"/>
              <a:gd name="connsiteX2721" fmla="*/ 1470332 w 8267681"/>
              <a:gd name="connsiteY2721" fmla="*/ 4565983 h 6698675"/>
              <a:gd name="connsiteX2722" fmla="*/ 1428054 w 8267681"/>
              <a:gd name="connsiteY2722" fmla="*/ 4549541 h 6698675"/>
              <a:gd name="connsiteX2723" fmla="*/ 1423355 w 8267681"/>
              <a:gd name="connsiteY2723" fmla="*/ 4556588 h 6698675"/>
              <a:gd name="connsiteX2724" fmla="*/ 1444497 w 8267681"/>
              <a:gd name="connsiteY2724" fmla="*/ 4601215 h 6698675"/>
              <a:gd name="connsiteX2725" fmla="*/ 1435098 w 8267681"/>
              <a:gd name="connsiteY2725" fmla="*/ 4622354 h 6698675"/>
              <a:gd name="connsiteX2726" fmla="*/ 1418657 w 8267681"/>
              <a:gd name="connsiteY2726" fmla="*/ 4631749 h 6698675"/>
              <a:gd name="connsiteX2727" fmla="*/ 1411612 w 8267681"/>
              <a:gd name="connsiteY2727" fmla="*/ 4629400 h 6698675"/>
              <a:gd name="connsiteX2728" fmla="*/ 1404570 w 8267681"/>
              <a:gd name="connsiteY2728" fmla="*/ 4631749 h 6698675"/>
              <a:gd name="connsiteX2729" fmla="*/ 1411612 w 8267681"/>
              <a:gd name="connsiteY2729" fmla="*/ 4636447 h 6698675"/>
              <a:gd name="connsiteX2730" fmla="*/ 1418657 w 8267681"/>
              <a:gd name="connsiteY2730" fmla="*/ 4631749 h 6698675"/>
              <a:gd name="connsiteX2731" fmla="*/ 1411612 w 8267681"/>
              <a:gd name="connsiteY2731" fmla="*/ 4638795 h 6698675"/>
              <a:gd name="connsiteX2732" fmla="*/ 1418657 w 8267681"/>
              <a:gd name="connsiteY2732" fmla="*/ 4645842 h 6698675"/>
              <a:gd name="connsiteX2733" fmla="*/ 1428054 w 8267681"/>
              <a:gd name="connsiteY2733" fmla="*/ 4634098 h 6698675"/>
              <a:gd name="connsiteX2734" fmla="*/ 1435098 w 8267681"/>
              <a:gd name="connsiteY2734" fmla="*/ 4638795 h 6698675"/>
              <a:gd name="connsiteX2735" fmla="*/ 1432749 w 8267681"/>
              <a:gd name="connsiteY2735" fmla="*/ 4648190 h 6698675"/>
              <a:gd name="connsiteX2736" fmla="*/ 1435098 w 8267681"/>
              <a:gd name="connsiteY2736" fmla="*/ 4657585 h 6698675"/>
              <a:gd name="connsiteX2737" fmla="*/ 1428054 w 8267681"/>
              <a:gd name="connsiteY2737" fmla="*/ 4671678 h 6698675"/>
              <a:gd name="connsiteX2738" fmla="*/ 1418657 w 8267681"/>
              <a:gd name="connsiteY2738" fmla="*/ 4666980 h 6698675"/>
              <a:gd name="connsiteX2739" fmla="*/ 1411612 w 8267681"/>
              <a:gd name="connsiteY2739" fmla="*/ 4657585 h 6698675"/>
              <a:gd name="connsiteX2740" fmla="*/ 1402219 w 8267681"/>
              <a:gd name="connsiteY2740" fmla="*/ 4664632 h 6698675"/>
              <a:gd name="connsiteX2741" fmla="*/ 1345844 w 8267681"/>
              <a:gd name="connsiteY2741" fmla="*/ 4631749 h 6698675"/>
              <a:gd name="connsiteX2742" fmla="*/ 1355241 w 8267681"/>
              <a:gd name="connsiteY2742" fmla="*/ 4622354 h 6698675"/>
              <a:gd name="connsiteX2743" fmla="*/ 1341149 w 8267681"/>
              <a:gd name="connsiteY2743" fmla="*/ 4605912 h 6698675"/>
              <a:gd name="connsiteX2744" fmla="*/ 1350542 w 8267681"/>
              <a:gd name="connsiteY2744" fmla="*/ 4596517 h 6698675"/>
              <a:gd name="connsiteX2745" fmla="*/ 1341149 w 8267681"/>
              <a:gd name="connsiteY2745" fmla="*/ 4587122 h 6698675"/>
              <a:gd name="connsiteX2746" fmla="*/ 1348194 w 8267681"/>
              <a:gd name="connsiteY2746" fmla="*/ 4584773 h 6698675"/>
              <a:gd name="connsiteX2747" fmla="*/ 1366984 w 8267681"/>
              <a:gd name="connsiteY2747" fmla="*/ 4596517 h 6698675"/>
              <a:gd name="connsiteX2748" fmla="*/ 1352891 w 8267681"/>
              <a:gd name="connsiteY2748" fmla="*/ 4612959 h 6698675"/>
              <a:gd name="connsiteX2749" fmla="*/ 1357592 w 8267681"/>
              <a:gd name="connsiteY2749" fmla="*/ 4620005 h 6698675"/>
              <a:gd name="connsiteX2750" fmla="*/ 1366984 w 8267681"/>
              <a:gd name="connsiteY2750" fmla="*/ 4615307 h 6698675"/>
              <a:gd name="connsiteX2751" fmla="*/ 1383426 w 8267681"/>
              <a:gd name="connsiteY2751" fmla="*/ 4587122 h 6698675"/>
              <a:gd name="connsiteX2752" fmla="*/ 1392822 w 8267681"/>
              <a:gd name="connsiteY2752" fmla="*/ 4573029 h 6698675"/>
              <a:gd name="connsiteX2753" fmla="*/ 1402219 w 8267681"/>
              <a:gd name="connsiteY2753" fmla="*/ 4577727 h 6698675"/>
              <a:gd name="connsiteX2754" fmla="*/ 1411612 w 8267681"/>
              <a:gd name="connsiteY2754" fmla="*/ 4584773 h 6698675"/>
              <a:gd name="connsiteX2755" fmla="*/ 1416312 w 8267681"/>
              <a:gd name="connsiteY2755" fmla="*/ 4577727 h 6698675"/>
              <a:gd name="connsiteX2756" fmla="*/ 1406914 w 8267681"/>
              <a:gd name="connsiteY2756" fmla="*/ 4551890 h 6698675"/>
              <a:gd name="connsiteX2757" fmla="*/ 1392822 w 8267681"/>
              <a:gd name="connsiteY2757" fmla="*/ 4551890 h 6698675"/>
              <a:gd name="connsiteX2758" fmla="*/ 1392822 w 8267681"/>
              <a:gd name="connsiteY2758" fmla="*/ 4542495 h 6698675"/>
              <a:gd name="connsiteX2759" fmla="*/ 1458585 w 8267681"/>
              <a:gd name="connsiteY2759" fmla="*/ 4542495 h 6698675"/>
              <a:gd name="connsiteX2760" fmla="*/ 1466513 w 8267681"/>
              <a:gd name="connsiteY2760" fmla="*/ 4534568 h 6698675"/>
              <a:gd name="connsiteX2761" fmla="*/ 2515523 w 8267681"/>
              <a:gd name="connsiteY2761" fmla="*/ 4533101 h 6698675"/>
              <a:gd name="connsiteX2762" fmla="*/ 2503779 w 8267681"/>
              <a:gd name="connsiteY2762" fmla="*/ 4535450 h 6698675"/>
              <a:gd name="connsiteX2763" fmla="*/ 2503779 w 8267681"/>
              <a:gd name="connsiteY2763" fmla="*/ 4542496 h 6698675"/>
              <a:gd name="connsiteX2764" fmla="*/ 2515523 w 8267681"/>
              <a:gd name="connsiteY2764" fmla="*/ 4533101 h 6698675"/>
              <a:gd name="connsiteX2765" fmla="*/ 1082782 w 8267681"/>
              <a:gd name="connsiteY2765" fmla="*/ 4530753 h 6698675"/>
              <a:gd name="connsiteX2766" fmla="*/ 1087482 w 8267681"/>
              <a:gd name="connsiteY2766" fmla="*/ 4540148 h 6698675"/>
              <a:gd name="connsiteX2767" fmla="*/ 1108618 w 8267681"/>
              <a:gd name="connsiteY2767" fmla="*/ 4549543 h 6698675"/>
              <a:gd name="connsiteX2768" fmla="*/ 1122711 w 8267681"/>
              <a:gd name="connsiteY2768" fmla="*/ 4556589 h 6698675"/>
              <a:gd name="connsiteX2769" fmla="*/ 1115668 w 8267681"/>
              <a:gd name="connsiteY2769" fmla="*/ 4561287 h 6698675"/>
              <a:gd name="connsiteX2770" fmla="*/ 1085132 w 8267681"/>
              <a:gd name="connsiteY2770" fmla="*/ 4573031 h 6698675"/>
              <a:gd name="connsiteX2771" fmla="*/ 1080433 w 8267681"/>
              <a:gd name="connsiteY2771" fmla="*/ 4575380 h 6698675"/>
              <a:gd name="connsiteX2772" fmla="*/ 1075736 w 8267681"/>
              <a:gd name="connsiteY2772" fmla="*/ 4573031 h 6698675"/>
              <a:gd name="connsiteX2773" fmla="*/ 1080433 w 8267681"/>
              <a:gd name="connsiteY2773" fmla="*/ 4549543 h 6698675"/>
              <a:gd name="connsiteX2774" fmla="*/ 1071040 w 8267681"/>
              <a:gd name="connsiteY2774" fmla="*/ 4551892 h 6698675"/>
              <a:gd name="connsiteX2775" fmla="*/ 1066339 w 8267681"/>
              <a:gd name="connsiteY2775" fmla="*/ 4540148 h 6698675"/>
              <a:gd name="connsiteX2776" fmla="*/ 1082782 w 8267681"/>
              <a:gd name="connsiteY2776" fmla="*/ 4530753 h 6698675"/>
              <a:gd name="connsiteX2777" fmla="*/ 2647054 w 8267681"/>
              <a:gd name="connsiteY2777" fmla="*/ 4528404 h 6698675"/>
              <a:gd name="connsiteX2778" fmla="*/ 2581289 w 8267681"/>
              <a:gd name="connsiteY2778" fmla="*/ 4535450 h 6698675"/>
              <a:gd name="connsiteX2779" fmla="*/ 2557801 w 8267681"/>
              <a:gd name="connsiteY2779" fmla="*/ 4561286 h 6698675"/>
              <a:gd name="connsiteX2780" fmla="*/ 2656449 w 8267681"/>
              <a:gd name="connsiteY2780" fmla="*/ 4535450 h 6698675"/>
              <a:gd name="connsiteX2781" fmla="*/ 2647054 w 8267681"/>
              <a:gd name="connsiteY2781" fmla="*/ 4528404 h 6698675"/>
              <a:gd name="connsiteX2782" fmla="*/ 5641747 w 8267681"/>
              <a:gd name="connsiteY2782" fmla="*/ 4528403 h 6698675"/>
              <a:gd name="connsiteX2783" fmla="*/ 5648793 w 8267681"/>
              <a:gd name="connsiteY2783" fmla="*/ 4540147 h 6698675"/>
              <a:gd name="connsiteX2784" fmla="*/ 5641747 w 8267681"/>
              <a:gd name="connsiteY2784" fmla="*/ 4528403 h 6698675"/>
              <a:gd name="connsiteX2785" fmla="*/ 1284778 w 8267681"/>
              <a:gd name="connsiteY2785" fmla="*/ 4526054 h 6698675"/>
              <a:gd name="connsiteX2786" fmla="*/ 1280079 w 8267681"/>
              <a:gd name="connsiteY2786" fmla="*/ 4533100 h 6698675"/>
              <a:gd name="connsiteX2787" fmla="*/ 1282428 w 8267681"/>
              <a:gd name="connsiteY2787" fmla="*/ 4542495 h 6698675"/>
              <a:gd name="connsiteX2788" fmla="*/ 1284778 w 8267681"/>
              <a:gd name="connsiteY2788" fmla="*/ 4544844 h 6698675"/>
              <a:gd name="connsiteX2789" fmla="*/ 1294172 w 8267681"/>
              <a:gd name="connsiteY2789" fmla="*/ 4549542 h 6698675"/>
              <a:gd name="connsiteX2790" fmla="*/ 1298871 w 8267681"/>
              <a:gd name="connsiteY2790" fmla="*/ 4542495 h 6698675"/>
              <a:gd name="connsiteX2791" fmla="*/ 1294172 w 8267681"/>
              <a:gd name="connsiteY2791" fmla="*/ 4535449 h 6698675"/>
              <a:gd name="connsiteX2792" fmla="*/ 1291823 w 8267681"/>
              <a:gd name="connsiteY2792" fmla="*/ 4533100 h 6698675"/>
              <a:gd name="connsiteX2793" fmla="*/ 946557 w 8267681"/>
              <a:gd name="connsiteY2793" fmla="*/ 4521356 h 6698675"/>
              <a:gd name="connsiteX2794" fmla="*/ 951250 w 8267681"/>
              <a:gd name="connsiteY2794" fmla="*/ 4521356 h 6698675"/>
              <a:gd name="connsiteX2795" fmla="*/ 958299 w 8267681"/>
              <a:gd name="connsiteY2795" fmla="*/ 4530751 h 6698675"/>
              <a:gd name="connsiteX2796" fmla="*/ 958299 w 8267681"/>
              <a:gd name="connsiteY2796" fmla="*/ 4540146 h 6698675"/>
              <a:gd name="connsiteX2797" fmla="*/ 958299 w 8267681"/>
              <a:gd name="connsiteY2797" fmla="*/ 4549541 h 6698675"/>
              <a:gd name="connsiteX2798" fmla="*/ 946557 w 8267681"/>
              <a:gd name="connsiteY2798" fmla="*/ 4551890 h 6698675"/>
              <a:gd name="connsiteX2799" fmla="*/ 920715 w 8267681"/>
              <a:gd name="connsiteY2799" fmla="*/ 4547193 h 6698675"/>
              <a:gd name="connsiteX2800" fmla="*/ 939506 w 8267681"/>
              <a:gd name="connsiteY2800" fmla="*/ 4537797 h 6698675"/>
              <a:gd name="connsiteX2801" fmla="*/ 946557 w 8267681"/>
              <a:gd name="connsiteY2801" fmla="*/ 4521356 h 6698675"/>
              <a:gd name="connsiteX2802" fmla="*/ 5679329 w 8267681"/>
              <a:gd name="connsiteY2802" fmla="*/ 4516660 h 6698675"/>
              <a:gd name="connsiteX2803" fmla="*/ 5684026 w 8267681"/>
              <a:gd name="connsiteY2803" fmla="*/ 4561287 h 6698675"/>
              <a:gd name="connsiteX2804" fmla="*/ 5669934 w 8267681"/>
              <a:gd name="connsiteY2804" fmla="*/ 4537799 h 6698675"/>
              <a:gd name="connsiteX2805" fmla="*/ 5653492 w 8267681"/>
              <a:gd name="connsiteY2805" fmla="*/ 4540148 h 6698675"/>
              <a:gd name="connsiteX2806" fmla="*/ 5679329 w 8267681"/>
              <a:gd name="connsiteY2806" fmla="*/ 4516660 h 6698675"/>
              <a:gd name="connsiteX2807" fmla="*/ 2715170 w 8267681"/>
              <a:gd name="connsiteY2807" fmla="*/ 4511962 h 6698675"/>
              <a:gd name="connsiteX2808" fmla="*/ 2665845 w 8267681"/>
              <a:gd name="connsiteY2808" fmla="*/ 4523706 h 6698675"/>
              <a:gd name="connsiteX2809" fmla="*/ 2670543 w 8267681"/>
              <a:gd name="connsiteY2809" fmla="*/ 4530753 h 6698675"/>
              <a:gd name="connsiteX2810" fmla="*/ 2679937 w 8267681"/>
              <a:gd name="connsiteY2810" fmla="*/ 4528404 h 6698675"/>
              <a:gd name="connsiteX2811" fmla="*/ 2717518 w 8267681"/>
              <a:gd name="connsiteY2811" fmla="*/ 4526055 h 6698675"/>
              <a:gd name="connsiteX2812" fmla="*/ 2715170 w 8267681"/>
              <a:gd name="connsiteY2812" fmla="*/ 4523706 h 6698675"/>
              <a:gd name="connsiteX2813" fmla="*/ 2717518 w 8267681"/>
              <a:gd name="connsiteY2813" fmla="*/ 4514311 h 6698675"/>
              <a:gd name="connsiteX2814" fmla="*/ 2715170 w 8267681"/>
              <a:gd name="connsiteY2814" fmla="*/ 4511962 h 6698675"/>
              <a:gd name="connsiteX2815" fmla="*/ 1075734 w 8267681"/>
              <a:gd name="connsiteY2815" fmla="*/ 4511961 h 6698675"/>
              <a:gd name="connsiteX2816" fmla="*/ 1082782 w 8267681"/>
              <a:gd name="connsiteY2816" fmla="*/ 4516659 h 6698675"/>
              <a:gd name="connsiteX2817" fmla="*/ 1075734 w 8267681"/>
              <a:gd name="connsiteY2817" fmla="*/ 4526054 h 6698675"/>
              <a:gd name="connsiteX2818" fmla="*/ 1073390 w 8267681"/>
              <a:gd name="connsiteY2818" fmla="*/ 4528402 h 6698675"/>
              <a:gd name="connsiteX2819" fmla="*/ 1071040 w 8267681"/>
              <a:gd name="connsiteY2819" fmla="*/ 4526054 h 6698675"/>
              <a:gd name="connsiteX2820" fmla="*/ 1068690 w 8267681"/>
              <a:gd name="connsiteY2820" fmla="*/ 4516659 h 6698675"/>
              <a:gd name="connsiteX2821" fmla="*/ 1040504 w 8267681"/>
              <a:gd name="connsiteY2821" fmla="*/ 4507264 h 6698675"/>
              <a:gd name="connsiteX2822" fmla="*/ 1047549 w 8267681"/>
              <a:gd name="connsiteY2822" fmla="*/ 4516659 h 6698675"/>
              <a:gd name="connsiteX2823" fmla="*/ 1040504 w 8267681"/>
              <a:gd name="connsiteY2823" fmla="*/ 4521357 h 6698675"/>
              <a:gd name="connsiteX2824" fmla="*/ 1035805 w 8267681"/>
              <a:gd name="connsiteY2824" fmla="*/ 4516659 h 6698675"/>
              <a:gd name="connsiteX2825" fmla="*/ 995885 w 8267681"/>
              <a:gd name="connsiteY2825" fmla="*/ 4502567 h 6698675"/>
              <a:gd name="connsiteX2826" fmla="*/ 1009978 w 8267681"/>
              <a:gd name="connsiteY2826" fmla="*/ 4509613 h 6698675"/>
              <a:gd name="connsiteX2827" fmla="*/ 1019371 w 8267681"/>
              <a:gd name="connsiteY2827" fmla="*/ 4519009 h 6698675"/>
              <a:gd name="connsiteX2828" fmla="*/ 1014678 w 8267681"/>
              <a:gd name="connsiteY2828" fmla="*/ 4530753 h 6698675"/>
              <a:gd name="connsiteX2829" fmla="*/ 1005277 w 8267681"/>
              <a:gd name="connsiteY2829" fmla="*/ 4535450 h 6698675"/>
              <a:gd name="connsiteX2830" fmla="*/ 1002929 w 8267681"/>
              <a:gd name="connsiteY2830" fmla="*/ 4533101 h 6698675"/>
              <a:gd name="connsiteX2831" fmla="*/ 979443 w 8267681"/>
              <a:gd name="connsiteY2831" fmla="*/ 4523706 h 6698675"/>
              <a:gd name="connsiteX2832" fmla="*/ 991188 w 8267681"/>
              <a:gd name="connsiteY2832" fmla="*/ 4507265 h 6698675"/>
              <a:gd name="connsiteX2833" fmla="*/ 995885 w 8267681"/>
              <a:gd name="connsiteY2833" fmla="*/ 4502567 h 6698675"/>
              <a:gd name="connsiteX2834" fmla="*/ 1157945 w 8267681"/>
              <a:gd name="connsiteY2834" fmla="*/ 4502566 h 6698675"/>
              <a:gd name="connsiteX2835" fmla="*/ 1167341 w 8267681"/>
              <a:gd name="connsiteY2835" fmla="*/ 4502566 h 6698675"/>
              <a:gd name="connsiteX2836" fmla="*/ 1172038 w 8267681"/>
              <a:gd name="connsiteY2836" fmla="*/ 4509612 h 6698675"/>
              <a:gd name="connsiteX2837" fmla="*/ 1167341 w 8267681"/>
              <a:gd name="connsiteY2837" fmla="*/ 4514310 h 6698675"/>
              <a:gd name="connsiteX2838" fmla="*/ 1157945 w 8267681"/>
              <a:gd name="connsiteY2838" fmla="*/ 4514310 h 6698675"/>
              <a:gd name="connsiteX2839" fmla="*/ 1153246 w 8267681"/>
              <a:gd name="connsiteY2839" fmla="*/ 4509612 h 6698675"/>
              <a:gd name="connsiteX2840" fmla="*/ 901929 w 8267681"/>
              <a:gd name="connsiteY2840" fmla="*/ 4502566 h 6698675"/>
              <a:gd name="connsiteX2841" fmla="*/ 911321 w 8267681"/>
              <a:gd name="connsiteY2841" fmla="*/ 4502566 h 6698675"/>
              <a:gd name="connsiteX2842" fmla="*/ 916021 w 8267681"/>
              <a:gd name="connsiteY2842" fmla="*/ 4507264 h 6698675"/>
              <a:gd name="connsiteX2843" fmla="*/ 920715 w 8267681"/>
              <a:gd name="connsiteY2843" fmla="*/ 4514310 h 6698675"/>
              <a:gd name="connsiteX2844" fmla="*/ 918366 w 8267681"/>
              <a:gd name="connsiteY2844" fmla="*/ 4523705 h 6698675"/>
              <a:gd name="connsiteX2845" fmla="*/ 908971 w 8267681"/>
              <a:gd name="connsiteY2845" fmla="*/ 4523705 h 6698675"/>
              <a:gd name="connsiteX2846" fmla="*/ 899579 w 8267681"/>
              <a:gd name="connsiteY2846" fmla="*/ 4507264 h 6698675"/>
              <a:gd name="connsiteX2847" fmla="*/ 901929 w 8267681"/>
              <a:gd name="connsiteY2847" fmla="*/ 4502566 h 6698675"/>
              <a:gd name="connsiteX2848" fmla="*/ 2616520 w 8267681"/>
              <a:gd name="connsiteY2848" fmla="*/ 4500218 h 6698675"/>
              <a:gd name="connsiteX2849" fmla="*/ 2602427 w 8267681"/>
              <a:gd name="connsiteY2849" fmla="*/ 4519009 h 6698675"/>
              <a:gd name="connsiteX2850" fmla="*/ 2628264 w 8267681"/>
              <a:gd name="connsiteY2850" fmla="*/ 4514311 h 6698675"/>
              <a:gd name="connsiteX2851" fmla="*/ 2616520 w 8267681"/>
              <a:gd name="connsiteY2851" fmla="*/ 4500218 h 6698675"/>
              <a:gd name="connsiteX2852" fmla="*/ 1118018 w 8267681"/>
              <a:gd name="connsiteY2852" fmla="*/ 4500218 h 6698675"/>
              <a:gd name="connsiteX2853" fmla="*/ 1129760 w 8267681"/>
              <a:gd name="connsiteY2853" fmla="*/ 4500218 h 6698675"/>
              <a:gd name="connsiteX2854" fmla="*/ 1134461 w 8267681"/>
              <a:gd name="connsiteY2854" fmla="*/ 4504916 h 6698675"/>
              <a:gd name="connsiteX2855" fmla="*/ 1146203 w 8267681"/>
              <a:gd name="connsiteY2855" fmla="*/ 4526054 h 6698675"/>
              <a:gd name="connsiteX2856" fmla="*/ 1148548 w 8267681"/>
              <a:gd name="connsiteY2856" fmla="*/ 4533101 h 6698675"/>
              <a:gd name="connsiteX2857" fmla="*/ 1134461 w 8267681"/>
              <a:gd name="connsiteY2857" fmla="*/ 4542496 h 6698675"/>
              <a:gd name="connsiteX2858" fmla="*/ 1127410 w 8267681"/>
              <a:gd name="connsiteY2858" fmla="*/ 4526054 h 6698675"/>
              <a:gd name="connsiteX2859" fmla="*/ 786838 w 8267681"/>
              <a:gd name="connsiteY2859" fmla="*/ 4497868 h 6698675"/>
              <a:gd name="connsiteX2860" fmla="*/ 791539 w 8267681"/>
              <a:gd name="connsiteY2860" fmla="*/ 4504914 h 6698675"/>
              <a:gd name="connsiteX2861" fmla="*/ 791539 w 8267681"/>
              <a:gd name="connsiteY2861" fmla="*/ 4511961 h 6698675"/>
              <a:gd name="connsiteX2862" fmla="*/ 786838 w 8267681"/>
              <a:gd name="connsiteY2862" fmla="*/ 4516658 h 6698675"/>
              <a:gd name="connsiteX2863" fmla="*/ 2611823 w 8267681"/>
              <a:gd name="connsiteY2863" fmla="*/ 4495521 h 6698675"/>
              <a:gd name="connsiteX2864" fmla="*/ 2524918 w 8267681"/>
              <a:gd name="connsiteY2864" fmla="*/ 4540147 h 6698675"/>
              <a:gd name="connsiteX2865" fmla="*/ 2611823 w 8267681"/>
              <a:gd name="connsiteY2865" fmla="*/ 4495521 h 6698675"/>
              <a:gd name="connsiteX2866" fmla="*/ 2830260 w 8267681"/>
              <a:gd name="connsiteY2866" fmla="*/ 4493172 h 6698675"/>
              <a:gd name="connsiteX2867" fmla="*/ 2813818 w 8267681"/>
              <a:gd name="connsiteY2867" fmla="*/ 4497869 h 6698675"/>
              <a:gd name="connsiteX2868" fmla="*/ 2816166 w 8267681"/>
              <a:gd name="connsiteY2868" fmla="*/ 4500218 h 6698675"/>
              <a:gd name="connsiteX2869" fmla="*/ 2811469 w 8267681"/>
              <a:gd name="connsiteY2869" fmla="*/ 4507265 h 6698675"/>
              <a:gd name="connsiteX2870" fmla="*/ 2804424 w 8267681"/>
              <a:gd name="connsiteY2870" fmla="*/ 4500218 h 6698675"/>
              <a:gd name="connsiteX2871" fmla="*/ 2771540 w 8267681"/>
              <a:gd name="connsiteY2871" fmla="*/ 4497869 h 6698675"/>
              <a:gd name="connsiteX2872" fmla="*/ 2759797 w 8267681"/>
              <a:gd name="connsiteY2872" fmla="*/ 4500218 h 6698675"/>
              <a:gd name="connsiteX2873" fmla="*/ 2764493 w 8267681"/>
              <a:gd name="connsiteY2873" fmla="*/ 4519009 h 6698675"/>
              <a:gd name="connsiteX2874" fmla="*/ 2863142 w 8267681"/>
              <a:gd name="connsiteY2874" fmla="*/ 4495521 h 6698675"/>
              <a:gd name="connsiteX2875" fmla="*/ 2863142 w 8267681"/>
              <a:gd name="connsiteY2875" fmla="*/ 4493172 h 6698675"/>
              <a:gd name="connsiteX2876" fmla="*/ 2830260 w 8267681"/>
              <a:gd name="connsiteY2876" fmla="*/ 4493172 h 6698675"/>
              <a:gd name="connsiteX2877" fmla="*/ 1348194 w 8267681"/>
              <a:gd name="connsiteY2877" fmla="*/ 4490822 h 6698675"/>
              <a:gd name="connsiteX2878" fmla="*/ 1352892 w 8267681"/>
              <a:gd name="connsiteY2878" fmla="*/ 4497868 h 6698675"/>
              <a:gd name="connsiteX2879" fmla="*/ 1338799 w 8267681"/>
              <a:gd name="connsiteY2879" fmla="*/ 4516659 h 6698675"/>
              <a:gd name="connsiteX2880" fmla="*/ 1329406 w 8267681"/>
              <a:gd name="connsiteY2880" fmla="*/ 4514310 h 6698675"/>
              <a:gd name="connsiteX2881" fmla="*/ 1327056 w 8267681"/>
              <a:gd name="connsiteY2881" fmla="*/ 4514310 h 6698675"/>
              <a:gd name="connsiteX2882" fmla="*/ 1324706 w 8267681"/>
              <a:gd name="connsiteY2882" fmla="*/ 4523705 h 6698675"/>
              <a:gd name="connsiteX2883" fmla="*/ 1317659 w 8267681"/>
              <a:gd name="connsiteY2883" fmla="*/ 4549542 h 6698675"/>
              <a:gd name="connsiteX2884" fmla="*/ 1338799 w 8267681"/>
              <a:gd name="connsiteY2884" fmla="*/ 4533100 h 6698675"/>
              <a:gd name="connsiteX2885" fmla="*/ 1345844 w 8267681"/>
              <a:gd name="connsiteY2885" fmla="*/ 4542495 h 6698675"/>
              <a:gd name="connsiteX2886" fmla="*/ 1343499 w 8267681"/>
              <a:gd name="connsiteY2886" fmla="*/ 4551890 h 6698675"/>
              <a:gd name="connsiteX2887" fmla="*/ 1345844 w 8267681"/>
              <a:gd name="connsiteY2887" fmla="*/ 4561285 h 6698675"/>
              <a:gd name="connsiteX2888" fmla="*/ 1320009 w 8267681"/>
              <a:gd name="connsiteY2888" fmla="*/ 4584773 h 6698675"/>
              <a:gd name="connsiteX2889" fmla="*/ 1310613 w 8267681"/>
              <a:gd name="connsiteY2889" fmla="*/ 4584773 h 6698675"/>
              <a:gd name="connsiteX2890" fmla="*/ 1291823 w 8267681"/>
              <a:gd name="connsiteY2890" fmla="*/ 4596517 h 6698675"/>
              <a:gd name="connsiteX2891" fmla="*/ 1294172 w 8267681"/>
              <a:gd name="connsiteY2891" fmla="*/ 4570681 h 6698675"/>
              <a:gd name="connsiteX2892" fmla="*/ 1284778 w 8267681"/>
              <a:gd name="connsiteY2892" fmla="*/ 4565983 h 6698675"/>
              <a:gd name="connsiteX2893" fmla="*/ 1273032 w 8267681"/>
              <a:gd name="connsiteY2893" fmla="*/ 4554239 h 6698675"/>
              <a:gd name="connsiteX2894" fmla="*/ 1256593 w 8267681"/>
              <a:gd name="connsiteY2894" fmla="*/ 4554239 h 6698675"/>
              <a:gd name="connsiteX2895" fmla="*/ 1254243 w 8267681"/>
              <a:gd name="connsiteY2895" fmla="*/ 4544844 h 6698675"/>
              <a:gd name="connsiteX2896" fmla="*/ 1284778 w 8267681"/>
              <a:gd name="connsiteY2896" fmla="*/ 4514310 h 6698675"/>
              <a:gd name="connsiteX2897" fmla="*/ 1310613 w 8267681"/>
              <a:gd name="connsiteY2897" fmla="*/ 4521356 h 6698675"/>
              <a:gd name="connsiteX2898" fmla="*/ 1320009 w 8267681"/>
              <a:gd name="connsiteY2898" fmla="*/ 4502566 h 6698675"/>
              <a:gd name="connsiteX2899" fmla="*/ 1348194 w 8267681"/>
              <a:gd name="connsiteY2899" fmla="*/ 4490822 h 6698675"/>
              <a:gd name="connsiteX2900" fmla="*/ 829124 w 8267681"/>
              <a:gd name="connsiteY2900" fmla="*/ 4486125 h 6698675"/>
              <a:gd name="connsiteX2901" fmla="*/ 845567 w 8267681"/>
              <a:gd name="connsiteY2901" fmla="*/ 4486125 h 6698675"/>
              <a:gd name="connsiteX2902" fmla="*/ 852609 w 8267681"/>
              <a:gd name="connsiteY2902" fmla="*/ 4495520 h 6698675"/>
              <a:gd name="connsiteX2903" fmla="*/ 845567 w 8267681"/>
              <a:gd name="connsiteY2903" fmla="*/ 4504915 h 6698675"/>
              <a:gd name="connsiteX2904" fmla="*/ 838520 w 8267681"/>
              <a:gd name="connsiteY2904" fmla="*/ 4514310 h 6698675"/>
              <a:gd name="connsiteX2905" fmla="*/ 829124 w 8267681"/>
              <a:gd name="connsiteY2905" fmla="*/ 4514310 h 6698675"/>
              <a:gd name="connsiteX2906" fmla="*/ 826774 w 8267681"/>
              <a:gd name="connsiteY2906" fmla="*/ 4511962 h 6698675"/>
              <a:gd name="connsiteX2907" fmla="*/ 812682 w 8267681"/>
              <a:gd name="connsiteY2907" fmla="*/ 4502566 h 6698675"/>
              <a:gd name="connsiteX2908" fmla="*/ 822077 w 8267681"/>
              <a:gd name="connsiteY2908" fmla="*/ 4502566 h 6698675"/>
              <a:gd name="connsiteX2909" fmla="*/ 829124 w 8267681"/>
              <a:gd name="connsiteY2909" fmla="*/ 4486125 h 6698675"/>
              <a:gd name="connsiteX2910" fmla="*/ 1446842 w 8267681"/>
              <a:gd name="connsiteY2910" fmla="*/ 4483777 h 6698675"/>
              <a:gd name="connsiteX2911" fmla="*/ 1439797 w 8267681"/>
              <a:gd name="connsiteY2911" fmla="*/ 4486125 h 6698675"/>
              <a:gd name="connsiteX2912" fmla="*/ 1446842 w 8267681"/>
              <a:gd name="connsiteY2912" fmla="*/ 4490823 h 6698675"/>
              <a:gd name="connsiteX2913" fmla="*/ 1451539 w 8267681"/>
              <a:gd name="connsiteY2913" fmla="*/ 4486125 h 6698675"/>
              <a:gd name="connsiteX2914" fmla="*/ 5622957 w 8267681"/>
              <a:gd name="connsiteY2914" fmla="*/ 4483776 h 6698675"/>
              <a:gd name="connsiteX2915" fmla="*/ 5627655 w 8267681"/>
              <a:gd name="connsiteY2915" fmla="*/ 4483776 h 6698675"/>
              <a:gd name="connsiteX2916" fmla="*/ 5622957 w 8267681"/>
              <a:gd name="connsiteY2916" fmla="*/ 4486125 h 6698675"/>
              <a:gd name="connsiteX2917" fmla="*/ 5622957 w 8267681"/>
              <a:gd name="connsiteY2917" fmla="*/ 4483776 h 6698675"/>
              <a:gd name="connsiteX2918" fmla="*/ 2618869 w 8267681"/>
              <a:gd name="connsiteY2918" fmla="*/ 4481428 h 6698675"/>
              <a:gd name="connsiteX2919" fmla="*/ 2609474 w 8267681"/>
              <a:gd name="connsiteY2919" fmla="*/ 4488474 h 6698675"/>
              <a:gd name="connsiteX2920" fmla="*/ 2616520 w 8267681"/>
              <a:gd name="connsiteY2920" fmla="*/ 4486125 h 6698675"/>
              <a:gd name="connsiteX2921" fmla="*/ 2618869 w 8267681"/>
              <a:gd name="connsiteY2921" fmla="*/ 4481428 h 6698675"/>
              <a:gd name="connsiteX2922" fmla="*/ 880786 w 8267681"/>
              <a:gd name="connsiteY2922" fmla="*/ 4481427 h 6698675"/>
              <a:gd name="connsiteX2923" fmla="*/ 885486 w 8267681"/>
              <a:gd name="connsiteY2923" fmla="*/ 4486125 h 6698675"/>
              <a:gd name="connsiteX2924" fmla="*/ 890181 w 8267681"/>
              <a:gd name="connsiteY2924" fmla="*/ 4493171 h 6698675"/>
              <a:gd name="connsiteX2925" fmla="*/ 887836 w 8267681"/>
              <a:gd name="connsiteY2925" fmla="*/ 4504915 h 6698675"/>
              <a:gd name="connsiteX2926" fmla="*/ 880786 w 8267681"/>
              <a:gd name="connsiteY2926" fmla="*/ 4507264 h 6698675"/>
              <a:gd name="connsiteX2927" fmla="*/ 876088 w 8267681"/>
              <a:gd name="connsiteY2927" fmla="*/ 4502566 h 6698675"/>
              <a:gd name="connsiteX2928" fmla="*/ 871394 w 8267681"/>
              <a:gd name="connsiteY2928" fmla="*/ 4490822 h 6698675"/>
              <a:gd name="connsiteX2929" fmla="*/ 880786 w 8267681"/>
              <a:gd name="connsiteY2929" fmla="*/ 4481427 h 6698675"/>
              <a:gd name="connsiteX2930" fmla="*/ 777446 w 8267681"/>
              <a:gd name="connsiteY2930" fmla="*/ 4481427 h 6698675"/>
              <a:gd name="connsiteX2931" fmla="*/ 782138 w 8267681"/>
              <a:gd name="connsiteY2931" fmla="*/ 4486125 h 6698675"/>
              <a:gd name="connsiteX2932" fmla="*/ 777446 w 8267681"/>
              <a:gd name="connsiteY2932" fmla="*/ 4495520 h 6698675"/>
              <a:gd name="connsiteX2933" fmla="*/ 772746 w 8267681"/>
              <a:gd name="connsiteY2933" fmla="*/ 4486125 h 6698675"/>
              <a:gd name="connsiteX2934" fmla="*/ 2698728 w 8267681"/>
              <a:gd name="connsiteY2934" fmla="*/ 4479079 h 6698675"/>
              <a:gd name="connsiteX2935" fmla="*/ 2686984 w 8267681"/>
              <a:gd name="connsiteY2935" fmla="*/ 4481428 h 6698675"/>
              <a:gd name="connsiteX2936" fmla="*/ 2684635 w 8267681"/>
              <a:gd name="connsiteY2936" fmla="*/ 4486125 h 6698675"/>
              <a:gd name="connsiteX2937" fmla="*/ 2675240 w 8267681"/>
              <a:gd name="connsiteY2937" fmla="*/ 4486125 h 6698675"/>
              <a:gd name="connsiteX2938" fmla="*/ 2658799 w 8267681"/>
              <a:gd name="connsiteY2938" fmla="*/ 4502567 h 6698675"/>
              <a:gd name="connsiteX2939" fmla="*/ 2649403 w 8267681"/>
              <a:gd name="connsiteY2939" fmla="*/ 4490823 h 6698675"/>
              <a:gd name="connsiteX2940" fmla="*/ 2642357 w 8267681"/>
              <a:gd name="connsiteY2940" fmla="*/ 4495521 h 6698675"/>
              <a:gd name="connsiteX2941" fmla="*/ 2656449 w 8267681"/>
              <a:gd name="connsiteY2941" fmla="*/ 4509613 h 6698675"/>
              <a:gd name="connsiteX2942" fmla="*/ 2694030 w 8267681"/>
              <a:gd name="connsiteY2942" fmla="*/ 4502567 h 6698675"/>
              <a:gd name="connsiteX2943" fmla="*/ 2691681 w 8267681"/>
              <a:gd name="connsiteY2943" fmla="*/ 4486125 h 6698675"/>
              <a:gd name="connsiteX2944" fmla="*/ 2698728 w 8267681"/>
              <a:gd name="connsiteY2944" fmla="*/ 4479079 h 6698675"/>
              <a:gd name="connsiteX2945" fmla="*/ 1693472 w 8267681"/>
              <a:gd name="connsiteY2945" fmla="*/ 4476730 h 6698675"/>
              <a:gd name="connsiteX2946" fmla="*/ 1700516 w 8267681"/>
              <a:gd name="connsiteY2946" fmla="*/ 4483776 h 6698675"/>
              <a:gd name="connsiteX2947" fmla="*/ 1709910 w 8267681"/>
              <a:gd name="connsiteY2947" fmla="*/ 4481428 h 6698675"/>
              <a:gd name="connsiteX2948" fmla="*/ 1693472 w 8267681"/>
              <a:gd name="connsiteY2948" fmla="*/ 4488474 h 6698675"/>
              <a:gd name="connsiteX2949" fmla="*/ 1691121 w 8267681"/>
              <a:gd name="connsiteY2949" fmla="*/ 4483776 h 6698675"/>
              <a:gd name="connsiteX2950" fmla="*/ 1601861 w 8267681"/>
              <a:gd name="connsiteY2950" fmla="*/ 4472032 h 6698675"/>
              <a:gd name="connsiteX2951" fmla="*/ 1606559 w 8267681"/>
              <a:gd name="connsiteY2951" fmla="*/ 4481427 h 6698675"/>
              <a:gd name="connsiteX2952" fmla="*/ 1599515 w 8267681"/>
              <a:gd name="connsiteY2952" fmla="*/ 4490822 h 6698675"/>
              <a:gd name="connsiteX2953" fmla="*/ 1590118 w 8267681"/>
              <a:gd name="connsiteY2953" fmla="*/ 4500217 h 6698675"/>
              <a:gd name="connsiteX2954" fmla="*/ 1590118 w 8267681"/>
              <a:gd name="connsiteY2954" fmla="*/ 4497868 h 6698675"/>
              <a:gd name="connsiteX2955" fmla="*/ 1585423 w 8267681"/>
              <a:gd name="connsiteY2955" fmla="*/ 4490822 h 6698675"/>
              <a:gd name="connsiteX2956" fmla="*/ 862010 w 8267681"/>
              <a:gd name="connsiteY2956" fmla="*/ 4469683 h 6698675"/>
              <a:gd name="connsiteX2957" fmla="*/ 869052 w 8267681"/>
              <a:gd name="connsiteY2957" fmla="*/ 4479078 h 6698675"/>
              <a:gd name="connsiteX2958" fmla="*/ 862010 w 8267681"/>
              <a:gd name="connsiteY2958" fmla="*/ 4481427 h 6698675"/>
              <a:gd name="connsiteX2959" fmla="*/ 3062788 w 8267681"/>
              <a:gd name="connsiteY2959" fmla="*/ 4467335 h 6698675"/>
              <a:gd name="connsiteX2960" fmla="*/ 3046347 w 8267681"/>
              <a:gd name="connsiteY2960" fmla="*/ 4521357 h 6698675"/>
              <a:gd name="connsiteX2961" fmla="*/ 3062788 w 8267681"/>
              <a:gd name="connsiteY2961" fmla="*/ 4467335 h 6698675"/>
              <a:gd name="connsiteX2962" fmla="*/ 946559 w 8267681"/>
              <a:gd name="connsiteY2962" fmla="*/ 4467334 h 6698675"/>
              <a:gd name="connsiteX2963" fmla="*/ 955958 w 8267681"/>
              <a:gd name="connsiteY2963" fmla="*/ 4472032 h 6698675"/>
              <a:gd name="connsiteX2964" fmla="*/ 953607 w 8267681"/>
              <a:gd name="connsiteY2964" fmla="*/ 4481427 h 6698675"/>
              <a:gd name="connsiteX2965" fmla="*/ 946559 w 8267681"/>
              <a:gd name="connsiteY2965" fmla="*/ 4488473 h 6698675"/>
              <a:gd name="connsiteX2966" fmla="*/ 941860 w 8267681"/>
              <a:gd name="connsiteY2966" fmla="*/ 4481427 h 6698675"/>
              <a:gd name="connsiteX2967" fmla="*/ 941860 w 8267681"/>
              <a:gd name="connsiteY2967" fmla="*/ 4472032 h 6698675"/>
              <a:gd name="connsiteX2968" fmla="*/ 1118018 w 8267681"/>
              <a:gd name="connsiteY2968" fmla="*/ 4462637 h 6698675"/>
              <a:gd name="connsiteX2969" fmla="*/ 1127410 w 8267681"/>
              <a:gd name="connsiteY2969" fmla="*/ 4462637 h 6698675"/>
              <a:gd name="connsiteX2970" fmla="*/ 1129760 w 8267681"/>
              <a:gd name="connsiteY2970" fmla="*/ 4464986 h 6698675"/>
              <a:gd name="connsiteX2971" fmla="*/ 1132110 w 8267681"/>
              <a:gd name="connsiteY2971" fmla="*/ 4474381 h 6698675"/>
              <a:gd name="connsiteX2972" fmla="*/ 1127410 w 8267681"/>
              <a:gd name="connsiteY2972" fmla="*/ 4481427 h 6698675"/>
              <a:gd name="connsiteX2973" fmla="*/ 1120362 w 8267681"/>
              <a:gd name="connsiteY2973" fmla="*/ 4474381 h 6698675"/>
              <a:gd name="connsiteX2974" fmla="*/ 1115668 w 8267681"/>
              <a:gd name="connsiteY2974" fmla="*/ 4464986 h 6698675"/>
              <a:gd name="connsiteX2975" fmla="*/ 1118018 w 8267681"/>
              <a:gd name="connsiteY2975" fmla="*/ 4462637 h 6698675"/>
              <a:gd name="connsiteX2976" fmla="*/ 880786 w 8267681"/>
              <a:gd name="connsiteY2976" fmla="*/ 4462637 h 6698675"/>
              <a:gd name="connsiteX2977" fmla="*/ 904274 w 8267681"/>
              <a:gd name="connsiteY2977" fmla="*/ 4479078 h 6698675"/>
              <a:gd name="connsiteX2978" fmla="*/ 904274 w 8267681"/>
              <a:gd name="connsiteY2978" fmla="*/ 4490822 h 6698675"/>
              <a:gd name="connsiteX2979" fmla="*/ 894879 w 8267681"/>
              <a:gd name="connsiteY2979" fmla="*/ 4490822 h 6698675"/>
              <a:gd name="connsiteX2980" fmla="*/ 890187 w 8267681"/>
              <a:gd name="connsiteY2980" fmla="*/ 4481427 h 6698675"/>
              <a:gd name="connsiteX2981" fmla="*/ 887836 w 8267681"/>
              <a:gd name="connsiteY2981" fmla="*/ 4479078 h 6698675"/>
              <a:gd name="connsiteX2982" fmla="*/ 878438 w 8267681"/>
              <a:gd name="connsiteY2982" fmla="*/ 4476730 h 6698675"/>
              <a:gd name="connsiteX2983" fmla="*/ 873744 w 8267681"/>
              <a:gd name="connsiteY2983" fmla="*/ 4472032 h 6698675"/>
              <a:gd name="connsiteX2984" fmla="*/ 2644706 w 8267681"/>
              <a:gd name="connsiteY2984" fmla="*/ 4460289 h 6698675"/>
              <a:gd name="connsiteX2985" fmla="*/ 2635310 w 8267681"/>
              <a:gd name="connsiteY2985" fmla="*/ 4464987 h 6698675"/>
              <a:gd name="connsiteX2986" fmla="*/ 2640008 w 8267681"/>
              <a:gd name="connsiteY2986" fmla="*/ 4464987 h 6698675"/>
              <a:gd name="connsiteX2987" fmla="*/ 2644706 w 8267681"/>
              <a:gd name="connsiteY2987" fmla="*/ 4460289 h 6698675"/>
              <a:gd name="connsiteX2988" fmla="*/ 2597730 w 8267681"/>
              <a:gd name="connsiteY2988" fmla="*/ 4460289 h 6698675"/>
              <a:gd name="connsiteX2989" fmla="*/ 2588336 w 8267681"/>
              <a:gd name="connsiteY2989" fmla="*/ 4467335 h 6698675"/>
              <a:gd name="connsiteX2990" fmla="*/ 2593033 w 8267681"/>
              <a:gd name="connsiteY2990" fmla="*/ 4472033 h 6698675"/>
              <a:gd name="connsiteX2991" fmla="*/ 2585986 w 8267681"/>
              <a:gd name="connsiteY2991" fmla="*/ 4479079 h 6698675"/>
              <a:gd name="connsiteX2992" fmla="*/ 2576591 w 8267681"/>
              <a:gd name="connsiteY2992" fmla="*/ 4481428 h 6698675"/>
              <a:gd name="connsiteX2993" fmla="*/ 2574242 w 8267681"/>
              <a:gd name="connsiteY2993" fmla="*/ 4476731 h 6698675"/>
              <a:gd name="connsiteX2994" fmla="*/ 2501430 w 8267681"/>
              <a:gd name="connsiteY2994" fmla="*/ 4521357 h 6698675"/>
              <a:gd name="connsiteX2995" fmla="*/ 2503779 w 8267681"/>
              <a:gd name="connsiteY2995" fmla="*/ 4523706 h 6698675"/>
              <a:gd name="connsiteX2996" fmla="*/ 2506128 w 8267681"/>
              <a:gd name="connsiteY2996" fmla="*/ 4533101 h 6698675"/>
              <a:gd name="connsiteX2997" fmla="*/ 2602427 w 8267681"/>
              <a:gd name="connsiteY2997" fmla="*/ 4481428 h 6698675"/>
              <a:gd name="connsiteX2998" fmla="*/ 2595381 w 8267681"/>
              <a:gd name="connsiteY2998" fmla="*/ 4481428 h 6698675"/>
              <a:gd name="connsiteX2999" fmla="*/ 2600079 w 8267681"/>
              <a:gd name="connsiteY2999" fmla="*/ 4469684 h 6698675"/>
              <a:gd name="connsiteX3000" fmla="*/ 2607125 w 8267681"/>
              <a:gd name="connsiteY3000" fmla="*/ 4462638 h 6698675"/>
              <a:gd name="connsiteX3001" fmla="*/ 1336450 w 8267681"/>
              <a:gd name="connsiteY3001" fmla="*/ 4457939 h 6698675"/>
              <a:gd name="connsiteX3002" fmla="*/ 1343499 w 8267681"/>
              <a:gd name="connsiteY3002" fmla="*/ 4467334 h 6698675"/>
              <a:gd name="connsiteX3003" fmla="*/ 1343499 w 8267681"/>
              <a:gd name="connsiteY3003" fmla="*/ 4476729 h 6698675"/>
              <a:gd name="connsiteX3004" fmla="*/ 1310614 w 8267681"/>
              <a:gd name="connsiteY3004" fmla="*/ 4486124 h 6698675"/>
              <a:gd name="connsiteX3005" fmla="*/ 1308265 w 8267681"/>
              <a:gd name="connsiteY3005" fmla="*/ 4483776 h 6698675"/>
              <a:gd name="connsiteX3006" fmla="*/ 1305916 w 8267681"/>
              <a:gd name="connsiteY3006" fmla="*/ 4474380 h 6698675"/>
              <a:gd name="connsiteX3007" fmla="*/ 1320009 w 8267681"/>
              <a:gd name="connsiteY3007" fmla="*/ 4460288 h 6698675"/>
              <a:gd name="connsiteX3008" fmla="*/ 1329406 w 8267681"/>
              <a:gd name="connsiteY3008" fmla="*/ 4462637 h 6698675"/>
              <a:gd name="connsiteX3009" fmla="*/ 1336450 w 8267681"/>
              <a:gd name="connsiteY3009" fmla="*/ 4457939 h 6698675"/>
              <a:gd name="connsiteX3010" fmla="*/ 930118 w 8267681"/>
              <a:gd name="connsiteY3010" fmla="*/ 4455591 h 6698675"/>
              <a:gd name="connsiteX3011" fmla="*/ 941860 w 8267681"/>
              <a:gd name="connsiteY3011" fmla="*/ 4460289 h 6698675"/>
              <a:gd name="connsiteX3012" fmla="*/ 932467 w 8267681"/>
              <a:gd name="connsiteY3012" fmla="*/ 4469684 h 6698675"/>
              <a:gd name="connsiteX3013" fmla="*/ 920722 w 8267681"/>
              <a:gd name="connsiteY3013" fmla="*/ 4488474 h 6698675"/>
              <a:gd name="connsiteX3014" fmla="*/ 925422 w 8267681"/>
              <a:gd name="connsiteY3014" fmla="*/ 4462638 h 6698675"/>
              <a:gd name="connsiteX3015" fmla="*/ 930118 w 8267681"/>
              <a:gd name="connsiteY3015" fmla="*/ 4455591 h 6698675"/>
              <a:gd name="connsiteX3016" fmla="*/ 2698728 w 8267681"/>
              <a:gd name="connsiteY3016" fmla="*/ 4453243 h 6698675"/>
              <a:gd name="connsiteX3017" fmla="*/ 2696379 w 8267681"/>
              <a:gd name="connsiteY3017" fmla="*/ 4455591 h 6698675"/>
              <a:gd name="connsiteX3018" fmla="*/ 2701076 w 8267681"/>
              <a:gd name="connsiteY3018" fmla="*/ 4457940 h 6698675"/>
              <a:gd name="connsiteX3019" fmla="*/ 2703426 w 8267681"/>
              <a:gd name="connsiteY3019" fmla="*/ 4455591 h 6698675"/>
              <a:gd name="connsiteX3020" fmla="*/ 2698728 w 8267681"/>
              <a:gd name="connsiteY3020" fmla="*/ 4453243 h 6698675"/>
              <a:gd name="connsiteX3021" fmla="*/ 1082783 w 8267681"/>
              <a:gd name="connsiteY3021" fmla="*/ 4450894 h 6698675"/>
              <a:gd name="connsiteX3022" fmla="*/ 1092183 w 8267681"/>
              <a:gd name="connsiteY3022" fmla="*/ 4455592 h 6698675"/>
              <a:gd name="connsiteX3023" fmla="*/ 1099225 w 8267681"/>
              <a:gd name="connsiteY3023" fmla="*/ 4464987 h 6698675"/>
              <a:gd name="connsiteX3024" fmla="*/ 1082783 w 8267681"/>
              <a:gd name="connsiteY3024" fmla="*/ 4502567 h 6698675"/>
              <a:gd name="connsiteX3025" fmla="*/ 1073390 w 8267681"/>
              <a:gd name="connsiteY3025" fmla="*/ 4500219 h 6698675"/>
              <a:gd name="connsiteX3026" fmla="*/ 1071040 w 8267681"/>
              <a:gd name="connsiteY3026" fmla="*/ 4497870 h 6698675"/>
              <a:gd name="connsiteX3027" fmla="*/ 1078085 w 8267681"/>
              <a:gd name="connsiteY3027" fmla="*/ 4481428 h 6698675"/>
              <a:gd name="connsiteX3028" fmla="*/ 1066340 w 8267681"/>
              <a:gd name="connsiteY3028" fmla="*/ 4472033 h 6698675"/>
              <a:gd name="connsiteX3029" fmla="*/ 1078085 w 8267681"/>
              <a:gd name="connsiteY3029" fmla="*/ 4455592 h 6698675"/>
              <a:gd name="connsiteX3030" fmla="*/ 1082783 w 8267681"/>
              <a:gd name="connsiteY3030" fmla="*/ 4450894 h 6698675"/>
              <a:gd name="connsiteX3031" fmla="*/ 2632963 w 8267681"/>
              <a:gd name="connsiteY3031" fmla="*/ 4448545 h 6698675"/>
              <a:gd name="connsiteX3032" fmla="*/ 2621218 w 8267681"/>
              <a:gd name="connsiteY3032" fmla="*/ 4453243 h 6698675"/>
              <a:gd name="connsiteX3033" fmla="*/ 2623567 w 8267681"/>
              <a:gd name="connsiteY3033" fmla="*/ 4462638 h 6698675"/>
              <a:gd name="connsiteX3034" fmla="*/ 2644706 w 8267681"/>
              <a:gd name="connsiteY3034" fmla="*/ 4450894 h 6698675"/>
              <a:gd name="connsiteX3035" fmla="*/ 2642357 w 8267681"/>
              <a:gd name="connsiteY3035" fmla="*/ 4448545 h 6698675"/>
              <a:gd name="connsiteX3036" fmla="*/ 2632963 w 8267681"/>
              <a:gd name="connsiteY3036" fmla="*/ 4448545 h 6698675"/>
              <a:gd name="connsiteX3037" fmla="*/ 5714560 w 8267681"/>
              <a:gd name="connsiteY3037" fmla="*/ 4446195 h 6698675"/>
              <a:gd name="connsiteX3038" fmla="*/ 5745094 w 8267681"/>
              <a:gd name="connsiteY3038" fmla="*/ 4448544 h 6698675"/>
              <a:gd name="connsiteX3039" fmla="*/ 5714560 w 8267681"/>
              <a:gd name="connsiteY3039" fmla="*/ 4446195 h 6698675"/>
              <a:gd name="connsiteX3040" fmla="*/ 2795027 w 8267681"/>
              <a:gd name="connsiteY3040" fmla="*/ 4443847 h 6698675"/>
              <a:gd name="connsiteX3041" fmla="*/ 2790330 w 8267681"/>
              <a:gd name="connsiteY3041" fmla="*/ 4446196 h 6698675"/>
              <a:gd name="connsiteX3042" fmla="*/ 2792680 w 8267681"/>
              <a:gd name="connsiteY3042" fmla="*/ 4450894 h 6698675"/>
              <a:gd name="connsiteX3043" fmla="*/ 2797376 w 8267681"/>
              <a:gd name="connsiteY3043" fmla="*/ 4450894 h 6698675"/>
              <a:gd name="connsiteX3044" fmla="*/ 2795027 w 8267681"/>
              <a:gd name="connsiteY3044" fmla="*/ 4443847 h 6698675"/>
              <a:gd name="connsiteX3045" fmla="*/ 2764493 w 8267681"/>
              <a:gd name="connsiteY3045" fmla="*/ 4443847 h 6698675"/>
              <a:gd name="connsiteX3046" fmla="*/ 2776237 w 8267681"/>
              <a:gd name="connsiteY3046" fmla="*/ 4462638 h 6698675"/>
              <a:gd name="connsiteX3047" fmla="*/ 2787981 w 8267681"/>
              <a:gd name="connsiteY3047" fmla="*/ 4462638 h 6698675"/>
              <a:gd name="connsiteX3048" fmla="*/ 2792680 w 8267681"/>
              <a:gd name="connsiteY3048" fmla="*/ 4457940 h 6698675"/>
              <a:gd name="connsiteX3049" fmla="*/ 2771540 w 8267681"/>
              <a:gd name="connsiteY3049" fmla="*/ 4443847 h 6698675"/>
              <a:gd name="connsiteX3050" fmla="*/ 2764493 w 8267681"/>
              <a:gd name="connsiteY3050" fmla="*/ 4443847 h 6698675"/>
              <a:gd name="connsiteX3051" fmla="*/ 1470332 w 8267681"/>
              <a:gd name="connsiteY3051" fmla="*/ 4443846 h 6698675"/>
              <a:gd name="connsiteX3052" fmla="*/ 1479726 w 8267681"/>
              <a:gd name="connsiteY3052" fmla="*/ 4443846 h 6698675"/>
              <a:gd name="connsiteX3053" fmla="*/ 1479726 w 8267681"/>
              <a:gd name="connsiteY3053" fmla="*/ 4460288 h 6698675"/>
              <a:gd name="connsiteX3054" fmla="*/ 1470332 w 8267681"/>
              <a:gd name="connsiteY3054" fmla="*/ 4460288 h 6698675"/>
              <a:gd name="connsiteX3055" fmla="*/ 1463283 w 8267681"/>
              <a:gd name="connsiteY3055" fmla="*/ 4455590 h 6698675"/>
              <a:gd name="connsiteX3056" fmla="*/ 1463283 w 8267681"/>
              <a:gd name="connsiteY3056" fmla="*/ 4453242 h 6698675"/>
              <a:gd name="connsiteX3057" fmla="*/ 1463283 w 8267681"/>
              <a:gd name="connsiteY3057" fmla="*/ 4448544 h 6698675"/>
              <a:gd name="connsiteX3058" fmla="*/ 1463283 w 8267681"/>
              <a:gd name="connsiteY3058" fmla="*/ 4446195 h 6698675"/>
              <a:gd name="connsiteX3059" fmla="*/ 1040505 w 8267681"/>
              <a:gd name="connsiteY3059" fmla="*/ 4441499 h 6698675"/>
              <a:gd name="connsiteX3060" fmla="*/ 1054598 w 8267681"/>
              <a:gd name="connsiteY3060" fmla="*/ 4464987 h 6698675"/>
              <a:gd name="connsiteX3061" fmla="*/ 1031108 w 8267681"/>
              <a:gd name="connsiteY3061" fmla="*/ 4483777 h 6698675"/>
              <a:gd name="connsiteX3062" fmla="*/ 1031108 w 8267681"/>
              <a:gd name="connsiteY3062" fmla="*/ 4481428 h 6698675"/>
              <a:gd name="connsiteX3063" fmla="*/ 1014665 w 8267681"/>
              <a:gd name="connsiteY3063" fmla="*/ 4469684 h 6698675"/>
              <a:gd name="connsiteX3064" fmla="*/ 1009969 w 8267681"/>
              <a:gd name="connsiteY3064" fmla="*/ 4462638 h 6698675"/>
              <a:gd name="connsiteX3065" fmla="*/ 1014665 w 8267681"/>
              <a:gd name="connsiteY3065" fmla="*/ 4455592 h 6698675"/>
              <a:gd name="connsiteX3066" fmla="*/ 1028762 w 8267681"/>
              <a:gd name="connsiteY3066" fmla="*/ 4462638 h 6698675"/>
              <a:gd name="connsiteX3067" fmla="*/ 1024062 w 8267681"/>
              <a:gd name="connsiteY3067" fmla="*/ 4472033 h 6698675"/>
              <a:gd name="connsiteX3068" fmla="*/ 1040505 w 8267681"/>
              <a:gd name="connsiteY3068" fmla="*/ 4479079 h 6698675"/>
              <a:gd name="connsiteX3069" fmla="*/ 1045205 w 8267681"/>
              <a:gd name="connsiteY3069" fmla="*/ 4472033 h 6698675"/>
              <a:gd name="connsiteX3070" fmla="*/ 1031108 w 8267681"/>
              <a:gd name="connsiteY3070" fmla="*/ 4448545 h 6698675"/>
              <a:gd name="connsiteX3071" fmla="*/ 1031108 w 8267681"/>
              <a:gd name="connsiteY3071" fmla="*/ 4446197 h 6698675"/>
              <a:gd name="connsiteX3072" fmla="*/ 1040505 w 8267681"/>
              <a:gd name="connsiteY3072" fmla="*/ 4441499 h 6698675"/>
              <a:gd name="connsiteX3073" fmla="*/ 796234 w 8267681"/>
              <a:gd name="connsiteY3073" fmla="*/ 4432103 h 6698675"/>
              <a:gd name="connsiteX3074" fmla="*/ 800931 w 8267681"/>
              <a:gd name="connsiteY3074" fmla="*/ 4436801 h 6698675"/>
              <a:gd name="connsiteX3075" fmla="*/ 796234 w 8267681"/>
              <a:gd name="connsiteY3075" fmla="*/ 4443847 h 6698675"/>
              <a:gd name="connsiteX3076" fmla="*/ 791539 w 8267681"/>
              <a:gd name="connsiteY3076" fmla="*/ 4436801 h 6698675"/>
              <a:gd name="connsiteX3077" fmla="*/ 1381077 w 8267681"/>
              <a:gd name="connsiteY3077" fmla="*/ 4429755 h 6698675"/>
              <a:gd name="connsiteX3078" fmla="*/ 1381077 w 8267681"/>
              <a:gd name="connsiteY3078" fmla="*/ 4434453 h 6698675"/>
              <a:gd name="connsiteX3079" fmla="*/ 1378728 w 8267681"/>
              <a:gd name="connsiteY3079" fmla="*/ 4441499 h 6698675"/>
              <a:gd name="connsiteX3080" fmla="*/ 1395170 w 8267681"/>
              <a:gd name="connsiteY3080" fmla="*/ 4469684 h 6698675"/>
              <a:gd name="connsiteX3081" fmla="*/ 1418657 w 8267681"/>
              <a:gd name="connsiteY3081" fmla="*/ 4450894 h 6698675"/>
              <a:gd name="connsiteX3082" fmla="*/ 1428054 w 8267681"/>
              <a:gd name="connsiteY3082" fmla="*/ 4439150 h 6698675"/>
              <a:gd name="connsiteX3083" fmla="*/ 1435097 w 8267681"/>
              <a:gd name="connsiteY3083" fmla="*/ 4443848 h 6698675"/>
              <a:gd name="connsiteX3084" fmla="*/ 1428054 w 8267681"/>
              <a:gd name="connsiteY3084" fmla="*/ 4469684 h 6698675"/>
              <a:gd name="connsiteX3085" fmla="*/ 1418657 w 8267681"/>
              <a:gd name="connsiteY3085" fmla="*/ 4490823 h 6698675"/>
              <a:gd name="connsiteX3086" fmla="*/ 1385777 w 8267681"/>
              <a:gd name="connsiteY3086" fmla="*/ 4483777 h 6698675"/>
              <a:gd name="connsiteX3087" fmla="*/ 1383426 w 8267681"/>
              <a:gd name="connsiteY3087" fmla="*/ 4495521 h 6698675"/>
              <a:gd name="connsiteX3088" fmla="*/ 1392820 w 8267681"/>
              <a:gd name="connsiteY3088" fmla="*/ 4500218 h 6698675"/>
              <a:gd name="connsiteX3089" fmla="*/ 1402219 w 8267681"/>
              <a:gd name="connsiteY3089" fmla="*/ 4500218 h 6698675"/>
              <a:gd name="connsiteX3090" fmla="*/ 1406914 w 8267681"/>
              <a:gd name="connsiteY3090" fmla="*/ 4504916 h 6698675"/>
              <a:gd name="connsiteX3091" fmla="*/ 1395170 w 8267681"/>
              <a:gd name="connsiteY3091" fmla="*/ 4514311 h 6698675"/>
              <a:gd name="connsiteX3092" fmla="*/ 1374029 w 8267681"/>
              <a:gd name="connsiteY3092" fmla="*/ 4514311 h 6698675"/>
              <a:gd name="connsiteX3093" fmla="*/ 1369334 w 8267681"/>
              <a:gd name="connsiteY3093" fmla="*/ 4523706 h 6698675"/>
              <a:gd name="connsiteX3094" fmla="*/ 1352891 w 8267681"/>
              <a:gd name="connsiteY3094" fmla="*/ 4528404 h 6698675"/>
              <a:gd name="connsiteX3095" fmla="*/ 1348194 w 8267681"/>
              <a:gd name="connsiteY3095" fmla="*/ 4521357 h 6698675"/>
              <a:gd name="connsiteX3096" fmla="*/ 1348194 w 8267681"/>
              <a:gd name="connsiteY3096" fmla="*/ 4511962 h 6698675"/>
              <a:gd name="connsiteX3097" fmla="*/ 1369334 w 8267681"/>
              <a:gd name="connsiteY3097" fmla="*/ 4509613 h 6698675"/>
              <a:gd name="connsiteX3098" fmla="*/ 1374029 w 8267681"/>
              <a:gd name="connsiteY3098" fmla="*/ 4479079 h 6698675"/>
              <a:gd name="connsiteX3099" fmla="*/ 1350542 w 8267681"/>
              <a:gd name="connsiteY3099" fmla="*/ 4469684 h 6698675"/>
              <a:gd name="connsiteX3100" fmla="*/ 1371684 w 8267681"/>
              <a:gd name="connsiteY3100" fmla="*/ 4432104 h 6698675"/>
              <a:gd name="connsiteX3101" fmla="*/ 1381077 w 8267681"/>
              <a:gd name="connsiteY3101" fmla="*/ 4429755 h 6698675"/>
              <a:gd name="connsiteX3102" fmla="*/ 1338799 w 8267681"/>
              <a:gd name="connsiteY3102" fmla="*/ 4429755 h 6698675"/>
              <a:gd name="connsiteX3103" fmla="*/ 1348194 w 8267681"/>
              <a:gd name="connsiteY3103" fmla="*/ 4434453 h 6698675"/>
              <a:gd name="connsiteX3104" fmla="*/ 1348194 w 8267681"/>
              <a:gd name="connsiteY3104" fmla="*/ 4450894 h 6698675"/>
              <a:gd name="connsiteX3105" fmla="*/ 1322358 w 8267681"/>
              <a:gd name="connsiteY3105" fmla="*/ 4448545 h 6698675"/>
              <a:gd name="connsiteX3106" fmla="*/ 1312964 w 8267681"/>
              <a:gd name="connsiteY3106" fmla="*/ 4446196 h 6698675"/>
              <a:gd name="connsiteX3107" fmla="*/ 1308264 w 8267681"/>
              <a:gd name="connsiteY3107" fmla="*/ 4453243 h 6698675"/>
              <a:gd name="connsiteX3108" fmla="*/ 1294172 w 8267681"/>
              <a:gd name="connsiteY3108" fmla="*/ 4469684 h 6698675"/>
              <a:gd name="connsiteX3109" fmla="*/ 1291823 w 8267681"/>
              <a:gd name="connsiteY3109" fmla="*/ 4462638 h 6698675"/>
              <a:gd name="connsiteX3110" fmla="*/ 1296521 w 8267681"/>
              <a:gd name="connsiteY3110" fmla="*/ 4453243 h 6698675"/>
              <a:gd name="connsiteX3111" fmla="*/ 1301221 w 8267681"/>
              <a:gd name="connsiteY3111" fmla="*/ 4436801 h 6698675"/>
              <a:gd name="connsiteX3112" fmla="*/ 1305916 w 8267681"/>
              <a:gd name="connsiteY3112" fmla="*/ 4434453 h 6698675"/>
              <a:gd name="connsiteX3113" fmla="*/ 1322358 w 8267681"/>
              <a:gd name="connsiteY3113" fmla="*/ 4443848 h 6698675"/>
              <a:gd name="connsiteX3114" fmla="*/ 1338799 w 8267681"/>
              <a:gd name="connsiteY3114" fmla="*/ 4429755 h 6698675"/>
              <a:gd name="connsiteX3115" fmla="*/ 2513174 w 8267681"/>
              <a:gd name="connsiteY3115" fmla="*/ 4429754 h 6698675"/>
              <a:gd name="connsiteX3116" fmla="*/ 2522569 w 8267681"/>
              <a:gd name="connsiteY3116" fmla="*/ 4432103 h 6698675"/>
              <a:gd name="connsiteX3117" fmla="*/ 2536662 w 8267681"/>
              <a:gd name="connsiteY3117" fmla="*/ 4443847 h 6698675"/>
              <a:gd name="connsiteX3118" fmla="*/ 2531964 w 8267681"/>
              <a:gd name="connsiteY3118" fmla="*/ 4450893 h 6698675"/>
              <a:gd name="connsiteX3119" fmla="*/ 2522569 w 8267681"/>
              <a:gd name="connsiteY3119" fmla="*/ 4450893 h 6698675"/>
              <a:gd name="connsiteX3120" fmla="*/ 2515522 w 8267681"/>
              <a:gd name="connsiteY3120" fmla="*/ 4443847 h 6698675"/>
              <a:gd name="connsiteX3121" fmla="*/ 2508476 w 8267681"/>
              <a:gd name="connsiteY3121" fmla="*/ 4436800 h 6698675"/>
              <a:gd name="connsiteX3122" fmla="*/ 2513174 w 8267681"/>
              <a:gd name="connsiteY3122" fmla="*/ 4429754 h 6698675"/>
              <a:gd name="connsiteX3123" fmla="*/ 1531403 w 8267681"/>
              <a:gd name="connsiteY3123" fmla="*/ 4429754 h 6698675"/>
              <a:gd name="connsiteX3124" fmla="*/ 1526702 w 8267681"/>
              <a:gd name="connsiteY3124" fmla="*/ 4436800 h 6698675"/>
              <a:gd name="connsiteX3125" fmla="*/ 1540795 w 8267681"/>
              <a:gd name="connsiteY3125" fmla="*/ 4446196 h 6698675"/>
              <a:gd name="connsiteX3126" fmla="*/ 1547841 w 8267681"/>
              <a:gd name="connsiteY3126" fmla="*/ 4450893 h 6698675"/>
              <a:gd name="connsiteX3127" fmla="*/ 1550190 w 8267681"/>
              <a:gd name="connsiteY3127" fmla="*/ 4446196 h 6698675"/>
              <a:gd name="connsiteX3128" fmla="*/ 1545495 w 8267681"/>
              <a:gd name="connsiteY3128" fmla="*/ 4436800 h 6698675"/>
              <a:gd name="connsiteX3129" fmla="*/ 1540795 w 8267681"/>
              <a:gd name="connsiteY3129" fmla="*/ 4432102 h 6698675"/>
              <a:gd name="connsiteX3130" fmla="*/ 1277730 w 8267681"/>
              <a:gd name="connsiteY3130" fmla="*/ 4429754 h 6698675"/>
              <a:gd name="connsiteX3131" fmla="*/ 1287129 w 8267681"/>
              <a:gd name="connsiteY3131" fmla="*/ 4429754 h 6698675"/>
              <a:gd name="connsiteX3132" fmla="*/ 1291823 w 8267681"/>
              <a:gd name="connsiteY3132" fmla="*/ 4434452 h 6698675"/>
              <a:gd name="connsiteX3133" fmla="*/ 1287129 w 8267681"/>
              <a:gd name="connsiteY3133" fmla="*/ 4439149 h 6698675"/>
              <a:gd name="connsiteX3134" fmla="*/ 1277730 w 8267681"/>
              <a:gd name="connsiteY3134" fmla="*/ 4441498 h 6698675"/>
              <a:gd name="connsiteX3135" fmla="*/ 1268336 w 8267681"/>
              <a:gd name="connsiteY3135" fmla="*/ 4434452 h 6698675"/>
              <a:gd name="connsiteX3136" fmla="*/ 1268336 w 8267681"/>
              <a:gd name="connsiteY3136" fmla="*/ 4432103 h 6698675"/>
              <a:gd name="connsiteX3137" fmla="*/ 1101575 w 8267681"/>
              <a:gd name="connsiteY3137" fmla="*/ 4427405 h 6698675"/>
              <a:gd name="connsiteX3138" fmla="*/ 1118018 w 8267681"/>
              <a:gd name="connsiteY3138" fmla="*/ 4441498 h 6698675"/>
              <a:gd name="connsiteX3139" fmla="*/ 1134461 w 8267681"/>
              <a:gd name="connsiteY3139" fmla="*/ 4436800 h 6698675"/>
              <a:gd name="connsiteX3140" fmla="*/ 1139155 w 8267681"/>
              <a:gd name="connsiteY3140" fmla="*/ 4441498 h 6698675"/>
              <a:gd name="connsiteX3141" fmla="*/ 1134461 w 8267681"/>
              <a:gd name="connsiteY3141" fmla="*/ 4446195 h 6698675"/>
              <a:gd name="connsiteX3142" fmla="*/ 1118018 w 8267681"/>
              <a:gd name="connsiteY3142" fmla="*/ 4455590 h 6698675"/>
              <a:gd name="connsiteX3143" fmla="*/ 1106271 w 8267681"/>
              <a:gd name="connsiteY3143" fmla="*/ 4453242 h 6698675"/>
              <a:gd name="connsiteX3144" fmla="*/ 1087482 w 8267681"/>
              <a:gd name="connsiteY3144" fmla="*/ 4443846 h 6698675"/>
              <a:gd name="connsiteX3145" fmla="*/ 1087482 w 8267681"/>
              <a:gd name="connsiteY3145" fmla="*/ 4434451 h 6698675"/>
              <a:gd name="connsiteX3146" fmla="*/ 1101575 w 8267681"/>
              <a:gd name="connsiteY3146" fmla="*/ 4427405 h 6698675"/>
              <a:gd name="connsiteX3147" fmla="*/ 1392822 w 8267681"/>
              <a:gd name="connsiteY3147" fmla="*/ 4425057 h 6698675"/>
              <a:gd name="connsiteX3148" fmla="*/ 1402219 w 8267681"/>
              <a:gd name="connsiteY3148" fmla="*/ 4425057 h 6698675"/>
              <a:gd name="connsiteX3149" fmla="*/ 1406915 w 8267681"/>
              <a:gd name="connsiteY3149" fmla="*/ 4427406 h 6698675"/>
              <a:gd name="connsiteX3150" fmla="*/ 1404570 w 8267681"/>
              <a:gd name="connsiteY3150" fmla="*/ 4436801 h 6698675"/>
              <a:gd name="connsiteX3151" fmla="*/ 1399869 w 8267681"/>
              <a:gd name="connsiteY3151" fmla="*/ 4436801 h 6698675"/>
              <a:gd name="connsiteX3152" fmla="*/ 1392822 w 8267681"/>
              <a:gd name="connsiteY3152" fmla="*/ 4427406 h 6698675"/>
              <a:gd name="connsiteX3153" fmla="*/ 1449190 w 8267681"/>
              <a:gd name="connsiteY3153" fmla="*/ 4422708 h 6698675"/>
              <a:gd name="connsiteX3154" fmla="*/ 1475028 w 8267681"/>
              <a:gd name="connsiteY3154" fmla="*/ 4427406 h 6698675"/>
              <a:gd name="connsiteX3155" fmla="*/ 1449190 w 8267681"/>
              <a:gd name="connsiteY3155" fmla="*/ 4434452 h 6698675"/>
              <a:gd name="connsiteX3156" fmla="*/ 1444497 w 8267681"/>
              <a:gd name="connsiteY3156" fmla="*/ 4427406 h 6698675"/>
              <a:gd name="connsiteX3157" fmla="*/ 1449190 w 8267681"/>
              <a:gd name="connsiteY3157" fmla="*/ 4422708 h 6698675"/>
              <a:gd name="connsiteX3158" fmla="*/ 1557238 w 8267681"/>
              <a:gd name="connsiteY3158" fmla="*/ 4422707 h 6698675"/>
              <a:gd name="connsiteX3159" fmla="*/ 1552538 w 8267681"/>
              <a:gd name="connsiteY3159" fmla="*/ 4429754 h 6698675"/>
              <a:gd name="connsiteX3160" fmla="*/ 1557238 w 8267681"/>
              <a:gd name="connsiteY3160" fmla="*/ 4434451 h 6698675"/>
              <a:gd name="connsiteX3161" fmla="*/ 1566630 w 8267681"/>
              <a:gd name="connsiteY3161" fmla="*/ 4434451 h 6698675"/>
              <a:gd name="connsiteX3162" fmla="*/ 1573676 w 8267681"/>
              <a:gd name="connsiteY3162" fmla="*/ 4429754 h 6698675"/>
              <a:gd name="connsiteX3163" fmla="*/ 1566630 w 8267681"/>
              <a:gd name="connsiteY3163" fmla="*/ 4422707 h 6698675"/>
              <a:gd name="connsiteX3164" fmla="*/ 1226058 w 8267681"/>
              <a:gd name="connsiteY3164" fmla="*/ 4420359 h 6698675"/>
              <a:gd name="connsiteX3165" fmla="*/ 1235452 w 8267681"/>
              <a:gd name="connsiteY3165" fmla="*/ 4422708 h 6698675"/>
              <a:gd name="connsiteX3166" fmla="*/ 1235452 w 8267681"/>
              <a:gd name="connsiteY3166" fmla="*/ 4427405 h 6698675"/>
              <a:gd name="connsiteX3167" fmla="*/ 1233102 w 8267681"/>
              <a:gd name="connsiteY3167" fmla="*/ 4432103 h 6698675"/>
              <a:gd name="connsiteX3168" fmla="*/ 1228404 w 8267681"/>
              <a:gd name="connsiteY3168" fmla="*/ 4441498 h 6698675"/>
              <a:gd name="connsiteX3169" fmla="*/ 1219010 w 8267681"/>
              <a:gd name="connsiteY3169" fmla="*/ 4434452 h 6698675"/>
              <a:gd name="connsiteX3170" fmla="*/ 1221358 w 8267681"/>
              <a:gd name="connsiteY3170" fmla="*/ 4425057 h 6698675"/>
              <a:gd name="connsiteX3171" fmla="*/ 1184661 w 8267681"/>
              <a:gd name="connsiteY3171" fmla="*/ 4418598 h 6698675"/>
              <a:gd name="connsiteX3172" fmla="*/ 1193174 w 8267681"/>
              <a:gd name="connsiteY3172" fmla="*/ 4420359 h 6698675"/>
              <a:gd name="connsiteX3173" fmla="*/ 1195523 w 8267681"/>
              <a:gd name="connsiteY3173" fmla="*/ 4427405 h 6698675"/>
              <a:gd name="connsiteX3174" fmla="*/ 1186130 w 8267681"/>
              <a:gd name="connsiteY3174" fmla="*/ 4429754 h 6698675"/>
              <a:gd name="connsiteX3175" fmla="*/ 1181432 w 8267681"/>
              <a:gd name="connsiteY3175" fmla="*/ 4434452 h 6698675"/>
              <a:gd name="connsiteX3176" fmla="*/ 1186130 w 8267681"/>
              <a:gd name="connsiteY3176" fmla="*/ 4450893 h 6698675"/>
              <a:gd name="connsiteX3177" fmla="*/ 1202568 w 8267681"/>
              <a:gd name="connsiteY3177" fmla="*/ 4455591 h 6698675"/>
              <a:gd name="connsiteX3178" fmla="*/ 1219010 w 8267681"/>
              <a:gd name="connsiteY3178" fmla="*/ 4443847 h 6698675"/>
              <a:gd name="connsiteX3179" fmla="*/ 1228404 w 8267681"/>
              <a:gd name="connsiteY3179" fmla="*/ 4441498 h 6698675"/>
              <a:gd name="connsiteX3180" fmla="*/ 1273032 w 8267681"/>
              <a:gd name="connsiteY3180" fmla="*/ 4467334 h 6698675"/>
              <a:gd name="connsiteX3181" fmla="*/ 1268336 w 8267681"/>
              <a:gd name="connsiteY3181" fmla="*/ 4469683 h 6698675"/>
              <a:gd name="connsiteX3182" fmla="*/ 1249543 w 8267681"/>
              <a:gd name="connsiteY3182" fmla="*/ 4467334 h 6698675"/>
              <a:gd name="connsiteX3183" fmla="*/ 1258939 w 8267681"/>
              <a:gd name="connsiteY3183" fmla="*/ 4483776 h 6698675"/>
              <a:gd name="connsiteX3184" fmla="*/ 1268336 w 8267681"/>
              <a:gd name="connsiteY3184" fmla="*/ 4483776 h 6698675"/>
              <a:gd name="connsiteX3185" fmla="*/ 1277730 w 8267681"/>
              <a:gd name="connsiteY3185" fmla="*/ 4486125 h 6698675"/>
              <a:gd name="connsiteX3186" fmla="*/ 1273032 w 8267681"/>
              <a:gd name="connsiteY3186" fmla="*/ 4493171 h 6698675"/>
              <a:gd name="connsiteX3187" fmla="*/ 1270686 w 8267681"/>
              <a:gd name="connsiteY3187" fmla="*/ 4493171 h 6698675"/>
              <a:gd name="connsiteX3188" fmla="*/ 1244851 w 8267681"/>
              <a:gd name="connsiteY3188" fmla="*/ 4537798 h 6698675"/>
              <a:gd name="connsiteX3189" fmla="*/ 1235452 w 8267681"/>
              <a:gd name="connsiteY3189" fmla="*/ 4535449 h 6698675"/>
              <a:gd name="connsiteX3190" fmla="*/ 1219010 w 8267681"/>
              <a:gd name="connsiteY3190" fmla="*/ 4509612 h 6698675"/>
              <a:gd name="connsiteX3191" fmla="*/ 1244851 w 8267681"/>
              <a:gd name="connsiteY3191" fmla="*/ 4502566 h 6698675"/>
              <a:gd name="connsiteX3192" fmla="*/ 1249543 w 8267681"/>
              <a:gd name="connsiteY3192" fmla="*/ 4493171 h 6698675"/>
              <a:gd name="connsiteX3193" fmla="*/ 1211965 w 8267681"/>
              <a:gd name="connsiteY3193" fmla="*/ 4467334 h 6698675"/>
              <a:gd name="connsiteX3194" fmla="*/ 1190826 w 8267681"/>
              <a:gd name="connsiteY3194" fmla="*/ 4483776 h 6698675"/>
              <a:gd name="connsiteX3195" fmla="*/ 1202568 w 8267681"/>
              <a:gd name="connsiteY3195" fmla="*/ 4500218 h 6698675"/>
              <a:gd name="connsiteX3196" fmla="*/ 1193174 w 8267681"/>
              <a:gd name="connsiteY3196" fmla="*/ 4511961 h 6698675"/>
              <a:gd name="connsiteX3197" fmla="*/ 1150898 w 8267681"/>
              <a:gd name="connsiteY3197" fmla="*/ 4481427 h 6698675"/>
              <a:gd name="connsiteX3198" fmla="*/ 1169688 w 8267681"/>
              <a:gd name="connsiteY3198" fmla="*/ 4457939 h 6698675"/>
              <a:gd name="connsiteX3199" fmla="*/ 1160296 w 8267681"/>
              <a:gd name="connsiteY3199" fmla="*/ 4434452 h 6698675"/>
              <a:gd name="connsiteX3200" fmla="*/ 1143853 w 8267681"/>
              <a:gd name="connsiteY3200" fmla="*/ 4439149 h 6698675"/>
              <a:gd name="connsiteX3201" fmla="*/ 1136805 w 8267681"/>
              <a:gd name="connsiteY3201" fmla="*/ 4436801 h 6698675"/>
              <a:gd name="connsiteX3202" fmla="*/ 1174388 w 8267681"/>
              <a:gd name="connsiteY3202" fmla="*/ 4420359 h 6698675"/>
              <a:gd name="connsiteX3203" fmla="*/ 1184661 w 8267681"/>
              <a:gd name="connsiteY3203" fmla="*/ 4418598 h 6698675"/>
              <a:gd name="connsiteX3204" fmla="*/ 5695769 w 8267681"/>
              <a:gd name="connsiteY3204" fmla="*/ 4418010 h 6698675"/>
              <a:gd name="connsiteX3205" fmla="*/ 5702815 w 8267681"/>
              <a:gd name="connsiteY3205" fmla="*/ 4422708 h 6698675"/>
              <a:gd name="connsiteX3206" fmla="*/ 5695769 w 8267681"/>
              <a:gd name="connsiteY3206" fmla="*/ 4418010 h 6698675"/>
              <a:gd name="connsiteX3207" fmla="*/ 1498517 w 8267681"/>
              <a:gd name="connsiteY3207" fmla="*/ 4415661 h 6698675"/>
              <a:gd name="connsiteX3208" fmla="*/ 1505561 w 8267681"/>
              <a:gd name="connsiteY3208" fmla="*/ 4420359 h 6698675"/>
              <a:gd name="connsiteX3209" fmla="*/ 1498517 w 8267681"/>
              <a:gd name="connsiteY3209" fmla="*/ 4429754 h 6698675"/>
              <a:gd name="connsiteX3210" fmla="*/ 1493818 w 8267681"/>
              <a:gd name="connsiteY3210" fmla="*/ 4420359 h 6698675"/>
              <a:gd name="connsiteX3211" fmla="*/ 829124 w 8267681"/>
              <a:gd name="connsiteY3211" fmla="*/ 4415661 h 6698675"/>
              <a:gd name="connsiteX3212" fmla="*/ 838520 w 8267681"/>
              <a:gd name="connsiteY3212" fmla="*/ 4415661 h 6698675"/>
              <a:gd name="connsiteX3213" fmla="*/ 843217 w 8267681"/>
              <a:gd name="connsiteY3213" fmla="*/ 4420359 h 6698675"/>
              <a:gd name="connsiteX3214" fmla="*/ 840870 w 8267681"/>
              <a:gd name="connsiteY3214" fmla="*/ 4429754 h 6698675"/>
              <a:gd name="connsiteX3215" fmla="*/ 838520 w 8267681"/>
              <a:gd name="connsiteY3215" fmla="*/ 4429754 h 6698675"/>
              <a:gd name="connsiteX3216" fmla="*/ 829124 w 8267681"/>
              <a:gd name="connsiteY3216" fmla="*/ 4429754 h 6698675"/>
              <a:gd name="connsiteX3217" fmla="*/ 824424 w 8267681"/>
              <a:gd name="connsiteY3217" fmla="*/ 4429754 h 6698675"/>
              <a:gd name="connsiteX3218" fmla="*/ 822077 w 8267681"/>
              <a:gd name="connsiteY3218" fmla="*/ 4420359 h 6698675"/>
              <a:gd name="connsiteX3219" fmla="*/ 946559 w 8267681"/>
              <a:gd name="connsiteY3219" fmla="*/ 4410965 h 6698675"/>
              <a:gd name="connsiteX3220" fmla="*/ 953607 w 8267681"/>
              <a:gd name="connsiteY3220" fmla="*/ 4415663 h 6698675"/>
              <a:gd name="connsiteX3221" fmla="*/ 951257 w 8267681"/>
              <a:gd name="connsiteY3221" fmla="*/ 4432104 h 6698675"/>
              <a:gd name="connsiteX3222" fmla="*/ 955958 w 8267681"/>
              <a:gd name="connsiteY3222" fmla="*/ 4439150 h 6698675"/>
              <a:gd name="connsiteX3223" fmla="*/ 972396 w 8267681"/>
              <a:gd name="connsiteY3223" fmla="*/ 4434453 h 6698675"/>
              <a:gd name="connsiteX3224" fmla="*/ 979443 w 8267681"/>
              <a:gd name="connsiteY3224" fmla="*/ 4448546 h 6698675"/>
              <a:gd name="connsiteX3225" fmla="*/ 972396 w 8267681"/>
              <a:gd name="connsiteY3225" fmla="*/ 4453243 h 6698675"/>
              <a:gd name="connsiteX3226" fmla="*/ 955958 w 8267681"/>
              <a:gd name="connsiteY3226" fmla="*/ 4448546 h 6698675"/>
              <a:gd name="connsiteX3227" fmla="*/ 948909 w 8267681"/>
              <a:gd name="connsiteY3227" fmla="*/ 4436802 h 6698675"/>
              <a:gd name="connsiteX3228" fmla="*/ 939515 w 8267681"/>
              <a:gd name="connsiteY3228" fmla="*/ 4434453 h 6698675"/>
              <a:gd name="connsiteX3229" fmla="*/ 930118 w 8267681"/>
              <a:gd name="connsiteY3229" fmla="*/ 4434453 h 6698675"/>
              <a:gd name="connsiteX3230" fmla="*/ 923072 w 8267681"/>
              <a:gd name="connsiteY3230" fmla="*/ 4434453 h 6698675"/>
              <a:gd name="connsiteX3231" fmla="*/ 932467 w 8267681"/>
              <a:gd name="connsiteY3231" fmla="*/ 4425058 h 6698675"/>
              <a:gd name="connsiteX3232" fmla="*/ 946559 w 8267681"/>
              <a:gd name="connsiteY3232" fmla="*/ 4410965 h 6698675"/>
              <a:gd name="connsiteX3233" fmla="*/ 885486 w 8267681"/>
              <a:gd name="connsiteY3233" fmla="*/ 4410965 h 6698675"/>
              <a:gd name="connsiteX3234" fmla="*/ 918367 w 8267681"/>
              <a:gd name="connsiteY3234" fmla="*/ 4410965 h 6698675"/>
              <a:gd name="connsiteX3235" fmla="*/ 916021 w 8267681"/>
              <a:gd name="connsiteY3235" fmla="*/ 4420360 h 6698675"/>
              <a:gd name="connsiteX3236" fmla="*/ 908973 w 8267681"/>
              <a:gd name="connsiteY3236" fmla="*/ 4429755 h 6698675"/>
              <a:gd name="connsiteX3237" fmla="*/ 911322 w 8267681"/>
              <a:gd name="connsiteY3237" fmla="*/ 4446197 h 6698675"/>
              <a:gd name="connsiteX3238" fmla="*/ 906624 w 8267681"/>
              <a:gd name="connsiteY3238" fmla="*/ 4448546 h 6698675"/>
              <a:gd name="connsiteX3239" fmla="*/ 901929 w 8267681"/>
              <a:gd name="connsiteY3239" fmla="*/ 4446197 h 6698675"/>
              <a:gd name="connsiteX3240" fmla="*/ 897229 w 8267681"/>
              <a:gd name="connsiteY3240" fmla="*/ 4432104 h 6698675"/>
              <a:gd name="connsiteX3241" fmla="*/ 880787 w 8267681"/>
              <a:gd name="connsiteY3241" fmla="*/ 4446197 h 6698675"/>
              <a:gd name="connsiteX3242" fmla="*/ 876089 w 8267681"/>
              <a:gd name="connsiteY3242" fmla="*/ 4436802 h 6698675"/>
              <a:gd name="connsiteX3243" fmla="*/ 2802074 w 8267681"/>
              <a:gd name="connsiteY3243" fmla="*/ 4408616 h 6698675"/>
              <a:gd name="connsiteX3244" fmla="*/ 2795027 w 8267681"/>
              <a:gd name="connsiteY3244" fmla="*/ 4415662 h 6698675"/>
              <a:gd name="connsiteX3245" fmla="*/ 2804424 w 8267681"/>
              <a:gd name="connsiteY3245" fmla="*/ 4415662 h 6698675"/>
              <a:gd name="connsiteX3246" fmla="*/ 2802074 w 8267681"/>
              <a:gd name="connsiteY3246" fmla="*/ 4408616 h 6698675"/>
              <a:gd name="connsiteX3247" fmla="*/ 2726913 w 8267681"/>
              <a:gd name="connsiteY3247" fmla="*/ 4408616 h 6698675"/>
              <a:gd name="connsiteX3248" fmla="*/ 2726913 w 8267681"/>
              <a:gd name="connsiteY3248" fmla="*/ 4410965 h 6698675"/>
              <a:gd name="connsiteX3249" fmla="*/ 2729262 w 8267681"/>
              <a:gd name="connsiteY3249" fmla="*/ 4408616 h 6698675"/>
              <a:gd name="connsiteX3250" fmla="*/ 2726913 w 8267681"/>
              <a:gd name="connsiteY3250" fmla="*/ 4408616 h 6698675"/>
              <a:gd name="connsiteX3251" fmla="*/ 2557801 w 8267681"/>
              <a:gd name="connsiteY3251" fmla="*/ 4399221 h 6698675"/>
              <a:gd name="connsiteX3252" fmla="*/ 2555452 w 8267681"/>
              <a:gd name="connsiteY3252" fmla="*/ 4401570 h 6698675"/>
              <a:gd name="connsiteX3253" fmla="*/ 2553103 w 8267681"/>
              <a:gd name="connsiteY3253" fmla="*/ 4408616 h 6698675"/>
              <a:gd name="connsiteX3254" fmla="*/ 2555452 w 8267681"/>
              <a:gd name="connsiteY3254" fmla="*/ 4413314 h 6698675"/>
              <a:gd name="connsiteX3255" fmla="*/ 2564847 w 8267681"/>
              <a:gd name="connsiteY3255" fmla="*/ 4413314 h 6698675"/>
              <a:gd name="connsiteX3256" fmla="*/ 2567196 w 8267681"/>
              <a:gd name="connsiteY3256" fmla="*/ 4410965 h 6698675"/>
              <a:gd name="connsiteX3257" fmla="*/ 2564847 w 8267681"/>
              <a:gd name="connsiteY3257" fmla="*/ 4408616 h 6698675"/>
              <a:gd name="connsiteX3258" fmla="*/ 2560150 w 8267681"/>
              <a:gd name="connsiteY3258" fmla="*/ 4401570 h 6698675"/>
              <a:gd name="connsiteX3259" fmla="*/ 2557801 w 8267681"/>
              <a:gd name="connsiteY3259" fmla="*/ 4399221 h 6698675"/>
              <a:gd name="connsiteX3260" fmla="*/ 3011115 w 8267681"/>
              <a:gd name="connsiteY3260" fmla="*/ 4396872 h 6698675"/>
              <a:gd name="connsiteX3261" fmla="*/ 3006417 w 8267681"/>
              <a:gd name="connsiteY3261" fmla="*/ 4408616 h 6698675"/>
              <a:gd name="connsiteX3262" fmla="*/ 3018161 w 8267681"/>
              <a:gd name="connsiteY3262" fmla="*/ 4413314 h 6698675"/>
              <a:gd name="connsiteX3263" fmla="*/ 3022859 w 8267681"/>
              <a:gd name="connsiteY3263" fmla="*/ 4401570 h 6698675"/>
              <a:gd name="connsiteX3264" fmla="*/ 3011115 w 8267681"/>
              <a:gd name="connsiteY3264" fmla="*/ 4396872 h 6698675"/>
              <a:gd name="connsiteX3265" fmla="*/ 5669933 w 8267681"/>
              <a:gd name="connsiteY3265" fmla="*/ 4394523 h 6698675"/>
              <a:gd name="connsiteX3266" fmla="*/ 5662887 w 8267681"/>
              <a:gd name="connsiteY3266" fmla="*/ 4453243 h 6698675"/>
              <a:gd name="connsiteX3267" fmla="*/ 5648794 w 8267681"/>
              <a:gd name="connsiteY3267" fmla="*/ 4457940 h 6698675"/>
              <a:gd name="connsiteX3268" fmla="*/ 5632353 w 8267681"/>
              <a:gd name="connsiteY3268" fmla="*/ 4450894 h 6698675"/>
              <a:gd name="connsiteX3269" fmla="*/ 5630004 w 8267681"/>
              <a:gd name="connsiteY3269" fmla="*/ 4453243 h 6698675"/>
              <a:gd name="connsiteX3270" fmla="*/ 5644097 w 8267681"/>
              <a:gd name="connsiteY3270" fmla="*/ 4432103 h 6698675"/>
              <a:gd name="connsiteX3271" fmla="*/ 5632353 w 8267681"/>
              <a:gd name="connsiteY3271" fmla="*/ 4413313 h 6698675"/>
              <a:gd name="connsiteX3272" fmla="*/ 5632353 w 8267681"/>
              <a:gd name="connsiteY3272" fmla="*/ 4410964 h 6698675"/>
              <a:gd name="connsiteX3273" fmla="*/ 5639399 w 8267681"/>
              <a:gd name="connsiteY3273" fmla="*/ 4403918 h 6698675"/>
              <a:gd name="connsiteX3274" fmla="*/ 5641748 w 8267681"/>
              <a:gd name="connsiteY3274" fmla="*/ 4410964 h 6698675"/>
              <a:gd name="connsiteX3275" fmla="*/ 5641748 w 8267681"/>
              <a:gd name="connsiteY3275" fmla="*/ 4403918 h 6698675"/>
              <a:gd name="connsiteX3276" fmla="*/ 5669933 w 8267681"/>
              <a:gd name="connsiteY3276" fmla="*/ 4394523 h 6698675"/>
              <a:gd name="connsiteX3277" fmla="*/ 1524352 w 8267681"/>
              <a:gd name="connsiteY3277" fmla="*/ 4392173 h 6698675"/>
              <a:gd name="connsiteX3278" fmla="*/ 1526702 w 8267681"/>
              <a:gd name="connsiteY3278" fmla="*/ 4394522 h 6698675"/>
              <a:gd name="connsiteX3279" fmla="*/ 1524352 w 8267681"/>
              <a:gd name="connsiteY3279" fmla="*/ 4403917 h 6698675"/>
              <a:gd name="connsiteX3280" fmla="*/ 1514956 w 8267681"/>
              <a:gd name="connsiteY3280" fmla="*/ 4403917 h 6698675"/>
              <a:gd name="connsiteX3281" fmla="*/ 1514956 w 8267681"/>
              <a:gd name="connsiteY3281" fmla="*/ 4394522 h 6698675"/>
              <a:gd name="connsiteX3282" fmla="*/ 1244851 w 8267681"/>
              <a:gd name="connsiteY3282" fmla="*/ 4392173 h 6698675"/>
              <a:gd name="connsiteX3283" fmla="*/ 1249543 w 8267681"/>
              <a:gd name="connsiteY3283" fmla="*/ 4399219 h 6698675"/>
              <a:gd name="connsiteX3284" fmla="*/ 1244851 w 8267681"/>
              <a:gd name="connsiteY3284" fmla="*/ 4403917 h 6698675"/>
              <a:gd name="connsiteX3285" fmla="*/ 1240151 w 8267681"/>
              <a:gd name="connsiteY3285" fmla="*/ 4399219 h 6698675"/>
              <a:gd name="connsiteX3286" fmla="*/ 1018971 w 8267681"/>
              <a:gd name="connsiteY3286" fmla="*/ 4390478 h 6698675"/>
              <a:gd name="connsiteX3287" fmla="*/ 1024062 w 8267681"/>
              <a:gd name="connsiteY3287" fmla="*/ 4392175 h 6698675"/>
              <a:gd name="connsiteX3288" fmla="*/ 1047551 w 8267681"/>
              <a:gd name="connsiteY3288" fmla="*/ 4406267 h 6698675"/>
              <a:gd name="connsiteX3289" fmla="*/ 1063991 w 8267681"/>
              <a:gd name="connsiteY3289" fmla="*/ 4415662 h 6698675"/>
              <a:gd name="connsiteX3290" fmla="*/ 1059297 w 8267681"/>
              <a:gd name="connsiteY3290" fmla="*/ 4422709 h 6698675"/>
              <a:gd name="connsiteX3291" fmla="*/ 1040505 w 8267681"/>
              <a:gd name="connsiteY3291" fmla="*/ 4429755 h 6698675"/>
              <a:gd name="connsiteX3292" fmla="*/ 1028762 w 8267681"/>
              <a:gd name="connsiteY3292" fmla="*/ 4422709 h 6698675"/>
              <a:gd name="connsiteX3293" fmla="*/ 1017015 w 8267681"/>
              <a:gd name="connsiteY3293" fmla="*/ 4406267 h 6698675"/>
              <a:gd name="connsiteX3294" fmla="*/ 1021713 w 8267681"/>
              <a:gd name="connsiteY3294" fmla="*/ 4396872 h 6698675"/>
              <a:gd name="connsiteX3295" fmla="*/ 1000580 w 8267681"/>
              <a:gd name="connsiteY3295" fmla="*/ 4389826 h 6698675"/>
              <a:gd name="connsiteX3296" fmla="*/ 1000580 w 8267681"/>
              <a:gd name="connsiteY3296" fmla="*/ 4396872 h 6698675"/>
              <a:gd name="connsiteX3297" fmla="*/ 998235 w 8267681"/>
              <a:gd name="connsiteY3297" fmla="*/ 4406267 h 6698675"/>
              <a:gd name="connsiteX3298" fmla="*/ 1014674 w 8267681"/>
              <a:gd name="connsiteY3298" fmla="*/ 4418011 h 6698675"/>
              <a:gd name="connsiteX3299" fmla="*/ 1019371 w 8267681"/>
              <a:gd name="connsiteY3299" fmla="*/ 4432104 h 6698675"/>
              <a:gd name="connsiteX3300" fmla="*/ 1005277 w 8267681"/>
              <a:gd name="connsiteY3300" fmla="*/ 4436801 h 6698675"/>
              <a:gd name="connsiteX3301" fmla="*/ 1002929 w 8267681"/>
              <a:gd name="connsiteY3301" fmla="*/ 4432104 h 6698675"/>
              <a:gd name="connsiteX3302" fmla="*/ 998235 w 8267681"/>
              <a:gd name="connsiteY3302" fmla="*/ 4427406 h 6698675"/>
              <a:gd name="connsiteX3303" fmla="*/ 984143 w 8267681"/>
              <a:gd name="connsiteY3303" fmla="*/ 4422709 h 6698675"/>
              <a:gd name="connsiteX3304" fmla="*/ 991186 w 8267681"/>
              <a:gd name="connsiteY3304" fmla="*/ 4406267 h 6698675"/>
              <a:gd name="connsiteX3305" fmla="*/ 988836 w 8267681"/>
              <a:gd name="connsiteY3305" fmla="*/ 4396872 h 6698675"/>
              <a:gd name="connsiteX3306" fmla="*/ 1000580 w 8267681"/>
              <a:gd name="connsiteY3306" fmla="*/ 4389826 h 6698675"/>
              <a:gd name="connsiteX3307" fmla="*/ 1406915 w 8267681"/>
              <a:gd name="connsiteY3307" fmla="*/ 4389825 h 6698675"/>
              <a:gd name="connsiteX3308" fmla="*/ 1413962 w 8267681"/>
              <a:gd name="connsiteY3308" fmla="*/ 4389825 h 6698675"/>
              <a:gd name="connsiteX3309" fmla="*/ 1418657 w 8267681"/>
              <a:gd name="connsiteY3309" fmla="*/ 4394523 h 6698675"/>
              <a:gd name="connsiteX3310" fmla="*/ 1413962 w 8267681"/>
              <a:gd name="connsiteY3310" fmla="*/ 4399220 h 6698675"/>
              <a:gd name="connsiteX3311" fmla="*/ 1406915 w 8267681"/>
              <a:gd name="connsiteY3311" fmla="*/ 4396871 h 6698675"/>
              <a:gd name="connsiteX3312" fmla="*/ 1402219 w 8267681"/>
              <a:gd name="connsiteY3312" fmla="*/ 4394523 h 6698675"/>
              <a:gd name="connsiteX3313" fmla="*/ 1355241 w 8267681"/>
              <a:gd name="connsiteY3313" fmla="*/ 4389825 h 6698675"/>
              <a:gd name="connsiteX3314" fmla="*/ 1362286 w 8267681"/>
              <a:gd name="connsiteY3314" fmla="*/ 4394523 h 6698675"/>
              <a:gd name="connsiteX3315" fmla="*/ 1355241 w 8267681"/>
              <a:gd name="connsiteY3315" fmla="*/ 4401569 h 6698675"/>
              <a:gd name="connsiteX3316" fmla="*/ 1345844 w 8267681"/>
              <a:gd name="connsiteY3316" fmla="*/ 4392174 h 6698675"/>
              <a:gd name="connsiteX3317" fmla="*/ 770398 w 8267681"/>
              <a:gd name="connsiteY3317" fmla="*/ 4389825 h 6698675"/>
              <a:gd name="connsiteX3318" fmla="*/ 777446 w 8267681"/>
              <a:gd name="connsiteY3318" fmla="*/ 4394523 h 6698675"/>
              <a:gd name="connsiteX3319" fmla="*/ 768045 w 8267681"/>
              <a:gd name="connsiteY3319" fmla="*/ 4420359 h 6698675"/>
              <a:gd name="connsiteX3320" fmla="*/ 753956 w 8267681"/>
              <a:gd name="connsiteY3320" fmla="*/ 4394523 h 6698675"/>
              <a:gd name="connsiteX3321" fmla="*/ 770398 w 8267681"/>
              <a:gd name="connsiteY3321" fmla="*/ 4389825 h 6698675"/>
              <a:gd name="connsiteX3322" fmla="*/ 2682286 w 8267681"/>
              <a:gd name="connsiteY3322" fmla="*/ 4387477 h 6698675"/>
              <a:gd name="connsiteX3323" fmla="*/ 2684635 w 8267681"/>
              <a:gd name="connsiteY3323" fmla="*/ 4389826 h 6698675"/>
              <a:gd name="connsiteX3324" fmla="*/ 2686984 w 8267681"/>
              <a:gd name="connsiteY3324" fmla="*/ 4387477 h 6698675"/>
              <a:gd name="connsiteX3325" fmla="*/ 2682286 w 8267681"/>
              <a:gd name="connsiteY3325" fmla="*/ 4387477 h 6698675"/>
              <a:gd name="connsiteX3326" fmla="*/ 906622 w 8267681"/>
              <a:gd name="connsiteY3326" fmla="*/ 4387476 h 6698675"/>
              <a:gd name="connsiteX3327" fmla="*/ 911321 w 8267681"/>
              <a:gd name="connsiteY3327" fmla="*/ 4396871 h 6698675"/>
              <a:gd name="connsiteX3328" fmla="*/ 906622 w 8267681"/>
              <a:gd name="connsiteY3328" fmla="*/ 4403917 h 6698675"/>
              <a:gd name="connsiteX3329" fmla="*/ 897229 w 8267681"/>
              <a:gd name="connsiteY3329" fmla="*/ 4396871 h 6698675"/>
              <a:gd name="connsiteX3330" fmla="*/ 1017271 w 8267681"/>
              <a:gd name="connsiteY3330" fmla="*/ 4386508 h 6698675"/>
              <a:gd name="connsiteX3331" fmla="*/ 1018971 w 8267681"/>
              <a:gd name="connsiteY3331" fmla="*/ 4390478 h 6698675"/>
              <a:gd name="connsiteX3332" fmla="*/ 1017015 w 8267681"/>
              <a:gd name="connsiteY3332" fmla="*/ 4389826 h 6698675"/>
              <a:gd name="connsiteX3333" fmla="*/ 822077 w 8267681"/>
              <a:gd name="connsiteY3333" fmla="*/ 4385127 h 6698675"/>
              <a:gd name="connsiteX3334" fmla="*/ 840870 w 8267681"/>
              <a:gd name="connsiteY3334" fmla="*/ 4385127 h 6698675"/>
              <a:gd name="connsiteX3335" fmla="*/ 840870 w 8267681"/>
              <a:gd name="connsiteY3335" fmla="*/ 4387476 h 6698675"/>
              <a:gd name="connsiteX3336" fmla="*/ 838520 w 8267681"/>
              <a:gd name="connsiteY3336" fmla="*/ 4396871 h 6698675"/>
              <a:gd name="connsiteX3337" fmla="*/ 831469 w 8267681"/>
              <a:gd name="connsiteY3337" fmla="*/ 4403917 h 6698675"/>
              <a:gd name="connsiteX3338" fmla="*/ 822077 w 8267681"/>
              <a:gd name="connsiteY3338" fmla="*/ 4401569 h 6698675"/>
              <a:gd name="connsiteX3339" fmla="*/ 817373 w 8267681"/>
              <a:gd name="connsiteY3339" fmla="*/ 4394522 h 6698675"/>
              <a:gd name="connsiteX3340" fmla="*/ 2506128 w 8267681"/>
              <a:gd name="connsiteY3340" fmla="*/ 4382779 h 6698675"/>
              <a:gd name="connsiteX3341" fmla="*/ 2477942 w 8267681"/>
              <a:gd name="connsiteY3341" fmla="*/ 4479079 h 6698675"/>
              <a:gd name="connsiteX3342" fmla="*/ 2496732 w 8267681"/>
              <a:gd name="connsiteY3342" fmla="*/ 4516660 h 6698675"/>
              <a:gd name="connsiteX3343" fmla="*/ 2590684 w 8267681"/>
              <a:gd name="connsiteY3343" fmla="*/ 4460289 h 6698675"/>
              <a:gd name="connsiteX3344" fmla="*/ 2567196 w 8267681"/>
              <a:gd name="connsiteY3344" fmla="*/ 4453243 h 6698675"/>
              <a:gd name="connsiteX3345" fmla="*/ 2539011 w 8267681"/>
              <a:gd name="connsiteY3345" fmla="*/ 4464987 h 6698675"/>
              <a:gd name="connsiteX3346" fmla="*/ 2555452 w 8267681"/>
              <a:gd name="connsiteY3346" fmla="*/ 4448545 h 6698675"/>
              <a:gd name="connsiteX3347" fmla="*/ 2548406 w 8267681"/>
              <a:gd name="connsiteY3347" fmla="*/ 4446196 h 6698675"/>
              <a:gd name="connsiteX3348" fmla="*/ 2548406 w 8267681"/>
              <a:gd name="connsiteY3348" fmla="*/ 4436801 h 6698675"/>
              <a:gd name="connsiteX3349" fmla="*/ 2555452 w 8267681"/>
              <a:gd name="connsiteY3349" fmla="*/ 4439150 h 6698675"/>
              <a:gd name="connsiteX3350" fmla="*/ 2555452 w 8267681"/>
              <a:gd name="connsiteY3350" fmla="*/ 4425057 h 6698675"/>
              <a:gd name="connsiteX3351" fmla="*/ 2506128 w 8267681"/>
              <a:gd name="connsiteY3351" fmla="*/ 4382779 h 6698675"/>
              <a:gd name="connsiteX3352" fmla="*/ 5719256 w 8267681"/>
              <a:gd name="connsiteY3352" fmla="*/ 4382778 h 6698675"/>
              <a:gd name="connsiteX3353" fmla="*/ 5712210 w 8267681"/>
              <a:gd name="connsiteY3353" fmla="*/ 4408614 h 6698675"/>
              <a:gd name="connsiteX3354" fmla="*/ 5702815 w 8267681"/>
              <a:gd name="connsiteY3354" fmla="*/ 4385127 h 6698675"/>
              <a:gd name="connsiteX3355" fmla="*/ 5719256 w 8267681"/>
              <a:gd name="connsiteY3355" fmla="*/ 4382778 h 6698675"/>
              <a:gd name="connsiteX3356" fmla="*/ 1280078 w 8267681"/>
              <a:gd name="connsiteY3356" fmla="*/ 4380430 h 6698675"/>
              <a:gd name="connsiteX3357" fmla="*/ 1282428 w 8267681"/>
              <a:gd name="connsiteY3357" fmla="*/ 4382779 h 6698675"/>
              <a:gd name="connsiteX3358" fmla="*/ 1280078 w 8267681"/>
              <a:gd name="connsiteY3358" fmla="*/ 4387476 h 6698675"/>
              <a:gd name="connsiteX3359" fmla="*/ 1273032 w 8267681"/>
              <a:gd name="connsiteY3359" fmla="*/ 4382779 h 6698675"/>
              <a:gd name="connsiteX3360" fmla="*/ 737513 w 8267681"/>
              <a:gd name="connsiteY3360" fmla="*/ 4380430 h 6698675"/>
              <a:gd name="connsiteX3361" fmla="*/ 744560 w 8267681"/>
              <a:gd name="connsiteY3361" fmla="*/ 4385128 h 6698675"/>
              <a:gd name="connsiteX3362" fmla="*/ 737513 w 8267681"/>
              <a:gd name="connsiteY3362" fmla="*/ 4392174 h 6698675"/>
              <a:gd name="connsiteX3363" fmla="*/ 732818 w 8267681"/>
              <a:gd name="connsiteY3363" fmla="*/ 4385128 h 6698675"/>
              <a:gd name="connsiteX3364" fmla="*/ 2621218 w 8267681"/>
              <a:gd name="connsiteY3364" fmla="*/ 4378082 h 6698675"/>
              <a:gd name="connsiteX3365" fmla="*/ 2611823 w 8267681"/>
              <a:gd name="connsiteY3365" fmla="*/ 4382779 h 6698675"/>
              <a:gd name="connsiteX3366" fmla="*/ 2611823 w 8267681"/>
              <a:gd name="connsiteY3366" fmla="*/ 4385128 h 6698675"/>
              <a:gd name="connsiteX3367" fmla="*/ 2616520 w 8267681"/>
              <a:gd name="connsiteY3367" fmla="*/ 4389826 h 6698675"/>
              <a:gd name="connsiteX3368" fmla="*/ 2621218 w 8267681"/>
              <a:gd name="connsiteY3368" fmla="*/ 4394523 h 6698675"/>
              <a:gd name="connsiteX3369" fmla="*/ 2625916 w 8267681"/>
              <a:gd name="connsiteY3369" fmla="*/ 4399221 h 6698675"/>
              <a:gd name="connsiteX3370" fmla="*/ 2632963 w 8267681"/>
              <a:gd name="connsiteY3370" fmla="*/ 4394523 h 6698675"/>
              <a:gd name="connsiteX3371" fmla="*/ 2621218 w 8267681"/>
              <a:gd name="connsiteY3371" fmla="*/ 4385128 h 6698675"/>
              <a:gd name="connsiteX3372" fmla="*/ 2621218 w 8267681"/>
              <a:gd name="connsiteY3372" fmla="*/ 4378082 h 6698675"/>
              <a:gd name="connsiteX3373" fmla="*/ 1017015 w 8267681"/>
              <a:gd name="connsiteY3373" fmla="*/ 4378082 h 6698675"/>
              <a:gd name="connsiteX3374" fmla="*/ 1019364 w 8267681"/>
              <a:gd name="connsiteY3374" fmla="*/ 4380431 h 6698675"/>
              <a:gd name="connsiteX3375" fmla="*/ 1017310 w 8267681"/>
              <a:gd name="connsiteY3375" fmla="*/ 4386009 h 6698675"/>
              <a:gd name="connsiteX3376" fmla="*/ 1017271 w 8267681"/>
              <a:gd name="connsiteY3376" fmla="*/ 4386508 h 6698675"/>
              <a:gd name="connsiteX3377" fmla="*/ 1014664 w 8267681"/>
              <a:gd name="connsiteY3377" fmla="*/ 4380431 h 6698675"/>
              <a:gd name="connsiteX3378" fmla="*/ 1608908 w 8267681"/>
              <a:gd name="connsiteY3378" fmla="*/ 4378081 h 6698675"/>
              <a:gd name="connsiteX3379" fmla="*/ 1611258 w 8267681"/>
              <a:gd name="connsiteY3379" fmla="*/ 4380430 h 6698675"/>
              <a:gd name="connsiteX3380" fmla="*/ 1613608 w 8267681"/>
              <a:gd name="connsiteY3380" fmla="*/ 4389825 h 6698675"/>
              <a:gd name="connsiteX3381" fmla="*/ 1606559 w 8267681"/>
              <a:gd name="connsiteY3381" fmla="*/ 4394522 h 6698675"/>
              <a:gd name="connsiteX3382" fmla="*/ 1599515 w 8267681"/>
              <a:gd name="connsiteY3382" fmla="*/ 4389825 h 6698675"/>
              <a:gd name="connsiteX3383" fmla="*/ 1606559 w 8267681"/>
              <a:gd name="connsiteY3383" fmla="*/ 4380430 h 6698675"/>
              <a:gd name="connsiteX3384" fmla="*/ 1608908 w 8267681"/>
              <a:gd name="connsiteY3384" fmla="*/ 4378081 h 6698675"/>
              <a:gd name="connsiteX3385" fmla="*/ 1557238 w 8267681"/>
              <a:gd name="connsiteY3385" fmla="*/ 4373383 h 6698675"/>
              <a:gd name="connsiteX3386" fmla="*/ 1561931 w 8267681"/>
              <a:gd name="connsiteY3386" fmla="*/ 4378081 h 6698675"/>
              <a:gd name="connsiteX3387" fmla="*/ 1557238 w 8267681"/>
              <a:gd name="connsiteY3387" fmla="*/ 4387476 h 6698675"/>
              <a:gd name="connsiteX3388" fmla="*/ 1547841 w 8267681"/>
              <a:gd name="connsiteY3388" fmla="*/ 4375732 h 6698675"/>
              <a:gd name="connsiteX3389" fmla="*/ 981792 w 8267681"/>
              <a:gd name="connsiteY3389" fmla="*/ 4373383 h 6698675"/>
              <a:gd name="connsiteX3390" fmla="*/ 988836 w 8267681"/>
              <a:gd name="connsiteY3390" fmla="*/ 4387476 h 6698675"/>
              <a:gd name="connsiteX3391" fmla="*/ 981792 w 8267681"/>
              <a:gd name="connsiteY3391" fmla="*/ 4392173 h 6698675"/>
              <a:gd name="connsiteX3392" fmla="*/ 955958 w 8267681"/>
              <a:gd name="connsiteY3392" fmla="*/ 4399220 h 6698675"/>
              <a:gd name="connsiteX3393" fmla="*/ 953607 w 8267681"/>
              <a:gd name="connsiteY3393" fmla="*/ 4394522 h 6698675"/>
              <a:gd name="connsiteX3394" fmla="*/ 955958 w 8267681"/>
              <a:gd name="connsiteY3394" fmla="*/ 4392173 h 6698675"/>
              <a:gd name="connsiteX3395" fmla="*/ 965350 w 8267681"/>
              <a:gd name="connsiteY3395" fmla="*/ 4392173 h 6698675"/>
              <a:gd name="connsiteX3396" fmla="*/ 972396 w 8267681"/>
              <a:gd name="connsiteY3396" fmla="*/ 4378081 h 6698675"/>
              <a:gd name="connsiteX3397" fmla="*/ 981792 w 8267681"/>
              <a:gd name="connsiteY3397" fmla="*/ 4373383 h 6698675"/>
              <a:gd name="connsiteX3398" fmla="*/ 2686984 w 8267681"/>
              <a:gd name="connsiteY3398" fmla="*/ 4368687 h 6698675"/>
              <a:gd name="connsiteX3399" fmla="*/ 2672891 w 8267681"/>
              <a:gd name="connsiteY3399" fmla="*/ 4371035 h 6698675"/>
              <a:gd name="connsiteX3400" fmla="*/ 2679937 w 8267681"/>
              <a:gd name="connsiteY3400" fmla="*/ 4382779 h 6698675"/>
              <a:gd name="connsiteX3401" fmla="*/ 2694030 w 8267681"/>
              <a:gd name="connsiteY3401" fmla="*/ 4378082 h 6698675"/>
              <a:gd name="connsiteX3402" fmla="*/ 2694030 w 8267681"/>
              <a:gd name="connsiteY3402" fmla="*/ 4375733 h 6698675"/>
              <a:gd name="connsiteX3403" fmla="*/ 1644143 w 8267681"/>
              <a:gd name="connsiteY3403" fmla="*/ 4366337 h 6698675"/>
              <a:gd name="connsiteX3404" fmla="*/ 1653536 w 8267681"/>
              <a:gd name="connsiteY3404" fmla="*/ 4371035 h 6698675"/>
              <a:gd name="connsiteX3405" fmla="*/ 1655886 w 8267681"/>
              <a:gd name="connsiteY3405" fmla="*/ 4373383 h 6698675"/>
              <a:gd name="connsiteX3406" fmla="*/ 1653536 w 8267681"/>
              <a:gd name="connsiteY3406" fmla="*/ 4375732 h 6698675"/>
              <a:gd name="connsiteX3407" fmla="*/ 1646493 w 8267681"/>
              <a:gd name="connsiteY3407" fmla="*/ 4380430 h 6698675"/>
              <a:gd name="connsiteX3408" fmla="*/ 1644143 w 8267681"/>
              <a:gd name="connsiteY3408" fmla="*/ 4382778 h 6698675"/>
              <a:gd name="connsiteX3409" fmla="*/ 1641793 w 8267681"/>
              <a:gd name="connsiteY3409" fmla="*/ 4380430 h 6698675"/>
              <a:gd name="connsiteX3410" fmla="*/ 1639445 w 8267681"/>
              <a:gd name="connsiteY3410" fmla="*/ 4371035 h 6698675"/>
              <a:gd name="connsiteX3411" fmla="*/ 1160296 w 8267681"/>
              <a:gd name="connsiteY3411" fmla="*/ 4363988 h 6698675"/>
              <a:gd name="connsiteX3412" fmla="*/ 1167341 w 8267681"/>
              <a:gd name="connsiteY3412" fmla="*/ 4373383 h 6698675"/>
              <a:gd name="connsiteX3413" fmla="*/ 1160296 w 8267681"/>
              <a:gd name="connsiteY3413" fmla="*/ 4375732 h 6698675"/>
              <a:gd name="connsiteX3414" fmla="*/ 2726913 w 8267681"/>
              <a:gd name="connsiteY3414" fmla="*/ 4361640 h 6698675"/>
              <a:gd name="connsiteX3415" fmla="*/ 2708123 w 8267681"/>
              <a:gd name="connsiteY3415" fmla="*/ 4366338 h 6698675"/>
              <a:gd name="connsiteX3416" fmla="*/ 2705774 w 8267681"/>
              <a:gd name="connsiteY3416" fmla="*/ 4371035 h 6698675"/>
              <a:gd name="connsiteX3417" fmla="*/ 2708123 w 8267681"/>
              <a:gd name="connsiteY3417" fmla="*/ 4375733 h 6698675"/>
              <a:gd name="connsiteX3418" fmla="*/ 2719866 w 8267681"/>
              <a:gd name="connsiteY3418" fmla="*/ 4371035 h 6698675"/>
              <a:gd name="connsiteX3419" fmla="*/ 2726913 w 8267681"/>
              <a:gd name="connsiteY3419" fmla="*/ 4361640 h 6698675"/>
              <a:gd name="connsiteX3420" fmla="*/ 2607125 w 8267681"/>
              <a:gd name="connsiteY3420" fmla="*/ 4359292 h 6698675"/>
              <a:gd name="connsiteX3421" fmla="*/ 2607125 w 8267681"/>
              <a:gd name="connsiteY3421" fmla="*/ 4373384 h 6698675"/>
              <a:gd name="connsiteX3422" fmla="*/ 2611823 w 8267681"/>
              <a:gd name="connsiteY3422" fmla="*/ 4373384 h 6698675"/>
              <a:gd name="connsiteX3423" fmla="*/ 2625916 w 8267681"/>
              <a:gd name="connsiteY3423" fmla="*/ 4366338 h 6698675"/>
              <a:gd name="connsiteX3424" fmla="*/ 2623567 w 8267681"/>
              <a:gd name="connsiteY3424" fmla="*/ 4363989 h 6698675"/>
              <a:gd name="connsiteX3425" fmla="*/ 2609474 w 8267681"/>
              <a:gd name="connsiteY3425" fmla="*/ 4359292 h 6698675"/>
              <a:gd name="connsiteX3426" fmla="*/ 2607125 w 8267681"/>
              <a:gd name="connsiteY3426" fmla="*/ 4359292 h 6698675"/>
              <a:gd name="connsiteX3427" fmla="*/ 1592466 w 8267681"/>
              <a:gd name="connsiteY3427" fmla="*/ 4356942 h 6698675"/>
              <a:gd name="connsiteX3428" fmla="*/ 1601861 w 8267681"/>
              <a:gd name="connsiteY3428" fmla="*/ 4359291 h 6698675"/>
              <a:gd name="connsiteX3429" fmla="*/ 1604208 w 8267681"/>
              <a:gd name="connsiteY3429" fmla="*/ 4361640 h 6698675"/>
              <a:gd name="connsiteX3430" fmla="*/ 1601861 w 8267681"/>
              <a:gd name="connsiteY3430" fmla="*/ 4366337 h 6698675"/>
              <a:gd name="connsiteX3431" fmla="*/ 1592466 w 8267681"/>
              <a:gd name="connsiteY3431" fmla="*/ 4366337 h 6698675"/>
              <a:gd name="connsiteX3432" fmla="*/ 1587769 w 8267681"/>
              <a:gd name="connsiteY3432" fmla="*/ 4361640 h 6698675"/>
              <a:gd name="connsiteX3433" fmla="*/ 880797 w 8267681"/>
              <a:gd name="connsiteY3433" fmla="*/ 4352245 h 6698675"/>
              <a:gd name="connsiteX3434" fmla="*/ 885495 w 8267681"/>
              <a:gd name="connsiteY3434" fmla="*/ 4361640 h 6698675"/>
              <a:gd name="connsiteX3435" fmla="*/ 873748 w 8267681"/>
              <a:gd name="connsiteY3435" fmla="*/ 4378082 h 6698675"/>
              <a:gd name="connsiteX3436" fmla="*/ 880797 w 8267681"/>
              <a:gd name="connsiteY3436" fmla="*/ 4380430 h 6698675"/>
              <a:gd name="connsiteX3437" fmla="*/ 887840 w 8267681"/>
              <a:gd name="connsiteY3437" fmla="*/ 4385128 h 6698675"/>
              <a:gd name="connsiteX3438" fmla="*/ 880797 w 8267681"/>
              <a:gd name="connsiteY3438" fmla="*/ 4389826 h 6698675"/>
              <a:gd name="connsiteX3439" fmla="*/ 864355 w 8267681"/>
              <a:gd name="connsiteY3439" fmla="*/ 4387477 h 6698675"/>
              <a:gd name="connsiteX3440" fmla="*/ 864355 w 8267681"/>
              <a:gd name="connsiteY3440" fmla="*/ 4385128 h 6698675"/>
              <a:gd name="connsiteX3441" fmla="*/ 869052 w 8267681"/>
              <a:gd name="connsiteY3441" fmla="*/ 4375733 h 6698675"/>
              <a:gd name="connsiteX3442" fmla="*/ 866703 w 8267681"/>
              <a:gd name="connsiteY3442" fmla="*/ 4359291 h 6698675"/>
              <a:gd name="connsiteX3443" fmla="*/ 880797 w 8267681"/>
              <a:gd name="connsiteY3443" fmla="*/ 4352245 h 6698675"/>
              <a:gd name="connsiteX3444" fmla="*/ 2658799 w 8267681"/>
              <a:gd name="connsiteY3444" fmla="*/ 4349896 h 6698675"/>
              <a:gd name="connsiteX3445" fmla="*/ 2649403 w 8267681"/>
              <a:gd name="connsiteY3445" fmla="*/ 4352245 h 6698675"/>
              <a:gd name="connsiteX3446" fmla="*/ 2656449 w 8267681"/>
              <a:gd name="connsiteY3446" fmla="*/ 4352245 h 6698675"/>
              <a:gd name="connsiteX3447" fmla="*/ 2658799 w 8267681"/>
              <a:gd name="connsiteY3447" fmla="*/ 4354594 h 6698675"/>
              <a:gd name="connsiteX3448" fmla="*/ 2661147 w 8267681"/>
              <a:gd name="connsiteY3448" fmla="*/ 4354594 h 6698675"/>
              <a:gd name="connsiteX3449" fmla="*/ 2658799 w 8267681"/>
              <a:gd name="connsiteY3449" fmla="*/ 4349896 h 6698675"/>
              <a:gd name="connsiteX3450" fmla="*/ 941861 w 8267681"/>
              <a:gd name="connsiteY3450" fmla="*/ 4349895 h 6698675"/>
              <a:gd name="connsiteX3451" fmla="*/ 944209 w 8267681"/>
              <a:gd name="connsiteY3451" fmla="*/ 4352244 h 6698675"/>
              <a:gd name="connsiteX3452" fmla="*/ 944209 w 8267681"/>
              <a:gd name="connsiteY3452" fmla="*/ 4361639 h 6698675"/>
              <a:gd name="connsiteX3453" fmla="*/ 941861 w 8267681"/>
              <a:gd name="connsiteY3453" fmla="*/ 4361639 h 6698675"/>
              <a:gd name="connsiteX3454" fmla="*/ 932468 w 8267681"/>
              <a:gd name="connsiteY3454" fmla="*/ 4366337 h 6698675"/>
              <a:gd name="connsiteX3455" fmla="*/ 927772 w 8267681"/>
              <a:gd name="connsiteY3455" fmla="*/ 4359290 h 6698675"/>
              <a:gd name="connsiteX3456" fmla="*/ 932468 w 8267681"/>
              <a:gd name="connsiteY3456" fmla="*/ 4354593 h 6698675"/>
              <a:gd name="connsiteX3457" fmla="*/ 939515 w 8267681"/>
              <a:gd name="connsiteY3457" fmla="*/ 4352244 h 6698675"/>
              <a:gd name="connsiteX3458" fmla="*/ 941861 w 8267681"/>
              <a:gd name="connsiteY3458" fmla="*/ 4349895 h 6698675"/>
              <a:gd name="connsiteX3459" fmla="*/ 1063992 w 8267681"/>
              <a:gd name="connsiteY3459" fmla="*/ 4340501 h 6698675"/>
              <a:gd name="connsiteX3460" fmla="*/ 1078085 w 8267681"/>
              <a:gd name="connsiteY3460" fmla="*/ 4340501 h 6698675"/>
              <a:gd name="connsiteX3461" fmla="*/ 1082782 w 8267681"/>
              <a:gd name="connsiteY3461" fmla="*/ 4356942 h 6698675"/>
              <a:gd name="connsiteX3462" fmla="*/ 1071040 w 8267681"/>
              <a:gd name="connsiteY3462" fmla="*/ 4366338 h 6698675"/>
              <a:gd name="connsiteX3463" fmla="*/ 1075736 w 8267681"/>
              <a:gd name="connsiteY3463" fmla="*/ 4373384 h 6698675"/>
              <a:gd name="connsiteX3464" fmla="*/ 1085132 w 8267681"/>
              <a:gd name="connsiteY3464" fmla="*/ 4368686 h 6698675"/>
              <a:gd name="connsiteX3465" fmla="*/ 1110969 w 8267681"/>
              <a:gd name="connsiteY3465" fmla="*/ 4375733 h 6698675"/>
              <a:gd name="connsiteX3466" fmla="*/ 1101575 w 8267681"/>
              <a:gd name="connsiteY3466" fmla="*/ 4375733 h 6698675"/>
              <a:gd name="connsiteX3467" fmla="*/ 1085132 w 8267681"/>
              <a:gd name="connsiteY3467" fmla="*/ 4392174 h 6698675"/>
              <a:gd name="connsiteX3468" fmla="*/ 1099225 w 8267681"/>
              <a:gd name="connsiteY3468" fmla="*/ 4401569 h 6698675"/>
              <a:gd name="connsiteX3469" fmla="*/ 1092183 w 8267681"/>
              <a:gd name="connsiteY3469" fmla="*/ 4410964 h 6698675"/>
              <a:gd name="connsiteX3470" fmla="*/ 1089833 w 8267681"/>
              <a:gd name="connsiteY3470" fmla="*/ 4408615 h 6698675"/>
              <a:gd name="connsiteX3471" fmla="*/ 1059297 w 8267681"/>
              <a:gd name="connsiteY3471" fmla="*/ 4382779 h 6698675"/>
              <a:gd name="connsiteX3472" fmla="*/ 1049899 w 8267681"/>
              <a:gd name="connsiteY3472" fmla="*/ 4385128 h 6698675"/>
              <a:gd name="connsiteX3473" fmla="*/ 1038156 w 8267681"/>
              <a:gd name="connsiteY3473" fmla="*/ 4363989 h 6698675"/>
              <a:gd name="connsiteX3474" fmla="*/ 1033457 w 8267681"/>
              <a:gd name="connsiteY3474" fmla="*/ 4354594 h 6698675"/>
              <a:gd name="connsiteX3475" fmla="*/ 1040504 w 8267681"/>
              <a:gd name="connsiteY3475" fmla="*/ 4349896 h 6698675"/>
              <a:gd name="connsiteX3476" fmla="*/ 1066340 w 8267681"/>
              <a:gd name="connsiteY3476" fmla="*/ 4375733 h 6698675"/>
              <a:gd name="connsiteX3477" fmla="*/ 1073390 w 8267681"/>
              <a:gd name="connsiteY3477" fmla="*/ 4375733 h 6698675"/>
              <a:gd name="connsiteX3478" fmla="*/ 1068690 w 8267681"/>
              <a:gd name="connsiteY3478" fmla="*/ 4373384 h 6698675"/>
              <a:gd name="connsiteX3479" fmla="*/ 1068690 w 8267681"/>
              <a:gd name="connsiteY3479" fmla="*/ 4361640 h 6698675"/>
              <a:gd name="connsiteX3480" fmla="*/ 1063992 w 8267681"/>
              <a:gd name="connsiteY3480" fmla="*/ 4340501 h 6698675"/>
              <a:gd name="connsiteX3481" fmla="*/ 1637096 w 8267681"/>
              <a:gd name="connsiteY3481" fmla="*/ 4338151 h 6698675"/>
              <a:gd name="connsiteX3482" fmla="*/ 1644143 w 8267681"/>
              <a:gd name="connsiteY3482" fmla="*/ 4345197 h 6698675"/>
              <a:gd name="connsiteX3483" fmla="*/ 1646493 w 8267681"/>
              <a:gd name="connsiteY3483" fmla="*/ 4347546 h 6698675"/>
              <a:gd name="connsiteX3484" fmla="*/ 1644143 w 8267681"/>
              <a:gd name="connsiteY3484" fmla="*/ 4347546 h 6698675"/>
              <a:gd name="connsiteX3485" fmla="*/ 1634751 w 8267681"/>
              <a:gd name="connsiteY3485" fmla="*/ 4349895 h 6698675"/>
              <a:gd name="connsiteX3486" fmla="*/ 1110969 w 8267681"/>
              <a:gd name="connsiteY3486" fmla="*/ 4335803 h 6698675"/>
              <a:gd name="connsiteX3487" fmla="*/ 1118018 w 8267681"/>
              <a:gd name="connsiteY3487" fmla="*/ 4338152 h 6698675"/>
              <a:gd name="connsiteX3488" fmla="*/ 1110969 w 8267681"/>
              <a:gd name="connsiteY3488" fmla="*/ 4347547 h 6698675"/>
              <a:gd name="connsiteX3489" fmla="*/ 1106270 w 8267681"/>
              <a:gd name="connsiteY3489" fmla="*/ 4338152 h 6698675"/>
              <a:gd name="connsiteX3490" fmla="*/ 1017022 w 8267681"/>
              <a:gd name="connsiteY3490" fmla="*/ 4333454 h 6698675"/>
              <a:gd name="connsiteX3491" fmla="*/ 1028766 w 8267681"/>
              <a:gd name="connsiteY3491" fmla="*/ 4354593 h 6698675"/>
              <a:gd name="connsiteX3492" fmla="*/ 1017022 w 8267681"/>
              <a:gd name="connsiteY3492" fmla="*/ 4363988 h 6698675"/>
              <a:gd name="connsiteX3493" fmla="*/ 1014674 w 8267681"/>
              <a:gd name="connsiteY3493" fmla="*/ 4363988 h 6698675"/>
              <a:gd name="connsiteX3494" fmla="*/ 1012323 w 8267681"/>
              <a:gd name="connsiteY3494" fmla="*/ 4354593 h 6698675"/>
              <a:gd name="connsiteX3495" fmla="*/ 3105067 w 8267681"/>
              <a:gd name="connsiteY3495" fmla="*/ 4328757 h 6698675"/>
              <a:gd name="connsiteX3496" fmla="*/ 3098020 w 8267681"/>
              <a:gd name="connsiteY3496" fmla="*/ 4413314 h 6698675"/>
              <a:gd name="connsiteX3497" fmla="*/ 3149694 w 8267681"/>
              <a:gd name="connsiteY3497" fmla="*/ 4352245 h 6698675"/>
              <a:gd name="connsiteX3498" fmla="*/ 3152042 w 8267681"/>
              <a:gd name="connsiteY3498" fmla="*/ 4347548 h 6698675"/>
              <a:gd name="connsiteX3499" fmla="*/ 3105067 w 8267681"/>
              <a:gd name="connsiteY3499" fmla="*/ 4328757 h 6698675"/>
              <a:gd name="connsiteX3500" fmla="*/ 2733959 w 8267681"/>
              <a:gd name="connsiteY3500" fmla="*/ 4328757 h 6698675"/>
              <a:gd name="connsiteX3501" fmla="*/ 2715170 w 8267681"/>
              <a:gd name="connsiteY3501" fmla="*/ 4333455 h 6698675"/>
              <a:gd name="connsiteX3502" fmla="*/ 2705774 w 8267681"/>
              <a:gd name="connsiteY3502" fmla="*/ 4338152 h 6698675"/>
              <a:gd name="connsiteX3503" fmla="*/ 2708123 w 8267681"/>
              <a:gd name="connsiteY3503" fmla="*/ 4342850 h 6698675"/>
              <a:gd name="connsiteX3504" fmla="*/ 2738657 w 8267681"/>
              <a:gd name="connsiteY3504" fmla="*/ 4338152 h 6698675"/>
              <a:gd name="connsiteX3505" fmla="*/ 2733959 w 8267681"/>
              <a:gd name="connsiteY3505" fmla="*/ 4328757 h 6698675"/>
              <a:gd name="connsiteX3506" fmla="*/ 655997 w 8267681"/>
              <a:gd name="connsiteY3506" fmla="*/ 4324764 h 6698675"/>
              <a:gd name="connsiteX3507" fmla="*/ 683477 w 8267681"/>
              <a:gd name="connsiteY3507" fmla="*/ 4345199 h 6698675"/>
              <a:gd name="connsiteX3508" fmla="*/ 662338 w 8267681"/>
              <a:gd name="connsiteY3508" fmla="*/ 4331106 h 6698675"/>
              <a:gd name="connsiteX3509" fmla="*/ 2642357 w 8267681"/>
              <a:gd name="connsiteY3509" fmla="*/ 4324060 h 6698675"/>
              <a:gd name="connsiteX3510" fmla="*/ 2640008 w 8267681"/>
              <a:gd name="connsiteY3510" fmla="*/ 4326408 h 6698675"/>
              <a:gd name="connsiteX3511" fmla="*/ 2642357 w 8267681"/>
              <a:gd name="connsiteY3511" fmla="*/ 4335804 h 6698675"/>
              <a:gd name="connsiteX3512" fmla="*/ 2644706 w 8267681"/>
              <a:gd name="connsiteY3512" fmla="*/ 4338152 h 6698675"/>
              <a:gd name="connsiteX3513" fmla="*/ 2661147 w 8267681"/>
              <a:gd name="connsiteY3513" fmla="*/ 4338152 h 6698675"/>
              <a:gd name="connsiteX3514" fmla="*/ 2672891 w 8267681"/>
              <a:gd name="connsiteY3514" fmla="*/ 4333455 h 6698675"/>
              <a:gd name="connsiteX3515" fmla="*/ 2677588 w 8267681"/>
              <a:gd name="connsiteY3515" fmla="*/ 4326408 h 6698675"/>
              <a:gd name="connsiteX3516" fmla="*/ 2651752 w 8267681"/>
              <a:gd name="connsiteY3516" fmla="*/ 4335804 h 6698675"/>
              <a:gd name="connsiteX3517" fmla="*/ 2642357 w 8267681"/>
              <a:gd name="connsiteY3517" fmla="*/ 4324060 h 6698675"/>
              <a:gd name="connsiteX3518" fmla="*/ 916021 w 8267681"/>
              <a:gd name="connsiteY3518" fmla="*/ 4321710 h 6698675"/>
              <a:gd name="connsiteX3519" fmla="*/ 923064 w 8267681"/>
              <a:gd name="connsiteY3519" fmla="*/ 4324059 h 6698675"/>
              <a:gd name="connsiteX3520" fmla="*/ 925414 w 8267681"/>
              <a:gd name="connsiteY3520" fmla="*/ 4328756 h 6698675"/>
              <a:gd name="connsiteX3521" fmla="*/ 923064 w 8267681"/>
              <a:gd name="connsiteY3521" fmla="*/ 4331105 h 6698675"/>
              <a:gd name="connsiteX3522" fmla="*/ 916021 w 8267681"/>
              <a:gd name="connsiteY3522" fmla="*/ 4335803 h 6698675"/>
              <a:gd name="connsiteX3523" fmla="*/ 913671 w 8267681"/>
              <a:gd name="connsiteY3523" fmla="*/ 4338151 h 6698675"/>
              <a:gd name="connsiteX3524" fmla="*/ 913671 w 8267681"/>
              <a:gd name="connsiteY3524" fmla="*/ 4335803 h 6698675"/>
              <a:gd name="connsiteX3525" fmla="*/ 911321 w 8267681"/>
              <a:gd name="connsiteY3525" fmla="*/ 4326408 h 6698675"/>
              <a:gd name="connsiteX3526" fmla="*/ 2764493 w 8267681"/>
              <a:gd name="connsiteY3526" fmla="*/ 4314665 h 6698675"/>
              <a:gd name="connsiteX3527" fmla="*/ 2752749 w 8267681"/>
              <a:gd name="connsiteY3527" fmla="*/ 4319362 h 6698675"/>
              <a:gd name="connsiteX3528" fmla="*/ 2778586 w 8267681"/>
              <a:gd name="connsiteY3528" fmla="*/ 4326408 h 6698675"/>
              <a:gd name="connsiteX3529" fmla="*/ 2783284 w 8267681"/>
              <a:gd name="connsiteY3529" fmla="*/ 4319362 h 6698675"/>
              <a:gd name="connsiteX3530" fmla="*/ 1773312 w 8267681"/>
              <a:gd name="connsiteY3530" fmla="*/ 4314665 h 6698675"/>
              <a:gd name="connsiteX3531" fmla="*/ 1766267 w 8267681"/>
              <a:gd name="connsiteY3531" fmla="*/ 4366338 h 6698675"/>
              <a:gd name="connsiteX3532" fmla="*/ 1773312 w 8267681"/>
              <a:gd name="connsiteY3532" fmla="*/ 4314665 h 6698675"/>
              <a:gd name="connsiteX3533" fmla="*/ 1033457 w 8267681"/>
              <a:gd name="connsiteY3533" fmla="*/ 4312315 h 6698675"/>
              <a:gd name="connsiteX3534" fmla="*/ 1038154 w 8267681"/>
              <a:gd name="connsiteY3534" fmla="*/ 4321710 h 6698675"/>
              <a:gd name="connsiteX3535" fmla="*/ 1042855 w 8267681"/>
              <a:gd name="connsiteY3535" fmla="*/ 4326408 h 6698675"/>
              <a:gd name="connsiteX3536" fmla="*/ 1052249 w 8267681"/>
              <a:gd name="connsiteY3536" fmla="*/ 4331105 h 6698675"/>
              <a:gd name="connsiteX3537" fmla="*/ 1047551 w 8267681"/>
              <a:gd name="connsiteY3537" fmla="*/ 4340500 h 6698675"/>
              <a:gd name="connsiteX3538" fmla="*/ 1042855 w 8267681"/>
              <a:gd name="connsiteY3538" fmla="*/ 4342849 h 6698675"/>
              <a:gd name="connsiteX3539" fmla="*/ 1035806 w 8267681"/>
              <a:gd name="connsiteY3539" fmla="*/ 4340500 h 6698675"/>
              <a:gd name="connsiteX3540" fmla="*/ 1031108 w 8267681"/>
              <a:gd name="connsiteY3540" fmla="*/ 4331105 h 6698675"/>
              <a:gd name="connsiteX3541" fmla="*/ 3936534 w 8267681"/>
              <a:gd name="connsiteY3541" fmla="*/ 4307619 h 6698675"/>
              <a:gd name="connsiteX3542" fmla="*/ 3941231 w 8267681"/>
              <a:gd name="connsiteY3542" fmla="*/ 4328757 h 6698675"/>
              <a:gd name="connsiteX3543" fmla="*/ 3945929 w 8267681"/>
              <a:gd name="connsiteY3543" fmla="*/ 4317014 h 6698675"/>
              <a:gd name="connsiteX3544" fmla="*/ 3936534 w 8267681"/>
              <a:gd name="connsiteY3544" fmla="*/ 4307619 h 6698675"/>
              <a:gd name="connsiteX3545" fmla="*/ 1136805 w 8267681"/>
              <a:gd name="connsiteY3545" fmla="*/ 4305269 h 6698675"/>
              <a:gd name="connsiteX3546" fmla="*/ 1141503 w 8267681"/>
              <a:gd name="connsiteY3546" fmla="*/ 4312315 h 6698675"/>
              <a:gd name="connsiteX3547" fmla="*/ 1141503 w 8267681"/>
              <a:gd name="connsiteY3547" fmla="*/ 4321710 h 6698675"/>
              <a:gd name="connsiteX3548" fmla="*/ 1141503 w 8267681"/>
              <a:gd name="connsiteY3548" fmla="*/ 4331106 h 6698675"/>
              <a:gd name="connsiteX3549" fmla="*/ 1136805 w 8267681"/>
              <a:gd name="connsiteY3549" fmla="*/ 4335803 h 6698675"/>
              <a:gd name="connsiteX3550" fmla="*/ 1127410 w 8267681"/>
              <a:gd name="connsiteY3550" fmla="*/ 4335803 h 6698675"/>
              <a:gd name="connsiteX3551" fmla="*/ 1122711 w 8267681"/>
              <a:gd name="connsiteY3551" fmla="*/ 4331106 h 6698675"/>
              <a:gd name="connsiteX3552" fmla="*/ 1127410 w 8267681"/>
              <a:gd name="connsiteY3552" fmla="*/ 4321710 h 6698675"/>
              <a:gd name="connsiteX3553" fmla="*/ 2625916 w 8267681"/>
              <a:gd name="connsiteY3553" fmla="*/ 4302921 h 6698675"/>
              <a:gd name="connsiteX3554" fmla="*/ 2621218 w 8267681"/>
              <a:gd name="connsiteY3554" fmla="*/ 4312316 h 6698675"/>
              <a:gd name="connsiteX3555" fmla="*/ 2625916 w 8267681"/>
              <a:gd name="connsiteY3555" fmla="*/ 4314665 h 6698675"/>
              <a:gd name="connsiteX3556" fmla="*/ 2635310 w 8267681"/>
              <a:gd name="connsiteY3556" fmla="*/ 4314665 h 6698675"/>
              <a:gd name="connsiteX3557" fmla="*/ 2640008 w 8267681"/>
              <a:gd name="connsiteY3557" fmla="*/ 4309967 h 6698675"/>
              <a:gd name="connsiteX3558" fmla="*/ 2635310 w 8267681"/>
              <a:gd name="connsiteY3558" fmla="*/ 4302921 h 6698675"/>
              <a:gd name="connsiteX3559" fmla="*/ 5759186 w 8267681"/>
              <a:gd name="connsiteY3559" fmla="*/ 4300571 h 6698675"/>
              <a:gd name="connsiteX3560" fmla="*/ 5759186 w 8267681"/>
              <a:gd name="connsiteY3560" fmla="*/ 4307617 h 6698675"/>
              <a:gd name="connsiteX3561" fmla="*/ 5759186 w 8267681"/>
              <a:gd name="connsiteY3561" fmla="*/ 4300571 h 6698675"/>
              <a:gd name="connsiteX3562" fmla="*/ 5773278 w 8267681"/>
              <a:gd name="connsiteY3562" fmla="*/ 4298223 h 6698675"/>
              <a:gd name="connsiteX3563" fmla="*/ 5787371 w 8267681"/>
              <a:gd name="connsiteY3563" fmla="*/ 4331106 h 6698675"/>
              <a:gd name="connsiteX3564" fmla="*/ 5789719 w 8267681"/>
              <a:gd name="connsiteY3564" fmla="*/ 4319362 h 6698675"/>
              <a:gd name="connsiteX3565" fmla="*/ 5794417 w 8267681"/>
              <a:gd name="connsiteY3565" fmla="*/ 4373384 h 6698675"/>
              <a:gd name="connsiteX3566" fmla="*/ 5775627 w 8267681"/>
              <a:gd name="connsiteY3566" fmla="*/ 4319362 h 6698675"/>
              <a:gd name="connsiteX3567" fmla="*/ 5773278 w 8267681"/>
              <a:gd name="connsiteY3567" fmla="*/ 4298223 h 6698675"/>
              <a:gd name="connsiteX3568" fmla="*/ 1120361 w 8267681"/>
              <a:gd name="connsiteY3568" fmla="*/ 4298222 h 6698675"/>
              <a:gd name="connsiteX3569" fmla="*/ 1127410 w 8267681"/>
              <a:gd name="connsiteY3569" fmla="*/ 4300571 h 6698675"/>
              <a:gd name="connsiteX3570" fmla="*/ 1134455 w 8267681"/>
              <a:gd name="connsiteY3570" fmla="*/ 4305268 h 6698675"/>
              <a:gd name="connsiteX3571" fmla="*/ 1127410 w 8267681"/>
              <a:gd name="connsiteY3571" fmla="*/ 4312315 h 6698675"/>
              <a:gd name="connsiteX3572" fmla="*/ 1120361 w 8267681"/>
              <a:gd name="connsiteY3572" fmla="*/ 4309966 h 6698675"/>
              <a:gd name="connsiteX3573" fmla="*/ 1113317 w 8267681"/>
              <a:gd name="connsiteY3573" fmla="*/ 4305268 h 6698675"/>
              <a:gd name="connsiteX3574" fmla="*/ 1078084 w 8267681"/>
              <a:gd name="connsiteY3574" fmla="*/ 4293525 h 6698675"/>
              <a:gd name="connsiteX3575" fmla="*/ 1078084 w 8267681"/>
              <a:gd name="connsiteY3575" fmla="*/ 4305269 h 6698675"/>
              <a:gd name="connsiteX3576" fmla="*/ 1073390 w 8267681"/>
              <a:gd name="connsiteY3576" fmla="*/ 4305269 h 6698675"/>
              <a:gd name="connsiteX3577" fmla="*/ 1068690 w 8267681"/>
              <a:gd name="connsiteY3577" fmla="*/ 4295874 h 6698675"/>
              <a:gd name="connsiteX3578" fmla="*/ 3196668 w 8267681"/>
              <a:gd name="connsiteY3578" fmla="*/ 4291177 h 6698675"/>
              <a:gd name="connsiteX3579" fmla="*/ 3191971 w 8267681"/>
              <a:gd name="connsiteY3579" fmla="*/ 4293526 h 6698675"/>
              <a:gd name="connsiteX3580" fmla="*/ 3171735 w 8267681"/>
              <a:gd name="connsiteY3580" fmla="*/ 4307691 h 6698675"/>
              <a:gd name="connsiteX3581" fmla="*/ 3169714 w 8267681"/>
              <a:gd name="connsiteY3581" fmla="*/ 4308230 h 6698675"/>
              <a:gd name="connsiteX3582" fmla="*/ 3173474 w 8267681"/>
              <a:gd name="connsiteY3582" fmla="*/ 4302921 h 6698675"/>
              <a:gd name="connsiteX3583" fmla="*/ 3180227 w 8267681"/>
              <a:gd name="connsiteY3583" fmla="*/ 4295875 h 6698675"/>
              <a:gd name="connsiteX3584" fmla="*/ 3159088 w 8267681"/>
              <a:gd name="connsiteY3584" fmla="*/ 4300572 h 6698675"/>
              <a:gd name="connsiteX3585" fmla="*/ 3154390 w 8267681"/>
              <a:gd name="connsiteY3585" fmla="*/ 4312316 h 6698675"/>
              <a:gd name="connsiteX3586" fmla="*/ 3169714 w 8267681"/>
              <a:gd name="connsiteY3586" fmla="*/ 4308230 h 6698675"/>
              <a:gd name="connsiteX3587" fmla="*/ 3168483 w 8267681"/>
              <a:gd name="connsiteY3587" fmla="*/ 4309967 h 6698675"/>
              <a:gd name="connsiteX3588" fmla="*/ 3171735 w 8267681"/>
              <a:gd name="connsiteY3588" fmla="*/ 4307691 h 6698675"/>
              <a:gd name="connsiteX3589" fmla="*/ 3189622 w 8267681"/>
              <a:gd name="connsiteY3589" fmla="*/ 4302921 h 6698675"/>
              <a:gd name="connsiteX3590" fmla="*/ 3196668 w 8267681"/>
              <a:gd name="connsiteY3590" fmla="*/ 4291177 h 6698675"/>
              <a:gd name="connsiteX3591" fmla="*/ 1517310 w 8267681"/>
              <a:gd name="connsiteY3591" fmla="*/ 4291176 h 6698675"/>
              <a:gd name="connsiteX3592" fmla="*/ 1522004 w 8267681"/>
              <a:gd name="connsiteY3592" fmla="*/ 4293525 h 6698675"/>
              <a:gd name="connsiteX3593" fmla="*/ 1517310 w 8267681"/>
              <a:gd name="connsiteY3593" fmla="*/ 4300571 h 6698675"/>
              <a:gd name="connsiteX3594" fmla="*/ 1512610 w 8267681"/>
              <a:gd name="connsiteY3594" fmla="*/ 4293525 h 6698675"/>
              <a:gd name="connsiteX3595" fmla="*/ 5676979 w 8267681"/>
              <a:gd name="connsiteY3595" fmla="*/ 4288828 h 6698675"/>
              <a:gd name="connsiteX3596" fmla="*/ 5714560 w 8267681"/>
              <a:gd name="connsiteY3596" fmla="*/ 4345199 h 6698675"/>
              <a:gd name="connsiteX3597" fmla="*/ 5679328 w 8267681"/>
              <a:gd name="connsiteY3597" fmla="*/ 4312316 h 6698675"/>
              <a:gd name="connsiteX3598" fmla="*/ 5686374 w 8267681"/>
              <a:gd name="connsiteY3598" fmla="*/ 4347548 h 6698675"/>
              <a:gd name="connsiteX3599" fmla="*/ 5712211 w 8267681"/>
              <a:gd name="connsiteY3599" fmla="*/ 4352245 h 6698675"/>
              <a:gd name="connsiteX3600" fmla="*/ 5688723 w 8267681"/>
              <a:gd name="connsiteY3600" fmla="*/ 4354594 h 6698675"/>
              <a:gd name="connsiteX3601" fmla="*/ 5691072 w 8267681"/>
              <a:gd name="connsiteY3601" fmla="*/ 4371035 h 6698675"/>
              <a:gd name="connsiteX3602" fmla="*/ 5684025 w 8267681"/>
              <a:gd name="connsiteY3602" fmla="*/ 4354594 h 6698675"/>
              <a:gd name="connsiteX3603" fmla="*/ 5681677 w 8267681"/>
              <a:gd name="connsiteY3603" fmla="*/ 4354594 h 6698675"/>
              <a:gd name="connsiteX3604" fmla="*/ 5681677 w 8267681"/>
              <a:gd name="connsiteY3604" fmla="*/ 4352245 h 6698675"/>
              <a:gd name="connsiteX3605" fmla="*/ 5667584 w 8267681"/>
              <a:gd name="connsiteY3605" fmla="*/ 4324060 h 6698675"/>
              <a:gd name="connsiteX3606" fmla="*/ 5676979 w 8267681"/>
              <a:gd name="connsiteY3606" fmla="*/ 4288828 h 6698675"/>
              <a:gd name="connsiteX3607" fmla="*/ 2177320 w 8267681"/>
              <a:gd name="connsiteY3607" fmla="*/ 4288827 h 6698675"/>
              <a:gd name="connsiteX3608" fmla="*/ 2184364 w 8267681"/>
              <a:gd name="connsiteY3608" fmla="*/ 4295873 h 6698675"/>
              <a:gd name="connsiteX3609" fmla="*/ 2177320 w 8267681"/>
              <a:gd name="connsiteY3609" fmla="*/ 4302920 h 6698675"/>
              <a:gd name="connsiteX3610" fmla="*/ 2177320 w 8267681"/>
              <a:gd name="connsiteY3610" fmla="*/ 4288827 h 6698675"/>
              <a:gd name="connsiteX3611" fmla="*/ 2658799 w 8267681"/>
              <a:gd name="connsiteY3611" fmla="*/ 4284131 h 6698675"/>
              <a:gd name="connsiteX3612" fmla="*/ 2656449 w 8267681"/>
              <a:gd name="connsiteY3612" fmla="*/ 4293526 h 6698675"/>
              <a:gd name="connsiteX3613" fmla="*/ 2651752 w 8267681"/>
              <a:gd name="connsiteY3613" fmla="*/ 4302921 h 6698675"/>
              <a:gd name="connsiteX3614" fmla="*/ 2656449 w 8267681"/>
              <a:gd name="connsiteY3614" fmla="*/ 4312316 h 6698675"/>
              <a:gd name="connsiteX3615" fmla="*/ 2658799 w 8267681"/>
              <a:gd name="connsiteY3615" fmla="*/ 4314665 h 6698675"/>
              <a:gd name="connsiteX3616" fmla="*/ 2661147 w 8267681"/>
              <a:gd name="connsiteY3616" fmla="*/ 4312316 h 6698675"/>
              <a:gd name="connsiteX3617" fmla="*/ 2663496 w 8267681"/>
              <a:gd name="connsiteY3617" fmla="*/ 4302921 h 6698675"/>
              <a:gd name="connsiteX3618" fmla="*/ 2661147 w 8267681"/>
              <a:gd name="connsiteY3618" fmla="*/ 4293526 h 6698675"/>
              <a:gd name="connsiteX3619" fmla="*/ 5944739 w 8267681"/>
              <a:gd name="connsiteY3619" fmla="*/ 4281781 h 6698675"/>
              <a:gd name="connsiteX3620" fmla="*/ 5947088 w 8267681"/>
              <a:gd name="connsiteY3620" fmla="*/ 4293525 h 6698675"/>
              <a:gd name="connsiteX3621" fmla="*/ 5944739 w 8267681"/>
              <a:gd name="connsiteY3621" fmla="*/ 4288827 h 6698675"/>
              <a:gd name="connsiteX3622" fmla="*/ 5944739 w 8267681"/>
              <a:gd name="connsiteY3622" fmla="*/ 4293525 h 6698675"/>
              <a:gd name="connsiteX3623" fmla="*/ 5935344 w 8267681"/>
              <a:gd name="connsiteY3623" fmla="*/ 4291176 h 6698675"/>
              <a:gd name="connsiteX3624" fmla="*/ 5940042 w 8267681"/>
              <a:gd name="connsiteY3624" fmla="*/ 4284130 h 6698675"/>
              <a:gd name="connsiteX3625" fmla="*/ 5944739 w 8267681"/>
              <a:gd name="connsiteY3625" fmla="*/ 4281781 h 6698675"/>
              <a:gd name="connsiteX3626" fmla="*/ 1566630 w 8267681"/>
              <a:gd name="connsiteY3626" fmla="*/ 4277083 h 6698675"/>
              <a:gd name="connsiteX3627" fmla="*/ 1568980 w 8267681"/>
              <a:gd name="connsiteY3627" fmla="*/ 4277083 h 6698675"/>
              <a:gd name="connsiteX3628" fmla="*/ 1576025 w 8267681"/>
              <a:gd name="connsiteY3628" fmla="*/ 4286478 h 6698675"/>
              <a:gd name="connsiteX3629" fmla="*/ 1568980 w 8267681"/>
              <a:gd name="connsiteY3629" fmla="*/ 4291176 h 6698675"/>
              <a:gd name="connsiteX3630" fmla="*/ 1564280 w 8267681"/>
              <a:gd name="connsiteY3630" fmla="*/ 4286478 h 6698675"/>
              <a:gd name="connsiteX3631" fmla="*/ 2710471 w 8267681"/>
              <a:gd name="connsiteY3631" fmla="*/ 4274735 h 6698675"/>
              <a:gd name="connsiteX3632" fmla="*/ 2696379 w 8267681"/>
              <a:gd name="connsiteY3632" fmla="*/ 4288828 h 6698675"/>
              <a:gd name="connsiteX3633" fmla="*/ 2703426 w 8267681"/>
              <a:gd name="connsiteY3633" fmla="*/ 4305270 h 6698675"/>
              <a:gd name="connsiteX3634" fmla="*/ 2736308 w 8267681"/>
              <a:gd name="connsiteY3634" fmla="*/ 4314665 h 6698675"/>
              <a:gd name="connsiteX3635" fmla="*/ 2750401 w 8267681"/>
              <a:gd name="connsiteY3635" fmla="*/ 4309967 h 6698675"/>
              <a:gd name="connsiteX3636" fmla="*/ 2719866 w 8267681"/>
              <a:gd name="connsiteY3636" fmla="*/ 4300572 h 6698675"/>
              <a:gd name="connsiteX3637" fmla="*/ 2708123 w 8267681"/>
              <a:gd name="connsiteY3637" fmla="*/ 4286479 h 6698675"/>
              <a:gd name="connsiteX3638" fmla="*/ 2710471 w 8267681"/>
              <a:gd name="connsiteY3638" fmla="*/ 4274735 h 6698675"/>
              <a:gd name="connsiteX3639" fmla="*/ 2708123 w 8267681"/>
              <a:gd name="connsiteY3639" fmla="*/ 4270038 h 6698675"/>
              <a:gd name="connsiteX3640" fmla="*/ 2661147 w 8267681"/>
              <a:gd name="connsiteY3640" fmla="*/ 4277084 h 6698675"/>
              <a:gd name="connsiteX3641" fmla="*/ 2668193 w 8267681"/>
              <a:gd name="connsiteY3641" fmla="*/ 4281782 h 6698675"/>
              <a:gd name="connsiteX3642" fmla="*/ 2677588 w 8267681"/>
              <a:gd name="connsiteY3642" fmla="*/ 4274735 h 6698675"/>
              <a:gd name="connsiteX3643" fmla="*/ 2691681 w 8267681"/>
              <a:gd name="connsiteY3643" fmla="*/ 4284131 h 6698675"/>
              <a:gd name="connsiteX3644" fmla="*/ 2708123 w 8267681"/>
              <a:gd name="connsiteY3644" fmla="*/ 4270038 h 6698675"/>
              <a:gd name="connsiteX3645" fmla="*/ 995885 w 8267681"/>
              <a:gd name="connsiteY3645" fmla="*/ 4267688 h 6698675"/>
              <a:gd name="connsiteX3646" fmla="*/ 1017021 w 8267681"/>
              <a:gd name="connsiteY3646" fmla="*/ 4267688 h 6698675"/>
              <a:gd name="connsiteX3647" fmla="*/ 1019371 w 8267681"/>
              <a:gd name="connsiteY3647" fmla="*/ 4288827 h 6698675"/>
              <a:gd name="connsiteX3648" fmla="*/ 1009978 w 8267681"/>
              <a:gd name="connsiteY3648" fmla="*/ 4288827 h 6698675"/>
              <a:gd name="connsiteX3649" fmla="*/ 1007627 w 8267681"/>
              <a:gd name="connsiteY3649" fmla="*/ 4286478 h 6698675"/>
              <a:gd name="connsiteX3650" fmla="*/ 993535 w 8267681"/>
              <a:gd name="connsiteY3650" fmla="*/ 4277083 h 6698675"/>
              <a:gd name="connsiteX3651" fmla="*/ 2785633 w 8267681"/>
              <a:gd name="connsiteY3651" fmla="*/ 4260643 h 6698675"/>
              <a:gd name="connsiteX3652" fmla="*/ 2785633 w 8267681"/>
              <a:gd name="connsiteY3652" fmla="*/ 4270038 h 6698675"/>
              <a:gd name="connsiteX3653" fmla="*/ 2790330 w 8267681"/>
              <a:gd name="connsiteY3653" fmla="*/ 4272387 h 6698675"/>
              <a:gd name="connsiteX3654" fmla="*/ 2790330 w 8267681"/>
              <a:gd name="connsiteY3654" fmla="*/ 4260643 h 6698675"/>
              <a:gd name="connsiteX3655" fmla="*/ 2785633 w 8267681"/>
              <a:gd name="connsiteY3655" fmla="*/ 4260643 h 6698675"/>
              <a:gd name="connsiteX3656" fmla="*/ 1169688 w 8267681"/>
              <a:gd name="connsiteY3656" fmla="*/ 4255944 h 6698675"/>
              <a:gd name="connsiteX3657" fmla="*/ 1174388 w 8267681"/>
              <a:gd name="connsiteY3657" fmla="*/ 4262990 h 6698675"/>
              <a:gd name="connsiteX3658" fmla="*/ 1169688 w 8267681"/>
              <a:gd name="connsiteY3658" fmla="*/ 4267688 h 6698675"/>
              <a:gd name="connsiteX3659" fmla="*/ 1164991 w 8267681"/>
              <a:gd name="connsiteY3659" fmla="*/ 4262990 h 6698675"/>
              <a:gd name="connsiteX3660" fmla="*/ 5707512 w 8267681"/>
              <a:gd name="connsiteY3660" fmla="*/ 4248898 h 6698675"/>
              <a:gd name="connsiteX3661" fmla="*/ 5707512 w 8267681"/>
              <a:gd name="connsiteY3661" fmla="*/ 4255944 h 6698675"/>
              <a:gd name="connsiteX3662" fmla="*/ 5707512 w 8267681"/>
              <a:gd name="connsiteY3662" fmla="*/ 4248898 h 6698675"/>
              <a:gd name="connsiteX3663" fmla="*/ 2987627 w 8267681"/>
              <a:gd name="connsiteY3663" fmla="*/ 4239504 h 6698675"/>
              <a:gd name="connsiteX3664" fmla="*/ 2978232 w 8267681"/>
              <a:gd name="connsiteY3664" fmla="*/ 4262992 h 6698675"/>
              <a:gd name="connsiteX3665" fmla="*/ 2987627 w 8267681"/>
              <a:gd name="connsiteY3665" fmla="*/ 4239504 h 6698675"/>
              <a:gd name="connsiteX3666" fmla="*/ 2804424 w 8267681"/>
              <a:gd name="connsiteY3666" fmla="*/ 4223062 h 6698675"/>
              <a:gd name="connsiteX3667" fmla="*/ 2806641 w 8267681"/>
              <a:gd name="connsiteY3667" fmla="*/ 4223192 h 6698675"/>
              <a:gd name="connsiteX3668" fmla="*/ 2806067 w 8267681"/>
              <a:gd name="connsiteY3668" fmla="*/ 4223766 h 6698675"/>
              <a:gd name="connsiteX3669" fmla="*/ 2778586 w 8267681"/>
              <a:gd name="connsiteY3669" fmla="*/ 4220713 h 6698675"/>
              <a:gd name="connsiteX3670" fmla="*/ 2741006 w 8267681"/>
              <a:gd name="connsiteY3670" fmla="*/ 4246550 h 6698675"/>
              <a:gd name="connsiteX3671" fmla="*/ 2743354 w 8267681"/>
              <a:gd name="connsiteY3671" fmla="*/ 4253597 h 6698675"/>
              <a:gd name="connsiteX3672" fmla="*/ 2745703 w 8267681"/>
              <a:gd name="connsiteY3672" fmla="*/ 4253597 h 6698675"/>
              <a:gd name="connsiteX3673" fmla="*/ 2752749 w 8267681"/>
              <a:gd name="connsiteY3673" fmla="*/ 4246550 h 6698675"/>
              <a:gd name="connsiteX3674" fmla="*/ 2766842 w 8267681"/>
              <a:gd name="connsiteY3674" fmla="*/ 4251248 h 6698675"/>
              <a:gd name="connsiteX3675" fmla="*/ 2792680 w 8267681"/>
              <a:gd name="connsiteY3675" fmla="*/ 4244201 h 6698675"/>
              <a:gd name="connsiteX3676" fmla="*/ 2797376 w 8267681"/>
              <a:gd name="connsiteY3676" fmla="*/ 4239504 h 6698675"/>
              <a:gd name="connsiteX3677" fmla="*/ 2797376 w 8267681"/>
              <a:gd name="connsiteY3677" fmla="*/ 4232457 h 6698675"/>
              <a:gd name="connsiteX3678" fmla="*/ 2806067 w 8267681"/>
              <a:gd name="connsiteY3678" fmla="*/ 4223766 h 6698675"/>
              <a:gd name="connsiteX3679" fmla="*/ 2820864 w 8267681"/>
              <a:gd name="connsiteY3679" fmla="*/ 4230109 h 6698675"/>
              <a:gd name="connsiteX3680" fmla="*/ 2839654 w 8267681"/>
              <a:gd name="connsiteY3680" fmla="*/ 4227760 h 6698675"/>
              <a:gd name="connsiteX3681" fmla="*/ 2844352 w 8267681"/>
              <a:gd name="connsiteY3681" fmla="*/ 4225411 h 6698675"/>
              <a:gd name="connsiteX3682" fmla="*/ 2806641 w 8267681"/>
              <a:gd name="connsiteY3682" fmla="*/ 4223192 h 6698675"/>
              <a:gd name="connsiteX3683" fmla="*/ 2806771 w 8267681"/>
              <a:gd name="connsiteY3683" fmla="*/ 4223062 h 6698675"/>
              <a:gd name="connsiteX3684" fmla="*/ 2778586 w 8267681"/>
              <a:gd name="connsiteY3684" fmla="*/ 4220713 h 6698675"/>
              <a:gd name="connsiteX3685" fmla="*/ 6367244 w 8267681"/>
              <a:gd name="connsiteY3685" fmla="*/ 4217315 h 6698675"/>
              <a:gd name="connsiteX3686" fmla="*/ 6369869 w 8267681"/>
              <a:gd name="connsiteY3686" fmla="*/ 4218365 h 6698675"/>
              <a:gd name="connsiteX3687" fmla="*/ 6368731 w 8267681"/>
              <a:gd name="connsiteY3687" fmla="*/ 4221068 h 6698675"/>
              <a:gd name="connsiteX3688" fmla="*/ 1009978 w 8267681"/>
              <a:gd name="connsiteY3688" fmla="*/ 4213666 h 6698675"/>
              <a:gd name="connsiteX3689" fmla="*/ 1014674 w 8267681"/>
              <a:gd name="connsiteY3689" fmla="*/ 4218364 h 6698675"/>
              <a:gd name="connsiteX3690" fmla="*/ 1009978 w 8267681"/>
              <a:gd name="connsiteY3690" fmla="*/ 4225410 h 6698675"/>
              <a:gd name="connsiteX3691" fmla="*/ 1002929 w 8267681"/>
              <a:gd name="connsiteY3691" fmla="*/ 4218364 h 6698675"/>
              <a:gd name="connsiteX3692" fmla="*/ 2919514 w 8267681"/>
              <a:gd name="connsiteY3692" fmla="*/ 4192528 h 6698675"/>
              <a:gd name="connsiteX3693" fmla="*/ 2898374 w 8267681"/>
              <a:gd name="connsiteY3693" fmla="*/ 4201923 h 6698675"/>
              <a:gd name="connsiteX3694" fmla="*/ 2908898 w 8267681"/>
              <a:gd name="connsiteY3694" fmla="*/ 4203426 h 6698675"/>
              <a:gd name="connsiteX3695" fmla="*/ 2907769 w 8267681"/>
              <a:gd name="connsiteY3695" fmla="*/ 4204272 h 6698675"/>
              <a:gd name="connsiteX3696" fmla="*/ 2909335 w 8267681"/>
              <a:gd name="connsiteY3696" fmla="*/ 4203489 h 6698675"/>
              <a:gd name="connsiteX3697" fmla="*/ 2914815 w 8267681"/>
              <a:gd name="connsiteY3697" fmla="*/ 4204272 h 6698675"/>
              <a:gd name="connsiteX3698" fmla="*/ 2917164 w 8267681"/>
              <a:gd name="connsiteY3698" fmla="*/ 4199575 h 6698675"/>
              <a:gd name="connsiteX3699" fmla="*/ 2909335 w 8267681"/>
              <a:gd name="connsiteY3699" fmla="*/ 4203489 h 6698675"/>
              <a:gd name="connsiteX3700" fmla="*/ 2908898 w 8267681"/>
              <a:gd name="connsiteY3700" fmla="*/ 4203426 h 6698675"/>
              <a:gd name="connsiteX3701" fmla="*/ 2917164 w 8267681"/>
              <a:gd name="connsiteY3701" fmla="*/ 4197226 h 6698675"/>
              <a:gd name="connsiteX3702" fmla="*/ 2919514 w 8267681"/>
              <a:gd name="connsiteY3702" fmla="*/ 4192528 h 6698675"/>
              <a:gd name="connsiteX3703" fmla="*/ 3020510 w 8267681"/>
              <a:gd name="connsiteY3703" fmla="*/ 4190180 h 6698675"/>
              <a:gd name="connsiteX3704" fmla="*/ 3006417 w 8267681"/>
              <a:gd name="connsiteY3704" fmla="*/ 4225411 h 6698675"/>
              <a:gd name="connsiteX3705" fmla="*/ 3020510 w 8267681"/>
              <a:gd name="connsiteY3705" fmla="*/ 4190180 h 6698675"/>
              <a:gd name="connsiteX3706" fmla="*/ 2668193 w 8267681"/>
              <a:gd name="connsiteY3706" fmla="*/ 4187831 h 6698675"/>
              <a:gd name="connsiteX3707" fmla="*/ 2642357 w 8267681"/>
              <a:gd name="connsiteY3707" fmla="*/ 4216016 h 6698675"/>
              <a:gd name="connsiteX3708" fmla="*/ 2661147 w 8267681"/>
              <a:gd name="connsiteY3708" fmla="*/ 4213667 h 6698675"/>
              <a:gd name="connsiteX3709" fmla="*/ 2668193 w 8267681"/>
              <a:gd name="connsiteY3709" fmla="*/ 4187831 h 6698675"/>
              <a:gd name="connsiteX3710" fmla="*/ 2997022 w 8267681"/>
              <a:gd name="connsiteY3710" fmla="*/ 4180784 h 6698675"/>
              <a:gd name="connsiteX3711" fmla="*/ 2874887 w 8267681"/>
              <a:gd name="connsiteY3711" fmla="*/ 4314665 h 6698675"/>
              <a:gd name="connsiteX3712" fmla="*/ 2997022 w 8267681"/>
              <a:gd name="connsiteY3712" fmla="*/ 4180784 h 6698675"/>
              <a:gd name="connsiteX3713" fmla="*/ 5693420 w 8267681"/>
              <a:gd name="connsiteY3713" fmla="*/ 4173737 h 6698675"/>
              <a:gd name="connsiteX3714" fmla="*/ 5709861 w 8267681"/>
              <a:gd name="connsiteY3714" fmla="*/ 4208968 h 6698675"/>
              <a:gd name="connsiteX3715" fmla="*/ 5719256 w 8267681"/>
              <a:gd name="connsiteY3715" fmla="*/ 4208968 h 6698675"/>
              <a:gd name="connsiteX3716" fmla="*/ 5716908 w 8267681"/>
              <a:gd name="connsiteY3716" fmla="*/ 4218364 h 6698675"/>
              <a:gd name="connsiteX3717" fmla="*/ 5731000 w 8267681"/>
              <a:gd name="connsiteY3717" fmla="*/ 4232456 h 6698675"/>
              <a:gd name="connsiteX3718" fmla="*/ 5693420 w 8267681"/>
              <a:gd name="connsiteY3718" fmla="*/ 4173737 h 6698675"/>
              <a:gd name="connsiteX3719" fmla="*/ 2926559 w 8267681"/>
              <a:gd name="connsiteY3719" fmla="*/ 4166692 h 6698675"/>
              <a:gd name="connsiteX3720" fmla="*/ 2924210 w 8267681"/>
              <a:gd name="connsiteY3720" fmla="*/ 4169040 h 6698675"/>
              <a:gd name="connsiteX3721" fmla="*/ 2893676 w 8267681"/>
              <a:gd name="connsiteY3721" fmla="*/ 4192528 h 6698675"/>
              <a:gd name="connsiteX3722" fmla="*/ 2860793 w 8267681"/>
              <a:gd name="connsiteY3722" fmla="*/ 4197226 h 6698675"/>
              <a:gd name="connsiteX3723" fmla="*/ 2842003 w 8267681"/>
              <a:gd name="connsiteY3723" fmla="*/ 4178436 h 6698675"/>
              <a:gd name="connsiteX3724" fmla="*/ 2795027 w 8267681"/>
              <a:gd name="connsiteY3724" fmla="*/ 4211318 h 6698675"/>
              <a:gd name="connsiteX3725" fmla="*/ 2865491 w 8267681"/>
              <a:gd name="connsiteY3725" fmla="*/ 4211318 h 6698675"/>
              <a:gd name="connsiteX3726" fmla="*/ 2856096 w 8267681"/>
              <a:gd name="connsiteY3726" fmla="*/ 4208970 h 6698675"/>
              <a:gd name="connsiteX3727" fmla="*/ 2896025 w 8267681"/>
              <a:gd name="connsiteY3727" fmla="*/ 4199575 h 6698675"/>
              <a:gd name="connsiteX3728" fmla="*/ 2926559 w 8267681"/>
              <a:gd name="connsiteY3728" fmla="*/ 4185482 h 6698675"/>
              <a:gd name="connsiteX3729" fmla="*/ 2935954 w 8267681"/>
              <a:gd name="connsiteY3729" fmla="*/ 4166692 h 6698675"/>
              <a:gd name="connsiteX3730" fmla="*/ 2933605 w 8267681"/>
              <a:gd name="connsiteY3730" fmla="*/ 4166692 h 6698675"/>
              <a:gd name="connsiteX3731" fmla="*/ 2926559 w 8267681"/>
              <a:gd name="connsiteY3731" fmla="*/ 4166692 h 6698675"/>
              <a:gd name="connsiteX3732" fmla="*/ 2186714 w 8267681"/>
              <a:gd name="connsiteY3732" fmla="*/ 4154948 h 6698675"/>
              <a:gd name="connsiteX3733" fmla="*/ 2212551 w 8267681"/>
              <a:gd name="connsiteY3733" fmla="*/ 4154948 h 6698675"/>
              <a:gd name="connsiteX3734" fmla="*/ 2214899 w 8267681"/>
              <a:gd name="connsiteY3734" fmla="*/ 4159646 h 6698675"/>
              <a:gd name="connsiteX3735" fmla="*/ 2214899 w 8267681"/>
              <a:gd name="connsiteY3735" fmla="*/ 4178436 h 6698675"/>
              <a:gd name="connsiteX3736" fmla="*/ 2200806 w 8267681"/>
              <a:gd name="connsiteY3736" fmla="*/ 4206621 h 6698675"/>
              <a:gd name="connsiteX3737" fmla="*/ 2198457 w 8267681"/>
              <a:gd name="connsiteY3737" fmla="*/ 4211319 h 6698675"/>
              <a:gd name="connsiteX3738" fmla="*/ 2193762 w 8267681"/>
              <a:gd name="connsiteY3738" fmla="*/ 4206621 h 6698675"/>
              <a:gd name="connsiteX3739" fmla="*/ 1669451 w 8267681"/>
              <a:gd name="connsiteY3739" fmla="*/ 4154177 h 6698675"/>
              <a:gd name="connsiteX3740" fmla="*/ 1637084 w 8267681"/>
              <a:gd name="connsiteY3740" fmla="*/ 4190180 h 6698675"/>
              <a:gd name="connsiteX3741" fmla="*/ 1653527 w 8267681"/>
              <a:gd name="connsiteY3741" fmla="*/ 4197226 h 6698675"/>
              <a:gd name="connsiteX3742" fmla="*/ 1691104 w 8267681"/>
              <a:gd name="connsiteY3742" fmla="*/ 4157296 h 6698675"/>
              <a:gd name="connsiteX3743" fmla="*/ 1669451 w 8267681"/>
              <a:gd name="connsiteY3743" fmla="*/ 4154177 h 6698675"/>
              <a:gd name="connsiteX3744" fmla="*/ 3027557 w 8267681"/>
              <a:gd name="connsiteY3744" fmla="*/ 4152599 h 6698675"/>
              <a:gd name="connsiteX3745" fmla="*/ 3006417 w 8267681"/>
              <a:gd name="connsiteY3745" fmla="*/ 4171389 h 6698675"/>
              <a:gd name="connsiteX3746" fmla="*/ 3027557 w 8267681"/>
              <a:gd name="connsiteY3746" fmla="*/ 4152599 h 6698675"/>
              <a:gd name="connsiteX3747" fmla="*/ 2820864 w 8267681"/>
              <a:gd name="connsiteY3747" fmla="*/ 4145552 h 6698675"/>
              <a:gd name="connsiteX3748" fmla="*/ 2719866 w 8267681"/>
              <a:gd name="connsiteY3748" fmla="*/ 4183133 h 6698675"/>
              <a:gd name="connsiteX3749" fmla="*/ 2731610 w 8267681"/>
              <a:gd name="connsiteY3749" fmla="*/ 4192528 h 6698675"/>
              <a:gd name="connsiteX3750" fmla="*/ 2672891 w 8267681"/>
              <a:gd name="connsiteY3750" fmla="*/ 4208970 h 6698675"/>
              <a:gd name="connsiteX3751" fmla="*/ 2780935 w 8267681"/>
              <a:gd name="connsiteY3751" fmla="*/ 4211318 h 6698675"/>
              <a:gd name="connsiteX3752" fmla="*/ 2837305 w 8267681"/>
              <a:gd name="connsiteY3752" fmla="*/ 4176087 h 6698675"/>
              <a:gd name="connsiteX3753" fmla="*/ 2820864 w 8267681"/>
              <a:gd name="connsiteY3753" fmla="*/ 4145552 h 6698675"/>
              <a:gd name="connsiteX3754" fmla="*/ 2717518 w 8267681"/>
              <a:gd name="connsiteY3754" fmla="*/ 4138506 h 6698675"/>
              <a:gd name="connsiteX3755" fmla="*/ 2682286 w 8267681"/>
              <a:gd name="connsiteY3755" fmla="*/ 4178436 h 6698675"/>
              <a:gd name="connsiteX3756" fmla="*/ 2668193 w 8267681"/>
              <a:gd name="connsiteY3756" fmla="*/ 4199575 h 6698675"/>
              <a:gd name="connsiteX3757" fmla="*/ 2684635 w 8267681"/>
              <a:gd name="connsiteY3757" fmla="*/ 4190180 h 6698675"/>
              <a:gd name="connsiteX3758" fmla="*/ 2755098 w 8267681"/>
              <a:gd name="connsiteY3758" fmla="*/ 4140855 h 6698675"/>
              <a:gd name="connsiteX3759" fmla="*/ 2719866 w 8267681"/>
              <a:gd name="connsiteY3759" fmla="*/ 4147901 h 6698675"/>
              <a:gd name="connsiteX3760" fmla="*/ 2717518 w 8267681"/>
              <a:gd name="connsiteY3760" fmla="*/ 4138506 h 6698675"/>
              <a:gd name="connsiteX3761" fmla="*/ 5888443 w 8267681"/>
              <a:gd name="connsiteY3761" fmla="*/ 4134543 h 6698675"/>
              <a:gd name="connsiteX3762" fmla="*/ 5893067 w 8267681"/>
              <a:gd name="connsiteY3762" fmla="*/ 4138506 h 6698675"/>
              <a:gd name="connsiteX3763" fmla="*/ 5888443 w 8267681"/>
              <a:gd name="connsiteY3763" fmla="*/ 4134543 h 6698675"/>
              <a:gd name="connsiteX3764" fmla="*/ 2689332 w 8267681"/>
              <a:gd name="connsiteY3764" fmla="*/ 4133809 h 6698675"/>
              <a:gd name="connsiteX3765" fmla="*/ 2663496 w 8267681"/>
              <a:gd name="connsiteY3765" fmla="*/ 4180784 h 6698675"/>
              <a:gd name="connsiteX3766" fmla="*/ 2696379 w 8267681"/>
              <a:gd name="connsiteY3766" fmla="*/ 4136157 h 6698675"/>
              <a:gd name="connsiteX3767" fmla="*/ 2689332 w 8267681"/>
              <a:gd name="connsiteY3767" fmla="*/ 4133809 h 6698675"/>
              <a:gd name="connsiteX3768" fmla="*/ 3635890 w 8267681"/>
              <a:gd name="connsiteY3768" fmla="*/ 4129111 h 6698675"/>
              <a:gd name="connsiteX3769" fmla="*/ 3607706 w 8267681"/>
              <a:gd name="connsiteY3769" fmla="*/ 4166692 h 6698675"/>
              <a:gd name="connsiteX3770" fmla="*/ 3624146 w 8267681"/>
              <a:gd name="connsiteY3770" fmla="*/ 4192528 h 6698675"/>
              <a:gd name="connsiteX3771" fmla="*/ 3671122 w 8267681"/>
              <a:gd name="connsiteY3771" fmla="*/ 4157296 h 6698675"/>
              <a:gd name="connsiteX3772" fmla="*/ 3635890 w 8267681"/>
              <a:gd name="connsiteY3772" fmla="*/ 4129111 h 6698675"/>
              <a:gd name="connsiteX3773" fmla="*/ 3384571 w 8267681"/>
              <a:gd name="connsiteY3773" fmla="*/ 4110321 h 6698675"/>
              <a:gd name="connsiteX3774" fmla="*/ 3363432 w 8267681"/>
              <a:gd name="connsiteY3774" fmla="*/ 4161994 h 6698675"/>
              <a:gd name="connsiteX3775" fmla="*/ 3384571 w 8267681"/>
              <a:gd name="connsiteY3775" fmla="*/ 4110321 h 6698675"/>
              <a:gd name="connsiteX3776" fmla="*/ 5702815 w 8267681"/>
              <a:gd name="connsiteY3776" fmla="*/ 4107971 h 6698675"/>
              <a:gd name="connsiteX3777" fmla="*/ 5714559 w 8267681"/>
              <a:gd name="connsiteY3777" fmla="*/ 4115017 h 6698675"/>
              <a:gd name="connsiteX3778" fmla="*/ 5721605 w 8267681"/>
              <a:gd name="connsiteY3778" fmla="*/ 4124412 h 6698675"/>
              <a:gd name="connsiteX3779" fmla="*/ 5721605 w 8267681"/>
              <a:gd name="connsiteY3779" fmla="*/ 4119715 h 6698675"/>
              <a:gd name="connsiteX3780" fmla="*/ 5728652 w 8267681"/>
              <a:gd name="connsiteY3780" fmla="*/ 4133807 h 6698675"/>
              <a:gd name="connsiteX3781" fmla="*/ 5747442 w 8267681"/>
              <a:gd name="connsiteY3781" fmla="*/ 4157295 h 6698675"/>
              <a:gd name="connsiteX3782" fmla="*/ 5731000 w 8267681"/>
              <a:gd name="connsiteY3782" fmla="*/ 4140854 h 6698675"/>
              <a:gd name="connsiteX3783" fmla="*/ 5731000 w 8267681"/>
              <a:gd name="connsiteY3783" fmla="*/ 4143203 h 6698675"/>
              <a:gd name="connsiteX3784" fmla="*/ 5721605 w 8267681"/>
              <a:gd name="connsiteY3784" fmla="*/ 4147900 h 6698675"/>
              <a:gd name="connsiteX3785" fmla="*/ 5747442 w 8267681"/>
              <a:gd name="connsiteY3785" fmla="*/ 4161993 h 6698675"/>
              <a:gd name="connsiteX3786" fmla="*/ 5738046 w 8267681"/>
              <a:gd name="connsiteY3786" fmla="*/ 4166691 h 6698675"/>
              <a:gd name="connsiteX3787" fmla="*/ 5789720 w 8267681"/>
              <a:gd name="connsiteY3787" fmla="*/ 4312315 h 6698675"/>
              <a:gd name="connsiteX3788" fmla="*/ 5761534 w 8267681"/>
              <a:gd name="connsiteY3788" fmla="*/ 4246549 h 6698675"/>
              <a:gd name="connsiteX3789" fmla="*/ 5763883 w 8267681"/>
              <a:gd name="connsiteY3789" fmla="*/ 4279432 h 6698675"/>
              <a:gd name="connsiteX3790" fmla="*/ 5759186 w 8267681"/>
              <a:gd name="connsiteY3790" fmla="*/ 4284129 h 6698675"/>
              <a:gd name="connsiteX3791" fmla="*/ 5745093 w 8267681"/>
              <a:gd name="connsiteY3791" fmla="*/ 4258293 h 6698675"/>
              <a:gd name="connsiteX3792" fmla="*/ 5723954 w 8267681"/>
              <a:gd name="connsiteY3792" fmla="*/ 4272386 h 6698675"/>
              <a:gd name="connsiteX3793" fmla="*/ 5733349 w 8267681"/>
              <a:gd name="connsiteY3793" fmla="*/ 4302919 h 6698675"/>
              <a:gd name="connsiteX3794" fmla="*/ 5719256 w 8267681"/>
              <a:gd name="connsiteY3794" fmla="*/ 4281781 h 6698675"/>
              <a:gd name="connsiteX3795" fmla="*/ 5684025 w 8267681"/>
              <a:gd name="connsiteY3795" fmla="*/ 4272386 h 6698675"/>
              <a:gd name="connsiteX3796" fmla="*/ 5700466 w 8267681"/>
              <a:gd name="connsiteY3796" fmla="*/ 4239502 h 6698675"/>
              <a:gd name="connsiteX3797" fmla="*/ 5676978 w 8267681"/>
              <a:gd name="connsiteY3797" fmla="*/ 4230107 h 6698675"/>
              <a:gd name="connsiteX3798" fmla="*/ 5669932 w 8267681"/>
              <a:gd name="connsiteY3798" fmla="*/ 4180783 h 6698675"/>
              <a:gd name="connsiteX3799" fmla="*/ 5702815 w 8267681"/>
              <a:gd name="connsiteY3799" fmla="*/ 4107971 h 6698675"/>
              <a:gd name="connsiteX3800" fmla="*/ 359361 w 8267681"/>
              <a:gd name="connsiteY3800" fmla="*/ 4103274 h 6698675"/>
              <a:gd name="connsiteX3801" fmla="*/ 368753 w 8267681"/>
              <a:gd name="connsiteY3801" fmla="*/ 4105623 h 6698675"/>
              <a:gd name="connsiteX3802" fmla="*/ 371103 w 8267681"/>
              <a:gd name="connsiteY3802" fmla="*/ 4107972 h 6698675"/>
              <a:gd name="connsiteX3803" fmla="*/ 368753 w 8267681"/>
              <a:gd name="connsiteY3803" fmla="*/ 4110320 h 6698675"/>
              <a:gd name="connsiteX3804" fmla="*/ 359361 w 8267681"/>
              <a:gd name="connsiteY3804" fmla="*/ 4112669 h 6698675"/>
              <a:gd name="connsiteX3805" fmla="*/ 357011 w 8267681"/>
              <a:gd name="connsiteY3805" fmla="*/ 4107972 h 6698675"/>
              <a:gd name="connsiteX3806" fmla="*/ 5108268 w 8267681"/>
              <a:gd name="connsiteY3806" fmla="*/ 4100655 h 6698675"/>
              <a:gd name="connsiteX3807" fmla="*/ 5107216 w 8267681"/>
              <a:gd name="connsiteY3807" fmla="*/ 4104852 h 6698675"/>
              <a:gd name="connsiteX3808" fmla="*/ 5103556 w 8267681"/>
              <a:gd name="connsiteY3808" fmla="*/ 4112572 h 6698675"/>
              <a:gd name="connsiteX3809" fmla="*/ 5102813 w 8267681"/>
              <a:gd name="connsiteY3809" fmla="*/ 4111862 h 6698675"/>
              <a:gd name="connsiteX3810" fmla="*/ 5104758 w 8267681"/>
              <a:gd name="connsiteY3810" fmla="*/ 4103274 h 6698675"/>
              <a:gd name="connsiteX3811" fmla="*/ 2301785 w 8267681"/>
              <a:gd name="connsiteY3811" fmla="*/ 4096228 h 6698675"/>
              <a:gd name="connsiteX3812" fmla="*/ 2304134 w 8267681"/>
              <a:gd name="connsiteY3812" fmla="*/ 4103275 h 6698675"/>
              <a:gd name="connsiteX3813" fmla="*/ 2311180 w 8267681"/>
              <a:gd name="connsiteY3813" fmla="*/ 4103275 h 6698675"/>
              <a:gd name="connsiteX3814" fmla="*/ 2325273 w 8267681"/>
              <a:gd name="connsiteY3814" fmla="*/ 4166692 h 6698675"/>
              <a:gd name="connsiteX3815" fmla="*/ 2306483 w 8267681"/>
              <a:gd name="connsiteY3815" fmla="*/ 4192529 h 6698675"/>
              <a:gd name="connsiteX3816" fmla="*/ 2294740 w 8267681"/>
              <a:gd name="connsiteY3816" fmla="*/ 4152600 h 6698675"/>
              <a:gd name="connsiteX3817" fmla="*/ 2311180 w 8267681"/>
              <a:gd name="connsiteY3817" fmla="*/ 4145553 h 6698675"/>
              <a:gd name="connsiteX3818" fmla="*/ 2292390 w 8267681"/>
              <a:gd name="connsiteY3818" fmla="*/ 4119717 h 6698675"/>
              <a:gd name="connsiteX3819" fmla="*/ 2301785 w 8267681"/>
              <a:gd name="connsiteY3819" fmla="*/ 4096228 h 6698675"/>
              <a:gd name="connsiteX3820" fmla="*/ 2823213 w 8267681"/>
              <a:gd name="connsiteY3820" fmla="*/ 4093879 h 6698675"/>
              <a:gd name="connsiteX3821" fmla="*/ 2825561 w 8267681"/>
              <a:gd name="connsiteY3821" fmla="*/ 4100926 h 6698675"/>
              <a:gd name="connsiteX3822" fmla="*/ 2827910 w 8267681"/>
              <a:gd name="connsiteY3822" fmla="*/ 4093879 h 6698675"/>
              <a:gd name="connsiteX3823" fmla="*/ 2823213 w 8267681"/>
              <a:gd name="connsiteY3823" fmla="*/ 4093879 h 6698675"/>
              <a:gd name="connsiteX3824" fmla="*/ 2818515 w 8267681"/>
              <a:gd name="connsiteY3824" fmla="*/ 4093879 h 6698675"/>
              <a:gd name="connsiteX3825" fmla="*/ 2792680 w 8267681"/>
              <a:gd name="connsiteY3825" fmla="*/ 4107972 h 6698675"/>
              <a:gd name="connsiteX3826" fmla="*/ 2792680 w 8267681"/>
              <a:gd name="connsiteY3826" fmla="*/ 4098577 h 6698675"/>
              <a:gd name="connsiteX3827" fmla="*/ 2776237 w 8267681"/>
              <a:gd name="connsiteY3827" fmla="*/ 4145552 h 6698675"/>
              <a:gd name="connsiteX3828" fmla="*/ 2757447 w 8267681"/>
              <a:gd name="connsiteY3828" fmla="*/ 4161994 h 6698675"/>
              <a:gd name="connsiteX3829" fmla="*/ 2816166 w 8267681"/>
              <a:gd name="connsiteY3829" fmla="*/ 4143204 h 6698675"/>
              <a:gd name="connsiteX3830" fmla="*/ 2811469 w 8267681"/>
              <a:gd name="connsiteY3830" fmla="*/ 4140855 h 6698675"/>
              <a:gd name="connsiteX3831" fmla="*/ 2827910 w 8267681"/>
              <a:gd name="connsiteY3831" fmla="*/ 4119716 h 6698675"/>
              <a:gd name="connsiteX3832" fmla="*/ 2827910 w 8267681"/>
              <a:gd name="connsiteY3832" fmla="*/ 4112670 h 6698675"/>
              <a:gd name="connsiteX3833" fmla="*/ 2818515 w 8267681"/>
              <a:gd name="connsiteY3833" fmla="*/ 4093879 h 6698675"/>
              <a:gd name="connsiteX3834" fmla="*/ 2808570 w 8267681"/>
              <a:gd name="connsiteY3834" fmla="*/ 4087236 h 6698675"/>
              <a:gd name="connsiteX3835" fmla="*/ 2795027 w 8267681"/>
              <a:gd name="connsiteY3835" fmla="*/ 4091530 h 6698675"/>
              <a:gd name="connsiteX3836" fmla="*/ 2808570 w 8267681"/>
              <a:gd name="connsiteY3836" fmla="*/ 4087236 h 6698675"/>
              <a:gd name="connsiteX3837" fmla="*/ 2578940 w 8267681"/>
              <a:gd name="connsiteY3837" fmla="*/ 4079786 h 6698675"/>
              <a:gd name="connsiteX3838" fmla="*/ 2581289 w 8267681"/>
              <a:gd name="connsiteY3838" fmla="*/ 4082135 h 6698675"/>
              <a:gd name="connsiteX3839" fmla="*/ 2578940 w 8267681"/>
              <a:gd name="connsiteY3839" fmla="*/ 4084484 h 6698675"/>
              <a:gd name="connsiteX3840" fmla="*/ 2562498 w 8267681"/>
              <a:gd name="connsiteY3840" fmla="*/ 4096228 h 6698675"/>
              <a:gd name="connsiteX3841" fmla="*/ 2555452 w 8267681"/>
              <a:gd name="connsiteY3841" fmla="*/ 4091530 h 6698675"/>
              <a:gd name="connsiteX3842" fmla="*/ 2557801 w 8267681"/>
              <a:gd name="connsiteY3842" fmla="*/ 4082135 h 6698675"/>
              <a:gd name="connsiteX3843" fmla="*/ 2834957 w 8267681"/>
              <a:gd name="connsiteY3843" fmla="*/ 4077438 h 6698675"/>
              <a:gd name="connsiteX3844" fmla="*/ 2820864 w 8267681"/>
              <a:gd name="connsiteY3844" fmla="*/ 4079787 h 6698675"/>
              <a:gd name="connsiteX3845" fmla="*/ 2823213 w 8267681"/>
              <a:gd name="connsiteY3845" fmla="*/ 4089182 h 6698675"/>
              <a:gd name="connsiteX3846" fmla="*/ 2830260 w 8267681"/>
              <a:gd name="connsiteY3846" fmla="*/ 4089182 h 6698675"/>
              <a:gd name="connsiteX3847" fmla="*/ 2834957 w 8267681"/>
              <a:gd name="connsiteY3847" fmla="*/ 4077438 h 6698675"/>
              <a:gd name="connsiteX3848" fmla="*/ 5073600 w 8267681"/>
              <a:gd name="connsiteY3848" fmla="*/ 4071786 h 6698675"/>
              <a:gd name="connsiteX3849" fmla="*/ 5068645 w 8267681"/>
              <a:gd name="connsiteY3849" fmla="*/ 4075089 h 6698675"/>
              <a:gd name="connsiteX3850" fmla="*/ 5073600 w 8267681"/>
              <a:gd name="connsiteY3850" fmla="*/ 4071786 h 6698675"/>
              <a:gd name="connsiteX3851" fmla="*/ 1190824 w 8267681"/>
              <a:gd name="connsiteY3851" fmla="*/ 4070391 h 6698675"/>
              <a:gd name="connsiteX3852" fmla="*/ 1195523 w 8267681"/>
              <a:gd name="connsiteY3852" fmla="*/ 4077437 h 6698675"/>
              <a:gd name="connsiteX3853" fmla="*/ 1193172 w 8267681"/>
              <a:gd name="connsiteY3853" fmla="*/ 4086832 h 6698675"/>
              <a:gd name="connsiteX3854" fmla="*/ 1190824 w 8267681"/>
              <a:gd name="connsiteY3854" fmla="*/ 4091530 h 6698675"/>
              <a:gd name="connsiteX3855" fmla="*/ 1183780 w 8267681"/>
              <a:gd name="connsiteY3855" fmla="*/ 4086832 h 6698675"/>
              <a:gd name="connsiteX3856" fmla="*/ 1186130 w 8267681"/>
              <a:gd name="connsiteY3856" fmla="*/ 4077437 h 6698675"/>
              <a:gd name="connsiteX3857" fmla="*/ 2115685 w 8267681"/>
              <a:gd name="connsiteY3857" fmla="*/ 4065278 h 6698675"/>
              <a:gd name="connsiteX3858" fmla="*/ 2115565 w 8267681"/>
              <a:gd name="connsiteY3858" fmla="*/ 4066700 h 6698675"/>
              <a:gd name="connsiteX3859" fmla="*/ 2113885 w 8267681"/>
              <a:gd name="connsiteY3859" fmla="*/ 4075089 h 6698675"/>
              <a:gd name="connsiteX3860" fmla="*/ 2114891 w 8267681"/>
              <a:gd name="connsiteY3860" fmla="*/ 4068039 h 6698675"/>
              <a:gd name="connsiteX3861" fmla="*/ 2503779 w 8267681"/>
              <a:gd name="connsiteY3861" fmla="*/ 4063345 h 6698675"/>
              <a:gd name="connsiteX3862" fmla="*/ 2496732 w 8267681"/>
              <a:gd name="connsiteY3862" fmla="*/ 4070392 h 6698675"/>
              <a:gd name="connsiteX3863" fmla="*/ 2503779 w 8267681"/>
              <a:gd name="connsiteY3863" fmla="*/ 4075089 h 6698675"/>
              <a:gd name="connsiteX3864" fmla="*/ 2508476 w 8267681"/>
              <a:gd name="connsiteY3864" fmla="*/ 4070392 h 6698675"/>
              <a:gd name="connsiteX3865" fmla="*/ 2247762 w 8267681"/>
              <a:gd name="connsiteY3865" fmla="*/ 4063345 h 6698675"/>
              <a:gd name="connsiteX3866" fmla="*/ 2238373 w 8267681"/>
              <a:gd name="connsiteY3866" fmla="*/ 4075089 h 6698675"/>
              <a:gd name="connsiteX3867" fmla="*/ 2243064 w 8267681"/>
              <a:gd name="connsiteY3867" fmla="*/ 4117367 h 6698675"/>
              <a:gd name="connsiteX3868" fmla="*/ 2247762 w 8267681"/>
              <a:gd name="connsiteY3868" fmla="*/ 4122065 h 6698675"/>
              <a:gd name="connsiteX3869" fmla="*/ 2247762 w 8267681"/>
              <a:gd name="connsiteY3869" fmla="*/ 4117367 h 6698675"/>
              <a:gd name="connsiteX3870" fmla="*/ 2257158 w 8267681"/>
              <a:gd name="connsiteY3870" fmla="*/ 4093879 h 6698675"/>
              <a:gd name="connsiteX3871" fmla="*/ 2250111 w 8267681"/>
              <a:gd name="connsiteY3871" fmla="*/ 4075089 h 6698675"/>
              <a:gd name="connsiteX3872" fmla="*/ 2247762 w 8267681"/>
              <a:gd name="connsiteY3872" fmla="*/ 4063345 h 6698675"/>
              <a:gd name="connsiteX3873" fmla="*/ 1174388 w 8267681"/>
              <a:gd name="connsiteY3873" fmla="*/ 4060996 h 6698675"/>
              <a:gd name="connsiteX3874" fmla="*/ 1181432 w 8267681"/>
              <a:gd name="connsiteY3874" fmla="*/ 4068042 h 6698675"/>
              <a:gd name="connsiteX3875" fmla="*/ 1176738 w 8267681"/>
              <a:gd name="connsiteY3875" fmla="*/ 4077437 h 6698675"/>
              <a:gd name="connsiteX3876" fmla="*/ 1174388 w 8267681"/>
              <a:gd name="connsiteY3876" fmla="*/ 4079786 h 6698675"/>
              <a:gd name="connsiteX3877" fmla="*/ 1172038 w 8267681"/>
              <a:gd name="connsiteY3877" fmla="*/ 4077437 h 6698675"/>
              <a:gd name="connsiteX3878" fmla="*/ 1167341 w 8267681"/>
              <a:gd name="connsiteY3878" fmla="*/ 4068042 h 6698675"/>
              <a:gd name="connsiteX3879" fmla="*/ 3389268 w 8267681"/>
              <a:gd name="connsiteY3879" fmla="*/ 4049253 h 6698675"/>
              <a:gd name="connsiteX3880" fmla="*/ 3311758 w 8267681"/>
              <a:gd name="connsiteY3880" fmla="*/ 4173738 h 6698675"/>
              <a:gd name="connsiteX3881" fmla="*/ 3389268 w 8267681"/>
              <a:gd name="connsiteY3881" fmla="*/ 4049253 h 6698675"/>
              <a:gd name="connsiteX3882" fmla="*/ 3200559 w 8267681"/>
              <a:gd name="connsiteY3882" fmla="*/ 4041325 h 6698675"/>
              <a:gd name="connsiteX3883" fmla="*/ 3191971 w 8267681"/>
              <a:gd name="connsiteY3883" fmla="*/ 4070392 h 6698675"/>
              <a:gd name="connsiteX3884" fmla="*/ 3210761 w 8267681"/>
              <a:gd name="connsiteY3884" fmla="*/ 4044555 h 6698675"/>
              <a:gd name="connsiteX3885" fmla="*/ 3200559 w 8267681"/>
              <a:gd name="connsiteY3885" fmla="*/ 4041325 h 6698675"/>
              <a:gd name="connsiteX3886" fmla="*/ 580151 w 8267681"/>
              <a:gd name="connsiteY3886" fmla="*/ 4037508 h 6698675"/>
              <a:gd name="connsiteX3887" fmla="*/ 589545 w 8267681"/>
              <a:gd name="connsiteY3887" fmla="*/ 4037508 h 6698675"/>
              <a:gd name="connsiteX3888" fmla="*/ 591897 w 8267681"/>
              <a:gd name="connsiteY3888" fmla="*/ 4044554 h 6698675"/>
              <a:gd name="connsiteX3889" fmla="*/ 589545 w 8267681"/>
              <a:gd name="connsiteY3889" fmla="*/ 4046903 h 6698675"/>
              <a:gd name="connsiteX3890" fmla="*/ 580151 w 8267681"/>
              <a:gd name="connsiteY3890" fmla="*/ 4046903 h 6698675"/>
              <a:gd name="connsiteX3891" fmla="*/ 577800 w 8267681"/>
              <a:gd name="connsiteY3891" fmla="*/ 4044554 h 6698675"/>
              <a:gd name="connsiteX3892" fmla="*/ 2792680 w 8267681"/>
              <a:gd name="connsiteY3892" fmla="*/ 4028114 h 6698675"/>
              <a:gd name="connsiteX3893" fmla="*/ 2790330 w 8267681"/>
              <a:gd name="connsiteY3893" fmla="*/ 4082136 h 6698675"/>
              <a:gd name="connsiteX3894" fmla="*/ 2811469 w 8267681"/>
              <a:gd name="connsiteY3894" fmla="*/ 4063345 h 6698675"/>
              <a:gd name="connsiteX3895" fmla="*/ 2802074 w 8267681"/>
              <a:gd name="connsiteY3895" fmla="*/ 4051601 h 6698675"/>
              <a:gd name="connsiteX3896" fmla="*/ 2792680 w 8267681"/>
              <a:gd name="connsiteY3896" fmla="*/ 4028114 h 6698675"/>
              <a:gd name="connsiteX3897" fmla="*/ 335871 w 8267681"/>
              <a:gd name="connsiteY3897" fmla="*/ 4025764 h 6698675"/>
              <a:gd name="connsiteX3898" fmla="*/ 345268 w 8267681"/>
              <a:gd name="connsiteY3898" fmla="*/ 4046904 h 6698675"/>
              <a:gd name="connsiteX3899" fmla="*/ 347618 w 8267681"/>
              <a:gd name="connsiteY3899" fmla="*/ 4056299 h 6698675"/>
              <a:gd name="connsiteX3900" fmla="*/ 347618 w 8267681"/>
              <a:gd name="connsiteY3900" fmla="*/ 4065694 h 6698675"/>
              <a:gd name="connsiteX3901" fmla="*/ 338219 w 8267681"/>
              <a:gd name="connsiteY3901" fmla="*/ 4082136 h 6698675"/>
              <a:gd name="connsiteX3902" fmla="*/ 317083 w 8267681"/>
              <a:gd name="connsiteY3902" fmla="*/ 4086833 h 6698675"/>
              <a:gd name="connsiteX3903" fmla="*/ 310034 w 8267681"/>
              <a:gd name="connsiteY3903" fmla="*/ 4082136 h 6698675"/>
              <a:gd name="connsiteX3904" fmla="*/ 310034 w 8267681"/>
              <a:gd name="connsiteY3904" fmla="*/ 4072741 h 6698675"/>
              <a:gd name="connsiteX3905" fmla="*/ 321777 w 8267681"/>
              <a:gd name="connsiteY3905" fmla="*/ 4056299 h 6698675"/>
              <a:gd name="connsiteX3906" fmla="*/ 321777 w 8267681"/>
              <a:gd name="connsiteY3906" fmla="*/ 4039858 h 6698675"/>
              <a:gd name="connsiteX3907" fmla="*/ 2308830 w 8267681"/>
              <a:gd name="connsiteY3907" fmla="*/ 4018719 h 6698675"/>
              <a:gd name="connsiteX3908" fmla="*/ 2299435 w 8267681"/>
              <a:gd name="connsiteY3908" fmla="*/ 4030462 h 6698675"/>
              <a:gd name="connsiteX3909" fmla="*/ 2308830 w 8267681"/>
              <a:gd name="connsiteY3909" fmla="*/ 4035160 h 6698675"/>
              <a:gd name="connsiteX3910" fmla="*/ 2313529 w 8267681"/>
              <a:gd name="connsiteY3910" fmla="*/ 4028114 h 6698675"/>
              <a:gd name="connsiteX3911" fmla="*/ 5783077 w 8267681"/>
              <a:gd name="connsiteY3911" fmla="*/ 4015232 h 6698675"/>
              <a:gd name="connsiteX3912" fmla="*/ 5787371 w 8267681"/>
              <a:gd name="connsiteY3912" fmla="*/ 4028113 h 6698675"/>
              <a:gd name="connsiteX3913" fmla="*/ 5783077 w 8267681"/>
              <a:gd name="connsiteY3913" fmla="*/ 4015232 h 6698675"/>
              <a:gd name="connsiteX3914" fmla="*/ 1183772 w 8267681"/>
              <a:gd name="connsiteY3914" fmla="*/ 4009323 h 6698675"/>
              <a:gd name="connsiteX3915" fmla="*/ 1176721 w 8267681"/>
              <a:gd name="connsiteY3915" fmla="*/ 4018719 h 6698675"/>
              <a:gd name="connsiteX3916" fmla="*/ 1188465 w 8267681"/>
              <a:gd name="connsiteY3916" fmla="*/ 4028114 h 6698675"/>
              <a:gd name="connsiteX3917" fmla="*/ 1190814 w 8267681"/>
              <a:gd name="connsiteY3917" fmla="*/ 4030462 h 6698675"/>
              <a:gd name="connsiteX3918" fmla="*/ 1200209 w 8267681"/>
              <a:gd name="connsiteY3918" fmla="*/ 4028114 h 6698675"/>
              <a:gd name="connsiteX3919" fmla="*/ 1204906 w 8267681"/>
              <a:gd name="connsiteY3919" fmla="*/ 4016370 h 6698675"/>
              <a:gd name="connsiteX3920" fmla="*/ 1200209 w 8267681"/>
              <a:gd name="connsiteY3920" fmla="*/ 4011672 h 6698675"/>
              <a:gd name="connsiteX3921" fmla="*/ 1164979 w 8267681"/>
              <a:gd name="connsiteY3921" fmla="*/ 4009323 h 6698675"/>
              <a:gd name="connsiteX3922" fmla="*/ 1157931 w 8267681"/>
              <a:gd name="connsiteY3922" fmla="*/ 4016370 h 6698675"/>
              <a:gd name="connsiteX3923" fmla="*/ 1164979 w 8267681"/>
              <a:gd name="connsiteY3923" fmla="*/ 4021067 h 6698675"/>
              <a:gd name="connsiteX3924" fmla="*/ 1164979 w 8267681"/>
              <a:gd name="connsiteY3924" fmla="*/ 4009323 h 6698675"/>
              <a:gd name="connsiteX3925" fmla="*/ 1336448 w 8267681"/>
              <a:gd name="connsiteY3925" fmla="*/ 4006974 h 6698675"/>
              <a:gd name="connsiteX3926" fmla="*/ 1343499 w 8267681"/>
              <a:gd name="connsiteY3926" fmla="*/ 4009323 h 6698675"/>
              <a:gd name="connsiteX3927" fmla="*/ 1334102 w 8267681"/>
              <a:gd name="connsiteY3927" fmla="*/ 4018718 h 6698675"/>
              <a:gd name="connsiteX3928" fmla="*/ 1329406 w 8267681"/>
              <a:gd name="connsiteY3928" fmla="*/ 4011672 h 6698675"/>
              <a:gd name="connsiteX3929" fmla="*/ 688176 w 8267681"/>
              <a:gd name="connsiteY3929" fmla="*/ 4004626 h 6698675"/>
              <a:gd name="connsiteX3930" fmla="*/ 687706 w 8267681"/>
              <a:gd name="connsiteY3930" fmla="*/ 4006504 h 6698675"/>
              <a:gd name="connsiteX3931" fmla="*/ 683477 w 8267681"/>
              <a:gd name="connsiteY3931" fmla="*/ 4009323 h 6698675"/>
              <a:gd name="connsiteX3932" fmla="*/ 688176 w 8267681"/>
              <a:gd name="connsiteY3932" fmla="*/ 4004626 h 6698675"/>
              <a:gd name="connsiteX3933" fmla="*/ 3372387 w 8267681"/>
              <a:gd name="connsiteY3933" fmla="*/ 4003341 h 6698675"/>
              <a:gd name="connsiteX3934" fmla="*/ 3365780 w 8267681"/>
              <a:gd name="connsiteY3934" fmla="*/ 4006975 h 6698675"/>
              <a:gd name="connsiteX3935" fmla="*/ 3372387 w 8267681"/>
              <a:gd name="connsiteY3935" fmla="*/ 4003341 h 6698675"/>
              <a:gd name="connsiteX3936" fmla="*/ 5007577 w 8267681"/>
              <a:gd name="connsiteY3936" fmla="*/ 4002277 h 6698675"/>
              <a:gd name="connsiteX3937" fmla="*/ 5012274 w 8267681"/>
              <a:gd name="connsiteY3937" fmla="*/ 4011672 h 6698675"/>
              <a:gd name="connsiteX3938" fmla="*/ 5014623 w 8267681"/>
              <a:gd name="connsiteY3938" fmla="*/ 4006975 h 6698675"/>
              <a:gd name="connsiteX3939" fmla="*/ 5007577 w 8267681"/>
              <a:gd name="connsiteY3939" fmla="*/ 4002277 h 6698675"/>
              <a:gd name="connsiteX3940" fmla="*/ 3241295 w 8267681"/>
              <a:gd name="connsiteY3940" fmla="*/ 4002277 h 6698675"/>
              <a:gd name="connsiteX3941" fmla="*/ 3217807 w 8267681"/>
              <a:gd name="connsiteY3941" fmla="*/ 4039857 h 6698675"/>
              <a:gd name="connsiteX3942" fmla="*/ 3241295 w 8267681"/>
              <a:gd name="connsiteY3942" fmla="*/ 4002277 h 6698675"/>
              <a:gd name="connsiteX3943" fmla="*/ 975315 w 8267681"/>
              <a:gd name="connsiteY3943" fmla="*/ 4002020 h 6698675"/>
              <a:gd name="connsiteX3944" fmla="*/ 970028 w 8267681"/>
              <a:gd name="connsiteY3944" fmla="*/ 4006975 h 6698675"/>
              <a:gd name="connsiteX3945" fmla="*/ 975315 w 8267681"/>
              <a:gd name="connsiteY3945" fmla="*/ 4002020 h 6698675"/>
              <a:gd name="connsiteX3946" fmla="*/ 1580722 w 8267681"/>
              <a:gd name="connsiteY3946" fmla="*/ 3999927 h 6698675"/>
              <a:gd name="connsiteX3947" fmla="*/ 1587769 w 8267681"/>
              <a:gd name="connsiteY3947" fmla="*/ 4006973 h 6698675"/>
              <a:gd name="connsiteX3948" fmla="*/ 1580722 w 8267681"/>
              <a:gd name="connsiteY3948" fmla="*/ 4014020 h 6698675"/>
              <a:gd name="connsiteX3949" fmla="*/ 1571330 w 8267681"/>
              <a:gd name="connsiteY3949" fmla="*/ 4009322 h 6698675"/>
              <a:gd name="connsiteX3950" fmla="*/ 1568980 w 8267681"/>
              <a:gd name="connsiteY3950" fmla="*/ 4006973 h 6698675"/>
              <a:gd name="connsiteX3951" fmla="*/ 1571330 w 8267681"/>
              <a:gd name="connsiteY3951" fmla="*/ 4002276 h 6698675"/>
              <a:gd name="connsiteX3952" fmla="*/ 267756 w 8267681"/>
              <a:gd name="connsiteY3952" fmla="*/ 3999927 h 6698675"/>
              <a:gd name="connsiteX3953" fmla="*/ 288898 w 8267681"/>
              <a:gd name="connsiteY3953" fmla="*/ 4006974 h 6698675"/>
              <a:gd name="connsiteX3954" fmla="*/ 300640 w 8267681"/>
              <a:gd name="connsiteY3954" fmla="*/ 4032811 h 6698675"/>
              <a:gd name="connsiteX3955" fmla="*/ 293594 w 8267681"/>
              <a:gd name="connsiteY3955" fmla="*/ 4051601 h 6698675"/>
              <a:gd name="connsiteX3956" fmla="*/ 284199 w 8267681"/>
              <a:gd name="connsiteY3956" fmla="*/ 4051601 h 6698675"/>
              <a:gd name="connsiteX3957" fmla="*/ 277151 w 8267681"/>
              <a:gd name="connsiteY3957" fmla="*/ 4049253 h 6698675"/>
              <a:gd name="connsiteX3958" fmla="*/ 267756 w 8267681"/>
              <a:gd name="connsiteY3958" fmla="*/ 4039857 h 6698675"/>
              <a:gd name="connsiteX3959" fmla="*/ 258363 w 8267681"/>
              <a:gd name="connsiteY3959" fmla="*/ 4014021 h 6698675"/>
              <a:gd name="connsiteX3960" fmla="*/ 267756 w 8267681"/>
              <a:gd name="connsiteY3960" fmla="*/ 3999927 h 6698675"/>
              <a:gd name="connsiteX3961" fmla="*/ 5074443 w 8267681"/>
              <a:gd name="connsiteY3961" fmla="*/ 3993799 h 6698675"/>
              <a:gd name="connsiteX3962" fmla="*/ 5059250 w 8267681"/>
              <a:gd name="connsiteY3962" fmla="*/ 4009323 h 6698675"/>
              <a:gd name="connsiteX3963" fmla="*/ 5085086 w 8267681"/>
              <a:gd name="connsiteY3963" fmla="*/ 4014021 h 6698675"/>
              <a:gd name="connsiteX3964" fmla="*/ 5085086 w 8267681"/>
              <a:gd name="connsiteY3964" fmla="*/ 3999928 h 6698675"/>
              <a:gd name="connsiteX3965" fmla="*/ 5074443 w 8267681"/>
              <a:gd name="connsiteY3965" fmla="*/ 3993799 h 6698675"/>
              <a:gd name="connsiteX3966" fmla="*/ 1402219 w 8267681"/>
              <a:gd name="connsiteY3966" fmla="*/ 3990532 h 6698675"/>
              <a:gd name="connsiteX3967" fmla="*/ 1409262 w 8267681"/>
              <a:gd name="connsiteY3967" fmla="*/ 3995230 h 6698675"/>
              <a:gd name="connsiteX3968" fmla="*/ 1402219 w 8267681"/>
              <a:gd name="connsiteY3968" fmla="*/ 3999927 h 6698675"/>
              <a:gd name="connsiteX3969" fmla="*/ 1399869 w 8267681"/>
              <a:gd name="connsiteY3969" fmla="*/ 3995230 h 6698675"/>
              <a:gd name="connsiteX3970" fmla="*/ 2978526 w 8267681"/>
              <a:gd name="connsiteY3970" fmla="*/ 3986092 h 6698675"/>
              <a:gd name="connsiteX3971" fmla="*/ 2954744 w 8267681"/>
              <a:gd name="connsiteY3971" fmla="*/ 4002277 h 6698675"/>
              <a:gd name="connsiteX3972" fmla="*/ 2992325 w 8267681"/>
              <a:gd name="connsiteY3972" fmla="*/ 3990533 h 6698675"/>
              <a:gd name="connsiteX3973" fmla="*/ 2978526 w 8267681"/>
              <a:gd name="connsiteY3973" fmla="*/ 3986092 h 6698675"/>
              <a:gd name="connsiteX3974" fmla="*/ 1320009 w 8267681"/>
              <a:gd name="connsiteY3974" fmla="*/ 3985835 h 6698675"/>
              <a:gd name="connsiteX3975" fmla="*/ 1322358 w 8267681"/>
              <a:gd name="connsiteY3975" fmla="*/ 3988185 h 6698675"/>
              <a:gd name="connsiteX3976" fmla="*/ 1324706 w 8267681"/>
              <a:gd name="connsiteY3976" fmla="*/ 4014022 h 6698675"/>
              <a:gd name="connsiteX3977" fmla="*/ 1320009 w 8267681"/>
              <a:gd name="connsiteY3977" fmla="*/ 4018719 h 6698675"/>
              <a:gd name="connsiteX3978" fmla="*/ 1310613 w 8267681"/>
              <a:gd name="connsiteY3978" fmla="*/ 4018719 h 6698675"/>
              <a:gd name="connsiteX3979" fmla="*/ 1305916 w 8267681"/>
              <a:gd name="connsiteY3979" fmla="*/ 4014022 h 6698675"/>
              <a:gd name="connsiteX3980" fmla="*/ 1305916 w 8267681"/>
              <a:gd name="connsiteY3980" fmla="*/ 4004626 h 6698675"/>
              <a:gd name="connsiteX3981" fmla="*/ 1317659 w 8267681"/>
              <a:gd name="connsiteY3981" fmla="*/ 3988185 h 6698675"/>
              <a:gd name="connsiteX3982" fmla="*/ 1320009 w 8267681"/>
              <a:gd name="connsiteY3982" fmla="*/ 3985835 h 6698675"/>
              <a:gd name="connsiteX3983" fmla="*/ 2179670 w 8267681"/>
              <a:gd name="connsiteY3983" fmla="*/ 3983486 h 6698675"/>
              <a:gd name="connsiteX3984" fmla="*/ 2184364 w 8267681"/>
              <a:gd name="connsiteY3984" fmla="*/ 3988184 h 6698675"/>
              <a:gd name="connsiteX3985" fmla="*/ 2170272 w 8267681"/>
              <a:gd name="connsiteY3985" fmla="*/ 3985835 h 6698675"/>
              <a:gd name="connsiteX3986" fmla="*/ 2179670 w 8267681"/>
              <a:gd name="connsiteY3986" fmla="*/ 3983486 h 6698675"/>
              <a:gd name="connsiteX3987" fmla="*/ 1359937 w 8267681"/>
              <a:gd name="connsiteY3987" fmla="*/ 3983486 h 6698675"/>
              <a:gd name="connsiteX3988" fmla="*/ 1374034 w 8267681"/>
              <a:gd name="connsiteY3988" fmla="*/ 3997580 h 6698675"/>
              <a:gd name="connsiteX3989" fmla="*/ 1381077 w 8267681"/>
              <a:gd name="connsiteY3989" fmla="*/ 4014021 h 6698675"/>
              <a:gd name="connsiteX3990" fmla="*/ 1359937 w 8267681"/>
              <a:gd name="connsiteY3990" fmla="*/ 4025765 h 6698675"/>
              <a:gd name="connsiteX3991" fmla="*/ 1352892 w 8267681"/>
              <a:gd name="connsiteY3991" fmla="*/ 4021067 h 6698675"/>
              <a:gd name="connsiteX3992" fmla="*/ 1355241 w 8267681"/>
              <a:gd name="connsiteY3992" fmla="*/ 4011672 h 6698675"/>
              <a:gd name="connsiteX3993" fmla="*/ 1355241 w 8267681"/>
              <a:gd name="connsiteY3993" fmla="*/ 3985836 h 6698675"/>
              <a:gd name="connsiteX3994" fmla="*/ 1359937 w 8267681"/>
              <a:gd name="connsiteY3994" fmla="*/ 3983486 h 6698675"/>
              <a:gd name="connsiteX3995" fmla="*/ 530824 w 8267681"/>
              <a:gd name="connsiteY3995" fmla="*/ 3981137 h 6698675"/>
              <a:gd name="connsiteX3996" fmla="*/ 540222 w 8267681"/>
              <a:gd name="connsiteY3996" fmla="*/ 3983486 h 6698675"/>
              <a:gd name="connsiteX3997" fmla="*/ 530824 w 8267681"/>
              <a:gd name="connsiteY3997" fmla="*/ 3988183 h 6698675"/>
              <a:gd name="connsiteX3998" fmla="*/ 528480 w 8267681"/>
              <a:gd name="connsiteY3998" fmla="*/ 3983486 h 6698675"/>
              <a:gd name="connsiteX3999" fmla="*/ 5979070 w 8267681"/>
              <a:gd name="connsiteY3999" fmla="*/ 3980180 h 6698675"/>
              <a:gd name="connsiteX4000" fmla="*/ 5982688 w 8267681"/>
              <a:gd name="connsiteY4000" fmla="*/ 3980844 h 6698675"/>
              <a:gd name="connsiteX4001" fmla="*/ 5982403 w 8267681"/>
              <a:gd name="connsiteY4001" fmla="*/ 3984712 h 6698675"/>
              <a:gd name="connsiteX4002" fmla="*/ 2684635 w 8267681"/>
              <a:gd name="connsiteY4002" fmla="*/ 3976440 h 6698675"/>
              <a:gd name="connsiteX4003" fmla="*/ 2679937 w 8267681"/>
              <a:gd name="connsiteY4003" fmla="*/ 3988184 h 6698675"/>
              <a:gd name="connsiteX4004" fmla="*/ 2679937 w 8267681"/>
              <a:gd name="connsiteY4004" fmla="*/ 3990533 h 6698675"/>
              <a:gd name="connsiteX4005" fmla="*/ 2689332 w 8267681"/>
              <a:gd name="connsiteY4005" fmla="*/ 3992882 h 6698675"/>
              <a:gd name="connsiteX4006" fmla="*/ 2694030 w 8267681"/>
              <a:gd name="connsiteY4006" fmla="*/ 3988184 h 6698675"/>
              <a:gd name="connsiteX4007" fmla="*/ 2689332 w 8267681"/>
              <a:gd name="connsiteY4007" fmla="*/ 3978789 h 6698675"/>
              <a:gd name="connsiteX4008" fmla="*/ 2614172 w 8267681"/>
              <a:gd name="connsiteY4008" fmla="*/ 3971743 h 6698675"/>
              <a:gd name="connsiteX4009" fmla="*/ 2609474 w 8267681"/>
              <a:gd name="connsiteY4009" fmla="*/ 3978789 h 6698675"/>
              <a:gd name="connsiteX4010" fmla="*/ 2609474 w 8267681"/>
              <a:gd name="connsiteY4010" fmla="*/ 3981138 h 6698675"/>
              <a:gd name="connsiteX4011" fmla="*/ 2614172 w 8267681"/>
              <a:gd name="connsiteY4011" fmla="*/ 3985835 h 6698675"/>
              <a:gd name="connsiteX4012" fmla="*/ 2618869 w 8267681"/>
              <a:gd name="connsiteY4012" fmla="*/ 3978789 h 6698675"/>
              <a:gd name="connsiteX4013" fmla="*/ 1413962 w 8267681"/>
              <a:gd name="connsiteY4013" fmla="*/ 3971742 h 6698675"/>
              <a:gd name="connsiteX4014" fmla="*/ 1418657 w 8267681"/>
              <a:gd name="connsiteY4014" fmla="*/ 3976440 h 6698675"/>
              <a:gd name="connsiteX4015" fmla="*/ 1418657 w 8267681"/>
              <a:gd name="connsiteY4015" fmla="*/ 3985835 h 6698675"/>
              <a:gd name="connsiteX4016" fmla="*/ 1413962 w 8267681"/>
              <a:gd name="connsiteY4016" fmla="*/ 3992881 h 6698675"/>
              <a:gd name="connsiteX4017" fmla="*/ 1406914 w 8267681"/>
              <a:gd name="connsiteY4017" fmla="*/ 3985835 h 6698675"/>
              <a:gd name="connsiteX4018" fmla="*/ 1404570 w 8267681"/>
              <a:gd name="connsiteY4018" fmla="*/ 3976440 h 6698675"/>
              <a:gd name="connsiteX4019" fmla="*/ 1685472 w 8267681"/>
              <a:gd name="connsiteY4019" fmla="*/ 3967362 h 6698675"/>
              <a:gd name="connsiteX4020" fmla="*/ 1688755 w 8267681"/>
              <a:gd name="connsiteY4020" fmla="*/ 3973798 h 6698675"/>
              <a:gd name="connsiteX4021" fmla="*/ 1684438 w 8267681"/>
              <a:gd name="connsiteY4021" fmla="*/ 3985496 h 6698675"/>
              <a:gd name="connsiteX4022" fmla="*/ 645912 w 8267681"/>
              <a:gd name="connsiteY4022" fmla="*/ 3967045 h 6698675"/>
              <a:gd name="connsiteX4023" fmla="*/ 667050 w 8267681"/>
              <a:gd name="connsiteY4023" fmla="*/ 3967045 h 6698675"/>
              <a:gd name="connsiteX4024" fmla="*/ 669397 w 8267681"/>
              <a:gd name="connsiteY4024" fmla="*/ 3967045 h 6698675"/>
              <a:gd name="connsiteX4025" fmla="*/ 671747 w 8267681"/>
              <a:gd name="connsiteY4025" fmla="*/ 3976440 h 6698675"/>
              <a:gd name="connsiteX4026" fmla="*/ 650613 w 8267681"/>
              <a:gd name="connsiteY4026" fmla="*/ 3983486 h 6698675"/>
              <a:gd name="connsiteX4027" fmla="*/ 645912 w 8267681"/>
              <a:gd name="connsiteY4027" fmla="*/ 3976440 h 6698675"/>
              <a:gd name="connsiteX4028" fmla="*/ 328825 w 8267681"/>
              <a:gd name="connsiteY4028" fmla="*/ 3967045 h 6698675"/>
              <a:gd name="connsiteX4029" fmla="*/ 335876 w 8267681"/>
              <a:gd name="connsiteY4029" fmla="*/ 3971743 h 6698675"/>
              <a:gd name="connsiteX4030" fmla="*/ 328825 w 8267681"/>
              <a:gd name="connsiteY4030" fmla="*/ 3981138 h 6698675"/>
              <a:gd name="connsiteX4031" fmla="*/ 319433 w 8267681"/>
              <a:gd name="connsiteY4031" fmla="*/ 3971743 h 6698675"/>
              <a:gd name="connsiteX4032" fmla="*/ 789174 w 8267681"/>
              <a:gd name="connsiteY4032" fmla="*/ 3964697 h 6698675"/>
              <a:gd name="connsiteX4033" fmla="*/ 782129 w 8267681"/>
              <a:gd name="connsiteY4033" fmla="*/ 3969394 h 6698675"/>
              <a:gd name="connsiteX4034" fmla="*/ 753944 w 8267681"/>
              <a:gd name="connsiteY4034" fmla="*/ 3971743 h 6698675"/>
              <a:gd name="connsiteX4035" fmla="*/ 793872 w 8267681"/>
              <a:gd name="connsiteY4035" fmla="*/ 3976440 h 6698675"/>
              <a:gd name="connsiteX4036" fmla="*/ 800917 w 8267681"/>
              <a:gd name="connsiteY4036" fmla="*/ 3969394 h 6698675"/>
              <a:gd name="connsiteX4037" fmla="*/ 789174 w 8267681"/>
              <a:gd name="connsiteY4037" fmla="*/ 3964697 h 6698675"/>
              <a:gd name="connsiteX4038" fmla="*/ 1301221 w 8267681"/>
              <a:gd name="connsiteY4038" fmla="*/ 3964696 h 6698675"/>
              <a:gd name="connsiteX4039" fmla="*/ 1310613 w 8267681"/>
              <a:gd name="connsiteY4039" fmla="*/ 3969394 h 6698675"/>
              <a:gd name="connsiteX4040" fmla="*/ 1301221 w 8267681"/>
              <a:gd name="connsiteY4040" fmla="*/ 3976440 h 6698675"/>
              <a:gd name="connsiteX4041" fmla="*/ 1294172 w 8267681"/>
              <a:gd name="connsiteY4041" fmla="*/ 3969394 h 6698675"/>
              <a:gd name="connsiteX4042" fmla="*/ 624778 w 8267681"/>
              <a:gd name="connsiteY4042" fmla="*/ 3959998 h 6698675"/>
              <a:gd name="connsiteX4043" fmla="*/ 636520 w 8267681"/>
              <a:gd name="connsiteY4043" fmla="*/ 3959998 h 6698675"/>
              <a:gd name="connsiteX4044" fmla="*/ 634170 w 8267681"/>
              <a:gd name="connsiteY4044" fmla="*/ 3969393 h 6698675"/>
              <a:gd name="connsiteX4045" fmla="*/ 5843742 w 8267681"/>
              <a:gd name="connsiteY4045" fmla="*/ 3955301 h 6698675"/>
              <a:gd name="connsiteX4046" fmla="*/ 5869579 w 8267681"/>
              <a:gd name="connsiteY4046" fmla="*/ 3988184 h 6698675"/>
              <a:gd name="connsiteX4047" fmla="*/ 6012854 w 8267681"/>
              <a:gd name="connsiteY4047" fmla="*/ 4208969 h 6698675"/>
              <a:gd name="connsiteX4048" fmla="*/ 5956484 w 8267681"/>
              <a:gd name="connsiteY4048" fmla="*/ 4107972 h 6698675"/>
              <a:gd name="connsiteX4049" fmla="*/ 5857835 w 8267681"/>
              <a:gd name="connsiteY4049" fmla="*/ 4006974 h 6698675"/>
              <a:gd name="connsiteX4050" fmla="*/ 5853138 w 8267681"/>
              <a:gd name="connsiteY4050" fmla="*/ 3999928 h 6698675"/>
              <a:gd name="connsiteX4051" fmla="*/ 5834347 w 8267681"/>
              <a:gd name="connsiteY4051" fmla="*/ 3978789 h 6698675"/>
              <a:gd name="connsiteX4052" fmla="*/ 5815557 w 8267681"/>
              <a:gd name="connsiteY4052" fmla="*/ 3971742 h 6698675"/>
              <a:gd name="connsiteX4053" fmla="*/ 5843742 w 8267681"/>
              <a:gd name="connsiteY4053" fmla="*/ 3969394 h 6698675"/>
              <a:gd name="connsiteX4054" fmla="*/ 5843742 w 8267681"/>
              <a:gd name="connsiteY4054" fmla="*/ 3955301 h 6698675"/>
              <a:gd name="connsiteX4055" fmla="*/ 1590117 w 8267681"/>
              <a:gd name="connsiteY4055" fmla="*/ 3955301 h 6698675"/>
              <a:gd name="connsiteX4056" fmla="*/ 1599515 w 8267681"/>
              <a:gd name="connsiteY4056" fmla="*/ 3964696 h 6698675"/>
              <a:gd name="connsiteX4057" fmla="*/ 1597165 w 8267681"/>
              <a:gd name="connsiteY4057" fmla="*/ 3974091 h 6698675"/>
              <a:gd name="connsiteX4058" fmla="*/ 1592466 w 8267681"/>
              <a:gd name="connsiteY4058" fmla="*/ 3978789 h 6698675"/>
              <a:gd name="connsiteX4059" fmla="*/ 1585423 w 8267681"/>
              <a:gd name="connsiteY4059" fmla="*/ 3974091 h 6698675"/>
              <a:gd name="connsiteX4060" fmla="*/ 1583073 w 8267681"/>
              <a:gd name="connsiteY4060" fmla="*/ 3964696 h 6698675"/>
              <a:gd name="connsiteX4061" fmla="*/ 850242 w 8267681"/>
              <a:gd name="connsiteY4061" fmla="*/ 3948255 h 6698675"/>
              <a:gd name="connsiteX4062" fmla="*/ 843195 w 8267681"/>
              <a:gd name="connsiteY4062" fmla="*/ 3952953 h 6698675"/>
              <a:gd name="connsiteX4063" fmla="*/ 847892 w 8267681"/>
              <a:gd name="connsiteY4063" fmla="*/ 3962348 h 6698675"/>
              <a:gd name="connsiteX4064" fmla="*/ 852592 w 8267681"/>
              <a:gd name="connsiteY4064" fmla="*/ 3964697 h 6698675"/>
              <a:gd name="connsiteX4065" fmla="*/ 859637 w 8267681"/>
              <a:gd name="connsiteY4065" fmla="*/ 3962348 h 6698675"/>
              <a:gd name="connsiteX4066" fmla="*/ 857287 w 8267681"/>
              <a:gd name="connsiteY4066" fmla="*/ 3952953 h 6698675"/>
              <a:gd name="connsiteX4067" fmla="*/ 6200757 w 8267681"/>
              <a:gd name="connsiteY4067" fmla="*/ 3943557 h 6698675"/>
              <a:gd name="connsiteX4068" fmla="*/ 6268871 w 8267681"/>
              <a:gd name="connsiteY4068" fmla="*/ 4037509 h 6698675"/>
              <a:gd name="connsiteX4069" fmla="*/ 6210152 w 8267681"/>
              <a:gd name="connsiteY4069" fmla="*/ 3952952 h 6698675"/>
              <a:gd name="connsiteX4070" fmla="*/ 6200757 w 8267681"/>
              <a:gd name="connsiteY4070" fmla="*/ 3943557 h 6698675"/>
              <a:gd name="connsiteX4071" fmla="*/ 4441521 w 8267681"/>
              <a:gd name="connsiteY4071" fmla="*/ 3936511 h 6698675"/>
              <a:gd name="connsiteX4072" fmla="*/ 4429777 w 8267681"/>
              <a:gd name="connsiteY4072" fmla="*/ 3964697 h 6698675"/>
              <a:gd name="connsiteX4073" fmla="*/ 4443870 w 8267681"/>
              <a:gd name="connsiteY4073" fmla="*/ 3964697 h 6698675"/>
              <a:gd name="connsiteX4074" fmla="*/ 4441521 w 8267681"/>
              <a:gd name="connsiteY4074" fmla="*/ 3936511 h 6698675"/>
              <a:gd name="connsiteX4075" fmla="*/ 1435098 w 8267681"/>
              <a:gd name="connsiteY4075" fmla="*/ 3929464 h 6698675"/>
              <a:gd name="connsiteX4076" fmla="*/ 1446842 w 8267681"/>
              <a:gd name="connsiteY4076" fmla="*/ 3983487 h 6698675"/>
              <a:gd name="connsiteX4077" fmla="*/ 1430400 w 8267681"/>
              <a:gd name="connsiteY4077" fmla="*/ 3936511 h 6698675"/>
              <a:gd name="connsiteX4078" fmla="*/ 1378728 w 8267681"/>
              <a:gd name="connsiteY4078" fmla="*/ 3924767 h 6698675"/>
              <a:gd name="connsiteX4079" fmla="*/ 1381077 w 8267681"/>
              <a:gd name="connsiteY4079" fmla="*/ 3927116 h 6698675"/>
              <a:gd name="connsiteX4080" fmla="*/ 1378728 w 8267681"/>
              <a:gd name="connsiteY4080" fmla="*/ 3931813 h 6698675"/>
              <a:gd name="connsiteX4081" fmla="*/ 1369334 w 8267681"/>
              <a:gd name="connsiteY4081" fmla="*/ 3929465 h 6698675"/>
              <a:gd name="connsiteX4082" fmla="*/ 1322347 w 8267681"/>
              <a:gd name="connsiteY4082" fmla="*/ 3922418 h 6698675"/>
              <a:gd name="connsiteX4083" fmla="*/ 1315299 w 8267681"/>
              <a:gd name="connsiteY4083" fmla="*/ 3927116 h 6698675"/>
              <a:gd name="connsiteX4084" fmla="*/ 1319997 w 8267681"/>
              <a:gd name="connsiteY4084" fmla="*/ 3934162 h 6698675"/>
              <a:gd name="connsiteX4085" fmla="*/ 1329393 w 8267681"/>
              <a:gd name="connsiteY4085" fmla="*/ 3924767 h 6698675"/>
              <a:gd name="connsiteX4086" fmla="*/ 1418657 w 8267681"/>
              <a:gd name="connsiteY4086" fmla="*/ 3920069 h 6698675"/>
              <a:gd name="connsiteX4087" fmla="*/ 1428054 w 8267681"/>
              <a:gd name="connsiteY4087" fmla="*/ 3936510 h 6698675"/>
              <a:gd name="connsiteX4088" fmla="*/ 1421006 w 8267681"/>
              <a:gd name="connsiteY4088" fmla="*/ 3934161 h 6698675"/>
              <a:gd name="connsiteX4089" fmla="*/ 1416312 w 8267681"/>
              <a:gd name="connsiteY4089" fmla="*/ 3929464 h 6698675"/>
              <a:gd name="connsiteX4090" fmla="*/ 2679937 w 8267681"/>
              <a:gd name="connsiteY4090" fmla="*/ 3917721 h 6698675"/>
              <a:gd name="connsiteX4091" fmla="*/ 2663496 w 8267681"/>
              <a:gd name="connsiteY4091" fmla="*/ 3929465 h 6698675"/>
              <a:gd name="connsiteX4092" fmla="*/ 2663496 w 8267681"/>
              <a:gd name="connsiteY4092" fmla="*/ 3931814 h 6698675"/>
              <a:gd name="connsiteX4093" fmla="*/ 2672891 w 8267681"/>
              <a:gd name="connsiteY4093" fmla="*/ 3934162 h 6698675"/>
              <a:gd name="connsiteX4094" fmla="*/ 2682286 w 8267681"/>
              <a:gd name="connsiteY4094" fmla="*/ 3922418 h 6698675"/>
              <a:gd name="connsiteX4095" fmla="*/ 2679937 w 8267681"/>
              <a:gd name="connsiteY4095" fmla="*/ 3917721 h 6698675"/>
              <a:gd name="connsiteX4096" fmla="*/ 1092166 w 8267681"/>
              <a:gd name="connsiteY4096" fmla="*/ 3917721 h 6698675"/>
              <a:gd name="connsiteX4097" fmla="*/ 1085119 w 8267681"/>
              <a:gd name="connsiteY4097" fmla="*/ 3924767 h 6698675"/>
              <a:gd name="connsiteX4098" fmla="*/ 1094516 w 8267681"/>
              <a:gd name="connsiteY4098" fmla="*/ 3920070 h 6698675"/>
              <a:gd name="connsiteX4099" fmla="*/ 845543 w 8267681"/>
              <a:gd name="connsiteY4099" fmla="*/ 3917721 h 6698675"/>
              <a:gd name="connsiteX4100" fmla="*/ 838500 w 8267681"/>
              <a:gd name="connsiteY4100" fmla="*/ 3920070 h 6698675"/>
              <a:gd name="connsiteX4101" fmla="*/ 854942 w 8267681"/>
              <a:gd name="connsiteY4101" fmla="*/ 3929465 h 6698675"/>
              <a:gd name="connsiteX4102" fmla="*/ 847892 w 8267681"/>
              <a:gd name="connsiteY4102" fmla="*/ 3920070 h 6698675"/>
              <a:gd name="connsiteX4103" fmla="*/ 302990 w 8267681"/>
              <a:gd name="connsiteY4103" fmla="*/ 3915371 h 6698675"/>
              <a:gd name="connsiteX4104" fmla="*/ 312384 w 8267681"/>
              <a:gd name="connsiteY4104" fmla="*/ 3915371 h 6698675"/>
              <a:gd name="connsiteX4105" fmla="*/ 317083 w 8267681"/>
              <a:gd name="connsiteY4105" fmla="*/ 3920069 h 6698675"/>
              <a:gd name="connsiteX4106" fmla="*/ 314733 w 8267681"/>
              <a:gd name="connsiteY4106" fmla="*/ 3929464 h 6698675"/>
              <a:gd name="connsiteX4107" fmla="*/ 307685 w 8267681"/>
              <a:gd name="connsiteY4107" fmla="*/ 3929464 h 6698675"/>
              <a:gd name="connsiteX4108" fmla="*/ 300640 w 8267681"/>
              <a:gd name="connsiteY4108" fmla="*/ 3920069 h 6698675"/>
              <a:gd name="connsiteX4109" fmla="*/ 302990 w 8267681"/>
              <a:gd name="connsiteY4109" fmla="*/ 3915371 h 6698675"/>
              <a:gd name="connsiteX4110" fmla="*/ 770398 w 8267681"/>
              <a:gd name="connsiteY4110" fmla="*/ 3908325 h 6698675"/>
              <a:gd name="connsiteX4111" fmla="*/ 777446 w 8267681"/>
              <a:gd name="connsiteY4111" fmla="*/ 3910675 h 6698675"/>
              <a:gd name="connsiteX4112" fmla="*/ 772746 w 8267681"/>
              <a:gd name="connsiteY4112" fmla="*/ 3920070 h 6698675"/>
              <a:gd name="connsiteX4113" fmla="*/ 765696 w 8267681"/>
              <a:gd name="connsiteY4113" fmla="*/ 3936511 h 6698675"/>
              <a:gd name="connsiteX4114" fmla="*/ 751611 w 8267681"/>
              <a:gd name="connsiteY4114" fmla="*/ 3941209 h 6698675"/>
              <a:gd name="connsiteX4115" fmla="*/ 746905 w 8267681"/>
              <a:gd name="connsiteY4115" fmla="*/ 3936511 h 6698675"/>
              <a:gd name="connsiteX4116" fmla="*/ 746905 w 8267681"/>
              <a:gd name="connsiteY4116" fmla="*/ 3927116 h 6698675"/>
              <a:gd name="connsiteX4117" fmla="*/ 5749790 w 8267681"/>
              <a:gd name="connsiteY4117" fmla="*/ 3905977 h 6698675"/>
              <a:gd name="connsiteX4118" fmla="*/ 5752139 w 8267681"/>
              <a:gd name="connsiteY4118" fmla="*/ 3908326 h 6698675"/>
              <a:gd name="connsiteX4119" fmla="*/ 5754488 w 8267681"/>
              <a:gd name="connsiteY4119" fmla="*/ 3908326 h 6698675"/>
              <a:gd name="connsiteX4120" fmla="*/ 5754488 w 8267681"/>
              <a:gd name="connsiteY4120" fmla="*/ 3913023 h 6698675"/>
              <a:gd name="connsiteX4121" fmla="*/ 5801463 w 8267681"/>
              <a:gd name="connsiteY4121" fmla="*/ 3948255 h 6698675"/>
              <a:gd name="connsiteX4122" fmla="*/ 5775627 w 8267681"/>
              <a:gd name="connsiteY4122" fmla="*/ 3917721 h 6698675"/>
              <a:gd name="connsiteX4123" fmla="*/ 5768581 w 8267681"/>
              <a:gd name="connsiteY4123" fmla="*/ 3913023 h 6698675"/>
              <a:gd name="connsiteX4124" fmla="*/ 5749790 w 8267681"/>
              <a:gd name="connsiteY4124" fmla="*/ 3905977 h 6698675"/>
              <a:gd name="connsiteX4125" fmla="*/ 1143545 w 8267681"/>
              <a:gd name="connsiteY4125" fmla="*/ 3904802 h 6698675"/>
              <a:gd name="connsiteX4126" fmla="*/ 1146188 w 8267681"/>
              <a:gd name="connsiteY4126" fmla="*/ 3922418 h 6698675"/>
              <a:gd name="connsiteX4127" fmla="*/ 1143545 w 8267681"/>
              <a:gd name="connsiteY4127" fmla="*/ 3904802 h 6698675"/>
              <a:gd name="connsiteX4128" fmla="*/ 847892 w 8267681"/>
              <a:gd name="connsiteY4128" fmla="*/ 3901280 h 6698675"/>
              <a:gd name="connsiteX4129" fmla="*/ 852592 w 8267681"/>
              <a:gd name="connsiteY4129" fmla="*/ 3910675 h 6698675"/>
              <a:gd name="connsiteX4130" fmla="*/ 854942 w 8267681"/>
              <a:gd name="connsiteY4130" fmla="*/ 3913024 h 6698675"/>
              <a:gd name="connsiteX4131" fmla="*/ 854942 w 8267681"/>
              <a:gd name="connsiteY4131" fmla="*/ 3901280 h 6698675"/>
              <a:gd name="connsiteX4132" fmla="*/ 735168 w 8267681"/>
              <a:gd name="connsiteY4132" fmla="*/ 3901279 h 6698675"/>
              <a:gd name="connsiteX4133" fmla="*/ 746906 w 8267681"/>
              <a:gd name="connsiteY4133" fmla="*/ 3910674 h 6698675"/>
              <a:gd name="connsiteX4134" fmla="*/ 728118 w 8267681"/>
              <a:gd name="connsiteY4134" fmla="*/ 3931813 h 6698675"/>
              <a:gd name="connsiteX4135" fmla="*/ 711675 w 8267681"/>
              <a:gd name="connsiteY4135" fmla="*/ 3927115 h 6698675"/>
              <a:gd name="connsiteX4136" fmla="*/ 709328 w 8267681"/>
              <a:gd name="connsiteY4136" fmla="*/ 3915372 h 6698675"/>
              <a:gd name="connsiteX4137" fmla="*/ 735168 w 8267681"/>
              <a:gd name="connsiteY4137" fmla="*/ 3901279 h 6698675"/>
              <a:gd name="connsiteX4138" fmla="*/ 6146735 w 8267681"/>
              <a:gd name="connsiteY4138" fmla="*/ 3898930 h 6698675"/>
              <a:gd name="connsiteX4139" fmla="*/ 6172572 w 8267681"/>
              <a:gd name="connsiteY4139" fmla="*/ 3941209 h 6698675"/>
              <a:gd name="connsiteX4140" fmla="*/ 6177269 w 8267681"/>
              <a:gd name="connsiteY4140" fmla="*/ 3941209 h 6698675"/>
              <a:gd name="connsiteX4141" fmla="*/ 6146735 w 8267681"/>
              <a:gd name="connsiteY4141" fmla="*/ 3898930 h 6698675"/>
              <a:gd name="connsiteX4142" fmla="*/ 1463283 w 8267681"/>
              <a:gd name="connsiteY4142" fmla="*/ 3891884 h 6698675"/>
              <a:gd name="connsiteX4143" fmla="*/ 1472682 w 8267681"/>
              <a:gd name="connsiteY4143" fmla="*/ 3896582 h 6698675"/>
              <a:gd name="connsiteX4144" fmla="*/ 1467982 w 8267681"/>
              <a:gd name="connsiteY4144" fmla="*/ 3903628 h 6698675"/>
              <a:gd name="connsiteX4145" fmla="*/ 1463283 w 8267681"/>
              <a:gd name="connsiteY4145" fmla="*/ 3905977 h 6698675"/>
              <a:gd name="connsiteX4146" fmla="*/ 744560 w 8267681"/>
              <a:gd name="connsiteY4146" fmla="*/ 3887186 h 6698675"/>
              <a:gd name="connsiteX4147" fmla="*/ 749256 w 8267681"/>
              <a:gd name="connsiteY4147" fmla="*/ 3894232 h 6698675"/>
              <a:gd name="connsiteX4148" fmla="*/ 744560 w 8267681"/>
              <a:gd name="connsiteY4148" fmla="*/ 3901279 h 6698675"/>
              <a:gd name="connsiteX4149" fmla="*/ 737513 w 8267681"/>
              <a:gd name="connsiteY4149" fmla="*/ 3894232 h 6698675"/>
              <a:gd name="connsiteX4150" fmla="*/ 2686984 w 8267681"/>
              <a:gd name="connsiteY4150" fmla="*/ 3882489 h 6698675"/>
              <a:gd name="connsiteX4151" fmla="*/ 2672891 w 8267681"/>
              <a:gd name="connsiteY4151" fmla="*/ 3903628 h 6698675"/>
              <a:gd name="connsiteX4152" fmla="*/ 2686984 w 8267681"/>
              <a:gd name="connsiteY4152" fmla="*/ 3920070 h 6698675"/>
              <a:gd name="connsiteX4153" fmla="*/ 2696379 w 8267681"/>
              <a:gd name="connsiteY4153" fmla="*/ 3891884 h 6698675"/>
              <a:gd name="connsiteX4154" fmla="*/ 2686984 w 8267681"/>
              <a:gd name="connsiteY4154" fmla="*/ 3882489 h 6698675"/>
              <a:gd name="connsiteX4155" fmla="*/ 650613 w 8267681"/>
              <a:gd name="connsiteY4155" fmla="*/ 3880140 h 6698675"/>
              <a:gd name="connsiteX4156" fmla="*/ 657655 w 8267681"/>
              <a:gd name="connsiteY4156" fmla="*/ 3884838 h 6698675"/>
              <a:gd name="connsiteX4157" fmla="*/ 650613 w 8267681"/>
              <a:gd name="connsiteY4157" fmla="*/ 3889535 h 6698675"/>
              <a:gd name="connsiteX4158" fmla="*/ 648263 w 8267681"/>
              <a:gd name="connsiteY4158" fmla="*/ 3882489 h 6698675"/>
              <a:gd name="connsiteX4159" fmla="*/ 5913724 w 8267681"/>
              <a:gd name="connsiteY4159" fmla="*/ 3877191 h 6698675"/>
              <a:gd name="connsiteX4160" fmla="*/ 5914206 w 8267681"/>
              <a:gd name="connsiteY4160" fmla="*/ 3882489 h 6698675"/>
              <a:gd name="connsiteX4161" fmla="*/ 5913724 w 8267681"/>
              <a:gd name="connsiteY4161" fmla="*/ 3877191 h 6698675"/>
              <a:gd name="connsiteX4162" fmla="*/ 1075724 w 8267681"/>
              <a:gd name="connsiteY4162" fmla="*/ 3870745 h 6698675"/>
              <a:gd name="connsiteX4163" fmla="*/ 1068681 w 8267681"/>
              <a:gd name="connsiteY4163" fmla="*/ 3873094 h 6698675"/>
              <a:gd name="connsiteX4164" fmla="*/ 1059282 w 8267681"/>
              <a:gd name="connsiteY4164" fmla="*/ 3884838 h 6698675"/>
              <a:gd name="connsiteX4165" fmla="*/ 1052238 w 8267681"/>
              <a:gd name="connsiteY4165" fmla="*/ 3889536 h 6698675"/>
              <a:gd name="connsiteX4166" fmla="*/ 1056934 w 8267681"/>
              <a:gd name="connsiteY4166" fmla="*/ 3896582 h 6698675"/>
              <a:gd name="connsiteX4167" fmla="*/ 1085119 w 8267681"/>
              <a:gd name="connsiteY4167" fmla="*/ 3882489 h 6698675"/>
              <a:gd name="connsiteX4168" fmla="*/ 1075724 w 8267681"/>
              <a:gd name="connsiteY4168" fmla="*/ 3870745 h 6698675"/>
              <a:gd name="connsiteX4169" fmla="*/ 1507909 w 8267681"/>
              <a:gd name="connsiteY4169" fmla="*/ 3866047 h 6698675"/>
              <a:gd name="connsiteX4170" fmla="*/ 1522004 w 8267681"/>
              <a:gd name="connsiteY4170" fmla="*/ 3875442 h 6698675"/>
              <a:gd name="connsiteX4171" fmla="*/ 1514956 w 8267681"/>
              <a:gd name="connsiteY4171" fmla="*/ 3880140 h 6698675"/>
              <a:gd name="connsiteX4172" fmla="*/ 627128 w 8267681"/>
              <a:gd name="connsiteY4172" fmla="*/ 3861350 h 6698675"/>
              <a:gd name="connsiteX4173" fmla="*/ 634173 w 8267681"/>
              <a:gd name="connsiteY4173" fmla="*/ 3866048 h 6698675"/>
              <a:gd name="connsiteX4174" fmla="*/ 627128 w 8267681"/>
              <a:gd name="connsiteY4174" fmla="*/ 3875443 h 6698675"/>
              <a:gd name="connsiteX4175" fmla="*/ 620080 w 8267681"/>
              <a:gd name="connsiteY4175" fmla="*/ 3866048 h 6698675"/>
              <a:gd name="connsiteX4176" fmla="*/ 2665845 w 8267681"/>
              <a:gd name="connsiteY4176" fmla="*/ 3859002 h 6698675"/>
              <a:gd name="connsiteX4177" fmla="*/ 2649403 w 8267681"/>
              <a:gd name="connsiteY4177" fmla="*/ 3880140 h 6698675"/>
              <a:gd name="connsiteX4178" fmla="*/ 2661147 w 8267681"/>
              <a:gd name="connsiteY4178" fmla="*/ 3891884 h 6698675"/>
              <a:gd name="connsiteX4179" fmla="*/ 2675240 w 8267681"/>
              <a:gd name="connsiteY4179" fmla="*/ 3866048 h 6698675"/>
              <a:gd name="connsiteX4180" fmla="*/ 2665845 w 8267681"/>
              <a:gd name="connsiteY4180" fmla="*/ 3859002 h 6698675"/>
              <a:gd name="connsiteX4181" fmla="*/ 716375 w 8267681"/>
              <a:gd name="connsiteY4181" fmla="*/ 3854303 h 6698675"/>
              <a:gd name="connsiteX4182" fmla="*/ 718721 w 8267681"/>
              <a:gd name="connsiteY4182" fmla="*/ 3856652 h 6698675"/>
              <a:gd name="connsiteX4183" fmla="*/ 723419 w 8267681"/>
              <a:gd name="connsiteY4183" fmla="*/ 3866047 h 6698675"/>
              <a:gd name="connsiteX4184" fmla="*/ 718721 w 8267681"/>
              <a:gd name="connsiteY4184" fmla="*/ 3873093 h 6698675"/>
              <a:gd name="connsiteX4185" fmla="*/ 706979 w 8267681"/>
              <a:gd name="connsiteY4185" fmla="*/ 3863698 h 6698675"/>
              <a:gd name="connsiteX4186" fmla="*/ 716375 w 8267681"/>
              <a:gd name="connsiteY4186" fmla="*/ 3854303 h 6698675"/>
              <a:gd name="connsiteX4187" fmla="*/ 676448 w 8267681"/>
              <a:gd name="connsiteY4187" fmla="*/ 3849607 h 6698675"/>
              <a:gd name="connsiteX4188" fmla="*/ 671747 w 8267681"/>
              <a:gd name="connsiteY4188" fmla="*/ 3859002 h 6698675"/>
              <a:gd name="connsiteX4189" fmla="*/ 676448 w 8267681"/>
              <a:gd name="connsiteY4189" fmla="*/ 3863700 h 6698675"/>
              <a:gd name="connsiteX4190" fmla="*/ 685840 w 8267681"/>
              <a:gd name="connsiteY4190" fmla="*/ 3859002 h 6698675"/>
              <a:gd name="connsiteX4191" fmla="*/ 5697677 w 8267681"/>
              <a:gd name="connsiteY4191" fmla="*/ 3841973 h 6698675"/>
              <a:gd name="connsiteX4192" fmla="*/ 5691071 w 8267681"/>
              <a:gd name="connsiteY4192" fmla="*/ 3847257 h 6698675"/>
              <a:gd name="connsiteX4193" fmla="*/ 5697677 w 8267681"/>
              <a:gd name="connsiteY4193" fmla="*/ 3841973 h 6698675"/>
              <a:gd name="connsiteX4194" fmla="*/ 1202558 w 8267681"/>
              <a:gd name="connsiteY4194" fmla="*/ 3837863 h 6698675"/>
              <a:gd name="connsiteX4195" fmla="*/ 1195514 w 8267681"/>
              <a:gd name="connsiteY4195" fmla="*/ 3840211 h 6698675"/>
              <a:gd name="connsiteX4196" fmla="*/ 1202558 w 8267681"/>
              <a:gd name="connsiteY4196" fmla="*/ 3849607 h 6698675"/>
              <a:gd name="connsiteX4197" fmla="*/ 2541359 w 8267681"/>
              <a:gd name="connsiteY4197" fmla="*/ 3830816 h 6698675"/>
              <a:gd name="connsiteX4198" fmla="*/ 2536662 w 8267681"/>
              <a:gd name="connsiteY4198" fmla="*/ 3835514 h 6698675"/>
              <a:gd name="connsiteX4199" fmla="*/ 2543709 w 8267681"/>
              <a:gd name="connsiteY4199" fmla="*/ 3835514 h 6698675"/>
              <a:gd name="connsiteX4200" fmla="*/ 2541359 w 8267681"/>
              <a:gd name="connsiteY4200" fmla="*/ 3830816 h 6698675"/>
              <a:gd name="connsiteX4201" fmla="*/ 3304712 w 8267681"/>
              <a:gd name="connsiteY4201" fmla="*/ 3826119 h 6698675"/>
              <a:gd name="connsiteX4202" fmla="*/ 3088625 w 8267681"/>
              <a:gd name="connsiteY4202" fmla="*/ 4056299 h 6698675"/>
              <a:gd name="connsiteX4203" fmla="*/ 3267132 w 8267681"/>
              <a:gd name="connsiteY4203" fmla="*/ 3898931 h 6698675"/>
              <a:gd name="connsiteX4204" fmla="*/ 3229551 w 8267681"/>
              <a:gd name="connsiteY4204" fmla="*/ 3971743 h 6698675"/>
              <a:gd name="connsiteX4205" fmla="*/ 3236598 w 8267681"/>
              <a:gd name="connsiteY4205" fmla="*/ 3988184 h 6698675"/>
              <a:gd name="connsiteX4206" fmla="*/ 3253039 w 8267681"/>
              <a:gd name="connsiteY4206" fmla="*/ 3934162 h 6698675"/>
              <a:gd name="connsiteX4207" fmla="*/ 3304712 w 8267681"/>
              <a:gd name="connsiteY4207" fmla="*/ 3826119 h 6698675"/>
              <a:gd name="connsiteX4208" fmla="*/ 357011 w 8267681"/>
              <a:gd name="connsiteY4208" fmla="*/ 3826118 h 6698675"/>
              <a:gd name="connsiteX4209" fmla="*/ 359361 w 8267681"/>
              <a:gd name="connsiteY4209" fmla="*/ 3830816 h 6698675"/>
              <a:gd name="connsiteX4210" fmla="*/ 357011 w 8267681"/>
              <a:gd name="connsiteY4210" fmla="*/ 3840211 h 6698675"/>
              <a:gd name="connsiteX4211" fmla="*/ 354661 w 8267681"/>
              <a:gd name="connsiteY4211" fmla="*/ 3842559 h 6698675"/>
              <a:gd name="connsiteX4212" fmla="*/ 345268 w 8267681"/>
              <a:gd name="connsiteY4212" fmla="*/ 3844908 h 6698675"/>
              <a:gd name="connsiteX4213" fmla="*/ 342918 w 8267681"/>
              <a:gd name="connsiteY4213" fmla="*/ 3840211 h 6698675"/>
              <a:gd name="connsiteX4214" fmla="*/ 347618 w 8267681"/>
              <a:gd name="connsiteY4214" fmla="*/ 3833164 h 6698675"/>
              <a:gd name="connsiteX4215" fmla="*/ 349963 w 8267681"/>
              <a:gd name="connsiteY4215" fmla="*/ 3830816 h 6698675"/>
              <a:gd name="connsiteX4216" fmla="*/ 5918903 w 8267681"/>
              <a:gd name="connsiteY4216" fmla="*/ 3823770 h 6698675"/>
              <a:gd name="connsiteX4217" fmla="*/ 5914206 w 8267681"/>
              <a:gd name="connsiteY4217" fmla="*/ 3835513 h 6698675"/>
              <a:gd name="connsiteX4218" fmla="*/ 5925950 w 8267681"/>
              <a:gd name="connsiteY4218" fmla="*/ 3840211 h 6698675"/>
              <a:gd name="connsiteX4219" fmla="*/ 5930647 w 8267681"/>
              <a:gd name="connsiteY4219" fmla="*/ 3828467 h 6698675"/>
              <a:gd name="connsiteX4220" fmla="*/ 5918903 w 8267681"/>
              <a:gd name="connsiteY4220" fmla="*/ 3823770 h 6698675"/>
              <a:gd name="connsiteX4221" fmla="*/ 6332289 w 8267681"/>
              <a:gd name="connsiteY4221" fmla="*/ 3819072 h 6698675"/>
              <a:gd name="connsiteX4222" fmla="*/ 6334818 w 8267681"/>
              <a:gd name="connsiteY4222" fmla="*/ 3820156 h 6698675"/>
              <a:gd name="connsiteX4223" fmla="*/ 6336986 w 8267681"/>
              <a:gd name="connsiteY4223" fmla="*/ 3823770 h 6698675"/>
              <a:gd name="connsiteX4224" fmla="*/ 6332717 w 8267681"/>
              <a:gd name="connsiteY4224" fmla="*/ 3819857 h 6698675"/>
              <a:gd name="connsiteX4225" fmla="*/ 697584 w 8267681"/>
              <a:gd name="connsiteY4225" fmla="*/ 3814375 h 6698675"/>
              <a:gd name="connsiteX4226" fmla="*/ 699935 w 8267681"/>
              <a:gd name="connsiteY4226" fmla="*/ 3816723 h 6698675"/>
              <a:gd name="connsiteX4227" fmla="*/ 695234 w 8267681"/>
              <a:gd name="connsiteY4227" fmla="*/ 3826120 h 6698675"/>
              <a:gd name="connsiteX4228" fmla="*/ 692886 w 8267681"/>
              <a:gd name="connsiteY4228" fmla="*/ 3868397 h 6698675"/>
              <a:gd name="connsiteX4229" fmla="*/ 683493 w 8267681"/>
              <a:gd name="connsiteY4229" fmla="*/ 3877793 h 6698675"/>
              <a:gd name="connsiteX4230" fmla="*/ 674098 w 8267681"/>
              <a:gd name="connsiteY4230" fmla="*/ 3875444 h 6698675"/>
              <a:gd name="connsiteX4231" fmla="*/ 662355 w 8267681"/>
              <a:gd name="connsiteY4231" fmla="*/ 3859002 h 6698675"/>
              <a:gd name="connsiteX4232" fmla="*/ 669400 w 8267681"/>
              <a:gd name="connsiteY4232" fmla="*/ 3840212 h 6698675"/>
              <a:gd name="connsiteX4233" fmla="*/ 671747 w 8267681"/>
              <a:gd name="connsiteY4233" fmla="*/ 3840212 h 6698675"/>
              <a:gd name="connsiteX4234" fmla="*/ 676448 w 8267681"/>
              <a:gd name="connsiteY4234" fmla="*/ 3833166 h 6698675"/>
              <a:gd name="connsiteX4235" fmla="*/ 671747 w 8267681"/>
              <a:gd name="connsiteY4235" fmla="*/ 3823771 h 6698675"/>
              <a:gd name="connsiteX4236" fmla="*/ 697584 w 8267681"/>
              <a:gd name="connsiteY4236" fmla="*/ 3814375 h 6698675"/>
              <a:gd name="connsiteX4237" fmla="*/ 1550189 w 8267681"/>
              <a:gd name="connsiteY4237" fmla="*/ 3814374 h 6698675"/>
              <a:gd name="connsiteX4238" fmla="*/ 1554887 w 8267681"/>
              <a:gd name="connsiteY4238" fmla="*/ 3828467 h 6698675"/>
              <a:gd name="connsiteX4239" fmla="*/ 1543145 w 8267681"/>
              <a:gd name="connsiteY4239" fmla="*/ 3821420 h 6698675"/>
              <a:gd name="connsiteX4240" fmla="*/ 1550189 w 8267681"/>
              <a:gd name="connsiteY4240" fmla="*/ 3814374 h 6698675"/>
              <a:gd name="connsiteX4241" fmla="*/ 2564847 w 8267681"/>
              <a:gd name="connsiteY4241" fmla="*/ 3812026 h 6698675"/>
              <a:gd name="connsiteX4242" fmla="*/ 2574242 w 8267681"/>
              <a:gd name="connsiteY4242" fmla="*/ 3842560 h 6698675"/>
              <a:gd name="connsiteX4243" fmla="*/ 2618869 w 8267681"/>
              <a:gd name="connsiteY4243" fmla="*/ 3861350 h 6698675"/>
              <a:gd name="connsiteX4244" fmla="*/ 2625916 w 8267681"/>
              <a:gd name="connsiteY4244" fmla="*/ 3851955 h 6698675"/>
              <a:gd name="connsiteX4245" fmla="*/ 2616520 w 8267681"/>
              <a:gd name="connsiteY4245" fmla="*/ 3847258 h 6698675"/>
              <a:gd name="connsiteX4246" fmla="*/ 2616520 w 8267681"/>
              <a:gd name="connsiteY4246" fmla="*/ 3851955 h 6698675"/>
              <a:gd name="connsiteX4247" fmla="*/ 2609474 w 8267681"/>
              <a:gd name="connsiteY4247" fmla="*/ 3844909 h 6698675"/>
              <a:gd name="connsiteX4248" fmla="*/ 2604776 w 8267681"/>
              <a:gd name="connsiteY4248" fmla="*/ 3840211 h 6698675"/>
              <a:gd name="connsiteX4249" fmla="*/ 2581289 w 8267681"/>
              <a:gd name="connsiteY4249" fmla="*/ 3816723 h 6698675"/>
              <a:gd name="connsiteX4250" fmla="*/ 2564847 w 8267681"/>
              <a:gd name="connsiteY4250" fmla="*/ 3812026 h 6698675"/>
              <a:gd name="connsiteX4251" fmla="*/ 2442711 w 8267681"/>
              <a:gd name="connsiteY4251" fmla="*/ 3807328 h 6698675"/>
              <a:gd name="connsiteX4252" fmla="*/ 2430967 w 8267681"/>
              <a:gd name="connsiteY4252" fmla="*/ 3819072 h 6698675"/>
              <a:gd name="connsiteX4253" fmla="*/ 2430967 w 8267681"/>
              <a:gd name="connsiteY4253" fmla="*/ 3809677 h 6698675"/>
              <a:gd name="connsiteX4254" fmla="*/ 2423920 w 8267681"/>
              <a:gd name="connsiteY4254" fmla="*/ 3844909 h 6698675"/>
              <a:gd name="connsiteX4255" fmla="*/ 2452106 w 8267681"/>
              <a:gd name="connsiteY4255" fmla="*/ 3837863 h 6698675"/>
              <a:gd name="connsiteX4256" fmla="*/ 2442711 w 8267681"/>
              <a:gd name="connsiteY4256" fmla="*/ 3807328 h 6698675"/>
              <a:gd name="connsiteX4257" fmla="*/ 1150886 w 8267681"/>
              <a:gd name="connsiteY4257" fmla="*/ 3807328 h 6698675"/>
              <a:gd name="connsiteX4258" fmla="*/ 1141494 w 8267681"/>
              <a:gd name="connsiteY4258" fmla="*/ 3809677 h 6698675"/>
              <a:gd name="connsiteX4259" fmla="*/ 1132095 w 8267681"/>
              <a:gd name="connsiteY4259" fmla="*/ 3812026 h 6698675"/>
              <a:gd name="connsiteX4260" fmla="*/ 1129746 w 8267681"/>
              <a:gd name="connsiteY4260" fmla="*/ 3814375 h 6698675"/>
              <a:gd name="connsiteX4261" fmla="*/ 1132095 w 8267681"/>
              <a:gd name="connsiteY4261" fmla="*/ 3819072 h 6698675"/>
              <a:gd name="connsiteX4262" fmla="*/ 1141494 w 8267681"/>
              <a:gd name="connsiteY4262" fmla="*/ 3819072 h 6698675"/>
              <a:gd name="connsiteX4263" fmla="*/ 1150886 w 8267681"/>
              <a:gd name="connsiteY4263" fmla="*/ 3821421 h 6698675"/>
              <a:gd name="connsiteX4264" fmla="*/ 1155587 w 8267681"/>
              <a:gd name="connsiteY4264" fmla="*/ 3812026 h 6698675"/>
              <a:gd name="connsiteX4265" fmla="*/ 2466198 w 8267681"/>
              <a:gd name="connsiteY4265" fmla="*/ 3804980 h 6698675"/>
              <a:gd name="connsiteX4266" fmla="*/ 2449757 w 8267681"/>
              <a:gd name="connsiteY4266" fmla="*/ 3807328 h 6698675"/>
              <a:gd name="connsiteX4267" fmla="*/ 2456803 w 8267681"/>
              <a:gd name="connsiteY4267" fmla="*/ 3837863 h 6698675"/>
              <a:gd name="connsiteX4268" fmla="*/ 2470896 w 8267681"/>
              <a:gd name="connsiteY4268" fmla="*/ 3835514 h 6698675"/>
              <a:gd name="connsiteX4269" fmla="*/ 2466198 w 8267681"/>
              <a:gd name="connsiteY4269" fmla="*/ 3804980 h 6698675"/>
              <a:gd name="connsiteX4270" fmla="*/ 988835 w 8267681"/>
              <a:gd name="connsiteY4270" fmla="*/ 3802630 h 6698675"/>
              <a:gd name="connsiteX4271" fmla="*/ 1007622 w 8267681"/>
              <a:gd name="connsiteY4271" fmla="*/ 3814375 h 6698675"/>
              <a:gd name="connsiteX4272" fmla="*/ 1005277 w 8267681"/>
              <a:gd name="connsiteY4272" fmla="*/ 3830816 h 6698675"/>
              <a:gd name="connsiteX4273" fmla="*/ 998228 w 8267681"/>
              <a:gd name="connsiteY4273" fmla="*/ 3835514 h 6698675"/>
              <a:gd name="connsiteX4274" fmla="*/ 991185 w 8267681"/>
              <a:gd name="connsiteY4274" fmla="*/ 3830816 h 6698675"/>
              <a:gd name="connsiteX4275" fmla="*/ 963000 w 8267681"/>
              <a:gd name="connsiteY4275" fmla="*/ 3821421 h 6698675"/>
              <a:gd name="connsiteX4276" fmla="*/ 965350 w 8267681"/>
              <a:gd name="connsiteY4276" fmla="*/ 3814375 h 6698675"/>
              <a:gd name="connsiteX4277" fmla="*/ 3560729 w 8267681"/>
              <a:gd name="connsiteY4277" fmla="*/ 3800282 h 6698675"/>
              <a:gd name="connsiteX4278" fmla="*/ 3478522 w 8267681"/>
              <a:gd name="connsiteY4278" fmla="*/ 3882489 h 6698675"/>
              <a:gd name="connsiteX4279" fmla="*/ 3560729 w 8267681"/>
              <a:gd name="connsiteY4279" fmla="*/ 3800282 h 6698675"/>
              <a:gd name="connsiteX4280" fmla="*/ 746906 w 8267681"/>
              <a:gd name="connsiteY4280" fmla="*/ 3795584 h 6698675"/>
              <a:gd name="connsiteX4281" fmla="*/ 751611 w 8267681"/>
              <a:gd name="connsiteY4281" fmla="*/ 3809678 h 6698675"/>
              <a:gd name="connsiteX4282" fmla="*/ 746906 w 8267681"/>
              <a:gd name="connsiteY4282" fmla="*/ 3821421 h 6698675"/>
              <a:gd name="connsiteX4283" fmla="*/ 760999 w 8267681"/>
              <a:gd name="connsiteY4283" fmla="*/ 3837863 h 6698675"/>
              <a:gd name="connsiteX4284" fmla="*/ 749256 w 8267681"/>
              <a:gd name="connsiteY4284" fmla="*/ 3854305 h 6698675"/>
              <a:gd name="connsiteX4285" fmla="*/ 744560 w 8267681"/>
              <a:gd name="connsiteY4285" fmla="*/ 3859002 h 6698675"/>
              <a:gd name="connsiteX4286" fmla="*/ 737513 w 8267681"/>
              <a:gd name="connsiteY4286" fmla="*/ 3854305 h 6698675"/>
              <a:gd name="connsiteX4287" fmla="*/ 711675 w 8267681"/>
              <a:gd name="connsiteY4287" fmla="*/ 3844909 h 6698675"/>
              <a:gd name="connsiteX4288" fmla="*/ 732818 w 8267681"/>
              <a:gd name="connsiteY4288" fmla="*/ 3828468 h 6698675"/>
              <a:gd name="connsiteX4289" fmla="*/ 737513 w 8267681"/>
              <a:gd name="connsiteY4289" fmla="*/ 3797933 h 6698675"/>
              <a:gd name="connsiteX4290" fmla="*/ 746906 w 8267681"/>
              <a:gd name="connsiteY4290" fmla="*/ 3795584 h 6698675"/>
              <a:gd name="connsiteX4291" fmla="*/ 4722201 w 8267681"/>
              <a:gd name="connsiteY4291" fmla="*/ 3795291 h 6698675"/>
              <a:gd name="connsiteX4292" fmla="*/ 4718677 w 8267681"/>
              <a:gd name="connsiteY4292" fmla="*/ 3797933 h 6698675"/>
              <a:gd name="connsiteX4293" fmla="*/ 4725723 w 8267681"/>
              <a:gd name="connsiteY4293" fmla="*/ 3797933 h 6698675"/>
              <a:gd name="connsiteX4294" fmla="*/ 4722201 w 8267681"/>
              <a:gd name="connsiteY4294" fmla="*/ 3795291 h 6698675"/>
              <a:gd name="connsiteX4295" fmla="*/ 5844989 w 8267681"/>
              <a:gd name="connsiteY4295" fmla="*/ 3794080 h 6698675"/>
              <a:gd name="connsiteX4296" fmla="*/ 5839044 w 8267681"/>
              <a:gd name="connsiteY4296" fmla="*/ 3804979 h 6698675"/>
              <a:gd name="connsiteX4297" fmla="*/ 5844989 w 8267681"/>
              <a:gd name="connsiteY4297" fmla="*/ 3794080 h 6698675"/>
              <a:gd name="connsiteX4298" fmla="*/ 5914609 w 8267681"/>
              <a:gd name="connsiteY4298" fmla="*/ 3794079 h 6698675"/>
              <a:gd name="connsiteX4299" fmla="*/ 5918903 w 8267681"/>
              <a:gd name="connsiteY4299" fmla="*/ 3804979 h 6698675"/>
              <a:gd name="connsiteX4300" fmla="*/ 5914609 w 8267681"/>
              <a:gd name="connsiteY4300" fmla="*/ 3794079 h 6698675"/>
              <a:gd name="connsiteX4301" fmla="*/ 4760955 w 8267681"/>
              <a:gd name="connsiteY4301" fmla="*/ 3790887 h 6698675"/>
              <a:gd name="connsiteX4302" fmla="*/ 4760955 w 8267681"/>
              <a:gd name="connsiteY4302" fmla="*/ 3795585 h 6698675"/>
              <a:gd name="connsiteX4303" fmla="*/ 4775048 w 8267681"/>
              <a:gd name="connsiteY4303" fmla="*/ 3795585 h 6698675"/>
              <a:gd name="connsiteX4304" fmla="*/ 4777397 w 8267681"/>
              <a:gd name="connsiteY4304" fmla="*/ 3795585 h 6698675"/>
              <a:gd name="connsiteX4305" fmla="*/ 4760955 w 8267681"/>
              <a:gd name="connsiteY4305" fmla="*/ 3790887 h 6698675"/>
              <a:gd name="connsiteX4306" fmla="*/ 5796284 w 8267681"/>
              <a:gd name="connsiteY4306" fmla="*/ 3783240 h 6698675"/>
              <a:gd name="connsiteX4307" fmla="*/ 5796766 w 8267681"/>
              <a:gd name="connsiteY4307" fmla="*/ 3788538 h 6698675"/>
              <a:gd name="connsiteX4308" fmla="*/ 5796284 w 8267681"/>
              <a:gd name="connsiteY4308" fmla="*/ 3783240 h 6698675"/>
              <a:gd name="connsiteX4309" fmla="*/ 4730421 w 8267681"/>
              <a:gd name="connsiteY4309" fmla="*/ 3781492 h 6698675"/>
              <a:gd name="connsiteX4310" fmla="*/ 4725723 w 8267681"/>
              <a:gd name="connsiteY4310" fmla="*/ 3795585 h 6698675"/>
              <a:gd name="connsiteX4311" fmla="*/ 4746862 w 8267681"/>
              <a:gd name="connsiteY4311" fmla="*/ 3795585 h 6698675"/>
              <a:gd name="connsiteX4312" fmla="*/ 4730421 w 8267681"/>
              <a:gd name="connsiteY4312" fmla="*/ 3781492 h 6698675"/>
              <a:gd name="connsiteX4313" fmla="*/ 213735 w 8267681"/>
              <a:gd name="connsiteY4313" fmla="*/ 3776793 h 6698675"/>
              <a:gd name="connsiteX4314" fmla="*/ 220780 w 8267681"/>
              <a:gd name="connsiteY4314" fmla="*/ 3779142 h 6698675"/>
              <a:gd name="connsiteX4315" fmla="*/ 225478 w 8267681"/>
              <a:gd name="connsiteY4315" fmla="*/ 3783839 h 6698675"/>
              <a:gd name="connsiteX4316" fmla="*/ 220780 w 8267681"/>
              <a:gd name="connsiteY4316" fmla="*/ 3786188 h 6698675"/>
              <a:gd name="connsiteX4317" fmla="*/ 211385 w 8267681"/>
              <a:gd name="connsiteY4317" fmla="*/ 3790886 h 6698675"/>
              <a:gd name="connsiteX4318" fmla="*/ 206687 w 8267681"/>
              <a:gd name="connsiteY4318" fmla="*/ 3783839 h 6698675"/>
              <a:gd name="connsiteX4319" fmla="*/ 1261277 w 8267681"/>
              <a:gd name="connsiteY4319" fmla="*/ 3774445 h 6698675"/>
              <a:gd name="connsiteX4320" fmla="*/ 1251884 w 8267681"/>
              <a:gd name="connsiteY4320" fmla="*/ 3781492 h 6698675"/>
              <a:gd name="connsiteX4321" fmla="*/ 1261277 w 8267681"/>
              <a:gd name="connsiteY4321" fmla="*/ 3786189 h 6698675"/>
              <a:gd name="connsiteX4322" fmla="*/ 1265977 w 8267681"/>
              <a:gd name="connsiteY4322" fmla="*/ 3781492 h 6698675"/>
              <a:gd name="connsiteX4323" fmla="*/ 5758085 w 8267681"/>
              <a:gd name="connsiteY4323" fmla="*/ 3772940 h 6698675"/>
              <a:gd name="connsiteX4324" fmla="*/ 5752139 w 8267681"/>
              <a:gd name="connsiteY4324" fmla="*/ 3783840 h 6698675"/>
              <a:gd name="connsiteX4325" fmla="*/ 5758085 w 8267681"/>
              <a:gd name="connsiteY4325" fmla="*/ 3772940 h 6698675"/>
              <a:gd name="connsiteX4326" fmla="*/ 5883378 w 8267681"/>
              <a:gd name="connsiteY4326" fmla="*/ 3772684 h 6698675"/>
              <a:gd name="connsiteX4327" fmla="*/ 5878974 w 8267681"/>
              <a:gd name="connsiteY4327" fmla="*/ 3788538 h 6698675"/>
              <a:gd name="connsiteX4328" fmla="*/ 5883378 w 8267681"/>
              <a:gd name="connsiteY4328" fmla="*/ 3772684 h 6698675"/>
              <a:gd name="connsiteX4329" fmla="*/ 932464 w 8267681"/>
              <a:gd name="connsiteY4329" fmla="*/ 3772096 h 6698675"/>
              <a:gd name="connsiteX4330" fmla="*/ 937159 w 8267681"/>
              <a:gd name="connsiteY4330" fmla="*/ 3779142 h 6698675"/>
              <a:gd name="connsiteX4331" fmla="*/ 932464 w 8267681"/>
              <a:gd name="connsiteY4331" fmla="*/ 3786189 h 6698675"/>
              <a:gd name="connsiteX4332" fmla="*/ 923065 w 8267681"/>
              <a:gd name="connsiteY4332" fmla="*/ 3781491 h 6698675"/>
              <a:gd name="connsiteX4333" fmla="*/ 918367 w 8267681"/>
              <a:gd name="connsiteY4333" fmla="*/ 3786189 h 6698675"/>
              <a:gd name="connsiteX4334" fmla="*/ 885486 w 8267681"/>
              <a:gd name="connsiteY4334" fmla="*/ 3793235 h 6698675"/>
              <a:gd name="connsiteX4335" fmla="*/ 880786 w 8267681"/>
              <a:gd name="connsiteY4335" fmla="*/ 3797932 h 6698675"/>
              <a:gd name="connsiteX4336" fmla="*/ 873744 w 8267681"/>
              <a:gd name="connsiteY4336" fmla="*/ 3793235 h 6698675"/>
              <a:gd name="connsiteX4337" fmla="*/ 880786 w 8267681"/>
              <a:gd name="connsiteY4337" fmla="*/ 3774445 h 6698675"/>
              <a:gd name="connsiteX4338" fmla="*/ 906625 w 8267681"/>
              <a:gd name="connsiteY4338" fmla="*/ 3783840 h 6698675"/>
              <a:gd name="connsiteX4339" fmla="*/ 911322 w 8267681"/>
              <a:gd name="connsiteY4339" fmla="*/ 3776794 h 6698675"/>
              <a:gd name="connsiteX4340" fmla="*/ 6423890 w 8267681"/>
              <a:gd name="connsiteY4340" fmla="*/ 3769747 h 6698675"/>
              <a:gd name="connsiteX4341" fmla="*/ 6550724 w 8267681"/>
              <a:gd name="connsiteY4341" fmla="*/ 3840211 h 6698675"/>
              <a:gd name="connsiteX4342" fmla="*/ 6423890 w 8267681"/>
              <a:gd name="connsiteY4342" fmla="*/ 3769747 h 6698675"/>
              <a:gd name="connsiteX4343" fmla="*/ 230177 w 8267681"/>
              <a:gd name="connsiteY4343" fmla="*/ 3769747 h 6698675"/>
              <a:gd name="connsiteX4344" fmla="*/ 237223 w 8267681"/>
              <a:gd name="connsiteY4344" fmla="*/ 3774445 h 6698675"/>
              <a:gd name="connsiteX4345" fmla="*/ 230177 w 8267681"/>
              <a:gd name="connsiteY4345" fmla="*/ 3781491 h 6698675"/>
              <a:gd name="connsiteX4346" fmla="*/ 223129 w 8267681"/>
              <a:gd name="connsiteY4346" fmla="*/ 3776793 h 6698675"/>
              <a:gd name="connsiteX4347" fmla="*/ 6271572 w 8267681"/>
              <a:gd name="connsiteY4347" fmla="*/ 3756595 h 6698675"/>
              <a:gd name="connsiteX4348" fmla="*/ 6280615 w 8267681"/>
              <a:gd name="connsiteY4348" fmla="*/ 3769748 h 6698675"/>
              <a:gd name="connsiteX4349" fmla="*/ 6275556 w 8267681"/>
              <a:gd name="connsiteY4349" fmla="*/ 3763425 h 6698675"/>
              <a:gd name="connsiteX4350" fmla="*/ 784488 w 8267681"/>
              <a:gd name="connsiteY4350" fmla="*/ 3755656 h 6698675"/>
              <a:gd name="connsiteX4351" fmla="*/ 798582 w 8267681"/>
              <a:gd name="connsiteY4351" fmla="*/ 3755656 h 6698675"/>
              <a:gd name="connsiteX4352" fmla="*/ 805634 w 8267681"/>
              <a:gd name="connsiteY4352" fmla="*/ 3765051 h 6698675"/>
              <a:gd name="connsiteX4353" fmla="*/ 831469 w 8267681"/>
              <a:gd name="connsiteY4353" fmla="*/ 3762702 h 6698675"/>
              <a:gd name="connsiteX4354" fmla="*/ 852609 w 8267681"/>
              <a:gd name="connsiteY4354" fmla="*/ 3774446 h 6698675"/>
              <a:gd name="connsiteX4355" fmla="*/ 847912 w 8267681"/>
              <a:gd name="connsiteY4355" fmla="*/ 3783841 h 6698675"/>
              <a:gd name="connsiteX4356" fmla="*/ 822077 w 8267681"/>
              <a:gd name="connsiteY4356" fmla="*/ 3788539 h 6698675"/>
              <a:gd name="connsiteX4357" fmla="*/ 798582 w 8267681"/>
              <a:gd name="connsiteY4357" fmla="*/ 3779144 h 6698675"/>
              <a:gd name="connsiteX4358" fmla="*/ 779790 w 8267681"/>
              <a:gd name="connsiteY4358" fmla="*/ 3790888 h 6698675"/>
              <a:gd name="connsiteX4359" fmla="*/ 770398 w 8267681"/>
              <a:gd name="connsiteY4359" fmla="*/ 3781492 h 6698675"/>
              <a:gd name="connsiteX4360" fmla="*/ 772746 w 8267681"/>
              <a:gd name="connsiteY4360" fmla="*/ 3774446 h 6698675"/>
              <a:gd name="connsiteX4361" fmla="*/ 3854326 w 8267681"/>
              <a:gd name="connsiteY4361" fmla="*/ 3755655 h 6698675"/>
              <a:gd name="connsiteX4362" fmla="*/ 3795607 w 8267681"/>
              <a:gd name="connsiteY4362" fmla="*/ 3800282 h 6698675"/>
              <a:gd name="connsiteX4363" fmla="*/ 3863722 w 8267681"/>
              <a:gd name="connsiteY4363" fmla="*/ 3779143 h 6698675"/>
              <a:gd name="connsiteX4364" fmla="*/ 3854326 w 8267681"/>
              <a:gd name="connsiteY4364" fmla="*/ 3755655 h 6698675"/>
              <a:gd name="connsiteX4365" fmla="*/ 4786792 w 8267681"/>
              <a:gd name="connsiteY4365" fmla="*/ 3753307 h 6698675"/>
              <a:gd name="connsiteX4366" fmla="*/ 4812628 w 8267681"/>
              <a:gd name="connsiteY4366" fmla="*/ 3776794 h 6698675"/>
              <a:gd name="connsiteX4367" fmla="*/ 4800884 w 8267681"/>
              <a:gd name="connsiteY4367" fmla="*/ 3753307 h 6698675"/>
              <a:gd name="connsiteX4368" fmla="*/ 4786792 w 8267681"/>
              <a:gd name="connsiteY4368" fmla="*/ 3753307 h 6698675"/>
              <a:gd name="connsiteX4369" fmla="*/ 4847860 w 8267681"/>
              <a:gd name="connsiteY4369" fmla="*/ 3746260 h 6698675"/>
              <a:gd name="connsiteX4370" fmla="*/ 4838465 w 8267681"/>
              <a:gd name="connsiteY4370" fmla="*/ 3748609 h 6698675"/>
              <a:gd name="connsiteX4371" fmla="*/ 4840813 w 8267681"/>
              <a:gd name="connsiteY4371" fmla="*/ 3750958 h 6698675"/>
              <a:gd name="connsiteX4372" fmla="*/ 4847860 w 8267681"/>
              <a:gd name="connsiteY4372" fmla="*/ 3746260 h 6698675"/>
              <a:gd name="connsiteX4373" fmla="*/ 4199597 w 8267681"/>
              <a:gd name="connsiteY4373" fmla="*/ 3746260 h 6698675"/>
              <a:gd name="connsiteX4374" fmla="*/ 4157319 w 8267681"/>
              <a:gd name="connsiteY4374" fmla="*/ 3783841 h 6698675"/>
              <a:gd name="connsiteX4375" fmla="*/ 4211341 w 8267681"/>
              <a:gd name="connsiteY4375" fmla="*/ 3833165 h 6698675"/>
              <a:gd name="connsiteX4376" fmla="*/ 4246572 w 8267681"/>
              <a:gd name="connsiteY4376" fmla="*/ 3779143 h 6698675"/>
              <a:gd name="connsiteX4377" fmla="*/ 4199597 w 8267681"/>
              <a:gd name="connsiteY4377" fmla="*/ 3746260 h 6698675"/>
              <a:gd name="connsiteX4378" fmla="*/ 3472870 w 8267681"/>
              <a:gd name="connsiteY4378" fmla="*/ 3745710 h 6698675"/>
              <a:gd name="connsiteX4379" fmla="*/ 3476173 w 8267681"/>
              <a:gd name="connsiteY4379" fmla="*/ 3753307 h 6698675"/>
              <a:gd name="connsiteX4380" fmla="*/ 3472870 w 8267681"/>
              <a:gd name="connsiteY4380" fmla="*/ 3745710 h 6698675"/>
              <a:gd name="connsiteX4381" fmla="*/ 1042856 w 8267681"/>
              <a:gd name="connsiteY4381" fmla="*/ 3741562 h 6698675"/>
              <a:gd name="connsiteX4382" fmla="*/ 1052255 w 8267681"/>
              <a:gd name="connsiteY4382" fmla="*/ 3743911 h 6698675"/>
              <a:gd name="connsiteX4383" fmla="*/ 1042856 w 8267681"/>
              <a:gd name="connsiteY4383" fmla="*/ 3755655 h 6698675"/>
              <a:gd name="connsiteX4384" fmla="*/ 1042856 w 8267681"/>
              <a:gd name="connsiteY4384" fmla="*/ 3753306 h 6698675"/>
              <a:gd name="connsiteX4385" fmla="*/ 1038157 w 8267681"/>
              <a:gd name="connsiteY4385" fmla="*/ 3746260 h 6698675"/>
              <a:gd name="connsiteX4386" fmla="*/ 6351078 w 8267681"/>
              <a:gd name="connsiteY4386" fmla="*/ 3739213 h 6698675"/>
              <a:gd name="connsiteX4387" fmla="*/ 6402752 w 8267681"/>
              <a:gd name="connsiteY4387" fmla="*/ 3743911 h 6698675"/>
              <a:gd name="connsiteX4388" fmla="*/ 6367521 w 8267681"/>
              <a:gd name="connsiteY4388" fmla="*/ 3743911 h 6698675"/>
              <a:gd name="connsiteX4389" fmla="*/ 6522540 w 8267681"/>
              <a:gd name="connsiteY4389" fmla="*/ 3851955 h 6698675"/>
              <a:gd name="connsiteX4390" fmla="*/ 6351078 w 8267681"/>
              <a:gd name="connsiteY4390" fmla="*/ 3739213 h 6698675"/>
              <a:gd name="connsiteX4391" fmla="*/ 1127412 w 8267681"/>
              <a:gd name="connsiteY4391" fmla="*/ 3739213 h 6698675"/>
              <a:gd name="connsiteX4392" fmla="*/ 1148553 w 8267681"/>
              <a:gd name="connsiteY4392" fmla="*/ 3755656 h 6698675"/>
              <a:gd name="connsiteX4393" fmla="*/ 1134461 w 8267681"/>
              <a:gd name="connsiteY4393" fmla="*/ 3772097 h 6698675"/>
              <a:gd name="connsiteX4394" fmla="*/ 1132110 w 8267681"/>
              <a:gd name="connsiteY4394" fmla="*/ 3762702 h 6698675"/>
              <a:gd name="connsiteX4395" fmla="*/ 1122714 w 8267681"/>
              <a:gd name="connsiteY4395" fmla="*/ 3746260 h 6698675"/>
              <a:gd name="connsiteX4396" fmla="*/ 1127412 w 8267681"/>
              <a:gd name="connsiteY4396" fmla="*/ 3739213 h 6698675"/>
              <a:gd name="connsiteX4397" fmla="*/ 6005808 w 8267681"/>
              <a:gd name="connsiteY4397" fmla="*/ 3725121 h 6698675"/>
              <a:gd name="connsiteX4398" fmla="*/ 6003460 w 8267681"/>
              <a:gd name="connsiteY4398" fmla="*/ 3727470 h 6698675"/>
              <a:gd name="connsiteX4399" fmla="*/ 6019901 w 8267681"/>
              <a:gd name="connsiteY4399" fmla="*/ 3743911 h 6698675"/>
              <a:gd name="connsiteX4400" fmla="*/ 6043389 w 8267681"/>
              <a:gd name="connsiteY4400" fmla="*/ 3758004 h 6698675"/>
              <a:gd name="connsiteX4401" fmla="*/ 6005808 w 8267681"/>
              <a:gd name="connsiteY4401" fmla="*/ 3725121 h 6698675"/>
              <a:gd name="connsiteX4402" fmla="*/ 6371924 w 8267681"/>
              <a:gd name="connsiteY4402" fmla="*/ 3724239 h 6698675"/>
              <a:gd name="connsiteX4403" fmla="*/ 6442681 w 8267681"/>
              <a:gd name="connsiteY4403" fmla="*/ 3725120 h 6698675"/>
              <a:gd name="connsiteX4404" fmla="*/ 6322893 w 8267681"/>
              <a:gd name="connsiteY4404" fmla="*/ 3736864 h 6698675"/>
              <a:gd name="connsiteX4405" fmla="*/ 6449727 w 8267681"/>
              <a:gd name="connsiteY4405" fmla="*/ 3819072 h 6698675"/>
              <a:gd name="connsiteX4406" fmla="*/ 6306451 w 8267681"/>
              <a:gd name="connsiteY4406" fmla="*/ 3732166 h 6698675"/>
              <a:gd name="connsiteX4407" fmla="*/ 6371924 w 8267681"/>
              <a:gd name="connsiteY4407" fmla="*/ 3724239 h 6698675"/>
              <a:gd name="connsiteX4408" fmla="*/ 6205455 w 8267681"/>
              <a:gd name="connsiteY4408" fmla="*/ 3722772 h 6698675"/>
              <a:gd name="connsiteX4409" fmla="*/ 6252430 w 8267681"/>
              <a:gd name="connsiteY4409" fmla="*/ 3760353 h 6698675"/>
              <a:gd name="connsiteX4410" fmla="*/ 6221896 w 8267681"/>
              <a:gd name="connsiteY4410" fmla="*/ 3722772 h 6698675"/>
              <a:gd name="connsiteX4411" fmla="*/ 6205455 w 8267681"/>
              <a:gd name="connsiteY4411" fmla="*/ 3722772 h 6698675"/>
              <a:gd name="connsiteX4412" fmla="*/ 1017015 w 8267681"/>
              <a:gd name="connsiteY4412" fmla="*/ 3722772 h 6698675"/>
              <a:gd name="connsiteX4413" fmla="*/ 1024062 w 8267681"/>
              <a:gd name="connsiteY4413" fmla="*/ 3727470 h 6698675"/>
              <a:gd name="connsiteX4414" fmla="*/ 1017015 w 8267681"/>
              <a:gd name="connsiteY4414" fmla="*/ 3736865 h 6698675"/>
              <a:gd name="connsiteX4415" fmla="*/ 589527 w 8267681"/>
              <a:gd name="connsiteY4415" fmla="*/ 3722772 h 6698675"/>
              <a:gd name="connsiteX4416" fmla="*/ 591875 w 8267681"/>
              <a:gd name="connsiteY4416" fmla="*/ 3732168 h 6698675"/>
              <a:gd name="connsiteX4417" fmla="*/ 573086 w 8267681"/>
              <a:gd name="connsiteY4417" fmla="*/ 3736865 h 6698675"/>
              <a:gd name="connsiteX4418" fmla="*/ 566040 w 8267681"/>
              <a:gd name="connsiteY4418" fmla="*/ 3725121 h 6698675"/>
              <a:gd name="connsiteX4419" fmla="*/ 589527 w 8267681"/>
              <a:gd name="connsiteY4419" fmla="*/ 3722772 h 6698675"/>
              <a:gd name="connsiteX4420" fmla="*/ 6266523 w 8267681"/>
              <a:gd name="connsiteY4420" fmla="*/ 3720423 h 6698675"/>
              <a:gd name="connsiteX4421" fmla="*/ 6257127 w 8267681"/>
              <a:gd name="connsiteY4421" fmla="*/ 3725121 h 6698675"/>
              <a:gd name="connsiteX4422" fmla="*/ 6292359 w 8267681"/>
              <a:gd name="connsiteY4422" fmla="*/ 3753306 h 6698675"/>
              <a:gd name="connsiteX4423" fmla="*/ 6278267 w 8267681"/>
              <a:gd name="connsiteY4423" fmla="*/ 3732167 h 6698675"/>
              <a:gd name="connsiteX4424" fmla="*/ 6264174 w 8267681"/>
              <a:gd name="connsiteY4424" fmla="*/ 3727470 h 6698675"/>
              <a:gd name="connsiteX4425" fmla="*/ 6271220 w 8267681"/>
              <a:gd name="connsiteY4425" fmla="*/ 3725121 h 6698675"/>
              <a:gd name="connsiteX4426" fmla="*/ 6266523 w 8267681"/>
              <a:gd name="connsiteY4426" fmla="*/ 3720423 h 6698675"/>
              <a:gd name="connsiteX4427" fmla="*/ 6231291 w 8267681"/>
              <a:gd name="connsiteY4427" fmla="*/ 3718075 h 6698675"/>
              <a:gd name="connsiteX4428" fmla="*/ 6226593 w 8267681"/>
              <a:gd name="connsiteY4428" fmla="*/ 3720423 h 6698675"/>
              <a:gd name="connsiteX4429" fmla="*/ 6243035 w 8267681"/>
              <a:gd name="connsiteY4429" fmla="*/ 3734516 h 6698675"/>
              <a:gd name="connsiteX4430" fmla="*/ 6235988 w 8267681"/>
              <a:gd name="connsiteY4430" fmla="*/ 3725121 h 6698675"/>
              <a:gd name="connsiteX4431" fmla="*/ 6231291 w 8267681"/>
              <a:gd name="connsiteY4431" fmla="*/ 3718075 h 6698675"/>
              <a:gd name="connsiteX4432" fmla="*/ 6238337 w 8267681"/>
              <a:gd name="connsiteY4432" fmla="*/ 3713377 h 6698675"/>
              <a:gd name="connsiteX4433" fmla="*/ 6233640 w 8267681"/>
              <a:gd name="connsiteY4433" fmla="*/ 3715726 h 6698675"/>
              <a:gd name="connsiteX4434" fmla="*/ 6240686 w 8267681"/>
              <a:gd name="connsiteY4434" fmla="*/ 3722772 h 6698675"/>
              <a:gd name="connsiteX4435" fmla="*/ 6243035 w 8267681"/>
              <a:gd name="connsiteY4435" fmla="*/ 3720423 h 6698675"/>
              <a:gd name="connsiteX4436" fmla="*/ 1127412 w 8267681"/>
              <a:gd name="connsiteY4436" fmla="*/ 3713377 h 6698675"/>
              <a:gd name="connsiteX4437" fmla="*/ 1132110 w 8267681"/>
              <a:gd name="connsiteY4437" fmla="*/ 3722772 h 6698675"/>
              <a:gd name="connsiteX4438" fmla="*/ 1125063 w 8267681"/>
              <a:gd name="connsiteY4438" fmla="*/ 3727470 h 6698675"/>
              <a:gd name="connsiteX4439" fmla="*/ 1108620 w 8267681"/>
              <a:gd name="connsiteY4439" fmla="*/ 3743911 h 6698675"/>
              <a:gd name="connsiteX4440" fmla="*/ 1101575 w 8267681"/>
              <a:gd name="connsiteY4440" fmla="*/ 3729819 h 6698675"/>
              <a:gd name="connsiteX4441" fmla="*/ 1127412 w 8267681"/>
              <a:gd name="connsiteY4441" fmla="*/ 3713377 h 6698675"/>
              <a:gd name="connsiteX4442" fmla="*/ 1305905 w 8267681"/>
              <a:gd name="connsiteY4442" fmla="*/ 3711028 h 6698675"/>
              <a:gd name="connsiteX4443" fmla="*/ 1294162 w 8267681"/>
              <a:gd name="connsiteY4443" fmla="*/ 3715726 h 6698675"/>
              <a:gd name="connsiteX4444" fmla="*/ 1284765 w 8267681"/>
              <a:gd name="connsiteY4444" fmla="*/ 3732168 h 6698675"/>
              <a:gd name="connsiteX4445" fmla="*/ 1282420 w 8267681"/>
              <a:gd name="connsiteY4445" fmla="*/ 3741563 h 6698675"/>
              <a:gd name="connsiteX4446" fmla="*/ 1287115 w 8267681"/>
              <a:gd name="connsiteY4446" fmla="*/ 3748609 h 6698675"/>
              <a:gd name="connsiteX4447" fmla="*/ 1312950 w 8267681"/>
              <a:gd name="connsiteY4447" fmla="*/ 3736865 h 6698675"/>
              <a:gd name="connsiteX4448" fmla="*/ 1315299 w 8267681"/>
              <a:gd name="connsiteY4448" fmla="*/ 3720424 h 6698675"/>
              <a:gd name="connsiteX4449" fmla="*/ 6193711 w 8267681"/>
              <a:gd name="connsiteY4449" fmla="*/ 3708680 h 6698675"/>
              <a:gd name="connsiteX4450" fmla="*/ 6172572 w 8267681"/>
              <a:gd name="connsiteY4450" fmla="*/ 3718075 h 6698675"/>
              <a:gd name="connsiteX4451" fmla="*/ 6214850 w 8267681"/>
              <a:gd name="connsiteY4451" fmla="*/ 3750957 h 6698675"/>
              <a:gd name="connsiteX4452" fmla="*/ 6186664 w 8267681"/>
              <a:gd name="connsiteY4452" fmla="*/ 3720423 h 6698675"/>
              <a:gd name="connsiteX4453" fmla="*/ 6193711 w 8267681"/>
              <a:gd name="connsiteY4453" fmla="*/ 3708680 h 6698675"/>
              <a:gd name="connsiteX4454" fmla="*/ 5700467 w 8267681"/>
              <a:gd name="connsiteY4454" fmla="*/ 3708679 h 6698675"/>
              <a:gd name="connsiteX4455" fmla="*/ 5705164 w 8267681"/>
              <a:gd name="connsiteY4455" fmla="*/ 3713377 h 6698675"/>
              <a:gd name="connsiteX4456" fmla="*/ 5695769 w 8267681"/>
              <a:gd name="connsiteY4456" fmla="*/ 3711028 h 6698675"/>
              <a:gd name="connsiteX4457" fmla="*/ 5700467 w 8267681"/>
              <a:gd name="connsiteY4457" fmla="*/ 3708679 h 6698675"/>
              <a:gd name="connsiteX4458" fmla="*/ 267756 w 8267681"/>
              <a:gd name="connsiteY4458" fmla="*/ 3706330 h 6698675"/>
              <a:gd name="connsiteX4459" fmla="*/ 281849 w 8267681"/>
              <a:gd name="connsiteY4459" fmla="*/ 3713376 h 6698675"/>
              <a:gd name="connsiteX4460" fmla="*/ 281849 w 8267681"/>
              <a:gd name="connsiteY4460" fmla="*/ 3729818 h 6698675"/>
              <a:gd name="connsiteX4461" fmla="*/ 288898 w 8267681"/>
              <a:gd name="connsiteY4461" fmla="*/ 3739213 h 6698675"/>
              <a:gd name="connsiteX4462" fmla="*/ 312384 w 8267681"/>
              <a:gd name="connsiteY4462" fmla="*/ 3748608 h 6698675"/>
              <a:gd name="connsiteX4463" fmla="*/ 349969 w 8267681"/>
              <a:gd name="connsiteY4463" fmla="*/ 3795585 h 6698675"/>
              <a:gd name="connsiteX4464" fmla="*/ 349969 w 8267681"/>
              <a:gd name="connsiteY4464" fmla="*/ 3809677 h 6698675"/>
              <a:gd name="connsiteX4465" fmla="*/ 340570 w 8267681"/>
              <a:gd name="connsiteY4465" fmla="*/ 3819073 h 6698675"/>
              <a:gd name="connsiteX4466" fmla="*/ 328825 w 8267681"/>
              <a:gd name="connsiteY4466" fmla="*/ 3842560 h 6698675"/>
              <a:gd name="connsiteX4467" fmla="*/ 331176 w 8267681"/>
              <a:gd name="connsiteY4467" fmla="*/ 3863699 h 6698675"/>
              <a:gd name="connsiteX4468" fmla="*/ 312384 w 8267681"/>
              <a:gd name="connsiteY4468" fmla="*/ 3884838 h 6698675"/>
              <a:gd name="connsiteX4469" fmla="*/ 300640 w 8267681"/>
              <a:gd name="connsiteY4469" fmla="*/ 3868397 h 6698675"/>
              <a:gd name="connsiteX4470" fmla="*/ 314733 w 8267681"/>
              <a:gd name="connsiteY4470" fmla="*/ 3851955 h 6698675"/>
              <a:gd name="connsiteX4471" fmla="*/ 298290 w 8267681"/>
              <a:gd name="connsiteY4471" fmla="*/ 3833165 h 6698675"/>
              <a:gd name="connsiteX4472" fmla="*/ 310035 w 8267681"/>
              <a:gd name="connsiteY4472" fmla="*/ 3826119 h 6698675"/>
              <a:gd name="connsiteX4473" fmla="*/ 270105 w 8267681"/>
              <a:gd name="connsiteY4473" fmla="*/ 3809677 h 6698675"/>
              <a:gd name="connsiteX4474" fmla="*/ 274805 w 8267681"/>
              <a:gd name="connsiteY4474" fmla="*/ 3786189 h 6698675"/>
              <a:gd name="connsiteX4475" fmla="*/ 260713 w 8267681"/>
              <a:gd name="connsiteY4475" fmla="*/ 3779143 h 6698675"/>
              <a:gd name="connsiteX4476" fmla="*/ 263063 w 8267681"/>
              <a:gd name="connsiteY4476" fmla="*/ 3769748 h 6698675"/>
              <a:gd name="connsiteX4477" fmla="*/ 253664 w 8267681"/>
              <a:gd name="connsiteY4477" fmla="*/ 3753306 h 6698675"/>
              <a:gd name="connsiteX4478" fmla="*/ 258363 w 8267681"/>
              <a:gd name="connsiteY4478" fmla="*/ 3736864 h 6698675"/>
              <a:gd name="connsiteX4479" fmla="*/ 256014 w 8267681"/>
              <a:gd name="connsiteY4479" fmla="*/ 3720423 h 6698675"/>
              <a:gd name="connsiteX4480" fmla="*/ 267756 w 8267681"/>
              <a:gd name="connsiteY4480" fmla="*/ 3706330 h 6698675"/>
              <a:gd name="connsiteX4481" fmla="*/ 6254779 w 8267681"/>
              <a:gd name="connsiteY4481" fmla="*/ 3703982 h 6698675"/>
              <a:gd name="connsiteX4482" fmla="*/ 6243035 w 8267681"/>
              <a:gd name="connsiteY4482" fmla="*/ 3711028 h 6698675"/>
              <a:gd name="connsiteX4483" fmla="*/ 6247732 w 8267681"/>
              <a:gd name="connsiteY4483" fmla="*/ 3718075 h 6698675"/>
              <a:gd name="connsiteX4484" fmla="*/ 6259476 w 8267681"/>
              <a:gd name="connsiteY4484" fmla="*/ 3711028 h 6698675"/>
              <a:gd name="connsiteX4485" fmla="*/ 6254779 w 8267681"/>
              <a:gd name="connsiteY4485" fmla="*/ 3703982 h 6698675"/>
              <a:gd name="connsiteX4486" fmla="*/ 178502 w 8267681"/>
              <a:gd name="connsiteY4486" fmla="*/ 3703981 h 6698675"/>
              <a:gd name="connsiteX4487" fmla="*/ 187900 w 8267681"/>
              <a:gd name="connsiteY4487" fmla="*/ 3703981 h 6698675"/>
              <a:gd name="connsiteX4488" fmla="*/ 192595 w 8267681"/>
              <a:gd name="connsiteY4488" fmla="*/ 3708679 h 6698675"/>
              <a:gd name="connsiteX4489" fmla="*/ 194944 w 8267681"/>
              <a:gd name="connsiteY4489" fmla="*/ 3718074 h 6698675"/>
              <a:gd name="connsiteX4490" fmla="*/ 187900 w 8267681"/>
              <a:gd name="connsiteY4490" fmla="*/ 3722771 h 6698675"/>
              <a:gd name="connsiteX4491" fmla="*/ 183199 w 8267681"/>
              <a:gd name="connsiteY4491" fmla="*/ 3718074 h 6698675"/>
              <a:gd name="connsiteX4492" fmla="*/ 173807 w 8267681"/>
              <a:gd name="connsiteY4492" fmla="*/ 3708679 h 6698675"/>
              <a:gd name="connsiteX4493" fmla="*/ 1164996 w 8267681"/>
              <a:gd name="connsiteY4493" fmla="*/ 3701633 h 6698675"/>
              <a:gd name="connsiteX4494" fmla="*/ 1174388 w 8267681"/>
              <a:gd name="connsiteY4494" fmla="*/ 3708679 h 6698675"/>
              <a:gd name="connsiteX4495" fmla="*/ 1176738 w 8267681"/>
              <a:gd name="connsiteY4495" fmla="*/ 3713377 h 6698675"/>
              <a:gd name="connsiteX4496" fmla="*/ 1172039 w 8267681"/>
              <a:gd name="connsiteY4496" fmla="*/ 3720423 h 6698675"/>
              <a:gd name="connsiteX4497" fmla="*/ 1155599 w 8267681"/>
              <a:gd name="connsiteY4497" fmla="*/ 3729818 h 6698675"/>
              <a:gd name="connsiteX4498" fmla="*/ 1153254 w 8267681"/>
              <a:gd name="connsiteY4498" fmla="*/ 3732167 h 6698675"/>
              <a:gd name="connsiteX4499" fmla="*/ 1143853 w 8267681"/>
              <a:gd name="connsiteY4499" fmla="*/ 3729818 h 6698675"/>
              <a:gd name="connsiteX4500" fmla="*/ 1148553 w 8267681"/>
              <a:gd name="connsiteY4500" fmla="*/ 3718074 h 6698675"/>
              <a:gd name="connsiteX4501" fmla="*/ 1885614 w 8267681"/>
              <a:gd name="connsiteY4501" fmla="*/ 3699578 h 6698675"/>
              <a:gd name="connsiteX4502" fmla="*/ 1879008 w 8267681"/>
              <a:gd name="connsiteY4502" fmla="*/ 3739214 h 6698675"/>
              <a:gd name="connsiteX4503" fmla="*/ 1911894 w 8267681"/>
              <a:gd name="connsiteY4503" fmla="*/ 3725121 h 6698675"/>
              <a:gd name="connsiteX4504" fmla="*/ 1902495 w 8267681"/>
              <a:gd name="connsiteY4504" fmla="*/ 3701633 h 6698675"/>
              <a:gd name="connsiteX4505" fmla="*/ 1885614 w 8267681"/>
              <a:gd name="connsiteY4505" fmla="*/ 3699578 h 6698675"/>
              <a:gd name="connsiteX4506" fmla="*/ 6231291 w 8267681"/>
              <a:gd name="connsiteY4506" fmla="*/ 3699284 h 6698675"/>
              <a:gd name="connsiteX4507" fmla="*/ 6224245 w 8267681"/>
              <a:gd name="connsiteY4507" fmla="*/ 3703982 h 6698675"/>
              <a:gd name="connsiteX4508" fmla="*/ 6224245 w 8267681"/>
              <a:gd name="connsiteY4508" fmla="*/ 3706331 h 6698675"/>
              <a:gd name="connsiteX4509" fmla="*/ 6221896 w 8267681"/>
              <a:gd name="connsiteY4509" fmla="*/ 3703982 h 6698675"/>
              <a:gd name="connsiteX4510" fmla="*/ 6196060 w 8267681"/>
              <a:gd name="connsiteY4510" fmla="*/ 3718075 h 6698675"/>
              <a:gd name="connsiteX4511" fmla="*/ 6226593 w 8267681"/>
              <a:gd name="connsiteY4511" fmla="*/ 3708680 h 6698675"/>
              <a:gd name="connsiteX4512" fmla="*/ 6233640 w 8267681"/>
              <a:gd name="connsiteY4512" fmla="*/ 3703982 h 6698675"/>
              <a:gd name="connsiteX4513" fmla="*/ 230177 w 8267681"/>
              <a:gd name="connsiteY4513" fmla="*/ 3694587 h 6698675"/>
              <a:gd name="connsiteX4514" fmla="*/ 234878 w 8267681"/>
              <a:gd name="connsiteY4514" fmla="*/ 3699284 h 6698675"/>
              <a:gd name="connsiteX4515" fmla="*/ 230177 w 8267681"/>
              <a:gd name="connsiteY4515" fmla="*/ 3725122 h 6698675"/>
              <a:gd name="connsiteX4516" fmla="*/ 220780 w 8267681"/>
              <a:gd name="connsiteY4516" fmla="*/ 3734517 h 6698675"/>
              <a:gd name="connsiteX4517" fmla="*/ 244270 w 8267681"/>
              <a:gd name="connsiteY4517" fmla="*/ 3743912 h 6698675"/>
              <a:gd name="connsiteX4518" fmla="*/ 239572 w 8267681"/>
              <a:gd name="connsiteY4518" fmla="*/ 3750958 h 6698675"/>
              <a:gd name="connsiteX4519" fmla="*/ 223130 w 8267681"/>
              <a:gd name="connsiteY4519" fmla="*/ 3769748 h 6698675"/>
              <a:gd name="connsiteX4520" fmla="*/ 213735 w 8267681"/>
              <a:gd name="connsiteY4520" fmla="*/ 3758005 h 6698675"/>
              <a:gd name="connsiteX4521" fmla="*/ 204338 w 8267681"/>
              <a:gd name="connsiteY4521" fmla="*/ 3762702 h 6698675"/>
              <a:gd name="connsiteX4522" fmla="*/ 201992 w 8267681"/>
              <a:gd name="connsiteY4522" fmla="*/ 3760353 h 6698675"/>
              <a:gd name="connsiteX4523" fmla="*/ 204338 w 8267681"/>
              <a:gd name="connsiteY4523" fmla="*/ 3739214 h 6698675"/>
              <a:gd name="connsiteX4524" fmla="*/ 199642 w 8267681"/>
              <a:gd name="connsiteY4524" fmla="*/ 3725122 h 6698675"/>
              <a:gd name="connsiteX4525" fmla="*/ 218435 w 8267681"/>
              <a:gd name="connsiteY4525" fmla="*/ 3699284 h 6698675"/>
              <a:gd name="connsiteX4526" fmla="*/ 230177 w 8267681"/>
              <a:gd name="connsiteY4526" fmla="*/ 3694587 h 6698675"/>
              <a:gd name="connsiteX4527" fmla="*/ 6245383 w 8267681"/>
              <a:gd name="connsiteY4527" fmla="*/ 3689889 h 6698675"/>
              <a:gd name="connsiteX4528" fmla="*/ 6233640 w 8267681"/>
              <a:gd name="connsiteY4528" fmla="*/ 3696936 h 6698675"/>
              <a:gd name="connsiteX4529" fmla="*/ 6235988 w 8267681"/>
              <a:gd name="connsiteY4529" fmla="*/ 3699284 h 6698675"/>
              <a:gd name="connsiteX4530" fmla="*/ 6238337 w 8267681"/>
              <a:gd name="connsiteY4530" fmla="*/ 3696936 h 6698675"/>
              <a:gd name="connsiteX4531" fmla="*/ 6247732 w 8267681"/>
              <a:gd name="connsiteY4531" fmla="*/ 3692238 h 6698675"/>
              <a:gd name="connsiteX4532" fmla="*/ 6245383 w 8267681"/>
              <a:gd name="connsiteY4532" fmla="*/ 3689889 h 6698675"/>
              <a:gd name="connsiteX4533" fmla="*/ 1026412 w 8267681"/>
              <a:gd name="connsiteY4533" fmla="*/ 3687540 h 6698675"/>
              <a:gd name="connsiteX4534" fmla="*/ 1035807 w 8267681"/>
              <a:gd name="connsiteY4534" fmla="*/ 3694586 h 6698675"/>
              <a:gd name="connsiteX4535" fmla="*/ 1026412 w 8267681"/>
              <a:gd name="connsiteY4535" fmla="*/ 3708679 h 6698675"/>
              <a:gd name="connsiteX4536" fmla="*/ 1017015 w 8267681"/>
              <a:gd name="connsiteY4536" fmla="*/ 3708679 h 6698675"/>
              <a:gd name="connsiteX4537" fmla="*/ 1009969 w 8267681"/>
              <a:gd name="connsiteY4537" fmla="*/ 3703981 h 6698675"/>
              <a:gd name="connsiteX4538" fmla="*/ 1009969 w 8267681"/>
              <a:gd name="connsiteY4538" fmla="*/ 3694586 h 6698675"/>
              <a:gd name="connsiteX4539" fmla="*/ 1017015 w 8267681"/>
              <a:gd name="connsiteY4539" fmla="*/ 3689889 h 6698675"/>
              <a:gd name="connsiteX4540" fmla="*/ 256014 w 8267681"/>
              <a:gd name="connsiteY4540" fmla="*/ 3687540 h 6698675"/>
              <a:gd name="connsiteX4541" fmla="*/ 256014 w 8267681"/>
              <a:gd name="connsiteY4541" fmla="*/ 3703981 h 6698675"/>
              <a:gd name="connsiteX4542" fmla="*/ 251315 w 8267681"/>
              <a:gd name="connsiteY4542" fmla="*/ 3699284 h 6698675"/>
              <a:gd name="connsiteX4543" fmla="*/ 251315 w 8267681"/>
              <a:gd name="connsiteY4543" fmla="*/ 3692238 h 6698675"/>
              <a:gd name="connsiteX4544" fmla="*/ 6196060 w 8267681"/>
              <a:gd name="connsiteY4544" fmla="*/ 3680494 h 6698675"/>
              <a:gd name="connsiteX4545" fmla="*/ 6170223 w 8267681"/>
              <a:gd name="connsiteY4545" fmla="*/ 3699284 h 6698675"/>
              <a:gd name="connsiteX4546" fmla="*/ 6203106 w 8267681"/>
              <a:gd name="connsiteY4546" fmla="*/ 3685192 h 6698675"/>
              <a:gd name="connsiteX4547" fmla="*/ 6196060 w 8267681"/>
              <a:gd name="connsiteY4547" fmla="*/ 3680494 h 6698675"/>
              <a:gd name="connsiteX4548" fmla="*/ 6207804 w 8267681"/>
              <a:gd name="connsiteY4548" fmla="*/ 3673448 h 6698675"/>
              <a:gd name="connsiteX4549" fmla="*/ 6203106 w 8267681"/>
              <a:gd name="connsiteY4549" fmla="*/ 3675796 h 6698675"/>
              <a:gd name="connsiteX4550" fmla="*/ 6207804 w 8267681"/>
              <a:gd name="connsiteY4550" fmla="*/ 3682843 h 6698675"/>
              <a:gd name="connsiteX4551" fmla="*/ 6212501 w 8267681"/>
              <a:gd name="connsiteY4551" fmla="*/ 3680494 h 6698675"/>
              <a:gd name="connsiteX4552" fmla="*/ 3375176 w 8267681"/>
              <a:gd name="connsiteY4552" fmla="*/ 3671099 h 6698675"/>
              <a:gd name="connsiteX4553" fmla="*/ 3344642 w 8267681"/>
              <a:gd name="connsiteY4553" fmla="*/ 3718075 h 6698675"/>
              <a:gd name="connsiteX4554" fmla="*/ 3365780 w 8267681"/>
              <a:gd name="connsiteY4554" fmla="*/ 3713377 h 6698675"/>
              <a:gd name="connsiteX4555" fmla="*/ 3365780 w 8267681"/>
              <a:gd name="connsiteY4555" fmla="*/ 3727470 h 6698675"/>
              <a:gd name="connsiteX4556" fmla="*/ 3375176 w 8267681"/>
              <a:gd name="connsiteY4556" fmla="*/ 3671099 h 6698675"/>
              <a:gd name="connsiteX4557" fmla="*/ 197292 w 8267681"/>
              <a:gd name="connsiteY4557" fmla="*/ 3671098 h 6698675"/>
              <a:gd name="connsiteX4558" fmla="*/ 216085 w 8267681"/>
              <a:gd name="connsiteY4558" fmla="*/ 3682843 h 6698675"/>
              <a:gd name="connsiteX4559" fmla="*/ 216085 w 8267681"/>
              <a:gd name="connsiteY4559" fmla="*/ 3692238 h 6698675"/>
              <a:gd name="connsiteX4560" fmla="*/ 199642 w 8267681"/>
              <a:gd name="connsiteY4560" fmla="*/ 3701633 h 6698675"/>
              <a:gd name="connsiteX4561" fmla="*/ 197292 w 8267681"/>
              <a:gd name="connsiteY4561" fmla="*/ 3703982 h 6698675"/>
              <a:gd name="connsiteX4562" fmla="*/ 194944 w 8267681"/>
              <a:gd name="connsiteY4562" fmla="*/ 3701633 h 6698675"/>
              <a:gd name="connsiteX4563" fmla="*/ 190250 w 8267681"/>
              <a:gd name="connsiteY4563" fmla="*/ 3692238 h 6698675"/>
              <a:gd name="connsiteX4564" fmla="*/ 194944 w 8267681"/>
              <a:gd name="connsiteY4564" fmla="*/ 3675797 h 6698675"/>
              <a:gd name="connsiteX4565" fmla="*/ 197292 w 8267681"/>
              <a:gd name="connsiteY4565" fmla="*/ 3671098 h 6698675"/>
              <a:gd name="connsiteX4566" fmla="*/ 2105664 w 8267681"/>
              <a:gd name="connsiteY4566" fmla="*/ 3665227 h 6698675"/>
              <a:gd name="connsiteX4567" fmla="*/ 2099792 w 8267681"/>
              <a:gd name="connsiteY4567" fmla="*/ 3666402 h 6698675"/>
              <a:gd name="connsiteX4568" fmla="*/ 2111536 w 8267681"/>
              <a:gd name="connsiteY4568" fmla="*/ 3671099 h 6698675"/>
              <a:gd name="connsiteX4569" fmla="*/ 2105664 w 8267681"/>
              <a:gd name="connsiteY4569" fmla="*/ 3665227 h 6698675"/>
              <a:gd name="connsiteX4570" fmla="*/ 6221896 w 8267681"/>
              <a:gd name="connsiteY4570" fmla="*/ 3661704 h 6698675"/>
              <a:gd name="connsiteX4571" fmla="*/ 6214850 w 8267681"/>
              <a:gd name="connsiteY4571" fmla="*/ 3666402 h 6698675"/>
              <a:gd name="connsiteX4572" fmla="*/ 6219547 w 8267681"/>
              <a:gd name="connsiteY4572" fmla="*/ 3675796 h 6698675"/>
              <a:gd name="connsiteX4573" fmla="*/ 6228942 w 8267681"/>
              <a:gd name="connsiteY4573" fmla="*/ 3671099 h 6698675"/>
              <a:gd name="connsiteX4574" fmla="*/ 6221896 w 8267681"/>
              <a:gd name="connsiteY4574" fmla="*/ 3661704 h 6698675"/>
              <a:gd name="connsiteX4575" fmla="*/ 6163176 w 8267681"/>
              <a:gd name="connsiteY4575" fmla="*/ 3661704 h 6698675"/>
              <a:gd name="connsiteX4576" fmla="*/ 6142037 w 8267681"/>
              <a:gd name="connsiteY4576" fmla="*/ 3680494 h 6698675"/>
              <a:gd name="connsiteX4577" fmla="*/ 6137340 w 8267681"/>
              <a:gd name="connsiteY4577" fmla="*/ 3703982 h 6698675"/>
              <a:gd name="connsiteX4578" fmla="*/ 6158479 w 8267681"/>
              <a:gd name="connsiteY4578" fmla="*/ 3685192 h 6698675"/>
              <a:gd name="connsiteX4579" fmla="*/ 6142037 w 8267681"/>
              <a:gd name="connsiteY4579" fmla="*/ 3680494 h 6698675"/>
              <a:gd name="connsiteX4580" fmla="*/ 6167874 w 8267681"/>
              <a:gd name="connsiteY4580" fmla="*/ 3664053 h 6698675"/>
              <a:gd name="connsiteX4581" fmla="*/ 6163176 w 8267681"/>
              <a:gd name="connsiteY4581" fmla="*/ 3661704 h 6698675"/>
              <a:gd name="connsiteX4582" fmla="*/ 256012 w 8267681"/>
              <a:gd name="connsiteY4582" fmla="*/ 3659355 h 6698675"/>
              <a:gd name="connsiteX4583" fmla="*/ 265406 w 8267681"/>
              <a:gd name="connsiteY4583" fmla="*/ 3664053 h 6698675"/>
              <a:gd name="connsiteX4584" fmla="*/ 267755 w 8267681"/>
              <a:gd name="connsiteY4584" fmla="*/ 3682843 h 6698675"/>
              <a:gd name="connsiteX4585" fmla="*/ 263058 w 8267681"/>
              <a:gd name="connsiteY4585" fmla="*/ 3682843 h 6698675"/>
              <a:gd name="connsiteX4586" fmla="*/ 253663 w 8267681"/>
              <a:gd name="connsiteY4586" fmla="*/ 3678145 h 6698675"/>
              <a:gd name="connsiteX4587" fmla="*/ 246620 w 8267681"/>
              <a:gd name="connsiteY4587" fmla="*/ 3666401 h 6698675"/>
              <a:gd name="connsiteX4588" fmla="*/ 6229706 w 8267681"/>
              <a:gd name="connsiteY4588" fmla="*/ 3654654 h 6698675"/>
              <a:gd name="connsiteX4589" fmla="*/ 6230080 w 8267681"/>
              <a:gd name="connsiteY4589" fmla="*/ 3655061 h 6698675"/>
              <a:gd name="connsiteX4590" fmla="*/ 6228446 w 8267681"/>
              <a:gd name="connsiteY4590" fmla="*/ 3655606 h 6698675"/>
              <a:gd name="connsiteX4591" fmla="*/ 1061648 w 8267681"/>
              <a:gd name="connsiteY4591" fmla="*/ 3649960 h 6698675"/>
              <a:gd name="connsiteX4592" fmla="*/ 1066342 w 8267681"/>
              <a:gd name="connsiteY4592" fmla="*/ 3654658 h 6698675"/>
              <a:gd name="connsiteX4593" fmla="*/ 1061648 w 8267681"/>
              <a:gd name="connsiteY4593" fmla="*/ 3659355 h 6698675"/>
              <a:gd name="connsiteX4594" fmla="*/ 1059299 w 8267681"/>
              <a:gd name="connsiteY4594" fmla="*/ 3661704 h 6698675"/>
              <a:gd name="connsiteX4595" fmla="*/ 1052255 w 8267681"/>
              <a:gd name="connsiteY4595" fmla="*/ 3666401 h 6698675"/>
              <a:gd name="connsiteX4596" fmla="*/ 1045205 w 8267681"/>
              <a:gd name="connsiteY4596" fmla="*/ 3661704 h 6698675"/>
              <a:gd name="connsiteX4597" fmla="*/ 1054606 w 8267681"/>
              <a:gd name="connsiteY4597" fmla="*/ 3652309 h 6698675"/>
              <a:gd name="connsiteX4598" fmla="*/ 5234454 w 8267681"/>
              <a:gd name="connsiteY4598" fmla="*/ 3648565 h 6698675"/>
              <a:gd name="connsiteX4599" fmla="*/ 5234821 w 8267681"/>
              <a:gd name="connsiteY4599" fmla="*/ 3651721 h 6698675"/>
              <a:gd name="connsiteX4600" fmla="*/ 5235408 w 8267681"/>
              <a:gd name="connsiteY4600" fmla="*/ 3654657 h 6698675"/>
              <a:gd name="connsiteX4601" fmla="*/ 5235408 w 8267681"/>
              <a:gd name="connsiteY4601" fmla="*/ 3654658 h 6698675"/>
              <a:gd name="connsiteX4602" fmla="*/ 5237757 w 8267681"/>
              <a:gd name="connsiteY4602" fmla="*/ 3666402 h 6698675"/>
              <a:gd name="connsiteX4603" fmla="*/ 5235408 w 8267681"/>
              <a:gd name="connsiteY4603" fmla="*/ 3654657 h 6698675"/>
              <a:gd name="connsiteX4604" fmla="*/ 450967 w 8267681"/>
              <a:gd name="connsiteY4604" fmla="*/ 3647611 h 6698675"/>
              <a:gd name="connsiteX4605" fmla="*/ 458011 w 8267681"/>
              <a:gd name="connsiteY4605" fmla="*/ 3652309 h 6698675"/>
              <a:gd name="connsiteX4606" fmla="*/ 455662 w 8267681"/>
              <a:gd name="connsiteY4606" fmla="*/ 3661704 h 6698675"/>
              <a:gd name="connsiteX4607" fmla="*/ 441569 w 8267681"/>
              <a:gd name="connsiteY4607" fmla="*/ 3671099 h 6698675"/>
              <a:gd name="connsiteX4608" fmla="*/ 439224 w 8267681"/>
              <a:gd name="connsiteY4608" fmla="*/ 3668750 h 6698675"/>
              <a:gd name="connsiteX4609" fmla="*/ 439224 w 8267681"/>
              <a:gd name="connsiteY4609" fmla="*/ 3659355 h 6698675"/>
              <a:gd name="connsiteX4610" fmla="*/ 5942648 w 8267681"/>
              <a:gd name="connsiteY4610" fmla="*/ 3641593 h 6698675"/>
              <a:gd name="connsiteX4611" fmla="*/ 5937694 w 8267681"/>
              <a:gd name="connsiteY4611" fmla="*/ 3642914 h 6698675"/>
              <a:gd name="connsiteX4612" fmla="*/ 5942648 w 8267681"/>
              <a:gd name="connsiteY4612" fmla="*/ 3641593 h 6698675"/>
              <a:gd name="connsiteX4613" fmla="*/ 925405 w 8267681"/>
              <a:gd name="connsiteY4613" fmla="*/ 3640565 h 6698675"/>
              <a:gd name="connsiteX4614" fmla="*/ 927750 w 8267681"/>
              <a:gd name="connsiteY4614" fmla="*/ 3642914 h 6698675"/>
              <a:gd name="connsiteX4615" fmla="*/ 920602 w 8267681"/>
              <a:gd name="connsiteY4615" fmla="*/ 3642914 h 6698675"/>
              <a:gd name="connsiteX4616" fmla="*/ 922160 w 8267681"/>
              <a:gd name="connsiteY4616" fmla="*/ 3641028 h 6698675"/>
              <a:gd name="connsiteX4617" fmla="*/ 3997603 w 8267681"/>
              <a:gd name="connsiteY4617" fmla="*/ 3638216 h 6698675"/>
              <a:gd name="connsiteX4618" fmla="*/ 3967068 w 8267681"/>
              <a:gd name="connsiteY4618" fmla="*/ 3666402 h 6698675"/>
              <a:gd name="connsiteX4619" fmla="*/ 3997603 w 8267681"/>
              <a:gd name="connsiteY4619" fmla="*/ 3638216 h 6698675"/>
              <a:gd name="connsiteX4620" fmla="*/ 197292 w 8267681"/>
              <a:gd name="connsiteY4620" fmla="*/ 3635867 h 6698675"/>
              <a:gd name="connsiteX4621" fmla="*/ 204338 w 8267681"/>
              <a:gd name="connsiteY4621" fmla="*/ 3638216 h 6698675"/>
              <a:gd name="connsiteX4622" fmla="*/ 206687 w 8267681"/>
              <a:gd name="connsiteY4622" fmla="*/ 3647611 h 6698675"/>
              <a:gd name="connsiteX4623" fmla="*/ 201992 w 8267681"/>
              <a:gd name="connsiteY4623" fmla="*/ 3657006 h 6698675"/>
              <a:gd name="connsiteX4624" fmla="*/ 197292 w 8267681"/>
              <a:gd name="connsiteY4624" fmla="*/ 3659355 h 6698675"/>
              <a:gd name="connsiteX4625" fmla="*/ 187900 w 8267681"/>
              <a:gd name="connsiteY4625" fmla="*/ 3657006 h 6698675"/>
              <a:gd name="connsiteX4626" fmla="*/ 6198408 w 8267681"/>
              <a:gd name="connsiteY4626" fmla="*/ 3633518 h 6698675"/>
              <a:gd name="connsiteX4627" fmla="*/ 6196060 w 8267681"/>
              <a:gd name="connsiteY4627" fmla="*/ 3638216 h 6698675"/>
              <a:gd name="connsiteX4628" fmla="*/ 6200757 w 8267681"/>
              <a:gd name="connsiteY4628" fmla="*/ 3642914 h 6698675"/>
              <a:gd name="connsiteX4629" fmla="*/ 6205455 w 8267681"/>
              <a:gd name="connsiteY4629" fmla="*/ 3661704 h 6698675"/>
              <a:gd name="connsiteX4630" fmla="*/ 6205455 w 8267681"/>
              <a:gd name="connsiteY4630" fmla="*/ 3645262 h 6698675"/>
              <a:gd name="connsiteX4631" fmla="*/ 6207804 w 8267681"/>
              <a:gd name="connsiteY4631" fmla="*/ 3642914 h 6698675"/>
              <a:gd name="connsiteX4632" fmla="*/ 6198408 w 8267681"/>
              <a:gd name="connsiteY4632" fmla="*/ 3633518 h 6698675"/>
              <a:gd name="connsiteX4633" fmla="*/ 1287115 w 8267681"/>
              <a:gd name="connsiteY4633" fmla="*/ 3631170 h 6698675"/>
              <a:gd name="connsiteX4634" fmla="*/ 1282420 w 8267681"/>
              <a:gd name="connsiteY4634" fmla="*/ 3638216 h 6698675"/>
              <a:gd name="connsiteX4635" fmla="*/ 1287115 w 8267681"/>
              <a:gd name="connsiteY4635" fmla="*/ 3640565 h 6698675"/>
              <a:gd name="connsiteX4636" fmla="*/ 1296512 w 8267681"/>
              <a:gd name="connsiteY4636" fmla="*/ 3642914 h 6698675"/>
              <a:gd name="connsiteX4637" fmla="*/ 1305905 w 8267681"/>
              <a:gd name="connsiteY4637" fmla="*/ 3640565 h 6698675"/>
              <a:gd name="connsiteX4638" fmla="*/ 1308255 w 8267681"/>
              <a:gd name="connsiteY4638" fmla="*/ 3638216 h 6698675"/>
              <a:gd name="connsiteX4639" fmla="*/ 1296512 w 8267681"/>
              <a:gd name="connsiteY4639" fmla="*/ 3631170 h 6698675"/>
              <a:gd name="connsiteX4640" fmla="*/ 502623 w 8267681"/>
              <a:gd name="connsiteY4640" fmla="*/ 3631170 h 6698675"/>
              <a:gd name="connsiteX4641" fmla="*/ 497928 w 8267681"/>
              <a:gd name="connsiteY4641" fmla="*/ 3633519 h 6698675"/>
              <a:gd name="connsiteX4642" fmla="*/ 500278 w 8267681"/>
              <a:gd name="connsiteY4642" fmla="*/ 3642914 h 6698675"/>
              <a:gd name="connsiteX4643" fmla="*/ 507320 w 8267681"/>
              <a:gd name="connsiteY4643" fmla="*/ 3652309 h 6698675"/>
              <a:gd name="connsiteX4644" fmla="*/ 509670 w 8267681"/>
              <a:gd name="connsiteY4644" fmla="*/ 3654658 h 6698675"/>
              <a:gd name="connsiteX4645" fmla="*/ 514366 w 8267681"/>
              <a:gd name="connsiteY4645" fmla="*/ 3652309 h 6698675"/>
              <a:gd name="connsiteX4646" fmla="*/ 514366 w 8267681"/>
              <a:gd name="connsiteY4646" fmla="*/ 3645263 h 6698675"/>
              <a:gd name="connsiteX4647" fmla="*/ 526113 w 8267681"/>
              <a:gd name="connsiteY4647" fmla="*/ 3635868 h 6698675"/>
              <a:gd name="connsiteX4648" fmla="*/ 521413 w 8267681"/>
              <a:gd name="connsiteY4648" fmla="*/ 3631170 h 6698675"/>
              <a:gd name="connsiteX4649" fmla="*/ 512020 w 8267681"/>
              <a:gd name="connsiteY4649" fmla="*/ 3633519 h 6698675"/>
              <a:gd name="connsiteX4650" fmla="*/ 298290 w 8267681"/>
              <a:gd name="connsiteY4650" fmla="*/ 3631169 h 6698675"/>
              <a:gd name="connsiteX4651" fmla="*/ 312384 w 8267681"/>
              <a:gd name="connsiteY4651" fmla="*/ 3631169 h 6698675"/>
              <a:gd name="connsiteX4652" fmla="*/ 321778 w 8267681"/>
              <a:gd name="connsiteY4652" fmla="*/ 3631169 h 6698675"/>
              <a:gd name="connsiteX4653" fmla="*/ 331176 w 8267681"/>
              <a:gd name="connsiteY4653" fmla="*/ 3640564 h 6698675"/>
              <a:gd name="connsiteX4654" fmla="*/ 321778 w 8267681"/>
              <a:gd name="connsiteY4654" fmla="*/ 3647610 h 6698675"/>
              <a:gd name="connsiteX4655" fmla="*/ 288898 w 8267681"/>
              <a:gd name="connsiteY4655" fmla="*/ 3642913 h 6698675"/>
              <a:gd name="connsiteX4656" fmla="*/ 298290 w 8267681"/>
              <a:gd name="connsiteY4656" fmla="*/ 3631169 h 6698675"/>
              <a:gd name="connsiteX4657" fmla="*/ 1251884 w 8267681"/>
              <a:gd name="connsiteY4657" fmla="*/ 3628821 h 6698675"/>
              <a:gd name="connsiteX4658" fmla="*/ 1240142 w 8267681"/>
              <a:gd name="connsiteY4658" fmla="*/ 3638216 h 6698675"/>
              <a:gd name="connsiteX4659" fmla="*/ 1251884 w 8267681"/>
              <a:gd name="connsiteY4659" fmla="*/ 3671099 h 6698675"/>
              <a:gd name="connsiteX4660" fmla="*/ 1251884 w 8267681"/>
              <a:gd name="connsiteY4660" fmla="*/ 3680494 h 6698675"/>
              <a:gd name="connsiteX4661" fmla="*/ 1230743 w 8267681"/>
              <a:gd name="connsiteY4661" fmla="*/ 3696936 h 6698675"/>
              <a:gd name="connsiteX4662" fmla="*/ 1235442 w 8267681"/>
              <a:gd name="connsiteY4662" fmla="*/ 3706331 h 6698675"/>
              <a:gd name="connsiteX4663" fmla="*/ 1244836 w 8267681"/>
              <a:gd name="connsiteY4663" fmla="*/ 3706331 h 6698675"/>
              <a:gd name="connsiteX4664" fmla="*/ 1247184 w 8267681"/>
              <a:gd name="connsiteY4664" fmla="*/ 3708680 h 6698675"/>
              <a:gd name="connsiteX4665" fmla="*/ 1261277 w 8267681"/>
              <a:gd name="connsiteY4665" fmla="*/ 3708680 h 6698675"/>
              <a:gd name="connsiteX4666" fmla="*/ 1270672 w 8267681"/>
              <a:gd name="connsiteY4666" fmla="*/ 3699285 h 6698675"/>
              <a:gd name="connsiteX4667" fmla="*/ 1280070 w 8267681"/>
              <a:gd name="connsiteY4667" fmla="*/ 3694587 h 6698675"/>
              <a:gd name="connsiteX4668" fmla="*/ 1296512 w 8267681"/>
              <a:gd name="connsiteY4668" fmla="*/ 3701633 h 6698675"/>
              <a:gd name="connsiteX4669" fmla="*/ 1312950 w 8267681"/>
              <a:gd name="connsiteY4669" fmla="*/ 3689890 h 6698675"/>
              <a:gd name="connsiteX4670" fmla="*/ 1327043 w 8267681"/>
              <a:gd name="connsiteY4670" fmla="*/ 3699285 h 6698675"/>
              <a:gd name="connsiteX4671" fmla="*/ 1338790 w 8267681"/>
              <a:gd name="connsiteY4671" fmla="*/ 3706331 h 6698675"/>
              <a:gd name="connsiteX4672" fmla="*/ 1362275 w 8267681"/>
              <a:gd name="connsiteY4672" fmla="*/ 3680494 h 6698675"/>
              <a:gd name="connsiteX4673" fmla="*/ 1352883 w 8267681"/>
              <a:gd name="connsiteY4673" fmla="*/ 3654658 h 6698675"/>
              <a:gd name="connsiteX4674" fmla="*/ 1343485 w 8267681"/>
              <a:gd name="connsiteY4674" fmla="*/ 3645263 h 6698675"/>
              <a:gd name="connsiteX4675" fmla="*/ 1338790 w 8267681"/>
              <a:gd name="connsiteY4675" fmla="*/ 3645263 h 6698675"/>
              <a:gd name="connsiteX4676" fmla="*/ 1338790 w 8267681"/>
              <a:gd name="connsiteY4676" fmla="*/ 3654658 h 6698675"/>
              <a:gd name="connsiteX4677" fmla="*/ 1322347 w 8267681"/>
              <a:gd name="connsiteY4677" fmla="*/ 3673448 h 6698675"/>
              <a:gd name="connsiteX4678" fmla="*/ 1270672 w 8267681"/>
              <a:gd name="connsiteY4678" fmla="*/ 3661704 h 6698675"/>
              <a:gd name="connsiteX4679" fmla="*/ 1270672 w 8267681"/>
              <a:gd name="connsiteY4679" fmla="*/ 3628821 h 6698675"/>
              <a:gd name="connsiteX4680" fmla="*/ 1251884 w 8267681"/>
              <a:gd name="connsiteY4680" fmla="*/ 3628821 h 6698675"/>
              <a:gd name="connsiteX4681" fmla="*/ 251314 w 8267681"/>
              <a:gd name="connsiteY4681" fmla="*/ 3624123 h 6698675"/>
              <a:gd name="connsiteX4682" fmla="*/ 256012 w 8267681"/>
              <a:gd name="connsiteY4682" fmla="*/ 3624123 h 6698675"/>
              <a:gd name="connsiteX4683" fmla="*/ 258363 w 8267681"/>
              <a:gd name="connsiteY4683" fmla="*/ 3624123 h 6698675"/>
              <a:gd name="connsiteX4684" fmla="*/ 260708 w 8267681"/>
              <a:gd name="connsiteY4684" fmla="*/ 3649960 h 6698675"/>
              <a:gd name="connsiteX4685" fmla="*/ 256012 w 8267681"/>
              <a:gd name="connsiteY4685" fmla="*/ 3654657 h 6698675"/>
              <a:gd name="connsiteX4686" fmla="*/ 246620 w 8267681"/>
              <a:gd name="connsiteY4686" fmla="*/ 3652308 h 6698675"/>
              <a:gd name="connsiteX4687" fmla="*/ 241920 w 8267681"/>
              <a:gd name="connsiteY4687" fmla="*/ 3647611 h 6698675"/>
              <a:gd name="connsiteX4688" fmla="*/ 246620 w 8267681"/>
              <a:gd name="connsiteY4688" fmla="*/ 3640564 h 6698675"/>
              <a:gd name="connsiteX4689" fmla="*/ 5984596 w 8267681"/>
              <a:gd name="connsiteY4689" fmla="*/ 3624014 h 6698675"/>
              <a:gd name="connsiteX4690" fmla="*/ 5979972 w 8267681"/>
              <a:gd name="connsiteY4690" fmla="*/ 3626472 h 6698675"/>
              <a:gd name="connsiteX4691" fmla="*/ 5979972 w 8267681"/>
              <a:gd name="connsiteY4691" fmla="*/ 3659355 h 6698675"/>
              <a:gd name="connsiteX4692" fmla="*/ 5984596 w 8267681"/>
              <a:gd name="connsiteY4692" fmla="*/ 3624014 h 6698675"/>
              <a:gd name="connsiteX4693" fmla="*/ 5942391 w 8267681"/>
              <a:gd name="connsiteY4693" fmla="*/ 3621774 h 6698675"/>
              <a:gd name="connsiteX4694" fmla="*/ 5942391 w 8267681"/>
              <a:gd name="connsiteY4694" fmla="*/ 3624123 h 6698675"/>
              <a:gd name="connsiteX4695" fmla="*/ 5949438 w 8267681"/>
              <a:gd name="connsiteY4695" fmla="*/ 3631170 h 6698675"/>
              <a:gd name="connsiteX4696" fmla="*/ 5951786 w 8267681"/>
              <a:gd name="connsiteY4696" fmla="*/ 3631170 h 6698675"/>
              <a:gd name="connsiteX4697" fmla="*/ 5942391 w 8267681"/>
              <a:gd name="connsiteY4697" fmla="*/ 3621774 h 6698675"/>
              <a:gd name="connsiteX4698" fmla="*/ 1019370 w 8267681"/>
              <a:gd name="connsiteY4698" fmla="*/ 3617076 h 6698675"/>
              <a:gd name="connsiteX4699" fmla="*/ 1024070 w 8267681"/>
              <a:gd name="connsiteY4699" fmla="*/ 3624122 h 6698675"/>
              <a:gd name="connsiteX4700" fmla="*/ 1019370 w 8267681"/>
              <a:gd name="connsiteY4700" fmla="*/ 3631169 h 6698675"/>
              <a:gd name="connsiteX4701" fmla="*/ 1009973 w 8267681"/>
              <a:gd name="connsiteY4701" fmla="*/ 3628820 h 6698675"/>
              <a:gd name="connsiteX4702" fmla="*/ 1007623 w 8267681"/>
              <a:gd name="connsiteY4702" fmla="*/ 3626471 h 6698675"/>
              <a:gd name="connsiteX4703" fmla="*/ 1009973 w 8267681"/>
              <a:gd name="connsiteY4703" fmla="*/ 3621774 h 6698675"/>
              <a:gd name="connsiteX4704" fmla="*/ 6181967 w 8267681"/>
              <a:gd name="connsiteY4704" fmla="*/ 3614728 h 6698675"/>
              <a:gd name="connsiteX4705" fmla="*/ 6179618 w 8267681"/>
              <a:gd name="connsiteY4705" fmla="*/ 3617077 h 6698675"/>
              <a:gd name="connsiteX4706" fmla="*/ 6181967 w 8267681"/>
              <a:gd name="connsiteY4706" fmla="*/ 3621774 h 6698675"/>
              <a:gd name="connsiteX4707" fmla="*/ 6177269 w 8267681"/>
              <a:gd name="connsiteY4707" fmla="*/ 3624123 h 6698675"/>
              <a:gd name="connsiteX4708" fmla="*/ 6181967 w 8267681"/>
              <a:gd name="connsiteY4708" fmla="*/ 3652309 h 6698675"/>
              <a:gd name="connsiteX4709" fmla="*/ 6184316 w 8267681"/>
              <a:gd name="connsiteY4709" fmla="*/ 3647611 h 6698675"/>
              <a:gd name="connsiteX4710" fmla="*/ 6189013 w 8267681"/>
              <a:gd name="connsiteY4710" fmla="*/ 3654658 h 6698675"/>
              <a:gd name="connsiteX4711" fmla="*/ 6191362 w 8267681"/>
              <a:gd name="connsiteY4711" fmla="*/ 3652309 h 6698675"/>
              <a:gd name="connsiteX4712" fmla="*/ 6184316 w 8267681"/>
              <a:gd name="connsiteY4712" fmla="*/ 3645262 h 6698675"/>
              <a:gd name="connsiteX4713" fmla="*/ 6189013 w 8267681"/>
              <a:gd name="connsiteY4713" fmla="*/ 3621774 h 6698675"/>
              <a:gd name="connsiteX4714" fmla="*/ 6181967 w 8267681"/>
              <a:gd name="connsiteY4714" fmla="*/ 3614728 h 6698675"/>
              <a:gd name="connsiteX4715" fmla="*/ 443918 w 8267681"/>
              <a:gd name="connsiteY4715" fmla="*/ 3612379 h 6698675"/>
              <a:gd name="connsiteX4716" fmla="*/ 448616 w 8267681"/>
              <a:gd name="connsiteY4716" fmla="*/ 3619425 h 6698675"/>
              <a:gd name="connsiteX4717" fmla="*/ 443918 w 8267681"/>
              <a:gd name="connsiteY4717" fmla="*/ 3621774 h 6698675"/>
              <a:gd name="connsiteX4718" fmla="*/ 439224 w 8267681"/>
              <a:gd name="connsiteY4718" fmla="*/ 3617077 h 6698675"/>
              <a:gd name="connsiteX4719" fmla="*/ 385199 w 8267681"/>
              <a:gd name="connsiteY4719" fmla="*/ 3612379 h 6698675"/>
              <a:gd name="connsiteX4720" fmla="*/ 392246 w 8267681"/>
              <a:gd name="connsiteY4720" fmla="*/ 3617077 h 6698675"/>
              <a:gd name="connsiteX4721" fmla="*/ 385199 w 8267681"/>
              <a:gd name="connsiteY4721" fmla="*/ 3624123 h 6698675"/>
              <a:gd name="connsiteX4722" fmla="*/ 380504 w 8267681"/>
              <a:gd name="connsiteY4722" fmla="*/ 3617077 h 6698675"/>
              <a:gd name="connsiteX4723" fmla="*/ 6000157 w 8267681"/>
              <a:gd name="connsiteY4723" fmla="*/ 3607132 h 6698675"/>
              <a:gd name="connsiteX4724" fmla="*/ 6003460 w 8267681"/>
              <a:gd name="connsiteY4724" fmla="*/ 3614728 h 6698675"/>
              <a:gd name="connsiteX4725" fmla="*/ 6000157 w 8267681"/>
              <a:gd name="connsiteY4725" fmla="*/ 3607132 h 6698675"/>
              <a:gd name="connsiteX4726" fmla="*/ 183199 w 8267681"/>
              <a:gd name="connsiteY4726" fmla="*/ 3605333 h 6698675"/>
              <a:gd name="connsiteX4727" fmla="*/ 190250 w 8267681"/>
              <a:gd name="connsiteY4727" fmla="*/ 3610031 h 6698675"/>
              <a:gd name="connsiteX4728" fmla="*/ 192596 w 8267681"/>
              <a:gd name="connsiteY4728" fmla="*/ 3614728 h 6698675"/>
              <a:gd name="connsiteX4729" fmla="*/ 192596 w 8267681"/>
              <a:gd name="connsiteY4729" fmla="*/ 3621774 h 6698675"/>
              <a:gd name="connsiteX4730" fmla="*/ 187900 w 8267681"/>
              <a:gd name="connsiteY4730" fmla="*/ 3626472 h 6698675"/>
              <a:gd name="connsiteX4731" fmla="*/ 183199 w 8267681"/>
              <a:gd name="connsiteY4731" fmla="*/ 3621774 h 6698675"/>
              <a:gd name="connsiteX4732" fmla="*/ 180852 w 8267681"/>
              <a:gd name="connsiteY4732" fmla="*/ 3619426 h 6698675"/>
              <a:gd name="connsiteX4733" fmla="*/ 176157 w 8267681"/>
              <a:gd name="connsiteY4733" fmla="*/ 3614728 h 6698675"/>
              <a:gd name="connsiteX4734" fmla="*/ 6048379 w 8267681"/>
              <a:gd name="connsiteY4734" fmla="*/ 3601810 h 6698675"/>
              <a:gd name="connsiteX4735" fmla="*/ 6043389 w 8267681"/>
              <a:gd name="connsiteY4735" fmla="*/ 3602985 h 6698675"/>
              <a:gd name="connsiteX4736" fmla="*/ 6055133 w 8267681"/>
              <a:gd name="connsiteY4736" fmla="*/ 3607682 h 6698675"/>
              <a:gd name="connsiteX4737" fmla="*/ 6048379 w 8267681"/>
              <a:gd name="connsiteY4737" fmla="*/ 3601810 h 6698675"/>
              <a:gd name="connsiteX4738" fmla="*/ 739852 w 8267681"/>
              <a:gd name="connsiteY4738" fmla="*/ 3600636 h 6698675"/>
              <a:gd name="connsiteX4739" fmla="*/ 723409 w 8267681"/>
              <a:gd name="connsiteY4739" fmla="*/ 3617077 h 6698675"/>
              <a:gd name="connsiteX4740" fmla="*/ 744547 w 8267681"/>
              <a:gd name="connsiteY4740" fmla="*/ 3614729 h 6698675"/>
              <a:gd name="connsiteX4741" fmla="*/ 746895 w 8267681"/>
              <a:gd name="connsiteY4741" fmla="*/ 3605333 h 6698675"/>
              <a:gd name="connsiteX4742" fmla="*/ 981775 w 8267681"/>
              <a:gd name="connsiteY4742" fmla="*/ 3598287 h 6698675"/>
              <a:gd name="connsiteX4743" fmla="*/ 984905 w 8267681"/>
              <a:gd name="connsiteY4743" fmla="*/ 3600636 h 6698675"/>
              <a:gd name="connsiteX4744" fmla="*/ 981265 w 8267681"/>
              <a:gd name="connsiteY4744" fmla="*/ 3600636 h 6698675"/>
              <a:gd name="connsiteX4745" fmla="*/ 6163176 w 8267681"/>
              <a:gd name="connsiteY4745" fmla="*/ 3595938 h 6698675"/>
              <a:gd name="connsiteX4746" fmla="*/ 6170223 w 8267681"/>
              <a:gd name="connsiteY4746" fmla="*/ 3607682 h 6698675"/>
              <a:gd name="connsiteX4747" fmla="*/ 6172572 w 8267681"/>
              <a:gd name="connsiteY4747" fmla="*/ 3605333 h 6698675"/>
              <a:gd name="connsiteX4748" fmla="*/ 6163176 w 8267681"/>
              <a:gd name="connsiteY4748" fmla="*/ 3595938 h 6698675"/>
              <a:gd name="connsiteX4749" fmla="*/ 366405 w 8267681"/>
              <a:gd name="connsiteY4749" fmla="*/ 3595938 h 6698675"/>
              <a:gd name="connsiteX4750" fmla="*/ 375803 w 8267681"/>
              <a:gd name="connsiteY4750" fmla="*/ 3595938 h 6698675"/>
              <a:gd name="connsiteX4751" fmla="*/ 378149 w 8267681"/>
              <a:gd name="connsiteY4751" fmla="*/ 3600636 h 6698675"/>
              <a:gd name="connsiteX4752" fmla="*/ 375803 w 8267681"/>
              <a:gd name="connsiteY4752" fmla="*/ 3610031 h 6698675"/>
              <a:gd name="connsiteX4753" fmla="*/ 373453 w 8267681"/>
              <a:gd name="connsiteY4753" fmla="*/ 3612379 h 6698675"/>
              <a:gd name="connsiteX4754" fmla="*/ 366405 w 8267681"/>
              <a:gd name="connsiteY4754" fmla="*/ 3610031 h 6698675"/>
              <a:gd name="connsiteX4755" fmla="*/ 361706 w 8267681"/>
              <a:gd name="connsiteY4755" fmla="*/ 3600636 h 6698675"/>
              <a:gd name="connsiteX4756" fmla="*/ 6073776 w 8267681"/>
              <a:gd name="connsiteY4756" fmla="*/ 3592929 h 6698675"/>
              <a:gd name="connsiteX4757" fmla="*/ 6066877 w 8267681"/>
              <a:gd name="connsiteY4757" fmla="*/ 3602985 h 6698675"/>
              <a:gd name="connsiteX4758" fmla="*/ 6083318 w 8267681"/>
              <a:gd name="connsiteY4758" fmla="*/ 3654658 h 6698675"/>
              <a:gd name="connsiteX4759" fmla="*/ 6080969 w 8267681"/>
              <a:gd name="connsiteY4759" fmla="*/ 3654658 h 6698675"/>
              <a:gd name="connsiteX4760" fmla="*/ 6083318 w 8267681"/>
              <a:gd name="connsiteY4760" fmla="*/ 3657006 h 6698675"/>
              <a:gd name="connsiteX4761" fmla="*/ 6099760 w 8267681"/>
              <a:gd name="connsiteY4761" fmla="*/ 3703982 h 6698675"/>
              <a:gd name="connsiteX4762" fmla="*/ 6088016 w 8267681"/>
              <a:gd name="connsiteY4762" fmla="*/ 3652309 h 6698675"/>
              <a:gd name="connsiteX4763" fmla="*/ 6083318 w 8267681"/>
              <a:gd name="connsiteY4763" fmla="*/ 3657006 h 6698675"/>
              <a:gd name="connsiteX4764" fmla="*/ 6083318 w 8267681"/>
              <a:gd name="connsiteY4764" fmla="*/ 3654658 h 6698675"/>
              <a:gd name="connsiteX4765" fmla="*/ 6097411 w 8267681"/>
              <a:gd name="connsiteY4765" fmla="*/ 3628821 h 6698675"/>
              <a:gd name="connsiteX4766" fmla="*/ 6102109 w 8267681"/>
              <a:gd name="connsiteY4766" fmla="*/ 3664053 h 6698675"/>
              <a:gd name="connsiteX4767" fmla="*/ 6113852 w 8267681"/>
              <a:gd name="connsiteY4767" fmla="*/ 3600636 h 6698675"/>
              <a:gd name="connsiteX4768" fmla="*/ 6095062 w 8267681"/>
              <a:gd name="connsiteY4768" fmla="*/ 3612380 h 6698675"/>
              <a:gd name="connsiteX4769" fmla="*/ 6104457 w 8267681"/>
              <a:gd name="connsiteY4769" fmla="*/ 3602985 h 6698675"/>
              <a:gd name="connsiteX4770" fmla="*/ 6085667 w 8267681"/>
              <a:gd name="connsiteY4770" fmla="*/ 3614728 h 6698675"/>
              <a:gd name="connsiteX4771" fmla="*/ 6073776 w 8267681"/>
              <a:gd name="connsiteY4771" fmla="*/ 3592929 h 6698675"/>
              <a:gd name="connsiteX4772" fmla="*/ 934798 w 8267681"/>
              <a:gd name="connsiteY4772" fmla="*/ 3584195 h 6698675"/>
              <a:gd name="connsiteX4773" fmla="*/ 892520 w 8267681"/>
              <a:gd name="connsiteY4773" fmla="*/ 3586543 h 6698675"/>
              <a:gd name="connsiteX4774" fmla="*/ 918355 w 8267681"/>
              <a:gd name="connsiteY4774" fmla="*/ 3598287 h 6698675"/>
              <a:gd name="connsiteX4775" fmla="*/ 934798 w 8267681"/>
              <a:gd name="connsiteY4775" fmla="*/ 3600636 h 6698675"/>
              <a:gd name="connsiteX4776" fmla="*/ 317083 w 8267681"/>
              <a:gd name="connsiteY4776" fmla="*/ 3584194 h 6698675"/>
              <a:gd name="connsiteX4777" fmla="*/ 324127 w 8267681"/>
              <a:gd name="connsiteY4777" fmla="*/ 3591240 h 6698675"/>
              <a:gd name="connsiteX4778" fmla="*/ 317083 w 8267681"/>
              <a:gd name="connsiteY4778" fmla="*/ 3595938 h 6698675"/>
              <a:gd name="connsiteX4779" fmla="*/ 312384 w 8267681"/>
              <a:gd name="connsiteY4779" fmla="*/ 3591240 h 6698675"/>
              <a:gd name="connsiteX4780" fmla="*/ 5970576 w 8267681"/>
              <a:gd name="connsiteY4780" fmla="*/ 3579496 h 6698675"/>
              <a:gd name="connsiteX4781" fmla="*/ 5970576 w 8267681"/>
              <a:gd name="connsiteY4781" fmla="*/ 3586542 h 6698675"/>
              <a:gd name="connsiteX4782" fmla="*/ 5963530 w 8267681"/>
              <a:gd name="connsiteY4782" fmla="*/ 3581845 h 6698675"/>
              <a:gd name="connsiteX4783" fmla="*/ 5970576 w 8267681"/>
              <a:gd name="connsiteY4783" fmla="*/ 3579496 h 6698675"/>
              <a:gd name="connsiteX4784" fmla="*/ 1172041 w 8267681"/>
              <a:gd name="connsiteY4784" fmla="*/ 3579496 h 6698675"/>
              <a:gd name="connsiteX4785" fmla="*/ 1181439 w 8267681"/>
              <a:gd name="connsiteY4785" fmla="*/ 3586543 h 6698675"/>
              <a:gd name="connsiteX4786" fmla="*/ 1190831 w 8267681"/>
              <a:gd name="connsiteY4786" fmla="*/ 3610031 h 6698675"/>
              <a:gd name="connsiteX4787" fmla="*/ 1181439 w 8267681"/>
              <a:gd name="connsiteY4787" fmla="*/ 3624124 h 6698675"/>
              <a:gd name="connsiteX4788" fmla="*/ 1155604 w 8267681"/>
              <a:gd name="connsiteY4788" fmla="*/ 3633519 h 6698675"/>
              <a:gd name="connsiteX4789" fmla="*/ 1150903 w 8267681"/>
              <a:gd name="connsiteY4789" fmla="*/ 3628821 h 6698675"/>
              <a:gd name="connsiteX4790" fmla="*/ 1155604 w 8267681"/>
              <a:gd name="connsiteY4790" fmla="*/ 3621775 h 6698675"/>
              <a:gd name="connsiteX4791" fmla="*/ 1169696 w 8267681"/>
              <a:gd name="connsiteY4791" fmla="*/ 3612380 h 6698675"/>
              <a:gd name="connsiteX4792" fmla="*/ 1174390 w 8267681"/>
              <a:gd name="connsiteY4792" fmla="*/ 3602985 h 6698675"/>
              <a:gd name="connsiteX4793" fmla="*/ 1167346 w 8267681"/>
              <a:gd name="connsiteY4793" fmla="*/ 3593590 h 6698675"/>
              <a:gd name="connsiteX4794" fmla="*/ 1167346 w 8267681"/>
              <a:gd name="connsiteY4794" fmla="*/ 3584195 h 6698675"/>
              <a:gd name="connsiteX4795" fmla="*/ 1172041 w 8267681"/>
              <a:gd name="connsiteY4795" fmla="*/ 3579496 h 6698675"/>
              <a:gd name="connsiteX4796" fmla="*/ 1512596 w 8267681"/>
              <a:gd name="connsiteY4796" fmla="*/ 3577148 h 6698675"/>
              <a:gd name="connsiteX4797" fmla="*/ 1519643 w 8267681"/>
              <a:gd name="connsiteY4797" fmla="*/ 3607682 h 6698675"/>
              <a:gd name="connsiteX4798" fmla="*/ 1554874 w 8267681"/>
              <a:gd name="connsiteY4798" fmla="*/ 3621775 h 6698675"/>
              <a:gd name="connsiteX4799" fmla="*/ 1564271 w 8267681"/>
              <a:gd name="connsiteY4799" fmla="*/ 3598287 h 6698675"/>
              <a:gd name="connsiteX4800" fmla="*/ 1512596 w 8267681"/>
              <a:gd name="connsiteY4800" fmla="*/ 3577148 h 6698675"/>
              <a:gd name="connsiteX4801" fmla="*/ 272455 w 8267681"/>
              <a:gd name="connsiteY4801" fmla="*/ 3571863 h 6698675"/>
              <a:gd name="connsiteX4802" fmla="*/ 274805 w 8267681"/>
              <a:gd name="connsiteY4802" fmla="*/ 3574799 h 6698675"/>
              <a:gd name="connsiteX4803" fmla="*/ 286548 w 8267681"/>
              <a:gd name="connsiteY4803" fmla="*/ 3586543 h 6698675"/>
              <a:gd name="connsiteX4804" fmla="*/ 281849 w 8267681"/>
              <a:gd name="connsiteY4804" fmla="*/ 3593589 h 6698675"/>
              <a:gd name="connsiteX4805" fmla="*/ 274805 w 8267681"/>
              <a:gd name="connsiteY4805" fmla="*/ 3595938 h 6698675"/>
              <a:gd name="connsiteX4806" fmla="*/ 270105 w 8267681"/>
              <a:gd name="connsiteY4806" fmla="*/ 3591241 h 6698675"/>
              <a:gd name="connsiteX4807" fmla="*/ 267756 w 8267681"/>
              <a:gd name="connsiteY4807" fmla="*/ 3581845 h 6698675"/>
              <a:gd name="connsiteX4808" fmla="*/ 270105 w 8267681"/>
              <a:gd name="connsiteY4808" fmla="*/ 3572450 h 6698675"/>
              <a:gd name="connsiteX4809" fmla="*/ 272455 w 8267681"/>
              <a:gd name="connsiteY4809" fmla="*/ 3571863 h 6698675"/>
              <a:gd name="connsiteX4810" fmla="*/ 1578364 w 8267681"/>
              <a:gd name="connsiteY4810" fmla="*/ 3570102 h 6698675"/>
              <a:gd name="connsiteX4811" fmla="*/ 1580714 w 8267681"/>
              <a:gd name="connsiteY4811" fmla="*/ 3610031 h 6698675"/>
              <a:gd name="connsiteX4812" fmla="*/ 1608899 w 8267681"/>
              <a:gd name="connsiteY4812" fmla="*/ 3588892 h 6698675"/>
              <a:gd name="connsiteX4813" fmla="*/ 1578364 w 8267681"/>
              <a:gd name="connsiteY4813" fmla="*/ 3570102 h 6698675"/>
              <a:gd name="connsiteX4814" fmla="*/ 6036342 w 8267681"/>
              <a:gd name="connsiteY4814" fmla="*/ 3567753 h 6698675"/>
              <a:gd name="connsiteX4815" fmla="*/ 6015203 w 8267681"/>
              <a:gd name="connsiteY4815" fmla="*/ 3586543 h 6698675"/>
              <a:gd name="connsiteX4816" fmla="*/ 6029296 w 8267681"/>
              <a:gd name="connsiteY4816" fmla="*/ 3652309 h 6698675"/>
              <a:gd name="connsiteX4817" fmla="*/ 6036342 w 8267681"/>
              <a:gd name="connsiteY4817" fmla="*/ 3567753 h 6698675"/>
              <a:gd name="connsiteX4818" fmla="*/ 620060 w 8267681"/>
              <a:gd name="connsiteY4818" fmla="*/ 3565110 h 6698675"/>
              <a:gd name="connsiteX4819" fmla="*/ 608318 w 8267681"/>
              <a:gd name="connsiteY4819" fmla="*/ 3570102 h 6698675"/>
              <a:gd name="connsiteX4820" fmla="*/ 605970 w 8267681"/>
              <a:gd name="connsiteY4820" fmla="*/ 3584195 h 6698675"/>
              <a:gd name="connsiteX4821" fmla="*/ 636503 w 8267681"/>
              <a:gd name="connsiteY4821" fmla="*/ 3586543 h 6698675"/>
              <a:gd name="connsiteX4822" fmla="*/ 638853 w 8267681"/>
              <a:gd name="connsiteY4822" fmla="*/ 3588892 h 6698675"/>
              <a:gd name="connsiteX4823" fmla="*/ 650596 w 8267681"/>
              <a:gd name="connsiteY4823" fmla="*/ 3588892 h 6698675"/>
              <a:gd name="connsiteX4824" fmla="*/ 634153 w 8267681"/>
              <a:gd name="connsiteY4824" fmla="*/ 3570102 h 6698675"/>
              <a:gd name="connsiteX4825" fmla="*/ 624761 w 8267681"/>
              <a:gd name="connsiteY4825" fmla="*/ 3565404 h 6698675"/>
              <a:gd name="connsiteX4826" fmla="*/ 620060 w 8267681"/>
              <a:gd name="connsiteY4826" fmla="*/ 3565110 h 6698675"/>
              <a:gd name="connsiteX4827" fmla="*/ 326475 w 8267681"/>
              <a:gd name="connsiteY4827" fmla="*/ 3560706 h 6698675"/>
              <a:gd name="connsiteX4828" fmla="*/ 328825 w 8267681"/>
              <a:gd name="connsiteY4828" fmla="*/ 3565404 h 6698675"/>
              <a:gd name="connsiteX4829" fmla="*/ 326475 w 8267681"/>
              <a:gd name="connsiteY4829" fmla="*/ 3574799 h 6698675"/>
              <a:gd name="connsiteX4830" fmla="*/ 317083 w 8267681"/>
              <a:gd name="connsiteY4830" fmla="*/ 3565404 h 6698675"/>
              <a:gd name="connsiteX4831" fmla="*/ 573086 w 8267681"/>
              <a:gd name="connsiteY4831" fmla="*/ 3556009 h 6698675"/>
              <a:gd name="connsiteX4832" fmla="*/ 563691 w 8267681"/>
              <a:gd name="connsiteY4832" fmla="*/ 3572451 h 6698675"/>
              <a:gd name="connsiteX4833" fmla="*/ 558992 w 8267681"/>
              <a:gd name="connsiteY4833" fmla="*/ 3577148 h 6698675"/>
              <a:gd name="connsiteX4834" fmla="*/ 563691 w 8267681"/>
              <a:gd name="connsiteY4834" fmla="*/ 3581846 h 6698675"/>
              <a:gd name="connsiteX4835" fmla="*/ 582483 w 8267681"/>
              <a:gd name="connsiteY4835" fmla="*/ 3560707 h 6698675"/>
              <a:gd name="connsiteX4836" fmla="*/ 5881322 w 8267681"/>
              <a:gd name="connsiteY4836" fmla="*/ 3551311 h 6698675"/>
              <a:gd name="connsiteX4837" fmla="*/ 5883671 w 8267681"/>
              <a:gd name="connsiteY4837" fmla="*/ 3572450 h 6698675"/>
              <a:gd name="connsiteX4838" fmla="*/ 5869578 w 8267681"/>
              <a:gd name="connsiteY4838" fmla="*/ 3560706 h 6698675"/>
              <a:gd name="connsiteX4839" fmla="*/ 5881322 w 8267681"/>
              <a:gd name="connsiteY4839" fmla="*/ 3551311 h 6698675"/>
              <a:gd name="connsiteX4840" fmla="*/ 291244 w 8267681"/>
              <a:gd name="connsiteY4840" fmla="*/ 3548962 h 6698675"/>
              <a:gd name="connsiteX4841" fmla="*/ 300640 w 8267681"/>
              <a:gd name="connsiteY4841" fmla="*/ 3551311 h 6698675"/>
              <a:gd name="connsiteX4842" fmla="*/ 305336 w 8267681"/>
              <a:gd name="connsiteY4842" fmla="*/ 3556008 h 6698675"/>
              <a:gd name="connsiteX4843" fmla="*/ 310034 w 8267681"/>
              <a:gd name="connsiteY4843" fmla="*/ 3565403 h 6698675"/>
              <a:gd name="connsiteX4844" fmla="*/ 300640 w 8267681"/>
              <a:gd name="connsiteY4844" fmla="*/ 3567752 h 6698675"/>
              <a:gd name="connsiteX4845" fmla="*/ 291244 w 8267681"/>
              <a:gd name="connsiteY4845" fmla="*/ 3567752 h 6698675"/>
              <a:gd name="connsiteX4846" fmla="*/ 284197 w 8267681"/>
              <a:gd name="connsiteY4846" fmla="*/ 3563055 h 6698675"/>
              <a:gd name="connsiteX4847" fmla="*/ 286548 w 8267681"/>
              <a:gd name="connsiteY4847" fmla="*/ 3553660 h 6698675"/>
              <a:gd name="connsiteX4848" fmla="*/ 512020 w 8267681"/>
              <a:gd name="connsiteY4848" fmla="*/ 3546614 h 6698675"/>
              <a:gd name="connsiteX4849" fmla="*/ 502623 w 8267681"/>
              <a:gd name="connsiteY4849" fmla="*/ 3548963 h 6698675"/>
              <a:gd name="connsiteX4850" fmla="*/ 500278 w 8267681"/>
              <a:gd name="connsiteY4850" fmla="*/ 3551311 h 6698675"/>
              <a:gd name="connsiteX4851" fmla="*/ 502623 w 8267681"/>
              <a:gd name="connsiteY4851" fmla="*/ 3556009 h 6698675"/>
              <a:gd name="connsiteX4852" fmla="*/ 512020 w 8267681"/>
              <a:gd name="connsiteY4852" fmla="*/ 3556009 h 6698675"/>
              <a:gd name="connsiteX4853" fmla="*/ 514366 w 8267681"/>
              <a:gd name="connsiteY4853" fmla="*/ 3551311 h 6698675"/>
              <a:gd name="connsiteX4854" fmla="*/ 382854 w 8267681"/>
              <a:gd name="connsiteY4854" fmla="*/ 3541916 h 6698675"/>
              <a:gd name="connsiteX4855" fmla="*/ 373456 w 8267681"/>
              <a:gd name="connsiteY4855" fmla="*/ 3551311 h 6698675"/>
              <a:gd name="connsiteX4856" fmla="*/ 382854 w 8267681"/>
              <a:gd name="connsiteY4856" fmla="*/ 3556009 h 6698675"/>
              <a:gd name="connsiteX4857" fmla="*/ 392247 w 8267681"/>
              <a:gd name="connsiteY4857" fmla="*/ 3551311 h 6698675"/>
              <a:gd name="connsiteX4858" fmla="*/ 406339 w 8267681"/>
              <a:gd name="connsiteY4858" fmla="*/ 3584194 h 6698675"/>
              <a:gd name="connsiteX4859" fmla="*/ 418084 w 8267681"/>
              <a:gd name="connsiteY4859" fmla="*/ 3570102 h 6698675"/>
              <a:gd name="connsiteX4860" fmla="*/ 403989 w 8267681"/>
              <a:gd name="connsiteY4860" fmla="*/ 3548963 h 6698675"/>
              <a:gd name="connsiteX4861" fmla="*/ 411039 w 8267681"/>
              <a:gd name="connsiteY4861" fmla="*/ 3544265 h 6698675"/>
              <a:gd name="connsiteX4862" fmla="*/ 415734 w 8267681"/>
              <a:gd name="connsiteY4862" fmla="*/ 3541916 h 6698675"/>
              <a:gd name="connsiteX4863" fmla="*/ 392247 w 8267681"/>
              <a:gd name="connsiteY4863" fmla="*/ 3548963 h 6698675"/>
              <a:gd name="connsiteX4864" fmla="*/ 382854 w 8267681"/>
              <a:gd name="connsiteY4864" fmla="*/ 3541916 h 6698675"/>
              <a:gd name="connsiteX4865" fmla="*/ 901914 w 8267681"/>
              <a:gd name="connsiteY4865" fmla="*/ 3539567 h 6698675"/>
              <a:gd name="connsiteX4866" fmla="*/ 897220 w 8267681"/>
              <a:gd name="connsiteY4866" fmla="*/ 3548963 h 6698675"/>
              <a:gd name="connsiteX4867" fmla="*/ 906612 w 8267681"/>
              <a:gd name="connsiteY4867" fmla="*/ 3558358 h 6698675"/>
              <a:gd name="connsiteX4868" fmla="*/ 911313 w 8267681"/>
              <a:gd name="connsiteY4868" fmla="*/ 3560707 h 6698675"/>
              <a:gd name="connsiteX4869" fmla="*/ 920705 w 8267681"/>
              <a:gd name="connsiteY4869" fmla="*/ 3558358 h 6698675"/>
              <a:gd name="connsiteX4870" fmla="*/ 923055 w 8267681"/>
              <a:gd name="connsiteY4870" fmla="*/ 3558358 h 6698675"/>
              <a:gd name="connsiteX4871" fmla="*/ 927750 w 8267681"/>
              <a:gd name="connsiteY4871" fmla="*/ 3548963 h 6698675"/>
              <a:gd name="connsiteX4872" fmla="*/ 920705 w 8267681"/>
              <a:gd name="connsiteY4872" fmla="*/ 3541916 h 6698675"/>
              <a:gd name="connsiteX4873" fmla="*/ 911313 w 8267681"/>
              <a:gd name="connsiteY4873" fmla="*/ 3539567 h 6698675"/>
              <a:gd name="connsiteX4874" fmla="*/ 706966 w 8267681"/>
              <a:gd name="connsiteY4874" fmla="*/ 3534870 h 6698675"/>
              <a:gd name="connsiteX4875" fmla="*/ 704616 w 8267681"/>
              <a:gd name="connsiteY4875" fmla="*/ 3537219 h 6698675"/>
              <a:gd name="connsiteX4876" fmla="*/ 706966 w 8267681"/>
              <a:gd name="connsiteY4876" fmla="*/ 3541916 h 6698675"/>
              <a:gd name="connsiteX4877" fmla="*/ 711666 w 8267681"/>
              <a:gd name="connsiteY4877" fmla="*/ 3537219 h 6698675"/>
              <a:gd name="connsiteX4878" fmla="*/ 216085 w 8267681"/>
              <a:gd name="connsiteY4878" fmla="*/ 3534869 h 6698675"/>
              <a:gd name="connsiteX4879" fmla="*/ 220780 w 8267681"/>
              <a:gd name="connsiteY4879" fmla="*/ 3539567 h 6698675"/>
              <a:gd name="connsiteX4880" fmla="*/ 216085 w 8267681"/>
              <a:gd name="connsiteY4880" fmla="*/ 3546613 h 6698675"/>
              <a:gd name="connsiteX4881" fmla="*/ 211384 w 8267681"/>
              <a:gd name="connsiteY4881" fmla="*/ 3539567 h 6698675"/>
              <a:gd name="connsiteX4882" fmla="*/ 5916554 w 8267681"/>
              <a:gd name="connsiteY4882" fmla="*/ 3532521 h 6698675"/>
              <a:gd name="connsiteX4883" fmla="*/ 5918903 w 8267681"/>
              <a:gd name="connsiteY4883" fmla="*/ 3546614 h 6698675"/>
              <a:gd name="connsiteX4884" fmla="*/ 5916554 w 8267681"/>
              <a:gd name="connsiteY4884" fmla="*/ 3544265 h 6698675"/>
              <a:gd name="connsiteX4885" fmla="*/ 5909508 w 8267681"/>
              <a:gd name="connsiteY4885" fmla="*/ 3541916 h 6698675"/>
              <a:gd name="connsiteX4886" fmla="*/ 5916554 w 8267681"/>
              <a:gd name="connsiteY4886" fmla="*/ 3532521 h 6698675"/>
              <a:gd name="connsiteX4887" fmla="*/ 1183772 w 8267681"/>
              <a:gd name="connsiteY4887" fmla="*/ 3532521 h 6698675"/>
              <a:gd name="connsiteX4888" fmla="*/ 1179071 w 8267681"/>
              <a:gd name="connsiteY4888" fmla="*/ 3534870 h 6698675"/>
              <a:gd name="connsiteX4889" fmla="*/ 1181422 w 8267681"/>
              <a:gd name="connsiteY4889" fmla="*/ 3544265 h 6698675"/>
              <a:gd name="connsiteX4890" fmla="*/ 1183772 w 8267681"/>
              <a:gd name="connsiteY4890" fmla="*/ 3544265 h 6698675"/>
              <a:gd name="connsiteX4891" fmla="*/ 1188465 w 8267681"/>
              <a:gd name="connsiteY4891" fmla="*/ 3541916 h 6698675"/>
              <a:gd name="connsiteX4892" fmla="*/ 1195514 w 8267681"/>
              <a:gd name="connsiteY4892" fmla="*/ 3537219 h 6698675"/>
              <a:gd name="connsiteX4893" fmla="*/ 1193164 w 8267681"/>
              <a:gd name="connsiteY4893" fmla="*/ 3534870 h 6698675"/>
              <a:gd name="connsiteX4894" fmla="*/ 6023424 w 8267681"/>
              <a:gd name="connsiteY4894" fmla="*/ 3531640 h 6698675"/>
              <a:gd name="connsiteX4895" fmla="*/ 6026947 w 8267681"/>
              <a:gd name="connsiteY4895" fmla="*/ 3574799 h 6698675"/>
              <a:gd name="connsiteX4896" fmla="*/ 6023424 w 8267681"/>
              <a:gd name="connsiteY4896" fmla="*/ 3531640 h 6698675"/>
              <a:gd name="connsiteX4897" fmla="*/ 361714 w 8267681"/>
              <a:gd name="connsiteY4897" fmla="*/ 3523126 h 6698675"/>
              <a:gd name="connsiteX4898" fmla="*/ 352319 w 8267681"/>
              <a:gd name="connsiteY4898" fmla="*/ 3525475 h 6698675"/>
              <a:gd name="connsiteX4899" fmla="*/ 352319 w 8267681"/>
              <a:gd name="connsiteY4899" fmla="*/ 3541916 h 6698675"/>
              <a:gd name="connsiteX4900" fmla="*/ 371112 w 8267681"/>
              <a:gd name="connsiteY4900" fmla="*/ 3539567 h 6698675"/>
              <a:gd name="connsiteX4901" fmla="*/ 5855485 w 8267681"/>
              <a:gd name="connsiteY4901" fmla="*/ 3523125 h 6698675"/>
              <a:gd name="connsiteX4902" fmla="*/ 5862532 w 8267681"/>
              <a:gd name="connsiteY4902" fmla="*/ 3527823 h 6698675"/>
              <a:gd name="connsiteX4903" fmla="*/ 5860183 w 8267681"/>
              <a:gd name="connsiteY4903" fmla="*/ 3548962 h 6698675"/>
              <a:gd name="connsiteX4904" fmla="*/ 5855485 w 8267681"/>
              <a:gd name="connsiteY4904" fmla="*/ 3523125 h 6698675"/>
              <a:gd name="connsiteX4905" fmla="*/ 563691 w 8267681"/>
              <a:gd name="connsiteY4905" fmla="*/ 3518429 h 6698675"/>
              <a:gd name="connsiteX4906" fmla="*/ 554298 w 8267681"/>
              <a:gd name="connsiteY4906" fmla="*/ 3520778 h 6698675"/>
              <a:gd name="connsiteX4907" fmla="*/ 561342 w 8267681"/>
              <a:gd name="connsiteY4907" fmla="*/ 3546614 h 6698675"/>
              <a:gd name="connsiteX4908" fmla="*/ 570741 w 8267681"/>
              <a:gd name="connsiteY4908" fmla="*/ 3537219 h 6698675"/>
              <a:gd name="connsiteX4909" fmla="*/ 580133 w 8267681"/>
              <a:gd name="connsiteY4909" fmla="*/ 3537219 h 6698675"/>
              <a:gd name="connsiteX4910" fmla="*/ 603620 w 8267681"/>
              <a:gd name="connsiteY4910" fmla="*/ 3544265 h 6698675"/>
              <a:gd name="connsiteX4911" fmla="*/ 613018 w 8267681"/>
              <a:gd name="connsiteY4911" fmla="*/ 3553660 h 6698675"/>
              <a:gd name="connsiteX4912" fmla="*/ 631806 w 8267681"/>
              <a:gd name="connsiteY4912" fmla="*/ 3556009 h 6698675"/>
              <a:gd name="connsiteX4913" fmla="*/ 634153 w 8267681"/>
              <a:gd name="connsiteY4913" fmla="*/ 3553660 h 6698675"/>
              <a:gd name="connsiteX4914" fmla="*/ 634153 w 8267681"/>
              <a:gd name="connsiteY4914" fmla="*/ 3544265 h 6698675"/>
              <a:gd name="connsiteX4915" fmla="*/ 624761 w 8267681"/>
              <a:gd name="connsiteY4915" fmla="*/ 3523126 h 6698675"/>
              <a:gd name="connsiteX4916" fmla="*/ 615363 w 8267681"/>
              <a:gd name="connsiteY4916" fmla="*/ 3518429 h 6698675"/>
              <a:gd name="connsiteX4917" fmla="*/ 580133 w 8267681"/>
              <a:gd name="connsiteY4917" fmla="*/ 3532521 h 6698675"/>
              <a:gd name="connsiteX4918" fmla="*/ 570741 w 8267681"/>
              <a:gd name="connsiteY4918" fmla="*/ 3534870 h 6698675"/>
              <a:gd name="connsiteX4919" fmla="*/ 563691 w 8267681"/>
              <a:gd name="connsiteY4919" fmla="*/ 3518429 h 6698675"/>
              <a:gd name="connsiteX4920" fmla="*/ 1909560 w 8267681"/>
              <a:gd name="connsiteY4920" fmla="*/ 3518428 h 6698675"/>
              <a:gd name="connsiteX4921" fmla="*/ 1857884 w 8267681"/>
              <a:gd name="connsiteY4921" fmla="*/ 3556010 h 6698675"/>
              <a:gd name="connsiteX4922" fmla="*/ 1909560 w 8267681"/>
              <a:gd name="connsiteY4922" fmla="*/ 3518428 h 6698675"/>
              <a:gd name="connsiteX4923" fmla="*/ 241920 w 8267681"/>
              <a:gd name="connsiteY4923" fmla="*/ 3518428 h 6698675"/>
              <a:gd name="connsiteX4924" fmla="*/ 253663 w 8267681"/>
              <a:gd name="connsiteY4924" fmla="*/ 3530172 h 6698675"/>
              <a:gd name="connsiteX4925" fmla="*/ 246620 w 8267681"/>
              <a:gd name="connsiteY4925" fmla="*/ 3539567 h 6698675"/>
              <a:gd name="connsiteX4926" fmla="*/ 241920 w 8267681"/>
              <a:gd name="connsiteY4926" fmla="*/ 3546613 h 6698675"/>
              <a:gd name="connsiteX4927" fmla="*/ 234878 w 8267681"/>
              <a:gd name="connsiteY4927" fmla="*/ 3541916 h 6698675"/>
              <a:gd name="connsiteX4928" fmla="*/ 234878 w 8267681"/>
              <a:gd name="connsiteY4928" fmla="*/ 3532521 h 6698675"/>
              <a:gd name="connsiteX4929" fmla="*/ 234878 w 8267681"/>
              <a:gd name="connsiteY4929" fmla="*/ 3523126 h 6698675"/>
              <a:gd name="connsiteX4930" fmla="*/ 5914205 w 8267681"/>
              <a:gd name="connsiteY4930" fmla="*/ 3511381 h 6698675"/>
              <a:gd name="connsiteX4931" fmla="*/ 5921251 w 8267681"/>
              <a:gd name="connsiteY4931" fmla="*/ 3518427 h 6698675"/>
              <a:gd name="connsiteX4932" fmla="*/ 5918903 w 8267681"/>
              <a:gd name="connsiteY4932" fmla="*/ 3520776 h 6698675"/>
              <a:gd name="connsiteX4933" fmla="*/ 5916554 w 8267681"/>
              <a:gd name="connsiteY4933" fmla="*/ 3525474 h 6698675"/>
              <a:gd name="connsiteX4934" fmla="*/ 5914205 w 8267681"/>
              <a:gd name="connsiteY4934" fmla="*/ 3511381 h 6698675"/>
              <a:gd name="connsiteX4935" fmla="*/ 1957625 w 8267681"/>
              <a:gd name="connsiteY4935" fmla="*/ 3501386 h 6698675"/>
              <a:gd name="connsiteX4936" fmla="*/ 1951838 w 8267681"/>
              <a:gd name="connsiteY4936" fmla="*/ 3506684 h 6698675"/>
              <a:gd name="connsiteX4937" fmla="*/ 1754538 w 8267681"/>
              <a:gd name="connsiteY4937" fmla="*/ 3645263 h 6698675"/>
              <a:gd name="connsiteX4938" fmla="*/ 1857883 w 8267681"/>
              <a:gd name="connsiteY4938" fmla="*/ 3556009 h 6698675"/>
              <a:gd name="connsiteX4939" fmla="*/ 1957625 w 8267681"/>
              <a:gd name="connsiteY4939" fmla="*/ 3501386 h 6698675"/>
              <a:gd name="connsiteX4940" fmla="*/ 1350532 w 8267681"/>
              <a:gd name="connsiteY4940" fmla="*/ 3499638 h 6698675"/>
              <a:gd name="connsiteX4941" fmla="*/ 1343485 w 8267681"/>
              <a:gd name="connsiteY4941" fmla="*/ 3504336 h 6698675"/>
              <a:gd name="connsiteX4942" fmla="*/ 1350532 w 8267681"/>
              <a:gd name="connsiteY4942" fmla="*/ 3509034 h 6698675"/>
              <a:gd name="connsiteX4943" fmla="*/ 1355228 w 8267681"/>
              <a:gd name="connsiteY4943" fmla="*/ 3504336 h 6698675"/>
              <a:gd name="connsiteX4944" fmla="*/ 335876 w 8267681"/>
              <a:gd name="connsiteY4944" fmla="*/ 3499638 h 6698675"/>
              <a:gd name="connsiteX4945" fmla="*/ 328829 w 8267681"/>
              <a:gd name="connsiteY4945" fmla="*/ 3506685 h 6698675"/>
              <a:gd name="connsiteX4946" fmla="*/ 333528 w 8267681"/>
              <a:gd name="connsiteY4946" fmla="*/ 3516080 h 6698675"/>
              <a:gd name="connsiteX4947" fmla="*/ 335876 w 8267681"/>
              <a:gd name="connsiteY4947" fmla="*/ 3518429 h 6698675"/>
              <a:gd name="connsiteX4948" fmla="*/ 345271 w 8267681"/>
              <a:gd name="connsiteY4948" fmla="*/ 3504336 h 6698675"/>
              <a:gd name="connsiteX4949" fmla="*/ 6132642 w 8267681"/>
              <a:gd name="connsiteY4949" fmla="*/ 3497289 h 6698675"/>
              <a:gd name="connsiteX4950" fmla="*/ 6137340 w 8267681"/>
              <a:gd name="connsiteY4950" fmla="*/ 3511382 h 6698675"/>
              <a:gd name="connsiteX4951" fmla="*/ 6132642 w 8267681"/>
              <a:gd name="connsiteY4951" fmla="*/ 3506684 h 6698675"/>
              <a:gd name="connsiteX4952" fmla="*/ 6132642 w 8267681"/>
              <a:gd name="connsiteY4952" fmla="*/ 3497289 h 6698675"/>
              <a:gd name="connsiteX4953" fmla="*/ 5888369 w 8267681"/>
              <a:gd name="connsiteY4953" fmla="*/ 3497289 h 6698675"/>
              <a:gd name="connsiteX4954" fmla="*/ 5904810 w 8267681"/>
              <a:gd name="connsiteY4954" fmla="*/ 3506685 h 6698675"/>
              <a:gd name="connsiteX4955" fmla="*/ 5902462 w 8267681"/>
              <a:gd name="connsiteY4955" fmla="*/ 3534870 h 6698675"/>
              <a:gd name="connsiteX4956" fmla="*/ 5893067 w 8267681"/>
              <a:gd name="connsiteY4956" fmla="*/ 3530173 h 6698675"/>
              <a:gd name="connsiteX4957" fmla="*/ 5888369 w 8267681"/>
              <a:gd name="connsiteY4957" fmla="*/ 3497289 h 6698675"/>
              <a:gd name="connsiteX4958" fmla="*/ 1035796 w 8267681"/>
              <a:gd name="connsiteY4958" fmla="*/ 3494941 h 6698675"/>
              <a:gd name="connsiteX4959" fmla="*/ 1031098 w 8267681"/>
              <a:gd name="connsiteY4959" fmla="*/ 3499638 h 6698675"/>
              <a:gd name="connsiteX4960" fmla="*/ 1035796 w 8267681"/>
              <a:gd name="connsiteY4960" fmla="*/ 3506685 h 6698675"/>
              <a:gd name="connsiteX4961" fmla="*/ 1045190 w 8267681"/>
              <a:gd name="connsiteY4961" fmla="*/ 3506685 h 6698675"/>
              <a:gd name="connsiteX4962" fmla="*/ 1049888 w 8267681"/>
              <a:gd name="connsiteY4962" fmla="*/ 3499638 h 6698675"/>
              <a:gd name="connsiteX4963" fmla="*/ 1045190 w 8267681"/>
              <a:gd name="connsiteY4963" fmla="*/ 3494941 h 6698675"/>
              <a:gd name="connsiteX4964" fmla="*/ 1547828 w 8267681"/>
              <a:gd name="connsiteY4964" fmla="*/ 3490243 h 6698675"/>
              <a:gd name="connsiteX4965" fmla="*/ 1529038 w 8267681"/>
              <a:gd name="connsiteY4965" fmla="*/ 3494941 h 6698675"/>
              <a:gd name="connsiteX4966" fmla="*/ 1519643 w 8267681"/>
              <a:gd name="connsiteY4966" fmla="*/ 3509034 h 6698675"/>
              <a:gd name="connsiteX4967" fmla="*/ 1536086 w 8267681"/>
              <a:gd name="connsiteY4967" fmla="*/ 3516080 h 6698675"/>
              <a:gd name="connsiteX4968" fmla="*/ 1564271 w 8267681"/>
              <a:gd name="connsiteY4968" fmla="*/ 3516080 h 6698675"/>
              <a:gd name="connsiteX4969" fmla="*/ 1566621 w 8267681"/>
              <a:gd name="connsiteY4969" fmla="*/ 3509034 h 6698675"/>
              <a:gd name="connsiteX4970" fmla="*/ 1566621 w 8267681"/>
              <a:gd name="connsiteY4970" fmla="*/ 3499638 h 6698675"/>
              <a:gd name="connsiteX4971" fmla="*/ 960634 w 8267681"/>
              <a:gd name="connsiteY4971" fmla="*/ 3490243 h 6698675"/>
              <a:gd name="connsiteX4972" fmla="*/ 918355 w 8267681"/>
              <a:gd name="connsiteY4972" fmla="*/ 3492592 h 6698675"/>
              <a:gd name="connsiteX4973" fmla="*/ 911313 w 8267681"/>
              <a:gd name="connsiteY4973" fmla="*/ 3494941 h 6698675"/>
              <a:gd name="connsiteX4974" fmla="*/ 916007 w 8267681"/>
              <a:gd name="connsiteY4974" fmla="*/ 3504336 h 6698675"/>
              <a:gd name="connsiteX4975" fmla="*/ 934798 w 8267681"/>
              <a:gd name="connsiteY4975" fmla="*/ 3513731 h 6698675"/>
              <a:gd name="connsiteX4976" fmla="*/ 941843 w 8267681"/>
              <a:gd name="connsiteY4976" fmla="*/ 3518429 h 6698675"/>
              <a:gd name="connsiteX4977" fmla="*/ 946541 w 8267681"/>
              <a:gd name="connsiteY4977" fmla="*/ 3516080 h 6698675"/>
              <a:gd name="connsiteX4978" fmla="*/ 977076 w 8267681"/>
              <a:gd name="connsiteY4978" fmla="*/ 3501987 h 6698675"/>
              <a:gd name="connsiteX4979" fmla="*/ 986470 w 8267681"/>
              <a:gd name="connsiteY4979" fmla="*/ 3506685 h 6698675"/>
              <a:gd name="connsiteX4980" fmla="*/ 1012306 w 8267681"/>
              <a:gd name="connsiteY4980" fmla="*/ 3499638 h 6698675"/>
              <a:gd name="connsiteX4981" fmla="*/ 1071027 w 8267681"/>
              <a:gd name="connsiteY4981" fmla="*/ 3485546 h 6698675"/>
              <a:gd name="connsiteX4982" fmla="*/ 1063981 w 8267681"/>
              <a:gd name="connsiteY4982" fmla="*/ 3490243 h 6698675"/>
              <a:gd name="connsiteX4983" fmla="*/ 1071027 w 8267681"/>
              <a:gd name="connsiteY4983" fmla="*/ 3509034 h 6698675"/>
              <a:gd name="connsiteX4984" fmla="*/ 1103909 w 8267681"/>
              <a:gd name="connsiteY4984" fmla="*/ 3509034 h 6698675"/>
              <a:gd name="connsiteX4985" fmla="*/ 1120351 w 8267681"/>
              <a:gd name="connsiteY4985" fmla="*/ 3501987 h 6698675"/>
              <a:gd name="connsiteX4986" fmla="*/ 1129746 w 8267681"/>
              <a:gd name="connsiteY4986" fmla="*/ 3509034 h 6698675"/>
              <a:gd name="connsiteX4987" fmla="*/ 1155587 w 8267681"/>
              <a:gd name="connsiteY4987" fmla="*/ 3497290 h 6698675"/>
              <a:gd name="connsiteX4988" fmla="*/ 1148537 w 8267681"/>
              <a:gd name="connsiteY4988" fmla="*/ 3492592 h 6698675"/>
              <a:gd name="connsiteX4989" fmla="*/ 1122701 w 8267681"/>
              <a:gd name="connsiteY4989" fmla="*/ 3497290 h 6698675"/>
              <a:gd name="connsiteX4990" fmla="*/ 1106259 w 8267681"/>
              <a:gd name="connsiteY4990" fmla="*/ 3492592 h 6698675"/>
              <a:gd name="connsiteX4991" fmla="*/ 1080423 w 8267681"/>
              <a:gd name="connsiteY4991" fmla="*/ 3487894 h 6698675"/>
              <a:gd name="connsiteX4992" fmla="*/ 1071027 w 8267681"/>
              <a:gd name="connsiteY4992" fmla="*/ 3485546 h 6698675"/>
              <a:gd name="connsiteX4993" fmla="*/ 5981219 w 8267681"/>
              <a:gd name="connsiteY4993" fmla="*/ 3476994 h 6698675"/>
              <a:gd name="connsiteX4994" fmla="*/ 5975274 w 8267681"/>
              <a:gd name="connsiteY4994" fmla="*/ 3487894 h 6698675"/>
              <a:gd name="connsiteX4995" fmla="*/ 5981219 w 8267681"/>
              <a:gd name="connsiteY4995" fmla="*/ 3476994 h 6698675"/>
              <a:gd name="connsiteX4996" fmla="*/ 164409 w 8267681"/>
              <a:gd name="connsiteY4996" fmla="*/ 3466755 h 6698675"/>
              <a:gd name="connsiteX4997" fmla="*/ 173807 w 8267681"/>
              <a:gd name="connsiteY4997" fmla="*/ 3466755 h 6698675"/>
              <a:gd name="connsiteX4998" fmla="*/ 178501 w 8267681"/>
              <a:gd name="connsiteY4998" fmla="*/ 3471453 h 6698675"/>
              <a:gd name="connsiteX4999" fmla="*/ 176157 w 8267681"/>
              <a:gd name="connsiteY4999" fmla="*/ 3480848 h 6698675"/>
              <a:gd name="connsiteX5000" fmla="*/ 164409 w 8267681"/>
              <a:gd name="connsiteY5000" fmla="*/ 3494940 h 6698675"/>
              <a:gd name="connsiteX5001" fmla="*/ 162060 w 8267681"/>
              <a:gd name="connsiteY5001" fmla="*/ 3490243 h 6698675"/>
              <a:gd name="connsiteX5002" fmla="*/ 162060 w 8267681"/>
              <a:gd name="connsiteY5002" fmla="*/ 3480848 h 6698675"/>
              <a:gd name="connsiteX5003" fmla="*/ 159715 w 8267681"/>
              <a:gd name="connsiteY5003" fmla="*/ 3471453 h 6698675"/>
              <a:gd name="connsiteX5004" fmla="*/ 164409 w 8267681"/>
              <a:gd name="connsiteY5004" fmla="*/ 3466755 h 6698675"/>
              <a:gd name="connsiteX5005" fmla="*/ 1680832 w 8267681"/>
              <a:gd name="connsiteY5005" fmla="*/ 3462938 h 6698675"/>
              <a:gd name="connsiteX5006" fmla="*/ 1672313 w 8267681"/>
              <a:gd name="connsiteY5006" fmla="*/ 3464407 h 6698675"/>
              <a:gd name="connsiteX5007" fmla="*/ 1691104 w 8267681"/>
              <a:gd name="connsiteY5007" fmla="*/ 3466756 h 6698675"/>
              <a:gd name="connsiteX5008" fmla="*/ 1680832 w 8267681"/>
              <a:gd name="connsiteY5008" fmla="*/ 3462938 h 6698675"/>
              <a:gd name="connsiteX5009" fmla="*/ 418084 w 8267681"/>
              <a:gd name="connsiteY5009" fmla="*/ 3457359 h 6698675"/>
              <a:gd name="connsiteX5010" fmla="*/ 429826 w 8267681"/>
              <a:gd name="connsiteY5010" fmla="*/ 3457359 h 6698675"/>
              <a:gd name="connsiteX5011" fmla="*/ 436874 w 8267681"/>
              <a:gd name="connsiteY5011" fmla="*/ 3462057 h 6698675"/>
              <a:gd name="connsiteX5012" fmla="*/ 443918 w 8267681"/>
              <a:gd name="connsiteY5012" fmla="*/ 3466754 h 6698675"/>
              <a:gd name="connsiteX5013" fmla="*/ 436874 w 8267681"/>
              <a:gd name="connsiteY5013" fmla="*/ 3473801 h 6698675"/>
              <a:gd name="connsiteX5014" fmla="*/ 427482 w 8267681"/>
              <a:gd name="connsiteY5014" fmla="*/ 3471452 h 6698675"/>
              <a:gd name="connsiteX5015" fmla="*/ 420431 w 8267681"/>
              <a:gd name="connsiteY5015" fmla="*/ 3466754 h 6698675"/>
              <a:gd name="connsiteX5016" fmla="*/ 418084 w 8267681"/>
              <a:gd name="connsiteY5016" fmla="*/ 3457359 h 6698675"/>
              <a:gd name="connsiteX5017" fmla="*/ 3884861 w 8267681"/>
              <a:gd name="connsiteY5017" fmla="*/ 3455012 h 6698675"/>
              <a:gd name="connsiteX5018" fmla="*/ 3793259 w 8267681"/>
              <a:gd name="connsiteY5018" fmla="*/ 3513731 h 6698675"/>
              <a:gd name="connsiteX5019" fmla="*/ 3849629 w 8267681"/>
              <a:gd name="connsiteY5019" fmla="*/ 3490243 h 6698675"/>
              <a:gd name="connsiteX5020" fmla="*/ 3861373 w 8267681"/>
              <a:gd name="connsiteY5020" fmla="*/ 3509034 h 6698675"/>
              <a:gd name="connsiteX5021" fmla="*/ 3910697 w 8267681"/>
              <a:gd name="connsiteY5021" fmla="*/ 3471453 h 6698675"/>
              <a:gd name="connsiteX5022" fmla="*/ 3856675 w 8267681"/>
              <a:gd name="connsiteY5022" fmla="*/ 3490243 h 6698675"/>
              <a:gd name="connsiteX5023" fmla="*/ 3884861 w 8267681"/>
              <a:gd name="connsiteY5023" fmla="*/ 3455012 h 6698675"/>
              <a:gd name="connsiteX5024" fmla="*/ 241920 w 8267681"/>
              <a:gd name="connsiteY5024" fmla="*/ 3455011 h 6698675"/>
              <a:gd name="connsiteX5025" fmla="*/ 246620 w 8267681"/>
              <a:gd name="connsiteY5025" fmla="*/ 3462057 h 6698675"/>
              <a:gd name="connsiteX5026" fmla="*/ 246620 w 8267681"/>
              <a:gd name="connsiteY5026" fmla="*/ 3471452 h 6698675"/>
              <a:gd name="connsiteX5027" fmla="*/ 241921 w 8267681"/>
              <a:gd name="connsiteY5027" fmla="*/ 3478499 h 6698675"/>
              <a:gd name="connsiteX5028" fmla="*/ 258363 w 8267681"/>
              <a:gd name="connsiteY5028" fmla="*/ 3469103 h 6698675"/>
              <a:gd name="connsiteX5029" fmla="*/ 272455 w 8267681"/>
              <a:gd name="connsiteY5029" fmla="*/ 3478499 h 6698675"/>
              <a:gd name="connsiteX5030" fmla="*/ 258363 w 8267681"/>
              <a:gd name="connsiteY5030" fmla="*/ 3492592 h 6698675"/>
              <a:gd name="connsiteX5031" fmla="*/ 253663 w 8267681"/>
              <a:gd name="connsiteY5031" fmla="*/ 3504336 h 6698675"/>
              <a:gd name="connsiteX5032" fmla="*/ 263058 w 8267681"/>
              <a:gd name="connsiteY5032" fmla="*/ 3513731 h 6698675"/>
              <a:gd name="connsiteX5033" fmla="*/ 258363 w 8267681"/>
              <a:gd name="connsiteY5033" fmla="*/ 3513731 h 6698675"/>
              <a:gd name="connsiteX5034" fmla="*/ 225479 w 8267681"/>
              <a:gd name="connsiteY5034" fmla="*/ 3497290 h 6698675"/>
              <a:gd name="connsiteX5035" fmla="*/ 230434 w 8267681"/>
              <a:gd name="connsiteY5035" fmla="*/ 3486389 h 6698675"/>
              <a:gd name="connsiteX5036" fmla="*/ 241920 w 8267681"/>
              <a:gd name="connsiteY5036" fmla="*/ 3478499 h 6698675"/>
              <a:gd name="connsiteX5037" fmla="*/ 234878 w 8267681"/>
              <a:gd name="connsiteY5037" fmla="*/ 3478499 h 6698675"/>
              <a:gd name="connsiteX5038" fmla="*/ 232528 w 8267681"/>
              <a:gd name="connsiteY5038" fmla="*/ 3473801 h 6698675"/>
              <a:gd name="connsiteX5039" fmla="*/ 230177 w 8267681"/>
              <a:gd name="connsiteY5039" fmla="*/ 3464406 h 6698675"/>
              <a:gd name="connsiteX5040" fmla="*/ 234878 w 8267681"/>
              <a:gd name="connsiteY5040" fmla="*/ 3459709 h 6698675"/>
              <a:gd name="connsiteX5041" fmla="*/ 197292 w 8267681"/>
              <a:gd name="connsiteY5041" fmla="*/ 3455011 h 6698675"/>
              <a:gd name="connsiteX5042" fmla="*/ 206687 w 8267681"/>
              <a:gd name="connsiteY5042" fmla="*/ 3459710 h 6698675"/>
              <a:gd name="connsiteX5043" fmla="*/ 209036 w 8267681"/>
              <a:gd name="connsiteY5043" fmla="*/ 3462058 h 6698675"/>
              <a:gd name="connsiteX5044" fmla="*/ 199642 w 8267681"/>
              <a:gd name="connsiteY5044" fmla="*/ 3478500 h 6698675"/>
              <a:gd name="connsiteX5045" fmla="*/ 211384 w 8267681"/>
              <a:gd name="connsiteY5045" fmla="*/ 3487895 h 6698675"/>
              <a:gd name="connsiteX5046" fmla="*/ 204338 w 8267681"/>
              <a:gd name="connsiteY5046" fmla="*/ 3494941 h 6698675"/>
              <a:gd name="connsiteX5047" fmla="*/ 194942 w 8267681"/>
              <a:gd name="connsiteY5047" fmla="*/ 3490244 h 6698675"/>
              <a:gd name="connsiteX5048" fmla="*/ 194942 w 8267681"/>
              <a:gd name="connsiteY5048" fmla="*/ 3487895 h 6698675"/>
              <a:gd name="connsiteX5049" fmla="*/ 194942 w 8267681"/>
              <a:gd name="connsiteY5049" fmla="*/ 3478500 h 6698675"/>
              <a:gd name="connsiteX5050" fmla="*/ 190250 w 8267681"/>
              <a:gd name="connsiteY5050" fmla="*/ 3469105 h 6698675"/>
              <a:gd name="connsiteX5051" fmla="*/ 187900 w 8267681"/>
              <a:gd name="connsiteY5051" fmla="*/ 3459710 h 6698675"/>
              <a:gd name="connsiteX5052" fmla="*/ 216085 w 8267681"/>
              <a:gd name="connsiteY5052" fmla="*/ 3447964 h 6698675"/>
              <a:gd name="connsiteX5053" fmla="*/ 225478 w 8267681"/>
              <a:gd name="connsiteY5053" fmla="*/ 3452662 h 6698675"/>
              <a:gd name="connsiteX5054" fmla="*/ 230177 w 8267681"/>
              <a:gd name="connsiteY5054" fmla="*/ 3455010 h 6698675"/>
              <a:gd name="connsiteX5055" fmla="*/ 227827 w 8267681"/>
              <a:gd name="connsiteY5055" fmla="*/ 3457359 h 6698675"/>
              <a:gd name="connsiteX5056" fmla="*/ 218435 w 8267681"/>
              <a:gd name="connsiteY5056" fmla="*/ 3459708 h 6698675"/>
              <a:gd name="connsiteX5057" fmla="*/ 213735 w 8267681"/>
              <a:gd name="connsiteY5057" fmla="*/ 3455010 h 6698675"/>
              <a:gd name="connsiteX5058" fmla="*/ 1324697 w 8267681"/>
              <a:gd name="connsiteY5058" fmla="*/ 3443268 h 6698675"/>
              <a:gd name="connsiteX5059" fmla="*/ 1319997 w 8267681"/>
              <a:gd name="connsiteY5059" fmla="*/ 3452663 h 6698675"/>
              <a:gd name="connsiteX5060" fmla="*/ 1338790 w 8267681"/>
              <a:gd name="connsiteY5060" fmla="*/ 3462058 h 6698675"/>
              <a:gd name="connsiteX5061" fmla="*/ 1366975 w 8267681"/>
              <a:gd name="connsiteY5061" fmla="*/ 3455012 h 6698675"/>
              <a:gd name="connsiteX5062" fmla="*/ 1327043 w 8267681"/>
              <a:gd name="connsiteY5062" fmla="*/ 3445616 h 6698675"/>
              <a:gd name="connsiteX5063" fmla="*/ 1324697 w 8267681"/>
              <a:gd name="connsiteY5063" fmla="*/ 3443268 h 6698675"/>
              <a:gd name="connsiteX5064" fmla="*/ 1970609 w 8267681"/>
              <a:gd name="connsiteY5064" fmla="*/ 3438570 h 6698675"/>
              <a:gd name="connsiteX5065" fmla="*/ 1712247 w 8267681"/>
              <a:gd name="connsiteY5065" fmla="*/ 3628821 h 6698675"/>
              <a:gd name="connsiteX5066" fmla="*/ 1695805 w 8267681"/>
              <a:gd name="connsiteY5066" fmla="*/ 3642914 h 6698675"/>
              <a:gd name="connsiteX5067" fmla="*/ 1634734 w 8267681"/>
              <a:gd name="connsiteY5067" fmla="*/ 3626473 h 6698675"/>
              <a:gd name="connsiteX5068" fmla="*/ 1681712 w 8267681"/>
              <a:gd name="connsiteY5068" fmla="*/ 3654658 h 6698675"/>
              <a:gd name="connsiteX5069" fmla="*/ 1625342 w 8267681"/>
              <a:gd name="connsiteY5069" fmla="*/ 3701633 h 6698675"/>
              <a:gd name="connsiteX5070" fmla="*/ 1655873 w 8267681"/>
              <a:gd name="connsiteY5070" fmla="*/ 3725121 h 6698675"/>
              <a:gd name="connsiteX5071" fmla="*/ 1897797 w 8267681"/>
              <a:gd name="connsiteY5071" fmla="*/ 3687541 h 6698675"/>
              <a:gd name="connsiteX5072" fmla="*/ 1977656 w 8267681"/>
              <a:gd name="connsiteY5072" fmla="*/ 3548963 h 6698675"/>
              <a:gd name="connsiteX5073" fmla="*/ 1980006 w 8267681"/>
              <a:gd name="connsiteY5073" fmla="*/ 3471453 h 6698675"/>
              <a:gd name="connsiteX5074" fmla="*/ 1970609 w 8267681"/>
              <a:gd name="connsiteY5074" fmla="*/ 3438570 h 6698675"/>
              <a:gd name="connsiteX5075" fmla="*/ 4252518 w 8267681"/>
              <a:gd name="connsiteY5075" fmla="*/ 3437065 h 6698675"/>
              <a:gd name="connsiteX5076" fmla="*/ 4246572 w 8267681"/>
              <a:gd name="connsiteY5076" fmla="*/ 3447965 h 6698675"/>
              <a:gd name="connsiteX5077" fmla="*/ 4252518 w 8267681"/>
              <a:gd name="connsiteY5077" fmla="*/ 3437065 h 6698675"/>
              <a:gd name="connsiteX5078" fmla="*/ 1188465 w 8267681"/>
              <a:gd name="connsiteY5078" fmla="*/ 3436221 h 6698675"/>
              <a:gd name="connsiteX5079" fmla="*/ 1172024 w 8267681"/>
              <a:gd name="connsiteY5079" fmla="*/ 3445616 h 6698675"/>
              <a:gd name="connsiteX5080" fmla="*/ 1164979 w 8267681"/>
              <a:gd name="connsiteY5080" fmla="*/ 3450314 h 6698675"/>
              <a:gd name="connsiteX5081" fmla="*/ 1181422 w 8267681"/>
              <a:gd name="connsiteY5081" fmla="*/ 3459709 h 6698675"/>
              <a:gd name="connsiteX5082" fmla="*/ 1207257 w 8267681"/>
              <a:gd name="connsiteY5082" fmla="*/ 3459709 h 6698675"/>
              <a:gd name="connsiteX5083" fmla="*/ 1240142 w 8267681"/>
              <a:gd name="connsiteY5083" fmla="*/ 3457360 h 6698675"/>
              <a:gd name="connsiteX5084" fmla="*/ 1251884 w 8267681"/>
              <a:gd name="connsiteY5084" fmla="*/ 3450314 h 6698675"/>
              <a:gd name="connsiteX5085" fmla="*/ 1230743 w 8267681"/>
              <a:gd name="connsiteY5085" fmla="*/ 3438570 h 6698675"/>
              <a:gd name="connsiteX5086" fmla="*/ 1204906 w 8267681"/>
              <a:gd name="connsiteY5086" fmla="*/ 3440919 h 6698675"/>
              <a:gd name="connsiteX5087" fmla="*/ 1188465 w 8267681"/>
              <a:gd name="connsiteY5087" fmla="*/ 3436221 h 6698675"/>
              <a:gd name="connsiteX5088" fmla="*/ 1035796 w 8267681"/>
              <a:gd name="connsiteY5088" fmla="*/ 3433872 h 6698675"/>
              <a:gd name="connsiteX5089" fmla="*/ 1002912 w 8267681"/>
              <a:gd name="connsiteY5089" fmla="*/ 3440919 h 6698675"/>
              <a:gd name="connsiteX5090" fmla="*/ 984126 w 8267681"/>
              <a:gd name="connsiteY5090" fmla="*/ 3438570 h 6698675"/>
              <a:gd name="connsiteX5091" fmla="*/ 974727 w 8267681"/>
              <a:gd name="connsiteY5091" fmla="*/ 3447965 h 6698675"/>
              <a:gd name="connsiteX5092" fmla="*/ 986470 w 8267681"/>
              <a:gd name="connsiteY5092" fmla="*/ 3452663 h 6698675"/>
              <a:gd name="connsiteX5093" fmla="*/ 1054584 w 8267681"/>
              <a:gd name="connsiteY5093" fmla="*/ 3457360 h 6698675"/>
              <a:gd name="connsiteX5094" fmla="*/ 1063981 w 8267681"/>
              <a:gd name="connsiteY5094" fmla="*/ 3457360 h 6698675"/>
              <a:gd name="connsiteX5095" fmla="*/ 1087468 w 8267681"/>
              <a:gd name="connsiteY5095" fmla="*/ 3466756 h 6698675"/>
              <a:gd name="connsiteX5096" fmla="*/ 1096866 w 8267681"/>
              <a:gd name="connsiteY5096" fmla="*/ 3469104 h 6698675"/>
              <a:gd name="connsiteX5097" fmla="*/ 1122701 w 8267681"/>
              <a:gd name="connsiteY5097" fmla="*/ 3452663 h 6698675"/>
              <a:gd name="connsiteX5098" fmla="*/ 1132095 w 8267681"/>
              <a:gd name="connsiteY5098" fmla="*/ 3462058 h 6698675"/>
              <a:gd name="connsiteX5099" fmla="*/ 1153236 w 8267681"/>
              <a:gd name="connsiteY5099" fmla="*/ 3452663 h 6698675"/>
              <a:gd name="connsiteX5100" fmla="*/ 1148537 w 8267681"/>
              <a:gd name="connsiteY5100" fmla="*/ 3443268 h 6698675"/>
              <a:gd name="connsiteX5101" fmla="*/ 1061632 w 8267681"/>
              <a:gd name="connsiteY5101" fmla="*/ 3445616 h 6698675"/>
              <a:gd name="connsiteX5102" fmla="*/ 1035796 w 8267681"/>
              <a:gd name="connsiteY5102" fmla="*/ 3433872 h 6698675"/>
              <a:gd name="connsiteX5103" fmla="*/ 5782674 w 8267681"/>
              <a:gd name="connsiteY5103" fmla="*/ 3429174 h 6698675"/>
              <a:gd name="connsiteX5104" fmla="*/ 5792069 w 8267681"/>
              <a:gd name="connsiteY5104" fmla="*/ 3436220 h 6698675"/>
              <a:gd name="connsiteX5105" fmla="*/ 5787371 w 8267681"/>
              <a:gd name="connsiteY5105" fmla="*/ 3459708 h 6698675"/>
              <a:gd name="connsiteX5106" fmla="*/ 5810859 w 8267681"/>
              <a:gd name="connsiteY5106" fmla="*/ 3447964 h 6698675"/>
              <a:gd name="connsiteX5107" fmla="*/ 5841393 w 8267681"/>
              <a:gd name="connsiteY5107" fmla="*/ 3462057 h 6698675"/>
              <a:gd name="connsiteX5108" fmla="*/ 5869578 w 8267681"/>
              <a:gd name="connsiteY5108" fmla="*/ 3480847 h 6698675"/>
              <a:gd name="connsiteX5109" fmla="*/ 5864881 w 8267681"/>
              <a:gd name="connsiteY5109" fmla="*/ 3509033 h 6698675"/>
              <a:gd name="connsiteX5110" fmla="*/ 5766232 w 8267681"/>
              <a:gd name="connsiteY5110" fmla="*/ 3462057 h 6698675"/>
              <a:gd name="connsiteX5111" fmla="*/ 5780325 w 8267681"/>
              <a:gd name="connsiteY5111" fmla="*/ 3476150 h 6698675"/>
              <a:gd name="connsiteX5112" fmla="*/ 5848439 w 8267681"/>
              <a:gd name="connsiteY5112" fmla="*/ 3516079 h 6698675"/>
              <a:gd name="connsiteX5113" fmla="*/ 5843742 w 8267681"/>
              <a:gd name="connsiteY5113" fmla="*/ 3518428 h 6698675"/>
              <a:gd name="connsiteX5114" fmla="*/ 5843742 w 8267681"/>
              <a:gd name="connsiteY5114" fmla="*/ 3539567 h 6698675"/>
              <a:gd name="connsiteX5115" fmla="*/ 5796766 w 8267681"/>
              <a:gd name="connsiteY5115" fmla="*/ 3506684 h 6698675"/>
              <a:gd name="connsiteX5116" fmla="*/ 5796766 w 8267681"/>
              <a:gd name="connsiteY5116" fmla="*/ 3509033 h 6698675"/>
              <a:gd name="connsiteX5117" fmla="*/ 5843742 w 8267681"/>
              <a:gd name="connsiteY5117" fmla="*/ 3541916 h 6698675"/>
              <a:gd name="connsiteX5118" fmla="*/ 5843742 w 8267681"/>
              <a:gd name="connsiteY5118" fmla="*/ 3567752 h 6698675"/>
              <a:gd name="connsiteX5119" fmla="*/ 5831998 w 8267681"/>
              <a:gd name="connsiteY5119" fmla="*/ 3577147 h 6698675"/>
              <a:gd name="connsiteX5120" fmla="*/ 5813208 w 8267681"/>
              <a:gd name="connsiteY5120" fmla="*/ 3541916 h 6698675"/>
              <a:gd name="connsiteX5121" fmla="*/ 5796766 w 8267681"/>
              <a:gd name="connsiteY5121" fmla="*/ 3563054 h 6698675"/>
              <a:gd name="connsiteX5122" fmla="*/ 5782674 w 8267681"/>
              <a:gd name="connsiteY5122" fmla="*/ 3553659 h 6698675"/>
              <a:gd name="connsiteX5123" fmla="*/ 5759186 w 8267681"/>
              <a:gd name="connsiteY5123" fmla="*/ 3487894 h 6698675"/>
              <a:gd name="connsiteX5124" fmla="*/ 5780325 w 8267681"/>
              <a:gd name="connsiteY5124" fmla="*/ 3501986 h 6698675"/>
              <a:gd name="connsiteX5125" fmla="*/ 5777976 w 8267681"/>
              <a:gd name="connsiteY5125" fmla="*/ 3497289 h 6698675"/>
              <a:gd name="connsiteX5126" fmla="*/ 5756837 w 8267681"/>
              <a:gd name="connsiteY5126" fmla="*/ 3485545 h 6698675"/>
              <a:gd name="connsiteX5127" fmla="*/ 5756837 w 8267681"/>
              <a:gd name="connsiteY5127" fmla="*/ 3466755 h 6698675"/>
              <a:gd name="connsiteX5128" fmla="*/ 5782674 w 8267681"/>
              <a:gd name="connsiteY5128" fmla="*/ 3429174 h 6698675"/>
              <a:gd name="connsiteX5129" fmla="*/ 180851 w 8267681"/>
              <a:gd name="connsiteY5129" fmla="*/ 3429174 h 6698675"/>
              <a:gd name="connsiteX5130" fmla="*/ 192596 w 8267681"/>
              <a:gd name="connsiteY5130" fmla="*/ 3429174 h 6698675"/>
              <a:gd name="connsiteX5131" fmla="*/ 199642 w 8267681"/>
              <a:gd name="connsiteY5131" fmla="*/ 3438569 h 6698675"/>
              <a:gd name="connsiteX5132" fmla="*/ 192596 w 8267681"/>
              <a:gd name="connsiteY5132" fmla="*/ 3455011 h 6698675"/>
              <a:gd name="connsiteX5133" fmla="*/ 185549 w 8267681"/>
              <a:gd name="connsiteY5133" fmla="*/ 3445615 h 6698675"/>
              <a:gd name="connsiteX5134" fmla="*/ 176157 w 8267681"/>
              <a:gd name="connsiteY5134" fmla="*/ 3450313 h 6698675"/>
              <a:gd name="connsiteX5135" fmla="*/ 166757 w 8267681"/>
              <a:gd name="connsiteY5135" fmla="*/ 3445615 h 6698675"/>
              <a:gd name="connsiteX5136" fmla="*/ 166757 w 8267681"/>
              <a:gd name="connsiteY5136" fmla="*/ 3431523 h 6698675"/>
              <a:gd name="connsiteX5137" fmla="*/ 180851 w 8267681"/>
              <a:gd name="connsiteY5137" fmla="*/ 3429174 h 6698675"/>
              <a:gd name="connsiteX5138" fmla="*/ 366411 w 8267681"/>
              <a:gd name="connsiteY5138" fmla="*/ 3426826 h 6698675"/>
              <a:gd name="connsiteX5139" fmla="*/ 371112 w 8267681"/>
              <a:gd name="connsiteY5139" fmla="*/ 3431524 h 6698675"/>
              <a:gd name="connsiteX5140" fmla="*/ 380504 w 8267681"/>
              <a:gd name="connsiteY5140" fmla="*/ 3431524 h 6698675"/>
              <a:gd name="connsiteX5141" fmla="*/ 382854 w 8267681"/>
              <a:gd name="connsiteY5141" fmla="*/ 3429175 h 6698675"/>
              <a:gd name="connsiteX5142" fmla="*/ 380504 w 8267681"/>
              <a:gd name="connsiteY5142" fmla="*/ 3426826 h 6698675"/>
              <a:gd name="connsiteX5143" fmla="*/ 371112 w 8267681"/>
              <a:gd name="connsiteY5143" fmla="*/ 3426826 h 6698675"/>
              <a:gd name="connsiteX5144" fmla="*/ 556661 w 8267681"/>
              <a:gd name="connsiteY5144" fmla="*/ 3417430 h 6698675"/>
              <a:gd name="connsiteX5145" fmla="*/ 566057 w 8267681"/>
              <a:gd name="connsiteY5145" fmla="*/ 3417430 h 6698675"/>
              <a:gd name="connsiteX5146" fmla="*/ 568408 w 8267681"/>
              <a:gd name="connsiteY5146" fmla="*/ 3422128 h 6698675"/>
              <a:gd name="connsiteX5147" fmla="*/ 566057 w 8267681"/>
              <a:gd name="connsiteY5147" fmla="*/ 3426825 h 6698675"/>
              <a:gd name="connsiteX5148" fmla="*/ 556661 w 8267681"/>
              <a:gd name="connsiteY5148" fmla="*/ 3429174 h 6698675"/>
              <a:gd name="connsiteX5149" fmla="*/ 549615 w 8267681"/>
              <a:gd name="connsiteY5149" fmla="*/ 3424476 h 6698675"/>
              <a:gd name="connsiteX5150" fmla="*/ 1836730 w 8267681"/>
              <a:gd name="connsiteY5150" fmla="*/ 3415083 h 6698675"/>
              <a:gd name="connsiteX5151" fmla="*/ 1800581 w 8267681"/>
              <a:gd name="connsiteY5151" fmla="*/ 3444536 h 6698675"/>
              <a:gd name="connsiteX5152" fmla="*/ 1801497 w 8267681"/>
              <a:gd name="connsiteY5152" fmla="*/ 3443268 h 6698675"/>
              <a:gd name="connsiteX5153" fmla="*/ 535524 w 8267681"/>
              <a:gd name="connsiteY5153" fmla="*/ 3408035 h 6698675"/>
              <a:gd name="connsiteX5154" fmla="*/ 542573 w 8267681"/>
              <a:gd name="connsiteY5154" fmla="*/ 3415081 h 6698675"/>
              <a:gd name="connsiteX5155" fmla="*/ 542573 w 8267681"/>
              <a:gd name="connsiteY5155" fmla="*/ 3417430 h 6698675"/>
              <a:gd name="connsiteX5156" fmla="*/ 533175 w 8267681"/>
              <a:gd name="connsiteY5156" fmla="*/ 3431523 h 6698675"/>
              <a:gd name="connsiteX5157" fmla="*/ 523780 w 8267681"/>
              <a:gd name="connsiteY5157" fmla="*/ 3426825 h 6698675"/>
              <a:gd name="connsiteX5158" fmla="*/ 521430 w 8267681"/>
              <a:gd name="connsiteY5158" fmla="*/ 3424476 h 6698675"/>
              <a:gd name="connsiteX5159" fmla="*/ 521430 w 8267681"/>
              <a:gd name="connsiteY5159" fmla="*/ 3415081 h 6698675"/>
              <a:gd name="connsiteX5160" fmla="*/ 133892 w 8267681"/>
              <a:gd name="connsiteY5160" fmla="*/ 3408035 h 6698675"/>
              <a:gd name="connsiteX5161" fmla="*/ 138576 w 8267681"/>
              <a:gd name="connsiteY5161" fmla="*/ 3412733 h 6698675"/>
              <a:gd name="connsiteX5162" fmla="*/ 140934 w 8267681"/>
              <a:gd name="connsiteY5162" fmla="*/ 3415081 h 6698675"/>
              <a:gd name="connsiteX5163" fmla="*/ 152666 w 8267681"/>
              <a:gd name="connsiteY5163" fmla="*/ 3419779 h 6698675"/>
              <a:gd name="connsiteX5164" fmla="*/ 157364 w 8267681"/>
              <a:gd name="connsiteY5164" fmla="*/ 3422128 h 6698675"/>
              <a:gd name="connsiteX5165" fmla="*/ 152666 w 8267681"/>
              <a:gd name="connsiteY5165" fmla="*/ 3426825 h 6698675"/>
              <a:gd name="connsiteX5166" fmla="*/ 143276 w 8267681"/>
              <a:gd name="connsiteY5166" fmla="*/ 3429174 h 6698675"/>
              <a:gd name="connsiteX5167" fmla="*/ 133892 w 8267681"/>
              <a:gd name="connsiteY5167" fmla="*/ 3424476 h 6698675"/>
              <a:gd name="connsiteX5168" fmla="*/ 131534 w 8267681"/>
              <a:gd name="connsiteY5168" fmla="*/ 3422128 h 6698675"/>
              <a:gd name="connsiteX5169" fmla="*/ 126833 w 8267681"/>
              <a:gd name="connsiteY5169" fmla="*/ 3412733 h 6698675"/>
              <a:gd name="connsiteX5170" fmla="*/ 201992 w 8267681"/>
              <a:gd name="connsiteY5170" fmla="*/ 3405686 h 6698675"/>
              <a:gd name="connsiteX5171" fmla="*/ 213735 w 8267681"/>
              <a:gd name="connsiteY5171" fmla="*/ 3408035 h 6698675"/>
              <a:gd name="connsiteX5172" fmla="*/ 216085 w 8267681"/>
              <a:gd name="connsiteY5172" fmla="*/ 3412732 h 6698675"/>
              <a:gd name="connsiteX5173" fmla="*/ 213735 w 8267681"/>
              <a:gd name="connsiteY5173" fmla="*/ 3415081 h 6698675"/>
              <a:gd name="connsiteX5174" fmla="*/ 206687 w 8267681"/>
              <a:gd name="connsiteY5174" fmla="*/ 3419779 h 6698675"/>
              <a:gd name="connsiteX5175" fmla="*/ 204338 w 8267681"/>
              <a:gd name="connsiteY5175" fmla="*/ 3422127 h 6698675"/>
              <a:gd name="connsiteX5176" fmla="*/ 201992 w 8267681"/>
              <a:gd name="connsiteY5176" fmla="*/ 3419779 h 6698675"/>
              <a:gd name="connsiteX5177" fmla="*/ 197293 w 8267681"/>
              <a:gd name="connsiteY5177" fmla="*/ 3410384 h 6698675"/>
              <a:gd name="connsiteX5178" fmla="*/ 1174373 w 8267681"/>
              <a:gd name="connsiteY5178" fmla="*/ 3398641 h 6698675"/>
              <a:gd name="connsiteX5179" fmla="*/ 1174373 w 8267681"/>
              <a:gd name="connsiteY5179" fmla="*/ 3405687 h 6698675"/>
              <a:gd name="connsiteX5180" fmla="*/ 1183772 w 8267681"/>
              <a:gd name="connsiteY5180" fmla="*/ 3408036 h 6698675"/>
              <a:gd name="connsiteX5181" fmla="*/ 1188465 w 8267681"/>
              <a:gd name="connsiteY5181" fmla="*/ 3400990 h 6698675"/>
              <a:gd name="connsiteX5182" fmla="*/ 1183772 w 8267681"/>
              <a:gd name="connsiteY5182" fmla="*/ 3398641 h 6698675"/>
              <a:gd name="connsiteX5183" fmla="*/ 481502 w 8267681"/>
              <a:gd name="connsiteY5183" fmla="*/ 3398640 h 6698675"/>
              <a:gd name="connsiteX5184" fmla="*/ 495596 w 8267681"/>
              <a:gd name="connsiteY5184" fmla="*/ 3408036 h 6698675"/>
              <a:gd name="connsiteX5185" fmla="*/ 490896 w 8267681"/>
              <a:gd name="connsiteY5185" fmla="*/ 3415083 h 6698675"/>
              <a:gd name="connsiteX5186" fmla="*/ 490896 w 8267681"/>
              <a:gd name="connsiteY5186" fmla="*/ 3424478 h 6698675"/>
              <a:gd name="connsiteX5187" fmla="*/ 465059 w 8267681"/>
              <a:gd name="connsiteY5187" fmla="*/ 3433873 h 6698675"/>
              <a:gd name="connsiteX5188" fmla="*/ 458011 w 8267681"/>
              <a:gd name="connsiteY5188" fmla="*/ 3431524 h 6698675"/>
              <a:gd name="connsiteX5189" fmla="*/ 460360 w 8267681"/>
              <a:gd name="connsiteY5189" fmla="*/ 3422129 h 6698675"/>
              <a:gd name="connsiteX5190" fmla="*/ 887821 w 8267681"/>
              <a:gd name="connsiteY5190" fmla="*/ 3396292 h 6698675"/>
              <a:gd name="connsiteX5191" fmla="*/ 887821 w 8267681"/>
              <a:gd name="connsiteY5191" fmla="*/ 3405687 h 6698675"/>
              <a:gd name="connsiteX5192" fmla="*/ 894870 w 8267681"/>
              <a:gd name="connsiteY5192" fmla="*/ 3412734 h 6698675"/>
              <a:gd name="connsiteX5193" fmla="*/ 899565 w 8267681"/>
              <a:gd name="connsiteY5193" fmla="*/ 3405687 h 6698675"/>
              <a:gd name="connsiteX5194" fmla="*/ 408689 w 8267681"/>
              <a:gd name="connsiteY5194" fmla="*/ 3396291 h 6698675"/>
              <a:gd name="connsiteX5195" fmla="*/ 422782 w 8267681"/>
              <a:gd name="connsiteY5195" fmla="*/ 3396291 h 6698675"/>
              <a:gd name="connsiteX5196" fmla="*/ 429826 w 8267681"/>
              <a:gd name="connsiteY5196" fmla="*/ 3403338 h 6698675"/>
              <a:gd name="connsiteX5197" fmla="*/ 446268 w 8267681"/>
              <a:gd name="connsiteY5197" fmla="*/ 3415082 h 6698675"/>
              <a:gd name="connsiteX5198" fmla="*/ 453317 w 8267681"/>
              <a:gd name="connsiteY5198" fmla="*/ 3431524 h 6698675"/>
              <a:gd name="connsiteX5199" fmla="*/ 443919 w 8267681"/>
              <a:gd name="connsiteY5199" fmla="*/ 3440919 h 6698675"/>
              <a:gd name="connsiteX5200" fmla="*/ 432176 w 8267681"/>
              <a:gd name="connsiteY5200" fmla="*/ 3433872 h 6698675"/>
              <a:gd name="connsiteX5201" fmla="*/ 439224 w 8267681"/>
              <a:gd name="connsiteY5201" fmla="*/ 3419780 h 6698675"/>
              <a:gd name="connsiteX5202" fmla="*/ 420433 w 8267681"/>
              <a:gd name="connsiteY5202" fmla="*/ 3405687 h 6698675"/>
              <a:gd name="connsiteX5203" fmla="*/ 413389 w 8267681"/>
              <a:gd name="connsiteY5203" fmla="*/ 3403338 h 6698675"/>
              <a:gd name="connsiteX5204" fmla="*/ 408689 w 8267681"/>
              <a:gd name="connsiteY5204" fmla="*/ 3396291 h 6698675"/>
              <a:gd name="connsiteX5205" fmla="*/ 267758 w 8267681"/>
              <a:gd name="connsiteY5205" fmla="*/ 3393943 h 6698675"/>
              <a:gd name="connsiteX5206" fmla="*/ 263063 w 8267681"/>
              <a:gd name="connsiteY5206" fmla="*/ 3396292 h 6698675"/>
              <a:gd name="connsiteX5207" fmla="*/ 265413 w 8267681"/>
              <a:gd name="connsiteY5207" fmla="*/ 3405687 h 6698675"/>
              <a:gd name="connsiteX5208" fmla="*/ 267758 w 8267681"/>
              <a:gd name="connsiteY5208" fmla="*/ 3408036 h 6698675"/>
              <a:gd name="connsiteX5209" fmla="*/ 277156 w 8267681"/>
              <a:gd name="connsiteY5209" fmla="*/ 3408036 h 6698675"/>
              <a:gd name="connsiteX5210" fmla="*/ 279506 w 8267681"/>
              <a:gd name="connsiteY5210" fmla="*/ 3403339 h 6698675"/>
              <a:gd name="connsiteX5211" fmla="*/ 274807 w 8267681"/>
              <a:gd name="connsiteY5211" fmla="*/ 3398641 h 6698675"/>
              <a:gd name="connsiteX5212" fmla="*/ 272457 w 8267681"/>
              <a:gd name="connsiteY5212" fmla="*/ 3396292 h 6698675"/>
              <a:gd name="connsiteX5213" fmla="*/ 1040496 w 8267681"/>
              <a:gd name="connsiteY5213" fmla="*/ 3389246 h 6698675"/>
              <a:gd name="connsiteX5214" fmla="*/ 1031098 w 8267681"/>
              <a:gd name="connsiteY5214" fmla="*/ 3393943 h 6698675"/>
              <a:gd name="connsiteX5215" fmla="*/ 1024053 w 8267681"/>
              <a:gd name="connsiteY5215" fmla="*/ 3393943 h 6698675"/>
              <a:gd name="connsiteX5216" fmla="*/ 1031098 w 8267681"/>
              <a:gd name="connsiteY5216" fmla="*/ 3398641 h 6698675"/>
              <a:gd name="connsiteX5217" fmla="*/ 1040496 w 8267681"/>
              <a:gd name="connsiteY5217" fmla="*/ 3400990 h 6698675"/>
              <a:gd name="connsiteX5218" fmla="*/ 1049888 w 8267681"/>
              <a:gd name="connsiteY5218" fmla="*/ 3400990 h 6698675"/>
              <a:gd name="connsiteX5219" fmla="*/ 1054584 w 8267681"/>
              <a:gd name="connsiteY5219" fmla="*/ 3396292 h 6698675"/>
              <a:gd name="connsiteX5220" fmla="*/ 1049888 w 8267681"/>
              <a:gd name="connsiteY5220" fmla="*/ 3393943 h 6698675"/>
              <a:gd name="connsiteX5221" fmla="*/ 159715 w 8267681"/>
              <a:gd name="connsiteY5221" fmla="*/ 3386896 h 6698675"/>
              <a:gd name="connsiteX5222" fmla="*/ 164409 w 8267681"/>
              <a:gd name="connsiteY5222" fmla="*/ 3393942 h 6698675"/>
              <a:gd name="connsiteX5223" fmla="*/ 162060 w 8267681"/>
              <a:gd name="connsiteY5223" fmla="*/ 3403338 h 6698675"/>
              <a:gd name="connsiteX5224" fmla="*/ 159715 w 8267681"/>
              <a:gd name="connsiteY5224" fmla="*/ 3403338 h 6698675"/>
              <a:gd name="connsiteX5225" fmla="*/ 157364 w 8267681"/>
              <a:gd name="connsiteY5225" fmla="*/ 3403338 h 6698675"/>
              <a:gd name="connsiteX5226" fmla="*/ 152666 w 8267681"/>
              <a:gd name="connsiteY5226" fmla="*/ 3393942 h 6698675"/>
              <a:gd name="connsiteX5227" fmla="*/ 117450 w 8267681"/>
              <a:gd name="connsiteY5227" fmla="*/ 3386896 h 6698675"/>
              <a:gd name="connsiteX5228" fmla="*/ 124492 w 8267681"/>
              <a:gd name="connsiteY5228" fmla="*/ 3393942 h 6698675"/>
              <a:gd name="connsiteX5229" fmla="*/ 117450 w 8267681"/>
              <a:gd name="connsiteY5229" fmla="*/ 3398640 h 6698675"/>
              <a:gd name="connsiteX5230" fmla="*/ 108049 w 8267681"/>
              <a:gd name="connsiteY5230" fmla="*/ 3396291 h 6698675"/>
              <a:gd name="connsiteX5231" fmla="*/ 742210 w 8267681"/>
              <a:gd name="connsiteY5231" fmla="*/ 3379850 h 6698675"/>
              <a:gd name="connsiteX5232" fmla="*/ 751602 w 8267681"/>
              <a:gd name="connsiteY5232" fmla="*/ 3379850 h 6698675"/>
              <a:gd name="connsiteX5233" fmla="*/ 758653 w 8267681"/>
              <a:gd name="connsiteY5233" fmla="*/ 3386896 h 6698675"/>
              <a:gd name="connsiteX5234" fmla="*/ 739860 w 8267681"/>
              <a:gd name="connsiteY5234" fmla="*/ 3393943 h 6698675"/>
              <a:gd name="connsiteX5235" fmla="*/ 735161 w 8267681"/>
              <a:gd name="connsiteY5235" fmla="*/ 3389245 h 6698675"/>
              <a:gd name="connsiteX5236" fmla="*/ 735161 w 8267681"/>
              <a:gd name="connsiteY5236" fmla="*/ 3382199 h 6698675"/>
              <a:gd name="connsiteX5237" fmla="*/ 133892 w 8267681"/>
              <a:gd name="connsiteY5237" fmla="*/ 3379850 h 6698675"/>
              <a:gd name="connsiteX5238" fmla="*/ 140934 w 8267681"/>
              <a:gd name="connsiteY5238" fmla="*/ 3384548 h 6698675"/>
              <a:gd name="connsiteX5239" fmla="*/ 133892 w 8267681"/>
              <a:gd name="connsiteY5239" fmla="*/ 3391594 h 6698675"/>
              <a:gd name="connsiteX5240" fmla="*/ 126833 w 8267681"/>
              <a:gd name="connsiteY5240" fmla="*/ 3384548 h 6698675"/>
              <a:gd name="connsiteX5241" fmla="*/ 1031098 w 8267681"/>
              <a:gd name="connsiteY5241" fmla="*/ 3377502 h 6698675"/>
              <a:gd name="connsiteX5242" fmla="*/ 1028748 w 8267681"/>
              <a:gd name="connsiteY5242" fmla="*/ 3382199 h 6698675"/>
              <a:gd name="connsiteX5243" fmla="*/ 1031098 w 8267681"/>
              <a:gd name="connsiteY5243" fmla="*/ 3386897 h 6698675"/>
              <a:gd name="connsiteX5244" fmla="*/ 1035796 w 8267681"/>
              <a:gd name="connsiteY5244" fmla="*/ 3382199 h 6698675"/>
              <a:gd name="connsiteX5245" fmla="*/ 1544011 w 8267681"/>
              <a:gd name="connsiteY5245" fmla="*/ 3376621 h 6698675"/>
              <a:gd name="connsiteX5246" fmla="*/ 1538436 w 8267681"/>
              <a:gd name="connsiteY5246" fmla="*/ 3377502 h 6698675"/>
              <a:gd name="connsiteX5247" fmla="*/ 1529038 w 8267681"/>
              <a:gd name="connsiteY5247" fmla="*/ 3405687 h 6698675"/>
              <a:gd name="connsiteX5248" fmla="*/ 1524344 w 8267681"/>
              <a:gd name="connsiteY5248" fmla="*/ 3410385 h 6698675"/>
              <a:gd name="connsiteX5249" fmla="*/ 1529038 w 8267681"/>
              <a:gd name="connsiteY5249" fmla="*/ 3422129 h 6698675"/>
              <a:gd name="connsiteX5250" fmla="*/ 1538436 w 8267681"/>
              <a:gd name="connsiteY5250" fmla="*/ 3422129 h 6698675"/>
              <a:gd name="connsiteX5251" fmla="*/ 1545479 w 8267681"/>
              <a:gd name="connsiteY5251" fmla="*/ 3429175 h 6698675"/>
              <a:gd name="connsiteX5252" fmla="*/ 1545479 w 8267681"/>
              <a:gd name="connsiteY5252" fmla="*/ 3438570 h 6698675"/>
              <a:gd name="connsiteX5253" fmla="*/ 1545479 w 8267681"/>
              <a:gd name="connsiteY5253" fmla="*/ 3447965 h 6698675"/>
              <a:gd name="connsiteX5254" fmla="*/ 1538436 w 8267681"/>
              <a:gd name="connsiteY5254" fmla="*/ 3455012 h 6698675"/>
              <a:gd name="connsiteX5255" fmla="*/ 1531386 w 8267681"/>
              <a:gd name="connsiteY5255" fmla="*/ 3447965 h 6698675"/>
              <a:gd name="connsiteX5256" fmla="*/ 1507901 w 8267681"/>
              <a:gd name="connsiteY5256" fmla="*/ 3464407 h 6698675"/>
              <a:gd name="connsiteX5257" fmla="*/ 1521993 w 8267681"/>
              <a:gd name="connsiteY5257" fmla="*/ 3471453 h 6698675"/>
              <a:gd name="connsiteX5258" fmla="*/ 1580714 w 8267681"/>
              <a:gd name="connsiteY5258" fmla="*/ 3455012 h 6698675"/>
              <a:gd name="connsiteX5259" fmla="*/ 1559573 w 8267681"/>
              <a:gd name="connsiteY5259" fmla="*/ 3419780 h 6698675"/>
              <a:gd name="connsiteX5260" fmla="*/ 1554874 w 8267681"/>
              <a:gd name="connsiteY5260" fmla="*/ 3384548 h 6698675"/>
              <a:gd name="connsiteX5261" fmla="*/ 1544011 w 8267681"/>
              <a:gd name="connsiteY5261" fmla="*/ 3376621 h 6698675"/>
              <a:gd name="connsiteX5262" fmla="*/ 1284765 w 8267681"/>
              <a:gd name="connsiteY5262" fmla="*/ 3375153 h 6698675"/>
              <a:gd name="connsiteX5263" fmla="*/ 1251884 w 8267681"/>
              <a:gd name="connsiteY5263" fmla="*/ 3382199 h 6698675"/>
              <a:gd name="connsiteX5264" fmla="*/ 1244836 w 8267681"/>
              <a:gd name="connsiteY5264" fmla="*/ 3382199 h 6698675"/>
              <a:gd name="connsiteX5265" fmla="*/ 1251884 w 8267681"/>
              <a:gd name="connsiteY5265" fmla="*/ 3391595 h 6698675"/>
              <a:gd name="connsiteX5266" fmla="*/ 1247184 w 8267681"/>
              <a:gd name="connsiteY5266" fmla="*/ 3400990 h 6698675"/>
              <a:gd name="connsiteX5267" fmla="*/ 1251884 w 8267681"/>
              <a:gd name="connsiteY5267" fmla="*/ 3410385 h 6698675"/>
              <a:gd name="connsiteX5268" fmla="*/ 1256579 w 8267681"/>
              <a:gd name="connsiteY5268" fmla="*/ 3410385 h 6698675"/>
              <a:gd name="connsiteX5269" fmla="*/ 1277719 w 8267681"/>
              <a:gd name="connsiteY5269" fmla="*/ 3410385 h 6698675"/>
              <a:gd name="connsiteX5270" fmla="*/ 1298858 w 8267681"/>
              <a:gd name="connsiteY5270" fmla="*/ 3412734 h 6698675"/>
              <a:gd name="connsiteX5271" fmla="*/ 1301206 w 8267681"/>
              <a:gd name="connsiteY5271" fmla="*/ 3422129 h 6698675"/>
              <a:gd name="connsiteX5272" fmla="*/ 1301206 w 8267681"/>
              <a:gd name="connsiteY5272" fmla="*/ 3424477 h 6698675"/>
              <a:gd name="connsiteX5273" fmla="*/ 1305905 w 8267681"/>
              <a:gd name="connsiteY5273" fmla="*/ 3422129 h 6698675"/>
              <a:gd name="connsiteX5274" fmla="*/ 1310605 w 8267681"/>
              <a:gd name="connsiteY5274" fmla="*/ 3398641 h 6698675"/>
              <a:gd name="connsiteX5275" fmla="*/ 1312950 w 8267681"/>
              <a:gd name="connsiteY5275" fmla="*/ 3396292 h 6698675"/>
              <a:gd name="connsiteX5276" fmla="*/ 1327043 w 8267681"/>
              <a:gd name="connsiteY5276" fmla="*/ 3386897 h 6698675"/>
              <a:gd name="connsiteX5277" fmla="*/ 1310605 w 8267681"/>
              <a:gd name="connsiteY5277" fmla="*/ 3377502 h 6698675"/>
              <a:gd name="connsiteX5278" fmla="*/ 930100 w 8267681"/>
              <a:gd name="connsiteY5278" fmla="*/ 3370456 h 6698675"/>
              <a:gd name="connsiteX5279" fmla="*/ 904263 w 8267681"/>
              <a:gd name="connsiteY5279" fmla="*/ 3379851 h 6698675"/>
              <a:gd name="connsiteX5280" fmla="*/ 930100 w 8267681"/>
              <a:gd name="connsiteY5280" fmla="*/ 3382199 h 6698675"/>
              <a:gd name="connsiteX5281" fmla="*/ 937148 w 8267681"/>
              <a:gd name="connsiteY5281" fmla="*/ 3382199 h 6698675"/>
              <a:gd name="connsiteX5282" fmla="*/ 934798 w 8267681"/>
              <a:gd name="connsiteY5282" fmla="*/ 3372804 h 6698675"/>
              <a:gd name="connsiteX5283" fmla="*/ 930100 w 8267681"/>
              <a:gd name="connsiteY5283" fmla="*/ 3370456 h 6698675"/>
              <a:gd name="connsiteX5284" fmla="*/ 378154 w 8267681"/>
              <a:gd name="connsiteY5284" fmla="*/ 3370455 h 6698675"/>
              <a:gd name="connsiteX5285" fmla="*/ 387548 w 8267681"/>
              <a:gd name="connsiteY5285" fmla="*/ 3372804 h 6698675"/>
              <a:gd name="connsiteX5286" fmla="*/ 399291 w 8267681"/>
              <a:gd name="connsiteY5286" fmla="*/ 3386896 h 6698675"/>
              <a:gd name="connsiteX5287" fmla="*/ 394596 w 8267681"/>
              <a:gd name="connsiteY5287" fmla="*/ 3396292 h 6698675"/>
              <a:gd name="connsiteX5288" fmla="*/ 373455 w 8267681"/>
              <a:gd name="connsiteY5288" fmla="*/ 3379850 h 6698675"/>
              <a:gd name="connsiteX5289" fmla="*/ 378154 w 8267681"/>
              <a:gd name="connsiteY5289" fmla="*/ 3370455 h 6698675"/>
              <a:gd name="connsiteX5290" fmla="*/ 3841592 w 8267681"/>
              <a:gd name="connsiteY5290" fmla="*/ 3369721 h 6698675"/>
              <a:gd name="connsiteX5291" fmla="*/ 3800304 w 8267681"/>
              <a:gd name="connsiteY5291" fmla="*/ 3408036 h 6698675"/>
              <a:gd name="connsiteX5292" fmla="*/ 3849629 w 8267681"/>
              <a:gd name="connsiteY5292" fmla="*/ 3436221 h 6698675"/>
              <a:gd name="connsiteX5293" fmla="*/ 3859024 w 8267681"/>
              <a:gd name="connsiteY5293" fmla="*/ 3379851 h 6698675"/>
              <a:gd name="connsiteX5294" fmla="*/ 3841592 w 8267681"/>
              <a:gd name="connsiteY5294" fmla="*/ 3369721 h 6698675"/>
              <a:gd name="connsiteX5295" fmla="*/ 695224 w 8267681"/>
              <a:gd name="connsiteY5295" fmla="*/ 3365758 h 6698675"/>
              <a:gd name="connsiteX5296" fmla="*/ 667039 w 8267681"/>
              <a:gd name="connsiteY5296" fmla="*/ 3379851 h 6698675"/>
              <a:gd name="connsiteX5297" fmla="*/ 643548 w 8267681"/>
              <a:gd name="connsiteY5297" fmla="*/ 3396292 h 6698675"/>
              <a:gd name="connsiteX5298" fmla="*/ 667039 w 8267681"/>
              <a:gd name="connsiteY5298" fmla="*/ 3405687 h 6698675"/>
              <a:gd name="connsiteX5299" fmla="*/ 725755 w 8267681"/>
              <a:gd name="connsiteY5299" fmla="*/ 3410385 h 6698675"/>
              <a:gd name="connsiteX5300" fmla="*/ 749244 w 8267681"/>
              <a:gd name="connsiteY5300" fmla="*/ 3415083 h 6698675"/>
              <a:gd name="connsiteX5301" fmla="*/ 831452 w 8267681"/>
              <a:gd name="connsiteY5301" fmla="*/ 3408036 h 6698675"/>
              <a:gd name="connsiteX5302" fmla="*/ 843195 w 8267681"/>
              <a:gd name="connsiteY5302" fmla="*/ 3398641 h 6698675"/>
              <a:gd name="connsiteX5303" fmla="*/ 836149 w 8267681"/>
              <a:gd name="connsiteY5303" fmla="*/ 3391595 h 6698675"/>
              <a:gd name="connsiteX5304" fmla="*/ 826757 w 8267681"/>
              <a:gd name="connsiteY5304" fmla="*/ 3393943 h 6698675"/>
              <a:gd name="connsiteX5305" fmla="*/ 817359 w 8267681"/>
              <a:gd name="connsiteY5305" fmla="*/ 3393943 h 6698675"/>
              <a:gd name="connsiteX5306" fmla="*/ 779779 w 8267681"/>
              <a:gd name="connsiteY5306" fmla="*/ 3389246 h 6698675"/>
              <a:gd name="connsiteX5307" fmla="*/ 800917 w 8267681"/>
              <a:gd name="connsiteY5307" fmla="*/ 3372804 h 6698675"/>
              <a:gd name="connsiteX5308" fmla="*/ 866685 w 8267681"/>
              <a:gd name="connsiteY5308" fmla="*/ 3405687 h 6698675"/>
              <a:gd name="connsiteX5309" fmla="*/ 869035 w 8267681"/>
              <a:gd name="connsiteY5309" fmla="*/ 3396292 h 6698675"/>
              <a:gd name="connsiteX5310" fmla="*/ 869035 w 8267681"/>
              <a:gd name="connsiteY5310" fmla="*/ 3386897 h 6698675"/>
              <a:gd name="connsiteX5311" fmla="*/ 897220 w 8267681"/>
              <a:gd name="connsiteY5311" fmla="*/ 3382199 h 6698675"/>
              <a:gd name="connsiteX5312" fmla="*/ 890170 w 8267681"/>
              <a:gd name="connsiteY5312" fmla="*/ 3375153 h 6698675"/>
              <a:gd name="connsiteX5313" fmla="*/ 880777 w 8267681"/>
              <a:gd name="connsiteY5313" fmla="*/ 3372804 h 6698675"/>
              <a:gd name="connsiteX5314" fmla="*/ 711666 w 8267681"/>
              <a:gd name="connsiteY5314" fmla="*/ 3370456 h 6698675"/>
              <a:gd name="connsiteX5315" fmla="*/ 695224 w 8267681"/>
              <a:gd name="connsiteY5315" fmla="*/ 3365758 h 6698675"/>
              <a:gd name="connsiteX5316" fmla="*/ 6020537 w 8267681"/>
              <a:gd name="connsiteY5316" fmla="*/ 3364525 h 6698675"/>
              <a:gd name="connsiteX5317" fmla="*/ 6025038 w 8267681"/>
              <a:gd name="connsiteY5317" fmla="*/ 3369308 h 6698675"/>
              <a:gd name="connsiteX5318" fmla="*/ 6024011 w 8267681"/>
              <a:gd name="connsiteY5318" fmla="*/ 3369868 h 6698675"/>
              <a:gd name="connsiteX5319" fmla="*/ 6019387 w 8267681"/>
              <a:gd name="connsiteY5319" fmla="*/ 3365905 h 6698675"/>
              <a:gd name="connsiteX5320" fmla="*/ 4782498 w 8267681"/>
              <a:gd name="connsiteY5320" fmla="*/ 3359555 h 6698675"/>
              <a:gd name="connsiteX5321" fmla="*/ 4786792 w 8267681"/>
              <a:gd name="connsiteY5321" fmla="*/ 3370456 h 6698675"/>
              <a:gd name="connsiteX5322" fmla="*/ 4782498 w 8267681"/>
              <a:gd name="connsiteY5322" fmla="*/ 3359555 h 6698675"/>
              <a:gd name="connsiteX5323" fmla="*/ 364061 w 8267681"/>
              <a:gd name="connsiteY5323" fmla="*/ 3354013 h 6698675"/>
              <a:gd name="connsiteX5324" fmla="*/ 366411 w 8267681"/>
              <a:gd name="connsiteY5324" fmla="*/ 3354013 h 6698675"/>
              <a:gd name="connsiteX5325" fmla="*/ 371107 w 8267681"/>
              <a:gd name="connsiteY5325" fmla="*/ 3363408 h 6698675"/>
              <a:gd name="connsiteX5326" fmla="*/ 361713 w 8267681"/>
              <a:gd name="connsiteY5326" fmla="*/ 3365757 h 6698675"/>
              <a:gd name="connsiteX5327" fmla="*/ 1261277 w 8267681"/>
              <a:gd name="connsiteY5327" fmla="*/ 3344658 h 6698675"/>
              <a:gd name="connsiteX5328" fmla="*/ 1256579 w 8267681"/>
              <a:gd name="connsiteY5328" fmla="*/ 3349336 h 6698675"/>
              <a:gd name="connsiteX5329" fmla="*/ 1284765 w 8267681"/>
              <a:gd name="connsiteY5329" fmla="*/ 3358712 h 6698675"/>
              <a:gd name="connsiteX5330" fmla="*/ 1301206 w 8267681"/>
              <a:gd name="connsiteY5330" fmla="*/ 3351665 h 6698675"/>
              <a:gd name="connsiteX5331" fmla="*/ 1287115 w 8267681"/>
              <a:gd name="connsiteY5331" fmla="*/ 3344658 h 6698675"/>
              <a:gd name="connsiteX5332" fmla="*/ 1270672 w 8267681"/>
              <a:gd name="connsiteY5332" fmla="*/ 3347004 h 6698675"/>
              <a:gd name="connsiteX5333" fmla="*/ 1261277 w 8267681"/>
              <a:gd name="connsiteY5333" fmla="*/ 3344658 h 6698675"/>
              <a:gd name="connsiteX5334" fmla="*/ 286550 w 8267681"/>
              <a:gd name="connsiteY5334" fmla="*/ 3344658 h 6698675"/>
              <a:gd name="connsiteX5335" fmla="*/ 281856 w 8267681"/>
              <a:gd name="connsiteY5335" fmla="*/ 3351665 h 6698675"/>
              <a:gd name="connsiteX5336" fmla="*/ 274807 w 8267681"/>
              <a:gd name="connsiteY5336" fmla="*/ 3361060 h 6698675"/>
              <a:gd name="connsiteX5337" fmla="*/ 277156 w 8267681"/>
              <a:gd name="connsiteY5337" fmla="*/ 3365758 h 6698675"/>
              <a:gd name="connsiteX5338" fmla="*/ 279506 w 8267681"/>
              <a:gd name="connsiteY5338" fmla="*/ 3361060 h 6698675"/>
              <a:gd name="connsiteX5339" fmla="*/ 288900 w 8267681"/>
              <a:gd name="connsiteY5339" fmla="*/ 3351665 h 6698675"/>
              <a:gd name="connsiteX5340" fmla="*/ 328830 w 8267681"/>
              <a:gd name="connsiteY5340" fmla="*/ 3342305 h 6698675"/>
              <a:gd name="connsiteX5341" fmla="*/ 328830 w 8267681"/>
              <a:gd name="connsiteY5341" fmla="*/ 3354013 h 6698675"/>
              <a:gd name="connsiteX5342" fmla="*/ 324134 w 8267681"/>
              <a:gd name="connsiteY5342" fmla="*/ 3344657 h 6698675"/>
              <a:gd name="connsiteX5343" fmla="*/ 6057481 w 8267681"/>
              <a:gd name="connsiteY5343" fmla="*/ 3337608 h 6698675"/>
              <a:gd name="connsiteX5344" fmla="*/ 6066877 w 8267681"/>
              <a:gd name="connsiteY5344" fmla="*/ 3361060 h 6698675"/>
              <a:gd name="connsiteX5345" fmla="*/ 6057481 w 8267681"/>
              <a:gd name="connsiteY5345" fmla="*/ 3337608 h 6698675"/>
              <a:gd name="connsiteX5346" fmla="*/ 462710 w 8267681"/>
              <a:gd name="connsiteY5346" fmla="*/ 3332907 h 6698675"/>
              <a:gd name="connsiteX5347" fmla="*/ 472105 w 8267681"/>
              <a:gd name="connsiteY5347" fmla="*/ 3342305 h 6698675"/>
              <a:gd name="connsiteX5348" fmla="*/ 476802 w 8267681"/>
              <a:gd name="connsiteY5348" fmla="*/ 3347004 h 6698675"/>
              <a:gd name="connsiteX5349" fmla="*/ 472105 w 8267681"/>
              <a:gd name="connsiteY5349" fmla="*/ 3356362 h 6698675"/>
              <a:gd name="connsiteX5350" fmla="*/ 453317 w 8267681"/>
              <a:gd name="connsiteY5350" fmla="*/ 3356362 h 6698675"/>
              <a:gd name="connsiteX5351" fmla="*/ 448616 w 8267681"/>
              <a:gd name="connsiteY5351" fmla="*/ 3347004 h 6698675"/>
              <a:gd name="connsiteX5352" fmla="*/ 389896 w 8267681"/>
              <a:gd name="connsiteY5352" fmla="*/ 3332907 h 6698675"/>
              <a:gd name="connsiteX5353" fmla="*/ 394596 w 8267681"/>
              <a:gd name="connsiteY5353" fmla="*/ 3337608 h 6698675"/>
              <a:gd name="connsiteX5354" fmla="*/ 389896 w 8267681"/>
              <a:gd name="connsiteY5354" fmla="*/ 3347004 h 6698675"/>
              <a:gd name="connsiteX5355" fmla="*/ 382854 w 8267681"/>
              <a:gd name="connsiteY5355" fmla="*/ 3337608 h 6698675"/>
              <a:gd name="connsiteX5356" fmla="*/ 2568371 w 8267681"/>
              <a:gd name="connsiteY5356" fmla="*/ 3331731 h 6698675"/>
              <a:gd name="connsiteX5357" fmla="*/ 2562498 w 8267681"/>
              <a:gd name="connsiteY5357" fmla="*/ 3332907 h 6698675"/>
              <a:gd name="connsiteX5358" fmla="*/ 2574242 w 8267681"/>
              <a:gd name="connsiteY5358" fmla="*/ 3337610 h 6698675"/>
              <a:gd name="connsiteX5359" fmla="*/ 2568371 w 8267681"/>
              <a:gd name="connsiteY5359" fmla="*/ 3331731 h 6698675"/>
              <a:gd name="connsiteX5360" fmla="*/ 2860793 w 8267681"/>
              <a:gd name="connsiteY5360" fmla="*/ 3330561 h 6698675"/>
              <a:gd name="connsiteX5361" fmla="*/ 2839654 w 8267681"/>
              <a:gd name="connsiteY5361" fmla="*/ 3363409 h 6698675"/>
              <a:gd name="connsiteX5362" fmla="*/ 2860793 w 8267681"/>
              <a:gd name="connsiteY5362" fmla="*/ 3330561 h 6698675"/>
              <a:gd name="connsiteX5363" fmla="*/ 869045 w 8267681"/>
              <a:gd name="connsiteY5363" fmla="*/ 3328206 h 6698675"/>
              <a:gd name="connsiteX5364" fmla="*/ 878444 w 8267681"/>
              <a:gd name="connsiteY5364" fmla="*/ 3328206 h 6698675"/>
              <a:gd name="connsiteX5365" fmla="*/ 904279 w 8267681"/>
              <a:gd name="connsiteY5365" fmla="*/ 3337608 h 6698675"/>
              <a:gd name="connsiteX5366" fmla="*/ 897233 w 8267681"/>
              <a:gd name="connsiteY5366" fmla="*/ 3344658 h 6698675"/>
              <a:gd name="connsiteX5367" fmla="*/ 871397 w 8267681"/>
              <a:gd name="connsiteY5367" fmla="*/ 3339957 h 6698675"/>
              <a:gd name="connsiteX5368" fmla="*/ 862001 w 8267681"/>
              <a:gd name="connsiteY5368" fmla="*/ 3337608 h 6698675"/>
              <a:gd name="connsiteX5369" fmla="*/ 2097443 w 8267681"/>
              <a:gd name="connsiteY5369" fmla="*/ 3323513 h 6698675"/>
              <a:gd name="connsiteX5370" fmla="*/ 2069258 w 8267681"/>
              <a:gd name="connsiteY5370" fmla="*/ 3344658 h 6698675"/>
              <a:gd name="connsiteX5371" fmla="*/ 2062212 w 8267681"/>
              <a:gd name="connsiteY5371" fmla="*/ 3361061 h 6698675"/>
              <a:gd name="connsiteX5372" fmla="*/ 2071607 w 8267681"/>
              <a:gd name="connsiteY5372" fmla="*/ 3370456 h 6698675"/>
              <a:gd name="connsiteX5373" fmla="*/ 2097443 w 8267681"/>
              <a:gd name="connsiteY5373" fmla="*/ 3356363 h 6698675"/>
              <a:gd name="connsiteX5374" fmla="*/ 2097443 w 8267681"/>
              <a:gd name="connsiteY5374" fmla="*/ 3323513 h 6698675"/>
              <a:gd name="connsiteX5375" fmla="*/ 1420995 w 8267681"/>
              <a:gd name="connsiteY5375" fmla="*/ 3323513 h 6698675"/>
              <a:gd name="connsiteX5376" fmla="*/ 1418645 w 8267681"/>
              <a:gd name="connsiteY5376" fmla="*/ 3328206 h 6698675"/>
              <a:gd name="connsiteX5377" fmla="*/ 1420995 w 8267681"/>
              <a:gd name="connsiteY5377" fmla="*/ 3330561 h 6698675"/>
              <a:gd name="connsiteX5378" fmla="*/ 1430390 w 8267681"/>
              <a:gd name="connsiteY5378" fmla="*/ 3330561 h 6698675"/>
              <a:gd name="connsiteX5379" fmla="*/ 1432739 w 8267681"/>
              <a:gd name="connsiteY5379" fmla="*/ 3328206 h 6698675"/>
              <a:gd name="connsiteX5380" fmla="*/ 1430390 w 8267681"/>
              <a:gd name="connsiteY5380" fmla="*/ 3323513 h 6698675"/>
              <a:gd name="connsiteX5381" fmla="*/ 413384 w 8267681"/>
              <a:gd name="connsiteY5381" fmla="*/ 3323511 h 6698675"/>
              <a:gd name="connsiteX5382" fmla="*/ 415734 w 8267681"/>
              <a:gd name="connsiteY5382" fmla="*/ 3330561 h 6698675"/>
              <a:gd name="connsiteX5383" fmla="*/ 413384 w 8267681"/>
              <a:gd name="connsiteY5383" fmla="*/ 3332907 h 6698675"/>
              <a:gd name="connsiteX5384" fmla="*/ 403989 w 8267681"/>
              <a:gd name="connsiteY5384" fmla="*/ 3332907 h 6698675"/>
              <a:gd name="connsiteX5385" fmla="*/ 401638 w 8267681"/>
              <a:gd name="connsiteY5385" fmla="*/ 3330561 h 6698675"/>
              <a:gd name="connsiteX5386" fmla="*/ 403989 w 8267681"/>
              <a:gd name="connsiteY5386" fmla="*/ 3328206 h 6698675"/>
              <a:gd name="connsiteX5387" fmla="*/ 253671 w 8267681"/>
              <a:gd name="connsiteY5387" fmla="*/ 3321157 h 6698675"/>
              <a:gd name="connsiteX5388" fmla="*/ 246622 w 8267681"/>
              <a:gd name="connsiteY5388" fmla="*/ 3328206 h 6698675"/>
              <a:gd name="connsiteX5389" fmla="*/ 253671 w 8267681"/>
              <a:gd name="connsiteY5389" fmla="*/ 3332907 h 6698675"/>
              <a:gd name="connsiteX5390" fmla="*/ 263063 w 8267681"/>
              <a:gd name="connsiteY5390" fmla="*/ 3328206 h 6698675"/>
              <a:gd name="connsiteX5391" fmla="*/ 265413 w 8267681"/>
              <a:gd name="connsiteY5391" fmla="*/ 3321157 h 6698675"/>
              <a:gd name="connsiteX5392" fmla="*/ 263063 w 8267681"/>
              <a:gd name="connsiteY5392" fmla="*/ 3321157 h 6698675"/>
              <a:gd name="connsiteX5393" fmla="*/ 256016 w 8267681"/>
              <a:gd name="connsiteY5393" fmla="*/ 3321157 h 6698675"/>
              <a:gd name="connsiteX5394" fmla="*/ 253671 w 8267681"/>
              <a:gd name="connsiteY5394" fmla="*/ 3321157 h 6698675"/>
              <a:gd name="connsiteX5395" fmla="*/ 1378718 w 8267681"/>
              <a:gd name="connsiteY5395" fmla="*/ 3318807 h 6698675"/>
              <a:gd name="connsiteX5396" fmla="*/ 1374019 w 8267681"/>
              <a:gd name="connsiteY5396" fmla="*/ 3328206 h 6698675"/>
              <a:gd name="connsiteX5397" fmla="*/ 1378718 w 8267681"/>
              <a:gd name="connsiteY5397" fmla="*/ 3332907 h 6698675"/>
              <a:gd name="connsiteX5398" fmla="*/ 1388112 w 8267681"/>
              <a:gd name="connsiteY5398" fmla="*/ 3332907 h 6698675"/>
              <a:gd name="connsiteX5399" fmla="*/ 1392810 w 8267681"/>
              <a:gd name="connsiteY5399" fmla="*/ 3328206 h 6698675"/>
              <a:gd name="connsiteX5400" fmla="*/ 1388112 w 8267681"/>
              <a:gd name="connsiteY5400" fmla="*/ 3321157 h 6698675"/>
              <a:gd name="connsiteX5401" fmla="*/ 1383414 w 8267681"/>
              <a:gd name="connsiteY5401" fmla="*/ 3318807 h 6698675"/>
              <a:gd name="connsiteX5402" fmla="*/ 1378718 w 8267681"/>
              <a:gd name="connsiteY5402" fmla="*/ 3318807 h 6698675"/>
              <a:gd name="connsiteX5403" fmla="*/ 2358156 w 8267681"/>
              <a:gd name="connsiteY5403" fmla="*/ 3311755 h 6698675"/>
              <a:gd name="connsiteX5404" fmla="*/ 2280645 w 8267681"/>
              <a:gd name="connsiteY5404" fmla="*/ 3354014 h 6698675"/>
              <a:gd name="connsiteX5405" fmla="*/ 2299435 w 8267681"/>
              <a:gd name="connsiteY5405" fmla="*/ 3408036 h 6698675"/>
              <a:gd name="connsiteX5406" fmla="*/ 2304133 w 8267681"/>
              <a:gd name="connsiteY5406" fmla="*/ 3396292 h 6698675"/>
              <a:gd name="connsiteX5407" fmla="*/ 2358156 w 8267681"/>
              <a:gd name="connsiteY5407" fmla="*/ 3311755 h 6698675"/>
              <a:gd name="connsiteX5408" fmla="*/ 49346 w 8267681"/>
              <a:gd name="connsiteY5408" fmla="*/ 3302340 h 6698675"/>
              <a:gd name="connsiteX5409" fmla="*/ 51679 w 8267681"/>
              <a:gd name="connsiteY5409" fmla="*/ 3307040 h 6698675"/>
              <a:gd name="connsiteX5410" fmla="*/ 56379 w 8267681"/>
              <a:gd name="connsiteY5410" fmla="*/ 3316463 h 6698675"/>
              <a:gd name="connsiteX5411" fmla="*/ 51679 w 8267681"/>
              <a:gd name="connsiteY5411" fmla="*/ 3325857 h 6698675"/>
              <a:gd name="connsiteX5412" fmla="*/ 49346 w 8267681"/>
              <a:gd name="connsiteY5412" fmla="*/ 3328206 h 6698675"/>
              <a:gd name="connsiteX5413" fmla="*/ 46978 w 8267681"/>
              <a:gd name="connsiteY5413" fmla="*/ 3325857 h 6698675"/>
              <a:gd name="connsiteX5414" fmla="*/ 42286 w 8267681"/>
              <a:gd name="connsiteY5414" fmla="*/ 3316463 h 6698675"/>
              <a:gd name="connsiteX5415" fmla="*/ 42286 w 8267681"/>
              <a:gd name="connsiteY5415" fmla="*/ 3307040 h 6698675"/>
              <a:gd name="connsiteX5416" fmla="*/ 5472636 w 8267681"/>
              <a:gd name="connsiteY5416" fmla="*/ 3300006 h 6698675"/>
              <a:gd name="connsiteX5417" fmla="*/ 5477334 w 8267681"/>
              <a:gd name="connsiteY5417" fmla="*/ 3300006 h 6698675"/>
              <a:gd name="connsiteX5418" fmla="*/ 5479682 w 8267681"/>
              <a:gd name="connsiteY5418" fmla="*/ 3300006 h 6698675"/>
              <a:gd name="connsiteX5419" fmla="*/ 5477334 w 8267681"/>
              <a:gd name="connsiteY5419" fmla="*/ 3304697 h 6698675"/>
              <a:gd name="connsiteX5420" fmla="*/ 5378685 w 8267681"/>
              <a:gd name="connsiteY5420" fmla="*/ 3300002 h 6698675"/>
              <a:gd name="connsiteX5421" fmla="*/ 5381034 w 8267681"/>
              <a:gd name="connsiteY5421" fmla="*/ 3300002 h 6698675"/>
              <a:gd name="connsiteX5422" fmla="*/ 5378685 w 8267681"/>
              <a:gd name="connsiteY5422" fmla="*/ 3302342 h 6698675"/>
              <a:gd name="connsiteX5423" fmla="*/ 507337 w 8267681"/>
              <a:gd name="connsiteY5423" fmla="*/ 3292983 h 6698675"/>
              <a:gd name="connsiteX5424" fmla="*/ 514388 w 8267681"/>
              <a:gd name="connsiteY5424" fmla="*/ 3297674 h 6698675"/>
              <a:gd name="connsiteX5425" fmla="*/ 507337 w 8267681"/>
              <a:gd name="connsiteY5425" fmla="*/ 3304700 h 6698675"/>
              <a:gd name="connsiteX5426" fmla="*/ 502639 w 8267681"/>
              <a:gd name="connsiteY5426" fmla="*/ 3297674 h 6698675"/>
              <a:gd name="connsiteX5427" fmla="*/ 455662 w 8267681"/>
              <a:gd name="connsiteY5427" fmla="*/ 3292983 h 6698675"/>
              <a:gd name="connsiteX5428" fmla="*/ 460359 w 8267681"/>
              <a:gd name="connsiteY5428" fmla="*/ 3297674 h 6698675"/>
              <a:gd name="connsiteX5429" fmla="*/ 455662 w 8267681"/>
              <a:gd name="connsiteY5429" fmla="*/ 3302340 h 6698675"/>
              <a:gd name="connsiteX5430" fmla="*/ 448616 w 8267681"/>
              <a:gd name="connsiteY5430" fmla="*/ 3297674 h 6698675"/>
              <a:gd name="connsiteX5431" fmla="*/ 575452 w 8267681"/>
              <a:gd name="connsiteY5431" fmla="*/ 3290651 h 6698675"/>
              <a:gd name="connsiteX5432" fmla="*/ 601293 w 8267681"/>
              <a:gd name="connsiteY5432" fmla="*/ 3290651 h 6698675"/>
              <a:gd name="connsiteX5433" fmla="*/ 608335 w 8267681"/>
              <a:gd name="connsiteY5433" fmla="*/ 3297674 h 6698675"/>
              <a:gd name="connsiteX5434" fmla="*/ 601293 w 8267681"/>
              <a:gd name="connsiteY5434" fmla="*/ 3304700 h 6698675"/>
              <a:gd name="connsiteX5435" fmla="*/ 575452 w 8267681"/>
              <a:gd name="connsiteY5435" fmla="*/ 3300006 h 6698675"/>
              <a:gd name="connsiteX5436" fmla="*/ 570758 w 8267681"/>
              <a:gd name="connsiteY5436" fmla="*/ 3295314 h 6698675"/>
              <a:gd name="connsiteX5437" fmla="*/ 575452 w 8267681"/>
              <a:gd name="connsiteY5437" fmla="*/ 3290651 h 6698675"/>
              <a:gd name="connsiteX5438" fmla="*/ 96307 w 8267681"/>
              <a:gd name="connsiteY5438" fmla="*/ 3290651 h 6698675"/>
              <a:gd name="connsiteX5439" fmla="*/ 108049 w 8267681"/>
              <a:gd name="connsiteY5439" fmla="*/ 3290651 h 6698675"/>
              <a:gd name="connsiteX5440" fmla="*/ 112749 w 8267681"/>
              <a:gd name="connsiteY5440" fmla="*/ 3300006 h 6698675"/>
              <a:gd name="connsiteX5441" fmla="*/ 136234 w 8267681"/>
              <a:gd name="connsiteY5441" fmla="*/ 3325857 h 6698675"/>
              <a:gd name="connsiteX5442" fmla="*/ 133892 w 8267681"/>
              <a:gd name="connsiteY5442" fmla="*/ 3330562 h 6698675"/>
              <a:gd name="connsiteX5443" fmla="*/ 126850 w 8267681"/>
              <a:gd name="connsiteY5443" fmla="*/ 3325857 h 6698675"/>
              <a:gd name="connsiteX5444" fmla="*/ 89265 w 8267681"/>
              <a:gd name="connsiteY5444" fmla="*/ 3321158 h 6698675"/>
              <a:gd name="connsiteX5445" fmla="*/ 72822 w 8267681"/>
              <a:gd name="connsiteY5445" fmla="*/ 3309405 h 6698675"/>
              <a:gd name="connsiteX5446" fmla="*/ 89265 w 8267681"/>
              <a:gd name="connsiteY5446" fmla="*/ 3302342 h 6698675"/>
              <a:gd name="connsiteX5447" fmla="*/ 96307 w 8267681"/>
              <a:gd name="connsiteY5447" fmla="*/ 3290651 h 6698675"/>
              <a:gd name="connsiteX5448" fmla="*/ 4335826 w 8267681"/>
              <a:gd name="connsiteY5448" fmla="*/ 3289170 h 6698675"/>
              <a:gd name="connsiteX5449" fmla="*/ 4317036 w 8267681"/>
              <a:gd name="connsiteY5449" fmla="*/ 3292983 h 6698675"/>
              <a:gd name="connsiteX5450" fmla="*/ 4361663 w 8267681"/>
              <a:gd name="connsiteY5450" fmla="*/ 3297674 h 6698675"/>
              <a:gd name="connsiteX5451" fmla="*/ 4335826 w 8267681"/>
              <a:gd name="connsiteY5451" fmla="*/ 3289170 h 6698675"/>
              <a:gd name="connsiteX5452" fmla="*/ 5850007 w 8267681"/>
              <a:gd name="connsiteY5452" fmla="*/ 3288292 h 6698675"/>
              <a:gd name="connsiteX5453" fmla="*/ 5855487 w 8267681"/>
              <a:gd name="connsiteY5453" fmla="*/ 3288292 h 6698675"/>
              <a:gd name="connsiteX5454" fmla="*/ 5853139 w 8267681"/>
              <a:gd name="connsiteY5454" fmla="*/ 3300006 h 6698675"/>
              <a:gd name="connsiteX5455" fmla="*/ 5848441 w 8267681"/>
              <a:gd name="connsiteY5455" fmla="*/ 3297674 h 6698675"/>
              <a:gd name="connsiteX5456" fmla="*/ 5846603 w 8267681"/>
              <a:gd name="connsiteY5456" fmla="*/ 3290350 h 6698675"/>
              <a:gd name="connsiteX5457" fmla="*/ 5848441 w 8267681"/>
              <a:gd name="connsiteY5457" fmla="*/ 3290651 h 6698675"/>
              <a:gd name="connsiteX5458" fmla="*/ 5465590 w 8267681"/>
              <a:gd name="connsiteY5458" fmla="*/ 3288292 h 6698675"/>
              <a:gd name="connsiteX5459" fmla="*/ 5465590 w 8267681"/>
              <a:gd name="connsiteY5459" fmla="*/ 3292983 h 6698675"/>
              <a:gd name="connsiteX5460" fmla="*/ 5467938 w 8267681"/>
              <a:gd name="connsiteY5460" fmla="*/ 3292983 h 6698675"/>
              <a:gd name="connsiteX5461" fmla="*/ 5465590 w 8267681"/>
              <a:gd name="connsiteY5461" fmla="*/ 3295314 h 6698675"/>
              <a:gd name="connsiteX5462" fmla="*/ 5463241 w 8267681"/>
              <a:gd name="connsiteY5462" fmla="*/ 3292983 h 6698675"/>
              <a:gd name="connsiteX5463" fmla="*/ 5463241 w 8267681"/>
              <a:gd name="connsiteY5463" fmla="*/ 3290624 h 6698675"/>
              <a:gd name="connsiteX5464" fmla="*/ 5465590 w 8267681"/>
              <a:gd name="connsiteY5464" fmla="*/ 3288292 h 6698675"/>
              <a:gd name="connsiteX5465" fmla="*/ 152668 w 8267681"/>
              <a:gd name="connsiteY5465" fmla="*/ 3288292 h 6698675"/>
              <a:gd name="connsiteX5466" fmla="*/ 157365 w 8267681"/>
              <a:gd name="connsiteY5466" fmla="*/ 3290651 h 6698675"/>
              <a:gd name="connsiteX5467" fmla="*/ 159715 w 8267681"/>
              <a:gd name="connsiteY5467" fmla="*/ 3295314 h 6698675"/>
              <a:gd name="connsiteX5468" fmla="*/ 164415 w 8267681"/>
              <a:gd name="connsiteY5468" fmla="*/ 3300006 h 6698675"/>
              <a:gd name="connsiteX5469" fmla="*/ 162065 w 8267681"/>
              <a:gd name="connsiteY5469" fmla="*/ 3304700 h 6698675"/>
              <a:gd name="connsiteX5470" fmla="*/ 152668 w 8267681"/>
              <a:gd name="connsiteY5470" fmla="*/ 3304700 h 6698675"/>
              <a:gd name="connsiteX5471" fmla="*/ 147972 w 8267681"/>
              <a:gd name="connsiteY5471" fmla="*/ 3300006 h 6698675"/>
              <a:gd name="connsiteX5472" fmla="*/ 147972 w 8267681"/>
              <a:gd name="connsiteY5472" fmla="*/ 3290651 h 6698675"/>
              <a:gd name="connsiteX5473" fmla="*/ 204342 w 8267681"/>
              <a:gd name="connsiteY5473" fmla="*/ 3285961 h 6698675"/>
              <a:gd name="connsiteX5474" fmla="*/ 194950 w 8267681"/>
              <a:gd name="connsiteY5474" fmla="*/ 3292983 h 6698675"/>
              <a:gd name="connsiteX5475" fmla="*/ 201995 w 8267681"/>
              <a:gd name="connsiteY5475" fmla="*/ 3297674 h 6698675"/>
              <a:gd name="connsiteX5476" fmla="*/ 209043 w 8267681"/>
              <a:gd name="connsiteY5476" fmla="*/ 3292983 h 6698675"/>
              <a:gd name="connsiteX5477" fmla="*/ 5482031 w 8267681"/>
              <a:gd name="connsiteY5477" fmla="*/ 3285933 h 6698675"/>
              <a:gd name="connsiteX5478" fmla="*/ 5482031 w 8267681"/>
              <a:gd name="connsiteY5478" fmla="*/ 3290624 h 6698675"/>
              <a:gd name="connsiteX5479" fmla="*/ 5479682 w 8267681"/>
              <a:gd name="connsiteY5479" fmla="*/ 3288292 h 6698675"/>
              <a:gd name="connsiteX5480" fmla="*/ 5413916 w 8267681"/>
              <a:gd name="connsiteY5480" fmla="*/ 3283602 h 6698675"/>
              <a:gd name="connsiteX5481" fmla="*/ 5413916 w 8267681"/>
              <a:gd name="connsiteY5481" fmla="*/ 3288292 h 6698675"/>
              <a:gd name="connsiteX5482" fmla="*/ 5413916 w 8267681"/>
              <a:gd name="connsiteY5482" fmla="*/ 3290624 h 6698675"/>
              <a:gd name="connsiteX5483" fmla="*/ 5413916 w 8267681"/>
              <a:gd name="connsiteY5483" fmla="*/ 3292983 h 6698675"/>
              <a:gd name="connsiteX5484" fmla="*/ 5411568 w 8267681"/>
              <a:gd name="connsiteY5484" fmla="*/ 3292983 h 6698675"/>
              <a:gd name="connsiteX5485" fmla="*/ 5409219 w 8267681"/>
              <a:gd name="connsiteY5485" fmla="*/ 3290624 h 6698675"/>
              <a:gd name="connsiteX5486" fmla="*/ 5409219 w 8267681"/>
              <a:gd name="connsiteY5486" fmla="*/ 3285961 h 6698675"/>
              <a:gd name="connsiteX5487" fmla="*/ 5449148 w 8267681"/>
              <a:gd name="connsiteY5487" fmla="*/ 3281270 h 6698675"/>
              <a:gd name="connsiteX5488" fmla="*/ 5451497 w 8267681"/>
              <a:gd name="connsiteY5488" fmla="*/ 3281270 h 6698675"/>
              <a:gd name="connsiteX5489" fmla="*/ 5451497 w 8267681"/>
              <a:gd name="connsiteY5489" fmla="*/ 3283602 h 6698675"/>
              <a:gd name="connsiteX5490" fmla="*/ 636520 w 8267681"/>
              <a:gd name="connsiteY5490" fmla="*/ 3281270 h 6698675"/>
              <a:gd name="connsiteX5491" fmla="*/ 648263 w 8267681"/>
              <a:gd name="connsiteY5491" fmla="*/ 3283629 h 6698675"/>
              <a:gd name="connsiteX5492" fmla="*/ 660005 w 8267681"/>
              <a:gd name="connsiteY5492" fmla="*/ 3295314 h 6698675"/>
              <a:gd name="connsiteX5493" fmla="*/ 648263 w 8267681"/>
              <a:gd name="connsiteY5493" fmla="*/ 3304700 h 6698675"/>
              <a:gd name="connsiteX5494" fmla="*/ 638870 w 8267681"/>
              <a:gd name="connsiteY5494" fmla="*/ 3302340 h 6698675"/>
              <a:gd name="connsiteX5495" fmla="*/ 636520 w 8267681"/>
              <a:gd name="connsiteY5495" fmla="*/ 3302340 h 6698675"/>
              <a:gd name="connsiteX5496" fmla="*/ 622428 w 8267681"/>
              <a:gd name="connsiteY5496" fmla="*/ 3292983 h 6698675"/>
              <a:gd name="connsiteX5497" fmla="*/ 5423312 w 8267681"/>
              <a:gd name="connsiteY5497" fmla="*/ 3281205 h 6698675"/>
              <a:gd name="connsiteX5498" fmla="*/ 5423312 w 8267681"/>
              <a:gd name="connsiteY5498" fmla="*/ 3283551 h 6698675"/>
              <a:gd name="connsiteX5499" fmla="*/ 5420963 w 8267681"/>
              <a:gd name="connsiteY5499" fmla="*/ 3283551 h 6698675"/>
              <a:gd name="connsiteX5500" fmla="*/ 3653286 w 8267681"/>
              <a:gd name="connsiteY5500" fmla="*/ 3280118 h 6698675"/>
              <a:gd name="connsiteX5501" fmla="*/ 3628844 w 8267681"/>
              <a:gd name="connsiteY5501" fmla="*/ 3311755 h 6698675"/>
              <a:gd name="connsiteX5502" fmla="*/ 3680517 w 8267681"/>
              <a:gd name="connsiteY5502" fmla="*/ 3300006 h 6698675"/>
              <a:gd name="connsiteX5503" fmla="*/ 3668773 w 8267681"/>
              <a:gd name="connsiteY5503" fmla="*/ 3281270 h 6698675"/>
              <a:gd name="connsiteX5504" fmla="*/ 3653286 w 8267681"/>
              <a:gd name="connsiteY5504" fmla="*/ 3280118 h 6698675"/>
              <a:gd name="connsiteX5505" fmla="*/ 735164 w 8267681"/>
              <a:gd name="connsiteY5505" fmla="*/ 3278939 h 6698675"/>
              <a:gd name="connsiteX5506" fmla="*/ 789190 w 8267681"/>
              <a:gd name="connsiteY5506" fmla="*/ 3281270 h 6698675"/>
              <a:gd name="connsiteX5507" fmla="*/ 833817 w 8267681"/>
              <a:gd name="connsiteY5507" fmla="*/ 3307040 h 6698675"/>
              <a:gd name="connsiteX5508" fmla="*/ 784488 w 8267681"/>
              <a:gd name="connsiteY5508" fmla="*/ 3309406 h 6698675"/>
              <a:gd name="connsiteX5509" fmla="*/ 735164 w 8267681"/>
              <a:gd name="connsiteY5509" fmla="*/ 3300006 h 6698675"/>
              <a:gd name="connsiteX5510" fmla="*/ 692885 w 8267681"/>
              <a:gd name="connsiteY5510" fmla="*/ 3304700 h 6698675"/>
              <a:gd name="connsiteX5511" fmla="*/ 664705 w 8267681"/>
              <a:gd name="connsiteY5511" fmla="*/ 3290651 h 6698675"/>
              <a:gd name="connsiteX5512" fmla="*/ 676448 w 8267681"/>
              <a:gd name="connsiteY5512" fmla="*/ 3281270 h 6698675"/>
              <a:gd name="connsiteX5513" fmla="*/ 718726 w 8267681"/>
              <a:gd name="connsiteY5513" fmla="*/ 3285961 h 6698675"/>
              <a:gd name="connsiteX5514" fmla="*/ 735164 w 8267681"/>
              <a:gd name="connsiteY5514" fmla="*/ 3278939 h 6698675"/>
              <a:gd name="connsiteX5515" fmla="*/ 5456194 w 8267681"/>
              <a:gd name="connsiteY5515" fmla="*/ 3278911 h 6698675"/>
              <a:gd name="connsiteX5516" fmla="*/ 5458543 w 8267681"/>
              <a:gd name="connsiteY5516" fmla="*/ 3285961 h 6698675"/>
              <a:gd name="connsiteX5517" fmla="*/ 5453846 w 8267681"/>
              <a:gd name="connsiteY5517" fmla="*/ 3288292 h 6698675"/>
              <a:gd name="connsiteX5518" fmla="*/ 5453846 w 8267681"/>
              <a:gd name="connsiteY5518" fmla="*/ 3285961 h 6698675"/>
              <a:gd name="connsiteX5519" fmla="*/ 5451497 w 8267681"/>
              <a:gd name="connsiteY5519" fmla="*/ 3283602 h 6698675"/>
              <a:gd name="connsiteX5520" fmla="*/ 5456194 w 8267681"/>
              <a:gd name="connsiteY5520" fmla="*/ 3283602 h 6698675"/>
              <a:gd name="connsiteX5521" fmla="*/ 5359895 w 8267681"/>
              <a:gd name="connsiteY5521" fmla="*/ 3278911 h 6698675"/>
              <a:gd name="connsiteX5522" fmla="*/ 5355197 w 8267681"/>
              <a:gd name="connsiteY5522" fmla="*/ 3285961 h 6698675"/>
              <a:gd name="connsiteX5523" fmla="*/ 5352849 w 8267681"/>
              <a:gd name="connsiteY5523" fmla="*/ 3288292 h 6698675"/>
              <a:gd name="connsiteX5524" fmla="*/ 5350500 w 8267681"/>
              <a:gd name="connsiteY5524" fmla="*/ 3283602 h 6698675"/>
              <a:gd name="connsiteX5525" fmla="*/ 5355197 w 8267681"/>
              <a:gd name="connsiteY5525" fmla="*/ 3281270 h 6698675"/>
              <a:gd name="connsiteX5526" fmla="*/ 5357546 w 8267681"/>
              <a:gd name="connsiteY5526" fmla="*/ 3281270 h 6698675"/>
              <a:gd name="connsiteX5527" fmla="*/ 4039256 w 8267681"/>
              <a:gd name="connsiteY5527" fmla="*/ 3277266 h 6698675"/>
              <a:gd name="connsiteX5528" fmla="*/ 4042230 w 8267681"/>
              <a:gd name="connsiteY5528" fmla="*/ 3297674 h 6698675"/>
              <a:gd name="connsiteX5529" fmla="*/ 4049275 w 8267681"/>
              <a:gd name="connsiteY5529" fmla="*/ 3281270 h 6698675"/>
              <a:gd name="connsiteX5530" fmla="*/ 4039256 w 8267681"/>
              <a:gd name="connsiteY5530" fmla="*/ 3277266 h 6698675"/>
              <a:gd name="connsiteX5531" fmla="*/ 371112 w 8267681"/>
              <a:gd name="connsiteY5531" fmla="*/ 3276607 h 6698675"/>
              <a:gd name="connsiteX5532" fmla="*/ 371112 w 8267681"/>
              <a:gd name="connsiteY5532" fmla="*/ 3288292 h 6698675"/>
              <a:gd name="connsiteX5533" fmla="*/ 380504 w 8267681"/>
              <a:gd name="connsiteY5533" fmla="*/ 3290651 h 6698675"/>
              <a:gd name="connsiteX5534" fmla="*/ 382854 w 8267681"/>
              <a:gd name="connsiteY5534" fmla="*/ 3297674 h 6698675"/>
              <a:gd name="connsiteX5535" fmla="*/ 389897 w 8267681"/>
              <a:gd name="connsiteY5535" fmla="*/ 3302341 h 6698675"/>
              <a:gd name="connsiteX5536" fmla="*/ 396941 w 8267681"/>
              <a:gd name="connsiteY5536" fmla="*/ 3297674 h 6698675"/>
              <a:gd name="connsiteX5537" fmla="*/ 394596 w 8267681"/>
              <a:gd name="connsiteY5537" fmla="*/ 3288292 h 6698675"/>
              <a:gd name="connsiteX5538" fmla="*/ 389897 w 8267681"/>
              <a:gd name="connsiteY5538" fmla="*/ 3283629 h 6698675"/>
              <a:gd name="connsiteX5539" fmla="*/ 380504 w 8267681"/>
              <a:gd name="connsiteY5539" fmla="*/ 3285961 h 6698675"/>
              <a:gd name="connsiteX5540" fmla="*/ 375805 w 8267681"/>
              <a:gd name="connsiteY5540" fmla="*/ 3278939 h 6698675"/>
              <a:gd name="connsiteX5541" fmla="*/ 371112 w 8267681"/>
              <a:gd name="connsiteY5541" fmla="*/ 3276607 h 6698675"/>
              <a:gd name="connsiteX5542" fmla="*/ 5345802 w 8267681"/>
              <a:gd name="connsiteY5542" fmla="*/ 3276552 h 6698675"/>
              <a:gd name="connsiteX5543" fmla="*/ 5345802 w 8267681"/>
              <a:gd name="connsiteY5543" fmla="*/ 3278884 h 6698675"/>
              <a:gd name="connsiteX5544" fmla="*/ 5343453 w 8267681"/>
              <a:gd name="connsiteY5544" fmla="*/ 3278884 h 6698675"/>
              <a:gd name="connsiteX5545" fmla="*/ 422782 w 8267681"/>
              <a:gd name="connsiteY5545" fmla="*/ 3274271 h 6698675"/>
              <a:gd name="connsiteX5546" fmla="*/ 429826 w 8267681"/>
              <a:gd name="connsiteY5546" fmla="*/ 3278939 h 6698675"/>
              <a:gd name="connsiteX5547" fmla="*/ 422782 w 8267681"/>
              <a:gd name="connsiteY5547" fmla="*/ 3285961 h 6698675"/>
              <a:gd name="connsiteX5548" fmla="*/ 418084 w 8267681"/>
              <a:gd name="connsiteY5548" fmla="*/ 3278939 h 6698675"/>
              <a:gd name="connsiteX5549" fmla="*/ 5430358 w 8267681"/>
              <a:gd name="connsiteY5549" fmla="*/ 3274221 h 6698675"/>
              <a:gd name="connsiteX5550" fmla="*/ 5432706 w 8267681"/>
              <a:gd name="connsiteY5550" fmla="*/ 3276580 h 6698675"/>
              <a:gd name="connsiteX5551" fmla="*/ 5432706 w 8267681"/>
              <a:gd name="connsiteY5551" fmla="*/ 3281243 h 6698675"/>
              <a:gd name="connsiteX5552" fmla="*/ 5430358 w 8267681"/>
              <a:gd name="connsiteY5552" fmla="*/ 3281243 h 6698675"/>
              <a:gd name="connsiteX5553" fmla="*/ 5430358 w 8267681"/>
              <a:gd name="connsiteY5553" fmla="*/ 3274221 h 6698675"/>
              <a:gd name="connsiteX5554" fmla="*/ 5319965 w 8267681"/>
              <a:gd name="connsiteY5554" fmla="*/ 3274166 h 6698675"/>
              <a:gd name="connsiteX5555" fmla="*/ 5317617 w 8267681"/>
              <a:gd name="connsiteY5555" fmla="*/ 3278857 h 6698675"/>
              <a:gd name="connsiteX5556" fmla="*/ 5315268 w 8267681"/>
              <a:gd name="connsiteY5556" fmla="*/ 3276524 h 6698675"/>
              <a:gd name="connsiteX5557" fmla="*/ 5810861 w 8267681"/>
              <a:gd name="connsiteY5557" fmla="*/ 3271915 h 6698675"/>
              <a:gd name="connsiteX5558" fmla="*/ 5811853 w 8267681"/>
              <a:gd name="connsiteY5558" fmla="*/ 3272300 h 6698675"/>
              <a:gd name="connsiteX5559" fmla="*/ 5811411 w 8267681"/>
              <a:gd name="connsiteY5559" fmla="*/ 3273970 h 6698675"/>
              <a:gd name="connsiteX5560" fmla="*/ 5803814 w 8267681"/>
              <a:gd name="connsiteY5560" fmla="*/ 3276607 h 6698675"/>
              <a:gd name="connsiteX5561" fmla="*/ 5807729 w 8267681"/>
              <a:gd name="connsiteY5561" fmla="*/ 3272685 h 6698675"/>
              <a:gd name="connsiteX5562" fmla="*/ 1167329 w 8267681"/>
              <a:gd name="connsiteY5562" fmla="*/ 3271915 h 6698675"/>
              <a:gd name="connsiteX5563" fmla="*/ 1164979 w 8267681"/>
              <a:gd name="connsiteY5563" fmla="*/ 3274248 h 6698675"/>
              <a:gd name="connsiteX5564" fmla="*/ 1167329 w 8267681"/>
              <a:gd name="connsiteY5564" fmla="*/ 3281270 h 6698675"/>
              <a:gd name="connsiteX5565" fmla="*/ 1176721 w 8267681"/>
              <a:gd name="connsiteY5565" fmla="*/ 3278939 h 6698675"/>
              <a:gd name="connsiteX5566" fmla="*/ 1183772 w 8267681"/>
              <a:gd name="connsiteY5566" fmla="*/ 3274248 h 6698675"/>
              <a:gd name="connsiteX5567" fmla="*/ 1176721 w 8267681"/>
              <a:gd name="connsiteY5567" fmla="*/ 3271915 h 6698675"/>
              <a:gd name="connsiteX5568" fmla="*/ 5362243 w 8267681"/>
              <a:gd name="connsiteY5568" fmla="*/ 3271888 h 6698675"/>
              <a:gd name="connsiteX5569" fmla="*/ 5364592 w 8267681"/>
              <a:gd name="connsiteY5569" fmla="*/ 3274221 h 6698675"/>
              <a:gd name="connsiteX5570" fmla="*/ 5366941 w 8267681"/>
              <a:gd name="connsiteY5570" fmla="*/ 3274221 h 6698675"/>
              <a:gd name="connsiteX5571" fmla="*/ 5362243 w 8267681"/>
              <a:gd name="connsiteY5571" fmla="*/ 3276580 h 6698675"/>
              <a:gd name="connsiteX5572" fmla="*/ 5359895 w 8267681"/>
              <a:gd name="connsiteY5572" fmla="*/ 3278911 h 6698675"/>
              <a:gd name="connsiteX5573" fmla="*/ 5359895 w 8267681"/>
              <a:gd name="connsiteY5573" fmla="*/ 3274221 h 6698675"/>
              <a:gd name="connsiteX5574" fmla="*/ 5362243 w 8267681"/>
              <a:gd name="connsiteY5574" fmla="*/ 3271888 h 6698675"/>
              <a:gd name="connsiteX5575" fmla="*/ 5812357 w 8267681"/>
              <a:gd name="connsiteY5575" fmla="*/ 3270403 h 6698675"/>
              <a:gd name="connsiteX5576" fmla="*/ 5811959 w 8267681"/>
              <a:gd name="connsiteY5576" fmla="*/ 3271915 h 6698675"/>
              <a:gd name="connsiteX5577" fmla="*/ 5810861 w 8267681"/>
              <a:gd name="connsiteY5577" fmla="*/ 3271915 h 6698675"/>
              <a:gd name="connsiteX5578" fmla="*/ 227836 w 8267681"/>
              <a:gd name="connsiteY5578" fmla="*/ 3269574 h 6698675"/>
              <a:gd name="connsiteX5579" fmla="*/ 220785 w 8267681"/>
              <a:gd name="connsiteY5579" fmla="*/ 3276607 h 6698675"/>
              <a:gd name="connsiteX5580" fmla="*/ 227836 w 8267681"/>
              <a:gd name="connsiteY5580" fmla="*/ 3295314 h 6698675"/>
              <a:gd name="connsiteX5581" fmla="*/ 237228 w 8267681"/>
              <a:gd name="connsiteY5581" fmla="*/ 3274273 h 6698675"/>
              <a:gd name="connsiteX5582" fmla="*/ 1066331 w 8267681"/>
              <a:gd name="connsiteY5582" fmla="*/ 3269552 h 6698675"/>
              <a:gd name="connsiteX5583" fmla="*/ 1059282 w 8267681"/>
              <a:gd name="connsiteY5583" fmla="*/ 3271915 h 6698675"/>
              <a:gd name="connsiteX5584" fmla="*/ 1063981 w 8267681"/>
              <a:gd name="connsiteY5584" fmla="*/ 3278939 h 6698675"/>
              <a:gd name="connsiteX5585" fmla="*/ 1073376 w 8267681"/>
              <a:gd name="connsiteY5585" fmla="*/ 3278939 h 6698675"/>
              <a:gd name="connsiteX5586" fmla="*/ 1082774 w 8267681"/>
              <a:gd name="connsiteY5586" fmla="*/ 3276607 h 6698675"/>
              <a:gd name="connsiteX5587" fmla="*/ 1085119 w 8267681"/>
              <a:gd name="connsiteY5587" fmla="*/ 3271915 h 6698675"/>
              <a:gd name="connsiteX5588" fmla="*/ 1082774 w 8267681"/>
              <a:gd name="connsiteY5588" fmla="*/ 3271915 h 6698675"/>
              <a:gd name="connsiteX5589" fmla="*/ 1075724 w 8267681"/>
              <a:gd name="connsiteY5589" fmla="*/ 3269552 h 6698675"/>
              <a:gd name="connsiteX5590" fmla="*/ 5862534 w 8267681"/>
              <a:gd name="connsiteY5590" fmla="*/ 3269551 h 6698675"/>
              <a:gd name="connsiteX5591" fmla="*/ 5865950 w 8267681"/>
              <a:gd name="connsiteY5591" fmla="*/ 3270405 h 6698675"/>
              <a:gd name="connsiteX5592" fmla="*/ 5867231 w 8267681"/>
              <a:gd name="connsiteY5592" fmla="*/ 3274248 h 6698675"/>
              <a:gd name="connsiteX5593" fmla="*/ 5862173 w 8267681"/>
              <a:gd name="connsiteY5593" fmla="*/ 3271722 h 6698675"/>
              <a:gd name="connsiteX5594" fmla="*/ 5751903 w 8267681"/>
              <a:gd name="connsiteY5594" fmla="*/ 3268974 h 6698675"/>
              <a:gd name="connsiteX5595" fmla="*/ 5750196 w 8267681"/>
              <a:gd name="connsiteY5595" fmla="*/ 3273253 h 6698675"/>
              <a:gd name="connsiteX5596" fmla="*/ 5748912 w 8267681"/>
              <a:gd name="connsiteY5596" fmla="*/ 3271034 h 6698675"/>
              <a:gd name="connsiteX5597" fmla="*/ 5812801 w 8267681"/>
              <a:gd name="connsiteY5597" fmla="*/ 3268736 h 6698675"/>
              <a:gd name="connsiteX5598" fmla="*/ 5813209 w 8267681"/>
              <a:gd name="connsiteY5598" fmla="*/ 3269551 h 6698675"/>
              <a:gd name="connsiteX5599" fmla="*/ 5812357 w 8267681"/>
              <a:gd name="connsiteY5599" fmla="*/ 3270403 h 6698675"/>
              <a:gd name="connsiteX5600" fmla="*/ 5813209 w 8267681"/>
              <a:gd name="connsiteY5600" fmla="*/ 3267196 h 6698675"/>
              <a:gd name="connsiteX5601" fmla="*/ 5812801 w 8267681"/>
              <a:gd name="connsiteY5601" fmla="*/ 3268736 h 6698675"/>
              <a:gd name="connsiteX5602" fmla="*/ 5812427 w 8267681"/>
              <a:gd name="connsiteY5602" fmla="*/ 3267986 h 6698675"/>
              <a:gd name="connsiteX5603" fmla="*/ 5766234 w 8267681"/>
              <a:gd name="connsiteY5603" fmla="*/ 3267196 h 6698675"/>
              <a:gd name="connsiteX5604" fmla="*/ 5766234 w 8267681"/>
              <a:gd name="connsiteY5604" fmla="*/ 3271915 h 6698675"/>
              <a:gd name="connsiteX5605" fmla="*/ 5762711 w 8267681"/>
              <a:gd name="connsiteY5605" fmla="*/ 3269552 h 6698675"/>
              <a:gd name="connsiteX5606" fmla="*/ 5343453 w 8267681"/>
              <a:gd name="connsiteY5606" fmla="*/ 3267163 h 6698675"/>
              <a:gd name="connsiteX5607" fmla="*/ 5348150 w 8267681"/>
              <a:gd name="connsiteY5607" fmla="*/ 3267163 h 6698675"/>
              <a:gd name="connsiteX5608" fmla="*/ 5343453 w 8267681"/>
              <a:gd name="connsiteY5608" fmla="*/ 3271861 h 6698675"/>
              <a:gd name="connsiteX5609" fmla="*/ 5343453 w 8267681"/>
              <a:gd name="connsiteY5609" fmla="*/ 3267163 h 6698675"/>
              <a:gd name="connsiteX5610" fmla="*/ 5390429 w 8267681"/>
              <a:gd name="connsiteY5610" fmla="*/ 3267116 h 6698675"/>
              <a:gd name="connsiteX5611" fmla="*/ 5395127 w 8267681"/>
              <a:gd name="connsiteY5611" fmla="*/ 3267116 h 6698675"/>
              <a:gd name="connsiteX5612" fmla="*/ 5392778 w 8267681"/>
              <a:gd name="connsiteY5612" fmla="*/ 3269465 h 6698675"/>
              <a:gd name="connsiteX5613" fmla="*/ 6028146 w 8267681"/>
              <a:gd name="connsiteY5613" fmla="*/ 3263741 h 6698675"/>
              <a:gd name="connsiteX5614" fmla="*/ 6030371 w 8267681"/>
              <a:gd name="connsiteY5614" fmla="*/ 3263976 h 6698675"/>
              <a:gd name="connsiteX5615" fmla="*/ 6029297 w 8267681"/>
              <a:gd name="connsiteY5615" fmla="*/ 3267196 h 6698675"/>
              <a:gd name="connsiteX5616" fmla="*/ 6017553 w 8267681"/>
              <a:gd name="connsiteY5616" fmla="*/ 3262638 h 6698675"/>
              <a:gd name="connsiteX5617" fmla="*/ 6017993 w 8267681"/>
              <a:gd name="connsiteY5617" fmla="*/ 3262673 h 6698675"/>
              <a:gd name="connsiteX5618" fmla="*/ 6022889 w 8267681"/>
              <a:gd name="connsiteY5618" fmla="*/ 3263191 h 6698675"/>
              <a:gd name="connsiteX5619" fmla="*/ 6017553 w 8267681"/>
              <a:gd name="connsiteY5619" fmla="*/ 3267196 h 6698675"/>
              <a:gd name="connsiteX5620" fmla="*/ 143276 w 8267681"/>
              <a:gd name="connsiteY5620" fmla="*/ 3262502 h 6698675"/>
              <a:gd name="connsiteX5621" fmla="*/ 147972 w 8267681"/>
              <a:gd name="connsiteY5621" fmla="*/ 3267197 h 6698675"/>
              <a:gd name="connsiteX5622" fmla="*/ 150322 w 8267681"/>
              <a:gd name="connsiteY5622" fmla="*/ 3276607 h 6698675"/>
              <a:gd name="connsiteX5623" fmla="*/ 147972 w 8267681"/>
              <a:gd name="connsiteY5623" fmla="*/ 3285961 h 6698675"/>
              <a:gd name="connsiteX5624" fmla="*/ 143276 w 8267681"/>
              <a:gd name="connsiteY5624" fmla="*/ 3292983 h 6698675"/>
              <a:gd name="connsiteX5625" fmla="*/ 136234 w 8267681"/>
              <a:gd name="connsiteY5625" fmla="*/ 3285961 h 6698675"/>
              <a:gd name="connsiteX5626" fmla="*/ 136234 w 8267681"/>
              <a:gd name="connsiteY5626" fmla="*/ 3276607 h 6698675"/>
              <a:gd name="connsiteX5627" fmla="*/ 136234 w 8267681"/>
              <a:gd name="connsiteY5627" fmla="*/ 3267197 h 6698675"/>
              <a:gd name="connsiteX5628" fmla="*/ 5406870 w 8267681"/>
              <a:gd name="connsiteY5628" fmla="*/ 3262481 h 6698675"/>
              <a:gd name="connsiteX5629" fmla="*/ 5411567 w 8267681"/>
              <a:gd name="connsiteY5629" fmla="*/ 3264834 h 6698675"/>
              <a:gd name="connsiteX5630" fmla="*/ 5411567 w 8267681"/>
              <a:gd name="connsiteY5630" fmla="*/ 3269549 h 6698675"/>
              <a:gd name="connsiteX5631" fmla="*/ 5409218 w 8267681"/>
              <a:gd name="connsiteY5631" fmla="*/ 3271888 h 6698675"/>
              <a:gd name="connsiteX5632" fmla="*/ 5413916 w 8267681"/>
              <a:gd name="connsiteY5632" fmla="*/ 3274248 h 6698675"/>
              <a:gd name="connsiteX5633" fmla="*/ 5413916 w 8267681"/>
              <a:gd name="connsiteY5633" fmla="*/ 3278911 h 6698675"/>
              <a:gd name="connsiteX5634" fmla="*/ 5409218 w 8267681"/>
              <a:gd name="connsiteY5634" fmla="*/ 3276580 h 6698675"/>
              <a:gd name="connsiteX5635" fmla="*/ 5406870 w 8267681"/>
              <a:gd name="connsiteY5635" fmla="*/ 3271888 h 6698675"/>
              <a:gd name="connsiteX5636" fmla="*/ 5409218 w 8267681"/>
              <a:gd name="connsiteY5636" fmla="*/ 3269549 h 6698675"/>
              <a:gd name="connsiteX5637" fmla="*/ 5406870 w 8267681"/>
              <a:gd name="connsiteY5637" fmla="*/ 3267188 h 6698675"/>
              <a:gd name="connsiteX5638" fmla="*/ 5406870 w 8267681"/>
              <a:gd name="connsiteY5638" fmla="*/ 3262481 h 6698675"/>
              <a:gd name="connsiteX5639" fmla="*/ 5336407 w 8267681"/>
              <a:gd name="connsiteY5639" fmla="*/ 3262447 h 6698675"/>
              <a:gd name="connsiteX5640" fmla="*/ 5336407 w 8267681"/>
              <a:gd name="connsiteY5640" fmla="*/ 3267143 h 6698675"/>
              <a:gd name="connsiteX5641" fmla="*/ 5334058 w 8267681"/>
              <a:gd name="connsiteY5641" fmla="*/ 3267143 h 6698675"/>
              <a:gd name="connsiteX5642" fmla="*/ 5336407 w 8267681"/>
              <a:gd name="connsiteY5642" fmla="*/ 3262447 h 6698675"/>
              <a:gd name="connsiteX5643" fmla="*/ 5472636 w 8267681"/>
              <a:gd name="connsiteY5643" fmla="*/ 3262444 h 6698675"/>
              <a:gd name="connsiteX5644" fmla="*/ 5474985 w 8267681"/>
              <a:gd name="connsiteY5644" fmla="*/ 3267139 h 6698675"/>
              <a:gd name="connsiteX5645" fmla="*/ 5472636 w 8267681"/>
              <a:gd name="connsiteY5645" fmla="*/ 3267139 h 6698675"/>
              <a:gd name="connsiteX5646" fmla="*/ 5472636 w 8267681"/>
              <a:gd name="connsiteY5646" fmla="*/ 3262444 h 6698675"/>
              <a:gd name="connsiteX5647" fmla="*/ 5604168 w 8267681"/>
              <a:gd name="connsiteY5647" fmla="*/ 3262423 h 6698675"/>
              <a:gd name="connsiteX5648" fmla="*/ 5606517 w 8267681"/>
              <a:gd name="connsiteY5648" fmla="*/ 3267116 h 6698675"/>
              <a:gd name="connsiteX5649" fmla="*/ 5604168 w 8267681"/>
              <a:gd name="connsiteY5649" fmla="*/ 3267116 h 6698675"/>
              <a:gd name="connsiteX5650" fmla="*/ 6031646 w 8267681"/>
              <a:gd name="connsiteY5650" fmla="*/ 3260142 h 6698675"/>
              <a:gd name="connsiteX5651" fmla="*/ 6038692 w 8267681"/>
              <a:gd name="connsiteY5651" fmla="*/ 3264856 h 6698675"/>
              <a:gd name="connsiteX5652" fmla="*/ 6030371 w 8267681"/>
              <a:gd name="connsiteY5652" fmla="*/ 3263976 h 6698675"/>
              <a:gd name="connsiteX5653" fmla="*/ 6026948 w 8267681"/>
              <a:gd name="connsiteY5653" fmla="*/ 3260142 h 6698675"/>
              <a:gd name="connsiteX5654" fmla="*/ 6028146 w 8267681"/>
              <a:gd name="connsiteY5654" fmla="*/ 3263741 h 6698675"/>
              <a:gd name="connsiteX5655" fmla="*/ 6022889 w 8267681"/>
              <a:gd name="connsiteY5655" fmla="*/ 3263191 h 6698675"/>
              <a:gd name="connsiteX5656" fmla="*/ 5449148 w 8267681"/>
              <a:gd name="connsiteY5656" fmla="*/ 3260120 h 6698675"/>
              <a:gd name="connsiteX5657" fmla="*/ 5451497 w 8267681"/>
              <a:gd name="connsiteY5657" fmla="*/ 3267179 h 6698675"/>
              <a:gd name="connsiteX5658" fmla="*/ 5449148 w 8267681"/>
              <a:gd name="connsiteY5658" fmla="*/ 3264821 h 6698675"/>
              <a:gd name="connsiteX5659" fmla="*/ 5444451 w 8267681"/>
              <a:gd name="connsiteY5659" fmla="*/ 3264821 h 6698675"/>
              <a:gd name="connsiteX5660" fmla="*/ 5446800 w 8267681"/>
              <a:gd name="connsiteY5660" fmla="*/ 3264821 h 6698675"/>
              <a:gd name="connsiteX5661" fmla="*/ 5449148 w 8267681"/>
              <a:gd name="connsiteY5661" fmla="*/ 3262474 h 6698675"/>
              <a:gd name="connsiteX5662" fmla="*/ 5449148 w 8267681"/>
              <a:gd name="connsiteY5662" fmla="*/ 3260120 h 6698675"/>
              <a:gd name="connsiteX5663" fmla="*/ 6017553 w 8267681"/>
              <a:gd name="connsiteY5663" fmla="*/ 3257792 h 6698675"/>
              <a:gd name="connsiteX5664" fmla="*/ 6017553 w 8267681"/>
              <a:gd name="connsiteY5664" fmla="*/ 3262638 h 6698675"/>
              <a:gd name="connsiteX5665" fmla="*/ 6011839 w 8267681"/>
              <a:gd name="connsiteY5665" fmla="*/ 3262083 h 6698675"/>
              <a:gd name="connsiteX5666" fmla="*/ 5702348 w 8267681"/>
              <a:gd name="connsiteY5666" fmla="*/ 3257792 h 6698675"/>
              <a:gd name="connsiteX5667" fmla="*/ 5710947 w 8267681"/>
              <a:gd name="connsiteY5667" fmla="*/ 3257792 h 6698675"/>
              <a:gd name="connsiteX5668" fmla="*/ 5711273 w 8267681"/>
              <a:gd name="connsiteY5668" fmla="*/ 3262015 h 6698675"/>
              <a:gd name="connsiteX5669" fmla="*/ 5709863 w 8267681"/>
              <a:gd name="connsiteY5669" fmla="*/ 3262492 h 6698675"/>
              <a:gd name="connsiteX5670" fmla="*/ 5703600 w 8267681"/>
              <a:gd name="connsiteY5670" fmla="*/ 3260927 h 6698675"/>
              <a:gd name="connsiteX5671" fmla="*/ 4328780 w 8267681"/>
              <a:gd name="connsiteY5671" fmla="*/ 3257791 h 6698675"/>
              <a:gd name="connsiteX5672" fmla="*/ 4307641 w 8267681"/>
              <a:gd name="connsiteY5672" fmla="*/ 3262494 h 6698675"/>
              <a:gd name="connsiteX5673" fmla="*/ 4328780 w 8267681"/>
              <a:gd name="connsiteY5673" fmla="*/ 3257791 h 6698675"/>
              <a:gd name="connsiteX5674" fmla="*/ 4275345 w 8267681"/>
              <a:gd name="connsiteY5674" fmla="*/ 3256612 h 6698675"/>
              <a:gd name="connsiteX5675" fmla="*/ 4253619 w 8267681"/>
              <a:gd name="connsiteY5675" fmla="*/ 3260142 h 6698675"/>
              <a:gd name="connsiteX5676" fmla="*/ 4300594 w 8267681"/>
              <a:gd name="connsiteY5676" fmla="*/ 3260142 h 6698675"/>
              <a:gd name="connsiteX5677" fmla="*/ 4275345 w 8267681"/>
              <a:gd name="connsiteY5677" fmla="*/ 3256612 h 6698675"/>
              <a:gd name="connsiteX5678" fmla="*/ 5395127 w 8267681"/>
              <a:gd name="connsiteY5678" fmla="*/ 3255399 h 6698675"/>
              <a:gd name="connsiteX5679" fmla="*/ 5395127 w 8267681"/>
              <a:gd name="connsiteY5679" fmla="*/ 3260096 h 6698675"/>
              <a:gd name="connsiteX5680" fmla="*/ 5392778 w 8267681"/>
              <a:gd name="connsiteY5680" fmla="*/ 3257745 h 6698675"/>
              <a:gd name="connsiteX5681" fmla="*/ 6003461 w 8267681"/>
              <a:gd name="connsiteY5681" fmla="*/ 3253093 h 6698675"/>
              <a:gd name="connsiteX5682" fmla="*/ 6006983 w 8267681"/>
              <a:gd name="connsiteY5682" fmla="*/ 3261608 h 6698675"/>
              <a:gd name="connsiteX5683" fmla="*/ 6011839 w 8267681"/>
              <a:gd name="connsiteY5683" fmla="*/ 3262083 h 6698675"/>
              <a:gd name="connsiteX5684" fmla="*/ 6008158 w 8267681"/>
              <a:gd name="connsiteY5684" fmla="*/ 3264856 h 6698675"/>
              <a:gd name="connsiteX5685" fmla="*/ 5998763 w 8267681"/>
              <a:gd name="connsiteY5685" fmla="*/ 3262492 h 6698675"/>
              <a:gd name="connsiteX5686" fmla="*/ 5987019 w 8267681"/>
              <a:gd name="connsiteY5686" fmla="*/ 3253091 h 6698675"/>
              <a:gd name="connsiteX5687" fmla="*/ 5996414 w 8267681"/>
              <a:gd name="connsiteY5687" fmla="*/ 3253091 h 6698675"/>
              <a:gd name="connsiteX5688" fmla="*/ 5996414 w 8267681"/>
              <a:gd name="connsiteY5688" fmla="*/ 3260142 h 6698675"/>
              <a:gd name="connsiteX5689" fmla="*/ 5987019 w 8267681"/>
              <a:gd name="connsiteY5689" fmla="*/ 3253091 h 6698675"/>
              <a:gd name="connsiteX5690" fmla="*/ 2017585 w 8267681"/>
              <a:gd name="connsiteY5690" fmla="*/ 3250741 h 6698675"/>
              <a:gd name="connsiteX5691" fmla="*/ 2017732 w 8267681"/>
              <a:gd name="connsiteY5691" fmla="*/ 3251034 h 6698675"/>
              <a:gd name="connsiteX5692" fmla="*/ 2008192 w 8267681"/>
              <a:gd name="connsiteY5692" fmla="*/ 3262494 h 6698675"/>
              <a:gd name="connsiteX5693" fmla="*/ 2008038 w 8267681"/>
              <a:gd name="connsiteY5693" fmla="*/ 3262205 h 6698675"/>
              <a:gd name="connsiteX5694" fmla="*/ 913658 w 8267681"/>
              <a:gd name="connsiteY5694" fmla="*/ 3250741 h 6698675"/>
              <a:gd name="connsiteX5695" fmla="*/ 908962 w 8267681"/>
              <a:gd name="connsiteY5695" fmla="*/ 3253091 h 6698675"/>
              <a:gd name="connsiteX5696" fmla="*/ 916007 w 8267681"/>
              <a:gd name="connsiteY5696" fmla="*/ 3262494 h 6698675"/>
              <a:gd name="connsiteX5697" fmla="*/ 923055 w 8267681"/>
              <a:gd name="connsiteY5697" fmla="*/ 3269552 h 6698675"/>
              <a:gd name="connsiteX5698" fmla="*/ 925405 w 8267681"/>
              <a:gd name="connsiteY5698" fmla="*/ 3262494 h 6698675"/>
              <a:gd name="connsiteX5699" fmla="*/ 918355 w 8267681"/>
              <a:gd name="connsiteY5699" fmla="*/ 3253091 h 6698675"/>
              <a:gd name="connsiteX5700" fmla="*/ 913658 w 8267681"/>
              <a:gd name="connsiteY5700" fmla="*/ 3250741 h 6698675"/>
              <a:gd name="connsiteX5701" fmla="*/ 5907050 w 8267681"/>
              <a:gd name="connsiteY5701" fmla="*/ 3250068 h 6698675"/>
              <a:gd name="connsiteX5702" fmla="*/ 5900114 w 8267681"/>
              <a:gd name="connsiteY5702" fmla="*/ 3250742 h 6698675"/>
              <a:gd name="connsiteX5703" fmla="*/ 5900938 w 8267681"/>
              <a:gd name="connsiteY5703" fmla="*/ 3254031 h 6698675"/>
              <a:gd name="connsiteX5704" fmla="*/ 5906279 w 8267681"/>
              <a:gd name="connsiteY5704" fmla="*/ 3251035 h 6698675"/>
              <a:gd name="connsiteX5705" fmla="*/ 5369290 w 8267681"/>
              <a:gd name="connsiteY5705" fmla="*/ 3246031 h 6698675"/>
              <a:gd name="connsiteX5706" fmla="*/ 5371639 w 8267681"/>
              <a:gd name="connsiteY5706" fmla="*/ 3248383 h 6698675"/>
              <a:gd name="connsiteX5707" fmla="*/ 5373987 w 8267681"/>
              <a:gd name="connsiteY5707" fmla="*/ 3253083 h 6698675"/>
              <a:gd name="connsiteX5708" fmla="*/ 5369290 w 8267681"/>
              <a:gd name="connsiteY5708" fmla="*/ 3250734 h 6698675"/>
              <a:gd name="connsiteX5709" fmla="*/ 5369290 w 8267681"/>
              <a:gd name="connsiteY5709" fmla="*/ 3248383 h 6698675"/>
              <a:gd name="connsiteX5710" fmla="*/ 5662887 w 8267681"/>
              <a:gd name="connsiteY5710" fmla="*/ 3246029 h 6698675"/>
              <a:gd name="connsiteX5711" fmla="*/ 5665236 w 8267681"/>
              <a:gd name="connsiteY5711" fmla="*/ 3246029 h 6698675"/>
              <a:gd name="connsiteX5712" fmla="*/ 5667585 w 8267681"/>
              <a:gd name="connsiteY5712" fmla="*/ 3248376 h 6698675"/>
              <a:gd name="connsiteX5713" fmla="*/ 5665236 w 8267681"/>
              <a:gd name="connsiteY5713" fmla="*/ 3253077 h 6698675"/>
              <a:gd name="connsiteX5714" fmla="*/ 5665236 w 8267681"/>
              <a:gd name="connsiteY5714" fmla="*/ 3250733 h 6698675"/>
              <a:gd name="connsiteX5715" fmla="*/ 5662887 w 8267681"/>
              <a:gd name="connsiteY5715" fmla="*/ 3250733 h 6698675"/>
              <a:gd name="connsiteX5716" fmla="*/ 5665236 w 8267681"/>
              <a:gd name="connsiteY5716" fmla="*/ 3248376 h 6698675"/>
              <a:gd name="connsiteX5717" fmla="*/ 68121 w 8267681"/>
              <a:gd name="connsiteY5717" fmla="*/ 3243694 h 6698675"/>
              <a:gd name="connsiteX5718" fmla="*/ 82223 w 8267681"/>
              <a:gd name="connsiteY5718" fmla="*/ 3248399 h 6698675"/>
              <a:gd name="connsiteX5719" fmla="*/ 93965 w 8267681"/>
              <a:gd name="connsiteY5719" fmla="*/ 3255450 h 6698675"/>
              <a:gd name="connsiteX5720" fmla="*/ 93965 w 8267681"/>
              <a:gd name="connsiteY5720" fmla="*/ 3274271 h 6698675"/>
              <a:gd name="connsiteX5721" fmla="*/ 98665 w 8267681"/>
              <a:gd name="connsiteY5721" fmla="*/ 3283629 h 6698675"/>
              <a:gd name="connsiteX5722" fmla="*/ 93965 w 8267681"/>
              <a:gd name="connsiteY5722" fmla="*/ 3288292 h 6698675"/>
              <a:gd name="connsiteX5723" fmla="*/ 77522 w 8267681"/>
              <a:gd name="connsiteY5723" fmla="*/ 3283629 h 6698675"/>
              <a:gd name="connsiteX5724" fmla="*/ 75163 w 8267681"/>
              <a:gd name="connsiteY5724" fmla="*/ 3269564 h 6698675"/>
              <a:gd name="connsiteX5725" fmla="*/ 79864 w 8267681"/>
              <a:gd name="connsiteY5725" fmla="*/ 3264857 h 6698675"/>
              <a:gd name="connsiteX5726" fmla="*/ 63421 w 8267681"/>
              <a:gd name="connsiteY5726" fmla="*/ 3248399 h 6698675"/>
              <a:gd name="connsiteX5727" fmla="*/ 68121 w 8267681"/>
              <a:gd name="connsiteY5727" fmla="*/ 3243694 h 6698675"/>
              <a:gd name="connsiteX5728" fmla="*/ 5345802 w 8267681"/>
              <a:gd name="connsiteY5728" fmla="*/ 3243630 h 6698675"/>
              <a:gd name="connsiteX5729" fmla="*/ 5348151 w 8267681"/>
              <a:gd name="connsiteY5729" fmla="*/ 3245983 h 6698675"/>
              <a:gd name="connsiteX5730" fmla="*/ 5345802 w 8267681"/>
              <a:gd name="connsiteY5730" fmla="*/ 3245983 h 6698675"/>
              <a:gd name="connsiteX5731" fmla="*/ 5303524 w 8267681"/>
              <a:gd name="connsiteY5731" fmla="*/ 3241327 h 6698675"/>
              <a:gd name="connsiteX5732" fmla="*/ 5312919 w 8267681"/>
              <a:gd name="connsiteY5732" fmla="*/ 3248376 h 6698675"/>
              <a:gd name="connsiteX5733" fmla="*/ 5310570 w 8267681"/>
              <a:gd name="connsiteY5733" fmla="*/ 3248376 h 6698675"/>
              <a:gd name="connsiteX5734" fmla="*/ 5308221 w 8267681"/>
              <a:gd name="connsiteY5734" fmla="*/ 3246023 h 6698675"/>
              <a:gd name="connsiteX5735" fmla="*/ 389897 w 8267681"/>
              <a:gd name="connsiteY5735" fmla="*/ 3238995 h 6698675"/>
              <a:gd name="connsiteX5736" fmla="*/ 382854 w 8267681"/>
              <a:gd name="connsiteY5736" fmla="*/ 3246043 h 6698675"/>
              <a:gd name="connsiteX5737" fmla="*/ 387548 w 8267681"/>
              <a:gd name="connsiteY5737" fmla="*/ 3255452 h 6698675"/>
              <a:gd name="connsiteX5738" fmla="*/ 389897 w 8267681"/>
              <a:gd name="connsiteY5738" fmla="*/ 3246043 h 6698675"/>
              <a:gd name="connsiteX5739" fmla="*/ 5660538 w 8267681"/>
              <a:gd name="connsiteY5739" fmla="*/ 3238983 h 6698675"/>
              <a:gd name="connsiteX5740" fmla="*/ 5658190 w 8267681"/>
              <a:gd name="connsiteY5740" fmla="*/ 3241328 h 6698675"/>
              <a:gd name="connsiteX5741" fmla="*/ 5660538 w 8267681"/>
              <a:gd name="connsiteY5741" fmla="*/ 3241328 h 6698675"/>
              <a:gd name="connsiteX5742" fmla="*/ 5660538 w 8267681"/>
              <a:gd name="connsiteY5742" fmla="*/ 3243679 h 6698675"/>
              <a:gd name="connsiteX5743" fmla="*/ 5658190 w 8267681"/>
              <a:gd name="connsiteY5743" fmla="*/ 3246029 h 6698675"/>
              <a:gd name="connsiteX5744" fmla="*/ 5655841 w 8267681"/>
              <a:gd name="connsiteY5744" fmla="*/ 3241328 h 6698675"/>
              <a:gd name="connsiteX5745" fmla="*/ 5362243 w 8267681"/>
              <a:gd name="connsiteY5745" fmla="*/ 3238983 h 6698675"/>
              <a:gd name="connsiteX5746" fmla="*/ 5364592 w 8267681"/>
              <a:gd name="connsiteY5746" fmla="*/ 3238983 h 6698675"/>
              <a:gd name="connsiteX5747" fmla="*/ 5366941 w 8267681"/>
              <a:gd name="connsiteY5747" fmla="*/ 3238983 h 6698675"/>
              <a:gd name="connsiteX5748" fmla="*/ 5369290 w 8267681"/>
              <a:gd name="connsiteY5748" fmla="*/ 3241332 h 6698675"/>
              <a:gd name="connsiteX5749" fmla="*/ 5369290 w 8267681"/>
              <a:gd name="connsiteY5749" fmla="*/ 3246031 h 6698675"/>
              <a:gd name="connsiteX5750" fmla="*/ 5369290 w 8267681"/>
              <a:gd name="connsiteY5750" fmla="*/ 3243685 h 6698675"/>
              <a:gd name="connsiteX5751" fmla="*/ 5364592 w 8267681"/>
              <a:gd name="connsiteY5751" fmla="*/ 3246031 h 6698675"/>
              <a:gd name="connsiteX5752" fmla="*/ 5364592 w 8267681"/>
              <a:gd name="connsiteY5752" fmla="*/ 3241332 h 6698675"/>
              <a:gd name="connsiteX5753" fmla="*/ 354669 w 8267681"/>
              <a:gd name="connsiteY5753" fmla="*/ 3236645 h 6698675"/>
              <a:gd name="connsiteX5754" fmla="*/ 349970 w 8267681"/>
              <a:gd name="connsiteY5754" fmla="*/ 3243694 h 6698675"/>
              <a:gd name="connsiteX5755" fmla="*/ 352319 w 8267681"/>
              <a:gd name="connsiteY5755" fmla="*/ 3253094 h 6698675"/>
              <a:gd name="connsiteX5756" fmla="*/ 354669 w 8267681"/>
              <a:gd name="connsiteY5756" fmla="*/ 3255452 h 6698675"/>
              <a:gd name="connsiteX5757" fmla="*/ 357014 w 8267681"/>
              <a:gd name="connsiteY5757" fmla="*/ 3253094 h 6698675"/>
              <a:gd name="connsiteX5758" fmla="*/ 359363 w 8267681"/>
              <a:gd name="connsiteY5758" fmla="*/ 3243694 h 6698675"/>
              <a:gd name="connsiteX5759" fmla="*/ 194950 w 8267681"/>
              <a:gd name="connsiteY5759" fmla="*/ 3236645 h 6698675"/>
              <a:gd name="connsiteX5760" fmla="*/ 187901 w 8267681"/>
              <a:gd name="connsiteY5760" fmla="*/ 3241348 h 6698675"/>
              <a:gd name="connsiteX5761" fmla="*/ 194950 w 8267681"/>
              <a:gd name="connsiteY5761" fmla="*/ 3248400 h 6698675"/>
              <a:gd name="connsiteX5762" fmla="*/ 197296 w 8267681"/>
              <a:gd name="connsiteY5762" fmla="*/ 3241348 h 6698675"/>
              <a:gd name="connsiteX5763" fmla="*/ 5846092 w 8267681"/>
              <a:gd name="connsiteY5763" fmla="*/ 3236643 h 6698675"/>
              <a:gd name="connsiteX5764" fmla="*/ 5848441 w 8267681"/>
              <a:gd name="connsiteY5764" fmla="*/ 3243691 h 6698675"/>
              <a:gd name="connsiteX5765" fmla="*/ 5836697 w 8267681"/>
              <a:gd name="connsiteY5765" fmla="*/ 3243691 h 6698675"/>
              <a:gd name="connsiteX5766" fmla="*/ 5843743 w 8267681"/>
              <a:gd name="connsiteY5766" fmla="*/ 3250742 h 6698675"/>
              <a:gd name="connsiteX5767" fmla="*/ 5848441 w 8267681"/>
              <a:gd name="connsiteY5767" fmla="*/ 3243691 h 6698675"/>
              <a:gd name="connsiteX5768" fmla="*/ 5855487 w 8267681"/>
              <a:gd name="connsiteY5768" fmla="*/ 3236643 h 6698675"/>
              <a:gd name="connsiteX5769" fmla="*/ 5651143 w 8267681"/>
              <a:gd name="connsiteY5769" fmla="*/ 3236613 h 6698675"/>
              <a:gd name="connsiteX5770" fmla="*/ 5655840 w 8267681"/>
              <a:gd name="connsiteY5770" fmla="*/ 3241311 h 6698675"/>
              <a:gd name="connsiteX5771" fmla="*/ 5648794 w 8267681"/>
              <a:gd name="connsiteY5771" fmla="*/ 3238967 h 6698675"/>
              <a:gd name="connsiteX5772" fmla="*/ 5651143 w 8267681"/>
              <a:gd name="connsiteY5772" fmla="*/ 3236613 h 6698675"/>
              <a:gd name="connsiteX5773" fmla="*/ 584850 w 8267681"/>
              <a:gd name="connsiteY5773" fmla="*/ 3234294 h 6698675"/>
              <a:gd name="connsiteX5774" fmla="*/ 587195 w 8267681"/>
              <a:gd name="connsiteY5774" fmla="*/ 3238993 h 6698675"/>
              <a:gd name="connsiteX5775" fmla="*/ 582500 w 8267681"/>
              <a:gd name="connsiteY5775" fmla="*/ 3246043 h 6698675"/>
              <a:gd name="connsiteX5776" fmla="*/ 582500 w 8267681"/>
              <a:gd name="connsiteY5776" fmla="*/ 3248399 h 6698675"/>
              <a:gd name="connsiteX5777" fmla="*/ 575452 w 8267681"/>
              <a:gd name="connsiteY5777" fmla="*/ 3253094 h 6698675"/>
              <a:gd name="connsiteX5778" fmla="*/ 570758 w 8267681"/>
              <a:gd name="connsiteY5778" fmla="*/ 3248399 h 6698675"/>
              <a:gd name="connsiteX5779" fmla="*/ 573108 w 8267681"/>
              <a:gd name="connsiteY5779" fmla="*/ 3238993 h 6698675"/>
              <a:gd name="connsiteX5780" fmla="*/ 575452 w 8267681"/>
              <a:gd name="connsiteY5780" fmla="*/ 3236644 h 6698675"/>
              <a:gd name="connsiteX5781" fmla="*/ 5359895 w 8267681"/>
              <a:gd name="connsiteY5781" fmla="*/ 3234284 h 6698675"/>
              <a:gd name="connsiteX5782" fmla="*/ 5362243 w 8267681"/>
              <a:gd name="connsiteY5782" fmla="*/ 3238983 h 6698675"/>
              <a:gd name="connsiteX5783" fmla="*/ 5359895 w 8267681"/>
              <a:gd name="connsiteY5783" fmla="*/ 3241332 h 6698675"/>
              <a:gd name="connsiteX5784" fmla="*/ 5359895 w 8267681"/>
              <a:gd name="connsiteY5784" fmla="*/ 3238983 h 6698675"/>
              <a:gd name="connsiteX5785" fmla="*/ 5357546 w 8267681"/>
              <a:gd name="connsiteY5785" fmla="*/ 3238983 h 6698675"/>
              <a:gd name="connsiteX5786" fmla="*/ 5359895 w 8267681"/>
              <a:gd name="connsiteY5786" fmla="*/ 3236637 h 6698675"/>
              <a:gd name="connsiteX5787" fmla="*/ 5359895 w 8267681"/>
              <a:gd name="connsiteY5787" fmla="*/ 3234284 h 6698675"/>
              <a:gd name="connsiteX5788" fmla="*/ 4453706 w 8267681"/>
              <a:gd name="connsiteY5788" fmla="*/ 3232129 h 6698675"/>
              <a:gd name="connsiteX5789" fmla="*/ 4354616 w 8267681"/>
              <a:gd name="connsiteY5789" fmla="*/ 3264850 h 6698675"/>
              <a:gd name="connsiteX5790" fmla="*/ 4406289 w 8267681"/>
              <a:gd name="connsiteY5790" fmla="*/ 3285961 h 6698675"/>
              <a:gd name="connsiteX5791" fmla="*/ 4371058 w 8267681"/>
              <a:gd name="connsiteY5791" fmla="*/ 3318807 h 6698675"/>
              <a:gd name="connsiteX5792" fmla="*/ 4331129 w 8267681"/>
              <a:gd name="connsiteY5792" fmla="*/ 3316463 h 6698675"/>
              <a:gd name="connsiteX5793" fmla="*/ 4349919 w 8267681"/>
              <a:gd name="connsiteY5793" fmla="*/ 3337610 h 6698675"/>
              <a:gd name="connsiteX5794" fmla="*/ 4281804 w 8267681"/>
              <a:gd name="connsiteY5794" fmla="*/ 3337610 h 6698675"/>
              <a:gd name="connsiteX5795" fmla="*/ 4293548 w 8267681"/>
              <a:gd name="connsiteY5795" fmla="*/ 3356363 h 6698675"/>
              <a:gd name="connsiteX5796" fmla="*/ 4227782 w 8267681"/>
              <a:gd name="connsiteY5796" fmla="*/ 3370456 h 6698675"/>
              <a:gd name="connsiteX5797" fmla="*/ 4218387 w 8267681"/>
              <a:gd name="connsiteY5797" fmla="*/ 3408036 h 6698675"/>
              <a:gd name="connsiteX5798" fmla="*/ 4190202 w 8267681"/>
              <a:gd name="connsiteY5798" fmla="*/ 3410385 h 6698675"/>
              <a:gd name="connsiteX5799" fmla="*/ 4206643 w 8267681"/>
              <a:gd name="connsiteY5799" fmla="*/ 3417431 h 6698675"/>
              <a:gd name="connsiteX5800" fmla="*/ 4122087 w 8267681"/>
              <a:gd name="connsiteY5800" fmla="*/ 3478499 h 6698675"/>
              <a:gd name="connsiteX5801" fmla="*/ 4079810 w 8267681"/>
              <a:gd name="connsiteY5801" fmla="*/ 3480848 h 6698675"/>
              <a:gd name="connsiteX5802" fmla="*/ 4075111 w 8267681"/>
              <a:gd name="connsiteY5802" fmla="*/ 3525475 h 6698675"/>
              <a:gd name="connsiteX5803" fmla="*/ 4213690 w 8267681"/>
              <a:gd name="connsiteY5803" fmla="*/ 3452663 h 6698675"/>
              <a:gd name="connsiteX5804" fmla="*/ 4180806 w 8267681"/>
              <a:gd name="connsiteY5804" fmla="*/ 3431524 h 6698675"/>
              <a:gd name="connsiteX5805" fmla="*/ 4232480 w 8267681"/>
              <a:gd name="connsiteY5805" fmla="*/ 3419780 h 6698675"/>
              <a:gd name="connsiteX5806" fmla="*/ 4211341 w 8267681"/>
              <a:gd name="connsiteY5806" fmla="*/ 3438570 h 6698675"/>
              <a:gd name="connsiteX5807" fmla="*/ 4267712 w 8267681"/>
              <a:gd name="connsiteY5807" fmla="*/ 3400990 h 6698675"/>
              <a:gd name="connsiteX5808" fmla="*/ 4415684 w 8267681"/>
              <a:gd name="connsiteY5808" fmla="*/ 3354014 h 6698675"/>
              <a:gd name="connsiteX5809" fmla="*/ 4401592 w 8267681"/>
              <a:gd name="connsiteY5809" fmla="*/ 3389246 h 6698675"/>
              <a:gd name="connsiteX5810" fmla="*/ 4427428 w 8267681"/>
              <a:gd name="connsiteY5810" fmla="*/ 3372804 h 6698675"/>
              <a:gd name="connsiteX5811" fmla="*/ 4432126 w 8267681"/>
              <a:gd name="connsiteY5811" fmla="*/ 3393943 h 6698675"/>
              <a:gd name="connsiteX5812" fmla="*/ 4467358 w 8267681"/>
              <a:gd name="connsiteY5812" fmla="*/ 3389246 h 6698675"/>
              <a:gd name="connsiteX5813" fmla="*/ 4488497 w 8267681"/>
              <a:gd name="connsiteY5813" fmla="*/ 3236641 h 6698675"/>
              <a:gd name="connsiteX5814" fmla="*/ 4453706 w 8267681"/>
              <a:gd name="connsiteY5814" fmla="*/ 3232129 h 6698675"/>
              <a:gd name="connsiteX5815" fmla="*/ 5564239 w 8267681"/>
              <a:gd name="connsiteY5815" fmla="*/ 3231915 h 6698675"/>
              <a:gd name="connsiteX5816" fmla="*/ 5566587 w 8267681"/>
              <a:gd name="connsiteY5816" fmla="*/ 3231915 h 6698675"/>
              <a:gd name="connsiteX5817" fmla="*/ 5568936 w 8267681"/>
              <a:gd name="connsiteY5817" fmla="*/ 3234261 h 6698675"/>
              <a:gd name="connsiteX5818" fmla="*/ 5566587 w 8267681"/>
              <a:gd name="connsiteY5818" fmla="*/ 3234261 h 6698675"/>
              <a:gd name="connsiteX5819" fmla="*/ 5564239 w 8267681"/>
              <a:gd name="connsiteY5819" fmla="*/ 3231915 h 6698675"/>
              <a:gd name="connsiteX5820" fmla="*/ 5646445 w 8267681"/>
              <a:gd name="connsiteY5820" fmla="*/ 3231888 h 6698675"/>
              <a:gd name="connsiteX5821" fmla="*/ 5646445 w 8267681"/>
              <a:gd name="connsiteY5821" fmla="*/ 3234236 h 6698675"/>
              <a:gd name="connsiteX5822" fmla="*/ 5641748 w 8267681"/>
              <a:gd name="connsiteY5822" fmla="*/ 3234236 h 6698675"/>
              <a:gd name="connsiteX5823" fmla="*/ 5296477 w 8267681"/>
              <a:gd name="connsiteY5823" fmla="*/ 3229583 h 6698675"/>
              <a:gd name="connsiteX5824" fmla="*/ 5301175 w 8267681"/>
              <a:gd name="connsiteY5824" fmla="*/ 3234281 h 6698675"/>
              <a:gd name="connsiteX5825" fmla="*/ 5301175 w 8267681"/>
              <a:gd name="connsiteY5825" fmla="*/ 3236629 h 6698675"/>
              <a:gd name="connsiteX5826" fmla="*/ 5303524 w 8267681"/>
              <a:gd name="connsiteY5826" fmla="*/ 3238979 h 6698675"/>
              <a:gd name="connsiteX5827" fmla="*/ 5294129 w 8267681"/>
              <a:gd name="connsiteY5827" fmla="*/ 3231929 h 6698675"/>
              <a:gd name="connsiteX5828" fmla="*/ 5632353 w 8267681"/>
              <a:gd name="connsiteY5828" fmla="*/ 3229564 h 6698675"/>
              <a:gd name="connsiteX5829" fmla="*/ 5634702 w 8267681"/>
              <a:gd name="connsiteY5829" fmla="*/ 3231915 h 6698675"/>
              <a:gd name="connsiteX5830" fmla="*/ 5634702 w 8267681"/>
              <a:gd name="connsiteY5830" fmla="*/ 3234261 h 6698675"/>
              <a:gd name="connsiteX5831" fmla="*/ 5632353 w 8267681"/>
              <a:gd name="connsiteY5831" fmla="*/ 3234261 h 6698675"/>
              <a:gd name="connsiteX5832" fmla="*/ 321784 w 8267681"/>
              <a:gd name="connsiteY5832" fmla="*/ 3227243 h 6698675"/>
              <a:gd name="connsiteX5833" fmla="*/ 295948 w 8267681"/>
              <a:gd name="connsiteY5833" fmla="*/ 3234296 h 6698675"/>
              <a:gd name="connsiteX5834" fmla="*/ 284200 w 8267681"/>
              <a:gd name="connsiteY5834" fmla="*/ 3243694 h 6698675"/>
              <a:gd name="connsiteX5835" fmla="*/ 288900 w 8267681"/>
              <a:gd name="connsiteY5835" fmla="*/ 3246043 h 6698675"/>
              <a:gd name="connsiteX5836" fmla="*/ 295948 w 8267681"/>
              <a:gd name="connsiteY5836" fmla="*/ 3243694 h 6698675"/>
              <a:gd name="connsiteX5837" fmla="*/ 310041 w 8267681"/>
              <a:gd name="connsiteY5837" fmla="*/ 3250745 h 6698675"/>
              <a:gd name="connsiteX5838" fmla="*/ 312391 w 8267681"/>
              <a:gd name="connsiteY5838" fmla="*/ 3255452 h 6698675"/>
              <a:gd name="connsiteX5839" fmla="*/ 321784 w 8267681"/>
              <a:gd name="connsiteY5839" fmla="*/ 3253094 h 6698675"/>
              <a:gd name="connsiteX5840" fmla="*/ 333528 w 8267681"/>
              <a:gd name="connsiteY5840" fmla="*/ 3243694 h 6698675"/>
              <a:gd name="connsiteX5841" fmla="*/ 326484 w 8267681"/>
              <a:gd name="connsiteY5841" fmla="*/ 3234296 h 6698675"/>
              <a:gd name="connsiteX5842" fmla="*/ 5888370 w 8267681"/>
              <a:gd name="connsiteY5842" fmla="*/ 3224895 h 6698675"/>
              <a:gd name="connsiteX5843" fmla="*/ 5878975 w 8267681"/>
              <a:gd name="connsiteY5843" fmla="*/ 3234291 h 6698675"/>
              <a:gd name="connsiteX5844" fmla="*/ 5888370 w 8267681"/>
              <a:gd name="connsiteY5844" fmla="*/ 3238992 h 6698675"/>
              <a:gd name="connsiteX5845" fmla="*/ 93965 w 8267681"/>
              <a:gd name="connsiteY5845" fmla="*/ 3224895 h 6698675"/>
              <a:gd name="connsiteX5846" fmla="*/ 117450 w 8267681"/>
              <a:gd name="connsiteY5846" fmla="*/ 3236645 h 6698675"/>
              <a:gd name="connsiteX5847" fmla="*/ 126850 w 8267681"/>
              <a:gd name="connsiteY5847" fmla="*/ 3246043 h 6698675"/>
              <a:gd name="connsiteX5848" fmla="*/ 124492 w 8267681"/>
              <a:gd name="connsiteY5848" fmla="*/ 3274272 h 6698675"/>
              <a:gd name="connsiteX5849" fmla="*/ 117450 w 8267681"/>
              <a:gd name="connsiteY5849" fmla="*/ 3278939 h 6698675"/>
              <a:gd name="connsiteX5850" fmla="*/ 112749 w 8267681"/>
              <a:gd name="connsiteY5850" fmla="*/ 3276607 h 6698675"/>
              <a:gd name="connsiteX5851" fmla="*/ 84564 w 8267681"/>
              <a:gd name="connsiteY5851" fmla="*/ 3231944 h 6698675"/>
              <a:gd name="connsiteX5852" fmla="*/ 93965 w 8267681"/>
              <a:gd name="connsiteY5852" fmla="*/ 3224895 h 6698675"/>
              <a:gd name="connsiteX5853" fmla="*/ 5345802 w 8267681"/>
              <a:gd name="connsiteY5853" fmla="*/ 3224857 h 6698675"/>
              <a:gd name="connsiteX5854" fmla="*/ 5348151 w 8267681"/>
              <a:gd name="connsiteY5854" fmla="*/ 3224857 h 6698675"/>
              <a:gd name="connsiteX5855" fmla="*/ 5348151 w 8267681"/>
              <a:gd name="connsiteY5855" fmla="*/ 3227202 h 6698675"/>
              <a:gd name="connsiteX5856" fmla="*/ 5345802 w 8267681"/>
              <a:gd name="connsiteY5856" fmla="*/ 3227202 h 6698675"/>
              <a:gd name="connsiteX5857" fmla="*/ 6006397 w 8267681"/>
              <a:gd name="connsiteY5857" fmla="*/ 3224309 h 6698675"/>
              <a:gd name="connsiteX5858" fmla="*/ 6012855 w 8267681"/>
              <a:gd name="connsiteY5858" fmla="*/ 3227241 h 6698675"/>
              <a:gd name="connsiteX5859" fmla="*/ 6005809 w 8267681"/>
              <a:gd name="connsiteY5859" fmla="*/ 3234291 h 6698675"/>
              <a:gd name="connsiteX5860" fmla="*/ 6001111 w 8267681"/>
              <a:gd name="connsiteY5860" fmla="*/ 3230448 h 6698675"/>
              <a:gd name="connsiteX5861" fmla="*/ 6001111 w 8267681"/>
              <a:gd name="connsiteY5861" fmla="*/ 3224620 h 6698675"/>
              <a:gd name="connsiteX5862" fmla="*/ 6001111 w 8267681"/>
              <a:gd name="connsiteY5862" fmla="*/ 3222545 h 6698675"/>
              <a:gd name="connsiteX5863" fmla="*/ 6001111 w 8267681"/>
              <a:gd name="connsiteY5863" fmla="*/ 3224620 h 6698675"/>
              <a:gd name="connsiteX5864" fmla="*/ 5998112 w 8267681"/>
              <a:gd name="connsiteY5864" fmla="*/ 3224794 h 6698675"/>
              <a:gd name="connsiteX5865" fmla="*/ 5984670 w 8267681"/>
              <a:gd name="connsiteY5865" fmla="*/ 3222545 h 6698675"/>
              <a:gd name="connsiteX5866" fmla="*/ 5991716 w 8267681"/>
              <a:gd name="connsiteY5866" fmla="*/ 3229593 h 6698675"/>
              <a:gd name="connsiteX5867" fmla="*/ 5993804 w 8267681"/>
              <a:gd name="connsiteY5867" fmla="*/ 3228028 h 6698675"/>
              <a:gd name="connsiteX5868" fmla="*/ 5999350 w 8267681"/>
              <a:gd name="connsiteY5868" fmla="*/ 3229007 h 6698675"/>
              <a:gd name="connsiteX5869" fmla="*/ 6001111 w 8267681"/>
              <a:gd name="connsiteY5869" fmla="*/ 3230448 h 6698675"/>
              <a:gd name="connsiteX5870" fmla="*/ 6001111 w 8267681"/>
              <a:gd name="connsiteY5870" fmla="*/ 3231943 h 6698675"/>
              <a:gd name="connsiteX5871" fmla="*/ 6010507 w 8267681"/>
              <a:gd name="connsiteY5871" fmla="*/ 3238992 h 6698675"/>
              <a:gd name="connsiteX5872" fmla="*/ 6003461 w 8267681"/>
              <a:gd name="connsiteY5872" fmla="*/ 3253093 h 6698675"/>
              <a:gd name="connsiteX5873" fmla="*/ 6003460 w 8267681"/>
              <a:gd name="connsiteY5873" fmla="*/ 3253091 h 6698675"/>
              <a:gd name="connsiteX5874" fmla="*/ 5996414 w 8267681"/>
              <a:gd name="connsiteY5874" fmla="*/ 3253091 h 6698675"/>
              <a:gd name="connsiteX5875" fmla="*/ 6001111 w 8267681"/>
              <a:gd name="connsiteY5875" fmla="*/ 3246041 h 6698675"/>
              <a:gd name="connsiteX5876" fmla="*/ 5984670 w 8267681"/>
              <a:gd name="connsiteY5876" fmla="*/ 3246041 h 6698675"/>
              <a:gd name="connsiteX5877" fmla="*/ 5987019 w 8267681"/>
              <a:gd name="connsiteY5877" fmla="*/ 3231943 h 6698675"/>
              <a:gd name="connsiteX5878" fmla="*/ 5982556 w 8267681"/>
              <a:gd name="connsiteY5878" fmla="*/ 3227478 h 6698675"/>
              <a:gd name="connsiteX5879" fmla="*/ 5982028 w 8267681"/>
              <a:gd name="connsiteY5879" fmla="*/ 3226361 h 6698675"/>
              <a:gd name="connsiteX5880" fmla="*/ 601293 w 8267681"/>
              <a:gd name="connsiteY5880" fmla="*/ 3220195 h 6698675"/>
              <a:gd name="connsiteX5881" fmla="*/ 643565 w 8267681"/>
              <a:gd name="connsiteY5881" fmla="*/ 3220195 h 6698675"/>
              <a:gd name="connsiteX5882" fmla="*/ 737513 w 8267681"/>
              <a:gd name="connsiteY5882" fmla="*/ 3241348 h 6698675"/>
              <a:gd name="connsiteX5883" fmla="*/ 756304 w 8267681"/>
              <a:gd name="connsiteY5883" fmla="*/ 3260144 h 6698675"/>
              <a:gd name="connsiteX5884" fmla="*/ 735164 w 8267681"/>
              <a:gd name="connsiteY5884" fmla="*/ 3269573 h 6698675"/>
              <a:gd name="connsiteX5885" fmla="*/ 721076 w 8267681"/>
              <a:gd name="connsiteY5885" fmla="*/ 3253094 h 6698675"/>
              <a:gd name="connsiteX5886" fmla="*/ 706979 w 8267681"/>
              <a:gd name="connsiteY5886" fmla="*/ 3253094 h 6698675"/>
              <a:gd name="connsiteX5887" fmla="*/ 706979 w 8267681"/>
              <a:gd name="connsiteY5887" fmla="*/ 3262504 h 6698675"/>
              <a:gd name="connsiteX5888" fmla="*/ 692885 w 8267681"/>
              <a:gd name="connsiteY5888" fmla="*/ 3267199 h 6698675"/>
              <a:gd name="connsiteX5889" fmla="*/ 690536 w 8267681"/>
              <a:gd name="connsiteY5889" fmla="*/ 3253094 h 6698675"/>
              <a:gd name="connsiteX5890" fmla="*/ 662355 w 8267681"/>
              <a:gd name="connsiteY5890" fmla="*/ 3243694 h 6698675"/>
              <a:gd name="connsiteX5891" fmla="*/ 660005 w 8267681"/>
              <a:gd name="connsiteY5891" fmla="*/ 3241348 h 6698675"/>
              <a:gd name="connsiteX5892" fmla="*/ 634170 w 8267681"/>
              <a:gd name="connsiteY5892" fmla="*/ 3250745 h 6698675"/>
              <a:gd name="connsiteX5893" fmla="*/ 650613 w 8267681"/>
              <a:gd name="connsiteY5893" fmla="*/ 3260144 h 6698675"/>
              <a:gd name="connsiteX5894" fmla="*/ 627128 w 8267681"/>
              <a:gd name="connsiteY5894" fmla="*/ 3267199 h 6698675"/>
              <a:gd name="connsiteX5895" fmla="*/ 610685 w 8267681"/>
              <a:gd name="connsiteY5895" fmla="*/ 3257798 h 6698675"/>
              <a:gd name="connsiteX5896" fmla="*/ 617730 w 8267681"/>
              <a:gd name="connsiteY5896" fmla="*/ 3248400 h 6698675"/>
              <a:gd name="connsiteX5897" fmla="*/ 603643 w 8267681"/>
              <a:gd name="connsiteY5897" fmla="*/ 3231944 h 6698675"/>
              <a:gd name="connsiteX5898" fmla="*/ 347620 w 8267681"/>
              <a:gd name="connsiteY5898" fmla="*/ 3220195 h 6698675"/>
              <a:gd name="connsiteX5899" fmla="*/ 342922 w 8267681"/>
              <a:gd name="connsiteY5899" fmla="*/ 3227243 h 6698675"/>
              <a:gd name="connsiteX5900" fmla="*/ 345271 w 8267681"/>
              <a:gd name="connsiteY5900" fmla="*/ 3236645 h 6698675"/>
              <a:gd name="connsiteX5901" fmla="*/ 347620 w 8267681"/>
              <a:gd name="connsiteY5901" fmla="*/ 3241348 h 6698675"/>
              <a:gd name="connsiteX5902" fmla="*/ 357014 w 8267681"/>
              <a:gd name="connsiteY5902" fmla="*/ 3227243 h 6698675"/>
              <a:gd name="connsiteX5903" fmla="*/ 220785 w 8267681"/>
              <a:gd name="connsiteY5903" fmla="*/ 3220195 h 6698675"/>
              <a:gd name="connsiteX5904" fmla="*/ 218435 w 8267681"/>
              <a:gd name="connsiteY5904" fmla="*/ 3224895 h 6698675"/>
              <a:gd name="connsiteX5905" fmla="*/ 213738 w 8267681"/>
              <a:gd name="connsiteY5905" fmla="*/ 3231944 h 6698675"/>
              <a:gd name="connsiteX5906" fmla="*/ 213738 w 8267681"/>
              <a:gd name="connsiteY5906" fmla="*/ 3241348 h 6698675"/>
              <a:gd name="connsiteX5907" fmla="*/ 220785 w 8267681"/>
              <a:gd name="connsiteY5907" fmla="*/ 3250745 h 6698675"/>
              <a:gd name="connsiteX5908" fmla="*/ 230182 w 8267681"/>
              <a:gd name="connsiteY5908" fmla="*/ 3248400 h 6698675"/>
              <a:gd name="connsiteX5909" fmla="*/ 234879 w 8267681"/>
              <a:gd name="connsiteY5909" fmla="*/ 3243694 h 6698675"/>
              <a:gd name="connsiteX5910" fmla="*/ 225486 w 8267681"/>
              <a:gd name="connsiteY5910" fmla="*/ 3234296 h 6698675"/>
              <a:gd name="connsiteX5911" fmla="*/ 225486 w 8267681"/>
              <a:gd name="connsiteY5911" fmla="*/ 3224895 h 6698675"/>
              <a:gd name="connsiteX5912" fmla="*/ 220785 w 8267681"/>
              <a:gd name="connsiteY5912" fmla="*/ 3220195 h 6698675"/>
              <a:gd name="connsiteX5913" fmla="*/ 5366941 w 8267681"/>
              <a:gd name="connsiteY5913" fmla="*/ 3220153 h 6698675"/>
              <a:gd name="connsiteX5914" fmla="*/ 5369290 w 8267681"/>
              <a:gd name="connsiteY5914" fmla="*/ 3220153 h 6698675"/>
              <a:gd name="connsiteX5915" fmla="*/ 5366941 w 8267681"/>
              <a:gd name="connsiteY5915" fmla="*/ 3224850 h 6698675"/>
              <a:gd name="connsiteX5916" fmla="*/ 5900114 w 8267681"/>
              <a:gd name="connsiteY5916" fmla="*/ 3215498 h 6698675"/>
              <a:gd name="connsiteX5917" fmla="*/ 5890719 w 8267681"/>
              <a:gd name="connsiteY5917" fmla="*/ 3220192 h 6698675"/>
              <a:gd name="connsiteX5918" fmla="*/ 5900114 w 8267681"/>
              <a:gd name="connsiteY5918" fmla="*/ 3222545 h 6698675"/>
              <a:gd name="connsiteX5919" fmla="*/ 958286 w 8267681"/>
              <a:gd name="connsiteY5919" fmla="*/ 3215496 h 6698675"/>
              <a:gd name="connsiteX5920" fmla="*/ 948890 w 8267681"/>
              <a:gd name="connsiteY5920" fmla="*/ 3222544 h 6698675"/>
              <a:gd name="connsiteX5921" fmla="*/ 958286 w 8267681"/>
              <a:gd name="connsiteY5921" fmla="*/ 3224895 h 6698675"/>
              <a:gd name="connsiteX5922" fmla="*/ 962983 w 8267681"/>
              <a:gd name="connsiteY5922" fmla="*/ 3222544 h 6698675"/>
              <a:gd name="connsiteX5923" fmla="*/ 5350500 w 8267681"/>
              <a:gd name="connsiteY5923" fmla="*/ 3215461 h 6698675"/>
              <a:gd name="connsiteX5924" fmla="*/ 5352849 w 8267681"/>
              <a:gd name="connsiteY5924" fmla="*/ 3215461 h 6698675"/>
              <a:gd name="connsiteX5925" fmla="*/ 5355197 w 8267681"/>
              <a:gd name="connsiteY5925" fmla="*/ 3220157 h 6698675"/>
              <a:gd name="connsiteX5926" fmla="*/ 5352849 w 8267681"/>
              <a:gd name="connsiteY5926" fmla="*/ 3220157 h 6698675"/>
              <a:gd name="connsiteX5927" fmla="*/ 5641749 w 8267681"/>
              <a:gd name="connsiteY5927" fmla="*/ 3213146 h 6698675"/>
              <a:gd name="connsiteX5928" fmla="*/ 5634708 w 8267681"/>
              <a:gd name="connsiteY5928" fmla="*/ 3220186 h 6698675"/>
              <a:gd name="connsiteX5929" fmla="*/ 5634714 w 8267681"/>
              <a:gd name="connsiteY5929" fmla="*/ 3220192 h 6698675"/>
              <a:gd name="connsiteX5930" fmla="*/ 5639387 w 8267681"/>
              <a:gd name="connsiteY5930" fmla="*/ 3220192 h 6698675"/>
              <a:gd name="connsiteX5931" fmla="*/ 5639399 w 8267681"/>
              <a:gd name="connsiteY5931" fmla="*/ 3220183 h 6698675"/>
              <a:gd name="connsiteX5932" fmla="*/ 5639399 w 8267681"/>
              <a:gd name="connsiteY5932" fmla="*/ 3220192 h 6698675"/>
              <a:gd name="connsiteX5933" fmla="*/ 5646446 w 8267681"/>
              <a:gd name="connsiteY5933" fmla="*/ 3220192 h 6698675"/>
              <a:gd name="connsiteX5934" fmla="*/ 5287083 w 8267681"/>
              <a:gd name="connsiteY5934" fmla="*/ 3213129 h 6698675"/>
              <a:gd name="connsiteX5935" fmla="*/ 5289432 w 8267681"/>
              <a:gd name="connsiteY5935" fmla="*/ 3213129 h 6698675"/>
              <a:gd name="connsiteX5936" fmla="*/ 5294129 w 8267681"/>
              <a:gd name="connsiteY5936" fmla="*/ 3217825 h 6698675"/>
              <a:gd name="connsiteX5937" fmla="*/ 5291780 w 8267681"/>
              <a:gd name="connsiteY5937" fmla="*/ 3217825 h 6698675"/>
              <a:gd name="connsiteX5938" fmla="*/ 913658 w 8267681"/>
              <a:gd name="connsiteY5938" fmla="*/ 3210799 h 6698675"/>
              <a:gd name="connsiteX5939" fmla="*/ 906612 w 8267681"/>
              <a:gd name="connsiteY5939" fmla="*/ 3217847 h 6698675"/>
              <a:gd name="connsiteX5940" fmla="*/ 913658 w 8267681"/>
              <a:gd name="connsiteY5940" fmla="*/ 3224895 h 6698675"/>
              <a:gd name="connsiteX5941" fmla="*/ 923055 w 8267681"/>
              <a:gd name="connsiteY5941" fmla="*/ 3224895 h 6698675"/>
              <a:gd name="connsiteX5942" fmla="*/ 932448 w 8267681"/>
              <a:gd name="connsiteY5942" fmla="*/ 3222544 h 6698675"/>
              <a:gd name="connsiteX5943" fmla="*/ 934798 w 8267681"/>
              <a:gd name="connsiteY5943" fmla="*/ 3217847 h 6698675"/>
              <a:gd name="connsiteX5944" fmla="*/ 932448 w 8267681"/>
              <a:gd name="connsiteY5944" fmla="*/ 3213146 h 6698675"/>
              <a:gd name="connsiteX5945" fmla="*/ 923055 w 8267681"/>
              <a:gd name="connsiteY5945" fmla="*/ 3210799 h 6698675"/>
              <a:gd name="connsiteX5946" fmla="*/ 5341104 w 8267681"/>
              <a:gd name="connsiteY5946" fmla="*/ 3210769 h 6698675"/>
              <a:gd name="connsiteX5947" fmla="*/ 5341104 w 8267681"/>
              <a:gd name="connsiteY5947" fmla="*/ 3217819 h 6698675"/>
              <a:gd name="connsiteX5948" fmla="*/ 5336407 w 8267681"/>
              <a:gd name="connsiteY5948" fmla="*/ 3215466 h 6698675"/>
              <a:gd name="connsiteX5949" fmla="*/ 5270641 w 8267681"/>
              <a:gd name="connsiteY5949" fmla="*/ 3210769 h 6698675"/>
              <a:gd name="connsiteX5950" fmla="*/ 5272989 w 8267681"/>
              <a:gd name="connsiteY5950" fmla="*/ 3210769 h 6698675"/>
              <a:gd name="connsiteX5951" fmla="*/ 5268292 w 8267681"/>
              <a:gd name="connsiteY5951" fmla="*/ 3213122 h 6698675"/>
              <a:gd name="connsiteX5952" fmla="*/ 5270641 w 8267681"/>
              <a:gd name="connsiteY5952" fmla="*/ 3210769 h 6698675"/>
              <a:gd name="connsiteX5953" fmla="*/ 5350499 w 8267681"/>
              <a:gd name="connsiteY5953" fmla="*/ 3210766 h 6698675"/>
              <a:gd name="connsiteX5954" fmla="*/ 5350499 w 8267681"/>
              <a:gd name="connsiteY5954" fmla="*/ 3215463 h 6698675"/>
              <a:gd name="connsiteX5955" fmla="*/ 5350499 w 8267681"/>
              <a:gd name="connsiteY5955" fmla="*/ 3217814 h 6698675"/>
              <a:gd name="connsiteX5956" fmla="*/ 5348151 w 8267681"/>
              <a:gd name="connsiteY5956" fmla="*/ 3213113 h 6698675"/>
              <a:gd name="connsiteX5957" fmla="*/ 871380 w 8267681"/>
              <a:gd name="connsiteY5957" fmla="*/ 3208446 h 6698675"/>
              <a:gd name="connsiteX5958" fmla="*/ 861985 w 8267681"/>
              <a:gd name="connsiteY5958" fmla="*/ 3215496 h 6698675"/>
              <a:gd name="connsiteX5959" fmla="*/ 859637 w 8267681"/>
              <a:gd name="connsiteY5959" fmla="*/ 3217847 h 6698675"/>
              <a:gd name="connsiteX5960" fmla="*/ 861985 w 8267681"/>
              <a:gd name="connsiteY5960" fmla="*/ 3220195 h 6698675"/>
              <a:gd name="connsiteX5961" fmla="*/ 871380 w 8267681"/>
              <a:gd name="connsiteY5961" fmla="*/ 3224895 h 6698675"/>
              <a:gd name="connsiteX5962" fmla="*/ 880777 w 8267681"/>
              <a:gd name="connsiteY5962" fmla="*/ 3222544 h 6698675"/>
              <a:gd name="connsiteX5963" fmla="*/ 883127 w 8267681"/>
              <a:gd name="connsiteY5963" fmla="*/ 3215496 h 6698675"/>
              <a:gd name="connsiteX5964" fmla="*/ 880777 w 8267681"/>
              <a:gd name="connsiteY5964" fmla="*/ 3210799 h 6698675"/>
              <a:gd name="connsiteX5965" fmla="*/ 5930648 w 8267681"/>
              <a:gd name="connsiteY5965" fmla="*/ 3206104 h 6698675"/>
              <a:gd name="connsiteX5966" fmla="*/ 5937694 w 8267681"/>
              <a:gd name="connsiteY5966" fmla="*/ 3213146 h 6698675"/>
              <a:gd name="connsiteX5967" fmla="*/ 5942392 w 8267681"/>
              <a:gd name="connsiteY5967" fmla="*/ 3206104 h 6698675"/>
              <a:gd name="connsiteX5968" fmla="*/ 5359895 w 8267681"/>
              <a:gd name="connsiteY5968" fmla="*/ 3206080 h 6698675"/>
              <a:gd name="connsiteX5969" fmla="*/ 5362243 w 8267681"/>
              <a:gd name="connsiteY5969" fmla="*/ 3208432 h 6698675"/>
              <a:gd name="connsiteX5970" fmla="*/ 5362243 w 8267681"/>
              <a:gd name="connsiteY5970" fmla="*/ 3210777 h 6698675"/>
              <a:gd name="connsiteX5971" fmla="*/ 5357546 w 8267681"/>
              <a:gd name="connsiteY5971" fmla="*/ 3210777 h 6698675"/>
              <a:gd name="connsiteX5972" fmla="*/ 5359895 w 8267681"/>
              <a:gd name="connsiteY5972" fmla="*/ 3206080 h 6698675"/>
              <a:gd name="connsiteX5973" fmla="*/ 6001111 w 8267681"/>
              <a:gd name="connsiteY5973" fmla="*/ 3203752 h 6698675"/>
              <a:gd name="connsiteX5974" fmla="*/ 5994065 w 8267681"/>
              <a:gd name="connsiteY5974" fmla="*/ 3217847 h 6698675"/>
              <a:gd name="connsiteX5975" fmla="*/ 6001111 w 8267681"/>
              <a:gd name="connsiteY5975" fmla="*/ 3203752 h 6698675"/>
              <a:gd name="connsiteX5976" fmla="*/ 5606517 w 8267681"/>
              <a:gd name="connsiteY5976" fmla="*/ 3203752 h 6698675"/>
              <a:gd name="connsiteX5977" fmla="*/ 5601819 w 8267681"/>
              <a:gd name="connsiteY5977" fmla="*/ 3213146 h 6698675"/>
              <a:gd name="connsiteX5978" fmla="*/ 5605342 w 8267681"/>
              <a:gd name="connsiteY5978" fmla="*/ 3219023 h 6698675"/>
              <a:gd name="connsiteX5979" fmla="*/ 5602574 w 8267681"/>
              <a:gd name="connsiteY5979" fmla="*/ 3223635 h 6698675"/>
              <a:gd name="connsiteX5980" fmla="*/ 5598213 w 8267681"/>
              <a:gd name="connsiteY5980" fmla="*/ 3222763 h 6698675"/>
              <a:gd name="connsiteX5981" fmla="*/ 5595360 w 8267681"/>
              <a:gd name="connsiteY5981" fmla="*/ 3221076 h 6698675"/>
              <a:gd name="connsiteX5982" fmla="*/ 5599470 w 8267681"/>
              <a:gd name="connsiteY5982" fmla="*/ 3215498 h 6698675"/>
              <a:gd name="connsiteX5983" fmla="*/ 5592424 w 8267681"/>
              <a:gd name="connsiteY5983" fmla="*/ 3215498 h 6698675"/>
              <a:gd name="connsiteX5984" fmla="*/ 5592424 w 8267681"/>
              <a:gd name="connsiteY5984" fmla="*/ 3208446 h 6698675"/>
              <a:gd name="connsiteX5985" fmla="*/ 5599470 w 8267681"/>
              <a:gd name="connsiteY5985" fmla="*/ 3210801 h 6698675"/>
              <a:gd name="connsiteX5986" fmla="*/ 1691104 w 8267681"/>
              <a:gd name="connsiteY5986" fmla="*/ 3203751 h 6698675"/>
              <a:gd name="connsiteX5987" fmla="*/ 1606549 w 8267681"/>
              <a:gd name="connsiteY5987" fmla="*/ 3220195 h 6698675"/>
              <a:gd name="connsiteX5988" fmla="*/ 1366975 w 8267681"/>
              <a:gd name="connsiteY5988" fmla="*/ 3473802 h 6698675"/>
              <a:gd name="connsiteX5989" fmla="*/ 1392810 w 8267681"/>
              <a:gd name="connsiteY5989" fmla="*/ 3734516 h 6698675"/>
              <a:gd name="connsiteX5990" fmla="*/ 1395160 w 8267681"/>
              <a:gd name="connsiteY5990" fmla="*/ 3739214 h 6698675"/>
              <a:gd name="connsiteX5991" fmla="*/ 1446832 w 8267681"/>
              <a:gd name="connsiteY5991" fmla="*/ 3703982 h 6698675"/>
              <a:gd name="connsiteX5992" fmla="*/ 1439788 w 8267681"/>
              <a:gd name="connsiteY5992" fmla="*/ 3494941 h 6698675"/>
              <a:gd name="connsiteX5993" fmla="*/ 1632384 w 8267681"/>
              <a:gd name="connsiteY5993" fmla="*/ 3347004 h 6698675"/>
              <a:gd name="connsiteX5994" fmla="*/ 1770962 w 8267681"/>
              <a:gd name="connsiteY5994" fmla="*/ 3445616 h 6698675"/>
              <a:gd name="connsiteX5995" fmla="*/ 1773312 w 8267681"/>
              <a:gd name="connsiteY5995" fmla="*/ 3466756 h 6698675"/>
              <a:gd name="connsiteX5996" fmla="*/ 1800581 w 8267681"/>
              <a:gd name="connsiteY5996" fmla="*/ 3444536 h 6698675"/>
              <a:gd name="connsiteX5997" fmla="*/ 1796359 w 8267681"/>
              <a:gd name="connsiteY5997" fmla="*/ 3450387 h 6698675"/>
              <a:gd name="connsiteX5998" fmla="*/ 1874309 w 8267681"/>
              <a:gd name="connsiteY5998" fmla="*/ 3391595 h 6698675"/>
              <a:gd name="connsiteX5999" fmla="*/ 1937729 w 8267681"/>
              <a:gd name="connsiteY5999" fmla="*/ 3335256 h 6698675"/>
              <a:gd name="connsiteX6000" fmla="*/ 1867266 w 8267681"/>
              <a:gd name="connsiteY6000" fmla="*/ 3257791 h 6698675"/>
              <a:gd name="connsiteX6001" fmla="*/ 1841426 w 8267681"/>
              <a:gd name="connsiteY6001" fmla="*/ 3267196 h 6698675"/>
              <a:gd name="connsiteX6002" fmla="*/ 1789753 w 8267681"/>
              <a:gd name="connsiteY6002" fmla="*/ 3271915 h 6698675"/>
              <a:gd name="connsiteX6003" fmla="*/ 1712247 w 8267681"/>
              <a:gd name="connsiteY6003" fmla="*/ 3234289 h 6698675"/>
              <a:gd name="connsiteX6004" fmla="*/ 1691104 w 8267681"/>
              <a:gd name="connsiteY6004" fmla="*/ 3203751 h 6698675"/>
              <a:gd name="connsiteX6005" fmla="*/ 5383383 w 8267681"/>
              <a:gd name="connsiteY6005" fmla="*/ 3203741 h 6698675"/>
              <a:gd name="connsiteX6006" fmla="*/ 5385731 w 8267681"/>
              <a:gd name="connsiteY6006" fmla="*/ 3208436 h 6698675"/>
              <a:gd name="connsiteX6007" fmla="*/ 5385731 w 8267681"/>
              <a:gd name="connsiteY6007" fmla="*/ 3210788 h 6698675"/>
              <a:gd name="connsiteX6008" fmla="*/ 5383383 w 8267681"/>
              <a:gd name="connsiteY6008" fmla="*/ 3210788 h 6698675"/>
              <a:gd name="connsiteX6009" fmla="*/ 5381034 w 8267681"/>
              <a:gd name="connsiteY6009" fmla="*/ 3208436 h 6698675"/>
              <a:gd name="connsiteX6010" fmla="*/ 5258897 w 8267681"/>
              <a:gd name="connsiteY6010" fmla="*/ 3203728 h 6698675"/>
              <a:gd name="connsiteX6011" fmla="*/ 5263594 w 8267681"/>
              <a:gd name="connsiteY6011" fmla="*/ 3208422 h 6698675"/>
              <a:gd name="connsiteX6012" fmla="*/ 5261245 w 8267681"/>
              <a:gd name="connsiteY6012" fmla="*/ 3208422 h 6698675"/>
              <a:gd name="connsiteX6013" fmla="*/ 5258897 w 8267681"/>
              <a:gd name="connsiteY6013" fmla="*/ 3203728 h 6698675"/>
              <a:gd name="connsiteX6014" fmla="*/ 5921253 w 8267681"/>
              <a:gd name="connsiteY6014" fmla="*/ 3201403 h 6698675"/>
              <a:gd name="connsiteX6015" fmla="*/ 5921253 w 8267681"/>
              <a:gd name="connsiteY6015" fmla="*/ 3208446 h 6698675"/>
              <a:gd name="connsiteX6016" fmla="*/ 5928299 w 8267681"/>
              <a:gd name="connsiteY6016" fmla="*/ 3208446 h 6698675"/>
              <a:gd name="connsiteX6017" fmla="*/ 5893068 w 8267681"/>
              <a:gd name="connsiteY6017" fmla="*/ 3201403 h 6698675"/>
              <a:gd name="connsiteX6018" fmla="*/ 5907160 w 8267681"/>
              <a:gd name="connsiteY6018" fmla="*/ 3215498 h 6698675"/>
              <a:gd name="connsiteX6019" fmla="*/ 5909509 w 8267681"/>
              <a:gd name="connsiteY6019" fmla="*/ 3210801 h 6698675"/>
              <a:gd name="connsiteX6020" fmla="*/ 5893068 w 8267681"/>
              <a:gd name="connsiteY6020" fmla="*/ 3201403 h 6698675"/>
              <a:gd name="connsiteX6021" fmla="*/ 4319385 w 8267681"/>
              <a:gd name="connsiteY6021" fmla="*/ 3201403 h 6698675"/>
              <a:gd name="connsiteX6022" fmla="*/ 4319385 w 8267681"/>
              <a:gd name="connsiteY6022" fmla="*/ 3248384 h 6698675"/>
              <a:gd name="connsiteX6023" fmla="*/ 4352267 w 8267681"/>
              <a:gd name="connsiteY6023" fmla="*/ 3222544 h 6698675"/>
              <a:gd name="connsiteX6024" fmla="*/ 4319385 w 8267681"/>
              <a:gd name="connsiteY6024" fmla="*/ 3201403 h 6698675"/>
              <a:gd name="connsiteX6025" fmla="*/ 1702848 w 8267681"/>
              <a:gd name="connsiteY6025" fmla="*/ 3201403 h 6698675"/>
              <a:gd name="connsiteX6026" fmla="*/ 1716941 w 8267681"/>
              <a:gd name="connsiteY6026" fmla="*/ 3217847 h 6698675"/>
              <a:gd name="connsiteX6027" fmla="*/ 1768613 w 8267681"/>
              <a:gd name="connsiteY6027" fmla="*/ 3253091 h 6698675"/>
              <a:gd name="connsiteX6028" fmla="*/ 1749825 w 8267681"/>
              <a:gd name="connsiteY6028" fmla="*/ 3224895 h 6698675"/>
              <a:gd name="connsiteX6029" fmla="*/ 1756869 w 8267681"/>
              <a:gd name="connsiteY6029" fmla="*/ 3220195 h 6698675"/>
              <a:gd name="connsiteX6030" fmla="*/ 1806195 w 8267681"/>
              <a:gd name="connsiteY6030" fmla="*/ 3222544 h 6698675"/>
              <a:gd name="connsiteX6031" fmla="*/ 1754520 w 8267681"/>
              <a:gd name="connsiteY6031" fmla="*/ 3210799 h 6698675"/>
              <a:gd name="connsiteX6032" fmla="*/ 1747475 w 8267681"/>
              <a:gd name="connsiteY6032" fmla="*/ 3206100 h 6698675"/>
              <a:gd name="connsiteX6033" fmla="*/ 1702848 w 8267681"/>
              <a:gd name="connsiteY6033" fmla="*/ 3201403 h 6698675"/>
              <a:gd name="connsiteX6034" fmla="*/ 5242456 w 8267681"/>
              <a:gd name="connsiteY6034" fmla="*/ 3201382 h 6698675"/>
              <a:gd name="connsiteX6035" fmla="*/ 5242456 w 8267681"/>
              <a:gd name="connsiteY6035" fmla="*/ 3206080 h 6698675"/>
              <a:gd name="connsiteX6036" fmla="*/ 5240107 w 8267681"/>
              <a:gd name="connsiteY6036" fmla="*/ 3208426 h 6698675"/>
              <a:gd name="connsiteX6037" fmla="*/ 5242456 w 8267681"/>
              <a:gd name="connsiteY6037" fmla="*/ 3201382 h 6698675"/>
              <a:gd name="connsiteX6038" fmla="*/ 5207224 w 8267681"/>
              <a:gd name="connsiteY6038" fmla="*/ 3201377 h 6698675"/>
              <a:gd name="connsiteX6039" fmla="*/ 5204875 w 8267681"/>
              <a:gd name="connsiteY6039" fmla="*/ 3208426 h 6698675"/>
              <a:gd name="connsiteX6040" fmla="*/ 5204875 w 8267681"/>
              <a:gd name="connsiteY6040" fmla="*/ 3203728 h 6698675"/>
              <a:gd name="connsiteX6041" fmla="*/ 5202526 w 8267681"/>
              <a:gd name="connsiteY6041" fmla="*/ 3203728 h 6698675"/>
              <a:gd name="connsiteX6042" fmla="*/ 5207224 w 8267681"/>
              <a:gd name="connsiteY6042" fmla="*/ 3201377 h 6698675"/>
              <a:gd name="connsiteX6043" fmla="*/ 5383089 w 8267681"/>
              <a:gd name="connsiteY6043" fmla="*/ 3200804 h 6698675"/>
              <a:gd name="connsiteX6044" fmla="*/ 5383383 w 8267681"/>
              <a:gd name="connsiteY6044" fmla="*/ 3203741 h 6698675"/>
              <a:gd name="connsiteX6045" fmla="*/ 5378685 w 8267681"/>
              <a:gd name="connsiteY6045" fmla="*/ 3203741 h 6698675"/>
              <a:gd name="connsiteX6046" fmla="*/ 5381034 w 8267681"/>
              <a:gd name="connsiteY6046" fmla="*/ 3201390 h 6698675"/>
              <a:gd name="connsiteX6047" fmla="*/ 5383089 w 8267681"/>
              <a:gd name="connsiteY6047" fmla="*/ 3200804 h 6698675"/>
              <a:gd name="connsiteX6048" fmla="*/ 5288844 w 8267681"/>
              <a:gd name="connsiteY6048" fmla="*/ 3199622 h 6698675"/>
              <a:gd name="connsiteX6049" fmla="*/ 5289431 w 8267681"/>
              <a:gd name="connsiteY6049" fmla="*/ 3201386 h 6698675"/>
              <a:gd name="connsiteX6050" fmla="*/ 5289431 w 8267681"/>
              <a:gd name="connsiteY6050" fmla="*/ 3203732 h 6698675"/>
              <a:gd name="connsiteX6051" fmla="*/ 5282385 w 8267681"/>
              <a:gd name="connsiteY6051" fmla="*/ 3201386 h 6698675"/>
              <a:gd name="connsiteX6052" fmla="*/ 5284733 w 8267681"/>
              <a:gd name="connsiteY6052" fmla="*/ 3201386 h 6698675"/>
              <a:gd name="connsiteX6053" fmla="*/ 5288844 w 8267681"/>
              <a:gd name="connsiteY6053" fmla="*/ 3199622 h 6698675"/>
              <a:gd name="connsiteX6054" fmla="*/ 103349 w 8267681"/>
              <a:gd name="connsiteY6054" fmla="*/ 3199057 h 6698675"/>
              <a:gd name="connsiteX6055" fmla="*/ 110391 w 8267681"/>
              <a:gd name="connsiteY6055" fmla="*/ 3213150 h 6698675"/>
              <a:gd name="connsiteX6056" fmla="*/ 119791 w 8267681"/>
              <a:gd name="connsiteY6056" fmla="*/ 3215498 h 6698675"/>
              <a:gd name="connsiteX6057" fmla="*/ 110391 w 8267681"/>
              <a:gd name="connsiteY6057" fmla="*/ 3217847 h 6698675"/>
              <a:gd name="connsiteX6058" fmla="*/ 96307 w 8267681"/>
              <a:gd name="connsiteY6058" fmla="*/ 3206104 h 6698675"/>
              <a:gd name="connsiteX6059" fmla="*/ 103349 w 8267681"/>
              <a:gd name="connsiteY6059" fmla="*/ 3199057 h 6698675"/>
              <a:gd name="connsiteX6060" fmla="*/ 5200178 w 8267681"/>
              <a:gd name="connsiteY6060" fmla="*/ 3199032 h 6698675"/>
              <a:gd name="connsiteX6061" fmla="*/ 5197829 w 8267681"/>
              <a:gd name="connsiteY6061" fmla="*/ 3206080 h 6698675"/>
              <a:gd name="connsiteX6062" fmla="*/ 1991749 w 8267681"/>
              <a:gd name="connsiteY6062" fmla="*/ 3196705 h 6698675"/>
              <a:gd name="connsiteX6063" fmla="*/ 1984702 w 8267681"/>
              <a:gd name="connsiteY6063" fmla="*/ 3217847 h 6698675"/>
              <a:gd name="connsiteX6064" fmla="*/ 2008038 w 8267681"/>
              <a:gd name="connsiteY6064" fmla="*/ 3262205 h 6698675"/>
              <a:gd name="connsiteX6065" fmla="*/ 2005841 w 8267681"/>
              <a:gd name="connsiteY6065" fmla="*/ 3264850 h 6698675"/>
              <a:gd name="connsiteX6066" fmla="*/ 2008192 w 8267681"/>
              <a:gd name="connsiteY6066" fmla="*/ 3267196 h 6698675"/>
              <a:gd name="connsiteX6067" fmla="*/ 2017585 w 8267681"/>
              <a:gd name="connsiteY6067" fmla="*/ 3257791 h 6698675"/>
              <a:gd name="connsiteX6068" fmla="*/ 2019934 w 8267681"/>
              <a:gd name="connsiteY6068" fmla="*/ 3255436 h 6698675"/>
              <a:gd name="connsiteX6069" fmla="*/ 2017732 w 8267681"/>
              <a:gd name="connsiteY6069" fmla="*/ 3251034 h 6698675"/>
              <a:gd name="connsiteX6070" fmla="*/ 2019934 w 8267681"/>
              <a:gd name="connsiteY6070" fmla="*/ 3248384 h 6698675"/>
              <a:gd name="connsiteX6071" fmla="*/ 1991749 w 8267681"/>
              <a:gd name="connsiteY6071" fmla="*/ 3196705 h 6698675"/>
              <a:gd name="connsiteX6072" fmla="*/ 5294129 w 8267681"/>
              <a:gd name="connsiteY6072" fmla="*/ 3196653 h 6698675"/>
              <a:gd name="connsiteX6073" fmla="*/ 5296477 w 8267681"/>
              <a:gd name="connsiteY6073" fmla="*/ 3199003 h 6698675"/>
              <a:gd name="connsiteX6074" fmla="*/ 5294129 w 8267681"/>
              <a:gd name="connsiteY6074" fmla="*/ 3199003 h 6698675"/>
              <a:gd name="connsiteX6075" fmla="*/ 5181387 w 8267681"/>
              <a:gd name="connsiteY6075" fmla="*/ 3194332 h 6698675"/>
              <a:gd name="connsiteX6076" fmla="*/ 5181387 w 8267681"/>
              <a:gd name="connsiteY6076" fmla="*/ 3196679 h 6698675"/>
              <a:gd name="connsiteX6077" fmla="*/ 5179038 w 8267681"/>
              <a:gd name="connsiteY6077" fmla="*/ 3196679 h 6698675"/>
              <a:gd name="connsiteX6078" fmla="*/ 5176690 w 8267681"/>
              <a:gd name="connsiteY6078" fmla="*/ 3196679 h 6698675"/>
              <a:gd name="connsiteX6079" fmla="*/ 5181387 w 8267681"/>
              <a:gd name="connsiteY6079" fmla="*/ 3194332 h 6698675"/>
              <a:gd name="connsiteX6080" fmla="*/ 5395127 w 8267681"/>
              <a:gd name="connsiteY6080" fmla="*/ 3194316 h 6698675"/>
              <a:gd name="connsiteX6081" fmla="*/ 5397475 w 8267681"/>
              <a:gd name="connsiteY6081" fmla="*/ 3194316 h 6698675"/>
              <a:gd name="connsiteX6082" fmla="*/ 5399824 w 8267681"/>
              <a:gd name="connsiteY6082" fmla="*/ 3194316 h 6698675"/>
              <a:gd name="connsiteX6083" fmla="*/ 5397475 w 8267681"/>
              <a:gd name="connsiteY6083" fmla="*/ 3196664 h 6698675"/>
              <a:gd name="connsiteX6084" fmla="*/ 5611214 w 8267681"/>
              <a:gd name="connsiteY6084" fmla="*/ 3192007 h 6698675"/>
              <a:gd name="connsiteX6085" fmla="*/ 5615832 w 8267681"/>
              <a:gd name="connsiteY6085" fmla="*/ 3193302 h 6698675"/>
              <a:gd name="connsiteX6086" fmla="*/ 5613829 w 8267681"/>
              <a:gd name="connsiteY6086" fmla="*/ 3196307 h 6698675"/>
              <a:gd name="connsiteX6087" fmla="*/ 5153202 w 8267681"/>
              <a:gd name="connsiteY6087" fmla="*/ 3192003 h 6698675"/>
              <a:gd name="connsiteX6088" fmla="*/ 5157900 w 8267681"/>
              <a:gd name="connsiteY6088" fmla="*/ 3196697 h 6698675"/>
              <a:gd name="connsiteX6089" fmla="*/ 5153202 w 8267681"/>
              <a:gd name="connsiteY6089" fmla="*/ 3196697 h 6698675"/>
              <a:gd name="connsiteX6090" fmla="*/ 5881324 w 8267681"/>
              <a:gd name="connsiteY6090" fmla="*/ 3189661 h 6698675"/>
              <a:gd name="connsiteX6091" fmla="*/ 5888370 w 8267681"/>
              <a:gd name="connsiteY6091" fmla="*/ 3196705 h 6698675"/>
              <a:gd name="connsiteX6092" fmla="*/ 5888370 w 8267681"/>
              <a:gd name="connsiteY6092" fmla="*/ 3189661 h 6698675"/>
              <a:gd name="connsiteX6093" fmla="*/ 5237758 w 8267681"/>
              <a:gd name="connsiteY6093" fmla="*/ 3189645 h 6698675"/>
              <a:gd name="connsiteX6094" fmla="*/ 5237758 w 8267681"/>
              <a:gd name="connsiteY6094" fmla="*/ 3194341 h 6698675"/>
              <a:gd name="connsiteX6095" fmla="*/ 5240107 w 8267681"/>
              <a:gd name="connsiteY6095" fmla="*/ 3196687 h 6698675"/>
              <a:gd name="connsiteX6096" fmla="*/ 5235410 w 8267681"/>
              <a:gd name="connsiteY6096" fmla="*/ 3199038 h 6698675"/>
              <a:gd name="connsiteX6097" fmla="*/ 5233061 w 8267681"/>
              <a:gd name="connsiteY6097" fmla="*/ 3199038 h 6698675"/>
              <a:gd name="connsiteX6098" fmla="*/ 5235410 w 8267681"/>
              <a:gd name="connsiteY6098" fmla="*/ 3196687 h 6698675"/>
              <a:gd name="connsiteX6099" fmla="*/ 5233061 w 8267681"/>
              <a:gd name="connsiteY6099" fmla="*/ 3194341 h 6698675"/>
              <a:gd name="connsiteX6100" fmla="*/ 5233061 w 8267681"/>
              <a:gd name="connsiteY6100" fmla="*/ 3191990 h 6698675"/>
              <a:gd name="connsiteX6101" fmla="*/ 5287082 w 8267681"/>
              <a:gd name="connsiteY6101" fmla="*/ 3189636 h 6698675"/>
              <a:gd name="connsiteX6102" fmla="*/ 5291780 w 8267681"/>
              <a:gd name="connsiteY6102" fmla="*/ 3189636 h 6698675"/>
              <a:gd name="connsiteX6103" fmla="*/ 5289431 w 8267681"/>
              <a:gd name="connsiteY6103" fmla="*/ 3194333 h 6698675"/>
              <a:gd name="connsiteX6104" fmla="*/ 5287082 w 8267681"/>
              <a:gd name="connsiteY6104" fmla="*/ 3189636 h 6698675"/>
              <a:gd name="connsiteX6105" fmla="*/ 5204875 w 8267681"/>
              <a:gd name="connsiteY6105" fmla="*/ 3189608 h 6698675"/>
              <a:gd name="connsiteX6106" fmla="*/ 5207224 w 8267681"/>
              <a:gd name="connsiteY6106" fmla="*/ 3189608 h 6698675"/>
              <a:gd name="connsiteX6107" fmla="*/ 5204875 w 8267681"/>
              <a:gd name="connsiteY6107" fmla="*/ 3191956 h 6698675"/>
              <a:gd name="connsiteX6108" fmla="*/ 5280036 w 8267681"/>
              <a:gd name="connsiteY6108" fmla="*/ 3187295 h 6698675"/>
              <a:gd name="connsiteX6109" fmla="*/ 5282385 w 8267681"/>
              <a:gd name="connsiteY6109" fmla="*/ 3187295 h 6698675"/>
              <a:gd name="connsiteX6110" fmla="*/ 5282385 w 8267681"/>
              <a:gd name="connsiteY6110" fmla="*/ 3196691 h 6698675"/>
              <a:gd name="connsiteX6111" fmla="*/ 5277688 w 8267681"/>
              <a:gd name="connsiteY6111" fmla="*/ 3189645 h 6698675"/>
              <a:gd name="connsiteX6112" fmla="*/ 5216619 w 8267681"/>
              <a:gd name="connsiteY6112" fmla="*/ 3187275 h 6698675"/>
              <a:gd name="connsiteX6113" fmla="*/ 5221316 w 8267681"/>
              <a:gd name="connsiteY6113" fmla="*/ 3187275 h 6698675"/>
              <a:gd name="connsiteX6114" fmla="*/ 5221316 w 8267681"/>
              <a:gd name="connsiteY6114" fmla="*/ 3189627 h 6698675"/>
              <a:gd name="connsiteX6115" fmla="*/ 5216619 w 8267681"/>
              <a:gd name="connsiteY6115" fmla="*/ 3189627 h 6698675"/>
              <a:gd name="connsiteX6116" fmla="*/ 5256548 w 8267681"/>
              <a:gd name="connsiteY6116" fmla="*/ 3187259 h 6698675"/>
              <a:gd name="connsiteX6117" fmla="*/ 5261245 w 8267681"/>
              <a:gd name="connsiteY6117" fmla="*/ 3187259 h 6698675"/>
              <a:gd name="connsiteX6118" fmla="*/ 5258897 w 8267681"/>
              <a:gd name="connsiteY6118" fmla="*/ 3189605 h 6698675"/>
              <a:gd name="connsiteX6119" fmla="*/ 5242456 w 8267681"/>
              <a:gd name="connsiteY6119" fmla="*/ 3184937 h 6698675"/>
              <a:gd name="connsiteX6120" fmla="*/ 5242456 w 8267681"/>
              <a:gd name="connsiteY6120" fmla="*/ 3189635 h 6698675"/>
              <a:gd name="connsiteX6121" fmla="*/ 5237758 w 8267681"/>
              <a:gd name="connsiteY6121" fmla="*/ 3189635 h 6698675"/>
              <a:gd name="connsiteX6122" fmla="*/ 542573 w 8267681"/>
              <a:gd name="connsiteY6122" fmla="*/ 3180274 h 6698675"/>
              <a:gd name="connsiteX6123" fmla="*/ 551965 w 8267681"/>
              <a:gd name="connsiteY6123" fmla="*/ 3184971 h 6698675"/>
              <a:gd name="connsiteX6124" fmla="*/ 561358 w 8267681"/>
              <a:gd name="connsiteY6124" fmla="*/ 3182622 h 6698675"/>
              <a:gd name="connsiteX6125" fmla="*/ 603643 w 8267681"/>
              <a:gd name="connsiteY6125" fmla="*/ 3192015 h 6698675"/>
              <a:gd name="connsiteX6126" fmla="*/ 605988 w 8267681"/>
              <a:gd name="connsiteY6126" fmla="*/ 3196710 h 6698675"/>
              <a:gd name="connsiteX6127" fmla="*/ 601293 w 8267681"/>
              <a:gd name="connsiteY6127" fmla="*/ 3203754 h 6698675"/>
              <a:gd name="connsiteX6128" fmla="*/ 584850 w 8267681"/>
              <a:gd name="connsiteY6128" fmla="*/ 3196710 h 6698675"/>
              <a:gd name="connsiteX6129" fmla="*/ 566057 w 8267681"/>
              <a:gd name="connsiteY6129" fmla="*/ 3192015 h 6698675"/>
              <a:gd name="connsiteX6130" fmla="*/ 540222 w 8267681"/>
              <a:gd name="connsiteY6130" fmla="*/ 3194367 h 6698675"/>
              <a:gd name="connsiteX6131" fmla="*/ 533175 w 8267681"/>
              <a:gd name="connsiteY6131" fmla="*/ 3187318 h 6698675"/>
              <a:gd name="connsiteX6132" fmla="*/ 542573 w 8267681"/>
              <a:gd name="connsiteY6132" fmla="*/ 3180274 h 6698675"/>
              <a:gd name="connsiteX6133" fmla="*/ 441569 w 8267681"/>
              <a:gd name="connsiteY6133" fmla="*/ 3180272 h 6698675"/>
              <a:gd name="connsiteX6134" fmla="*/ 450967 w 8267681"/>
              <a:gd name="connsiteY6134" fmla="*/ 3182620 h 6698675"/>
              <a:gd name="connsiteX6135" fmla="*/ 455662 w 8267681"/>
              <a:gd name="connsiteY6135" fmla="*/ 3187317 h 6698675"/>
              <a:gd name="connsiteX6136" fmla="*/ 448616 w 8267681"/>
              <a:gd name="connsiteY6136" fmla="*/ 3189667 h 6698675"/>
              <a:gd name="connsiteX6137" fmla="*/ 441569 w 8267681"/>
              <a:gd name="connsiteY6137" fmla="*/ 3189667 h 6698675"/>
              <a:gd name="connsiteX6138" fmla="*/ 436874 w 8267681"/>
              <a:gd name="connsiteY6138" fmla="*/ 3187317 h 6698675"/>
              <a:gd name="connsiteX6139" fmla="*/ 5975275 w 8267681"/>
              <a:gd name="connsiteY6139" fmla="*/ 3180267 h 6698675"/>
              <a:gd name="connsiteX6140" fmla="*/ 5975275 w 8267681"/>
              <a:gd name="connsiteY6140" fmla="*/ 3189661 h 6698675"/>
              <a:gd name="connsiteX6141" fmla="*/ 5972926 w 8267681"/>
              <a:gd name="connsiteY6141" fmla="*/ 3199052 h 6698675"/>
              <a:gd name="connsiteX6142" fmla="*/ 5979973 w 8267681"/>
              <a:gd name="connsiteY6142" fmla="*/ 3206104 h 6698675"/>
              <a:gd name="connsiteX6143" fmla="*/ 5984670 w 8267681"/>
              <a:gd name="connsiteY6143" fmla="*/ 3203752 h 6698675"/>
              <a:gd name="connsiteX6144" fmla="*/ 5982321 w 8267681"/>
              <a:gd name="connsiteY6144" fmla="*/ 3210801 h 6698675"/>
              <a:gd name="connsiteX6145" fmla="*/ 5975275 w 8267681"/>
              <a:gd name="connsiteY6145" fmla="*/ 3210801 h 6698675"/>
              <a:gd name="connsiteX6146" fmla="*/ 5979973 w 8267681"/>
              <a:gd name="connsiteY6146" fmla="*/ 3217847 h 6698675"/>
              <a:gd name="connsiteX6147" fmla="*/ 5989368 w 8267681"/>
              <a:gd name="connsiteY6147" fmla="*/ 3210801 h 6698675"/>
              <a:gd name="connsiteX6148" fmla="*/ 5982321 w 8267681"/>
              <a:gd name="connsiteY6148" fmla="*/ 3194359 h 6698675"/>
              <a:gd name="connsiteX6149" fmla="*/ 5998763 w 8267681"/>
              <a:gd name="connsiteY6149" fmla="*/ 3201403 h 6698675"/>
              <a:gd name="connsiteX6150" fmla="*/ 5996414 w 8267681"/>
              <a:gd name="connsiteY6150" fmla="*/ 3187311 h 6698675"/>
              <a:gd name="connsiteX6151" fmla="*/ 5987019 w 8267681"/>
              <a:gd name="connsiteY6151" fmla="*/ 3189661 h 6698675"/>
              <a:gd name="connsiteX6152" fmla="*/ 5977624 w 8267681"/>
              <a:gd name="connsiteY6152" fmla="*/ 3189661 h 6698675"/>
              <a:gd name="connsiteX6153" fmla="*/ 5977624 w 8267681"/>
              <a:gd name="connsiteY6153" fmla="*/ 3180267 h 6698675"/>
              <a:gd name="connsiteX6154" fmla="*/ 5524309 w 8267681"/>
              <a:gd name="connsiteY6154" fmla="*/ 3180249 h 6698675"/>
              <a:gd name="connsiteX6155" fmla="*/ 5526658 w 8267681"/>
              <a:gd name="connsiteY6155" fmla="*/ 3180249 h 6698675"/>
              <a:gd name="connsiteX6156" fmla="*/ 5526658 w 8267681"/>
              <a:gd name="connsiteY6156" fmla="*/ 3182599 h 6698675"/>
              <a:gd name="connsiteX6157" fmla="*/ 5524309 w 8267681"/>
              <a:gd name="connsiteY6157" fmla="*/ 3182599 h 6698675"/>
              <a:gd name="connsiteX6158" fmla="*/ 500295 w 8267681"/>
              <a:gd name="connsiteY6158" fmla="*/ 3177922 h 6698675"/>
              <a:gd name="connsiteX6159" fmla="*/ 504987 w 8267681"/>
              <a:gd name="connsiteY6159" fmla="*/ 3177922 h 6698675"/>
              <a:gd name="connsiteX6160" fmla="*/ 509687 w 8267681"/>
              <a:gd name="connsiteY6160" fmla="*/ 3187317 h 6698675"/>
              <a:gd name="connsiteX6161" fmla="*/ 502639 w 8267681"/>
              <a:gd name="connsiteY6161" fmla="*/ 3192013 h 6698675"/>
              <a:gd name="connsiteX6162" fmla="*/ 493244 w 8267681"/>
              <a:gd name="connsiteY6162" fmla="*/ 3194362 h 6698675"/>
              <a:gd name="connsiteX6163" fmla="*/ 488547 w 8267681"/>
              <a:gd name="connsiteY6163" fmla="*/ 3187317 h 6698675"/>
              <a:gd name="connsiteX6164" fmla="*/ 493244 w 8267681"/>
              <a:gd name="connsiteY6164" fmla="*/ 3182622 h 6698675"/>
              <a:gd name="connsiteX6165" fmla="*/ 5902463 w 8267681"/>
              <a:gd name="connsiteY6165" fmla="*/ 3177912 h 6698675"/>
              <a:gd name="connsiteX6166" fmla="*/ 5893068 w 8267681"/>
              <a:gd name="connsiteY6166" fmla="*/ 3194359 h 6698675"/>
              <a:gd name="connsiteX6167" fmla="*/ 5902463 w 8267681"/>
              <a:gd name="connsiteY6167" fmla="*/ 3177912 h 6698675"/>
              <a:gd name="connsiteX6168" fmla="*/ 5247153 w 8267681"/>
              <a:gd name="connsiteY6168" fmla="*/ 3177894 h 6698675"/>
              <a:gd name="connsiteX6169" fmla="*/ 5249501 w 8267681"/>
              <a:gd name="connsiteY6169" fmla="*/ 3180243 h 6698675"/>
              <a:gd name="connsiteX6170" fmla="*/ 5244804 w 8267681"/>
              <a:gd name="connsiteY6170" fmla="*/ 3180243 h 6698675"/>
              <a:gd name="connsiteX6171" fmla="*/ 5265944 w 8267681"/>
              <a:gd name="connsiteY6171" fmla="*/ 3177874 h 6698675"/>
              <a:gd name="connsiteX6172" fmla="*/ 5265944 w 8267681"/>
              <a:gd name="connsiteY6172" fmla="*/ 3180223 h 6698675"/>
              <a:gd name="connsiteX6173" fmla="*/ 5261246 w 8267681"/>
              <a:gd name="connsiteY6173" fmla="*/ 3180223 h 6698675"/>
              <a:gd name="connsiteX6174" fmla="*/ 5237758 w 8267681"/>
              <a:gd name="connsiteY6174" fmla="*/ 3177857 h 6698675"/>
              <a:gd name="connsiteX6175" fmla="*/ 5240107 w 8267681"/>
              <a:gd name="connsiteY6175" fmla="*/ 3180205 h 6698675"/>
              <a:gd name="connsiteX6176" fmla="*/ 5237758 w 8267681"/>
              <a:gd name="connsiteY6176" fmla="*/ 3180205 h 6698675"/>
              <a:gd name="connsiteX6177" fmla="*/ 5282385 w 8267681"/>
              <a:gd name="connsiteY6177" fmla="*/ 3175519 h 6698675"/>
              <a:gd name="connsiteX6178" fmla="*/ 5284733 w 8267681"/>
              <a:gd name="connsiteY6178" fmla="*/ 3177868 h 6698675"/>
              <a:gd name="connsiteX6179" fmla="*/ 5282385 w 8267681"/>
              <a:gd name="connsiteY6179" fmla="*/ 3180218 h 6698675"/>
              <a:gd name="connsiteX6180" fmla="*/ 5282385 w 8267681"/>
              <a:gd name="connsiteY6180" fmla="*/ 3177868 h 6698675"/>
              <a:gd name="connsiteX6181" fmla="*/ 3828564 w 8267681"/>
              <a:gd name="connsiteY6181" fmla="*/ 3173475 h 6698675"/>
              <a:gd name="connsiteX6182" fmla="*/ 3812048 w 8267681"/>
              <a:gd name="connsiteY6182" fmla="*/ 3210799 h 6698675"/>
              <a:gd name="connsiteX6183" fmla="*/ 3828564 w 8267681"/>
              <a:gd name="connsiteY6183" fmla="*/ 3173475 h 6698675"/>
              <a:gd name="connsiteX6184" fmla="*/ 5589994 w 8267681"/>
              <a:gd name="connsiteY6184" fmla="*/ 3173301 h 6698675"/>
              <a:gd name="connsiteX6185" fmla="*/ 5592424 w 8267681"/>
              <a:gd name="connsiteY6185" fmla="*/ 3177912 h 6698675"/>
              <a:gd name="connsiteX6186" fmla="*/ 5591250 w 8267681"/>
              <a:gd name="connsiteY6186" fmla="*/ 3177912 h 6698675"/>
              <a:gd name="connsiteX6187" fmla="*/ 5587727 w 8267681"/>
              <a:gd name="connsiteY6187" fmla="*/ 3175561 h 6698675"/>
              <a:gd name="connsiteX6188" fmla="*/ 789174 w 8267681"/>
              <a:gd name="connsiteY6188" fmla="*/ 3173219 h 6698675"/>
              <a:gd name="connsiteX6189" fmla="*/ 786824 w 8267681"/>
              <a:gd name="connsiteY6189" fmla="*/ 3175561 h 6698675"/>
              <a:gd name="connsiteX6190" fmla="*/ 782129 w 8267681"/>
              <a:gd name="connsiteY6190" fmla="*/ 3184961 h 6698675"/>
              <a:gd name="connsiteX6191" fmla="*/ 789174 w 8267681"/>
              <a:gd name="connsiteY6191" fmla="*/ 3189660 h 6698675"/>
              <a:gd name="connsiteX6192" fmla="*/ 5291780 w 8267681"/>
              <a:gd name="connsiteY6192" fmla="*/ 3173176 h 6698675"/>
              <a:gd name="connsiteX6193" fmla="*/ 5294129 w 8267681"/>
              <a:gd name="connsiteY6193" fmla="*/ 3177873 h 6698675"/>
              <a:gd name="connsiteX6194" fmla="*/ 5289432 w 8267681"/>
              <a:gd name="connsiteY6194" fmla="*/ 3175524 h 6698675"/>
              <a:gd name="connsiteX6195" fmla="*/ 5366941 w 8267681"/>
              <a:gd name="connsiteY6195" fmla="*/ 3173172 h 6698675"/>
              <a:gd name="connsiteX6196" fmla="*/ 5369290 w 8267681"/>
              <a:gd name="connsiteY6196" fmla="*/ 3175522 h 6698675"/>
              <a:gd name="connsiteX6197" fmla="*/ 5366941 w 8267681"/>
              <a:gd name="connsiteY6197" fmla="*/ 3177869 h 6698675"/>
              <a:gd name="connsiteX6198" fmla="*/ 5366941 w 8267681"/>
              <a:gd name="connsiteY6198" fmla="*/ 3175522 h 6698675"/>
              <a:gd name="connsiteX6199" fmla="*/ 6146734 w 8267681"/>
              <a:gd name="connsiteY6199" fmla="*/ 3170882 h 6698675"/>
              <a:gd name="connsiteX6200" fmla="*/ 6139274 w 8267681"/>
              <a:gd name="connsiteY6200" fmla="*/ 3181659 h 6698675"/>
              <a:gd name="connsiteX6201" fmla="*/ 6138221 w 8267681"/>
              <a:gd name="connsiteY6201" fmla="*/ 3182332 h 6698675"/>
              <a:gd name="connsiteX6202" fmla="*/ 6125596 w 8267681"/>
              <a:gd name="connsiteY6202" fmla="*/ 3192015 h 6698675"/>
              <a:gd name="connsiteX6203" fmla="*/ 6138808 w 8267681"/>
              <a:gd name="connsiteY6203" fmla="*/ 3182332 h 6698675"/>
              <a:gd name="connsiteX6204" fmla="*/ 6139274 w 8267681"/>
              <a:gd name="connsiteY6204" fmla="*/ 3181659 h 6698675"/>
              <a:gd name="connsiteX6205" fmla="*/ 6156129 w 8267681"/>
              <a:gd name="connsiteY6205" fmla="*/ 3170882 h 6698675"/>
              <a:gd name="connsiteX6206" fmla="*/ 6120898 w 8267681"/>
              <a:gd name="connsiteY6206" fmla="*/ 3210801 h 6698675"/>
              <a:gd name="connsiteX6207" fmla="*/ 6167873 w 8267681"/>
              <a:gd name="connsiteY6207" fmla="*/ 3177926 h 6698675"/>
              <a:gd name="connsiteX6208" fmla="*/ 6139688 w 8267681"/>
              <a:gd name="connsiteY6208" fmla="*/ 3208452 h 6698675"/>
              <a:gd name="connsiteX6209" fmla="*/ 6163176 w 8267681"/>
              <a:gd name="connsiteY6209" fmla="*/ 3208452 h 6698675"/>
              <a:gd name="connsiteX6210" fmla="*/ 6123247 w 8267681"/>
              <a:gd name="connsiteY6210" fmla="*/ 3217848 h 6698675"/>
              <a:gd name="connsiteX6211" fmla="*/ 6170222 w 8267681"/>
              <a:gd name="connsiteY6211" fmla="*/ 3227243 h 6698675"/>
              <a:gd name="connsiteX6212" fmla="*/ 6116200 w 8267681"/>
              <a:gd name="connsiteY6212" fmla="*/ 3217848 h 6698675"/>
              <a:gd name="connsiteX6213" fmla="*/ 6104456 w 8267681"/>
              <a:gd name="connsiteY6213" fmla="*/ 3222545 h 6698675"/>
              <a:gd name="connsiteX6214" fmla="*/ 6184315 w 8267681"/>
              <a:gd name="connsiteY6214" fmla="*/ 3271915 h 6698675"/>
              <a:gd name="connsiteX6215" fmla="*/ 6095061 w 8267681"/>
              <a:gd name="connsiteY6215" fmla="*/ 3227243 h 6698675"/>
              <a:gd name="connsiteX6216" fmla="*/ 6120898 w 8267681"/>
              <a:gd name="connsiteY6216" fmla="*/ 3199057 h 6698675"/>
              <a:gd name="connsiteX6217" fmla="*/ 6088015 w 8267681"/>
              <a:gd name="connsiteY6217" fmla="*/ 3229596 h 6698675"/>
              <a:gd name="connsiteX6218" fmla="*/ 6193710 w 8267681"/>
              <a:gd name="connsiteY6218" fmla="*/ 3309400 h 6698675"/>
              <a:gd name="connsiteX6219" fmla="*/ 6078620 w 8267681"/>
              <a:gd name="connsiteY6219" fmla="*/ 3229596 h 6698675"/>
              <a:gd name="connsiteX6220" fmla="*/ 6146734 w 8267681"/>
              <a:gd name="connsiteY6220" fmla="*/ 3170882 h 6698675"/>
              <a:gd name="connsiteX6221" fmla="*/ 5085086 w 8267681"/>
              <a:gd name="connsiteY6221" fmla="*/ 3170868 h 6698675"/>
              <a:gd name="connsiteX6222" fmla="*/ 5063947 w 8267681"/>
              <a:gd name="connsiteY6222" fmla="*/ 3175561 h 6698675"/>
              <a:gd name="connsiteX6223" fmla="*/ 5085086 w 8267681"/>
              <a:gd name="connsiteY6223" fmla="*/ 3170868 h 6698675"/>
              <a:gd name="connsiteX6224" fmla="*/ 5186085 w 8267681"/>
              <a:gd name="connsiteY6224" fmla="*/ 3170861 h 6698675"/>
              <a:gd name="connsiteX6225" fmla="*/ 5188434 w 8267681"/>
              <a:gd name="connsiteY6225" fmla="*/ 3173209 h 6698675"/>
              <a:gd name="connsiteX6226" fmla="*/ 5188434 w 8267681"/>
              <a:gd name="connsiteY6226" fmla="*/ 3180254 h 6698675"/>
              <a:gd name="connsiteX6227" fmla="*/ 5186085 w 8267681"/>
              <a:gd name="connsiteY6227" fmla="*/ 3180254 h 6698675"/>
              <a:gd name="connsiteX6228" fmla="*/ 5186085 w 8267681"/>
              <a:gd name="connsiteY6228" fmla="*/ 3177906 h 6698675"/>
              <a:gd name="connsiteX6229" fmla="*/ 5181388 w 8267681"/>
              <a:gd name="connsiteY6229" fmla="*/ 3177906 h 6698675"/>
              <a:gd name="connsiteX6230" fmla="*/ 5186085 w 8267681"/>
              <a:gd name="connsiteY6230" fmla="*/ 3170861 h 6698675"/>
              <a:gd name="connsiteX6231" fmla="*/ 5510217 w 8267681"/>
              <a:gd name="connsiteY6231" fmla="*/ 3170842 h 6698675"/>
              <a:gd name="connsiteX6232" fmla="*/ 5512566 w 8267681"/>
              <a:gd name="connsiteY6232" fmla="*/ 3170842 h 6698675"/>
              <a:gd name="connsiteX6233" fmla="*/ 5512566 w 8267681"/>
              <a:gd name="connsiteY6233" fmla="*/ 3173191 h 6698675"/>
              <a:gd name="connsiteX6234" fmla="*/ 5510217 w 8267681"/>
              <a:gd name="connsiteY6234" fmla="*/ 3173191 h 6698675"/>
              <a:gd name="connsiteX6235" fmla="*/ 5218968 w 8267681"/>
              <a:gd name="connsiteY6235" fmla="*/ 3168501 h 6698675"/>
              <a:gd name="connsiteX6236" fmla="*/ 5221316 w 8267681"/>
              <a:gd name="connsiteY6236" fmla="*/ 3170850 h 6698675"/>
              <a:gd name="connsiteX6237" fmla="*/ 5221316 w 8267681"/>
              <a:gd name="connsiteY6237" fmla="*/ 3173198 h 6698675"/>
              <a:gd name="connsiteX6238" fmla="*/ 5216619 w 8267681"/>
              <a:gd name="connsiteY6238" fmla="*/ 3175546 h 6698675"/>
              <a:gd name="connsiteX6239" fmla="*/ 5216619 w 8267681"/>
              <a:gd name="connsiteY6239" fmla="*/ 3170850 h 6698675"/>
              <a:gd name="connsiteX6240" fmla="*/ 5301175 w 8267681"/>
              <a:gd name="connsiteY6240" fmla="*/ 3168493 h 6698675"/>
              <a:gd name="connsiteX6241" fmla="*/ 5303523 w 8267681"/>
              <a:gd name="connsiteY6241" fmla="*/ 3173191 h 6698675"/>
              <a:gd name="connsiteX6242" fmla="*/ 5298826 w 8267681"/>
              <a:gd name="connsiteY6242" fmla="*/ 3173191 h 6698675"/>
              <a:gd name="connsiteX6243" fmla="*/ 5298826 w 8267681"/>
              <a:gd name="connsiteY6243" fmla="*/ 3170841 h 6698675"/>
              <a:gd name="connsiteX6244" fmla="*/ 357014 w 8267681"/>
              <a:gd name="connsiteY6244" fmla="*/ 3166181 h 6698675"/>
              <a:gd name="connsiteX6245" fmla="*/ 358031 w 8267681"/>
              <a:gd name="connsiteY6245" fmla="*/ 3169393 h 6698675"/>
              <a:gd name="connsiteX6246" fmla="*/ 357014 w 8267681"/>
              <a:gd name="connsiteY6246" fmla="*/ 3170882 h 6698675"/>
              <a:gd name="connsiteX6247" fmla="*/ 356344 w 8267681"/>
              <a:gd name="connsiteY6247" fmla="*/ 3167101 h 6698675"/>
              <a:gd name="connsiteX6248" fmla="*/ 5277688 w 8267681"/>
              <a:gd name="connsiteY6248" fmla="*/ 3166153 h 6698675"/>
              <a:gd name="connsiteX6249" fmla="*/ 5287083 w 8267681"/>
              <a:gd name="connsiteY6249" fmla="*/ 3170852 h 6698675"/>
              <a:gd name="connsiteX6250" fmla="*/ 5284734 w 8267681"/>
              <a:gd name="connsiteY6250" fmla="*/ 3170852 h 6698675"/>
              <a:gd name="connsiteX6251" fmla="*/ 5277688 w 8267681"/>
              <a:gd name="connsiteY6251" fmla="*/ 3166153 h 6698675"/>
              <a:gd name="connsiteX6252" fmla="*/ 5237758 w 8267681"/>
              <a:gd name="connsiteY6252" fmla="*/ 3166115 h 6698675"/>
              <a:gd name="connsiteX6253" fmla="*/ 5240107 w 8267681"/>
              <a:gd name="connsiteY6253" fmla="*/ 3166115 h 6698675"/>
              <a:gd name="connsiteX6254" fmla="*/ 5237758 w 8267681"/>
              <a:gd name="connsiteY6254" fmla="*/ 3168461 h 6698675"/>
              <a:gd name="connsiteX6255" fmla="*/ 5261245 w 8267681"/>
              <a:gd name="connsiteY6255" fmla="*/ 3163812 h 6698675"/>
              <a:gd name="connsiteX6256" fmla="*/ 5263594 w 8267681"/>
              <a:gd name="connsiteY6256" fmla="*/ 3166162 h 6698675"/>
              <a:gd name="connsiteX6257" fmla="*/ 5265943 w 8267681"/>
              <a:gd name="connsiteY6257" fmla="*/ 3166162 h 6698675"/>
              <a:gd name="connsiteX6258" fmla="*/ 5268292 w 8267681"/>
              <a:gd name="connsiteY6258" fmla="*/ 3168512 h 6698675"/>
              <a:gd name="connsiteX6259" fmla="*/ 5268292 w 8267681"/>
              <a:gd name="connsiteY6259" fmla="*/ 3170861 h 6698675"/>
              <a:gd name="connsiteX6260" fmla="*/ 5263594 w 8267681"/>
              <a:gd name="connsiteY6260" fmla="*/ 3170861 h 6698675"/>
              <a:gd name="connsiteX6261" fmla="*/ 5265943 w 8267681"/>
              <a:gd name="connsiteY6261" fmla="*/ 3175555 h 6698675"/>
              <a:gd name="connsiteX6262" fmla="*/ 5263594 w 8267681"/>
              <a:gd name="connsiteY6262" fmla="*/ 3175555 h 6698675"/>
              <a:gd name="connsiteX6263" fmla="*/ 5258897 w 8267681"/>
              <a:gd name="connsiteY6263" fmla="*/ 3173211 h 6698675"/>
              <a:gd name="connsiteX6264" fmla="*/ 5258897 w 8267681"/>
              <a:gd name="connsiteY6264" fmla="*/ 3168512 h 6698675"/>
              <a:gd name="connsiteX6265" fmla="*/ 5296478 w 8267681"/>
              <a:gd name="connsiteY6265" fmla="*/ 3163767 h 6698675"/>
              <a:gd name="connsiteX6266" fmla="*/ 5301176 w 8267681"/>
              <a:gd name="connsiteY6266" fmla="*/ 3163767 h 6698675"/>
              <a:gd name="connsiteX6267" fmla="*/ 5298827 w 8267681"/>
              <a:gd name="connsiteY6267" fmla="*/ 3166117 h 6698675"/>
              <a:gd name="connsiteX6268" fmla="*/ 6118550 w 8267681"/>
              <a:gd name="connsiteY6268" fmla="*/ 3161471 h 6698675"/>
              <a:gd name="connsiteX6269" fmla="*/ 6106806 w 8267681"/>
              <a:gd name="connsiteY6269" fmla="*/ 3184961 h 6698675"/>
              <a:gd name="connsiteX6270" fmla="*/ 6104457 w 8267681"/>
              <a:gd name="connsiteY6270" fmla="*/ 3184961 h 6698675"/>
              <a:gd name="connsiteX6271" fmla="*/ 6104457 w 8267681"/>
              <a:gd name="connsiteY6271" fmla="*/ 3189661 h 6698675"/>
              <a:gd name="connsiteX6272" fmla="*/ 6064528 w 8267681"/>
              <a:gd name="connsiteY6272" fmla="*/ 3222545 h 6698675"/>
              <a:gd name="connsiteX6273" fmla="*/ 6184316 w 8267681"/>
              <a:gd name="connsiteY6273" fmla="*/ 3354014 h 6698675"/>
              <a:gd name="connsiteX6274" fmla="*/ 6134991 w 8267681"/>
              <a:gd name="connsiteY6274" fmla="*/ 3318807 h 6698675"/>
              <a:gd name="connsiteX6275" fmla="*/ 6184316 w 8267681"/>
              <a:gd name="connsiteY6275" fmla="*/ 3379851 h 6698675"/>
              <a:gd name="connsiteX6276" fmla="*/ 6172572 w 8267681"/>
              <a:gd name="connsiteY6276" fmla="*/ 3375153 h 6698675"/>
              <a:gd name="connsiteX6277" fmla="*/ 6167874 w 8267681"/>
              <a:gd name="connsiteY6277" fmla="*/ 3368107 h 6698675"/>
              <a:gd name="connsiteX6278" fmla="*/ 6165525 w 8267681"/>
              <a:gd name="connsiteY6278" fmla="*/ 3372804 h 6698675"/>
              <a:gd name="connsiteX6279" fmla="*/ 6076272 w 8267681"/>
              <a:gd name="connsiteY6279" fmla="*/ 3283629 h 6698675"/>
              <a:gd name="connsiteX6280" fmla="*/ 6153781 w 8267681"/>
              <a:gd name="connsiteY6280" fmla="*/ 3393943 h 6698675"/>
              <a:gd name="connsiteX6281" fmla="*/ 6116201 w 8267681"/>
              <a:gd name="connsiteY6281" fmla="*/ 3363409 h 6698675"/>
              <a:gd name="connsiteX6282" fmla="*/ 6163176 w 8267681"/>
              <a:gd name="connsiteY6282" fmla="*/ 3455011 h 6698675"/>
              <a:gd name="connsiteX6283" fmla="*/ 6158479 w 8267681"/>
              <a:gd name="connsiteY6283" fmla="*/ 3473802 h 6698675"/>
              <a:gd name="connsiteX6284" fmla="*/ 6156130 w 8267681"/>
              <a:gd name="connsiteY6284" fmla="*/ 3473802 h 6698675"/>
              <a:gd name="connsiteX6285" fmla="*/ 6156130 w 8267681"/>
              <a:gd name="connsiteY6285" fmla="*/ 3485546 h 6698675"/>
              <a:gd name="connsiteX6286" fmla="*/ 6156130 w 8267681"/>
              <a:gd name="connsiteY6286" fmla="*/ 3490243 h 6698675"/>
              <a:gd name="connsiteX6287" fmla="*/ 6151432 w 8267681"/>
              <a:gd name="connsiteY6287" fmla="*/ 3490243 h 6698675"/>
              <a:gd name="connsiteX6288" fmla="*/ 6153781 w 8267681"/>
              <a:gd name="connsiteY6288" fmla="*/ 3499638 h 6698675"/>
              <a:gd name="connsiteX6289" fmla="*/ 6106806 w 8267681"/>
              <a:gd name="connsiteY6289" fmla="*/ 3450314 h 6698675"/>
              <a:gd name="connsiteX6290" fmla="*/ 6123247 w 8267681"/>
              <a:gd name="connsiteY6290" fmla="*/ 3483197 h 6698675"/>
              <a:gd name="connsiteX6291" fmla="*/ 6111503 w 8267681"/>
              <a:gd name="connsiteY6291" fmla="*/ 3485546 h 6698675"/>
              <a:gd name="connsiteX6292" fmla="*/ 6069225 w 8267681"/>
              <a:gd name="connsiteY6292" fmla="*/ 3440919 h 6698675"/>
              <a:gd name="connsiteX6293" fmla="*/ 6066877 w 8267681"/>
              <a:gd name="connsiteY6293" fmla="*/ 3445616 h 6698675"/>
              <a:gd name="connsiteX6294" fmla="*/ 6019901 w 8267681"/>
              <a:gd name="connsiteY6294" fmla="*/ 3431524 h 6698675"/>
              <a:gd name="connsiteX6295" fmla="*/ 6092713 w 8267681"/>
              <a:gd name="connsiteY6295" fmla="*/ 3497289 h 6698675"/>
              <a:gd name="connsiteX6296" fmla="*/ 6080969 w 8267681"/>
              <a:gd name="connsiteY6296" fmla="*/ 3504336 h 6698675"/>
              <a:gd name="connsiteX6297" fmla="*/ 6080969 w 8267681"/>
              <a:gd name="connsiteY6297" fmla="*/ 3506684 h 6698675"/>
              <a:gd name="connsiteX6298" fmla="*/ 6026947 w 8267681"/>
              <a:gd name="connsiteY6298" fmla="*/ 3452662 h 6698675"/>
              <a:gd name="connsiteX6299" fmla="*/ 6041040 w 8267681"/>
              <a:gd name="connsiteY6299" fmla="*/ 3478499 h 6698675"/>
              <a:gd name="connsiteX6300" fmla="*/ 6083318 w 8267681"/>
              <a:gd name="connsiteY6300" fmla="*/ 3516079 h 6698675"/>
              <a:gd name="connsiteX6301" fmla="*/ 6085667 w 8267681"/>
              <a:gd name="connsiteY6301" fmla="*/ 3532521 h 6698675"/>
              <a:gd name="connsiteX6302" fmla="*/ 6057481 w 8267681"/>
              <a:gd name="connsiteY6302" fmla="*/ 3504336 h 6698675"/>
              <a:gd name="connsiteX6303" fmla="*/ 6066877 w 8267681"/>
              <a:gd name="connsiteY6303" fmla="*/ 3525475 h 6698675"/>
              <a:gd name="connsiteX6304" fmla="*/ 6097411 w 8267681"/>
              <a:gd name="connsiteY6304" fmla="*/ 3553660 h 6698675"/>
              <a:gd name="connsiteX6305" fmla="*/ 6099760 w 8267681"/>
              <a:gd name="connsiteY6305" fmla="*/ 3556009 h 6698675"/>
              <a:gd name="connsiteX6306" fmla="*/ 6102109 w 8267681"/>
              <a:gd name="connsiteY6306" fmla="*/ 3553660 h 6698675"/>
              <a:gd name="connsiteX6307" fmla="*/ 6104457 w 8267681"/>
              <a:gd name="connsiteY6307" fmla="*/ 3558358 h 6698675"/>
              <a:gd name="connsiteX6308" fmla="*/ 6123247 w 8267681"/>
              <a:gd name="connsiteY6308" fmla="*/ 3577148 h 6698675"/>
              <a:gd name="connsiteX6309" fmla="*/ 6134991 w 8267681"/>
              <a:gd name="connsiteY6309" fmla="*/ 3666402 h 6698675"/>
              <a:gd name="connsiteX6310" fmla="*/ 6139688 w 8267681"/>
              <a:gd name="connsiteY6310" fmla="*/ 3593589 h 6698675"/>
              <a:gd name="connsiteX6311" fmla="*/ 6137340 w 8267681"/>
              <a:gd name="connsiteY6311" fmla="*/ 3591241 h 6698675"/>
              <a:gd name="connsiteX6312" fmla="*/ 6134991 w 8267681"/>
              <a:gd name="connsiteY6312" fmla="*/ 3577148 h 6698675"/>
              <a:gd name="connsiteX6313" fmla="*/ 6132642 w 8267681"/>
              <a:gd name="connsiteY6313" fmla="*/ 3579497 h 6698675"/>
              <a:gd name="connsiteX6314" fmla="*/ 6118550 w 8267681"/>
              <a:gd name="connsiteY6314" fmla="*/ 3565404 h 6698675"/>
              <a:gd name="connsiteX6315" fmla="*/ 6118550 w 8267681"/>
              <a:gd name="connsiteY6315" fmla="*/ 3570101 h 6698675"/>
              <a:gd name="connsiteX6316" fmla="*/ 6097411 w 8267681"/>
              <a:gd name="connsiteY6316" fmla="*/ 3544265 h 6698675"/>
              <a:gd name="connsiteX6317" fmla="*/ 6085667 w 8267681"/>
              <a:gd name="connsiteY6317" fmla="*/ 3532521 h 6698675"/>
              <a:gd name="connsiteX6318" fmla="*/ 6109155 w 8267681"/>
              <a:gd name="connsiteY6318" fmla="*/ 3539567 h 6698675"/>
              <a:gd name="connsiteX6319" fmla="*/ 6110329 w 8267681"/>
              <a:gd name="connsiteY6319" fmla="*/ 3540742 h 6698675"/>
              <a:gd name="connsiteX6320" fmla="*/ 6109155 w 8267681"/>
              <a:gd name="connsiteY6320" fmla="*/ 3541916 h 6698675"/>
              <a:gd name="connsiteX6321" fmla="*/ 6134991 w 8267681"/>
              <a:gd name="connsiteY6321" fmla="*/ 3570101 h 6698675"/>
              <a:gd name="connsiteX6322" fmla="*/ 6149084 w 8267681"/>
              <a:gd name="connsiteY6322" fmla="*/ 3584194 h 6698675"/>
              <a:gd name="connsiteX6323" fmla="*/ 6137340 w 8267681"/>
              <a:gd name="connsiteY6323" fmla="*/ 3567753 h 6698675"/>
              <a:gd name="connsiteX6324" fmla="*/ 6110329 w 8267681"/>
              <a:gd name="connsiteY6324" fmla="*/ 3540742 h 6698675"/>
              <a:gd name="connsiteX6325" fmla="*/ 6120898 w 8267681"/>
              <a:gd name="connsiteY6325" fmla="*/ 3530172 h 6698675"/>
              <a:gd name="connsiteX6326" fmla="*/ 6146735 w 8267681"/>
              <a:gd name="connsiteY6326" fmla="*/ 3558358 h 6698675"/>
              <a:gd name="connsiteX6327" fmla="*/ 6146735 w 8267681"/>
              <a:gd name="connsiteY6327" fmla="*/ 3570101 h 6698675"/>
              <a:gd name="connsiteX6328" fmla="*/ 6146735 w 8267681"/>
              <a:gd name="connsiteY6328" fmla="*/ 3558358 h 6698675"/>
              <a:gd name="connsiteX6329" fmla="*/ 6163176 w 8267681"/>
              <a:gd name="connsiteY6329" fmla="*/ 3577148 h 6698675"/>
              <a:gd name="connsiteX6330" fmla="*/ 6170223 w 8267681"/>
              <a:gd name="connsiteY6330" fmla="*/ 3574799 h 6698675"/>
              <a:gd name="connsiteX6331" fmla="*/ 6167874 w 8267681"/>
              <a:gd name="connsiteY6331" fmla="*/ 3584194 h 6698675"/>
              <a:gd name="connsiteX6332" fmla="*/ 6181967 w 8267681"/>
              <a:gd name="connsiteY6332" fmla="*/ 3598287 h 6698675"/>
              <a:gd name="connsiteX6333" fmla="*/ 6207804 w 8267681"/>
              <a:gd name="connsiteY6333" fmla="*/ 3584194 h 6698675"/>
              <a:gd name="connsiteX6334" fmla="*/ 6191362 w 8267681"/>
              <a:gd name="connsiteY6334" fmla="*/ 3607682 h 6698675"/>
              <a:gd name="connsiteX6335" fmla="*/ 6198408 w 8267681"/>
              <a:gd name="connsiteY6335" fmla="*/ 3617077 h 6698675"/>
              <a:gd name="connsiteX6336" fmla="*/ 6224245 w 8267681"/>
              <a:gd name="connsiteY6336" fmla="*/ 3602985 h 6698675"/>
              <a:gd name="connsiteX6337" fmla="*/ 6205455 w 8267681"/>
              <a:gd name="connsiteY6337" fmla="*/ 3626472 h 6698675"/>
              <a:gd name="connsiteX6338" fmla="*/ 6214850 w 8267681"/>
              <a:gd name="connsiteY6338" fmla="*/ 3638216 h 6698675"/>
              <a:gd name="connsiteX6339" fmla="*/ 6273569 w 8267681"/>
              <a:gd name="connsiteY6339" fmla="*/ 3600636 h 6698675"/>
              <a:gd name="connsiteX6340" fmla="*/ 6285313 w 8267681"/>
              <a:gd name="connsiteY6340" fmla="*/ 3602985 h 6698675"/>
              <a:gd name="connsiteX6341" fmla="*/ 6322894 w 8267681"/>
              <a:gd name="connsiteY6341" fmla="*/ 3577148 h 6698675"/>
              <a:gd name="connsiteX6342" fmla="*/ 6278267 w 8267681"/>
              <a:gd name="connsiteY6342" fmla="*/ 3617958 h 6698675"/>
              <a:gd name="connsiteX6343" fmla="*/ 6229706 w 8267681"/>
              <a:gd name="connsiteY6343" fmla="*/ 3654654 h 6698675"/>
              <a:gd name="connsiteX6344" fmla="*/ 6225125 w 8267681"/>
              <a:gd name="connsiteY6344" fmla="*/ 3649666 h 6698675"/>
              <a:gd name="connsiteX6345" fmla="*/ 6217199 w 8267681"/>
              <a:gd name="connsiteY6345" fmla="*/ 3659355 h 6698675"/>
              <a:gd name="connsiteX6346" fmla="*/ 6228446 w 8267681"/>
              <a:gd name="connsiteY6346" fmla="*/ 3655606 h 6698675"/>
              <a:gd name="connsiteX6347" fmla="*/ 6226593 w 8267681"/>
              <a:gd name="connsiteY6347" fmla="*/ 3657006 h 6698675"/>
              <a:gd name="connsiteX6348" fmla="*/ 6228942 w 8267681"/>
              <a:gd name="connsiteY6348" fmla="*/ 3661704 h 6698675"/>
              <a:gd name="connsiteX6349" fmla="*/ 6233640 w 8267681"/>
              <a:gd name="connsiteY6349" fmla="*/ 3668750 h 6698675"/>
              <a:gd name="connsiteX6350" fmla="*/ 6259476 w 8267681"/>
              <a:gd name="connsiteY6350" fmla="*/ 3652309 h 6698675"/>
              <a:gd name="connsiteX6351" fmla="*/ 6252430 w 8267681"/>
              <a:gd name="connsiteY6351" fmla="*/ 3671099 h 6698675"/>
              <a:gd name="connsiteX6352" fmla="*/ 6268871 w 8267681"/>
              <a:gd name="connsiteY6352" fmla="*/ 3647611 h 6698675"/>
              <a:gd name="connsiteX6353" fmla="*/ 6318196 w 8267681"/>
              <a:gd name="connsiteY6353" fmla="*/ 3621774 h 6698675"/>
              <a:gd name="connsiteX6354" fmla="*/ 6318196 w 8267681"/>
              <a:gd name="connsiteY6354" fmla="*/ 3631170 h 6698675"/>
              <a:gd name="connsiteX6355" fmla="*/ 6353427 w 8267681"/>
              <a:gd name="connsiteY6355" fmla="*/ 3617077 h 6698675"/>
              <a:gd name="connsiteX6356" fmla="*/ 6247732 w 8267681"/>
              <a:gd name="connsiteY6356" fmla="*/ 3689889 h 6698675"/>
              <a:gd name="connsiteX6357" fmla="*/ 6250081 w 8267681"/>
              <a:gd name="connsiteY6357" fmla="*/ 3694587 h 6698675"/>
              <a:gd name="connsiteX6358" fmla="*/ 6367520 w 8267681"/>
              <a:gd name="connsiteY6358" fmla="*/ 3635867 h 6698675"/>
              <a:gd name="connsiteX6359" fmla="*/ 6259476 w 8267681"/>
              <a:gd name="connsiteY6359" fmla="*/ 3703982 h 6698675"/>
              <a:gd name="connsiteX6360" fmla="*/ 6264174 w 8267681"/>
              <a:gd name="connsiteY6360" fmla="*/ 3711028 h 6698675"/>
              <a:gd name="connsiteX6361" fmla="*/ 6365171 w 8267681"/>
              <a:gd name="connsiteY6361" fmla="*/ 3668750 h 6698675"/>
              <a:gd name="connsiteX6362" fmla="*/ 6271220 w 8267681"/>
              <a:gd name="connsiteY6362" fmla="*/ 3720423 h 6698675"/>
              <a:gd name="connsiteX6363" fmla="*/ 6273569 w 8267681"/>
              <a:gd name="connsiteY6363" fmla="*/ 3722772 h 6698675"/>
              <a:gd name="connsiteX6364" fmla="*/ 6278267 w 8267681"/>
              <a:gd name="connsiteY6364" fmla="*/ 3729818 h 6698675"/>
              <a:gd name="connsiteX6365" fmla="*/ 6358125 w 8267681"/>
              <a:gd name="connsiteY6365" fmla="*/ 3708680 h 6698675"/>
              <a:gd name="connsiteX6366" fmla="*/ 6282964 w 8267681"/>
              <a:gd name="connsiteY6366" fmla="*/ 3734516 h 6698675"/>
              <a:gd name="connsiteX6367" fmla="*/ 6287662 w 8267681"/>
              <a:gd name="connsiteY6367" fmla="*/ 3741562 h 6698675"/>
              <a:gd name="connsiteX6368" fmla="*/ 6388659 w 8267681"/>
              <a:gd name="connsiteY6368" fmla="*/ 3837862 h 6698675"/>
              <a:gd name="connsiteX6369" fmla="*/ 6365171 w 8267681"/>
              <a:gd name="connsiteY6369" fmla="*/ 3826119 h 6698675"/>
              <a:gd name="connsiteX6370" fmla="*/ 6365171 w 8267681"/>
              <a:gd name="connsiteY6370" fmla="*/ 3833165 h 6698675"/>
              <a:gd name="connsiteX6371" fmla="*/ 6334818 w 8267681"/>
              <a:gd name="connsiteY6371" fmla="*/ 3820156 h 6698675"/>
              <a:gd name="connsiteX6372" fmla="*/ 6322894 w 8267681"/>
              <a:gd name="connsiteY6372" fmla="*/ 3800282 h 6698675"/>
              <a:gd name="connsiteX6373" fmla="*/ 6264174 w 8267681"/>
              <a:gd name="connsiteY6373" fmla="*/ 3743911 h 6698675"/>
              <a:gd name="connsiteX6374" fmla="*/ 6271572 w 8267681"/>
              <a:gd name="connsiteY6374" fmla="*/ 3756595 h 6698675"/>
              <a:gd name="connsiteX6375" fmla="*/ 6254779 w 8267681"/>
              <a:gd name="connsiteY6375" fmla="*/ 3732167 h 6698675"/>
              <a:gd name="connsiteX6376" fmla="*/ 6250081 w 8267681"/>
              <a:gd name="connsiteY6376" fmla="*/ 3727470 h 6698675"/>
              <a:gd name="connsiteX6377" fmla="*/ 6245383 w 8267681"/>
              <a:gd name="connsiteY6377" fmla="*/ 3727470 h 6698675"/>
              <a:gd name="connsiteX6378" fmla="*/ 6252430 w 8267681"/>
              <a:gd name="connsiteY6378" fmla="*/ 3734516 h 6698675"/>
              <a:gd name="connsiteX6379" fmla="*/ 6275556 w 8267681"/>
              <a:gd name="connsiteY6379" fmla="*/ 3763425 h 6698675"/>
              <a:gd name="connsiteX6380" fmla="*/ 6280615 w 8267681"/>
              <a:gd name="connsiteY6380" fmla="*/ 3772097 h 6698675"/>
              <a:gd name="connsiteX6381" fmla="*/ 6332717 w 8267681"/>
              <a:gd name="connsiteY6381" fmla="*/ 3819857 h 6698675"/>
              <a:gd name="connsiteX6382" fmla="*/ 6346381 w 8267681"/>
              <a:gd name="connsiteY6382" fmla="*/ 3844908 h 6698675"/>
              <a:gd name="connsiteX6383" fmla="*/ 6419194 w 8267681"/>
              <a:gd name="connsiteY6383" fmla="*/ 3934162 h 6698675"/>
              <a:gd name="connsiteX6384" fmla="*/ 6365171 w 8267681"/>
              <a:gd name="connsiteY6384" fmla="*/ 3887187 h 6698675"/>
              <a:gd name="connsiteX6385" fmla="*/ 6379264 w 8267681"/>
              <a:gd name="connsiteY6385" fmla="*/ 3917721 h 6698675"/>
              <a:gd name="connsiteX6386" fmla="*/ 6358125 w 8267681"/>
              <a:gd name="connsiteY6386" fmla="*/ 3882489 h 6698675"/>
              <a:gd name="connsiteX6387" fmla="*/ 6315847 w 8267681"/>
              <a:gd name="connsiteY6387" fmla="*/ 3844908 h 6698675"/>
              <a:gd name="connsiteX6388" fmla="*/ 6318196 w 8267681"/>
              <a:gd name="connsiteY6388" fmla="*/ 3847257 h 6698675"/>
              <a:gd name="connsiteX6389" fmla="*/ 6332289 w 8267681"/>
              <a:gd name="connsiteY6389" fmla="*/ 3870745 h 6698675"/>
              <a:gd name="connsiteX6390" fmla="*/ 6388659 w 8267681"/>
              <a:gd name="connsiteY6390" fmla="*/ 3967045 h 6698675"/>
              <a:gd name="connsiteX6391" fmla="*/ 6393357 w 8267681"/>
              <a:gd name="connsiteY6391" fmla="*/ 3978789 h 6698675"/>
              <a:gd name="connsiteX6392" fmla="*/ 6367520 w 8267681"/>
              <a:gd name="connsiteY6392" fmla="*/ 3948255 h 6698675"/>
              <a:gd name="connsiteX6393" fmla="*/ 6365171 w 8267681"/>
              <a:gd name="connsiteY6393" fmla="*/ 3945906 h 6698675"/>
              <a:gd name="connsiteX6394" fmla="*/ 6374566 w 8267681"/>
              <a:gd name="connsiteY6394" fmla="*/ 3969394 h 6698675"/>
              <a:gd name="connsiteX6395" fmla="*/ 6355776 w 8267681"/>
              <a:gd name="connsiteY6395" fmla="*/ 3950604 h 6698675"/>
              <a:gd name="connsiteX6396" fmla="*/ 6341683 w 8267681"/>
              <a:gd name="connsiteY6396" fmla="*/ 3927116 h 6698675"/>
              <a:gd name="connsiteX6397" fmla="*/ 6315847 w 8267681"/>
              <a:gd name="connsiteY6397" fmla="*/ 3905977 h 6698675"/>
              <a:gd name="connsiteX6398" fmla="*/ 6332289 w 8267681"/>
              <a:gd name="connsiteY6398" fmla="*/ 3938860 h 6698675"/>
              <a:gd name="connsiteX6399" fmla="*/ 6320545 w 8267681"/>
              <a:gd name="connsiteY6399" fmla="*/ 3943557 h 6698675"/>
              <a:gd name="connsiteX6400" fmla="*/ 6304103 w 8267681"/>
              <a:gd name="connsiteY6400" fmla="*/ 3929465 h 6698675"/>
              <a:gd name="connsiteX6401" fmla="*/ 6336986 w 8267681"/>
              <a:gd name="connsiteY6401" fmla="*/ 3988184 h 6698675"/>
              <a:gd name="connsiteX6402" fmla="*/ 6395706 w 8267681"/>
              <a:gd name="connsiteY6402" fmla="*/ 4115018 h 6698675"/>
              <a:gd name="connsiteX6403" fmla="*/ 6409798 w 8267681"/>
              <a:gd name="connsiteY6403" fmla="*/ 4152599 h 6698675"/>
              <a:gd name="connsiteX6404" fmla="*/ 6414496 w 8267681"/>
              <a:gd name="connsiteY6404" fmla="*/ 4166691 h 6698675"/>
              <a:gd name="connsiteX6405" fmla="*/ 6388659 w 8267681"/>
              <a:gd name="connsiteY6405" fmla="*/ 4119716 h 6698675"/>
              <a:gd name="connsiteX6406" fmla="*/ 6327591 w 8267681"/>
              <a:gd name="connsiteY6406" fmla="*/ 4002277 h 6698675"/>
              <a:gd name="connsiteX6407" fmla="*/ 6259476 w 8267681"/>
              <a:gd name="connsiteY6407" fmla="*/ 3891884 h 6698675"/>
              <a:gd name="connsiteX6408" fmla="*/ 6238337 w 8267681"/>
              <a:gd name="connsiteY6408" fmla="*/ 3870745 h 6698675"/>
              <a:gd name="connsiteX6409" fmla="*/ 6257127 w 8267681"/>
              <a:gd name="connsiteY6409" fmla="*/ 3905977 h 6698675"/>
              <a:gd name="connsiteX6410" fmla="*/ 6217199 w 8267681"/>
              <a:gd name="connsiteY6410" fmla="*/ 3859001 h 6698675"/>
              <a:gd name="connsiteX6411" fmla="*/ 6196060 w 8267681"/>
              <a:gd name="connsiteY6411" fmla="*/ 3828467 h 6698675"/>
              <a:gd name="connsiteX6412" fmla="*/ 6181967 w 8267681"/>
              <a:gd name="connsiteY6412" fmla="*/ 3814375 h 6698675"/>
              <a:gd name="connsiteX6413" fmla="*/ 6278267 w 8267681"/>
              <a:gd name="connsiteY6413" fmla="*/ 3934162 h 6698675"/>
              <a:gd name="connsiteX6414" fmla="*/ 6278267 w 8267681"/>
              <a:gd name="connsiteY6414" fmla="*/ 3955301 h 6698675"/>
              <a:gd name="connsiteX6415" fmla="*/ 6257127 w 8267681"/>
              <a:gd name="connsiteY6415" fmla="*/ 3931814 h 6698675"/>
              <a:gd name="connsiteX6416" fmla="*/ 6280615 w 8267681"/>
              <a:gd name="connsiteY6416" fmla="*/ 3964696 h 6698675"/>
              <a:gd name="connsiteX6417" fmla="*/ 6290011 w 8267681"/>
              <a:gd name="connsiteY6417" fmla="*/ 3976440 h 6698675"/>
              <a:gd name="connsiteX6418" fmla="*/ 6313499 w 8267681"/>
              <a:gd name="connsiteY6418" fmla="*/ 4011672 h 6698675"/>
              <a:gd name="connsiteX6419" fmla="*/ 6318196 w 8267681"/>
              <a:gd name="connsiteY6419" fmla="*/ 4016369 h 6698675"/>
              <a:gd name="connsiteX6420" fmla="*/ 6463820 w 8267681"/>
              <a:gd name="connsiteY6420" fmla="*/ 4413313 h 6698675"/>
              <a:gd name="connsiteX6421" fmla="*/ 6508447 w 8267681"/>
              <a:gd name="connsiteY6421" fmla="*/ 4826698 h 6698675"/>
              <a:gd name="connsiteX6422" fmla="*/ 6503749 w 8267681"/>
              <a:gd name="connsiteY6422" fmla="*/ 4826698 h 6698675"/>
              <a:gd name="connsiteX6423" fmla="*/ 6488482 w 8267681"/>
              <a:gd name="connsiteY6423" fmla="*/ 4634979 h 6698675"/>
              <a:gd name="connsiteX6424" fmla="*/ 6480257 w 8267681"/>
              <a:gd name="connsiteY6424" fmla="*/ 4591265 h 6698675"/>
              <a:gd name="connsiteX6425" fmla="*/ 6480005 w 8267681"/>
              <a:gd name="connsiteY6425" fmla="*/ 4588628 h 6698675"/>
              <a:gd name="connsiteX6426" fmla="*/ 6478876 w 8267681"/>
              <a:gd name="connsiteY6426" fmla="*/ 4583926 h 6698675"/>
              <a:gd name="connsiteX6427" fmla="*/ 6452076 w 8267681"/>
              <a:gd name="connsiteY6427" fmla="*/ 4441498 h 6698675"/>
              <a:gd name="connsiteX6428" fmla="*/ 6313499 w 8267681"/>
              <a:gd name="connsiteY6428" fmla="*/ 4089182 h 6698675"/>
              <a:gd name="connsiteX6429" fmla="*/ 6273569 w 8267681"/>
              <a:gd name="connsiteY6429" fmla="*/ 4025765 h 6698675"/>
              <a:gd name="connsiteX6430" fmla="*/ 6231291 w 8267681"/>
              <a:gd name="connsiteY6430" fmla="*/ 3964696 h 6698675"/>
              <a:gd name="connsiteX6431" fmla="*/ 6219547 w 8267681"/>
              <a:gd name="connsiteY6431" fmla="*/ 3945906 h 6698675"/>
              <a:gd name="connsiteX6432" fmla="*/ 6217199 w 8267681"/>
              <a:gd name="connsiteY6432" fmla="*/ 3943557 h 6698675"/>
              <a:gd name="connsiteX6433" fmla="*/ 6231291 w 8267681"/>
              <a:gd name="connsiteY6433" fmla="*/ 3964696 h 6698675"/>
              <a:gd name="connsiteX6434" fmla="*/ 6343849 w 8267681"/>
              <a:gd name="connsiteY6434" fmla="*/ 4158287 h 6698675"/>
              <a:gd name="connsiteX6435" fmla="*/ 6367244 w 8267681"/>
              <a:gd name="connsiteY6435" fmla="*/ 4217315 h 6698675"/>
              <a:gd name="connsiteX6436" fmla="*/ 6355189 w 8267681"/>
              <a:gd name="connsiteY6436" fmla="*/ 4212493 h 6698675"/>
              <a:gd name="connsiteX6437" fmla="*/ 6344032 w 8267681"/>
              <a:gd name="connsiteY6437" fmla="*/ 4213667 h 6698675"/>
              <a:gd name="connsiteX6438" fmla="*/ 6367520 w 8267681"/>
              <a:gd name="connsiteY6438" fmla="*/ 4237155 h 6698675"/>
              <a:gd name="connsiteX6439" fmla="*/ 6365171 w 8267681"/>
              <a:gd name="connsiteY6439" fmla="*/ 4229522 h 6698675"/>
              <a:gd name="connsiteX6440" fmla="*/ 6368731 w 8267681"/>
              <a:gd name="connsiteY6440" fmla="*/ 4221068 h 6698675"/>
              <a:gd name="connsiteX6441" fmla="*/ 6427121 w 8267681"/>
              <a:gd name="connsiteY6441" fmla="*/ 4368393 h 6698675"/>
              <a:gd name="connsiteX6442" fmla="*/ 6478876 w 8267681"/>
              <a:gd name="connsiteY6442" fmla="*/ 4583926 h 6698675"/>
              <a:gd name="connsiteX6443" fmla="*/ 6480257 w 8267681"/>
              <a:gd name="connsiteY6443" fmla="*/ 4591265 h 6698675"/>
              <a:gd name="connsiteX6444" fmla="*/ 6489287 w 8267681"/>
              <a:gd name="connsiteY6444" fmla="*/ 4685794 h 6698675"/>
              <a:gd name="connsiteX6445" fmla="*/ 6473215 w 8267681"/>
              <a:gd name="connsiteY6445" fmla="*/ 4584774 h 6698675"/>
              <a:gd name="connsiteX6446" fmla="*/ 6449727 w 8267681"/>
              <a:gd name="connsiteY6446" fmla="*/ 4488474 h 6698675"/>
              <a:gd name="connsiteX6447" fmla="*/ 6419194 w 8267681"/>
              <a:gd name="connsiteY6447" fmla="*/ 4401569 h 6698675"/>
              <a:gd name="connsiteX6448" fmla="*/ 6449727 w 8267681"/>
              <a:gd name="connsiteY6448" fmla="*/ 4507264 h 6698675"/>
              <a:gd name="connsiteX6449" fmla="*/ 6461471 w 8267681"/>
              <a:gd name="connsiteY6449" fmla="*/ 4558937 h 6698675"/>
              <a:gd name="connsiteX6450" fmla="*/ 6468517 w 8267681"/>
              <a:gd name="connsiteY6450" fmla="*/ 4584774 h 6698675"/>
              <a:gd name="connsiteX6451" fmla="*/ 6473215 w 8267681"/>
              <a:gd name="connsiteY6451" fmla="*/ 4612959 h 6698675"/>
              <a:gd name="connsiteX6452" fmla="*/ 6470866 w 8267681"/>
              <a:gd name="connsiteY6452" fmla="*/ 4608262 h 6698675"/>
              <a:gd name="connsiteX6453" fmla="*/ 6484959 w 8267681"/>
              <a:gd name="connsiteY6453" fmla="*/ 4688120 h 6698675"/>
              <a:gd name="connsiteX6454" fmla="*/ 6489858 w 8267681"/>
              <a:gd name="connsiteY6454" fmla="*/ 4733436 h 6698675"/>
              <a:gd name="connsiteX6455" fmla="*/ 6499052 w 8267681"/>
              <a:gd name="connsiteY6455" fmla="*/ 4800862 h 6698675"/>
              <a:gd name="connsiteX6456" fmla="*/ 6508447 w 8267681"/>
              <a:gd name="connsiteY6456" fmla="*/ 4906557 h 6698675"/>
              <a:gd name="connsiteX6457" fmla="*/ 6506098 w 8267681"/>
              <a:gd name="connsiteY6457" fmla="*/ 4885418 h 6698675"/>
              <a:gd name="connsiteX6458" fmla="*/ 6496703 w 8267681"/>
              <a:gd name="connsiteY6458" fmla="*/ 4798513 h 6698675"/>
              <a:gd name="connsiteX6459" fmla="*/ 6482611 w 8267681"/>
              <a:gd name="connsiteY6459" fmla="*/ 4718655 h 6698675"/>
              <a:gd name="connsiteX6460" fmla="*/ 6483463 w 8267681"/>
              <a:gd name="connsiteY6460" fmla="*/ 4720572 h 6698675"/>
              <a:gd name="connsiteX6461" fmla="*/ 6482610 w 8267681"/>
              <a:gd name="connsiteY6461" fmla="*/ 4716306 h 6698675"/>
              <a:gd name="connsiteX6462" fmla="*/ 6459122 w 8267681"/>
              <a:gd name="connsiteY6462" fmla="*/ 4601216 h 6698675"/>
              <a:gd name="connsiteX6463" fmla="*/ 6442742 w 8267681"/>
              <a:gd name="connsiteY6463" fmla="*/ 4537878 h 6698675"/>
              <a:gd name="connsiteX6464" fmla="*/ 6435634 w 8267681"/>
              <a:gd name="connsiteY6464" fmla="*/ 4514310 h 6698675"/>
              <a:gd name="connsiteX6465" fmla="*/ 6440632 w 8267681"/>
              <a:gd name="connsiteY6465" fmla="*/ 4529721 h 6698675"/>
              <a:gd name="connsiteX6466" fmla="*/ 6423891 w 8267681"/>
              <a:gd name="connsiteY6466" fmla="*/ 4464986 h 6698675"/>
              <a:gd name="connsiteX6467" fmla="*/ 6402752 w 8267681"/>
              <a:gd name="connsiteY6467" fmla="*/ 4399220 h 6698675"/>
              <a:gd name="connsiteX6468" fmla="*/ 6379264 w 8267681"/>
              <a:gd name="connsiteY6468" fmla="*/ 4335803 h 6698675"/>
              <a:gd name="connsiteX6469" fmla="*/ 6325242 w 8267681"/>
              <a:gd name="connsiteY6469" fmla="*/ 4211318 h 6698675"/>
              <a:gd name="connsiteX6470" fmla="*/ 6294708 w 8267681"/>
              <a:gd name="connsiteY6470" fmla="*/ 4150250 h 6698675"/>
              <a:gd name="connsiteX6471" fmla="*/ 6259476 w 8267681"/>
              <a:gd name="connsiteY6471" fmla="*/ 4091530 h 6698675"/>
              <a:gd name="connsiteX6472" fmla="*/ 6184316 w 8267681"/>
              <a:gd name="connsiteY6472" fmla="*/ 3969394 h 6698675"/>
              <a:gd name="connsiteX6473" fmla="*/ 6134991 w 8267681"/>
              <a:gd name="connsiteY6473" fmla="*/ 3934162 h 6698675"/>
              <a:gd name="connsiteX6474" fmla="*/ 6221896 w 8267681"/>
              <a:gd name="connsiteY6474" fmla="*/ 4058647 h 6698675"/>
              <a:gd name="connsiteX6475" fmla="*/ 6170223 w 8267681"/>
              <a:gd name="connsiteY6475" fmla="*/ 3990533 h 6698675"/>
              <a:gd name="connsiteX6476" fmla="*/ 6057481 w 8267681"/>
              <a:gd name="connsiteY6476" fmla="*/ 3863699 h 6698675"/>
              <a:gd name="connsiteX6477" fmla="*/ 6142037 w 8267681"/>
              <a:gd name="connsiteY6477" fmla="*/ 3974091 h 6698675"/>
              <a:gd name="connsiteX6478" fmla="*/ 6160828 w 8267681"/>
              <a:gd name="connsiteY6478" fmla="*/ 3981138 h 6698675"/>
              <a:gd name="connsiteX6479" fmla="*/ 6165525 w 8267681"/>
              <a:gd name="connsiteY6479" fmla="*/ 4006974 h 6698675"/>
              <a:gd name="connsiteX6480" fmla="*/ 5989367 w 8267681"/>
              <a:gd name="connsiteY6480" fmla="*/ 3819072 h 6698675"/>
              <a:gd name="connsiteX6481" fmla="*/ 6109155 w 8267681"/>
              <a:gd name="connsiteY6481" fmla="*/ 4006974 h 6698675"/>
              <a:gd name="connsiteX6482" fmla="*/ 6106806 w 8267681"/>
              <a:gd name="connsiteY6482" fmla="*/ 4042206 h 6698675"/>
              <a:gd name="connsiteX6483" fmla="*/ 6088016 w 8267681"/>
              <a:gd name="connsiteY6483" fmla="*/ 4016369 h 6698675"/>
              <a:gd name="connsiteX6484" fmla="*/ 6104457 w 8267681"/>
              <a:gd name="connsiteY6484" fmla="*/ 4053950 h 6698675"/>
              <a:gd name="connsiteX6485" fmla="*/ 6109155 w 8267681"/>
              <a:gd name="connsiteY6485" fmla="*/ 4049252 h 6698675"/>
              <a:gd name="connsiteX6486" fmla="*/ 6132642 w 8267681"/>
              <a:gd name="connsiteY6486" fmla="*/ 4110321 h 6698675"/>
              <a:gd name="connsiteX6487" fmla="*/ 6097411 w 8267681"/>
              <a:gd name="connsiteY6487" fmla="*/ 4051601 h 6698675"/>
              <a:gd name="connsiteX6488" fmla="*/ 5958833 w 8267681"/>
              <a:gd name="connsiteY6488" fmla="*/ 3889535 h 6698675"/>
              <a:gd name="connsiteX6489" fmla="*/ 5975274 w 8267681"/>
              <a:gd name="connsiteY6489" fmla="*/ 3913023 h 6698675"/>
              <a:gd name="connsiteX6490" fmla="*/ 6026947 w 8267681"/>
              <a:gd name="connsiteY6490" fmla="*/ 4002277 h 6698675"/>
              <a:gd name="connsiteX6491" fmla="*/ 6019901 w 8267681"/>
              <a:gd name="connsiteY6491" fmla="*/ 4018718 h 6698675"/>
              <a:gd name="connsiteX6492" fmla="*/ 6031645 w 8267681"/>
              <a:gd name="connsiteY6492" fmla="*/ 4006974 h 6698675"/>
              <a:gd name="connsiteX6493" fmla="*/ 6104457 w 8267681"/>
              <a:gd name="connsiteY6493" fmla="*/ 4131460 h 6698675"/>
              <a:gd name="connsiteX6494" fmla="*/ 5914206 w 8267681"/>
              <a:gd name="connsiteY6494" fmla="*/ 3877792 h 6698675"/>
              <a:gd name="connsiteX6495" fmla="*/ 5940043 w 8267681"/>
              <a:gd name="connsiteY6495" fmla="*/ 3924767 h 6698675"/>
              <a:gd name="connsiteX6496" fmla="*/ 5909508 w 8267681"/>
              <a:gd name="connsiteY6496" fmla="*/ 3924767 h 6698675"/>
              <a:gd name="connsiteX6497" fmla="*/ 5914206 w 8267681"/>
              <a:gd name="connsiteY6497" fmla="*/ 3959999 h 6698675"/>
              <a:gd name="connsiteX6498" fmla="*/ 5930647 w 8267681"/>
              <a:gd name="connsiteY6498" fmla="*/ 3952952 h 6698675"/>
              <a:gd name="connsiteX6499" fmla="*/ 5925950 w 8267681"/>
              <a:gd name="connsiteY6499" fmla="*/ 3931814 h 6698675"/>
              <a:gd name="connsiteX6500" fmla="*/ 5940043 w 8267681"/>
              <a:gd name="connsiteY6500" fmla="*/ 3927116 h 6698675"/>
              <a:gd name="connsiteX6501" fmla="*/ 5979070 w 8267681"/>
              <a:gd name="connsiteY6501" fmla="*/ 3980180 h 6698675"/>
              <a:gd name="connsiteX6502" fmla="*/ 5974687 w 8267681"/>
              <a:gd name="connsiteY6502" fmla="*/ 3979376 h 6698675"/>
              <a:gd name="connsiteX6503" fmla="*/ 5963530 w 8267681"/>
              <a:gd name="connsiteY6503" fmla="*/ 3983487 h 6698675"/>
              <a:gd name="connsiteX6504" fmla="*/ 5982321 w 8267681"/>
              <a:gd name="connsiteY6504" fmla="*/ 3985835 h 6698675"/>
              <a:gd name="connsiteX6505" fmla="*/ 5982403 w 8267681"/>
              <a:gd name="connsiteY6505" fmla="*/ 3984712 h 6698675"/>
              <a:gd name="connsiteX6506" fmla="*/ 6006982 w 8267681"/>
              <a:gd name="connsiteY6506" fmla="*/ 4018131 h 6698675"/>
              <a:gd name="connsiteX6507" fmla="*/ 6066877 w 8267681"/>
              <a:gd name="connsiteY6507" fmla="*/ 4112669 h 6698675"/>
              <a:gd name="connsiteX6508" fmla="*/ 6069225 w 8267681"/>
              <a:gd name="connsiteY6508" fmla="*/ 4119716 h 6698675"/>
              <a:gd name="connsiteX6509" fmla="*/ 6073923 w 8267681"/>
              <a:gd name="connsiteY6509" fmla="*/ 4136157 h 6698675"/>
              <a:gd name="connsiteX6510" fmla="*/ 6071574 w 8267681"/>
              <a:gd name="connsiteY6510" fmla="*/ 4140855 h 6698675"/>
              <a:gd name="connsiteX6511" fmla="*/ 6073923 w 8267681"/>
              <a:gd name="connsiteY6511" fmla="*/ 4138506 h 6698675"/>
              <a:gd name="connsiteX6512" fmla="*/ 6102109 w 8267681"/>
              <a:gd name="connsiteY6512" fmla="*/ 4237155 h 6698675"/>
              <a:gd name="connsiteX6513" fmla="*/ 6045737 w 8267681"/>
              <a:gd name="connsiteY6513" fmla="*/ 4157296 h 6698675"/>
              <a:gd name="connsiteX6514" fmla="*/ 6048086 w 8267681"/>
              <a:gd name="connsiteY6514" fmla="*/ 4145552 h 6698675"/>
              <a:gd name="connsiteX6515" fmla="*/ 6041040 w 8267681"/>
              <a:gd name="connsiteY6515" fmla="*/ 4150250 h 6698675"/>
              <a:gd name="connsiteX6516" fmla="*/ 6038691 w 8267681"/>
              <a:gd name="connsiteY6516" fmla="*/ 4145552 h 6698675"/>
              <a:gd name="connsiteX6517" fmla="*/ 6031645 w 8267681"/>
              <a:gd name="connsiteY6517" fmla="*/ 4122064 h 6698675"/>
              <a:gd name="connsiteX6518" fmla="*/ 6033993 w 8267681"/>
              <a:gd name="connsiteY6518" fmla="*/ 4138506 h 6698675"/>
              <a:gd name="connsiteX6519" fmla="*/ 5911857 w 8267681"/>
              <a:gd name="connsiteY6519" fmla="*/ 3990533 h 6698675"/>
              <a:gd name="connsiteX6520" fmla="*/ 5909508 w 8267681"/>
              <a:gd name="connsiteY6520" fmla="*/ 3988184 h 6698675"/>
              <a:gd name="connsiteX6521" fmla="*/ 5850788 w 8267681"/>
              <a:gd name="connsiteY6521" fmla="*/ 3938860 h 6698675"/>
              <a:gd name="connsiteX6522" fmla="*/ 5841393 w 8267681"/>
              <a:gd name="connsiteY6522" fmla="*/ 3927116 h 6698675"/>
              <a:gd name="connsiteX6523" fmla="*/ 5839044 w 8267681"/>
              <a:gd name="connsiteY6523" fmla="*/ 3929465 h 6698675"/>
              <a:gd name="connsiteX6524" fmla="*/ 5822603 w 8267681"/>
              <a:gd name="connsiteY6524" fmla="*/ 3920070 h 6698675"/>
              <a:gd name="connsiteX6525" fmla="*/ 5831998 w 8267681"/>
              <a:gd name="connsiteY6525" fmla="*/ 3938860 h 6698675"/>
              <a:gd name="connsiteX6526" fmla="*/ 5810859 w 8267681"/>
              <a:gd name="connsiteY6526" fmla="*/ 3974091 h 6698675"/>
              <a:gd name="connsiteX6527" fmla="*/ 5787371 w 8267681"/>
              <a:gd name="connsiteY6527" fmla="*/ 3967045 h 6698675"/>
              <a:gd name="connsiteX6528" fmla="*/ 5806161 w 8267681"/>
              <a:gd name="connsiteY6528" fmla="*/ 3997579 h 6698675"/>
              <a:gd name="connsiteX6529" fmla="*/ 5815556 w 8267681"/>
              <a:gd name="connsiteY6529" fmla="*/ 4028113 h 6698675"/>
              <a:gd name="connsiteX6530" fmla="*/ 5817905 w 8267681"/>
              <a:gd name="connsiteY6530" fmla="*/ 4014021 h 6698675"/>
              <a:gd name="connsiteX6531" fmla="*/ 5928299 w 8267681"/>
              <a:gd name="connsiteY6531" fmla="*/ 4197225 h 6698675"/>
              <a:gd name="connsiteX6532" fmla="*/ 5918903 w 8267681"/>
              <a:gd name="connsiteY6532" fmla="*/ 4187830 h 6698675"/>
              <a:gd name="connsiteX6533" fmla="*/ 5937694 w 8267681"/>
              <a:gd name="connsiteY6533" fmla="*/ 4255945 h 6698675"/>
              <a:gd name="connsiteX6534" fmla="*/ 5930647 w 8267681"/>
              <a:gd name="connsiteY6534" fmla="*/ 4258294 h 6698675"/>
              <a:gd name="connsiteX6535" fmla="*/ 5935345 w 8267681"/>
              <a:gd name="connsiteY6535" fmla="*/ 4284130 h 6698675"/>
              <a:gd name="connsiteX6536" fmla="*/ 5935345 w 8267681"/>
              <a:gd name="connsiteY6536" fmla="*/ 4286479 h 6698675"/>
              <a:gd name="connsiteX6537" fmla="*/ 5782673 w 8267681"/>
              <a:gd name="connsiteY6537" fmla="*/ 4046904 h 6698675"/>
              <a:gd name="connsiteX6538" fmla="*/ 5907159 w 8267681"/>
              <a:gd name="connsiteY6538" fmla="*/ 4234806 h 6698675"/>
              <a:gd name="connsiteX6539" fmla="*/ 5853137 w 8267681"/>
              <a:gd name="connsiteY6539" fmla="*/ 4185481 h 6698675"/>
              <a:gd name="connsiteX6540" fmla="*/ 5874277 w 8267681"/>
              <a:gd name="connsiteY6540" fmla="*/ 4227759 h 6698675"/>
              <a:gd name="connsiteX6541" fmla="*/ 5820254 w 8267681"/>
              <a:gd name="connsiteY6541" fmla="*/ 4145552 h 6698675"/>
              <a:gd name="connsiteX6542" fmla="*/ 5747442 w 8267681"/>
              <a:gd name="connsiteY6542" fmla="*/ 4091530 h 6698675"/>
              <a:gd name="connsiteX6543" fmla="*/ 5700466 w 8267681"/>
              <a:gd name="connsiteY6543" fmla="*/ 4042206 h 6698675"/>
              <a:gd name="connsiteX6544" fmla="*/ 5693420 w 8267681"/>
              <a:gd name="connsiteY6544" fmla="*/ 4044555 h 6698675"/>
              <a:gd name="connsiteX6545" fmla="*/ 5705164 w 8267681"/>
              <a:gd name="connsiteY6545" fmla="*/ 4014021 h 6698675"/>
              <a:gd name="connsiteX6546" fmla="*/ 5705164 w 8267681"/>
              <a:gd name="connsiteY6546" fmla="*/ 3863699 h 6698675"/>
              <a:gd name="connsiteX6547" fmla="*/ 5669932 w 8267681"/>
              <a:gd name="connsiteY6547" fmla="*/ 3849606 h 6698675"/>
              <a:gd name="connsiteX6548" fmla="*/ 5674630 w 8267681"/>
              <a:gd name="connsiteY6548" fmla="*/ 3781492 h 6698675"/>
              <a:gd name="connsiteX6549" fmla="*/ 5681676 w 8267681"/>
              <a:gd name="connsiteY6549" fmla="*/ 3781492 h 6698675"/>
              <a:gd name="connsiteX6550" fmla="*/ 5688722 w 8267681"/>
              <a:gd name="connsiteY6550" fmla="*/ 3769748 h 6698675"/>
              <a:gd name="connsiteX6551" fmla="*/ 5770930 w 8267681"/>
              <a:gd name="connsiteY6551" fmla="*/ 3746260 h 6698675"/>
              <a:gd name="connsiteX6552" fmla="*/ 5782673 w 8267681"/>
              <a:gd name="connsiteY6552" fmla="*/ 3739213 h 6698675"/>
              <a:gd name="connsiteX6553" fmla="*/ 5789720 w 8267681"/>
              <a:gd name="connsiteY6553" fmla="*/ 3767399 h 6698675"/>
              <a:gd name="connsiteX6554" fmla="*/ 5789720 w 8267681"/>
              <a:gd name="connsiteY6554" fmla="*/ 3734516 h 6698675"/>
              <a:gd name="connsiteX6555" fmla="*/ 5839044 w 8267681"/>
              <a:gd name="connsiteY6555" fmla="*/ 3675796 h 6698675"/>
              <a:gd name="connsiteX6556" fmla="*/ 5848439 w 8267681"/>
              <a:gd name="connsiteY6556" fmla="*/ 3678145 h 6698675"/>
              <a:gd name="connsiteX6557" fmla="*/ 5808510 w 8267681"/>
              <a:gd name="connsiteY6557" fmla="*/ 3652309 h 6698675"/>
              <a:gd name="connsiteX6558" fmla="*/ 5820254 w 8267681"/>
              <a:gd name="connsiteY6558" fmla="*/ 3614728 h 6698675"/>
              <a:gd name="connsiteX6559" fmla="*/ 5876626 w 8267681"/>
              <a:gd name="connsiteY6559" fmla="*/ 3657006 h 6698675"/>
              <a:gd name="connsiteX6560" fmla="*/ 5907159 w 8267681"/>
              <a:gd name="connsiteY6560" fmla="*/ 3652309 h 6698675"/>
              <a:gd name="connsiteX6561" fmla="*/ 5829649 w 8267681"/>
              <a:gd name="connsiteY6561" fmla="*/ 3591241 h 6698675"/>
              <a:gd name="connsiteX6562" fmla="*/ 5829649 w 8267681"/>
              <a:gd name="connsiteY6562" fmla="*/ 3588892 h 6698675"/>
              <a:gd name="connsiteX6563" fmla="*/ 5864882 w 8267681"/>
              <a:gd name="connsiteY6563" fmla="*/ 3565404 h 6698675"/>
              <a:gd name="connsiteX6564" fmla="*/ 5881323 w 8267681"/>
              <a:gd name="connsiteY6564" fmla="*/ 3577148 h 6698675"/>
              <a:gd name="connsiteX6565" fmla="*/ 5888370 w 8267681"/>
              <a:gd name="connsiteY6565" fmla="*/ 3584194 h 6698675"/>
              <a:gd name="connsiteX6566" fmla="*/ 5925950 w 8267681"/>
              <a:gd name="connsiteY6566" fmla="*/ 3617077 h 6698675"/>
              <a:gd name="connsiteX6567" fmla="*/ 5928299 w 8267681"/>
              <a:gd name="connsiteY6567" fmla="*/ 3614728 h 6698675"/>
              <a:gd name="connsiteX6568" fmla="*/ 5890718 w 8267681"/>
              <a:gd name="connsiteY6568" fmla="*/ 3584194 h 6698675"/>
              <a:gd name="connsiteX6569" fmla="*/ 5895416 w 8267681"/>
              <a:gd name="connsiteY6569" fmla="*/ 3581845 h 6698675"/>
              <a:gd name="connsiteX6570" fmla="*/ 5893067 w 8267681"/>
              <a:gd name="connsiteY6570" fmla="*/ 3553660 h 6698675"/>
              <a:gd name="connsiteX6571" fmla="*/ 5921252 w 8267681"/>
              <a:gd name="connsiteY6571" fmla="*/ 3572450 h 6698675"/>
              <a:gd name="connsiteX6572" fmla="*/ 5937694 w 8267681"/>
              <a:gd name="connsiteY6572" fmla="*/ 3598287 h 6698675"/>
              <a:gd name="connsiteX6573" fmla="*/ 5944740 w 8267681"/>
              <a:gd name="connsiteY6573" fmla="*/ 3586543 h 6698675"/>
              <a:gd name="connsiteX6574" fmla="*/ 5949438 w 8267681"/>
              <a:gd name="connsiteY6574" fmla="*/ 3588892 h 6698675"/>
              <a:gd name="connsiteX6575" fmla="*/ 5954135 w 8267681"/>
              <a:gd name="connsiteY6575" fmla="*/ 3586543 h 6698675"/>
              <a:gd name="connsiteX6576" fmla="*/ 5956484 w 8267681"/>
              <a:gd name="connsiteY6576" fmla="*/ 3593589 h 6698675"/>
              <a:gd name="connsiteX6577" fmla="*/ 5958833 w 8267681"/>
              <a:gd name="connsiteY6577" fmla="*/ 3605333 h 6698675"/>
              <a:gd name="connsiteX6578" fmla="*/ 5963530 w 8267681"/>
              <a:gd name="connsiteY6578" fmla="*/ 3598287 h 6698675"/>
              <a:gd name="connsiteX6579" fmla="*/ 5970577 w 8267681"/>
              <a:gd name="connsiteY6579" fmla="*/ 3602985 h 6698675"/>
              <a:gd name="connsiteX6580" fmla="*/ 5982321 w 8267681"/>
              <a:gd name="connsiteY6580" fmla="*/ 3612380 h 6698675"/>
              <a:gd name="connsiteX6581" fmla="*/ 5982321 w 8267681"/>
              <a:gd name="connsiteY6581" fmla="*/ 3565404 h 6698675"/>
              <a:gd name="connsiteX6582" fmla="*/ 5998762 w 8267681"/>
              <a:gd name="connsiteY6582" fmla="*/ 3572450 h 6698675"/>
              <a:gd name="connsiteX6583" fmla="*/ 5989367 w 8267681"/>
              <a:gd name="connsiteY6583" fmla="*/ 3548963 h 6698675"/>
              <a:gd name="connsiteX6584" fmla="*/ 5961181 w 8267681"/>
              <a:gd name="connsiteY6584" fmla="*/ 3570101 h 6698675"/>
              <a:gd name="connsiteX6585" fmla="*/ 5956484 w 8267681"/>
              <a:gd name="connsiteY6585" fmla="*/ 3534870 h 6698675"/>
              <a:gd name="connsiteX6586" fmla="*/ 5954135 w 8267681"/>
              <a:gd name="connsiteY6586" fmla="*/ 3574799 h 6698675"/>
              <a:gd name="connsiteX6587" fmla="*/ 5951786 w 8267681"/>
              <a:gd name="connsiteY6587" fmla="*/ 3532521 h 6698675"/>
              <a:gd name="connsiteX6588" fmla="*/ 5935345 w 8267681"/>
              <a:gd name="connsiteY6588" fmla="*/ 3523126 h 6698675"/>
              <a:gd name="connsiteX6589" fmla="*/ 5940043 w 8267681"/>
              <a:gd name="connsiteY6589" fmla="*/ 3516079 h 6698675"/>
              <a:gd name="connsiteX6590" fmla="*/ 5925950 w 8267681"/>
              <a:gd name="connsiteY6590" fmla="*/ 3509033 h 6698675"/>
              <a:gd name="connsiteX6591" fmla="*/ 5916555 w 8267681"/>
              <a:gd name="connsiteY6591" fmla="*/ 3501987 h 6698675"/>
              <a:gd name="connsiteX6592" fmla="*/ 5909508 w 8267681"/>
              <a:gd name="connsiteY6592" fmla="*/ 3462058 h 6698675"/>
              <a:gd name="connsiteX6593" fmla="*/ 5904811 w 8267681"/>
              <a:gd name="connsiteY6593" fmla="*/ 3473802 h 6698675"/>
              <a:gd name="connsiteX6594" fmla="*/ 5904811 w 8267681"/>
              <a:gd name="connsiteY6594" fmla="*/ 3492592 h 6698675"/>
              <a:gd name="connsiteX6595" fmla="*/ 5867230 w 8267681"/>
              <a:gd name="connsiteY6595" fmla="*/ 3459709 h 6698675"/>
              <a:gd name="connsiteX6596" fmla="*/ 5848439 w 8267681"/>
              <a:gd name="connsiteY6596" fmla="*/ 3440919 h 6698675"/>
              <a:gd name="connsiteX6597" fmla="*/ 5862532 w 8267681"/>
              <a:gd name="connsiteY6597" fmla="*/ 3443268 h 6698675"/>
              <a:gd name="connsiteX6598" fmla="*/ 5871928 w 8267681"/>
              <a:gd name="connsiteY6598" fmla="*/ 3375153 h 6698675"/>
              <a:gd name="connsiteX6599" fmla="*/ 5916555 w 8267681"/>
              <a:gd name="connsiteY6599" fmla="*/ 3405687 h 6698675"/>
              <a:gd name="connsiteX6600" fmla="*/ 5975274 w 8267681"/>
              <a:gd name="connsiteY6600" fmla="*/ 3447965 h 6698675"/>
              <a:gd name="connsiteX6601" fmla="*/ 6031645 w 8267681"/>
              <a:gd name="connsiteY6601" fmla="*/ 3487894 h 6698675"/>
              <a:gd name="connsiteX6602" fmla="*/ 6048086 w 8267681"/>
              <a:gd name="connsiteY6602" fmla="*/ 3501987 h 6698675"/>
              <a:gd name="connsiteX6603" fmla="*/ 6019901 w 8267681"/>
              <a:gd name="connsiteY6603" fmla="*/ 3462058 h 6698675"/>
              <a:gd name="connsiteX6604" fmla="*/ 5968228 w 8267681"/>
              <a:gd name="connsiteY6604" fmla="*/ 3419780 h 6698675"/>
              <a:gd name="connsiteX6605" fmla="*/ 5942391 w 8267681"/>
              <a:gd name="connsiteY6605" fmla="*/ 3400989 h 6698675"/>
              <a:gd name="connsiteX6606" fmla="*/ 5947089 w 8267681"/>
              <a:gd name="connsiteY6606" fmla="*/ 3400989 h 6698675"/>
              <a:gd name="connsiteX6607" fmla="*/ 5947089 w 8267681"/>
              <a:gd name="connsiteY6607" fmla="*/ 3344658 h 6698675"/>
              <a:gd name="connsiteX6608" fmla="*/ 5954135 w 8267681"/>
              <a:gd name="connsiteY6608" fmla="*/ 3351665 h 6698675"/>
              <a:gd name="connsiteX6609" fmla="*/ 5956484 w 8267681"/>
              <a:gd name="connsiteY6609" fmla="*/ 3377502 h 6698675"/>
              <a:gd name="connsiteX6610" fmla="*/ 5963530 w 8267681"/>
              <a:gd name="connsiteY6610" fmla="*/ 3358711 h 6698675"/>
              <a:gd name="connsiteX6611" fmla="*/ 5979972 w 8267681"/>
              <a:gd name="connsiteY6611" fmla="*/ 3372804 h 6698675"/>
              <a:gd name="connsiteX6612" fmla="*/ 5982321 w 8267681"/>
              <a:gd name="connsiteY6612" fmla="*/ 3415082 h 6698675"/>
              <a:gd name="connsiteX6613" fmla="*/ 5987018 w 8267681"/>
              <a:gd name="connsiteY6613" fmla="*/ 3377502 h 6698675"/>
              <a:gd name="connsiteX6614" fmla="*/ 6033993 w 8267681"/>
              <a:gd name="connsiteY6614" fmla="*/ 3412733 h 6698675"/>
              <a:gd name="connsiteX6615" fmla="*/ 5998762 w 8267681"/>
              <a:gd name="connsiteY6615" fmla="*/ 3398641 h 6698675"/>
              <a:gd name="connsiteX6616" fmla="*/ 6071574 w 8267681"/>
              <a:gd name="connsiteY6616" fmla="*/ 3431524 h 6698675"/>
              <a:gd name="connsiteX6617" fmla="*/ 6045737 w 8267681"/>
              <a:gd name="connsiteY6617" fmla="*/ 3391301 h 6698675"/>
              <a:gd name="connsiteX6618" fmla="*/ 6025038 w 8267681"/>
              <a:gd name="connsiteY6618" fmla="*/ 3369308 h 6698675"/>
              <a:gd name="connsiteX6619" fmla="*/ 6031278 w 8267681"/>
              <a:gd name="connsiteY6619" fmla="*/ 3365905 h 6698675"/>
              <a:gd name="connsiteX6620" fmla="*/ 6029296 w 8267681"/>
              <a:gd name="connsiteY6620" fmla="*/ 3354014 h 6698675"/>
              <a:gd name="connsiteX6621" fmla="*/ 6020537 w 8267681"/>
              <a:gd name="connsiteY6621" fmla="*/ 3364525 h 6698675"/>
              <a:gd name="connsiteX6622" fmla="*/ 6012855 w 8267681"/>
              <a:gd name="connsiteY6622" fmla="*/ 3356363 h 6698675"/>
              <a:gd name="connsiteX6623" fmla="*/ 6015203 w 8267681"/>
              <a:gd name="connsiteY6623" fmla="*/ 3335256 h 6698675"/>
              <a:gd name="connsiteX6624" fmla="*/ 6033993 w 8267681"/>
              <a:gd name="connsiteY6624" fmla="*/ 3337608 h 6698675"/>
              <a:gd name="connsiteX6625" fmla="*/ 6048086 w 8267681"/>
              <a:gd name="connsiteY6625" fmla="*/ 3250742 h 6698675"/>
              <a:gd name="connsiteX6626" fmla="*/ 6071574 w 8267681"/>
              <a:gd name="connsiteY6626" fmla="*/ 3269553 h 6698675"/>
              <a:gd name="connsiteX6627" fmla="*/ 6048086 w 8267681"/>
              <a:gd name="connsiteY6627" fmla="*/ 3238992 h 6698675"/>
              <a:gd name="connsiteX6628" fmla="*/ 6050435 w 8267681"/>
              <a:gd name="connsiteY6628" fmla="*/ 3215498 h 6698675"/>
              <a:gd name="connsiteX6629" fmla="*/ 6095062 w 8267681"/>
              <a:gd name="connsiteY6629" fmla="*/ 3173221 h 6698675"/>
              <a:gd name="connsiteX6630" fmla="*/ 6095062 w 8267681"/>
              <a:gd name="connsiteY6630" fmla="*/ 3180267 h 6698675"/>
              <a:gd name="connsiteX6631" fmla="*/ 6057481 w 8267681"/>
              <a:gd name="connsiteY6631" fmla="*/ 3220195 h 6698675"/>
              <a:gd name="connsiteX6632" fmla="*/ 6097411 w 8267681"/>
              <a:gd name="connsiteY6632" fmla="*/ 3187313 h 6698675"/>
              <a:gd name="connsiteX6633" fmla="*/ 6111503 w 8267681"/>
              <a:gd name="connsiteY6633" fmla="*/ 3170870 h 6698675"/>
              <a:gd name="connsiteX6634" fmla="*/ 6118550 w 8267681"/>
              <a:gd name="connsiteY6634" fmla="*/ 3161471 h 6698675"/>
              <a:gd name="connsiteX6635" fmla="*/ 5334058 w 8267681"/>
              <a:gd name="connsiteY6635" fmla="*/ 3161439 h 6698675"/>
              <a:gd name="connsiteX6636" fmla="*/ 5336407 w 8267681"/>
              <a:gd name="connsiteY6636" fmla="*/ 3161439 h 6698675"/>
              <a:gd name="connsiteX6637" fmla="*/ 5336407 w 8267681"/>
              <a:gd name="connsiteY6637" fmla="*/ 3163787 h 6698675"/>
              <a:gd name="connsiteX6638" fmla="*/ 5338755 w 8267681"/>
              <a:gd name="connsiteY6638" fmla="*/ 3163787 h 6698675"/>
              <a:gd name="connsiteX6639" fmla="*/ 5334058 w 8267681"/>
              <a:gd name="connsiteY6639" fmla="*/ 3166138 h 6698675"/>
              <a:gd name="connsiteX6640" fmla="*/ 6090365 w 8267681"/>
              <a:gd name="connsiteY6640" fmla="*/ 3159125 h 6698675"/>
              <a:gd name="connsiteX6641" fmla="*/ 6052784 w 8267681"/>
              <a:gd name="connsiteY6641" fmla="*/ 3208452 h 6698675"/>
              <a:gd name="connsiteX6642" fmla="*/ 6055133 w 8267681"/>
              <a:gd name="connsiteY6642" fmla="*/ 3182614 h 6698675"/>
              <a:gd name="connsiteX6643" fmla="*/ 6057481 w 8267681"/>
              <a:gd name="connsiteY6643" fmla="*/ 3177914 h 6698675"/>
              <a:gd name="connsiteX6644" fmla="*/ 6055133 w 8267681"/>
              <a:gd name="connsiteY6644" fmla="*/ 3189661 h 6698675"/>
              <a:gd name="connsiteX6645" fmla="*/ 6090365 w 8267681"/>
              <a:gd name="connsiteY6645" fmla="*/ 3159125 h 6698675"/>
              <a:gd name="connsiteX6646" fmla="*/ 5218968 w 8267681"/>
              <a:gd name="connsiteY6646" fmla="*/ 3159096 h 6698675"/>
              <a:gd name="connsiteX6647" fmla="*/ 5223665 w 8267681"/>
              <a:gd name="connsiteY6647" fmla="*/ 3163793 h 6698675"/>
              <a:gd name="connsiteX6648" fmla="*/ 5221316 w 8267681"/>
              <a:gd name="connsiteY6648" fmla="*/ 3163793 h 6698675"/>
              <a:gd name="connsiteX6649" fmla="*/ 5218968 w 8267681"/>
              <a:gd name="connsiteY6649" fmla="*/ 3159096 h 6698675"/>
              <a:gd name="connsiteX6650" fmla="*/ 5568936 w 8267681"/>
              <a:gd name="connsiteY6650" fmla="*/ 3159076 h 6698675"/>
              <a:gd name="connsiteX6651" fmla="*/ 5568936 w 8267681"/>
              <a:gd name="connsiteY6651" fmla="*/ 3161428 h 6698675"/>
              <a:gd name="connsiteX6652" fmla="*/ 5566587 w 8267681"/>
              <a:gd name="connsiteY6652" fmla="*/ 3163774 h 6698675"/>
              <a:gd name="connsiteX6653" fmla="*/ 5566587 w 8267681"/>
              <a:gd name="connsiteY6653" fmla="*/ 3161428 h 6698675"/>
              <a:gd name="connsiteX6654" fmla="*/ 5289432 w 8267681"/>
              <a:gd name="connsiteY6654" fmla="*/ 3156750 h 6698675"/>
              <a:gd name="connsiteX6655" fmla="*/ 5291780 w 8267681"/>
              <a:gd name="connsiteY6655" fmla="*/ 3163796 h 6698675"/>
              <a:gd name="connsiteX6656" fmla="*/ 5287083 w 8267681"/>
              <a:gd name="connsiteY6656" fmla="*/ 3161448 h 6698675"/>
              <a:gd name="connsiteX6657" fmla="*/ 5289432 w 8267681"/>
              <a:gd name="connsiteY6657" fmla="*/ 3159098 h 6698675"/>
              <a:gd name="connsiteX6658" fmla="*/ 5289432 w 8267681"/>
              <a:gd name="connsiteY6658" fmla="*/ 3156750 h 6698675"/>
              <a:gd name="connsiteX6659" fmla="*/ 5935346 w 8267681"/>
              <a:gd name="connsiteY6659" fmla="*/ 3154423 h 6698675"/>
              <a:gd name="connsiteX6660" fmla="*/ 5925951 w 8267681"/>
              <a:gd name="connsiteY6660" fmla="*/ 3166171 h 6698675"/>
              <a:gd name="connsiteX6661" fmla="*/ 5932214 w 8267681"/>
              <a:gd name="connsiteY6661" fmla="*/ 3174521 h 6698675"/>
              <a:gd name="connsiteX6662" fmla="*/ 5930648 w 8267681"/>
              <a:gd name="connsiteY6662" fmla="*/ 3175561 h 6698675"/>
              <a:gd name="connsiteX6663" fmla="*/ 5931465 w 8267681"/>
              <a:gd name="connsiteY6663" fmla="*/ 3176791 h 6698675"/>
              <a:gd name="connsiteX6664" fmla="*/ 5921253 w 8267681"/>
              <a:gd name="connsiteY6664" fmla="*/ 3184961 h 6698675"/>
              <a:gd name="connsiteX6665" fmla="*/ 5914207 w 8267681"/>
              <a:gd name="connsiteY6665" fmla="*/ 3184961 h 6698675"/>
              <a:gd name="connsiteX6666" fmla="*/ 5904812 w 8267681"/>
              <a:gd name="connsiteY6666" fmla="*/ 3184961 h 6698675"/>
              <a:gd name="connsiteX6667" fmla="*/ 5904812 w 8267681"/>
              <a:gd name="connsiteY6667" fmla="*/ 3187311 h 6698675"/>
              <a:gd name="connsiteX6668" fmla="*/ 5914207 w 8267681"/>
              <a:gd name="connsiteY6668" fmla="*/ 3187311 h 6698675"/>
              <a:gd name="connsiteX6669" fmla="*/ 5914207 w 8267681"/>
              <a:gd name="connsiteY6669" fmla="*/ 3194359 h 6698675"/>
              <a:gd name="connsiteX6670" fmla="*/ 5923602 w 8267681"/>
              <a:gd name="connsiteY6670" fmla="*/ 3192007 h 6698675"/>
              <a:gd name="connsiteX6671" fmla="*/ 5932997 w 8267681"/>
              <a:gd name="connsiteY6671" fmla="*/ 3196705 h 6698675"/>
              <a:gd name="connsiteX6672" fmla="*/ 5930648 w 8267681"/>
              <a:gd name="connsiteY6672" fmla="*/ 3189661 h 6698675"/>
              <a:gd name="connsiteX6673" fmla="*/ 5940043 w 8267681"/>
              <a:gd name="connsiteY6673" fmla="*/ 3189661 h 6698675"/>
              <a:gd name="connsiteX6674" fmla="*/ 5931465 w 8267681"/>
              <a:gd name="connsiteY6674" fmla="*/ 3176791 h 6698675"/>
              <a:gd name="connsiteX6675" fmla="*/ 5932997 w 8267681"/>
              <a:gd name="connsiteY6675" fmla="*/ 3175561 h 6698675"/>
              <a:gd name="connsiteX6676" fmla="*/ 5932214 w 8267681"/>
              <a:gd name="connsiteY6676" fmla="*/ 3174521 h 6698675"/>
              <a:gd name="connsiteX6677" fmla="*/ 5937694 w 8267681"/>
              <a:gd name="connsiteY6677" fmla="*/ 3170868 h 6698675"/>
              <a:gd name="connsiteX6678" fmla="*/ 5949438 w 8267681"/>
              <a:gd name="connsiteY6678" fmla="*/ 3184961 h 6698675"/>
              <a:gd name="connsiteX6679" fmla="*/ 5963531 w 8267681"/>
              <a:gd name="connsiteY6679" fmla="*/ 3182612 h 6698675"/>
              <a:gd name="connsiteX6680" fmla="*/ 5963531 w 8267681"/>
              <a:gd name="connsiteY6680" fmla="*/ 3180267 h 6698675"/>
              <a:gd name="connsiteX6681" fmla="*/ 5949438 w 8267681"/>
              <a:gd name="connsiteY6681" fmla="*/ 3177912 h 6698675"/>
              <a:gd name="connsiteX6682" fmla="*/ 5951787 w 8267681"/>
              <a:gd name="connsiteY6682" fmla="*/ 3170868 h 6698675"/>
              <a:gd name="connsiteX6683" fmla="*/ 5958834 w 8267681"/>
              <a:gd name="connsiteY6683" fmla="*/ 3175561 h 6698675"/>
              <a:gd name="connsiteX6684" fmla="*/ 5961182 w 8267681"/>
              <a:gd name="connsiteY6684" fmla="*/ 3161471 h 6698675"/>
              <a:gd name="connsiteX6685" fmla="*/ 5951787 w 8267681"/>
              <a:gd name="connsiteY6685" fmla="*/ 3161471 h 6698675"/>
              <a:gd name="connsiteX6686" fmla="*/ 5956485 w 8267681"/>
              <a:gd name="connsiteY6686" fmla="*/ 3168520 h 6698675"/>
              <a:gd name="connsiteX6687" fmla="*/ 5951787 w 8267681"/>
              <a:gd name="connsiteY6687" fmla="*/ 3170868 h 6698675"/>
              <a:gd name="connsiteX6688" fmla="*/ 5944741 w 8267681"/>
              <a:gd name="connsiteY6688" fmla="*/ 3163818 h 6698675"/>
              <a:gd name="connsiteX6689" fmla="*/ 5935346 w 8267681"/>
              <a:gd name="connsiteY6689" fmla="*/ 3170868 h 6698675"/>
              <a:gd name="connsiteX6690" fmla="*/ 5932997 w 8267681"/>
              <a:gd name="connsiteY6690" fmla="*/ 3166171 h 6698675"/>
              <a:gd name="connsiteX6691" fmla="*/ 5940043 w 8267681"/>
              <a:gd name="connsiteY6691" fmla="*/ 3156772 h 6698675"/>
              <a:gd name="connsiteX6692" fmla="*/ 5848441 w 8267681"/>
              <a:gd name="connsiteY6692" fmla="*/ 3154423 h 6698675"/>
              <a:gd name="connsiteX6693" fmla="*/ 5848441 w 8267681"/>
              <a:gd name="connsiteY6693" fmla="*/ 3161471 h 6698675"/>
              <a:gd name="connsiteX6694" fmla="*/ 5855487 w 8267681"/>
              <a:gd name="connsiteY6694" fmla="*/ 3161471 h 6698675"/>
              <a:gd name="connsiteX6695" fmla="*/ 5559541 w 8267681"/>
              <a:gd name="connsiteY6695" fmla="*/ 3154402 h 6698675"/>
              <a:gd name="connsiteX6696" fmla="*/ 5559541 w 8267681"/>
              <a:gd name="connsiteY6696" fmla="*/ 3161450 h 6698675"/>
              <a:gd name="connsiteX6697" fmla="*/ 5554843 w 8267681"/>
              <a:gd name="connsiteY6697" fmla="*/ 3159101 h 6698675"/>
              <a:gd name="connsiteX6698" fmla="*/ 5263595 w 8267681"/>
              <a:gd name="connsiteY6698" fmla="*/ 3154399 h 6698675"/>
              <a:gd name="connsiteX6699" fmla="*/ 5268292 w 8267681"/>
              <a:gd name="connsiteY6699" fmla="*/ 3159096 h 6698675"/>
              <a:gd name="connsiteX6700" fmla="*/ 5263595 w 8267681"/>
              <a:gd name="connsiteY6700" fmla="*/ 3156747 h 6698675"/>
              <a:gd name="connsiteX6701" fmla="*/ 5263595 w 8267681"/>
              <a:gd name="connsiteY6701" fmla="*/ 3154399 h 6698675"/>
              <a:gd name="connsiteX6702" fmla="*/ 5216619 w 8267681"/>
              <a:gd name="connsiteY6702" fmla="*/ 3154371 h 6698675"/>
              <a:gd name="connsiteX6703" fmla="*/ 5218968 w 8267681"/>
              <a:gd name="connsiteY6703" fmla="*/ 3156720 h 6698675"/>
              <a:gd name="connsiteX6704" fmla="*/ 5216619 w 8267681"/>
              <a:gd name="connsiteY6704" fmla="*/ 3156720 h 6698675"/>
              <a:gd name="connsiteX6705" fmla="*/ 5282385 w 8267681"/>
              <a:gd name="connsiteY6705" fmla="*/ 3154370 h 6698675"/>
              <a:gd name="connsiteX6706" fmla="*/ 5282385 w 8267681"/>
              <a:gd name="connsiteY6706" fmla="*/ 3156717 h 6698675"/>
              <a:gd name="connsiteX6707" fmla="*/ 5280036 w 8267681"/>
              <a:gd name="connsiteY6707" fmla="*/ 3156717 h 6698675"/>
              <a:gd name="connsiteX6708" fmla="*/ 5561890 w 8267681"/>
              <a:gd name="connsiteY6708" fmla="*/ 3152079 h 6698675"/>
              <a:gd name="connsiteX6709" fmla="*/ 5568936 w 8267681"/>
              <a:gd name="connsiteY6709" fmla="*/ 3152079 h 6698675"/>
              <a:gd name="connsiteX6710" fmla="*/ 5561890 w 8267681"/>
              <a:gd name="connsiteY6710" fmla="*/ 3161471 h 6698675"/>
              <a:gd name="connsiteX6711" fmla="*/ 5918904 w 8267681"/>
              <a:gd name="connsiteY6711" fmla="*/ 3149728 h 6698675"/>
              <a:gd name="connsiteX6712" fmla="*/ 5914207 w 8267681"/>
              <a:gd name="connsiteY6712" fmla="*/ 3154423 h 6698675"/>
              <a:gd name="connsiteX6713" fmla="*/ 5911858 w 8267681"/>
              <a:gd name="connsiteY6713" fmla="*/ 3163818 h 6698675"/>
              <a:gd name="connsiteX6714" fmla="*/ 5921253 w 8267681"/>
              <a:gd name="connsiteY6714" fmla="*/ 3163818 h 6698675"/>
              <a:gd name="connsiteX6715" fmla="*/ 5918904 w 8267681"/>
              <a:gd name="connsiteY6715" fmla="*/ 3149728 h 6698675"/>
              <a:gd name="connsiteX6716" fmla="*/ 4380453 w 8267681"/>
              <a:gd name="connsiteY6716" fmla="*/ 3149725 h 6698675"/>
              <a:gd name="connsiteX6717" fmla="*/ 4373407 w 8267681"/>
              <a:gd name="connsiteY6717" fmla="*/ 3166171 h 6698675"/>
              <a:gd name="connsiteX6718" fmla="*/ 4385151 w 8267681"/>
              <a:gd name="connsiteY6718" fmla="*/ 3170868 h 6698675"/>
              <a:gd name="connsiteX6719" fmla="*/ 4399243 w 8267681"/>
              <a:gd name="connsiteY6719" fmla="*/ 3156772 h 6698675"/>
              <a:gd name="connsiteX6720" fmla="*/ 4380453 w 8267681"/>
              <a:gd name="connsiteY6720" fmla="*/ 3149725 h 6698675"/>
              <a:gd name="connsiteX6721" fmla="*/ 5350499 w 8267681"/>
              <a:gd name="connsiteY6721" fmla="*/ 3149718 h 6698675"/>
              <a:gd name="connsiteX6722" fmla="*/ 5350499 w 8267681"/>
              <a:gd name="connsiteY6722" fmla="*/ 3152069 h 6698675"/>
              <a:gd name="connsiteX6723" fmla="*/ 5350499 w 8267681"/>
              <a:gd name="connsiteY6723" fmla="*/ 3156764 h 6698675"/>
              <a:gd name="connsiteX6724" fmla="*/ 5352848 w 8267681"/>
              <a:gd name="connsiteY6724" fmla="*/ 3161460 h 6698675"/>
              <a:gd name="connsiteX6725" fmla="*/ 5352848 w 8267681"/>
              <a:gd name="connsiteY6725" fmla="*/ 3163811 h 6698675"/>
              <a:gd name="connsiteX6726" fmla="*/ 5350499 w 8267681"/>
              <a:gd name="connsiteY6726" fmla="*/ 3163811 h 6698675"/>
              <a:gd name="connsiteX6727" fmla="*/ 5350499 w 8267681"/>
              <a:gd name="connsiteY6727" fmla="*/ 3161460 h 6698675"/>
              <a:gd name="connsiteX6728" fmla="*/ 5348151 w 8267681"/>
              <a:gd name="connsiteY6728" fmla="*/ 3161460 h 6698675"/>
              <a:gd name="connsiteX6729" fmla="*/ 5345802 w 8267681"/>
              <a:gd name="connsiteY6729" fmla="*/ 3159115 h 6698675"/>
              <a:gd name="connsiteX6730" fmla="*/ 5343453 w 8267681"/>
              <a:gd name="connsiteY6730" fmla="*/ 3159115 h 6698675"/>
              <a:gd name="connsiteX6731" fmla="*/ 5348151 w 8267681"/>
              <a:gd name="connsiteY6731" fmla="*/ 3154413 h 6698675"/>
              <a:gd name="connsiteX6732" fmla="*/ 5350499 w 8267681"/>
              <a:gd name="connsiteY6732" fmla="*/ 3149718 h 6698675"/>
              <a:gd name="connsiteX6733" fmla="*/ 5211921 w 8267681"/>
              <a:gd name="connsiteY6733" fmla="*/ 3149715 h 6698675"/>
              <a:gd name="connsiteX6734" fmla="*/ 5214270 w 8267681"/>
              <a:gd name="connsiteY6734" fmla="*/ 3152063 h 6698675"/>
              <a:gd name="connsiteX6735" fmla="*/ 5211921 w 8267681"/>
              <a:gd name="connsiteY6735" fmla="*/ 3154410 h 6698675"/>
              <a:gd name="connsiteX6736" fmla="*/ 5211921 w 8267681"/>
              <a:gd name="connsiteY6736" fmla="*/ 3159109 h 6698675"/>
              <a:gd name="connsiteX6737" fmla="*/ 5207224 w 8267681"/>
              <a:gd name="connsiteY6737" fmla="*/ 3159109 h 6698675"/>
              <a:gd name="connsiteX6738" fmla="*/ 5211921 w 8267681"/>
              <a:gd name="connsiteY6738" fmla="*/ 3152063 h 6698675"/>
              <a:gd name="connsiteX6739" fmla="*/ 5211921 w 8267681"/>
              <a:gd name="connsiteY6739" fmla="*/ 3149715 h 6698675"/>
              <a:gd name="connsiteX6740" fmla="*/ 5193131 w 8267681"/>
              <a:gd name="connsiteY6740" fmla="*/ 3149713 h 6698675"/>
              <a:gd name="connsiteX6741" fmla="*/ 5195480 w 8267681"/>
              <a:gd name="connsiteY6741" fmla="*/ 3152063 h 6698675"/>
              <a:gd name="connsiteX6742" fmla="*/ 5195480 w 8267681"/>
              <a:gd name="connsiteY6742" fmla="*/ 3156759 h 6698675"/>
              <a:gd name="connsiteX6743" fmla="*/ 5190782 w 8267681"/>
              <a:gd name="connsiteY6743" fmla="*/ 3154407 h 6698675"/>
              <a:gd name="connsiteX6744" fmla="*/ 5188434 w 8267681"/>
              <a:gd name="connsiteY6744" fmla="*/ 3152063 h 6698675"/>
              <a:gd name="connsiteX6745" fmla="*/ 5193131 w 8267681"/>
              <a:gd name="connsiteY6745" fmla="*/ 3149713 h 6698675"/>
              <a:gd name="connsiteX6746" fmla="*/ 5357546 w 8267681"/>
              <a:gd name="connsiteY6746" fmla="*/ 3149697 h 6698675"/>
              <a:gd name="connsiteX6747" fmla="*/ 5359895 w 8267681"/>
              <a:gd name="connsiteY6747" fmla="*/ 3152047 h 6698675"/>
              <a:gd name="connsiteX6748" fmla="*/ 5357546 w 8267681"/>
              <a:gd name="connsiteY6748" fmla="*/ 3154393 h 6698675"/>
              <a:gd name="connsiteX6749" fmla="*/ 5275339 w 8267681"/>
              <a:gd name="connsiteY6749" fmla="*/ 3149685 h 6698675"/>
              <a:gd name="connsiteX6750" fmla="*/ 5275339 w 8267681"/>
              <a:gd name="connsiteY6750" fmla="*/ 3152033 h 6698675"/>
              <a:gd name="connsiteX6751" fmla="*/ 5275339 w 8267681"/>
              <a:gd name="connsiteY6751" fmla="*/ 3154381 h 6698675"/>
              <a:gd name="connsiteX6752" fmla="*/ 5272990 w 8267681"/>
              <a:gd name="connsiteY6752" fmla="*/ 3152033 h 6698675"/>
              <a:gd name="connsiteX6753" fmla="*/ 5176690 w 8267681"/>
              <a:gd name="connsiteY6753" fmla="*/ 3149671 h 6698675"/>
              <a:gd name="connsiteX6754" fmla="*/ 5179038 w 8267681"/>
              <a:gd name="connsiteY6754" fmla="*/ 3152020 h 6698675"/>
              <a:gd name="connsiteX6755" fmla="*/ 5176690 w 8267681"/>
              <a:gd name="connsiteY6755" fmla="*/ 3152020 h 6698675"/>
              <a:gd name="connsiteX6756" fmla="*/ 4124437 w 8267681"/>
              <a:gd name="connsiteY6756" fmla="*/ 3147378 h 6698675"/>
              <a:gd name="connsiteX6757" fmla="*/ 4068066 w 8267681"/>
              <a:gd name="connsiteY6757" fmla="*/ 3220195 h 6698675"/>
              <a:gd name="connsiteX6758" fmla="*/ 4117390 w 8267681"/>
              <a:gd name="connsiteY6758" fmla="*/ 3253091 h 6698675"/>
              <a:gd name="connsiteX6759" fmla="*/ 4119738 w 8267681"/>
              <a:gd name="connsiteY6759" fmla="*/ 3260142 h 6698675"/>
              <a:gd name="connsiteX6760" fmla="*/ 4176109 w 8267681"/>
              <a:gd name="connsiteY6760" fmla="*/ 3222544 h 6698675"/>
              <a:gd name="connsiteX6761" fmla="*/ 4241875 w 8267681"/>
              <a:gd name="connsiteY6761" fmla="*/ 3243691 h 6698675"/>
              <a:gd name="connsiteX6762" fmla="*/ 4173760 w 8267681"/>
              <a:gd name="connsiteY6762" fmla="*/ 3208446 h 6698675"/>
              <a:gd name="connsiteX6763" fmla="*/ 4171412 w 8267681"/>
              <a:gd name="connsiteY6763" fmla="*/ 3166171 h 6698675"/>
              <a:gd name="connsiteX6764" fmla="*/ 4124437 w 8267681"/>
              <a:gd name="connsiteY6764" fmla="*/ 3147378 h 6698675"/>
              <a:gd name="connsiteX6765" fmla="*/ 1808545 w 8267681"/>
              <a:gd name="connsiteY6765" fmla="*/ 3147378 h 6698675"/>
              <a:gd name="connsiteX6766" fmla="*/ 1801497 w 8267681"/>
              <a:gd name="connsiteY6766" fmla="*/ 3152079 h 6698675"/>
              <a:gd name="connsiteX6767" fmla="*/ 1808545 w 8267681"/>
              <a:gd name="connsiteY6767" fmla="*/ 3147378 h 6698675"/>
              <a:gd name="connsiteX6768" fmla="*/ 5343453 w 8267681"/>
              <a:gd name="connsiteY6768" fmla="*/ 3147349 h 6698675"/>
              <a:gd name="connsiteX6769" fmla="*/ 5345802 w 8267681"/>
              <a:gd name="connsiteY6769" fmla="*/ 3147349 h 6698675"/>
              <a:gd name="connsiteX6770" fmla="*/ 5343453 w 8267681"/>
              <a:gd name="connsiteY6770" fmla="*/ 3152047 h 6698675"/>
              <a:gd name="connsiteX6771" fmla="*/ 5298826 w 8267681"/>
              <a:gd name="connsiteY6771" fmla="*/ 3147328 h 6698675"/>
              <a:gd name="connsiteX6772" fmla="*/ 5303523 w 8267681"/>
              <a:gd name="connsiteY6772" fmla="*/ 3147328 h 6698675"/>
              <a:gd name="connsiteX6773" fmla="*/ 5301175 w 8267681"/>
              <a:gd name="connsiteY6773" fmla="*/ 3149676 h 6698675"/>
              <a:gd name="connsiteX6774" fmla="*/ 51679 w 8267681"/>
              <a:gd name="connsiteY6774" fmla="*/ 3145044 h 6698675"/>
              <a:gd name="connsiteX6775" fmla="*/ 65788 w 8267681"/>
              <a:gd name="connsiteY6775" fmla="*/ 3170878 h 6698675"/>
              <a:gd name="connsiteX6776" fmla="*/ 84564 w 8267681"/>
              <a:gd name="connsiteY6776" fmla="*/ 3187317 h 6698675"/>
              <a:gd name="connsiteX6777" fmla="*/ 86906 w 8267681"/>
              <a:gd name="connsiteY6777" fmla="*/ 3196708 h 6698675"/>
              <a:gd name="connsiteX6778" fmla="*/ 79864 w 8267681"/>
              <a:gd name="connsiteY6778" fmla="*/ 3206104 h 6698675"/>
              <a:gd name="connsiteX6779" fmla="*/ 68121 w 8267681"/>
              <a:gd name="connsiteY6779" fmla="*/ 3203754 h 6698675"/>
              <a:gd name="connsiteX6780" fmla="*/ 65788 w 8267681"/>
              <a:gd name="connsiteY6780" fmla="*/ 3213150 h 6698675"/>
              <a:gd name="connsiteX6781" fmla="*/ 65788 w 8267681"/>
              <a:gd name="connsiteY6781" fmla="*/ 3222545 h 6698675"/>
              <a:gd name="connsiteX6782" fmla="*/ 54046 w 8267681"/>
              <a:gd name="connsiteY6782" fmla="*/ 3255449 h 6698675"/>
              <a:gd name="connsiteX6783" fmla="*/ 54046 w 8267681"/>
              <a:gd name="connsiteY6783" fmla="*/ 3264857 h 6698675"/>
              <a:gd name="connsiteX6784" fmla="*/ 44645 w 8267681"/>
              <a:gd name="connsiteY6784" fmla="*/ 3278939 h 6698675"/>
              <a:gd name="connsiteX6785" fmla="*/ 37586 w 8267681"/>
              <a:gd name="connsiteY6785" fmla="*/ 3274271 h 6698675"/>
              <a:gd name="connsiteX6786" fmla="*/ 51679 w 8267681"/>
              <a:gd name="connsiteY6786" fmla="*/ 3248399 h 6698675"/>
              <a:gd name="connsiteX6787" fmla="*/ 37586 w 8267681"/>
              <a:gd name="connsiteY6787" fmla="*/ 3224895 h 6698675"/>
              <a:gd name="connsiteX6788" fmla="*/ 30536 w 8267681"/>
              <a:gd name="connsiteY6788" fmla="*/ 3206104 h 6698675"/>
              <a:gd name="connsiteX6789" fmla="*/ 37586 w 8267681"/>
              <a:gd name="connsiteY6789" fmla="*/ 3201406 h 6698675"/>
              <a:gd name="connsiteX6790" fmla="*/ 42286 w 8267681"/>
              <a:gd name="connsiteY6790" fmla="*/ 3196708 h 6698675"/>
              <a:gd name="connsiteX6791" fmla="*/ 35244 w 8267681"/>
              <a:gd name="connsiteY6791" fmla="*/ 3187317 h 6698675"/>
              <a:gd name="connsiteX6792" fmla="*/ 21143 w 8267681"/>
              <a:gd name="connsiteY6792" fmla="*/ 3161480 h 6698675"/>
              <a:gd name="connsiteX6793" fmla="*/ 51679 w 8267681"/>
              <a:gd name="connsiteY6793" fmla="*/ 3145044 h 6698675"/>
              <a:gd name="connsiteX6794" fmla="*/ 5176690 w 8267681"/>
              <a:gd name="connsiteY6794" fmla="*/ 3144980 h 6698675"/>
              <a:gd name="connsiteX6795" fmla="*/ 5179038 w 8267681"/>
              <a:gd name="connsiteY6795" fmla="*/ 3144980 h 6698675"/>
              <a:gd name="connsiteX6796" fmla="*/ 5176690 w 8267681"/>
              <a:gd name="connsiteY6796" fmla="*/ 3147329 h 6698675"/>
              <a:gd name="connsiteX6797" fmla="*/ 5272990 w 8267681"/>
              <a:gd name="connsiteY6797" fmla="*/ 3142671 h 6698675"/>
              <a:gd name="connsiteX6798" fmla="*/ 5275339 w 8267681"/>
              <a:gd name="connsiteY6798" fmla="*/ 3145022 h 6698675"/>
              <a:gd name="connsiteX6799" fmla="*/ 5270641 w 8267681"/>
              <a:gd name="connsiteY6799" fmla="*/ 3149718 h 6698675"/>
              <a:gd name="connsiteX6800" fmla="*/ 5268292 w 8267681"/>
              <a:gd name="connsiteY6800" fmla="*/ 3147368 h 6698675"/>
              <a:gd name="connsiteX6801" fmla="*/ 5263595 w 8267681"/>
              <a:gd name="connsiteY6801" fmla="*/ 3147368 h 6698675"/>
              <a:gd name="connsiteX6802" fmla="*/ 5263595 w 8267681"/>
              <a:gd name="connsiteY6802" fmla="*/ 3145022 h 6698675"/>
              <a:gd name="connsiteX6803" fmla="*/ 5265944 w 8267681"/>
              <a:gd name="connsiteY6803" fmla="*/ 3145022 h 6698675"/>
              <a:gd name="connsiteX6804" fmla="*/ 5291780 w 8267681"/>
              <a:gd name="connsiteY6804" fmla="*/ 3142668 h 6698675"/>
              <a:gd name="connsiteX6805" fmla="*/ 5294129 w 8267681"/>
              <a:gd name="connsiteY6805" fmla="*/ 3145018 h 6698675"/>
              <a:gd name="connsiteX6806" fmla="*/ 5298827 w 8267681"/>
              <a:gd name="connsiteY6806" fmla="*/ 3147364 h 6698675"/>
              <a:gd name="connsiteX6807" fmla="*/ 5291780 w 8267681"/>
              <a:gd name="connsiteY6807" fmla="*/ 3147364 h 6698675"/>
              <a:gd name="connsiteX6808" fmla="*/ 5291780 w 8267681"/>
              <a:gd name="connsiteY6808" fmla="*/ 3142668 h 6698675"/>
              <a:gd name="connsiteX6809" fmla="*/ 169110 w 8267681"/>
              <a:gd name="connsiteY6809" fmla="*/ 3140344 h 6698675"/>
              <a:gd name="connsiteX6810" fmla="*/ 176157 w 8267681"/>
              <a:gd name="connsiteY6810" fmla="*/ 3140344 h 6698675"/>
              <a:gd name="connsiteX6811" fmla="*/ 180858 w 8267681"/>
              <a:gd name="connsiteY6811" fmla="*/ 3145044 h 6698675"/>
              <a:gd name="connsiteX6812" fmla="*/ 197300 w 8267681"/>
              <a:gd name="connsiteY6812" fmla="*/ 3140344 h 6698675"/>
              <a:gd name="connsiteX6813" fmla="*/ 213738 w 8267681"/>
              <a:gd name="connsiteY6813" fmla="*/ 3154434 h 6698675"/>
              <a:gd name="connsiteX6814" fmla="*/ 197300 w 8267681"/>
              <a:gd name="connsiteY6814" fmla="*/ 3173226 h 6698675"/>
              <a:gd name="connsiteX6815" fmla="*/ 169110 w 8267681"/>
              <a:gd name="connsiteY6815" fmla="*/ 3173226 h 6698675"/>
              <a:gd name="connsiteX6816" fmla="*/ 159715 w 8267681"/>
              <a:gd name="connsiteY6816" fmla="*/ 3166179 h 6698675"/>
              <a:gd name="connsiteX6817" fmla="*/ 162065 w 8267681"/>
              <a:gd name="connsiteY6817" fmla="*/ 3156786 h 6698675"/>
              <a:gd name="connsiteX6818" fmla="*/ 5289432 w 8267681"/>
              <a:gd name="connsiteY6818" fmla="*/ 3140317 h 6698675"/>
              <a:gd name="connsiteX6819" fmla="*/ 5294129 w 8267681"/>
              <a:gd name="connsiteY6819" fmla="*/ 3140317 h 6698675"/>
              <a:gd name="connsiteX6820" fmla="*/ 5291780 w 8267681"/>
              <a:gd name="connsiteY6820" fmla="*/ 3142668 h 6698675"/>
              <a:gd name="connsiteX6821" fmla="*/ 5188434 w 8267681"/>
              <a:gd name="connsiteY6821" fmla="*/ 3140304 h 6698675"/>
              <a:gd name="connsiteX6822" fmla="*/ 5193131 w 8267681"/>
              <a:gd name="connsiteY6822" fmla="*/ 3142652 h 6698675"/>
              <a:gd name="connsiteX6823" fmla="*/ 5188434 w 8267681"/>
              <a:gd name="connsiteY6823" fmla="*/ 3145002 h 6698675"/>
              <a:gd name="connsiteX6824" fmla="*/ 5568936 w 8267681"/>
              <a:gd name="connsiteY6824" fmla="*/ 3137982 h 6698675"/>
              <a:gd name="connsiteX6825" fmla="*/ 5571285 w 8267681"/>
              <a:gd name="connsiteY6825" fmla="*/ 3140332 h 6698675"/>
              <a:gd name="connsiteX6826" fmla="*/ 5568936 w 8267681"/>
              <a:gd name="connsiteY6826" fmla="*/ 3142680 h 6698675"/>
              <a:gd name="connsiteX6827" fmla="*/ 5221317 w 8267681"/>
              <a:gd name="connsiteY6827" fmla="*/ 3137968 h 6698675"/>
              <a:gd name="connsiteX6828" fmla="*/ 5223666 w 8267681"/>
              <a:gd name="connsiteY6828" fmla="*/ 3142667 h 6698675"/>
              <a:gd name="connsiteX6829" fmla="*/ 5223666 w 8267681"/>
              <a:gd name="connsiteY6829" fmla="*/ 3145014 h 6698675"/>
              <a:gd name="connsiteX6830" fmla="*/ 5221317 w 8267681"/>
              <a:gd name="connsiteY6830" fmla="*/ 3147363 h 6698675"/>
              <a:gd name="connsiteX6831" fmla="*/ 5254200 w 8267681"/>
              <a:gd name="connsiteY6831" fmla="*/ 3137962 h 6698675"/>
              <a:gd name="connsiteX6832" fmla="*/ 5256548 w 8267681"/>
              <a:gd name="connsiteY6832" fmla="*/ 3145008 h 6698675"/>
              <a:gd name="connsiteX6833" fmla="*/ 5254200 w 8267681"/>
              <a:gd name="connsiteY6833" fmla="*/ 3140309 h 6698675"/>
              <a:gd name="connsiteX6834" fmla="*/ 1961214 w 8267681"/>
              <a:gd name="connsiteY6834" fmla="*/ 3135632 h 6698675"/>
              <a:gd name="connsiteX6835" fmla="*/ 1961214 w 8267681"/>
              <a:gd name="connsiteY6835" fmla="*/ 3137983 h 6698675"/>
              <a:gd name="connsiteX6836" fmla="*/ 1982356 w 8267681"/>
              <a:gd name="connsiteY6836" fmla="*/ 3210799 h 6698675"/>
              <a:gd name="connsiteX6837" fmla="*/ 1987051 w 8267681"/>
              <a:gd name="connsiteY6837" fmla="*/ 3187311 h 6698675"/>
              <a:gd name="connsiteX6838" fmla="*/ 1961214 w 8267681"/>
              <a:gd name="connsiteY6838" fmla="*/ 3135632 h 6698675"/>
              <a:gd name="connsiteX6839" fmla="*/ 5467938 w 8267681"/>
              <a:gd name="connsiteY6839" fmla="*/ 3133271 h 6698675"/>
              <a:gd name="connsiteX6840" fmla="*/ 5467938 w 8267681"/>
              <a:gd name="connsiteY6840" fmla="*/ 3135619 h 6698675"/>
              <a:gd name="connsiteX6841" fmla="*/ 5467938 w 8267681"/>
              <a:gd name="connsiteY6841" fmla="*/ 3137971 h 6698675"/>
              <a:gd name="connsiteX6842" fmla="*/ 5465590 w 8267681"/>
              <a:gd name="connsiteY6842" fmla="*/ 3137971 h 6698675"/>
              <a:gd name="connsiteX6843" fmla="*/ 5463241 w 8267681"/>
              <a:gd name="connsiteY6843" fmla="*/ 3137971 h 6698675"/>
              <a:gd name="connsiteX6844" fmla="*/ 5458543 w 8267681"/>
              <a:gd name="connsiteY6844" fmla="*/ 3137971 h 6698675"/>
              <a:gd name="connsiteX6845" fmla="*/ 5456194 w 8267681"/>
              <a:gd name="connsiteY6845" fmla="*/ 3140319 h 6698675"/>
              <a:gd name="connsiteX6846" fmla="*/ 5456194 w 8267681"/>
              <a:gd name="connsiteY6846" fmla="*/ 3142668 h 6698675"/>
              <a:gd name="connsiteX6847" fmla="*/ 5453846 w 8267681"/>
              <a:gd name="connsiteY6847" fmla="*/ 3137971 h 6698675"/>
              <a:gd name="connsiteX6848" fmla="*/ 5458543 w 8267681"/>
              <a:gd name="connsiteY6848" fmla="*/ 3135619 h 6698675"/>
              <a:gd name="connsiteX6849" fmla="*/ 5460892 w 8267681"/>
              <a:gd name="connsiteY6849" fmla="*/ 3135619 h 6698675"/>
              <a:gd name="connsiteX6850" fmla="*/ 5467938 w 8267681"/>
              <a:gd name="connsiteY6850" fmla="*/ 3133271 h 6698675"/>
              <a:gd name="connsiteX6851" fmla="*/ 5345802 w 8267681"/>
              <a:gd name="connsiteY6851" fmla="*/ 3133262 h 6698675"/>
              <a:gd name="connsiteX6852" fmla="*/ 5348151 w 8267681"/>
              <a:gd name="connsiteY6852" fmla="*/ 3133262 h 6698675"/>
              <a:gd name="connsiteX6853" fmla="*/ 5350499 w 8267681"/>
              <a:gd name="connsiteY6853" fmla="*/ 3133262 h 6698675"/>
              <a:gd name="connsiteX6854" fmla="*/ 5348151 w 8267681"/>
              <a:gd name="connsiteY6854" fmla="*/ 3135612 h 6698675"/>
              <a:gd name="connsiteX6855" fmla="*/ 5350499 w 8267681"/>
              <a:gd name="connsiteY6855" fmla="*/ 3137961 h 6698675"/>
              <a:gd name="connsiteX6856" fmla="*/ 5345807 w 8267681"/>
              <a:gd name="connsiteY6856" fmla="*/ 3140308 h 6698675"/>
              <a:gd name="connsiteX6857" fmla="*/ 5348151 w 8267681"/>
              <a:gd name="connsiteY6857" fmla="*/ 3144998 h 6698675"/>
              <a:gd name="connsiteX6858" fmla="*/ 5345802 w 8267681"/>
              <a:gd name="connsiteY6858" fmla="*/ 3147345 h 6698675"/>
              <a:gd name="connsiteX6859" fmla="*/ 5345802 w 8267681"/>
              <a:gd name="connsiteY6859" fmla="*/ 3140310 h 6698675"/>
              <a:gd name="connsiteX6860" fmla="*/ 5345802 w 8267681"/>
              <a:gd name="connsiteY6860" fmla="*/ 3140300 h 6698675"/>
              <a:gd name="connsiteX6861" fmla="*/ 5277688 w 8267681"/>
              <a:gd name="connsiteY6861" fmla="*/ 3133257 h 6698675"/>
              <a:gd name="connsiteX6862" fmla="*/ 5280036 w 8267681"/>
              <a:gd name="connsiteY6862" fmla="*/ 3137954 h 6698675"/>
              <a:gd name="connsiteX6863" fmla="*/ 5277688 w 8267681"/>
              <a:gd name="connsiteY6863" fmla="*/ 3137954 h 6698675"/>
              <a:gd name="connsiteX6864" fmla="*/ 5275339 w 8267681"/>
              <a:gd name="connsiteY6864" fmla="*/ 3135606 h 6698675"/>
              <a:gd name="connsiteX6865" fmla="*/ 5376336 w 8267681"/>
              <a:gd name="connsiteY6865" fmla="*/ 3128568 h 6698675"/>
              <a:gd name="connsiteX6866" fmla="*/ 5378684 w 8267681"/>
              <a:gd name="connsiteY6866" fmla="*/ 3130918 h 6698675"/>
              <a:gd name="connsiteX6867" fmla="*/ 5376336 w 8267681"/>
              <a:gd name="connsiteY6867" fmla="*/ 3137965 h 6698675"/>
              <a:gd name="connsiteX6868" fmla="*/ 5373987 w 8267681"/>
              <a:gd name="connsiteY6868" fmla="*/ 3137965 h 6698675"/>
              <a:gd name="connsiteX6869" fmla="*/ 5376336 w 8267681"/>
              <a:gd name="connsiteY6869" fmla="*/ 3135616 h 6698675"/>
              <a:gd name="connsiteX6870" fmla="*/ 5373987 w 8267681"/>
              <a:gd name="connsiteY6870" fmla="*/ 3133266 h 6698675"/>
              <a:gd name="connsiteX6871" fmla="*/ 5376336 w 8267681"/>
              <a:gd name="connsiteY6871" fmla="*/ 3128568 h 6698675"/>
              <a:gd name="connsiteX6872" fmla="*/ 4641167 w 8267681"/>
              <a:gd name="connsiteY6872" fmla="*/ 3126237 h 6698675"/>
              <a:gd name="connsiteX6873" fmla="*/ 4636470 w 8267681"/>
              <a:gd name="connsiteY6873" fmla="*/ 3137983 h 6698675"/>
              <a:gd name="connsiteX6874" fmla="*/ 4648214 w 8267681"/>
              <a:gd name="connsiteY6874" fmla="*/ 3142680 h 6698675"/>
              <a:gd name="connsiteX6875" fmla="*/ 4652911 w 8267681"/>
              <a:gd name="connsiteY6875" fmla="*/ 3130933 h 6698675"/>
              <a:gd name="connsiteX6876" fmla="*/ 4641167 w 8267681"/>
              <a:gd name="connsiteY6876" fmla="*/ 3126237 h 6698675"/>
              <a:gd name="connsiteX6877" fmla="*/ 5348151 w 8267681"/>
              <a:gd name="connsiteY6877" fmla="*/ 3123839 h 6698675"/>
              <a:gd name="connsiteX6878" fmla="*/ 5350499 w 8267681"/>
              <a:gd name="connsiteY6878" fmla="*/ 3123839 h 6698675"/>
              <a:gd name="connsiteX6879" fmla="*/ 5348151 w 8267681"/>
              <a:gd name="connsiteY6879" fmla="*/ 3126187 h 6698675"/>
              <a:gd name="connsiteX6880" fmla="*/ 5967290 w 8267681"/>
              <a:gd name="connsiteY6880" fmla="*/ 3122005 h 6698675"/>
              <a:gd name="connsiteX6881" fmla="*/ 5966761 w 8267681"/>
              <a:gd name="connsiteY6881" fmla="*/ 3123594 h 6698675"/>
              <a:gd name="connsiteX6882" fmla="*/ 5965880 w 8267681"/>
              <a:gd name="connsiteY6882" fmla="*/ 3123887 h 6698675"/>
              <a:gd name="connsiteX6883" fmla="*/ 5932997 w 8267681"/>
              <a:gd name="connsiteY6883" fmla="*/ 3119192 h 6698675"/>
              <a:gd name="connsiteX6884" fmla="*/ 5935346 w 8267681"/>
              <a:gd name="connsiteY6884" fmla="*/ 3133284 h 6698675"/>
              <a:gd name="connsiteX6885" fmla="*/ 5942392 w 8267681"/>
              <a:gd name="connsiteY6885" fmla="*/ 3119192 h 6698675"/>
              <a:gd name="connsiteX6886" fmla="*/ 3671122 w 8267681"/>
              <a:gd name="connsiteY6886" fmla="*/ 3112143 h 6698675"/>
              <a:gd name="connsiteX6887" fmla="*/ 3647634 w 8267681"/>
              <a:gd name="connsiteY6887" fmla="*/ 3149725 h 6698675"/>
              <a:gd name="connsiteX6888" fmla="*/ 3671122 w 8267681"/>
              <a:gd name="connsiteY6888" fmla="*/ 3112143 h 6698675"/>
              <a:gd name="connsiteX6889" fmla="*/ 5251851 w 8267681"/>
              <a:gd name="connsiteY6889" fmla="*/ 3112094 h 6698675"/>
              <a:gd name="connsiteX6890" fmla="*/ 5251851 w 8267681"/>
              <a:gd name="connsiteY6890" fmla="*/ 3116792 h 6698675"/>
              <a:gd name="connsiteX6891" fmla="*/ 5249502 w 8267681"/>
              <a:gd name="connsiteY6891" fmla="*/ 3114445 h 6698675"/>
              <a:gd name="connsiteX6892" fmla="*/ 70463 w 8267681"/>
              <a:gd name="connsiteY6892" fmla="*/ 3109812 h 6698675"/>
              <a:gd name="connsiteX6893" fmla="*/ 77522 w 8267681"/>
              <a:gd name="connsiteY6893" fmla="*/ 3137996 h 6698675"/>
              <a:gd name="connsiteX6894" fmla="*/ 70463 w 8267681"/>
              <a:gd name="connsiteY6894" fmla="*/ 3142693 h 6698675"/>
              <a:gd name="connsiteX6895" fmla="*/ 63421 w 8267681"/>
              <a:gd name="connsiteY6895" fmla="*/ 3121552 h 6698675"/>
              <a:gd name="connsiteX6896" fmla="*/ 61088 w 8267681"/>
              <a:gd name="connsiteY6896" fmla="*/ 3112164 h 6698675"/>
              <a:gd name="connsiteX6897" fmla="*/ 246622 w 8267681"/>
              <a:gd name="connsiteY6897" fmla="*/ 3095732 h 6698675"/>
              <a:gd name="connsiteX6898" fmla="*/ 244279 w 8267681"/>
              <a:gd name="connsiteY6898" fmla="*/ 3098078 h 6698675"/>
              <a:gd name="connsiteX6899" fmla="*/ 244279 w 8267681"/>
              <a:gd name="connsiteY6899" fmla="*/ 3107472 h 6698675"/>
              <a:gd name="connsiteX6900" fmla="*/ 246622 w 8267681"/>
              <a:gd name="connsiteY6900" fmla="*/ 3109818 h 6698675"/>
              <a:gd name="connsiteX6901" fmla="*/ 256016 w 8267681"/>
              <a:gd name="connsiteY6901" fmla="*/ 3112168 h 6698675"/>
              <a:gd name="connsiteX6902" fmla="*/ 256016 w 8267681"/>
              <a:gd name="connsiteY6902" fmla="*/ 3107472 h 6698675"/>
              <a:gd name="connsiteX6903" fmla="*/ 253671 w 8267681"/>
              <a:gd name="connsiteY6903" fmla="*/ 3102775 h 6698675"/>
              <a:gd name="connsiteX6904" fmla="*/ 248972 w 8267681"/>
              <a:gd name="connsiteY6904" fmla="*/ 3098078 h 6698675"/>
              <a:gd name="connsiteX6905" fmla="*/ 246622 w 8267681"/>
              <a:gd name="connsiteY6905" fmla="*/ 3095732 h 6698675"/>
              <a:gd name="connsiteX6906" fmla="*/ 9401 w 8267681"/>
              <a:gd name="connsiteY6906" fmla="*/ 3095723 h 6698675"/>
              <a:gd name="connsiteX6907" fmla="*/ 18802 w 8267681"/>
              <a:gd name="connsiteY6907" fmla="*/ 3100424 h 6698675"/>
              <a:gd name="connsiteX6908" fmla="*/ 28202 w 8267681"/>
              <a:gd name="connsiteY6908" fmla="*/ 3112164 h 6698675"/>
              <a:gd name="connsiteX6909" fmla="*/ 39945 w 8267681"/>
              <a:gd name="connsiteY6909" fmla="*/ 3130949 h 6698675"/>
              <a:gd name="connsiteX6910" fmla="*/ 32903 w 8267681"/>
              <a:gd name="connsiteY6910" fmla="*/ 3135648 h 6698675"/>
              <a:gd name="connsiteX6911" fmla="*/ 7059 w 8267681"/>
              <a:gd name="connsiteY6911" fmla="*/ 3140344 h 6698675"/>
              <a:gd name="connsiteX6912" fmla="*/ 0 w 8267681"/>
              <a:gd name="connsiteY6912" fmla="*/ 3128601 h 6698675"/>
              <a:gd name="connsiteX6913" fmla="*/ 0 w 8267681"/>
              <a:gd name="connsiteY6913" fmla="*/ 3102770 h 6698675"/>
              <a:gd name="connsiteX6914" fmla="*/ 9401 w 8267681"/>
              <a:gd name="connsiteY6914" fmla="*/ 3095723 h 6698675"/>
              <a:gd name="connsiteX6915" fmla="*/ 5565413 w 8267681"/>
              <a:gd name="connsiteY6915" fmla="*/ 3092179 h 6698675"/>
              <a:gd name="connsiteX6916" fmla="*/ 5566587 w 8267681"/>
              <a:gd name="connsiteY6916" fmla="*/ 3093357 h 6698675"/>
              <a:gd name="connsiteX6917" fmla="*/ 5566587 w 8267681"/>
              <a:gd name="connsiteY6917" fmla="*/ 3102750 h 6698675"/>
              <a:gd name="connsiteX6918" fmla="*/ 5559541 w 8267681"/>
              <a:gd name="connsiteY6918" fmla="*/ 3098053 h 6698675"/>
              <a:gd name="connsiteX6919" fmla="*/ 4217213 w 8267681"/>
              <a:gd name="connsiteY6919" fmla="*/ 3091628 h 6698675"/>
              <a:gd name="connsiteX6920" fmla="*/ 4185504 w 8267681"/>
              <a:gd name="connsiteY6920" fmla="*/ 3109793 h 6698675"/>
              <a:gd name="connsiteX6921" fmla="*/ 4225434 w 8267681"/>
              <a:gd name="connsiteY6921" fmla="*/ 3126237 h 6698675"/>
              <a:gd name="connsiteX6922" fmla="*/ 4232480 w 8267681"/>
              <a:gd name="connsiteY6922" fmla="*/ 3095704 h 6698675"/>
              <a:gd name="connsiteX6923" fmla="*/ 4217213 w 8267681"/>
              <a:gd name="connsiteY6923" fmla="*/ 3091628 h 6698675"/>
              <a:gd name="connsiteX6924" fmla="*/ 101007 w 8267681"/>
              <a:gd name="connsiteY6924" fmla="*/ 3088678 h 6698675"/>
              <a:gd name="connsiteX6925" fmla="*/ 124492 w 8267681"/>
              <a:gd name="connsiteY6925" fmla="*/ 3088678 h 6698675"/>
              <a:gd name="connsiteX6926" fmla="*/ 131534 w 8267681"/>
              <a:gd name="connsiteY6926" fmla="*/ 3105115 h 6698675"/>
              <a:gd name="connsiteX6927" fmla="*/ 129192 w 8267681"/>
              <a:gd name="connsiteY6927" fmla="*/ 3107467 h 6698675"/>
              <a:gd name="connsiteX6928" fmla="*/ 124492 w 8267681"/>
              <a:gd name="connsiteY6928" fmla="*/ 3107467 h 6698675"/>
              <a:gd name="connsiteX6929" fmla="*/ 101007 w 8267681"/>
              <a:gd name="connsiteY6929" fmla="*/ 3098071 h 6698675"/>
              <a:gd name="connsiteX6930" fmla="*/ 5543100 w 8267681"/>
              <a:gd name="connsiteY6930" fmla="*/ 3086305 h 6698675"/>
              <a:gd name="connsiteX6931" fmla="*/ 5552495 w 8267681"/>
              <a:gd name="connsiteY6931" fmla="*/ 3095704 h 6698675"/>
              <a:gd name="connsiteX6932" fmla="*/ 5554843 w 8267681"/>
              <a:gd name="connsiteY6932" fmla="*/ 3086305 h 6698675"/>
              <a:gd name="connsiteX6933" fmla="*/ 317085 w 8267681"/>
              <a:gd name="connsiteY6933" fmla="*/ 3083986 h 6698675"/>
              <a:gd name="connsiteX6934" fmla="*/ 281856 w 8267681"/>
              <a:gd name="connsiteY6934" fmla="*/ 3126260 h 6698675"/>
              <a:gd name="connsiteX6935" fmla="*/ 277156 w 8267681"/>
              <a:gd name="connsiteY6935" fmla="*/ 3130952 h 6698675"/>
              <a:gd name="connsiteX6936" fmla="*/ 281856 w 8267681"/>
              <a:gd name="connsiteY6936" fmla="*/ 3135652 h 6698675"/>
              <a:gd name="connsiteX6937" fmla="*/ 314736 w 8267681"/>
              <a:gd name="connsiteY6937" fmla="*/ 3130952 h 6698675"/>
              <a:gd name="connsiteX6938" fmla="*/ 319434 w 8267681"/>
              <a:gd name="connsiteY6938" fmla="*/ 3123908 h 6698675"/>
              <a:gd name="connsiteX6939" fmla="*/ 307691 w 8267681"/>
              <a:gd name="connsiteY6939" fmla="*/ 3107472 h 6698675"/>
              <a:gd name="connsiteX6940" fmla="*/ 319434 w 8267681"/>
              <a:gd name="connsiteY6940" fmla="*/ 3093383 h 6698675"/>
              <a:gd name="connsiteX6941" fmla="*/ 5923602 w 8267681"/>
              <a:gd name="connsiteY6941" fmla="*/ 3083956 h 6698675"/>
              <a:gd name="connsiteX6942" fmla="*/ 5928299 w 8267681"/>
              <a:gd name="connsiteY6942" fmla="*/ 3093357 h 6698675"/>
              <a:gd name="connsiteX6943" fmla="*/ 5935346 w 8267681"/>
              <a:gd name="connsiteY6943" fmla="*/ 3086305 h 6698675"/>
              <a:gd name="connsiteX6944" fmla="*/ 5498473 w 8267681"/>
              <a:gd name="connsiteY6944" fmla="*/ 3081565 h 6698675"/>
              <a:gd name="connsiteX6945" fmla="*/ 5500822 w 8267681"/>
              <a:gd name="connsiteY6945" fmla="*/ 3083914 h 6698675"/>
              <a:gd name="connsiteX6946" fmla="*/ 5496124 w 8267681"/>
              <a:gd name="connsiteY6946" fmla="*/ 3083914 h 6698675"/>
              <a:gd name="connsiteX6947" fmla="*/ 171459 w 8267681"/>
              <a:gd name="connsiteY6947" fmla="*/ 3076936 h 6698675"/>
              <a:gd name="connsiteX6948" fmla="*/ 180858 w 8267681"/>
              <a:gd name="connsiteY6948" fmla="*/ 3081631 h 6698675"/>
              <a:gd name="connsiteX6949" fmla="*/ 171459 w 8267681"/>
              <a:gd name="connsiteY6949" fmla="*/ 3093374 h 6698675"/>
              <a:gd name="connsiteX6950" fmla="*/ 164415 w 8267681"/>
              <a:gd name="connsiteY6950" fmla="*/ 3088678 h 6698675"/>
              <a:gd name="connsiteX6951" fmla="*/ 166765 w 8267681"/>
              <a:gd name="connsiteY6951" fmla="*/ 3081631 h 6698675"/>
              <a:gd name="connsiteX6952" fmla="*/ 5937694 w 8267681"/>
              <a:gd name="connsiteY6952" fmla="*/ 3076910 h 6698675"/>
              <a:gd name="connsiteX6953" fmla="*/ 5937694 w 8267681"/>
              <a:gd name="connsiteY6953" fmla="*/ 3088658 h 6698675"/>
              <a:gd name="connsiteX6954" fmla="*/ 5942392 w 8267681"/>
              <a:gd name="connsiteY6954" fmla="*/ 3083956 h 6698675"/>
              <a:gd name="connsiteX6955" fmla="*/ 5514914 w 8267681"/>
              <a:gd name="connsiteY6955" fmla="*/ 3076878 h 6698675"/>
              <a:gd name="connsiteX6956" fmla="*/ 5519611 w 8267681"/>
              <a:gd name="connsiteY6956" fmla="*/ 3076878 h 6698675"/>
              <a:gd name="connsiteX6957" fmla="*/ 5517263 w 8267681"/>
              <a:gd name="connsiteY6957" fmla="*/ 3079223 h 6698675"/>
              <a:gd name="connsiteX6958" fmla="*/ 5514914 w 8267681"/>
              <a:gd name="connsiteY6958" fmla="*/ 3076878 h 6698675"/>
              <a:gd name="connsiteX6959" fmla="*/ 5505519 w 8267681"/>
              <a:gd name="connsiteY6959" fmla="*/ 3074518 h 6698675"/>
              <a:gd name="connsiteX6960" fmla="*/ 5507867 w 8267681"/>
              <a:gd name="connsiteY6960" fmla="*/ 3076866 h 6698675"/>
              <a:gd name="connsiteX6961" fmla="*/ 5503170 w 8267681"/>
              <a:gd name="connsiteY6961" fmla="*/ 3076866 h 6698675"/>
              <a:gd name="connsiteX6962" fmla="*/ 5491426 w 8267681"/>
              <a:gd name="connsiteY6962" fmla="*/ 3074516 h 6698675"/>
              <a:gd name="connsiteX6963" fmla="*/ 5496123 w 8267681"/>
              <a:gd name="connsiteY6963" fmla="*/ 3074516 h 6698675"/>
              <a:gd name="connsiteX6964" fmla="*/ 5493775 w 8267681"/>
              <a:gd name="connsiteY6964" fmla="*/ 3076864 h 6698675"/>
              <a:gd name="connsiteX6965" fmla="*/ 5923602 w 8267681"/>
              <a:gd name="connsiteY6965" fmla="*/ 3072214 h 6698675"/>
              <a:gd name="connsiteX6966" fmla="*/ 5928299 w 8267681"/>
              <a:gd name="connsiteY6966" fmla="*/ 3079258 h 6698675"/>
              <a:gd name="connsiteX6967" fmla="*/ 5935346 w 8267681"/>
              <a:gd name="connsiteY6967" fmla="*/ 3074565 h 6698675"/>
              <a:gd name="connsiteX6968" fmla="*/ 1998794 w 8267681"/>
              <a:gd name="connsiteY6968" fmla="*/ 3067516 h 6698675"/>
              <a:gd name="connsiteX6969" fmla="*/ 1996449 w 8267681"/>
              <a:gd name="connsiteY6969" fmla="*/ 3069867 h 6698675"/>
              <a:gd name="connsiteX6970" fmla="*/ 1998794 w 8267681"/>
              <a:gd name="connsiteY6970" fmla="*/ 3074565 h 6698675"/>
              <a:gd name="connsiteX6971" fmla="*/ 1998794 w 8267681"/>
              <a:gd name="connsiteY6971" fmla="*/ 3067516 h 6698675"/>
              <a:gd name="connsiteX6972" fmla="*/ 5491426 w 8267681"/>
              <a:gd name="connsiteY6972" fmla="*/ 3065126 h 6698675"/>
              <a:gd name="connsiteX6973" fmla="*/ 5489077 w 8267681"/>
              <a:gd name="connsiteY6973" fmla="*/ 3069825 h 6698675"/>
              <a:gd name="connsiteX6974" fmla="*/ 5491426 w 8267681"/>
              <a:gd name="connsiteY6974" fmla="*/ 3065126 h 6698675"/>
              <a:gd name="connsiteX6975" fmla="*/ 5556620 w 8267681"/>
              <a:gd name="connsiteY6975" fmla="*/ 3063013 h 6698675"/>
              <a:gd name="connsiteX6976" fmla="*/ 5556898 w 8267681"/>
              <a:gd name="connsiteY6976" fmla="*/ 3063406 h 6698675"/>
              <a:gd name="connsiteX6977" fmla="*/ 5557192 w 8267681"/>
              <a:gd name="connsiteY6977" fmla="*/ 3069867 h 6698675"/>
              <a:gd name="connsiteX6978" fmla="*/ 5554550 w 8267681"/>
              <a:gd name="connsiteY6978" fmla="*/ 3063703 h 6698675"/>
              <a:gd name="connsiteX6979" fmla="*/ 5916556 w 8267681"/>
              <a:gd name="connsiteY6979" fmla="*/ 3060470 h 6698675"/>
              <a:gd name="connsiteX6980" fmla="*/ 5902463 w 8267681"/>
              <a:gd name="connsiteY6980" fmla="*/ 3062824 h 6698675"/>
              <a:gd name="connsiteX6981" fmla="*/ 5907160 w 8267681"/>
              <a:gd name="connsiteY6981" fmla="*/ 3069867 h 6698675"/>
              <a:gd name="connsiteX6982" fmla="*/ 5484379 w 8267681"/>
              <a:gd name="connsiteY6982" fmla="*/ 3060440 h 6698675"/>
              <a:gd name="connsiteX6983" fmla="*/ 5489077 w 8267681"/>
              <a:gd name="connsiteY6983" fmla="*/ 3060440 h 6698675"/>
              <a:gd name="connsiteX6984" fmla="*/ 5486728 w 8267681"/>
              <a:gd name="connsiteY6984" fmla="*/ 3062789 h 6698675"/>
              <a:gd name="connsiteX6985" fmla="*/ 5482031 w 8267681"/>
              <a:gd name="connsiteY6985" fmla="*/ 3062789 h 6698675"/>
              <a:gd name="connsiteX6986" fmla="*/ 5505519 w 8267681"/>
              <a:gd name="connsiteY6986" fmla="*/ 3058070 h 6698675"/>
              <a:gd name="connsiteX6987" fmla="*/ 5507867 w 8267681"/>
              <a:gd name="connsiteY6987" fmla="*/ 3058070 h 6698675"/>
              <a:gd name="connsiteX6988" fmla="*/ 5507867 w 8267681"/>
              <a:gd name="connsiteY6988" fmla="*/ 3060419 h 6698675"/>
              <a:gd name="connsiteX6989" fmla="*/ 5470287 w 8267681"/>
              <a:gd name="connsiteY6989" fmla="*/ 3055757 h 6698675"/>
              <a:gd name="connsiteX6990" fmla="*/ 5474984 w 8267681"/>
              <a:gd name="connsiteY6990" fmla="*/ 3055757 h 6698675"/>
              <a:gd name="connsiteX6991" fmla="*/ 5472635 w 8267681"/>
              <a:gd name="connsiteY6991" fmla="*/ 3062802 h 6698675"/>
              <a:gd name="connsiteX6992" fmla="*/ 5470287 w 8267681"/>
              <a:gd name="connsiteY6992" fmla="*/ 3060455 h 6698675"/>
              <a:gd name="connsiteX6993" fmla="*/ 5470287 w 8267681"/>
              <a:gd name="connsiteY6993" fmla="*/ 3055757 h 6698675"/>
              <a:gd name="connsiteX6994" fmla="*/ 5489078 w 8267681"/>
              <a:gd name="connsiteY6994" fmla="*/ 3055746 h 6698675"/>
              <a:gd name="connsiteX6995" fmla="*/ 5493775 w 8267681"/>
              <a:gd name="connsiteY6995" fmla="*/ 3060442 h 6698675"/>
              <a:gd name="connsiteX6996" fmla="*/ 5491426 w 8267681"/>
              <a:gd name="connsiteY6996" fmla="*/ 3060442 h 6698675"/>
              <a:gd name="connsiteX6997" fmla="*/ 5984670 w 8267681"/>
              <a:gd name="connsiteY6997" fmla="*/ 3053423 h 6698675"/>
              <a:gd name="connsiteX6998" fmla="*/ 5991716 w 8267681"/>
              <a:gd name="connsiteY6998" fmla="*/ 3060470 h 6698675"/>
              <a:gd name="connsiteX6999" fmla="*/ 5991716 w 8267681"/>
              <a:gd name="connsiteY6999" fmla="*/ 3053423 h 6698675"/>
              <a:gd name="connsiteX7000" fmla="*/ 5592424 w 8267681"/>
              <a:gd name="connsiteY7000" fmla="*/ 3053423 h 6698675"/>
              <a:gd name="connsiteX7001" fmla="*/ 5580680 w 8267681"/>
              <a:gd name="connsiteY7001" fmla="*/ 3065167 h 6698675"/>
              <a:gd name="connsiteX7002" fmla="*/ 5592424 w 8267681"/>
              <a:gd name="connsiteY7002" fmla="*/ 3065167 h 6698675"/>
              <a:gd name="connsiteX7003" fmla="*/ 5564239 w 8267681"/>
              <a:gd name="connsiteY7003" fmla="*/ 3053423 h 6698675"/>
              <a:gd name="connsiteX7004" fmla="*/ 5565451 w 8267681"/>
              <a:gd name="connsiteY7004" fmla="*/ 3060701 h 6698675"/>
              <a:gd name="connsiteX7005" fmla="*/ 5564239 w 8267681"/>
              <a:gd name="connsiteY7005" fmla="*/ 3062824 h 6698675"/>
              <a:gd name="connsiteX7006" fmla="*/ 5559541 w 8267681"/>
              <a:gd name="connsiteY7006" fmla="*/ 3060470 h 6698675"/>
              <a:gd name="connsiteX7007" fmla="*/ 5557192 w 8267681"/>
              <a:gd name="connsiteY7007" fmla="*/ 3062824 h 6698675"/>
              <a:gd name="connsiteX7008" fmla="*/ 5556620 w 8267681"/>
              <a:gd name="connsiteY7008" fmla="*/ 3063013 h 6698675"/>
              <a:gd name="connsiteX7009" fmla="*/ 5554843 w 8267681"/>
              <a:gd name="connsiteY7009" fmla="*/ 3060470 h 6698675"/>
              <a:gd name="connsiteX7010" fmla="*/ 4436824 w 8267681"/>
              <a:gd name="connsiteY7010" fmla="*/ 3051076 h 6698675"/>
              <a:gd name="connsiteX7011" fmla="*/ 4413336 w 8267681"/>
              <a:gd name="connsiteY7011" fmla="*/ 3088657 h 6698675"/>
              <a:gd name="connsiteX7012" fmla="*/ 4436824 w 8267681"/>
              <a:gd name="connsiteY7012" fmla="*/ 3051076 h 6698675"/>
              <a:gd name="connsiteX7013" fmla="*/ 1550179 w 8267681"/>
              <a:gd name="connsiteY7013" fmla="*/ 3051076 h 6698675"/>
              <a:gd name="connsiteX7014" fmla="*/ 1498509 w 8267681"/>
              <a:gd name="connsiteY7014" fmla="*/ 3062824 h 6698675"/>
              <a:gd name="connsiteX7015" fmla="*/ 1458574 w 8267681"/>
              <a:gd name="connsiteY7015" fmla="*/ 3067516 h 6698675"/>
              <a:gd name="connsiteX7016" fmla="*/ 1446832 w 8267681"/>
              <a:gd name="connsiteY7016" fmla="*/ 3065164 h 6698675"/>
              <a:gd name="connsiteX7017" fmla="*/ 1446832 w 8267681"/>
              <a:gd name="connsiteY7017" fmla="*/ 3067516 h 6698675"/>
              <a:gd name="connsiteX7018" fmla="*/ 1458574 w 8267681"/>
              <a:gd name="connsiteY7018" fmla="*/ 3067516 h 6698675"/>
              <a:gd name="connsiteX7019" fmla="*/ 1543131 w 8267681"/>
              <a:gd name="connsiteY7019" fmla="*/ 3067516 h 6698675"/>
              <a:gd name="connsiteX7020" fmla="*/ 1550179 w 8267681"/>
              <a:gd name="connsiteY7020" fmla="*/ 3051076 h 6698675"/>
              <a:gd name="connsiteX7021" fmla="*/ 5493775 w 8267681"/>
              <a:gd name="connsiteY7021" fmla="*/ 3048705 h 6698675"/>
              <a:gd name="connsiteX7022" fmla="*/ 5496123 w 8267681"/>
              <a:gd name="connsiteY7022" fmla="*/ 3051055 h 6698675"/>
              <a:gd name="connsiteX7023" fmla="*/ 5496123 w 8267681"/>
              <a:gd name="connsiteY7023" fmla="*/ 3053405 h 6698675"/>
              <a:gd name="connsiteX7024" fmla="*/ 5493775 w 8267681"/>
              <a:gd name="connsiteY7024" fmla="*/ 3053405 h 6698675"/>
              <a:gd name="connsiteX7025" fmla="*/ 5491426 w 8267681"/>
              <a:gd name="connsiteY7025" fmla="*/ 3053405 h 6698675"/>
              <a:gd name="connsiteX7026" fmla="*/ 5493775 w 8267681"/>
              <a:gd name="connsiteY7026" fmla="*/ 3048705 h 6698675"/>
              <a:gd name="connsiteX7027" fmla="*/ 5484379 w 8267681"/>
              <a:gd name="connsiteY7027" fmla="*/ 3048705 h 6698675"/>
              <a:gd name="connsiteX7028" fmla="*/ 5486728 w 8267681"/>
              <a:gd name="connsiteY7028" fmla="*/ 3051054 h 6698675"/>
              <a:gd name="connsiteX7029" fmla="*/ 5486728 w 8267681"/>
              <a:gd name="connsiteY7029" fmla="*/ 3055751 h 6698675"/>
              <a:gd name="connsiteX7030" fmla="*/ 5482031 w 8267681"/>
              <a:gd name="connsiteY7030" fmla="*/ 3053405 h 6698675"/>
              <a:gd name="connsiteX7031" fmla="*/ 5484379 w 8267681"/>
              <a:gd name="connsiteY7031" fmla="*/ 3048705 h 6698675"/>
              <a:gd name="connsiteX7032" fmla="*/ 5526658 w 8267681"/>
              <a:gd name="connsiteY7032" fmla="*/ 3046352 h 6698675"/>
              <a:gd name="connsiteX7033" fmla="*/ 5529007 w 8267681"/>
              <a:gd name="connsiteY7033" fmla="*/ 3048701 h 6698675"/>
              <a:gd name="connsiteX7034" fmla="*/ 5529007 w 8267681"/>
              <a:gd name="connsiteY7034" fmla="*/ 3051052 h 6698675"/>
              <a:gd name="connsiteX7035" fmla="*/ 5531355 w 8267681"/>
              <a:gd name="connsiteY7035" fmla="*/ 3053398 h 6698675"/>
              <a:gd name="connsiteX7036" fmla="*/ 5526658 w 8267681"/>
              <a:gd name="connsiteY7036" fmla="*/ 3053398 h 6698675"/>
              <a:gd name="connsiteX7037" fmla="*/ 5526657 w 8267681"/>
              <a:gd name="connsiteY7037" fmla="*/ 3043979 h 6698675"/>
              <a:gd name="connsiteX7038" fmla="*/ 5526657 w 8267681"/>
              <a:gd name="connsiteY7038" fmla="*/ 3046328 h 6698675"/>
              <a:gd name="connsiteX7039" fmla="*/ 5524309 w 8267681"/>
              <a:gd name="connsiteY7039" fmla="*/ 3046328 h 6698675"/>
              <a:gd name="connsiteX7040" fmla="*/ 512037 w 8267681"/>
              <a:gd name="connsiteY7040" fmla="*/ 3039370 h 6698675"/>
              <a:gd name="connsiteX7041" fmla="*/ 502645 w 8267681"/>
              <a:gd name="connsiteY7041" fmla="*/ 3041717 h 6698675"/>
              <a:gd name="connsiteX7042" fmla="*/ 500295 w 8267681"/>
              <a:gd name="connsiteY7042" fmla="*/ 3044066 h 6698675"/>
              <a:gd name="connsiteX7043" fmla="*/ 497945 w 8267681"/>
              <a:gd name="connsiteY7043" fmla="*/ 3053460 h 6698675"/>
              <a:gd name="connsiteX7044" fmla="*/ 504987 w 8267681"/>
              <a:gd name="connsiteY7044" fmla="*/ 3058159 h 6698675"/>
              <a:gd name="connsiteX7045" fmla="*/ 509687 w 8267681"/>
              <a:gd name="connsiteY7045" fmla="*/ 3053460 h 6698675"/>
              <a:gd name="connsiteX7046" fmla="*/ 512037 w 8267681"/>
              <a:gd name="connsiteY7046" fmla="*/ 3048764 h 6698675"/>
              <a:gd name="connsiteX7047" fmla="*/ 519080 w 8267681"/>
              <a:gd name="connsiteY7047" fmla="*/ 3046416 h 6698675"/>
              <a:gd name="connsiteX7048" fmla="*/ 5467938 w 8267681"/>
              <a:gd name="connsiteY7048" fmla="*/ 3039315 h 6698675"/>
              <a:gd name="connsiteX7049" fmla="*/ 5472635 w 8267681"/>
              <a:gd name="connsiteY7049" fmla="*/ 3041662 h 6698675"/>
              <a:gd name="connsiteX7050" fmla="*/ 5472635 w 8267681"/>
              <a:gd name="connsiteY7050" fmla="*/ 3046361 h 6698675"/>
              <a:gd name="connsiteX7051" fmla="*/ 5467938 w 8267681"/>
              <a:gd name="connsiteY7051" fmla="*/ 3044011 h 6698675"/>
              <a:gd name="connsiteX7052" fmla="*/ 5467938 w 8267681"/>
              <a:gd name="connsiteY7052" fmla="*/ 3039315 h 6698675"/>
              <a:gd name="connsiteX7053" fmla="*/ 5524309 w 8267681"/>
              <a:gd name="connsiteY7053" fmla="*/ 3039281 h 6698675"/>
              <a:gd name="connsiteX7054" fmla="*/ 5526657 w 8267681"/>
              <a:gd name="connsiteY7054" fmla="*/ 3039281 h 6698675"/>
              <a:gd name="connsiteX7055" fmla="*/ 5524309 w 8267681"/>
              <a:gd name="connsiteY7055" fmla="*/ 3041629 h 6698675"/>
              <a:gd name="connsiteX7056" fmla="*/ 4575401 w 8267681"/>
              <a:gd name="connsiteY7056" fmla="*/ 3036981 h 6698675"/>
              <a:gd name="connsiteX7057" fmla="*/ 4528426 w 8267681"/>
              <a:gd name="connsiteY7057" fmla="*/ 3154423 h 6698675"/>
              <a:gd name="connsiteX7058" fmla="*/ 4577750 w 8267681"/>
              <a:gd name="connsiteY7058" fmla="*/ 3168520 h 6698675"/>
              <a:gd name="connsiteX7059" fmla="*/ 4575401 w 8267681"/>
              <a:gd name="connsiteY7059" fmla="*/ 3036981 h 6698675"/>
              <a:gd name="connsiteX7060" fmla="*/ 5484380 w 8267681"/>
              <a:gd name="connsiteY7060" fmla="*/ 3036939 h 6698675"/>
              <a:gd name="connsiteX7061" fmla="*/ 5486729 w 8267681"/>
              <a:gd name="connsiteY7061" fmla="*/ 3036939 h 6698675"/>
              <a:gd name="connsiteX7062" fmla="*/ 5489078 w 8267681"/>
              <a:gd name="connsiteY7062" fmla="*/ 3036939 h 6698675"/>
              <a:gd name="connsiteX7063" fmla="*/ 5486729 w 8267681"/>
              <a:gd name="connsiteY7063" fmla="*/ 3039288 h 6698675"/>
              <a:gd name="connsiteX7064" fmla="*/ 5514056 w 8267681"/>
              <a:gd name="connsiteY7064" fmla="*/ 3034688 h 6698675"/>
              <a:gd name="connsiteX7065" fmla="*/ 5513612 w 8267681"/>
              <a:gd name="connsiteY7065" fmla="*/ 3035021 h 6698675"/>
              <a:gd name="connsiteX7066" fmla="*/ 5514914 w 8267681"/>
              <a:gd name="connsiteY7066" fmla="*/ 3036975 h 6698675"/>
              <a:gd name="connsiteX7067" fmla="*/ 5996414 w 8267681"/>
              <a:gd name="connsiteY7067" fmla="*/ 3029934 h 6698675"/>
              <a:gd name="connsiteX7068" fmla="*/ 5994065 w 8267681"/>
              <a:gd name="connsiteY7068" fmla="*/ 3039329 h 6698675"/>
              <a:gd name="connsiteX7069" fmla="*/ 5989368 w 8267681"/>
              <a:gd name="connsiteY7069" fmla="*/ 3048727 h 6698675"/>
              <a:gd name="connsiteX7070" fmla="*/ 5984670 w 8267681"/>
              <a:gd name="connsiteY7070" fmla="*/ 3041679 h 6698675"/>
              <a:gd name="connsiteX7071" fmla="*/ 5979973 w 8267681"/>
              <a:gd name="connsiteY7071" fmla="*/ 3048727 h 6698675"/>
              <a:gd name="connsiteX7072" fmla="*/ 5989368 w 8267681"/>
              <a:gd name="connsiteY7072" fmla="*/ 3048727 h 6698675"/>
              <a:gd name="connsiteX7073" fmla="*/ 5998763 w 8267681"/>
              <a:gd name="connsiteY7073" fmla="*/ 3041679 h 6698675"/>
              <a:gd name="connsiteX7074" fmla="*/ 5496123 w 8267681"/>
              <a:gd name="connsiteY7074" fmla="*/ 3029930 h 6698675"/>
              <a:gd name="connsiteX7075" fmla="*/ 5493775 w 8267681"/>
              <a:gd name="connsiteY7075" fmla="*/ 3034626 h 6698675"/>
              <a:gd name="connsiteX7076" fmla="*/ 5498472 w 8267681"/>
              <a:gd name="connsiteY7076" fmla="*/ 3032279 h 6698675"/>
              <a:gd name="connsiteX7077" fmla="*/ 5498472 w 8267681"/>
              <a:gd name="connsiteY7077" fmla="*/ 3029930 h 6698675"/>
              <a:gd name="connsiteX7078" fmla="*/ 5496123 w 8267681"/>
              <a:gd name="connsiteY7078" fmla="*/ 3029930 h 6698675"/>
              <a:gd name="connsiteX7079" fmla="*/ 5484379 w 8267681"/>
              <a:gd name="connsiteY7079" fmla="*/ 3027556 h 6698675"/>
              <a:gd name="connsiteX7080" fmla="*/ 5484379 w 8267681"/>
              <a:gd name="connsiteY7080" fmla="*/ 3032255 h 6698675"/>
              <a:gd name="connsiteX7081" fmla="*/ 5484379 w 8267681"/>
              <a:gd name="connsiteY7081" fmla="*/ 3027556 h 6698675"/>
              <a:gd name="connsiteX7082" fmla="*/ 5508288 w 8267681"/>
              <a:gd name="connsiteY7082" fmla="*/ 3021551 h 6698675"/>
              <a:gd name="connsiteX7083" fmla="*/ 5508968 w 8267681"/>
              <a:gd name="connsiteY7083" fmla="*/ 3026993 h 6698675"/>
              <a:gd name="connsiteX7084" fmla="*/ 5509568 w 8267681"/>
              <a:gd name="connsiteY7084" fmla="*/ 3027429 h 6698675"/>
              <a:gd name="connsiteX7085" fmla="*/ 5510217 w 8267681"/>
              <a:gd name="connsiteY7085" fmla="*/ 3022888 h 6698675"/>
              <a:gd name="connsiteX7086" fmla="*/ 5531355 w 8267681"/>
              <a:gd name="connsiteY7086" fmla="*/ 3020523 h 6698675"/>
              <a:gd name="connsiteX7087" fmla="*/ 5533704 w 8267681"/>
              <a:gd name="connsiteY7087" fmla="*/ 3025221 h 6698675"/>
              <a:gd name="connsiteX7088" fmla="*/ 5533704 w 8267681"/>
              <a:gd name="connsiteY7088" fmla="*/ 3029920 h 6698675"/>
              <a:gd name="connsiteX7089" fmla="*/ 5531355 w 8267681"/>
              <a:gd name="connsiteY7089" fmla="*/ 3029920 h 6698675"/>
              <a:gd name="connsiteX7090" fmla="*/ 5529007 w 8267681"/>
              <a:gd name="connsiteY7090" fmla="*/ 3027570 h 6698675"/>
              <a:gd name="connsiteX7091" fmla="*/ 5531355 w 8267681"/>
              <a:gd name="connsiteY7091" fmla="*/ 3020523 h 6698675"/>
              <a:gd name="connsiteX7092" fmla="*/ 408689 w 8267681"/>
              <a:gd name="connsiteY7092" fmla="*/ 3015889 h 6698675"/>
              <a:gd name="connsiteX7093" fmla="*/ 399291 w 8267681"/>
              <a:gd name="connsiteY7093" fmla="*/ 3018240 h 6698675"/>
              <a:gd name="connsiteX7094" fmla="*/ 389897 w 8267681"/>
              <a:gd name="connsiteY7094" fmla="*/ 3032323 h 6698675"/>
              <a:gd name="connsiteX7095" fmla="*/ 389897 w 8267681"/>
              <a:gd name="connsiteY7095" fmla="*/ 3041717 h 6698675"/>
              <a:gd name="connsiteX7096" fmla="*/ 389897 w 8267681"/>
              <a:gd name="connsiteY7096" fmla="*/ 3046416 h 6698675"/>
              <a:gd name="connsiteX7097" fmla="*/ 399291 w 8267681"/>
              <a:gd name="connsiteY7097" fmla="*/ 3029977 h 6698675"/>
              <a:gd name="connsiteX7098" fmla="*/ 408689 w 8267681"/>
              <a:gd name="connsiteY7098" fmla="*/ 3027627 h 6698675"/>
              <a:gd name="connsiteX7099" fmla="*/ 5566587 w 8267681"/>
              <a:gd name="connsiteY7099" fmla="*/ 3015844 h 6698675"/>
              <a:gd name="connsiteX7100" fmla="*/ 5566587 w 8267681"/>
              <a:gd name="connsiteY7100" fmla="*/ 3022888 h 6698675"/>
              <a:gd name="connsiteX7101" fmla="*/ 5575983 w 8267681"/>
              <a:gd name="connsiteY7101" fmla="*/ 3022888 h 6698675"/>
              <a:gd name="connsiteX7102" fmla="*/ 5578801 w 8267681"/>
              <a:gd name="connsiteY7102" fmla="*/ 3021478 h 6698675"/>
              <a:gd name="connsiteX7103" fmla="*/ 5578331 w 8267681"/>
              <a:gd name="connsiteY7103" fmla="*/ 3022888 h 6698675"/>
              <a:gd name="connsiteX7104" fmla="*/ 5580680 w 8267681"/>
              <a:gd name="connsiteY7104" fmla="*/ 3023671 h 6698675"/>
              <a:gd name="connsiteX7105" fmla="*/ 5580680 w 8267681"/>
              <a:gd name="connsiteY7105" fmla="*/ 3029934 h 6698675"/>
              <a:gd name="connsiteX7106" fmla="*/ 5571285 w 8267681"/>
              <a:gd name="connsiteY7106" fmla="*/ 3041679 h 6698675"/>
              <a:gd name="connsiteX7107" fmla="*/ 5573634 w 8267681"/>
              <a:gd name="connsiteY7107" fmla="*/ 3048727 h 6698675"/>
              <a:gd name="connsiteX7108" fmla="*/ 5564239 w 8267681"/>
              <a:gd name="connsiteY7108" fmla="*/ 3051076 h 6698675"/>
              <a:gd name="connsiteX7109" fmla="*/ 5547797 w 8267681"/>
              <a:gd name="connsiteY7109" fmla="*/ 3044030 h 6698675"/>
              <a:gd name="connsiteX7110" fmla="*/ 5547797 w 8267681"/>
              <a:gd name="connsiteY7110" fmla="*/ 3034632 h 6698675"/>
              <a:gd name="connsiteX7111" fmla="*/ 5550146 w 8267681"/>
              <a:gd name="connsiteY7111" fmla="*/ 3029934 h 6698675"/>
              <a:gd name="connsiteX7112" fmla="*/ 5557192 w 8267681"/>
              <a:gd name="connsiteY7112" fmla="*/ 3027587 h 6698675"/>
              <a:gd name="connsiteX7113" fmla="*/ 5564239 w 8267681"/>
              <a:gd name="connsiteY7113" fmla="*/ 3034632 h 6698675"/>
              <a:gd name="connsiteX7114" fmla="*/ 5566587 w 8267681"/>
              <a:gd name="connsiteY7114" fmla="*/ 3041679 h 6698675"/>
              <a:gd name="connsiteX7115" fmla="*/ 5573634 w 8267681"/>
              <a:gd name="connsiteY7115" fmla="*/ 3027587 h 6698675"/>
              <a:gd name="connsiteX7116" fmla="*/ 5564239 w 8267681"/>
              <a:gd name="connsiteY7116" fmla="*/ 3027587 h 6698675"/>
              <a:gd name="connsiteX7117" fmla="*/ 5557192 w 8267681"/>
              <a:gd name="connsiteY7117" fmla="*/ 3018191 h 6698675"/>
              <a:gd name="connsiteX7118" fmla="*/ 5498472 w 8267681"/>
              <a:gd name="connsiteY7118" fmla="*/ 3015837 h 6698675"/>
              <a:gd name="connsiteX7119" fmla="*/ 5500821 w 8267681"/>
              <a:gd name="connsiteY7119" fmla="*/ 3022882 h 6698675"/>
              <a:gd name="connsiteX7120" fmla="*/ 5500824 w 8267681"/>
              <a:gd name="connsiteY7120" fmla="*/ 3022879 h 6698675"/>
              <a:gd name="connsiteX7121" fmla="*/ 5502165 w 8267681"/>
              <a:gd name="connsiteY7121" fmla="*/ 3016363 h 6698675"/>
              <a:gd name="connsiteX7122" fmla="*/ 5977624 w 8267681"/>
              <a:gd name="connsiteY7122" fmla="*/ 3013494 h 6698675"/>
              <a:gd name="connsiteX7123" fmla="*/ 5984670 w 8267681"/>
              <a:gd name="connsiteY7123" fmla="*/ 3020539 h 6698675"/>
              <a:gd name="connsiteX7124" fmla="*/ 5989368 w 8267681"/>
              <a:gd name="connsiteY7124" fmla="*/ 3013494 h 6698675"/>
              <a:gd name="connsiteX7125" fmla="*/ 5975275 w 8267681"/>
              <a:gd name="connsiteY7125" fmla="*/ 3013494 h 6698675"/>
              <a:gd name="connsiteX7126" fmla="*/ 5963531 w 8267681"/>
              <a:gd name="connsiteY7126" fmla="*/ 3025237 h 6698675"/>
              <a:gd name="connsiteX7127" fmla="*/ 5975275 w 8267681"/>
              <a:gd name="connsiteY7127" fmla="*/ 3025237 h 6698675"/>
              <a:gd name="connsiteX7128" fmla="*/ 5456195 w 8267681"/>
              <a:gd name="connsiteY7128" fmla="*/ 3011136 h 6698675"/>
              <a:gd name="connsiteX7129" fmla="*/ 5460892 w 8267681"/>
              <a:gd name="connsiteY7129" fmla="*/ 3011136 h 6698675"/>
              <a:gd name="connsiteX7130" fmla="*/ 5465590 w 8267681"/>
              <a:gd name="connsiteY7130" fmla="*/ 3013485 h 6698675"/>
              <a:gd name="connsiteX7131" fmla="*/ 5460892 w 8267681"/>
              <a:gd name="connsiteY7131" fmla="*/ 3018185 h 6698675"/>
              <a:gd name="connsiteX7132" fmla="*/ 5460892 w 8267681"/>
              <a:gd name="connsiteY7132" fmla="*/ 3015834 h 6698675"/>
              <a:gd name="connsiteX7133" fmla="*/ 5460892 w 8267681"/>
              <a:gd name="connsiteY7133" fmla="*/ 3013485 h 6698675"/>
              <a:gd name="connsiteX7134" fmla="*/ 5456195 w 8267681"/>
              <a:gd name="connsiteY7134" fmla="*/ 3013485 h 6698675"/>
              <a:gd name="connsiteX7135" fmla="*/ 173807 w 8267681"/>
              <a:gd name="connsiteY7135" fmla="*/ 3006483 h 6698675"/>
              <a:gd name="connsiteX7136" fmla="*/ 180858 w 8267681"/>
              <a:gd name="connsiteY7136" fmla="*/ 3013528 h 6698675"/>
              <a:gd name="connsiteX7137" fmla="*/ 173807 w 8267681"/>
              <a:gd name="connsiteY7137" fmla="*/ 3020572 h 6698675"/>
              <a:gd name="connsiteX7138" fmla="*/ 166765 w 8267681"/>
              <a:gd name="connsiteY7138" fmla="*/ 3013528 h 6698675"/>
              <a:gd name="connsiteX7139" fmla="*/ 5484379 w 8267681"/>
              <a:gd name="connsiteY7139" fmla="*/ 3006438 h 6698675"/>
              <a:gd name="connsiteX7140" fmla="*/ 5489077 w 8267681"/>
              <a:gd name="connsiteY7140" fmla="*/ 3015834 h 6698675"/>
              <a:gd name="connsiteX7141" fmla="*/ 5489077 w 8267681"/>
              <a:gd name="connsiteY7141" fmla="*/ 3020529 h 6698675"/>
              <a:gd name="connsiteX7142" fmla="*/ 5486728 w 8267681"/>
              <a:gd name="connsiteY7142" fmla="*/ 3020529 h 6698675"/>
              <a:gd name="connsiteX7143" fmla="*/ 5484379 w 8267681"/>
              <a:gd name="connsiteY7143" fmla="*/ 3020529 h 6698675"/>
              <a:gd name="connsiteX7144" fmla="*/ 5486728 w 8267681"/>
              <a:gd name="connsiteY7144" fmla="*/ 3018185 h 6698675"/>
              <a:gd name="connsiteX7145" fmla="*/ 5486728 w 8267681"/>
              <a:gd name="connsiteY7145" fmla="*/ 3013485 h 6698675"/>
              <a:gd name="connsiteX7146" fmla="*/ 5482031 w 8267681"/>
              <a:gd name="connsiteY7146" fmla="*/ 3008787 h 6698675"/>
              <a:gd name="connsiteX7147" fmla="*/ 5381034 w 8267681"/>
              <a:gd name="connsiteY7147" fmla="*/ 3004056 h 6698675"/>
              <a:gd name="connsiteX7148" fmla="*/ 5383383 w 8267681"/>
              <a:gd name="connsiteY7148" fmla="*/ 3008754 h 6698675"/>
              <a:gd name="connsiteX7149" fmla="*/ 5381034 w 8267681"/>
              <a:gd name="connsiteY7149" fmla="*/ 3008754 h 6698675"/>
              <a:gd name="connsiteX7150" fmla="*/ 528480 w 8267681"/>
              <a:gd name="connsiteY7150" fmla="*/ 3001794 h 6698675"/>
              <a:gd name="connsiteX7151" fmla="*/ 528480 w 8267681"/>
              <a:gd name="connsiteY7151" fmla="*/ 3011191 h 6698675"/>
              <a:gd name="connsiteX7152" fmla="*/ 537872 w 8267681"/>
              <a:gd name="connsiteY7152" fmla="*/ 3011191 h 6698675"/>
              <a:gd name="connsiteX7153" fmla="*/ 540222 w 8267681"/>
              <a:gd name="connsiteY7153" fmla="*/ 3004146 h 6698675"/>
              <a:gd name="connsiteX7154" fmla="*/ 537872 w 8267681"/>
              <a:gd name="connsiteY7154" fmla="*/ 3001794 h 6698675"/>
              <a:gd name="connsiteX7155" fmla="*/ 5378685 w 8267681"/>
              <a:gd name="connsiteY7155" fmla="*/ 3001702 h 6698675"/>
              <a:gd name="connsiteX7156" fmla="*/ 5381034 w 8267681"/>
              <a:gd name="connsiteY7156" fmla="*/ 3001702 h 6698675"/>
              <a:gd name="connsiteX7157" fmla="*/ 5381034 w 8267681"/>
              <a:gd name="connsiteY7157" fmla="*/ 3004051 h 6698675"/>
              <a:gd name="connsiteX7158" fmla="*/ 5538407 w 8267681"/>
              <a:gd name="connsiteY7158" fmla="*/ 2999398 h 6698675"/>
              <a:gd name="connsiteX7159" fmla="*/ 5539579 w 8267681"/>
              <a:gd name="connsiteY7159" fmla="*/ 3000570 h 6698675"/>
              <a:gd name="connsiteX7160" fmla="*/ 5540751 w 8267681"/>
              <a:gd name="connsiteY7160" fmla="*/ 2999398 h 6698675"/>
              <a:gd name="connsiteX7161" fmla="*/ 5315268 w 8267681"/>
              <a:gd name="connsiteY7161" fmla="*/ 2999352 h 6698675"/>
              <a:gd name="connsiteX7162" fmla="*/ 5317617 w 8267681"/>
              <a:gd name="connsiteY7162" fmla="*/ 2999352 h 6698675"/>
              <a:gd name="connsiteX7163" fmla="*/ 5315268 w 8267681"/>
              <a:gd name="connsiteY7163" fmla="*/ 3001702 h 6698675"/>
              <a:gd name="connsiteX7164" fmla="*/ 5477334 w 8267681"/>
              <a:gd name="connsiteY7164" fmla="*/ 2997034 h 6698675"/>
              <a:gd name="connsiteX7165" fmla="*/ 5482031 w 8267681"/>
              <a:gd name="connsiteY7165" fmla="*/ 2997034 h 6698675"/>
              <a:gd name="connsiteX7166" fmla="*/ 5482031 w 8267681"/>
              <a:gd name="connsiteY7166" fmla="*/ 3001733 h 6698675"/>
              <a:gd name="connsiteX7167" fmla="*/ 5477334 w 8267681"/>
              <a:gd name="connsiteY7167" fmla="*/ 3001733 h 6698675"/>
              <a:gd name="connsiteX7168" fmla="*/ 5439753 w 8267681"/>
              <a:gd name="connsiteY7168" fmla="*/ 2997034 h 6698675"/>
              <a:gd name="connsiteX7169" fmla="*/ 5446799 w 8267681"/>
              <a:gd name="connsiteY7169" fmla="*/ 2997034 h 6698675"/>
              <a:gd name="connsiteX7170" fmla="*/ 5444450 w 8267681"/>
              <a:gd name="connsiteY7170" fmla="*/ 2999384 h 6698675"/>
              <a:gd name="connsiteX7171" fmla="*/ 5446799 w 8267681"/>
              <a:gd name="connsiteY7171" fmla="*/ 2999384 h 6698675"/>
              <a:gd name="connsiteX7172" fmla="*/ 5449148 w 8267681"/>
              <a:gd name="connsiteY7172" fmla="*/ 3004084 h 6698675"/>
              <a:gd name="connsiteX7173" fmla="*/ 5446799 w 8267681"/>
              <a:gd name="connsiteY7173" fmla="*/ 3006432 h 6698675"/>
              <a:gd name="connsiteX7174" fmla="*/ 5439753 w 8267681"/>
              <a:gd name="connsiteY7174" fmla="*/ 2997034 h 6698675"/>
              <a:gd name="connsiteX7175" fmla="*/ 5371639 w 8267681"/>
              <a:gd name="connsiteY7175" fmla="*/ 2997019 h 6698675"/>
              <a:gd name="connsiteX7176" fmla="*/ 5371639 w 8267681"/>
              <a:gd name="connsiteY7176" fmla="*/ 2999368 h 6698675"/>
              <a:gd name="connsiteX7177" fmla="*/ 5366941 w 8267681"/>
              <a:gd name="connsiteY7177" fmla="*/ 2999368 h 6698675"/>
              <a:gd name="connsiteX7178" fmla="*/ 5371639 w 8267681"/>
              <a:gd name="connsiteY7178" fmla="*/ 2997019 h 6698675"/>
              <a:gd name="connsiteX7179" fmla="*/ 5465590 w 8267681"/>
              <a:gd name="connsiteY7179" fmla="*/ 2994697 h 6698675"/>
              <a:gd name="connsiteX7180" fmla="*/ 5465590 w 8267681"/>
              <a:gd name="connsiteY7180" fmla="*/ 2999390 h 6698675"/>
              <a:gd name="connsiteX7181" fmla="*/ 5465590 w 8267681"/>
              <a:gd name="connsiteY7181" fmla="*/ 3001739 h 6698675"/>
              <a:gd name="connsiteX7182" fmla="*/ 5470288 w 8267681"/>
              <a:gd name="connsiteY7182" fmla="*/ 3006438 h 6698675"/>
              <a:gd name="connsiteX7183" fmla="*/ 5467939 w 8267681"/>
              <a:gd name="connsiteY7183" fmla="*/ 3008788 h 6698675"/>
              <a:gd name="connsiteX7184" fmla="*/ 5465590 w 8267681"/>
              <a:gd name="connsiteY7184" fmla="*/ 3004090 h 6698675"/>
              <a:gd name="connsiteX7185" fmla="*/ 5456195 w 8267681"/>
              <a:gd name="connsiteY7185" fmla="*/ 3004090 h 6698675"/>
              <a:gd name="connsiteX7186" fmla="*/ 5458544 w 8267681"/>
              <a:gd name="connsiteY7186" fmla="*/ 2997043 h 6698675"/>
              <a:gd name="connsiteX7187" fmla="*/ 5458544 w 8267681"/>
              <a:gd name="connsiteY7187" fmla="*/ 3001739 h 6698675"/>
              <a:gd name="connsiteX7188" fmla="*/ 5460892 w 8267681"/>
              <a:gd name="connsiteY7188" fmla="*/ 3001739 h 6698675"/>
              <a:gd name="connsiteX7189" fmla="*/ 5460892 w 8267681"/>
              <a:gd name="connsiteY7189" fmla="*/ 2997043 h 6698675"/>
              <a:gd name="connsiteX7190" fmla="*/ 5470287 w 8267681"/>
              <a:gd name="connsiteY7190" fmla="*/ 2994678 h 6698675"/>
              <a:gd name="connsiteX7191" fmla="*/ 5474984 w 8267681"/>
              <a:gd name="connsiteY7191" fmla="*/ 2994678 h 6698675"/>
              <a:gd name="connsiteX7192" fmla="*/ 5470287 w 8267681"/>
              <a:gd name="connsiteY7192" fmla="*/ 2999373 h 6698675"/>
              <a:gd name="connsiteX7193" fmla="*/ 5470287 w 8267681"/>
              <a:gd name="connsiteY7193" fmla="*/ 2994678 h 6698675"/>
              <a:gd name="connsiteX7194" fmla="*/ 288899 w 8267681"/>
              <a:gd name="connsiteY7194" fmla="*/ 2992405 h 6698675"/>
              <a:gd name="connsiteX7195" fmla="*/ 302992 w 8267681"/>
              <a:gd name="connsiteY7195" fmla="*/ 2992405 h 6698675"/>
              <a:gd name="connsiteX7196" fmla="*/ 312391 w 8267681"/>
              <a:gd name="connsiteY7196" fmla="*/ 3008841 h 6698675"/>
              <a:gd name="connsiteX7197" fmla="*/ 307691 w 8267681"/>
              <a:gd name="connsiteY7197" fmla="*/ 3011191 h 6698675"/>
              <a:gd name="connsiteX7198" fmla="*/ 300643 w 8267681"/>
              <a:gd name="connsiteY7198" fmla="*/ 3008841 h 6698675"/>
              <a:gd name="connsiteX7199" fmla="*/ 5456194 w 8267681"/>
              <a:gd name="connsiteY7199" fmla="*/ 2992341 h 6698675"/>
              <a:gd name="connsiteX7200" fmla="*/ 5458543 w 8267681"/>
              <a:gd name="connsiteY7200" fmla="*/ 2992341 h 6698675"/>
              <a:gd name="connsiteX7201" fmla="*/ 5460892 w 8267681"/>
              <a:gd name="connsiteY7201" fmla="*/ 2997039 h 6698675"/>
              <a:gd name="connsiteX7202" fmla="*/ 5425660 w 8267681"/>
              <a:gd name="connsiteY7202" fmla="*/ 2992332 h 6698675"/>
              <a:gd name="connsiteX7203" fmla="*/ 5430358 w 8267681"/>
              <a:gd name="connsiteY7203" fmla="*/ 2997031 h 6698675"/>
              <a:gd name="connsiteX7204" fmla="*/ 5425660 w 8267681"/>
              <a:gd name="connsiteY7204" fmla="*/ 2992332 h 6698675"/>
              <a:gd name="connsiteX7205" fmla="*/ 5486729 w 8267681"/>
              <a:gd name="connsiteY7205" fmla="*/ 2992328 h 6698675"/>
              <a:gd name="connsiteX7206" fmla="*/ 5489078 w 8267681"/>
              <a:gd name="connsiteY7206" fmla="*/ 2997023 h 6698675"/>
              <a:gd name="connsiteX7207" fmla="*/ 5484380 w 8267681"/>
              <a:gd name="connsiteY7207" fmla="*/ 2997023 h 6698675"/>
              <a:gd name="connsiteX7208" fmla="*/ 5538402 w 8267681"/>
              <a:gd name="connsiteY7208" fmla="*/ 2990010 h 6698675"/>
              <a:gd name="connsiteX7209" fmla="*/ 5538402 w 8267681"/>
              <a:gd name="connsiteY7209" fmla="*/ 2992354 h 6698675"/>
              <a:gd name="connsiteX7210" fmla="*/ 5537521 w 8267681"/>
              <a:gd name="connsiteY7210" fmla="*/ 2991476 h 6698675"/>
              <a:gd name="connsiteX7211" fmla="*/ 5535373 w 8267681"/>
              <a:gd name="connsiteY7211" fmla="*/ 2992503 h 6698675"/>
              <a:gd name="connsiteX7212" fmla="*/ 5538402 w 8267681"/>
              <a:gd name="connsiteY7212" fmla="*/ 2997043 h 6698675"/>
              <a:gd name="connsiteX7213" fmla="*/ 5538402 w 8267681"/>
              <a:gd name="connsiteY7213" fmla="*/ 2992354 h 6698675"/>
              <a:gd name="connsiteX7214" fmla="*/ 5543100 w 8267681"/>
              <a:gd name="connsiteY7214" fmla="*/ 2997047 h 6698675"/>
              <a:gd name="connsiteX7215" fmla="*/ 5545448 w 8267681"/>
              <a:gd name="connsiteY7215" fmla="*/ 2997047 h 6698675"/>
              <a:gd name="connsiteX7216" fmla="*/ 5312919 w 8267681"/>
              <a:gd name="connsiteY7216" fmla="*/ 2989996 h 6698675"/>
              <a:gd name="connsiteX7217" fmla="*/ 5317616 w 8267681"/>
              <a:gd name="connsiteY7217" fmla="*/ 2989996 h 6698675"/>
              <a:gd name="connsiteX7218" fmla="*/ 5319965 w 8267681"/>
              <a:gd name="connsiteY7218" fmla="*/ 2989996 h 6698675"/>
              <a:gd name="connsiteX7219" fmla="*/ 5317616 w 8267681"/>
              <a:gd name="connsiteY7219" fmla="*/ 2994688 h 6698675"/>
              <a:gd name="connsiteX7220" fmla="*/ 5312919 w 8267681"/>
              <a:gd name="connsiteY7220" fmla="*/ 2989996 h 6698675"/>
              <a:gd name="connsiteX7221" fmla="*/ 5451497 w 8267681"/>
              <a:gd name="connsiteY7221" fmla="*/ 2985294 h 6698675"/>
              <a:gd name="connsiteX7222" fmla="*/ 5458543 w 8267681"/>
              <a:gd name="connsiteY7222" fmla="*/ 2989998 h 6698675"/>
              <a:gd name="connsiteX7223" fmla="*/ 5456194 w 8267681"/>
              <a:gd name="connsiteY7223" fmla="*/ 2992341 h 6698675"/>
              <a:gd name="connsiteX7224" fmla="*/ 5453846 w 8267681"/>
              <a:gd name="connsiteY7224" fmla="*/ 2992341 h 6698675"/>
              <a:gd name="connsiteX7225" fmla="*/ 5451497 w 8267681"/>
              <a:gd name="connsiteY7225" fmla="*/ 2989998 h 6698675"/>
              <a:gd name="connsiteX7226" fmla="*/ 5451497 w 8267681"/>
              <a:gd name="connsiteY7226" fmla="*/ 2987648 h 6698675"/>
              <a:gd name="connsiteX7227" fmla="*/ 5489078 w 8267681"/>
              <a:gd name="connsiteY7227" fmla="*/ 2985265 h 6698675"/>
              <a:gd name="connsiteX7228" fmla="*/ 5491426 w 8267681"/>
              <a:gd name="connsiteY7228" fmla="*/ 2985265 h 6698675"/>
              <a:gd name="connsiteX7229" fmla="*/ 5493775 w 8267681"/>
              <a:gd name="connsiteY7229" fmla="*/ 2987615 h 6698675"/>
              <a:gd name="connsiteX7230" fmla="*/ 5492966 w 8267681"/>
              <a:gd name="connsiteY7230" fmla="*/ 2987615 h 6698675"/>
              <a:gd name="connsiteX7231" fmla="*/ 5496124 w 8267681"/>
              <a:gd name="connsiteY7231" fmla="*/ 2992354 h 6698675"/>
              <a:gd name="connsiteX7232" fmla="*/ 5491427 w 8267681"/>
              <a:gd name="connsiteY7232" fmla="*/ 2997047 h 6698675"/>
              <a:gd name="connsiteX7233" fmla="*/ 5491427 w 8267681"/>
              <a:gd name="connsiteY7233" fmla="*/ 2987615 h 6698675"/>
              <a:gd name="connsiteX7234" fmla="*/ 5491426 w 8267681"/>
              <a:gd name="connsiteY7234" fmla="*/ 2987615 h 6698675"/>
              <a:gd name="connsiteX7235" fmla="*/ 5343453 w 8267681"/>
              <a:gd name="connsiteY7235" fmla="*/ 2985264 h 6698675"/>
              <a:gd name="connsiteX7236" fmla="*/ 5345802 w 8267681"/>
              <a:gd name="connsiteY7236" fmla="*/ 2987614 h 6698675"/>
              <a:gd name="connsiteX7237" fmla="*/ 5343453 w 8267681"/>
              <a:gd name="connsiteY7237" fmla="*/ 2989961 h 6698675"/>
              <a:gd name="connsiteX7238" fmla="*/ 5343453 w 8267681"/>
              <a:gd name="connsiteY7238" fmla="*/ 2987614 h 6698675"/>
              <a:gd name="connsiteX7239" fmla="*/ 5319965 w 8267681"/>
              <a:gd name="connsiteY7239" fmla="*/ 2985262 h 6698675"/>
              <a:gd name="connsiteX7240" fmla="*/ 5322314 w 8267681"/>
              <a:gd name="connsiteY7240" fmla="*/ 2985262 h 6698675"/>
              <a:gd name="connsiteX7241" fmla="*/ 5319965 w 8267681"/>
              <a:gd name="connsiteY7241" fmla="*/ 2987611 h 6698675"/>
              <a:gd name="connsiteX7242" fmla="*/ 5303524 w 8267681"/>
              <a:gd name="connsiteY7242" fmla="*/ 2985256 h 6698675"/>
              <a:gd name="connsiteX7243" fmla="*/ 5305873 w 8267681"/>
              <a:gd name="connsiteY7243" fmla="*/ 2987605 h 6698675"/>
              <a:gd name="connsiteX7244" fmla="*/ 5303524 w 8267681"/>
              <a:gd name="connsiteY7244" fmla="*/ 2987605 h 6698675"/>
              <a:gd name="connsiteX7245" fmla="*/ 5289432 w 8267681"/>
              <a:gd name="connsiteY7245" fmla="*/ 2982923 h 6698675"/>
              <a:gd name="connsiteX7246" fmla="*/ 5291780 w 8267681"/>
              <a:gd name="connsiteY7246" fmla="*/ 2982923 h 6698675"/>
              <a:gd name="connsiteX7247" fmla="*/ 5289432 w 8267681"/>
              <a:gd name="connsiteY7247" fmla="*/ 2985271 h 6698675"/>
              <a:gd name="connsiteX7248" fmla="*/ 5557192 w 8267681"/>
              <a:gd name="connsiteY7248" fmla="*/ 2982918 h 6698675"/>
              <a:gd name="connsiteX7249" fmla="*/ 5559541 w 8267681"/>
              <a:gd name="connsiteY7249" fmla="*/ 2982918 h 6698675"/>
              <a:gd name="connsiteX7250" fmla="*/ 5559541 w 8267681"/>
              <a:gd name="connsiteY7250" fmla="*/ 2985265 h 6698675"/>
              <a:gd name="connsiteX7251" fmla="*/ 5453846 w 8267681"/>
              <a:gd name="connsiteY7251" fmla="*/ 2982915 h 6698675"/>
              <a:gd name="connsiteX7252" fmla="*/ 5456194 w 8267681"/>
              <a:gd name="connsiteY7252" fmla="*/ 2982915 h 6698675"/>
              <a:gd name="connsiteX7253" fmla="*/ 5458543 w 8267681"/>
              <a:gd name="connsiteY7253" fmla="*/ 2982915 h 6698675"/>
              <a:gd name="connsiteX7254" fmla="*/ 5456194 w 8267681"/>
              <a:gd name="connsiteY7254" fmla="*/ 2985264 h 6698675"/>
              <a:gd name="connsiteX7255" fmla="*/ 5324663 w 8267681"/>
              <a:gd name="connsiteY7255" fmla="*/ 2982915 h 6698675"/>
              <a:gd name="connsiteX7256" fmla="*/ 5327011 w 8267681"/>
              <a:gd name="connsiteY7256" fmla="*/ 2982915 h 6698675"/>
              <a:gd name="connsiteX7257" fmla="*/ 5327011 w 8267681"/>
              <a:gd name="connsiteY7257" fmla="*/ 2987613 h 6698675"/>
              <a:gd name="connsiteX7258" fmla="*/ 5557147 w 8267681"/>
              <a:gd name="connsiteY7258" fmla="*/ 2978258 h 6698675"/>
              <a:gd name="connsiteX7259" fmla="*/ 5557144 w 8267681"/>
              <a:gd name="connsiteY7259" fmla="*/ 2978262 h 6698675"/>
              <a:gd name="connsiteX7260" fmla="*/ 5557192 w 8267681"/>
              <a:gd name="connsiteY7260" fmla="*/ 2978262 h 6698675"/>
              <a:gd name="connsiteX7261" fmla="*/ 5552495 w 8267681"/>
              <a:gd name="connsiteY7261" fmla="*/ 2985306 h 6698675"/>
              <a:gd name="connsiteX7262" fmla="*/ 5559541 w 8267681"/>
              <a:gd name="connsiteY7262" fmla="*/ 2987657 h 6698675"/>
              <a:gd name="connsiteX7263" fmla="*/ 5561199 w 8267681"/>
              <a:gd name="connsiteY7263" fmla="*/ 2990145 h 6698675"/>
              <a:gd name="connsiteX7264" fmla="*/ 5559541 w 8267681"/>
              <a:gd name="connsiteY7264" fmla="*/ 2992354 h 6698675"/>
              <a:gd name="connsiteX7265" fmla="*/ 5562673 w 8267681"/>
              <a:gd name="connsiteY7265" fmla="*/ 2992354 h 6698675"/>
              <a:gd name="connsiteX7266" fmla="*/ 5564239 w 8267681"/>
              <a:gd name="connsiteY7266" fmla="*/ 2994701 h 6698675"/>
              <a:gd name="connsiteX7267" fmla="*/ 5554843 w 8267681"/>
              <a:gd name="connsiteY7267" fmla="*/ 2994701 h 6698675"/>
              <a:gd name="connsiteX7268" fmla="*/ 5554843 w 8267681"/>
              <a:gd name="connsiteY7268" fmla="*/ 2997047 h 6698675"/>
              <a:gd name="connsiteX7269" fmla="*/ 5568936 w 8267681"/>
              <a:gd name="connsiteY7269" fmla="*/ 2997047 h 6698675"/>
              <a:gd name="connsiteX7270" fmla="*/ 5568936 w 8267681"/>
              <a:gd name="connsiteY7270" fmla="*/ 2992354 h 6698675"/>
              <a:gd name="connsiteX7271" fmla="*/ 5562673 w 8267681"/>
              <a:gd name="connsiteY7271" fmla="*/ 2992354 h 6698675"/>
              <a:gd name="connsiteX7272" fmla="*/ 5561199 w 8267681"/>
              <a:gd name="connsiteY7272" fmla="*/ 2990145 h 6698675"/>
              <a:gd name="connsiteX7273" fmla="*/ 5566587 w 8267681"/>
              <a:gd name="connsiteY7273" fmla="*/ 2982957 h 6698675"/>
              <a:gd name="connsiteX7274" fmla="*/ 5557192 w 8267681"/>
              <a:gd name="connsiteY7274" fmla="*/ 2978262 h 6698675"/>
              <a:gd name="connsiteX7275" fmla="*/ 5432707 w 8267681"/>
              <a:gd name="connsiteY7275" fmla="*/ 2978252 h 6698675"/>
              <a:gd name="connsiteX7276" fmla="*/ 5439753 w 8267681"/>
              <a:gd name="connsiteY7276" fmla="*/ 2985297 h 6698675"/>
              <a:gd name="connsiteX7277" fmla="*/ 5442102 w 8267681"/>
              <a:gd name="connsiteY7277" fmla="*/ 2982950 h 6698675"/>
              <a:gd name="connsiteX7278" fmla="*/ 5442102 w 8267681"/>
              <a:gd name="connsiteY7278" fmla="*/ 2985297 h 6698675"/>
              <a:gd name="connsiteX7279" fmla="*/ 5439753 w 8267681"/>
              <a:gd name="connsiteY7279" fmla="*/ 2987649 h 6698675"/>
              <a:gd name="connsiteX7280" fmla="*/ 5435056 w 8267681"/>
              <a:gd name="connsiteY7280" fmla="*/ 2985297 h 6698675"/>
              <a:gd name="connsiteX7281" fmla="*/ 5435056 w 8267681"/>
              <a:gd name="connsiteY7281" fmla="*/ 2989995 h 6698675"/>
              <a:gd name="connsiteX7282" fmla="*/ 5439753 w 8267681"/>
              <a:gd name="connsiteY7282" fmla="*/ 2994686 h 6698675"/>
              <a:gd name="connsiteX7283" fmla="*/ 5439753 w 8267681"/>
              <a:gd name="connsiteY7283" fmla="*/ 2997034 h 6698675"/>
              <a:gd name="connsiteX7284" fmla="*/ 5435056 w 8267681"/>
              <a:gd name="connsiteY7284" fmla="*/ 2994686 h 6698675"/>
              <a:gd name="connsiteX7285" fmla="*/ 5435056 w 8267681"/>
              <a:gd name="connsiteY7285" fmla="*/ 2990000 h 6698675"/>
              <a:gd name="connsiteX7286" fmla="*/ 5432707 w 8267681"/>
              <a:gd name="connsiteY7286" fmla="*/ 2987649 h 6698675"/>
              <a:gd name="connsiteX7287" fmla="*/ 5432707 w 8267681"/>
              <a:gd name="connsiteY7287" fmla="*/ 2982950 h 6698675"/>
              <a:gd name="connsiteX7288" fmla="*/ 5539517 w 8267681"/>
              <a:gd name="connsiteY7288" fmla="*/ 2977557 h 6698675"/>
              <a:gd name="connsiteX7289" fmla="*/ 5539650 w 8267681"/>
              <a:gd name="connsiteY7289" fmla="*/ 2978114 h 6698675"/>
              <a:gd name="connsiteX7290" fmla="*/ 5540751 w 8267681"/>
              <a:gd name="connsiteY7290" fmla="*/ 2985306 h 6698675"/>
              <a:gd name="connsiteX7291" fmla="*/ 5538402 w 8267681"/>
              <a:gd name="connsiteY7291" fmla="*/ 2987657 h 6698675"/>
              <a:gd name="connsiteX7292" fmla="*/ 5533705 w 8267681"/>
              <a:gd name="connsiteY7292" fmla="*/ 2985306 h 6698675"/>
              <a:gd name="connsiteX7293" fmla="*/ 5409219 w 8267681"/>
              <a:gd name="connsiteY7293" fmla="*/ 2975886 h 6698675"/>
              <a:gd name="connsiteX7294" fmla="*/ 5411568 w 8267681"/>
              <a:gd name="connsiteY7294" fmla="*/ 2980584 h 6698675"/>
              <a:gd name="connsiteX7295" fmla="*/ 5409219 w 8267681"/>
              <a:gd name="connsiteY7295" fmla="*/ 2982933 h 6698675"/>
              <a:gd name="connsiteX7296" fmla="*/ 5423312 w 8267681"/>
              <a:gd name="connsiteY7296" fmla="*/ 2975877 h 6698675"/>
              <a:gd name="connsiteX7297" fmla="*/ 5423312 w 8267681"/>
              <a:gd name="connsiteY7297" fmla="*/ 2980577 h 6698675"/>
              <a:gd name="connsiteX7298" fmla="*/ 5420963 w 8267681"/>
              <a:gd name="connsiteY7298" fmla="*/ 2978229 h 6698675"/>
              <a:gd name="connsiteX7299" fmla="*/ 5423312 w 8267681"/>
              <a:gd name="connsiteY7299" fmla="*/ 2975877 h 6698675"/>
              <a:gd name="connsiteX7300" fmla="*/ 5977624 w 8267681"/>
              <a:gd name="connsiteY7300" fmla="*/ 2973562 h 6698675"/>
              <a:gd name="connsiteX7301" fmla="*/ 5965880 w 8267681"/>
              <a:gd name="connsiteY7301" fmla="*/ 2975908 h 6698675"/>
              <a:gd name="connsiteX7302" fmla="*/ 5972926 w 8267681"/>
              <a:gd name="connsiteY7302" fmla="*/ 2982957 h 6698675"/>
              <a:gd name="connsiteX7303" fmla="*/ 5312919 w 8267681"/>
              <a:gd name="connsiteY7303" fmla="*/ 2973554 h 6698675"/>
              <a:gd name="connsiteX7304" fmla="*/ 5317616 w 8267681"/>
              <a:gd name="connsiteY7304" fmla="*/ 2973554 h 6698675"/>
              <a:gd name="connsiteX7305" fmla="*/ 5319965 w 8267681"/>
              <a:gd name="connsiteY7305" fmla="*/ 2978257 h 6698675"/>
              <a:gd name="connsiteX7306" fmla="*/ 5319965 w 8267681"/>
              <a:gd name="connsiteY7306" fmla="*/ 2982953 h 6698675"/>
              <a:gd name="connsiteX7307" fmla="*/ 5315267 w 8267681"/>
              <a:gd name="connsiteY7307" fmla="*/ 2980602 h 6698675"/>
              <a:gd name="connsiteX7308" fmla="*/ 5308221 w 8267681"/>
              <a:gd name="connsiteY7308" fmla="*/ 2980602 h 6698675"/>
              <a:gd name="connsiteX7309" fmla="*/ 5310570 w 8267681"/>
              <a:gd name="connsiteY7309" fmla="*/ 2978257 h 6698675"/>
              <a:gd name="connsiteX7310" fmla="*/ 5315267 w 8267681"/>
              <a:gd name="connsiteY7310" fmla="*/ 2975903 h 6698675"/>
              <a:gd name="connsiteX7311" fmla="*/ 5439753 w 8267681"/>
              <a:gd name="connsiteY7311" fmla="*/ 2973537 h 6698675"/>
              <a:gd name="connsiteX7312" fmla="*/ 5444450 w 8267681"/>
              <a:gd name="connsiteY7312" fmla="*/ 2975884 h 6698675"/>
              <a:gd name="connsiteX7313" fmla="*/ 5442102 w 8267681"/>
              <a:gd name="connsiteY7313" fmla="*/ 2978235 h 6698675"/>
              <a:gd name="connsiteX7314" fmla="*/ 5280036 w 8267681"/>
              <a:gd name="connsiteY7314" fmla="*/ 2973529 h 6698675"/>
              <a:gd name="connsiteX7315" fmla="*/ 5282385 w 8267681"/>
              <a:gd name="connsiteY7315" fmla="*/ 2973529 h 6698675"/>
              <a:gd name="connsiteX7316" fmla="*/ 5282385 w 8267681"/>
              <a:gd name="connsiteY7316" fmla="*/ 2978229 h 6698675"/>
              <a:gd name="connsiteX7317" fmla="*/ 5280036 w 8267681"/>
              <a:gd name="connsiteY7317" fmla="*/ 2978229 h 6698675"/>
              <a:gd name="connsiteX7318" fmla="*/ 5303523 w 8267681"/>
              <a:gd name="connsiteY7318" fmla="*/ 2971205 h 6698675"/>
              <a:gd name="connsiteX7319" fmla="*/ 5303523 w 8267681"/>
              <a:gd name="connsiteY7319" fmla="*/ 2973547 h 6698675"/>
              <a:gd name="connsiteX7320" fmla="*/ 5305872 w 8267681"/>
              <a:gd name="connsiteY7320" fmla="*/ 2978251 h 6698675"/>
              <a:gd name="connsiteX7321" fmla="*/ 5308221 w 8267681"/>
              <a:gd name="connsiteY7321" fmla="*/ 2978251 h 6698675"/>
              <a:gd name="connsiteX7322" fmla="*/ 5305872 w 8267681"/>
              <a:gd name="connsiteY7322" fmla="*/ 2980597 h 6698675"/>
              <a:gd name="connsiteX7323" fmla="*/ 5303523 w 8267681"/>
              <a:gd name="connsiteY7323" fmla="*/ 2978251 h 6698675"/>
              <a:gd name="connsiteX7324" fmla="*/ 5301175 w 8267681"/>
              <a:gd name="connsiteY7324" fmla="*/ 2973547 h 6698675"/>
              <a:gd name="connsiteX7325" fmla="*/ 5331709 w 8267681"/>
              <a:gd name="connsiteY7325" fmla="*/ 2971199 h 6698675"/>
              <a:gd name="connsiteX7326" fmla="*/ 5334058 w 8267681"/>
              <a:gd name="connsiteY7326" fmla="*/ 2973544 h 6698675"/>
              <a:gd name="connsiteX7327" fmla="*/ 5331709 w 8267681"/>
              <a:gd name="connsiteY7327" fmla="*/ 2975892 h 6698675"/>
              <a:gd name="connsiteX7328" fmla="*/ 5329361 w 8267681"/>
              <a:gd name="connsiteY7328" fmla="*/ 2973544 h 6698675"/>
              <a:gd name="connsiteX7329" fmla="*/ 5331709 w 8267681"/>
              <a:gd name="connsiteY7329" fmla="*/ 2971199 h 6698675"/>
              <a:gd name="connsiteX7330" fmla="*/ 5402172 w 8267681"/>
              <a:gd name="connsiteY7330" fmla="*/ 2971193 h 6698675"/>
              <a:gd name="connsiteX7331" fmla="*/ 5402172 w 8267681"/>
              <a:gd name="connsiteY7331" fmla="*/ 2973539 h 6698675"/>
              <a:gd name="connsiteX7332" fmla="*/ 5404521 w 8267681"/>
              <a:gd name="connsiteY7332" fmla="*/ 2975887 h 6698675"/>
              <a:gd name="connsiteX7333" fmla="*/ 5402172 w 8267681"/>
              <a:gd name="connsiteY7333" fmla="*/ 2978236 h 6698675"/>
              <a:gd name="connsiteX7334" fmla="*/ 5402172 w 8267681"/>
              <a:gd name="connsiteY7334" fmla="*/ 2975887 h 6698675"/>
              <a:gd name="connsiteX7335" fmla="*/ 5399824 w 8267681"/>
              <a:gd name="connsiteY7335" fmla="*/ 2973539 h 6698675"/>
              <a:gd name="connsiteX7336" fmla="*/ 5517263 w 8267681"/>
              <a:gd name="connsiteY7336" fmla="*/ 2971176 h 6698675"/>
              <a:gd name="connsiteX7337" fmla="*/ 5519611 w 8267681"/>
              <a:gd name="connsiteY7337" fmla="*/ 2971176 h 6698675"/>
              <a:gd name="connsiteX7338" fmla="*/ 5521960 w 8267681"/>
              <a:gd name="connsiteY7338" fmla="*/ 2971176 h 6698675"/>
              <a:gd name="connsiteX7339" fmla="*/ 5519611 w 8267681"/>
              <a:gd name="connsiteY7339" fmla="*/ 2973523 h 6698675"/>
              <a:gd name="connsiteX7340" fmla="*/ 4214864 w 8267681"/>
              <a:gd name="connsiteY7340" fmla="*/ 2970045 h 6698675"/>
              <a:gd name="connsiteX7341" fmla="*/ 4208992 w 8267681"/>
              <a:gd name="connsiteY7341" fmla="*/ 2971219 h 6698675"/>
              <a:gd name="connsiteX7342" fmla="*/ 4220736 w 8267681"/>
              <a:gd name="connsiteY7342" fmla="*/ 2975909 h 6698675"/>
              <a:gd name="connsiteX7343" fmla="*/ 4214864 w 8267681"/>
              <a:gd name="connsiteY7343" fmla="*/ 2970045 h 6698675"/>
              <a:gd name="connsiteX7344" fmla="*/ 241928 w 8267681"/>
              <a:gd name="connsiteY7344" fmla="*/ 2968925 h 6698675"/>
              <a:gd name="connsiteX7345" fmla="*/ 246622 w 8267681"/>
              <a:gd name="connsiteY7345" fmla="*/ 2971274 h 6698675"/>
              <a:gd name="connsiteX7346" fmla="*/ 244273 w 8267681"/>
              <a:gd name="connsiteY7346" fmla="*/ 2980661 h 6698675"/>
              <a:gd name="connsiteX7347" fmla="*/ 241928 w 8267681"/>
              <a:gd name="connsiteY7347" fmla="*/ 2983012 h 6698675"/>
              <a:gd name="connsiteX7348" fmla="*/ 237228 w 8267681"/>
              <a:gd name="connsiteY7348" fmla="*/ 2980661 h 6698675"/>
              <a:gd name="connsiteX7349" fmla="*/ 237228 w 8267681"/>
              <a:gd name="connsiteY7349" fmla="*/ 2971274 h 6698675"/>
              <a:gd name="connsiteX7350" fmla="*/ 5371639 w 8267681"/>
              <a:gd name="connsiteY7350" fmla="*/ 2968829 h 6698675"/>
              <a:gd name="connsiteX7351" fmla="*/ 5373987 w 8267681"/>
              <a:gd name="connsiteY7351" fmla="*/ 2971179 h 6698675"/>
              <a:gd name="connsiteX7352" fmla="*/ 5369290 w 8267681"/>
              <a:gd name="connsiteY7352" fmla="*/ 2973525 h 6698675"/>
              <a:gd name="connsiteX7353" fmla="*/ 173809 w 8267681"/>
              <a:gd name="connsiteY7353" fmla="*/ 2966564 h 6698675"/>
              <a:gd name="connsiteX7354" fmla="*/ 183203 w 8267681"/>
              <a:gd name="connsiteY7354" fmla="*/ 2966564 h 6698675"/>
              <a:gd name="connsiteX7355" fmla="*/ 197300 w 8267681"/>
              <a:gd name="connsiteY7355" fmla="*/ 2980651 h 6698675"/>
              <a:gd name="connsiteX7356" fmla="*/ 204342 w 8267681"/>
              <a:gd name="connsiteY7356" fmla="*/ 2990049 h 6698675"/>
              <a:gd name="connsiteX7357" fmla="*/ 199646 w 8267681"/>
              <a:gd name="connsiteY7357" fmla="*/ 2994741 h 6698675"/>
              <a:gd name="connsiteX7358" fmla="*/ 185553 w 8267681"/>
              <a:gd name="connsiteY7358" fmla="*/ 2990049 h 6698675"/>
              <a:gd name="connsiteX7359" fmla="*/ 173809 w 8267681"/>
              <a:gd name="connsiteY7359" fmla="*/ 2978306 h 6698675"/>
              <a:gd name="connsiteX7360" fmla="*/ 5305873 w 8267681"/>
              <a:gd name="connsiteY7360" fmla="*/ 2966479 h 6698675"/>
              <a:gd name="connsiteX7361" fmla="*/ 5305873 w 8267681"/>
              <a:gd name="connsiteY7361" fmla="*/ 2968828 h 6698675"/>
              <a:gd name="connsiteX7362" fmla="*/ 5303524 w 8267681"/>
              <a:gd name="connsiteY7362" fmla="*/ 2968828 h 6698675"/>
              <a:gd name="connsiteX7363" fmla="*/ 429826 w 8267681"/>
              <a:gd name="connsiteY7363" fmla="*/ 2964230 h 6698675"/>
              <a:gd name="connsiteX7364" fmla="*/ 420431 w 8267681"/>
              <a:gd name="connsiteY7364" fmla="*/ 2994752 h 6698675"/>
              <a:gd name="connsiteX7365" fmla="*/ 415734 w 8267681"/>
              <a:gd name="connsiteY7365" fmla="*/ 2999446 h 6698675"/>
              <a:gd name="connsiteX7366" fmla="*/ 420431 w 8267681"/>
              <a:gd name="connsiteY7366" fmla="*/ 3008841 h 6698675"/>
              <a:gd name="connsiteX7367" fmla="*/ 439224 w 8267681"/>
              <a:gd name="connsiteY7367" fmla="*/ 3025279 h 6698675"/>
              <a:gd name="connsiteX7368" fmla="*/ 443918 w 8267681"/>
              <a:gd name="connsiteY7368" fmla="*/ 3029977 h 6698675"/>
              <a:gd name="connsiteX7369" fmla="*/ 462709 w 8267681"/>
              <a:gd name="connsiteY7369" fmla="*/ 3018240 h 6698675"/>
              <a:gd name="connsiteX7370" fmla="*/ 453317 w 8267681"/>
              <a:gd name="connsiteY7370" fmla="*/ 2999446 h 6698675"/>
              <a:gd name="connsiteX7371" fmla="*/ 443918 w 8267681"/>
              <a:gd name="connsiteY7371" fmla="*/ 2990058 h 6698675"/>
              <a:gd name="connsiteX7372" fmla="*/ 453317 w 8267681"/>
              <a:gd name="connsiteY7372" fmla="*/ 2964230 h 6698675"/>
              <a:gd name="connsiteX7373" fmla="*/ 5411568 w 8267681"/>
              <a:gd name="connsiteY7373" fmla="*/ 2964149 h 6698675"/>
              <a:gd name="connsiteX7374" fmla="*/ 5413916 w 8267681"/>
              <a:gd name="connsiteY7374" fmla="*/ 2968847 h 6698675"/>
              <a:gd name="connsiteX7375" fmla="*/ 5411568 w 8267681"/>
              <a:gd name="connsiteY7375" fmla="*/ 2971195 h 6698675"/>
              <a:gd name="connsiteX7376" fmla="*/ 5409219 w 8267681"/>
              <a:gd name="connsiteY7376" fmla="*/ 2971195 h 6698675"/>
              <a:gd name="connsiteX7377" fmla="*/ 5409219 w 8267681"/>
              <a:gd name="connsiteY7377" fmla="*/ 2968847 h 6698675"/>
              <a:gd name="connsiteX7378" fmla="*/ 5409219 w 8267681"/>
              <a:gd name="connsiteY7378" fmla="*/ 2966497 h 6698675"/>
              <a:gd name="connsiteX7379" fmla="*/ 5961182 w 8267681"/>
              <a:gd name="connsiteY7379" fmla="*/ 2961825 h 6698675"/>
              <a:gd name="connsiteX7380" fmla="*/ 5951787 w 8267681"/>
              <a:gd name="connsiteY7380" fmla="*/ 2964172 h 6698675"/>
              <a:gd name="connsiteX7381" fmla="*/ 5961182 w 8267681"/>
              <a:gd name="connsiteY7381" fmla="*/ 2973562 h 6698675"/>
              <a:gd name="connsiteX7382" fmla="*/ 5371639 w 8267681"/>
              <a:gd name="connsiteY7382" fmla="*/ 2961781 h 6698675"/>
              <a:gd name="connsiteX7383" fmla="*/ 5373987 w 8267681"/>
              <a:gd name="connsiteY7383" fmla="*/ 2961781 h 6698675"/>
              <a:gd name="connsiteX7384" fmla="*/ 5376336 w 8267681"/>
              <a:gd name="connsiteY7384" fmla="*/ 2961781 h 6698675"/>
              <a:gd name="connsiteX7385" fmla="*/ 5373987 w 8267681"/>
              <a:gd name="connsiteY7385" fmla="*/ 2964131 h 6698675"/>
              <a:gd name="connsiteX7386" fmla="*/ 5583029 w 8267681"/>
              <a:gd name="connsiteY7386" fmla="*/ 2959475 h 6698675"/>
              <a:gd name="connsiteX7387" fmla="*/ 5580680 w 8267681"/>
              <a:gd name="connsiteY7387" fmla="*/ 2973562 h 6698675"/>
              <a:gd name="connsiteX7388" fmla="*/ 5590075 w 8267681"/>
              <a:gd name="connsiteY7388" fmla="*/ 2964172 h 6698675"/>
              <a:gd name="connsiteX7389" fmla="*/ 5336407 w 8267681"/>
              <a:gd name="connsiteY7389" fmla="*/ 2959468 h 6698675"/>
              <a:gd name="connsiteX7390" fmla="*/ 5338755 w 8267681"/>
              <a:gd name="connsiteY7390" fmla="*/ 2959468 h 6698675"/>
              <a:gd name="connsiteX7391" fmla="*/ 5338755 w 8267681"/>
              <a:gd name="connsiteY7391" fmla="*/ 2966514 h 6698675"/>
              <a:gd name="connsiteX7392" fmla="*/ 5336407 w 8267681"/>
              <a:gd name="connsiteY7392" fmla="*/ 2966514 h 6698675"/>
              <a:gd name="connsiteX7393" fmla="*/ 5336407 w 8267681"/>
              <a:gd name="connsiteY7393" fmla="*/ 2968863 h 6698675"/>
              <a:gd name="connsiteX7394" fmla="*/ 5331709 w 8267681"/>
              <a:gd name="connsiteY7394" fmla="*/ 2966514 h 6698675"/>
              <a:gd name="connsiteX7395" fmla="*/ 5334058 w 8267681"/>
              <a:gd name="connsiteY7395" fmla="*/ 2964166 h 6698675"/>
              <a:gd name="connsiteX7396" fmla="*/ 5331709 w 8267681"/>
              <a:gd name="connsiteY7396" fmla="*/ 2961817 h 6698675"/>
              <a:gd name="connsiteX7397" fmla="*/ 5336407 w 8267681"/>
              <a:gd name="connsiteY7397" fmla="*/ 2959468 h 6698675"/>
              <a:gd name="connsiteX7398" fmla="*/ 5534608 w 8267681"/>
              <a:gd name="connsiteY7398" fmla="*/ 2955681 h 6698675"/>
              <a:gd name="connsiteX7399" fmla="*/ 5536053 w 8267681"/>
              <a:gd name="connsiteY7399" fmla="*/ 2957125 h 6698675"/>
              <a:gd name="connsiteX7400" fmla="*/ 5536053 w 8267681"/>
              <a:gd name="connsiteY7400" fmla="*/ 2957081 h 6698675"/>
              <a:gd name="connsiteX7401" fmla="*/ 5540750 w 8267681"/>
              <a:gd name="connsiteY7401" fmla="*/ 2959429 h 6698675"/>
              <a:gd name="connsiteX7402" fmla="*/ 5538357 w 8267681"/>
              <a:gd name="connsiteY7402" fmla="*/ 2959429 h 6698675"/>
              <a:gd name="connsiteX7403" fmla="*/ 5540751 w 8267681"/>
              <a:gd name="connsiteY7403" fmla="*/ 2961825 h 6698675"/>
              <a:gd name="connsiteX7404" fmla="*/ 5538067 w 8267681"/>
              <a:gd name="connsiteY7404" fmla="*/ 2964508 h 6698675"/>
              <a:gd name="connsiteX7405" fmla="*/ 5531356 w 8267681"/>
              <a:gd name="connsiteY7405" fmla="*/ 2959475 h 6698675"/>
              <a:gd name="connsiteX7406" fmla="*/ 4279455 w 8267681"/>
              <a:gd name="connsiteY7406" fmla="*/ 2952426 h 6698675"/>
              <a:gd name="connsiteX7407" fmla="*/ 4255968 w 8267681"/>
              <a:gd name="connsiteY7407" fmla="*/ 2975909 h 6698675"/>
              <a:gd name="connsiteX7408" fmla="*/ 4279455 w 8267681"/>
              <a:gd name="connsiteY7408" fmla="*/ 2999397 h 6698675"/>
              <a:gd name="connsiteX7409" fmla="*/ 4305292 w 8267681"/>
              <a:gd name="connsiteY7409" fmla="*/ 2971219 h 6698675"/>
              <a:gd name="connsiteX7410" fmla="*/ 4279455 w 8267681"/>
              <a:gd name="connsiteY7410" fmla="*/ 2952426 h 6698675"/>
              <a:gd name="connsiteX7411" fmla="*/ 4131484 w 8267681"/>
              <a:gd name="connsiteY7411" fmla="*/ 2951840 h 6698675"/>
              <a:gd name="connsiteX7412" fmla="*/ 4122087 w 8267681"/>
              <a:gd name="connsiteY7412" fmla="*/ 2968869 h 6698675"/>
              <a:gd name="connsiteX7413" fmla="*/ 4138529 w 8267681"/>
              <a:gd name="connsiteY7413" fmla="*/ 2975909 h 6698675"/>
              <a:gd name="connsiteX7414" fmla="*/ 4147924 w 8267681"/>
              <a:gd name="connsiteY7414" fmla="*/ 2952426 h 6698675"/>
              <a:gd name="connsiteX7415" fmla="*/ 4131484 w 8267681"/>
              <a:gd name="connsiteY7415" fmla="*/ 2951840 h 6698675"/>
              <a:gd name="connsiteX7416" fmla="*/ 3945049 w 8267681"/>
              <a:gd name="connsiteY7416" fmla="*/ 2949785 h 6698675"/>
              <a:gd name="connsiteX7417" fmla="*/ 3945929 w 8267681"/>
              <a:gd name="connsiteY7417" fmla="*/ 2966520 h 6698675"/>
              <a:gd name="connsiteX7418" fmla="*/ 3945049 w 8267681"/>
              <a:gd name="connsiteY7418" fmla="*/ 2949785 h 6698675"/>
              <a:gd name="connsiteX7419" fmla="*/ 5486729 w 8267681"/>
              <a:gd name="connsiteY7419" fmla="*/ 2947699 h 6698675"/>
              <a:gd name="connsiteX7420" fmla="*/ 5489078 w 8267681"/>
              <a:gd name="connsiteY7420" fmla="*/ 2952397 h 6698675"/>
              <a:gd name="connsiteX7421" fmla="*/ 5486729 w 8267681"/>
              <a:gd name="connsiteY7421" fmla="*/ 2947699 h 6698675"/>
              <a:gd name="connsiteX7422" fmla="*/ 521430 w 8267681"/>
              <a:gd name="connsiteY7422" fmla="*/ 2945440 h 6698675"/>
              <a:gd name="connsiteX7423" fmla="*/ 512037 w 8267681"/>
              <a:gd name="connsiteY7423" fmla="*/ 2947789 h 6698675"/>
              <a:gd name="connsiteX7424" fmla="*/ 502645 w 8267681"/>
              <a:gd name="connsiteY7424" fmla="*/ 2968925 h 6698675"/>
              <a:gd name="connsiteX7425" fmla="*/ 526130 w 8267681"/>
              <a:gd name="connsiteY7425" fmla="*/ 2952486 h 6698675"/>
              <a:gd name="connsiteX7426" fmla="*/ 5991716 w 8267681"/>
              <a:gd name="connsiteY7426" fmla="*/ 2945379 h 6698675"/>
              <a:gd name="connsiteX7427" fmla="*/ 5994065 w 8267681"/>
              <a:gd name="connsiteY7427" fmla="*/ 2952428 h 6698675"/>
              <a:gd name="connsiteX7428" fmla="*/ 5992500 w 8267681"/>
              <a:gd name="connsiteY7428" fmla="*/ 2957126 h 6698675"/>
              <a:gd name="connsiteX7429" fmla="*/ 5991716 w 8267681"/>
              <a:gd name="connsiteY7429" fmla="*/ 2957126 h 6698675"/>
              <a:gd name="connsiteX7430" fmla="*/ 5989368 w 8267681"/>
              <a:gd name="connsiteY7430" fmla="*/ 2947729 h 6698675"/>
              <a:gd name="connsiteX7431" fmla="*/ 5989838 w 8267681"/>
              <a:gd name="connsiteY7431" fmla="*/ 2946319 h 6698675"/>
              <a:gd name="connsiteX7432" fmla="*/ 5343453 w 8267681"/>
              <a:gd name="connsiteY7432" fmla="*/ 2945369 h 6698675"/>
              <a:gd name="connsiteX7433" fmla="*/ 5345802 w 8267681"/>
              <a:gd name="connsiteY7433" fmla="*/ 2945369 h 6698675"/>
              <a:gd name="connsiteX7434" fmla="*/ 5346312 w 8267681"/>
              <a:gd name="connsiteY7434" fmla="*/ 2946084 h 6698675"/>
              <a:gd name="connsiteX7435" fmla="*/ 5446799 w 8267681"/>
              <a:gd name="connsiteY7435" fmla="*/ 2943023 h 6698675"/>
              <a:gd name="connsiteX7436" fmla="*/ 5444450 w 8267681"/>
              <a:gd name="connsiteY7436" fmla="*/ 2957117 h 6698675"/>
              <a:gd name="connsiteX7437" fmla="*/ 5439753 w 8267681"/>
              <a:gd name="connsiteY7437" fmla="*/ 2950070 h 6698675"/>
              <a:gd name="connsiteX7438" fmla="*/ 5439753 w 8267681"/>
              <a:gd name="connsiteY7438" fmla="*/ 2947720 h 6698675"/>
              <a:gd name="connsiteX7439" fmla="*/ 5446799 w 8267681"/>
              <a:gd name="connsiteY7439" fmla="*/ 2943023 h 6698675"/>
              <a:gd name="connsiteX7440" fmla="*/ 5352848 w 8267681"/>
              <a:gd name="connsiteY7440" fmla="*/ 2943019 h 6698675"/>
              <a:gd name="connsiteX7441" fmla="*/ 5355197 w 8267681"/>
              <a:gd name="connsiteY7441" fmla="*/ 2945369 h 6698675"/>
              <a:gd name="connsiteX7442" fmla="*/ 5352848 w 8267681"/>
              <a:gd name="connsiteY7442" fmla="*/ 2947717 h 6698675"/>
              <a:gd name="connsiteX7443" fmla="*/ 5355197 w 8267681"/>
              <a:gd name="connsiteY7443" fmla="*/ 2947717 h 6698675"/>
              <a:gd name="connsiteX7444" fmla="*/ 5352848 w 8267681"/>
              <a:gd name="connsiteY7444" fmla="*/ 2950067 h 6698675"/>
              <a:gd name="connsiteX7445" fmla="*/ 5350499 w 8267681"/>
              <a:gd name="connsiteY7445" fmla="*/ 2947717 h 6698675"/>
              <a:gd name="connsiteX7446" fmla="*/ 5347270 w 8267681"/>
              <a:gd name="connsiteY7446" fmla="*/ 2947424 h 6698675"/>
              <a:gd name="connsiteX7447" fmla="*/ 5346312 w 8267681"/>
              <a:gd name="connsiteY7447" fmla="*/ 2946084 h 6698675"/>
              <a:gd name="connsiteX7448" fmla="*/ 5346976 w 8267681"/>
              <a:gd name="connsiteY7448" fmla="*/ 2946250 h 6698675"/>
              <a:gd name="connsiteX7449" fmla="*/ 5350499 w 8267681"/>
              <a:gd name="connsiteY7449" fmla="*/ 2945369 h 6698675"/>
              <a:gd name="connsiteX7450" fmla="*/ 4336230 w 8267681"/>
              <a:gd name="connsiteY7450" fmla="*/ 2942480 h 6698675"/>
              <a:gd name="connsiteX7451" fmla="*/ 4340523 w 8267681"/>
              <a:gd name="connsiteY7451" fmla="*/ 2950078 h 6698675"/>
              <a:gd name="connsiteX7452" fmla="*/ 4336230 w 8267681"/>
              <a:gd name="connsiteY7452" fmla="*/ 2942480 h 6698675"/>
              <a:gd name="connsiteX7453" fmla="*/ 5848441 w 8267681"/>
              <a:gd name="connsiteY7453" fmla="*/ 2940682 h 6698675"/>
              <a:gd name="connsiteX7454" fmla="*/ 5848441 w 8267681"/>
              <a:gd name="connsiteY7454" fmla="*/ 2947729 h 6698675"/>
              <a:gd name="connsiteX7455" fmla="*/ 5855487 w 8267681"/>
              <a:gd name="connsiteY7455" fmla="*/ 2940682 h 6698675"/>
              <a:gd name="connsiteX7456" fmla="*/ 5566587 w 8267681"/>
              <a:gd name="connsiteY7456" fmla="*/ 2940682 h 6698675"/>
              <a:gd name="connsiteX7457" fmla="*/ 5566587 w 8267681"/>
              <a:gd name="connsiteY7457" fmla="*/ 2945349 h 6698675"/>
              <a:gd name="connsiteX7458" fmla="*/ 5571285 w 8267681"/>
              <a:gd name="connsiteY7458" fmla="*/ 2947698 h 6698675"/>
              <a:gd name="connsiteX7459" fmla="*/ 5566587 w 8267681"/>
              <a:gd name="connsiteY7459" fmla="*/ 2947698 h 6698675"/>
              <a:gd name="connsiteX7460" fmla="*/ 5566587 w 8267681"/>
              <a:gd name="connsiteY7460" fmla="*/ 2954777 h 6698675"/>
              <a:gd name="connsiteX7461" fmla="*/ 5566587 w 8267681"/>
              <a:gd name="connsiteY7461" fmla="*/ 2940682 h 6698675"/>
              <a:gd name="connsiteX7462" fmla="*/ 5439753 w 8267681"/>
              <a:gd name="connsiteY7462" fmla="*/ 2938320 h 6698675"/>
              <a:gd name="connsiteX7463" fmla="*/ 5437404 w 8267681"/>
              <a:gd name="connsiteY7463" fmla="*/ 2940669 h 6698675"/>
              <a:gd name="connsiteX7464" fmla="*/ 5442102 w 8267681"/>
              <a:gd name="connsiteY7464" fmla="*/ 2945367 h 6698675"/>
              <a:gd name="connsiteX7465" fmla="*/ 5439753 w 8267681"/>
              <a:gd name="connsiteY7465" fmla="*/ 2945367 h 6698675"/>
              <a:gd name="connsiteX7466" fmla="*/ 5435056 w 8267681"/>
              <a:gd name="connsiteY7466" fmla="*/ 2945367 h 6698675"/>
              <a:gd name="connsiteX7467" fmla="*/ 5435056 w 8267681"/>
              <a:gd name="connsiteY7467" fmla="*/ 2940669 h 6698675"/>
              <a:gd name="connsiteX7468" fmla="*/ 5594773 w 8267681"/>
              <a:gd name="connsiteY7468" fmla="*/ 2935984 h 6698675"/>
              <a:gd name="connsiteX7469" fmla="*/ 5587727 w 8267681"/>
              <a:gd name="connsiteY7469" fmla="*/ 2943031 h 6698675"/>
              <a:gd name="connsiteX7470" fmla="*/ 5594773 w 8267681"/>
              <a:gd name="connsiteY7470" fmla="*/ 2943031 h 6698675"/>
              <a:gd name="connsiteX7471" fmla="*/ 5338755 w 8267681"/>
              <a:gd name="connsiteY7471" fmla="*/ 2935960 h 6698675"/>
              <a:gd name="connsiteX7472" fmla="*/ 5334058 w 8267681"/>
              <a:gd name="connsiteY7472" fmla="*/ 2940658 h 6698675"/>
              <a:gd name="connsiteX7473" fmla="*/ 5338755 w 8267681"/>
              <a:gd name="connsiteY7473" fmla="*/ 2935960 h 6698675"/>
              <a:gd name="connsiteX7474" fmla="*/ 213738 w 8267681"/>
              <a:gd name="connsiteY7474" fmla="*/ 2933697 h 6698675"/>
              <a:gd name="connsiteX7475" fmla="*/ 223135 w 8267681"/>
              <a:gd name="connsiteY7475" fmla="*/ 2933697 h 6698675"/>
              <a:gd name="connsiteX7476" fmla="*/ 230182 w 8267681"/>
              <a:gd name="connsiteY7476" fmla="*/ 2938396 h 6698675"/>
              <a:gd name="connsiteX7477" fmla="*/ 232529 w 8267681"/>
              <a:gd name="connsiteY7477" fmla="*/ 2954836 h 6698675"/>
              <a:gd name="connsiteX7478" fmla="*/ 225486 w 8267681"/>
              <a:gd name="connsiteY7478" fmla="*/ 2964230 h 6698675"/>
              <a:gd name="connsiteX7479" fmla="*/ 211388 w 8267681"/>
              <a:gd name="connsiteY7479" fmla="*/ 2978316 h 6698675"/>
              <a:gd name="connsiteX7480" fmla="*/ 204342 w 8267681"/>
              <a:gd name="connsiteY7480" fmla="*/ 2971274 h 6698675"/>
              <a:gd name="connsiteX7481" fmla="*/ 173807 w 8267681"/>
              <a:gd name="connsiteY7481" fmla="*/ 2933684 h 6698675"/>
              <a:gd name="connsiteX7482" fmla="*/ 180858 w 8267681"/>
              <a:gd name="connsiteY7482" fmla="*/ 2938381 h 6698675"/>
              <a:gd name="connsiteX7483" fmla="*/ 183203 w 8267681"/>
              <a:gd name="connsiteY7483" fmla="*/ 2945428 h 6698675"/>
              <a:gd name="connsiteX7484" fmla="*/ 173807 w 8267681"/>
              <a:gd name="connsiteY7484" fmla="*/ 2954822 h 6698675"/>
              <a:gd name="connsiteX7485" fmla="*/ 166765 w 8267681"/>
              <a:gd name="connsiteY7485" fmla="*/ 2945428 h 6698675"/>
              <a:gd name="connsiteX7486" fmla="*/ 169110 w 8267681"/>
              <a:gd name="connsiteY7486" fmla="*/ 2936034 h 6698675"/>
              <a:gd name="connsiteX7487" fmla="*/ 5925951 w 8267681"/>
              <a:gd name="connsiteY7487" fmla="*/ 2933634 h 6698675"/>
              <a:gd name="connsiteX7488" fmla="*/ 5925951 w 8267681"/>
              <a:gd name="connsiteY7488" fmla="*/ 2945379 h 6698675"/>
              <a:gd name="connsiteX7489" fmla="*/ 5932997 w 8267681"/>
              <a:gd name="connsiteY7489" fmla="*/ 2940682 h 6698675"/>
              <a:gd name="connsiteX7490" fmla="*/ 5580680 w 8267681"/>
              <a:gd name="connsiteY7490" fmla="*/ 2931285 h 6698675"/>
              <a:gd name="connsiteX7491" fmla="*/ 5575983 w 8267681"/>
              <a:gd name="connsiteY7491" fmla="*/ 2943031 h 6698675"/>
              <a:gd name="connsiteX7492" fmla="*/ 5585378 w 8267681"/>
              <a:gd name="connsiteY7492" fmla="*/ 2933634 h 6698675"/>
              <a:gd name="connsiteX7493" fmla="*/ 5991325 w 8267681"/>
              <a:gd name="connsiteY7493" fmla="*/ 2930698 h 6698675"/>
              <a:gd name="connsiteX7494" fmla="*/ 5991716 w 8267681"/>
              <a:gd name="connsiteY7494" fmla="*/ 2931285 h 6698675"/>
              <a:gd name="connsiteX7495" fmla="*/ 5989629 w 8267681"/>
              <a:gd name="connsiteY7495" fmla="*/ 2934417 h 6698675"/>
              <a:gd name="connsiteX7496" fmla="*/ 5989368 w 8267681"/>
              <a:gd name="connsiteY7496" fmla="*/ 2933634 h 6698675"/>
              <a:gd name="connsiteX7497" fmla="*/ 5528126 w 8267681"/>
              <a:gd name="connsiteY7497" fmla="*/ 2930404 h 6698675"/>
              <a:gd name="connsiteX7498" fmla="*/ 5529007 w 8267681"/>
              <a:gd name="connsiteY7498" fmla="*/ 2935984 h 6698675"/>
              <a:gd name="connsiteX7499" fmla="*/ 5519612 w 8267681"/>
              <a:gd name="connsiteY7499" fmla="*/ 2940682 h 6698675"/>
              <a:gd name="connsiteX7500" fmla="*/ 5524831 w 8267681"/>
              <a:gd name="connsiteY7500" fmla="*/ 2945902 h 6698675"/>
              <a:gd name="connsiteX7501" fmla="*/ 5521961 w 8267681"/>
              <a:gd name="connsiteY7501" fmla="*/ 2947729 h 6698675"/>
              <a:gd name="connsiteX7502" fmla="*/ 5514914 w 8267681"/>
              <a:gd name="connsiteY7502" fmla="*/ 2945379 h 6698675"/>
              <a:gd name="connsiteX7503" fmla="*/ 5521374 w 8267681"/>
              <a:gd name="connsiteY7503" fmla="*/ 2938039 h 6698675"/>
              <a:gd name="connsiteX7504" fmla="*/ 5522964 w 8267681"/>
              <a:gd name="connsiteY7504" fmla="*/ 2933109 h 6698675"/>
              <a:gd name="connsiteX7505" fmla="*/ 5366940 w 8267681"/>
              <a:gd name="connsiteY7505" fmla="*/ 2928916 h 6698675"/>
              <a:gd name="connsiteX7506" fmla="*/ 5369289 w 8267681"/>
              <a:gd name="connsiteY7506" fmla="*/ 2935964 h 6698675"/>
              <a:gd name="connsiteX7507" fmla="*/ 5364592 w 8267681"/>
              <a:gd name="connsiteY7507" fmla="*/ 2933614 h 6698675"/>
              <a:gd name="connsiteX7508" fmla="*/ 5366940 w 8267681"/>
              <a:gd name="connsiteY7508" fmla="*/ 2928916 h 6698675"/>
              <a:gd name="connsiteX7509" fmla="*/ 5948355 w 8267681"/>
              <a:gd name="connsiteY7509" fmla="*/ 2926407 h 6698675"/>
              <a:gd name="connsiteX7510" fmla="*/ 5949438 w 8267681"/>
              <a:gd name="connsiteY7510" fmla="*/ 2926587 h 6698675"/>
              <a:gd name="connsiteX7511" fmla="*/ 5948339 w 8267681"/>
              <a:gd name="connsiteY7511" fmla="*/ 2930602 h 6698675"/>
              <a:gd name="connsiteX7512" fmla="*/ 5947090 w 8267681"/>
              <a:gd name="connsiteY7512" fmla="*/ 2928937 h 6698675"/>
              <a:gd name="connsiteX7513" fmla="*/ 5362243 w 8267681"/>
              <a:gd name="connsiteY7513" fmla="*/ 2921849 h 6698675"/>
              <a:gd name="connsiteX7514" fmla="*/ 5362243 w 8267681"/>
              <a:gd name="connsiteY7514" fmla="*/ 2924198 h 6698675"/>
              <a:gd name="connsiteX7515" fmla="*/ 5357546 w 8267681"/>
              <a:gd name="connsiteY7515" fmla="*/ 2924198 h 6698675"/>
              <a:gd name="connsiteX7516" fmla="*/ 5315267 w 8267681"/>
              <a:gd name="connsiteY7516" fmla="*/ 2921848 h 6698675"/>
              <a:gd name="connsiteX7517" fmla="*/ 5315267 w 8267681"/>
              <a:gd name="connsiteY7517" fmla="*/ 2924198 h 6698675"/>
              <a:gd name="connsiteX7518" fmla="*/ 5315267 w 8267681"/>
              <a:gd name="connsiteY7518" fmla="*/ 2926547 h 6698675"/>
              <a:gd name="connsiteX7519" fmla="*/ 5312919 w 8267681"/>
              <a:gd name="connsiteY7519" fmla="*/ 2924198 h 6698675"/>
              <a:gd name="connsiteX7520" fmla="*/ 5305872 w 8267681"/>
              <a:gd name="connsiteY7520" fmla="*/ 2919513 h 6698675"/>
              <a:gd name="connsiteX7521" fmla="*/ 5303523 w 8267681"/>
              <a:gd name="connsiteY7521" fmla="*/ 2924211 h 6698675"/>
              <a:gd name="connsiteX7522" fmla="*/ 5301175 w 8267681"/>
              <a:gd name="connsiteY7522" fmla="*/ 2921863 h 6698675"/>
              <a:gd name="connsiteX7523" fmla="*/ 5305872 w 8267681"/>
              <a:gd name="connsiteY7523" fmla="*/ 2919513 h 6698675"/>
              <a:gd name="connsiteX7524" fmla="*/ 5419720 w 8267681"/>
              <a:gd name="connsiteY7524" fmla="*/ 2918849 h 6698675"/>
              <a:gd name="connsiteX7525" fmla="*/ 5419495 w 8267681"/>
              <a:gd name="connsiteY7525" fmla="*/ 2918953 h 6698675"/>
              <a:gd name="connsiteX7526" fmla="*/ 5419381 w 8267681"/>
              <a:gd name="connsiteY7526" fmla="*/ 2918917 h 6698675"/>
              <a:gd name="connsiteX7527" fmla="*/ 5428010 w 8267681"/>
              <a:gd name="connsiteY7527" fmla="*/ 2917191 h 6698675"/>
              <a:gd name="connsiteX7528" fmla="*/ 5428010 w 8267681"/>
              <a:gd name="connsiteY7528" fmla="*/ 2921889 h 6698675"/>
              <a:gd name="connsiteX7529" fmla="*/ 5424095 w 8267681"/>
              <a:gd name="connsiteY7529" fmla="*/ 2917973 h 6698675"/>
              <a:gd name="connsiteX7530" fmla="*/ 5423312 w 8267681"/>
              <a:gd name="connsiteY7530" fmla="*/ 2917191 h 6698675"/>
              <a:gd name="connsiteX7531" fmla="*/ 5424095 w 8267681"/>
              <a:gd name="connsiteY7531" fmla="*/ 2917973 h 6698675"/>
              <a:gd name="connsiteX7532" fmla="*/ 5419720 w 8267681"/>
              <a:gd name="connsiteY7532" fmla="*/ 2918849 h 6698675"/>
              <a:gd name="connsiteX7533" fmla="*/ 5512565 w 8267681"/>
              <a:gd name="connsiteY7533" fmla="*/ 2917144 h 6698675"/>
              <a:gd name="connsiteX7534" fmla="*/ 5514913 w 8267681"/>
              <a:gd name="connsiteY7534" fmla="*/ 2917144 h 6698675"/>
              <a:gd name="connsiteX7535" fmla="*/ 5512565 w 8267681"/>
              <a:gd name="connsiteY7535" fmla="*/ 2919492 h 6698675"/>
              <a:gd name="connsiteX7536" fmla="*/ 5909509 w 8267681"/>
              <a:gd name="connsiteY7536" fmla="*/ 2914842 h 6698675"/>
              <a:gd name="connsiteX7537" fmla="*/ 5916556 w 8267681"/>
              <a:gd name="connsiteY7537" fmla="*/ 2921889 h 6698675"/>
              <a:gd name="connsiteX7538" fmla="*/ 5921253 w 8267681"/>
              <a:gd name="connsiteY7538" fmla="*/ 2914842 h 6698675"/>
              <a:gd name="connsiteX7539" fmla="*/ 5902463 w 8267681"/>
              <a:gd name="connsiteY7539" fmla="*/ 2914842 h 6698675"/>
              <a:gd name="connsiteX7540" fmla="*/ 5895416 w 8267681"/>
              <a:gd name="connsiteY7540" fmla="*/ 2919539 h 6698675"/>
              <a:gd name="connsiteX7541" fmla="*/ 5902463 w 8267681"/>
              <a:gd name="connsiteY7541" fmla="*/ 2924238 h 6698675"/>
              <a:gd name="connsiteX7542" fmla="*/ 5520134 w 8267681"/>
              <a:gd name="connsiteY7542" fmla="*/ 2911969 h 6698675"/>
              <a:gd name="connsiteX7543" fmla="*/ 5524310 w 8267681"/>
              <a:gd name="connsiteY7543" fmla="*/ 2917191 h 6698675"/>
              <a:gd name="connsiteX7544" fmla="*/ 5514914 w 8267681"/>
              <a:gd name="connsiteY7544" fmla="*/ 2917191 h 6698675"/>
              <a:gd name="connsiteX7545" fmla="*/ 5413917 w 8267681"/>
              <a:gd name="connsiteY7545" fmla="*/ 2910142 h 6698675"/>
              <a:gd name="connsiteX7546" fmla="*/ 5416627 w 8267681"/>
              <a:gd name="connsiteY7546" fmla="*/ 2911769 h 6698675"/>
              <a:gd name="connsiteX7547" fmla="*/ 5413917 w 8267681"/>
              <a:gd name="connsiteY7547" fmla="*/ 2917191 h 6698675"/>
              <a:gd name="connsiteX7548" fmla="*/ 5419381 w 8267681"/>
              <a:gd name="connsiteY7548" fmla="*/ 2918917 h 6698675"/>
              <a:gd name="connsiteX7549" fmla="*/ 5416266 w 8267681"/>
              <a:gd name="connsiteY7549" fmla="*/ 2919539 h 6698675"/>
              <a:gd name="connsiteX7550" fmla="*/ 5411568 w 8267681"/>
              <a:gd name="connsiteY7550" fmla="*/ 2917191 h 6698675"/>
              <a:gd name="connsiteX7551" fmla="*/ 5874278 w 8267681"/>
              <a:gd name="connsiteY7551" fmla="*/ 2907794 h 6698675"/>
              <a:gd name="connsiteX7552" fmla="*/ 5867231 w 8267681"/>
              <a:gd name="connsiteY7552" fmla="*/ 2914842 h 6698675"/>
              <a:gd name="connsiteX7553" fmla="*/ 5874278 w 8267681"/>
              <a:gd name="connsiteY7553" fmla="*/ 2917191 h 6698675"/>
              <a:gd name="connsiteX7554" fmla="*/ 5878975 w 8267681"/>
              <a:gd name="connsiteY7554" fmla="*/ 2914842 h 6698675"/>
              <a:gd name="connsiteX7555" fmla="*/ 5509433 w 8267681"/>
              <a:gd name="connsiteY7555" fmla="*/ 2906853 h 6698675"/>
              <a:gd name="connsiteX7556" fmla="*/ 5510644 w 8267681"/>
              <a:gd name="connsiteY7556" fmla="*/ 2907580 h 6698675"/>
              <a:gd name="connsiteX7557" fmla="*/ 5510217 w 8267681"/>
              <a:gd name="connsiteY7557" fmla="*/ 2907794 h 6698675"/>
              <a:gd name="connsiteX7558" fmla="*/ 5514914 w 8267681"/>
              <a:gd name="connsiteY7558" fmla="*/ 2905444 h 6698675"/>
              <a:gd name="connsiteX7559" fmla="*/ 5517002 w 8267681"/>
              <a:gd name="connsiteY7559" fmla="*/ 2908054 h 6698675"/>
              <a:gd name="connsiteX7560" fmla="*/ 5514914 w 8267681"/>
              <a:gd name="connsiteY7560" fmla="*/ 2910142 h 6698675"/>
              <a:gd name="connsiteX7561" fmla="*/ 5510644 w 8267681"/>
              <a:gd name="connsiteY7561" fmla="*/ 2907580 h 6698675"/>
              <a:gd name="connsiteX7562" fmla="*/ 5813209 w 8267681"/>
              <a:gd name="connsiteY7562" fmla="*/ 2900746 h 6698675"/>
              <a:gd name="connsiteX7563" fmla="*/ 5820256 w 8267681"/>
              <a:gd name="connsiteY7563" fmla="*/ 2907794 h 6698675"/>
              <a:gd name="connsiteX7564" fmla="*/ 5822604 w 8267681"/>
              <a:gd name="connsiteY7564" fmla="*/ 2900746 h 6698675"/>
              <a:gd name="connsiteX7565" fmla="*/ 5504286 w 8267681"/>
              <a:gd name="connsiteY7565" fmla="*/ 2900676 h 6698675"/>
              <a:gd name="connsiteX7566" fmla="*/ 5509433 w 8267681"/>
              <a:gd name="connsiteY7566" fmla="*/ 2906853 h 6698675"/>
              <a:gd name="connsiteX7567" fmla="*/ 5503170 w 8267681"/>
              <a:gd name="connsiteY7567" fmla="*/ 2903095 h 6698675"/>
              <a:gd name="connsiteX7568" fmla="*/ 1134461 w 8267681"/>
              <a:gd name="connsiteY7568" fmla="*/ 2898448 h 6698675"/>
              <a:gd name="connsiteX7569" fmla="*/ 1108626 w 8267681"/>
              <a:gd name="connsiteY7569" fmla="*/ 2905497 h 6698675"/>
              <a:gd name="connsiteX7570" fmla="*/ 1122718 w 8267681"/>
              <a:gd name="connsiteY7570" fmla="*/ 2917239 h 6698675"/>
              <a:gd name="connsiteX7571" fmla="*/ 1164997 w 8267681"/>
              <a:gd name="connsiteY7571" fmla="*/ 2921938 h 6698675"/>
              <a:gd name="connsiteX7572" fmla="*/ 1174391 w 8267681"/>
              <a:gd name="connsiteY7572" fmla="*/ 2924287 h 6698675"/>
              <a:gd name="connsiteX7573" fmla="*/ 1176738 w 8267681"/>
              <a:gd name="connsiteY7573" fmla="*/ 2924287 h 6698675"/>
              <a:gd name="connsiteX7574" fmla="*/ 1197876 w 8267681"/>
              <a:gd name="connsiteY7574" fmla="*/ 2917239 h 6698675"/>
              <a:gd name="connsiteX7575" fmla="*/ 1190831 w 8267681"/>
              <a:gd name="connsiteY7575" fmla="*/ 2914892 h 6698675"/>
              <a:gd name="connsiteX7576" fmla="*/ 1153254 w 8267681"/>
              <a:gd name="connsiteY7576" fmla="*/ 2907845 h 6698675"/>
              <a:gd name="connsiteX7577" fmla="*/ 5411568 w 8267681"/>
              <a:gd name="connsiteY7577" fmla="*/ 2898397 h 6698675"/>
              <a:gd name="connsiteX7578" fmla="*/ 5414700 w 8267681"/>
              <a:gd name="connsiteY7578" fmla="*/ 2899440 h 6698675"/>
              <a:gd name="connsiteX7579" fmla="*/ 5413917 w 8267681"/>
              <a:gd name="connsiteY7579" fmla="*/ 2900746 h 6698675"/>
              <a:gd name="connsiteX7580" fmla="*/ 5425661 w 8267681"/>
              <a:gd name="connsiteY7580" fmla="*/ 2910142 h 6698675"/>
              <a:gd name="connsiteX7581" fmla="*/ 5419789 w 8267681"/>
              <a:gd name="connsiteY7581" fmla="*/ 2913666 h 6698675"/>
              <a:gd name="connsiteX7582" fmla="*/ 5416627 w 8267681"/>
              <a:gd name="connsiteY7582" fmla="*/ 2911769 h 6698675"/>
              <a:gd name="connsiteX7583" fmla="*/ 5418615 w 8267681"/>
              <a:gd name="connsiteY7583" fmla="*/ 2907794 h 6698675"/>
              <a:gd name="connsiteX7584" fmla="*/ 5411568 w 8267681"/>
              <a:gd name="connsiteY7584" fmla="*/ 2907794 h 6698675"/>
              <a:gd name="connsiteX7585" fmla="*/ 5731002 w 8267681"/>
              <a:gd name="connsiteY7585" fmla="*/ 2893699 h 6698675"/>
              <a:gd name="connsiteX7586" fmla="*/ 5723956 w 8267681"/>
              <a:gd name="connsiteY7586" fmla="*/ 2900746 h 6698675"/>
              <a:gd name="connsiteX7587" fmla="*/ 5731002 w 8267681"/>
              <a:gd name="connsiteY7587" fmla="*/ 2903095 h 6698675"/>
              <a:gd name="connsiteX7588" fmla="*/ 504987 w 8267681"/>
              <a:gd name="connsiteY7588" fmla="*/ 2891422 h 6698675"/>
              <a:gd name="connsiteX7589" fmla="*/ 495595 w 8267681"/>
              <a:gd name="connsiteY7589" fmla="*/ 2893770 h 6698675"/>
              <a:gd name="connsiteX7590" fmla="*/ 493245 w 8267681"/>
              <a:gd name="connsiteY7590" fmla="*/ 2900817 h 6698675"/>
              <a:gd name="connsiteX7591" fmla="*/ 495595 w 8267681"/>
              <a:gd name="connsiteY7591" fmla="*/ 2903165 h 6698675"/>
              <a:gd name="connsiteX7592" fmla="*/ 6012855 w 8267681"/>
              <a:gd name="connsiteY7592" fmla="*/ 2891350 h 6698675"/>
              <a:gd name="connsiteX7593" fmla="*/ 6022250 w 8267681"/>
              <a:gd name="connsiteY7593" fmla="*/ 2891350 h 6698675"/>
              <a:gd name="connsiteX7594" fmla="*/ 6022250 w 8267681"/>
              <a:gd name="connsiteY7594" fmla="*/ 2898397 h 6698675"/>
              <a:gd name="connsiteX7595" fmla="*/ 6029297 w 8267681"/>
              <a:gd name="connsiteY7595" fmla="*/ 2898397 h 6698675"/>
              <a:gd name="connsiteX7596" fmla="*/ 6024599 w 8267681"/>
              <a:gd name="connsiteY7596" fmla="*/ 2905444 h 6698675"/>
              <a:gd name="connsiteX7597" fmla="*/ 6031646 w 8267681"/>
              <a:gd name="connsiteY7597" fmla="*/ 2905444 h 6698675"/>
              <a:gd name="connsiteX7598" fmla="*/ 6017553 w 8267681"/>
              <a:gd name="connsiteY7598" fmla="*/ 2921889 h 6698675"/>
              <a:gd name="connsiteX7599" fmla="*/ 6019902 w 8267681"/>
              <a:gd name="connsiteY7599" fmla="*/ 2928937 h 6698675"/>
              <a:gd name="connsiteX7600" fmla="*/ 6005809 w 8267681"/>
              <a:gd name="connsiteY7600" fmla="*/ 2924238 h 6698675"/>
              <a:gd name="connsiteX7601" fmla="*/ 5994065 w 8267681"/>
              <a:gd name="connsiteY7601" fmla="*/ 2926587 h 6698675"/>
              <a:gd name="connsiteX7602" fmla="*/ 5991325 w 8267681"/>
              <a:gd name="connsiteY7602" fmla="*/ 2930698 h 6698675"/>
              <a:gd name="connsiteX7603" fmla="*/ 5987019 w 8267681"/>
              <a:gd name="connsiteY7603" fmla="*/ 2924238 h 6698675"/>
              <a:gd name="connsiteX7604" fmla="*/ 5996414 w 8267681"/>
              <a:gd name="connsiteY7604" fmla="*/ 2905444 h 6698675"/>
              <a:gd name="connsiteX7605" fmla="*/ 6005809 w 8267681"/>
              <a:gd name="connsiteY7605" fmla="*/ 2905444 h 6698675"/>
              <a:gd name="connsiteX7606" fmla="*/ 6005809 w 8267681"/>
              <a:gd name="connsiteY7606" fmla="*/ 2898397 h 6698675"/>
              <a:gd name="connsiteX7607" fmla="*/ 6012855 w 8267681"/>
              <a:gd name="connsiteY7607" fmla="*/ 2898397 h 6698675"/>
              <a:gd name="connsiteX7608" fmla="*/ 5871929 w 8267681"/>
              <a:gd name="connsiteY7608" fmla="*/ 2891350 h 6698675"/>
              <a:gd name="connsiteX7609" fmla="*/ 5862534 w 8267681"/>
              <a:gd name="connsiteY7609" fmla="*/ 2898397 h 6698675"/>
              <a:gd name="connsiteX7610" fmla="*/ 5864883 w 8267681"/>
              <a:gd name="connsiteY7610" fmla="*/ 2905444 h 6698675"/>
              <a:gd name="connsiteX7611" fmla="*/ 5871929 w 8267681"/>
              <a:gd name="connsiteY7611" fmla="*/ 2891350 h 6698675"/>
              <a:gd name="connsiteX7612" fmla="*/ 5505519 w 8267681"/>
              <a:gd name="connsiteY7612" fmla="*/ 2889637 h 6698675"/>
              <a:gd name="connsiteX7613" fmla="*/ 5505519 w 8267681"/>
              <a:gd name="connsiteY7613" fmla="*/ 2891350 h 6698675"/>
              <a:gd name="connsiteX7614" fmla="*/ 5512566 w 8267681"/>
              <a:gd name="connsiteY7614" fmla="*/ 2891350 h 6698675"/>
              <a:gd name="connsiteX7615" fmla="*/ 5503170 w 8267681"/>
              <a:gd name="connsiteY7615" fmla="*/ 2893699 h 6698675"/>
              <a:gd name="connsiteX7616" fmla="*/ 5504931 w 8267681"/>
              <a:gd name="connsiteY7616" fmla="*/ 2899278 h 6698675"/>
              <a:gd name="connsiteX7617" fmla="*/ 5504286 w 8267681"/>
              <a:gd name="connsiteY7617" fmla="*/ 2900676 h 6698675"/>
              <a:gd name="connsiteX7618" fmla="*/ 5498473 w 8267681"/>
              <a:gd name="connsiteY7618" fmla="*/ 2893699 h 6698675"/>
              <a:gd name="connsiteX7619" fmla="*/ 5504748 w 8267681"/>
              <a:gd name="connsiteY7619" fmla="*/ 2891388 h 6698675"/>
              <a:gd name="connsiteX7620" fmla="*/ 5707514 w 8267681"/>
              <a:gd name="connsiteY7620" fmla="*/ 2889000 h 6698675"/>
              <a:gd name="connsiteX7621" fmla="*/ 5707514 w 8267681"/>
              <a:gd name="connsiteY7621" fmla="*/ 2898397 h 6698675"/>
              <a:gd name="connsiteX7622" fmla="*/ 5714560 w 8267681"/>
              <a:gd name="connsiteY7622" fmla="*/ 2898397 h 6698675"/>
              <a:gd name="connsiteX7623" fmla="*/ 5707514 w 8267681"/>
              <a:gd name="connsiteY7623" fmla="*/ 2889000 h 6698675"/>
              <a:gd name="connsiteX7624" fmla="*/ 5634702 w 8267681"/>
              <a:gd name="connsiteY7624" fmla="*/ 2889000 h 6698675"/>
              <a:gd name="connsiteX7625" fmla="*/ 5641749 w 8267681"/>
              <a:gd name="connsiteY7625" fmla="*/ 2896048 h 6698675"/>
              <a:gd name="connsiteX7626" fmla="*/ 5641749 w 8267681"/>
              <a:gd name="connsiteY7626" fmla="*/ 2889000 h 6698675"/>
              <a:gd name="connsiteX7627" fmla="*/ 5557192 w 8267681"/>
              <a:gd name="connsiteY7627" fmla="*/ 2889000 h 6698675"/>
              <a:gd name="connsiteX7628" fmla="*/ 5559541 w 8267681"/>
              <a:gd name="connsiteY7628" fmla="*/ 2903095 h 6698675"/>
              <a:gd name="connsiteX7629" fmla="*/ 5552495 w 8267681"/>
              <a:gd name="connsiteY7629" fmla="*/ 2900746 h 6698675"/>
              <a:gd name="connsiteX7630" fmla="*/ 5552495 w 8267681"/>
              <a:gd name="connsiteY7630" fmla="*/ 2910142 h 6698675"/>
              <a:gd name="connsiteX7631" fmla="*/ 5559541 w 8267681"/>
              <a:gd name="connsiteY7631" fmla="*/ 2903095 h 6698675"/>
              <a:gd name="connsiteX7632" fmla="*/ 5566587 w 8267681"/>
              <a:gd name="connsiteY7632" fmla="*/ 2889000 h 6698675"/>
              <a:gd name="connsiteX7633" fmla="*/ 4385151 w 8267681"/>
              <a:gd name="connsiteY7633" fmla="*/ 2886651 h 6698675"/>
              <a:gd name="connsiteX7634" fmla="*/ 4361663 w 8267681"/>
              <a:gd name="connsiteY7634" fmla="*/ 2945379 h 6698675"/>
              <a:gd name="connsiteX7635" fmla="*/ 4359314 w 8267681"/>
              <a:gd name="connsiteY7635" fmla="*/ 2950078 h 6698675"/>
              <a:gd name="connsiteX7636" fmla="*/ 4420382 w 8267681"/>
              <a:gd name="connsiteY7636" fmla="*/ 2968869 h 6698675"/>
              <a:gd name="connsiteX7637" fmla="*/ 4413336 w 8267681"/>
              <a:gd name="connsiteY7637" fmla="*/ 2985306 h 6698675"/>
              <a:gd name="connsiteX7638" fmla="*/ 4465009 w 8267681"/>
              <a:gd name="connsiteY7638" fmla="*/ 2992354 h 6698675"/>
              <a:gd name="connsiteX7639" fmla="*/ 4441521 w 8267681"/>
              <a:gd name="connsiteY7639" fmla="*/ 3029934 h 6698675"/>
              <a:gd name="connsiteX7640" fmla="*/ 4462660 w 8267681"/>
              <a:gd name="connsiteY7640" fmla="*/ 3046376 h 6698675"/>
              <a:gd name="connsiteX7641" fmla="*/ 4507287 w 8267681"/>
              <a:gd name="connsiteY7641" fmla="*/ 3004097 h 6698675"/>
              <a:gd name="connsiteX7642" fmla="*/ 4514333 w 8267681"/>
              <a:gd name="connsiteY7642" fmla="*/ 2919539 h 6698675"/>
              <a:gd name="connsiteX7643" fmla="*/ 4481450 w 8267681"/>
              <a:gd name="connsiteY7643" fmla="*/ 2933635 h 6698675"/>
              <a:gd name="connsiteX7644" fmla="*/ 4385151 w 8267681"/>
              <a:gd name="connsiteY7644" fmla="*/ 2886651 h 6698675"/>
              <a:gd name="connsiteX7645" fmla="*/ 5846092 w 8267681"/>
              <a:gd name="connsiteY7645" fmla="*/ 2884302 h 6698675"/>
              <a:gd name="connsiteX7646" fmla="*/ 5839046 w 8267681"/>
              <a:gd name="connsiteY7646" fmla="*/ 2891350 h 6698675"/>
              <a:gd name="connsiteX7647" fmla="*/ 5846092 w 8267681"/>
              <a:gd name="connsiteY7647" fmla="*/ 2893699 h 6698675"/>
              <a:gd name="connsiteX7648" fmla="*/ 5850790 w 8267681"/>
              <a:gd name="connsiteY7648" fmla="*/ 2891350 h 6698675"/>
              <a:gd name="connsiteX7649" fmla="*/ 5505519 w 8267681"/>
              <a:gd name="connsiteY7649" fmla="*/ 2884302 h 6698675"/>
              <a:gd name="connsiteX7650" fmla="*/ 5507150 w 8267681"/>
              <a:gd name="connsiteY7650" fmla="*/ 2885934 h 6698675"/>
              <a:gd name="connsiteX7651" fmla="*/ 5505519 w 8267681"/>
              <a:gd name="connsiteY7651" fmla="*/ 2889637 h 6698675"/>
              <a:gd name="connsiteX7652" fmla="*/ 5585378 w 8267681"/>
              <a:gd name="connsiteY7652" fmla="*/ 2881957 h 6698675"/>
              <a:gd name="connsiteX7653" fmla="*/ 5585378 w 8267681"/>
              <a:gd name="connsiteY7653" fmla="*/ 2891350 h 6698675"/>
              <a:gd name="connsiteX7654" fmla="*/ 5592424 w 8267681"/>
              <a:gd name="connsiteY7654" fmla="*/ 2891350 h 6698675"/>
              <a:gd name="connsiteX7655" fmla="*/ 5592424 w 8267681"/>
              <a:gd name="connsiteY7655" fmla="*/ 2881957 h 6698675"/>
              <a:gd name="connsiteX7656" fmla="*/ 5651144 w 8267681"/>
              <a:gd name="connsiteY7656" fmla="*/ 2879605 h 6698675"/>
              <a:gd name="connsiteX7657" fmla="*/ 5658190 w 8267681"/>
              <a:gd name="connsiteY7657" fmla="*/ 2886652 h 6698675"/>
              <a:gd name="connsiteX7658" fmla="*/ 5662887 w 8267681"/>
              <a:gd name="connsiteY7658" fmla="*/ 2879605 h 6698675"/>
              <a:gd name="connsiteX7659" fmla="*/ 5625307 w 8267681"/>
              <a:gd name="connsiteY7659" fmla="*/ 2879605 h 6698675"/>
              <a:gd name="connsiteX7660" fmla="*/ 5618261 w 8267681"/>
              <a:gd name="connsiteY7660" fmla="*/ 2893699 h 6698675"/>
              <a:gd name="connsiteX7661" fmla="*/ 5630005 w 8267681"/>
              <a:gd name="connsiteY7661" fmla="*/ 2893699 h 6698675"/>
              <a:gd name="connsiteX7662" fmla="*/ 1273021 w 8267681"/>
              <a:gd name="connsiteY7662" fmla="*/ 2877259 h 6698675"/>
              <a:gd name="connsiteX7663" fmla="*/ 1270672 w 8267681"/>
              <a:gd name="connsiteY7663" fmla="*/ 2908969 h 6698675"/>
              <a:gd name="connsiteX7664" fmla="*/ 1270672 w 8267681"/>
              <a:gd name="connsiteY7664" fmla="*/ 2893698 h 6698675"/>
              <a:gd name="connsiteX7665" fmla="*/ 1273021 w 8267681"/>
              <a:gd name="connsiteY7665" fmla="*/ 2877259 h 6698675"/>
              <a:gd name="connsiteX7666" fmla="*/ 5256549 w 8267681"/>
              <a:gd name="connsiteY7666" fmla="*/ 2874908 h 6698675"/>
              <a:gd name="connsiteX7667" fmla="*/ 5256549 w 8267681"/>
              <a:gd name="connsiteY7667" fmla="*/ 2881957 h 6698675"/>
              <a:gd name="connsiteX7668" fmla="*/ 5263595 w 8267681"/>
              <a:gd name="connsiteY7668" fmla="*/ 2874908 h 6698675"/>
              <a:gd name="connsiteX7669" fmla="*/ 5186085 w 8267681"/>
              <a:gd name="connsiteY7669" fmla="*/ 2874884 h 6698675"/>
              <a:gd name="connsiteX7670" fmla="*/ 5181388 w 8267681"/>
              <a:gd name="connsiteY7670" fmla="*/ 2879581 h 6698675"/>
              <a:gd name="connsiteX7671" fmla="*/ 5186085 w 8267681"/>
              <a:gd name="connsiteY7671" fmla="*/ 2874884 h 6698675"/>
              <a:gd name="connsiteX7672" fmla="*/ 5514914 w 8267681"/>
              <a:gd name="connsiteY7672" fmla="*/ 2870209 h 6698675"/>
              <a:gd name="connsiteX7673" fmla="*/ 5507868 w 8267681"/>
              <a:gd name="connsiteY7673" fmla="*/ 2877259 h 6698675"/>
              <a:gd name="connsiteX7674" fmla="*/ 5514914 w 8267681"/>
              <a:gd name="connsiteY7674" fmla="*/ 2877259 h 6698675"/>
              <a:gd name="connsiteX7675" fmla="*/ 5364973 w 8267681"/>
              <a:gd name="connsiteY7675" fmla="*/ 2870209 h 6698675"/>
              <a:gd name="connsiteX7676" fmla="*/ 5371639 w 8267681"/>
              <a:gd name="connsiteY7676" fmla="*/ 2870209 h 6698675"/>
              <a:gd name="connsiteX7677" fmla="*/ 5369290 w 8267681"/>
              <a:gd name="connsiteY7677" fmla="*/ 2877259 h 6698675"/>
              <a:gd name="connsiteX7678" fmla="*/ 5373596 w 8267681"/>
              <a:gd name="connsiteY7678" fmla="*/ 2877259 h 6698675"/>
              <a:gd name="connsiteX7679" fmla="*/ 5373988 w 8267681"/>
              <a:gd name="connsiteY7679" fmla="*/ 2879605 h 6698675"/>
              <a:gd name="connsiteX7680" fmla="*/ 5371639 w 8267681"/>
              <a:gd name="connsiteY7680" fmla="*/ 2881957 h 6698675"/>
              <a:gd name="connsiteX7681" fmla="*/ 5365473 w 8267681"/>
              <a:gd name="connsiteY7681" fmla="*/ 2876375 h 6698675"/>
              <a:gd name="connsiteX7682" fmla="*/ 5860185 w 8267681"/>
              <a:gd name="connsiteY7682" fmla="*/ 2867859 h 6698675"/>
              <a:gd name="connsiteX7683" fmla="*/ 5860185 w 8267681"/>
              <a:gd name="connsiteY7683" fmla="*/ 2877259 h 6698675"/>
              <a:gd name="connsiteX7684" fmla="*/ 5869580 w 8267681"/>
              <a:gd name="connsiteY7684" fmla="*/ 2867859 h 6698675"/>
              <a:gd name="connsiteX7685" fmla="*/ 5463241 w 8267681"/>
              <a:gd name="connsiteY7685" fmla="*/ 2867859 h 6698675"/>
              <a:gd name="connsiteX7686" fmla="*/ 5463241 w 8267681"/>
              <a:gd name="connsiteY7686" fmla="*/ 2877259 h 6698675"/>
              <a:gd name="connsiteX7687" fmla="*/ 5460892 w 8267681"/>
              <a:gd name="connsiteY7687" fmla="*/ 2879605 h 6698675"/>
              <a:gd name="connsiteX7688" fmla="*/ 5458544 w 8267681"/>
              <a:gd name="connsiteY7688" fmla="*/ 2884302 h 6698675"/>
              <a:gd name="connsiteX7689" fmla="*/ 5456195 w 8267681"/>
              <a:gd name="connsiteY7689" fmla="*/ 2884302 h 6698675"/>
              <a:gd name="connsiteX7690" fmla="*/ 5457134 w 8267681"/>
              <a:gd name="connsiteY7690" fmla="*/ 2885714 h 6698675"/>
              <a:gd name="connsiteX7691" fmla="*/ 5451497 w 8267681"/>
              <a:gd name="connsiteY7691" fmla="*/ 2891350 h 6698675"/>
              <a:gd name="connsiteX7692" fmla="*/ 5460892 w 8267681"/>
              <a:gd name="connsiteY7692" fmla="*/ 2891350 h 6698675"/>
              <a:gd name="connsiteX7693" fmla="*/ 5457134 w 8267681"/>
              <a:gd name="connsiteY7693" fmla="*/ 2885714 h 6698675"/>
              <a:gd name="connsiteX7694" fmla="*/ 5458544 w 8267681"/>
              <a:gd name="connsiteY7694" fmla="*/ 2884302 h 6698675"/>
              <a:gd name="connsiteX7695" fmla="*/ 5463241 w 8267681"/>
              <a:gd name="connsiteY7695" fmla="*/ 2884302 h 6698675"/>
              <a:gd name="connsiteX7696" fmla="*/ 5463241 w 8267681"/>
              <a:gd name="connsiteY7696" fmla="*/ 2877259 h 6698675"/>
              <a:gd name="connsiteX7697" fmla="*/ 5482032 w 8267681"/>
              <a:gd name="connsiteY7697" fmla="*/ 2874908 h 6698675"/>
              <a:gd name="connsiteX7698" fmla="*/ 5472636 w 8267681"/>
              <a:gd name="connsiteY7698" fmla="*/ 2867859 h 6698675"/>
              <a:gd name="connsiteX7699" fmla="*/ 5472636 w 8267681"/>
              <a:gd name="connsiteY7699" fmla="*/ 2874908 h 6698675"/>
              <a:gd name="connsiteX7700" fmla="*/ 5331710 w 8267681"/>
              <a:gd name="connsiteY7700" fmla="*/ 2867859 h 6698675"/>
              <a:gd name="connsiteX7701" fmla="*/ 5338756 w 8267681"/>
              <a:gd name="connsiteY7701" fmla="*/ 2874908 h 6698675"/>
              <a:gd name="connsiteX7702" fmla="*/ 5341105 w 8267681"/>
              <a:gd name="connsiteY7702" fmla="*/ 2867859 h 6698675"/>
              <a:gd name="connsiteX7703" fmla="*/ 446267 w 8267681"/>
              <a:gd name="connsiteY7703" fmla="*/ 2865594 h 6698675"/>
              <a:gd name="connsiteX7704" fmla="*/ 349970 w 8267681"/>
              <a:gd name="connsiteY7704" fmla="*/ 3011191 h 6698675"/>
              <a:gd name="connsiteX7705" fmla="*/ 352319 w 8267681"/>
              <a:gd name="connsiteY7705" fmla="*/ 3015889 h 6698675"/>
              <a:gd name="connsiteX7706" fmla="*/ 352319 w 8267681"/>
              <a:gd name="connsiteY7706" fmla="*/ 3025279 h 6698675"/>
              <a:gd name="connsiteX7707" fmla="*/ 321784 w 8267681"/>
              <a:gd name="connsiteY7707" fmla="*/ 3065200 h 6698675"/>
              <a:gd name="connsiteX7708" fmla="*/ 331178 w 8267681"/>
              <a:gd name="connsiteY7708" fmla="*/ 3069899 h 6698675"/>
              <a:gd name="connsiteX7709" fmla="*/ 392247 w 8267681"/>
              <a:gd name="connsiteY7709" fmla="*/ 2975965 h 6698675"/>
              <a:gd name="connsiteX7710" fmla="*/ 443918 w 8267681"/>
              <a:gd name="connsiteY7710" fmla="*/ 2879680 h 6698675"/>
              <a:gd name="connsiteX7711" fmla="*/ 5578331 w 8267681"/>
              <a:gd name="connsiteY7711" fmla="*/ 2865511 h 6698675"/>
              <a:gd name="connsiteX7712" fmla="*/ 5585378 w 8267681"/>
              <a:gd name="connsiteY7712" fmla="*/ 2879605 h 6698675"/>
              <a:gd name="connsiteX7713" fmla="*/ 5578331 w 8267681"/>
              <a:gd name="connsiteY7713" fmla="*/ 2865511 h 6698675"/>
              <a:gd name="connsiteX7714" fmla="*/ 5141459 w 8267681"/>
              <a:gd name="connsiteY7714" fmla="*/ 2865511 h 6698675"/>
              <a:gd name="connsiteX7715" fmla="*/ 5141459 w 8267681"/>
              <a:gd name="connsiteY7715" fmla="*/ 2877259 h 6698675"/>
              <a:gd name="connsiteX7716" fmla="*/ 5132573 w 8267681"/>
              <a:gd name="connsiteY7716" fmla="*/ 2874295 h 6698675"/>
              <a:gd name="connsiteX7717" fmla="*/ 5138763 w 8267681"/>
              <a:gd name="connsiteY7717" fmla="*/ 2880009 h 6698675"/>
              <a:gd name="connsiteX7718" fmla="*/ 5138816 w 8267681"/>
              <a:gd name="connsiteY7718" fmla="*/ 2879899 h 6698675"/>
              <a:gd name="connsiteX7719" fmla="*/ 5148505 w 8267681"/>
              <a:gd name="connsiteY7719" fmla="*/ 2879605 h 6698675"/>
              <a:gd name="connsiteX7720" fmla="*/ 5141459 w 8267681"/>
              <a:gd name="connsiteY7720" fmla="*/ 2865511 h 6698675"/>
              <a:gd name="connsiteX7721" fmla="*/ 5322315 w 8267681"/>
              <a:gd name="connsiteY7721" fmla="*/ 2863162 h 6698675"/>
              <a:gd name="connsiteX7722" fmla="*/ 5319966 w 8267681"/>
              <a:gd name="connsiteY7722" fmla="*/ 2872559 h 6698675"/>
              <a:gd name="connsiteX7723" fmla="*/ 5305873 w 8267681"/>
              <a:gd name="connsiteY7723" fmla="*/ 2872559 h 6698675"/>
              <a:gd name="connsiteX7724" fmla="*/ 5310571 w 8267681"/>
              <a:gd name="connsiteY7724" fmla="*/ 2877259 h 6698675"/>
              <a:gd name="connsiteX7725" fmla="*/ 5312920 w 8267681"/>
              <a:gd name="connsiteY7725" fmla="*/ 2884302 h 6698675"/>
              <a:gd name="connsiteX7726" fmla="*/ 5319966 w 8267681"/>
              <a:gd name="connsiteY7726" fmla="*/ 2879605 h 6698675"/>
              <a:gd name="connsiteX7727" fmla="*/ 5319966 w 8267681"/>
              <a:gd name="connsiteY7727" fmla="*/ 2891350 h 6698675"/>
              <a:gd name="connsiteX7728" fmla="*/ 5329361 w 8267681"/>
              <a:gd name="connsiteY7728" fmla="*/ 2879605 h 6698675"/>
              <a:gd name="connsiteX7729" fmla="*/ 5319966 w 8267681"/>
              <a:gd name="connsiteY7729" fmla="*/ 2879605 h 6698675"/>
              <a:gd name="connsiteX7730" fmla="*/ 5329361 w 8267681"/>
              <a:gd name="connsiteY7730" fmla="*/ 2867859 h 6698675"/>
              <a:gd name="connsiteX7731" fmla="*/ 5305873 w 8267681"/>
              <a:gd name="connsiteY7731" fmla="*/ 2863162 h 6698675"/>
              <a:gd name="connsiteX7732" fmla="*/ 5312920 w 8267681"/>
              <a:gd name="connsiteY7732" fmla="*/ 2870209 h 6698675"/>
              <a:gd name="connsiteX7733" fmla="*/ 5312920 w 8267681"/>
              <a:gd name="connsiteY7733" fmla="*/ 2863162 h 6698675"/>
              <a:gd name="connsiteX7734" fmla="*/ 5202556 w 8267681"/>
              <a:gd name="connsiteY7734" fmla="*/ 2863162 h 6698675"/>
              <a:gd name="connsiteX7735" fmla="*/ 5204047 w 8267681"/>
              <a:gd name="connsiteY7735" fmla="*/ 2864655 h 6698675"/>
              <a:gd name="connsiteX7736" fmla="*/ 5204876 w 8267681"/>
              <a:gd name="connsiteY7736" fmla="*/ 2863162 h 6698675"/>
              <a:gd name="connsiteX7737" fmla="*/ 293598 w 8267681"/>
              <a:gd name="connsiteY7737" fmla="*/ 2860890 h 6698675"/>
              <a:gd name="connsiteX7738" fmla="*/ 288900 w 8267681"/>
              <a:gd name="connsiteY7738" fmla="*/ 2863240 h 6698675"/>
              <a:gd name="connsiteX7739" fmla="*/ 293598 w 8267681"/>
              <a:gd name="connsiteY7739" fmla="*/ 2870286 h 6698675"/>
              <a:gd name="connsiteX7740" fmla="*/ 295948 w 8267681"/>
              <a:gd name="connsiteY7740" fmla="*/ 2863240 h 6698675"/>
              <a:gd name="connsiteX7741" fmla="*/ 293598 w 8267681"/>
              <a:gd name="connsiteY7741" fmla="*/ 2860890 h 6698675"/>
              <a:gd name="connsiteX7742" fmla="*/ 5848441 w 8267681"/>
              <a:gd name="connsiteY7742" fmla="*/ 2860812 h 6698675"/>
              <a:gd name="connsiteX7743" fmla="*/ 5848441 w 8267681"/>
              <a:gd name="connsiteY7743" fmla="*/ 2867859 h 6698675"/>
              <a:gd name="connsiteX7744" fmla="*/ 5839046 w 8267681"/>
              <a:gd name="connsiteY7744" fmla="*/ 2867859 h 6698675"/>
              <a:gd name="connsiteX7745" fmla="*/ 5841395 w 8267681"/>
              <a:gd name="connsiteY7745" fmla="*/ 2881957 h 6698675"/>
              <a:gd name="connsiteX7746" fmla="*/ 5846092 w 8267681"/>
              <a:gd name="connsiteY7746" fmla="*/ 2872559 h 6698675"/>
              <a:gd name="connsiteX7747" fmla="*/ 5848441 w 8267681"/>
              <a:gd name="connsiteY7747" fmla="*/ 2867859 h 6698675"/>
              <a:gd name="connsiteX7748" fmla="*/ 5855487 w 8267681"/>
              <a:gd name="connsiteY7748" fmla="*/ 2860812 h 6698675"/>
              <a:gd name="connsiteX7749" fmla="*/ 5667585 w 8267681"/>
              <a:gd name="connsiteY7749" fmla="*/ 2858471 h 6698675"/>
              <a:gd name="connsiteX7750" fmla="*/ 5660538 w 8267681"/>
              <a:gd name="connsiteY7750" fmla="*/ 2865511 h 6698675"/>
              <a:gd name="connsiteX7751" fmla="*/ 5672282 w 8267681"/>
              <a:gd name="connsiteY7751" fmla="*/ 2865511 h 6698675"/>
              <a:gd name="connsiteX7752" fmla="*/ 5608865 w 8267681"/>
              <a:gd name="connsiteY7752" fmla="*/ 2858471 h 6698675"/>
              <a:gd name="connsiteX7753" fmla="*/ 5601819 w 8267681"/>
              <a:gd name="connsiteY7753" fmla="*/ 2865511 h 6698675"/>
              <a:gd name="connsiteX7754" fmla="*/ 5608865 w 8267681"/>
              <a:gd name="connsiteY7754" fmla="*/ 2867859 h 6698675"/>
              <a:gd name="connsiteX7755" fmla="*/ 5613563 w 8267681"/>
              <a:gd name="connsiteY7755" fmla="*/ 2865511 h 6698675"/>
              <a:gd name="connsiteX7756" fmla="*/ 5594773 w 8267681"/>
              <a:gd name="connsiteY7756" fmla="*/ 2858471 h 6698675"/>
              <a:gd name="connsiteX7757" fmla="*/ 5587727 w 8267681"/>
              <a:gd name="connsiteY7757" fmla="*/ 2865511 h 6698675"/>
              <a:gd name="connsiteX7758" fmla="*/ 5594773 w 8267681"/>
              <a:gd name="connsiteY7758" fmla="*/ 2867859 h 6698675"/>
              <a:gd name="connsiteX7759" fmla="*/ 5437405 w 8267681"/>
              <a:gd name="connsiteY7759" fmla="*/ 2858471 h 6698675"/>
              <a:gd name="connsiteX7760" fmla="*/ 5430359 w 8267681"/>
              <a:gd name="connsiteY7760" fmla="*/ 2865511 h 6698675"/>
              <a:gd name="connsiteX7761" fmla="*/ 5442102 w 8267681"/>
              <a:gd name="connsiteY7761" fmla="*/ 2865511 h 6698675"/>
              <a:gd name="connsiteX7762" fmla="*/ 5357546 w 8267681"/>
              <a:gd name="connsiteY7762" fmla="*/ 2858471 h 6698675"/>
              <a:gd name="connsiteX7763" fmla="*/ 5350500 w 8267681"/>
              <a:gd name="connsiteY7763" fmla="*/ 2865511 h 6698675"/>
              <a:gd name="connsiteX7764" fmla="*/ 5362244 w 8267681"/>
              <a:gd name="connsiteY7764" fmla="*/ 2865511 h 6698675"/>
              <a:gd name="connsiteX7765" fmla="*/ 5627656 w 8267681"/>
              <a:gd name="connsiteY7765" fmla="*/ 2856119 h 6698675"/>
              <a:gd name="connsiteX7766" fmla="*/ 5632353 w 8267681"/>
              <a:gd name="connsiteY7766" fmla="*/ 2863162 h 6698675"/>
              <a:gd name="connsiteX7767" fmla="*/ 5637051 w 8267681"/>
              <a:gd name="connsiteY7767" fmla="*/ 2856119 h 6698675"/>
              <a:gd name="connsiteX7768" fmla="*/ 5543100 w 8267681"/>
              <a:gd name="connsiteY7768" fmla="*/ 2856119 h 6698675"/>
              <a:gd name="connsiteX7769" fmla="*/ 5543100 w 8267681"/>
              <a:gd name="connsiteY7769" fmla="*/ 2865511 h 6698675"/>
              <a:gd name="connsiteX7770" fmla="*/ 5554843 w 8267681"/>
              <a:gd name="connsiteY7770" fmla="*/ 2865511 h 6698675"/>
              <a:gd name="connsiteX7771" fmla="*/ 5533705 w 8267681"/>
              <a:gd name="connsiteY7771" fmla="*/ 2856119 h 6698675"/>
              <a:gd name="connsiteX7772" fmla="*/ 5517263 w 8267681"/>
              <a:gd name="connsiteY7772" fmla="*/ 2865511 h 6698675"/>
              <a:gd name="connsiteX7773" fmla="*/ 5533705 w 8267681"/>
              <a:gd name="connsiteY7773" fmla="*/ 2856119 h 6698675"/>
              <a:gd name="connsiteX7774" fmla="*/ 5388080 w 8267681"/>
              <a:gd name="connsiteY7774" fmla="*/ 2853769 h 6698675"/>
              <a:gd name="connsiteX7775" fmla="*/ 5381034 w 8267681"/>
              <a:gd name="connsiteY7775" fmla="*/ 2858471 h 6698675"/>
              <a:gd name="connsiteX7776" fmla="*/ 5388080 w 8267681"/>
              <a:gd name="connsiteY7776" fmla="*/ 2863162 h 6698675"/>
              <a:gd name="connsiteX7777" fmla="*/ 5294129 w 8267681"/>
              <a:gd name="connsiteY7777" fmla="*/ 2851420 h 6698675"/>
              <a:gd name="connsiteX7778" fmla="*/ 5280036 w 8267681"/>
              <a:gd name="connsiteY7778" fmla="*/ 2856119 h 6698675"/>
              <a:gd name="connsiteX7779" fmla="*/ 5265944 w 8267681"/>
              <a:gd name="connsiteY7779" fmla="*/ 2856119 h 6698675"/>
              <a:gd name="connsiteX7780" fmla="*/ 5272990 w 8267681"/>
              <a:gd name="connsiteY7780" fmla="*/ 2865511 h 6698675"/>
              <a:gd name="connsiteX7781" fmla="*/ 5272990 w 8267681"/>
              <a:gd name="connsiteY7781" fmla="*/ 2872559 h 6698675"/>
              <a:gd name="connsiteX7782" fmla="*/ 5258898 w 8267681"/>
              <a:gd name="connsiteY7782" fmla="*/ 2863162 h 6698675"/>
              <a:gd name="connsiteX7783" fmla="*/ 5263595 w 8267681"/>
              <a:gd name="connsiteY7783" fmla="*/ 2856119 h 6698675"/>
              <a:gd name="connsiteX7784" fmla="*/ 5254200 w 8267681"/>
              <a:gd name="connsiteY7784" fmla="*/ 2856119 h 6698675"/>
              <a:gd name="connsiteX7785" fmla="*/ 5256549 w 8267681"/>
              <a:gd name="connsiteY7785" fmla="*/ 2870209 h 6698675"/>
              <a:gd name="connsiteX7786" fmla="*/ 5265944 w 8267681"/>
              <a:gd name="connsiteY7786" fmla="*/ 2879605 h 6698675"/>
              <a:gd name="connsiteX7787" fmla="*/ 5272990 w 8267681"/>
              <a:gd name="connsiteY7787" fmla="*/ 2879605 h 6698675"/>
              <a:gd name="connsiteX7788" fmla="*/ 5272990 w 8267681"/>
              <a:gd name="connsiteY7788" fmla="*/ 2872559 h 6698675"/>
              <a:gd name="connsiteX7789" fmla="*/ 5157899 w 8267681"/>
              <a:gd name="connsiteY7789" fmla="*/ 2851396 h 6698675"/>
              <a:gd name="connsiteX7790" fmla="*/ 5157899 w 8267681"/>
              <a:gd name="connsiteY7790" fmla="*/ 2856096 h 6698675"/>
              <a:gd name="connsiteX7791" fmla="*/ 5153202 w 8267681"/>
              <a:gd name="connsiteY7791" fmla="*/ 2853744 h 6698675"/>
              <a:gd name="connsiteX7792" fmla="*/ 1115669 w 8267681"/>
              <a:gd name="connsiteY7792" fmla="*/ 2849132 h 6698675"/>
              <a:gd name="connsiteX7793" fmla="*/ 1106275 w 8267681"/>
              <a:gd name="connsiteY7793" fmla="*/ 2853832 h 6698675"/>
              <a:gd name="connsiteX7794" fmla="*/ 1103926 w 8267681"/>
              <a:gd name="connsiteY7794" fmla="*/ 2856179 h 6698675"/>
              <a:gd name="connsiteX7795" fmla="*/ 1106275 w 8267681"/>
              <a:gd name="connsiteY7795" fmla="*/ 2858531 h 6698675"/>
              <a:gd name="connsiteX7796" fmla="*/ 1115669 w 8267681"/>
              <a:gd name="connsiteY7796" fmla="*/ 2860870 h 6698675"/>
              <a:gd name="connsiteX7797" fmla="*/ 1125068 w 8267681"/>
              <a:gd name="connsiteY7797" fmla="*/ 2858531 h 6698675"/>
              <a:gd name="connsiteX7798" fmla="*/ 1127419 w 8267681"/>
              <a:gd name="connsiteY7798" fmla="*/ 2856179 h 6698675"/>
              <a:gd name="connsiteX7799" fmla="*/ 1125068 w 8267681"/>
              <a:gd name="connsiteY7799" fmla="*/ 2851481 h 6698675"/>
              <a:gd name="connsiteX7800" fmla="*/ 5437405 w 8267681"/>
              <a:gd name="connsiteY7800" fmla="*/ 2849069 h 6698675"/>
              <a:gd name="connsiteX7801" fmla="*/ 5446800 w 8267681"/>
              <a:gd name="connsiteY7801" fmla="*/ 2860812 h 6698675"/>
              <a:gd name="connsiteX7802" fmla="*/ 5453846 w 8267681"/>
              <a:gd name="connsiteY7802" fmla="*/ 2858471 h 6698675"/>
              <a:gd name="connsiteX7803" fmla="*/ 5437405 w 8267681"/>
              <a:gd name="connsiteY7803" fmla="*/ 2849069 h 6698675"/>
              <a:gd name="connsiteX7804" fmla="*/ 5867231 w 8267681"/>
              <a:gd name="connsiteY7804" fmla="*/ 2844369 h 6698675"/>
              <a:gd name="connsiteX7805" fmla="*/ 5860185 w 8267681"/>
              <a:gd name="connsiteY7805" fmla="*/ 2846719 h 6698675"/>
              <a:gd name="connsiteX7806" fmla="*/ 5867231 w 8267681"/>
              <a:gd name="connsiteY7806" fmla="*/ 2856119 h 6698675"/>
              <a:gd name="connsiteX7807" fmla="*/ 5881324 w 8267681"/>
              <a:gd name="connsiteY7807" fmla="*/ 2846719 h 6698675"/>
              <a:gd name="connsiteX7808" fmla="*/ 5867231 w 8267681"/>
              <a:gd name="connsiteY7808" fmla="*/ 2844369 h 6698675"/>
              <a:gd name="connsiteX7809" fmla="*/ 5780326 w 8267681"/>
              <a:gd name="connsiteY7809" fmla="*/ 2844369 h 6698675"/>
              <a:gd name="connsiteX7810" fmla="*/ 5780326 w 8267681"/>
              <a:gd name="connsiteY7810" fmla="*/ 2853769 h 6698675"/>
              <a:gd name="connsiteX7811" fmla="*/ 5787373 w 8267681"/>
              <a:gd name="connsiteY7811" fmla="*/ 2853769 h 6698675"/>
              <a:gd name="connsiteX7812" fmla="*/ 5787373 w 8267681"/>
              <a:gd name="connsiteY7812" fmla="*/ 2872559 h 6698675"/>
              <a:gd name="connsiteX7813" fmla="*/ 5787373 w 8267681"/>
              <a:gd name="connsiteY7813" fmla="*/ 2874908 h 6698675"/>
              <a:gd name="connsiteX7814" fmla="*/ 5796768 w 8267681"/>
              <a:gd name="connsiteY7814" fmla="*/ 2874908 h 6698675"/>
              <a:gd name="connsiteX7815" fmla="*/ 5796768 w 8267681"/>
              <a:gd name="connsiteY7815" fmla="*/ 2858471 h 6698675"/>
              <a:gd name="connsiteX7816" fmla="*/ 5789721 w 8267681"/>
              <a:gd name="connsiteY7816" fmla="*/ 2853769 h 6698675"/>
              <a:gd name="connsiteX7817" fmla="*/ 5780326 w 8267681"/>
              <a:gd name="connsiteY7817" fmla="*/ 2844369 h 6698675"/>
              <a:gd name="connsiteX7818" fmla="*/ 5639400 w 8267681"/>
              <a:gd name="connsiteY7818" fmla="*/ 2844369 h 6698675"/>
              <a:gd name="connsiteX7819" fmla="*/ 5639400 w 8267681"/>
              <a:gd name="connsiteY7819" fmla="*/ 2851420 h 6698675"/>
              <a:gd name="connsiteX7820" fmla="*/ 5646446 w 8267681"/>
              <a:gd name="connsiteY7820" fmla="*/ 2851420 h 6698675"/>
              <a:gd name="connsiteX7821" fmla="*/ 5561890 w 8267681"/>
              <a:gd name="connsiteY7821" fmla="*/ 2844369 h 6698675"/>
              <a:gd name="connsiteX7822" fmla="*/ 5554843 w 8267681"/>
              <a:gd name="connsiteY7822" fmla="*/ 2851420 h 6698675"/>
              <a:gd name="connsiteX7823" fmla="*/ 5566587 w 8267681"/>
              <a:gd name="connsiteY7823" fmla="*/ 2851420 h 6698675"/>
              <a:gd name="connsiteX7824" fmla="*/ 5376337 w 8267681"/>
              <a:gd name="connsiteY7824" fmla="*/ 2844369 h 6698675"/>
              <a:gd name="connsiteX7825" fmla="*/ 5371639 w 8267681"/>
              <a:gd name="connsiteY7825" fmla="*/ 2851420 h 6698675"/>
              <a:gd name="connsiteX7826" fmla="*/ 5383383 w 8267681"/>
              <a:gd name="connsiteY7826" fmla="*/ 2849069 h 6698675"/>
              <a:gd name="connsiteX7827" fmla="*/ 5127366 w 8267681"/>
              <a:gd name="connsiteY7827" fmla="*/ 2844369 h 6698675"/>
              <a:gd name="connsiteX7828" fmla="*/ 5120319 w 8267681"/>
              <a:gd name="connsiteY7828" fmla="*/ 2851420 h 6698675"/>
              <a:gd name="connsiteX7829" fmla="*/ 5132063 w 8267681"/>
              <a:gd name="connsiteY7829" fmla="*/ 2851420 h 6698675"/>
              <a:gd name="connsiteX7830" fmla="*/ 5751418 w 8267681"/>
              <a:gd name="connsiteY7830" fmla="*/ 2842027 h 6698675"/>
              <a:gd name="connsiteX7831" fmla="*/ 5754490 w 8267681"/>
              <a:gd name="connsiteY7831" fmla="*/ 2844689 h 6698675"/>
              <a:gd name="connsiteX7832" fmla="*/ 5754490 w 8267681"/>
              <a:gd name="connsiteY7832" fmla="*/ 2842027 h 6698675"/>
              <a:gd name="connsiteX7833" fmla="*/ 5505519 w 8267681"/>
              <a:gd name="connsiteY7833" fmla="*/ 2842027 h 6698675"/>
              <a:gd name="connsiteX7834" fmla="*/ 5498473 w 8267681"/>
              <a:gd name="connsiteY7834" fmla="*/ 2851420 h 6698675"/>
              <a:gd name="connsiteX7835" fmla="*/ 5505519 w 8267681"/>
              <a:gd name="connsiteY7835" fmla="*/ 2851420 h 6698675"/>
              <a:gd name="connsiteX7836" fmla="*/ 5428010 w 8267681"/>
              <a:gd name="connsiteY7836" fmla="*/ 2842027 h 6698675"/>
              <a:gd name="connsiteX7837" fmla="*/ 5428010 w 8267681"/>
              <a:gd name="connsiteY7837" fmla="*/ 2849069 h 6698675"/>
              <a:gd name="connsiteX7838" fmla="*/ 5435056 w 8267681"/>
              <a:gd name="connsiteY7838" fmla="*/ 2842027 h 6698675"/>
              <a:gd name="connsiteX7839" fmla="*/ 5875591 w 8267681"/>
              <a:gd name="connsiteY7839" fmla="*/ 2840784 h 6698675"/>
              <a:gd name="connsiteX7840" fmla="*/ 5876626 w 8267681"/>
              <a:gd name="connsiteY7840" fmla="*/ 2842027 h 6698675"/>
              <a:gd name="connsiteX7841" fmla="*/ 5877021 w 8267681"/>
              <a:gd name="connsiteY7841" fmla="*/ 2841433 h 6698675"/>
              <a:gd name="connsiteX7842" fmla="*/ 5486729 w 8267681"/>
              <a:gd name="connsiteY7842" fmla="*/ 2837330 h 6698675"/>
              <a:gd name="connsiteX7843" fmla="*/ 5477334 w 8267681"/>
              <a:gd name="connsiteY7843" fmla="*/ 2842027 h 6698675"/>
              <a:gd name="connsiteX7844" fmla="*/ 5484380 w 8267681"/>
              <a:gd name="connsiteY7844" fmla="*/ 2849069 h 6698675"/>
              <a:gd name="connsiteX7845" fmla="*/ 5200177 w 8267681"/>
              <a:gd name="connsiteY7845" fmla="*/ 2837325 h 6698675"/>
              <a:gd name="connsiteX7846" fmla="*/ 5198312 w 8267681"/>
              <a:gd name="connsiteY7846" fmla="*/ 2839191 h 6698675"/>
              <a:gd name="connsiteX7847" fmla="*/ 5200177 w 8267681"/>
              <a:gd name="connsiteY7847" fmla="*/ 2839016 h 6698675"/>
              <a:gd name="connsiteX7848" fmla="*/ 5770931 w 8267681"/>
              <a:gd name="connsiteY7848" fmla="*/ 2834980 h 6698675"/>
              <a:gd name="connsiteX7849" fmla="*/ 5770931 w 8267681"/>
              <a:gd name="connsiteY7849" fmla="*/ 2842027 h 6698675"/>
              <a:gd name="connsiteX7850" fmla="*/ 5777977 w 8267681"/>
              <a:gd name="connsiteY7850" fmla="*/ 2834980 h 6698675"/>
              <a:gd name="connsiteX7851" fmla="*/ 5743299 w 8267681"/>
              <a:gd name="connsiteY7851" fmla="*/ 2834980 h 6698675"/>
              <a:gd name="connsiteX7852" fmla="*/ 5744260 w 8267681"/>
              <a:gd name="connsiteY7852" fmla="*/ 2835818 h 6698675"/>
              <a:gd name="connsiteX7853" fmla="*/ 5745095 w 8267681"/>
              <a:gd name="connsiteY7853" fmla="*/ 2834980 h 6698675"/>
              <a:gd name="connsiteX7854" fmla="*/ 5849819 w 8267681"/>
              <a:gd name="connsiteY7854" fmla="*/ 2834820 h 6698675"/>
              <a:gd name="connsiteX7855" fmla="*/ 5850790 w 8267681"/>
              <a:gd name="connsiteY7855" fmla="*/ 2834980 h 6698675"/>
              <a:gd name="connsiteX7856" fmla="*/ 5850506 w 8267681"/>
              <a:gd name="connsiteY7856" fmla="*/ 2835408 h 6698675"/>
              <a:gd name="connsiteX7857" fmla="*/ 5199256 w 8267681"/>
              <a:gd name="connsiteY7857" fmla="*/ 2833302 h 6698675"/>
              <a:gd name="connsiteX7858" fmla="*/ 5196655 w 8267681"/>
              <a:gd name="connsiteY7858" fmla="*/ 2833514 h 6698675"/>
              <a:gd name="connsiteX7859" fmla="*/ 5193132 w 8267681"/>
              <a:gd name="connsiteY7859" fmla="*/ 2839685 h 6698675"/>
              <a:gd name="connsiteX7860" fmla="*/ 5195480 w 8267681"/>
              <a:gd name="connsiteY7860" fmla="*/ 2839457 h 6698675"/>
              <a:gd name="connsiteX7861" fmla="*/ 5195480 w 8267681"/>
              <a:gd name="connsiteY7861" fmla="*/ 2837325 h 6698675"/>
              <a:gd name="connsiteX7862" fmla="*/ 5196947 w 8267681"/>
              <a:gd name="connsiteY7862" fmla="*/ 2834975 h 6698675"/>
              <a:gd name="connsiteX7863" fmla="*/ 5613563 w 8267681"/>
              <a:gd name="connsiteY7863" fmla="*/ 2832635 h 6698675"/>
              <a:gd name="connsiteX7864" fmla="*/ 5606517 w 8267681"/>
              <a:gd name="connsiteY7864" fmla="*/ 2839685 h 6698675"/>
              <a:gd name="connsiteX7865" fmla="*/ 5618261 w 8267681"/>
              <a:gd name="connsiteY7865" fmla="*/ 2839685 h 6698675"/>
              <a:gd name="connsiteX7866" fmla="*/ 5240107 w 8267681"/>
              <a:gd name="connsiteY7866" fmla="*/ 2832635 h 6698675"/>
              <a:gd name="connsiteX7867" fmla="*/ 5223666 w 8267681"/>
              <a:gd name="connsiteY7867" fmla="*/ 2842027 h 6698675"/>
              <a:gd name="connsiteX7868" fmla="*/ 5216620 w 8267681"/>
              <a:gd name="connsiteY7868" fmla="*/ 2844369 h 6698675"/>
              <a:gd name="connsiteX7869" fmla="*/ 5216619 w 8267681"/>
              <a:gd name="connsiteY7869" fmla="*/ 2844369 h 6698675"/>
              <a:gd name="connsiteX7870" fmla="*/ 5216619 w 8267681"/>
              <a:gd name="connsiteY7870" fmla="*/ 2849030 h 6698675"/>
              <a:gd name="connsiteX7871" fmla="*/ 5218968 w 8267681"/>
              <a:gd name="connsiteY7871" fmla="*/ 2849030 h 6698675"/>
              <a:gd name="connsiteX7872" fmla="*/ 5216619 w 8267681"/>
              <a:gd name="connsiteY7872" fmla="*/ 2851379 h 6698675"/>
              <a:gd name="connsiteX7873" fmla="*/ 5216619 w 8267681"/>
              <a:gd name="connsiteY7873" fmla="*/ 2849068 h 6698675"/>
              <a:gd name="connsiteX7874" fmla="*/ 5214273 w 8267681"/>
              <a:gd name="connsiteY7874" fmla="*/ 2844369 h 6698675"/>
              <a:gd name="connsiteX7875" fmla="*/ 5204876 w 8267681"/>
              <a:gd name="connsiteY7875" fmla="*/ 2844369 h 6698675"/>
              <a:gd name="connsiteX7876" fmla="*/ 5211922 w 8267681"/>
              <a:gd name="connsiteY7876" fmla="*/ 2853769 h 6698675"/>
              <a:gd name="connsiteX7877" fmla="*/ 5218968 w 8267681"/>
              <a:gd name="connsiteY7877" fmla="*/ 2851420 h 6698675"/>
              <a:gd name="connsiteX7878" fmla="*/ 5226014 w 8267681"/>
              <a:gd name="connsiteY7878" fmla="*/ 2853769 h 6698675"/>
              <a:gd name="connsiteX7879" fmla="*/ 5242456 w 8267681"/>
              <a:gd name="connsiteY7879" fmla="*/ 2856119 h 6698675"/>
              <a:gd name="connsiteX7880" fmla="*/ 5233061 w 8267681"/>
              <a:gd name="connsiteY7880" fmla="*/ 2860812 h 6698675"/>
              <a:gd name="connsiteX7881" fmla="*/ 5226014 w 8267681"/>
              <a:gd name="connsiteY7881" fmla="*/ 2856119 h 6698675"/>
              <a:gd name="connsiteX7882" fmla="*/ 5211922 w 8267681"/>
              <a:gd name="connsiteY7882" fmla="*/ 2863162 h 6698675"/>
              <a:gd name="connsiteX7883" fmla="*/ 5226014 w 8267681"/>
              <a:gd name="connsiteY7883" fmla="*/ 2865511 h 6698675"/>
              <a:gd name="connsiteX7884" fmla="*/ 5235410 w 8267681"/>
              <a:gd name="connsiteY7884" fmla="*/ 2872559 h 6698675"/>
              <a:gd name="connsiteX7885" fmla="*/ 5249502 w 8267681"/>
              <a:gd name="connsiteY7885" fmla="*/ 2865511 h 6698675"/>
              <a:gd name="connsiteX7886" fmla="*/ 5247154 w 8267681"/>
              <a:gd name="connsiteY7886" fmla="*/ 2851420 h 6698675"/>
              <a:gd name="connsiteX7887" fmla="*/ 5254200 w 8267681"/>
              <a:gd name="connsiteY7887" fmla="*/ 2844369 h 6698675"/>
              <a:gd name="connsiteX7888" fmla="*/ 5240107 w 8267681"/>
              <a:gd name="connsiteY7888" fmla="*/ 2842027 h 6698675"/>
              <a:gd name="connsiteX7889" fmla="*/ 5240107 w 8267681"/>
              <a:gd name="connsiteY7889" fmla="*/ 2832635 h 6698675"/>
              <a:gd name="connsiteX7890" fmla="*/ 5207225 w 8267681"/>
              <a:gd name="connsiteY7890" fmla="*/ 2832635 h 6698675"/>
              <a:gd name="connsiteX7891" fmla="*/ 5202892 w 8267681"/>
              <a:gd name="connsiteY7891" fmla="*/ 2832995 h 6698675"/>
              <a:gd name="connsiteX7892" fmla="*/ 5205518 w 8267681"/>
              <a:gd name="connsiteY7892" fmla="*/ 2835621 h 6698675"/>
              <a:gd name="connsiteX7893" fmla="*/ 5813209 w 8267681"/>
              <a:gd name="connsiteY7893" fmla="*/ 2830284 h 6698675"/>
              <a:gd name="connsiteX7894" fmla="*/ 5799117 w 8267681"/>
              <a:gd name="connsiteY7894" fmla="*/ 2839685 h 6698675"/>
              <a:gd name="connsiteX7895" fmla="*/ 5803814 w 8267681"/>
              <a:gd name="connsiteY7895" fmla="*/ 2844369 h 6698675"/>
              <a:gd name="connsiteX7896" fmla="*/ 5813209 w 8267681"/>
              <a:gd name="connsiteY7896" fmla="*/ 2830284 h 6698675"/>
              <a:gd name="connsiteX7897" fmla="*/ 5251851 w 8267681"/>
              <a:gd name="connsiteY7897" fmla="*/ 2830284 h 6698675"/>
              <a:gd name="connsiteX7898" fmla="*/ 5256549 w 8267681"/>
              <a:gd name="connsiteY7898" fmla="*/ 2837330 h 6698675"/>
              <a:gd name="connsiteX7899" fmla="*/ 5261246 w 8267681"/>
              <a:gd name="connsiteY7899" fmla="*/ 2830284 h 6698675"/>
              <a:gd name="connsiteX7900" fmla="*/ 5169644 w 8267681"/>
              <a:gd name="connsiteY7900" fmla="*/ 2830284 h 6698675"/>
              <a:gd name="connsiteX7901" fmla="*/ 5171993 w 8267681"/>
              <a:gd name="connsiteY7901" fmla="*/ 2844369 h 6698675"/>
              <a:gd name="connsiteX7902" fmla="*/ 5181388 w 8267681"/>
              <a:gd name="connsiteY7902" fmla="*/ 2839685 h 6698675"/>
              <a:gd name="connsiteX7903" fmla="*/ 5531356 w 8267681"/>
              <a:gd name="connsiteY7903" fmla="*/ 2827934 h 6698675"/>
              <a:gd name="connsiteX7904" fmla="*/ 5507868 w 8267681"/>
              <a:gd name="connsiteY7904" fmla="*/ 2844369 h 6698675"/>
              <a:gd name="connsiteX7905" fmla="*/ 5512566 w 8267681"/>
              <a:gd name="connsiteY7905" fmla="*/ 2849069 h 6698675"/>
              <a:gd name="connsiteX7906" fmla="*/ 5519612 w 8267681"/>
              <a:gd name="connsiteY7906" fmla="*/ 2842027 h 6698675"/>
              <a:gd name="connsiteX7907" fmla="*/ 5531356 w 8267681"/>
              <a:gd name="connsiteY7907" fmla="*/ 2827934 h 6698675"/>
              <a:gd name="connsiteX7908" fmla="*/ 312391 w 8267681"/>
              <a:gd name="connsiteY7908" fmla="*/ 2825671 h 6698675"/>
              <a:gd name="connsiteX7909" fmla="*/ 310041 w 8267681"/>
              <a:gd name="connsiteY7909" fmla="*/ 2828019 h 6698675"/>
              <a:gd name="connsiteX7910" fmla="*/ 302992 w 8267681"/>
              <a:gd name="connsiteY7910" fmla="*/ 2832720 h 6698675"/>
              <a:gd name="connsiteX7911" fmla="*/ 300644 w 8267681"/>
              <a:gd name="connsiteY7911" fmla="*/ 2835062 h 6698675"/>
              <a:gd name="connsiteX7912" fmla="*/ 300644 w 8267681"/>
              <a:gd name="connsiteY7912" fmla="*/ 2844451 h 6698675"/>
              <a:gd name="connsiteX7913" fmla="*/ 300644 w 8267681"/>
              <a:gd name="connsiteY7913" fmla="*/ 2853851 h 6698675"/>
              <a:gd name="connsiteX7914" fmla="*/ 302992 w 8267681"/>
              <a:gd name="connsiteY7914" fmla="*/ 2856199 h 6698675"/>
              <a:gd name="connsiteX7915" fmla="*/ 305341 w 8267681"/>
              <a:gd name="connsiteY7915" fmla="*/ 2853851 h 6698675"/>
              <a:gd name="connsiteX7916" fmla="*/ 310041 w 8267681"/>
              <a:gd name="connsiteY7916" fmla="*/ 2846802 h 6698675"/>
              <a:gd name="connsiteX7917" fmla="*/ 314736 w 8267681"/>
              <a:gd name="connsiteY7917" fmla="*/ 2828019 h 6698675"/>
              <a:gd name="connsiteX7918" fmla="*/ 312391 w 8267681"/>
              <a:gd name="connsiteY7918" fmla="*/ 2825671 h 6698675"/>
              <a:gd name="connsiteX7919" fmla="*/ 5839849 w 8267681"/>
              <a:gd name="connsiteY7919" fmla="*/ 2824513 h 6698675"/>
              <a:gd name="connsiteX7920" fmla="*/ 5839046 w 8267681"/>
              <a:gd name="connsiteY7920" fmla="*/ 2825585 h 6698675"/>
              <a:gd name="connsiteX7921" fmla="*/ 5849819 w 8267681"/>
              <a:gd name="connsiteY7921" fmla="*/ 2834820 h 6698675"/>
              <a:gd name="connsiteX7922" fmla="*/ 5836697 w 8267681"/>
              <a:gd name="connsiteY7922" fmla="*/ 2832635 h 6698675"/>
              <a:gd name="connsiteX7923" fmla="*/ 5836697 w 8267681"/>
              <a:gd name="connsiteY7923" fmla="*/ 2839685 h 6698675"/>
              <a:gd name="connsiteX7924" fmla="*/ 5846092 w 8267681"/>
              <a:gd name="connsiteY7924" fmla="*/ 2842027 h 6698675"/>
              <a:gd name="connsiteX7925" fmla="*/ 5850506 w 8267681"/>
              <a:gd name="connsiteY7925" fmla="*/ 2835408 h 6698675"/>
              <a:gd name="connsiteX7926" fmla="*/ 5855487 w 8267681"/>
              <a:gd name="connsiteY7926" fmla="*/ 2839685 h 6698675"/>
              <a:gd name="connsiteX7927" fmla="*/ 5855487 w 8267681"/>
              <a:gd name="connsiteY7927" fmla="*/ 2831636 h 6698675"/>
              <a:gd name="connsiteX7928" fmla="*/ 5615912 w 8267681"/>
              <a:gd name="connsiteY7928" fmla="*/ 2823237 h 6698675"/>
              <a:gd name="connsiteX7929" fmla="*/ 5625307 w 8267681"/>
              <a:gd name="connsiteY7929" fmla="*/ 2825585 h 6698675"/>
              <a:gd name="connsiteX7930" fmla="*/ 5632353 w 8267681"/>
              <a:gd name="connsiteY7930" fmla="*/ 2832635 h 6698675"/>
              <a:gd name="connsiteX7931" fmla="*/ 5615912 w 8267681"/>
              <a:gd name="connsiteY7931" fmla="*/ 2823237 h 6698675"/>
              <a:gd name="connsiteX7932" fmla="*/ 5580680 w 8267681"/>
              <a:gd name="connsiteY7932" fmla="*/ 2823237 h 6698675"/>
              <a:gd name="connsiteX7933" fmla="*/ 5585378 w 8267681"/>
              <a:gd name="connsiteY7933" fmla="*/ 2830284 h 6698675"/>
              <a:gd name="connsiteX7934" fmla="*/ 5590075 w 8267681"/>
              <a:gd name="connsiteY7934" fmla="*/ 2823237 h 6698675"/>
              <a:gd name="connsiteX7935" fmla="*/ 5715990 w 8267681"/>
              <a:gd name="connsiteY7935" fmla="*/ 2822215 h 6698675"/>
              <a:gd name="connsiteX7936" fmla="*/ 5714560 w 8267681"/>
              <a:gd name="connsiteY7936" fmla="*/ 2827934 h 6698675"/>
              <a:gd name="connsiteX7937" fmla="*/ 5717580 w 8267681"/>
              <a:gd name="connsiteY7937" fmla="*/ 2824913 h 6698675"/>
              <a:gd name="connsiteX7938" fmla="*/ 5684026 w 8267681"/>
              <a:gd name="connsiteY7938" fmla="*/ 2820886 h 6698675"/>
              <a:gd name="connsiteX7939" fmla="*/ 5684026 w 8267681"/>
              <a:gd name="connsiteY7939" fmla="*/ 2827934 h 6698675"/>
              <a:gd name="connsiteX7940" fmla="*/ 5691073 w 8267681"/>
              <a:gd name="connsiteY7940" fmla="*/ 2820886 h 6698675"/>
              <a:gd name="connsiteX7941" fmla="*/ 5113860 w 8267681"/>
              <a:gd name="connsiteY7941" fmla="*/ 2820299 h 6698675"/>
              <a:gd name="connsiteX7942" fmla="*/ 5112366 w 8267681"/>
              <a:gd name="connsiteY7942" fmla="*/ 2820739 h 6698675"/>
              <a:gd name="connsiteX7943" fmla="*/ 5117570 w 8267681"/>
              <a:gd name="connsiteY7943" fmla="*/ 2827934 h 6698675"/>
              <a:gd name="connsiteX7944" fmla="*/ 5120319 w 8267681"/>
              <a:gd name="connsiteY7944" fmla="*/ 2827934 h 6698675"/>
              <a:gd name="connsiteX7945" fmla="*/ 5113860 w 8267681"/>
              <a:gd name="connsiteY7945" fmla="*/ 2820299 h 6698675"/>
              <a:gd name="connsiteX7946" fmla="*/ 5820256 w 8267681"/>
              <a:gd name="connsiteY7946" fmla="*/ 2818536 h 6698675"/>
              <a:gd name="connsiteX7947" fmla="*/ 5827302 w 8267681"/>
              <a:gd name="connsiteY7947" fmla="*/ 2827934 h 6698675"/>
              <a:gd name="connsiteX7948" fmla="*/ 5824953 w 8267681"/>
              <a:gd name="connsiteY7948" fmla="*/ 2830284 h 6698675"/>
              <a:gd name="connsiteX7949" fmla="*/ 5815558 w 8267681"/>
              <a:gd name="connsiteY7949" fmla="*/ 2832635 h 6698675"/>
              <a:gd name="connsiteX7950" fmla="*/ 5817907 w 8267681"/>
              <a:gd name="connsiteY7950" fmla="*/ 2837330 h 6698675"/>
              <a:gd name="connsiteX7951" fmla="*/ 5827302 w 8267681"/>
              <a:gd name="connsiteY7951" fmla="*/ 2834980 h 6698675"/>
              <a:gd name="connsiteX7952" fmla="*/ 5827302 w 8267681"/>
              <a:gd name="connsiteY7952" fmla="*/ 2827934 h 6698675"/>
              <a:gd name="connsiteX7953" fmla="*/ 5836697 w 8267681"/>
              <a:gd name="connsiteY7953" fmla="*/ 2827934 h 6698675"/>
              <a:gd name="connsiteX7954" fmla="*/ 5831169 w 8267681"/>
              <a:gd name="connsiteY7954" fmla="*/ 2820559 h 6698675"/>
              <a:gd name="connsiteX7955" fmla="*/ 5826724 w 8267681"/>
              <a:gd name="connsiteY7955" fmla="*/ 2818536 h 6698675"/>
              <a:gd name="connsiteX7956" fmla="*/ 5420963 w 8267681"/>
              <a:gd name="connsiteY7956" fmla="*/ 2818536 h 6698675"/>
              <a:gd name="connsiteX7957" fmla="*/ 5420963 w 8267681"/>
              <a:gd name="connsiteY7957" fmla="*/ 2825585 h 6698675"/>
              <a:gd name="connsiteX7958" fmla="*/ 5428010 w 8267681"/>
              <a:gd name="connsiteY7958" fmla="*/ 2825585 h 6698675"/>
              <a:gd name="connsiteX7959" fmla="*/ 5160249 w 8267681"/>
              <a:gd name="connsiteY7959" fmla="*/ 2816187 h 6698675"/>
              <a:gd name="connsiteX7960" fmla="*/ 5157900 w 8267681"/>
              <a:gd name="connsiteY7960" fmla="*/ 2818536 h 6698675"/>
              <a:gd name="connsiteX7961" fmla="*/ 5167295 w 8267681"/>
              <a:gd name="connsiteY7961" fmla="*/ 2823237 h 6698675"/>
              <a:gd name="connsiteX7962" fmla="*/ 5176690 w 8267681"/>
              <a:gd name="connsiteY7962" fmla="*/ 2825585 h 6698675"/>
              <a:gd name="connsiteX7963" fmla="*/ 5160249 w 8267681"/>
              <a:gd name="connsiteY7963" fmla="*/ 2816187 h 6698675"/>
              <a:gd name="connsiteX7964" fmla="*/ 5810083 w 8267681"/>
              <a:gd name="connsiteY7964" fmla="*/ 2810963 h 6698675"/>
              <a:gd name="connsiteX7965" fmla="*/ 5806163 w 8267681"/>
              <a:gd name="connsiteY7965" fmla="*/ 2816187 h 6698675"/>
              <a:gd name="connsiteX7966" fmla="*/ 5808512 w 8267681"/>
              <a:gd name="connsiteY7966" fmla="*/ 2820886 h 6698675"/>
              <a:gd name="connsiteX7967" fmla="*/ 5815823 w 8267681"/>
              <a:gd name="connsiteY7967" fmla="*/ 2813574 h 6698675"/>
              <a:gd name="connsiteX7968" fmla="*/ 5557192 w 8267681"/>
              <a:gd name="connsiteY7968" fmla="*/ 2809139 h 6698675"/>
              <a:gd name="connsiteX7969" fmla="*/ 5566587 w 8267681"/>
              <a:gd name="connsiteY7969" fmla="*/ 2816187 h 6698675"/>
              <a:gd name="connsiteX7970" fmla="*/ 5566587 w 8267681"/>
              <a:gd name="connsiteY7970" fmla="*/ 2809139 h 6698675"/>
              <a:gd name="connsiteX7971" fmla="*/ 5489078 w 8267681"/>
              <a:gd name="connsiteY7971" fmla="*/ 2809139 h 6698675"/>
              <a:gd name="connsiteX7972" fmla="*/ 5496124 w 8267681"/>
              <a:gd name="connsiteY7972" fmla="*/ 2816187 h 6698675"/>
              <a:gd name="connsiteX7973" fmla="*/ 5498473 w 8267681"/>
              <a:gd name="connsiteY7973" fmla="*/ 2809139 h 6698675"/>
              <a:gd name="connsiteX7974" fmla="*/ 5186085 w 8267681"/>
              <a:gd name="connsiteY7974" fmla="*/ 2809139 h 6698675"/>
              <a:gd name="connsiteX7975" fmla="*/ 5190783 w 8267681"/>
              <a:gd name="connsiteY7975" fmla="*/ 2816187 h 6698675"/>
              <a:gd name="connsiteX7976" fmla="*/ 5195481 w 8267681"/>
              <a:gd name="connsiteY7976" fmla="*/ 2809139 h 6698675"/>
              <a:gd name="connsiteX7977" fmla="*/ 378154 w 8267681"/>
              <a:gd name="connsiteY7977" fmla="*/ 2806882 h 6698675"/>
              <a:gd name="connsiteX7978" fmla="*/ 373456 w 8267681"/>
              <a:gd name="connsiteY7978" fmla="*/ 2813927 h 6698675"/>
              <a:gd name="connsiteX7979" fmla="*/ 378154 w 8267681"/>
              <a:gd name="connsiteY7979" fmla="*/ 2818621 h 6698675"/>
              <a:gd name="connsiteX7980" fmla="*/ 382854 w 8267681"/>
              <a:gd name="connsiteY7980" fmla="*/ 2813927 h 6698675"/>
              <a:gd name="connsiteX7981" fmla="*/ 5721607 w 8267681"/>
              <a:gd name="connsiteY7981" fmla="*/ 2806791 h 6698675"/>
              <a:gd name="connsiteX7982" fmla="*/ 5714355 w 8267681"/>
              <a:gd name="connsiteY7982" fmla="*/ 2809863 h 6698675"/>
              <a:gd name="connsiteX7983" fmla="*/ 5722690 w 8267681"/>
              <a:gd name="connsiteY7983" fmla="*/ 2817093 h 6698675"/>
              <a:gd name="connsiteX7984" fmla="*/ 5723956 w 8267681"/>
              <a:gd name="connsiteY7984" fmla="*/ 2811491 h 6698675"/>
              <a:gd name="connsiteX7985" fmla="*/ 288900 w 8267681"/>
              <a:gd name="connsiteY7985" fmla="*/ 2804541 h 6698675"/>
              <a:gd name="connsiteX7986" fmla="*/ 279506 w 8267681"/>
              <a:gd name="connsiteY7986" fmla="*/ 2806882 h 6698675"/>
              <a:gd name="connsiteX7987" fmla="*/ 277156 w 8267681"/>
              <a:gd name="connsiteY7987" fmla="*/ 2809233 h 6698675"/>
              <a:gd name="connsiteX7988" fmla="*/ 277156 w 8267681"/>
              <a:gd name="connsiteY7988" fmla="*/ 2818621 h 6698675"/>
              <a:gd name="connsiteX7989" fmla="*/ 274807 w 8267681"/>
              <a:gd name="connsiteY7989" fmla="*/ 2828019 h 6698675"/>
              <a:gd name="connsiteX7990" fmla="*/ 277156 w 8267681"/>
              <a:gd name="connsiteY7990" fmla="*/ 2832720 h 6698675"/>
              <a:gd name="connsiteX7991" fmla="*/ 286550 w 8267681"/>
              <a:gd name="connsiteY7991" fmla="*/ 2830368 h 6698675"/>
              <a:gd name="connsiteX7992" fmla="*/ 295948 w 8267681"/>
              <a:gd name="connsiteY7992" fmla="*/ 2816277 h 6698675"/>
              <a:gd name="connsiteX7993" fmla="*/ 293598 w 8267681"/>
              <a:gd name="connsiteY7993" fmla="*/ 2806882 h 6698675"/>
              <a:gd name="connsiteX7994" fmla="*/ 288900 w 8267681"/>
              <a:gd name="connsiteY7994" fmla="*/ 2804541 h 6698675"/>
              <a:gd name="connsiteX7995" fmla="*/ 5127366 w 8267681"/>
              <a:gd name="connsiteY7995" fmla="*/ 2804448 h 6698675"/>
              <a:gd name="connsiteX7996" fmla="*/ 5120319 w 8267681"/>
              <a:gd name="connsiteY7996" fmla="*/ 2811491 h 6698675"/>
              <a:gd name="connsiteX7997" fmla="*/ 5127366 w 8267681"/>
              <a:gd name="connsiteY7997" fmla="*/ 2811491 h 6698675"/>
              <a:gd name="connsiteX7998" fmla="*/ 5632353 w 8267681"/>
              <a:gd name="connsiteY7998" fmla="*/ 2802108 h 6698675"/>
              <a:gd name="connsiteX7999" fmla="*/ 5639400 w 8267681"/>
              <a:gd name="connsiteY7999" fmla="*/ 2809139 h 6698675"/>
              <a:gd name="connsiteX8000" fmla="*/ 5644097 w 8267681"/>
              <a:gd name="connsiteY8000" fmla="*/ 2802108 h 6698675"/>
              <a:gd name="connsiteX8001" fmla="*/ 5688475 w 8267681"/>
              <a:gd name="connsiteY8001" fmla="*/ 2801736 h 6698675"/>
              <a:gd name="connsiteX8002" fmla="*/ 5688724 w 8267681"/>
              <a:gd name="connsiteY8002" fmla="*/ 2802108 h 6698675"/>
              <a:gd name="connsiteX8003" fmla="*/ 5688446 w 8267681"/>
              <a:gd name="connsiteY8003" fmla="*/ 2802245 h 6698675"/>
              <a:gd name="connsiteX8004" fmla="*/ 5193132 w 8267681"/>
              <a:gd name="connsiteY8004" fmla="*/ 2797406 h 6698675"/>
              <a:gd name="connsiteX8005" fmla="*/ 5197829 w 8267681"/>
              <a:gd name="connsiteY8005" fmla="*/ 2804448 h 6698675"/>
              <a:gd name="connsiteX8006" fmla="*/ 5202527 w 8267681"/>
              <a:gd name="connsiteY8006" fmla="*/ 2797406 h 6698675"/>
              <a:gd name="connsiteX8007" fmla="*/ 5810861 w 8267681"/>
              <a:gd name="connsiteY8007" fmla="*/ 2790357 h 6698675"/>
              <a:gd name="connsiteX8008" fmla="*/ 5796768 w 8267681"/>
              <a:gd name="connsiteY8008" fmla="*/ 2792709 h 6698675"/>
              <a:gd name="connsiteX8009" fmla="*/ 5797897 w 8267681"/>
              <a:gd name="connsiteY8009" fmla="*/ 2794399 h 6698675"/>
              <a:gd name="connsiteX8010" fmla="*/ 5810861 w 8267681"/>
              <a:gd name="connsiteY8010" fmla="*/ 2800587 h 6698675"/>
              <a:gd name="connsiteX8011" fmla="*/ 5810861 w 8267681"/>
              <a:gd name="connsiteY8011" fmla="*/ 2799755 h 6698675"/>
              <a:gd name="connsiteX8012" fmla="*/ 5813209 w 8267681"/>
              <a:gd name="connsiteY8012" fmla="*/ 2792709 h 6698675"/>
              <a:gd name="connsiteX8013" fmla="*/ 5608865 w 8267681"/>
              <a:gd name="connsiteY8013" fmla="*/ 2790357 h 6698675"/>
              <a:gd name="connsiteX8014" fmla="*/ 5601819 w 8267681"/>
              <a:gd name="connsiteY8014" fmla="*/ 2797406 h 6698675"/>
              <a:gd name="connsiteX8015" fmla="*/ 5608865 w 8267681"/>
              <a:gd name="connsiteY8015" fmla="*/ 2797406 h 6698675"/>
              <a:gd name="connsiteX8016" fmla="*/ 775080 w 8267681"/>
              <a:gd name="connsiteY8016" fmla="*/ 2788011 h 6698675"/>
              <a:gd name="connsiteX8017" fmla="*/ 746895 w 8267681"/>
              <a:gd name="connsiteY8017" fmla="*/ 2823237 h 6698675"/>
              <a:gd name="connsiteX8018" fmla="*/ 775080 w 8267681"/>
              <a:gd name="connsiteY8018" fmla="*/ 2788011 h 6698675"/>
              <a:gd name="connsiteX8019" fmla="*/ 5747444 w 8267681"/>
              <a:gd name="connsiteY8019" fmla="*/ 2785659 h 6698675"/>
              <a:gd name="connsiteX8020" fmla="*/ 5752141 w 8267681"/>
              <a:gd name="connsiteY8020" fmla="*/ 2795055 h 6698675"/>
              <a:gd name="connsiteX8021" fmla="*/ 5747444 w 8267681"/>
              <a:gd name="connsiteY8021" fmla="*/ 2802108 h 6698675"/>
              <a:gd name="connsiteX8022" fmla="*/ 5756839 w 8267681"/>
              <a:gd name="connsiteY8022" fmla="*/ 2802108 h 6698675"/>
              <a:gd name="connsiteX8023" fmla="*/ 5753423 w 8267681"/>
              <a:gd name="connsiteY8023" fmla="*/ 2807215 h 6698675"/>
              <a:gd name="connsiteX8024" fmla="*/ 5752141 w 8267681"/>
              <a:gd name="connsiteY8024" fmla="*/ 2806791 h 6698675"/>
              <a:gd name="connsiteX8025" fmla="*/ 5749973 w 8267681"/>
              <a:gd name="connsiteY8025" fmla="*/ 2809492 h 6698675"/>
              <a:gd name="connsiteX8026" fmla="*/ 5738048 w 8267681"/>
              <a:gd name="connsiteY8026" fmla="*/ 2811491 h 6698675"/>
              <a:gd name="connsiteX8027" fmla="*/ 5742746 w 8267681"/>
              <a:gd name="connsiteY8027" fmla="*/ 2818536 h 6698675"/>
              <a:gd name="connsiteX8028" fmla="*/ 5749973 w 8267681"/>
              <a:gd name="connsiteY8028" fmla="*/ 2809492 h 6698675"/>
              <a:gd name="connsiteX8029" fmla="*/ 5752141 w 8267681"/>
              <a:gd name="connsiteY8029" fmla="*/ 2809139 h 6698675"/>
              <a:gd name="connsiteX8030" fmla="*/ 5753423 w 8267681"/>
              <a:gd name="connsiteY8030" fmla="*/ 2807215 h 6698675"/>
              <a:gd name="connsiteX8031" fmla="*/ 5759187 w 8267681"/>
              <a:gd name="connsiteY8031" fmla="*/ 2809139 h 6698675"/>
              <a:gd name="connsiteX8032" fmla="*/ 5766234 w 8267681"/>
              <a:gd name="connsiteY8032" fmla="*/ 2816187 h 6698675"/>
              <a:gd name="connsiteX8033" fmla="*/ 5768582 w 8267681"/>
              <a:gd name="connsiteY8033" fmla="*/ 2832635 h 6698675"/>
              <a:gd name="connsiteX8034" fmla="*/ 5768582 w 8267681"/>
              <a:gd name="connsiteY8034" fmla="*/ 2825585 h 6698675"/>
              <a:gd name="connsiteX8035" fmla="*/ 5782675 w 8267681"/>
              <a:gd name="connsiteY8035" fmla="*/ 2825585 h 6698675"/>
              <a:gd name="connsiteX8036" fmla="*/ 5796768 w 8267681"/>
              <a:gd name="connsiteY8036" fmla="*/ 2823237 h 6698675"/>
              <a:gd name="connsiteX8037" fmla="*/ 5787373 w 8267681"/>
              <a:gd name="connsiteY8037" fmla="*/ 2823237 h 6698675"/>
              <a:gd name="connsiteX8038" fmla="*/ 5789721 w 8267681"/>
              <a:gd name="connsiteY8038" fmla="*/ 2816187 h 6698675"/>
              <a:gd name="connsiteX8039" fmla="*/ 5785024 w 8267681"/>
              <a:gd name="connsiteY8039" fmla="*/ 2818536 h 6698675"/>
              <a:gd name="connsiteX8040" fmla="*/ 5785024 w 8267681"/>
              <a:gd name="connsiteY8040" fmla="*/ 2811491 h 6698675"/>
              <a:gd name="connsiteX8041" fmla="*/ 5792070 w 8267681"/>
              <a:gd name="connsiteY8041" fmla="*/ 2811491 h 6698675"/>
              <a:gd name="connsiteX8042" fmla="*/ 5801947 w 8267681"/>
              <a:gd name="connsiteY8042" fmla="*/ 2807254 h 6698675"/>
              <a:gd name="connsiteX8043" fmla="*/ 5781794 w 8267681"/>
              <a:gd name="connsiteY8043" fmla="*/ 2798089 h 6698675"/>
              <a:gd name="connsiteX8044" fmla="*/ 5773833 w 8267681"/>
              <a:gd name="connsiteY8044" fmla="*/ 2795100 h 6698675"/>
              <a:gd name="connsiteX8045" fmla="*/ 5768582 w 8267681"/>
              <a:gd name="connsiteY8045" fmla="*/ 2802108 h 6698675"/>
              <a:gd name="connsiteX8046" fmla="*/ 5754490 w 8267681"/>
              <a:gd name="connsiteY8046" fmla="*/ 2799755 h 6698675"/>
              <a:gd name="connsiteX8047" fmla="*/ 5756839 w 8267681"/>
              <a:gd name="connsiteY8047" fmla="*/ 2792709 h 6698675"/>
              <a:gd name="connsiteX8048" fmla="*/ 5740397 w 8267681"/>
              <a:gd name="connsiteY8048" fmla="*/ 2785659 h 6698675"/>
              <a:gd name="connsiteX8049" fmla="*/ 5733351 w 8267681"/>
              <a:gd name="connsiteY8049" fmla="*/ 2792709 h 6698675"/>
              <a:gd name="connsiteX8050" fmla="*/ 5740397 w 8267681"/>
              <a:gd name="connsiteY8050" fmla="*/ 2792709 h 6698675"/>
              <a:gd name="connsiteX8051" fmla="*/ 5735429 w 8267681"/>
              <a:gd name="connsiteY8051" fmla="*/ 2780690 h 6698675"/>
              <a:gd name="connsiteX8052" fmla="*/ 5735700 w 8267681"/>
              <a:gd name="connsiteY8052" fmla="*/ 2780963 h 6698675"/>
              <a:gd name="connsiteX8053" fmla="*/ 5735791 w 8267681"/>
              <a:gd name="connsiteY8053" fmla="*/ 2780827 h 6698675"/>
              <a:gd name="connsiteX8054" fmla="*/ 573108 w 8267681"/>
              <a:gd name="connsiteY8054" fmla="*/ 2778709 h 6698675"/>
              <a:gd name="connsiteX8055" fmla="*/ 566057 w 8267681"/>
              <a:gd name="connsiteY8055" fmla="*/ 2783408 h 6698675"/>
              <a:gd name="connsiteX8056" fmla="*/ 573108 w 8267681"/>
              <a:gd name="connsiteY8056" fmla="*/ 2790452 h 6698675"/>
              <a:gd name="connsiteX8057" fmla="*/ 577802 w 8267681"/>
              <a:gd name="connsiteY8057" fmla="*/ 2783408 h 6698675"/>
              <a:gd name="connsiteX8058" fmla="*/ 5801465 w 8267681"/>
              <a:gd name="connsiteY8058" fmla="*/ 2773916 h 6698675"/>
              <a:gd name="connsiteX8059" fmla="*/ 5799945 w 8267681"/>
              <a:gd name="connsiteY8059" fmla="*/ 2778473 h 6698675"/>
              <a:gd name="connsiteX8060" fmla="*/ 5799117 w 8267681"/>
              <a:gd name="connsiteY8060" fmla="*/ 2778610 h 6698675"/>
              <a:gd name="connsiteX8061" fmla="*/ 5799117 w 8267681"/>
              <a:gd name="connsiteY8061" fmla="*/ 2774694 h 6698675"/>
              <a:gd name="connsiteX8062" fmla="*/ 5651144 w 8267681"/>
              <a:gd name="connsiteY8062" fmla="*/ 2773916 h 6698675"/>
              <a:gd name="connsiteX8063" fmla="*/ 5651144 w 8267681"/>
              <a:gd name="connsiteY8063" fmla="*/ 2783310 h 6698675"/>
              <a:gd name="connsiteX8064" fmla="*/ 5660538 w 8267681"/>
              <a:gd name="connsiteY8064" fmla="*/ 2773916 h 6698675"/>
              <a:gd name="connsiteX8065" fmla="*/ 3031300 w 8267681"/>
              <a:gd name="connsiteY8065" fmla="*/ 2772485 h 6698675"/>
              <a:gd name="connsiteX8066" fmla="*/ 2992325 w 8267681"/>
              <a:gd name="connsiteY8066" fmla="*/ 2809139 h 6698675"/>
              <a:gd name="connsiteX8067" fmla="*/ 3022859 w 8267681"/>
              <a:gd name="connsiteY8067" fmla="*/ 2834980 h 6698675"/>
              <a:gd name="connsiteX8068" fmla="*/ 3048695 w 8267681"/>
              <a:gd name="connsiteY8068" fmla="*/ 2818536 h 6698675"/>
              <a:gd name="connsiteX8069" fmla="*/ 3051044 w 8267681"/>
              <a:gd name="connsiteY8069" fmla="*/ 2778610 h 6698675"/>
              <a:gd name="connsiteX8070" fmla="*/ 3031300 w 8267681"/>
              <a:gd name="connsiteY8070" fmla="*/ 2772485 h 6698675"/>
              <a:gd name="connsiteX8071" fmla="*/ 5702817 w 8267681"/>
              <a:gd name="connsiteY8071" fmla="*/ 2769215 h 6698675"/>
              <a:gd name="connsiteX8072" fmla="*/ 5702817 w 8267681"/>
              <a:gd name="connsiteY8072" fmla="*/ 2776265 h 6698675"/>
              <a:gd name="connsiteX8073" fmla="*/ 5709827 w 8267681"/>
              <a:gd name="connsiteY8073" fmla="*/ 2776265 h 6698675"/>
              <a:gd name="connsiteX8074" fmla="*/ 5709827 w 8267681"/>
              <a:gd name="connsiteY8074" fmla="*/ 2776357 h 6698675"/>
              <a:gd name="connsiteX8075" fmla="*/ 5705166 w 8267681"/>
              <a:gd name="connsiteY8075" fmla="*/ 2788011 h 6698675"/>
              <a:gd name="connsiteX8076" fmla="*/ 5695770 w 8267681"/>
              <a:gd name="connsiteY8076" fmla="*/ 2792709 h 6698675"/>
              <a:gd name="connsiteX8077" fmla="*/ 5688724 w 8267681"/>
              <a:gd name="connsiteY8077" fmla="*/ 2788011 h 6698675"/>
              <a:gd name="connsiteX8078" fmla="*/ 5688724 w 8267681"/>
              <a:gd name="connsiteY8078" fmla="*/ 2797406 h 6698675"/>
              <a:gd name="connsiteX8079" fmla="*/ 5688475 w 8267681"/>
              <a:gd name="connsiteY8079" fmla="*/ 2801736 h 6698675"/>
              <a:gd name="connsiteX8080" fmla="*/ 5684026 w 8267681"/>
              <a:gd name="connsiteY8080" fmla="*/ 2795055 h 6698675"/>
              <a:gd name="connsiteX8081" fmla="*/ 5676980 w 8267681"/>
              <a:gd name="connsiteY8081" fmla="*/ 2802108 h 6698675"/>
              <a:gd name="connsiteX8082" fmla="*/ 5684026 w 8267681"/>
              <a:gd name="connsiteY8082" fmla="*/ 2804448 h 6698675"/>
              <a:gd name="connsiteX8083" fmla="*/ 5688446 w 8267681"/>
              <a:gd name="connsiteY8083" fmla="*/ 2802245 h 6698675"/>
              <a:gd name="connsiteX8084" fmla="*/ 5688431 w 8267681"/>
              <a:gd name="connsiteY8084" fmla="*/ 2802508 h 6698675"/>
              <a:gd name="connsiteX8085" fmla="*/ 5691073 w 8267681"/>
              <a:gd name="connsiteY8085" fmla="*/ 2806791 h 6698675"/>
              <a:gd name="connsiteX8086" fmla="*/ 5695770 w 8267681"/>
              <a:gd name="connsiteY8086" fmla="*/ 2797406 h 6698675"/>
              <a:gd name="connsiteX8087" fmla="*/ 5702817 w 8267681"/>
              <a:gd name="connsiteY8087" fmla="*/ 2790357 h 6698675"/>
              <a:gd name="connsiteX8088" fmla="*/ 5712212 w 8267681"/>
              <a:gd name="connsiteY8088" fmla="*/ 2790357 h 6698675"/>
              <a:gd name="connsiteX8089" fmla="*/ 5707514 w 8267681"/>
              <a:gd name="connsiteY8089" fmla="*/ 2783310 h 6698675"/>
              <a:gd name="connsiteX8090" fmla="*/ 5709827 w 8267681"/>
              <a:gd name="connsiteY8090" fmla="*/ 2776375 h 6698675"/>
              <a:gd name="connsiteX8091" fmla="*/ 5709827 w 8267681"/>
              <a:gd name="connsiteY8091" fmla="*/ 2776357 h 6698675"/>
              <a:gd name="connsiteX8092" fmla="*/ 5709863 w 8267681"/>
              <a:gd name="connsiteY8092" fmla="*/ 2776265 h 6698675"/>
              <a:gd name="connsiteX8093" fmla="*/ 5709827 w 8267681"/>
              <a:gd name="connsiteY8093" fmla="*/ 2776265 h 6698675"/>
              <a:gd name="connsiteX8094" fmla="*/ 5709854 w 8267681"/>
              <a:gd name="connsiteY8094" fmla="*/ 2771093 h 6698675"/>
              <a:gd name="connsiteX8095" fmla="*/ 5704854 w 8267681"/>
              <a:gd name="connsiteY8095" fmla="*/ 2769215 h 6698675"/>
              <a:gd name="connsiteX8096" fmla="*/ 4635002 w 8267681"/>
              <a:gd name="connsiteY8096" fmla="*/ 2765393 h 6698675"/>
              <a:gd name="connsiteX8097" fmla="*/ 4617680 w 8267681"/>
              <a:gd name="connsiteY8097" fmla="*/ 2785659 h 6698675"/>
              <a:gd name="connsiteX8098" fmla="*/ 4664655 w 8267681"/>
              <a:gd name="connsiteY8098" fmla="*/ 2785659 h 6698675"/>
              <a:gd name="connsiteX8099" fmla="*/ 4664655 w 8267681"/>
              <a:gd name="connsiteY8099" fmla="*/ 2771565 h 6698675"/>
              <a:gd name="connsiteX8100" fmla="*/ 4635002 w 8267681"/>
              <a:gd name="connsiteY8100" fmla="*/ 2765393 h 6698675"/>
              <a:gd name="connsiteX8101" fmla="*/ 4598963 w 8267681"/>
              <a:gd name="connsiteY8101" fmla="*/ 2763967 h 6698675"/>
              <a:gd name="connsiteX8102" fmla="*/ 4603587 w 8267681"/>
              <a:gd name="connsiteY8102" fmla="*/ 2771565 h 6698675"/>
              <a:gd name="connsiteX8103" fmla="*/ 4598963 w 8267681"/>
              <a:gd name="connsiteY8103" fmla="*/ 2763967 h 6698675"/>
              <a:gd name="connsiteX8104" fmla="*/ 371112 w 8267681"/>
              <a:gd name="connsiteY8104" fmla="*/ 2757559 h 6698675"/>
              <a:gd name="connsiteX8105" fmla="*/ 375805 w 8267681"/>
              <a:gd name="connsiteY8105" fmla="*/ 2762254 h 6698675"/>
              <a:gd name="connsiteX8106" fmla="*/ 371112 w 8267681"/>
              <a:gd name="connsiteY8106" fmla="*/ 2766944 h 6698675"/>
              <a:gd name="connsiteX8107" fmla="*/ 366411 w 8267681"/>
              <a:gd name="connsiteY8107" fmla="*/ 2762254 h 6698675"/>
              <a:gd name="connsiteX8108" fmla="*/ 559011 w 8267681"/>
              <a:gd name="connsiteY8108" fmla="*/ 2748183 h 6698675"/>
              <a:gd name="connsiteX8109" fmla="*/ 551965 w 8267681"/>
              <a:gd name="connsiteY8109" fmla="*/ 2755228 h 6698675"/>
              <a:gd name="connsiteX8110" fmla="*/ 547267 w 8267681"/>
              <a:gd name="connsiteY8110" fmla="*/ 2766962 h 6698675"/>
              <a:gd name="connsiteX8111" fmla="*/ 549615 w 8267681"/>
              <a:gd name="connsiteY8111" fmla="*/ 2774014 h 6698675"/>
              <a:gd name="connsiteX8112" fmla="*/ 551965 w 8267681"/>
              <a:gd name="connsiteY8112" fmla="*/ 2766962 h 6698675"/>
              <a:gd name="connsiteX8113" fmla="*/ 559011 w 8267681"/>
              <a:gd name="connsiteY8113" fmla="*/ 2762275 h 6698675"/>
              <a:gd name="connsiteX8114" fmla="*/ 563709 w 8267681"/>
              <a:gd name="connsiteY8114" fmla="*/ 2757578 h 6698675"/>
              <a:gd name="connsiteX8115" fmla="*/ 5707514 w 8267681"/>
              <a:gd name="connsiteY8115" fmla="*/ 2743385 h 6698675"/>
              <a:gd name="connsiteX8116" fmla="*/ 5707514 w 8267681"/>
              <a:gd name="connsiteY8116" fmla="*/ 2750429 h 6698675"/>
              <a:gd name="connsiteX8117" fmla="*/ 5714560 w 8267681"/>
              <a:gd name="connsiteY8117" fmla="*/ 2750429 h 6698675"/>
              <a:gd name="connsiteX8118" fmla="*/ 5632353 w 8267681"/>
              <a:gd name="connsiteY8118" fmla="*/ 2733988 h 6698675"/>
              <a:gd name="connsiteX8119" fmla="*/ 5632353 w 8267681"/>
              <a:gd name="connsiteY8119" fmla="*/ 2743385 h 6698675"/>
              <a:gd name="connsiteX8120" fmla="*/ 5646446 w 8267681"/>
              <a:gd name="connsiteY8120" fmla="*/ 2741036 h 6698675"/>
              <a:gd name="connsiteX8121" fmla="*/ 5641161 w 8267681"/>
              <a:gd name="connsiteY8121" fmla="*/ 2733988 h 6698675"/>
              <a:gd name="connsiteX8122" fmla="*/ 5632353 w 8267681"/>
              <a:gd name="connsiteY8122" fmla="*/ 2733988 h 6698675"/>
              <a:gd name="connsiteX8123" fmla="*/ 244279 w 8267681"/>
              <a:gd name="connsiteY8123" fmla="*/ 2731719 h 6698675"/>
              <a:gd name="connsiteX8124" fmla="*/ 251321 w 8267681"/>
              <a:gd name="connsiteY8124" fmla="*/ 2734066 h 6698675"/>
              <a:gd name="connsiteX8125" fmla="*/ 248972 w 8267681"/>
              <a:gd name="connsiteY8125" fmla="*/ 2743468 h 6698675"/>
              <a:gd name="connsiteX8126" fmla="*/ 244279 w 8267681"/>
              <a:gd name="connsiteY8126" fmla="*/ 2745816 h 6698675"/>
              <a:gd name="connsiteX8127" fmla="*/ 239578 w 8267681"/>
              <a:gd name="connsiteY8127" fmla="*/ 2743468 h 6698675"/>
              <a:gd name="connsiteX8128" fmla="*/ 239578 w 8267681"/>
              <a:gd name="connsiteY8128" fmla="*/ 2734066 h 6698675"/>
              <a:gd name="connsiteX8129" fmla="*/ 5646446 w 8267681"/>
              <a:gd name="connsiteY8129" fmla="*/ 2731636 h 6698675"/>
              <a:gd name="connsiteX8130" fmla="*/ 5648795 w 8267681"/>
              <a:gd name="connsiteY8130" fmla="*/ 2741036 h 6698675"/>
              <a:gd name="connsiteX8131" fmla="*/ 5653492 w 8267681"/>
              <a:gd name="connsiteY8131" fmla="*/ 2748077 h 6698675"/>
              <a:gd name="connsiteX8132" fmla="*/ 5653971 w 8267681"/>
              <a:gd name="connsiteY8132" fmla="*/ 2747118 h 6698675"/>
              <a:gd name="connsiteX8133" fmla="*/ 5653491 w 8267681"/>
              <a:gd name="connsiteY8133" fmla="*/ 2745844 h 6698675"/>
              <a:gd name="connsiteX8134" fmla="*/ 5654472 w 8267681"/>
              <a:gd name="connsiteY8134" fmla="*/ 2746122 h 6698675"/>
              <a:gd name="connsiteX8135" fmla="*/ 5658190 w 8267681"/>
              <a:gd name="connsiteY8135" fmla="*/ 2738689 h 6698675"/>
              <a:gd name="connsiteX8136" fmla="*/ 5651144 w 8267681"/>
              <a:gd name="connsiteY8136" fmla="*/ 2736337 h 6698675"/>
              <a:gd name="connsiteX8137" fmla="*/ 5646446 w 8267681"/>
              <a:gd name="connsiteY8137" fmla="*/ 2731636 h 6698675"/>
              <a:gd name="connsiteX8138" fmla="*/ 345271 w 8267681"/>
              <a:gd name="connsiteY8138" fmla="*/ 2729366 h 6698675"/>
              <a:gd name="connsiteX8139" fmla="*/ 354669 w 8267681"/>
              <a:gd name="connsiteY8139" fmla="*/ 2736415 h 6698675"/>
              <a:gd name="connsiteX8140" fmla="*/ 345271 w 8267681"/>
              <a:gd name="connsiteY8140" fmla="*/ 2750511 h 6698675"/>
              <a:gd name="connsiteX8141" fmla="*/ 342922 w 8267681"/>
              <a:gd name="connsiteY8141" fmla="*/ 2745815 h 6698675"/>
              <a:gd name="connsiteX8142" fmla="*/ 340576 w 8267681"/>
              <a:gd name="connsiteY8142" fmla="*/ 2736415 h 6698675"/>
              <a:gd name="connsiteX8143" fmla="*/ 4462073 w 8267681"/>
              <a:gd name="connsiteY8143" fmla="*/ 2728118 h 6698675"/>
              <a:gd name="connsiteX8144" fmla="*/ 4432126 w 8267681"/>
              <a:gd name="connsiteY8144" fmla="*/ 2729290 h 6698675"/>
              <a:gd name="connsiteX8145" fmla="*/ 4439172 w 8267681"/>
              <a:gd name="connsiteY8145" fmla="*/ 2759827 h 6698675"/>
              <a:gd name="connsiteX8146" fmla="*/ 4401592 w 8267681"/>
              <a:gd name="connsiteY8146" fmla="*/ 2750429 h 6698675"/>
              <a:gd name="connsiteX8147" fmla="*/ 4380453 w 8267681"/>
              <a:gd name="connsiteY8147" fmla="*/ 2802108 h 6698675"/>
              <a:gd name="connsiteX8148" fmla="*/ 4427428 w 8267681"/>
              <a:gd name="connsiteY8148" fmla="*/ 2802108 h 6698675"/>
              <a:gd name="connsiteX8149" fmla="*/ 4450916 w 8267681"/>
              <a:gd name="connsiteY8149" fmla="*/ 2893698 h 6698675"/>
              <a:gd name="connsiteX8150" fmla="*/ 4551914 w 8267681"/>
              <a:gd name="connsiteY8150" fmla="*/ 2900746 h 6698675"/>
              <a:gd name="connsiteX8151" fmla="*/ 4577750 w 8267681"/>
              <a:gd name="connsiteY8151" fmla="*/ 2884302 h 6698675"/>
              <a:gd name="connsiteX8152" fmla="*/ 4612982 w 8267681"/>
              <a:gd name="connsiteY8152" fmla="*/ 2816189 h 6698675"/>
              <a:gd name="connsiteX8153" fmla="*/ 4577750 w 8267681"/>
              <a:gd name="connsiteY8153" fmla="*/ 2755127 h 6698675"/>
              <a:gd name="connsiteX8154" fmla="*/ 4474404 w 8267681"/>
              <a:gd name="connsiteY8154" fmla="*/ 2741036 h 6698675"/>
              <a:gd name="connsiteX8155" fmla="*/ 4462073 w 8267681"/>
              <a:gd name="connsiteY8155" fmla="*/ 2728118 h 6698675"/>
              <a:gd name="connsiteX8156" fmla="*/ 279506 w 8267681"/>
              <a:gd name="connsiteY8156" fmla="*/ 2724669 h 6698675"/>
              <a:gd name="connsiteX8157" fmla="*/ 281851 w 8267681"/>
              <a:gd name="connsiteY8157" fmla="*/ 2727020 h 6698675"/>
              <a:gd name="connsiteX8158" fmla="*/ 279506 w 8267681"/>
              <a:gd name="connsiteY8158" fmla="*/ 2736415 h 6698675"/>
              <a:gd name="connsiteX8159" fmla="*/ 272456 w 8267681"/>
              <a:gd name="connsiteY8159" fmla="*/ 2727020 h 6698675"/>
              <a:gd name="connsiteX8160" fmla="*/ 5688724 w 8267681"/>
              <a:gd name="connsiteY8160" fmla="*/ 2724594 h 6698675"/>
              <a:gd name="connsiteX8161" fmla="*/ 5688724 w 8267681"/>
              <a:gd name="connsiteY8161" fmla="*/ 2733988 h 6698675"/>
              <a:gd name="connsiteX8162" fmla="*/ 5698119 w 8267681"/>
              <a:gd name="connsiteY8162" fmla="*/ 2733988 h 6698675"/>
              <a:gd name="connsiteX8163" fmla="*/ 5698119 w 8267681"/>
              <a:gd name="connsiteY8163" fmla="*/ 2724594 h 6698675"/>
              <a:gd name="connsiteX8164" fmla="*/ 507337 w 8267681"/>
              <a:gd name="connsiteY8164" fmla="*/ 2722339 h 6698675"/>
              <a:gd name="connsiteX8165" fmla="*/ 514388 w 8267681"/>
              <a:gd name="connsiteY8165" fmla="*/ 2731738 h 6698675"/>
              <a:gd name="connsiteX8166" fmla="*/ 504987 w 8267681"/>
              <a:gd name="connsiteY8166" fmla="*/ 2736438 h 6698675"/>
              <a:gd name="connsiteX8167" fmla="*/ 500295 w 8267681"/>
              <a:gd name="connsiteY8167" fmla="*/ 2731738 h 6698675"/>
              <a:gd name="connsiteX8168" fmla="*/ 5728653 w 8267681"/>
              <a:gd name="connsiteY8168" fmla="*/ 2719897 h 6698675"/>
              <a:gd name="connsiteX8169" fmla="*/ 5714560 w 8267681"/>
              <a:gd name="connsiteY8169" fmla="*/ 2722246 h 6698675"/>
              <a:gd name="connsiteX8170" fmla="*/ 5714560 w 8267681"/>
              <a:gd name="connsiteY8170" fmla="*/ 2731636 h 6698675"/>
              <a:gd name="connsiteX8171" fmla="*/ 5728653 w 8267681"/>
              <a:gd name="connsiteY8171" fmla="*/ 2724594 h 6698675"/>
              <a:gd name="connsiteX8172" fmla="*/ 5735700 w 8267681"/>
              <a:gd name="connsiteY8172" fmla="*/ 2722246 h 6698675"/>
              <a:gd name="connsiteX8173" fmla="*/ 575454 w 8267681"/>
              <a:gd name="connsiteY8173" fmla="*/ 2715289 h 6698675"/>
              <a:gd name="connsiteX8174" fmla="*/ 570758 w 8267681"/>
              <a:gd name="connsiteY8174" fmla="*/ 2722341 h 6698675"/>
              <a:gd name="connsiteX8175" fmla="*/ 573108 w 8267681"/>
              <a:gd name="connsiteY8175" fmla="*/ 2731739 h 6698675"/>
              <a:gd name="connsiteX8176" fmla="*/ 577802 w 8267681"/>
              <a:gd name="connsiteY8176" fmla="*/ 2736438 h 6698675"/>
              <a:gd name="connsiteX8177" fmla="*/ 589545 w 8267681"/>
              <a:gd name="connsiteY8177" fmla="*/ 2724689 h 6698675"/>
              <a:gd name="connsiteX8178" fmla="*/ 584850 w 8267681"/>
              <a:gd name="connsiteY8178" fmla="*/ 2719991 h 6698675"/>
              <a:gd name="connsiteX8179" fmla="*/ 5707514 w 8267681"/>
              <a:gd name="connsiteY8179" fmla="*/ 2712850 h 6698675"/>
              <a:gd name="connsiteX8180" fmla="*/ 5702817 w 8267681"/>
              <a:gd name="connsiteY8180" fmla="*/ 2724594 h 6698675"/>
              <a:gd name="connsiteX8181" fmla="*/ 5707514 w 8267681"/>
              <a:gd name="connsiteY8181" fmla="*/ 2731636 h 6698675"/>
              <a:gd name="connsiteX8182" fmla="*/ 302992 w 8267681"/>
              <a:gd name="connsiteY8182" fmla="*/ 2703522 h 6698675"/>
              <a:gd name="connsiteX8183" fmla="*/ 307691 w 8267681"/>
              <a:gd name="connsiteY8183" fmla="*/ 2708220 h 6698675"/>
              <a:gd name="connsiteX8184" fmla="*/ 307691 w 8267681"/>
              <a:gd name="connsiteY8184" fmla="*/ 2717622 h 6698675"/>
              <a:gd name="connsiteX8185" fmla="*/ 302992 w 8267681"/>
              <a:gd name="connsiteY8185" fmla="*/ 2724669 h 6698675"/>
              <a:gd name="connsiteX8186" fmla="*/ 293598 w 8267681"/>
              <a:gd name="connsiteY8186" fmla="*/ 2717622 h 6698675"/>
              <a:gd name="connsiteX8187" fmla="*/ 291248 w 8267681"/>
              <a:gd name="connsiteY8187" fmla="*/ 2708220 h 6698675"/>
              <a:gd name="connsiteX8188" fmla="*/ 293598 w 8267681"/>
              <a:gd name="connsiteY8188" fmla="*/ 2705871 h 6698675"/>
              <a:gd name="connsiteX8189" fmla="*/ 1014671 w 8267681"/>
              <a:gd name="connsiteY8189" fmla="*/ 2696465 h 6698675"/>
              <a:gd name="connsiteX8190" fmla="*/ 1009973 w 8267681"/>
              <a:gd name="connsiteY8190" fmla="*/ 2703518 h 6698675"/>
              <a:gd name="connsiteX8191" fmla="*/ 1014671 w 8267681"/>
              <a:gd name="connsiteY8191" fmla="*/ 2708217 h 6698675"/>
              <a:gd name="connsiteX8192" fmla="*/ 1024070 w 8267681"/>
              <a:gd name="connsiteY8192" fmla="*/ 2708217 h 6698675"/>
              <a:gd name="connsiteX8193" fmla="*/ 1028765 w 8267681"/>
              <a:gd name="connsiteY8193" fmla="*/ 2703518 h 6698675"/>
              <a:gd name="connsiteX8194" fmla="*/ 1024070 w 8267681"/>
              <a:gd name="connsiteY8194" fmla="*/ 2696465 h 6698675"/>
              <a:gd name="connsiteX8195" fmla="*/ 5766234 w 8267681"/>
              <a:gd name="connsiteY8195" fmla="*/ 2696408 h 6698675"/>
              <a:gd name="connsiteX8196" fmla="*/ 5761536 w 8267681"/>
              <a:gd name="connsiteY8196" fmla="*/ 2703454 h 6698675"/>
              <a:gd name="connsiteX8197" fmla="*/ 5768582 w 8267681"/>
              <a:gd name="connsiteY8197" fmla="*/ 2705804 h 6698675"/>
              <a:gd name="connsiteX8198" fmla="*/ 5773280 w 8267681"/>
              <a:gd name="connsiteY8198" fmla="*/ 2703454 h 6698675"/>
              <a:gd name="connsiteX8199" fmla="*/ 728118 w 8267681"/>
              <a:gd name="connsiteY8199" fmla="*/ 2694114 h 6698675"/>
              <a:gd name="connsiteX8200" fmla="*/ 737513 w 8267681"/>
              <a:gd name="connsiteY8200" fmla="*/ 2696465 h 6698675"/>
              <a:gd name="connsiteX8201" fmla="*/ 725768 w 8267681"/>
              <a:gd name="connsiteY8201" fmla="*/ 2708216 h 6698675"/>
              <a:gd name="connsiteX8202" fmla="*/ 723418 w 8267681"/>
              <a:gd name="connsiteY8202" fmla="*/ 2701164 h 6698675"/>
              <a:gd name="connsiteX8203" fmla="*/ 728118 w 8267681"/>
              <a:gd name="connsiteY8203" fmla="*/ 2694114 h 6698675"/>
              <a:gd name="connsiteX8204" fmla="*/ 4213690 w 8267681"/>
              <a:gd name="connsiteY8204" fmla="*/ 2694058 h 6698675"/>
              <a:gd name="connsiteX8205" fmla="*/ 4208992 w 8267681"/>
              <a:gd name="connsiteY8205" fmla="*/ 2705803 h 6698675"/>
              <a:gd name="connsiteX8206" fmla="*/ 4220736 w 8267681"/>
              <a:gd name="connsiteY8206" fmla="*/ 2710502 h 6698675"/>
              <a:gd name="connsiteX8207" fmla="*/ 4225434 w 8267681"/>
              <a:gd name="connsiteY8207" fmla="*/ 2698757 h 6698675"/>
              <a:gd name="connsiteX8208" fmla="*/ 4213690 w 8267681"/>
              <a:gd name="connsiteY8208" fmla="*/ 2694058 h 6698675"/>
              <a:gd name="connsiteX8209" fmla="*/ 5733351 w 8267681"/>
              <a:gd name="connsiteY8209" fmla="*/ 2691709 h 6698675"/>
              <a:gd name="connsiteX8210" fmla="*/ 5726304 w 8267681"/>
              <a:gd name="connsiteY8210" fmla="*/ 2698756 h 6698675"/>
              <a:gd name="connsiteX8211" fmla="*/ 5733351 w 8267681"/>
              <a:gd name="connsiteY8211" fmla="*/ 2698756 h 6698675"/>
              <a:gd name="connsiteX8212" fmla="*/ 615386 w 8267681"/>
              <a:gd name="connsiteY8212" fmla="*/ 2689436 h 6698675"/>
              <a:gd name="connsiteX8213" fmla="*/ 610685 w 8267681"/>
              <a:gd name="connsiteY8213" fmla="*/ 2698837 h 6698675"/>
              <a:gd name="connsiteX8214" fmla="*/ 615386 w 8267681"/>
              <a:gd name="connsiteY8214" fmla="*/ 2715289 h 6698675"/>
              <a:gd name="connsiteX8215" fmla="*/ 636520 w 8267681"/>
              <a:gd name="connsiteY8215" fmla="*/ 2717641 h 6698675"/>
              <a:gd name="connsiteX8216" fmla="*/ 641221 w 8267681"/>
              <a:gd name="connsiteY8216" fmla="*/ 2719991 h 6698675"/>
              <a:gd name="connsiteX8217" fmla="*/ 650613 w 8267681"/>
              <a:gd name="connsiteY8217" fmla="*/ 2717641 h 6698675"/>
              <a:gd name="connsiteX8218" fmla="*/ 4711631 w 8267681"/>
              <a:gd name="connsiteY8218" fmla="*/ 2687012 h 6698675"/>
              <a:gd name="connsiteX8219" fmla="*/ 4688143 w 8267681"/>
              <a:gd name="connsiteY8219" fmla="*/ 2724594 h 6698675"/>
              <a:gd name="connsiteX8220" fmla="*/ 4713980 w 8267681"/>
              <a:gd name="connsiteY8220" fmla="*/ 2729290 h 6698675"/>
              <a:gd name="connsiteX8221" fmla="*/ 4711631 w 8267681"/>
              <a:gd name="connsiteY8221" fmla="*/ 2687012 h 6698675"/>
              <a:gd name="connsiteX8222" fmla="*/ 220785 w 8267681"/>
              <a:gd name="connsiteY8222" fmla="*/ 2684712 h 6698675"/>
              <a:gd name="connsiteX8223" fmla="*/ 230178 w 8267681"/>
              <a:gd name="connsiteY8223" fmla="*/ 2710563 h 6698675"/>
              <a:gd name="connsiteX8224" fmla="*/ 227829 w 8267681"/>
              <a:gd name="connsiteY8224" fmla="*/ 2722311 h 6698675"/>
              <a:gd name="connsiteX8225" fmla="*/ 220785 w 8267681"/>
              <a:gd name="connsiteY8225" fmla="*/ 2719963 h 6698675"/>
              <a:gd name="connsiteX8226" fmla="*/ 213735 w 8267681"/>
              <a:gd name="connsiteY8226" fmla="*/ 2691762 h 6698675"/>
              <a:gd name="connsiteX8227" fmla="*/ 601293 w 8267681"/>
              <a:gd name="connsiteY8227" fmla="*/ 2682384 h 6698675"/>
              <a:gd name="connsiteX8228" fmla="*/ 591901 w 8267681"/>
              <a:gd name="connsiteY8228" fmla="*/ 2689436 h 6698675"/>
              <a:gd name="connsiteX8229" fmla="*/ 589545 w 8267681"/>
              <a:gd name="connsiteY8229" fmla="*/ 2698837 h 6698675"/>
              <a:gd name="connsiteX8230" fmla="*/ 591901 w 8267681"/>
              <a:gd name="connsiteY8230" fmla="*/ 2701186 h 6698675"/>
              <a:gd name="connsiteX8231" fmla="*/ 594244 w 8267681"/>
              <a:gd name="connsiteY8231" fmla="*/ 2698837 h 6698675"/>
              <a:gd name="connsiteX8232" fmla="*/ 603643 w 8267681"/>
              <a:gd name="connsiteY8232" fmla="*/ 2689436 h 6698675"/>
              <a:gd name="connsiteX8233" fmla="*/ 939515 w 8267681"/>
              <a:gd name="connsiteY8233" fmla="*/ 2677665 h 6698675"/>
              <a:gd name="connsiteX8234" fmla="*/ 953607 w 8267681"/>
              <a:gd name="connsiteY8234" fmla="*/ 2687067 h 6698675"/>
              <a:gd name="connsiteX8235" fmla="*/ 963000 w 8267681"/>
              <a:gd name="connsiteY8235" fmla="*/ 2701169 h 6698675"/>
              <a:gd name="connsiteX8236" fmla="*/ 967700 w 8267681"/>
              <a:gd name="connsiteY8236" fmla="*/ 2703518 h 6698675"/>
              <a:gd name="connsiteX8237" fmla="*/ 963000 w 8267681"/>
              <a:gd name="connsiteY8237" fmla="*/ 2705868 h 6698675"/>
              <a:gd name="connsiteX8238" fmla="*/ 946559 w 8267681"/>
              <a:gd name="connsiteY8238" fmla="*/ 2710568 h 6698675"/>
              <a:gd name="connsiteX8239" fmla="*/ 934815 w 8267681"/>
              <a:gd name="connsiteY8239" fmla="*/ 2684718 h 6698675"/>
              <a:gd name="connsiteX8240" fmla="*/ 939515 w 8267681"/>
              <a:gd name="connsiteY8240" fmla="*/ 2677665 h 6698675"/>
              <a:gd name="connsiteX8241" fmla="*/ 991185 w 8267681"/>
              <a:gd name="connsiteY8241" fmla="*/ 2672967 h 6698675"/>
              <a:gd name="connsiteX8242" fmla="*/ 984138 w 8267681"/>
              <a:gd name="connsiteY8242" fmla="*/ 2675316 h 6698675"/>
              <a:gd name="connsiteX8243" fmla="*/ 986487 w 8267681"/>
              <a:gd name="connsiteY8243" fmla="*/ 2684716 h 6698675"/>
              <a:gd name="connsiteX8244" fmla="*/ 991185 w 8267681"/>
              <a:gd name="connsiteY8244" fmla="*/ 2694115 h 6698675"/>
              <a:gd name="connsiteX8245" fmla="*/ 998229 w 8267681"/>
              <a:gd name="connsiteY8245" fmla="*/ 2684716 h 6698675"/>
              <a:gd name="connsiteX8246" fmla="*/ 993535 w 8267681"/>
              <a:gd name="connsiteY8246" fmla="*/ 2675316 h 6698675"/>
              <a:gd name="connsiteX8247" fmla="*/ 991185 w 8267681"/>
              <a:gd name="connsiteY8247" fmla="*/ 2672967 h 6698675"/>
              <a:gd name="connsiteX8248" fmla="*/ 669397 w 8267681"/>
              <a:gd name="connsiteY8248" fmla="*/ 2670632 h 6698675"/>
              <a:gd name="connsiteX8249" fmla="*/ 674098 w 8267681"/>
              <a:gd name="connsiteY8249" fmla="*/ 2672983 h 6698675"/>
              <a:gd name="connsiteX8250" fmla="*/ 669397 w 8267681"/>
              <a:gd name="connsiteY8250" fmla="*/ 2680033 h 6698675"/>
              <a:gd name="connsiteX8251" fmla="*/ 664705 w 8267681"/>
              <a:gd name="connsiteY8251" fmla="*/ 2672983 h 6698675"/>
              <a:gd name="connsiteX8252" fmla="*/ 5641749 w 8267681"/>
              <a:gd name="connsiteY8252" fmla="*/ 2670568 h 6698675"/>
              <a:gd name="connsiteX8253" fmla="*/ 5639400 w 8267681"/>
              <a:gd name="connsiteY8253" fmla="*/ 2675267 h 6698675"/>
              <a:gd name="connsiteX8254" fmla="*/ 5644097 w 8267681"/>
              <a:gd name="connsiteY8254" fmla="*/ 2672918 h 6698675"/>
              <a:gd name="connsiteX8255" fmla="*/ 5644097 w 8267681"/>
              <a:gd name="connsiteY8255" fmla="*/ 2670568 h 6698675"/>
              <a:gd name="connsiteX8256" fmla="*/ 5641749 w 8267681"/>
              <a:gd name="connsiteY8256" fmla="*/ 2670568 h 6698675"/>
              <a:gd name="connsiteX8257" fmla="*/ 312386 w 8267681"/>
              <a:gd name="connsiteY8257" fmla="*/ 2668269 h 6698675"/>
              <a:gd name="connsiteX8258" fmla="*/ 321783 w 8267681"/>
              <a:gd name="connsiteY8258" fmla="*/ 2675318 h 6698675"/>
              <a:gd name="connsiteX8259" fmla="*/ 326484 w 8267681"/>
              <a:gd name="connsiteY8259" fmla="*/ 2684719 h 6698675"/>
              <a:gd name="connsiteX8260" fmla="*/ 326484 w 8267681"/>
              <a:gd name="connsiteY8260" fmla="*/ 2694120 h 6698675"/>
              <a:gd name="connsiteX8261" fmla="*/ 321783 w 8267681"/>
              <a:gd name="connsiteY8261" fmla="*/ 2698820 h 6698675"/>
              <a:gd name="connsiteX8262" fmla="*/ 312386 w 8267681"/>
              <a:gd name="connsiteY8262" fmla="*/ 2696469 h 6698675"/>
              <a:gd name="connsiteX8263" fmla="*/ 310041 w 8267681"/>
              <a:gd name="connsiteY8263" fmla="*/ 2694120 h 6698675"/>
              <a:gd name="connsiteX8264" fmla="*/ 307691 w 8267681"/>
              <a:gd name="connsiteY8264" fmla="*/ 2684719 h 6698675"/>
              <a:gd name="connsiteX8265" fmla="*/ 305341 w 8267681"/>
              <a:gd name="connsiteY8265" fmla="*/ 2675318 h 6698675"/>
              <a:gd name="connsiteX8266" fmla="*/ 5747444 w 8267681"/>
              <a:gd name="connsiteY8266" fmla="*/ 2663521 h 6698675"/>
              <a:gd name="connsiteX8267" fmla="*/ 5747444 w 8267681"/>
              <a:gd name="connsiteY8267" fmla="*/ 2672918 h 6698675"/>
              <a:gd name="connsiteX8268" fmla="*/ 5754490 w 8267681"/>
              <a:gd name="connsiteY8268" fmla="*/ 2670568 h 6698675"/>
              <a:gd name="connsiteX8269" fmla="*/ 1893101 w 8267681"/>
              <a:gd name="connsiteY8269" fmla="*/ 2658824 h 6698675"/>
              <a:gd name="connsiteX8270" fmla="*/ 1871960 w 8267681"/>
              <a:gd name="connsiteY8270" fmla="*/ 2677615 h 6698675"/>
              <a:gd name="connsiteX8271" fmla="*/ 1893101 w 8267681"/>
              <a:gd name="connsiteY8271" fmla="*/ 2658824 h 6698675"/>
              <a:gd name="connsiteX8272" fmla="*/ 991185 w 8267681"/>
              <a:gd name="connsiteY8272" fmla="*/ 2656517 h 6698675"/>
              <a:gd name="connsiteX8273" fmla="*/ 993535 w 8267681"/>
              <a:gd name="connsiteY8273" fmla="*/ 2656517 h 6698675"/>
              <a:gd name="connsiteX8274" fmla="*/ 1017020 w 8267681"/>
              <a:gd name="connsiteY8274" fmla="*/ 2661216 h 6698675"/>
              <a:gd name="connsiteX8275" fmla="*/ 1021720 w 8267681"/>
              <a:gd name="connsiteY8275" fmla="*/ 2670617 h 6698675"/>
              <a:gd name="connsiteX8276" fmla="*/ 1021720 w 8267681"/>
              <a:gd name="connsiteY8276" fmla="*/ 2675316 h 6698675"/>
              <a:gd name="connsiteX8277" fmla="*/ 1031113 w 8267681"/>
              <a:gd name="connsiteY8277" fmla="*/ 2672967 h 6698675"/>
              <a:gd name="connsiteX8278" fmla="*/ 1028765 w 8267681"/>
              <a:gd name="connsiteY8278" fmla="*/ 2663565 h 6698675"/>
              <a:gd name="connsiteX8279" fmla="*/ 1186134 w 8267681"/>
              <a:gd name="connsiteY8279" fmla="*/ 2788081 h 6698675"/>
              <a:gd name="connsiteX8280" fmla="*/ 1153254 w 8267681"/>
              <a:gd name="connsiteY8280" fmla="*/ 3004133 h 6698675"/>
              <a:gd name="connsiteX8281" fmla="*/ 993535 w 8267681"/>
              <a:gd name="connsiteY8281" fmla="*/ 2992391 h 6698675"/>
              <a:gd name="connsiteX8282" fmla="*/ 960652 w 8267681"/>
              <a:gd name="connsiteY8282" fmla="*/ 2917239 h 6698675"/>
              <a:gd name="connsiteX8283" fmla="*/ 1101576 w 8267681"/>
              <a:gd name="connsiteY8283" fmla="*/ 2856179 h 6698675"/>
              <a:gd name="connsiteX8284" fmla="*/ 988835 w 8267681"/>
              <a:gd name="connsiteY8284" fmla="*/ 2748154 h 6698675"/>
              <a:gd name="connsiteX8285" fmla="*/ 946558 w 8267681"/>
              <a:gd name="connsiteY8285" fmla="*/ 2743465 h 6698675"/>
              <a:gd name="connsiteX8286" fmla="*/ 953607 w 8267681"/>
              <a:gd name="connsiteY8286" fmla="*/ 2729362 h 6698675"/>
              <a:gd name="connsiteX8287" fmla="*/ 963000 w 8267681"/>
              <a:gd name="connsiteY8287" fmla="*/ 2734061 h 6698675"/>
              <a:gd name="connsiteX8288" fmla="*/ 960652 w 8267681"/>
              <a:gd name="connsiteY8288" fmla="*/ 2727016 h 6698675"/>
              <a:gd name="connsiteX8289" fmla="*/ 963000 w 8267681"/>
              <a:gd name="connsiteY8289" fmla="*/ 2724665 h 6698675"/>
              <a:gd name="connsiteX8290" fmla="*/ 972394 w 8267681"/>
              <a:gd name="connsiteY8290" fmla="*/ 2724665 h 6698675"/>
              <a:gd name="connsiteX8291" fmla="*/ 981792 w 8267681"/>
              <a:gd name="connsiteY8291" fmla="*/ 2724665 h 6698675"/>
              <a:gd name="connsiteX8292" fmla="*/ 981792 w 8267681"/>
              <a:gd name="connsiteY8292" fmla="*/ 2727016 h 6698675"/>
              <a:gd name="connsiteX8293" fmla="*/ 981792 w 8267681"/>
              <a:gd name="connsiteY8293" fmla="*/ 2729362 h 6698675"/>
              <a:gd name="connsiteX8294" fmla="*/ 972394 w 8267681"/>
              <a:gd name="connsiteY8294" fmla="*/ 2734061 h 6698675"/>
              <a:gd name="connsiteX8295" fmla="*/ 963000 w 8267681"/>
              <a:gd name="connsiteY8295" fmla="*/ 2736413 h 6698675"/>
              <a:gd name="connsiteX8296" fmla="*/ 1005277 w 8267681"/>
              <a:gd name="connsiteY8296" fmla="*/ 2741113 h 6698675"/>
              <a:gd name="connsiteX8297" fmla="*/ 1012322 w 8267681"/>
              <a:gd name="connsiteY8297" fmla="*/ 2736413 h 6698675"/>
              <a:gd name="connsiteX8298" fmla="*/ 972394 w 8267681"/>
              <a:gd name="connsiteY8298" fmla="*/ 2698818 h 6698675"/>
              <a:gd name="connsiteX8299" fmla="*/ 960652 w 8267681"/>
              <a:gd name="connsiteY8299" fmla="*/ 2668266 h 6698675"/>
              <a:gd name="connsiteX8300" fmla="*/ 991185 w 8267681"/>
              <a:gd name="connsiteY8300" fmla="*/ 2656517 h 6698675"/>
              <a:gd name="connsiteX8301" fmla="*/ 5738048 w 8267681"/>
              <a:gd name="connsiteY8301" fmla="*/ 2651776 h 6698675"/>
              <a:gd name="connsiteX8302" fmla="*/ 5733351 w 8267681"/>
              <a:gd name="connsiteY8302" fmla="*/ 2661172 h 6698675"/>
              <a:gd name="connsiteX8303" fmla="*/ 5745095 w 8267681"/>
              <a:gd name="connsiteY8303" fmla="*/ 2661172 h 6698675"/>
              <a:gd name="connsiteX8304" fmla="*/ 5742746 w 8267681"/>
              <a:gd name="connsiteY8304" fmla="*/ 2651776 h 6698675"/>
              <a:gd name="connsiteX8305" fmla="*/ 5738048 w 8267681"/>
              <a:gd name="connsiteY8305" fmla="*/ 2651776 h 6698675"/>
              <a:gd name="connsiteX8306" fmla="*/ 4488497 w 8267681"/>
              <a:gd name="connsiteY8306" fmla="*/ 2651776 h 6698675"/>
              <a:gd name="connsiteX8307" fmla="*/ 4488497 w 8267681"/>
              <a:gd name="connsiteY8307" fmla="*/ 2684662 h 6698675"/>
              <a:gd name="connsiteX8308" fmla="*/ 4488497 w 8267681"/>
              <a:gd name="connsiteY8308" fmla="*/ 2651776 h 6698675"/>
              <a:gd name="connsiteX8309" fmla="*/ 5747444 w 8267681"/>
              <a:gd name="connsiteY8309" fmla="*/ 2644730 h 6698675"/>
              <a:gd name="connsiteX8310" fmla="*/ 5763885 w 8267681"/>
              <a:gd name="connsiteY8310" fmla="*/ 2654126 h 6698675"/>
              <a:gd name="connsiteX8311" fmla="*/ 5763885 w 8267681"/>
              <a:gd name="connsiteY8311" fmla="*/ 2644730 h 6698675"/>
              <a:gd name="connsiteX8312" fmla="*/ 4764986 w 8267681"/>
              <a:gd name="connsiteY8312" fmla="*/ 2641196 h 6698675"/>
              <a:gd name="connsiteX8313" fmla="*/ 4742165 w 8267681"/>
              <a:gd name="connsiteY8313" fmla="*/ 2677615 h 6698675"/>
              <a:gd name="connsiteX8314" fmla="*/ 4782094 w 8267681"/>
              <a:gd name="connsiteY8314" fmla="*/ 2661172 h 6698675"/>
              <a:gd name="connsiteX8315" fmla="*/ 4778780 w 8267681"/>
              <a:gd name="connsiteY8315" fmla="*/ 2648209 h 6698675"/>
              <a:gd name="connsiteX8316" fmla="*/ 4777397 w 8267681"/>
              <a:gd name="connsiteY8316" fmla="*/ 2647078 h 6698675"/>
              <a:gd name="connsiteX8317" fmla="*/ 4778195 w 8267681"/>
              <a:gd name="connsiteY8317" fmla="*/ 2645925 h 6698675"/>
              <a:gd name="connsiteX8318" fmla="*/ 4777176 w 8267681"/>
              <a:gd name="connsiteY8318" fmla="*/ 2641939 h 6698675"/>
              <a:gd name="connsiteX8319" fmla="*/ 4764986 w 8267681"/>
              <a:gd name="connsiteY8319" fmla="*/ 2641196 h 6698675"/>
              <a:gd name="connsiteX8320" fmla="*/ 4789141 w 8267681"/>
              <a:gd name="connsiteY8320" fmla="*/ 2630634 h 6698675"/>
              <a:gd name="connsiteX8321" fmla="*/ 4789140 w 8267681"/>
              <a:gd name="connsiteY8321" fmla="*/ 2630635 h 6698675"/>
              <a:gd name="connsiteX8322" fmla="*/ 4789141 w 8267681"/>
              <a:gd name="connsiteY8322" fmla="*/ 2630636 h 6698675"/>
              <a:gd name="connsiteX8323" fmla="*/ 4789141 w 8267681"/>
              <a:gd name="connsiteY8323" fmla="*/ 2630635 h 6698675"/>
              <a:gd name="connsiteX8324" fmla="*/ 4439172 w 8267681"/>
              <a:gd name="connsiteY8324" fmla="*/ 2623588 h 6698675"/>
              <a:gd name="connsiteX8325" fmla="*/ 4472055 w 8267681"/>
              <a:gd name="connsiteY8325" fmla="*/ 2658824 h 6698675"/>
              <a:gd name="connsiteX8326" fmla="*/ 4476753 w 8267681"/>
              <a:gd name="connsiteY8326" fmla="*/ 2632984 h 6698675"/>
              <a:gd name="connsiteX8327" fmla="*/ 4439172 w 8267681"/>
              <a:gd name="connsiteY8327" fmla="*/ 2623588 h 6698675"/>
              <a:gd name="connsiteX8328" fmla="*/ 4286649 w 8267681"/>
              <a:gd name="connsiteY8328" fmla="*/ 2623184 h 6698675"/>
              <a:gd name="connsiteX8329" fmla="*/ 4281804 w 8267681"/>
              <a:gd name="connsiteY8329" fmla="*/ 2628285 h 6698675"/>
              <a:gd name="connsiteX8330" fmla="*/ 4295897 w 8267681"/>
              <a:gd name="connsiteY8330" fmla="*/ 2640031 h 6698675"/>
              <a:gd name="connsiteX8331" fmla="*/ 4286649 w 8267681"/>
              <a:gd name="connsiteY8331" fmla="*/ 2623184 h 6698675"/>
              <a:gd name="connsiteX8332" fmla="*/ 5705166 w 8267681"/>
              <a:gd name="connsiteY8332" fmla="*/ 2621239 h 6698675"/>
              <a:gd name="connsiteX8333" fmla="*/ 5700468 w 8267681"/>
              <a:gd name="connsiteY8333" fmla="*/ 2628286 h 6698675"/>
              <a:gd name="connsiteX8334" fmla="*/ 5707514 w 8267681"/>
              <a:gd name="connsiteY8334" fmla="*/ 2630635 h 6698675"/>
              <a:gd name="connsiteX8335" fmla="*/ 5712212 w 8267681"/>
              <a:gd name="connsiteY8335" fmla="*/ 2623587 h 6698675"/>
              <a:gd name="connsiteX8336" fmla="*/ 4813216 w 8267681"/>
              <a:gd name="connsiteY8336" fmla="*/ 2605971 h 6698675"/>
              <a:gd name="connsiteX8337" fmla="*/ 4800885 w 8267681"/>
              <a:gd name="connsiteY8337" fmla="*/ 2616541 h 6698675"/>
              <a:gd name="connsiteX8338" fmla="*/ 4795567 w 8267681"/>
              <a:gd name="connsiteY8338" fmla="*/ 2615212 h 6698675"/>
              <a:gd name="connsiteX8339" fmla="*/ 4792364 w 8267681"/>
              <a:gd name="connsiteY8339" fmla="*/ 2622899 h 6698675"/>
              <a:gd name="connsiteX8340" fmla="*/ 4793838 w 8267681"/>
              <a:gd name="connsiteY8340" fmla="*/ 2628286 h 6698675"/>
              <a:gd name="connsiteX8341" fmla="*/ 4791489 w 8267681"/>
              <a:gd name="connsiteY8341" fmla="*/ 2630635 h 6698675"/>
              <a:gd name="connsiteX8342" fmla="*/ 4791464 w 8267681"/>
              <a:gd name="connsiteY8342" fmla="*/ 2631188 h 6698675"/>
              <a:gd name="connsiteX8343" fmla="*/ 4813803 w 8267681"/>
              <a:gd name="connsiteY8343" fmla="*/ 2636508 h 6698675"/>
              <a:gd name="connsiteX8344" fmla="*/ 4826073 w 8267681"/>
              <a:gd name="connsiteY8344" fmla="*/ 2630780 h 6698675"/>
              <a:gd name="connsiteX8345" fmla="*/ 4825474 w 8267681"/>
              <a:gd name="connsiteY8345" fmla="*/ 2629828 h 6698675"/>
              <a:gd name="connsiteX8346" fmla="*/ 4814977 w 8267681"/>
              <a:gd name="connsiteY8346" fmla="*/ 2628286 h 6698675"/>
              <a:gd name="connsiteX8347" fmla="*/ 4814977 w 8267681"/>
              <a:gd name="connsiteY8347" fmla="*/ 2618890 h 6698675"/>
              <a:gd name="connsiteX8348" fmla="*/ 4816739 w 8267681"/>
              <a:gd name="connsiteY8348" fmla="*/ 2612430 h 6698675"/>
              <a:gd name="connsiteX8349" fmla="*/ 4822024 w 8267681"/>
              <a:gd name="connsiteY8349" fmla="*/ 2609495 h 6698675"/>
              <a:gd name="connsiteX8350" fmla="*/ 4822023 w 8267681"/>
              <a:gd name="connsiteY8350" fmla="*/ 2609492 h 6698675"/>
              <a:gd name="connsiteX8351" fmla="*/ 4821195 w 8267681"/>
              <a:gd name="connsiteY8351" fmla="*/ 2608251 h 6698675"/>
              <a:gd name="connsiteX8352" fmla="*/ 873747 w 8267681"/>
              <a:gd name="connsiteY8352" fmla="*/ 2602467 h 6698675"/>
              <a:gd name="connsiteX8353" fmla="*/ 876095 w 8267681"/>
              <a:gd name="connsiteY8353" fmla="*/ 2609548 h 6698675"/>
              <a:gd name="connsiteX8354" fmla="*/ 876095 w 8267681"/>
              <a:gd name="connsiteY8354" fmla="*/ 2611897 h 6698675"/>
              <a:gd name="connsiteX8355" fmla="*/ 873747 w 8267681"/>
              <a:gd name="connsiteY8355" fmla="*/ 2611897 h 6698675"/>
              <a:gd name="connsiteX8356" fmla="*/ 869052 w 8267681"/>
              <a:gd name="connsiteY8356" fmla="*/ 2609548 h 6698675"/>
              <a:gd name="connsiteX8357" fmla="*/ 3577171 w 8267681"/>
              <a:gd name="connsiteY8357" fmla="*/ 2571910 h 6698675"/>
              <a:gd name="connsiteX8358" fmla="*/ 3588915 w 8267681"/>
              <a:gd name="connsiteY8358" fmla="*/ 2604796 h 6698675"/>
              <a:gd name="connsiteX8359" fmla="*/ 3605356 w 8267681"/>
              <a:gd name="connsiteY8359" fmla="*/ 2583655 h 6698675"/>
              <a:gd name="connsiteX8360" fmla="*/ 3577171 w 8267681"/>
              <a:gd name="connsiteY8360" fmla="*/ 2571910 h 6698675"/>
              <a:gd name="connsiteX8361" fmla="*/ 1348182 w 8267681"/>
              <a:gd name="connsiteY8361" fmla="*/ 2553119 h 6698675"/>
              <a:gd name="connsiteX8362" fmla="*/ 1338790 w 8267681"/>
              <a:gd name="connsiteY8362" fmla="*/ 2564863 h 6698675"/>
              <a:gd name="connsiteX8363" fmla="*/ 1348182 w 8267681"/>
              <a:gd name="connsiteY8363" fmla="*/ 2571910 h 6698675"/>
              <a:gd name="connsiteX8364" fmla="*/ 1355228 w 8267681"/>
              <a:gd name="connsiteY8364" fmla="*/ 2564863 h 6698675"/>
              <a:gd name="connsiteX8365" fmla="*/ 1350532 w 8267681"/>
              <a:gd name="connsiteY8365" fmla="*/ 2555466 h 6698675"/>
              <a:gd name="connsiteX8366" fmla="*/ 1348182 w 8267681"/>
              <a:gd name="connsiteY8366" fmla="*/ 2553119 h 6698675"/>
              <a:gd name="connsiteX8367" fmla="*/ 4497892 w 8267681"/>
              <a:gd name="connsiteY8367" fmla="*/ 2546071 h 6698675"/>
              <a:gd name="connsiteX8368" fmla="*/ 4479102 w 8267681"/>
              <a:gd name="connsiteY8368" fmla="*/ 2557816 h 6698675"/>
              <a:gd name="connsiteX8369" fmla="*/ 4500241 w 8267681"/>
              <a:gd name="connsiteY8369" fmla="*/ 2574260 h 6698675"/>
              <a:gd name="connsiteX8370" fmla="*/ 4497892 w 8267681"/>
              <a:gd name="connsiteY8370" fmla="*/ 2546071 h 6698675"/>
              <a:gd name="connsiteX8371" fmla="*/ 1620641 w 8267681"/>
              <a:gd name="connsiteY8371" fmla="*/ 2546071 h 6698675"/>
              <a:gd name="connsiteX8372" fmla="*/ 1618291 w 8267681"/>
              <a:gd name="connsiteY8372" fmla="*/ 2553119 h 6698675"/>
              <a:gd name="connsiteX8373" fmla="*/ 1625342 w 8267681"/>
              <a:gd name="connsiteY8373" fmla="*/ 2550769 h 6698675"/>
              <a:gd name="connsiteX8374" fmla="*/ 1625342 w 8267681"/>
              <a:gd name="connsiteY8374" fmla="*/ 2548420 h 6698675"/>
              <a:gd name="connsiteX8375" fmla="*/ 1406903 w 8267681"/>
              <a:gd name="connsiteY8375" fmla="*/ 2543721 h 6698675"/>
              <a:gd name="connsiteX8376" fmla="*/ 1399856 w 8267681"/>
              <a:gd name="connsiteY8376" fmla="*/ 2546071 h 6698675"/>
              <a:gd name="connsiteX8377" fmla="*/ 1397510 w 8267681"/>
              <a:gd name="connsiteY8377" fmla="*/ 2553119 h 6698675"/>
              <a:gd name="connsiteX8378" fmla="*/ 1402205 w 8267681"/>
              <a:gd name="connsiteY8378" fmla="*/ 2564863 h 6698675"/>
              <a:gd name="connsiteX8379" fmla="*/ 1406903 w 8267681"/>
              <a:gd name="connsiteY8379" fmla="*/ 2569561 h 6698675"/>
              <a:gd name="connsiteX8380" fmla="*/ 1416296 w 8267681"/>
              <a:gd name="connsiteY8380" fmla="*/ 2567212 h 6698675"/>
              <a:gd name="connsiteX8381" fmla="*/ 1413948 w 8267681"/>
              <a:gd name="connsiteY8381" fmla="*/ 2553119 h 6698675"/>
              <a:gd name="connsiteX8382" fmla="*/ 1409253 w 8267681"/>
              <a:gd name="connsiteY8382" fmla="*/ 2546071 h 6698675"/>
              <a:gd name="connsiteX8383" fmla="*/ 1406903 w 8267681"/>
              <a:gd name="connsiteY8383" fmla="*/ 2543721 h 6698675"/>
              <a:gd name="connsiteX8384" fmla="*/ 3678058 w 8267681"/>
              <a:gd name="connsiteY8384" fmla="*/ 2542915 h 6698675"/>
              <a:gd name="connsiteX8385" fmla="*/ 3671122 w 8267681"/>
              <a:gd name="connsiteY8385" fmla="*/ 2555466 h 6698675"/>
              <a:gd name="connsiteX8386" fmla="*/ 3678169 w 8267681"/>
              <a:gd name="connsiteY8386" fmla="*/ 2553119 h 6698675"/>
              <a:gd name="connsiteX8387" fmla="*/ 3678058 w 8267681"/>
              <a:gd name="connsiteY8387" fmla="*/ 2542915 h 6698675"/>
              <a:gd name="connsiteX8388" fmla="*/ 908979 w 8267681"/>
              <a:gd name="connsiteY8388" fmla="*/ 2536725 h 6698675"/>
              <a:gd name="connsiteX8389" fmla="*/ 918372 w 8267681"/>
              <a:gd name="connsiteY8389" fmla="*/ 2539076 h 6698675"/>
              <a:gd name="connsiteX8390" fmla="*/ 916023 w 8267681"/>
              <a:gd name="connsiteY8390" fmla="*/ 2548473 h 6698675"/>
              <a:gd name="connsiteX8391" fmla="*/ 937160 w 8267681"/>
              <a:gd name="connsiteY8391" fmla="*/ 2569615 h 6698675"/>
              <a:gd name="connsiteX8392" fmla="*/ 944209 w 8267681"/>
              <a:gd name="connsiteY8392" fmla="*/ 2574314 h 6698675"/>
              <a:gd name="connsiteX8393" fmla="*/ 939510 w 8267681"/>
              <a:gd name="connsiteY8393" fmla="*/ 2590752 h 6698675"/>
              <a:gd name="connsiteX8394" fmla="*/ 944209 w 8267681"/>
              <a:gd name="connsiteY8394" fmla="*/ 2595453 h 6698675"/>
              <a:gd name="connsiteX8395" fmla="*/ 946558 w 8267681"/>
              <a:gd name="connsiteY8395" fmla="*/ 2597807 h 6698675"/>
              <a:gd name="connsiteX8396" fmla="*/ 923072 w 8267681"/>
              <a:gd name="connsiteY8396" fmla="*/ 2600146 h 6698675"/>
              <a:gd name="connsiteX8397" fmla="*/ 920722 w 8267681"/>
              <a:gd name="connsiteY8397" fmla="*/ 2600146 h 6698675"/>
              <a:gd name="connsiteX8398" fmla="*/ 908979 w 8267681"/>
              <a:gd name="connsiteY8398" fmla="*/ 2574314 h 6698675"/>
              <a:gd name="connsiteX8399" fmla="*/ 899581 w 8267681"/>
              <a:gd name="connsiteY8399" fmla="*/ 2557869 h 6698675"/>
              <a:gd name="connsiteX8400" fmla="*/ 4427796 w 8267681"/>
              <a:gd name="connsiteY8400" fmla="*/ 2532004 h 6698675"/>
              <a:gd name="connsiteX8401" fmla="*/ 4450916 w 8267681"/>
              <a:gd name="connsiteY8401" fmla="*/ 2574260 h 6698675"/>
              <a:gd name="connsiteX8402" fmla="*/ 4450916 w 8267681"/>
              <a:gd name="connsiteY8402" fmla="*/ 2560165 h 6698675"/>
              <a:gd name="connsiteX8403" fmla="*/ 4427796 w 8267681"/>
              <a:gd name="connsiteY8403" fmla="*/ 2532004 h 6698675"/>
              <a:gd name="connsiteX8404" fmla="*/ 5773280 w 8267681"/>
              <a:gd name="connsiteY8404" fmla="*/ 2531977 h 6698675"/>
              <a:gd name="connsiteX8405" fmla="*/ 5773280 w 8267681"/>
              <a:gd name="connsiteY8405" fmla="*/ 2541373 h 6698675"/>
              <a:gd name="connsiteX8406" fmla="*/ 5775629 w 8267681"/>
              <a:gd name="connsiteY8406" fmla="*/ 2550769 h 6698675"/>
              <a:gd name="connsiteX8407" fmla="*/ 5789721 w 8267681"/>
              <a:gd name="connsiteY8407" fmla="*/ 2541373 h 6698675"/>
              <a:gd name="connsiteX8408" fmla="*/ 5773280 w 8267681"/>
              <a:gd name="connsiteY8408" fmla="*/ 2531977 h 6698675"/>
              <a:gd name="connsiteX8409" fmla="*/ 5792070 w 8267681"/>
              <a:gd name="connsiteY8409" fmla="*/ 2522581 h 6698675"/>
              <a:gd name="connsiteX8410" fmla="*/ 5785024 w 8267681"/>
              <a:gd name="connsiteY8410" fmla="*/ 2529628 h 6698675"/>
              <a:gd name="connsiteX8411" fmla="*/ 5792070 w 8267681"/>
              <a:gd name="connsiteY8411" fmla="*/ 2531977 h 6698675"/>
              <a:gd name="connsiteX8412" fmla="*/ 5796768 w 8267681"/>
              <a:gd name="connsiteY8412" fmla="*/ 2529628 h 6698675"/>
              <a:gd name="connsiteX8413" fmla="*/ 4723375 w 8267681"/>
              <a:gd name="connsiteY8413" fmla="*/ 2522580 h 6698675"/>
              <a:gd name="connsiteX8414" fmla="*/ 4692840 w 8267681"/>
              <a:gd name="connsiteY8414" fmla="*/ 2564863 h 6698675"/>
              <a:gd name="connsiteX8415" fmla="*/ 4753909 w 8267681"/>
              <a:gd name="connsiteY8415" fmla="*/ 2562514 h 6698675"/>
              <a:gd name="connsiteX8416" fmla="*/ 4723375 w 8267681"/>
              <a:gd name="connsiteY8416" fmla="*/ 2522580 h 6698675"/>
              <a:gd name="connsiteX8417" fmla="*/ 3753329 w 8267681"/>
              <a:gd name="connsiteY8417" fmla="*/ 2517883 h 6698675"/>
              <a:gd name="connsiteX8418" fmla="*/ 3659378 w 8267681"/>
              <a:gd name="connsiteY8418" fmla="*/ 2717548 h 6698675"/>
              <a:gd name="connsiteX8419" fmla="*/ 3649983 w 8267681"/>
              <a:gd name="connsiteY8419" fmla="*/ 2694058 h 6698675"/>
              <a:gd name="connsiteX8420" fmla="*/ 3638239 w 8267681"/>
              <a:gd name="connsiteY8420" fmla="*/ 2736337 h 6698675"/>
              <a:gd name="connsiteX8421" fmla="*/ 3591263 w 8267681"/>
              <a:gd name="connsiteY8421" fmla="*/ 2771565 h 6698675"/>
              <a:gd name="connsiteX8422" fmla="*/ 3502010 w 8267681"/>
              <a:gd name="connsiteY8422" fmla="*/ 3121535 h 6698675"/>
              <a:gd name="connsiteX8423" fmla="*/ 3487917 w 8267681"/>
              <a:gd name="connsiteY8423" fmla="*/ 3107447 h 6698675"/>
              <a:gd name="connsiteX8424" fmla="*/ 3494963 w 8267681"/>
              <a:gd name="connsiteY8424" fmla="*/ 3128585 h 6698675"/>
              <a:gd name="connsiteX8425" fmla="*/ 3492615 w 8267681"/>
              <a:gd name="connsiteY8425" fmla="*/ 3130933 h 6698675"/>
              <a:gd name="connsiteX8426" fmla="*/ 3497312 w 8267681"/>
              <a:gd name="connsiteY8426" fmla="*/ 3135632 h 6698675"/>
              <a:gd name="connsiteX8427" fmla="*/ 3506708 w 8267681"/>
              <a:gd name="connsiteY8427" fmla="*/ 3177914 h 6698675"/>
              <a:gd name="connsiteX8428" fmla="*/ 3506708 w 8267681"/>
              <a:gd name="connsiteY8428" fmla="*/ 3182612 h 6698675"/>
              <a:gd name="connsiteX8429" fmla="*/ 3509056 w 8267681"/>
              <a:gd name="connsiteY8429" fmla="*/ 3199053 h 6698675"/>
              <a:gd name="connsiteX8430" fmla="*/ 3511405 w 8267681"/>
              <a:gd name="connsiteY8430" fmla="*/ 3208446 h 6698675"/>
              <a:gd name="connsiteX8431" fmla="*/ 3513754 w 8267681"/>
              <a:gd name="connsiteY8431" fmla="*/ 3222544 h 6698675"/>
              <a:gd name="connsiteX8432" fmla="*/ 3516102 w 8267681"/>
              <a:gd name="connsiteY8432" fmla="*/ 3234289 h 6698675"/>
              <a:gd name="connsiteX8433" fmla="*/ 3516102 w 8267681"/>
              <a:gd name="connsiteY8433" fmla="*/ 3248384 h 6698675"/>
              <a:gd name="connsiteX8434" fmla="*/ 3516102 w 8267681"/>
              <a:gd name="connsiteY8434" fmla="*/ 3262494 h 6698675"/>
              <a:gd name="connsiteX8435" fmla="*/ 3516102 w 8267681"/>
              <a:gd name="connsiteY8435" fmla="*/ 3274248 h 6698675"/>
              <a:gd name="connsiteX8436" fmla="*/ 3516102 w 8267681"/>
              <a:gd name="connsiteY8436" fmla="*/ 3290651 h 6698675"/>
              <a:gd name="connsiteX8437" fmla="*/ 3516102 w 8267681"/>
              <a:gd name="connsiteY8437" fmla="*/ 3300006 h 6698675"/>
              <a:gd name="connsiteX8438" fmla="*/ 3513754 w 8267681"/>
              <a:gd name="connsiteY8438" fmla="*/ 3323513 h 6698675"/>
              <a:gd name="connsiteX8439" fmla="*/ 3560729 w 8267681"/>
              <a:gd name="connsiteY8439" fmla="*/ 3457360 h 6698675"/>
              <a:gd name="connsiteX8440" fmla="*/ 3645285 w 8267681"/>
              <a:gd name="connsiteY8440" fmla="*/ 3184961 h 6698675"/>
              <a:gd name="connsiteX8441" fmla="*/ 3631192 w 8267681"/>
              <a:gd name="connsiteY8441" fmla="*/ 3137983 h 6698675"/>
              <a:gd name="connsiteX8442" fmla="*/ 3711051 w 8267681"/>
              <a:gd name="connsiteY8442" fmla="*/ 2806791 h 6698675"/>
              <a:gd name="connsiteX8443" fmla="*/ 3774468 w 8267681"/>
              <a:gd name="connsiteY8443" fmla="*/ 2534325 h 6698675"/>
              <a:gd name="connsiteX8444" fmla="*/ 3753329 w 8267681"/>
              <a:gd name="connsiteY8444" fmla="*/ 2517883 h 6698675"/>
              <a:gd name="connsiteX8445" fmla="*/ 5787373 w 8267681"/>
              <a:gd name="connsiteY8445" fmla="*/ 2513185 h 6698675"/>
              <a:gd name="connsiteX8446" fmla="*/ 5794419 w 8267681"/>
              <a:gd name="connsiteY8446" fmla="*/ 2520231 h 6698675"/>
              <a:gd name="connsiteX8447" fmla="*/ 5794419 w 8267681"/>
              <a:gd name="connsiteY8447" fmla="*/ 2513185 h 6698675"/>
              <a:gd name="connsiteX8448" fmla="*/ 1407885 w 8267681"/>
              <a:gd name="connsiteY8448" fmla="*/ 2510837 h 6698675"/>
              <a:gd name="connsiteX8449" fmla="*/ 1409253 w 8267681"/>
              <a:gd name="connsiteY8449" fmla="*/ 2510837 h 6698675"/>
              <a:gd name="connsiteX8450" fmla="*/ 1411603 w 8267681"/>
              <a:gd name="connsiteY8450" fmla="*/ 2513184 h 6698675"/>
              <a:gd name="connsiteX8451" fmla="*/ 1410811 w 8267681"/>
              <a:gd name="connsiteY8451" fmla="*/ 2515551 h 6698675"/>
              <a:gd name="connsiteX8452" fmla="*/ 5813209 w 8267681"/>
              <a:gd name="connsiteY8452" fmla="*/ 2501440 h 6698675"/>
              <a:gd name="connsiteX8453" fmla="*/ 5806163 w 8267681"/>
              <a:gd name="connsiteY8453" fmla="*/ 2508487 h 6698675"/>
              <a:gd name="connsiteX8454" fmla="*/ 5813209 w 8267681"/>
              <a:gd name="connsiteY8454" fmla="*/ 2508487 h 6698675"/>
              <a:gd name="connsiteX8455" fmla="*/ 4434475 w 8267681"/>
              <a:gd name="connsiteY8455" fmla="*/ 2499091 h 6698675"/>
              <a:gd name="connsiteX8456" fmla="*/ 4481450 w 8267681"/>
              <a:gd name="connsiteY8456" fmla="*/ 2564863 h 6698675"/>
              <a:gd name="connsiteX8457" fmla="*/ 4434475 w 8267681"/>
              <a:gd name="connsiteY8457" fmla="*/ 2499091 h 6698675"/>
              <a:gd name="connsiteX8458" fmla="*/ 899583 w 8267681"/>
              <a:gd name="connsiteY8458" fmla="*/ 2496789 h 6698675"/>
              <a:gd name="connsiteX8459" fmla="*/ 904280 w 8267681"/>
              <a:gd name="connsiteY8459" fmla="*/ 2499139 h 6698675"/>
              <a:gd name="connsiteX8460" fmla="*/ 899583 w 8267681"/>
              <a:gd name="connsiteY8460" fmla="*/ 2506186 h 6698675"/>
              <a:gd name="connsiteX8461" fmla="*/ 894887 w 8267681"/>
              <a:gd name="connsiteY8461" fmla="*/ 2499139 h 6698675"/>
              <a:gd name="connsiteX8462" fmla="*/ 1598327 w 8267681"/>
              <a:gd name="connsiteY8462" fmla="*/ 2495567 h 6698675"/>
              <a:gd name="connsiteX8463" fmla="*/ 1592456 w 8267681"/>
              <a:gd name="connsiteY8463" fmla="*/ 2496742 h 6698675"/>
              <a:gd name="connsiteX8464" fmla="*/ 1604199 w 8267681"/>
              <a:gd name="connsiteY8464" fmla="*/ 2501439 h 6698675"/>
              <a:gd name="connsiteX8465" fmla="*/ 1598327 w 8267681"/>
              <a:gd name="connsiteY8465" fmla="*/ 2495567 h 6698675"/>
              <a:gd name="connsiteX8466" fmla="*/ 1153236 w 8267681"/>
              <a:gd name="connsiteY8466" fmla="*/ 2487345 h 6698675"/>
              <a:gd name="connsiteX8467" fmla="*/ 1148537 w 8267681"/>
              <a:gd name="connsiteY8467" fmla="*/ 2494392 h 6698675"/>
              <a:gd name="connsiteX8468" fmla="*/ 1153236 w 8267681"/>
              <a:gd name="connsiteY8468" fmla="*/ 2499091 h 6698675"/>
              <a:gd name="connsiteX8469" fmla="*/ 1162629 w 8267681"/>
              <a:gd name="connsiteY8469" fmla="*/ 2494392 h 6698675"/>
              <a:gd name="connsiteX8470" fmla="*/ 5792070 w 8267681"/>
              <a:gd name="connsiteY8470" fmla="*/ 2482648 h 6698675"/>
              <a:gd name="connsiteX8471" fmla="*/ 5785024 w 8267681"/>
              <a:gd name="connsiteY8471" fmla="*/ 2489695 h 6698675"/>
              <a:gd name="connsiteX8472" fmla="*/ 5792070 w 8267681"/>
              <a:gd name="connsiteY8472" fmla="*/ 2492044 h 6698675"/>
              <a:gd name="connsiteX8473" fmla="*/ 5796768 w 8267681"/>
              <a:gd name="connsiteY8473" fmla="*/ 2489695 h 6698675"/>
              <a:gd name="connsiteX8474" fmla="*/ 3773478 w 8267681"/>
              <a:gd name="connsiteY8474" fmla="*/ 2475711 h 6698675"/>
              <a:gd name="connsiteX8475" fmla="*/ 3765073 w 8267681"/>
              <a:gd name="connsiteY8475" fmla="*/ 2480298 h 6698675"/>
              <a:gd name="connsiteX8476" fmla="*/ 3774468 w 8267681"/>
              <a:gd name="connsiteY8476" fmla="*/ 2503789 h 6698675"/>
              <a:gd name="connsiteX8477" fmla="*/ 3773478 w 8267681"/>
              <a:gd name="connsiteY8477" fmla="*/ 2475711 h 6698675"/>
              <a:gd name="connsiteX8478" fmla="*/ 5599470 w 8267681"/>
              <a:gd name="connsiteY8478" fmla="*/ 2475601 h 6698675"/>
              <a:gd name="connsiteX8479" fmla="*/ 5597122 w 8267681"/>
              <a:gd name="connsiteY8479" fmla="*/ 2482648 h 6698675"/>
              <a:gd name="connsiteX8480" fmla="*/ 5592424 w 8267681"/>
              <a:gd name="connsiteY8480" fmla="*/ 2492044 h 6698675"/>
              <a:gd name="connsiteX8481" fmla="*/ 5573634 w 8267681"/>
              <a:gd name="connsiteY8481" fmla="*/ 2503789 h 6698675"/>
              <a:gd name="connsiteX8482" fmla="*/ 5573634 w 8267681"/>
              <a:gd name="connsiteY8482" fmla="*/ 2522581 h 6698675"/>
              <a:gd name="connsiteX8483" fmla="*/ 5568936 w 8267681"/>
              <a:gd name="connsiteY8483" fmla="*/ 2527279 h 6698675"/>
              <a:gd name="connsiteX8484" fmla="*/ 5561890 w 8267681"/>
              <a:gd name="connsiteY8484" fmla="*/ 2541373 h 6698675"/>
              <a:gd name="connsiteX8485" fmla="*/ 5571285 w 8267681"/>
              <a:gd name="connsiteY8485" fmla="*/ 2564863 h 6698675"/>
              <a:gd name="connsiteX8486" fmla="*/ 5583029 w 8267681"/>
              <a:gd name="connsiteY8486" fmla="*/ 2560164 h 6698675"/>
              <a:gd name="connsiteX8487" fmla="*/ 5604168 w 8267681"/>
              <a:gd name="connsiteY8487" fmla="*/ 2499090 h 6698675"/>
              <a:gd name="connsiteX8488" fmla="*/ 5599470 w 8267681"/>
              <a:gd name="connsiteY8488" fmla="*/ 2475601 h 6698675"/>
              <a:gd name="connsiteX8489" fmla="*/ 5808512 w 8267681"/>
              <a:gd name="connsiteY8489" fmla="*/ 2466205 h 6698675"/>
              <a:gd name="connsiteX8490" fmla="*/ 5801465 w 8267681"/>
              <a:gd name="connsiteY8490" fmla="*/ 2473252 h 6698675"/>
              <a:gd name="connsiteX8491" fmla="*/ 5808512 w 8267681"/>
              <a:gd name="connsiteY8491" fmla="*/ 2475601 h 6698675"/>
              <a:gd name="connsiteX8492" fmla="*/ 5813209 w 8267681"/>
              <a:gd name="connsiteY8492" fmla="*/ 2473252 h 6698675"/>
              <a:gd name="connsiteX8493" fmla="*/ 3194321 w 8267681"/>
              <a:gd name="connsiteY8493" fmla="*/ 2463855 h 6698675"/>
              <a:gd name="connsiteX8494" fmla="*/ 3184925 w 8267681"/>
              <a:gd name="connsiteY8494" fmla="*/ 2487345 h 6698675"/>
              <a:gd name="connsiteX8495" fmla="*/ 3203715 w 8267681"/>
              <a:gd name="connsiteY8495" fmla="*/ 2489695 h 6698675"/>
              <a:gd name="connsiteX8496" fmla="*/ 3208412 w 8267681"/>
              <a:gd name="connsiteY8496" fmla="*/ 2477949 h 6698675"/>
              <a:gd name="connsiteX8497" fmla="*/ 3194321 w 8267681"/>
              <a:gd name="connsiteY8497" fmla="*/ 2463855 h 6698675"/>
              <a:gd name="connsiteX8498" fmla="*/ 5857836 w 8267681"/>
              <a:gd name="connsiteY8498" fmla="*/ 2454459 h 6698675"/>
              <a:gd name="connsiteX8499" fmla="*/ 5850790 w 8267681"/>
              <a:gd name="connsiteY8499" fmla="*/ 2461507 h 6698675"/>
              <a:gd name="connsiteX8500" fmla="*/ 5862534 w 8267681"/>
              <a:gd name="connsiteY8500" fmla="*/ 2461507 h 6698675"/>
              <a:gd name="connsiteX8501" fmla="*/ 5766234 w 8267681"/>
              <a:gd name="connsiteY8501" fmla="*/ 2454459 h 6698675"/>
              <a:gd name="connsiteX8502" fmla="*/ 5759187 w 8267681"/>
              <a:gd name="connsiteY8502" fmla="*/ 2461507 h 6698675"/>
              <a:gd name="connsiteX8503" fmla="*/ 5770931 w 8267681"/>
              <a:gd name="connsiteY8503" fmla="*/ 2461507 h 6698675"/>
              <a:gd name="connsiteX8504" fmla="*/ 5794419 w 8267681"/>
              <a:gd name="connsiteY8504" fmla="*/ 2449762 h 6698675"/>
              <a:gd name="connsiteX8505" fmla="*/ 5794419 w 8267681"/>
              <a:gd name="connsiteY8505" fmla="*/ 2456808 h 6698675"/>
              <a:gd name="connsiteX8506" fmla="*/ 5803814 w 8267681"/>
              <a:gd name="connsiteY8506" fmla="*/ 2456808 h 6698675"/>
              <a:gd name="connsiteX8507" fmla="*/ 5799117 w 8267681"/>
              <a:gd name="connsiteY8507" fmla="*/ 2463855 h 6698675"/>
              <a:gd name="connsiteX8508" fmla="*/ 5806163 w 8267681"/>
              <a:gd name="connsiteY8508" fmla="*/ 2463855 h 6698675"/>
              <a:gd name="connsiteX8509" fmla="*/ 5806163 w 8267681"/>
              <a:gd name="connsiteY8509" fmla="*/ 2456808 h 6698675"/>
              <a:gd name="connsiteX8510" fmla="*/ 5813209 w 8267681"/>
              <a:gd name="connsiteY8510" fmla="*/ 2459158 h 6698675"/>
              <a:gd name="connsiteX8511" fmla="*/ 5827302 w 8267681"/>
              <a:gd name="connsiteY8511" fmla="*/ 2454459 h 6698675"/>
              <a:gd name="connsiteX8512" fmla="*/ 5813209 w 8267681"/>
              <a:gd name="connsiteY8512" fmla="*/ 2459158 h 6698675"/>
              <a:gd name="connsiteX8513" fmla="*/ 5813209 w 8267681"/>
              <a:gd name="connsiteY8513" fmla="*/ 2452111 h 6698675"/>
              <a:gd name="connsiteX8514" fmla="*/ 5806163 w 8267681"/>
              <a:gd name="connsiteY8514" fmla="*/ 2456808 h 6698675"/>
              <a:gd name="connsiteX8515" fmla="*/ 5803814 w 8267681"/>
              <a:gd name="connsiteY8515" fmla="*/ 2456808 h 6698675"/>
              <a:gd name="connsiteX8516" fmla="*/ 5794419 w 8267681"/>
              <a:gd name="connsiteY8516" fmla="*/ 2449762 h 6698675"/>
              <a:gd name="connsiteX8517" fmla="*/ 1524344 w 8267681"/>
              <a:gd name="connsiteY8517" fmla="*/ 2449762 h 6698675"/>
              <a:gd name="connsiteX8518" fmla="*/ 1533736 w 8267681"/>
              <a:gd name="connsiteY8518" fmla="*/ 2466204 h 6698675"/>
              <a:gd name="connsiteX8519" fmla="*/ 1538436 w 8267681"/>
              <a:gd name="connsiteY8519" fmla="*/ 2449762 h 6698675"/>
              <a:gd name="connsiteX8520" fmla="*/ 1524344 w 8267681"/>
              <a:gd name="connsiteY8520" fmla="*/ 2449762 h 6698675"/>
              <a:gd name="connsiteX8521" fmla="*/ 4528830 w 8267681"/>
              <a:gd name="connsiteY8521" fmla="*/ 2449247 h 6698675"/>
              <a:gd name="connsiteX8522" fmla="*/ 4533123 w 8267681"/>
              <a:gd name="connsiteY8522" fmla="*/ 2459156 h 6698675"/>
              <a:gd name="connsiteX8523" fmla="*/ 4528830 w 8267681"/>
              <a:gd name="connsiteY8523" fmla="*/ 2449247 h 6698675"/>
              <a:gd name="connsiteX8524" fmla="*/ 1449180 w 8267681"/>
              <a:gd name="connsiteY8524" fmla="*/ 2447413 h 6698675"/>
              <a:gd name="connsiteX8525" fmla="*/ 1491458 w 8267681"/>
              <a:gd name="connsiteY8525" fmla="*/ 2461506 h 6698675"/>
              <a:gd name="connsiteX8526" fmla="*/ 1524344 w 8267681"/>
              <a:gd name="connsiteY8526" fmla="*/ 2466204 h 6698675"/>
              <a:gd name="connsiteX8527" fmla="*/ 1514946 w 8267681"/>
              <a:gd name="connsiteY8527" fmla="*/ 2452110 h 6698675"/>
              <a:gd name="connsiteX8528" fmla="*/ 1449180 w 8267681"/>
              <a:gd name="connsiteY8528" fmla="*/ 2447413 h 6698675"/>
              <a:gd name="connsiteX8529" fmla="*/ 5907159 w 8267681"/>
              <a:gd name="connsiteY8529" fmla="*/ 2442717 h 6698675"/>
              <a:gd name="connsiteX8530" fmla="*/ 5902462 w 8267681"/>
              <a:gd name="connsiteY8530" fmla="*/ 2468557 h 6698675"/>
              <a:gd name="connsiteX8531" fmla="*/ 5900113 w 8267681"/>
              <a:gd name="connsiteY8531" fmla="*/ 2461509 h 6698675"/>
              <a:gd name="connsiteX8532" fmla="*/ 5900113 w 8267681"/>
              <a:gd name="connsiteY8532" fmla="*/ 2452113 h 6698675"/>
              <a:gd name="connsiteX8533" fmla="*/ 5907159 w 8267681"/>
              <a:gd name="connsiteY8533" fmla="*/ 2442717 h 6698675"/>
              <a:gd name="connsiteX8534" fmla="*/ 4676399 w 8267681"/>
              <a:gd name="connsiteY8534" fmla="*/ 2442714 h 6698675"/>
              <a:gd name="connsiteX8535" fmla="*/ 4652911 w 8267681"/>
              <a:gd name="connsiteY8535" fmla="*/ 2452110 h 6698675"/>
              <a:gd name="connsiteX8536" fmla="*/ 4643516 w 8267681"/>
              <a:gd name="connsiteY8536" fmla="*/ 2489695 h 6698675"/>
              <a:gd name="connsiteX8537" fmla="*/ 4678748 w 8267681"/>
              <a:gd name="connsiteY8537" fmla="*/ 2503789 h 6698675"/>
              <a:gd name="connsiteX8538" fmla="*/ 4704584 w 8267681"/>
              <a:gd name="connsiteY8538" fmla="*/ 2473251 h 6698675"/>
              <a:gd name="connsiteX8539" fmla="*/ 4676399 w 8267681"/>
              <a:gd name="connsiteY8539" fmla="*/ 2442714 h 6698675"/>
              <a:gd name="connsiteX8540" fmla="*/ 1580714 w 8267681"/>
              <a:gd name="connsiteY8540" fmla="*/ 2442714 h 6698675"/>
              <a:gd name="connsiteX8541" fmla="*/ 1568972 w 8267681"/>
              <a:gd name="connsiteY8541" fmla="*/ 2445068 h 6698675"/>
              <a:gd name="connsiteX8542" fmla="*/ 1578364 w 8267681"/>
              <a:gd name="connsiteY8542" fmla="*/ 2452110 h 6698675"/>
              <a:gd name="connsiteX8543" fmla="*/ 1580714 w 8267681"/>
              <a:gd name="connsiteY8543" fmla="*/ 2442714 h 6698675"/>
              <a:gd name="connsiteX8544" fmla="*/ 1601851 w 8267681"/>
              <a:gd name="connsiteY8544" fmla="*/ 2440367 h 6698675"/>
              <a:gd name="connsiteX8545" fmla="*/ 1590107 w 8267681"/>
              <a:gd name="connsiteY8545" fmla="*/ 2442714 h 6698675"/>
              <a:gd name="connsiteX8546" fmla="*/ 1594806 w 8267681"/>
              <a:gd name="connsiteY8546" fmla="*/ 2445068 h 6698675"/>
              <a:gd name="connsiteX8547" fmla="*/ 1604199 w 8267681"/>
              <a:gd name="connsiteY8547" fmla="*/ 2447413 h 6698675"/>
              <a:gd name="connsiteX8548" fmla="*/ 1608899 w 8267681"/>
              <a:gd name="connsiteY8548" fmla="*/ 2442714 h 6698675"/>
              <a:gd name="connsiteX8549" fmla="*/ 1606549 w 8267681"/>
              <a:gd name="connsiteY8549" fmla="*/ 2440367 h 6698675"/>
              <a:gd name="connsiteX8550" fmla="*/ 1601851 w 8267681"/>
              <a:gd name="connsiteY8550" fmla="*/ 2440367 h 6698675"/>
              <a:gd name="connsiteX8551" fmla="*/ 4508498 w 8267681"/>
              <a:gd name="connsiteY8551" fmla="*/ 2424842 h 6698675"/>
              <a:gd name="connsiteX8552" fmla="*/ 4521379 w 8267681"/>
              <a:gd name="connsiteY8552" fmla="*/ 2440367 h 6698675"/>
              <a:gd name="connsiteX8553" fmla="*/ 4508498 w 8267681"/>
              <a:gd name="connsiteY8553" fmla="*/ 2424842 h 6698675"/>
              <a:gd name="connsiteX8554" fmla="*/ 3431546 w 8267681"/>
              <a:gd name="connsiteY8554" fmla="*/ 2423923 h 6698675"/>
              <a:gd name="connsiteX8555" fmla="*/ 3422151 w 8267681"/>
              <a:gd name="connsiteY8555" fmla="*/ 2433321 h 6698675"/>
              <a:gd name="connsiteX8556" fmla="*/ 3436245 w 8267681"/>
              <a:gd name="connsiteY8556" fmla="*/ 2466204 h 6698675"/>
              <a:gd name="connsiteX8557" fmla="*/ 3464429 w 8267681"/>
              <a:gd name="connsiteY8557" fmla="*/ 2445068 h 6698675"/>
              <a:gd name="connsiteX8558" fmla="*/ 3431546 w 8267681"/>
              <a:gd name="connsiteY8558" fmla="*/ 2423923 h 6698675"/>
              <a:gd name="connsiteX8559" fmla="*/ 1282420 w 8267681"/>
              <a:gd name="connsiteY8559" fmla="*/ 2419225 h 6698675"/>
              <a:gd name="connsiteX8560" fmla="*/ 1275370 w 8267681"/>
              <a:gd name="connsiteY8560" fmla="*/ 2428622 h 6698675"/>
              <a:gd name="connsiteX8561" fmla="*/ 1282420 w 8267681"/>
              <a:gd name="connsiteY8561" fmla="*/ 2433321 h 6698675"/>
              <a:gd name="connsiteX8562" fmla="*/ 4408638 w 8267681"/>
              <a:gd name="connsiteY8562" fmla="*/ 2414529 h 6698675"/>
              <a:gd name="connsiteX8563" fmla="*/ 4427428 w 8267681"/>
              <a:gd name="connsiteY8563" fmla="*/ 2449762 h 6698675"/>
              <a:gd name="connsiteX8564" fmla="*/ 4408638 w 8267681"/>
              <a:gd name="connsiteY8564" fmla="*/ 2414529 h 6698675"/>
              <a:gd name="connsiteX8565" fmla="*/ 5799117 w 8267681"/>
              <a:gd name="connsiteY8565" fmla="*/ 2409830 h 6698675"/>
              <a:gd name="connsiteX8566" fmla="*/ 5792070 w 8267681"/>
              <a:gd name="connsiteY8566" fmla="*/ 2416881 h 6698675"/>
              <a:gd name="connsiteX8567" fmla="*/ 5799117 w 8267681"/>
              <a:gd name="connsiteY8567" fmla="*/ 2419226 h 6698675"/>
              <a:gd name="connsiteX8568" fmla="*/ 5519611 w 8267681"/>
              <a:gd name="connsiteY8568" fmla="*/ 2395738 h 6698675"/>
              <a:gd name="connsiteX8569" fmla="*/ 5512565 w 8267681"/>
              <a:gd name="connsiteY8569" fmla="*/ 2412179 h 6698675"/>
              <a:gd name="connsiteX8570" fmla="*/ 5505519 w 8267681"/>
              <a:gd name="connsiteY8570" fmla="*/ 2412179 h 6698675"/>
              <a:gd name="connsiteX8571" fmla="*/ 5507867 w 8267681"/>
              <a:gd name="connsiteY8571" fmla="*/ 2402786 h 6698675"/>
              <a:gd name="connsiteX8572" fmla="*/ 5512565 w 8267681"/>
              <a:gd name="connsiteY8572" fmla="*/ 2398089 h 6698675"/>
              <a:gd name="connsiteX8573" fmla="*/ 5519611 w 8267681"/>
              <a:gd name="connsiteY8573" fmla="*/ 2395738 h 6698675"/>
              <a:gd name="connsiteX8574" fmla="*/ 5792070 w 8267681"/>
              <a:gd name="connsiteY8574" fmla="*/ 2383999 h 6698675"/>
              <a:gd name="connsiteX8575" fmla="*/ 5785024 w 8267681"/>
              <a:gd name="connsiteY8575" fmla="*/ 2391043 h 6698675"/>
              <a:gd name="connsiteX8576" fmla="*/ 5796768 w 8267681"/>
              <a:gd name="connsiteY8576" fmla="*/ 2391043 h 6698675"/>
              <a:gd name="connsiteX8577" fmla="*/ 4389702 w 8267681"/>
              <a:gd name="connsiteY8577" fmla="*/ 2382786 h 6698675"/>
              <a:gd name="connsiteX8578" fmla="*/ 4380453 w 8267681"/>
              <a:gd name="connsiteY8578" fmla="*/ 2383997 h 6698675"/>
              <a:gd name="connsiteX8579" fmla="*/ 4401592 w 8267681"/>
              <a:gd name="connsiteY8579" fmla="*/ 2412180 h 6698675"/>
              <a:gd name="connsiteX8580" fmla="*/ 4389702 w 8267681"/>
              <a:gd name="connsiteY8580" fmla="*/ 2382786 h 6698675"/>
              <a:gd name="connsiteX8581" fmla="*/ 4783349 w 8267681"/>
              <a:gd name="connsiteY8581" fmla="*/ 2374949 h 6698675"/>
              <a:gd name="connsiteX8582" fmla="*/ 4778855 w 8267681"/>
              <a:gd name="connsiteY8582" fmla="*/ 2379849 h 6698675"/>
              <a:gd name="connsiteX8583" fmla="*/ 4789141 w 8267681"/>
              <a:gd name="connsiteY8583" fmla="*/ 2381650 h 6698675"/>
              <a:gd name="connsiteX8584" fmla="*/ 4784370 w 8267681"/>
              <a:gd name="connsiteY8584" fmla="*/ 2375483 h 6698675"/>
              <a:gd name="connsiteX8585" fmla="*/ 4460311 w 8267681"/>
              <a:gd name="connsiteY8585" fmla="*/ 2374600 h 6698675"/>
              <a:gd name="connsiteX8586" fmla="*/ 4488497 w 8267681"/>
              <a:gd name="connsiteY8586" fmla="*/ 2419225 h 6698675"/>
              <a:gd name="connsiteX8587" fmla="*/ 4460311 w 8267681"/>
              <a:gd name="connsiteY8587" fmla="*/ 2374600 h 6698675"/>
              <a:gd name="connsiteX8588" fmla="*/ 5813209 w 8267681"/>
              <a:gd name="connsiteY8588" fmla="*/ 2369902 h 6698675"/>
              <a:gd name="connsiteX8589" fmla="*/ 5806163 w 8267681"/>
              <a:gd name="connsiteY8589" fmla="*/ 2376948 h 6698675"/>
              <a:gd name="connsiteX8590" fmla="*/ 5817907 w 8267681"/>
              <a:gd name="connsiteY8590" fmla="*/ 2376948 h 6698675"/>
              <a:gd name="connsiteX8591" fmla="*/ 5747444 w 8267681"/>
              <a:gd name="connsiteY8591" fmla="*/ 2369902 h 6698675"/>
              <a:gd name="connsiteX8592" fmla="*/ 5747444 w 8267681"/>
              <a:gd name="connsiteY8592" fmla="*/ 2372252 h 6698675"/>
              <a:gd name="connsiteX8593" fmla="*/ 5747738 w 8267681"/>
              <a:gd name="connsiteY8593" fmla="*/ 2379300 h 6698675"/>
              <a:gd name="connsiteX8594" fmla="*/ 5748781 w 8267681"/>
              <a:gd name="connsiteY8594" fmla="*/ 2382877 h 6698675"/>
              <a:gd name="connsiteX8595" fmla="*/ 5749792 w 8267681"/>
              <a:gd name="connsiteY8595" fmla="*/ 2388703 h 6698675"/>
              <a:gd name="connsiteX8596" fmla="*/ 5749792 w 8267681"/>
              <a:gd name="connsiteY8596" fmla="*/ 2386351 h 6698675"/>
              <a:gd name="connsiteX8597" fmla="*/ 5748781 w 8267681"/>
              <a:gd name="connsiteY8597" fmla="*/ 2382877 h 6698675"/>
              <a:gd name="connsiteX8598" fmla="*/ 5748618 w 8267681"/>
              <a:gd name="connsiteY8598" fmla="*/ 2381941 h 6698675"/>
              <a:gd name="connsiteX8599" fmla="*/ 5747444 w 8267681"/>
              <a:gd name="connsiteY8599" fmla="*/ 2369902 h 6698675"/>
              <a:gd name="connsiteX8600" fmla="*/ 5766234 w 8267681"/>
              <a:gd name="connsiteY8600" fmla="*/ 2362860 h 6698675"/>
              <a:gd name="connsiteX8601" fmla="*/ 5759187 w 8267681"/>
              <a:gd name="connsiteY8601" fmla="*/ 2369902 h 6698675"/>
              <a:gd name="connsiteX8602" fmla="*/ 5770931 w 8267681"/>
              <a:gd name="connsiteY8602" fmla="*/ 2369902 h 6698675"/>
              <a:gd name="connsiteX8603" fmla="*/ 6987597 w 8267681"/>
              <a:gd name="connsiteY8603" fmla="*/ 2355818 h 6698675"/>
              <a:gd name="connsiteX8604" fmla="*/ 6996992 w 8267681"/>
              <a:gd name="connsiteY8604" fmla="*/ 2365209 h 6698675"/>
              <a:gd name="connsiteX8605" fmla="*/ 6987597 w 8267681"/>
              <a:gd name="connsiteY8605" fmla="*/ 2355818 h 6698675"/>
              <a:gd name="connsiteX8606" fmla="*/ 5813209 w 8267681"/>
              <a:gd name="connsiteY8606" fmla="*/ 2353460 h 6698675"/>
              <a:gd name="connsiteX8607" fmla="*/ 5803814 w 8267681"/>
              <a:gd name="connsiteY8607" fmla="*/ 2358160 h 6698675"/>
              <a:gd name="connsiteX8608" fmla="*/ 5810861 w 8267681"/>
              <a:gd name="connsiteY8608" fmla="*/ 2365204 h 6698675"/>
              <a:gd name="connsiteX8609" fmla="*/ 3587814 w 8267681"/>
              <a:gd name="connsiteY8609" fmla="*/ 2351956 h 6698675"/>
              <a:gd name="connsiteX8610" fmla="*/ 3581868 w 8267681"/>
              <a:gd name="connsiteY8610" fmla="*/ 2362860 h 6698675"/>
              <a:gd name="connsiteX8611" fmla="*/ 3587814 w 8267681"/>
              <a:gd name="connsiteY8611" fmla="*/ 2351956 h 6698675"/>
              <a:gd name="connsiteX8612" fmla="*/ 4420382 w 8267681"/>
              <a:gd name="connsiteY8612" fmla="*/ 2351110 h 6698675"/>
              <a:gd name="connsiteX8613" fmla="*/ 4462660 w 8267681"/>
              <a:gd name="connsiteY8613" fmla="*/ 2395738 h 6698675"/>
              <a:gd name="connsiteX8614" fmla="*/ 4420382 w 8267681"/>
              <a:gd name="connsiteY8614" fmla="*/ 2351110 h 6698675"/>
              <a:gd name="connsiteX8615" fmla="*/ 1242503 w 8267681"/>
              <a:gd name="connsiteY8615" fmla="*/ 2346447 h 6698675"/>
              <a:gd name="connsiteX8616" fmla="*/ 1287130 w 8267681"/>
              <a:gd name="connsiteY8616" fmla="*/ 2376984 h 6698675"/>
              <a:gd name="connsiteX8617" fmla="*/ 1273036 w 8267681"/>
              <a:gd name="connsiteY8617" fmla="*/ 2381683 h 6698675"/>
              <a:gd name="connsiteX8618" fmla="*/ 1240154 w 8267681"/>
              <a:gd name="connsiteY8618" fmla="*/ 2376984 h 6698675"/>
              <a:gd name="connsiteX8619" fmla="*/ 1219016 w 8267681"/>
              <a:gd name="connsiteY8619" fmla="*/ 2367590 h 6698675"/>
              <a:gd name="connsiteX8620" fmla="*/ 1242503 w 8267681"/>
              <a:gd name="connsiteY8620" fmla="*/ 2351139 h 6698675"/>
              <a:gd name="connsiteX8621" fmla="*/ 1242503 w 8267681"/>
              <a:gd name="connsiteY8621" fmla="*/ 2346447 h 6698675"/>
              <a:gd name="connsiteX8622" fmla="*/ 5754490 w 8267681"/>
              <a:gd name="connsiteY8622" fmla="*/ 2346420 h 6698675"/>
              <a:gd name="connsiteX8623" fmla="*/ 5754490 w 8267681"/>
              <a:gd name="connsiteY8623" fmla="*/ 2351110 h 6698675"/>
              <a:gd name="connsiteX8624" fmla="*/ 5754717 w 8267681"/>
              <a:gd name="connsiteY8624" fmla="*/ 2351856 h 6698675"/>
              <a:gd name="connsiteX8625" fmla="*/ 5754784 w 8267681"/>
              <a:gd name="connsiteY8625" fmla="*/ 2353460 h 6698675"/>
              <a:gd name="connsiteX8626" fmla="*/ 5756666 w 8267681"/>
              <a:gd name="connsiteY8626" fmla="*/ 2359915 h 6698675"/>
              <a:gd name="connsiteX8627" fmla="*/ 5756839 w 8267681"/>
              <a:gd name="connsiteY8627" fmla="*/ 2362860 h 6698675"/>
              <a:gd name="connsiteX8628" fmla="*/ 5756839 w 8267681"/>
              <a:gd name="connsiteY8628" fmla="*/ 2360508 h 6698675"/>
              <a:gd name="connsiteX8629" fmla="*/ 5756666 w 8267681"/>
              <a:gd name="connsiteY8629" fmla="*/ 2359915 h 6698675"/>
              <a:gd name="connsiteX8630" fmla="*/ 5756546 w 8267681"/>
              <a:gd name="connsiteY8630" fmla="*/ 2357866 h 6698675"/>
              <a:gd name="connsiteX8631" fmla="*/ 5754717 w 8267681"/>
              <a:gd name="connsiteY8631" fmla="*/ 2351856 h 6698675"/>
              <a:gd name="connsiteX8632" fmla="*/ 1031098 w 8267681"/>
              <a:gd name="connsiteY8632" fmla="*/ 2346420 h 6698675"/>
              <a:gd name="connsiteX8633" fmla="*/ 1031098 w 8267681"/>
              <a:gd name="connsiteY8633" fmla="*/ 2353458 h 6698675"/>
              <a:gd name="connsiteX8634" fmla="*/ 1033447 w 8267681"/>
              <a:gd name="connsiteY8634" fmla="*/ 2358160 h 6698675"/>
              <a:gd name="connsiteX8635" fmla="*/ 1038146 w 8267681"/>
              <a:gd name="connsiteY8635" fmla="*/ 2362860 h 6698675"/>
              <a:gd name="connsiteX8636" fmla="*/ 1045190 w 8267681"/>
              <a:gd name="connsiteY8636" fmla="*/ 2358160 h 6698675"/>
              <a:gd name="connsiteX8637" fmla="*/ 1049888 w 8267681"/>
              <a:gd name="connsiteY8637" fmla="*/ 2346420 h 6698675"/>
              <a:gd name="connsiteX8638" fmla="*/ 1040496 w 8267681"/>
              <a:gd name="connsiteY8638" fmla="*/ 2346420 h 6698675"/>
              <a:gd name="connsiteX8639" fmla="*/ 5721607 w 8267681"/>
              <a:gd name="connsiteY8639" fmla="*/ 2344071 h 6698675"/>
              <a:gd name="connsiteX8640" fmla="*/ 5721607 w 8267681"/>
              <a:gd name="connsiteY8640" fmla="*/ 2353460 h 6698675"/>
              <a:gd name="connsiteX8641" fmla="*/ 5721607 w 8267681"/>
              <a:gd name="connsiteY8641" fmla="*/ 2365204 h 6698675"/>
              <a:gd name="connsiteX8642" fmla="*/ 5723956 w 8267681"/>
              <a:gd name="connsiteY8642" fmla="*/ 2367559 h 6698675"/>
              <a:gd name="connsiteX8643" fmla="*/ 5726304 w 8267681"/>
              <a:gd name="connsiteY8643" fmla="*/ 2365204 h 6698675"/>
              <a:gd name="connsiteX8644" fmla="*/ 5726304 w 8267681"/>
              <a:gd name="connsiteY8644" fmla="*/ 2358160 h 6698675"/>
              <a:gd name="connsiteX8645" fmla="*/ 5721607 w 8267681"/>
              <a:gd name="connsiteY8645" fmla="*/ 2344071 h 6698675"/>
              <a:gd name="connsiteX8646" fmla="*/ 6008156 w 8267681"/>
              <a:gd name="connsiteY8646" fmla="*/ 2339377 h 6698675"/>
              <a:gd name="connsiteX8647" fmla="*/ 5890717 w 8267681"/>
              <a:gd name="connsiteY8647" fmla="*/ 2564877 h 6698675"/>
              <a:gd name="connsiteX8648" fmla="*/ 5893066 w 8267681"/>
              <a:gd name="connsiteY8648" fmla="*/ 2541387 h 6698675"/>
              <a:gd name="connsiteX8649" fmla="*/ 6008156 w 8267681"/>
              <a:gd name="connsiteY8649" fmla="*/ 2339377 h 6698675"/>
              <a:gd name="connsiteX8650" fmla="*/ 1216666 w 8267681"/>
              <a:gd name="connsiteY8650" fmla="*/ 2329996 h 6698675"/>
              <a:gd name="connsiteX8651" fmla="*/ 1237804 w 8267681"/>
              <a:gd name="connsiteY8651" fmla="*/ 2341748 h 6698675"/>
              <a:gd name="connsiteX8652" fmla="*/ 1226060 w 8267681"/>
              <a:gd name="connsiteY8652" fmla="*/ 2346447 h 6698675"/>
              <a:gd name="connsiteX8653" fmla="*/ 1211966 w 8267681"/>
              <a:gd name="connsiteY8653" fmla="*/ 2334698 h 6698675"/>
              <a:gd name="connsiteX8654" fmla="*/ 1216666 w 8267681"/>
              <a:gd name="connsiteY8654" fmla="*/ 2329996 h 6698675"/>
              <a:gd name="connsiteX8655" fmla="*/ 5796768 w 8267681"/>
              <a:gd name="connsiteY8655" fmla="*/ 2327617 h 6698675"/>
              <a:gd name="connsiteX8656" fmla="*/ 5792070 w 8267681"/>
              <a:gd name="connsiteY8656" fmla="*/ 2337017 h 6698675"/>
              <a:gd name="connsiteX8657" fmla="*/ 5799117 w 8267681"/>
              <a:gd name="connsiteY8657" fmla="*/ 2337017 h 6698675"/>
              <a:gd name="connsiteX8658" fmla="*/ 5799117 w 8267681"/>
              <a:gd name="connsiteY8658" fmla="*/ 2344071 h 6698675"/>
              <a:gd name="connsiteX8659" fmla="*/ 5806163 w 8267681"/>
              <a:gd name="connsiteY8659" fmla="*/ 2337017 h 6698675"/>
              <a:gd name="connsiteX8660" fmla="*/ 5799117 w 8267681"/>
              <a:gd name="connsiteY8660" fmla="*/ 2337017 h 6698675"/>
              <a:gd name="connsiteX8661" fmla="*/ 4770350 w 8267681"/>
              <a:gd name="connsiteY8661" fmla="*/ 2325277 h 6698675"/>
              <a:gd name="connsiteX8662" fmla="*/ 4770350 w 8267681"/>
              <a:gd name="connsiteY8662" fmla="*/ 2329971 h 6698675"/>
              <a:gd name="connsiteX8663" fmla="*/ 4770351 w 8267681"/>
              <a:gd name="connsiteY8663" fmla="*/ 2329968 h 6698675"/>
              <a:gd name="connsiteX8664" fmla="*/ 4770351 w 8267681"/>
              <a:gd name="connsiteY8664" fmla="*/ 2325277 h 6698675"/>
              <a:gd name="connsiteX8665" fmla="*/ 1947121 w 8267681"/>
              <a:gd name="connsiteY8665" fmla="*/ 2325277 h 6698675"/>
              <a:gd name="connsiteX8666" fmla="*/ 1935378 w 8267681"/>
              <a:gd name="connsiteY8666" fmla="*/ 2327617 h 6698675"/>
              <a:gd name="connsiteX8667" fmla="*/ 1876658 w 8267681"/>
              <a:gd name="connsiteY8667" fmla="*/ 2348763 h 6698675"/>
              <a:gd name="connsiteX8668" fmla="*/ 1853173 w 8267681"/>
              <a:gd name="connsiteY8668" fmla="*/ 2358160 h 6698675"/>
              <a:gd name="connsiteX8669" fmla="*/ 1855519 w 8267681"/>
              <a:gd name="connsiteY8669" fmla="*/ 2360508 h 6698675"/>
              <a:gd name="connsiteX8670" fmla="*/ 1879008 w 8267681"/>
              <a:gd name="connsiteY8670" fmla="*/ 2367555 h 6698675"/>
              <a:gd name="connsiteX8671" fmla="*/ 1879008 w 8267681"/>
              <a:gd name="connsiteY8671" fmla="*/ 2379300 h 6698675"/>
              <a:gd name="connsiteX8672" fmla="*/ 1876658 w 8267681"/>
              <a:gd name="connsiteY8672" fmla="*/ 2383997 h 6698675"/>
              <a:gd name="connsiteX8673" fmla="*/ 1886053 w 8267681"/>
              <a:gd name="connsiteY8673" fmla="*/ 2388703 h 6698675"/>
              <a:gd name="connsiteX8674" fmla="*/ 1890751 w 8267681"/>
              <a:gd name="connsiteY8674" fmla="*/ 2391043 h 6698675"/>
              <a:gd name="connsiteX8675" fmla="*/ 1897797 w 8267681"/>
              <a:gd name="connsiteY8675" fmla="*/ 2393386 h 6698675"/>
              <a:gd name="connsiteX8676" fmla="*/ 1904843 w 8267681"/>
              <a:gd name="connsiteY8676" fmla="*/ 2379300 h 6698675"/>
              <a:gd name="connsiteX8677" fmla="*/ 1895451 w 8267681"/>
              <a:gd name="connsiteY8677" fmla="*/ 2374600 h 6698675"/>
              <a:gd name="connsiteX8678" fmla="*/ 1895451 w 8267681"/>
              <a:gd name="connsiteY8678" fmla="*/ 2362860 h 6698675"/>
              <a:gd name="connsiteX8679" fmla="*/ 1914238 w 8267681"/>
              <a:gd name="connsiteY8679" fmla="*/ 2379300 h 6698675"/>
              <a:gd name="connsiteX8680" fmla="*/ 1930680 w 8267681"/>
              <a:gd name="connsiteY8680" fmla="*/ 2395738 h 6698675"/>
              <a:gd name="connsiteX8681" fmla="*/ 1921286 w 8267681"/>
              <a:gd name="connsiteY8681" fmla="*/ 2402786 h 6698675"/>
              <a:gd name="connsiteX8682" fmla="*/ 1911894 w 8267681"/>
              <a:gd name="connsiteY8682" fmla="*/ 2402786 h 6698675"/>
              <a:gd name="connsiteX8683" fmla="*/ 1902495 w 8267681"/>
              <a:gd name="connsiteY8683" fmla="*/ 2405140 h 6698675"/>
              <a:gd name="connsiteX8684" fmla="*/ 1928331 w 8267681"/>
              <a:gd name="connsiteY8684" fmla="*/ 2407487 h 6698675"/>
              <a:gd name="connsiteX8685" fmla="*/ 1949471 w 8267681"/>
              <a:gd name="connsiteY8685" fmla="*/ 2369902 h 6698675"/>
              <a:gd name="connsiteX8686" fmla="*/ 1949471 w 8267681"/>
              <a:gd name="connsiteY8686" fmla="*/ 2355809 h 6698675"/>
              <a:gd name="connsiteX8687" fmla="*/ 1949471 w 8267681"/>
              <a:gd name="connsiteY8687" fmla="*/ 2339369 h 6698675"/>
              <a:gd name="connsiteX8688" fmla="*/ 1947121 w 8267681"/>
              <a:gd name="connsiteY8688" fmla="*/ 2325277 h 6698675"/>
              <a:gd name="connsiteX8689" fmla="*/ 530826 w 8267681"/>
              <a:gd name="connsiteY8689" fmla="*/ 2320629 h 6698675"/>
              <a:gd name="connsiteX8690" fmla="*/ 537872 w 8267681"/>
              <a:gd name="connsiteY8690" fmla="*/ 2325313 h 6698675"/>
              <a:gd name="connsiteX8691" fmla="*/ 530826 w 8267681"/>
              <a:gd name="connsiteY8691" fmla="*/ 2330004 h 6698675"/>
              <a:gd name="connsiteX8692" fmla="*/ 526130 w 8267681"/>
              <a:gd name="connsiteY8692" fmla="*/ 2325313 h 6698675"/>
              <a:gd name="connsiteX8693" fmla="*/ 3684774 w 8267681"/>
              <a:gd name="connsiteY8693" fmla="*/ 2314383 h 6698675"/>
              <a:gd name="connsiteX8694" fmla="*/ 3657029 w 8267681"/>
              <a:gd name="connsiteY8694" fmla="*/ 2346420 h 6698675"/>
              <a:gd name="connsiteX8695" fmla="*/ 3699307 w 8267681"/>
              <a:gd name="connsiteY8695" fmla="*/ 2322938 h 6698675"/>
              <a:gd name="connsiteX8696" fmla="*/ 3684774 w 8267681"/>
              <a:gd name="connsiteY8696" fmla="*/ 2314383 h 6698675"/>
              <a:gd name="connsiteX8697" fmla="*/ 4016392 w 8267681"/>
              <a:gd name="connsiteY8697" fmla="*/ 2297103 h 6698675"/>
              <a:gd name="connsiteX8698" fmla="*/ 3976463 w 8267681"/>
              <a:gd name="connsiteY8698" fmla="*/ 2341718 h 6698675"/>
              <a:gd name="connsiteX8699" fmla="*/ 4016392 w 8267681"/>
              <a:gd name="connsiteY8699" fmla="*/ 2297103 h 6698675"/>
              <a:gd name="connsiteX8700" fmla="*/ 1855519 w 8267681"/>
              <a:gd name="connsiteY8700" fmla="*/ 2297103 h 6698675"/>
              <a:gd name="connsiteX8701" fmla="*/ 1834380 w 8267681"/>
              <a:gd name="connsiteY8701" fmla="*/ 2329971 h 6698675"/>
              <a:gd name="connsiteX8702" fmla="*/ 1855519 w 8267681"/>
              <a:gd name="connsiteY8702" fmla="*/ 2297103 h 6698675"/>
              <a:gd name="connsiteX8703" fmla="*/ 4857255 w 8267681"/>
              <a:gd name="connsiteY8703" fmla="*/ 2294748 h 6698675"/>
              <a:gd name="connsiteX8704" fmla="*/ 4859604 w 8267681"/>
              <a:gd name="connsiteY8704" fmla="*/ 2299444 h 6698675"/>
              <a:gd name="connsiteX8705" fmla="*/ 4861953 w 8267681"/>
              <a:gd name="connsiteY8705" fmla="*/ 2297102 h 6698675"/>
              <a:gd name="connsiteX8706" fmla="*/ 4857255 w 8267681"/>
              <a:gd name="connsiteY8706" fmla="*/ 2294748 h 6698675"/>
              <a:gd name="connsiteX8707" fmla="*/ 6904557 w 8267681"/>
              <a:gd name="connsiteY8707" fmla="*/ 2287892 h 6698675"/>
              <a:gd name="connsiteX8708" fmla="*/ 6907739 w 8267681"/>
              <a:gd name="connsiteY8708" fmla="*/ 2290056 h 6698675"/>
              <a:gd name="connsiteX8709" fmla="*/ 6966459 w 8267681"/>
              <a:gd name="connsiteY8709" fmla="*/ 2339379 h 6698675"/>
              <a:gd name="connsiteX8710" fmla="*/ 6980552 w 8267681"/>
              <a:gd name="connsiteY8710" fmla="*/ 2351117 h 6698675"/>
              <a:gd name="connsiteX8711" fmla="*/ 5803814 w 8267681"/>
              <a:gd name="connsiteY8711" fmla="*/ 2287702 h 6698675"/>
              <a:gd name="connsiteX8712" fmla="*/ 5796768 w 8267681"/>
              <a:gd name="connsiteY8712" fmla="*/ 2294748 h 6698675"/>
              <a:gd name="connsiteX8713" fmla="*/ 5804989 w 8267681"/>
              <a:gd name="connsiteY8713" fmla="*/ 2297491 h 6698675"/>
              <a:gd name="connsiteX8714" fmla="*/ 5803814 w 8267681"/>
              <a:gd name="connsiteY8714" fmla="*/ 2299444 h 6698675"/>
              <a:gd name="connsiteX8715" fmla="*/ 5810196 w 8267681"/>
              <a:gd name="connsiteY8715" fmla="*/ 2300503 h 6698675"/>
              <a:gd name="connsiteX8716" fmla="*/ 5806457 w 8267681"/>
              <a:gd name="connsiteY8716" fmla="*/ 2306488 h 6698675"/>
              <a:gd name="connsiteX8717" fmla="*/ 5796768 w 8267681"/>
              <a:gd name="connsiteY8717" fmla="*/ 2306488 h 6698675"/>
              <a:gd name="connsiteX8718" fmla="*/ 5796768 w 8267681"/>
              <a:gd name="connsiteY8718" fmla="*/ 2308840 h 6698675"/>
              <a:gd name="connsiteX8719" fmla="*/ 5810861 w 8267681"/>
              <a:gd name="connsiteY8719" fmla="*/ 2313539 h 6698675"/>
              <a:gd name="connsiteX8720" fmla="*/ 5796768 w 8267681"/>
              <a:gd name="connsiteY8720" fmla="*/ 2322938 h 6698675"/>
              <a:gd name="connsiteX8721" fmla="*/ 5806163 w 8267681"/>
              <a:gd name="connsiteY8721" fmla="*/ 2322938 h 6698675"/>
              <a:gd name="connsiteX8722" fmla="*/ 5815558 w 8267681"/>
              <a:gd name="connsiteY8722" fmla="*/ 2313539 h 6698675"/>
              <a:gd name="connsiteX8723" fmla="*/ 5815558 w 8267681"/>
              <a:gd name="connsiteY8723" fmla="*/ 2311192 h 6698675"/>
              <a:gd name="connsiteX8724" fmla="*/ 5817907 w 8267681"/>
              <a:gd name="connsiteY8724" fmla="*/ 2301787 h 6698675"/>
              <a:gd name="connsiteX8725" fmla="*/ 5810196 w 8267681"/>
              <a:gd name="connsiteY8725" fmla="*/ 2300503 h 6698675"/>
              <a:gd name="connsiteX8726" fmla="*/ 5810861 w 8267681"/>
              <a:gd name="connsiteY8726" fmla="*/ 2299444 h 6698675"/>
              <a:gd name="connsiteX8727" fmla="*/ 5804989 w 8267681"/>
              <a:gd name="connsiteY8727" fmla="*/ 2297491 h 6698675"/>
              <a:gd name="connsiteX8728" fmla="*/ 5807338 w 8267681"/>
              <a:gd name="connsiteY8728" fmla="*/ 2293572 h 6698675"/>
              <a:gd name="connsiteX8729" fmla="*/ 5803814 w 8267681"/>
              <a:gd name="connsiteY8729" fmla="*/ 2287702 h 6698675"/>
              <a:gd name="connsiteX8730" fmla="*/ 4892487 w 8267681"/>
              <a:gd name="connsiteY8730" fmla="*/ 2287702 h 6698675"/>
              <a:gd name="connsiteX8731" fmla="*/ 4892487 w 8267681"/>
              <a:gd name="connsiteY8731" fmla="*/ 2292397 h 6698675"/>
              <a:gd name="connsiteX8732" fmla="*/ 4899533 w 8267681"/>
              <a:gd name="connsiteY8732" fmla="*/ 2292397 h 6698675"/>
              <a:gd name="connsiteX8733" fmla="*/ 4897184 w 8267681"/>
              <a:gd name="connsiteY8733" fmla="*/ 2287702 h 6698675"/>
              <a:gd name="connsiteX8734" fmla="*/ 4892487 w 8267681"/>
              <a:gd name="connsiteY8734" fmla="*/ 2287702 h 6698675"/>
              <a:gd name="connsiteX8735" fmla="*/ 4731596 w 8267681"/>
              <a:gd name="connsiteY8735" fmla="*/ 2284176 h 6698675"/>
              <a:gd name="connsiteX8736" fmla="*/ 4725723 w 8267681"/>
              <a:gd name="connsiteY8736" fmla="*/ 2285352 h 6698675"/>
              <a:gd name="connsiteX8737" fmla="*/ 4737467 w 8267681"/>
              <a:gd name="connsiteY8737" fmla="*/ 2290047 h 6698675"/>
              <a:gd name="connsiteX8738" fmla="*/ 4731596 w 8267681"/>
              <a:gd name="connsiteY8738" fmla="*/ 2284176 h 6698675"/>
              <a:gd name="connsiteX8739" fmla="*/ 3947325 w 8267681"/>
              <a:gd name="connsiteY8739" fmla="*/ 2282449 h 6698675"/>
              <a:gd name="connsiteX8740" fmla="*/ 3950626 w 8267681"/>
              <a:gd name="connsiteY8740" fmla="*/ 2290047 h 6698675"/>
              <a:gd name="connsiteX8741" fmla="*/ 3947325 w 8267681"/>
              <a:gd name="connsiteY8741" fmla="*/ 2282449 h 6698675"/>
              <a:gd name="connsiteX8742" fmla="*/ 6894686 w 8267681"/>
              <a:gd name="connsiteY8742" fmla="*/ 2281178 h 6698675"/>
              <a:gd name="connsiteX8743" fmla="*/ 6903628 w 8267681"/>
              <a:gd name="connsiteY8743" fmla="*/ 2287117 h 6698675"/>
              <a:gd name="connsiteX8744" fmla="*/ 6904557 w 8267681"/>
              <a:gd name="connsiteY8744" fmla="*/ 2287892 h 6698675"/>
              <a:gd name="connsiteX8745" fmla="*/ 4873697 w 8267681"/>
              <a:gd name="connsiteY8745" fmla="*/ 2278306 h 6698675"/>
              <a:gd name="connsiteX8746" fmla="*/ 4871348 w 8267681"/>
              <a:gd name="connsiteY8746" fmla="*/ 2282998 h 6698675"/>
              <a:gd name="connsiteX8747" fmla="*/ 4873697 w 8267681"/>
              <a:gd name="connsiteY8747" fmla="*/ 2282998 h 6698675"/>
              <a:gd name="connsiteX8748" fmla="*/ 4873697 w 8267681"/>
              <a:gd name="connsiteY8748" fmla="*/ 2290048 h 6698675"/>
              <a:gd name="connsiteX8749" fmla="*/ 4868999 w 8267681"/>
              <a:gd name="connsiteY8749" fmla="*/ 2290048 h 6698675"/>
              <a:gd name="connsiteX8750" fmla="*/ 4873697 w 8267681"/>
              <a:gd name="connsiteY8750" fmla="*/ 2292397 h 6698675"/>
              <a:gd name="connsiteX8751" fmla="*/ 4876046 w 8267681"/>
              <a:gd name="connsiteY8751" fmla="*/ 2292397 h 6698675"/>
              <a:gd name="connsiteX8752" fmla="*/ 4876046 w 8267681"/>
              <a:gd name="connsiteY8752" fmla="*/ 2294748 h 6698675"/>
              <a:gd name="connsiteX8753" fmla="*/ 4883092 w 8267681"/>
              <a:gd name="connsiteY8753" fmla="*/ 2290048 h 6698675"/>
              <a:gd name="connsiteX8754" fmla="*/ 4887790 w 8267681"/>
              <a:gd name="connsiteY8754" fmla="*/ 2285352 h 6698675"/>
              <a:gd name="connsiteX8755" fmla="*/ 4876046 w 8267681"/>
              <a:gd name="connsiteY8755" fmla="*/ 2280654 h 6698675"/>
              <a:gd name="connsiteX8756" fmla="*/ 4873697 w 8267681"/>
              <a:gd name="connsiteY8756" fmla="*/ 2278306 h 6698675"/>
              <a:gd name="connsiteX8757" fmla="*/ 1005277 w 8267681"/>
              <a:gd name="connsiteY8757" fmla="*/ 2273626 h 6698675"/>
              <a:gd name="connsiteX8758" fmla="*/ 1012321 w 8267681"/>
              <a:gd name="connsiteY8758" fmla="*/ 2275977 h 6698675"/>
              <a:gd name="connsiteX8759" fmla="*/ 1017020 w 8267681"/>
              <a:gd name="connsiteY8759" fmla="*/ 2280675 h 6698675"/>
              <a:gd name="connsiteX8760" fmla="*/ 1012321 w 8267681"/>
              <a:gd name="connsiteY8760" fmla="*/ 2285374 h 6698675"/>
              <a:gd name="connsiteX8761" fmla="*/ 1005277 w 8267681"/>
              <a:gd name="connsiteY8761" fmla="*/ 2285374 h 6698675"/>
              <a:gd name="connsiteX8762" fmla="*/ 1000577 w 8267681"/>
              <a:gd name="connsiteY8762" fmla="*/ 2280675 h 6698675"/>
              <a:gd name="connsiteX8763" fmla="*/ 4845511 w 8267681"/>
              <a:gd name="connsiteY8763" fmla="*/ 2271258 h 6698675"/>
              <a:gd name="connsiteX8764" fmla="*/ 4840814 w 8267681"/>
              <a:gd name="connsiteY8764" fmla="*/ 2275956 h 6698675"/>
              <a:gd name="connsiteX8765" fmla="*/ 4836116 w 8267681"/>
              <a:gd name="connsiteY8765" fmla="*/ 2290048 h 6698675"/>
              <a:gd name="connsiteX8766" fmla="*/ 4831419 w 8267681"/>
              <a:gd name="connsiteY8766" fmla="*/ 2292397 h 6698675"/>
              <a:gd name="connsiteX8767" fmla="*/ 4831419 w 8267681"/>
              <a:gd name="connsiteY8767" fmla="*/ 2290048 h 6698675"/>
              <a:gd name="connsiteX8768" fmla="*/ 4833475 w 8267681"/>
              <a:gd name="connsiteY8768" fmla="*/ 2282998 h 6698675"/>
              <a:gd name="connsiteX8769" fmla="*/ 4833572 w 8267681"/>
              <a:gd name="connsiteY8769" fmla="*/ 2280657 h 6698675"/>
              <a:gd name="connsiteX8770" fmla="*/ 4830279 w 8267681"/>
              <a:gd name="connsiteY8770" fmla="*/ 2280698 h 6698675"/>
              <a:gd name="connsiteX8771" fmla="*/ 4822024 w 8267681"/>
              <a:gd name="connsiteY8771" fmla="*/ 2308840 h 6698675"/>
              <a:gd name="connsiteX8772" fmla="*/ 4824373 w 8267681"/>
              <a:gd name="connsiteY8772" fmla="*/ 2315889 h 6698675"/>
              <a:gd name="connsiteX8773" fmla="*/ 4826721 w 8267681"/>
              <a:gd name="connsiteY8773" fmla="*/ 2311192 h 6698675"/>
              <a:gd name="connsiteX8774" fmla="*/ 4829070 w 8267681"/>
              <a:gd name="connsiteY8774" fmla="*/ 2320594 h 6698675"/>
              <a:gd name="connsiteX8775" fmla="*/ 4833768 w 8267681"/>
              <a:gd name="connsiteY8775" fmla="*/ 2322938 h 6698675"/>
              <a:gd name="connsiteX8776" fmla="*/ 4836116 w 8267681"/>
              <a:gd name="connsiteY8776" fmla="*/ 2322938 h 6698675"/>
              <a:gd name="connsiteX8777" fmla="*/ 4838465 w 8267681"/>
              <a:gd name="connsiteY8777" fmla="*/ 2339369 h 6698675"/>
              <a:gd name="connsiteX8778" fmla="*/ 4843163 w 8267681"/>
              <a:gd name="connsiteY8778" fmla="*/ 2348763 h 6698675"/>
              <a:gd name="connsiteX8779" fmla="*/ 4847860 w 8267681"/>
              <a:gd name="connsiteY8779" fmla="*/ 2348763 h 6698675"/>
              <a:gd name="connsiteX8780" fmla="*/ 4852558 w 8267681"/>
              <a:gd name="connsiteY8780" fmla="*/ 2353460 h 6698675"/>
              <a:gd name="connsiteX8781" fmla="*/ 4852558 w 8267681"/>
              <a:gd name="connsiteY8781" fmla="*/ 2351110 h 6698675"/>
              <a:gd name="connsiteX8782" fmla="*/ 4854907 w 8267681"/>
              <a:gd name="connsiteY8782" fmla="*/ 2344071 h 6698675"/>
              <a:gd name="connsiteX8783" fmla="*/ 4857255 w 8267681"/>
              <a:gd name="connsiteY8783" fmla="*/ 2344071 h 6698675"/>
              <a:gd name="connsiteX8784" fmla="*/ 4859604 w 8267681"/>
              <a:gd name="connsiteY8784" fmla="*/ 2355810 h 6698675"/>
              <a:gd name="connsiteX8785" fmla="*/ 4859604 w 8267681"/>
              <a:gd name="connsiteY8785" fmla="*/ 2374601 h 6698675"/>
              <a:gd name="connsiteX8786" fmla="*/ 4854907 w 8267681"/>
              <a:gd name="connsiteY8786" fmla="*/ 2386351 h 6698675"/>
              <a:gd name="connsiteX8787" fmla="*/ 4852558 w 8267681"/>
              <a:gd name="connsiteY8787" fmla="*/ 2388703 h 6698675"/>
              <a:gd name="connsiteX8788" fmla="*/ 4850209 w 8267681"/>
              <a:gd name="connsiteY8788" fmla="*/ 2400440 h 6698675"/>
              <a:gd name="connsiteX8789" fmla="*/ 4852558 w 8267681"/>
              <a:gd name="connsiteY8789" fmla="*/ 2412180 h 6698675"/>
              <a:gd name="connsiteX8790" fmla="*/ 4847860 w 8267681"/>
              <a:gd name="connsiteY8790" fmla="*/ 2419226 h 6698675"/>
              <a:gd name="connsiteX8791" fmla="*/ 4850209 w 8267681"/>
              <a:gd name="connsiteY8791" fmla="*/ 2428624 h 6698675"/>
              <a:gd name="connsiteX8792" fmla="*/ 4866651 w 8267681"/>
              <a:gd name="connsiteY8792" fmla="*/ 2468554 h 6698675"/>
              <a:gd name="connsiteX8793" fmla="*/ 4866651 w 8267681"/>
              <a:gd name="connsiteY8793" fmla="*/ 2473252 h 6698675"/>
              <a:gd name="connsiteX8794" fmla="*/ 4887790 w 8267681"/>
              <a:gd name="connsiteY8794" fmla="*/ 2501440 h 6698675"/>
              <a:gd name="connsiteX8795" fmla="*/ 4890138 w 8267681"/>
              <a:gd name="connsiteY8795" fmla="*/ 2517883 h 6698675"/>
              <a:gd name="connsiteX8796" fmla="*/ 4890138 w 8267681"/>
              <a:gd name="connsiteY8796" fmla="*/ 2520231 h 6698675"/>
              <a:gd name="connsiteX8797" fmla="*/ 4890138 w 8267681"/>
              <a:gd name="connsiteY8797" fmla="*/ 2534326 h 6698675"/>
              <a:gd name="connsiteX8798" fmla="*/ 4890138 w 8267681"/>
              <a:gd name="connsiteY8798" fmla="*/ 2536676 h 6698675"/>
              <a:gd name="connsiteX8799" fmla="*/ 4892487 w 8267681"/>
              <a:gd name="connsiteY8799" fmla="*/ 2562514 h 6698675"/>
              <a:gd name="connsiteX8800" fmla="*/ 4897184 w 8267681"/>
              <a:gd name="connsiteY8800" fmla="*/ 2602446 h 6698675"/>
              <a:gd name="connsiteX8801" fmla="*/ 4894836 w 8267681"/>
              <a:gd name="connsiteY8801" fmla="*/ 2602446 h 6698675"/>
              <a:gd name="connsiteX8802" fmla="*/ 4899533 w 8267681"/>
              <a:gd name="connsiteY8802" fmla="*/ 2607145 h 6698675"/>
              <a:gd name="connsiteX8803" fmla="*/ 4900048 w 8267681"/>
              <a:gd name="connsiteY8803" fmla="*/ 2609205 h 6698675"/>
              <a:gd name="connsiteX8804" fmla="*/ 4903056 w 8267681"/>
              <a:gd name="connsiteY8804" fmla="*/ 2611256 h 6698675"/>
              <a:gd name="connsiteX8805" fmla="*/ 4923021 w 8267681"/>
              <a:gd name="connsiteY8805" fmla="*/ 2623588 h 6698675"/>
              <a:gd name="connsiteX8806" fmla="*/ 4938002 w 8267681"/>
              <a:gd name="connsiteY8806" fmla="*/ 2641231 h 6698675"/>
              <a:gd name="connsiteX8807" fmla="*/ 4937114 w 8267681"/>
              <a:gd name="connsiteY8807" fmla="*/ 2637682 h 6698675"/>
              <a:gd name="connsiteX8808" fmla="*/ 4955904 w 8267681"/>
              <a:gd name="connsiteY8808" fmla="*/ 2628286 h 6698675"/>
              <a:gd name="connsiteX8809" fmla="*/ 4951206 w 8267681"/>
              <a:gd name="connsiteY8809" fmla="*/ 2623587 h 6698675"/>
              <a:gd name="connsiteX8810" fmla="*/ 4951206 w 8267681"/>
              <a:gd name="connsiteY8810" fmla="*/ 2616541 h 6698675"/>
              <a:gd name="connsiteX8811" fmla="*/ 4960602 w 8267681"/>
              <a:gd name="connsiteY8811" fmla="*/ 2618890 h 6698675"/>
              <a:gd name="connsiteX8812" fmla="*/ 4969997 w 8267681"/>
              <a:gd name="connsiteY8812" fmla="*/ 2611843 h 6698675"/>
              <a:gd name="connsiteX8813" fmla="*/ 4977043 w 8267681"/>
              <a:gd name="connsiteY8813" fmla="*/ 2602446 h 6698675"/>
              <a:gd name="connsiteX8814" fmla="*/ 4981741 w 8267681"/>
              <a:gd name="connsiteY8814" fmla="*/ 2588353 h 6698675"/>
              <a:gd name="connsiteX8815" fmla="*/ 4984090 w 8267681"/>
              <a:gd name="connsiteY8815" fmla="*/ 2569561 h 6698675"/>
              <a:gd name="connsiteX8816" fmla="*/ 4993485 w 8267681"/>
              <a:gd name="connsiteY8816" fmla="*/ 2557817 h 6698675"/>
              <a:gd name="connsiteX8817" fmla="*/ 4998182 w 8267681"/>
              <a:gd name="connsiteY8817" fmla="*/ 2557817 h 6698675"/>
              <a:gd name="connsiteX8818" fmla="*/ 5005228 w 8267681"/>
              <a:gd name="connsiteY8818" fmla="*/ 2553118 h 6698675"/>
              <a:gd name="connsiteX8819" fmla="*/ 5016972 w 8267681"/>
              <a:gd name="connsiteY8819" fmla="*/ 2553118 h 6698675"/>
              <a:gd name="connsiteX8820" fmla="*/ 5021670 w 8267681"/>
              <a:gd name="connsiteY8820" fmla="*/ 2546071 h 6698675"/>
              <a:gd name="connsiteX8821" fmla="*/ 5028716 w 8267681"/>
              <a:gd name="connsiteY8821" fmla="*/ 2527279 h 6698675"/>
              <a:gd name="connsiteX8822" fmla="*/ 5028716 w 8267681"/>
              <a:gd name="connsiteY8822" fmla="*/ 2520231 h 6698675"/>
              <a:gd name="connsiteX8823" fmla="*/ 5033414 w 8267681"/>
              <a:gd name="connsiteY8823" fmla="*/ 2506138 h 6698675"/>
              <a:gd name="connsiteX8824" fmla="*/ 5033414 w 8267681"/>
              <a:gd name="connsiteY8824" fmla="*/ 2475601 h 6698675"/>
              <a:gd name="connsiteX8825" fmla="*/ 5056902 w 8267681"/>
              <a:gd name="connsiteY8825" fmla="*/ 2438019 h 6698675"/>
              <a:gd name="connsiteX8826" fmla="*/ 5052204 w 8267681"/>
              <a:gd name="connsiteY8826" fmla="*/ 2421576 h 6698675"/>
              <a:gd name="connsiteX8827" fmla="*/ 5009926 w 8267681"/>
              <a:gd name="connsiteY8827" fmla="*/ 2405140 h 6698675"/>
              <a:gd name="connsiteX8828" fmla="*/ 5005228 w 8267681"/>
              <a:gd name="connsiteY8828" fmla="*/ 2402786 h 6698675"/>
              <a:gd name="connsiteX8829" fmla="*/ 5000531 w 8267681"/>
              <a:gd name="connsiteY8829" fmla="*/ 2405140 h 6698675"/>
              <a:gd name="connsiteX8830" fmla="*/ 4967648 w 8267681"/>
              <a:gd name="connsiteY8830" fmla="*/ 2388703 h 6698675"/>
              <a:gd name="connsiteX8831" fmla="*/ 4969997 w 8267681"/>
              <a:gd name="connsiteY8831" fmla="*/ 2381650 h 6698675"/>
              <a:gd name="connsiteX8832" fmla="*/ 4969997 w 8267681"/>
              <a:gd name="connsiteY8832" fmla="*/ 2379300 h 6698675"/>
              <a:gd name="connsiteX8833" fmla="*/ 4958253 w 8267681"/>
              <a:gd name="connsiteY8833" fmla="*/ 2355810 h 6698675"/>
              <a:gd name="connsiteX8834" fmla="*/ 4934765 w 8267681"/>
              <a:gd name="connsiteY8834" fmla="*/ 2348763 h 6698675"/>
              <a:gd name="connsiteX8835" fmla="*/ 4923021 w 8267681"/>
              <a:gd name="connsiteY8835" fmla="*/ 2334671 h 6698675"/>
              <a:gd name="connsiteX8836" fmla="*/ 4911277 w 8267681"/>
              <a:gd name="connsiteY8836" fmla="*/ 2322938 h 6698675"/>
              <a:gd name="connsiteX8837" fmla="*/ 4904231 w 8267681"/>
              <a:gd name="connsiteY8837" fmla="*/ 2322938 h 6698675"/>
              <a:gd name="connsiteX8838" fmla="*/ 4904231 w 8267681"/>
              <a:gd name="connsiteY8838" fmla="*/ 2325277 h 6698675"/>
              <a:gd name="connsiteX8839" fmla="*/ 4901882 w 8267681"/>
              <a:gd name="connsiteY8839" fmla="*/ 2325277 h 6698675"/>
              <a:gd name="connsiteX8840" fmla="*/ 4897184 w 8267681"/>
              <a:gd name="connsiteY8840" fmla="*/ 2322938 h 6698675"/>
              <a:gd name="connsiteX8841" fmla="*/ 4892487 w 8267681"/>
              <a:gd name="connsiteY8841" fmla="*/ 2325277 h 6698675"/>
              <a:gd name="connsiteX8842" fmla="*/ 4885441 w 8267681"/>
              <a:gd name="connsiteY8842" fmla="*/ 2315889 h 6698675"/>
              <a:gd name="connsiteX8843" fmla="*/ 4885441 w 8267681"/>
              <a:gd name="connsiteY8843" fmla="*/ 2320594 h 6698675"/>
              <a:gd name="connsiteX8844" fmla="*/ 4880743 w 8267681"/>
              <a:gd name="connsiteY8844" fmla="*/ 2322938 h 6698675"/>
              <a:gd name="connsiteX8845" fmla="*/ 4883092 w 8267681"/>
              <a:gd name="connsiteY8845" fmla="*/ 2315889 h 6698675"/>
              <a:gd name="connsiteX8846" fmla="*/ 4878395 w 8267681"/>
              <a:gd name="connsiteY8846" fmla="*/ 2313539 h 6698675"/>
              <a:gd name="connsiteX8847" fmla="*/ 4873697 w 8267681"/>
              <a:gd name="connsiteY8847" fmla="*/ 2320594 h 6698675"/>
              <a:gd name="connsiteX8848" fmla="*/ 4871348 w 8267681"/>
              <a:gd name="connsiteY8848" fmla="*/ 2320594 h 6698675"/>
              <a:gd name="connsiteX8849" fmla="*/ 4871348 w 8267681"/>
              <a:gd name="connsiteY8849" fmla="*/ 2322938 h 6698675"/>
              <a:gd name="connsiteX8850" fmla="*/ 4868999 w 8267681"/>
              <a:gd name="connsiteY8850" fmla="*/ 2322938 h 6698675"/>
              <a:gd name="connsiteX8851" fmla="*/ 4861953 w 8267681"/>
              <a:gd name="connsiteY8851" fmla="*/ 2339369 h 6698675"/>
              <a:gd name="connsiteX8852" fmla="*/ 4859604 w 8267681"/>
              <a:gd name="connsiteY8852" fmla="*/ 2334671 h 6698675"/>
              <a:gd name="connsiteX8853" fmla="*/ 4854907 w 8267681"/>
              <a:gd name="connsiteY8853" fmla="*/ 2334671 h 6698675"/>
              <a:gd name="connsiteX8854" fmla="*/ 4850209 w 8267681"/>
              <a:gd name="connsiteY8854" fmla="*/ 2339369 h 6698675"/>
              <a:gd name="connsiteX8855" fmla="*/ 4847860 w 8267681"/>
              <a:gd name="connsiteY8855" fmla="*/ 2304141 h 6698675"/>
              <a:gd name="connsiteX8856" fmla="*/ 4843163 w 8267681"/>
              <a:gd name="connsiteY8856" fmla="*/ 2301787 h 6698675"/>
              <a:gd name="connsiteX8857" fmla="*/ 4838465 w 8267681"/>
              <a:gd name="connsiteY8857" fmla="*/ 2304141 h 6698675"/>
              <a:gd name="connsiteX8858" fmla="*/ 4838465 w 8267681"/>
              <a:gd name="connsiteY8858" fmla="*/ 2301787 h 6698675"/>
              <a:gd name="connsiteX8859" fmla="*/ 4838465 w 8267681"/>
              <a:gd name="connsiteY8859" fmla="*/ 2297102 h 6698675"/>
              <a:gd name="connsiteX8860" fmla="*/ 4843163 w 8267681"/>
              <a:gd name="connsiteY8860" fmla="*/ 2278306 h 6698675"/>
              <a:gd name="connsiteX8861" fmla="*/ 4845511 w 8267681"/>
              <a:gd name="connsiteY8861" fmla="*/ 2273606 h 6698675"/>
              <a:gd name="connsiteX8862" fmla="*/ 4845511 w 8267681"/>
              <a:gd name="connsiteY8862" fmla="*/ 2271258 h 6698675"/>
              <a:gd name="connsiteX8863" fmla="*/ 4850797 w 8267681"/>
              <a:gd name="connsiteY8863" fmla="*/ 2270081 h 6698675"/>
              <a:gd name="connsiteX8864" fmla="*/ 4843163 w 8267681"/>
              <a:gd name="connsiteY8864" fmla="*/ 2280654 h 6698675"/>
              <a:gd name="connsiteX8865" fmla="*/ 4850209 w 8267681"/>
              <a:gd name="connsiteY8865" fmla="*/ 2273606 h 6698675"/>
              <a:gd name="connsiteX8866" fmla="*/ 4850209 w 8267681"/>
              <a:gd name="connsiteY8866" fmla="*/ 2275956 h 6698675"/>
              <a:gd name="connsiteX8867" fmla="*/ 4857255 w 8267681"/>
              <a:gd name="connsiteY8867" fmla="*/ 2278306 h 6698675"/>
              <a:gd name="connsiteX8868" fmla="*/ 4859604 w 8267681"/>
              <a:gd name="connsiteY8868" fmla="*/ 2282998 h 6698675"/>
              <a:gd name="connsiteX8869" fmla="*/ 4859604 w 8267681"/>
              <a:gd name="connsiteY8869" fmla="*/ 2287702 h 6698675"/>
              <a:gd name="connsiteX8870" fmla="*/ 4868999 w 8267681"/>
              <a:gd name="connsiteY8870" fmla="*/ 2285352 h 6698675"/>
              <a:gd name="connsiteX8871" fmla="*/ 4854907 w 8267681"/>
              <a:gd name="connsiteY8871" fmla="*/ 2273606 h 6698675"/>
              <a:gd name="connsiteX8872" fmla="*/ 4850797 w 8267681"/>
              <a:gd name="connsiteY8872" fmla="*/ 2270081 h 6698675"/>
              <a:gd name="connsiteX8873" fmla="*/ 3686389 w 8267681"/>
              <a:gd name="connsiteY8873" fmla="*/ 2266265 h 6698675"/>
              <a:gd name="connsiteX8874" fmla="*/ 3680517 w 8267681"/>
              <a:gd name="connsiteY8874" fmla="*/ 2266559 h 6698675"/>
              <a:gd name="connsiteX8875" fmla="*/ 3692261 w 8267681"/>
              <a:gd name="connsiteY8875" fmla="*/ 2271258 h 6698675"/>
              <a:gd name="connsiteX8876" fmla="*/ 3686389 w 8267681"/>
              <a:gd name="connsiteY8876" fmla="*/ 2266265 h 6698675"/>
              <a:gd name="connsiteX8877" fmla="*/ 4837844 w 8267681"/>
              <a:gd name="connsiteY8877" fmla="*/ 2254901 h 6698675"/>
              <a:gd name="connsiteX8878" fmla="*/ 4837287 w 8267681"/>
              <a:gd name="connsiteY8878" fmla="*/ 2254980 h 6698675"/>
              <a:gd name="connsiteX8879" fmla="*/ 4836116 w 8267681"/>
              <a:gd name="connsiteY8879" fmla="*/ 2259511 h 6698675"/>
              <a:gd name="connsiteX8880" fmla="*/ 4836116 w 8267681"/>
              <a:gd name="connsiteY8880" fmla="*/ 2260789 h 6698675"/>
              <a:gd name="connsiteX8881" fmla="*/ 4831463 w 8267681"/>
              <a:gd name="connsiteY8881" fmla="*/ 2276657 h 6698675"/>
              <a:gd name="connsiteX8882" fmla="*/ 4833586 w 8267681"/>
              <a:gd name="connsiteY8882" fmla="*/ 2280338 h 6698675"/>
              <a:gd name="connsiteX8883" fmla="*/ 4833768 w 8267681"/>
              <a:gd name="connsiteY8883" fmla="*/ 2275956 h 6698675"/>
              <a:gd name="connsiteX8884" fmla="*/ 4836116 w 8267681"/>
              <a:gd name="connsiteY8884" fmla="*/ 2264209 h 6698675"/>
              <a:gd name="connsiteX8885" fmla="*/ 4836116 w 8267681"/>
              <a:gd name="connsiteY8885" fmla="*/ 2260789 h 6698675"/>
              <a:gd name="connsiteX8886" fmla="*/ 6853717 w 8267681"/>
              <a:gd name="connsiteY8886" fmla="*/ 2252470 h 6698675"/>
              <a:gd name="connsiteX8887" fmla="*/ 6863112 w 8267681"/>
              <a:gd name="connsiteY8887" fmla="*/ 2259519 h 6698675"/>
              <a:gd name="connsiteX8888" fmla="*/ 6853717 w 8267681"/>
              <a:gd name="connsiteY8888" fmla="*/ 2252470 h 6698675"/>
              <a:gd name="connsiteX8889" fmla="*/ 5787373 w 8267681"/>
              <a:gd name="connsiteY8889" fmla="*/ 2250114 h 6698675"/>
              <a:gd name="connsiteX8890" fmla="*/ 5780326 w 8267681"/>
              <a:gd name="connsiteY8890" fmla="*/ 2257163 h 6698675"/>
              <a:gd name="connsiteX8891" fmla="*/ 5787373 w 8267681"/>
              <a:gd name="connsiteY8891" fmla="*/ 2259511 h 6698675"/>
              <a:gd name="connsiteX8892" fmla="*/ 5787373 w 8267681"/>
              <a:gd name="connsiteY8892" fmla="*/ 2238373 h 6698675"/>
              <a:gd name="connsiteX8893" fmla="*/ 5780326 w 8267681"/>
              <a:gd name="connsiteY8893" fmla="*/ 2245423 h 6698675"/>
              <a:gd name="connsiteX8894" fmla="*/ 5792070 w 8267681"/>
              <a:gd name="connsiteY8894" fmla="*/ 2245423 h 6698675"/>
              <a:gd name="connsiteX8895" fmla="*/ 4023439 w 8267681"/>
              <a:gd name="connsiteY8895" fmla="*/ 2238373 h 6698675"/>
              <a:gd name="connsiteX8896" fmla="*/ 3976463 w 8267681"/>
              <a:gd name="connsiteY8896" fmla="*/ 2273606 h 6698675"/>
              <a:gd name="connsiteX8897" fmla="*/ 4023439 w 8267681"/>
              <a:gd name="connsiteY8897" fmla="*/ 2238373 h 6698675"/>
              <a:gd name="connsiteX8898" fmla="*/ 6823182 w 8267681"/>
              <a:gd name="connsiteY8898" fmla="*/ 2233679 h 6698675"/>
              <a:gd name="connsiteX8899" fmla="*/ 6853717 w 8267681"/>
              <a:gd name="connsiteY8899" fmla="*/ 2252470 h 6698675"/>
              <a:gd name="connsiteX8900" fmla="*/ 6849019 w 8267681"/>
              <a:gd name="connsiteY8900" fmla="*/ 2250117 h 6698675"/>
              <a:gd name="connsiteX8901" fmla="*/ 6894686 w 8267681"/>
              <a:gd name="connsiteY8901" fmla="*/ 2281178 h 6698675"/>
              <a:gd name="connsiteX8902" fmla="*/ 6843634 w 8267681"/>
              <a:gd name="connsiteY8902" fmla="*/ 2229036 h 6698675"/>
              <a:gd name="connsiteX8903" fmla="*/ 6863112 w 8267681"/>
              <a:gd name="connsiteY8903" fmla="*/ 2240725 h 6698675"/>
              <a:gd name="connsiteX8904" fmla="*/ 6884250 w 8267681"/>
              <a:gd name="connsiteY8904" fmla="*/ 2257163 h 6698675"/>
              <a:gd name="connsiteX8905" fmla="*/ 6900692 w 8267681"/>
              <a:gd name="connsiteY8905" fmla="*/ 2268908 h 6698675"/>
              <a:gd name="connsiteX8906" fmla="*/ 6928877 w 8267681"/>
              <a:gd name="connsiteY8906" fmla="*/ 2290048 h 6698675"/>
              <a:gd name="connsiteX8907" fmla="*/ 6804393 w 8267681"/>
              <a:gd name="connsiteY8907" fmla="*/ 2221935 h 6698675"/>
              <a:gd name="connsiteX8908" fmla="*/ 6813787 w 8267681"/>
              <a:gd name="connsiteY8908" fmla="*/ 2226637 h 6698675"/>
              <a:gd name="connsiteX8909" fmla="*/ 6823182 w 8267681"/>
              <a:gd name="connsiteY8909" fmla="*/ 2233679 h 6698675"/>
              <a:gd name="connsiteX8910" fmla="*/ 5770931 w 8267681"/>
              <a:gd name="connsiteY8910" fmla="*/ 2219581 h 6698675"/>
              <a:gd name="connsiteX8911" fmla="*/ 5773280 w 8267681"/>
              <a:gd name="connsiteY8911" fmla="*/ 2233674 h 6698675"/>
              <a:gd name="connsiteX8912" fmla="*/ 5787373 w 8267681"/>
              <a:gd name="connsiteY8912" fmla="*/ 2231320 h 6698675"/>
              <a:gd name="connsiteX8913" fmla="*/ 5787373 w 8267681"/>
              <a:gd name="connsiteY8913" fmla="*/ 2228978 h 6698675"/>
              <a:gd name="connsiteX8914" fmla="*/ 5777977 w 8267681"/>
              <a:gd name="connsiteY8914" fmla="*/ 2228978 h 6698675"/>
              <a:gd name="connsiteX8915" fmla="*/ 5782675 w 8267681"/>
              <a:gd name="connsiteY8915" fmla="*/ 2221931 h 6698675"/>
              <a:gd name="connsiteX8916" fmla="*/ 5782675 w 8267681"/>
              <a:gd name="connsiteY8916" fmla="*/ 2219581 h 6698675"/>
              <a:gd name="connsiteX8917" fmla="*/ 2703426 w 8267681"/>
              <a:gd name="connsiteY8917" fmla="*/ 2217233 h 6698675"/>
              <a:gd name="connsiteX8918" fmla="*/ 2696379 w 8267681"/>
              <a:gd name="connsiteY8918" fmla="*/ 2219581 h 6698675"/>
              <a:gd name="connsiteX8919" fmla="*/ 2703426 w 8267681"/>
              <a:gd name="connsiteY8919" fmla="*/ 2236029 h 6698675"/>
              <a:gd name="connsiteX8920" fmla="*/ 2703426 w 8267681"/>
              <a:gd name="connsiteY8920" fmla="*/ 2217233 h 6698675"/>
              <a:gd name="connsiteX8921" fmla="*/ 6001110 w 8267681"/>
              <a:gd name="connsiteY8921" fmla="*/ 2212537 h 6698675"/>
              <a:gd name="connsiteX8922" fmla="*/ 5907159 w 8267681"/>
              <a:gd name="connsiteY8922" fmla="*/ 2442725 h 6698675"/>
              <a:gd name="connsiteX8923" fmla="*/ 6001110 w 8267681"/>
              <a:gd name="connsiteY8923" fmla="*/ 2212537 h 6698675"/>
              <a:gd name="connsiteX8924" fmla="*/ 5521959 w 8267681"/>
              <a:gd name="connsiteY8924" fmla="*/ 2207839 h 6698675"/>
              <a:gd name="connsiteX8925" fmla="*/ 5536052 w 8267681"/>
              <a:gd name="connsiteY8925" fmla="*/ 2233673 h 6698675"/>
              <a:gd name="connsiteX8926" fmla="*/ 5533703 w 8267681"/>
              <a:gd name="connsiteY8926" fmla="*/ 2233673 h 6698675"/>
              <a:gd name="connsiteX8927" fmla="*/ 5545447 w 8267681"/>
              <a:gd name="connsiteY8927" fmla="*/ 2252465 h 6698675"/>
              <a:gd name="connsiteX8928" fmla="*/ 5559540 w 8267681"/>
              <a:gd name="connsiteY8928" fmla="*/ 2266557 h 6698675"/>
              <a:gd name="connsiteX8929" fmla="*/ 5573632 w 8267681"/>
              <a:gd name="connsiteY8929" fmla="*/ 2308838 h 6698675"/>
              <a:gd name="connsiteX8930" fmla="*/ 5552493 w 8267681"/>
              <a:gd name="connsiteY8930" fmla="*/ 2290047 h 6698675"/>
              <a:gd name="connsiteX8931" fmla="*/ 5545447 w 8267681"/>
              <a:gd name="connsiteY8931" fmla="*/ 2275954 h 6698675"/>
              <a:gd name="connsiteX8932" fmla="*/ 5538401 w 8267681"/>
              <a:gd name="connsiteY8932" fmla="*/ 2264208 h 6698675"/>
              <a:gd name="connsiteX8933" fmla="*/ 5533703 w 8267681"/>
              <a:gd name="connsiteY8933" fmla="*/ 2245421 h 6698675"/>
              <a:gd name="connsiteX8934" fmla="*/ 5526657 w 8267681"/>
              <a:gd name="connsiteY8934" fmla="*/ 2236024 h 6698675"/>
              <a:gd name="connsiteX8935" fmla="*/ 5514913 w 8267681"/>
              <a:gd name="connsiteY8935" fmla="*/ 2210184 h 6698675"/>
              <a:gd name="connsiteX8936" fmla="*/ 5521959 w 8267681"/>
              <a:gd name="connsiteY8936" fmla="*/ 2207839 h 6698675"/>
              <a:gd name="connsiteX8937" fmla="*/ 4634121 w 8267681"/>
              <a:gd name="connsiteY8937" fmla="*/ 2207839 h 6698675"/>
              <a:gd name="connsiteX8938" fmla="*/ 4577750 w 8267681"/>
              <a:gd name="connsiteY8938" fmla="*/ 2231324 h 6698675"/>
              <a:gd name="connsiteX8939" fmla="*/ 4570704 w 8267681"/>
              <a:gd name="connsiteY8939" fmla="*/ 2297103 h 6698675"/>
              <a:gd name="connsiteX8940" fmla="*/ 4634121 w 8267681"/>
              <a:gd name="connsiteY8940" fmla="*/ 2207839 h 6698675"/>
              <a:gd name="connsiteX8941" fmla="*/ 4011695 w 8267681"/>
              <a:gd name="connsiteY8941" fmla="*/ 2191392 h 6698675"/>
              <a:gd name="connsiteX8942" fmla="*/ 3985858 w 8267681"/>
              <a:gd name="connsiteY8942" fmla="*/ 2207839 h 6698675"/>
              <a:gd name="connsiteX8943" fmla="*/ 4011695 w 8267681"/>
              <a:gd name="connsiteY8943" fmla="*/ 2191392 h 6698675"/>
              <a:gd name="connsiteX8944" fmla="*/ 3996281 w 8267681"/>
              <a:gd name="connsiteY8944" fmla="*/ 2190404 h 6698675"/>
              <a:gd name="connsiteX8945" fmla="*/ 3976463 w 8267681"/>
              <a:gd name="connsiteY8945" fmla="*/ 2191392 h 6698675"/>
              <a:gd name="connsiteX8946" fmla="*/ 3996281 w 8267681"/>
              <a:gd name="connsiteY8946" fmla="*/ 2190404 h 6698675"/>
              <a:gd name="connsiteX8947" fmla="*/ 6743324 w 8267681"/>
              <a:gd name="connsiteY8947" fmla="*/ 2189047 h 6698675"/>
              <a:gd name="connsiteX8948" fmla="*/ 6804393 w 8267681"/>
              <a:gd name="connsiteY8948" fmla="*/ 2221935 h 6698675"/>
              <a:gd name="connsiteX8949" fmla="*/ 6773859 w 8267681"/>
              <a:gd name="connsiteY8949" fmla="*/ 2205495 h 6698675"/>
              <a:gd name="connsiteX8950" fmla="*/ 6743324 w 8267681"/>
              <a:gd name="connsiteY8950" fmla="*/ 2189047 h 6698675"/>
              <a:gd name="connsiteX8951" fmla="*/ 4742165 w 8267681"/>
              <a:gd name="connsiteY8951" fmla="*/ 2165556 h 6698675"/>
              <a:gd name="connsiteX8952" fmla="*/ 4742165 w 8267681"/>
              <a:gd name="connsiteY8952" fmla="*/ 2172581 h 6698675"/>
              <a:gd name="connsiteX8953" fmla="*/ 4737467 w 8267681"/>
              <a:gd name="connsiteY8953" fmla="*/ 2170238 h 6698675"/>
              <a:gd name="connsiteX8954" fmla="*/ 4718677 w 8267681"/>
              <a:gd name="connsiteY8954" fmla="*/ 2172581 h 6698675"/>
              <a:gd name="connsiteX8955" fmla="*/ 4746862 w 8267681"/>
              <a:gd name="connsiteY8955" fmla="*/ 2174939 h 6698675"/>
              <a:gd name="connsiteX8956" fmla="*/ 4753909 w 8267681"/>
              <a:gd name="connsiteY8956" fmla="*/ 2172581 h 6698675"/>
              <a:gd name="connsiteX8957" fmla="*/ 4742165 w 8267681"/>
              <a:gd name="connsiteY8957" fmla="*/ 2165556 h 6698675"/>
              <a:gd name="connsiteX8958" fmla="*/ 5512566 w 8267681"/>
              <a:gd name="connsiteY8958" fmla="*/ 2156184 h 6698675"/>
              <a:gd name="connsiteX8959" fmla="*/ 5500822 w 8267681"/>
              <a:gd name="connsiteY8959" fmla="*/ 2158525 h 6698675"/>
              <a:gd name="connsiteX8960" fmla="*/ 5503170 w 8267681"/>
              <a:gd name="connsiteY8960" fmla="*/ 2165556 h 6698675"/>
              <a:gd name="connsiteX8961" fmla="*/ 5512566 w 8267681"/>
              <a:gd name="connsiteY8961" fmla="*/ 2156184 h 6698675"/>
              <a:gd name="connsiteX8962" fmla="*/ 4697538 w 8267681"/>
              <a:gd name="connsiteY8962" fmla="*/ 2151512 h 6698675"/>
              <a:gd name="connsiteX8963" fmla="*/ 4709282 w 8267681"/>
              <a:gd name="connsiteY8963" fmla="*/ 2156193 h 6698675"/>
              <a:gd name="connsiteX8964" fmla="*/ 4697538 w 8267681"/>
              <a:gd name="connsiteY8964" fmla="*/ 2151512 h 6698675"/>
              <a:gd name="connsiteX8965" fmla="*/ 3948278 w 8267681"/>
              <a:gd name="connsiteY8965" fmla="*/ 2144444 h 6698675"/>
              <a:gd name="connsiteX8966" fmla="*/ 3953232 w 8267681"/>
              <a:gd name="connsiteY8966" fmla="*/ 2144444 h 6698675"/>
              <a:gd name="connsiteX8967" fmla="*/ 3948278 w 8267681"/>
              <a:gd name="connsiteY8967" fmla="*/ 2144444 h 6698675"/>
              <a:gd name="connsiteX8968" fmla="*/ 1992664 w 8267681"/>
              <a:gd name="connsiteY8968" fmla="*/ 2139718 h 6698675"/>
              <a:gd name="connsiteX8969" fmla="*/ 1990170 w 8267681"/>
              <a:gd name="connsiteY8969" fmla="*/ 2143783 h 6698675"/>
              <a:gd name="connsiteX8970" fmla="*/ 1986573 w 8267681"/>
              <a:gd name="connsiteY8970" fmla="*/ 2147360 h 6698675"/>
              <a:gd name="connsiteX8971" fmla="*/ 5601819 w 8267681"/>
              <a:gd name="connsiteY8971" fmla="*/ 2137391 h 6698675"/>
              <a:gd name="connsiteX8972" fmla="*/ 5604168 w 8267681"/>
              <a:gd name="connsiteY8972" fmla="*/ 2137391 h 6698675"/>
              <a:gd name="connsiteX8973" fmla="*/ 5606517 w 8267681"/>
              <a:gd name="connsiteY8973" fmla="*/ 2144444 h 6698675"/>
              <a:gd name="connsiteX8974" fmla="*/ 5601819 w 8267681"/>
              <a:gd name="connsiteY8974" fmla="*/ 2142092 h 6698675"/>
              <a:gd name="connsiteX8975" fmla="*/ 5601819 w 8267681"/>
              <a:gd name="connsiteY8975" fmla="*/ 2137391 h 6698675"/>
              <a:gd name="connsiteX8976" fmla="*/ 6635280 w 8267681"/>
              <a:gd name="connsiteY8976" fmla="*/ 2132698 h 6698675"/>
              <a:gd name="connsiteX8977" fmla="*/ 6642327 w 8267681"/>
              <a:gd name="connsiteY8977" fmla="*/ 2135051 h 6698675"/>
              <a:gd name="connsiteX8978" fmla="*/ 6684604 w 8267681"/>
              <a:gd name="connsiteY8978" fmla="*/ 2153852 h 6698675"/>
              <a:gd name="connsiteX8979" fmla="*/ 6715138 w 8267681"/>
              <a:gd name="connsiteY8979" fmla="*/ 2167897 h 6698675"/>
              <a:gd name="connsiteX8980" fmla="*/ 6635280 w 8267681"/>
              <a:gd name="connsiteY8980" fmla="*/ 2132698 h 6698675"/>
              <a:gd name="connsiteX8981" fmla="*/ 5745095 w 8267681"/>
              <a:gd name="connsiteY8981" fmla="*/ 2132698 h 6698675"/>
              <a:gd name="connsiteX8982" fmla="*/ 5738048 w 8267681"/>
              <a:gd name="connsiteY8982" fmla="*/ 2139749 h 6698675"/>
              <a:gd name="connsiteX8983" fmla="*/ 5749792 w 8267681"/>
              <a:gd name="connsiteY8983" fmla="*/ 2139749 h 6698675"/>
              <a:gd name="connsiteX8984" fmla="*/ 965350 w 8267681"/>
              <a:gd name="connsiteY8984" fmla="*/ 2130348 h 6698675"/>
              <a:gd name="connsiteX8985" fmla="*/ 970050 w 8267681"/>
              <a:gd name="connsiteY8985" fmla="*/ 2135053 h 6698675"/>
              <a:gd name="connsiteX8986" fmla="*/ 965350 w 8267681"/>
              <a:gd name="connsiteY8986" fmla="*/ 2151512 h 6698675"/>
              <a:gd name="connsiteX8987" fmla="*/ 953607 w 8267681"/>
              <a:gd name="connsiteY8987" fmla="*/ 2153852 h 6698675"/>
              <a:gd name="connsiteX8988" fmla="*/ 953607 w 8267681"/>
              <a:gd name="connsiteY8988" fmla="*/ 2135053 h 6698675"/>
              <a:gd name="connsiteX8989" fmla="*/ 965350 w 8267681"/>
              <a:gd name="connsiteY8989" fmla="*/ 2130348 h 6698675"/>
              <a:gd name="connsiteX8990" fmla="*/ 4742165 w 8267681"/>
              <a:gd name="connsiteY8990" fmla="*/ 2130345 h 6698675"/>
              <a:gd name="connsiteX8991" fmla="*/ 4735118 w 8267681"/>
              <a:gd name="connsiteY8991" fmla="*/ 2137393 h 6698675"/>
              <a:gd name="connsiteX8992" fmla="*/ 4721026 w 8267681"/>
              <a:gd name="connsiteY8992" fmla="*/ 2132696 h 6698675"/>
              <a:gd name="connsiteX8993" fmla="*/ 4709282 w 8267681"/>
              <a:gd name="connsiteY8993" fmla="*/ 2137393 h 6698675"/>
              <a:gd name="connsiteX8994" fmla="*/ 4721026 w 8267681"/>
              <a:gd name="connsiteY8994" fmla="*/ 2146800 h 6698675"/>
              <a:gd name="connsiteX8995" fmla="*/ 4732770 w 8267681"/>
              <a:gd name="connsiteY8995" fmla="*/ 2146800 h 6698675"/>
              <a:gd name="connsiteX8996" fmla="*/ 4753909 w 8267681"/>
              <a:gd name="connsiteY8996" fmla="*/ 2165556 h 6698675"/>
              <a:gd name="connsiteX8997" fmla="*/ 4760955 w 8267681"/>
              <a:gd name="connsiteY8997" fmla="*/ 2170238 h 6698675"/>
              <a:gd name="connsiteX8998" fmla="*/ 4772699 w 8267681"/>
              <a:gd name="connsiteY8998" fmla="*/ 2158534 h 6698675"/>
              <a:gd name="connsiteX8999" fmla="*/ 4763304 w 8267681"/>
              <a:gd name="connsiteY8999" fmla="*/ 2153852 h 6698675"/>
              <a:gd name="connsiteX9000" fmla="*/ 4760955 w 8267681"/>
              <a:gd name="connsiteY9000" fmla="*/ 2153852 h 6698675"/>
              <a:gd name="connsiteX9001" fmla="*/ 4742165 w 8267681"/>
              <a:gd name="connsiteY9001" fmla="*/ 2130345 h 6698675"/>
              <a:gd name="connsiteX9002" fmla="*/ 5733351 w 8267681"/>
              <a:gd name="connsiteY9002" fmla="*/ 2123299 h 6698675"/>
              <a:gd name="connsiteX9003" fmla="*/ 5738048 w 8267681"/>
              <a:gd name="connsiteY9003" fmla="*/ 2130346 h 6698675"/>
              <a:gd name="connsiteX9004" fmla="*/ 5745095 w 8267681"/>
              <a:gd name="connsiteY9004" fmla="*/ 2123299 h 6698675"/>
              <a:gd name="connsiteX9005" fmla="*/ 5622957 w 8267681"/>
              <a:gd name="connsiteY9005" fmla="*/ 2120947 h 6698675"/>
              <a:gd name="connsiteX9006" fmla="*/ 5627655 w 8267681"/>
              <a:gd name="connsiteY9006" fmla="*/ 2130344 h 6698675"/>
              <a:gd name="connsiteX9007" fmla="*/ 5625306 w 8267681"/>
              <a:gd name="connsiteY9007" fmla="*/ 2135047 h 6698675"/>
              <a:gd name="connsiteX9008" fmla="*/ 5622957 w 8267681"/>
              <a:gd name="connsiteY9008" fmla="*/ 2132696 h 6698675"/>
              <a:gd name="connsiteX9009" fmla="*/ 5620608 w 8267681"/>
              <a:gd name="connsiteY9009" fmla="*/ 2132696 h 6698675"/>
              <a:gd name="connsiteX9010" fmla="*/ 5618260 w 8267681"/>
              <a:gd name="connsiteY9010" fmla="*/ 2123297 h 6698675"/>
              <a:gd name="connsiteX9011" fmla="*/ 5622957 w 8267681"/>
              <a:gd name="connsiteY9011" fmla="*/ 2120947 h 6698675"/>
              <a:gd name="connsiteX9012" fmla="*/ 4758606 w 8267681"/>
              <a:gd name="connsiteY9012" fmla="*/ 2118599 h 6698675"/>
              <a:gd name="connsiteX9013" fmla="*/ 4749211 w 8267681"/>
              <a:gd name="connsiteY9013" fmla="*/ 2120948 h 6698675"/>
              <a:gd name="connsiteX9014" fmla="*/ 4765653 w 8267681"/>
              <a:gd name="connsiteY9014" fmla="*/ 2127997 h 6698675"/>
              <a:gd name="connsiteX9015" fmla="*/ 4758606 w 8267681"/>
              <a:gd name="connsiteY9015" fmla="*/ 2118599 h 6698675"/>
              <a:gd name="connsiteX9016" fmla="*/ 5714560 w 8267681"/>
              <a:gd name="connsiteY9016" fmla="*/ 2116252 h 6698675"/>
              <a:gd name="connsiteX9017" fmla="*/ 5721607 w 8267681"/>
              <a:gd name="connsiteY9017" fmla="*/ 2130346 h 6698675"/>
              <a:gd name="connsiteX9018" fmla="*/ 5723956 w 8267681"/>
              <a:gd name="connsiteY9018" fmla="*/ 2116252 h 6698675"/>
              <a:gd name="connsiteX9019" fmla="*/ 5583028 w 8267681"/>
              <a:gd name="connsiteY9019" fmla="*/ 2106854 h 6698675"/>
              <a:gd name="connsiteX9020" fmla="*/ 5590074 w 8267681"/>
              <a:gd name="connsiteY9020" fmla="*/ 2109199 h 6698675"/>
              <a:gd name="connsiteX9021" fmla="*/ 5590074 w 8267681"/>
              <a:gd name="connsiteY9021" fmla="*/ 2111551 h 6698675"/>
              <a:gd name="connsiteX9022" fmla="*/ 5585376 w 8267681"/>
              <a:gd name="connsiteY9022" fmla="*/ 2113899 h 6698675"/>
              <a:gd name="connsiteX9023" fmla="*/ 5580679 w 8267681"/>
              <a:gd name="connsiteY9023" fmla="*/ 2118595 h 6698675"/>
              <a:gd name="connsiteX9024" fmla="*/ 5583028 w 8267681"/>
              <a:gd name="connsiteY9024" fmla="*/ 2118595 h 6698675"/>
              <a:gd name="connsiteX9025" fmla="*/ 5590074 w 8267681"/>
              <a:gd name="connsiteY9025" fmla="*/ 2127994 h 6698675"/>
              <a:gd name="connsiteX9026" fmla="*/ 5594771 w 8267681"/>
              <a:gd name="connsiteY9026" fmla="*/ 2132694 h 6698675"/>
              <a:gd name="connsiteX9027" fmla="*/ 5606515 w 8267681"/>
              <a:gd name="connsiteY9027" fmla="*/ 2156184 h 6698675"/>
              <a:gd name="connsiteX9028" fmla="*/ 5601818 w 8267681"/>
              <a:gd name="connsiteY9028" fmla="*/ 2170238 h 6698675"/>
              <a:gd name="connsiteX9029" fmla="*/ 5585376 w 8267681"/>
              <a:gd name="connsiteY9029" fmla="*/ 2158525 h 6698675"/>
              <a:gd name="connsiteX9030" fmla="*/ 5585376 w 8267681"/>
              <a:gd name="connsiteY9030" fmla="*/ 2146799 h 6698675"/>
              <a:gd name="connsiteX9031" fmla="*/ 5587725 w 8267681"/>
              <a:gd name="connsiteY9031" fmla="*/ 2144444 h 6698675"/>
              <a:gd name="connsiteX9032" fmla="*/ 5571284 w 8267681"/>
              <a:gd name="connsiteY9032" fmla="*/ 2123296 h 6698675"/>
              <a:gd name="connsiteX9033" fmla="*/ 5571284 w 8267681"/>
              <a:gd name="connsiteY9033" fmla="*/ 2120945 h 6698675"/>
              <a:gd name="connsiteX9034" fmla="*/ 5566586 w 8267681"/>
              <a:gd name="connsiteY9034" fmla="*/ 2116249 h 6698675"/>
              <a:gd name="connsiteX9035" fmla="*/ 5568935 w 8267681"/>
              <a:gd name="connsiteY9035" fmla="*/ 2109199 h 6698675"/>
              <a:gd name="connsiteX9036" fmla="*/ 5583028 w 8267681"/>
              <a:gd name="connsiteY9036" fmla="*/ 2106854 h 6698675"/>
              <a:gd name="connsiteX9037" fmla="*/ 1679362 w 8267681"/>
              <a:gd name="connsiteY9037" fmla="*/ 2102159 h 6698675"/>
              <a:gd name="connsiteX9038" fmla="*/ 1684058 w 8267681"/>
              <a:gd name="connsiteY9038" fmla="*/ 2106854 h 6698675"/>
              <a:gd name="connsiteX9039" fmla="*/ 1693454 w 8267681"/>
              <a:gd name="connsiteY9039" fmla="*/ 2106854 h 6698675"/>
              <a:gd name="connsiteX9040" fmla="*/ 1679362 w 8267681"/>
              <a:gd name="connsiteY9040" fmla="*/ 2102159 h 6698675"/>
              <a:gd name="connsiteX9041" fmla="*/ 3995841 w 8267681"/>
              <a:gd name="connsiteY9041" fmla="*/ 2097454 h 6698675"/>
              <a:gd name="connsiteX9042" fmla="*/ 3988207 w 8267681"/>
              <a:gd name="connsiteY9042" fmla="*/ 2099806 h 6698675"/>
              <a:gd name="connsiteX9043" fmla="*/ 4006997 w 8267681"/>
              <a:gd name="connsiteY9043" fmla="*/ 2102159 h 6698675"/>
              <a:gd name="connsiteX9044" fmla="*/ 3995841 w 8267681"/>
              <a:gd name="connsiteY9044" fmla="*/ 2097454 h 6698675"/>
              <a:gd name="connsiteX9045" fmla="*/ 5507867 w 8267681"/>
              <a:gd name="connsiteY9045" fmla="*/ 2092758 h 6698675"/>
              <a:gd name="connsiteX9046" fmla="*/ 5517263 w 8267681"/>
              <a:gd name="connsiteY9046" fmla="*/ 2092758 h 6698675"/>
              <a:gd name="connsiteX9047" fmla="*/ 5519611 w 8267681"/>
              <a:gd name="connsiteY9047" fmla="*/ 2095109 h 6698675"/>
              <a:gd name="connsiteX9048" fmla="*/ 5519611 w 8267681"/>
              <a:gd name="connsiteY9048" fmla="*/ 2099803 h 6698675"/>
              <a:gd name="connsiteX9049" fmla="*/ 5510216 w 8267681"/>
              <a:gd name="connsiteY9049" fmla="*/ 2097454 h 6698675"/>
              <a:gd name="connsiteX9050" fmla="*/ 5507867 w 8267681"/>
              <a:gd name="connsiteY9050" fmla="*/ 2092758 h 6698675"/>
              <a:gd name="connsiteX9051" fmla="*/ 5477333 w 8267681"/>
              <a:gd name="connsiteY9051" fmla="*/ 2088060 h 6698675"/>
              <a:gd name="connsiteX9052" fmla="*/ 5489077 w 8267681"/>
              <a:gd name="connsiteY9052" fmla="*/ 2092758 h 6698675"/>
              <a:gd name="connsiteX9053" fmla="*/ 5489077 w 8267681"/>
              <a:gd name="connsiteY9053" fmla="*/ 2099802 h 6698675"/>
              <a:gd name="connsiteX9054" fmla="*/ 5496123 w 8267681"/>
              <a:gd name="connsiteY9054" fmla="*/ 2111549 h 6698675"/>
              <a:gd name="connsiteX9055" fmla="*/ 5514913 w 8267681"/>
              <a:gd name="connsiteY9055" fmla="*/ 2102155 h 6698675"/>
              <a:gd name="connsiteX9056" fmla="*/ 5543098 w 8267681"/>
              <a:gd name="connsiteY9056" fmla="*/ 2123296 h 6698675"/>
              <a:gd name="connsiteX9057" fmla="*/ 5543098 w 8267681"/>
              <a:gd name="connsiteY9057" fmla="*/ 2127994 h 6698675"/>
              <a:gd name="connsiteX9058" fmla="*/ 5524308 w 8267681"/>
              <a:gd name="connsiteY9058" fmla="*/ 2127994 h 6698675"/>
              <a:gd name="connsiteX9059" fmla="*/ 5507867 w 8267681"/>
              <a:gd name="connsiteY9059" fmla="*/ 2118595 h 6698675"/>
              <a:gd name="connsiteX9060" fmla="*/ 5500821 w 8267681"/>
              <a:gd name="connsiteY9060" fmla="*/ 2118595 h 6698675"/>
              <a:gd name="connsiteX9061" fmla="*/ 5486728 w 8267681"/>
              <a:gd name="connsiteY9061" fmla="*/ 2120945 h 6698675"/>
              <a:gd name="connsiteX9062" fmla="*/ 5467937 w 8267681"/>
              <a:gd name="connsiteY9062" fmla="*/ 2116249 h 6698675"/>
              <a:gd name="connsiteX9063" fmla="*/ 5465589 w 8267681"/>
              <a:gd name="connsiteY9063" fmla="*/ 2106854 h 6698675"/>
              <a:gd name="connsiteX9064" fmla="*/ 5477333 w 8267681"/>
              <a:gd name="connsiteY9064" fmla="*/ 2088060 h 6698675"/>
              <a:gd name="connsiteX9065" fmla="*/ 5707514 w 8267681"/>
              <a:gd name="connsiteY9065" fmla="*/ 2083361 h 6698675"/>
              <a:gd name="connsiteX9066" fmla="*/ 5707514 w 8267681"/>
              <a:gd name="connsiteY9066" fmla="*/ 2092760 h 6698675"/>
              <a:gd name="connsiteX9067" fmla="*/ 5693422 w 8267681"/>
              <a:gd name="connsiteY9067" fmla="*/ 2099806 h 6698675"/>
              <a:gd name="connsiteX9068" fmla="*/ 5702817 w 8267681"/>
              <a:gd name="connsiteY9068" fmla="*/ 2095111 h 6698675"/>
              <a:gd name="connsiteX9069" fmla="*/ 5709863 w 8267681"/>
              <a:gd name="connsiteY9069" fmla="*/ 2099806 h 6698675"/>
              <a:gd name="connsiteX9070" fmla="*/ 5716909 w 8267681"/>
              <a:gd name="connsiteY9070" fmla="*/ 2083361 h 6698675"/>
              <a:gd name="connsiteX9071" fmla="*/ 5688724 w 8267681"/>
              <a:gd name="connsiteY9071" fmla="*/ 2083361 h 6698675"/>
              <a:gd name="connsiteX9072" fmla="*/ 5688724 w 8267681"/>
              <a:gd name="connsiteY9072" fmla="*/ 2090411 h 6698675"/>
              <a:gd name="connsiteX9073" fmla="*/ 5695770 w 8267681"/>
              <a:gd name="connsiteY9073" fmla="*/ 2090411 h 6698675"/>
              <a:gd name="connsiteX9074" fmla="*/ 5383383 w 8267681"/>
              <a:gd name="connsiteY9074" fmla="*/ 2083360 h 6698675"/>
              <a:gd name="connsiteX9075" fmla="*/ 5385731 w 8267681"/>
              <a:gd name="connsiteY9075" fmla="*/ 2088061 h 6698675"/>
              <a:gd name="connsiteX9076" fmla="*/ 5390429 w 8267681"/>
              <a:gd name="connsiteY9076" fmla="*/ 2085712 h 6698675"/>
              <a:gd name="connsiteX9077" fmla="*/ 5423312 w 8267681"/>
              <a:gd name="connsiteY9077" fmla="*/ 2109199 h 6698675"/>
              <a:gd name="connsiteX9078" fmla="*/ 5420963 w 8267681"/>
              <a:gd name="connsiteY9078" fmla="*/ 2113899 h 6698675"/>
              <a:gd name="connsiteX9079" fmla="*/ 5420963 w 8267681"/>
              <a:gd name="connsiteY9079" fmla="*/ 2120947 h 6698675"/>
              <a:gd name="connsiteX9080" fmla="*/ 5442102 w 8267681"/>
              <a:gd name="connsiteY9080" fmla="*/ 2149151 h 6698675"/>
              <a:gd name="connsiteX9081" fmla="*/ 5449148 w 8267681"/>
              <a:gd name="connsiteY9081" fmla="*/ 2149151 h 6698675"/>
              <a:gd name="connsiteX9082" fmla="*/ 5446800 w 8267681"/>
              <a:gd name="connsiteY9082" fmla="*/ 2144443 h 6698675"/>
              <a:gd name="connsiteX9083" fmla="*/ 5449148 w 8267681"/>
              <a:gd name="connsiteY9083" fmla="*/ 2139745 h 6698675"/>
              <a:gd name="connsiteX9084" fmla="*/ 5451497 w 8267681"/>
              <a:gd name="connsiteY9084" fmla="*/ 2139745 h 6698675"/>
              <a:gd name="connsiteX9085" fmla="*/ 5451497 w 8267681"/>
              <a:gd name="connsiteY9085" fmla="*/ 2135047 h 6698675"/>
              <a:gd name="connsiteX9086" fmla="*/ 5444451 w 8267681"/>
              <a:gd name="connsiteY9086" fmla="*/ 2132696 h 6698675"/>
              <a:gd name="connsiteX9087" fmla="*/ 5444451 w 8267681"/>
              <a:gd name="connsiteY9087" fmla="*/ 2127997 h 6698675"/>
              <a:gd name="connsiteX9088" fmla="*/ 5439753 w 8267681"/>
              <a:gd name="connsiteY9088" fmla="*/ 2120947 h 6698675"/>
              <a:gd name="connsiteX9089" fmla="*/ 5446800 w 8267681"/>
              <a:gd name="connsiteY9089" fmla="*/ 2123297 h 6698675"/>
              <a:gd name="connsiteX9090" fmla="*/ 5449148 w 8267681"/>
              <a:gd name="connsiteY9090" fmla="*/ 2123297 h 6698675"/>
              <a:gd name="connsiteX9091" fmla="*/ 5446800 w 8267681"/>
              <a:gd name="connsiteY9091" fmla="*/ 2118596 h 6698675"/>
              <a:gd name="connsiteX9092" fmla="*/ 5458544 w 8267681"/>
              <a:gd name="connsiteY9092" fmla="*/ 2118596 h 6698675"/>
              <a:gd name="connsiteX9093" fmla="*/ 5460892 w 8267681"/>
              <a:gd name="connsiteY9093" fmla="*/ 2127997 h 6698675"/>
              <a:gd name="connsiteX9094" fmla="*/ 5463241 w 8267681"/>
              <a:gd name="connsiteY9094" fmla="*/ 2127997 h 6698675"/>
              <a:gd name="connsiteX9095" fmla="*/ 5460892 w 8267681"/>
              <a:gd name="connsiteY9095" fmla="*/ 2137391 h 6698675"/>
              <a:gd name="connsiteX9096" fmla="*/ 5465590 w 8267681"/>
              <a:gd name="connsiteY9096" fmla="*/ 2139745 h 6698675"/>
              <a:gd name="connsiteX9097" fmla="*/ 5465590 w 8267681"/>
              <a:gd name="connsiteY9097" fmla="*/ 2149151 h 6698675"/>
              <a:gd name="connsiteX9098" fmla="*/ 5472636 w 8267681"/>
              <a:gd name="connsiteY9098" fmla="*/ 2149151 h 6698675"/>
              <a:gd name="connsiteX9099" fmla="*/ 5477334 w 8267681"/>
              <a:gd name="connsiteY9099" fmla="*/ 2153844 h 6698675"/>
              <a:gd name="connsiteX9100" fmla="*/ 5486729 w 8267681"/>
              <a:gd name="connsiteY9100" fmla="*/ 2153844 h 6698675"/>
              <a:gd name="connsiteX9101" fmla="*/ 5489078 w 8267681"/>
              <a:gd name="connsiteY9101" fmla="*/ 2149151 h 6698675"/>
              <a:gd name="connsiteX9102" fmla="*/ 5498473 w 8267681"/>
              <a:gd name="connsiteY9102" fmla="*/ 2153844 h 6698675"/>
              <a:gd name="connsiteX9103" fmla="*/ 5510217 w 8267681"/>
              <a:gd name="connsiteY9103" fmla="*/ 2151503 h 6698675"/>
              <a:gd name="connsiteX9104" fmla="*/ 5514914 w 8267681"/>
              <a:gd name="connsiteY9104" fmla="*/ 2153844 h 6698675"/>
              <a:gd name="connsiteX9105" fmla="*/ 5514914 w 8267681"/>
              <a:gd name="connsiteY9105" fmla="*/ 2172581 h 6698675"/>
              <a:gd name="connsiteX9106" fmla="*/ 5521961 w 8267681"/>
              <a:gd name="connsiteY9106" fmla="*/ 2196092 h 6698675"/>
              <a:gd name="connsiteX9107" fmla="*/ 5496124 w 8267681"/>
              <a:gd name="connsiteY9107" fmla="*/ 2196092 h 6698675"/>
              <a:gd name="connsiteX9108" fmla="*/ 5470288 w 8267681"/>
              <a:gd name="connsiteY9108" fmla="*/ 2189045 h 6698675"/>
              <a:gd name="connsiteX9109" fmla="*/ 5456195 w 8267681"/>
              <a:gd name="connsiteY9109" fmla="*/ 2184342 h 6698675"/>
              <a:gd name="connsiteX9110" fmla="*/ 5432707 w 8267681"/>
              <a:gd name="connsiteY9110" fmla="*/ 2181991 h 6698675"/>
              <a:gd name="connsiteX9111" fmla="*/ 5435056 w 8267681"/>
              <a:gd name="connsiteY9111" fmla="*/ 2189045 h 6698675"/>
              <a:gd name="connsiteX9112" fmla="*/ 5428010 w 8267681"/>
              <a:gd name="connsiteY9112" fmla="*/ 2191392 h 6698675"/>
              <a:gd name="connsiteX9113" fmla="*/ 5418615 w 8267681"/>
              <a:gd name="connsiteY9113" fmla="*/ 2186690 h 6698675"/>
              <a:gd name="connsiteX9114" fmla="*/ 5409219 w 8267681"/>
              <a:gd name="connsiteY9114" fmla="*/ 2186690 h 6698675"/>
              <a:gd name="connsiteX9115" fmla="*/ 5385731 w 8267681"/>
              <a:gd name="connsiteY9115" fmla="*/ 2174939 h 6698675"/>
              <a:gd name="connsiteX9116" fmla="*/ 5369290 w 8267681"/>
              <a:gd name="connsiteY9116" fmla="*/ 2167897 h 6698675"/>
              <a:gd name="connsiteX9117" fmla="*/ 5376336 w 8267681"/>
              <a:gd name="connsiteY9117" fmla="*/ 2158525 h 6698675"/>
              <a:gd name="connsiteX9118" fmla="*/ 5373988 w 8267681"/>
              <a:gd name="connsiteY9118" fmla="*/ 2151503 h 6698675"/>
              <a:gd name="connsiteX9119" fmla="*/ 5376336 w 8267681"/>
              <a:gd name="connsiteY9119" fmla="*/ 2144443 h 6698675"/>
              <a:gd name="connsiteX9120" fmla="*/ 5366941 w 8267681"/>
              <a:gd name="connsiteY9120" fmla="*/ 2142092 h 6698675"/>
              <a:gd name="connsiteX9121" fmla="*/ 5324662 w 8267681"/>
              <a:gd name="connsiteY9121" fmla="*/ 2144443 h 6698675"/>
              <a:gd name="connsiteX9122" fmla="*/ 5303523 w 8267681"/>
              <a:gd name="connsiteY9122" fmla="*/ 2149151 h 6698675"/>
              <a:gd name="connsiteX9123" fmla="*/ 5284733 w 8267681"/>
              <a:gd name="connsiteY9123" fmla="*/ 2156184 h 6698675"/>
              <a:gd name="connsiteX9124" fmla="*/ 5277687 w 8267681"/>
              <a:gd name="connsiteY9124" fmla="*/ 2153844 h 6698675"/>
              <a:gd name="connsiteX9125" fmla="*/ 5289431 w 8267681"/>
              <a:gd name="connsiteY9125" fmla="*/ 2142092 h 6698675"/>
              <a:gd name="connsiteX9126" fmla="*/ 5294128 w 8267681"/>
              <a:gd name="connsiteY9126" fmla="*/ 2146799 h 6698675"/>
              <a:gd name="connsiteX9127" fmla="*/ 5301175 w 8267681"/>
              <a:gd name="connsiteY9127" fmla="*/ 2132696 h 6698675"/>
              <a:gd name="connsiteX9128" fmla="*/ 5298826 w 8267681"/>
              <a:gd name="connsiteY9128" fmla="*/ 2125650 h 6698675"/>
              <a:gd name="connsiteX9129" fmla="*/ 5303523 w 8267681"/>
              <a:gd name="connsiteY9129" fmla="*/ 2127997 h 6698675"/>
              <a:gd name="connsiteX9130" fmla="*/ 5303523 w 8267681"/>
              <a:gd name="connsiteY9130" fmla="*/ 2123297 h 6698675"/>
              <a:gd name="connsiteX9131" fmla="*/ 5305872 w 8267681"/>
              <a:gd name="connsiteY9131" fmla="*/ 2123297 h 6698675"/>
              <a:gd name="connsiteX9132" fmla="*/ 5305872 w 8267681"/>
              <a:gd name="connsiteY9132" fmla="*/ 2113899 h 6698675"/>
              <a:gd name="connsiteX9133" fmla="*/ 5308221 w 8267681"/>
              <a:gd name="connsiteY9133" fmla="*/ 2113899 h 6698675"/>
              <a:gd name="connsiteX9134" fmla="*/ 5308221 w 8267681"/>
              <a:gd name="connsiteY9134" fmla="*/ 2120947 h 6698675"/>
              <a:gd name="connsiteX9135" fmla="*/ 5312919 w 8267681"/>
              <a:gd name="connsiteY9135" fmla="*/ 2123297 h 6698675"/>
              <a:gd name="connsiteX9136" fmla="*/ 5317616 w 8267681"/>
              <a:gd name="connsiteY9136" fmla="*/ 2120947 h 6698675"/>
              <a:gd name="connsiteX9137" fmla="*/ 5319965 w 8267681"/>
              <a:gd name="connsiteY9137" fmla="*/ 2109199 h 6698675"/>
              <a:gd name="connsiteX9138" fmla="*/ 5317616 w 8267681"/>
              <a:gd name="connsiteY9138" fmla="*/ 2099803 h 6698675"/>
              <a:gd name="connsiteX9139" fmla="*/ 5324662 w 8267681"/>
              <a:gd name="connsiteY9139" fmla="*/ 2097454 h 6698675"/>
              <a:gd name="connsiteX9140" fmla="*/ 5341105 w 8267681"/>
              <a:gd name="connsiteY9140" fmla="*/ 2102156 h 6698675"/>
              <a:gd name="connsiteX9141" fmla="*/ 5341105 w 8267681"/>
              <a:gd name="connsiteY9141" fmla="*/ 2099803 h 6698675"/>
              <a:gd name="connsiteX9142" fmla="*/ 5350500 w 8267681"/>
              <a:gd name="connsiteY9142" fmla="*/ 2097454 h 6698675"/>
              <a:gd name="connsiteX9143" fmla="*/ 5352849 w 8267681"/>
              <a:gd name="connsiteY9143" fmla="*/ 2102156 h 6698675"/>
              <a:gd name="connsiteX9144" fmla="*/ 5350500 w 8267681"/>
              <a:gd name="connsiteY9144" fmla="*/ 2106854 h 6698675"/>
              <a:gd name="connsiteX9145" fmla="*/ 5352849 w 8267681"/>
              <a:gd name="connsiteY9145" fmla="*/ 2116249 h 6698675"/>
              <a:gd name="connsiteX9146" fmla="*/ 5348151 w 8267681"/>
              <a:gd name="connsiteY9146" fmla="*/ 2116249 h 6698675"/>
              <a:gd name="connsiteX9147" fmla="*/ 5350500 w 8267681"/>
              <a:gd name="connsiteY9147" fmla="*/ 2123297 h 6698675"/>
              <a:gd name="connsiteX9148" fmla="*/ 5350500 w 8267681"/>
              <a:gd name="connsiteY9148" fmla="*/ 2130344 h 6698675"/>
              <a:gd name="connsiteX9149" fmla="*/ 5359895 w 8267681"/>
              <a:gd name="connsiteY9149" fmla="*/ 2130344 h 6698675"/>
              <a:gd name="connsiteX9150" fmla="*/ 5362244 w 8267681"/>
              <a:gd name="connsiteY9150" fmla="*/ 2118596 h 6698675"/>
              <a:gd name="connsiteX9151" fmla="*/ 5357546 w 8267681"/>
              <a:gd name="connsiteY9151" fmla="*/ 2113899 h 6698675"/>
              <a:gd name="connsiteX9152" fmla="*/ 5357546 w 8267681"/>
              <a:gd name="connsiteY9152" fmla="*/ 2095109 h 6698675"/>
              <a:gd name="connsiteX9153" fmla="*/ 5364593 w 8267681"/>
              <a:gd name="connsiteY9153" fmla="*/ 2104500 h 6698675"/>
              <a:gd name="connsiteX9154" fmla="*/ 5376336 w 8267681"/>
              <a:gd name="connsiteY9154" fmla="*/ 2113899 h 6698675"/>
              <a:gd name="connsiteX9155" fmla="*/ 5376336 w 8267681"/>
              <a:gd name="connsiteY9155" fmla="*/ 2111549 h 6698675"/>
              <a:gd name="connsiteX9156" fmla="*/ 5392778 w 8267681"/>
              <a:gd name="connsiteY9156" fmla="*/ 2120947 h 6698675"/>
              <a:gd name="connsiteX9157" fmla="*/ 5392778 w 8267681"/>
              <a:gd name="connsiteY9157" fmla="*/ 2123297 h 6698675"/>
              <a:gd name="connsiteX9158" fmla="*/ 5397475 w 8267681"/>
              <a:gd name="connsiteY9158" fmla="*/ 2120947 h 6698675"/>
              <a:gd name="connsiteX9159" fmla="*/ 5397475 w 8267681"/>
              <a:gd name="connsiteY9159" fmla="*/ 2132696 h 6698675"/>
              <a:gd name="connsiteX9160" fmla="*/ 5383383 w 8267681"/>
              <a:gd name="connsiteY9160" fmla="*/ 2132696 h 6698675"/>
              <a:gd name="connsiteX9161" fmla="*/ 5373988 w 8267681"/>
              <a:gd name="connsiteY9161" fmla="*/ 2132696 h 6698675"/>
              <a:gd name="connsiteX9162" fmla="*/ 5373988 w 8267681"/>
              <a:gd name="connsiteY9162" fmla="*/ 2137391 h 6698675"/>
              <a:gd name="connsiteX9163" fmla="*/ 5392778 w 8267681"/>
              <a:gd name="connsiteY9163" fmla="*/ 2144443 h 6698675"/>
              <a:gd name="connsiteX9164" fmla="*/ 5395127 w 8267681"/>
              <a:gd name="connsiteY9164" fmla="*/ 2135047 h 6698675"/>
              <a:gd name="connsiteX9165" fmla="*/ 5406871 w 8267681"/>
              <a:gd name="connsiteY9165" fmla="*/ 2130344 h 6698675"/>
              <a:gd name="connsiteX9166" fmla="*/ 5406871 w 8267681"/>
              <a:gd name="connsiteY9166" fmla="*/ 2125650 h 6698675"/>
              <a:gd name="connsiteX9167" fmla="*/ 5404522 w 8267681"/>
              <a:gd name="connsiteY9167" fmla="*/ 2125650 h 6698675"/>
              <a:gd name="connsiteX9168" fmla="*/ 5404522 w 8267681"/>
              <a:gd name="connsiteY9168" fmla="*/ 2120947 h 6698675"/>
              <a:gd name="connsiteX9169" fmla="*/ 5416266 w 8267681"/>
              <a:gd name="connsiteY9169" fmla="*/ 2125650 h 6698675"/>
              <a:gd name="connsiteX9170" fmla="*/ 5402173 w 8267681"/>
              <a:gd name="connsiteY9170" fmla="*/ 2113899 h 6698675"/>
              <a:gd name="connsiteX9171" fmla="*/ 5402173 w 8267681"/>
              <a:gd name="connsiteY9171" fmla="*/ 2109199 h 6698675"/>
              <a:gd name="connsiteX9172" fmla="*/ 5397475 w 8267681"/>
              <a:gd name="connsiteY9172" fmla="*/ 2109199 h 6698675"/>
              <a:gd name="connsiteX9173" fmla="*/ 5385731 w 8267681"/>
              <a:gd name="connsiteY9173" fmla="*/ 2099803 h 6698675"/>
              <a:gd name="connsiteX9174" fmla="*/ 5376336 w 8267681"/>
              <a:gd name="connsiteY9174" fmla="*/ 2090408 h 6698675"/>
              <a:gd name="connsiteX9175" fmla="*/ 5376336 w 8267681"/>
              <a:gd name="connsiteY9175" fmla="*/ 2088061 h 6698675"/>
              <a:gd name="connsiteX9176" fmla="*/ 5383383 w 8267681"/>
              <a:gd name="connsiteY9176" fmla="*/ 2083360 h 6698675"/>
              <a:gd name="connsiteX9177" fmla="*/ 4885441 w 8267681"/>
              <a:gd name="connsiteY9177" fmla="*/ 2073967 h 6698675"/>
              <a:gd name="connsiteX9178" fmla="*/ 4885441 w 8267681"/>
              <a:gd name="connsiteY9178" fmla="*/ 2081019 h 6698675"/>
              <a:gd name="connsiteX9179" fmla="*/ 4892487 w 8267681"/>
              <a:gd name="connsiteY9179" fmla="*/ 2081019 h 6698675"/>
              <a:gd name="connsiteX9180" fmla="*/ 3972794 w 8267681"/>
              <a:gd name="connsiteY9180" fmla="*/ 2063291 h 6698675"/>
              <a:gd name="connsiteX9181" fmla="*/ 3952976 w 8267681"/>
              <a:gd name="connsiteY9181" fmla="*/ 2066928 h 6698675"/>
              <a:gd name="connsiteX9182" fmla="*/ 3972794 w 8267681"/>
              <a:gd name="connsiteY9182" fmla="*/ 2063291 h 6698675"/>
              <a:gd name="connsiteX9183" fmla="*/ 3932571 w 8267681"/>
              <a:gd name="connsiteY9183" fmla="*/ 2056210 h 6698675"/>
              <a:gd name="connsiteX9184" fmla="*/ 3915395 w 8267681"/>
              <a:gd name="connsiteY9184" fmla="*/ 2057527 h 6698675"/>
              <a:gd name="connsiteX9185" fmla="*/ 3932571 w 8267681"/>
              <a:gd name="connsiteY9185" fmla="*/ 2056210 h 6698675"/>
              <a:gd name="connsiteX9186" fmla="*/ 4688143 w 8267681"/>
              <a:gd name="connsiteY9186" fmla="*/ 2055183 h 6698675"/>
              <a:gd name="connsiteX9187" fmla="*/ 4681096 w 8267681"/>
              <a:gd name="connsiteY9187" fmla="*/ 2062226 h 6698675"/>
              <a:gd name="connsiteX9188" fmla="*/ 4699887 w 8267681"/>
              <a:gd name="connsiteY9188" fmla="*/ 2062226 h 6698675"/>
              <a:gd name="connsiteX9189" fmla="*/ 4688143 w 8267681"/>
              <a:gd name="connsiteY9189" fmla="*/ 2055183 h 6698675"/>
              <a:gd name="connsiteX9190" fmla="*/ 4883536 w 8267681"/>
              <a:gd name="connsiteY9190" fmla="*/ 2054203 h 6698675"/>
              <a:gd name="connsiteX9191" fmla="*/ 4880743 w 8267681"/>
              <a:gd name="connsiteY9191" fmla="*/ 2059776 h 6698675"/>
              <a:gd name="connsiteX9192" fmla="*/ 4880743 w 8267681"/>
              <a:gd name="connsiteY9192" fmla="*/ 2059879 h 6698675"/>
              <a:gd name="connsiteX9193" fmla="*/ 4887790 w 8267681"/>
              <a:gd name="connsiteY9193" fmla="*/ 2059879 h 6698675"/>
              <a:gd name="connsiteX9194" fmla="*/ 5258898 w 8267681"/>
              <a:gd name="connsiteY9194" fmla="*/ 2048132 h 6698675"/>
              <a:gd name="connsiteX9195" fmla="*/ 5261246 w 8267681"/>
              <a:gd name="connsiteY9195" fmla="*/ 2048132 h 6698675"/>
              <a:gd name="connsiteX9196" fmla="*/ 5259181 w 8267681"/>
              <a:gd name="connsiteY9196" fmla="*/ 2048984 h 6698675"/>
              <a:gd name="connsiteX9197" fmla="*/ 6278408 w 8267681"/>
              <a:gd name="connsiteY9197" fmla="*/ 2038855 h 6698675"/>
              <a:gd name="connsiteX9198" fmla="*/ 6299405 w 8267681"/>
              <a:gd name="connsiteY9198" fmla="*/ 2041088 h 6698675"/>
              <a:gd name="connsiteX9199" fmla="*/ 6533695 w 8267681"/>
              <a:gd name="connsiteY9199" fmla="*/ 2090411 h 6698675"/>
              <a:gd name="connsiteX9200" fmla="*/ 6614219 w 8267681"/>
              <a:gd name="connsiteY9200" fmla="*/ 2118772 h 6698675"/>
              <a:gd name="connsiteX9201" fmla="*/ 6642327 w 8267681"/>
              <a:gd name="connsiteY9201" fmla="*/ 2130346 h 6698675"/>
              <a:gd name="connsiteX9202" fmla="*/ 6837275 w 8267681"/>
              <a:gd name="connsiteY9202" fmla="*/ 2236026 h 6698675"/>
              <a:gd name="connsiteX9203" fmla="*/ 6581258 w 8267681"/>
              <a:gd name="connsiteY9203" fmla="*/ 2109202 h 6698675"/>
              <a:gd name="connsiteX9204" fmla="*/ 6423597 w 8267681"/>
              <a:gd name="connsiteY9204" fmla="*/ 2063984 h 6698675"/>
              <a:gd name="connsiteX9205" fmla="*/ 4659958 w 8267681"/>
              <a:gd name="connsiteY9205" fmla="*/ 2038738 h 6698675"/>
              <a:gd name="connsiteX9206" fmla="*/ 4659958 w 8267681"/>
              <a:gd name="connsiteY9206" fmla="*/ 2043438 h 6698675"/>
              <a:gd name="connsiteX9207" fmla="*/ 4662306 w 8267681"/>
              <a:gd name="connsiteY9207" fmla="*/ 2041086 h 6698675"/>
              <a:gd name="connsiteX9208" fmla="*/ 4659958 w 8267681"/>
              <a:gd name="connsiteY9208" fmla="*/ 2038738 h 6698675"/>
              <a:gd name="connsiteX9209" fmla="*/ 5653492 w 8267681"/>
              <a:gd name="connsiteY9209" fmla="*/ 2034040 h 6698675"/>
              <a:gd name="connsiteX9210" fmla="*/ 5651144 w 8267681"/>
              <a:gd name="connsiteY9210" fmla="*/ 2043438 h 6698675"/>
              <a:gd name="connsiteX9211" fmla="*/ 5644097 w 8267681"/>
              <a:gd name="connsiteY9211" fmla="*/ 2043438 h 6698675"/>
              <a:gd name="connsiteX9212" fmla="*/ 5641749 w 8267681"/>
              <a:gd name="connsiteY9212" fmla="*/ 2043438 h 6698675"/>
              <a:gd name="connsiteX9213" fmla="*/ 5641749 w 8267681"/>
              <a:gd name="connsiteY9213" fmla="*/ 2050483 h 6698675"/>
              <a:gd name="connsiteX9214" fmla="*/ 5655841 w 8267681"/>
              <a:gd name="connsiteY9214" fmla="*/ 2043438 h 6698675"/>
              <a:gd name="connsiteX9215" fmla="*/ 5653492 w 8267681"/>
              <a:gd name="connsiteY9215" fmla="*/ 2034040 h 6698675"/>
              <a:gd name="connsiteX9216" fmla="*/ 4986438 w 8267681"/>
              <a:gd name="connsiteY9216" fmla="*/ 2034040 h 6698675"/>
              <a:gd name="connsiteX9217" fmla="*/ 4981741 w 8267681"/>
              <a:gd name="connsiteY9217" fmla="*/ 2036390 h 6698675"/>
              <a:gd name="connsiteX9218" fmla="*/ 4977043 w 8267681"/>
              <a:gd name="connsiteY9218" fmla="*/ 2041086 h 6698675"/>
              <a:gd name="connsiteX9219" fmla="*/ 4978218 w 8267681"/>
              <a:gd name="connsiteY9219" fmla="*/ 2041969 h 6698675"/>
              <a:gd name="connsiteX9220" fmla="*/ 4977209 w 8267681"/>
              <a:gd name="connsiteY9220" fmla="*/ 2043030 h 6698675"/>
              <a:gd name="connsiteX9221" fmla="*/ 4972346 w 8267681"/>
              <a:gd name="connsiteY9221" fmla="*/ 2047353 h 6698675"/>
              <a:gd name="connsiteX9222" fmla="*/ 4972346 w 8267681"/>
              <a:gd name="connsiteY9222" fmla="*/ 2045787 h 6698675"/>
              <a:gd name="connsiteX9223" fmla="*/ 4969997 w 8267681"/>
              <a:gd name="connsiteY9223" fmla="*/ 2048132 h 6698675"/>
              <a:gd name="connsiteX9224" fmla="*/ 4967648 w 8267681"/>
              <a:gd name="connsiteY9224" fmla="*/ 2050483 h 6698675"/>
              <a:gd name="connsiteX9225" fmla="*/ 4969410 w 8267681"/>
              <a:gd name="connsiteY9225" fmla="*/ 2049896 h 6698675"/>
              <a:gd name="connsiteX9226" fmla="*/ 4969326 w 8267681"/>
              <a:gd name="connsiteY9226" fmla="*/ 2050036 h 6698675"/>
              <a:gd name="connsiteX9227" fmla="*/ 4967313 w 8267681"/>
              <a:gd name="connsiteY9227" fmla="*/ 2051825 h 6698675"/>
              <a:gd name="connsiteX9228" fmla="*/ 4965299 w 8267681"/>
              <a:gd name="connsiteY9228" fmla="*/ 2045787 h 6698675"/>
              <a:gd name="connsiteX9229" fmla="*/ 4951206 w 8267681"/>
              <a:gd name="connsiteY9229" fmla="*/ 2059879 h 6698675"/>
              <a:gd name="connsiteX9230" fmla="*/ 4946509 w 8267681"/>
              <a:gd name="connsiteY9230" fmla="*/ 2062226 h 6698675"/>
              <a:gd name="connsiteX9231" fmla="*/ 4948858 w 8267681"/>
              <a:gd name="connsiteY9231" fmla="*/ 2059879 h 6698675"/>
              <a:gd name="connsiteX9232" fmla="*/ 4953555 w 8267681"/>
              <a:gd name="connsiteY9232" fmla="*/ 2055183 h 6698675"/>
              <a:gd name="connsiteX9233" fmla="*/ 4951206 w 8267681"/>
              <a:gd name="connsiteY9233" fmla="*/ 2057527 h 6698675"/>
              <a:gd name="connsiteX9234" fmla="*/ 4948858 w 8267681"/>
              <a:gd name="connsiteY9234" fmla="*/ 2059879 h 6698675"/>
              <a:gd name="connsiteX9235" fmla="*/ 4946509 w 8267681"/>
              <a:gd name="connsiteY9235" fmla="*/ 2059879 h 6698675"/>
              <a:gd name="connsiteX9236" fmla="*/ 4930068 w 8267681"/>
              <a:gd name="connsiteY9236" fmla="*/ 2078665 h 6698675"/>
              <a:gd name="connsiteX9237" fmla="*/ 4923021 w 8267681"/>
              <a:gd name="connsiteY9237" fmla="*/ 2085712 h 6698675"/>
              <a:gd name="connsiteX9238" fmla="*/ 4920672 w 8267681"/>
              <a:gd name="connsiteY9238" fmla="*/ 2090411 h 6698675"/>
              <a:gd name="connsiteX9239" fmla="*/ 4911277 w 8267681"/>
              <a:gd name="connsiteY9239" fmla="*/ 2102160 h 6698675"/>
              <a:gd name="connsiteX9240" fmla="*/ 4906580 w 8267681"/>
              <a:gd name="connsiteY9240" fmla="*/ 2111553 h 6698675"/>
              <a:gd name="connsiteX9241" fmla="*/ 4901882 w 8267681"/>
              <a:gd name="connsiteY9241" fmla="*/ 2118599 h 6698675"/>
              <a:gd name="connsiteX9242" fmla="*/ 4908928 w 8267681"/>
              <a:gd name="connsiteY9242" fmla="*/ 2106854 h 6698675"/>
              <a:gd name="connsiteX9243" fmla="*/ 4906580 w 8267681"/>
              <a:gd name="connsiteY9243" fmla="*/ 2109202 h 6698675"/>
              <a:gd name="connsiteX9244" fmla="*/ 4852852 w 8267681"/>
              <a:gd name="connsiteY9244" fmla="*/ 2203730 h 6698675"/>
              <a:gd name="connsiteX9245" fmla="*/ 4840814 w 8267681"/>
              <a:gd name="connsiteY9245" fmla="*/ 2244780 h 6698675"/>
              <a:gd name="connsiteX9246" fmla="*/ 4840814 w 8267681"/>
              <a:gd name="connsiteY9246" fmla="*/ 2243076 h 6698675"/>
              <a:gd name="connsiteX9247" fmla="*/ 4838465 w 8267681"/>
              <a:gd name="connsiteY9247" fmla="*/ 2250408 h 6698675"/>
              <a:gd name="connsiteX9248" fmla="*/ 4837675 w 8267681"/>
              <a:gd name="connsiteY9248" fmla="*/ 2253473 h 6698675"/>
              <a:gd name="connsiteX9249" fmla="*/ 4838067 w 8267681"/>
              <a:gd name="connsiteY9249" fmla="*/ 2254139 h 6698675"/>
              <a:gd name="connsiteX9250" fmla="*/ 4840814 w 8267681"/>
              <a:gd name="connsiteY9250" fmla="*/ 2244780 h 6698675"/>
              <a:gd name="connsiteX9251" fmla="*/ 4840814 w 8267681"/>
              <a:gd name="connsiteY9251" fmla="*/ 2245423 h 6698675"/>
              <a:gd name="connsiteX9252" fmla="*/ 4843163 w 8267681"/>
              <a:gd name="connsiteY9252" fmla="*/ 2238373 h 6698675"/>
              <a:gd name="connsiteX9253" fmla="*/ 4847860 w 8267681"/>
              <a:gd name="connsiteY9253" fmla="*/ 2233674 h 6698675"/>
              <a:gd name="connsiteX9254" fmla="*/ 4847860 w 8267681"/>
              <a:gd name="connsiteY9254" fmla="*/ 2236026 h 6698675"/>
              <a:gd name="connsiteX9255" fmla="*/ 4850209 w 8267681"/>
              <a:gd name="connsiteY9255" fmla="*/ 2233674 h 6698675"/>
              <a:gd name="connsiteX9256" fmla="*/ 4852558 w 8267681"/>
              <a:gd name="connsiteY9256" fmla="*/ 2226630 h 6698675"/>
              <a:gd name="connsiteX9257" fmla="*/ 4857255 w 8267681"/>
              <a:gd name="connsiteY9257" fmla="*/ 2224282 h 6698675"/>
              <a:gd name="connsiteX9258" fmla="*/ 4857255 w 8267681"/>
              <a:gd name="connsiteY9258" fmla="*/ 2228978 h 6698675"/>
              <a:gd name="connsiteX9259" fmla="*/ 4859604 w 8267681"/>
              <a:gd name="connsiteY9259" fmla="*/ 2226630 h 6698675"/>
              <a:gd name="connsiteX9260" fmla="*/ 4859604 w 8267681"/>
              <a:gd name="connsiteY9260" fmla="*/ 2233674 h 6698675"/>
              <a:gd name="connsiteX9261" fmla="*/ 4861953 w 8267681"/>
              <a:gd name="connsiteY9261" fmla="*/ 2228978 h 6698675"/>
              <a:gd name="connsiteX9262" fmla="*/ 4861953 w 8267681"/>
              <a:gd name="connsiteY9262" fmla="*/ 2240724 h 6698675"/>
              <a:gd name="connsiteX9263" fmla="*/ 4861953 w 8267681"/>
              <a:gd name="connsiteY9263" fmla="*/ 2247765 h 6698675"/>
              <a:gd name="connsiteX9264" fmla="*/ 4866651 w 8267681"/>
              <a:gd name="connsiteY9264" fmla="*/ 2238373 h 6698675"/>
              <a:gd name="connsiteX9265" fmla="*/ 4866651 w 8267681"/>
              <a:gd name="connsiteY9265" fmla="*/ 2219581 h 6698675"/>
              <a:gd name="connsiteX9266" fmla="*/ 4866651 w 8267681"/>
              <a:gd name="connsiteY9266" fmla="*/ 2217233 h 6698675"/>
              <a:gd name="connsiteX9267" fmla="*/ 4868999 w 8267681"/>
              <a:gd name="connsiteY9267" fmla="*/ 2210186 h 6698675"/>
              <a:gd name="connsiteX9268" fmla="*/ 4868999 w 8267681"/>
              <a:gd name="connsiteY9268" fmla="*/ 2214885 h 6698675"/>
              <a:gd name="connsiteX9269" fmla="*/ 4871348 w 8267681"/>
              <a:gd name="connsiteY9269" fmla="*/ 2212534 h 6698675"/>
              <a:gd name="connsiteX9270" fmla="*/ 4871348 w 8267681"/>
              <a:gd name="connsiteY9270" fmla="*/ 2210186 h 6698675"/>
              <a:gd name="connsiteX9271" fmla="*/ 4873697 w 8267681"/>
              <a:gd name="connsiteY9271" fmla="*/ 2205490 h 6698675"/>
              <a:gd name="connsiteX9272" fmla="*/ 4873697 w 8267681"/>
              <a:gd name="connsiteY9272" fmla="*/ 2200795 h 6698675"/>
              <a:gd name="connsiteX9273" fmla="*/ 4883092 w 8267681"/>
              <a:gd name="connsiteY9273" fmla="*/ 2189045 h 6698675"/>
              <a:gd name="connsiteX9274" fmla="*/ 4885441 w 8267681"/>
              <a:gd name="connsiteY9274" fmla="*/ 2179641 h 6698675"/>
              <a:gd name="connsiteX9275" fmla="*/ 4897184 w 8267681"/>
              <a:gd name="connsiteY9275" fmla="*/ 2160874 h 6698675"/>
              <a:gd name="connsiteX9276" fmla="*/ 4899533 w 8267681"/>
              <a:gd name="connsiteY9276" fmla="*/ 2160874 h 6698675"/>
              <a:gd name="connsiteX9277" fmla="*/ 4901882 w 8267681"/>
              <a:gd name="connsiteY9277" fmla="*/ 2153852 h 6698675"/>
              <a:gd name="connsiteX9278" fmla="*/ 4904231 w 8267681"/>
              <a:gd name="connsiteY9278" fmla="*/ 2153852 h 6698675"/>
              <a:gd name="connsiteX9279" fmla="*/ 4908928 w 8267681"/>
              <a:gd name="connsiteY9279" fmla="*/ 2149151 h 6698675"/>
              <a:gd name="connsiteX9280" fmla="*/ 4911277 w 8267681"/>
              <a:gd name="connsiteY9280" fmla="*/ 2144444 h 6698675"/>
              <a:gd name="connsiteX9281" fmla="*/ 4911277 w 8267681"/>
              <a:gd name="connsiteY9281" fmla="*/ 2139749 h 6698675"/>
              <a:gd name="connsiteX9282" fmla="*/ 4915975 w 8267681"/>
              <a:gd name="connsiteY9282" fmla="*/ 2132698 h 6698675"/>
              <a:gd name="connsiteX9283" fmla="*/ 4925370 w 8267681"/>
              <a:gd name="connsiteY9283" fmla="*/ 2125650 h 6698675"/>
              <a:gd name="connsiteX9284" fmla="*/ 4930068 w 8267681"/>
              <a:gd name="connsiteY9284" fmla="*/ 2123299 h 6698675"/>
              <a:gd name="connsiteX9285" fmla="*/ 4925370 w 8267681"/>
              <a:gd name="connsiteY9285" fmla="*/ 2127997 h 6698675"/>
              <a:gd name="connsiteX9286" fmla="*/ 4925370 w 8267681"/>
              <a:gd name="connsiteY9286" fmla="*/ 2130346 h 6698675"/>
              <a:gd name="connsiteX9287" fmla="*/ 4925370 w 8267681"/>
              <a:gd name="connsiteY9287" fmla="*/ 2132698 h 6698675"/>
              <a:gd name="connsiteX9288" fmla="*/ 4946509 w 8267681"/>
              <a:gd name="connsiteY9288" fmla="*/ 2116252 h 6698675"/>
              <a:gd name="connsiteX9289" fmla="*/ 4946509 w 8267681"/>
              <a:gd name="connsiteY9289" fmla="*/ 2113903 h 6698675"/>
              <a:gd name="connsiteX9290" fmla="*/ 4951206 w 8267681"/>
              <a:gd name="connsiteY9290" fmla="*/ 2111553 h 6698675"/>
              <a:gd name="connsiteX9291" fmla="*/ 4951206 w 8267681"/>
              <a:gd name="connsiteY9291" fmla="*/ 2109202 h 6698675"/>
              <a:gd name="connsiteX9292" fmla="*/ 4948858 w 8267681"/>
              <a:gd name="connsiteY9292" fmla="*/ 2109202 h 6698675"/>
              <a:gd name="connsiteX9293" fmla="*/ 4948858 w 8267681"/>
              <a:gd name="connsiteY9293" fmla="*/ 2104502 h 6698675"/>
              <a:gd name="connsiteX9294" fmla="*/ 4946509 w 8267681"/>
              <a:gd name="connsiteY9294" fmla="*/ 2104502 h 6698675"/>
              <a:gd name="connsiteX9295" fmla="*/ 4941811 w 8267681"/>
              <a:gd name="connsiteY9295" fmla="*/ 2111553 h 6698675"/>
              <a:gd name="connsiteX9296" fmla="*/ 4939463 w 8267681"/>
              <a:gd name="connsiteY9296" fmla="*/ 2111553 h 6698675"/>
              <a:gd name="connsiteX9297" fmla="*/ 4937114 w 8267681"/>
              <a:gd name="connsiteY9297" fmla="*/ 2109202 h 6698675"/>
              <a:gd name="connsiteX9298" fmla="*/ 4934765 w 8267681"/>
              <a:gd name="connsiteY9298" fmla="*/ 2111553 h 6698675"/>
              <a:gd name="connsiteX9299" fmla="*/ 4937114 w 8267681"/>
              <a:gd name="connsiteY9299" fmla="*/ 2106854 h 6698675"/>
              <a:gd name="connsiteX9300" fmla="*/ 4937114 w 8267681"/>
              <a:gd name="connsiteY9300" fmla="*/ 2104502 h 6698675"/>
              <a:gd name="connsiteX9301" fmla="*/ 4941811 w 8267681"/>
              <a:gd name="connsiteY9301" fmla="*/ 2099806 h 6698675"/>
              <a:gd name="connsiteX9302" fmla="*/ 4937114 w 8267681"/>
              <a:gd name="connsiteY9302" fmla="*/ 2099806 h 6698675"/>
              <a:gd name="connsiteX9303" fmla="*/ 4925370 w 8267681"/>
              <a:gd name="connsiteY9303" fmla="*/ 2109202 h 6698675"/>
              <a:gd name="connsiteX9304" fmla="*/ 4937114 w 8267681"/>
              <a:gd name="connsiteY9304" fmla="*/ 2097458 h 6698675"/>
              <a:gd name="connsiteX9305" fmla="*/ 4951206 w 8267681"/>
              <a:gd name="connsiteY9305" fmla="*/ 2090411 h 6698675"/>
              <a:gd name="connsiteX9306" fmla="*/ 4955904 w 8267681"/>
              <a:gd name="connsiteY9306" fmla="*/ 2088062 h 6698675"/>
              <a:gd name="connsiteX9307" fmla="*/ 4972346 w 8267681"/>
              <a:gd name="connsiteY9307" fmla="*/ 2076317 h 6698675"/>
              <a:gd name="connsiteX9308" fmla="*/ 4958253 w 8267681"/>
              <a:gd name="connsiteY9308" fmla="*/ 2092760 h 6698675"/>
              <a:gd name="connsiteX9309" fmla="*/ 4953555 w 8267681"/>
              <a:gd name="connsiteY9309" fmla="*/ 2099806 h 6698675"/>
              <a:gd name="connsiteX9310" fmla="*/ 4955904 w 8267681"/>
              <a:gd name="connsiteY9310" fmla="*/ 2099806 h 6698675"/>
              <a:gd name="connsiteX9311" fmla="*/ 4960602 w 8267681"/>
              <a:gd name="connsiteY9311" fmla="*/ 2097458 h 6698675"/>
              <a:gd name="connsiteX9312" fmla="*/ 4967648 w 8267681"/>
              <a:gd name="connsiteY9312" fmla="*/ 2095111 h 6698675"/>
              <a:gd name="connsiteX9313" fmla="*/ 4965299 w 8267681"/>
              <a:gd name="connsiteY9313" fmla="*/ 2099806 h 6698675"/>
              <a:gd name="connsiteX9314" fmla="*/ 4974694 w 8267681"/>
              <a:gd name="connsiteY9314" fmla="*/ 2092760 h 6698675"/>
              <a:gd name="connsiteX9315" fmla="*/ 4972346 w 8267681"/>
              <a:gd name="connsiteY9315" fmla="*/ 2097458 h 6698675"/>
              <a:gd name="connsiteX9316" fmla="*/ 4979392 w 8267681"/>
              <a:gd name="connsiteY9316" fmla="*/ 2097458 h 6698675"/>
              <a:gd name="connsiteX9317" fmla="*/ 4984090 w 8267681"/>
              <a:gd name="connsiteY9317" fmla="*/ 2090411 h 6698675"/>
              <a:gd name="connsiteX9318" fmla="*/ 4981741 w 8267681"/>
              <a:gd name="connsiteY9318" fmla="*/ 2081019 h 6698675"/>
              <a:gd name="connsiteX9319" fmla="*/ 4972346 w 8267681"/>
              <a:gd name="connsiteY9319" fmla="*/ 2083361 h 6698675"/>
              <a:gd name="connsiteX9320" fmla="*/ 4972346 w 8267681"/>
              <a:gd name="connsiteY9320" fmla="*/ 2081019 h 6698675"/>
              <a:gd name="connsiteX9321" fmla="*/ 4969997 w 8267681"/>
              <a:gd name="connsiteY9321" fmla="*/ 2081019 h 6698675"/>
              <a:gd name="connsiteX9322" fmla="*/ 4974694 w 8267681"/>
              <a:gd name="connsiteY9322" fmla="*/ 2073967 h 6698675"/>
              <a:gd name="connsiteX9323" fmla="*/ 4974694 w 8267681"/>
              <a:gd name="connsiteY9323" fmla="*/ 2062226 h 6698675"/>
              <a:gd name="connsiteX9324" fmla="*/ 4972346 w 8267681"/>
              <a:gd name="connsiteY9324" fmla="*/ 2064576 h 6698675"/>
              <a:gd name="connsiteX9325" fmla="*/ 4967648 w 8267681"/>
              <a:gd name="connsiteY9325" fmla="*/ 2062226 h 6698675"/>
              <a:gd name="connsiteX9326" fmla="*/ 4967648 w 8267681"/>
              <a:gd name="connsiteY9326" fmla="*/ 2059879 h 6698675"/>
              <a:gd name="connsiteX9327" fmla="*/ 4965299 w 8267681"/>
              <a:gd name="connsiteY9327" fmla="*/ 2062226 h 6698675"/>
              <a:gd name="connsiteX9328" fmla="*/ 4962950 w 8267681"/>
              <a:gd name="connsiteY9328" fmla="*/ 2059879 h 6698675"/>
              <a:gd name="connsiteX9329" fmla="*/ 4967648 w 8267681"/>
              <a:gd name="connsiteY9329" fmla="*/ 2055183 h 6698675"/>
              <a:gd name="connsiteX9330" fmla="*/ 4965299 w 8267681"/>
              <a:gd name="connsiteY9330" fmla="*/ 2055183 h 6698675"/>
              <a:gd name="connsiteX9331" fmla="*/ 4962950 w 8267681"/>
              <a:gd name="connsiteY9331" fmla="*/ 2057527 h 6698675"/>
              <a:gd name="connsiteX9332" fmla="*/ 4958253 w 8267681"/>
              <a:gd name="connsiteY9332" fmla="*/ 2059879 h 6698675"/>
              <a:gd name="connsiteX9333" fmla="*/ 4967313 w 8267681"/>
              <a:gd name="connsiteY9333" fmla="*/ 2051825 h 6698675"/>
              <a:gd name="connsiteX9334" fmla="*/ 4967648 w 8267681"/>
              <a:gd name="connsiteY9334" fmla="*/ 2052830 h 6698675"/>
              <a:gd name="connsiteX9335" fmla="*/ 4969326 w 8267681"/>
              <a:gd name="connsiteY9335" fmla="*/ 2050036 h 6698675"/>
              <a:gd name="connsiteX9336" fmla="*/ 4972346 w 8267681"/>
              <a:gd name="connsiteY9336" fmla="*/ 2047353 h 6698675"/>
              <a:gd name="connsiteX9337" fmla="*/ 4972346 w 8267681"/>
              <a:gd name="connsiteY9337" fmla="*/ 2048132 h 6698675"/>
              <a:gd name="connsiteX9338" fmla="*/ 4977209 w 8267681"/>
              <a:gd name="connsiteY9338" fmla="*/ 2043030 h 6698675"/>
              <a:gd name="connsiteX9339" fmla="*/ 4979392 w 8267681"/>
              <a:gd name="connsiteY9339" fmla="*/ 2041086 h 6698675"/>
              <a:gd name="connsiteX9340" fmla="*/ 4981741 w 8267681"/>
              <a:gd name="connsiteY9340" fmla="*/ 2038738 h 6698675"/>
              <a:gd name="connsiteX9341" fmla="*/ 4984090 w 8267681"/>
              <a:gd name="connsiteY9341" fmla="*/ 2036390 h 6698675"/>
              <a:gd name="connsiteX9342" fmla="*/ 5258207 w 8267681"/>
              <a:gd name="connsiteY9342" fmla="*/ 2030997 h 6698675"/>
              <a:gd name="connsiteX9343" fmla="*/ 5258898 w 8267681"/>
              <a:gd name="connsiteY9343" fmla="*/ 2031688 h 6698675"/>
              <a:gd name="connsiteX9344" fmla="*/ 5254200 w 8267681"/>
              <a:gd name="connsiteY9344" fmla="*/ 2036390 h 6698675"/>
              <a:gd name="connsiteX9345" fmla="*/ 5257430 w 8267681"/>
              <a:gd name="connsiteY9345" fmla="*/ 2032866 h 6698675"/>
              <a:gd name="connsiteX9346" fmla="*/ 4896294 w 8267681"/>
              <a:gd name="connsiteY9346" fmla="*/ 2028748 h 6698675"/>
              <a:gd name="connsiteX9347" fmla="*/ 4895996 w 8267681"/>
              <a:gd name="connsiteY9347" fmla="*/ 2029341 h 6698675"/>
              <a:gd name="connsiteX9348" fmla="*/ 4897184 w 8267681"/>
              <a:gd name="connsiteY9348" fmla="*/ 2029341 h 6698675"/>
              <a:gd name="connsiteX9349" fmla="*/ 5258115 w 8267681"/>
              <a:gd name="connsiteY9349" fmla="*/ 2028559 h 6698675"/>
              <a:gd name="connsiteX9350" fmla="*/ 5258898 w 8267681"/>
              <a:gd name="connsiteY9350" fmla="*/ 2029341 h 6698675"/>
              <a:gd name="connsiteX9351" fmla="*/ 5258207 w 8267681"/>
              <a:gd name="connsiteY9351" fmla="*/ 2030997 h 6698675"/>
              <a:gd name="connsiteX9352" fmla="*/ 5256549 w 8267681"/>
              <a:gd name="connsiteY9352" fmla="*/ 2029341 h 6698675"/>
              <a:gd name="connsiteX9353" fmla="*/ 4993485 w 8267681"/>
              <a:gd name="connsiteY9353" fmla="*/ 2026995 h 6698675"/>
              <a:gd name="connsiteX9354" fmla="*/ 4988787 w 8267681"/>
              <a:gd name="connsiteY9354" fmla="*/ 2031688 h 6698675"/>
              <a:gd name="connsiteX9355" fmla="*/ 4986537 w 8267681"/>
              <a:gd name="connsiteY9355" fmla="*/ 2033942 h 6698675"/>
              <a:gd name="connsiteX9356" fmla="*/ 6379263 w 8267681"/>
              <a:gd name="connsiteY9356" fmla="*/ 2024644 h 6698675"/>
              <a:gd name="connsiteX9357" fmla="*/ 6414495 w 8267681"/>
              <a:gd name="connsiteY9357" fmla="*/ 2031688 h 6698675"/>
              <a:gd name="connsiteX9358" fmla="*/ 6423890 w 8267681"/>
              <a:gd name="connsiteY9358" fmla="*/ 2034040 h 6698675"/>
              <a:gd name="connsiteX9359" fmla="*/ 6412146 w 8267681"/>
              <a:gd name="connsiteY9359" fmla="*/ 2031688 h 6698675"/>
              <a:gd name="connsiteX9360" fmla="*/ 6379263 w 8267681"/>
              <a:gd name="connsiteY9360" fmla="*/ 2024644 h 6698675"/>
              <a:gd name="connsiteX9361" fmla="*/ 4913626 w 8267681"/>
              <a:gd name="connsiteY9361" fmla="*/ 2024644 h 6698675"/>
              <a:gd name="connsiteX9362" fmla="*/ 4913626 w 8267681"/>
              <a:gd name="connsiteY9362" fmla="*/ 2031688 h 6698675"/>
              <a:gd name="connsiteX9363" fmla="*/ 4923021 w 8267681"/>
              <a:gd name="connsiteY9363" fmla="*/ 2024644 h 6698675"/>
              <a:gd name="connsiteX9364" fmla="*/ 5336407 w 8267681"/>
              <a:gd name="connsiteY9364" fmla="*/ 2014813 h 6698675"/>
              <a:gd name="connsiteX9365" fmla="*/ 5336407 w 8267681"/>
              <a:gd name="connsiteY9365" fmla="*/ 2015249 h 6698675"/>
              <a:gd name="connsiteX9366" fmla="*/ 5337146 w 8267681"/>
              <a:gd name="connsiteY9366" fmla="*/ 2015249 h 6698675"/>
              <a:gd name="connsiteX9367" fmla="*/ 6064527 w 8267681"/>
              <a:gd name="connsiteY9367" fmla="*/ 2010553 h 6698675"/>
              <a:gd name="connsiteX9368" fmla="*/ 6062178 w 8267681"/>
              <a:gd name="connsiteY9368" fmla="*/ 2012900 h 6698675"/>
              <a:gd name="connsiteX9369" fmla="*/ 6083317 w 8267681"/>
              <a:gd name="connsiteY9369" fmla="*/ 2012900 h 6698675"/>
              <a:gd name="connsiteX9370" fmla="*/ 6085666 w 8267681"/>
              <a:gd name="connsiteY9370" fmla="*/ 2010553 h 6698675"/>
              <a:gd name="connsiteX9371" fmla="*/ 6064527 w 8267681"/>
              <a:gd name="connsiteY9371" fmla="*/ 2010553 h 6698675"/>
              <a:gd name="connsiteX9372" fmla="*/ 6294316 w 8267681"/>
              <a:gd name="connsiteY9372" fmla="*/ 2010163 h 6698675"/>
              <a:gd name="connsiteX9373" fmla="*/ 6299405 w 8267681"/>
              <a:gd name="connsiteY9373" fmla="*/ 2010553 h 6698675"/>
              <a:gd name="connsiteX9374" fmla="*/ 6327590 w 8267681"/>
              <a:gd name="connsiteY9374" fmla="*/ 2015247 h 6698675"/>
              <a:gd name="connsiteX9375" fmla="*/ 6297056 w 8267681"/>
              <a:gd name="connsiteY9375" fmla="*/ 2010553 h 6698675"/>
              <a:gd name="connsiteX9376" fmla="*/ 6127944 w 8267681"/>
              <a:gd name="connsiteY9376" fmla="*/ 2008212 h 6698675"/>
              <a:gd name="connsiteX9377" fmla="*/ 6144390 w 8267681"/>
              <a:gd name="connsiteY9377" fmla="*/ 2010553 h 6698675"/>
              <a:gd name="connsiteX9378" fmla="*/ 6127944 w 8267681"/>
              <a:gd name="connsiteY9378" fmla="*/ 2010553 h 6698675"/>
              <a:gd name="connsiteX9379" fmla="*/ 6160827 w 8267681"/>
              <a:gd name="connsiteY9379" fmla="*/ 2012900 h 6698675"/>
              <a:gd name="connsiteX9380" fmla="*/ 6144390 w 8267681"/>
              <a:gd name="connsiteY9380" fmla="*/ 2010553 h 6698675"/>
              <a:gd name="connsiteX9381" fmla="*/ 6163175 w 8267681"/>
              <a:gd name="connsiteY9381" fmla="*/ 2010553 h 6698675"/>
              <a:gd name="connsiteX9382" fmla="*/ 6127944 w 8267681"/>
              <a:gd name="connsiteY9382" fmla="*/ 2008212 h 6698675"/>
              <a:gd name="connsiteX9383" fmla="*/ 4723375 w 8267681"/>
              <a:gd name="connsiteY9383" fmla="*/ 2008212 h 6698675"/>
              <a:gd name="connsiteX9384" fmla="*/ 4739816 w 8267681"/>
              <a:gd name="connsiteY9384" fmla="*/ 2026993 h 6698675"/>
              <a:gd name="connsiteX9385" fmla="*/ 4760955 w 8267681"/>
              <a:gd name="connsiteY9385" fmla="*/ 2015247 h 6698675"/>
              <a:gd name="connsiteX9386" fmla="*/ 4751560 w 8267681"/>
              <a:gd name="connsiteY9386" fmla="*/ 2015247 h 6698675"/>
              <a:gd name="connsiteX9387" fmla="*/ 4737467 w 8267681"/>
              <a:gd name="connsiteY9387" fmla="*/ 2012900 h 6698675"/>
              <a:gd name="connsiteX9388" fmla="*/ 4728072 w 8267681"/>
              <a:gd name="connsiteY9388" fmla="*/ 2010553 h 6698675"/>
              <a:gd name="connsiteX9389" fmla="*/ 4723375 w 8267681"/>
              <a:gd name="connsiteY9389" fmla="*/ 2008212 h 6698675"/>
              <a:gd name="connsiteX9390" fmla="*/ 4631772 w 8267681"/>
              <a:gd name="connsiteY9390" fmla="*/ 2003507 h 6698675"/>
              <a:gd name="connsiteX9391" fmla="*/ 4580099 w 8267681"/>
              <a:gd name="connsiteY9391" fmla="*/ 2015247 h 6698675"/>
              <a:gd name="connsiteX9392" fmla="*/ 4631772 w 8267681"/>
              <a:gd name="connsiteY9392" fmla="*/ 2003507 h 6698675"/>
              <a:gd name="connsiteX9393" fmla="*/ 5536054 w 8267681"/>
              <a:gd name="connsiteY9393" fmla="*/ 2001159 h 6698675"/>
              <a:gd name="connsiteX9394" fmla="*/ 5540751 w 8267681"/>
              <a:gd name="connsiteY9394" fmla="*/ 2003509 h 6698675"/>
              <a:gd name="connsiteX9395" fmla="*/ 5545448 w 8267681"/>
              <a:gd name="connsiteY9395" fmla="*/ 2005860 h 6698675"/>
              <a:gd name="connsiteX9396" fmla="*/ 5536054 w 8267681"/>
              <a:gd name="connsiteY9396" fmla="*/ 2001159 h 6698675"/>
              <a:gd name="connsiteX9397" fmla="*/ 5465590 w 8267681"/>
              <a:gd name="connsiteY9397" fmla="*/ 2001156 h 6698675"/>
              <a:gd name="connsiteX9398" fmla="*/ 5472636 w 8267681"/>
              <a:gd name="connsiteY9398" fmla="*/ 2008209 h 6698675"/>
              <a:gd name="connsiteX9399" fmla="*/ 5467938 w 8267681"/>
              <a:gd name="connsiteY9399" fmla="*/ 2008209 h 6698675"/>
              <a:gd name="connsiteX9400" fmla="*/ 5465590 w 8267681"/>
              <a:gd name="connsiteY9400" fmla="*/ 2008209 h 6698675"/>
              <a:gd name="connsiteX9401" fmla="*/ 5465590 w 8267681"/>
              <a:gd name="connsiteY9401" fmla="*/ 2001156 h 6698675"/>
              <a:gd name="connsiteX9402" fmla="*/ 4928078 w 8267681"/>
              <a:gd name="connsiteY9402" fmla="*/ 2000649 h 6698675"/>
              <a:gd name="connsiteX9403" fmla="*/ 4910667 w 8267681"/>
              <a:gd name="connsiteY9403" fmla="*/ 2011913 h 6698675"/>
              <a:gd name="connsiteX9404" fmla="*/ 4920672 w 8267681"/>
              <a:gd name="connsiteY9404" fmla="*/ 2015249 h 6698675"/>
              <a:gd name="connsiteX9405" fmla="*/ 4927719 w 8267681"/>
              <a:gd name="connsiteY9405" fmla="*/ 2005860 h 6698675"/>
              <a:gd name="connsiteX9406" fmla="*/ 4928013 w 8267681"/>
              <a:gd name="connsiteY9406" fmla="*/ 2000755 h 6698675"/>
              <a:gd name="connsiteX9407" fmla="*/ 4603844 w 8267681"/>
              <a:gd name="connsiteY9407" fmla="*/ 1996131 h 6698675"/>
              <a:gd name="connsiteX9408" fmla="*/ 4598889 w 8267681"/>
              <a:gd name="connsiteY9408" fmla="*/ 1996461 h 6698675"/>
              <a:gd name="connsiteX9409" fmla="*/ 4603844 w 8267681"/>
              <a:gd name="connsiteY9409" fmla="*/ 1996131 h 6698675"/>
              <a:gd name="connsiteX9410" fmla="*/ 4839368 w 8267681"/>
              <a:gd name="connsiteY9410" fmla="*/ 1995558 h 6698675"/>
              <a:gd name="connsiteX9411" fmla="*/ 4840813 w 8267681"/>
              <a:gd name="connsiteY9411" fmla="*/ 1996461 h 6698675"/>
              <a:gd name="connsiteX9412" fmla="*/ 4840633 w 8267681"/>
              <a:gd name="connsiteY9412" fmla="*/ 1996642 h 6698675"/>
              <a:gd name="connsiteX9413" fmla="*/ 5601574 w 8267681"/>
              <a:gd name="connsiteY9413" fmla="*/ 1992646 h 6698675"/>
              <a:gd name="connsiteX9414" fmla="*/ 5603076 w 8267681"/>
              <a:gd name="connsiteY9414" fmla="*/ 1993275 h 6698675"/>
              <a:gd name="connsiteX9415" fmla="*/ 5601819 w 8267681"/>
              <a:gd name="connsiteY9415" fmla="*/ 1994112 h 6698675"/>
              <a:gd name="connsiteX9416" fmla="*/ 6139687 w 8267681"/>
              <a:gd name="connsiteY9416" fmla="*/ 1991764 h 6698675"/>
              <a:gd name="connsiteX9417" fmla="*/ 6130292 w 8267681"/>
              <a:gd name="connsiteY9417" fmla="*/ 2003509 h 6698675"/>
              <a:gd name="connsiteX9418" fmla="*/ 6167873 w 8267681"/>
              <a:gd name="connsiteY9418" fmla="*/ 2005860 h 6698675"/>
              <a:gd name="connsiteX9419" fmla="*/ 6179617 w 8267681"/>
              <a:gd name="connsiteY9419" fmla="*/ 1994112 h 6698675"/>
              <a:gd name="connsiteX9420" fmla="*/ 6139687 w 8267681"/>
              <a:gd name="connsiteY9420" fmla="*/ 1991764 h 6698675"/>
              <a:gd name="connsiteX9421" fmla="*/ 5521961 w 8267681"/>
              <a:gd name="connsiteY9421" fmla="*/ 1991764 h 6698675"/>
              <a:gd name="connsiteX9422" fmla="*/ 5529007 w 8267681"/>
              <a:gd name="connsiteY9422" fmla="*/ 1996460 h 6698675"/>
              <a:gd name="connsiteX9423" fmla="*/ 5524310 w 8267681"/>
              <a:gd name="connsiteY9423" fmla="*/ 1994112 h 6698675"/>
              <a:gd name="connsiteX9424" fmla="*/ 5521961 w 8267681"/>
              <a:gd name="connsiteY9424" fmla="*/ 1991764 h 6698675"/>
              <a:gd name="connsiteX9425" fmla="*/ 5517263 w 8267681"/>
              <a:gd name="connsiteY9425" fmla="*/ 1991764 h 6698675"/>
              <a:gd name="connsiteX9426" fmla="*/ 5519612 w 8267681"/>
              <a:gd name="connsiteY9426" fmla="*/ 1991764 h 6698675"/>
              <a:gd name="connsiteX9427" fmla="*/ 5529007 w 8267681"/>
              <a:gd name="connsiteY9427" fmla="*/ 1998810 h 6698675"/>
              <a:gd name="connsiteX9428" fmla="*/ 5524310 w 8267681"/>
              <a:gd name="connsiteY9428" fmla="*/ 1996460 h 6698675"/>
              <a:gd name="connsiteX9429" fmla="*/ 5519612 w 8267681"/>
              <a:gd name="connsiteY9429" fmla="*/ 1994112 h 6698675"/>
              <a:gd name="connsiteX9430" fmla="*/ 5517263 w 8267681"/>
              <a:gd name="connsiteY9430" fmla="*/ 1991764 h 6698675"/>
              <a:gd name="connsiteX9431" fmla="*/ 5042809 w 8267681"/>
              <a:gd name="connsiteY9431" fmla="*/ 1989415 h 6698675"/>
              <a:gd name="connsiteX9432" fmla="*/ 5045158 w 8267681"/>
              <a:gd name="connsiteY9432" fmla="*/ 1989415 h 6698675"/>
              <a:gd name="connsiteX9433" fmla="*/ 5038113 w 8267681"/>
              <a:gd name="connsiteY9433" fmla="*/ 1991764 h 6698675"/>
              <a:gd name="connsiteX9434" fmla="*/ 6078620 w 8267681"/>
              <a:gd name="connsiteY9434" fmla="*/ 1987067 h 6698675"/>
              <a:gd name="connsiteX9435" fmla="*/ 6069224 w 8267681"/>
              <a:gd name="connsiteY9435" fmla="*/ 1998811 h 6698675"/>
              <a:gd name="connsiteX9436" fmla="*/ 6092712 w 8267681"/>
              <a:gd name="connsiteY9436" fmla="*/ 1998811 h 6698675"/>
              <a:gd name="connsiteX9437" fmla="*/ 6102108 w 8267681"/>
              <a:gd name="connsiteY9437" fmla="*/ 1989415 h 6698675"/>
              <a:gd name="connsiteX9438" fmla="*/ 6078620 w 8267681"/>
              <a:gd name="connsiteY9438" fmla="*/ 1987067 h 6698675"/>
              <a:gd name="connsiteX9439" fmla="*/ 4927718 w 8267681"/>
              <a:gd name="connsiteY9439" fmla="*/ 1984718 h 6698675"/>
              <a:gd name="connsiteX9440" fmla="*/ 4925370 w 8267681"/>
              <a:gd name="connsiteY9440" fmla="*/ 1989415 h 6698675"/>
              <a:gd name="connsiteX9441" fmla="*/ 4926865 w 8267681"/>
              <a:gd name="connsiteY9441" fmla="*/ 1989629 h 6698675"/>
              <a:gd name="connsiteX9442" fmla="*/ 4927426 w 8267681"/>
              <a:gd name="connsiteY9442" fmla="*/ 1987948 h 6698675"/>
              <a:gd name="connsiteX9443" fmla="*/ 4931779 w 8267681"/>
              <a:gd name="connsiteY9443" fmla="*/ 1987424 h 6698675"/>
              <a:gd name="connsiteX9444" fmla="*/ 6146734 w 8267681"/>
              <a:gd name="connsiteY9444" fmla="*/ 1982369 h 6698675"/>
              <a:gd name="connsiteX9445" fmla="*/ 6144385 w 8267681"/>
              <a:gd name="connsiteY9445" fmla="*/ 1987067 h 6698675"/>
              <a:gd name="connsiteX9446" fmla="*/ 6179617 w 8267681"/>
              <a:gd name="connsiteY9446" fmla="*/ 1989415 h 6698675"/>
              <a:gd name="connsiteX9447" fmla="*/ 6181966 w 8267681"/>
              <a:gd name="connsiteY9447" fmla="*/ 1989415 h 6698675"/>
              <a:gd name="connsiteX9448" fmla="*/ 6186663 w 8267681"/>
              <a:gd name="connsiteY9448" fmla="*/ 1984719 h 6698675"/>
              <a:gd name="connsiteX9449" fmla="*/ 6146734 w 8267681"/>
              <a:gd name="connsiteY9449" fmla="*/ 1982369 h 6698675"/>
              <a:gd name="connsiteX9450" fmla="*/ 4941811 w 8267681"/>
              <a:gd name="connsiteY9450" fmla="*/ 1982369 h 6698675"/>
              <a:gd name="connsiteX9451" fmla="*/ 4939462 w 8267681"/>
              <a:gd name="connsiteY9451" fmla="*/ 1984718 h 6698675"/>
              <a:gd name="connsiteX9452" fmla="*/ 4932416 w 8267681"/>
              <a:gd name="connsiteY9452" fmla="*/ 1984718 h 6698675"/>
              <a:gd name="connsiteX9453" fmla="*/ 4933657 w 8267681"/>
              <a:gd name="connsiteY9453" fmla="*/ 1987199 h 6698675"/>
              <a:gd name="connsiteX9454" fmla="*/ 4934765 w 8267681"/>
              <a:gd name="connsiteY9454" fmla="*/ 1987067 h 6698675"/>
              <a:gd name="connsiteX9455" fmla="*/ 4944160 w 8267681"/>
              <a:gd name="connsiteY9455" fmla="*/ 1984719 h 6698675"/>
              <a:gd name="connsiteX9456" fmla="*/ 4944968 w 8267681"/>
              <a:gd name="connsiteY9456" fmla="*/ 1983947 h 6698675"/>
              <a:gd name="connsiteX9457" fmla="*/ 4967648 w 8267681"/>
              <a:gd name="connsiteY9457" fmla="*/ 1979498 h 6698675"/>
              <a:gd name="connsiteX9458" fmla="*/ 4964035 w 8267681"/>
              <a:gd name="connsiteY9458" fmla="*/ 1981105 h 6698675"/>
              <a:gd name="connsiteX9459" fmla="*/ 4967648 w 8267681"/>
              <a:gd name="connsiteY9459" fmla="*/ 1984719 h 6698675"/>
              <a:gd name="connsiteX9460" fmla="*/ 6083317 w 8267681"/>
              <a:gd name="connsiteY9460" fmla="*/ 1977673 h 6698675"/>
              <a:gd name="connsiteX9461" fmla="*/ 6080968 w 8267681"/>
              <a:gd name="connsiteY9461" fmla="*/ 1982369 h 6698675"/>
              <a:gd name="connsiteX9462" fmla="*/ 6085666 w 8267681"/>
              <a:gd name="connsiteY9462" fmla="*/ 1982369 h 6698675"/>
              <a:gd name="connsiteX9463" fmla="*/ 6104456 w 8267681"/>
              <a:gd name="connsiteY9463" fmla="*/ 1984719 h 6698675"/>
              <a:gd name="connsiteX9464" fmla="*/ 6109154 w 8267681"/>
              <a:gd name="connsiteY9464" fmla="*/ 1980020 h 6698675"/>
              <a:gd name="connsiteX9465" fmla="*/ 6083317 w 8267681"/>
              <a:gd name="connsiteY9465" fmla="*/ 1977673 h 6698675"/>
              <a:gd name="connsiteX9466" fmla="*/ 4993485 w 8267681"/>
              <a:gd name="connsiteY9466" fmla="*/ 1977673 h 6698675"/>
              <a:gd name="connsiteX9467" fmla="*/ 5000531 w 8267681"/>
              <a:gd name="connsiteY9467" fmla="*/ 1984719 h 6698675"/>
              <a:gd name="connsiteX9468" fmla="*/ 5000531 w 8267681"/>
              <a:gd name="connsiteY9468" fmla="*/ 1977673 h 6698675"/>
              <a:gd name="connsiteX9469" fmla="*/ 4676399 w 8267681"/>
              <a:gd name="connsiteY9469" fmla="*/ 1975323 h 6698675"/>
              <a:gd name="connsiteX9470" fmla="*/ 4629423 w 8267681"/>
              <a:gd name="connsiteY9470" fmla="*/ 1989415 h 6698675"/>
              <a:gd name="connsiteX9471" fmla="*/ 4676399 w 8267681"/>
              <a:gd name="connsiteY9471" fmla="*/ 1975323 h 6698675"/>
              <a:gd name="connsiteX9472" fmla="*/ 5411567 w 8267681"/>
              <a:gd name="connsiteY9472" fmla="*/ 1972972 h 6698675"/>
              <a:gd name="connsiteX9473" fmla="*/ 5425660 w 8267681"/>
              <a:gd name="connsiteY9473" fmla="*/ 1977671 h 6698675"/>
              <a:gd name="connsiteX9474" fmla="*/ 5411567 w 8267681"/>
              <a:gd name="connsiteY9474" fmla="*/ 1982367 h 6698675"/>
              <a:gd name="connsiteX9475" fmla="*/ 5406870 w 8267681"/>
              <a:gd name="connsiteY9475" fmla="*/ 1975321 h 6698675"/>
              <a:gd name="connsiteX9476" fmla="*/ 5411567 w 8267681"/>
              <a:gd name="connsiteY9476" fmla="*/ 1972972 h 6698675"/>
              <a:gd name="connsiteX9477" fmla="*/ 4815308 w 8267681"/>
              <a:gd name="connsiteY9477" fmla="*/ 1971213 h 6698675"/>
              <a:gd name="connsiteX9478" fmla="*/ 4793838 w 8267681"/>
              <a:gd name="connsiteY9478" fmla="*/ 1987067 h 6698675"/>
              <a:gd name="connsiteX9479" fmla="*/ 4826721 w 8267681"/>
              <a:gd name="connsiteY9479" fmla="*/ 1972974 h 6698675"/>
              <a:gd name="connsiteX9480" fmla="*/ 4815308 w 8267681"/>
              <a:gd name="connsiteY9480" fmla="*/ 1971213 h 6698675"/>
              <a:gd name="connsiteX9481" fmla="*/ 5054553 w 8267681"/>
              <a:gd name="connsiteY9481" fmla="*/ 1970625 h 6698675"/>
              <a:gd name="connsiteX9482" fmla="*/ 5054553 w 8267681"/>
              <a:gd name="connsiteY9482" fmla="*/ 1977673 h 6698675"/>
              <a:gd name="connsiteX9483" fmla="*/ 5063948 w 8267681"/>
              <a:gd name="connsiteY9483" fmla="*/ 1970625 h 6698675"/>
              <a:gd name="connsiteX9484" fmla="*/ 5014623 w 8267681"/>
              <a:gd name="connsiteY9484" fmla="*/ 1968276 h 6698675"/>
              <a:gd name="connsiteX9485" fmla="*/ 5007577 w 8267681"/>
              <a:gd name="connsiteY9485" fmla="*/ 1975323 h 6698675"/>
              <a:gd name="connsiteX9486" fmla="*/ 5014623 w 8267681"/>
              <a:gd name="connsiteY9486" fmla="*/ 1977673 h 6698675"/>
              <a:gd name="connsiteX9487" fmla="*/ 5195481 w 8267681"/>
              <a:gd name="connsiteY9487" fmla="*/ 1961230 h 6698675"/>
              <a:gd name="connsiteX9488" fmla="*/ 5190783 w 8267681"/>
              <a:gd name="connsiteY9488" fmla="*/ 1963579 h 6698675"/>
              <a:gd name="connsiteX9489" fmla="*/ 5174341 w 8267681"/>
              <a:gd name="connsiteY9489" fmla="*/ 1965927 h 6698675"/>
              <a:gd name="connsiteX9490" fmla="*/ 5174341 w 8267681"/>
              <a:gd name="connsiteY9490" fmla="*/ 1968276 h 6698675"/>
              <a:gd name="connsiteX9491" fmla="*/ 5164946 w 8267681"/>
              <a:gd name="connsiteY9491" fmla="*/ 1968276 h 6698675"/>
              <a:gd name="connsiteX9492" fmla="*/ 5153203 w 8267681"/>
              <a:gd name="connsiteY9492" fmla="*/ 1975323 h 6698675"/>
              <a:gd name="connsiteX9493" fmla="*/ 5157900 w 8267681"/>
              <a:gd name="connsiteY9493" fmla="*/ 1972974 h 6698675"/>
              <a:gd name="connsiteX9494" fmla="*/ 5164946 w 8267681"/>
              <a:gd name="connsiteY9494" fmla="*/ 1972974 h 6698675"/>
              <a:gd name="connsiteX9495" fmla="*/ 5164946 w 8267681"/>
              <a:gd name="connsiteY9495" fmla="*/ 1977673 h 6698675"/>
              <a:gd name="connsiteX9496" fmla="*/ 5167295 w 8267681"/>
              <a:gd name="connsiteY9496" fmla="*/ 1982369 h 6698675"/>
              <a:gd name="connsiteX9497" fmla="*/ 5171993 w 8267681"/>
              <a:gd name="connsiteY9497" fmla="*/ 1980020 h 6698675"/>
              <a:gd name="connsiteX9498" fmla="*/ 5169644 w 8267681"/>
              <a:gd name="connsiteY9498" fmla="*/ 1977673 h 6698675"/>
              <a:gd name="connsiteX9499" fmla="*/ 5183737 w 8267681"/>
              <a:gd name="connsiteY9499" fmla="*/ 1977673 h 6698675"/>
              <a:gd name="connsiteX9500" fmla="*/ 5200178 w 8267681"/>
              <a:gd name="connsiteY9500" fmla="*/ 1972974 h 6698675"/>
              <a:gd name="connsiteX9501" fmla="*/ 5214271 w 8267681"/>
              <a:gd name="connsiteY9501" fmla="*/ 1965927 h 6698675"/>
              <a:gd name="connsiteX9502" fmla="*/ 5207225 w 8267681"/>
              <a:gd name="connsiteY9502" fmla="*/ 1963579 h 6698675"/>
              <a:gd name="connsiteX9503" fmla="*/ 5204876 w 8267681"/>
              <a:gd name="connsiteY9503" fmla="*/ 1963579 h 6698675"/>
              <a:gd name="connsiteX9504" fmla="*/ 5204876 w 8267681"/>
              <a:gd name="connsiteY9504" fmla="*/ 1961230 h 6698675"/>
              <a:gd name="connsiteX9505" fmla="*/ 5200178 w 8267681"/>
              <a:gd name="connsiteY9505" fmla="*/ 1961230 h 6698675"/>
              <a:gd name="connsiteX9506" fmla="*/ 5195481 w 8267681"/>
              <a:gd name="connsiteY9506" fmla="*/ 1961230 h 6698675"/>
              <a:gd name="connsiteX9507" fmla="*/ 4981741 w 8267681"/>
              <a:gd name="connsiteY9507" fmla="*/ 1958882 h 6698675"/>
              <a:gd name="connsiteX9508" fmla="*/ 4974694 w 8267681"/>
              <a:gd name="connsiteY9508" fmla="*/ 1968276 h 6698675"/>
              <a:gd name="connsiteX9509" fmla="*/ 4984090 w 8267681"/>
              <a:gd name="connsiteY9509" fmla="*/ 1970625 h 6698675"/>
              <a:gd name="connsiteX9510" fmla="*/ 4991136 w 8267681"/>
              <a:gd name="connsiteY9510" fmla="*/ 1975323 h 6698675"/>
              <a:gd name="connsiteX9511" fmla="*/ 4998182 w 8267681"/>
              <a:gd name="connsiteY9511" fmla="*/ 1965927 h 6698675"/>
              <a:gd name="connsiteX9512" fmla="*/ 4981741 w 8267681"/>
              <a:gd name="connsiteY9512" fmla="*/ 1958882 h 6698675"/>
              <a:gd name="connsiteX9513" fmla="*/ 4845511 w 8267681"/>
              <a:gd name="connsiteY9513" fmla="*/ 1958881 h 6698675"/>
              <a:gd name="connsiteX9514" fmla="*/ 4826721 w 8267681"/>
              <a:gd name="connsiteY9514" fmla="*/ 1984718 h 6698675"/>
              <a:gd name="connsiteX9515" fmla="*/ 4839368 w 8267681"/>
              <a:gd name="connsiteY9515" fmla="*/ 1995558 h 6698675"/>
              <a:gd name="connsiteX9516" fmla="*/ 4822023 w 8267681"/>
              <a:gd name="connsiteY9516" fmla="*/ 1984718 h 6698675"/>
              <a:gd name="connsiteX9517" fmla="*/ 4812628 w 8267681"/>
              <a:gd name="connsiteY9517" fmla="*/ 1991764 h 6698675"/>
              <a:gd name="connsiteX9518" fmla="*/ 4803233 w 8267681"/>
              <a:gd name="connsiteY9518" fmla="*/ 1998811 h 6698675"/>
              <a:gd name="connsiteX9519" fmla="*/ 4805582 w 8267681"/>
              <a:gd name="connsiteY9519" fmla="*/ 2001159 h 6698675"/>
              <a:gd name="connsiteX9520" fmla="*/ 4819675 w 8267681"/>
              <a:gd name="connsiteY9520" fmla="*/ 2012900 h 6698675"/>
              <a:gd name="connsiteX9521" fmla="*/ 4826721 w 8267681"/>
              <a:gd name="connsiteY9521" fmla="*/ 2019944 h 6698675"/>
              <a:gd name="connsiteX9522" fmla="*/ 4836116 w 8267681"/>
              <a:gd name="connsiteY9522" fmla="*/ 2017598 h 6698675"/>
              <a:gd name="connsiteX9523" fmla="*/ 4836116 w 8267681"/>
              <a:gd name="connsiteY9523" fmla="*/ 2001159 h 6698675"/>
              <a:gd name="connsiteX9524" fmla="*/ 4840633 w 8267681"/>
              <a:gd name="connsiteY9524" fmla="*/ 1996642 h 6698675"/>
              <a:gd name="connsiteX9525" fmla="*/ 4843162 w 8267681"/>
              <a:gd name="connsiteY9525" fmla="*/ 1998811 h 6698675"/>
              <a:gd name="connsiteX9526" fmla="*/ 4894835 w 8267681"/>
              <a:gd name="connsiteY9526" fmla="*/ 1984718 h 6698675"/>
              <a:gd name="connsiteX9527" fmla="*/ 4873696 w 8267681"/>
              <a:gd name="connsiteY9527" fmla="*/ 1968277 h 6698675"/>
              <a:gd name="connsiteX9528" fmla="*/ 4845511 w 8267681"/>
              <a:gd name="connsiteY9528" fmla="*/ 1958881 h 6698675"/>
              <a:gd name="connsiteX9529" fmla="*/ 5047780 w 8267681"/>
              <a:gd name="connsiteY9529" fmla="*/ 1954730 h 6698675"/>
              <a:gd name="connsiteX9530" fmla="*/ 5046669 w 8267681"/>
              <a:gd name="connsiteY9530" fmla="*/ 1955022 h 6698675"/>
              <a:gd name="connsiteX9531" fmla="*/ 5040460 w 8267681"/>
              <a:gd name="connsiteY9531" fmla="*/ 1961230 h 6698675"/>
              <a:gd name="connsiteX9532" fmla="*/ 5047507 w 8267681"/>
              <a:gd name="connsiteY9532" fmla="*/ 1965927 h 6698675"/>
              <a:gd name="connsiteX9533" fmla="*/ 5049855 w 8267681"/>
              <a:gd name="connsiteY9533" fmla="*/ 1958882 h 6698675"/>
              <a:gd name="connsiteX9534" fmla="*/ 5500822 w 8267681"/>
              <a:gd name="connsiteY9534" fmla="*/ 1954185 h 6698675"/>
              <a:gd name="connsiteX9535" fmla="*/ 5500822 w 8267681"/>
              <a:gd name="connsiteY9535" fmla="*/ 1965927 h 6698675"/>
              <a:gd name="connsiteX9536" fmla="*/ 5507868 w 8267681"/>
              <a:gd name="connsiteY9536" fmla="*/ 1961230 h 6698675"/>
              <a:gd name="connsiteX9537" fmla="*/ 4988787 w 8267681"/>
              <a:gd name="connsiteY9537" fmla="*/ 1951836 h 6698675"/>
              <a:gd name="connsiteX9538" fmla="*/ 5005228 w 8267681"/>
              <a:gd name="connsiteY9538" fmla="*/ 1961230 h 6698675"/>
              <a:gd name="connsiteX9539" fmla="*/ 5005228 w 8267681"/>
              <a:gd name="connsiteY9539" fmla="*/ 1951836 h 6698675"/>
              <a:gd name="connsiteX9540" fmla="*/ 4998182 w 8267681"/>
              <a:gd name="connsiteY9540" fmla="*/ 1954185 h 6698675"/>
              <a:gd name="connsiteX9541" fmla="*/ 5397475 w 8267681"/>
              <a:gd name="connsiteY9541" fmla="*/ 1949487 h 6698675"/>
              <a:gd name="connsiteX9542" fmla="*/ 5397475 w 8267681"/>
              <a:gd name="connsiteY9542" fmla="*/ 1951836 h 6698675"/>
              <a:gd name="connsiteX9543" fmla="*/ 5383383 w 8267681"/>
              <a:gd name="connsiteY9543" fmla="*/ 1951836 h 6698675"/>
              <a:gd name="connsiteX9544" fmla="*/ 5371639 w 8267681"/>
              <a:gd name="connsiteY9544" fmla="*/ 1954185 h 6698675"/>
              <a:gd name="connsiteX9545" fmla="*/ 5368914 w 8267681"/>
              <a:gd name="connsiteY9545" fmla="*/ 1956294 h 6698675"/>
              <a:gd name="connsiteX9546" fmla="*/ 5378684 w 8267681"/>
              <a:gd name="connsiteY9546" fmla="*/ 1998811 h 6698675"/>
              <a:gd name="connsiteX9547" fmla="*/ 5379436 w 8267681"/>
              <a:gd name="connsiteY9547" fmla="*/ 2017595 h 6698675"/>
              <a:gd name="connsiteX9548" fmla="*/ 5383382 w 8267681"/>
              <a:gd name="connsiteY9548" fmla="*/ 2017595 h 6698675"/>
              <a:gd name="connsiteX9549" fmla="*/ 5385731 w 8267681"/>
              <a:gd name="connsiteY9549" fmla="*/ 2012896 h 6698675"/>
              <a:gd name="connsiteX9550" fmla="*/ 5385731 w 8267681"/>
              <a:gd name="connsiteY9550" fmla="*/ 2005857 h 6698675"/>
              <a:gd name="connsiteX9551" fmla="*/ 5390428 w 8267681"/>
              <a:gd name="connsiteY9551" fmla="*/ 2005857 h 6698675"/>
              <a:gd name="connsiteX9552" fmla="*/ 5392777 w 8267681"/>
              <a:gd name="connsiteY9552" fmla="*/ 2003507 h 6698675"/>
              <a:gd name="connsiteX9553" fmla="*/ 5395126 w 8267681"/>
              <a:gd name="connsiteY9553" fmla="*/ 2005857 h 6698675"/>
              <a:gd name="connsiteX9554" fmla="*/ 5397475 w 8267681"/>
              <a:gd name="connsiteY9554" fmla="*/ 2005857 h 6698675"/>
              <a:gd name="connsiteX9555" fmla="*/ 5399824 w 8267681"/>
              <a:gd name="connsiteY9555" fmla="*/ 2001156 h 6698675"/>
              <a:gd name="connsiteX9556" fmla="*/ 5383382 w 8267681"/>
              <a:gd name="connsiteY9556" fmla="*/ 1991762 h 6698675"/>
              <a:gd name="connsiteX9557" fmla="*/ 5390428 w 8267681"/>
              <a:gd name="connsiteY9557" fmla="*/ 1980018 h 6698675"/>
              <a:gd name="connsiteX9558" fmla="*/ 5392777 w 8267681"/>
              <a:gd name="connsiteY9558" fmla="*/ 1980018 h 6698675"/>
              <a:gd name="connsiteX9559" fmla="*/ 5402172 w 8267681"/>
              <a:gd name="connsiteY9559" fmla="*/ 1984714 h 6698675"/>
              <a:gd name="connsiteX9560" fmla="*/ 5406870 w 8267681"/>
              <a:gd name="connsiteY9560" fmla="*/ 1984714 h 6698675"/>
              <a:gd name="connsiteX9561" fmla="*/ 5409219 w 8267681"/>
              <a:gd name="connsiteY9561" fmla="*/ 1987064 h 6698675"/>
              <a:gd name="connsiteX9562" fmla="*/ 5404521 w 8267681"/>
              <a:gd name="connsiteY9562" fmla="*/ 1991762 h 6698675"/>
              <a:gd name="connsiteX9563" fmla="*/ 5409219 w 8267681"/>
              <a:gd name="connsiteY9563" fmla="*/ 1996458 h 6698675"/>
              <a:gd name="connsiteX9564" fmla="*/ 5413916 w 8267681"/>
              <a:gd name="connsiteY9564" fmla="*/ 1994109 h 6698675"/>
              <a:gd name="connsiteX9565" fmla="*/ 5418614 w 8267681"/>
              <a:gd name="connsiteY9565" fmla="*/ 1998808 h 6698675"/>
              <a:gd name="connsiteX9566" fmla="*/ 5451497 w 8267681"/>
              <a:gd name="connsiteY9566" fmla="*/ 2001156 h 6698675"/>
              <a:gd name="connsiteX9567" fmla="*/ 5451497 w 8267681"/>
              <a:gd name="connsiteY9567" fmla="*/ 2003507 h 6698675"/>
              <a:gd name="connsiteX9568" fmla="*/ 5446799 w 8267681"/>
              <a:gd name="connsiteY9568" fmla="*/ 2003507 h 6698675"/>
              <a:gd name="connsiteX9569" fmla="*/ 5446799 w 8267681"/>
              <a:gd name="connsiteY9569" fmla="*/ 2005857 h 6698675"/>
              <a:gd name="connsiteX9570" fmla="*/ 5420963 w 8267681"/>
              <a:gd name="connsiteY9570" fmla="*/ 2005857 h 6698675"/>
              <a:gd name="connsiteX9571" fmla="*/ 5420963 w 8267681"/>
              <a:gd name="connsiteY9571" fmla="*/ 2008206 h 6698675"/>
              <a:gd name="connsiteX9572" fmla="*/ 5428009 w 8267681"/>
              <a:gd name="connsiteY9572" fmla="*/ 2012896 h 6698675"/>
              <a:gd name="connsiteX9573" fmla="*/ 5416265 w 8267681"/>
              <a:gd name="connsiteY9573" fmla="*/ 2010551 h 6698675"/>
              <a:gd name="connsiteX9574" fmla="*/ 5411568 w 8267681"/>
              <a:gd name="connsiteY9574" fmla="*/ 2024642 h 6698675"/>
              <a:gd name="connsiteX9575" fmla="*/ 5404521 w 8267681"/>
              <a:gd name="connsiteY9575" fmla="*/ 2026992 h 6698675"/>
              <a:gd name="connsiteX9576" fmla="*/ 5399824 w 8267681"/>
              <a:gd name="connsiteY9576" fmla="*/ 2024642 h 6698675"/>
              <a:gd name="connsiteX9577" fmla="*/ 5383382 w 8267681"/>
              <a:gd name="connsiteY9577" fmla="*/ 2026992 h 6698675"/>
              <a:gd name="connsiteX9578" fmla="*/ 5379812 w 8267681"/>
              <a:gd name="connsiteY9578" fmla="*/ 2026992 h 6698675"/>
              <a:gd name="connsiteX9579" fmla="*/ 5381033 w 8267681"/>
              <a:gd name="connsiteY9579" fmla="*/ 2057527 h 6698675"/>
              <a:gd name="connsiteX9580" fmla="*/ 5350498 w 8267681"/>
              <a:gd name="connsiteY9580" fmla="*/ 2057527 h 6698675"/>
              <a:gd name="connsiteX9581" fmla="*/ 5339636 w 8267681"/>
              <a:gd name="connsiteY9581" fmla="*/ 2016716 h 6698675"/>
              <a:gd name="connsiteX9582" fmla="*/ 5338756 w 8267681"/>
              <a:gd name="connsiteY9582" fmla="*/ 2016198 h 6698675"/>
              <a:gd name="connsiteX9583" fmla="*/ 5338756 w 8267681"/>
              <a:gd name="connsiteY9583" fmla="*/ 2022296 h 6698675"/>
              <a:gd name="connsiteX9584" fmla="*/ 5338756 w 8267681"/>
              <a:gd name="connsiteY9584" fmla="*/ 2024644 h 6698675"/>
              <a:gd name="connsiteX9585" fmla="*/ 5322315 w 8267681"/>
              <a:gd name="connsiteY9585" fmla="*/ 2024644 h 6698675"/>
              <a:gd name="connsiteX9586" fmla="*/ 5315268 w 8267681"/>
              <a:gd name="connsiteY9586" fmla="*/ 2029341 h 6698675"/>
              <a:gd name="connsiteX9587" fmla="*/ 5310571 w 8267681"/>
              <a:gd name="connsiteY9587" fmla="*/ 2034040 h 6698675"/>
              <a:gd name="connsiteX9588" fmla="*/ 5294129 w 8267681"/>
              <a:gd name="connsiteY9588" fmla="*/ 2038738 h 6698675"/>
              <a:gd name="connsiteX9589" fmla="*/ 5296478 w 8267681"/>
              <a:gd name="connsiteY9589" fmla="*/ 2026995 h 6698675"/>
              <a:gd name="connsiteX9590" fmla="*/ 5289432 w 8267681"/>
              <a:gd name="connsiteY9590" fmla="*/ 2024644 h 6698675"/>
              <a:gd name="connsiteX9591" fmla="*/ 5270641 w 8267681"/>
              <a:gd name="connsiteY9591" fmla="*/ 2008212 h 6698675"/>
              <a:gd name="connsiteX9592" fmla="*/ 5275339 w 8267681"/>
              <a:gd name="connsiteY9592" fmla="*/ 1998810 h 6698675"/>
              <a:gd name="connsiteX9593" fmla="*/ 5272990 w 8267681"/>
              <a:gd name="connsiteY9593" fmla="*/ 1998810 h 6698675"/>
              <a:gd name="connsiteX9594" fmla="*/ 5263595 w 8267681"/>
              <a:gd name="connsiteY9594" fmla="*/ 1998810 h 6698675"/>
              <a:gd name="connsiteX9595" fmla="*/ 5265944 w 8267681"/>
              <a:gd name="connsiteY9595" fmla="*/ 1994112 h 6698675"/>
              <a:gd name="connsiteX9596" fmla="*/ 5249502 w 8267681"/>
              <a:gd name="connsiteY9596" fmla="*/ 1998810 h 6698675"/>
              <a:gd name="connsiteX9597" fmla="*/ 5249502 w 8267681"/>
              <a:gd name="connsiteY9597" fmla="*/ 2003509 h 6698675"/>
              <a:gd name="connsiteX9598" fmla="*/ 5247154 w 8267681"/>
              <a:gd name="connsiteY9598" fmla="*/ 2008212 h 6698675"/>
              <a:gd name="connsiteX9599" fmla="*/ 5249502 w 8267681"/>
              <a:gd name="connsiteY9599" fmla="*/ 2008212 h 6698675"/>
              <a:gd name="connsiteX9600" fmla="*/ 5251851 w 8267681"/>
              <a:gd name="connsiteY9600" fmla="*/ 2015249 h 6698675"/>
              <a:gd name="connsiteX9601" fmla="*/ 5258898 w 8267681"/>
              <a:gd name="connsiteY9601" fmla="*/ 2012900 h 6698675"/>
              <a:gd name="connsiteX9602" fmla="*/ 5256549 w 8267681"/>
              <a:gd name="connsiteY9602" fmla="*/ 2019944 h 6698675"/>
              <a:gd name="connsiteX9603" fmla="*/ 5263595 w 8267681"/>
              <a:gd name="connsiteY9603" fmla="*/ 2017598 h 6698675"/>
              <a:gd name="connsiteX9604" fmla="*/ 5268293 w 8267681"/>
              <a:gd name="connsiteY9604" fmla="*/ 2024644 h 6698675"/>
              <a:gd name="connsiteX9605" fmla="*/ 5265944 w 8267681"/>
              <a:gd name="connsiteY9605" fmla="*/ 2024644 h 6698675"/>
              <a:gd name="connsiteX9606" fmla="*/ 5258115 w 8267681"/>
              <a:gd name="connsiteY9606" fmla="*/ 2028559 h 6698675"/>
              <a:gd name="connsiteX9607" fmla="*/ 5251851 w 8267681"/>
              <a:gd name="connsiteY9607" fmla="*/ 2022296 h 6698675"/>
              <a:gd name="connsiteX9608" fmla="*/ 5237758 w 8267681"/>
              <a:gd name="connsiteY9608" fmla="*/ 2022296 h 6698675"/>
              <a:gd name="connsiteX9609" fmla="*/ 5235410 w 8267681"/>
              <a:gd name="connsiteY9609" fmla="*/ 2026995 h 6698675"/>
              <a:gd name="connsiteX9610" fmla="*/ 5228363 w 8267681"/>
              <a:gd name="connsiteY9610" fmla="*/ 2026995 h 6698675"/>
              <a:gd name="connsiteX9611" fmla="*/ 5226014 w 8267681"/>
              <a:gd name="connsiteY9611" fmla="*/ 2031688 h 6698675"/>
              <a:gd name="connsiteX9612" fmla="*/ 5228363 w 8267681"/>
              <a:gd name="connsiteY9612" fmla="*/ 2034040 h 6698675"/>
              <a:gd name="connsiteX9613" fmla="*/ 5223666 w 8267681"/>
              <a:gd name="connsiteY9613" fmla="*/ 2038738 h 6698675"/>
              <a:gd name="connsiteX9614" fmla="*/ 5228363 w 8267681"/>
              <a:gd name="connsiteY9614" fmla="*/ 2043438 h 6698675"/>
              <a:gd name="connsiteX9615" fmla="*/ 5244805 w 8267681"/>
              <a:gd name="connsiteY9615" fmla="*/ 2038738 h 6698675"/>
              <a:gd name="connsiteX9616" fmla="*/ 5254200 w 8267681"/>
              <a:gd name="connsiteY9616" fmla="*/ 2036390 h 6698675"/>
              <a:gd name="connsiteX9617" fmla="*/ 5258898 w 8267681"/>
              <a:gd name="connsiteY9617" fmla="*/ 2038738 h 6698675"/>
              <a:gd name="connsiteX9618" fmla="*/ 5249502 w 8267681"/>
              <a:gd name="connsiteY9618" fmla="*/ 2050483 h 6698675"/>
              <a:gd name="connsiteX9619" fmla="*/ 5256255 w 8267681"/>
              <a:gd name="connsiteY9619" fmla="*/ 2050190 h 6698675"/>
              <a:gd name="connsiteX9620" fmla="*/ 5259181 w 8267681"/>
              <a:gd name="connsiteY9620" fmla="*/ 2048984 h 6698675"/>
              <a:gd name="connsiteX9621" fmla="*/ 5261246 w 8267681"/>
              <a:gd name="connsiteY9621" fmla="*/ 2055183 h 6698675"/>
              <a:gd name="connsiteX9622" fmla="*/ 5263595 w 8267681"/>
              <a:gd name="connsiteY9622" fmla="*/ 2055183 h 6698675"/>
              <a:gd name="connsiteX9623" fmla="*/ 5268293 w 8267681"/>
              <a:gd name="connsiteY9623" fmla="*/ 2048132 h 6698675"/>
              <a:gd name="connsiteX9624" fmla="*/ 5277688 w 8267681"/>
              <a:gd name="connsiteY9624" fmla="*/ 2045787 h 6698675"/>
              <a:gd name="connsiteX9625" fmla="*/ 5282385 w 8267681"/>
              <a:gd name="connsiteY9625" fmla="*/ 2048132 h 6698675"/>
              <a:gd name="connsiteX9626" fmla="*/ 5287083 w 8267681"/>
              <a:gd name="connsiteY9626" fmla="*/ 2045787 h 6698675"/>
              <a:gd name="connsiteX9627" fmla="*/ 5291780 w 8267681"/>
              <a:gd name="connsiteY9627" fmla="*/ 2045787 h 6698675"/>
              <a:gd name="connsiteX9628" fmla="*/ 5291780 w 8267681"/>
              <a:gd name="connsiteY9628" fmla="*/ 2043438 h 6698675"/>
              <a:gd name="connsiteX9629" fmla="*/ 5294129 w 8267681"/>
              <a:gd name="connsiteY9629" fmla="*/ 2043438 h 6698675"/>
              <a:gd name="connsiteX9630" fmla="*/ 5294129 w 8267681"/>
              <a:gd name="connsiteY9630" fmla="*/ 2048132 h 6698675"/>
              <a:gd name="connsiteX9631" fmla="*/ 5284734 w 8267681"/>
              <a:gd name="connsiteY9631" fmla="*/ 2052830 h 6698675"/>
              <a:gd name="connsiteX9632" fmla="*/ 5284734 w 8267681"/>
              <a:gd name="connsiteY9632" fmla="*/ 2055183 h 6698675"/>
              <a:gd name="connsiteX9633" fmla="*/ 5272990 w 8267681"/>
              <a:gd name="connsiteY9633" fmla="*/ 2052830 h 6698675"/>
              <a:gd name="connsiteX9634" fmla="*/ 5275339 w 8267681"/>
              <a:gd name="connsiteY9634" fmla="*/ 2059879 h 6698675"/>
              <a:gd name="connsiteX9635" fmla="*/ 5270641 w 8267681"/>
              <a:gd name="connsiteY9635" fmla="*/ 2059879 h 6698675"/>
              <a:gd name="connsiteX9636" fmla="*/ 5265944 w 8267681"/>
              <a:gd name="connsiteY9636" fmla="*/ 2057527 h 6698675"/>
              <a:gd name="connsiteX9637" fmla="*/ 5256549 w 8267681"/>
              <a:gd name="connsiteY9637" fmla="*/ 2059879 h 6698675"/>
              <a:gd name="connsiteX9638" fmla="*/ 5256549 w 8267681"/>
              <a:gd name="connsiteY9638" fmla="*/ 2062226 h 6698675"/>
              <a:gd name="connsiteX9639" fmla="*/ 5270641 w 8267681"/>
              <a:gd name="connsiteY9639" fmla="*/ 2066928 h 6698675"/>
              <a:gd name="connsiteX9640" fmla="*/ 5277688 w 8267681"/>
              <a:gd name="connsiteY9640" fmla="*/ 2076317 h 6698675"/>
              <a:gd name="connsiteX9641" fmla="*/ 5280036 w 8267681"/>
              <a:gd name="connsiteY9641" fmla="*/ 2076317 h 6698675"/>
              <a:gd name="connsiteX9642" fmla="*/ 5280036 w 8267681"/>
              <a:gd name="connsiteY9642" fmla="*/ 2090411 h 6698675"/>
              <a:gd name="connsiteX9643" fmla="*/ 5268293 w 8267681"/>
              <a:gd name="connsiteY9643" fmla="*/ 2095111 h 6698675"/>
              <a:gd name="connsiteX9644" fmla="*/ 5223666 w 8267681"/>
              <a:gd name="connsiteY9644" fmla="*/ 2102160 h 6698675"/>
              <a:gd name="connsiteX9645" fmla="*/ 5228363 w 8267681"/>
              <a:gd name="connsiteY9645" fmla="*/ 2106854 h 6698675"/>
              <a:gd name="connsiteX9646" fmla="*/ 5223666 w 8267681"/>
              <a:gd name="connsiteY9646" fmla="*/ 2116252 h 6698675"/>
              <a:gd name="connsiteX9647" fmla="*/ 5228363 w 8267681"/>
              <a:gd name="connsiteY9647" fmla="*/ 2120948 h 6698675"/>
              <a:gd name="connsiteX9648" fmla="*/ 5223666 w 8267681"/>
              <a:gd name="connsiteY9648" fmla="*/ 2120948 h 6698675"/>
              <a:gd name="connsiteX9649" fmla="*/ 5223666 w 8267681"/>
              <a:gd name="connsiteY9649" fmla="*/ 2125650 h 6698675"/>
              <a:gd name="connsiteX9650" fmla="*/ 5228363 w 8267681"/>
              <a:gd name="connsiteY9650" fmla="*/ 2130346 h 6698675"/>
              <a:gd name="connsiteX9651" fmla="*/ 5226014 w 8267681"/>
              <a:gd name="connsiteY9651" fmla="*/ 2135051 h 6698675"/>
              <a:gd name="connsiteX9652" fmla="*/ 5226014 w 8267681"/>
              <a:gd name="connsiteY9652" fmla="*/ 2142092 h 6698675"/>
              <a:gd name="connsiteX9653" fmla="*/ 5240107 w 8267681"/>
              <a:gd name="connsiteY9653" fmla="*/ 2139749 h 6698675"/>
              <a:gd name="connsiteX9654" fmla="*/ 5244805 w 8267681"/>
              <a:gd name="connsiteY9654" fmla="*/ 2149151 h 6698675"/>
              <a:gd name="connsiteX9655" fmla="*/ 5216620 w 8267681"/>
              <a:gd name="connsiteY9655" fmla="*/ 2181994 h 6698675"/>
              <a:gd name="connsiteX9656" fmla="*/ 5218968 w 8267681"/>
              <a:gd name="connsiteY9656" fmla="*/ 2189045 h 6698675"/>
              <a:gd name="connsiteX9657" fmla="*/ 5193132 w 8267681"/>
              <a:gd name="connsiteY9657" fmla="*/ 2214885 h 6698675"/>
              <a:gd name="connsiteX9658" fmla="*/ 5181388 w 8267681"/>
              <a:gd name="connsiteY9658" fmla="*/ 2228978 h 6698675"/>
              <a:gd name="connsiteX9659" fmla="*/ 5171993 w 8267681"/>
              <a:gd name="connsiteY9659" fmla="*/ 2245423 h 6698675"/>
              <a:gd name="connsiteX9660" fmla="*/ 5167295 w 8267681"/>
              <a:gd name="connsiteY9660" fmla="*/ 2245423 h 6698675"/>
              <a:gd name="connsiteX9661" fmla="*/ 5167295 w 8267681"/>
              <a:gd name="connsiteY9661" fmla="*/ 2259511 h 6698675"/>
              <a:gd name="connsiteX9662" fmla="*/ 5171993 w 8267681"/>
              <a:gd name="connsiteY9662" fmla="*/ 2261861 h 6698675"/>
              <a:gd name="connsiteX9663" fmla="*/ 5171993 w 8267681"/>
              <a:gd name="connsiteY9663" fmla="*/ 2273606 h 6698675"/>
              <a:gd name="connsiteX9664" fmla="*/ 5171993 w 8267681"/>
              <a:gd name="connsiteY9664" fmla="*/ 2280654 h 6698675"/>
              <a:gd name="connsiteX9665" fmla="*/ 5162598 w 8267681"/>
              <a:gd name="connsiteY9665" fmla="*/ 2297102 h 6698675"/>
              <a:gd name="connsiteX9666" fmla="*/ 5167295 w 8267681"/>
              <a:gd name="connsiteY9666" fmla="*/ 2304141 h 6698675"/>
              <a:gd name="connsiteX9667" fmla="*/ 5167295 w 8267681"/>
              <a:gd name="connsiteY9667" fmla="*/ 2315889 h 6698675"/>
              <a:gd name="connsiteX9668" fmla="*/ 5183737 w 8267681"/>
              <a:gd name="connsiteY9668" fmla="*/ 2329971 h 6698675"/>
              <a:gd name="connsiteX9669" fmla="*/ 5195481 w 8267681"/>
              <a:gd name="connsiteY9669" fmla="*/ 2348763 h 6698675"/>
              <a:gd name="connsiteX9670" fmla="*/ 5230712 w 8267681"/>
              <a:gd name="connsiteY9670" fmla="*/ 2372252 h 6698675"/>
              <a:gd name="connsiteX9671" fmla="*/ 5233061 w 8267681"/>
              <a:gd name="connsiteY9671" fmla="*/ 2372252 h 6698675"/>
              <a:gd name="connsiteX9672" fmla="*/ 5251851 w 8267681"/>
              <a:gd name="connsiteY9672" fmla="*/ 2367559 h 6698675"/>
              <a:gd name="connsiteX9673" fmla="*/ 5256549 w 8267681"/>
              <a:gd name="connsiteY9673" fmla="*/ 2367559 h 6698675"/>
              <a:gd name="connsiteX9674" fmla="*/ 5270641 w 8267681"/>
              <a:gd name="connsiteY9674" fmla="*/ 2372252 h 6698675"/>
              <a:gd name="connsiteX9675" fmla="*/ 5303524 w 8267681"/>
              <a:gd name="connsiteY9675" fmla="*/ 2360508 h 6698675"/>
              <a:gd name="connsiteX9676" fmla="*/ 5315268 w 8267681"/>
              <a:gd name="connsiteY9676" fmla="*/ 2360508 h 6698675"/>
              <a:gd name="connsiteX9677" fmla="*/ 5331710 w 8267681"/>
              <a:gd name="connsiteY9677" fmla="*/ 2376948 h 6698675"/>
              <a:gd name="connsiteX9678" fmla="*/ 5343453 w 8267681"/>
              <a:gd name="connsiteY9678" fmla="*/ 2374601 h 6698675"/>
              <a:gd name="connsiteX9679" fmla="*/ 5348151 w 8267681"/>
              <a:gd name="connsiteY9679" fmla="*/ 2374601 h 6698675"/>
              <a:gd name="connsiteX9680" fmla="*/ 5359895 w 8267681"/>
              <a:gd name="connsiteY9680" fmla="*/ 2386351 h 6698675"/>
              <a:gd name="connsiteX9681" fmla="*/ 5355197 w 8267681"/>
              <a:gd name="connsiteY9681" fmla="*/ 2402786 h 6698675"/>
              <a:gd name="connsiteX9682" fmla="*/ 5355197 w 8267681"/>
              <a:gd name="connsiteY9682" fmla="*/ 2407487 h 6698675"/>
              <a:gd name="connsiteX9683" fmla="*/ 5350500 w 8267681"/>
              <a:gd name="connsiteY9683" fmla="*/ 2407487 h 6698675"/>
              <a:gd name="connsiteX9684" fmla="*/ 5369290 w 8267681"/>
              <a:gd name="connsiteY9684" fmla="*/ 2433321 h 6698675"/>
              <a:gd name="connsiteX9685" fmla="*/ 5383383 w 8267681"/>
              <a:gd name="connsiteY9685" fmla="*/ 2461507 h 6698675"/>
              <a:gd name="connsiteX9686" fmla="*/ 5378685 w 8267681"/>
              <a:gd name="connsiteY9686" fmla="*/ 2466205 h 6698675"/>
              <a:gd name="connsiteX9687" fmla="*/ 5385731 w 8267681"/>
              <a:gd name="connsiteY9687" fmla="*/ 2482648 h 6698675"/>
              <a:gd name="connsiteX9688" fmla="*/ 5369290 w 8267681"/>
              <a:gd name="connsiteY9688" fmla="*/ 2517883 h 6698675"/>
              <a:gd name="connsiteX9689" fmla="*/ 5369290 w 8267681"/>
              <a:gd name="connsiteY9689" fmla="*/ 2522581 h 6698675"/>
              <a:gd name="connsiteX9690" fmla="*/ 5388080 w 8267681"/>
              <a:gd name="connsiteY9690" fmla="*/ 2560164 h 6698675"/>
              <a:gd name="connsiteX9691" fmla="*/ 5392778 w 8267681"/>
              <a:gd name="connsiteY9691" fmla="*/ 2595400 h 6698675"/>
              <a:gd name="connsiteX9692" fmla="*/ 5402173 w 8267681"/>
              <a:gd name="connsiteY9692" fmla="*/ 2609494 h 6698675"/>
              <a:gd name="connsiteX9693" fmla="*/ 5409219 w 8267681"/>
              <a:gd name="connsiteY9693" fmla="*/ 2621239 h 6698675"/>
              <a:gd name="connsiteX9694" fmla="*/ 5430359 w 8267681"/>
              <a:gd name="connsiteY9694" fmla="*/ 2640031 h 6698675"/>
              <a:gd name="connsiteX9695" fmla="*/ 5437405 w 8267681"/>
              <a:gd name="connsiteY9695" fmla="*/ 2635333 h 6698675"/>
              <a:gd name="connsiteX9696" fmla="*/ 5442102 w 8267681"/>
              <a:gd name="connsiteY9696" fmla="*/ 2635333 h 6698675"/>
              <a:gd name="connsiteX9697" fmla="*/ 5451497 w 8267681"/>
              <a:gd name="connsiteY9697" fmla="*/ 2635333 h 6698675"/>
              <a:gd name="connsiteX9698" fmla="*/ 5479683 w 8267681"/>
              <a:gd name="connsiteY9698" fmla="*/ 2616541 h 6698675"/>
              <a:gd name="connsiteX9699" fmla="*/ 5503170 w 8267681"/>
              <a:gd name="connsiteY9699" fmla="*/ 2593051 h 6698675"/>
              <a:gd name="connsiteX9700" fmla="*/ 5505519 w 8267681"/>
              <a:gd name="connsiteY9700" fmla="*/ 2576608 h 6698675"/>
              <a:gd name="connsiteX9701" fmla="*/ 5521961 w 8267681"/>
              <a:gd name="connsiteY9701" fmla="*/ 2560164 h 6698675"/>
              <a:gd name="connsiteX9702" fmla="*/ 5521961 w 8267681"/>
              <a:gd name="connsiteY9702" fmla="*/ 2553118 h 6698675"/>
              <a:gd name="connsiteX9703" fmla="*/ 5519612 w 8267681"/>
              <a:gd name="connsiteY9703" fmla="*/ 2534326 h 6698675"/>
              <a:gd name="connsiteX9704" fmla="*/ 5557192 w 8267681"/>
              <a:gd name="connsiteY9704" fmla="*/ 2499090 h 6698675"/>
              <a:gd name="connsiteX9705" fmla="*/ 5557192 w 8267681"/>
              <a:gd name="connsiteY9705" fmla="*/ 2470903 h 6698675"/>
              <a:gd name="connsiteX9706" fmla="*/ 5550146 w 8267681"/>
              <a:gd name="connsiteY9706" fmla="*/ 2452111 h 6698675"/>
              <a:gd name="connsiteX9707" fmla="*/ 5552495 w 8267681"/>
              <a:gd name="connsiteY9707" fmla="*/ 2445068 h 6698675"/>
              <a:gd name="connsiteX9708" fmla="*/ 5547797 w 8267681"/>
              <a:gd name="connsiteY9708" fmla="*/ 2440367 h 6698675"/>
              <a:gd name="connsiteX9709" fmla="*/ 5594773 w 8267681"/>
              <a:gd name="connsiteY9709" fmla="*/ 2376948 h 6698675"/>
              <a:gd name="connsiteX9710" fmla="*/ 5611214 w 8267681"/>
              <a:gd name="connsiteY9710" fmla="*/ 2341718 h 6698675"/>
              <a:gd name="connsiteX9711" fmla="*/ 5592424 w 8267681"/>
              <a:gd name="connsiteY9711" fmla="*/ 2325277 h 6698675"/>
              <a:gd name="connsiteX9712" fmla="*/ 5587727 w 8267681"/>
              <a:gd name="connsiteY9712" fmla="*/ 2327617 h 6698675"/>
              <a:gd name="connsiteX9713" fmla="*/ 5583029 w 8267681"/>
              <a:gd name="connsiteY9713" fmla="*/ 2325277 h 6698675"/>
              <a:gd name="connsiteX9714" fmla="*/ 5575983 w 8267681"/>
              <a:gd name="connsiteY9714" fmla="*/ 2327617 h 6698675"/>
              <a:gd name="connsiteX9715" fmla="*/ 5568936 w 8267681"/>
              <a:gd name="connsiteY9715" fmla="*/ 2320594 h 6698675"/>
              <a:gd name="connsiteX9716" fmla="*/ 5571285 w 8267681"/>
              <a:gd name="connsiteY9716" fmla="*/ 2313539 h 6698675"/>
              <a:gd name="connsiteX9717" fmla="*/ 5585378 w 8267681"/>
              <a:gd name="connsiteY9717" fmla="*/ 2308840 h 6698675"/>
              <a:gd name="connsiteX9718" fmla="*/ 5585378 w 8267681"/>
              <a:gd name="connsiteY9718" fmla="*/ 2311192 h 6698675"/>
              <a:gd name="connsiteX9719" fmla="*/ 5618261 w 8267681"/>
              <a:gd name="connsiteY9719" fmla="*/ 2299444 h 6698675"/>
              <a:gd name="connsiteX9720" fmla="*/ 5632353 w 8267681"/>
              <a:gd name="connsiteY9720" fmla="*/ 2285352 h 6698675"/>
              <a:gd name="connsiteX9721" fmla="*/ 5641749 w 8267681"/>
              <a:gd name="connsiteY9721" fmla="*/ 2280654 h 6698675"/>
              <a:gd name="connsiteX9722" fmla="*/ 5641749 w 8267681"/>
              <a:gd name="connsiteY9722" fmla="*/ 2273606 h 6698675"/>
              <a:gd name="connsiteX9723" fmla="*/ 5648795 w 8267681"/>
              <a:gd name="connsiteY9723" fmla="*/ 2261861 h 6698675"/>
              <a:gd name="connsiteX9724" fmla="*/ 5630005 w 8267681"/>
              <a:gd name="connsiteY9724" fmla="*/ 2233674 h 6698675"/>
              <a:gd name="connsiteX9725" fmla="*/ 5620609 w 8267681"/>
              <a:gd name="connsiteY9725" fmla="*/ 2245423 h 6698675"/>
              <a:gd name="connsiteX9726" fmla="*/ 5606517 w 8267681"/>
              <a:gd name="connsiteY9726" fmla="*/ 2231320 h 6698675"/>
              <a:gd name="connsiteX9727" fmla="*/ 5601819 w 8267681"/>
              <a:gd name="connsiteY9727" fmla="*/ 2233674 h 6698675"/>
              <a:gd name="connsiteX9728" fmla="*/ 5599470 w 8267681"/>
              <a:gd name="connsiteY9728" fmla="*/ 2224282 h 6698675"/>
              <a:gd name="connsiteX9729" fmla="*/ 5585378 w 8267681"/>
              <a:gd name="connsiteY9729" fmla="*/ 2205490 h 6698675"/>
              <a:gd name="connsiteX9730" fmla="*/ 5587727 w 8267681"/>
              <a:gd name="connsiteY9730" fmla="*/ 2205490 h 6698675"/>
              <a:gd name="connsiteX9731" fmla="*/ 5597122 w 8267681"/>
              <a:gd name="connsiteY9731" fmla="*/ 2207839 h 6698675"/>
              <a:gd name="connsiteX9732" fmla="*/ 5622958 w 8267681"/>
              <a:gd name="connsiteY9732" fmla="*/ 2233674 h 6698675"/>
              <a:gd name="connsiteX9733" fmla="*/ 5630005 w 8267681"/>
              <a:gd name="connsiteY9733" fmla="*/ 2231320 h 6698675"/>
              <a:gd name="connsiteX9734" fmla="*/ 5637051 w 8267681"/>
              <a:gd name="connsiteY9734" fmla="*/ 2243076 h 6698675"/>
              <a:gd name="connsiteX9735" fmla="*/ 5660538 w 8267681"/>
              <a:gd name="connsiteY9735" fmla="*/ 2247765 h 6698675"/>
              <a:gd name="connsiteX9736" fmla="*/ 5672282 w 8267681"/>
              <a:gd name="connsiteY9736" fmla="*/ 2247765 h 6698675"/>
              <a:gd name="connsiteX9737" fmla="*/ 5691073 w 8267681"/>
              <a:gd name="connsiteY9737" fmla="*/ 2264209 h 6698675"/>
              <a:gd name="connsiteX9738" fmla="*/ 5688724 w 8267681"/>
              <a:gd name="connsiteY9738" fmla="*/ 2264209 h 6698675"/>
              <a:gd name="connsiteX9739" fmla="*/ 5698119 w 8267681"/>
              <a:gd name="connsiteY9739" fmla="*/ 2275956 h 6698675"/>
              <a:gd name="connsiteX9740" fmla="*/ 5702817 w 8267681"/>
              <a:gd name="connsiteY9740" fmla="*/ 2273606 h 6698675"/>
              <a:gd name="connsiteX9741" fmla="*/ 5705166 w 8267681"/>
              <a:gd name="connsiteY9741" fmla="*/ 2280654 h 6698675"/>
              <a:gd name="connsiteX9742" fmla="*/ 5723956 w 8267681"/>
              <a:gd name="connsiteY9742" fmla="*/ 2348763 h 6698675"/>
              <a:gd name="connsiteX9743" fmla="*/ 5728653 w 8267681"/>
              <a:gd name="connsiteY9743" fmla="*/ 2337017 h 6698675"/>
              <a:gd name="connsiteX9744" fmla="*/ 5728653 w 8267681"/>
              <a:gd name="connsiteY9744" fmla="*/ 2329971 h 6698675"/>
              <a:gd name="connsiteX9745" fmla="*/ 5728653 w 8267681"/>
              <a:gd name="connsiteY9745" fmla="*/ 2311192 h 6698675"/>
              <a:gd name="connsiteX9746" fmla="*/ 5733351 w 8267681"/>
              <a:gd name="connsiteY9746" fmla="*/ 2304141 h 6698675"/>
              <a:gd name="connsiteX9747" fmla="*/ 5738048 w 8267681"/>
              <a:gd name="connsiteY9747" fmla="*/ 2285352 h 6698675"/>
              <a:gd name="connsiteX9748" fmla="*/ 5738048 w 8267681"/>
              <a:gd name="connsiteY9748" fmla="*/ 2280654 h 6698675"/>
              <a:gd name="connsiteX9749" fmla="*/ 5740397 w 8267681"/>
              <a:gd name="connsiteY9749" fmla="*/ 2280654 h 6698675"/>
              <a:gd name="connsiteX9750" fmla="*/ 5742746 w 8267681"/>
              <a:gd name="connsiteY9750" fmla="*/ 2280654 h 6698675"/>
              <a:gd name="connsiteX9751" fmla="*/ 5742746 w 8267681"/>
              <a:gd name="connsiteY9751" fmla="*/ 2276873 h 6698675"/>
              <a:gd name="connsiteX9752" fmla="*/ 5749792 w 8267681"/>
              <a:gd name="connsiteY9752" fmla="*/ 2304369 h 6698675"/>
              <a:gd name="connsiteX9753" fmla="*/ 5749792 w 8267681"/>
              <a:gd name="connsiteY9753" fmla="*/ 2311192 h 6698675"/>
              <a:gd name="connsiteX9754" fmla="*/ 5752141 w 8267681"/>
              <a:gd name="connsiteY9754" fmla="*/ 2315889 h 6698675"/>
              <a:gd name="connsiteX9755" fmla="*/ 5754490 w 8267681"/>
              <a:gd name="connsiteY9755" fmla="*/ 2334671 h 6698675"/>
              <a:gd name="connsiteX9756" fmla="*/ 5754490 w 8267681"/>
              <a:gd name="connsiteY9756" fmla="*/ 2332323 h 6698675"/>
              <a:gd name="connsiteX9757" fmla="*/ 5754490 w 8267681"/>
              <a:gd name="connsiteY9757" fmla="*/ 2329971 h 6698675"/>
              <a:gd name="connsiteX9758" fmla="*/ 5752141 w 8267681"/>
              <a:gd name="connsiteY9758" fmla="*/ 2313539 h 6698675"/>
              <a:gd name="connsiteX9759" fmla="*/ 5749792 w 8267681"/>
              <a:gd name="connsiteY9759" fmla="*/ 2304369 h 6698675"/>
              <a:gd name="connsiteX9760" fmla="*/ 5749792 w 8267681"/>
              <a:gd name="connsiteY9760" fmla="*/ 2301787 h 6698675"/>
              <a:gd name="connsiteX9761" fmla="*/ 5747444 w 8267681"/>
              <a:gd name="connsiteY9761" fmla="*/ 2292397 h 6698675"/>
              <a:gd name="connsiteX9762" fmla="*/ 5742746 w 8267681"/>
              <a:gd name="connsiteY9762" fmla="*/ 2275956 h 6698675"/>
              <a:gd name="connsiteX9763" fmla="*/ 5742746 w 8267681"/>
              <a:gd name="connsiteY9763" fmla="*/ 2276873 h 6698675"/>
              <a:gd name="connsiteX9764" fmla="*/ 5729534 w 8267681"/>
              <a:gd name="connsiteY9764" fmla="*/ 2225310 h 6698675"/>
              <a:gd name="connsiteX9765" fmla="*/ 5573634 w 8267681"/>
              <a:gd name="connsiteY9765" fmla="*/ 2015249 h 6698675"/>
              <a:gd name="connsiteX9766" fmla="*/ 5571285 w 8267681"/>
              <a:gd name="connsiteY9766" fmla="*/ 2012900 h 6698675"/>
              <a:gd name="connsiteX9767" fmla="*/ 5566587 w 8267681"/>
              <a:gd name="connsiteY9767" fmla="*/ 2010553 h 6698675"/>
              <a:gd name="connsiteX9768" fmla="*/ 5561890 w 8267681"/>
              <a:gd name="connsiteY9768" fmla="*/ 2008212 h 6698675"/>
              <a:gd name="connsiteX9769" fmla="*/ 5557192 w 8267681"/>
              <a:gd name="connsiteY9769" fmla="*/ 2005860 h 6698675"/>
              <a:gd name="connsiteX9770" fmla="*/ 5554843 w 8267681"/>
              <a:gd name="connsiteY9770" fmla="*/ 2003509 h 6698675"/>
              <a:gd name="connsiteX9771" fmla="*/ 5550146 w 8267681"/>
              <a:gd name="connsiteY9771" fmla="*/ 2001159 h 6698675"/>
              <a:gd name="connsiteX9772" fmla="*/ 5529007 w 8267681"/>
              <a:gd name="connsiteY9772" fmla="*/ 1991764 h 6698675"/>
              <a:gd name="connsiteX9773" fmla="*/ 5531356 w 8267681"/>
              <a:gd name="connsiteY9773" fmla="*/ 1994112 h 6698675"/>
              <a:gd name="connsiteX9774" fmla="*/ 5526658 w 8267681"/>
              <a:gd name="connsiteY9774" fmla="*/ 1991764 h 6698675"/>
              <a:gd name="connsiteX9775" fmla="*/ 5519612 w 8267681"/>
              <a:gd name="connsiteY9775" fmla="*/ 1987067 h 6698675"/>
              <a:gd name="connsiteX9776" fmla="*/ 5524310 w 8267681"/>
              <a:gd name="connsiteY9776" fmla="*/ 1989415 h 6698675"/>
              <a:gd name="connsiteX9777" fmla="*/ 5517263 w 8267681"/>
              <a:gd name="connsiteY9777" fmla="*/ 1984719 h 6698675"/>
              <a:gd name="connsiteX9778" fmla="*/ 5505519 w 8267681"/>
              <a:gd name="connsiteY9778" fmla="*/ 1980020 h 6698675"/>
              <a:gd name="connsiteX9779" fmla="*/ 5512566 w 8267681"/>
              <a:gd name="connsiteY9779" fmla="*/ 1984719 h 6698675"/>
              <a:gd name="connsiteX9780" fmla="*/ 5507868 w 8267681"/>
              <a:gd name="connsiteY9780" fmla="*/ 1987067 h 6698675"/>
              <a:gd name="connsiteX9781" fmla="*/ 5500822 w 8267681"/>
              <a:gd name="connsiteY9781" fmla="*/ 1989415 h 6698675"/>
              <a:gd name="connsiteX9782" fmla="*/ 5503170 w 8267681"/>
              <a:gd name="connsiteY9782" fmla="*/ 1991764 h 6698675"/>
              <a:gd name="connsiteX9783" fmla="*/ 5484380 w 8267681"/>
              <a:gd name="connsiteY9783" fmla="*/ 1984719 h 6698675"/>
              <a:gd name="connsiteX9784" fmla="*/ 5493775 w 8267681"/>
              <a:gd name="connsiteY9784" fmla="*/ 1989415 h 6698675"/>
              <a:gd name="connsiteX9785" fmla="*/ 5493775 w 8267681"/>
              <a:gd name="connsiteY9785" fmla="*/ 1991764 h 6698675"/>
              <a:gd name="connsiteX9786" fmla="*/ 5479683 w 8267681"/>
              <a:gd name="connsiteY9786" fmla="*/ 1987067 h 6698675"/>
              <a:gd name="connsiteX9787" fmla="*/ 5474985 w 8267681"/>
              <a:gd name="connsiteY9787" fmla="*/ 1982369 h 6698675"/>
              <a:gd name="connsiteX9788" fmla="*/ 5474985 w 8267681"/>
              <a:gd name="connsiteY9788" fmla="*/ 1980020 h 6698675"/>
              <a:gd name="connsiteX9789" fmla="*/ 5465590 w 8267681"/>
              <a:gd name="connsiteY9789" fmla="*/ 1975323 h 6698675"/>
              <a:gd name="connsiteX9790" fmla="*/ 5491427 w 8267681"/>
              <a:gd name="connsiteY9790" fmla="*/ 1984719 h 6698675"/>
              <a:gd name="connsiteX9791" fmla="*/ 5500822 w 8267681"/>
              <a:gd name="connsiteY9791" fmla="*/ 1984719 h 6698675"/>
              <a:gd name="connsiteX9792" fmla="*/ 5477334 w 8267681"/>
              <a:gd name="connsiteY9792" fmla="*/ 1970625 h 6698675"/>
              <a:gd name="connsiteX9793" fmla="*/ 5451497 w 8267681"/>
              <a:gd name="connsiteY9793" fmla="*/ 1958882 h 6698675"/>
              <a:gd name="connsiteX9794" fmla="*/ 5449148 w 8267681"/>
              <a:gd name="connsiteY9794" fmla="*/ 1958882 h 6698675"/>
              <a:gd name="connsiteX9795" fmla="*/ 5439753 w 8267681"/>
              <a:gd name="connsiteY9795" fmla="*/ 1956533 h 6698675"/>
              <a:gd name="connsiteX9796" fmla="*/ 5446800 w 8267681"/>
              <a:gd name="connsiteY9796" fmla="*/ 1958882 h 6698675"/>
              <a:gd name="connsiteX9797" fmla="*/ 5425661 w 8267681"/>
              <a:gd name="connsiteY9797" fmla="*/ 1951836 h 6698675"/>
              <a:gd name="connsiteX9798" fmla="*/ 5425661 w 8267681"/>
              <a:gd name="connsiteY9798" fmla="*/ 1954185 h 6698675"/>
              <a:gd name="connsiteX9799" fmla="*/ 5411568 w 8267681"/>
              <a:gd name="connsiteY9799" fmla="*/ 1949487 h 6698675"/>
              <a:gd name="connsiteX9800" fmla="*/ 5409219 w 8267681"/>
              <a:gd name="connsiteY9800" fmla="*/ 1951836 h 6698675"/>
              <a:gd name="connsiteX9801" fmla="*/ 5402173 w 8267681"/>
              <a:gd name="connsiteY9801" fmla="*/ 1949487 h 6698675"/>
              <a:gd name="connsiteX9802" fmla="*/ 5397475 w 8267681"/>
              <a:gd name="connsiteY9802" fmla="*/ 1949487 h 6698675"/>
              <a:gd name="connsiteX9803" fmla="*/ 4984086 w 8267681"/>
              <a:gd name="connsiteY9803" fmla="*/ 1944452 h 6698675"/>
              <a:gd name="connsiteX9804" fmla="*/ 4985558 w 8267681"/>
              <a:gd name="connsiteY9804" fmla="*/ 1945083 h 6698675"/>
              <a:gd name="connsiteX9805" fmla="*/ 4985589 w 8267681"/>
              <a:gd name="connsiteY9805" fmla="*/ 1944989 h 6698675"/>
              <a:gd name="connsiteX9806" fmla="*/ 1520023 w 8267681"/>
              <a:gd name="connsiteY9806" fmla="*/ 1943885 h 6698675"/>
              <a:gd name="connsiteX9807" fmla="*/ 1536103 w 8267681"/>
              <a:gd name="connsiteY9807" fmla="*/ 1944839 h 6698675"/>
              <a:gd name="connsiteX9808" fmla="*/ 1522011 w 8267681"/>
              <a:gd name="connsiteY9808" fmla="*/ 1947187 h 6698675"/>
              <a:gd name="connsiteX9809" fmla="*/ 1520023 w 8267681"/>
              <a:gd name="connsiteY9809" fmla="*/ 1943885 h 6698675"/>
              <a:gd name="connsiteX9810" fmla="*/ 5517263 w 8267681"/>
              <a:gd name="connsiteY9810" fmla="*/ 1942441 h 6698675"/>
              <a:gd name="connsiteX9811" fmla="*/ 5514914 w 8267681"/>
              <a:gd name="connsiteY9811" fmla="*/ 1944789 h 6698675"/>
              <a:gd name="connsiteX9812" fmla="*/ 5521961 w 8267681"/>
              <a:gd name="connsiteY9812" fmla="*/ 1954185 h 6698675"/>
              <a:gd name="connsiteX9813" fmla="*/ 5512566 w 8267681"/>
              <a:gd name="connsiteY9813" fmla="*/ 1963579 h 6698675"/>
              <a:gd name="connsiteX9814" fmla="*/ 5526658 w 8267681"/>
              <a:gd name="connsiteY9814" fmla="*/ 1944789 h 6698675"/>
              <a:gd name="connsiteX9815" fmla="*/ 1211967 w 8267681"/>
              <a:gd name="connsiteY9815" fmla="*/ 1940123 h 6698675"/>
              <a:gd name="connsiteX9816" fmla="*/ 1219016 w 8267681"/>
              <a:gd name="connsiteY9816" fmla="*/ 1944821 h 6698675"/>
              <a:gd name="connsiteX9817" fmla="*/ 1211967 w 8267681"/>
              <a:gd name="connsiteY9817" fmla="*/ 1951864 h 6698675"/>
              <a:gd name="connsiteX9818" fmla="*/ 1204923 w 8267681"/>
              <a:gd name="connsiteY9818" fmla="*/ 1944821 h 6698675"/>
              <a:gd name="connsiteX9819" fmla="*/ 5078040 w 8267681"/>
              <a:gd name="connsiteY9819" fmla="*/ 1940091 h 6698675"/>
              <a:gd name="connsiteX9820" fmla="*/ 5080390 w 8267681"/>
              <a:gd name="connsiteY9820" fmla="*/ 1941119 h 6698675"/>
              <a:gd name="connsiteX9821" fmla="*/ 5080390 w 8267681"/>
              <a:gd name="connsiteY9821" fmla="*/ 1940091 h 6698675"/>
              <a:gd name="connsiteX9822" fmla="*/ 5080389 w 8267681"/>
              <a:gd name="connsiteY9822" fmla="*/ 1940091 h 6698675"/>
              <a:gd name="connsiteX9823" fmla="*/ 5078040 w 8267681"/>
              <a:gd name="connsiteY9823" fmla="*/ 1940091 h 6698675"/>
              <a:gd name="connsiteX9824" fmla="*/ 5185597 w 8267681"/>
              <a:gd name="connsiteY9824" fmla="*/ 1938231 h 6698675"/>
              <a:gd name="connsiteX9825" fmla="*/ 5168615 w 8267681"/>
              <a:gd name="connsiteY9825" fmla="*/ 1941156 h 6698675"/>
              <a:gd name="connsiteX9826" fmla="*/ 5162513 w 8267681"/>
              <a:gd name="connsiteY9826" fmla="*/ 1940410 h 6698675"/>
              <a:gd name="connsiteX9827" fmla="*/ 5111737 w 8267681"/>
              <a:gd name="connsiteY9827" fmla="*/ 1954834 h 6698675"/>
              <a:gd name="connsiteX9828" fmla="*/ 5115620 w 8267681"/>
              <a:gd name="connsiteY9828" fmla="*/ 1956533 h 6698675"/>
              <a:gd name="connsiteX9829" fmla="*/ 5109660 w 8267681"/>
              <a:gd name="connsiteY9829" fmla="*/ 1955682 h 6698675"/>
              <a:gd name="connsiteX9830" fmla="*/ 5040460 w 8267681"/>
              <a:gd name="connsiteY9830" fmla="*/ 1989415 h 6698675"/>
              <a:gd name="connsiteX9831" fmla="*/ 5038111 w 8267681"/>
              <a:gd name="connsiteY9831" fmla="*/ 1989415 h 6698675"/>
              <a:gd name="connsiteX9832" fmla="*/ 5033414 w 8267681"/>
              <a:gd name="connsiteY9832" fmla="*/ 1991764 h 6698675"/>
              <a:gd name="connsiteX9833" fmla="*/ 5031065 w 8267681"/>
              <a:gd name="connsiteY9833" fmla="*/ 1994112 h 6698675"/>
              <a:gd name="connsiteX9834" fmla="*/ 5033414 w 8267681"/>
              <a:gd name="connsiteY9834" fmla="*/ 1994112 h 6698675"/>
              <a:gd name="connsiteX9835" fmla="*/ 5038111 w 8267681"/>
              <a:gd name="connsiteY9835" fmla="*/ 1991764 h 6698675"/>
              <a:gd name="connsiteX9836" fmla="*/ 5035763 w 8267681"/>
              <a:gd name="connsiteY9836" fmla="*/ 1994112 h 6698675"/>
              <a:gd name="connsiteX9837" fmla="*/ 5031065 w 8267681"/>
              <a:gd name="connsiteY9837" fmla="*/ 1996460 h 6698675"/>
              <a:gd name="connsiteX9838" fmla="*/ 5028716 w 8267681"/>
              <a:gd name="connsiteY9838" fmla="*/ 1998810 h 6698675"/>
              <a:gd name="connsiteX9839" fmla="*/ 5031065 w 8267681"/>
              <a:gd name="connsiteY9839" fmla="*/ 1998810 h 6698675"/>
              <a:gd name="connsiteX9840" fmla="*/ 5033414 w 8267681"/>
              <a:gd name="connsiteY9840" fmla="*/ 1996460 h 6698675"/>
              <a:gd name="connsiteX9841" fmla="*/ 5042809 w 8267681"/>
              <a:gd name="connsiteY9841" fmla="*/ 1991764 h 6698675"/>
              <a:gd name="connsiteX9842" fmla="*/ 5047507 w 8267681"/>
              <a:gd name="connsiteY9842" fmla="*/ 1989415 h 6698675"/>
              <a:gd name="connsiteX9843" fmla="*/ 5042809 w 8267681"/>
              <a:gd name="connsiteY9843" fmla="*/ 1994112 h 6698675"/>
              <a:gd name="connsiteX9844" fmla="*/ 5033414 w 8267681"/>
              <a:gd name="connsiteY9844" fmla="*/ 1998810 h 6698675"/>
              <a:gd name="connsiteX9845" fmla="*/ 5026367 w 8267681"/>
              <a:gd name="connsiteY9845" fmla="*/ 2005860 h 6698675"/>
              <a:gd name="connsiteX9846" fmla="*/ 5024019 w 8267681"/>
              <a:gd name="connsiteY9846" fmla="*/ 2010553 h 6698675"/>
              <a:gd name="connsiteX9847" fmla="*/ 5026367 w 8267681"/>
              <a:gd name="connsiteY9847" fmla="*/ 2010553 h 6698675"/>
              <a:gd name="connsiteX9848" fmla="*/ 5024019 w 8267681"/>
              <a:gd name="connsiteY9848" fmla="*/ 2012900 h 6698675"/>
              <a:gd name="connsiteX9849" fmla="*/ 5026367 w 8267681"/>
              <a:gd name="connsiteY9849" fmla="*/ 2012900 h 6698675"/>
              <a:gd name="connsiteX9850" fmla="*/ 5031065 w 8267681"/>
              <a:gd name="connsiteY9850" fmla="*/ 2022296 h 6698675"/>
              <a:gd name="connsiteX9851" fmla="*/ 5038111 w 8267681"/>
              <a:gd name="connsiteY9851" fmla="*/ 2019944 h 6698675"/>
              <a:gd name="connsiteX9852" fmla="*/ 5042809 w 8267681"/>
              <a:gd name="connsiteY9852" fmla="*/ 2019944 h 6698675"/>
              <a:gd name="connsiteX9853" fmla="*/ 5042809 w 8267681"/>
              <a:gd name="connsiteY9853" fmla="*/ 2022296 h 6698675"/>
              <a:gd name="connsiteX9854" fmla="*/ 5052204 w 8267681"/>
              <a:gd name="connsiteY9854" fmla="*/ 2017598 h 6698675"/>
              <a:gd name="connsiteX9855" fmla="*/ 5061599 w 8267681"/>
              <a:gd name="connsiteY9855" fmla="*/ 2008212 h 6698675"/>
              <a:gd name="connsiteX9856" fmla="*/ 5061599 w 8267681"/>
              <a:gd name="connsiteY9856" fmla="*/ 2005860 h 6698675"/>
              <a:gd name="connsiteX9857" fmla="*/ 5075693 w 8267681"/>
              <a:gd name="connsiteY9857" fmla="*/ 1996460 h 6698675"/>
              <a:gd name="connsiteX9858" fmla="*/ 5073343 w 8267681"/>
              <a:gd name="connsiteY9858" fmla="*/ 1996460 h 6698675"/>
              <a:gd name="connsiteX9859" fmla="*/ 5073343 w 8267681"/>
              <a:gd name="connsiteY9859" fmla="*/ 1994112 h 6698675"/>
              <a:gd name="connsiteX9860" fmla="*/ 5085088 w 8267681"/>
              <a:gd name="connsiteY9860" fmla="*/ 1989415 h 6698675"/>
              <a:gd name="connsiteX9861" fmla="*/ 5087437 w 8267681"/>
              <a:gd name="connsiteY9861" fmla="*/ 1987067 h 6698675"/>
              <a:gd name="connsiteX9862" fmla="*/ 5096832 w 8267681"/>
              <a:gd name="connsiteY9862" fmla="*/ 1984719 h 6698675"/>
              <a:gd name="connsiteX9863" fmla="*/ 5120319 w 8267681"/>
              <a:gd name="connsiteY9863" fmla="*/ 1970625 h 6698675"/>
              <a:gd name="connsiteX9864" fmla="*/ 5125017 w 8267681"/>
              <a:gd name="connsiteY9864" fmla="*/ 1970625 h 6698675"/>
              <a:gd name="connsiteX9865" fmla="*/ 5171993 w 8267681"/>
              <a:gd name="connsiteY9865" fmla="*/ 1951836 h 6698675"/>
              <a:gd name="connsiteX9866" fmla="*/ 5167295 w 8267681"/>
              <a:gd name="connsiteY9866" fmla="*/ 1951836 h 6698675"/>
              <a:gd name="connsiteX9867" fmla="*/ 5150854 w 8267681"/>
              <a:gd name="connsiteY9867" fmla="*/ 1954185 h 6698675"/>
              <a:gd name="connsiteX9868" fmla="*/ 5148505 w 8267681"/>
              <a:gd name="connsiteY9868" fmla="*/ 1954185 h 6698675"/>
              <a:gd name="connsiteX9869" fmla="*/ 5141459 w 8267681"/>
              <a:gd name="connsiteY9869" fmla="*/ 1956533 h 6698675"/>
              <a:gd name="connsiteX9870" fmla="*/ 5157900 w 8267681"/>
              <a:gd name="connsiteY9870" fmla="*/ 1949487 h 6698675"/>
              <a:gd name="connsiteX9871" fmla="*/ 5162598 w 8267681"/>
              <a:gd name="connsiteY9871" fmla="*/ 1951836 h 6698675"/>
              <a:gd name="connsiteX9872" fmla="*/ 5171993 w 8267681"/>
              <a:gd name="connsiteY9872" fmla="*/ 1949487 h 6698675"/>
              <a:gd name="connsiteX9873" fmla="*/ 5171993 w 8267681"/>
              <a:gd name="connsiteY9873" fmla="*/ 1947138 h 6698675"/>
              <a:gd name="connsiteX9874" fmla="*/ 5164946 w 8267681"/>
              <a:gd name="connsiteY9874" fmla="*/ 1944789 h 6698675"/>
              <a:gd name="connsiteX9875" fmla="*/ 5157900 w 8267681"/>
              <a:gd name="connsiteY9875" fmla="*/ 1944789 h 6698675"/>
              <a:gd name="connsiteX9876" fmla="*/ 5164946 w 8267681"/>
              <a:gd name="connsiteY9876" fmla="*/ 1942441 h 6698675"/>
              <a:gd name="connsiteX9877" fmla="*/ 5174341 w 8267681"/>
              <a:gd name="connsiteY9877" fmla="*/ 1942441 h 6698675"/>
              <a:gd name="connsiteX9878" fmla="*/ 5183737 w 8267681"/>
              <a:gd name="connsiteY9878" fmla="*/ 1940092 h 6698675"/>
              <a:gd name="connsiteX9879" fmla="*/ 4965299 w 8267681"/>
              <a:gd name="connsiteY9879" fmla="*/ 1937743 h 6698675"/>
              <a:gd name="connsiteX9880" fmla="*/ 4948857 w 8267681"/>
              <a:gd name="connsiteY9880" fmla="*/ 1942441 h 6698675"/>
              <a:gd name="connsiteX9881" fmla="*/ 4955903 w 8267681"/>
              <a:gd name="connsiteY9881" fmla="*/ 1949486 h 6698675"/>
              <a:gd name="connsiteX9882" fmla="*/ 4944160 w 8267681"/>
              <a:gd name="connsiteY9882" fmla="*/ 1947138 h 6698675"/>
              <a:gd name="connsiteX9883" fmla="*/ 4939462 w 8267681"/>
              <a:gd name="connsiteY9883" fmla="*/ 1958881 h 6698675"/>
              <a:gd name="connsiteX9884" fmla="*/ 4941811 w 8267681"/>
              <a:gd name="connsiteY9884" fmla="*/ 1958881 h 6698675"/>
              <a:gd name="connsiteX9885" fmla="*/ 4939462 w 8267681"/>
              <a:gd name="connsiteY9885" fmla="*/ 1961230 h 6698675"/>
              <a:gd name="connsiteX9886" fmla="*/ 4937114 w 8267681"/>
              <a:gd name="connsiteY9886" fmla="*/ 1965928 h 6698675"/>
              <a:gd name="connsiteX9887" fmla="*/ 4947004 w 8267681"/>
              <a:gd name="connsiteY9887" fmla="*/ 1971579 h 6698675"/>
              <a:gd name="connsiteX9888" fmla="*/ 4946509 w 8267681"/>
              <a:gd name="connsiteY9888" fmla="*/ 1970625 h 6698675"/>
              <a:gd name="connsiteX9889" fmla="*/ 4953555 w 8267681"/>
              <a:gd name="connsiteY9889" fmla="*/ 1963579 h 6698675"/>
              <a:gd name="connsiteX9890" fmla="*/ 4953555 w 8267681"/>
              <a:gd name="connsiteY9890" fmla="*/ 1975323 h 6698675"/>
              <a:gd name="connsiteX9891" fmla="*/ 4955903 w 8267681"/>
              <a:gd name="connsiteY9891" fmla="*/ 1975323 h 6698675"/>
              <a:gd name="connsiteX9892" fmla="*/ 4960600 w 8267681"/>
              <a:gd name="connsiteY9892" fmla="*/ 1977673 h 6698675"/>
              <a:gd name="connsiteX9893" fmla="*/ 4960602 w 8267681"/>
              <a:gd name="connsiteY9893" fmla="*/ 1977673 h 6698675"/>
              <a:gd name="connsiteX9894" fmla="*/ 4962950 w 8267681"/>
              <a:gd name="connsiteY9894" fmla="*/ 1975323 h 6698675"/>
              <a:gd name="connsiteX9895" fmla="*/ 4960602 w 8267681"/>
              <a:gd name="connsiteY9895" fmla="*/ 1963579 h 6698675"/>
              <a:gd name="connsiteX9896" fmla="*/ 4953555 w 8267681"/>
              <a:gd name="connsiteY9896" fmla="*/ 1956533 h 6698675"/>
              <a:gd name="connsiteX9897" fmla="*/ 4969997 w 8267681"/>
              <a:gd name="connsiteY9897" fmla="*/ 1956533 h 6698675"/>
              <a:gd name="connsiteX9898" fmla="*/ 4965299 w 8267681"/>
              <a:gd name="connsiteY9898" fmla="*/ 1949487 h 6698675"/>
              <a:gd name="connsiteX9899" fmla="*/ 4975869 w 8267681"/>
              <a:gd name="connsiteY9899" fmla="*/ 1948606 h 6698675"/>
              <a:gd name="connsiteX9900" fmla="*/ 4979233 w 8267681"/>
              <a:gd name="connsiteY9900" fmla="*/ 1942719 h 6698675"/>
              <a:gd name="connsiteX9901" fmla="*/ 5363636 w 8267681"/>
              <a:gd name="connsiteY9901" fmla="*/ 1933324 h 6698675"/>
              <a:gd name="connsiteX9902" fmla="*/ 5363796 w 8267681"/>
              <a:gd name="connsiteY9902" fmla="*/ 1934021 h 6698675"/>
              <a:gd name="connsiteX9903" fmla="*/ 5369290 w 8267681"/>
              <a:gd name="connsiteY9903" fmla="*/ 1935394 h 6698675"/>
              <a:gd name="connsiteX9904" fmla="*/ 5373988 w 8267681"/>
              <a:gd name="connsiteY9904" fmla="*/ 1935394 h 6698675"/>
              <a:gd name="connsiteX9905" fmla="*/ 5430359 w 8267681"/>
              <a:gd name="connsiteY9905" fmla="*/ 1933046 h 6698675"/>
              <a:gd name="connsiteX9906" fmla="*/ 5437405 w 8267681"/>
              <a:gd name="connsiteY9906" fmla="*/ 1940092 h 6698675"/>
              <a:gd name="connsiteX9907" fmla="*/ 5437405 w 8267681"/>
              <a:gd name="connsiteY9907" fmla="*/ 1933046 h 6698675"/>
              <a:gd name="connsiteX9908" fmla="*/ 5381034 w 8267681"/>
              <a:gd name="connsiteY9908" fmla="*/ 1933046 h 6698675"/>
              <a:gd name="connsiteX9909" fmla="*/ 5385731 w 8267681"/>
              <a:gd name="connsiteY9909" fmla="*/ 1937743 h 6698675"/>
              <a:gd name="connsiteX9910" fmla="*/ 5390429 w 8267681"/>
              <a:gd name="connsiteY9910" fmla="*/ 1937743 h 6698675"/>
              <a:gd name="connsiteX9911" fmla="*/ 5392778 w 8267681"/>
              <a:gd name="connsiteY9911" fmla="*/ 1937743 h 6698675"/>
              <a:gd name="connsiteX9912" fmla="*/ 5395127 w 8267681"/>
              <a:gd name="connsiteY9912" fmla="*/ 1937743 h 6698675"/>
              <a:gd name="connsiteX9913" fmla="*/ 5388080 w 8267681"/>
              <a:gd name="connsiteY9913" fmla="*/ 1935394 h 6698675"/>
              <a:gd name="connsiteX9914" fmla="*/ 5381034 w 8267681"/>
              <a:gd name="connsiteY9914" fmla="*/ 1933046 h 6698675"/>
              <a:gd name="connsiteX9915" fmla="*/ 5195481 w 8267681"/>
              <a:gd name="connsiteY9915" fmla="*/ 1930697 h 6698675"/>
              <a:gd name="connsiteX9916" fmla="*/ 5186085 w 8267681"/>
              <a:gd name="connsiteY9916" fmla="*/ 1933046 h 6698675"/>
              <a:gd name="connsiteX9917" fmla="*/ 5188434 w 8267681"/>
              <a:gd name="connsiteY9917" fmla="*/ 1933046 h 6698675"/>
              <a:gd name="connsiteX9918" fmla="*/ 5182188 w 8267681"/>
              <a:gd name="connsiteY9918" fmla="*/ 1934821 h 6698675"/>
              <a:gd name="connsiteX9919" fmla="*/ 5183413 w 8267681"/>
              <a:gd name="connsiteY9919" fmla="*/ 1935394 h 6698675"/>
              <a:gd name="connsiteX9920" fmla="*/ 5183737 w 8267681"/>
              <a:gd name="connsiteY9920" fmla="*/ 1935394 h 6698675"/>
              <a:gd name="connsiteX9921" fmla="*/ 5190783 w 8267681"/>
              <a:gd name="connsiteY9921" fmla="*/ 1933046 h 6698675"/>
              <a:gd name="connsiteX9922" fmla="*/ 5200178 w 8267681"/>
              <a:gd name="connsiteY9922" fmla="*/ 1930697 h 6698675"/>
              <a:gd name="connsiteX9923" fmla="*/ 5197829 w 8267681"/>
              <a:gd name="connsiteY9923" fmla="*/ 1930697 h 6698675"/>
              <a:gd name="connsiteX9924" fmla="*/ 5167295 w 8267681"/>
              <a:gd name="connsiteY9924" fmla="*/ 1925999 h 6698675"/>
              <a:gd name="connsiteX9925" fmla="*/ 5170777 w 8267681"/>
              <a:gd name="connsiteY9925" fmla="*/ 1929482 h 6698675"/>
              <a:gd name="connsiteX9926" fmla="*/ 5174341 w 8267681"/>
              <a:gd name="connsiteY9926" fmla="*/ 1931149 h 6698675"/>
              <a:gd name="connsiteX9927" fmla="*/ 5174341 w 8267681"/>
              <a:gd name="connsiteY9927" fmla="*/ 1925999 h 6698675"/>
              <a:gd name="connsiteX9928" fmla="*/ 4944160 w 8267681"/>
              <a:gd name="connsiteY9928" fmla="*/ 1918953 h 6698675"/>
              <a:gd name="connsiteX9929" fmla="*/ 4941811 w 8267681"/>
              <a:gd name="connsiteY9929" fmla="*/ 1923651 h 6698675"/>
              <a:gd name="connsiteX9930" fmla="*/ 4944160 w 8267681"/>
              <a:gd name="connsiteY9930" fmla="*/ 1923651 h 6698675"/>
              <a:gd name="connsiteX9931" fmla="*/ 4948857 w 8267681"/>
              <a:gd name="connsiteY9931" fmla="*/ 1923651 h 6698675"/>
              <a:gd name="connsiteX9932" fmla="*/ 4944160 w 8267681"/>
              <a:gd name="connsiteY9932" fmla="*/ 1918953 h 6698675"/>
              <a:gd name="connsiteX9933" fmla="*/ 5507868 w 8267681"/>
              <a:gd name="connsiteY9933" fmla="*/ 1911907 h 6698675"/>
              <a:gd name="connsiteX9934" fmla="*/ 5517263 w 8267681"/>
              <a:gd name="connsiteY9934" fmla="*/ 1911907 h 6698675"/>
              <a:gd name="connsiteX9935" fmla="*/ 5512566 w 8267681"/>
              <a:gd name="connsiteY9935" fmla="*/ 1918954 h 6698675"/>
              <a:gd name="connsiteX9936" fmla="*/ 5176690 w 8267681"/>
              <a:gd name="connsiteY9936" fmla="*/ 1911907 h 6698675"/>
              <a:gd name="connsiteX9937" fmla="*/ 5169644 w 8267681"/>
              <a:gd name="connsiteY9937" fmla="*/ 1918954 h 6698675"/>
              <a:gd name="connsiteX9938" fmla="*/ 5176690 w 8267681"/>
              <a:gd name="connsiteY9938" fmla="*/ 1921303 h 6698675"/>
              <a:gd name="connsiteX9939" fmla="*/ 5181388 w 8267681"/>
              <a:gd name="connsiteY9939" fmla="*/ 1918954 h 6698675"/>
              <a:gd name="connsiteX9940" fmla="*/ 4991135 w 8267681"/>
              <a:gd name="connsiteY9940" fmla="*/ 1909558 h 6698675"/>
              <a:gd name="connsiteX9941" fmla="*/ 4988787 w 8267681"/>
              <a:gd name="connsiteY9941" fmla="*/ 1911907 h 6698675"/>
              <a:gd name="connsiteX9942" fmla="*/ 4986438 w 8267681"/>
              <a:gd name="connsiteY9942" fmla="*/ 1911907 h 6698675"/>
              <a:gd name="connsiteX9943" fmla="*/ 4986438 w 8267681"/>
              <a:gd name="connsiteY9943" fmla="*/ 1914256 h 6698675"/>
              <a:gd name="connsiteX9944" fmla="*/ 4981740 w 8267681"/>
              <a:gd name="connsiteY9944" fmla="*/ 1916605 h 6698675"/>
              <a:gd name="connsiteX9945" fmla="*/ 4974694 w 8267681"/>
              <a:gd name="connsiteY9945" fmla="*/ 1926000 h 6698675"/>
              <a:gd name="connsiteX9946" fmla="*/ 4972345 w 8267681"/>
              <a:gd name="connsiteY9946" fmla="*/ 1928348 h 6698675"/>
              <a:gd name="connsiteX9947" fmla="*/ 4972345 w 8267681"/>
              <a:gd name="connsiteY9947" fmla="*/ 1930697 h 6698675"/>
              <a:gd name="connsiteX9948" fmla="*/ 4969996 w 8267681"/>
              <a:gd name="connsiteY9948" fmla="*/ 1933046 h 6698675"/>
              <a:gd name="connsiteX9949" fmla="*/ 4986384 w 8267681"/>
              <a:gd name="connsiteY9949" fmla="*/ 1942604 h 6698675"/>
              <a:gd name="connsiteX9950" fmla="*/ 4986438 w 8267681"/>
              <a:gd name="connsiteY9950" fmla="*/ 1942441 h 6698675"/>
              <a:gd name="connsiteX9951" fmla="*/ 4988787 w 8267681"/>
              <a:gd name="connsiteY9951" fmla="*/ 1940092 h 6698675"/>
              <a:gd name="connsiteX9952" fmla="*/ 4986438 w 8267681"/>
              <a:gd name="connsiteY9952" fmla="*/ 1935394 h 6698675"/>
              <a:gd name="connsiteX9953" fmla="*/ 4993485 w 8267681"/>
              <a:gd name="connsiteY9953" fmla="*/ 1935394 h 6698675"/>
              <a:gd name="connsiteX9954" fmla="*/ 4993485 w 8267681"/>
              <a:gd name="connsiteY9954" fmla="*/ 1928349 h 6698675"/>
              <a:gd name="connsiteX9955" fmla="*/ 4998182 w 8267681"/>
              <a:gd name="connsiteY9955" fmla="*/ 1937743 h 6698675"/>
              <a:gd name="connsiteX9956" fmla="*/ 5007577 w 8267681"/>
              <a:gd name="connsiteY9956" fmla="*/ 1949487 h 6698675"/>
              <a:gd name="connsiteX9957" fmla="*/ 5016972 w 8267681"/>
              <a:gd name="connsiteY9957" fmla="*/ 1949487 h 6698675"/>
              <a:gd name="connsiteX9958" fmla="*/ 5031065 w 8267681"/>
              <a:gd name="connsiteY9958" fmla="*/ 1942441 h 6698675"/>
              <a:gd name="connsiteX9959" fmla="*/ 5031065 w 8267681"/>
              <a:gd name="connsiteY9959" fmla="*/ 1949486 h 6698675"/>
              <a:gd name="connsiteX9960" fmla="*/ 5036113 w 8267681"/>
              <a:gd name="connsiteY9960" fmla="*/ 1946121 h 6698675"/>
              <a:gd name="connsiteX9961" fmla="*/ 5033414 w 8267681"/>
              <a:gd name="connsiteY9961" fmla="*/ 1942441 h 6698675"/>
              <a:gd name="connsiteX9962" fmla="*/ 5042809 w 8267681"/>
              <a:gd name="connsiteY9962" fmla="*/ 1937743 h 6698675"/>
              <a:gd name="connsiteX9963" fmla="*/ 5049855 w 8267681"/>
              <a:gd name="connsiteY9963" fmla="*/ 1937743 h 6698675"/>
              <a:gd name="connsiteX9964" fmla="*/ 5051582 w 8267681"/>
              <a:gd name="connsiteY9964" fmla="*/ 1937455 h 6698675"/>
              <a:gd name="connsiteX9965" fmla="*/ 5399486 w 8267681"/>
              <a:gd name="connsiteY9965" fmla="*/ 1905069 h 6698675"/>
              <a:gd name="connsiteX9966" fmla="*/ 5400134 w 8267681"/>
              <a:gd name="connsiteY9966" fmla="*/ 1905100 h 6698675"/>
              <a:gd name="connsiteX9967" fmla="*/ 5399824 w 8267681"/>
              <a:gd name="connsiteY9967" fmla="*/ 1905449 h 6698675"/>
              <a:gd name="connsiteX9968" fmla="*/ 5387073 w 8267681"/>
              <a:gd name="connsiteY9968" fmla="*/ 1902512 h 6698675"/>
              <a:gd name="connsiteX9969" fmla="*/ 5391604 w 8267681"/>
              <a:gd name="connsiteY9969" fmla="*/ 1902512 h 6698675"/>
              <a:gd name="connsiteX9970" fmla="*/ 5388080 w 8267681"/>
              <a:gd name="connsiteY9970" fmla="*/ 1904861 h 6698675"/>
              <a:gd name="connsiteX9971" fmla="*/ 5395127 w 8267681"/>
              <a:gd name="connsiteY9971" fmla="*/ 1900164 h 6698675"/>
              <a:gd name="connsiteX9972" fmla="*/ 5399486 w 8267681"/>
              <a:gd name="connsiteY9972" fmla="*/ 1905069 h 6698675"/>
              <a:gd name="connsiteX9973" fmla="*/ 5395127 w 8267681"/>
              <a:gd name="connsiteY9973" fmla="*/ 1904861 h 6698675"/>
              <a:gd name="connsiteX9974" fmla="*/ 5395127 w 8267681"/>
              <a:gd name="connsiteY9974" fmla="*/ 1902512 h 6698675"/>
              <a:gd name="connsiteX9975" fmla="*/ 5391604 w 8267681"/>
              <a:gd name="connsiteY9975" fmla="*/ 1902512 h 6698675"/>
              <a:gd name="connsiteX9976" fmla="*/ 5140620 w 8267681"/>
              <a:gd name="connsiteY9976" fmla="*/ 1898233 h 6698675"/>
              <a:gd name="connsiteX9977" fmla="*/ 5127364 w 8267681"/>
              <a:gd name="connsiteY9977" fmla="*/ 1904862 h 6698675"/>
              <a:gd name="connsiteX9978" fmla="*/ 5127364 w 8267681"/>
              <a:gd name="connsiteY9978" fmla="*/ 1907210 h 6698675"/>
              <a:gd name="connsiteX9979" fmla="*/ 5122667 w 8267681"/>
              <a:gd name="connsiteY9979" fmla="*/ 1909558 h 6698675"/>
              <a:gd name="connsiteX9980" fmla="*/ 5135723 w 8267681"/>
              <a:gd name="connsiteY9980" fmla="*/ 1914667 h 6698675"/>
              <a:gd name="connsiteX9981" fmla="*/ 5142046 w 8267681"/>
              <a:gd name="connsiteY9981" fmla="*/ 1911320 h 6698675"/>
              <a:gd name="connsiteX9982" fmla="*/ 5148505 w 8267681"/>
              <a:gd name="connsiteY9982" fmla="*/ 1902512 h 6698675"/>
              <a:gd name="connsiteX9983" fmla="*/ 5139110 w 8267681"/>
              <a:gd name="connsiteY9983" fmla="*/ 1902512 h 6698675"/>
              <a:gd name="connsiteX9984" fmla="*/ 4901882 w 8267681"/>
              <a:gd name="connsiteY9984" fmla="*/ 1897815 h 6698675"/>
              <a:gd name="connsiteX9985" fmla="*/ 4920672 w 8267681"/>
              <a:gd name="connsiteY9985" fmla="*/ 1921302 h 6698675"/>
              <a:gd name="connsiteX9986" fmla="*/ 4925370 w 8267681"/>
              <a:gd name="connsiteY9986" fmla="*/ 1911907 h 6698675"/>
              <a:gd name="connsiteX9987" fmla="*/ 4901882 w 8267681"/>
              <a:gd name="connsiteY9987" fmla="*/ 1897815 h 6698675"/>
              <a:gd name="connsiteX9988" fmla="*/ 4972345 w 8267681"/>
              <a:gd name="connsiteY9988" fmla="*/ 1895467 h 6698675"/>
              <a:gd name="connsiteX9989" fmla="*/ 4969996 w 8267681"/>
              <a:gd name="connsiteY9989" fmla="*/ 1897815 h 6698675"/>
              <a:gd name="connsiteX9990" fmla="*/ 4962950 w 8267681"/>
              <a:gd name="connsiteY9990" fmla="*/ 1897815 h 6698675"/>
              <a:gd name="connsiteX9991" fmla="*/ 4948857 w 8267681"/>
              <a:gd name="connsiteY9991" fmla="*/ 1914256 h 6698675"/>
              <a:gd name="connsiteX9992" fmla="*/ 4955903 w 8267681"/>
              <a:gd name="connsiteY9992" fmla="*/ 1918953 h 6698675"/>
              <a:gd name="connsiteX9993" fmla="*/ 4958252 w 8267681"/>
              <a:gd name="connsiteY9993" fmla="*/ 1918953 h 6698675"/>
              <a:gd name="connsiteX9994" fmla="*/ 4958252 w 8267681"/>
              <a:gd name="connsiteY9994" fmla="*/ 1914256 h 6698675"/>
              <a:gd name="connsiteX9995" fmla="*/ 4965299 w 8267681"/>
              <a:gd name="connsiteY9995" fmla="*/ 1907210 h 6698675"/>
              <a:gd name="connsiteX9996" fmla="*/ 4967647 w 8267681"/>
              <a:gd name="connsiteY9996" fmla="*/ 1902513 h 6698675"/>
              <a:gd name="connsiteX9997" fmla="*/ 4977043 w 8267681"/>
              <a:gd name="connsiteY9997" fmla="*/ 1897815 h 6698675"/>
              <a:gd name="connsiteX9998" fmla="*/ 4972345 w 8267681"/>
              <a:gd name="connsiteY9998" fmla="*/ 1895467 h 6698675"/>
              <a:gd name="connsiteX9999" fmla="*/ 5093014 w 8267681"/>
              <a:gd name="connsiteY9999" fmla="*/ 1891650 h 6698675"/>
              <a:gd name="connsiteX10000" fmla="*/ 5106226 w 8267681"/>
              <a:gd name="connsiteY10000" fmla="*/ 1893118 h 6698675"/>
              <a:gd name="connsiteX10001" fmla="*/ 5094482 w 8267681"/>
              <a:gd name="connsiteY10001" fmla="*/ 1893118 h 6698675"/>
              <a:gd name="connsiteX10002" fmla="*/ 5092133 w 8267681"/>
              <a:gd name="connsiteY10002" fmla="*/ 1890769 h 6698675"/>
              <a:gd name="connsiteX10003" fmla="*/ 5093014 w 8267681"/>
              <a:gd name="connsiteY10003" fmla="*/ 1891650 h 6698675"/>
              <a:gd name="connsiteX10004" fmla="*/ 5092133 w 8267681"/>
              <a:gd name="connsiteY10004" fmla="*/ 1891552 h 6698675"/>
              <a:gd name="connsiteX10005" fmla="*/ 5327012 w 8267681"/>
              <a:gd name="connsiteY10005" fmla="*/ 1888420 h 6698675"/>
              <a:gd name="connsiteX10006" fmla="*/ 5327012 w 8267681"/>
              <a:gd name="connsiteY10006" fmla="*/ 1888421 h 6698675"/>
              <a:gd name="connsiteX10007" fmla="*/ 5329359 w 8267681"/>
              <a:gd name="connsiteY10007" fmla="*/ 1888421 h 6698675"/>
              <a:gd name="connsiteX10008" fmla="*/ 5329359 w 8267681"/>
              <a:gd name="connsiteY10008" fmla="*/ 1888420 h 6698675"/>
              <a:gd name="connsiteX10009" fmla="*/ 5021669 w 8267681"/>
              <a:gd name="connsiteY10009" fmla="*/ 1888420 h 6698675"/>
              <a:gd name="connsiteX10010" fmla="*/ 5066296 w 8267681"/>
              <a:gd name="connsiteY10010" fmla="*/ 1909558 h 6698675"/>
              <a:gd name="connsiteX10011" fmla="*/ 5070781 w 8267681"/>
              <a:gd name="connsiteY10011" fmla="*/ 1906569 h 6698675"/>
              <a:gd name="connsiteX10012" fmla="*/ 5068832 w 8267681"/>
              <a:gd name="connsiteY10012" fmla="*/ 1900723 h 6698675"/>
              <a:gd name="connsiteX10013" fmla="*/ 4995833 w 8267681"/>
              <a:gd name="connsiteY10013" fmla="*/ 1888420 h 6698675"/>
              <a:gd name="connsiteX10014" fmla="*/ 4993484 w 8267681"/>
              <a:gd name="connsiteY10014" fmla="*/ 1890769 h 6698675"/>
              <a:gd name="connsiteX10015" fmla="*/ 5052204 w 8267681"/>
              <a:gd name="connsiteY10015" fmla="*/ 1918953 h 6698675"/>
              <a:gd name="connsiteX10016" fmla="*/ 5059250 w 8267681"/>
              <a:gd name="connsiteY10016" fmla="*/ 1916605 h 6698675"/>
              <a:gd name="connsiteX10017" fmla="*/ 5061599 w 8267681"/>
              <a:gd name="connsiteY10017" fmla="*/ 1914256 h 6698675"/>
              <a:gd name="connsiteX10018" fmla="*/ 4995833 w 8267681"/>
              <a:gd name="connsiteY10018" fmla="*/ 1888420 h 6698675"/>
              <a:gd name="connsiteX10019" fmla="*/ 3321155 w 8267681"/>
              <a:gd name="connsiteY10019" fmla="*/ 1883723 h 6698675"/>
              <a:gd name="connsiteX10020" fmla="*/ 3199017 w 8267681"/>
              <a:gd name="connsiteY10020" fmla="*/ 2118599 h 6698675"/>
              <a:gd name="connsiteX10021" fmla="*/ 3231901 w 8267681"/>
              <a:gd name="connsiteY10021" fmla="*/ 2139749 h 6698675"/>
              <a:gd name="connsiteX10022" fmla="*/ 3311758 w 8267681"/>
              <a:gd name="connsiteY10022" fmla="*/ 1975323 h 6698675"/>
              <a:gd name="connsiteX10023" fmla="*/ 3321155 w 8267681"/>
              <a:gd name="connsiteY10023" fmla="*/ 1883723 h 6698675"/>
              <a:gd name="connsiteX10024" fmla="*/ 5270398 w 8267681"/>
              <a:gd name="connsiteY10024" fmla="*/ 1883075 h 6698675"/>
              <a:gd name="connsiteX10025" fmla="*/ 5268293 w 8267681"/>
              <a:gd name="connsiteY10025" fmla="*/ 1897815 h 6698675"/>
              <a:gd name="connsiteX10026" fmla="*/ 5265944 w 8267681"/>
              <a:gd name="connsiteY10026" fmla="*/ 1907210 h 6698675"/>
              <a:gd name="connsiteX10027" fmla="*/ 5282385 w 8267681"/>
              <a:gd name="connsiteY10027" fmla="*/ 1900164 h 6698675"/>
              <a:gd name="connsiteX10028" fmla="*/ 5282385 w 8267681"/>
              <a:gd name="connsiteY10028" fmla="*/ 1893118 h 6698675"/>
              <a:gd name="connsiteX10029" fmla="*/ 5282384 w 8267681"/>
              <a:gd name="connsiteY10029" fmla="*/ 1893118 h 6698675"/>
              <a:gd name="connsiteX10030" fmla="*/ 5282384 w 8267681"/>
              <a:gd name="connsiteY10030" fmla="*/ 1890769 h 6698675"/>
              <a:gd name="connsiteX10031" fmla="*/ 5277686 w 8267681"/>
              <a:gd name="connsiteY10031" fmla="*/ 1888420 h 6698675"/>
              <a:gd name="connsiteX10032" fmla="*/ 5272989 w 8267681"/>
              <a:gd name="connsiteY10032" fmla="*/ 1883723 h 6698675"/>
              <a:gd name="connsiteX10033" fmla="*/ 4262537 w 8267681"/>
              <a:gd name="connsiteY10033" fmla="*/ 1881264 h 6698675"/>
              <a:gd name="connsiteX10034" fmla="*/ 4253619 w 8267681"/>
              <a:gd name="connsiteY10034" fmla="*/ 1895467 h 6698675"/>
              <a:gd name="connsiteX10035" fmla="*/ 4262537 w 8267681"/>
              <a:gd name="connsiteY10035" fmla="*/ 1881264 h 6698675"/>
              <a:gd name="connsiteX10036" fmla="*/ 5237758 w 8267681"/>
              <a:gd name="connsiteY10036" fmla="*/ 1874328 h 6698675"/>
              <a:gd name="connsiteX10037" fmla="*/ 5230712 w 8267681"/>
              <a:gd name="connsiteY10037" fmla="*/ 1881374 h 6698675"/>
              <a:gd name="connsiteX10038" fmla="*/ 5242456 w 8267681"/>
              <a:gd name="connsiteY10038" fmla="*/ 1881374 h 6698675"/>
              <a:gd name="connsiteX10039" fmla="*/ 4892487 w 8267681"/>
              <a:gd name="connsiteY10039" fmla="*/ 1871980 h 6698675"/>
              <a:gd name="connsiteX10040" fmla="*/ 4892487 w 8267681"/>
              <a:gd name="connsiteY10040" fmla="*/ 1874329 h 6698675"/>
              <a:gd name="connsiteX10041" fmla="*/ 4923021 w 8267681"/>
              <a:gd name="connsiteY10041" fmla="*/ 1897815 h 6698675"/>
              <a:gd name="connsiteX10042" fmla="*/ 4937114 w 8267681"/>
              <a:gd name="connsiteY10042" fmla="*/ 1895467 h 6698675"/>
              <a:gd name="connsiteX10043" fmla="*/ 4939462 w 8267681"/>
              <a:gd name="connsiteY10043" fmla="*/ 1893118 h 6698675"/>
              <a:gd name="connsiteX10044" fmla="*/ 4941811 w 8267681"/>
              <a:gd name="connsiteY10044" fmla="*/ 1890769 h 6698675"/>
              <a:gd name="connsiteX10045" fmla="*/ 4944160 w 8267681"/>
              <a:gd name="connsiteY10045" fmla="*/ 1886071 h 6698675"/>
              <a:gd name="connsiteX10046" fmla="*/ 4946509 w 8267681"/>
              <a:gd name="connsiteY10046" fmla="*/ 1886071 h 6698675"/>
              <a:gd name="connsiteX10047" fmla="*/ 4915974 w 8267681"/>
              <a:gd name="connsiteY10047" fmla="*/ 1881374 h 6698675"/>
              <a:gd name="connsiteX10048" fmla="*/ 4906579 w 8267681"/>
              <a:gd name="connsiteY10048" fmla="*/ 1876676 h 6698675"/>
              <a:gd name="connsiteX10049" fmla="*/ 4892487 w 8267681"/>
              <a:gd name="connsiteY10049" fmla="*/ 1871980 h 6698675"/>
              <a:gd name="connsiteX10050" fmla="*/ 5251557 w 8267681"/>
              <a:gd name="connsiteY10050" fmla="*/ 1869631 h 6698675"/>
              <a:gd name="connsiteX10051" fmla="*/ 5258595 w 8267681"/>
              <a:gd name="connsiteY10051" fmla="*/ 1873961 h 6698675"/>
              <a:gd name="connsiteX10052" fmla="*/ 5258309 w 8267681"/>
              <a:gd name="connsiteY10052" fmla="*/ 1871392 h 6698675"/>
              <a:gd name="connsiteX10053" fmla="*/ 5254199 w 8267681"/>
              <a:gd name="connsiteY10053" fmla="*/ 1869631 h 6698675"/>
              <a:gd name="connsiteX10054" fmla="*/ 4131482 w 8267681"/>
              <a:gd name="connsiteY10054" fmla="*/ 1869631 h 6698675"/>
              <a:gd name="connsiteX10055" fmla="*/ 4131482 w 8267681"/>
              <a:gd name="connsiteY10055" fmla="*/ 1902513 h 6698675"/>
              <a:gd name="connsiteX10056" fmla="*/ 4150273 w 8267681"/>
              <a:gd name="connsiteY10056" fmla="*/ 1937743 h 6698675"/>
              <a:gd name="connsiteX10057" fmla="*/ 4119738 w 8267681"/>
              <a:gd name="connsiteY10057" fmla="*/ 1965928 h 6698675"/>
              <a:gd name="connsiteX10058" fmla="*/ 4084507 w 8267681"/>
              <a:gd name="connsiteY10058" fmla="*/ 1951835 h 6698675"/>
              <a:gd name="connsiteX10059" fmla="*/ 4089204 w 8267681"/>
              <a:gd name="connsiteY10059" fmla="*/ 1987067 h 6698675"/>
              <a:gd name="connsiteX10060" fmla="*/ 4063368 w 8267681"/>
              <a:gd name="connsiteY10060" fmla="*/ 1982369 h 6698675"/>
              <a:gd name="connsiteX10061" fmla="*/ 4075111 w 8267681"/>
              <a:gd name="connsiteY10061" fmla="*/ 2001159 h 6698675"/>
              <a:gd name="connsiteX10062" fmla="*/ 4030485 w 8267681"/>
              <a:gd name="connsiteY10062" fmla="*/ 2010553 h 6698675"/>
              <a:gd name="connsiteX10063" fmla="*/ 4039880 w 8267681"/>
              <a:gd name="connsiteY10063" fmla="*/ 2034040 h 6698675"/>
              <a:gd name="connsiteX10064" fmla="*/ 4011695 w 8267681"/>
              <a:gd name="connsiteY10064" fmla="*/ 2036390 h 6698675"/>
              <a:gd name="connsiteX10065" fmla="*/ 4030485 w 8267681"/>
              <a:gd name="connsiteY10065" fmla="*/ 2057527 h 6698675"/>
              <a:gd name="connsiteX10066" fmla="*/ 3992904 w 8267681"/>
              <a:gd name="connsiteY10066" fmla="*/ 2069276 h 6698675"/>
              <a:gd name="connsiteX10067" fmla="*/ 4016392 w 8267681"/>
              <a:gd name="connsiteY10067" fmla="*/ 2092760 h 6698675"/>
              <a:gd name="connsiteX10068" fmla="*/ 4016392 w 8267681"/>
              <a:gd name="connsiteY10068" fmla="*/ 2125650 h 6698675"/>
              <a:gd name="connsiteX10069" fmla="*/ 3981160 w 8267681"/>
              <a:gd name="connsiteY10069" fmla="*/ 2144444 h 6698675"/>
              <a:gd name="connsiteX10070" fmla="*/ 3999951 w 8267681"/>
              <a:gd name="connsiteY10070" fmla="*/ 2132696 h 6698675"/>
              <a:gd name="connsiteX10071" fmla="*/ 4014043 w 8267681"/>
              <a:gd name="connsiteY10071" fmla="*/ 2212534 h 6698675"/>
              <a:gd name="connsiteX10072" fmla="*/ 4053974 w 8267681"/>
              <a:gd name="connsiteY10072" fmla="*/ 2250114 h 6698675"/>
              <a:gd name="connsiteX10073" fmla="*/ 4061019 w 8267681"/>
              <a:gd name="connsiteY10073" fmla="*/ 2287702 h 6698675"/>
              <a:gd name="connsiteX10074" fmla="*/ 4082158 w 8267681"/>
              <a:gd name="connsiteY10074" fmla="*/ 2282998 h 6698675"/>
              <a:gd name="connsiteX10075" fmla="*/ 4070414 w 8267681"/>
              <a:gd name="connsiteY10075" fmla="*/ 2311189 h 6698675"/>
              <a:gd name="connsiteX10076" fmla="*/ 4107995 w 8267681"/>
              <a:gd name="connsiteY10076" fmla="*/ 2320594 h 6698675"/>
              <a:gd name="connsiteX10077" fmla="*/ 4107995 w 8267681"/>
              <a:gd name="connsiteY10077" fmla="*/ 2402786 h 6698675"/>
              <a:gd name="connsiteX10078" fmla="*/ 4154970 w 8267681"/>
              <a:gd name="connsiteY10078" fmla="*/ 2339369 h 6698675"/>
              <a:gd name="connsiteX10079" fmla="*/ 4208992 w 8267681"/>
              <a:gd name="connsiteY10079" fmla="*/ 2341718 h 6698675"/>
              <a:gd name="connsiteX10080" fmla="*/ 4309989 w 8267681"/>
              <a:gd name="connsiteY10080" fmla="*/ 2327617 h 6698675"/>
              <a:gd name="connsiteX10081" fmla="*/ 4305292 w 8267681"/>
              <a:gd name="connsiteY10081" fmla="*/ 2325277 h 6698675"/>
              <a:gd name="connsiteX10082" fmla="*/ 4333477 w 8267681"/>
              <a:gd name="connsiteY10082" fmla="*/ 2322938 h 6698675"/>
              <a:gd name="connsiteX10083" fmla="*/ 4368709 w 8267681"/>
              <a:gd name="connsiteY10083" fmla="*/ 2405140 h 6698675"/>
              <a:gd name="connsiteX10084" fmla="*/ 4349919 w 8267681"/>
              <a:gd name="connsiteY10084" fmla="*/ 2351110 h 6698675"/>
              <a:gd name="connsiteX10085" fmla="*/ 4375755 w 8267681"/>
              <a:gd name="connsiteY10085" fmla="*/ 2369902 h 6698675"/>
              <a:gd name="connsiteX10086" fmla="*/ 4342872 w 8267681"/>
              <a:gd name="connsiteY10086" fmla="*/ 2334671 h 6698675"/>
              <a:gd name="connsiteX10087" fmla="*/ 4352267 w 8267681"/>
              <a:gd name="connsiteY10087" fmla="*/ 2311189 h 6698675"/>
              <a:gd name="connsiteX10088" fmla="*/ 4389848 w 8267681"/>
              <a:gd name="connsiteY10088" fmla="*/ 2299442 h 6698675"/>
              <a:gd name="connsiteX10089" fmla="*/ 4415684 w 8267681"/>
              <a:gd name="connsiteY10089" fmla="*/ 2268908 h 6698675"/>
              <a:gd name="connsiteX10090" fmla="*/ 4422731 w 8267681"/>
              <a:gd name="connsiteY10090" fmla="*/ 2203143 h 6698675"/>
              <a:gd name="connsiteX10091" fmla="*/ 4500241 w 8267681"/>
              <a:gd name="connsiteY10091" fmla="*/ 2214885 h 6698675"/>
              <a:gd name="connsiteX10092" fmla="*/ 4432126 w 8267681"/>
              <a:gd name="connsiteY10092" fmla="*/ 2200795 h 6698675"/>
              <a:gd name="connsiteX10093" fmla="*/ 4429777 w 8267681"/>
              <a:gd name="connsiteY10093" fmla="*/ 2139749 h 6698675"/>
              <a:gd name="connsiteX10094" fmla="*/ 4446219 w 8267681"/>
              <a:gd name="connsiteY10094" fmla="*/ 2146800 h 6698675"/>
              <a:gd name="connsiteX10095" fmla="*/ 4439172 w 8267681"/>
              <a:gd name="connsiteY10095" fmla="*/ 2062226 h 6698675"/>
              <a:gd name="connsiteX10096" fmla="*/ 4378104 w 8267681"/>
              <a:gd name="connsiteY10096" fmla="*/ 1963579 h 6698675"/>
              <a:gd name="connsiteX10097" fmla="*/ 4371058 w 8267681"/>
              <a:gd name="connsiteY10097" fmla="*/ 1980021 h 6698675"/>
              <a:gd name="connsiteX10098" fmla="*/ 4342872 w 8267681"/>
              <a:gd name="connsiteY10098" fmla="*/ 1968277 h 6698675"/>
              <a:gd name="connsiteX10099" fmla="*/ 4281804 w 8267681"/>
              <a:gd name="connsiteY10099" fmla="*/ 1916605 h 6698675"/>
              <a:gd name="connsiteX10100" fmla="*/ 4187853 w 8267681"/>
              <a:gd name="connsiteY10100" fmla="*/ 1933046 h 6698675"/>
              <a:gd name="connsiteX10101" fmla="*/ 4159668 w 8267681"/>
              <a:gd name="connsiteY10101" fmla="*/ 1935395 h 6698675"/>
              <a:gd name="connsiteX10102" fmla="*/ 4131482 w 8267681"/>
              <a:gd name="connsiteY10102" fmla="*/ 1869631 h 6698675"/>
              <a:gd name="connsiteX10103" fmla="*/ 930123 w 8267681"/>
              <a:gd name="connsiteY10103" fmla="*/ 1857936 h 6698675"/>
              <a:gd name="connsiteX10104" fmla="*/ 1002929 w 8267681"/>
              <a:gd name="connsiteY10104" fmla="*/ 1867330 h 6698675"/>
              <a:gd name="connsiteX10105" fmla="*/ 930123 w 8267681"/>
              <a:gd name="connsiteY10105" fmla="*/ 1857936 h 6698675"/>
              <a:gd name="connsiteX10106" fmla="*/ 5186084 w 8267681"/>
              <a:gd name="connsiteY10106" fmla="*/ 1850841 h 6698675"/>
              <a:gd name="connsiteX10107" fmla="*/ 5176689 w 8267681"/>
              <a:gd name="connsiteY10107" fmla="*/ 1860236 h 6698675"/>
              <a:gd name="connsiteX10108" fmla="*/ 5174340 w 8267681"/>
              <a:gd name="connsiteY10108" fmla="*/ 1860236 h 6698675"/>
              <a:gd name="connsiteX10109" fmla="*/ 5164945 w 8267681"/>
              <a:gd name="connsiteY10109" fmla="*/ 1881374 h 6698675"/>
              <a:gd name="connsiteX10110" fmla="*/ 5160248 w 8267681"/>
              <a:gd name="connsiteY10110" fmla="*/ 1883723 h 6698675"/>
              <a:gd name="connsiteX10111" fmla="*/ 5157899 w 8267681"/>
              <a:gd name="connsiteY10111" fmla="*/ 1888420 h 6698675"/>
              <a:gd name="connsiteX10112" fmla="*/ 5155550 w 8267681"/>
              <a:gd name="connsiteY10112" fmla="*/ 1888420 h 6698675"/>
              <a:gd name="connsiteX10113" fmla="*/ 5155551 w 8267681"/>
              <a:gd name="connsiteY10113" fmla="*/ 1888421 h 6698675"/>
              <a:gd name="connsiteX10114" fmla="*/ 5157900 w 8267681"/>
              <a:gd name="connsiteY10114" fmla="*/ 1902512 h 6698675"/>
              <a:gd name="connsiteX10115" fmla="*/ 5150854 w 8267681"/>
              <a:gd name="connsiteY10115" fmla="*/ 1902512 h 6698675"/>
              <a:gd name="connsiteX10116" fmla="*/ 5150854 w 8267681"/>
              <a:gd name="connsiteY10116" fmla="*/ 1911907 h 6698675"/>
              <a:gd name="connsiteX10117" fmla="*/ 5160249 w 8267681"/>
              <a:gd name="connsiteY10117" fmla="*/ 1904861 h 6698675"/>
              <a:gd name="connsiteX10118" fmla="*/ 5160249 w 8267681"/>
              <a:gd name="connsiteY10118" fmla="*/ 1914256 h 6698675"/>
              <a:gd name="connsiteX10119" fmla="*/ 5150854 w 8267681"/>
              <a:gd name="connsiteY10119" fmla="*/ 1914256 h 6698675"/>
              <a:gd name="connsiteX10120" fmla="*/ 5150854 w 8267681"/>
              <a:gd name="connsiteY10120" fmla="*/ 1920588 h 6698675"/>
              <a:gd name="connsiteX10121" fmla="*/ 5153055 w 8267681"/>
              <a:gd name="connsiteY10121" fmla="*/ 1921449 h 6698675"/>
              <a:gd name="connsiteX10122" fmla="*/ 5157900 w 8267681"/>
              <a:gd name="connsiteY10122" fmla="*/ 1916605 h 6698675"/>
              <a:gd name="connsiteX10123" fmla="*/ 5164946 w 8267681"/>
              <a:gd name="connsiteY10123" fmla="*/ 1918954 h 6698675"/>
              <a:gd name="connsiteX10124" fmla="*/ 5169644 w 8267681"/>
              <a:gd name="connsiteY10124" fmla="*/ 1909559 h 6698675"/>
              <a:gd name="connsiteX10125" fmla="*/ 5164946 w 8267681"/>
              <a:gd name="connsiteY10125" fmla="*/ 1900164 h 6698675"/>
              <a:gd name="connsiteX10126" fmla="*/ 5179039 w 8267681"/>
              <a:gd name="connsiteY10126" fmla="*/ 1904861 h 6698675"/>
              <a:gd name="connsiteX10127" fmla="*/ 5174341 w 8267681"/>
              <a:gd name="connsiteY10127" fmla="*/ 1895466 h 6698675"/>
              <a:gd name="connsiteX10128" fmla="*/ 5186085 w 8267681"/>
              <a:gd name="connsiteY10128" fmla="*/ 1886072 h 6698675"/>
              <a:gd name="connsiteX10129" fmla="*/ 5186085 w 8267681"/>
              <a:gd name="connsiteY10129" fmla="*/ 1879026 h 6698675"/>
              <a:gd name="connsiteX10130" fmla="*/ 5188434 w 8267681"/>
              <a:gd name="connsiteY10130" fmla="*/ 1876677 h 6698675"/>
              <a:gd name="connsiteX10131" fmla="*/ 5193132 w 8267681"/>
              <a:gd name="connsiteY10131" fmla="*/ 1879026 h 6698675"/>
              <a:gd name="connsiteX10132" fmla="*/ 5193132 w 8267681"/>
              <a:gd name="connsiteY10132" fmla="*/ 1869631 h 6698675"/>
              <a:gd name="connsiteX10133" fmla="*/ 5202527 w 8267681"/>
              <a:gd name="connsiteY10133" fmla="*/ 1876677 h 6698675"/>
              <a:gd name="connsiteX10134" fmla="*/ 5207225 w 8267681"/>
              <a:gd name="connsiteY10134" fmla="*/ 1869631 h 6698675"/>
              <a:gd name="connsiteX10135" fmla="*/ 5211922 w 8267681"/>
              <a:gd name="connsiteY10135" fmla="*/ 1871979 h 6698675"/>
              <a:gd name="connsiteX10136" fmla="*/ 5218968 w 8267681"/>
              <a:gd name="connsiteY10136" fmla="*/ 1867282 h 6698675"/>
              <a:gd name="connsiteX10137" fmla="*/ 5228363 w 8267681"/>
              <a:gd name="connsiteY10137" fmla="*/ 1876677 h 6698675"/>
              <a:gd name="connsiteX10138" fmla="*/ 5240107 w 8267681"/>
              <a:gd name="connsiteY10138" fmla="*/ 1862584 h 6698675"/>
              <a:gd name="connsiteX10139" fmla="*/ 5246211 w 8267681"/>
              <a:gd name="connsiteY10139" fmla="*/ 1866341 h 6698675"/>
              <a:gd name="connsiteX10140" fmla="*/ 5242924 w 8267681"/>
              <a:gd name="connsiteY10140" fmla="*/ 1863054 h 6698675"/>
              <a:gd name="connsiteX10141" fmla="*/ 5240107 w 8267681"/>
              <a:gd name="connsiteY10141" fmla="*/ 1862584 h 6698675"/>
              <a:gd name="connsiteX10142" fmla="*/ 5235412 w 8267681"/>
              <a:gd name="connsiteY10142" fmla="*/ 1855542 h 6698675"/>
              <a:gd name="connsiteX10143" fmla="*/ 5235409 w 8267681"/>
              <a:gd name="connsiteY10143" fmla="*/ 1855539 h 6698675"/>
              <a:gd name="connsiteX10144" fmla="*/ 5228363 w 8267681"/>
              <a:gd name="connsiteY10144" fmla="*/ 1860236 h 6698675"/>
              <a:gd name="connsiteX10145" fmla="*/ 5221904 w 8267681"/>
              <a:gd name="connsiteY10145" fmla="*/ 1852896 h 6698675"/>
              <a:gd name="connsiteX10146" fmla="*/ 5221560 w 8267681"/>
              <a:gd name="connsiteY10146" fmla="*/ 1851829 h 6698675"/>
              <a:gd name="connsiteX10147" fmla="*/ 5216618 w 8267681"/>
              <a:gd name="connsiteY10147" fmla="*/ 1850841 h 6698675"/>
              <a:gd name="connsiteX10148" fmla="*/ 5186084 w 8267681"/>
              <a:gd name="connsiteY10148" fmla="*/ 1850841 h 6698675"/>
              <a:gd name="connsiteX10149" fmla="*/ 5277688 w 8267681"/>
              <a:gd name="connsiteY10149" fmla="*/ 1848493 h 6698675"/>
              <a:gd name="connsiteX10150" fmla="*/ 5268293 w 8267681"/>
              <a:gd name="connsiteY10150" fmla="*/ 1860236 h 6698675"/>
              <a:gd name="connsiteX10151" fmla="*/ 5261246 w 8267681"/>
              <a:gd name="connsiteY10151" fmla="*/ 1855539 h 6698675"/>
              <a:gd name="connsiteX10152" fmla="*/ 5258898 w 8267681"/>
              <a:gd name="connsiteY10152" fmla="*/ 1860236 h 6698675"/>
              <a:gd name="connsiteX10153" fmla="*/ 5258896 w 8267681"/>
              <a:gd name="connsiteY10153" fmla="*/ 1860237 h 6698675"/>
              <a:gd name="connsiteX10154" fmla="*/ 5258896 w 8267681"/>
              <a:gd name="connsiteY10154" fmla="*/ 1862585 h 6698675"/>
              <a:gd name="connsiteX10155" fmla="*/ 5263594 w 8267681"/>
              <a:gd name="connsiteY10155" fmla="*/ 1871980 h 6698675"/>
              <a:gd name="connsiteX10156" fmla="*/ 5263594 w 8267681"/>
              <a:gd name="connsiteY10156" fmla="*/ 1869631 h 6698675"/>
              <a:gd name="connsiteX10157" fmla="*/ 5265943 w 8267681"/>
              <a:gd name="connsiteY10157" fmla="*/ 1871980 h 6698675"/>
              <a:gd name="connsiteX10158" fmla="*/ 5275338 w 8267681"/>
              <a:gd name="connsiteY10158" fmla="*/ 1874329 h 6698675"/>
              <a:gd name="connsiteX10159" fmla="*/ 5277686 w 8267681"/>
              <a:gd name="connsiteY10159" fmla="*/ 1879026 h 6698675"/>
              <a:gd name="connsiteX10160" fmla="*/ 5284732 w 8267681"/>
              <a:gd name="connsiteY10160" fmla="*/ 1881374 h 6698675"/>
              <a:gd name="connsiteX10161" fmla="*/ 5286667 w 8267681"/>
              <a:gd name="connsiteY10161" fmla="*/ 1885243 h 6698675"/>
              <a:gd name="connsiteX10162" fmla="*/ 5290899 w 8267681"/>
              <a:gd name="connsiteY10162" fmla="*/ 1883429 h 6698675"/>
              <a:gd name="connsiteX10163" fmla="*/ 5291780 w 8267681"/>
              <a:gd name="connsiteY10163" fmla="*/ 1886072 h 6698675"/>
              <a:gd name="connsiteX10164" fmla="*/ 5294129 w 8267681"/>
              <a:gd name="connsiteY10164" fmla="*/ 1888421 h 6698675"/>
              <a:gd name="connsiteX10165" fmla="*/ 5296770 w 8267681"/>
              <a:gd name="connsiteY10165" fmla="*/ 1890475 h 6698675"/>
              <a:gd name="connsiteX10166" fmla="*/ 5299537 w 8267681"/>
              <a:gd name="connsiteY10166" fmla="*/ 1890660 h 6698675"/>
              <a:gd name="connsiteX10167" fmla="*/ 5296478 w 8267681"/>
              <a:gd name="connsiteY10167" fmla="*/ 1886072 h 6698675"/>
              <a:gd name="connsiteX10168" fmla="*/ 5305873 w 8267681"/>
              <a:gd name="connsiteY10168" fmla="*/ 1886072 h 6698675"/>
              <a:gd name="connsiteX10169" fmla="*/ 5303524 w 8267681"/>
              <a:gd name="connsiteY10169" fmla="*/ 1876677 h 6698675"/>
              <a:gd name="connsiteX10170" fmla="*/ 5301176 w 8267681"/>
              <a:gd name="connsiteY10170" fmla="*/ 1869631 h 6698675"/>
              <a:gd name="connsiteX10171" fmla="*/ 5291780 w 8267681"/>
              <a:gd name="connsiteY10171" fmla="*/ 1871979 h 6698675"/>
              <a:gd name="connsiteX10172" fmla="*/ 5282385 w 8267681"/>
              <a:gd name="connsiteY10172" fmla="*/ 1869631 h 6698675"/>
              <a:gd name="connsiteX10173" fmla="*/ 5277688 w 8267681"/>
              <a:gd name="connsiteY10173" fmla="*/ 1860236 h 6698675"/>
              <a:gd name="connsiteX10174" fmla="*/ 5277688 w 8267681"/>
              <a:gd name="connsiteY10174" fmla="*/ 1848493 h 6698675"/>
              <a:gd name="connsiteX10175" fmla="*/ 805634 w 8267681"/>
              <a:gd name="connsiteY10175" fmla="*/ 1836793 h 6698675"/>
              <a:gd name="connsiteX10176" fmla="*/ 862010 w 8267681"/>
              <a:gd name="connsiteY10176" fmla="*/ 1860285 h 6698675"/>
              <a:gd name="connsiteX10177" fmla="*/ 831469 w 8267681"/>
              <a:gd name="connsiteY10177" fmla="*/ 1855586 h 6698675"/>
              <a:gd name="connsiteX10178" fmla="*/ 5014623 w 8267681"/>
              <a:gd name="connsiteY10178" fmla="*/ 1820308 h 6698675"/>
              <a:gd name="connsiteX10179" fmla="*/ 4998182 w 8267681"/>
              <a:gd name="connsiteY10179" fmla="*/ 1825005 h 6698675"/>
              <a:gd name="connsiteX10180" fmla="*/ 4988787 w 8267681"/>
              <a:gd name="connsiteY10180" fmla="*/ 1836749 h 6698675"/>
              <a:gd name="connsiteX10181" fmla="*/ 4986438 w 8267681"/>
              <a:gd name="connsiteY10181" fmla="*/ 1848492 h 6698675"/>
              <a:gd name="connsiteX10182" fmla="*/ 5002879 w 8267681"/>
              <a:gd name="connsiteY10182" fmla="*/ 1855538 h 6698675"/>
              <a:gd name="connsiteX10183" fmla="*/ 5002879 w 8267681"/>
              <a:gd name="connsiteY10183" fmla="*/ 1853189 h 6698675"/>
              <a:gd name="connsiteX10184" fmla="*/ 5007577 w 8267681"/>
              <a:gd name="connsiteY10184" fmla="*/ 1846143 h 6698675"/>
              <a:gd name="connsiteX10185" fmla="*/ 5019321 w 8267681"/>
              <a:gd name="connsiteY10185" fmla="*/ 1820308 h 6698675"/>
              <a:gd name="connsiteX10186" fmla="*/ 5014623 w 8267681"/>
              <a:gd name="connsiteY10186" fmla="*/ 1820308 h 6698675"/>
              <a:gd name="connsiteX10187" fmla="*/ 5187688 w 8267681"/>
              <a:gd name="connsiteY10187" fmla="*/ 1810340 h 6698675"/>
              <a:gd name="connsiteX10188" fmla="*/ 5183735 w 8267681"/>
              <a:gd name="connsiteY10188" fmla="*/ 1815611 h 6698675"/>
              <a:gd name="connsiteX10189" fmla="*/ 5183735 w 8267681"/>
              <a:gd name="connsiteY10189" fmla="*/ 1820308 h 6698675"/>
              <a:gd name="connsiteX10190" fmla="*/ 5179037 w 8267681"/>
              <a:gd name="connsiteY10190" fmla="*/ 1827354 h 6698675"/>
              <a:gd name="connsiteX10191" fmla="*/ 5179037 w 8267681"/>
              <a:gd name="connsiteY10191" fmla="*/ 1832051 h 6698675"/>
              <a:gd name="connsiteX10192" fmla="*/ 5174340 w 8267681"/>
              <a:gd name="connsiteY10192" fmla="*/ 1841447 h 6698675"/>
              <a:gd name="connsiteX10193" fmla="*/ 5183735 w 8267681"/>
              <a:gd name="connsiteY10193" fmla="*/ 1841447 h 6698675"/>
              <a:gd name="connsiteX10194" fmla="*/ 5186084 w 8267681"/>
              <a:gd name="connsiteY10194" fmla="*/ 1839098 h 6698675"/>
              <a:gd name="connsiteX10195" fmla="*/ 5193130 w 8267681"/>
              <a:gd name="connsiteY10195" fmla="*/ 1839098 h 6698675"/>
              <a:gd name="connsiteX10196" fmla="*/ 5200177 w 8267681"/>
              <a:gd name="connsiteY10196" fmla="*/ 1834107 h 6698675"/>
              <a:gd name="connsiteX10197" fmla="*/ 5202527 w 8267681"/>
              <a:gd name="connsiteY10197" fmla="*/ 1831855 h 6698675"/>
              <a:gd name="connsiteX10198" fmla="*/ 5202527 w 8267681"/>
              <a:gd name="connsiteY10198" fmla="*/ 1829702 h 6698675"/>
              <a:gd name="connsiteX10199" fmla="*/ 5193132 w 8267681"/>
              <a:gd name="connsiteY10199" fmla="*/ 1836749 h 6698675"/>
              <a:gd name="connsiteX10200" fmla="*/ 5183737 w 8267681"/>
              <a:gd name="connsiteY10200" fmla="*/ 1827354 h 6698675"/>
              <a:gd name="connsiteX10201" fmla="*/ 5202527 w 8267681"/>
              <a:gd name="connsiteY10201" fmla="*/ 1820308 h 6698675"/>
              <a:gd name="connsiteX10202" fmla="*/ 5202527 w 8267681"/>
              <a:gd name="connsiteY10202" fmla="*/ 1810913 h 6698675"/>
              <a:gd name="connsiteX10203" fmla="*/ 5193132 w 8267681"/>
              <a:gd name="connsiteY10203" fmla="*/ 1810913 h 6698675"/>
              <a:gd name="connsiteX10204" fmla="*/ 4988787 w 8267681"/>
              <a:gd name="connsiteY10204" fmla="*/ 1806216 h 6698675"/>
              <a:gd name="connsiteX10205" fmla="*/ 4913626 w 8267681"/>
              <a:gd name="connsiteY10205" fmla="*/ 1815611 h 6698675"/>
              <a:gd name="connsiteX10206" fmla="*/ 4955903 w 8267681"/>
              <a:gd name="connsiteY10206" fmla="*/ 1822656 h 6698675"/>
              <a:gd name="connsiteX10207" fmla="*/ 4908928 w 8267681"/>
              <a:gd name="connsiteY10207" fmla="*/ 1825005 h 6698675"/>
              <a:gd name="connsiteX10208" fmla="*/ 4960601 w 8267681"/>
              <a:gd name="connsiteY10208" fmla="*/ 1839098 h 6698675"/>
              <a:gd name="connsiteX10209" fmla="*/ 4972345 w 8267681"/>
              <a:gd name="connsiteY10209" fmla="*/ 1843795 h 6698675"/>
              <a:gd name="connsiteX10210" fmla="*/ 4979391 w 8267681"/>
              <a:gd name="connsiteY10210" fmla="*/ 1829703 h 6698675"/>
              <a:gd name="connsiteX10211" fmla="*/ 4981740 w 8267681"/>
              <a:gd name="connsiteY10211" fmla="*/ 1820308 h 6698675"/>
              <a:gd name="connsiteX10212" fmla="*/ 4988787 w 8267681"/>
              <a:gd name="connsiteY10212" fmla="*/ 1806216 h 6698675"/>
              <a:gd name="connsiteX10213" fmla="*/ 2473246 w 8267681"/>
              <a:gd name="connsiteY10213" fmla="*/ 1801518 h 6698675"/>
              <a:gd name="connsiteX10214" fmla="*/ 2463850 w 8267681"/>
              <a:gd name="connsiteY10214" fmla="*/ 1825005 h 6698675"/>
              <a:gd name="connsiteX10215" fmla="*/ 2473246 w 8267681"/>
              <a:gd name="connsiteY10215" fmla="*/ 1801518 h 6698675"/>
              <a:gd name="connsiteX10216" fmla="*/ 5137053 w 8267681"/>
              <a:gd name="connsiteY10216" fmla="*/ 1791243 h 6698675"/>
              <a:gd name="connsiteX10217" fmla="*/ 5129713 w 8267681"/>
              <a:gd name="connsiteY10217" fmla="*/ 1792123 h 6698675"/>
              <a:gd name="connsiteX10218" fmla="*/ 5101528 w 8267681"/>
              <a:gd name="connsiteY10218" fmla="*/ 1792123 h 6698675"/>
              <a:gd name="connsiteX10219" fmla="*/ 5092133 w 8267681"/>
              <a:gd name="connsiteY10219" fmla="*/ 1796821 h 6698675"/>
              <a:gd name="connsiteX10220" fmla="*/ 5092133 w 8267681"/>
              <a:gd name="connsiteY10220" fmla="*/ 1794472 h 6698675"/>
              <a:gd name="connsiteX10221" fmla="*/ 5089784 w 8267681"/>
              <a:gd name="connsiteY10221" fmla="*/ 1794472 h 6698675"/>
              <a:gd name="connsiteX10222" fmla="*/ 5073342 w 8267681"/>
              <a:gd name="connsiteY10222" fmla="*/ 1792123 h 6698675"/>
              <a:gd name="connsiteX10223" fmla="*/ 5054552 w 8267681"/>
              <a:gd name="connsiteY10223" fmla="*/ 1810914 h 6698675"/>
              <a:gd name="connsiteX10224" fmla="*/ 5049855 w 8267681"/>
              <a:gd name="connsiteY10224" fmla="*/ 1820308 h 6698675"/>
              <a:gd name="connsiteX10225" fmla="*/ 5047506 w 8267681"/>
              <a:gd name="connsiteY10225" fmla="*/ 1820308 h 6698675"/>
              <a:gd name="connsiteX10226" fmla="*/ 5047506 w 8267681"/>
              <a:gd name="connsiteY10226" fmla="*/ 1825005 h 6698675"/>
              <a:gd name="connsiteX10227" fmla="*/ 5014623 w 8267681"/>
              <a:gd name="connsiteY10227" fmla="*/ 1876676 h 6698675"/>
              <a:gd name="connsiteX10228" fmla="*/ 5033413 w 8267681"/>
              <a:gd name="connsiteY10228" fmla="*/ 1879026 h 6698675"/>
              <a:gd name="connsiteX10229" fmla="*/ 5094482 w 8267681"/>
              <a:gd name="connsiteY10229" fmla="*/ 1875209 h 6698675"/>
              <a:gd name="connsiteX10230" fmla="*/ 5151557 w 8267681"/>
              <a:gd name="connsiteY10230" fmla="*/ 1869996 h 6698675"/>
              <a:gd name="connsiteX10231" fmla="*/ 5148586 w 8267681"/>
              <a:gd name="connsiteY10231" fmla="*/ 1871926 h 6698675"/>
              <a:gd name="connsiteX10232" fmla="*/ 5148425 w 8267681"/>
              <a:gd name="connsiteY10232" fmla="*/ 1871980 h 6698675"/>
              <a:gd name="connsiteX10233" fmla="*/ 5141457 w 8267681"/>
              <a:gd name="connsiteY10233" fmla="*/ 1871980 h 6698675"/>
              <a:gd name="connsiteX10234" fmla="*/ 5138780 w 8267681"/>
              <a:gd name="connsiteY10234" fmla="*/ 1875159 h 6698675"/>
              <a:gd name="connsiteX10235" fmla="*/ 5128832 w 8267681"/>
              <a:gd name="connsiteY10235" fmla="*/ 1878438 h 6698675"/>
              <a:gd name="connsiteX10236" fmla="*/ 5096830 w 8267681"/>
              <a:gd name="connsiteY10236" fmla="*/ 1876676 h 6698675"/>
              <a:gd name="connsiteX10237" fmla="*/ 5078040 w 8267681"/>
              <a:gd name="connsiteY10237" fmla="*/ 1886071 h 6698675"/>
              <a:gd name="connsiteX10238" fmla="*/ 5090371 w 8267681"/>
              <a:gd name="connsiteY10238" fmla="*/ 1891356 h 6698675"/>
              <a:gd name="connsiteX10239" fmla="*/ 5092133 w 8267681"/>
              <a:gd name="connsiteY10239" fmla="*/ 1891552 h 6698675"/>
              <a:gd name="connsiteX10240" fmla="*/ 5092133 w 8267681"/>
              <a:gd name="connsiteY10240" fmla="*/ 1893118 h 6698675"/>
              <a:gd name="connsiteX10241" fmla="*/ 5087435 w 8267681"/>
              <a:gd name="connsiteY10241" fmla="*/ 1893118 h 6698675"/>
              <a:gd name="connsiteX10242" fmla="*/ 5092133 w 8267681"/>
              <a:gd name="connsiteY10242" fmla="*/ 1895467 h 6698675"/>
              <a:gd name="connsiteX10243" fmla="*/ 5094482 w 8267681"/>
              <a:gd name="connsiteY10243" fmla="*/ 1928348 h 6698675"/>
              <a:gd name="connsiteX10244" fmla="*/ 5094482 w 8267681"/>
              <a:gd name="connsiteY10244" fmla="*/ 1928349 h 6698675"/>
              <a:gd name="connsiteX10245" fmla="*/ 5094483 w 8267681"/>
              <a:gd name="connsiteY10245" fmla="*/ 1928349 h 6698675"/>
              <a:gd name="connsiteX10246" fmla="*/ 5103878 w 8267681"/>
              <a:gd name="connsiteY10246" fmla="*/ 1928349 h 6698675"/>
              <a:gd name="connsiteX10247" fmla="*/ 5101530 w 8267681"/>
              <a:gd name="connsiteY10247" fmla="*/ 1923651 h 6698675"/>
              <a:gd name="connsiteX10248" fmla="*/ 5103595 w 8267681"/>
              <a:gd name="connsiteY10248" fmla="*/ 1920552 h 6698675"/>
              <a:gd name="connsiteX10249" fmla="*/ 5103044 w 8267681"/>
              <a:gd name="connsiteY10249" fmla="*/ 1914482 h 6698675"/>
              <a:gd name="connsiteX10250" fmla="*/ 5099181 w 8267681"/>
              <a:gd name="connsiteY10250" fmla="*/ 1911907 h 6698675"/>
              <a:gd name="connsiteX10251" fmla="*/ 5101530 w 8267681"/>
              <a:gd name="connsiteY10251" fmla="*/ 1904861 h 6698675"/>
              <a:gd name="connsiteX10252" fmla="*/ 5102210 w 8267681"/>
              <a:gd name="connsiteY10252" fmla="*/ 1905315 h 6698675"/>
              <a:gd name="connsiteX10253" fmla="*/ 5101528 w 8267681"/>
              <a:gd name="connsiteY10253" fmla="*/ 1897815 h 6698675"/>
              <a:gd name="connsiteX10254" fmla="*/ 5103877 w 8267681"/>
              <a:gd name="connsiteY10254" fmla="*/ 1900164 h 6698675"/>
              <a:gd name="connsiteX10255" fmla="*/ 5106226 w 8267681"/>
              <a:gd name="connsiteY10255" fmla="*/ 1897815 h 6698675"/>
              <a:gd name="connsiteX10256" fmla="*/ 5110923 w 8267681"/>
              <a:gd name="connsiteY10256" fmla="*/ 1897815 h 6698675"/>
              <a:gd name="connsiteX10257" fmla="*/ 5113272 w 8267681"/>
              <a:gd name="connsiteY10257" fmla="*/ 1893118 h 6698675"/>
              <a:gd name="connsiteX10258" fmla="*/ 5125016 w 8267681"/>
              <a:gd name="connsiteY10258" fmla="*/ 1888420 h 6698675"/>
              <a:gd name="connsiteX10259" fmla="*/ 5127364 w 8267681"/>
              <a:gd name="connsiteY10259" fmla="*/ 1883723 h 6698675"/>
              <a:gd name="connsiteX10260" fmla="*/ 5132062 w 8267681"/>
              <a:gd name="connsiteY10260" fmla="*/ 1881374 h 6698675"/>
              <a:gd name="connsiteX10261" fmla="*/ 5136760 w 8267681"/>
              <a:gd name="connsiteY10261" fmla="*/ 1877558 h 6698675"/>
              <a:gd name="connsiteX10262" fmla="*/ 5138780 w 8267681"/>
              <a:gd name="connsiteY10262" fmla="*/ 1875159 h 6698675"/>
              <a:gd name="connsiteX10263" fmla="*/ 5148425 w 8267681"/>
              <a:gd name="connsiteY10263" fmla="*/ 1871980 h 6698675"/>
              <a:gd name="connsiteX10264" fmla="*/ 5148504 w 8267681"/>
              <a:gd name="connsiteY10264" fmla="*/ 1871980 h 6698675"/>
              <a:gd name="connsiteX10265" fmla="*/ 5148586 w 8267681"/>
              <a:gd name="connsiteY10265" fmla="*/ 1871926 h 6698675"/>
              <a:gd name="connsiteX10266" fmla="*/ 5155550 w 8267681"/>
              <a:gd name="connsiteY10266" fmla="*/ 1869631 h 6698675"/>
              <a:gd name="connsiteX10267" fmla="*/ 5151557 w 8267681"/>
              <a:gd name="connsiteY10267" fmla="*/ 1869996 h 6698675"/>
              <a:gd name="connsiteX10268" fmla="*/ 5154376 w 8267681"/>
              <a:gd name="connsiteY10268" fmla="*/ 1868163 h 6698675"/>
              <a:gd name="connsiteX10269" fmla="*/ 5160248 w 8267681"/>
              <a:gd name="connsiteY10269" fmla="*/ 1862585 h 6698675"/>
              <a:gd name="connsiteX10270" fmla="*/ 5169642 w 8267681"/>
              <a:gd name="connsiteY10270" fmla="*/ 1825005 h 6698675"/>
              <a:gd name="connsiteX10271" fmla="*/ 5160248 w 8267681"/>
              <a:gd name="connsiteY10271" fmla="*/ 1808565 h 6698675"/>
              <a:gd name="connsiteX10272" fmla="*/ 5155550 w 8267681"/>
              <a:gd name="connsiteY10272" fmla="*/ 1803867 h 6698675"/>
              <a:gd name="connsiteX10273" fmla="*/ 5150852 w 8267681"/>
              <a:gd name="connsiteY10273" fmla="*/ 1801518 h 6698675"/>
              <a:gd name="connsiteX10274" fmla="*/ 5146155 w 8267681"/>
              <a:gd name="connsiteY10274" fmla="*/ 1792123 h 6698675"/>
              <a:gd name="connsiteX10275" fmla="*/ 5137053 w 8267681"/>
              <a:gd name="connsiteY10275" fmla="*/ 1791243 h 6698675"/>
              <a:gd name="connsiteX10276" fmla="*/ 4870210 w 8267681"/>
              <a:gd name="connsiteY10276" fmla="*/ 1778472 h 6698675"/>
              <a:gd name="connsiteX10277" fmla="*/ 4798535 w 8267681"/>
              <a:gd name="connsiteY10277" fmla="*/ 1785077 h 6698675"/>
              <a:gd name="connsiteX10278" fmla="*/ 4892487 w 8267681"/>
              <a:gd name="connsiteY10278" fmla="*/ 1785077 h 6698675"/>
              <a:gd name="connsiteX10279" fmla="*/ 4892487 w 8267681"/>
              <a:gd name="connsiteY10279" fmla="*/ 1782728 h 6698675"/>
              <a:gd name="connsiteX10280" fmla="*/ 4892487 w 8267681"/>
              <a:gd name="connsiteY10280" fmla="*/ 1780380 h 6698675"/>
              <a:gd name="connsiteX10281" fmla="*/ 4870210 w 8267681"/>
              <a:gd name="connsiteY10281" fmla="*/ 1778472 h 6698675"/>
              <a:gd name="connsiteX10282" fmla="*/ 5220646 w 8267681"/>
              <a:gd name="connsiteY10282" fmla="*/ 1775850 h 6698675"/>
              <a:gd name="connsiteX10283" fmla="*/ 5211921 w 8267681"/>
              <a:gd name="connsiteY10283" fmla="*/ 1778032 h 6698675"/>
              <a:gd name="connsiteX10284" fmla="*/ 5209572 w 8267681"/>
              <a:gd name="connsiteY10284" fmla="*/ 1782728 h 6698675"/>
              <a:gd name="connsiteX10285" fmla="*/ 5204874 w 8267681"/>
              <a:gd name="connsiteY10285" fmla="*/ 1782728 h 6698675"/>
              <a:gd name="connsiteX10286" fmla="*/ 5204874 w 8267681"/>
              <a:gd name="connsiteY10286" fmla="*/ 1787426 h 6698675"/>
              <a:gd name="connsiteX10287" fmla="*/ 5193371 w 8267681"/>
              <a:gd name="connsiteY10287" fmla="*/ 1802764 h 6698675"/>
              <a:gd name="connsiteX10288" fmla="*/ 5204876 w 8267681"/>
              <a:gd name="connsiteY10288" fmla="*/ 1806215 h 6698675"/>
              <a:gd name="connsiteX10289" fmla="*/ 5207225 w 8267681"/>
              <a:gd name="connsiteY10289" fmla="*/ 1796820 h 6698675"/>
              <a:gd name="connsiteX10290" fmla="*/ 5207225 w 8267681"/>
              <a:gd name="connsiteY10290" fmla="*/ 1794472 h 6698675"/>
              <a:gd name="connsiteX10291" fmla="*/ 5207225 w 8267681"/>
              <a:gd name="connsiteY10291" fmla="*/ 1787426 h 6698675"/>
              <a:gd name="connsiteX10292" fmla="*/ 5214271 w 8267681"/>
              <a:gd name="connsiteY10292" fmla="*/ 1780380 h 6698675"/>
              <a:gd name="connsiteX10293" fmla="*/ 5223666 w 8267681"/>
              <a:gd name="connsiteY10293" fmla="*/ 1780380 h 6698675"/>
              <a:gd name="connsiteX10294" fmla="*/ 5226013 w 8267681"/>
              <a:gd name="connsiteY10294" fmla="*/ 1770985 h 6698675"/>
              <a:gd name="connsiteX10295" fmla="*/ 5223665 w 8267681"/>
              <a:gd name="connsiteY10295" fmla="*/ 1773333 h 6698675"/>
              <a:gd name="connsiteX10296" fmla="*/ 5228363 w 8267681"/>
              <a:gd name="connsiteY10296" fmla="*/ 1773333 h 6698675"/>
              <a:gd name="connsiteX10297" fmla="*/ 5226797 w 8267681"/>
              <a:gd name="connsiteY10297" fmla="*/ 1770985 h 6698675"/>
              <a:gd name="connsiteX10298" fmla="*/ 1428054 w 8267681"/>
              <a:gd name="connsiteY10298" fmla="*/ 1761637 h 6698675"/>
              <a:gd name="connsiteX10299" fmla="*/ 1571332 w 8267681"/>
              <a:gd name="connsiteY10299" fmla="*/ 1787473 h 6698675"/>
              <a:gd name="connsiteX10300" fmla="*/ 1428054 w 8267681"/>
              <a:gd name="connsiteY10300" fmla="*/ 1761637 h 6698675"/>
              <a:gd name="connsiteX10301" fmla="*/ 2528699 w 8267681"/>
              <a:gd name="connsiteY10301" fmla="*/ 1760746 h 6698675"/>
              <a:gd name="connsiteX10302" fmla="*/ 2513174 w 8267681"/>
              <a:gd name="connsiteY10302" fmla="*/ 1770985 h 6698675"/>
              <a:gd name="connsiteX10303" fmla="*/ 2528699 w 8267681"/>
              <a:gd name="connsiteY10303" fmla="*/ 1760746 h 6698675"/>
              <a:gd name="connsiteX10304" fmla="*/ 5063947 w 8267681"/>
              <a:gd name="connsiteY10304" fmla="*/ 1754544 h 6698675"/>
              <a:gd name="connsiteX10305" fmla="*/ 5021669 w 8267681"/>
              <a:gd name="connsiteY10305" fmla="*/ 1782728 h 6698675"/>
              <a:gd name="connsiteX10306" fmla="*/ 5016972 w 8267681"/>
              <a:gd name="connsiteY10306" fmla="*/ 1792123 h 6698675"/>
              <a:gd name="connsiteX10307" fmla="*/ 5031065 w 8267681"/>
              <a:gd name="connsiteY10307" fmla="*/ 1789775 h 6698675"/>
              <a:gd name="connsiteX10308" fmla="*/ 5014623 w 8267681"/>
              <a:gd name="connsiteY10308" fmla="*/ 1796821 h 6698675"/>
              <a:gd name="connsiteX10309" fmla="*/ 5012274 w 8267681"/>
              <a:gd name="connsiteY10309" fmla="*/ 1801518 h 6698675"/>
              <a:gd name="connsiteX10310" fmla="*/ 5002879 w 8267681"/>
              <a:gd name="connsiteY10310" fmla="*/ 1813261 h 6698675"/>
              <a:gd name="connsiteX10311" fmla="*/ 5012274 w 8267681"/>
              <a:gd name="connsiteY10311" fmla="*/ 1813261 h 6698675"/>
              <a:gd name="connsiteX10312" fmla="*/ 5014623 w 8267681"/>
              <a:gd name="connsiteY10312" fmla="*/ 1810914 h 6698675"/>
              <a:gd name="connsiteX10313" fmla="*/ 5031065 w 8267681"/>
              <a:gd name="connsiteY10313" fmla="*/ 1808565 h 6698675"/>
              <a:gd name="connsiteX10314" fmla="*/ 5042809 w 8267681"/>
              <a:gd name="connsiteY10314" fmla="*/ 1796821 h 6698675"/>
              <a:gd name="connsiteX10315" fmla="*/ 5045157 w 8267681"/>
              <a:gd name="connsiteY10315" fmla="*/ 1794472 h 6698675"/>
              <a:gd name="connsiteX10316" fmla="*/ 5049855 w 8267681"/>
              <a:gd name="connsiteY10316" fmla="*/ 1792123 h 6698675"/>
              <a:gd name="connsiteX10317" fmla="*/ 5056901 w 8267681"/>
              <a:gd name="connsiteY10317" fmla="*/ 1780380 h 6698675"/>
              <a:gd name="connsiteX10318" fmla="*/ 5061599 w 8267681"/>
              <a:gd name="connsiteY10318" fmla="*/ 1778032 h 6698675"/>
              <a:gd name="connsiteX10319" fmla="*/ 5063947 w 8267681"/>
              <a:gd name="connsiteY10319" fmla="*/ 1773334 h 6698675"/>
              <a:gd name="connsiteX10320" fmla="*/ 5068645 w 8267681"/>
              <a:gd name="connsiteY10320" fmla="*/ 1773334 h 6698675"/>
              <a:gd name="connsiteX10321" fmla="*/ 5068645 w 8267681"/>
              <a:gd name="connsiteY10321" fmla="*/ 1768636 h 6698675"/>
              <a:gd name="connsiteX10322" fmla="*/ 5070994 w 8267681"/>
              <a:gd name="connsiteY10322" fmla="*/ 1768636 h 6698675"/>
              <a:gd name="connsiteX10323" fmla="*/ 5066296 w 8267681"/>
              <a:gd name="connsiteY10323" fmla="*/ 1761590 h 6698675"/>
              <a:gd name="connsiteX10324" fmla="*/ 5063947 w 8267681"/>
              <a:gd name="connsiteY10324" fmla="*/ 1754544 h 6698675"/>
              <a:gd name="connsiteX10325" fmla="*/ 5166064 w 8267681"/>
              <a:gd name="connsiteY10325" fmla="*/ 1754096 h 6698675"/>
              <a:gd name="connsiteX10326" fmla="*/ 5167294 w 8267681"/>
              <a:gd name="connsiteY10326" fmla="*/ 1759241 h 6698675"/>
              <a:gd name="connsiteX10327" fmla="*/ 5171991 w 8267681"/>
              <a:gd name="connsiteY10327" fmla="*/ 1759241 h 6698675"/>
              <a:gd name="connsiteX10328" fmla="*/ 5176689 w 8267681"/>
              <a:gd name="connsiteY10328" fmla="*/ 1763939 h 6698675"/>
              <a:gd name="connsiteX10329" fmla="*/ 5176689 w 8267681"/>
              <a:gd name="connsiteY10329" fmla="*/ 1766288 h 6698675"/>
              <a:gd name="connsiteX10330" fmla="*/ 5179037 w 8267681"/>
              <a:gd name="connsiteY10330" fmla="*/ 1768636 h 6698675"/>
              <a:gd name="connsiteX10331" fmla="*/ 5183735 w 8267681"/>
              <a:gd name="connsiteY10331" fmla="*/ 1782728 h 6698675"/>
              <a:gd name="connsiteX10332" fmla="*/ 5182561 w 8267681"/>
              <a:gd name="connsiteY10332" fmla="*/ 1785077 h 6698675"/>
              <a:gd name="connsiteX10333" fmla="*/ 5179037 w 8267681"/>
              <a:gd name="connsiteY10333" fmla="*/ 1785077 h 6698675"/>
              <a:gd name="connsiteX10334" fmla="*/ 5167294 w 8267681"/>
              <a:gd name="connsiteY10334" fmla="*/ 1763939 h 6698675"/>
              <a:gd name="connsiteX10335" fmla="*/ 4892487 w 8267681"/>
              <a:gd name="connsiteY10335" fmla="*/ 1752196 h 6698675"/>
              <a:gd name="connsiteX10336" fmla="*/ 4852557 w 8267681"/>
              <a:gd name="connsiteY10336" fmla="*/ 1761590 h 6698675"/>
              <a:gd name="connsiteX10337" fmla="*/ 4894835 w 8267681"/>
              <a:gd name="connsiteY10337" fmla="*/ 1773334 h 6698675"/>
              <a:gd name="connsiteX10338" fmla="*/ 4894835 w 8267681"/>
              <a:gd name="connsiteY10338" fmla="*/ 1761590 h 6698675"/>
              <a:gd name="connsiteX10339" fmla="*/ 4892487 w 8267681"/>
              <a:gd name="connsiteY10339" fmla="*/ 1754544 h 6698675"/>
              <a:gd name="connsiteX10340" fmla="*/ 4892487 w 8267681"/>
              <a:gd name="connsiteY10340" fmla="*/ 1752196 h 6698675"/>
              <a:gd name="connsiteX10341" fmla="*/ 5040460 w 8267681"/>
              <a:gd name="connsiteY10341" fmla="*/ 1745150 h 6698675"/>
              <a:gd name="connsiteX10342" fmla="*/ 5028716 w 8267681"/>
              <a:gd name="connsiteY10342" fmla="*/ 1761590 h 6698675"/>
              <a:gd name="connsiteX10343" fmla="*/ 5028716 w 8267681"/>
              <a:gd name="connsiteY10343" fmla="*/ 1770985 h 6698675"/>
              <a:gd name="connsiteX10344" fmla="*/ 5059250 w 8267681"/>
              <a:gd name="connsiteY10344" fmla="*/ 1754544 h 6698675"/>
              <a:gd name="connsiteX10345" fmla="*/ 5059250 w 8267681"/>
              <a:gd name="connsiteY10345" fmla="*/ 1749846 h 6698675"/>
              <a:gd name="connsiteX10346" fmla="*/ 5052204 w 8267681"/>
              <a:gd name="connsiteY10346" fmla="*/ 1745150 h 6698675"/>
              <a:gd name="connsiteX10347" fmla="*/ 5040460 w 8267681"/>
              <a:gd name="connsiteY10347" fmla="*/ 1745150 h 6698675"/>
              <a:gd name="connsiteX10348" fmla="*/ 4974694 w 8267681"/>
              <a:gd name="connsiteY10348" fmla="*/ 1731057 h 6698675"/>
              <a:gd name="connsiteX10349" fmla="*/ 4967647 w 8267681"/>
              <a:gd name="connsiteY10349" fmla="*/ 1735755 h 6698675"/>
              <a:gd name="connsiteX10350" fmla="*/ 4988787 w 8267681"/>
              <a:gd name="connsiteY10350" fmla="*/ 1742801 h 6698675"/>
              <a:gd name="connsiteX10351" fmla="*/ 4906579 w 8267681"/>
              <a:gd name="connsiteY10351" fmla="*/ 1752196 h 6698675"/>
              <a:gd name="connsiteX10352" fmla="*/ 4908928 w 8267681"/>
              <a:gd name="connsiteY10352" fmla="*/ 1775683 h 6698675"/>
              <a:gd name="connsiteX10353" fmla="*/ 4908928 w 8267681"/>
              <a:gd name="connsiteY10353" fmla="*/ 1787426 h 6698675"/>
              <a:gd name="connsiteX10354" fmla="*/ 4991135 w 8267681"/>
              <a:gd name="connsiteY10354" fmla="*/ 1796821 h 6698675"/>
              <a:gd name="connsiteX10355" fmla="*/ 4998182 w 8267681"/>
              <a:gd name="connsiteY10355" fmla="*/ 1792123 h 6698675"/>
              <a:gd name="connsiteX10356" fmla="*/ 5007577 w 8267681"/>
              <a:gd name="connsiteY10356" fmla="*/ 1780380 h 6698675"/>
              <a:gd name="connsiteX10357" fmla="*/ 5012274 w 8267681"/>
              <a:gd name="connsiteY10357" fmla="*/ 1763939 h 6698675"/>
              <a:gd name="connsiteX10358" fmla="*/ 5019321 w 8267681"/>
              <a:gd name="connsiteY10358" fmla="*/ 1749846 h 6698675"/>
              <a:gd name="connsiteX10359" fmla="*/ 5024018 w 8267681"/>
              <a:gd name="connsiteY10359" fmla="*/ 1747498 h 6698675"/>
              <a:gd name="connsiteX10360" fmla="*/ 5024018 w 8267681"/>
              <a:gd name="connsiteY10360" fmla="*/ 1742801 h 6698675"/>
              <a:gd name="connsiteX10361" fmla="*/ 5031065 w 8267681"/>
              <a:gd name="connsiteY10361" fmla="*/ 1731057 h 6698675"/>
              <a:gd name="connsiteX10362" fmla="*/ 5007577 w 8267681"/>
              <a:gd name="connsiteY10362" fmla="*/ 1733406 h 6698675"/>
              <a:gd name="connsiteX10363" fmla="*/ 5002879 w 8267681"/>
              <a:gd name="connsiteY10363" fmla="*/ 1735755 h 6698675"/>
              <a:gd name="connsiteX10364" fmla="*/ 4977043 w 8267681"/>
              <a:gd name="connsiteY10364" fmla="*/ 1735755 h 6698675"/>
              <a:gd name="connsiteX10365" fmla="*/ 4974694 w 8267681"/>
              <a:gd name="connsiteY10365" fmla="*/ 1731057 h 6698675"/>
              <a:gd name="connsiteX10366" fmla="*/ 5190781 w 8267681"/>
              <a:gd name="connsiteY10366" fmla="*/ 1724011 h 6698675"/>
              <a:gd name="connsiteX10367" fmla="*/ 5195479 w 8267681"/>
              <a:gd name="connsiteY10367" fmla="*/ 1728708 h 6698675"/>
              <a:gd name="connsiteX10368" fmla="*/ 5195479 w 8267681"/>
              <a:gd name="connsiteY10368" fmla="*/ 1731057 h 6698675"/>
              <a:gd name="connsiteX10369" fmla="*/ 5190781 w 8267681"/>
              <a:gd name="connsiteY10369" fmla="*/ 1735755 h 6698675"/>
              <a:gd name="connsiteX10370" fmla="*/ 5186084 w 8267681"/>
              <a:gd name="connsiteY10370" fmla="*/ 1735755 h 6698675"/>
              <a:gd name="connsiteX10371" fmla="*/ 5181386 w 8267681"/>
              <a:gd name="connsiteY10371" fmla="*/ 1740452 h 6698675"/>
              <a:gd name="connsiteX10372" fmla="*/ 5176689 w 8267681"/>
              <a:gd name="connsiteY10372" fmla="*/ 1740452 h 6698675"/>
              <a:gd name="connsiteX10373" fmla="*/ 5174340 w 8267681"/>
              <a:gd name="connsiteY10373" fmla="*/ 1742801 h 6698675"/>
              <a:gd name="connsiteX10374" fmla="*/ 5164945 w 8267681"/>
              <a:gd name="connsiteY10374" fmla="*/ 1745150 h 6698675"/>
              <a:gd name="connsiteX10375" fmla="*/ 5166064 w 8267681"/>
              <a:gd name="connsiteY10375" fmla="*/ 1754096 h 6698675"/>
              <a:gd name="connsiteX10376" fmla="*/ 5164064 w 8267681"/>
              <a:gd name="connsiteY10376" fmla="*/ 1745737 h 6698675"/>
              <a:gd name="connsiteX10377" fmla="*/ 5163204 w 8267681"/>
              <a:gd name="connsiteY10377" fmla="*/ 1735755 h 6698675"/>
              <a:gd name="connsiteX10378" fmla="*/ 5179037 w 8267681"/>
              <a:gd name="connsiteY10378" fmla="*/ 1735755 h 6698675"/>
              <a:gd name="connsiteX10379" fmla="*/ 5190781 w 8267681"/>
              <a:gd name="connsiteY10379" fmla="*/ 1724011 h 6698675"/>
              <a:gd name="connsiteX10380" fmla="*/ 5151347 w 8267681"/>
              <a:gd name="connsiteY10380" fmla="*/ 1718572 h 6698675"/>
              <a:gd name="connsiteX10381" fmla="*/ 5155550 w 8267681"/>
              <a:gd name="connsiteY10381" fmla="*/ 1719313 h 6698675"/>
              <a:gd name="connsiteX10382" fmla="*/ 5157899 w 8267681"/>
              <a:gd name="connsiteY10382" fmla="*/ 1728708 h 6698675"/>
              <a:gd name="connsiteX10383" fmla="*/ 5162596 w 8267681"/>
              <a:gd name="connsiteY10383" fmla="*/ 1728708 h 6698675"/>
              <a:gd name="connsiteX10384" fmla="*/ 5163204 w 8267681"/>
              <a:gd name="connsiteY10384" fmla="*/ 1735755 h 6698675"/>
              <a:gd name="connsiteX10385" fmla="*/ 5160248 w 8267681"/>
              <a:gd name="connsiteY10385" fmla="*/ 1735755 h 6698675"/>
              <a:gd name="connsiteX10386" fmla="*/ 5153201 w 8267681"/>
              <a:gd name="connsiteY10386" fmla="*/ 1721662 h 6698675"/>
              <a:gd name="connsiteX10387" fmla="*/ 4915974 w 8267681"/>
              <a:gd name="connsiteY10387" fmla="*/ 1714616 h 6698675"/>
              <a:gd name="connsiteX10388" fmla="*/ 4908928 w 8267681"/>
              <a:gd name="connsiteY10388" fmla="*/ 1726359 h 6698675"/>
              <a:gd name="connsiteX10389" fmla="*/ 4965299 w 8267681"/>
              <a:gd name="connsiteY10389" fmla="*/ 1726359 h 6698675"/>
              <a:gd name="connsiteX10390" fmla="*/ 4960601 w 8267681"/>
              <a:gd name="connsiteY10390" fmla="*/ 1721662 h 6698675"/>
              <a:gd name="connsiteX10391" fmla="*/ 4955903 w 8267681"/>
              <a:gd name="connsiteY10391" fmla="*/ 1716965 h 6698675"/>
              <a:gd name="connsiteX10392" fmla="*/ 4934765 w 8267681"/>
              <a:gd name="connsiteY10392" fmla="*/ 1716965 h 6698675"/>
              <a:gd name="connsiteX10393" fmla="*/ 4915974 w 8267681"/>
              <a:gd name="connsiteY10393" fmla="*/ 1714616 h 6698675"/>
              <a:gd name="connsiteX10394" fmla="*/ 4852557 w 8267681"/>
              <a:gd name="connsiteY10394" fmla="*/ 1707570 h 6698675"/>
              <a:gd name="connsiteX10395" fmla="*/ 4845511 w 8267681"/>
              <a:gd name="connsiteY10395" fmla="*/ 1712268 h 6698675"/>
              <a:gd name="connsiteX10396" fmla="*/ 4892487 w 8267681"/>
              <a:gd name="connsiteY10396" fmla="*/ 1721662 h 6698675"/>
              <a:gd name="connsiteX10397" fmla="*/ 4897184 w 8267681"/>
              <a:gd name="connsiteY10397" fmla="*/ 1709919 h 6698675"/>
              <a:gd name="connsiteX10398" fmla="*/ 4897184 w 8267681"/>
              <a:gd name="connsiteY10398" fmla="*/ 1707570 h 6698675"/>
              <a:gd name="connsiteX10399" fmla="*/ 4852557 w 8267681"/>
              <a:gd name="connsiteY10399" fmla="*/ 1707570 h 6698675"/>
              <a:gd name="connsiteX10400" fmla="*/ 5148034 w 8267681"/>
              <a:gd name="connsiteY10400" fmla="*/ 1700994 h 6698675"/>
              <a:gd name="connsiteX10401" fmla="*/ 5149091 w 8267681"/>
              <a:gd name="connsiteY10401" fmla="*/ 1702285 h 6698675"/>
              <a:gd name="connsiteX10402" fmla="*/ 5150852 w 8267681"/>
              <a:gd name="connsiteY10402" fmla="*/ 1712268 h 6698675"/>
              <a:gd name="connsiteX10403" fmla="*/ 5147565 w 8267681"/>
              <a:gd name="connsiteY10403" fmla="*/ 1712268 h 6698675"/>
              <a:gd name="connsiteX10404" fmla="*/ 5146155 w 8267681"/>
              <a:gd name="connsiteY10404" fmla="*/ 1709919 h 6698675"/>
              <a:gd name="connsiteX10405" fmla="*/ 5146155 w 8267681"/>
              <a:gd name="connsiteY10405" fmla="*/ 1707570 h 6698675"/>
              <a:gd name="connsiteX10406" fmla="*/ 5146155 w 8267681"/>
              <a:gd name="connsiteY10406" fmla="*/ 1702873 h 6698675"/>
              <a:gd name="connsiteX10407" fmla="*/ 923055 w 8267681"/>
              <a:gd name="connsiteY10407" fmla="*/ 1693478 h 6698675"/>
              <a:gd name="connsiteX10408" fmla="*/ 904263 w 8267681"/>
              <a:gd name="connsiteY10408" fmla="*/ 1719313 h 6698675"/>
              <a:gd name="connsiteX10409" fmla="*/ 923055 w 8267681"/>
              <a:gd name="connsiteY10409" fmla="*/ 1693478 h 6698675"/>
              <a:gd name="connsiteX10410" fmla="*/ 4915974 w 8267681"/>
              <a:gd name="connsiteY10410" fmla="*/ 1669991 h 6698675"/>
              <a:gd name="connsiteX10411" fmla="*/ 4904230 w 8267681"/>
              <a:gd name="connsiteY10411" fmla="*/ 1677037 h 6698675"/>
              <a:gd name="connsiteX10412" fmla="*/ 4887789 w 8267681"/>
              <a:gd name="connsiteY10412" fmla="*/ 1674688 h 6698675"/>
              <a:gd name="connsiteX10413" fmla="*/ 4885440 w 8267681"/>
              <a:gd name="connsiteY10413" fmla="*/ 1674688 h 6698675"/>
              <a:gd name="connsiteX10414" fmla="*/ 4883092 w 8267681"/>
              <a:gd name="connsiteY10414" fmla="*/ 1679386 h 6698675"/>
              <a:gd name="connsiteX10415" fmla="*/ 4880743 w 8267681"/>
              <a:gd name="connsiteY10415" fmla="*/ 1681735 h 6698675"/>
              <a:gd name="connsiteX10416" fmla="*/ 4868999 w 8267681"/>
              <a:gd name="connsiteY10416" fmla="*/ 1695826 h 6698675"/>
              <a:gd name="connsiteX10417" fmla="*/ 4885440 w 8267681"/>
              <a:gd name="connsiteY10417" fmla="*/ 1698175 h 6698675"/>
              <a:gd name="connsiteX10418" fmla="*/ 4901882 w 8267681"/>
              <a:gd name="connsiteY10418" fmla="*/ 1698175 h 6698675"/>
              <a:gd name="connsiteX10419" fmla="*/ 4911277 w 8267681"/>
              <a:gd name="connsiteY10419" fmla="*/ 1698175 h 6698675"/>
              <a:gd name="connsiteX10420" fmla="*/ 4918323 w 8267681"/>
              <a:gd name="connsiteY10420" fmla="*/ 1686431 h 6698675"/>
              <a:gd name="connsiteX10421" fmla="*/ 4918323 w 8267681"/>
              <a:gd name="connsiteY10421" fmla="*/ 1677037 h 6698675"/>
              <a:gd name="connsiteX10422" fmla="*/ 4920672 w 8267681"/>
              <a:gd name="connsiteY10422" fmla="*/ 1674688 h 6698675"/>
              <a:gd name="connsiteX10423" fmla="*/ 4920672 w 8267681"/>
              <a:gd name="connsiteY10423" fmla="*/ 1669991 h 6698675"/>
              <a:gd name="connsiteX10424" fmla="*/ 4915974 w 8267681"/>
              <a:gd name="connsiteY10424" fmla="*/ 1669991 h 6698675"/>
              <a:gd name="connsiteX10425" fmla="*/ 4493194 w 8267681"/>
              <a:gd name="connsiteY10425" fmla="*/ 1665293 h 6698675"/>
              <a:gd name="connsiteX10426" fmla="*/ 4486148 w 8267681"/>
              <a:gd name="connsiteY10426" fmla="*/ 1667642 h 6698675"/>
              <a:gd name="connsiteX10427" fmla="*/ 4490846 w 8267681"/>
              <a:gd name="connsiteY10427" fmla="*/ 1674688 h 6698675"/>
              <a:gd name="connsiteX10428" fmla="*/ 4495543 w 8267681"/>
              <a:gd name="connsiteY10428" fmla="*/ 1679386 h 6698675"/>
              <a:gd name="connsiteX10429" fmla="*/ 4504938 w 8267681"/>
              <a:gd name="connsiteY10429" fmla="*/ 1672340 h 6698675"/>
              <a:gd name="connsiteX10430" fmla="*/ 4497892 w 8267681"/>
              <a:gd name="connsiteY10430" fmla="*/ 1669991 h 6698675"/>
              <a:gd name="connsiteX10431" fmla="*/ 4493194 w 8267681"/>
              <a:gd name="connsiteY10431" fmla="*/ 1665293 h 6698675"/>
              <a:gd name="connsiteX10432" fmla="*/ 5141457 w 8267681"/>
              <a:gd name="connsiteY10432" fmla="*/ 1655898 h 6698675"/>
              <a:gd name="connsiteX10433" fmla="*/ 5141454 w 8267681"/>
              <a:gd name="connsiteY10433" fmla="*/ 1656290 h 6698675"/>
              <a:gd name="connsiteX10434" fmla="*/ 5141127 w 8267681"/>
              <a:gd name="connsiteY10434" fmla="*/ 1655981 h 6698675"/>
              <a:gd name="connsiteX10435" fmla="*/ 2722215 w 8267681"/>
              <a:gd name="connsiteY10435" fmla="*/ 1653550 h 6698675"/>
              <a:gd name="connsiteX10436" fmla="*/ 2717518 w 8267681"/>
              <a:gd name="connsiteY10436" fmla="*/ 1665293 h 6698675"/>
              <a:gd name="connsiteX10437" fmla="*/ 2729262 w 8267681"/>
              <a:gd name="connsiteY10437" fmla="*/ 1669991 h 6698675"/>
              <a:gd name="connsiteX10438" fmla="*/ 2733959 w 8267681"/>
              <a:gd name="connsiteY10438" fmla="*/ 1658247 h 6698675"/>
              <a:gd name="connsiteX10439" fmla="*/ 2722215 w 8267681"/>
              <a:gd name="connsiteY10439" fmla="*/ 1653550 h 6698675"/>
              <a:gd name="connsiteX10440" fmla="*/ 5162596 w 8267681"/>
              <a:gd name="connsiteY10440" fmla="*/ 1648853 h 6698675"/>
              <a:gd name="connsiteX10441" fmla="*/ 5167294 w 8267681"/>
              <a:gd name="connsiteY10441" fmla="*/ 1648853 h 6698675"/>
              <a:gd name="connsiteX10442" fmla="*/ 5160551 w 8267681"/>
              <a:gd name="connsiteY10442" fmla="*/ 1659371 h 6698675"/>
              <a:gd name="connsiteX10443" fmla="*/ 5153201 w 8267681"/>
              <a:gd name="connsiteY10443" fmla="*/ 1660596 h 6698675"/>
              <a:gd name="connsiteX10444" fmla="*/ 5153201 w 8267681"/>
              <a:gd name="connsiteY10444" fmla="*/ 1662944 h 6698675"/>
              <a:gd name="connsiteX10445" fmla="*/ 5151733 w 8267681"/>
              <a:gd name="connsiteY10445" fmla="*/ 1662944 h 6698675"/>
              <a:gd name="connsiteX10446" fmla="*/ 5153201 w 8267681"/>
              <a:gd name="connsiteY10446" fmla="*/ 1651202 h 6698675"/>
              <a:gd name="connsiteX10447" fmla="*/ 5162596 w 8267681"/>
              <a:gd name="connsiteY10447" fmla="*/ 1648853 h 6698675"/>
              <a:gd name="connsiteX10448" fmla="*/ 4927718 w 8267681"/>
              <a:gd name="connsiteY10448" fmla="*/ 1648853 h 6698675"/>
              <a:gd name="connsiteX10449" fmla="*/ 4930067 w 8267681"/>
              <a:gd name="connsiteY10449" fmla="*/ 1651202 h 6698675"/>
              <a:gd name="connsiteX10450" fmla="*/ 4930067 w 8267681"/>
              <a:gd name="connsiteY10450" fmla="*/ 1648853 h 6698675"/>
              <a:gd name="connsiteX10451" fmla="*/ 4927718 w 8267681"/>
              <a:gd name="connsiteY10451" fmla="*/ 1648853 h 6698675"/>
              <a:gd name="connsiteX10452" fmla="*/ 4915974 w 8267681"/>
              <a:gd name="connsiteY10452" fmla="*/ 1637109 h 6698675"/>
              <a:gd name="connsiteX10453" fmla="*/ 4913626 w 8267681"/>
              <a:gd name="connsiteY10453" fmla="*/ 1639458 h 6698675"/>
              <a:gd name="connsiteX10454" fmla="*/ 4918323 w 8267681"/>
              <a:gd name="connsiteY10454" fmla="*/ 1639458 h 6698675"/>
              <a:gd name="connsiteX10455" fmla="*/ 4913626 w 8267681"/>
              <a:gd name="connsiteY10455" fmla="*/ 1641806 h 6698675"/>
              <a:gd name="connsiteX10456" fmla="*/ 4920672 w 8267681"/>
              <a:gd name="connsiteY10456" fmla="*/ 1641806 h 6698675"/>
              <a:gd name="connsiteX10457" fmla="*/ 4918323 w 8267681"/>
              <a:gd name="connsiteY10457" fmla="*/ 1639458 h 6698675"/>
              <a:gd name="connsiteX10458" fmla="*/ 4915974 w 8267681"/>
              <a:gd name="connsiteY10458" fmla="*/ 1637109 h 6698675"/>
              <a:gd name="connsiteX10459" fmla="*/ 4923021 w 8267681"/>
              <a:gd name="connsiteY10459" fmla="*/ 1634760 h 6698675"/>
              <a:gd name="connsiteX10460" fmla="*/ 4920672 w 8267681"/>
              <a:gd name="connsiteY10460" fmla="*/ 1637109 h 6698675"/>
              <a:gd name="connsiteX10461" fmla="*/ 4923021 w 8267681"/>
              <a:gd name="connsiteY10461" fmla="*/ 1646504 h 6698675"/>
              <a:gd name="connsiteX10462" fmla="*/ 4932416 w 8267681"/>
              <a:gd name="connsiteY10462" fmla="*/ 1639458 h 6698675"/>
              <a:gd name="connsiteX10463" fmla="*/ 4923021 w 8267681"/>
              <a:gd name="connsiteY10463" fmla="*/ 1634760 h 6698675"/>
              <a:gd name="connsiteX10464" fmla="*/ 4939462 w 8267681"/>
              <a:gd name="connsiteY10464" fmla="*/ 1630062 h 6698675"/>
              <a:gd name="connsiteX10465" fmla="*/ 4941811 w 8267681"/>
              <a:gd name="connsiteY10465" fmla="*/ 1634760 h 6698675"/>
              <a:gd name="connsiteX10466" fmla="*/ 4946509 w 8267681"/>
              <a:gd name="connsiteY10466" fmla="*/ 1630062 h 6698675"/>
              <a:gd name="connsiteX10467" fmla="*/ 4939462 w 8267681"/>
              <a:gd name="connsiteY10467" fmla="*/ 1630062 h 6698675"/>
              <a:gd name="connsiteX10468" fmla="*/ 4908928 w 8267681"/>
              <a:gd name="connsiteY10468" fmla="*/ 1630062 h 6698675"/>
              <a:gd name="connsiteX10469" fmla="*/ 4899533 w 8267681"/>
              <a:gd name="connsiteY10469" fmla="*/ 1641806 h 6698675"/>
              <a:gd name="connsiteX10470" fmla="*/ 4904230 w 8267681"/>
              <a:gd name="connsiteY10470" fmla="*/ 1641806 h 6698675"/>
              <a:gd name="connsiteX10471" fmla="*/ 4908928 w 8267681"/>
              <a:gd name="connsiteY10471" fmla="*/ 1630062 h 6698675"/>
              <a:gd name="connsiteX10472" fmla="*/ 5207223 w 8267681"/>
              <a:gd name="connsiteY10472" fmla="*/ 1623016 h 6698675"/>
              <a:gd name="connsiteX10473" fmla="*/ 5209572 w 8267681"/>
              <a:gd name="connsiteY10473" fmla="*/ 1623016 h 6698675"/>
              <a:gd name="connsiteX10474" fmla="*/ 5211921 w 8267681"/>
              <a:gd name="connsiteY10474" fmla="*/ 1625366 h 6698675"/>
              <a:gd name="connsiteX10475" fmla="*/ 5218967 w 8267681"/>
              <a:gd name="connsiteY10475" fmla="*/ 1627714 h 6698675"/>
              <a:gd name="connsiteX10476" fmla="*/ 5214269 w 8267681"/>
              <a:gd name="connsiteY10476" fmla="*/ 1627714 h 6698675"/>
              <a:gd name="connsiteX10477" fmla="*/ 5202525 w 8267681"/>
              <a:gd name="connsiteY10477" fmla="*/ 1627714 h 6698675"/>
              <a:gd name="connsiteX10478" fmla="*/ 5207223 w 8267681"/>
              <a:gd name="connsiteY10478" fmla="*/ 1623016 h 6698675"/>
              <a:gd name="connsiteX10479" fmla="*/ 4533123 w 8267681"/>
              <a:gd name="connsiteY10479" fmla="*/ 1620668 h 6698675"/>
              <a:gd name="connsiteX10480" fmla="*/ 4521379 w 8267681"/>
              <a:gd name="connsiteY10480" fmla="*/ 1623016 h 6698675"/>
              <a:gd name="connsiteX10481" fmla="*/ 4497892 w 8267681"/>
              <a:gd name="connsiteY10481" fmla="*/ 1662944 h 6698675"/>
              <a:gd name="connsiteX10482" fmla="*/ 4500241 w 8267681"/>
              <a:gd name="connsiteY10482" fmla="*/ 1665293 h 6698675"/>
              <a:gd name="connsiteX10483" fmla="*/ 4507287 w 8267681"/>
              <a:gd name="connsiteY10483" fmla="*/ 1667642 h 6698675"/>
              <a:gd name="connsiteX10484" fmla="*/ 4509635 w 8267681"/>
              <a:gd name="connsiteY10484" fmla="*/ 1669991 h 6698675"/>
              <a:gd name="connsiteX10485" fmla="*/ 4535472 w 8267681"/>
              <a:gd name="connsiteY10485" fmla="*/ 1648853 h 6698675"/>
              <a:gd name="connsiteX10486" fmla="*/ 4533123 w 8267681"/>
              <a:gd name="connsiteY10486" fmla="*/ 1644155 h 6698675"/>
              <a:gd name="connsiteX10487" fmla="*/ 4533123 w 8267681"/>
              <a:gd name="connsiteY10487" fmla="*/ 1634760 h 6698675"/>
              <a:gd name="connsiteX10488" fmla="*/ 4533123 w 8267681"/>
              <a:gd name="connsiteY10488" fmla="*/ 1620668 h 6698675"/>
              <a:gd name="connsiteX10489" fmla="*/ 5132020 w 8267681"/>
              <a:gd name="connsiteY10489" fmla="*/ 1618600 h 6698675"/>
              <a:gd name="connsiteX10490" fmla="*/ 5133237 w 8267681"/>
              <a:gd name="connsiteY10490" fmla="*/ 1627420 h 6698675"/>
              <a:gd name="connsiteX10491" fmla="*/ 5143806 w 8267681"/>
              <a:gd name="connsiteY10491" fmla="*/ 1644155 h 6698675"/>
              <a:gd name="connsiteX10492" fmla="*/ 5143806 w 8267681"/>
              <a:gd name="connsiteY10492" fmla="*/ 1648853 h 6698675"/>
              <a:gd name="connsiteX10493" fmla="*/ 5141457 w 8267681"/>
              <a:gd name="connsiteY10493" fmla="*/ 1648853 h 6698675"/>
              <a:gd name="connsiteX10494" fmla="*/ 5138685 w 8267681"/>
              <a:gd name="connsiteY10494" fmla="*/ 1650350 h 6698675"/>
              <a:gd name="connsiteX10495" fmla="*/ 5134998 w 8267681"/>
              <a:gd name="connsiteY10495" fmla="*/ 1640632 h 6698675"/>
              <a:gd name="connsiteX10496" fmla="*/ 5131989 w 8267681"/>
              <a:gd name="connsiteY10496" fmla="*/ 1623971 h 6698675"/>
              <a:gd name="connsiteX10497" fmla="*/ 4497892 w 8267681"/>
              <a:gd name="connsiteY10497" fmla="*/ 1613673 h 6698675"/>
              <a:gd name="connsiteX10498" fmla="*/ 4504938 w 8267681"/>
              <a:gd name="connsiteY10498" fmla="*/ 1618370 h 6698675"/>
              <a:gd name="connsiteX10499" fmla="*/ 4497892 w 8267681"/>
              <a:gd name="connsiteY10499" fmla="*/ 1613673 h 6698675"/>
              <a:gd name="connsiteX10500" fmla="*/ 4962950 w 8267681"/>
              <a:gd name="connsiteY10500" fmla="*/ 1613622 h 6698675"/>
              <a:gd name="connsiteX10501" fmla="*/ 4946509 w 8267681"/>
              <a:gd name="connsiteY10501" fmla="*/ 1623016 h 6698675"/>
              <a:gd name="connsiteX10502" fmla="*/ 4953555 w 8267681"/>
              <a:gd name="connsiteY10502" fmla="*/ 1627714 h 6698675"/>
              <a:gd name="connsiteX10503" fmla="*/ 4953555 w 8267681"/>
              <a:gd name="connsiteY10503" fmla="*/ 1625366 h 6698675"/>
              <a:gd name="connsiteX10504" fmla="*/ 4955903 w 8267681"/>
              <a:gd name="connsiteY10504" fmla="*/ 1625366 h 6698675"/>
              <a:gd name="connsiteX10505" fmla="*/ 4962950 w 8267681"/>
              <a:gd name="connsiteY10505" fmla="*/ 1613622 h 6698675"/>
              <a:gd name="connsiteX10506" fmla="*/ 5128859 w 8267681"/>
              <a:gd name="connsiteY10506" fmla="*/ 1597181 h 6698675"/>
              <a:gd name="connsiteX10507" fmla="*/ 5129713 w 8267681"/>
              <a:gd name="connsiteY10507" fmla="*/ 1597181 h 6698675"/>
              <a:gd name="connsiteX10508" fmla="*/ 5132062 w 8267681"/>
              <a:gd name="connsiteY10508" fmla="*/ 1599529 h 6698675"/>
              <a:gd name="connsiteX10509" fmla="*/ 5132062 w 8267681"/>
              <a:gd name="connsiteY10509" fmla="*/ 1611273 h 6698675"/>
              <a:gd name="connsiteX10510" fmla="*/ 5132020 w 8267681"/>
              <a:gd name="connsiteY10510" fmla="*/ 1618600 h 6698675"/>
              <a:gd name="connsiteX10511" fmla="*/ 5129713 w 8267681"/>
              <a:gd name="connsiteY10511" fmla="*/ 1601878 h 6698675"/>
              <a:gd name="connsiteX10512" fmla="*/ 4493194 w 8267681"/>
              <a:gd name="connsiteY10512" fmla="*/ 1594832 h 6698675"/>
              <a:gd name="connsiteX10513" fmla="*/ 4469706 w 8267681"/>
              <a:gd name="connsiteY10513" fmla="*/ 1644155 h 6698675"/>
              <a:gd name="connsiteX10514" fmla="*/ 4476753 w 8267681"/>
              <a:gd name="connsiteY10514" fmla="*/ 1655898 h 6698675"/>
              <a:gd name="connsiteX10515" fmla="*/ 4514333 w 8267681"/>
              <a:gd name="connsiteY10515" fmla="*/ 1623016 h 6698675"/>
              <a:gd name="connsiteX10516" fmla="*/ 4493194 w 8267681"/>
              <a:gd name="connsiteY10516" fmla="*/ 1594832 h 6698675"/>
              <a:gd name="connsiteX10517" fmla="*/ 1623004 w 8267681"/>
              <a:gd name="connsiteY10517" fmla="*/ 1590188 h 6698675"/>
              <a:gd name="connsiteX10518" fmla="*/ 1627703 w 8267681"/>
              <a:gd name="connsiteY10518" fmla="*/ 1601931 h 6698675"/>
              <a:gd name="connsiteX10519" fmla="*/ 1630051 w 8267681"/>
              <a:gd name="connsiteY10519" fmla="*/ 1613674 h 6698675"/>
              <a:gd name="connsiteX10520" fmla="*/ 1623004 w 8267681"/>
              <a:gd name="connsiteY10520" fmla="*/ 1590188 h 6698675"/>
              <a:gd name="connsiteX10521" fmla="*/ 5127364 w 8267681"/>
              <a:gd name="connsiteY10521" fmla="*/ 1588958 h 6698675"/>
              <a:gd name="connsiteX10522" fmla="*/ 5128859 w 8267681"/>
              <a:gd name="connsiteY10522" fmla="*/ 1597181 h 6698675"/>
              <a:gd name="connsiteX10523" fmla="*/ 5127364 w 8267681"/>
              <a:gd name="connsiteY10523" fmla="*/ 1597181 h 6698675"/>
              <a:gd name="connsiteX10524" fmla="*/ 4972345 w 8267681"/>
              <a:gd name="connsiteY10524" fmla="*/ 1587786 h 6698675"/>
              <a:gd name="connsiteX10525" fmla="*/ 4955903 w 8267681"/>
              <a:gd name="connsiteY10525" fmla="*/ 1597181 h 6698675"/>
              <a:gd name="connsiteX10526" fmla="*/ 4965299 w 8267681"/>
              <a:gd name="connsiteY10526" fmla="*/ 1604227 h 6698675"/>
              <a:gd name="connsiteX10527" fmla="*/ 4944160 w 8267681"/>
              <a:gd name="connsiteY10527" fmla="*/ 1604227 h 6698675"/>
              <a:gd name="connsiteX10528" fmla="*/ 4941811 w 8267681"/>
              <a:gd name="connsiteY10528" fmla="*/ 1606576 h 6698675"/>
              <a:gd name="connsiteX10529" fmla="*/ 4944160 w 8267681"/>
              <a:gd name="connsiteY10529" fmla="*/ 1615971 h 6698675"/>
              <a:gd name="connsiteX10530" fmla="*/ 4939462 w 8267681"/>
              <a:gd name="connsiteY10530" fmla="*/ 1611273 h 6698675"/>
              <a:gd name="connsiteX10531" fmla="*/ 4934765 w 8267681"/>
              <a:gd name="connsiteY10531" fmla="*/ 1613622 h 6698675"/>
              <a:gd name="connsiteX10532" fmla="*/ 4932416 w 8267681"/>
              <a:gd name="connsiteY10532" fmla="*/ 1615971 h 6698675"/>
              <a:gd name="connsiteX10533" fmla="*/ 4930067 w 8267681"/>
              <a:gd name="connsiteY10533" fmla="*/ 1618320 h 6698675"/>
              <a:gd name="connsiteX10534" fmla="*/ 4941811 w 8267681"/>
              <a:gd name="connsiteY10534" fmla="*/ 1620668 h 6698675"/>
              <a:gd name="connsiteX10535" fmla="*/ 4965299 w 8267681"/>
              <a:gd name="connsiteY10535" fmla="*/ 1604227 h 6698675"/>
              <a:gd name="connsiteX10536" fmla="*/ 4967647 w 8267681"/>
              <a:gd name="connsiteY10536" fmla="*/ 1599529 h 6698675"/>
              <a:gd name="connsiteX10537" fmla="*/ 4969996 w 8267681"/>
              <a:gd name="connsiteY10537" fmla="*/ 1599529 h 6698675"/>
              <a:gd name="connsiteX10538" fmla="*/ 4972345 w 8267681"/>
              <a:gd name="connsiteY10538" fmla="*/ 1587786 h 6698675"/>
              <a:gd name="connsiteX10539" fmla="*/ 4998182 w 8267681"/>
              <a:gd name="connsiteY10539" fmla="*/ 1571344 h 6698675"/>
              <a:gd name="connsiteX10540" fmla="*/ 4979391 w 8267681"/>
              <a:gd name="connsiteY10540" fmla="*/ 1580739 h 6698675"/>
              <a:gd name="connsiteX10541" fmla="*/ 4979391 w 8267681"/>
              <a:gd name="connsiteY10541" fmla="*/ 1587786 h 6698675"/>
              <a:gd name="connsiteX10542" fmla="*/ 4986438 w 8267681"/>
              <a:gd name="connsiteY10542" fmla="*/ 1578390 h 6698675"/>
              <a:gd name="connsiteX10543" fmla="*/ 4998182 w 8267681"/>
              <a:gd name="connsiteY10543" fmla="*/ 1571344 h 6698675"/>
              <a:gd name="connsiteX10544" fmla="*/ 5066296 w 8267681"/>
              <a:gd name="connsiteY10544" fmla="*/ 1543158 h 6698675"/>
              <a:gd name="connsiteX10545" fmla="*/ 5068645 w 8267681"/>
              <a:gd name="connsiteY10545" fmla="*/ 1543158 h 6698675"/>
              <a:gd name="connsiteX10546" fmla="*/ 5043970 w 8267681"/>
              <a:gd name="connsiteY10546" fmla="*/ 1557552 h 6698675"/>
              <a:gd name="connsiteX10547" fmla="*/ 5058763 w 8267681"/>
              <a:gd name="connsiteY10547" fmla="*/ 1547936 h 6698675"/>
              <a:gd name="connsiteX10548" fmla="*/ 5059250 w 8267681"/>
              <a:gd name="connsiteY10548" fmla="*/ 1547855 h 6698675"/>
              <a:gd name="connsiteX10549" fmla="*/ 5066296 w 8267681"/>
              <a:gd name="connsiteY10549" fmla="*/ 1543158 h 6698675"/>
              <a:gd name="connsiteX10550" fmla="*/ 4441521 w 8267681"/>
              <a:gd name="connsiteY10550" fmla="*/ 1538460 h 6698675"/>
              <a:gd name="connsiteX10551" fmla="*/ 4441521 w 8267681"/>
              <a:gd name="connsiteY10551" fmla="*/ 1552553 h 6698675"/>
              <a:gd name="connsiteX10552" fmla="*/ 4441521 w 8267681"/>
              <a:gd name="connsiteY10552" fmla="*/ 1557251 h 6698675"/>
              <a:gd name="connsiteX10553" fmla="*/ 4455614 w 8267681"/>
              <a:gd name="connsiteY10553" fmla="*/ 1547855 h 6698675"/>
              <a:gd name="connsiteX10554" fmla="*/ 4441521 w 8267681"/>
              <a:gd name="connsiteY10554" fmla="*/ 1538460 h 6698675"/>
              <a:gd name="connsiteX10555" fmla="*/ 5087435 w 8267681"/>
              <a:gd name="connsiteY10555" fmla="*/ 1531414 h 6698675"/>
              <a:gd name="connsiteX10556" fmla="*/ 5080389 w 8267681"/>
              <a:gd name="connsiteY10556" fmla="*/ 1536111 h 6698675"/>
              <a:gd name="connsiteX10557" fmla="*/ 5080389 w 8267681"/>
              <a:gd name="connsiteY10557" fmla="*/ 1534937 h 6698675"/>
              <a:gd name="connsiteX10558" fmla="*/ 5080389 w 8267681"/>
              <a:gd name="connsiteY10558" fmla="*/ 1533763 h 6698675"/>
              <a:gd name="connsiteX10559" fmla="*/ 5087435 w 8267681"/>
              <a:gd name="connsiteY10559" fmla="*/ 1531414 h 6698675"/>
              <a:gd name="connsiteX10560" fmla="*/ 5096830 w 8267681"/>
              <a:gd name="connsiteY10560" fmla="*/ 1526716 h 6698675"/>
              <a:gd name="connsiteX10561" fmla="*/ 5089784 w 8267681"/>
              <a:gd name="connsiteY10561" fmla="*/ 1531414 h 6698675"/>
              <a:gd name="connsiteX10562" fmla="*/ 5092133 w 8267681"/>
              <a:gd name="connsiteY10562" fmla="*/ 1529065 h 6698675"/>
              <a:gd name="connsiteX10563" fmla="*/ 5096830 w 8267681"/>
              <a:gd name="connsiteY10563" fmla="*/ 1526716 h 6698675"/>
              <a:gd name="connsiteX10564" fmla="*/ 4695189 w 8267681"/>
              <a:gd name="connsiteY10564" fmla="*/ 1524366 h 6698675"/>
              <a:gd name="connsiteX10565" fmla="*/ 4692840 w 8267681"/>
              <a:gd name="connsiteY10565" fmla="*/ 1531414 h 6698675"/>
              <a:gd name="connsiteX10566" fmla="*/ 4706933 w 8267681"/>
              <a:gd name="connsiteY10566" fmla="*/ 1533763 h 6698675"/>
              <a:gd name="connsiteX10567" fmla="*/ 4695189 w 8267681"/>
              <a:gd name="connsiteY10567" fmla="*/ 1524366 h 6698675"/>
              <a:gd name="connsiteX10568" fmla="*/ 4514333 w 8267681"/>
              <a:gd name="connsiteY10568" fmla="*/ 1519669 h 6698675"/>
              <a:gd name="connsiteX10569" fmla="*/ 4504938 w 8267681"/>
              <a:gd name="connsiteY10569" fmla="*/ 1522018 h 6698675"/>
              <a:gd name="connsiteX10570" fmla="*/ 4504938 w 8267681"/>
              <a:gd name="connsiteY10570" fmla="*/ 1524366 h 6698675"/>
              <a:gd name="connsiteX10571" fmla="*/ 4514333 w 8267681"/>
              <a:gd name="connsiteY10571" fmla="*/ 1533763 h 6698675"/>
              <a:gd name="connsiteX10572" fmla="*/ 4514333 w 8267681"/>
              <a:gd name="connsiteY10572" fmla="*/ 1536111 h 6698675"/>
              <a:gd name="connsiteX10573" fmla="*/ 4516682 w 8267681"/>
              <a:gd name="connsiteY10573" fmla="*/ 1536111 h 6698675"/>
              <a:gd name="connsiteX10574" fmla="*/ 4516682 w 8267681"/>
              <a:gd name="connsiteY10574" fmla="*/ 1540809 h 6698675"/>
              <a:gd name="connsiteX10575" fmla="*/ 4521379 w 8267681"/>
              <a:gd name="connsiteY10575" fmla="*/ 1543158 h 6698675"/>
              <a:gd name="connsiteX10576" fmla="*/ 4521379 w 8267681"/>
              <a:gd name="connsiteY10576" fmla="*/ 1545506 h 6698675"/>
              <a:gd name="connsiteX10577" fmla="*/ 4526077 w 8267681"/>
              <a:gd name="connsiteY10577" fmla="*/ 1547855 h 6698675"/>
              <a:gd name="connsiteX10578" fmla="*/ 4533123 w 8267681"/>
              <a:gd name="connsiteY10578" fmla="*/ 1566647 h 6698675"/>
              <a:gd name="connsiteX10579" fmla="*/ 4537821 w 8267681"/>
              <a:gd name="connsiteY10579" fmla="*/ 1561949 h 6698675"/>
              <a:gd name="connsiteX10580" fmla="*/ 4549565 w 8267681"/>
              <a:gd name="connsiteY10580" fmla="*/ 1559599 h 6698675"/>
              <a:gd name="connsiteX10581" fmla="*/ 4554263 w 8267681"/>
              <a:gd name="connsiteY10581" fmla="*/ 1550204 h 6698675"/>
              <a:gd name="connsiteX10582" fmla="*/ 4561309 w 8267681"/>
              <a:gd name="connsiteY10582" fmla="*/ 1547855 h 6698675"/>
              <a:gd name="connsiteX10583" fmla="*/ 4566006 w 8267681"/>
              <a:gd name="connsiteY10583" fmla="*/ 1543158 h 6698675"/>
              <a:gd name="connsiteX10584" fmla="*/ 4568355 w 8267681"/>
              <a:gd name="connsiteY10584" fmla="*/ 1522018 h 6698675"/>
              <a:gd name="connsiteX10585" fmla="*/ 4528426 w 8267681"/>
              <a:gd name="connsiteY10585" fmla="*/ 1522018 h 6698675"/>
              <a:gd name="connsiteX10586" fmla="*/ 4514333 w 8267681"/>
              <a:gd name="connsiteY10586" fmla="*/ 1519669 h 6698675"/>
              <a:gd name="connsiteX10587" fmla="*/ 4789140 w 8267681"/>
              <a:gd name="connsiteY10587" fmla="*/ 1517597 h 6698675"/>
              <a:gd name="connsiteX10588" fmla="*/ 4789140 w 8267681"/>
              <a:gd name="connsiteY10588" fmla="*/ 1519669 h 6698675"/>
              <a:gd name="connsiteX10589" fmla="*/ 4785852 w 8267681"/>
              <a:gd name="connsiteY10589" fmla="*/ 1522018 h 6698675"/>
              <a:gd name="connsiteX10590" fmla="*/ 4779745 w 8267681"/>
              <a:gd name="connsiteY10590" fmla="*/ 1522018 h 6698675"/>
              <a:gd name="connsiteX10591" fmla="*/ 4605936 w 8267681"/>
              <a:gd name="connsiteY10591" fmla="*/ 1517320 h 6698675"/>
              <a:gd name="connsiteX10592" fmla="*/ 4582448 w 8267681"/>
              <a:gd name="connsiteY10592" fmla="*/ 1522018 h 6698675"/>
              <a:gd name="connsiteX10593" fmla="*/ 4575401 w 8267681"/>
              <a:gd name="connsiteY10593" fmla="*/ 1526716 h 6698675"/>
              <a:gd name="connsiteX10594" fmla="*/ 4577750 w 8267681"/>
              <a:gd name="connsiteY10594" fmla="*/ 1540809 h 6698675"/>
              <a:gd name="connsiteX10595" fmla="*/ 4594192 w 8267681"/>
              <a:gd name="connsiteY10595" fmla="*/ 1531414 h 6698675"/>
              <a:gd name="connsiteX10596" fmla="*/ 4601238 w 8267681"/>
              <a:gd name="connsiteY10596" fmla="*/ 1529065 h 6698675"/>
              <a:gd name="connsiteX10597" fmla="*/ 4605936 w 8267681"/>
              <a:gd name="connsiteY10597" fmla="*/ 1524366 h 6698675"/>
              <a:gd name="connsiteX10598" fmla="*/ 4605936 w 8267681"/>
              <a:gd name="connsiteY10598" fmla="*/ 1517320 h 6698675"/>
              <a:gd name="connsiteX10599" fmla="*/ 5106226 w 8267681"/>
              <a:gd name="connsiteY10599" fmla="*/ 1510274 h 6698675"/>
              <a:gd name="connsiteX10600" fmla="*/ 5042809 w 8267681"/>
              <a:gd name="connsiteY10600" fmla="*/ 1545506 h 6698675"/>
              <a:gd name="connsiteX10601" fmla="*/ 5056901 w 8267681"/>
              <a:gd name="connsiteY10601" fmla="*/ 1543158 h 6698675"/>
              <a:gd name="connsiteX10602" fmla="*/ 5061599 w 8267681"/>
              <a:gd name="connsiteY10602" fmla="*/ 1540809 h 6698675"/>
              <a:gd name="connsiteX10603" fmla="*/ 5070994 w 8267681"/>
              <a:gd name="connsiteY10603" fmla="*/ 1538460 h 6698675"/>
              <a:gd name="connsiteX10604" fmla="*/ 5087435 w 8267681"/>
              <a:gd name="connsiteY10604" fmla="*/ 1526716 h 6698675"/>
              <a:gd name="connsiteX10605" fmla="*/ 5087435 w 8267681"/>
              <a:gd name="connsiteY10605" fmla="*/ 1524366 h 6698675"/>
              <a:gd name="connsiteX10606" fmla="*/ 5106226 w 8267681"/>
              <a:gd name="connsiteY10606" fmla="*/ 1510274 h 6698675"/>
              <a:gd name="connsiteX10607" fmla="*/ 4457962 w 8267681"/>
              <a:gd name="connsiteY10607" fmla="*/ 1507925 h 6698675"/>
              <a:gd name="connsiteX10608" fmla="*/ 4460311 w 8267681"/>
              <a:gd name="connsiteY10608" fmla="*/ 1529065 h 6698675"/>
              <a:gd name="connsiteX10609" fmla="*/ 4483799 w 8267681"/>
              <a:gd name="connsiteY10609" fmla="*/ 1538460 h 6698675"/>
              <a:gd name="connsiteX10610" fmla="*/ 4504938 w 8267681"/>
              <a:gd name="connsiteY10610" fmla="*/ 1568995 h 6698675"/>
              <a:gd name="connsiteX10611" fmla="*/ 4533123 w 8267681"/>
              <a:gd name="connsiteY10611" fmla="*/ 1611273 h 6698675"/>
              <a:gd name="connsiteX10612" fmla="*/ 4533123 w 8267681"/>
              <a:gd name="connsiteY10612" fmla="*/ 1608924 h 6698675"/>
              <a:gd name="connsiteX10613" fmla="*/ 4533123 w 8267681"/>
              <a:gd name="connsiteY10613" fmla="*/ 1599529 h 6698675"/>
              <a:gd name="connsiteX10614" fmla="*/ 4526077 w 8267681"/>
              <a:gd name="connsiteY10614" fmla="*/ 1599529 h 6698675"/>
              <a:gd name="connsiteX10615" fmla="*/ 4523728 w 8267681"/>
              <a:gd name="connsiteY10615" fmla="*/ 1568995 h 6698675"/>
              <a:gd name="connsiteX10616" fmla="*/ 4526077 w 8267681"/>
              <a:gd name="connsiteY10616" fmla="*/ 1568995 h 6698675"/>
              <a:gd name="connsiteX10617" fmla="*/ 4526077 w 8267681"/>
              <a:gd name="connsiteY10617" fmla="*/ 1564298 h 6698675"/>
              <a:gd name="connsiteX10618" fmla="*/ 4521379 w 8267681"/>
              <a:gd name="connsiteY10618" fmla="*/ 1561949 h 6698675"/>
              <a:gd name="connsiteX10619" fmla="*/ 4521379 w 8267681"/>
              <a:gd name="connsiteY10619" fmla="*/ 1559599 h 6698675"/>
              <a:gd name="connsiteX10620" fmla="*/ 4519031 w 8267681"/>
              <a:gd name="connsiteY10620" fmla="*/ 1557251 h 6698675"/>
              <a:gd name="connsiteX10621" fmla="*/ 4519031 w 8267681"/>
              <a:gd name="connsiteY10621" fmla="*/ 1554902 h 6698675"/>
              <a:gd name="connsiteX10622" fmla="*/ 4514333 w 8267681"/>
              <a:gd name="connsiteY10622" fmla="*/ 1552553 h 6698675"/>
              <a:gd name="connsiteX10623" fmla="*/ 4509635 w 8267681"/>
              <a:gd name="connsiteY10623" fmla="*/ 1547855 h 6698675"/>
              <a:gd name="connsiteX10624" fmla="*/ 4509635 w 8267681"/>
              <a:gd name="connsiteY10624" fmla="*/ 1545506 h 6698675"/>
              <a:gd name="connsiteX10625" fmla="*/ 4504938 w 8267681"/>
              <a:gd name="connsiteY10625" fmla="*/ 1540809 h 6698675"/>
              <a:gd name="connsiteX10626" fmla="*/ 4500241 w 8267681"/>
              <a:gd name="connsiteY10626" fmla="*/ 1538460 h 6698675"/>
              <a:gd name="connsiteX10627" fmla="*/ 4500241 w 8267681"/>
              <a:gd name="connsiteY10627" fmla="*/ 1533763 h 6698675"/>
              <a:gd name="connsiteX10628" fmla="*/ 4497892 w 8267681"/>
              <a:gd name="connsiteY10628" fmla="*/ 1531414 h 6698675"/>
              <a:gd name="connsiteX10629" fmla="*/ 4495543 w 8267681"/>
              <a:gd name="connsiteY10629" fmla="*/ 1522018 h 6698675"/>
              <a:gd name="connsiteX10630" fmla="*/ 4493194 w 8267681"/>
              <a:gd name="connsiteY10630" fmla="*/ 1519669 h 6698675"/>
              <a:gd name="connsiteX10631" fmla="*/ 4493194 w 8267681"/>
              <a:gd name="connsiteY10631" fmla="*/ 1514971 h 6698675"/>
              <a:gd name="connsiteX10632" fmla="*/ 4488497 w 8267681"/>
              <a:gd name="connsiteY10632" fmla="*/ 1512623 h 6698675"/>
              <a:gd name="connsiteX10633" fmla="*/ 4488497 w 8267681"/>
              <a:gd name="connsiteY10633" fmla="*/ 1510274 h 6698675"/>
              <a:gd name="connsiteX10634" fmla="*/ 4457962 w 8267681"/>
              <a:gd name="connsiteY10634" fmla="*/ 1507925 h 6698675"/>
              <a:gd name="connsiteX10635" fmla="*/ 2161741 w 8267681"/>
              <a:gd name="connsiteY10635" fmla="*/ 1505869 h 6698675"/>
              <a:gd name="connsiteX10636" fmla="*/ 2146768 w 8267681"/>
              <a:gd name="connsiteY10636" fmla="*/ 1507925 h 6698675"/>
              <a:gd name="connsiteX10637" fmla="*/ 2142069 w 8267681"/>
              <a:gd name="connsiteY10637" fmla="*/ 1514971 h 6698675"/>
              <a:gd name="connsiteX10638" fmla="*/ 2165560 w 8267681"/>
              <a:gd name="connsiteY10638" fmla="*/ 1519669 h 6698675"/>
              <a:gd name="connsiteX10639" fmla="*/ 2179653 w 8267681"/>
              <a:gd name="connsiteY10639" fmla="*/ 1522018 h 6698675"/>
              <a:gd name="connsiteX10640" fmla="*/ 2174953 w 8267681"/>
              <a:gd name="connsiteY10640" fmla="*/ 1512623 h 6698675"/>
              <a:gd name="connsiteX10641" fmla="*/ 2161741 w 8267681"/>
              <a:gd name="connsiteY10641" fmla="*/ 1505869 h 6698675"/>
              <a:gd name="connsiteX10642" fmla="*/ 4650562 w 8267681"/>
              <a:gd name="connsiteY10642" fmla="*/ 1503227 h 6698675"/>
              <a:gd name="connsiteX10643" fmla="*/ 4645865 w 8267681"/>
              <a:gd name="connsiteY10643" fmla="*/ 1507925 h 6698675"/>
              <a:gd name="connsiteX10644" fmla="*/ 4641167 w 8267681"/>
              <a:gd name="connsiteY10644" fmla="*/ 1507925 h 6698675"/>
              <a:gd name="connsiteX10645" fmla="*/ 4631772 w 8267681"/>
              <a:gd name="connsiteY10645" fmla="*/ 1510274 h 6698675"/>
              <a:gd name="connsiteX10646" fmla="*/ 4624726 w 8267681"/>
              <a:gd name="connsiteY10646" fmla="*/ 1514971 h 6698675"/>
              <a:gd name="connsiteX10647" fmla="*/ 4615331 w 8267681"/>
              <a:gd name="connsiteY10647" fmla="*/ 1517320 h 6698675"/>
              <a:gd name="connsiteX10648" fmla="*/ 4612982 w 8267681"/>
              <a:gd name="connsiteY10648" fmla="*/ 1526716 h 6698675"/>
              <a:gd name="connsiteX10649" fmla="*/ 4594192 w 8267681"/>
              <a:gd name="connsiteY10649" fmla="*/ 1536111 h 6698675"/>
              <a:gd name="connsiteX10650" fmla="*/ 4577750 w 8267681"/>
              <a:gd name="connsiteY10650" fmla="*/ 1545506 h 6698675"/>
              <a:gd name="connsiteX10651" fmla="*/ 4573053 w 8267681"/>
              <a:gd name="connsiteY10651" fmla="*/ 1552553 h 6698675"/>
              <a:gd name="connsiteX10652" fmla="*/ 4568355 w 8267681"/>
              <a:gd name="connsiteY10652" fmla="*/ 1552553 h 6698675"/>
              <a:gd name="connsiteX10653" fmla="*/ 4566006 w 8267681"/>
              <a:gd name="connsiteY10653" fmla="*/ 1557251 h 6698675"/>
              <a:gd name="connsiteX10654" fmla="*/ 4561309 w 8267681"/>
              <a:gd name="connsiteY10654" fmla="*/ 1557251 h 6698675"/>
              <a:gd name="connsiteX10655" fmla="*/ 4561309 w 8267681"/>
              <a:gd name="connsiteY10655" fmla="*/ 1559599 h 6698675"/>
              <a:gd name="connsiteX10656" fmla="*/ 4556611 w 8267681"/>
              <a:gd name="connsiteY10656" fmla="*/ 1561949 h 6698675"/>
              <a:gd name="connsiteX10657" fmla="*/ 4556611 w 8267681"/>
              <a:gd name="connsiteY10657" fmla="*/ 1566647 h 6698675"/>
              <a:gd name="connsiteX10658" fmla="*/ 4551914 w 8267681"/>
              <a:gd name="connsiteY10658" fmla="*/ 1568995 h 6698675"/>
              <a:gd name="connsiteX10659" fmla="*/ 4551914 w 8267681"/>
              <a:gd name="connsiteY10659" fmla="*/ 1573693 h 6698675"/>
              <a:gd name="connsiteX10660" fmla="*/ 4549565 w 8267681"/>
              <a:gd name="connsiteY10660" fmla="*/ 1576042 h 6698675"/>
              <a:gd name="connsiteX10661" fmla="*/ 4549565 w 8267681"/>
              <a:gd name="connsiteY10661" fmla="*/ 1578390 h 6698675"/>
              <a:gd name="connsiteX10662" fmla="*/ 4554263 w 8267681"/>
              <a:gd name="connsiteY10662" fmla="*/ 1592483 h 6698675"/>
              <a:gd name="connsiteX10663" fmla="*/ 4542519 w 8267681"/>
              <a:gd name="connsiteY10663" fmla="*/ 1599529 h 6698675"/>
              <a:gd name="connsiteX10664" fmla="*/ 4542519 w 8267681"/>
              <a:gd name="connsiteY10664" fmla="*/ 1608924 h 6698675"/>
              <a:gd name="connsiteX10665" fmla="*/ 4542519 w 8267681"/>
              <a:gd name="connsiteY10665" fmla="*/ 1632411 h 6698675"/>
              <a:gd name="connsiteX10666" fmla="*/ 4544867 w 8267681"/>
              <a:gd name="connsiteY10666" fmla="*/ 1639458 h 6698675"/>
              <a:gd name="connsiteX10667" fmla="*/ 4549565 w 8267681"/>
              <a:gd name="connsiteY10667" fmla="*/ 1637109 h 6698675"/>
              <a:gd name="connsiteX10668" fmla="*/ 4549565 w 8267681"/>
              <a:gd name="connsiteY10668" fmla="*/ 1632411 h 6698675"/>
              <a:gd name="connsiteX10669" fmla="*/ 4547216 w 8267681"/>
              <a:gd name="connsiteY10669" fmla="*/ 1637109 h 6698675"/>
              <a:gd name="connsiteX10670" fmla="*/ 4551914 w 8267681"/>
              <a:gd name="connsiteY10670" fmla="*/ 1625366 h 6698675"/>
              <a:gd name="connsiteX10671" fmla="*/ 4608285 w 8267681"/>
              <a:gd name="connsiteY10671" fmla="*/ 1547855 h 6698675"/>
              <a:gd name="connsiteX10672" fmla="*/ 4629423 w 8267681"/>
              <a:gd name="connsiteY10672" fmla="*/ 1538460 h 6698675"/>
              <a:gd name="connsiteX10673" fmla="*/ 4655260 w 8267681"/>
              <a:gd name="connsiteY10673" fmla="*/ 1503227 h 6698675"/>
              <a:gd name="connsiteX10674" fmla="*/ 4650562 w 8267681"/>
              <a:gd name="connsiteY10674" fmla="*/ 1503227 h 6698675"/>
              <a:gd name="connsiteX10675" fmla="*/ 5151323 w 8267681"/>
              <a:gd name="connsiteY10675" fmla="*/ 1502757 h 6698675"/>
              <a:gd name="connsiteX10676" fmla="*/ 5153201 w 8267681"/>
              <a:gd name="connsiteY10676" fmla="*/ 1503227 h 6698675"/>
              <a:gd name="connsiteX10677" fmla="*/ 5147566 w 8267681"/>
              <a:gd name="connsiteY10677" fmla="*/ 1506514 h 6698675"/>
              <a:gd name="connsiteX10678" fmla="*/ 5136760 w 8267681"/>
              <a:gd name="connsiteY10678" fmla="*/ 1493832 h 6698675"/>
              <a:gd name="connsiteX10679" fmla="*/ 5129713 w 8267681"/>
              <a:gd name="connsiteY10679" fmla="*/ 1496180 h 6698675"/>
              <a:gd name="connsiteX10680" fmla="*/ 5120318 w 8267681"/>
              <a:gd name="connsiteY10680" fmla="*/ 1500879 h 6698675"/>
              <a:gd name="connsiteX10681" fmla="*/ 5108574 w 8267681"/>
              <a:gd name="connsiteY10681" fmla="*/ 1514971 h 6698675"/>
              <a:gd name="connsiteX10682" fmla="*/ 5113272 w 8267681"/>
              <a:gd name="connsiteY10682" fmla="*/ 1514971 h 6698675"/>
              <a:gd name="connsiteX10683" fmla="*/ 5141457 w 8267681"/>
              <a:gd name="connsiteY10683" fmla="*/ 1498530 h 6698675"/>
              <a:gd name="connsiteX10684" fmla="*/ 5136760 w 8267681"/>
              <a:gd name="connsiteY10684" fmla="*/ 1493832 h 6698675"/>
              <a:gd name="connsiteX10685" fmla="*/ 4664655 w 8267681"/>
              <a:gd name="connsiteY10685" fmla="*/ 1489134 h 6698675"/>
              <a:gd name="connsiteX10686" fmla="*/ 4636470 w 8267681"/>
              <a:gd name="connsiteY10686" fmla="*/ 1503227 h 6698675"/>
              <a:gd name="connsiteX10687" fmla="*/ 4643516 w 8267681"/>
              <a:gd name="connsiteY10687" fmla="*/ 1503227 h 6698675"/>
              <a:gd name="connsiteX10688" fmla="*/ 4648214 w 8267681"/>
              <a:gd name="connsiteY10688" fmla="*/ 1498530 h 6698675"/>
              <a:gd name="connsiteX10689" fmla="*/ 4659958 w 8267681"/>
              <a:gd name="connsiteY10689" fmla="*/ 1496180 h 6698675"/>
              <a:gd name="connsiteX10690" fmla="*/ 4664655 w 8267681"/>
              <a:gd name="connsiteY10690" fmla="*/ 1489134 h 6698675"/>
              <a:gd name="connsiteX10691" fmla="*/ 4681096 w 8267681"/>
              <a:gd name="connsiteY10691" fmla="*/ 1482087 h 6698675"/>
              <a:gd name="connsiteX10692" fmla="*/ 4671702 w 8267681"/>
              <a:gd name="connsiteY10692" fmla="*/ 1498530 h 6698675"/>
              <a:gd name="connsiteX10693" fmla="*/ 4667004 w 8267681"/>
              <a:gd name="connsiteY10693" fmla="*/ 1498530 h 6698675"/>
              <a:gd name="connsiteX10694" fmla="*/ 4662306 w 8267681"/>
              <a:gd name="connsiteY10694" fmla="*/ 1519669 h 6698675"/>
              <a:gd name="connsiteX10695" fmla="*/ 4683445 w 8267681"/>
              <a:gd name="connsiteY10695" fmla="*/ 1512623 h 6698675"/>
              <a:gd name="connsiteX10696" fmla="*/ 4681096 w 8267681"/>
              <a:gd name="connsiteY10696" fmla="*/ 1482087 h 6698675"/>
              <a:gd name="connsiteX10697" fmla="*/ 4725723 w 8267681"/>
              <a:gd name="connsiteY10697" fmla="*/ 1477390 h 6698675"/>
              <a:gd name="connsiteX10698" fmla="*/ 4716328 w 8267681"/>
              <a:gd name="connsiteY10698" fmla="*/ 1486785 h 6698675"/>
              <a:gd name="connsiteX10699" fmla="*/ 4732770 w 8267681"/>
              <a:gd name="connsiteY10699" fmla="*/ 1496180 h 6698675"/>
              <a:gd name="connsiteX10700" fmla="*/ 4716328 w 8267681"/>
              <a:gd name="connsiteY10700" fmla="*/ 1538460 h 6698675"/>
              <a:gd name="connsiteX10701" fmla="*/ 4723375 w 8267681"/>
              <a:gd name="connsiteY10701" fmla="*/ 1540809 h 6698675"/>
              <a:gd name="connsiteX10702" fmla="*/ 4749211 w 8267681"/>
              <a:gd name="connsiteY10702" fmla="*/ 1524366 h 6698675"/>
              <a:gd name="connsiteX10703" fmla="*/ 4749211 w 8267681"/>
              <a:gd name="connsiteY10703" fmla="*/ 1517320 h 6698675"/>
              <a:gd name="connsiteX10704" fmla="*/ 4732770 w 8267681"/>
              <a:gd name="connsiteY10704" fmla="*/ 1503227 h 6698675"/>
              <a:gd name="connsiteX10705" fmla="*/ 4732770 w 8267681"/>
              <a:gd name="connsiteY10705" fmla="*/ 1496180 h 6698675"/>
              <a:gd name="connsiteX10706" fmla="*/ 4732770 w 8267681"/>
              <a:gd name="connsiteY10706" fmla="*/ 1489134 h 6698675"/>
              <a:gd name="connsiteX10707" fmla="*/ 4728072 w 8267681"/>
              <a:gd name="connsiteY10707" fmla="*/ 1486785 h 6698675"/>
              <a:gd name="connsiteX10708" fmla="*/ 4725723 w 8267681"/>
              <a:gd name="connsiteY10708" fmla="*/ 1477390 h 6698675"/>
              <a:gd name="connsiteX10709" fmla="*/ 4876759 w 8267681"/>
              <a:gd name="connsiteY10709" fmla="*/ 1472900 h 6698675"/>
              <a:gd name="connsiteX10710" fmla="*/ 4808238 w 8267681"/>
              <a:gd name="connsiteY10710" fmla="*/ 1515926 h 6698675"/>
              <a:gd name="connsiteX10711" fmla="*/ 4814977 w 8267681"/>
              <a:gd name="connsiteY10711" fmla="*/ 1505576 h 6698675"/>
              <a:gd name="connsiteX10712" fmla="*/ 4793838 w 8267681"/>
              <a:gd name="connsiteY10712" fmla="*/ 1517320 h 6698675"/>
              <a:gd name="connsiteX10713" fmla="*/ 4793838 w 8267681"/>
              <a:gd name="connsiteY10713" fmla="*/ 1515386 h 6698675"/>
              <a:gd name="connsiteX10714" fmla="*/ 4819675 w 8267681"/>
              <a:gd name="connsiteY10714" fmla="*/ 1503227 h 6698675"/>
              <a:gd name="connsiteX10715" fmla="*/ 1634751 w 8267681"/>
              <a:gd name="connsiteY10715" fmla="*/ 1463354 h 6698675"/>
              <a:gd name="connsiteX10716" fmla="*/ 1625353 w 8267681"/>
              <a:gd name="connsiteY10716" fmla="*/ 1590188 h 6698675"/>
              <a:gd name="connsiteX10717" fmla="*/ 1618308 w 8267681"/>
              <a:gd name="connsiteY10717" fmla="*/ 1597234 h 6698675"/>
              <a:gd name="connsiteX10718" fmla="*/ 1613609 w 8267681"/>
              <a:gd name="connsiteY10718" fmla="*/ 1564353 h 6698675"/>
              <a:gd name="connsiteX10719" fmla="*/ 1634751 w 8267681"/>
              <a:gd name="connsiteY10719" fmla="*/ 1463354 h 6698675"/>
              <a:gd name="connsiteX10720" fmla="*/ 4909130 w 8267681"/>
              <a:gd name="connsiteY10720" fmla="*/ 1456149 h 6698675"/>
              <a:gd name="connsiteX10721" fmla="*/ 4899533 w 8267681"/>
              <a:gd name="connsiteY10721" fmla="*/ 1460947 h 6698675"/>
              <a:gd name="connsiteX10722" fmla="*/ 4894835 w 8267681"/>
              <a:gd name="connsiteY10722" fmla="*/ 1463296 h 6698675"/>
              <a:gd name="connsiteX10723" fmla="*/ 4876759 w 8267681"/>
              <a:gd name="connsiteY10723" fmla="*/ 1472900 h 6698675"/>
              <a:gd name="connsiteX10724" fmla="*/ 4899533 w 8267681"/>
              <a:gd name="connsiteY10724" fmla="*/ 1458599 h 6698675"/>
              <a:gd name="connsiteX10725" fmla="*/ 1998794 w 8267681"/>
              <a:gd name="connsiteY10725" fmla="*/ 1451552 h 6698675"/>
              <a:gd name="connsiteX10726" fmla="*/ 2010542 w 8267681"/>
              <a:gd name="connsiteY10726" fmla="*/ 1458599 h 6698675"/>
              <a:gd name="connsiteX10727" fmla="*/ 2003492 w 8267681"/>
              <a:gd name="connsiteY10727" fmla="*/ 1451552 h 6698675"/>
              <a:gd name="connsiteX10728" fmla="*/ 1998794 w 8267681"/>
              <a:gd name="connsiteY10728" fmla="*/ 1451552 h 6698675"/>
              <a:gd name="connsiteX10729" fmla="*/ 4704584 w 8267681"/>
              <a:gd name="connsiteY10729" fmla="*/ 1446855 h 6698675"/>
              <a:gd name="connsiteX10730" fmla="*/ 4692840 w 8267681"/>
              <a:gd name="connsiteY10730" fmla="*/ 1460947 h 6698675"/>
              <a:gd name="connsiteX10731" fmla="*/ 4690492 w 8267681"/>
              <a:gd name="connsiteY10731" fmla="*/ 1467995 h 6698675"/>
              <a:gd name="connsiteX10732" fmla="*/ 4685794 w 8267681"/>
              <a:gd name="connsiteY10732" fmla="*/ 1479739 h 6698675"/>
              <a:gd name="connsiteX10733" fmla="*/ 4725723 w 8267681"/>
              <a:gd name="connsiteY10733" fmla="*/ 1467995 h 6698675"/>
              <a:gd name="connsiteX10734" fmla="*/ 4723375 w 8267681"/>
              <a:gd name="connsiteY10734" fmla="*/ 1467995 h 6698675"/>
              <a:gd name="connsiteX10735" fmla="*/ 4723375 w 8267681"/>
              <a:gd name="connsiteY10735" fmla="*/ 1465646 h 6698675"/>
              <a:gd name="connsiteX10736" fmla="*/ 4721026 w 8267681"/>
              <a:gd name="connsiteY10736" fmla="*/ 1463296 h 6698675"/>
              <a:gd name="connsiteX10737" fmla="*/ 4713980 w 8267681"/>
              <a:gd name="connsiteY10737" fmla="*/ 1465646 h 6698675"/>
              <a:gd name="connsiteX10738" fmla="*/ 4716328 w 8267681"/>
              <a:gd name="connsiteY10738" fmla="*/ 1458599 h 6698675"/>
              <a:gd name="connsiteX10739" fmla="*/ 4711631 w 8267681"/>
              <a:gd name="connsiteY10739" fmla="*/ 1451552 h 6698675"/>
              <a:gd name="connsiteX10740" fmla="*/ 4706933 w 8267681"/>
              <a:gd name="connsiteY10740" fmla="*/ 1449204 h 6698675"/>
              <a:gd name="connsiteX10741" fmla="*/ 4706933 w 8267681"/>
              <a:gd name="connsiteY10741" fmla="*/ 1446855 h 6698675"/>
              <a:gd name="connsiteX10742" fmla="*/ 4704584 w 8267681"/>
              <a:gd name="connsiteY10742" fmla="*/ 1446855 h 6698675"/>
              <a:gd name="connsiteX10743" fmla="*/ 4775048 w 8267681"/>
              <a:gd name="connsiteY10743" fmla="*/ 1442157 h 6698675"/>
              <a:gd name="connsiteX10744" fmla="*/ 4779745 w 8267681"/>
              <a:gd name="connsiteY10744" fmla="*/ 1442157 h 6698675"/>
              <a:gd name="connsiteX10745" fmla="*/ 4782094 w 8267681"/>
              <a:gd name="connsiteY10745" fmla="*/ 1444506 h 6698675"/>
              <a:gd name="connsiteX10746" fmla="*/ 4779745 w 8267681"/>
              <a:gd name="connsiteY10746" fmla="*/ 1465646 h 6698675"/>
              <a:gd name="connsiteX10747" fmla="*/ 4782094 w 8267681"/>
              <a:gd name="connsiteY10747" fmla="*/ 1467995 h 6698675"/>
              <a:gd name="connsiteX10748" fmla="*/ 4791489 w 8267681"/>
              <a:gd name="connsiteY10748" fmla="*/ 1458599 h 6698675"/>
              <a:gd name="connsiteX10749" fmla="*/ 4793838 w 8267681"/>
              <a:gd name="connsiteY10749" fmla="*/ 1460947 h 6698675"/>
              <a:gd name="connsiteX10750" fmla="*/ 4786792 w 8267681"/>
              <a:gd name="connsiteY10750" fmla="*/ 1472692 h 6698675"/>
              <a:gd name="connsiteX10751" fmla="*/ 4777397 w 8267681"/>
              <a:gd name="connsiteY10751" fmla="*/ 1479739 h 6698675"/>
              <a:gd name="connsiteX10752" fmla="*/ 4789140 w 8267681"/>
              <a:gd name="connsiteY10752" fmla="*/ 1507925 h 6698675"/>
              <a:gd name="connsiteX10753" fmla="*/ 4793838 w 8267681"/>
              <a:gd name="connsiteY10753" fmla="*/ 1507925 h 6698675"/>
              <a:gd name="connsiteX10754" fmla="*/ 4793838 w 8267681"/>
              <a:gd name="connsiteY10754" fmla="*/ 1514971 h 6698675"/>
              <a:gd name="connsiteX10755" fmla="*/ 4793838 w 8267681"/>
              <a:gd name="connsiteY10755" fmla="*/ 1515386 h 6698675"/>
              <a:gd name="connsiteX10756" fmla="*/ 4789140 w 8267681"/>
              <a:gd name="connsiteY10756" fmla="*/ 1517597 h 6698675"/>
              <a:gd name="connsiteX10757" fmla="*/ 4789140 w 8267681"/>
              <a:gd name="connsiteY10757" fmla="*/ 1510274 h 6698675"/>
              <a:gd name="connsiteX10758" fmla="*/ 4784443 w 8267681"/>
              <a:gd name="connsiteY10758" fmla="*/ 1510274 h 6698675"/>
              <a:gd name="connsiteX10759" fmla="*/ 4777397 w 8267681"/>
              <a:gd name="connsiteY10759" fmla="*/ 1493832 h 6698675"/>
              <a:gd name="connsiteX10760" fmla="*/ 4775048 w 8267681"/>
              <a:gd name="connsiteY10760" fmla="*/ 1484436 h 6698675"/>
              <a:gd name="connsiteX10761" fmla="*/ 4770350 w 8267681"/>
              <a:gd name="connsiteY10761" fmla="*/ 1479739 h 6698675"/>
              <a:gd name="connsiteX10762" fmla="*/ 4770350 w 8267681"/>
              <a:gd name="connsiteY10762" fmla="*/ 1472692 h 6698675"/>
              <a:gd name="connsiteX10763" fmla="*/ 4772699 w 8267681"/>
              <a:gd name="connsiteY10763" fmla="*/ 1467995 h 6698675"/>
              <a:gd name="connsiteX10764" fmla="*/ 4775048 w 8267681"/>
              <a:gd name="connsiteY10764" fmla="*/ 1442157 h 6698675"/>
              <a:gd name="connsiteX10765" fmla="*/ 4721026 w 8267681"/>
              <a:gd name="connsiteY10765" fmla="*/ 1435111 h 6698675"/>
              <a:gd name="connsiteX10766" fmla="*/ 4709282 w 8267681"/>
              <a:gd name="connsiteY10766" fmla="*/ 1444506 h 6698675"/>
              <a:gd name="connsiteX10767" fmla="*/ 4718677 w 8267681"/>
              <a:gd name="connsiteY10767" fmla="*/ 1453901 h 6698675"/>
              <a:gd name="connsiteX10768" fmla="*/ 4728072 w 8267681"/>
              <a:gd name="connsiteY10768" fmla="*/ 1453901 h 6698675"/>
              <a:gd name="connsiteX10769" fmla="*/ 4728072 w 8267681"/>
              <a:gd name="connsiteY10769" fmla="*/ 1446855 h 6698675"/>
              <a:gd name="connsiteX10770" fmla="*/ 4723375 w 8267681"/>
              <a:gd name="connsiteY10770" fmla="*/ 1435111 h 6698675"/>
              <a:gd name="connsiteX10771" fmla="*/ 4721026 w 8267681"/>
              <a:gd name="connsiteY10771" fmla="*/ 1435111 h 6698675"/>
              <a:gd name="connsiteX10772" fmla="*/ 4716328 w 8267681"/>
              <a:gd name="connsiteY10772" fmla="*/ 1423366 h 6698675"/>
              <a:gd name="connsiteX10773" fmla="*/ 4711631 w 8267681"/>
              <a:gd name="connsiteY10773" fmla="*/ 1435111 h 6698675"/>
              <a:gd name="connsiteX10774" fmla="*/ 4716328 w 8267681"/>
              <a:gd name="connsiteY10774" fmla="*/ 1430412 h 6698675"/>
              <a:gd name="connsiteX10775" fmla="*/ 4716328 w 8267681"/>
              <a:gd name="connsiteY10775" fmla="*/ 1423366 h 6698675"/>
              <a:gd name="connsiteX10776" fmla="*/ 4993484 w 8267681"/>
              <a:gd name="connsiteY10776" fmla="*/ 1413971 h 6698675"/>
              <a:gd name="connsiteX10777" fmla="*/ 4993484 w 8267681"/>
              <a:gd name="connsiteY10777" fmla="*/ 1418668 h 6698675"/>
              <a:gd name="connsiteX10778" fmla="*/ 4995833 w 8267681"/>
              <a:gd name="connsiteY10778" fmla="*/ 1421017 h 6698675"/>
              <a:gd name="connsiteX10779" fmla="*/ 4925370 w 8267681"/>
              <a:gd name="connsiteY10779" fmla="*/ 1451552 h 6698675"/>
              <a:gd name="connsiteX10780" fmla="*/ 4913333 w 8267681"/>
              <a:gd name="connsiteY10780" fmla="*/ 1455076 h 6698675"/>
              <a:gd name="connsiteX10781" fmla="*/ 4909130 w 8267681"/>
              <a:gd name="connsiteY10781" fmla="*/ 1456149 h 6698675"/>
              <a:gd name="connsiteX10782" fmla="*/ 5008387 w 8267681"/>
              <a:gd name="connsiteY10782" fmla="*/ 1413404 h 6698675"/>
              <a:gd name="connsiteX10783" fmla="*/ 5009249 w 8267681"/>
              <a:gd name="connsiteY10783" fmla="*/ 1420301 h 6698675"/>
              <a:gd name="connsiteX10784" fmla="*/ 5007577 w 8267681"/>
              <a:gd name="connsiteY10784" fmla="*/ 1421017 h 6698675"/>
              <a:gd name="connsiteX10785" fmla="*/ 5007577 w 8267681"/>
              <a:gd name="connsiteY10785" fmla="*/ 1416320 h 6698675"/>
              <a:gd name="connsiteX10786" fmla="*/ 5007510 w 8267681"/>
              <a:gd name="connsiteY10786" fmla="*/ 1414865 h 6698675"/>
              <a:gd name="connsiteX10787" fmla="*/ 5007259 w 8267681"/>
              <a:gd name="connsiteY10787" fmla="*/ 1409432 h 6698675"/>
              <a:gd name="connsiteX10788" fmla="*/ 5007510 w 8267681"/>
              <a:gd name="connsiteY10788" fmla="*/ 1414865 h 6698675"/>
              <a:gd name="connsiteX10789" fmla="*/ 5005228 w 8267681"/>
              <a:gd name="connsiteY10789" fmla="*/ 1418668 h 6698675"/>
              <a:gd name="connsiteX10790" fmla="*/ 5000531 w 8267681"/>
              <a:gd name="connsiteY10790" fmla="*/ 1421017 h 6698675"/>
              <a:gd name="connsiteX10791" fmla="*/ 4998182 w 8267681"/>
              <a:gd name="connsiteY10791" fmla="*/ 1413971 h 6698675"/>
              <a:gd name="connsiteX10792" fmla="*/ 5012274 w 8267681"/>
              <a:gd name="connsiteY10792" fmla="*/ 1406925 h 6698675"/>
              <a:gd name="connsiteX10793" fmla="*/ 5008387 w 8267681"/>
              <a:gd name="connsiteY10793" fmla="*/ 1413404 h 6698675"/>
              <a:gd name="connsiteX10794" fmla="*/ 5007853 w 8267681"/>
              <a:gd name="connsiteY10794" fmla="*/ 1409135 h 6698675"/>
              <a:gd name="connsiteX10795" fmla="*/ 2750842 w 8267681"/>
              <a:gd name="connsiteY10795" fmla="*/ 1406117 h 6698675"/>
              <a:gd name="connsiteX10796" fmla="*/ 2736308 w 8267681"/>
              <a:gd name="connsiteY10796" fmla="*/ 1418668 h 6698675"/>
              <a:gd name="connsiteX10797" fmla="*/ 2738657 w 8267681"/>
              <a:gd name="connsiteY10797" fmla="*/ 1413971 h 6698675"/>
              <a:gd name="connsiteX10798" fmla="*/ 2750842 w 8267681"/>
              <a:gd name="connsiteY10798" fmla="*/ 1406117 h 6698675"/>
              <a:gd name="connsiteX10799" fmla="*/ 5016972 w 8267681"/>
              <a:gd name="connsiteY10799" fmla="*/ 1404576 h 6698675"/>
              <a:gd name="connsiteX10800" fmla="*/ 5019321 w 8267681"/>
              <a:gd name="connsiteY10800" fmla="*/ 1404576 h 6698675"/>
              <a:gd name="connsiteX10801" fmla="*/ 5016972 w 8267681"/>
              <a:gd name="connsiteY10801" fmla="*/ 1411622 h 6698675"/>
              <a:gd name="connsiteX10802" fmla="*/ 5012274 w 8267681"/>
              <a:gd name="connsiteY10802" fmla="*/ 1413971 h 6698675"/>
              <a:gd name="connsiteX10803" fmla="*/ 5016972 w 8267681"/>
              <a:gd name="connsiteY10803" fmla="*/ 1404576 h 6698675"/>
              <a:gd name="connsiteX10804" fmla="*/ 5029447 w 8267681"/>
              <a:gd name="connsiteY10804" fmla="*/ 1399460 h 6698675"/>
              <a:gd name="connsiteX10805" fmla="*/ 5028716 w 8267681"/>
              <a:gd name="connsiteY10805" fmla="*/ 1404576 h 6698675"/>
              <a:gd name="connsiteX10806" fmla="*/ 5028716 w 8267681"/>
              <a:gd name="connsiteY10806" fmla="*/ 1399877 h 6698675"/>
              <a:gd name="connsiteX10807" fmla="*/ 5045157 w 8267681"/>
              <a:gd name="connsiteY10807" fmla="*/ 1390482 h 6698675"/>
              <a:gd name="connsiteX10808" fmla="*/ 5038111 w 8267681"/>
              <a:gd name="connsiteY10808" fmla="*/ 1404576 h 6698675"/>
              <a:gd name="connsiteX10809" fmla="*/ 5031065 w 8267681"/>
              <a:gd name="connsiteY10809" fmla="*/ 1408098 h 6698675"/>
              <a:gd name="connsiteX10810" fmla="*/ 5031065 w 8267681"/>
              <a:gd name="connsiteY10810" fmla="*/ 1402227 h 6698675"/>
              <a:gd name="connsiteX10811" fmla="*/ 5035762 w 8267681"/>
              <a:gd name="connsiteY10811" fmla="*/ 1397528 h 6698675"/>
              <a:gd name="connsiteX10812" fmla="*/ 5035762 w 8267681"/>
              <a:gd name="connsiteY10812" fmla="*/ 1395851 h 6698675"/>
              <a:gd name="connsiteX10813" fmla="*/ 5060693 w 8267681"/>
              <a:gd name="connsiteY10813" fmla="*/ 1384596 h 6698675"/>
              <a:gd name="connsiteX10814" fmla="*/ 5052204 w 8267681"/>
              <a:gd name="connsiteY10814" fmla="*/ 1399877 h 6698675"/>
              <a:gd name="connsiteX10815" fmla="*/ 5047506 w 8267681"/>
              <a:gd name="connsiteY10815" fmla="*/ 1401965 h 6698675"/>
              <a:gd name="connsiteX10816" fmla="*/ 5047506 w 8267681"/>
              <a:gd name="connsiteY10816" fmla="*/ 1395180 h 6698675"/>
              <a:gd name="connsiteX10817" fmla="*/ 5049855 w 8267681"/>
              <a:gd name="connsiteY10817" fmla="*/ 1392831 h 6698675"/>
              <a:gd name="connsiteX10818" fmla="*/ 5052204 w 8267681"/>
              <a:gd name="connsiteY10818" fmla="*/ 1388133 h 6698675"/>
              <a:gd name="connsiteX10819" fmla="*/ 5007577 w 8267681"/>
              <a:gd name="connsiteY10819" fmla="*/ 1378738 h 6698675"/>
              <a:gd name="connsiteX10820" fmla="*/ 5009925 w 8267681"/>
              <a:gd name="connsiteY10820" fmla="*/ 1388133 h 6698675"/>
              <a:gd name="connsiteX10821" fmla="*/ 5007577 w 8267681"/>
              <a:gd name="connsiteY10821" fmla="*/ 1406925 h 6698675"/>
              <a:gd name="connsiteX10822" fmla="*/ 5007853 w 8267681"/>
              <a:gd name="connsiteY10822" fmla="*/ 1409135 h 6698675"/>
              <a:gd name="connsiteX10823" fmla="*/ 5007259 w 8267681"/>
              <a:gd name="connsiteY10823" fmla="*/ 1409432 h 6698675"/>
              <a:gd name="connsiteX10824" fmla="*/ 5006696 w 8267681"/>
              <a:gd name="connsiteY10824" fmla="*/ 1397235 h 6698675"/>
              <a:gd name="connsiteX10825" fmla="*/ 5007477 w 8267681"/>
              <a:gd name="connsiteY10825" fmla="*/ 1378763 h 6698675"/>
              <a:gd name="connsiteX10826" fmla="*/ 4283089 w 8267681"/>
              <a:gd name="connsiteY10826" fmla="*/ 1372851 h 6698675"/>
              <a:gd name="connsiteX10827" fmla="*/ 4279455 w 8267681"/>
              <a:gd name="connsiteY10827" fmla="*/ 1378796 h 6698675"/>
              <a:gd name="connsiteX10828" fmla="*/ 4283089 w 8267681"/>
              <a:gd name="connsiteY10828" fmla="*/ 1372851 h 6698675"/>
              <a:gd name="connsiteX10829" fmla="*/ 5059250 w 8267681"/>
              <a:gd name="connsiteY10829" fmla="*/ 1371692 h 6698675"/>
              <a:gd name="connsiteX10830" fmla="*/ 5070994 w 8267681"/>
              <a:gd name="connsiteY10830" fmla="*/ 1371692 h 6698675"/>
              <a:gd name="connsiteX10831" fmla="*/ 5068939 w 8267681"/>
              <a:gd name="connsiteY10831" fmla="*/ 1375802 h 6698675"/>
              <a:gd name="connsiteX10832" fmla="*/ 5061599 w 8267681"/>
              <a:gd name="connsiteY10832" fmla="*/ 1378738 h 6698675"/>
              <a:gd name="connsiteX10833" fmla="*/ 5054552 w 8267681"/>
              <a:gd name="connsiteY10833" fmla="*/ 1381087 h 6698675"/>
              <a:gd name="connsiteX10834" fmla="*/ 5059250 w 8267681"/>
              <a:gd name="connsiteY10834" fmla="*/ 1371692 h 6698675"/>
              <a:gd name="connsiteX10835" fmla="*/ 2088048 w 8267681"/>
              <a:gd name="connsiteY10835" fmla="*/ 1369342 h 6698675"/>
              <a:gd name="connsiteX10836" fmla="*/ 2092747 w 8267681"/>
              <a:gd name="connsiteY10836" fmla="*/ 1376389 h 6698675"/>
              <a:gd name="connsiteX10837" fmla="*/ 2102140 w 8267681"/>
              <a:gd name="connsiteY10837" fmla="*/ 1388133 h 6698675"/>
              <a:gd name="connsiteX10838" fmla="*/ 2105626 w 8267681"/>
              <a:gd name="connsiteY10838" fmla="*/ 1392488 h 6698675"/>
              <a:gd name="connsiteX10839" fmla="*/ 2106840 w 8267681"/>
              <a:gd name="connsiteY10839" fmla="*/ 1397528 h 6698675"/>
              <a:gd name="connsiteX10840" fmla="*/ 2102140 w 8267681"/>
              <a:gd name="connsiteY10840" fmla="*/ 1392831 h 6698675"/>
              <a:gd name="connsiteX10841" fmla="*/ 2083690 w 8267681"/>
              <a:gd name="connsiteY10841" fmla="*/ 1369768 h 6698675"/>
              <a:gd name="connsiteX10842" fmla="*/ 2083350 w 8267681"/>
              <a:gd name="connsiteY10842" fmla="*/ 1369342 h 6698675"/>
              <a:gd name="connsiteX10843" fmla="*/ 2083690 w 8267681"/>
              <a:gd name="connsiteY10843" fmla="*/ 1369768 h 6698675"/>
              <a:gd name="connsiteX10844" fmla="*/ 2076014 w 8267681"/>
              <a:gd name="connsiteY10844" fmla="*/ 1370517 h 6698675"/>
              <a:gd name="connsiteX10845" fmla="*/ 2069258 w 8267681"/>
              <a:gd name="connsiteY10845" fmla="*/ 1371692 h 6698675"/>
              <a:gd name="connsiteX10846" fmla="*/ 2057514 w 8267681"/>
              <a:gd name="connsiteY10846" fmla="*/ 1428064 h 6698675"/>
              <a:gd name="connsiteX10847" fmla="*/ 2019934 w 8267681"/>
              <a:gd name="connsiteY10847" fmla="*/ 1460947 h 6698675"/>
              <a:gd name="connsiteX10848" fmla="*/ 2052819 w 8267681"/>
              <a:gd name="connsiteY10848" fmla="*/ 1477390 h 6698675"/>
              <a:gd name="connsiteX10849" fmla="*/ 2062212 w 8267681"/>
              <a:gd name="connsiteY10849" fmla="*/ 1472692 h 6698675"/>
              <a:gd name="connsiteX10850" fmla="*/ 2064562 w 8267681"/>
              <a:gd name="connsiteY10850" fmla="*/ 1484436 h 6698675"/>
              <a:gd name="connsiteX10851" fmla="*/ 2102140 w 8267681"/>
              <a:gd name="connsiteY10851" fmla="*/ 1500879 h 6698675"/>
              <a:gd name="connsiteX10852" fmla="*/ 2099792 w 8267681"/>
              <a:gd name="connsiteY10852" fmla="*/ 1496180 h 6698675"/>
              <a:gd name="connsiteX10853" fmla="*/ 2111536 w 8267681"/>
              <a:gd name="connsiteY10853" fmla="*/ 1503227 h 6698675"/>
              <a:gd name="connsiteX10854" fmla="*/ 2130325 w 8267681"/>
              <a:gd name="connsiteY10854" fmla="*/ 1496180 h 6698675"/>
              <a:gd name="connsiteX10855" fmla="*/ 2132675 w 8267681"/>
              <a:gd name="connsiteY10855" fmla="*/ 1482087 h 6698675"/>
              <a:gd name="connsiteX10856" fmla="*/ 2092747 w 8267681"/>
              <a:gd name="connsiteY10856" fmla="*/ 1439808 h 6698675"/>
              <a:gd name="connsiteX10857" fmla="*/ 2104489 w 8267681"/>
              <a:gd name="connsiteY10857" fmla="*/ 1425715 h 6698675"/>
              <a:gd name="connsiteX10858" fmla="*/ 2111536 w 8267681"/>
              <a:gd name="connsiteY10858" fmla="*/ 1399877 h 6698675"/>
              <a:gd name="connsiteX10859" fmla="*/ 2105626 w 8267681"/>
              <a:gd name="connsiteY10859" fmla="*/ 1392488 h 6698675"/>
              <a:gd name="connsiteX10860" fmla="*/ 2103022 w 8267681"/>
              <a:gd name="connsiteY10860" fmla="*/ 1381674 h 6698675"/>
              <a:gd name="connsiteX10861" fmla="*/ 2090397 w 8267681"/>
              <a:gd name="connsiteY10861" fmla="*/ 1369342 h 6698675"/>
              <a:gd name="connsiteX10862" fmla="*/ 2088048 w 8267681"/>
              <a:gd name="connsiteY10862" fmla="*/ 1369342 h 6698675"/>
              <a:gd name="connsiteX10863" fmla="*/ 5111706 w 8267681"/>
              <a:gd name="connsiteY10863" fmla="*/ 1367776 h 6698675"/>
              <a:gd name="connsiteX10864" fmla="*/ 5110923 w 8267681"/>
              <a:gd name="connsiteY10864" fmla="*/ 1369342 h 6698675"/>
              <a:gd name="connsiteX10865" fmla="*/ 5096830 w 8267681"/>
              <a:gd name="connsiteY10865" fmla="*/ 1376389 h 6698675"/>
              <a:gd name="connsiteX10866" fmla="*/ 5085086 w 8267681"/>
              <a:gd name="connsiteY10866" fmla="*/ 1381087 h 6698675"/>
              <a:gd name="connsiteX10867" fmla="*/ 5080389 w 8267681"/>
              <a:gd name="connsiteY10867" fmla="*/ 1381087 h 6698675"/>
              <a:gd name="connsiteX10868" fmla="*/ 5074125 w 8267681"/>
              <a:gd name="connsiteY10868" fmla="*/ 1378999 h 6698675"/>
              <a:gd name="connsiteX10869" fmla="*/ 5080389 w 8267681"/>
              <a:gd name="connsiteY10869" fmla="*/ 1376389 h 6698675"/>
              <a:gd name="connsiteX10870" fmla="*/ 5085086 w 8267681"/>
              <a:gd name="connsiteY10870" fmla="*/ 1374041 h 6698675"/>
              <a:gd name="connsiteX10871" fmla="*/ 5087435 w 8267681"/>
              <a:gd name="connsiteY10871" fmla="*/ 1374041 h 6698675"/>
              <a:gd name="connsiteX10872" fmla="*/ 5099179 w 8267681"/>
              <a:gd name="connsiteY10872" fmla="*/ 1374041 h 6698675"/>
              <a:gd name="connsiteX10873" fmla="*/ 5113272 w 8267681"/>
              <a:gd name="connsiteY10873" fmla="*/ 1364645 h 6698675"/>
              <a:gd name="connsiteX10874" fmla="*/ 5114838 w 8267681"/>
              <a:gd name="connsiteY10874" fmla="*/ 1364645 h 6698675"/>
              <a:gd name="connsiteX10875" fmla="*/ 5113272 w 8267681"/>
              <a:gd name="connsiteY10875" fmla="*/ 1366993 h 6698675"/>
              <a:gd name="connsiteX10876" fmla="*/ 5111706 w 8267681"/>
              <a:gd name="connsiteY10876" fmla="*/ 1367776 h 6698675"/>
              <a:gd name="connsiteX10877" fmla="*/ 5031065 w 8267681"/>
              <a:gd name="connsiteY10877" fmla="*/ 1364645 h 6698675"/>
              <a:gd name="connsiteX10878" fmla="*/ 5031065 w 8267681"/>
              <a:gd name="connsiteY10878" fmla="*/ 1371692 h 6698675"/>
              <a:gd name="connsiteX10879" fmla="*/ 5028716 w 8267681"/>
              <a:gd name="connsiteY10879" fmla="*/ 1371692 h 6698675"/>
              <a:gd name="connsiteX10880" fmla="*/ 5029647 w 8267681"/>
              <a:gd name="connsiteY10880" fmla="*/ 1365177 h 6698675"/>
              <a:gd name="connsiteX10881" fmla="*/ 4263014 w 8267681"/>
              <a:gd name="connsiteY10881" fmla="*/ 1364645 h 6698675"/>
              <a:gd name="connsiteX10882" fmla="*/ 4258316 w 8267681"/>
              <a:gd name="connsiteY10882" fmla="*/ 1366993 h 6698675"/>
              <a:gd name="connsiteX10883" fmla="*/ 4260665 w 8267681"/>
              <a:gd name="connsiteY10883" fmla="*/ 1376389 h 6698675"/>
              <a:gd name="connsiteX10884" fmla="*/ 4253619 w 8267681"/>
              <a:gd name="connsiteY10884" fmla="*/ 1385785 h 6698675"/>
              <a:gd name="connsiteX10885" fmla="*/ 4255968 w 8267681"/>
              <a:gd name="connsiteY10885" fmla="*/ 1392831 h 6698675"/>
              <a:gd name="connsiteX10886" fmla="*/ 4293548 w 8267681"/>
              <a:gd name="connsiteY10886" fmla="*/ 1381087 h 6698675"/>
              <a:gd name="connsiteX10887" fmla="*/ 4291199 w 8267681"/>
              <a:gd name="connsiteY10887" fmla="*/ 1430412 h 6698675"/>
              <a:gd name="connsiteX10888" fmla="*/ 4300594 w 8267681"/>
              <a:gd name="connsiteY10888" fmla="*/ 1435111 h 6698675"/>
              <a:gd name="connsiteX10889" fmla="*/ 4312338 w 8267681"/>
              <a:gd name="connsiteY10889" fmla="*/ 1439808 h 6698675"/>
              <a:gd name="connsiteX10890" fmla="*/ 4356965 w 8267681"/>
              <a:gd name="connsiteY10890" fmla="*/ 1439808 h 6698675"/>
              <a:gd name="connsiteX10891" fmla="*/ 4387499 w 8267681"/>
              <a:gd name="connsiteY10891" fmla="*/ 1411622 h 6698675"/>
              <a:gd name="connsiteX10892" fmla="*/ 4392197 w 8267681"/>
              <a:gd name="connsiteY10892" fmla="*/ 1402227 h 6698675"/>
              <a:gd name="connsiteX10893" fmla="*/ 4387499 w 8267681"/>
              <a:gd name="connsiteY10893" fmla="*/ 1402227 h 6698675"/>
              <a:gd name="connsiteX10894" fmla="*/ 4380453 w 8267681"/>
              <a:gd name="connsiteY10894" fmla="*/ 1397528 h 6698675"/>
              <a:gd name="connsiteX10895" fmla="*/ 4389848 w 8267681"/>
              <a:gd name="connsiteY10895" fmla="*/ 1397528 h 6698675"/>
              <a:gd name="connsiteX10896" fmla="*/ 4392197 w 8267681"/>
              <a:gd name="connsiteY10896" fmla="*/ 1392831 h 6698675"/>
              <a:gd name="connsiteX10897" fmla="*/ 4378104 w 8267681"/>
              <a:gd name="connsiteY10897" fmla="*/ 1395180 h 6698675"/>
              <a:gd name="connsiteX10898" fmla="*/ 4380453 w 8267681"/>
              <a:gd name="connsiteY10898" fmla="*/ 1397528 h 6698675"/>
              <a:gd name="connsiteX10899" fmla="*/ 4361663 w 8267681"/>
              <a:gd name="connsiteY10899" fmla="*/ 1395180 h 6698675"/>
              <a:gd name="connsiteX10900" fmla="*/ 4361663 w 8267681"/>
              <a:gd name="connsiteY10900" fmla="*/ 1392831 h 6698675"/>
              <a:gd name="connsiteX10901" fmla="*/ 4345221 w 8267681"/>
              <a:gd name="connsiteY10901" fmla="*/ 1385785 h 6698675"/>
              <a:gd name="connsiteX10902" fmla="*/ 4338175 w 8267681"/>
              <a:gd name="connsiteY10902" fmla="*/ 1383436 h 6698675"/>
              <a:gd name="connsiteX10903" fmla="*/ 4338175 w 8267681"/>
              <a:gd name="connsiteY10903" fmla="*/ 1381087 h 6698675"/>
              <a:gd name="connsiteX10904" fmla="*/ 4331129 w 8267681"/>
              <a:gd name="connsiteY10904" fmla="*/ 1378738 h 6698675"/>
              <a:gd name="connsiteX10905" fmla="*/ 4331129 w 8267681"/>
              <a:gd name="connsiteY10905" fmla="*/ 1376389 h 6698675"/>
              <a:gd name="connsiteX10906" fmla="*/ 4321733 w 8267681"/>
              <a:gd name="connsiteY10906" fmla="*/ 1371692 h 6698675"/>
              <a:gd name="connsiteX10907" fmla="*/ 4314687 w 8267681"/>
              <a:gd name="connsiteY10907" fmla="*/ 1371692 h 6698675"/>
              <a:gd name="connsiteX10908" fmla="*/ 4293548 w 8267681"/>
              <a:gd name="connsiteY10908" fmla="*/ 1369342 h 6698675"/>
              <a:gd name="connsiteX10909" fmla="*/ 4272409 w 8267681"/>
              <a:gd name="connsiteY10909" fmla="*/ 1369342 h 6698675"/>
              <a:gd name="connsiteX10910" fmla="*/ 4272409 w 8267681"/>
              <a:gd name="connsiteY10910" fmla="*/ 1366993 h 6698675"/>
              <a:gd name="connsiteX10911" fmla="*/ 4263014 w 8267681"/>
              <a:gd name="connsiteY10911" fmla="*/ 1364645 h 6698675"/>
              <a:gd name="connsiteX10912" fmla="*/ 5117969 w 8267681"/>
              <a:gd name="connsiteY10912" fmla="*/ 1359947 h 6698675"/>
              <a:gd name="connsiteX10913" fmla="*/ 5115620 w 8267681"/>
              <a:gd name="connsiteY10913" fmla="*/ 1364645 h 6698675"/>
              <a:gd name="connsiteX10914" fmla="*/ 5114838 w 8267681"/>
              <a:gd name="connsiteY10914" fmla="*/ 1364645 h 6698675"/>
              <a:gd name="connsiteX10915" fmla="*/ 5122667 w 8267681"/>
              <a:gd name="connsiteY10915" fmla="*/ 1358381 h 6698675"/>
              <a:gd name="connsiteX10916" fmla="*/ 5122667 w 8267681"/>
              <a:gd name="connsiteY10916" fmla="*/ 1359947 h 6698675"/>
              <a:gd name="connsiteX10917" fmla="*/ 5117969 w 8267681"/>
              <a:gd name="connsiteY10917" fmla="*/ 1359947 h 6698675"/>
              <a:gd name="connsiteX10918" fmla="*/ 5031065 w 8267681"/>
              <a:gd name="connsiteY10918" fmla="*/ 1357598 h 6698675"/>
              <a:gd name="connsiteX10919" fmla="*/ 5033413 w 8267681"/>
              <a:gd name="connsiteY10919" fmla="*/ 1362296 h 6698675"/>
              <a:gd name="connsiteX10920" fmla="*/ 5031065 w 8267681"/>
              <a:gd name="connsiteY10920" fmla="*/ 1364645 h 6698675"/>
              <a:gd name="connsiteX10921" fmla="*/ 5031065 w 8267681"/>
              <a:gd name="connsiteY10921" fmla="*/ 1355249 h 6698675"/>
              <a:gd name="connsiteX10922" fmla="*/ 5031065 w 8267681"/>
              <a:gd name="connsiteY10922" fmla="*/ 1357598 h 6698675"/>
              <a:gd name="connsiteX10923" fmla="*/ 5030674 w 8267681"/>
              <a:gd name="connsiteY10923" fmla="*/ 1357990 h 6698675"/>
              <a:gd name="connsiteX10924" fmla="*/ 6219548 w 8267681"/>
              <a:gd name="connsiteY10924" fmla="*/ 1343515 h 6698675"/>
              <a:gd name="connsiteX10925" fmla="*/ 6076272 w 8267681"/>
              <a:gd name="connsiteY10925" fmla="*/ 1460957 h 6698675"/>
              <a:gd name="connsiteX10926" fmla="*/ 6001110 w 8267681"/>
              <a:gd name="connsiteY10926" fmla="*/ 1561957 h 6698675"/>
              <a:gd name="connsiteX10927" fmla="*/ 5961181 w 8267681"/>
              <a:gd name="connsiteY10927" fmla="*/ 1585446 h 6698675"/>
              <a:gd name="connsiteX10928" fmla="*/ 6219548 w 8267681"/>
              <a:gd name="connsiteY10928" fmla="*/ 1343515 h 6698675"/>
              <a:gd name="connsiteX10929" fmla="*/ 4923021 w 8267681"/>
              <a:gd name="connsiteY10929" fmla="*/ 1341156 h 6698675"/>
              <a:gd name="connsiteX10930" fmla="*/ 4925370 w 8267681"/>
              <a:gd name="connsiteY10930" fmla="*/ 1341156 h 6698675"/>
              <a:gd name="connsiteX10931" fmla="*/ 4930067 w 8267681"/>
              <a:gd name="connsiteY10931" fmla="*/ 1343506 h 6698675"/>
              <a:gd name="connsiteX10932" fmla="*/ 4930067 w 8267681"/>
              <a:gd name="connsiteY10932" fmla="*/ 1345854 h 6698675"/>
              <a:gd name="connsiteX10933" fmla="*/ 4937114 w 8267681"/>
              <a:gd name="connsiteY10933" fmla="*/ 1350552 h 6698675"/>
              <a:gd name="connsiteX10934" fmla="*/ 4953555 w 8267681"/>
              <a:gd name="connsiteY10934" fmla="*/ 1371692 h 6698675"/>
              <a:gd name="connsiteX10935" fmla="*/ 4962950 w 8267681"/>
              <a:gd name="connsiteY10935" fmla="*/ 1374041 h 6698675"/>
              <a:gd name="connsiteX10936" fmla="*/ 4967647 w 8267681"/>
              <a:gd name="connsiteY10936" fmla="*/ 1378738 h 6698675"/>
              <a:gd name="connsiteX10937" fmla="*/ 4972345 w 8267681"/>
              <a:gd name="connsiteY10937" fmla="*/ 1378738 h 6698675"/>
              <a:gd name="connsiteX10938" fmla="*/ 4979391 w 8267681"/>
              <a:gd name="connsiteY10938" fmla="*/ 1381087 h 6698675"/>
              <a:gd name="connsiteX10939" fmla="*/ 5005228 w 8267681"/>
              <a:gd name="connsiteY10939" fmla="*/ 1374041 h 6698675"/>
              <a:gd name="connsiteX10940" fmla="*/ 5009925 w 8267681"/>
              <a:gd name="connsiteY10940" fmla="*/ 1369342 h 6698675"/>
              <a:gd name="connsiteX10941" fmla="*/ 5021669 w 8267681"/>
              <a:gd name="connsiteY10941" fmla="*/ 1366993 h 6698675"/>
              <a:gd name="connsiteX10942" fmla="*/ 5030674 w 8267681"/>
              <a:gd name="connsiteY10942" fmla="*/ 1357990 h 6698675"/>
              <a:gd name="connsiteX10943" fmla="*/ 5029647 w 8267681"/>
              <a:gd name="connsiteY10943" fmla="*/ 1365177 h 6698675"/>
              <a:gd name="connsiteX10944" fmla="*/ 5012274 w 8267681"/>
              <a:gd name="connsiteY10944" fmla="*/ 1371692 h 6698675"/>
              <a:gd name="connsiteX10945" fmla="*/ 5009925 w 8267681"/>
              <a:gd name="connsiteY10945" fmla="*/ 1376389 h 6698675"/>
              <a:gd name="connsiteX10946" fmla="*/ 5007577 w 8267681"/>
              <a:gd name="connsiteY10946" fmla="*/ 1376389 h 6698675"/>
              <a:gd name="connsiteX10947" fmla="*/ 5007477 w 8267681"/>
              <a:gd name="connsiteY10947" fmla="*/ 1378763 h 6698675"/>
              <a:gd name="connsiteX10948" fmla="*/ 4988787 w 8267681"/>
              <a:gd name="connsiteY10948" fmla="*/ 1383436 h 6698675"/>
              <a:gd name="connsiteX10949" fmla="*/ 4981740 w 8267681"/>
              <a:gd name="connsiteY10949" fmla="*/ 1388133 h 6698675"/>
              <a:gd name="connsiteX10950" fmla="*/ 4979391 w 8267681"/>
              <a:gd name="connsiteY10950" fmla="*/ 1388133 h 6698675"/>
              <a:gd name="connsiteX10951" fmla="*/ 4979391 w 8267681"/>
              <a:gd name="connsiteY10951" fmla="*/ 1385785 h 6698675"/>
              <a:gd name="connsiteX10952" fmla="*/ 4962950 w 8267681"/>
              <a:gd name="connsiteY10952" fmla="*/ 1383436 h 6698675"/>
              <a:gd name="connsiteX10953" fmla="*/ 4960601 w 8267681"/>
              <a:gd name="connsiteY10953" fmla="*/ 1381087 h 6698675"/>
              <a:gd name="connsiteX10954" fmla="*/ 4951206 w 8267681"/>
              <a:gd name="connsiteY10954" fmla="*/ 1378738 h 6698675"/>
              <a:gd name="connsiteX10955" fmla="*/ 4920672 w 8267681"/>
              <a:gd name="connsiteY10955" fmla="*/ 1345854 h 6698675"/>
              <a:gd name="connsiteX10956" fmla="*/ 4923021 w 8267681"/>
              <a:gd name="connsiteY10956" fmla="*/ 1341156 h 6698675"/>
              <a:gd name="connsiteX10957" fmla="*/ 5049855 w 8267681"/>
              <a:gd name="connsiteY10957" fmla="*/ 1338808 h 6698675"/>
              <a:gd name="connsiteX10958" fmla="*/ 5047506 w 8267681"/>
              <a:gd name="connsiteY10958" fmla="*/ 1359947 h 6698675"/>
              <a:gd name="connsiteX10959" fmla="*/ 5063947 w 8267681"/>
              <a:gd name="connsiteY10959" fmla="*/ 1359947 h 6698675"/>
              <a:gd name="connsiteX10960" fmla="*/ 5061599 w 8267681"/>
              <a:gd name="connsiteY10960" fmla="*/ 1364645 h 6698675"/>
              <a:gd name="connsiteX10961" fmla="*/ 5045157 w 8267681"/>
              <a:gd name="connsiteY10961" fmla="*/ 1366993 h 6698675"/>
              <a:gd name="connsiteX10962" fmla="*/ 5045157 w 8267681"/>
              <a:gd name="connsiteY10962" fmla="*/ 1376389 h 6698675"/>
              <a:gd name="connsiteX10963" fmla="*/ 5042809 w 8267681"/>
              <a:gd name="connsiteY10963" fmla="*/ 1376389 h 6698675"/>
              <a:gd name="connsiteX10964" fmla="*/ 5040460 w 8267681"/>
              <a:gd name="connsiteY10964" fmla="*/ 1385785 h 6698675"/>
              <a:gd name="connsiteX10965" fmla="*/ 5035762 w 8267681"/>
              <a:gd name="connsiteY10965" fmla="*/ 1392831 h 6698675"/>
              <a:gd name="connsiteX10966" fmla="*/ 5035762 w 8267681"/>
              <a:gd name="connsiteY10966" fmla="*/ 1395851 h 6698675"/>
              <a:gd name="connsiteX10967" fmla="*/ 5029447 w 8267681"/>
              <a:gd name="connsiteY10967" fmla="*/ 1399460 h 6698675"/>
              <a:gd name="connsiteX10968" fmla="*/ 5031065 w 8267681"/>
              <a:gd name="connsiteY10968" fmla="*/ 1388133 h 6698675"/>
              <a:gd name="connsiteX10969" fmla="*/ 5031065 w 8267681"/>
              <a:gd name="connsiteY10969" fmla="*/ 1376389 h 6698675"/>
              <a:gd name="connsiteX10970" fmla="*/ 5031065 w 8267681"/>
              <a:gd name="connsiteY10970" fmla="*/ 1371692 h 6698675"/>
              <a:gd name="connsiteX10971" fmla="*/ 5035762 w 8267681"/>
              <a:gd name="connsiteY10971" fmla="*/ 1355249 h 6698675"/>
              <a:gd name="connsiteX10972" fmla="*/ 5038111 w 8267681"/>
              <a:gd name="connsiteY10972" fmla="*/ 1357598 h 6698675"/>
              <a:gd name="connsiteX10973" fmla="*/ 5038111 w 8267681"/>
              <a:gd name="connsiteY10973" fmla="*/ 1359947 h 6698675"/>
              <a:gd name="connsiteX10974" fmla="*/ 5042809 w 8267681"/>
              <a:gd name="connsiteY10974" fmla="*/ 1359947 h 6698675"/>
              <a:gd name="connsiteX10975" fmla="*/ 5045157 w 8267681"/>
              <a:gd name="connsiteY10975" fmla="*/ 1343506 h 6698675"/>
              <a:gd name="connsiteX10976" fmla="*/ 5049855 w 8267681"/>
              <a:gd name="connsiteY10976" fmla="*/ 1338808 h 6698675"/>
              <a:gd name="connsiteX10977" fmla="*/ 4362967 w 8267681"/>
              <a:gd name="connsiteY10977" fmla="*/ 1330717 h 6698675"/>
              <a:gd name="connsiteX10978" fmla="*/ 4363718 w 8267681"/>
              <a:gd name="connsiteY10978" fmla="*/ 1330880 h 6698675"/>
              <a:gd name="connsiteX10979" fmla="*/ 4365080 w 8267681"/>
              <a:gd name="connsiteY10979" fmla="*/ 1331761 h 6698675"/>
              <a:gd name="connsiteX10980" fmla="*/ 4364011 w 8267681"/>
              <a:gd name="connsiteY10980" fmla="*/ 1331761 h 6698675"/>
              <a:gd name="connsiteX10981" fmla="*/ 4201946 w 8267681"/>
              <a:gd name="connsiteY10981" fmla="*/ 1324714 h 6698675"/>
              <a:gd name="connsiteX10982" fmla="*/ 4194899 w 8267681"/>
              <a:gd name="connsiteY10982" fmla="*/ 1376389 h 6698675"/>
              <a:gd name="connsiteX10983" fmla="*/ 4201946 w 8267681"/>
              <a:gd name="connsiteY10983" fmla="*/ 1324714 h 6698675"/>
              <a:gd name="connsiteX10984" fmla="*/ 6907740 w 8267681"/>
              <a:gd name="connsiteY10984" fmla="*/ 1298887 h 6698675"/>
              <a:gd name="connsiteX10985" fmla="*/ 6872507 w 8267681"/>
              <a:gd name="connsiteY10985" fmla="*/ 1312980 h 6698675"/>
              <a:gd name="connsiteX10986" fmla="*/ 6898345 w 8267681"/>
              <a:gd name="connsiteY10986" fmla="*/ 1301236 h 6698675"/>
              <a:gd name="connsiteX10987" fmla="*/ 7330519 w 8267681"/>
              <a:gd name="connsiteY10987" fmla="*/ 1294188 h 6698675"/>
              <a:gd name="connsiteX10988" fmla="*/ 7245963 w 8267681"/>
              <a:gd name="connsiteY10988" fmla="*/ 1305933 h 6698675"/>
              <a:gd name="connsiteX10989" fmla="*/ 6611793 w 8267681"/>
              <a:gd name="connsiteY10989" fmla="*/ 1594841 h 6698675"/>
              <a:gd name="connsiteX10990" fmla="*/ 6301754 w 8267681"/>
              <a:gd name="connsiteY10990" fmla="*/ 1864940 h 6698675"/>
              <a:gd name="connsiteX10991" fmla="*/ 6362822 w 8267681"/>
              <a:gd name="connsiteY10991" fmla="*/ 1775690 h 6698675"/>
              <a:gd name="connsiteX10992" fmla="*/ 6625885 w 8267681"/>
              <a:gd name="connsiteY10992" fmla="*/ 1524375 h 6698675"/>
              <a:gd name="connsiteX10993" fmla="*/ 6228942 w 8267681"/>
              <a:gd name="connsiteY10993" fmla="*/ 1855545 h 6698675"/>
              <a:gd name="connsiteX10994" fmla="*/ 6240686 w 8267681"/>
              <a:gd name="connsiteY10994" fmla="*/ 1836756 h 6698675"/>
              <a:gd name="connsiteX10995" fmla="*/ 6686954 w 8267681"/>
              <a:gd name="connsiteY10995" fmla="*/ 1432770 h 6698675"/>
              <a:gd name="connsiteX10996" fmla="*/ 6994644 w 8267681"/>
              <a:gd name="connsiteY10996" fmla="*/ 1327073 h 6698675"/>
              <a:gd name="connsiteX10997" fmla="*/ 7330519 w 8267681"/>
              <a:gd name="connsiteY10997" fmla="*/ 1294188 h 6698675"/>
              <a:gd name="connsiteX10998" fmla="*/ 4389848 w 8267681"/>
              <a:gd name="connsiteY10998" fmla="*/ 1282435 h 6698675"/>
              <a:gd name="connsiteX10999" fmla="*/ 4349919 w 8267681"/>
              <a:gd name="connsiteY10999" fmla="*/ 1312970 h 6698675"/>
              <a:gd name="connsiteX11000" fmla="*/ 4354616 w 8267681"/>
              <a:gd name="connsiteY11000" fmla="*/ 1315319 h 6698675"/>
              <a:gd name="connsiteX11001" fmla="*/ 4357552 w 8267681"/>
              <a:gd name="connsiteY11001" fmla="*/ 1325301 h 6698675"/>
              <a:gd name="connsiteX11002" fmla="*/ 4362967 w 8267681"/>
              <a:gd name="connsiteY11002" fmla="*/ 1330717 h 6698675"/>
              <a:gd name="connsiteX11003" fmla="*/ 4356965 w 8267681"/>
              <a:gd name="connsiteY11003" fmla="*/ 1329412 h 6698675"/>
              <a:gd name="connsiteX11004" fmla="*/ 4354616 w 8267681"/>
              <a:gd name="connsiteY11004" fmla="*/ 1329412 h 6698675"/>
              <a:gd name="connsiteX11005" fmla="*/ 4347570 w 8267681"/>
              <a:gd name="connsiteY11005" fmla="*/ 1334109 h 6698675"/>
              <a:gd name="connsiteX11006" fmla="*/ 4347570 w 8267681"/>
              <a:gd name="connsiteY11006" fmla="*/ 1336458 h 6698675"/>
              <a:gd name="connsiteX11007" fmla="*/ 4340523 w 8267681"/>
              <a:gd name="connsiteY11007" fmla="*/ 1338808 h 6698675"/>
              <a:gd name="connsiteX11008" fmla="*/ 4338175 w 8267681"/>
              <a:gd name="connsiteY11008" fmla="*/ 1341156 h 6698675"/>
              <a:gd name="connsiteX11009" fmla="*/ 4328780 w 8267681"/>
              <a:gd name="connsiteY11009" fmla="*/ 1343506 h 6698675"/>
              <a:gd name="connsiteX11010" fmla="*/ 4326431 w 8267681"/>
              <a:gd name="connsiteY11010" fmla="*/ 1345854 h 6698675"/>
              <a:gd name="connsiteX11011" fmla="*/ 4307641 w 8267681"/>
              <a:gd name="connsiteY11011" fmla="*/ 1348203 h 6698675"/>
              <a:gd name="connsiteX11012" fmla="*/ 4293548 w 8267681"/>
              <a:gd name="connsiteY11012" fmla="*/ 1352901 h 6698675"/>
              <a:gd name="connsiteX11013" fmla="*/ 4293548 w 8267681"/>
              <a:gd name="connsiteY11013" fmla="*/ 1350552 h 6698675"/>
              <a:gd name="connsiteX11014" fmla="*/ 4293548 w 8267681"/>
              <a:gd name="connsiteY11014" fmla="*/ 1345854 h 6698675"/>
              <a:gd name="connsiteX11015" fmla="*/ 4314687 w 8267681"/>
              <a:gd name="connsiteY11015" fmla="*/ 1341156 h 6698675"/>
              <a:gd name="connsiteX11016" fmla="*/ 4326431 w 8267681"/>
              <a:gd name="connsiteY11016" fmla="*/ 1341156 h 6698675"/>
              <a:gd name="connsiteX11017" fmla="*/ 4328780 w 8267681"/>
              <a:gd name="connsiteY11017" fmla="*/ 1336458 h 6698675"/>
              <a:gd name="connsiteX11018" fmla="*/ 4333477 w 8267681"/>
              <a:gd name="connsiteY11018" fmla="*/ 1336458 h 6698675"/>
              <a:gd name="connsiteX11019" fmla="*/ 4352267 w 8267681"/>
              <a:gd name="connsiteY11019" fmla="*/ 1320017 h 6698675"/>
              <a:gd name="connsiteX11020" fmla="*/ 4347570 w 8267681"/>
              <a:gd name="connsiteY11020" fmla="*/ 1317668 h 6698675"/>
              <a:gd name="connsiteX11021" fmla="*/ 4345221 w 8267681"/>
              <a:gd name="connsiteY11021" fmla="*/ 1320017 h 6698675"/>
              <a:gd name="connsiteX11022" fmla="*/ 4331129 w 8267681"/>
              <a:gd name="connsiteY11022" fmla="*/ 1327063 h 6698675"/>
              <a:gd name="connsiteX11023" fmla="*/ 4317036 w 8267681"/>
              <a:gd name="connsiteY11023" fmla="*/ 1334109 h 6698675"/>
              <a:gd name="connsiteX11024" fmla="*/ 4293548 w 8267681"/>
              <a:gd name="connsiteY11024" fmla="*/ 1345854 h 6698675"/>
              <a:gd name="connsiteX11025" fmla="*/ 4272409 w 8267681"/>
              <a:gd name="connsiteY11025" fmla="*/ 1355249 h 6698675"/>
              <a:gd name="connsiteX11026" fmla="*/ 4281804 w 8267681"/>
              <a:gd name="connsiteY11026" fmla="*/ 1359947 h 6698675"/>
              <a:gd name="connsiteX11027" fmla="*/ 4298245 w 8267681"/>
              <a:gd name="connsiteY11027" fmla="*/ 1359947 h 6698675"/>
              <a:gd name="connsiteX11028" fmla="*/ 4309989 w 8267681"/>
              <a:gd name="connsiteY11028" fmla="*/ 1362296 h 6698675"/>
              <a:gd name="connsiteX11029" fmla="*/ 4326431 w 8267681"/>
              <a:gd name="connsiteY11029" fmla="*/ 1362296 h 6698675"/>
              <a:gd name="connsiteX11030" fmla="*/ 4328780 w 8267681"/>
              <a:gd name="connsiteY11030" fmla="*/ 1364645 h 6698675"/>
              <a:gd name="connsiteX11031" fmla="*/ 4335826 w 8267681"/>
              <a:gd name="connsiteY11031" fmla="*/ 1366993 h 6698675"/>
              <a:gd name="connsiteX11032" fmla="*/ 4338175 w 8267681"/>
              <a:gd name="connsiteY11032" fmla="*/ 1371692 h 6698675"/>
              <a:gd name="connsiteX11033" fmla="*/ 4345221 w 8267681"/>
              <a:gd name="connsiteY11033" fmla="*/ 1378738 h 6698675"/>
              <a:gd name="connsiteX11034" fmla="*/ 4352267 w 8267681"/>
              <a:gd name="connsiteY11034" fmla="*/ 1378738 h 6698675"/>
              <a:gd name="connsiteX11035" fmla="*/ 4356965 w 8267681"/>
              <a:gd name="connsiteY11035" fmla="*/ 1383436 h 6698675"/>
              <a:gd name="connsiteX11036" fmla="*/ 4368709 w 8267681"/>
              <a:gd name="connsiteY11036" fmla="*/ 1388133 h 6698675"/>
              <a:gd name="connsiteX11037" fmla="*/ 4368709 w 8267681"/>
              <a:gd name="connsiteY11037" fmla="*/ 1390482 h 6698675"/>
              <a:gd name="connsiteX11038" fmla="*/ 4373407 w 8267681"/>
              <a:gd name="connsiteY11038" fmla="*/ 1390482 h 6698675"/>
              <a:gd name="connsiteX11039" fmla="*/ 4378104 w 8267681"/>
              <a:gd name="connsiteY11039" fmla="*/ 1385785 h 6698675"/>
              <a:gd name="connsiteX11040" fmla="*/ 4385151 w 8267681"/>
              <a:gd name="connsiteY11040" fmla="*/ 1385785 h 6698675"/>
              <a:gd name="connsiteX11041" fmla="*/ 4394545 w 8267681"/>
              <a:gd name="connsiteY11041" fmla="*/ 1383436 h 6698675"/>
              <a:gd name="connsiteX11042" fmla="*/ 4396894 w 8267681"/>
              <a:gd name="connsiteY11042" fmla="*/ 1378738 h 6698675"/>
              <a:gd name="connsiteX11043" fmla="*/ 4401592 w 8267681"/>
              <a:gd name="connsiteY11043" fmla="*/ 1357598 h 6698675"/>
              <a:gd name="connsiteX11044" fmla="*/ 4406289 w 8267681"/>
              <a:gd name="connsiteY11044" fmla="*/ 1334109 h 6698675"/>
              <a:gd name="connsiteX11045" fmla="*/ 4368709 w 8267681"/>
              <a:gd name="connsiteY11045" fmla="*/ 1334109 h 6698675"/>
              <a:gd name="connsiteX11046" fmla="*/ 4365080 w 8267681"/>
              <a:gd name="connsiteY11046" fmla="*/ 1331761 h 6698675"/>
              <a:gd name="connsiteX11047" fmla="*/ 4401592 w 8267681"/>
              <a:gd name="connsiteY11047" fmla="*/ 1331761 h 6698675"/>
              <a:gd name="connsiteX11048" fmla="*/ 4401592 w 8267681"/>
              <a:gd name="connsiteY11048" fmla="*/ 1327063 h 6698675"/>
              <a:gd name="connsiteX11049" fmla="*/ 4399243 w 8267681"/>
              <a:gd name="connsiteY11049" fmla="*/ 1324714 h 6698675"/>
              <a:gd name="connsiteX11050" fmla="*/ 4399243 w 8267681"/>
              <a:gd name="connsiteY11050" fmla="*/ 1322366 h 6698675"/>
              <a:gd name="connsiteX11051" fmla="*/ 4396894 w 8267681"/>
              <a:gd name="connsiteY11051" fmla="*/ 1320017 h 6698675"/>
              <a:gd name="connsiteX11052" fmla="*/ 4396894 w 8267681"/>
              <a:gd name="connsiteY11052" fmla="*/ 1315319 h 6698675"/>
              <a:gd name="connsiteX11053" fmla="*/ 4394545 w 8267681"/>
              <a:gd name="connsiteY11053" fmla="*/ 1312970 h 6698675"/>
              <a:gd name="connsiteX11054" fmla="*/ 4394545 w 8267681"/>
              <a:gd name="connsiteY11054" fmla="*/ 1308272 h 6698675"/>
              <a:gd name="connsiteX11055" fmla="*/ 4392197 w 8267681"/>
              <a:gd name="connsiteY11055" fmla="*/ 1308272 h 6698675"/>
              <a:gd name="connsiteX11056" fmla="*/ 4392197 w 8267681"/>
              <a:gd name="connsiteY11056" fmla="*/ 1303574 h 6698675"/>
              <a:gd name="connsiteX11057" fmla="*/ 4389848 w 8267681"/>
              <a:gd name="connsiteY11057" fmla="*/ 1303574 h 6698675"/>
              <a:gd name="connsiteX11058" fmla="*/ 4389848 w 8267681"/>
              <a:gd name="connsiteY11058" fmla="*/ 1298877 h 6698675"/>
              <a:gd name="connsiteX11059" fmla="*/ 4387499 w 8267681"/>
              <a:gd name="connsiteY11059" fmla="*/ 1296528 h 6698675"/>
              <a:gd name="connsiteX11060" fmla="*/ 4389848 w 8267681"/>
              <a:gd name="connsiteY11060" fmla="*/ 1291830 h 6698675"/>
              <a:gd name="connsiteX11061" fmla="*/ 4389848 w 8267681"/>
              <a:gd name="connsiteY11061" fmla="*/ 1282435 h 6698675"/>
              <a:gd name="connsiteX11062" fmla="*/ 1954171 w 8267681"/>
              <a:gd name="connsiteY11062" fmla="*/ 1282435 h 6698675"/>
              <a:gd name="connsiteX11063" fmla="*/ 1958865 w 8267681"/>
              <a:gd name="connsiteY11063" fmla="*/ 1301225 h 6698675"/>
              <a:gd name="connsiteX11064" fmla="*/ 1977656 w 8267681"/>
              <a:gd name="connsiteY11064" fmla="*/ 1298877 h 6698675"/>
              <a:gd name="connsiteX11065" fmla="*/ 1987051 w 8267681"/>
              <a:gd name="connsiteY11065" fmla="*/ 1310622 h 6698675"/>
              <a:gd name="connsiteX11066" fmla="*/ 1994099 w 8267681"/>
              <a:gd name="connsiteY11066" fmla="*/ 1308272 h 6698675"/>
              <a:gd name="connsiteX11067" fmla="*/ 1998794 w 8267681"/>
              <a:gd name="connsiteY11067" fmla="*/ 1294179 h 6698675"/>
              <a:gd name="connsiteX11068" fmla="*/ 1980006 w 8267681"/>
              <a:gd name="connsiteY11068" fmla="*/ 1294179 h 6698675"/>
              <a:gd name="connsiteX11069" fmla="*/ 1968264 w 8267681"/>
              <a:gd name="connsiteY11069" fmla="*/ 1284784 h 6698675"/>
              <a:gd name="connsiteX11070" fmla="*/ 5164945 w 8267681"/>
              <a:gd name="connsiteY11070" fmla="*/ 1280087 h 6698675"/>
              <a:gd name="connsiteX11071" fmla="*/ 5164945 w 8267681"/>
              <a:gd name="connsiteY11071" fmla="*/ 1284784 h 6698675"/>
              <a:gd name="connsiteX11072" fmla="*/ 5164945 w 8267681"/>
              <a:gd name="connsiteY11072" fmla="*/ 1287133 h 6698675"/>
              <a:gd name="connsiteX11073" fmla="*/ 5136760 w 8267681"/>
              <a:gd name="connsiteY11073" fmla="*/ 1308272 h 6698675"/>
              <a:gd name="connsiteX11074" fmla="*/ 5129713 w 8267681"/>
              <a:gd name="connsiteY11074" fmla="*/ 1310622 h 6698675"/>
              <a:gd name="connsiteX11075" fmla="*/ 5127364 w 8267681"/>
              <a:gd name="connsiteY11075" fmla="*/ 1315319 h 6698675"/>
              <a:gd name="connsiteX11076" fmla="*/ 5117969 w 8267681"/>
              <a:gd name="connsiteY11076" fmla="*/ 1317668 h 6698675"/>
              <a:gd name="connsiteX11077" fmla="*/ 5108574 w 8267681"/>
              <a:gd name="connsiteY11077" fmla="*/ 1327063 h 6698675"/>
              <a:gd name="connsiteX11078" fmla="*/ 5101528 w 8267681"/>
              <a:gd name="connsiteY11078" fmla="*/ 1329412 h 6698675"/>
              <a:gd name="connsiteX11079" fmla="*/ 5089784 w 8267681"/>
              <a:gd name="connsiteY11079" fmla="*/ 1366993 h 6698675"/>
              <a:gd name="connsiteX11080" fmla="*/ 5073342 w 8267681"/>
              <a:gd name="connsiteY11080" fmla="*/ 1378738 h 6698675"/>
              <a:gd name="connsiteX11081" fmla="*/ 5074125 w 8267681"/>
              <a:gd name="connsiteY11081" fmla="*/ 1378999 h 6698675"/>
              <a:gd name="connsiteX11082" fmla="*/ 5060693 w 8267681"/>
              <a:gd name="connsiteY11082" fmla="*/ 1384596 h 6698675"/>
              <a:gd name="connsiteX11083" fmla="*/ 5063947 w 8267681"/>
              <a:gd name="connsiteY11083" fmla="*/ 1378738 h 6698675"/>
              <a:gd name="connsiteX11084" fmla="*/ 5068645 w 8267681"/>
              <a:gd name="connsiteY11084" fmla="*/ 1376389 h 6698675"/>
              <a:gd name="connsiteX11085" fmla="*/ 5068939 w 8267681"/>
              <a:gd name="connsiteY11085" fmla="*/ 1375802 h 6698675"/>
              <a:gd name="connsiteX11086" fmla="*/ 5073342 w 8267681"/>
              <a:gd name="connsiteY11086" fmla="*/ 1374041 h 6698675"/>
              <a:gd name="connsiteX11087" fmla="*/ 5070994 w 8267681"/>
              <a:gd name="connsiteY11087" fmla="*/ 1374041 h 6698675"/>
              <a:gd name="connsiteX11088" fmla="*/ 5070994 w 8267681"/>
              <a:gd name="connsiteY11088" fmla="*/ 1371692 h 6698675"/>
              <a:gd name="connsiteX11089" fmla="*/ 5085086 w 8267681"/>
              <a:gd name="connsiteY11089" fmla="*/ 1359947 h 6698675"/>
              <a:gd name="connsiteX11090" fmla="*/ 5087435 w 8267681"/>
              <a:gd name="connsiteY11090" fmla="*/ 1348203 h 6698675"/>
              <a:gd name="connsiteX11091" fmla="*/ 5110923 w 8267681"/>
              <a:gd name="connsiteY11091" fmla="*/ 1320017 h 6698675"/>
              <a:gd name="connsiteX11092" fmla="*/ 5110923 w 8267681"/>
              <a:gd name="connsiteY11092" fmla="*/ 1317668 h 6698675"/>
              <a:gd name="connsiteX11093" fmla="*/ 5117969 w 8267681"/>
              <a:gd name="connsiteY11093" fmla="*/ 1315319 h 6698675"/>
              <a:gd name="connsiteX11094" fmla="*/ 5120318 w 8267681"/>
              <a:gd name="connsiteY11094" fmla="*/ 1310622 h 6698675"/>
              <a:gd name="connsiteX11095" fmla="*/ 5127364 w 8267681"/>
              <a:gd name="connsiteY11095" fmla="*/ 1308272 h 6698675"/>
              <a:gd name="connsiteX11096" fmla="*/ 5129713 w 8267681"/>
              <a:gd name="connsiteY11096" fmla="*/ 1303574 h 6698675"/>
              <a:gd name="connsiteX11097" fmla="*/ 5136760 w 8267681"/>
              <a:gd name="connsiteY11097" fmla="*/ 1301225 h 6698675"/>
              <a:gd name="connsiteX11098" fmla="*/ 5136760 w 8267681"/>
              <a:gd name="connsiteY11098" fmla="*/ 1298877 h 6698675"/>
              <a:gd name="connsiteX11099" fmla="*/ 5141457 w 8267681"/>
              <a:gd name="connsiteY11099" fmla="*/ 1296528 h 6698675"/>
              <a:gd name="connsiteX11100" fmla="*/ 5141457 w 8267681"/>
              <a:gd name="connsiteY11100" fmla="*/ 1294179 h 6698675"/>
              <a:gd name="connsiteX11101" fmla="*/ 5148504 w 8267681"/>
              <a:gd name="connsiteY11101" fmla="*/ 1291830 h 6698675"/>
              <a:gd name="connsiteX11102" fmla="*/ 5150852 w 8267681"/>
              <a:gd name="connsiteY11102" fmla="*/ 1287133 h 6698675"/>
              <a:gd name="connsiteX11103" fmla="*/ 5155550 w 8267681"/>
              <a:gd name="connsiteY11103" fmla="*/ 1284784 h 6698675"/>
              <a:gd name="connsiteX11104" fmla="*/ 5164945 w 8267681"/>
              <a:gd name="connsiteY11104" fmla="*/ 1280087 h 6698675"/>
              <a:gd name="connsiteX11105" fmla="*/ 5033413 w 8267681"/>
              <a:gd name="connsiteY11105" fmla="*/ 1265993 h 6698675"/>
              <a:gd name="connsiteX11106" fmla="*/ 5038111 w 8267681"/>
              <a:gd name="connsiteY11106" fmla="*/ 1265993 h 6698675"/>
              <a:gd name="connsiteX11107" fmla="*/ 5038111 w 8267681"/>
              <a:gd name="connsiteY11107" fmla="*/ 1270690 h 6698675"/>
              <a:gd name="connsiteX11108" fmla="*/ 5040460 w 8267681"/>
              <a:gd name="connsiteY11108" fmla="*/ 1273039 h 6698675"/>
              <a:gd name="connsiteX11109" fmla="*/ 5040460 w 8267681"/>
              <a:gd name="connsiteY11109" fmla="*/ 1282435 h 6698675"/>
              <a:gd name="connsiteX11110" fmla="*/ 5042809 w 8267681"/>
              <a:gd name="connsiteY11110" fmla="*/ 1284784 h 6698675"/>
              <a:gd name="connsiteX11111" fmla="*/ 5042809 w 8267681"/>
              <a:gd name="connsiteY11111" fmla="*/ 1294179 h 6698675"/>
              <a:gd name="connsiteX11112" fmla="*/ 5045157 w 8267681"/>
              <a:gd name="connsiteY11112" fmla="*/ 1310622 h 6698675"/>
              <a:gd name="connsiteX11113" fmla="*/ 5047506 w 8267681"/>
              <a:gd name="connsiteY11113" fmla="*/ 1312970 h 6698675"/>
              <a:gd name="connsiteX11114" fmla="*/ 5038111 w 8267681"/>
              <a:gd name="connsiteY11114" fmla="*/ 1345854 h 6698675"/>
              <a:gd name="connsiteX11115" fmla="*/ 5035762 w 8267681"/>
              <a:gd name="connsiteY11115" fmla="*/ 1355249 h 6698675"/>
              <a:gd name="connsiteX11116" fmla="*/ 5031065 w 8267681"/>
              <a:gd name="connsiteY11116" fmla="*/ 1355249 h 6698675"/>
              <a:gd name="connsiteX11117" fmla="*/ 5040460 w 8267681"/>
              <a:gd name="connsiteY11117" fmla="*/ 1322366 h 6698675"/>
              <a:gd name="connsiteX11118" fmla="*/ 5042809 w 8267681"/>
              <a:gd name="connsiteY11118" fmla="*/ 1310622 h 6698675"/>
              <a:gd name="connsiteX11119" fmla="*/ 5040460 w 8267681"/>
              <a:gd name="connsiteY11119" fmla="*/ 1298877 h 6698675"/>
              <a:gd name="connsiteX11120" fmla="*/ 5040460 w 8267681"/>
              <a:gd name="connsiteY11120" fmla="*/ 1294179 h 6698675"/>
              <a:gd name="connsiteX11121" fmla="*/ 5033413 w 8267681"/>
              <a:gd name="connsiteY11121" fmla="*/ 1265993 h 6698675"/>
              <a:gd name="connsiteX11122" fmla="*/ 4051624 w 8267681"/>
              <a:gd name="connsiteY11122" fmla="*/ 1256598 h 6698675"/>
              <a:gd name="connsiteX11123" fmla="*/ 4028136 w 8267681"/>
              <a:gd name="connsiteY11123" fmla="*/ 1258946 h 6698675"/>
              <a:gd name="connsiteX11124" fmla="*/ 4030485 w 8267681"/>
              <a:gd name="connsiteY11124" fmla="*/ 1277737 h 6698675"/>
              <a:gd name="connsiteX11125" fmla="*/ 4051624 w 8267681"/>
              <a:gd name="connsiteY11125" fmla="*/ 1256598 h 6698675"/>
              <a:gd name="connsiteX11126" fmla="*/ 8241846 w 8267681"/>
              <a:gd name="connsiteY11126" fmla="*/ 1249562 h 6698675"/>
              <a:gd name="connsiteX11127" fmla="*/ 8220707 w 8267681"/>
              <a:gd name="connsiteY11127" fmla="*/ 1254260 h 6698675"/>
              <a:gd name="connsiteX11128" fmla="*/ 8053943 w 8267681"/>
              <a:gd name="connsiteY11128" fmla="*/ 1282446 h 6698675"/>
              <a:gd name="connsiteX11129" fmla="*/ 8060990 w 8267681"/>
              <a:gd name="connsiteY11129" fmla="*/ 1280097 h 6698675"/>
              <a:gd name="connsiteX11130" fmla="*/ 8075083 w 8267681"/>
              <a:gd name="connsiteY11130" fmla="*/ 1277748 h 6698675"/>
              <a:gd name="connsiteX11131" fmla="*/ 8060990 w 8267681"/>
              <a:gd name="connsiteY11131" fmla="*/ 1280097 h 6698675"/>
              <a:gd name="connsiteX11132" fmla="*/ 7840204 w 8267681"/>
              <a:gd name="connsiteY11132" fmla="*/ 1296540 h 6698675"/>
              <a:gd name="connsiteX11133" fmla="*/ 8032804 w 8267681"/>
              <a:gd name="connsiteY11133" fmla="*/ 1277748 h 6698675"/>
              <a:gd name="connsiteX11134" fmla="*/ 8241846 w 8267681"/>
              <a:gd name="connsiteY11134" fmla="*/ 1249562 h 6698675"/>
              <a:gd name="connsiteX11135" fmla="*/ 8267681 w 8267681"/>
              <a:gd name="connsiteY11135" fmla="*/ 1244863 h 6698675"/>
              <a:gd name="connsiteX11136" fmla="*/ 8253588 w 8267681"/>
              <a:gd name="connsiteY11136" fmla="*/ 1247212 h 6698675"/>
              <a:gd name="connsiteX11137" fmla="*/ 8267681 w 8267681"/>
              <a:gd name="connsiteY11137" fmla="*/ 1244863 h 6698675"/>
              <a:gd name="connsiteX11138" fmla="*/ 2571894 w 8267681"/>
              <a:gd name="connsiteY11138" fmla="*/ 1209631 h 6698675"/>
              <a:gd name="connsiteX11139" fmla="*/ 2585986 w 8267681"/>
              <a:gd name="connsiteY11139" fmla="*/ 1211980 h 6698675"/>
              <a:gd name="connsiteX11140" fmla="*/ 2590684 w 8267681"/>
              <a:gd name="connsiteY11140" fmla="*/ 1233120 h 6698675"/>
              <a:gd name="connsiteX11141" fmla="*/ 2593033 w 8267681"/>
              <a:gd name="connsiteY11141" fmla="*/ 1242515 h 6698675"/>
              <a:gd name="connsiteX11142" fmla="*/ 2581289 w 8267681"/>
              <a:gd name="connsiteY11142" fmla="*/ 1249562 h 6698675"/>
              <a:gd name="connsiteX11143" fmla="*/ 2571894 w 8267681"/>
              <a:gd name="connsiteY11143" fmla="*/ 1235469 h 6698675"/>
              <a:gd name="connsiteX11144" fmla="*/ 2569545 w 8267681"/>
              <a:gd name="connsiteY11144" fmla="*/ 1226073 h 6698675"/>
              <a:gd name="connsiteX11145" fmla="*/ 3172594 w 8267681"/>
              <a:gd name="connsiteY11145" fmla="*/ 1205510 h 6698675"/>
              <a:gd name="connsiteX11146" fmla="*/ 3166134 w 8267681"/>
              <a:gd name="connsiteY11146" fmla="*/ 1214318 h 6698675"/>
              <a:gd name="connsiteX11147" fmla="*/ 3196668 w 8267681"/>
              <a:gd name="connsiteY11147" fmla="*/ 1207271 h 6698675"/>
              <a:gd name="connsiteX11148" fmla="*/ 3172594 w 8267681"/>
              <a:gd name="connsiteY11148" fmla="*/ 1205510 h 6698675"/>
              <a:gd name="connsiteX11149" fmla="*/ 2785779 w 8267681"/>
              <a:gd name="connsiteY11149" fmla="*/ 1194389 h 6698675"/>
              <a:gd name="connsiteX11150" fmla="*/ 2771540 w 8267681"/>
              <a:gd name="connsiteY11150" fmla="*/ 1197876 h 6698675"/>
              <a:gd name="connsiteX11151" fmla="*/ 2672891 w 8267681"/>
              <a:gd name="connsiteY11151" fmla="*/ 1240155 h 6698675"/>
              <a:gd name="connsiteX11152" fmla="*/ 2665845 w 8267681"/>
              <a:gd name="connsiteY11152" fmla="*/ 1256598 h 6698675"/>
              <a:gd name="connsiteX11153" fmla="*/ 2731610 w 8267681"/>
              <a:gd name="connsiteY11153" fmla="*/ 1228411 h 6698675"/>
              <a:gd name="connsiteX11154" fmla="*/ 2785779 w 8267681"/>
              <a:gd name="connsiteY11154" fmla="*/ 1194389 h 6698675"/>
              <a:gd name="connsiteX11155" fmla="*/ 5606516 w 8267681"/>
              <a:gd name="connsiteY11155" fmla="*/ 1174399 h 6698675"/>
              <a:gd name="connsiteX11156" fmla="*/ 5571285 w 8267681"/>
              <a:gd name="connsiteY11156" fmla="*/ 1188492 h 6698675"/>
              <a:gd name="connsiteX11157" fmla="*/ 5536053 w 8267681"/>
              <a:gd name="connsiteY11157" fmla="*/ 1197887 h 6698675"/>
              <a:gd name="connsiteX11158" fmla="*/ 5557192 w 8267681"/>
              <a:gd name="connsiteY11158" fmla="*/ 1188492 h 6698675"/>
              <a:gd name="connsiteX11159" fmla="*/ 5606516 w 8267681"/>
              <a:gd name="connsiteY11159" fmla="*/ 1174399 h 6698675"/>
              <a:gd name="connsiteX11160" fmla="*/ 6026948 w 8267681"/>
              <a:gd name="connsiteY11160" fmla="*/ 1172048 h 6698675"/>
              <a:gd name="connsiteX11161" fmla="*/ 5994065 w 8267681"/>
              <a:gd name="connsiteY11161" fmla="*/ 1211978 h 6698675"/>
              <a:gd name="connsiteX11162" fmla="*/ 5951787 w 8267681"/>
              <a:gd name="connsiteY11162" fmla="*/ 1237816 h 6698675"/>
              <a:gd name="connsiteX11163" fmla="*/ 5968228 w 8267681"/>
              <a:gd name="connsiteY11163" fmla="*/ 1207281 h 6698675"/>
              <a:gd name="connsiteX11164" fmla="*/ 6026948 w 8267681"/>
              <a:gd name="connsiteY11164" fmla="*/ 1172048 h 6698675"/>
              <a:gd name="connsiteX11165" fmla="*/ 1867274 w 8267681"/>
              <a:gd name="connsiteY11165" fmla="*/ 1169700 h 6698675"/>
              <a:gd name="connsiteX11166" fmla="*/ 1874319 w 8267681"/>
              <a:gd name="connsiteY11166" fmla="*/ 1181445 h 6698675"/>
              <a:gd name="connsiteX11167" fmla="*/ 1857882 w 8267681"/>
              <a:gd name="connsiteY11167" fmla="*/ 1183793 h 6698675"/>
              <a:gd name="connsiteX11168" fmla="*/ 1855532 w 8267681"/>
              <a:gd name="connsiteY11168" fmla="*/ 1172049 h 6698675"/>
              <a:gd name="connsiteX11169" fmla="*/ 2426269 w 8267681"/>
              <a:gd name="connsiteY11169" fmla="*/ 1160295 h 6698675"/>
              <a:gd name="connsiteX11170" fmla="*/ 2414525 w 8267681"/>
              <a:gd name="connsiteY11170" fmla="*/ 1167341 h 6698675"/>
              <a:gd name="connsiteX11171" fmla="*/ 2416874 w 8267681"/>
              <a:gd name="connsiteY11171" fmla="*/ 1176736 h 6698675"/>
              <a:gd name="connsiteX11172" fmla="*/ 2430967 w 8267681"/>
              <a:gd name="connsiteY11172" fmla="*/ 1179085 h 6698675"/>
              <a:gd name="connsiteX11173" fmla="*/ 3591263 w 8267681"/>
              <a:gd name="connsiteY11173" fmla="*/ 1143855 h 6698675"/>
              <a:gd name="connsiteX11174" fmla="*/ 3574822 w 8267681"/>
              <a:gd name="connsiteY11174" fmla="*/ 1157947 h 6698675"/>
              <a:gd name="connsiteX11175" fmla="*/ 3577171 w 8267681"/>
              <a:gd name="connsiteY11175" fmla="*/ 1153249 h 6698675"/>
              <a:gd name="connsiteX11176" fmla="*/ 3591263 w 8267681"/>
              <a:gd name="connsiteY11176" fmla="*/ 1143855 h 6698675"/>
              <a:gd name="connsiteX11177" fmla="*/ 2193745 w 8267681"/>
              <a:gd name="connsiteY11177" fmla="*/ 1143853 h 6698675"/>
              <a:gd name="connsiteX11178" fmla="*/ 2189045 w 8267681"/>
              <a:gd name="connsiteY11178" fmla="*/ 1146203 h 6698675"/>
              <a:gd name="connsiteX11179" fmla="*/ 2196095 w 8267681"/>
              <a:gd name="connsiteY11179" fmla="*/ 1146203 h 6698675"/>
              <a:gd name="connsiteX11180" fmla="*/ 6530789 w 8267681"/>
              <a:gd name="connsiteY11180" fmla="*/ 1143144 h 6698675"/>
              <a:gd name="connsiteX11181" fmla="*/ 6488481 w 8267681"/>
              <a:gd name="connsiteY11181" fmla="*/ 1155011 h 6698675"/>
              <a:gd name="connsiteX11182" fmla="*/ 6440331 w 8267681"/>
              <a:gd name="connsiteY11182" fmla="*/ 1179086 h 6698675"/>
              <a:gd name="connsiteX11183" fmla="*/ 6402037 w 8267681"/>
              <a:gd name="connsiteY11183" fmla="*/ 1205288 h 6698675"/>
              <a:gd name="connsiteX11184" fmla="*/ 6463820 w 8267681"/>
              <a:gd name="connsiteY11184" fmla="*/ 1174396 h 6698675"/>
              <a:gd name="connsiteX11185" fmla="*/ 4126785 w 8267681"/>
              <a:gd name="connsiteY11185" fmla="*/ 1127466 h 6698675"/>
              <a:gd name="connsiteX11186" fmla="*/ 4122087 w 8267681"/>
              <a:gd name="connsiteY11186" fmla="*/ 1139212 h 6698675"/>
              <a:gd name="connsiteX11187" fmla="*/ 4117390 w 8267681"/>
              <a:gd name="connsiteY11187" fmla="*/ 1155652 h 6698675"/>
              <a:gd name="connsiteX11188" fmla="*/ 4119739 w 8267681"/>
              <a:gd name="connsiteY11188" fmla="*/ 1143909 h 6698675"/>
              <a:gd name="connsiteX11189" fmla="*/ 4126785 w 8267681"/>
              <a:gd name="connsiteY11189" fmla="*/ 1127466 h 6698675"/>
              <a:gd name="connsiteX11190" fmla="*/ 4133831 w 8267681"/>
              <a:gd name="connsiteY11190" fmla="*/ 1118073 h 6698675"/>
              <a:gd name="connsiteX11191" fmla="*/ 4126785 w 8267681"/>
              <a:gd name="connsiteY11191" fmla="*/ 1127466 h 6698675"/>
              <a:gd name="connsiteX11192" fmla="*/ 4133831 w 8267681"/>
              <a:gd name="connsiteY11192" fmla="*/ 1118073 h 6698675"/>
              <a:gd name="connsiteX11193" fmla="*/ 6708092 w 8267681"/>
              <a:gd name="connsiteY11193" fmla="*/ 1103929 h 6698675"/>
              <a:gd name="connsiteX11194" fmla="*/ 6693999 w 8267681"/>
              <a:gd name="connsiteY11194" fmla="*/ 1115672 h 6698675"/>
              <a:gd name="connsiteX11195" fmla="*/ 6543678 w 8267681"/>
              <a:gd name="connsiteY11195" fmla="*/ 1139159 h 6698675"/>
              <a:gd name="connsiteX11196" fmla="*/ 6550724 w 8267681"/>
              <a:gd name="connsiteY11196" fmla="*/ 1134460 h 6698675"/>
              <a:gd name="connsiteX11197" fmla="*/ 6541281 w 8267681"/>
              <a:gd name="connsiteY11197" fmla="*/ 1139183 h 6698675"/>
              <a:gd name="connsiteX11198" fmla="*/ 6541329 w 8267681"/>
              <a:gd name="connsiteY11198" fmla="*/ 1139166 h 6698675"/>
              <a:gd name="connsiteX11199" fmla="*/ 6217198 w 8267681"/>
              <a:gd name="connsiteY11199" fmla="*/ 1345864 h 6698675"/>
              <a:gd name="connsiteX11200" fmla="*/ 6385770 w 8267681"/>
              <a:gd name="connsiteY11200" fmla="*/ 1215496 h 6698675"/>
              <a:gd name="connsiteX11201" fmla="*/ 6265678 w 8267681"/>
              <a:gd name="connsiteY11201" fmla="*/ 1286509 h 6698675"/>
              <a:gd name="connsiteX11202" fmla="*/ 5958832 w 8267681"/>
              <a:gd name="connsiteY11202" fmla="*/ 1585437 h 6698675"/>
              <a:gd name="connsiteX11203" fmla="*/ 5813207 w 8267681"/>
              <a:gd name="connsiteY11203" fmla="*/ 1862584 h 6698675"/>
              <a:gd name="connsiteX11204" fmla="*/ 5883671 w 8267681"/>
              <a:gd name="connsiteY11204" fmla="*/ 1787426 h 6698675"/>
              <a:gd name="connsiteX11205" fmla="*/ 6294707 w 8267681"/>
              <a:gd name="connsiteY11205" fmla="*/ 1338808 h 6698675"/>
              <a:gd name="connsiteX11206" fmla="*/ 6506097 w 8267681"/>
              <a:gd name="connsiteY11206" fmla="*/ 1226062 h 6698675"/>
              <a:gd name="connsiteX11207" fmla="*/ 6715138 w 8267681"/>
              <a:gd name="connsiteY11207" fmla="*/ 1125065 h 6698675"/>
              <a:gd name="connsiteX11208" fmla="*/ 3654093 w 8267681"/>
              <a:gd name="connsiteY11208" fmla="*/ 1099524 h 6698675"/>
              <a:gd name="connsiteX11209" fmla="*/ 3666424 w 8267681"/>
              <a:gd name="connsiteY11209" fmla="*/ 1101580 h 6698675"/>
              <a:gd name="connsiteX11210" fmla="*/ 3645285 w 8267681"/>
              <a:gd name="connsiteY11210" fmla="*/ 1106282 h 6698675"/>
              <a:gd name="connsiteX11211" fmla="*/ 3654093 w 8267681"/>
              <a:gd name="connsiteY11211" fmla="*/ 1099524 h 6698675"/>
              <a:gd name="connsiteX11212" fmla="*/ 7351658 w 8267681"/>
              <a:gd name="connsiteY11212" fmla="*/ 1080453 h 6698675"/>
              <a:gd name="connsiteX11213" fmla="*/ 7358704 w 8267681"/>
              <a:gd name="connsiteY11213" fmla="*/ 1080453 h 6698675"/>
              <a:gd name="connsiteX11214" fmla="*/ 7765043 w 8267681"/>
              <a:gd name="connsiteY11214" fmla="*/ 1157956 h 6698675"/>
              <a:gd name="connsiteX11215" fmla="*/ 8161987 w 8267681"/>
              <a:gd name="connsiteY11215" fmla="*/ 1233120 h 6698675"/>
              <a:gd name="connsiteX11216" fmla="*/ 8161987 w 8267681"/>
              <a:gd name="connsiteY11216" fmla="*/ 1240166 h 6698675"/>
              <a:gd name="connsiteX11217" fmla="*/ 7974084 w 8267681"/>
              <a:gd name="connsiteY11217" fmla="*/ 1223724 h 6698675"/>
              <a:gd name="connsiteX11218" fmla="*/ 7783833 w 8267681"/>
              <a:gd name="connsiteY11218" fmla="*/ 1197886 h 6698675"/>
              <a:gd name="connsiteX11219" fmla="*/ 7415075 w 8267681"/>
              <a:gd name="connsiteY11219" fmla="*/ 1160304 h 6698675"/>
              <a:gd name="connsiteX11220" fmla="*/ 7339914 w 8267681"/>
              <a:gd name="connsiteY11220" fmla="*/ 1165002 h 6698675"/>
              <a:gd name="connsiteX11221" fmla="*/ 7264753 w 8267681"/>
              <a:gd name="connsiteY11221" fmla="*/ 1172048 h 6698675"/>
              <a:gd name="connsiteX11222" fmla="*/ 7168746 w 8267681"/>
              <a:gd name="connsiteY11222" fmla="*/ 1180269 h 6698675"/>
              <a:gd name="connsiteX11223" fmla="*/ 7074507 w 8267681"/>
              <a:gd name="connsiteY11223" fmla="*/ 1195536 h 6698675"/>
              <a:gd name="connsiteX11224" fmla="*/ 7102686 w 8267681"/>
              <a:gd name="connsiteY11224" fmla="*/ 1195536 h 6698675"/>
              <a:gd name="connsiteX11225" fmla="*/ 7055711 w 8267681"/>
              <a:gd name="connsiteY11225" fmla="*/ 1204932 h 6698675"/>
              <a:gd name="connsiteX11226" fmla="*/ 7013433 w 8267681"/>
              <a:gd name="connsiteY11226" fmla="*/ 1209630 h 6698675"/>
              <a:gd name="connsiteX11227" fmla="*/ 7070143 w 8267681"/>
              <a:gd name="connsiteY11227" fmla="*/ 1196019 h 6698675"/>
              <a:gd name="connsiteX11228" fmla="*/ 6920363 w 8267681"/>
              <a:gd name="connsiteY11228" fmla="*/ 1212567 h 6698675"/>
              <a:gd name="connsiteX11229" fmla="*/ 6771509 w 8267681"/>
              <a:gd name="connsiteY11229" fmla="*/ 1247212 h 6698675"/>
              <a:gd name="connsiteX11230" fmla="*/ 6484958 w 8267681"/>
              <a:gd name="connsiteY11230" fmla="*/ 1367005 h 6698675"/>
              <a:gd name="connsiteX11231" fmla="*/ 6879553 w 8267681"/>
              <a:gd name="connsiteY11231" fmla="*/ 1136819 h 6698675"/>
              <a:gd name="connsiteX11232" fmla="*/ 7126174 w 8267681"/>
              <a:gd name="connsiteY11232" fmla="*/ 1089847 h 6698675"/>
              <a:gd name="connsiteX11233" fmla="*/ 7351658 w 8267681"/>
              <a:gd name="connsiteY11233" fmla="*/ 1080453 h 6698675"/>
              <a:gd name="connsiteX11234" fmla="*/ 2059873 w 8267681"/>
              <a:gd name="connsiteY11234" fmla="*/ 1078104 h 6698675"/>
              <a:gd name="connsiteX11235" fmla="*/ 2071621 w 8267681"/>
              <a:gd name="connsiteY11235" fmla="*/ 1087499 h 6698675"/>
              <a:gd name="connsiteX11236" fmla="*/ 2076316 w 8267681"/>
              <a:gd name="connsiteY11236" fmla="*/ 1099240 h 6698675"/>
              <a:gd name="connsiteX11237" fmla="*/ 2066921 w 8267681"/>
              <a:gd name="connsiteY11237" fmla="*/ 1110981 h 6698675"/>
              <a:gd name="connsiteX11238" fmla="*/ 2057528 w 8267681"/>
              <a:gd name="connsiteY11238" fmla="*/ 1110981 h 6698675"/>
              <a:gd name="connsiteX11239" fmla="*/ 2048130 w 8267681"/>
              <a:gd name="connsiteY11239" fmla="*/ 1094545 h 6698675"/>
              <a:gd name="connsiteX11240" fmla="*/ 2048130 w 8267681"/>
              <a:gd name="connsiteY11240" fmla="*/ 1080454 h 6698675"/>
              <a:gd name="connsiteX11241" fmla="*/ 2940652 w 8267681"/>
              <a:gd name="connsiteY11241" fmla="*/ 1077605 h 6698675"/>
              <a:gd name="connsiteX11242" fmla="*/ 2941537 w 8267681"/>
              <a:gd name="connsiteY11242" fmla="*/ 1079559 h 6698675"/>
              <a:gd name="connsiteX11243" fmla="*/ 2940652 w 8267681"/>
              <a:gd name="connsiteY11243" fmla="*/ 1080442 h 6698675"/>
              <a:gd name="connsiteX11244" fmla="*/ 2191270 w 8267681"/>
              <a:gd name="connsiteY11244" fmla="*/ 1055157 h 6698675"/>
              <a:gd name="connsiteX11245" fmla="*/ 2207838 w 8267681"/>
              <a:gd name="connsiteY11245" fmla="*/ 1059299 h 6698675"/>
              <a:gd name="connsiteX11246" fmla="*/ 2208225 w 8267681"/>
              <a:gd name="connsiteY11246" fmla="*/ 1060377 h 6698675"/>
              <a:gd name="connsiteX11247" fmla="*/ 2203138 w 8267681"/>
              <a:gd name="connsiteY11247" fmla="*/ 1061649 h 6698675"/>
              <a:gd name="connsiteX11248" fmla="*/ 2024643 w 8267681"/>
              <a:gd name="connsiteY11248" fmla="*/ 1054611 h 6698675"/>
              <a:gd name="connsiteX11249" fmla="*/ 2031689 w 8267681"/>
              <a:gd name="connsiteY11249" fmla="*/ 1071057 h 6698675"/>
              <a:gd name="connsiteX11250" fmla="*/ 2024643 w 8267681"/>
              <a:gd name="connsiteY11250" fmla="*/ 1101591 h 6698675"/>
              <a:gd name="connsiteX11251" fmla="*/ 1991759 w 8267681"/>
              <a:gd name="connsiteY11251" fmla="*/ 1108634 h 6698675"/>
              <a:gd name="connsiteX11252" fmla="*/ 1972973 w 8267681"/>
              <a:gd name="connsiteY11252" fmla="*/ 1087500 h 6698675"/>
              <a:gd name="connsiteX11253" fmla="*/ 1972968 w 8267681"/>
              <a:gd name="connsiteY11253" fmla="*/ 1054610 h 6698675"/>
              <a:gd name="connsiteX11254" fmla="*/ 1954180 w 8267681"/>
              <a:gd name="connsiteY11254" fmla="*/ 1094545 h 6698675"/>
              <a:gd name="connsiteX11255" fmla="*/ 1928345 w 8267681"/>
              <a:gd name="connsiteY11255" fmla="*/ 1094545 h 6698675"/>
              <a:gd name="connsiteX11256" fmla="*/ 1921295 w 8267681"/>
              <a:gd name="connsiteY11256" fmla="*/ 1078104 h 6698675"/>
              <a:gd name="connsiteX11257" fmla="*/ 1909552 w 8267681"/>
              <a:gd name="connsiteY11257" fmla="*/ 1101591 h 6698675"/>
              <a:gd name="connsiteX11258" fmla="*/ 1886067 w 8267681"/>
              <a:gd name="connsiteY11258" fmla="*/ 1120376 h 6698675"/>
              <a:gd name="connsiteX11259" fmla="*/ 1879017 w 8267681"/>
              <a:gd name="connsiteY11259" fmla="*/ 1120376 h 6698675"/>
              <a:gd name="connsiteX11260" fmla="*/ 1876668 w 8267681"/>
              <a:gd name="connsiteY11260" fmla="*/ 1115681 h 6698675"/>
              <a:gd name="connsiteX11261" fmla="*/ 1904853 w 8267681"/>
              <a:gd name="connsiteY11261" fmla="*/ 1080454 h 6698675"/>
              <a:gd name="connsiteX11262" fmla="*/ 1961224 w 8267681"/>
              <a:gd name="connsiteY11262" fmla="*/ 1064008 h 6698675"/>
              <a:gd name="connsiteX11263" fmla="*/ 1972968 w 8267681"/>
              <a:gd name="connsiteY11263" fmla="*/ 1054610 h 6698675"/>
              <a:gd name="connsiteX11264" fmla="*/ 2158615 w 8267681"/>
              <a:gd name="connsiteY11264" fmla="*/ 1051090 h 6698675"/>
              <a:gd name="connsiteX11265" fmla="*/ 2152402 w 8267681"/>
              <a:gd name="connsiteY11265" fmla="*/ 1064350 h 6698675"/>
              <a:gd name="connsiteX11266" fmla="*/ 2153818 w 8267681"/>
              <a:gd name="connsiteY11266" fmla="*/ 1054601 h 6698675"/>
              <a:gd name="connsiteX11267" fmla="*/ 2155869 w 8267681"/>
              <a:gd name="connsiteY11267" fmla="*/ 1051371 h 6698675"/>
              <a:gd name="connsiteX11268" fmla="*/ 3288271 w 8267681"/>
              <a:gd name="connsiteY11268" fmla="*/ 1045206 h 6698675"/>
              <a:gd name="connsiteX11269" fmla="*/ 3278876 w 8267681"/>
              <a:gd name="connsiteY11269" fmla="*/ 1061652 h 6698675"/>
              <a:gd name="connsiteX11270" fmla="*/ 3257737 w 8267681"/>
              <a:gd name="connsiteY11270" fmla="*/ 1085142 h 6698675"/>
              <a:gd name="connsiteX11271" fmla="*/ 3210761 w 8267681"/>
              <a:gd name="connsiteY11271" fmla="*/ 1115673 h 6698675"/>
              <a:gd name="connsiteX11272" fmla="*/ 3177878 w 8267681"/>
              <a:gd name="connsiteY11272" fmla="*/ 1120367 h 6698675"/>
              <a:gd name="connsiteX11273" fmla="*/ 3168483 w 8267681"/>
              <a:gd name="connsiteY11273" fmla="*/ 1115673 h 6698675"/>
              <a:gd name="connsiteX11274" fmla="*/ 3191971 w 8267681"/>
              <a:gd name="connsiteY11274" fmla="*/ 1106284 h 6698675"/>
              <a:gd name="connsiteX11275" fmla="*/ 3241295 w 8267681"/>
              <a:gd name="connsiteY11275" fmla="*/ 1089838 h 6698675"/>
              <a:gd name="connsiteX11276" fmla="*/ 3264783 w 8267681"/>
              <a:gd name="connsiteY11276" fmla="*/ 1071049 h 6698675"/>
              <a:gd name="connsiteX11277" fmla="*/ 3274178 w 8267681"/>
              <a:gd name="connsiteY11277" fmla="*/ 1059302 h 6698675"/>
              <a:gd name="connsiteX11278" fmla="*/ 3276528 w 8267681"/>
              <a:gd name="connsiteY11278" fmla="*/ 1054603 h 6698675"/>
              <a:gd name="connsiteX11279" fmla="*/ 3288271 w 8267681"/>
              <a:gd name="connsiteY11279" fmla="*/ 1045206 h 6698675"/>
              <a:gd name="connsiteX11280" fmla="*/ 2165560 w 8267681"/>
              <a:gd name="connsiteY11280" fmla="*/ 1035806 h 6698675"/>
              <a:gd name="connsiteX11281" fmla="*/ 2184348 w 8267681"/>
              <a:gd name="connsiteY11281" fmla="*/ 1051371 h 6698675"/>
              <a:gd name="connsiteX11282" fmla="*/ 2191270 w 8267681"/>
              <a:gd name="connsiteY11282" fmla="*/ 1055157 h 6698675"/>
              <a:gd name="connsiteX11283" fmla="*/ 2170255 w 8267681"/>
              <a:gd name="connsiteY11283" fmla="*/ 1049902 h 6698675"/>
              <a:gd name="connsiteX11284" fmla="*/ 2158615 w 8267681"/>
              <a:gd name="connsiteY11284" fmla="*/ 1051090 h 6698675"/>
              <a:gd name="connsiteX11285" fmla="*/ 2160273 w 8267681"/>
              <a:gd name="connsiteY11285" fmla="*/ 1047553 h 6698675"/>
              <a:gd name="connsiteX11286" fmla="*/ 2165560 w 8267681"/>
              <a:gd name="connsiteY11286" fmla="*/ 1035806 h 6698675"/>
              <a:gd name="connsiteX11287" fmla="*/ 2926559 w 8267681"/>
              <a:gd name="connsiteY11287" fmla="*/ 1026410 h 6698675"/>
              <a:gd name="connsiteX11288" fmla="*/ 2933605 w 8267681"/>
              <a:gd name="connsiteY11288" fmla="*/ 1054601 h 6698675"/>
              <a:gd name="connsiteX11289" fmla="*/ 2940652 w 8267681"/>
              <a:gd name="connsiteY11289" fmla="*/ 1073396 h 6698675"/>
              <a:gd name="connsiteX11290" fmla="*/ 2940652 w 8267681"/>
              <a:gd name="connsiteY11290" fmla="*/ 1077605 h 6698675"/>
              <a:gd name="connsiteX11291" fmla="*/ 2935954 w 8267681"/>
              <a:gd name="connsiteY11291" fmla="*/ 1067229 h 6698675"/>
              <a:gd name="connsiteX11292" fmla="*/ 2928908 w 8267681"/>
              <a:gd name="connsiteY11292" fmla="*/ 1042854 h 6698675"/>
              <a:gd name="connsiteX11293" fmla="*/ 2926559 w 8267681"/>
              <a:gd name="connsiteY11293" fmla="*/ 1026410 h 6698675"/>
              <a:gd name="connsiteX11294" fmla="*/ 2280645 w 8267681"/>
              <a:gd name="connsiteY11294" fmla="*/ 1000578 h 6698675"/>
              <a:gd name="connsiteX11295" fmla="*/ 2261855 w 8267681"/>
              <a:gd name="connsiteY11295" fmla="*/ 1005274 h 6698675"/>
              <a:gd name="connsiteX11296" fmla="*/ 2271250 w 8267681"/>
              <a:gd name="connsiteY11296" fmla="*/ 1017016 h 6698675"/>
              <a:gd name="connsiteX11297" fmla="*/ 2285342 w 8267681"/>
              <a:gd name="connsiteY11297" fmla="*/ 1026410 h 6698675"/>
              <a:gd name="connsiteX11298" fmla="*/ 2292389 w 8267681"/>
              <a:gd name="connsiteY11298" fmla="*/ 1026410 h 6698675"/>
              <a:gd name="connsiteX11299" fmla="*/ 2301785 w 8267681"/>
              <a:gd name="connsiteY11299" fmla="*/ 1014669 h 6698675"/>
              <a:gd name="connsiteX11300" fmla="*/ 2299435 w 8267681"/>
              <a:gd name="connsiteY11300" fmla="*/ 1002926 h 6698675"/>
              <a:gd name="connsiteX11301" fmla="*/ 2282994 w 8267681"/>
              <a:gd name="connsiteY11301" fmla="*/ 1000578 h 6698675"/>
              <a:gd name="connsiteX11302" fmla="*/ 2280645 w 8267681"/>
              <a:gd name="connsiteY11302" fmla="*/ 1000578 h 6698675"/>
              <a:gd name="connsiteX11303" fmla="*/ 2034037 w 8267681"/>
              <a:gd name="connsiteY11303" fmla="*/ 967708 h 6698675"/>
              <a:gd name="connsiteX11304" fmla="*/ 2055178 w 8267681"/>
              <a:gd name="connsiteY11304" fmla="*/ 981799 h 6698675"/>
              <a:gd name="connsiteX11305" fmla="*/ 2048130 w 8267681"/>
              <a:gd name="connsiteY11305" fmla="*/ 984147 h 6698675"/>
              <a:gd name="connsiteX11306" fmla="*/ 2031689 w 8267681"/>
              <a:gd name="connsiteY11306" fmla="*/ 984147 h 6698675"/>
              <a:gd name="connsiteX11307" fmla="*/ 2449758 w 8267681"/>
              <a:gd name="connsiteY11307" fmla="*/ 963012 h 6698675"/>
              <a:gd name="connsiteX11308" fmla="*/ 2461502 w 8267681"/>
              <a:gd name="connsiteY11308" fmla="*/ 963012 h 6698675"/>
              <a:gd name="connsiteX11309" fmla="*/ 2463851 w 8267681"/>
              <a:gd name="connsiteY11309" fmla="*/ 972406 h 6698675"/>
              <a:gd name="connsiteX11310" fmla="*/ 2461502 w 8267681"/>
              <a:gd name="connsiteY11310" fmla="*/ 988846 h 6698675"/>
              <a:gd name="connsiteX11311" fmla="*/ 2449758 w 8267681"/>
              <a:gd name="connsiteY11311" fmla="*/ 998240 h 6698675"/>
              <a:gd name="connsiteX11312" fmla="*/ 2438014 w 8267681"/>
              <a:gd name="connsiteY11312" fmla="*/ 1002936 h 6698675"/>
              <a:gd name="connsiteX11313" fmla="*/ 2426271 w 8267681"/>
              <a:gd name="connsiteY11313" fmla="*/ 995891 h 6698675"/>
              <a:gd name="connsiteX11314" fmla="*/ 2421574 w 8267681"/>
              <a:gd name="connsiteY11314" fmla="*/ 979452 h 6698675"/>
              <a:gd name="connsiteX11315" fmla="*/ 2301561 w 8267681"/>
              <a:gd name="connsiteY11315" fmla="*/ 953991 h 6698675"/>
              <a:gd name="connsiteX11316" fmla="*/ 2303458 w 8267681"/>
              <a:gd name="connsiteY11316" fmla="*/ 960638 h 6698675"/>
              <a:gd name="connsiteX11317" fmla="*/ 2299435 w 8267681"/>
              <a:gd name="connsiteY11317" fmla="*/ 963003 h 6698675"/>
              <a:gd name="connsiteX11318" fmla="*/ 2346412 w 8267681"/>
              <a:gd name="connsiteY11318" fmla="*/ 951249 h 6698675"/>
              <a:gd name="connsiteX11319" fmla="*/ 2322923 w 8267681"/>
              <a:gd name="connsiteY11319" fmla="*/ 955947 h 6698675"/>
              <a:gd name="connsiteX11320" fmla="*/ 2311179 w 8267681"/>
              <a:gd name="connsiteY11320" fmla="*/ 967700 h 6698675"/>
              <a:gd name="connsiteX11321" fmla="*/ 2315877 w 8267681"/>
              <a:gd name="connsiteY11321" fmla="*/ 972396 h 6698675"/>
              <a:gd name="connsiteX11322" fmla="*/ 2318225 w 8267681"/>
              <a:gd name="connsiteY11322" fmla="*/ 998229 h 6698675"/>
              <a:gd name="connsiteX11323" fmla="*/ 2344062 w 8267681"/>
              <a:gd name="connsiteY11323" fmla="*/ 1012320 h 6698675"/>
              <a:gd name="connsiteX11324" fmla="*/ 2353457 w 8267681"/>
              <a:gd name="connsiteY11324" fmla="*/ 1009971 h 6698675"/>
              <a:gd name="connsiteX11325" fmla="*/ 2351108 w 8267681"/>
              <a:gd name="connsiteY11325" fmla="*/ 1000578 h 6698675"/>
              <a:gd name="connsiteX11326" fmla="*/ 2339365 w 8267681"/>
              <a:gd name="connsiteY11326" fmla="*/ 993532 h 6698675"/>
              <a:gd name="connsiteX11327" fmla="*/ 2191406 w 8267681"/>
              <a:gd name="connsiteY11327" fmla="*/ 925421 h 6698675"/>
              <a:gd name="connsiteX11328" fmla="*/ 2198454 w 8267681"/>
              <a:gd name="connsiteY11328" fmla="*/ 941862 h 6698675"/>
              <a:gd name="connsiteX11329" fmla="*/ 2198454 w 8267681"/>
              <a:gd name="connsiteY11329" fmla="*/ 946560 h 6698675"/>
              <a:gd name="connsiteX11330" fmla="*/ 2193754 w 8267681"/>
              <a:gd name="connsiteY11330" fmla="*/ 948908 h 6698675"/>
              <a:gd name="connsiteX11331" fmla="*/ 2179661 w 8267681"/>
              <a:gd name="connsiteY11331" fmla="*/ 946560 h 6698675"/>
              <a:gd name="connsiteX11332" fmla="*/ 2177312 w 8267681"/>
              <a:gd name="connsiteY11332" fmla="*/ 934816 h 6698675"/>
              <a:gd name="connsiteX11333" fmla="*/ 7321124 w 8267681"/>
              <a:gd name="connsiteY11333" fmla="*/ 925420 h 6698675"/>
              <a:gd name="connsiteX11334" fmla="*/ 7321124 w 8267681"/>
              <a:gd name="connsiteY11334" fmla="*/ 946558 h 6698675"/>
              <a:gd name="connsiteX11335" fmla="*/ 7321124 w 8267681"/>
              <a:gd name="connsiteY11335" fmla="*/ 925420 h 6698675"/>
              <a:gd name="connsiteX11336" fmla="*/ 3349926 w 8267681"/>
              <a:gd name="connsiteY11336" fmla="*/ 924532 h 6698675"/>
              <a:gd name="connsiteX11337" fmla="*/ 3323502 w 8267681"/>
              <a:gd name="connsiteY11337" fmla="*/ 946552 h 6698675"/>
              <a:gd name="connsiteX11338" fmla="*/ 3349926 w 8267681"/>
              <a:gd name="connsiteY11338" fmla="*/ 924532 h 6698675"/>
              <a:gd name="connsiteX11339" fmla="*/ 7123826 w 8267681"/>
              <a:gd name="connsiteY11339" fmla="*/ 890188 h 6698675"/>
              <a:gd name="connsiteX11340" fmla="*/ 7358704 w 8267681"/>
              <a:gd name="connsiteY11340" fmla="*/ 906630 h 6698675"/>
              <a:gd name="connsiteX11341" fmla="*/ 7370448 w 8267681"/>
              <a:gd name="connsiteY11341" fmla="*/ 908978 h 6698675"/>
              <a:gd name="connsiteX11342" fmla="*/ 7323472 w 8267681"/>
              <a:gd name="connsiteY11342" fmla="*/ 925420 h 6698675"/>
              <a:gd name="connsiteX11343" fmla="*/ 7269450 w 8267681"/>
              <a:gd name="connsiteY11343" fmla="*/ 920722 h 6698675"/>
              <a:gd name="connsiteX11344" fmla="*/ 7177848 w 8267681"/>
              <a:gd name="connsiteY11344" fmla="*/ 925420 h 6698675"/>
              <a:gd name="connsiteX11345" fmla="*/ 7032223 w 8267681"/>
              <a:gd name="connsiteY11345" fmla="*/ 908978 h 6698675"/>
              <a:gd name="connsiteX11346" fmla="*/ 7123826 w 8267681"/>
              <a:gd name="connsiteY11346" fmla="*/ 890188 h 6698675"/>
              <a:gd name="connsiteX11347" fmla="*/ 3822031 w 8267681"/>
              <a:gd name="connsiteY11347" fmla="*/ 870070 h 6698675"/>
              <a:gd name="connsiteX11348" fmla="*/ 3795607 w 8267681"/>
              <a:gd name="connsiteY11348" fmla="*/ 934808 h 6698675"/>
              <a:gd name="connsiteX11349" fmla="*/ 3840234 w 8267681"/>
              <a:gd name="connsiteY11349" fmla="*/ 892530 h 6698675"/>
              <a:gd name="connsiteX11350" fmla="*/ 3822031 w 8267681"/>
              <a:gd name="connsiteY11350" fmla="*/ 870070 h 6698675"/>
              <a:gd name="connsiteX11351" fmla="*/ 3802287 w 8267681"/>
              <a:gd name="connsiteY11351" fmla="*/ 839169 h 6698675"/>
              <a:gd name="connsiteX11352" fmla="*/ 3779166 w 8267681"/>
              <a:gd name="connsiteY11352" fmla="*/ 859647 h 6698675"/>
              <a:gd name="connsiteX11353" fmla="*/ 3809700 w 8267681"/>
              <a:gd name="connsiteY11353" fmla="*/ 866693 h 6698675"/>
              <a:gd name="connsiteX11354" fmla="*/ 3814397 w 8267681"/>
              <a:gd name="connsiteY11354" fmla="*/ 840858 h 6698675"/>
              <a:gd name="connsiteX11355" fmla="*/ 3802287 w 8267681"/>
              <a:gd name="connsiteY11355" fmla="*/ 839169 h 6698675"/>
              <a:gd name="connsiteX11356" fmla="*/ 6989946 w 8267681"/>
              <a:gd name="connsiteY11356" fmla="*/ 815021 h 6698675"/>
              <a:gd name="connsiteX11357" fmla="*/ 7069804 w 8267681"/>
              <a:gd name="connsiteY11357" fmla="*/ 817370 h 6698675"/>
              <a:gd name="connsiteX11358" fmla="*/ 7152011 w 8267681"/>
              <a:gd name="connsiteY11358" fmla="*/ 826765 h 6698675"/>
              <a:gd name="connsiteX11359" fmla="*/ 7231869 w 8267681"/>
              <a:gd name="connsiteY11359" fmla="*/ 840858 h 6698675"/>
              <a:gd name="connsiteX11360" fmla="*/ 7307031 w 8267681"/>
              <a:gd name="connsiteY11360" fmla="*/ 857299 h 6698675"/>
              <a:gd name="connsiteX11361" fmla="*/ 6846670 w 8267681"/>
              <a:gd name="connsiteY11361" fmla="*/ 866694 h 6698675"/>
              <a:gd name="connsiteX11362" fmla="*/ 6435634 w 8267681"/>
              <a:gd name="connsiteY11362" fmla="*/ 977094 h 6698675"/>
              <a:gd name="connsiteX11363" fmla="*/ 6365170 w 8267681"/>
              <a:gd name="connsiteY11363" fmla="*/ 1024062 h 6698675"/>
              <a:gd name="connsiteX11364" fmla="*/ 6846670 w 8267681"/>
              <a:gd name="connsiteY11364" fmla="*/ 866694 h 6698675"/>
              <a:gd name="connsiteX11365" fmla="*/ 7123826 w 8267681"/>
              <a:gd name="connsiteY11365" fmla="*/ 880787 h 6698675"/>
              <a:gd name="connsiteX11366" fmla="*/ 7119128 w 8267681"/>
              <a:gd name="connsiteY11366" fmla="*/ 880787 h 6698675"/>
              <a:gd name="connsiteX11367" fmla="*/ 6905389 w 8267681"/>
              <a:gd name="connsiteY11367" fmla="*/ 897228 h 6698675"/>
              <a:gd name="connsiteX11368" fmla="*/ 6536632 w 8267681"/>
              <a:gd name="connsiteY11368" fmla="*/ 974746 h 6698675"/>
              <a:gd name="connsiteX11369" fmla="*/ 6501400 w 8267681"/>
              <a:gd name="connsiteY11369" fmla="*/ 995881 h 6698675"/>
              <a:gd name="connsiteX11370" fmla="*/ 6430937 w 8267681"/>
              <a:gd name="connsiteY11370" fmla="*/ 1040505 h 6698675"/>
              <a:gd name="connsiteX11371" fmla="*/ 6719836 w 8267681"/>
              <a:gd name="connsiteY11371" fmla="*/ 934809 h 6698675"/>
              <a:gd name="connsiteX11372" fmla="*/ 6766812 w 8267681"/>
              <a:gd name="connsiteY11372" fmla="*/ 923065 h 6698675"/>
              <a:gd name="connsiteX11373" fmla="*/ 6813787 w 8267681"/>
              <a:gd name="connsiteY11373" fmla="*/ 913670 h 6698675"/>
              <a:gd name="connsiteX11374" fmla="*/ 6907738 w 8267681"/>
              <a:gd name="connsiteY11374" fmla="*/ 897228 h 6698675"/>
              <a:gd name="connsiteX11375" fmla="*/ 7029875 w 8267681"/>
              <a:gd name="connsiteY11375" fmla="*/ 901926 h 6698675"/>
              <a:gd name="connsiteX11376" fmla="*/ 7018131 w 8267681"/>
              <a:gd name="connsiteY11376" fmla="*/ 906623 h 6698675"/>
              <a:gd name="connsiteX11377" fmla="*/ 6952365 w 8267681"/>
              <a:gd name="connsiteY11377" fmla="*/ 951250 h 6698675"/>
              <a:gd name="connsiteX11378" fmla="*/ 6954714 w 8267681"/>
              <a:gd name="connsiteY11378" fmla="*/ 1005275 h 6698675"/>
              <a:gd name="connsiteX11379" fmla="*/ 7053363 w 8267681"/>
              <a:gd name="connsiteY11379" fmla="*/ 1000578 h 6698675"/>
              <a:gd name="connsiteX11380" fmla="*/ 7154360 w 8267681"/>
              <a:gd name="connsiteY11380" fmla="*/ 1000578 h 6698675"/>
              <a:gd name="connsiteX11381" fmla="*/ 7342262 w 8267681"/>
              <a:gd name="connsiteY11381" fmla="*/ 1014668 h 6698675"/>
              <a:gd name="connsiteX11382" fmla="*/ 7419772 w 8267681"/>
              <a:gd name="connsiteY11382" fmla="*/ 1026410 h 6698675"/>
              <a:gd name="connsiteX11383" fmla="*/ 7480840 w 8267681"/>
              <a:gd name="connsiteY11383" fmla="*/ 1035807 h 6698675"/>
              <a:gd name="connsiteX11384" fmla="*/ 7520770 w 8267681"/>
              <a:gd name="connsiteY11384" fmla="*/ 1045204 h 6698675"/>
              <a:gd name="connsiteX11385" fmla="*/ 7534862 w 8267681"/>
              <a:gd name="connsiteY11385" fmla="*/ 1049903 h 6698675"/>
              <a:gd name="connsiteX11386" fmla="*/ 7351657 w 8267681"/>
              <a:gd name="connsiteY11386" fmla="*/ 1042855 h 6698675"/>
              <a:gd name="connsiteX11387" fmla="*/ 7217777 w 8267681"/>
              <a:gd name="connsiteY11387" fmla="*/ 1040505 h 6698675"/>
              <a:gd name="connsiteX11388" fmla="*/ 7161406 w 8267681"/>
              <a:gd name="connsiteY11388" fmla="*/ 1045204 h 6698675"/>
              <a:gd name="connsiteX11389" fmla="*/ 7231869 w 8267681"/>
              <a:gd name="connsiteY11389" fmla="*/ 1056951 h 6698675"/>
              <a:gd name="connsiteX11390" fmla="*/ 7168453 w 8267681"/>
              <a:gd name="connsiteY11390" fmla="*/ 1068697 h 6698675"/>
              <a:gd name="connsiteX11391" fmla="*/ 7093292 w 8267681"/>
              <a:gd name="connsiteY11391" fmla="*/ 1071047 h 6698675"/>
              <a:gd name="connsiteX11392" fmla="*/ 7029875 w 8267681"/>
              <a:gd name="connsiteY11392" fmla="*/ 1080444 h 6698675"/>
              <a:gd name="connsiteX11393" fmla="*/ 6947668 w 8267681"/>
              <a:gd name="connsiteY11393" fmla="*/ 1108624 h 6698675"/>
              <a:gd name="connsiteX11394" fmla="*/ 6860763 w 8267681"/>
              <a:gd name="connsiteY11394" fmla="*/ 1132109 h 6698675"/>
              <a:gd name="connsiteX11395" fmla="*/ 6816136 w 8267681"/>
              <a:gd name="connsiteY11395" fmla="*/ 1143854 h 6698675"/>
              <a:gd name="connsiteX11396" fmla="*/ 6771509 w 8267681"/>
              <a:gd name="connsiteY11396" fmla="*/ 1157947 h 6698675"/>
              <a:gd name="connsiteX11397" fmla="*/ 6686953 w 8267681"/>
              <a:gd name="connsiteY11397" fmla="*/ 1195527 h 6698675"/>
              <a:gd name="connsiteX11398" fmla="*/ 6484958 w 8267681"/>
              <a:gd name="connsiteY11398" fmla="*/ 1366994 h 6698675"/>
              <a:gd name="connsiteX11399" fmla="*/ 6470865 w 8267681"/>
              <a:gd name="connsiteY11399" fmla="*/ 1402227 h 6698675"/>
              <a:gd name="connsiteX11400" fmla="*/ 6367519 w 8267681"/>
              <a:gd name="connsiteY11400" fmla="*/ 1467995 h 6698675"/>
              <a:gd name="connsiteX11401" fmla="*/ 6318195 w 8267681"/>
              <a:gd name="connsiteY11401" fmla="*/ 1550205 h 6698675"/>
              <a:gd name="connsiteX11402" fmla="*/ 6313498 w 8267681"/>
              <a:gd name="connsiteY11402" fmla="*/ 1554902 h 6698675"/>
              <a:gd name="connsiteX11403" fmla="*/ 6299405 w 8267681"/>
              <a:gd name="connsiteY11403" fmla="*/ 1573692 h 6698675"/>
              <a:gd name="connsiteX11404" fmla="*/ 6088015 w 8267681"/>
              <a:gd name="connsiteY11404" fmla="*/ 1848493 h 6698675"/>
              <a:gd name="connsiteX11405" fmla="*/ 6008156 w 8267681"/>
              <a:gd name="connsiteY11405" fmla="*/ 1942441 h 6698675"/>
              <a:gd name="connsiteX11406" fmla="*/ 6073922 w 8267681"/>
              <a:gd name="connsiteY11406" fmla="*/ 1874328 h 6698675"/>
              <a:gd name="connsiteX11407" fmla="*/ 6088015 w 8267681"/>
              <a:gd name="connsiteY11407" fmla="*/ 1850841 h 6698675"/>
              <a:gd name="connsiteX11408" fmla="*/ 6282963 w 8267681"/>
              <a:gd name="connsiteY11408" fmla="*/ 1611273 h 6698675"/>
              <a:gd name="connsiteX11409" fmla="*/ 6299405 w 8267681"/>
              <a:gd name="connsiteY11409" fmla="*/ 1576042 h 6698675"/>
              <a:gd name="connsiteX11410" fmla="*/ 6318195 w 8267681"/>
              <a:gd name="connsiteY11410" fmla="*/ 1564298 h 6698675"/>
              <a:gd name="connsiteX11411" fmla="*/ 6318195 w 8267681"/>
              <a:gd name="connsiteY11411" fmla="*/ 1552554 h 6698675"/>
              <a:gd name="connsiteX11412" fmla="*/ 6543678 w 8267681"/>
              <a:gd name="connsiteY11412" fmla="*/ 1357599 h 6698675"/>
              <a:gd name="connsiteX11413" fmla="*/ 6769160 w 8267681"/>
              <a:gd name="connsiteY11413" fmla="*/ 1254249 h 6698675"/>
              <a:gd name="connsiteX11414" fmla="*/ 7015782 w 8267681"/>
              <a:gd name="connsiteY11414" fmla="*/ 1209621 h 6698675"/>
              <a:gd name="connsiteX11415" fmla="*/ 6790299 w 8267681"/>
              <a:gd name="connsiteY11415" fmla="*/ 1296529 h 6698675"/>
              <a:gd name="connsiteX11416" fmla="*/ 7058060 w 8267681"/>
              <a:gd name="connsiteY11416" fmla="*/ 1207272 h 6698675"/>
              <a:gd name="connsiteX11417" fmla="*/ 7100338 w 8267681"/>
              <a:gd name="connsiteY11417" fmla="*/ 1204923 h 6698675"/>
              <a:gd name="connsiteX11418" fmla="*/ 7187243 w 8267681"/>
              <a:gd name="connsiteY11418" fmla="*/ 1200226 h 6698675"/>
              <a:gd name="connsiteX11419" fmla="*/ 7105036 w 8267681"/>
              <a:gd name="connsiteY11419" fmla="*/ 1197877 h 6698675"/>
              <a:gd name="connsiteX11420" fmla="*/ 7144965 w 8267681"/>
              <a:gd name="connsiteY11420" fmla="*/ 1190830 h 6698675"/>
              <a:gd name="connsiteX11421" fmla="*/ 7184894 w 8267681"/>
              <a:gd name="connsiteY11421" fmla="*/ 1183783 h 6698675"/>
              <a:gd name="connsiteX11422" fmla="*/ 7264753 w 8267681"/>
              <a:gd name="connsiteY11422" fmla="*/ 1174388 h 6698675"/>
              <a:gd name="connsiteX11423" fmla="*/ 7706323 w 8267681"/>
              <a:gd name="connsiteY11423" fmla="*/ 1200226 h 6698675"/>
              <a:gd name="connsiteX11424" fmla="*/ 8143196 w 8267681"/>
              <a:gd name="connsiteY11424" fmla="*/ 1247202 h 6698675"/>
              <a:gd name="connsiteX11425" fmla="*/ 8124405 w 8267681"/>
              <a:gd name="connsiteY11425" fmla="*/ 1249551 h 6698675"/>
              <a:gd name="connsiteX11426" fmla="*/ 7727462 w 8267681"/>
              <a:gd name="connsiteY11426" fmla="*/ 1233110 h 6698675"/>
              <a:gd name="connsiteX11427" fmla="*/ 7943550 w 8267681"/>
              <a:gd name="connsiteY11427" fmla="*/ 1247202 h 6698675"/>
              <a:gd name="connsiteX11428" fmla="*/ 7936503 w 8267681"/>
              <a:gd name="connsiteY11428" fmla="*/ 1249551 h 6698675"/>
              <a:gd name="connsiteX11429" fmla="*/ 8103266 w 8267681"/>
              <a:gd name="connsiteY11429" fmla="*/ 1251900 h 6698675"/>
              <a:gd name="connsiteX11430" fmla="*/ 8044547 w 8267681"/>
              <a:gd name="connsiteY11430" fmla="*/ 1263644 h 6698675"/>
              <a:gd name="connsiteX11431" fmla="*/ 7934155 w 8267681"/>
              <a:gd name="connsiteY11431" fmla="*/ 1254249 h 6698675"/>
              <a:gd name="connsiteX11432" fmla="*/ 7656999 w 8267681"/>
              <a:gd name="connsiteY11432" fmla="*/ 1247202 h 6698675"/>
              <a:gd name="connsiteX11433" fmla="*/ 7384540 w 8267681"/>
              <a:gd name="connsiteY11433" fmla="*/ 1244854 h 6698675"/>
              <a:gd name="connsiteX11434" fmla="*/ 7144965 w 8267681"/>
              <a:gd name="connsiteY11434" fmla="*/ 1249551 h 6698675"/>
              <a:gd name="connsiteX11435" fmla="*/ 6912436 w 8267681"/>
              <a:gd name="connsiteY11435" fmla="*/ 1287133 h 6698675"/>
              <a:gd name="connsiteX11436" fmla="*/ 7349308 w 8267681"/>
              <a:gd name="connsiteY11436" fmla="*/ 1193178 h 6698675"/>
              <a:gd name="connsiteX11437" fmla="*/ 7116779 w 8267681"/>
              <a:gd name="connsiteY11437" fmla="*/ 1221365 h 6698675"/>
              <a:gd name="connsiteX11438" fmla="*/ 7006387 w 8267681"/>
              <a:gd name="connsiteY11438" fmla="*/ 1249551 h 6698675"/>
              <a:gd name="connsiteX11439" fmla="*/ 6903040 w 8267681"/>
              <a:gd name="connsiteY11439" fmla="*/ 1289481 h 6698675"/>
              <a:gd name="connsiteX11440" fmla="*/ 6240685 w 8267681"/>
              <a:gd name="connsiteY11440" fmla="*/ 1749847 h 6698675"/>
              <a:gd name="connsiteX11441" fmla="*/ 6092712 w 8267681"/>
              <a:gd name="connsiteY11441" fmla="*/ 1963579 h 6698675"/>
              <a:gd name="connsiteX11442" fmla="*/ 6118549 w 8267681"/>
              <a:gd name="connsiteY11442" fmla="*/ 1965928 h 6698675"/>
              <a:gd name="connsiteX11443" fmla="*/ 6235987 w 8267681"/>
              <a:gd name="connsiteY11443" fmla="*/ 1843795 h 6698675"/>
              <a:gd name="connsiteX11444" fmla="*/ 6153780 w 8267681"/>
              <a:gd name="connsiteY11444" fmla="*/ 1968276 h 6698675"/>
              <a:gd name="connsiteX11445" fmla="*/ 6179617 w 8267681"/>
              <a:gd name="connsiteY11445" fmla="*/ 1970625 h 6698675"/>
              <a:gd name="connsiteX11446" fmla="*/ 6193710 w 8267681"/>
              <a:gd name="connsiteY11446" fmla="*/ 1972974 h 6698675"/>
              <a:gd name="connsiteX11447" fmla="*/ 6306451 w 8267681"/>
              <a:gd name="connsiteY11447" fmla="*/ 1850841 h 6698675"/>
              <a:gd name="connsiteX11448" fmla="*/ 6226592 w 8267681"/>
              <a:gd name="connsiteY11448" fmla="*/ 1977673 h 6698675"/>
              <a:gd name="connsiteX11449" fmla="*/ 6224244 w 8267681"/>
              <a:gd name="connsiteY11449" fmla="*/ 1982369 h 6698675"/>
              <a:gd name="connsiteX11450" fmla="*/ 6275917 w 8267681"/>
              <a:gd name="connsiteY11450" fmla="*/ 1989415 h 6698675"/>
              <a:gd name="connsiteX11451" fmla="*/ 6285312 w 8267681"/>
              <a:gd name="connsiteY11451" fmla="*/ 1991764 h 6698675"/>
              <a:gd name="connsiteX11452" fmla="*/ 6247731 w 8267681"/>
              <a:gd name="connsiteY11452" fmla="*/ 1989415 h 6698675"/>
              <a:gd name="connsiteX11453" fmla="*/ 6219546 w 8267681"/>
              <a:gd name="connsiteY11453" fmla="*/ 1987067 h 6698675"/>
              <a:gd name="connsiteX11454" fmla="*/ 6212500 w 8267681"/>
              <a:gd name="connsiteY11454" fmla="*/ 1998811 h 6698675"/>
              <a:gd name="connsiteX11455" fmla="*/ 6228080 w 8267681"/>
              <a:gd name="connsiteY11455" fmla="*/ 2000936 h 6698675"/>
              <a:gd name="connsiteX11456" fmla="*/ 6243036 w 8267681"/>
              <a:gd name="connsiteY11456" fmla="*/ 2001169 h 6698675"/>
              <a:gd name="connsiteX11457" fmla="*/ 6261167 w 8267681"/>
              <a:gd name="connsiteY11457" fmla="*/ 2004832 h 6698675"/>
              <a:gd name="connsiteX11458" fmla="*/ 6253963 w 8267681"/>
              <a:gd name="connsiteY11458" fmla="*/ 2004465 h 6698675"/>
              <a:gd name="connsiteX11459" fmla="*/ 6264173 w 8267681"/>
              <a:gd name="connsiteY11459" fmla="*/ 2005860 h 6698675"/>
              <a:gd name="connsiteX11460" fmla="*/ 6294316 w 8267681"/>
              <a:gd name="connsiteY11460" fmla="*/ 2010163 h 6698675"/>
              <a:gd name="connsiteX11461" fmla="*/ 6268870 w 8267681"/>
              <a:gd name="connsiteY11461" fmla="*/ 2008212 h 6698675"/>
              <a:gd name="connsiteX11462" fmla="*/ 6207803 w 8267681"/>
              <a:gd name="connsiteY11462" fmla="*/ 2001159 h 6698675"/>
              <a:gd name="connsiteX11463" fmla="*/ 6205454 w 8267681"/>
              <a:gd name="connsiteY11463" fmla="*/ 2005860 h 6698675"/>
              <a:gd name="connsiteX11464" fmla="*/ 6271219 w 8267681"/>
              <a:gd name="connsiteY11464" fmla="*/ 2012900 h 6698675"/>
              <a:gd name="connsiteX11465" fmla="*/ 6275917 w 8267681"/>
              <a:gd name="connsiteY11465" fmla="*/ 2012900 h 6698675"/>
              <a:gd name="connsiteX11466" fmla="*/ 6623536 w 8267681"/>
              <a:gd name="connsiteY11466" fmla="*/ 2104502 h 6698675"/>
              <a:gd name="connsiteX11467" fmla="*/ 6783253 w 8267681"/>
              <a:gd name="connsiteY11467" fmla="*/ 2185812 h 6698675"/>
              <a:gd name="connsiteX11468" fmla="*/ 6843634 w 8267681"/>
              <a:gd name="connsiteY11468" fmla="*/ 2229036 h 6698675"/>
              <a:gd name="connsiteX11469" fmla="*/ 6832714 w 8267681"/>
              <a:gd name="connsiteY11469" fmla="*/ 2222483 h 6698675"/>
              <a:gd name="connsiteX11470" fmla="*/ 6825531 w 8267681"/>
              <a:gd name="connsiteY11470" fmla="*/ 2217233 h 6698675"/>
              <a:gd name="connsiteX11471" fmla="*/ 6784813 w 8267681"/>
              <a:gd name="connsiteY11471" fmla="*/ 2193739 h 6698675"/>
              <a:gd name="connsiteX11472" fmla="*/ 6769158 w 8267681"/>
              <a:gd name="connsiteY11472" fmla="*/ 2184346 h 6698675"/>
              <a:gd name="connsiteX11473" fmla="*/ 6769160 w 8267681"/>
              <a:gd name="connsiteY11473" fmla="*/ 2184346 h 6698675"/>
              <a:gd name="connsiteX11474" fmla="*/ 6733929 w 8267681"/>
              <a:gd name="connsiteY11474" fmla="*/ 2163216 h 6698675"/>
              <a:gd name="connsiteX11475" fmla="*/ 6769158 w 8267681"/>
              <a:gd name="connsiteY11475" fmla="*/ 2184346 h 6698675"/>
              <a:gd name="connsiteX11476" fmla="*/ 6764463 w 8267681"/>
              <a:gd name="connsiteY11476" fmla="*/ 2181994 h 6698675"/>
              <a:gd name="connsiteX11477" fmla="*/ 6784813 w 8267681"/>
              <a:gd name="connsiteY11477" fmla="*/ 2193739 h 6698675"/>
              <a:gd name="connsiteX11478" fmla="*/ 6832714 w 8267681"/>
              <a:gd name="connsiteY11478" fmla="*/ 2222483 h 6698675"/>
              <a:gd name="connsiteX11479" fmla="*/ 6886599 w 8267681"/>
              <a:gd name="connsiteY11479" fmla="*/ 2261861 h 6698675"/>
              <a:gd name="connsiteX11480" fmla="*/ 6844321 w 8267681"/>
              <a:gd name="connsiteY11480" fmla="*/ 2233674 h 6698675"/>
              <a:gd name="connsiteX11481" fmla="*/ 6757417 w 8267681"/>
              <a:gd name="connsiteY11481" fmla="*/ 2181994 h 6698675"/>
              <a:gd name="connsiteX11482" fmla="*/ 6646877 w 8267681"/>
              <a:gd name="connsiteY11482" fmla="*/ 2130274 h 6698675"/>
              <a:gd name="connsiteX11483" fmla="*/ 6614219 w 8267681"/>
              <a:gd name="connsiteY11483" fmla="*/ 2118772 h 6698675"/>
              <a:gd name="connsiteX11484" fmla="*/ 6602397 w 8267681"/>
              <a:gd name="connsiteY11484" fmla="*/ 2113904 h 6698675"/>
              <a:gd name="connsiteX11485" fmla="*/ 6562468 w 8267681"/>
              <a:gd name="connsiteY11485" fmla="*/ 2099806 h 6698675"/>
              <a:gd name="connsiteX11486" fmla="*/ 6522539 w 8267681"/>
              <a:gd name="connsiteY11486" fmla="*/ 2085712 h 6698675"/>
              <a:gd name="connsiteX11487" fmla="*/ 6482609 w 8267681"/>
              <a:gd name="connsiteY11487" fmla="*/ 2073967 h 6698675"/>
              <a:gd name="connsiteX11488" fmla="*/ 6405100 w 8267681"/>
              <a:gd name="connsiteY11488" fmla="*/ 2055183 h 6698675"/>
              <a:gd name="connsiteX11489" fmla="*/ 6327590 w 8267681"/>
              <a:gd name="connsiteY11489" fmla="*/ 2041088 h 6698675"/>
              <a:gd name="connsiteX11490" fmla="*/ 6294707 w 8267681"/>
              <a:gd name="connsiteY11490" fmla="*/ 2036390 h 6698675"/>
              <a:gd name="connsiteX11491" fmla="*/ 6261824 w 8267681"/>
              <a:gd name="connsiteY11491" fmla="*/ 2034040 h 6698675"/>
              <a:gd name="connsiteX11492" fmla="*/ 6264173 w 8267681"/>
              <a:gd name="connsiteY11492" fmla="*/ 2036390 h 6698675"/>
              <a:gd name="connsiteX11493" fmla="*/ 6278408 w 8267681"/>
              <a:gd name="connsiteY11493" fmla="*/ 2038855 h 6698675"/>
              <a:gd name="connsiteX11494" fmla="*/ 6189012 w 8267681"/>
              <a:gd name="connsiteY11494" fmla="*/ 2029341 h 6698675"/>
              <a:gd name="connsiteX11495" fmla="*/ 6186663 w 8267681"/>
              <a:gd name="connsiteY11495" fmla="*/ 2034040 h 6698675"/>
              <a:gd name="connsiteX11496" fmla="*/ 6257126 w 8267681"/>
              <a:gd name="connsiteY11496" fmla="*/ 2041088 h 6698675"/>
              <a:gd name="connsiteX11497" fmla="*/ 6186663 w 8267681"/>
              <a:gd name="connsiteY11497" fmla="*/ 2036390 h 6698675"/>
              <a:gd name="connsiteX11498" fmla="*/ 6090364 w 8267681"/>
              <a:gd name="connsiteY11498" fmla="*/ 2198442 h 6698675"/>
              <a:gd name="connsiteX11499" fmla="*/ 6010505 w 8267681"/>
              <a:gd name="connsiteY11499" fmla="*/ 2327621 h 6698675"/>
              <a:gd name="connsiteX11500" fmla="*/ 6109154 w 8267681"/>
              <a:gd name="connsiteY11500" fmla="*/ 2064576 h 6698675"/>
              <a:gd name="connsiteX11501" fmla="*/ 6130684 w 8267681"/>
              <a:gd name="connsiteY11501" fmla="*/ 2041088 h 6698675"/>
              <a:gd name="connsiteX11502" fmla="*/ 6134990 w 8267681"/>
              <a:gd name="connsiteY11502" fmla="*/ 2041088 h 6698675"/>
              <a:gd name="connsiteX11503" fmla="*/ 6139687 w 8267681"/>
              <a:gd name="connsiteY11503" fmla="*/ 2036390 h 6698675"/>
              <a:gd name="connsiteX11504" fmla="*/ 6134990 w 8267681"/>
              <a:gd name="connsiteY11504" fmla="*/ 2036390 h 6698675"/>
              <a:gd name="connsiteX11505" fmla="*/ 6130684 w 8267681"/>
              <a:gd name="connsiteY11505" fmla="*/ 2041088 h 6698675"/>
              <a:gd name="connsiteX11506" fmla="*/ 6106805 w 8267681"/>
              <a:gd name="connsiteY11506" fmla="*/ 2041088 h 6698675"/>
              <a:gd name="connsiteX11507" fmla="*/ 6111503 w 8267681"/>
              <a:gd name="connsiteY11507" fmla="*/ 2036390 h 6698675"/>
              <a:gd name="connsiteX11508" fmla="*/ 6106805 w 8267681"/>
              <a:gd name="connsiteY11508" fmla="*/ 2036390 h 6698675"/>
              <a:gd name="connsiteX11509" fmla="*/ 6003459 w 8267681"/>
              <a:gd name="connsiteY11509" fmla="*/ 2203143 h 6698675"/>
              <a:gd name="connsiteX11510" fmla="*/ 6029589 w 8267681"/>
              <a:gd name="connsiteY11510" fmla="*/ 2118012 h 6698675"/>
              <a:gd name="connsiteX11511" fmla="*/ 6062516 w 8267681"/>
              <a:gd name="connsiteY11511" fmla="*/ 2041088 h 6698675"/>
              <a:gd name="connsiteX11512" fmla="*/ 6064527 w 8267681"/>
              <a:gd name="connsiteY11512" fmla="*/ 2041088 h 6698675"/>
              <a:gd name="connsiteX11513" fmla="*/ 6069224 w 8267681"/>
              <a:gd name="connsiteY11513" fmla="*/ 2036390 h 6698675"/>
              <a:gd name="connsiteX11514" fmla="*/ 6064527 w 8267681"/>
              <a:gd name="connsiteY11514" fmla="*/ 2036390 h 6698675"/>
              <a:gd name="connsiteX11515" fmla="*/ 6062516 w 8267681"/>
              <a:gd name="connsiteY11515" fmla="*/ 2041088 h 6698675"/>
              <a:gd name="connsiteX11516" fmla="*/ 6062178 w 8267681"/>
              <a:gd name="connsiteY11516" fmla="*/ 2041088 h 6698675"/>
              <a:gd name="connsiteX11517" fmla="*/ 6041039 w 8267681"/>
              <a:gd name="connsiteY11517" fmla="*/ 2041088 h 6698675"/>
              <a:gd name="connsiteX11518" fmla="*/ 6045736 w 8267681"/>
              <a:gd name="connsiteY11518" fmla="*/ 2036390 h 6698675"/>
              <a:gd name="connsiteX11519" fmla="*/ 6041039 w 8267681"/>
              <a:gd name="connsiteY11519" fmla="*/ 2036390 h 6698675"/>
              <a:gd name="connsiteX11520" fmla="*/ 6008156 w 8267681"/>
              <a:gd name="connsiteY11520" fmla="*/ 2088062 h 6698675"/>
              <a:gd name="connsiteX11521" fmla="*/ 5890717 w 8267681"/>
              <a:gd name="connsiteY11521" fmla="*/ 2334671 h 6698675"/>
              <a:gd name="connsiteX11522" fmla="*/ 5749790 w 8267681"/>
              <a:gd name="connsiteY11522" fmla="*/ 1843795 h 6698675"/>
              <a:gd name="connsiteX11523" fmla="*/ 5510215 w 8267681"/>
              <a:gd name="connsiteY11523" fmla="*/ 1815611 h 6698675"/>
              <a:gd name="connsiteX11524" fmla="*/ 5632351 w 8267681"/>
              <a:gd name="connsiteY11524" fmla="*/ 1639458 h 6698675"/>
              <a:gd name="connsiteX11525" fmla="*/ 5634700 w 8267681"/>
              <a:gd name="connsiteY11525" fmla="*/ 1597181 h 6698675"/>
              <a:gd name="connsiteX11526" fmla="*/ 5850788 w 8267681"/>
              <a:gd name="connsiteY11526" fmla="*/ 1371692 h 6698675"/>
              <a:gd name="connsiteX11527" fmla="*/ 5893359 w 8267681"/>
              <a:gd name="connsiteY11527" fmla="*/ 1320017 h 6698675"/>
              <a:gd name="connsiteX11528" fmla="*/ 5911403 w 8267681"/>
              <a:gd name="connsiteY11528" fmla="*/ 1291601 h 6698675"/>
              <a:gd name="connsiteX11529" fmla="*/ 5798602 w 8267681"/>
              <a:gd name="connsiteY11529" fmla="*/ 1399841 h 6698675"/>
              <a:gd name="connsiteX11530" fmla="*/ 5470286 w 8267681"/>
              <a:gd name="connsiteY11530" fmla="*/ 1820308 h 6698675"/>
              <a:gd name="connsiteX11531" fmla="*/ 5453845 w 8267681"/>
              <a:gd name="connsiteY11531" fmla="*/ 1820308 h 6698675"/>
              <a:gd name="connsiteX11532" fmla="*/ 5521959 w 8267681"/>
              <a:gd name="connsiteY11532" fmla="*/ 1726360 h 6698675"/>
              <a:gd name="connsiteX11533" fmla="*/ 5547796 w 8267681"/>
              <a:gd name="connsiteY11533" fmla="*/ 1674688 h 6698675"/>
              <a:gd name="connsiteX11534" fmla="*/ 5571285 w 8267681"/>
              <a:gd name="connsiteY11534" fmla="*/ 1620668 h 6698675"/>
              <a:gd name="connsiteX11535" fmla="*/ 5639399 w 8267681"/>
              <a:gd name="connsiteY11535" fmla="*/ 1510273 h 6698675"/>
              <a:gd name="connsiteX11536" fmla="*/ 5728653 w 8267681"/>
              <a:gd name="connsiteY11536" fmla="*/ 1409273 h 6698675"/>
              <a:gd name="connsiteX11537" fmla="*/ 5831999 w 8267681"/>
              <a:gd name="connsiteY11537" fmla="*/ 1317667 h 6698675"/>
              <a:gd name="connsiteX11538" fmla="*/ 5951787 w 8267681"/>
              <a:gd name="connsiteY11538" fmla="*/ 1237807 h 6698675"/>
              <a:gd name="connsiteX11539" fmla="*/ 5943164 w 8267681"/>
              <a:gd name="connsiteY11539" fmla="*/ 1251604 h 6698675"/>
              <a:gd name="connsiteX11540" fmla="*/ 6149083 w 8267681"/>
              <a:gd name="connsiteY11540" fmla="*/ 1092184 h 6698675"/>
              <a:gd name="connsiteX11541" fmla="*/ 6400402 w 8267681"/>
              <a:gd name="connsiteY11541" fmla="*/ 953598 h 6698675"/>
              <a:gd name="connsiteX11542" fmla="*/ 6989946 w 8267681"/>
              <a:gd name="connsiteY11542" fmla="*/ 815021 h 6698675"/>
              <a:gd name="connsiteX11543" fmla="*/ 3320273 w 8267681"/>
              <a:gd name="connsiteY11543" fmla="*/ 792671 h 6698675"/>
              <a:gd name="connsiteX11544" fmla="*/ 3316456 w 8267681"/>
              <a:gd name="connsiteY11544" fmla="*/ 796231 h 6698675"/>
              <a:gd name="connsiteX11545" fmla="*/ 3328200 w 8267681"/>
              <a:gd name="connsiteY11545" fmla="*/ 800929 h 6698675"/>
              <a:gd name="connsiteX11546" fmla="*/ 3320273 w 8267681"/>
              <a:gd name="connsiteY11546" fmla="*/ 792671 h 6698675"/>
              <a:gd name="connsiteX11547" fmla="*/ 3431546 w 8267681"/>
              <a:gd name="connsiteY11547" fmla="*/ 779790 h 6698675"/>
              <a:gd name="connsiteX11548" fmla="*/ 3431546 w 8267681"/>
              <a:gd name="connsiteY11548" fmla="*/ 779790 h 6698675"/>
              <a:gd name="connsiteX11549" fmla="*/ 2012904 w 8267681"/>
              <a:gd name="connsiteY11549" fmla="*/ 704672 h 6698675"/>
              <a:gd name="connsiteX11550" fmla="*/ 2005859 w 8267681"/>
              <a:gd name="connsiteY11550" fmla="*/ 714067 h 6698675"/>
              <a:gd name="connsiteX11551" fmla="*/ 2012904 w 8267681"/>
              <a:gd name="connsiteY11551" fmla="*/ 704672 h 6698675"/>
              <a:gd name="connsiteX11552" fmla="*/ 2024651 w 8267681"/>
              <a:gd name="connsiteY11552" fmla="*/ 697626 h 6698675"/>
              <a:gd name="connsiteX11553" fmla="*/ 2019952 w 8267681"/>
              <a:gd name="connsiteY11553" fmla="*/ 704672 h 6698675"/>
              <a:gd name="connsiteX11554" fmla="*/ 2015252 w 8267681"/>
              <a:gd name="connsiteY11554" fmla="*/ 709370 h 6698675"/>
              <a:gd name="connsiteX11555" fmla="*/ 1984501 w 8267681"/>
              <a:gd name="connsiteY11555" fmla="*/ 694786 h 6698675"/>
              <a:gd name="connsiteX11556" fmla="*/ 1984522 w 8267681"/>
              <a:gd name="connsiteY11556" fmla="*/ 695081 h 6698675"/>
              <a:gd name="connsiteX11557" fmla="*/ 1982373 w 8267681"/>
              <a:gd name="connsiteY11557" fmla="*/ 697626 h 6698675"/>
              <a:gd name="connsiteX11558" fmla="*/ 2017601 w 8267681"/>
              <a:gd name="connsiteY11558" fmla="*/ 690580 h 6698675"/>
              <a:gd name="connsiteX11559" fmla="*/ 2017253 w 8267681"/>
              <a:gd name="connsiteY11559" fmla="*/ 691103 h 6698675"/>
              <a:gd name="connsiteX11560" fmla="*/ 2015268 w 8267681"/>
              <a:gd name="connsiteY11560" fmla="*/ 692918 h 6698675"/>
              <a:gd name="connsiteX11561" fmla="*/ 1989417 w 8267681"/>
              <a:gd name="connsiteY11561" fmla="*/ 688231 h 6698675"/>
              <a:gd name="connsiteX11562" fmla="*/ 1984501 w 8267681"/>
              <a:gd name="connsiteY11562" fmla="*/ 694786 h 6698675"/>
              <a:gd name="connsiteX11563" fmla="*/ 1984426 w 8267681"/>
              <a:gd name="connsiteY11563" fmla="*/ 693809 h 6698675"/>
              <a:gd name="connsiteX11564" fmla="*/ 1989417 w 8267681"/>
              <a:gd name="connsiteY11564" fmla="*/ 688231 h 6698675"/>
              <a:gd name="connsiteX11565" fmla="*/ 2022005 w 8267681"/>
              <a:gd name="connsiteY11565" fmla="*/ 686763 h 6698675"/>
              <a:gd name="connsiteX11566" fmla="*/ 2019952 w 8267681"/>
              <a:gd name="connsiteY11566" fmla="*/ 692928 h 6698675"/>
              <a:gd name="connsiteX11567" fmla="*/ 2005859 w 8267681"/>
              <a:gd name="connsiteY11567" fmla="*/ 707021 h 6698675"/>
              <a:gd name="connsiteX11568" fmla="*/ 2014116 w 8267681"/>
              <a:gd name="connsiteY11568" fmla="*/ 695791 h 6698675"/>
              <a:gd name="connsiteX11569" fmla="*/ 2017253 w 8267681"/>
              <a:gd name="connsiteY11569" fmla="*/ 691103 h 6698675"/>
              <a:gd name="connsiteX11570" fmla="*/ 1956531 w 8267681"/>
              <a:gd name="connsiteY11570" fmla="*/ 683533 h 6698675"/>
              <a:gd name="connsiteX11571" fmla="*/ 1949488 w 8267681"/>
              <a:gd name="connsiteY11571" fmla="*/ 690579 h 6698675"/>
              <a:gd name="connsiteX11572" fmla="*/ 1940096 w 8267681"/>
              <a:gd name="connsiteY11572" fmla="*/ 692928 h 6698675"/>
              <a:gd name="connsiteX11573" fmla="*/ 1956531 w 8267681"/>
              <a:gd name="connsiteY11573" fmla="*/ 683533 h 6698675"/>
              <a:gd name="connsiteX11574" fmla="*/ 1945933 w 8267681"/>
              <a:gd name="connsiteY11574" fmla="*/ 668858 h 6698675"/>
              <a:gd name="connsiteX11575" fmla="*/ 1946078 w 8267681"/>
              <a:gd name="connsiteY11575" fmla="*/ 668928 h 6698675"/>
              <a:gd name="connsiteX11576" fmla="*/ 1944790 w 8267681"/>
              <a:gd name="connsiteY11576" fmla="*/ 669441 h 6698675"/>
              <a:gd name="connsiteX11577" fmla="*/ 1945651 w 8267681"/>
              <a:gd name="connsiteY11577" fmla="*/ 668723 h 6698675"/>
              <a:gd name="connsiteX11578" fmla="*/ 1945805 w 8267681"/>
              <a:gd name="connsiteY11578" fmla="*/ 668797 h 6698675"/>
              <a:gd name="connsiteX11579" fmla="*/ 1944790 w 8267681"/>
              <a:gd name="connsiteY11579" fmla="*/ 669441 h 6698675"/>
              <a:gd name="connsiteX11580" fmla="*/ 1968277 w 8267681"/>
              <a:gd name="connsiteY11580" fmla="*/ 660046 h 6698675"/>
              <a:gd name="connsiteX11581" fmla="*/ 1958316 w 8267681"/>
              <a:gd name="connsiteY11581" fmla="*/ 666272 h 6698675"/>
              <a:gd name="connsiteX11582" fmla="*/ 1947140 w 8267681"/>
              <a:gd name="connsiteY11582" fmla="*/ 669441 h 6698675"/>
              <a:gd name="connsiteX11583" fmla="*/ 1946078 w 8267681"/>
              <a:gd name="connsiteY11583" fmla="*/ 668928 h 6698675"/>
              <a:gd name="connsiteX11584" fmla="*/ 1953013 w 8267681"/>
              <a:gd name="connsiteY11584" fmla="*/ 658664 h 6698675"/>
              <a:gd name="connsiteX11585" fmla="*/ 1952616 w 8267681"/>
              <a:gd name="connsiteY11585" fmla="*/ 658894 h 6698675"/>
              <a:gd name="connsiteX11586" fmla="*/ 1947140 w 8267681"/>
              <a:gd name="connsiteY11586" fmla="*/ 660046 h 6698675"/>
              <a:gd name="connsiteX11587" fmla="*/ 1959889 w 8267681"/>
              <a:gd name="connsiteY11587" fmla="*/ 657362 h 6698675"/>
              <a:gd name="connsiteX11588" fmla="*/ 1957342 w 8267681"/>
              <a:gd name="connsiteY11588" fmla="*/ 659202 h 6698675"/>
              <a:gd name="connsiteX11589" fmla="*/ 1953599 w 8267681"/>
              <a:gd name="connsiteY11589" fmla="*/ 662101 h 6698675"/>
              <a:gd name="connsiteX11590" fmla="*/ 1945651 w 8267681"/>
              <a:gd name="connsiteY11590" fmla="*/ 668723 h 6698675"/>
              <a:gd name="connsiteX11591" fmla="*/ 1938626 w 8267681"/>
              <a:gd name="connsiteY11591" fmla="*/ 665330 h 6698675"/>
              <a:gd name="connsiteX11592" fmla="*/ 1942441 w 8267681"/>
              <a:gd name="connsiteY11592" fmla="*/ 664743 h 6698675"/>
              <a:gd name="connsiteX11593" fmla="*/ 1952616 w 8267681"/>
              <a:gd name="connsiteY11593" fmla="*/ 658894 h 6698675"/>
              <a:gd name="connsiteX11594" fmla="*/ 1970625 w 8267681"/>
              <a:gd name="connsiteY11594" fmla="*/ 655348 h 6698675"/>
              <a:gd name="connsiteX11595" fmla="*/ 1956829 w 8267681"/>
              <a:gd name="connsiteY11595" fmla="*/ 663276 h 6698675"/>
              <a:gd name="connsiteX11596" fmla="*/ 1945933 w 8267681"/>
              <a:gd name="connsiteY11596" fmla="*/ 668858 h 6698675"/>
              <a:gd name="connsiteX11597" fmla="*/ 1945805 w 8267681"/>
              <a:gd name="connsiteY11597" fmla="*/ 668797 h 6698675"/>
              <a:gd name="connsiteX11598" fmla="*/ 1949821 w 8267681"/>
              <a:gd name="connsiteY11598" fmla="*/ 666248 h 6698675"/>
              <a:gd name="connsiteX11599" fmla="*/ 1970625 w 8267681"/>
              <a:gd name="connsiteY11599" fmla="*/ 655348 h 6698675"/>
              <a:gd name="connsiteX11600" fmla="*/ 1962649 w 8267681"/>
              <a:gd name="connsiteY11600" fmla="*/ 654393 h 6698675"/>
              <a:gd name="connsiteX11601" fmla="*/ 1963435 w 8267681"/>
              <a:gd name="connsiteY11601" fmla="*/ 654761 h 6698675"/>
              <a:gd name="connsiteX11602" fmla="*/ 1963504 w 8267681"/>
              <a:gd name="connsiteY11602" fmla="*/ 654751 h 6698675"/>
              <a:gd name="connsiteX11603" fmla="*/ 1960538 w 8267681"/>
              <a:gd name="connsiteY11603" fmla="*/ 656894 h 6698675"/>
              <a:gd name="connsiteX11604" fmla="*/ 1953013 w 8267681"/>
              <a:gd name="connsiteY11604" fmla="*/ 658664 h 6698675"/>
              <a:gd name="connsiteX11605" fmla="*/ 1954188 w 8267681"/>
              <a:gd name="connsiteY11605" fmla="*/ 657991 h 6698675"/>
              <a:gd name="connsiteX11606" fmla="*/ 2123295 w 8267681"/>
              <a:gd name="connsiteY11606" fmla="*/ 615420 h 6698675"/>
              <a:gd name="connsiteX11607" fmla="*/ 2125642 w 8267681"/>
              <a:gd name="connsiteY11607" fmla="*/ 620117 h 6698675"/>
              <a:gd name="connsiteX11608" fmla="*/ 2123295 w 8267681"/>
              <a:gd name="connsiteY11608" fmla="*/ 620117 h 6698675"/>
              <a:gd name="connsiteX11609" fmla="*/ 2119001 w 8267681"/>
              <a:gd name="connsiteY11609" fmla="*/ 618466 h 6698675"/>
              <a:gd name="connsiteX11610" fmla="*/ 2121705 w 8267681"/>
              <a:gd name="connsiteY11610" fmla="*/ 616273 h 6698675"/>
              <a:gd name="connsiteX11611" fmla="*/ 2100396 w 8267681"/>
              <a:gd name="connsiteY11611" fmla="*/ 579895 h 6698675"/>
              <a:gd name="connsiteX11612" fmla="*/ 2099809 w 8267681"/>
              <a:gd name="connsiteY11612" fmla="*/ 584887 h 6698675"/>
              <a:gd name="connsiteX11613" fmla="*/ 2092764 w 8267681"/>
              <a:gd name="connsiteY11613" fmla="*/ 591932 h 6698675"/>
              <a:gd name="connsiteX11614" fmla="*/ 2088066 w 8267681"/>
              <a:gd name="connsiteY11614" fmla="*/ 594281 h 6698675"/>
              <a:gd name="connsiteX11615" fmla="*/ 2095114 w 8267681"/>
              <a:gd name="connsiteY11615" fmla="*/ 587234 h 6698675"/>
              <a:gd name="connsiteX11616" fmla="*/ 2092091 w 8267681"/>
              <a:gd name="connsiteY11616" fmla="*/ 589248 h 6698675"/>
              <a:gd name="connsiteX11617" fmla="*/ 2097459 w 8267681"/>
              <a:gd name="connsiteY11617" fmla="*/ 582541 h 6698675"/>
              <a:gd name="connsiteX11618" fmla="*/ 2097464 w 8267681"/>
              <a:gd name="connsiteY11618" fmla="*/ 582538 h 6698675"/>
              <a:gd name="connsiteX11619" fmla="*/ 2097464 w 8267681"/>
              <a:gd name="connsiteY11619" fmla="*/ 582537 h 6698675"/>
              <a:gd name="connsiteX11620" fmla="*/ 2100071 w 8267681"/>
              <a:gd name="connsiteY11620" fmla="*/ 579927 h 6698675"/>
              <a:gd name="connsiteX11621" fmla="*/ 2027882 w 8267681"/>
              <a:gd name="connsiteY11621" fmla="*/ 547306 h 6698675"/>
              <a:gd name="connsiteX11622" fmla="*/ 2029347 w 8267681"/>
              <a:gd name="connsiteY11622" fmla="*/ 549655 h 6698675"/>
              <a:gd name="connsiteX11623" fmla="*/ 2028133 w 8267681"/>
              <a:gd name="connsiteY11623" fmla="*/ 552412 h 6698675"/>
              <a:gd name="connsiteX11624" fmla="*/ 2027882 w 8267681"/>
              <a:gd name="connsiteY11624" fmla="*/ 552004 h 6698675"/>
              <a:gd name="connsiteX11625" fmla="*/ 2025617 w 8267681"/>
              <a:gd name="connsiteY11625" fmla="*/ 555293 h 6698675"/>
              <a:gd name="connsiteX11626" fmla="*/ 2024651 w 8267681"/>
              <a:gd name="connsiteY11626" fmla="*/ 552004 h 6698675"/>
              <a:gd name="connsiteX11627" fmla="*/ 2027882 w 8267681"/>
              <a:gd name="connsiteY11627" fmla="*/ 547306 h 6698675"/>
              <a:gd name="connsiteX11628" fmla="*/ 2057532 w 8267681"/>
              <a:gd name="connsiteY11628" fmla="*/ 542608 h 6698675"/>
              <a:gd name="connsiteX11629" fmla="*/ 2059879 w 8267681"/>
              <a:gd name="connsiteY11629" fmla="*/ 542608 h 6698675"/>
              <a:gd name="connsiteX11630" fmla="*/ 2052837 w 8267681"/>
              <a:gd name="connsiteY11630" fmla="*/ 554352 h 6698675"/>
              <a:gd name="connsiteX11631" fmla="*/ 2085717 w 8267681"/>
              <a:gd name="connsiteY11631" fmla="*/ 540259 h 6698675"/>
              <a:gd name="connsiteX11632" fmla="*/ 2090414 w 8267681"/>
              <a:gd name="connsiteY11632" fmla="*/ 540259 h 6698675"/>
              <a:gd name="connsiteX11633" fmla="*/ 2085717 w 8267681"/>
              <a:gd name="connsiteY11633" fmla="*/ 540259 h 6698675"/>
              <a:gd name="connsiteX11634" fmla="*/ 2019952 w 8267681"/>
              <a:gd name="connsiteY11634" fmla="*/ 519120 h 6698675"/>
              <a:gd name="connsiteX11635" fmla="*/ 2022301 w 8267681"/>
              <a:gd name="connsiteY11635" fmla="*/ 528515 h 6698675"/>
              <a:gd name="connsiteX11636" fmla="*/ 2019952 w 8267681"/>
              <a:gd name="connsiteY11636" fmla="*/ 523818 h 6698675"/>
              <a:gd name="connsiteX11637" fmla="*/ 2029347 w 8267681"/>
              <a:gd name="connsiteY11637" fmla="*/ 516772 h 6698675"/>
              <a:gd name="connsiteX11638" fmla="*/ 2036394 w 8267681"/>
              <a:gd name="connsiteY11638" fmla="*/ 540260 h 6698675"/>
              <a:gd name="connsiteX11639" fmla="*/ 2031694 w 8267681"/>
              <a:gd name="connsiteY11639" fmla="*/ 542609 h 6698675"/>
              <a:gd name="connsiteX11640" fmla="*/ 2038744 w 8267681"/>
              <a:gd name="connsiteY11640" fmla="*/ 554352 h 6698675"/>
              <a:gd name="connsiteX11641" fmla="*/ 2031694 w 8267681"/>
              <a:gd name="connsiteY11641" fmla="*/ 568445 h 6698675"/>
              <a:gd name="connsiteX11642" fmla="*/ 2036394 w 8267681"/>
              <a:gd name="connsiteY11642" fmla="*/ 561399 h 6698675"/>
              <a:gd name="connsiteX11643" fmla="*/ 2034044 w 8267681"/>
              <a:gd name="connsiteY11643" fmla="*/ 568445 h 6698675"/>
              <a:gd name="connsiteX11644" fmla="*/ 2041094 w 8267681"/>
              <a:gd name="connsiteY11644" fmla="*/ 554352 h 6698675"/>
              <a:gd name="connsiteX11645" fmla="*/ 2048136 w 8267681"/>
              <a:gd name="connsiteY11645" fmla="*/ 554352 h 6698675"/>
              <a:gd name="connsiteX11646" fmla="*/ 2045788 w 8267681"/>
              <a:gd name="connsiteY11646" fmla="*/ 559050 h 6698675"/>
              <a:gd name="connsiteX11647" fmla="*/ 2052837 w 8267681"/>
              <a:gd name="connsiteY11647" fmla="*/ 552004 h 6698675"/>
              <a:gd name="connsiteX11648" fmla="*/ 2050486 w 8267681"/>
              <a:gd name="connsiteY11648" fmla="*/ 563748 h 6698675"/>
              <a:gd name="connsiteX11649" fmla="*/ 2063699 w 8267681"/>
              <a:gd name="connsiteY11649" fmla="*/ 545581 h 6698675"/>
              <a:gd name="connsiteX11650" fmla="*/ 2064536 w 8267681"/>
              <a:gd name="connsiteY11650" fmla="*/ 549444 h 6698675"/>
              <a:gd name="connsiteX11651" fmla="*/ 2064400 w 8267681"/>
              <a:gd name="connsiteY11651" fmla="*/ 549655 h 6698675"/>
              <a:gd name="connsiteX11652" fmla="*/ 2062229 w 8267681"/>
              <a:gd name="connsiteY11652" fmla="*/ 549655 h 6698675"/>
              <a:gd name="connsiteX11653" fmla="*/ 2059879 w 8267681"/>
              <a:gd name="connsiteY11653" fmla="*/ 556701 h 6698675"/>
              <a:gd name="connsiteX11654" fmla="*/ 2064400 w 8267681"/>
              <a:gd name="connsiteY11654" fmla="*/ 549655 h 6698675"/>
              <a:gd name="connsiteX11655" fmla="*/ 2064579 w 8267681"/>
              <a:gd name="connsiteY11655" fmla="*/ 549655 h 6698675"/>
              <a:gd name="connsiteX11656" fmla="*/ 2064536 w 8267681"/>
              <a:gd name="connsiteY11656" fmla="*/ 549444 h 6698675"/>
              <a:gd name="connsiteX11657" fmla="*/ 2067553 w 8267681"/>
              <a:gd name="connsiteY11657" fmla="*/ 544737 h 6698675"/>
              <a:gd name="connsiteX11658" fmla="*/ 2085717 w 8267681"/>
              <a:gd name="connsiteY11658" fmla="*/ 530865 h 6698675"/>
              <a:gd name="connsiteX11659" fmla="*/ 2071625 w 8267681"/>
              <a:gd name="connsiteY11659" fmla="*/ 549655 h 6698675"/>
              <a:gd name="connsiteX11660" fmla="*/ 2069279 w 8267681"/>
              <a:gd name="connsiteY11660" fmla="*/ 559050 h 6698675"/>
              <a:gd name="connsiteX11661" fmla="*/ 2064579 w 8267681"/>
              <a:gd name="connsiteY11661" fmla="*/ 559050 h 6698675"/>
              <a:gd name="connsiteX11662" fmla="*/ 2078672 w 8267681"/>
              <a:gd name="connsiteY11662" fmla="*/ 554352 h 6698675"/>
              <a:gd name="connsiteX11663" fmla="*/ 2071625 w 8267681"/>
              <a:gd name="connsiteY11663" fmla="*/ 570793 h 6698675"/>
              <a:gd name="connsiteX11664" fmla="*/ 2088066 w 8267681"/>
              <a:gd name="connsiteY11664" fmla="*/ 549655 h 6698675"/>
              <a:gd name="connsiteX11665" fmla="*/ 2081022 w 8267681"/>
              <a:gd name="connsiteY11665" fmla="*/ 563748 h 6698675"/>
              <a:gd name="connsiteX11666" fmla="*/ 2088066 w 8267681"/>
              <a:gd name="connsiteY11666" fmla="*/ 570793 h 6698675"/>
              <a:gd name="connsiteX11667" fmla="*/ 2102158 w 8267681"/>
              <a:gd name="connsiteY11667" fmla="*/ 568445 h 6698675"/>
              <a:gd name="connsiteX11668" fmla="*/ 2095114 w 8267681"/>
              <a:gd name="connsiteY11668" fmla="*/ 580188 h 6698675"/>
              <a:gd name="connsiteX11669" fmla="*/ 2104506 w 8267681"/>
              <a:gd name="connsiteY11669" fmla="*/ 575492 h 6698675"/>
              <a:gd name="connsiteX11670" fmla="*/ 2100071 w 8267681"/>
              <a:gd name="connsiteY11670" fmla="*/ 579927 h 6698675"/>
              <a:gd name="connsiteX11671" fmla="*/ 2097464 w 8267681"/>
              <a:gd name="connsiteY11671" fmla="*/ 580188 h 6698675"/>
              <a:gd name="connsiteX11672" fmla="*/ 2097464 w 8267681"/>
              <a:gd name="connsiteY11672" fmla="*/ 582537 h 6698675"/>
              <a:gd name="connsiteX11673" fmla="*/ 2097459 w 8267681"/>
              <a:gd name="connsiteY11673" fmla="*/ 582541 h 6698675"/>
              <a:gd name="connsiteX11674" fmla="*/ 2088066 w 8267681"/>
              <a:gd name="connsiteY11674" fmla="*/ 591932 h 6698675"/>
              <a:gd name="connsiteX11675" fmla="*/ 2092091 w 8267681"/>
              <a:gd name="connsiteY11675" fmla="*/ 589248 h 6698675"/>
              <a:gd name="connsiteX11676" fmla="*/ 2088066 w 8267681"/>
              <a:gd name="connsiteY11676" fmla="*/ 594281 h 6698675"/>
              <a:gd name="connsiteX11677" fmla="*/ 2083372 w 8267681"/>
              <a:gd name="connsiteY11677" fmla="*/ 601327 h 6698675"/>
              <a:gd name="connsiteX11678" fmla="*/ 2099809 w 8267681"/>
              <a:gd name="connsiteY11678" fmla="*/ 587234 h 6698675"/>
              <a:gd name="connsiteX11679" fmla="*/ 2106857 w 8267681"/>
              <a:gd name="connsiteY11679" fmla="*/ 589584 h 6698675"/>
              <a:gd name="connsiteX11680" fmla="*/ 2097464 w 8267681"/>
              <a:gd name="connsiteY11680" fmla="*/ 598978 h 6698675"/>
              <a:gd name="connsiteX11681" fmla="*/ 2102158 w 8267681"/>
              <a:gd name="connsiteY11681" fmla="*/ 596630 h 6698675"/>
              <a:gd name="connsiteX11682" fmla="*/ 2090414 w 8267681"/>
              <a:gd name="connsiteY11682" fmla="*/ 606025 h 6698675"/>
              <a:gd name="connsiteX11683" fmla="*/ 2104506 w 8267681"/>
              <a:gd name="connsiteY11683" fmla="*/ 598978 h 6698675"/>
              <a:gd name="connsiteX11684" fmla="*/ 2097464 w 8267681"/>
              <a:gd name="connsiteY11684" fmla="*/ 606025 h 6698675"/>
              <a:gd name="connsiteX11685" fmla="*/ 2106857 w 8267681"/>
              <a:gd name="connsiteY11685" fmla="*/ 601327 h 6698675"/>
              <a:gd name="connsiteX11686" fmla="*/ 2120936 w 8267681"/>
              <a:gd name="connsiteY11686" fmla="*/ 589584 h 6698675"/>
              <a:gd name="connsiteX11687" fmla="*/ 2113901 w 8267681"/>
              <a:gd name="connsiteY11687" fmla="*/ 601327 h 6698675"/>
              <a:gd name="connsiteX11688" fmla="*/ 2120936 w 8267681"/>
              <a:gd name="connsiteY11688" fmla="*/ 591932 h 6698675"/>
              <a:gd name="connsiteX11689" fmla="*/ 2109207 w 8267681"/>
              <a:gd name="connsiteY11689" fmla="*/ 613071 h 6698675"/>
              <a:gd name="connsiteX11690" fmla="*/ 2123295 w 8267681"/>
              <a:gd name="connsiteY11690" fmla="*/ 596630 h 6698675"/>
              <a:gd name="connsiteX11691" fmla="*/ 2123295 w 8267681"/>
              <a:gd name="connsiteY11691" fmla="*/ 603676 h 6698675"/>
              <a:gd name="connsiteX11692" fmla="*/ 2111552 w 8267681"/>
              <a:gd name="connsiteY11692" fmla="*/ 613071 h 6698675"/>
              <a:gd name="connsiteX11693" fmla="*/ 2118599 w 8267681"/>
              <a:gd name="connsiteY11693" fmla="*/ 610722 h 6698675"/>
              <a:gd name="connsiteX11694" fmla="*/ 2109207 w 8267681"/>
              <a:gd name="connsiteY11694" fmla="*/ 617769 h 6698675"/>
              <a:gd name="connsiteX11695" fmla="*/ 2125642 w 8267681"/>
              <a:gd name="connsiteY11695" fmla="*/ 613071 h 6698675"/>
              <a:gd name="connsiteX11696" fmla="*/ 2121705 w 8267681"/>
              <a:gd name="connsiteY11696" fmla="*/ 616273 h 6698675"/>
              <a:gd name="connsiteX11697" fmla="*/ 2118078 w 8267681"/>
              <a:gd name="connsiteY11697" fmla="*/ 618209 h 6698675"/>
              <a:gd name="connsiteX11698" fmla="*/ 2106857 w 8267681"/>
              <a:gd name="connsiteY11698" fmla="*/ 624815 h 6698675"/>
              <a:gd name="connsiteX11699" fmla="*/ 2107707 w 8267681"/>
              <a:gd name="connsiteY11699" fmla="*/ 624815 h 6698675"/>
              <a:gd name="connsiteX11700" fmla="*/ 2104506 w 8267681"/>
              <a:gd name="connsiteY11700" fmla="*/ 627164 h 6698675"/>
              <a:gd name="connsiteX11701" fmla="*/ 2097464 w 8267681"/>
              <a:gd name="connsiteY11701" fmla="*/ 631861 h 6698675"/>
              <a:gd name="connsiteX11702" fmla="*/ 2097464 w 8267681"/>
              <a:gd name="connsiteY11702" fmla="*/ 629512 h 6698675"/>
              <a:gd name="connsiteX11703" fmla="*/ 2095114 w 8267681"/>
              <a:gd name="connsiteY11703" fmla="*/ 631861 h 6698675"/>
              <a:gd name="connsiteX11704" fmla="*/ 2095114 w 8267681"/>
              <a:gd name="connsiteY11704" fmla="*/ 636559 h 6698675"/>
              <a:gd name="connsiteX11705" fmla="*/ 2104506 w 8267681"/>
              <a:gd name="connsiteY11705" fmla="*/ 629512 h 6698675"/>
              <a:gd name="connsiteX11706" fmla="*/ 2104506 w 8267681"/>
              <a:gd name="connsiteY11706" fmla="*/ 627164 h 6698675"/>
              <a:gd name="connsiteX11707" fmla="*/ 2111552 w 8267681"/>
              <a:gd name="connsiteY11707" fmla="*/ 624815 h 6698675"/>
              <a:gd name="connsiteX11708" fmla="*/ 2107707 w 8267681"/>
              <a:gd name="connsiteY11708" fmla="*/ 624815 h 6698675"/>
              <a:gd name="connsiteX11709" fmla="*/ 2111403 w 8267681"/>
              <a:gd name="connsiteY11709" fmla="*/ 622099 h 6698675"/>
              <a:gd name="connsiteX11710" fmla="*/ 2123295 w 8267681"/>
              <a:gd name="connsiteY11710" fmla="*/ 620117 h 6698675"/>
              <a:gd name="connsiteX11711" fmla="*/ 2104506 w 8267681"/>
              <a:gd name="connsiteY11711" fmla="*/ 638908 h 6698675"/>
              <a:gd name="connsiteX11712" fmla="*/ 2102158 w 8267681"/>
              <a:gd name="connsiteY11712" fmla="*/ 641256 h 6698675"/>
              <a:gd name="connsiteX11713" fmla="*/ 2116249 w 8267681"/>
              <a:gd name="connsiteY11713" fmla="*/ 634210 h 6698675"/>
              <a:gd name="connsiteX11714" fmla="*/ 2130343 w 8267681"/>
              <a:gd name="connsiteY11714" fmla="*/ 622466 h 6698675"/>
              <a:gd name="connsiteX11715" fmla="*/ 2127993 w 8267681"/>
              <a:gd name="connsiteY11715" fmla="*/ 634210 h 6698675"/>
              <a:gd name="connsiteX11716" fmla="*/ 2109207 w 8267681"/>
              <a:gd name="connsiteY11716" fmla="*/ 645954 h 6698675"/>
              <a:gd name="connsiteX11717" fmla="*/ 2123295 w 8267681"/>
              <a:gd name="connsiteY11717" fmla="*/ 641256 h 6698675"/>
              <a:gd name="connsiteX11718" fmla="*/ 2116249 w 8267681"/>
              <a:gd name="connsiteY11718" fmla="*/ 645954 h 6698675"/>
              <a:gd name="connsiteX11719" fmla="*/ 2142086 w 8267681"/>
              <a:gd name="connsiteY11719" fmla="*/ 634210 h 6698675"/>
              <a:gd name="connsiteX11720" fmla="*/ 2125642 w 8267681"/>
              <a:gd name="connsiteY11720" fmla="*/ 643605 h 6698675"/>
              <a:gd name="connsiteX11721" fmla="*/ 2132692 w 8267681"/>
              <a:gd name="connsiteY11721" fmla="*/ 643605 h 6698675"/>
              <a:gd name="connsiteX11722" fmla="*/ 2135042 w 8267681"/>
              <a:gd name="connsiteY11722" fmla="*/ 650651 h 6698675"/>
              <a:gd name="connsiteX11723" fmla="*/ 2139738 w 8267681"/>
              <a:gd name="connsiteY11723" fmla="*/ 648302 h 6698675"/>
              <a:gd name="connsiteX11724" fmla="*/ 2158530 w 8267681"/>
              <a:gd name="connsiteY11724" fmla="*/ 660046 h 6698675"/>
              <a:gd name="connsiteX11725" fmla="*/ 2160879 w 8267681"/>
              <a:gd name="connsiteY11725" fmla="*/ 655348 h 6698675"/>
              <a:gd name="connsiteX11726" fmla="*/ 2163227 w 8267681"/>
              <a:gd name="connsiteY11726" fmla="*/ 662394 h 6698675"/>
              <a:gd name="connsiteX11727" fmla="*/ 2160879 w 8267681"/>
              <a:gd name="connsiteY11727" fmla="*/ 662394 h 6698675"/>
              <a:gd name="connsiteX11728" fmla="*/ 2146785 w 8267681"/>
              <a:gd name="connsiteY11728" fmla="*/ 671789 h 6698675"/>
              <a:gd name="connsiteX11729" fmla="*/ 2156181 w 8267681"/>
              <a:gd name="connsiteY11729" fmla="*/ 669441 h 6698675"/>
              <a:gd name="connsiteX11730" fmla="*/ 2149134 w 8267681"/>
              <a:gd name="connsiteY11730" fmla="*/ 671789 h 6698675"/>
              <a:gd name="connsiteX11731" fmla="*/ 2160879 w 8267681"/>
              <a:gd name="connsiteY11731" fmla="*/ 669441 h 6698675"/>
              <a:gd name="connsiteX11732" fmla="*/ 2149134 w 8267681"/>
              <a:gd name="connsiteY11732" fmla="*/ 681185 h 6698675"/>
              <a:gd name="connsiteX11733" fmla="*/ 2139738 w 8267681"/>
              <a:gd name="connsiteY11733" fmla="*/ 690580 h 6698675"/>
              <a:gd name="connsiteX11734" fmla="*/ 2158530 w 8267681"/>
              <a:gd name="connsiteY11734" fmla="*/ 683533 h 6698675"/>
              <a:gd name="connsiteX11735" fmla="*/ 2151485 w 8267681"/>
              <a:gd name="connsiteY11735" fmla="*/ 688231 h 6698675"/>
              <a:gd name="connsiteX11736" fmla="*/ 2163227 w 8267681"/>
              <a:gd name="connsiteY11736" fmla="*/ 685882 h 6698675"/>
              <a:gd name="connsiteX11737" fmla="*/ 2156181 w 8267681"/>
              <a:gd name="connsiteY11737" fmla="*/ 699975 h 6698675"/>
              <a:gd name="connsiteX11738" fmla="*/ 2153830 w 8267681"/>
              <a:gd name="connsiteY11738" fmla="*/ 707021 h 6698675"/>
              <a:gd name="connsiteX11739" fmla="*/ 2151485 w 8267681"/>
              <a:gd name="connsiteY11739" fmla="*/ 718765 h 6698675"/>
              <a:gd name="connsiteX11740" fmla="*/ 2149134 w 8267681"/>
              <a:gd name="connsiteY11740" fmla="*/ 716416 h 6698675"/>
              <a:gd name="connsiteX11741" fmla="*/ 2144435 w 8267681"/>
              <a:gd name="connsiteY11741" fmla="*/ 723463 h 6698675"/>
              <a:gd name="connsiteX11742" fmla="*/ 2146785 w 8267681"/>
              <a:gd name="connsiteY11742" fmla="*/ 735206 h 6698675"/>
              <a:gd name="connsiteX11743" fmla="*/ 2137392 w 8267681"/>
              <a:gd name="connsiteY11743" fmla="*/ 725811 h 6698675"/>
              <a:gd name="connsiteX11744" fmla="*/ 2118599 w 8267681"/>
              <a:gd name="connsiteY11744" fmla="*/ 742253 h 6698675"/>
              <a:gd name="connsiteX11745" fmla="*/ 2104506 w 8267681"/>
              <a:gd name="connsiteY11745" fmla="*/ 739903 h 6698675"/>
              <a:gd name="connsiteX11746" fmla="*/ 2104506 w 8267681"/>
              <a:gd name="connsiteY11746" fmla="*/ 709370 h 6698675"/>
              <a:gd name="connsiteX11747" fmla="*/ 2102158 w 8267681"/>
              <a:gd name="connsiteY11747" fmla="*/ 709370 h 6698675"/>
              <a:gd name="connsiteX11748" fmla="*/ 2083372 w 8267681"/>
              <a:gd name="connsiteY11748" fmla="*/ 702324 h 6698675"/>
              <a:gd name="connsiteX11749" fmla="*/ 2078672 w 8267681"/>
              <a:gd name="connsiteY11749" fmla="*/ 702324 h 6698675"/>
              <a:gd name="connsiteX11750" fmla="*/ 2076322 w 8267681"/>
              <a:gd name="connsiteY11750" fmla="*/ 702324 h 6698675"/>
              <a:gd name="connsiteX11751" fmla="*/ 2078672 w 8267681"/>
              <a:gd name="connsiteY11751" fmla="*/ 699975 h 6698675"/>
              <a:gd name="connsiteX11752" fmla="*/ 2076322 w 8267681"/>
              <a:gd name="connsiteY11752" fmla="*/ 699975 h 6698675"/>
              <a:gd name="connsiteX11753" fmla="*/ 2071625 w 8267681"/>
              <a:gd name="connsiteY11753" fmla="*/ 702324 h 6698675"/>
              <a:gd name="connsiteX11754" fmla="*/ 2062229 w 8267681"/>
              <a:gd name="connsiteY11754" fmla="*/ 704672 h 6698675"/>
              <a:gd name="connsiteX11755" fmla="*/ 2067262 w 8267681"/>
              <a:gd name="connsiteY11755" fmla="*/ 701653 h 6698675"/>
              <a:gd name="connsiteX11756" fmla="*/ 2066929 w 8267681"/>
              <a:gd name="connsiteY11756" fmla="*/ 702324 h 6698675"/>
              <a:gd name="connsiteX11757" fmla="*/ 2073974 w 8267681"/>
              <a:gd name="connsiteY11757" fmla="*/ 697626 h 6698675"/>
              <a:gd name="connsiteX11758" fmla="*/ 2067262 w 8267681"/>
              <a:gd name="connsiteY11758" fmla="*/ 701653 h 6698675"/>
              <a:gd name="connsiteX11759" fmla="*/ 2069279 w 8267681"/>
              <a:gd name="connsiteY11759" fmla="*/ 697626 h 6698675"/>
              <a:gd name="connsiteX11760" fmla="*/ 2062229 w 8267681"/>
              <a:gd name="connsiteY11760" fmla="*/ 692928 h 6698675"/>
              <a:gd name="connsiteX11761" fmla="*/ 2059879 w 8267681"/>
              <a:gd name="connsiteY11761" fmla="*/ 692928 h 6698675"/>
              <a:gd name="connsiteX11762" fmla="*/ 2057530 w 8267681"/>
              <a:gd name="connsiteY11762" fmla="*/ 692928 h 6698675"/>
              <a:gd name="connsiteX11763" fmla="*/ 2055182 w 8267681"/>
              <a:gd name="connsiteY11763" fmla="*/ 692928 h 6698675"/>
              <a:gd name="connsiteX11764" fmla="*/ 2050486 w 8267681"/>
              <a:gd name="connsiteY11764" fmla="*/ 697626 h 6698675"/>
              <a:gd name="connsiteX11765" fmla="*/ 2052837 w 8267681"/>
              <a:gd name="connsiteY11765" fmla="*/ 692928 h 6698675"/>
              <a:gd name="connsiteX11766" fmla="*/ 2043440 w 8267681"/>
              <a:gd name="connsiteY11766" fmla="*/ 688231 h 6698675"/>
              <a:gd name="connsiteX11767" fmla="*/ 2038744 w 8267681"/>
              <a:gd name="connsiteY11767" fmla="*/ 695277 h 6698675"/>
              <a:gd name="connsiteX11768" fmla="*/ 2034044 w 8267681"/>
              <a:gd name="connsiteY11768" fmla="*/ 681185 h 6698675"/>
              <a:gd name="connsiteX11769" fmla="*/ 2026995 w 8267681"/>
              <a:gd name="connsiteY11769" fmla="*/ 676487 h 6698675"/>
              <a:gd name="connsiteX11770" fmla="*/ 2015252 w 8267681"/>
              <a:gd name="connsiteY11770" fmla="*/ 692928 h 6698675"/>
              <a:gd name="connsiteX11771" fmla="*/ 2015268 w 8267681"/>
              <a:gd name="connsiteY11771" fmla="*/ 692918 h 6698675"/>
              <a:gd name="connsiteX11772" fmla="*/ 2010559 w 8267681"/>
              <a:gd name="connsiteY11772" fmla="*/ 697626 h 6698675"/>
              <a:gd name="connsiteX11773" fmla="*/ 2017601 w 8267681"/>
              <a:gd name="connsiteY11773" fmla="*/ 683533 h 6698675"/>
              <a:gd name="connsiteX11774" fmla="*/ 2017601 w 8267681"/>
              <a:gd name="connsiteY11774" fmla="*/ 671789 h 6698675"/>
              <a:gd name="connsiteX11775" fmla="*/ 2017601 w 8267681"/>
              <a:gd name="connsiteY11775" fmla="*/ 669441 h 6698675"/>
              <a:gd name="connsiteX11776" fmla="*/ 2015252 w 8267681"/>
              <a:gd name="connsiteY11776" fmla="*/ 669441 h 6698675"/>
              <a:gd name="connsiteX11777" fmla="*/ 1996461 w 8267681"/>
              <a:gd name="connsiteY11777" fmla="*/ 692928 h 6698675"/>
              <a:gd name="connsiteX11778" fmla="*/ 1994116 w 8267681"/>
              <a:gd name="connsiteY11778" fmla="*/ 688231 h 6698675"/>
              <a:gd name="connsiteX11779" fmla="*/ 1984718 w 8267681"/>
              <a:gd name="connsiteY11779" fmla="*/ 697626 h 6698675"/>
              <a:gd name="connsiteX11780" fmla="*/ 1984522 w 8267681"/>
              <a:gd name="connsiteY11780" fmla="*/ 695081 h 6698675"/>
              <a:gd name="connsiteX11781" fmla="*/ 2008209 w 8267681"/>
              <a:gd name="connsiteY11781" fmla="*/ 667092 h 6698675"/>
              <a:gd name="connsiteX11782" fmla="*/ 2005859 w 8267681"/>
              <a:gd name="connsiteY11782" fmla="*/ 664743 h 6698675"/>
              <a:gd name="connsiteX11783" fmla="*/ 2003508 w 8267681"/>
              <a:gd name="connsiteY11783" fmla="*/ 662394 h 6698675"/>
              <a:gd name="connsiteX11784" fmla="*/ 1968277 w 8267681"/>
              <a:gd name="connsiteY11784" fmla="*/ 707021 h 6698675"/>
              <a:gd name="connsiteX11785" fmla="*/ 1972974 w 8267681"/>
              <a:gd name="connsiteY11785" fmla="*/ 697626 h 6698675"/>
              <a:gd name="connsiteX11786" fmla="*/ 1963581 w 8267681"/>
              <a:gd name="connsiteY11786" fmla="*/ 697626 h 6698675"/>
              <a:gd name="connsiteX11787" fmla="*/ 1970625 w 8267681"/>
              <a:gd name="connsiteY11787" fmla="*/ 692928 h 6698675"/>
              <a:gd name="connsiteX11788" fmla="*/ 1963581 w 8267681"/>
              <a:gd name="connsiteY11788" fmla="*/ 695277 h 6698675"/>
              <a:gd name="connsiteX11789" fmla="*/ 1987068 w 8267681"/>
              <a:gd name="connsiteY11789" fmla="*/ 671789 h 6698675"/>
              <a:gd name="connsiteX11790" fmla="*/ 1951838 w 8267681"/>
              <a:gd name="connsiteY11790" fmla="*/ 697626 h 6698675"/>
              <a:gd name="connsiteX11791" fmla="*/ 1968277 w 8267681"/>
              <a:gd name="connsiteY11791" fmla="*/ 690580 h 6698675"/>
              <a:gd name="connsiteX11792" fmla="*/ 1944790 w 8267681"/>
              <a:gd name="connsiteY11792" fmla="*/ 709370 h 6698675"/>
              <a:gd name="connsiteX11793" fmla="*/ 1944790 w 8267681"/>
              <a:gd name="connsiteY11793" fmla="*/ 702324 h 6698675"/>
              <a:gd name="connsiteX11794" fmla="*/ 1954188 w 8267681"/>
              <a:gd name="connsiteY11794" fmla="*/ 695277 h 6698675"/>
              <a:gd name="connsiteX11795" fmla="*/ 1958883 w 8267681"/>
              <a:gd name="connsiteY11795" fmla="*/ 688231 h 6698675"/>
              <a:gd name="connsiteX11796" fmla="*/ 1994116 w 8267681"/>
              <a:gd name="connsiteY11796" fmla="*/ 660046 h 6698675"/>
              <a:gd name="connsiteX11797" fmla="*/ 1991766 w 8267681"/>
              <a:gd name="connsiteY11797" fmla="*/ 657697 h 6698675"/>
              <a:gd name="connsiteX11798" fmla="*/ 1958883 w 8267681"/>
              <a:gd name="connsiteY11798" fmla="*/ 683533 h 6698675"/>
              <a:gd name="connsiteX11799" fmla="*/ 1987068 w 8267681"/>
              <a:gd name="connsiteY11799" fmla="*/ 657697 h 6698675"/>
              <a:gd name="connsiteX11800" fmla="*/ 1954188 w 8267681"/>
              <a:gd name="connsiteY11800" fmla="*/ 674138 h 6698675"/>
              <a:gd name="connsiteX11801" fmla="*/ 1949488 w 8267681"/>
              <a:gd name="connsiteY11801" fmla="*/ 678836 h 6698675"/>
              <a:gd name="connsiteX11802" fmla="*/ 1944790 w 8267681"/>
              <a:gd name="connsiteY11802" fmla="*/ 676487 h 6698675"/>
              <a:gd name="connsiteX11803" fmla="*/ 1956531 w 8267681"/>
              <a:gd name="connsiteY11803" fmla="*/ 667386 h 6698675"/>
              <a:gd name="connsiteX11804" fmla="*/ 1958316 w 8267681"/>
              <a:gd name="connsiteY11804" fmla="*/ 666272 h 6698675"/>
              <a:gd name="connsiteX11805" fmla="*/ 1966811 w 8267681"/>
              <a:gd name="connsiteY11805" fmla="*/ 663863 h 6698675"/>
              <a:gd name="connsiteX11806" fmla="*/ 1991766 w 8267681"/>
              <a:gd name="connsiteY11806" fmla="*/ 653000 h 6698675"/>
              <a:gd name="connsiteX11807" fmla="*/ 1991766 w 8267681"/>
              <a:gd name="connsiteY11807" fmla="*/ 650651 h 6698675"/>
              <a:gd name="connsiteX11808" fmla="*/ 1959889 w 8267681"/>
              <a:gd name="connsiteY11808" fmla="*/ 657362 h 6698675"/>
              <a:gd name="connsiteX11809" fmla="*/ 1960538 w 8267681"/>
              <a:gd name="connsiteY11809" fmla="*/ 656894 h 6698675"/>
              <a:gd name="connsiteX11810" fmla="*/ 1962112 w 8267681"/>
              <a:gd name="connsiteY11810" fmla="*/ 656523 h 6698675"/>
              <a:gd name="connsiteX11811" fmla="*/ 1975324 w 8267681"/>
              <a:gd name="connsiteY11811" fmla="*/ 653000 h 6698675"/>
              <a:gd name="connsiteX11812" fmla="*/ 1963504 w 8267681"/>
              <a:gd name="connsiteY11812" fmla="*/ 654751 h 6698675"/>
              <a:gd name="connsiteX11813" fmla="*/ 1965931 w 8267681"/>
              <a:gd name="connsiteY11813" fmla="*/ 653000 h 6698675"/>
              <a:gd name="connsiteX11814" fmla="*/ 1962649 w 8267681"/>
              <a:gd name="connsiteY11814" fmla="*/ 654393 h 6698675"/>
              <a:gd name="connsiteX11815" fmla="*/ 1957675 w 8267681"/>
              <a:gd name="connsiteY11815" fmla="*/ 652053 h 6698675"/>
              <a:gd name="connsiteX11816" fmla="*/ 1940096 w 8267681"/>
              <a:gd name="connsiteY11816" fmla="*/ 660046 h 6698675"/>
              <a:gd name="connsiteX11817" fmla="*/ 1930696 w 8267681"/>
              <a:gd name="connsiteY11817" fmla="*/ 657697 h 6698675"/>
              <a:gd name="connsiteX11818" fmla="*/ 1955908 w 8267681"/>
              <a:gd name="connsiteY11818" fmla="*/ 650974 h 6698675"/>
              <a:gd name="connsiteX11819" fmla="*/ 1954188 w 8267681"/>
              <a:gd name="connsiteY11819" fmla="*/ 638908 h 6698675"/>
              <a:gd name="connsiteX11820" fmla="*/ 1958883 w 8267681"/>
              <a:gd name="connsiteY11820" fmla="*/ 631861 h 6698675"/>
              <a:gd name="connsiteX11821" fmla="*/ 1961230 w 8267681"/>
              <a:gd name="connsiteY11821" fmla="*/ 634210 h 6698675"/>
              <a:gd name="connsiteX11822" fmla="*/ 1954188 w 8267681"/>
              <a:gd name="connsiteY11822" fmla="*/ 627164 h 6698675"/>
              <a:gd name="connsiteX11823" fmla="*/ 1949488 w 8267681"/>
              <a:gd name="connsiteY11823" fmla="*/ 620117 h 6698675"/>
              <a:gd name="connsiteX11824" fmla="*/ 1961230 w 8267681"/>
              <a:gd name="connsiteY11824" fmla="*/ 627164 h 6698675"/>
              <a:gd name="connsiteX11825" fmla="*/ 1942441 w 8267681"/>
              <a:gd name="connsiteY11825" fmla="*/ 610722 h 6698675"/>
              <a:gd name="connsiteX11826" fmla="*/ 1956531 w 8267681"/>
              <a:gd name="connsiteY11826" fmla="*/ 610722 h 6698675"/>
              <a:gd name="connsiteX11827" fmla="*/ 1947140 w 8267681"/>
              <a:gd name="connsiteY11827" fmla="*/ 596630 h 6698675"/>
              <a:gd name="connsiteX11828" fmla="*/ 1956531 w 8267681"/>
              <a:gd name="connsiteY11828" fmla="*/ 601327 h 6698675"/>
              <a:gd name="connsiteX11829" fmla="*/ 1954188 w 8267681"/>
              <a:gd name="connsiteY11829" fmla="*/ 613071 h 6698675"/>
              <a:gd name="connsiteX11830" fmla="*/ 1987068 w 8267681"/>
              <a:gd name="connsiteY11830" fmla="*/ 627164 h 6698675"/>
              <a:gd name="connsiteX11831" fmla="*/ 1951838 w 8267681"/>
              <a:gd name="connsiteY11831" fmla="*/ 589584 h 6698675"/>
              <a:gd name="connsiteX11832" fmla="*/ 1963581 w 8267681"/>
              <a:gd name="connsiteY11832" fmla="*/ 589584 h 6698675"/>
              <a:gd name="connsiteX11833" fmla="*/ 1958883 w 8267681"/>
              <a:gd name="connsiteY11833" fmla="*/ 584887 h 6698675"/>
              <a:gd name="connsiteX11834" fmla="*/ 1972974 w 8267681"/>
              <a:gd name="connsiteY11834" fmla="*/ 594281 h 6698675"/>
              <a:gd name="connsiteX11835" fmla="*/ 1970625 w 8267681"/>
              <a:gd name="connsiteY11835" fmla="*/ 589584 h 6698675"/>
              <a:gd name="connsiteX11836" fmla="*/ 1975324 w 8267681"/>
              <a:gd name="connsiteY11836" fmla="*/ 594281 h 6698675"/>
              <a:gd name="connsiteX11837" fmla="*/ 1974152 w 8267681"/>
              <a:gd name="connsiteY11837" fmla="*/ 591932 h 6698675"/>
              <a:gd name="connsiteX11838" fmla="*/ 1987360 w 8267681"/>
              <a:gd name="connsiteY11838" fmla="*/ 607787 h 6698675"/>
              <a:gd name="connsiteX11839" fmla="*/ 1984718 w 8267681"/>
              <a:gd name="connsiteY11839" fmla="*/ 606025 h 6698675"/>
              <a:gd name="connsiteX11840" fmla="*/ 1991760 w 8267681"/>
              <a:gd name="connsiteY11840" fmla="*/ 613067 h 6698675"/>
              <a:gd name="connsiteX11841" fmla="*/ 1989417 w 8267681"/>
              <a:gd name="connsiteY11841" fmla="*/ 610722 h 6698675"/>
              <a:gd name="connsiteX11842" fmla="*/ 1991766 w 8267681"/>
              <a:gd name="connsiteY11842" fmla="*/ 613068 h 6698675"/>
              <a:gd name="connsiteX11843" fmla="*/ 1991766 w 8267681"/>
              <a:gd name="connsiteY11843" fmla="*/ 613071 h 6698675"/>
              <a:gd name="connsiteX11844" fmla="*/ 1994116 w 8267681"/>
              <a:gd name="connsiteY11844" fmla="*/ 615420 h 6698675"/>
              <a:gd name="connsiteX11845" fmla="*/ 1991766 w 8267681"/>
              <a:gd name="connsiteY11845" fmla="*/ 613068 h 6698675"/>
              <a:gd name="connsiteX11846" fmla="*/ 1987360 w 8267681"/>
              <a:gd name="connsiteY11846" fmla="*/ 607787 h 6698675"/>
              <a:gd name="connsiteX11847" fmla="*/ 1991766 w 8267681"/>
              <a:gd name="connsiteY11847" fmla="*/ 610722 h 6698675"/>
              <a:gd name="connsiteX11848" fmla="*/ 1972974 w 8267681"/>
              <a:gd name="connsiteY11848" fmla="*/ 589584 h 6698675"/>
              <a:gd name="connsiteX11849" fmla="*/ 1974152 w 8267681"/>
              <a:gd name="connsiteY11849" fmla="*/ 591932 h 6698675"/>
              <a:gd name="connsiteX11850" fmla="*/ 1968277 w 8267681"/>
              <a:gd name="connsiteY11850" fmla="*/ 584887 h 6698675"/>
              <a:gd name="connsiteX11851" fmla="*/ 1977673 w 8267681"/>
              <a:gd name="connsiteY11851" fmla="*/ 589584 h 6698675"/>
              <a:gd name="connsiteX11852" fmla="*/ 1970625 w 8267681"/>
              <a:gd name="connsiteY11852" fmla="*/ 563748 h 6698675"/>
              <a:gd name="connsiteX11853" fmla="*/ 1977673 w 8267681"/>
              <a:gd name="connsiteY11853" fmla="*/ 575492 h 6698675"/>
              <a:gd name="connsiteX11854" fmla="*/ 1984718 w 8267681"/>
              <a:gd name="connsiteY11854" fmla="*/ 573143 h 6698675"/>
              <a:gd name="connsiteX11855" fmla="*/ 1989417 w 8267681"/>
              <a:gd name="connsiteY11855" fmla="*/ 575492 h 6698675"/>
              <a:gd name="connsiteX11856" fmla="*/ 1987068 w 8267681"/>
              <a:gd name="connsiteY11856" fmla="*/ 556701 h 6698675"/>
              <a:gd name="connsiteX11857" fmla="*/ 1989417 w 8267681"/>
              <a:gd name="connsiteY11857" fmla="*/ 561399 h 6698675"/>
              <a:gd name="connsiteX11858" fmla="*/ 1989417 w 8267681"/>
              <a:gd name="connsiteY11858" fmla="*/ 549655 h 6698675"/>
              <a:gd name="connsiteX11859" fmla="*/ 1994116 w 8267681"/>
              <a:gd name="connsiteY11859" fmla="*/ 561399 h 6698675"/>
              <a:gd name="connsiteX11860" fmla="*/ 2005859 w 8267681"/>
              <a:gd name="connsiteY11860" fmla="*/ 549655 h 6698675"/>
              <a:gd name="connsiteX11861" fmla="*/ 2008209 w 8267681"/>
              <a:gd name="connsiteY11861" fmla="*/ 528516 h 6698675"/>
              <a:gd name="connsiteX11862" fmla="*/ 2015252 w 8267681"/>
              <a:gd name="connsiteY11862" fmla="*/ 552004 h 6698675"/>
              <a:gd name="connsiteX11863" fmla="*/ 2019952 w 8267681"/>
              <a:gd name="connsiteY11863" fmla="*/ 533213 h 6698675"/>
              <a:gd name="connsiteX11864" fmla="*/ 2019952 w 8267681"/>
              <a:gd name="connsiteY11864" fmla="*/ 547306 h 6698675"/>
              <a:gd name="connsiteX11865" fmla="*/ 2024651 w 8267681"/>
              <a:gd name="connsiteY11865" fmla="*/ 556701 h 6698675"/>
              <a:gd name="connsiteX11866" fmla="*/ 2025617 w 8267681"/>
              <a:gd name="connsiteY11866" fmla="*/ 555293 h 6698675"/>
              <a:gd name="connsiteX11867" fmla="*/ 2026121 w 8267681"/>
              <a:gd name="connsiteY11867" fmla="*/ 556995 h 6698675"/>
              <a:gd name="connsiteX11868" fmla="*/ 2028133 w 8267681"/>
              <a:gd name="connsiteY11868" fmla="*/ 552412 h 6698675"/>
              <a:gd name="connsiteX11869" fmla="*/ 2029347 w 8267681"/>
              <a:gd name="connsiteY11869" fmla="*/ 554352 h 6698675"/>
              <a:gd name="connsiteX11870" fmla="*/ 2031694 w 8267681"/>
              <a:gd name="connsiteY11870" fmla="*/ 535562 h 6698675"/>
              <a:gd name="connsiteX11871" fmla="*/ 2029347 w 8267681"/>
              <a:gd name="connsiteY11871" fmla="*/ 516772 h 6698675"/>
              <a:gd name="connsiteX11872" fmla="*/ 3827463 w 8267681"/>
              <a:gd name="connsiteY11872" fmla="*/ 351397 h 6698675"/>
              <a:gd name="connsiteX11873" fmla="*/ 3816746 w 8267681"/>
              <a:gd name="connsiteY11873" fmla="*/ 354664 h 6698675"/>
              <a:gd name="connsiteX11874" fmla="*/ 3826141 w 8267681"/>
              <a:gd name="connsiteY11874" fmla="*/ 378150 h 6698675"/>
              <a:gd name="connsiteX11875" fmla="*/ 3827463 w 8267681"/>
              <a:gd name="connsiteY11875" fmla="*/ 351397 h 6698675"/>
              <a:gd name="connsiteX11876" fmla="*/ 2920789 w 8267681"/>
              <a:gd name="connsiteY11876" fmla="*/ 42103 h 6698675"/>
              <a:gd name="connsiteX11877" fmla="*/ 2925532 w 8267681"/>
              <a:gd name="connsiteY11877" fmla="*/ 44039 h 6698675"/>
              <a:gd name="connsiteX11878" fmla="*/ 2940652 w 8267681"/>
              <a:gd name="connsiteY11878" fmla="*/ 54021 h 6698675"/>
              <a:gd name="connsiteX11879" fmla="*/ 2871627 w 8267681"/>
              <a:gd name="connsiteY11879" fmla="*/ 31228 h 6698675"/>
              <a:gd name="connsiteX11880" fmla="*/ 2887218 w 8267681"/>
              <a:gd name="connsiteY11880" fmla="*/ 42032 h 6698675"/>
              <a:gd name="connsiteX11881" fmla="*/ 2903072 w 8267681"/>
              <a:gd name="connsiteY11881" fmla="*/ 56419 h 6698675"/>
              <a:gd name="connsiteX11882" fmla="*/ 2898375 w 8267681"/>
              <a:gd name="connsiteY11882" fmla="*/ 54070 h 6698675"/>
              <a:gd name="connsiteX11883" fmla="*/ 2887511 w 8267681"/>
              <a:gd name="connsiteY11883" fmla="*/ 43794 h 6698675"/>
              <a:gd name="connsiteX11884" fmla="*/ 2785633 w 8267681"/>
              <a:gd name="connsiteY11884" fmla="*/ 25837 h 6698675"/>
              <a:gd name="connsiteX11885" fmla="*/ 2790330 w 8267681"/>
              <a:gd name="connsiteY11885" fmla="*/ 28900 h 6698675"/>
              <a:gd name="connsiteX11886" fmla="*/ 2775836 w 8267681"/>
              <a:gd name="connsiteY11886" fmla="*/ 32681 h 6698675"/>
              <a:gd name="connsiteX11887" fmla="*/ 2804424 w 8267681"/>
              <a:gd name="connsiteY11887" fmla="*/ 0 h 6698675"/>
              <a:gd name="connsiteX11888" fmla="*/ 2881932 w 8267681"/>
              <a:gd name="connsiteY11888" fmla="*/ 18790 h 6698675"/>
              <a:gd name="connsiteX11889" fmla="*/ 2920789 w 8267681"/>
              <a:gd name="connsiteY11889" fmla="*/ 42103 h 6698675"/>
              <a:gd name="connsiteX11890" fmla="*/ 2918339 w 8267681"/>
              <a:gd name="connsiteY11890" fmla="*/ 41103 h 6698675"/>
              <a:gd name="connsiteX11891" fmla="*/ 2924210 w 8267681"/>
              <a:gd name="connsiteY11891" fmla="*/ 49323 h 6698675"/>
              <a:gd name="connsiteX11892" fmla="*/ 2978232 w 8267681"/>
              <a:gd name="connsiteY11892" fmla="*/ 117438 h 6698675"/>
              <a:gd name="connsiteX11893" fmla="*/ 3020510 w 8267681"/>
              <a:gd name="connsiteY11893" fmla="*/ 225481 h 6698675"/>
              <a:gd name="connsiteX11894" fmla="*/ 3036951 w 8267681"/>
              <a:gd name="connsiteY11894" fmla="*/ 317083 h 6698675"/>
              <a:gd name="connsiteX11895" fmla="*/ 2989977 w 8267681"/>
              <a:gd name="connsiteY11895" fmla="*/ 155018 h 6698675"/>
              <a:gd name="connsiteX11896" fmla="*/ 2935954 w 8267681"/>
              <a:gd name="connsiteY11896" fmla="*/ 68114 h 6698675"/>
              <a:gd name="connsiteX11897" fmla="*/ 2846700 w 8267681"/>
              <a:gd name="connsiteY11897" fmla="*/ 9395 h 6698675"/>
              <a:gd name="connsiteX11898" fmla="*/ 2790330 w 8267681"/>
              <a:gd name="connsiteY11898" fmla="*/ 2349 h 6698675"/>
              <a:gd name="connsiteX11899" fmla="*/ 2738657 w 8267681"/>
              <a:gd name="connsiteY11899" fmla="*/ 18790 h 6698675"/>
              <a:gd name="connsiteX11900" fmla="*/ 2679937 w 8267681"/>
              <a:gd name="connsiteY11900" fmla="*/ 91601 h 6698675"/>
              <a:gd name="connsiteX11901" fmla="*/ 2672891 w 8267681"/>
              <a:gd name="connsiteY11901" fmla="*/ 150321 h 6698675"/>
              <a:gd name="connsiteX11902" fmla="*/ 2679937 w 8267681"/>
              <a:gd name="connsiteY11902" fmla="*/ 176157 h 6698675"/>
              <a:gd name="connsiteX11903" fmla="*/ 2686984 w 8267681"/>
              <a:gd name="connsiteY11903" fmla="*/ 103345 h 6698675"/>
              <a:gd name="connsiteX11904" fmla="*/ 2729262 w 8267681"/>
              <a:gd name="connsiteY11904" fmla="*/ 37580 h 6698675"/>
              <a:gd name="connsiteX11905" fmla="*/ 2804424 w 8267681"/>
              <a:gd name="connsiteY11905" fmla="*/ 11744 h 6698675"/>
              <a:gd name="connsiteX11906" fmla="*/ 2843472 w 8267681"/>
              <a:gd name="connsiteY11906" fmla="*/ 17909 h 6698675"/>
              <a:gd name="connsiteX11907" fmla="*/ 2868290 w 8267681"/>
              <a:gd name="connsiteY11907" fmla="*/ 28916 h 6698675"/>
              <a:gd name="connsiteX11908" fmla="*/ 2853748 w 8267681"/>
              <a:gd name="connsiteY11908" fmla="*/ 18838 h 6698675"/>
              <a:gd name="connsiteX11909" fmla="*/ 2867842 w 8267681"/>
              <a:gd name="connsiteY11909" fmla="*/ 28233 h 6698675"/>
              <a:gd name="connsiteX11910" fmla="*/ 2869232 w 8267681"/>
              <a:gd name="connsiteY11910" fmla="*/ 29333 h 6698675"/>
              <a:gd name="connsiteX11911" fmla="*/ 2877235 w 8267681"/>
              <a:gd name="connsiteY11911" fmla="*/ 32883 h 6698675"/>
              <a:gd name="connsiteX11912" fmla="*/ 2871520 w 8267681"/>
              <a:gd name="connsiteY11912" fmla="*/ 31143 h 6698675"/>
              <a:gd name="connsiteX11913" fmla="*/ 2871627 w 8267681"/>
              <a:gd name="connsiteY11913" fmla="*/ 31228 h 6698675"/>
              <a:gd name="connsiteX11914" fmla="*/ 2871493 w 8267681"/>
              <a:gd name="connsiteY11914" fmla="*/ 31135 h 6698675"/>
              <a:gd name="connsiteX11915" fmla="*/ 2823213 w 8267681"/>
              <a:gd name="connsiteY11915" fmla="*/ 16442 h 6698675"/>
              <a:gd name="connsiteX11916" fmla="*/ 2762144 w 8267681"/>
              <a:gd name="connsiteY11916" fmla="*/ 25837 h 6698675"/>
              <a:gd name="connsiteX11917" fmla="*/ 2722215 w 8267681"/>
              <a:gd name="connsiteY11917" fmla="*/ 56370 h 6698675"/>
              <a:gd name="connsiteX11918" fmla="*/ 2708123 w 8267681"/>
              <a:gd name="connsiteY11918" fmla="*/ 84555 h 6698675"/>
              <a:gd name="connsiteX11919" fmla="*/ 2748053 w 8267681"/>
              <a:gd name="connsiteY11919" fmla="*/ 39928 h 6698675"/>
              <a:gd name="connsiteX11920" fmla="*/ 2775836 w 8267681"/>
              <a:gd name="connsiteY11920" fmla="*/ 32681 h 6698675"/>
              <a:gd name="connsiteX11921" fmla="*/ 2764201 w 8267681"/>
              <a:gd name="connsiteY11921" fmla="*/ 40809 h 6698675"/>
              <a:gd name="connsiteX11922" fmla="*/ 2741006 w 8267681"/>
              <a:gd name="connsiteY11922" fmla="*/ 54021 h 6698675"/>
              <a:gd name="connsiteX11923" fmla="*/ 2795027 w 8267681"/>
              <a:gd name="connsiteY11923" fmla="*/ 122136 h 6698675"/>
              <a:gd name="connsiteX11924" fmla="*/ 2830260 w 8267681"/>
              <a:gd name="connsiteY11924" fmla="*/ 89253 h 6698675"/>
              <a:gd name="connsiteX11925" fmla="*/ 2872537 w 8267681"/>
              <a:gd name="connsiteY11925" fmla="*/ 96299 h 6698675"/>
              <a:gd name="connsiteX11926" fmla="*/ 2842003 w 8267681"/>
              <a:gd name="connsiteY11926" fmla="*/ 89253 h 6698675"/>
              <a:gd name="connsiteX11927" fmla="*/ 2820864 w 8267681"/>
              <a:gd name="connsiteY11927" fmla="*/ 39928 h 6698675"/>
              <a:gd name="connsiteX11928" fmla="*/ 2805891 w 8267681"/>
              <a:gd name="connsiteY11928" fmla="*/ 39048 h 6698675"/>
              <a:gd name="connsiteX11929" fmla="*/ 2790330 w 8267681"/>
              <a:gd name="connsiteY11929" fmla="*/ 28900 h 6698675"/>
              <a:gd name="connsiteX11930" fmla="*/ 2802074 w 8267681"/>
              <a:gd name="connsiteY11930" fmla="*/ 25837 h 6698675"/>
              <a:gd name="connsiteX11931" fmla="*/ 2893676 w 8267681"/>
              <a:gd name="connsiteY11931" fmla="*/ 61067 h 6698675"/>
              <a:gd name="connsiteX11932" fmla="*/ 2982930 w 8267681"/>
              <a:gd name="connsiteY11932" fmla="*/ 199644 h 6698675"/>
              <a:gd name="connsiteX11933" fmla="*/ 3039300 w 8267681"/>
              <a:gd name="connsiteY11933" fmla="*/ 460358 h 6698675"/>
              <a:gd name="connsiteX11934" fmla="*/ 3018161 w 8267681"/>
              <a:gd name="connsiteY11934" fmla="*/ 310037 h 6698675"/>
              <a:gd name="connsiteX11935" fmla="*/ 2978232 w 8267681"/>
              <a:gd name="connsiteY11935" fmla="*/ 159716 h 6698675"/>
              <a:gd name="connsiteX11936" fmla="*/ 3013464 w 8267681"/>
              <a:gd name="connsiteY11936" fmla="*/ 244271 h 6698675"/>
              <a:gd name="connsiteX11937" fmla="*/ 3043998 w 8267681"/>
              <a:gd name="connsiteY11937" fmla="*/ 375802 h 6698675"/>
              <a:gd name="connsiteX11938" fmla="*/ 3074532 w 8267681"/>
              <a:gd name="connsiteY11938" fmla="*/ 763348 h 6698675"/>
              <a:gd name="connsiteX11939" fmla="*/ 3067486 w 8267681"/>
              <a:gd name="connsiteY11939" fmla="*/ 697582 h 6698675"/>
              <a:gd name="connsiteX11940" fmla="*/ 3079231 w 8267681"/>
              <a:gd name="connsiteY11940" fmla="*/ 946552 h 6698675"/>
              <a:gd name="connsiteX11941" fmla="*/ 3083927 w 8267681"/>
              <a:gd name="connsiteY11941" fmla="*/ 1031108 h 6698675"/>
              <a:gd name="connsiteX11942" fmla="*/ 3095671 w 8267681"/>
              <a:gd name="connsiteY11942" fmla="*/ 1092184 h 6698675"/>
              <a:gd name="connsiteX11943" fmla="*/ 3187274 w 8267681"/>
              <a:gd name="connsiteY11943" fmla="*/ 1155597 h 6698675"/>
              <a:gd name="connsiteX11944" fmla="*/ 3276528 w 8267681"/>
              <a:gd name="connsiteY11944" fmla="*/ 1120367 h 6698675"/>
              <a:gd name="connsiteX11945" fmla="*/ 3311758 w 8267681"/>
              <a:gd name="connsiteY11945" fmla="*/ 1080442 h 6698675"/>
              <a:gd name="connsiteX11946" fmla="*/ 3328200 w 8267681"/>
              <a:gd name="connsiteY11946" fmla="*/ 1035806 h 6698675"/>
              <a:gd name="connsiteX11947" fmla="*/ 3330549 w 8267681"/>
              <a:gd name="connsiteY11947" fmla="*/ 972396 h 6698675"/>
              <a:gd name="connsiteX11948" fmla="*/ 3323502 w 8267681"/>
              <a:gd name="connsiteY11948" fmla="*/ 981791 h 6698675"/>
              <a:gd name="connsiteX11949" fmla="*/ 3321155 w 8267681"/>
              <a:gd name="connsiteY11949" fmla="*/ 1000578 h 6698675"/>
              <a:gd name="connsiteX11950" fmla="*/ 3309410 w 8267681"/>
              <a:gd name="connsiteY11950" fmla="*/ 1049902 h 6698675"/>
              <a:gd name="connsiteX11951" fmla="*/ 3307061 w 8267681"/>
              <a:gd name="connsiteY11951" fmla="*/ 1045204 h 6698675"/>
              <a:gd name="connsiteX11952" fmla="*/ 3304712 w 8267681"/>
              <a:gd name="connsiteY11952" fmla="*/ 1049902 h 6698675"/>
              <a:gd name="connsiteX11953" fmla="*/ 3307061 w 8267681"/>
              <a:gd name="connsiteY11953" fmla="*/ 930110 h 6698675"/>
              <a:gd name="connsiteX11954" fmla="*/ 3271829 w 8267681"/>
              <a:gd name="connsiteY11954" fmla="*/ 838509 h 6698675"/>
              <a:gd name="connsiteX11955" fmla="*/ 3260085 w 8267681"/>
              <a:gd name="connsiteY11955" fmla="*/ 775092 h 6698675"/>
              <a:gd name="connsiteX11956" fmla="*/ 3274178 w 8267681"/>
              <a:gd name="connsiteY11956" fmla="*/ 699931 h 6698675"/>
              <a:gd name="connsiteX11957" fmla="*/ 3281225 w 8267681"/>
              <a:gd name="connsiteY11957" fmla="*/ 685839 h 6698675"/>
              <a:gd name="connsiteX11958" fmla="*/ 3321155 w 8267681"/>
              <a:gd name="connsiteY11958" fmla="*/ 636515 h 6698675"/>
              <a:gd name="connsiteX11959" fmla="*/ 3325851 w 8267681"/>
              <a:gd name="connsiteY11959" fmla="*/ 631818 h 6698675"/>
              <a:gd name="connsiteX11960" fmla="*/ 3417454 w 8267681"/>
              <a:gd name="connsiteY11960" fmla="*/ 610679 h 6698675"/>
              <a:gd name="connsiteX11961" fmla="*/ 3518452 w 8267681"/>
              <a:gd name="connsiteY11961" fmla="*/ 674096 h 6698675"/>
              <a:gd name="connsiteX11962" fmla="*/ 3513754 w 8267681"/>
              <a:gd name="connsiteY11962" fmla="*/ 678793 h 6698675"/>
              <a:gd name="connsiteX11963" fmla="*/ 3506708 w 8267681"/>
              <a:gd name="connsiteY11963" fmla="*/ 671747 h 6698675"/>
              <a:gd name="connsiteX11964" fmla="*/ 3508176 w 8267681"/>
              <a:gd name="connsiteY11964" fmla="*/ 676153 h 6698675"/>
              <a:gd name="connsiteX11965" fmla="*/ 3509056 w 8267681"/>
              <a:gd name="connsiteY11965" fmla="*/ 676446 h 6698675"/>
              <a:gd name="connsiteX11966" fmla="*/ 3509056 w 8267681"/>
              <a:gd name="connsiteY11966" fmla="*/ 678793 h 6698675"/>
              <a:gd name="connsiteX11967" fmla="*/ 3509056 w 8267681"/>
              <a:gd name="connsiteY11967" fmla="*/ 683492 h 6698675"/>
              <a:gd name="connsiteX11968" fmla="*/ 3505594 w 8267681"/>
              <a:gd name="connsiteY11968" fmla="*/ 678298 h 6698675"/>
              <a:gd name="connsiteX11969" fmla="*/ 3494670 w 8267681"/>
              <a:gd name="connsiteY11969" fmla="*/ 676738 h 6698675"/>
              <a:gd name="connsiteX11970" fmla="*/ 3485568 w 8267681"/>
              <a:gd name="connsiteY11970" fmla="*/ 683491 h 6698675"/>
              <a:gd name="connsiteX11971" fmla="*/ 3511405 w 8267681"/>
              <a:gd name="connsiteY11971" fmla="*/ 683491 h 6698675"/>
              <a:gd name="connsiteX11972" fmla="*/ 3520800 w 8267681"/>
              <a:gd name="connsiteY11972" fmla="*/ 702280 h 6698675"/>
              <a:gd name="connsiteX11973" fmla="*/ 3511405 w 8267681"/>
              <a:gd name="connsiteY11973" fmla="*/ 706977 h 6698675"/>
              <a:gd name="connsiteX11974" fmla="*/ 3391618 w 8267681"/>
              <a:gd name="connsiteY11974" fmla="*/ 732814 h 6698675"/>
              <a:gd name="connsiteX11975" fmla="*/ 3459732 w 8267681"/>
              <a:gd name="connsiteY11975" fmla="*/ 732814 h 6698675"/>
              <a:gd name="connsiteX11976" fmla="*/ 3417454 w 8267681"/>
              <a:gd name="connsiteY11976" fmla="*/ 756302 h 6698675"/>
              <a:gd name="connsiteX11977" fmla="*/ 3438593 w 8267681"/>
              <a:gd name="connsiteY11977" fmla="*/ 751604 h 6698675"/>
              <a:gd name="connsiteX11978" fmla="*/ 3424500 w 8267681"/>
              <a:gd name="connsiteY11978" fmla="*/ 765697 h 6698675"/>
              <a:gd name="connsiteX11979" fmla="*/ 3450337 w 8267681"/>
              <a:gd name="connsiteY11979" fmla="*/ 770394 h 6698675"/>
              <a:gd name="connsiteX11980" fmla="*/ 3410407 w 8267681"/>
              <a:gd name="connsiteY11980" fmla="*/ 883135 h 6698675"/>
              <a:gd name="connsiteX11981" fmla="*/ 3426849 w 8267681"/>
              <a:gd name="connsiteY11981" fmla="*/ 876089 h 6698675"/>
              <a:gd name="connsiteX11982" fmla="*/ 3398664 w 8267681"/>
              <a:gd name="connsiteY11982" fmla="*/ 946552 h 6698675"/>
              <a:gd name="connsiteX11983" fmla="*/ 3325851 w 8267681"/>
              <a:gd name="connsiteY11983" fmla="*/ 1073396 h 6698675"/>
              <a:gd name="connsiteX11984" fmla="*/ 3316456 w 8267681"/>
              <a:gd name="connsiteY11984" fmla="*/ 1110971 h 6698675"/>
              <a:gd name="connsiteX11985" fmla="*/ 3304712 w 8267681"/>
              <a:gd name="connsiteY11985" fmla="*/ 1106282 h 6698675"/>
              <a:gd name="connsiteX11986" fmla="*/ 3314107 w 8267681"/>
              <a:gd name="connsiteY11986" fmla="*/ 1164992 h 6698675"/>
              <a:gd name="connsiteX11987" fmla="*/ 3281225 w 8267681"/>
              <a:gd name="connsiteY11987" fmla="*/ 1179085 h 6698675"/>
              <a:gd name="connsiteX11988" fmla="*/ 3271829 w 8267681"/>
              <a:gd name="connsiteY11988" fmla="*/ 1216667 h 6698675"/>
              <a:gd name="connsiteX11989" fmla="*/ 3309410 w 8267681"/>
              <a:gd name="connsiteY11989" fmla="*/ 1226063 h 6698675"/>
              <a:gd name="connsiteX11990" fmla="*/ 3321155 w 8267681"/>
              <a:gd name="connsiteY11990" fmla="*/ 1331761 h 6698675"/>
              <a:gd name="connsiteX11991" fmla="*/ 3285922 w 8267681"/>
              <a:gd name="connsiteY11991" fmla="*/ 1350552 h 6698675"/>
              <a:gd name="connsiteX11992" fmla="*/ 3314107 w 8267681"/>
              <a:gd name="connsiteY11992" fmla="*/ 1362296 h 6698675"/>
              <a:gd name="connsiteX11993" fmla="*/ 3208412 w 8267681"/>
              <a:gd name="connsiteY11993" fmla="*/ 1503227 h 6698675"/>
              <a:gd name="connsiteX11994" fmla="*/ 3210761 w 8267681"/>
              <a:gd name="connsiteY11994" fmla="*/ 1531414 h 6698675"/>
              <a:gd name="connsiteX11995" fmla="*/ 3114461 w 8267681"/>
              <a:gd name="connsiteY11995" fmla="*/ 1634760 h 6698675"/>
              <a:gd name="connsiteX11996" fmla="*/ 3137949 w 8267681"/>
              <a:gd name="connsiteY11996" fmla="*/ 1644155 h 6698675"/>
              <a:gd name="connsiteX11997" fmla="*/ 3215459 w 8267681"/>
              <a:gd name="connsiteY11997" fmla="*/ 1573693 h 6698675"/>
              <a:gd name="connsiteX11998" fmla="*/ 3361083 w 8267681"/>
              <a:gd name="connsiteY11998" fmla="*/ 1348203 h 6698675"/>
              <a:gd name="connsiteX11999" fmla="*/ 3410407 w 8267681"/>
              <a:gd name="connsiteY11999" fmla="*/ 1341156 h 6698675"/>
              <a:gd name="connsiteX12000" fmla="*/ 3384571 w 8267681"/>
              <a:gd name="connsiteY12000" fmla="*/ 1357598 h 6698675"/>
              <a:gd name="connsiteX12001" fmla="*/ 3426849 w 8267681"/>
              <a:gd name="connsiteY12001" fmla="*/ 1355249 h 6698675"/>
              <a:gd name="connsiteX12002" fmla="*/ 3485568 w 8267681"/>
              <a:gd name="connsiteY12002" fmla="*/ 1378738 h 6698675"/>
              <a:gd name="connsiteX12003" fmla="*/ 3600658 w 8267681"/>
              <a:gd name="connsiteY12003" fmla="*/ 1214318 h 6698675"/>
              <a:gd name="connsiteX12004" fmla="*/ 3647634 w 8267681"/>
              <a:gd name="connsiteY12004" fmla="*/ 1200225 h 6698675"/>
              <a:gd name="connsiteX12005" fmla="*/ 3588915 w 8267681"/>
              <a:gd name="connsiteY12005" fmla="*/ 1209620 h 6698675"/>
              <a:gd name="connsiteX12006" fmla="*/ 3591263 w 8267681"/>
              <a:gd name="connsiteY12006" fmla="*/ 1169690 h 6698675"/>
              <a:gd name="connsiteX12007" fmla="*/ 3593612 w 8267681"/>
              <a:gd name="connsiteY12007" fmla="*/ 1169690 h 6698675"/>
              <a:gd name="connsiteX12008" fmla="*/ 3605356 w 8267681"/>
              <a:gd name="connsiteY12008" fmla="*/ 1164992 h 6698675"/>
              <a:gd name="connsiteX12009" fmla="*/ 3621798 w 8267681"/>
              <a:gd name="connsiteY12009" fmla="*/ 1155597 h 6698675"/>
              <a:gd name="connsiteX12010" fmla="*/ 3654680 w 8267681"/>
              <a:gd name="connsiteY12010" fmla="*/ 1120367 h 6698675"/>
              <a:gd name="connsiteX12011" fmla="*/ 3649983 w 8267681"/>
              <a:gd name="connsiteY12011" fmla="*/ 1134460 h 6698675"/>
              <a:gd name="connsiteX12012" fmla="*/ 3696958 w 8267681"/>
              <a:gd name="connsiteY12012" fmla="*/ 1059299 h 6698675"/>
              <a:gd name="connsiteX12013" fmla="*/ 3701656 w 8267681"/>
              <a:gd name="connsiteY12013" fmla="*/ 1052252 h 6698675"/>
              <a:gd name="connsiteX12014" fmla="*/ 3762724 w 8267681"/>
              <a:gd name="connsiteY12014" fmla="*/ 885484 h 6698675"/>
              <a:gd name="connsiteX12015" fmla="*/ 3760375 w 8267681"/>
              <a:gd name="connsiteY12015" fmla="*/ 899576 h 6698675"/>
              <a:gd name="connsiteX12016" fmla="*/ 3790909 w 8267681"/>
              <a:gd name="connsiteY12016" fmla="*/ 749255 h 6698675"/>
              <a:gd name="connsiteX12017" fmla="*/ 3802653 w 8267681"/>
              <a:gd name="connsiteY12017" fmla="*/ 742209 h 6698675"/>
              <a:gd name="connsiteX12018" fmla="*/ 3821444 w 8267681"/>
              <a:gd name="connsiteY12018" fmla="*/ 763348 h 6698675"/>
              <a:gd name="connsiteX12019" fmla="*/ 3819095 w 8267681"/>
              <a:gd name="connsiteY12019" fmla="*/ 735163 h 6698675"/>
              <a:gd name="connsiteX12020" fmla="*/ 3887209 w 8267681"/>
              <a:gd name="connsiteY12020" fmla="*/ 735163 h 6698675"/>
              <a:gd name="connsiteX12021" fmla="*/ 3910697 w 8267681"/>
              <a:gd name="connsiteY12021" fmla="*/ 697582 h 6698675"/>
              <a:gd name="connsiteX12022" fmla="*/ 3950626 w 8267681"/>
              <a:gd name="connsiteY12022" fmla="*/ 681142 h 6698675"/>
              <a:gd name="connsiteX12023" fmla="*/ 3967068 w 8267681"/>
              <a:gd name="connsiteY12023" fmla="*/ 706977 h 6698675"/>
              <a:gd name="connsiteX12024" fmla="*/ 3974114 w 8267681"/>
              <a:gd name="connsiteY12024" fmla="*/ 587191 h 6698675"/>
              <a:gd name="connsiteX12025" fmla="*/ 3866070 w 8267681"/>
              <a:gd name="connsiteY12025" fmla="*/ 502636 h 6698675"/>
              <a:gd name="connsiteX12026" fmla="*/ 3826141 w 8267681"/>
              <a:gd name="connsiteY12026" fmla="*/ 500287 h 6698675"/>
              <a:gd name="connsiteX12027" fmla="*/ 3779166 w 8267681"/>
              <a:gd name="connsiteY12027" fmla="*/ 526123 h 6698675"/>
              <a:gd name="connsiteX12028" fmla="*/ 3779166 w 8267681"/>
              <a:gd name="connsiteY12028" fmla="*/ 523775 h 6698675"/>
              <a:gd name="connsiteX12029" fmla="*/ 3772119 w 8267681"/>
              <a:gd name="connsiteY12029" fmla="*/ 490892 h 6698675"/>
              <a:gd name="connsiteX12030" fmla="*/ 3767423 w 8267681"/>
              <a:gd name="connsiteY12030" fmla="*/ 450963 h 6698675"/>
              <a:gd name="connsiteX12031" fmla="*/ 3790909 w 8267681"/>
              <a:gd name="connsiteY12031" fmla="*/ 347617 h 6698675"/>
              <a:gd name="connsiteX12032" fmla="*/ 3842583 w 8267681"/>
              <a:gd name="connsiteY12032" fmla="*/ 300642 h 6698675"/>
              <a:gd name="connsiteX12033" fmla="*/ 3917743 w 8267681"/>
              <a:gd name="connsiteY12033" fmla="*/ 281852 h 6698675"/>
              <a:gd name="connsiteX12034" fmla="*/ 3896605 w 8267681"/>
              <a:gd name="connsiteY12034" fmla="*/ 279503 h 6698675"/>
              <a:gd name="connsiteX12035" fmla="*/ 3873117 w 8267681"/>
              <a:gd name="connsiteY12035" fmla="*/ 281852 h 6698675"/>
              <a:gd name="connsiteX12036" fmla="*/ 3981160 w 8267681"/>
              <a:gd name="connsiteY12036" fmla="*/ 284200 h 6698675"/>
              <a:gd name="connsiteX12037" fmla="*/ 4079810 w 8267681"/>
              <a:gd name="connsiteY12037" fmla="*/ 338222 h 6698675"/>
              <a:gd name="connsiteX12038" fmla="*/ 4131482 w 8267681"/>
              <a:gd name="connsiteY12038" fmla="*/ 450963 h 6698675"/>
              <a:gd name="connsiteX12039" fmla="*/ 4100948 w 8267681"/>
              <a:gd name="connsiteY12039" fmla="*/ 566052 h 6698675"/>
              <a:gd name="connsiteX12040" fmla="*/ 4086855 w 8267681"/>
              <a:gd name="connsiteY12040" fmla="*/ 589540 h 6698675"/>
              <a:gd name="connsiteX12041" fmla="*/ 4072763 w 8267681"/>
              <a:gd name="connsiteY12041" fmla="*/ 610679 h 6698675"/>
              <a:gd name="connsiteX12042" fmla="*/ 4042230 w 8267681"/>
              <a:gd name="connsiteY12042" fmla="*/ 650608 h 6698675"/>
              <a:gd name="connsiteX12043" fmla="*/ 3978812 w 8267681"/>
              <a:gd name="connsiteY12043" fmla="*/ 725768 h 6698675"/>
              <a:gd name="connsiteX12044" fmla="*/ 3922441 w 8267681"/>
              <a:gd name="connsiteY12044" fmla="*/ 796231 h 6698675"/>
              <a:gd name="connsiteX12045" fmla="*/ 3901302 w 8267681"/>
              <a:gd name="connsiteY12045" fmla="*/ 833812 h 6698675"/>
              <a:gd name="connsiteX12046" fmla="*/ 3882513 w 8267681"/>
              <a:gd name="connsiteY12046" fmla="*/ 876089 h 6698675"/>
              <a:gd name="connsiteX12047" fmla="*/ 3826141 w 8267681"/>
              <a:gd name="connsiteY12047" fmla="*/ 1054601 h 6698675"/>
              <a:gd name="connsiteX12048" fmla="*/ 3812048 w 8267681"/>
              <a:gd name="connsiteY12048" fmla="*/ 1146203 h 6698675"/>
              <a:gd name="connsiteX12049" fmla="*/ 3816746 w 8267681"/>
              <a:gd name="connsiteY12049" fmla="*/ 1219015 h 6698675"/>
              <a:gd name="connsiteX12050" fmla="*/ 3927140 w 8267681"/>
              <a:gd name="connsiteY12050" fmla="*/ 1310622 h 6698675"/>
              <a:gd name="connsiteX12051" fmla="*/ 3974114 w 8267681"/>
              <a:gd name="connsiteY12051" fmla="*/ 1324714 h 6698675"/>
              <a:gd name="connsiteX12052" fmla="*/ 3976463 w 8267681"/>
              <a:gd name="connsiteY12052" fmla="*/ 1320017 h 6698675"/>
              <a:gd name="connsiteX12053" fmla="*/ 4016392 w 8267681"/>
              <a:gd name="connsiteY12053" fmla="*/ 1249551 h 6698675"/>
              <a:gd name="connsiteX12054" fmla="*/ 4096251 w 8267681"/>
              <a:gd name="connsiteY12054" fmla="*/ 1237807 h 6698675"/>
              <a:gd name="connsiteX12055" fmla="*/ 4091553 w 8267681"/>
              <a:gd name="connsiteY12055" fmla="*/ 1193179 h 6698675"/>
              <a:gd name="connsiteX12056" fmla="*/ 4124437 w 8267681"/>
              <a:gd name="connsiteY12056" fmla="*/ 1181434 h 6698675"/>
              <a:gd name="connsiteX12057" fmla="*/ 4128069 w 8267681"/>
              <a:gd name="connsiteY12057" fmla="*/ 1209511 h 6698675"/>
              <a:gd name="connsiteX12058" fmla="*/ 4133526 w 8267681"/>
              <a:gd name="connsiteY12058" fmla="*/ 1211839 h 6698675"/>
              <a:gd name="connsiteX12059" fmla="*/ 4133562 w 8267681"/>
              <a:gd name="connsiteY12059" fmla="*/ 1212560 h 6698675"/>
              <a:gd name="connsiteX12060" fmla="*/ 4130492 w 8267681"/>
              <a:gd name="connsiteY12060" fmla="*/ 1219273 h 6698675"/>
              <a:gd name="connsiteX12061" fmla="*/ 4110343 w 8267681"/>
              <a:gd name="connsiteY12061" fmla="*/ 1214318 h 6698675"/>
              <a:gd name="connsiteX12062" fmla="*/ 4111721 w 8267681"/>
              <a:gd name="connsiteY12062" fmla="*/ 1223411 h 6698675"/>
              <a:gd name="connsiteX12063" fmla="*/ 4119262 w 8267681"/>
              <a:gd name="connsiteY12063" fmla="*/ 1234303 h 6698675"/>
              <a:gd name="connsiteX12064" fmla="*/ 4116509 w 8267681"/>
              <a:gd name="connsiteY12064" fmla="*/ 1241680 h 6698675"/>
              <a:gd name="connsiteX12065" fmla="*/ 4114334 w 8267681"/>
              <a:gd name="connsiteY12065" fmla="*/ 1240654 h 6698675"/>
              <a:gd name="connsiteX12066" fmla="*/ 4114747 w 8267681"/>
              <a:gd name="connsiteY12066" fmla="*/ 1243385 h 6698675"/>
              <a:gd name="connsiteX12067" fmla="*/ 4110343 w 8267681"/>
              <a:gd name="connsiteY12067" fmla="*/ 1277737 h 6698675"/>
              <a:gd name="connsiteX12068" fmla="*/ 4143226 w 8267681"/>
              <a:gd name="connsiteY12068" fmla="*/ 1265993 h 6698675"/>
              <a:gd name="connsiteX12069" fmla="*/ 4105646 w 8267681"/>
              <a:gd name="connsiteY12069" fmla="*/ 1310622 h 6698675"/>
              <a:gd name="connsiteX12070" fmla="*/ 4105646 w 8267681"/>
              <a:gd name="connsiteY12070" fmla="*/ 1322366 h 6698675"/>
              <a:gd name="connsiteX12071" fmla="*/ 4145575 w 8267681"/>
              <a:gd name="connsiteY12071" fmla="*/ 1308272 h 6698675"/>
              <a:gd name="connsiteX12072" fmla="*/ 4150273 w 8267681"/>
              <a:gd name="connsiteY12072" fmla="*/ 1303574 h 6698675"/>
              <a:gd name="connsiteX12073" fmla="*/ 4152621 w 8267681"/>
              <a:gd name="connsiteY12073" fmla="*/ 1301225 h 6698675"/>
              <a:gd name="connsiteX12074" fmla="*/ 4152621 w 8267681"/>
              <a:gd name="connsiteY12074" fmla="*/ 1298877 h 6698675"/>
              <a:gd name="connsiteX12075" fmla="*/ 4143226 w 8267681"/>
              <a:gd name="connsiteY12075" fmla="*/ 1254249 h 6698675"/>
              <a:gd name="connsiteX12076" fmla="*/ 4133832 w 8267681"/>
              <a:gd name="connsiteY12076" fmla="*/ 1218135 h 6698675"/>
              <a:gd name="connsiteX12077" fmla="*/ 4133562 w 8267681"/>
              <a:gd name="connsiteY12077" fmla="*/ 1212560 h 6698675"/>
              <a:gd name="connsiteX12078" fmla="*/ 4133831 w 8267681"/>
              <a:gd name="connsiteY12078" fmla="*/ 1211969 h 6698675"/>
              <a:gd name="connsiteX12079" fmla="*/ 4133526 w 8267681"/>
              <a:gd name="connsiteY12079" fmla="*/ 1211839 h 6698675"/>
              <a:gd name="connsiteX12080" fmla="*/ 4131482 w 8267681"/>
              <a:gd name="connsiteY12080" fmla="*/ 1169690 h 6698675"/>
              <a:gd name="connsiteX12081" fmla="*/ 4145575 w 8267681"/>
              <a:gd name="connsiteY12081" fmla="*/ 1247203 h 6698675"/>
              <a:gd name="connsiteX12082" fmla="*/ 4159668 w 8267681"/>
              <a:gd name="connsiteY12082" fmla="*/ 1289482 h 6698675"/>
              <a:gd name="connsiteX12083" fmla="*/ 4159668 w 8267681"/>
              <a:gd name="connsiteY12083" fmla="*/ 1249551 h 6698675"/>
              <a:gd name="connsiteX12084" fmla="*/ 4147924 w 8267681"/>
              <a:gd name="connsiteY12084" fmla="*/ 1183783 h 6698675"/>
              <a:gd name="connsiteX12085" fmla="*/ 4150273 w 8267681"/>
              <a:gd name="connsiteY12085" fmla="*/ 1169690 h 6698675"/>
              <a:gd name="connsiteX12086" fmla="*/ 4152621 w 8267681"/>
              <a:gd name="connsiteY12086" fmla="*/ 1155597 h 6698675"/>
              <a:gd name="connsiteX12087" fmla="*/ 4159668 w 8267681"/>
              <a:gd name="connsiteY12087" fmla="*/ 1139158 h 6698675"/>
              <a:gd name="connsiteX12088" fmla="*/ 4169063 w 8267681"/>
              <a:gd name="connsiteY12088" fmla="*/ 1125064 h 6698675"/>
              <a:gd name="connsiteX12089" fmla="*/ 4180806 w 8267681"/>
              <a:gd name="connsiteY12089" fmla="*/ 1113321 h 6698675"/>
              <a:gd name="connsiteX12090" fmla="*/ 4194899 w 8267681"/>
              <a:gd name="connsiteY12090" fmla="*/ 1103929 h 6698675"/>
              <a:gd name="connsiteX12091" fmla="*/ 4225434 w 8267681"/>
              <a:gd name="connsiteY12091" fmla="*/ 1092184 h 6698675"/>
              <a:gd name="connsiteX12092" fmla="*/ 4258316 w 8267681"/>
              <a:gd name="connsiteY12092" fmla="*/ 1082792 h 6698675"/>
              <a:gd name="connsiteX12093" fmla="*/ 4291199 w 8267681"/>
              <a:gd name="connsiteY12093" fmla="*/ 1082792 h 6698675"/>
              <a:gd name="connsiteX12094" fmla="*/ 4347570 w 8267681"/>
              <a:gd name="connsiteY12094" fmla="*/ 1113321 h 6698675"/>
              <a:gd name="connsiteX12095" fmla="*/ 4396894 w 8267681"/>
              <a:gd name="connsiteY12095" fmla="*/ 1160295 h 6698675"/>
              <a:gd name="connsiteX12096" fmla="*/ 4410987 w 8267681"/>
              <a:gd name="connsiteY12096" fmla="*/ 1183783 h 6698675"/>
              <a:gd name="connsiteX12097" fmla="*/ 4410987 w 8267681"/>
              <a:gd name="connsiteY12097" fmla="*/ 1174387 h 6698675"/>
              <a:gd name="connsiteX12098" fmla="*/ 4410987 w 8267681"/>
              <a:gd name="connsiteY12098" fmla="*/ 1164992 h 6698675"/>
              <a:gd name="connsiteX12099" fmla="*/ 4425080 w 8267681"/>
              <a:gd name="connsiteY12099" fmla="*/ 1193179 h 6698675"/>
              <a:gd name="connsiteX12100" fmla="*/ 4432126 w 8267681"/>
              <a:gd name="connsiteY12100" fmla="*/ 1240155 h 6698675"/>
              <a:gd name="connsiteX12101" fmla="*/ 4434475 w 8267681"/>
              <a:gd name="connsiteY12101" fmla="*/ 1240155 h 6698675"/>
              <a:gd name="connsiteX12102" fmla="*/ 4434475 w 8267681"/>
              <a:gd name="connsiteY12102" fmla="*/ 1249551 h 6698675"/>
              <a:gd name="connsiteX12103" fmla="*/ 4432126 w 8267681"/>
              <a:gd name="connsiteY12103" fmla="*/ 1249551 h 6698675"/>
              <a:gd name="connsiteX12104" fmla="*/ 4427428 w 8267681"/>
              <a:gd name="connsiteY12104" fmla="*/ 1265993 h 6698675"/>
              <a:gd name="connsiteX12105" fmla="*/ 4418033 w 8267681"/>
              <a:gd name="connsiteY12105" fmla="*/ 1282435 h 6698675"/>
              <a:gd name="connsiteX12106" fmla="*/ 4418033 w 8267681"/>
              <a:gd name="connsiteY12106" fmla="*/ 1287133 h 6698675"/>
              <a:gd name="connsiteX12107" fmla="*/ 4415684 w 8267681"/>
              <a:gd name="connsiteY12107" fmla="*/ 1289482 h 6698675"/>
              <a:gd name="connsiteX12108" fmla="*/ 4418033 w 8267681"/>
              <a:gd name="connsiteY12108" fmla="*/ 1312970 h 6698675"/>
              <a:gd name="connsiteX12109" fmla="*/ 4420382 w 8267681"/>
              <a:gd name="connsiteY12109" fmla="*/ 1312970 h 6698675"/>
              <a:gd name="connsiteX12110" fmla="*/ 4422731 w 8267681"/>
              <a:gd name="connsiteY12110" fmla="*/ 1322366 h 6698675"/>
              <a:gd name="connsiteX12111" fmla="*/ 4427428 w 8267681"/>
              <a:gd name="connsiteY12111" fmla="*/ 1324714 h 6698675"/>
              <a:gd name="connsiteX12112" fmla="*/ 4441521 w 8267681"/>
              <a:gd name="connsiteY12112" fmla="*/ 1289482 h 6698675"/>
              <a:gd name="connsiteX12113" fmla="*/ 4467652 w 8267681"/>
              <a:gd name="connsiteY12113" fmla="*/ 1253368 h 6698675"/>
              <a:gd name="connsiteX12114" fmla="*/ 4496236 w 8267681"/>
              <a:gd name="connsiteY12114" fmla="*/ 1231028 h 6698675"/>
              <a:gd name="connsiteX12115" fmla="*/ 4505232 w 8267681"/>
              <a:gd name="connsiteY12115" fmla="*/ 1225475 h 6698675"/>
              <a:gd name="connsiteX12116" fmla="*/ 4519448 w 8267681"/>
              <a:gd name="connsiteY12116" fmla="*/ 1220608 h 6698675"/>
              <a:gd name="connsiteX12117" fmla="*/ 4539057 w 8267681"/>
              <a:gd name="connsiteY12117" fmla="*/ 1214264 h 6698675"/>
              <a:gd name="connsiteX12118" fmla="*/ 4555672 w 8267681"/>
              <a:gd name="connsiteY12118" fmla="*/ 1213531 h 6698675"/>
              <a:gd name="connsiteX12119" fmla="*/ 4582448 w 8267681"/>
              <a:gd name="connsiteY12119" fmla="*/ 1214318 h 6698675"/>
              <a:gd name="connsiteX12120" fmla="*/ 4645865 w 8267681"/>
              <a:gd name="connsiteY12120" fmla="*/ 1240155 h 6698675"/>
              <a:gd name="connsiteX12121" fmla="*/ 4702236 w 8267681"/>
              <a:gd name="connsiteY12121" fmla="*/ 1312970 h 6698675"/>
              <a:gd name="connsiteX12122" fmla="*/ 4718677 w 8267681"/>
              <a:gd name="connsiteY12122" fmla="*/ 1331761 h 6698675"/>
              <a:gd name="connsiteX12123" fmla="*/ 4718677 w 8267681"/>
              <a:gd name="connsiteY12123" fmla="*/ 1323540 h 6698675"/>
              <a:gd name="connsiteX12124" fmla="*/ 4716328 w 8267681"/>
              <a:gd name="connsiteY12124" fmla="*/ 1318450 h 6698675"/>
              <a:gd name="connsiteX12125" fmla="*/ 4711631 w 8267681"/>
              <a:gd name="connsiteY12125" fmla="*/ 1308272 h 6698675"/>
              <a:gd name="connsiteX12126" fmla="*/ 4617680 w 8267681"/>
              <a:gd name="connsiteY12126" fmla="*/ 1221365 h 6698675"/>
              <a:gd name="connsiteX12127" fmla="*/ 4577751 w 8267681"/>
              <a:gd name="connsiteY12127" fmla="*/ 1212557 h 6698675"/>
              <a:gd name="connsiteX12128" fmla="*/ 4555672 w 8267681"/>
              <a:gd name="connsiteY12128" fmla="*/ 1213531 h 6698675"/>
              <a:gd name="connsiteX12129" fmla="*/ 4542519 w 8267681"/>
              <a:gd name="connsiteY12129" fmla="*/ 1213144 h 6698675"/>
              <a:gd name="connsiteX12130" fmla="*/ 4539057 w 8267681"/>
              <a:gd name="connsiteY12130" fmla="*/ 1214264 h 6698675"/>
              <a:gd name="connsiteX12131" fmla="*/ 4537821 w 8267681"/>
              <a:gd name="connsiteY12131" fmla="*/ 1214318 h 6698675"/>
              <a:gd name="connsiteX12132" fmla="*/ 4519448 w 8267681"/>
              <a:gd name="connsiteY12132" fmla="*/ 1220608 h 6698675"/>
              <a:gd name="connsiteX12133" fmla="*/ 4502589 w 8267681"/>
              <a:gd name="connsiteY12133" fmla="*/ 1226063 h 6698675"/>
              <a:gd name="connsiteX12134" fmla="*/ 4496236 w 8267681"/>
              <a:gd name="connsiteY12134" fmla="*/ 1231028 h 6698675"/>
              <a:gd name="connsiteX12135" fmla="*/ 4481450 w 8267681"/>
              <a:gd name="connsiteY12135" fmla="*/ 1240155 h 6698675"/>
              <a:gd name="connsiteX12136" fmla="*/ 4462660 w 8267681"/>
              <a:gd name="connsiteY12136" fmla="*/ 1254249 h 6698675"/>
              <a:gd name="connsiteX12137" fmla="*/ 4467358 w 8267681"/>
              <a:gd name="connsiteY12137" fmla="*/ 1247203 h 6698675"/>
              <a:gd name="connsiteX12138" fmla="*/ 4486148 w 8267681"/>
              <a:gd name="connsiteY12138" fmla="*/ 1228411 h 6698675"/>
              <a:gd name="connsiteX12139" fmla="*/ 4589494 w 8267681"/>
              <a:gd name="connsiteY12139" fmla="*/ 1209620 h 6698675"/>
              <a:gd name="connsiteX12140" fmla="*/ 4709282 w 8267681"/>
              <a:gd name="connsiteY12140" fmla="*/ 1298877 h 6698675"/>
              <a:gd name="connsiteX12141" fmla="*/ 4699887 w 8267681"/>
              <a:gd name="connsiteY12141" fmla="*/ 1275389 h 6698675"/>
              <a:gd name="connsiteX12142" fmla="*/ 4688143 w 8267681"/>
              <a:gd name="connsiteY12142" fmla="*/ 1251900 h 6698675"/>
              <a:gd name="connsiteX12143" fmla="*/ 4721026 w 8267681"/>
              <a:gd name="connsiteY12143" fmla="*/ 1294179 h 6698675"/>
              <a:gd name="connsiteX12144" fmla="*/ 4723375 w 8267681"/>
              <a:gd name="connsiteY12144" fmla="*/ 1291830 h 6698675"/>
              <a:gd name="connsiteX12145" fmla="*/ 4723375 w 8267681"/>
              <a:gd name="connsiteY12145" fmla="*/ 1296528 h 6698675"/>
              <a:gd name="connsiteX12146" fmla="*/ 4728072 w 8267681"/>
              <a:gd name="connsiteY12146" fmla="*/ 1298877 h 6698675"/>
              <a:gd name="connsiteX12147" fmla="*/ 4728072 w 8267681"/>
              <a:gd name="connsiteY12147" fmla="*/ 1303574 h 6698675"/>
              <a:gd name="connsiteX12148" fmla="*/ 4730421 w 8267681"/>
              <a:gd name="connsiteY12148" fmla="*/ 1305923 h 6698675"/>
              <a:gd name="connsiteX12149" fmla="*/ 4732770 w 8267681"/>
              <a:gd name="connsiteY12149" fmla="*/ 1315319 h 6698675"/>
              <a:gd name="connsiteX12150" fmla="*/ 4735118 w 8267681"/>
              <a:gd name="connsiteY12150" fmla="*/ 1315319 h 6698675"/>
              <a:gd name="connsiteX12151" fmla="*/ 4735118 w 8267681"/>
              <a:gd name="connsiteY12151" fmla="*/ 1320017 h 6698675"/>
              <a:gd name="connsiteX12152" fmla="*/ 4737467 w 8267681"/>
              <a:gd name="connsiteY12152" fmla="*/ 1322366 h 6698675"/>
              <a:gd name="connsiteX12153" fmla="*/ 4737467 w 8267681"/>
              <a:gd name="connsiteY12153" fmla="*/ 1324714 h 6698675"/>
              <a:gd name="connsiteX12154" fmla="*/ 4739816 w 8267681"/>
              <a:gd name="connsiteY12154" fmla="*/ 1327063 h 6698675"/>
              <a:gd name="connsiteX12155" fmla="*/ 4739816 w 8267681"/>
              <a:gd name="connsiteY12155" fmla="*/ 1331761 h 6698675"/>
              <a:gd name="connsiteX12156" fmla="*/ 4742165 w 8267681"/>
              <a:gd name="connsiteY12156" fmla="*/ 1331761 h 6698675"/>
              <a:gd name="connsiteX12157" fmla="*/ 4742165 w 8267681"/>
              <a:gd name="connsiteY12157" fmla="*/ 1338808 h 6698675"/>
              <a:gd name="connsiteX12158" fmla="*/ 4744513 w 8267681"/>
              <a:gd name="connsiteY12158" fmla="*/ 1364645 h 6698675"/>
              <a:gd name="connsiteX12159" fmla="*/ 4744513 w 8267681"/>
              <a:gd name="connsiteY12159" fmla="*/ 1404576 h 6698675"/>
              <a:gd name="connsiteX12160" fmla="*/ 4744513 w 8267681"/>
              <a:gd name="connsiteY12160" fmla="*/ 1406925 h 6698675"/>
              <a:gd name="connsiteX12161" fmla="*/ 4746862 w 8267681"/>
              <a:gd name="connsiteY12161" fmla="*/ 1402227 h 6698675"/>
              <a:gd name="connsiteX12162" fmla="*/ 4749211 w 8267681"/>
              <a:gd name="connsiteY12162" fmla="*/ 1402227 h 6698675"/>
              <a:gd name="connsiteX12163" fmla="*/ 4751560 w 8267681"/>
              <a:gd name="connsiteY12163" fmla="*/ 1404576 h 6698675"/>
              <a:gd name="connsiteX12164" fmla="*/ 4744513 w 8267681"/>
              <a:gd name="connsiteY12164" fmla="*/ 1423366 h 6698675"/>
              <a:gd name="connsiteX12165" fmla="*/ 4746862 w 8267681"/>
              <a:gd name="connsiteY12165" fmla="*/ 1437460 h 6698675"/>
              <a:gd name="connsiteX12166" fmla="*/ 4746862 w 8267681"/>
              <a:gd name="connsiteY12166" fmla="*/ 1446855 h 6698675"/>
              <a:gd name="connsiteX12167" fmla="*/ 4751560 w 8267681"/>
              <a:gd name="connsiteY12167" fmla="*/ 1453901 h 6698675"/>
              <a:gd name="connsiteX12168" fmla="*/ 4751560 w 8267681"/>
              <a:gd name="connsiteY12168" fmla="*/ 1463296 h 6698675"/>
              <a:gd name="connsiteX12169" fmla="*/ 4753909 w 8267681"/>
              <a:gd name="connsiteY12169" fmla="*/ 1465646 h 6698675"/>
              <a:gd name="connsiteX12170" fmla="*/ 4753909 w 8267681"/>
              <a:gd name="connsiteY12170" fmla="*/ 1467995 h 6698675"/>
              <a:gd name="connsiteX12171" fmla="*/ 4763304 w 8267681"/>
              <a:gd name="connsiteY12171" fmla="*/ 1470344 h 6698675"/>
              <a:gd name="connsiteX12172" fmla="*/ 4751560 w 8267681"/>
              <a:gd name="connsiteY12172" fmla="*/ 1477390 h 6698675"/>
              <a:gd name="connsiteX12173" fmla="*/ 4751560 w 8267681"/>
              <a:gd name="connsiteY12173" fmla="*/ 1486785 h 6698675"/>
              <a:gd name="connsiteX12174" fmla="*/ 4753909 w 8267681"/>
              <a:gd name="connsiteY12174" fmla="*/ 1489134 h 6698675"/>
              <a:gd name="connsiteX12175" fmla="*/ 4753909 w 8267681"/>
              <a:gd name="connsiteY12175" fmla="*/ 1493832 h 6698675"/>
              <a:gd name="connsiteX12176" fmla="*/ 4756257 w 8267681"/>
              <a:gd name="connsiteY12176" fmla="*/ 1496180 h 6698675"/>
              <a:gd name="connsiteX12177" fmla="*/ 4756257 w 8267681"/>
              <a:gd name="connsiteY12177" fmla="*/ 1500879 h 6698675"/>
              <a:gd name="connsiteX12178" fmla="*/ 4758606 w 8267681"/>
              <a:gd name="connsiteY12178" fmla="*/ 1505576 h 6698675"/>
              <a:gd name="connsiteX12179" fmla="*/ 4758606 w 8267681"/>
              <a:gd name="connsiteY12179" fmla="*/ 1514971 h 6698675"/>
              <a:gd name="connsiteX12180" fmla="*/ 4760955 w 8267681"/>
              <a:gd name="connsiteY12180" fmla="*/ 1514971 h 6698675"/>
              <a:gd name="connsiteX12181" fmla="*/ 4763304 w 8267681"/>
              <a:gd name="connsiteY12181" fmla="*/ 1519669 h 6698675"/>
              <a:gd name="connsiteX12182" fmla="*/ 4772699 w 8267681"/>
              <a:gd name="connsiteY12182" fmla="*/ 1531414 h 6698675"/>
              <a:gd name="connsiteX12183" fmla="*/ 4785852 w 8267681"/>
              <a:gd name="connsiteY12183" fmla="*/ 1522018 h 6698675"/>
              <a:gd name="connsiteX12184" fmla="*/ 4798535 w 8267681"/>
              <a:gd name="connsiteY12184" fmla="*/ 1522018 h 6698675"/>
              <a:gd name="connsiteX12185" fmla="*/ 4808238 w 8267681"/>
              <a:gd name="connsiteY12185" fmla="*/ 1515926 h 6698675"/>
              <a:gd name="connsiteX12186" fmla="*/ 4806756 w 8267681"/>
              <a:gd name="connsiteY12186" fmla="*/ 1518201 h 6698675"/>
              <a:gd name="connsiteX12187" fmla="*/ 4791489 w 8267681"/>
              <a:gd name="connsiteY12187" fmla="*/ 1529065 h 6698675"/>
              <a:gd name="connsiteX12188" fmla="*/ 4789140 w 8267681"/>
              <a:gd name="connsiteY12188" fmla="*/ 1536111 h 6698675"/>
              <a:gd name="connsiteX12189" fmla="*/ 4786792 w 8267681"/>
              <a:gd name="connsiteY12189" fmla="*/ 1540809 h 6698675"/>
              <a:gd name="connsiteX12190" fmla="*/ 4793838 w 8267681"/>
              <a:gd name="connsiteY12190" fmla="*/ 1540809 h 6698675"/>
              <a:gd name="connsiteX12191" fmla="*/ 5009925 w 8267681"/>
              <a:gd name="connsiteY12191" fmla="*/ 1425715 h 6698675"/>
              <a:gd name="connsiteX12192" fmla="*/ 5009249 w 8267681"/>
              <a:gd name="connsiteY12192" fmla="*/ 1420301 h 6698675"/>
              <a:gd name="connsiteX12193" fmla="*/ 5024018 w 8267681"/>
              <a:gd name="connsiteY12193" fmla="*/ 1413971 h 6698675"/>
              <a:gd name="connsiteX12194" fmla="*/ 5028716 w 8267681"/>
              <a:gd name="connsiteY12194" fmla="*/ 1404576 h 6698675"/>
              <a:gd name="connsiteX12195" fmla="*/ 5028716 w 8267681"/>
              <a:gd name="connsiteY12195" fmla="*/ 1406925 h 6698675"/>
              <a:gd name="connsiteX12196" fmla="*/ 5028716 w 8267681"/>
              <a:gd name="connsiteY12196" fmla="*/ 1409273 h 6698675"/>
              <a:gd name="connsiteX12197" fmla="*/ 5031065 w 8267681"/>
              <a:gd name="connsiteY12197" fmla="*/ 1408098 h 6698675"/>
              <a:gd name="connsiteX12198" fmla="*/ 5031065 w 8267681"/>
              <a:gd name="connsiteY12198" fmla="*/ 1409273 h 6698675"/>
              <a:gd name="connsiteX12199" fmla="*/ 5047506 w 8267681"/>
              <a:gd name="connsiteY12199" fmla="*/ 1401965 h 6698675"/>
              <a:gd name="connsiteX12200" fmla="*/ 5047506 w 8267681"/>
              <a:gd name="connsiteY12200" fmla="*/ 1402227 h 6698675"/>
              <a:gd name="connsiteX12201" fmla="*/ 5129713 w 8267681"/>
              <a:gd name="connsiteY12201" fmla="*/ 1364645 h 6698675"/>
              <a:gd name="connsiteX12202" fmla="*/ 5125016 w 8267681"/>
              <a:gd name="connsiteY12202" fmla="*/ 1357598 h 6698675"/>
              <a:gd name="connsiteX12203" fmla="*/ 5122667 w 8267681"/>
              <a:gd name="connsiteY12203" fmla="*/ 1358381 h 6698675"/>
              <a:gd name="connsiteX12204" fmla="*/ 5122667 w 8267681"/>
              <a:gd name="connsiteY12204" fmla="*/ 1357598 h 6698675"/>
              <a:gd name="connsiteX12205" fmla="*/ 5127364 w 8267681"/>
              <a:gd name="connsiteY12205" fmla="*/ 1355249 h 6698675"/>
              <a:gd name="connsiteX12206" fmla="*/ 5132062 w 8267681"/>
              <a:gd name="connsiteY12206" fmla="*/ 1350552 h 6698675"/>
              <a:gd name="connsiteX12207" fmla="*/ 5132062 w 8267681"/>
              <a:gd name="connsiteY12207" fmla="*/ 1324714 h 6698675"/>
              <a:gd name="connsiteX12208" fmla="*/ 5134411 w 8267681"/>
              <a:gd name="connsiteY12208" fmla="*/ 1324714 h 6698675"/>
              <a:gd name="connsiteX12209" fmla="*/ 5136760 w 8267681"/>
              <a:gd name="connsiteY12209" fmla="*/ 1324714 h 6698675"/>
              <a:gd name="connsiteX12210" fmla="*/ 5136760 w 8267681"/>
              <a:gd name="connsiteY12210" fmla="*/ 1329412 h 6698675"/>
              <a:gd name="connsiteX12211" fmla="*/ 5136760 w 8267681"/>
              <a:gd name="connsiteY12211" fmla="*/ 1348203 h 6698675"/>
              <a:gd name="connsiteX12212" fmla="*/ 5139108 w 8267681"/>
              <a:gd name="connsiteY12212" fmla="*/ 1348203 h 6698675"/>
              <a:gd name="connsiteX12213" fmla="*/ 5148504 w 8267681"/>
              <a:gd name="connsiteY12213" fmla="*/ 1341156 h 6698675"/>
              <a:gd name="connsiteX12214" fmla="*/ 5155550 w 8267681"/>
              <a:gd name="connsiteY12214" fmla="*/ 1331761 h 6698675"/>
              <a:gd name="connsiteX12215" fmla="*/ 5157899 w 8267681"/>
              <a:gd name="connsiteY12215" fmla="*/ 1327063 h 6698675"/>
              <a:gd name="connsiteX12216" fmla="*/ 5164945 w 8267681"/>
              <a:gd name="connsiteY12216" fmla="*/ 1324714 h 6698675"/>
              <a:gd name="connsiteX12217" fmla="*/ 5167294 w 8267681"/>
              <a:gd name="connsiteY12217" fmla="*/ 1320017 h 6698675"/>
              <a:gd name="connsiteX12218" fmla="*/ 5171991 w 8267681"/>
              <a:gd name="connsiteY12218" fmla="*/ 1320017 h 6698675"/>
              <a:gd name="connsiteX12219" fmla="*/ 5174340 w 8267681"/>
              <a:gd name="connsiteY12219" fmla="*/ 1317668 h 6698675"/>
              <a:gd name="connsiteX12220" fmla="*/ 5179037 w 8267681"/>
              <a:gd name="connsiteY12220" fmla="*/ 1317668 h 6698675"/>
              <a:gd name="connsiteX12221" fmla="*/ 5190781 w 8267681"/>
              <a:gd name="connsiteY12221" fmla="*/ 1310622 h 6698675"/>
              <a:gd name="connsiteX12222" fmla="*/ 5193130 w 8267681"/>
              <a:gd name="connsiteY12222" fmla="*/ 1310622 h 6698675"/>
              <a:gd name="connsiteX12223" fmla="*/ 5190781 w 8267681"/>
              <a:gd name="connsiteY12223" fmla="*/ 1315319 h 6698675"/>
              <a:gd name="connsiteX12224" fmla="*/ 5183735 w 8267681"/>
              <a:gd name="connsiteY12224" fmla="*/ 1317668 h 6698675"/>
              <a:gd name="connsiteX12225" fmla="*/ 5181386 w 8267681"/>
              <a:gd name="connsiteY12225" fmla="*/ 1320017 h 6698675"/>
              <a:gd name="connsiteX12226" fmla="*/ 5171991 w 8267681"/>
              <a:gd name="connsiteY12226" fmla="*/ 1322366 h 6698675"/>
              <a:gd name="connsiteX12227" fmla="*/ 5169642 w 8267681"/>
              <a:gd name="connsiteY12227" fmla="*/ 1324714 h 6698675"/>
              <a:gd name="connsiteX12228" fmla="*/ 5162596 w 8267681"/>
              <a:gd name="connsiteY12228" fmla="*/ 1327063 h 6698675"/>
              <a:gd name="connsiteX12229" fmla="*/ 5160248 w 8267681"/>
              <a:gd name="connsiteY12229" fmla="*/ 1331761 h 6698675"/>
              <a:gd name="connsiteX12230" fmla="*/ 5157899 w 8267681"/>
              <a:gd name="connsiteY12230" fmla="*/ 1331761 h 6698675"/>
              <a:gd name="connsiteX12231" fmla="*/ 5157899 w 8267681"/>
              <a:gd name="connsiteY12231" fmla="*/ 1336458 h 6698675"/>
              <a:gd name="connsiteX12232" fmla="*/ 5148504 w 8267681"/>
              <a:gd name="connsiteY12232" fmla="*/ 1343506 h 6698675"/>
              <a:gd name="connsiteX12233" fmla="*/ 5148504 w 8267681"/>
              <a:gd name="connsiteY12233" fmla="*/ 1345854 h 6698675"/>
              <a:gd name="connsiteX12234" fmla="*/ 5132062 w 8267681"/>
              <a:gd name="connsiteY12234" fmla="*/ 1359947 h 6698675"/>
              <a:gd name="connsiteX12235" fmla="*/ 5141457 w 8267681"/>
              <a:gd name="connsiteY12235" fmla="*/ 1355249 h 6698675"/>
              <a:gd name="connsiteX12236" fmla="*/ 5176689 w 8267681"/>
              <a:gd name="connsiteY12236" fmla="*/ 1338808 h 6698675"/>
              <a:gd name="connsiteX12237" fmla="*/ 5188433 w 8267681"/>
              <a:gd name="connsiteY12237" fmla="*/ 1343506 h 6698675"/>
              <a:gd name="connsiteX12238" fmla="*/ 5129713 w 8267681"/>
              <a:gd name="connsiteY12238" fmla="*/ 1366993 h 6698675"/>
              <a:gd name="connsiteX12239" fmla="*/ 5132062 w 8267681"/>
              <a:gd name="connsiteY12239" fmla="*/ 1376389 h 6698675"/>
              <a:gd name="connsiteX12240" fmla="*/ 5157899 w 8267681"/>
              <a:gd name="connsiteY12240" fmla="*/ 1364645 h 6698675"/>
              <a:gd name="connsiteX12241" fmla="*/ 5167294 w 8267681"/>
              <a:gd name="connsiteY12241" fmla="*/ 1352901 h 6698675"/>
              <a:gd name="connsiteX12242" fmla="*/ 5169642 w 8267681"/>
              <a:gd name="connsiteY12242" fmla="*/ 1352901 h 6698675"/>
              <a:gd name="connsiteX12243" fmla="*/ 5169642 w 8267681"/>
              <a:gd name="connsiteY12243" fmla="*/ 1355249 h 6698675"/>
              <a:gd name="connsiteX12244" fmla="*/ 5167294 w 8267681"/>
              <a:gd name="connsiteY12244" fmla="*/ 1357598 h 6698675"/>
              <a:gd name="connsiteX12245" fmla="*/ 5181386 w 8267681"/>
              <a:gd name="connsiteY12245" fmla="*/ 1348203 h 6698675"/>
              <a:gd name="connsiteX12246" fmla="*/ 5190781 w 8267681"/>
              <a:gd name="connsiteY12246" fmla="*/ 1343506 h 6698675"/>
              <a:gd name="connsiteX12247" fmla="*/ 5155550 w 8267681"/>
              <a:gd name="connsiteY12247" fmla="*/ 1411622 h 6698675"/>
              <a:gd name="connsiteX12248" fmla="*/ 5167294 w 8267681"/>
              <a:gd name="connsiteY12248" fmla="*/ 1423366 h 6698675"/>
              <a:gd name="connsiteX12249" fmla="*/ 5164945 w 8267681"/>
              <a:gd name="connsiteY12249" fmla="*/ 1425715 h 6698675"/>
              <a:gd name="connsiteX12250" fmla="*/ 5169642 w 8267681"/>
              <a:gd name="connsiteY12250" fmla="*/ 1423366 h 6698675"/>
              <a:gd name="connsiteX12251" fmla="*/ 5186084 w 8267681"/>
              <a:gd name="connsiteY12251" fmla="*/ 1437460 h 6698675"/>
              <a:gd name="connsiteX12252" fmla="*/ 5174340 w 8267681"/>
              <a:gd name="connsiteY12252" fmla="*/ 1465646 h 6698675"/>
              <a:gd name="connsiteX12253" fmla="*/ 5134411 w 8267681"/>
              <a:gd name="connsiteY12253" fmla="*/ 1482087 h 6698675"/>
              <a:gd name="connsiteX12254" fmla="*/ 5174340 w 8267681"/>
              <a:gd name="connsiteY12254" fmla="*/ 1489134 h 6698675"/>
              <a:gd name="connsiteX12255" fmla="*/ 5153201 w 8267681"/>
              <a:gd name="connsiteY12255" fmla="*/ 1498530 h 6698675"/>
              <a:gd name="connsiteX12256" fmla="*/ 5153201 w 8267681"/>
              <a:gd name="connsiteY12256" fmla="*/ 1500879 h 6698675"/>
              <a:gd name="connsiteX12257" fmla="*/ 5151323 w 8267681"/>
              <a:gd name="connsiteY12257" fmla="*/ 1502757 h 6698675"/>
              <a:gd name="connsiteX12258" fmla="*/ 5143806 w 8267681"/>
              <a:gd name="connsiteY12258" fmla="*/ 1500879 h 6698675"/>
              <a:gd name="connsiteX12259" fmla="*/ 5115620 w 8267681"/>
              <a:gd name="connsiteY12259" fmla="*/ 1514971 h 6698675"/>
              <a:gd name="connsiteX12260" fmla="*/ 5117969 w 8267681"/>
              <a:gd name="connsiteY12260" fmla="*/ 1514971 h 6698675"/>
              <a:gd name="connsiteX12261" fmla="*/ 5120318 w 8267681"/>
              <a:gd name="connsiteY12261" fmla="*/ 1517320 h 6698675"/>
              <a:gd name="connsiteX12262" fmla="*/ 5125016 w 8267681"/>
              <a:gd name="connsiteY12262" fmla="*/ 1519669 h 6698675"/>
              <a:gd name="connsiteX12263" fmla="*/ 5147566 w 8267681"/>
              <a:gd name="connsiteY12263" fmla="*/ 1506514 h 6698675"/>
              <a:gd name="connsiteX12264" fmla="*/ 5146155 w 8267681"/>
              <a:gd name="connsiteY12264" fmla="*/ 1507925 h 6698675"/>
              <a:gd name="connsiteX12265" fmla="*/ 5148504 w 8267681"/>
              <a:gd name="connsiteY12265" fmla="*/ 1510274 h 6698675"/>
              <a:gd name="connsiteX12266" fmla="*/ 5179037 w 8267681"/>
              <a:gd name="connsiteY12266" fmla="*/ 1493832 h 6698675"/>
              <a:gd name="connsiteX12267" fmla="*/ 5181386 w 8267681"/>
              <a:gd name="connsiteY12267" fmla="*/ 1498530 h 6698675"/>
              <a:gd name="connsiteX12268" fmla="*/ 5153201 w 8267681"/>
              <a:gd name="connsiteY12268" fmla="*/ 1512623 h 6698675"/>
              <a:gd name="connsiteX12269" fmla="*/ 5160248 w 8267681"/>
              <a:gd name="connsiteY12269" fmla="*/ 1514971 h 6698675"/>
              <a:gd name="connsiteX12270" fmla="*/ 5181386 w 8267681"/>
              <a:gd name="connsiteY12270" fmla="*/ 1503227 h 6698675"/>
              <a:gd name="connsiteX12271" fmla="*/ 5181386 w 8267681"/>
              <a:gd name="connsiteY12271" fmla="*/ 1514971 h 6698675"/>
              <a:gd name="connsiteX12272" fmla="*/ 5176689 w 8267681"/>
              <a:gd name="connsiteY12272" fmla="*/ 1517320 h 6698675"/>
              <a:gd name="connsiteX12273" fmla="*/ 5179037 w 8267681"/>
              <a:gd name="connsiteY12273" fmla="*/ 1517320 h 6698675"/>
              <a:gd name="connsiteX12274" fmla="*/ 5179037 w 8267681"/>
              <a:gd name="connsiteY12274" fmla="*/ 1524366 h 6698675"/>
              <a:gd name="connsiteX12275" fmla="*/ 5176689 w 8267681"/>
              <a:gd name="connsiteY12275" fmla="*/ 1524366 h 6698675"/>
              <a:gd name="connsiteX12276" fmla="*/ 5164945 w 8267681"/>
              <a:gd name="connsiteY12276" fmla="*/ 1524366 h 6698675"/>
              <a:gd name="connsiteX12277" fmla="*/ 5134411 w 8267681"/>
              <a:gd name="connsiteY12277" fmla="*/ 1540809 h 6698675"/>
              <a:gd name="connsiteX12278" fmla="*/ 5132062 w 8267681"/>
              <a:gd name="connsiteY12278" fmla="*/ 1543158 h 6698675"/>
              <a:gd name="connsiteX12279" fmla="*/ 5139108 w 8267681"/>
              <a:gd name="connsiteY12279" fmla="*/ 1543158 h 6698675"/>
              <a:gd name="connsiteX12280" fmla="*/ 5146155 w 8267681"/>
              <a:gd name="connsiteY12280" fmla="*/ 1545506 h 6698675"/>
              <a:gd name="connsiteX12281" fmla="*/ 5148504 w 8267681"/>
              <a:gd name="connsiteY12281" fmla="*/ 1554902 h 6698675"/>
              <a:gd name="connsiteX12282" fmla="*/ 5153201 w 8267681"/>
              <a:gd name="connsiteY12282" fmla="*/ 1557251 h 6698675"/>
              <a:gd name="connsiteX12283" fmla="*/ 5153201 w 8267681"/>
              <a:gd name="connsiteY12283" fmla="*/ 1559599 h 6698675"/>
              <a:gd name="connsiteX12284" fmla="*/ 5157899 w 8267681"/>
              <a:gd name="connsiteY12284" fmla="*/ 1561949 h 6698675"/>
              <a:gd name="connsiteX12285" fmla="*/ 5164945 w 8267681"/>
              <a:gd name="connsiteY12285" fmla="*/ 1571344 h 6698675"/>
              <a:gd name="connsiteX12286" fmla="*/ 5171991 w 8267681"/>
              <a:gd name="connsiteY12286" fmla="*/ 1573693 h 6698675"/>
              <a:gd name="connsiteX12287" fmla="*/ 5171991 w 8267681"/>
              <a:gd name="connsiteY12287" fmla="*/ 1576042 h 6698675"/>
              <a:gd name="connsiteX12288" fmla="*/ 5176689 w 8267681"/>
              <a:gd name="connsiteY12288" fmla="*/ 1576042 h 6698675"/>
              <a:gd name="connsiteX12289" fmla="*/ 5188433 w 8267681"/>
              <a:gd name="connsiteY12289" fmla="*/ 1587786 h 6698675"/>
              <a:gd name="connsiteX12290" fmla="*/ 5169642 w 8267681"/>
              <a:gd name="connsiteY12290" fmla="*/ 1587786 h 6698675"/>
              <a:gd name="connsiteX12291" fmla="*/ 5164945 w 8267681"/>
              <a:gd name="connsiteY12291" fmla="*/ 1583088 h 6698675"/>
              <a:gd name="connsiteX12292" fmla="*/ 5162596 w 8267681"/>
              <a:gd name="connsiteY12292" fmla="*/ 1583088 h 6698675"/>
              <a:gd name="connsiteX12293" fmla="*/ 5162596 w 8267681"/>
              <a:gd name="connsiteY12293" fmla="*/ 1580739 h 6698675"/>
              <a:gd name="connsiteX12294" fmla="*/ 5155550 w 8267681"/>
              <a:gd name="connsiteY12294" fmla="*/ 1573693 h 6698675"/>
              <a:gd name="connsiteX12295" fmla="*/ 5150852 w 8267681"/>
              <a:gd name="connsiteY12295" fmla="*/ 1571344 h 6698675"/>
              <a:gd name="connsiteX12296" fmla="*/ 5150852 w 8267681"/>
              <a:gd name="connsiteY12296" fmla="*/ 1568995 h 6698675"/>
              <a:gd name="connsiteX12297" fmla="*/ 5141457 w 8267681"/>
              <a:gd name="connsiteY12297" fmla="*/ 1561949 h 6698675"/>
              <a:gd name="connsiteX12298" fmla="*/ 5141457 w 8267681"/>
              <a:gd name="connsiteY12298" fmla="*/ 1557251 h 6698675"/>
              <a:gd name="connsiteX12299" fmla="*/ 5136760 w 8267681"/>
              <a:gd name="connsiteY12299" fmla="*/ 1552553 h 6698675"/>
              <a:gd name="connsiteX12300" fmla="*/ 5132062 w 8267681"/>
              <a:gd name="connsiteY12300" fmla="*/ 1552553 h 6698675"/>
              <a:gd name="connsiteX12301" fmla="*/ 5127364 w 8267681"/>
              <a:gd name="connsiteY12301" fmla="*/ 1571344 h 6698675"/>
              <a:gd name="connsiteX12302" fmla="*/ 5127364 w 8267681"/>
              <a:gd name="connsiteY12302" fmla="*/ 1588958 h 6698675"/>
              <a:gd name="connsiteX12303" fmla="*/ 5125016 w 8267681"/>
              <a:gd name="connsiteY12303" fmla="*/ 1576042 h 6698675"/>
              <a:gd name="connsiteX12304" fmla="*/ 5132062 w 8267681"/>
              <a:gd name="connsiteY12304" fmla="*/ 1526716 h 6698675"/>
              <a:gd name="connsiteX12305" fmla="*/ 5127364 w 8267681"/>
              <a:gd name="connsiteY12305" fmla="*/ 1526716 h 6698675"/>
              <a:gd name="connsiteX12306" fmla="*/ 5009925 w 8267681"/>
              <a:gd name="connsiteY12306" fmla="*/ 1592483 h 6698675"/>
              <a:gd name="connsiteX12307" fmla="*/ 5117969 w 8267681"/>
              <a:gd name="connsiteY12307" fmla="*/ 1522018 h 6698675"/>
              <a:gd name="connsiteX12308" fmla="*/ 5103877 w 8267681"/>
              <a:gd name="connsiteY12308" fmla="*/ 1522018 h 6698675"/>
              <a:gd name="connsiteX12309" fmla="*/ 5085086 w 8267681"/>
              <a:gd name="connsiteY12309" fmla="*/ 1531414 h 6698675"/>
              <a:gd name="connsiteX12310" fmla="*/ 5082738 w 8267681"/>
              <a:gd name="connsiteY12310" fmla="*/ 1531414 h 6698675"/>
              <a:gd name="connsiteX12311" fmla="*/ 5078040 w 8267681"/>
              <a:gd name="connsiteY12311" fmla="*/ 1533763 h 6698675"/>
              <a:gd name="connsiteX12312" fmla="*/ 5078040 w 8267681"/>
              <a:gd name="connsiteY12312" fmla="*/ 1536111 h 6698675"/>
              <a:gd name="connsiteX12313" fmla="*/ 5075691 w 8267681"/>
              <a:gd name="connsiteY12313" fmla="*/ 1538460 h 6698675"/>
              <a:gd name="connsiteX12314" fmla="*/ 5073342 w 8267681"/>
              <a:gd name="connsiteY12314" fmla="*/ 1538460 h 6698675"/>
              <a:gd name="connsiteX12315" fmla="*/ 5058763 w 8267681"/>
              <a:gd name="connsiteY12315" fmla="*/ 1547936 h 6698675"/>
              <a:gd name="connsiteX12316" fmla="*/ 5045157 w 8267681"/>
              <a:gd name="connsiteY12316" fmla="*/ 1550204 h 6698675"/>
              <a:gd name="connsiteX12317" fmla="*/ 5040460 w 8267681"/>
              <a:gd name="connsiteY12317" fmla="*/ 1554902 h 6698675"/>
              <a:gd name="connsiteX12318" fmla="*/ 5035762 w 8267681"/>
              <a:gd name="connsiteY12318" fmla="*/ 1554902 h 6698675"/>
              <a:gd name="connsiteX12319" fmla="*/ 5033413 w 8267681"/>
              <a:gd name="connsiteY12319" fmla="*/ 1559599 h 6698675"/>
              <a:gd name="connsiteX12320" fmla="*/ 5021669 w 8267681"/>
              <a:gd name="connsiteY12320" fmla="*/ 1557251 h 6698675"/>
              <a:gd name="connsiteX12321" fmla="*/ 5005228 w 8267681"/>
              <a:gd name="connsiteY12321" fmla="*/ 1566647 h 6698675"/>
              <a:gd name="connsiteX12322" fmla="*/ 5002879 w 8267681"/>
              <a:gd name="connsiteY12322" fmla="*/ 1576042 h 6698675"/>
              <a:gd name="connsiteX12323" fmla="*/ 4998182 w 8267681"/>
              <a:gd name="connsiteY12323" fmla="*/ 1576042 h 6698675"/>
              <a:gd name="connsiteX12324" fmla="*/ 4995833 w 8267681"/>
              <a:gd name="connsiteY12324" fmla="*/ 1580739 h 6698675"/>
              <a:gd name="connsiteX12325" fmla="*/ 4991135 w 8267681"/>
              <a:gd name="connsiteY12325" fmla="*/ 1583088 h 6698675"/>
              <a:gd name="connsiteX12326" fmla="*/ 4988787 w 8267681"/>
              <a:gd name="connsiteY12326" fmla="*/ 1587786 h 6698675"/>
              <a:gd name="connsiteX12327" fmla="*/ 4986438 w 8267681"/>
              <a:gd name="connsiteY12327" fmla="*/ 1587786 h 6698675"/>
              <a:gd name="connsiteX12328" fmla="*/ 4984089 w 8267681"/>
              <a:gd name="connsiteY12328" fmla="*/ 1592483 h 6698675"/>
              <a:gd name="connsiteX12329" fmla="*/ 5043970 w 8267681"/>
              <a:gd name="connsiteY12329" fmla="*/ 1557552 h 6698675"/>
              <a:gd name="connsiteX12330" fmla="*/ 4979391 w 8267681"/>
              <a:gd name="connsiteY12330" fmla="*/ 1599529 h 6698675"/>
              <a:gd name="connsiteX12331" fmla="*/ 4979391 w 8267681"/>
              <a:gd name="connsiteY12331" fmla="*/ 1601878 h 6698675"/>
              <a:gd name="connsiteX12332" fmla="*/ 4974694 w 8267681"/>
              <a:gd name="connsiteY12332" fmla="*/ 1615971 h 6698675"/>
              <a:gd name="connsiteX12333" fmla="*/ 5009925 w 8267681"/>
              <a:gd name="connsiteY12333" fmla="*/ 1594832 h 6698675"/>
              <a:gd name="connsiteX12334" fmla="*/ 4974694 w 8267681"/>
              <a:gd name="connsiteY12334" fmla="*/ 1618320 h 6698675"/>
              <a:gd name="connsiteX12335" fmla="*/ 4969996 w 8267681"/>
              <a:gd name="connsiteY12335" fmla="*/ 1630062 h 6698675"/>
              <a:gd name="connsiteX12336" fmla="*/ 4965299 w 8267681"/>
              <a:gd name="connsiteY12336" fmla="*/ 1632411 h 6698675"/>
              <a:gd name="connsiteX12337" fmla="*/ 4962950 w 8267681"/>
              <a:gd name="connsiteY12337" fmla="*/ 1637109 h 6698675"/>
              <a:gd name="connsiteX12338" fmla="*/ 4955903 w 8267681"/>
              <a:gd name="connsiteY12338" fmla="*/ 1644155 h 6698675"/>
              <a:gd name="connsiteX12339" fmla="*/ 4955903 w 8267681"/>
              <a:gd name="connsiteY12339" fmla="*/ 1646504 h 6698675"/>
              <a:gd name="connsiteX12340" fmla="*/ 4951206 w 8267681"/>
              <a:gd name="connsiteY12340" fmla="*/ 1648853 h 6698675"/>
              <a:gd name="connsiteX12341" fmla="*/ 4951206 w 8267681"/>
              <a:gd name="connsiteY12341" fmla="*/ 1651202 h 6698675"/>
              <a:gd name="connsiteX12342" fmla="*/ 4946509 w 8267681"/>
              <a:gd name="connsiteY12342" fmla="*/ 1655898 h 6698675"/>
              <a:gd name="connsiteX12343" fmla="*/ 4995833 w 8267681"/>
              <a:gd name="connsiteY12343" fmla="*/ 1672340 h 6698675"/>
              <a:gd name="connsiteX12344" fmla="*/ 4937114 w 8267681"/>
              <a:gd name="connsiteY12344" fmla="*/ 1665293 h 6698675"/>
              <a:gd name="connsiteX12345" fmla="*/ 4934765 w 8267681"/>
              <a:gd name="connsiteY12345" fmla="*/ 1679386 h 6698675"/>
              <a:gd name="connsiteX12346" fmla="*/ 4927718 w 8267681"/>
              <a:gd name="connsiteY12346" fmla="*/ 1700524 h 6698675"/>
              <a:gd name="connsiteX12347" fmla="*/ 4965299 w 8267681"/>
              <a:gd name="connsiteY12347" fmla="*/ 1705222 h 6698675"/>
              <a:gd name="connsiteX12348" fmla="*/ 5009925 w 8267681"/>
              <a:gd name="connsiteY12348" fmla="*/ 1669991 h 6698675"/>
              <a:gd name="connsiteX12349" fmla="*/ 4972345 w 8267681"/>
              <a:gd name="connsiteY12349" fmla="*/ 1709919 h 6698675"/>
              <a:gd name="connsiteX12350" fmla="*/ 4972345 w 8267681"/>
              <a:gd name="connsiteY12350" fmla="*/ 1714616 h 6698675"/>
              <a:gd name="connsiteX12351" fmla="*/ 4984089 w 8267681"/>
              <a:gd name="connsiteY12351" fmla="*/ 1714616 h 6698675"/>
              <a:gd name="connsiteX12352" fmla="*/ 4986438 w 8267681"/>
              <a:gd name="connsiteY12352" fmla="*/ 1719313 h 6698675"/>
              <a:gd name="connsiteX12353" fmla="*/ 4993484 w 8267681"/>
              <a:gd name="connsiteY12353" fmla="*/ 1719313 h 6698675"/>
              <a:gd name="connsiteX12354" fmla="*/ 5000531 w 8267681"/>
              <a:gd name="connsiteY12354" fmla="*/ 1719313 h 6698675"/>
              <a:gd name="connsiteX12355" fmla="*/ 5000531 w 8267681"/>
              <a:gd name="connsiteY12355" fmla="*/ 1721662 h 6698675"/>
              <a:gd name="connsiteX12356" fmla="*/ 5031065 w 8267681"/>
              <a:gd name="connsiteY12356" fmla="*/ 1721662 h 6698675"/>
              <a:gd name="connsiteX12357" fmla="*/ 5033413 w 8267681"/>
              <a:gd name="connsiteY12357" fmla="*/ 1719313 h 6698675"/>
              <a:gd name="connsiteX12358" fmla="*/ 5052204 w 8267681"/>
              <a:gd name="connsiteY12358" fmla="*/ 1716965 h 6698675"/>
              <a:gd name="connsiteX12359" fmla="*/ 5052204 w 8267681"/>
              <a:gd name="connsiteY12359" fmla="*/ 1691129 h 6698675"/>
              <a:gd name="connsiteX12360" fmla="*/ 5070994 w 8267681"/>
              <a:gd name="connsiteY12360" fmla="*/ 1660596 h 6698675"/>
              <a:gd name="connsiteX12361" fmla="*/ 5068645 w 8267681"/>
              <a:gd name="connsiteY12361" fmla="*/ 1648853 h 6698675"/>
              <a:gd name="connsiteX12362" fmla="*/ 5070994 w 8267681"/>
              <a:gd name="connsiteY12362" fmla="*/ 1639458 h 6698675"/>
              <a:gd name="connsiteX12363" fmla="*/ 5070994 w 8267681"/>
              <a:gd name="connsiteY12363" fmla="*/ 1632411 h 6698675"/>
              <a:gd name="connsiteX12364" fmla="*/ 5082738 w 8267681"/>
              <a:gd name="connsiteY12364" fmla="*/ 1615971 h 6698675"/>
              <a:gd name="connsiteX12365" fmla="*/ 5089784 w 8267681"/>
              <a:gd name="connsiteY12365" fmla="*/ 1606576 h 6698675"/>
              <a:gd name="connsiteX12366" fmla="*/ 5092133 w 8267681"/>
              <a:gd name="connsiteY12366" fmla="*/ 1606576 h 6698675"/>
              <a:gd name="connsiteX12367" fmla="*/ 5092133 w 8267681"/>
              <a:gd name="connsiteY12367" fmla="*/ 1611273 h 6698675"/>
              <a:gd name="connsiteX12368" fmla="*/ 5085086 w 8267681"/>
              <a:gd name="connsiteY12368" fmla="*/ 1625366 h 6698675"/>
              <a:gd name="connsiteX12369" fmla="*/ 5078040 w 8267681"/>
              <a:gd name="connsiteY12369" fmla="*/ 1637109 h 6698675"/>
              <a:gd name="connsiteX12370" fmla="*/ 5078040 w 8267681"/>
              <a:gd name="connsiteY12370" fmla="*/ 1665293 h 6698675"/>
              <a:gd name="connsiteX12371" fmla="*/ 5078040 w 8267681"/>
              <a:gd name="connsiteY12371" fmla="*/ 1674688 h 6698675"/>
              <a:gd name="connsiteX12372" fmla="*/ 5070994 w 8267681"/>
              <a:gd name="connsiteY12372" fmla="*/ 1688781 h 6698675"/>
              <a:gd name="connsiteX12373" fmla="*/ 5061599 w 8267681"/>
              <a:gd name="connsiteY12373" fmla="*/ 1698175 h 6698675"/>
              <a:gd name="connsiteX12374" fmla="*/ 5068645 w 8267681"/>
              <a:gd name="connsiteY12374" fmla="*/ 1712268 h 6698675"/>
              <a:gd name="connsiteX12375" fmla="*/ 5073342 w 8267681"/>
              <a:gd name="connsiteY12375" fmla="*/ 1707570 h 6698675"/>
              <a:gd name="connsiteX12376" fmla="*/ 5078040 w 8267681"/>
              <a:gd name="connsiteY12376" fmla="*/ 1705222 h 6698675"/>
              <a:gd name="connsiteX12377" fmla="*/ 5080389 w 8267681"/>
              <a:gd name="connsiteY12377" fmla="*/ 1700524 h 6698675"/>
              <a:gd name="connsiteX12378" fmla="*/ 5085086 w 8267681"/>
              <a:gd name="connsiteY12378" fmla="*/ 1698175 h 6698675"/>
              <a:gd name="connsiteX12379" fmla="*/ 5085086 w 8267681"/>
              <a:gd name="connsiteY12379" fmla="*/ 1695826 h 6698675"/>
              <a:gd name="connsiteX12380" fmla="*/ 5089784 w 8267681"/>
              <a:gd name="connsiteY12380" fmla="*/ 1691129 h 6698675"/>
              <a:gd name="connsiteX12381" fmla="*/ 5089784 w 8267681"/>
              <a:gd name="connsiteY12381" fmla="*/ 1688781 h 6698675"/>
              <a:gd name="connsiteX12382" fmla="*/ 5094482 w 8267681"/>
              <a:gd name="connsiteY12382" fmla="*/ 1686431 h 6698675"/>
              <a:gd name="connsiteX12383" fmla="*/ 5096830 w 8267681"/>
              <a:gd name="connsiteY12383" fmla="*/ 1681735 h 6698675"/>
              <a:gd name="connsiteX12384" fmla="*/ 5101528 w 8267681"/>
              <a:gd name="connsiteY12384" fmla="*/ 1679386 h 6698675"/>
              <a:gd name="connsiteX12385" fmla="*/ 5103877 w 8267681"/>
              <a:gd name="connsiteY12385" fmla="*/ 1677037 h 6698675"/>
              <a:gd name="connsiteX12386" fmla="*/ 5115620 w 8267681"/>
              <a:gd name="connsiteY12386" fmla="*/ 1669991 h 6698675"/>
              <a:gd name="connsiteX12387" fmla="*/ 5126777 w 8267681"/>
              <a:gd name="connsiteY12387" fmla="*/ 1656779 h 6698675"/>
              <a:gd name="connsiteX12388" fmla="*/ 5138685 w 8267681"/>
              <a:gd name="connsiteY12388" fmla="*/ 1650350 h 6698675"/>
              <a:gd name="connsiteX12389" fmla="*/ 5140650 w 8267681"/>
              <a:gd name="connsiteY12389" fmla="*/ 1655532 h 6698675"/>
              <a:gd name="connsiteX12390" fmla="*/ 5141127 w 8267681"/>
              <a:gd name="connsiteY12390" fmla="*/ 1655981 h 6698675"/>
              <a:gd name="connsiteX12391" fmla="*/ 5132062 w 8267681"/>
              <a:gd name="connsiteY12391" fmla="*/ 1658247 h 6698675"/>
              <a:gd name="connsiteX12392" fmla="*/ 5125016 w 8267681"/>
              <a:gd name="connsiteY12392" fmla="*/ 1667642 h 6698675"/>
              <a:gd name="connsiteX12393" fmla="*/ 5120318 w 8267681"/>
              <a:gd name="connsiteY12393" fmla="*/ 1669991 h 6698675"/>
              <a:gd name="connsiteX12394" fmla="*/ 5117969 w 8267681"/>
              <a:gd name="connsiteY12394" fmla="*/ 1674688 h 6698675"/>
              <a:gd name="connsiteX12395" fmla="*/ 5115620 w 8267681"/>
              <a:gd name="connsiteY12395" fmla="*/ 1674688 h 6698675"/>
              <a:gd name="connsiteX12396" fmla="*/ 5113272 w 8267681"/>
              <a:gd name="connsiteY12396" fmla="*/ 1679386 h 6698675"/>
              <a:gd name="connsiteX12397" fmla="*/ 5108574 w 8267681"/>
              <a:gd name="connsiteY12397" fmla="*/ 1681735 h 6698675"/>
              <a:gd name="connsiteX12398" fmla="*/ 5106226 w 8267681"/>
              <a:gd name="connsiteY12398" fmla="*/ 1684083 h 6698675"/>
              <a:gd name="connsiteX12399" fmla="*/ 5101528 w 8267681"/>
              <a:gd name="connsiteY12399" fmla="*/ 1686431 h 6698675"/>
              <a:gd name="connsiteX12400" fmla="*/ 5099179 w 8267681"/>
              <a:gd name="connsiteY12400" fmla="*/ 1691129 h 6698675"/>
              <a:gd name="connsiteX12401" fmla="*/ 5094482 w 8267681"/>
              <a:gd name="connsiteY12401" fmla="*/ 1693478 h 6698675"/>
              <a:gd name="connsiteX12402" fmla="*/ 5087435 w 8267681"/>
              <a:gd name="connsiteY12402" fmla="*/ 1702873 h 6698675"/>
              <a:gd name="connsiteX12403" fmla="*/ 5082738 w 8267681"/>
              <a:gd name="connsiteY12403" fmla="*/ 1705222 h 6698675"/>
              <a:gd name="connsiteX12404" fmla="*/ 5080389 w 8267681"/>
              <a:gd name="connsiteY12404" fmla="*/ 1709919 h 6698675"/>
              <a:gd name="connsiteX12405" fmla="*/ 5075470 w 8267681"/>
              <a:gd name="connsiteY12405" fmla="*/ 1712870 h 6698675"/>
              <a:gd name="connsiteX12406" fmla="*/ 5068645 w 8267681"/>
              <a:gd name="connsiteY12406" fmla="*/ 1714616 h 6698675"/>
              <a:gd name="connsiteX12407" fmla="*/ 5068645 w 8267681"/>
              <a:gd name="connsiteY12407" fmla="*/ 1716965 h 6698675"/>
              <a:gd name="connsiteX12408" fmla="*/ 5063947 w 8267681"/>
              <a:gd name="connsiteY12408" fmla="*/ 1721662 h 6698675"/>
              <a:gd name="connsiteX12409" fmla="*/ 5052204 w 8267681"/>
              <a:gd name="connsiteY12409" fmla="*/ 1724011 h 6698675"/>
              <a:gd name="connsiteX12410" fmla="*/ 5047506 w 8267681"/>
              <a:gd name="connsiteY12410" fmla="*/ 1738103 h 6698675"/>
              <a:gd name="connsiteX12411" fmla="*/ 5056901 w 8267681"/>
              <a:gd name="connsiteY12411" fmla="*/ 1738103 h 6698675"/>
              <a:gd name="connsiteX12412" fmla="*/ 5066296 w 8267681"/>
              <a:gd name="connsiteY12412" fmla="*/ 1752196 h 6698675"/>
              <a:gd name="connsiteX12413" fmla="*/ 5073342 w 8267681"/>
              <a:gd name="connsiteY12413" fmla="*/ 1749846 h 6698675"/>
              <a:gd name="connsiteX12414" fmla="*/ 5066296 w 8267681"/>
              <a:gd name="connsiteY12414" fmla="*/ 1754544 h 6698675"/>
              <a:gd name="connsiteX12415" fmla="*/ 5066296 w 8267681"/>
              <a:gd name="connsiteY12415" fmla="*/ 1756893 h 6698675"/>
              <a:gd name="connsiteX12416" fmla="*/ 5078040 w 8267681"/>
              <a:gd name="connsiteY12416" fmla="*/ 1759241 h 6698675"/>
              <a:gd name="connsiteX12417" fmla="*/ 5080389 w 8267681"/>
              <a:gd name="connsiteY12417" fmla="*/ 1754544 h 6698675"/>
              <a:gd name="connsiteX12418" fmla="*/ 5085086 w 8267681"/>
              <a:gd name="connsiteY12418" fmla="*/ 1745150 h 6698675"/>
              <a:gd name="connsiteX12419" fmla="*/ 5089784 w 8267681"/>
              <a:gd name="connsiteY12419" fmla="*/ 1745150 h 6698675"/>
              <a:gd name="connsiteX12420" fmla="*/ 5099179 w 8267681"/>
              <a:gd name="connsiteY12420" fmla="*/ 1735755 h 6698675"/>
              <a:gd name="connsiteX12421" fmla="*/ 5101528 w 8267681"/>
              <a:gd name="connsiteY12421" fmla="*/ 1733406 h 6698675"/>
              <a:gd name="connsiteX12422" fmla="*/ 5113272 w 8267681"/>
              <a:gd name="connsiteY12422" fmla="*/ 1716965 h 6698675"/>
              <a:gd name="connsiteX12423" fmla="*/ 5110923 w 8267681"/>
              <a:gd name="connsiteY12423" fmla="*/ 1714616 h 6698675"/>
              <a:gd name="connsiteX12424" fmla="*/ 5099179 w 8267681"/>
              <a:gd name="connsiteY12424" fmla="*/ 1714616 h 6698675"/>
              <a:gd name="connsiteX12425" fmla="*/ 5089784 w 8267681"/>
              <a:gd name="connsiteY12425" fmla="*/ 1716965 h 6698675"/>
              <a:gd name="connsiteX12426" fmla="*/ 5068645 w 8267681"/>
              <a:gd name="connsiteY12426" fmla="*/ 1716965 h 6698675"/>
              <a:gd name="connsiteX12427" fmla="*/ 5075470 w 8267681"/>
              <a:gd name="connsiteY12427" fmla="*/ 1712870 h 6698675"/>
              <a:gd name="connsiteX12428" fmla="*/ 5081270 w 8267681"/>
              <a:gd name="connsiteY12428" fmla="*/ 1711387 h 6698675"/>
              <a:gd name="connsiteX12429" fmla="*/ 5099179 w 8267681"/>
              <a:gd name="connsiteY12429" fmla="*/ 1709919 h 6698675"/>
              <a:gd name="connsiteX12430" fmla="*/ 5106226 w 8267681"/>
              <a:gd name="connsiteY12430" fmla="*/ 1707570 h 6698675"/>
              <a:gd name="connsiteX12431" fmla="*/ 5108574 w 8267681"/>
              <a:gd name="connsiteY12431" fmla="*/ 1707570 h 6698675"/>
              <a:gd name="connsiteX12432" fmla="*/ 5120318 w 8267681"/>
              <a:gd name="connsiteY12432" fmla="*/ 1705222 h 6698675"/>
              <a:gd name="connsiteX12433" fmla="*/ 5139108 w 8267681"/>
              <a:gd name="connsiteY12433" fmla="*/ 1681735 h 6698675"/>
              <a:gd name="connsiteX12434" fmla="*/ 5141421 w 8267681"/>
              <a:gd name="connsiteY12434" fmla="*/ 1659935 h 6698675"/>
              <a:gd name="connsiteX12435" fmla="*/ 5141454 w 8267681"/>
              <a:gd name="connsiteY12435" fmla="*/ 1656290 h 6698675"/>
              <a:gd name="connsiteX12436" fmla="*/ 5148504 w 8267681"/>
              <a:gd name="connsiteY12436" fmla="*/ 1662944 h 6698675"/>
              <a:gd name="connsiteX12437" fmla="*/ 5151733 w 8267681"/>
              <a:gd name="connsiteY12437" fmla="*/ 1662944 h 6698675"/>
              <a:gd name="connsiteX12438" fmla="*/ 5150852 w 8267681"/>
              <a:gd name="connsiteY12438" fmla="*/ 1669991 h 6698675"/>
              <a:gd name="connsiteX12439" fmla="*/ 5159954 w 8267681"/>
              <a:gd name="connsiteY12439" fmla="*/ 1660302 h 6698675"/>
              <a:gd name="connsiteX12440" fmla="*/ 5160551 w 8267681"/>
              <a:gd name="connsiteY12440" fmla="*/ 1659371 h 6698675"/>
              <a:gd name="connsiteX12441" fmla="*/ 5167294 w 8267681"/>
              <a:gd name="connsiteY12441" fmla="*/ 1658247 h 6698675"/>
              <a:gd name="connsiteX12442" fmla="*/ 5169642 w 8267681"/>
              <a:gd name="connsiteY12442" fmla="*/ 1653550 h 6698675"/>
              <a:gd name="connsiteX12443" fmla="*/ 5176689 w 8267681"/>
              <a:gd name="connsiteY12443" fmla="*/ 1651202 h 6698675"/>
              <a:gd name="connsiteX12444" fmla="*/ 5179037 w 8267681"/>
              <a:gd name="connsiteY12444" fmla="*/ 1648853 h 6698675"/>
              <a:gd name="connsiteX12445" fmla="*/ 5183735 w 8267681"/>
              <a:gd name="connsiteY12445" fmla="*/ 1648853 h 6698675"/>
              <a:gd name="connsiteX12446" fmla="*/ 5195479 w 8267681"/>
              <a:gd name="connsiteY12446" fmla="*/ 1637109 h 6698675"/>
              <a:gd name="connsiteX12447" fmla="*/ 5197828 w 8267681"/>
              <a:gd name="connsiteY12447" fmla="*/ 1637109 h 6698675"/>
              <a:gd name="connsiteX12448" fmla="*/ 5223664 w 8267681"/>
              <a:gd name="connsiteY12448" fmla="*/ 1660596 h 6698675"/>
              <a:gd name="connsiteX12449" fmla="*/ 5221316 w 8267681"/>
              <a:gd name="connsiteY12449" fmla="*/ 1660596 h 6698675"/>
              <a:gd name="connsiteX12450" fmla="*/ 5193130 w 8267681"/>
              <a:gd name="connsiteY12450" fmla="*/ 1660596 h 6698675"/>
              <a:gd name="connsiteX12451" fmla="*/ 5176689 w 8267681"/>
              <a:gd name="connsiteY12451" fmla="*/ 1665293 h 6698675"/>
              <a:gd name="connsiteX12452" fmla="*/ 5176689 w 8267681"/>
              <a:gd name="connsiteY12452" fmla="*/ 1669991 h 6698675"/>
              <a:gd name="connsiteX12453" fmla="*/ 5171991 w 8267681"/>
              <a:gd name="connsiteY12453" fmla="*/ 1669991 h 6698675"/>
              <a:gd name="connsiteX12454" fmla="*/ 5169642 w 8267681"/>
              <a:gd name="connsiteY12454" fmla="*/ 1674688 h 6698675"/>
              <a:gd name="connsiteX12455" fmla="*/ 5167294 w 8267681"/>
              <a:gd name="connsiteY12455" fmla="*/ 1674688 h 6698675"/>
              <a:gd name="connsiteX12456" fmla="*/ 5150852 w 8267681"/>
              <a:gd name="connsiteY12456" fmla="*/ 1698175 h 6698675"/>
              <a:gd name="connsiteX12457" fmla="*/ 5148034 w 8267681"/>
              <a:gd name="connsiteY12457" fmla="*/ 1700994 h 6698675"/>
              <a:gd name="connsiteX12458" fmla="*/ 5143806 w 8267681"/>
              <a:gd name="connsiteY12458" fmla="*/ 1695826 h 6698675"/>
              <a:gd name="connsiteX12459" fmla="*/ 5134411 w 8267681"/>
              <a:gd name="connsiteY12459" fmla="*/ 1707570 h 6698675"/>
              <a:gd name="connsiteX12460" fmla="*/ 5136760 w 8267681"/>
              <a:gd name="connsiteY12460" fmla="*/ 1707570 h 6698675"/>
              <a:gd name="connsiteX12461" fmla="*/ 5143806 w 8267681"/>
              <a:gd name="connsiteY12461" fmla="*/ 1709919 h 6698675"/>
              <a:gd name="connsiteX12462" fmla="*/ 5146155 w 8267681"/>
              <a:gd name="connsiteY12462" fmla="*/ 1712268 h 6698675"/>
              <a:gd name="connsiteX12463" fmla="*/ 5147565 w 8267681"/>
              <a:gd name="connsiteY12463" fmla="*/ 1712268 h 6698675"/>
              <a:gd name="connsiteX12464" fmla="*/ 5151347 w 8267681"/>
              <a:gd name="connsiteY12464" fmla="*/ 1718572 h 6698675"/>
              <a:gd name="connsiteX12465" fmla="*/ 5140576 w 8267681"/>
              <a:gd name="connsiteY12465" fmla="*/ 1716671 h 6698675"/>
              <a:gd name="connsiteX12466" fmla="*/ 5127364 w 8267681"/>
              <a:gd name="connsiteY12466" fmla="*/ 1712268 h 6698675"/>
              <a:gd name="connsiteX12467" fmla="*/ 5115620 w 8267681"/>
              <a:gd name="connsiteY12467" fmla="*/ 1728708 h 6698675"/>
              <a:gd name="connsiteX12468" fmla="*/ 5113272 w 8267681"/>
              <a:gd name="connsiteY12468" fmla="*/ 1733406 h 6698675"/>
              <a:gd name="connsiteX12469" fmla="*/ 5092133 w 8267681"/>
              <a:gd name="connsiteY12469" fmla="*/ 1754544 h 6698675"/>
              <a:gd name="connsiteX12470" fmla="*/ 5082738 w 8267681"/>
              <a:gd name="connsiteY12470" fmla="*/ 1761590 h 6698675"/>
              <a:gd name="connsiteX12471" fmla="*/ 5089784 w 8267681"/>
              <a:gd name="connsiteY12471" fmla="*/ 1761590 h 6698675"/>
              <a:gd name="connsiteX12472" fmla="*/ 5089784 w 8267681"/>
              <a:gd name="connsiteY12472" fmla="*/ 1763939 h 6698675"/>
              <a:gd name="connsiteX12473" fmla="*/ 5094482 w 8267681"/>
              <a:gd name="connsiteY12473" fmla="*/ 1763939 h 6698675"/>
              <a:gd name="connsiteX12474" fmla="*/ 5103877 w 8267681"/>
              <a:gd name="connsiteY12474" fmla="*/ 1763939 h 6698675"/>
              <a:gd name="connsiteX12475" fmla="*/ 5122667 w 8267681"/>
              <a:gd name="connsiteY12475" fmla="*/ 1761590 h 6698675"/>
              <a:gd name="connsiteX12476" fmla="*/ 5125016 w 8267681"/>
              <a:gd name="connsiteY12476" fmla="*/ 1763939 h 6698675"/>
              <a:gd name="connsiteX12477" fmla="*/ 5127364 w 8267681"/>
              <a:gd name="connsiteY12477" fmla="*/ 1766288 h 6698675"/>
              <a:gd name="connsiteX12478" fmla="*/ 5148504 w 8267681"/>
              <a:gd name="connsiteY12478" fmla="*/ 1763939 h 6698675"/>
              <a:gd name="connsiteX12479" fmla="*/ 5148504 w 8267681"/>
              <a:gd name="connsiteY12479" fmla="*/ 1766288 h 6698675"/>
              <a:gd name="connsiteX12480" fmla="*/ 5153201 w 8267681"/>
              <a:gd name="connsiteY12480" fmla="*/ 1768636 h 6698675"/>
              <a:gd name="connsiteX12481" fmla="*/ 5155550 w 8267681"/>
              <a:gd name="connsiteY12481" fmla="*/ 1773334 h 6698675"/>
              <a:gd name="connsiteX12482" fmla="*/ 5160248 w 8267681"/>
              <a:gd name="connsiteY12482" fmla="*/ 1778032 h 6698675"/>
              <a:gd name="connsiteX12483" fmla="*/ 5169642 w 8267681"/>
              <a:gd name="connsiteY12483" fmla="*/ 1780380 h 6698675"/>
              <a:gd name="connsiteX12484" fmla="*/ 5176689 w 8267681"/>
              <a:gd name="connsiteY12484" fmla="*/ 1789775 h 6698675"/>
              <a:gd name="connsiteX12485" fmla="*/ 5181386 w 8267681"/>
              <a:gd name="connsiteY12485" fmla="*/ 1787426 h 6698675"/>
              <a:gd name="connsiteX12486" fmla="*/ 5182561 w 8267681"/>
              <a:gd name="connsiteY12486" fmla="*/ 1785077 h 6698675"/>
              <a:gd name="connsiteX12487" fmla="*/ 5186084 w 8267681"/>
              <a:gd name="connsiteY12487" fmla="*/ 1785077 h 6698675"/>
              <a:gd name="connsiteX12488" fmla="*/ 5204874 w 8267681"/>
              <a:gd name="connsiteY12488" fmla="*/ 1770985 h 6698675"/>
              <a:gd name="connsiteX12489" fmla="*/ 5216618 w 8267681"/>
              <a:gd name="connsiteY12489" fmla="*/ 1768636 h 6698675"/>
              <a:gd name="connsiteX12490" fmla="*/ 5216618 w 8267681"/>
              <a:gd name="connsiteY12490" fmla="*/ 1766288 h 6698675"/>
              <a:gd name="connsiteX12491" fmla="*/ 5218967 w 8267681"/>
              <a:gd name="connsiteY12491" fmla="*/ 1766288 h 6698675"/>
              <a:gd name="connsiteX12492" fmla="*/ 5230711 w 8267681"/>
              <a:gd name="connsiteY12492" fmla="*/ 1745150 h 6698675"/>
              <a:gd name="connsiteX12493" fmla="*/ 5230711 w 8267681"/>
              <a:gd name="connsiteY12493" fmla="*/ 1726359 h 6698675"/>
              <a:gd name="connsiteX12494" fmla="*/ 5228362 w 8267681"/>
              <a:gd name="connsiteY12494" fmla="*/ 1721662 h 6698675"/>
              <a:gd name="connsiteX12495" fmla="*/ 5230711 w 8267681"/>
              <a:gd name="connsiteY12495" fmla="*/ 1705222 h 6698675"/>
              <a:gd name="connsiteX12496" fmla="*/ 5228362 w 8267681"/>
              <a:gd name="connsiteY12496" fmla="*/ 1698175 h 6698675"/>
              <a:gd name="connsiteX12497" fmla="*/ 5237757 w 8267681"/>
              <a:gd name="connsiteY12497" fmla="*/ 1712268 h 6698675"/>
              <a:gd name="connsiteX12498" fmla="*/ 5235408 w 8267681"/>
              <a:gd name="connsiteY12498" fmla="*/ 1721662 h 6698675"/>
              <a:gd name="connsiteX12499" fmla="*/ 5237757 w 8267681"/>
              <a:gd name="connsiteY12499" fmla="*/ 1728708 h 6698675"/>
              <a:gd name="connsiteX12500" fmla="*/ 5237757 w 8267681"/>
              <a:gd name="connsiteY12500" fmla="*/ 1747498 h 6698675"/>
              <a:gd name="connsiteX12501" fmla="*/ 5230711 w 8267681"/>
              <a:gd name="connsiteY12501" fmla="*/ 1756893 h 6698675"/>
              <a:gd name="connsiteX12502" fmla="*/ 5240106 w 8267681"/>
              <a:gd name="connsiteY12502" fmla="*/ 1756893 h 6698675"/>
              <a:gd name="connsiteX12503" fmla="*/ 5242455 w 8267681"/>
              <a:gd name="connsiteY12503" fmla="*/ 1756893 h 6698675"/>
              <a:gd name="connsiteX12504" fmla="*/ 5242455 w 8267681"/>
              <a:gd name="connsiteY12504" fmla="*/ 1754544 h 6698675"/>
              <a:gd name="connsiteX12505" fmla="*/ 5256547 w 8267681"/>
              <a:gd name="connsiteY12505" fmla="*/ 1752196 h 6698675"/>
              <a:gd name="connsiteX12506" fmla="*/ 5262267 w 8267681"/>
              <a:gd name="connsiteY12506" fmla="*/ 1762203 h 6698675"/>
              <a:gd name="connsiteX12507" fmla="*/ 5263595 w 8267681"/>
              <a:gd name="connsiteY12507" fmla="*/ 1761590 h 6698675"/>
              <a:gd name="connsiteX12508" fmla="*/ 5270641 w 8267681"/>
              <a:gd name="connsiteY12508" fmla="*/ 1770985 h 6698675"/>
              <a:gd name="connsiteX12509" fmla="*/ 5289432 w 8267681"/>
              <a:gd name="connsiteY12509" fmla="*/ 1770985 h 6698675"/>
              <a:gd name="connsiteX12510" fmla="*/ 5289432 w 8267681"/>
              <a:gd name="connsiteY12510" fmla="*/ 1763940 h 6698675"/>
              <a:gd name="connsiteX12511" fmla="*/ 5296478 w 8267681"/>
              <a:gd name="connsiteY12511" fmla="*/ 1770985 h 6698675"/>
              <a:gd name="connsiteX12512" fmla="*/ 5291780 w 8267681"/>
              <a:gd name="connsiteY12512" fmla="*/ 1785077 h 6698675"/>
              <a:gd name="connsiteX12513" fmla="*/ 5298827 w 8267681"/>
              <a:gd name="connsiteY12513" fmla="*/ 1792124 h 6698675"/>
              <a:gd name="connsiteX12514" fmla="*/ 5298827 w 8267681"/>
              <a:gd name="connsiteY12514" fmla="*/ 1801518 h 6698675"/>
              <a:gd name="connsiteX12515" fmla="*/ 5289432 w 8267681"/>
              <a:gd name="connsiteY12515" fmla="*/ 1801518 h 6698675"/>
              <a:gd name="connsiteX12516" fmla="*/ 5294890 w 8267681"/>
              <a:gd name="connsiteY12516" fmla="*/ 1808340 h 6698675"/>
              <a:gd name="connsiteX12517" fmla="*/ 5303523 w 8267681"/>
              <a:gd name="connsiteY12517" fmla="*/ 1808565 h 6698675"/>
              <a:gd name="connsiteX12518" fmla="*/ 5310569 w 8267681"/>
              <a:gd name="connsiteY12518" fmla="*/ 1822656 h 6698675"/>
              <a:gd name="connsiteX12519" fmla="*/ 5308220 w 8267681"/>
              <a:gd name="connsiteY12519" fmla="*/ 1822656 h 6698675"/>
              <a:gd name="connsiteX12520" fmla="*/ 5300881 w 8267681"/>
              <a:gd name="connsiteY12520" fmla="*/ 1819427 h 6698675"/>
              <a:gd name="connsiteX12521" fmla="*/ 5292658 w 8267681"/>
              <a:gd name="connsiteY12521" fmla="*/ 1818101 h 6698675"/>
              <a:gd name="connsiteX12522" fmla="*/ 5294129 w 8267681"/>
              <a:gd name="connsiteY12522" fmla="*/ 1820308 h 6698675"/>
              <a:gd name="connsiteX12523" fmla="*/ 5284734 w 8267681"/>
              <a:gd name="connsiteY12523" fmla="*/ 1820308 h 6698675"/>
              <a:gd name="connsiteX12524" fmla="*/ 5289432 w 8267681"/>
              <a:gd name="connsiteY12524" fmla="*/ 1827354 h 6698675"/>
              <a:gd name="connsiteX12525" fmla="*/ 5287083 w 8267681"/>
              <a:gd name="connsiteY12525" fmla="*/ 1841446 h 6698675"/>
              <a:gd name="connsiteX12526" fmla="*/ 5317617 w 8267681"/>
              <a:gd name="connsiteY12526" fmla="*/ 1864933 h 6698675"/>
              <a:gd name="connsiteX12527" fmla="*/ 5317617 w 8267681"/>
              <a:gd name="connsiteY12527" fmla="*/ 1867282 h 6698675"/>
              <a:gd name="connsiteX12528" fmla="*/ 5308222 w 8267681"/>
              <a:gd name="connsiteY12528" fmla="*/ 1867282 h 6698675"/>
              <a:gd name="connsiteX12529" fmla="*/ 5315268 w 8267681"/>
              <a:gd name="connsiteY12529" fmla="*/ 1874328 h 6698675"/>
              <a:gd name="connsiteX12530" fmla="*/ 5312920 w 8267681"/>
              <a:gd name="connsiteY12530" fmla="*/ 1879026 h 6698675"/>
              <a:gd name="connsiteX12531" fmla="*/ 5315268 w 8267681"/>
              <a:gd name="connsiteY12531" fmla="*/ 1881374 h 6698675"/>
              <a:gd name="connsiteX12532" fmla="*/ 5327915 w 8267681"/>
              <a:gd name="connsiteY12532" fmla="*/ 1879567 h 6698675"/>
              <a:gd name="connsiteX12533" fmla="*/ 5334058 w 8267681"/>
              <a:gd name="connsiteY12533" fmla="*/ 1867282 h 6698675"/>
              <a:gd name="connsiteX12534" fmla="*/ 5329361 w 8267681"/>
              <a:gd name="connsiteY12534" fmla="*/ 1860236 h 6698675"/>
              <a:gd name="connsiteX12535" fmla="*/ 5338756 w 8267681"/>
              <a:gd name="connsiteY12535" fmla="*/ 1860236 h 6698675"/>
              <a:gd name="connsiteX12536" fmla="*/ 5338756 w 8267681"/>
              <a:gd name="connsiteY12536" fmla="*/ 1869631 h 6698675"/>
              <a:gd name="connsiteX12537" fmla="*/ 5345802 w 8267681"/>
              <a:gd name="connsiteY12537" fmla="*/ 1876677 h 6698675"/>
              <a:gd name="connsiteX12538" fmla="*/ 5355197 w 8267681"/>
              <a:gd name="connsiteY12538" fmla="*/ 1869631 h 6698675"/>
              <a:gd name="connsiteX12539" fmla="*/ 5364593 w 8267681"/>
              <a:gd name="connsiteY12539" fmla="*/ 1881374 h 6698675"/>
              <a:gd name="connsiteX12540" fmla="*/ 5381034 w 8267681"/>
              <a:gd name="connsiteY12540" fmla="*/ 1879026 h 6698675"/>
              <a:gd name="connsiteX12541" fmla="*/ 5371639 w 8267681"/>
              <a:gd name="connsiteY12541" fmla="*/ 1888421 h 6698675"/>
              <a:gd name="connsiteX12542" fmla="*/ 5381034 w 8267681"/>
              <a:gd name="connsiteY12542" fmla="*/ 1888421 h 6698675"/>
              <a:gd name="connsiteX12543" fmla="*/ 5387073 w 8267681"/>
              <a:gd name="connsiteY12543" fmla="*/ 1902512 h 6698675"/>
              <a:gd name="connsiteX12544" fmla="*/ 5385731 w 8267681"/>
              <a:gd name="connsiteY12544" fmla="*/ 1902512 h 6698675"/>
              <a:gd name="connsiteX12545" fmla="*/ 5385731 w 8267681"/>
              <a:gd name="connsiteY12545" fmla="*/ 1904861 h 6698675"/>
              <a:gd name="connsiteX12546" fmla="*/ 5395127 w 8267681"/>
              <a:gd name="connsiteY12546" fmla="*/ 1909559 h 6698675"/>
              <a:gd name="connsiteX12547" fmla="*/ 5388080 w 8267681"/>
              <a:gd name="connsiteY12547" fmla="*/ 1914256 h 6698675"/>
              <a:gd name="connsiteX12548" fmla="*/ 5395127 w 8267681"/>
              <a:gd name="connsiteY12548" fmla="*/ 1918954 h 6698675"/>
              <a:gd name="connsiteX12549" fmla="*/ 5399824 w 8267681"/>
              <a:gd name="connsiteY12549" fmla="*/ 1916605 h 6698675"/>
              <a:gd name="connsiteX12550" fmla="*/ 5395127 w 8267681"/>
              <a:gd name="connsiteY12550" fmla="*/ 1909559 h 6698675"/>
              <a:gd name="connsiteX12551" fmla="*/ 5411568 w 8267681"/>
              <a:gd name="connsiteY12551" fmla="*/ 1909559 h 6698675"/>
              <a:gd name="connsiteX12552" fmla="*/ 5411568 w 8267681"/>
              <a:gd name="connsiteY12552" fmla="*/ 1902512 h 6698675"/>
              <a:gd name="connsiteX12553" fmla="*/ 5402173 w 8267681"/>
              <a:gd name="connsiteY12553" fmla="*/ 1907210 h 6698675"/>
              <a:gd name="connsiteX12554" fmla="*/ 5401292 w 8267681"/>
              <a:gd name="connsiteY12554" fmla="*/ 1905155 h 6698675"/>
              <a:gd name="connsiteX12555" fmla="*/ 5400134 w 8267681"/>
              <a:gd name="connsiteY12555" fmla="*/ 1905100 h 6698675"/>
              <a:gd name="connsiteX12556" fmla="*/ 5404522 w 8267681"/>
              <a:gd name="connsiteY12556" fmla="*/ 1900164 h 6698675"/>
              <a:gd name="connsiteX12557" fmla="*/ 5430359 w 8267681"/>
              <a:gd name="connsiteY12557" fmla="*/ 1900164 h 6698675"/>
              <a:gd name="connsiteX12558" fmla="*/ 5428010 w 8267681"/>
              <a:gd name="connsiteY12558" fmla="*/ 1890769 h 6698675"/>
              <a:gd name="connsiteX12559" fmla="*/ 5430359 w 8267681"/>
              <a:gd name="connsiteY12559" fmla="*/ 1888421 h 6698675"/>
              <a:gd name="connsiteX12560" fmla="*/ 5444451 w 8267681"/>
              <a:gd name="connsiteY12560" fmla="*/ 1890769 h 6698675"/>
              <a:gd name="connsiteX12561" fmla="*/ 5435056 w 8267681"/>
              <a:gd name="connsiteY12561" fmla="*/ 1904861 h 6698675"/>
              <a:gd name="connsiteX12562" fmla="*/ 5442102 w 8267681"/>
              <a:gd name="connsiteY12562" fmla="*/ 1914256 h 6698675"/>
              <a:gd name="connsiteX12563" fmla="*/ 5437405 w 8267681"/>
              <a:gd name="connsiteY12563" fmla="*/ 1904861 h 6698675"/>
              <a:gd name="connsiteX12564" fmla="*/ 5451497 w 8267681"/>
              <a:gd name="connsiteY12564" fmla="*/ 1904861 h 6698675"/>
              <a:gd name="connsiteX12565" fmla="*/ 5451497 w 8267681"/>
              <a:gd name="connsiteY12565" fmla="*/ 1914256 h 6698675"/>
              <a:gd name="connsiteX12566" fmla="*/ 5465590 w 8267681"/>
              <a:gd name="connsiteY12566" fmla="*/ 1923651 h 6698675"/>
              <a:gd name="connsiteX12567" fmla="*/ 5467939 w 8267681"/>
              <a:gd name="connsiteY12567" fmla="*/ 1916605 h 6698675"/>
              <a:gd name="connsiteX12568" fmla="*/ 5484380 w 8267681"/>
              <a:gd name="connsiteY12568" fmla="*/ 1916605 h 6698675"/>
              <a:gd name="connsiteX12569" fmla="*/ 5482032 w 8267681"/>
              <a:gd name="connsiteY12569" fmla="*/ 1907210 h 6698675"/>
              <a:gd name="connsiteX12570" fmla="*/ 5474985 w 8267681"/>
              <a:gd name="connsiteY12570" fmla="*/ 1907210 h 6698675"/>
              <a:gd name="connsiteX12571" fmla="*/ 5477334 w 8267681"/>
              <a:gd name="connsiteY12571" fmla="*/ 1900164 h 6698675"/>
              <a:gd name="connsiteX12572" fmla="*/ 5491427 w 8267681"/>
              <a:gd name="connsiteY12572" fmla="*/ 1902512 h 6698675"/>
              <a:gd name="connsiteX12573" fmla="*/ 5489078 w 8267681"/>
              <a:gd name="connsiteY12573" fmla="*/ 1907210 h 6698675"/>
              <a:gd name="connsiteX12574" fmla="*/ 5496124 w 8267681"/>
              <a:gd name="connsiteY12574" fmla="*/ 1914256 h 6698675"/>
              <a:gd name="connsiteX12575" fmla="*/ 5484380 w 8267681"/>
              <a:gd name="connsiteY12575" fmla="*/ 1925999 h 6698675"/>
              <a:gd name="connsiteX12576" fmla="*/ 5486729 w 8267681"/>
              <a:gd name="connsiteY12576" fmla="*/ 1930697 h 6698675"/>
              <a:gd name="connsiteX12577" fmla="*/ 5496124 w 8267681"/>
              <a:gd name="connsiteY12577" fmla="*/ 1918954 h 6698675"/>
              <a:gd name="connsiteX12578" fmla="*/ 5503170 w 8267681"/>
              <a:gd name="connsiteY12578" fmla="*/ 1921303 h 6698675"/>
              <a:gd name="connsiteX12579" fmla="*/ 5512566 w 8267681"/>
              <a:gd name="connsiteY12579" fmla="*/ 1918954 h 6698675"/>
              <a:gd name="connsiteX12580" fmla="*/ 5519612 w 8267681"/>
              <a:gd name="connsiteY12580" fmla="*/ 1921303 h 6698675"/>
              <a:gd name="connsiteX12581" fmla="*/ 5512566 w 8267681"/>
              <a:gd name="connsiteY12581" fmla="*/ 1923651 h 6698675"/>
              <a:gd name="connsiteX12582" fmla="*/ 5514914 w 8267681"/>
              <a:gd name="connsiteY12582" fmla="*/ 1928349 h 6698675"/>
              <a:gd name="connsiteX12583" fmla="*/ 5505519 w 8267681"/>
              <a:gd name="connsiteY12583" fmla="*/ 1940092 h 6698675"/>
              <a:gd name="connsiteX12584" fmla="*/ 5519612 w 8267681"/>
              <a:gd name="connsiteY12584" fmla="*/ 1935394 h 6698675"/>
              <a:gd name="connsiteX12585" fmla="*/ 5529007 w 8267681"/>
              <a:gd name="connsiteY12585" fmla="*/ 1944789 h 6698675"/>
              <a:gd name="connsiteX12586" fmla="*/ 5529007 w 8267681"/>
              <a:gd name="connsiteY12586" fmla="*/ 1935394 h 6698675"/>
              <a:gd name="connsiteX12587" fmla="*/ 5519612 w 8267681"/>
              <a:gd name="connsiteY12587" fmla="*/ 1935394 h 6698675"/>
              <a:gd name="connsiteX12588" fmla="*/ 5533705 w 8267681"/>
              <a:gd name="connsiteY12588" fmla="*/ 1928349 h 6698675"/>
              <a:gd name="connsiteX12589" fmla="*/ 5543100 w 8267681"/>
              <a:gd name="connsiteY12589" fmla="*/ 1918954 h 6698675"/>
              <a:gd name="connsiteX12590" fmla="*/ 5554843 w 8267681"/>
              <a:gd name="connsiteY12590" fmla="*/ 1925999 h 6698675"/>
              <a:gd name="connsiteX12591" fmla="*/ 5557192 w 8267681"/>
              <a:gd name="connsiteY12591" fmla="*/ 1961230 h 6698675"/>
              <a:gd name="connsiteX12592" fmla="*/ 5564239 w 8267681"/>
              <a:gd name="connsiteY12592" fmla="*/ 1947138 h 6698675"/>
              <a:gd name="connsiteX12593" fmla="*/ 5566587 w 8267681"/>
              <a:gd name="connsiteY12593" fmla="*/ 1956533 h 6698675"/>
              <a:gd name="connsiteX12594" fmla="*/ 5573634 w 8267681"/>
              <a:gd name="connsiteY12594" fmla="*/ 1961230 h 6698675"/>
              <a:gd name="connsiteX12595" fmla="*/ 5566587 w 8267681"/>
              <a:gd name="connsiteY12595" fmla="*/ 1970625 h 6698675"/>
              <a:gd name="connsiteX12596" fmla="*/ 5568936 w 8267681"/>
              <a:gd name="connsiteY12596" fmla="*/ 1975323 h 6698675"/>
              <a:gd name="connsiteX12597" fmla="*/ 5585378 w 8267681"/>
              <a:gd name="connsiteY12597" fmla="*/ 1961230 h 6698675"/>
              <a:gd name="connsiteX12598" fmla="*/ 5590075 w 8267681"/>
              <a:gd name="connsiteY12598" fmla="*/ 1963579 h 6698675"/>
              <a:gd name="connsiteX12599" fmla="*/ 5583029 w 8267681"/>
              <a:gd name="connsiteY12599" fmla="*/ 1972974 h 6698675"/>
              <a:gd name="connsiteX12600" fmla="*/ 5592424 w 8267681"/>
              <a:gd name="connsiteY12600" fmla="*/ 1972974 h 6698675"/>
              <a:gd name="connsiteX12601" fmla="*/ 5597709 w 8267681"/>
              <a:gd name="connsiteY12601" fmla="*/ 1978259 h 6698675"/>
              <a:gd name="connsiteX12602" fmla="*/ 5597122 w 8267681"/>
              <a:gd name="connsiteY12602" fmla="*/ 1980020 h 6698675"/>
              <a:gd name="connsiteX12603" fmla="*/ 5599831 w 8267681"/>
              <a:gd name="connsiteY12603" fmla="*/ 1982188 h 6698675"/>
              <a:gd name="connsiteX12604" fmla="*/ 5601574 w 8267681"/>
              <a:gd name="connsiteY12604" fmla="*/ 1992646 h 6698675"/>
              <a:gd name="connsiteX12605" fmla="*/ 5599470 w 8267681"/>
              <a:gd name="connsiteY12605" fmla="*/ 1991764 h 6698675"/>
              <a:gd name="connsiteX12606" fmla="*/ 5594773 w 8267681"/>
              <a:gd name="connsiteY12606" fmla="*/ 2001159 h 6698675"/>
              <a:gd name="connsiteX12607" fmla="*/ 5611214 w 8267681"/>
              <a:gd name="connsiteY12607" fmla="*/ 2008212 h 6698675"/>
              <a:gd name="connsiteX12608" fmla="*/ 5618261 w 8267681"/>
              <a:gd name="connsiteY12608" fmla="*/ 1998810 h 6698675"/>
              <a:gd name="connsiteX12609" fmla="*/ 5606039 w 8267681"/>
              <a:gd name="connsiteY12609" fmla="*/ 1994516 h 6698675"/>
              <a:gd name="connsiteX12610" fmla="*/ 5603076 w 8267681"/>
              <a:gd name="connsiteY12610" fmla="*/ 1993275 h 6698675"/>
              <a:gd name="connsiteX12611" fmla="*/ 5608865 w 8267681"/>
              <a:gd name="connsiteY12611" fmla="*/ 1989415 h 6698675"/>
              <a:gd name="connsiteX12612" fmla="*/ 5599831 w 8267681"/>
              <a:gd name="connsiteY12612" fmla="*/ 1982188 h 6698675"/>
              <a:gd name="connsiteX12613" fmla="*/ 5599470 w 8267681"/>
              <a:gd name="connsiteY12613" fmla="*/ 1980020 h 6698675"/>
              <a:gd name="connsiteX12614" fmla="*/ 5597709 w 8267681"/>
              <a:gd name="connsiteY12614" fmla="*/ 1978259 h 6698675"/>
              <a:gd name="connsiteX12615" fmla="*/ 5599470 w 8267681"/>
              <a:gd name="connsiteY12615" fmla="*/ 1972974 h 6698675"/>
              <a:gd name="connsiteX12616" fmla="*/ 5606517 w 8267681"/>
              <a:gd name="connsiteY12616" fmla="*/ 1977673 h 6698675"/>
              <a:gd name="connsiteX12617" fmla="*/ 5615912 w 8267681"/>
              <a:gd name="connsiteY12617" fmla="*/ 1968276 h 6698675"/>
              <a:gd name="connsiteX12618" fmla="*/ 5625307 w 8267681"/>
              <a:gd name="connsiteY12618" fmla="*/ 1984719 h 6698675"/>
              <a:gd name="connsiteX12619" fmla="*/ 5634702 w 8267681"/>
              <a:gd name="connsiteY12619" fmla="*/ 1980020 h 6698675"/>
              <a:gd name="connsiteX12620" fmla="*/ 5630005 w 8267681"/>
              <a:gd name="connsiteY12620" fmla="*/ 1970625 h 6698675"/>
              <a:gd name="connsiteX12621" fmla="*/ 5639400 w 8267681"/>
              <a:gd name="connsiteY12621" fmla="*/ 1972974 h 6698675"/>
              <a:gd name="connsiteX12622" fmla="*/ 5648795 w 8267681"/>
              <a:gd name="connsiteY12622" fmla="*/ 1970625 h 6698675"/>
              <a:gd name="connsiteX12623" fmla="*/ 5653492 w 8267681"/>
              <a:gd name="connsiteY12623" fmla="*/ 1963579 h 6698675"/>
              <a:gd name="connsiteX12624" fmla="*/ 5660538 w 8267681"/>
              <a:gd name="connsiteY12624" fmla="*/ 1965927 h 6698675"/>
              <a:gd name="connsiteX12625" fmla="*/ 5667585 w 8267681"/>
              <a:gd name="connsiteY12625" fmla="*/ 1963579 h 6698675"/>
              <a:gd name="connsiteX12626" fmla="*/ 5676980 w 8267681"/>
              <a:gd name="connsiteY12626" fmla="*/ 1970625 h 6698675"/>
              <a:gd name="connsiteX12627" fmla="*/ 5676980 w 8267681"/>
              <a:gd name="connsiteY12627" fmla="*/ 1987067 h 6698675"/>
              <a:gd name="connsiteX12628" fmla="*/ 5667585 w 8267681"/>
              <a:gd name="connsiteY12628" fmla="*/ 1998810 h 6698675"/>
              <a:gd name="connsiteX12629" fmla="*/ 5658190 w 8267681"/>
              <a:gd name="connsiteY12629" fmla="*/ 1998810 h 6698675"/>
              <a:gd name="connsiteX12630" fmla="*/ 5665236 w 8267681"/>
              <a:gd name="connsiteY12630" fmla="*/ 2015249 h 6698675"/>
              <a:gd name="connsiteX12631" fmla="*/ 5655841 w 8267681"/>
              <a:gd name="connsiteY12631" fmla="*/ 2015249 h 6698675"/>
              <a:gd name="connsiteX12632" fmla="*/ 5655841 w 8267681"/>
              <a:gd name="connsiteY12632" fmla="*/ 2026995 h 6698675"/>
              <a:gd name="connsiteX12633" fmla="*/ 5667585 w 8267681"/>
              <a:gd name="connsiteY12633" fmla="*/ 2024644 h 6698675"/>
              <a:gd name="connsiteX12634" fmla="*/ 5684026 w 8267681"/>
              <a:gd name="connsiteY12634" fmla="*/ 2043438 h 6698675"/>
              <a:gd name="connsiteX12635" fmla="*/ 5672282 w 8267681"/>
              <a:gd name="connsiteY12635" fmla="*/ 2043438 h 6698675"/>
              <a:gd name="connsiteX12636" fmla="*/ 5679329 w 8267681"/>
              <a:gd name="connsiteY12636" fmla="*/ 2048132 h 6698675"/>
              <a:gd name="connsiteX12637" fmla="*/ 5676980 w 8267681"/>
              <a:gd name="connsiteY12637" fmla="*/ 2062226 h 6698675"/>
              <a:gd name="connsiteX12638" fmla="*/ 5684026 w 8267681"/>
              <a:gd name="connsiteY12638" fmla="*/ 2059879 h 6698675"/>
              <a:gd name="connsiteX12639" fmla="*/ 5679329 w 8267681"/>
              <a:gd name="connsiteY12639" fmla="*/ 2071617 h 6698675"/>
              <a:gd name="connsiteX12640" fmla="*/ 5686375 w 8267681"/>
              <a:gd name="connsiteY12640" fmla="*/ 2073967 h 6698675"/>
              <a:gd name="connsiteX12641" fmla="*/ 5691073 w 8267681"/>
              <a:gd name="connsiteY12641" fmla="*/ 2071617 h 6698675"/>
              <a:gd name="connsiteX12642" fmla="*/ 5686375 w 8267681"/>
              <a:gd name="connsiteY12642" fmla="*/ 2059879 h 6698675"/>
              <a:gd name="connsiteX12643" fmla="*/ 5698119 w 8267681"/>
              <a:gd name="connsiteY12643" fmla="*/ 2050483 h 6698675"/>
              <a:gd name="connsiteX12644" fmla="*/ 5698119 w 8267681"/>
              <a:gd name="connsiteY12644" fmla="*/ 2059879 h 6698675"/>
              <a:gd name="connsiteX12645" fmla="*/ 5707514 w 8267681"/>
              <a:gd name="connsiteY12645" fmla="*/ 2057527 h 6698675"/>
              <a:gd name="connsiteX12646" fmla="*/ 5723956 w 8267681"/>
              <a:gd name="connsiteY12646" fmla="*/ 2066928 h 6698675"/>
              <a:gd name="connsiteX12647" fmla="*/ 5714560 w 8267681"/>
              <a:gd name="connsiteY12647" fmla="*/ 2066928 h 6698675"/>
              <a:gd name="connsiteX12648" fmla="*/ 5719258 w 8267681"/>
              <a:gd name="connsiteY12648" fmla="*/ 2071617 h 6698675"/>
              <a:gd name="connsiteX12649" fmla="*/ 5721607 w 8267681"/>
              <a:gd name="connsiteY12649" fmla="*/ 2078665 h 6698675"/>
              <a:gd name="connsiteX12650" fmla="*/ 5728653 w 8267681"/>
              <a:gd name="connsiteY12650" fmla="*/ 2073967 h 6698675"/>
              <a:gd name="connsiteX12651" fmla="*/ 5723956 w 8267681"/>
              <a:gd name="connsiteY12651" fmla="*/ 2066928 h 6698675"/>
              <a:gd name="connsiteX12652" fmla="*/ 5726304 w 8267681"/>
              <a:gd name="connsiteY12652" fmla="*/ 2057527 h 6698675"/>
              <a:gd name="connsiteX12653" fmla="*/ 5733351 w 8267681"/>
              <a:gd name="connsiteY12653" fmla="*/ 2057527 h 6698675"/>
              <a:gd name="connsiteX12654" fmla="*/ 5738048 w 8267681"/>
              <a:gd name="connsiteY12654" fmla="*/ 2066928 h 6698675"/>
              <a:gd name="connsiteX12655" fmla="*/ 5733351 w 8267681"/>
              <a:gd name="connsiteY12655" fmla="*/ 2076317 h 6698675"/>
              <a:gd name="connsiteX12656" fmla="*/ 5740397 w 8267681"/>
              <a:gd name="connsiteY12656" fmla="*/ 2081019 h 6698675"/>
              <a:gd name="connsiteX12657" fmla="*/ 5733351 w 8267681"/>
              <a:gd name="connsiteY12657" fmla="*/ 2090411 h 6698675"/>
              <a:gd name="connsiteX12658" fmla="*/ 5742746 w 8267681"/>
              <a:gd name="connsiteY12658" fmla="*/ 2102160 h 6698675"/>
              <a:gd name="connsiteX12659" fmla="*/ 5752141 w 8267681"/>
              <a:gd name="connsiteY12659" fmla="*/ 2099806 h 6698675"/>
              <a:gd name="connsiteX12660" fmla="*/ 5761536 w 8267681"/>
              <a:gd name="connsiteY12660" fmla="*/ 2097458 h 6698675"/>
              <a:gd name="connsiteX12661" fmla="*/ 5759187 w 8267681"/>
              <a:gd name="connsiteY12661" fmla="*/ 2104502 h 6698675"/>
              <a:gd name="connsiteX12662" fmla="*/ 5761536 w 8267681"/>
              <a:gd name="connsiteY12662" fmla="*/ 2113903 h 6698675"/>
              <a:gd name="connsiteX12663" fmla="*/ 5770931 w 8267681"/>
              <a:gd name="connsiteY12663" fmla="*/ 2127997 h 6698675"/>
              <a:gd name="connsiteX12664" fmla="*/ 5770931 w 8267681"/>
              <a:gd name="connsiteY12664" fmla="*/ 2137391 h 6698675"/>
              <a:gd name="connsiteX12665" fmla="*/ 5768582 w 8267681"/>
              <a:gd name="connsiteY12665" fmla="*/ 2146800 h 6698675"/>
              <a:gd name="connsiteX12666" fmla="*/ 5777977 w 8267681"/>
              <a:gd name="connsiteY12666" fmla="*/ 2144444 h 6698675"/>
              <a:gd name="connsiteX12667" fmla="*/ 5782675 w 8267681"/>
              <a:gd name="connsiteY12667" fmla="*/ 2153852 h 6698675"/>
              <a:gd name="connsiteX12668" fmla="*/ 5775629 w 8267681"/>
              <a:gd name="connsiteY12668" fmla="*/ 2158534 h 6698675"/>
              <a:gd name="connsiteX12669" fmla="*/ 5777977 w 8267681"/>
              <a:gd name="connsiteY12669" fmla="*/ 2163216 h 6698675"/>
              <a:gd name="connsiteX12670" fmla="*/ 5770931 w 8267681"/>
              <a:gd name="connsiteY12670" fmla="*/ 2170238 h 6698675"/>
              <a:gd name="connsiteX12671" fmla="*/ 5780326 w 8267681"/>
              <a:gd name="connsiteY12671" fmla="*/ 2170238 h 6698675"/>
              <a:gd name="connsiteX12672" fmla="*/ 5787373 w 8267681"/>
              <a:gd name="connsiteY12672" fmla="*/ 2170238 h 6698675"/>
              <a:gd name="connsiteX12673" fmla="*/ 5794419 w 8267681"/>
              <a:gd name="connsiteY12673" fmla="*/ 2179641 h 6698675"/>
              <a:gd name="connsiteX12674" fmla="*/ 5780326 w 8267681"/>
              <a:gd name="connsiteY12674" fmla="*/ 2189045 h 6698675"/>
              <a:gd name="connsiteX12675" fmla="*/ 5787373 w 8267681"/>
              <a:gd name="connsiteY12675" fmla="*/ 2189045 h 6698675"/>
              <a:gd name="connsiteX12676" fmla="*/ 5782675 w 8267681"/>
              <a:gd name="connsiteY12676" fmla="*/ 2196093 h 6698675"/>
              <a:gd name="connsiteX12677" fmla="*/ 5792070 w 8267681"/>
              <a:gd name="connsiteY12677" fmla="*/ 2196093 h 6698675"/>
              <a:gd name="connsiteX12678" fmla="*/ 5794419 w 8267681"/>
              <a:gd name="connsiteY12678" fmla="*/ 2186696 h 6698675"/>
              <a:gd name="connsiteX12679" fmla="*/ 5794419 w 8267681"/>
              <a:gd name="connsiteY12679" fmla="*/ 2193745 h 6698675"/>
              <a:gd name="connsiteX12680" fmla="*/ 5801465 w 8267681"/>
              <a:gd name="connsiteY12680" fmla="*/ 2193745 h 6698675"/>
              <a:gd name="connsiteX12681" fmla="*/ 5794419 w 8267681"/>
              <a:gd name="connsiteY12681" fmla="*/ 2210186 h 6698675"/>
              <a:gd name="connsiteX12682" fmla="*/ 5801465 w 8267681"/>
              <a:gd name="connsiteY12682" fmla="*/ 2210186 h 6698675"/>
              <a:gd name="connsiteX12683" fmla="*/ 5803814 w 8267681"/>
              <a:gd name="connsiteY12683" fmla="*/ 2212534 h 6698675"/>
              <a:gd name="connsiteX12684" fmla="*/ 5801465 w 8267681"/>
              <a:gd name="connsiteY12684" fmla="*/ 2217233 h 6698675"/>
              <a:gd name="connsiteX12685" fmla="*/ 5808512 w 8267681"/>
              <a:gd name="connsiteY12685" fmla="*/ 2221931 h 6698675"/>
              <a:gd name="connsiteX12686" fmla="*/ 5810861 w 8267681"/>
              <a:gd name="connsiteY12686" fmla="*/ 2228978 h 6698675"/>
              <a:gd name="connsiteX12687" fmla="*/ 5801465 w 8267681"/>
              <a:gd name="connsiteY12687" fmla="*/ 2228978 h 6698675"/>
              <a:gd name="connsiteX12688" fmla="*/ 5803814 w 8267681"/>
              <a:gd name="connsiteY12688" fmla="*/ 2243076 h 6698675"/>
              <a:gd name="connsiteX12689" fmla="*/ 5806163 w 8267681"/>
              <a:gd name="connsiteY12689" fmla="*/ 2243076 h 6698675"/>
              <a:gd name="connsiteX12690" fmla="*/ 5806163 w 8267681"/>
              <a:gd name="connsiteY12690" fmla="*/ 2231320 h 6698675"/>
              <a:gd name="connsiteX12691" fmla="*/ 5815558 w 8267681"/>
              <a:gd name="connsiteY12691" fmla="*/ 2240724 h 6698675"/>
              <a:gd name="connsiteX12692" fmla="*/ 5806163 w 8267681"/>
              <a:gd name="connsiteY12692" fmla="*/ 2250114 h 6698675"/>
              <a:gd name="connsiteX12693" fmla="*/ 5808512 w 8267681"/>
              <a:gd name="connsiteY12693" fmla="*/ 2252465 h 6698675"/>
              <a:gd name="connsiteX12694" fmla="*/ 5824953 w 8267681"/>
              <a:gd name="connsiteY12694" fmla="*/ 2250114 h 6698675"/>
              <a:gd name="connsiteX12695" fmla="*/ 5834348 w 8267681"/>
              <a:gd name="connsiteY12695" fmla="*/ 2238373 h 6698675"/>
              <a:gd name="connsiteX12696" fmla="*/ 5839046 w 8267681"/>
              <a:gd name="connsiteY12696" fmla="*/ 2240724 h 6698675"/>
              <a:gd name="connsiteX12697" fmla="*/ 5824953 w 8267681"/>
              <a:gd name="connsiteY12697" fmla="*/ 2257163 h 6698675"/>
              <a:gd name="connsiteX12698" fmla="*/ 5808512 w 8267681"/>
              <a:gd name="connsiteY12698" fmla="*/ 2264209 h 6698675"/>
              <a:gd name="connsiteX12699" fmla="*/ 5815558 w 8267681"/>
              <a:gd name="connsiteY12699" fmla="*/ 2271258 h 6698675"/>
              <a:gd name="connsiteX12700" fmla="*/ 5808512 w 8267681"/>
              <a:gd name="connsiteY12700" fmla="*/ 2280654 h 6698675"/>
              <a:gd name="connsiteX12701" fmla="*/ 5810861 w 8267681"/>
              <a:gd name="connsiteY12701" fmla="*/ 2285352 h 6698675"/>
              <a:gd name="connsiteX12702" fmla="*/ 5820256 w 8267681"/>
              <a:gd name="connsiteY12702" fmla="*/ 2278306 h 6698675"/>
              <a:gd name="connsiteX12703" fmla="*/ 5824953 w 8267681"/>
              <a:gd name="connsiteY12703" fmla="*/ 2280654 h 6698675"/>
              <a:gd name="connsiteX12704" fmla="*/ 5817907 w 8267681"/>
              <a:gd name="connsiteY12704" fmla="*/ 2290048 h 6698675"/>
              <a:gd name="connsiteX12705" fmla="*/ 5822604 w 8267681"/>
              <a:gd name="connsiteY12705" fmla="*/ 2292397 h 6698675"/>
              <a:gd name="connsiteX12706" fmla="*/ 5827302 w 8267681"/>
              <a:gd name="connsiteY12706" fmla="*/ 2297102 h 6698675"/>
              <a:gd name="connsiteX12707" fmla="*/ 5824953 w 8267681"/>
              <a:gd name="connsiteY12707" fmla="*/ 2311192 h 6698675"/>
              <a:gd name="connsiteX12708" fmla="*/ 5834348 w 8267681"/>
              <a:gd name="connsiteY12708" fmla="*/ 2311192 h 6698675"/>
              <a:gd name="connsiteX12709" fmla="*/ 5831999 w 8267681"/>
              <a:gd name="connsiteY12709" fmla="*/ 2306488 h 6698675"/>
              <a:gd name="connsiteX12710" fmla="*/ 5841395 w 8267681"/>
              <a:gd name="connsiteY12710" fmla="*/ 2294748 h 6698675"/>
              <a:gd name="connsiteX12711" fmla="*/ 5850790 w 8267681"/>
              <a:gd name="connsiteY12711" fmla="*/ 2301787 h 6698675"/>
              <a:gd name="connsiteX12712" fmla="*/ 5843743 w 8267681"/>
              <a:gd name="connsiteY12712" fmla="*/ 2308840 h 6698675"/>
              <a:gd name="connsiteX12713" fmla="*/ 5843743 w 8267681"/>
              <a:gd name="connsiteY12713" fmla="*/ 2318240 h 6698675"/>
              <a:gd name="connsiteX12714" fmla="*/ 5853139 w 8267681"/>
              <a:gd name="connsiteY12714" fmla="*/ 2325277 h 6698675"/>
              <a:gd name="connsiteX12715" fmla="*/ 5850790 w 8267681"/>
              <a:gd name="connsiteY12715" fmla="*/ 2334671 h 6698675"/>
              <a:gd name="connsiteX12716" fmla="*/ 5845505 w 8267681"/>
              <a:gd name="connsiteY12716" fmla="*/ 2334671 h 6698675"/>
              <a:gd name="connsiteX12717" fmla="*/ 5843743 w 8267681"/>
              <a:gd name="connsiteY12717" fmla="*/ 2332323 h 6698675"/>
              <a:gd name="connsiteX12718" fmla="*/ 5842334 w 8267681"/>
              <a:gd name="connsiteY12718" fmla="*/ 2332794 h 6698675"/>
              <a:gd name="connsiteX12719" fmla="*/ 5836697 w 8267681"/>
              <a:gd name="connsiteY12719" fmla="*/ 2325277 h 6698675"/>
              <a:gd name="connsiteX12720" fmla="*/ 5843743 w 8267681"/>
              <a:gd name="connsiteY12720" fmla="*/ 2322938 h 6698675"/>
              <a:gd name="connsiteX12721" fmla="*/ 5836697 w 8267681"/>
              <a:gd name="connsiteY12721" fmla="*/ 2318240 h 6698675"/>
              <a:gd name="connsiteX12722" fmla="*/ 5822604 w 8267681"/>
              <a:gd name="connsiteY12722" fmla="*/ 2320594 h 6698675"/>
              <a:gd name="connsiteX12723" fmla="*/ 5829651 w 8267681"/>
              <a:gd name="connsiteY12723" fmla="*/ 2337017 h 6698675"/>
              <a:gd name="connsiteX12724" fmla="*/ 5842334 w 8267681"/>
              <a:gd name="connsiteY12724" fmla="*/ 2332794 h 6698675"/>
              <a:gd name="connsiteX12725" fmla="*/ 5843743 w 8267681"/>
              <a:gd name="connsiteY12725" fmla="*/ 2334671 h 6698675"/>
              <a:gd name="connsiteX12726" fmla="*/ 5845505 w 8267681"/>
              <a:gd name="connsiteY12726" fmla="*/ 2334671 h 6698675"/>
              <a:gd name="connsiteX12727" fmla="*/ 5850790 w 8267681"/>
              <a:gd name="connsiteY12727" fmla="*/ 2341718 h 6698675"/>
              <a:gd name="connsiteX12728" fmla="*/ 5857836 w 8267681"/>
              <a:gd name="connsiteY12728" fmla="*/ 2344071 h 6698675"/>
              <a:gd name="connsiteX12729" fmla="*/ 5839046 w 8267681"/>
              <a:gd name="connsiteY12729" fmla="*/ 2351110 h 6698675"/>
              <a:gd name="connsiteX12730" fmla="*/ 5831999 w 8267681"/>
              <a:gd name="connsiteY12730" fmla="*/ 2346420 h 6698675"/>
              <a:gd name="connsiteX12731" fmla="*/ 5827302 w 8267681"/>
              <a:gd name="connsiteY12731" fmla="*/ 2358160 h 6698675"/>
              <a:gd name="connsiteX12732" fmla="*/ 5843743 w 8267681"/>
              <a:gd name="connsiteY12732" fmla="*/ 2362860 h 6698675"/>
              <a:gd name="connsiteX12733" fmla="*/ 5843743 w 8267681"/>
              <a:gd name="connsiteY12733" fmla="*/ 2369902 h 6698675"/>
              <a:gd name="connsiteX12734" fmla="*/ 5836697 w 8267681"/>
              <a:gd name="connsiteY12734" fmla="*/ 2372252 h 6698675"/>
              <a:gd name="connsiteX12735" fmla="*/ 5829651 w 8267681"/>
              <a:gd name="connsiteY12735" fmla="*/ 2367559 h 6698675"/>
              <a:gd name="connsiteX12736" fmla="*/ 5824953 w 8267681"/>
              <a:gd name="connsiteY12736" fmla="*/ 2374601 h 6698675"/>
              <a:gd name="connsiteX12737" fmla="*/ 5841395 w 8267681"/>
              <a:gd name="connsiteY12737" fmla="*/ 2381650 h 6698675"/>
              <a:gd name="connsiteX12738" fmla="*/ 5831999 w 8267681"/>
              <a:gd name="connsiteY12738" fmla="*/ 2383999 h 6698675"/>
              <a:gd name="connsiteX12739" fmla="*/ 5834348 w 8267681"/>
              <a:gd name="connsiteY12739" fmla="*/ 2388703 h 6698675"/>
              <a:gd name="connsiteX12740" fmla="*/ 5829651 w 8267681"/>
              <a:gd name="connsiteY12740" fmla="*/ 2395739 h 6698675"/>
              <a:gd name="connsiteX12741" fmla="*/ 5839046 w 8267681"/>
              <a:gd name="connsiteY12741" fmla="*/ 2391043 h 6698675"/>
              <a:gd name="connsiteX12742" fmla="*/ 5846092 w 8267681"/>
              <a:gd name="connsiteY12742" fmla="*/ 2393386 h 6698675"/>
              <a:gd name="connsiteX12743" fmla="*/ 5850790 w 8267681"/>
              <a:gd name="connsiteY12743" fmla="*/ 2386351 h 6698675"/>
              <a:gd name="connsiteX12744" fmla="*/ 5857836 w 8267681"/>
              <a:gd name="connsiteY12744" fmla="*/ 2391043 h 6698675"/>
              <a:gd name="connsiteX12745" fmla="*/ 5843743 w 8267681"/>
              <a:gd name="connsiteY12745" fmla="*/ 2398089 h 6698675"/>
              <a:gd name="connsiteX12746" fmla="*/ 5829651 w 8267681"/>
              <a:gd name="connsiteY12746" fmla="*/ 2405140 h 6698675"/>
              <a:gd name="connsiteX12747" fmla="*/ 5829651 w 8267681"/>
              <a:gd name="connsiteY12747" fmla="*/ 2398089 h 6698675"/>
              <a:gd name="connsiteX12748" fmla="*/ 5810861 w 8267681"/>
              <a:gd name="connsiteY12748" fmla="*/ 2398089 h 6698675"/>
              <a:gd name="connsiteX12749" fmla="*/ 5810861 w 8267681"/>
              <a:gd name="connsiteY12749" fmla="*/ 2395739 h 6698675"/>
              <a:gd name="connsiteX12750" fmla="*/ 5820256 w 8267681"/>
              <a:gd name="connsiteY12750" fmla="*/ 2395739 h 6698675"/>
              <a:gd name="connsiteX12751" fmla="*/ 5820256 w 8267681"/>
              <a:gd name="connsiteY12751" fmla="*/ 2379300 h 6698675"/>
              <a:gd name="connsiteX12752" fmla="*/ 5810861 w 8267681"/>
              <a:gd name="connsiteY12752" fmla="*/ 2379300 h 6698675"/>
              <a:gd name="connsiteX12753" fmla="*/ 5813209 w 8267681"/>
              <a:gd name="connsiteY12753" fmla="*/ 2386351 h 6698675"/>
              <a:gd name="connsiteX12754" fmla="*/ 5803814 w 8267681"/>
              <a:gd name="connsiteY12754" fmla="*/ 2393386 h 6698675"/>
              <a:gd name="connsiteX12755" fmla="*/ 5806163 w 8267681"/>
              <a:gd name="connsiteY12755" fmla="*/ 2402786 h 6698675"/>
              <a:gd name="connsiteX12756" fmla="*/ 5820256 w 8267681"/>
              <a:gd name="connsiteY12756" fmla="*/ 2402786 h 6698675"/>
              <a:gd name="connsiteX12757" fmla="*/ 5813209 w 8267681"/>
              <a:gd name="connsiteY12757" fmla="*/ 2419226 h 6698675"/>
              <a:gd name="connsiteX12758" fmla="*/ 5815558 w 8267681"/>
              <a:gd name="connsiteY12758" fmla="*/ 2423923 h 6698675"/>
              <a:gd name="connsiteX12759" fmla="*/ 5824953 w 8267681"/>
              <a:gd name="connsiteY12759" fmla="*/ 2414530 h 6698675"/>
              <a:gd name="connsiteX12760" fmla="*/ 5841395 w 8267681"/>
              <a:gd name="connsiteY12760" fmla="*/ 2416881 h 6698675"/>
              <a:gd name="connsiteX12761" fmla="*/ 5834348 w 8267681"/>
              <a:gd name="connsiteY12761" fmla="*/ 2423923 h 6698675"/>
              <a:gd name="connsiteX12762" fmla="*/ 5827302 w 8267681"/>
              <a:gd name="connsiteY12762" fmla="*/ 2419226 h 6698675"/>
              <a:gd name="connsiteX12763" fmla="*/ 5827302 w 8267681"/>
              <a:gd name="connsiteY12763" fmla="*/ 2426276 h 6698675"/>
              <a:gd name="connsiteX12764" fmla="*/ 5813209 w 8267681"/>
              <a:gd name="connsiteY12764" fmla="*/ 2426276 h 6698675"/>
              <a:gd name="connsiteX12765" fmla="*/ 5813209 w 8267681"/>
              <a:gd name="connsiteY12765" fmla="*/ 2440367 h 6698675"/>
              <a:gd name="connsiteX12766" fmla="*/ 5820256 w 8267681"/>
              <a:gd name="connsiteY12766" fmla="*/ 2440367 h 6698675"/>
              <a:gd name="connsiteX12767" fmla="*/ 5820256 w 8267681"/>
              <a:gd name="connsiteY12767" fmla="*/ 2433321 h 6698675"/>
              <a:gd name="connsiteX12768" fmla="*/ 5829651 w 8267681"/>
              <a:gd name="connsiteY12768" fmla="*/ 2435668 h 6698675"/>
              <a:gd name="connsiteX12769" fmla="*/ 5831999 w 8267681"/>
              <a:gd name="connsiteY12769" fmla="*/ 2438019 h 6698675"/>
              <a:gd name="connsiteX12770" fmla="*/ 5829651 w 8267681"/>
              <a:gd name="connsiteY12770" fmla="*/ 2440367 h 6698675"/>
              <a:gd name="connsiteX12771" fmla="*/ 5834348 w 8267681"/>
              <a:gd name="connsiteY12771" fmla="*/ 2447413 h 6698675"/>
              <a:gd name="connsiteX12772" fmla="*/ 5848441 w 8267681"/>
              <a:gd name="connsiteY12772" fmla="*/ 2445068 h 6698675"/>
              <a:gd name="connsiteX12773" fmla="*/ 5862534 w 8267681"/>
              <a:gd name="connsiteY12773" fmla="*/ 2454459 h 6698675"/>
              <a:gd name="connsiteX12774" fmla="*/ 5869580 w 8267681"/>
              <a:gd name="connsiteY12774" fmla="*/ 2468554 h 6698675"/>
              <a:gd name="connsiteX12775" fmla="*/ 5862534 w 8267681"/>
              <a:gd name="connsiteY12775" fmla="*/ 2468554 h 6698675"/>
              <a:gd name="connsiteX12776" fmla="*/ 5864883 w 8267681"/>
              <a:gd name="connsiteY12776" fmla="*/ 2477949 h 6698675"/>
              <a:gd name="connsiteX12777" fmla="*/ 5855487 w 8267681"/>
              <a:gd name="connsiteY12777" fmla="*/ 2477949 h 6698675"/>
              <a:gd name="connsiteX12778" fmla="*/ 5855487 w 8267681"/>
              <a:gd name="connsiteY12778" fmla="*/ 2468554 h 6698675"/>
              <a:gd name="connsiteX12779" fmla="*/ 5846092 w 8267681"/>
              <a:gd name="connsiteY12779" fmla="*/ 2468554 h 6698675"/>
              <a:gd name="connsiteX12780" fmla="*/ 5834348 w 8267681"/>
              <a:gd name="connsiteY12780" fmla="*/ 2459158 h 6698675"/>
              <a:gd name="connsiteX12781" fmla="*/ 5834348 w 8267681"/>
              <a:gd name="connsiteY12781" fmla="*/ 2468554 h 6698675"/>
              <a:gd name="connsiteX12782" fmla="*/ 5824953 w 8267681"/>
              <a:gd name="connsiteY12782" fmla="*/ 2468554 h 6698675"/>
              <a:gd name="connsiteX12783" fmla="*/ 5815558 w 8267681"/>
              <a:gd name="connsiteY12783" fmla="*/ 2482648 h 6698675"/>
              <a:gd name="connsiteX12784" fmla="*/ 5827302 w 8267681"/>
              <a:gd name="connsiteY12784" fmla="*/ 2477949 h 6698675"/>
              <a:gd name="connsiteX12785" fmla="*/ 5824953 w 8267681"/>
              <a:gd name="connsiteY12785" fmla="*/ 2492044 h 6698675"/>
              <a:gd name="connsiteX12786" fmla="*/ 5839046 w 8267681"/>
              <a:gd name="connsiteY12786" fmla="*/ 2494393 h 6698675"/>
              <a:gd name="connsiteX12787" fmla="*/ 5836697 w 8267681"/>
              <a:gd name="connsiteY12787" fmla="*/ 2501440 h 6698675"/>
              <a:gd name="connsiteX12788" fmla="*/ 5839046 w 8267681"/>
              <a:gd name="connsiteY12788" fmla="*/ 2510836 h 6698675"/>
              <a:gd name="connsiteX12789" fmla="*/ 5834348 w 8267681"/>
              <a:gd name="connsiteY12789" fmla="*/ 2508487 h 6698675"/>
              <a:gd name="connsiteX12790" fmla="*/ 5827302 w 8267681"/>
              <a:gd name="connsiteY12790" fmla="*/ 2515535 h 6698675"/>
              <a:gd name="connsiteX12791" fmla="*/ 5829651 w 8267681"/>
              <a:gd name="connsiteY12791" fmla="*/ 2522581 h 6698675"/>
              <a:gd name="connsiteX12792" fmla="*/ 5827302 w 8267681"/>
              <a:gd name="connsiteY12792" fmla="*/ 2531977 h 6698675"/>
              <a:gd name="connsiteX12793" fmla="*/ 5824953 w 8267681"/>
              <a:gd name="connsiteY12793" fmla="*/ 2531977 h 6698675"/>
              <a:gd name="connsiteX12794" fmla="*/ 5820256 w 8267681"/>
              <a:gd name="connsiteY12794" fmla="*/ 2522581 h 6698675"/>
              <a:gd name="connsiteX12795" fmla="*/ 5820256 w 8267681"/>
              <a:gd name="connsiteY12795" fmla="*/ 2510836 h 6698675"/>
              <a:gd name="connsiteX12796" fmla="*/ 5810861 w 8267681"/>
              <a:gd name="connsiteY12796" fmla="*/ 2520231 h 6698675"/>
              <a:gd name="connsiteX12797" fmla="*/ 5820256 w 8267681"/>
              <a:gd name="connsiteY12797" fmla="*/ 2527279 h 6698675"/>
              <a:gd name="connsiteX12798" fmla="*/ 5817907 w 8267681"/>
              <a:gd name="connsiteY12798" fmla="*/ 2531977 h 6698675"/>
              <a:gd name="connsiteX12799" fmla="*/ 5822604 w 8267681"/>
              <a:gd name="connsiteY12799" fmla="*/ 2539024 h 6698675"/>
              <a:gd name="connsiteX12800" fmla="*/ 5820256 w 8267681"/>
              <a:gd name="connsiteY12800" fmla="*/ 2543722 h 6698675"/>
              <a:gd name="connsiteX12801" fmla="*/ 5810861 w 8267681"/>
              <a:gd name="connsiteY12801" fmla="*/ 2541373 h 6698675"/>
              <a:gd name="connsiteX12802" fmla="*/ 5796768 w 8267681"/>
              <a:gd name="connsiteY12802" fmla="*/ 2557817 h 6698675"/>
              <a:gd name="connsiteX12803" fmla="*/ 5803814 w 8267681"/>
              <a:gd name="connsiteY12803" fmla="*/ 2557817 h 6698675"/>
              <a:gd name="connsiteX12804" fmla="*/ 5801465 w 8267681"/>
              <a:gd name="connsiteY12804" fmla="*/ 2562514 h 6698675"/>
              <a:gd name="connsiteX12805" fmla="*/ 5808512 w 8267681"/>
              <a:gd name="connsiteY12805" fmla="*/ 2569561 h 6698675"/>
              <a:gd name="connsiteX12806" fmla="*/ 5822604 w 8267681"/>
              <a:gd name="connsiteY12806" fmla="*/ 2574259 h 6698675"/>
              <a:gd name="connsiteX12807" fmla="*/ 5815558 w 8267681"/>
              <a:gd name="connsiteY12807" fmla="*/ 2588353 h 6698675"/>
              <a:gd name="connsiteX12808" fmla="*/ 5813209 w 8267681"/>
              <a:gd name="connsiteY12808" fmla="*/ 2581305 h 6698675"/>
              <a:gd name="connsiteX12809" fmla="*/ 5799117 w 8267681"/>
              <a:gd name="connsiteY12809" fmla="*/ 2586004 h 6698675"/>
              <a:gd name="connsiteX12810" fmla="*/ 5789721 w 8267681"/>
              <a:gd name="connsiteY12810" fmla="*/ 2583655 h 6698675"/>
              <a:gd name="connsiteX12811" fmla="*/ 5780326 w 8267681"/>
              <a:gd name="connsiteY12811" fmla="*/ 2586004 h 6698675"/>
              <a:gd name="connsiteX12812" fmla="*/ 5773280 w 8267681"/>
              <a:gd name="connsiteY12812" fmla="*/ 2593051 h 6698675"/>
              <a:gd name="connsiteX12813" fmla="*/ 5773280 w 8267681"/>
              <a:gd name="connsiteY12813" fmla="*/ 2586004 h 6698675"/>
              <a:gd name="connsiteX12814" fmla="*/ 5766234 w 8267681"/>
              <a:gd name="connsiteY12814" fmla="*/ 2586004 h 6698675"/>
              <a:gd name="connsiteX12815" fmla="*/ 5773280 w 8267681"/>
              <a:gd name="connsiteY12815" fmla="*/ 2593051 h 6698675"/>
              <a:gd name="connsiteX12816" fmla="*/ 5763885 w 8267681"/>
              <a:gd name="connsiteY12816" fmla="*/ 2607145 h 6698675"/>
              <a:gd name="connsiteX12817" fmla="*/ 5787373 w 8267681"/>
              <a:gd name="connsiteY12817" fmla="*/ 2600098 h 6698675"/>
              <a:gd name="connsiteX12818" fmla="*/ 5782675 w 8267681"/>
              <a:gd name="connsiteY12818" fmla="*/ 2609494 h 6698675"/>
              <a:gd name="connsiteX12819" fmla="*/ 5785024 w 8267681"/>
              <a:gd name="connsiteY12819" fmla="*/ 2614192 h 6698675"/>
              <a:gd name="connsiteX12820" fmla="*/ 5775629 w 8267681"/>
              <a:gd name="connsiteY12820" fmla="*/ 2623587 h 6698675"/>
              <a:gd name="connsiteX12821" fmla="*/ 5777977 w 8267681"/>
              <a:gd name="connsiteY12821" fmla="*/ 2628286 h 6698675"/>
              <a:gd name="connsiteX12822" fmla="*/ 5796768 w 8267681"/>
              <a:gd name="connsiteY12822" fmla="*/ 2611843 h 6698675"/>
              <a:gd name="connsiteX12823" fmla="*/ 5794419 w 8267681"/>
              <a:gd name="connsiteY12823" fmla="*/ 2607145 h 6698675"/>
              <a:gd name="connsiteX12824" fmla="*/ 5806163 w 8267681"/>
              <a:gd name="connsiteY12824" fmla="*/ 2604796 h 6698675"/>
              <a:gd name="connsiteX12825" fmla="*/ 5815558 w 8267681"/>
              <a:gd name="connsiteY12825" fmla="*/ 2609494 h 6698675"/>
              <a:gd name="connsiteX12826" fmla="*/ 5822604 w 8267681"/>
              <a:gd name="connsiteY12826" fmla="*/ 2604796 h 6698675"/>
              <a:gd name="connsiteX12827" fmla="*/ 5806163 w 8267681"/>
              <a:gd name="connsiteY12827" fmla="*/ 2621239 h 6698675"/>
              <a:gd name="connsiteX12828" fmla="*/ 5806163 w 8267681"/>
              <a:gd name="connsiteY12828" fmla="*/ 2611843 h 6698675"/>
              <a:gd name="connsiteX12829" fmla="*/ 5796768 w 8267681"/>
              <a:gd name="connsiteY12829" fmla="*/ 2614192 h 6698675"/>
              <a:gd name="connsiteX12830" fmla="*/ 5794419 w 8267681"/>
              <a:gd name="connsiteY12830" fmla="*/ 2623587 h 6698675"/>
              <a:gd name="connsiteX12831" fmla="*/ 5803814 w 8267681"/>
              <a:gd name="connsiteY12831" fmla="*/ 2632985 h 6698675"/>
              <a:gd name="connsiteX12832" fmla="*/ 5796768 w 8267681"/>
              <a:gd name="connsiteY12832" fmla="*/ 2640031 h 6698675"/>
              <a:gd name="connsiteX12833" fmla="*/ 5787373 w 8267681"/>
              <a:gd name="connsiteY12833" fmla="*/ 2640031 h 6698675"/>
              <a:gd name="connsiteX12834" fmla="*/ 5792070 w 8267681"/>
              <a:gd name="connsiteY12834" fmla="*/ 2647078 h 6698675"/>
              <a:gd name="connsiteX12835" fmla="*/ 5782675 w 8267681"/>
              <a:gd name="connsiteY12835" fmla="*/ 2647078 h 6698675"/>
              <a:gd name="connsiteX12836" fmla="*/ 5785024 w 8267681"/>
              <a:gd name="connsiteY12836" fmla="*/ 2640031 h 6698675"/>
              <a:gd name="connsiteX12837" fmla="*/ 5777977 w 8267681"/>
              <a:gd name="connsiteY12837" fmla="*/ 2635333 h 6698675"/>
              <a:gd name="connsiteX12838" fmla="*/ 5770931 w 8267681"/>
              <a:gd name="connsiteY12838" fmla="*/ 2628286 h 6698675"/>
              <a:gd name="connsiteX12839" fmla="*/ 5770931 w 8267681"/>
              <a:gd name="connsiteY12839" fmla="*/ 2635333 h 6698675"/>
              <a:gd name="connsiteX12840" fmla="*/ 5777977 w 8267681"/>
              <a:gd name="connsiteY12840" fmla="*/ 2635333 h 6698675"/>
              <a:gd name="connsiteX12841" fmla="*/ 5780326 w 8267681"/>
              <a:gd name="connsiteY12841" fmla="*/ 2644730 h 6698675"/>
              <a:gd name="connsiteX12842" fmla="*/ 5782675 w 8267681"/>
              <a:gd name="connsiteY12842" fmla="*/ 2651776 h 6698675"/>
              <a:gd name="connsiteX12843" fmla="*/ 5796768 w 8267681"/>
              <a:gd name="connsiteY12843" fmla="*/ 2649427 h 6698675"/>
              <a:gd name="connsiteX12844" fmla="*/ 5799117 w 8267681"/>
              <a:gd name="connsiteY12844" fmla="*/ 2642380 h 6698675"/>
              <a:gd name="connsiteX12845" fmla="*/ 5799117 w 8267681"/>
              <a:gd name="connsiteY12845" fmla="*/ 2649427 h 6698675"/>
              <a:gd name="connsiteX12846" fmla="*/ 5806163 w 8267681"/>
              <a:gd name="connsiteY12846" fmla="*/ 2644730 h 6698675"/>
              <a:gd name="connsiteX12847" fmla="*/ 5815558 w 8267681"/>
              <a:gd name="connsiteY12847" fmla="*/ 2670568 h 6698675"/>
              <a:gd name="connsiteX12848" fmla="*/ 5801465 w 8267681"/>
              <a:gd name="connsiteY12848" fmla="*/ 2672918 h 6698675"/>
              <a:gd name="connsiteX12849" fmla="*/ 5806163 w 8267681"/>
              <a:gd name="connsiteY12849" fmla="*/ 2668219 h 6698675"/>
              <a:gd name="connsiteX12850" fmla="*/ 5808512 w 8267681"/>
              <a:gd name="connsiteY12850" fmla="*/ 2661172 h 6698675"/>
              <a:gd name="connsiteX12851" fmla="*/ 5803814 w 8267681"/>
              <a:gd name="connsiteY12851" fmla="*/ 2663521 h 6698675"/>
              <a:gd name="connsiteX12852" fmla="*/ 5796768 w 8267681"/>
              <a:gd name="connsiteY12852" fmla="*/ 2658823 h 6698675"/>
              <a:gd name="connsiteX12853" fmla="*/ 5792070 w 8267681"/>
              <a:gd name="connsiteY12853" fmla="*/ 2661172 h 6698675"/>
              <a:gd name="connsiteX12854" fmla="*/ 5799117 w 8267681"/>
              <a:gd name="connsiteY12854" fmla="*/ 2668219 h 6698675"/>
              <a:gd name="connsiteX12855" fmla="*/ 5792070 w 8267681"/>
              <a:gd name="connsiteY12855" fmla="*/ 2677615 h 6698675"/>
              <a:gd name="connsiteX12856" fmla="*/ 5808512 w 8267681"/>
              <a:gd name="connsiteY12856" fmla="*/ 2677615 h 6698675"/>
              <a:gd name="connsiteX12857" fmla="*/ 5808512 w 8267681"/>
              <a:gd name="connsiteY12857" fmla="*/ 2687011 h 6698675"/>
              <a:gd name="connsiteX12858" fmla="*/ 5794419 w 8267681"/>
              <a:gd name="connsiteY12858" fmla="*/ 2679964 h 6698675"/>
              <a:gd name="connsiteX12859" fmla="*/ 5785024 w 8267681"/>
              <a:gd name="connsiteY12859" fmla="*/ 2687011 h 6698675"/>
              <a:gd name="connsiteX12860" fmla="*/ 5785024 w 8267681"/>
              <a:gd name="connsiteY12860" fmla="*/ 2677615 h 6698675"/>
              <a:gd name="connsiteX12861" fmla="*/ 5782675 w 8267681"/>
              <a:gd name="connsiteY12861" fmla="*/ 2677615 h 6698675"/>
              <a:gd name="connsiteX12862" fmla="*/ 5780326 w 8267681"/>
              <a:gd name="connsiteY12862" fmla="*/ 2689360 h 6698675"/>
              <a:gd name="connsiteX12863" fmla="*/ 5787373 w 8267681"/>
              <a:gd name="connsiteY12863" fmla="*/ 2696408 h 6698675"/>
              <a:gd name="connsiteX12864" fmla="*/ 5794419 w 8267681"/>
              <a:gd name="connsiteY12864" fmla="*/ 2696408 h 6698675"/>
              <a:gd name="connsiteX12865" fmla="*/ 5796768 w 8267681"/>
              <a:gd name="connsiteY12865" fmla="*/ 2698756 h 6698675"/>
              <a:gd name="connsiteX12866" fmla="*/ 5794419 w 8267681"/>
              <a:gd name="connsiteY12866" fmla="*/ 2703454 h 6698675"/>
              <a:gd name="connsiteX12867" fmla="*/ 5796768 w 8267681"/>
              <a:gd name="connsiteY12867" fmla="*/ 2708152 h 6698675"/>
              <a:gd name="connsiteX12868" fmla="*/ 5787373 w 8267681"/>
              <a:gd name="connsiteY12868" fmla="*/ 2708152 h 6698675"/>
              <a:gd name="connsiteX12869" fmla="*/ 5789721 w 8267681"/>
              <a:gd name="connsiteY12869" fmla="*/ 2712850 h 6698675"/>
              <a:gd name="connsiteX12870" fmla="*/ 5780326 w 8267681"/>
              <a:gd name="connsiteY12870" fmla="*/ 2724594 h 6698675"/>
              <a:gd name="connsiteX12871" fmla="*/ 5782675 w 8267681"/>
              <a:gd name="connsiteY12871" fmla="*/ 2724594 h 6698675"/>
              <a:gd name="connsiteX12872" fmla="*/ 5782675 w 8267681"/>
              <a:gd name="connsiteY12872" fmla="*/ 2733988 h 6698675"/>
              <a:gd name="connsiteX12873" fmla="*/ 5766234 w 8267681"/>
              <a:gd name="connsiteY12873" fmla="*/ 2731636 h 6698675"/>
              <a:gd name="connsiteX12874" fmla="*/ 5766234 w 8267681"/>
              <a:gd name="connsiteY12874" fmla="*/ 2741036 h 6698675"/>
              <a:gd name="connsiteX12875" fmla="*/ 5759187 w 8267681"/>
              <a:gd name="connsiteY12875" fmla="*/ 2741036 h 6698675"/>
              <a:gd name="connsiteX12876" fmla="*/ 5761536 w 8267681"/>
              <a:gd name="connsiteY12876" fmla="*/ 2729290 h 6698675"/>
              <a:gd name="connsiteX12877" fmla="*/ 5768582 w 8267681"/>
              <a:gd name="connsiteY12877" fmla="*/ 2722246 h 6698675"/>
              <a:gd name="connsiteX12878" fmla="*/ 5752141 w 8267681"/>
              <a:gd name="connsiteY12878" fmla="*/ 2715199 h 6698675"/>
              <a:gd name="connsiteX12879" fmla="*/ 5747444 w 8267681"/>
              <a:gd name="connsiteY12879" fmla="*/ 2715199 h 6698675"/>
              <a:gd name="connsiteX12880" fmla="*/ 5745431 w 8267681"/>
              <a:gd name="connsiteY12880" fmla="*/ 2714193 h 6698675"/>
              <a:gd name="connsiteX12881" fmla="*/ 5747444 w 8267681"/>
              <a:gd name="connsiteY12881" fmla="*/ 2708152 h 6698675"/>
              <a:gd name="connsiteX12882" fmla="*/ 5745095 w 8267681"/>
              <a:gd name="connsiteY12882" fmla="*/ 2703454 h 6698675"/>
              <a:gd name="connsiteX12883" fmla="*/ 5728653 w 8267681"/>
              <a:gd name="connsiteY12883" fmla="*/ 2710501 h 6698675"/>
              <a:gd name="connsiteX12884" fmla="*/ 5719258 w 8267681"/>
              <a:gd name="connsiteY12884" fmla="*/ 2708152 h 6698675"/>
              <a:gd name="connsiteX12885" fmla="*/ 5723956 w 8267681"/>
              <a:gd name="connsiteY12885" fmla="*/ 2715199 h 6698675"/>
              <a:gd name="connsiteX12886" fmla="*/ 5731002 w 8267681"/>
              <a:gd name="connsiteY12886" fmla="*/ 2710501 h 6698675"/>
              <a:gd name="connsiteX12887" fmla="*/ 5738048 w 8267681"/>
              <a:gd name="connsiteY12887" fmla="*/ 2717549 h 6698675"/>
              <a:gd name="connsiteX12888" fmla="*/ 5738048 w 8267681"/>
              <a:gd name="connsiteY12888" fmla="*/ 2710501 h 6698675"/>
              <a:gd name="connsiteX12889" fmla="*/ 5745431 w 8267681"/>
              <a:gd name="connsiteY12889" fmla="*/ 2714193 h 6698675"/>
              <a:gd name="connsiteX12890" fmla="*/ 5745095 w 8267681"/>
              <a:gd name="connsiteY12890" fmla="*/ 2715199 h 6698675"/>
              <a:gd name="connsiteX12891" fmla="*/ 5747444 w 8267681"/>
              <a:gd name="connsiteY12891" fmla="*/ 2715199 h 6698675"/>
              <a:gd name="connsiteX12892" fmla="*/ 5754490 w 8267681"/>
              <a:gd name="connsiteY12892" fmla="*/ 2729290 h 6698675"/>
              <a:gd name="connsiteX12893" fmla="*/ 5754490 w 8267681"/>
              <a:gd name="connsiteY12893" fmla="*/ 2731636 h 6698675"/>
              <a:gd name="connsiteX12894" fmla="*/ 5747444 w 8267681"/>
              <a:gd name="connsiteY12894" fmla="*/ 2741036 h 6698675"/>
              <a:gd name="connsiteX12895" fmla="*/ 5752141 w 8267681"/>
              <a:gd name="connsiteY12895" fmla="*/ 2729290 h 6698675"/>
              <a:gd name="connsiteX12896" fmla="*/ 5742746 w 8267681"/>
              <a:gd name="connsiteY12896" fmla="*/ 2722246 h 6698675"/>
              <a:gd name="connsiteX12897" fmla="*/ 5742746 w 8267681"/>
              <a:gd name="connsiteY12897" fmla="*/ 2731636 h 6698675"/>
              <a:gd name="connsiteX12898" fmla="*/ 5735700 w 8267681"/>
              <a:gd name="connsiteY12898" fmla="*/ 2745734 h 6698675"/>
              <a:gd name="connsiteX12899" fmla="*/ 5742746 w 8267681"/>
              <a:gd name="connsiteY12899" fmla="*/ 2745734 h 6698675"/>
              <a:gd name="connsiteX12900" fmla="*/ 5742746 w 8267681"/>
              <a:gd name="connsiteY12900" fmla="*/ 2750429 h 6698675"/>
              <a:gd name="connsiteX12901" fmla="*/ 5739224 w 8267681"/>
              <a:gd name="connsiteY12901" fmla="*/ 2750429 h 6698675"/>
              <a:gd name="connsiteX12902" fmla="*/ 5735700 w 8267681"/>
              <a:gd name="connsiteY12902" fmla="*/ 2748077 h 6698675"/>
              <a:gd name="connsiteX12903" fmla="*/ 5726304 w 8267681"/>
              <a:gd name="connsiteY12903" fmla="*/ 2750429 h 6698675"/>
              <a:gd name="connsiteX12904" fmla="*/ 5719258 w 8267681"/>
              <a:gd name="connsiteY12904" fmla="*/ 2745734 h 6698675"/>
              <a:gd name="connsiteX12905" fmla="*/ 5714560 w 8267681"/>
              <a:gd name="connsiteY12905" fmla="*/ 2748077 h 6698675"/>
              <a:gd name="connsiteX12906" fmla="*/ 5721607 w 8267681"/>
              <a:gd name="connsiteY12906" fmla="*/ 2757477 h 6698675"/>
              <a:gd name="connsiteX12907" fmla="*/ 5716574 w 8267681"/>
              <a:gd name="connsiteY12907" fmla="*/ 2763763 h 6698675"/>
              <a:gd name="connsiteX12908" fmla="*/ 5717697 w 8267681"/>
              <a:gd name="connsiteY12908" fmla="*/ 2764079 h 6698675"/>
              <a:gd name="connsiteX12909" fmla="*/ 5718377 w 8267681"/>
              <a:gd name="connsiteY12909" fmla="*/ 2763638 h 6698675"/>
              <a:gd name="connsiteX12910" fmla="*/ 5728653 w 8267681"/>
              <a:gd name="connsiteY12910" fmla="*/ 2759827 h 6698675"/>
              <a:gd name="connsiteX12911" fmla="*/ 5738048 w 8267681"/>
              <a:gd name="connsiteY12911" fmla="*/ 2766863 h 6698675"/>
              <a:gd name="connsiteX12912" fmla="*/ 5742746 w 8267681"/>
              <a:gd name="connsiteY12912" fmla="*/ 2764512 h 6698675"/>
              <a:gd name="connsiteX12913" fmla="*/ 5738048 w 8267681"/>
              <a:gd name="connsiteY12913" fmla="*/ 2757477 h 6698675"/>
              <a:gd name="connsiteX12914" fmla="*/ 5738048 w 8267681"/>
              <a:gd name="connsiteY12914" fmla="*/ 2750429 h 6698675"/>
              <a:gd name="connsiteX12915" fmla="*/ 5739224 w 8267681"/>
              <a:gd name="connsiteY12915" fmla="*/ 2750429 h 6698675"/>
              <a:gd name="connsiteX12916" fmla="*/ 5742746 w 8267681"/>
              <a:gd name="connsiteY12916" fmla="*/ 2752777 h 6698675"/>
              <a:gd name="connsiteX12917" fmla="*/ 5742746 w 8267681"/>
              <a:gd name="connsiteY12917" fmla="*/ 2750429 h 6698675"/>
              <a:gd name="connsiteX12918" fmla="*/ 5745095 w 8267681"/>
              <a:gd name="connsiteY12918" fmla="*/ 2750429 h 6698675"/>
              <a:gd name="connsiteX12919" fmla="*/ 5749792 w 8267681"/>
              <a:gd name="connsiteY12919" fmla="*/ 2757477 h 6698675"/>
              <a:gd name="connsiteX12920" fmla="*/ 5747444 w 8267681"/>
              <a:gd name="connsiteY12920" fmla="*/ 2764512 h 6698675"/>
              <a:gd name="connsiteX12921" fmla="*/ 5751150 w 8267681"/>
              <a:gd name="connsiteY12921" fmla="*/ 2775637 h 6698675"/>
              <a:gd name="connsiteX12922" fmla="*/ 5754095 w 8267681"/>
              <a:gd name="connsiteY12922" fmla="*/ 2776675 h 6698675"/>
              <a:gd name="connsiteX12923" fmla="*/ 5757719 w 8267681"/>
              <a:gd name="connsiteY12923" fmla="*/ 2773073 h 6698675"/>
              <a:gd name="connsiteX12924" fmla="*/ 5770931 w 8267681"/>
              <a:gd name="connsiteY12924" fmla="*/ 2762172 h 6698675"/>
              <a:gd name="connsiteX12925" fmla="*/ 5777977 w 8267681"/>
              <a:gd name="connsiteY12925" fmla="*/ 2766863 h 6698675"/>
              <a:gd name="connsiteX12926" fmla="*/ 5785024 w 8267681"/>
              <a:gd name="connsiteY12926" fmla="*/ 2759827 h 6698675"/>
              <a:gd name="connsiteX12927" fmla="*/ 5780326 w 8267681"/>
              <a:gd name="connsiteY12927" fmla="*/ 2752777 h 6698675"/>
              <a:gd name="connsiteX12928" fmla="*/ 5799117 w 8267681"/>
              <a:gd name="connsiteY12928" fmla="*/ 2743385 h 6698675"/>
              <a:gd name="connsiteX12929" fmla="*/ 5799117 w 8267681"/>
              <a:gd name="connsiteY12929" fmla="*/ 2752777 h 6698675"/>
              <a:gd name="connsiteX12930" fmla="*/ 5789721 w 8267681"/>
              <a:gd name="connsiteY12930" fmla="*/ 2755126 h 6698675"/>
              <a:gd name="connsiteX12931" fmla="*/ 5799117 w 8267681"/>
              <a:gd name="connsiteY12931" fmla="*/ 2755126 h 6698675"/>
              <a:gd name="connsiteX12932" fmla="*/ 5813209 w 8267681"/>
              <a:gd name="connsiteY12932" fmla="*/ 2771564 h 6698675"/>
              <a:gd name="connsiteX12933" fmla="*/ 5799117 w 8267681"/>
              <a:gd name="connsiteY12933" fmla="*/ 2771564 h 6698675"/>
              <a:gd name="connsiteX12934" fmla="*/ 5799117 w 8267681"/>
              <a:gd name="connsiteY12934" fmla="*/ 2774694 h 6698675"/>
              <a:gd name="connsiteX12935" fmla="*/ 5787373 w 8267681"/>
              <a:gd name="connsiteY12935" fmla="*/ 2778610 h 6698675"/>
              <a:gd name="connsiteX12936" fmla="*/ 5792070 w 8267681"/>
              <a:gd name="connsiteY12936" fmla="*/ 2785659 h 6698675"/>
              <a:gd name="connsiteX12937" fmla="*/ 5789721 w 8267681"/>
              <a:gd name="connsiteY12937" fmla="*/ 2785659 h 6698675"/>
              <a:gd name="connsiteX12938" fmla="*/ 5785024 w 8267681"/>
              <a:gd name="connsiteY12938" fmla="*/ 2785659 h 6698675"/>
              <a:gd name="connsiteX12939" fmla="*/ 5785024 w 8267681"/>
              <a:gd name="connsiteY12939" fmla="*/ 2788266 h 6698675"/>
              <a:gd name="connsiteX12940" fmla="*/ 5787271 w 8267681"/>
              <a:gd name="connsiteY12940" fmla="*/ 2789337 h 6698675"/>
              <a:gd name="connsiteX12941" fmla="*/ 5789721 w 8267681"/>
              <a:gd name="connsiteY12941" fmla="*/ 2785659 h 6698675"/>
              <a:gd name="connsiteX12942" fmla="*/ 5796768 w 8267681"/>
              <a:gd name="connsiteY12942" fmla="*/ 2788011 h 6698675"/>
              <a:gd name="connsiteX12943" fmla="*/ 5799945 w 8267681"/>
              <a:gd name="connsiteY12943" fmla="*/ 2778473 h 6698675"/>
              <a:gd name="connsiteX12944" fmla="*/ 5813209 w 8267681"/>
              <a:gd name="connsiteY12944" fmla="*/ 2776265 h 6698675"/>
              <a:gd name="connsiteX12945" fmla="*/ 5808512 w 8267681"/>
              <a:gd name="connsiteY12945" fmla="*/ 2783310 h 6698675"/>
              <a:gd name="connsiteX12946" fmla="*/ 5831999 w 8267681"/>
              <a:gd name="connsiteY12946" fmla="*/ 2766863 h 6698675"/>
              <a:gd name="connsiteX12947" fmla="*/ 5841395 w 8267681"/>
              <a:gd name="connsiteY12947" fmla="*/ 2769215 h 6698675"/>
              <a:gd name="connsiteX12948" fmla="*/ 5834348 w 8267681"/>
              <a:gd name="connsiteY12948" fmla="*/ 2783310 h 6698675"/>
              <a:gd name="connsiteX12949" fmla="*/ 5824953 w 8267681"/>
              <a:gd name="connsiteY12949" fmla="*/ 2780963 h 6698675"/>
              <a:gd name="connsiteX12950" fmla="*/ 5824953 w 8267681"/>
              <a:gd name="connsiteY12950" fmla="*/ 2788011 h 6698675"/>
              <a:gd name="connsiteX12951" fmla="*/ 5815558 w 8267681"/>
              <a:gd name="connsiteY12951" fmla="*/ 2788011 h 6698675"/>
              <a:gd name="connsiteX12952" fmla="*/ 5820256 w 8267681"/>
              <a:gd name="connsiteY12952" fmla="*/ 2795055 h 6698675"/>
              <a:gd name="connsiteX12953" fmla="*/ 5813209 w 8267681"/>
              <a:gd name="connsiteY12953" fmla="*/ 2797406 h 6698675"/>
              <a:gd name="connsiteX12954" fmla="*/ 5820256 w 8267681"/>
              <a:gd name="connsiteY12954" fmla="*/ 2799755 h 6698675"/>
              <a:gd name="connsiteX12955" fmla="*/ 5819438 w 8267681"/>
              <a:gd name="connsiteY12955" fmla="*/ 2804663 h 6698675"/>
              <a:gd name="connsiteX12956" fmla="*/ 5832512 w 8267681"/>
              <a:gd name="connsiteY12956" fmla="*/ 2810891 h 6698675"/>
              <a:gd name="connsiteX12957" fmla="*/ 5836102 w 8267681"/>
              <a:gd name="connsiteY12957" fmla="*/ 2813242 h 6698675"/>
              <a:gd name="connsiteX12958" fmla="*/ 5827302 w 8267681"/>
              <a:gd name="connsiteY12958" fmla="*/ 2804448 h 6698675"/>
              <a:gd name="connsiteX12959" fmla="*/ 5829651 w 8267681"/>
              <a:gd name="connsiteY12959" fmla="*/ 2795055 h 6698675"/>
              <a:gd name="connsiteX12960" fmla="*/ 5839046 w 8267681"/>
              <a:gd name="connsiteY12960" fmla="*/ 2790357 h 6698675"/>
              <a:gd name="connsiteX12961" fmla="*/ 5841395 w 8267681"/>
              <a:gd name="connsiteY12961" fmla="*/ 2799755 h 6698675"/>
              <a:gd name="connsiteX12962" fmla="*/ 5855487 w 8267681"/>
              <a:gd name="connsiteY12962" fmla="*/ 2799755 h 6698675"/>
              <a:gd name="connsiteX12963" fmla="*/ 5853139 w 8267681"/>
              <a:gd name="connsiteY12963" fmla="*/ 2811491 h 6698675"/>
              <a:gd name="connsiteX12964" fmla="*/ 5857836 w 8267681"/>
              <a:gd name="connsiteY12964" fmla="*/ 2818536 h 6698675"/>
              <a:gd name="connsiteX12965" fmla="*/ 5855487 w 8267681"/>
              <a:gd name="connsiteY12965" fmla="*/ 2823237 h 6698675"/>
              <a:gd name="connsiteX12966" fmla="*/ 5846092 w 8267681"/>
              <a:gd name="connsiteY12966" fmla="*/ 2816187 h 6698675"/>
              <a:gd name="connsiteX12967" fmla="*/ 5844276 w 8267681"/>
              <a:gd name="connsiteY12967" fmla="*/ 2818607 h 6698675"/>
              <a:gd name="connsiteX12968" fmla="*/ 5855487 w 8267681"/>
              <a:gd name="connsiteY12968" fmla="*/ 2825967 h 6698675"/>
              <a:gd name="connsiteX12969" fmla="*/ 5855487 w 8267681"/>
              <a:gd name="connsiteY12969" fmla="*/ 2825585 h 6698675"/>
              <a:gd name="connsiteX12970" fmla="*/ 5864883 w 8267681"/>
              <a:gd name="connsiteY12970" fmla="*/ 2827934 h 6698675"/>
              <a:gd name="connsiteX12971" fmla="*/ 5872605 w 8267681"/>
              <a:gd name="connsiteY12971" fmla="*/ 2837201 h 6698675"/>
              <a:gd name="connsiteX12972" fmla="*/ 5877641 w 8267681"/>
              <a:gd name="connsiteY12972" fmla="*/ 2840510 h 6698675"/>
              <a:gd name="connsiteX12973" fmla="*/ 5881324 w 8267681"/>
              <a:gd name="connsiteY12973" fmla="*/ 2834980 h 6698675"/>
              <a:gd name="connsiteX12974" fmla="*/ 5883672 w 8267681"/>
              <a:gd name="connsiteY12974" fmla="*/ 2844369 h 6698675"/>
              <a:gd name="connsiteX12975" fmla="*/ 5883653 w 8267681"/>
              <a:gd name="connsiteY12975" fmla="*/ 2844442 h 6698675"/>
              <a:gd name="connsiteX12976" fmla="*/ 5883671 w 8267681"/>
              <a:gd name="connsiteY12976" fmla="*/ 2844454 h 6698675"/>
              <a:gd name="connsiteX12977" fmla="*/ 5883653 w 8267681"/>
              <a:gd name="connsiteY12977" fmla="*/ 2844445 h 6698675"/>
              <a:gd name="connsiteX12978" fmla="*/ 5881324 w 8267681"/>
              <a:gd name="connsiteY12978" fmla="*/ 2853769 h 6698675"/>
              <a:gd name="connsiteX12979" fmla="*/ 5871929 w 8267681"/>
              <a:gd name="connsiteY12979" fmla="*/ 2853769 h 6698675"/>
              <a:gd name="connsiteX12980" fmla="*/ 5883672 w 8267681"/>
              <a:gd name="connsiteY12980" fmla="*/ 2867859 h 6698675"/>
              <a:gd name="connsiteX12981" fmla="*/ 5890719 w 8267681"/>
              <a:gd name="connsiteY12981" fmla="*/ 2865511 h 6698675"/>
              <a:gd name="connsiteX12982" fmla="*/ 5895416 w 8267681"/>
              <a:gd name="connsiteY12982" fmla="*/ 2874908 h 6698675"/>
              <a:gd name="connsiteX12983" fmla="*/ 5895416 w 8267681"/>
              <a:gd name="connsiteY12983" fmla="*/ 2877259 h 6698675"/>
              <a:gd name="connsiteX12984" fmla="*/ 5878975 w 8267681"/>
              <a:gd name="connsiteY12984" fmla="*/ 2884302 h 6698675"/>
              <a:gd name="connsiteX12985" fmla="*/ 5883672 w 8267681"/>
              <a:gd name="connsiteY12985" fmla="*/ 2891350 h 6698675"/>
              <a:gd name="connsiteX12986" fmla="*/ 5890719 w 8267681"/>
              <a:gd name="connsiteY12986" fmla="*/ 2884302 h 6698675"/>
              <a:gd name="connsiteX12987" fmla="*/ 5897765 w 8267681"/>
              <a:gd name="connsiteY12987" fmla="*/ 2889000 h 6698675"/>
              <a:gd name="connsiteX12988" fmla="*/ 5904812 w 8267681"/>
              <a:gd name="connsiteY12988" fmla="*/ 2893699 h 6698675"/>
              <a:gd name="connsiteX12989" fmla="*/ 5897765 w 8267681"/>
              <a:gd name="connsiteY12989" fmla="*/ 2896048 h 6698675"/>
              <a:gd name="connsiteX12990" fmla="*/ 5895416 w 8267681"/>
              <a:gd name="connsiteY12990" fmla="*/ 2900746 h 6698675"/>
              <a:gd name="connsiteX12991" fmla="*/ 5909509 w 8267681"/>
              <a:gd name="connsiteY12991" fmla="*/ 2898397 h 6698675"/>
              <a:gd name="connsiteX12992" fmla="*/ 5914207 w 8267681"/>
              <a:gd name="connsiteY12992" fmla="*/ 2891350 h 6698675"/>
              <a:gd name="connsiteX12993" fmla="*/ 5923602 w 8267681"/>
              <a:gd name="connsiteY12993" fmla="*/ 2891350 h 6698675"/>
              <a:gd name="connsiteX12994" fmla="*/ 5923602 w 8267681"/>
              <a:gd name="connsiteY12994" fmla="*/ 2898397 h 6698675"/>
              <a:gd name="connsiteX12995" fmla="*/ 5930648 w 8267681"/>
              <a:gd name="connsiteY12995" fmla="*/ 2898397 h 6698675"/>
              <a:gd name="connsiteX12996" fmla="*/ 5928299 w 8267681"/>
              <a:gd name="connsiteY12996" fmla="*/ 2905444 h 6698675"/>
              <a:gd name="connsiteX12997" fmla="*/ 5930648 w 8267681"/>
              <a:gd name="connsiteY12997" fmla="*/ 2912491 h 6698675"/>
              <a:gd name="connsiteX12998" fmla="*/ 5944741 w 8267681"/>
              <a:gd name="connsiteY12998" fmla="*/ 2905444 h 6698675"/>
              <a:gd name="connsiteX12999" fmla="*/ 5942392 w 8267681"/>
              <a:gd name="connsiteY12999" fmla="*/ 2912491 h 6698675"/>
              <a:gd name="connsiteX13000" fmla="*/ 5951787 w 8267681"/>
              <a:gd name="connsiteY13000" fmla="*/ 2919539 h 6698675"/>
              <a:gd name="connsiteX13001" fmla="*/ 5948355 w 8267681"/>
              <a:gd name="connsiteY13001" fmla="*/ 2926407 h 6698675"/>
              <a:gd name="connsiteX13002" fmla="*/ 5935346 w 8267681"/>
              <a:gd name="connsiteY13002" fmla="*/ 2924238 h 6698675"/>
              <a:gd name="connsiteX13003" fmla="*/ 5935346 w 8267681"/>
              <a:gd name="connsiteY13003" fmla="*/ 2931285 h 6698675"/>
              <a:gd name="connsiteX13004" fmla="*/ 5942392 w 8267681"/>
              <a:gd name="connsiteY13004" fmla="*/ 2931285 h 6698675"/>
              <a:gd name="connsiteX13005" fmla="*/ 5925951 w 8267681"/>
              <a:gd name="connsiteY13005" fmla="*/ 2957126 h 6698675"/>
              <a:gd name="connsiteX13006" fmla="*/ 5942392 w 8267681"/>
              <a:gd name="connsiteY13006" fmla="*/ 2971219 h 6698675"/>
              <a:gd name="connsiteX13007" fmla="*/ 5940043 w 8267681"/>
              <a:gd name="connsiteY13007" fmla="*/ 2957126 h 6698675"/>
              <a:gd name="connsiteX13008" fmla="*/ 5947090 w 8267681"/>
              <a:gd name="connsiteY13008" fmla="*/ 2957126 h 6698675"/>
              <a:gd name="connsiteX13009" fmla="*/ 5940043 w 8267681"/>
              <a:gd name="connsiteY13009" fmla="*/ 2952428 h 6698675"/>
              <a:gd name="connsiteX13010" fmla="*/ 5949438 w 8267681"/>
              <a:gd name="connsiteY13010" fmla="*/ 2950079 h 6698675"/>
              <a:gd name="connsiteX13011" fmla="*/ 5956485 w 8267681"/>
              <a:gd name="connsiteY13011" fmla="*/ 2940682 h 6698675"/>
              <a:gd name="connsiteX13012" fmla="*/ 5947090 w 8267681"/>
              <a:gd name="connsiteY13012" fmla="*/ 2940682 h 6698675"/>
              <a:gd name="connsiteX13013" fmla="*/ 5947750 w 8267681"/>
              <a:gd name="connsiteY13013" fmla="*/ 2932753 h 6698675"/>
              <a:gd name="connsiteX13014" fmla="*/ 5948339 w 8267681"/>
              <a:gd name="connsiteY13014" fmla="*/ 2930602 h 6698675"/>
              <a:gd name="connsiteX13015" fmla="*/ 5954136 w 8267681"/>
              <a:gd name="connsiteY13015" fmla="*/ 2938332 h 6698675"/>
              <a:gd name="connsiteX13016" fmla="*/ 5963531 w 8267681"/>
              <a:gd name="connsiteY13016" fmla="*/ 2938332 h 6698675"/>
              <a:gd name="connsiteX13017" fmla="*/ 5977624 w 8267681"/>
              <a:gd name="connsiteY13017" fmla="*/ 2945379 h 6698675"/>
              <a:gd name="connsiteX13018" fmla="*/ 5977624 w 8267681"/>
              <a:gd name="connsiteY13018" fmla="*/ 2935984 h 6698675"/>
              <a:gd name="connsiteX13019" fmla="*/ 5987019 w 8267681"/>
              <a:gd name="connsiteY13019" fmla="*/ 2938332 h 6698675"/>
              <a:gd name="connsiteX13020" fmla="*/ 5989629 w 8267681"/>
              <a:gd name="connsiteY13020" fmla="*/ 2934417 h 6698675"/>
              <a:gd name="connsiteX13021" fmla="*/ 5991716 w 8267681"/>
              <a:gd name="connsiteY13021" fmla="*/ 2940682 h 6698675"/>
              <a:gd name="connsiteX13022" fmla="*/ 5989838 w 8267681"/>
              <a:gd name="connsiteY13022" fmla="*/ 2946319 h 6698675"/>
              <a:gd name="connsiteX13023" fmla="*/ 5982321 w 8267681"/>
              <a:gd name="connsiteY13023" fmla="*/ 2950079 h 6698675"/>
              <a:gd name="connsiteX13024" fmla="*/ 5982321 w 8267681"/>
              <a:gd name="connsiteY13024" fmla="*/ 2961825 h 6698675"/>
              <a:gd name="connsiteX13025" fmla="*/ 5984670 w 8267681"/>
              <a:gd name="connsiteY13025" fmla="*/ 2964172 h 6698675"/>
              <a:gd name="connsiteX13026" fmla="*/ 5977624 w 8267681"/>
              <a:gd name="connsiteY13026" fmla="*/ 2968869 h 6698675"/>
              <a:gd name="connsiteX13027" fmla="*/ 5977624 w 8267681"/>
              <a:gd name="connsiteY13027" fmla="*/ 2961825 h 6698675"/>
              <a:gd name="connsiteX13028" fmla="*/ 5968229 w 8267681"/>
              <a:gd name="connsiteY13028" fmla="*/ 2966520 h 6698675"/>
              <a:gd name="connsiteX13029" fmla="*/ 5984670 w 8267681"/>
              <a:gd name="connsiteY13029" fmla="*/ 2973562 h 6698675"/>
              <a:gd name="connsiteX13030" fmla="*/ 5984670 w 8267681"/>
              <a:gd name="connsiteY13030" fmla="*/ 2975908 h 6698675"/>
              <a:gd name="connsiteX13031" fmla="*/ 5988193 w 8267681"/>
              <a:gd name="connsiteY13031" fmla="*/ 2975908 h 6698675"/>
              <a:gd name="connsiteX13032" fmla="*/ 5991716 w 8267681"/>
              <a:gd name="connsiteY13032" fmla="*/ 2978262 h 6698675"/>
              <a:gd name="connsiteX13033" fmla="*/ 5987019 w 8267681"/>
              <a:gd name="connsiteY13033" fmla="*/ 2987657 h 6698675"/>
              <a:gd name="connsiteX13034" fmla="*/ 5996414 w 8267681"/>
              <a:gd name="connsiteY13034" fmla="*/ 2985306 h 6698675"/>
              <a:gd name="connsiteX13035" fmla="*/ 5996414 w 8267681"/>
              <a:gd name="connsiteY13035" fmla="*/ 2966520 h 6698675"/>
              <a:gd name="connsiteX13036" fmla="*/ 5994065 w 8267681"/>
              <a:gd name="connsiteY13036" fmla="*/ 2975908 h 6698675"/>
              <a:gd name="connsiteX13037" fmla="*/ 5988193 w 8267681"/>
              <a:gd name="connsiteY13037" fmla="*/ 2975908 h 6698675"/>
              <a:gd name="connsiteX13038" fmla="*/ 5984670 w 8267681"/>
              <a:gd name="connsiteY13038" fmla="*/ 2973562 h 6698675"/>
              <a:gd name="connsiteX13039" fmla="*/ 5984670 w 8267681"/>
              <a:gd name="connsiteY13039" fmla="*/ 2966520 h 6698675"/>
              <a:gd name="connsiteX13040" fmla="*/ 5991129 w 8267681"/>
              <a:gd name="connsiteY13040" fmla="*/ 2961237 h 6698675"/>
              <a:gd name="connsiteX13041" fmla="*/ 5992500 w 8267681"/>
              <a:gd name="connsiteY13041" fmla="*/ 2957126 h 6698675"/>
              <a:gd name="connsiteX13042" fmla="*/ 5998763 w 8267681"/>
              <a:gd name="connsiteY13042" fmla="*/ 2957126 h 6698675"/>
              <a:gd name="connsiteX13043" fmla="*/ 5994065 w 8267681"/>
              <a:gd name="connsiteY13043" fmla="*/ 2945379 h 6698675"/>
              <a:gd name="connsiteX13044" fmla="*/ 6001111 w 8267681"/>
              <a:gd name="connsiteY13044" fmla="*/ 2940682 h 6698675"/>
              <a:gd name="connsiteX13045" fmla="*/ 6015204 w 8267681"/>
              <a:gd name="connsiteY13045" fmla="*/ 2943031 h 6698675"/>
              <a:gd name="connsiteX13046" fmla="*/ 6005809 w 8267681"/>
              <a:gd name="connsiteY13046" fmla="*/ 2952428 h 6698675"/>
              <a:gd name="connsiteX13047" fmla="*/ 6015204 w 8267681"/>
              <a:gd name="connsiteY13047" fmla="*/ 2952428 h 6698675"/>
              <a:gd name="connsiteX13048" fmla="*/ 6015204 w 8267681"/>
              <a:gd name="connsiteY13048" fmla="*/ 2961825 h 6698675"/>
              <a:gd name="connsiteX13049" fmla="*/ 5998763 w 8267681"/>
              <a:gd name="connsiteY13049" fmla="*/ 2964172 h 6698675"/>
              <a:gd name="connsiteX13050" fmla="*/ 6012855 w 8267681"/>
              <a:gd name="connsiteY13050" fmla="*/ 2968869 h 6698675"/>
              <a:gd name="connsiteX13051" fmla="*/ 6001111 w 8267681"/>
              <a:gd name="connsiteY13051" fmla="*/ 2978262 h 6698675"/>
              <a:gd name="connsiteX13052" fmla="*/ 6008158 w 8267681"/>
              <a:gd name="connsiteY13052" fmla="*/ 2987657 h 6698675"/>
              <a:gd name="connsiteX13053" fmla="*/ 6017553 w 8267681"/>
              <a:gd name="connsiteY13053" fmla="*/ 2987657 h 6698675"/>
              <a:gd name="connsiteX13054" fmla="*/ 6015204 w 8267681"/>
              <a:gd name="connsiteY13054" fmla="*/ 3001746 h 6698675"/>
              <a:gd name="connsiteX13055" fmla="*/ 6024599 w 8267681"/>
              <a:gd name="connsiteY13055" fmla="*/ 3001746 h 6698675"/>
              <a:gd name="connsiteX13056" fmla="*/ 6024599 w 8267681"/>
              <a:gd name="connsiteY13056" fmla="*/ 3004097 h 6698675"/>
              <a:gd name="connsiteX13057" fmla="*/ 6015204 w 8267681"/>
              <a:gd name="connsiteY13057" fmla="*/ 3004097 h 6698675"/>
              <a:gd name="connsiteX13058" fmla="*/ 6015204 w 8267681"/>
              <a:gd name="connsiteY13058" fmla="*/ 3013494 h 6698675"/>
              <a:gd name="connsiteX13059" fmla="*/ 6022250 w 8267681"/>
              <a:gd name="connsiteY13059" fmla="*/ 3013494 h 6698675"/>
              <a:gd name="connsiteX13060" fmla="*/ 6022250 w 8267681"/>
              <a:gd name="connsiteY13060" fmla="*/ 3020539 h 6698675"/>
              <a:gd name="connsiteX13061" fmla="*/ 6015204 w 8267681"/>
              <a:gd name="connsiteY13061" fmla="*/ 3025237 h 6698675"/>
              <a:gd name="connsiteX13062" fmla="*/ 6001111 w 8267681"/>
              <a:gd name="connsiteY13062" fmla="*/ 3008793 h 6698675"/>
              <a:gd name="connsiteX13063" fmla="*/ 6005809 w 8267681"/>
              <a:gd name="connsiteY13063" fmla="*/ 2999398 h 6698675"/>
              <a:gd name="connsiteX13064" fmla="*/ 5989368 w 8267681"/>
              <a:gd name="connsiteY13064" fmla="*/ 2990010 h 6698675"/>
              <a:gd name="connsiteX13065" fmla="*/ 5979973 w 8267681"/>
              <a:gd name="connsiteY13065" fmla="*/ 2999398 h 6698675"/>
              <a:gd name="connsiteX13066" fmla="*/ 5972926 w 8267681"/>
              <a:gd name="connsiteY13066" fmla="*/ 2985306 h 6698675"/>
              <a:gd name="connsiteX13067" fmla="*/ 5963531 w 8267681"/>
              <a:gd name="connsiteY13067" fmla="*/ 2985306 h 6698675"/>
              <a:gd name="connsiteX13068" fmla="*/ 5968229 w 8267681"/>
              <a:gd name="connsiteY13068" fmla="*/ 2999398 h 6698675"/>
              <a:gd name="connsiteX13069" fmla="*/ 5977624 w 8267681"/>
              <a:gd name="connsiteY13069" fmla="*/ 3006446 h 6698675"/>
              <a:gd name="connsiteX13070" fmla="*/ 5982321 w 8267681"/>
              <a:gd name="connsiteY13070" fmla="*/ 2999398 h 6698675"/>
              <a:gd name="connsiteX13071" fmla="*/ 5991716 w 8267681"/>
              <a:gd name="connsiteY13071" fmla="*/ 3001746 h 6698675"/>
              <a:gd name="connsiteX13072" fmla="*/ 6001111 w 8267681"/>
              <a:gd name="connsiteY13072" fmla="*/ 3001746 h 6698675"/>
              <a:gd name="connsiteX13073" fmla="*/ 6001111 w 8267681"/>
              <a:gd name="connsiteY13073" fmla="*/ 3011144 h 6698675"/>
              <a:gd name="connsiteX13074" fmla="*/ 5994065 w 8267681"/>
              <a:gd name="connsiteY13074" fmla="*/ 3018191 h 6698675"/>
              <a:gd name="connsiteX13075" fmla="*/ 6008158 w 8267681"/>
              <a:gd name="connsiteY13075" fmla="*/ 3032284 h 6698675"/>
              <a:gd name="connsiteX13076" fmla="*/ 6026948 w 8267681"/>
              <a:gd name="connsiteY13076" fmla="*/ 3036982 h 6698675"/>
              <a:gd name="connsiteX13077" fmla="*/ 6026948 w 8267681"/>
              <a:gd name="connsiteY13077" fmla="*/ 3027587 h 6698675"/>
              <a:gd name="connsiteX13078" fmla="*/ 6024599 w 8267681"/>
              <a:gd name="connsiteY13078" fmla="*/ 3025237 h 6698675"/>
              <a:gd name="connsiteX13079" fmla="*/ 6031646 w 8267681"/>
              <a:gd name="connsiteY13079" fmla="*/ 3025237 h 6698675"/>
              <a:gd name="connsiteX13080" fmla="*/ 6041041 w 8267681"/>
              <a:gd name="connsiteY13080" fmla="*/ 3018191 h 6698675"/>
              <a:gd name="connsiteX13081" fmla="*/ 6036343 w 8267681"/>
              <a:gd name="connsiteY13081" fmla="*/ 3025237 h 6698675"/>
              <a:gd name="connsiteX13082" fmla="*/ 6050436 w 8267681"/>
              <a:gd name="connsiteY13082" fmla="*/ 3032284 h 6698675"/>
              <a:gd name="connsiteX13083" fmla="*/ 6043390 w 8267681"/>
              <a:gd name="connsiteY13083" fmla="*/ 3034632 h 6698675"/>
              <a:gd name="connsiteX13084" fmla="*/ 6045738 w 8267681"/>
              <a:gd name="connsiteY13084" fmla="*/ 3039329 h 6698675"/>
              <a:gd name="connsiteX13085" fmla="*/ 6033994 w 8267681"/>
              <a:gd name="connsiteY13085" fmla="*/ 3048727 h 6698675"/>
              <a:gd name="connsiteX13086" fmla="*/ 6019902 w 8267681"/>
              <a:gd name="connsiteY13086" fmla="*/ 3039329 h 6698675"/>
              <a:gd name="connsiteX13087" fmla="*/ 6012855 w 8267681"/>
              <a:gd name="connsiteY13087" fmla="*/ 3055774 h 6698675"/>
              <a:gd name="connsiteX13088" fmla="*/ 6003460 w 8267681"/>
              <a:gd name="connsiteY13088" fmla="*/ 3069867 h 6698675"/>
              <a:gd name="connsiteX13089" fmla="*/ 6012855 w 8267681"/>
              <a:gd name="connsiteY13089" fmla="*/ 3069867 h 6698675"/>
              <a:gd name="connsiteX13090" fmla="*/ 6005809 w 8267681"/>
              <a:gd name="connsiteY13090" fmla="*/ 3076910 h 6698675"/>
              <a:gd name="connsiteX13091" fmla="*/ 5998763 w 8267681"/>
              <a:gd name="connsiteY13091" fmla="*/ 3067516 h 6698675"/>
              <a:gd name="connsiteX13092" fmla="*/ 5996414 w 8267681"/>
              <a:gd name="connsiteY13092" fmla="*/ 3062824 h 6698675"/>
              <a:gd name="connsiteX13093" fmla="*/ 6003460 w 8267681"/>
              <a:gd name="connsiteY13093" fmla="*/ 3055774 h 6698675"/>
              <a:gd name="connsiteX13094" fmla="*/ 5996414 w 8267681"/>
              <a:gd name="connsiteY13094" fmla="*/ 3053423 h 6698675"/>
              <a:gd name="connsiteX13095" fmla="*/ 5991716 w 8267681"/>
              <a:gd name="connsiteY13095" fmla="*/ 3048727 h 6698675"/>
              <a:gd name="connsiteX13096" fmla="*/ 5994065 w 8267681"/>
              <a:gd name="connsiteY13096" fmla="*/ 3062824 h 6698675"/>
              <a:gd name="connsiteX13097" fmla="*/ 5987019 w 8267681"/>
              <a:gd name="connsiteY13097" fmla="*/ 3065167 h 6698675"/>
              <a:gd name="connsiteX13098" fmla="*/ 5991716 w 8267681"/>
              <a:gd name="connsiteY13098" fmla="*/ 3072214 h 6698675"/>
              <a:gd name="connsiteX13099" fmla="*/ 5982321 w 8267681"/>
              <a:gd name="connsiteY13099" fmla="*/ 3072214 h 6698675"/>
              <a:gd name="connsiteX13100" fmla="*/ 5987019 w 8267681"/>
              <a:gd name="connsiteY13100" fmla="*/ 3079258 h 6698675"/>
              <a:gd name="connsiteX13101" fmla="*/ 5977624 w 8267681"/>
              <a:gd name="connsiteY13101" fmla="*/ 3081608 h 6698675"/>
              <a:gd name="connsiteX13102" fmla="*/ 5984670 w 8267681"/>
              <a:gd name="connsiteY13102" fmla="*/ 3083956 h 6698675"/>
              <a:gd name="connsiteX13103" fmla="*/ 5984670 w 8267681"/>
              <a:gd name="connsiteY13103" fmla="*/ 3098053 h 6698675"/>
              <a:gd name="connsiteX13104" fmla="*/ 5977624 w 8267681"/>
              <a:gd name="connsiteY13104" fmla="*/ 3107447 h 6698675"/>
              <a:gd name="connsiteX13105" fmla="*/ 5975275 w 8267681"/>
              <a:gd name="connsiteY13105" fmla="*/ 3114494 h 6698675"/>
              <a:gd name="connsiteX13106" fmla="*/ 5961182 w 8267681"/>
              <a:gd name="connsiteY13106" fmla="*/ 3098053 h 6698675"/>
              <a:gd name="connsiteX13107" fmla="*/ 5960660 w 8267681"/>
              <a:gd name="connsiteY13107" fmla="*/ 3097269 h 6698675"/>
              <a:gd name="connsiteX13108" fmla="*/ 5961182 w 8267681"/>
              <a:gd name="connsiteY13108" fmla="*/ 3095704 h 6698675"/>
              <a:gd name="connsiteX13109" fmla="*/ 5959616 w 8267681"/>
              <a:gd name="connsiteY13109" fmla="*/ 3095704 h 6698675"/>
              <a:gd name="connsiteX13110" fmla="*/ 5956485 w 8267681"/>
              <a:gd name="connsiteY13110" fmla="*/ 3091006 h 6698675"/>
              <a:gd name="connsiteX13111" fmla="*/ 5949438 w 8267681"/>
              <a:gd name="connsiteY13111" fmla="*/ 3095704 h 6698675"/>
              <a:gd name="connsiteX13112" fmla="*/ 5959616 w 8267681"/>
              <a:gd name="connsiteY13112" fmla="*/ 3095704 h 6698675"/>
              <a:gd name="connsiteX13113" fmla="*/ 5960660 w 8267681"/>
              <a:gd name="connsiteY13113" fmla="*/ 3097269 h 6698675"/>
              <a:gd name="connsiteX13114" fmla="*/ 5958834 w 8267681"/>
              <a:gd name="connsiteY13114" fmla="*/ 3102750 h 6698675"/>
              <a:gd name="connsiteX13115" fmla="*/ 5972926 w 8267681"/>
              <a:gd name="connsiteY13115" fmla="*/ 3114494 h 6698675"/>
              <a:gd name="connsiteX13116" fmla="*/ 5967290 w 8267681"/>
              <a:gd name="connsiteY13116" fmla="*/ 3122005 h 6698675"/>
              <a:gd name="connsiteX13117" fmla="*/ 5968229 w 8267681"/>
              <a:gd name="connsiteY13117" fmla="*/ 3119192 h 6698675"/>
              <a:gd name="connsiteX13118" fmla="*/ 5963531 w 8267681"/>
              <a:gd name="connsiteY13118" fmla="*/ 3123887 h 6698675"/>
              <a:gd name="connsiteX13119" fmla="*/ 5956485 w 8267681"/>
              <a:gd name="connsiteY13119" fmla="*/ 3126238 h 6698675"/>
              <a:gd name="connsiteX13120" fmla="*/ 5963531 w 8267681"/>
              <a:gd name="connsiteY13120" fmla="*/ 3133284 h 6698675"/>
              <a:gd name="connsiteX13121" fmla="*/ 5966761 w 8267681"/>
              <a:gd name="connsiteY13121" fmla="*/ 3123594 h 6698675"/>
              <a:gd name="connsiteX13122" fmla="*/ 5979973 w 8267681"/>
              <a:gd name="connsiteY13122" fmla="*/ 3119192 h 6698675"/>
              <a:gd name="connsiteX13123" fmla="*/ 5979973 w 8267681"/>
              <a:gd name="connsiteY13123" fmla="*/ 3135632 h 6698675"/>
              <a:gd name="connsiteX13124" fmla="*/ 5970578 w 8267681"/>
              <a:gd name="connsiteY13124" fmla="*/ 3128585 h 6698675"/>
              <a:gd name="connsiteX13125" fmla="*/ 5977624 w 8267681"/>
              <a:gd name="connsiteY13125" fmla="*/ 3152079 h 6698675"/>
              <a:gd name="connsiteX13126" fmla="*/ 5984670 w 8267681"/>
              <a:gd name="connsiteY13126" fmla="*/ 3147378 h 6698675"/>
              <a:gd name="connsiteX13127" fmla="*/ 5984670 w 8267681"/>
              <a:gd name="connsiteY13127" fmla="*/ 3156772 h 6698675"/>
              <a:gd name="connsiteX13128" fmla="*/ 5970578 w 8267681"/>
              <a:gd name="connsiteY13128" fmla="*/ 3156772 h 6698675"/>
              <a:gd name="connsiteX13129" fmla="*/ 5970578 w 8267681"/>
              <a:gd name="connsiteY13129" fmla="*/ 3142680 h 6698675"/>
              <a:gd name="connsiteX13130" fmla="*/ 5968229 w 8267681"/>
              <a:gd name="connsiteY13130" fmla="*/ 3159123 h 6698675"/>
              <a:gd name="connsiteX13131" fmla="*/ 5975275 w 8267681"/>
              <a:gd name="connsiteY13131" fmla="*/ 3166171 h 6698675"/>
              <a:gd name="connsiteX13132" fmla="*/ 5984670 w 8267681"/>
              <a:gd name="connsiteY13132" fmla="*/ 3166171 h 6698675"/>
              <a:gd name="connsiteX13133" fmla="*/ 5984670 w 8267681"/>
              <a:gd name="connsiteY13133" fmla="*/ 3175561 h 6698675"/>
              <a:gd name="connsiteX13134" fmla="*/ 5994065 w 8267681"/>
              <a:gd name="connsiteY13134" fmla="*/ 3175561 h 6698675"/>
              <a:gd name="connsiteX13135" fmla="*/ 6012855 w 8267681"/>
              <a:gd name="connsiteY13135" fmla="*/ 3192007 h 6698675"/>
              <a:gd name="connsiteX13136" fmla="*/ 6001111 w 8267681"/>
              <a:gd name="connsiteY13136" fmla="*/ 3201403 h 6698675"/>
              <a:gd name="connsiteX13137" fmla="*/ 6008158 w 8267681"/>
              <a:gd name="connsiteY13137" fmla="*/ 3210801 h 6698675"/>
              <a:gd name="connsiteX13138" fmla="*/ 5996414 w 8267681"/>
              <a:gd name="connsiteY13138" fmla="*/ 3224895 h 6698675"/>
              <a:gd name="connsiteX13139" fmla="*/ 5998112 w 8267681"/>
              <a:gd name="connsiteY13139" fmla="*/ 3224794 h 6698675"/>
              <a:gd name="connsiteX13140" fmla="*/ 5993804 w 8267681"/>
              <a:gd name="connsiteY13140" fmla="*/ 3228028 h 6698675"/>
              <a:gd name="connsiteX13141" fmla="*/ 5989368 w 8267681"/>
              <a:gd name="connsiteY13141" fmla="*/ 3227241 h 6698675"/>
              <a:gd name="connsiteX13142" fmla="*/ 5989368 w 8267681"/>
              <a:gd name="connsiteY13142" fmla="*/ 3220192 h 6698675"/>
              <a:gd name="connsiteX13143" fmla="*/ 5984670 w 8267681"/>
              <a:gd name="connsiteY13143" fmla="*/ 3222545 h 6698675"/>
              <a:gd name="connsiteX13144" fmla="*/ 5979973 w 8267681"/>
              <a:gd name="connsiteY13144" fmla="*/ 3224895 h 6698675"/>
              <a:gd name="connsiteX13145" fmla="*/ 5982556 w 8267681"/>
              <a:gd name="connsiteY13145" fmla="*/ 3227478 h 6698675"/>
              <a:gd name="connsiteX13146" fmla="*/ 5984670 w 8267681"/>
              <a:gd name="connsiteY13146" fmla="*/ 3231943 h 6698675"/>
              <a:gd name="connsiteX13147" fmla="*/ 5975275 w 8267681"/>
              <a:gd name="connsiteY13147" fmla="*/ 3231943 h 6698675"/>
              <a:gd name="connsiteX13148" fmla="*/ 5968816 w 8267681"/>
              <a:gd name="connsiteY13148" fmla="*/ 3231356 h 6698675"/>
              <a:gd name="connsiteX13149" fmla="*/ 5968230 w 8267681"/>
              <a:gd name="connsiteY13149" fmla="*/ 3231943 h 6698675"/>
              <a:gd name="connsiteX13150" fmla="*/ 5974395 w 8267681"/>
              <a:gd name="connsiteY13150" fmla="*/ 3221076 h 6698675"/>
              <a:gd name="connsiteX13151" fmla="*/ 5961182 w 8267681"/>
              <a:gd name="connsiteY13151" fmla="*/ 3215498 h 6698675"/>
              <a:gd name="connsiteX13152" fmla="*/ 5968229 w 8267681"/>
              <a:gd name="connsiteY13152" fmla="*/ 3222545 h 6698675"/>
              <a:gd name="connsiteX13153" fmla="*/ 5965587 w 8267681"/>
              <a:gd name="connsiteY13153" fmla="*/ 3226361 h 6698675"/>
              <a:gd name="connsiteX13154" fmla="*/ 5968229 w 8267681"/>
              <a:gd name="connsiteY13154" fmla="*/ 3231943 h 6698675"/>
              <a:gd name="connsiteX13155" fmla="*/ 5965880 w 8267681"/>
              <a:gd name="connsiteY13155" fmla="*/ 3234291 h 6698675"/>
              <a:gd name="connsiteX13156" fmla="*/ 5954136 w 8267681"/>
              <a:gd name="connsiteY13156" fmla="*/ 3224895 h 6698675"/>
              <a:gd name="connsiteX13157" fmla="*/ 5951787 w 8267681"/>
              <a:gd name="connsiteY13157" fmla="*/ 3238992 h 6698675"/>
              <a:gd name="connsiteX13158" fmla="*/ 5961182 w 8267681"/>
              <a:gd name="connsiteY13158" fmla="*/ 3238992 h 6698675"/>
              <a:gd name="connsiteX13159" fmla="*/ 5954136 w 8267681"/>
              <a:gd name="connsiteY13159" fmla="*/ 3253091 h 6698675"/>
              <a:gd name="connsiteX13160" fmla="*/ 5954136 w 8267681"/>
              <a:gd name="connsiteY13160" fmla="*/ 3243691 h 6698675"/>
              <a:gd name="connsiteX13161" fmla="*/ 5944741 w 8267681"/>
              <a:gd name="connsiteY13161" fmla="*/ 3243691 h 6698675"/>
              <a:gd name="connsiteX13162" fmla="*/ 5942392 w 8267681"/>
              <a:gd name="connsiteY13162" fmla="*/ 3234291 h 6698675"/>
              <a:gd name="connsiteX13163" fmla="*/ 5942392 w 8267681"/>
              <a:gd name="connsiteY13163" fmla="*/ 3243691 h 6698675"/>
              <a:gd name="connsiteX13164" fmla="*/ 5932997 w 8267681"/>
              <a:gd name="connsiteY13164" fmla="*/ 3236643 h 6698675"/>
              <a:gd name="connsiteX13165" fmla="*/ 5916556 w 8267681"/>
              <a:gd name="connsiteY13165" fmla="*/ 3250742 h 6698675"/>
              <a:gd name="connsiteX13166" fmla="*/ 5916556 w 8267681"/>
              <a:gd name="connsiteY13166" fmla="*/ 3247346 h 6698675"/>
              <a:gd name="connsiteX13167" fmla="*/ 5912316 w 8267681"/>
              <a:gd name="connsiteY13167" fmla="*/ 3258198 h 6698675"/>
              <a:gd name="connsiteX13168" fmla="*/ 5912335 w 8267681"/>
              <a:gd name="connsiteY13168" fmla="*/ 3258195 h 6698675"/>
              <a:gd name="connsiteX13169" fmla="*/ 5921253 w 8267681"/>
              <a:gd name="connsiteY13169" fmla="*/ 3262492 h 6698675"/>
              <a:gd name="connsiteX13170" fmla="*/ 5911858 w 8267681"/>
              <a:gd name="connsiteY13170" fmla="*/ 3262492 h 6698675"/>
              <a:gd name="connsiteX13171" fmla="*/ 5914207 w 8267681"/>
              <a:gd name="connsiteY13171" fmla="*/ 3274248 h 6698675"/>
              <a:gd name="connsiteX13172" fmla="*/ 5911858 w 8267681"/>
              <a:gd name="connsiteY13172" fmla="*/ 3281270 h 6698675"/>
              <a:gd name="connsiteX13173" fmla="*/ 5904693 w 8267681"/>
              <a:gd name="connsiteY13173" fmla="*/ 3277705 h 6698675"/>
              <a:gd name="connsiteX13174" fmla="*/ 5903636 w 8267681"/>
              <a:gd name="connsiteY13174" fmla="*/ 3280393 h 6698675"/>
              <a:gd name="connsiteX13175" fmla="*/ 5903092 w 8267681"/>
              <a:gd name="connsiteY13175" fmla="*/ 3292763 h 6698675"/>
              <a:gd name="connsiteX13176" fmla="*/ 5904812 w 8267681"/>
              <a:gd name="connsiteY13176" fmla="*/ 3295314 h 6698675"/>
              <a:gd name="connsiteX13177" fmla="*/ 5902894 w 8267681"/>
              <a:gd name="connsiteY13177" fmla="*/ 3297235 h 6698675"/>
              <a:gd name="connsiteX13178" fmla="*/ 5902462 w 8267681"/>
              <a:gd name="connsiteY13178" fmla="*/ 3307040 h 6698675"/>
              <a:gd name="connsiteX13179" fmla="*/ 5900114 w 8267681"/>
              <a:gd name="connsiteY13179" fmla="*/ 3307040 h 6698675"/>
              <a:gd name="connsiteX13180" fmla="*/ 5904811 w 8267681"/>
              <a:gd name="connsiteY13180" fmla="*/ 3311755 h 6698675"/>
              <a:gd name="connsiteX13181" fmla="*/ 5907160 w 8267681"/>
              <a:gd name="connsiteY13181" fmla="*/ 3377503 h 6698675"/>
              <a:gd name="connsiteX13182" fmla="*/ 5925950 w 8267681"/>
              <a:gd name="connsiteY13182" fmla="*/ 3351666 h 6698675"/>
              <a:gd name="connsiteX13183" fmla="*/ 5935346 w 8267681"/>
              <a:gd name="connsiteY13183" fmla="*/ 3403339 h 6698675"/>
              <a:gd name="connsiteX13184" fmla="*/ 5900114 w 8267681"/>
              <a:gd name="connsiteY13184" fmla="*/ 3379851 h 6698675"/>
              <a:gd name="connsiteX13185" fmla="*/ 5876626 w 8267681"/>
              <a:gd name="connsiteY13185" fmla="*/ 3365759 h 6698675"/>
              <a:gd name="connsiteX13186" fmla="*/ 5888370 w 8267681"/>
              <a:gd name="connsiteY13186" fmla="*/ 3309405 h 6698675"/>
              <a:gd name="connsiteX13187" fmla="*/ 5889161 w 8267681"/>
              <a:gd name="connsiteY13187" fmla="*/ 3300774 h 6698675"/>
              <a:gd name="connsiteX13188" fmla="*/ 5886021 w 8267681"/>
              <a:gd name="connsiteY13188" fmla="*/ 3302342 h 6698675"/>
              <a:gd name="connsiteX13189" fmla="*/ 5871929 w 8267681"/>
              <a:gd name="connsiteY13189" fmla="*/ 3295314 h 6698675"/>
              <a:gd name="connsiteX13190" fmla="*/ 5874278 w 8267681"/>
              <a:gd name="connsiteY13190" fmla="*/ 3288292 h 6698675"/>
              <a:gd name="connsiteX13191" fmla="*/ 5860547 w 8267681"/>
              <a:gd name="connsiteY13191" fmla="*/ 3281463 h 6698675"/>
              <a:gd name="connsiteX13192" fmla="*/ 5860633 w 8267681"/>
              <a:gd name="connsiteY13192" fmla="*/ 3280941 h 6698675"/>
              <a:gd name="connsiteX13193" fmla="*/ 5869580 w 8267681"/>
              <a:gd name="connsiteY13193" fmla="*/ 3274248 h 6698675"/>
              <a:gd name="connsiteX13194" fmla="*/ 5869580 w 8267681"/>
              <a:gd name="connsiteY13194" fmla="*/ 3281270 h 6698675"/>
              <a:gd name="connsiteX13195" fmla="*/ 5876626 w 8267681"/>
              <a:gd name="connsiteY13195" fmla="*/ 3281270 h 6698675"/>
              <a:gd name="connsiteX13196" fmla="*/ 5871929 w 8267681"/>
              <a:gd name="connsiteY13196" fmla="*/ 3271915 h 6698675"/>
              <a:gd name="connsiteX13197" fmla="*/ 5865950 w 8267681"/>
              <a:gd name="connsiteY13197" fmla="*/ 3270405 h 6698675"/>
              <a:gd name="connsiteX13198" fmla="*/ 5864883 w 8267681"/>
              <a:gd name="connsiteY13198" fmla="*/ 3267196 h 6698675"/>
              <a:gd name="connsiteX13199" fmla="*/ 5859850 w 8267681"/>
              <a:gd name="connsiteY13199" fmla="*/ 3270566 h 6698675"/>
              <a:gd name="connsiteX13200" fmla="*/ 5857836 w 8267681"/>
              <a:gd name="connsiteY13200" fmla="*/ 3269551 h 6698675"/>
              <a:gd name="connsiteX13201" fmla="*/ 5857836 w 8267681"/>
              <a:gd name="connsiteY13201" fmla="*/ 3264856 h 6698675"/>
              <a:gd name="connsiteX13202" fmla="*/ 5848441 w 8267681"/>
              <a:gd name="connsiteY13202" fmla="*/ 3264856 h 6698675"/>
              <a:gd name="connsiteX13203" fmla="*/ 5848441 w 8267681"/>
              <a:gd name="connsiteY13203" fmla="*/ 3257792 h 6698675"/>
              <a:gd name="connsiteX13204" fmla="*/ 5841395 w 8267681"/>
              <a:gd name="connsiteY13204" fmla="*/ 3262492 h 6698675"/>
              <a:gd name="connsiteX13205" fmla="*/ 5834348 w 8267681"/>
              <a:gd name="connsiteY13205" fmla="*/ 3255438 h 6698675"/>
              <a:gd name="connsiteX13206" fmla="*/ 5843743 w 8267681"/>
              <a:gd name="connsiteY13206" fmla="*/ 3264856 h 6698675"/>
              <a:gd name="connsiteX13207" fmla="*/ 5846092 w 8267681"/>
              <a:gd name="connsiteY13207" fmla="*/ 3274248 h 6698675"/>
              <a:gd name="connsiteX13208" fmla="*/ 5850790 w 8267681"/>
              <a:gd name="connsiteY13208" fmla="*/ 3283629 h 6698675"/>
              <a:gd name="connsiteX13209" fmla="*/ 5857836 w 8267681"/>
              <a:gd name="connsiteY13209" fmla="*/ 3269551 h 6698675"/>
              <a:gd name="connsiteX13210" fmla="*/ 5857836 w 8267681"/>
              <a:gd name="connsiteY13210" fmla="*/ 3271915 h 6698675"/>
              <a:gd name="connsiteX13211" fmla="*/ 5859850 w 8267681"/>
              <a:gd name="connsiteY13211" fmla="*/ 3270566 h 6698675"/>
              <a:gd name="connsiteX13212" fmla="*/ 5862173 w 8267681"/>
              <a:gd name="connsiteY13212" fmla="*/ 3271722 h 6698675"/>
              <a:gd name="connsiteX13213" fmla="*/ 5860633 w 8267681"/>
              <a:gd name="connsiteY13213" fmla="*/ 3280941 h 6698675"/>
              <a:gd name="connsiteX13214" fmla="*/ 5860185 w 8267681"/>
              <a:gd name="connsiteY13214" fmla="*/ 3281270 h 6698675"/>
              <a:gd name="connsiteX13215" fmla="*/ 5860547 w 8267681"/>
              <a:gd name="connsiteY13215" fmla="*/ 3281463 h 6698675"/>
              <a:gd name="connsiteX13216" fmla="*/ 5860185 w 8267681"/>
              <a:gd name="connsiteY13216" fmla="*/ 3283629 h 6698675"/>
              <a:gd name="connsiteX13217" fmla="*/ 5853139 w 8267681"/>
              <a:gd name="connsiteY13217" fmla="*/ 3283629 h 6698675"/>
              <a:gd name="connsiteX13218" fmla="*/ 5850007 w 8267681"/>
              <a:gd name="connsiteY13218" fmla="*/ 3288292 h 6698675"/>
              <a:gd name="connsiteX13219" fmla="*/ 5846092 w 8267681"/>
              <a:gd name="connsiteY13219" fmla="*/ 3288292 h 6698675"/>
              <a:gd name="connsiteX13220" fmla="*/ 5846603 w 8267681"/>
              <a:gd name="connsiteY13220" fmla="*/ 3290350 h 6698675"/>
              <a:gd name="connsiteX13221" fmla="*/ 5834348 w 8267681"/>
              <a:gd name="connsiteY13221" fmla="*/ 3288292 h 6698675"/>
              <a:gd name="connsiteX13222" fmla="*/ 5834348 w 8267681"/>
              <a:gd name="connsiteY13222" fmla="*/ 3278939 h 6698675"/>
              <a:gd name="connsiteX13223" fmla="*/ 5827302 w 8267681"/>
              <a:gd name="connsiteY13223" fmla="*/ 3288292 h 6698675"/>
              <a:gd name="connsiteX13224" fmla="*/ 5824953 w 8267681"/>
              <a:gd name="connsiteY13224" fmla="*/ 3290651 h 6698675"/>
              <a:gd name="connsiteX13225" fmla="*/ 5822604 w 8267681"/>
              <a:gd name="connsiteY13225" fmla="*/ 3288292 h 6698675"/>
              <a:gd name="connsiteX13226" fmla="*/ 5815558 w 8267681"/>
              <a:gd name="connsiteY13226" fmla="*/ 3292983 h 6698675"/>
              <a:gd name="connsiteX13227" fmla="*/ 5810861 w 8267681"/>
              <a:gd name="connsiteY13227" fmla="*/ 3285961 h 6698675"/>
              <a:gd name="connsiteX13228" fmla="*/ 5822604 w 8267681"/>
              <a:gd name="connsiteY13228" fmla="*/ 3276607 h 6698675"/>
              <a:gd name="connsiteX13229" fmla="*/ 5811853 w 8267681"/>
              <a:gd name="connsiteY13229" fmla="*/ 3272300 h 6698675"/>
              <a:gd name="connsiteX13230" fmla="*/ 5811959 w 8267681"/>
              <a:gd name="connsiteY13230" fmla="*/ 3271915 h 6698675"/>
              <a:gd name="connsiteX13231" fmla="*/ 5817907 w 8267681"/>
              <a:gd name="connsiteY13231" fmla="*/ 3271915 h 6698675"/>
              <a:gd name="connsiteX13232" fmla="*/ 5820256 w 8267681"/>
              <a:gd name="connsiteY13232" fmla="*/ 3262492 h 6698675"/>
              <a:gd name="connsiteX13233" fmla="*/ 5815558 w 8267681"/>
              <a:gd name="connsiteY13233" fmla="*/ 3260142 h 6698675"/>
              <a:gd name="connsiteX13234" fmla="*/ 5809980 w 8267681"/>
              <a:gd name="connsiteY13234" fmla="*/ 3263084 h 6698675"/>
              <a:gd name="connsiteX13235" fmla="*/ 5812427 w 8267681"/>
              <a:gd name="connsiteY13235" fmla="*/ 3267986 h 6698675"/>
              <a:gd name="connsiteX13236" fmla="*/ 5807729 w 8267681"/>
              <a:gd name="connsiteY13236" fmla="*/ 3272685 h 6698675"/>
              <a:gd name="connsiteX13237" fmla="*/ 5801465 w 8267681"/>
              <a:gd name="connsiteY13237" fmla="*/ 3274248 h 6698675"/>
              <a:gd name="connsiteX13238" fmla="*/ 5794419 w 8267681"/>
              <a:gd name="connsiteY13238" fmla="*/ 3271915 h 6698675"/>
              <a:gd name="connsiteX13239" fmla="*/ 5787373 w 8267681"/>
              <a:gd name="connsiteY13239" fmla="*/ 3271915 h 6698675"/>
              <a:gd name="connsiteX13240" fmla="*/ 5780326 w 8267681"/>
              <a:gd name="connsiteY13240" fmla="*/ 3274248 h 6698675"/>
              <a:gd name="connsiteX13241" fmla="*/ 5773280 w 8267681"/>
              <a:gd name="connsiteY13241" fmla="*/ 3269551 h 6698675"/>
              <a:gd name="connsiteX13242" fmla="*/ 5771140 w 8267681"/>
              <a:gd name="connsiteY13242" fmla="*/ 3273837 h 6698675"/>
              <a:gd name="connsiteX13243" fmla="*/ 5770931 w 8267681"/>
              <a:gd name="connsiteY13243" fmla="*/ 3271915 h 6698675"/>
              <a:gd name="connsiteX13244" fmla="*/ 5769650 w 8267681"/>
              <a:gd name="connsiteY13244" fmla="*/ 3272327 h 6698675"/>
              <a:gd name="connsiteX13245" fmla="*/ 5766234 w 8267681"/>
              <a:gd name="connsiteY13245" fmla="*/ 3267196 h 6698675"/>
              <a:gd name="connsiteX13246" fmla="*/ 5766234 w 8267681"/>
              <a:gd name="connsiteY13246" fmla="*/ 3260142 h 6698675"/>
              <a:gd name="connsiteX13247" fmla="*/ 5759187 w 8267681"/>
              <a:gd name="connsiteY13247" fmla="*/ 3267196 h 6698675"/>
              <a:gd name="connsiteX13248" fmla="*/ 5762711 w 8267681"/>
              <a:gd name="connsiteY13248" fmla="*/ 3269552 h 6698675"/>
              <a:gd name="connsiteX13249" fmla="*/ 5759187 w 8267681"/>
              <a:gd name="connsiteY13249" fmla="*/ 3271915 h 6698675"/>
              <a:gd name="connsiteX13250" fmla="*/ 5763885 w 8267681"/>
              <a:gd name="connsiteY13250" fmla="*/ 3274248 h 6698675"/>
              <a:gd name="connsiteX13251" fmla="*/ 5769650 w 8267681"/>
              <a:gd name="connsiteY13251" fmla="*/ 3272327 h 6698675"/>
              <a:gd name="connsiteX13252" fmla="*/ 5770931 w 8267681"/>
              <a:gd name="connsiteY13252" fmla="*/ 3274248 h 6698675"/>
              <a:gd name="connsiteX13253" fmla="*/ 5771140 w 8267681"/>
              <a:gd name="connsiteY13253" fmla="*/ 3273837 h 6698675"/>
              <a:gd name="connsiteX13254" fmla="*/ 5772106 w 8267681"/>
              <a:gd name="connsiteY13254" fmla="*/ 3282751 h 6698675"/>
              <a:gd name="connsiteX13255" fmla="*/ 5780326 w 8267681"/>
              <a:gd name="connsiteY13255" fmla="*/ 3281270 h 6698675"/>
              <a:gd name="connsiteX13256" fmla="*/ 5789721 w 8267681"/>
              <a:gd name="connsiteY13256" fmla="*/ 3285961 h 6698675"/>
              <a:gd name="connsiteX13257" fmla="*/ 5782675 w 8267681"/>
              <a:gd name="connsiteY13257" fmla="*/ 3276607 h 6698675"/>
              <a:gd name="connsiteX13258" fmla="*/ 5787373 w 8267681"/>
              <a:gd name="connsiteY13258" fmla="*/ 3274248 h 6698675"/>
              <a:gd name="connsiteX13259" fmla="*/ 5794419 w 8267681"/>
              <a:gd name="connsiteY13259" fmla="*/ 3278939 h 6698675"/>
              <a:gd name="connsiteX13260" fmla="*/ 5806163 w 8267681"/>
              <a:gd name="connsiteY13260" fmla="*/ 3276607 h 6698675"/>
              <a:gd name="connsiteX13261" fmla="*/ 5808512 w 8267681"/>
              <a:gd name="connsiteY13261" fmla="*/ 3283629 h 6698675"/>
              <a:gd name="connsiteX13262" fmla="*/ 5801465 w 8267681"/>
              <a:gd name="connsiteY13262" fmla="*/ 3283629 h 6698675"/>
              <a:gd name="connsiteX13263" fmla="*/ 5792070 w 8267681"/>
              <a:gd name="connsiteY13263" fmla="*/ 3290651 h 6698675"/>
              <a:gd name="connsiteX13264" fmla="*/ 5792070 w 8267681"/>
              <a:gd name="connsiteY13264" fmla="*/ 3292983 h 6698675"/>
              <a:gd name="connsiteX13265" fmla="*/ 5792070 w 8267681"/>
              <a:gd name="connsiteY13265" fmla="*/ 3300006 h 6698675"/>
              <a:gd name="connsiteX13266" fmla="*/ 5782675 w 8267681"/>
              <a:gd name="connsiteY13266" fmla="*/ 3292983 h 6698675"/>
              <a:gd name="connsiteX13267" fmla="*/ 5777977 w 8267681"/>
              <a:gd name="connsiteY13267" fmla="*/ 3295314 h 6698675"/>
              <a:gd name="connsiteX13268" fmla="*/ 5785024 w 8267681"/>
              <a:gd name="connsiteY13268" fmla="*/ 3302342 h 6698675"/>
              <a:gd name="connsiteX13269" fmla="*/ 5782675 w 8267681"/>
              <a:gd name="connsiteY13269" fmla="*/ 3307040 h 6698675"/>
              <a:gd name="connsiteX13270" fmla="*/ 5787373 w 8267681"/>
              <a:gd name="connsiteY13270" fmla="*/ 3314106 h 6698675"/>
              <a:gd name="connsiteX13271" fmla="*/ 5785024 w 8267681"/>
              <a:gd name="connsiteY13271" fmla="*/ 3318807 h 6698675"/>
              <a:gd name="connsiteX13272" fmla="*/ 5777977 w 8267681"/>
              <a:gd name="connsiteY13272" fmla="*/ 3311755 h 6698675"/>
              <a:gd name="connsiteX13273" fmla="*/ 5770931 w 8267681"/>
              <a:gd name="connsiteY13273" fmla="*/ 3316463 h 6698675"/>
              <a:gd name="connsiteX13274" fmla="*/ 5763885 w 8267681"/>
              <a:gd name="connsiteY13274" fmla="*/ 3300006 h 6698675"/>
              <a:gd name="connsiteX13275" fmla="*/ 5770931 w 8267681"/>
              <a:gd name="connsiteY13275" fmla="*/ 3304700 h 6698675"/>
              <a:gd name="connsiteX13276" fmla="*/ 5761536 w 8267681"/>
              <a:gd name="connsiteY13276" fmla="*/ 3288292 h 6698675"/>
              <a:gd name="connsiteX13277" fmla="*/ 5752141 w 8267681"/>
              <a:gd name="connsiteY13277" fmla="*/ 3292983 h 6698675"/>
              <a:gd name="connsiteX13278" fmla="*/ 5761536 w 8267681"/>
              <a:gd name="connsiteY13278" fmla="*/ 3304700 h 6698675"/>
              <a:gd name="connsiteX13279" fmla="*/ 5759187 w 8267681"/>
              <a:gd name="connsiteY13279" fmla="*/ 3309406 h 6698675"/>
              <a:gd name="connsiteX13280" fmla="*/ 5749792 w 8267681"/>
              <a:gd name="connsiteY13280" fmla="*/ 3295314 h 6698675"/>
              <a:gd name="connsiteX13281" fmla="*/ 5749792 w 8267681"/>
              <a:gd name="connsiteY13281" fmla="*/ 3288292 h 6698675"/>
              <a:gd name="connsiteX13282" fmla="*/ 5754490 w 8267681"/>
              <a:gd name="connsiteY13282" fmla="*/ 3281270 h 6698675"/>
              <a:gd name="connsiteX13283" fmla="*/ 5754490 w 8267681"/>
              <a:gd name="connsiteY13283" fmla="*/ 3267196 h 6698675"/>
              <a:gd name="connsiteX13284" fmla="*/ 5751903 w 8267681"/>
              <a:gd name="connsiteY13284" fmla="*/ 3268974 h 6698675"/>
              <a:gd name="connsiteX13285" fmla="*/ 5754490 w 8267681"/>
              <a:gd name="connsiteY13285" fmla="*/ 3262492 h 6698675"/>
              <a:gd name="connsiteX13286" fmla="*/ 5742746 w 8267681"/>
              <a:gd name="connsiteY13286" fmla="*/ 3264856 h 6698675"/>
              <a:gd name="connsiteX13287" fmla="*/ 5749792 w 8267681"/>
              <a:gd name="connsiteY13287" fmla="*/ 3274248 h 6698675"/>
              <a:gd name="connsiteX13288" fmla="*/ 5750196 w 8267681"/>
              <a:gd name="connsiteY13288" fmla="*/ 3273253 h 6698675"/>
              <a:gd name="connsiteX13289" fmla="*/ 5752141 w 8267681"/>
              <a:gd name="connsiteY13289" fmla="*/ 3276607 h 6698675"/>
              <a:gd name="connsiteX13290" fmla="*/ 5745095 w 8267681"/>
              <a:gd name="connsiteY13290" fmla="*/ 3281270 h 6698675"/>
              <a:gd name="connsiteX13291" fmla="*/ 5745095 w 8267681"/>
              <a:gd name="connsiteY13291" fmla="*/ 3292983 h 6698675"/>
              <a:gd name="connsiteX13292" fmla="*/ 5735700 w 8267681"/>
              <a:gd name="connsiteY13292" fmla="*/ 3281270 h 6698675"/>
              <a:gd name="connsiteX13293" fmla="*/ 5742746 w 8267681"/>
              <a:gd name="connsiteY13293" fmla="*/ 3281270 h 6698675"/>
              <a:gd name="connsiteX13294" fmla="*/ 5740397 w 8267681"/>
              <a:gd name="connsiteY13294" fmla="*/ 3271915 h 6698675"/>
              <a:gd name="connsiteX13295" fmla="*/ 5733351 w 8267681"/>
              <a:gd name="connsiteY13295" fmla="*/ 3276607 h 6698675"/>
              <a:gd name="connsiteX13296" fmla="*/ 5735700 w 8267681"/>
              <a:gd name="connsiteY13296" fmla="*/ 3283629 h 6698675"/>
              <a:gd name="connsiteX13297" fmla="*/ 5728653 w 8267681"/>
              <a:gd name="connsiteY13297" fmla="*/ 3285961 h 6698675"/>
              <a:gd name="connsiteX13298" fmla="*/ 5728653 w 8267681"/>
              <a:gd name="connsiteY13298" fmla="*/ 3295314 h 6698675"/>
              <a:gd name="connsiteX13299" fmla="*/ 5735700 w 8267681"/>
              <a:gd name="connsiteY13299" fmla="*/ 3302342 h 6698675"/>
              <a:gd name="connsiteX13300" fmla="*/ 5719258 w 8267681"/>
              <a:gd name="connsiteY13300" fmla="*/ 3302342 h 6698675"/>
              <a:gd name="connsiteX13301" fmla="*/ 5726304 w 8267681"/>
              <a:gd name="connsiteY13301" fmla="*/ 3292983 h 6698675"/>
              <a:gd name="connsiteX13302" fmla="*/ 5716909 w 8267681"/>
              <a:gd name="connsiteY13302" fmla="*/ 3292983 h 6698675"/>
              <a:gd name="connsiteX13303" fmla="*/ 5723956 w 8267681"/>
              <a:gd name="connsiteY13303" fmla="*/ 3283629 h 6698675"/>
              <a:gd name="connsiteX13304" fmla="*/ 5714560 w 8267681"/>
              <a:gd name="connsiteY13304" fmla="*/ 3281270 h 6698675"/>
              <a:gd name="connsiteX13305" fmla="*/ 5712212 w 8267681"/>
              <a:gd name="connsiteY13305" fmla="*/ 3281270 h 6698675"/>
              <a:gd name="connsiteX13306" fmla="*/ 5705166 w 8267681"/>
              <a:gd name="connsiteY13306" fmla="*/ 3280695 h 6698675"/>
              <a:gd name="connsiteX13307" fmla="*/ 5705166 w 8267681"/>
              <a:gd name="connsiteY13307" fmla="*/ 3283602 h 6698675"/>
              <a:gd name="connsiteX13308" fmla="*/ 5705166 w 8267681"/>
              <a:gd name="connsiteY13308" fmla="*/ 3283629 h 6698675"/>
              <a:gd name="connsiteX13309" fmla="*/ 5695770 w 8267681"/>
              <a:gd name="connsiteY13309" fmla="*/ 3281270 h 6698675"/>
              <a:gd name="connsiteX13310" fmla="*/ 5695770 w 8267681"/>
              <a:gd name="connsiteY13310" fmla="*/ 3288292 h 6698675"/>
              <a:gd name="connsiteX13311" fmla="*/ 5688724 w 8267681"/>
              <a:gd name="connsiteY13311" fmla="*/ 3288292 h 6698675"/>
              <a:gd name="connsiteX13312" fmla="*/ 5695770 w 8267681"/>
              <a:gd name="connsiteY13312" fmla="*/ 3278939 h 6698675"/>
              <a:gd name="connsiteX13313" fmla="*/ 5691073 w 8267681"/>
              <a:gd name="connsiteY13313" fmla="*/ 3271915 h 6698675"/>
              <a:gd name="connsiteX13314" fmla="*/ 5700468 w 8267681"/>
              <a:gd name="connsiteY13314" fmla="*/ 3271915 h 6698675"/>
              <a:gd name="connsiteX13315" fmla="*/ 5712212 w 8267681"/>
              <a:gd name="connsiteY13315" fmla="*/ 3274248 h 6698675"/>
              <a:gd name="connsiteX13316" fmla="*/ 5711273 w 8267681"/>
              <a:gd name="connsiteY13316" fmla="*/ 3262015 h 6698675"/>
              <a:gd name="connsiteX13317" fmla="*/ 5716909 w 8267681"/>
              <a:gd name="connsiteY13317" fmla="*/ 3260142 h 6698675"/>
              <a:gd name="connsiteX13318" fmla="*/ 5723956 w 8267681"/>
              <a:gd name="connsiteY13318" fmla="*/ 3267196 h 6698675"/>
              <a:gd name="connsiteX13319" fmla="*/ 5731002 w 8267681"/>
              <a:gd name="connsiteY13319" fmla="*/ 3255438 h 6698675"/>
              <a:gd name="connsiteX13320" fmla="*/ 5714560 w 8267681"/>
              <a:gd name="connsiteY13320" fmla="*/ 3257792 h 6698675"/>
              <a:gd name="connsiteX13321" fmla="*/ 5710947 w 8267681"/>
              <a:gd name="connsiteY13321" fmla="*/ 3257792 h 6698675"/>
              <a:gd name="connsiteX13322" fmla="*/ 5709863 w 8267681"/>
              <a:gd name="connsiteY13322" fmla="*/ 3243691 h 6698675"/>
              <a:gd name="connsiteX13323" fmla="*/ 5707514 w 8267681"/>
              <a:gd name="connsiteY13323" fmla="*/ 3253091 h 6698675"/>
              <a:gd name="connsiteX13324" fmla="*/ 5700468 w 8267681"/>
              <a:gd name="connsiteY13324" fmla="*/ 3253091 h 6698675"/>
              <a:gd name="connsiteX13325" fmla="*/ 5702348 w 8267681"/>
              <a:gd name="connsiteY13325" fmla="*/ 3257792 h 6698675"/>
              <a:gd name="connsiteX13326" fmla="*/ 5700468 w 8267681"/>
              <a:gd name="connsiteY13326" fmla="*/ 3257792 h 6698675"/>
              <a:gd name="connsiteX13327" fmla="*/ 5700468 w 8267681"/>
              <a:gd name="connsiteY13327" fmla="*/ 3260142 h 6698675"/>
              <a:gd name="connsiteX13328" fmla="*/ 5703600 w 8267681"/>
              <a:gd name="connsiteY13328" fmla="*/ 3260927 h 6698675"/>
              <a:gd name="connsiteX13329" fmla="*/ 5705166 w 8267681"/>
              <a:gd name="connsiteY13329" fmla="*/ 3264856 h 6698675"/>
              <a:gd name="connsiteX13330" fmla="*/ 5688724 w 8267681"/>
              <a:gd name="connsiteY13330" fmla="*/ 3262492 h 6698675"/>
              <a:gd name="connsiteX13331" fmla="*/ 5688724 w 8267681"/>
              <a:gd name="connsiteY13331" fmla="*/ 3271915 h 6698675"/>
              <a:gd name="connsiteX13332" fmla="*/ 5686375 w 8267681"/>
              <a:gd name="connsiteY13332" fmla="*/ 3264856 h 6698675"/>
              <a:gd name="connsiteX13333" fmla="*/ 5679329 w 8267681"/>
              <a:gd name="connsiteY13333" fmla="*/ 3264856 h 6698675"/>
              <a:gd name="connsiteX13334" fmla="*/ 5681678 w 8267681"/>
              <a:gd name="connsiteY13334" fmla="*/ 3257792 h 6698675"/>
              <a:gd name="connsiteX13335" fmla="*/ 5667585 w 8267681"/>
              <a:gd name="connsiteY13335" fmla="*/ 3262492 h 6698675"/>
              <a:gd name="connsiteX13336" fmla="*/ 5674631 w 8267681"/>
              <a:gd name="connsiteY13336" fmla="*/ 3248386 h 6698675"/>
              <a:gd name="connsiteX13337" fmla="*/ 5669934 w 8267681"/>
              <a:gd name="connsiteY13337" fmla="*/ 3241337 h 6698675"/>
              <a:gd name="connsiteX13338" fmla="*/ 5679329 w 8267681"/>
              <a:gd name="connsiteY13338" fmla="*/ 3241337 h 6698675"/>
              <a:gd name="connsiteX13339" fmla="*/ 5672282 w 8267681"/>
              <a:gd name="connsiteY13339" fmla="*/ 3234291 h 6698675"/>
              <a:gd name="connsiteX13340" fmla="*/ 5672282 w 8267681"/>
              <a:gd name="connsiteY13340" fmla="*/ 3224895 h 6698675"/>
              <a:gd name="connsiteX13341" fmla="*/ 5665236 w 8267681"/>
              <a:gd name="connsiteY13341" fmla="*/ 3227241 h 6698675"/>
              <a:gd name="connsiteX13342" fmla="*/ 5660538 w 8267681"/>
              <a:gd name="connsiteY13342" fmla="*/ 3220192 h 6698675"/>
              <a:gd name="connsiteX13343" fmla="*/ 5653492 w 8267681"/>
              <a:gd name="connsiteY13343" fmla="*/ 3224895 h 6698675"/>
              <a:gd name="connsiteX13344" fmla="*/ 5653492 w 8267681"/>
              <a:gd name="connsiteY13344" fmla="*/ 3215498 h 6698675"/>
              <a:gd name="connsiteX13345" fmla="*/ 5651144 w 8267681"/>
              <a:gd name="connsiteY13345" fmla="*/ 3224895 h 6698675"/>
              <a:gd name="connsiteX13346" fmla="*/ 5644097 w 8267681"/>
              <a:gd name="connsiteY13346" fmla="*/ 3224895 h 6698675"/>
              <a:gd name="connsiteX13347" fmla="*/ 5644097 w 8267681"/>
              <a:gd name="connsiteY13347" fmla="*/ 3231943 h 6698675"/>
              <a:gd name="connsiteX13348" fmla="*/ 5640328 w 8267681"/>
              <a:gd name="connsiteY13348" fmla="*/ 3227228 h 6698675"/>
              <a:gd name="connsiteX13349" fmla="*/ 5637050 w 8267681"/>
              <a:gd name="connsiteY13349" fmla="*/ 3227228 h 6698675"/>
              <a:gd name="connsiteX13350" fmla="*/ 5634702 w 8267681"/>
              <a:gd name="connsiteY13350" fmla="*/ 3227228 h 6698675"/>
              <a:gd name="connsiteX13351" fmla="*/ 5634702 w 8267681"/>
              <a:gd name="connsiteY13351" fmla="*/ 3220192 h 6698675"/>
              <a:gd name="connsiteX13352" fmla="*/ 5615912 w 8267681"/>
              <a:gd name="connsiteY13352" fmla="*/ 3234291 h 6698675"/>
              <a:gd name="connsiteX13353" fmla="*/ 5615912 w 8267681"/>
              <a:gd name="connsiteY13353" fmla="*/ 3241337 h 6698675"/>
              <a:gd name="connsiteX13354" fmla="*/ 5608865 w 8267681"/>
              <a:gd name="connsiteY13354" fmla="*/ 3238992 h 6698675"/>
              <a:gd name="connsiteX13355" fmla="*/ 5613563 w 8267681"/>
              <a:gd name="connsiteY13355" fmla="*/ 3231943 h 6698675"/>
              <a:gd name="connsiteX13356" fmla="*/ 5620609 w 8267681"/>
              <a:gd name="connsiteY13356" fmla="*/ 3224895 h 6698675"/>
              <a:gd name="connsiteX13357" fmla="*/ 5613563 w 8267681"/>
              <a:gd name="connsiteY13357" fmla="*/ 3224895 h 6698675"/>
              <a:gd name="connsiteX13358" fmla="*/ 5613563 w 8267681"/>
              <a:gd name="connsiteY13358" fmla="*/ 3231943 h 6698675"/>
              <a:gd name="connsiteX13359" fmla="*/ 5604168 w 8267681"/>
              <a:gd name="connsiteY13359" fmla="*/ 3231943 h 6698675"/>
              <a:gd name="connsiteX13360" fmla="*/ 5597122 w 8267681"/>
              <a:gd name="connsiteY13360" fmla="*/ 3222545 h 6698675"/>
              <a:gd name="connsiteX13361" fmla="*/ 5598213 w 8267681"/>
              <a:gd name="connsiteY13361" fmla="*/ 3222763 h 6698675"/>
              <a:gd name="connsiteX13362" fmla="*/ 5601819 w 8267681"/>
              <a:gd name="connsiteY13362" fmla="*/ 3224895 h 6698675"/>
              <a:gd name="connsiteX13363" fmla="*/ 5602574 w 8267681"/>
              <a:gd name="connsiteY13363" fmla="*/ 3223635 h 6698675"/>
              <a:gd name="connsiteX13364" fmla="*/ 5608865 w 8267681"/>
              <a:gd name="connsiteY13364" fmla="*/ 3224895 h 6698675"/>
              <a:gd name="connsiteX13365" fmla="*/ 5615912 w 8267681"/>
              <a:gd name="connsiteY13365" fmla="*/ 3222545 h 6698675"/>
              <a:gd name="connsiteX13366" fmla="*/ 5615912 w 8267681"/>
              <a:gd name="connsiteY13366" fmla="*/ 3215498 h 6698675"/>
              <a:gd name="connsiteX13367" fmla="*/ 5622958 w 8267681"/>
              <a:gd name="connsiteY13367" fmla="*/ 3208446 h 6698675"/>
              <a:gd name="connsiteX13368" fmla="*/ 5608865 w 8267681"/>
              <a:gd name="connsiteY13368" fmla="*/ 3203752 h 6698675"/>
              <a:gd name="connsiteX13369" fmla="*/ 5613829 w 8267681"/>
              <a:gd name="connsiteY13369" fmla="*/ 3196307 h 6698675"/>
              <a:gd name="connsiteX13370" fmla="*/ 5615324 w 8267681"/>
              <a:gd name="connsiteY13370" fmla="*/ 3198760 h 6698675"/>
              <a:gd name="connsiteX13371" fmla="*/ 5620609 w 8267681"/>
              <a:gd name="connsiteY13371" fmla="*/ 3201403 h 6698675"/>
              <a:gd name="connsiteX13372" fmla="*/ 5618554 w 8267681"/>
              <a:gd name="connsiteY13372" fmla="*/ 3194064 h 6698675"/>
              <a:gd name="connsiteX13373" fmla="*/ 5615832 w 8267681"/>
              <a:gd name="connsiteY13373" fmla="*/ 3193302 h 6698675"/>
              <a:gd name="connsiteX13374" fmla="*/ 5618261 w 8267681"/>
              <a:gd name="connsiteY13374" fmla="*/ 3189661 h 6698675"/>
              <a:gd name="connsiteX13375" fmla="*/ 5601819 w 8267681"/>
              <a:gd name="connsiteY13375" fmla="*/ 3189661 h 6698675"/>
              <a:gd name="connsiteX13376" fmla="*/ 5611214 w 8267681"/>
              <a:gd name="connsiteY13376" fmla="*/ 3170868 h 6698675"/>
              <a:gd name="connsiteX13377" fmla="*/ 5601819 w 8267681"/>
              <a:gd name="connsiteY13377" fmla="*/ 3161471 h 6698675"/>
              <a:gd name="connsiteX13378" fmla="*/ 5597122 w 8267681"/>
              <a:gd name="connsiteY13378" fmla="*/ 3173221 h 6698675"/>
              <a:gd name="connsiteX13379" fmla="*/ 5599470 w 8267681"/>
              <a:gd name="connsiteY13379" fmla="*/ 3180267 h 6698675"/>
              <a:gd name="connsiteX13380" fmla="*/ 5592424 w 8267681"/>
              <a:gd name="connsiteY13380" fmla="*/ 3189661 h 6698675"/>
              <a:gd name="connsiteX13381" fmla="*/ 5583029 w 8267681"/>
              <a:gd name="connsiteY13381" fmla="*/ 3177912 h 6698675"/>
              <a:gd name="connsiteX13382" fmla="*/ 5591250 w 8267681"/>
              <a:gd name="connsiteY13382" fmla="*/ 3177912 h 6698675"/>
              <a:gd name="connsiteX13383" fmla="*/ 5594773 w 8267681"/>
              <a:gd name="connsiteY13383" fmla="*/ 3180267 h 6698675"/>
              <a:gd name="connsiteX13384" fmla="*/ 5594773 w 8267681"/>
              <a:gd name="connsiteY13384" fmla="*/ 3168520 h 6698675"/>
              <a:gd name="connsiteX13385" fmla="*/ 5589994 w 8267681"/>
              <a:gd name="connsiteY13385" fmla="*/ 3173301 h 6698675"/>
              <a:gd name="connsiteX13386" fmla="*/ 5589488 w 8267681"/>
              <a:gd name="connsiteY13386" fmla="*/ 3172338 h 6698675"/>
              <a:gd name="connsiteX13387" fmla="*/ 5583029 w 8267681"/>
              <a:gd name="connsiteY13387" fmla="*/ 3175561 h 6698675"/>
              <a:gd name="connsiteX13388" fmla="*/ 5575983 w 8267681"/>
              <a:gd name="connsiteY13388" fmla="*/ 3159123 h 6698675"/>
              <a:gd name="connsiteX13389" fmla="*/ 5578331 w 8267681"/>
              <a:gd name="connsiteY13389" fmla="*/ 3154423 h 6698675"/>
              <a:gd name="connsiteX13390" fmla="*/ 5587727 w 8267681"/>
              <a:gd name="connsiteY13390" fmla="*/ 3161471 h 6698675"/>
              <a:gd name="connsiteX13391" fmla="*/ 5592424 w 8267681"/>
              <a:gd name="connsiteY13391" fmla="*/ 3154423 h 6698675"/>
              <a:gd name="connsiteX13392" fmla="*/ 5559541 w 8267681"/>
              <a:gd name="connsiteY13392" fmla="*/ 3147378 h 6698675"/>
              <a:gd name="connsiteX13393" fmla="*/ 5558257 w 8267681"/>
              <a:gd name="connsiteY13393" fmla="*/ 3142669 h 6698675"/>
              <a:gd name="connsiteX13394" fmla="*/ 5557192 w 8267681"/>
              <a:gd name="connsiteY13394" fmla="*/ 3142669 h 6698675"/>
              <a:gd name="connsiteX13395" fmla="*/ 5555754 w 8267681"/>
              <a:gd name="connsiteY13395" fmla="*/ 3139793 h 6698675"/>
              <a:gd name="connsiteX13396" fmla="*/ 5555507 w 8267681"/>
              <a:gd name="connsiteY13396" fmla="*/ 3139657 h 6698675"/>
              <a:gd name="connsiteX13397" fmla="*/ 5554843 w 8267681"/>
              <a:gd name="connsiteY13397" fmla="*/ 3140321 h 6698675"/>
              <a:gd name="connsiteX13398" fmla="*/ 5554128 w 8267681"/>
              <a:gd name="connsiteY13398" fmla="*/ 3138890 h 6698675"/>
              <a:gd name="connsiteX13399" fmla="*/ 5552495 w 8267681"/>
              <a:gd name="connsiteY13399" fmla="*/ 3137982 h 6698675"/>
              <a:gd name="connsiteX13400" fmla="*/ 5552862 w 8267681"/>
              <a:gd name="connsiteY13400" fmla="*/ 3137431 h 6698675"/>
              <a:gd name="connsiteX13401" fmla="*/ 5551614 w 8267681"/>
              <a:gd name="connsiteY13401" fmla="*/ 3137090 h 6698675"/>
              <a:gd name="connsiteX13402" fmla="*/ 5550146 w 8267681"/>
              <a:gd name="connsiteY13402" fmla="*/ 3130923 h 6698675"/>
              <a:gd name="connsiteX13403" fmla="*/ 5552495 w 8267681"/>
              <a:gd name="connsiteY13403" fmla="*/ 3130923 h 6698675"/>
              <a:gd name="connsiteX13404" fmla="*/ 5552495 w 8267681"/>
              <a:gd name="connsiteY13404" fmla="*/ 3135621 h 6698675"/>
              <a:gd name="connsiteX13405" fmla="*/ 5553169 w 8267681"/>
              <a:gd name="connsiteY13405" fmla="*/ 3136970 h 6698675"/>
              <a:gd name="connsiteX13406" fmla="*/ 5557192 w 8267681"/>
              <a:gd name="connsiteY13406" fmla="*/ 3130934 h 6698675"/>
              <a:gd name="connsiteX13407" fmla="*/ 5564239 w 8267681"/>
              <a:gd name="connsiteY13407" fmla="*/ 3133284 h 6698675"/>
              <a:gd name="connsiteX13408" fmla="*/ 5564239 w 8267681"/>
              <a:gd name="connsiteY13408" fmla="*/ 3142680 h 6698675"/>
              <a:gd name="connsiteX13409" fmla="*/ 5568936 w 8267681"/>
              <a:gd name="connsiteY13409" fmla="*/ 3142680 h 6698675"/>
              <a:gd name="connsiteX13410" fmla="*/ 5573634 w 8267681"/>
              <a:gd name="connsiteY13410" fmla="*/ 3142680 h 6698675"/>
              <a:gd name="connsiteX13411" fmla="*/ 5571285 w 8267681"/>
              <a:gd name="connsiteY13411" fmla="*/ 3140332 h 6698675"/>
              <a:gd name="connsiteX13412" fmla="*/ 5575983 w 8267681"/>
              <a:gd name="connsiteY13412" fmla="*/ 3135632 h 6698675"/>
              <a:gd name="connsiteX13413" fmla="*/ 5568936 w 8267681"/>
              <a:gd name="connsiteY13413" fmla="*/ 3135632 h 6698675"/>
              <a:gd name="connsiteX13414" fmla="*/ 5568936 w 8267681"/>
              <a:gd name="connsiteY13414" fmla="*/ 3137982 h 6698675"/>
              <a:gd name="connsiteX13415" fmla="*/ 5564239 w 8267681"/>
              <a:gd name="connsiteY13415" fmla="*/ 3133284 h 6698675"/>
              <a:gd name="connsiteX13416" fmla="*/ 5573634 w 8267681"/>
              <a:gd name="connsiteY13416" fmla="*/ 3121535 h 6698675"/>
              <a:gd name="connsiteX13417" fmla="*/ 5565581 w 8267681"/>
              <a:gd name="connsiteY13417" fmla="*/ 3117517 h 6698675"/>
              <a:gd name="connsiteX13418" fmla="*/ 5565804 w 8267681"/>
              <a:gd name="connsiteY13418" fmla="*/ 3116843 h 6698675"/>
              <a:gd name="connsiteX13419" fmla="*/ 5571285 w 8267681"/>
              <a:gd name="connsiteY13419" fmla="*/ 3116843 h 6698675"/>
              <a:gd name="connsiteX13420" fmla="*/ 5575425 w 8267681"/>
              <a:gd name="connsiteY13420" fmla="*/ 3114081 h 6698675"/>
              <a:gd name="connsiteX13421" fmla="*/ 5578221 w 8267681"/>
              <a:gd name="connsiteY13421" fmla="*/ 3113062 h 6698675"/>
              <a:gd name="connsiteX13422" fmla="*/ 5578763 w 8267681"/>
              <a:gd name="connsiteY13422" fmla="*/ 3113010 h 6698675"/>
              <a:gd name="connsiteX13423" fmla="*/ 5580680 w 8267681"/>
              <a:gd name="connsiteY13423" fmla="*/ 3116843 h 6698675"/>
              <a:gd name="connsiteX13424" fmla="*/ 5578331 w 8267681"/>
              <a:gd name="connsiteY13424" fmla="*/ 3121535 h 6698675"/>
              <a:gd name="connsiteX13425" fmla="*/ 5580680 w 8267681"/>
              <a:gd name="connsiteY13425" fmla="*/ 3128585 h 6698675"/>
              <a:gd name="connsiteX13426" fmla="*/ 5580680 w 8267681"/>
              <a:gd name="connsiteY13426" fmla="*/ 3142680 h 6698675"/>
              <a:gd name="connsiteX13427" fmla="*/ 5583029 w 8267681"/>
              <a:gd name="connsiteY13427" fmla="*/ 3133284 h 6698675"/>
              <a:gd name="connsiteX13428" fmla="*/ 5587727 w 8267681"/>
              <a:gd name="connsiteY13428" fmla="*/ 3123887 h 6698675"/>
              <a:gd name="connsiteX13429" fmla="*/ 5594773 w 8267681"/>
              <a:gd name="connsiteY13429" fmla="*/ 3119192 h 6698675"/>
              <a:gd name="connsiteX13430" fmla="*/ 5583029 w 8267681"/>
              <a:gd name="connsiteY13430" fmla="*/ 3119192 h 6698675"/>
              <a:gd name="connsiteX13431" fmla="*/ 5587727 w 8267681"/>
              <a:gd name="connsiteY13431" fmla="*/ 3123887 h 6698675"/>
              <a:gd name="connsiteX13432" fmla="*/ 5580680 w 8267681"/>
              <a:gd name="connsiteY13432" fmla="*/ 3121535 h 6698675"/>
              <a:gd name="connsiteX13433" fmla="*/ 5587727 w 8267681"/>
              <a:gd name="connsiteY13433" fmla="*/ 3112143 h 6698675"/>
              <a:gd name="connsiteX13434" fmla="*/ 5578763 w 8267681"/>
              <a:gd name="connsiteY13434" fmla="*/ 3113010 h 6698675"/>
              <a:gd name="connsiteX13435" fmla="*/ 5578331 w 8267681"/>
              <a:gd name="connsiteY13435" fmla="*/ 3112143 h 6698675"/>
              <a:gd name="connsiteX13436" fmla="*/ 5575425 w 8267681"/>
              <a:gd name="connsiteY13436" fmla="*/ 3114081 h 6698675"/>
              <a:gd name="connsiteX13437" fmla="*/ 5575101 w 8267681"/>
              <a:gd name="connsiteY13437" fmla="*/ 3114200 h 6698675"/>
              <a:gd name="connsiteX13438" fmla="*/ 5571285 w 8267681"/>
              <a:gd name="connsiteY13438" fmla="*/ 3107447 h 6698675"/>
              <a:gd name="connsiteX13439" fmla="*/ 5580680 w 8267681"/>
              <a:gd name="connsiteY13439" fmla="*/ 3107447 h 6698675"/>
              <a:gd name="connsiteX13440" fmla="*/ 5580680 w 8267681"/>
              <a:gd name="connsiteY13440" fmla="*/ 3098053 h 6698675"/>
              <a:gd name="connsiteX13441" fmla="*/ 5571285 w 8267681"/>
              <a:gd name="connsiteY13441" fmla="*/ 3098053 h 6698675"/>
              <a:gd name="connsiteX13442" fmla="*/ 5566587 w 8267681"/>
              <a:gd name="connsiteY13442" fmla="*/ 3093357 h 6698675"/>
              <a:gd name="connsiteX13443" fmla="*/ 5566587 w 8267681"/>
              <a:gd name="connsiteY13443" fmla="*/ 3091006 h 6698675"/>
              <a:gd name="connsiteX13444" fmla="*/ 5565413 w 8267681"/>
              <a:gd name="connsiteY13444" fmla="*/ 3092179 h 6698675"/>
              <a:gd name="connsiteX13445" fmla="*/ 5564239 w 8267681"/>
              <a:gd name="connsiteY13445" fmla="*/ 3091006 h 6698675"/>
              <a:gd name="connsiteX13446" fmla="*/ 5559541 w 8267681"/>
              <a:gd name="connsiteY13446" fmla="*/ 3083956 h 6698675"/>
              <a:gd name="connsiteX13447" fmla="*/ 5557192 w 8267681"/>
              <a:gd name="connsiteY13447" fmla="*/ 3091006 h 6698675"/>
              <a:gd name="connsiteX13448" fmla="*/ 5559541 w 8267681"/>
              <a:gd name="connsiteY13448" fmla="*/ 3100401 h 6698675"/>
              <a:gd name="connsiteX13449" fmla="*/ 5557192 w 8267681"/>
              <a:gd name="connsiteY13449" fmla="*/ 3107447 h 6698675"/>
              <a:gd name="connsiteX13450" fmla="*/ 5566587 w 8267681"/>
              <a:gd name="connsiteY13450" fmla="*/ 3114494 h 6698675"/>
              <a:gd name="connsiteX13451" fmla="*/ 5565804 w 8267681"/>
              <a:gd name="connsiteY13451" fmla="*/ 3116843 h 6698675"/>
              <a:gd name="connsiteX13452" fmla="*/ 5564239 w 8267681"/>
              <a:gd name="connsiteY13452" fmla="*/ 3116843 h 6698675"/>
              <a:gd name="connsiteX13453" fmla="*/ 5565581 w 8267681"/>
              <a:gd name="connsiteY13453" fmla="*/ 3117517 h 6698675"/>
              <a:gd name="connsiteX13454" fmla="*/ 5564239 w 8267681"/>
              <a:gd name="connsiteY13454" fmla="*/ 3121535 h 6698675"/>
              <a:gd name="connsiteX13455" fmla="*/ 5559541 w 8267681"/>
              <a:gd name="connsiteY13455" fmla="*/ 3119192 h 6698675"/>
              <a:gd name="connsiteX13456" fmla="*/ 5552495 w 8267681"/>
              <a:gd name="connsiteY13456" fmla="*/ 3121535 h 6698675"/>
              <a:gd name="connsiteX13457" fmla="*/ 5545448 w 8267681"/>
              <a:gd name="connsiteY13457" fmla="*/ 3114494 h 6698675"/>
              <a:gd name="connsiteX13458" fmla="*/ 5547797 w 8267681"/>
              <a:gd name="connsiteY13458" fmla="*/ 3128585 h 6698675"/>
              <a:gd name="connsiteX13459" fmla="*/ 5552495 w 8267681"/>
              <a:gd name="connsiteY13459" fmla="*/ 3142680 h 6698675"/>
              <a:gd name="connsiteX13460" fmla="*/ 5547797 w 8267681"/>
              <a:gd name="connsiteY13460" fmla="*/ 3145031 h 6698675"/>
              <a:gd name="connsiteX13461" fmla="*/ 5552495 w 8267681"/>
              <a:gd name="connsiteY13461" fmla="*/ 3152079 h 6698675"/>
              <a:gd name="connsiteX13462" fmla="*/ 5550439 w 8267681"/>
              <a:gd name="connsiteY13462" fmla="*/ 3151490 h 6698675"/>
              <a:gd name="connsiteX13463" fmla="*/ 5550151 w 8267681"/>
              <a:gd name="connsiteY13463" fmla="*/ 3154373 h 6698675"/>
              <a:gd name="connsiteX13464" fmla="*/ 5552495 w 8267681"/>
              <a:gd name="connsiteY13464" fmla="*/ 3156717 h 6698675"/>
              <a:gd name="connsiteX13465" fmla="*/ 5550146 w 8267681"/>
              <a:gd name="connsiteY13465" fmla="*/ 3156717 h 6698675"/>
              <a:gd name="connsiteX13466" fmla="*/ 5550146 w 8267681"/>
              <a:gd name="connsiteY13466" fmla="*/ 3154423 h 6698675"/>
              <a:gd name="connsiteX13467" fmla="*/ 5552495 w 8267681"/>
              <a:gd name="connsiteY13467" fmla="*/ 3163818 h 6698675"/>
              <a:gd name="connsiteX13468" fmla="*/ 5543100 w 8267681"/>
              <a:gd name="connsiteY13468" fmla="*/ 3163818 h 6698675"/>
              <a:gd name="connsiteX13469" fmla="*/ 5545448 w 8267681"/>
              <a:gd name="connsiteY13469" fmla="*/ 3149728 h 6698675"/>
              <a:gd name="connsiteX13470" fmla="*/ 5531356 w 8267681"/>
              <a:gd name="connsiteY13470" fmla="*/ 3154423 h 6698675"/>
              <a:gd name="connsiteX13471" fmla="*/ 5531356 w 8267681"/>
              <a:gd name="connsiteY13471" fmla="*/ 3147378 h 6698675"/>
              <a:gd name="connsiteX13472" fmla="*/ 5538402 w 8267681"/>
              <a:gd name="connsiteY13472" fmla="*/ 3147378 h 6698675"/>
              <a:gd name="connsiteX13473" fmla="*/ 5526658 w 8267681"/>
              <a:gd name="connsiteY13473" fmla="*/ 3137982 h 6698675"/>
              <a:gd name="connsiteX13474" fmla="*/ 5533705 w 8267681"/>
              <a:gd name="connsiteY13474" fmla="*/ 3128585 h 6698675"/>
              <a:gd name="connsiteX13475" fmla="*/ 5519612 w 8267681"/>
              <a:gd name="connsiteY13475" fmla="*/ 3126238 h 6698675"/>
              <a:gd name="connsiteX13476" fmla="*/ 5521961 w 8267681"/>
              <a:gd name="connsiteY13476" fmla="*/ 3121535 h 6698675"/>
              <a:gd name="connsiteX13477" fmla="*/ 5512566 w 8267681"/>
              <a:gd name="connsiteY13477" fmla="*/ 3109794 h 6698675"/>
              <a:gd name="connsiteX13478" fmla="*/ 5505519 w 8267681"/>
              <a:gd name="connsiteY13478" fmla="*/ 3114494 h 6698675"/>
              <a:gd name="connsiteX13479" fmla="*/ 5505519 w 8267681"/>
              <a:gd name="connsiteY13479" fmla="*/ 3105096 h 6698675"/>
              <a:gd name="connsiteX13480" fmla="*/ 5514914 w 8267681"/>
              <a:gd name="connsiteY13480" fmla="*/ 3105096 h 6698675"/>
              <a:gd name="connsiteX13481" fmla="*/ 5510217 w 8267681"/>
              <a:gd name="connsiteY13481" fmla="*/ 3098053 h 6698675"/>
              <a:gd name="connsiteX13482" fmla="*/ 5519612 w 8267681"/>
              <a:gd name="connsiteY13482" fmla="*/ 3098053 h 6698675"/>
              <a:gd name="connsiteX13483" fmla="*/ 5526658 w 8267681"/>
              <a:gd name="connsiteY13483" fmla="*/ 3091006 h 6698675"/>
              <a:gd name="connsiteX13484" fmla="*/ 5524310 w 8267681"/>
              <a:gd name="connsiteY13484" fmla="*/ 3083956 h 6698675"/>
              <a:gd name="connsiteX13485" fmla="*/ 5526658 w 8267681"/>
              <a:gd name="connsiteY13485" fmla="*/ 3072214 h 6698675"/>
              <a:gd name="connsiteX13486" fmla="*/ 5540751 w 8267681"/>
              <a:gd name="connsiteY13486" fmla="*/ 3083956 h 6698675"/>
              <a:gd name="connsiteX13487" fmla="*/ 5536054 w 8267681"/>
              <a:gd name="connsiteY13487" fmla="*/ 3091006 h 6698675"/>
              <a:gd name="connsiteX13488" fmla="*/ 5545448 w 8267681"/>
              <a:gd name="connsiteY13488" fmla="*/ 3091006 h 6698675"/>
              <a:gd name="connsiteX13489" fmla="*/ 5540751 w 8267681"/>
              <a:gd name="connsiteY13489" fmla="*/ 3083956 h 6698675"/>
              <a:gd name="connsiteX13490" fmla="*/ 5550146 w 8267681"/>
              <a:gd name="connsiteY13490" fmla="*/ 3083956 h 6698675"/>
              <a:gd name="connsiteX13491" fmla="*/ 5557192 w 8267681"/>
              <a:gd name="connsiteY13491" fmla="*/ 3069867 h 6698675"/>
              <a:gd name="connsiteX13492" fmla="*/ 5554843 w 8267681"/>
              <a:gd name="connsiteY13492" fmla="*/ 3076910 h 6698675"/>
              <a:gd name="connsiteX13493" fmla="*/ 5559541 w 8267681"/>
              <a:gd name="connsiteY13493" fmla="*/ 3079258 h 6698675"/>
              <a:gd name="connsiteX13494" fmla="*/ 5566587 w 8267681"/>
              <a:gd name="connsiteY13494" fmla="*/ 3074565 h 6698675"/>
              <a:gd name="connsiteX13495" fmla="*/ 5578331 w 8267681"/>
              <a:gd name="connsiteY13495" fmla="*/ 3076910 h 6698675"/>
              <a:gd name="connsiteX13496" fmla="*/ 5578331 w 8267681"/>
              <a:gd name="connsiteY13496" fmla="*/ 3067516 h 6698675"/>
              <a:gd name="connsiteX13497" fmla="*/ 5568936 w 8267681"/>
              <a:gd name="connsiteY13497" fmla="*/ 3060470 h 6698675"/>
              <a:gd name="connsiteX13498" fmla="*/ 5566587 w 8267681"/>
              <a:gd name="connsiteY13498" fmla="*/ 3067516 h 6698675"/>
              <a:gd name="connsiteX13499" fmla="*/ 5565451 w 8267681"/>
              <a:gd name="connsiteY13499" fmla="*/ 3060701 h 6698675"/>
              <a:gd name="connsiteX13500" fmla="*/ 5567762 w 8267681"/>
              <a:gd name="connsiteY13500" fmla="*/ 3056654 h 6698675"/>
              <a:gd name="connsiteX13501" fmla="*/ 5578331 w 8267681"/>
              <a:gd name="connsiteY13501" fmla="*/ 3055774 h 6698675"/>
              <a:gd name="connsiteX13502" fmla="*/ 5573634 w 8267681"/>
              <a:gd name="connsiteY13502" fmla="*/ 3048727 h 6698675"/>
              <a:gd name="connsiteX13503" fmla="*/ 5587727 w 8267681"/>
              <a:gd name="connsiteY13503" fmla="*/ 3034632 h 6698675"/>
              <a:gd name="connsiteX13504" fmla="*/ 5594773 w 8267681"/>
              <a:gd name="connsiteY13504" fmla="*/ 3034632 h 6698675"/>
              <a:gd name="connsiteX13505" fmla="*/ 5604168 w 8267681"/>
              <a:gd name="connsiteY13505" fmla="*/ 3039329 h 6698675"/>
              <a:gd name="connsiteX13506" fmla="*/ 5604168 w 8267681"/>
              <a:gd name="connsiteY13506" fmla="*/ 3025237 h 6698675"/>
              <a:gd name="connsiteX13507" fmla="*/ 5587727 w 8267681"/>
              <a:gd name="connsiteY13507" fmla="*/ 3034632 h 6698675"/>
              <a:gd name="connsiteX13508" fmla="*/ 5580680 w 8267681"/>
              <a:gd name="connsiteY13508" fmla="*/ 3029934 h 6698675"/>
              <a:gd name="connsiteX13509" fmla="*/ 5585377 w 8267681"/>
              <a:gd name="connsiteY13509" fmla="*/ 3025237 h 6698675"/>
              <a:gd name="connsiteX13510" fmla="*/ 5585378 w 8267681"/>
              <a:gd name="connsiteY13510" fmla="*/ 3025237 h 6698675"/>
              <a:gd name="connsiteX13511" fmla="*/ 5590075 w 8267681"/>
              <a:gd name="connsiteY13511" fmla="*/ 3022888 h 6698675"/>
              <a:gd name="connsiteX13512" fmla="*/ 5594773 w 8267681"/>
              <a:gd name="connsiteY13512" fmla="*/ 3022888 h 6698675"/>
              <a:gd name="connsiteX13513" fmla="*/ 5604168 w 8267681"/>
              <a:gd name="connsiteY13513" fmla="*/ 3008793 h 6698675"/>
              <a:gd name="connsiteX13514" fmla="*/ 5601819 w 8267681"/>
              <a:gd name="connsiteY13514" fmla="*/ 3022888 h 6698675"/>
              <a:gd name="connsiteX13515" fmla="*/ 5613563 w 8267681"/>
              <a:gd name="connsiteY13515" fmla="*/ 3020539 h 6698675"/>
              <a:gd name="connsiteX13516" fmla="*/ 5604168 w 8267681"/>
              <a:gd name="connsiteY13516" fmla="*/ 3011144 h 6698675"/>
              <a:gd name="connsiteX13517" fmla="*/ 5611214 w 8267681"/>
              <a:gd name="connsiteY13517" fmla="*/ 3001746 h 6698675"/>
              <a:gd name="connsiteX13518" fmla="*/ 5597122 w 8267681"/>
              <a:gd name="connsiteY13518" fmla="*/ 2999398 h 6698675"/>
              <a:gd name="connsiteX13519" fmla="*/ 5597122 w 8267681"/>
              <a:gd name="connsiteY13519" fmla="*/ 3008793 h 6698675"/>
              <a:gd name="connsiteX13520" fmla="*/ 5587727 w 8267681"/>
              <a:gd name="connsiteY13520" fmla="*/ 3015844 h 6698675"/>
              <a:gd name="connsiteX13521" fmla="*/ 5590075 w 8267681"/>
              <a:gd name="connsiteY13521" fmla="*/ 3022888 h 6698675"/>
              <a:gd name="connsiteX13522" fmla="*/ 5587727 w 8267681"/>
              <a:gd name="connsiteY13522" fmla="*/ 3022888 h 6698675"/>
              <a:gd name="connsiteX13523" fmla="*/ 5585377 w 8267681"/>
              <a:gd name="connsiteY13523" fmla="*/ 3025237 h 6698675"/>
              <a:gd name="connsiteX13524" fmla="*/ 5580680 w 8267681"/>
              <a:gd name="connsiteY13524" fmla="*/ 3023671 h 6698675"/>
              <a:gd name="connsiteX13525" fmla="*/ 5580680 w 8267681"/>
              <a:gd name="connsiteY13525" fmla="*/ 3020539 h 6698675"/>
              <a:gd name="connsiteX13526" fmla="*/ 5578801 w 8267681"/>
              <a:gd name="connsiteY13526" fmla="*/ 3021478 h 6698675"/>
              <a:gd name="connsiteX13527" fmla="*/ 5580680 w 8267681"/>
              <a:gd name="connsiteY13527" fmla="*/ 3015844 h 6698675"/>
              <a:gd name="connsiteX13528" fmla="*/ 5571285 w 8267681"/>
              <a:gd name="connsiteY13528" fmla="*/ 3015844 h 6698675"/>
              <a:gd name="connsiteX13529" fmla="*/ 5585378 w 8267681"/>
              <a:gd name="connsiteY13529" fmla="*/ 3008793 h 6698675"/>
              <a:gd name="connsiteX13530" fmla="*/ 5578331 w 8267681"/>
              <a:gd name="connsiteY13530" fmla="*/ 2999398 h 6698675"/>
              <a:gd name="connsiteX13531" fmla="*/ 5568936 w 8267681"/>
              <a:gd name="connsiteY13531" fmla="*/ 2999398 h 6698675"/>
              <a:gd name="connsiteX13532" fmla="*/ 5557192 w 8267681"/>
              <a:gd name="connsiteY13532" fmla="*/ 3008793 h 6698675"/>
              <a:gd name="connsiteX13533" fmla="*/ 5559541 w 8267681"/>
              <a:gd name="connsiteY13533" fmla="*/ 3015844 h 6698675"/>
              <a:gd name="connsiteX13534" fmla="*/ 5545448 w 8267681"/>
              <a:gd name="connsiteY13534" fmla="*/ 3011144 h 6698675"/>
              <a:gd name="connsiteX13535" fmla="*/ 5547797 w 8267681"/>
              <a:gd name="connsiteY13535" fmla="*/ 3004097 h 6698675"/>
              <a:gd name="connsiteX13536" fmla="*/ 5540665 w 8267681"/>
              <a:gd name="connsiteY13536" fmla="*/ 3002691 h 6698675"/>
              <a:gd name="connsiteX13537" fmla="*/ 5540457 w 8267681"/>
              <a:gd name="connsiteY13537" fmla="*/ 3004975 h 6698675"/>
              <a:gd name="connsiteX13538" fmla="*/ 5538402 w 8267681"/>
              <a:gd name="connsiteY13538" fmla="*/ 3006440 h 6698675"/>
              <a:gd name="connsiteX13539" fmla="*/ 5536799 w 8267681"/>
              <a:gd name="connsiteY13539" fmla="*/ 3003351 h 6698675"/>
              <a:gd name="connsiteX13540" fmla="*/ 5533705 w 8267681"/>
              <a:gd name="connsiteY13540" fmla="*/ 3006446 h 6698675"/>
              <a:gd name="connsiteX13541" fmla="*/ 5533705 w 8267681"/>
              <a:gd name="connsiteY13541" fmla="*/ 2999398 h 6698675"/>
              <a:gd name="connsiteX13542" fmla="*/ 5534751 w 8267681"/>
              <a:gd name="connsiteY13542" fmla="*/ 2999398 h 6698675"/>
              <a:gd name="connsiteX13543" fmla="*/ 5534291 w 8267681"/>
              <a:gd name="connsiteY13543" fmla="*/ 2998510 h 6698675"/>
              <a:gd name="connsiteX13544" fmla="*/ 5528909 w 8267681"/>
              <a:gd name="connsiteY13544" fmla="*/ 2994166 h 6698675"/>
              <a:gd name="connsiteX13545" fmla="*/ 5526658 w 8267681"/>
              <a:gd name="connsiteY13545" fmla="*/ 2994701 h 6698675"/>
              <a:gd name="connsiteX13546" fmla="*/ 5519612 w 8267681"/>
              <a:gd name="connsiteY13546" fmla="*/ 3001746 h 6698675"/>
              <a:gd name="connsiteX13547" fmla="*/ 5521961 w 8267681"/>
              <a:gd name="connsiteY13547" fmla="*/ 3008793 h 6698675"/>
              <a:gd name="connsiteX13548" fmla="*/ 5520349 w 8267681"/>
              <a:gd name="connsiteY13548" fmla="*/ 3015242 h 6698675"/>
              <a:gd name="connsiteX13549" fmla="*/ 5520492 w 8267681"/>
              <a:gd name="connsiteY13549" fmla="*/ 3015216 h 6698675"/>
              <a:gd name="connsiteX13550" fmla="*/ 5521960 w 8267681"/>
              <a:gd name="connsiteY13550" fmla="*/ 3018152 h 6698675"/>
              <a:gd name="connsiteX13551" fmla="*/ 5519673 w 8267681"/>
              <a:gd name="connsiteY13551" fmla="*/ 3017944 h 6698675"/>
              <a:gd name="connsiteX13552" fmla="*/ 5519612 w 8267681"/>
              <a:gd name="connsiteY13552" fmla="*/ 3018191 h 6698675"/>
              <a:gd name="connsiteX13553" fmla="*/ 5529007 w 8267681"/>
              <a:gd name="connsiteY13553" fmla="*/ 3018191 h 6698675"/>
              <a:gd name="connsiteX13554" fmla="*/ 5529007 w 8267681"/>
              <a:gd name="connsiteY13554" fmla="*/ 3027570 h 6698675"/>
              <a:gd name="connsiteX13555" fmla="*/ 5529007 w 8267681"/>
              <a:gd name="connsiteY13555" fmla="*/ 3034632 h 6698675"/>
              <a:gd name="connsiteX13556" fmla="*/ 5517263 w 8267681"/>
              <a:gd name="connsiteY13556" fmla="*/ 3032284 h 6698675"/>
              <a:gd name="connsiteX13557" fmla="*/ 5516121 w 8267681"/>
              <a:gd name="connsiteY13557" fmla="*/ 3033140 h 6698675"/>
              <a:gd name="connsiteX13558" fmla="*/ 5516970 w 8267681"/>
              <a:gd name="connsiteY13558" fmla="*/ 3033748 h 6698675"/>
              <a:gd name="connsiteX13559" fmla="*/ 5517263 w 8267681"/>
              <a:gd name="connsiteY13559" fmla="*/ 3036975 h 6698675"/>
              <a:gd name="connsiteX13560" fmla="*/ 5521960 w 8267681"/>
              <a:gd name="connsiteY13560" fmla="*/ 3039324 h 6698675"/>
              <a:gd name="connsiteX13561" fmla="*/ 5519611 w 8267681"/>
              <a:gd name="connsiteY13561" fmla="*/ 3041674 h 6698675"/>
              <a:gd name="connsiteX13562" fmla="*/ 5519611 w 8267681"/>
              <a:gd name="connsiteY13562" fmla="*/ 3046370 h 6698675"/>
              <a:gd name="connsiteX13563" fmla="*/ 5521960 w 8267681"/>
              <a:gd name="connsiteY13563" fmla="*/ 3051070 h 6698675"/>
              <a:gd name="connsiteX13564" fmla="*/ 5512565 w 8267681"/>
              <a:gd name="connsiteY13564" fmla="*/ 3051070 h 6698675"/>
              <a:gd name="connsiteX13565" fmla="*/ 5510216 w 8267681"/>
              <a:gd name="connsiteY13565" fmla="*/ 3048720 h 6698675"/>
              <a:gd name="connsiteX13566" fmla="*/ 5510216 w 8267681"/>
              <a:gd name="connsiteY13566" fmla="*/ 3046370 h 6698675"/>
              <a:gd name="connsiteX13567" fmla="*/ 5505519 w 8267681"/>
              <a:gd name="connsiteY13567" fmla="*/ 3046370 h 6698675"/>
              <a:gd name="connsiteX13568" fmla="*/ 5507867 w 8267681"/>
              <a:gd name="connsiteY13568" fmla="*/ 3044024 h 6698675"/>
              <a:gd name="connsiteX13569" fmla="*/ 5503170 w 8267681"/>
              <a:gd name="connsiteY13569" fmla="*/ 3044024 h 6698675"/>
              <a:gd name="connsiteX13570" fmla="*/ 5505519 w 8267681"/>
              <a:gd name="connsiteY13570" fmla="*/ 3039324 h 6698675"/>
              <a:gd name="connsiteX13571" fmla="*/ 5503170 w 8267681"/>
              <a:gd name="connsiteY13571" fmla="*/ 3039324 h 6698675"/>
              <a:gd name="connsiteX13572" fmla="*/ 5500821 w 8267681"/>
              <a:gd name="connsiteY13572" fmla="*/ 3041674 h 6698675"/>
              <a:gd name="connsiteX13573" fmla="*/ 5498472 w 8267681"/>
              <a:gd name="connsiteY13573" fmla="*/ 3041674 h 6698675"/>
              <a:gd name="connsiteX13574" fmla="*/ 5496123 w 8267681"/>
              <a:gd name="connsiteY13574" fmla="*/ 3039324 h 6698675"/>
              <a:gd name="connsiteX13575" fmla="*/ 5496123 w 8267681"/>
              <a:gd name="connsiteY13575" fmla="*/ 3036975 h 6698675"/>
              <a:gd name="connsiteX13576" fmla="*/ 5491426 w 8267681"/>
              <a:gd name="connsiteY13576" fmla="*/ 3034626 h 6698675"/>
              <a:gd name="connsiteX13577" fmla="*/ 5491426 w 8267681"/>
              <a:gd name="connsiteY13577" fmla="*/ 3032279 h 6698675"/>
              <a:gd name="connsiteX13578" fmla="*/ 5491426 w 8267681"/>
              <a:gd name="connsiteY13578" fmla="*/ 3029930 h 6698675"/>
              <a:gd name="connsiteX13579" fmla="*/ 5491426 w 8267681"/>
              <a:gd name="connsiteY13579" fmla="*/ 3027580 h 6698675"/>
              <a:gd name="connsiteX13580" fmla="*/ 5491426 w 8267681"/>
              <a:gd name="connsiteY13580" fmla="*/ 3025230 h 6698675"/>
              <a:gd name="connsiteX13581" fmla="*/ 5493775 w 8267681"/>
              <a:gd name="connsiteY13581" fmla="*/ 3022882 h 6698675"/>
              <a:gd name="connsiteX13582" fmla="*/ 5493775 w 8267681"/>
              <a:gd name="connsiteY13582" fmla="*/ 3020533 h 6698675"/>
              <a:gd name="connsiteX13583" fmla="*/ 5496123 w 8267681"/>
              <a:gd name="connsiteY13583" fmla="*/ 3018191 h 6698675"/>
              <a:gd name="connsiteX13584" fmla="*/ 5496123 w 8267681"/>
              <a:gd name="connsiteY13584" fmla="*/ 3015837 h 6698675"/>
              <a:gd name="connsiteX13585" fmla="*/ 5496123 w 8267681"/>
              <a:gd name="connsiteY13585" fmla="*/ 3013488 h 6698675"/>
              <a:gd name="connsiteX13586" fmla="*/ 5493775 w 8267681"/>
              <a:gd name="connsiteY13586" fmla="*/ 3011139 h 6698675"/>
              <a:gd name="connsiteX13587" fmla="*/ 5493775 w 8267681"/>
              <a:gd name="connsiteY13587" fmla="*/ 3008788 h 6698675"/>
              <a:gd name="connsiteX13588" fmla="*/ 5498472 w 8267681"/>
              <a:gd name="connsiteY13588" fmla="*/ 3008788 h 6698675"/>
              <a:gd name="connsiteX13589" fmla="*/ 5500821 w 8267681"/>
              <a:gd name="connsiteY13589" fmla="*/ 3013488 h 6698675"/>
              <a:gd name="connsiteX13590" fmla="*/ 5502757 w 8267681"/>
              <a:gd name="connsiteY13590" fmla="*/ 3013488 h 6698675"/>
              <a:gd name="connsiteX13591" fmla="*/ 5502877 w 8267681"/>
              <a:gd name="connsiteY13591" fmla="*/ 3012903 h 6698675"/>
              <a:gd name="connsiteX13592" fmla="*/ 5510217 w 8267681"/>
              <a:gd name="connsiteY13592" fmla="*/ 3013494 h 6698675"/>
              <a:gd name="connsiteX13593" fmla="*/ 5517263 w 8267681"/>
              <a:gd name="connsiteY13593" fmla="*/ 3006446 h 6698675"/>
              <a:gd name="connsiteX13594" fmla="*/ 5517263 w 8267681"/>
              <a:gd name="connsiteY13594" fmla="*/ 2997047 h 6698675"/>
              <a:gd name="connsiteX13595" fmla="*/ 5507868 w 8267681"/>
              <a:gd name="connsiteY13595" fmla="*/ 2999398 h 6698675"/>
              <a:gd name="connsiteX13596" fmla="*/ 5500822 w 8267681"/>
              <a:gd name="connsiteY13596" fmla="*/ 2997047 h 6698675"/>
              <a:gd name="connsiteX13597" fmla="*/ 5503170 w 8267681"/>
              <a:gd name="connsiteY13597" fmla="*/ 2978262 h 6698675"/>
              <a:gd name="connsiteX13598" fmla="*/ 5507867 w 8267681"/>
              <a:gd name="connsiteY13598" fmla="*/ 2980276 h 6698675"/>
              <a:gd name="connsiteX13599" fmla="*/ 5507867 w 8267681"/>
              <a:gd name="connsiteY13599" fmla="*/ 2975897 h 6698675"/>
              <a:gd name="connsiteX13600" fmla="*/ 5503170 w 8267681"/>
              <a:gd name="connsiteY13600" fmla="*/ 2971207 h 6698675"/>
              <a:gd name="connsiteX13601" fmla="*/ 5507867 w 8267681"/>
              <a:gd name="connsiteY13601" fmla="*/ 2968857 h 6698675"/>
              <a:gd name="connsiteX13602" fmla="*/ 5510216 w 8267681"/>
              <a:gd name="connsiteY13602" fmla="*/ 2975897 h 6698675"/>
              <a:gd name="connsiteX13603" fmla="*/ 5509923 w 8267681"/>
              <a:gd name="connsiteY13603" fmla="*/ 2979131 h 6698675"/>
              <a:gd name="connsiteX13604" fmla="*/ 5508150 w 8267681"/>
              <a:gd name="connsiteY13604" fmla="*/ 2980398 h 6698675"/>
              <a:gd name="connsiteX13605" fmla="*/ 5519582 w 8267681"/>
              <a:gd name="connsiteY13605" fmla="*/ 2985294 h 6698675"/>
              <a:gd name="connsiteX13606" fmla="*/ 5519611 w 8267681"/>
              <a:gd name="connsiteY13606" fmla="*/ 2985303 h 6698675"/>
              <a:gd name="connsiteX13607" fmla="*/ 5519611 w 8267681"/>
              <a:gd name="connsiteY13607" fmla="*/ 2980606 h 6698675"/>
              <a:gd name="connsiteX13608" fmla="*/ 5521960 w 8267681"/>
              <a:gd name="connsiteY13608" fmla="*/ 2980606 h 6698675"/>
              <a:gd name="connsiteX13609" fmla="*/ 5522747 w 8267681"/>
              <a:gd name="connsiteY13609" fmla="*/ 2980606 h 6698675"/>
              <a:gd name="connsiteX13610" fmla="*/ 5524310 w 8267681"/>
              <a:gd name="connsiteY13610" fmla="*/ 2978262 h 6698675"/>
              <a:gd name="connsiteX13611" fmla="*/ 5533705 w 8267681"/>
              <a:gd name="connsiteY13611" fmla="*/ 2973562 h 6698675"/>
              <a:gd name="connsiteX13612" fmla="*/ 5533166 w 8267681"/>
              <a:gd name="connsiteY13612" fmla="*/ 2976798 h 6698675"/>
              <a:gd name="connsiteX13613" fmla="*/ 5536053 w 8267681"/>
              <a:gd name="connsiteY13613" fmla="*/ 2978239 h 6698675"/>
              <a:gd name="connsiteX13614" fmla="*/ 5532641 w 8267681"/>
              <a:gd name="connsiteY13614" fmla="*/ 2979946 h 6698675"/>
              <a:gd name="connsiteX13615" fmla="*/ 5531356 w 8267681"/>
              <a:gd name="connsiteY13615" fmla="*/ 2987657 h 6698675"/>
              <a:gd name="connsiteX13616" fmla="*/ 5547797 w 8267681"/>
              <a:gd name="connsiteY13616" fmla="*/ 2990010 h 6698675"/>
              <a:gd name="connsiteX13617" fmla="*/ 5547797 w 8267681"/>
              <a:gd name="connsiteY13617" fmla="*/ 2985306 h 6698675"/>
              <a:gd name="connsiteX13618" fmla="*/ 5540751 w 8267681"/>
              <a:gd name="connsiteY13618" fmla="*/ 2985306 h 6698675"/>
              <a:gd name="connsiteX13619" fmla="*/ 5546387 w 8267681"/>
              <a:gd name="connsiteY13619" fmla="*/ 2979673 h 6698675"/>
              <a:gd name="connsiteX13620" fmla="*/ 5547797 w 8267681"/>
              <a:gd name="connsiteY13620" fmla="*/ 2980609 h 6698675"/>
              <a:gd name="connsiteX13621" fmla="*/ 5549441 w 8267681"/>
              <a:gd name="connsiteY13621" fmla="*/ 2978262 h 6698675"/>
              <a:gd name="connsiteX13622" fmla="*/ 5554843 w 8267681"/>
              <a:gd name="connsiteY13622" fmla="*/ 2978262 h 6698675"/>
              <a:gd name="connsiteX13623" fmla="*/ 5554843 w 8267681"/>
              <a:gd name="connsiteY13623" fmla="*/ 2978214 h 6698675"/>
              <a:gd name="connsiteX13624" fmla="*/ 5556586 w 8267681"/>
              <a:gd name="connsiteY13624" fmla="*/ 2978214 h 6698675"/>
              <a:gd name="connsiteX13625" fmla="*/ 5549852 w 8267681"/>
              <a:gd name="connsiteY13625" fmla="*/ 2977676 h 6698675"/>
              <a:gd name="connsiteX13626" fmla="*/ 5549441 w 8267681"/>
              <a:gd name="connsiteY13626" fmla="*/ 2978262 h 6698675"/>
              <a:gd name="connsiteX13627" fmla="*/ 5547797 w 8267681"/>
              <a:gd name="connsiteY13627" fmla="*/ 2978262 h 6698675"/>
              <a:gd name="connsiteX13628" fmla="*/ 5546387 w 8267681"/>
              <a:gd name="connsiteY13628" fmla="*/ 2979673 h 6698675"/>
              <a:gd name="connsiteX13629" fmla="*/ 5540751 w 8267681"/>
              <a:gd name="connsiteY13629" fmla="*/ 2975908 h 6698675"/>
              <a:gd name="connsiteX13630" fmla="*/ 5539517 w 8267681"/>
              <a:gd name="connsiteY13630" fmla="*/ 2977557 h 6698675"/>
              <a:gd name="connsiteX13631" fmla="*/ 5538989 w 8267681"/>
              <a:gd name="connsiteY13631" fmla="*/ 2975319 h 6698675"/>
              <a:gd name="connsiteX13632" fmla="*/ 5533705 w 8267681"/>
              <a:gd name="connsiteY13632" fmla="*/ 2968869 h 6698675"/>
              <a:gd name="connsiteX13633" fmla="*/ 5538067 w 8267681"/>
              <a:gd name="connsiteY13633" fmla="*/ 2964508 h 6698675"/>
              <a:gd name="connsiteX13634" fmla="*/ 5540751 w 8267681"/>
              <a:gd name="connsiteY13634" fmla="*/ 2966520 h 6698675"/>
              <a:gd name="connsiteX13635" fmla="*/ 5545448 w 8267681"/>
              <a:gd name="connsiteY13635" fmla="*/ 2957126 h 6698675"/>
              <a:gd name="connsiteX13636" fmla="*/ 5540751 w 8267681"/>
              <a:gd name="connsiteY13636" fmla="*/ 2943031 h 6698675"/>
              <a:gd name="connsiteX13637" fmla="*/ 5554843 w 8267681"/>
              <a:gd name="connsiteY13637" fmla="*/ 2945379 h 6698675"/>
              <a:gd name="connsiteX13638" fmla="*/ 5557192 w 8267681"/>
              <a:gd name="connsiteY13638" fmla="*/ 2943031 h 6698675"/>
              <a:gd name="connsiteX13639" fmla="*/ 5550146 w 8267681"/>
              <a:gd name="connsiteY13639" fmla="*/ 2933634 h 6698675"/>
              <a:gd name="connsiteX13640" fmla="*/ 5543100 w 8267681"/>
              <a:gd name="connsiteY13640" fmla="*/ 2938332 h 6698675"/>
              <a:gd name="connsiteX13641" fmla="*/ 5538402 w 8267681"/>
              <a:gd name="connsiteY13641" fmla="*/ 2935984 h 6698675"/>
              <a:gd name="connsiteX13642" fmla="*/ 5538402 w 8267681"/>
              <a:gd name="connsiteY13642" fmla="*/ 2945379 h 6698675"/>
              <a:gd name="connsiteX13643" fmla="*/ 5536640 w 8267681"/>
              <a:gd name="connsiteY13643" fmla="*/ 2953308 h 6698675"/>
              <a:gd name="connsiteX13644" fmla="*/ 5534608 w 8267681"/>
              <a:gd name="connsiteY13644" fmla="*/ 2955681 h 6698675"/>
              <a:gd name="connsiteX13645" fmla="*/ 5524831 w 8267681"/>
              <a:gd name="connsiteY13645" fmla="*/ 2945902 h 6698675"/>
              <a:gd name="connsiteX13646" fmla="*/ 5531650 w 8267681"/>
              <a:gd name="connsiteY13646" fmla="*/ 2941563 h 6698675"/>
              <a:gd name="connsiteX13647" fmla="*/ 5529007 w 8267681"/>
              <a:gd name="connsiteY13647" fmla="*/ 2933634 h 6698675"/>
              <a:gd name="connsiteX13648" fmla="*/ 5531356 w 8267681"/>
              <a:gd name="connsiteY13648" fmla="*/ 2928937 h 6698675"/>
              <a:gd name="connsiteX13649" fmla="*/ 5538402 w 8267681"/>
              <a:gd name="connsiteY13649" fmla="*/ 2931285 h 6698675"/>
              <a:gd name="connsiteX13650" fmla="*/ 5538402 w 8267681"/>
              <a:gd name="connsiteY13650" fmla="*/ 2921889 h 6698675"/>
              <a:gd name="connsiteX13651" fmla="*/ 5531356 w 8267681"/>
              <a:gd name="connsiteY13651" fmla="*/ 2928937 h 6698675"/>
              <a:gd name="connsiteX13652" fmla="*/ 5524310 w 8267681"/>
              <a:gd name="connsiteY13652" fmla="*/ 2928937 h 6698675"/>
              <a:gd name="connsiteX13653" fmla="*/ 5522964 w 8267681"/>
              <a:gd name="connsiteY13653" fmla="*/ 2933109 h 6698675"/>
              <a:gd name="connsiteX13654" fmla="*/ 5521961 w 8267681"/>
              <a:gd name="connsiteY13654" fmla="*/ 2933634 h 6698675"/>
              <a:gd name="connsiteX13655" fmla="*/ 5514914 w 8267681"/>
              <a:gd name="connsiteY13655" fmla="*/ 2924238 h 6698675"/>
              <a:gd name="connsiteX13656" fmla="*/ 5524310 w 8267681"/>
              <a:gd name="connsiteY13656" fmla="*/ 2917191 h 6698675"/>
              <a:gd name="connsiteX13657" fmla="*/ 5526658 w 8267681"/>
              <a:gd name="connsiteY13657" fmla="*/ 2917191 h 6698675"/>
              <a:gd name="connsiteX13658" fmla="*/ 5521961 w 8267681"/>
              <a:gd name="connsiteY13658" fmla="*/ 2910142 h 6698675"/>
              <a:gd name="connsiteX13659" fmla="*/ 5520134 w 8267681"/>
              <a:gd name="connsiteY13659" fmla="*/ 2911969 h 6698675"/>
              <a:gd name="connsiteX13660" fmla="*/ 5517002 w 8267681"/>
              <a:gd name="connsiteY13660" fmla="*/ 2908054 h 6698675"/>
              <a:gd name="connsiteX13661" fmla="*/ 5521961 w 8267681"/>
              <a:gd name="connsiteY13661" fmla="*/ 2903095 h 6698675"/>
              <a:gd name="connsiteX13662" fmla="*/ 5514914 w 8267681"/>
              <a:gd name="connsiteY13662" fmla="*/ 2893699 h 6698675"/>
              <a:gd name="connsiteX13663" fmla="*/ 5517263 w 8267681"/>
              <a:gd name="connsiteY13663" fmla="*/ 2891350 h 6698675"/>
              <a:gd name="connsiteX13664" fmla="*/ 5531356 w 8267681"/>
              <a:gd name="connsiteY13664" fmla="*/ 2893699 h 6698675"/>
              <a:gd name="connsiteX13665" fmla="*/ 5531356 w 8267681"/>
              <a:gd name="connsiteY13665" fmla="*/ 2884302 h 6698675"/>
              <a:gd name="connsiteX13666" fmla="*/ 5529007 w 8267681"/>
              <a:gd name="connsiteY13666" fmla="*/ 2879605 h 6698675"/>
              <a:gd name="connsiteX13667" fmla="*/ 5529007 w 8267681"/>
              <a:gd name="connsiteY13667" fmla="*/ 2872559 h 6698675"/>
              <a:gd name="connsiteX13668" fmla="*/ 5531356 w 8267681"/>
              <a:gd name="connsiteY13668" fmla="*/ 2877259 h 6698675"/>
              <a:gd name="connsiteX13669" fmla="*/ 5538402 w 8267681"/>
              <a:gd name="connsiteY13669" fmla="*/ 2872559 h 6698675"/>
              <a:gd name="connsiteX13670" fmla="*/ 5543100 w 8267681"/>
              <a:gd name="connsiteY13670" fmla="*/ 2879605 h 6698675"/>
              <a:gd name="connsiteX13671" fmla="*/ 5547797 w 8267681"/>
              <a:gd name="connsiteY13671" fmla="*/ 2872559 h 6698675"/>
              <a:gd name="connsiteX13672" fmla="*/ 5545448 w 8267681"/>
              <a:gd name="connsiteY13672" fmla="*/ 2867859 h 6698675"/>
              <a:gd name="connsiteX13673" fmla="*/ 5538402 w 8267681"/>
              <a:gd name="connsiteY13673" fmla="*/ 2872559 h 6698675"/>
              <a:gd name="connsiteX13674" fmla="*/ 5529007 w 8267681"/>
              <a:gd name="connsiteY13674" fmla="*/ 2872559 h 6698675"/>
              <a:gd name="connsiteX13675" fmla="*/ 5521961 w 8267681"/>
              <a:gd name="connsiteY13675" fmla="*/ 2874908 h 6698675"/>
              <a:gd name="connsiteX13676" fmla="*/ 5521961 w 8267681"/>
              <a:gd name="connsiteY13676" fmla="*/ 2881957 h 6698675"/>
              <a:gd name="connsiteX13677" fmla="*/ 5519612 w 8267681"/>
              <a:gd name="connsiteY13677" fmla="*/ 2884302 h 6698675"/>
              <a:gd name="connsiteX13678" fmla="*/ 5514914 w 8267681"/>
              <a:gd name="connsiteY13678" fmla="*/ 2881957 h 6698675"/>
              <a:gd name="connsiteX13679" fmla="*/ 5514914 w 8267681"/>
              <a:gd name="connsiteY13679" fmla="*/ 2891350 h 6698675"/>
              <a:gd name="connsiteX13680" fmla="*/ 5512566 w 8267681"/>
              <a:gd name="connsiteY13680" fmla="*/ 2891350 h 6698675"/>
              <a:gd name="connsiteX13681" fmla="*/ 5507150 w 8267681"/>
              <a:gd name="connsiteY13681" fmla="*/ 2885934 h 6698675"/>
              <a:gd name="connsiteX13682" fmla="*/ 5507868 w 8267681"/>
              <a:gd name="connsiteY13682" fmla="*/ 2884302 h 6698675"/>
              <a:gd name="connsiteX13683" fmla="*/ 5505519 w 8267681"/>
              <a:gd name="connsiteY13683" fmla="*/ 2884302 h 6698675"/>
              <a:gd name="connsiteX13684" fmla="*/ 5498473 w 8267681"/>
              <a:gd name="connsiteY13684" fmla="*/ 2884302 h 6698675"/>
              <a:gd name="connsiteX13685" fmla="*/ 5503170 w 8267681"/>
              <a:gd name="connsiteY13685" fmla="*/ 2891350 h 6698675"/>
              <a:gd name="connsiteX13686" fmla="*/ 5493775 w 8267681"/>
              <a:gd name="connsiteY13686" fmla="*/ 2891350 h 6698675"/>
              <a:gd name="connsiteX13687" fmla="*/ 5496124 w 8267681"/>
              <a:gd name="connsiteY13687" fmla="*/ 2884302 h 6698675"/>
              <a:gd name="connsiteX13688" fmla="*/ 5489078 w 8267681"/>
              <a:gd name="connsiteY13688" fmla="*/ 2881957 h 6698675"/>
              <a:gd name="connsiteX13689" fmla="*/ 5493775 w 8267681"/>
              <a:gd name="connsiteY13689" fmla="*/ 2891350 h 6698675"/>
              <a:gd name="connsiteX13690" fmla="*/ 5498473 w 8267681"/>
              <a:gd name="connsiteY13690" fmla="*/ 2898397 h 6698675"/>
              <a:gd name="connsiteX13691" fmla="*/ 5484380 w 8267681"/>
              <a:gd name="connsiteY13691" fmla="*/ 2907794 h 6698675"/>
              <a:gd name="connsiteX13692" fmla="*/ 5500822 w 8267681"/>
              <a:gd name="connsiteY13692" fmla="*/ 2900746 h 6698675"/>
              <a:gd name="connsiteX13693" fmla="*/ 5503170 w 8267681"/>
              <a:gd name="connsiteY13693" fmla="*/ 2907794 h 6698675"/>
              <a:gd name="connsiteX13694" fmla="*/ 5505519 w 8267681"/>
              <a:gd name="connsiteY13694" fmla="*/ 2917191 h 6698675"/>
              <a:gd name="connsiteX13695" fmla="*/ 5498473 w 8267681"/>
              <a:gd name="connsiteY13695" fmla="*/ 2919539 h 6698675"/>
              <a:gd name="connsiteX13696" fmla="*/ 5493775 w 8267681"/>
              <a:gd name="connsiteY13696" fmla="*/ 2912491 h 6698675"/>
              <a:gd name="connsiteX13697" fmla="*/ 5482032 w 8267681"/>
              <a:gd name="connsiteY13697" fmla="*/ 2921889 h 6698675"/>
              <a:gd name="connsiteX13698" fmla="*/ 5474985 w 8267681"/>
              <a:gd name="connsiteY13698" fmla="*/ 2921889 h 6698675"/>
              <a:gd name="connsiteX13699" fmla="*/ 5482032 w 8267681"/>
              <a:gd name="connsiteY13699" fmla="*/ 2914842 h 6698675"/>
              <a:gd name="connsiteX13700" fmla="*/ 5463241 w 8267681"/>
              <a:gd name="connsiteY13700" fmla="*/ 2898397 h 6698675"/>
              <a:gd name="connsiteX13701" fmla="*/ 5458544 w 8267681"/>
              <a:gd name="connsiteY13701" fmla="*/ 2907794 h 6698675"/>
              <a:gd name="connsiteX13702" fmla="*/ 5467939 w 8267681"/>
              <a:gd name="connsiteY13702" fmla="*/ 2912491 h 6698675"/>
              <a:gd name="connsiteX13703" fmla="*/ 5460892 w 8267681"/>
              <a:gd name="connsiteY13703" fmla="*/ 2917191 h 6698675"/>
              <a:gd name="connsiteX13704" fmla="*/ 5474985 w 8267681"/>
              <a:gd name="connsiteY13704" fmla="*/ 2921889 h 6698675"/>
              <a:gd name="connsiteX13705" fmla="*/ 5477334 w 8267681"/>
              <a:gd name="connsiteY13705" fmla="*/ 2928937 h 6698675"/>
              <a:gd name="connsiteX13706" fmla="*/ 5491427 w 8267681"/>
              <a:gd name="connsiteY13706" fmla="*/ 2926587 h 6698675"/>
              <a:gd name="connsiteX13707" fmla="*/ 5491427 w 8267681"/>
              <a:gd name="connsiteY13707" fmla="*/ 2919539 h 6698675"/>
              <a:gd name="connsiteX13708" fmla="*/ 5498473 w 8267681"/>
              <a:gd name="connsiteY13708" fmla="*/ 2919539 h 6698675"/>
              <a:gd name="connsiteX13709" fmla="*/ 5493775 w 8267681"/>
              <a:gd name="connsiteY13709" fmla="*/ 2926587 h 6698675"/>
              <a:gd name="connsiteX13710" fmla="*/ 5503464 w 8267681"/>
              <a:gd name="connsiteY13710" fmla="*/ 2932753 h 6698675"/>
              <a:gd name="connsiteX13711" fmla="*/ 5507835 w 8267681"/>
              <a:gd name="connsiteY13711" fmla="*/ 2940623 h 6698675"/>
              <a:gd name="connsiteX13712" fmla="*/ 5507867 w 8267681"/>
              <a:gd name="connsiteY13712" fmla="*/ 2940655 h 6698675"/>
              <a:gd name="connsiteX13713" fmla="*/ 5507856 w 8267681"/>
              <a:gd name="connsiteY13713" fmla="*/ 2940661 h 6698675"/>
              <a:gd name="connsiteX13714" fmla="*/ 5507868 w 8267681"/>
              <a:gd name="connsiteY13714" fmla="*/ 2940682 h 6698675"/>
              <a:gd name="connsiteX13715" fmla="*/ 5517263 w 8267681"/>
              <a:gd name="connsiteY13715" fmla="*/ 2940682 h 6698675"/>
              <a:gd name="connsiteX13716" fmla="*/ 5507607 w 8267681"/>
              <a:gd name="connsiteY13716" fmla="*/ 2952271 h 6698675"/>
              <a:gd name="connsiteX13717" fmla="*/ 5507867 w 8267681"/>
              <a:gd name="connsiteY13717" fmla="*/ 2952401 h 6698675"/>
              <a:gd name="connsiteX13718" fmla="*/ 5507234 w 8267681"/>
              <a:gd name="connsiteY13718" fmla="*/ 2952717 h 6698675"/>
              <a:gd name="connsiteX13719" fmla="*/ 5505519 w 8267681"/>
              <a:gd name="connsiteY13719" fmla="*/ 2954777 h 6698675"/>
              <a:gd name="connsiteX13720" fmla="*/ 5507868 w 8267681"/>
              <a:gd name="connsiteY13720" fmla="*/ 2959475 h 6698675"/>
              <a:gd name="connsiteX13721" fmla="*/ 5507868 w 8267681"/>
              <a:gd name="connsiteY13721" fmla="*/ 2966520 h 6698675"/>
              <a:gd name="connsiteX13722" fmla="*/ 5498473 w 8267681"/>
              <a:gd name="connsiteY13722" fmla="*/ 2973562 h 6698675"/>
              <a:gd name="connsiteX13723" fmla="*/ 5493775 w 8267681"/>
              <a:gd name="connsiteY13723" fmla="*/ 2966520 h 6698675"/>
              <a:gd name="connsiteX13724" fmla="*/ 5496190 w 8267681"/>
              <a:gd name="connsiteY13724" fmla="*/ 2966520 h 6698675"/>
              <a:gd name="connsiteX13725" fmla="*/ 5496124 w 8267681"/>
              <a:gd name="connsiteY13725" fmla="*/ 2966487 h 6698675"/>
              <a:gd name="connsiteX13726" fmla="*/ 5498473 w 8267681"/>
              <a:gd name="connsiteY13726" fmla="*/ 2964138 h 6698675"/>
              <a:gd name="connsiteX13727" fmla="*/ 5499664 w 8267681"/>
              <a:gd name="connsiteY13727" fmla="*/ 2966520 h 6698675"/>
              <a:gd name="connsiteX13728" fmla="*/ 5500822 w 8267681"/>
              <a:gd name="connsiteY13728" fmla="*/ 2966520 h 6698675"/>
              <a:gd name="connsiteX13729" fmla="*/ 5493775 w 8267681"/>
              <a:gd name="connsiteY13729" fmla="*/ 2954777 h 6698675"/>
              <a:gd name="connsiteX13730" fmla="*/ 5503170 w 8267681"/>
              <a:gd name="connsiteY13730" fmla="*/ 2947729 h 6698675"/>
              <a:gd name="connsiteX13731" fmla="*/ 5503170 w 8267681"/>
              <a:gd name="connsiteY13731" fmla="*/ 2938332 h 6698675"/>
              <a:gd name="connsiteX13732" fmla="*/ 5479683 w 8267681"/>
              <a:gd name="connsiteY13732" fmla="*/ 2938332 h 6698675"/>
              <a:gd name="connsiteX13733" fmla="*/ 5479683 w 8267681"/>
              <a:gd name="connsiteY13733" fmla="*/ 2940682 h 6698675"/>
              <a:gd name="connsiteX13734" fmla="*/ 5489078 w 8267681"/>
              <a:gd name="connsiteY13734" fmla="*/ 2940682 h 6698675"/>
              <a:gd name="connsiteX13735" fmla="*/ 5482032 w 8267681"/>
              <a:gd name="connsiteY13735" fmla="*/ 2950079 h 6698675"/>
              <a:gd name="connsiteX13736" fmla="*/ 5472636 w 8267681"/>
              <a:gd name="connsiteY13736" fmla="*/ 2943031 h 6698675"/>
              <a:gd name="connsiteX13737" fmla="*/ 5477334 w 8267681"/>
              <a:gd name="connsiteY13737" fmla="*/ 2935984 h 6698675"/>
              <a:gd name="connsiteX13738" fmla="*/ 5463241 w 8267681"/>
              <a:gd name="connsiteY13738" fmla="*/ 2943031 h 6698675"/>
              <a:gd name="connsiteX13739" fmla="*/ 5456195 w 8267681"/>
              <a:gd name="connsiteY13739" fmla="*/ 2940682 h 6698675"/>
              <a:gd name="connsiteX13740" fmla="*/ 5453846 w 8267681"/>
              <a:gd name="connsiteY13740" fmla="*/ 2924238 h 6698675"/>
              <a:gd name="connsiteX13741" fmla="*/ 5449148 w 8267681"/>
              <a:gd name="connsiteY13741" fmla="*/ 2931285 h 6698675"/>
              <a:gd name="connsiteX13742" fmla="*/ 5453846 w 8267681"/>
              <a:gd name="connsiteY13742" fmla="*/ 2938332 h 6698675"/>
              <a:gd name="connsiteX13743" fmla="*/ 5449148 w 8267681"/>
              <a:gd name="connsiteY13743" fmla="*/ 2940682 h 6698675"/>
              <a:gd name="connsiteX13744" fmla="*/ 5442102 w 8267681"/>
              <a:gd name="connsiteY13744" fmla="*/ 2931285 h 6698675"/>
              <a:gd name="connsiteX13745" fmla="*/ 5425661 w 8267681"/>
              <a:gd name="connsiteY13745" fmla="*/ 2938332 h 6698675"/>
              <a:gd name="connsiteX13746" fmla="*/ 5425661 w 8267681"/>
              <a:gd name="connsiteY13746" fmla="*/ 2931285 h 6698675"/>
              <a:gd name="connsiteX13747" fmla="*/ 5418615 w 8267681"/>
              <a:gd name="connsiteY13747" fmla="*/ 2931285 h 6698675"/>
              <a:gd name="connsiteX13748" fmla="*/ 5428010 w 8267681"/>
              <a:gd name="connsiteY13748" fmla="*/ 2928937 h 6698675"/>
              <a:gd name="connsiteX13749" fmla="*/ 5428010 w 8267681"/>
              <a:gd name="connsiteY13749" fmla="*/ 2921889 h 6698675"/>
              <a:gd name="connsiteX13750" fmla="*/ 5430359 w 8267681"/>
              <a:gd name="connsiteY13750" fmla="*/ 2924238 h 6698675"/>
              <a:gd name="connsiteX13751" fmla="*/ 5437405 w 8267681"/>
              <a:gd name="connsiteY13751" fmla="*/ 2910142 h 6698675"/>
              <a:gd name="connsiteX13752" fmla="*/ 5435056 w 8267681"/>
              <a:gd name="connsiteY13752" fmla="*/ 2903095 h 6698675"/>
              <a:gd name="connsiteX13753" fmla="*/ 5437405 w 8267681"/>
              <a:gd name="connsiteY13753" fmla="*/ 2898397 h 6698675"/>
              <a:gd name="connsiteX13754" fmla="*/ 5437405 w 8267681"/>
              <a:gd name="connsiteY13754" fmla="*/ 2896048 h 6698675"/>
              <a:gd name="connsiteX13755" fmla="*/ 5438579 w 8267681"/>
              <a:gd name="connsiteY13755" fmla="*/ 2896048 h 6698675"/>
              <a:gd name="connsiteX13756" fmla="*/ 5439753 w 8267681"/>
              <a:gd name="connsiteY13756" fmla="*/ 2900746 h 6698675"/>
              <a:gd name="connsiteX13757" fmla="*/ 5446800 w 8267681"/>
              <a:gd name="connsiteY13757" fmla="*/ 2889000 h 6698675"/>
              <a:gd name="connsiteX13758" fmla="*/ 5439753 w 8267681"/>
              <a:gd name="connsiteY13758" fmla="*/ 2896048 h 6698675"/>
              <a:gd name="connsiteX13759" fmla="*/ 5438579 w 8267681"/>
              <a:gd name="connsiteY13759" fmla="*/ 2896048 h 6698675"/>
              <a:gd name="connsiteX13760" fmla="*/ 5437405 w 8267681"/>
              <a:gd name="connsiteY13760" fmla="*/ 2891350 h 6698675"/>
              <a:gd name="connsiteX13761" fmla="*/ 5437405 w 8267681"/>
              <a:gd name="connsiteY13761" fmla="*/ 2896048 h 6698675"/>
              <a:gd name="connsiteX13762" fmla="*/ 5432707 w 8267681"/>
              <a:gd name="connsiteY13762" fmla="*/ 2896048 h 6698675"/>
              <a:gd name="connsiteX13763" fmla="*/ 5425661 w 8267681"/>
              <a:gd name="connsiteY13763" fmla="*/ 2905444 h 6698675"/>
              <a:gd name="connsiteX13764" fmla="*/ 5425661 w 8267681"/>
              <a:gd name="connsiteY13764" fmla="*/ 2898397 h 6698675"/>
              <a:gd name="connsiteX13765" fmla="*/ 5416853 w 8267681"/>
              <a:gd name="connsiteY13765" fmla="*/ 2900158 h 6698675"/>
              <a:gd name="connsiteX13766" fmla="*/ 5414700 w 8267681"/>
              <a:gd name="connsiteY13766" fmla="*/ 2899440 h 6698675"/>
              <a:gd name="connsiteX13767" fmla="*/ 5417440 w 8267681"/>
              <a:gd name="connsiteY13767" fmla="*/ 2894873 h 6698675"/>
              <a:gd name="connsiteX13768" fmla="*/ 5413917 w 8267681"/>
              <a:gd name="connsiteY13768" fmla="*/ 2889000 h 6698675"/>
              <a:gd name="connsiteX13769" fmla="*/ 5404522 w 8267681"/>
              <a:gd name="connsiteY13769" fmla="*/ 2900746 h 6698675"/>
              <a:gd name="connsiteX13770" fmla="*/ 5397475 w 8267681"/>
              <a:gd name="connsiteY13770" fmla="*/ 2893699 h 6698675"/>
              <a:gd name="connsiteX13771" fmla="*/ 5390429 w 8267681"/>
              <a:gd name="connsiteY13771" fmla="*/ 2896048 h 6698675"/>
              <a:gd name="connsiteX13772" fmla="*/ 5383383 w 8267681"/>
              <a:gd name="connsiteY13772" fmla="*/ 2886652 h 6698675"/>
              <a:gd name="connsiteX13773" fmla="*/ 5376337 w 8267681"/>
              <a:gd name="connsiteY13773" fmla="*/ 2891350 h 6698675"/>
              <a:gd name="connsiteX13774" fmla="*/ 5376337 w 8267681"/>
              <a:gd name="connsiteY13774" fmla="*/ 2879605 h 6698675"/>
              <a:gd name="connsiteX13775" fmla="*/ 5385731 w 8267681"/>
              <a:gd name="connsiteY13775" fmla="*/ 2879605 h 6698675"/>
              <a:gd name="connsiteX13776" fmla="*/ 5383383 w 8267681"/>
              <a:gd name="connsiteY13776" fmla="*/ 2884302 h 6698675"/>
              <a:gd name="connsiteX13777" fmla="*/ 5390429 w 8267681"/>
              <a:gd name="connsiteY13777" fmla="*/ 2891350 h 6698675"/>
              <a:gd name="connsiteX13778" fmla="*/ 5397475 w 8267681"/>
              <a:gd name="connsiteY13778" fmla="*/ 2889000 h 6698675"/>
              <a:gd name="connsiteX13779" fmla="*/ 5406871 w 8267681"/>
              <a:gd name="connsiteY13779" fmla="*/ 2893699 h 6698675"/>
              <a:gd name="connsiteX13780" fmla="*/ 5390429 w 8267681"/>
              <a:gd name="connsiteY13780" fmla="*/ 2874908 h 6698675"/>
              <a:gd name="connsiteX13781" fmla="*/ 5376337 w 8267681"/>
              <a:gd name="connsiteY13781" fmla="*/ 2877259 h 6698675"/>
              <a:gd name="connsiteX13782" fmla="*/ 5373596 w 8267681"/>
              <a:gd name="connsiteY13782" fmla="*/ 2877259 h 6698675"/>
              <a:gd name="connsiteX13783" fmla="*/ 5371639 w 8267681"/>
              <a:gd name="connsiteY13783" fmla="*/ 2865511 h 6698675"/>
              <a:gd name="connsiteX13784" fmla="*/ 5364593 w 8267681"/>
              <a:gd name="connsiteY13784" fmla="*/ 2865511 h 6698675"/>
              <a:gd name="connsiteX13785" fmla="*/ 5364973 w 8267681"/>
              <a:gd name="connsiteY13785" fmla="*/ 2870209 h 6698675"/>
              <a:gd name="connsiteX13786" fmla="*/ 5362244 w 8267681"/>
              <a:gd name="connsiteY13786" fmla="*/ 2870209 h 6698675"/>
              <a:gd name="connsiteX13787" fmla="*/ 5362244 w 8267681"/>
              <a:gd name="connsiteY13787" fmla="*/ 2877259 h 6698675"/>
              <a:gd name="connsiteX13788" fmla="*/ 5345802 w 8267681"/>
              <a:gd name="connsiteY13788" fmla="*/ 2874908 h 6698675"/>
              <a:gd name="connsiteX13789" fmla="*/ 5345802 w 8267681"/>
              <a:gd name="connsiteY13789" fmla="*/ 2884302 h 6698675"/>
              <a:gd name="connsiteX13790" fmla="*/ 5357546 w 8267681"/>
              <a:gd name="connsiteY13790" fmla="*/ 2898397 h 6698675"/>
              <a:gd name="connsiteX13791" fmla="*/ 5350542 w 8267681"/>
              <a:gd name="connsiteY13791" fmla="*/ 2898397 h 6698675"/>
              <a:gd name="connsiteX13792" fmla="*/ 5355197 w 8267681"/>
              <a:gd name="connsiteY13792" fmla="*/ 2900724 h 6698675"/>
              <a:gd name="connsiteX13793" fmla="*/ 5352848 w 8267681"/>
              <a:gd name="connsiteY13793" fmla="*/ 2903074 h 6698675"/>
              <a:gd name="connsiteX13794" fmla="*/ 5348151 w 8267681"/>
              <a:gd name="connsiteY13794" fmla="*/ 2900724 h 6698675"/>
              <a:gd name="connsiteX13795" fmla="*/ 5350478 w 8267681"/>
              <a:gd name="connsiteY13795" fmla="*/ 2898397 h 6698675"/>
              <a:gd name="connsiteX13796" fmla="*/ 5348151 w 8267681"/>
              <a:gd name="connsiteY13796" fmla="*/ 2898397 h 6698675"/>
              <a:gd name="connsiteX13797" fmla="*/ 5338756 w 8267681"/>
              <a:gd name="connsiteY13797" fmla="*/ 2910142 h 6698675"/>
              <a:gd name="connsiteX13798" fmla="*/ 5327012 w 8267681"/>
              <a:gd name="connsiteY13798" fmla="*/ 2914842 h 6698675"/>
              <a:gd name="connsiteX13799" fmla="*/ 5322315 w 8267681"/>
              <a:gd name="connsiteY13799" fmla="*/ 2907794 h 6698675"/>
              <a:gd name="connsiteX13800" fmla="*/ 5338756 w 8267681"/>
              <a:gd name="connsiteY13800" fmla="*/ 2900746 h 6698675"/>
              <a:gd name="connsiteX13801" fmla="*/ 5322315 w 8267681"/>
              <a:gd name="connsiteY13801" fmla="*/ 2898397 h 6698675"/>
              <a:gd name="connsiteX13802" fmla="*/ 5322315 w 8267681"/>
              <a:gd name="connsiteY13802" fmla="*/ 2907794 h 6698675"/>
              <a:gd name="connsiteX13803" fmla="*/ 5315268 w 8267681"/>
              <a:gd name="connsiteY13803" fmla="*/ 2905444 h 6698675"/>
              <a:gd name="connsiteX13804" fmla="*/ 5310593 w 8267681"/>
              <a:gd name="connsiteY13804" fmla="*/ 2910120 h 6698675"/>
              <a:gd name="connsiteX13805" fmla="*/ 5312919 w 8267681"/>
              <a:gd name="connsiteY13805" fmla="*/ 2912446 h 6698675"/>
              <a:gd name="connsiteX13806" fmla="*/ 5310570 w 8267681"/>
              <a:gd name="connsiteY13806" fmla="*/ 2912446 h 6698675"/>
              <a:gd name="connsiteX13807" fmla="*/ 5310570 w 8267681"/>
              <a:gd name="connsiteY13807" fmla="*/ 2910143 h 6698675"/>
              <a:gd name="connsiteX13808" fmla="*/ 5308222 w 8267681"/>
              <a:gd name="connsiteY13808" fmla="*/ 2912491 h 6698675"/>
              <a:gd name="connsiteX13809" fmla="*/ 5294129 w 8267681"/>
              <a:gd name="connsiteY13809" fmla="*/ 2905444 h 6698675"/>
              <a:gd name="connsiteX13810" fmla="*/ 5305873 w 8267681"/>
              <a:gd name="connsiteY13810" fmla="*/ 2896048 h 6698675"/>
              <a:gd name="connsiteX13811" fmla="*/ 5301176 w 8267681"/>
              <a:gd name="connsiteY13811" fmla="*/ 2889000 h 6698675"/>
              <a:gd name="connsiteX13812" fmla="*/ 5308222 w 8267681"/>
              <a:gd name="connsiteY13812" fmla="*/ 2889000 h 6698675"/>
              <a:gd name="connsiteX13813" fmla="*/ 5308222 w 8267681"/>
              <a:gd name="connsiteY13813" fmla="*/ 2879605 h 6698675"/>
              <a:gd name="connsiteX13814" fmla="*/ 5301176 w 8267681"/>
              <a:gd name="connsiteY13814" fmla="*/ 2879605 h 6698675"/>
              <a:gd name="connsiteX13815" fmla="*/ 5301176 w 8267681"/>
              <a:gd name="connsiteY13815" fmla="*/ 2889000 h 6698675"/>
              <a:gd name="connsiteX13816" fmla="*/ 5294129 w 8267681"/>
              <a:gd name="connsiteY13816" fmla="*/ 2889000 h 6698675"/>
              <a:gd name="connsiteX13817" fmla="*/ 5287083 w 8267681"/>
              <a:gd name="connsiteY13817" fmla="*/ 2874908 h 6698675"/>
              <a:gd name="connsiteX13818" fmla="*/ 5296478 w 8267681"/>
              <a:gd name="connsiteY13818" fmla="*/ 2874908 h 6698675"/>
              <a:gd name="connsiteX13819" fmla="*/ 5289432 w 8267681"/>
              <a:gd name="connsiteY13819" fmla="*/ 2870209 h 6698675"/>
              <a:gd name="connsiteX13820" fmla="*/ 5284734 w 8267681"/>
              <a:gd name="connsiteY13820" fmla="*/ 2877259 h 6698675"/>
              <a:gd name="connsiteX13821" fmla="*/ 5280036 w 8267681"/>
              <a:gd name="connsiteY13821" fmla="*/ 2879605 h 6698675"/>
              <a:gd name="connsiteX13822" fmla="*/ 5277688 w 8267681"/>
              <a:gd name="connsiteY13822" fmla="*/ 2884302 h 6698675"/>
              <a:gd name="connsiteX13823" fmla="*/ 5270641 w 8267681"/>
              <a:gd name="connsiteY13823" fmla="*/ 2881957 h 6698675"/>
              <a:gd name="connsiteX13824" fmla="*/ 5275339 w 8267681"/>
              <a:gd name="connsiteY13824" fmla="*/ 2900746 h 6698675"/>
              <a:gd name="connsiteX13825" fmla="*/ 5261246 w 8267681"/>
              <a:gd name="connsiteY13825" fmla="*/ 2893699 h 6698675"/>
              <a:gd name="connsiteX13826" fmla="*/ 5261246 w 8267681"/>
              <a:gd name="connsiteY13826" fmla="*/ 2900746 h 6698675"/>
              <a:gd name="connsiteX13827" fmla="*/ 5244805 w 8267681"/>
              <a:gd name="connsiteY13827" fmla="*/ 2886652 h 6698675"/>
              <a:gd name="connsiteX13828" fmla="*/ 5244805 w 8267681"/>
              <a:gd name="connsiteY13828" fmla="*/ 2877259 h 6698675"/>
              <a:gd name="connsiteX13829" fmla="*/ 5230712 w 8267681"/>
              <a:gd name="connsiteY13829" fmla="*/ 2881957 h 6698675"/>
              <a:gd name="connsiteX13830" fmla="*/ 5230712 w 8267681"/>
              <a:gd name="connsiteY13830" fmla="*/ 2872559 h 6698675"/>
              <a:gd name="connsiteX13831" fmla="*/ 5214271 w 8267681"/>
              <a:gd name="connsiteY13831" fmla="*/ 2879605 h 6698675"/>
              <a:gd name="connsiteX13832" fmla="*/ 5207225 w 8267681"/>
              <a:gd name="connsiteY13832" fmla="*/ 2874908 h 6698675"/>
              <a:gd name="connsiteX13833" fmla="*/ 5200177 w 8267681"/>
              <a:gd name="connsiteY13833" fmla="*/ 2880195 h 6698675"/>
              <a:gd name="connsiteX13834" fmla="*/ 5200177 w 8267681"/>
              <a:gd name="connsiteY13834" fmla="*/ 2881943 h 6698675"/>
              <a:gd name="connsiteX13835" fmla="*/ 5200177 w 8267681"/>
              <a:gd name="connsiteY13835" fmla="*/ 2886638 h 6698675"/>
              <a:gd name="connsiteX13836" fmla="*/ 5198459 w 8267681"/>
              <a:gd name="connsiteY13836" fmla="*/ 2881482 h 6698675"/>
              <a:gd name="connsiteX13837" fmla="*/ 5197829 w 8267681"/>
              <a:gd name="connsiteY13837" fmla="*/ 2881957 h 6698675"/>
              <a:gd name="connsiteX13838" fmla="*/ 5193132 w 8267681"/>
              <a:gd name="connsiteY13838" fmla="*/ 2879605 h 6698675"/>
              <a:gd name="connsiteX13839" fmla="*/ 5195481 w 8267681"/>
              <a:gd name="connsiteY13839" fmla="*/ 2870209 h 6698675"/>
              <a:gd name="connsiteX13840" fmla="*/ 5201940 w 8267681"/>
              <a:gd name="connsiteY13840" fmla="*/ 2868447 h 6698675"/>
              <a:gd name="connsiteX13841" fmla="*/ 5202369 w 8267681"/>
              <a:gd name="connsiteY13841" fmla="*/ 2867673 h 6698675"/>
              <a:gd name="connsiteX13842" fmla="*/ 5200178 w 8267681"/>
              <a:gd name="connsiteY13842" fmla="*/ 2865481 h 6698675"/>
              <a:gd name="connsiteX13843" fmla="*/ 5202496 w 8267681"/>
              <a:gd name="connsiteY13843" fmla="*/ 2863162 h 6698675"/>
              <a:gd name="connsiteX13844" fmla="*/ 5195481 w 8267681"/>
              <a:gd name="connsiteY13844" fmla="*/ 2863162 h 6698675"/>
              <a:gd name="connsiteX13845" fmla="*/ 5197829 w 8267681"/>
              <a:gd name="connsiteY13845" fmla="*/ 2856119 h 6698675"/>
              <a:gd name="connsiteX13846" fmla="*/ 5186085 w 8267681"/>
              <a:gd name="connsiteY13846" fmla="*/ 2858471 h 6698675"/>
              <a:gd name="connsiteX13847" fmla="*/ 5179039 w 8267681"/>
              <a:gd name="connsiteY13847" fmla="*/ 2853769 h 6698675"/>
              <a:gd name="connsiteX13848" fmla="*/ 5174341 w 8267681"/>
              <a:gd name="connsiteY13848" fmla="*/ 2856119 h 6698675"/>
              <a:gd name="connsiteX13849" fmla="*/ 5183737 w 8267681"/>
              <a:gd name="connsiteY13849" fmla="*/ 2867859 h 6698675"/>
              <a:gd name="connsiteX13850" fmla="*/ 5169644 w 8267681"/>
              <a:gd name="connsiteY13850" fmla="*/ 2872559 h 6698675"/>
              <a:gd name="connsiteX13851" fmla="*/ 5162598 w 8267681"/>
              <a:gd name="connsiteY13851" fmla="*/ 2849069 h 6698675"/>
              <a:gd name="connsiteX13852" fmla="*/ 5146156 w 8267681"/>
              <a:gd name="connsiteY13852" fmla="*/ 2849069 h 6698675"/>
              <a:gd name="connsiteX13853" fmla="*/ 5164946 w 8267681"/>
              <a:gd name="connsiteY13853" fmla="*/ 2881957 h 6698675"/>
              <a:gd name="connsiteX13854" fmla="*/ 5164946 w 8267681"/>
              <a:gd name="connsiteY13854" fmla="*/ 2891350 h 6698675"/>
              <a:gd name="connsiteX13855" fmla="*/ 5155551 w 8267681"/>
              <a:gd name="connsiteY13855" fmla="*/ 2891350 h 6698675"/>
              <a:gd name="connsiteX13856" fmla="*/ 5149972 w 8267681"/>
              <a:gd name="connsiteY13856" fmla="*/ 2890762 h 6698675"/>
              <a:gd name="connsiteX13857" fmla="*/ 5147222 w 8267681"/>
              <a:gd name="connsiteY13857" fmla="*/ 2892878 h 6698675"/>
              <a:gd name="connsiteX13858" fmla="*/ 5155550 w 8267681"/>
              <a:gd name="connsiteY13858" fmla="*/ 2917189 h 6698675"/>
              <a:gd name="connsiteX13859" fmla="*/ 5200177 w 8267681"/>
              <a:gd name="connsiteY13859" fmla="*/ 2957125 h 6698675"/>
              <a:gd name="connsiteX13860" fmla="*/ 5216618 w 8267681"/>
              <a:gd name="connsiteY13860" fmla="*/ 2950078 h 6698675"/>
              <a:gd name="connsiteX13861" fmla="*/ 5207223 w 8267681"/>
              <a:gd name="connsiteY13861" fmla="*/ 2973560 h 6698675"/>
              <a:gd name="connsiteX13862" fmla="*/ 5254199 w 8267681"/>
              <a:gd name="connsiteY13862" fmla="*/ 2992354 h 6698675"/>
              <a:gd name="connsiteX13863" fmla="*/ 5218967 w 8267681"/>
              <a:gd name="connsiteY13863" fmla="*/ 3093357 h 6698675"/>
              <a:gd name="connsiteX13864" fmla="*/ 5186084 w 8267681"/>
              <a:gd name="connsiteY13864" fmla="*/ 3107447 h 6698675"/>
              <a:gd name="connsiteX13865" fmla="*/ 5181597 w 8267681"/>
              <a:gd name="connsiteY13865" fmla="*/ 3126160 h 6698675"/>
              <a:gd name="connsiteX13866" fmla="*/ 5184324 w 8267681"/>
              <a:gd name="connsiteY13866" fmla="*/ 3125616 h 6698675"/>
              <a:gd name="connsiteX13867" fmla="*/ 5183737 w 8267681"/>
              <a:gd name="connsiteY13867" fmla="*/ 3128553 h 6698675"/>
              <a:gd name="connsiteX13868" fmla="*/ 5181388 w 8267681"/>
              <a:gd name="connsiteY13868" fmla="*/ 3130901 h 6698675"/>
              <a:gd name="connsiteX13869" fmla="*/ 5181388 w 8267681"/>
              <a:gd name="connsiteY13869" fmla="*/ 3127033 h 6698675"/>
              <a:gd name="connsiteX13870" fmla="*/ 5177717 w 8267681"/>
              <a:gd name="connsiteY13870" fmla="*/ 3142348 h 6698675"/>
              <a:gd name="connsiteX13871" fmla="*/ 5159660 w 8267681"/>
              <a:gd name="connsiteY13871" fmla="*/ 3180556 h 6698675"/>
              <a:gd name="connsiteX13872" fmla="*/ 5156100 w 8267681"/>
              <a:gd name="connsiteY13872" fmla="*/ 3186401 h 6698675"/>
              <a:gd name="connsiteX13873" fmla="*/ 5157900 w 8267681"/>
              <a:gd name="connsiteY13873" fmla="*/ 3187304 h 6698675"/>
              <a:gd name="connsiteX13874" fmla="*/ 5153202 w 8267681"/>
              <a:gd name="connsiteY13874" fmla="*/ 3192003 h 6698675"/>
              <a:gd name="connsiteX13875" fmla="*/ 5152691 w 8267681"/>
              <a:gd name="connsiteY13875" fmla="*/ 3192003 h 6698675"/>
              <a:gd name="connsiteX13876" fmla="*/ 5137200 w 8267681"/>
              <a:gd name="connsiteY13876" fmla="*/ 3217440 h 6698675"/>
              <a:gd name="connsiteX13877" fmla="*/ 5115620 w 8267681"/>
              <a:gd name="connsiteY13877" fmla="*/ 3248384 h 6698675"/>
              <a:gd name="connsiteX13878" fmla="*/ 5101528 w 8267681"/>
              <a:gd name="connsiteY13878" fmla="*/ 3297674 h 6698675"/>
              <a:gd name="connsiteX13879" fmla="*/ 5117969 w 8267681"/>
              <a:gd name="connsiteY13879" fmla="*/ 3358712 h 6698675"/>
              <a:gd name="connsiteX13880" fmla="*/ 5094482 w 8267681"/>
              <a:gd name="connsiteY13880" fmla="*/ 3368107 h 6698675"/>
              <a:gd name="connsiteX13881" fmla="*/ 5125016 w 8267681"/>
              <a:gd name="connsiteY13881" fmla="*/ 3393943 h 6698675"/>
              <a:gd name="connsiteX13882" fmla="*/ 5122667 w 8267681"/>
              <a:gd name="connsiteY13882" fmla="*/ 3365758 h 6698675"/>
              <a:gd name="connsiteX13883" fmla="*/ 5153201 w 8267681"/>
              <a:gd name="connsiteY13883" fmla="*/ 3391595 h 6698675"/>
              <a:gd name="connsiteX13884" fmla="*/ 5200177 w 8267681"/>
              <a:gd name="connsiteY13884" fmla="*/ 3377502 h 6698675"/>
              <a:gd name="connsiteX13885" fmla="*/ 5221316 w 8267681"/>
              <a:gd name="connsiteY13885" fmla="*/ 3325857 h 6698675"/>
              <a:gd name="connsiteX13886" fmla="*/ 5237757 w 8267681"/>
              <a:gd name="connsiteY13886" fmla="*/ 3365758 h 6698675"/>
              <a:gd name="connsiteX13887" fmla="*/ 5277686 w 8267681"/>
              <a:gd name="connsiteY13887" fmla="*/ 3619426 h 6698675"/>
              <a:gd name="connsiteX13888" fmla="*/ 5277686 w 8267681"/>
              <a:gd name="connsiteY13888" fmla="*/ 3687541 h 6698675"/>
              <a:gd name="connsiteX13889" fmla="*/ 5303523 w 8267681"/>
              <a:gd name="connsiteY13889" fmla="*/ 3725121 h 6698675"/>
              <a:gd name="connsiteX13890" fmla="*/ 5280035 w 8267681"/>
              <a:gd name="connsiteY13890" fmla="*/ 3748609 h 6698675"/>
              <a:gd name="connsiteX13891" fmla="*/ 5282384 w 8267681"/>
              <a:gd name="connsiteY13891" fmla="*/ 3729819 h 6698675"/>
              <a:gd name="connsiteX13892" fmla="*/ 5244803 w 8267681"/>
              <a:gd name="connsiteY13892" fmla="*/ 3788538 h 6698675"/>
              <a:gd name="connsiteX13893" fmla="*/ 5247152 w 8267681"/>
              <a:gd name="connsiteY13893" fmla="*/ 3769748 h 6698675"/>
              <a:gd name="connsiteX13894" fmla="*/ 5272989 w 8267681"/>
              <a:gd name="connsiteY13894" fmla="*/ 3753307 h 6698675"/>
              <a:gd name="connsiteX13895" fmla="*/ 5240106 w 8267681"/>
              <a:gd name="connsiteY13895" fmla="*/ 3753307 h 6698675"/>
              <a:gd name="connsiteX13896" fmla="*/ 5242455 w 8267681"/>
              <a:gd name="connsiteY13896" fmla="*/ 3734516 h 6698675"/>
              <a:gd name="connsiteX13897" fmla="*/ 5228362 w 8267681"/>
              <a:gd name="connsiteY13897" fmla="*/ 3802631 h 6698675"/>
              <a:gd name="connsiteX13898" fmla="*/ 5223664 w 8267681"/>
              <a:gd name="connsiteY13898" fmla="*/ 3767399 h 6698675"/>
              <a:gd name="connsiteX13899" fmla="*/ 5186084 w 8267681"/>
              <a:gd name="connsiteY13899" fmla="*/ 3779143 h 6698675"/>
              <a:gd name="connsiteX13900" fmla="*/ 5204874 w 8267681"/>
              <a:gd name="connsiteY13900" fmla="*/ 3868397 h 6698675"/>
              <a:gd name="connsiteX13901" fmla="*/ 5157899 w 8267681"/>
              <a:gd name="connsiteY13901" fmla="*/ 3849607 h 6698675"/>
              <a:gd name="connsiteX13902" fmla="*/ 5174340 w 8267681"/>
              <a:gd name="connsiteY13902" fmla="*/ 3842560 h 6698675"/>
              <a:gd name="connsiteX13903" fmla="*/ 5171991 w 8267681"/>
              <a:gd name="connsiteY13903" fmla="*/ 3814375 h 6698675"/>
              <a:gd name="connsiteX13904" fmla="*/ 5132062 w 8267681"/>
              <a:gd name="connsiteY13904" fmla="*/ 3812026 h 6698675"/>
              <a:gd name="connsiteX13905" fmla="*/ 5139108 w 8267681"/>
              <a:gd name="connsiteY13905" fmla="*/ 3760353 h 6698675"/>
              <a:gd name="connsiteX13906" fmla="*/ 5087435 w 8267681"/>
              <a:gd name="connsiteY13906" fmla="*/ 3753307 h 6698675"/>
              <a:gd name="connsiteX13907" fmla="*/ 5075691 w 8267681"/>
              <a:gd name="connsiteY13907" fmla="*/ 3795585 h 6698675"/>
              <a:gd name="connsiteX13908" fmla="*/ 5056901 w 8267681"/>
              <a:gd name="connsiteY13908" fmla="*/ 3774445 h 6698675"/>
              <a:gd name="connsiteX13909" fmla="*/ 5042809 w 8267681"/>
              <a:gd name="connsiteY13909" fmla="*/ 3809677 h 6698675"/>
              <a:gd name="connsiteX13910" fmla="*/ 5056901 w 8267681"/>
              <a:gd name="connsiteY13910" fmla="*/ 3795585 h 6698675"/>
              <a:gd name="connsiteX13911" fmla="*/ 5028716 w 8267681"/>
              <a:gd name="connsiteY13911" fmla="*/ 3866048 h 6698675"/>
              <a:gd name="connsiteX13912" fmla="*/ 5049855 w 8267681"/>
              <a:gd name="connsiteY13912" fmla="*/ 3882489 h 6698675"/>
              <a:gd name="connsiteX13913" fmla="*/ 5063947 w 8267681"/>
              <a:gd name="connsiteY13913" fmla="*/ 3868397 h 6698675"/>
              <a:gd name="connsiteX13914" fmla="*/ 5075691 w 8267681"/>
              <a:gd name="connsiteY13914" fmla="*/ 3920070 h 6698675"/>
              <a:gd name="connsiteX13915" fmla="*/ 5096830 w 8267681"/>
              <a:gd name="connsiteY13915" fmla="*/ 3915372 h 6698675"/>
              <a:gd name="connsiteX13916" fmla="*/ 5094482 w 8267681"/>
              <a:gd name="connsiteY13916" fmla="*/ 4002277 h 6698675"/>
              <a:gd name="connsiteX13917" fmla="*/ 5110923 w 8267681"/>
              <a:gd name="connsiteY13917" fmla="*/ 4009323 h 6698675"/>
              <a:gd name="connsiteX13918" fmla="*/ 5120318 w 8267681"/>
              <a:gd name="connsiteY13918" fmla="*/ 3938860 h 6698675"/>
              <a:gd name="connsiteX13919" fmla="*/ 5129713 w 8267681"/>
              <a:gd name="connsiteY13919" fmla="*/ 3997579 h 6698675"/>
              <a:gd name="connsiteX13920" fmla="*/ 5146155 w 8267681"/>
              <a:gd name="connsiteY13920" fmla="*/ 3990533 h 6698675"/>
              <a:gd name="connsiteX13921" fmla="*/ 5153201 w 8267681"/>
              <a:gd name="connsiteY13921" fmla="*/ 4075089 h 6698675"/>
              <a:gd name="connsiteX13922" fmla="*/ 5136760 w 8267681"/>
              <a:gd name="connsiteY13922" fmla="*/ 4082136 h 6698675"/>
              <a:gd name="connsiteX13923" fmla="*/ 5139108 w 8267681"/>
              <a:gd name="connsiteY13923" fmla="*/ 4042206 h 6698675"/>
              <a:gd name="connsiteX13924" fmla="*/ 5085086 w 8267681"/>
              <a:gd name="connsiteY13924" fmla="*/ 4060997 h 6698675"/>
              <a:gd name="connsiteX13925" fmla="*/ 5080389 w 8267681"/>
              <a:gd name="connsiteY13925" fmla="*/ 4039857 h 6698675"/>
              <a:gd name="connsiteX13926" fmla="*/ 5101528 w 8267681"/>
              <a:gd name="connsiteY13926" fmla="*/ 4068043 h 6698675"/>
              <a:gd name="connsiteX13927" fmla="*/ 5096830 w 8267681"/>
              <a:gd name="connsiteY13927" fmla="*/ 4126762 h 6698675"/>
              <a:gd name="connsiteX13928" fmla="*/ 5103556 w 8267681"/>
              <a:gd name="connsiteY13928" fmla="*/ 4112572 h 6698675"/>
              <a:gd name="connsiteX13929" fmla="*/ 5108574 w 8267681"/>
              <a:gd name="connsiteY13929" fmla="*/ 4117367 h 6698675"/>
              <a:gd name="connsiteX13930" fmla="*/ 5115620 w 8267681"/>
              <a:gd name="connsiteY13930" fmla="*/ 4115018 h 6698675"/>
              <a:gd name="connsiteX13931" fmla="*/ 5120318 w 8267681"/>
              <a:gd name="connsiteY13931" fmla="*/ 4103274 h 6698675"/>
              <a:gd name="connsiteX13932" fmla="*/ 5111547 w 8267681"/>
              <a:gd name="connsiteY13932" fmla="*/ 4098209 h 6698675"/>
              <a:gd name="connsiteX13933" fmla="*/ 5108268 w 8267681"/>
              <a:gd name="connsiteY13933" fmla="*/ 4100655 h 6698675"/>
              <a:gd name="connsiteX13934" fmla="*/ 5111217 w 8267681"/>
              <a:gd name="connsiteY13934" fmla="*/ 4088888 h 6698675"/>
              <a:gd name="connsiteX13935" fmla="*/ 5106226 w 8267681"/>
              <a:gd name="connsiteY13935" fmla="*/ 4056299 h 6698675"/>
              <a:gd name="connsiteX13936" fmla="*/ 5129713 w 8267681"/>
              <a:gd name="connsiteY13936" fmla="*/ 4065694 h 6698675"/>
              <a:gd name="connsiteX13937" fmla="*/ 5141457 w 8267681"/>
              <a:gd name="connsiteY13937" fmla="*/ 4117367 h 6698675"/>
              <a:gd name="connsiteX13938" fmla="*/ 5120318 w 8267681"/>
              <a:gd name="connsiteY13938" fmla="*/ 4136157 h 6698675"/>
              <a:gd name="connsiteX13939" fmla="*/ 5153201 w 8267681"/>
              <a:gd name="connsiteY13939" fmla="*/ 4157296 h 6698675"/>
              <a:gd name="connsiteX13940" fmla="*/ 5141457 w 8267681"/>
              <a:gd name="connsiteY13940" fmla="*/ 4220713 h 6698675"/>
              <a:gd name="connsiteX13941" fmla="*/ 5148504 w 8267681"/>
              <a:gd name="connsiteY13941" fmla="*/ 4251248 h 6698675"/>
              <a:gd name="connsiteX13942" fmla="*/ 5122667 w 8267681"/>
              <a:gd name="connsiteY13942" fmla="*/ 4450894 h 6698675"/>
              <a:gd name="connsiteX13943" fmla="*/ 5167294 w 8267681"/>
              <a:gd name="connsiteY13943" fmla="*/ 4760933 h 6698675"/>
              <a:gd name="connsiteX13944" fmla="*/ 5200177 w 8267681"/>
              <a:gd name="connsiteY13944" fmla="*/ 4861930 h 6698675"/>
              <a:gd name="connsiteX13945" fmla="*/ 5235408 w 8267681"/>
              <a:gd name="connsiteY13945" fmla="*/ 4876023 h 6698675"/>
              <a:gd name="connsiteX13946" fmla="*/ 5251850 w 8267681"/>
              <a:gd name="connsiteY13946" fmla="*/ 4868976 h 6698675"/>
              <a:gd name="connsiteX13947" fmla="*/ 5218967 w 8267681"/>
              <a:gd name="connsiteY13947" fmla="*/ 4847838 h 6698675"/>
              <a:gd name="connsiteX13948" fmla="*/ 5277686 w 8267681"/>
              <a:gd name="connsiteY13948" fmla="*/ 4817303 h 6698675"/>
              <a:gd name="connsiteX13949" fmla="*/ 5298825 w 8267681"/>
              <a:gd name="connsiteY13949" fmla="*/ 4833745 h 6698675"/>
              <a:gd name="connsiteX13950" fmla="*/ 5317616 w 8267681"/>
              <a:gd name="connsiteY13950" fmla="*/ 4807908 h 6698675"/>
              <a:gd name="connsiteX13951" fmla="*/ 5315267 w 8267681"/>
              <a:gd name="connsiteY13951" fmla="*/ 4826698 h 6698675"/>
              <a:gd name="connsiteX13952" fmla="*/ 5422361 w 8267681"/>
              <a:gd name="connsiteY13952" fmla="*/ 4819565 h 6698675"/>
              <a:gd name="connsiteX13953" fmla="*/ 5424462 w 8267681"/>
              <a:gd name="connsiteY13953" fmla="*/ 4817646 h 6698675"/>
              <a:gd name="connsiteX13954" fmla="*/ 5426908 w 8267681"/>
              <a:gd name="connsiteY13954" fmla="*/ 4818771 h 6698675"/>
              <a:gd name="connsiteX13955" fmla="*/ 5442101 w 8267681"/>
              <a:gd name="connsiteY13955" fmla="*/ 4805560 h 6698675"/>
              <a:gd name="connsiteX13956" fmla="*/ 5436932 w 8267681"/>
              <a:gd name="connsiteY13956" fmla="*/ 4803344 h 6698675"/>
              <a:gd name="connsiteX13957" fmla="*/ 5442848 w 8267681"/>
              <a:gd name="connsiteY13957" fmla="*/ 4788196 h 6698675"/>
              <a:gd name="connsiteX13958" fmla="*/ 5444449 w 8267681"/>
              <a:gd name="connsiteY13958" fmla="*/ 4758584 h 6698675"/>
              <a:gd name="connsiteX13959" fmla="*/ 5459130 w 8267681"/>
              <a:gd name="connsiteY13959" fmla="*/ 4786182 h 6698675"/>
              <a:gd name="connsiteX13960" fmla="*/ 5454506 w 8267681"/>
              <a:gd name="connsiteY13960" fmla="*/ 4796428 h 6698675"/>
              <a:gd name="connsiteX13961" fmla="*/ 5453845 w 8267681"/>
              <a:gd name="connsiteY13961" fmla="*/ 4796164 h 6698675"/>
              <a:gd name="connsiteX13962" fmla="*/ 5449147 w 8267681"/>
              <a:gd name="connsiteY13962" fmla="*/ 4807908 h 6698675"/>
              <a:gd name="connsiteX13963" fmla="*/ 5460891 w 8267681"/>
              <a:gd name="connsiteY13963" fmla="*/ 4812606 h 6698675"/>
              <a:gd name="connsiteX13964" fmla="*/ 5465589 w 8267681"/>
              <a:gd name="connsiteY13964" fmla="*/ 4800862 h 6698675"/>
              <a:gd name="connsiteX13965" fmla="*/ 5463310 w 8267681"/>
              <a:gd name="connsiteY13965" fmla="*/ 4799950 h 6698675"/>
              <a:gd name="connsiteX13966" fmla="*/ 5467901 w 8267681"/>
              <a:gd name="connsiteY13966" fmla="*/ 4793301 h 6698675"/>
              <a:gd name="connsiteX13967" fmla="*/ 5465589 w 8267681"/>
              <a:gd name="connsiteY13967" fmla="*/ 4739794 h 6698675"/>
              <a:gd name="connsiteX13968" fmla="*/ 5483388 w 8267681"/>
              <a:gd name="connsiteY13968" fmla="*/ 4732307 h 6698675"/>
              <a:gd name="connsiteX13969" fmla="*/ 5485653 w 8267681"/>
              <a:gd name="connsiteY13969" fmla="*/ 4730296 h 6698675"/>
              <a:gd name="connsiteX13970" fmla="*/ 5481150 w 8267681"/>
              <a:gd name="connsiteY13970" fmla="*/ 4736857 h 6698675"/>
              <a:gd name="connsiteX13971" fmla="*/ 5484379 w 8267681"/>
              <a:gd name="connsiteY13971" fmla="*/ 4753886 h 6698675"/>
              <a:gd name="connsiteX13972" fmla="*/ 5505518 w 8267681"/>
              <a:gd name="connsiteY13972" fmla="*/ 4735096 h 6698675"/>
              <a:gd name="connsiteX13973" fmla="*/ 5496123 w 8267681"/>
              <a:gd name="connsiteY13973" fmla="*/ 4791467 h 6698675"/>
              <a:gd name="connsiteX13974" fmla="*/ 5477333 w 8267681"/>
              <a:gd name="connsiteY13974" fmla="*/ 4770328 h 6698675"/>
              <a:gd name="connsiteX13975" fmla="*/ 5503169 w 8267681"/>
              <a:gd name="connsiteY13975" fmla="*/ 4807908 h 6698675"/>
              <a:gd name="connsiteX13976" fmla="*/ 5543098 w 8267681"/>
              <a:gd name="connsiteY13976" fmla="*/ 4810257 h 6698675"/>
              <a:gd name="connsiteX13977" fmla="*/ 5529006 w 8267681"/>
              <a:gd name="connsiteY13977" fmla="*/ 4777374 h 6698675"/>
              <a:gd name="connsiteX13978" fmla="*/ 5554842 w 8267681"/>
              <a:gd name="connsiteY13978" fmla="*/ 4732747 h 6698675"/>
              <a:gd name="connsiteX13979" fmla="*/ 5510215 w 8267681"/>
              <a:gd name="connsiteY13979" fmla="*/ 4742143 h 6698675"/>
              <a:gd name="connsiteX13980" fmla="*/ 5517262 w 8267681"/>
              <a:gd name="connsiteY13980" fmla="*/ 4725701 h 6698675"/>
              <a:gd name="connsiteX13981" fmla="*/ 5498105 w 8267681"/>
              <a:gd name="connsiteY13981" fmla="*/ 4722728 h 6698675"/>
              <a:gd name="connsiteX13982" fmla="*/ 5496634 w 8267681"/>
              <a:gd name="connsiteY13982" fmla="*/ 4720547 h 6698675"/>
              <a:gd name="connsiteX13983" fmla="*/ 5498765 w 8267681"/>
              <a:gd name="connsiteY13983" fmla="*/ 4718655 h 6698675"/>
              <a:gd name="connsiteX13984" fmla="*/ 5526657 w 8267681"/>
              <a:gd name="connsiteY13984" fmla="*/ 4704562 h 6698675"/>
              <a:gd name="connsiteX13985" fmla="*/ 5543098 w 8267681"/>
              <a:gd name="connsiteY13985" fmla="*/ 4683423 h 6698675"/>
              <a:gd name="connsiteX13986" fmla="*/ 5599469 w 8267681"/>
              <a:gd name="connsiteY13986" fmla="*/ 4594169 h 6698675"/>
              <a:gd name="connsiteX13987" fmla="*/ 5785022 w 8267681"/>
              <a:gd name="connsiteY13987" fmla="*/ 4638796 h 6698675"/>
              <a:gd name="connsiteX13988" fmla="*/ 5787371 w 8267681"/>
              <a:gd name="connsiteY13988" fmla="*/ 4655237 h 6698675"/>
              <a:gd name="connsiteX13989" fmla="*/ 5801464 w 8267681"/>
              <a:gd name="connsiteY13989" fmla="*/ 4645843 h 6698675"/>
              <a:gd name="connsiteX13990" fmla="*/ 5914206 w 8267681"/>
              <a:gd name="connsiteY13990" fmla="*/ 4689295 h 6698675"/>
              <a:gd name="connsiteX13991" fmla="*/ 5999451 w 8267681"/>
              <a:gd name="connsiteY13991" fmla="*/ 4730023 h 6698675"/>
              <a:gd name="connsiteX13992" fmla="*/ 5998761 w 8267681"/>
              <a:gd name="connsiteY13992" fmla="*/ 4730399 h 6698675"/>
              <a:gd name="connsiteX13993" fmla="*/ 6010505 w 8267681"/>
              <a:gd name="connsiteY13993" fmla="*/ 4749189 h 6698675"/>
              <a:gd name="connsiteX13994" fmla="*/ 6010739 w 8267681"/>
              <a:gd name="connsiteY13994" fmla="*/ 4735416 h 6698675"/>
              <a:gd name="connsiteX13995" fmla="*/ 6019901 w 8267681"/>
              <a:gd name="connsiteY13995" fmla="*/ 4739794 h 6698675"/>
              <a:gd name="connsiteX13996" fmla="*/ 6052783 w 8267681"/>
              <a:gd name="connsiteY13996" fmla="*/ 4744491 h 6698675"/>
              <a:gd name="connsiteX13997" fmla="*/ 6029296 w 8267681"/>
              <a:gd name="connsiteY13997" fmla="*/ 4742143 h 6698675"/>
              <a:gd name="connsiteX13998" fmla="*/ 6071573 w 8267681"/>
              <a:gd name="connsiteY13998" fmla="*/ 4772676 h 6698675"/>
              <a:gd name="connsiteX13999" fmla="*/ 6090364 w 8267681"/>
              <a:gd name="connsiteY13999" fmla="*/ 4765630 h 6698675"/>
              <a:gd name="connsiteX14000" fmla="*/ 6088015 w 8267681"/>
              <a:gd name="connsiteY14000" fmla="*/ 4800862 h 6698675"/>
              <a:gd name="connsiteX14001" fmla="*/ 6088015 w 8267681"/>
              <a:gd name="connsiteY14001" fmla="*/ 4833745 h 6698675"/>
              <a:gd name="connsiteX14002" fmla="*/ 6095061 w 8267681"/>
              <a:gd name="connsiteY14002" fmla="*/ 4814955 h 6698675"/>
              <a:gd name="connsiteX14003" fmla="*/ 6097410 w 8267681"/>
              <a:gd name="connsiteY14003" fmla="*/ 4817303 h 6698675"/>
              <a:gd name="connsiteX14004" fmla="*/ 6092712 w 8267681"/>
              <a:gd name="connsiteY14004" fmla="*/ 4782072 h 6698675"/>
              <a:gd name="connsiteX14005" fmla="*/ 6112530 w 8267681"/>
              <a:gd name="connsiteY14005" fmla="*/ 4770841 h 6698675"/>
              <a:gd name="connsiteX14006" fmla="*/ 6116160 w 8267681"/>
              <a:gd name="connsiteY14006" fmla="*/ 4770532 h 6698675"/>
              <a:gd name="connsiteX14007" fmla="*/ 6113852 w 8267681"/>
              <a:gd name="connsiteY14007" fmla="*/ 4782072 h 6698675"/>
              <a:gd name="connsiteX14008" fmla="*/ 6104456 w 8267681"/>
              <a:gd name="connsiteY14008" fmla="*/ 4789118 h 6698675"/>
              <a:gd name="connsiteX14009" fmla="*/ 6106805 w 8267681"/>
              <a:gd name="connsiteY14009" fmla="*/ 4810257 h 6698675"/>
              <a:gd name="connsiteX14010" fmla="*/ 6113852 w 8267681"/>
              <a:gd name="connsiteY14010" fmla="*/ 4803211 h 6698675"/>
              <a:gd name="connsiteX14011" fmla="*/ 6123247 w 8267681"/>
              <a:gd name="connsiteY14011" fmla="*/ 4819652 h 6698675"/>
              <a:gd name="connsiteX14012" fmla="*/ 6123247 w 8267681"/>
              <a:gd name="connsiteY14012" fmla="*/ 4793816 h 6698675"/>
              <a:gd name="connsiteX14013" fmla="*/ 6127944 w 8267681"/>
              <a:gd name="connsiteY14013" fmla="*/ 4793816 h 6698675"/>
              <a:gd name="connsiteX14014" fmla="*/ 6149083 w 8267681"/>
              <a:gd name="connsiteY14014" fmla="*/ 4864279 h 6698675"/>
              <a:gd name="connsiteX14015" fmla="*/ 6139688 w 8267681"/>
              <a:gd name="connsiteY14015" fmla="*/ 4850186 h 6698675"/>
              <a:gd name="connsiteX14016" fmla="*/ 6144386 w 8267681"/>
              <a:gd name="connsiteY14016" fmla="*/ 4873674 h 6698675"/>
              <a:gd name="connsiteX14017" fmla="*/ 6156129 w 8267681"/>
              <a:gd name="connsiteY14017" fmla="*/ 4871325 h 6698675"/>
              <a:gd name="connsiteX14018" fmla="*/ 6156129 w 8267681"/>
              <a:gd name="connsiteY14018" fmla="*/ 4953533 h 6698675"/>
              <a:gd name="connsiteX14019" fmla="*/ 6125596 w 8267681"/>
              <a:gd name="connsiteY14019" fmla="*/ 4857233 h 6698675"/>
              <a:gd name="connsiteX14020" fmla="*/ 6127944 w 8267681"/>
              <a:gd name="connsiteY14020" fmla="*/ 4918301 h 6698675"/>
              <a:gd name="connsiteX14021" fmla="*/ 6130293 w 8267681"/>
              <a:gd name="connsiteY14021" fmla="*/ 4958230 h 6698675"/>
              <a:gd name="connsiteX14022" fmla="*/ 6111503 w 8267681"/>
              <a:gd name="connsiteY14022" fmla="*/ 5005206 h 6698675"/>
              <a:gd name="connsiteX14023" fmla="*/ 6095061 w 8267681"/>
              <a:gd name="connsiteY14023" fmla="*/ 4981718 h 6698675"/>
              <a:gd name="connsiteX14024" fmla="*/ 6104456 w 8267681"/>
              <a:gd name="connsiteY14024" fmla="*/ 5052181 h 6698675"/>
              <a:gd name="connsiteX14025" fmla="*/ 6097410 w 8267681"/>
              <a:gd name="connsiteY14025" fmla="*/ 5052181 h 6698675"/>
              <a:gd name="connsiteX14026" fmla="*/ 6104456 w 8267681"/>
              <a:gd name="connsiteY14026" fmla="*/ 5085064 h 6698675"/>
              <a:gd name="connsiteX14027" fmla="*/ 6088015 w 8267681"/>
              <a:gd name="connsiteY14027" fmla="*/ 5040437 h 6698675"/>
              <a:gd name="connsiteX14028" fmla="*/ 6076271 w 8267681"/>
              <a:gd name="connsiteY14028" fmla="*/ 5049832 h 6698675"/>
              <a:gd name="connsiteX14029" fmla="*/ 6085666 w 8267681"/>
              <a:gd name="connsiteY14029" fmla="*/ 5082715 h 6698675"/>
              <a:gd name="connsiteX14030" fmla="*/ 6062178 w 8267681"/>
              <a:gd name="connsiteY14030" fmla="*/ 5045135 h 6698675"/>
              <a:gd name="connsiteX14031" fmla="*/ 6055132 w 8267681"/>
              <a:gd name="connsiteY14031" fmla="*/ 5056879 h 6698675"/>
              <a:gd name="connsiteX14032" fmla="*/ 6033993 w 8267681"/>
              <a:gd name="connsiteY14032" fmla="*/ 5026345 h 6698675"/>
              <a:gd name="connsiteX14033" fmla="*/ 6045737 w 8267681"/>
              <a:gd name="connsiteY14033" fmla="*/ 5073320 h 6698675"/>
              <a:gd name="connsiteX14034" fmla="*/ 6019901 w 8267681"/>
              <a:gd name="connsiteY14034" fmla="*/ 5019298 h 6698675"/>
              <a:gd name="connsiteX14035" fmla="*/ 6019901 w 8267681"/>
              <a:gd name="connsiteY14035" fmla="*/ 5066274 h 6698675"/>
              <a:gd name="connsiteX14036" fmla="*/ 6029296 w 8267681"/>
              <a:gd name="connsiteY14036" fmla="*/ 5136737 h 6698675"/>
              <a:gd name="connsiteX14037" fmla="*/ 6019901 w 8267681"/>
              <a:gd name="connsiteY14037" fmla="*/ 5162574 h 6698675"/>
              <a:gd name="connsiteX14038" fmla="*/ 6001110 w 8267681"/>
              <a:gd name="connsiteY14038" fmla="*/ 5092110 h 6698675"/>
              <a:gd name="connsiteX14039" fmla="*/ 6001110 w 8267681"/>
              <a:gd name="connsiteY14039" fmla="*/ 5129691 h 6698675"/>
              <a:gd name="connsiteX14040" fmla="*/ 5940042 w 8267681"/>
              <a:gd name="connsiteY14040" fmla="*/ 4974672 h 6698675"/>
              <a:gd name="connsiteX14041" fmla="*/ 5958832 w 8267681"/>
              <a:gd name="connsiteY14041" fmla="*/ 5045135 h 6698675"/>
              <a:gd name="connsiteX14042" fmla="*/ 5893066 w 8267681"/>
              <a:gd name="connsiteY14042" fmla="*/ 4913603 h 6698675"/>
              <a:gd name="connsiteX14043" fmla="*/ 5902461 w 8267681"/>
              <a:gd name="connsiteY14043" fmla="*/ 4918301 h 6698675"/>
              <a:gd name="connsiteX14044" fmla="*/ 5789720 w 8267681"/>
              <a:gd name="connsiteY14044" fmla="*/ 4796164 h 6698675"/>
              <a:gd name="connsiteX14045" fmla="*/ 5890717 w 8267681"/>
              <a:gd name="connsiteY14045" fmla="*/ 4913603 h 6698675"/>
              <a:gd name="connsiteX14046" fmla="*/ 5867230 w 8267681"/>
              <a:gd name="connsiteY14046" fmla="*/ 4897162 h 6698675"/>
              <a:gd name="connsiteX14047" fmla="*/ 5921252 w 8267681"/>
              <a:gd name="connsiteY14047" fmla="*/ 4993462 h 6698675"/>
              <a:gd name="connsiteX14048" fmla="*/ 5836695 w 8267681"/>
              <a:gd name="connsiteY14048" fmla="*/ 4876023 h 6698675"/>
              <a:gd name="connsiteX14049" fmla="*/ 5829649 w 8267681"/>
              <a:gd name="connsiteY14049" fmla="*/ 4854884 h 6698675"/>
              <a:gd name="connsiteX14050" fmla="*/ 5827300 w 8267681"/>
              <a:gd name="connsiteY14050" fmla="*/ 4866628 h 6698675"/>
              <a:gd name="connsiteX14051" fmla="*/ 5747442 w 8267681"/>
              <a:gd name="connsiteY14051" fmla="*/ 4805560 h 6698675"/>
              <a:gd name="connsiteX14052" fmla="*/ 5890717 w 8267681"/>
              <a:gd name="connsiteY14052" fmla="*/ 4969974 h 6698675"/>
              <a:gd name="connsiteX14053" fmla="*/ 5900113 w 8267681"/>
              <a:gd name="connsiteY14053" fmla="*/ 4993462 h 6698675"/>
              <a:gd name="connsiteX14054" fmla="*/ 5803813 w 8267681"/>
              <a:gd name="connsiteY14054" fmla="*/ 4892464 h 6698675"/>
              <a:gd name="connsiteX14055" fmla="*/ 5803813 w 8267681"/>
              <a:gd name="connsiteY14055" fmla="*/ 4892464 h 6698675"/>
              <a:gd name="connsiteX14056" fmla="*/ 5789720 w 8267681"/>
              <a:gd name="connsiteY14056" fmla="*/ 4878371 h 6698675"/>
              <a:gd name="connsiteX14057" fmla="*/ 5738047 w 8267681"/>
              <a:gd name="connsiteY14057" fmla="*/ 4829047 h 6698675"/>
              <a:gd name="connsiteX14058" fmla="*/ 5775627 w 8267681"/>
              <a:gd name="connsiteY14058" fmla="*/ 4876023 h 6698675"/>
              <a:gd name="connsiteX14059" fmla="*/ 5759186 w 8267681"/>
              <a:gd name="connsiteY14059" fmla="*/ 4876023 h 6698675"/>
              <a:gd name="connsiteX14060" fmla="*/ 5745093 w 8267681"/>
              <a:gd name="connsiteY14060" fmla="*/ 4861930 h 6698675"/>
              <a:gd name="connsiteX14061" fmla="*/ 5716908 w 8267681"/>
              <a:gd name="connsiteY14061" fmla="*/ 4819652 h 6698675"/>
              <a:gd name="connsiteX14062" fmla="*/ 5712210 w 8267681"/>
              <a:gd name="connsiteY14062" fmla="*/ 4829047 h 6698675"/>
              <a:gd name="connsiteX14063" fmla="*/ 5691071 w 8267681"/>
              <a:gd name="connsiteY14063" fmla="*/ 4807908 h 6698675"/>
              <a:gd name="connsiteX14064" fmla="*/ 5684025 w 8267681"/>
              <a:gd name="connsiteY14064" fmla="*/ 4798513 h 6698675"/>
              <a:gd name="connsiteX14065" fmla="*/ 5684025 w 8267681"/>
              <a:gd name="connsiteY14065" fmla="*/ 4800862 h 6698675"/>
              <a:gd name="connsiteX14066" fmla="*/ 5679327 w 8267681"/>
              <a:gd name="connsiteY14066" fmla="*/ 4796164 h 6698675"/>
              <a:gd name="connsiteX14067" fmla="*/ 5688723 w 8267681"/>
              <a:gd name="connsiteY14067" fmla="*/ 4786769 h 6698675"/>
              <a:gd name="connsiteX14068" fmla="*/ 5672281 w 8267681"/>
              <a:gd name="connsiteY14068" fmla="*/ 4789118 h 6698675"/>
              <a:gd name="connsiteX14069" fmla="*/ 5669932 w 8267681"/>
              <a:gd name="connsiteY14069" fmla="*/ 4786769 h 6698675"/>
              <a:gd name="connsiteX14070" fmla="*/ 5644096 w 8267681"/>
              <a:gd name="connsiteY14070" fmla="*/ 4758584 h 6698675"/>
              <a:gd name="connsiteX14071" fmla="*/ 5630003 w 8267681"/>
              <a:gd name="connsiteY14071" fmla="*/ 4763281 h 6698675"/>
              <a:gd name="connsiteX14072" fmla="*/ 5594772 w 8267681"/>
              <a:gd name="connsiteY14072" fmla="*/ 4817303 h 6698675"/>
              <a:gd name="connsiteX14073" fmla="*/ 5599469 w 8267681"/>
              <a:gd name="connsiteY14073" fmla="*/ 4791467 h 6698675"/>
              <a:gd name="connsiteX14074" fmla="*/ 5632352 w 8267681"/>
              <a:gd name="connsiteY14074" fmla="*/ 4777374 h 6698675"/>
              <a:gd name="connsiteX14075" fmla="*/ 5662886 w 8267681"/>
              <a:gd name="connsiteY14075" fmla="*/ 4810257 h 6698675"/>
              <a:gd name="connsiteX14076" fmla="*/ 5665235 w 8267681"/>
              <a:gd name="connsiteY14076" fmla="*/ 4812606 h 6698675"/>
              <a:gd name="connsiteX14077" fmla="*/ 5660537 w 8267681"/>
              <a:gd name="connsiteY14077" fmla="*/ 4843140 h 6698675"/>
              <a:gd name="connsiteX14078" fmla="*/ 5681676 w 8267681"/>
              <a:gd name="connsiteY14078" fmla="*/ 4838442 h 6698675"/>
              <a:gd name="connsiteX14079" fmla="*/ 5674630 w 8267681"/>
              <a:gd name="connsiteY14079" fmla="*/ 4824350 h 6698675"/>
              <a:gd name="connsiteX14080" fmla="*/ 5695769 w 8267681"/>
              <a:gd name="connsiteY14080" fmla="*/ 4852535 h 6698675"/>
              <a:gd name="connsiteX14081" fmla="*/ 5705164 w 8267681"/>
              <a:gd name="connsiteY14081" fmla="*/ 4883069 h 6698675"/>
              <a:gd name="connsiteX14082" fmla="*/ 5709862 w 8267681"/>
              <a:gd name="connsiteY14082" fmla="*/ 4871325 h 6698675"/>
              <a:gd name="connsiteX14083" fmla="*/ 5725156 w 8267681"/>
              <a:gd name="connsiteY14083" fmla="*/ 4890989 h 6698675"/>
              <a:gd name="connsiteX14084" fmla="*/ 5728651 w 8267681"/>
              <a:gd name="connsiteY14084" fmla="*/ 4890115 h 6698675"/>
              <a:gd name="connsiteX14085" fmla="*/ 5728651 w 8267681"/>
              <a:gd name="connsiteY14085" fmla="*/ 4904208 h 6698675"/>
              <a:gd name="connsiteX14086" fmla="*/ 5721270 w 8267681"/>
              <a:gd name="connsiteY14086" fmla="*/ 4894981 h 6698675"/>
              <a:gd name="connsiteX14087" fmla="*/ 5716908 w 8267681"/>
              <a:gd name="connsiteY14087" fmla="*/ 4897162 h 6698675"/>
              <a:gd name="connsiteX14088" fmla="*/ 5691071 w 8267681"/>
              <a:gd name="connsiteY14088" fmla="*/ 4871325 h 6698675"/>
              <a:gd name="connsiteX14089" fmla="*/ 5705164 w 8267681"/>
              <a:gd name="connsiteY14089" fmla="*/ 4899511 h 6698675"/>
              <a:gd name="connsiteX14090" fmla="*/ 5700467 w 8267681"/>
              <a:gd name="connsiteY14090" fmla="*/ 4904208 h 6698675"/>
              <a:gd name="connsiteX14091" fmla="*/ 5709862 w 8267681"/>
              <a:gd name="connsiteY14091" fmla="*/ 4908906 h 6698675"/>
              <a:gd name="connsiteX14092" fmla="*/ 5759186 w 8267681"/>
              <a:gd name="connsiteY14092" fmla="*/ 4991113 h 6698675"/>
              <a:gd name="connsiteX14093" fmla="*/ 5672281 w 8267681"/>
              <a:gd name="connsiteY14093" fmla="*/ 4876023 h 6698675"/>
              <a:gd name="connsiteX14094" fmla="*/ 5667583 w 8267681"/>
              <a:gd name="connsiteY14094" fmla="*/ 4850186 h 6698675"/>
              <a:gd name="connsiteX14095" fmla="*/ 5665235 w 8267681"/>
              <a:gd name="connsiteY14095" fmla="*/ 4866628 h 6698675"/>
              <a:gd name="connsiteX14096" fmla="*/ 5618259 w 8267681"/>
              <a:gd name="connsiteY14096" fmla="*/ 4814955 h 6698675"/>
              <a:gd name="connsiteX14097" fmla="*/ 5756837 w 8267681"/>
              <a:gd name="connsiteY14097" fmla="*/ 5007554 h 6698675"/>
              <a:gd name="connsiteX14098" fmla="*/ 5644096 w 8267681"/>
              <a:gd name="connsiteY14098" fmla="*/ 4890115 h 6698675"/>
              <a:gd name="connsiteX14099" fmla="*/ 5738047 w 8267681"/>
              <a:gd name="connsiteY14099" fmla="*/ 5007554 h 6698675"/>
              <a:gd name="connsiteX14100" fmla="*/ 5777976 w 8267681"/>
              <a:gd name="connsiteY14100" fmla="*/ 5056879 h 6698675"/>
              <a:gd name="connsiteX14101" fmla="*/ 5731000 w 8267681"/>
              <a:gd name="connsiteY14101" fmla="*/ 5014601 h 6698675"/>
              <a:gd name="connsiteX14102" fmla="*/ 5756837 w 8267681"/>
              <a:gd name="connsiteY14102" fmla="*/ 5059228 h 6698675"/>
              <a:gd name="connsiteX14103" fmla="*/ 5700467 w 8267681"/>
              <a:gd name="connsiteY14103" fmla="*/ 4981718 h 6698675"/>
              <a:gd name="connsiteX14104" fmla="*/ 5653491 w 8267681"/>
              <a:gd name="connsiteY14104" fmla="*/ 4944137 h 6698675"/>
              <a:gd name="connsiteX14105" fmla="*/ 5585376 w 8267681"/>
              <a:gd name="connsiteY14105" fmla="*/ 4873674 h 6698675"/>
              <a:gd name="connsiteX14106" fmla="*/ 5566586 w 8267681"/>
              <a:gd name="connsiteY14106" fmla="*/ 4873674 h 6698675"/>
              <a:gd name="connsiteX14107" fmla="*/ 5573632 w 8267681"/>
              <a:gd name="connsiteY14107" fmla="*/ 4859582 h 6698675"/>
              <a:gd name="connsiteX14108" fmla="*/ 5559540 w 8267681"/>
              <a:gd name="connsiteY14108" fmla="*/ 4845489 h 6698675"/>
              <a:gd name="connsiteX14109" fmla="*/ 5550145 w 8267681"/>
              <a:gd name="connsiteY14109" fmla="*/ 4850186 h 6698675"/>
              <a:gd name="connsiteX14110" fmla="*/ 5608864 w 8267681"/>
              <a:gd name="connsiteY14110" fmla="*/ 4958230 h 6698675"/>
              <a:gd name="connsiteX14111" fmla="*/ 5611213 w 8267681"/>
              <a:gd name="connsiteY14111" fmla="*/ 4958230 h 6698675"/>
              <a:gd name="connsiteX14112" fmla="*/ 5611213 w 8267681"/>
              <a:gd name="connsiteY14112" fmla="*/ 4960579 h 6698675"/>
              <a:gd name="connsiteX14113" fmla="*/ 5641747 w 8267681"/>
              <a:gd name="connsiteY14113" fmla="*/ 5012252 h 6698675"/>
              <a:gd name="connsiteX14114" fmla="*/ 5606515 w 8267681"/>
              <a:gd name="connsiteY14114" fmla="*/ 4967625 h 6698675"/>
              <a:gd name="connsiteX14115" fmla="*/ 5583028 w 8267681"/>
              <a:gd name="connsiteY14115" fmla="*/ 4960579 h 6698675"/>
              <a:gd name="connsiteX14116" fmla="*/ 5580679 w 8267681"/>
              <a:gd name="connsiteY14116" fmla="*/ 4960579 h 6698675"/>
              <a:gd name="connsiteX14117" fmla="*/ 5620608 w 8267681"/>
              <a:gd name="connsiteY14117" fmla="*/ 5042786 h 6698675"/>
              <a:gd name="connsiteX14118" fmla="*/ 5585376 w 8267681"/>
              <a:gd name="connsiteY14118" fmla="*/ 5000508 h 6698675"/>
              <a:gd name="connsiteX14119" fmla="*/ 5580679 w 8267681"/>
              <a:gd name="connsiteY14119" fmla="*/ 5009903 h 6698675"/>
              <a:gd name="connsiteX14120" fmla="*/ 5564237 w 8267681"/>
              <a:gd name="connsiteY14120" fmla="*/ 4972323 h 6698675"/>
              <a:gd name="connsiteX14121" fmla="*/ 5554842 w 8267681"/>
              <a:gd name="connsiteY14121" fmla="*/ 4974672 h 6698675"/>
              <a:gd name="connsiteX14122" fmla="*/ 5561888 w 8267681"/>
              <a:gd name="connsiteY14122" fmla="*/ 4986415 h 6698675"/>
              <a:gd name="connsiteX14123" fmla="*/ 5575981 w 8267681"/>
              <a:gd name="connsiteY14123" fmla="*/ 5009903 h 6698675"/>
              <a:gd name="connsiteX14124" fmla="*/ 5561888 w 8267681"/>
              <a:gd name="connsiteY14124" fmla="*/ 5014601 h 6698675"/>
              <a:gd name="connsiteX14125" fmla="*/ 5578330 w 8267681"/>
              <a:gd name="connsiteY14125" fmla="*/ 5049832 h 6698675"/>
              <a:gd name="connsiteX14126" fmla="*/ 5557191 w 8267681"/>
              <a:gd name="connsiteY14126" fmla="*/ 5019298 h 6698675"/>
              <a:gd name="connsiteX14127" fmla="*/ 5545447 w 8267681"/>
              <a:gd name="connsiteY14127" fmla="*/ 5031042 h 6698675"/>
              <a:gd name="connsiteX14128" fmla="*/ 5538401 w 8267681"/>
              <a:gd name="connsiteY14128" fmla="*/ 5033391 h 6698675"/>
              <a:gd name="connsiteX14129" fmla="*/ 5519610 w 8267681"/>
              <a:gd name="connsiteY14129" fmla="*/ 5031042 h 6698675"/>
              <a:gd name="connsiteX14130" fmla="*/ 5524308 w 8267681"/>
              <a:gd name="connsiteY14130" fmla="*/ 5040437 h 6698675"/>
              <a:gd name="connsiteX14131" fmla="*/ 5531354 w 8267681"/>
              <a:gd name="connsiteY14131" fmla="*/ 5054530 h 6698675"/>
              <a:gd name="connsiteX14132" fmla="*/ 5538401 w 8267681"/>
              <a:gd name="connsiteY14132" fmla="*/ 5068623 h 6698675"/>
              <a:gd name="connsiteX14133" fmla="*/ 5531354 w 8267681"/>
              <a:gd name="connsiteY14133" fmla="*/ 5059228 h 6698675"/>
              <a:gd name="connsiteX14134" fmla="*/ 5524308 w 8267681"/>
              <a:gd name="connsiteY14134" fmla="*/ 5059228 h 6698675"/>
              <a:gd name="connsiteX14135" fmla="*/ 5526657 w 8267681"/>
              <a:gd name="connsiteY14135" fmla="*/ 5080367 h 6698675"/>
              <a:gd name="connsiteX14136" fmla="*/ 5519610 w 8267681"/>
              <a:gd name="connsiteY14136" fmla="*/ 5059228 h 6698675"/>
              <a:gd name="connsiteX14137" fmla="*/ 5498471 w 8267681"/>
              <a:gd name="connsiteY14137" fmla="*/ 5061576 h 6698675"/>
              <a:gd name="connsiteX14138" fmla="*/ 5484379 w 8267681"/>
              <a:gd name="connsiteY14138" fmla="*/ 5078018 h 6698675"/>
              <a:gd name="connsiteX14139" fmla="*/ 5543098 w 8267681"/>
              <a:gd name="connsiteY14139" fmla="*/ 5136737 h 6698675"/>
              <a:gd name="connsiteX14140" fmla="*/ 5590074 w 8267681"/>
              <a:gd name="connsiteY14140" fmla="*/ 5186062 h 6698675"/>
              <a:gd name="connsiteX14141" fmla="*/ 5585376 w 8267681"/>
              <a:gd name="connsiteY14141" fmla="*/ 5197806 h 6698675"/>
              <a:gd name="connsiteX14142" fmla="*/ 5597120 w 8267681"/>
              <a:gd name="connsiteY14142" fmla="*/ 5270618 h 6698675"/>
              <a:gd name="connsiteX14143" fmla="*/ 5601818 w 8267681"/>
              <a:gd name="connsiteY14143" fmla="*/ 5211898 h 6698675"/>
              <a:gd name="connsiteX14144" fmla="*/ 5615910 w 8267681"/>
              <a:gd name="connsiteY14144" fmla="*/ 5225991 h 6698675"/>
              <a:gd name="connsiteX14145" fmla="*/ 5620608 w 8267681"/>
              <a:gd name="connsiteY14145" fmla="*/ 5214247 h 6698675"/>
              <a:gd name="connsiteX14146" fmla="*/ 5651142 w 8267681"/>
              <a:gd name="connsiteY14146" fmla="*/ 5235386 h 6698675"/>
              <a:gd name="connsiteX14147" fmla="*/ 5655840 w 8267681"/>
              <a:gd name="connsiteY14147" fmla="*/ 5261222 h 6698675"/>
              <a:gd name="connsiteX14148" fmla="*/ 5660537 w 8267681"/>
              <a:gd name="connsiteY14148" fmla="*/ 5242432 h 6698675"/>
              <a:gd name="connsiteX14149" fmla="*/ 5674630 w 8267681"/>
              <a:gd name="connsiteY14149" fmla="*/ 5251827 h 6698675"/>
              <a:gd name="connsiteX14150" fmla="*/ 5728652 w 8267681"/>
              <a:gd name="connsiteY14150" fmla="*/ 5275315 h 6698675"/>
              <a:gd name="connsiteX14151" fmla="*/ 5827300 w 8267681"/>
              <a:gd name="connsiteY14151" fmla="*/ 5280013 h 6698675"/>
              <a:gd name="connsiteX14152" fmla="*/ 5878973 w 8267681"/>
              <a:gd name="connsiteY14152" fmla="*/ 5326988 h 6698675"/>
              <a:gd name="connsiteX14153" fmla="*/ 5944739 w 8267681"/>
              <a:gd name="connsiteY14153" fmla="*/ 5329337 h 6698675"/>
              <a:gd name="connsiteX14154" fmla="*/ 5998761 w 8267681"/>
              <a:gd name="connsiteY14154" fmla="*/ 5357523 h 6698675"/>
              <a:gd name="connsiteX14155" fmla="*/ 6092712 w 8267681"/>
              <a:gd name="connsiteY14155" fmla="*/ 5348127 h 6698675"/>
              <a:gd name="connsiteX14156" fmla="*/ 6179617 w 8267681"/>
              <a:gd name="connsiteY14156" fmla="*/ 5460869 h 6698675"/>
              <a:gd name="connsiteX14157" fmla="*/ 6383961 w 8267681"/>
              <a:gd name="connsiteY14157" fmla="*/ 5500798 h 6698675"/>
              <a:gd name="connsiteX14158" fmla="*/ 6189012 w 8267681"/>
              <a:gd name="connsiteY14158" fmla="*/ 5472613 h 6698675"/>
              <a:gd name="connsiteX14159" fmla="*/ 6398053 w 8267681"/>
              <a:gd name="connsiteY14159" fmla="*/ 5550122 h 6698675"/>
              <a:gd name="connsiteX14160" fmla="*/ 6292358 w 8267681"/>
              <a:gd name="connsiteY14160" fmla="*/ 5519588 h 6698675"/>
              <a:gd name="connsiteX14161" fmla="*/ 6386309 w 8267681"/>
              <a:gd name="connsiteY14161" fmla="*/ 5568913 h 6698675"/>
              <a:gd name="connsiteX14162" fmla="*/ 6362822 w 8267681"/>
              <a:gd name="connsiteY14162" fmla="*/ 5561866 h 6698675"/>
              <a:gd name="connsiteX14163" fmla="*/ 6391007 w 8267681"/>
              <a:gd name="connsiteY14163" fmla="*/ 5585354 h 6698675"/>
              <a:gd name="connsiteX14164" fmla="*/ 6351078 w 8267681"/>
              <a:gd name="connsiteY14164" fmla="*/ 5564215 h 6698675"/>
              <a:gd name="connsiteX14165" fmla="*/ 6212500 w 8267681"/>
              <a:gd name="connsiteY14165" fmla="*/ 5503147 h 6698675"/>
              <a:gd name="connsiteX14166" fmla="*/ 6212500 w 8267681"/>
              <a:gd name="connsiteY14166" fmla="*/ 5507844 h 6698675"/>
              <a:gd name="connsiteX14167" fmla="*/ 6189012 w 8267681"/>
              <a:gd name="connsiteY14167" fmla="*/ 5498449 h 6698675"/>
              <a:gd name="connsiteX14168" fmla="*/ 6200756 w 8267681"/>
              <a:gd name="connsiteY14168" fmla="*/ 5519588 h 6698675"/>
              <a:gd name="connsiteX14169" fmla="*/ 6219547 w 8267681"/>
              <a:gd name="connsiteY14169" fmla="*/ 5521937 h 6698675"/>
              <a:gd name="connsiteX14170" fmla="*/ 6292358 w 8267681"/>
              <a:gd name="connsiteY14170" fmla="*/ 5559517 h 6698675"/>
              <a:gd name="connsiteX14171" fmla="*/ 6358124 w 8267681"/>
              <a:gd name="connsiteY14171" fmla="*/ 5601795 h 6698675"/>
              <a:gd name="connsiteX14172" fmla="*/ 6508446 w 8267681"/>
              <a:gd name="connsiteY14172" fmla="*/ 5672259 h 6698675"/>
              <a:gd name="connsiteX14173" fmla="*/ 6388658 w 8267681"/>
              <a:gd name="connsiteY14173" fmla="*/ 5622935 h 6698675"/>
              <a:gd name="connsiteX14174" fmla="*/ 6393356 w 8267681"/>
              <a:gd name="connsiteY14174" fmla="*/ 5629981 h 6698675"/>
              <a:gd name="connsiteX14175" fmla="*/ 6264173 w 8267681"/>
              <a:gd name="connsiteY14175" fmla="*/ 5585354 h 6698675"/>
              <a:gd name="connsiteX14176" fmla="*/ 6336986 w 8267681"/>
              <a:gd name="connsiteY14176" fmla="*/ 5622935 h 6698675"/>
              <a:gd name="connsiteX14177" fmla="*/ 6466168 w 8267681"/>
              <a:gd name="connsiteY14177" fmla="*/ 5709839 h 6698675"/>
              <a:gd name="connsiteX14178" fmla="*/ 6367519 w 8267681"/>
              <a:gd name="connsiteY14178" fmla="*/ 5644073 h 6698675"/>
              <a:gd name="connsiteX14179" fmla="*/ 6609443 w 8267681"/>
              <a:gd name="connsiteY14179" fmla="*/ 5801442 h 6698675"/>
              <a:gd name="connsiteX14180" fmla="*/ 6405100 w 8267681"/>
              <a:gd name="connsiteY14180" fmla="*/ 5714537 h 6698675"/>
              <a:gd name="connsiteX14181" fmla="*/ 6583607 w 8267681"/>
              <a:gd name="connsiteY14181" fmla="*/ 5824929 h 6698675"/>
              <a:gd name="connsiteX14182" fmla="*/ 6456773 w 8267681"/>
              <a:gd name="connsiteY14182" fmla="*/ 5754466 h 6698675"/>
              <a:gd name="connsiteX14183" fmla="*/ 6625885 w 8267681"/>
              <a:gd name="connsiteY14183" fmla="*/ 5853115 h 6698675"/>
              <a:gd name="connsiteX14184" fmla="*/ 6506097 w 8267681"/>
              <a:gd name="connsiteY14184" fmla="*/ 5799093 h 6698675"/>
              <a:gd name="connsiteX14185" fmla="*/ 6555422 w 8267681"/>
              <a:gd name="connsiteY14185" fmla="*/ 5848417 h 6698675"/>
              <a:gd name="connsiteX14186" fmla="*/ 6468517 w 8267681"/>
              <a:gd name="connsiteY14186" fmla="*/ 5785000 h 6698675"/>
              <a:gd name="connsiteX14187" fmla="*/ 6414495 w 8267681"/>
              <a:gd name="connsiteY14187" fmla="*/ 5768559 h 6698675"/>
              <a:gd name="connsiteX14188" fmla="*/ 6506097 w 8267681"/>
              <a:gd name="connsiteY14188" fmla="*/ 5834325 h 6698675"/>
              <a:gd name="connsiteX14189" fmla="*/ 6625885 w 8267681"/>
              <a:gd name="connsiteY14189" fmla="*/ 5940020 h 6698675"/>
              <a:gd name="connsiteX14190" fmla="*/ 6513144 w 8267681"/>
              <a:gd name="connsiteY14190" fmla="*/ 5857812 h 6698675"/>
              <a:gd name="connsiteX14191" fmla="*/ 6621187 w 8267681"/>
              <a:gd name="connsiteY14191" fmla="*/ 5968205 h 6698675"/>
              <a:gd name="connsiteX14192" fmla="*/ 6745673 w 8267681"/>
              <a:gd name="connsiteY14192" fmla="*/ 6019878 h 6698675"/>
              <a:gd name="connsiteX14193" fmla="*/ 6651722 w 8267681"/>
              <a:gd name="connsiteY14193" fmla="*/ 5989344 h 6698675"/>
              <a:gd name="connsiteX14194" fmla="*/ 6712790 w 8267681"/>
              <a:gd name="connsiteY14194" fmla="*/ 6052761 h 6698675"/>
              <a:gd name="connsiteX14195" fmla="*/ 6635280 w 8267681"/>
              <a:gd name="connsiteY14195" fmla="*/ 6019878 h 6698675"/>
              <a:gd name="connsiteX14196" fmla="*/ 6731580 w 8267681"/>
              <a:gd name="connsiteY14196" fmla="*/ 6116178 h 6698675"/>
              <a:gd name="connsiteX14197" fmla="*/ 6543678 w 8267681"/>
              <a:gd name="connsiteY14197" fmla="*/ 6012832 h 6698675"/>
              <a:gd name="connsiteX14198" fmla="*/ 6717487 w 8267681"/>
              <a:gd name="connsiteY14198" fmla="*/ 6179595 h 6698675"/>
              <a:gd name="connsiteX14199" fmla="*/ 6659025 w 8267681"/>
              <a:gd name="connsiteY14199" fmla="*/ 6125683 h 6698675"/>
              <a:gd name="connsiteX14200" fmla="*/ 6630938 w 8267681"/>
              <a:gd name="connsiteY14200" fmla="*/ 6105940 h 6698675"/>
              <a:gd name="connsiteX14201" fmla="*/ 6617664 w 8267681"/>
              <a:gd name="connsiteY14201" fmla="*/ 6097387 h 6698675"/>
              <a:gd name="connsiteX14202" fmla="*/ 6518193 w 8267681"/>
              <a:gd name="connsiteY14202" fmla="*/ 6042732 h 6698675"/>
              <a:gd name="connsiteX14203" fmla="*/ 6510809 w 8267681"/>
              <a:gd name="connsiteY14203" fmla="*/ 6039119 h 6698675"/>
              <a:gd name="connsiteX14204" fmla="*/ 6511969 w 8267681"/>
              <a:gd name="connsiteY14204" fmla="*/ 6076835 h 6698675"/>
              <a:gd name="connsiteX14205" fmla="*/ 6520190 w 8267681"/>
              <a:gd name="connsiteY14205" fmla="*/ 6118526 h 6698675"/>
              <a:gd name="connsiteX14206" fmla="*/ 6571863 w 8267681"/>
              <a:gd name="connsiteY14206" fmla="*/ 6369845 h 6698675"/>
              <a:gd name="connsiteX14207" fmla="*/ 6519896 w 8267681"/>
              <a:gd name="connsiteY14207" fmla="*/ 6206606 h 6698675"/>
              <a:gd name="connsiteX14208" fmla="*/ 6495667 w 8267681"/>
              <a:gd name="connsiteY14208" fmla="*/ 6031710 h 6698675"/>
              <a:gd name="connsiteX14209" fmla="*/ 6442681 w 8267681"/>
              <a:gd name="connsiteY14209" fmla="*/ 6005785 h 6698675"/>
              <a:gd name="connsiteX14210" fmla="*/ 6473214 w 8267681"/>
              <a:gd name="connsiteY14210" fmla="*/ 6287639 h 6698675"/>
              <a:gd name="connsiteX14211" fmla="*/ 6433285 w 8267681"/>
              <a:gd name="connsiteY14211" fmla="*/ 5991693 h 6698675"/>
              <a:gd name="connsiteX14212" fmla="*/ 6456773 w 8267681"/>
              <a:gd name="connsiteY14212" fmla="*/ 5998739 h 6698675"/>
              <a:gd name="connsiteX14213" fmla="*/ 6428698 w 8267681"/>
              <a:gd name="connsiteY14213" fmla="*/ 5984206 h 6698675"/>
              <a:gd name="connsiteX14214" fmla="*/ 6428588 w 8267681"/>
              <a:gd name="connsiteY14214" fmla="*/ 5984105 h 6698675"/>
              <a:gd name="connsiteX14215" fmla="*/ 6428588 w 8267681"/>
              <a:gd name="connsiteY14215" fmla="*/ 5944717 h 6698675"/>
              <a:gd name="connsiteX14216" fmla="*/ 6421541 w 8267681"/>
              <a:gd name="connsiteY14216" fmla="*/ 5942368 h 6698675"/>
              <a:gd name="connsiteX14217" fmla="*/ 6435634 w 8267681"/>
              <a:gd name="connsiteY14217" fmla="*/ 6207780 h 6698675"/>
              <a:gd name="connsiteX14218" fmla="*/ 6431244 w 8267681"/>
              <a:gd name="connsiteY14218" fmla="*/ 6125825 h 6698675"/>
              <a:gd name="connsiteX14219" fmla="*/ 6432111 w 8267681"/>
              <a:gd name="connsiteY14219" fmla="*/ 6139079 h 6698675"/>
              <a:gd name="connsiteX14220" fmla="*/ 6449727 w 8267681"/>
              <a:gd name="connsiteY14220" fmla="*/ 6297034 h 6698675"/>
              <a:gd name="connsiteX14221" fmla="*/ 6414495 w 8267681"/>
              <a:gd name="connsiteY14221" fmla="*/ 5970554 h 6698675"/>
              <a:gd name="connsiteX14222" fmla="*/ 6402751 w 8267681"/>
              <a:gd name="connsiteY14222" fmla="*/ 5956461 h 6698675"/>
              <a:gd name="connsiteX14223" fmla="*/ 6412146 w 8267681"/>
              <a:gd name="connsiteY14223" fmla="*/ 6210129 h 6698675"/>
              <a:gd name="connsiteX14224" fmla="*/ 6445029 w 8267681"/>
              <a:gd name="connsiteY14224" fmla="*/ 6311126 h 6698675"/>
              <a:gd name="connsiteX14225" fmla="*/ 6421541 w 8267681"/>
              <a:gd name="connsiteY14225" fmla="*/ 6278244 h 6698675"/>
              <a:gd name="connsiteX14226" fmla="*/ 6428588 w 8267681"/>
              <a:gd name="connsiteY14226" fmla="*/ 6336963 h 6698675"/>
              <a:gd name="connsiteX14227" fmla="*/ 6369868 w 8267681"/>
              <a:gd name="connsiteY14227" fmla="*/ 6109131 h 6698675"/>
              <a:gd name="connsiteX14228" fmla="*/ 6374566 w 8267681"/>
              <a:gd name="connsiteY14228" fmla="*/ 6261802 h 6698675"/>
              <a:gd name="connsiteX14229" fmla="*/ 6351078 w 8267681"/>
              <a:gd name="connsiteY14229" fmla="*/ 5958810 h 6698675"/>
              <a:gd name="connsiteX14230" fmla="*/ 6346381 w 8267681"/>
              <a:gd name="connsiteY14230" fmla="*/ 5895393 h 6698675"/>
              <a:gd name="connsiteX14231" fmla="*/ 6348730 w 8267681"/>
              <a:gd name="connsiteY14231" fmla="*/ 6278244 h 6698675"/>
              <a:gd name="connsiteX14232" fmla="*/ 6325242 w 8267681"/>
              <a:gd name="connsiteY14232" fmla="*/ 5965856 h 6698675"/>
              <a:gd name="connsiteX14233" fmla="*/ 6315846 w 8267681"/>
              <a:gd name="connsiteY14233" fmla="*/ 6257105 h 6698675"/>
              <a:gd name="connsiteX14234" fmla="*/ 6304102 w 8267681"/>
              <a:gd name="connsiteY14234" fmla="*/ 6153759 h 6698675"/>
              <a:gd name="connsiteX14235" fmla="*/ 6301167 w 8267681"/>
              <a:gd name="connsiteY14235" fmla="*/ 6021640 h 6698675"/>
              <a:gd name="connsiteX14236" fmla="*/ 6303111 w 8267681"/>
              <a:gd name="connsiteY14236" fmla="*/ 5966312 h 6698675"/>
              <a:gd name="connsiteX14237" fmla="*/ 6304323 w 8267681"/>
              <a:gd name="connsiteY14237" fmla="*/ 5955948 h 6698675"/>
              <a:gd name="connsiteX14238" fmla="*/ 6304295 w 8267681"/>
              <a:gd name="connsiteY14238" fmla="*/ 5947854 h 6698675"/>
              <a:gd name="connsiteX14239" fmla="*/ 6308800 w 8267681"/>
              <a:gd name="connsiteY14239" fmla="*/ 5900090 h 6698675"/>
              <a:gd name="connsiteX14240" fmla="*/ 6311149 w 8267681"/>
              <a:gd name="connsiteY14240" fmla="*/ 5855464 h 6698675"/>
              <a:gd name="connsiteX14241" fmla="*/ 6304160 w 8267681"/>
              <a:gd name="connsiteY14241" fmla="*/ 5907650 h 6698675"/>
              <a:gd name="connsiteX14242" fmla="*/ 6304102 w 8267681"/>
              <a:gd name="connsiteY14242" fmla="*/ 5890695 h 6698675"/>
              <a:gd name="connsiteX14243" fmla="*/ 6294797 w 8267681"/>
              <a:gd name="connsiteY14243" fmla="*/ 5973674 h 6698675"/>
              <a:gd name="connsiteX14244" fmla="*/ 6282964 w 8267681"/>
              <a:gd name="connsiteY14244" fmla="*/ 6048357 h 6698675"/>
              <a:gd name="connsiteX14245" fmla="*/ 6281826 w 8267681"/>
              <a:gd name="connsiteY14245" fmla="*/ 6085234 h 6698675"/>
              <a:gd name="connsiteX14246" fmla="*/ 6275917 w 8267681"/>
              <a:gd name="connsiteY14246" fmla="*/ 6134968 h 6698675"/>
              <a:gd name="connsiteX14247" fmla="*/ 6281192 w 8267681"/>
              <a:gd name="connsiteY14247" fmla="*/ 6105813 h 6698675"/>
              <a:gd name="connsiteX14248" fmla="*/ 6280101 w 8267681"/>
              <a:gd name="connsiteY14248" fmla="*/ 6141171 h 6698675"/>
              <a:gd name="connsiteX14249" fmla="*/ 6304102 w 8267681"/>
              <a:gd name="connsiteY14249" fmla="*/ 6228919 h 6698675"/>
              <a:gd name="connsiteX14250" fmla="*/ 6271807 w 8267681"/>
              <a:gd name="connsiteY14250" fmla="*/ 6147593 h 6698675"/>
              <a:gd name="connsiteX14251" fmla="*/ 6271368 w 8267681"/>
              <a:gd name="connsiteY14251" fmla="*/ 6069830 h 6698675"/>
              <a:gd name="connsiteX14252" fmla="*/ 6279440 w 8267681"/>
              <a:gd name="connsiteY14252" fmla="*/ 5973196 h 6698675"/>
              <a:gd name="connsiteX14253" fmla="*/ 6290010 w 8267681"/>
              <a:gd name="connsiteY14253" fmla="*/ 5855464 h 6698675"/>
              <a:gd name="connsiteX14254" fmla="*/ 6290010 w 8267681"/>
              <a:gd name="connsiteY14254" fmla="*/ 5801442 h 6698675"/>
              <a:gd name="connsiteX14255" fmla="*/ 6258301 w 8267681"/>
              <a:gd name="connsiteY14255" fmla="*/ 6028356 h 6698675"/>
              <a:gd name="connsiteX14256" fmla="*/ 6264150 w 8267681"/>
              <a:gd name="connsiteY14256" fmla="*/ 6067859 h 6698675"/>
              <a:gd name="connsiteX14257" fmla="*/ 6250374 w 8267681"/>
              <a:gd name="connsiteY14257" fmla="*/ 6115591 h 6698675"/>
              <a:gd name="connsiteX14258" fmla="*/ 6259476 w 8267681"/>
              <a:gd name="connsiteY14258" fmla="*/ 6177247 h 6698675"/>
              <a:gd name="connsiteX14259" fmla="*/ 6243034 w 8267681"/>
              <a:gd name="connsiteY14259" fmla="*/ 6163154 h 6698675"/>
              <a:gd name="connsiteX14260" fmla="*/ 6238337 w 8267681"/>
              <a:gd name="connsiteY14260" fmla="*/ 6245361 h 6698675"/>
              <a:gd name="connsiteX14261" fmla="*/ 6212500 w 8267681"/>
              <a:gd name="connsiteY14261" fmla="*/ 6071551 h 6698675"/>
              <a:gd name="connsiteX14262" fmla="*/ 6212500 w 8267681"/>
              <a:gd name="connsiteY14262" fmla="*/ 6205431 h 6698675"/>
              <a:gd name="connsiteX14263" fmla="*/ 6191361 w 8267681"/>
              <a:gd name="connsiteY14263" fmla="*/ 6118527 h 6698675"/>
              <a:gd name="connsiteX14264" fmla="*/ 6196059 w 8267681"/>
              <a:gd name="connsiteY14264" fmla="*/ 6113829 h 6698675"/>
              <a:gd name="connsiteX14265" fmla="*/ 6217198 w 8267681"/>
              <a:gd name="connsiteY14265" fmla="*/ 5787349 h 6698675"/>
              <a:gd name="connsiteX14266" fmla="*/ 6219253 w 8267681"/>
              <a:gd name="connsiteY14266" fmla="*/ 5772669 h 6698675"/>
              <a:gd name="connsiteX14267" fmla="*/ 6215701 w 8267681"/>
              <a:gd name="connsiteY14267" fmla="*/ 5766800 h 6698675"/>
              <a:gd name="connsiteX14268" fmla="*/ 6217198 w 8267681"/>
              <a:gd name="connsiteY14268" fmla="*/ 5758283 h 6698675"/>
              <a:gd name="connsiteX14269" fmla="*/ 6221895 w 8267681"/>
              <a:gd name="connsiteY14269" fmla="*/ 5733327 h 6698675"/>
              <a:gd name="connsiteX14270" fmla="*/ 6210151 w 8267681"/>
              <a:gd name="connsiteY14270" fmla="*/ 5723932 h 6698675"/>
              <a:gd name="connsiteX14271" fmla="*/ 6210445 w 8267681"/>
              <a:gd name="connsiteY14271" fmla="*/ 5758870 h 6698675"/>
              <a:gd name="connsiteX14272" fmla="*/ 6211296 w 8267681"/>
              <a:gd name="connsiteY14272" fmla="*/ 5769686 h 6698675"/>
              <a:gd name="connsiteX14273" fmla="*/ 6187838 w 8267681"/>
              <a:gd name="connsiteY14273" fmla="*/ 5928863 h 6698675"/>
              <a:gd name="connsiteX14274" fmla="*/ 6191361 w 8267681"/>
              <a:gd name="connsiteY14274" fmla="*/ 6106783 h 6698675"/>
              <a:gd name="connsiteX14275" fmla="*/ 6196059 w 8267681"/>
              <a:gd name="connsiteY14275" fmla="*/ 5796744 h 6698675"/>
              <a:gd name="connsiteX14276" fmla="*/ 6198114 w 8267681"/>
              <a:gd name="connsiteY14276" fmla="*/ 5767972 h 6698675"/>
              <a:gd name="connsiteX14277" fmla="*/ 6193584 w 8267681"/>
              <a:gd name="connsiteY14277" fmla="*/ 5751033 h 6698675"/>
              <a:gd name="connsiteX14278" fmla="*/ 6196059 w 8267681"/>
              <a:gd name="connsiteY14278" fmla="*/ 5726281 h 6698675"/>
              <a:gd name="connsiteX14279" fmla="*/ 6198407 w 8267681"/>
              <a:gd name="connsiteY14279" fmla="*/ 5707490 h 6698675"/>
              <a:gd name="connsiteX14280" fmla="*/ 6193710 w 8267681"/>
              <a:gd name="connsiteY14280" fmla="*/ 5705142 h 6698675"/>
              <a:gd name="connsiteX14281" fmla="*/ 6192793 w 8267681"/>
              <a:gd name="connsiteY14281" fmla="*/ 5744961 h 6698675"/>
              <a:gd name="connsiteX14282" fmla="*/ 6192408 w 8267681"/>
              <a:gd name="connsiteY14282" fmla="*/ 5746636 h 6698675"/>
              <a:gd name="connsiteX14283" fmla="*/ 6191361 w 8267681"/>
              <a:gd name="connsiteY14283" fmla="*/ 5742722 h 6698675"/>
              <a:gd name="connsiteX14284" fmla="*/ 6190033 w 8267681"/>
              <a:gd name="connsiteY14284" fmla="*/ 5756977 h 6698675"/>
              <a:gd name="connsiteX14285" fmla="*/ 6184608 w 8267681"/>
              <a:gd name="connsiteY14285" fmla="*/ 5780596 h 6698675"/>
              <a:gd name="connsiteX14286" fmla="*/ 6177268 w 8267681"/>
              <a:gd name="connsiteY14286" fmla="*/ 5843720 h 6698675"/>
              <a:gd name="connsiteX14287" fmla="*/ 6171653 w 8267681"/>
              <a:gd name="connsiteY14287" fmla="*/ 5877410 h 6698675"/>
              <a:gd name="connsiteX14288" fmla="*/ 6173645 w 8267681"/>
              <a:gd name="connsiteY14288" fmla="*/ 5878971 h 6698675"/>
              <a:gd name="connsiteX14289" fmla="*/ 6173452 w 8267681"/>
              <a:gd name="connsiteY14289" fmla="*/ 5880126 h 6698675"/>
              <a:gd name="connsiteX14290" fmla="*/ 6172426 w 8267681"/>
              <a:gd name="connsiteY14290" fmla="*/ 5887391 h 6698675"/>
              <a:gd name="connsiteX14291" fmla="*/ 6167873 w 8267681"/>
              <a:gd name="connsiteY14291" fmla="*/ 5883649 h 6698675"/>
              <a:gd name="connsiteX14292" fmla="*/ 6165231 w 8267681"/>
              <a:gd name="connsiteY14292" fmla="*/ 5907724 h 6698675"/>
              <a:gd name="connsiteX14293" fmla="*/ 6167292 w 8267681"/>
              <a:gd name="connsiteY14293" fmla="*/ 5923755 h 6698675"/>
              <a:gd name="connsiteX14294" fmla="*/ 6166056 w 8267681"/>
              <a:gd name="connsiteY14294" fmla="*/ 5932508 h 6698675"/>
              <a:gd name="connsiteX14295" fmla="*/ 6163175 w 8267681"/>
              <a:gd name="connsiteY14295" fmla="*/ 5930624 h 6698675"/>
              <a:gd name="connsiteX14296" fmla="*/ 6163175 w 8267681"/>
              <a:gd name="connsiteY14296" fmla="*/ 5937671 h 6698675"/>
              <a:gd name="connsiteX14297" fmla="*/ 6164203 w 8267681"/>
              <a:gd name="connsiteY14297" fmla="*/ 5945635 h 6698675"/>
              <a:gd name="connsiteX14298" fmla="*/ 6163286 w 8267681"/>
              <a:gd name="connsiteY14298" fmla="*/ 5952130 h 6698675"/>
              <a:gd name="connsiteX14299" fmla="*/ 6160827 w 8267681"/>
              <a:gd name="connsiteY14299" fmla="*/ 6031622 h 6698675"/>
              <a:gd name="connsiteX14300" fmla="*/ 6184315 w 8267681"/>
              <a:gd name="connsiteY14300" fmla="*/ 6184293 h 6698675"/>
              <a:gd name="connsiteX14301" fmla="*/ 6156129 w 8267681"/>
              <a:gd name="connsiteY14301" fmla="*/ 6102085 h 6698675"/>
              <a:gd name="connsiteX14302" fmla="*/ 6167873 w 8267681"/>
              <a:gd name="connsiteY14302" fmla="*/ 6132619 h 6698675"/>
              <a:gd name="connsiteX14303" fmla="*/ 6160827 w 8267681"/>
              <a:gd name="connsiteY14303" fmla="*/ 5860161 h 6698675"/>
              <a:gd name="connsiteX14304" fmla="*/ 6152261 w 8267681"/>
              <a:gd name="connsiteY14304" fmla="*/ 5920124 h 6698675"/>
              <a:gd name="connsiteX14305" fmla="*/ 6150551 w 8267681"/>
              <a:gd name="connsiteY14305" fmla="*/ 5912715 h 6698675"/>
              <a:gd name="connsiteX14306" fmla="*/ 6151432 w 8267681"/>
              <a:gd name="connsiteY14306" fmla="*/ 5902439 h 6698675"/>
              <a:gd name="connsiteX14307" fmla="*/ 6134991 w 8267681"/>
              <a:gd name="connsiteY14307" fmla="*/ 5860161 h 6698675"/>
              <a:gd name="connsiteX14308" fmla="*/ 6138624 w 8267681"/>
              <a:gd name="connsiteY14308" fmla="*/ 5927212 h 6698675"/>
              <a:gd name="connsiteX14309" fmla="*/ 6149423 w 8267681"/>
              <a:gd name="connsiteY14309" fmla="*/ 5939990 h 6698675"/>
              <a:gd name="connsiteX14310" fmla="*/ 6146746 w 8267681"/>
              <a:gd name="connsiteY14310" fmla="*/ 5958727 h 6698675"/>
              <a:gd name="connsiteX14311" fmla="*/ 6139688 w 8267681"/>
              <a:gd name="connsiteY14311" fmla="*/ 5942368 h 6698675"/>
              <a:gd name="connsiteX14312" fmla="*/ 6146734 w 8267681"/>
              <a:gd name="connsiteY14312" fmla="*/ 6041017 h 6698675"/>
              <a:gd name="connsiteX14313" fmla="*/ 6148045 w 8267681"/>
              <a:gd name="connsiteY14313" fmla="*/ 6015239 h 6698675"/>
              <a:gd name="connsiteX14314" fmla="*/ 6151432 w 8267681"/>
              <a:gd name="connsiteY14314" fmla="*/ 6080946 h 6698675"/>
              <a:gd name="connsiteX14315" fmla="*/ 6139688 w 8267681"/>
              <a:gd name="connsiteY14315" fmla="*/ 6041017 h 6698675"/>
              <a:gd name="connsiteX14316" fmla="*/ 6149083 w 8267681"/>
              <a:gd name="connsiteY14316" fmla="*/ 6106783 h 6698675"/>
              <a:gd name="connsiteX14317" fmla="*/ 6146734 w 8267681"/>
              <a:gd name="connsiteY14317" fmla="*/ 6118527 h 6698675"/>
              <a:gd name="connsiteX14318" fmla="*/ 6118549 w 8267681"/>
              <a:gd name="connsiteY14318" fmla="*/ 5984646 h 6698675"/>
              <a:gd name="connsiteX14319" fmla="*/ 6125596 w 8267681"/>
              <a:gd name="connsiteY14319" fmla="*/ 6130271 h 6698675"/>
              <a:gd name="connsiteX14320" fmla="*/ 6095061 w 8267681"/>
              <a:gd name="connsiteY14320" fmla="*/ 6038668 h 6698675"/>
              <a:gd name="connsiteX14321" fmla="*/ 6071573 w 8267681"/>
              <a:gd name="connsiteY14321" fmla="*/ 5947066 h 6698675"/>
              <a:gd name="connsiteX14322" fmla="*/ 6069225 w 8267681"/>
              <a:gd name="connsiteY14322" fmla="*/ 5902733 h 6698675"/>
              <a:gd name="connsiteX14323" fmla="*/ 6067177 w 8267681"/>
              <a:gd name="connsiteY14323" fmla="*/ 5871757 h 6698675"/>
              <a:gd name="connsiteX14324" fmla="*/ 6069224 w 8267681"/>
              <a:gd name="connsiteY14324" fmla="*/ 5876602 h 6698675"/>
              <a:gd name="connsiteX14325" fmla="*/ 6048085 w 8267681"/>
              <a:gd name="connsiteY14325" fmla="*/ 5789698 h 6698675"/>
              <a:gd name="connsiteX14326" fmla="*/ 6051609 w 8267681"/>
              <a:gd name="connsiteY14326" fmla="*/ 5834912 h 6698675"/>
              <a:gd name="connsiteX14327" fmla="*/ 6059081 w 8267681"/>
              <a:gd name="connsiteY14327" fmla="*/ 5852596 h 6698675"/>
              <a:gd name="connsiteX14328" fmla="*/ 6055132 w 8267681"/>
              <a:gd name="connsiteY14328" fmla="*/ 5846068 h 6698675"/>
              <a:gd name="connsiteX14329" fmla="*/ 6050434 w 8267681"/>
              <a:gd name="connsiteY14329" fmla="*/ 5846069 h 6698675"/>
              <a:gd name="connsiteX14330" fmla="*/ 6041039 w 8267681"/>
              <a:gd name="connsiteY14330" fmla="*/ 5836673 h 6698675"/>
              <a:gd name="connsiteX14331" fmla="*/ 6036342 w 8267681"/>
              <a:gd name="connsiteY14331" fmla="*/ 5890695 h 6698675"/>
              <a:gd name="connsiteX14332" fmla="*/ 6055132 w 8267681"/>
              <a:gd name="connsiteY14332" fmla="*/ 5902439 h 6698675"/>
              <a:gd name="connsiteX14333" fmla="*/ 6038690 w 8267681"/>
              <a:gd name="connsiteY14333" fmla="*/ 5902439 h 6698675"/>
              <a:gd name="connsiteX14334" fmla="*/ 6045737 w 8267681"/>
              <a:gd name="connsiteY14334" fmla="*/ 5930624 h 6698675"/>
              <a:gd name="connsiteX14335" fmla="*/ 6036342 w 8267681"/>
              <a:gd name="connsiteY14335" fmla="*/ 5930624 h 6698675"/>
              <a:gd name="connsiteX14336" fmla="*/ 6055132 w 8267681"/>
              <a:gd name="connsiteY14336" fmla="*/ 6078598 h 6698675"/>
              <a:gd name="connsiteX14337" fmla="*/ 6045737 w 8267681"/>
              <a:gd name="connsiteY14337" fmla="*/ 6057459 h 6698675"/>
              <a:gd name="connsiteX14338" fmla="*/ 6026947 w 8267681"/>
              <a:gd name="connsiteY14338" fmla="*/ 5897742 h 6698675"/>
              <a:gd name="connsiteX14339" fmla="*/ 6019277 w 8267681"/>
              <a:gd name="connsiteY14339" fmla="*/ 5893962 h 6698675"/>
              <a:gd name="connsiteX14340" fmla="*/ 6018513 w 8267681"/>
              <a:gd name="connsiteY14340" fmla="*/ 5892860 h 6698675"/>
              <a:gd name="connsiteX14341" fmla="*/ 6017405 w 8267681"/>
              <a:gd name="connsiteY14341" fmla="*/ 5872676 h 6698675"/>
              <a:gd name="connsiteX14342" fmla="*/ 5998761 w 8267681"/>
              <a:gd name="connsiteY14342" fmla="*/ 5846069 h 6698675"/>
              <a:gd name="connsiteX14343" fmla="*/ 5997293 w 8267681"/>
              <a:gd name="connsiteY14343" fmla="*/ 5919762 h 6698675"/>
              <a:gd name="connsiteX14344" fmla="*/ 5998895 w 8267681"/>
              <a:gd name="connsiteY14344" fmla="*/ 5937721 h 6698675"/>
              <a:gd name="connsiteX14345" fmla="*/ 5997550 w 8267681"/>
              <a:gd name="connsiteY14345" fmla="*/ 5949158 h 6698675"/>
              <a:gd name="connsiteX14346" fmla="*/ 6005808 w 8267681"/>
              <a:gd name="connsiteY14346" fmla="*/ 6059808 h 6698675"/>
              <a:gd name="connsiteX14347" fmla="*/ 5989366 w 8267681"/>
              <a:gd name="connsiteY14347" fmla="*/ 5907137 h 6698675"/>
              <a:gd name="connsiteX14348" fmla="*/ 5972925 w 8267681"/>
              <a:gd name="connsiteY14348" fmla="*/ 6050412 h 6698675"/>
              <a:gd name="connsiteX14349" fmla="*/ 5942390 w 8267681"/>
              <a:gd name="connsiteY14349" fmla="*/ 5836673 h 6698675"/>
              <a:gd name="connsiteX14350" fmla="*/ 5942390 w 8267681"/>
              <a:gd name="connsiteY14350" fmla="*/ 5871905 h 6698675"/>
              <a:gd name="connsiteX14351" fmla="*/ 5942390 w 8267681"/>
              <a:gd name="connsiteY14351" fmla="*/ 5977600 h 6698675"/>
              <a:gd name="connsiteX14352" fmla="*/ 5923600 w 8267681"/>
              <a:gd name="connsiteY14352" fmla="*/ 5839022 h 6698675"/>
              <a:gd name="connsiteX14353" fmla="*/ 5925949 w 8267681"/>
              <a:gd name="connsiteY14353" fmla="*/ 5975251 h 6698675"/>
              <a:gd name="connsiteX14354" fmla="*/ 5893066 w 8267681"/>
              <a:gd name="connsiteY14354" fmla="*/ 5766210 h 6698675"/>
              <a:gd name="connsiteX14355" fmla="*/ 5904810 w 8267681"/>
              <a:gd name="connsiteY14355" fmla="*/ 5839022 h 6698675"/>
              <a:gd name="connsiteX14356" fmla="*/ 5889543 w 8267681"/>
              <a:gd name="connsiteY14356" fmla="*/ 5810250 h 6698675"/>
              <a:gd name="connsiteX14357" fmla="*/ 5876073 w 8267681"/>
              <a:gd name="connsiteY14357" fmla="*/ 5795006 h 6698675"/>
              <a:gd name="connsiteX14358" fmla="*/ 5878680 w 8267681"/>
              <a:gd name="connsiteY14358" fmla="*/ 5783239 h 6698675"/>
              <a:gd name="connsiteX14359" fmla="*/ 5864881 w 8267681"/>
              <a:gd name="connsiteY14359" fmla="*/ 5730978 h 6698675"/>
              <a:gd name="connsiteX14360" fmla="*/ 5863322 w 8267681"/>
              <a:gd name="connsiteY14360" fmla="*/ 5802687 h 6698675"/>
              <a:gd name="connsiteX14361" fmla="*/ 5854348 w 8267681"/>
              <a:gd name="connsiteY14361" fmla="*/ 5836894 h 6698675"/>
              <a:gd name="connsiteX14362" fmla="*/ 5846091 w 8267681"/>
              <a:gd name="connsiteY14362" fmla="*/ 5956461 h 6698675"/>
              <a:gd name="connsiteX14363" fmla="*/ 5850788 w 8267681"/>
              <a:gd name="connsiteY14363" fmla="*/ 5775605 h 6698675"/>
              <a:gd name="connsiteX14364" fmla="*/ 5836679 w 8267681"/>
              <a:gd name="connsiteY14364" fmla="*/ 5808338 h 6698675"/>
              <a:gd name="connsiteX14365" fmla="*/ 5837870 w 8267681"/>
              <a:gd name="connsiteY14365" fmla="*/ 5799974 h 6698675"/>
              <a:gd name="connsiteX14366" fmla="*/ 5843742 w 8267681"/>
              <a:gd name="connsiteY14366" fmla="*/ 5688700 h 6698675"/>
              <a:gd name="connsiteX14367" fmla="*/ 5822603 w 8267681"/>
              <a:gd name="connsiteY14367" fmla="*/ 5672259 h 6698675"/>
              <a:gd name="connsiteX14368" fmla="*/ 5813355 w 8267681"/>
              <a:gd name="connsiteY14368" fmla="*/ 5865483 h 6698675"/>
              <a:gd name="connsiteX14369" fmla="*/ 5820008 w 8267681"/>
              <a:gd name="connsiteY14369" fmla="*/ 5898810 h 6698675"/>
              <a:gd name="connsiteX14370" fmla="*/ 5814089 w 8267681"/>
              <a:gd name="connsiteY14370" fmla="*/ 5924459 h 6698675"/>
              <a:gd name="connsiteX14371" fmla="*/ 5813208 w 8267681"/>
              <a:gd name="connsiteY14371" fmla="*/ 5956461 h 6698675"/>
              <a:gd name="connsiteX14372" fmla="*/ 5810859 w 8267681"/>
              <a:gd name="connsiteY14372" fmla="*/ 5949415 h 6698675"/>
              <a:gd name="connsiteX14373" fmla="*/ 5812932 w 8267681"/>
              <a:gd name="connsiteY14373" fmla="*/ 5894505 h 6698675"/>
              <a:gd name="connsiteX14374" fmla="*/ 5813208 w 8267681"/>
              <a:gd name="connsiteY14374" fmla="*/ 5895393 h 6698675"/>
              <a:gd name="connsiteX14375" fmla="*/ 5812973 w 8267681"/>
              <a:gd name="connsiteY14375" fmla="*/ 5893411 h 6698675"/>
              <a:gd name="connsiteX14376" fmla="*/ 5813796 w 8267681"/>
              <a:gd name="connsiteY14376" fmla="*/ 5871612 h 6698675"/>
              <a:gd name="connsiteX14377" fmla="*/ 5806162 w 8267681"/>
              <a:gd name="connsiteY14377" fmla="*/ 5792047 h 6698675"/>
              <a:gd name="connsiteX14378" fmla="*/ 5804101 w 8267681"/>
              <a:gd name="connsiteY14378" fmla="*/ 5799379 h 6698675"/>
              <a:gd name="connsiteX14379" fmla="*/ 5803813 w 8267681"/>
              <a:gd name="connsiteY14379" fmla="*/ 5795276 h 6698675"/>
              <a:gd name="connsiteX14380" fmla="*/ 5780325 w 8267681"/>
              <a:gd name="connsiteY14380" fmla="*/ 5707490 h 6698675"/>
              <a:gd name="connsiteX14381" fmla="*/ 5785316 w 8267681"/>
              <a:gd name="connsiteY14381" fmla="*/ 5805846 h 6698675"/>
              <a:gd name="connsiteX14382" fmla="*/ 5794234 w 8267681"/>
              <a:gd name="connsiteY14382" fmla="*/ 5834476 h 6698675"/>
              <a:gd name="connsiteX14383" fmla="*/ 5792326 w 8267681"/>
              <a:gd name="connsiteY14383" fmla="*/ 5841261 h 6698675"/>
              <a:gd name="connsiteX14384" fmla="*/ 5787371 w 8267681"/>
              <a:gd name="connsiteY14384" fmla="*/ 6003436 h 6698675"/>
              <a:gd name="connsiteX14385" fmla="*/ 5780325 w 8267681"/>
              <a:gd name="connsiteY14385" fmla="*/ 5970554 h 6698675"/>
              <a:gd name="connsiteX14386" fmla="*/ 5726303 w 8267681"/>
              <a:gd name="connsiteY14386" fmla="*/ 5768559 h 6698675"/>
              <a:gd name="connsiteX14387" fmla="*/ 5726303 w 8267681"/>
              <a:gd name="connsiteY14387" fmla="*/ 5925927 h 6698675"/>
              <a:gd name="connsiteX14388" fmla="*/ 5714559 w 8267681"/>
              <a:gd name="connsiteY14388" fmla="*/ 5679305 h 6698675"/>
              <a:gd name="connsiteX14389" fmla="*/ 5705164 w 8267681"/>
              <a:gd name="connsiteY14389" fmla="*/ 5897742 h 6698675"/>
              <a:gd name="connsiteX14390" fmla="*/ 5700467 w 8267681"/>
              <a:gd name="connsiteY14390" fmla="*/ 5752117 h 6698675"/>
              <a:gd name="connsiteX14391" fmla="*/ 5705164 w 8267681"/>
              <a:gd name="connsiteY14391" fmla="*/ 5644073 h 6698675"/>
              <a:gd name="connsiteX14392" fmla="*/ 5674630 w 8267681"/>
              <a:gd name="connsiteY14392" fmla="*/ 5573610 h 6698675"/>
              <a:gd name="connsiteX14393" fmla="*/ 5672443 w 8267681"/>
              <a:gd name="connsiteY14393" fmla="*/ 5585100 h 6698675"/>
              <a:gd name="connsiteX14394" fmla="*/ 5675511 w 8267681"/>
              <a:gd name="connsiteY14394" fmla="*/ 5535736 h 6698675"/>
              <a:gd name="connsiteX14395" fmla="*/ 5669932 w 8267681"/>
              <a:gd name="connsiteY14395" fmla="*/ 5496100 h 6698675"/>
              <a:gd name="connsiteX14396" fmla="*/ 5665969 w 8267681"/>
              <a:gd name="connsiteY14396" fmla="*/ 5567114 h 6698675"/>
              <a:gd name="connsiteX14397" fmla="*/ 5672075 w 8267681"/>
              <a:gd name="connsiteY14397" fmla="*/ 5587032 h 6698675"/>
              <a:gd name="connsiteX14398" fmla="*/ 5657088 w 8267681"/>
              <a:gd name="connsiteY14398" fmla="*/ 5665763 h 6698675"/>
              <a:gd name="connsiteX14399" fmla="*/ 5672281 w 8267681"/>
              <a:gd name="connsiteY14399" fmla="*/ 5975251 h 6698675"/>
              <a:gd name="connsiteX14400" fmla="*/ 5672281 w 8267681"/>
              <a:gd name="connsiteY14400" fmla="*/ 5977600 h 6698675"/>
              <a:gd name="connsiteX14401" fmla="*/ 5646445 w 8267681"/>
              <a:gd name="connsiteY14401" fmla="*/ 5740374 h 6698675"/>
              <a:gd name="connsiteX14402" fmla="*/ 5641747 w 8267681"/>
              <a:gd name="connsiteY14402" fmla="*/ 5667561 h 6698675"/>
              <a:gd name="connsiteX14403" fmla="*/ 5651142 w 8267681"/>
              <a:gd name="connsiteY14403" fmla="*/ 5676956 h 6698675"/>
              <a:gd name="connsiteX14404" fmla="*/ 5651142 w 8267681"/>
              <a:gd name="connsiteY14404" fmla="*/ 5521937 h 6698675"/>
              <a:gd name="connsiteX14405" fmla="*/ 5639398 w 8267681"/>
              <a:gd name="connsiteY14405" fmla="*/ 5658166 h 6698675"/>
              <a:gd name="connsiteX14406" fmla="*/ 5636986 w 8267681"/>
              <a:gd name="connsiteY14406" fmla="*/ 5666411 h 6698675"/>
              <a:gd name="connsiteX14407" fmla="*/ 5640499 w 8267681"/>
              <a:gd name="connsiteY14407" fmla="*/ 5614494 h 6698675"/>
              <a:gd name="connsiteX14408" fmla="*/ 5639398 w 8267681"/>
              <a:gd name="connsiteY14408" fmla="*/ 5550122 h 6698675"/>
              <a:gd name="connsiteX14409" fmla="*/ 5634701 w 8267681"/>
              <a:gd name="connsiteY14409" fmla="*/ 5547773 h 6698675"/>
              <a:gd name="connsiteX14410" fmla="*/ 5622076 w 8267681"/>
              <a:gd name="connsiteY14410" fmla="*/ 5679893 h 6698675"/>
              <a:gd name="connsiteX14411" fmla="*/ 5622377 w 8267681"/>
              <a:gd name="connsiteY14411" fmla="*/ 5734131 h 6698675"/>
              <a:gd name="connsiteX14412" fmla="*/ 5619433 w 8267681"/>
              <a:gd name="connsiteY14412" fmla="*/ 5761219 h 6698675"/>
              <a:gd name="connsiteX14413" fmla="*/ 5613561 w 8267681"/>
              <a:gd name="connsiteY14413" fmla="*/ 5876602 h 6698675"/>
              <a:gd name="connsiteX14414" fmla="*/ 5611213 w 8267681"/>
              <a:gd name="connsiteY14414" fmla="*/ 5914183 h 6698675"/>
              <a:gd name="connsiteX14415" fmla="*/ 5615910 w 8267681"/>
              <a:gd name="connsiteY14415" fmla="*/ 5613539 h 6698675"/>
              <a:gd name="connsiteX14416" fmla="*/ 5592423 w 8267681"/>
              <a:gd name="connsiteY14416" fmla="*/ 5914183 h 6698675"/>
              <a:gd name="connsiteX14417" fmla="*/ 5585376 w 8267681"/>
              <a:gd name="connsiteY14417" fmla="*/ 5855464 h 6698675"/>
              <a:gd name="connsiteX14418" fmla="*/ 5583028 w 8267681"/>
              <a:gd name="connsiteY14418" fmla="*/ 5909486 h 6698675"/>
              <a:gd name="connsiteX14419" fmla="*/ 5580679 w 8267681"/>
              <a:gd name="connsiteY14419" fmla="*/ 5911834 h 6698675"/>
              <a:gd name="connsiteX14420" fmla="*/ 5571284 w 8267681"/>
              <a:gd name="connsiteY14420" fmla="*/ 5644073 h 6698675"/>
              <a:gd name="connsiteX14421" fmla="*/ 5566586 w 8267681"/>
              <a:gd name="connsiteY14421" fmla="*/ 5496100 h 6698675"/>
              <a:gd name="connsiteX14422" fmla="*/ 5568935 w 8267681"/>
              <a:gd name="connsiteY14422" fmla="*/ 5634678 h 6698675"/>
              <a:gd name="connsiteX14423" fmla="*/ 5552493 w 8267681"/>
              <a:gd name="connsiteY14423" fmla="*/ 5585354 h 6698675"/>
              <a:gd name="connsiteX14424" fmla="*/ 5552493 w 8267681"/>
              <a:gd name="connsiteY14424" fmla="*/ 5867207 h 6698675"/>
              <a:gd name="connsiteX14425" fmla="*/ 5531354 w 8267681"/>
              <a:gd name="connsiteY14425" fmla="*/ 5684003 h 6698675"/>
              <a:gd name="connsiteX14426" fmla="*/ 5515184 w 8267681"/>
              <a:gd name="connsiteY14426" fmla="*/ 5797198 h 6698675"/>
              <a:gd name="connsiteX14427" fmla="*/ 5516674 w 8267681"/>
              <a:gd name="connsiteY14427" fmla="*/ 5807900 h 6698675"/>
              <a:gd name="connsiteX14428" fmla="*/ 5519610 w 8267681"/>
              <a:gd name="connsiteY14428" fmla="*/ 5857812 h 6698675"/>
              <a:gd name="connsiteX14429" fmla="*/ 5513139 w 8267681"/>
              <a:gd name="connsiteY14429" fmla="*/ 5816915 h 6698675"/>
              <a:gd name="connsiteX14430" fmla="*/ 5507866 w 8267681"/>
              <a:gd name="connsiteY14430" fmla="*/ 5947066 h 6698675"/>
              <a:gd name="connsiteX14431" fmla="*/ 5505518 w 8267681"/>
              <a:gd name="connsiteY14431" fmla="*/ 5839022 h 6698675"/>
              <a:gd name="connsiteX14432" fmla="*/ 5470286 w 8267681"/>
              <a:gd name="connsiteY14432" fmla="*/ 5740374 h 6698675"/>
              <a:gd name="connsiteX14433" fmla="*/ 5503169 w 8267681"/>
              <a:gd name="connsiteY14433" fmla="*/ 5827278 h 6698675"/>
              <a:gd name="connsiteX14434" fmla="*/ 5510913 w 8267681"/>
              <a:gd name="connsiteY14434" fmla="*/ 5778452 h 6698675"/>
              <a:gd name="connsiteX14435" fmla="*/ 5510215 w 8267681"/>
              <a:gd name="connsiteY14435" fmla="*/ 5761512 h 6698675"/>
              <a:gd name="connsiteX14436" fmla="*/ 5511797 w 8267681"/>
              <a:gd name="connsiteY14436" fmla="*/ 5772875 h 6698675"/>
              <a:gd name="connsiteX14437" fmla="*/ 5517959 w 8267681"/>
              <a:gd name="connsiteY14437" fmla="*/ 5734025 h 6698675"/>
              <a:gd name="connsiteX14438" fmla="*/ 5535208 w 8267681"/>
              <a:gd name="connsiteY14438" fmla="*/ 5531663 h 6698675"/>
              <a:gd name="connsiteX14439" fmla="*/ 5532739 w 8267681"/>
              <a:gd name="connsiteY14439" fmla="*/ 5517111 h 6698675"/>
              <a:gd name="connsiteX14440" fmla="*/ 5534841 w 8267681"/>
              <a:gd name="connsiteY14440" fmla="*/ 5498192 h 6698675"/>
              <a:gd name="connsiteX14441" fmla="*/ 5529006 w 8267681"/>
              <a:gd name="connsiteY14441" fmla="*/ 5474961 h 6698675"/>
              <a:gd name="connsiteX14442" fmla="*/ 5527802 w 8267681"/>
              <a:gd name="connsiteY14442" fmla="*/ 5488010 h 6698675"/>
              <a:gd name="connsiteX14443" fmla="*/ 5519610 w 8267681"/>
              <a:gd name="connsiteY14443" fmla="*/ 5439730 h 6698675"/>
              <a:gd name="connsiteX14444" fmla="*/ 5517045 w 8267681"/>
              <a:gd name="connsiteY14444" fmla="*/ 5453724 h 6698675"/>
              <a:gd name="connsiteX14445" fmla="*/ 5507866 w 8267681"/>
              <a:gd name="connsiteY14445" fmla="*/ 5439730 h 6698675"/>
              <a:gd name="connsiteX14446" fmla="*/ 5507866 w 8267681"/>
              <a:gd name="connsiteY14446" fmla="*/ 5500798 h 6698675"/>
              <a:gd name="connsiteX14447" fmla="*/ 5503169 w 8267681"/>
              <a:gd name="connsiteY14447" fmla="*/ 5500798 h 6698675"/>
              <a:gd name="connsiteX14448" fmla="*/ 5493774 w 8267681"/>
              <a:gd name="connsiteY14448" fmla="*/ 5559517 h 6698675"/>
              <a:gd name="connsiteX14449" fmla="*/ 5486728 w 8267681"/>
              <a:gd name="connsiteY14449" fmla="*/ 5561866 h 6698675"/>
              <a:gd name="connsiteX14450" fmla="*/ 5482911 w 8267681"/>
              <a:gd name="connsiteY14450" fmla="*/ 5604144 h 6698675"/>
              <a:gd name="connsiteX14451" fmla="*/ 5483463 w 8267681"/>
              <a:gd name="connsiteY14451" fmla="*/ 5605644 h 6698675"/>
              <a:gd name="connsiteX14452" fmla="*/ 5481402 w 8267681"/>
              <a:gd name="connsiteY14452" fmla="*/ 5615697 h 6698675"/>
              <a:gd name="connsiteX14453" fmla="*/ 5474984 w 8267681"/>
              <a:gd name="connsiteY14453" fmla="*/ 5604144 h 6698675"/>
              <a:gd name="connsiteX14454" fmla="*/ 5480249 w 8267681"/>
              <a:gd name="connsiteY14454" fmla="*/ 5621319 h 6698675"/>
              <a:gd name="connsiteX14455" fmla="*/ 5472378 w 8267681"/>
              <a:gd name="connsiteY14455" fmla="*/ 5659708 h 6698675"/>
              <a:gd name="connsiteX14456" fmla="*/ 5470286 w 8267681"/>
              <a:gd name="connsiteY14456" fmla="*/ 5733327 h 6698675"/>
              <a:gd name="connsiteX14457" fmla="*/ 5453845 w 8267681"/>
              <a:gd name="connsiteY14457" fmla="*/ 5841371 h 6698675"/>
              <a:gd name="connsiteX14458" fmla="*/ 5458542 w 8267681"/>
              <a:gd name="connsiteY14458" fmla="*/ 5705142 h 6698675"/>
              <a:gd name="connsiteX14459" fmla="*/ 5454820 w 8267681"/>
              <a:gd name="connsiteY14459" fmla="*/ 5693086 h 6698675"/>
              <a:gd name="connsiteX14460" fmla="*/ 5451496 w 8267681"/>
              <a:gd name="connsiteY14460" fmla="*/ 5707490 h 6698675"/>
              <a:gd name="connsiteX14461" fmla="*/ 5454149 w 8267681"/>
              <a:gd name="connsiteY14461" fmla="*/ 5690911 h 6698675"/>
              <a:gd name="connsiteX14462" fmla="*/ 5445037 w 8267681"/>
              <a:gd name="connsiteY14462" fmla="*/ 5661396 h 6698675"/>
              <a:gd name="connsiteX14463" fmla="*/ 5428008 w 8267681"/>
              <a:gd name="connsiteY14463" fmla="*/ 5622935 h 6698675"/>
              <a:gd name="connsiteX14464" fmla="*/ 5420962 w 8267681"/>
              <a:gd name="connsiteY14464" fmla="*/ 5641725 h 6698675"/>
              <a:gd name="connsiteX14465" fmla="*/ 5413915 w 8267681"/>
              <a:gd name="connsiteY14465" fmla="*/ 5641725 h 6698675"/>
              <a:gd name="connsiteX14466" fmla="*/ 5409622 w 8267681"/>
              <a:gd name="connsiteY14466" fmla="*/ 5559150 h 6698675"/>
              <a:gd name="connsiteX14467" fmla="*/ 5408084 w 8267681"/>
              <a:gd name="connsiteY14467" fmla="*/ 5556698 h 6698675"/>
              <a:gd name="connsiteX14468" fmla="*/ 5413291 w 8267681"/>
              <a:gd name="connsiteY14468" fmla="*/ 5545939 h 6698675"/>
              <a:gd name="connsiteX14469" fmla="*/ 5416264 w 8267681"/>
              <a:gd name="connsiteY14469" fmla="*/ 5472613 h 6698675"/>
              <a:gd name="connsiteX14470" fmla="*/ 5409218 w 8267681"/>
              <a:gd name="connsiteY14470" fmla="*/ 5484356 h 6698675"/>
              <a:gd name="connsiteX14471" fmla="*/ 5406869 w 8267681"/>
              <a:gd name="connsiteY14471" fmla="*/ 5482008 h 6698675"/>
              <a:gd name="connsiteX14472" fmla="*/ 5399823 w 8267681"/>
              <a:gd name="connsiteY14472" fmla="*/ 5503147 h 6698675"/>
              <a:gd name="connsiteX14473" fmla="*/ 5393951 w 8267681"/>
              <a:gd name="connsiteY14473" fmla="*/ 5535149 h 6698675"/>
              <a:gd name="connsiteX14474" fmla="*/ 5394500 w 8267681"/>
              <a:gd name="connsiteY14474" fmla="*/ 5537405 h 6698675"/>
              <a:gd name="connsiteX14475" fmla="*/ 5378978 w 8267681"/>
              <a:gd name="connsiteY14475" fmla="*/ 5571555 h 6698675"/>
              <a:gd name="connsiteX14476" fmla="*/ 5364591 w 8267681"/>
              <a:gd name="connsiteY14476" fmla="*/ 5608842 h 6698675"/>
              <a:gd name="connsiteX14477" fmla="*/ 5378684 w 8267681"/>
              <a:gd name="connsiteY14477" fmla="*/ 5653468 h 6698675"/>
              <a:gd name="connsiteX14478" fmla="*/ 5376335 w 8267681"/>
              <a:gd name="connsiteY14478" fmla="*/ 5655817 h 6698675"/>
              <a:gd name="connsiteX14479" fmla="*/ 5362242 w 8267681"/>
              <a:gd name="connsiteY14479" fmla="*/ 5620586 h 6698675"/>
              <a:gd name="connsiteX14480" fmla="*/ 5355196 w 8267681"/>
              <a:gd name="connsiteY14480" fmla="*/ 5672259 h 6698675"/>
              <a:gd name="connsiteX14481" fmla="*/ 5348150 w 8267681"/>
              <a:gd name="connsiteY14481" fmla="*/ 5686352 h 6698675"/>
              <a:gd name="connsiteX14482" fmla="*/ 5341103 w 8267681"/>
              <a:gd name="connsiteY14482" fmla="*/ 5665212 h 6698675"/>
              <a:gd name="connsiteX14483" fmla="*/ 5327011 w 8267681"/>
              <a:gd name="connsiteY14483" fmla="*/ 5691049 h 6698675"/>
              <a:gd name="connsiteX14484" fmla="*/ 5343452 w 8267681"/>
              <a:gd name="connsiteY14484" fmla="*/ 5651120 h 6698675"/>
              <a:gd name="connsiteX14485" fmla="*/ 5341103 w 8267681"/>
              <a:gd name="connsiteY14485" fmla="*/ 5644073 h 6698675"/>
              <a:gd name="connsiteX14486" fmla="*/ 5338754 w 8267681"/>
              <a:gd name="connsiteY14486" fmla="*/ 5637027 h 6698675"/>
              <a:gd name="connsiteX14487" fmla="*/ 5341103 w 8267681"/>
              <a:gd name="connsiteY14487" fmla="*/ 5637027 h 6698675"/>
              <a:gd name="connsiteX14488" fmla="*/ 5340494 w 8267681"/>
              <a:gd name="connsiteY14488" fmla="*/ 5630938 h 6698675"/>
              <a:gd name="connsiteX14489" fmla="*/ 5343452 w 8267681"/>
              <a:gd name="connsiteY14489" fmla="*/ 5620586 h 6698675"/>
              <a:gd name="connsiteX14490" fmla="*/ 5343452 w 8267681"/>
              <a:gd name="connsiteY14490" fmla="*/ 5564215 h 6698675"/>
              <a:gd name="connsiteX14491" fmla="*/ 5338754 w 8267681"/>
              <a:gd name="connsiteY14491" fmla="*/ 5613539 h 6698675"/>
              <a:gd name="connsiteX14492" fmla="*/ 5340494 w 8267681"/>
              <a:gd name="connsiteY14492" fmla="*/ 5630938 h 6698675"/>
              <a:gd name="connsiteX14493" fmla="*/ 5338754 w 8267681"/>
              <a:gd name="connsiteY14493" fmla="*/ 5637027 h 6698675"/>
              <a:gd name="connsiteX14494" fmla="*/ 5334057 w 8267681"/>
              <a:gd name="connsiteY14494" fmla="*/ 5637027 h 6698675"/>
              <a:gd name="connsiteX14495" fmla="*/ 5319964 w 8267681"/>
              <a:gd name="connsiteY14495" fmla="*/ 5571261 h 6698675"/>
              <a:gd name="connsiteX14496" fmla="*/ 5310569 w 8267681"/>
              <a:gd name="connsiteY14496" fmla="*/ 5585354 h 6698675"/>
              <a:gd name="connsiteX14497" fmla="*/ 5301174 w 8267681"/>
              <a:gd name="connsiteY14497" fmla="*/ 5587703 h 6698675"/>
              <a:gd name="connsiteX14498" fmla="*/ 5305872 w 8267681"/>
              <a:gd name="connsiteY14498" fmla="*/ 5519588 h 6698675"/>
              <a:gd name="connsiteX14499" fmla="*/ 5275338 w 8267681"/>
              <a:gd name="connsiteY14499" fmla="*/ 5634678 h 6698675"/>
              <a:gd name="connsiteX14500" fmla="*/ 5298825 w 8267681"/>
              <a:gd name="connsiteY14500" fmla="*/ 5592400 h 6698675"/>
              <a:gd name="connsiteX14501" fmla="*/ 5303523 w 8267681"/>
              <a:gd name="connsiteY14501" fmla="*/ 5594749 h 6698675"/>
              <a:gd name="connsiteX14502" fmla="*/ 5298825 w 8267681"/>
              <a:gd name="connsiteY14502" fmla="*/ 5601795 h 6698675"/>
              <a:gd name="connsiteX14503" fmla="*/ 5296476 w 8267681"/>
              <a:gd name="connsiteY14503" fmla="*/ 5601795 h 6698675"/>
              <a:gd name="connsiteX14504" fmla="*/ 5282384 w 8267681"/>
              <a:gd name="connsiteY14504" fmla="*/ 5634678 h 6698675"/>
              <a:gd name="connsiteX14505" fmla="*/ 5272989 w 8267681"/>
              <a:gd name="connsiteY14505" fmla="*/ 5693398 h 6698675"/>
              <a:gd name="connsiteX14506" fmla="*/ 5268291 w 8267681"/>
              <a:gd name="connsiteY14506" fmla="*/ 5672259 h 6698675"/>
              <a:gd name="connsiteX14507" fmla="*/ 5244803 w 8267681"/>
              <a:gd name="connsiteY14507" fmla="*/ 5712188 h 6698675"/>
              <a:gd name="connsiteX14508" fmla="*/ 5240106 w 8267681"/>
              <a:gd name="connsiteY14508" fmla="*/ 5709839 h 6698675"/>
              <a:gd name="connsiteX14509" fmla="*/ 5265943 w 8267681"/>
              <a:gd name="connsiteY14509" fmla="*/ 5658166 h 6698675"/>
              <a:gd name="connsiteX14510" fmla="*/ 5265943 w 8267681"/>
              <a:gd name="connsiteY14510" fmla="*/ 5599447 h 6698675"/>
              <a:gd name="connsiteX14511" fmla="*/ 5301174 w 8267681"/>
              <a:gd name="connsiteY14511" fmla="*/ 5489054 h 6698675"/>
              <a:gd name="connsiteX14512" fmla="*/ 5289724 w 8267681"/>
              <a:gd name="connsiteY14512" fmla="*/ 5435913 h 6698675"/>
              <a:gd name="connsiteX14513" fmla="*/ 5282219 w 8267681"/>
              <a:gd name="connsiteY14513" fmla="*/ 5393383 h 6698675"/>
              <a:gd name="connsiteX14514" fmla="*/ 5293885 w 8267681"/>
              <a:gd name="connsiteY14514" fmla="*/ 5367184 h 6698675"/>
              <a:gd name="connsiteX14515" fmla="*/ 5312918 w 8267681"/>
              <a:gd name="connsiteY14515" fmla="*/ 5343430 h 6698675"/>
              <a:gd name="connsiteX14516" fmla="*/ 5310569 w 8267681"/>
              <a:gd name="connsiteY14516" fmla="*/ 5352825 h 6698675"/>
              <a:gd name="connsiteX14517" fmla="*/ 5324662 w 8267681"/>
              <a:gd name="connsiteY14517" fmla="*/ 5352825 h 6698675"/>
              <a:gd name="connsiteX14518" fmla="*/ 5319964 w 8267681"/>
              <a:gd name="connsiteY14518" fmla="*/ 5338732 h 6698675"/>
              <a:gd name="connsiteX14519" fmla="*/ 5329359 w 8267681"/>
              <a:gd name="connsiteY14519" fmla="*/ 5334035 h 6698675"/>
              <a:gd name="connsiteX14520" fmla="*/ 5350498 w 8267681"/>
              <a:gd name="connsiteY14520" fmla="*/ 5350476 h 6698675"/>
              <a:gd name="connsiteX14521" fmla="*/ 5381033 w 8267681"/>
              <a:gd name="connsiteY14521" fmla="*/ 5240084 h 6698675"/>
              <a:gd name="connsiteX14522" fmla="*/ 5395125 w 8267681"/>
              <a:gd name="connsiteY14522" fmla="*/ 5190759 h 6698675"/>
              <a:gd name="connsiteX14523" fmla="*/ 5383381 w 8267681"/>
              <a:gd name="connsiteY14523" fmla="*/ 5233037 h 6698675"/>
              <a:gd name="connsiteX14524" fmla="*/ 5390428 w 8267681"/>
              <a:gd name="connsiteY14524" fmla="*/ 5066274 h 6698675"/>
              <a:gd name="connsiteX14525" fmla="*/ 5418613 w 8267681"/>
              <a:gd name="connsiteY14525" fmla="*/ 4962928 h 6698675"/>
              <a:gd name="connsiteX14526" fmla="*/ 5359894 w 8267681"/>
              <a:gd name="connsiteY14526" fmla="*/ 4972323 h 6698675"/>
              <a:gd name="connsiteX14527" fmla="*/ 5362242 w 8267681"/>
              <a:gd name="connsiteY14527" fmla="*/ 4932393 h 6698675"/>
              <a:gd name="connsiteX14528" fmla="*/ 5303523 w 8267681"/>
              <a:gd name="connsiteY14528" fmla="*/ 4962928 h 6698675"/>
              <a:gd name="connsiteX14529" fmla="*/ 5289430 w 8267681"/>
              <a:gd name="connsiteY14529" fmla="*/ 4915952 h 6698675"/>
              <a:gd name="connsiteX14530" fmla="*/ 5308220 w 8267681"/>
              <a:gd name="connsiteY14530" fmla="*/ 4918301 h 6698675"/>
              <a:gd name="connsiteX14531" fmla="*/ 5298825 w 8267681"/>
              <a:gd name="connsiteY14531" fmla="*/ 4873674 h 6698675"/>
              <a:gd name="connsiteX14532" fmla="*/ 5282384 w 8267681"/>
              <a:gd name="connsiteY14532" fmla="*/ 4913603 h 6698675"/>
              <a:gd name="connsiteX14533" fmla="*/ 5176689 w 8267681"/>
              <a:gd name="connsiteY14533" fmla="*/ 4890115 h 6698675"/>
              <a:gd name="connsiteX14534" fmla="*/ 5117969 w 8267681"/>
              <a:gd name="connsiteY14534" fmla="*/ 5303501 h 6698675"/>
              <a:gd name="connsiteX14535" fmla="*/ 5103877 w 8267681"/>
              <a:gd name="connsiteY14535" fmla="*/ 5362220 h 6698675"/>
              <a:gd name="connsiteX14536" fmla="*/ 5120318 w 8267681"/>
              <a:gd name="connsiteY14536" fmla="*/ 5359871 h 6698675"/>
              <a:gd name="connsiteX14537" fmla="*/ 5136760 w 8267681"/>
              <a:gd name="connsiteY14537" fmla="*/ 5519588 h 6698675"/>
              <a:gd name="connsiteX14538" fmla="*/ 5184309 w 8267681"/>
              <a:gd name="connsiteY14538" fmla="*/ 5523579 h 6698675"/>
              <a:gd name="connsiteX14539" fmla="*/ 5204836 w 8267681"/>
              <a:gd name="connsiteY14539" fmla="*/ 5517280 h 6698675"/>
              <a:gd name="connsiteX14540" fmla="*/ 5188727 w 8267681"/>
              <a:gd name="connsiteY14540" fmla="*/ 5565096 h 6698675"/>
              <a:gd name="connsiteX14541" fmla="*/ 5150852 w 8267681"/>
              <a:gd name="connsiteY14541" fmla="*/ 5590051 h 6698675"/>
              <a:gd name="connsiteX14542" fmla="*/ 5141457 w 8267681"/>
              <a:gd name="connsiteY14542" fmla="*/ 5625283 h 6698675"/>
              <a:gd name="connsiteX14543" fmla="*/ 5143806 w 8267681"/>
              <a:gd name="connsiteY14543" fmla="*/ 5594749 h 6698675"/>
              <a:gd name="connsiteX14544" fmla="*/ 5120318 w 8267681"/>
              <a:gd name="connsiteY14544" fmla="*/ 5625283 h 6698675"/>
              <a:gd name="connsiteX14545" fmla="*/ 5125016 w 8267681"/>
              <a:gd name="connsiteY14545" fmla="*/ 5625283 h 6698675"/>
              <a:gd name="connsiteX14546" fmla="*/ 5120318 w 8267681"/>
              <a:gd name="connsiteY14546" fmla="*/ 5634678 h 6698675"/>
              <a:gd name="connsiteX14547" fmla="*/ 5115620 w 8267681"/>
              <a:gd name="connsiteY14547" fmla="*/ 5632330 h 6698675"/>
              <a:gd name="connsiteX14548" fmla="*/ 5096830 w 8267681"/>
              <a:gd name="connsiteY14548" fmla="*/ 5627632 h 6698675"/>
              <a:gd name="connsiteX14549" fmla="*/ 5087435 w 8267681"/>
              <a:gd name="connsiteY14549" fmla="*/ 5629981 h 6698675"/>
              <a:gd name="connsiteX14550" fmla="*/ 5073342 w 8267681"/>
              <a:gd name="connsiteY14550" fmla="*/ 5639376 h 6698675"/>
              <a:gd name="connsiteX14551" fmla="*/ 5117969 w 8267681"/>
              <a:gd name="connsiteY14551" fmla="*/ 5644073 h 6698675"/>
              <a:gd name="connsiteX14552" fmla="*/ 5113272 w 8267681"/>
              <a:gd name="connsiteY14552" fmla="*/ 5658166 h 6698675"/>
              <a:gd name="connsiteX14553" fmla="*/ 5106226 w 8267681"/>
              <a:gd name="connsiteY14553" fmla="*/ 5660515 h 6698675"/>
              <a:gd name="connsiteX14554" fmla="*/ 5113272 w 8267681"/>
              <a:gd name="connsiteY14554" fmla="*/ 5660515 h 6698675"/>
              <a:gd name="connsiteX14555" fmla="*/ 5110923 w 8267681"/>
              <a:gd name="connsiteY14555" fmla="*/ 5665212 h 6698675"/>
              <a:gd name="connsiteX14556" fmla="*/ 5052204 w 8267681"/>
              <a:gd name="connsiteY14556" fmla="*/ 5648771 h 6698675"/>
              <a:gd name="connsiteX14557" fmla="*/ 5040460 w 8267681"/>
              <a:gd name="connsiteY14557" fmla="*/ 5651120 h 6698675"/>
              <a:gd name="connsiteX14558" fmla="*/ 5110923 w 8267681"/>
              <a:gd name="connsiteY14558" fmla="*/ 5667561 h 6698675"/>
              <a:gd name="connsiteX14559" fmla="*/ 5105003 w 8267681"/>
              <a:gd name="connsiteY14559" fmla="*/ 5685322 h 6698675"/>
              <a:gd name="connsiteX14560" fmla="*/ 5087435 w 8267681"/>
              <a:gd name="connsiteY14560" fmla="*/ 5676956 h 6698675"/>
              <a:gd name="connsiteX14561" fmla="*/ 4972345 w 8267681"/>
              <a:gd name="connsiteY14561" fmla="*/ 5705142 h 6698675"/>
              <a:gd name="connsiteX14562" fmla="*/ 5005228 w 8267681"/>
              <a:gd name="connsiteY14562" fmla="*/ 5702793 h 6698675"/>
              <a:gd name="connsiteX14563" fmla="*/ 5071875 w 8267681"/>
              <a:gd name="connsiteY14563" fmla="*/ 5702499 h 6698675"/>
              <a:gd name="connsiteX14564" fmla="*/ 5088742 w 8267681"/>
              <a:gd name="connsiteY14564" fmla="*/ 5701965 h 6698675"/>
              <a:gd name="connsiteX14565" fmla="*/ 5099179 w 8267681"/>
              <a:gd name="connsiteY14565" fmla="*/ 5707490 h 6698675"/>
              <a:gd name="connsiteX14566" fmla="*/ 5099083 w 8267681"/>
              <a:gd name="connsiteY14566" fmla="*/ 5709215 h 6698675"/>
              <a:gd name="connsiteX14567" fmla="*/ 5070407 w 8267681"/>
              <a:gd name="connsiteY14567" fmla="*/ 5707785 h 6698675"/>
              <a:gd name="connsiteX14568" fmla="*/ 5019321 w 8267681"/>
              <a:gd name="connsiteY14568" fmla="*/ 5716886 h 6698675"/>
              <a:gd name="connsiteX14569" fmla="*/ 5075692 w 8267681"/>
              <a:gd name="connsiteY14569" fmla="*/ 5713950 h 6698675"/>
              <a:gd name="connsiteX14570" fmla="*/ 5098838 w 8267681"/>
              <a:gd name="connsiteY14570" fmla="*/ 5713641 h 6698675"/>
              <a:gd name="connsiteX14571" fmla="*/ 5098043 w 8267681"/>
              <a:gd name="connsiteY14571" fmla="*/ 5727940 h 6698675"/>
              <a:gd name="connsiteX14572" fmla="*/ 5090371 w 8267681"/>
              <a:gd name="connsiteY14572" fmla="*/ 5727456 h 6698675"/>
              <a:gd name="connsiteX14573" fmla="*/ 5038111 w 8267681"/>
              <a:gd name="connsiteY14573" fmla="*/ 5738025 h 6698675"/>
              <a:gd name="connsiteX14574" fmla="*/ 5097699 w 8267681"/>
              <a:gd name="connsiteY14574" fmla="*/ 5734139 h 6698675"/>
              <a:gd name="connsiteX14575" fmla="*/ 5096830 w 8267681"/>
              <a:gd name="connsiteY14575" fmla="*/ 5749768 h 6698675"/>
              <a:gd name="connsiteX14576" fmla="*/ 4993484 w 8267681"/>
              <a:gd name="connsiteY14576" fmla="*/ 5761512 h 6698675"/>
              <a:gd name="connsiteX14577" fmla="*/ 5019321 w 8267681"/>
              <a:gd name="connsiteY14577" fmla="*/ 5763861 h 6698675"/>
              <a:gd name="connsiteX14578" fmla="*/ 5096830 w 8267681"/>
              <a:gd name="connsiteY14578" fmla="*/ 5756815 h 6698675"/>
              <a:gd name="connsiteX14579" fmla="*/ 5096830 w 8267681"/>
              <a:gd name="connsiteY14579" fmla="*/ 5763861 h 6698675"/>
              <a:gd name="connsiteX14580" fmla="*/ 5012274 w 8267681"/>
              <a:gd name="connsiteY14580" fmla="*/ 5770907 h 6698675"/>
              <a:gd name="connsiteX14581" fmla="*/ 5033413 w 8267681"/>
              <a:gd name="connsiteY14581" fmla="*/ 5775605 h 6698675"/>
              <a:gd name="connsiteX14582" fmla="*/ 5099179 w 8267681"/>
              <a:gd name="connsiteY14582" fmla="*/ 5768559 h 6698675"/>
              <a:gd name="connsiteX14583" fmla="*/ 5099179 w 8267681"/>
              <a:gd name="connsiteY14583" fmla="*/ 5773256 h 6698675"/>
              <a:gd name="connsiteX14584" fmla="*/ 5031065 w 8267681"/>
              <a:gd name="connsiteY14584" fmla="*/ 5782651 h 6698675"/>
              <a:gd name="connsiteX14585" fmla="*/ 5061599 w 8267681"/>
              <a:gd name="connsiteY14585" fmla="*/ 5785000 h 6698675"/>
              <a:gd name="connsiteX14586" fmla="*/ 5099179 w 8267681"/>
              <a:gd name="connsiteY14586" fmla="*/ 5780303 h 6698675"/>
              <a:gd name="connsiteX14587" fmla="*/ 5110923 w 8267681"/>
              <a:gd name="connsiteY14587" fmla="*/ 5885998 h 6698675"/>
              <a:gd name="connsiteX14588" fmla="*/ 5063947 w 8267681"/>
              <a:gd name="connsiteY14588" fmla="*/ 5836673 h 6698675"/>
              <a:gd name="connsiteX14589" fmla="*/ 5089784 w 8267681"/>
              <a:gd name="connsiteY14589" fmla="*/ 5869556 h 6698675"/>
              <a:gd name="connsiteX14590" fmla="*/ 5110923 w 8267681"/>
              <a:gd name="connsiteY14590" fmla="*/ 5895393 h 6698675"/>
              <a:gd name="connsiteX14591" fmla="*/ 5110923 w 8267681"/>
              <a:gd name="connsiteY14591" fmla="*/ 5904788 h 6698675"/>
              <a:gd name="connsiteX14592" fmla="*/ 5056901 w 8267681"/>
              <a:gd name="connsiteY14592" fmla="*/ 5839022 h 6698675"/>
              <a:gd name="connsiteX14593" fmla="*/ 5033413 w 8267681"/>
              <a:gd name="connsiteY14593" fmla="*/ 5834325 h 6698675"/>
              <a:gd name="connsiteX14594" fmla="*/ 5045157 w 8267681"/>
              <a:gd name="connsiteY14594" fmla="*/ 5846069 h 6698675"/>
              <a:gd name="connsiteX14595" fmla="*/ 5016972 w 8267681"/>
              <a:gd name="connsiteY14595" fmla="*/ 5834325 h 6698675"/>
              <a:gd name="connsiteX14596" fmla="*/ 4955903 w 8267681"/>
              <a:gd name="connsiteY14596" fmla="*/ 5820232 h 6698675"/>
              <a:gd name="connsiteX14597" fmla="*/ 4953555 w 8267681"/>
              <a:gd name="connsiteY14597" fmla="*/ 5810837 h 6698675"/>
              <a:gd name="connsiteX14598" fmla="*/ 4948857 w 8267681"/>
              <a:gd name="connsiteY14598" fmla="*/ 5815534 h 6698675"/>
              <a:gd name="connsiteX14599" fmla="*/ 4981740 w 8267681"/>
              <a:gd name="connsiteY14599" fmla="*/ 5850766 h 6698675"/>
              <a:gd name="connsiteX14600" fmla="*/ 4918323 w 8267681"/>
              <a:gd name="connsiteY14600" fmla="*/ 5871905 h 6698675"/>
              <a:gd name="connsiteX14601" fmla="*/ 4822023 w 8267681"/>
              <a:gd name="connsiteY14601" fmla="*/ 5857812 h 6698675"/>
              <a:gd name="connsiteX14602" fmla="*/ 4817249 w 8267681"/>
              <a:gd name="connsiteY14602" fmla="*/ 5840678 h 6698675"/>
              <a:gd name="connsiteX14603" fmla="*/ 4816372 w 8267681"/>
              <a:gd name="connsiteY14603" fmla="*/ 5832857 h 6698675"/>
              <a:gd name="connsiteX14604" fmla="*/ 4798535 w 8267681"/>
              <a:gd name="connsiteY14604" fmla="*/ 5824929 h 6698675"/>
              <a:gd name="connsiteX14605" fmla="*/ 4824372 w 8267681"/>
              <a:gd name="connsiteY14605" fmla="*/ 5789698 h 6698675"/>
              <a:gd name="connsiteX14606" fmla="*/ 4920672 w 8267681"/>
              <a:gd name="connsiteY14606" fmla="*/ 5813185 h 6698675"/>
              <a:gd name="connsiteX14607" fmla="*/ 4890138 w 8267681"/>
              <a:gd name="connsiteY14607" fmla="*/ 5792047 h 6698675"/>
              <a:gd name="connsiteX14608" fmla="*/ 4897184 w 8267681"/>
              <a:gd name="connsiteY14608" fmla="*/ 5738025 h 6698675"/>
              <a:gd name="connsiteX14609" fmla="*/ 4838465 w 8267681"/>
              <a:gd name="connsiteY14609" fmla="*/ 5674608 h 6698675"/>
              <a:gd name="connsiteX14610" fmla="*/ 4838465 w 8267681"/>
              <a:gd name="connsiteY14610" fmla="*/ 5676956 h 6698675"/>
              <a:gd name="connsiteX14611" fmla="*/ 4760955 w 8267681"/>
              <a:gd name="connsiteY14611" fmla="*/ 5674608 h 6698675"/>
              <a:gd name="connsiteX14612" fmla="*/ 4782094 w 8267681"/>
              <a:gd name="connsiteY14612" fmla="*/ 5698095 h 6698675"/>
              <a:gd name="connsiteX14613" fmla="*/ 4765653 w 8267681"/>
              <a:gd name="connsiteY14613" fmla="*/ 5707490 h 6698675"/>
              <a:gd name="connsiteX14614" fmla="*/ 4772699 w 8267681"/>
              <a:gd name="connsiteY14614" fmla="*/ 5726281 h 6698675"/>
              <a:gd name="connsiteX14615" fmla="*/ 4784443 w 8267681"/>
              <a:gd name="connsiteY14615" fmla="*/ 5719234 h 6698675"/>
              <a:gd name="connsiteX14616" fmla="*/ 4840813 w 8267681"/>
              <a:gd name="connsiteY14616" fmla="*/ 5749768 h 6698675"/>
              <a:gd name="connsiteX14617" fmla="*/ 4793838 w 8267681"/>
              <a:gd name="connsiteY14617" fmla="*/ 5749768 h 6698675"/>
              <a:gd name="connsiteX14618" fmla="*/ 4796187 w 8267681"/>
              <a:gd name="connsiteY14618" fmla="*/ 5775605 h 6698675"/>
              <a:gd name="connsiteX14619" fmla="*/ 4760955 w 8267681"/>
              <a:gd name="connsiteY14619" fmla="*/ 5787349 h 6698675"/>
              <a:gd name="connsiteX14620" fmla="*/ 4770350 w 8267681"/>
              <a:gd name="connsiteY14620" fmla="*/ 5810837 h 6698675"/>
              <a:gd name="connsiteX14621" fmla="*/ 4746862 w 8267681"/>
              <a:gd name="connsiteY14621" fmla="*/ 5761512 h 6698675"/>
              <a:gd name="connsiteX14622" fmla="*/ 4775048 w 8267681"/>
              <a:gd name="connsiteY14622" fmla="*/ 5752117 h 6698675"/>
              <a:gd name="connsiteX14623" fmla="*/ 4721026 w 8267681"/>
              <a:gd name="connsiteY14623" fmla="*/ 5747420 h 6698675"/>
              <a:gd name="connsiteX14624" fmla="*/ 4716328 w 8267681"/>
              <a:gd name="connsiteY14624" fmla="*/ 5773256 h 6698675"/>
              <a:gd name="connsiteX14625" fmla="*/ 4713980 w 8267681"/>
              <a:gd name="connsiteY14625" fmla="*/ 5773256 h 6698675"/>
              <a:gd name="connsiteX14626" fmla="*/ 4718677 w 8267681"/>
              <a:gd name="connsiteY14626" fmla="*/ 5777954 h 6698675"/>
              <a:gd name="connsiteX14627" fmla="*/ 4711631 w 8267681"/>
              <a:gd name="connsiteY14627" fmla="*/ 5777954 h 6698675"/>
              <a:gd name="connsiteX14628" fmla="*/ 4763304 w 8267681"/>
              <a:gd name="connsiteY14628" fmla="*/ 5831976 h 6698675"/>
              <a:gd name="connsiteX14629" fmla="*/ 4763304 w 8267681"/>
              <a:gd name="connsiteY14629" fmla="*/ 5836673 h 6698675"/>
              <a:gd name="connsiteX14630" fmla="*/ 4765653 w 8267681"/>
              <a:gd name="connsiteY14630" fmla="*/ 5850766 h 6698675"/>
              <a:gd name="connsiteX14631" fmla="*/ 4768001 w 8267681"/>
              <a:gd name="connsiteY14631" fmla="*/ 5855464 h 6698675"/>
              <a:gd name="connsiteX14632" fmla="*/ 4780580 w 8267681"/>
              <a:gd name="connsiteY14632" fmla="*/ 5857290 h 6698675"/>
              <a:gd name="connsiteX14633" fmla="*/ 4772699 w 8267681"/>
              <a:gd name="connsiteY14633" fmla="*/ 5883649 h 6698675"/>
              <a:gd name="connsiteX14634" fmla="*/ 4732770 w 8267681"/>
              <a:gd name="connsiteY14634" fmla="*/ 5888346 h 6698675"/>
              <a:gd name="connsiteX14635" fmla="*/ 4716328 w 8267681"/>
              <a:gd name="connsiteY14635" fmla="*/ 5902439 h 6698675"/>
              <a:gd name="connsiteX14636" fmla="*/ 4681096 w 8267681"/>
              <a:gd name="connsiteY14636" fmla="*/ 5895393 h 6698675"/>
              <a:gd name="connsiteX14637" fmla="*/ 4688143 w 8267681"/>
              <a:gd name="connsiteY14637" fmla="*/ 5885998 h 6698675"/>
              <a:gd name="connsiteX14638" fmla="*/ 4650562 w 8267681"/>
              <a:gd name="connsiteY14638" fmla="*/ 5850766 h 6698675"/>
              <a:gd name="connsiteX14639" fmla="*/ 4652911 w 8267681"/>
              <a:gd name="connsiteY14639" fmla="*/ 5885998 h 6698675"/>
              <a:gd name="connsiteX14640" fmla="*/ 4690492 w 8267681"/>
              <a:gd name="connsiteY14640" fmla="*/ 5918880 h 6698675"/>
              <a:gd name="connsiteX14641" fmla="*/ 4676399 w 8267681"/>
              <a:gd name="connsiteY14641" fmla="*/ 5947066 h 6698675"/>
              <a:gd name="connsiteX14642" fmla="*/ 4728072 w 8267681"/>
              <a:gd name="connsiteY14642" fmla="*/ 5940020 h 6698675"/>
              <a:gd name="connsiteX14643" fmla="*/ 4732770 w 8267681"/>
              <a:gd name="connsiteY14643" fmla="*/ 5977600 h 6698675"/>
              <a:gd name="connsiteX14644" fmla="*/ 4798535 w 8267681"/>
              <a:gd name="connsiteY14644" fmla="*/ 5923578 h 6698675"/>
              <a:gd name="connsiteX14645" fmla="*/ 4791489 w 8267681"/>
              <a:gd name="connsiteY14645" fmla="*/ 5918880 h 6698675"/>
              <a:gd name="connsiteX14646" fmla="*/ 4871348 w 8267681"/>
              <a:gd name="connsiteY14646" fmla="*/ 5947066 h 6698675"/>
              <a:gd name="connsiteX14647" fmla="*/ 4838465 w 8267681"/>
              <a:gd name="connsiteY14647" fmla="*/ 5958810 h 6698675"/>
              <a:gd name="connsiteX14648" fmla="*/ 4819675 w 8267681"/>
              <a:gd name="connsiteY14648" fmla="*/ 5994041 h 6698675"/>
              <a:gd name="connsiteX14649" fmla="*/ 4702236 w 8267681"/>
              <a:gd name="connsiteY14649" fmla="*/ 6003436 h 6698675"/>
              <a:gd name="connsiteX14650" fmla="*/ 4697538 w 8267681"/>
              <a:gd name="connsiteY14650" fmla="*/ 5994041 h 6698675"/>
              <a:gd name="connsiteX14651" fmla="*/ 4713980 w 8267681"/>
              <a:gd name="connsiteY14651" fmla="*/ 6033971 h 6698675"/>
              <a:gd name="connsiteX14652" fmla="*/ 4702236 w 8267681"/>
              <a:gd name="connsiteY14652" fmla="*/ 6019878 h 6698675"/>
              <a:gd name="connsiteX14653" fmla="*/ 4791489 w 8267681"/>
              <a:gd name="connsiteY14653" fmla="*/ 6174898 h 6698675"/>
              <a:gd name="connsiteX14654" fmla="*/ 4753909 w 8267681"/>
              <a:gd name="connsiteY14654" fmla="*/ 6134968 h 6698675"/>
              <a:gd name="connsiteX14655" fmla="*/ 4817326 w 8267681"/>
              <a:gd name="connsiteY14655" fmla="*/ 6212478 h 6698675"/>
              <a:gd name="connsiteX14656" fmla="*/ 4770350 w 8267681"/>
              <a:gd name="connsiteY14656" fmla="*/ 6174898 h 6698675"/>
              <a:gd name="connsiteX14657" fmla="*/ 4770350 w 8267681"/>
              <a:gd name="connsiteY14657" fmla="*/ 6179595 h 6698675"/>
              <a:gd name="connsiteX14658" fmla="*/ 4742165 w 8267681"/>
              <a:gd name="connsiteY14658" fmla="*/ 6158456 h 6698675"/>
              <a:gd name="connsiteX14659" fmla="*/ 4676399 w 8267681"/>
              <a:gd name="connsiteY14659" fmla="*/ 6076249 h 6698675"/>
              <a:gd name="connsiteX14660" fmla="*/ 4667004 w 8267681"/>
              <a:gd name="connsiteY14660" fmla="*/ 6078598 h 6698675"/>
              <a:gd name="connsiteX14661" fmla="*/ 4706933 w 8267681"/>
              <a:gd name="connsiteY14661" fmla="*/ 6123224 h 6698675"/>
              <a:gd name="connsiteX14662" fmla="*/ 4664655 w 8267681"/>
              <a:gd name="connsiteY14662" fmla="*/ 6080946 h 6698675"/>
              <a:gd name="connsiteX14663" fmla="*/ 4650562 w 8267681"/>
              <a:gd name="connsiteY14663" fmla="*/ 6095039 h 6698675"/>
              <a:gd name="connsiteX14664" fmla="*/ 4721026 w 8267681"/>
              <a:gd name="connsiteY14664" fmla="*/ 6177247 h 6698675"/>
              <a:gd name="connsiteX14665" fmla="*/ 4684723 w 8267681"/>
              <a:gd name="connsiteY14665" fmla="*/ 6145265 h 6698675"/>
              <a:gd name="connsiteX14666" fmla="*/ 4685795 w 8267681"/>
              <a:gd name="connsiteY14666" fmla="*/ 6146601 h 6698675"/>
              <a:gd name="connsiteX14667" fmla="*/ 4770351 w 8267681"/>
              <a:gd name="connsiteY14667" fmla="*/ 6266499 h 6698675"/>
              <a:gd name="connsiteX14668" fmla="*/ 4770351 w 8267681"/>
              <a:gd name="connsiteY14668" fmla="*/ 6259453 h 6698675"/>
              <a:gd name="connsiteX14669" fmla="*/ 4819676 w 8267681"/>
              <a:gd name="connsiteY14669" fmla="*/ 6332264 h 6698675"/>
              <a:gd name="connsiteX14670" fmla="*/ 4737469 w 8267681"/>
              <a:gd name="connsiteY14670" fmla="*/ 6247709 h 6698675"/>
              <a:gd name="connsiteX14671" fmla="*/ 4657609 w 8267681"/>
              <a:gd name="connsiteY14671" fmla="*/ 6111479 h 6698675"/>
              <a:gd name="connsiteX14672" fmla="*/ 4681409 w 8267681"/>
              <a:gd name="connsiteY14672" fmla="*/ 6141135 h 6698675"/>
              <a:gd name="connsiteX14673" fmla="*/ 4650562 w 8267681"/>
              <a:gd name="connsiteY14673" fmla="*/ 6099736 h 6698675"/>
              <a:gd name="connsiteX14674" fmla="*/ 4652911 w 8267681"/>
              <a:gd name="connsiteY14674" fmla="*/ 6111480 h 6698675"/>
              <a:gd name="connsiteX14675" fmla="*/ 4627075 w 8267681"/>
              <a:gd name="connsiteY14675" fmla="*/ 6109131 h 6698675"/>
              <a:gd name="connsiteX14676" fmla="*/ 4634121 w 8267681"/>
              <a:gd name="connsiteY14676" fmla="*/ 6118527 h 6698675"/>
              <a:gd name="connsiteX14677" fmla="*/ 4622377 w 8267681"/>
              <a:gd name="connsiteY14677" fmla="*/ 6109131 h 6698675"/>
              <a:gd name="connsiteX14678" fmla="*/ 4612982 w 8267681"/>
              <a:gd name="connsiteY14678" fmla="*/ 6123224 h 6698675"/>
              <a:gd name="connsiteX14679" fmla="*/ 4615331 w 8267681"/>
              <a:gd name="connsiteY14679" fmla="*/ 6125573 h 6698675"/>
              <a:gd name="connsiteX14680" fmla="*/ 4612982 w 8267681"/>
              <a:gd name="connsiteY14680" fmla="*/ 6125573 h 6698675"/>
              <a:gd name="connsiteX14681" fmla="*/ 4610633 w 8267681"/>
              <a:gd name="connsiteY14681" fmla="*/ 6134968 h 6698675"/>
              <a:gd name="connsiteX14682" fmla="*/ 4612982 w 8267681"/>
              <a:gd name="connsiteY14682" fmla="*/ 6139666 h 6698675"/>
              <a:gd name="connsiteX14683" fmla="*/ 4641167 w 8267681"/>
              <a:gd name="connsiteY14683" fmla="*/ 6158456 h 6698675"/>
              <a:gd name="connsiteX14684" fmla="*/ 4631772 w 8267681"/>
              <a:gd name="connsiteY14684" fmla="*/ 6179595 h 6698675"/>
              <a:gd name="connsiteX14685" fmla="*/ 4652911 w 8267681"/>
              <a:gd name="connsiteY14685" fmla="*/ 6203082 h 6698675"/>
              <a:gd name="connsiteX14686" fmla="*/ 4650562 w 8267681"/>
              <a:gd name="connsiteY14686" fmla="*/ 6214826 h 6698675"/>
              <a:gd name="connsiteX14687" fmla="*/ 4643516 w 8267681"/>
              <a:gd name="connsiteY14687" fmla="*/ 6219524 h 6698675"/>
              <a:gd name="connsiteX14688" fmla="*/ 4690492 w 8267681"/>
              <a:gd name="connsiteY14688" fmla="*/ 6301731 h 6698675"/>
              <a:gd name="connsiteX14689" fmla="*/ 4737467 w 8267681"/>
              <a:gd name="connsiteY14689" fmla="*/ 6405078 h 6698675"/>
              <a:gd name="connsiteX14690" fmla="*/ 4709282 w 8267681"/>
              <a:gd name="connsiteY14690" fmla="*/ 6355753 h 6698675"/>
              <a:gd name="connsiteX14691" fmla="*/ 4713980 w 8267681"/>
              <a:gd name="connsiteY14691" fmla="*/ 6367497 h 6698675"/>
              <a:gd name="connsiteX14692" fmla="*/ 4655260 w 8267681"/>
              <a:gd name="connsiteY14692" fmla="*/ 6268849 h 6698675"/>
              <a:gd name="connsiteX14693" fmla="*/ 4721026 w 8267681"/>
              <a:gd name="connsiteY14693" fmla="*/ 6409775 h 6698675"/>
              <a:gd name="connsiteX14694" fmla="*/ 4669353 w 8267681"/>
              <a:gd name="connsiteY14694" fmla="*/ 6322870 h 6698675"/>
              <a:gd name="connsiteX14695" fmla="*/ 4721026 w 8267681"/>
              <a:gd name="connsiteY14695" fmla="*/ 6454402 h 6698675"/>
              <a:gd name="connsiteX14696" fmla="*/ 4697538 w 8267681"/>
              <a:gd name="connsiteY14696" fmla="*/ 6419170 h 6698675"/>
              <a:gd name="connsiteX14697" fmla="*/ 4685794 w 8267681"/>
              <a:gd name="connsiteY14697" fmla="*/ 6386288 h 6698675"/>
              <a:gd name="connsiteX14698" fmla="*/ 4702236 w 8267681"/>
              <a:gd name="connsiteY14698" fmla="*/ 6461448 h 6698675"/>
              <a:gd name="connsiteX14699" fmla="*/ 4690492 w 8267681"/>
              <a:gd name="connsiteY14699" fmla="*/ 6440309 h 6698675"/>
              <a:gd name="connsiteX14700" fmla="*/ 4678748 w 8267681"/>
              <a:gd name="connsiteY14700" fmla="*/ 6393334 h 6698675"/>
              <a:gd name="connsiteX14701" fmla="*/ 4683445 w 8267681"/>
              <a:gd name="connsiteY14701" fmla="*/ 6423868 h 6698675"/>
              <a:gd name="connsiteX14702" fmla="*/ 4678748 w 8267681"/>
              <a:gd name="connsiteY14702" fmla="*/ 6428565 h 6698675"/>
              <a:gd name="connsiteX14703" fmla="*/ 4662306 w 8267681"/>
              <a:gd name="connsiteY14703" fmla="*/ 6367497 h 6698675"/>
              <a:gd name="connsiteX14704" fmla="*/ 4660902 w 8267681"/>
              <a:gd name="connsiteY14704" fmla="*/ 6379855 h 6698675"/>
              <a:gd name="connsiteX14705" fmla="*/ 4643810 w 8267681"/>
              <a:gd name="connsiteY14705" fmla="*/ 6318467 h 6698675"/>
              <a:gd name="connsiteX14706" fmla="*/ 4631772 w 8267681"/>
              <a:gd name="connsiteY14706" fmla="*/ 6238314 h 6698675"/>
              <a:gd name="connsiteX14707" fmla="*/ 4627075 w 8267681"/>
              <a:gd name="connsiteY14707" fmla="*/ 6238314 h 6698675"/>
              <a:gd name="connsiteX14708" fmla="*/ 4650562 w 8267681"/>
              <a:gd name="connsiteY14708" fmla="*/ 6388637 h 6698675"/>
              <a:gd name="connsiteX14709" fmla="*/ 4620028 w 8267681"/>
              <a:gd name="connsiteY14709" fmla="*/ 6240663 h 6698675"/>
              <a:gd name="connsiteX14710" fmla="*/ 4610633 w 8267681"/>
              <a:gd name="connsiteY14710" fmla="*/ 6344009 h 6698675"/>
              <a:gd name="connsiteX14711" fmla="*/ 4608285 w 8267681"/>
              <a:gd name="connsiteY14711" fmla="*/ 6355753 h 6698675"/>
              <a:gd name="connsiteX14712" fmla="*/ 4603587 w 8267681"/>
              <a:gd name="connsiteY14712" fmla="*/ 6235966 h 6698675"/>
              <a:gd name="connsiteX14713" fmla="*/ 4594220 w 8267681"/>
              <a:gd name="connsiteY14713" fmla="*/ 6237839 h 6698675"/>
              <a:gd name="connsiteX14714" fmla="*/ 4598889 w 8267681"/>
              <a:gd name="connsiteY14714" fmla="*/ 6158456 h 6698675"/>
              <a:gd name="connsiteX14715" fmla="*/ 4589494 w 8267681"/>
              <a:gd name="connsiteY14715" fmla="*/ 6156107 h 6698675"/>
              <a:gd name="connsiteX14716" fmla="*/ 4589494 w 8267681"/>
              <a:gd name="connsiteY14716" fmla="*/ 6198385 h 6698675"/>
              <a:gd name="connsiteX14717" fmla="*/ 4591843 w 8267681"/>
              <a:gd name="connsiteY14717" fmla="*/ 6203082 h 6698675"/>
              <a:gd name="connsiteX14718" fmla="*/ 4589494 w 8267681"/>
              <a:gd name="connsiteY14718" fmla="*/ 6207780 h 6698675"/>
              <a:gd name="connsiteX14719" fmla="*/ 4594122 w 8267681"/>
              <a:gd name="connsiteY14719" fmla="*/ 6237859 h 6698675"/>
              <a:gd name="connsiteX14720" fmla="*/ 4591892 w 8267681"/>
              <a:gd name="connsiteY14720" fmla="*/ 6238305 h 6698675"/>
              <a:gd name="connsiteX14721" fmla="*/ 4591843 w 8267681"/>
              <a:gd name="connsiteY14721" fmla="*/ 6235966 h 6698675"/>
              <a:gd name="connsiteX14722" fmla="*/ 4591843 w 8267681"/>
              <a:gd name="connsiteY14722" fmla="*/ 6238314 h 6698675"/>
              <a:gd name="connsiteX14723" fmla="*/ 4591892 w 8267681"/>
              <a:gd name="connsiteY14723" fmla="*/ 6238305 h 6698675"/>
              <a:gd name="connsiteX14724" fmla="*/ 4593018 w 8267681"/>
              <a:gd name="connsiteY14724" fmla="*/ 6292924 h 6698675"/>
              <a:gd name="connsiteX14725" fmla="*/ 4587145 w 8267681"/>
              <a:gd name="connsiteY14725" fmla="*/ 6353405 h 6698675"/>
              <a:gd name="connsiteX14726" fmla="*/ 4575401 w 8267681"/>
              <a:gd name="connsiteY14726" fmla="*/ 6289988 h 6698675"/>
              <a:gd name="connsiteX14727" fmla="*/ 4570704 w 8267681"/>
              <a:gd name="connsiteY14727" fmla="*/ 6313475 h 6698675"/>
              <a:gd name="connsiteX14728" fmla="*/ 4566006 w 8267681"/>
              <a:gd name="connsiteY14728" fmla="*/ 6297034 h 6698675"/>
              <a:gd name="connsiteX14729" fmla="*/ 4556611 w 8267681"/>
              <a:gd name="connsiteY14729" fmla="*/ 6297034 h 6698675"/>
              <a:gd name="connsiteX14730" fmla="*/ 4542519 w 8267681"/>
              <a:gd name="connsiteY14730" fmla="*/ 6217175 h 6698675"/>
              <a:gd name="connsiteX14731" fmla="*/ 4535472 w 8267681"/>
              <a:gd name="connsiteY14731" fmla="*/ 6212478 h 6698675"/>
              <a:gd name="connsiteX14732" fmla="*/ 4535472 w 8267681"/>
              <a:gd name="connsiteY14732" fmla="*/ 6243012 h 6698675"/>
              <a:gd name="connsiteX14733" fmla="*/ 4530775 w 8267681"/>
              <a:gd name="connsiteY14733" fmla="*/ 6203082 h 6698675"/>
              <a:gd name="connsiteX14734" fmla="*/ 4530775 w 8267681"/>
              <a:gd name="connsiteY14734" fmla="*/ 6200734 h 6698675"/>
              <a:gd name="connsiteX14735" fmla="*/ 4526077 w 8267681"/>
              <a:gd name="connsiteY14735" fmla="*/ 6181944 h 6698675"/>
              <a:gd name="connsiteX14736" fmla="*/ 4523728 w 8267681"/>
              <a:gd name="connsiteY14736" fmla="*/ 6231268 h 6698675"/>
              <a:gd name="connsiteX14737" fmla="*/ 4514333 w 8267681"/>
              <a:gd name="connsiteY14737" fmla="*/ 6142015 h 6698675"/>
              <a:gd name="connsiteX14738" fmla="*/ 4507287 w 8267681"/>
              <a:gd name="connsiteY14738" fmla="*/ 6137317 h 6698675"/>
              <a:gd name="connsiteX14739" fmla="*/ 4504938 w 8267681"/>
              <a:gd name="connsiteY14739" fmla="*/ 6127922 h 6698675"/>
              <a:gd name="connsiteX14740" fmla="*/ 4509635 w 8267681"/>
              <a:gd name="connsiteY14740" fmla="*/ 6163154 h 6698675"/>
              <a:gd name="connsiteX14741" fmla="*/ 4488497 w 8267681"/>
              <a:gd name="connsiteY14741" fmla="*/ 6033971 h 6698675"/>
              <a:gd name="connsiteX14742" fmla="*/ 4460311 w 8267681"/>
              <a:gd name="connsiteY14742" fmla="*/ 6033971 h 6698675"/>
              <a:gd name="connsiteX14743" fmla="*/ 4460311 w 8267681"/>
              <a:gd name="connsiteY14743" fmla="*/ 5982297 h 6698675"/>
              <a:gd name="connsiteX14744" fmla="*/ 4474404 w 8267681"/>
              <a:gd name="connsiteY14744" fmla="*/ 5977600 h 6698675"/>
              <a:gd name="connsiteX14745" fmla="*/ 4457962 w 8267681"/>
              <a:gd name="connsiteY14745" fmla="*/ 5930624 h 6698675"/>
              <a:gd name="connsiteX14746" fmla="*/ 4387499 w 8267681"/>
              <a:gd name="connsiteY14746" fmla="*/ 5935322 h 6698675"/>
              <a:gd name="connsiteX14747" fmla="*/ 4335826 w 8267681"/>
              <a:gd name="connsiteY14747" fmla="*/ 5890695 h 6698675"/>
              <a:gd name="connsiteX14748" fmla="*/ 4309989 w 8267681"/>
              <a:gd name="connsiteY14748" fmla="*/ 5752117 h 6698675"/>
              <a:gd name="connsiteX14749" fmla="*/ 4328780 w 8267681"/>
              <a:gd name="connsiteY14749" fmla="*/ 5820232 h 6698675"/>
              <a:gd name="connsiteX14750" fmla="*/ 4448567 w 8267681"/>
              <a:gd name="connsiteY14750" fmla="*/ 5907137 h 6698675"/>
              <a:gd name="connsiteX14751" fmla="*/ 4448567 w 8267681"/>
              <a:gd name="connsiteY14751" fmla="*/ 5904788 h 6698675"/>
              <a:gd name="connsiteX14752" fmla="*/ 4434475 w 8267681"/>
              <a:gd name="connsiteY14752" fmla="*/ 5869556 h 6698675"/>
              <a:gd name="connsiteX14753" fmla="*/ 4387499 w 8267681"/>
              <a:gd name="connsiteY14753" fmla="*/ 5839022 h 6698675"/>
              <a:gd name="connsiteX14754" fmla="*/ 4389848 w 8267681"/>
              <a:gd name="connsiteY14754" fmla="*/ 5806139 h 6698675"/>
              <a:gd name="connsiteX14755" fmla="*/ 4375755 w 8267681"/>
              <a:gd name="connsiteY14755" fmla="*/ 5775605 h 6698675"/>
              <a:gd name="connsiteX14756" fmla="*/ 4389848 w 8267681"/>
              <a:gd name="connsiteY14756" fmla="*/ 5742722 h 6698675"/>
              <a:gd name="connsiteX14757" fmla="*/ 4378104 w 8267681"/>
              <a:gd name="connsiteY14757" fmla="*/ 5738025 h 6698675"/>
              <a:gd name="connsiteX14758" fmla="*/ 4380453 w 8267681"/>
              <a:gd name="connsiteY14758" fmla="*/ 5723932 h 6698675"/>
              <a:gd name="connsiteX14759" fmla="*/ 4373407 w 8267681"/>
              <a:gd name="connsiteY14759" fmla="*/ 5709839 h 6698675"/>
              <a:gd name="connsiteX14760" fmla="*/ 4364011 w 8267681"/>
              <a:gd name="connsiteY14760" fmla="*/ 5707490 h 6698675"/>
              <a:gd name="connsiteX14761" fmla="*/ 4366360 w 8267681"/>
              <a:gd name="connsiteY14761" fmla="*/ 5719234 h 6698675"/>
              <a:gd name="connsiteX14762" fmla="*/ 4335826 w 8267681"/>
              <a:gd name="connsiteY14762" fmla="*/ 5709839 h 6698675"/>
              <a:gd name="connsiteX14763" fmla="*/ 4312338 w 8267681"/>
              <a:gd name="connsiteY14763" fmla="*/ 5655817 h 6698675"/>
              <a:gd name="connsiteX14764" fmla="*/ 4314687 w 8267681"/>
              <a:gd name="connsiteY14764" fmla="*/ 5644073 h 6698675"/>
              <a:gd name="connsiteX14765" fmla="*/ 4286502 w 8267681"/>
              <a:gd name="connsiteY14765" fmla="*/ 5625283 h 6698675"/>
              <a:gd name="connsiteX14766" fmla="*/ 4293548 w 8267681"/>
              <a:gd name="connsiteY14766" fmla="*/ 5860161 h 6698675"/>
              <a:gd name="connsiteX14767" fmla="*/ 4284153 w 8267681"/>
              <a:gd name="connsiteY14767" fmla="*/ 5857812 h 6698675"/>
              <a:gd name="connsiteX14768" fmla="*/ 4326431 w 8267681"/>
              <a:gd name="connsiteY14768" fmla="*/ 6301731 h 6698675"/>
              <a:gd name="connsiteX14769" fmla="*/ 4338175 w 8267681"/>
              <a:gd name="connsiteY14769" fmla="*/ 6254756 h 6698675"/>
              <a:gd name="connsiteX14770" fmla="*/ 4364011 w 8267681"/>
              <a:gd name="connsiteY14770" fmla="*/ 6282942 h 6698675"/>
              <a:gd name="connsiteX14771" fmla="*/ 4333477 w 8267681"/>
              <a:gd name="connsiteY14771" fmla="*/ 6339312 h 6698675"/>
              <a:gd name="connsiteX14772" fmla="*/ 4328780 w 8267681"/>
              <a:gd name="connsiteY14772" fmla="*/ 6329917 h 6698675"/>
              <a:gd name="connsiteX14773" fmla="*/ 4333477 w 8267681"/>
              <a:gd name="connsiteY14773" fmla="*/ 6367497 h 6698675"/>
              <a:gd name="connsiteX14774" fmla="*/ 4354616 w 8267681"/>
              <a:gd name="connsiteY14774" fmla="*/ 6362800 h 6698675"/>
              <a:gd name="connsiteX14775" fmla="*/ 4359314 w 8267681"/>
              <a:gd name="connsiteY14775" fmla="*/ 6344009 h 6698675"/>
              <a:gd name="connsiteX14776" fmla="*/ 4371058 w 8267681"/>
              <a:gd name="connsiteY14776" fmla="*/ 6407427 h 6698675"/>
              <a:gd name="connsiteX14777" fmla="*/ 4335826 w 8267681"/>
              <a:gd name="connsiteY14777" fmla="*/ 6400380 h 6698675"/>
              <a:gd name="connsiteX14778" fmla="*/ 4375755 w 8267681"/>
              <a:gd name="connsiteY14778" fmla="*/ 6698675 h 6698675"/>
              <a:gd name="connsiteX14779" fmla="*/ 4168027 w 8267681"/>
              <a:gd name="connsiteY14779" fmla="*/ 6376580 h 6698675"/>
              <a:gd name="connsiteX14780" fmla="*/ 4169063 w 8267681"/>
              <a:gd name="connsiteY14780" fmla="*/ 6381589 h 6698675"/>
              <a:gd name="connsiteX14781" fmla="*/ 4166014 w 8267681"/>
              <a:gd name="connsiteY14781" fmla="*/ 6378744 h 6698675"/>
              <a:gd name="connsiteX14782" fmla="*/ 4164365 w 8267681"/>
              <a:gd name="connsiteY14782" fmla="*/ 6388637 h 6698675"/>
              <a:gd name="connsiteX14783" fmla="*/ 4154970 w 8267681"/>
              <a:gd name="connsiteY14783" fmla="*/ 6362800 h 6698675"/>
              <a:gd name="connsiteX14784" fmla="*/ 4162017 w 8267681"/>
              <a:gd name="connsiteY14784" fmla="*/ 6365149 h 6698675"/>
              <a:gd name="connsiteX14785" fmla="*/ 4138529 w 8267681"/>
              <a:gd name="connsiteY14785" fmla="*/ 6329917 h 6698675"/>
              <a:gd name="connsiteX14786" fmla="*/ 4115041 w 8267681"/>
              <a:gd name="connsiteY14786" fmla="*/ 6315824 h 6698675"/>
              <a:gd name="connsiteX14787" fmla="*/ 4124437 w 8267681"/>
              <a:gd name="connsiteY14787" fmla="*/ 6308778 h 6698675"/>
              <a:gd name="connsiteX14788" fmla="*/ 4112693 w 8267681"/>
              <a:gd name="connsiteY14788" fmla="*/ 6292337 h 6698675"/>
              <a:gd name="connsiteX14789" fmla="*/ 4061019 w 8267681"/>
              <a:gd name="connsiteY14789" fmla="*/ 6311126 h 6698675"/>
              <a:gd name="connsiteX14790" fmla="*/ 4068066 w 8267681"/>
              <a:gd name="connsiteY14790" fmla="*/ 6259454 h 6698675"/>
              <a:gd name="connsiteX14791" fmla="*/ 4053974 w 8267681"/>
              <a:gd name="connsiteY14791" fmla="*/ 6247710 h 6698675"/>
              <a:gd name="connsiteX14792" fmla="*/ 4058964 w 8267681"/>
              <a:gd name="connsiteY14792" fmla="*/ 6233030 h 6698675"/>
              <a:gd name="connsiteX14793" fmla="*/ 4058537 w 8267681"/>
              <a:gd name="connsiteY14793" fmla="*/ 6228266 h 6698675"/>
              <a:gd name="connsiteX14794" fmla="*/ 4053972 w 8267681"/>
              <a:gd name="connsiteY14794" fmla="*/ 6228918 h 6698675"/>
              <a:gd name="connsiteX14795" fmla="*/ 4054752 w 8267681"/>
              <a:gd name="connsiteY14795" fmla="*/ 6223463 h 6698675"/>
              <a:gd name="connsiteX14796" fmla="*/ 4051624 w 8267681"/>
              <a:gd name="connsiteY14796" fmla="*/ 6221873 h 6698675"/>
              <a:gd name="connsiteX14797" fmla="*/ 4057636 w 8267681"/>
              <a:gd name="connsiteY14797" fmla="*/ 6212856 h 6698675"/>
              <a:gd name="connsiteX14798" fmla="*/ 4058670 w 8267681"/>
              <a:gd name="connsiteY14798" fmla="*/ 6210128 h 6698675"/>
              <a:gd name="connsiteX14799" fmla="*/ 4059258 w 8267681"/>
              <a:gd name="connsiteY14799" fmla="*/ 6210422 h 6698675"/>
              <a:gd name="connsiteX14800" fmla="*/ 4061019 w 8267681"/>
              <a:gd name="connsiteY14800" fmla="*/ 6207780 h 6698675"/>
              <a:gd name="connsiteX14801" fmla="*/ 4025787 w 8267681"/>
              <a:gd name="connsiteY14801" fmla="*/ 6151410 h 6698675"/>
              <a:gd name="connsiteX14802" fmla="*/ 4006997 w 8267681"/>
              <a:gd name="connsiteY14802" fmla="*/ 6163154 h 6698675"/>
              <a:gd name="connsiteX14803" fmla="*/ 4030485 w 8267681"/>
              <a:gd name="connsiteY14803" fmla="*/ 6165503 h 6698675"/>
              <a:gd name="connsiteX14804" fmla="*/ 3999951 w 8267681"/>
              <a:gd name="connsiteY14804" fmla="*/ 6221873 h 6698675"/>
              <a:gd name="connsiteX14805" fmla="*/ 3985858 w 8267681"/>
              <a:gd name="connsiteY14805" fmla="*/ 6205431 h 6698675"/>
              <a:gd name="connsiteX14806" fmla="*/ 3962370 w 8267681"/>
              <a:gd name="connsiteY14806" fmla="*/ 6214826 h 6698675"/>
              <a:gd name="connsiteX14807" fmla="*/ 4006997 w 8267681"/>
              <a:gd name="connsiteY14807" fmla="*/ 6188990 h 6698675"/>
              <a:gd name="connsiteX14808" fmla="*/ 3988207 w 8267681"/>
              <a:gd name="connsiteY14808" fmla="*/ 6172549 h 6698675"/>
              <a:gd name="connsiteX14809" fmla="*/ 4006997 w 8267681"/>
              <a:gd name="connsiteY14809" fmla="*/ 6125573 h 6698675"/>
              <a:gd name="connsiteX14810" fmla="*/ 3999951 w 8267681"/>
              <a:gd name="connsiteY14810" fmla="*/ 6116178 h 6698675"/>
              <a:gd name="connsiteX14811" fmla="*/ 3974114 w 8267681"/>
              <a:gd name="connsiteY14811" fmla="*/ 6163154 h 6698675"/>
              <a:gd name="connsiteX14812" fmla="*/ 3956288 w 8267681"/>
              <a:gd name="connsiteY14812" fmla="*/ 6156469 h 6698675"/>
              <a:gd name="connsiteX14813" fmla="*/ 3957379 w 8267681"/>
              <a:gd name="connsiteY14813" fmla="*/ 6155814 h 6698675"/>
              <a:gd name="connsiteX14814" fmla="*/ 3952976 w 8267681"/>
              <a:gd name="connsiteY14814" fmla="*/ 6151410 h 6698675"/>
              <a:gd name="connsiteX14815" fmla="*/ 3949728 w 8267681"/>
              <a:gd name="connsiteY14815" fmla="*/ 6154009 h 6698675"/>
              <a:gd name="connsiteX14816" fmla="*/ 3936534 w 8267681"/>
              <a:gd name="connsiteY14816" fmla="*/ 6149061 h 6698675"/>
              <a:gd name="connsiteX14817" fmla="*/ 3945929 w 8267681"/>
              <a:gd name="connsiteY14817" fmla="*/ 6179595 h 6698675"/>
              <a:gd name="connsiteX14818" fmla="*/ 3910697 w 8267681"/>
              <a:gd name="connsiteY14818" fmla="*/ 6177247 h 6698675"/>
              <a:gd name="connsiteX14819" fmla="*/ 3943580 w 8267681"/>
              <a:gd name="connsiteY14819" fmla="*/ 6095039 h 6698675"/>
              <a:gd name="connsiteX14820" fmla="*/ 3934185 w 8267681"/>
              <a:gd name="connsiteY14820" fmla="*/ 6050412 h 6698675"/>
              <a:gd name="connsiteX14821" fmla="*/ 3927140 w 8267681"/>
              <a:gd name="connsiteY14821" fmla="*/ 6083295 h 6698675"/>
              <a:gd name="connsiteX14822" fmla="*/ 3889558 w 8267681"/>
              <a:gd name="connsiteY14822" fmla="*/ 6069203 h 6698675"/>
              <a:gd name="connsiteX14823" fmla="*/ 3877814 w 8267681"/>
              <a:gd name="connsiteY14823" fmla="*/ 6123224 h 6698675"/>
              <a:gd name="connsiteX14824" fmla="*/ 3826141 w 8267681"/>
              <a:gd name="connsiteY14824" fmla="*/ 6123224 h 6698675"/>
              <a:gd name="connsiteX14825" fmla="*/ 3809700 w 8267681"/>
              <a:gd name="connsiteY14825" fmla="*/ 6085644 h 6698675"/>
              <a:gd name="connsiteX14826" fmla="*/ 3875466 w 8267681"/>
              <a:gd name="connsiteY14826" fmla="*/ 6095039 h 6698675"/>
              <a:gd name="connsiteX14827" fmla="*/ 3821444 w 8267681"/>
              <a:gd name="connsiteY14827" fmla="*/ 6076249 h 6698675"/>
              <a:gd name="connsiteX14828" fmla="*/ 3783863 w 8267681"/>
              <a:gd name="connsiteY14828" fmla="*/ 6062156 h 6698675"/>
              <a:gd name="connsiteX14829" fmla="*/ 3814397 w 8267681"/>
              <a:gd name="connsiteY14829" fmla="*/ 6012832 h 6698675"/>
              <a:gd name="connsiteX14830" fmla="*/ 3753329 w 8267681"/>
              <a:gd name="connsiteY14830" fmla="*/ 6036320 h 6698675"/>
              <a:gd name="connsiteX14831" fmla="*/ 3736888 w 8267681"/>
              <a:gd name="connsiteY14831" fmla="*/ 6003436 h 6698675"/>
              <a:gd name="connsiteX14832" fmla="*/ 3729841 w 8267681"/>
              <a:gd name="connsiteY14832" fmla="*/ 6038668 h 6698675"/>
              <a:gd name="connsiteX14833" fmla="*/ 3722796 w 8267681"/>
              <a:gd name="connsiteY14833" fmla="*/ 6038668 h 6698675"/>
              <a:gd name="connsiteX14834" fmla="*/ 3718097 w 8267681"/>
              <a:gd name="connsiteY14834" fmla="*/ 5986995 h 6698675"/>
              <a:gd name="connsiteX14835" fmla="*/ 3699307 w 8267681"/>
              <a:gd name="connsiteY14835" fmla="*/ 5970554 h 6698675"/>
              <a:gd name="connsiteX14836" fmla="*/ 3664075 w 8267681"/>
              <a:gd name="connsiteY14836" fmla="*/ 5975251 h 6698675"/>
              <a:gd name="connsiteX14837" fmla="*/ 3657029 w 8267681"/>
              <a:gd name="connsiteY14837" fmla="*/ 6015180 h 6698675"/>
              <a:gd name="connsiteX14838" fmla="*/ 3628844 w 8267681"/>
              <a:gd name="connsiteY14838" fmla="*/ 6019878 h 6698675"/>
              <a:gd name="connsiteX14839" fmla="*/ 3631192 w 8267681"/>
              <a:gd name="connsiteY14839" fmla="*/ 5986995 h 6698675"/>
              <a:gd name="connsiteX14840" fmla="*/ 3654680 w 8267681"/>
              <a:gd name="connsiteY14840" fmla="*/ 5977600 h 6698675"/>
              <a:gd name="connsiteX14841" fmla="*/ 3645285 w 8267681"/>
              <a:gd name="connsiteY14841" fmla="*/ 5956168 h 6698675"/>
              <a:gd name="connsiteX14842" fmla="*/ 3645774 w 8267681"/>
              <a:gd name="connsiteY14842" fmla="*/ 5950950 h 6698675"/>
              <a:gd name="connsiteX14843" fmla="*/ 3645286 w 8267681"/>
              <a:gd name="connsiteY14843" fmla="*/ 5951762 h 6698675"/>
              <a:gd name="connsiteX14844" fmla="*/ 3645286 w 8267681"/>
              <a:gd name="connsiteY14844" fmla="*/ 5944716 h 6698675"/>
              <a:gd name="connsiteX14845" fmla="*/ 3646519 w 8267681"/>
              <a:gd name="connsiteY14845" fmla="*/ 5945949 h 6698675"/>
              <a:gd name="connsiteX14846" fmla="*/ 3649983 w 8267681"/>
              <a:gd name="connsiteY14846" fmla="*/ 5932973 h 6698675"/>
              <a:gd name="connsiteX14847" fmla="*/ 3607706 w 8267681"/>
              <a:gd name="connsiteY14847" fmla="*/ 5918880 h 6698675"/>
              <a:gd name="connsiteX14848" fmla="*/ 3581868 w 8267681"/>
              <a:gd name="connsiteY14848" fmla="*/ 5949415 h 6698675"/>
              <a:gd name="connsiteX14849" fmla="*/ 3619449 w 8267681"/>
              <a:gd name="connsiteY14849" fmla="*/ 5963507 h 6698675"/>
              <a:gd name="connsiteX14850" fmla="*/ 3614849 w 8267681"/>
              <a:gd name="connsiteY14850" fmla="*/ 5975088 h 6698675"/>
              <a:gd name="connsiteX14851" fmla="*/ 3612402 w 8267681"/>
              <a:gd name="connsiteY14851" fmla="*/ 5975251 h 6698675"/>
              <a:gd name="connsiteX14852" fmla="*/ 3613763 w 8267681"/>
              <a:gd name="connsiteY14852" fmla="*/ 5977821 h 6698675"/>
              <a:gd name="connsiteX14853" fmla="*/ 3610936 w 8267681"/>
              <a:gd name="connsiteY14853" fmla="*/ 5984940 h 6698675"/>
              <a:gd name="connsiteX14854" fmla="*/ 3586566 w 8267681"/>
              <a:gd name="connsiteY14854" fmla="*/ 5994041 h 6698675"/>
              <a:gd name="connsiteX14855" fmla="*/ 3584217 w 8267681"/>
              <a:gd name="connsiteY14855" fmla="*/ 6019878 h 6698675"/>
              <a:gd name="connsiteX14856" fmla="*/ 3567776 w 8267681"/>
              <a:gd name="connsiteY14856" fmla="*/ 6033971 h 6698675"/>
              <a:gd name="connsiteX14857" fmla="*/ 3572473 w 8267681"/>
              <a:gd name="connsiteY14857" fmla="*/ 6019878 h 6698675"/>
              <a:gd name="connsiteX14858" fmla="*/ 3539590 w 8267681"/>
              <a:gd name="connsiteY14858" fmla="*/ 5979949 h 6698675"/>
              <a:gd name="connsiteX14859" fmla="*/ 3540269 w 8267681"/>
              <a:gd name="connsiteY14859" fmla="*/ 5974047 h 6698675"/>
              <a:gd name="connsiteX14860" fmla="*/ 3530783 w 8267681"/>
              <a:gd name="connsiteY14860" fmla="*/ 5973195 h 6698675"/>
              <a:gd name="connsiteX14861" fmla="*/ 3518452 w 8267681"/>
              <a:gd name="connsiteY14861" fmla="*/ 5979949 h 6698675"/>
              <a:gd name="connsiteX14862" fmla="*/ 3509057 w 8267681"/>
              <a:gd name="connsiteY14862" fmla="*/ 5961158 h 6698675"/>
              <a:gd name="connsiteX14863" fmla="*/ 3536655 w 8267681"/>
              <a:gd name="connsiteY14863" fmla="*/ 5952644 h 6698675"/>
              <a:gd name="connsiteX14864" fmla="*/ 3545038 w 8267681"/>
              <a:gd name="connsiteY14864" fmla="*/ 5946800 h 6698675"/>
              <a:gd name="connsiteX14865" fmla="*/ 3551335 w 8267681"/>
              <a:gd name="connsiteY14865" fmla="*/ 5928863 h 6698675"/>
              <a:gd name="connsiteX14866" fmla="*/ 3584217 w 8267681"/>
              <a:gd name="connsiteY14866" fmla="*/ 5909486 h 6698675"/>
              <a:gd name="connsiteX14867" fmla="*/ 3551335 w 8267681"/>
              <a:gd name="connsiteY14867" fmla="*/ 5874254 h 6698675"/>
              <a:gd name="connsiteX14868" fmla="*/ 3478522 w 8267681"/>
              <a:gd name="connsiteY14868" fmla="*/ 5909486 h 6698675"/>
              <a:gd name="connsiteX14869" fmla="*/ 3487917 w 8267681"/>
              <a:gd name="connsiteY14869" fmla="*/ 5888346 h 6698675"/>
              <a:gd name="connsiteX14870" fmla="*/ 3455034 w 8267681"/>
              <a:gd name="connsiteY14870" fmla="*/ 5911834 h 6698675"/>
              <a:gd name="connsiteX14871" fmla="*/ 3405710 w 8267681"/>
              <a:gd name="connsiteY14871" fmla="*/ 5885998 h 6698675"/>
              <a:gd name="connsiteX14872" fmla="*/ 3398664 w 8267681"/>
              <a:gd name="connsiteY14872" fmla="*/ 5874254 h 6698675"/>
              <a:gd name="connsiteX14873" fmla="*/ 3408059 w 8267681"/>
              <a:gd name="connsiteY14873" fmla="*/ 5846069 h 6698675"/>
              <a:gd name="connsiteX14874" fmla="*/ 3393966 w 8267681"/>
              <a:gd name="connsiteY14874" fmla="*/ 5829627 h 6698675"/>
              <a:gd name="connsiteX14875" fmla="*/ 3372827 w 8267681"/>
              <a:gd name="connsiteY14875" fmla="*/ 5846069 h 6698675"/>
              <a:gd name="connsiteX14876" fmla="*/ 3354037 w 8267681"/>
              <a:gd name="connsiteY14876" fmla="*/ 5829627 h 6698675"/>
              <a:gd name="connsiteX14877" fmla="*/ 3335246 w 8267681"/>
              <a:gd name="connsiteY14877" fmla="*/ 5813185 h 6698675"/>
              <a:gd name="connsiteX14878" fmla="*/ 3396315 w 8267681"/>
              <a:gd name="connsiteY14878" fmla="*/ 5773256 h 6698675"/>
              <a:gd name="connsiteX14879" fmla="*/ 3356385 w 8267681"/>
              <a:gd name="connsiteY14879" fmla="*/ 5792047 h 6698675"/>
              <a:gd name="connsiteX14880" fmla="*/ 3307061 w 8267681"/>
              <a:gd name="connsiteY14880" fmla="*/ 5817883 h 6698675"/>
              <a:gd name="connsiteX14881" fmla="*/ 3304712 w 8267681"/>
              <a:gd name="connsiteY14881" fmla="*/ 5792047 h 6698675"/>
              <a:gd name="connsiteX14882" fmla="*/ 3274178 w 8267681"/>
              <a:gd name="connsiteY14882" fmla="*/ 5782651 h 6698675"/>
              <a:gd name="connsiteX14883" fmla="*/ 3245993 w 8267681"/>
              <a:gd name="connsiteY14883" fmla="*/ 5747420 h 6698675"/>
              <a:gd name="connsiteX14884" fmla="*/ 3222505 w 8267681"/>
              <a:gd name="connsiteY14884" fmla="*/ 5728630 h 6698675"/>
              <a:gd name="connsiteX14885" fmla="*/ 3220156 w 8267681"/>
              <a:gd name="connsiteY14885" fmla="*/ 5763861 h 6698675"/>
              <a:gd name="connsiteX14886" fmla="*/ 3220156 w 8267681"/>
              <a:gd name="connsiteY14886" fmla="*/ 5726281 h 6698675"/>
              <a:gd name="connsiteX14887" fmla="*/ 3216392 w 8267681"/>
              <a:gd name="connsiteY14887" fmla="*/ 5724775 h 6698675"/>
              <a:gd name="connsiteX14888" fmla="*/ 3215459 w 8267681"/>
              <a:gd name="connsiteY14888" fmla="*/ 5712188 h 6698675"/>
              <a:gd name="connsiteX14889" fmla="*/ 3208412 w 8267681"/>
              <a:gd name="connsiteY14889" fmla="*/ 5709839 h 6698675"/>
              <a:gd name="connsiteX14890" fmla="*/ 3209171 w 8267681"/>
              <a:gd name="connsiteY14890" fmla="*/ 5721887 h 6698675"/>
              <a:gd name="connsiteX14891" fmla="*/ 3208412 w 8267681"/>
              <a:gd name="connsiteY14891" fmla="*/ 5721583 h 6698675"/>
              <a:gd name="connsiteX14892" fmla="*/ 3209850 w 8267681"/>
              <a:gd name="connsiteY14892" fmla="*/ 5732662 h 6698675"/>
              <a:gd name="connsiteX14893" fmla="*/ 3210761 w 8267681"/>
              <a:gd name="connsiteY14893" fmla="*/ 5747126 h 6698675"/>
              <a:gd name="connsiteX14894" fmla="*/ 3212353 w 8267681"/>
              <a:gd name="connsiteY14894" fmla="*/ 5751953 h 6698675"/>
              <a:gd name="connsiteX14895" fmla="*/ 3218395 w 8267681"/>
              <a:gd name="connsiteY14895" fmla="*/ 5798506 h 6698675"/>
              <a:gd name="connsiteX14896" fmla="*/ 3224854 w 8267681"/>
              <a:gd name="connsiteY14896" fmla="*/ 5878951 h 6698675"/>
              <a:gd name="connsiteX14897" fmla="*/ 3206063 w 8267681"/>
              <a:gd name="connsiteY14897" fmla="*/ 5794395 h 6698675"/>
              <a:gd name="connsiteX14898" fmla="*/ 3208412 w 8267681"/>
              <a:gd name="connsiteY14898" fmla="*/ 5897742 h 6698675"/>
              <a:gd name="connsiteX14899" fmla="*/ 3196668 w 8267681"/>
              <a:gd name="connsiteY14899" fmla="*/ 5834325 h 6698675"/>
              <a:gd name="connsiteX14900" fmla="*/ 3196668 w 8267681"/>
              <a:gd name="connsiteY14900" fmla="*/ 5845342 h 6698675"/>
              <a:gd name="connsiteX14901" fmla="*/ 3192265 w 8267681"/>
              <a:gd name="connsiteY14901" fmla="*/ 5802323 h 6698675"/>
              <a:gd name="connsiteX14902" fmla="*/ 3168483 w 8267681"/>
              <a:gd name="connsiteY14902" fmla="*/ 5688700 h 6698675"/>
              <a:gd name="connsiteX14903" fmla="*/ 3163786 w 8267681"/>
              <a:gd name="connsiteY14903" fmla="*/ 5686352 h 6698675"/>
              <a:gd name="connsiteX14904" fmla="*/ 3181109 w 8267681"/>
              <a:gd name="connsiteY14904" fmla="*/ 5802029 h 6698675"/>
              <a:gd name="connsiteX14905" fmla="*/ 3196669 w 8267681"/>
              <a:gd name="connsiteY14905" fmla="*/ 5879223 h 6698675"/>
              <a:gd name="connsiteX14906" fmla="*/ 3196669 w 8267681"/>
              <a:gd name="connsiteY14906" fmla="*/ 5913596 h 6698675"/>
              <a:gd name="connsiteX14907" fmla="*/ 3203715 w 8267681"/>
              <a:gd name="connsiteY14907" fmla="*/ 5989344 h 6698675"/>
              <a:gd name="connsiteX14908" fmla="*/ 3196668 w 8267681"/>
              <a:gd name="connsiteY14908" fmla="*/ 5998739 h 6698675"/>
              <a:gd name="connsiteX14909" fmla="*/ 3191971 w 8267681"/>
              <a:gd name="connsiteY14909" fmla="*/ 5991693 h 6698675"/>
              <a:gd name="connsiteX14910" fmla="*/ 3187274 w 8267681"/>
              <a:gd name="connsiteY14910" fmla="*/ 6024576 h 6698675"/>
              <a:gd name="connsiteX14911" fmla="*/ 3177878 w 8267681"/>
              <a:gd name="connsiteY14911" fmla="*/ 5989344 h 6698675"/>
              <a:gd name="connsiteX14912" fmla="*/ 3177878 w 8267681"/>
              <a:gd name="connsiteY14912" fmla="*/ 6097387 h 6698675"/>
              <a:gd name="connsiteX14913" fmla="*/ 3169092 w 8267681"/>
              <a:gd name="connsiteY14913" fmla="*/ 6061851 h 6698675"/>
              <a:gd name="connsiteX14914" fmla="*/ 3175531 w 8267681"/>
              <a:gd name="connsiteY14914" fmla="*/ 6127921 h 6698675"/>
              <a:gd name="connsiteX14915" fmla="*/ 3168485 w 8267681"/>
              <a:gd name="connsiteY14915" fmla="*/ 6083294 h 6698675"/>
              <a:gd name="connsiteX14916" fmla="*/ 3159089 w 8267681"/>
              <a:gd name="connsiteY14916" fmla="*/ 6073898 h 6698675"/>
              <a:gd name="connsiteX14917" fmla="*/ 3130904 w 8267681"/>
              <a:gd name="connsiteY14917" fmla="*/ 5914182 h 6698675"/>
              <a:gd name="connsiteX14918" fmla="*/ 3130904 w 8267681"/>
              <a:gd name="connsiteY14918" fmla="*/ 6172547 h 6698675"/>
              <a:gd name="connsiteX14919" fmla="*/ 3130904 w 8267681"/>
              <a:gd name="connsiteY14919" fmla="*/ 6041016 h 6698675"/>
              <a:gd name="connsiteX14920" fmla="*/ 3107416 w 8267681"/>
              <a:gd name="connsiteY14920" fmla="*/ 5806138 h 6698675"/>
              <a:gd name="connsiteX14921" fmla="*/ 3114463 w 8267681"/>
              <a:gd name="connsiteY14921" fmla="*/ 6172547 h 6698675"/>
              <a:gd name="connsiteX14922" fmla="*/ 3112114 w 8267681"/>
              <a:gd name="connsiteY14922" fmla="*/ 6142014 h 6698675"/>
              <a:gd name="connsiteX14923" fmla="*/ 3105069 w 8267681"/>
              <a:gd name="connsiteY14923" fmla="*/ 6217174 h 6698675"/>
              <a:gd name="connsiteX14924" fmla="*/ 3100370 w 8267681"/>
              <a:gd name="connsiteY14924" fmla="*/ 6243011 h 6698675"/>
              <a:gd name="connsiteX14925" fmla="*/ 3100370 w 8267681"/>
              <a:gd name="connsiteY14925" fmla="*/ 6188989 h 6698675"/>
              <a:gd name="connsiteX14926" fmla="*/ 3098022 w 8267681"/>
              <a:gd name="connsiteY14926" fmla="*/ 6292335 h 6698675"/>
              <a:gd name="connsiteX14927" fmla="*/ 3090975 w 8267681"/>
              <a:gd name="connsiteY14927" fmla="*/ 6271196 h 6698675"/>
              <a:gd name="connsiteX14928" fmla="*/ 3086277 w 8267681"/>
              <a:gd name="connsiteY14928" fmla="*/ 6304079 h 6698675"/>
              <a:gd name="connsiteX14929" fmla="*/ 3083928 w 8267681"/>
              <a:gd name="connsiteY14929" fmla="*/ 6308776 h 6698675"/>
              <a:gd name="connsiteX14930" fmla="*/ 3088626 w 8267681"/>
              <a:gd name="connsiteY14930" fmla="*/ 6181942 h 6698675"/>
              <a:gd name="connsiteX14931" fmla="*/ 3083341 w 8267681"/>
              <a:gd name="connsiteY14931" fmla="*/ 6198384 h 6698675"/>
              <a:gd name="connsiteX14932" fmla="*/ 3082403 w 8267681"/>
              <a:gd name="connsiteY14932" fmla="*/ 6207139 h 6698675"/>
              <a:gd name="connsiteX14933" fmla="*/ 3079231 w 8267681"/>
              <a:gd name="connsiteY14933" fmla="*/ 6205430 h 6698675"/>
              <a:gd name="connsiteX14934" fmla="*/ 3079231 w 8267681"/>
              <a:gd name="connsiteY14934" fmla="*/ 6252406 h 6698675"/>
              <a:gd name="connsiteX14935" fmla="*/ 3076882 w 8267681"/>
              <a:gd name="connsiteY14935" fmla="*/ 6231267 h 6698675"/>
              <a:gd name="connsiteX14936" fmla="*/ 3060442 w 8267681"/>
              <a:gd name="connsiteY14936" fmla="*/ 6308776 h 6698675"/>
              <a:gd name="connsiteX14937" fmla="*/ 3088626 w 8267681"/>
              <a:gd name="connsiteY14937" fmla="*/ 6071550 h 6698675"/>
              <a:gd name="connsiteX14938" fmla="*/ 3051046 w 8267681"/>
              <a:gd name="connsiteY14938" fmla="*/ 6233616 h 6698675"/>
              <a:gd name="connsiteX14939" fmla="*/ 3090975 w 8267681"/>
              <a:gd name="connsiteY14939" fmla="*/ 5979948 h 6698675"/>
              <a:gd name="connsiteX14940" fmla="*/ 3048697 w 8267681"/>
              <a:gd name="connsiteY14940" fmla="*/ 6170199 h 6698675"/>
              <a:gd name="connsiteX14941" fmla="*/ 3048697 w 8267681"/>
              <a:gd name="connsiteY14941" fmla="*/ 6139665 h 6698675"/>
              <a:gd name="connsiteX14942" fmla="*/ 3029905 w 8267681"/>
              <a:gd name="connsiteY14942" fmla="*/ 6228918 h 6698675"/>
              <a:gd name="connsiteX14943" fmla="*/ 3039301 w 8267681"/>
              <a:gd name="connsiteY14943" fmla="*/ 6139665 h 6698675"/>
              <a:gd name="connsiteX14944" fmla="*/ 3074533 w 8267681"/>
              <a:gd name="connsiteY14944" fmla="*/ 5956460 h 6698675"/>
              <a:gd name="connsiteX14945" fmla="*/ 3102719 w 8267681"/>
              <a:gd name="connsiteY14945" fmla="*/ 5829626 h 6698675"/>
              <a:gd name="connsiteX14946" fmla="*/ 3098022 w 8267681"/>
              <a:gd name="connsiteY14946" fmla="*/ 5822580 h 6698675"/>
              <a:gd name="connsiteX14947" fmla="*/ 3105069 w 8267681"/>
              <a:gd name="connsiteY14947" fmla="*/ 5775604 h 6698675"/>
              <a:gd name="connsiteX14948" fmla="*/ 3112114 w 8267681"/>
              <a:gd name="connsiteY14948" fmla="*/ 5806138 h 6698675"/>
              <a:gd name="connsiteX14949" fmla="*/ 3112114 w 8267681"/>
              <a:gd name="connsiteY14949" fmla="*/ 5754465 h 6698675"/>
              <a:gd name="connsiteX14950" fmla="*/ 3102719 w 8267681"/>
              <a:gd name="connsiteY14950" fmla="*/ 5768558 h 6698675"/>
              <a:gd name="connsiteX14951" fmla="*/ 3102719 w 8267681"/>
              <a:gd name="connsiteY14951" fmla="*/ 5721582 h 6698675"/>
              <a:gd name="connsiteX14952" fmla="*/ 3112114 w 8267681"/>
              <a:gd name="connsiteY14952" fmla="*/ 5676955 h 6698675"/>
              <a:gd name="connsiteX14953" fmla="*/ 3100370 w 8267681"/>
              <a:gd name="connsiteY14953" fmla="*/ 5698094 h 6698675"/>
              <a:gd name="connsiteX14954" fmla="*/ 3104187 w 8267681"/>
              <a:gd name="connsiteY14954" fmla="*/ 5680772 h 6698675"/>
              <a:gd name="connsiteX14955" fmla="*/ 3108636 w 8267681"/>
              <a:gd name="connsiteY14955" fmla="*/ 5670428 h 6698675"/>
              <a:gd name="connsiteX14956" fmla="*/ 3107415 w 8267681"/>
              <a:gd name="connsiteY14956" fmla="*/ 5672259 h 6698675"/>
              <a:gd name="connsiteX14957" fmla="*/ 3098020 w 8267681"/>
              <a:gd name="connsiteY14957" fmla="*/ 5637027 h 6698675"/>
              <a:gd name="connsiteX14958" fmla="*/ 3098020 w 8267681"/>
              <a:gd name="connsiteY14958" fmla="*/ 5634678 h 6698675"/>
              <a:gd name="connsiteX14959" fmla="*/ 3090973 w 8267681"/>
              <a:gd name="connsiteY14959" fmla="*/ 5608842 h 6698675"/>
              <a:gd name="connsiteX14960" fmla="*/ 3102717 w 8267681"/>
              <a:gd name="connsiteY14960" fmla="*/ 5679305 h 6698675"/>
              <a:gd name="connsiteX14961" fmla="*/ 3098020 w 8267681"/>
              <a:gd name="connsiteY14961" fmla="*/ 5686352 h 6698675"/>
              <a:gd name="connsiteX14962" fmla="*/ 3086276 w 8267681"/>
              <a:gd name="connsiteY14962" fmla="*/ 5648771 h 6698675"/>
              <a:gd name="connsiteX14963" fmla="*/ 3086276 w 8267681"/>
              <a:gd name="connsiteY14963" fmla="*/ 5625283 h 6698675"/>
              <a:gd name="connsiteX14964" fmla="*/ 3048695 w 8267681"/>
              <a:gd name="connsiteY14964" fmla="*/ 5723932 h 6698675"/>
              <a:gd name="connsiteX14965" fmla="*/ 3041649 w 8267681"/>
              <a:gd name="connsiteY14965" fmla="*/ 5733327 h 6698675"/>
              <a:gd name="connsiteX14966" fmla="*/ 3088625 w 8267681"/>
              <a:gd name="connsiteY14966" fmla="*/ 5608842 h 6698675"/>
              <a:gd name="connsiteX14967" fmla="*/ 3069835 w 8267681"/>
              <a:gd name="connsiteY14967" fmla="*/ 5615888 h 6698675"/>
              <a:gd name="connsiteX14968" fmla="*/ 3065137 w 8267681"/>
              <a:gd name="connsiteY14968" fmla="*/ 5629981 h 6698675"/>
              <a:gd name="connsiteX14969" fmla="*/ 3067486 w 8267681"/>
              <a:gd name="connsiteY14969" fmla="*/ 5615888 h 6698675"/>
              <a:gd name="connsiteX14970" fmla="*/ 3051044 w 8267681"/>
              <a:gd name="connsiteY14970" fmla="*/ 5613539 h 6698675"/>
              <a:gd name="connsiteX14971" fmla="*/ 3074532 w 8267681"/>
              <a:gd name="connsiteY14971" fmla="*/ 5587703 h 6698675"/>
              <a:gd name="connsiteX14972" fmla="*/ 3083927 w 8267681"/>
              <a:gd name="connsiteY14972" fmla="*/ 5564215 h 6698675"/>
              <a:gd name="connsiteX14973" fmla="*/ 3046347 w 8267681"/>
              <a:gd name="connsiteY14973" fmla="*/ 5580657 h 6698675"/>
              <a:gd name="connsiteX14974" fmla="*/ 3038333 w 8267681"/>
              <a:gd name="connsiteY14974" fmla="*/ 5566633 h 6698675"/>
              <a:gd name="connsiteX14975" fmla="*/ 3048695 w 8267681"/>
              <a:gd name="connsiteY14975" fmla="*/ 5540727 h 6698675"/>
              <a:gd name="connsiteX14976" fmla="*/ 3041649 w 8267681"/>
              <a:gd name="connsiteY14976" fmla="*/ 5540727 h 6698675"/>
              <a:gd name="connsiteX14977" fmla="*/ 3032254 w 8267681"/>
              <a:gd name="connsiteY14977" fmla="*/ 5566566 h 6698675"/>
              <a:gd name="connsiteX14978" fmla="*/ 3034604 w 8267681"/>
              <a:gd name="connsiteY14978" fmla="*/ 5559517 h 6698675"/>
              <a:gd name="connsiteX14979" fmla="*/ 3025208 w 8267681"/>
              <a:gd name="connsiteY14979" fmla="*/ 5554820 h 6698675"/>
              <a:gd name="connsiteX14980" fmla="*/ 2917164 w 8267681"/>
              <a:gd name="connsiteY14980" fmla="*/ 5808488 h 6698675"/>
              <a:gd name="connsiteX14981" fmla="*/ 2891327 w 8267681"/>
              <a:gd name="connsiteY14981" fmla="*/ 5874254 h 6698675"/>
              <a:gd name="connsiteX14982" fmla="*/ 2888979 w 8267681"/>
              <a:gd name="connsiteY14982" fmla="*/ 5860161 h 6698675"/>
              <a:gd name="connsiteX14983" fmla="*/ 2839654 w 8267681"/>
              <a:gd name="connsiteY14983" fmla="*/ 5937671 h 6698675"/>
              <a:gd name="connsiteX14984" fmla="*/ 2849049 w 8267681"/>
              <a:gd name="connsiteY14984" fmla="*/ 5890695 h 6698675"/>
              <a:gd name="connsiteX14985" fmla="*/ 2881932 w 8267681"/>
              <a:gd name="connsiteY14985" fmla="*/ 5850766 h 6698675"/>
              <a:gd name="connsiteX14986" fmla="*/ 2903071 w 8267681"/>
              <a:gd name="connsiteY14986" fmla="*/ 5787349 h 6698675"/>
              <a:gd name="connsiteX14987" fmla="*/ 2863142 w 8267681"/>
              <a:gd name="connsiteY14987" fmla="*/ 5867207 h 6698675"/>
              <a:gd name="connsiteX14988" fmla="*/ 2926559 w 8267681"/>
              <a:gd name="connsiteY14988" fmla="*/ 5691049 h 6698675"/>
              <a:gd name="connsiteX14989" fmla="*/ 2931256 w 8267681"/>
              <a:gd name="connsiteY14989" fmla="*/ 5578308 h 6698675"/>
              <a:gd name="connsiteX14990" fmla="*/ 2921861 w 8267681"/>
              <a:gd name="connsiteY14990" fmla="*/ 5611191 h 6698675"/>
              <a:gd name="connsiteX14991" fmla="*/ 2928908 w 8267681"/>
              <a:gd name="connsiteY14991" fmla="*/ 5531332 h 6698675"/>
              <a:gd name="connsiteX14992" fmla="*/ 2940652 w 8267681"/>
              <a:gd name="connsiteY14992" fmla="*/ 5512542 h 6698675"/>
              <a:gd name="connsiteX14993" fmla="*/ 2933605 w 8267681"/>
              <a:gd name="connsiteY14993" fmla="*/ 5510193 h 6698675"/>
              <a:gd name="connsiteX14994" fmla="*/ 2943000 w 8267681"/>
              <a:gd name="connsiteY14994" fmla="*/ 5477310 h 6698675"/>
              <a:gd name="connsiteX14995" fmla="*/ 2912466 w 8267681"/>
              <a:gd name="connsiteY14995" fmla="*/ 5479659 h 6698675"/>
              <a:gd name="connsiteX14996" fmla="*/ 2903071 w 8267681"/>
              <a:gd name="connsiteY14996" fmla="*/ 5453822 h 6698675"/>
              <a:gd name="connsiteX14997" fmla="*/ 2905420 w 8267681"/>
              <a:gd name="connsiteY14997" fmla="*/ 5420939 h 6698675"/>
              <a:gd name="connsiteX14998" fmla="*/ 2933605 w 8267681"/>
              <a:gd name="connsiteY14998" fmla="*/ 5404498 h 6698675"/>
              <a:gd name="connsiteX14999" fmla="*/ 2872537 w 8267681"/>
              <a:gd name="connsiteY14999" fmla="*/ 5388057 h 6698675"/>
              <a:gd name="connsiteX15000" fmla="*/ 2881932 w 8267681"/>
              <a:gd name="connsiteY15000" fmla="*/ 5373964 h 6698675"/>
              <a:gd name="connsiteX15001" fmla="*/ 2884281 w 8267681"/>
              <a:gd name="connsiteY15001" fmla="*/ 5369266 h 6698675"/>
              <a:gd name="connsiteX15002" fmla="*/ 2896025 w 8267681"/>
              <a:gd name="connsiteY15002" fmla="*/ 5334034 h 6698675"/>
              <a:gd name="connsiteX15003" fmla="*/ 2896025 w 8267681"/>
              <a:gd name="connsiteY15003" fmla="*/ 5326989 h 6698675"/>
              <a:gd name="connsiteX15004" fmla="*/ 2896025 w 8267681"/>
              <a:gd name="connsiteY15004" fmla="*/ 5326987 h 6698675"/>
              <a:gd name="connsiteX15005" fmla="*/ 2897798 w 8267681"/>
              <a:gd name="connsiteY15005" fmla="*/ 5303944 h 6698675"/>
              <a:gd name="connsiteX15006" fmla="*/ 2896025 w 8267681"/>
              <a:gd name="connsiteY15006" fmla="*/ 5303501 h 6698675"/>
              <a:gd name="connsiteX15007" fmla="*/ 2898711 w 8267681"/>
              <a:gd name="connsiteY15007" fmla="*/ 5294773 h 6698675"/>
              <a:gd name="connsiteX15008" fmla="*/ 2900493 w 8267681"/>
              <a:gd name="connsiteY15008" fmla="*/ 5285862 h 6698675"/>
              <a:gd name="connsiteX15009" fmla="*/ 2900232 w 8267681"/>
              <a:gd name="connsiteY15009" fmla="*/ 5289828 h 6698675"/>
              <a:gd name="connsiteX15010" fmla="*/ 2905420 w 8267681"/>
              <a:gd name="connsiteY15010" fmla="*/ 5272966 h 6698675"/>
              <a:gd name="connsiteX15011" fmla="*/ 2924210 w 8267681"/>
              <a:gd name="connsiteY15011" fmla="*/ 5277664 h 6698675"/>
              <a:gd name="connsiteX15012" fmla="*/ 2917164 w 8267681"/>
              <a:gd name="connsiteY15012" fmla="*/ 5291757 h 6698675"/>
              <a:gd name="connsiteX15013" fmla="*/ 2917482 w 8267681"/>
              <a:gd name="connsiteY15013" fmla="*/ 5292075 h 6698675"/>
              <a:gd name="connsiteX15014" fmla="*/ 2926559 w 8267681"/>
              <a:gd name="connsiteY15014" fmla="*/ 5287060 h 6698675"/>
              <a:gd name="connsiteX15015" fmla="*/ 2920296 w 8267681"/>
              <a:gd name="connsiteY15015" fmla="*/ 5294889 h 6698675"/>
              <a:gd name="connsiteX15016" fmla="*/ 2921861 w 8267681"/>
              <a:gd name="connsiteY15016" fmla="*/ 5296454 h 6698675"/>
              <a:gd name="connsiteX15017" fmla="*/ 2914815 w 8267681"/>
              <a:gd name="connsiteY15017" fmla="*/ 5303501 h 6698675"/>
              <a:gd name="connsiteX15018" fmla="*/ 2891327 w 8267681"/>
              <a:gd name="connsiteY15018" fmla="*/ 5362220 h 6698675"/>
              <a:gd name="connsiteX15019" fmla="*/ 2905420 w 8267681"/>
              <a:gd name="connsiteY15019" fmla="*/ 5348127 h 6698675"/>
              <a:gd name="connsiteX15020" fmla="*/ 2921861 w 8267681"/>
              <a:gd name="connsiteY15020" fmla="*/ 5308198 h 6698675"/>
              <a:gd name="connsiteX15021" fmla="*/ 2924210 w 8267681"/>
              <a:gd name="connsiteY15021" fmla="*/ 5319942 h 6698675"/>
              <a:gd name="connsiteX15022" fmla="*/ 2914815 w 8267681"/>
              <a:gd name="connsiteY15022" fmla="*/ 5341081 h 6698675"/>
              <a:gd name="connsiteX15023" fmla="*/ 2928908 w 8267681"/>
              <a:gd name="connsiteY15023" fmla="*/ 5329337 h 6698675"/>
              <a:gd name="connsiteX15024" fmla="*/ 2919514 w 8267681"/>
              <a:gd name="connsiteY15024" fmla="*/ 5373964 h 6698675"/>
              <a:gd name="connsiteX15025" fmla="*/ 2938303 w 8267681"/>
              <a:gd name="connsiteY15025" fmla="*/ 5427986 h 6698675"/>
              <a:gd name="connsiteX15026" fmla="*/ 2966488 w 8267681"/>
              <a:gd name="connsiteY15026" fmla="*/ 5378661 h 6698675"/>
              <a:gd name="connsiteX15027" fmla="*/ 2968837 w 8267681"/>
              <a:gd name="connsiteY15027" fmla="*/ 5420939 h 6698675"/>
              <a:gd name="connsiteX15028" fmla="*/ 3006417 w 8267681"/>
              <a:gd name="connsiteY15028" fmla="*/ 5378661 h 6698675"/>
              <a:gd name="connsiteX15029" fmla="*/ 3006417 w 8267681"/>
              <a:gd name="connsiteY15029" fmla="*/ 5388057 h 6698675"/>
              <a:gd name="connsiteX15030" fmla="*/ 3011115 w 8267681"/>
              <a:gd name="connsiteY15030" fmla="*/ 5378661 h 6698675"/>
              <a:gd name="connsiteX15031" fmla="*/ 3025208 w 8267681"/>
              <a:gd name="connsiteY15031" fmla="*/ 5383359 h 6698675"/>
              <a:gd name="connsiteX15032" fmla="*/ 3034604 w 8267681"/>
              <a:gd name="connsiteY15032" fmla="*/ 5442078 h 6698675"/>
              <a:gd name="connsiteX15033" fmla="*/ 3048695 w 8267681"/>
              <a:gd name="connsiteY15033" fmla="*/ 5406847 h 6698675"/>
              <a:gd name="connsiteX15034" fmla="*/ 3048695 w 8267681"/>
              <a:gd name="connsiteY15034" fmla="*/ 5498449 h 6698675"/>
              <a:gd name="connsiteX15035" fmla="*/ 3041649 w 8267681"/>
              <a:gd name="connsiteY15035" fmla="*/ 5514891 h 6698675"/>
              <a:gd name="connsiteX15036" fmla="*/ 3048695 w 8267681"/>
              <a:gd name="connsiteY15036" fmla="*/ 5517240 h 6698675"/>
              <a:gd name="connsiteX15037" fmla="*/ 3051044 w 8267681"/>
              <a:gd name="connsiteY15037" fmla="*/ 5512542 h 6698675"/>
              <a:gd name="connsiteX15038" fmla="*/ 3062788 w 8267681"/>
              <a:gd name="connsiteY15038" fmla="*/ 5540727 h 6698675"/>
              <a:gd name="connsiteX15039" fmla="*/ 3090973 w 8267681"/>
              <a:gd name="connsiteY15039" fmla="*/ 5538378 h 6698675"/>
              <a:gd name="connsiteX15040" fmla="*/ 3119159 w 8267681"/>
              <a:gd name="connsiteY15040" fmla="*/ 5528983 h 6698675"/>
              <a:gd name="connsiteX15041" fmla="*/ 3121508 w 8267681"/>
              <a:gd name="connsiteY15041" fmla="*/ 5528983 h 6698675"/>
              <a:gd name="connsiteX15042" fmla="*/ 3119159 w 8267681"/>
              <a:gd name="connsiteY15042" fmla="*/ 5524286 h 6698675"/>
              <a:gd name="connsiteX15043" fmla="*/ 3119159 w 8267681"/>
              <a:gd name="connsiteY15043" fmla="*/ 5521937 h 6698675"/>
              <a:gd name="connsiteX15044" fmla="*/ 3116811 w 8267681"/>
              <a:gd name="connsiteY15044" fmla="*/ 5512542 h 6698675"/>
              <a:gd name="connsiteX15045" fmla="*/ 3119159 w 8267681"/>
              <a:gd name="connsiteY15045" fmla="*/ 5514891 h 6698675"/>
              <a:gd name="connsiteX15046" fmla="*/ 3119159 w 8267681"/>
              <a:gd name="connsiteY15046" fmla="*/ 5507844 h 6698675"/>
              <a:gd name="connsiteX15047" fmla="*/ 3116811 w 8267681"/>
              <a:gd name="connsiteY15047" fmla="*/ 5507844 h 6698675"/>
              <a:gd name="connsiteX15048" fmla="*/ 3107415 w 8267681"/>
              <a:gd name="connsiteY15048" fmla="*/ 5453822 h 6698675"/>
              <a:gd name="connsiteX15049" fmla="*/ 3105067 w 8267681"/>
              <a:gd name="connsiteY15049" fmla="*/ 5453822 h 6698675"/>
              <a:gd name="connsiteX15050" fmla="*/ 3107415 w 8267681"/>
              <a:gd name="connsiteY15050" fmla="*/ 5451474 h 6698675"/>
              <a:gd name="connsiteX15051" fmla="*/ 3102717 w 8267681"/>
              <a:gd name="connsiteY15051" fmla="*/ 5444427 h 6698675"/>
              <a:gd name="connsiteX15052" fmla="*/ 3102717 w 8267681"/>
              <a:gd name="connsiteY15052" fmla="*/ 5456171 h 6698675"/>
              <a:gd name="connsiteX15053" fmla="*/ 3058091 w 8267681"/>
              <a:gd name="connsiteY15053" fmla="*/ 5437381 h 6698675"/>
              <a:gd name="connsiteX15054" fmla="*/ 3058091 w 8267681"/>
              <a:gd name="connsiteY15054" fmla="*/ 5404498 h 6698675"/>
              <a:gd name="connsiteX15055" fmla="*/ 3105067 w 8267681"/>
              <a:gd name="connsiteY15055" fmla="*/ 5390405 h 6698675"/>
              <a:gd name="connsiteX15056" fmla="*/ 3114461 w 8267681"/>
              <a:gd name="connsiteY15056" fmla="*/ 5406847 h 6698675"/>
              <a:gd name="connsiteX15057" fmla="*/ 3114461 w 8267681"/>
              <a:gd name="connsiteY15057" fmla="*/ 5411545 h 6698675"/>
              <a:gd name="connsiteX15058" fmla="*/ 3121508 w 8267681"/>
              <a:gd name="connsiteY15058" fmla="*/ 5399801 h 6698675"/>
              <a:gd name="connsiteX15059" fmla="*/ 3175530 w 8267681"/>
              <a:gd name="connsiteY15059" fmla="*/ 5355174 h 6698675"/>
              <a:gd name="connsiteX15060" fmla="*/ 3191971 w 8267681"/>
              <a:gd name="connsiteY15060" fmla="*/ 5395103 h 6698675"/>
              <a:gd name="connsiteX15061" fmla="*/ 3267132 w 8267681"/>
              <a:gd name="connsiteY15061" fmla="*/ 5392754 h 6698675"/>
              <a:gd name="connsiteX15062" fmla="*/ 3262434 w 8267681"/>
              <a:gd name="connsiteY15062" fmla="*/ 5486705 h 6698675"/>
              <a:gd name="connsiteX15063" fmla="*/ 3302364 w 8267681"/>
              <a:gd name="connsiteY15063" fmla="*/ 5503147 h 6698675"/>
              <a:gd name="connsiteX15064" fmla="*/ 3311539 w 8267681"/>
              <a:gd name="connsiteY15064" fmla="*/ 5498670 h 6698675"/>
              <a:gd name="connsiteX15065" fmla="*/ 3315910 w 8267681"/>
              <a:gd name="connsiteY15065" fmla="*/ 5499637 h 6698675"/>
              <a:gd name="connsiteX15066" fmla="*/ 3309703 w 8267681"/>
              <a:gd name="connsiteY15066" fmla="*/ 5513129 h 6698675"/>
              <a:gd name="connsiteX15067" fmla="*/ 3311758 w 8267681"/>
              <a:gd name="connsiteY15067" fmla="*/ 5524286 h 6698675"/>
              <a:gd name="connsiteX15068" fmla="*/ 3322035 w 8267681"/>
              <a:gd name="connsiteY15068" fmla="*/ 5512249 h 6698675"/>
              <a:gd name="connsiteX15069" fmla="*/ 3317038 w 8267681"/>
              <a:gd name="connsiteY15069" fmla="*/ 5499887 h 6698675"/>
              <a:gd name="connsiteX15070" fmla="*/ 3321155 w 8267681"/>
              <a:gd name="connsiteY15070" fmla="*/ 5500798 h 6698675"/>
              <a:gd name="connsiteX15071" fmla="*/ 3339944 w 8267681"/>
              <a:gd name="connsiteY15071" fmla="*/ 5512542 h 6698675"/>
              <a:gd name="connsiteX15072" fmla="*/ 3389268 w 8267681"/>
              <a:gd name="connsiteY15072" fmla="*/ 5409196 h 6698675"/>
              <a:gd name="connsiteX15073" fmla="*/ 3330549 w 8267681"/>
              <a:gd name="connsiteY15073" fmla="*/ 5385708 h 6698675"/>
              <a:gd name="connsiteX15074" fmla="*/ 3288271 w 8267681"/>
              <a:gd name="connsiteY15074" fmla="*/ 5409196 h 6698675"/>
              <a:gd name="connsiteX15075" fmla="*/ 3349339 w 8267681"/>
              <a:gd name="connsiteY15075" fmla="*/ 5291757 h 6698675"/>
              <a:gd name="connsiteX15076" fmla="*/ 3354037 w 8267681"/>
              <a:gd name="connsiteY15076" fmla="*/ 5312896 h 6698675"/>
              <a:gd name="connsiteX15077" fmla="*/ 3391618 w 8267681"/>
              <a:gd name="connsiteY15077" fmla="*/ 5287059 h 6698675"/>
              <a:gd name="connsiteX15078" fmla="*/ 3375176 w 8267681"/>
              <a:gd name="connsiteY15078" fmla="*/ 5280013 h 6698675"/>
              <a:gd name="connsiteX15079" fmla="*/ 3401012 w 8267681"/>
              <a:gd name="connsiteY15079" fmla="*/ 5263571 h 6698675"/>
              <a:gd name="connsiteX15080" fmla="*/ 3417454 w 8267681"/>
              <a:gd name="connsiteY15080" fmla="*/ 5188411 h 6698675"/>
              <a:gd name="connsiteX15081" fmla="*/ 3375176 w 8267681"/>
              <a:gd name="connsiteY15081" fmla="*/ 5157876 h 6698675"/>
              <a:gd name="connsiteX15082" fmla="*/ 3422151 w 8267681"/>
              <a:gd name="connsiteY15082" fmla="*/ 5108552 h 6698675"/>
              <a:gd name="connsiteX15083" fmla="*/ 3426849 w 8267681"/>
              <a:gd name="connsiteY15083" fmla="*/ 5129691 h 6698675"/>
              <a:gd name="connsiteX15084" fmla="*/ 3410407 w 8267681"/>
              <a:gd name="connsiteY15084" fmla="*/ 5054530 h 6698675"/>
              <a:gd name="connsiteX15085" fmla="*/ 3436245 w 8267681"/>
              <a:gd name="connsiteY15085" fmla="*/ 5092110 h 6698675"/>
              <a:gd name="connsiteX15086" fmla="*/ 3440941 w 8267681"/>
              <a:gd name="connsiteY15086" fmla="*/ 4979369 h 6698675"/>
              <a:gd name="connsiteX15087" fmla="*/ 3471475 w 8267681"/>
              <a:gd name="connsiteY15087" fmla="*/ 4890115 h 6698675"/>
              <a:gd name="connsiteX15088" fmla="*/ 3361083 w 8267681"/>
              <a:gd name="connsiteY15088" fmla="*/ 4744491 h 6698675"/>
              <a:gd name="connsiteX15089" fmla="*/ 3290620 w 8267681"/>
              <a:gd name="connsiteY15089" fmla="*/ 4770328 h 6698675"/>
              <a:gd name="connsiteX15090" fmla="*/ 3302364 w 8267681"/>
              <a:gd name="connsiteY15090" fmla="*/ 4789118 h 6698675"/>
              <a:gd name="connsiteX15091" fmla="*/ 3224854 w 8267681"/>
              <a:gd name="connsiteY15091" fmla="*/ 4777374 h 6698675"/>
              <a:gd name="connsiteX15092" fmla="*/ 3283573 w 8267681"/>
              <a:gd name="connsiteY15092" fmla="*/ 4800862 h 6698675"/>
              <a:gd name="connsiteX15093" fmla="*/ 3142647 w 8267681"/>
              <a:gd name="connsiteY15093" fmla="*/ 4812606 h 6698675"/>
              <a:gd name="connsiteX15094" fmla="*/ 3161438 w 8267681"/>
              <a:gd name="connsiteY15094" fmla="*/ 4833745 h 6698675"/>
              <a:gd name="connsiteX15095" fmla="*/ 3109764 w 8267681"/>
              <a:gd name="connsiteY15095" fmla="*/ 4859582 h 6698675"/>
              <a:gd name="connsiteX15096" fmla="*/ 3094497 w 8267681"/>
              <a:gd name="connsiteY15096" fmla="*/ 4843397 h 6698675"/>
              <a:gd name="connsiteX15097" fmla="*/ 3086325 w 8267681"/>
              <a:gd name="connsiteY15097" fmla="*/ 4842287 h 6698675"/>
              <a:gd name="connsiteX15098" fmla="*/ 3110351 w 8267681"/>
              <a:gd name="connsiteY15098" fmla="*/ 4833744 h 6698675"/>
              <a:gd name="connsiteX15099" fmla="*/ 3133252 w 8267681"/>
              <a:gd name="connsiteY15099" fmla="*/ 4831396 h 6698675"/>
              <a:gd name="connsiteX15100" fmla="*/ 3140298 w 8267681"/>
              <a:gd name="connsiteY15100" fmla="*/ 4822001 h 6698675"/>
              <a:gd name="connsiteX15101" fmla="*/ 3098020 w 8267681"/>
              <a:gd name="connsiteY15101" fmla="*/ 4822001 h 6698675"/>
              <a:gd name="connsiteX15102" fmla="*/ 3090973 w 8267681"/>
              <a:gd name="connsiteY15102" fmla="*/ 4824350 h 6698675"/>
              <a:gd name="connsiteX15103" fmla="*/ 3084348 w 8267681"/>
              <a:gd name="connsiteY15103" fmla="*/ 4842019 h 6698675"/>
              <a:gd name="connsiteX15104" fmla="*/ 3080239 w 8267681"/>
              <a:gd name="connsiteY15104" fmla="*/ 4841461 h 6698675"/>
              <a:gd name="connsiteX15105" fmla="*/ 3081578 w 8267681"/>
              <a:gd name="connsiteY15105" fmla="*/ 4840791 h 6698675"/>
              <a:gd name="connsiteX15106" fmla="*/ 3088625 w 8267681"/>
              <a:gd name="connsiteY15106" fmla="*/ 4824350 h 6698675"/>
              <a:gd name="connsiteX15107" fmla="*/ 3081578 w 8267681"/>
              <a:gd name="connsiteY15107" fmla="*/ 4829047 h 6698675"/>
              <a:gd name="connsiteX15108" fmla="*/ 3060440 w 8267681"/>
              <a:gd name="connsiteY15108" fmla="*/ 4824350 h 6698675"/>
              <a:gd name="connsiteX15109" fmla="*/ 3051044 w 8267681"/>
              <a:gd name="connsiteY15109" fmla="*/ 4836094 h 6698675"/>
              <a:gd name="connsiteX15110" fmla="*/ 3074112 w 8267681"/>
              <a:gd name="connsiteY15110" fmla="*/ 4842384 h 6698675"/>
              <a:gd name="connsiteX15111" fmla="*/ 3059559 w 8267681"/>
              <a:gd name="connsiteY15111" fmla="*/ 4848021 h 6698675"/>
              <a:gd name="connsiteX15112" fmla="*/ 3041649 w 8267681"/>
              <a:gd name="connsiteY15112" fmla="*/ 4859582 h 6698675"/>
              <a:gd name="connsiteX15113" fmla="*/ 3041649 w 8267681"/>
              <a:gd name="connsiteY15113" fmla="*/ 4892464 h 6698675"/>
              <a:gd name="connsiteX15114" fmla="*/ 3030193 w 8267681"/>
              <a:gd name="connsiteY15114" fmla="*/ 4893782 h 6698675"/>
              <a:gd name="connsiteX15115" fmla="*/ 3023373 w 8267681"/>
              <a:gd name="connsiteY15115" fmla="*/ 4890372 h 6698675"/>
              <a:gd name="connsiteX15116" fmla="*/ 3014051 w 8267681"/>
              <a:gd name="connsiteY15116" fmla="*/ 4892758 h 6698675"/>
              <a:gd name="connsiteX15117" fmla="*/ 3011601 w 8267681"/>
              <a:gd name="connsiteY15117" fmla="*/ 4895921 h 6698675"/>
              <a:gd name="connsiteX15118" fmla="*/ 3008473 w 8267681"/>
              <a:gd name="connsiteY15118" fmla="*/ 4896281 h 6698675"/>
              <a:gd name="connsiteX15119" fmla="*/ 2980581 w 8267681"/>
              <a:gd name="connsiteY15119" fmla="*/ 4908906 h 6698675"/>
              <a:gd name="connsiteX15120" fmla="*/ 2982353 w 8267681"/>
              <a:gd name="connsiteY15120" fmla="*/ 4912449 h 6698675"/>
              <a:gd name="connsiteX15121" fmla="*/ 2940652 w 8267681"/>
              <a:gd name="connsiteY15121" fmla="*/ 4932393 h 6698675"/>
              <a:gd name="connsiteX15122" fmla="*/ 2943000 w 8267681"/>
              <a:gd name="connsiteY15122" fmla="*/ 4939440 h 6698675"/>
              <a:gd name="connsiteX15123" fmla="*/ 2976764 w 8267681"/>
              <a:gd name="connsiteY15123" fmla="*/ 4930925 h 6698675"/>
              <a:gd name="connsiteX15124" fmla="*/ 2988718 w 8267681"/>
              <a:gd name="connsiteY15124" fmla="*/ 4923532 h 6698675"/>
              <a:gd name="connsiteX15125" fmla="*/ 3004033 w 8267681"/>
              <a:gd name="connsiteY15125" fmla="*/ 4924539 h 6698675"/>
              <a:gd name="connsiteX15126" fmla="*/ 3043998 w 8267681"/>
              <a:gd name="connsiteY15126" fmla="*/ 4915952 h 6698675"/>
              <a:gd name="connsiteX15127" fmla="*/ 3055742 w 8267681"/>
              <a:gd name="connsiteY15127" fmla="*/ 4920650 h 6698675"/>
              <a:gd name="connsiteX15128" fmla="*/ 3051044 w 8267681"/>
              <a:gd name="connsiteY15128" fmla="*/ 4946486 h 6698675"/>
              <a:gd name="connsiteX15129" fmla="*/ 2997022 w 8267681"/>
              <a:gd name="connsiteY15129" fmla="*/ 4930045 h 6698675"/>
              <a:gd name="connsiteX15130" fmla="*/ 2928908 w 8267681"/>
              <a:gd name="connsiteY15130" fmla="*/ 4962928 h 6698675"/>
              <a:gd name="connsiteX15131" fmla="*/ 2914815 w 8267681"/>
              <a:gd name="connsiteY15131" fmla="*/ 4958230 h 6698675"/>
              <a:gd name="connsiteX15132" fmla="*/ 2924210 w 8267681"/>
              <a:gd name="connsiteY15132" fmla="*/ 4941789 h 6698675"/>
              <a:gd name="connsiteX15133" fmla="*/ 2912173 w 8267681"/>
              <a:gd name="connsiteY15133" fmla="*/ 4940614 h 6698675"/>
              <a:gd name="connsiteX15134" fmla="*/ 2907083 w 8267681"/>
              <a:gd name="connsiteY15134" fmla="*/ 4950353 h 6698675"/>
              <a:gd name="connsiteX15135" fmla="*/ 2904078 w 8267681"/>
              <a:gd name="connsiteY15135" fmla="*/ 4951855 h 6698675"/>
              <a:gd name="connsiteX15136" fmla="*/ 2896025 w 8267681"/>
              <a:gd name="connsiteY15136" fmla="*/ 4941789 h 6698675"/>
              <a:gd name="connsiteX15137" fmla="*/ 2891327 w 8267681"/>
              <a:gd name="connsiteY15137" fmla="*/ 4941789 h 6698675"/>
              <a:gd name="connsiteX15138" fmla="*/ 2888979 w 8267681"/>
              <a:gd name="connsiteY15138" fmla="*/ 4934742 h 6698675"/>
              <a:gd name="connsiteX15139" fmla="*/ 2891327 w 8267681"/>
              <a:gd name="connsiteY15139" fmla="*/ 4932393 h 6698675"/>
              <a:gd name="connsiteX15140" fmla="*/ 2884281 w 8267681"/>
              <a:gd name="connsiteY15140" fmla="*/ 4937091 h 6698675"/>
              <a:gd name="connsiteX15141" fmla="*/ 2879583 w 8267681"/>
              <a:gd name="connsiteY15141" fmla="*/ 4958230 h 6698675"/>
              <a:gd name="connsiteX15142" fmla="*/ 2878279 w 8267681"/>
              <a:gd name="connsiteY15142" fmla="*/ 4964754 h 6698675"/>
              <a:gd name="connsiteX15143" fmla="*/ 2867840 w 8267681"/>
              <a:gd name="connsiteY15143" fmla="*/ 4969974 h 6698675"/>
              <a:gd name="connsiteX15144" fmla="*/ 2858444 w 8267681"/>
              <a:gd name="connsiteY15144" fmla="*/ 4974672 h 6698675"/>
              <a:gd name="connsiteX15145" fmla="*/ 2830260 w 8267681"/>
              <a:gd name="connsiteY15145" fmla="*/ 4977020 h 6698675"/>
              <a:gd name="connsiteX15146" fmla="*/ 2844352 w 8267681"/>
              <a:gd name="connsiteY15146" fmla="*/ 4981718 h 6698675"/>
              <a:gd name="connsiteX15147" fmla="*/ 2823213 w 8267681"/>
              <a:gd name="connsiteY15147" fmla="*/ 4988764 h 6698675"/>
              <a:gd name="connsiteX15148" fmla="*/ 2818515 w 8267681"/>
              <a:gd name="connsiteY15148" fmla="*/ 5007554 h 6698675"/>
              <a:gd name="connsiteX15149" fmla="*/ 2802074 w 8267681"/>
              <a:gd name="connsiteY15149" fmla="*/ 4998159 h 6698675"/>
              <a:gd name="connsiteX15150" fmla="*/ 2823213 w 8267681"/>
              <a:gd name="connsiteY15150" fmla="*/ 5026345 h 6698675"/>
              <a:gd name="connsiteX15151" fmla="*/ 2818515 w 8267681"/>
              <a:gd name="connsiteY15151" fmla="*/ 5007554 h 6698675"/>
              <a:gd name="connsiteX15152" fmla="*/ 2861381 w 8267681"/>
              <a:gd name="connsiteY15152" fmla="*/ 4989351 h 6698675"/>
              <a:gd name="connsiteX15153" fmla="*/ 2900531 w 8267681"/>
              <a:gd name="connsiteY15153" fmla="*/ 4976962 h 6698675"/>
              <a:gd name="connsiteX15154" fmla="*/ 2900723 w 8267681"/>
              <a:gd name="connsiteY15154" fmla="*/ 4977020 h 6698675"/>
              <a:gd name="connsiteX15155" fmla="*/ 2867840 w 8267681"/>
              <a:gd name="connsiteY15155" fmla="*/ 5000508 h 6698675"/>
              <a:gd name="connsiteX15156" fmla="*/ 2792680 w 8267681"/>
              <a:gd name="connsiteY15156" fmla="*/ 5061576 h 6698675"/>
              <a:gd name="connsiteX15157" fmla="*/ 2795027 w 8267681"/>
              <a:gd name="connsiteY15157" fmla="*/ 5045135 h 6698675"/>
              <a:gd name="connsiteX15158" fmla="*/ 2785633 w 8267681"/>
              <a:gd name="connsiteY15158" fmla="*/ 5045135 h 6698675"/>
              <a:gd name="connsiteX15159" fmla="*/ 2783015 w 8267681"/>
              <a:gd name="connsiteY15159" fmla="*/ 5044612 h 6698675"/>
              <a:gd name="connsiteX15160" fmla="*/ 2773008 w 8267681"/>
              <a:gd name="connsiteY15160" fmla="*/ 5025170 h 6698675"/>
              <a:gd name="connsiteX15161" fmla="*/ 2757447 w 8267681"/>
              <a:gd name="connsiteY15161" fmla="*/ 5012252 h 6698675"/>
              <a:gd name="connsiteX15162" fmla="*/ 2741006 w 8267681"/>
              <a:gd name="connsiteY15162" fmla="*/ 5026345 h 6698675"/>
              <a:gd name="connsiteX15163" fmla="*/ 2738657 w 8267681"/>
              <a:gd name="connsiteY15163" fmla="*/ 5035740 h 6698675"/>
              <a:gd name="connsiteX15164" fmla="*/ 2783015 w 8267681"/>
              <a:gd name="connsiteY15164" fmla="*/ 5044612 h 6698675"/>
              <a:gd name="connsiteX15165" fmla="*/ 2783284 w 8267681"/>
              <a:gd name="connsiteY15165" fmla="*/ 5045135 h 6698675"/>
              <a:gd name="connsiteX15166" fmla="*/ 2785633 w 8267681"/>
              <a:gd name="connsiteY15166" fmla="*/ 5045135 h 6698675"/>
              <a:gd name="connsiteX15167" fmla="*/ 2731610 w 8267681"/>
              <a:gd name="connsiteY15167" fmla="*/ 5075669 h 6698675"/>
              <a:gd name="connsiteX15168" fmla="*/ 2726913 w 8267681"/>
              <a:gd name="connsiteY15168" fmla="*/ 5073320 h 6698675"/>
              <a:gd name="connsiteX15169" fmla="*/ 2724564 w 8267681"/>
              <a:gd name="connsiteY15169" fmla="*/ 5080367 h 6698675"/>
              <a:gd name="connsiteX15170" fmla="*/ 2694030 w 8267681"/>
              <a:gd name="connsiteY15170" fmla="*/ 5099157 h 6698675"/>
              <a:gd name="connsiteX15171" fmla="*/ 2689332 w 8267681"/>
              <a:gd name="connsiteY15171" fmla="*/ 5078018 h 6698675"/>
              <a:gd name="connsiteX15172" fmla="*/ 2663496 w 8267681"/>
              <a:gd name="connsiteY15172" fmla="*/ 5108552 h 6698675"/>
              <a:gd name="connsiteX15173" fmla="*/ 2682286 w 8267681"/>
              <a:gd name="connsiteY15173" fmla="*/ 5129691 h 6698675"/>
              <a:gd name="connsiteX15174" fmla="*/ 2625916 w 8267681"/>
              <a:gd name="connsiteY15174" fmla="*/ 5167271 h 6698675"/>
              <a:gd name="connsiteX15175" fmla="*/ 2703426 w 8267681"/>
              <a:gd name="connsiteY15175" fmla="*/ 5132040 h 6698675"/>
              <a:gd name="connsiteX15176" fmla="*/ 2635310 w 8267681"/>
              <a:gd name="connsiteY15176" fmla="*/ 5240084 h 6698675"/>
              <a:gd name="connsiteX15177" fmla="*/ 2578940 w 8267681"/>
              <a:gd name="connsiteY15177" fmla="*/ 5317593 h 6698675"/>
              <a:gd name="connsiteX15178" fmla="*/ 2571893 w 8267681"/>
              <a:gd name="connsiteY15178" fmla="*/ 5310547 h 6698675"/>
              <a:gd name="connsiteX15179" fmla="*/ 2475594 w 8267681"/>
              <a:gd name="connsiteY15179" fmla="*/ 5416242 h 6698675"/>
              <a:gd name="connsiteX15180" fmla="*/ 2482640 w 8267681"/>
              <a:gd name="connsiteY15180" fmla="*/ 5383359 h 6698675"/>
              <a:gd name="connsiteX15181" fmla="*/ 2456803 w 8267681"/>
              <a:gd name="connsiteY15181" fmla="*/ 5397452 h 6698675"/>
              <a:gd name="connsiteX15182" fmla="*/ 2376945 w 8267681"/>
              <a:gd name="connsiteY15182" fmla="*/ 5590051 h 6698675"/>
              <a:gd name="connsiteX15183" fmla="*/ 2421572 w 8267681"/>
              <a:gd name="connsiteY15183" fmla="*/ 5467915 h 6698675"/>
              <a:gd name="connsiteX15184" fmla="*/ 2426269 w 8267681"/>
              <a:gd name="connsiteY15184" fmla="*/ 5465566 h 6698675"/>
              <a:gd name="connsiteX15185" fmla="*/ 2423920 w 8267681"/>
              <a:gd name="connsiteY15185" fmla="*/ 5463218 h 6698675"/>
              <a:gd name="connsiteX15186" fmla="*/ 2445059 w 8267681"/>
              <a:gd name="connsiteY15186" fmla="*/ 5399801 h 6698675"/>
              <a:gd name="connsiteX15187" fmla="*/ 2419223 w 8267681"/>
              <a:gd name="connsiteY15187" fmla="*/ 5460869 h 6698675"/>
              <a:gd name="connsiteX15188" fmla="*/ 2407222 w 8267681"/>
              <a:gd name="connsiteY15188" fmla="*/ 5460832 h 6698675"/>
              <a:gd name="connsiteX15189" fmla="*/ 2398415 w 8267681"/>
              <a:gd name="connsiteY15189" fmla="*/ 5465909 h 6698675"/>
              <a:gd name="connsiteX15190" fmla="*/ 2398084 w 8267681"/>
              <a:gd name="connsiteY15190" fmla="*/ 5460869 h 6698675"/>
              <a:gd name="connsiteX15191" fmla="*/ 2396645 w 8267681"/>
              <a:gd name="connsiteY15191" fmla="*/ 5466928 h 6698675"/>
              <a:gd name="connsiteX15192" fmla="*/ 2395442 w 8267681"/>
              <a:gd name="connsiteY15192" fmla="*/ 5467622 h 6698675"/>
              <a:gd name="connsiteX15193" fmla="*/ 2369898 w 8267681"/>
              <a:gd name="connsiteY15193" fmla="*/ 5479659 h 6698675"/>
              <a:gd name="connsiteX15194" fmla="*/ 2390450 w 8267681"/>
              <a:gd name="connsiteY15194" fmla="*/ 5488173 h 6698675"/>
              <a:gd name="connsiteX15195" fmla="*/ 2391735 w 8267681"/>
              <a:gd name="connsiteY15195" fmla="*/ 5487593 h 6698675"/>
              <a:gd name="connsiteX15196" fmla="*/ 2385459 w 8267681"/>
              <a:gd name="connsiteY15196" fmla="*/ 5514010 h 6698675"/>
              <a:gd name="connsiteX15197" fmla="*/ 2379118 w 8267681"/>
              <a:gd name="connsiteY15197" fmla="*/ 5541946 h 6698675"/>
              <a:gd name="connsiteX15198" fmla="*/ 2374596 w 8267681"/>
              <a:gd name="connsiteY15198" fmla="*/ 5543076 h 6698675"/>
              <a:gd name="connsiteX15199" fmla="*/ 2358156 w 8267681"/>
              <a:gd name="connsiteY15199" fmla="*/ 5580657 h 6698675"/>
              <a:gd name="connsiteX15200" fmla="*/ 2353457 w 8267681"/>
              <a:gd name="connsiteY15200" fmla="*/ 5571261 h 6698675"/>
              <a:gd name="connsiteX15201" fmla="*/ 2346412 w 8267681"/>
              <a:gd name="connsiteY15201" fmla="*/ 5592400 h 6698675"/>
              <a:gd name="connsiteX15202" fmla="*/ 2341713 w 8267681"/>
              <a:gd name="connsiteY15202" fmla="*/ 5564215 h 6698675"/>
              <a:gd name="connsiteX15203" fmla="*/ 2294738 w 8267681"/>
              <a:gd name="connsiteY15203" fmla="*/ 5667561 h 6698675"/>
              <a:gd name="connsiteX15204" fmla="*/ 2348759 w 8267681"/>
              <a:gd name="connsiteY15204" fmla="*/ 5484356 h 6698675"/>
              <a:gd name="connsiteX15205" fmla="*/ 2285342 w 8267681"/>
              <a:gd name="connsiteY15205" fmla="*/ 5620586 h 6698675"/>
              <a:gd name="connsiteX15206" fmla="*/ 2313529 w 8267681"/>
              <a:gd name="connsiteY15206" fmla="*/ 5554820 h 6698675"/>
              <a:gd name="connsiteX15207" fmla="*/ 2315877 w 8267681"/>
              <a:gd name="connsiteY15207" fmla="*/ 5554820 h 6698675"/>
              <a:gd name="connsiteX15208" fmla="*/ 2320574 w 8267681"/>
              <a:gd name="connsiteY15208" fmla="*/ 5543076 h 6698675"/>
              <a:gd name="connsiteX15209" fmla="*/ 2318225 w 8267681"/>
              <a:gd name="connsiteY15209" fmla="*/ 5540727 h 6698675"/>
              <a:gd name="connsiteX15210" fmla="*/ 2320574 w 8267681"/>
              <a:gd name="connsiteY15210" fmla="*/ 5533681 h 6698675"/>
              <a:gd name="connsiteX15211" fmla="*/ 2315877 w 8267681"/>
              <a:gd name="connsiteY15211" fmla="*/ 5538378 h 6698675"/>
              <a:gd name="connsiteX15212" fmla="*/ 2304133 w 8267681"/>
              <a:gd name="connsiteY15212" fmla="*/ 5533681 h 6698675"/>
              <a:gd name="connsiteX15213" fmla="*/ 2299435 w 8267681"/>
              <a:gd name="connsiteY15213" fmla="*/ 5545425 h 6698675"/>
              <a:gd name="connsiteX15214" fmla="*/ 2308830 w 8267681"/>
              <a:gd name="connsiteY15214" fmla="*/ 5550122 h 6698675"/>
              <a:gd name="connsiteX15215" fmla="*/ 2238373 w 8267681"/>
              <a:gd name="connsiteY15215" fmla="*/ 5651120 h 6698675"/>
              <a:gd name="connsiteX15216" fmla="*/ 2225451 w 8267681"/>
              <a:gd name="connsiteY15216" fmla="*/ 5675782 h 6698675"/>
              <a:gd name="connsiteX15217" fmla="*/ 2221931 w 8267681"/>
              <a:gd name="connsiteY15217" fmla="*/ 5678889 h 6698675"/>
              <a:gd name="connsiteX15218" fmla="*/ 2221931 w 8267681"/>
              <a:gd name="connsiteY15218" fmla="*/ 5679305 h 6698675"/>
              <a:gd name="connsiteX15219" fmla="*/ 2220695 w 8267681"/>
              <a:gd name="connsiteY15219" fmla="*/ 5679978 h 6698675"/>
              <a:gd name="connsiteX15220" fmla="*/ 2205488 w 8267681"/>
              <a:gd name="connsiteY15220" fmla="*/ 5693398 h 6698675"/>
              <a:gd name="connsiteX15221" fmla="*/ 2208662 w 8267681"/>
              <a:gd name="connsiteY15221" fmla="*/ 5687343 h 6698675"/>
              <a:gd name="connsiteX15222" fmla="*/ 2200796 w 8267681"/>
              <a:gd name="connsiteY15222" fmla="*/ 5693398 h 6698675"/>
              <a:gd name="connsiteX15223" fmla="*/ 2212538 w 8267681"/>
              <a:gd name="connsiteY15223" fmla="*/ 5655817 h 6698675"/>
              <a:gd name="connsiteX15224" fmla="*/ 2217234 w 8267681"/>
              <a:gd name="connsiteY15224" fmla="*/ 5667561 h 6698675"/>
              <a:gd name="connsiteX15225" fmla="*/ 2212538 w 8267681"/>
              <a:gd name="connsiteY15225" fmla="*/ 5674607 h 6698675"/>
              <a:gd name="connsiteX15226" fmla="*/ 2214376 w 8267681"/>
              <a:gd name="connsiteY15226" fmla="*/ 5676447 h 6698675"/>
              <a:gd name="connsiteX15227" fmla="*/ 2218112 w 8267681"/>
              <a:gd name="connsiteY15227" fmla="*/ 5669323 h 6698675"/>
              <a:gd name="connsiteX15228" fmla="*/ 2228975 w 8267681"/>
              <a:gd name="connsiteY15228" fmla="*/ 5641725 h 6698675"/>
              <a:gd name="connsiteX15229" fmla="*/ 2207838 w 8267681"/>
              <a:gd name="connsiteY15229" fmla="*/ 5658166 h 6698675"/>
              <a:gd name="connsiteX15230" fmla="*/ 2210188 w 8267681"/>
              <a:gd name="connsiteY15230" fmla="*/ 5637027 h 6698675"/>
              <a:gd name="connsiteX15231" fmla="*/ 2226626 w 8267681"/>
              <a:gd name="connsiteY15231" fmla="*/ 5618237 h 6698675"/>
              <a:gd name="connsiteX15232" fmla="*/ 2212533 w 8267681"/>
              <a:gd name="connsiteY15232" fmla="*/ 5622935 h 6698675"/>
              <a:gd name="connsiteX15233" fmla="*/ 2238373 w 8267681"/>
              <a:gd name="connsiteY15233" fmla="*/ 5611191 h 6698675"/>
              <a:gd name="connsiteX15234" fmla="*/ 2243064 w 8267681"/>
              <a:gd name="connsiteY15234" fmla="*/ 5590051 h 6698675"/>
              <a:gd name="connsiteX15235" fmla="*/ 2266552 w 8267681"/>
              <a:gd name="connsiteY15235" fmla="*/ 5580657 h 6698675"/>
              <a:gd name="connsiteX15236" fmla="*/ 2240723 w 8267681"/>
              <a:gd name="connsiteY15236" fmla="*/ 5583005 h 6698675"/>
              <a:gd name="connsiteX15237" fmla="*/ 2282994 w 8267681"/>
              <a:gd name="connsiteY15237" fmla="*/ 5561866 h 6698675"/>
              <a:gd name="connsiteX15238" fmla="*/ 2278296 w 8267681"/>
              <a:gd name="connsiteY15238" fmla="*/ 5573610 h 6698675"/>
              <a:gd name="connsiteX15239" fmla="*/ 2287398 w 8267681"/>
              <a:gd name="connsiteY15239" fmla="*/ 5558343 h 6698675"/>
              <a:gd name="connsiteX15240" fmla="*/ 2289359 w 8267681"/>
              <a:gd name="connsiteY15240" fmla="*/ 5554263 h 6698675"/>
              <a:gd name="connsiteX15241" fmla="*/ 2280645 w 8267681"/>
              <a:gd name="connsiteY15241" fmla="*/ 5557167 h 6698675"/>
              <a:gd name="connsiteX15242" fmla="*/ 2288474 w 8267681"/>
              <a:gd name="connsiteY15242" fmla="*/ 5545425 h 6698675"/>
              <a:gd name="connsiteX15243" fmla="*/ 2275947 w 8267681"/>
              <a:gd name="connsiteY15243" fmla="*/ 5550122 h 6698675"/>
              <a:gd name="connsiteX15244" fmla="*/ 2285342 w 8267681"/>
              <a:gd name="connsiteY15244" fmla="*/ 5538378 h 6698675"/>
              <a:gd name="connsiteX15245" fmla="*/ 2315877 w 8267681"/>
              <a:gd name="connsiteY15245" fmla="*/ 5519588 h 6698675"/>
              <a:gd name="connsiteX15246" fmla="*/ 2294738 w 8267681"/>
              <a:gd name="connsiteY15246" fmla="*/ 5521937 h 6698675"/>
              <a:gd name="connsiteX15247" fmla="*/ 2301785 w 8267681"/>
              <a:gd name="connsiteY15247" fmla="*/ 5507844 h 6698675"/>
              <a:gd name="connsiteX15248" fmla="*/ 2325272 w 8267681"/>
              <a:gd name="connsiteY15248" fmla="*/ 5507844 h 6698675"/>
              <a:gd name="connsiteX15249" fmla="*/ 2337016 w 8267681"/>
              <a:gd name="connsiteY15249" fmla="*/ 5493752 h 6698675"/>
              <a:gd name="connsiteX15250" fmla="*/ 2306481 w 8267681"/>
              <a:gd name="connsiteY15250" fmla="*/ 5496100 h 6698675"/>
              <a:gd name="connsiteX15251" fmla="*/ 2313529 w 8267681"/>
              <a:gd name="connsiteY15251" fmla="*/ 5472613 h 6698675"/>
              <a:gd name="connsiteX15252" fmla="*/ 2344062 w 8267681"/>
              <a:gd name="connsiteY15252" fmla="*/ 5460869 h 6698675"/>
              <a:gd name="connsiteX15253" fmla="*/ 2320574 w 8267681"/>
              <a:gd name="connsiteY15253" fmla="*/ 5458520 h 6698675"/>
              <a:gd name="connsiteX15254" fmla="*/ 2318225 w 8267681"/>
              <a:gd name="connsiteY15254" fmla="*/ 5449125 h 6698675"/>
              <a:gd name="connsiteX15255" fmla="*/ 2318225 w 8267681"/>
              <a:gd name="connsiteY15255" fmla="*/ 5446776 h 6698675"/>
              <a:gd name="connsiteX15256" fmla="*/ 2379293 w 8267681"/>
              <a:gd name="connsiteY15256" fmla="*/ 5435032 h 6698675"/>
              <a:gd name="connsiteX15257" fmla="*/ 2320574 w 8267681"/>
              <a:gd name="connsiteY15257" fmla="*/ 5437381 h 6698675"/>
              <a:gd name="connsiteX15258" fmla="*/ 2320574 w 8267681"/>
              <a:gd name="connsiteY15258" fmla="*/ 5416242 h 6698675"/>
              <a:gd name="connsiteX15259" fmla="*/ 2332318 w 8267681"/>
              <a:gd name="connsiteY15259" fmla="*/ 5413893 h 6698675"/>
              <a:gd name="connsiteX15260" fmla="*/ 2320574 w 8267681"/>
              <a:gd name="connsiteY15260" fmla="*/ 5411545 h 6698675"/>
              <a:gd name="connsiteX15261" fmla="*/ 2318225 w 8267681"/>
              <a:gd name="connsiteY15261" fmla="*/ 5397452 h 6698675"/>
              <a:gd name="connsiteX15262" fmla="*/ 2358156 w 8267681"/>
              <a:gd name="connsiteY15262" fmla="*/ 5392754 h 6698675"/>
              <a:gd name="connsiteX15263" fmla="*/ 2318225 w 8267681"/>
              <a:gd name="connsiteY15263" fmla="*/ 5392754 h 6698675"/>
              <a:gd name="connsiteX15264" fmla="*/ 2311179 w 8267681"/>
              <a:gd name="connsiteY15264" fmla="*/ 5373964 h 6698675"/>
              <a:gd name="connsiteX15265" fmla="*/ 2395735 w 8267681"/>
              <a:gd name="connsiteY15265" fmla="*/ 5369266 h 6698675"/>
              <a:gd name="connsiteX15266" fmla="*/ 2304133 w 8267681"/>
              <a:gd name="connsiteY15266" fmla="*/ 5362220 h 6698675"/>
              <a:gd name="connsiteX15267" fmla="*/ 2290040 w 8267681"/>
              <a:gd name="connsiteY15267" fmla="*/ 5343430 h 6698675"/>
              <a:gd name="connsiteX15268" fmla="*/ 2468547 w 8267681"/>
              <a:gd name="connsiteY15268" fmla="*/ 5324639 h 6698675"/>
              <a:gd name="connsiteX15269" fmla="*/ 2477942 w 8267681"/>
              <a:gd name="connsiteY15269" fmla="*/ 5310547 h 6698675"/>
              <a:gd name="connsiteX15270" fmla="*/ 2280645 w 8267681"/>
              <a:gd name="connsiteY15270" fmla="*/ 5334035 h 6698675"/>
              <a:gd name="connsiteX15271" fmla="*/ 2278296 w 8267681"/>
              <a:gd name="connsiteY15271" fmla="*/ 5331686 h 6698675"/>
              <a:gd name="connsiteX15272" fmla="*/ 2236023 w 8267681"/>
              <a:gd name="connsiteY15272" fmla="*/ 5338732 h 6698675"/>
              <a:gd name="connsiteX15273" fmla="*/ 2292389 w 8267681"/>
              <a:gd name="connsiteY15273" fmla="*/ 5310547 h 6698675"/>
              <a:gd name="connsiteX15274" fmla="*/ 2243064 w 8267681"/>
              <a:gd name="connsiteY15274" fmla="*/ 5315244 h 6698675"/>
              <a:gd name="connsiteX15275" fmla="*/ 2250111 w 8267681"/>
              <a:gd name="connsiteY15275" fmla="*/ 5310547 h 6698675"/>
              <a:gd name="connsiteX15276" fmla="*/ 2231324 w 8267681"/>
              <a:gd name="connsiteY15276" fmla="*/ 5308198 h 6698675"/>
              <a:gd name="connsiteX15277" fmla="*/ 2315877 w 8267681"/>
              <a:gd name="connsiteY15277" fmla="*/ 5272966 h 6698675"/>
              <a:gd name="connsiteX15278" fmla="*/ 2179653 w 8267681"/>
              <a:gd name="connsiteY15278" fmla="*/ 5319942 h 6698675"/>
              <a:gd name="connsiteX15279" fmla="*/ 2186697 w 8267681"/>
              <a:gd name="connsiteY15279" fmla="*/ 5310547 h 6698675"/>
              <a:gd name="connsiteX15280" fmla="*/ 2163210 w 8267681"/>
              <a:gd name="connsiteY15280" fmla="*/ 5310547 h 6698675"/>
              <a:gd name="connsiteX15281" fmla="*/ 2196095 w 8267681"/>
              <a:gd name="connsiteY15281" fmla="*/ 5296454 h 6698675"/>
              <a:gd name="connsiteX15282" fmla="*/ 2186697 w 8267681"/>
              <a:gd name="connsiteY15282" fmla="*/ 5289408 h 6698675"/>
              <a:gd name="connsiteX15283" fmla="*/ 2414525 w 8267681"/>
              <a:gd name="connsiteY15283" fmla="*/ 5157876 h 6698675"/>
              <a:gd name="connsiteX15284" fmla="*/ 2369898 w 8267681"/>
              <a:gd name="connsiteY15284" fmla="*/ 5167271 h 6698675"/>
              <a:gd name="connsiteX15285" fmla="*/ 2360503 w 8267681"/>
              <a:gd name="connsiteY15285" fmla="*/ 5136737 h 6698675"/>
              <a:gd name="connsiteX15286" fmla="*/ 2341713 w 8267681"/>
              <a:gd name="connsiteY15286" fmla="*/ 5162574 h 6698675"/>
              <a:gd name="connsiteX15287" fmla="*/ 2358156 w 8267681"/>
              <a:gd name="connsiteY15287" fmla="*/ 5169620 h 6698675"/>
              <a:gd name="connsiteX15288" fmla="*/ 2301785 w 8267681"/>
              <a:gd name="connsiteY15288" fmla="*/ 5214247 h 6698675"/>
              <a:gd name="connsiteX15289" fmla="*/ 2322923 w 8267681"/>
              <a:gd name="connsiteY15289" fmla="*/ 5181364 h 6698675"/>
              <a:gd name="connsiteX15290" fmla="*/ 2203138 w 8267681"/>
              <a:gd name="connsiteY15290" fmla="*/ 5225991 h 6698675"/>
              <a:gd name="connsiteX15291" fmla="*/ 2301785 w 8267681"/>
              <a:gd name="connsiteY15291" fmla="*/ 5169620 h 6698675"/>
              <a:gd name="connsiteX15292" fmla="*/ 2307916 w 8267681"/>
              <a:gd name="connsiteY15292" fmla="*/ 5171153 h 6698675"/>
              <a:gd name="connsiteX15293" fmla="*/ 2314217 w 8267681"/>
              <a:gd name="connsiteY15293" fmla="*/ 5167187 h 6698675"/>
              <a:gd name="connsiteX15294" fmla="*/ 2322923 w 8267681"/>
              <a:gd name="connsiteY15294" fmla="*/ 5153472 h 6698675"/>
              <a:gd name="connsiteX15295" fmla="*/ 2327620 w 8267681"/>
              <a:gd name="connsiteY15295" fmla="*/ 5136737 h 6698675"/>
              <a:gd name="connsiteX15296" fmla="*/ 2346412 w 8267681"/>
              <a:gd name="connsiteY15296" fmla="*/ 5120296 h 6698675"/>
              <a:gd name="connsiteX15297" fmla="*/ 2325272 w 8267681"/>
              <a:gd name="connsiteY15297" fmla="*/ 5127342 h 6698675"/>
              <a:gd name="connsiteX15298" fmla="*/ 2322588 w 8267681"/>
              <a:gd name="connsiteY15298" fmla="*/ 5120631 h 6698675"/>
              <a:gd name="connsiteX15299" fmla="*/ 2320574 w 8267681"/>
              <a:gd name="connsiteY15299" fmla="*/ 5122644 h 6698675"/>
              <a:gd name="connsiteX15300" fmla="*/ 2252460 w 8267681"/>
              <a:gd name="connsiteY15300" fmla="*/ 5153179 h 6698675"/>
              <a:gd name="connsiteX15301" fmla="*/ 2317716 w 8267681"/>
              <a:gd name="connsiteY15301" fmla="*/ 5116925 h 6698675"/>
              <a:gd name="connsiteX15302" fmla="*/ 2312354 w 8267681"/>
              <a:gd name="connsiteY15302" fmla="*/ 5119415 h 6698675"/>
              <a:gd name="connsiteX15303" fmla="*/ 2304133 w 8267681"/>
              <a:gd name="connsiteY15303" fmla="*/ 5110901 h 6698675"/>
              <a:gd name="connsiteX15304" fmla="*/ 2405130 w 8267681"/>
              <a:gd name="connsiteY15304" fmla="*/ 5070972 h 6698675"/>
              <a:gd name="connsiteX15305" fmla="*/ 2438013 w 8267681"/>
              <a:gd name="connsiteY15305" fmla="*/ 5054530 h 6698675"/>
              <a:gd name="connsiteX15306" fmla="*/ 2501430 w 8267681"/>
              <a:gd name="connsiteY15306" fmla="*/ 5016950 h 6698675"/>
              <a:gd name="connsiteX15307" fmla="*/ 2548112 w 8267681"/>
              <a:gd name="connsiteY15307" fmla="*/ 5000214 h 6698675"/>
              <a:gd name="connsiteX15308" fmla="*/ 2591574 w 8267681"/>
              <a:gd name="connsiteY15308" fmla="*/ 4982318 h 6698675"/>
              <a:gd name="connsiteX15309" fmla="*/ 2592950 w 8267681"/>
              <a:gd name="connsiteY15309" fmla="*/ 4982101 h 6698675"/>
              <a:gd name="connsiteX15310" fmla="*/ 2590097 w 8267681"/>
              <a:gd name="connsiteY15310" fmla="*/ 4995223 h 6698675"/>
              <a:gd name="connsiteX15311" fmla="*/ 2595467 w 8267681"/>
              <a:gd name="connsiteY15311" fmla="*/ 5002246 h 6698675"/>
              <a:gd name="connsiteX15312" fmla="*/ 2592739 w 8267681"/>
              <a:gd name="connsiteY15312" fmla="*/ 5002563 h 6698675"/>
              <a:gd name="connsiteX15313" fmla="*/ 2567196 w 8267681"/>
              <a:gd name="connsiteY15313" fmla="*/ 5019298 h 6698675"/>
              <a:gd name="connsiteX15314" fmla="*/ 2630613 w 8267681"/>
              <a:gd name="connsiteY15314" fmla="*/ 4998159 h 6698675"/>
              <a:gd name="connsiteX15315" fmla="*/ 2602485 w 8267681"/>
              <a:gd name="connsiteY15315" fmla="*/ 5001430 h 6698675"/>
              <a:gd name="connsiteX15316" fmla="*/ 2607714 w 8267681"/>
              <a:gd name="connsiteY15316" fmla="*/ 4997278 h 6698675"/>
              <a:gd name="connsiteX15317" fmla="*/ 2614172 w 8267681"/>
              <a:gd name="connsiteY15317" fmla="*/ 4984067 h 6698675"/>
              <a:gd name="connsiteX15318" fmla="*/ 2597730 w 8267681"/>
              <a:gd name="connsiteY15318" fmla="*/ 4977020 h 6698675"/>
              <a:gd name="connsiteX15319" fmla="*/ 2595381 w 8267681"/>
              <a:gd name="connsiteY15319" fmla="*/ 4981718 h 6698675"/>
              <a:gd name="connsiteX15320" fmla="*/ 2592950 w 8267681"/>
              <a:gd name="connsiteY15320" fmla="*/ 4982101 h 6698675"/>
              <a:gd name="connsiteX15321" fmla="*/ 2593033 w 8267681"/>
              <a:gd name="connsiteY15321" fmla="*/ 4981718 h 6698675"/>
              <a:gd name="connsiteX15322" fmla="*/ 2591574 w 8267681"/>
              <a:gd name="connsiteY15322" fmla="*/ 4982318 h 6698675"/>
              <a:gd name="connsiteX15323" fmla="*/ 2554682 w 8267681"/>
              <a:gd name="connsiteY15323" fmla="*/ 4988140 h 6698675"/>
              <a:gd name="connsiteX15324" fmla="*/ 2442711 w 8267681"/>
              <a:gd name="connsiteY15324" fmla="*/ 5033391 h 6698675"/>
              <a:gd name="connsiteX15325" fmla="*/ 2264203 w 8267681"/>
              <a:gd name="connsiteY15325" fmla="*/ 5120296 h 6698675"/>
              <a:gd name="connsiteX15326" fmla="*/ 2290040 w 8267681"/>
              <a:gd name="connsiteY15326" fmla="*/ 5096808 h 6698675"/>
              <a:gd name="connsiteX15327" fmla="*/ 2250111 w 8267681"/>
              <a:gd name="connsiteY15327" fmla="*/ 5106203 h 6698675"/>
              <a:gd name="connsiteX15328" fmla="*/ 2339365 w 8267681"/>
              <a:gd name="connsiteY15328" fmla="*/ 5061576 h 6698675"/>
              <a:gd name="connsiteX15329" fmla="*/ 2492035 w 8267681"/>
              <a:gd name="connsiteY15329" fmla="*/ 4986415 h 6698675"/>
              <a:gd name="connsiteX15330" fmla="*/ 2494384 w 8267681"/>
              <a:gd name="connsiteY15330" fmla="*/ 4977020 h 6698675"/>
              <a:gd name="connsiteX15331" fmla="*/ 2503779 w 8267681"/>
              <a:gd name="connsiteY15331" fmla="*/ 4977020 h 6698675"/>
              <a:gd name="connsiteX15332" fmla="*/ 2508476 w 8267681"/>
              <a:gd name="connsiteY15332" fmla="*/ 4979369 h 6698675"/>
              <a:gd name="connsiteX15333" fmla="*/ 2546057 w 8267681"/>
              <a:gd name="connsiteY15333" fmla="*/ 4965277 h 6698675"/>
              <a:gd name="connsiteX15334" fmla="*/ 2543709 w 8267681"/>
              <a:gd name="connsiteY15334" fmla="*/ 4962928 h 6698675"/>
              <a:gd name="connsiteX15335" fmla="*/ 2539011 w 8267681"/>
              <a:gd name="connsiteY15335" fmla="*/ 4953533 h 6698675"/>
              <a:gd name="connsiteX15336" fmla="*/ 2546057 w 8267681"/>
              <a:gd name="connsiteY15336" fmla="*/ 4948835 h 6698675"/>
              <a:gd name="connsiteX15337" fmla="*/ 2550754 w 8267681"/>
              <a:gd name="connsiteY15337" fmla="*/ 4953533 h 6698675"/>
              <a:gd name="connsiteX15338" fmla="*/ 2550754 w 8267681"/>
              <a:gd name="connsiteY15338" fmla="*/ 4962928 h 6698675"/>
              <a:gd name="connsiteX15339" fmla="*/ 2548406 w 8267681"/>
              <a:gd name="connsiteY15339" fmla="*/ 4965277 h 6698675"/>
              <a:gd name="connsiteX15340" fmla="*/ 2602427 w 8267681"/>
              <a:gd name="connsiteY15340" fmla="*/ 4946486 h 6698675"/>
              <a:gd name="connsiteX15341" fmla="*/ 2593033 w 8267681"/>
              <a:gd name="connsiteY15341" fmla="*/ 4925347 h 6698675"/>
              <a:gd name="connsiteX15342" fmla="*/ 2548406 w 8267681"/>
              <a:gd name="connsiteY15342" fmla="*/ 4934742 h 6698675"/>
              <a:gd name="connsiteX15343" fmla="*/ 2463850 w 8267681"/>
              <a:gd name="connsiteY15343" fmla="*/ 4958230 h 6698675"/>
              <a:gd name="connsiteX15344" fmla="*/ 2438013 w 8267681"/>
              <a:gd name="connsiteY15344" fmla="*/ 4969974 h 6698675"/>
              <a:gd name="connsiteX15345" fmla="*/ 2461501 w 8267681"/>
              <a:gd name="connsiteY15345" fmla="*/ 4932393 h 6698675"/>
              <a:gd name="connsiteX15346" fmla="*/ 2480291 w 8267681"/>
              <a:gd name="connsiteY15346" fmla="*/ 4915952 h 6698675"/>
              <a:gd name="connsiteX15347" fmla="*/ 2477942 w 8267681"/>
              <a:gd name="connsiteY15347" fmla="*/ 4911255 h 6698675"/>
              <a:gd name="connsiteX15348" fmla="*/ 2461501 w 8267681"/>
              <a:gd name="connsiteY15348" fmla="*/ 4920650 h 6698675"/>
              <a:gd name="connsiteX15349" fmla="*/ 2461501 w 8267681"/>
              <a:gd name="connsiteY15349" fmla="*/ 4915952 h 6698675"/>
              <a:gd name="connsiteX15350" fmla="*/ 2445059 w 8267681"/>
              <a:gd name="connsiteY15350" fmla="*/ 4913603 h 6698675"/>
              <a:gd name="connsiteX15351" fmla="*/ 2506128 w 8267681"/>
              <a:gd name="connsiteY15351" fmla="*/ 4861930 h 6698675"/>
              <a:gd name="connsiteX15352" fmla="*/ 2496732 w 8267681"/>
              <a:gd name="connsiteY15352" fmla="*/ 4854884 h 6698675"/>
              <a:gd name="connsiteX15353" fmla="*/ 2496732 w 8267681"/>
              <a:gd name="connsiteY15353" fmla="*/ 4852535 h 6698675"/>
              <a:gd name="connsiteX15354" fmla="*/ 2426269 w 8267681"/>
              <a:gd name="connsiteY15354" fmla="*/ 4906557 h 6698675"/>
              <a:gd name="connsiteX15355" fmla="*/ 2419223 w 8267681"/>
              <a:gd name="connsiteY15355" fmla="*/ 4906557 h 6698675"/>
              <a:gd name="connsiteX15356" fmla="*/ 2412176 w 8267681"/>
              <a:gd name="connsiteY15356" fmla="*/ 4911255 h 6698675"/>
              <a:gd name="connsiteX15357" fmla="*/ 2480291 w 8267681"/>
              <a:gd name="connsiteY15357" fmla="*/ 4852535 h 6698675"/>
              <a:gd name="connsiteX15358" fmla="*/ 2524918 w 8267681"/>
              <a:gd name="connsiteY15358" fmla="*/ 4814955 h 6698675"/>
              <a:gd name="connsiteX15359" fmla="*/ 2520220 w 8267681"/>
              <a:gd name="connsiteY15359" fmla="*/ 4814955 h 6698675"/>
              <a:gd name="connsiteX15360" fmla="*/ 2517871 w 8267681"/>
              <a:gd name="connsiteY15360" fmla="*/ 4812606 h 6698675"/>
              <a:gd name="connsiteX15361" fmla="*/ 2520220 w 8267681"/>
              <a:gd name="connsiteY15361" fmla="*/ 4807908 h 6698675"/>
              <a:gd name="connsiteX15362" fmla="*/ 2529615 w 8267681"/>
              <a:gd name="connsiteY15362" fmla="*/ 4807908 h 6698675"/>
              <a:gd name="connsiteX15363" fmla="*/ 2531964 w 8267681"/>
              <a:gd name="connsiteY15363" fmla="*/ 4810257 h 6698675"/>
              <a:gd name="connsiteX15364" fmla="*/ 2583637 w 8267681"/>
              <a:gd name="connsiteY15364" fmla="*/ 4782072 h 6698675"/>
              <a:gd name="connsiteX15365" fmla="*/ 2581289 w 8267681"/>
              <a:gd name="connsiteY15365" fmla="*/ 4779723 h 6698675"/>
              <a:gd name="connsiteX15366" fmla="*/ 2393386 w 8267681"/>
              <a:gd name="connsiteY15366" fmla="*/ 4908906 h 6698675"/>
              <a:gd name="connsiteX15367" fmla="*/ 2459152 w 8267681"/>
              <a:gd name="connsiteY15367" fmla="*/ 4833745 h 6698675"/>
              <a:gd name="connsiteX15368" fmla="*/ 2499314 w 8267681"/>
              <a:gd name="connsiteY15368" fmla="*/ 4796396 h 6698675"/>
              <a:gd name="connsiteX15369" fmla="*/ 2494384 w 8267681"/>
              <a:gd name="connsiteY15369" fmla="*/ 4791466 h 6698675"/>
              <a:gd name="connsiteX15370" fmla="*/ 2501430 w 8267681"/>
              <a:gd name="connsiteY15370" fmla="*/ 4786768 h 6698675"/>
              <a:gd name="connsiteX15371" fmla="*/ 2505417 w 8267681"/>
              <a:gd name="connsiteY15371" fmla="*/ 4790755 h 6698675"/>
              <a:gd name="connsiteX15372" fmla="*/ 2531489 w 8267681"/>
              <a:gd name="connsiteY15372" fmla="*/ 4771649 h 6698675"/>
              <a:gd name="connsiteX15373" fmla="*/ 2560150 w 8267681"/>
              <a:gd name="connsiteY15373" fmla="*/ 4758584 h 6698675"/>
              <a:gd name="connsiteX15374" fmla="*/ 2567196 w 8267681"/>
              <a:gd name="connsiteY15374" fmla="*/ 4756235 h 6698675"/>
              <a:gd name="connsiteX15375" fmla="*/ 2569545 w 8267681"/>
              <a:gd name="connsiteY15375" fmla="*/ 4732747 h 6698675"/>
              <a:gd name="connsiteX15376" fmla="*/ 2531964 w 8267681"/>
              <a:gd name="connsiteY15376" fmla="*/ 4739794 h 6698675"/>
              <a:gd name="connsiteX15377" fmla="*/ 2402781 w 8267681"/>
              <a:gd name="connsiteY15377" fmla="*/ 4791467 h 6698675"/>
              <a:gd name="connsiteX15378" fmla="*/ 2475594 w 8267681"/>
              <a:gd name="connsiteY15378" fmla="*/ 4751538 h 6698675"/>
              <a:gd name="connsiteX15379" fmla="*/ 2569545 w 8267681"/>
              <a:gd name="connsiteY15379" fmla="*/ 4723352 h 6698675"/>
              <a:gd name="connsiteX15380" fmla="*/ 2567196 w 8267681"/>
              <a:gd name="connsiteY15380" fmla="*/ 4713957 h 6698675"/>
              <a:gd name="connsiteX15381" fmla="*/ 2583637 w 8267681"/>
              <a:gd name="connsiteY15381" fmla="*/ 4711608 h 6698675"/>
              <a:gd name="connsiteX15382" fmla="*/ 2581289 w 8267681"/>
              <a:gd name="connsiteY15382" fmla="*/ 4699865 h 6698675"/>
              <a:gd name="connsiteX15383" fmla="*/ 2512121 w 8267681"/>
              <a:gd name="connsiteY15383" fmla="*/ 4721047 h 6698675"/>
              <a:gd name="connsiteX15384" fmla="*/ 2597730 w 8267681"/>
              <a:gd name="connsiteY15384" fmla="*/ 4688121 h 6698675"/>
              <a:gd name="connsiteX15385" fmla="*/ 2593033 w 8267681"/>
              <a:gd name="connsiteY15385" fmla="*/ 4678725 h 6698675"/>
              <a:gd name="connsiteX15386" fmla="*/ 2600079 w 8267681"/>
              <a:gd name="connsiteY15386" fmla="*/ 4669330 h 6698675"/>
              <a:gd name="connsiteX15387" fmla="*/ 2526423 w 8267681"/>
              <a:gd name="connsiteY15387" fmla="*/ 4702690 h 6698675"/>
              <a:gd name="connsiteX15388" fmla="*/ 2506788 w 8267681"/>
              <a:gd name="connsiteY15388" fmla="*/ 4722680 h 6698675"/>
              <a:gd name="connsiteX15389" fmla="*/ 2487338 w 8267681"/>
              <a:gd name="connsiteY15389" fmla="*/ 4728637 h 6698675"/>
              <a:gd name="connsiteX15390" fmla="*/ 2407479 w 8267681"/>
              <a:gd name="connsiteY15390" fmla="*/ 4767979 h 6698675"/>
              <a:gd name="connsiteX15391" fmla="*/ 2402781 w 8267681"/>
              <a:gd name="connsiteY15391" fmla="*/ 4760933 h 6698675"/>
              <a:gd name="connsiteX15392" fmla="*/ 2372247 w 8267681"/>
              <a:gd name="connsiteY15392" fmla="*/ 4775025 h 6698675"/>
              <a:gd name="connsiteX15393" fmla="*/ 2369898 w 8267681"/>
              <a:gd name="connsiteY15393" fmla="*/ 4779723 h 6698675"/>
              <a:gd name="connsiteX15394" fmla="*/ 2365201 w 8267681"/>
              <a:gd name="connsiteY15394" fmla="*/ 4784420 h 6698675"/>
              <a:gd name="connsiteX15395" fmla="*/ 2360503 w 8267681"/>
              <a:gd name="connsiteY15395" fmla="*/ 4782072 h 6698675"/>
              <a:gd name="connsiteX15396" fmla="*/ 2341713 w 8267681"/>
              <a:gd name="connsiteY15396" fmla="*/ 4786769 h 6698675"/>
              <a:gd name="connsiteX15397" fmla="*/ 2360503 w 8267681"/>
              <a:gd name="connsiteY15397" fmla="*/ 4777374 h 6698675"/>
              <a:gd name="connsiteX15398" fmla="*/ 2362852 w 8267681"/>
              <a:gd name="connsiteY15398" fmla="*/ 4772676 h 6698675"/>
              <a:gd name="connsiteX15399" fmla="*/ 2367550 w 8267681"/>
              <a:gd name="connsiteY15399" fmla="*/ 4767979 h 6698675"/>
              <a:gd name="connsiteX15400" fmla="*/ 2372247 w 8267681"/>
              <a:gd name="connsiteY15400" fmla="*/ 4770328 h 6698675"/>
              <a:gd name="connsiteX15401" fmla="*/ 2649403 w 8267681"/>
              <a:gd name="connsiteY15401" fmla="*/ 4598867 h 6698675"/>
              <a:gd name="connsiteX15402" fmla="*/ 2649403 w 8267681"/>
              <a:gd name="connsiteY15402" fmla="*/ 4594169 h 6698675"/>
              <a:gd name="connsiteX15403" fmla="*/ 2542240 w 8267681"/>
              <a:gd name="connsiteY15403" fmla="*/ 4595931 h 6698675"/>
              <a:gd name="connsiteX15404" fmla="*/ 2489091 w 8267681"/>
              <a:gd name="connsiteY15404" fmla="*/ 4605304 h 6698675"/>
              <a:gd name="connsiteX15405" fmla="*/ 2483521 w 8267681"/>
              <a:gd name="connsiteY15405" fmla="*/ 4604151 h 6698675"/>
              <a:gd name="connsiteX15406" fmla="*/ 2473246 w 8267681"/>
              <a:gd name="connsiteY15406" fmla="*/ 4605913 h 6698675"/>
              <a:gd name="connsiteX15407" fmla="*/ 2557801 w 8267681"/>
              <a:gd name="connsiteY15407" fmla="*/ 4544845 h 6698675"/>
              <a:gd name="connsiteX15408" fmla="*/ 2499082 w 8267681"/>
              <a:gd name="connsiteY15408" fmla="*/ 4554240 h 6698675"/>
              <a:gd name="connsiteX15409" fmla="*/ 2499082 w 8267681"/>
              <a:gd name="connsiteY15409" fmla="*/ 4556589 h 6698675"/>
              <a:gd name="connsiteX15410" fmla="*/ 2508476 w 8267681"/>
              <a:gd name="connsiteY15410" fmla="*/ 4554240 h 6698675"/>
              <a:gd name="connsiteX15411" fmla="*/ 2513174 w 8267681"/>
              <a:gd name="connsiteY15411" fmla="*/ 4556589 h 6698675"/>
              <a:gd name="connsiteX15412" fmla="*/ 2508476 w 8267681"/>
              <a:gd name="connsiteY15412" fmla="*/ 4582426 h 6698675"/>
              <a:gd name="connsiteX15413" fmla="*/ 2492035 w 8267681"/>
              <a:gd name="connsiteY15413" fmla="*/ 4573030 h 6698675"/>
              <a:gd name="connsiteX15414" fmla="*/ 2480291 w 8267681"/>
              <a:gd name="connsiteY15414" fmla="*/ 4580077 h 6698675"/>
              <a:gd name="connsiteX15415" fmla="*/ 2473246 w 8267681"/>
              <a:gd name="connsiteY15415" fmla="*/ 4596518 h 6698675"/>
              <a:gd name="connsiteX15416" fmla="*/ 2473246 w 8267681"/>
              <a:gd name="connsiteY15416" fmla="*/ 4605913 h 6698675"/>
              <a:gd name="connsiteX15417" fmla="*/ 2473246 w 8267681"/>
              <a:gd name="connsiteY15417" fmla="*/ 4610784 h 6698675"/>
              <a:gd name="connsiteX15418" fmla="*/ 2440362 w 8267681"/>
              <a:gd name="connsiteY15418" fmla="*/ 4622355 h 6698675"/>
              <a:gd name="connsiteX15419" fmla="*/ 2435664 w 8267681"/>
              <a:gd name="connsiteY15419" fmla="*/ 4688121 h 6698675"/>
              <a:gd name="connsiteX15420" fmla="*/ 2383992 w 8267681"/>
              <a:gd name="connsiteY15420" fmla="*/ 4685772 h 6698675"/>
              <a:gd name="connsiteX15421" fmla="*/ 2388689 w 8267681"/>
              <a:gd name="connsiteY15421" fmla="*/ 4659935 h 6698675"/>
              <a:gd name="connsiteX15422" fmla="*/ 2376945 w 8267681"/>
              <a:gd name="connsiteY15422" fmla="*/ 4587123 h 6698675"/>
              <a:gd name="connsiteX15423" fmla="*/ 2360503 w 8267681"/>
              <a:gd name="connsiteY15423" fmla="*/ 4603564 h 6698675"/>
              <a:gd name="connsiteX15424" fmla="*/ 2372247 w 8267681"/>
              <a:gd name="connsiteY15424" fmla="*/ 4624704 h 6698675"/>
              <a:gd name="connsiteX15425" fmla="*/ 2344062 w 8267681"/>
              <a:gd name="connsiteY15425" fmla="*/ 4641145 h 6698675"/>
              <a:gd name="connsiteX15426" fmla="*/ 2327620 w 8267681"/>
              <a:gd name="connsiteY15426" fmla="*/ 4603564 h 6698675"/>
              <a:gd name="connsiteX15427" fmla="*/ 2285342 w 8267681"/>
              <a:gd name="connsiteY15427" fmla="*/ 4394523 h 6698675"/>
              <a:gd name="connsiteX15428" fmla="*/ 2306481 w 8267681"/>
              <a:gd name="connsiteY15428" fmla="*/ 4378082 h 6698675"/>
              <a:gd name="connsiteX15429" fmla="*/ 2299435 w 8267681"/>
              <a:gd name="connsiteY15429" fmla="*/ 4366338 h 6698675"/>
              <a:gd name="connsiteX15430" fmla="*/ 2290040 w 8267681"/>
              <a:gd name="connsiteY15430" fmla="*/ 4371035 h 6698675"/>
              <a:gd name="connsiteX15431" fmla="*/ 2254808 w 8267681"/>
              <a:gd name="connsiteY15431" fmla="*/ 4309967 h 6698675"/>
              <a:gd name="connsiteX15432" fmla="*/ 2273598 w 8267681"/>
              <a:gd name="connsiteY15432" fmla="*/ 4270038 h 6698675"/>
              <a:gd name="connsiteX15433" fmla="*/ 2287691 w 8267681"/>
              <a:gd name="connsiteY15433" fmla="*/ 4309967 h 6698675"/>
              <a:gd name="connsiteX15434" fmla="*/ 2299435 w 8267681"/>
              <a:gd name="connsiteY15434" fmla="*/ 4352245 h 6698675"/>
              <a:gd name="connsiteX15435" fmla="*/ 2311179 w 8267681"/>
              <a:gd name="connsiteY15435" fmla="*/ 4216016 h 6698675"/>
              <a:gd name="connsiteX15436" fmla="*/ 2318225 w 8267681"/>
              <a:gd name="connsiteY15436" fmla="*/ 4218365 h 6698675"/>
              <a:gd name="connsiteX15437" fmla="*/ 2334667 w 8267681"/>
              <a:gd name="connsiteY15437" fmla="*/ 4216016 h 6698675"/>
              <a:gd name="connsiteX15438" fmla="*/ 2358156 w 8267681"/>
              <a:gd name="connsiteY15438" fmla="*/ 4237155 h 6698675"/>
              <a:gd name="connsiteX15439" fmla="*/ 2322923 w 8267681"/>
              <a:gd name="connsiteY15439" fmla="*/ 4274735 h 6698675"/>
              <a:gd name="connsiteX15440" fmla="*/ 2369898 w 8267681"/>
              <a:gd name="connsiteY15440" fmla="*/ 4293526 h 6698675"/>
              <a:gd name="connsiteX15441" fmla="*/ 2379293 w 8267681"/>
              <a:gd name="connsiteY15441" fmla="*/ 4284131 h 6698675"/>
              <a:gd name="connsiteX15442" fmla="*/ 2381642 w 8267681"/>
              <a:gd name="connsiteY15442" fmla="*/ 4279433 h 6698675"/>
              <a:gd name="connsiteX15443" fmla="*/ 2381642 w 8267681"/>
              <a:gd name="connsiteY15443" fmla="*/ 4286479 h 6698675"/>
              <a:gd name="connsiteX15444" fmla="*/ 2381642 w 8267681"/>
              <a:gd name="connsiteY15444" fmla="*/ 4295875 h 6698675"/>
              <a:gd name="connsiteX15445" fmla="*/ 2383992 w 8267681"/>
              <a:gd name="connsiteY15445" fmla="*/ 4298223 h 6698675"/>
              <a:gd name="connsiteX15446" fmla="*/ 2393386 w 8267681"/>
              <a:gd name="connsiteY15446" fmla="*/ 4298223 h 6698675"/>
              <a:gd name="connsiteX15447" fmla="*/ 2393386 w 8267681"/>
              <a:gd name="connsiteY15447" fmla="*/ 4260643 h 6698675"/>
              <a:gd name="connsiteX15448" fmla="*/ 2423920 w 8267681"/>
              <a:gd name="connsiteY15448" fmla="*/ 4274735 h 6698675"/>
              <a:gd name="connsiteX15449" fmla="*/ 2452106 w 8267681"/>
              <a:gd name="connsiteY15449" fmla="*/ 4312316 h 6698675"/>
              <a:gd name="connsiteX15450" fmla="*/ 2468547 w 8267681"/>
              <a:gd name="connsiteY15450" fmla="*/ 4307619 h 6698675"/>
              <a:gd name="connsiteX15451" fmla="*/ 2468547 w 8267681"/>
              <a:gd name="connsiteY15451" fmla="*/ 4288828 h 6698675"/>
              <a:gd name="connsiteX15452" fmla="*/ 2473246 w 8267681"/>
              <a:gd name="connsiteY15452" fmla="*/ 4288828 h 6698675"/>
              <a:gd name="connsiteX15453" fmla="*/ 2477942 w 8267681"/>
              <a:gd name="connsiteY15453" fmla="*/ 4281782 h 6698675"/>
              <a:gd name="connsiteX15454" fmla="*/ 2482640 w 8267681"/>
              <a:gd name="connsiteY15454" fmla="*/ 4288828 h 6698675"/>
              <a:gd name="connsiteX15455" fmla="*/ 2494384 w 8267681"/>
              <a:gd name="connsiteY15455" fmla="*/ 4288828 h 6698675"/>
              <a:gd name="connsiteX15456" fmla="*/ 2510825 w 8267681"/>
              <a:gd name="connsiteY15456" fmla="*/ 4239504 h 6698675"/>
              <a:gd name="connsiteX15457" fmla="*/ 2501430 w 8267681"/>
              <a:gd name="connsiteY15457" fmla="*/ 4288828 h 6698675"/>
              <a:gd name="connsiteX15458" fmla="*/ 2520220 w 8267681"/>
              <a:gd name="connsiteY15458" fmla="*/ 4288828 h 6698675"/>
              <a:gd name="connsiteX15459" fmla="*/ 2529615 w 8267681"/>
              <a:gd name="connsiteY15459" fmla="*/ 4305270 h 6698675"/>
              <a:gd name="connsiteX15460" fmla="*/ 2531964 w 8267681"/>
              <a:gd name="connsiteY15460" fmla="*/ 4302921 h 6698675"/>
              <a:gd name="connsiteX15461" fmla="*/ 2534313 w 8267681"/>
              <a:gd name="connsiteY15461" fmla="*/ 4300572 h 6698675"/>
              <a:gd name="connsiteX15462" fmla="*/ 2531964 w 8267681"/>
              <a:gd name="connsiteY15462" fmla="*/ 4309967 h 6698675"/>
              <a:gd name="connsiteX15463" fmla="*/ 2534313 w 8267681"/>
              <a:gd name="connsiteY15463" fmla="*/ 4312316 h 6698675"/>
              <a:gd name="connsiteX15464" fmla="*/ 2546057 w 8267681"/>
              <a:gd name="connsiteY15464" fmla="*/ 4324060 h 6698675"/>
              <a:gd name="connsiteX15465" fmla="*/ 2553103 w 8267681"/>
              <a:gd name="connsiteY15465" fmla="*/ 4321711 h 6698675"/>
              <a:gd name="connsiteX15466" fmla="*/ 2546057 w 8267681"/>
              <a:gd name="connsiteY15466" fmla="*/ 4312316 h 6698675"/>
              <a:gd name="connsiteX15467" fmla="*/ 2548406 w 8267681"/>
              <a:gd name="connsiteY15467" fmla="*/ 4307619 h 6698675"/>
              <a:gd name="connsiteX15468" fmla="*/ 2534313 w 8267681"/>
              <a:gd name="connsiteY15468" fmla="*/ 4309967 h 6698675"/>
              <a:gd name="connsiteX15469" fmla="*/ 2548406 w 8267681"/>
              <a:gd name="connsiteY15469" fmla="*/ 4293526 h 6698675"/>
              <a:gd name="connsiteX15470" fmla="*/ 2546057 w 8267681"/>
              <a:gd name="connsiteY15470" fmla="*/ 4286479 h 6698675"/>
              <a:gd name="connsiteX15471" fmla="*/ 2555452 w 8267681"/>
              <a:gd name="connsiteY15471" fmla="*/ 4284131 h 6698675"/>
              <a:gd name="connsiteX15472" fmla="*/ 2578940 w 8267681"/>
              <a:gd name="connsiteY15472" fmla="*/ 4251248 h 6698675"/>
              <a:gd name="connsiteX15473" fmla="*/ 2560150 w 8267681"/>
              <a:gd name="connsiteY15473" fmla="*/ 4284131 h 6698675"/>
              <a:gd name="connsiteX15474" fmla="*/ 2585986 w 8267681"/>
              <a:gd name="connsiteY15474" fmla="*/ 4277084 h 6698675"/>
              <a:gd name="connsiteX15475" fmla="*/ 2588336 w 8267681"/>
              <a:gd name="connsiteY15475" fmla="*/ 4281782 h 6698675"/>
              <a:gd name="connsiteX15476" fmla="*/ 2604776 w 8267681"/>
              <a:gd name="connsiteY15476" fmla="*/ 4270038 h 6698675"/>
              <a:gd name="connsiteX15477" fmla="*/ 2614172 w 8267681"/>
              <a:gd name="connsiteY15477" fmla="*/ 4277084 h 6698675"/>
              <a:gd name="connsiteX15478" fmla="*/ 2623567 w 8267681"/>
              <a:gd name="connsiteY15478" fmla="*/ 4260643 h 6698675"/>
              <a:gd name="connsiteX15479" fmla="*/ 2632963 w 8267681"/>
              <a:gd name="connsiteY15479" fmla="*/ 4262992 h 6698675"/>
              <a:gd name="connsiteX15480" fmla="*/ 2632963 w 8267681"/>
              <a:gd name="connsiteY15480" fmla="*/ 4272387 h 6698675"/>
              <a:gd name="connsiteX15481" fmla="*/ 2686984 w 8267681"/>
              <a:gd name="connsiteY15481" fmla="*/ 4258294 h 6698675"/>
              <a:gd name="connsiteX15482" fmla="*/ 2684635 w 8267681"/>
              <a:gd name="connsiteY15482" fmla="*/ 4239504 h 6698675"/>
              <a:gd name="connsiteX15483" fmla="*/ 2670543 w 8267681"/>
              <a:gd name="connsiteY15483" fmla="*/ 4234806 h 6698675"/>
              <a:gd name="connsiteX15484" fmla="*/ 2710471 w 8267681"/>
              <a:gd name="connsiteY15484" fmla="*/ 4234806 h 6698675"/>
              <a:gd name="connsiteX15485" fmla="*/ 2712820 w 8267681"/>
              <a:gd name="connsiteY15485" fmla="*/ 4244201 h 6698675"/>
              <a:gd name="connsiteX15486" fmla="*/ 2736308 w 8267681"/>
              <a:gd name="connsiteY15486" fmla="*/ 4220713 h 6698675"/>
              <a:gd name="connsiteX15487" fmla="*/ 2604776 w 8267681"/>
              <a:gd name="connsiteY15487" fmla="*/ 4223062 h 6698675"/>
              <a:gd name="connsiteX15488" fmla="*/ 2597730 w 8267681"/>
              <a:gd name="connsiteY15488" fmla="*/ 4232457 h 6698675"/>
              <a:gd name="connsiteX15489" fmla="*/ 2548406 w 8267681"/>
              <a:gd name="connsiteY15489" fmla="*/ 4227760 h 6698675"/>
              <a:gd name="connsiteX15490" fmla="*/ 2540185 w 8267681"/>
              <a:gd name="connsiteY15490" fmla="*/ 4263579 h 6698675"/>
              <a:gd name="connsiteX15491" fmla="*/ 2531964 w 8267681"/>
              <a:gd name="connsiteY15491" fmla="*/ 4302921 h 6698675"/>
              <a:gd name="connsiteX15492" fmla="*/ 2533139 w 8267681"/>
              <a:gd name="connsiteY15492" fmla="*/ 4248018 h 6698675"/>
              <a:gd name="connsiteX15493" fmla="*/ 2548406 w 8267681"/>
              <a:gd name="connsiteY15493" fmla="*/ 4201923 h 6698675"/>
              <a:gd name="connsiteX15494" fmla="*/ 2553103 w 8267681"/>
              <a:gd name="connsiteY15494" fmla="*/ 4223062 h 6698675"/>
              <a:gd name="connsiteX15495" fmla="*/ 2600079 w 8267681"/>
              <a:gd name="connsiteY15495" fmla="*/ 4218365 h 6698675"/>
              <a:gd name="connsiteX15496" fmla="*/ 2618869 w 8267681"/>
              <a:gd name="connsiteY15496" fmla="*/ 4185482 h 6698675"/>
              <a:gd name="connsiteX15497" fmla="*/ 2585986 w 8267681"/>
              <a:gd name="connsiteY15497" fmla="*/ 4180784 h 6698675"/>
              <a:gd name="connsiteX15498" fmla="*/ 2602427 w 8267681"/>
              <a:gd name="connsiteY15498" fmla="*/ 4173738 h 6698675"/>
              <a:gd name="connsiteX15499" fmla="*/ 2625916 w 8267681"/>
              <a:gd name="connsiteY15499" fmla="*/ 4178436 h 6698675"/>
              <a:gd name="connsiteX15500" fmla="*/ 2649403 w 8267681"/>
              <a:gd name="connsiteY15500" fmla="*/ 4129111 h 6698675"/>
              <a:gd name="connsiteX15501" fmla="*/ 2651752 w 8267681"/>
              <a:gd name="connsiteY15501" fmla="*/ 4140855 h 6698675"/>
              <a:gd name="connsiteX15502" fmla="*/ 2712820 w 8267681"/>
              <a:gd name="connsiteY15502" fmla="*/ 4075089 h 6698675"/>
              <a:gd name="connsiteX15503" fmla="*/ 2712820 w 8267681"/>
              <a:gd name="connsiteY15503" fmla="*/ 4091530 h 6698675"/>
              <a:gd name="connsiteX15504" fmla="*/ 2745703 w 8267681"/>
              <a:gd name="connsiteY15504" fmla="*/ 4084484 h 6698675"/>
              <a:gd name="connsiteX15505" fmla="*/ 2738657 w 8267681"/>
              <a:gd name="connsiteY15505" fmla="*/ 4070392 h 6698675"/>
              <a:gd name="connsiteX15506" fmla="*/ 2750401 w 8267681"/>
              <a:gd name="connsiteY15506" fmla="*/ 4039857 h 6698675"/>
              <a:gd name="connsiteX15507" fmla="*/ 2748053 w 8267681"/>
              <a:gd name="connsiteY15507" fmla="*/ 4042206 h 6698675"/>
              <a:gd name="connsiteX15508" fmla="*/ 2736308 w 8267681"/>
              <a:gd name="connsiteY15508" fmla="*/ 4042206 h 6698675"/>
              <a:gd name="connsiteX15509" fmla="*/ 2731610 w 8267681"/>
              <a:gd name="connsiteY15509" fmla="*/ 4014021 h 6698675"/>
              <a:gd name="connsiteX15510" fmla="*/ 2731610 w 8267681"/>
              <a:gd name="connsiteY15510" fmla="*/ 4025765 h 6698675"/>
              <a:gd name="connsiteX15511" fmla="*/ 2726913 w 8267681"/>
              <a:gd name="connsiteY15511" fmla="*/ 3995231 h 6698675"/>
              <a:gd name="connsiteX15512" fmla="*/ 2726913 w 8267681"/>
              <a:gd name="connsiteY15512" fmla="*/ 3992882 h 6698675"/>
              <a:gd name="connsiteX15513" fmla="*/ 2719866 w 8267681"/>
              <a:gd name="connsiteY15513" fmla="*/ 4009323 h 6698675"/>
              <a:gd name="connsiteX15514" fmla="*/ 2717518 w 8267681"/>
              <a:gd name="connsiteY15514" fmla="*/ 4049253 h 6698675"/>
              <a:gd name="connsiteX15515" fmla="*/ 2717518 w 8267681"/>
              <a:gd name="connsiteY15515" fmla="*/ 3990533 h 6698675"/>
              <a:gd name="connsiteX15516" fmla="*/ 2722215 w 8267681"/>
              <a:gd name="connsiteY15516" fmla="*/ 3978789 h 6698675"/>
              <a:gd name="connsiteX15517" fmla="*/ 2722215 w 8267681"/>
              <a:gd name="connsiteY15517" fmla="*/ 3976440 h 6698675"/>
              <a:gd name="connsiteX15518" fmla="*/ 2724564 w 8267681"/>
              <a:gd name="connsiteY15518" fmla="*/ 3976440 h 6698675"/>
              <a:gd name="connsiteX15519" fmla="*/ 2724564 w 8267681"/>
              <a:gd name="connsiteY15519" fmla="*/ 3974092 h 6698675"/>
              <a:gd name="connsiteX15520" fmla="*/ 2722215 w 8267681"/>
              <a:gd name="connsiteY15520" fmla="*/ 3967046 h 6698675"/>
              <a:gd name="connsiteX15521" fmla="*/ 2715170 w 8267681"/>
              <a:gd name="connsiteY15521" fmla="*/ 3967046 h 6698675"/>
              <a:gd name="connsiteX15522" fmla="*/ 2715170 w 8267681"/>
              <a:gd name="connsiteY15522" fmla="*/ 3964697 h 6698675"/>
              <a:gd name="connsiteX15523" fmla="*/ 2712820 w 8267681"/>
              <a:gd name="connsiteY15523" fmla="*/ 4002277 h 6698675"/>
              <a:gd name="connsiteX15524" fmla="*/ 2705774 w 8267681"/>
              <a:gd name="connsiteY15524" fmla="*/ 3967046 h 6698675"/>
              <a:gd name="connsiteX15525" fmla="*/ 2694030 w 8267681"/>
              <a:gd name="connsiteY15525" fmla="*/ 3969394 h 6698675"/>
              <a:gd name="connsiteX15526" fmla="*/ 2701076 w 8267681"/>
              <a:gd name="connsiteY15526" fmla="*/ 3931814 h 6698675"/>
              <a:gd name="connsiteX15527" fmla="*/ 2694030 w 8267681"/>
              <a:gd name="connsiteY15527" fmla="*/ 3920070 h 6698675"/>
              <a:gd name="connsiteX15528" fmla="*/ 2694030 w 8267681"/>
              <a:gd name="connsiteY15528" fmla="*/ 3945906 h 6698675"/>
              <a:gd name="connsiteX15529" fmla="*/ 2684635 w 8267681"/>
              <a:gd name="connsiteY15529" fmla="*/ 3952953 h 6698675"/>
              <a:gd name="connsiteX15530" fmla="*/ 2710471 w 8267681"/>
              <a:gd name="connsiteY15530" fmla="*/ 4025765 h 6698675"/>
              <a:gd name="connsiteX15531" fmla="*/ 2696379 w 8267681"/>
              <a:gd name="connsiteY15531" fmla="*/ 4016370 h 6698675"/>
              <a:gd name="connsiteX15532" fmla="*/ 2694030 w 8267681"/>
              <a:gd name="connsiteY15532" fmla="*/ 4014021 h 6698675"/>
              <a:gd name="connsiteX15533" fmla="*/ 2668193 w 8267681"/>
              <a:gd name="connsiteY15533" fmla="*/ 4039857 h 6698675"/>
              <a:gd name="connsiteX15534" fmla="*/ 2656449 w 8267681"/>
              <a:gd name="connsiteY15534" fmla="*/ 4025765 h 6698675"/>
              <a:gd name="connsiteX15535" fmla="*/ 2649403 w 8267681"/>
              <a:gd name="connsiteY15535" fmla="*/ 4023416 h 6698675"/>
              <a:gd name="connsiteX15536" fmla="*/ 2647054 w 8267681"/>
              <a:gd name="connsiteY15536" fmla="*/ 4035160 h 6698675"/>
              <a:gd name="connsiteX15537" fmla="*/ 2647054 w 8267681"/>
              <a:gd name="connsiteY15537" fmla="*/ 4023416 h 6698675"/>
              <a:gd name="connsiteX15538" fmla="*/ 2644706 w 8267681"/>
              <a:gd name="connsiteY15538" fmla="*/ 4023416 h 6698675"/>
              <a:gd name="connsiteX15539" fmla="*/ 2637659 w 8267681"/>
              <a:gd name="connsiteY15539" fmla="*/ 4025765 h 6698675"/>
              <a:gd name="connsiteX15540" fmla="*/ 2635310 w 8267681"/>
              <a:gd name="connsiteY15540" fmla="*/ 4039857 h 6698675"/>
              <a:gd name="connsiteX15541" fmla="*/ 2635310 w 8267681"/>
              <a:gd name="connsiteY15541" fmla="*/ 4025765 h 6698675"/>
              <a:gd name="connsiteX15542" fmla="*/ 2614172 w 8267681"/>
              <a:gd name="connsiteY15542" fmla="*/ 4030462 h 6698675"/>
              <a:gd name="connsiteX15543" fmla="*/ 2614172 w 8267681"/>
              <a:gd name="connsiteY15543" fmla="*/ 4032811 h 6698675"/>
              <a:gd name="connsiteX15544" fmla="*/ 2583637 w 8267681"/>
              <a:gd name="connsiteY15544" fmla="*/ 4039857 h 6698675"/>
              <a:gd name="connsiteX15545" fmla="*/ 2588336 w 8267681"/>
              <a:gd name="connsiteY15545" fmla="*/ 4063345 h 6698675"/>
              <a:gd name="connsiteX15546" fmla="*/ 2581289 w 8267681"/>
              <a:gd name="connsiteY15546" fmla="*/ 4039857 h 6698675"/>
              <a:gd name="connsiteX15547" fmla="*/ 2578940 w 8267681"/>
              <a:gd name="connsiteY15547" fmla="*/ 4039857 h 6698675"/>
              <a:gd name="connsiteX15548" fmla="*/ 2553103 w 8267681"/>
              <a:gd name="connsiteY15548" fmla="*/ 4058648 h 6698675"/>
              <a:gd name="connsiteX15549" fmla="*/ 2536662 w 8267681"/>
              <a:gd name="connsiteY15549" fmla="*/ 4051601 h 6698675"/>
              <a:gd name="connsiteX15550" fmla="*/ 2513174 w 8267681"/>
              <a:gd name="connsiteY15550" fmla="*/ 4058648 h 6698675"/>
              <a:gd name="connsiteX15551" fmla="*/ 2520220 w 8267681"/>
              <a:gd name="connsiteY15551" fmla="*/ 4084484 h 6698675"/>
              <a:gd name="connsiteX15552" fmla="*/ 2510825 w 8267681"/>
              <a:gd name="connsiteY15552" fmla="*/ 4110321 h 6698675"/>
              <a:gd name="connsiteX15553" fmla="*/ 2506128 w 8267681"/>
              <a:gd name="connsiteY15553" fmla="*/ 4117367 h 6698675"/>
              <a:gd name="connsiteX15554" fmla="*/ 2442711 w 8267681"/>
              <a:gd name="connsiteY15554" fmla="*/ 4145552 h 6698675"/>
              <a:gd name="connsiteX15555" fmla="*/ 2440362 w 8267681"/>
              <a:gd name="connsiteY15555" fmla="*/ 4166692 h 6698675"/>
              <a:gd name="connsiteX15556" fmla="*/ 2459152 w 8267681"/>
              <a:gd name="connsiteY15556" fmla="*/ 4201923 h 6698675"/>
              <a:gd name="connsiteX15557" fmla="*/ 2449757 w 8267681"/>
              <a:gd name="connsiteY15557" fmla="*/ 4199575 h 6698675"/>
              <a:gd name="connsiteX15558" fmla="*/ 2440362 w 8267681"/>
              <a:gd name="connsiteY15558" fmla="*/ 4187831 h 6698675"/>
              <a:gd name="connsiteX15559" fmla="*/ 2426269 w 8267681"/>
              <a:gd name="connsiteY15559" fmla="*/ 4199575 h 6698675"/>
              <a:gd name="connsiteX15560" fmla="*/ 2440362 w 8267681"/>
              <a:gd name="connsiteY15560" fmla="*/ 4223062 h 6698675"/>
              <a:gd name="connsiteX15561" fmla="*/ 2440362 w 8267681"/>
              <a:gd name="connsiteY15561" fmla="*/ 4230109 h 6698675"/>
              <a:gd name="connsiteX15562" fmla="*/ 2416874 w 8267681"/>
              <a:gd name="connsiteY15562" fmla="*/ 4206621 h 6698675"/>
              <a:gd name="connsiteX15563" fmla="*/ 2407479 w 8267681"/>
              <a:gd name="connsiteY15563" fmla="*/ 4192528 h 6698675"/>
              <a:gd name="connsiteX15564" fmla="*/ 2412176 w 8267681"/>
              <a:gd name="connsiteY15564" fmla="*/ 4150250 h 6698675"/>
              <a:gd name="connsiteX15565" fmla="*/ 2407479 w 8267681"/>
              <a:gd name="connsiteY15565" fmla="*/ 4145552 h 6698675"/>
              <a:gd name="connsiteX15566" fmla="*/ 2393386 w 8267681"/>
              <a:gd name="connsiteY15566" fmla="*/ 4159645 h 6698675"/>
              <a:gd name="connsiteX15567" fmla="*/ 2388689 w 8267681"/>
              <a:gd name="connsiteY15567" fmla="*/ 4105623 h 6698675"/>
              <a:gd name="connsiteX15568" fmla="*/ 2421572 w 8267681"/>
              <a:gd name="connsiteY15568" fmla="*/ 4058648 h 6698675"/>
              <a:gd name="connsiteX15569" fmla="*/ 2543709 w 8267681"/>
              <a:gd name="connsiteY15569" fmla="*/ 3995231 h 6698675"/>
              <a:gd name="connsiteX15570" fmla="*/ 2456803 w 8267681"/>
              <a:gd name="connsiteY15570" fmla="*/ 3964697 h 6698675"/>
              <a:gd name="connsiteX15571" fmla="*/ 2456803 w 8267681"/>
              <a:gd name="connsiteY15571" fmla="*/ 3971743 h 6698675"/>
              <a:gd name="connsiteX15572" fmla="*/ 2452106 w 8267681"/>
              <a:gd name="connsiteY15572" fmla="*/ 3964697 h 6698675"/>
              <a:gd name="connsiteX15573" fmla="*/ 2379293 w 8267681"/>
              <a:gd name="connsiteY15573" fmla="*/ 3976440 h 6698675"/>
              <a:gd name="connsiteX15574" fmla="*/ 2292389 w 8267681"/>
              <a:gd name="connsiteY15574" fmla="*/ 4096228 h 6698675"/>
              <a:gd name="connsiteX15575" fmla="*/ 2292389 w 8267681"/>
              <a:gd name="connsiteY15575" fmla="*/ 4100926 h 6698675"/>
              <a:gd name="connsiteX15576" fmla="*/ 2266552 w 8267681"/>
              <a:gd name="connsiteY15576" fmla="*/ 4065694 h 6698675"/>
              <a:gd name="connsiteX15577" fmla="*/ 2261855 w 8267681"/>
              <a:gd name="connsiteY15577" fmla="*/ 4098577 h 6698675"/>
              <a:gd name="connsiteX15578" fmla="*/ 2254808 w 8267681"/>
              <a:gd name="connsiteY15578" fmla="*/ 4133809 h 6698675"/>
              <a:gd name="connsiteX15579" fmla="*/ 2245413 w 8267681"/>
              <a:gd name="connsiteY15579" fmla="*/ 4136157 h 6698675"/>
              <a:gd name="connsiteX15580" fmla="*/ 2219580 w 8267681"/>
              <a:gd name="connsiteY15580" fmla="*/ 4133809 h 6698675"/>
              <a:gd name="connsiteX15581" fmla="*/ 2212533 w 8267681"/>
              <a:gd name="connsiteY15581" fmla="*/ 4140855 h 6698675"/>
              <a:gd name="connsiteX15582" fmla="*/ 2151467 w 8267681"/>
              <a:gd name="connsiteY15582" fmla="*/ 4145552 h 6698675"/>
              <a:gd name="connsiteX15583" fmla="*/ 2158511 w 8267681"/>
              <a:gd name="connsiteY15583" fmla="*/ 4103274 h 6698675"/>
              <a:gd name="connsiteX15584" fmla="*/ 2160860 w 8267681"/>
              <a:gd name="connsiteY15584" fmla="*/ 4105623 h 6698675"/>
              <a:gd name="connsiteX15585" fmla="*/ 2170255 w 8267681"/>
              <a:gd name="connsiteY15585" fmla="*/ 4103274 h 6698675"/>
              <a:gd name="connsiteX15586" fmla="*/ 2179653 w 8267681"/>
              <a:gd name="connsiteY15586" fmla="*/ 4100926 h 6698675"/>
              <a:gd name="connsiteX15587" fmla="*/ 2184348 w 8267681"/>
              <a:gd name="connsiteY15587" fmla="*/ 4096228 h 6698675"/>
              <a:gd name="connsiteX15588" fmla="*/ 2179653 w 8267681"/>
              <a:gd name="connsiteY15588" fmla="*/ 4089182 h 6698675"/>
              <a:gd name="connsiteX15589" fmla="*/ 2160860 w 8267681"/>
              <a:gd name="connsiteY15589" fmla="*/ 4093879 h 6698675"/>
              <a:gd name="connsiteX15590" fmla="*/ 2320574 w 8267681"/>
              <a:gd name="connsiteY15590" fmla="*/ 3882489 h 6698675"/>
              <a:gd name="connsiteX15591" fmla="*/ 2400433 w 8267681"/>
              <a:gd name="connsiteY15591" fmla="*/ 3851955 h 6698675"/>
              <a:gd name="connsiteX15592" fmla="*/ 2391037 w 8267681"/>
              <a:gd name="connsiteY15592" fmla="*/ 3835514 h 6698675"/>
              <a:gd name="connsiteX15593" fmla="*/ 2393386 w 8267681"/>
              <a:gd name="connsiteY15593" fmla="*/ 3819072 h 6698675"/>
              <a:gd name="connsiteX15594" fmla="*/ 2297086 w 8267681"/>
              <a:gd name="connsiteY15594" fmla="*/ 3851955 h 6698675"/>
              <a:gd name="connsiteX15595" fmla="*/ 2137375 w 8267681"/>
              <a:gd name="connsiteY15595" fmla="*/ 4006975 h 6698675"/>
              <a:gd name="connsiteX15596" fmla="*/ 2144419 w 8267681"/>
              <a:gd name="connsiteY15596" fmla="*/ 4016370 h 6698675"/>
              <a:gd name="connsiteX15597" fmla="*/ 2149117 w 8267681"/>
              <a:gd name="connsiteY15597" fmla="*/ 4004626 h 6698675"/>
              <a:gd name="connsiteX15598" fmla="*/ 2156163 w 8267681"/>
              <a:gd name="connsiteY15598" fmla="*/ 4028114 h 6698675"/>
              <a:gd name="connsiteX15599" fmla="*/ 2144419 w 8267681"/>
              <a:gd name="connsiteY15599" fmla="*/ 4011672 h 6698675"/>
              <a:gd name="connsiteX15600" fmla="*/ 2146768 w 8267681"/>
              <a:gd name="connsiteY15600" fmla="*/ 4023416 h 6698675"/>
              <a:gd name="connsiteX15601" fmla="*/ 2137375 w 8267681"/>
              <a:gd name="connsiteY15601" fmla="*/ 4011672 h 6698675"/>
              <a:gd name="connsiteX15602" fmla="*/ 2125633 w 8267681"/>
              <a:gd name="connsiteY15602" fmla="*/ 4035160 h 6698675"/>
              <a:gd name="connsiteX15603" fmla="*/ 2125633 w 8267681"/>
              <a:gd name="connsiteY15603" fmla="*/ 4051601 h 6698675"/>
              <a:gd name="connsiteX15604" fmla="*/ 2118582 w 8267681"/>
              <a:gd name="connsiteY15604" fmla="*/ 4053950 h 6698675"/>
              <a:gd name="connsiteX15605" fmla="*/ 2116233 w 8267681"/>
              <a:gd name="connsiteY15605" fmla="*/ 4072741 h 6698675"/>
              <a:gd name="connsiteX15606" fmla="*/ 2115352 w 8267681"/>
              <a:gd name="connsiteY15606" fmla="*/ 4069217 h 6698675"/>
              <a:gd name="connsiteX15607" fmla="*/ 2115565 w 8267681"/>
              <a:gd name="connsiteY15607" fmla="*/ 4066700 h 6698675"/>
              <a:gd name="connsiteX15608" fmla="*/ 2116233 w 8267681"/>
              <a:gd name="connsiteY15608" fmla="*/ 4063345 h 6698675"/>
              <a:gd name="connsiteX15609" fmla="*/ 2115685 w 8267681"/>
              <a:gd name="connsiteY15609" fmla="*/ 4065278 h 6698675"/>
              <a:gd name="connsiteX15610" fmla="*/ 2116233 w 8267681"/>
              <a:gd name="connsiteY15610" fmla="*/ 4058648 h 6698675"/>
              <a:gd name="connsiteX15611" fmla="*/ 2114891 w 8267681"/>
              <a:gd name="connsiteY15611" fmla="*/ 4068039 h 6698675"/>
              <a:gd name="connsiteX15612" fmla="*/ 2106840 w 8267681"/>
              <a:gd name="connsiteY15612" fmla="*/ 4096228 h 6698675"/>
              <a:gd name="connsiteX15613" fmla="*/ 2106840 w 8267681"/>
              <a:gd name="connsiteY15613" fmla="*/ 4366338 h 6698675"/>
              <a:gd name="connsiteX15614" fmla="*/ 2125633 w 8267681"/>
              <a:gd name="connsiteY15614" fmla="*/ 4432104 h 6698675"/>
              <a:gd name="connsiteX15615" fmla="*/ 2123282 w 8267681"/>
              <a:gd name="connsiteY15615" fmla="*/ 4434452 h 6698675"/>
              <a:gd name="connsiteX15616" fmla="*/ 2125633 w 8267681"/>
              <a:gd name="connsiteY15616" fmla="*/ 4436801 h 6698675"/>
              <a:gd name="connsiteX15617" fmla="*/ 2127977 w 8267681"/>
              <a:gd name="connsiteY15617" fmla="*/ 4441499 h 6698675"/>
              <a:gd name="connsiteX15618" fmla="*/ 2132675 w 8267681"/>
              <a:gd name="connsiteY15618" fmla="*/ 4455591 h 6698675"/>
              <a:gd name="connsiteX15619" fmla="*/ 2127977 w 8267681"/>
              <a:gd name="connsiteY15619" fmla="*/ 4511962 h 6698675"/>
              <a:gd name="connsiteX15620" fmla="*/ 2132675 w 8267681"/>
              <a:gd name="connsiteY15620" fmla="*/ 4519009 h 6698675"/>
              <a:gd name="connsiteX15621" fmla="*/ 2135025 w 8267681"/>
              <a:gd name="connsiteY15621" fmla="*/ 4521357 h 6698675"/>
              <a:gd name="connsiteX15622" fmla="*/ 2137375 w 8267681"/>
              <a:gd name="connsiteY15622" fmla="*/ 4622355 h 6698675"/>
              <a:gd name="connsiteX15623" fmla="*/ 2118582 w 8267681"/>
              <a:gd name="connsiteY15623" fmla="*/ 4746840 h 6698675"/>
              <a:gd name="connsiteX15624" fmla="*/ 2029329 w 8267681"/>
              <a:gd name="connsiteY15624" fmla="*/ 4709259 h 6698675"/>
              <a:gd name="connsiteX15625" fmla="*/ 2015236 w 8267681"/>
              <a:gd name="connsiteY15625" fmla="*/ 4744491 h 6698675"/>
              <a:gd name="connsiteX15626" fmla="*/ 1982356 w 8267681"/>
              <a:gd name="connsiteY15626" fmla="*/ 4758584 h 6698675"/>
              <a:gd name="connsiteX15627" fmla="*/ 1947121 w 8267681"/>
              <a:gd name="connsiteY15627" fmla="*/ 4913603 h 6698675"/>
              <a:gd name="connsiteX15628" fmla="*/ 1904843 w 8267681"/>
              <a:gd name="connsiteY15628" fmla="*/ 4946486 h 6698675"/>
              <a:gd name="connsiteX15629" fmla="*/ 1900146 w 8267681"/>
              <a:gd name="connsiteY15629" fmla="*/ 4847838 h 6698675"/>
              <a:gd name="connsiteX15630" fmla="*/ 1860216 w 8267681"/>
              <a:gd name="connsiteY15630" fmla="*/ 4737445 h 6698675"/>
              <a:gd name="connsiteX15631" fmla="*/ 1853173 w 8267681"/>
              <a:gd name="connsiteY15631" fmla="*/ 4744491 h 6698675"/>
              <a:gd name="connsiteX15632" fmla="*/ 1857868 w 8267681"/>
              <a:gd name="connsiteY15632" fmla="*/ 4786769 h 6698675"/>
              <a:gd name="connsiteX15633" fmla="*/ 1848473 w 8267681"/>
              <a:gd name="connsiteY15633" fmla="*/ 4796164 h 6698675"/>
              <a:gd name="connsiteX15634" fmla="*/ 1846124 w 8267681"/>
              <a:gd name="connsiteY15634" fmla="*/ 4864279 h 6698675"/>
              <a:gd name="connsiteX15635" fmla="*/ 1806195 w 8267681"/>
              <a:gd name="connsiteY15635" fmla="*/ 4937091 h 6698675"/>
              <a:gd name="connsiteX15636" fmla="*/ 1787404 w 8267681"/>
              <a:gd name="connsiteY15636" fmla="*/ 4887767 h 6698675"/>
              <a:gd name="connsiteX15637" fmla="*/ 1775660 w 8267681"/>
              <a:gd name="connsiteY15637" fmla="*/ 4871325 h 6698675"/>
              <a:gd name="connsiteX15638" fmla="*/ 1773312 w 8267681"/>
              <a:gd name="connsiteY15638" fmla="*/ 4861930 h 6698675"/>
              <a:gd name="connsiteX15639" fmla="*/ 1738082 w 8267681"/>
              <a:gd name="connsiteY15639" fmla="*/ 4861930 h 6698675"/>
              <a:gd name="connsiteX15640" fmla="*/ 1731034 w 8267681"/>
              <a:gd name="connsiteY15640" fmla="*/ 4887767 h 6698675"/>
              <a:gd name="connsiteX15641" fmla="*/ 1721640 w 8267681"/>
              <a:gd name="connsiteY15641" fmla="*/ 4890115 h 6698675"/>
              <a:gd name="connsiteX15642" fmla="*/ 1691104 w 8267681"/>
              <a:gd name="connsiteY15642" fmla="*/ 4885418 h 6698675"/>
              <a:gd name="connsiteX15643" fmla="*/ 1674663 w 8267681"/>
              <a:gd name="connsiteY15643" fmla="*/ 4850186 h 6698675"/>
              <a:gd name="connsiteX15644" fmla="*/ 1660569 w 8267681"/>
              <a:gd name="connsiteY15644" fmla="*/ 4847838 h 6698675"/>
              <a:gd name="connsiteX15645" fmla="*/ 1644128 w 8267681"/>
              <a:gd name="connsiteY15645" fmla="*/ 4864279 h 6698675"/>
              <a:gd name="connsiteX15646" fmla="*/ 1642913 w 8267681"/>
              <a:gd name="connsiteY15646" fmla="*/ 4863975 h 6698675"/>
              <a:gd name="connsiteX15647" fmla="*/ 1637093 w 8267681"/>
              <a:gd name="connsiteY15647" fmla="*/ 4873673 h 6698675"/>
              <a:gd name="connsiteX15648" fmla="*/ 1630051 w 8267681"/>
              <a:gd name="connsiteY15648" fmla="*/ 4871325 h 6698675"/>
              <a:gd name="connsiteX15649" fmla="*/ 1630051 w 8267681"/>
              <a:gd name="connsiteY15649" fmla="*/ 4861930 h 6698675"/>
              <a:gd name="connsiteX15650" fmla="*/ 1635272 w 8267681"/>
              <a:gd name="connsiteY15650" fmla="*/ 4858448 h 6698675"/>
              <a:gd name="connsiteX15651" fmla="*/ 1644128 w 8267681"/>
              <a:gd name="connsiteY15651" fmla="*/ 4800862 h 6698675"/>
              <a:gd name="connsiteX15652" fmla="*/ 1627686 w 8267681"/>
              <a:gd name="connsiteY15652" fmla="*/ 4772676 h 6698675"/>
              <a:gd name="connsiteX15653" fmla="*/ 1611249 w 8267681"/>
              <a:gd name="connsiteY15653" fmla="*/ 4791467 h 6698675"/>
              <a:gd name="connsiteX15654" fmla="*/ 1606549 w 8267681"/>
              <a:gd name="connsiteY15654" fmla="*/ 4782072 h 6698675"/>
              <a:gd name="connsiteX15655" fmla="*/ 1615942 w 8267681"/>
              <a:gd name="connsiteY15655" fmla="*/ 4772676 h 6698675"/>
              <a:gd name="connsiteX15656" fmla="*/ 1604199 w 8267681"/>
              <a:gd name="connsiteY15656" fmla="*/ 4730399 h 6698675"/>
              <a:gd name="connsiteX15657" fmla="*/ 1613595 w 8267681"/>
              <a:gd name="connsiteY15657" fmla="*/ 4709259 h 6698675"/>
              <a:gd name="connsiteX15658" fmla="*/ 1580714 w 8267681"/>
              <a:gd name="connsiteY15658" fmla="*/ 4662284 h 6698675"/>
              <a:gd name="connsiteX15659" fmla="*/ 1592456 w 8267681"/>
              <a:gd name="connsiteY15659" fmla="*/ 4652889 h 6698675"/>
              <a:gd name="connsiteX15660" fmla="*/ 1606549 w 8267681"/>
              <a:gd name="connsiteY15660" fmla="*/ 4659935 h 6698675"/>
              <a:gd name="connsiteX15661" fmla="*/ 1615942 w 8267681"/>
              <a:gd name="connsiteY15661" fmla="*/ 4657586 h 6698675"/>
              <a:gd name="connsiteX15662" fmla="*/ 1620641 w 8267681"/>
              <a:gd name="connsiteY15662" fmla="*/ 4652889 h 6698675"/>
              <a:gd name="connsiteX15663" fmla="*/ 1597157 w 8267681"/>
              <a:gd name="connsiteY15663" fmla="*/ 4627052 h 6698675"/>
              <a:gd name="connsiteX15664" fmla="*/ 1597302 w 8267681"/>
              <a:gd name="connsiteY15664" fmla="*/ 4623712 h 6698675"/>
              <a:gd name="connsiteX15665" fmla="*/ 1597926 w 8267681"/>
              <a:gd name="connsiteY15665" fmla="*/ 4622031 h 6698675"/>
              <a:gd name="connsiteX15666" fmla="*/ 1597459 w 8267681"/>
              <a:gd name="connsiteY15666" fmla="*/ 4622354 h 6698675"/>
              <a:gd name="connsiteX15667" fmla="*/ 1592467 w 8267681"/>
              <a:gd name="connsiteY15667" fmla="*/ 4627052 h 6698675"/>
              <a:gd name="connsiteX15668" fmla="*/ 1597165 w 8267681"/>
              <a:gd name="connsiteY15668" fmla="*/ 4634098 h 6698675"/>
              <a:gd name="connsiteX15669" fmla="*/ 1594816 w 8267681"/>
              <a:gd name="connsiteY15669" fmla="*/ 4643493 h 6698675"/>
              <a:gd name="connsiteX15670" fmla="*/ 1568980 w 8267681"/>
              <a:gd name="connsiteY15670" fmla="*/ 4643493 h 6698675"/>
              <a:gd name="connsiteX15671" fmla="*/ 1573676 w 8267681"/>
              <a:gd name="connsiteY15671" fmla="*/ 4634098 h 6698675"/>
              <a:gd name="connsiteX15672" fmla="*/ 1570425 w 8267681"/>
              <a:gd name="connsiteY15672" fmla="*/ 4631930 h 6698675"/>
              <a:gd name="connsiteX15673" fmla="*/ 1573676 w 8267681"/>
              <a:gd name="connsiteY15673" fmla="*/ 4627052 h 6698675"/>
              <a:gd name="connsiteX15674" fmla="*/ 1571330 w 8267681"/>
              <a:gd name="connsiteY15674" fmla="*/ 4620006 h 6698675"/>
              <a:gd name="connsiteX15675" fmla="*/ 1564282 w 8267681"/>
              <a:gd name="connsiteY15675" fmla="*/ 4627052 h 6698675"/>
              <a:gd name="connsiteX15676" fmla="*/ 1565848 w 8267681"/>
              <a:gd name="connsiteY15676" fmla="*/ 4629401 h 6698675"/>
              <a:gd name="connsiteX15677" fmla="*/ 1557238 w 8267681"/>
              <a:gd name="connsiteY15677" fmla="*/ 4629401 h 6698675"/>
              <a:gd name="connsiteX15678" fmla="*/ 1533749 w 8267681"/>
              <a:gd name="connsiteY15678" fmla="*/ 4641145 h 6698675"/>
              <a:gd name="connsiteX15679" fmla="*/ 1554887 w 8267681"/>
              <a:gd name="connsiteY15679" fmla="*/ 4655237 h 6698675"/>
              <a:gd name="connsiteX15680" fmla="*/ 1559588 w 8267681"/>
              <a:gd name="connsiteY15680" fmla="*/ 4666981 h 6698675"/>
              <a:gd name="connsiteX15681" fmla="*/ 1554887 w 8267681"/>
              <a:gd name="connsiteY15681" fmla="*/ 4671679 h 6698675"/>
              <a:gd name="connsiteX15682" fmla="*/ 1545495 w 8267681"/>
              <a:gd name="connsiteY15682" fmla="*/ 4666981 h 6698675"/>
              <a:gd name="connsiteX15683" fmla="*/ 1496167 w 8267681"/>
              <a:gd name="connsiteY15683" fmla="*/ 4645842 h 6698675"/>
              <a:gd name="connsiteX15684" fmla="*/ 1519655 w 8267681"/>
              <a:gd name="connsiteY15684" fmla="*/ 4622354 h 6698675"/>
              <a:gd name="connsiteX15685" fmla="*/ 1505561 w 8267681"/>
              <a:gd name="connsiteY15685" fmla="*/ 4615308 h 6698675"/>
              <a:gd name="connsiteX15686" fmla="*/ 1489120 w 8267681"/>
              <a:gd name="connsiteY15686" fmla="*/ 4627052 h 6698675"/>
              <a:gd name="connsiteX15687" fmla="*/ 1486775 w 8267681"/>
              <a:gd name="connsiteY15687" fmla="*/ 4615308 h 6698675"/>
              <a:gd name="connsiteX15688" fmla="*/ 1505561 w 8267681"/>
              <a:gd name="connsiteY15688" fmla="*/ 4598867 h 6698675"/>
              <a:gd name="connsiteX15689" fmla="*/ 1503213 w 8267681"/>
              <a:gd name="connsiteY15689" fmla="*/ 4589472 h 6698675"/>
              <a:gd name="connsiteX15690" fmla="*/ 1522004 w 8267681"/>
              <a:gd name="connsiteY15690" fmla="*/ 4556589 h 6698675"/>
              <a:gd name="connsiteX15691" fmla="*/ 1514960 w 8267681"/>
              <a:gd name="connsiteY15691" fmla="*/ 4549542 h 6698675"/>
              <a:gd name="connsiteX15692" fmla="*/ 1505561 w 8267681"/>
              <a:gd name="connsiteY15692" fmla="*/ 4554240 h 6698675"/>
              <a:gd name="connsiteX15693" fmla="*/ 1496167 w 8267681"/>
              <a:gd name="connsiteY15693" fmla="*/ 4554240 h 6698675"/>
              <a:gd name="connsiteX15694" fmla="*/ 1479726 w 8267681"/>
              <a:gd name="connsiteY15694" fmla="*/ 4504915 h 6698675"/>
              <a:gd name="connsiteX15695" fmla="*/ 1463283 w 8267681"/>
              <a:gd name="connsiteY15695" fmla="*/ 4511962 h 6698675"/>
              <a:gd name="connsiteX15696" fmla="*/ 1465632 w 8267681"/>
              <a:gd name="connsiteY15696" fmla="*/ 4521357 h 6698675"/>
              <a:gd name="connsiteX15697" fmla="*/ 1463283 w 8267681"/>
              <a:gd name="connsiteY15697" fmla="*/ 4526054 h 6698675"/>
              <a:gd name="connsiteX15698" fmla="*/ 1421006 w 8267681"/>
              <a:gd name="connsiteY15698" fmla="*/ 4511962 h 6698675"/>
              <a:gd name="connsiteX15699" fmla="*/ 1437447 w 8267681"/>
              <a:gd name="connsiteY15699" fmla="*/ 4488474 h 6698675"/>
              <a:gd name="connsiteX15700" fmla="*/ 1435098 w 8267681"/>
              <a:gd name="connsiteY15700" fmla="*/ 4479079 h 6698675"/>
              <a:gd name="connsiteX15701" fmla="*/ 1430400 w 8267681"/>
              <a:gd name="connsiteY15701" fmla="*/ 4469684 h 6698675"/>
              <a:gd name="connsiteX15702" fmla="*/ 1456239 w 8267681"/>
              <a:gd name="connsiteY15702" fmla="*/ 4446196 h 6698675"/>
              <a:gd name="connsiteX15703" fmla="*/ 1463283 w 8267681"/>
              <a:gd name="connsiteY15703" fmla="*/ 4453242 h 6698675"/>
              <a:gd name="connsiteX15704" fmla="*/ 1453889 w 8267681"/>
              <a:gd name="connsiteY15704" fmla="*/ 4467335 h 6698675"/>
              <a:gd name="connsiteX15705" fmla="*/ 1496167 w 8267681"/>
              <a:gd name="connsiteY15705" fmla="*/ 4476730 h 6698675"/>
              <a:gd name="connsiteX15706" fmla="*/ 1496167 w 8267681"/>
              <a:gd name="connsiteY15706" fmla="*/ 4486125 h 6698675"/>
              <a:gd name="connsiteX15707" fmla="*/ 1493818 w 8267681"/>
              <a:gd name="connsiteY15707" fmla="*/ 4502567 h 6698675"/>
              <a:gd name="connsiteX15708" fmla="*/ 1500867 w 8267681"/>
              <a:gd name="connsiteY15708" fmla="*/ 4509613 h 6698675"/>
              <a:gd name="connsiteX15709" fmla="*/ 1510260 w 8267681"/>
              <a:gd name="connsiteY15709" fmla="*/ 4507264 h 6698675"/>
              <a:gd name="connsiteX15710" fmla="*/ 1519655 w 8267681"/>
              <a:gd name="connsiteY15710" fmla="*/ 4521357 h 6698675"/>
              <a:gd name="connsiteX15711" fmla="*/ 1526702 w 8267681"/>
              <a:gd name="connsiteY15711" fmla="*/ 4521357 h 6698675"/>
              <a:gd name="connsiteX15712" fmla="*/ 1547841 w 8267681"/>
              <a:gd name="connsiteY15712" fmla="*/ 4464986 h 6698675"/>
              <a:gd name="connsiteX15713" fmla="*/ 1552538 w 8267681"/>
              <a:gd name="connsiteY15713" fmla="*/ 4460289 h 6698675"/>
              <a:gd name="connsiteX15714" fmla="*/ 1550190 w 8267681"/>
              <a:gd name="connsiteY15714" fmla="*/ 4453242 h 6698675"/>
              <a:gd name="connsiteX15715" fmla="*/ 1540795 w 8267681"/>
              <a:gd name="connsiteY15715" fmla="*/ 4455591 h 6698675"/>
              <a:gd name="connsiteX15716" fmla="*/ 1531403 w 8267681"/>
              <a:gd name="connsiteY15716" fmla="*/ 4453242 h 6698675"/>
              <a:gd name="connsiteX15717" fmla="*/ 1514960 w 8267681"/>
              <a:gd name="connsiteY15717" fmla="*/ 4479079 h 6698675"/>
              <a:gd name="connsiteX15718" fmla="*/ 1505561 w 8267681"/>
              <a:gd name="connsiteY15718" fmla="*/ 4446196 h 6698675"/>
              <a:gd name="connsiteX15719" fmla="*/ 1536096 w 8267681"/>
              <a:gd name="connsiteY15719" fmla="*/ 4415661 h 6698675"/>
              <a:gd name="connsiteX15720" fmla="*/ 1578373 w 8267681"/>
              <a:gd name="connsiteY15720" fmla="*/ 4399219 h 6698675"/>
              <a:gd name="connsiteX15721" fmla="*/ 1606560 w 8267681"/>
              <a:gd name="connsiteY15721" fmla="*/ 4413312 h 6698675"/>
              <a:gd name="connsiteX15722" fmla="*/ 1604210 w 8267681"/>
              <a:gd name="connsiteY15722" fmla="*/ 4415661 h 6698675"/>
              <a:gd name="connsiteX15723" fmla="*/ 1578373 w 8267681"/>
              <a:gd name="connsiteY15723" fmla="*/ 4422707 h 6698675"/>
              <a:gd name="connsiteX15724" fmla="*/ 1585423 w 8267681"/>
              <a:gd name="connsiteY15724" fmla="*/ 4436800 h 6698675"/>
              <a:gd name="connsiteX15725" fmla="*/ 1568980 w 8267681"/>
              <a:gd name="connsiteY15725" fmla="*/ 4455591 h 6698675"/>
              <a:gd name="connsiteX15726" fmla="*/ 1573676 w 8267681"/>
              <a:gd name="connsiteY15726" fmla="*/ 4464986 h 6698675"/>
              <a:gd name="connsiteX15727" fmla="*/ 1566630 w 8267681"/>
              <a:gd name="connsiteY15727" fmla="*/ 4479079 h 6698675"/>
              <a:gd name="connsiteX15728" fmla="*/ 1568980 w 8267681"/>
              <a:gd name="connsiteY15728" fmla="*/ 4497869 h 6698675"/>
              <a:gd name="connsiteX15729" fmla="*/ 1550190 w 8267681"/>
              <a:gd name="connsiteY15729" fmla="*/ 4504915 h 6698675"/>
              <a:gd name="connsiteX15730" fmla="*/ 1550190 w 8267681"/>
              <a:gd name="connsiteY15730" fmla="*/ 4528403 h 6698675"/>
              <a:gd name="connsiteX15731" fmla="*/ 1559588 w 8267681"/>
              <a:gd name="connsiteY15731" fmla="*/ 4528403 h 6698675"/>
              <a:gd name="connsiteX15732" fmla="*/ 1568980 w 8267681"/>
              <a:gd name="connsiteY15732" fmla="*/ 4528403 h 6698675"/>
              <a:gd name="connsiteX15733" fmla="*/ 1580238 w 8267681"/>
              <a:gd name="connsiteY15733" fmla="*/ 4538638 h 6698675"/>
              <a:gd name="connsiteX15734" fmla="*/ 1592456 w 8267681"/>
              <a:gd name="connsiteY15734" fmla="*/ 4523706 h 6698675"/>
              <a:gd name="connsiteX15735" fmla="*/ 1590107 w 8267681"/>
              <a:gd name="connsiteY15735" fmla="*/ 4523706 h 6698675"/>
              <a:gd name="connsiteX15736" fmla="*/ 1573665 w 8267681"/>
              <a:gd name="connsiteY15736" fmla="*/ 4526055 h 6698675"/>
              <a:gd name="connsiteX15737" fmla="*/ 1566621 w 8267681"/>
              <a:gd name="connsiteY15737" fmla="*/ 4516660 h 6698675"/>
              <a:gd name="connsiteX15738" fmla="*/ 1622992 w 8267681"/>
              <a:gd name="connsiteY15738" fmla="*/ 4483777 h 6698675"/>
              <a:gd name="connsiteX15739" fmla="*/ 1618291 w 8267681"/>
              <a:gd name="connsiteY15739" fmla="*/ 4467335 h 6698675"/>
              <a:gd name="connsiteX15740" fmla="*/ 1608899 w 8267681"/>
              <a:gd name="connsiteY15740" fmla="*/ 4469684 h 6698675"/>
              <a:gd name="connsiteX15741" fmla="*/ 1592456 w 8267681"/>
              <a:gd name="connsiteY15741" fmla="*/ 4460289 h 6698675"/>
              <a:gd name="connsiteX15742" fmla="*/ 1592456 w 8267681"/>
              <a:gd name="connsiteY15742" fmla="*/ 4448545 h 6698675"/>
              <a:gd name="connsiteX15743" fmla="*/ 1599502 w 8267681"/>
              <a:gd name="connsiteY15743" fmla="*/ 4462638 h 6698675"/>
              <a:gd name="connsiteX15744" fmla="*/ 1608899 w 8267681"/>
              <a:gd name="connsiteY15744" fmla="*/ 4457940 h 6698675"/>
              <a:gd name="connsiteX15745" fmla="*/ 1639434 w 8267681"/>
              <a:gd name="connsiteY15745" fmla="*/ 4467335 h 6698675"/>
              <a:gd name="connsiteX15746" fmla="*/ 1641779 w 8267681"/>
              <a:gd name="connsiteY15746" fmla="*/ 4476731 h 6698675"/>
              <a:gd name="connsiteX15747" fmla="*/ 1618291 w 8267681"/>
              <a:gd name="connsiteY15747" fmla="*/ 4493172 h 6698675"/>
              <a:gd name="connsiteX15748" fmla="*/ 1620641 w 8267681"/>
              <a:gd name="connsiteY15748" fmla="*/ 4502567 h 6698675"/>
              <a:gd name="connsiteX15749" fmla="*/ 1618291 w 8267681"/>
              <a:gd name="connsiteY15749" fmla="*/ 4530753 h 6698675"/>
              <a:gd name="connsiteX15750" fmla="*/ 1641779 w 8267681"/>
              <a:gd name="connsiteY15750" fmla="*/ 4535450 h 6698675"/>
              <a:gd name="connsiteX15751" fmla="*/ 1639434 w 8267681"/>
              <a:gd name="connsiteY15751" fmla="*/ 4526055 h 6698675"/>
              <a:gd name="connsiteX15752" fmla="*/ 1644128 w 8267681"/>
              <a:gd name="connsiteY15752" fmla="*/ 4521357 h 6698675"/>
              <a:gd name="connsiteX15753" fmla="*/ 1660569 w 8267681"/>
              <a:gd name="connsiteY15753" fmla="*/ 4533101 h 6698675"/>
              <a:gd name="connsiteX15754" fmla="*/ 1646477 w 8267681"/>
              <a:gd name="connsiteY15754" fmla="*/ 4542496 h 6698675"/>
              <a:gd name="connsiteX15755" fmla="*/ 1660569 w 8267681"/>
              <a:gd name="connsiteY15755" fmla="*/ 4549542 h 6698675"/>
              <a:gd name="connsiteX15756" fmla="*/ 1669965 w 8267681"/>
              <a:gd name="connsiteY15756" fmla="*/ 4533101 h 6698675"/>
              <a:gd name="connsiteX15757" fmla="*/ 1658221 w 8267681"/>
              <a:gd name="connsiteY15757" fmla="*/ 4509613 h 6698675"/>
              <a:gd name="connsiteX15758" fmla="*/ 1669965 w 8267681"/>
              <a:gd name="connsiteY15758" fmla="*/ 4504916 h 6698675"/>
              <a:gd name="connsiteX15759" fmla="*/ 1677012 w 8267681"/>
              <a:gd name="connsiteY15759" fmla="*/ 4526055 h 6698675"/>
              <a:gd name="connsiteX15760" fmla="*/ 1686406 w 8267681"/>
              <a:gd name="connsiteY15760" fmla="*/ 4521357 h 6698675"/>
              <a:gd name="connsiteX15761" fmla="*/ 1702848 w 8267681"/>
              <a:gd name="connsiteY15761" fmla="*/ 4526055 h 6698675"/>
              <a:gd name="connsiteX15762" fmla="*/ 1702848 w 8267681"/>
              <a:gd name="connsiteY15762" fmla="*/ 4537799 h 6698675"/>
              <a:gd name="connsiteX15763" fmla="*/ 1693454 w 8267681"/>
              <a:gd name="connsiteY15763" fmla="*/ 4542496 h 6698675"/>
              <a:gd name="connsiteX15764" fmla="*/ 1691104 w 8267681"/>
              <a:gd name="connsiteY15764" fmla="*/ 4544845 h 6698675"/>
              <a:gd name="connsiteX15765" fmla="*/ 1693454 w 8267681"/>
              <a:gd name="connsiteY15765" fmla="*/ 4556589 h 6698675"/>
              <a:gd name="connsiteX15766" fmla="*/ 1702848 w 8267681"/>
              <a:gd name="connsiteY15766" fmla="*/ 4558938 h 6698675"/>
              <a:gd name="connsiteX15767" fmla="*/ 1719290 w 8267681"/>
              <a:gd name="connsiteY15767" fmla="*/ 4594169 h 6698675"/>
              <a:gd name="connsiteX15768" fmla="*/ 1712247 w 8267681"/>
              <a:gd name="connsiteY15768" fmla="*/ 4627052 h 6698675"/>
              <a:gd name="connsiteX15769" fmla="*/ 1716941 w 8267681"/>
              <a:gd name="connsiteY15769" fmla="*/ 4636448 h 6698675"/>
              <a:gd name="connsiteX15770" fmla="*/ 1735732 w 8267681"/>
              <a:gd name="connsiteY15770" fmla="*/ 4638796 h 6698675"/>
              <a:gd name="connsiteX15771" fmla="*/ 1735732 w 8267681"/>
              <a:gd name="connsiteY15771" fmla="*/ 4596518 h 6698675"/>
              <a:gd name="connsiteX15772" fmla="*/ 1745126 w 8267681"/>
              <a:gd name="connsiteY15772" fmla="*/ 4577728 h 6698675"/>
              <a:gd name="connsiteX15773" fmla="*/ 1738082 w 8267681"/>
              <a:gd name="connsiteY15773" fmla="*/ 4570682 h 6698675"/>
              <a:gd name="connsiteX15774" fmla="*/ 1749825 w 8267681"/>
              <a:gd name="connsiteY15774" fmla="*/ 4554240 h 6698675"/>
              <a:gd name="connsiteX15775" fmla="*/ 1738082 w 8267681"/>
              <a:gd name="connsiteY15775" fmla="*/ 4476731 h 6698675"/>
              <a:gd name="connsiteX15776" fmla="*/ 1721640 w 8267681"/>
              <a:gd name="connsiteY15776" fmla="*/ 4469684 h 6698675"/>
              <a:gd name="connsiteX15777" fmla="*/ 1733382 w 8267681"/>
              <a:gd name="connsiteY15777" fmla="*/ 4450894 h 6698675"/>
              <a:gd name="connsiteX15778" fmla="*/ 1721640 w 8267681"/>
              <a:gd name="connsiteY15778" fmla="*/ 4441499 h 6698675"/>
              <a:gd name="connsiteX15779" fmla="*/ 1705197 w 8267681"/>
              <a:gd name="connsiteY15779" fmla="*/ 4413314 h 6698675"/>
              <a:gd name="connsiteX15780" fmla="*/ 1695805 w 8267681"/>
              <a:gd name="connsiteY15780" fmla="*/ 4413314 h 6698675"/>
              <a:gd name="connsiteX15781" fmla="*/ 1674663 w 8267681"/>
              <a:gd name="connsiteY15781" fmla="*/ 4457940 h 6698675"/>
              <a:gd name="connsiteX15782" fmla="*/ 1644128 w 8267681"/>
              <a:gd name="connsiteY15782" fmla="*/ 4462638 h 6698675"/>
              <a:gd name="connsiteX15783" fmla="*/ 1639434 w 8267681"/>
              <a:gd name="connsiteY15783" fmla="*/ 4448545 h 6698675"/>
              <a:gd name="connsiteX15784" fmla="*/ 1665269 w 8267681"/>
              <a:gd name="connsiteY15784" fmla="*/ 4432104 h 6698675"/>
              <a:gd name="connsiteX15785" fmla="*/ 1657340 w 8267681"/>
              <a:gd name="connsiteY15785" fmla="*/ 4428580 h 6698675"/>
              <a:gd name="connsiteX15786" fmla="*/ 1651818 w 8267681"/>
              <a:gd name="connsiteY15786" fmla="*/ 4425422 h 6698675"/>
              <a:gd name="connsiteX15787" fmla="*/ 1641794 w 8267681"/>
              <a:gd name="connsiteY15787" fmla="*/ 4432103 h 6698675"/>
              <a:gd name="connsiteX15788" fmla="*/ 1639445 w 8267681"/>
              <a:gd name="connsiteY15788" fmla="*/ 4432103 h 6698675"/>
              <a:gd name="connsiteX15789" fmla="*/ 1637096 w 8267681"/>
              <a:gd name="connsiteY15789" fmla="*/ 4422708 h 6698675"/>
              <a:gd name="connsiteX15790" fmla="*/ 1651188 w 8267681"/>
              <a:gd name="connsiteY15790" fmla="*/ 4413313 h 6698675"/>
              <a:gd name="connsiteX15791" fmla="*/ 1655322 w 8267681"/>
              <a:gd name="connsiteY15791" fmla="*/ 4421579 h 6698675"/>
              <a:gd name="connsiteX15792" fmla="*/ 1661159 w 8267681"/>
              <a:gd name="connsiteY15792" fmla="*/ 4423295 h 6698675"/>
              <a:gd name="connsiteX15793" fmla="*/ 1667619 w 8267681"/>
              <a:gd name="connsiteY15793" fmla="*/ 4429755 h 6698675"/>
              <a:gd name="connsiteX15794" fmla="*/ 1672313 w 8267681"/>
              <a:gd name="connsiteY15794" fmla="*/ 4422709 h 6698675"/>
              <a:gd name="connsiteX15795" fmla="*/ 1660569 w 8267681"/>
              <a:gd name="connsiteY15795" fmla="*/ 4413314 h 6698675"/>
              <a:gd name="connsiteX15796" fmla="*/ 1665269 w 8267681"/>
              <a:gd name="connsiteY15796" fmla="*/ 4403918 h 6698675"/>
              <a:gd name="connsiteX15797" fmla="*/ 1651177 w 8267681"/>
              <a:gd name="connsiteY15797" fmla="*/ 4387477 h 6698675"/>
              <a:gd name="connsiteX15798" fmla="*/ 1658221 w 8267681"/>
              <a:gd name="connsiteY15798" fmla="*/ 4378082 h 6698675"/>
              <a:gd name="connsiteX15799" fmla="*/ 1684058 w 8267681"/>
              <a:gd name="connsiteY15799" fmla="*/ 4389826 h 6698675"/>
              <a:gd name="connsiteX15800" fmla="*/ 1688755 w 8267681"/>
              <a:gd name="connsiteY15800" fmla="*/ 4356943 h 6698675"/>
              <a:gd name="connsiteX15801" fmla="*/ 1712247 w 8267681"/>
              <a:gd name="connsiteY15801" fmla="*/ 4298223 h 6698675"/>
              <a:gd name="connsiteX15802" fmla="*/ 1644128 w 8267681"/>
              <a:gd name="connsiteY15802" fmla="*/ 4241853 h 6698675"/>
              <a:gd name="connsiteX15803" fmla="*/ 1632384 w 8267681"/>
              <a:gd name="connsiteY15803" fmla="*/ 4230109 h 6698675"/>
              <a:gd name="connsiteX15804" fmla="*/ 1637084 w 8267681"/>
              <a:gd name="connsiteY15804" fmla="*/ 4220713 h 6698675"/>
              <a:gd name="connsiteX15805" fmla="*/ 1627686 w 8267681"/>
              <a:gd name="connsiteY15805" fmla="*/ 4211318 h 6698675"/>
              <a:gd name="connsiteX15806" fmla="*/ 1627686 w 8267681"/>
              <a:gd name="connsiteY15806" fmla="*/ 4208970 h 6698675"/>
              <a:gd name="connsiteX15807" fmla="*/ 1611249 w 8267681"/>
              <a:gd name="connsiteY15807" fmla="*/ 4194877 h 6698675"/>
              <a:gd name="connsiteX15808" fmla="*/ 1611249 w 8267681"/>
              <a:gd name="connsiteY15808" fmla="*/ 4169040 h 6698675"/>
              <a:gd name="connsiteX15809" fmla="*/ 1597157 w 8267681"/>
              <a:gd name="connsiteY15809" fmla="*/ 4107972 h 6698675"/>
              <a:gd name="connsiteX15810" fmla="*/ 1601851 w 8267681"/>
              <a:gd name="connsiteY15810" fmla="*/ 4110321 h 6698675"/>
              <a:gd name="connsiteX15811" fmla="*/ 1646477 w 8267681"/>
              <a:gd name="connsiteY15811" fmla="*/ 4053950 h 6698675"/>
              <a:gd name="connsiteX15812" fmla="*/ 1597157 w 8267681"/>
              <a:gd name="connsiteY15812" fmla="*/ 4093879 h 6698675"/>
              <a:gd name="connsiteX15813" fmla="*/ 1601851 w 8267681"/>
              <a:gd name="connsiteY15813" fmla="*/ 4021067 h 6698675"/>
              <a:gd name="connsiteX15814" fmla="*/ 1634734 w 8267681"/>
              <a:gd name="connsiteY15814" fmla="*/ 4002277 h 6698675"/>
              <a:gd name="connsiteX15815" fmla="*/ 1604199 w 8267681"/>
              <a:gd name="connsiteY15815" fmla="*/ 3992882 h 6698675"/>
              <a:gd name="connsiteX15816" fmla="*/ 1608899 w 8267681"/>
              <a:gd name="connsiteY15816" fmla="*/ 3929465 h 6698675"/>
              <a:gd name="connsiteX15817" fmla="*/ 1634734 w 8267681"/>
              <a:gd name="connsiteY15817" fmla="*/ 3924767 h 6698675"/>
              <a:gd name="connsiteX15818" fmla="*/ 1672313 w 8267681"/>
              <a:gd name="connsiteY15818" fmla="*/ 3931814 h 6698675"/>
              <a:gd name="connsiteX15819" fmla="*/ 1653527 w 8267681"/>
              <a:gd name="connsiteY15819" fmla="*/ 3941209 h 6698675"/>
              <a:gd name="connsiteX15820" fmla="*/ 1674663 w 8267681"/>
              <a:gd name="connsiteY15820" fmla="*/ 3936511 h 6698675"/>
              <a:gd name="connsiteX15821" fmla="*/ 1685489 w 8267681"/>
              <a:gd name="connsiteY15821" fmla="*/ 3967008 h 6698675"/>
              <a:gd name="connsiteX15822" fmla="*/ 1685472 w 8267681"/>
              <a:gd name="connsiteY15822" fmla="*/ 3967362 h 6698675"/>
              <a:gd name="connsiteX15823" fmla="*/ 1681712 w 8267681"/>
              <a:gd name="connsiteY15823" fmla="*/ 3959999 h 6698675"/>
              <a:gd name="connsiteX15824" fmla="*/ 1658221 w 8267681"/>
              <a:gd name="connsiteY15824" fmla="*/ 3983487 h 6698675"/>
              <a:gd name="connsiteX15825" fmla="*/ 1681712 w 8267681"/>
              <a:gd name="connsiteY15825" fmla="*/ 3992882 h 6698675"/>
              <a:gd name="connsiteX15826" fmla="*/ 1684438 w 8267681"/>
              <a:gd name="connsiteY15826" fmla="*/ 3985496 h 6698675"/>
              <a:gd name="connsiteX15827" fmla="*/ 1683764 w 8267681"/>
              <a:gd name="connsiteY15827" fmla="*/ 3997285 h 6698675"/>
              <a:gd name="connsiteX15828" fmla="*/ 1648827 w 8267681"/>
              <a:gd name="connsiteY15828" fmla="*/ 4049253 h 6698675"/>
              <a:gd name="connsiteX15829" fmla="*/ 1684058 w 8267681"/>
              <a:gd name="connsiteY15829" fmla="*/ 4030462 h 6698675"/>
              <a:gd name="connsiteX15830" fmla="*/ 1702848 w 8267681"/>
              <a:gd name="connsiteY15830" fmla="*/ 4051601 h 6698675"/>
              <a:gd name="connsiteX15831" fmla="*/ 1754520 w 8267681"/>
              <a:gd name="connsiteY15831" fmla="*/ 4255945 h 6698675"/>
              <a:gd name="connsiteX15832" fmla="*/ 1794453 w 8267681"/>
              <a:gd name="connsiteY15832" fmla="*/ 4293526 h 6698675"/>
              <a:gd name="connsiteX15833" fmla="*/ 1813241 w 8267681"/>
              <a:gd name="connsiteY15833" fmla="*/ 4291177 h 6698675"/>
              <a:gd name="connsiteX15834" fmla="*/ 1808545 w 8267681"/>
              <a:gd name="connsiteY15834" fmla="*/ 4354594 h 6698675"/>
              <a:gd name="connsiteX15835" fmla="*/ 1843775 w 8267681"/>
              <a:gd name="connsiteY15835" fmla="*/ 4453243 h 6698675"/>
              <a:gd name="connsiteX15836" fmla="*/ 1824988 w 8267681"/>
              <a:gd name="connsiteY15836" fmla="*/ 4507265 h 6698675"/>
              <a:gd name="connsiteX15837" fmla="*/ 1817939 w 8267681"/>
              <a:gd name="connsiteY15837" fmla="*/ 4516660 h 6698675"/>
              <a:gd name="connsiteX15838" fmla="*/ 1817939 w 8267681"/>
              <a:gd name="connsiteY15838" fmla="*/ 4528404 h 6698675"/>
              <a:gd name="connsiteX15839" fmla="*/ 1827334 w 8267681"/>
              <a:gd name="connsiteY15839" fmla="*/ 4542496 h 6698675"/>
              <a:gd name="connsiteX15840" fmla="*/ 1817939 w 8267681"/>
              <a:gd name="connsiteY15840" fmla="*/ 4575379 h 6698675"/>
              <a:gd name="connsiteX15841" fmla="*/ 1869616 w 8267681"/>
              <a:gd name="connsiteY15841" fmla="*/ 4695167 h 6698675"/>
              <a:gd name="connsiteX15842" fmla="*/ 1876658 w 8267681"/>
              <a:gd name="connsiteY15842" fmla="*/ 4699865 h 6698675"/>
              <a:gd name="connsiteX15843" fmla="*/ 1902495 w 8267681"/>
              <a:gd name="connsiteY15843" fmla="*/ 4643494 h 6698675"/>
              <a:gd name="connsiteX15844" fmla="*/ 1900146 w 8267681"/>
              <a:gd name="connsiteY15844" fmla="*/ 4558938 h 6698675"/>
              <a:gd name="connsiteX15845" fmla="*/ 1902495 w 8267681"/>
              <a:gd name="connsiteY15845" fmla="*/ 4549542 h 6698675"/>
              <a:gd name="connsiteX15846" fmla="*/ 1900146 w 8267681"/>
              <a:gd name="connsiteY15846" fmla="*/ 4540147 h 6698675"/>
              <a:gd name="connsiteX15847" fmla="*/ 1893101 w 8267681"/>
              <a:gd name="connsiteY15847" fmla="*/ 4530753 h 6698675"/>
              <a:gd name="connsiteX15848" fmla="*/ 1904843 w 8267681"/>
              <a:gd name="connsiteY15848" fmla="*/ 4502567 h 6698675"/>
              <a:gd name="connsiteX15849" fmla="*/ 1914238 w 8267681"/>
              <a:gd name="connsiteY15849" fmla="*/ 4490823 h 6698675"/>
              <a:gd name="connsiteX15850" fmla="*/ 1940079 w 8267681"/>
              <a:gd name="connsiteY15850" fmla="*/ 4488474 h 6698675"/>
              <a:gd name="connsiteX15851" fmla="*/ 1940079 w 8267681"/>
              <a:gd name="connsiteY15851" fmla="*/ 4479079 h 6698675"/>
              <a:gd name="connsiteX15852" fmla="*/ 1961214 w 8267681"/>
              <a:gd name="connsiteY15852" fmla="*/ 4448545 h 6698675"/>
              <a:gd name="connsiteX15853" fmla="*/ 1996449 w 8267681"/>
              <a:gd name="connsiteY15853" fmla="*/ 4479079 h 6698675"/>
              <a:gd name="connsiteX15854" fmla="*/ 2019934 w 8267681"/>
              <a:gd name="connsiteY15854" fmla="*/ 4476731 h 6698675"/>
              <a:gd name="connsiteX15855" fmla="*/ 2019934 w 8267681"/>
              <a:gd name="connsiteY15855" fmla="*/ 4488474 h 6698675"/>
              <a:gd name="connsiteX15856" fmla="*/ 2048119 w 8267681"/>
              <a:gd name="connsiteY15856" fmla="*/ 4565984 h 6698675"/>
              <a:gd name="connsiteX15857" fmla="*/ 2109190 w 8267681"/>
              <a:gd name="connsiteY15857" fmla="*/ 4549542 h 6698675"/>
              <a:gd name="connsiteX15858" fmla="*/ 2106840 w 8267681"/>
              <a:gd name="connsiteY15858" fmla="*/ 4547194 h 6698675"/>
              <a:gd name="connsiteX15859" fmla="*/ 2095097 w 8267681"/>
              <a:gd name="connsiteY15859" fmla="*/ 4540147 h 6698675"/>
              <a:gd name="connsiteX15860" fmla="*/ 2097443 w 8267681"/>
              <a:gd name="connsiteY15860" fmla="*/ 4497869 h 6698675"/>
              <a:gd name="connsiteX15861" fmla="*/ 2106840 w 8267681"/>
              <a:gd name="connsiteY15861" fmla="*/ 4420360 h 6698675"/>
              <a:gd name="connsiteX15862" fmla="*/ 2099792 w 8267681"/>
              <a:gd name="connsiteY15862" fmla="*/ 4406267 h 6698675"/>
              <a:gd name="connsiteX15863" fmla="*/ 2106840 w 8267681"/>
              <a:gd name="connsiteY15863" fmla="*/ 4380430 h 6698675"/>
              <a:gd name="connsiteX15864" fmla="*/ 2090397 w 8267681"/>
              <a:gd name="connsiteY15864" fmla="*/ 4331106 h 6698675"/>
              <a:gd name="connsiteX15865" fmla="*/ 2066912 w 8267681"/>
              <a:gd name="connsiteY15865" fmla="*/ 4288828 h 6698675"/>
              <a:gd name="connsiteX15866" fmla="*/ 2048119 w 8267681"/>
              <a:gd name="connsiteY15866" fmla="*/ 4286479 h 6698675"/>
              <a:gd name="connsiteX15867" fmla="*/ 2026980 w 8267681"/>
              <a:gd name="connsiteY15867" fmla="*/ 4321711 h 6698675"/>
              <a:gd name="connsiteX15868" fmla="*/ 2022284 w 8267681"/>
              <a:gd name="connsiteY15868" fmla="*/ 4326408 h 6698675"/>
              <a:gd name="connsiteX15869" fmla="*/ 2008192 w 8267681"/>
              <a:gd name="connsiteY15869" fmla="*/ 4382779 h 6698675"/>
              <a:gd name="connsiteX15870" fmla="*/ 1972958 w 8267681"/>
              <a:gd name="connsiteY15870" fmla="*/ 4399221 h 6698675"/>
              <a:gd name="connsiteX15871" fmla="*/ 1972958 w 8267681"/>
              <a:gd name="connsiteY15871" fmla="*/ 4319362 h 6698675"/>
              <a:gd name="connsiteX15872" fmla="*/ 1970609 w 8267681"/>
              <a:gd name="connsiteY15872" fmla="*/ 4298223 h 6698675"/>
              <a:gd name="connsiteX15873" fmla="*/ 2026980 w 8267681"/>
              <a:gd name="connsiteY15873" fmla="*/ 4223062 h 6698675"/>
              <a:gd name="connsiteX15874" fmla="*/ 2003492 w 8267681"/>
              <a:gd name="connsiteY15874" fmla="*/ 4166692 h 6698675"/>
              <a:gd name="connsiteX15875" fmla="*/ 2017585 w 8267681"/>
              <a:gd name="connsiteY15875" fmla="*/ 4166692 h 6698675"/>
              <a:gd name="connsiteX15876" fmla="*/ 2038727 w 8267681"/>
              <a:gd name="connsiteY15876" fmla="*/ 4230109 h 6698675"/>
              <a:gd name="connsiteX15877" fmla="*/ 2050469 w 8267681"/>
              <a:gd name="connsiteY15877" fmla="*/ 4220713 h 6698675"/>
              <a:gd name="connsiteX15878" fmla="*/ 2076304 w 8267681"/>
              <a:gd name="connsiteY15878" fmla="*/ 4258294 h 6698675"/>
              <a:gd name="connsiteX15879" fmla="*/ 2057514 w 8267681"/>
              <a:gd name="connsiteY15879" fmla="*/ 4204272 h 6698675"/>
              <a:gd name="connsiteX15880" fmla="*/ 2036377 w 8267681"/>
              <a:gd name="connsiteY15880" fmla="*/ 4208970 h 6698675"/>
              <a:gd name="connsiteX15881" fmla="*/ 2038727 w 8267681"/>
              <a:gd name="connsiteY15881" fmla="*/ 4068043 h 6698675"/>
              <a:gd name="connsiteX15882" fmla="*/ 2036377 w 8267681"/>
              <a:gd name="connsiteY15882" fmla="*/ 4039857 h 6698675"/>
              <a:gd name="connsiteX15883" fmla="*/ 2022284 w 8267681"/>
              <a:gd name="connsiteY15883" fmla="*/ 3992882 h 6698675"/>
              <a:gd name="connsiteX15884" fmla="*/ 2038727 w 8267681"/>
              <a:gd name="connsiteY15884" fmla="*/ 3999928 h 6698675"/>
              <a:gd name="connsiteX15885" fmla="*/ 2050469 w 8267681"/>
              <a:gd name="connsiteY15885" fmla="*/ 3936511 h 6698675"/>
              <a:gd name="connsiteX15886" fmla="*/ 2029329 w 8267681"/>
              <a:gd name="connsiteY15886" fmla="*/ 3908326 h 6698675"/>
              <a:gd name="connsiteX15887" fmla="*/ 2024634 w 8267681"/>
              <a:gd name="connsiteY15887" fmla="*/ 3866048 h 6698675"/>
              <a:gd name="connsiteX15888" fmla="*/ 2245413 w 8267681"/>
              <a:gd name="connsiteY15888" fmla="*/ 3736865 h 6698675"/>
              <a:gd name="connsiteX15889" fmla="*/ 2360503 w 8267681"/>
              <a:gd name="connsiteY15889" fmla="*/ 3675797 h 6698675"/>
              <a:gd name="connsiteX15890" fmla="*/ 2311179 w 8267681"/>
              <a:gd name="connsiteY15890" fmla="*/ 3635868 h 6698675"/>
              <a:gd name="connsiteX15891" fmla="*/ 2210188 w 8267681"/>
              <a:gd name="connsiteY15891" fmla="*/ 3694587 h 6698675"/>
              <a:gd name="connsiteX15892" fmla="*/ 1991749 w 8267681"/>
              <a:gd name="connsiteY15892" fmla="*/ 3826119 h 6698675"/>
              <a:gd name="connsiteX15893" fmla="*/ 1972958 w 8267681"/>
              <a:gd name="connsiteY15893" fmla="*/ 3783841 h 6698675"/>
              <a:gd name="connsiteX15894" fmla="*/ 1909543 w 8267681"/>
              <a:gd name="connsiteY15894" fmla="*/ 3758004 h 6698675"/>
              <a:gd name="connsiteX15895" fmla="*/ 1841426 w 8267681"/>
              <a:gd name="connsiteY15895" fmla="*/ 3758004 h 6698675"/>
              <a:gd name="connsiteX15896" fmla="*/ 1735732 w 8267681"/>
              <a:gd name="connsiteY15896" fmla="*/ 3783841 h 6698675"/>
              <a:gd name="connsiteX15897" fmla="*/ 1749825 w 8267681"/>
              <a:gd name="connsiteY15897" fmla="*/ 3816723 h 6698675"/>
              <a:gd name="connsiteX15898" fmla="*/ 1660569 w 8267681"/>
              <a:gd name="connsiteY15898" fmla="*/ 3821421 h 6698675"/>
              <a:gd name="connsiteX15899" fmla="*/ 1733382 w 8267681"/>
              <a:gd name="connsiteY15899" fmla="*/ 3844909 h 6698675"/>
              <a:gd name="connsiteX15900" fmla="*/ 1662919 w 8267681"/>
              <a:gd name="connsiteY15900" fmla="*/ 3870745 h 6698675"/>
              <a:gd name="connsiteX15901" fmla="*/ 1698150 w 8267681"/>
              <a:gd name="connsiteY15901" fmla="*/ 3884838 h 6698675"/>
              <a:gd name="connsiteX15902" fmla="*/ 1695805 w 8267681"/>
              <a:gd name="connsiteY15902" fmla="*/ 3887187 h 6698675"/>
              <a:gd name="connsiteX15903" fmla="*/ 1630035 w 8267681"/>
              <a:gd name="connsiteY15903" fmla="*/ 3875443 h 6698675"/>
              <a:gd name="connsiteX15904" fmla="*/ 1599502 w 8267681"/>
              <a:gd name="connsiteY15904" fmla="*/ 3837863 h 6698675"/>
              <a:gd name="connsiteX15905" fmla="*/ 1573665 w 8267681"/>
              <a:gd name="connsiteY15905" fmla="*/ 3826119 h 6698675"/>
              <a:gd name="connsiteX15906" fmla="*/ 1547828 w 8267681"/>
              <a:gd name="connsiteY15906" fmla="*/ 3765050 h 6698675"/>
              <a:gd name="connsiteX15907" fmla="*/ 1540786 w 8267681"/>
              <a:gd name="connsiteY15907" fmla="*/ 3772097 h 6698675"/>
              <a:gd name="connsiteX15908" fmla="*/ 1540786 w 8267681"/>
              <a:gd name="connsiteY15908" fmla="*/ 3776794 h 6698675"/>
              <a:gd name="connsiteX15909" fmla="*/ 1538436 w 8267681"/>
              <a:gd name="connsiteY15909" fmla="*/ 3816723 h 6698675"/>
              <a:gd name="connsiteX15910" fmla="*/ 1507901 w 8267681"/>
              <a:gd name="connsiteY15910" fmla="*/ 3814375 h 6698675"/>
              <a:gd name="connsiteX15911" fmla="*/ 1498509 w 8267681"/>
              <a:gd name="connsiteY15911" fmla="*/ 3807328 h 6698675"/>
              <a:gd name="connsiteX15912" fmla="*/ 1489110 w 8267681"/>
              <a:gd name="connsiteY15912" fmla="*/ 3812026 h 6698675"/>
              <a:gd name="connsiteX15913" fmla="*/ 1484412 w 8267681"/>
              <a:gd name="connsiteY15913" fmla="*/ 3812026 h 6698675"/>
              <a:gd name="connsiteX15914" fmla="*/ 1496158 w 8267681"/>
              <a:gd name="connsiteY15914" fmla="*/ 3804980 h 6698675"/>
              <a:gd name="connsiteX15915" fmla="*/ 1493808 w 8267681"/>
              <a:gd name="connsiteY15915" fmla="*/ 3802631 h 6698675"/>
              <a:gd name="connsiteX15916" fmla="*/ 1482066 w 8267681"/>
              <a:gd name="connsiteY15916" fmla="*/ 3812026 h 6698675"/>
              <a:gd name="connsiteX15917" fmla="*/ 1467973 w 8267681"/>
              <a:gd name="connsiteY15917" fmla="*/ 3807328 h 6698675"/>
              <a:gd name="connsiteX15918" fmla="*/ 1463273 w 8267681"/>
              <a:gd name="connsiteY15918" fmla="*/ 3823770 h 6698675"/>
              <a:gd name="connsiteX15919" fmla="*/ 1460923 w 8267681"/>
              <a:gd name="connsiteY15919" fmla="*/ 3833165 h 6698675"/>
              <a:gd name="connsiteX15920" fmla="*/ 1451531 w 8267681"/>
              <a:gd name="connsiteY15920" fmla="*/ 3840211 h 6698675"/>
              <a:gd name="connsiteX15921" fmla="*/ 1475017 w 8267681"/>
              <a:gd name="connsiteY15921" fmla="*/ 3861350 h 6698675"/>
              <a:gd name="connsiteX15922" fmla="*/ 1472668 w 8267681"/>
              <a:gd name="connsiteY15922" fmla="*/ 3866048 h 6698675"/>
              <a:gd name="connsiteX15923" fmla="*/ 1456226 w 8267681"/>
              <a:gd name="connsiteY15923" fmla="*/ 3889536 h 6698675"/>
              <a:gd name="connsiteX15924" fmla="*/ 1446832 w 8267681"/>
              <a:gd name="connsiteY15924" fmla="*/ 3887187 h 6698675"/>
              <a:gd name="connsiteX15925" fmla="*/ 1435088 w 8267681"/>
              <a:gd name="connsiteY15925" fmla="*/ 3866048 h 6698675"/>
              <a:gd name="connsiteX15926" fmla="*/ 1420995 w 8267681"/>
              <a:gd name="connsiteY15926" fmla="*/ 3861350 h 6698675"/>
              <a:gd name="connsiteX15927" fmla="*/ 1411603 w 8267681"/>
              <a:gd name="connsiteY15927" fmla="*/ 3887187 h 6698675"/>
              <a:gd name="connsiteX15928" fmla="*/ 1385763 w 8267681"/>
              <a:gd name="connsiteY15928" fmla="*/ 3884838 h 6698675"/>
              <a:gd name="connsiteX15929" fmla="*/ 1359927 w 8267681"/>
              <a:gd name="connsiteY15929" fmla="*/ 3903628 h 6698675"/>
              <a:gd name="connsiteX15930" fmla="*/ 1357578 w 8267681"/>
              <a:gd name="connsiteY15930" fmla="*/ 3901280 h 6698675"/>
              <a:gd name="connsiteX15931" fmla="*/ 1348182 w 8267681"/>
              <a:gd name="connsiteY15931" fmla="*/ 3908326 h 6698675"/>
              <a:gd name="connsiteX15932" fmla="*/ 1357578 w 8267681"/>
              <a:gd name="connsiteY15932" fmla="*/ 3931814 h 6698675"/>
              <a:gd name="connsiteX15933" fmla="*/ 1336440 w 8267681"/>
              <a:gd name="connsiteY15933" fmla="*/ 3948255 h 6698675"/>
              <a:gd name="connsiteX15934" fmla="*/ 1338790 w 8267681"/>
              <a:gd name="connsiteY15934" fmla="*/ 3964697 h 6698675"/>
              <a:gd name="connsiteX15935" fmla="*/ 1322347 w 8267681"/>
              <a:gd name="connsiteY15935" fmla="*/ 3981138 h 6698675"/>
              <a:gd name="connsiteX15936" fmla="*/ 1310605 w 8267681"/>
              <a:gd name="connsiteY15936" fmla="*/ 3981138 h 6698675"/>
              <a:gd name="connsiteX15937" fmla="*/ 1317649 w 8267681"/>
              <a:gd name="connsiteY15937" fmla="*/ 3969394 h 6698675"/>
              <a:gd name="connsiteX15938" fmla="*/ 1327043 w 8267681"/>
              <a:gd name="connsiteY15938" fmla="*/ 3971743 h 6698675"/>
              <a:gd name="connsiteX15939" fmla="*/ 1331741 w 8267681"/>
              <a:gd name="connsiteY15939" fmla="*/ 3964697 h 6698675"/>
              <a:gd name="connsiteX15940" fmla="*/ 1305905 w 8267681"/>
              <a:gd name="connsiteY15940" fmla="*/ 3948255 h 6698675"/>
              <a:gd name="connsiteX15941" fmla="*/ 1296512 w 8267681"/>
              <a:gd name="connsiteY15941" fmla="*/ 3945906 h 6698675"/>
              <a:gd name="connsiteX15942" fmla="*/ 1284765 w 8267681"/>
              <a:gd name="connsiteY15942" fmla="*/ 3957650 h 6698675"/>
              <a:gd name="connsiteX15943" fmla="*/ 1280070 w 8267681"/>
              <a:gd name="connsiteY15943" fmla="*/ 3959999 h 6698675"/>
              <a:gd name="connsiteX15944" fmla="*/ 1277719 w 8267681"/>
              <a:gd name="connsiteY15944" fmla="*/ 3981138 h 6698675"/>
              <a:gd name="connsiteX15945" fmla="*/ 1284765 w 8267681"/>
              <a:gd name="connsiteY15945" fmla="*/ 3990533 h 6698675"/>
              <a:gd name="connsiteX15946" fmla="*/ 1254235 w 8267681"/>
              <a:gd name="connsiteY15946" fmla="*/ 4002277 h 6698675"/>
              <a:gd name="connsiteX15947" fmla="*/ 1247184 w 8267681"/>
              <a:gd name="connsiteY15947" fmla="*/ 4006975 h 6698675"/>
              <a:gd name="connsiteX15948" fmla="*/ 1265977 w 8267681"/>
              <a:gd name="connsiteY15948" fmla="*/ 4032811 h 6698675"/>
              <a:gd name="connsiteX15949" fmla="*/ 1247184 w 8267681"/>
              <a:gd name="connsiteY15949" fmla="*/ 4044555 h 6698675"/>
              <a:gd name="connsiteX15950" fmla="*/ 1237792 w 8267681"/>
              <a:gd name="connsiteY15950" fmla="*/ 4039857 h 6698675"/>
              <a:gd name="connsiteX15951" fmla="*/ 1195514 w 8267681"/>
              <a:gd name="connsiteY15951" fmla="*/ 4070392 h 6698675"/>
              <a:gd name="connsiteX15952" fmla="*/ 1195514 w 8267681"/>
              <a:gd name="connsiteY15952" fmla="*/ 4051601 h 6698675"/>
              <a:gd name="connsiteX15953" fmla="*/ 1186117 w 8267681"/>
              <a:gd name="connsiteY15953" fmla="*/ 4049253 h 6698675"/>
              <a:gd name="connsiteX15954" fmla="*/ 1169679 w 8267681"/>
              <a:gd name="connsiteY15954" fmla="*/ 4053950 h 6698675"/>
              <a:gd name="connsiteX15955" fmla="*/ 1160280 w 8267681"/>
              <a:gd name="connsiteY15955" fmla="*/ 4044555 h 6698675"/>
              <a:gd name="connsiteX15956" fmla="*/ 1160280 w 8267681"/>
              <a:gd name="connsiteY15956" fmla="*/ 4035160 h 6698675"/>
              <a:gd name="connsiteX15957" fmla="*/ 1155587 w 8267681"/>
              <a:gd name="connsiteY15957" fmla="*/ 4028114 h 6698675"/>
              <a:gd name="connsiteX15958" fmla="*/ 1139144 w 8267681"/>
              <a:gd name="connsiteY15958" fmla="*/ 4046904 h 6698675"/>
              <a:gd name="connsiteX15959" fmla="*/ 1134444 w 8267681"/>
              <a:gd name="connsiteY15959" fmla="*/ 4046904 h 6698675"/>
              <a:gd name="connsiteX15960" fmla="*/ 1125051 w 8267681"/>
              <a:gd name="connsiteY15960" fmla="*/ 4056299 h 6698675"/>
              <a:gd name="connsiteX15961" fmla="*/ 1127401 w 8267681"/>
              <a:gd name="connsiteY15961" fmla="*/ 4058648 h 6698675"/>
              <a:gd name="connsiteX15962" fmla="*/ 1127401 w 8267681"/>
              <a:gd name="connsiteY15962" fmla="*/ 4066483 h 6698675"/>
              <a:gd name="connsiteX15963" fmla="*/ 1132110 w 8267681"/>
              <a:gd name="connsiteY15963" fmla="*/ 4063344 h 6698675"/>
              <a:gd name="connsiteX15964" fmla="*/ 1132110 w 8267681"/>
              <a:gd name="connsiteY15964" fmla="*/ 4077437 h 6698675"/>
              <a:gd name="connsiteX15965" fmla="*/ 1129760 w 8267681"/>
              <a:gd name="connsiteY15965" fmla="*/ 4077437 h 6698675"/>
              <a:gd name="connsiteX15966" fmla="*/ 1125839 w 8267681"/>
              <a:gd name="connsiteY15966" fmla="*/ 4069601 h 6698675"/>
              <a:gd name="connsiteX15967" fmla="*/ 1122701 w 8267681"/>
              <a:gd name="connsiteY15967" fmla="*/ 4072741 h 6698675"/>
              <a:gd name="connsiteX15968" fmla="*/ 1118002 w 8267681"/>
              <a:gd name="connsiteY15968" fmla="*/ 4068043 h 6698675"/>
              <a:gd name="connsiteX15969" fmla="*/ 1115654 w 8267681"/>
              <a:gd name="connsiteY15969" fmla="*/ 4065694 h 6698675"/>
              <a:gd name="connsiteX15970" fmla="*/ 1040496 w 8267681"/>
              <a:gd name="connsiteY15970" fmla="*/ 4157296 h 6698675"/>
              <a:gd name="connsiteX15971" fmla="*/ 1035796 w 8267681"/>
              <a:gd name="connsiteY15971" fmla="*/ 4115018 h 6698675"/>
              <a:gd name="connsiteX15972" fmla="*/ 984126 w 8267681"/>
              <a:gd name="connsiteY15972" fmla="*/ 4206621 h 6698675"/>
              <a:gd name="connsiteX15973" fmla="*/ 986470 w 8267681"/>
              <a:gd name="connsiteY15973" fmla="*/ 4206621 h 6698675"/>
              <a:gd name="connsiteX15974" fmla="*/ 991168 w 8267681"/>
              <a:gd name="connsiteY15974" fmla="*/ 4211318 h 6698675"/>
              <a:gd name="connsiteX15975" fmla="*/ 986470 w 8267681"/>
              <a:gd name="connsiteY15975" fmla="*/ 4220713 h 6698675"/>
              <a:gd name="connsiteX15976" fmla="*/ 984126 w 8267681"/>
              <a:gd name="connsiteY15976" fmla="*/ 4223062 h 6698675"/>
              <a:gd name="connsiteX15977" fmla="*/ 981775 w 8267681"/>
              <a:gd name="connsiteY15977" fmla="*/ 4220713 h 6698675"/>
              <a:gd name="connsiteX15978" fmla="*/ 979425 w 8267681"/>
              <a:gd name="connsiteY15978" fmla="*/ 4218365 h 6698675"/>
              <a:gd name="connsiteX15979" fmla="*/ 974727 w 8267681"/>
              <a:gd name="connsiteY15979" fmla="*/ 4232457 h 6698675"/>
              <a:gd name="connsiteX15980" fmla="*/ 986470 w 8267681"/>
              <a:gd name="connsiteY15980" fmla="*/ 4244201 h 6698675"/>
              <a:gd name="connsiteX15981" fmla="*/ 958286 w 8267681"/>
              <a:gd name="connsiteY15981" fmla="*/ 4281782 h 6698675"/>
              <a:gd name="connsiteX15982" fmla="*/ 958286 w 8267681"/>
              <a:gd name="connsiteY15982" fmla="*/ 4288828 h 6698675"/>
              <a:gd name="connsiteX15983" fmla="*/ 974727 w 8267681"/>
              <a:gd name="connsiteY15983" fmla="*/ 4291177 h 6698675"/>
              <a:gd name="connsiteX15984" fmla="*/ 984126 w 8267681"/>
              <a:gd name="connsiteY15984" fmla="*/ 4272387 h 6698675"/>
              <a:gd name="connsiteX15985" fmla="*/ 991168 w 8267681"/>
              <a:gd name="connsiteY15985" fmla="*/ 4279433 h 6698675"/>
              <a:gd name="connsiteX15986" fmla="*/ 984126 w 8267681"/>
              <a:gd name="connsiteY15986" fmla="*/ 4319362 h 6698675"/>
              <a:gd name="connsiteX15987" fmla="*/ 984126 w 8267681"/>
              <a:gd name="connsiteY15987" fmla="*/ 4326408 h 6698675"/>
              <a:gd name="connsiteX15988" fmla="*/ 1000564 w 8267681"/>
              <a:gd name="connsiteY15988" fmla="*/ 4314665 h 6698675"/>
              <a:gd name="connsiteX15989" fmla="*/ 1007610 w 8267681"/>
              <a:gd name="connsiteY15989" fmla="*/ 4321711 h 6698675"/>
              <a:gd name="connsiteX15990" fmla="*/ 993518 w 8267681"/>
              <a:gd name="connsiteY15990" fmla="*/ 4347548 h 6698675"/>
              <a:gd name="connsiteX15991" fmla="*/ 995868 w 8267681"/>
              <a:gd name="connsiteY15991" fmla="*/ 4356943 h 6698675"/>
              <a:gd name="connsiteX15992" fmla="*/ 955940 w 8267681"/>
              <a:gd name="connsiteY15992" fmla="*/ 4389826 h 6698675"/>
              <a:gd name="connsiteX15993" fmla="*/ 948890 w 8267681"/>
              <a:gd name="connsiteY15993" fmla="*/ 4396872 h 6698675"/>
              <a:gd name="connsiteX15994" fmla="*/ 941843 w 8267681"/>
              <a:gd name="connsiteY15994" fmla="*/ 4389826 h 6698675"/>
              <a:gd name="connsiteX15995" fmla="*/ 974727 w 8267681"/>
              <a:gd name="connsiteY15995" fmla="*/ 4356943 h 6698675"/>
              <a:gd name="connsiteX15996" fmla="*/ 948890 w 8267681"/>
              <a:gd name="connsiteY15996" fmla="*/ 4347548 h 6698675"/>
              <a:gd name="connsiteX15997" fmla="*/ 967683 w 8267681"/>
              <a:gd name="connsiteY15997" fmla="*/ 4335804 h 6698675"/>
              <a:gd name="connsiteX15998" fmla="*/ 972378 w 8267681"/>
              <a:gd name="connsiteY15998" fmla="*/ 4331106 h 6698675"/>
              <a:gd name="connsiteX15999" fmla="*/ 951240 w 8267681"/>
              <a:gd name="connsiteY15999" fmla="*/ 4295875 h 6698675"/>
              <a:gd name="connsiteX16000" fmla="*/ 955940 w 8267681"/>
              <a:gd name="connsiteY16000" fmla="*/ 4286479 h 6698675"/>
              <a:gd name="connsiteX16001" fmla="*/ 953590 w 8267681"/>
              <a:gd name="connsiteY16001" fmla="*/ 4286479 h 6698675"/>
              <a:gd name="connsiteX16002" fmla="*/ 941843 w 8267681"/>
              <a:gd name="connsiteY16002" fmla="*/ 4298223 h 6698675"/>
              <a:gd name="connsiteX16003" fmla="*/ 927750 w 8267681"/>
              <a:gd name="connsiteY16003" fmla="*/ 4309967 h 6698675"/>
              <a:gd name="connsiteX16004" fmla="*/ 930100 w 8267681"/>
              <a:gd name="connsiteY16004" fmla="*/ 4312316 h 6698675"/>
              <a:gd name="connsiteX16005" fmla="*/ 923055 w 8267681"/>
              <a:gd name="connsiteY16005" fmla="*/ 4317014 h 6698675"/>
              <a:gd name="connsiteX16006" fmla="*/ 920705 w 8267681"/>
              <a:gd name="connsiteY16006" fmla="*/ 4314665 h 6698675"/>
              <a:gd name="connsiteX16007" fmla="*/ 913658 w 8267681"/>
              <a:gd name="connsiteY16007" fmla="*/ 4319362 h 6698675"/>
              <a:gd name="connsiteX16008" fmla="*/ 887821 w 8267681"/>
              <a:gd name="connsiteY16008" fmla="*/ 4333455 h 6698675"/>
              <a:gd name="connsiteX16009" fmla="*/ 852592 w 8267681"/>
              <a:gd name="connsiteY16009" fmla="*/ 4345199 h 6698675"/>
              <a:gd name="connsiteX16010" fmla="*/ 857287 w 8267681"/>
              <a:gd name="connsiteY16010" fmla="*/ 4354594 h 6698675"/>
              <a:gd name="connsiteX16011" fmla="*/ 838500 w 8267681"/>
              <a:gd name="connsiteY16011" fmla="*/ 4373384 h 6698675"/>
              <a:gd name="connsiteX16012" fmla="*/ 836149 w 8267681"/>
              <a:gd name="connsiteY16012" fmla="*/ 4349896 h 6698675"/>
              <a:gd name="connsiteX16013" fmla="*/ 815220 w 8267681"/>
              <a:gd name="connsiteY16013" fmla="*/ 4351799 h 6698675"/>
              <a:gd name="connsiteX16014" fmla="*/ 822077 w 8267681"/>
              <a:gd name="connsiteY16014" fmla="*/ 4356941 h 6698675"/>
              <a:gd name="connsiteX16015" fmla="*/ 824424 w 8267681"/>
              <a:gd name="connsiteY16015" fmla="*/ 4359290 h 6698675"/>
              <a:gd name="connsiteX16016" fmla="*/ 822077 w 8267681"/>
              <a:gd name="connsiteY16016" fmla="*/ 4368685 h 6698675"/>
              <a:gd name="connsiteX16017" fmla="*/ 812682 w 8267681"/>
              <a:gd name="connsiteY16017" fmla="*/ 4371034 h 6698675"/>
              <a:gd name="connsiteX16018" fmla="*/ 807982 w 8267681"/>
              <a:gd name="connsiteY16018" fmla="*/ 4366337 h 6698675"/>
              <a:gd name="connsiteX16019" fmla="*/ 805634 w 8267681"/>
              <a:gd name="connsiteY16019" fmla="*/ 4356941 h 6698675"/>
              <a:gd name="connsiteX16020" fmla="*/ 810331 w 8267681"/>
              <a:gd name="connsiteY16020" fmla="*/ 4352243 h 6698675"/>
              <a:gd name="connsiteX16021" fmla="*/ 810314 w 8267681"/>
              <a:gd name="connsiteY16021" fmla="*/ 4352245 h 6698675"/>
              <a:gd name="connsiteX16022" fmla="*/ 792128 w 8267681"/>
              <a:gd name="connsiteY16022" fmla="*/ 4352245 h 6698675"/>
              <a:gd name="connsiteX16023" fmla="*/ 793889 w 8267681"/>
              <a:gd name="connsiteY16023" fmla="*/ 4359291 h 6698675"/>
              <a:gd name="connsiteX16024" fmla="*/ 789190 w 8267681"/>
              <a:gd name="connsiteY16024" fmla="*/ 4361640 h 6698675"/>
              <a:gd name="connsiteX16025" fmla="*/ 779790 w 8267681"/>
              <a:gd name="connsiteY16025" fmla="*/ 4359291 h 6698675"/>
              <a:gd name="connsiteX16026" fmla="*/ 785430 w 8267681"/>
              <a:gd name="connsiteY16026" fmla="*/ 4352245 h 6698675"/>
              <a:gd name="connsiteX16027" fmla="*/ 777429 w 8267681"/>
              <a:gd name="connsiteY16027" fmla="*/ 4352245 h 6698675"/>
              <a:gd name="connsiteX16028" fmla="*/ 739852 w 8267681"/>
              <a:gd name="connsiteY16028" fmla="*/ 4347548 h 6698675"/>
              <a:gd name="connsiteX16029" fmla="*/ 718709 w 8267681"/>
              <a:gd name="connsiteY16029" fmla="*/ 4340501 h 6698675"/>
              <a:gd name="connsiteX16030" fmla="*/ 695224 w 8267681"/>
              <a:gd name="connsiteY16030" fmla="*/ 4328757 h 6698675"/>
              <a:gd name="connsiteX16031" fmla="*/ 645898 w 8267681"/>
              <a:gd name="connsiteY16031" fmla="*/ 4281782 h 6698675"/>
              <a:gd name="connsiteX16032" fmla="*/ 636503 w 8267681"/>
              <a:gd name="connsiteY16032" fmla="*/ 4272387 h 6698675"/>
              <a:gd name="connsiteX16033" fmla="*/ 631806 w 8267681"/>
              <a:gd name="connsiteY16033" fmla="*/ 4265340 h 6698675"/>
              <a:gd name="connsiteX16034" fmla="*/ 624761 w 8267681"/>
              <a:gd name="connsiteY16034" fmla="*/ 4258294 h 6698675"/>
              <a:gd name="connsiteX16035" fmla="*/ 624761 w 8267681"/>
              <a:gd name="connsiteY16035" fmla="*/ 4274735 h 6698675"/>
              <a:gd name="connsiteX16036" fmla="*/ 631806 w 8267681"/>
              <a:gd name="connsiteY16036" fmla="*/ 4291177 h 6698675"/>
              <a:gd name="connsiteX16037" fmla="*/ 643548 w 8267681"/>
              <a:gd name="connsiteY16037" fmla="*/ 4312316 h 6698675"/>
              <a:gd name="connsiteX16038" fmla="*/ 655997 w 8267681"/>
              <a:gd name="connsiteY16038" fmla="*/ 4324764 h 6698675"/>
              <a:gd name="connsiteX16039" fmla="*/ 626231 w 8267681"/>
              <a:gd name="connsiteY16039" fmla="*/ 4302627 h 6698675"/>
              <a:gd name="connsiteX16040" fmla="*/ 591875 w 8267681"/>
              <a:gd name="connsiteY16040" fmla="*/ 4244201 h 6698675"/>
              <a:gd name="connsiteX16041" fmla="*/ 594225 w 8267681"/>
              <a:gd name="connsiteY16041" fmla="*/ 4131460 h 6698675"/>
              <a:gd name="connsiteX16042" fmla="*/ 636503 w 8267681"/>
              <a:gd name="connsiteY16042" fmla="*/ 4058648 h 6698675"/>
              <a:gd name="connsiteX16043" fmla="*/ 659991 w 8267681"/>
              <a:gd name="connsiteY16043" fmla="*/ 4032811 h 6698675"/>
              <a:gd name="connsiteX16044" fmla="*/ 683477 w 8267681"/>
              <a:gd name="connsiteY16044" fmla="*/ 4011672 h 6698675"/>
              <a:gd name="connsiteX16045" fmla="*/ 613018 w 8267681"/>
              <a:gd name="connsiteY16045" fmla="*/ 4126762 h 6698675"/>
              <a:gd name="connsiteX16046" fmla="*/ 624761 w 8267681"/>
              <a:gd name="connsiteY16046" fmla="*/ 4150250 h 6698675"/>
              <a:gd name="connsiteX16047" fmla="*/ 643548 w 8267681"/>
              <a:gd name="connsiteY16047" fmla="*/ 4138506 h 6698675"/>
              <a:gd name="connsiteX16048" fmla="*/ 744547 w 8267681"/>
              <a:gd name="connsiteY16048" fmla="*/ 4021067 h 6698675"/>
              <a:gd name="connsiteX16049" fmla="*/ 749244 w 8267681"/>
              <a:gd name="connsiteY16049" fmla="*/ 4018719 h 6698675"/>
              <a:gd name="connsiteX16050" fmla="*/ 749244 w 8267681"/>
              <a:gd name="connsiteY16050" fmla="*/ 4016370 h 6698675"/>
              <a:gd name="connsiteX16051" fmla="*/ 739852 w 8267681"/>
              <a:gd name="connsiteY16051" fmla="*/ 4006975 h 6698675"/>
              <a:gd name="connsiteX16052" fmla="*/ 714012 w 8267681"/>
              <a:gd name="connsiteY16052" fmla="*/ 4014021 h 6698675"/>
              <a:gd name="connsiteX16053" fmla="*/ 725755 w 8267681"/>
              <a:gd name="connsiteY16053" fmla="*/ 4023416 h 6698675"/>
              <a:gd name="connsiteX16054" fmla="*/ 716360 w 8267681"/>
              <a:gd name="connsiteY16054" fmla="*/ 4030462 h 6698675"/>
              <a:gd name="connsiteX16055" fmla="*/ 714012 w 8267681"/>
              <a:gd name="connsiteY16055" fmla="*/ 4023416 h 6698675"/>
              <a:gd name="connsiteX16056" fmla="*/ 685826 w 8267681"/>
              <a:gd name="connsiteY16056" fmla="*/ 4014021 h 6698675"/>
              <a:gd name="connsiteX16057" fmla="*/ 687706 w 8267681"/>
              <a:gd name="connsiteY16057" fmla="*/ 4006504 h 6698675"/>
              <a:gd name="connsiteX16058" fmla="*/ 690524 w 8267681"/>
              <a:gd name="connsiteY16058" fmla="*/ 4004626 h 6698675"/>
              <a:gd name="connsiteX16059" fmla="*/ 695224 w 8267681"/>
              <a:gd name="connsiteY16059" fmla="*/ 3981138 h 6698675"/>
              <a:gd name="connsiteX16060" fmla="*/ 704616 w 8267681"/>
              <a:gd name="connsiteY16060" fmla="*/ 3976440 h 6698675"/>
              <a:gd name="connsiteX16061" fmla="*/ 711666 w 8267681"/>
              <a:gd name="connsiteY16061" fmla="*/ 3981138 h 6698675"/>
              <a:gd name="connsiteX16062" fmla="*/ 711666 w 8267681"/>
              <a:gd name="connsiteY16062" fmla="*/ 3990533 h 6698675"/>
              <a:gd name="connsiteX16063" fmla="*/ 718709 w 8267681"/>
              <a:gd name="connsiteY16063" fmla="*/ 3985835 h 6698675"/>
              <a:gd name="connsiteX16064" fmla="*/ 721059 w 8267681"/>
              <a:gd name="connsiteY16064" fmla="*/ 3985835 h 6698675"/>
              <a:gd name="connsiteX16065" fmla="*/ 749244 w 8267681"/>
              <a:gd name="connsiteY16065" fmla="*/ 3969394 h 6698675"/>
              <a:gd name="connsiteX16066" fmla="*/ 819707 w 8267681"/>
              <a:gd name="connsiteY16066" fmla="*/ 3948255 h 6698675"/>
              <a:gd name="connsiteX16067" fmla="*/ 845543 w 8267681"/>
              <a:gd name="connsiteY16067" fmla="*/ 3948255 h 6698675"/>
              <a:gd name="connsiteX16068" fmla="*/ 838500 w 8267681"/>
              <a:gd name="connsiteY16068" fmla="*/ 3936511 h 6698675"/>
              <a:gd name="connsiteX16069" fmla="*/ 833800 w 8267681"/>
              <a:gd name="connsiteY16069" fmla="*/ 3938860 h 6698675"/>
              <a:gd name="connsiteX16070" fmla="*/ 822057 w 8267681"/>
              <a:gd name="connsiteY16070" fmla="*/ 3934162 h 6698675"/>
              <a:gd name="connsiteX16071" fmla="*/ 817359 w 8267681"/>
              <a:gd name="connsiteY16071" fmla="*/ 3927116 h 6698675"/>
              <a:gd name="connsiteX16072" fmla="*/ 838500 w 8267681"/>
              <a:gd name="connsiteY16072" fmla="*/ 3891884 h 6698675"/>
              <a:gd name="connsiteX16073" fmla="*/ 793872 w 8267681"/>
              <a:gd name="connsiteY16073" fmla="*/ 3903628 h 6698675"/>
              <a:gd name="connsiteX16074" fmla="*/ 784479 w 8267681"/>
              <a:gd name="connsiteY16074" fmla="*/ 3889536 h 6698675"/>
              <a:gd name="connsiteX16075" fmla="*/ 770382 w 8267681"/>
              <a:gd name="connsiteY16075" fmla="*/ 3880140 h 6698675"/>
              <a:gd name="connsiteX16076" fmla="*/ 779779 w 8267681"/>
              <a:gd name="connsiteY16076" fmla="*/ 3870745 h 6698675"/>
              <a:gd name="connsiteX16077" fmla="*/ 772731 w 8267681"/>
              <a:gd name="connsiteY16077" fmla="*/ 3861350 h 6698675"/>
              <a:gd name="connsiteX16078" fmla="*/ 772731 w 8267681"/>
              <a:gd name="connsiteY16078" fmla="*/ 3851955 h 6698675"/>
              <a:gd name="connsiteX16079" fmla="*/ 784479 w 8267681"/>
              <a:gd name="connsiteY16079" fmla="*/ 3842560 h 6698675"/>
              <a:gd name="connsiteX16080" fmla="*/ 800917 w 8267681"/>
              <a:gd name="connsiteY16080" fmla="*/ 3873094 h 6698675"/>
              <a:gd name="connsiteX16081" fmla="*/ 815010 w 8267681"/>
              <a:gd name="connsiteY16081" fmla="*/ 3861350 h 6698675"/>
              <a:gd name="connsiteX16082" fmla="*/ 800917 w 8267681"/>
              <a:gd name="connsiteY16082" fmla="*/ 3840211 h 6698675"/>
              <a:gd name="connsiteX16083" fmla="*/ 793872 w 8267681"/>
              <a:gd name="connsiteY16083" fmla="*/ 3821421 h 6698675"/>
              <a:gd name="connsiteX16084" fmla="*/ 803265 w 8267681"/>
              <a:gd name="connsiteY16084" fmla="*/ 3819072 h 6698675"/>
              <a:gd name="connsiteX16085" fmla="*/ 845543 w 8267681"/>
              <a:gd name="connsiteY16085" fmla="*/ 3844909 h 6698675"/>
              <a:gd name="connsiteX16086" fmla="*/ 836149 w 8267681"/>
              <a:gd name="connsiteY16086" fmla="*/ 3861350 h 6698675"/>
              <a:gd name="connsiteX16087" fmla="*/ 845543 w 8267681"/>
              <a:gd name="connsiteY16087" fmla="*/ 3870745 h 6698675"/>
              <a:gd name="connsiteX16088" fmla="*/ 871380 w 8267681"/>
              <a:gd name="connsiteY16088" fmla="*/ 3854304 h 6698675"/>
              <a:gd name="connsiteX16089" fmla="*/ 850242 w 8267681"/>
              <a:gd name="connsiteY16089" fmla="*/ 3819072 h 6698675"/>
              <a:gd name="connsiteX16090" fmla="*/ 866685 w 8267681"/>
              <a:gd name="connsiteY16090" fmla="*/ 3809677 h 6698675"/>
              <a:gd name="connsiteX16091" fmla="*/ 887821 w 8267681"/>
              <a:gd name="connsiteY16091" fmla="*/ 3830816 h 6698675"/>
              <a:gd name="connsiteX16092" fmla="*/ 883127 w 8267681"/>
              <a:gd name="connsiteY16092" fmla="*/ 3833165 h 6698675"/>
              <a:gd name="connsiteX16093" fmla="*/ 878427 w 8267681"/>
              <a:gd name="connsiteY16093" fmla="*/ 3877792 h 6698675"/>
              <a:gd name="connsiteX16094" fmla="*/ 918355 w 8267681"/>
              <a:gd name="connsiteY16094" fmla="*/ 3901280 h 6698675"/>
              <a:gd name="connsiteX16095" fmla="*/ 913658 w 8267681"/>
              <a:gd name="connsiteY16095" fmla="*/ 3910675 h 6698675"/>
              <a:gd name="connsiteX16096" fmla="*/ 885472 w 8267681"/>
              <a:gd name="connsiteY16096" fmla="*/ 3910675 h 6698675"/>
              <a:gd name="connsiteX16097" fmla="*/ 878427 w 8267681"/>
              <a:gd name="connsiteY16097" fmla="*/ 3920070 h 6698675"/>
              <a:gd name="connsiteX16098" fmla="*/ 887821 w 8267681"/>
              <a:gd name="connsiteY16098" fmla="*/ 3936511 h 6698675"/>
              <a:gd name="connsiteX16099" fmla="*/ 941843 w 8267681"/>
              <a:gd name="connsiteY16099" fmla="*/ 3931814 h 6698675"/>
              <a:gd name="connsiteX16100" fmla="*/ 901914 w 8267681"/>
              <a:gd name="connsiteY16100" fmla="*/ 3943558 h 6698675"/>
              <a:gd name="connsiteX16101" fmla="*/ 908962 w 8267681"/>
              <a:gd name="connsiteY16101" fmla="*/ 3945906 h 6698675"/>
              <a:gd name="connsiteX16102" fmla="*/ 904263 w 8267681"/>
              <a:gd name="connsiteY16102" fmla="*/ 3952953 h 6698675"/>
              <a:gd name="connsiteX16103" fmla="*/ 878427 w 8267681"/>
              <a:gd name="connsiteY16103" fmla="*/ 3955302 h 6698675"/>
              <a:gd name="connsiteX16104" fmla="*/ 892520 w 8267681"/>
              <a:gd name="connsiteY16104" fmla="*/ 3969394 h 6698675"/>
              <a:gd name="connsiteX16105" fmla="*/ 916007 w 8267681"/>
              <a:gd name="connsiteY16105" fmla="*/ 3967046 h 6698675"/>
              <a:gd name="connsiteX16106" fmla="*/ 946380 w 8267681"/>
              <a:gd name="connsiteY16106" fmla="*/ 3962186 h 6698675"/>
              <a:gd name="connsiteX16107" fmla="*/ 946541 w 8267681"/>
              <a:gd name="connsiteY16107" fmla="*/ 3962348 h 6698675"/>
              <a:gd name="connsiteX16108" fmla="*/ 947429 w 8267681"/>
              <a:gd name="connsiteY16108" fmla="*/ 3962018 h 6698675"/>
              <a:gd name="connsiteX16109" fmla="*/ 974727 w 8267681"/>
              <a:gd name="connsiteY16109" fmla="*/ 3957650 h 6698675"/>
              <a:gd name="connsiteX16110" fmla="*/ 962983 w 8267681"/>
              <a:gd name="connsiteY16110" fmla="*/ 3952953 h 6698675"/>
              <a:gd name="connsiteX16111" fmla="*/ 959166 w 8267681"/>
              <a:gd name="connsiteY16111" fmla="*/ 3957650 h 6698675"/>
              <a:gd name="connsiteX16112" fmla="*/ 947429 w 8267681"/>
              <a:gd name="connsiteY16112" fmla="*/ 3962018 h 6698675"/>
              <a:gd name="connsiteX16113" fmla="*/ 946380 w 8267681"/>
              <a:gd name="connsiteY16113" fmla="*/ 3962186 h 6698675"/>
              <a:gd name="connsiteX16114" fmla="*/ 937148 w 8267681"/>
              <a:gd name="connsiteY16114" fmla="*/ 3952953 h 6698675"/>
              <a:gd name="connsiteX16115" fmla="*/ 951240 w 8267681"/>
              <a:gd name="connsiteY16115" fmla="*/ 3905977 h 6698675"/>
              <a:gd name="connsiteX16116" fmla="*/ 946541 w 8267681"/>
              <a:gd name="connsiteY16116" fmla="*/ 3905977 h 6698675"/>
              <a:gd name="connsiteX16117" fmla="*/ 925405 w 8267681"/>
              <a:gd name="connsiteY16117" fmla="*/ 3905977 h 6698675"/>
              <a:gd name="connsiteX16118" fmla="*/ 918355 w 8267681"/>
              <a:gd name="connsiteY16118" fmla="*/ 3896582 h 6698675"/>
              <a:gd name="connsiteX16119" fmla="*/ 941843 w 8267681"/>
              <a:gd name="connsiteY16119" fmla="*/ 3880140 h 6698675"/>
              <a:gd name="connsiteX16120" fmla="*/ 930100 w 8267681"/>
              <a:gd name="connsiteY16120" fmla="*/ 3856653 h 6698675"/>
              <a:gd name="connsiteX16121" fmla="*/ 923055 w 8267681"/>
              <a:gd name="connsiteY16121" fmla="*/ 3861350 h 6698675"/>
              <a:gd name="connsiteX16122" fmla="*/ 927750 w 8267681"/>
              <a:gd name="connsiteY16122" fmla="*/ 3870745 h 6698675"/>
              <a:gd name="connsiteX16123" fmla="*/ 920705 w 8267681"/>
              <a:gd name="connsiteY16123" fmla="*/ 3873094 h 6698675"/>
              <a:gd name="connsiteX16124" fmla="*/ 911313 w 8267681"/>
              <a:gd name="connsiteY16124" fmla="*/ 3877792 h 6698675"/>
              <a:gd name="connsiteX16125" fmla="*/ 899565 w 8267681"/>
              <a:gd name="connsiteY16125" fmla="*/ 3870745 h 6698675"/>
              <a:gd name="connsiteX16126" fmla="*/ 906612 w 8267681"/>
              <a:gd name="connsiteY16126" fmla="*/ 3861350 h 6698675"/>
              <a:gd name="connsiteX16127" fmla="*/ 911313 w 8267681"/>
              <a:gd name="connsiteY16127" fmla="*/ 3851955 h 6698675"/>
              <a:gd name="connsiteX16128" fmla="*/ 887821 w 8267681"/>
              <a:gd name="connsiteY16128" fmla="*/ 3830816 h 6698675"/>
              <a:gd name="connsiteX16129" fmla="*/ 904263 w 8267681"/>
              <a:gd name="connsiteY16129" fmla="*/ 3812026 h 6698675"/>
              <a:gd name="connsiteX16130" fmla="*/ 920705 w 8267681"/>
              <a:gd name="connsiteY16130" fmla="*/ 3823770 h 6698675"/>
              <a:gd name="connsiteX16131" fmla="*/ 930100 w 8267681"/>
              <a:gd name="connsiteY16131" fmla="*/ 3812026 h 6698675"/>
              <a:gd name="connsiteX16132" fmla="*/ 948890 w 8267681"/>
              <a:gd name="connsiteY16132" fmla="*/ 3826119 h 6698675"/>
              <a:gd name="connsiteX16133" fmla="*/ 937148 w 8267681"/>
              <a:gd name="connsiteY16133" fmla="*/ 3844909 h 6698675"/>
              <a:gd name="connsiteX16134" fmla="*/ 962983 w 8267681"/>
              <a:gd name="connsiteY16134" fmla="*/ 3830816 h 6698675"/>
              <a:gd name="connsiteX16135" fmla="*/ 970028 w 8267681"/>
              <a:gd name="connsiteY16135" fmla="*/ 3854304 h 6698675"/>
              <a:gd name="connsiteX16136" fmla="*/ 974727 w 8267681"/>
              <a:gd name="connsiteY16136" fmla="*/ 3859002 h 6698675"/>
              <a:gd name="connsiteX16137" fmla="*/ 960634 w 8267681"/>
              <a:gd name="connsiteY16137" fmla="*/ 3910675 h 6698675"/>
              <a:gd name="connsiteX16138" fmla="*/ 967683 w 8267681"/>
              <a:gd name="connsiteY16138" fmla="*/ 3917721 h 6698675"/>
              <a:gd name="connsiteX16139" fmla="*/ 984126 w 8267681"/>
              <a:gd name="connsiteY16139" fmla="*/ 3915372 h 6698675"/>
              <a:gd name="connsiteX16140" fmla="*/ 986470 w 8267681"/>
              <a:gd name="connsiteY16140" fmla="*/ 3920070 h 6698675"/>
              <a:gd name="connsiteX16141" fmla="*/ 974727 w 8267681"/>
              <a:gd name="connsiteY16141" fmla="*/ 3929465 h 6698675"/>
              <a:gd name="connsiteX16142" fmla="*/ 1002912 w 8267681"/>
              <a:gd name="connsiteY16142" fmla="*/ 3952953 h 6698675"/>
              <a:gd name="connsiteX16143" fmla="*/ 1014655 w 8267681"/>
              <a:gd name="connsiteY16143" fmla="*/ 3948255 h 6698675"/>
              <a:gd name="connsiteX16144" fmla="*/ 1024053 w 8267681"/>
              <a:gd name="connsiteY16144" fmla="*/ 3941209 h 6698675"/>
              <a:gd name="connsiteX16145" fmla="*/ 1028748 w 8267681"/>
              <a:gd name="connsiteY16145" fmla="*/ 3941209 h 6698675"/>
              <a:gd name="connsiteX16146" fmla="*/ 1047539 w 8267681"/>
              <a:gd name="connsiteY16146" fmla="*/ 3931814 h 6698675"/>
              <a:gd name="connsiteX16147" fmla="*/ 1047539 w 8267681"/>
              <a:gd name="connsiteY16147" fmla="*/ 3922418 h 6698675"/>
              <a:gd name="connsiteX16148" fmla="*/ 1040496 w 8267681"/>
              <a:gd name="connsiteY16148" fmla="*/ 3917721 h 6698675"/>
              <a:gd name="connsiteX16149" fmla="*/ 1031098 w 8267681"/>
              <a:gd name="connsiteY16149" fmla="*/ 3929465 h 6698675"/>
              <a:gd name="connsiteX16150" fmla="*/ 1021703 w 8267681"/>
              <a:gd name="connsiteY16150" fmla="*/ 3931814 h 6698675"/>
              <a:gd name="connsiteX16151" fmla="*/ 1007610 w 8267681"/>
              <a:gd name="connsiteY16151" fmla="*/ 3889536 h 6698675"/>
              <a:gd name="connsiteX16152" fmla="*/ 988819 w 8267681"/>
              <a:gd name="connsiteY16152" fmla="*/ 3903628 h 6698675"/>
              <a:gd name="connsiteX16153" fmla="*/ 979425 w 8267681"/>
              <a:gd name="connsiteY16153" fmla="*/ 3894233 h 6698675"/>
              <a:gd name="connsiteX16154" fmla="*/ 1005260 w 8267681"/>
              <a:gd name="connsiteY16154" fmla="*/ 3856653 h 6698675"/>
              <a:gd name="connsiteX16155" fmla="*/ 1014655 w 8267681"/>
              <a:gd name="connsiteY16155" fmla="*/ 3859002 h 6698675"/>
              <a:gd name="connsiteX16156" fmla="*/ 1028748 w 8267681"/>
              <a:gd name="connsiteY16156" fmla="*/ 3835514 h 6698675"/>
              <a:gd name="connsiteX16157" fmla="*/ 1019354 w 8267681"/>
              <a:gd name="connsiteY16157" fmla="*/ 3819072 h 6698675"/>
              <a:gd name="connsiteX16158" fmla="*/ 1024053 w 8267681"/>
              <a:gd name="connsiteY16158" fmla="*/ 3809677 h 6698675"/>
              <a:gd name="connsiteX16159" fmla="*/ 1040496 w 8267681"/>
              <a:gd name="connsiteY16159" fmla="*/ 3809677 h 6698675"/>
              <a:gd name="connsiteX16160" fmla="*/ 1059282 w 8267681"/>
              <a:gd name="connsiteY16160" fmla="*/ 3816723 h 6698675"/>
              <a:gd name="connsiteX16161" fmla="*/ 1049888 w 8267681"/>
              <a:gd name="connsiteY16161" fmla="*/ 3835514 h 6698675"/>
              <a:gd name="connsiteX16162" fmla="*/ 1080423 w 8267681"/>
              <a:gd name="connsiteY16162" fmla="*/ 3851955 h 6698675"/>
              <a:gd name="connsiteX16163" fmla="*/ 1085119 w 8267681"/>
              <a:gd name="connsiteY16163" fmla="*/ 3833165 h 6698675"/>
              <a:gd name="connsiteX16164" fmla="*/ 1075724 w 8267681"/>
              <a:gd name="connsiteY16164" fmla="*/ 3816723 h 6698675"/>
              <a:gd name="connsiteX16165" fmla="*/ 1092166 w 8267681"/>
              <a:gd name="connsiteY16165" fmla="*/ 3816723 h 6698675"/>
              <a:gd name="connsiteX16166" fmla="*/ 1118002 w 8267681"/>
              <a:gd name="connsiteY16166" fmla="*/ 3790887 h 6698675"/>
              <a:gd name="connsiteX16167" fmla="*/ 1136794 w 8267681"/>
              <a:gd name="connsiteY16167" fmla="*/ 3800282 h 6698675"/>
              <a:gd name="connsiteX16168" fmla="*/ 1169679 w 8267681"/>
              <a:gd name="connsiteY16168" fmla="*/ 3762701 h 6698675"/>
              <a:gd name="connsiteX16169" fmla="*/ 1179071 w 8267681"/>
              <a:gd name="connsiteY16169" fmla="*/ 3758004 h 6698675"/>
              <a:gd name="connsiteX16170" fmla="*/ 1195514 w 8267681"/>
              <a:gd name="connsiteY16170" fmla="*/ 3781492 h 6698675"/>
              <a:gd name="connsiteX16171" fmla="*/ 1202558 w 8267681"/>
              <a:gd name="connsiteY16171" fmla="*/ 3774445 h 6698675"/>
              <a:gd name="connsiteX16172" fmla="*/ 1218999 w 8267681"/>
              <a:gd name="connsiteY16172" fmla="*/ 3767399 h 6698675"/>
              <a:gd name="connsiteX16173" fmla="*/ 1179071 w 8267681"/>
              <a:gd name="connsiteY16173" fmla="*/ 3729819 h 6698675"/>
              <a:gd name="connsiteX16174" fmla="*/ 1186117 w 8267681"/>
              <a:gd name="connsiteY16174" fmla="*/ 3718075 h 6698675"/>
              <a:gd name="connsiteX16175" fmla="*/ 1202558 w 8267681"/>
              <a:gd name="connsiteY16175" fmla="*/ 3711028 h 6698675"/>
              <a:gd name="connsiteX16176" fmla="*/ 1216650 w 8267681"/>
              <a:gd name="connsiteY16176" fmla="*/ 3696936 h 6698675"/>
              <a:gd name="connsiteX16177" fmla="*/ 1186117 w 8267681"/>
              <a:gd name="connsiteY16177" fmla="*/ 3680494 h 6698675"/>
              <a:gd name="connsiteX16178" fmla="*/ 1204906 w 8267681"/>
              <a:gd name="connsiteY16178" fmla="*/ 3668750 h 6698675"/>
              <a:gd name="connsiteX16179" fmla="*/ 1214301 w 8267681"/>
              <a:gd name="connsiteY16179" fmla="*/ 3668750 h 6698675"/>
              <a:gd name="connsiteX16180" fmla="*/ 1223699 w 8267681"/>
              <a:gd name="connsiteY16180" fmla="*/ 3647611 h 6698675"/>
              <a:gd name="connsiteX16181" fmla="*/ 1188465 w 8267681"/>
              <a:gd name="connsiteY16181" fmla="*/ 3640565 h 6698675"/>
              <a:gd name="connsiteX16182" fmla="*/ 1195514 w 8267681"/>
              <a:gd name="connsiteY16182" fmla="*/ 3598287 h 6698675"/>
              <a:gd name="connsiteX16183" fmla="*/ 1202558 w 8267681"/>
              <a:gd name="connsiteY16183" fmla="*/ 3588892 h 6698675"/>
              <a:gd name="connsiteX16184" fmla="*/ 1195514 w 8267681"/>
              <a:gd name="connsiteY16184" fmla="*/ 3579497 h 6698675"/>
              <a:gd name="connsiteX16185" fmla="*/ 1186117 w 8267681"/>
              <a:gd name="connsiteY16185" fmla="*/ 3560707 h 6698675"/>
              <a:gd name="connsiteX16186" fmla="*/ 1160280 w 8267681"/>
              <a:gd name="connsiteY16186" fmla="*/ 3574799 h 6698675"/>
              <a:gd name="connsiteX16187" fmla="*/ 1134444 w 8267681"/>
              <a:gd name="connsiteY16187" fmla="*/ 3530173 h 6698675"/>
              <a:gd name="connsiteX16188" fmla="*/ 1125051 w 8267681"/>
              <a:gd name="connsiteY16188" fmla="*/ 3525475 h 6698675"/>
              <a:gd name="connsiteX16189" fmla="*/ 1113305 w 8267681"/>
              <a:gd name="connsiteY16189" fmla="*/ 3541916 h 6698675"/>
              <a:gd name="connsiteX16190" fmla="*/ 1122701 w 8267681"/>
              <a:gd name="connsiteY16190" fmla="*/ 3551311 h 6698675"/>
              <a:gd name="connsiteX16191" fmla="*/ 1115654 w 8267681"/>
              <a:gd name="connsiteY16191" fmla="*/ 3574799 h 6698675"/>
              <a:gd name="connsiteX16192" fmla="*/ 1103909 w 8267681"/>
              <a:gd name="connsiteY16192" fmla="*/ 3567753 h 6698675"/>
              <a:gd name="connsiteX16193" fmla="*/ 1092166 w 8267681"/>
              <a:gd name="connsiteY16193" fmla="*/ 3553660 h 6698675"/>
              <a:gd name="connsiteX16194" fmla="*/ 1075724 w 8267681"/>
              <a:gd name="connsiteY16194" fmla="*/ 3574799 h 6698675"/>
              <a:gd name="connsiteX16195" fmla="*/ 1049888 w 8267681"/>
              <a:gd name="connsiteY16195" fmla="*/ 3570102 h 6698675"/>
              <a:gd name="connsiteX16196" fmla="*/ 1024053 w 8267681"/>
              <a:gd name="connsiteY16196" fmla="*/ 3607682 h 6698675"/>
              <a:gd name="connsiteX16197" fmla="*/ 1017005 w 8267681"/>
              <a:gd name="connsiteY16197" fmla="*/ 3584195 h 6698675"/>
              <a:gd name="connsiteX16198" fmla="*/ 991168 w 8267681"/>
              <a:gd name="connsiteY16198" fmla="*/ 3605333 h 6698675"/>
              <a:gd name="connsiteX16199" fmla="*/ 984905 w 8267681"/>
              <a:gd name="connsiteY16199" fmla="*/ 3600636 h 6698675"/>
              <a:gd name="connsiteX16200" fmla="*/ 986470 w 8267681"/>
              <a:gd name="connsiteY16200" fmla="*/ 3600636 h 6698675"/>
              <a:gd name="connsiteX16201" fmla="*/ 988819 w 8267681"/>
              <a:gd name="connsiteY16201" fmla="*/ 3591241 h 6698675"/>
              <a:gd name="connsiteX16202" fmla="*/ 986470 w 8267681"/>
              <a:gd name="connsiteY16202" fmla="*/ 3591241 h 6698675"/>
              <a:gd name="connsiteX16203" fmla="*/ 977076 w 8267681"/>
              <a:gd name="connsiteY16203" fmla="*/ 3588892 h 6698675"/>
              <a:gd name="connsiteX16204" fmla="*/ 974727 w 8267681"/>
              <a:gd name="connsiteY16204" fmla="*/ 3591241 h 6698675"/>
              <a:gd name="connsiteX16205" fmla="*/ 974727 w 8267681"/>
              <a:gd name="connsiteY16205" fmla="*/ 3600636 h 6698675"/>
              <a:gd name="connsiteX16206" fmla="*/ 977076 w 8267681"/>
              <a:gd name="connsiteY16206" fmla="*/ 3600636 h 6698675"/>
              <a:gd name="connsiteX16207" fmla="*/ 981265 w 8267681"/>
              <a:gd name="connsiteY16207" fmla="*/ 3600636 h 6698675"/>
              <a:gd name="connsiteX16208" fmla="*/ 962983 w 8267681"/>
              <a:gd name="connsiteY16208" fmla="*/ 3685192 h 6698675"/>
              <a:gd name="connsiteX16209" fmla="*/ 930100 w 8267681"/>
              <a:gd name="connsiteY16209" fmla="*/ 3628821 h 6698675"/>
              <a:gd name="connsiteX16210" fmla="*/ 925696 w 8267681"/>
              <a:gd name="connsiteY16210" fmla="*/ 3636748 h 6698675"/>
              <a:gd name="connsiteX16211" fmla="*/ 922160 w 8267681"/>
              <a:gd name="connsiteY16211" fmla="*/ 3641028 h 6698675"/>
              <a:gd name="connsiteX16212" fmla="*/ 908962 w 8267681"/>
              <a:gd name="connsiteY16212" fmla="*/ 3642914 h 6698675"/>
              <a:gd name="connsiteX16213" fmla="*/ 920602 w 8267681"/>
              <a:gd name="connsiteY16213" fmla="*/ 3642914 h 6698675"/>
              <a:gd name="connsiteX16214" fmla="*/ 908962 w 8267681"/>
              <a:gd name="connsiteY16214" fmla="*/ 3657006 h 6698675"/>
              <a:gd name="connsiteX16215" fmla="*/ 913658 w 8267681"/>
              <a:gd name="connsiteY16215" fmla="*/ 3661704 h 6698675"/>
              <a:gd name="connsiteX16216" fmla="*/ 913658 w 8267681"/>
              <a:gd name="connsiteY16216" fmla="*/ 3675797 h 6698675"/>
              <a:gd name="connsiteX16217" fmla="*/ 908962 w 8267681"/>
              <a:gd name="connsiteY16217" fmla="*/ 3666402 h 6698675"/>
              <a:gd name="connsiteX16218" fmla="*/ 897220 w 8267681"/>
              <a:gd name="connsiteY16218" fmla="*/ 3666402 h 6698675"/>
              <a:gd name="connsiteX16219" fmla="*/ 887821 w 8267681"/>
              <a:gd name="connsiteY16219" fmla="*/ 3692238 h 6698675"/>
              <a:gd name="connsiteX16220" fmla="*/ 890170 w 8267681"/>
              <a:gd name="connsiteY16220" fmla="*/ 3694587 h 6698675"/>
              <a:gd name="connsiteX16221" fmla="*/ 899565 w 8267681"/>
              <a:gd name="connsiteY16221" fmla="*/ 3699285 h 6698675"/>
              <a:gd name="connsiteX16222" fmla="*/ 869035 w 8267681"/>
              <a:gd name="connsiteY16222" fmla="*/ 3725121 h 6698675"/>
              <a:gd name="connsiteX16223" fmla="*/ 871380 w 8267681"/>
              <a:gd name="connsiteY16223" fmla="*/ 3734516 h 6698675"/>
              <a:gd name="connsiteX16224" fmla="*/ 871380 w 8267681"/>
              <a:gd name="connsiteY16224" fmla="*/ 3743912 h 6698675"/>
              <a:gd name="connsiteX16225" fmla="*/ 765686 w 8267681"/>
              <a:gd name="connsiteY16225" fmla="*/ 3739214 h 6698675"/>
              <a:gd name="connsiteX16226" fmla="*/ 763336 w 8267681"/>
              <a:gd name="connsiteY16226" fmla="*/ 3741563 h 6698675"/>
              <a:gd name="connsiteX16227" fmla="*/ 765686 w 8267681"/>
              <a:gd name="connsiteY16227" fmla="*/ 3750958 h 6698675"/>
              <a:gd name="connsiteX16228" fmla="*/ 758638 w 8267681"/>
              <a:gd name="connsiteY16228" fmla="*/ 3755655 h 6698675"/>
              <a:gd name="connsiteX16229" fmla="*/ 732802 w 8267681"/>
              <a:gd name="connsiteY16229" fmla="*/ 3734516 h 6698675"/>
              <a:gd name="connsiteX16230" fmla="*/ 721059 w 8267681"/>
              <a:gd name="connsiteY16230" fmla="*/ 3743912 h 6698675"/>
              <a:gd name="connsiteX16231" fmla="*/ 721059 w 8267681"/>
              <a:gd name="connsiteY16231" fmla="*/ 3734516 h 6698675"/>
              <a:gd name="connsiteX16232" fmla="*/ 714012 w 8267681"/>
              <a:gd name="connsiteY16232" fmla="*/ 3732168 h 6698675"/>
              <a:gd name="connsiteX16233" fmla="*/ 681131 w 8267681"/>
              <a:gd name="connsiteY16233" fmla="*/ 3741563 h 6698675"/>
              <a:gd name="connsiteX16234" fmla="*/ 676431 w 8267681"/>
              <a:gd name="connsiteY16234" fmla="*/ 3734516 h 6698675"/>
              <a:gd name="connsiteX16235" fmla="*/ 688176 w 8267681"/>
              <a:gd name="connsiteY16235" fmla="*/ 3708680 h 6698675"/>
              <a:gd name="connsiteX16236" fmla="*/ 681131 w 8267681"/>
              <a:gd name="connsiteY16236" fmla="*/ 3701633 h 6698675"/>
              <a:gd name="connsiteX16237" fmla="*/ 671734 w 8267681"/>
              <a:gd name="connsiteY16237" fmla="*/ 3715726 h 6698675"/>
              <a:gd name="connsiteX16238" fmla="*/ 645898 w 8267681"/>
              <a:gd name="connsiteY16238" fmla="*/ 3713377 h 6698675"/>
              <a:gd name="connsiteX16239" fmla="*/ 645898 w 8267681"/>
              <a:gd name="connsiteY16239" fmla="*/ 3715726 h 6698675"/>
              <a:gd name="connsiteX16240" fmla="*/ 650596 w 8267681"/>
              <a:gd name="connsiteY16240" fmla="*/ 3732168 h 6698675"/>
              <a:gd name="connsiteX16241" fmla="*/ 645898 w 8267681"/>
              <a:gd name="connsiteY16241" fmla="*/ 3753307 h 6698675"/>
              <a:gd name="connsiteX16242" fmla="*/ 629456 w 8267681"/>
              <a:gd name="connsiteY16242" fmla="*/ 3748609 h 6698675"/>
              <a:gd name="connsiteX16243" fmla="*/ 631806 w 8267681"/>
              <a:gd name="connsiteY16243" fmla="*/ 3741563 h 6698675"/>
              <a:gd name="connsiteX16244" fmla="*/ 615363 w 8267681"/>
              <a:gd name="connsiteY16244" fmla="*/ 3725121 h 6698675"/>
              <a:gd name="connsiteX16245" fmla="*/ 624761 w 8267681"/>
              <a:gd name="connsiteY16245" fmla="*/ 3715726 h 6698675"/>
              <a:gd name="connsiteX16246" fmla="*/ 613018 w 8267681"/>
              <a:gd name="connsiteY16246" fmla="*/ 3689890 h 6698675"/>
              <a:gd name="connsiteX16247" fmla="*/ 613018 w 8267681"/>
              <a:gd name="connsiteY16247" fmla="*/ 3711028 h 6698675"/>
              <a:gd name="connsiteX16248" fmla="*/ 617713 w 8267681"/>
              <a:gd name="connsiteY16248" fmla="*/ 3715726 h 6698675"/>
              <a:gd name="connsiteX16249" fmla="*/ 613018 w 8267681"/>
              <a:gd name="connsiteY16249" fmla="*/ 3720424 h 6698675"/>
              <a:gd name="connsiteX16250" fmla="*/ 589527 w 8267681"/>
              <a:gd name="connsiteY16250" fmla="*/ 3722772 h 6698675"/>
              <a:gd name="connsiteX16251" fmla="*/ 591875 w 8267681"/>
              <a:gd name="connsiteY16251" fmla="*/ 3718075 h 6698675"/>
              <a:gd name="connsiteX16252" fmla="*/ 568391 w 8267681"/>
              <a:gd name="connsiteY16252" fmla="*/ 3692238 h 6698675"/>
              <a:gd name="connsiteX16253" fmla="*/ 568391 w 8267681"/>
              <a:gd name="connsiteY16253" fmla="*/ 3678146 h 6698675"/>
              <a:gd name="connsiteX16254" fmla="*/ 566040 w 8267681"/>
              <a:gd name="connsiteY16254" fmla="*/ 3675797 h 6698675"/>
              <a:gd name="connsiteX16255" fmla="*/ 566040 w 8267681"/>
              <a:gd name="connsiteY16255" fmla="*/ 3652309 h 6698675"/>
              <a:gd name="connsiteX16256" fmla="*/ 575435 w 8267681"/>
              <a:gd name="connsiteY16256" fmla="*/ 3659355 h 6698675"/>
              <a:gd name="connsiteX16257" fmla="*/ 591875 w 8267681"/>
              <a:gd name="connsiteY16257" fmla="*/ 3647611 h 6698675"/>
              <a:gd name="connsiteX16258" fmla="*/ 601270 w 8267681"/>
              <a:gd name="connsiteY16258" fmla="*/ 3654658 h 6698675"/>
              <a:gd name="connsiteX16259" fmla="*/ 608318 w 8267681"/>
              <a:gd name="connsiteY16259" fmla="*/ 3645263 h 6698675"/>
              <a:gd name="connsiteX16260" fmla="*/ 601270 w 8267681"/>
              <a:gd name="connsiteY16260" fmla="*/ 3633519 h 6698675"/>
              <a:gd name="connsiteX16261" fmla="*/ 584833 w 8267681"/>
              <a:gd name="connsiteY16261" fmla="*/ 3645263 h 6698675"/>
              <a:gd name="connsiteX16262" fmla="*/ 563691 w 8267681"/>
              <a:gd name="connsiteY16262" fmla="*/ 3628821 h 6698675"/>
              <a:gd name="connsiteX16263" fmla="*/ 566040 w 8267681"/>
              <a:gd name="connsiteY16263" fmla="*/ 3619426 h 6698675"/>
              <a:gd name="connsiteX16264" fmla="*/ 561342 w 8267681"/>
              <a:gd name="connsiteY16264" fmla="*/ 3614729 h 6698675"/>
              <a:gd name="connsiteX16265" fmla="*/ 547249 w 8267681"/>
              <a:gd name="connsiteY16265" fmla="*/ 3628821 h 6698675"/>
              <a:gd name="connsiteX16266" fmla="*/ 542556 w 8267681"/>
              <a:gd name="connsiteY16266" fmla="*/ 3633519 h 6698675"/>
              <a:gd name="connsiteX16267" fmla="*/ 526113 w 8267681"/>
              <a:gd name="connsiteY16267" fmla="*/ 3626473 h 6698675"/>
              <a:gd name="connsiteX16268" fmla="*/ 542556 w 8267681"/>
              <a:gd name="connsiteY16268" fmla="*/ 3649960 h 6698675"/>
              <a:gd name="connsiteX16269" fmla="*/ 549598 w 8267681"/>
              <a:gd name="connsiteY16269" fmla="*/ 3699285 h 6698675"/>
              <a:gd name="connsiteX16270" fmla="*/ 523763 w 8267681"/>
              <a:gd name="connsiteY16270" fmla="*/ 3708680 h 6698675"/>
              <a:gd name="connsiteX16271" fmla="*/ 530808 w 8267681"/>
              <a:gd name="connsiteY16271" fmla="*/ 3664053 h 6698675"/>
              <a:gd name="connsiteX16272" fmla="*/ 523763 w 8267681"/>
              <a:gd name="connsiteY16272" fmla="*/ 3659355 h 6698675"/>
              <a:gd name="connsiteX16273" fmla="*/ 488530 w 8267681"/>
              <a:gd name="connsiteY16273" fmla="*/ 3699285 h 6698675"/>
              <a:gd name="connsiteX16274" fmla="*/ 472088 w 8267681"/>
              <a:gd name="connsiteY16274" fmla="*/ 3694587 h 6698675"/>
              <a:gd name="connsiteX16275" fmla="*/ 469743 w 8267681"/>
              <a:gd name="connsiteY16275" fmla="*/ 3652309 h 6698675"/>
              <a:gd name="connsiteX16276" fmla="*/ 455650 w 8267681"/>
              <a:gd name="connsiteY16276" fmla="*/ 3635868 h 6698675"/>
              <a:gd name="connsiteX16277" fmla="*/ 476786 w 8267681"/>
              <a:gd name="connsiteY16277" fmla="*/ 3626473 h 6698675"/>
              <a:gd name="connsiteX16278" fmla="*/ 476786 w 8267681"/>
              <a:gd name="connsiteY16278" fmla="*/ 3617077 h 6698675"/>
              <a:gd name="connsiteX16279" fmla="*/ 490879 w 8267681"/>
              <a:gd name="connsiteY16279" fmla="*/ 3607682 h 6698675"/>
              <a:gd name="connsiteX16280" fmla="*/ 483835 w 8267681"/>
              <a:gd name="connsiteY16280" fmla="*/ 3579497 h 6698675"/>
              <a:gd name="connsiteX16281" fmla="*/ 476786 w 8267681"/>
              <a:gd name="connsiteY16281" fmla="*/ 3598287 h 6698675"/>
              <a:gd name="connsiteX16282" fmla="*/ 462693 w 8267681"/>
              <a:gd name="connsiteY16282" fmla="*/ 3572451 h 6698675"/>
              <a:gd name="connsiteX16283" fmla="*/ 476786 w 8267681"/>
              <a:gd name="connsiteY16283" fmla="*/ 3563055 h 6698675"/>
              <a:gd name="connsiteX16284" fmla="*/ 481485 w 8267681"/>
              <a:gd name="connsiteY16284" fmla="*/ 3556009 h 6698675"/>
              <a:gd name="connsiteX16285" fmla="*/ 479135 w 8267681"/>
              <a:gd name="connsiteY16285" fmla="*/ 3546614 h 6698675"/>
              <a:gd name="connsiteX16286" fmla="*/ 465042 w 8267681"/>
              <a:gd name="connsiteY16286" fmla="*/ 3546614 h 6698675"/>
              <a:gd name="connsiteX16287" fmla="*/ 458000 w 8267681"/>
              <a:gd name="connsiteY16287" fmla="*/ 3551311 h 6698675"/>
              <a:gd name="connsiteX16288" fmla="*/ 436857 w 8267681"/>
              <a:gd name="connsiteY16288" fmla="*/ 3539567 h 6698675"/>
              <a:gd name="connsiteX16289" fmla="*/ 476786 w 8267681"/>
              <a:gd name="connsiteY16289" fmla="*/ 3523126 h 6698675"/>
              <a:gd name="connsiteX16290" fmla="*/ 483835 w 8267681"/>
              <a:gd name="connsiteY16290" fmla="*/ 3532521 h 6698675"/>
              <a:gd name="connsiteX16291" fmla="*/ 500278 w 8267681"/>
              <a:gd name="connsiteY16291" fmla="*/ 3527824 h 6698675"/>
              <a:gd name="connsiteX16292" fmla="*/ 502623 w 8267681"/>
              <a:gd name="connsiteY16292" fmla="*/ 3525475 h 6698675"/>
              <a:gd name="connsiteX16293" fmla="*/ 500278 w 8267681"/>
              <a:gd name="connsiteY16293" fmla="*/ 3523126 h 6698675"/>
              <a:gd name="connsiteX16294" fmla="*/ 490879 w 8267681"/>
              <a:gd name="connsiteY16294" fmla="*/ 3525475 h 6698675"/>
              <a:gd name="connsiteX16295" fmla="*/ 465042 w 8267681"/>
              <a:gd name="connsiteY16295" fmla="*/ 3499638 h 6698675"/>
              <a:gd name="connsiteX16296" fmla="*/ 458000 w 8267681"/>
              <a:gd name="connsiteY16296" fmla="*/ 3516080 h 6698675"/>
              <a:gd name="connsiteX16297" fmla="*/ 441557 w 8267681"/>
              <a:gd name="connsiteY16297" fmla="*/ 3511382 h 6698675"/>
              <a:gd name="connsiteX16298" fmla="*/ 439216 w 8267681"/>
              <a:gd name="connsiteY16298" fmla="*/ 3512942 h 6698675"/>
              <a:gd name="connsiteX16299" fmla="*/ 443917 w 8267681"/>
              <a:gd name="connsiteY16299" fmla="*/ 3516079 h 6698675"/>
              <a:gd name="connsiteX16300" fmla="*/ 439220 w 8267681"/>
              <a:gd name="connsiteY16300" fmla="*/ 3525474 h 6698675"/>
              <a:gd name="connsiteX16301" fmla="*/ 436874 w 8267681"/>
              <a:gd name="connsiteY16301" fmla="*/ 3527822 h 6698675"/>
              <a:gd name="connsiteX16302" fmla="*/ 432174 w 8267681"/>
              <a:gd name="connsiteY16302" fmla="*/ 3525474 h 6698675"/>
              <a:gd name="connsiteX16303" fmla="*/ 432174 w 8267681"/>
              <a:gd name="connsiteY16303" fmla="*/ 3520747 h 6698675"/>
              <a:gd name="connsiteX16304" fmla="*/ 432159 w 8267681"/>
              <a:gd name="connsiteY16304" fmla="*/ 3520778 h 6698675"/>
              <a:gd name="connsiteX16305" fmla="*/ 401625 w 8267681"/>
              <a:gd name="connsiteY16305" fmla="*/ 3497290 h 6698675"/>
              <a:gd name="connsiteX16306" fmla="*/ 407561 w 8267681"/>
              <a:gd name="connsiteY16306" fmla="*/ 3485702 h 6698675"/>
              <a:gd name="connsiteX16307" fmla="*/ 399291 w 8267681"/>
              <a:gd name="connsiteY16307" fmla="*/ 3492592 h 6698675"/>
              <a:gd name="connsiteX16308" fmla="*/ 373456 w 8267681"/>
              <a:gd name="connsiteY16308" fmla="*/ 3466756 h 6698675"/>
              <a:gd name="connsiteX16309" fmla="*/ 364062 w 8267681"/>
              <a:gd name="connsiteY16309" fmla="*/ 3471453 h 6698675"/>
              <a:gd name="connsiteX16310" fmla="*/ 361714 w 8267681"/>
              <a:gd name="connsiteY16310" fmla="*/ 3487894 h 6698675"/>
              <a:gd name="connsiteX16311" fmla="*/ 359363 w 8267681"/>
              <a:gd name="connsiteY16311" fmla="*/ 3497290 h 6698675"/>
              <a:gd name="connsiteX16312" fmla="*/ 380504 w 8267681"/>
              <a:gd name="connsiteY16312" fmla="*/ 3513731 h 6698675"/>
              <a:gd name="connsiteX16313" fmla="*/ 403989 w 8267681"/>
              <a:gd name="connsiteY16313" fmla="*/ 3501987 h 6698675"/>
              <a:gd name="connsiteX16314" fmla="*/ 411039 w 8267681"/>
              <a:gd name="connsiteY16314" fmla="*/ 3506685 h 6698675"/>
              <a:gd name="connsiteX16315" fmla="*/ 406339 w 8267681"/>
              <a:gd name="connsiteY16315" fmla="*/ 3516080 h 6698675"/>
              <a:gd name="connsiteX16316" fmla="*/ 411039 w 8267681"/>
              <a:gd name="connsiteY16316" fmla="*/ 3523126 h 6698675"/>
              <a:gd name="connsiteX16317" fmla="*/ 420431 w 8267681"/>
              <a:gd name="connsiteY16317" fmla="*/ 3523126 h 6698675"/>
              <a:gd name="connsiteX16318" fmla="*/ 434525 w 8267681"/>
              <a:gd name="connsiteY16318" fmla="*/ 3567753 h 6698675"/>
              <a:gd name="connsiteX16319" fmla="*/ 450967 w 8267681"/>
              <a:gd name="connsiteY16319" fmla="*/ 3577148 h 6698675"/>
              <a:gd name="connsiteX16320" fmla="*/ 422782 w 8267681"/>
              <a:gd name="connsiteY16320" fmla="*/ 3586543 h 6698675"/>
              <a:gd name="connsiteX16321" fmla="*/ 413389 w 8267681"/>
              <a:gd name="connsiteY16321" fmla="*/ 3584194 h 6698675"/>
              <a:gd name="connsiteX16322" fmla="*/ 396941 w 8267681"/>
              <a:gd name="connsiteY16322" fmla="*/ 3595938 h 6698675"/>
              <a:gd name="connsiteX16323" fmla="*/ 371112 w 8267681"/>
              <a:gd name="connsiteY16323" fmla="*/ 3579497 h 6698675"/>
              <a:gd name="connsiteX16324" fmla="*/ 361714 w 8267681"/>
              <a:gd name="connsiteY16324" fmla="*/ 3581846 h 6698675"/>
              <a:gd name="connsiteX16325" fmla="*/ 354669 w 8267681"/>
              <a:gd name="connsiteY16325" fmla="*/ 3560707 h 6698675"/>
              <a:gd name="connsiteX16326" fmla="*/ 349970 w 8267681"/>
              <a:gd name="connsiteY16326" fmla="*/ 3565404 h 6698675"/>
              <a:gd name="connsiteX16327" fmla="*/ 345271 w 8267681"/>
              <a:gd name="connsiteY16327" fmla="*/ 3588892 h 6698675"/>
              <a:gd name="connsiteX16328" fmla="*/ 335876 w 8267681"/>
              <a:gd name="connsiteY16328" fmla="*/ 3584194 h 6698675"/>
              <a:gd name="connsiteX16329" fmla="*/ 340576 w 8267681"/>
              <a:gd name="connsiteY16329" fmla="*/ 3565404 h 6698675"/>
              <a:gd name="connsiteX16330" fmla="*/ 314736 w 8267681"/>
              <a:gd name="connsiteY16330" fmla="*/ 3539567 h 6698675"/>
              <a:gd name="connsiteX16331" fmla="*/ 319434 w 8267681"/>
              <a:gd name="connsiteY16331" fmla="*/ 3525475 h 6698675"/>
              <a:gd name="connsiteX16332" fmla="*/ 302992 w 8267681"/>
              <a:gd name="connsiteY16332" fmla="*/ 3516080 h 6698675"/>
              <a:gd name="connsiteX16333" fmla="*/ 279506 w 8267681"/>
              <a:gd name="connsiteY16333" fmla="*/ 3530172 h 6698675"/>
              <a:gd name="connsiteX16334" fmla="*/ 284200 w 8267681"/>
              <a:gd name="connsiteY16334" fmla="*/ 3539567 h 6698675"/>
              <a:gd name="connsiteX16335" fmla="*/ 258365 w 8267681"/>
              <a:gd name="connsiteY16335" fmla="*/ 3546614 h 6698675"/>
              <a:gd name="connsiteX16336" fmla="*/ 256016 w 8267681"/>
              <a:gd name="connsiteY16336" fmla="*/ 3537219 h 6698675"/>
              <a:gd name="connsiteX16337" fmla="*/ 295948 w 8267681"/>
              <a:gd name="connsiteY16337" fmla="*/ 3506685 h 6698675"/>
              <a:gd name="connsiteX16338" fmla="*/ 305341 w 8267681"/>
              <a:gd name="connsiteY16338" fmla="*/ 3511382 h 6698675"/>
              <a:gd name="connsiteX16339" fmla="*/ 312391 w 8267681"/>
              <a:gd name="connsiteY16339" fmla="*/ 3487894 h 6698675"/>
              <a:gd name="connsiteX16340" fmla="*/ 293598 w 8267681"/>
              <a:gd name="connsiteY16340" fmla="*/ 3452663 h 6698675"/>
              <a:gd name="connsiteX16341" fmla="*/ 305341 w 8267681"/>
              <a:gd name="connsiteY16341" fmla="*/ 3436221 h 6698675"/>
              <a:gd name="connsiteX16342" fmla="*/ 298299 w 8267681"/>
              <a:gd name="connsiteY16342" fmla="*/ 3431524 h 6698675"/>
              <a:gd name="connsiteX16343" fmla="*/ 288900 w 8267681"/>
              <a:gd name="connsiteY16343" fmla="*/ 3433872 h 6698675"/>
              <a:gd name="connsiteX16344" fmla="*/ 281856 w 8267681"/>
              <a:gd name="connsiteY16344" fmla="*/ 3426826 h 6698675"/>
              <a:gd name="connsiteX16345" fmla="*/ 305341 w 8267681"/>
              <a:gd name="connsiteY16345" fmla="*/ 3405687 h 6698675"/>
              <a:gd name="connsiteX16346" fmla="*/ 314736 w 8267681"/>
              <a:gd name="connsiteY16346" fmla="*/ 3410385 h 6698675"/>
              <a:gd name="connsiteX16347" fmla="*/ 319434 w 8267681"/>
              <a:gd name="connsiteY16347" fmla="*/ 3403339 h 6698675"/>
              <a:gd name="connsiteX16348" fmla="*/ 307691 w 8267681"/>
              <a:gd name="connsiteY16348" fmla="*/ 3393943 h 6698675"/>
              <a:gd name="connsiteX16349" fmla="*/ 253671 w 8267681"/>
              <a:gd name="connsiteY16349" fmla="*/ 3455012 h 6698675"/>
              <a:gd name="connsiteX16350" fmla="*/ 253671 w 8267681"/>
              <a:gd name="connsiteY16350" fmla="*/ 3443268 h 6698675"/>
              <a:gd name="connsiteX16351" fmla="*/ 237228 w 8267681"/>
              <a:gd name="connsiteY16351" fmla="*/ 3443268 h 6698675"/>
              <a:gd name="connsiteX16352" fmla="*/ 230182 w 8267681"/>
              <a:gd name="connsiteY16352" fmla="*/ 3436221 h 6698675"/>
              <a:gd name="connsiteX16353" fmla="*/ 244279 w 8267681"/>
              <a:gd name="connsiteY16353" fmla="*/ 3403339 h 6698675"/>
              <a:gd name="connsiteX16354" fmla="*/ 232530 w 8267681"/>
              <a:gd name="connsiteY16354" fmla="*/ 3386897 h 6698675"/>
              <a:gd name="connsiteX16355" fmla="*/ 246622 w 8267681"/>
              <a:gd name="connsiteY16355" fmla="*/ 3379851 h 6698675"/>
              <a:gd name="connsiteX16356" fmla="*/ 246622 w 8267681"/>
              <a:gd name="connsiteY16356" fmla="*/ 3372804 h 6698675"/>
              <a:gd name="connsiteX16357" fmla="*/ 197296 w 8267681"/>
              <a:gd name="connsiteY16357" fmla="*/ 3328206 h 6698675"/>
              <a:gd name="connsiteX16358" fmla="*/ 190250 w 8267681"/>
              <a:gd name="connsiteY16358" fmla="*/ 3335256 h 6698675"/>
              <a:gd name="connsiteX16359" fmla="*/ 211388 w 8267681"/>
              <a:gd name="connsiteY16359" fmla="*/ 3370455 h 6698675"/>
              <a:gd name="connsiteX16360" fmla="*/ 192600 w 8267681"/>
              <a:gd name="connsiteY16360" fmla="*/ 3377502 h 6698675"/>
              <a:gd name="connsiteX16361" fmla="*/ 183208 w 8267681"/>
              <a:gd name="connsiteY16361" fmla="*/ 3386897 h 6698675"/>
              <a:gd name="connsiteX16362" fmla="*/ 187901 w 8267681"/>
              <a:gd name="connsiteY16362" fmla="*/ 3403339 h 6698675"/>
              <a:gd name="connsiteX16363" fmla="*/ 180858 w 8267681"/>
              <a:gd name="connsiteY16363" fmla="*/ 3408036 h 6698675"/>
              <a:gd name="connsiteX16364" fmla="*/ 173809 w 8267681"/>
              <a:gd name="connsiteY16364" fmla="*/ 3393943 h 6698675"/>
              <a:gd name="connsiteX16365" fmla="*/ 178507 w 8267681"/>
              <a:gd name="connsiteY16365" fmla="*/ 3384548 h 6698675"/>
              <a:gd name="connsiteX16366" fmla="*/ 140934 w 8267681"/>
              <a:gd name="connsiteY16366" fmla="*/ 3361060 h 6698675"/>
              <a:gd name="connsiteX16367" fmla="*/ 150322 w 8267681"/>
              <a:gd name="connsiteY16367" fmla="*/ 3347004 h 6698675"/>
              <a:gd name="connsiteX16368" fmla="*/ 159715 w 8267681"/>
              <a:gd name="connsiteY16368" fmla="*/ 3354014 h 6698675"/>
              <a:gd name="connsiteX16369" fmla="*/ 173809 w 8267681"/>
              <a:gd name="connsiteY16369" fmla="*/ 3342306 h 6698675"/>
              <a:gd name="connsiteX16370" fmla="*/ 159715 w 8267681"/>
              <a:gd name="connsiteY16370" fmla="*/ 3330561 h 6698675"/>
              <a:gd name="connsiteX16371" fmla="*/ 157367 w 8267681"/>
              <a:gd name="connsiteY16371" fmla="*/ 3323513 h 6698675"/>
              <a:gd name="connsiteX16372" fmla="*/ 169111 w 8267681"/>
              <a:gd name="connsiteY16372" fmla="*/ 3309400 h 6698675"/>
              <a:gd name="connsiteX16373" fmla="*/ 178507 w 8267681"/>
              <a:gd name="connsiteY16373" fmla="*/ 3309400 h 6698675"/>
              <a:gd name="connsiteX16374" fmla="*/ 180858 w 8267681"/>
              <a:gd name="connsiteY16374" fmla="*/ 3307040 h 6698675"/>
              <a:gd name="connsiteX16375" fmla="*/ 162065 w 8267681"/>
              <a:gd name="connsiteY16375" fmla="*/ 3290651 h 6698675"/>
              <a:gd name="connsiteX16376" fmla="*/ 173809 w 8267681"/>
              <a:gd name="connsiteY16376" fmla="*/ 3274273 h 6698675"/>
              <a:gd name="connsiteX16377" fmla="*/ 169111 w 8267681"/>
              <a:gd name="connsiteY16377" fmla="*/ 3267198 h 6698675"/>
              <a:gd name="connsiteX16378" fmla="*/ 164415 w 8267681"/>
              <a:gd name="connsiteY16378" fmla="*/ 3257798 h 6698675"/>
              <a:gd name="connsiteX16379" fmla="*/ 150322 w 8267681"/>
              <a:gd name="connsiteY16379" fmla="*/ 3257798 h 6698675"/>
              <a:gd name="connsiteX16380" fmla="*/ 119808 w 8267681"/>
              <a:gd name="connsiteY16380" fmla="*/ 3215498 h 6698675"/>
              <a:gd name="connsiteX16381" fmla="*/ 122150 w 8267681"/>
              <a:gd name="connsiteY16381" fmla="*/ 3208452 h 6698675"/>
              <a:gd name="connsiteX16382" fmla="*/ 115108 w 8267681"/>
              <a:gd name="connsiteY16382" fmla="*/ 3175574 h 6698675"/>
              <a:gd name="connsiteX16383" fmla="*/ 105707 w 8267681"/>
              <a:gd name="connsiteY16383" fmla="*/ 3177926 h 6698675"/>
              <a:gd name="connsiteX16384" fmla="*/ 98665 w 8267681"/>
              <a:gd name="connsiteY16384" fmla="*/ 3173228 h 6698675"/>
              <a:gd name="connsiteX16385" fmla="*/ 84564 w 8267681"/>
              <a:gd name="connsiteY16385" fmla="*/ 3163835 h 6698675"/>
              <a:gd name="connsiteX16386" fmla="*/ 91606 w 8267681"/>
              <a:gd name="connsiteY16386" fmla="*/ 3130952 h 6698675"/>
              <a:gd name="connsiteX16387" fmla="*/ 103349 w 8267681"/>
              <a:gd name="connsiteY16387" fmla="*/ 3130952 h 6698675"/>
              <a:gd name="connsiteX16388" fmla="*/ 122150 w 8267681"/>
              <a:gd name="connsiteY16388" fmla="*/ 3140349 h 6698675"/>
              <a:gd name="connsiteX16389" fmla="*/ 122150 w 8267681"/>
              <a:gd name="connsiteY16389" fmla="*/ 3163835 h 6698675"/>
              <a:gd name="connsiteX16390" fmla="*/ 157367 w 8267681"/>
              <a:gd name="connsiteY16390" fmla="*/ 3194364 h 6698675"/>
              <a:gd name="connsiteX16391" fmla="*/ 166765 w 8267681"/>
              <a:gd name="connsiteY16391" fmla="*/ 3196710 h 6698675"/>
              <a:gd name="connsiteX16392" fmla="*/ 157367 w 8267681"/>
              <a:gd name="connsiteY16392" fmla="*/ 3217848 h 6698675"/>
              <a:gd name="connsiteX16393" fmla="*/ 169111 w 8267681"/>
              <a:gd name="connsiteY16393" fmla="*/ 3217848 h 6698675"/>
              <a:gd name="connsiteX16394" fmla="*/ 173809 w 8267681"/>
              <a:gd name="connsiteY16394" fmla="*/ 3213150 h 6698675"/>
              <a:gd name="connsiteX16395" fmla="*/ 190250 w 8267681"/>
              <a:gd name="connsiteY16395" fmla="*/ 3222544 h 6698675"/>
              <a:gd name="connsiteX16396" fmla="*/ 194950 w 8267681"/>
              <a:gd name="connsiteY16396" fmla="*/ 3217848 h 6698675"/>
              <a:gd name="connsiteX16397" fmla="*/ 187901 w 8267681"/>
              <a:gd name="connsiteY16397" fmla="*/ 3208452 h 6698675"/>
              <a:gd name="connsiteX16398" fmla="*/ 204342 w 8267681"/>
              <a:gd name="connsiteY16398" fmla="*/ 3199057 h 6698675"/>
              <a:gd name="connsiteX16399" fmla="*/ 199645 w 8267681"/>
              <a:gd name="connsiteY16399" fmla="*/ 3189668 h 6698675"/>
              <a:gd name="connsiteX16400" fmla="*/ 209043 w 8267681"/>
              <a:gd name="connsiteY16400" fmla="*/ 3184971 h 6698675"/>
              <a:gd name="connsiteX16401" fmla="*/ 213738 w 8267681"/>
              <a:gd name="connsiteY16401" fmla="*/ 3189668 h 6698675"/>
              <a:gd name="connsiteX16402" fmla="*/ 213738 w 8267681"/>
              <a:gd name="connsiteY16402" fmla="*/ 3199057 h 6698675"/>
              <a:gd name="connsiteX16403" fmla="*/ 260714 w 8267681"/>
              <a:gd name="connsiteY16403" fmla="*/ 3192015 h 6698675"/>
              <a:gd name="connsiteX16404" fmla="*/ 265413 w 8267681"/>
              <a:gd name="connsiteY16404" fmla="*/ 3182622 h 6698675"/>
              <a:gd name="connsiteX16405" fmla="*/ 223135 w 8267681"/>
              <a:gd name="connsiteY16405" fmla="*/ 3173228 h 6698675"/>
              <a:gd name="connsiteX16406" fmla="*/ 227836 w 8267681"/>
              <a:gd name="connsiteY16406" fmla="*/ 3147393 h 6698675"/>
              <a:gd name="connsiteX16407" fmla="*/ 220785 w 8267681"/>
              <a:gd name="connsiteY16407" fmla="*/ 3140349 h 6698675"/>
              <a:gd name="connsiteX16408" fmla="*/ 223990 w 8267681"/>
              <a:gd name="connsiteY16408" fmla="*/ 3135866 h 6698675"/>
              <a:gd name="connsiteX16409" fmla="*/ 220786 w 8267681"/>
              <a:gd name="connsiteY16409" fmla="*/ 3137999 h 6698675"/>
              <a:gd name="connsiteX16410" fmla="*/ 218436 w 8267681"/>
              <a:gd name="connsiteY16410" fmla="*/ 3133303 h 6698675"/>
              <a:gd name="connsiteX16411" fmla="*/ 223135 w 8267681"/>
              <a:gd name="connsiteY16411" fmla="*/ 3130952 h 6698675"/>
              <a:gd name="connsiteX16412" fmla="*/ 226350 w 8267681"/>
              <a:gd name="connsiteY16412" fmla="*/ 3132560 h 6698675"/>
              <a:gd name="connsiteX16413" fmla="*/ 226658 w 8267681"/>
              <a:gd name="connsiteY16413" fmla="*/ 3132129 h 6698675"/>
              <a:gd name="connsiteX16414" fmla="*/ 232530 w 8267681"/>
              <a:gd name="connsiteY16414" fmla="*/ 3123908 h 6698675"/>
              <a:gd name="connsiteX16415" fmla="*/ 227836 w 8267681"/>
              <a:gd name="connsiteY16415" fmla="*/ 3114518 h 6698675"/>
              <a:gd name="connsiteX16416" fmla="*/ 211388 w 8267681"/>
              <a:gd name="connsiteY16416" fmla="*/ 3130952 h 6698675"/>
              <a:gd name="connsiteX16417" fmla="*/ 201995 w 8267681"/>
              <a:gd name="connsiteY16417" fmla="*/ 3130952 h 6698675"/>
              <a:gd name="connsiteX16418" fmla="*/ 180858 w 8267681"/>
              <a:gd name="connsiteY16418" fmla="*/ 3098078 h 6698675"/>
              <a:gd name="connsiteX16419" fmla="*/ 185558 w 8267681"/>
              <a:gd name="connsiteY16419" fmla="*/ 3093383 h 6698675"/>
              <a:gd name="connsiteX16420" fmla="*/ 201995 w 8267681"/>
              <a:gd name="connsiteY16420" fmla="*/ 3105123 h 6698675"/>
              <a:gd name="connsiteX16421" fmla="*/ 218435 w 8267681"/>
              <a:gd name="connsiteY16421" fmla="*/ 3093383 h 6698675"/>
              <a:gd name="connsiteX16422" fmla="*/ 204342 w 8267681"/>
              <a:gd name="connsiteY16422" fmla="*/ 3076942 h 6698675"/>
              <a:gd name="connsiteX16423" fmla="*/ 213738 w 8267681"/>
              <a:gd name="connsiteY16423" fmla="*/ 3067552 h 6698675"/>
              <a:gd name="connsiteX16424" fmla="*/ 201995 w 8267681"/>
              <a:gd name="connsiteY16424" fmla="*/ 3051114 h 6698675"/>
              <a:gd name="connsiteX16425" fmla="*/ 211388 w 8267681"/>
              <a:gd name="connsiteY16425" fmla="*/ 3037020 h 6698675"/>
              <a:gd name="connsiteX16426" fmla="*/ 220785 w 8267681"/>
              <a:gd name="connsiteY16426" fmla="*/ 3032323 h 6698675"/>
              <a:gd name="connsiteX16427" fmla="*/ 246622 w 8267681"/>
              <a:gd name="connsiteY16427" fmla="*/ 3076942 h 6698675"/>
              <a:gd name="connsiteX16428" fmla="*/ 256016 w 8267681"/>
              <a:gd name="connsiteY16428" fmla="*/ 3081640 h 6698675"/>
              <a:gd name="connsiteX16429" fmla="*/ 277156 w 8267681"/>
              <a:gd name="connsiteY16429" fmla="*/ 3074593 h 6698675"/>
              <a:gd name="connsiteX16430" fmla="*/ 248972 w 8267681"/>
              <a:gd name="connsiteY16430" fmla="*/ 3022930 h 6698675"/>
              <a:gd name="connsiteX16431" fmla="*/ 239578 w 8267681"/>
              <a:gd name="connsiteY16431" fmla="*/ 3022930 h 6698675"/>
              <a:gd name="connsiteX16432" fmla="*/ 232530 w 8267681"/>
              <a:gd name="connsiteY16432" fmla="*/ 3013540 h 6698675"/>
              <a:gd name="connsiteX16433" fmla="*/ 265413 w 8267681"/>
              <a:gd name="connsiteY16433" fmla="*/ 2983012 h 6698675"/>
              <a:gd name="connsiteX16434" fmla="*/ 272457 w 8267681"/>
              <a:gd name="connsiteY16434" fmla="*/ 2990058 h 6698675"/>
              <a:gd name="connsiteX16435" fmla="*/ 270108 w 8267681"/>
              <a:gd name="connsiteY16435" fmla="*/ 3008841 h 6698675"/>
              <a:gd name="connsiteX16436" fmla="*/ 284200 w 8267681"/>
              <a:gd name="connsiteY16436" fmla="*/ 3018240 h 6698675"/>
              <a:gd name="connsiteX16437" fmla="*/ 274807 w 8267681"/>
              <a:gd name="connsiteY16437" fmla="*/ 3034673 h 6698675"/>
              <a:gd name="connsiteX16438" fmla="*/ 284200 w 8267681"/>
              <a:gd name="connsiteY16438" fmla="*/ 3051114 h 6698675"/>
              <a:gd name="connsiteX16439" fmla="*/ 295948 w 8267681"/>
              <a:gd name="connsiteY16439" fmla="*/ 3051114 h 6698675"/>
              <a:gd name="connsiteX16440" fmla="*/ 328829 w 8267681"/>
              <a:gd name="connsiteY16440" fmla="*/ 3013540 h 6698675"/>
              <a:gd name="connsiteX16441" fmla="*/ 338226 w 8267681"/>
              <a:gd name="connsiteY16441" fmla="*/ 3020583 h 6698675"/>
              <a:gd name="connsiteX16442" fmla="*/ 340576 w 8267681"/>
              <a:gd name="connsiteY16442" fmla="*/ 3018240 h 6698675"/>
              <a:gd name="connsiteX16443" fmla="*/ 338226 w 8267681"/>
              <a:gd name="connsiteY16443" fmla="*/ 2997098 h 6698675"/>
              <a:gd name="connsiteX16444" fmla="*/ 366411 w 8267681"/>
              <a:gd name="connsiteY16444" fmla="*/ 2943091 h 6698675"/>
              <a:gd name="connsiteX16445" fmla="*/ 331178 w 8267681"/>
              <a:gd name="connsiteY16445" fmla="*/ 2943091 h 6698675"/>
              <a:gd name="connsiteX16446" fmla="*/ 312391 w 8267681"/>
              <a:gd name="connsiteY16446" fmla="*/ 2980661 h 6698675"/>
              <a:gd name="connsiteX16447" fmla="*/ 288900 w 8267681"/>
              <a:gd name="connsiteY16447" fmla="*/ 2950138 h 6698675"/>
              <a:gd name="connsiteX16448" fmla="*/ 305341 w 8267681"/>
              <a:gd name="connsiteY16448" fmla="*/ 2919605 h 6698675"/>
              <a:gd name="connsiteX16449" fmla="*/ 321784 w 8267681"/>
              <a:gd name="connsiteY16449" fmla="*/ 2938394 h 6698675"/>
              <a:gd name="connsiteX16450" fmla="*/ 328829 w 8267681"/>
              <a:gd name="connsiteY16450" fmla="*/ 2933697 h 6698675"/>
              <a:gd name="connsiteX16451" fmla="*/ 321784 w 8267681"/>
              <a:gd name="connsiteY16451" fmla="*/ 2910210 h 6698675"/>
              <a:gd name="connsiteX16452" fmla="*/ 305341 w 8267681"/>
              <a:gd name="connsiteY16452" fmla="*/ 2912560 h 6698675"/>
              <a:gd name="connsiteX16453" fmla="*/ 288900 w 8267681"/>
              <a:gd name="connsiteY16453" fmla="*/ 2896118 h 6698675"/>
              <a:gd name="connsiteX16454" fmla="*/ 293598 w 8267681"/>
              <a:gd name="connsiteY16454" fmla="*/ 2884375 h 6698675"/>
              <a:gd name="connsiteX16455" fmla="*/ 279506 w 8267681"/>
              <a:gd name="connsiteY16455" fmla="*/ 2872634 h 6698675"/>
              <a:gd name="connsiteX16456" fmla="*/ 270108 w 8267681"/>
              <a:gd name="connsiteY16456" fmla="*/ 2882031 h 6698675"/>
              <a:gd name="connsiteX16457" fmla="*/ 253671 w 8267681"/>
              <a:gd name="connsiteY16457" fmla="*/ 2856199 h 6698675"/>
              <a:gd name="connsiteX16458" fmla="*/ 248972 w 8267681"/>
              <a:gd name="connsiteY16458" fmla="*/ 2863240 h 6698675"/>
              <a:gd name="connsiteX16459" fmla="*/ 284200 w 8267681"/>
              <a:gd name="connsiteY16459" fmla="*/ 2914908 h 6698675"/>
              <a:gd name="connsiteX16460" fmla="*/ 274807 w 8267681"/>
              <a:gd name="connsiteY16460" fmla="*/ 2931349 h 6698675"/>
              <a:gd name="connsiteX16461" fmla="*/ 258365 w 8267681"/>
              <a:gd name="connsiteY16461" fmla="*/ 2959531 h 6698675"/>
              <a:gd name="connsiteX16462" fmla="*/ 258365 w 8267681"/>
              <a:gd name="connsiteY16462" fmla="*/ 2912560 h 6698675"/>
              <a:gd name="connsiteX16463" fmla="*/ 234879 w 8267681"/>
              <a:gd name="connsiteY16463" fmla="*/ 2889074 h 6698675"/>
              <a:gd name="connsiteX16464" fmla="*/ 258365 w 8267681"/>
              <a:gd name="connsiteY16464" fmla="*/ 2839768 h 6698675"/>
              <a:gd name="connsiteX16465" fmla="*/ 256016 w 8267681"/>
              <a:gd name="connsiteY16465" fmla="*/ 2830368 h 6698675"/>
              <a:gd name="connsiteX16466" fmla="*/ 230182 w 8267681"/>
              <a:gd name="connsiteY16466" fmla="*/ 2820972 h 6698675"/>
              <a:gd name="connsiteX16467" fmla="*/ 225486 w 8267681"/>
              <a:gd name="connsiteY16467" fmla="*/ 2898467 h 6698675"/>
              <a:gd name="connsiteX16468" fmla="*/ 213738 w 8267681"/>
              <a:gd name="connsiteY16468" fmla="*/ 2896118 h 6698675"/>
              <a:gd name="connsiteX16469" fmla="*/ 213738 w 8267681"/>
              <a:gd name="connsiteY16469" fmla="*/ 2823324 h 6698675"/>
              <a:gd name="connsiteX16470" fmla="*/ 206693 w 8267681"/>
              <a:gd name="connsiteY16470" fmla="*/ 2766962 h 6698675"/>
              <a:gd name="connsiteX16471" fmla="*/ 223135 w 8267681"/>
              <a:gd name="connsiteY16471" fmla="*/ 2738792 h 6698675"/>
              <a:gd name="connsiteX16472" fmla="*/ 227836 w 8267681"/>
              <a:gd name="connsiteY16472" fmla="*/ 2741142 h 6698675"/>
              <a:gd name="connsiteX16473" fmla="*/ 253671 w 8267681"/>
              <a:gd name="connsiteY16473" fmla="*/ 2799850 h 6698675"/>
              <a:gd name="connsiteX16474" fmla="*/ 277156 w 8267681"/>
              <a:gd name="connsiteY16474" fmla="*/ 2792802 h 6698675"/>
              <a:gd name="connsiteX16475" fmla="*/ 270108 w 8267681"/>
              <a:gd name="connsiteY16475" fmla="*/ 2783408 h 6698675"/>
              <a:gd name="connsiteX16476" fmla="*/ 260714 w 8267681"/>
              <a:gd name="connsiteY16476" fmla="*/ 2757578 h 6698675"/>
              <a:gd name="connsiteX16477" fmla="*/ 265413 w 8267681"/>
              <a:gd name="connsiteY16477" fmla="*/ 2748183 h 6698675"/>
              <a:gd name="connsiteX16478" fmla="*/ 291248 w 8267681"/>
              <a:gd name="connsiteY16478" fmla="*/ 2771664 h 6698675"/>
              <a:gd name="connsiteX16479" fmla="*/ 317085 w 8267681"/>
              <a:gd name="connsiteY16479" fmla="*/ 2734090 h 6698675"/>
              <a:gd name="connsiteX16480" fmla="*/ 331178 w 8267681"/>
              <a:gd name="connsiteY16480" fmla="*/ 2734090 h 6698675"/>
              <a:gd name="connsiteX16481" fmla="*/ 333528 w 8267681"/>
              <a:gd name="connsiteY16481" fmla="*/ 2743490 h 6698675"/>
              <a:gd name="connsiteX16482" fmla="*/ 347620 w 8267681"/>
              <a:gd name="connsiteY16482" fmla="*/ 2752881 h 6698675"/>
              <a:gd name="connsiteX16483" fmla="*/ 338226 w 8267681"/>
              <a:gd name="connsiteY16483" fmla="*/ 2785754 h 6698675"/>
              <a:gd name="connsiteX16484" fmla="*/ 335876 w 8267681"/>
              <a:gd name="connsiteY16484" fmla="*/ 2795149 h 6698675"/>
              <a:gd name="connsiteX16485" fmla="*/ 342922 w 8267681"/>
              <a:gd name="connsiteY16485" fmla="*/ 2802198 h 6698675"/>
              <a:gd name="connsiteX16486" fmla="*/ 357014 w 8267681"/>
              <a:gd name="connsiteY16486" fmla="*/ 2778709 h 6698675"/>
              <a:gd name="connsiteX16487" fmla="*/ 371112 w 8267681"/>
              <a:gd name="connsiteY16487" fmla="*/ 2778709 h 6698675"/>
              <a:gd name="connsiteX16488" fmla="*/ 371112 w 8267681"/>
              <a:gd name="connsiteY16488" fmla="*/ 2788103 h 6698675"/>
              <a:gd name="connsiteX16489" fmla="*/ 349970 w 8267681"/>
              <a:gd name="connsiteY16489" fmla="*/ 2804541 h 6698675"/>
              <a:gd name="connsiteX16490" fmla="*/ 361714 w 8267681"/>
              <a:gd name="connsiteY16490" fmla="*/ 2816277 h 6698675"/>
              <a:gd name="connsiteX16491" fmla="*/ 382854 w 8267681"/>
              <a:gd name="connsiteY16491" fmla="*/ 2788103 h 6698675"/>
              <a:gd name="connsiteX16492" fmla="*/ 396941 w 8267681"/>
              <a:gd name="connsiteY16492" fmla="*/ 2788103 h 6698675"/>
              <a:gd name="connsiteX16493" fmla="*/ 394596 w 8267681"/>
              <a:gd name="connsiteY16493" fmla="*/ 2792802 h 6698675"/>
              <a:gd name="connsiteX16494" fmla="*/ 394596 w 8267681"/>
              <a:gd name="connsiteY16494" fmla="*/ 2804541 h 6698675"/>
              <a:gd name="connsiteX16495" fmla="*/ 436874 w 8267681"/>
              <a:gd name="connsiteY16495" fmla="*/ 2748183 h 6698675"/>
              <a:gd name="connsiteX16496" fmla="*/ 450967 w 8267681"/>
              <a:gd name="connsiteY16496" fmla="*/ 2757578 h 6698675"/>
              <a:gd name="connsiteX16497" fmla="*/ 415734 w 8267681"/>
              <a:gd name="connsiteY16497" fmla="*/ 2825671 h 6698675"/>
              <a:gd name="connsiteX16498" fmla="*/ 425132 w 8267681"/>
              <a:gd name="connsiteY16498" fmla="*/ 2825671 h 6698675"/>
              <a:gd name="connsiteX16499" fmla="*/ 497945 w 8267681"/>
              <a:gd name="connsiteY16499" fmla="*/ 2757578 h 6698675"/>
              <a:gd name="connsiteX16500" fmla="*/ 507337 w 8267681"/>
              <a:gd name="connsiteY16500" fmla="*/ 2766962 h 6698675"/>
              <a:gd name="connsiteX16501" fmla="*/ 462709 w 8267681"/>
              <a:gd name="connsiteY16501" fmla="*/ 2865594 h 6698675"/>
              <a:gd name="connsiteX16502" fmla="*/ 561359 w 8267681"/>
              <a:gd name="connsiteY16502" fmla="*/ 2708237 h 6698675"/>
              <a:gd name="connsiteX16503" fmla="*/ 559011 w 8267681"/>
              <a:gd name="connsiteY16503" fmla="*/ 2698837 h 6698675"/>
              <a:gd name="connsiteX16504" fmla="*/ 584850 w 8267681"/>
              <a:gd name="connsiteY16504" fmla="*/ 2672983 h 6698675"/>
              <a:gd name="connsiteX16505" fmla="*/ 582500 w 8267681"/>
              <a:gd name="connsiteY16505" fmla="*/ 2663581 h 6698675"/>
              <a:gd name="connsiteX16506" fmla="*/ 608338 w 8267681"/>
              <a:gd name="connsiteY16506" fmla="*/ 2633028 h 6698675"/>
              <a:gd name="connsiteX16507" fmla="*/ 615386 w 8267681"/>
              <a:gd name="connsiteY16507" fmla="*/ 2640079 h 6698675"/>
              <a:gd name="connsiteX16508" fmla="*/ 613036 w 8267681"/>
              <a:gd name="connsiteY16508" fmla="*/ 2665930 h 6698675"/>
              <a:gd name="connsiteX16509" fmla="*/ 704633 w 8267681"/>
              <a:gd name="connsiteY16509" fmla="*/ 2717641 h 6698675"/>
              <a:gd name="connsiteX16510" fmla="*/ 711676 w 8267681"/>
              <a:gd name="connsiteY16510" fmla="*/ 2734090 h 6698675"/>
              <a:gd name="connsiteX16511" fmla="*/ 688190 w 8267681"/>
              <a:gd name="connsiteY16511" fmla="*/ 2774014 h 6698675"/>
              <a:gd name="connsiteX16512" fmla="*/ 683493 w 8267681"/>
              <a:gd name="connsiteY16512" fmla="*/ 2776361 h 6698675"/>
              <a:gd name="connsiteX16513" fmla="*/ 685840 w 8267681"/>
              <a:gd name="connsiteY16513" fmla="*/ 2778709 h 6698675"/>
              <a:gd name="connsiteX16514" fmla="*/ 706983 w 8267681"/>
              <a:gd name="connsiteY16514" fmla="*/ 3184971 h 6698675"/>
              <a:gd name="connsiteX16515" fmla="*/ 706983 w 8267681"/>
              <a:gd name="connsiteY16515" fmla="*/ 3187318 h 6698675"/>
              <a:gd name="connsiteX16516" fmla="*/ 718726 w 8267681"/>
              <a:gd name="connsiteY16516" fmla="*/ 3206106 h 6698675"/>
              <a:gd name="connsiteX16517" fmla="*/ 699934 w 8267681"/>
              <a:gd name="connsiteY16517" fmla="*/ 3215498 h 6698675"/>
              <a:gd name="connsiteX16518" fmla="*/ 667050 w 8267681"/>
              <a:gd name="connsiteY16518" fmla="*/ 3184971 h 6698675"/>
              <a:gd name="connsiteX16519" fmla="*/ 650613 w 8267681"/>
              <a:gd name="connsiteY16519" fmla="*/ 3192015 h 6698675"/>
              <a:gd name="connsiteX16520" fmla="*/ 655307 w 8267681"/>
              <a:gd name="connsiteY16520" fmla="*/ 3199057 h 6698675"/>
              <a:gd name="connsiteX16521" fmla="*/ 636520 w 8267681"/>
              <a:gd name="connsiteY16521" fmla="*/ 3199057 h 6698675"/>
              <a:gd name="connsiteX16522" fmla="*/ 631828 w 8267681"/>
              <a:gd name="connsiteY16522" fmla="*/ 3180274 h 6698675"/>
              <a:gd name="connsiteX16523" fmla="*/ 622428 w 8267681"/>
              <a:gd name="connsiteY16523" fmla="*/ 3173228 h 6698675"/>
              <a:gd name="connsiteX16524" fmla="*/ 547267 w 8267681"/>
              <a:gd name="connsiteY16524" fmla="*/ 3168532 h 6698675"/>
              <a:gd name="connsiteX16525" fmla="*/ 521430 w 8267681"/>
              <a:gd name="connsiteY16525" fmla="*/ 3156790 h 6698675"/>
              <a:gd name="connsiteX16526" fmla="*/ 469760 w 8267681"/>
              <a:gd name="connsiteY16526" fmla="*/ 3168532 h 6698675"/>
              <a:gd name="connsiteX16527" fmla="*/ 465059 w 8267681"/>
              <a:gd name="connsiteY16527" fmla="*/ 3161485 h 6698675"/>
              <a:gd name="connsiteX16528" fmla="*/ 490896 w 8267681"/>
              <a:gd name="connsiteY16528" fmla="*/ 3145047 h 6698675"/>
              <a:gd name="connsiteX16529" fmla="*/ 488547 w 8267681"/>
              <a:gd name="connsiteY16529" fmla="*/ 3135652 h 6698675"/>
              <a:gd name="connsiteX16530" fmla="*/ 495595 w 8267681"/>
              <a:gd name="connsiteY16530" fmla="*/ 3128603 h 6698675"/>
              <a:gd name="connsiteX16531" fmla="*/ 512037 w 8267681"/>
              <a:gd name="connsiteY16531" fmla="*/ 3140349 h 6698675"/>
              <a:gd name="connsiteX16532" fmla="*/ 514388 w 8267681"/>
              <a:gd name="connsiteY16532" fmla="*/ 3135652 h 6698675"/>
              <a:gd name="connsiteX16533" fmla="*/ 497945 w 8267681"/>
              <a:gd name="connsiteY16533" fmla="*/ 3119216 h 6698675"/>
              <a:gd name="connsiteX16534" fmla="*/ 504987 w 8267681"/>
              <a:gd name="connsiteY16534" fmla="*/ 3109818 h 6698675"/>
              <a:gd name="connsiteX16535" fmla="*/ 502645 w 8267681"/>
              <a:gd name="connsiteY16535" fmla="*/ 3102775 h 6698675"/>
              <a:gd name="connsiteX16536" fmla="*/ 497945 w 8267681"/>
              <a:gd name="connsiteY16536" fmla="*/ 3109818 h 6698675"/>
              <a:gd name="connsiteX16537" fmla="*/ 486198 w 8267681"/>
              <a:gd name="connsiteY16537" fmla="*/ 3123908 h 6698675"/>
              <a:gd name="connsiteX16538" fmla="*/ 476803 w 8267681"/>
              <a:gd name="connsiteY16538" fmla="*/ 3119216 h 6698675"/>
              <a:gd name="connsiteX16539" fmla="*/ 476803 w 8267681"/>
              <a:gd name="connsiteY16539" fmla="*/ 3109818 h 6698675"/>
              <a:gd name="connsiteX16540" fmla="*/ 443918 w 8267681"/>
              <a:gd name="connsiteY16540" fmla="*/ 3119216 h 6698675"/>
              <a:gd name="connsiteX16541" fmla="*/ 450967 w 8267681"/>
              <a:gd name="connsiteY16541" fmla="*/ 3145047 h 6698675"/>
              <a:gd name="connsiteX16542" fmla="*/ 425132 w 8267681"/>
              <a:gd name="connsiteY16542" fmla="*/ 3138001 h 6698675"/>
              <a:gd name="connsiteX16543" fmla="*/ 399291 w 8267681"/>
              <a:gd name="connsiteY16543" fmla="*/ 3187318 h 6698675"/>
              <a:gd name="connsiteX16544" fmla="*/ 382854 w 8267681"/>
              <a:gd name="connsiteY16544" fmla="*/ 3199057 h 6698675"/>
              <a:gd name="connsiteX16545" fmla="*/ 363036 w 8267681"/>
              <a:gd name="connsiteY16545" fmla="*/ 3185191 h 6698675"/>
              <a:gd name="connsiteX16546" fmla="*/ 358031 w 8267681"/>
              <a:gd name="connsiteY16546" fmla="*/ 3169393 h 6698675"/>
              <a:gd name="connsiteX16547" fmla="*/ 365235 w 8267681"/>
              <a:gd name="connsiteY16547" fmla="*/ 3158844 h 6698675"/>
              <a:gd name="connsiteX16548" fmla="*/ 373456 w 8267681"/>
              <a:gd name="connsiteY16548" fmla="*/ 3159135 h 6698675"/>
              <a:gd name="connsiteX16549" fmla="*/ 378154 w 8267681"/>
              <a:gd name="connsiteY16549" fmla="*/ 3163835 h 6698675"/>
              <a:gd name="connsiteX16550" fmla="*/ 378154 w 8267681"/>
              <a:gd name="connsiteY16550" fmla="*/ 3173228 h 6698675"/>
              <a:gd name="connsiteX16551" fmla="*/ 403989 w 8267681"/>
              <a:gd name="connsiteY16551" fmla="*/ 3166181 h 6698675"/>
              <a:gd name="connsiteX16552" fmla="*/ 401641 w 8267681"/>
              <a:gd name="connsiteY16552" fmla="*/ 3149744 h 6698675"/>
              <a:gd name="connsiteX16553" fmla="*/ 420431 w 8267681"/>
              <a:gd name="connsiteY16553" fmla="*/ 3142698 h 6698675"/>
              <a:gd name="connsiteX16554" fmla="*/ 420431 w 8267681"/>
              <a:gd name="connsiteY16554" fmla="*/ 3133303 h 6698675"/>
              <a:gd name="connsiteX16555" fmla="*/ 434525 w 8267681"/>
              <a:gd name="connsiteY16555" fmla="*/ 3123908 h 6698675"/>
              <a:gd name="connsiteX16556" fmla="*/ 434525 w 8267681"/>
              <a:gd name="connsiteY16556" fmla="*/ 3114518 h 6698675"/>
              <a:gd name="connsiteX16557" fmla="*/ 462709 w 8267681"/>
              <a:gd name="connsiteY16557" fmla="*/ 3088687 h 6698675"/>
              <a:gd name="connsiteX16558" fmla="*/ 479153 w 8267681"/>
              <a:gd name="connsiteY16558" fmla="*/ 3102775 h 6698675"/>
              <a:gd name="connsiteX16559" fmla="*/ 481502 w 8267681"/>
              <a:gd name="connsiteY16559" fmla="*/ 3095732 h 6698675"/>
              <a:gd name="connsiteX16560" fmla="*/ 481502 w 8267681"/>
              <a:gd name="connsiteY16560" fmla="*/ 3086336 h 6698675"/>
              <a:gd name="connsiteX16561" fmla="*/ 490896 w 8267681"/>
              <a:gd name="connsiteY16561" fmla="*/ 3076942 h 6698675"/>
              <a:gd name="connsiteX16562" fmla="*/ 490896 w 8267681"/>
              <a:gd name="connsiteY16562" fmla="*/ 3067552 h 6698675"/>
              <a:gd name="connsiteX16563" fmla="*/ 469760 w 8267681"/>
              <a:gd name="connsiteY16563" fmla="*/ 3051114 h 6698675"/>
              <a:gd name="connsiteX16564" fmla="*/ 465059 w 8267681"/>
              <a:gd name="connsiteY16564" fmla="*/ 3053460 h 6698675"/>
              <a:gd name="connsiteX16565" fmla="*/ 469760 w 8267681"/>
              <a:gd name="connsiteY16565" fmla="*/ 3060507 h 6698675"/>
              <a:gd name="connsiteX16566" fmla="*/ 465059 w 8267681"/>
              <a:gd name="connsiteY16566" fmla="*/ 3067552 h 6698675"/>
              <a:gd name="connsiteX16567" fmla="*/ 432174 w 8267681"/>
              <a:gd name="connsiteY16567" fmla="*/ 3051114 h 6698675"/>
              <a:gd name="connsiteX16568" fmla="*/ 429826 w 8267681"/>
              <a:gd name="connsiteY16568" fmla="*/ 3048764 h 6698675"/>
              <a:gd name="connsiteX16569" fmla="*/ 399291 w 8267681"/>
              <a:gd name="connsiteY16569" fmla="*/ 3051114 h 6698675"/>
              <a:gd name="connsiteX16570" fmla="*/ 399291 w 8267681"/>
              <a:gd name="connsiteY16570" fmla="*/ 3060507 h 6698675"/>
              <a:gd name="connsiteX16571" fmla="*/ 364062 w 8267681"/>
              <a:gd name="connsiteY16571" fmla="*/ 3093383 h 6698675"/>
              <a:gd name="connsiteX16572" fmla="*/ 371112 w 8267681"/>
              <a:gd name="connsiteY16572" fmla="*/ 3098078 h 6698675"/>
              <a:gd name="connsiteX16573" fmla="*/ 408689 w 8267681"/>
              <a:gd name="connsiteY16573" fmla="*/ 3069899 h 6698675"/>
              <a:gd name="connsiteX16574" fmla="*/ 420431 w 8267681"/>
              <a:gd name="connsiteY16574" fmla="*/ 3065200 h 6698675"/>
              <a:gd name="connsiteX16575" fmla="*/ 441569 w 8267681"/>
              <a:gd name="connsiteY16575" fmla="*/ 3079289 h 6698675"/>
              <a:gd name="connsiteX16576" fmla="*/ 420431 w 8267681"/>
              <a:gd name="connsiteY16576" fmla="*/ 3098078 h 6698675"/>
              <a:gd name="connsiteX16577" fmla="*/ 403989 w 8267681"/>
              <a:gd name="connsiteY16577" fmla="*/ 3093383 h 6698675"/>
              <a:gd name="connsiteX16578" fmla="*/ 418084 w 8267681"/>
              <a:gd name="connsiteY16578" fmla="*/ 3128603 h 6698675"/>
              <a:gd name="connsiteX16579" fmla="*/ 385199 w 8267681"/>
              <a:gd name="connsiteY16579" fmla="*/ 3145047 h 6698675"/>
              <a:gd name="connsiteX16580" fmla="*/ 375805 w 8267681"/>
              <a:gd name="connsiteY16580" fmla="*/ 3133303 h 6698675"/>
              <a:gd name="connsiteX16581" fmla="*/ 366411 w 8267681"/>
              <a:gd name="connsiteY16581" fmla="*/ 3142698 h 6698675"/>
              <a:gd name="connsiteX16582" fmla="*/ 340576 w 8267681"/>
              <a:gd name="connsiteY16582" fmla="*/ 3116866 h 6698675"/>
              <a:gd name="connsiteX16583" fmla="*/ 331178 w 8267681"/>
              <a:gd name="connsiteY16583" fmla="*/ 3145047 h 6698675"/>
              <a:gd name="connsiteX16584" fmla="*/ 352319 w 8267681"/>
              <a:gd name="connsiteY16584" fmla="*/ 3154437 h 6698675"/>
              <a:gd name="connsiteX16585" fmla="*/ 355549 w 8267681"/>
              <a:gd name="connsiteY16585" fmla="*/ 3162658 h 6698675"/>
              <a:gd name="connsiteX16586" fmla="*/ 356344 w 8267681"/>
              <a:gd name="connsiteY16586" fmla="*/ 3167101 h 6698675"/>
              <a:gd name="connsiteX16587" fmla="*/ 349678 w 8267681"/>
              <a:gd name="connsiteY16587" fmla="*/ 3176159 h 6698675"/>
              <a:gd name="connsiteX16588" fmla="*/ 340576 w 8267681"/>
              <a:gd name="connsiteY16588" fmla="*/ 3182622 h 6698675"/>
              <a:gd name="connsiteX16589" fmla="*/ 324134 w 8267681"/>
              <a:gd name="connsiteY16589" fmla="*/ 3173228 h 6698675"/>
              <a:gd name="connsiteX16590" fmla="*/ 291248 w 8267681"/>
              <a:gd name="connsiteY16590" fmla="*/ 3180274 h 6698675"/>
              <a:gd name="connsiteX16591" fmla="*/ 321784 w 8267681"/>
              <a:gd name="connsiteY16591" fmla="*/ 3189668 h 6698675"/>
              <a:gd name="connsiteX16592" fmla="*/ 319434 w 8267681"/>
              <a:gd name="connsiteY16592" fmla="*/ 3199057 h 6698675"/>
              <a:gd name="connsiteX16593" fmla="*/ 347620 w 8267681"/>
              <a:gd name="connsiteY16593" fmla="*/ 3201406 h 6698675"/>
              <a:gd name="connsiteX16594" fmla="*/ 357014 w 8267681"/>
              <a:gd name="connsiteY16594" fmla="*/ 3201406 h 6698675"/>
              <a:gd name="connsiteX16595" fmla="*/ 373456 w 8267681"/>
              <a:gd name="connsiteY16595" fmla="*/ 3217848 h 6698675"/>
              <a:gd name="connsiteX16596" fmla="*/ 371112 w 8267681"/>
              <a:gd name="connsiteY16596" fmla="*/ 3234296 h 6698675"/>
              <a:gd name="connsiteX16597" fmla="*/ 382854 w 8267681"/>
              <a:gd name="connsiteY16597" fmla="*/ 3241348 h 6698675"/>
              <a:gd name="connsiteX16598" fmla="*/ 396941 w 8267681"/>
              <a:gd name="connsiteY16598" fmla="*/ 3224895 h 6698675"/>
              <a:gd name="connsiteX16599" fmla="*/ 401641 w 8267681"/>
              <a:gd name="connsiteY16599" fmla="*/ 3220195 h 6698675"/>
              <a:gd name="connsiteX16600" fmla="*/ 415734 w 8267681"/>
              <a:gd name="connsiteY16600" fmla="*/ 3241348 h 6698675"/>
              <a:gd name="connsiteX16601" fmla="*/ 408689 w 8267681"/>
              <a:gd name="connsiteY16601" fmla="*/ 3253094 h 6698675"/>
              <a:gd name="connsiteX16602" fmla="*/ 399291 w 8267681"/>
              <a:gd name="connsiteY16602" fmla="*/ 3257798 h 6698675"/>
              <a:gd name="connsiteX16603" fmla="*/ 387548 w 8267681"/>
              <a:gd name="connsiteY16603" fmla="*/ 3257798 h 6698675"/>
              <a:gd name="connsiteX16604" fmla="*/ 406339 w 8267681"/>
              <a:gd name="connsiteY16604" fmla="*/ 3274273 h 6698675"/>
              <a:gd name="connsiteX16605" fmla="*/ 401641 w 8267681"/>
              <a:gd name="connsiteY16605" fmla="*/ 3290651 h 6698675"/>
              <a:gd name="connsiteX16606" fmla="*/ 425132 w 8267681"/>
              <a:gd name="connsiteY16606" fmla="*/ 3285961 h 6698675"/>
              <a:gd name="connsiteX16607" fmla="*/ 425132 w 8267681"/>
              <a:gd name="connsiteY16607" fmla="*/ 3304700 h 6698675"/>
              <a:gd name="connsiteX16608" fmla="*/ 382854 w 8267681"/>
              <a:gd name="connsiteY16608" fmla="*/ 3304700 h 6698675"/>
              <a:gd name="connsiteX16609" fmla="*/ 357014 w 8267681"/>
              <a:gd name="connsiteY16609" fmla="*/ 3316463 h 6698675"/>
              <a:gd name="connsiteX16610" fmla="*/ 349970 w 8267681"/>
              <a:gd name="connsiteY16610" fmla="*/ 3311755 h 6698675"/>
              <a:gd name="connsiteX16611" fmla="*/ 342922 w 8267681"/>
              <a:gd name="connsiteY16611" fmla="*/ 3316463 h 6698675"/>
              <a:gd name="connsiteX16612" fmla="*/ 345271 w 8267681"/>
              <a:gd name="connsiteY16612" fmla="*/ 3325857 h 6698675"/>
              <a:gd name="connsiteX16613" fmla="*/ 324134 w 8267681"/>
              <a:gd name="connsiteY16613" fmla="*/ 3325857 h 6698675"/>
              <a:gd name="connsiteX16614" fmla="*/ 307691 w 8267681"/>
              <a:gd name="connsiteY16614" fmla="*/ 3311755 h 6698675"/>
              <a:gd name="connsiteX16615" fmla="*/ 300644 w 8267681"/>
              <a:gd name="connsiteY16615" fmla="*/ 3316463 h 6698675"/>
              <a:gd name="connsiteX16616" fmla="*/ 314736 w 8267681"/>
              <a:gd name="connsiteY16616" fmla="*/ 3347004 h 6698675"/>
              <a:gd name="connsiteX16617" fmla="*/ 314736 w 8267681"/>
              <a:gd name="connsiteY16617" fmla="*/ 3361060 h 6698675"/>
              <a:gd name="connsiteX16618" fmla="*/ 310041 w 8267681"/>
              <a:gd name="connsiteY16618" fmla="*/ 3368107 h 6698675"/>
              <a:gd name="connsiteX16619" fmla="*/ 331178 w 8267681"/>
              <a:gd name="connsiteY16619" fmla="*/ 3361060 h 6698675"/>
              <a:gd name="connsiteX16620" fmla="*/ 345271 w 8267681"/>
              <a:gd name="connsiteY16620" fmla="*/ 3370455 h 6698675"/>
              <a:gd name="connsiteX16621" fmla="*/ 331178 w 8267681"/>
              <a:gd name="connsiteY16621" fmla="*/ 3386897 h 6698675"/>
              <a:gd name="connsiteX16622" fmla="*/ 338226 w 8267681"/>
              <a:gd name="connsiteY16622" fmla="*/ 3403339 h 6698675"/>
              <a:gd name="connsiteX16623" fmla="*/ 331178 w 8267681"/>
              <a:gd name="connsiteY16623" fmla="*/ 3410385 h 6698675"/>
              <a:gd name="connsiteX16624" fmla="*/ 331178 w 8267681"/>
              <a:gd name="connsiteY16624" fmla="*/ 3429175 h 6698675"/>
              <a:gd name="connsiteX16625" fmla="*/ 340576 w 8267681"/>
              <a:gd name="connsiteY16625" fmla="*/ 3429175 h 6698675"/>
              <a:gd name="connsiteX16626" fmla="*/ 345271 w 8267681"/>
              <a:gd name="connsiteY16626" fmla="*/ 3462058 h 6698675"/>
              <a:gd name="connsiteX16627" fmla="*/ 347620 w 8267681"/>
              <a:gd name="connsiteY16627" fmla="*/ 3464407 h 6698675"/>
              <a:gd name="connsiteX16628" fmla="*/ 361714 w 8267681"/>
              <a:gd name="connsiteY16628" fmla="*/ 3445616 h 6698675"/>
              <a:gd name="connsiteX16629" fmla="*/ 359363 w 8267681"/>
              <a:gd name="connsiteY16629" fmla="*/ 3436221 h 6698675"/>
              <a:gd name="connsiteX16630" fmla="*/ 359363 w 8267681"/>
              <a:gd name="connsiteY16630" fmla="*/ 3426826 h 6698675"/>
              <a:gd name="connsiteX16631" fmla="*/ 392247 w 8267681"/>
              <a:gd name="connsiteY16631" fmla="*/ 3410385 h 6698675"/>
              <a:gd name="connsiteX16632" fmla="*/ 418084 w 8267681"/>
              <a:gd name="connsiteY16632" fmla="*/ 3419780 h 6698675"/>
              <a:gd name="connsiteX16633" fmla="*/ 425132 w 8267681"/>
              <a:gd name="connsiteY16633" fmla="*/ 3429175 h 6698675"/>
              <a:gd name="connsiteX16634" fmla="*/ 399291 w 8267681"/>
              <a:gd name="connsiteY16634" fmla="*/ 3445616 h 6698675"/>
              <a:gd name="connsiteX16635" fmla="*/ 392247 w 8267681"/>
              <a:gd name="connsiteY16635" fmla="*/ 3447965 h 6698675"/>
              <a:gd name="connsiteX16636" fmla="*/ 392247 w 8267681"/>
              <a:gd name="connsiteY16636" fmla="*/ 3457360 h 6698675"/>
              <a:gd name="connsiteX16637" fmla="*/ 413389 w 8267681"/>
              <a:gd name="connsiteY16637" fmla="*/ 3471453 h 6698675"/>
              <a:gd name="connsiteX16638" fmla="*/ 413389 w 8267681"/>
              <a:gd name="connsiteY16638" fmla="*/ 3480848 h 6698675"/>
              <a:gd name="connsiteX16639" fmla="*/ 408091 w 8267681"/>
              <a:gd name="connsiteY16639" fmla="*/ 3485263 h 6698675"/>
              <a:gd name="connsiteX16640" fmla="*/ 415718 w 8267681"/>
              <a:gd name="connsiteY16640" fmla="*/ 3485546 h 6698675"/>
              <a:gd name="connsiteX16641" fmla="*/ 420415 w 8267681"/>
              <a:gd name="connsiteY16641" fmla="*/ 3490243 h 6698675"/>
              <a:gd name="connsiteX16642" fmla="*/ 425115 w 8267681"/>
              <a:gd name="connsiteY16642" fmla="*/ 3492592 h 6698675"/>
              <a:gd name="connsiteX16643" fmla="*/ 434508 w 8267681"/>
              <a:gd name="connsiteY16643" fmla="*/ 3490243 h 6698675"/>
              <a:gd name="connsiteX16644" fmla="*/ 436857 w 8267681"/>
              <a:gd name="connsiteY16644" fmla="*/ 3480848 h 6698675"/>
              <a:gd name="connsiteX16645" fmla="*/ 472088 w 8267681"/>
              <a:gd name="connsiteY16645" fmla="*/ 3464407 h 6698675"/>
              <a:gd name="connsiteX16646" fmla="*/ 488530 w 8267681"/>
              <a:gd name="connsiteY16646" fmla="*/ 3464407 h 6698675"/>
              <a:gd name="connsiteX16647" fmla="*/ 500278 w 8267681"/>
              <a:gd name="connsiteY16647" fmla="*/ 3478499 h 6698675"/>
              <a:gd name="connsiteX16648" fmla="*/ 509670 w 8267681"/>
              <a:gd name="connsiteY16648" fmla="*/ 3476151 h 6698675"/>
              <a:gd name="connsiteX16649" fmla="*/ 519064 w 8267681"/>
              <a:gd name="connsiteY16649" fmla="*/ 3478499 h 6698675"/>
              <a:gd name="connsiteX16650" fmla="*/ 519064 w 8267681"/>
              <a:gd name="connsiteY16650" fmla="*/ 3487894 h 6698675"/>
              <a:gd name="connsiteX16651" fmla="*/ 512020 w 8267681"/>
              <a:gd name="connsiteY16651" fmla="*/ 3494941 h 6698675"/>
              <a:gd name="connsiteX16652" fmla="*/ 516715 w 8267681"/>
              <a:gd name="connsiteY16652" fmla="*/ 3504336 h 6698675"/>
              <a:gd name="connsiteX16653" fmla="*/ 587183 w 8267681"/>
              <a:gd name="connsiteY16653" fmla="*/ 3509034 h 6698675"/>
              <a:gd name="connsiteX16654" fmla="*/ 638853 w 8267681"/>
              <a:gd name="connsiteY16654" fmla="*/ 3501987 h 6698675"/>
              <a:gd name="connsiteX16655" fmla="*/ 664688 w 8267681"/>
              <a:gd name="connsiteY16655" fmla="*/ 3506685 h 6698675"/>
              <a:gd name="connsiteX16656" fmla="*/ 674083 w 8267681"/>
              <a:gd name="connsiteY16656" fmla="*/ 3499638 h 6698675"/>
              <a:gd name="connsiteX16657" fmla="*/ 810314 w 8267681"/>
              <a:gd name="connsiteY16657" fmla="*/ 3511382 h 6698675"/>
              <a:gd name="connsiteX16658" fmla="*/ 878427 w 8267681"/>
              <a:gd name="connsiteY16658" fmla="*/ 3499638 h 6698675"/>
              <a:gd name="connsiteX16659" fmla="*/ 819707 w 8267681"/>
              <a:gd name="connsiteY16659" fmla="*/ 3490243 h 6698675"/>
              <a:gd name="connsiteX16660" fmla="*/ 768037 w 8267681"/>
              <a:gd name="connsiteY16660" fmla="*/ 3494941 h 6698675"/>
              <a:gd name="connsiteX16661" fmla="*/ 742197 w 8267681"/>
              <a:gd name="connsiteY16661" fmla="*/ 3487894 h 6698675"/>
              <a:gd name="connsiteX16662" fmla="*/ 667039 w 8267681"/>
              <a:gd name="connsiteY16662" fmla="*/ 3492592 h 6698675"/>
              <a:gd name="connsiteX16663" fmla="*/ 544901 w 8267681"/>
              <a:gd name="connsiteY16663" fmla="*/ 3487894 h 6698675"/>
              <a:gd name="connsiteX16664" fmla="*/ 540205 w 8267681"/>
              <a:gd name="connsiteY16664" fmla="*/ 3471453 h 6698675"/>
              <a:gd name="connsiteX16665" fmla="*/ 549598 w 8267681"/>
              <a:gd name="connsiteY16665" fmla="*/ 3457360 h 6698675"/>
              <a:gd name="connsiteX16666" fmla="*/ 575435 w 8267681"/>
              <a:gd name="connsiteY16666" fmla="*/ 3459709 h 6698675"/>
              <a:gd name="connsiteX16667" fmla="*/ 584833 w 8267681"/>
              <a:gd name="connsiteY16667" fmla="*/ 3457360 h 6698675"/>
              <a:gd name="connsiteX16668" fmla="*/ 610668 w 8267681"/>
              <a:gd name="connsiteY16668" fmla="*/ 3476151 h 6698675"/>
              <a:gd name="connsiteX16669" fmla="*/ 620060 w 8267681"/>
              <a:gd name="connsiteY16669" fmla="*/ 3471453 h 6698675"/>
              <a:gd name="connsiteX16670" fmla="*/ 624761 w 8267681"/>
              <a:gd name="connsiteY16670" fmla="*/ 3462058 h 6698675"/>
              <a:gd name="connsiteX16671" fmla="*/ 925405 w 8267681"/>
              <a:gd name="connsiteY16671" fmla="*/ 3457360 h 6698675"/>
              <a:gd name="connsiteX16672" fmla="*/ 927750 w 8267681"/>
              <a:gd name="connsiteY16672" fmla="*/ 3457360 h 6698675"/>
              <a:gd name="connsiteX16673" fmla="*/ 934798 w 8267681"/>
              <a:gd name="connsiteY16673" fmla="*/ 3447965 h 6698675"/>
              <a:gd name="connsiteX16674" fmla="*/ 887821 w 8267681"/>
              <a:gd name="connsiteY16674" fmla="*/ 3438570 h 6698675"/>
              <a:gd name="connsiteX16675" fmla="*/ 873728 w 8267681"/>
              <a:gd name="connsiteY16675" fmla="*/ 3443268 h 6698675"/>
              <a:gd name="connsiteX16676" fmla="*/ 768037 w 8267681"/>
              <a:gd name="connsiteY16676" fmla="*/ 3429175 h 6698675"/>
              <a:gd name="connsiteX16677" fmla="*/ 678781 w 8267681"/>
              <a:gd name="connsiteY16677" fmla="*/ 3433872 h 6698675"/>
              <a:gd name="connsiteX16678" fmla="*/ 674083 w 8267681"/>
              <a:gd name="connsiteY16678" fmla="*/ 3436221 h 6698675"/>
              <a:gd name="connsiteX16679" fmla="*/ 657641 w 8267681"/>
              <a:gd name="connsiteY16679" fmla="*/ 3436221 h 6698675"/>
              <a:gd name="connsiteX16680" fmla="*/ 636503 w 8267681"/>
              <a:gd name="connsiteY16680" fmla="*/ 3426826 h 6698675"/>
              <a:gd name="connsiteX16681" fmla="*/ 610668 w 8267681"/>
              <a:gd name="connsiteY16681" fmla="*/ 3431524 h 6698675"/>
              <a:gd name="connsiteX16682" fmla="*/ 563691 w 8267681"/>
              <a:gd name="connsiteY16682" fmla="*/ 3408036 h 6698675"/>
              <a:gd name="connsiteX16683" fmla="*/ 568391 w 8267681"/>
              <a:gd name="connsiteY16683" fmla="*/ 3398641 h 6698675"/>
              <a:gd name="connsiteX16684" fmla="*/ 594225 w 8267681"/>
              <a:gd name="connsiteY16684" fmla="*/ 3403339 h 6698675"/>
              <a:gd name="connsiteX16685" fmla="*/ 636503 w 8267681"/>
              <a:gd name="connsiteY16685" fmla="*/ 3391595 h 6698675"/>
              <a:gd name="connsiteX16686" fmla="*/ 629456 w 8267681"/>
              <a:gd name="connsiteY16686" fmla="*/ 3386897 h 6698675"/>
              <a:gd name="connsiteX16687" fmla="*/ 622411 w 8267681"/>
              <a:gd name="connsiteY16687" fmla="*/ 3382199 h 6698675"/>
              <a:gd name="connsiteX16688" fmla="*/ 638853 w 8267681"/>
              <a:gd name="connsiteY16688" fmla="*/ 3375153 h 6698675"/>
              <a:gd name="connsiteX16689" fmla="*/ 648246 w 8267681"/>
              <a:gd name="connsiteY16689" fmla="*/ 3375153 h 6698675"/>
              <a:gd name="connsiteX16690" fmla="*/ 648246 w 8267681"/>
              <a:gd name="connsiteY16690" fmla="*/ 3361061 h 6698675"/>
              <a:gd name="connsiteX16691" fmla="*/ 613018 w 8267681"/>
              <a:gd name="connsiteY16691" fmla="*/ 3356363 h 6698675"/>
              <a:gd name="connsiteX16692" fmla="*/ 622411 w 8267681"/>
              <a:gd name="connsiteY16692" fmla="*/ 3342305 h 6698675"/>
              <a:gd name="connsiteX16693" fmla="*/ 638853 w 8267681"/>
              <a:gd name="connsiteY16693" fmla="*/ 3354014 h 6698675"/>
              <a:gd name="connsiteX16694" fmla="*/ 655296 w 8267681"/>
              <a:gd name="connsiteY16694" fmla="*/ 3349336 h 6698675"/>
              <a:gd name="connsiteX16695" fmla="*/ 798572 w 8267681"/>
              <a:gd name="connsiteY16695" fmla="*/ 3354014 h 6698675"/>
              <a:gd name="connsiteX16696" fmla="*/ 815010 w 8267681"/>
              <a:gd name="connsiteY16696" fmla="*/ 3349336 h 6698675"/>
              <a:gd name="connsiteX16697" fmla="*/ 824407 w 8267681"/>
              <a:gd name="connsiteY16697" fmla="*/ 3349336 h 6698675"/>
              <a:gd name="connsiteX16698" fmla="*/ 829102 w 8267681"/>
              <a:gd name="connsiteY16698" fmla="*/ 3345827 h 6698675"/>
              <a:gd name="connsiteX16699" fmla="*/ 832133 w 8267681"/>
              <a:gd name="connsiteY16699" fmla="*/ 3343559 h 6698675"/>
              <a:gd name="connsiteX16700" fmla="*/ 810323 w 8267681"/>
              <a:gd name="connsiteY16700" fmla="*/ 3337608 h 6698675"/>
              <a:gd name="connsiteX16701" fmla="*/ 803277 w 8267681"/>
              <a:gd name="connsiteY16701" fmla="*/ 3335256 h 6698675"/>
              <a:gd name="connsiteX16702" fmla="*/ 810323 w 8267681"/>
              <a:gd name="connsiteY16702" fmla="*/ 3330561 h 6698675"/>
              <a:gd name="connsiteX16703" fmla="*/ 836160 w 8267681"/>
              <a:gd name="connsiteY16703" fmla="*/ 3328206 h 6698675"/>
              <a:gd name="connsiteX16704" fmla="*/ 852601 w 8267681"/>
              <a:gd name="connsiteY16704" fmla="*/ 3335256 h 6698675"/>
              <a:gd name="connsiteX16705" fmla="*/ 848784 w 8267681"/>
              <a:gd name="connsiteY16705" fmla="*/ 3337315 h 6698675"/>
              <a:gd name="connsiteX16706" fmla="*/ 839067 w 8267681"/>
              <a:gd name="connsiteY16706" fmla="*/ 3342966 h 6698675"/>
              <a:gd name="connsiteX16707" fmla="*/ 854942 w 8267681"/>
              <a:gd name="connsiteY16707" fmla="*/ 3344947 h 6698675"/>
              <a:gd name="connsiteX16708" fmla="*/ 876077 w 8267681"/>
              <a:gd name="connsiteY16708" fmla="*/ 3349336 h 6698675"/>
              <a:gd name="connsiteX16709" fmla="*/ 918355 w 8267681"/>
              <a:gd name="connsiteY16709" fmla="*/ 3349336 h 6698675"/>
              <a:gd name="connsiteX16710" fmla="*/ 923055 w 8267681"/>
              <a:gd name="connsiteY16710" fmla="*/ 3344658 h 6698675"/>
              <a:gd name="connsiteX16711" fmla="*/ 918355 w 8267681"/>
              <a:gd name="connsiteY16711" fmla="*/ 3342305 h 6698675"/>
              <a:gd name="connsiteX16712" fmla="*/ 913658 w 8267681"/>
              <a:gd name="connsiteY16712" fmla="*/ 3339957 h 6698675"/>
              <a:gd name="connsiteX16713" fmla="*/ 1028748 w 8267681"/>
              <a:gd name="connsiteY16713" fmla="*/ 3361061 h 6698675"/>
              <a:gd name="connsiteX16714" fmla="*/ 1148537 w 8267681"/>
              <a:gd name="connsiteY16714" fmla="*/ 3356363 h 6698675"/>
              <a:gd name="connsiteX16715" fmla="*/ 1155587 w 8267681"/>
              <a:gd name="connsiteY16715" fmla="*/ 3356363 h 6698675"/>
              <a:gd name="connsiteX16716" fmla="*/ 1157931 w 8267681"/>
              <a:gd name="connsiteY16716" fmla="*/ 3354014 h 6698675"/>
              <a:gd name="connsiteX16717" fmla="*/ 1186117 w 8267681"/>
              <a:gd name="connsiteY16717" fmla="*/ 3349336 h 6698675"/>
              <a:gd name="connsiteX16718" fmla="*/ 1188465 w 8267681"/>
              <a:gd name="connsiteY16718" fmla="*/ 3354014 h 6698675"/>
              <a:gd name="connsiteX16719" fmla="*/ 1197864 w 8267681"/>
              <a:gd name="connsiteY16719" fmla="*/ 3356363 h 6698675"/>
              <a:gd name="connsiteX16720" fmla="*/ 1207257 w 8267681"/>
              <a:gd name="connsiteY16720" fmla="*/ 3356363 h 6698675"/>
              <a:gd name="connsiteX16721" fmla="*/ 1209607 w 8267681"/>
              <a:gd name="connsiteY16721" fmla="*/ 3349336 h 6698675"/>
              <a:gd name="connsiteX16722" fmla="*/ 1207257 w 8267681"/>
              <a:gd name="connsiteY16722" fmla="*/ 3347004 h 6698675"/>
              <a:gd name="connsiteX16723" fmla="*/ 1204906 w 8267681"/>
              <a:gd name="connsiteY16723" fmla="*/ 3347004 h 6698675"/>
              <a:gd name="connsiteX16724" fmla="*/ 1261277 w 8267681"/>
              <a:gd name="connsiteY16724" fmla="*/ 3328206 h 6698675"/>
              <a:gd name="connsiteX16725" fmla="*/ 1327043 w 8267681"/>
              <a:gd name="connsiteY16725" fmla="*/ 3330561 h 6698675"/>
              <a:gd name="connsiteX16726" fmla="*/ 1331741 w 8267681"/>
              <a:gd name="connsiteY16726" fmla="*/ 3325857 h 6698675"/>
              <a:gd name="connsiteX16727" fmla="*/ 1317649 w 8267681"/>
              <a:gd name="connsiteY16727" fmla="*/ 3318807 h 6698675"/>
              <a:gd name="connsiteX16728" fmla="*/ 1301206 w 8267681"/>
              <a:gd name="connsiteY16728" fmla="*/ 3318807 h 6698675"/>
              <a:gd name="connsiteX16729" fmla="*/ 1284765 w 8267681"/>
              <a:gd name="connsiteY16729" fmla="*/ 3318807 h 6698675"/>
              <a:gd name="connsiteX16730" fmla="*/ 1352883 w 8267681"/>
              <a:gd name="connsiteY16730" fmla="*/ 3283629 h 6698675"/>
              <a:gd name="connsiteX16731" fmla="*/ 1524344 w 8267681"/>
              <a:gd name="connsiteY16731" fmla="*/ 3100401 h 6698675"/>
              <a:gd name="connsiteX16732" fmla="*/ 1529038 w 8267681"/>
              <a:gd name="connsiteY16732" fmla="*/ 3095704 h 6698675"/>
              <a:gd name="connsiteX16733" fmla="*/ 1493808 w 8267681"/>
              <a:gd name="connsiteY16733" fmla="*/ 3093357 h 6698675"/>
              <a:gd name="connsiteX16734" fmla="*/ 1432739 w 8267681"/>
              <a:gd name="connsiteY16734" fmla="*/ 3091003 h 6698675"/>
              <a:gd name="connsiteX16735" fmla="*/ 1303555 w 8267681"/>
              <a:gd name="connsiteY16735" fmla="*/ 3229593 h 6698675"/>
              <a:gd name="connsiteX16736" fmla="*/ 1223699 w 8267681"/>
              <a:gd name="connsiteY16736" fmla="*/ 3271915 h 6698675"/>
              <a:gd name="connsiteX16737" fmla="*/ 1209607 w 8267681"/>
              <a:gd name="connsiteY16737" fmla="*/ 3271915 h 6698675"/>
              <a:gd name="connsiteX16738" fmla="*/ 1188465 w 8267681"/>
              <a:gd name="connsiteY16738" fmla="*/ 3278939 h 6698675"/>
              <a:gd name="connsiteX16739" fmla="*/ 1186117 w 8267681"/>
              <a:gd name="connsiteY16739" fmla="*/ 3285961 h 6698675"/>
              <a:gd name="connsiteX16740" fmla="*/ 1014655 w 8267681"/>
              <a:gd name="connsiteY16740" fmla="*/ 3304700 h 6698675"/>
              <a:gd name="connsiteX16741" fmla="*/ 887821 w 8267681"/>
              <a:gd name="connsiteY16741" fmla="*/ 3281270 h 6698675"/>
              <a:gd name="connsiteX16742" fmla="*/ 892520 w 8267681"/>
              <a:gd name="connsiteY16742" fmla="*/ 3271915 h 6698675"/>
              <a:gd name="connsiteX16743" fmla="*/ 883127 w 8267681"/>
              <a:gd name="connsiteY16743" fmla="*/ 3269552 h 6698675"/>
              <a:gd name="connsiteX16744" fmla="*/ 873728 w 8267681"/>
              <a:gd name="connsiteY16744" fmla="*/ 3271915 h 6698675"/>
              <a:gd name="connsiteX16745" fmla="*/ 866685 w 8267681"/>
              <a:gd name="connsiteY16745" fmla="*/ 3274248 h 6698675"/>
              <a:gd name="connsiteX16746" fmla="*/ 869035 w 8267681"/>
              <a:gd name="connsiteY16746" fmla="*/ 3276607 h 6698675"/>
              <a:gd name="connsiteX16747" fmla="*/ 784479 w 8267681"/>
              <a:gd name="connsiteY16747" fmla="*/ 3227241 h 6698675"/>
              <a:gd name="connsiteX16748" fmla="*/ 789174 w 8267681"/>
              <a:gd name="connsiteY16748" fmla="*/ 3224895 h 6698675"/>
              <a:gd name="connsiteX16749" fmla="*/ 791521 w 8267681"/>
              <a:gd name="connsiteY16749" fmla="*/ 3220195 h 6698675"/>
              <a:gd name="connsiteX16750" fmla="*/ 775080 w 8267681"/>
              <a:gd name="connsiteY16750" fmla="*/ 3217847 h 6698675"/>
              <a:gd name="connsiteX16751" fmla="*/ 749244 w 8267681"/>
              <a:gd name="connsiteY16751" fmla="*/ 3189660 h 6698675"/>
              <a:gd name="connsiteX16752" fmla="*/ 744547 w 8267681"/>
              <a:gd name="connsiteY16752" fmla="*/ 3184961 h 6698675"/>
              <a:gd name="connsiteX16753" fmla="*/ 746895 w 8267681"/>
              <a:gd name="connsiteY16753" fmla="*/ 3182612 h 6698675"/>
              <a:gd name="connsiteX16754" fmla="*/ 751594 w 8267681"/>
              <a:gd name="connsiteY16754" fmla="*/ 3177914 h 6698675"/>
              <a:gd name="connsiteX16755" fmla="*/ 746895 w 8267681"/>
              <a:gd name="connsiteY16755" fmla="*/ 3170868 h 6698675"/>
              <a:gd name="connsiteX16756" fmla="*/ 735152 w 8267681"/>
              <a:gd name="connsiteY16756" fmla="*/ 3170868 h 6698675"/>
              <a:gd name="connsiteX16757" fmla="*/ 742197 w 8267681"/>
              <a:gd name="connsiteY16757" fmla="*/ 2743386 h 6698675"/>
              <a:gd name="connsiteX16758" fmla="*/ 744547 w 8267681"/>
              <a:gd name="connsiteY16758" fmla="*/ 2743386 h 6698675"/>
              <a:gd name="connsiteX16759" fmla="*/ 770382 w 8267681"/>
              <a:gd name="connsiteY16759" fmla="*/ 2717548 h 6698675"/>
              <a:gd name="connsiteX16760" fmla="*/ 768037 w 8267681"/>
              <a:gd name="connsiteY16760" fmla="*/ 2715199 h 6698675"/>
              <a:gd name="connsiteX16761" fmla="*/ 786824 w 8267681"/>
              <a:gd name="connsiteY16761" fmla="*/ 2698757 h 6698675"/>
              <a:gd name="connsiteX16762" fmla="*/ 786824 w 8267681"/>
              <a:gd name="connsiteY16762" fmla="*/ 2701106 h 6698675"/>
              <a:gd name="connsiteX16763" fmla="*/ 786824 w 8267681"/>
              <a:gd name="connsiteY16763" fmla="*/ 2717548 h 6698675"/>
              <a:gd name="connsiteX16764" fmla="*/ 805614 w 8267681"/>
              <a:gd name="connsiteY16764" fmla="*/ 2738688 h 6698675"/>
              <a:gd name="connsiteX16765" fmla="*/ 812665 w 8267681"/>
              <a:gd name="connsiteY16765" fmla="*/ 2717548 h 6698675"/>
              <a:gd name="connsiteX16766" fmla="*/ 822057 w 8267681"/>
              <a:gd name="connsiteY16766" fmla="*/ 2708153 h 6698675"/>
              <a:gd name="connsiteX16767" fmla="*/ 831452 w 8267681"/>
              <a:gd name="connsiteY16767" fmla="*/ 2708153 h 6698675"/>
              <a:gd name="connsiteX16768" fmla="*/ 873728 w 8267681"/>
              <a:gd name="connsiteY16768" fmla="*/ 2731642 h 6698675"/>
              <a:gd name="connsiteX16769" fmla="*/ 883127 w 8267681"/>
              <a:gd name="connsiteY16769" fmla="*/ 2708153 h 6698675"/>
              <a:gd name="connsiteX16770" fmla="*/ 892520 w 8267681"/>
              <a:gd name="connsiteY16770" fmla="*/ 2710502 h 6698675"/>
              <a:gd name="connsiteX16771" fmla="*/ 901914 w 8267681"/>
              <a:gd name="connsiteY16771" fmla="*/ 2710502 h 6698675"/>
              <a:gd name="connsiteX16772" fmla="*/ 908962 w 8267681"/>
              <a:gd name="connsiteY16772" fmla="*/ 2717548 h 6698675"/>
              <a:gd name="connsiteX16773" fmla="*/ 897220 w 8267681"/>
              <a:gd name="connsiteY16773" fmla="*/ 2726944 h 6698675"/>
              <a:gd name="connsiteX16774" fmla="*/ 894870 w 8267681"/>
              <a:gd name="connsiteY16774" fmla="*/ 2736337 h 6698675"/>
              <a:gd name="connsiteX16775" fmla="*/ 916007 w 8267681"/>
              <a:gd name="connsiteY16775" fmla="*/ 2748077 h 6698675"/>
              <a:gd name="connsiteX16776" fmla="*/ 887821 w 8267681"/>
              <a:gd name="connsiteY16776" fmla="*/ 2755127 h 6698675"/>
              <a:gd name="connsiteX16777" fmla="*/ 887821 w 8267681"/>
              <a:gd name="connsiteY16777" fmla="*/ 2752777 h 6698675"/>
              <a:gd name="connsiteX16778" fmla="*/ 876077 w 8267681"/>
              <a:gd name="connsiteY16778" fmla="*/ 2743386 h 6698675"/>
              <a:gd name="connsiteX16779" fmla="*/ 833800 w 8267681"/>
              <a:gd name="connsiteY16779" fmla="*/ 2738688 h 6698675"/>
              <a:gd name="connsiteX16780" fmla="*/ 829102 w 8267681"/>
              <a:gd name="connsiteY16780" fmla="*/ 2741036 h 6698675"/>
              <a:gd name="connsiteX16781" fmla="*/ 854942 w 8267681"/>
              <a:gd name="connsiteY16781" fmla="*/ 2757477 h 6698675"/>
              <a:gd name="connsiteX16782" fmla="*/ 871380 w 8267681"/>
              <a:gd name="connsiteY16782" fmla="*/ 2757477 h 6698675"/>
              <a:gd name="connsiteX16783" fmla="*/ 866685 w 8267681"/>
              <a:gd name="connsiteY16783" fmla="*/ 2759827 h 6698675"/>
              <a:gd name="connsiteX16784" fmla="*/ 843195 w 8267681"/>
              <a:gd name="connsiteY16784" fmla="*/ 2773917 h 6698675"/>
              <a:gd name="connsiteX16785" fmla="*/ 824407 w 8267681"/>
              <a:gd name="connsiteY16785" fmla="*/ 2750429 h 6698675"/>
              <a:gd name="connsiteX16786" fmla="*/ 812665 w 8267681"/>
              <a:gd name="connsiteY16786" fmla="*/ 2750429 h 6698675"/>
              <a:gd name="connsiteX16787" fmla="*/ 796222 w 8267681"/>
              <a:gd name="connsiteY16787" fmla="*/ 2733988 h 6698675"/>
              <a:gd name="connsiteX16788" fmla="*/ 760987 w 8267681"/>
              <a:gd name="connsiteY16788" fmla="*/ 2766863 h 6698675"/>
              <a:gd name="connsiteX16789" fmla="*/ 735152 w 8267681"/>
              <a:gd name="connsiteY16789" fmla="*/ 2766863 h 6698675"/>
              <a:gd name="connsiteX16790" fmla="*/ 763336 w 8267681"/>
              <a:gd name="connsiteY16790" fmla="*/ 2783310 h 6698675"/>
              <a:gd name="connsiteX16791" fmla="*/ 779779 w 8267681"/>
              <a:gd name="connsiteY16791" fmla="*/ 2776265 h 6698675"/>
              <a:gd name="connsiteX16792" fmla="*/ 796222 w 8267681"/>
              <a:gd name="connsiteY16792" fmla="*/ 2773917 h 6698675"/>
              <a:gd name="connsiteX16793" fmla="*/ 819707 w 8267681"/>
              <a:gd name="connsiteY16793" fmla="*/ 2792709 h 6698675"/>
              <a:gd name="connsiteX16794" fmla="*/ 812665 w 8267681"/>
              <a:gd name="connsiteY16794" fmla="*/ 2802108 h 6698675"/>
              <a:gd name="connsiteX16795" fmla="*/ 812665 w 8267681"/>
              <a:gd name="connsiteY16795" fmla="*/ 2804448 h 6698675"/>
              <a:gd name="connsiteX16796" fmla="*/ 777429 w 8267681"/>
              <a:gd name="connsiteY16796" fmla="*/ 2865511 h 6698675"/>
              <a:gd name="connsiteX16797" fmla="*/ 772731 w 8267681"/>
              <a:gd name="connsiteY16797" fmla="*/ 2879603 h 6698675"/>
              <a:gd name="connsiteX16798" fmla="*/ 690524 w 8267681"/>
              <a:gd name="connsiteY16798" fmla="*/ 2940682 h 6698675"/>
              <a:gd name="connsiteX16799" fmla="*/ 768037 w 8267681"/>
              <a:gd name="connsiteY16799" fmla="*/ 2898397 h 6698675"/>
              <a:gd name="connsiteX16800" fmla="*/ 772731 w 8267681"/>
              <a:gd name="connsiteY16800" fmla="*/ 3013491 h 6698675"/>
              <a:gd name="connsiteX16801" fmla="*/ 880777 w 8267681"/>
              <a:gd name="connsiteY16801" fmla="*/ 3145031 h 6698675"/>
              <a:gd name="connsiteX16802" fmla="*/ 1056934 w 8267681"/>
              <a:gd name="connsiteY16802" fmla="*/ 3180267 h 6698675"/>
              <a:gd name="connsiteX16803" fmla="*/ 1228395 w 8267681"/>
              <a:gd name="connsiteY16803" fmla="*/ 3074565 h 6698675"/>
              <a:gd name="connsiteX16804" fmla="*/ 1273021 w 8267681"/>
              <a:gd name="connsiteY16804" fmla="*/ 2943031 h 6698675"/>
              <a:gd name="connsiteX16805" fmla="*/ 1270672 w 8267681"/>
              <a:gd name="connsiteY16805" fmla="*/ 2928935 h 6698675"/>
              <a:gd name="connsiteX16806" fmla="*/ 1270672 w 8267681"/>
              <a:gd name="connsiteY16806" fmla="*/ 2910142 h 6698675"/>
              <a:gd name="connsiteX16807" fmla="*/ 1270672 w 8267681"/>
              <a:gd name="connsiteY16807" fmla="*/ 2908969 h 6698675"/>
              <a:gd name="connsiteX16808" fmla="*/ 1275370 w 8267681"/>
              <a:gd name="connsiteY16808" fmla="*/ 2940682 h 6698675"/>
              <a:gd name="connsiteX16809" fmla="*/ 1275370 w 8267681"/>
              <a:gd name="connsiteY16809" fmla="*/ 2870211 h 6698675"/>
              <a:gd name="connsiteX16810" fmla="*/ 1240142 w 8267681"/>
              <a:gd name="connsiteY16810" fmla="*/ 2752777 h 6698675"/>
              <a:gd name="connsiteX16811" fmla="*/ 955940 w 8267681"/>
              <a:gd name="connsiteY16811" fmla="*/ 2597748 h 6698675"/>
              <a:gd name="connsiteX16812" fmla="*/ 932448 w 8267681"/>
              <a:gd name="connsiteY16812" fmla="*/ 2482647 h 6698675"/>
              <a:gd name="connsiteX16813" fmla="*/ 934798 w 8267681"/>
              <a:gd name="connsiteY16813" fmla="*/ 2459156 h 6698675"/>
              <a:gd name="connsiteX16814" fmla="*/ 967683 w 8267681"/>
              <a:gd name="connsiteY16814" fmla="*/ 2499091 h 6698675"/>
              <a:gd name="connsiteX16815" fmla="*/ 977076 w 8267681"/>
              <a:gd name="connsiteY16815" fmla="*/ 2489695 h 6698675"/>
              <a:gd name="connsiteX16816" fmla="*/ 972378 w 8267681"/>
              <a:gd name="connsiteY16816" fmla="*/ 2447413 h 6698675"/>
              <a:gd name="connsiteX16817" fmla="*/ 979425 w 8267681"/>
              <a:gd name="connsiteY16817" fmla="*/ 2393386 h 6698675"/>
              <a:gd name="connsiteX16818" fmla="*/ 972378 w 8267681"/>
              <a:gd name="connsiteY16818" fmla="*/ 2388703 h 6698675"/>
              <a:gd name="connsiteX16819" fmla="*/ 979425 w 8267681"/>
              <a:gd name="connsiteY16819" fmla="*/ 2381650 h 6698675"/>
              <a:gd name="connsiteX16820" fmla="*/ 981775 w 8267681"/>
              <a:gd name="connsiteY16820" fmla="*/ 2383997 h 6698675"/>
              <a:gd name="connsiteX16821" fmla="*/ 1031098 w 8267681"/>
              <a:gd name="connsiteY16821" fmla="*/ 2306488 h 6698675"/>
              <a:gd name="connsiteX16822" fmla="*/ 1047539 w 8267681"/>
              <a:gd name="connsiteY16822" fmla="*/ 2313539 h 6698675"/>
              <a:gd name="connsiteX16823" fmla="*/ 1059282 w 8267681"/>
              <a:gd name="connsiteY16823" fmla="*/ 2311189 h 6698675"/>
              <a:gd name="connsiteX16824" fmla="*/ 1054584 w 8267681"/>
              <a:gd name="connsiteY16824" fmla="*/ 2301787 h 6698675"/>
              <a:gd name="connsiteX16825" fmla="*/ 1063981 w 8267681"/>
              <a:gd name="connsiteY16825" fmla="*/ 2292396 h 6698675"/>
              <a:gd name="connsiteX16826" fmla="*/ 1089817 w 8267681"/>
              <a:gd name="connsiteY16826" fmla="*/ 2301787 h 6698675"/>
              <a:gd name="connsiteX16827" fmla="*/ 1106259 w 8267681"/>
              <a:gd name="connsiteY16827" fmla="*/ 2304141 h 6698675"/>
              <a:gd name="connsiteX16828" fmla="*/ 1115654 w 8267681"/>
              <a:gd name="connsiteY16828" fmla="*/ 2304141 h 6698675"/>
              <a:gd name="connsiteX16829" fmla="*/ 1120351 w 8267681"/>
              <a:gd name="connsiteY16829" fmla="*/ 2311189 h 6698675"/>
              <a:gd name="connsiteX16830" fmla="*/ 1115654 w 8267681"/>
              <a:gd name="connsiteY16830" fmla="*/ 2320594 h 6698675"/>
              <a:gd name="connsiteX16831" fmla="*/ 1118002 w 8267681"/>
              <a:gd name="connsiteY16831" fmla="*/ 2337017 h 6698675"/>
              <a:gd name="connsiteX16832" fmla="*/ 1136794 w 8267681"/>
              <a:gd name="connsiteY16832" fmla="*/ 2329971 h 6698675"/>
              <a:gd name="connsiteX16833" fmla="*/ 1143839 w 8267681"/>
              <a:gd name="connsiteY16833" fmla="*/ 2322938 h 6698675"/>
              <a:gd name="connsiteX16834" fmla="*/ 1153236 w 8267681"/>
              <a:gd name="connsiteY16834" fmla="*/ 2325277 h 6698675"/>
              <a:gd name="connsiteX16835" fmla="*/ 1169679 w 8267681"/>
              <a:gd name="connsiteY16835" fmla="*/ 2320594 h 6698675"/>
              <a:gd name="connsiteX16836" fmla="*/ 1174373 w 8267681"/>
              <a:gd name="connsiteY16836" fmla="*/ 2327617 h 6698675"/>
              <a:gd name="connsiteX16837" fmla="*/ 1169679 w 8267681"/>
              <a:gd name="connsiteY16837" fmla="*/ 2341718 h 6698675"/>
              <a:gd name="connsiteX16838" fmla="*/ 1139144 w 8267681"/>
              <a:gd name="connsiteY16838" fmla="*/ 2369902 h 6698675"/>
              <a:gd name="connsiteX16839" fmla="*/ 1153236 w 8267681"/>
              <a:gd name="connsiteY16839" fmla="*/ 2386351 h 6698675"/>
              <a:gd name="connsiteX16840" fmla="*/ 1153236 w 8267681"/>
              <a:gd name="connsiteY16840" fmla="*/ 2369902 h 6698675"/>
              <a:gd name="connsiteX16841" fmla="*/ 1162629 w 8267681"/>
              <a:gd name="connsiteY16841" fmla="*/ 2367555 h 6698675"/>
              <a:gd name="connsiteX16842" fmla="*/ 1172024 w 8267681"/>
              <a:gd name="connsiteY16842" fmla="*/ 2376947 h 6698675"/>
              <a:gd name="connsiteX16843" fmla="*/ 1176721 w 8267681"/>
              <a:gd name="connsiteY16843" fmla="*/ 2372252 h 6698675"/>
              <a:gd name="connsiteX16844" fmla="*/ 1172024 w 8267681"/>
              <a:gd name="connsiteY16844" fmla="*/ 2362860 h 6698675"/>
              <a:gd name="connsiteX16845" fmla="*/ 1188465 w 8267681"/>
              <a:gd name="connsiteY16845" fmla="*/ 2362860 h 6698675"/>
              <a:gd name="connsiteX16846" fmla="*/ 1197864 w 8267681"/>
              <a:gd name="connsiteY16846" fmla="*/ 2369902 h 6698675"/>
              <a:gd name="connsiteX16847" fmla="*/ 1183772 w 8267681"/>
              <a:gd name="connsiteY16847" fmla="*/ 2412180 h 6698675"/>
              <a:gd name="connsiteX16848" fmla="*/ 1186117 w 8267681"/>
              <a:gd name="connsiteY16848" fmla="*/ 2421576 h 6698675"/>
              <a:gd name="connsiteX16849" fmla="*/ 1179071 w 8267681"/>
              <a:gd name="connsiteY16849" fmla="*/ 2426276 h 6698675"/>
              <a:gd name="connsiteX16850" fmla="*/ 1169679 w 8267681"/>
              <a:gd name="connsiteY16850" fmla="*/ 2414529 h 6698675"/>
              <a:gd name="connsiteX16851" fmla="*/ 1160280 w 8267681"/>
              <a:gd name="connsiteY16851" fmla="*/ 2405140 h 6698675"/>
              <a:gd name="connsiteX16852" fmla="*/ 1150886 w 8267681"/>
              <a:gd name="connsiteY16852" fmla="*/ 2409828 h 6698675"/>
              <a:gd name="connsiteX16853" fmla="*/ 1169679 w 8267681"/>
              <a:gd name="connsiteY16853" fmla="*/ 2426276 h 6698675"/>
              <a:gd name="connsiteX16854" fmla="*/ 1176721 w 8267681"/>
              <a:gd name="connsiteY16854" fmla="*/ 2442714 h 6698675"/>
              <a:gd name="connsiteX16855" fmla="*/ 1188465 w 8267681"/>
              <a:gd name="connsiteY16855" fmla="*/ 2452110 h 6698675"/>
              <a:gd name="connsiteX16856" fmla="*/ 1181422 w 8267681"/>
              <a:gd name="connsiteY16856" fmla="*/ 2477949 h 6698675"/>
              <a:gd name="connsiteX16857" fmla="*/ 1186117 w 8267681"/>
              <a:gd name="connsiteY16857" fmla="*/ 2484996 h 6698675"/>
              <a:gd name="connsiteX16858" fmla="*/ 1221349 w 8267681"/>
              <a:gd name="connsiteY16858" fmla="*/ 2447413 h 6698675"/>
              <a:gd name="connsiteX16859" fmla="*/ 1221349 w 8267681"/>
              <a:gd name="connsiteY16859" fmla="*/ 2433321 h 6698675"/>
              <a:gd name="connsiteX16860" fmla="*/ 1204906 w 8267681"/>
              <a:gd name="connsiteY16860" fmla="*/ 2435668 h 6698675"/>
              <a:gd name="connsiteX16861" fmla="*/ 1200209 w 8267681"/>
              <a:gd name="connsiteY16861" fmla="*/ 2426276 h 6698675"/>
              <a:gd name="connsiteX16862" fmla="*/ 1214301 w 8267681"/>
              <a:gd name="connsiteY16862" fmla="*/ 2407487 h 6698675"/>
              <a:gd name="connsiteX16863" fmla="*/ 1216650 w 8267681"/>
              <a:gd name="connsiteY16863" fmla="*/ 2409828 h 6698675"/>
              <a:gd name="connsiteX16864" fmla="*/ 1223699 w 8267681"/>
              <a:gd name="connsiteY16864" fmla="*/ 2423923 h 6698675"/>
              <a:gd name="connsiteX16865" fmla="*/ 1230743 w 8267681"/>
              <a:gd name="connsiteY16865" fmla="*/ 2419225 h 6698675"/>
              <a:gd name="connsiteX16866" fmla="*/ 1244836 w 8267681"/>
              <a:gd name="connsiteY16866" fmla="*/ 2428622 h 6698675"/>
              <a:gd name="connsiteX16867" fmla="*/ 1242488 w 8267681"/>
              <a:gd name="connsiteY16867" fmla="*/ 2445068 h 6698675"/>
              <a:gd name="connsiteX16868" fmla="*/ 1256579 w 8267681"/>
              <a:gd name="connsiteY16868" fmla="*/ 2452110 h 6698675"/>
              <a:gd name="connsiteX16869" fmla="*/ 1265977 w 8267681"/>
              <a:gd name="connsiteY16869" fmla="*/ 2449762 h 6698675"/>
              <a:gd name="connsiteX16870" fmla="*/ 1270672 w 8267681"/>
              <a:gd name="connsiteY16870" fmla="*/ 2445068 h 6698675"/>
              <a:gd name="connsiteX16871" fmla="*/ 1233092 w 8267681"/>
              <a:gd name="connsiteY16871" fmla="*/ 2402786 h 6698675"/>
              <a:gd name="connsiteX16872" fmla="*/ 1237792 w 8267681"/>
              <a:gd name="connsiteY16872" fmla="*/ 2393386 h 6698675"/>
              <a:gd name="connsiteX16873" fmla="*/ 1317649 w 8267681"/>
              <a:gd name="connsiteY16873" fmla="*/ 2398089 h 6698675"/>
              <a:gd name="connsiteX16874" fmla="*/ 1322347 w 8267681"/>
              <a:gd name="connsiteY16874" fmla="*/ 2402786 h 6698675"/>
              <a:gd name="connsiteX16875" fmla="*/ 1305905 w 8267681"/>
              <a:gd name="connsiteY16875" fmla="*/ 2419225 h 6698675"/>
              <a:gd name="connsiteX16876" fmla="*/ 1308255 w 8267681"/>
              <a:gd name="connsiteY16876" fmla="*/ 2428622 h 6698675"/>
              <a:gd name="connsiteX16877" fmla="*/ 1291812 w 8267681"/>
              <a:gd name="connsiteY16877" fmla="*/ 2438019 h 6698675"/>
              <a:gd name="connsiteX16878" fmla="*/ 1298858 w 8267681"/>
              <a:gd name="connsiteY16878" fmla="*/ 2447413 h 6698675"/>
              <a:gd name="connsiteX16879" fmla="*/ 1310605 w 8267681"/>
              <a:gd name="connsiteY16879" fmla="*/ 2449762 h 6698675"/>
              <a:gd name="connsiteX16880" fmla="*/ 1317649 w 8267681"/>
              <a:gd name="connsiteY16880" fmla="*/ 2496742 h 6698675"/>
              <a:gd name="connsiteX16881" fmla="*/ 1317649 w 8267681"/>
              <a:gd name="connsiteY16881" fmla="*/ 2499091 h 6698675"/>
              <a:gd name="connsiteX16882" fmla="*/ 1324697 w 8267681"/>
              <a:gd name="connsiteY16882" fmla="*/ 2506137 h 6698675"/>
              <a:gd name="connsiteX16883" fmla="*/ 1334090 w 8267681"/>
              <a:gd name="connsiteY16883" fmla="*/ 2501439 h 6698675"/>
              <a:gd name="connsiteX16884" fmla="*/ 1329393 w 8267681"/>
              <a:gd name="connsiteY16884" fmla="*/ 2475601 h 6698675"/>
              <a:gd name="connsiteX16885" fmla="*/ 1334090 w 8267681"/>
              <a:gd name="connsiteY16885" fmla="*/ 2470902 h 6698675"/>
              <a:gd name="connsiteX16886" fmla="*/ 1350532 w 8267681"/>
              <a:gd name="connsiteY16886" fmla="*/ 2482647 h 6698675"/>
              <a:gd name="connsiteX16887" fmla="*/ 1355228 w 8267681"/>
              <a:gd name="connsiteY16887" fmla="*/ 2475601 h 6698675"/>
              <a:gd name="connsiteX16888" fmla="*/ 1336440 w 8267681"/>
              <a:gd name="connsiteY16888" fmla="*/ 2433321 h 6698675"/>
              <a:gd name="connsiteX16889" fmla="*/ 1341135 w 8267681"/>
              <a:gd name="connsiteY16889" fmla="*/ 2421576 h 6698675"/>
              <a:gd name="connsiteX16890" fmla="*/ 1355228 w 8267681"/>
              <a:gd name="connsiteY16890" fmla="*/ 2435668 h 6698675"/>
              <a:gd name="connsiteX16891" fmla="*/ 1362275 w 8267681"/>
              <a:gd name="connsiteY16891" fmla="*/ 2459156 h 6698675"/>
              <a:gd name="connsiteX16892" fmla="*/ 1374019 w 8267681"/>
              <a:gd name="connsiteY16892" fmla="*/ 2492043 h 6698675"/>
              <a:gd name="connsiteX16893" fmla="*/ 1371671 w 8267681"/>
              <a:gd name="connsiteY16893" fmla="*/ 2501439 h 6698675"/>
              <a:gd name="connsiteX16894" fmla="*/ 1381068 w 8267681"/>
              <a:gd name="connsiteY16894" fmla="*/ 2517883 h 6698675"/>
              <a:gd name="connsiteX16895" fmla="*/ 1376368 w 8267681"/>
              <a:gd name="connsiteY16895" fmla="*/ 2501439 h 6698675"/>
              <a:gd name="connsiteX16896" fmla="*/ 1374019 w 8267681"/>
              <a:gd name="connsiteY16896" fmla="*/ 2492043 h 6698675"/>
              <a:gd name="connsiteX16897" fmla="*/ 1381068 w 8267681"/>
              <a:gd name="connsiteY16897" fmla="*/ 2482647 h 6698675"/>
              <a:gd name="connsiteX16898" fmla="*/ 1376368 w 8267681"/>
              <a:gd name="connsiteY16898" fmla="*/ 2466204 h 6698675"/>
              <a:gd name="connsiteX16899" fmla="*/ 1378718 w 8267681"/>
              <a:gd name="connsiteY16899" fmla="*/ 2463855 h 6698675"/>
              <a:gd name="connsiteX16900" fmla="*/ 1407885 w 8267681"/>
              <a:gd name="connsiteY16900" fmla="*/ 2510837 h 6698675"/>
              <a:gd name="connsiteX16901" fmla="*/ 1399856 w 8267681"/>
              <a:gd name="connsiteY16901" fmla="*/ 2510837 h 6698675"/>
              <a:gd name="connsiteX16902" fmla="*/ 1395160 w 8267681"/>
              <a:gd name="connsiteY16902" fmla="*/ 2515534 h 6698675"/>
              <a:gd name="connsiteX16903" fmla="*/ 1399856 w 8267681"/>
              <a:gd name="connsiteY16903" fmla="*/ 2522580 h 6698675"/>
              <a:gd name="connsiteX16904" fmla="*/ 1402205 w 8267681"/>
              <a:gd name="connsiteY16904" fmla="*/ 2524930 h 6698675"/>
              <a:gd name="connsiteX16905" fmla="*/ 1406903 w 8267681"/>
              <a:gd name="connsiteY16905" fmla="*/ 2522580 h 6698675"/>
              <a:gd name="connsiteX16906" fmla="*/ 1409253 w 8267681"/>
              <a:gd name="connsiteY16906" fmla="*/ 2520232 h 6698675"/>
              <a:gd name="connsiteX16907" fmla="*/ 1410811 w 8267681"/>
              <a:gd name="connsiteY16907" fmla="*/ 2515551 h 6698675"/>
              <a:gd name="connsiteX16908" fmla="*/ 1445070 w 8267681"/>
              <a:gd name="connsiteY16908" fmla="*/ 2570735 h 6698675"/>
              <a:gd name="connsiteX16909" fmla="*/ 1486761 w 8267681"/>
              <a:gd name="connsiteY16909" fmla="*/ 2698757 h 6698675"/>
              <a:gd name="connsiteX16910" fmla="*/ 1491458 w 8267681"/>
              <a:gd name="connsiteY16910" fmla="*/ 2696407 h 6698675"/>
              <a:gd name="connsiteX16911" fmla="*/ 1531386 w 8267681"/>
              <a:gd name="connsiteY16911" fmla="*/ 2691710 h 6698675"/>
              <a:gd name="connsiteX16912" fmla="*/ 1594806 w 8267681"/>
              <a:gd name="connsiteY16912" fmla="*/ 2689360 h 6698675"/>
              <a:gd name="connsiteX16913" fmla="*/ 1590107 w 8267681"/>
              <a:gd name="connsiteY16913" fmla="*/ 2663521 h 6698675"/>
              <a:gd name="connsiteX16914" fmla="*/ 1540786 w 8267681"/>
              <a:gd name="connsiteY16914" fmla="*/ 2684662 h 6698675"/>
              <a:gd name="connsiteX16915" fmla="*/ 1587757 w 8267681"/>
              <a:gd name="connsiteY16915" fmla="*/ 2654125 h 6698675"/>
              <a:gd name="connsiteX16916" fmla="*/ 1571316 w 8267681"/>
              <a:gd name="connsiteY16916" fmla="*/ 2581307 h 6698675"/>
              <a:gd name="connsiteX16917" fmla="*/ 1559573 w 8267681"/>
              <a:gd name="connsiteY16917" fmla="*/ 2604796 h 6698675"/>
              <a:gd name="connsiteX16918" fmla="*/ 1547828 w 8267681"/>
              <a:gd name="connsiteY16918" fmla="*/ 2539024 h 6698675"/>
              <a:gd name="connsiteX16919" fmla="*/ 1545479 w 8267681"/>
              <a:gd name="connsiteY16919" fmla="*/ 2564863 h 6698675"/>
              <a:gd name="connsiteX16920" fmla="*/ 1521993 w 8267681"/>
              <a:gd name="connsiteY16920" fmla="*/ 2548420 h 6698675"/>
              <a:gd name="connsiteX16921" fmla="*/ 1529038 w 8267681"/>
              <a:gd name="connsiteY16921" fmla="*/ 2609494 h 6698675"/>
              <a:gd name="connsiteX16922" fmla="*/ 1521993 w 8267681"/>
              <a:gd name="connsiteY16922" fmla="*/ 2560165 h 6698675"/>
              <a:gd name="connsiteX16923" fmla="*/ 1484412 w 8267681"/>
              <a:gd name="connsiteY16923" fmla="*/ 2623588 h 6698675"/>
              <a:gd name="connsiteX16924" fmla="*/ 1493808 w 8267681"/>
              <a:gd name="connsiteY16924" fmla="*/ 2576607 h 6698675"/>
              <a:gd name="connsiteX16925" fmla="*/ 1465623 w 8267681"/>
              <a:gd name="connsiteY16925" fmla="*/ 2597748 h 6698675"/>
              <a:gd name="connsiteX16926" fmla="*/ 1496158 w 8267681"/>
              <a:gd name="connsiteY16926" fmla="*/ 2569561 h 6698675"/>
              <a:gd name="connsiteX16927" fmla="*/ 1529038 w 8267681"/>
              <a:gd name="connsiteY16927" fmla="*/ 2470902 h 6698675"/>
              <a:gd name="connsiteX16928" fmla="*/ 1526694 w 8267681"/>
              <a:gd name="connsiteY16928" fmla="*/ 2470902 h 6698675"/>
              <a:gd name="connsiteX16929" fmla="*/ 1524344 w 8267681"/>
              <a:gd name="connsiteY16929" fmla="*/ 2473251 h 6698675"/>
              <a:gd name="connsiteX16930" fmla="*/ 1524344 w 8267681"/>
              <a:gd name="connsiteY16930" fmla="*/ 2470902 h 6698675"/>
              <a:gd name="connsiteX16931" fmla="*/ 1517295 w 8267681"/>
              <a:gd name="connsiteY16931" fmla="*/ 2470902 h 6698675"/>
              <a:gd name="connsiteX16932" fmla="*/ 1482066 w 8267681"/>
              <a:gd name="connsiteY16932" fmla="*/ 2470902 h 6698675"/>
              <a:gd name="connsiteX16933" fmla="*/ 1456226 w 8267681"/>
              <a:gd name="connsiteY16933" fmla="*/ 2466204 h 6698675"/>
              <a:gd name="connsiteX16934" fmla="*/ 1423345 w 8267681"/>
              <a:gd name="connsiteY16934" fmla="*/ 2454459 h 6698675"/>
              <a:gd name="connsiteX16935" fmla="*/ 1388112 w 8267681"/>
              <a:gd name="connsiteY16935" fmla="*/ 2423923 h 6698675"/>
              <a:gd name="connsiteX16936" fmla="*/ 1371671 w 8267681"/>
              <a:gd name="connsiteY16936" fmla="*/ 2405140 h 6698675"/>
              <a:gd name="connsiteX16937" fmla="*/ 1352883 w 8267681"/>
              <a:gd name="connsiteY16937" fmla="*/ 2381650 h 6698675"/>
              <a:gd name="connsiteX16938" fmla="*/ 1315299 w 8267681"/>
              <a:gd name="connsiteY16938" fmla="*/ 2306488 h 6698675"/>
              <a:gd name="connsiteX16939" fmla="*/ 1308255 w 8267681"/>
              <a:gd name="connsiteY16939" fmla="*/ 2278306 h 6698675"/>
              <a:gd name="connsiteX16940" fmla="*/ 1305905 w 8267681"/>
              <a:gd name="connsiteY16940" fmla="*/ 2247765 h 6698675"/>
              <a:gd name="connsiteX16941" fmla="*/ 1305905 w 8267681"/>
              <a:gd name="connsiteY16941" fmla="*/ 2236029 h 6698675"/>
              <a:gd name="connsiteX16942" fmla="*/ 1275370 w 8267681"/>
              <a:gd name="connsiteY16942" fmla="*/ 2217233 h 6698675"/>
              <a:gd name="connsiteX16943" fmla="*/ 1294162 w 8267681"/>
              <a:gd name="connsiteY16943" fmla="*/ 2205490 h 6698675"/>
              <a:gd name="connsiteX16944" fmla="*/ 1310605 w 8267681"/>
              <a:gd name="connsiteY16944" fmla="*/ 2214885 h 6698675"/>
              <a:gd name="connsiteX16945" fmla="*/ 1310605 w 8267681"/>
              <a:gd name="connsiteY16945" fmla="*/ 2212534 h 6698675"/>
              <a:gd name="connsiteX16946" fmla="*/ 1315299 w 8267681"/>
              <a:gd name="connsiteY16946" fmla="*/ 2193745 h 6698675"/>
              <a:gd name="connsiteX16947" fmla="*/ 1312950 w 8267681"/>
              <a:gd name="connsiteY16947" fmla="*/ 2196093 h 6698675"/>
              <a:gd name="connsiteX16948" fmla="*/ 1308255 w 8267681"/>
              <a:gd name="connsiteY16948" fmla="*/ 2191392 h 6698675"/>
              <a:gd name="connsiteX16949" fmla="*/ 1310605 w 8267681"/>
              <a:gd name="connsiteY16949" fmla="*/ 2186696 h 6698675"/>
              <a:gd name="connsiteX16950" fmla="*/ 1315299 w 8267681"/>
              <a:gd name="connsiteY16950" fmla="*/ 2191392 h 6698675"/>
              <a:gd name="connsiteX16951" fmla="*/ 1319997 w 8267681"/>
              <a:gd name="connsiteY16951" fmla="*/ 2172581 h 6698675"/>
              <a:gd name="connsiteX16952" fmla="*/ 1338790 w 8267681"/>
              <a:gd name="connsiteY16952" fmla="*/ 2135051 h 6698675"/>
              <a:gd name="connsiteX16953" fmla="*/ 1348182 w 8267681"/>
              <a:gd name="connsiteY16953" fmla="*/ 2123298 h 6698675"/>
              <a:gd name="connsiteX16954" fmla="*/ 1341135 w 8267681"/>
              <a:gd name="connsiteY16954" fmla="*/ 2116253 h 6698675"/>
              <a:gd name="connsiteX16955" fmla="*/ 1343485 w 8267681"/>
              <a:gd name="connsiteY16955" fmla="*/ 2102159 h 6698675"/>
              <a:gd name="connsiteX16956" fmla="*/ 1352883 w 8267681"/>
              <a:gd name="connsiteY16956" fmla="*/ 2106854 h 6698675"/>
              <a:gd name="connsiteX16957" fmla="*/ 1355228 w 8267681"/>
              <a:gd name="connsiteY16957" fmla="*/ 2102159 h 6698675"/>
              <a:gd name="connsiteX16958" fmla="*/ 1376368 w 8267681"/>
              <a:gd name="connsiteY16958" fmla="*/ 2083361 h 6698675"/>
              <a:gd name="connsiteX16959" fmla="*/ 1399856 w 8267681"/>
              <a:gd name="connsiteY16959" fmla="*/ 2066928 h 6698675"/>
              <a:gd name="connsiteX16960" fmla="*/ 1402205 w 8267681"/>
              <a:gd name="connsiteY16960" fmla="*/ 2066928 h 6698675"/>
              <a:gd name="connsiteX16961" fmla="*/ 1402205 w 8267681"/>
              <a:gd name="connsiteY16961" fmla="*/ 2057527 h 6698675"/>
              <a:gd name="connsiteX16962" fmla="*/ 1411603 w 8267681"/>
              <a:gd name="connsiteY16962" fmla="*/ 2059879 h 6698675"/>
              <a:gd name="connsiteX16963" fmla="*/ 1413948 w 8267681"/>
              <a:gd name="connsiteY16963" fmla="*/ 2062226 h 6698675"/>
              <a:gd name="connsiteX16964" fmla="*/ 1446832 w 8267681"/>
              <a:gd name="connsiteY16964" fmla="*/ 2050485 h 6698675"/>
              <a:gd name="connsiteX16965" fmla="*/ 1449180 w 8267681"/>
              <a:gd name="connsiteY16965" fmla="*/ 2041086 h 6698675"/>
              <a:gd name="connsiteX16966" fmla="*/ 1472668 w 8267681"/>
              <a:gd name="connsiteY16966" fmla="*/ 2038738 h 6698675"/>
              <a:gd name="connsiteX16967" fmla="*/ 1489110 w 8267681"/>
              <a:gd name="connsiteY16967" fmla="*/ 2031688 h 6698675"/>
              <a:gd name="connsiteX16968" fmla="*/ 1493808 w 8267681"/>
              <a:gd name="connsiteY16968" fmla="*/ 2034040 h 6698675"/>
              <a:gd name="connsiteX16969" fmla="*/ 1498509 w 8267681"/>
              <a:gd name="connsiteY16969" fmla="*/ 2043438 h 6698675"/>
              <a:gd name="connsiteX16970" fmla="*/ 1486761 w 8267681"/>
              <a:gd name="connsiteY16970" fmla="*/ 2048132 h 6698675"/>
              <a:gd name="connsiteX16971" fmla="*/ 1521993 w 8267681"/>
              <a:gd name="connsiteY16971" fmla="*/ 2050485 h 6698675"/>
              <a:gd name="connsiteX16972" fmla="*/ 1550179 w 8267681"/>
              <a:gd name="connsiteY16972" fmla="*/ 2055183 h 6698675"/>
              <a:gd name="connsiteX16973" fmla="*/ 1564271 w 8267681"/>
              <a:gd name="connsiteY16973" fmla="*/ 2059879 h 6698675"/>
              <a:gd name="connsiteX16974" fmla="*/ 1571316 w 8267681"/>
              <a:gd name="connsiteY16974" fmla="*/ 2062226 h 6698675"/>
              <a:gd name="connsiteX16975" fmla="*/ 1578364 w 8267681"/>
              <a:gd name="connsiteY16975" fmla="*/ 2064576 h 6698675"/>
              <a:gd name="connsiteX16976" fmla="*/ 1564271 w 8267681"/>
              <a:gd name="connsiteY16976" fmla="*/ 2076312 h 6698675"/>
              <a:gd name="connsiteX16977" fmla="*/ 1587757 w 8267681"/>
              <a:gd name="connsiteY16977" fmla="*/ 2083361 h 6698675"/>
              <a:gd name="connsiteX16978" fmla="*/ 1615942 w 8267681"/>
              <a:gd name="connsiteY16978" fmla="*/ 2081017 h 6698675"/>
              <a:gd name="connsiteX16979" fmla="*/ 1625342 w 8267681"/>
              <a:gd name="connsiteY16979" fmla="*/ 2092760 h 6698675"/>
              <a:gd name="connsiteX16980" fmla="*/ 1634734 w 8267681"/>
              <a:gd name="connsiteY16980" fmla="*/ 2083361 h 6698675"/>
              <a:gd name="connsiteX16981" fmla="*/ 1667619 w 8267681"/>
              <a:gd name="connsiteY16981" fmla="*/ 2088061 h 6698675"/>
              <a:gd name="connsiteX16982" fmla="*/ 1662919 w 8267681"/>
              <a:gd name="connsiteY16982" fmla="*/ 2085713 h 6698675"/>
              <a:gd name="connsiteX16983" fmla="*/ 1674663 w 8267681"/>
              <a:gd name="connsiteY16983" fmla="*/ 2085713 h 6698675"/>
              <a:gd name="connsiteX16984" fmla="*/ 1702848 w 8267681"/>
              <a:gd name="connsiteY16984" fmla="*/ 2099806 h 6698675"/>
              <a:gd name="connsiteX16985" fmla="*/ 1712247 w 8267681"/>
              <a:gd name="connsiteY16985" fmla="*/ 2099806 h 6698675"/>
              <a:gd name="connsiteX16986" fmla="*/ 1738082 w 8267681"/>
              <a:gd name="connsiteY16986" fmla="*/ 2116253 h 6698675"/>
              <a:gd name="connsiteX16987" fmla="*/ 1768613 w 8267681"/>
              <a:gd name="connsiteY16987" fmla="*/ 2130345 h 6698675"/>
              <a:gd name="connsiteX16988" fmla="*/ 1754520 w 8267681"/>
              <a:gd name="connsiteY16988" fmla="*/ 2125650 h 6698675"/>
              <a:gd name="connsiteX16989" fmla="*/ 1738082 w 8267681"/>
              <a:gd name="connsiteY16989" fmla="*/ 2137393 h 6698675"/>
              <a:gd name="connsiteX16990" fmla="*/ 1787404 w 8267681"/>
              <a:gd name="connsiteY16990" fmla="*/ 2163216 h 6698675"/>
              <a:gd name="connsiteX16991" fmla="*/ 1907193 w 8267681"/>
              <a:gd name="connsiteY16991" fmla="*/ 2174939 h 6698675"/>
              <a:gd name="connsiteX16992" fmla="*/ 1975307 w 8267681"/>
              <a:gd name="connsiteY16992" fmla="*/ 2158534 h 6698675"/>
              <a:gd name="connsiteX16993" fmla="*/ 1986573 w 8267681"/>
              <a:gd name="connsiteY16993" fmla="*/ 2147360 h 6698675"/>
              <a:gd name="connsiteX16994" fmla="*/ 1977656 w 8267681"/>
              <a:gd name="connsiteY16994" fmla="*/ 2158534 h 6698675"/>
              <a:gd name="connsiteX16995" fmla="*/ 2022284 w 8267681"/>
              <a:gd name="connsiteY16995" fmla="*/ 2099806 h 6698675"/>
              <a:gd name="connsiteX16996" fmla="*/ 2029329 w 8267681"/>
              <a:gd name="connsiteY16996" fmla="*/ 2069276 h 6698675"/>
              <a:gd name="connsiteX16997" fmla="*/ 2031677 w 8267681"/>
              <a:gd name="connsiteY16997" fmla="*/ 2055183 h 6698675"/>
              <a:gd name="connsiteX16998" fmla="*/ 2026980 w 8267681"/>
              <a:gd name="connsiteY16998" fmla="*/ 2048132 h 6698675"/>
              <a:gd name="connsiteX16999" fmla="*/ 2022284 w 8267681"/>
              <a:gd name="connsiteY16999" fmla="*/ 2064576 h 6698675"/>
              <a:gd name="connsiteX17000" fmla="*/ 2012887 w 8267681"/>
              <a:gd name="connsiteY17000" fmla="*/ 2099806 h 6698675"/>
              <a:gd name="connsiteX17001" fmla="*/ 1996152 w 8267681"/>
              <a:gd name="connsiteY17001" fmla="*/ 2135344 h 6698675"/>
              <a:gd name="connsiteX17002" fmla="*/ 1992664 w 8267681"/>
              <a:gd name="connsiteY17002" fmla="*/ 2139718 h 6698675"/>
              <a:gd name="connsiteX17003" fmla="*/ 1997329 w 8267681"/>
              <a:gd name="connsiteY17003" fmla="*/ 2132110 h 6698675"/>
              <a:gd name="connsiteX17004" fmla="*/ 1996449 w 8267681"/>
              <a:gd name="connsiteY17004" fmla="*/ 2123298 h 6698675"/>
              <a:gd name="connsiteX17005" fmla="*/ 1963563 w 8267681"/>
              <a:gd name="connsiteY17005" fmla="*/ 2144444 h 6698675"/>
              <a:gd name="connsiteX17006" fmla="*/ 1937729 w 8267681"/>
              <a:gd name="connsiteY17006" fmla="*/ 2149152 h 6698675"/>
              <a:gd name="connsiteX17007" fmla="*/ 1916587 w 8267681"/>
              <a:gd name="connsiteY17007" fmla="*/ 2149152 h 6698675"/>
              <a:gd name="connsiteX17008" fmla="*/ 1895451 w 8267681"/>
              <a:gd name="connsiteY17008" fmla="*/ 2149152 h 6698675"/>
              <a:gd name="connsiteX17009" fmla="*/ 1836730 w 8267681"/>
              <a:gd name="connsiteY17009" fmla="*/ 2137393 h 6698675"/>
              <a:gd name="connsiteX17010" fmla="*/ 1888402 w 8267681"/>
              <a:gd name="connsiteY17010" fmla="*/ 2146800 h 6698675"/>
              <a:gd name="connsiteX17011" fmla="*/ 1914238 w 8267681"/>
              <a:gd name="connsiteY17011" fmla="*/ 2146800 h 6698675"/>
              <a:gd name="connsiteX17012" fmla="*/ 1925982 w 8267681"/>
              <a:gd name="connsiteY17012" fmla="*/ 2146800 h 6698675"/>
              <a:gd name="connsiteX17013" fmla="*/ 1935378 w 8267681"/>
              <a:gd name="connsiteY17013" fmla="*/ 2144444 h 6698675"/>
              <a:gd name="connsiteX17014" fmla="*/ 1980006 w 8267681"/>
              <a:gd name="connsiteY17014" fmla="*/ 2116253 h 6698675"/>
              <a:gd name="connsiteX17015" fmla="*/ 1996449 w 8267681"/>
              <a:gd name="connsiteY17015" fmla="*/ 2088061 h 6698675"/>
              <a:gd name="connsiteX17016" fmla="*/ 2001143 w 8267681"/>
              <a:gd name="connsiteY17016" fmla="*/ 2071617 h 6698675"/>
              <a:gd name="connsiteX17017" fmla="*/ 2003492 w 8267681"/>
              <a:gd name="connsiteY17017" fmla="*/ 2059879 h 6698675"/>
              <a:gd name="connsiteX17018" fmla="*/ 2005841 w 8267681"/>
              <a:gd name="connsiteY17018" fmla="*/ 2038738 h 6698675"/>
              <a:gd name="connsiteX17019" fmla="*/ 2015236 w 8267681"/>
              <a:gd name="connsiteY17019" fmla="*/ 2059879 h 6698675"/>
              <a:gd name="connsiteX17020" fmla="*/ 2012887 w 8267681"/>
              <a:gd name="connsiteY17020" fmla="*/ 2071617 h 6698675"/>
              <a:gd name="connsiteX17021" fmla="*/ 2010542 w 8267681"/>
              <a:gd name="connsiteY17021" fmla="*/ 2088061 h 6698675"/>
              <a:gd name="connsiteX17022" fmla="*/ 1998794 w 8267681"/>
              <a:gd name="connsiteY17022" fmla="*/ 2118599 h 6698675"/>
              <a:gd name="connsiteX17023" fmla="*/ 2015236 w 8267681"/>
              <a:gd name="connsiteY17023" fmla="*/ 2083361 h 6698675"/>
              <a:gd name="connsiteX17024" fmla="*/ 2019934 w 8267681"/>
              <a:gd name="connsiteY17024" fmla="*/ 2066928 h 6698675"/>
              <a:gd name="connsiteX17025" fmla="*/ 2022284 w 8267681"/>
              <a:gd name="connsiteY17025" fmla="*/ 2057527 h 6698675"/>
              <a:gd name="connsiteX17026" fmla="*/ 2022284 w 8267681"/>
              <a:gd name="connsiteY17026" fmla="*/ 2041086 h 6698675"/>
              <a:gd name="connsiteX17027" fmla="*/ 2015236 w 8267681"/>
              <a:gd name="connsiteY17027" fmla="*/ 2029341 h 6698675"/>
              <a:gd name="connsiteX17028" fmla="*/ 2001143 w 8267681"/>
              <a:gd name="connsiteY17028" fmla="*/ 2026993 h 6698675"/>
              <a:gd name="connsiteX17029" fmla="*/ 1980006 w 8267681"/>
              <a:gd name="connsiteY17029" fmla="*/ 2022296 h 6698675"/>
              <a:gd name="connsiteX17030" fmla="*/ 1928331 w 8267681"/>
              <a:gd name="connsiteY17030" fmla="*/ 2015247 h 6698675"/>
              <a:gd name="connsiteX17031" fmla="*/ 1850823 w 8267681"/>
              <a:gd name="connsiteY17031" fmla="*/ 2005860 h 6698675"/>
              <a:gd name="connsiteX17032" fmla="*/ 1700499 w 8267681"/>
              <a:gd name="connsiteY17032" fmla="*/ 1968277 h 6698675"/>
              <a:gd name="connsiteX17033" fmla="*/ 1904843 w 8267681"/>
              <a:gd name="connsiteY17033" fmla="*/ 1987067 h 6698675"/>
              <a:gd name="connsiteX17034" fmla="*/ 1721640 w 8267681"/>
              <a:gd name="connsiteY17034" fmla="*/ 1963579 h 6698675"/>
              <a:gd name="connsiteX17035" fmla="*/ 1742778 w 8267681"/>
              <a:gd name="connsiteY17035" fmla="*/ 1958881 h 6698675"/>
              <a:gd name="connsiteX17036" fmla="*/ 1533736 w 8267681"/>
              <a:gd name="connsiteY17036" fmla="*/ 1942441 h 6698675"/>
              <a:gd name="connsiteX17037" fmla="*/ 1536086 w 8267681"/>
              <a:gd name="connsiteY17037" fmla="*/ 1942441 h 6698675"/>
              <a:gd name="connsiteX17038" fmla="*/ 1233092 w 8267681"/>
              <a:gd name="connsiteY17038" fmla="*/ 1897815 h 6698675"/>
              <a:gd name="connsiteX17039" fmla="*/ 1221349 w 8267681"/>
              <a:gd name="connsiteY17039" fmla="*/ 1890769 h 6698675"/>
              <a:gd name="connsiteX17040" fmla="*/ 1002912 w 8267681"/>
              <a:gd name="connsiteY17040" fmla="*/ 1864933 h 6698675"/>
              <a:gd name="connsiteX17041" fmla="*/ 906612 w 8267681"/>
              <a:gd name="connsiteY17041" fmla="*/ 1839098 h 6698675"/>
              <a:gd name="connsiteX17042" fmla="*/ 749244 w 8267681"/>
              <a:gd name="connsiteY17042" fmla="*/ 1815611 h 6698675"/>
              <a:gd name="connsiteX17043" fmla="*/ 659991 w 8267681"/>
              <a:gd name="connsiteY17043" fmla="*/ 1810914 h 6698675"/>
              <a:gd name="connsiteX17044" fmla="*/ 573086 w 8267681"/>
              <a:gd name="connsiteY17044" fmla="*/ 1799170 h 6698675"/>
              <a:gd name="connsiteX17045" fmla="*/ 556648 w 8267681"/>
              <a:gd name="connsiteY17045" fmla="*/ 1794472 h 6698675"/>
              <a:gd name="connsiteX17046" fmla="*/ 540205 w 8267681"/>
              <a:gd name="connsiteY17046" fmla="*/ 1787426 h 6698675"/>
              <a:gd name="connsiteX17047" fmla="*/ 502623 w 8267681"/>
              <a:gd name="connsiteY17047" fmla="*/ 1759241 h 6698675"/>
              <a:gd name="connsiteX17048" fmla="*/ 474437 w 8267681"/>
              <a:gd name="connsiteY17048" fmla="*/ 1712268 h 6698675"/>
              <a:gd name="connsiteX17049" fmla="*/ 462693 w 8267681"/>
              <a:gd name="connsiteY17049" fmla="*/ 1658247 h 6698675"/>
              <a:gd name="connsiteX17050" fmla="*/ 474437 w 8267681"/>
              <a:gd name="connsiteY17050" fmla="*/ 1705222 h 6698675"/>
              <a:gd name="connsiteX17051" fmla="*/ 504971 w 8267681"/>
              <a:gd name="connsiteY17051" fmla="*/ 1754544 h 6698675"/>
              <a:gd name="connsiteX17052" fmla="*/ 469743 w 8267681"/>
              <a:gd name="connsiteY17052" fmla="*/ 1672340 h 6698675"/>
              <a:gd name="connsiteX17053" fmla="*/ 467392 w 8267681"/>
              <a:gd name="connsiteY17053" fmla="*/ 1653550 h 6698675"/>
              <a:gd name="connsiteX17054" fmla="*/ 467392 w 8267681"/>
              <a:gd name="connsiteY17054" fmla="*/ 1632411 h 6698675"/>
              <a:gd name="connsiteX17055" fmla="*/ 469743 w 8267681"/>
              <a:gd name="connsiteY17055" fmla="*/ 1611273 h 6698675"/>
              <a:gd name="connsiteX17056" fmla="*/ 476786 w 8267681"/>
              <a:gd name="connsiteY17056" fmla="*/ 1587786 h 6698675"/>
              <a:gd name="connsiteX17057" fmla="*/ 493227 w 8267681"/>
              <a:gd name="connsiteY17057" fmla="*/ 1533763 h 6698675"/>
              <a:gd name="connsiteX17058" fmla="*/ 591875 w 8267681"/>
              <a:gd name="connsiteY17058" fmla="*/ 1460947 h 6698675"/>
              <a:gd name="connsiteX17059" fmla="*/ 735152 w 8267681"/>
              <a:gd name="connsiteY17059" fmla="*/ 1460947 h 6698675"/>
              <a:gd name="connsiteX17060" fmla="*/ 866685 w 8267681"/>
              <a:gd name="connsiteY17060" fmla="*/ 1519669 h 6698675"/>
              <a:gd name="connsiteX17061" fmla="*/ 923055 w 8267681"/>
              <a:gd name="connsiteY17061" fmla="*/ 1557251 h 6698675"/>
              <a:gd name="connsiteX17062" fmla="*/ 970028 w 8267681"/>
              <a:gd name="connsiteY17062" fmla="*/ 1590135 h 6698675"/>
              <a:gd name="connsiteX17063" fmla="*/ 1014655 w 8267681"/>
              <a:gd name="connsiteY17063" fmla="*/ 1615971 h 6698675"/>
              <a:gd name="connsiteX17064" fmla="*/ 1056934 w 8267681"/>
              <a:gd name="connsiteY17064" fmla="*/ 1637109 h 6698675"/>
              <a:gd name="connsiteX17065" fmla="*/ 1125051 w 8267681"/>
              <a:gd name="connsiteY17065" fmla="*/ 1665293 h 6698675"/>
              <a:gd name="connsiteX17066" fmla="*/ 1160280 w 8267681"/>
              <a:gd name="connsiteY17066" fmla="*/ 1669991 h 6698675"/>
              <a:gd name="connsiteX17067" fmla="*/ 1190814 w 8267681"/>
              <a:gd name="connsiteY17067" fmla="*/ 1693478 h 6698675"/>
              <a:gd name="connsiteX17068" fmla="*/ 986470 w 8267681"/>
              <a:gd name="connsiteY17068" fmla="*/ 1608924 h 6698675"/>
              <a:gd name="connsiteX17069" fmla="*/ 1125051 w 8267681"/>
              <a:gd name="connsiteY17069" fmla="*/ 1691129 h 6698675"/>
              <a:gd name="connsiteX17070" fmla="*/ 955940 w 8267681"/>
              <a:gd name="connsiteY17070" fmla="*/ 1604227 h 6698675"/>
              <a:gd name="connsiteX17071" fmla="*/ 1228395 w 8267681"/>
              <a:gd name="connsiteY17071" fmla="*/ 1735755 h 6698675"/>
              <a:gd name="connsiteX17072" fmla="*/ 1456226 w 8267681"/>
              <a:gd name="connsiteY17072" fmla="*/ 1785077 h 6698675"/>
              <a:gd name="connsiteX17073" fmla="*/ 1482066 w 8267681"/>
              <a:gd name="connsiteY17073" fmla="*/ 1803867 h 6698675"/>
              <a:gd name="connsiteX17074" fmla="*/ 1507901 w 8267681"/>
              <a:gd name="connsiteY17074" fmla="*/ 1815611 h 6698675"/>
              <a:gd name="connsiteX17075" fmla="*/ 1620641 w 8267681"/>
              <a:gd name="connsiteY17075" fmla="*/ 1834400 h 6698675"/>
              <a:gd name="connsiteX17076" fmla="*/ 1714591 w 8267681"/>
              <a:gd name="connsiteY17076" fmla="*/ 1836749 h 6698675"/>
              <a:gd name="connsiteX17077" fmla="*/ 1756869 w 8267681"/>
              <a:gd name="connsiteY17077" fmla="*/ 1834400 h 6698675"/>
              <a:gd name="connsiteX17078" fmla="*/ 1740433 w 8267681"/>
              <a:gd name="connsiteY17078" fmla="*/ 1825005 h 6698675"/>
              <a:gd name="connsiteX17079" fmla="*/ 1759219 w 8267681"/>
              <a:gd name="connsiteY17079" fmla="*/ 1813261 h 6698675"/>
              <a:gd name="connsiteX17080" fmla="*/ 1904843 w 8267681"/>
              <a:gd name="connsiteY17080" fmla="*/ 1832051 h 6698675"/>
              <a:gd name="connsiteX17081" fmla="*/ 1951821 w 8267681"/>
              <a:gd name="connsiteY17081" fmla="*/ 1829703 h 6698675"/>
              <a:gd name="connsiteX17082" fmla="*/ 1972958 w 8267681"/>
              <a:gd name="connsiteY17082" fmla="*/ 1827354 h 6698675"/>
              <a:gd name="connsiteX17083" fmla="*/ 1980006 w 8267681"/>
              <a:gd name="connsiteY17083" fmla="*/ 1825005 h 6698675"/>
              <a:gd name="connsiteX17084" fmla="*/ 2003492 w 8267681"/>
              <a:gd name="connsiteY17084" fmla="*/ 1820308 h 6698675"/>
              <a:gd name="connsiteX17085" fmla="*/ 2010542 w 8267681"/>
              <a:gd name="connsiteY17085" fmla="*/ 1813261 h 6698675"/>
              <a:gd name="connsiteX17086" fmla="*/ 2008192 w 8267681"/>
              <a:gd name="connsiteY17086" fmla="*/ 1801518 h 6698675"/>
              <a:gd name="connsiteX17087" fmla="*/ 1994099 w 8267681"/>
              <a:gd name="connsiteY17087" fmla="*/ 1785077 h 6698675"/>
              <a:gd name="connsiteX17088" fmla="*/ 1984702 w 8267681"/>
              <a:gd name="connsiteY17088" fmla="*/ 1778032 h 6698675"/>
              <a:gd name="connsiteX17089" fmla="*/ 1954171 w 8267681"/>
              <a:gd name="connsiteY17089" fmla="*/ 1761590 h 6698675"/>
              <a:gd name="connsiteX17090" fmla="*/ 1890751 w 8267681"/>
              <a:gd name="connsiteY17090" fmla="*/ 1735755 h 6698675"/>
              <a:gd name="connsiteX17091" fmla="*/ 1822638 w 8267681"/>
              <a:gd name="connsiteY17091" fmla="*/ 1724011 h 6698675"/>
              <a:gd name="connsiteX17092" fmla="*/ 1778010 w 8267681"/>
              <a:gd name="connsiteY17092" fmla="*/ 1721662 h 6698675"/>
              <a:gd name="connsiteX17093" fmla="*/ 1719290 w 8267681"/>
              <a:gd name="connsiteY17093" fmla="*/ 1705222 h 6698675"/>
              <a:gd name="connsiteX17094" fmla="*/ 1646477 w 8267681"/>
              <a:gd name="connsiteY17094" fmla="*/ 1644155 h 6698675"/>
              <a:gd name="connsiteX17095" fmla="*/ 1627686 w 8267681"/>
              <a:gd name="connsiteY17095" fmla="*/ 1599529 h 6698675"/>
              <a:gd name="connsiteX17096" fmla="*/ 1644128 w 8267681"/>
              <a:gd name="connsiteY17096" fmla="*/ 1470344 h 6698675"/>
              <a:gd name="connsiteX17097" fmla="*/ 1742778 w 8267681"/>
              <a:gd name="connsiteY17097" fmla="*/ 1376389 h 6698675"/>
              <a:gd name="connsiteX17098" fmla="*/ 1815590 w 8267681"/>
              <a:gd name="connsiteY17098" fmla="*/ 1366993 h 6698675"/>
              <a:gd name="connsiteX17099" fmla="*/ 1881358 w 8267681"/>
              <a:gd name="connsiteY17099" fmla="*/ 1385785 h 6698675"/>
              <a:gd name="connsiteX17100" fmla="*/ 1909543 w 8267681"/>
              <a:gd name="connsiteY17100" fmla="*/ 1399877 h 6698675"/>
              <a:gd name="connsiteX17101" fmla="*/ 1928331 w 8267681"/>
              <a:gd name="connsiteY17101" fmla="*/ 1411622 h 6698675"/>
              <a:gd name="connsiteX17102" fmla="*/ 1942424 w 8267681"/>
              <a:gd name="connsiteY17102" fmla="*/ 1418668 h 6698675"/>
              <a:gd name="connsiteX17103" fmla="*/ 1923636 w 8267681"/>
              <a:gd name="connsiteY17103" fmla="*/ 1388133 h 6698675"/>
              <a:gd name="connsiteX17104" fmla="*/ 1883704 w 8267681"/>
              <a:gd name="connsiteY17104" fmla="*/ 1366993 h 6698675"/>
              <a:gd name="connsiteX17105" fmla="*/ 1942424 w 8267681"/>
              <a:gd name="connsiteY17105" fmla="*/ 1345854 h 6698675"/>
              <a:gd name="connsiteX17106" fmla="*/ 1949471 w 8267681"/>
              <a:gd name="connsiteY17106" fmla="*/ 1371692 h 6698675"/>
              <a:gd name="connsiteX17107" fmla="*/ 1991749 w 8267681"/>
              <a:gd name="connsiteY17107" fmla="*/ 1416320 h 6698675"/>
              <a:gd name="connsiteX17108" fmla="*/ 2019934 w 8267681"/>
              <a:gd name="connsiteY17108" fmla="*/ 1411622 h 6698675"/>
              <a:gd name="connsiteX17109" fmla="*/ 2005841 w 8267681"/>
              <a:gd name="connsiteY17109" fmla="*/ 1366993 h 6698675"/>
              <a:gd name="connsiteX17110" fmla="*/ 2069258 w 8267681"/>
              <a:gd name="connsiteY17110" fmla="*/ 1336458 h 6698675"/>
              <a:gd name="connsiteX17111" fmla="*/ 2062212 w 8267681"/>
              <a:gd name="connsiteY17111" fmla="*/ 1315319 h 6698675"/>
              <a:gd name="connsiteX17112" fmla="*/ 2066912 w 8267681"/>
              <a:gd name="connsiteY17112" fmla="*/ 1312970 h 6698675"/>
              <a:gd name="connsiteX17113" fmla="*/ 2066912 w 8267681"/>
              <a:gd name="connsiteY17113" fmla="*/ 1310622 h 6698675"/>
              <a:gd name="connsiteX17114" fmla="*/ 2062212 w 8267681"/>
              <a:gd name="connsiteY17114" fmla="*/ 1280087 h 6698675"/>
              <a:gd name="connsiteX17115" fmla="*/ 2064562 w 8267681"/>
              <a:gd name="connsiteY17115" fmla="*/ 1242505 h 6698675"/>
              <a:gd name="connsiteX17116" fmla="*/ 2064562 w 8267681"/>
              <a:gd name="connsiteY17116" fmla="*/ 1240155 h 6698675"/>
              <a:gd name="connsiteX17117" fmla="*/ 2043421 w 8267681"/>
              <a:gd name="connsiteY17117" fmla="*/ 1320017 h 6698675"/>
              <a:gd name="connsiteX17118" fmla="*/ 1989399 w 8267681"/>
              <a:gd name="connsiteY17118" fmla="*/ 1322366 h 6698675"/>
              <a:gd name="connsiteX17119" fmla="*/ 2008192 w 8267681"/>
              <a:gd name="connsiteY17119" fmla="*/ 1334109 h 6698675"/>
              <a:gd name="connsiteX17120" fmla="*/ 2008192 w 8267681"/>
              <a:gd name="connsiteY17120" fmla="*/ 1359947 h 6698675"/>
              <a:gd name="connsiteX17121" fmla="*/ 1989399 w 8267681"/>
              <a:gd name="connsiteY17121" fmla="*/ 1362296 h 6698675"/>
              <a:gd name="connsiteX17122" fmla="*/ 1937729 w 8267681"/>
              <a:gd name="connsiteY17122" fmla="*/ 1301225 h 6698675"/>
              <a:gd name="connsiteX17123" fmla="*/ 1933029 w 8267681"/>
              <a:gd name="connsiteY17123" fmla="*/ 1284784 h 6698675"/>
              <a:gd name="connsiteX17124" fmla="*/ 1918936 w 8267681"/>
              <a:gd name="connsiteY17124" fmla="*/ 1289482 h 6698675"/>
              <a:gd name="connsiteX17125" fmla="*/ 1921286 w 8267681"/>
              <a:gd name="connsiteY17125" fmla="*/ 1324714 h 6698675"/>
              <a:gd name="connsiteX17126" fmla="*/ 1907193 w 8267681"/>
              <a:gd name="connsiteY17126" fmla="*/ 1327063 h 6698675"/>
              <a:gd name="connsiteX17127" fmla="*/ 1897797 w 8267681"/>
              <a:gd name="connsiteY17127" fmla="*/ 1315319 h 6698675"/>
              <a:gd name="connsiteX17128" fmla="*/ 1874309 w 8267681"/>
              <a:gd name="connsiteY17128" fmla="*/ 1324714 h 6698675"/>
              <a:gd name="connsiteX17129" fmla="*/ 1871960 w 8267681"/>
              <a:gd name="connsiteY17129" fmla="*/ 1296528 h 6698675"/>
              <a:gd name="connsiteX17130" fmla="*/ 1902495 w 8267681"/>
              <a:gd name="connsiteY17130" fmla="*/ 1308272 h 6698675"/>
              <a:gd name="connsiteX17131" fmla="*/ 1911894 w 8267681"/>
              <a:gd name="connsiteY17131" fmla="*/ 1305923 h 6698675"/>
              <a:gd name="connsiteX17132" fmla="*/ 1916587 w 8267681"/>
              <a:gd name="connsiteY17132" fmla="*/ 1240155 h 6698675"/>
              <a:gd name="connsiteX17133" fmla="*/ 1947121 w 8267681"/>
              <a:gd name="connsiteY17133" fmla="*/ 1237807 h 6698675"/>
              <a:gd name="connsiteX17134" fmla="*/ 1944772 w 8267681"/>
              <a:gd name="connsiteY17134" fmla="*/ 1183783 h 6698675"/>
              <a:gd name="connsiteX17135" fmla="*/ 1925982 w 8267681"/>
              <a:gd name="connsiteY17135" fmla="*/ 1195527 h 6698675"/>
              <a:gd name="connsiteX17136" fmla="*/ 1928331 w 8267681"/>
              <a:gd name="connsiteY17136" fmla="*/ 1230760 h 6698675"/>
              <a:gd name="connsiteX17137" fmla="*/ 1881358 w 8267681"/>
              <a:gd name="connsiteY17137" fmla="*/ 1228411 h 6698675"/>
              <a:gd name="connsiteX17138" fmla="*/ 1874309 w 8267681"/>
              <a:gd name="connsiteY17138" fmla="*/ 1214318 h 6698675"/>
              <a:gd name="connsiteX17139" fmla="*/ 1940079 w 8267681"/>
              <a:gd name="connsiteY17139" fmla="*/ 1150899 h 6698675"/>
              <a:gd name="connsiteX17140" fmla="*/ 1994099 w 8267681"/>
              <a:gd name="connsiteY17140" fmla="*/ 1155597 h 6698675"/>
              <a:gd name="connsiteX17141" fmla="*/ 2001143 w 8267681"/>
              <a:gd name="connsiteY17141" fmla="*/ 1200225 h 6698675"/>
              <a:gd name="connsiteX17142" fmla="*/ 2038727 w 8267681"/>
              <a:gd name="connsiteY17142" fmla="*/ 1195527 h 6698675"/>
              <a:gd name="connsiteX17143" fmla="*/ 2059862 w 8267681"/>
              <a:gd name="connsiteY17143" fmla="*/ 1226063 h 6698675"/>
              <a:gd name="connsiteX17144" fmla="*/ 2083350 w 8267681"/>
              <a:gd name="connsiteY17144" fmla="*/ 1188481 h 6698675"/>
              <a:gd name="connsiteX17145" fmla="*/ 2024634 w 8267681"/>
              <a:gd name="connsiteY17145" fmla="*/ 1190830 h 6698675"/>
              <a:gd name="connsiteX17146" fmla="*/ 2008192 w 8267681"/>
              <a:gd name="connsiteY17146" fmla="*/ 1127413 h 6698675"/>
              <a:gd name="connsiteX17147" fmla="*/ 2012887 w 8267681"/>
              <a:gd name="connsiteY17147" fmla="*/ 1125064 h 6698675"/>
              <a:gd name="connsiteX17148" fmla="*/ 2029329 w 8267681"/>
              <a:gd name="connsiteY17148" fmla="*/ 1125064 h 6698675"/>
              <a:gd name="connsiteX17149" fmla="*/ 2073955 w 8267681"/>
              <a:gd name="connsiteY17149" fmla="*/ 1150899 h 6698675"/>
              <a:gd name="connsiteX17150" fmla="*/ 2092747 w 8267681"/>
              <a:gd name="connsiteY17150" fmla="*/ 1136809 h 6698675"/>
              <a:gd name="connsiteX17151" fmla="*/ 2109190 w 8267681"/>
              <a:gd name="connsiteY17151" fmla="*/ 1110971 h 6698675"/>
              <a:gd name="connsiteX17152" fmla="*/ 2142069 w 8267681"/>
              <a:gd name="connsiteY17152" fmla="*/ 1132108 h 6698675"/>
              <a:gd name="connsiteX17153" fmla="*/ 2144419 w 8267681"/>
              <a:gd name="connsiteY17153" fmla="*/ 1157946 h 6698675"/>
              <a:gd name="connsiteX17154" fmla="*/ 2177302 w 8267681"/>
              <a:gd name="connsiteY17154" fmla="*/ 1132108 h 6698675"/>
              <a:gd name="connsiteX17155" fmla="*/ 2135025 w 8267681"/>
              <a:gd name="connsiteY17155" fmla="*/ 1087490 h 6698675"/>
              <a:gd name="connsiteX17156" fmla="*/ 2151467 w 8267681"/>
              <a:gd name="connsiteY17156" fmla="*/ 1066348 h 6698675"/>
              <a:gd name="connsiteX17157" fmla="*/ 2152402 w 8267681"/>
              <a:gd name="connsiteY17157" fmla="*/ 1064350 h 6698675"/>
              <a:gd name="connsiteX17158" fmla="*/ 2150878 w 8267681"/>
              <a:gd name="connsiteY17158" fmla="*/ 1074864 h 6698675"/>
              <a:gd name="connsiteX17159" fmla="*/ 2158511 w 8267681"/>
              <a:gd name="connsiteY17159" fmla="*/ 1089838 h 6698675"/>
              <a:gd name="connsiteX17160" fmla="*/ 2191395 w 8267681"/>
              <a:gd name="connsiteY17160" fmla="*/ 1094535 h 6698675"/>
              <a:gd name="connsiteX17161" fmla="*/ 2254808 w 8267681"/>
              <a:gd name="connsiteY17161" fmla="*/ 1120367 h 6698675"/>
              <a:gd name="connsiteX17162" fmla="*/ 2259506 w 8267681"/>
              <a:gd name="connsiteY17162" fmla="*/ 1106282 h 6698675"/>
              <a:gd name="connsiteX17163" fmla="*/ 2271250 w 8267681"/>
              <a:gd name="connsiteY17163" fmla="*/ 1096878 h 6698675"/>
              <a:gd name="connsiteX17164" fmla="*/ 2273598 w 8267681"/>
              <a:gd name="connsiteY17164" fmla="*/ 1073396 h 6698675"/>
              <a:gd name="connsiteX17165" fmla="*/ 2252460 w 8267681"/>
              <a:gd name="connsiteY17165" fmla="*/ 1080442 h 6698675"/>
              <a:gd name="connsiteX17166" fmla="*/ 2233673 w 8267681"/>
              <a:gd name="connsiteY17166" fmla="*/ 1082792 h 6698675"/>
              <a:gd name="connsiteX17167" fmla="*/ 2212863 w 8267681"/>
              <a:gd name="connsiteY17167" fmla="*/ 1073212 h 6698675"/>
              <a:gd name="connsiteX17168" fmla="*/ 2208225 w 8267681"/>
              <a:gd name="connsiteY17168" fmla="*/ 1060377 h 6698675"/>
              <a:gd name="connsiteX17169" fmla="*/ 2221930 w 8267681"/>
              <a:gd name="connsiteY17169" fmla="*/ 1056951 h 6698675"/>
              <a:gd name="connsiteX17170" fmla="*/ 2221930 w 8267681"/>
              <a:gd name="connsiteY17170" fmla="*/ 1040505 h 6698675"/>
              <a:gd name="connsiteX17171" fmla="*/ 2200789 w 8267681"/>
              <a:gd name="connsiteY17171" fmla="*/ 1012320 h 6698675"/>
              <a:gd name="connsiteX17172" fmla="*/ 2233673 w 8267681"/>
              <a:gd name="connsiteY17172" fmla="*/ 986487 h 6698675"/>
              <a:gd name="connsiteX17173" fmla="*/ 2247762 w 8267681"/>
              <a:gd name="connsiteY17173" fmla="*/ 963003 h 6698675"/>
              <a:gd name="connsiteX17174" fmla="*/ 2240723 w 8267681"/>
              <a:gd name="connsiteY17174" fmla="*/ 932459 h 6698675"/>
              <a:gd name="connsiteX17175" fmla="*/ 2275947 w 8267681"/>
              <a:gd name="connsiteY17175" fmla="*/ 937157 h 6698675"/>
              <a:gd name="connsiteX17176" fmla="*/ 2297086 w 8267681"/>
              <a:gd name="connsiteY17176" fmla="*/ 908971 h 6698675"/>
              <a:gd name="connsiteX17177" fmla="*/ 2304133 w 8267681"/>
              <a:gd name="connsiteY17177" fmla="*/ 920715 h 6698675"/>
              <a:gd name="connsiteX17178" fmla="*/ 2304428 w 8267681"/>
              <a:gd name="connsiteY17178" fmla="*/ 941854 h 6698675"/>
              <a:gd name="connsiteX17179" fmla="*/ 2301561 w 8267681"/>
              <a:gd name="connsiteY17179" fmla="*/ 953991 h 6698675"/>
              <a:gd name="connsiteX17180" fmla="*/ 2299435 w 8267681"/>
              <a:gd name="connsiteY17180" fmla="*/ 946552 h 6698675"/>
              <a:gd name="connsiteX17181" fmla="*/ 2282994 w 8267681"/>
              <a:gd name="connsiteY17181" fmla="*/ 948901 h 6698675"/>
              <a:gd name="connsiteX17182" fmla="*/ 2273598 w 8267681"/>
              <a:gd name="connsiteY17182" fmla="*/ 960655 h 6698675"/>
              <a:gd name="connsiteX17183" fmla="*/ 2280645 w 8267681"/>
              <a:gd name="connsiteY17183" fmla="*/ 974745 h 6698675"/>
              <a:gd name="connsiteX17184" fmla="*/ 2292389 w 8267681"/>
              <a:gd name="connsiteY17184" fmla="*/ 972396 h 6698675"/>
              <a:gd name="connsiteX17185" fmla="*/ 2304133 w 8267681"/>
              <a:gd name="connsiteY17185" fmla="*/ 963003 h 6698675"/>
              <a:gd name="connsiteX17186" fmla="*/ 2303458 w 8267681"/>
              <a:gd name="connsiteY17186" fmla="*/ 960638 h 6698675"/>
              <a:gd name="connsiteX17187" fmla="*/ 2337897 w 8267681"/>
              <a:gd name="connsiteY17187" fmla="*/ 940386 h 6698675"/>
              <a:gd name="connsiteX17188" fmla="*/ 2367550 w 8267681"/>
              <a:gd name="connsiteY17188" fmla="*/ 937157 h 6698675"/>
              <a:gd name="connsiteX17189" fmla="*/ 2388689 w 8267681"/>
              <a:gd name="connsiteY17189" fmla="*/ 972396 h 6698675"/>
              <a:gd name="connsiteX17190" fmla="*/ 2379293 w 8267681"/>
              <a:gd name="connsiteY17190" fmla="*/ 984138 h 6698675"/>
              <a:gd name="connsiteX17191" fmla="*/ 2386340 w 8267681"/>
              <a:gd name="connsiteY17191" fmla="*/ 993532 h 6698675"/>
              <a:gd name="connsiteX17192" fmla="*/ 2423920 w 8267681"/>
              <a:gd name="connsiteY17192" fmla="*/ 991184 h 6698675"/>
              <a:gd name="connsiteX17193" fmla="*/ 2409828 w 8267681"/>
              <a:gd name="connsiteY17193" fmla="*/ 1054601 h 6698675"/>
              <a:gd name="connsiteX17194" fmla="*/ 2400433 w 8267681"/>
              <a:gd name="connsiteY17194" fmla="*/ 1066348 h 6698675"/>
              <a:gd name="connsiteX17195" fmla="*/ 2402781 w 8267681"/>
              <a:gd name="connsiteY17195" fmla="*/ 1108624 h 6698675"/>
              <a:gd name="connsiteX17196" fmla="*/ 2407479 w 8267681"/>
              <a:gd name="connsiteY17196" fmla="*/ 1157946 h 6698675"/>
              <a:gd name="connsiteX17197" fmla="*/ 2421572 w 8267681"/>
              <a:gd name="connsiteY17197" fmla="*/ 1148552 h 6698675"/>
              <a:gd name="connsiteX17198" fmla="*/ 2426269 w 8267681"/>
              <a:gd name="connsiteY17198" fmla="*/ 1082792 h 6698675"/>
              <a:gd name="connsiteX17199" fmla="*/ 2480291 w 8267681"/>
              <a:gd name="connsiteY17199" fmla="*/ 1040505 h 6698675"/>
              <a:gd name="connsiteX17200" fmla="*/ 2494384 w 8267681"/>
              <a:gd name="connsiteY17200" fmla="*/ 1045204 h 6698675"/>
              <a:gd name="connsiteX17201" fmla="*/ 2494384 w 8267681"/>
              <a:gd name="connsiteY17201" fmla="*/ 1087490 h 6698675"/>
              <a:gd name="connsiteX17202" fmla="*/ 2454455 w 8267681"/>
              <a:gd name="connsiteY17202" fmla="*/ 1096878 h 6698675"/>
              <a:gd name="connsiteX17203" fmla="*/ 2466198 w 8267681"/>
              <a:gd name="connsiteY17203" fmla="*/ 1139158 h 6698675"/>
              <a:gd name="connsiteX17204" fmla="*/ 2468547 w 8267681"/>
              <a:gd name="connsiteY17204" fmla="*/ 1146203 h 6698675"/>
              <a:gd name="connsiteX17205" fmla="*/ 2487337 w 8267681"/>
              <a:gd name="connsiteY17205" fmla="*/ 1167341 h 6698675"/>
              <a:gd name="connsiteX17206" fmla="*/ 2449757 w 8267681"/>
              <a:gd name="connsiteY17206" fmla="*/ 1179085 h 6698675"/>
              <a:gd name="connsiteX17207" fmla="*/ 2454455 w 8267681"/>
              <a:gd name="connsiteY17207" fmla="*/ 1195527 h 6698675"/>
              <a:gd name="connsiteX17208" fmla="*/ 2470896 w 8267681"/>
              <a:gd name="connsiteY17208" fmla="*/ 1190830 h 6698675"/>
              <a:gd name="connsiteX17209" fmla="*/ 2487337 w 8267681"/>
              <a:gd name="connsiteY17209" fmla="*/ 1228411 h 6698675"/>
              <a:gd name="connsiteX17210" fmla="*/ 2539011 w 8267681"/>
              <a:gd name="connsiteY17210" fmla="*/ 1228411 h 6698675"/>
              <a:gd name="connsiteX17211" fmla="*/ 2543709 w 8267681"/>
              <a:gd name="connsiteY17211" fmla="*/ 1235458 h 6698675"/>
              <a:gd name="connsiteX17212" fmla="*/ 2513174 w 8267681"/>
              <a:gd name="connsiteY17212" fmla="*/ 1251900 h 6698675"/>
              <a:gd name="connsiteX17213" fmla="*/ 2466198 w 8267681"/>
              <a:gd name="connsiteY17213" fmla="*/ 1258946 h 6698675"/>
              <a:gd name="connsiteX17214" fmla="*/ 2456803 w 8267681"/>
              <a:gd name="connsiteY17214" fmla="*/ 1270690 h 6698675"/>
              <a:gd name="connsiteX17215" fmla="*/ 2477942 w 8267681"/>
              <a:gd name="connsiteY17215" fmla="*/ 1273039 h 6698675"/>
              <a:gd name="connsiteX17216" fmla="*/ 2489686 w 8267681"/>
              <a:gd name="connsiteY17216" fmla="*/ 1308272 h 6698675"/>
              <a:gd name="connsiteX17217" fmla="*/ 2510825 w 8267681"/>
              <a:gd name="connsiteY17217" fmla="*/ 1301225 h 6698675"/>
              <a:gd name="connsiteX17218" fmla="*/ 2510825 w 8267681"/>
              <a:gd name="connsiteY17218" fmla="*/ 1329412 h 6698675"/>
              <a:gd name="connsiteX17219" fmla="*/ 2531964 w 8267681"/>
              <a:gd name="connsiteY17219" fmla="*/ 1322366 h 6698675"/>
              <a:gd name="connsiteX17220" fmla="*/ 2541359 w 8267681"/>
              <a:gd name="connsiteY17220" fmla="*/ 1341156 h 6698675"/>
              <a:gd name="connsiteX17221" fmla="*/ 2482640 w 8267681"/>
              <a:gd name="connsiteY17221" fmla="*/ 1345854 h 6698675"/>
              <a:gd name="connsiteX17222" fmla="*/ 2477942 w 8267681"/>
              <a:gd name="connsiteY17222" fmla="*/ 1324714 h 6698675"/>
              <a:gd name="connsiteX17223" fmla="*/ 2466198 w 8267681"/>
              <a:gd name="connsiteY17223" fmla="*/ 1329412 h 6698675"/>
              <a:gd name="connsiteX17224" fmla="*/ 2473246 w 8267681"/>
              <a:gd name="connsiteY17224" fmla="*/ 1350552 h 6698675"/>
              <a:gd name="connsiteX17225" fmla="*/ 2477942 w 8267681"/>
              <a:gd name="connsiteY17225" fmla="*/ 1357598 h 6698675"/>
              <a:gd name="connsiteX17226" fmla="*/ 2494384 w 8267681"/>
              <a:gd name="connsiteY17226" fmla="*/ 1355249 h 6698675"/>
              <a:gd name="connsiteX17227" fmla="*/ 2480291 w 8267681"/>
              <a:gd name="connsiteY17227" fmla="*/ 1359947 h 6698675"/>
              <a:gd name="connsiteX17228" fmla="*/ 2492035 w 8267681"/>
              <a:gd name="connsiteY17228" fmla="*/ 1378738 h 6698675"/>
              <a:gd name="connsiteX17229" fmla="*/ 2499082 w 8267681"/>
              <a:gd name="connsiteY17229" fmla="*/ 1376389 h 6698675"/>
              <a:gd name="connsiteX17230" fmla="*/ 2524918 w 8267681"/>
              <a:gd name="connsiteY17230" fmla="*/ 1366993 h 6698675"/>
              <a:gd name="connsiteX17231" fmla="*/ 2520220 w 8267681"/>
              <a:gd name="connsiteY17231" fmla="*/ 1359947 h 6698675"/>
              <a:gd name="connsiteX17232" fmla="*/ 2534313 w 8267681"/>
              <a:gd name="connsiteY17232" fmla="*/ 1362296 h 6698675"/>
              <a:gd name="connsiteX17233" fmla="*/ 2548406 w 8267681"/>
              <a:gd name="connsiteY17233" fmla="*/ 1352901 h 6698675"/>
              <a:gd name="connsiteX17234" fmla="*/ 2560150 w 8267681"/>
              <a:gd name="connsiteY17234" fmla="*/ 1338808 h 6698675"/>
              <a:gd name="connsiteX17235" fmla="*/ 2553103 w 8267681"/>
              <a:gd name="connsiteY17235" fmla="*/ 1336458 h 6698675"/>
              <a:gd name="connsiteX17236" fmla="*/ 2560150 w 8267681"/>
              <a:gd name="connsiteY17236" fmla="*/ 1331761 h 6698675"/>
              <a:gd name="connsiteX17237" fmla="*/ 2571893 w 8267681"/>
              <a:gd name="connsiteY17237" fmla="*/ 1320017 h 6698675"/>
              <a:gd name="connsiteX17238" fmla="*/ 2595381 w 8267681"/>
              <a:gd name="connsiteY17238" fmla="*/ 1298877 h 6698675"/>
              <a:gd name="connsiteX17239" fmla="*/ 2635310 w 8267681"/>
              <a:gd name="connsiteY17239" fmla="*/ 1261295 h 6698675"/>
              <a:gd name="connsiteX17240" fmla="*/ 2698728 w 8267681"/>
              <a:gd name="connsiteY17240" fmla="*/ 1193179 h 6698675"/>
              <a:gd name="connsiteX17241" fmla="*/ 2745703 w 8267681"/>
              <a:gd name="connsiteY17241" fmla="*/ 1120367 h 6698675"/>
              <a:gd name="connsiteX17242" fmla="*/ 2752749 w 8267681"/>
              <a:gd name="connsiteY17242" fmla="*/ 1101580 h 6698675"/>
              <a:gd name="connsiteX17243" fmla="*/ 2755098 w 8267681"/>
              <a:gd name="connsiteY17243" fmla="*/ 1089838 h 6698675"/>
              <a:gd name="connsiteX17244" fmla="*/ 2745703 w 8267681"/>
              <a:gd name="connsiteY17244" fmla="*/ 1068697 h 6698675"/>
              <a:gd name="connsiteX17245" fmla="*/ 2764493 w 8267681"/>
              <a:gd name="connsiteY17245" fmla="*/ 1075745 h 6698675"/>
              <a:gd name="connsiteX17246" fmla="*/ 2736308 w 8267681"/>
              <a:gd name="connsiteY17246" fmla="*/ 1049902 h 6698675"/>
              <a:gd name="connsiteX17247" fmla="*/ 2698728 w 8267681"/>
              <a:gd name="connsiteY17247" fmla="*/ 1040505 h 6698675"/>
              <a:gd name="connsiteX17248" fmla="*/ 2649403 w 8267681"/>
              <a:gd name="connsiteY17248" fmla="*/ 1024062 h 6698675"/>
              <a:gd name="connsiteX17249" fmla="*/ 2670543 w 8267681"/>
              <a:gd name="connsiteY17249" fmla="*/ 1031108 h 6698675"/>
              <a:gd name="connsiteX17250" fmla="*/ 2691681 w 8267681"/>
              <a:gd name="connsiteY17250" fmla="*/ 1035806 h 6698675"/>
              <a:gd name="connsiteX17251" fmla="*/ 2729262 w 8267681"/>
              <a:gd name="connsiteY17251" fmla="*/ 1042854 h 6698675"/>
              <a:gd name="connsiteX17252" fmla="*/ 2736308 w 8267681"/>
              <a:gd name="connsiteY17252" fmla="*/ 1042854 h 6698675"/>
              <a:gd name="connsiteX17253" fmla="*/ 2741006 w 8267681"/>
              <a:gd name="connsiteY17253" fmla="*/ 1042854 h 6698675"/>
              <a:gd name="connsiteX17254" fmla="*/ 2750401 w 8267681"/>
              <a:gd name="connsiteY17254" fmla="*/ 1045204 h 6698675"/>
              <a:gd name="connsiteX17255" fmla="*/ 2769191 w 8267681"/>
              <a:gd name="connsiteY17255" fmla="*/ 1054601 h 6698675"/>
              <a:gd name="connsiteX17256" fmla="*/ 2741006 w 8267681"/>
              <a:gd name="connsiteY17256" fmla="*/ 1035806 h 6698675"/>
              <a:gd name="connsiteX17257" fmla="*/ 2722215 w 8267681"/>
              <a:gd name="connsiteY17257" fmla="*/ 1031108 h 6698675"/>
              <a:gd name="connsiteX17258" fmla="*/ 2701076 w 8267681"/>
              <a:gd name="connsiteY17258" fmla="*/ 1024062 h 6698675"/>
              <a:gd name="connsiteX17259" fmla="*/ 2640008 w 8267681"/>
              <a:gd name="connsiteY17259" fmla="*/ 1000578 h 6698675"/>
              <a:gd name="connsiteX17260" fmla="*/ 2609474 w 8267681"/>
              <a:gd name="connsiteY17260" fmla="*/ 984138 h 6698675"/>
              <a:gd name="connsiteX17261" fmla="*/ 2590684 w 8267681"/>
              <a:gd name="connsiteY17261" fmla="*/ 974745 h 6698675"/>
              <a:gd name="connsiteX17262" fmla="*/ 2571893 w 8267681"/>
              <a:gd name="connsiteY17262" fmla="*/ 960655 h 6698675"/>
              <a:gd name="connsiteX17263" fmla="*/ 2543709 w 8267681"/>
              <a:gd name="connsiteY17263" fmla="*/ 923064 h 6698675"/>
              <a:gd name="connsiteX17264" fmla="*/ 2529615 w 8267681"/>
              <a:gd name="connsiteY17264" fmla="*/ 887832 h 6698675"/>
              <a:gd name="connsiteX17265" fmla="*/ 2522569 w 8267681"/>
              <a:gd name="connsiteY17265" fmla="*/ 838509 h 6698675"/>
              <a:gd name="connsiteX17266" fmla="*/ 2562498 w 8267681"/>
              <a:gd name="connsiteY17266" fmla="*/ 704629 h 6698675"/>
              <a:gd name="connsiteX17267" fmla="*/ 2571893 w 8267681"/>
              <a:gd name="connsiteY17267" fmla="*/ 709326 h 6698675"/>
              <a:gd name="connsiteX17268" fmla="*/ 2656449 w 8267681"/>
              <a:gd name="connsiteY17268" fmla="*/ 629469 h 6698675"/>
              <a:gd name="connsiteX17269" fmla="*/ 2679937 w 8267681"/>
              <a:gd name="connsiteY17269" fmla="*/ 620074 h 6698675"/>
              <a:gd name="connsiteX17270" fmla="*/ 2705774 w 8267681"/>
              <a:gd name="connsiteY17270" fmla="*/ 615376 h 6698675"/>
              <a:gd name="connsiteX17271" fmla="*/ 2731610 w 8267681"/>
              <a:gd name="connsiteY17271" fmla="*/ 615376 h 6698675"/>
              <a:gd name="connsiteX17272" fmla="*/ 2745703 w 8267681"/>
              <a:gd name="connsiteY17272" fmla="*/ 615376 h 6698675"/>
              <a:gd name="connsiteX17273" fmla="*/ 2757447 w 8267681"/>
              <a:gd name="connsiteY17273" fmla="*/ 617725 h 6698675"/>
              <a:gd name="connsiteX17274" fmla="*/ 2802074 w 8267681"/>
              <a:gd name="connsiteY17274" fmla="*/ 641213 h 6698675"/>
              <a:gd name="connsiteX17275" fmla="*/ 2820864 w 8267681"/>
              <a:gd name="connsiteY17275" fmla="*/ 660003 h 6698675"/>
              <a:gd name="connsiteX17276" fmla="*/ 2834957 w 8267681"/>
              <a:gd name="connsiteY17276" fmla="*/ 678793 h 6698675"/>
              <a:gd name="connsiteX17277" fmla="*/ 2867840 w 8267681"/>
              <a:gd name="connsiteY17277" fmla="*/ 763348 h 6698675"/>
              <a:gd name="connsiteX17278" fmla="*/ 2879583 w 8267681"/>
              <a:gd name="connsiteY17278" fmla="*/ 789185 h 6698675"/>
              <a:gd name="connsiteX17279" fmla="*/ 2867840 w 8267681"/>
              <a:gd name="connsiteY17279" fmla="*/ 730465 h 6698675"/>
              <a:gd name="connsiteX17280" fmla="*/ 2863142 w 8267681"/>
              <a:gd name="connsiteY17280" fmla="*/ 709326 h 6698675"/>
              <a:gd name="connsiteX17281" fmla="*/ 2905420 w 8267681"/>
              <a:gd name="connsiteY17281" fmla="*/ 852602 h 6698675"/>
              <a:gd name="connsiteX17282" fmla="*/ 2910118 w 8267681"/>
              <a:gd name="connsiteY17282" fmla="*/ 906623 h 6698675"/>
              <a:gd name="connsiteX17283" fmla="*/ 2914815 w 8267681"/>
              <a:gd name="connsiteY17283" fmla="*/ 981791 h 6698675"/>
              <a:gd name="connsiteX17284" fmla="*/ 2917164 w 8267681"/>
              <a:gd name="connsiteY17284" fmla="*/ 1014669 h 6698675"/>
              <a:gd name="connsiteX17285" fmla="*/ 2900723 w 8267681"/>
              <a:gd name="connsiteY17285" fmla="*/ 1033457 h 6698675"/>
              <a:gd name="connsiteX17286" fmla="*/ 2919514 w 8267681"/>
              <a:gd name="connsiteY17286" fmla="*/ 1033457 h 6698675"/>
              <a:gd name="connsiteX17287" fmla="*/ 2921861 w 8267681"/>
              <a:gd name="connsiteY17287" fmla="*/ 1047553 h 6698675"/>
              <a:gd name="connsiteX17288" fmla="*/ 2940652 w 8267681"/>
              <a:gd name="connsiteY17288" fmla="*/ 1089838 h 6698675"/>
              <a:gd name="connsiteX17289" fmla="*/ 2947698 w 8267681"/>
              <a:gd name="connsiteY17289" fmla="*/ 1094535 h 6698675"/>
              <a:gd name="connsiteX17290" fmla="*/ 2952395 w 8267681"/>
              <a:gd name="connsiteY17290" fmla="*/ 1096878 h 6698675"/>
              <a:gd name="connsiteX17291" fmla="*/ 2954744 w 8267681"/>
              <a:gd name="connsiteY17291" fmla="*/ 1096878 h 6698675"/>
              <a:gd name="connsiteX17292" fmla="*/ 2950047 w 8267681"/>
              <a:gd name="connsiteY17292" fmla="*/ 1092184 h 6698675"/>
              <a:gd name="connsiteX17293" fmla="*/ 2943000 w 8267681"/>
              <a:gd name="connsiteY17293" fmla="*/ 1082792 h 6698675"/>
              <a:gd name="connsiteX17294" fmla="*/ 2941537 w 8267681"/>
              <a:gd name="connsiteY17294" fmla="*/ 1079559 h 6698675"/>
              <a:gd name="connsiteX17295" fmla="*/ 2943000 w 8267681"/>
              <a:gd name="connsiteY17295" fmla="*/ 1078094 h 6698675"/>
              <a:gd name="connsiteX17296" fmla="*/ 2950047 w 8267681"/>
              <a:gd name="connsiteY17296" fmla="*/ 1085140 h 6698675"/>
              <a:gd name="connsiteX17297" fmla="*/ 2971186 w 8267681"/>
              <a:gd name="connsiteY17297" fmla="*/ 1096878 h 6698675"/>
              <a:gd name="connsiteX17298" fmla="*/ 2973535 w 8267681"/>
              <a:gd name="connsiteY17298" fmla="*/ 1085140 h 6698675"/>
              <a:gd name="connsiteX17299" fmla="*/ 2980581 w 8267681"/>
              <a:gd name="connsiteY17299" fmla="*/ 1038155 h 6698675"/>
              <a:gd name="connsiteX17300" fmla="*/ 2973535 w 8267681"/>
              <a:gd name="connsiteY17300" fmla="*/ 925413 h 6698675"/>
              <a:gd name="connsiteX17301" fmla="*/ 2905420 w 8267681"/>
              <a:gd name="connsiteY17301" fmla="*/ 709326 h 6698675"/>
              <a:gd name="connsiteX17302" fmla="*/ 2905420 w 8267681"/>
              <a:gd name="connsiteY17302" fmla="*/ 749255 h 6698675"/>
              <a:gd name="connsiteX17303" fmla="*/ 2910118 w 8267681"/>
              <a:gd name="connsiteY17303" fmla="*/ 775092 h 6698675"/>
              <a:gd name="connsiteX17304" fmla="*/ 2952395 w 8267681"/>
              <a:gd name="connsiteY17304" fmla="*/ 927762 h 6698675"/>
              <a:gd name="connsiteX17305" fmla="*/ 2776237 w 8267681"/>
              <a:gd name="connsiteY17305" fmla="*/ 465055 h 6698675"/>
              <a:gd name="connsiteX17306" fmla="*/ 2839654 w 8267681"/>
              <a:gd name="connsiteY17306" fmla="*/ 559005 h 6698675"/>
              <a:gd name="connsiteX17307" fmla="*/ 2755098 w 8267681"/>
              <a:gd name="connsiteY17307" fmla="*/ 415731 h 6698675"/>
              <a:gd name="connsiteX17308" fmla="*/ 2771540 w 8267681"/>
              <a:gd name="connsiteY17308" fmla="*/ 422777 h 6698675"/>
              <a:gd name="connsiteX17309" fmla="*/ 2748053 w 8267681"/>
              <a:gd name="connsiteY17309" fmla="*/ 389894 h 6698675"/>
              <a:gd name="connsiteX17310" fmla="*/ 2724564 w 8267681"/>
              <a:gd name="connsiteY17310" fmla="*/ 354664 h 6698675"/>
              <a:gd name="connsiteX17311" fmla="*/ 2686984 w 8267681"/>
              <a:gd name="connsiteY17311" fmla="*/ 279503 h 6698675"/>
              <a:gd name="connsiteX17312" fmla="*/ 2663496 w 8267681"/>
              <a:gd name="connsiteY17312" fmla="*/ 197296 h 6698675"/>
              <a:gd name="connsiteX17313" fmla="*/ 2665845 w 8267681"/>
              <a:gd name="connsiteY17313" fmla="*/ 110392 h 6698675"/>
              <a:gd name="connsiteX17314" fmla="*/ 2717518 w 8267681"/>
              <a:gd name="connsiteY17314" fmla="*/ 28185 h 6698675"/>
              <a:gd name="connsiteX17315" fmla="*/ 2804424 w 8267681"/>
              <a:gd name="connsiteY17315" fmla="*/ 0 h 6698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  <a:cxn ang="0">
                <a:pos x="connsiteX4801" y="connsiteY4801"/>
              </a:cxn>
              <a:cxn ang="0">
                <a:pos x="connsiteX4802" y="connsiteY4802"/>
              </a:cxn>
              <a:cxn ang="0">
                <a:pos x="connsiteX4803" y="connsiteY4803"/>
              </a:cxn>
              <a:cxn ang="0">
                <a:pos x="connsiteX4804" y="connsiteY4804"/>
              </a:cxn>
              <a:cxn ang="0">
                <a:pos x="connsiteX4805" y="connsiteY4805"/>
              </a:cxn>
              <a:cxn ang="0">
                <a:pos x="connsiteX4806" y="connsiteY4806"/>
              </a:cxn>
              <a:cxn ang="0">
                <a:pos x="connsiteX4807" y="connsiteY4807"/>
              </a:cxn>
              <a:cxn ang="0">
                <a:pos x="connsiteX4808" y="connsiteY4808"/>
              </a:cxn>
              <a:cxn ang="0">
                <a:pos x="connsiteX4809" y="connsiteY4809"/>
              </a:cxn>
              <a:cxn ang="0">
                <a:pos x="connsiteX4810" y="connsiteY4810"/>
              </a:cxn>
              <a:cxn ang="0">
                <a:pos x="connsiteX4811" y="connsiteY4811"/>
              </a:cxn>
              <a:cxn ang="0">
                <a:pos x="connsiteX4812" y="connsiteY4812"/>
              </a:cxn>
              <a:cxn ang="0">
                <a:pos x="connsiteX4813" y="connsiteY4813"/>
              </a:cxn>
              <a:cxn ang="0">
                <a:pos x="connsiteX4814" y="connsiteY4814"/>
              </a:cxn>
              <a:cxn ang="0">
                <a:pos x="connsiteX4815" y="connsiteY4815"/>
              </a:cxn>
              <a:cxn ang="0">
                <a:pos x="connsiteX4816" y="connsiteY4816"/>
              </a:cxn>
              <a:cxn ang="0">
                <a:pos x="connsiteX4817" y="connsiteY4817"/>
              </a:cxn>
              <a:cxn ang="0">
                <a:pos x="connsiteX4818" y="connsiteY4818"/>
              </a:cxn>
              <a:cxn ang="0">
                <a:pos x="connsiteX4819" y="connsiteY4819"/>
              </a:cxn>
              <a:cxn ang="0">
                <a:pos x="connsiteX4820" y="connsiteY4820"/>
              </a:cxn>
              <a:cxn ang="0">
                <a:pos x="connsiteX4821" y="connsiteY4821"/>
              </a:cxn>
              <a:cxn ang="0">
                <a:pos x="connsiteX4822" y="connsiteY4822"/>
              </a:cxn>
              <a:cxn ang="0">
                <a:pos x="connsiteX4823" y="connsiteY4823"/>
              </a:cxn>
              <a:cxn ang="0">
                <a:pos x="connsiteX4824" y="connsiteY4824"/>
              </a:cxn>
              <a:cxn ang="0">
                <a:pos x="connsiteX4825" y="connsiteY4825"/>
              </a:cxn>
              <a:cxn ang="0">
                <a:pos x="connsiteX4826" y="connsiteY4826"/>
              </a:cxn>
              <a:cxn ang="0">
                <a:pos x="connsiteX4827" y="connsiteY4827"/>
              </a:cxn>
              <a:cxn ang="0">
                <a:pos x="connsiteX4828" y="connsiteY4828"/>
              </a:cxn>
              <a:cxn ang="0">
                <a:pos x="connsiteX4829" y="connsiteY4829"/>
              </a:cxn>
              <a:cxn ang="0">
                <a:pos x="connsiteX4830" y="connsiteY4830"/>
              </a:cxn>
              <a:cxn ang="0">
                <a:pos x="connsiteX4831" y="connsiteY4831"/>
              </a:cxn>
              <a:cxn ang="0">
                <a:pos x="connsiteX4832" y="connsiteY4832"/>
              </a:cxn>
              <a:cxn ang="0">
                <a:pos x="connsiteX4833" y="connsiteY4833"/>
              </a:cxn>
              <a:cxn ang="0">
                <a:pos x="connsiteX4834" y="connsiteY4834"/>
              </a:cxn>
              <a:cxn ang="0">
                <a:pos x="connsiteX4835" y="connsiteY4835"/>
              </a:cxn>
              <a:cxn ang="0">
                <a:pos x="connsiteX4836" y="connsiteY4836"/>
              </a:cxn>
              <a:cxn ang="0">
                <a:pos x="connsiteX4837" y="connsiteY4837"/>
              </a:cxn>
              <a:cxn ang="0">
                <a:pos x="connsiteX4838" y="connsiteY4838"/>
              </a:cxn>
              <a:cxn ang="0">
                <a:pos x="connsiteX4839" y="connsiteY4839"/>
              </a:cxn>
              <a:cxn ang="0">
                <a:pos x="connsiteX4840" y="connsiteY4840"/>
              </a:cxn>
              <a:cxn ang="0">
                <a:pos x="connsiteX4841" y="connsiteY4841"/>
              </a:cxn>
              <a:cxn ang="0">
                <a:pos x="connsiteX4842" y="connsiteY4842"/>
              </a:cxn>
              <a:cxn ang="0">
                <a:pos x="connsiteX4843" y="connsiteY4843"/>
              </a:cxn>
              <a:cxn ang="0">
                <a:pos x="connsiteX4844" y="connsiteY4844"/>
              </a:cxn>
              <a:cxn ang="0">
                <a:pos x="connsiteX4845" y="connsiteY4845"/>
              </a:cxn>
              <a:cxn ang="0">
                <a:pos x="connsiteX4846" y="connsiteY4846"/>
              </a:cxn>
              <a:cxn ang="0">
                <a:pos x="connsiteX4847" y="connsiteY4847"/>
              </a:cxn>
              <a:cxn ang="0">
                <a:pos x="connsiteX4848" y="connsiteY4848"/>
              </a:cxn>
              <a:cxn ang="0">
                <a:pos x="connsiteX4849" y="connsiteY4849"/>
              </a:cxn>
              <a:cxn ang="0">
                <a:pos x="connsiteX4850" y="connsiteY4850"/>
              </a:cxn>
              <a:cxn ang="0">
                <a:pos x="connsiteX4851" y="connsiteY4851"/>
              </a:cxn>
              <a:cxn ang="0">
                <a:pos x="connsiteX4852" y="connsiteY4852"/>
              </a:cxn>
              <a:cxn ang="0">
                <a:pos x="connsiteX4853" y="connsiteY4853"/>
              </a:cxn>
              <a:cxn ang="0">
                <a:pos x="connsiteX4854" y="connsiteY4854"/>
              </a:cxn>
              <a:cxn ang="0">
                <a:pos x="connsiteX4855" y="connsiteY4855"/>
              </a:cxn>
              <a:cxn ang="0">
                <a:pos x="connsiteX4856" y="connsiteY4856"/>
              </a:cxn>
              <a:cxn ang="0">
                <a:pos x="connsiteX4857" y="connsiteY4857"/>
              </a:cxn>
              <a:cxn ang="0">
                <a:pos x="connsiteX4858" y="connsiteY4858"/>
              </a:cxn>
              <a:cxn ang="0">
                <a:pos x="connsiteX4859" y="connsiteY4859"/>
              </a:cxn>
              <a:cxn ang="0">
                <a:pos x="connsiteX4860" y="connsiteY4860"/>
              </a:cxn>
              <a:cxn ang="0">
                <a:pos x="connsiteX4861" y="connsiteY4861"/>
              </a:cxn>
              <a:cxn ang="0">
                <a:pos x="connsiteX4862" y="connsiteY4862"/>
              </a:cxn>
              <a:cxn ang="0">
                <a:pos x="connsiteX4863" y="connsiteY4863"/>
              </a:cxn>
              <a:cxn ang="0">
                <a:pos x="connsiteX4864" y="connsiteY4864"/>
              </a:cxn>
              <a:cxn ang="0">
                <a:pos x="connsiteX4865" y="connsiteY4865"/>
              </a:cxn>
              <a:cxn ang="0">
                <a:pos x="connsiteX4866" y="connsiteY4866"/>
              </a:cxn>
              <a:cxn ang="0">
                <a:pos x="connsiteX4867" y="connsiteY4867"/>
              </a:cxn>
              <a:cxn ang="0">
                <a:pos x="connsiteX4868" y="connsiteY4868"/>
              </a:cxn>
              <a:cxn ang="0">
                <a:pos x="connsiteX4869" y="connsiteY4869"/>
              </a:cxn>
              <a:cxn ang="0">
                <a:pos x="connsiteX4870" y="connsiteY4870"/>
              </a:cxn>
              <a:cxn ang="0">
                <a:pos x="connsiteX4871" y="connsiteY4871"/>
              </a:cxn>
              <a:cxn ang="0">
                <a:pos x="connsiteX4872" y="connsiteY4872"/>
              </a:cxn>
              <a:cxn ang="0">
                <a:pos x="connsiteX4873" y="connsiteY4873"/>
              </a:cxn>
              <a:cxn ang="0">
                <a:pos x="connsiteX4874" y="connsiteY4874"/>
              </a:cxn>
              <a:cxn ang="0">
                <a:pos x="connsiteX4875" y="connsiteY4875"/>
              </a:cxn>
              <a:cxn ang="0">
                <a:pos x="connsiteX4876" y="connsiteY4876"/>
              </a:cxn>
              <a:cxn ang="0">
                <a:pos x="connsiteX4877" y="connsiteY4877"/>
              </a:cxn>
              <a:cxn ang="0">
                <a:pos x="connsiteX4878" y="connsiteY4878"/>
              </a:cxn>
              <a:cxn ang="0">
                <a:pos x="connsiteX4879" y="connsiteY4879"/>
              </a:cxn>
              <a:cxn ang="0">
                <a:pos x="connsiteX4880" y="connsiteY4880"/>
              </a:cxn>
              <a:cxn ang="0">
                <a:pos x="connsiteX4881" y="connsiteY4881"/>
              </a:cxn>
              <a:cxn ang="0">
                <a:pos x="connsiteX4882" y="connsiteY4882"/>
              </a:cxn>
              <a:cxn ang="0">
                <a:pos x="connsiteX4883" y="connsiteY4883"/>
              </a:cxn>
              <a:cxn ang="0">
                <a:pos x="connsiteX4884" y="connsiteY4884"/>
              </a:cxn>
              <a:cxn ang="0">
                <a:pos x="connsiteX4885" y="connsiteY4885"/>
              </a:cxn>
              <a:cxn ang="0">
                <a:pos x="connsiteX4886" y="connsiteY4886"/>
              </a:cxn>
              <a:cxn ang="0">
                <a:pos x="connsiteX4887" y="connsiteY4887"/>
              </a:cxn>
              <a:cxn ang="0">
                <a:pos x="connsiteX4888" y="connsiteY4888"/>
              </a:cxn>
              <a:cxn ang="0">
                <a:pos x="connsiteX4889" y="connsiteY4889"/>
              </a:cxn>
              <a:cxn ang="0">
                <a:pos x="connsiteX4890" y="connsiteY4890"/>
              </a:cxn>
              <a:cxn ang="0">
                <a:pos x="connsiteX4891" y="connsiteY4891"/>
              </a:cxn>
              <a:cxn ang="0">
                <a:pos x="connsiteX4892" y="connsiteY4892"/>
              </a:cxn>
              <a:cxn ang="0">
                <a:pos x="connsiteX4893" y="connsiteY4893"/>
              </a:cxn>
              <a:cxn ang="0">
                <a:pos x="connsiteX4894" y="connsiteY4894"/>
              </a:cxn>
              <a:cxn ang="0">
                <a:pos x="connsiteX4895" y="connsiteY4895"/>
              </a:cxn>
              <a:cxn ang="0">
                <a:pos x="connsiteX4896" y="connsiteY4896"/>
              </a:cxn>
              <a:cxn ang="0">
                <a:pos x="connsiteX4897" y="connsiteY4897"/>
              </a:cxn>
              <a:cxn ang="0">
                <a:pos x="connsiteX4898" y="connsiteY4898"/>
              </a:cxn>
              <a:cxn ang="0">
                <a:pos x="connsiteX4899" y="connsiteY4899"/>
              </a:cxn>
              <a:cxn ang="0">
                <a:pos x="connsiteX4900" y="connsiteY4900"/>
              </a:cxn>
              <a:cxn ang="0">
                <a:pos x="connsiteX4901" y="connsiteY4901"/>
              </a:cxn>
              <a:cxn ang="0">
                <a:pos x="connsiteX4902" y="connsiteY4902"/>
              </a:cxn>
              <a:cxn ang="0">
                <a:pos x="connsiteX4903" y="connsiteY4903"/>
              </a:cxn>
              <a:cxn ang="0">
                <a:pos x="connsiteX4904" y="connsiteY4904"/>
              </a:cxn>
              <a:cxn ang="0">
                <a:pos x="connsiteX4905" y="connsiteY4905"/>
              </a:cxn>
              <a:cxn ang="0">
                <a:pos x="connsiteX4906" y="connsiteY4906"/>
              </a:cxn>
              <a:cxn ang="0">
                <a:pos x="connsiteX4907" y="connsiteY4907"/>
              </a:cxn>
              <a:cxn ang="0">
                <a:pos x="connsiteX4908" y="connsiteY4908"/>
              </a:cxn>
              <a:cxn ang="0">
                <a:pos x="connsiteX4909" y="connsiteY4909"/>
              </a:cxn>
              <a:cxn ang="0">
                <a:pos x="connsiteX4910" y="connsiteY4910"/>
              </a:cxn>
              <a:cxn ang="0">
                <a:pos x="connsiteX4911" y="connsiteY4911"/>
              </a:cxn>
              <a:cxn ang="0">
                <a:pos x="connsiteX4912" y="connsiteY4912"/>
              </a:cxn>
              <a:cxn ang="0">
                <a:pos x="connsiteX4913" y="connsiteY4913"/>
              </a:cxn>
              <a:cxn ang="0">
                <a:pos x="connsiteX4914" y="connsiteY4914"/>
              </a:cxn>
              <a:cxn ang="0">
                <a:pos x="connsiteX4915" y="connsiteY4915"/>
              </a:cxn>
              <a:cxn ang="0">
                <a:pos x="connsiteX4916" y="connsiteY4916"/>
              </a:cxn>
              <a:cxn ang="0">
                <a:pos x="connsiteX4917" y="connsiteY4917"/>
              </a:cxn>
              <a:cxn ang="0">
                <a:pos x="connsiteX4918" y="connsiteY4918"/>
              </a:cxn>
              <a:cxn ang="0">
                <a:pos x="connsiteX4919" y="connsiteY4919"/>
              </a:cxn>
              <a:cxn ang="0">
                <a:pos x="connsiteX4920" y="connsiteY4920"/>
              </a:cxn>
              <a:cxn ang="0">
                <a:pos x="connsiteX4921" y="connsiteY4921"/>
              </a:cxn>
              <a:cxn ang="0">
                <a:pos x="connsiteX4922" y="connsiteY4922"/>
              </a:cxn>
              <a:cxn ang="0">
                <a:pos x="connsiteX4923" y="connsiteY4923"/>
              </a:cxn>
              <a:cxn ang="0">
                <a:pos x="connsiteX4924" y="connsiteY4924"/>
              </a:cxn>
              <a:cxn ang="0">
                <a:pos x="connsiteX4925" y="connsiteY4925"/>
              </a:cxn>
              <a:cxn ang="0">
                <a:pos x="connsiteX4926" y="connsiteY4926"/>
              </a:cxn>
              <a:cxn ang="0">
                <a:pos x="connsiteX4927" y="connsiteY4927"/>
              </a:cxn>
              <a:cxn ang="0">
                <a:pos x="connsiteX4928" y="connsiteY4928"/>
              </a:cxn>
              <a:cxn ang="0">
                <a:pos x="connsiteX4929" y="connsiteY4929"/>
              </a:cxn>
              <a:cxn ang="0">
                <a:pos x="connsiteX4930" y="connsiteY4930"/>
              </a:cxn>
              <a:cxn ang="0">
                <a:pos x="connsiteX4931" y="connsiteY4931"/>
              </a:cxn>
              <a:cxn ang="0">
                <a:pos x="connsiteX4932" y="connsiteY4932"/>
              </a:cxn>
              <a:cxn ang="0">
                <a:pos x="connsiteX4933" y="connsiteY4933"/>
              </a:cxn>
              <a:cxn ang="0">
                <a:pos x="connsiteX4934" y="connsiteY4934"/>
              </a:cxn>
              <a:cxn ang="0">
                <a:pos x="connsiteX4935" y="connsiteY4935"/>
              </a:cxn>
              <a:cxn ang="0">
                <a:pos x="connsiteX4936" y="connsiteY4936"/>
              </a:cxn>
              <a:cxn ang="0">
                <a:pos x="connsiteX4937" y="connsiteY4937"/>
              </a:cxn>
              <a:cxn ang="0">
                <a:pos x="connsiteX4938" y="connsiteY4938"/>
              </a:cxn>
              <a:cxn ang="0">
                <a:pos x="connsiteX4939" y="connsiteY4939"/>
              </a:cxn>
              <a:cxn ang="0">
                <a:pos x="connsiteX4940" y="connsiteY4940"/>
              </a:cxn>
              <a:cxn ang="0">
                <a:pos x="connsiteX4941" y="connsiteY4941"/>
              </a:cxn>
              <a:cxn ang="0">
                <a:pos x="connsiteX4942" y="connsiteY4942"/>
              </a:cxn>
              <a:cxn ang="0">
                <a:pos x="connsiteX4943" y="connsiteY4943"/>
              </a:cxn>
              <a:cxn ang="0">
                <a:pos x="connsiteX4944" y="connsiteY4944"/>
              </a:cxn>
              <a:cxn ang="0">
                <a:pos x="connsiteX4945" y="connsiteY4945"/>
              </a:cxn>
              <a:cxn ang="0">
                <a:pos x="connsiteX4946" y="connsiteY4946"/>
              </a:cxn>
              <a:cxn ang="0">
                <a:pos x="connsiteX4947" y="connsiteY4947"/>
              </a:cxn>
              <a:cxn ang="0">
                <a:pos x="connsiteX4948" y="connsiteY4948"/>
              </a:cxn>
              <a:cxn ang="0">
                <a:pos x="connsiteX4949" y="connsiteY4949"/>
              </a:cxn>
              <a:cxn ang="0">
                <a:pos x="connsiteX4950" y="connsiteY4950"/>
              </a:cxn>
              <a:cxn ang="0">
                <a:pos x="connsiteX4951" y="connsiteY4951"/>
              </a:cxn>
              <a:cxn ang="0">
                <a:pos x="connsiteX4952" y="connsiteY4952"/>
              </a:cxn>
              <a:cxn ang="0">
                <a:pos x="connsiteX4953" y="connsiteY4953"/>
              </a:cxn>
              <a:cxn ang="0">
                <a:pos x="connsiteX4954" y="connsiteY4954"/>
              </a:cxn>
              <a:cxn ang="0">
                <a:pos x="connsiteX4955" y="connsiteY4955"/>
              </a:cxn>
              <a:cxn ang="0">
                <a:pos x="connsiteX4956" y="connsiteY4956"/>
              </a:cxn>
              <a:cxn ang="0">
                <a:pos x="connsiteX4957" y="connsiteY4957"/>
              </a:cxn>
              <a:cxn ang="0">
                <a:pos x="connsiteX4958" y="connsiteY4958"/>
              </a:cxn>
              <a:cxn ang="0">
                <a:pos x="connsiteX4959" y="connsiteY4959"/>
              </a:cxn>
              <a:cxn ang="0">
                <a:pos x="connsiteX4960" y="connsiteY4960"/>
              </a:cxn>
              <a:cxn ang="0">
                <a:pos x="connsiteX4961" y="connsiteY4961"/>
              </a:cxn>
              <a:cxn ang="0">
                <a:pos x="connsiteX4962" y="connsiteY4962"/>
              </a:cxn>
              <a:cxn ang="0">
                <a:pos x="connsiteX4963" y="connsiteY4963"/>
              </a:cxn>
              <a:cxn ang="0">
                <a:pos x="connsiteX4964" y="connsiteY4964"/>
              </a:cxn>
              <a:cxn ang="0">
                <a:pos x="connsiteX4965" y="connsiteY4965"/>
              </a:cxn>
              <a:cxn ang="0">
                <a:pos x="connsiteX4966" y="connsiteY4966"/>
              </a:cxn>
              <a:cxn ang="0">
                <a:pos x="connsiteX4967" y="connsiteY4967"/>
              </a:cxn>
              <a:cxn ang="0">
                <a:pos x="connsiteX4968" y="connsiteY4968"/>
              </a:cxn>
              <a:cxn ang="0">
                <a:pos x="connsiteX4969" y="connsiteY4969"/>
              </a:cxn>
              <a:cxn ang="0">
                <a:pos x="connsiteX4970" y="connsiteY4970"/>
              </a:cxn>
              <a:cxn ang="0">
                <a:pos x="connsiteX4971" y="connsiteY4971"/>
              </a:cxn>
              <a:cxn ang="0">
                <a:pos x="connsiteX4972" y="connsiteY4972"/>
              </a:cxn>
              <a:cxn ang="0">
                <a:pos x="connsiteX4973" y="connsiteY4973"/>
              </a:cxn>
              <a:cxn ang="0">
                <a:pos x="connsiteX4974" y="connsiteY4974"/>
              </a:cxn>
              <a:cxn ang="0">
                <a:pos x="connsiteX4975" y="connsiteY4975"/>
              </a:cxn>
              <a:cxn ang="0">
                <a:pos x="connsiteX4976" y="connsiteY4976"/>
              </a:cxn>
              <a:cxn ang="0">
                <a:pos x="connsiteX4977" y="connsiteY4977"/>
              </a:cxn>
              <a:cxn ang="0">
                <a:pos x="connsiteX4978" y="connsiteY4978"/>
              </a:cxn>
              <a:cxn ang="0">
                <a:pos x="connsiteX4979" y="connsiteY4979"/>
              </a:cxn>
              <a:cxn ang="0">
                <a:pos x="connsiteX4980" y="connsiteY4980"/>
              </a:cxn>
              <a:cxn ang="0">
                <a:pos x="connsiteX4981" y="connsiteY4981"/>
              </a:cxn>
              <a:cxn ang="0">
                <a:pos x="connsiteX4982" y="connsiteY4982"/>
              </a:cxn>
              <a:cxn ang="0">
                <a:pos x="connsiteX4983" y="connsiteY4983"/>
              </a:cxn>
              <a:cxn ang="0">
                <a:pos x="connsiteX4984" y="connsiteY4984"/>
              </a:cxn>
              <a:cxn ang="0">
                <a:pos x="connsiteX4985" y="connsiteY4985"/>
              </a:cxn>
              <a:cxn ang="0">
                <a:pos x="connsiteX4986" y="connsiteY4986"/>
              </a:cxn>
              <a:cxn ang="0">
                <a:pos x="connsiteX4987" y="connsiteY4987"/>
              </a:cxn>
              <a:cxn ang="0">
                <a:pos x="connsiteX4988" y="connsiteY4988"/>
              </a:cxn>
              <a:cxn ang="0">
                <a:pos x="connsiteX4989" y="connsiteY4989"/>
              </a:cxn>
              <a:cxn ang="0">
                <a:pos x="connsiteX4990" y="connsiteY4990"/>
              </a:cxn>
              <a:cxn ang="0">
                <a:pos x="connsiteX4991" y="connsiteY4991"/>
              </a:cxn>
              <a:cxn ang="0">
                <a:pos x="connsiteX4992" y="connsiteY4992"/>
              </a:cxn>
              <a:cxn ang="0">
                <a:pos x="connsiteX4993" y="connsiteY4993"/>
              </a:cxn>
              <a:cxn ang="0">
                <a:pos x="connsiteX4994" y="connsiteY4994"/>
              </a:cxn>
              <a:cxn ang="0">
                <a:pos x="connsiteX4995" y="connsiteY4995"/>
              </a:cxn>
              <a:cxn ang="0">
                <a:pos x="connsiteX4996" y="connsiteY4996"/>
              </a:cxn>
              <a:cxn ang="0">
                <a:pos x="connsiteX4997" y="connsiteY4997"/>
              </a:cxn>
              <a:cxn ang="0">
                <a:pos x="connsiteX4998" y="connsiteY4998"/>
              </a:cxn>
              <a:cxn ang="0">
                <a:pos x="connsiteX4999" y="connsiteY4999"/>
              </a:cxn>
              <a:cxn ang="0">
                <a:pos x="connsiteX5000" y="connsiteY5000"/>
              </a:cxn>
              <a:cxn ang="0">
                <a:pos x="connsiteX5001" y="connsiteY5001"/>
              </a:cxn>
              <a:cxn ang="0">
                <a:pos x="connsiteX5002" y="connsiteY5002"/>
              </a:cxn>
              <a:cxn ang="0">
                <a:pos x="connsiteX5003" y="connsiteY5003"/>
              </a:cxn>
              <a:cxn ang="0">
                <a:pos x="connsiteX5004" y="connsiteY5004"/>
              </a:cxn>
              <a:cxn ang="0">
                <a:pos x="connsiteX5005" y="connsiteY5005"/>
              </a:cxn>
              <a:cxn ang="0">
                <a:pos x="connsiteX5006" y="connsiteY5006"/>
              </a:cxn>
              <a:cxn ang="0">
                <a:pos x="connsiteX5007" y="connsiteY5007"/>
              </a:cxn>
              <a:cxn ang="0">
                <a:pos x="connsiteX5008" y="connsiteY5008"/>
              </a:cxn>
              <a:cxn ang="0">
                <a:pos x="connsiteX5009" y="connsiteY5009"/>
              </a:cxn>
              <a:cxn ang="0">
                <a:pos x="connsiteX5010" y="connsiteY5010"/>
              </a:cxn>
              <a:cxn ang="0">
                <a:pos x="connsiteX5011" y="connsiteY5011"/>
              </a:cxn>
              <a:cxn ang="0">
                <a:pos x="connsiteX5012" y="connsiteY5012"/>
              </a:cxn>
              <a:cxn ang="0">
                <a:pos x="connsiteX5013" y="connsiteY5013"/>
              </a:cxn>
              <a:cxn ang="0">
                <a:pos x="connsiteX5014" y="connsiteY5014"/>
              </a:cxn>
              <a:cxn ang="0">
                <a:pos x="connsiteX5015" y="connsiteY5015"/>
              </a:cxn>
              <a:cxn ang="0">
                <a:pos x="connsiteX5016" y="connsiteY5016"/>
              </a:cxn>
              <a:cxn ang="0">
                <a:pos x="connsiteX5017" y="connsiteY5017"/>
              </a:cxn>
              <a:cxn ang="0">
                <a:pos x="connsiteX5018" y="connsiteY5018"/>
              </a:cxn>
              <a:cxn ang="0">
                <a:pos x="connsiteX5019" y="connsiteY5019"/>
              </a:cxn>
              <a:cxn ang="0">
                <a:pos x="connsiteX5020" y="connsiteY5020"/>
              </a:cxn>
              <a:cxn ang="0">
                <a:pos x="connsiteX5021" y="connsiteY5021"/>
              </a:cxn>
              <a:cxn ang="0">
                <a:pos x="connsiteX5022" y="connsiteY5022"/>
              </a:cxn>
              <a:cxn ang="0">
                <a:pos x="connsiteX5023" y="connsiteY5023"/>
              </a:cxn>
              <a:cxn ang="0">
                <a:pos x="connsiteX5024" y="connsiteY5024"/>
              </a:cxn>
              <a:cxn ang="0">
                <a:pos x="connsiteX5025" y="connsiteY5025"/>
              </a:cxn>
              <a:cxn ang="0">
                <a:pos x="connsiteX5026" y="connsiteY5026"/>
              </a:cxn>
              <a:cxn ang="0">
                <a:pos x="connsiteX5027" y="connsiteY5027"/>
              </a:cxn>
              <a:cxn ang="0">
                <a:pos x="connsiteX5028" y="connsiteY5028"/>
              </a:cxn>
              <a:cxn ang="0">
                <a:pos x="connsiteX5029" y="connsiteY5029"/>
              </a:cxn>
              <a:cxn ang="0">
                <a:pos x="connsiteX5030" y="connsiteY5030"/>
              </a:cxn>
              <a:cxn ang="0">
                <a:pos x="connsiteX5031" y="connsiteY5031"/>
              </a:cxn>
              <a:cxn ang="0">
                <a:pos x="connsiteX5032" y="connsiteY5032"/>
              </a:cxn>
              <a:cxn ang="0">
                <a:pos x="connsiteX5033" y="connsiteY5033"/>
              </a:cxn>
              <a:cxn ang="0">
                <a:pos x="connsiteX5034" y="connsiteY5034"/>
              </a:cxn>
              <a:cxn ang="0">
                <a:pos x="connsiteX5035" y="connsiteY5035"/>
              </a:cxn>
              <a:cxn ang="0">
                <a:pos x="connsiteX5036" y="connsiteY5036"/>
              </a:cxn>
              <a:cxn ang="0">
                <a:pos x="connsiteX5037" y="connsiteY5037"/>
              </a:cxn>
              <a:cxn ang="0">
                <a:pos x="connsiteX5038" y="connsiteY5038"/>
              </a:cxn>
              <a:cxn ang="0">
                <a:pos x="connsiteX5039" y="connsiteY5039"/>
              </a:cxn>
              <a:cxn ang="0">
                <a:pos x="connsiteX5040" y="connsiteY5040"/>
              </a:cxn>
              <a:cxn ang="0">
                <a:pos x="connsiteX5041" y="connsiteY5041"/>
              </a:cxn>
              <a:cxn ang="0">
                <a:pos x="connsiteX5042" y="connsiteY5042"/>
              </a:cxn>
              <a:cxn ang="0">
                <a:pos x="connsiteX5043" y="connsiteY5043"/>
              </a:cxn>
              <a:cxn ang="0">
                <a:pos x="connsiteX5044" y="connsiteY5044"/>
              </a:cxn>
              <a:cxn ang="0">
                <a:pos x="connsiteX5045" y="connsiteY5045"/>
              </a:cxn>
              <a:cxn ang="0">
                <a:pos x="connsiteX5046" y="connsiteY5046"/>
              </a:cxn>
              <a:cxn ang="0">
                <a:pos x="connsiteX5047" y="connsiteY5047"/>
              </a:cxn>
              <a:cxn ang="0">
                <a:pos x="connsiteX5048" y="connsiteY5048"/>
              </a:cxn>
              <a:cxn ang="0">
                <a:pos x="connsiteX5049" y="connsiteY5049"/>
              </a:cxn>
              <a:cxn ang="0">
                <a:pos x="connsiteX5050" y="connsiteY5050"/>
              </a:cxn>
              <a:cxn ang="0">
                <a:pos x="connsiteX5051" y="connsiteY5051"/>
              </a:cxn>
              <a:cxn ang="0">
                <a:pos x="connsiteX5052" y="connsiteY5052"/>
              </a:cxn>
              <a:cxn ang="0">
                <a:pos x="connsiteX5053" y="connsiteY5053"/>
              </a:cxn>
              <a:cxn ang="0">
                <a:pos x="connsiteX5054" y="connsiteY5054"/>
              </a:cxn>
              <a:cxn ang="0">
                <a:pos x="connsiteX5055" y="connsiteY5055"/>
              </a:cxn>
              <a:cxn ang="0">
                <a:pos x="connsiteX5056" y="connsiteY5056"/>
              </a:cxn>
              <a:cxn ang="0">
                <a:pos x="connsiteX5057" y="connsiteY5057"/>
              </a:cxn>
              <a:cxn ang="0">
                <a:pos x="connsiteX5058" y="connsiteY5058"/>
              </a:cxn>
              <a:cxn ang="0">
                <a:pos x="connsiteX5059" y="connsiteY5059"/>
              </a:cxn>
              <a:cxn ang="0">
                <a:pos x="connsiteX5060" y="connsiteY5060"/>
              </a:cxn>
              <a:cxn ang="0">
                <a:pos x="connsiteX5061" y="connsiteY5061"/>
              </a:cxn>
              <a:cxn ang="0">
                <a:pos x="connsiteX5062" y="connsiteY5062"/>
              </a:cxn>
              <a:cxn ang="0">
                <a:pos x="connsiteX5063" y="connsiteY5063"/>
              </a:cxn>
              <a:cxn ang="0">
                <a:pos x="connsiteX5064" y="connsiteY5064"/>
              </a:cxn>
              <a:cxn ang="0">
                <a:pos x="connsiteX5065" y="connsiteY5065"/>
              </a:cxn>
              <a:cxn ang="0">
                <a:pos x="connsiteX5066" y="connsiteY5066"/>
              </a:cxn>
              <a:cxn ang="0">
                <a:pos x="connsiteX5067" y="connsiteY5067"/>
              </a:cxn>
              <a:cxn ang="0">
                <a:pos x="connsiteX5068" y="connsiteY5068"/>
              </a:cxn>
              <a:cxn ang="0">
                <a:pos x="connsiteX5069" y="connsiteY5069"/>
              </a:cxn>
              <a:cxn ang="0">
                <a:pos x="connsiteX5070" y="connsiteY5070"/>
              </a:cxn>
              <a:cxn ang="0">
                <a:pos x="connsiteX5071" y="connsiteY5071"/>
              </a:cxn>
              <a:cxn ang="0">
                <a:pos x="connsiteX5072" y="connsiteY5072"/>
              </a:cxn>
              <a:cxn ang="0">
                <a:pos x="connsiteX5073" y="connsiteY5073"/>
              </a:cxn>
              <a:cxn ang="0">
                <a:pos x="connsiteX5074" y="connsiteY5074"/>
              </a:cxn>
              <a:cxn ang="0">
                <a:pos x="connsiteX5075" y="connsiteY5075"/>
              </a:cxn>
              <a:cxn ang="0">
                <a:pos x="connsiteX5076" y="connsiteY5076"/>
              </a:cxn>
              <a:cxn ang="0">
                <a:pos x="connsiteX5077" y="connsiteY5077"/>
              </a:cxn>
              <a:cxn ang="0">
                <a:pos x="connsiteX5078" y="connsiteY5078"/>
              </a:cxn>
              <a:cxn ang="0">
                <a:pos x="connsiteX5079" y="connsiteY5079"/>
              </a:cxn>
              <a:cxn ang="0">
                <a:pos x="connsiteX5080" y="connsiteY5080"/>
              </a:cxn>
              <a:cxn ang="0">
                <a:pos x="connsiteX5081" y="connsiteY5081"/>
              </a:cxn>
              <a:cxn ang="0">
                <a:pos x="connsiteX5082" y="connsiteY5082"/>
              </a:cxn>
              <a:cxn ang="0">
                <a:pos x="connsiteX5083" y="connsiteY5083"/>
              </a:cxn>
              <a:cxn ang="0">
                <a:pos x="connsiteX5084" y="connsiteY5084"/>
              </a:cxn>
              <a:cxn ang="0">
                <a:pos x="connsiteX5085" y="connsiteY5085"/>
              </a:cxn>
              <a:cxn ang="0">
                <a:pos x="connsiteX5086" y="connsiteY5086"/>
              </a:cxn>
              <a:cxn ang="0">
                <a:pos x="connsiteX5087" y="connsiteY5087"/>
              </a:cxn>
              <a:cxn ang="0">
                <a:pos x="connsiteX5088" y="connsiteY5088"/>
              </a:cxn>
              <a:cxn ang="0">
                <a:pos x="connsiteX5089" y="connsiteY5089"/>
              </a:cxn>
              <a:cxn ang="0">
                <a:pos x="connsiteX5090" y="connsiteY5090"/>
              </a:cxn>
              <a:cxn ang="0">
                <a:pos x="connsiteX5091" y="connsiteY5091"/>
              </a:cxn>
              <a:cxn ang="0">
                <a:pos x="connsiteX5092" y="connsiteY5092"/>
              </a:cxn>
              <a:cxn ang="0">
                <a:pos x="connsiteX5093" y="connsiteY5093"/>
              </a:cxn>
              <a:cxn ang="0">
                <a:pos x="connsiteX5094" y="connsiteY5094"/>
              </a:cxn>
              <a:cxn ang="0">
                <a:pos x="connsiteX5095" y="connsiteY5095"/>
              </a:cxn>
              <a:cxn ang="0">
                <a:pos x="connsiteX5096" y="connsiteY5096"/>
              </a:cxn>
              <a:cxn ang="0">
                <a:pos x="connsiteX5097" y="connsiteY5097"/>
              </a:cxn>
              <a:cxn ang="0">
                <a:pos x="connsiteX5098" y="connsiteY5098"/>
              </a:cxn>
              <a:cxn ang="0">
                <a:pos x="connsiteX5099" y="connsiteY5099"/>
              </a:cxn>
              <a:cxn ang="0">
                <a:pos x="connsiteX5100" y="connsiteY5100"/>
              </a:cxn>
              <a:cxn ang="0">
                <a:pos x="connsiteX5101" y="connsiteY5101"/>
              </a:cxn>
              <a:cxn ang="0">
                <a:pos x="connsiteX5102" y="connsiteY5102"/>
              </a:cxn>
              <a:cxn ang="0">
                <a:pos x="connsiteX5103" y="connsiteY5103"/>
              </a:cxn>
              <a:cxn ang="0">
                <a:pos x="connsiteX5104" y="connsiteY5104"/>
              </a:cxn>
              <a:cxn ang="0">
                <a:pos x="connsiteX5105" y="connsiteY5105"/>
              </a:cxn>
              <a:cxn ang="0">
                <a:pos x="connsiteX5106" y="connsiteY5106"/>
              </a:cxn>
              <a:cxn ang="0">
                <a:pos x="connsiteX5107" y="connsiteY5107"/>
              </a:cxn>
              <a:cxn ang="0">
                <a:pos x="connsiteX5108" y="connsiteY5108"/>
              </a:cxn>
              <a:cxn ang="0">
                <a:pos x="connsiteX5109" y="connsiteY5109"/>
              </a:cxn>
              <a:cxn ang="0">
                <a:pos x="connsiteX5110" y="connsiteY5110"/>
              </a:cxn>
              <a:cxn ang="0">
                <a:pos x="connsiteX5111" y="connsiteY5111"/>
              </a:cxn>
              <a:cxn ang="0">
                <a:pos x="connsiteX5112" y="connsiteY5112"/>
              </a:cxn>
              <a:cxn ang="0">
                <a:pos x="connsiteX5113" y="connsiteY5113"/>
              </a:cxn>
              <a:cxn ang="0">
                <a:pos x="connsiteX5114" y="connsiteY5114"/>
              </a:cxn>
              <a:cxn ang="0">
                <a:pos x="connsiteX5115" y="connsiteY5115"/>
              </a:cxn>
              <a:cxn ang="0">
                <a:pos x="connsiteX5116" y="connsiteY5116"/>
              </a:cxn>
              <a:cxn ang="0">
                <a:pos x="connsiteX5117" y="connsiteY5117"/>
              </a:cxn>
              <a:cxn ang="0">
                <a:pos x="connsiteX5118" y="connsiteY5118"/>
              </a:cxn>
              <a:cxn ang="0">
                <a:pos x="connsiteX5119" y="connsiteY5119"/>
              </a:cxn>
              <a:cxn ang="0">
                <a:pos x="connsiteX5120" y="connsiteY5120"/>
              </a:cxn>
              <a:cxn ang="0">
                <a:pos x="connsiteX5121" y="connsiteY5121"/>
              </a:cxn>
              <a:cxn ang="0">
                <a:pos x="connsiteX5122" y="connsiteY5122"/>
              </a:cxn>
              <a:cxn ang="0">
                <a:pos x="connsiteX5123" y="connsiteY5123"/>
              </a:cxn>
              <a:cxn ang="0">
                <a:pos x="connsiteX5124" y="connsiteY5124"/>
              </a:cxn>
              <a:cxn ang="0">
                <a:pos x="connsiteX5125" y="connsiteY5125"/>
              </a:cxn>
              <a:cxn ang="0">
                <a:pos x="connsiteX5126" y="connsiteY5126"/>
              </a:cxn>
              <a:cxn ang="0">
                <a:pos x="connsiteX5127" y="connsiteY5127"/>
              </a:cxn>
              <a:cxn ang="0">
                <a:pos x="connsiteX5128" y="connsiteY5128"/>
              </a:cxn>
              <a:cxn ang="0">
                <a:pos x="connsiteX5129" y="connsiteY5129"/>
              </a:cxn>
              <a:cxn ang="0">
                <a:pos x="connsiteX5130" y="connsiteY5130"/>
              </a:cxn>
              <a:cxn ang="0">
                <a:pos x="connsiteX5131" y="connsiteY5131"/>
              </a:cxn>
              <a:cxn ang="0">
                <a:pos x="connsiteX5132" y="connsiteY5132"/>
              </a:cxn>
              <a:cxn ang="0">
                <a:pos x="connsiteX5133" y="connsiteY5133"/>
              </a:cxn>
              <a:cxn ang="0">
                <a:pos x="connsiteX5134" y="connsiteY5134"/>
              </a:cxn>
              <a:cxn ang="0">
                <a:pos x="connsiteX5135" y="connsiteY5135"/>
              </a:cxn>
              <a:cxn ang="0">
                <a:pos x="connsiteX5136" y="connsiteY5136"/>
              </a:cxn>
              <a:cxn ang="0">
                <a:pos x="connsiteX5137" y="connsiteY5137"/>
              </a:cxn>
              <a:cxn ang="0">
                <a:pos x="connsiteX5138" y="connsiteY5138"/>
              </a:cxn>
              <a:cxn ang="0">
                <a:pos x="connsiteX5139" y="connsiteY5139"/>
              </a:cxn>
              <a:cxn ang="0">
                <a:pos x="connsiteX5140" y="connsiteY5140"/>
              </a:cxn>
              <a:cxn ang="0">
                <a:pos x="connsiteX5141" y="connsiteY5141"/>
              </a:cxn>
              <a:cxn ang="0">
                <a:pos x="connsiteX5142" y="connsiteY5142"/>
              </a:cxn>
              <a:cxn ang="0">
                <a:pos x="connsiteX5143" y="connsiteY5143"/>
              </a:cxn>
              <a:cxn ang="0">
                <a:pos x="connsiteX5144" y="connsiteY5144"/>
              </a:cxn>
              <a:cxn ang="0">
                <a:pos x="connsiteX5145" y="connsiteY5145"/>
              </a:cxn>
              <a:cxn ang="0">
                <a:pos x="connsiteX5146" y="connsiteY5146"/>
              </a:cxn>
              <a:cxn ang="0">
                <a:pos x="connsiteX5147" y="connsiteY5147"/>
              </a:cxn>
              <a:cxn ang="0">
                <a:pos x="connsiteX5148" y="connsiteY5148"/>
              </a:cxn>
              <a:cxn ang="0">
                <a:pos x="connsiteX5149" y="connsiteY5149"/>
              </a:cxn>
              <a:cxn ang="0">
                <a:pos x="connsiteX5150" y="connsiteY5150"/>
              </a:cxn>
              <a:cxn ang="0">
                <a:pos x="connsiteX5151" y="connsiteY5151"/>
              </a:cxn>
              <a:cxn ang="0">
                <a:pos x="connsiteX5152" y="connsiteY5152"/>
              </a:cxn>
              <a:cxn ang="0">
                <a:pos x="connsiteX5153" y="connsiteY5153"/>
              </a:cxn>
              <a:cxn ang="0">
                <a:pos x="connsiteX5154" y="connsiteY5154"/>
              </a:cxn>
              <a:cxn ang="0">
                <a:pos x="connsiteX5155" y="connsiteY5155"/>
              </a:cxn>
              <a:cxn ang="0">
                <a:pos x="connsiteX5156" y="connsiteY5156"/>
              </a:cxn>
              <a:cxn ang="0">
                <a:pos x="connsiteX5157" y="connsiteY5157"/>
              </a:cxn>
              <a:cxn ang="0">
                <a:pos x="connsiteX5158" y="connsiteY5158"/>
              </a:cxn>
              <a:cxn ang="0">
                <a:pos x="connsiteX5159" y="connsiteY5159"/>
              </a:cxn>
              <a:cxn ang="0">
                <a:pos x="connsiteX5160" y="connsiteY5160"/>
              </a:cxn>
              <a:cxn ang="0">
                <a:pos x="connsiteX5161" y="connsiteY5161"/>
              </a:cxn>
              <a:cxn ang="0">
                <a:pos x="connsiteX5162" y="connsiteY5162"/>
              </a:cxn>
              <a:cxn ang="0">
                <a:pos x="connsiteX5163" y="connsiteY5163"/>
              </a:cxn>
              <a:cxn ang="0">
                <a:pos x="connsiteX5164" y="connsiteY5164"/>
              </a:cxn>
              <a:cxn ang="0">
                <a:pos x="connsiteX5165" y="connsiteY5165"/>
              </a:cxn>
              <a:cxn ang="0">
                <a:pos x="connsiteX5166" y="connsiteY5166"/>
              </a:cxn>
              <a:cxn ang="0">
                <a:pos x="connsiteX5167" y="connsiteY5167"/>
              </a:cxn>
              <a:cxn ang="0">
                <a:pos x="connsiteX5168" y="connsiteY5168"/>
              </a:cxn>
              <a:cxn ang="0">
                <a:pos x="connsiteX5169" y="connsiteY5169"/>
              </a:cxn>
              <a:cxn ang="0">
                <a:pos x="connsiteX5170" y="connsiteY5170"/>
              </a:cxn>
              <a:cxn ang="0">
                <a:pos x="connsiteX5171" y="connsiteY5171"/>
              </a:cxn>
              <a:cxn ang="0">
                <a:pos x="connsiteX5172" y="connsiteY5172"/>
              </a:cxn>
              <a:cxn ang="0">
                <a:pos x="connsiteX5173" y="connsiteY5173"/>
              </a:cxn>
              <a:cxn ang="0">
                <a:pos x="connsiteX5174" y="connsiteY5174"/>
              </a:cxn>
              <a:cxn ang="0">
                <a:pos x="connsiteX5175" y="connsiteY5175"/>
              </a:cxn>
              <a:cxn ang="0">
                <a:pos x="connsiteX5176" y="connsiteY5176"/>
              </a:cxn>
              <a:cxn ang="0">
                <a:pos x="connsiteX5177" y="connsiteY5177"/>
              </a:cxn>
              <a:cxn ang="0">
                <a:pos x="connsiteX5178" y="connsiteY5178"/>
              </a:cxn>
              <a:cxn ang="0">
                <a:pos x="connsiteX5179" y="connsiteY5179"/>
              </a:cxn>
              <a:cxn ang="0">
                <a:pos x="connsiteX5180" y="connsiteY5180"/>
              </a:cxn>
              <a:cxn ang="0">
                <a:pos x="connsiteX5181" y="connsiteY5181"/>
              </a:cxn>
              <a:cxn ang="0">
                <a:pos x="connsiteX5182" y="connsiteY5182"/>
              </a:cxn>
              <a:cxn ang="0">
                <a:pos x="connsiteX5183" y="connsiteY5183"/>
              </a:cxn>
              <a:cxn ang="0">
                <a:pos x="connsiteX5184" y="connsiteY5184"/>
              </a:cxn>
              <a:cxn ang="0">
                <a:pos x="connsiteX5185" y="connsiteY5185"/>
              </a:cxn>
              <a:cxn ang="0">
                <a:pos x="connsiteX5186" y="connsiteY5186"/>
              </a:cxn>
              <a:cxn ang="0">
                <a:pos x="connsiteX5187" y="connsiteY5187"/>
              </a:cxn>
              <a:cxn ang="0">
                <a:pos x="connsiteX5188" y="connsiteY5188"/>
              </a:cxn>
              <a:cxn ang="0">
                <a:pos x="connsiteX5189" y="connsiteY5189"/>
              </a:cxn>
              <a:cxn ang="0">
                <a:pos x="connsiteX5190" y="connsiteY5190"/>
              </a:cxn>
              <a:cxn ang="0">
                <a:pos x="connsiteX5191" y="connsiteY5191"/>
              </a:cxn>
              <a:cxn ang="0">
                <a:pos x="connsiteX5192" y="connsiteY5192"/>
              </a:cxn>
              <a:cxn ang="0">
                <a:pos x="connsiteX5193" y="connsiteY5193"/>
              </a:cxn>
              <a:cxn ang="0">
                <a:pos x="connsiteX5194" y="connsiteY5194"/>
              </a:cxn>
              <a:cxn ang="0">
                <a:pos x="connsiteX5195" y="connsiteY5195"/>
              </a:cxn>
              <a:cxn ang="0">
                <a:pos x="connsiteX5196" y="connsiteY5196"/>
              </a:cxn>
              <a:cxn ang="0">
                <a:pos x="connsiteX5197" y="connsiteY5197"/>
              </a:cxn>
              <a:cxn ang="0">
                <a:pos x="connsiteX5198" y="connsiteY5198"/>
              </a:cxn>
              <a:cxn ang="0">
                <a:pos x="connsiteX5199" y="connsiteY5199"/>
              </a:cxn>
              <a:cxn ang="0">
                <a:pos x="connsiteX5200" y="connsiteY5200"/>
              </a:cxn>
              <a:cxn ang="0">
                <a:pos x="connsiteX5201" y="connsiteY5201"/>
              </a:cxn>
              <a:cxn ang="0">
                <a:pos x="connsiteX5202" y="connsiteY5202"/>
              </a:cxn>
              <a:cxn ang="0">
                <a:pos x="connsiteX5203" y="connsiteY5203"/>
              </a:cxn>
              <a:cxn ang="0">
                <a:pos x="connsiteX5204" y="connsiteY5204"/>
              </a:cxn>
              <a:cxn ang="0">
                <a:pos x="connsiteX5205" y="connsiteY5205"/>
              </a:cxn>
              <a:cxn ang="0">
                <a:pos x="connsiteX5206" y="connsiteY5206"/>
              </a:cxn>
              <a:cxn ang="0">
                <a:pos x="connsiteX5207" y="connsiteY5207"/>
              </a:cxn>
              <a:cxn ang="0">
                <a:pos x="connsiteX5208" y="connsiteY5208"/>
              </a:cxn>
              <a:cxn ang="0">
                <a:pos x="connsiteX5209" y="connsiteY5209"/>
              </a:cxn>
              <a:cxn ang="0">
                <a:pos x="connsiteX5210" y="connsiteY5210"/>
              </a:cxn>
              <a:cxn ang="0">
                <a:pos x="connsiteX5211" y="connsiteY5211"/>
              </a:cxn>
              <a:cxn ang="0">
                <a:pos x="connsiteX5212" y="connsiteY5212"/>
              </a:cxn>
              <a:cxn ang="0">
                <a:pos x="connsiteX5213" y="connsiteY5213"/>
              </a:cxn>
              <a:cxn ang="0">
                <a:pos x="connsiteX5214" y="connsiteY5214"/>
              </a:cxn>
              <a:cxn ang="0">
                <a:pos x="connsiteX5215" y="connsiteY5215"/>
              </a:cxn>
              <a:cxn ang="0">
                <a:pos x="connsiteX5216" y="connsiteY5216"/>
              </a:cxn>
              <a:cxn ang="0">
                <a:pos x="connsiteX5217" y="connsiteY5217"/>
              </a:cxn>
              <a:cxn ang="0">
                <a:pos x="connsiteX5218" y="connsiteY5218"/>
              </a:cxn>
              <a:cxn ang="0">
                <a:pos x="connsiteX5219" y="connsiteY5219"/>
              </a:cxn>
              <a:cxn ang="0">
                <a:pos x="connsiteX5220" y="connsiteY5220"/>
              </a:cxn>
              <a:cxn ang="0">
                <a:pos x="connsiteX5221" y="connsiteY5221"/>
              </a:cxn>
              <a:cxn ang="0">
                <a:pos x="connsiteX5222" y="connsiteY5222"/>
              </a:cxn>
              <a:cxn ang="0">
                <a:pos x="connsiteX5223" y="connsiteY5223"/>
              </a:cxn>
              <a:cxn ang="0">
                <a:pos x="connsiteX5224" y="connsiteY5224"/>
              </a:cxn>
              <a:cxn ang="0">
                <a:pos x="connsiteX5225" y="connsiteY5225"/>
              </a:cxn>
              <a:cxn ang="0">
                <a:pos x="connsiteX5226" y="connsiteY5226"/>
              </a:cxn>
              <a:cxn ang="0">
                <a:pos x="connsiteX5227" y="connsiteY5227"/>
              </a:cxn>
              <a:cxn ang="0">
                <a:pos x="connsiteX5228" y="connsiteY5228"/>
              </a:cxn>
              <a:cxn ang="0">
                <a:pos x="connsiteX5229" y="connsiteY5229"/>
              </a:cxn>
              <a:cxn ang="0">
                <a:pos x="connsiteX5230" y="connsiteY5230"/>
              </a:cxn>
              <a:cxn ang="0">
                <a:pos x="connsiteX5231" y="connsiteY5231"/>
              </a:cxn>
              <a:cxn ang="0">
                <a:pos x="connsiteX5232" y="connsiteY5232"/>
              </a:cxn>
              <a:cxn ang="0">
                <a:pos x="connsiteX5233" y="connsiteY5233"/>
              </a:cxn>
              <a:cxn ang="0">
                <a:pos x="connsiteX5234" y="connsiteY5234"/>
              </a:cxn>
              <a:cxn ang="0">
                <a:pos x="connsiteX5235" y="connsiteY5235"/>
              </a:cxn>
              <a:cxn ang="0">
                <a:pos x="connsiteX5236" y="connsiteY5236"/>
              </a:cxn>
              <a:cxn ang="0">
                <a:pos x="connsiteX5237" y="connsiteY5237"/>
              </a:cxn>
              <a:cxn ang="0">
                <a:pos x="connsiteX5238" y="connsiteY5238"/>
              </a:cxn>
              <a:cxn ang="0">
                <a:pos x="connsiteX5239" y="connsiteY5239"/>
              </a:cxn>
              <a:cxn ang="0">
                <a:pos x="connsiteX5240" y="connsiteY5240"/>
              </a:cxn>
              <a:cxn ang="0">
                <a:pos x="connsiteX5241" y="connsiteY5241"/>
              </a:cxn>
              <a:cxn ang="0">
                <a:pos x="connsiteX5242" y="connsiteY5242"/>
              </a:cxn>
              <a:cxn ang="0">
                <a:pos x="connsiteX5243" y="connsiteY5243"/>
              </a:cxn>
              <a:cxn ang="0">
                <a:pos x="connsiteX5244" y="connsiteY5244"/>
              </a:cxn>
              <a:cxn ang="0">
                <a:pos x="connsiteX5245" y="connsiteY5245"/>
              </a:cxn>
              <a:cxn ang="0">
                <a:pos x="connsiteX5246" y="connsiteY5246"/>
              </a:cxn>
              <a:cxn ang="0">
                <a:pos x="connsiteX5247" y="connsiteY5247"/>
              </a:cxn>
              <a:cxn ang="0">
                <a:pos x="connsiteX5248" y="connsiteY5248"/>
              </a:cxn>
              <a:cxn ang="0">
                <a:pos x="connsiteX5249" y="connsiteY5249"/>
              </a:cxn>
              <a:cxn ang="0">
                <a:pos x="connsiteX5250" y="connsiteY5250"/>
              </a:cxn>
              <a:cxn ang="0">
                <a:pos x="connsiteX5251" y="connsiteY5251"/>
              </a:cxn>
              <a:cxn ang="0">
                <a:pos x="connsiteX5252" y="connsiteY5252"/>
              </a:cxn>
              <a:cxn ang="0">
                <a:pos x="connsiteX5253" y="connsiteY5253"/>
              </a:cxn>
              <a:cxn ang="0">
                <a:pos x="connsiteX5254" y="connsiteY5254"/>
              </a:cxn>
              <a:cxn ang="0">
                <a:pos x="connsiteX5255" y="connsiteY5255"/>
              </a:cxn>
              <a:cxn ang="0">
                <a:pos x="connsiteX5256" y="connsiteY5256"/>
              </a:cxn>
              <a:cxn ang="0">
                <a:pos x="connsiteX5257" y="connsiteY5257"/>
              </a:cxn>
              <a:cxn ang="0">
                <a:pos x="connsiteX5258" y="connsiteY5258"/>
              </a:cxn>
              <a:cxn ang="0">
                <a:pos x="connsiteX5259" y="connsiteY5259"/>
              </a:cxn>
              <a:cxn ang="0">
                <a:pos x="connsiteX5260" y="connsiteY5260"/>
              </a:cxn>
              <a:cxn ang="0">
                <a:pos x="connsiteX5261" y="connsiteY5261"/>
              </a:cxn>
              <a:cxn ang="0">
                <a:pos x="connsiteX5262" y="connsiteY5262"/>
              </a:cxn>
              <a:cxn ang="0">
                <a:pos x="connsiteX5263" y="connsiteY5263"/>
              </a:cxn>
              <a:cxn ang="0">
                <a:pos x="connsiteX5264" y="connsiteY5264"/>
              </a:cxn>
              <a:cxn ang="0">
                <a:pos x="connsiteX5265" y="connsiteY5265"/>
              </a:cxn>
              <a:cxn ang="0">
                <a:pos x="connsiteX5266" y="connsiteY5266"/>
              </a:cxn>
              <a:cxn ang="0">
                <a:pos x="connsiteX5267" y="connsiteY5267"/>
              </a:cxn>
              <a:cxn ang="0">
                <a:pos x="connsiteX5268" y="connsiteY5268"/>
              </a:cxn>
              <a:cxn ang="0">
                <a:pos x="connsiteX5269" y="connsiteY5269"/>
              </a:cxn>
              <a:cxn ang="0">
                <a:pos x="connsiteX5270" y="connsiteY5270"/>
              </a:cxn>
              <a:cxn ang="0">
                <a:pos x="connsiteX5271" y="connsiteY5271"/>
              </a:cxn>
              <a:cxn ang="0">
                <a:pos x="connsiteX5272" y="connsiteY5272"/>
              </a:cxn>
              <a:cxn ang="0">
                <a:pos x="connsiteX5273" y="connsiteY5273"/>
              </a:cxn>
              <a:cxn ang="0">
                <a:pos x="connsiteX5274" y="connsiteY5274"/>
              </a:cxn>
              <a:cxn ang="0">
                <a:pos x="connsiteX5275" y="connsiteY5275"/>
              </a:cxn>
              <a:cxn ang="0">
                <a:pos x="connsiteX5276" y="connsiteY5276"/>
              </a:cxn>
              <a:cxn ang="0">
                <a:pos x="connsiteX5277" y="connsiteY5277"/>
              </a:cxn>
              <a:cxn ang="0">
                <a:pos x="connsiteX5278" y="connsiteY5278"/>
              </a:cxn>
              <a:cxn ang="0">
                <a:pos x="connsiteX5279" y="connsiteY5279"/>
              </a:cxn>
              <a:cxn ang="0">
                <a:pos x="connsiteX5280" y="connsiteY5280"/>
              </a:cxn>
              <a:cxn ang="0">
                <a:pos x="connsiteX5281" y="connsiteY5281"/>
              </a:cxn>
              <a:cxn ang="0">
                <a:pos x="connsiteX5282" y="connsiteY5282"/>
              </a:cxn>
              <a:cxn ang="0">
                <a:pos x="connsiteX5283" y="connsiteY5283"/>
              </a:cxn>
              <a:cxn ang="0">
                <a:pos x="connsiteX5284" y="connsiteY5284"/>
              </a:cxn>
              <a:cxn ang="0">
                <a:pos x="connsiteX5285" y="connsiteY5285"/>
              </a:cxn>
              <a:cxn ang="0">
                <a:pos x="connsiteX5286" y="connsiteY5286"/>
              </a:cxn>
              <a:cxn ang="0">
                <a:pos x="connsiteX5287" y="connsiteY5287"/>
              </a:cxn>
              <a:cxn ang="0">
                <a:pos x="connsiteX5288" y="connsiteY5288"/>
              </a:cxn>
              <a:cxn ang="0">
                <a:pos x="connsiteX5289" y="connsiteY5289"/>
              </a:cxn>
              <a:cxn ang="0">
                <a:pos x="connsiteX5290" y="connsiteY5290"/>
              </a:cxn>
              <a:cxn ang="0">
                <a:pos x="connsiteX5291" y="connsiteY5291"/>
              </a:cxn>
              <a:cxn ang="0">
                <a:pos x="connsiteX5292" y="connsiteY5292"/>
              </a:cxn>
              <a:cxn ang="0">
                <a:pos x="connsiteX5293" y="connsiteY5293"/>
              </a:cxn>
              <a:cxn ang="0">
                <a:pos x="connsiteX5294" y="connsiteY5294"/>
              </a:cxn>
              <a:cxn ang="0">
                <a:pos x="connsiteX5295" y="connsiteY5295"/>
              </a:cxn>
              <a:cxn ang="0">
                <a:pos x="connsiteX5296" y="connsiteY5296"/>
              </a:cxn>
              <a:cxn ang="0">
                <a:pos x="connsiteX5297" y="connsiteY5297"/>
              </a:cxn>
              <a:cxn ang="0">
                <a:pos x="connsiteX5298" y="connsiteY5298"/>
              </a:cxn>
              <a:cxn ang="0">
                <a:pos x="connsiteX5299" y="connsiteY5299"/>
              </a:cxn>
              <a:cxn ang="0">
                <a:pos x="connsiteX5300" y="connsiteY5300"/>
              </a:cxn>
              <a:cxn ang="0">
                <a:pos x="connsiteX5301" y="connsiteY5301"/>
              </a:cxn>
              <a:cxn ang="0">
                <a:pos x="connsiteX5302" y="connsiteY5302"/>
              </a:cxn>
              <a:cxn ang="0">
                <a:pos x="connsiteX5303" y="connsiteY5303"/>
              </a:cxn>
              <a:cxn ang="0">
                <a:pos x="connsiteX5304" y="connsiteY5304"/>
              </a:cxn>
              <a:cxn ang="0">
                <a:pos x="connsiteX5305" y="connsiteY5305"/>
              </a:cxn>
              <a:cxn ang="0">
                <a:pos x="connsiteX5306" y="connsiteY5306"/>
              </a:cxn>
              <a:cxn ang="0">
                <a:pos x="connsiteX5307" y="connsiteY5307"/>
              </a:cxn>
              <a:cxn ang="0">
                <a:pos x="connsiteX5308" y="connsiteY5308"/>
              </a:cxn>
              <a:cxn ang="0">
                <a:pos x="connsiteX5309" y="connsiteY5309"/>
              </a:cxn>
              <a:cxn ang="0">
                <a:pos x="connsiteX5310" y="connsiteY5310"/>
              </a:cxn>
              <a:cxn ang="0">
                <a:pos x="connsiteX5311" y="connsiteY5311"/>
              </a:cxn>
              <a:cxn ang="0">
                <a:pos x="connsiteX5312" y="connsiteY5312"/>
              </a:cxn>
              <a:cxn ang="0">
                <a:pos x="connsiteX5313" y="connsiteY5313"/>
              </a:cxn>
              <a:cxn ang="0">
                <a:pos x="connsiteX5314" y="connsiteY5314"/>
              </a:cxn>
              <a:cxn ang="0">
                <a:pos x="connsiteX5315" y="connsiteY5315"/>
              </a:cxn>
              <a:cxn ang="0">
                <a:pos x="connsiteX5316" y="connsiteY5316"/>
              </a:cxn>
              <a:cxn ang="0">
                <a:pos x="connsiteX5317" y="connsiteY5317"/>
              </a:cxn>
              <a:cxn ang="0">
                <a:pos x="connsiteX5318" y="connsiteY5318"/>
              </a:cxn>
              <a:cxn ang="0">
                <a:pos x="connsiteX5319" y="connsiteY5319"/>
              </a:cxn>
              <a:cxn ang="0">
                <a:pos x="connsiteX5320" y="connsiteY5320"/>
              </a:cxn>
              <a:cxn ang="0">
                <a:pos x="connsiteX5321" y="connsiteY5321"/>
              </a:cxn>
              <a:cxn ang="0">
                <a:pos x="connsiteX5322" y="connsiteY5322"/>
              </a:cxn>
              <a:cxn ang="0">
                <a:pos x="connsiteX5323" y="connsiteY5323"/>
              </a:cxn>
              <a:cxn ang="0">
                <a:pos x="connsiteX5324" y="connsiteY5324"/>
              </a:cxn>
              <a:cxn ang="0">
                <a:pos x="connsiteX5325" y="connsiteY5325"/>
              </a:cxn>
              <a:cxn ang="0">
                <a:pos x="connsiteX5326" y="connsiteY5326"/>
              </a:cxn>
              <a:cxn ang="0">
                <a:pos x="connsiteX5327" y="connsiteY5327"/>
              </a:cxn>
              <a:cxn ang="0">
                <a:pos x="connsiteX5328" y="connsiteY5328"/>
              </a:cxn>
              <a:cxn ang="0">
                <a:pos x="connsiteX5329" y="connsiteY5329"/>
              </a:cxn>
              <a:cxn ang="0">
                <a:pos x="connsiteX5330" y="connsiteY5330"/>
              </a:cxn>
              <a:cxn ang="0">
                <a:pos x="connsiteX5331" y="connsiteY5331"/>
              </a:cxn>
              <a:cxn ang="0">
                <a:pos x="connsiteX5332" y="connsiteY5332"/>
              </a:cxn>
              <a:cxn ang="0">
                <a:pos x="connsiteX5333" y="connsiteY5333"/>
              </a:cxn>
              <a:cxn ang="0">
                <a:pos x="connsiteX5334" y="connsiteY5334"/>
              </a:cxn>
              <a:cxn ang="0">
                <a:pos x="connsiteX5335" y="connsiteY5335"/>
              </a:cxn>
              <a:cxn ang="0">
                <a:pos x="connsiteX5336" y="connsiteY5336"/>
              </a:cxn>
              <a:cxn ang="0">
                <a:pos x="connsiteX5337" y="connsiteY5337"/>
              </a:cxn>
              <a:cxn ang="0">
                <a:pos x="connsiteX5338" y="connsiteY5338"/>
              </a:cxn>
              <a:cxn ang="0">
                <a:pos x="connsiteX5339" y="connsiteY5339"/>
              </a:cxn>
              <a:cxn ang="0">
                <a:pos x="connsiteX5340" y="connsiteY5340"/>
              </a:cxn>
              <a:cxn ang="0">
                <a:pos x="connsiteX5341" y="connsiteY5341"/>
              </a:cxn>
              <a:cxn ang="0">
                <a:pos x="connsiteX5342" y="connsiteY5342"/>
              </a:cxn>
              <a:cxn ang="0">
                <a:pos x="connsiteX5343" y="connsiteY5343"/>
              </a:cxn>
              <a:cxn ang="0">
                <a:pos x="connsiteX5344" y="connsiteY5344"/>
              </a:cxn>
              <a:cxn ang="0">
                <a:pos x="connsiteX5345" y="connsiteY5345"/>
              </a:cxn>
              <a:cxn ang="0">
                <a:pos x="connsiteX5346" y="connsiteY5346"/>
              </a:cxn>
              <a:cxn ang="0">
                <a:pos x="connsiteX5347" y="connsiteY5347"/>
              </a:cxn>
              <a:cxn ang="0">
                <a:pos x="connsiteX5348" y="connsiteY5348"/>
              </a:cxn>
              <a:cxn ang="0">
                <a:pos x="connsiteX5349" y="connsiteY5349"/>
              </a:cxn>
              <a:cxn ang="0">
                <a:pos x="connsiteX5350" y="connsiteY5350"/>
              </a:cxn>
              <a:cxn ang="0">
                <a:pos x="connsiteX5351" y="connsiteY5351"/>
              </a:cxn>
              <a:cxn ang="0">
                <a:pos x="connsiteX5352" y="connsiteY5352"/>
              </a:cxn>
              <a:cxn ang="0">
                <a:pos x="connsiteX5353" y="connsiteY5353"/>
              </a:cxn>
              <a:cxn ang="0">
                <a:pos x="connsiteX5354" y="connsiteY5354"/>
              </a:cxn>
              <a:cxn ang="0">
                <a:pos x="connsiteX5355" y="connsiteY5355"/>
              </a:cxn>
              <a:cxn ang="0">
                <a:pos x="connsiteX5356" y="connsiteY5356"/>
              </a:cxn>
              <a:cxn ang="0">
                <a:pos x="connsiteX5357" y="connsiteY5357"/>
              </a:cxn>
              <a:cxn ang="0">
                <a:pos x="connsiteX5358" y="connsiteY5358"/>
              </a:cxn>
              <a:cxn ang="0">
                <a:pos x="connsiteX5359" y="connsiteY5359"/>
              </a:cxn>
              <a:cxn ang="0">
                <a:pos x="connsiteX5360" y="connsiteY5360"/>
              </a:cxn>
              <a:cxn ang="0">
                <a:pos x="connsiteX5361" y="connsiteY5361"/>
              </a:cxn>
              <a:cxn ang="0">
                <a:pos x="connsiteX5362" y="connsiteY5362"/>
              </a:cxn>
              <a:cxn ang="0">
                <a:pos x="connsiteX5363" y="connsiteY5363"/>
              </a:cxn>
              <a:cxn ang="0">
                <a:pos x="connsiteX5364" y="connsiteY5364"/>
              </a:cxn>
              <a:cxn ang="0">
                <a:pos x="connsiteX5365" y="connsiteY5365"/>
              </a:cxn>
              <a:cxn ang="0">
                <a:pos x="connsiteX5366" y="connsiteY5366"/>
              </a:cxn>
              <a:cxn ang="0">
                <a:pos x="connsiteX5367" y="connsiteY5367"/>
              </a:cxn>
              <a:cxn ang="0">
                <a:pos x="connsiteX5368" y="connsiteY5368"/>
              </a:cxn>
              <a:cxn ang="0">
                <a:pos x="connsiteX5369" y="connsiteY5369"/>
              </a:cxn>
              <a:cxn ang="0">
                <a:pos x="connsiteX5370" y="connsiteY5370"/>
              </a:cxn>
              <a:cxn ang="0">
                <a:pos x="connsiteX5371" y="connsiteY5371"/>
              </a:cxn>
              <a:cxn ang="0">
                <a:pos x="connsiteX5372" y="connsiteY5372"/>
              </a:cxn>
              <a:cxn ang="0">
                <a:pos x="connsiteX5373" y="connsiteY5373"/>
              </a:cxn>
              <a:cxn ang="0">
                <a:pos x="connsiteX5374" y="connsiteY5374"/>
              </a:cxn>
              <a:cxn ang="0">
                <a:pos x="connsiteX5375" y="connsiteY5375"/>
              </a:cxn>
              <a:cxn ang="0">
                <a:pos x="connsiteX5376" y="connsiteY5376"/>
              </a:cxn>
              <a:cxn ang="0">
                <a:pos x="connsiteX5377" y="connsiteY5377"/>
              </a:cxn>
              <a:cxn ang="0">
                <a:pos x="connsiteX5378" y="connsiteY5378"/>
              </a:cxn>
              <a:cxn ang="0">
                <a:pos x="connsiteX5379" y="connsiteY5379"/>
              </a:cxn>
              <a:cxn ang="0">
                <a:pos x="connsiteX5380" y="connsiteY5380"/>
              </a:cxn>
              <a:cxn ang="0">
                <a:pos x="connsiteX5381" y="connsiteY5381"/>
              </a:cxn>
              <a:cxn ang="0">
                <a:pos x="connsiteX5382" y="connsiteY5382"/>
              </a:cxn>
              <a:cxn ang="0">
                <a:pos x="connsiteX5383" y="connsiteY5383"/>
              </a:cxn>
              <a:cxn ang="0">
                <a:pos x="connsiteX5384" y="connsiteY5384"/>
              </a:cxn>
              <a:cxn ang="0">
                <a:pos x="connsiteX5385" y="connsiteY5385"/>
              </a:cxn>
              <a:cxn ang="0">
                <a:pos x="connsiteX5386" y="connsiteY5386"/>
              </a:cxn>
              <a:cxn ang="0">
                <a:pos x="connsiteX5387" y="connsiteY5387"/>
              </a:cxn>
              <a:cxn ang="0">
                <a:pos x="connsiteX5388" y="connsiteY5388"/>
              </a:cxn>
              <a:cxn ang="0">
                <a:pos x="connsiteX5389" y="connsiteY5389"/>
              </a:cxn>
              <a:cxn ang="0">
                <a:pos x="connsiteX5390" y="connsiteY5390"/>
              </a:cxn>
              <a:cxn ang="0">
                <a:pos x="connsiteX5391" y="connsiteY5391"/>
              </a:cxn>
              <a:cxn ang="0">
                <a:pos x="connsiteX5392" y="connsiteY5392"/>
              </a:cxn>
              <a:cxn ang="0">
                <a:pos x="connsiteX5393" y="connsiteY5393"/>
              </a:cxn>
              <a:cxn ang="0">
                <a:pos x="connsiteX5394" y="connsiteY5394"/>
              </a:cxn>
              <a:cxn ang="0">
                <a:pos x="connsiteX5395" y="connsiteY5395"/>
              </a:cxn>
              <a:cxn ang="0">
                <a:pos x="connsiteX5396" y="connsiteY5396"/>
              </a:cxn>
              <a:cxn ang="0">
                <a:pos x="connsiteX5397" y="connsiteY5397"/>
              </a:cxn>
              <a:cxn ang="0">
                <a:pos x="connsiteX5398" y="connsiteY5398"/>
              </a:cxn>
              <a:cxn ang="0">
                <a:pos x="connsiteX5399" y="connsiteY5399"/>
              </a:cxn>
              <a:cxn ang="0">
                <a:pos x="connsiteX5400" y="connsiteY5400"/>
              </a:cxn>
              <a:cxn ang="0">
                <a:pos x="connsiteX5401" y="connsiteY5401"/>
              </a:cxn>
              <a:cxn ang="0">
                <a:pos x="connsiteX5402" y="connsiteY5402"/>
              </a:cxn>
              <a:cxn ang="0">
                <a:pos x="connsiteX5403" y="connsiteY5403"/>
              </a:cxn>
              <a:cxn ang="0">
                <a:pos x="connsiteX5404" y="connsiteY5404"/>
              </a:cxn>
              <a:cxn ang="0">
                <a:pos x="connsiteX5405" y="connsiteY5405"/>
              </a:cxn>
              <a:cxn ang="0">
                <a:pos x="connsiteX5406" y="connsiteY5406"/>
              </a:cxn>
              <a:cxn ang="0">
                <a:pos x="connsiteX5407" y="connsiteY5407"/>
              </a:cxn>
              <a:cxn ang="0">
                <a:pos x="connsiteX5408" y="connsiteY5408"/>
              </a:cxn>
              <a:cxn ang="0">
                <a:pos x="connsiteX5409" y="connsiteY5409"/>
              </a:cxn>
              <a:cxn ang="0">
                <a:pos x="connsiteX5410" y="connsiteY5410"/>
              </a:cxn>
              <a:cxn ang="0">
                <a:pos x="connsiteX5411" y="connsiteY5411"/>
              </a:cxn>
              <a:cxn ang="0">
                <a:pos x="connsiteX5412" y="connsiteY5412"/>
              </a:cxn>
              <a:cxn ang="0">
                <a:pos x="connsiteX5413" y="connsiteY5413"/>
              </a:cxn>
              <a:cxn ang="0">
                <a:pos x="connsiteX5414" y="connsiteY5414"/>
              </a:cxn>
              <a:cxn ang="0">
                <a:pos x="connsiteX5415" y="connsiteY5415"/>
              </a:cxn>
              <a:cxn ang="0">
                <a:pos x="connsiteX5416" y="connsiteY5416"/>
              </a:cxn>
              <a:cxn ang="0">
                <a:pos x="connsiteX5417" y="connsiteY5417"/>
              </a:cxn>
              <a:cxn ang="0">
                <a:pos x="connsiteX5418" y="connsiteY5418"/>
              </a:cxn>
              <a:cxn ang="0">
                <a:pos x="connsiteX5419" y="connsiteY5419"/>
              </a:cxn>
              <a:cxn ang="0">
                <a:pos x="connsiteX5420" y="connsiteY5420"/>
              </a:cxn>
              <a:cxn ang="0">
                <a:pos x="connsiteX5421" y="connsiteY5421"/>
              </a:cxn>
              <a:cxn ang="0">
                <a:pos x="connsiteX5422" y="connsiteY5422"/>
              </a:cxn>
              <a:cxn ang="0">
                <a:pos x="connsiteX5423" y="connsiteY5423"/>
              </a:cxn>
              <a:cxn ang="0">
                <a:pos x="connsiteX5424" y="connsiteY5424"/>
              </a:cxn>
              <a:cxn ang="0">
                <a:pos x="connsiteX5425" y="connsiteY5425"/>
              </a:cxn>
              <a:cxn ang="0">
                <a:pos x="connsiteX5426" y="connsiteY5426"/>
              </a:cxn>
              <a:cxn ang="0">
                <a:pos x="connsiteX5427" y="connsiteY5427"/>
              </a:cxn>
              <a:cxn ang="0">
                <a:pos x="connsiteX5428" y="connsiteY5428"/>
              </a:cxn>
              <a:cxn ang="0">
                <a:pos x="connsiteX5429" y="connsiteY5429"/>
              </a:cxn>
              <a:cxn ang="0">
                <a:pos x="connsiteX5430" y="connsiteY5430"/>
              </a:cxn>
              <a:cxn ang="0">
                <a:pos x="connsiteX5431" y="connsiteY5431"/>
              </a:cxn>
              <a:cxn ang="0">
                <a:pos x="connsiteX5432" y="connsiteY5432"/>
              </a:cxn>
              <a:cxn ang="0">
                <a:pos x="connsiteX5433" y="connsiteY5433"/>
              </a:cxn>
              <a:cxn ang="0">
                <a:pos x="connsiteX5434" y="connsiteY5434"/>
              </a:cxn>
              <a:cxn ang="0">
                <a:pos x="connsiteX5435" y="connsiteY5435"/>
              </a:cxn>
              <a:cxn ang="0">
                <a:pos x="connsiteX5436" y="connsiteY5436"/>
              </a:cxn>
              <a:cxn ang="0">
                <a:pos x="connsiteX5437" y="connsiteY5437"/>
              </a:cxn>
              <a:cxn ang="0">
                <a:pos x="connsiteX5438" y="connsiteY5438"/>
              </a:cxn>
              <a:cxn ang="0">
                <a:pos x="connsiteX5439" y="connsiteY5439"/>
              </a:cxn>
              <a:cxn ang="0">
                <a:pos x="connsiteX5440" y="connsiteY5440"/>
              </a:cxn>
              <a:cxn ang="0">
                <a:pos x="connsiteX5441" y="connsiteY5441"/>
              </a:cxn>
              <a:cxn ang="0">
                <a:pos x="connsiteX5442" y="connsiteY5442"/>
              </a:cxn>
              <a:cxn ang="0">
                <a:pos x="connsiteX5443" y="connsiteY5443"/>
              </a:cxn>
              <a:cxn ang="0">
                <a:pos x="connsiteX5444" y="connsiteY5444"/>
              </a:cxn>
              <a:cxn ang="0">
                <a:pos x="connsiteX5445" y="connsiteY5445"/>
              </a:cxn>
              <a:cxn ang="0">
                <a:pos x="connsiteX5446" y="connsiteY5446"/>
              </a:cxn>
              <a:cxn ang="0">
                <a:pos x="connsiteX5447" y="connsiteY5447"/>
              </a:cxn>
              <a:cxn ang="0">
                <a:pos x="connsiteX5448" y="connsiteY5448"/>
              </a:cxn>
              <a:cxn ang="0">
                <a:pos x="connsiteX5449" y="connsiteY5449"/>
              </a:cxn>
              <a:cxn ang="0">
                <a:pos x="connsiteX5450" y="connsiteY5450"/>
              </a:cxn>
              <a:cxn ang="0">
                <a:pos x="connsiteX5451" y="connsiteY5451"/>
              </a:cxn>
              <a:cxn ang="0">
                <a:pos x="connsiteX5452" y="connsiteY5452"/>
              </a:cxn>
              <a:cxn ang="0">
                <a:pos x="connsiteX5453" y="connsiteY5453"/>
              </a:cxn>
              <a:cxn ang="0">
                <a:pos x="connsiteX5454" y="connsiteY5454"/>
              </a:cxn>
              <a:cxn ang="0">
                <a:pos x="connsiteX5455" y="connsiteY5455"/>
              </a:cxn>
              <a:cxn ang="0">
                <a:pos x="connsiteX5456" y="connsiteY5456"/>
              </a:cxn>
              <a:cxn ang="0">
                <a:pos x="connsiteX5457" y="connsiteY5457"/>
              </a:cxn>
              <a:cxn ang="0">
                <a:pos x="connsiteX5458" y="connsiteY5458"/>
              </a:cxn>
              <a:cxn ang="0">
                <a:pos x="connsiteX5459" y="connsiteY5459"/>
              </a:cxn>
              <a:cxn ang="0">
                <a:pos x="connsiteX5460" y="connsiteY5460"/>
              </a:cxn>
              <a:cxn ang="0">
                <a:pos x="connsiteX5461" y="connsiteY5461"/>
              </a:cxn>
              <a:cxn ang="0">
                <a:pos x="connsiteX5462" y="connsiteY5462"/>
              </a:cxn>
              <a:cxn ang="0">
                <a:pos x="connsiteX5463" y="connsiteY5463"/>
              </a:cxn>
              <a:cxn ang="0">
                <a:pos x="connsiteX5464" y="connsiteY5464"/>
              </a:cxn>
              <a:cxn ang="0">
                <a:pos x="connsiteX5465" y="connsiteY5465"/>
              </a:cxn>
              <a:cxn ang="0">
                <a:pos x="connsiteX5466" y="connsiteY5466"/>
              </a:cxn>
              <a:cxn ang="0">
                <a:pos x="connsiteX5467" y="connsiteY5467"/>
              </a:cxn>
              <a:cxn ang="0">
                <a:pos x="connsiteX5468" y="connsiteY5468"/>
              </a:cxn>
              <a:cxn ang="0">
                <a:pos x="connsiteX5469" y="connsiteY5469"/>
              </a:cxn>
              <a:cxn ang="0">
                <a:pos x="connsiteX5470" y="connsiteY5470"/>
              </a:cxn>
              <a:cxn ang="0">
                <a:pos x="connsiteX5471" y="connsiteY5471"/>
              </a:cxn>
              <a:cxn ang="0">
                <a:pos x="connsiteX5472" y="connsiteY5472"/>
              </a:cxn>
              <a:cxn ang="0">
                <a:pos x="connsiteX5473" y="connsiteY5473"/>
              </a:cxn>
              <a:cxn ang="0">
                <a:pos x="connsiteX5474" y="connsiteY5474"/>
              </a:cxn>
              <a:cxn ang="0">
                <a:pos x="connsiteX5475" y="connsiteY5475"/>
              </a:cxn>
              <a:cxn ang="0">
                <a:pos x="connsiteX5476" y="connsiteY5476"/>
              </a:cxn>
              <a:cxn ang="0">
                <a:pos x="connsiteX5477" y="connsiteY5477"/>
              </a:cxn>
              <a:cxn ang="0">
                <a:pos x="connsiteX5478" y="connsiteY5478"/>
              </a:cxn>
              <a:cxn ang="0">
                <a:pos x="connsiteX5479" y="connsiteY5479"/>
              </a:cxn>
              <a:cxn ang="0">
                <a:pos x="connsiteX5480" y="connsiteY5480"/>
              </a:cxn>
              <a:cxn ang="0">
                <a:pos x="connsiteX5481" y="connsiteY5481"/>
              </a:cxn>
              <a:cxn ang="0">
                <a:pos x="connsiteX5482" y="connsiteY5482"/>
              </a:cxn>
              <a:cxn ang="0">
                <a:pos x="connsiteX5483" y="connsiteY5483"/>
              </a:cxn>
              <a:cxn ang="0">
                <a:pos x="connsiteX5484" y="connsiteY5484"/>
              </a:cxn>
              <a:cxn ang="0">
                <a:pos x="connsiteX5485" y="connsiteY5485"/>
              </a:cxn>
              <a:cxn ang="0">
                <a:pos x="connsiteX5486" y="connsiteY5486"/>
              </a:cxn>
              <a:cxn ang="0">
                <a:pos x="connsiteX5487" y="connsiteY5487"/>
              </a:cxn>
              <a:cxn ang="0">
                <a:pos x="connsiteX5488" y="connsiteY5488"/>
              </a:cxn>
              <a:cxn ang="0">
                <a:pos x="connsiteX5489" y="connsiteY5489"/>
              </a:cxn>
              <a:cxn ang="0">
                <a:pos x="connsiteX5490" y="connsiteY5490"/>
              </a:cxn>
              <a:cxn ang="0">
                <a:pos x="connsiteX5491" y="connsiteY5491"/>
              </a:cxn>
              <a:cxn ang="0">
                <a:pos x="connsiteX5492" y="connsiteY5492"/>
              </a:cxn>
              <a:cxn ang="0">
                <a:pos x="connsiteX5493" y="connsiteY5493"/>
              </a:cxn>
              <a:cxn ang="0">
                <a:pos x="connsiteX5494" y="connsiteY5494"/>
              </a:cxn>
              <a:cxn ang="0">
                <a:pos x="connsiteX5495" y="connsiteY5495"/>
              </a:cxn>
              <a:cxn ang="0">
                <a:pos x="connsiteX5496" y="connsiteY5496"/>
              </a:cxn>
              <a:cxn ang="0">
                <a:pos x="connsiteX5497" y="connsiteY5497"/>
              </a:cxn>
              <a:cxn ang="0">
                <a:pos x="connsiteX5498" y="connsiteY5498"/>
              </a:cxn>
              <a:cxn ang="0">
                <a:pos x="connsiteX5499" y="connsiteY5499"/>
              </a:cxn>
              <a:cxn ang="0">
                <a:pos x="connsiteX5500" y="connsiteY5500"/>
              </a:cxn>
              <a:cxn ang="0">
                <a:pos x="connsiteX5501" y="connsiteY5501"/>
              </a:cxn>
              <a:cxn ang="0">
                <a:pos x="connsiteX5502" y="connsiteY5502"/>
              </a:cxn>
              <a:cxn ang="0">
                <a:pos x="connsiteX5503" y="connsiteY5503"/>
              </a:cxn>
              <a:cxn ang="0">
                <a:pos x="connsiteX5504" y="connsiteY5504"/>
              </a:cxn>
              <a:cxn ang="0">
                <a:pos x="connsiteX5505" y="connsiteY5505"/>
              </a:cxn>
              <a:cxn ang="0">
                <a:pos x="connsiteX5506" y="connsiteY5506"/>
              </a:cxn>
              <a:cxn ang="0">
                <a:pos x="connsiteX5507" y="connsiteY5507"/>
              </a:cxn>
              <a:cxn ang="0">
                <a:pos x="connsiteX5508" y="connsiteY5508"/>
              </a:cxn>
              <a:cxn ang="0">
                <a:pos x="connsiteX5509" y="connsiteY5509"/>
              </a:cxn>
              <a:cxn ang="0">
                <a:pos x="connsiteX5510" y="connsiteY5510"/>
              </a:cxn>
              <a:cxn ang="0">
                <a:pos x="connsiteX5511" y="connsiteY5511"/>
              </a:cxn>
              <a:cxn ang="0">
                <a:pos x="connsiteX5512" y="connsiteY5512"/>
              </a:cxn>
              <a:cxn ang="0">
                <a:pos x="connsiteX5513" y="connsiteY5513"/>
              </a:cxn>
              <a:cxn ang="0">
                <a:pos x="connsiteX5514" y="connsiteY5514"/>
              </a:cxn>
              <a:cxn ang="0">
                <a:pos x="connsiteX5515" y="connsiteY5515"/>
              </a:cxn>
              <a:cxn ang="0">
                <a:pos x="connsiteX5516" y="connsiteY5516"/>
              </a:cxn>
              <a:cxn ang="0">
                <a:pos x="connsiteX5517" y="connsiteY5517"/>
              </a:cxn>
              <a:cxn ang="0">
                <a:pos x="connsiteX5518" y="connsiteY5518"/>
              </a:cxn>
              <a:cxn ang="0">
                <a:pos x="connsiteX5519" y="connsiteY5519"/>
              </a:cxn>
              <a:cxn ang="0">
                <a:pos x="connsiteX5520" y="connsiteY5520"/>
              </a:cxn>
              <a:cxn ang="0">
                <a:pos x="connsiteX5521" y="connsiteY5521"/>
              </a:cxn>
              <a:cxn ang="0">
                <a:pos x="connsiteX5522" y="connsiteY5522"/>
              </a:cxn>
              <a:cxn ang="0">
                <a:pos x="connsiteX5523" y="connsiteY5523"/>
              </a:cxn>
              <a:cxn ang="0">
                <a:pos x="connsiteX5524" y="connsiteY5524"/>
              </a:cxn>
              <a:cxn ang="0">
                <a:pos x="connsiteX5525" y="connsiteY5525"/>
              </a:cxn>
              <a:cxn ang="0">
                <a:pos x="connsiteX5526" y="connsiteY5526"/>
              </a:cxn>
              <a:cxn ang="0">
                <a:pos x="connsiteX5527" y="connsiteY5527"/>
              </a:cxn>
              <a:cxn ang="0">
                <a:pos x="connsiteX5528" y="connsiteY5528"/>
              </a:cxn>
              <a:cxn ang="0">
                <a:pos x="connsiteX5529" y="connsiteY5529"/>
              </a:cxn>
              <a:cxn ang="0">
                <a:pos x="connsiteX5530" y="connsiteY5530"/>
              </a:cxn>
              <a:cxn ang="0">
                <a:pos x="connsiteX5531" y="connsiteY5531"/>
              </a:cxn>
              <a:cxn ang="0">
                <a:pos x="connsiteX5532" y="connsiteY5532"/>
              </a:cxn>
              <a:cxn ang="0">
                <a:pos x="connsiteX5533" y="connsiteY5533"/>
              </a:cxn>
              <a:cxn ang="0">
                <a:pos x="connsiteX5534" y="connsiteY5534"/>
              </a:cxn>
              <a:cxn ang="0">
                <a:pos x="connsiteX5535" y="connsiteY5535"/>
              </a:cxn>
              <a:cxn ang="0">
                <a:pos x="connsiteX5536" y="connsiteY5536"/>
              </a:cxn>
              <a:cxn ang="0">
                <a:pos x="connsiteX5537" y="connsiteY5537"/>
              </a:cxn>
              <a:cxn ang="0">
                <a:pos x="connsiteX5538" y="connsiteY5538"/>
              </a:cxn>
              <a:cxn ang="0">
                <a:pos x="connsiteX5539" y="connsiteY5539"/>
              </a:cxn>
              <a:cxn ang="0">
                <a:pos x="connsiteX5540" y="connsiteY5540"/>
              </a:cxn>
              <a:cxn ang="0">
                <a:pos x="connsiteX5541" y="connsiteY5541"/>
              </a:cxn>
              <a:cxn ang="0">
                <a:pos x="connsiteX5542" y="connsiteY5542"/>
              </a:cxn>
              <a:cxn ang="0">
                <a:pos x="connsiteX5543" y="connsiteY5543"/>
              </a:cxn>
              <a:cxn ang="0">
                <a:pos x="connsiteX5544" y="connsiteY5544"/>
              </a:cxn>
              <a:cxn ang="0">
                <a:pos x="connsiteX5545" y="connsiteY5545"/>
              </a:cxn>
              <a:cxn ang="0">
                <a:pos x="connsiteX5546" y="connsiteY5546"/>
              </a:cxn>
              <a:cxn ang="0">
                <a:pos x="connsiteX5547" y="connsiteY5547"/>
              </a:cxn>
              <a:cxn ang="0">
                <a:pos x="connsiteX5548" y="connsiteY5548"/>
              </a:cxn>
              <a:cxn ang="0">
                <a:pos x="connsiteX5549" y="connsiteY5549"/>
              </a:cxn>
              <a:cxn ang="0">
                <a:pos x="connsiteX5550" y="connsiteY5550"/>
              </a:cxn>
              <a:cxn ang="0">
                <a:pos x="connsiteX5551" y="connsiteY5551"/>
              </a:cxn>
              <a:cxn ang="0">
                <a:pos x="connsiteX5552" y="connsiteY5552"/>
              </a:cxn>
              <a:cxn ang="0">
                <a:pos x="connsiteX5553" y="connsiteY5553"/>
              </a:cxn>
              <a:cxn ang="0">
                <a:pos x="connsiteX5554" y="connsiteY5554"/>
              </a:cxn>
              <a:cxn ang="0">
                <a:pos x="connsiteX5555" y="connsiteY5555"/>
              </a:cxn>
              <a:cxn ang="0">
                <a:pos x="connsiteX5556" y="connsiteY5556"/>
              </a:cxn>
              <a:cxn ang="0">
                <a:pos x="connsiteX5557" y="connsiteY5557"/>
              </a:cxn>
              <a:cxn ang="0">
                <a:pos x="connsiteX5558" y="connsiteY5558"/>
              </a:cxn>
              <a:cxn ang="0">
                <a:pos x="connsiteX5559" y="connsiteY5559"/>
              </a:cxn>
              <a:cxn ang="0">
                <a:pos x="connsiteX5560" y="connsiteY5560"/>
              </a:cxn>
              <a:cxn ang="0">
                <a:pos x="connsiteX5561" y="connsiteY5561"/>
              </a:cxn>
              <a:cxn ang="0">
                <a:pos x="connsiteX5562" y="connsiteY5562"/>
              </a:cxn>
              <a:cxn ang="0">
                <a:pos x="connsiteX5563" y="connsiteY5563"/>
              </a:cxn>
              <a:cxn ang="0">
                <a:pos x="connsiteX5564" y="connsiteY5564"/>
              </a:cxn>
              <a:cxn ang="0">
                <a:pos x="connsiteX5565" y="connsiteY5565"/>
              </a:cxn>
              <a:cxn ang="0">
                <a:pos x="connsiteX5566" y="connsiteY5566"/>
              </a:cxn>
              <a:cxn ang="0">
                <a:pos x="connsiteX5567" y="connsiteY5567"/>
              </a:cxn>
              <a:cxn ang="0">
                <a:pos x="connsiteX5568" y="connsiteY5568"/>
              </a:cxn>
              <a:cxn ang="0">
                <a:pos x="connsiteX5569" y="connsiteY5569"/>
              </a:cxn>
              <a:cxn ang="0">
                <a:pos x="connsiteX5570" y="connsiteY5570"/>
              </a:cxn>
              <a:cxn ang="0">
                <a:pos x="connsiteX5571" y="connsiteY5571"/>
              </a:cxn>
              <a:cxn ang="0">
                <a:pos x="connsiteX5572" y="connsiteY5572"/>
              </a:cxn>
              <a:cxn ang="0">
                <a:pos x="connsiteX5573" y="connsiteY5573"/>
              </a:cxn>
              <a:cxn ang="0">
                <a:pos x="connsiteX5574" y="connsiteY5574"/>
              </a:cxn>
              <a:cxn ang="0">
                <a:pos x="connsiteX5575" y="connsiteY5575"/>
              </a:cxn>
              <a:cxn ang="0">
                <a:pos x="connsiteX5576" y="connsiteY5576"/>
              </a:cxn>
              <a:cxn ang="0">
                <a:pos x="connsiteX5577" y="connsiteY5577"/>
              </a:cxn>
              <a:cxn ang="0">
                <a:pos x="connsiteX5578" y="connsiteY5578"/>
              </a:cxn>
              <a:cxn ang="0">
                <a:pos x="connsiteX5579" y="connsiteY5579"/>
              </a:cxn>
              <a:cxn ang="0">
                <a:pos x="connsiteX5580" y="connsiteY5580"/>
              </a:cxn>
              <a:cxn ang="0">
                <a:pos x="connsiteX5581" y="connsiteY5581"/>
              </a:cxn>
              <a:cxn ang="0">
                <a:pos x="connsiteX5582" y="connsiteY5582"/>
              </a:cxn>
              <a:cxn ang="0">
                <a:pos x="connsiteX5583" y="connsiteY5583"/>
              </a:cxn>
              <a:cxn ang="0">
                <a:pos x="connsiteX5584" y="connsiteY5584"/>
              </a:cxn>
              <a:cxn ang="0">
                <a:pos x="connsiteX5585" y="connsiteY5585"/>
              </a:cxn>
              <a:cxn ang="0">
                <a:pos x="connsiteX5586" y="connsiteY5586"/>
              </a:cxn>
              <a:cxn ang="0">
                <a:pos x="connsiteX5587" y="connsiteY5587"/>
              </a:cxn>
              <a:cxn ang="0">
                <a:pos x="connsiteX5588" y="connsiteY5588"/>
              </a:cxn>
              <a:cxn ang="0">
                <a:pos x="connsiteX5589" y="connsiteY5589"/>
              </a:cxn>
              <a:cxn ang="0">
                <a:pos x="connsiteX5590" y="connsiteY5590"/>
              </a:cxn>
              <a:cxn ang="0">
                <a:pos x="connsiteX5591" y="connsiteY5591"/>
              </a:cxn>
              <a:cxn ang="0">
                <a:pos x="connsiteX5592" y="connsiteY5592"/>
              </a:cxn>
              <a:cxn ang="0">
                <a:pos x="connsiteX5593" y="connsiteY5593"/>
              </a:cxn>
              <a:cxn ang="0">
                <a:pos x="connsiteX5594" y="connsiteY5594"/>
              </a:cxn>
              <a:cxn ang="0">
                <a:pos x="connsiteX5595" y="connsiteY5595"/>
              </a:cxn>
              <a:cxn ang="0">
                <a:pos x="connsiteX5596" y="connsiteY5596"/>
              </a:cxn>
              <a:cxn ang="0">
                <a:pos x="connsiteX5597" y="connsiteY5597"/>
              </a:cxn>
              <a:cxn ang="0">
                <a:pos x="connsiteX5598" y="connsiteY5598"/>
              </a:cxn>
              <a:cxn ang="0">
                <a:pos x="connsiteX5599" y="connsiteY5599"/>
              </a:cxn>
              <a:cxn ang="0">
                <a:pos x="connsiteX5600" y="connsiteY5600"/>
              </a:cxn>
              <a:cxn ang="0">
                <a:pos x="connsiteX5601" y="connsiteY5601"/>
              </a:cxn>
              <a:cxn ang="0">
                <a:pos x="connsiteX5602" y="connsiteY5602"/>
              </a:cxn>
              <a:cxn ang="0">
                <a:pos x="connsiteX5603" y="connsiteY5603"/>
              </a:cxn>
              <a:cxn ang="0">
                <a:pos x="connsiteX5604" y="connsiteY5604"/>
              </a:cxn>
              <a:cxn ang="0">
                <a:pos x="connsiteX5605" y="connsiteY5605"/>
              </a:cxn>
              <a:cxn ang="0">
                <a:pos x="connsiteX5606" y="connsiteY5606"/>
              </a:cxn>
              <a:cxn ang="0">
                <a:pos x="connsiteX5607" y="connsiteY5607"/>
              </a:cxn>
              <a:cxn ang="0">
                <a:pos x="connsiteX5608" y="connsiteY5608"/>
              </a:cxn>
              <a:cxn ang="0">
                <a:pos x="connsiteX5609" y="connsiteY5609"/>
              </a:cxn>
              <a:cxn ang="0">
                <a:pos x="connsiteX5610" y="connsiteY5610"/>
              </a:cxn>
              <a:cxn ang="0">
                <a:pos x="connsiteX5611" y="connsiteY5611"/>
              </a:cxn>
              <a:cxn ang="0">
                <a:pos x="connsiteX5612" y="connsiteY5612"/>
              </a:cxn>
              <a:cxn ang="0">
                <a:pos x="connsiteX5613" y="connsiteY5613"/>
              </a:cxn>
              <a:cxn ang="0">
                <a:pos x="connsiteX5614" y="connsiteY5614"/>
              </a:cxn>
              <a:cxn ang="0">
                <a:pos x="connsiteX5615" y="connsiteY5615"/>
              </a:cxn>
              <a:cxn ang="0">
                <a:pos x="connsiteX5616" y="connsiteY5616"/>
              </a:cxn>
              <a:cxn ang="0">
                <a:pos x="connsiteX5617" y="connsiteY5617"/>
              </a:cxn>
              <a:cxn ang="0">
                <a:pos x="connsiteX5618" y="connsiteY5618"/>
              </a:cxn>
              <a:cxn ang="0">
                <a:pos x="connsiteX5619" y="connsiteY5619"/>
              </a:cxn>
              <a:cxn ang="0">
                <a:pos x="connsiteX5620" y="connsiteY5620"/>
              </a:cxn>
              <a:cxn ang="0">
                <a:pos x="connsiteX5621" y="connsiteY5621"/>
              </a:cxn>
              <a:cxn ang="0">
                <a:pos x="connsiteX5622" y="connsiteY5622"/>
              </a:cxn>
              <a:cxn ang="0">
                <a:pos x="connsiteX5623" y="connsiteY5623"/>
              </a:cxn>
              <a:cxn ang="0">
                <a:pos x="connsiteX5624" y="connsiteY5624"/>
              </a:cxn>
              <a:cxn ang="0">
                <a:pos x="connsiteX5625" y="connsiteY5625"/>
              </a:cxn>
              <a:cxn ang="0">
                <a:pos x="connsiteX5626" y="connsiteY5626"/>
              </a:cxn>
              <a:cxn ang="0">
                <a:pos x="connsiteX5627" y="connsiteY5627"/>
              </a:cxn>
              <a:cxn ang="0">
                <a:pos x="connsiteX5628" y="connsiteY5628"/>
              </a:cxn>
              <a:cxn ang="0">
                <a:pos x="connsiteX5629" y="connsiteY5629"/>
              </a:cxn>
              <a:cxn ang="0">
                <a:pos x="connsiteX5630" y="connsiteY5630"/>
              </a:cxn>
              <a:cxn ang="0">
                <a:pos x="connsiteX5631" y="connsiteY5631"/>
              </a:cxn>
              <a:cxn ang="0">
                <a:pos x="connsiteX5632" y="connsiteY5632"/>
              </a:cxn>
              <a:cxn ang="0">
                <a:pos x="connsiteX5633" y="connsiteY5633"/>
              </a:cxn>
              <a:cxn ang="0">
                <a:pos x="connsiteX5634" y="connsiteY5634"/>
              </a:cxn>
              <a:cxn ang="0">
                <a:pos x="connsiteX5635" y="connsiteY5635"/>
              </a:cxn>
              <a:cxn ang="0">
                <a:pos x="connsiteX5636" y="connsiteY5636"/>
              </a:cxn>
              <a:cxn ang="0">
                <a:pos x="connsiteX5637" y="connsiteY5637"/>
              </a:cxn>
              <a:cxn ang="0">
                <a:pos x="connsiteX5638" y="connsiteY5638"/>
              </a:cxn>
              <a:cxn ang="0">
                <a:pos x="connsiteX5639" y="connsiteY5639"/>
              </a:cxn>
              <a:cxn ang="0">
                <a:pos x="connsiteX5640" y="connsiteY5640"/>
              </a:cxn>
              <a:cxn ang="0">
                <a:pos x="connsiteX5641" y="connsiteY5641"/>
              </a:cxn>
              <a:cxn ang="0">
                <a:pos x="connsiteX5642" y="connsiteY5642"/>
              </a:cxn>
              <a:cxn ang="0">
                <a:pos x="connsiteX5643" y="connsiteY5643"/>
              </a:cxn>
              <a:cxn ang="0">
                <a:pos x="connsiteX5644" y="connsiteY5644"/>
              </a:cxn>
              <a:cxn ang="0">
                <a:pos x="connsiteX5645" y="connsiteY5645"/>
              </a:cxn>
              <a:cxn ang="0">
                <a:pos x="connsiteX5646" y="connsiteY5646"/>
              </a:cxn>
              <a:cxn ang="0">
                <a:pos x="connsiteX5647" y="connsiteY5647"/>
              </a:cxn>
              <a:cxn ang="0">
                <a:pos x="connsiteX5648" y="connsiteY5648"/>
              </a:cxn>
              <a:cxn ang="0">
                <a:pos x="connsiteX5649" y="connsiteY5649"/>
              </a:cxn>
              <a:cxn ang="0">
                <a:pos x="connsiteX5650" y="connsiteY5650"/>
              </a:cxn>
              <a:cxn ang="0">
                <a:pos x="connsiteX5651" y="connsiteY5651"/>
              </a:cxn>
              <a:cxn ang="0">
                <a:pos x="connsiteX5652" y="connsiteY5652"/>
              </a:cxn>
              <a:cxn ang="0">
                <a:pos x="connsiteX5653" y="connsiteY5653"/>
              </a:cxn>
              <a:cxn ang="0">
                <a:pos x="connsiteX5654" y="connsiteY5654"/>
              </a:cxn>
              <a:cxn ang="0">
                <a:pos x="connsiteX5655" y="connsiteY5655"/>
              </a:cxn>
              <a:cxn ang="0">
                <a:pos x="connsiteX5656" y="connsiteY5656"/>
              </a:cxn>
              <a:cxn ang="0">
                <a:pos x="connsiteX5657" y="connsiteY5657"/>
              </a:cxn>
              <a:cxn ang="0">
                <a:pos x="connsiteX5658" y="connsiteY5658"/>
              </a:cxn>
              <a:cxn ang="0">
                <a:pos x="connsiteX5659" y="connsiteY5659"/>
              </a:cxn>
              <a:cxn ang="0">
                <a:pos x="connsiteX5660" y="connsiteY5660"/>
              </a:cxn>
              <a:cxn ang="0">
                <a:pos x="connsiteX5661" y="connsiteY5661"/>
              </a:cxn>
              <a:cxn ang="0">
                <a:pos x="connsiteX5662" y="connsiteY5662"/>
              </a:cxn>
              <a:cxn ang="0">
                <a:pos x="connsiteX5663" y="connsiteY5663"/>
              </a:cxn>
              <a:cxn ang="0">
                <a:pos x="connsiteX5664" y="connsiteY5664"/>
              </a:cxn>
              <a:cxn ang="0">
                <a:pos x="connsiteX5665" y="connsiteY5665"/>
              </a:cxn>
              <a:cxn ang="0">
                <a:pos x="connsiteX5666" y="connsiteY5666"/>
              </a:cxn>
              <a:cxn ang="0">
                <a:pos x="connsiteX5667" y="connsiteY5667"/>
              </a:cxn>
              <a:cxn ang="0">
                <a:pos x="connsiteX5668" y="connsiteY5668"/>
              </a:cxn>
              <a:cxn ang="0">
                <a:pos x="connsiteX5669" y="connsiteY5669"/>
              </a:cxn>
              <a:cxn ang="0">
                <a:pos x="connsiteX5670" y="connsiteY5670"/>
              </a:cxn>
              <a:cxn ang="0">
                <a:pos x="connsiteX5671" y="connsiteY5671"/>
              </a:cxn>
              <a:cxn ang="0">
                <a:pos x="connsiteX5672" y="connsiteY5672"/>
              </a:cxn>
              <a:cxn ang="0">
                <a:pos x="connsiteX5673" y="connsiteY5673"/>
              </a:cxn>
              <a:cxn ang="0">
                <a:pos x="connsiteX5674" y="connsiteY5674"/>
              </a:cxn>
              <a:cxn ang="0">
                <a:pos x="connsiteX5675" y="connsiteY5675"/>
              </a:cxn>
              <a:cxn ang="0">
                <a:pos x="connsiteX5676" y="connsiteY5676"/>
              </a:cxn>
              <a:cxn ang="0">
                <a:pos x="connsiteX5677" y="connsiteY5677"/>
              </a:cxn>
              <a:cxn ang="0">
                <a:pos x="connsiteX5678" y="connsiteY5678"/>
              </a:cxn>
              <a:cxn ang="0">
                <a:pos x="connsiteX5679" y="connsiteY5679"/>
              </a:cxn>
              <a:cxn ang="0">
                <a:pos x="connsiteX5680" y="connsiteY5680"/>
              </a:cxn>
              <a:cxn ang="0">
                <a:pos x="connsiteX5681" y="connsiteY5681"/>
              </a:cxn>
              <a:cxn ang="0">
                <a:pos x="connsiteX5682" y="connsiteY5682"/>
              </a:cxn>
              <a:cxn ang="0">
                <a:pos x="connsiteX5683" y="connsiteY5683"/>
              </a:cxn>
              <a:cxn ang="0">
                <a:pos x="connsiteX5684" y="connsiteY5684"/>
              </a:cxn>
              <a:cxn ang="0">
                <a:pos x="connsiteX5685" y="connsiteY5685"/>
              </a:cxn>
              <a:cxn ang="0">
                <a:pos x="connsiteX5686" y="connsiteY5686"/>
              </a:cxn>
              <a:cxn ang="0">
                <a:pos x="connsiteX5687" y="connsiteY5687"/>
              </a:cxn>
              <a:cxn ang="0">
                <a:pos x="connsiteX5688" y="connsiteY5688"/>
              </a:cxn>
              <a:cxn ang="0">
                <a:pos x="connsiteX5689" y="connsiteY5689"/>
              </a:cxn>
              <a:cxn ang="0">
                <a:pos x="connsiteX5690" y="connsiteY5690"/>
              </a:cxn>
              <a:cxn ang="0">
                <a:pos x="connsiteX5691" y="connsiteY5691"/>
              </a:cxn>
              <a:cxn ang="0">
                <a:pos x="connsiteX5692" y="connsiteY5692"/>
              </a:cxn>
              <a:cxn ang="0">
                <a:pos x="connsiteX5693" y="connsiteY5693"/>
              </a:cxn>
              <a:cxn ang="0">
                <a:pos x="connsiteX5694" y="connsiteY5694"/>
              </a:cxn>
              <a:cxn ang="0">
                <a:pos x="connsiteX5695" y="connsiteY5695"/>
              </a:cxn>
              <a:cxn ang="0">
                <a:pos x="connsiteX5696" y="connsiteY5696"/>
              </a:cxn>
              <a:cxn ang="0">
                <a:pos x="connsiteX5697" y="connsiteY5697"/>
              </a:cxn>
              <a:cxn ang="0">
                <a:pos x="connsiteX5698" y="connsiteY5698"/>
              </a:cxn>
              <a:cxn ang="0">
                <a:pos x="connsiteX5699" y="connsiteY5699"/>
              </a:cxn>
              <a:cxn ang="0">
                <a:pos x="connsiteX5700" y="connsiteY5700"/>
              </a:cxn>
              <a:cxn ang="0">
                <a:pos x="connsiteX5701" y="connsiteY5701"/>
              </a:cxn>
              <a:cxn ang="0">
                <a:pos x="connsiteX5702" y="connsiteY5702"/>
              </a:cxn>
              <a:cxn ang="0">
                <a:pos x="connsiteX5703" y="connsiteY5703"/>
              </a:cxn>
              <a:cxn ang="0">
                <a:pos x="connsiteX5704" y="connsiteY5704"/>
              </a:cxn>
              <a:cxn ang="0">
                <a:pos x="connsiteX5705" y="connsiteY5705"/>
              </a:cxn>
              <a:cxn ang="0">
                <a:pos x="connsiteX5706" y="connsiteY5706"/>
              </a:cxn>
              <a:cxn ang="0">
                <a:pos x="connsiteX5707" y="connsiteY5707"/>
              </a:cxn>
              <a:cxn ang="0">
                <a:pos x="connsiteX5708" y="connsiteY5708"/>
              </a:cxn>
              <a:cxn ang="0">
                <a:pos x="connsiteX5709" y="connsiteY5709"/>
              </a:cxn>
              <a:cxn ang="0">
                <a:pos x="connsiteX5710" y="connsiteY5710"/>
              </a:cxn>
              <a:cxn ang="0">
                <a:pos x="connsiteX5711" y="connsiteY5711"/>
              </a:cxn>
              <a:cxn ang="0">
                <a:pos x="connsiteX5712" y="connsiteY5712"/>
              </a:cxn>
              <a:cxn ang="0">
                <a:pos x="connsiteX5713" y="connsiteY5713"/>
              </a:cxn>
              <a:cxn ang="0">
                <a:pos x="connsiteX5714" y="connsiteY5714"/>
              </a:cxn>
              <a:cxn ang="0">
                <a:pos x="connsiteX5715" y="connsiteY5715"/>
              </a:cxn>
              <a:cxn ang="0">
                <a:pos x="connsiteX5716" y="connsiteY5716"/>
              </a:cxn>
              <a:cxn ang="0">
                <a:pos x="connsiteX5717" y="connsiteY5717"/>
              </a:cxn>
              <a:cxn ang="0">
                <a:pos x="connsiteX5718" y="connsiteY5718"/>
              </a:cxn>
              <a:cxn ang="0">
                <a:pos x="connsiteX5719" y="connsiteY5719"/>
              </a:cxn>
              <a:cxn ang="0">
                <a:pos x="connsiteX5720" y="connsiteY5720"/>
              </a:cxn>
              <a:cxn ang="0">
                <a:pos x="connsiteX5721" y="connsiteY5721"/>
              </a:cxn>
              <a:cxn ang="0">
                <a:pos x="connsiteX5722" y="connsiteY5722"/>
              </a:cxn>
              <a:cxn ang="0">
                <a:pos x="connsiteX5723" y="connsiteY5723"/>
              </a:cxn>
              <a:cxn ang="0">
                <a:pos x="connsiteX5724" y="connsiteY5724"/>
              </a:cxn>
              <a:cxn ang="0">
                <a:pos x="connsiteX5725" y="connsiteY5725"/>
              </a:cxn>
              <a:cxn ang="0">
                <a:pos x="connsiteX5726" y="connsiteY5726"/>
              </a:cxn>
              <a:cxn ang="0">
                <a:pos x="connsiteX5727" y="connsiteY5727"/>
              </a:cxn>
              <a:cxn ang="0">
                <a:pos x="connsiteX5728" y="connsiteY5728"/>
              </a:cxn>
              <a:cxn ang="0">
                <a:pos x="connsiteX5729" y="connsiteY5729"/>
              </a:cxn>
              <a:cxn ang="0">
                <a:pos x="connsiteX5730" y="connsiteY5730"/>
              </a:cxn>
              <a:cxn ang="0">
                <a:pos x="connsiteX5731" y="connsiteY5731"/>
              </a:cxn>
              <a:cxn ang="0">
                <a:pos x="connsiteX5732" y="connsiteY5732"/>
              </a:cxn>
              <a:cxn ang="0">
                <a:pos x="connsiteX5733" y="connsiteY5733"/>
              </a:cxn>
              <a:cxn ang="0">
                <a:pos x="connsiteX5734" y="connsiteY5734"/>
              </a:cxn>
              <a:cxn ang="0">
                <a:pos x="connsiteX5735" y="connsiteY5735"/>
              </a:cxn>
              <a:cxn ang="0">
                <a:pos x="connsiteX5736" y="connsiteY5736"/>
              </a:cxn>
              <a:cxn ang="0">
                <a:pos x="connsiteX5737" y="connsiteY5737"/>
              </a:cxn>
              <a:cxn ang="0">
                <a:pos x="connsiteX5738" y="connsiteY5738"/>
              </a:cxn>
              <a:cxn ang="0">
                <a:pos x="connsiteX5739" y="connsiteY5739"/>
              </a:cxn>
              <a:cxn ang="0">
                <a:pos x="connsiteX5740" y="connsiteY5740"/>
              </a:cxn>
              <a:cxn ang="0">
                <a:pos x="connsiteX5741" y="connsiteY5741"/>
              </a:cxn>
              <a:cxn ang="0">
                <a:pos x="connsiteX5742" y="connsiteY5742"/>
              </a:cxn>
              <a:cxn ang="0">
                <a:pos x="connsiteX5743" y="connsiteY5743"/>
              </a:cxn>
              <a:cxn ang="0">
                <a:pos x="connsiteX5744" y="connsiteY5744"/>
              </a:cxn>
              <a:cxn ang="0">
                <a:pos x="connsiteX5745" y="connsiteY5745"/>
              </a:cxn>
              <a:cxn ang="0">
                <a:pos x="connsiteX5746" y="connsiteY5746"/>
              </a:cxn>
              <a:cxn ang="0">
                <a:pos x="connsiteX5747" y="connsiteY5747"/>
              </a:cxn>
              <a:cxn ang="0">
                <a:pos x="connsiteX5748" y="connsiteY5748"/>
              </a:cxn>
              <a:cxn ang="0">
                <a:pos x="connsiteX5749" y="connsiteY5749"/>
              </a:cxn>
              <a:cxn ang="0">
                <a:pos x="connsiteX5750" y="connsiteY5750"/>
              </a:cxn>
              <a:cxn ang="0">
                <a:pos x="connsiteX5751" y="connsiteY5751"/>
              </a:cxn>
              <a:cxn ang="0">
                <a:pos x="connsiteX5752" y="connsiteY5752"/>
              </a:cxn>
              <a:cxn ang="0">
                <a:pos x="connsiteX5753" y="connsiteY5753"/>
              </a:cxn>
              <a:cxn ang="0">
                <a:pos x="connsiteX5754" y="connsiteY5754"/>
              </a:cxn>
              <a:cxn ang="0">
                <a:pos x="connsiteX5755" y="connsiteY5755"/>
              </a:cxn>
              <a:cxn ang="0">
                <a:pos x="connsiteX5756" y="connsiteY5756"/>
              </a:cxn>
              <a:cxn ang="0">
                <a:pos x="connsiteX5757" y="connsiteY5757"/>
              </a:cxn>
              <a:cxn ang="0">
                <a:pos x="connsiteX5758" y="connsiteY5758"/>
              </a:cxn>
              <a:cxn ang="0">
                <a:pos x="connsiteX5759" y="connsiteY5759"/>
              </a:cxn>
              <a:cxn ang="0">
                <a:pos x="connsiteX5760" y="connsiteY5760"/>
              </a:cxn>
              <a:cxn ang="0">
                <a:pos x="connsiteX5761" y="connsiteY5761"/>
              </a:cxn>
              <a:cxn ang="0">
                <a:pos x="connsiteX5762" y="connsiteY5762"/>
              </a:cxn>
              <a:cxn ang="0">
                <a:pos x="connsiteX5763" y="connsiteY5763"/>
              </a:cxn>
              <a:cxn ang="0">
                <a:pos x="connsiteX5764" y="connsiteY5764"/>
              </a:cxn>
              <a:cxn ang="0">
                <a:pos x="connsiteX5765" y="connsiteY5765"/>
              </a:cxn>
              <a:cxn ang="0">
                <a:pos x="connsiteX5766" y="connsiteY5766"/>
              </a:cxn>
              <a:cxn ang="0">
                <a:pos x="connsiteX5767" y="connsiteY5767"/>
              </a:cxn>
              <a:cxn ang="0">
                <a:pos x="connsiteX5768" y="connsiteY5768"/>
              </a:cxn>
              <a:cxn ang="0">
                <a:pos x="connsiteX5769" y="connsiteY5769"/>
              </a:cxn>
              <a:cxn ang="0">
                <a:pos x="connsiteX5770" y="connsiteY5770"/>
              </a:cxn>
              <a:cxn ang="0">
                <a:pos x="connsiteX5771" y="connsiteY5771"/>
              </a:cxn>
              <a:cxn ang="0">
                <a:pos x="connsiteX5772" y="connsiteY5772"/>
              </a:cxn>
              <a:cxn ang="0">
                <a:pos x="connsiteX5773" y="connsiteY5773"/>
              </a:cxn>
              <a:cxn ang="0">
                <a:pos x="connsiteX5774" y="connsiteY5774"/>
              </a:cxn>
              <a:cxn ang="0">
                <a:pos x="connsiteX5775" y="connsiteY5775"/>
              </a:cxn>
              <a:cxn ang="0">
                <a:pos x="connsiteX5776" y="connsiteY5776"/>
              </a:cxn>
              <a:cxn ang="0">
                <a:pos x="connsiteX5777" y="connsiteY5777"/>
              </a:cxn>
              <a:cxn ang="0">
                <a:pos x="connsiteX5778" y="connsiteY5778"/>
              </a:cxn>
              <a:cxn ang="0">
                <a:pos x="connsiteX5779" y="connsiteY5779"/>
              </a:cxn>
              <a:cxn ang="0">
                <a:pos x="connsiteX5780" y="connsiteY5780"/>
              </a:cxn>
              <a:cxn ang="0">
                <a:pos x="connsiteX5781" y="connsiteY5781"/>
              </a:cxn>
              <a:cxn ang="0">
                <a:pos x="connsiteX5782" y="connsiteY5782"/>
              </a:cxn>
              <a:cxn ang="0">
                <a:pos x="connsiteX5783" y="connsiteY5783"/>
              </a:cxn>
              <a:cxn ang="0">
                <a:pos x="connsiteX5784" y="connsiteY5784"/>
              </a:cxn>
              <a:cxn ang="0">
                <a:pos x="connsiteX5785" y="connsiteY5785"/>
              </a:cxn>
              <a:cxn ang="0">
                <a:pos x="connsiteX5786" y="connsiteY5786"/>
              </a:cxn>
              <a:cxn ang="0">
                <a:pos x="connsiteX5787" y="connsiteY5787"/>
              </a:cxn>
              <a:cxn ang="0">
                <a:pos x="connsiteX5788" y="connsiteY5788"/>
              </a:cxn>
              <a:cxn ang="0">
                <a:pos x="connsiteX5789" y="connsiteY5789"/>
              </a:cxn>
              <a:cxn ang="0">
                <a:pos x="connsiteX5790" y="connsiteY5790"/>
              </a:cxn>
              <a:cxn ang="0">
                <a:pos x="connsiteX5791" y="connsiteY5791"/>
              </a:cxn>
              <a:cxn ang="0">
                <a:pos x="connsiteX5792" y="connsiteY5792"/>
              </a:cxn>
              <a:cxn ang="0">
                <a:pos x="connsiteX5793" y="connsiteY5793"/>
              </a:cxn>
              <a:cxn ang="0">
                <a:pos x="connsiteX5794" y="connsiteY5794"/>
              </a:cxn>
              <a:cxn ang="0">
                <a:pos x="connsiteX5795" y="connsiteY5795"/>
              </a:cxn>
              <a:cxn ang="0">
                <a:pos x="connsiteX5796" y="connsiteY5796"/>
              </a:cxn>
              <a:cxn ang="0">
                <a:pos x="connsiteX5797" y="connsiteY5797"/>
              </a:cxn>
              <a:cxn ang="0">
                <a:pos x="connsiteX5798" y="connsiteY5798"/>
              </a:cxn>
              <a:cxn ang="0">
                <a:pos x="connsiteX5799" y="connsiteY5799"/>
              </a:cxn>
              <a:cxn ang="0">
                <a:pos x="connsiteX5800" y="connsiteY5800"/>
              </a:cxn>
              <a:cxn ang="0">
                <a:pos x="connsiteX5801" y="connsiteY5801"/>
              </a:cxn>
              <a:cxn ang="0">
                <a:pos x="connsiteX5802" y="connsiteY5802"/>
              </a:cxn>
              <a:cxn ang="0">
                <a:pos x="connsiteX5803" y="connsiteY5803"/>
              </a:cxn>
              <a:cxn ang="0">
                <a:pos x="connsiteX5804" y="connsiteY5804"/>
              </a:cxn>
              <a:cxn ang="0">
                <a:pos x="connsiteX5805" y="connsiteY5805"/>
              </a:cxn>
              <a:cxn ang="0">
                <a:pos x="connsiteX5806" y="connsiteY5806"/>
              </a:cxn>
              <a:cxn ang="0">
                <a:pos x="connsiteX5807" y="connsiteY5807"/>
              </a:cxn>
              <a:cxn ang="0">
                <a:pos x="connsiteX5808" y="connsiteY5808"/>
              </a:cxn>
              <a:cxn ang="0">
                <a:pos x="connsiteX5809" y="connsiteY5809"/>
              </a:cxn>
              <a:cxn ang="0">
                <a:pos x="connsiteX5810" y="connsiteY5810"/>
              </a:cxn>
              <a:cxn ang="0">
                <a:pos x="connsiteX5811" y="connsiteY5811"/>
              </a:cxn>
              <a:cxn ang="0">
                <a:pos x="connsiteX5812" y="connsiteY5812"/>
              </a:cxn>
              <a:cxn ang="0">
                <a:pos x="connsiteX5813" y="connsiteY5813"/>
              </a:cxn>
              <a:cxn ang="0">
                <a:pos x="connsiteX5814" y="connsiteY5814"/>
              </a:cxn>
              <a:cxn ang="0">
                <a:pos x="connsiteX5815" y="connsiteY5815"/>
              </a:cxn>
              <a:cxn ang="0">
                <a:pos x="connsiteX5816" y="connsiteY5816"/>
              </a:cxn>
              <a:cxn ang="0">
                <a:pos x="connsiteX5817" y="connsiteY5817"/>
              </a:cxn>
              <a:cxn ang="0">
                <a:pos x="connsiteX5818" y="connsiteY5818"/>
              </a:cxn>
              <a:cxn ang="0">
                <a:pos x="connsiteX5819" y="connsiteY5819"/>
              </a:cxn>
              <a:cxn ang="0">
                <a:pos x="connsiteX5820" y="connsiteY5820"/>
              </a:cxn>
              <a:cxn ang="0">
                <a:pos x="connsiteX5821" y="connsiteY5821"/>
              </a:cxn>
              <a:cxn ang="0">
                <a:pos x="connsiteX5822" y="connsiteY5822"/>
              </a:cxn>
              <a:cxn ang="0">
                <a:pos x="connsiteX5823" y="connsiteY5823"/>
              </a:cxn>
              <a:cxn ang="0">
                <a:pos x="connsiteX5824" y="connsiteY5824"/>
              </a:cxn>
              <a:cxn ang="0">
                <a:pos x="connsiteX5825" y="connsiteY5825"/>
              </a:cxn>
              <a:cxn ang="0">
                <a:pos x="connsiteX5826" y="connsiteY5826"/>
              </a:cxn>
              <a:cxn ang="0">
                <a:pos x="connsiteX5827" y="connsiteY5827"/>
              </a:cxn>
              <a:cxn ang="0">
                <a:pos x="connsiteX5828" y="connsiteY5828"/>
              </a:cxn>
              <a:cxn ang="0">
                <a:pos x="connsiteX5829" y="connsiteY5829"/>
              </a:cxn>
              <a:cxn ang="0">
                <a:pos x="connsiteX5830" y="connsiteY5830"/>
              </a:cxn>
              <a:cxn ang="0">
                <a:pos x="connsiteX5831" y="connsiteY5831"/>
              </a:cxn>
              <a:cxn ang="0">
                <a:pos x="connsiteX5832" y="connsiteY5832"/>
              </a:cxn>
              <a:cxn ang="0">
                <a:pos x="connsiteX5833" y="connsiteY5833"/>
              </a:cxn>
              <a:cxn ang="0">
                <a:pos x="connsiteX5834" y="connsiteY5834"/>
              </a:cxn>
              <a:cxn ang="0">
                <a:pos x="connsiteX5835" y="connsiteY5835"/>
              </a:cxn>
              <a:cxn ang="0">
                <a:pos x="connsiteX5836" y="connsiteY5836"/>
              </a:cxn>
              <a:cxn ang="0">
                <a:pos x="connsiteX5837" y="connsiteY5837"/>
              </a:cxn>
              <a:cxn ang="0">
                <a:pos x="connsiteX5838" y="connsiteY5838"/>
              </a:cxn>
              <a:cxn ang="0">
                <a:pos x="connsiteX5839" y="connsiteY5839"/>
              </a:cxn>
              <a:cxn ang="0">
                <a:pos x="connsiteX5840" y="connsiteY5840"/>
              </a:cxn>
              <a:cxn ang="0">
                <a:pos x="connsiteX5841" y="connsiteY5841"/>
              </a:cxn>
              <a:cxn ang="0">
                <a:pos x="connsiteX5842" y="connsiteY5842"/>
              </a:cxn>
              <a:cxn ang="0">
                <a:pos x="connsiteX5843" y="connsiteY5843"/>
              </a:cxn>
              <a:cxn ang="0">
                <a:pos x="connsiteX5844" y="connsiteY5844"/>
              </a:cxn>
              <a:cxn ang="0">
                <a:pos x="connsiteX5845" y="connsiteY5845"/>
              </a:cxn>
              <a:cxn ang="0">
                <a:pos x="connsiteX5846" y="connsiteY5846"/>
              </a:cxn>
              <a:cxn ang="0">
                <a:pos x="connsiteX5847" y="connsiteY5847"/>
              </a:cxn>
              <a:cxn ang="0">
                <a:pos x="connsiteX5848" y="connsiteY5848"/>
              </a:cxn>
              <a:cxn ang="0">
                <a:pos x="connsiteX5849" y="connsiteY5849"/>
              </a:cxn>
              <a:cxn ang="0">
                <a:pos x="connsiteX5850" y="connsiteY5850"/>
              </a:cxn>
              <a:cxn ang="0">
                <a:pos x="connsiteX5851" y="connsiteY5851"/>
              </a:cxn>
              <a:cxn ang="0">
                <a:pos x="connsiteX5852" y="connsiteY5852"/>
              </a:cxn>
              <a:cxn ang="0">
                <a:pos x="connsiteX5853" y="connsiteY5853"/>
              </a:cxn>
              <a:cxn ang="0">
                <a:pos x="connsiteX5854" y="connsiteY5854"/>
              </a:cxn>
              <a:cxn ang="0">
                <a:pos x="connsiteX5855" y="connsiteY5855"/>
              </a:cxn>
              <a:cxn ang="0">
                <a:pos x="connsiteX5856" y="connsiteY5856"/>
              </a:cxn>
              <a:cxn ang="0">
                <a:pos x="connsiteX5857" y="connsiteY5857"/>
              </a:cxn>
              <a:cxn ang="0">
                <a:pos x="connsiteX5858" y="connsiteY5858"/>
              </a:cxn>
              <a:cxn ang="0">
                <a:pos x="connsiteX5859" y="connsiteY5859"/>
              </a:cxn>
              <a:cxn ang="0">
                <a:pos x="connsiteX5860" y="connsiteY5860"/>
              </a:cxn>
              <a:cxn ang="0">
                <a:pos x="connsiteX5861" y="connsiteY5861"/>
              </a:cxn>
              <a:cxn ang="0">
                <a:pos x="connsiteX5862" y="connsiteY5862"/>
              </a:cxn>
              <a:cxn ang="0">
                <a:pos x="connsiteX5863" y="connsiteY5863"/>
              </a:cxn>
              <a:cxn ang="0">
                <a:pos x="connsiteX5864" y="connsiteY5864"/>
              </a:cxn>
              <a:cxn ang="0">
                <a:pos x="connsiteX5865" y="connsiteY5865"/>
              </a:cxn>
              <a:cxn ang="0">
                <a:pos x="connsiteX5866" y="connsiteY5866"/>
              </a:cxn>
              <a:cxn ang="0">
                <a:pos x="connsiteX5867" y="connsiteY5867"/>
              </a:cxn>
              <a:cxn ang="0">
                <a:pos x="connsiteX5868" y="connsiteY5868"/>
              </a:cxn>
              <a:cxn ang="0">
                <a:pos x="connsiteX5869" y="connsiteY5869"/>
              </a:cxn>
              <a:cxn ang="0">
                <a:pos x="connsiteX5870" y="connsiteY5870"/>
              </a:cxn>
              <a:cxn ang="0">
                <a:pos x="connsiteX5871" y="connsiteY5871"/>
              </a:cxn>
              <a:cxn ang="0">
                <a:pos x="connsiteX5872" y="connsiteY5872"/>
              </a:cxn>
              <a:cxn ang="0">
                <a:pos x="connsiteX5873" y="connsiteY5873"/>
              </a:cxn>
              <a:cxn ang="0">
                <a:pos x="connsiteX5874" y="connsiteY5874"/>
              </a:cxn>
              <a:cxn ang="0">
                <a:pos x="connsiteX5875" y="connsiteY5875"/>
              </a:cxn>
              <a:cxn ang="0">
                <a:pos x="connsiteX5876" y="connsiteY5876"/>
              </a:cxn>
              <a:cxn ang="0">
                <a:pos x="connsiteX5877" y="connsiteY5877"/>
              </a:cxn>
              <a:cxn ang="0">
                <a:pos x="connsiteX5878" y="connsiteY5878"/>
              </a:cxn>
              <a:cxn ang="0">
                <a:pos x="connsiteX5879" y="connsiteY5879"/>
              </a:cxn>
              <a:cxn ang="0">
                <a:pos x="connsiteX5880" y="connsiteY5880"/>
              </a:cxn>
              <a:cxn ang="0">
                <a:pos x="connsiteX5881" y="connsiteY5881"/>
              </a:cxn>
              <a:cxn ang="0">
                <a:pos x="connsiteX5882" y="connsiteY5882"/>
              </a:cxn>
              <a:cxn ang="0">
                <a:pos x="connsiteX5883" y="connsiteY5883"/>
              </a:cxn>
              <a:cxn ang="0">
                <a:pos x="connsiteX5884" y="connsiteY5884"/>
              </a:cxn>
              <a:cxn ang="0">
                <a:pos x="connsiteX5885" y="connsiteY5885"/>
              </a:cxn>
              <a:cxn ang="0">
                <a:pos x="connsiteX5886" y="connsiteY5886"/>
              </a:cxn>
              <a:cxn ang="0">
                <a:pos x="connsiteX5887" y="connsiteY5887"/>
              </a:cxn>
              <a:cxn ang="0">
                <a:pos x="connsiteX5888" y="connsiteY5888"/>
              </a:cxn>
              <a:cxn ang="0">
                <a:pos x="connsiteX5889" y="connsiteY5889"/>
              </a:cxn>
              <a:cxn ang="0">
                <a:pos x="connsiteX5890" y="connsiteY5890"/>
              </a:cxn>
              <a:cxn ang="0">
                <a:pos x="connsiteX5891" y="connsiteY5891"/>
              </a:cxn>
              <a:cxn ang="0">
                <a:pos x="connsiteX5892" y="connsiteY5892"/>
              </a:cxn>
              <a:cxn ang="0">
                <a:pos x="connsiteX5893" y="connsiteY5893"/>
              </a:cxn>
              <a:cxn ang="0">
                <a:pos x="connsiteX5894" y="connsiteY5894"/>
              </a:cxn>
              <a:cxn ang="0">
                <a:pos x="connsiteX5895" y="connsiteY5895"/>
              </a:cxn>
              <a:cxn ang="0">
                <a:pos x="connsiteX5896" y="connsiteY5896"/>
              </a:cxn>
              <a:cxn ang="0">
                <a:pos x="connsiteX5897" y="connsiteY5897"/>
              </a:cxn>
              <a:cxn ang="0">
                <a:pos x="connsiteX5898" y="connsiteY5898"/>
              </a:cxn>
              <a:cxn ang="0">
                <a:pos x="connsiteX5899" y="connsiteY5899"/>
              </a:cxn>
              <a:cxn ang="0">
                <a:pos x="connsiteX5900" y="connsiteY5900"/>
              </a:cxn>
              <a:cxn ang="0">
                <a:pos x="connsiteX5901" y="connsiteY5901"/>
              </a:cxn>
              <a:cxn ang="0">
                <a:pos x="connsiteX5902" y="connsiteY5902"/>
              </a:cxn>
              <a:cxn ang="0">
                <a:pos x="connsiteX5903" y="connsiteY5903"/>
              </a:cxn>
              <a:cxn ang="0">
                <a:pos x="connsiteX5904" y="connsiteY5904"/>
              </a:cxn>
              <a:cxn ang="0">
                <a:pos x="connsiteX5905" y="connsiteY5905"/>
              </a:cxn>
              <a:cxn ang="0">
                <a:pos x="connsiteX5906" y="connsiteY5906"/>
              </a:cxn>
              <a:cxn ang="0">
                <a:pos x="connsiteX5907" y="connsiteY5907"/>
              </a:cxn>
              <a:cxn ang="0">
                <a:pos x="connsiteX5908" y="connsiteY5908"/>
              </a:cxn>
              <a:cxn ang="0">
                <a:pos x="connsiteX5909" y="connsiteY5909"/>
              </a:cxn>
              <a:cxn ang="0">
                <a:pos x="connsiteX5910" y="connsiteY5910"/>
              </a:cxn>
              <a:cxn ang="0">
                <a:pos x="connsiteX5911" y="connsiteY5911"/>
              </a:cxn>
              <a:cxn ang="0">
                <a:pos x="connsiteX5912" y="connsiteY5912"/>
              </a:cxn>
              <a:cxn ang="0">
                <a:pos x="connsiteX5913" y="connsiteY5913"/>
              </a:cxn>
              <a:cxn ang="0">
                <a:pos x="connsiteX5914" y="connsiteY5914"/>
              </a:cxn>
              <a:cxn ang="0">
                <a:pos x="connsiteX5915" y="connsiteY5915"/>
              </a:cxn>
              <a:cxn ang="0">
                <a:pos x="connsiteX5916" y="connsiteY5916"/>
              </a:cxn>
              <a:cxn ang="0">
                <a:pos x="connsiteX5917" y="connsiteY5917"/>
              </a:cxn>
              <a:cxn ang="0">
                <a:pos x="connsiteX5918" y="connsiteY5918"/>
              </a:cxn>
              <a:cxn ang="0">
                <a:pos x="connsiteX5919" y="connsiteY5919"/>
              </a:cxn>
              <a:cxn ang="0">
                <a:pos x="connsiteX5920" y="connsiteY5920"/>
              </a:cxn>
              <a:cxn ang="0">
                <a:pos x="connsiteX5921" y="connsiteY5921"/>
              </a:cxn>
              <a:cxn ang="0">
                <a:pos x="connsiteX5922" y="connsiteY5922"/>
              </a:cxn>
              <a:cxn ang="0">
                <a:pos x="connsiteX5923" y="connsiteY5923"/>
              </a:cxn>
              <a:cxn ang="0">
                <a:pos x="connsiteX5924" y="connsiteY5924"/>
              </a:cxn>
              <a:cxn ang="0">
                <a:pos x="connsiteX5925" y="connsiteY5925"/>
              </a:cxn>
              <a:cxn ang="0">
                <a:pos x="connsiteX5926" y="connsiteY5926"/>
              </a:cxn>
              <a:cxn ang="0">
                <a:pos x="connsiteX5927" y="connsiteY5927"/>
              </a:cxn>
              <a:cxn ang="0">
                <a:pos x="connsiteX5928" y="connsiteY5928"/>
              </a:cxn>
              <a:cxn ang="0">
                <a:pos x="connsiteX5929" y="connsiteY5929"/>
              </a:cxn>
              <a:cxn ang="0">
                <a:pos x="connsiteX5930" y="connsiteY5930"/>
              </a:cxn>
              <a:cxn ang="0">
                <a:pos x="connsiteX5931" y="connsiteY5931"/>
              </a:cxn>
              <a:cxn ang="0">
                <a:pos x="connsiteX5932" y="connsiteY5932"/>
              </a:cxn>
              <a:cxn ang="0">
                <a:pos x="connsiteX5933" y="connsiteY5933"/>
              </a:cxn>
              <a:cxn ang="0">
                <a:pos x="connsiteX5934" y="connsiteY5934"/>
              </a:cxn>
              <a:cxn ang="0">
                <a:pos x="connsiteX5935" y="connsiteY5935"/>
              </a:cxn>
              <a:cxn ang="0">
                <a:pos x="connsiteX5936" y="connsiteY5936"/>
              </a:cxn>
              <a:cxn ang="0">
                <a:pos x="connsiteX5937" y="connsiteY5937"/>
              </a:cxn>
              <a:cxn ang="0">
                <a:pos x="connsiteX5938" y="connsiteY5938"/>
              </a:cxn>
              <a:cxn ang="0">
                <a:pos x="connsiteX5939" y="connsiteY5939"/>
              </a:cxn>
              <a:cxn ang="0">
                <a:pos x="connsiteX5940" y="connsiteY5940"/>
              </a:cxn>
              <a:cxn ang="0">
                <a:pos x="connsiteX5941" y="connsiteY5941"/>
              </a:cxn>
              <a:cxn ang="0">
                <a:pos x="connsiteX5942" y="connsiteY5942"/>
              </a:cxn>
              <a:cxn ang="0">
                <a:pos x="connsiteX5943" y="connsiteY5943"/>
              </a:cxn>
              <a:cxn ang="0">
                <a:pos x="connsiteX5944" y="connsiteY5944"/>
              </a:cxn>
              <a:cxn ang="0">
                <a:pos x="connsiteX5945" y="connsiteY5945"/>
              </a:cxn>
              <a:cxn ang="0">
                <a:pos x="connsiteX5946" y="connsiteY5946"/>
              </a:cxn>
              <a:cxn ang="0">
                <a:pos x="connsiteX5947" y="connsiteY5947"/>
              </a:cxn>
              <a:cxn ang="0">
                <a:pos x="connsiteX5948" y="connsiteY5948"/>
              </a:cxn>
              <a:cxn ang="0">
                <a:pos x="connsiteX5949" y="connsiteY5949"/>
              </a:cxn>
              <a:cxn ang="0">
                <a:pos x="connsiteX5950" y="connsiteY5950"/>
              </a:cxn>
              <a:cxn ang="0">
                <a:pos x="connsiteX5951" y="connsiteY5951"/>
              </a:cxn>
              <a:cxn ang="0">
                <a:pos x="connsiteX5952" y="connsiteY5952"/>
              </a:cxn>
              <a:cxn ang="0">
                <a:pos x="connsiteX5953" y="connsiteY5953"/>
              </a:cxn>
              <a:cxn ang="0">
                <a:pos x="connsiteX5954" y="connsiteY5954"/>
              </a:cxn>
              <a:cxn ang="0">
                <a:pos x="connsiteX5955" y="connsiteY5955"/>
              </a:cxn>
              <a:cxn ang="0">
                <a:pos x="connsiteX5956" y="connsiteY5956"/>
              </a:cxn>
              <a:cxn ang="0">
                <a:pos x="connsiteX5957" y="connsiteY5957"/>
              </a:cxn>
              <a:cxn ang="0">
                <a:pos x="connsiteX5958" y="connsiteY5958"/>
              </a:cxn>
              <a:cxn ang="0">
                <a:pos x="connsiteX5959" y="connsiteY5959"/>
              </a:cxn>
              <a:cxn ang="0">
                <a:pos x="connsiteX5960" y="connsiteY5960"/>
              </a:cxn>
              <a:cxn ang="0">
                <a:pos x="connsiteX5961" y="connsiteY5961"/>
              </a:cxn>
              <a:cxn ang="0">
                <a:pos x="connsiteX5962" y="connsiteY5962"/>
              </a:cxn>
              <a:cxn ang="0">
                <a:pos x="connsiteX5963" y="connsiteY5963"/>
              </a:cxn>
              <a:cxn ang="0">
                <a:pos x="connsiteX5964" y="connsiteY5964"/>
              </a:cxn>
              <a:cxn ang="0">
                <a:pos x="connsiteX5965" y="connsiteY5965"/>
              </a:cxn>
              <a:cxn ang="0">
                <a:pos x="connsiteX5966" y="connsiteY5966"/>
              </a:cxn>
              <a:cxn ang="0">
                <a:pos x="connsiteX5967" y="connsiteY5967"/>
              </a:cxn>
              <a:cxn ang="0">
                <a:pos x="connsiteX5968" y="connsiteY5968"/>
              </a:cxn>
              <a:cxn ang="0">
                <a:pos x="connsiteX5969" y="connsiteY5969"/>
              </a:cxn>
              <a:cxn ang="0">
                <a:pos x="connsiteX5970" y="connsiteY5970"/>
              </a:cxn>
              <a:cxn ang="0">
                <a:pos x="connsiteX5971" y="connsiteY5971"/>
              </a:cxn>
              <a:cxn ang="0">
                <a:pos x="connsiteX5972" y="connsiteY5972"/>
              </a:cxn>
              <a:cxn ang="0">
                <a:pos x="connsiteX5973" y="connsiteY5973"/>
              </a:cxn>
              <a:cxn ang="0">
                <a:pos x="connsiteX5974" y="connsiteY5974"/>
              </a:cxn>
              <a:cxn ang="0">
                <a:pos x="connsiteX5975" y="connsiteY5975"/>
              </a:cxn>
              <a:cxn ang="0">
                <a:pos x="connsiteX5976" y="connsiteY5976"/>
              </a:cxn>
              <a:cxn ang="0">
                <a:pos x="connsiteX5977" y="connsiteY5977"/>
              </a:cxn>
              <a:cxn ang="0">
                <a:pos x="connsiteX5978" y="connsiteY5978"/>
              </a:cxn>
              <a:cxn ang="0">
                <a:pos x="connsiteX5979" y="connsiteY5979"/>
              </a:cxn>
              <a:cxn ang="0">
                <a:pos x="connsiteX5980" y="connsiteY5980"/>
              </a:cxn>
              <a:cxn ang="0">
                <a:pos x="connsiteX5981" y="connsiteY5981"/>
              </a:cxn>
              <a:cxn ang="0">
                <a:pos x="connsiteX5982" y="connsiteY5982"/>
              </a:cxn>
              <a:cxn ang="0">
                <a:pos x="connsiteX5983" y="connsiteY5983"/>
              </a:cxn>
              <a:cxn ang="0">
                <a:pos x="connsiteX5984" y="connsiteY5984"/>
              </a:cxn>
              <a:cxn ang="0">
                <a:pos x="connsiteX5985" y="connsiteY5985"/>
              </a:cxn>
              <a:cxn ang="0">
                <a:pos x="connsiteX5986" y="connsiteY5986"/>
              </a:cxn>
              <a:cxn ang="0">
                <a:pos x="connsiteX5987" y="connsiteY5987"/>
              </a:cxn>
              <a:cxn ang="0">
                <a:pos x="connsiteX5988" y="connsiteY5988"/>
              </a:cxn>
              <a:cxn ang="0">
                <a:pos x="connsiteX5989" y="connsiteY5989"/>
              </a:cxn>
              <a:cxn ang="0">
                <a:pos x="connsiteX5990" y="connsiteY5990"/>
              </a:cxn>
              <a:cxn ang="0">
                <a:pos x="connsiteX5991" y="connsiteY5991"/>
              </a:cxn>
              <a:cxn ang="0">
                <a:pos x="connsiteX5992" y="connsiteY5992"/>
              </a:cxn>
              <a:cxn ang="0">
                <a:pos x="connsiteX5993" y="connsiteY5993"/>
              </a:cxn>
              <a:cxn ang="0">
                <a:pos x="connsiteX5994" y="connsiteY5994"/>
              </a:cxn>
              <a:cxn ang="0">
                <a:pos x="connsiteX5995" y="connsiteY5995"/>
              </a:cxn>
              <a:cxn ang="0">
                <a:pos x="connsiteX5996" y="connsiteY5996"/>
              </a:cxn>
              <a:cxn ang="0">
                <a:pos x="connsiteX5997" y="connsiteY5997"/>
              </a:cxn>
              <a:cxn ang="0">
                <a:pos x="connsiteX5998" y="connsiteY5998"/>
              </a:cxn>
              <a:cxn ang="0">
                <a:pos x="connsiteX5999" y="connsiteY5999"/>
              </a:cxn>
              <a:cxn ang="0">
                <a:pos x="connsiteX6000" y="connsiteY6000"/>
              </a:cxn>
              <a:cxn ang="0">
                <a:pos x="connsiteX6001" y="connsiteY6001"/>
              </a:cxn>
              <a:cxn ang="0">
                <a:pos x="connsiteX6002" y="connsiteY6002"/>
              </a:cxn>
              <a:cxn ang="0">
                <a:pos x="connsiteX6003" y="connsiteY6003"/>
              </a:cxn>
              <a:cxn ang="0">
                <a:pos x="connsiteX6004" y="connsiteY6004"/>
              </a:cxn>
              <a:cxn ang="0">
                <a:pos x="connsiteX6005" y="connsiteY6005"/>
              </a:cxn>
              <a:cxn ang="0">
                <a:pos x="connsiteX6006" y="connsiteY6006"/>
              </a:cxn>
              <a:cxn ang="0">
                <a:pos x="connsiteX6007" y="connsiteY6007"/>
              </a:cxn>
              <a:cxn ang="0">
                <a:pos x="connsiteX6008" y="connsiteY6008"/>
              </a:cxn>
              <a:cxn ang="0">
                <a:pos x="connsiteX6009" y="connsiteY6009"/>
              </a:cxn>
              <a:cxn ang="0">
                <a:pos x="connsiteX6010" y="connsiteY6010"/>
              </a:cxn>
              <a:cxn ang="0">
                <a:pos x="connsiteX6011" y="connsiteY6011"/>
              </a:cxn>
              <a:cxn ang="0">
                <a:pos x="connsiteX6012" y="connsiteY6012"/>
              </a:cxn>
              <a:cxn ang="0">
                <a:pos x="connsiteX6013" y="connsiteY6013"/>
              </a:cxn>
              <a:cxn ang="0">
                <a:pos x="connsiteX6014" y="connsiteY6014"/>
              </a:cxn>
              <a:cxn ang="0">
                <a:pos x="connsiteX6015" y="connsiteY6015"/>
              </a:cxn>
              <a:cxn ang="0">
                <a:pos x="connsiteX6016" y="connsiteY6016"/>
              </a:cxn>
              <a:cxn ang="0">
                <a:pos x="connsiteX6017" y="connsiteY6017"/>
              </a:cxn>
              <a:cxn ang="0">
                <a:pos x="connsiteX6018" y="connsiteY6018"/>
              </a:cxn>
              <a:cxn ang="0">
                <a:pos x="connsiteX6019" y="connsiteY6019"/>
              </a:cxn>
              <a:cxn ang="0">
                <a:pos x="connsiteX6020" y="connsiteY6020"/>
              </a:cxn>
              <a:cxn ang="0">
                <a:pos x="connsiteX6021" y="connsiteY6021"/>
              </a:cxn>
              <a:cxn ang="0">
                <a:pos x="connsiteX6022" y="connsiteY6022"/>
              </a:cxn>
              <a:cxn ang="0">
                <a:pos x="connsiteX6023" y="connsiteY6023"/>
              </a:cxn>
              <a:cxn ang="0">
                <a:pos x="connsiteX6024" y="connsiteY6024"/>
              </a:cxn>
              <a:cxn ang="0">
                <a:pos x="connsiteX6025" y="connsiteY6025"/>
              </a:cxn>
              <a:cxn ang="0">
                <a:pos x="connsiteX6026" y="connsiteY6026"/>
              </a:cxn>
              <a:cxn ang="0">
                <a:pos x="connsiteX6027" y="connsiteY6027"/>
              </a:cxn>
              <a:cxn ang="0">
                <a:pos x="connsiteX6028" y="connsiteY6028"/>
              </a:cxn>
              <a:cxn ang="0">
                <a:pos x="connsiteX6029" y="connsiteY6029"/>
              </a:cxn>
              <a:cxn ang="0">
                <a:pos x="connsiteX6030" y="connsiteY6030"/>
              </a:cxn>
              <a:cxn ang="0">
                <a:pos x="connsiteX6031" y="connsiteY6031"/>
              </a:cxn>
              <a:cxn ang="0">
                <a:pos x="connsiteX6032" y="connsiteY6032"/>
              </a:cxn>
              <a:cxn ang="0">
                <a:pos x="connsiteX6033" y="connsiteY6033"/>
              </a:cxn>
              <a:cxn ang="0">
                <a:pos x="connsiteX6034" y="connsiteY6034"/>
              </a:cxn>
              <a:cxn ang="0">
                <a:pos x="connsiteX6035" y="connsiteY6035"/>
              </a:cxn>
              <a:cxn ang="0">
                <a:pos x="connsiteX6036" y="connsiteY6036"/>
              </a:cxn>
              <a:cxn ang="0">
                <a:pos x="connsiteX6037" y="connsiteY6037"/>
              </a:cxn>
              <a:cxn ang="0">
                <a:pos x="connsiteX6038" y="connsiteY6038"/>
              </a:cxn>
              <a:cxn ang="0">
                <a:pos x="connsiteX6039" y="connsiteY6039"/>
              </a:cxn>
              <a:cxn ang="0">
                <a:pos x="connsiteX6040" y="connsiteY6040"/>
              </a:cxn>
              <a:cxn ang="0">
                <a:pos x="connsiteX6041" y="connsiteY6041"/>
              </a:cxn>
              <a:cxn ang="0">
                <a:pos x="connsiteX6042" y="connsiteY6042"/>
              </a:cxn>
              <a:cxn ang="0">
                <a:pos x="connsiteX6043" y="connsiteY6043"/>
              </a:cxn>
              <a:cxn ang="0">
                <a:pos x="connsiteX6044" y="connsiteY6044"/>
              </a:cxn>
              <a:cxn ang="0">
                <a:pos x="connsiteX6045" y="connsiteY6045"/>
              </a:cxn>
              <a:cxn ang="0">
                <a:pos x="connsiteX6046" y="connsiteY6046"/>
              </a:cxn>
              <a:cxn ang="0">
                <a:pos x="connsiteX6047" y="connsiteY6047"/>
              </a:cxn>
              <a:cxn ang="0">
                <a:pos x="connsiteX6048" y="connsiteY6048"/>
              </a:cxn>
              <a:cxn ang="0">
                <a:pos x="connsiteX6049" y="connsiteY6049"/>
              </a:cxn>
              <a:cxn ang="0">
                <a:pos x="connsiteX6050" y="connsiteY6050"/>
              </a:cxn>
              <a:cxn ang="0">
                <a:pos x="connsiteX6051" y="connsiteY6051"/>
              </a:cxn>
              <a:cxn ang="0">
                <a:pos x="connsiteX6052" y="connsiteY6052"/>
              </a:cxn>
              <a:cxn ang="0">
                <a:pos x="connsiteX6053" y="connsiteY6053"/>
              </a:cxn>
              <a:cxn ang="0">
                <a:pos x="connsiteX6054" y="connsiteY6054"/>
              </a:cxn>
              <a:cxn ang="0">
                <a:pos x="connsiteX6055" y="connsiteY6055"/>
              </a:cxn>
              <a:cxn ang="0">
                <a:pos x="connsiteX6056" y="connsiteY6056"/>
              </a:cxn>
              <a:cxn ang="0">
                <a:pos x="connsiteX6057" y="connsiteY6057"/>
              </a:cxn>
              <a:cxn ang="0">
                <a:pos x="connsiteX6058" y="connsiteY6058"/>
              </a:cxn>
              <a:cxn ang="0">
                <a:pos x="connsiteX6059" y="connsiteY6059"/>
              </a:cxn>
              <a:cxn ang="0">
                <a:pos x="connsiteX6060" y="connsiteY6060"/>
              </a:cxn>
              <a:cxn ang="0">
                <a:pos x="connsiteX6061" y="connsiteY6061"/>
              </a:cxn>
              <a:cxn ang="0">
                <a:pos x="connsiteX6062" y="connsiteY6062"/>
              </a:cxn>
              <a:cxn ang="0">
                <a:pos x="connsiteX6063" y="connsiteY6063"/>
              </a:cxn>
              <a:cxn ang="0">
                <a:pos x="connsiteX6064" y="connsiteY6064"/>
              </a:cxn>
              <a:cxn ang="0">
                <a:pos x="connsiteX6065" y="connsiteY6065"/>
              </a:cxn>
              <a:cxn ang="0">
                <a:pos x="connsiteX6066" y="connsiteY6066"/>
              </a:cxn>
              <a:cxn ang="0">
                <a:pos x="connsiteX6067" y="connsiteY6067"/>
              </a:cxn>
              <a:cxn ang="0">
                <a:pos x="connsiteX6068" y="connsiteY6068"/>
              </a:cxn>
              <a:cxn ang="0">
                <a:pos x="connsiteX6069" y="connsiteY6069"/>
              </a:cxn>
              <a:cxn ang="0">
                <a:pos x="connsiteX6070" y="connsiteY6070"/>
              </a:cxn>
              <a:cxn ang="0">
                <a:pos x="connsiteX6071" y="connsiteY6071"/>
              </a:cxn>
              <a:cxn ang="0">
                <a:pos x="connsiteX6072" y="connsiteY6072"/>
              </a:cxn>
              <a:cxn ang="0">
                <a:pos x="connsiteX6073" y="connsiteY6073"/>
              </a:cxn>
              <a:cxn ang="0">
                <a:pos x="connsiteX6074" y="connsiteY6074"/>
              </a:cxn>
              <a:cxn ang="0">
                <a:pos x="connsiteX6075" y="connsiteY6075"/>
              </a:cxn>
              <a:cxn ang="0">
                <a:pos x="connsiteX6076" y="connsiteY6076"/>
              </a:cxn>
              <a:cxn ang="0">
                <a:pos x="connsiteX6077" y="connsiteY6077"/>
              </a:cxn>
              <a:cxn ang="0">
                <a:pos x="connsiteX6078" y="connsiteY6078"/>
              </a:cxn>
              <a:cxn ang="0">
                <a:pos x="connsiteX6079" y="connsiteY6079"/>
              </a:cxn>
              <a:cxn ang="0">
                <a:pos x="connsiteX6080" y="connsiteY6080"/>
              </a:cxn>
              <a:cxn ang="0">
                <a:pos x="connsiteX6081" y="connsiteY6081"/>
              </a:cxn>
              <a:cxn ang="0">
                <a:pos x="connsiteX6082" y="connsiteY6082"/>
              </a:cxn>
              <a:cxn ang="0">
                <a:pos x="connsiteX6083" y="connsiteY6083"/>
              </a:cxn>
              <a:cxn ang="0">
                <a:pos x="connsiteX6084" y="connsiteY6084"/>
              </a:cxn>
              <a:cxn ang="0">
                <a:pos x="connsiteX6085" y="connsiteY6085"/>
              </a:cxn>
              <a:cxn ang="0">
                <a:pos x="connsiteX6086" y="connsiteY6086"/>
              </a:cxn>
              <a:cxn ang="0">
                <a:pos x="connsiteX6087" y="connsiteY6087"/>
              </a:cxn>
              <a:cxn ang="0">
                <a:pos x="connsiteX6088" y="connsiteY6088"/>
              </a:cxn>
              <a:cxn ang="0">
                <a:pos x="connsiteX6089" y="connsiteY6089"/>
              </a:cxn>
              <a:cxn ang="0">
                <a:pos x="connsiteX6090" y="connsiteY6090"/>
              </a:cxn>
              <a:cxn ang="0">
                <a:pos x="connsiteX6091" y="connsiteY6091"/>
              </a:cxn>
              <a:cxn ang="0">
                <a:pos x="connsiteX6092" y="connsiteY6092"/>
              </a:cxn>
              <a:cxn ang="0">
                <a:pos x="connsiteX6093" y="connsiteY6093"/>
              </a:cxn>
              <a:cxn ang="0">
                <a:pos x="connsiteX6094" y="connsiteY6094"/>
              </a:cxn>
              <a:cxn ang="0">
                <a:pos x="connsiteX6095" y="connsiteY6095"/>
              </a:cxn>
              <a:cxn ang="0">
                <a:pos x="connsiteX6096" y="connsiteY6096"/>
              </a:cxn>
              <a:cxn ang="0">
                <a:pos x="connsiteX6097" y="connsiteY6097"/>
              </a:cxn>
              <a:cxn ang="0">
                <a:pos x="connsiteX6098" y="connsiteY6098"/>
              </a:cxn>
              <a:cxn ang="0">
                <a:pos x="connsiteX6099" y="connsiteY6099"/>
              </a:cxn>
              <a:cxn ang="0">
                <a:pos x="connsiteX6100" y="connsiteY6100"/>
              </a:cxn>
              <a:cxn ang="0">
                <a:pos x="connsiteX6101" y="connsiteY6101"/>
              </a:cxn>
              <a:cxn ang="0">
                <a:pos x="connsiteX6102" y="connsiteY6102"/>
              </a:cxn>
              <a:cxn ang="0">
                <a:pos x="connsiteX6103" y="connsiteY6103"/>
              </a:cxn>
              <a:cxn ang="0">
                <a:pos x="connsiteX6104" y="connsiteY6104"/>
              </a:cxn>
              <a:cxn ang="0">
                <a:pos x="connsiteX6105" y="connsiteY6105"/>
              </a:cxn>
              <a:cxn ang="0">
                <a:pos x="connsiteX6106" y="connsiteY6106"/>
              </a:cxn>
              <a:cxn ang="0">
                <a:pos x="connsiteX6107" y="connsiteY6107"/>
              </a:cxn>
              <a:cxn ang="0">
                <a:pos x="connsiteX6108" y="connsiteY6108"/>
              </a:cxn>
              <a:cxn ang="0">
                <a:pos x="connsiteX6109" y="connsiteY6109"/>
              </a:cxn>
              <a:cxn ang="0">
                <a:pos x="connsiteX6110" y="connsiteY6110"/>
              </a:cxn>
              <a:cxn ang="0">
                <a:pos x="connsiteX6111" y="connsiteY6111"/>
              </a:cxn>
              <a:cxn ang="0">
                <a:pos x="connsiteX6112" y="connsiteY6112"/>
              </a:cxn>
              <a:cxn ang="0">
                <a:pos x="connsiteX6113" y="connsiteY6113"/>
              </a:cxn>
              <a:cxn ang="0">
                <a:pos x="connsiteX6114" y="connsiteY6114"/>
              </a:cxn>
              <a:cxn ang="0">
                <a:pos x="connsiteX6115" y="connsiteY6115"/>
              </a:cxn>
              <a:cxn ang="0">
                <a:pos x="connsiteX6116" y="connsiteY6116"/>
              </a:cxn>
              <a:cxn ang="0">
                <a:pos x="connsiteX6117" y="connsiteY6117"/>
              </a:cxn>
              <a:cxn ang="0">
                <a:pos x="connsiteX6118" y="connsiteY6118"/>
              </a:cxn>
              <a:cxn ang="0">
                <a:pos x="connsiteX6119" y="connsiteY6119"/>
              </a:cxn>
              <a:cxn ang="0">
                <a:pos x="connsiteX6120" y="connsiteY6120"/>
              </a:cxn>
              <a:cxn ang="0">
                <a:pos x="connsiteX6121" y="connsiteY6121"/>
              </a:cxn>
              <a:cxn ang="0">
                <a:pos x="connsiteX6122" y="connsiteY6122"/>
              </a:cxn>
              <a:cxn ang="0">
                <a:pos x="connsiteX6123" y="connsiteY6123"/>
              </a:cxn>
              <a:cxn ang="0">
                <a:pos x="connsiteX6124" y="connsiteY6124"/>
              </a:cxn>
              <a:cxn ang="0">
                <a:pos x="connsiteX6125" y="connsiteY6125"/>
              </a:cxn>
              <a:cxn ang="0">
                <a:pos x="connsiteX6126" y="connsiteY6126"/>
              </a:cxn>
              <a:cxn ang="0">
                <a:pos x="connsiteX6127" y="connsiteY6127"/>
              </a:cxn>
              <a:cxn ang="0">
                <a:pos x="connsiteX6128" y="connsiteY6128"/>
              </a:cxn>
              <a:cxn ang="0">
                <a:pos x="connsiteX6129" y="connsiteY6129"/>
              </a:cxn>
              <a:cxn ang="0">
                <a:pos x="connsiteX6130" y="connsiteY6130"/>
              </a:cxn>
              <a:cxn ang="0">
                <a:pos x="connsiteX6131" y="connsiteY6131"/>
              </a:cxn>
              <a:cxn ang="0">
                <a:pos x="connsiteX6132" y="connsiteY6132"/>
              </a:cxn>
              <a:cxn ang="0">
                <a:pos x="connsiteX6133" y="connsiteY6133"/>
              </a:cxn>
              <a:cxn ang="0">
                <a:pos x="connsiteX6134" y="connsiteY6134"/>
              </a:cxn>
              <a:cxn ang="0">
                <a:pos x="connsiteX6135" y="connsiteY6135"/>
              </a:cxn>
              <a:cxn ang="0">
                <a:pos x="connsiteX6136" y="connsiteY6136"/>
              </a:cxn>
              <a:cxn ang="0">
                <a:pos x="connsiteX6137" y="connsiteY6137"/>
              </a:cxn>
              <a:cxn ang="0">
                <a:pos x="connsiteX6138" y="connsiteY6138"/>
              </a:cxn>
              <a:cxn ang="0">
                <a:pos x="connsiteX6139" y="connsiteY6139"/>
              </a:cxn>
              <a:cxn ang="0">
                <a:pos x="connsiteX6140" y="connsiteY6140"/>
              </a:cxn>
              <a:cxn ang="0">
                <a:pos x="connsiteX6141" y="connsiteY6141"/>
              </a:cxn>
              <a:cxn ang="0">
                <a:pos x="connsiteX6142" y="connsiteY6142"/>
              </a:cxn>
              <a:cxn ang="0">
                <a:pos x="connsiteX6143" y="connsiteY6143"/>
              </a:cxn>
              <a:cxn ang="0">
                <a:pos x="connsiteX6144" y="connsiteY6144"/>
              </a:cxn>
              <a:cxn ang="0">
                <a:pos x="connsiteX6145" y="connsiteY6145"/>
              </a:cxn>
              <a:cxn ang="0">
                <a:pos x="connsiteX6146" y="connsiteY6146"/>
              </a:cxn>
              <a:cxn ang="0">
                <a:pos x="connsiteX6147" y="connsiteY6147"/>
              </a:cxn>
              <a:cxn ang="0">
                <a:pos x="connsiteX6148" y="connsiteY6148"/>
              </a:cxn>
              <a:cxn ang="0">
                <a:pos x="connsiteX6149" y="connsiteY6149"/>
              </a:cxn>
              <a:cxn ang="0">
                <a:pos x="connsiteX6150" y="connsiteY6150"/>
              </a:cxn>
              <a:cxn ang="0">
                <a:pos x="connsiteX6151" y="connsiteY6151"/>
              </a:cxn>
              <a:cxn ang="0">
                <a:pos x="connsiteX6152" y="connsiteY6152"/>
              </a:cxn>
              <a:cxn ang="0">
                <a:pos x="connsiteX6153" y="connsiteY6153"/>
              </a:cxn>
              <a:cxn ang="0">
                <a:pos x="connsiteX6154" y="connsiteY6154"/>
              </a:cxn>
              <a:cxn ang="0">
                <a:pos x="connsiteX6155" y="connsiteY6155"/>
              </a:cxn>
              <a:cxn ang="0">
                <a:pos x="connsiteX6156" y="connsiteY6156"/>
              </a:cxn>
              <a:cxn ang="0">
                <a:pos x="connsiteX6157" y="connsiteY6157"/>
              </a:cxn>
              <a:cxn ang="0">
                <a:pos x="connsiteX6158" y="connsiteY6158"/>
              </a:cxn>
              <a:cxn ang="0">
                <a:pos x="connsiteX6159" y="connsiteY6159"/>
              </a:cxn>
              <a:cxn ang="0">
                <a:pos x="connsiteX6160" y="connsiteY6160"/>
              </a:cxn>
              <a:cxn ang="0">
                <a:pos x="connsiteX6161" y="connsiteY6161"/>
              </a:cxn>
              <a:cxn ang="0">
                <a:pos x="connsiteX6162" y="connsiteY6162"/>
              </a:cxn>
              <a:cxn ang="0">
                <a:pos x="connsiteX6163" y="connsiteY6163"/>
              </a:cxn>
              <a:cxn ang="0">
                <a:pos x="connsiteX6164" y="connsiteY6164"/>
              </a:cxn>
              <a:cxn ang="0">
                <a:pos x="connsiteX6165" y="connsiteY6165"/>
              </a:cxn>
              <a:cxn ang="0">
                <a:pos x="connsiteX6166" y="connsiteY6166"/>
              </a:cxn>
              <a:cxn ang="0">
                <a:pos x="connsiteX6167" y="connsiteY6167"/>
              </a:cxn>
              <a:cxn ang="0">
                <a:pos x="connsiteX6168" y="connsiteY6168"/>
              </a:cxn>
              <a:cxn ang="0">
                <a:pos x="connsiteX6169" y="connsiteY6169"/>
              </a:cxn>
              <a:cxn ang="0">
                <a:pos x="connsiteX6170" y="connsiteY6170"/>
              </a:cxn>
              <a:cxn ang="0">
                <a:pos x="connsiteX6171" y="connsiteY6171"/>
              </a:cxn>
              <a:cxn ang="0">
                <a:pos x="connsiteX6172" y="connsiteY6172"/>
              </a:cxn>
              <a:cxn ang="0">
                <a:pos x="connsiteX6173" y="connsiteY6173"/>
              </a:cxn>
              <a:cxn ang="0">
                <a:pos x="connsiteX6174" y="connsiteY6174"/>
              </a:cxn>
              <a:cxn ang="0">
                <a:pos x="connsiteX6175" y="connsiteY6175"/>
              </a:cxn>
              <a:cxn ang="0">
                <a:pos x="connsiteX6176" y="connsiteY6176"/>
              </a:cxn>
              <a:cxn ang="0">
                <a:pos x="connsiteX6177" y="connsiteY6177"/>
              </a:cxn>
              <a:cxn ang="0">
                <a:pos x="connsiteX6178" y="connsiteY6178"/>
              </a:cxn>
              <a:cxn ang="0">
                <a:pos x="connsiteX6179" y="connsiteY6179"/>
              </a:cxn>
              <a:cxn ang="0">
                <a:pos x="connsiteX6180" y="connsiteY6180"/>
              </a:cxn>
              <a:cxn ang="0">
                <a:pos x="connsiteX6181" y="connsiteY6181"/>
              </a:cxn>
              <a:cxn ang="0">
                <a:pos x="connsiteX6182" y="connsiteY6182"/>
              </a:cxn>
              <a:cxn ang="0">
                <a:pos x="connsiteX6183" y="connsiteY6183"/>
              </a:cxn>
              <a:cxn ang="0">
                <a:pos x="connsiteX6184" y="connsiteY6184"/>
              </a:cxn>
              <a:cxn ang="0">
                <a:pos x="connsiteX6185" y="connsiteY6185"/>
              </a:cxn>
              <a:cxn ang="0">
                <a:pos x="connsiteX6186" y="connsiteY6186"/>
              </a:cxn>
              <a:cxn ang="0">
                <a:pos x="connsiteX6187" y="connsiteY6187"/>
              </a:cxn>
              <a:cxn ang="0">
                <a:pos x="connsiteX6188" y="connsiteY6188"/>
              </a:cxn>
              <a:cxn ang="0">
                <a:pos x="connsiteX6189" y="connsiteY6189"/>
              </a:cxn>
              <a:cxn ang="0">
                <a:pos x="connsiteX6190" y="connsiteY6190"/>
              </a:cxn>
              <a:cxn ang="0">
                <a:pos x="connsiteX6191" y="connsiteY6191"/>
              </a:cxn>
              <a:cxn ang="0">
                <a:pos x="connsiteX6192" y="connsiteY6192"/>
              </a:cxn>
              <a:cxn ang="0">
                <a:pos x="connsiteX6193" y="connsiteY6193"/>
              </a:cxn>
              <a:cxn ang="0">
                <a:pos x="connsiteX6194" y="connsiteY6194"/>
              </a:cxn>
              <a:cxn ang="0">
                <a:pos x="connsiteX6195" y="connsiteY6195"/>
              </a:cxn>
              <a:cxn ang="0">
                <a:pos x="connsiteX6196" y="connsiteY6196"/>
              </a:cxn>
              <a:cxn ang="0">
                <a:pos x="connsiteX6197" y="connsiteY6197"/>
              </a:cxn>
              <a:cxn ang="0">
                <a:pos x="connsiteX6198" y="connsiteY6198"/>
              </a:cxn>
              <a:cxn ang="0">
                <a:pos x="connsiteX6199" y="connsiteY6199"/>
              </a:cxn>
              <a:cxn ang="0">
                <a:pos x="connsiteX6200" y="connsiteY6200"/>
              </a:cxn>
              <a:cxn ang="0">
                <a:pos x="connsiteX6201" y="connsiteY6201"/>
              </a:cxn>
              <a:cxn ang="0">
                <a:pos x="connsiteX6202" y="connsiteY6202"/>
              </a:cxn>
              <a:cxn ang="0">
                <a:pos x="connsiteX6203" y="connsiteY6203"/>
              </a:cxn>
              <a:cxn ang="0">
                <a:pos x="connsiteX6204" y="connsiteY6204"/>
              </a:cxn>
              <a:cxn ang="0">
                <a:pos x="connsiteX6205" y="connsiteY6205"/>
              </a:cxn>
              <a:cxn ang="0">
                <a:pos x="connsiteX6206" y="connsiteY6206"/>
              </a:cxn>
              <a:cxn ang="0">
                <a:pos x="connsiteX6207" y="connsiteY6207"/>
              </a:cxn>
              <a:cxn ang="0">
                <a:pos x="connsiteX6208" y="connsiteY6208"/>
              </a:cxn>
              <a:cxn ang="0">
                <a:pos x="connsiteX6209" y="connsiteY6209"/>
              </a:cxn>
              <a:cxn ang="0">
                <a:pos x="connsiteX6210" y="connsiteY6210"/>
              </a:cxn>
              <a:cxn ang="0">
                <a:pos x="connsiteX6211" y="connsiteY6211"/>
              </a:cxn>
              <a:cxn ang="0">
                <a:pos x="connsiteX6212" y="connsiteY6212"/>
              </a:cxn>
              <a:cxn ang="0">
                <a:pos x="connsiteX6213" y="connsiteY6213"/>
              </a:cxn>
              <a:cxn ang="0">
                <a:pos x="connsiteX6214" y="connsiteY6214"/>
              </a:cxn>
              <a:cxn ang="0">
                <a:pos x="connsiteX6215" y="connsiteY6215"/>
              </a:cxn>
              <a:cxn ang="0">
                <a:pos x="connsiteX6216" y="connsiteY6216"/>
              </a:cxn>
              <a:cxn ang="0">
                <a:pos x="connsiteX6217" y="connsiteY6217"/>
              </a:cxn>
              <a:cxn ang="0">
                <a:pos x="connsiteX6218" y="connsiteY6218"/>
              </a:cxn>
              <a:cxn ang="0">
                <a:pos x="connsiteX6219" y="connsiteY6219"/>
              </a:cxn>
              <a:cxn ang="0">
                <a:pos x="connsiteX6220" y="connsiteY6220"/>
              </a:cxn>
              <a:cxn ang="0">
                <a:pos x="connsiteX6221" y="connsiteY6221"/>
              </a:cxn>
              <a:cxn ang="0">
                <a:pos x="connsiteX6222" y="connsiteY6222"/>
              </a:cxn>
              <a:cxn ang="0">
                <a:pos x="connsiteX6223" y="connsiteY6223"/>
              </a:cxn>
              <a:cxn ang="0">
                <a:pos x="connsiteX6224" y="connsiteY6224"/>
              </a:cxn>
              <a:cxn ang="0">
                <a:pos x="connsiteX6225" y="connsiteY6225"/>
              </a:cxn>
              <a:cxn ang="0">
                <a:pos x="connsiteX6226" y="connsiteY6226"/>
              </a:cxn>
              <a:cxn ang="0">
                <a:pos x="connsiteX6227" y="connsiteY6227"/>
              </a:cxn>
              <a:cxn ang="0">
                <a:pos x="connsiteX6228" y="connsiteY6228"/>
              </a:cxn>
              <a:cxn ang="0">
                <a:pos x="connsiteX6229" y="connsiteY6229"/>
              </a:cxn>
              <a:cxn ang="0">
                <a:pos x="connsiteX6230" y="connsiteY6230"/>
              </a:cxn>
              <a:cxn ang="0">
                <a:pos x="connsiteX6231" y="connsiteY6231"/>
              </a:cxn>
              <a:cxn ang="0">
                <a:pos x="connsiteX6232" y="connsiteY6232"/>
              </a:cxn>
              <a:cxn ang="0">
                <a:pos x="connsiteX6233" y="connsiteY6233"/>
              </a:cxn>
              <a:cxn ang="0">
                <a:pos x="connsiteX6234" y="connsiteY6234"/>
              </a:cxn>
              <a:cxn ang="0">
                <a:pos x="connsiteX6235" y="connsiteY6235"/>
              </a:cxn>
              <a:cxn ang="0">
                <a:pos x="connsiteX6236" y="connsiteY6236"/>
              </a:cxn>
              <a:cxn ang="0">
                <a:pos x="connsiteX6237" y="connsiteY6237"/>
              </a:cxn>
              <a:cxn ang="0">
                <a:pos x="connsiteX6238" y="connsiteY6238"/>
              </a:cxn>
              <a:cxn ang="0">
                <a:pos x="connsiteX6239" y="connsiteY6239"/>
              </a:cxn>
              <a:cxn ang="0">
                <a:pos x="connsiteX6240" y="connsiteY6240"/>
              </a:cxn>
              <a:cxn ang="0">
                <a:pos x="connsiteX6241" y="connsiteY6241"/>
              </a:cxn>
              <a:cxn ang="0">
                <a:pos x="connsiteX6242" y="connsiteY6242"/>
              </a:cxn>
              <a:cxn ang="0">
                <a:pos x="connsiteX6243" y="connsiteY6243"/>
              </a:cxn>
              <a:cxn ang="0">
                <a:pos x="connsiteX6244" y="connsiteY6244"/>
              </a:cxn>
              <a:cxn ang="0">
                <a:pos x="connsiteX6245" y="connsiteY6245"/>
              </a:cxn>
              <a:cxn ang="0">
                <a:pos x="connsiteX6246" y="connsiteY6246"/>
              </a:cxn>
              <a:cxn ang="0">
                <a:pos x="connsiteX6247" y="connsiteY6247"/>
              </a:cxn>
              <a:cxn ang="0">
                <a:pos x="connsiteX6248" y="connsiteY6248"/>
              </a:cxn>
              <a:cxn ang="0">
                <a:pos x="connsiteX6249" y="connsiteY6249"/>
              </a:cxn>
              <a:cxn ang="0">
                <a:pos x="connsiteX6250" y="connsiteY6250"/>
              </a:cxn>
              <a:cxn ang="0">
                <a:pos x="connsiteX6251" y="connsiteY6251"/>
              </a:cxn>
              <a:cxn ang="0">
                <a:pos x="connsiteX6252" y="connsiteY6252"/>
              </a:cxn>
              <a:cxn ang="0">
                <a:pos x="connsiteX6253" y="connsiteY6253"/>
              </a:cxn>
              <a:cxn ang="0">
                <a:pos x="connsiteX6254" y="connsiteY6254"/>
              </a:cxn>
              <a:cxn ang="0">
                <a:pos x="connsiteX6255" y="connsiteY6255"/>
              </a:cxn>
              <a:cxn ang="0">
                <a:pos x="connsiteX6256" y="connsiteY6256"/>
              </a:cxn>
              <a:cxn ang="0">
                <a:pos x="connsiteX6257" y="connsiteY6257"/>
              </a:cxn>
              <a:cxn ang="0">
                <a:pos x="connsiteX6258" y="connsiteY6258"/>
              </a:cxn>
              <a:cxn ang="0">
                <a:pos x="connsiteX6259" y="connsiteY6259"/>
              </a:cxn>
              <a:cxn ang="0">
                <a:pos x="connsiteX6260" y="connsiteY6260"/>
              </a:cxn>
              <a:cxn ang="0">
                <a:pos x="connsiteX6261" y="connsiteY6261"/>
              </a:cxn>
              <a:cxn ang="0">
                <a:pos x="connsiteX6262" y="connsiteY6262"/>
              </a:cxn>
              <a:cxn ang="0">
                <a:pos x="connsiteX6263" y="connsiteY6263"/>
              </a:cxn>
              <a:cxn ang="0">
                <a:pos x="connsiteX6264" y="connsiteY6264"/>
              </a:cxn>
              <a:cxn ang="0">
                <a:pos x="connsiteX6265" y="connsiteY6265"/>
              </a:cxn>
              <a:cxn ang="0">
                <a:pos x="connsiteX6266" y="connsiteY6266"/>
              </a:cxn>
              <a:cxn ang="0">
                <a:pos x="connsiteX6267" y="connsiteY6267"/>
              </a:cxn>
              <a:cxn ang="0">
                <a:pos x="connsiteX6268" y="connsiteY6268"/>
              </a:cxn>
              <a:cxn ang="0">
                <a:pos x="connsiteX6269" y="connsiteY6269"/>
              </a:cxn>
              <a:cxn ang="0">
                <a:pos x="connsiteX6270" y="connsiteY6270"/>
              </a:cxn>
              <a:cxn ang="0">
                <a:pos x="connsiteX6271" y="connsiteY6271"/>
              </a:cxn>
              <a:cxn ang="0">
                <a:pos x="connsiteX6272" y="connsiteY6272"/>
              </a:cxn>
              <a:cxn ang="0">
                <a:pos x="connsiteX6273" y="connsiteY6273"/>
              </a:cxn>
              <a:cxn ang="0">
                <a:pos x="connsiteX6274" y="connsiteY6274"/>
              </a:cxn>
              <a:cxn ang="0">
                <a:pos x="connsiteX6275" y="connsiteY6275"/>
              </a:cxn>
              <a:cxn ang="0">
                <a:pos x="connsiteX6276" y="connsiteY6276"/>
              </a:cxn>
              <a:cxn ang="0">
                <a:pos x="connsiteX6277" y="connsiteY6277"/>
              </a:cxn>
              <a:cxn ang="0">
                <a:pos x="connsiteX6278" y="connsiteY6278"/>
              </a:cxn>
              <a:cxn ang="0">
                <a:pos x="connsiteX6279" y="connsiteY6279"/>
              </a:cxn>
              <a:cxn ang="0">
                <a:pos x="connsiteX6280" y="connsiteY6280"/>
              </a:cxn>
              <a:cxn ang="0">
                <a:pos x="connsiteX6281" y="connsiteY6281"/>
              </a:cxn>
              <a:cxn ang="0">
                <a:pos x="connsiteX6282" y="connsiteY6282"/>
              </a:cxn>
              <a:cxn ang="0">
                <a:pos x="connsiteX6283" y="connsiteY6283"/>
              </a:cxn>
              <a:cxn ang="0">
                <a:pos x="connsiteX6284" y="connsiteY6284"/>
              </a:cxn>
              <a:cxn ang="0">
                <a:pos x="connsiteX6285" y="connsiteY6285"/>
              </a:cxn>
              <a:cxn ang="0">
                <a:pos x="connsiteX6286" y="connsiteY6286"/>
              </a:cxn>
              <a:cxn ang="0">
                <a:pos x="connsiteX6287" y="connsiteY6287"/>
              </a:cxn>
              <a:cxn ang="0">
                <a:pos x="connsiteX6288" y="connsiteY6288"/>
              </a:cxn>
              <a:cxn ang="0">
                <a:pos x="connsiteX6289" y="connsiteY6289"/>
              </a:cxn>
              <a:cxn ang="0">
                <a:pos x="connsiteX6290" y="connsiteY6290"/>
              </a:cxn>
              <a:cxn ang="0">
                <a:pos x="connsiteX6291" y="connsiteY6291"/>
              </a:cxn>
              <a:cxn ang="0">
                <a:pos x="connsiteX6292" y="connsiteY6292"/>
              </a:cxn>
              <a:cxn ang="0">
                <a:pos x="connsiteX6293" y="connsiteY6293"/>
              </a:cxn>
              <a:cxn ang="0">
                <a:pos x="connsiteX6294" y="connsiteY6294"/>
              </a:cxn>
              <a:cxn ang="0">
                <a:pos x="connsiteX6295" y="connsiteY6295"/>
              </a:cxn>
              <a:cxn ang="0">
                <a:pos x="connsiteX6296" y="connsiteY6296"/>
              </a:cxn>
              <a:cxn ang="0">
                <a:pos x="connsiteX6297" y="connsiteY6297"/>
              </a:cxn>
              <a:cxn ang="0">
                <a:pos x="connsiteX6298" y="connsiteY6298"/>
              </a:cxn>
              <a:cxn ang="0">
                <a:pos x="connsiteX6299" y="connsiteY6299"/>
              </a:cxn>
              <a:cxn ang="0">
                <a:pos x="connsiteX6300" y="connsiteY6300"/>
              </a:cxn>
              <a:cxn ang="0">
                <a:pos x="connsiteX6301" y="connsiteY6301"/>
              </a:cxn>
              <a:cxn ang="0">
                <a:pos x="connsiteX6302" y="connsiteY6302"/>
              </a:cxn>
              <a:cxn ang="0">
                <a:pos x="connsiteX6303" y="connsiteY6303"/>
              </a:cxn>
              <a:cxn ang="0">
                <a:pos x="connsiteX6304" y="connsiteY6304"/>
              </a:cxn>
              <a:cxn ang="0">
                <a:pos x="connsiteX6305" y="connsiteY6305"/>
              </a:cxn>
              <a:cxn ang="0">
                <a:pos x="connsiteX6306" y="connsiteY6306"/>
              </a:cxn>
              <a:cxn ang="0">
                <a:pos x="connsiteX6307" y="connsiteY6307"/>
              </a:cxn>
              <a:cxn ang="0">
                <a:pos x="connsiteX6308" y="connsiteY6308"/>
              </a:cxn>
              <a:cxn ang="0">
                <a:pos x="connsiteX6309" y="connsiteY6309"/>
              </a:cxn>
              <a:cxn ang="0">
                <a:pos x="connsiteX6310" y="connsiteY6310"/>
              </a:cxn>
              <a:cxn ang="0">
                <a:pos x="connsiteX6311" y="connsiteY6311"/>
              </a:cxn>
              <a:cxn ang="0">
                <a:pos x="connsiteX6312" y="connsiteY6312"/>
              </a:cxn>
              <a:cxn ang="0">
                <a:pos x="connsiteX6313" y="connsiteY6313"/>
              </a:cxn>
              <a:cxn ang="0">
                <a:pos x="connsiteX6314" y="connsiteY6314"/>
              </a:cxn>
              <a:cxn ang="0">
                <a:pos x="connsiteX6315" y="connsiteY6315"/>
              </a:cxn>
              <a:cxn ang="0">
                <a:pos x="connsiteX6316" y="connsiteY6316"/>
              </a:cxn>
              <a:cxn ang="0">
                <a:pos x="connsiteX6317" y="connsiteY6317"/>
              </a:cxn>
              <a:cxn ang="0">
                <a:pos x="connsiteX6318" y="connsiteY6318"/>
              </a:cxn>
              <a:cxn ang="0">
                <a:pos x="connsiteX6319" y="connsiteY6319"/>
              </a:cxn>
              <a:cxn ang="0">
                <a:pos x="connsiteX6320" y="connsiteY6320"/>
              </a:cxn>
              <a:cxn ang="0">
                <a:pos x="connsiteX6321" y="connsiteY6321"/>
              </a:cxn>
              <a:cxn ang="0">
                <a:pos x="connsiteX6322" y="connsiteY6322"/>
              </a:cxn>
              <a:cxn ang="0">
                <a:pos x="connsiteX6323" y="connsiteY6323"/>
              </a:cxn>
              <a:cxn ang="0">
                <a:pos x="connsiteX6324" y="connsiteY6324"/>
              </a:cxn>
              <a:cxn ang="0">
                <a:pos x="connsiteX6325" y="connsiteY6325"/>
              </a:cxn>
              <a:cxn ang="0">
                <a:pos x="connsiteX6326" y="connsiteY6326"/>
              </a:cxn>
              <a:cxn ang="0">
                <a:pos x="connsiteX6327" y="connsiteY6327"/>
              </a:cxn>
              <a:cxn ang="0">
                <a:pos x="connsiteX6328" y="connsiteY6328"/>
              </a:cxn>
              <a:cxn ang="0">
                <a:pos x="connsiteX6329" y="connsiteY6329"/>
              </a:cxn>
              <a:cxn ang="0">
                <a:pos x="connsiteX6330" y="connsiteY6330"/>
              </a:cxn>
              <a:cxn ang="0">
                <a:pos x="connsiteX6331" y="connsiteY6331"/>
              </a:cxn>
              <a:cxn ang="0">
                <a:pos x="connsiteX6332" y="connsiteY6332"/>
              </a:cxn>
              <a:cxn ang="0">
                <a:pos x="connsiteX6333" y="connsiteY6333"/>
              </a:cxn>
              <a:cxn ang="0">
                <a:pos x="connsiteX6334" y="connsiteY6334"/>
              </a:cxn>
              <a:cxn ang="0">
                <a:pos x="connsiteX6335" y="connsiteY6335"/>
              </a:cxn>
              <a:cxn ang="0">
                <a:pos x="connsiteX6336" y="connsiteY6336"/>
              </a:cxn>
              <a:cxn ang="0">
                <a:pos x="connsiteX6337" y="connsiteY6337"/>
              </a:cxn>
              <a:cxn ang="0">
                <a:pos x="connsiteX6338" y="connsiteY6338"/>
              </a:cxn>
              <a:cxn ang="0">
                <a:pos x="connsiteX6339" y="connsiteY6339"/>
              </a:cxn>
              <a:cxn ang="0">
                <a:pos x="connsiteX6340" y="connsiteY6340"/>
              </a:cxn>
              <a:cxn ang="0">
                <a:pos x="connsiteX6341" y="connsiteY6341"/>
              </a:cxn>
              <a:cxn ang="0">
                <a:pos x="connsiteX6342" y="connsiteY6342"/>
              </a:cxn>
              <a:cxn ang="0">
                <a:pos x="connsiteX6343" y="connsiteY6343"/>
              </a:cxn>
              <a:cxn ang="0">
                <a:pos x="connsiteX6344" y="connsiteY6344"/>
              </a:cxn>
              <a:cxn ang="0">
                <a:pos x="connsiteX6345" y="connsiteY6345"/>
              </a:cxn>
              <a:cxn ang="0">
                <a:pos x="connsiteX6346" y="connsiteY6346"/>
              </a:cxn>
              <a:cxn ang="0">
                <a:pos x="connsiteX6347" y="connsiteY6347"/>
              </a:cxn>
              <a:cxn ang="0">
                <a:pos x="connsiteX6348" y="connsiteY6348"/>
              </a:cxn>
              <a:cxn ang="0">
                <a:pos x="connsiteX6349" y="connsiteY6349"/>
              </a:cxn>
              <a:cxn ang="0">
                <a:pos x="connsiteX6350" y="connsiteY6350"/>
              </a:cxn>
              <a:cxn ang="0">
                <a:pos x="connsiteX6351" y="connsiteY6351"/>
              </a:cxn>
              <a:cxn ang="0">
                <a:pos x="connsiteX6352" y="connsiteY6352"/>
              </a:cxn>
              <a:cxn ang="0">
                <a:pos x="connsiteX6353" y="connsiteY6353"/>
              </a:cxn>
              <a:cxn ang="0">
                <a:pos x="connsiteX6354" y="connsiteY6354"/>
              </a:cxn>
              <a:cxn ang="0">
                <a:pos x="connsiteX6355" y="connsiteY6355"/>
              </a:cxn>
              <a:cxn ang="0">
                <a:pos x="connsiteX6356" y="connsiteY6356"/>
              </a:cxn>
              <a:cxn ang="0">
                <a:pos x="connsiteX6357" y="connsiteY6357"/>
              </a:cxn>
              <a:cxn ang="0">
                <a:pos x="connsiteX6358" y="connsiteY6358"/>
              </a:cxn>
              <a:cxn ang="0">
                <a:pos x="connsiteX6359" y="connsiteY6359"/>
              </a:cxn>
              <a:cxn ang="0">
                <a:pos x="connsiteX6360" y="connsiteY6360"/>
              </a:cxn>
              <a:cxn ang="0">
                <a:pos x="connsiteX6361" y="connsiteY6361"/>
              </a:cxn>
              <a:cxn ang="0">
                <a:pos x="connsiteX6362" y="connsiteY6362"/>
              </a:cxn>
              <a:cxn ang="0">
                <a:pos x="connsiteX6363" y="connsiteY6363"/>
              </a:cxn>
              <a:cxn ang="0">
                <a:pos x="connsiteX6364" y="connsiteY6364"/>
              </a:cxn>
              <a:cxn ang="0">
                <a:pos x="connsiteX6365" y="connsiteY6365"/>
              </a:cxn>
              <a:cxn ang="0">
                <a:pos x="connsiteX6366" y="connsiteY6366"/>
              </a:cxn>
              <a:cxn ang="0">
                <a:pos x="connsiteX6367" y="connsiteY6367"/>
              </a:cxn>
              <a:cxn ang="0">
                <a:pos x="connsiteX6368" y="connsiteY6368"/>
              </a:cxn>
              <a:cxn ang="0">
                <a:pos x="connsiteX6369" y="connsiteY6369"/>
              </a:cxn>
              <a:cxn ang="0">
                <a:pos x="connsiteX6370" y="connsiteY6370"/>
              </a:cxn>
              <a:cxn ang="0">
                <a:pos x="connsiteX6371" y="connsiteY6371"/>
              </a:cxn>
              <a:cxn ang="0">
                <a:pos x="connsiteX6372" y="connsiteY6372"/>
              </a:cxn>
              <a:cxn ang="0">
                <a:pos x="connsiteX6373" y="connsiteY6373"/>
              </a:cxn>
              <a:cxn ang="0">
                <a:pos x="connsiteX6374" y="connsiteY6374"/>
              </a:cxn>
              <a:cxn ang="0">
                <a:pos x="connsiteX6375" y="connsiteY6375"/>
              </a:cxn>
              <a:cxn ang="0">
                <a:pos x="connsiteX6376" y="connsiteY6376"/>
              </a:cxn>
              <a:cxn ang="0">
                <a:pos x="connsiteX6377" y="connsiteY6377"/>
              </a:cxn>
              <a:cxn ang="0">
                <a:pos x="connsiteX6378" y="connsiteY6378"/>
              </a:cxn>
              <a:cxn ang="0">
                <a:pos x="connsiteX6379" y="connsiteY6379"/>
              </a:cxn>
              <a:cxn ang="0">
                <a:pos x="connsiteX6380" y="connsiteY6380"/>
              </a:cxn>
              <a:cxn ang="0">
                <a:pos x="connsiteX6381" y="connsiteY6381"/>
              </a:cxn>
              <a:cxn ang="0">
                <a:pos x="connsiteX6382" y="connsiteY6382"/>
              </a:cxn>
              <a:cxn ang="0">
                <a:pos x="connsiteX6383" y="connsiteY6383"/>
              </a:cxn>
              <a:cxn ang="0">
                <a:pos x="connsiteX6384" y="connsiteY6384"/>
              </a:cxn>
              <a:cxn ang="0">
                <a:pos x="connsiteX6385" y="connsiteY6385"/>
              </a:cxn>
              <a:cxn ang="0">
                <a:pos x="connsiteX6386" y="connsiteY6386"/>
              </a:cxn>
              <a:cxn ang="0">
                <a:pos x="connsiteX6387" y="connsiteY6387"/>
              </a:cxn>
              <a:cxn ang="0">
                <a:pos x="connsiteX6388" y="connsiteY6388"/>
              </a:cxn>
              <a:cxn ang="0">
                <a:pos x="connsiteX6389" y="connsiteY6389"/>
              </a:cxn>
              <a:cxn ang="0">
                <a:pos x="connsiteX6390" y="connsiteY6390"/>
              </a:cxn>
              <a:cxn ang="0">
                <a:pos x="connsiteX6391" y="connsiteY6391"/>
              </a:cxn>
              <a:cxn ang="0">
                <a:pos x="connsiteX6392" y="connsiteY6392"/>
              </a:cxn>
              <a:cxn ang="0">
                <a:pos x="connsiteX6393" y="connsiteY6393"/>
              </a:cxn>
              <a:cxn ang="0">
                <a:pos x="connsiteX6394" y="connsiteY6394"/>
              </a:cxn>
              <a:cxn ang="0">
                <a:pos x="connsiteX6395" y="connsiteY6395"/>
              </a:cxn>
              <a:cxn ang="0">
                <a:pos x="connsiteX6396" y="connsiteY6396"/>
              </a:cxn>
              <a:cxn ang="0">
                <a:pos x="connsiteX6397" y="connsiteY6397"/>
              </a:cxn>
              <a:cxn ang="0">
                <a:pos x="connsiteX6398" y="connsiteY6398"/>
              </a:cxn>
              <a:cxn ang="0">
                <a:pos x="connsiteX6399" y="connsiteY6399"/>
              </a:cxn>
              <a:cxn ang="0">
                <a:pos x="connsiteX6400" y="connsiteY6400"/>
              </a:cxn>
              <a:cxn ang="0">
                <a:pos x="connsiteX6401" y="connsiteY6401"/>
              </a:cxn>
              <a:cxn ang="0">
                <a:pos x="connsiteX6402" y="connsiteY6402"/>
              </a:cxn>
              <a:cxn ang="0">
                <a:pos x="connsiteX6403" y="connsiteY6403"/>
              </a:cxn>
              <a:cxn ang="0">
                <a:pos x="connsiteX6404" y="connsiteY6404"/>
              </a:cxn>
              <a:cxn ang="0">
                <a:pos x="connsiteX6405" y="connsiteY6405"/>
              </a:cxn>
              <a:cxn ang="0">
                <a:pos x="connsiteX6406" y="connsiteY6406"/>
              </a:cxn>
              <a:cxn ang="0">
                <a:pos x="connsiteX6407" y="connsiteY6407"/>
              </a:cxn>
              <a:cxn ang="0">
                <a:pos x="connsiteX6408" y="connsiteY6408"/>
              </a:cxn>
              <a:cxn ang="0">
                <a:pos x="connsiteX6409" y="connsiteY6409"/>
              </a:cxn>
              <a:cxn ang="0">
                <a:pos x="connsiteX6410" y="connsiteY6410"/>
              </a:cxn>
              <a:cxn ang="0">
                <a:pos x="connsiteX6411" y="connsiteY6411"/>
              </a:cxn>
              <a:cxn ang="0">
                <a:pos x="connsiteX6412" y="connsiteY6412"/>
              </a:cxn>
              <a:cxn ang="0">
                <a:pos x="connsiteX6413" y="connsiteY6413"/>
              </a:cxn>
              <a:cxn ang="0">
                <a:pos x="connsiteX6414" y="connsiteY6414"/>
              </a:cxn>
              <a:cxn ang="0">
                <a:pos x="connsiteX6415" y="connsiteY6415"/>
              </a:cxn>
              <a:cxn ang="0">
                <a:pos x="connsiteX6416" y="connsiteY6416"/>
              </a:cxn>
              <a:cxn ang="0">
                <a:pos x="connsiteX6417" y="connsiteY6417"/>
              </a:cxn>
              <a:cxn ang="0">
                <a:pos x="connsiteX6418" y="connsiteY6418"/>
              </a:cxn>
              <a:cxn ang="0">
                <a:pos x="connsiteX6419" y="connsiteY6419"/>
              </a:cxn>
              <a:cxn ang="0">
                <a:pos x="connsiteX6420" y="connsiteY6420"/>
              </a:cxn>
              <a:cxn ang="0">
                <a:pos x="connsiteX6421" y="connsiteY6421"/>
              </a:cxn>
              <a:cxn ang="0">
                <a:pos x="connsiteX6422" y="connsiteY6422"/>
              </a:cxn>
              <a:cxn ang="0">
                <a:pos x="connsiteX6423" y="connsiteY6423"/>
              </a:cxn>
              <a:cxn ang="0">
                <a:pos x="connsiteX6424" y="connsiteY6424"/>
              </a:cxn>
              <a:cxn ang="0">
                <a:pos x="connsiteX6425" y="connsiteY6425"/>
              </a:cxn>
              <a:cxn ang="0">
                <a:pos x="connsiteX6426" y="connsiteY6426"/>
              </a:cxn>
              <a:cxn ang="0">
                <a:pos x="connsiteX6427" y="connsiteY6427"/>
              </a:cxn>
              <a:cxn ang="0">
                <a:pos x="connsiteX6428" y="connsiteY6428"/>
              </a:cxn>
              <a:cxn ang="0">
                <a:pos x="connsiteX6429" y="connsiteY6429"/>
              </a:cxn>
              <a:cxn ang="0">
                <a:pos x="connsiteX6430" y="connsiteY6430"/>
              </a:cxn>
              <a:cxn ang="0">
                <a:pos x="connsiteX6431" y="connsiteY6431"/>
              </a:cxn>
              <a:cxn ang="0">
                <a:pos x="connsiteX6432" y="connsiteY6432"/>
              </a:cxn>
              <a:cxn ang="0">
                <a:pos x="connsiteX6433" y="connsiteY6433"/>
              </a:cxn>
              <a:cxn ang="0">
                <a:pos x="connsiteX6434" y="connsiteY6434"/>
              </a:cxn>
              <a:cxn ang="0">
                <a:pos x="connsiteX6435" y="connsiteY6435"/>
              </a:cxn>
              <a:cxn ang="0">
                <a:pos x="connsiteX6436" y="connsiteY6436"/>
              </a:cxn>
              <a:cxn ang="0">
                <a:pos x="connsiteX6437" y="connsiteY6437"/>
              </a:cxn>
              <a:cxn ang="0">
                <a:pos x="connsiteX6438" y="connsiteY6438"/>
              </a:cxn>
              <a:cxn ang="0">
                <a:pos x="connsiteX6439" y="connsiteY6439"/>
              </a:cxn>
              <a:cxn ang="0">
                <a:pos x="connsiteX6440" y="connsiteY6440"/>
              </a:cxn>
              <a:cxn ang="0">
                <a:pos x="connsiteX6441" y="connsiteY6441"/>
              </a:cxn>
              <a:cxn ang="0">
                <a:pos x="connsiteX6442" y="connsiteY6442"/>
              </a:cxn>
              <a:cxn ang="0">
                <a:pos x="connsiteX6443" y="connsiteY6443"/>
              </a:cxn>
              <a:cxn ang="0">
                <a:pos x="connsiteX6444" y="connsiteY6444"/>
              </a:cxn>
              <a:cxn ang="0">
                <a:pos x="connsiteX6445" y="connsiteY6445"/>
              </a:cxn>
              <a:cxn ang="0">
                <a:pos x="connsiteX6446" y="connsiteY6446"/>
              </a:cxn>
              <a:cxn ang="0">
                <a:pos x="connsiteX6447" y="connsiteY6447"/>
              </a:cxn>
              <a:cxn ang="0">
                <a:pos x="connsiteX6448" y="connsiteY6448"/>
              </a:cxn>
              <a:cxn ang="0">
                <a:pos x="connsiteX6449" y="connsiteY6449"/>
              </a:cxn>
              <a:cxn ang="0">
                <a:pos x="connsiteX6450" y="connsiteY6450"/>
              </a:cxn>
              <a:cxn ang="0">
                <a:pos x="connsiteX6451" y="connsiteY6451"/>
              </a:cxn>
              <a:cxn ang="0">
                <a:pos x="connsiteX6452" y="connsiteY6452"/>
              </a:cxn>
              <a:cxn ang="0">
                <a:pos x="connsiteX6453" y="connsiteY6453"/>
              </a:cxn>
              <a:cxn ang="0">
                <a:pos x="connsiteX6454" y="connsiteY6454"/>
              </a:cxn>
              <a:cxn ang="0">
                <a:pos x="connsiteX6455" y="connsiteY6455"/>
              </a:cxn>
              <a:cxn ang="0">
                <a:pos x="connsiteX6456" y="connsiteY6456"/>
              </a:cxn>
              <a:cxn ang="0">
                <a:pos x="connsiteX6457" y="connsiteY6457"/>
              </a:cxn>
              <a:cxn ang="0">
                <a:pos x="connsiteX6458" y="connsiteY6458"/>
              </a:cxn>
              <a:cxn ang="0">
                <a:pos x="connsiteX6459" y="connsiteY6459"/>
              </a:cxn>
              <a:cxn ang="0">
                <a:pos x="connsiteX6460" y="connsiteY6460"/>
              </a:cxn>
              <a:cxn ang="0">
                <a:pos x="connsiteX6461" y="connsiteY6461"/>
              </a:cxn>
              <a:cxn ang="0">
                <a:pos x="connsiteX6462" y="connsiteY6462"/>
              </a:cxn>
              <a:cxn ang="0">
                <a:pos x="connsiteX6463" y="connsiteY6463"/>
              </a:cxn>
              <a:cxn ang="0">
                <a:pos x="connsiteX6464" y="connsiteY6464"/>
              </a:cxn>
              <a:cxn ang="0">
                <a:pos x="connsiteX6465" y="connsiteY6465"/>
              </a:cxn>
              <a:cxn ang="0">
                <a:pos x="connsiteX6466" y="connsiteY6466"/>
              </a:cxn>
              <a:cxn ang="0">
                <a:pos x="connsiteX6467" y="connsiteY6467"/>
              </a:cxn>
              <a:cxn ang="0">
                <a:pos x="connsiteX6468" y="connsiteY6468"/>
              </a:cxn>
              <a:cxn ang="0">
                <a:pos x="connsiteX6469" y="connsiteY6469"/>
              </a:cxn>
              <a:cxn ang="0">
                <a:pos x="connsiteX6470" y="connsiteY6470"/>
              </a:cxn>
              <a:cxn ang="0">
                <a:pos x="connsiteX6471" y="connsiteY6471"/>
              </a:cxn>
              <a:cxn ang="0">
                <a:pos x="connsiteX6472" y="connsiteY6472"/>
              </a:cxn>
              <a:cxn ang="0">
                <a:pos x="connsiteX6473" y="connsiteY6473"/>
              </a:cxn>
              <a:cxn ang="0">
                <a:pos x="connsiteX6474" y="connsiteY6474"/>
              </a:cxn>
              <a:cxn ang="0">
                <a:pos x="connsiteX6475" y="connsiteY6475"/>
              </a:cxn>
              <a:cxn ang="0">
                <a:pos x="connsiteX6476" y="connsiteY6476"/>
              </a:cxn>
              <a:cxn ang="0">
                <a:pos x="connsiteX6477" y="connsiteY6477"/>
              </a:cxn>
              <a:cxn ang="0">
                <a:pos x="connsiteX6478" y="connsiteY6478"/>
              </a:cxn>
              <a:cxn ang="0">
                <a:pos x="connsiteX6479" y="connsiteY6479"/>
              </a:cxn>
              <a:cxn ang="0">
                <a:pos x="connsiteX6480" y="connsiteY6480"/>
              </a:cxn>
              <a:cxn ang="0">
                <a:pos x="connsiteX6481" y="connsiteY6481"/>
              </a:cxn>
              <a:cxn ang="0">
                <a:pos x="connsiteX6482" y="connsiteY6482"/>
              </a:cxn>
              <a:cxn ang="0">
                <a:pos x="connsiteX6483" y="connsiteY6483"/>
              </a:cxn>
              <a:cxn ang="0">
                <a:pos x="connsiteX6484" y="connsiteY6484"/>
              </a:cxn>
              <a:cxn ang="0">
                <a:pos x="connsiteX6485" y="connsiteY6485"/>
              </a:cxn>
              <a:cxn ang="0">
                <a:pos x="connsiteX6486" y="connsiteY6486"/>
              </a:cxn>
              <a:cxn ang="0">
                <a:pos x="connsiteX6487" y="connsiteY6487"/>
              </a:cxn>
              <a:cxn ang="0">
                <a:pos x="connsiteX6488" y="connsiteY6488"/>
              </a:cxn>
              <a:cxn ang="0">
                <a:pos x="connsiteX6489" y="connsiteY6489"/>
              </a:cxn>
              <a:cxn ang="0">
                <a:pos x="connsiteX6490" y="connsiteY6490"/>
              </a:cxn>
              <a:cxn ang="0">
                <a:pos x="connsiteX6491" y="connsiteY6491"/>
              </a:cxn>
              <a:cxn ang="0">
                <a:pos x="connsiteX6492" y="connsiteY6492"/>
              </a:cxn>
              <a:cxn ang="0">
                <a:pos x="connsiteX6493" y="connsiteY6493"/>
              </a:cxn>
              <a:cxn ang="0">
                <a:pos x="connsiteX6494" y="connsiteY6494"/>
              </a:cxn>
              <a:cxn ang="0">
                <a:pos x="connsiteX6495" y="connsiteY6495"/>
              </a:cxn>
              <a:cxn ang="0">
                <a:pos x="connsiteX6496" y="connsiteY6496"/>
              </a:cxn>
              <a:cxn ang="0">
                <a:pos x="connsiteX6497" y="connsiteY6497"/>
              </a:cxn>
              <a:cxn ang="0">
                <a:pos x="connsiteX6498" y="connsiteY6498"/>
              </a:cxn>
              <a:cxn ang="0">
                <a:pos x="connsiteX6499" y="connsiteY6499"/>
              </a:cxn>
              <a:cxn ang="0">
                <a:pos x="connsiteX6500" y="connsiteY6500"/>
              </a:cxn>
              <a:cxn ang="0">
                <a:pos x="connsiteX6501" y="connsiteY6501"/>
              </a:cxn>
              <a:cxn ang="0">
                <a:pos x="connsiteX6502" y="connsiteY6502"/>
              </a:cxn>
              <a:cxn ang="0">
                <a:pos x="connsiteX6503" y="connsiteY6503"/>
              </a:cxn>
              <a:cxn ang="0">
                <a:pos x="connsiteX6504" y="connsiteY6504"/>
              </a:cxn>
              <a:cxn ang="0">
                <a:pos x="connsiteX6505" y="connsiteY6505"/>
              </a:cxn>
              <a:cxn ang="0">
                <a:pos x="connsiteX6506" y="connsiteY6506"/>
              </a:cxn>
              <a:cxn ang="0">
                <a:pos x="connsiteX6507" y="connsiteY6507"/>
              </a:cxn>
              <a:cxn ang="0">
                <a:pos x="connsiteX6508" y="connsiteY6508"/>
              </a:cxn>
              <a:cxn ang="0">
                <a:pos x="connsiteX6509" y="connsiteY6509"/>
              </a:cxn>
              <a:cxn ang="0">
                <a:pos x="connsiteX6510" y="connsiteY6510"/>
              </a:cxn>
              <a:cxn ang="0">
                <a:pos x="connsiteX6511" y="connsiteY6511"/>
              </a:cxn>
              <a:cxn ang="0">
                <a:pos x="connsiteX6512" y="connsiteY6512"/>
              </a:cxn>
              <a:cxn ang="0">
                <a:pos x="connsiteX6513" y="connsiteY6513"/>
              </a:cxn>
              <a:cxn ang="0">
                <a:pos x="connsiteX6514" y="connsiteY6514"/>
              </a:cxn>
              <a:cxn ang="0">
                <a:pos x="connsiteX6515" y="connsiteY6515"/>
              </a:cxn>
              <a:cxn ang="0">
                <a:pos x="connsiteX6516" y="connsiteY6516"/>
              </a:cxn>
              <a:cxn ang="0">
                <a:pos x="connsiteX6517" y="connsiteY6517"/>
              </a:cxn>
              <a:cxn ang="0">
                <a:pos x="connsiteX6518" y="connsiteY6518"/>
              </a:cxn>
              <a:cxn ang="0">
                <a:pos x="connsiteX6519" y="connsiteY6519"/>
              </a:cxn>
              <a:cxn ang="0">
                <a:pos x="connsiteX6520" y="connsiteY6520"/>
              </a:cxn>
              <a:cxn ang="0">
                <a:pos x="connsiteX6521" y="connsiteY6521"/>
              </a:cxn>
              <a:cxn ang="0">
                <a:pos x="connsiteX6522" y="connsiteY6522"/>
              </a:cxn>
              <a:cxn ang="0">
                <a:pos x="connsiteX6523" y="connsiteY6523"/>
              </a:cxn>
              <a:cxn ang="0">
                <a:pos x="connsiteX6524" y="connsiteY6524"/>
              </a:cxn>
              <a:cxn ang="0">
                <a:pos x="connsiteX6525" y="connsiteY6525"/>
              </a:cxn>
              <a:cxn ang="0">
                <a:pos x="connsiteX6526" y="connsiteY6526"/>
              </a:cxn>
              <a:cxn ang="0">
                <a:pos x="connsiteX6527" y="connsiteY6527"/>
              </a:cxn>
              <a:cxn ang="0">
                <a:pos x="connsiteX6528" y="connsiteY6528"/>
              </a:cxn>
              <a:cxn ang="0">
                <a:pos x="connsiteX6529" y="connsiteY6529"/>
              </a:cxn>
              <a:cxn ang="0">
                <a:pos x="connsiteX6530" y="connsiteY6530"/>
              </a:cxn>
              <a:cxn ang="0">
                <a:pos x="connsiteX6531" y="connsiteY6531"/>
              </a:cxn>
              <a:cxn ang="0">
                <a:pos x="connsiteX6532" y="connsiteY6532"/>
              </a:cxn>
              <a:cxn ang="0">
                <a:pos x="connsiteX6533" y="connsiteY6533"/>
              </a:cxn>
              <a:cxn ang="0">
                <a:pos x="connsiteX6534" y="connsiteY6534"/>
              </a:cxn>
              <a:cxn ang="0">
                <a:pos x="connsiteX6535" y="connsiteY6535"/>
              </a:cxn>
              <a:cxn ang="0">
                <a:pos x="connsiteX6536" y="connsiteY6536"/>
              </a:cxn>
              <a:cxn ang="0">
                <a:pos x="connsiteX6537" y="connsiteY6537"/>
              </a:cxn>
              <a:cxn ang="0">
                <a:pos x="connsiteX6538" y="connsiteY6538"/>
              </a:cxn>
              <a:cxn ang="0">
                <a:pos x="connsiteX6539" y="connsiteY6539"/>
              </a:cxn>
              <a:cxn ang="0">
                <a:pos x="connsiteX6540" y="connsiteY6540"/>
              </a:cxn>
              <a:cxn ang="0">
                <a:pos x="connsiteX6541" y="connsiteY6541"/>
              </a:cxn>
              <a:cxn ang="0">
                <a:pos x="connsiteX6542" y="connsiteY6542"/>
              </a:cxn>
              <a:cxn ang="0">
                <a:pos x="connsiteX6543" y="connsiteY6543"/>
              </a:cxn>
              <a:cxn ang="0">
                <a:pos x="connsiteX6544" y="connsiteY6544"/>
              </a:cxn>
              <a:cxn ang="0">
                <a:pos x="connsiteX6545" y="connsiteY6545"/>
              </a:cxn>
              <a:cxn ang="0">
                <a:pos x="connsiteX6546" y="connsiteY6546"/>
              </a:cxn>
              <a:cxn ang="0">
                <a:pos x="connsiteX6547" y="connsiteY6547"/>
              </a:cxn>
              <a:cxn ang="0">
                <a:pos x="connsiteX6548" y="connsiteY6548"/>
              </a:cxn>
              <a:cxn ang="0">
                <a:pos x="connsiteX6549" y="connsiteY6549"/>
              </a:cxn>
              <a:cxn ang="0">
                <a:pos x="connsiteX6550" y="connsiteY6550"/>
              </a:cxn>
              <a:cxn ang="0">
                <a:pos x="connsiteX6551" y="connsiteY6551"/>
              </a:cxn>
              <a:cxn ang="0">
                <a:pos x="connsiteX6552" y="connsiteY6552"/>
              </a:cxn>
              <a:cxn ang="0">
                <a:pos x="connsiteX6553" y="connsiteY6553"/>
              </a:cxn>
              <a:cxn ang="0">
                <a:pos x="connsiteX6554" y="connsiteY6554"/>
              </a:cxn>
              <a:cxn ang="0">
                <a:pos x="connsiteX6555" y="connsiteY6555"/>
              </a:cxn>
              <a:cxn ang="0">
                <a:pos x="connsiteX6556" y="connsiteY6556"/>
              </a:cxn>
              <a:cxn ang="0">
                <a:pos x="connsiteX6557" y="connsiteY6557"/>
              </a:cxn>
              <a:cxn ang="0">
                <a:pos x="connsiteX6558" y="connsiteY6558"/>
              </a:cxn>
              <a:cxn ang="0">
                <a:pos x="connsiteX6559" y="connsiteY6559"/>
              </a:cxn>
              <a:cxn ang="0">
                <a:pos x="connsiteX6560" y="connsiteY6560"/>
              </a:cxn>
              <a:cxn ang="0">
                <a:pos x="connsiteX6561" y="connsiteY6561"/>
              </a:cxn>
              <a:cxn ang="0">
                <a:pos x="connsiteX6562" y="connsiteY6562"/>
              </a:cxn>
              <a:cxn ang="0">
                <a:pos x="connsiteX6563" y="connsiteY6563"/>
              </a:cxn>
              <a:cxn ang="0">
                <a:pos x="connsiteX6564" y="connsiteY6564"/>
              </a:cxn>
              <a:cxn ang="0">
                <a:pos x="connsiteX6565" y="connsiteY6565"/>
              </a:cxn>
              <a:cxn ang="0">
                <a:pos x="connsiteX6566" y="connsiteY6566"/>
              </a:cxn>
              <a:cxn ang="0">
                <a:pos x="connsiteX6567" y="connsiteY6567"/>
              </a:cxn>
              <a:cxn ang="0">
                <a:pos x="connsiteX6568" y="connsiteY6568"/>
              </a:cxn>
              <a:cxn ang="0">
                <a:pos x="connsiteX6569" y="connsiteY6569"/>
              </a:cxn>
              <a:cxn ang="0">
                <a:pos x="connsiteX6570" y="connsiteY6570"/>
              </a:cxn>
              <a:cxn ang="0">
                <a:pos x="connsiteX6571" y="connsiteY6571"/>
              </a:cxn>
              <a:cxn ang="0">
                <a:pos x="connsiteX6572" y="connsiteY6572"/>
              </a:cxn>
              <a:cxn ang="0">
                <a:pos x="connsiteX6573" y="connsiteY6573"/>
              </a:cxn>
              <a:cxn ang="0">
                <a:pos x="connsiteX6574" y="connsiteY6574"/>
              </a:cxn>
              <a:cxn ang="0">
                <a:pos x="connsiteX6575" y="connsiteY6575"/>
              </a:cxn>
              <a:cxn ang="0">
                <a:pos x="connsiteX6576" y="connsiteY6576"/>
              </a:cxn>
              <a:cxn ang="0">
                <a:pos x="connsiteX6577" y="connsiteY6577"/>
              </a:cxn>
              <a:cxn ang="0">
                <a:pos x="connsiteX6578" y="connsiteY6578"/>
              </a:cxn>
              <a:cxn ang="0">
                <a:pos x="connsiteX6579" y="connsiteY6579"/>
              </a:cxn>
              <a:cxn ang="0">
                <a:pos x="connsiteX6580" y="connsiteY6580"/>
              </a:cxn>
              <a:cxn ang="0">
                <a:pos x="connsiteX6581" y="connsiteY6581"/>
              </a:cxn>
              <a:cxn ang="0">
                <a:pos x="connsiteX6582" y="connsiteY6582"/>
              </a:cxn>
              <a:cxn ang="0">
                <a:pos x="connsiteX6583" y="connsiteY6583"/>
              </a:cxn>
              <a:cxn ang="0">
                <a:pos x="connsiteX6584" y="connsiteY6584"/>
              </a:cxn>
              <a:cxn ang="0">
                <a:pos x="connsiteX6585" y="connsiteY6585"/>
              </a:cxn>
              <a:cxn ang="0">
                <a:pos x="connsiteX6586" y="connsiteY6586"/>
              </a:cxn>
              <a:cxn ang="0">
                <a:pos x="connsiteX6587" y="connsiteY6587"/>
              </a:cxn>
              <a:cxn ang="0">
                <a:pos x="connsiteX6588" y="connsiteY6588"/>
              </a:cxn>
              <a:cxn ang="0">
                <a:pos x="connsiteX6589" y="connsiteY6589"/>
              </a:cxn>
              <a:cxn ang="0">
                <a:pos x="connsiteX6590" y="connsiteY6590"/>
              </a:cxn>
              <a:cxn ang="0">
                <a:pos x="connsiteX6591" y="connsiteY6591"/>
              </a:cxn>
              <a:cxn ang="0">
                <a:pos x="connsiteX6592" y="connsiteY6592"/>
              </a:cxn>
              <a:cxn ang="0">
                <a:pos x="connsiteX6593" y="connsiteY6593"/>
              </a:cxn>
              <a:cxn ang="0">
                <a:pos x="connsiteX6594" y="connsiteY6594"/>
              </a:cxn>
              <a:cxn ang="0">
                <a:pos x="connsiteX6595" y="connsiteY6595"/>
              </a:cxn>
              <a:cxn ang="0">
                <a:pos x="connsiteX6596" y="connsiteY6596"/>
              </a:cxn>
              <a:cxn ang="0">
                <a:pos x="connsiteX6597" y="connsiteY6597"/>
              </a:cxn>
              <a:cxn ang="0">
                <a:pos x="connsiteX6598" y="connsiteY6598"/>
              </a:cxn>
              <a:cxn ang="0">
                <a:pos x="connsiteX6599" y="connsiteY6599"/>
              </a:cxn>
              <a:cxn ang="0">
                <a:pos x="connsiteX6600" y="connsiteY6600"/>
              </a:cxn>
              <a:cxn ang="0">
                <a:pos x="connsiteX6601" y="connsiteY6601"/>
              </a:cxn>
              <a:cxn ang="0">
                <a:pos x="connsiteX6602" y="connsiteY6602"/>
              </a:cxn>
              <a:cxn ang="0">
                <a:pos x="connsiteX6603" y="connsiteY6603"/>
              </a:cxn>
              <a:cxn ang="0">
                <a:pos x="connsiteX6604" y="connsiteY6604"/>
              </a:cxn>
              <a:cxn ang="0">
                <a:pos x="connsiteX6605" y="connsiteY6605"/>
              </a:cxn>
              <a:cxn ang="0">
                <a:pos x="connsiteX6606" y="connsiteY6606"/>
              </a:cxn>
              <a:cxn ang="0">
                <a:pos x="connsiteX6607" y="connsiteY6607"/>
              </a:cxn>
              <a:cxn ang="0">
                <a:pos x="connsiteX6608" y="connsiteY6608"/>
              </a:cxn>
              <a:cxn ang="0">
                <a:pos x="connsiteX6609" y="connsiteY6609"/>
              </a:cxn>
              <a:cxn ang="0">
                <a:pos x="connsiteX6610" y="connsiteY6610"/>
              </a:cxn>
              <a:cxn ang="0">
                <a:pos x="connsiteX6611" y="connsiteY6611"/>
              </a:cxn>
              <a:cxn ang="0">
                <a:pos x="connsiteX6612" y="connsiteY6612"/>
              </a:cxn>
              <a:cxn ang="0">
                <a:pos x="connsiteX6613" y="connsiteY6613"/>
              </a:cxn>
              <a:cxn ang="0">
                <a:pos x="connsiteX6614" y="connsiteY6614"/>
              </a:cxn>
              <a:cxn ang="0">
                <a:pos x="connsiteX6615" y="connsiteY6615"/>
              </a:cxn>
              <a:cxn ang="0">
                <a:pos x="connsiteX6616" y="connsiteY6616"/>
              </a:cxn>
              <a:cxn ang="0">
                <a:pos x="connsiteX6617" y="connsiteY6617"/>
              </a:cxn>
              <a:cxn ang="0">
                <a:pos x="connsiteX6618" y="connsiteY6618"/>
              </a:cxn>
              <a:cxn ang="0">
                <a:pos x="connsiteX6619" y="connsiteY6619"/>
              </a:cxn>
              <a:cxn ang="0">
                <a:pos x="connsiteX6620" y="connsiteY6620"/>
              </a:cxn>
              <a:cxn ang="0">
                <a:pos x="connsiteX6621" y="connsiteY6621"/>
              </a:cxn>
              <a:cxn ang="0">
                <a:pos x="connsiteX6622" y="connsiteY6622"/>
              </a:cxn>
              <a:cxn ang="0">
                <a:pos x="connsiteX6623" y="connsiteY6623"/>
              </a:cxn>
              <a:cxn ang="0">
                <a:pos x="connsiteX6624" y="connsiteY6624"/>
              </a:cxn>
              <a:cxn ang="0">
                <a:pos x="connsiteX6625" y="connsiteY6625"/>
              </a:cxn>
              <a:cxn ang="0">
                <a:pos x="connsiteX6626" y="connsiteY6626"/>
              </a:cxn>
              <a:cxn ang="0">
                <a:pos x="connsiteX6627" y="connsiteY6627"/>
              </a:cxn>
              <a:cxn ang="0">
                <a:pos x="connsiteX6628" y="connsiteY6628"/>
              </a:cxn>
              <a:cxn ang="0">
                <a:pos x="connsiteX6629" y="connsiteY6629"/>
              </a:cxn>
              <a:cxn ang="0">
                <a:pos x="connsiteX6630" y="connsiteY6630"/>
              </a:cxn>
              <a:cxn ang="0">
                <a:pos x="connsiteX6631" y="connsiteY6631"/>
              </a:cxn>
              <a:cxn ang="0">
                <a:pos x="connsiteX6632" y="connsiteY6632"/>
              </a:cxn>
              <a:cxn ang="0">
                <a:pos x="connsiteX6633" y="connsiteY6633"/>
              </a:cxn>
              <a:cxn ang="0">
                <a:pos x="connsiteX6634" y="connsiteY6634"/>
              </a:cxn>
              <a:cxn ang="0">
                <a:pos x="connsiteX6635" y="connsiteY6635"/>
              </a:cxn>
              <a:cxn ang="0">
                <a:pos x="connsiteX6636" y="connsiteY6636"/>
              </a:cxn>
              <a:cxn ang="0">
                <a:pos x="connsiteX6637" y="connsiteY6637"/>
              </a:cxn>
              <a:cxn ang="0">
                <a:pos x="connsiteX6638" y="connsiteY6638"/>
              </a:cxn>
              <a:cxn ang="0">
                <a:pos x="connsiteX6639" y="connsiteY6639"/>
              </a:cxn>
              <a:cxn ang="0">
                <a:pos x="connsiteX6640" y="connsiteY6640"/>
              </a:cxn>
              <a:cxn ang="0">
                <a:pos x="connsiteX6641" y="connsiteY6641"/>
              </a:cxn>
              <a:cxn ang="0">
                <a:pos x="connsiteX6642" y="connsiteY6642"/>
              </a:cxn>
              <a:cxn ang="0">
                <a:pos x="connsiteX6643" y="connsiteY6643"/>
              </a:cxn>
              <a:cxn ang="0">
                <a:pos x="connsiteX6644" y="connsiteY6644"/>
              </a:cxn>
              <a:cxn ang="0">
                <a:pos x="connsiteX6645" y="connsiteY6645"/>
              </a:cxn>
              <a:cxn ang="0">
                <a:pos x="connsiteX6646" y="connsiteY6646"/>
              </a:cxn>
              <a:cxn ang="0">
                <a:pos x="connsiteX6647" y="connsiteY6647"/>
              </a:cxn>
              <a:cxn ang="0">
                <a:pos x="connsiteX6648" y="connsiteY6648"/>
              </a:cxn>
              <a:cxn ang="0">
                <a:pos x="connsiteX6649" y="connsiteY6649"/>
              </a:cxn>
              <a:cxn ang="0">
                <a:pos x="connsiteX6650" y="connsiteY6650"/>
              </a:cxn>
              <a:cxn ang="0">
                <a:pos x="connsiteX6651" y="connsiteY6651"/>
              </a:cxn>
              <a:cxn ang="0">
                <a:pos x="connsiteX6652" y="connsiteY6652"/>
              </a:cxn>
              <a:cxn ang="0">
                <a:pos x="connsiteX6653" y="connsiteY6653"/>
              </a:cxn>
              <a:cxn ang="0">
                <a:pos x="connsiteX6654" y="connsiteY6654"/>
              </a:cxn>
              <a:cxn ang="0">
                <a:pos x="connsiteX6655" y="connsiteY6655"/>
              </a:cxn>
              <a:cxn ang="0">
                <a:pos x="connsiteX6656" y="connsiteY6656"/>
              </a:cxn>
              <a:cxn ang="0">
                <a:pos x="connsiteX6657" y="connsiteY6657"/>
              </a:cxn>
              <a:cxn ang="0">
                <a:pos x="connsiteX6658" y="connsiteY6658"/>
              </a:cxn>
              <a:cxn ang="0">
                <a:pos x="connsiteX6659" y="connsiteY6659"/>
              </a:cxn>
              <a:cxn ang="0">
                <a:pos x="connsiteX6660" y="connsiteY6660"/>
              </a:cxn>
              <a:cxn ang="0">
                <a:pos x="connsiteX6661" y="connsiteY6661"/>
              </a:cxn>
              <a:cxn ang="0">
                <a:pos x="connsiteX6662" y="connsiteY6662"/>
              </a:cxn>
              <a:cxn ang="0">
                <a:pos x="connsiteX6663" y="connsiteY6663"/>
              </a:cxn>
              <a:cxn ang="0">
                <a:pos x="connsiteX6664" y="connsiteY6664"/>
              </a:cxn>
              <a:cxn ang="0">
                <a:pos x="connsiteX6665" y="connsiteY6665"/>
              </a:cxn>
              <a:cxn ang="0">
                <a:pos x="connsiteX6666" y="connsiteY6666"/>
              </a:cxn>
              <a:cxn ang="0">
                <a:pos x="connsiteX6667" y="connsiteY6667"/>
              </a:cxn>
              <a:cxn ang="0">
                <a:pos x="connsiteX6668" y="connsiteY6668"/>
              </a:cxn>
              <a:cxn ang="0">
                <a:pos x="connsiteX6669" y="connsiteY6669"/>
              </a:cxn>
              <a:cxn ang="0">
                <a:pos x="connsiteX6670" y="connsiteY6670"/>
              </a:cxn>
              <a:cxn ang="0">
                <a:pos x="connsiteX6671" y="connsiteY6671"/>
              </a:cxn>
              <a:cxn ang="0">
                <a:pos x="connsiteX6672" y="connsiteY6672"/>
              </a:cxn>
              <a:cxn ang="0">
                <a:pos x="connsiteX6673" y="connsiteY6673"/>
              </a:cxn>
              <a:cxn ang="0">
                <a:pos x="connsiteX6674" y="connsiteY6674"/>
              </a:cxn>
              <a:cxn ang="0">
                <a:pos x="connsiteX6675" y="connsiteY6675"/>
              </a:cxn>
              <a:cxn ang="0">
                <a:pos x="connsiteX6676" y="connsiteY6676"/>
              </a:cxn>
              <a:cxn ang="0">
                <a:pos x="connsiteX6677" y="connsiteY6677"/>
              </a:cxn>
              <a:cxn ang="0">
                <a:pos x="connsiteX6678" y="connsiteY6678"/>
              </a:cxn>
              <a:cxn ang="0">
                <a:pos x="connsiteX6679" y="connsiteY6679"/>
              </a:cxn>
              <a:cxn ang="0">
                <a:pos x="connsiteX6680" y="connsiteY6680"/>
              </a:cxn>
              <a:cxn ang="0">
                <a:pos x="connsiteX6681" y="connsiteY6681"/>
              </a:cxn>
              <a:cxn ang="0">
                <a:pos x="connsiteX6682" y="connsiteY6682"/>
              </a:cxn>
              <a:cxn ang="0">
                <a:pos x="connsiteX6683" y="connsiteY6683"/>
              </a:cxn>
              <a:cxn ang="0">
                <a:pos x="connsiteX6684" y="connsiteY6684"/>
              </a:cxn>
              <a:cxn ang="0">
                <a:pos x="connsiteX6685" y="connsiteY6685"/>
              </a:cxn>
              <a:cxn ang="0">
                <a:pos x="connsiteX6686" y="connsiteY6686"/>
              </a:cxn>
              <a:cxn ang="0">
                <a:pos x="connsiteX6687" y="connsiteY6687"/>
              </a:cxn>
              <a:cxn ang="0">
                <a:pos x="connsiteX6688" y="connsiteY6688"/>
              </a:cxn>
              <a:cxn ang="0">
                <a:pos x="connsiteX6689" y="connsiteY6689"/>
              </a:cxn>
              <a:cxn ang="0">
                <a:pos x="connsiteX6690" y="connsiteY6690"/>
              </a:cxn>
              <a:cxn ang="0">
                <a:pos x="connsiteX6691" y="connsiteY6691"/>
              </a:cxn>
              <a:cxn ang="0">
                <a:pos x="connsiteX6692" y="connsiteY6692"/>
              </a:cxn>
              <a:cxn ang="0">
                <a:pos x="connsiteX6693" y="connsiteY6693"/>
              </a:cxn>
              <a:cxn ang="0">
                <a:pos x="connsiteX6694" y="connsiteY6694"/>
              </a:cxn>
              <a:cxn ang="0">
                <a:pos x="connsiteX6695" y="connsiteY6695"/>
              </a:cxn>
              <a:cxn ang="0">
                <a:pos x="connsiteX6696" y="connsiteY6696"/>
              </a:cxn>
              <a:cxn ang="0">
                <a:pos x="connsiteX6697" y="connsiteY6697"/>
              </a:cxn>
              <a:cxn ang="0">
                <a:pos x="connsiteX6698" y="connsiteY6698"/>
              </a:cxn>
              <a:cxn ang="0">
                <a:pos x="connsiteX6699" y="connsiteY6699"/>
              </a:cxn>
              <a:cxn ang="0">
                <a:pos x="connsiteX6700" y="connsiteY6700"/>
              </a:cxn>
              <a:cxn ang="0">
                <a:pos x="connsiteX6701" y="connsiteY6701"/>
              </a:cxn>
              <a:cxn ang="0">
                <a:pos x="connsiteX6702" y="connsiteY6702"/>
              </a:cxn>
              <a:cxn ang="0">
                <a:pos x="connsiteX6703" y="connsiteY6703"/>
              </a:cxn>
              <a:cxn ang="0">
                <a:pos x="connsiteX6704" y="connsiteY6704"/>
              </a:cxn>
              <a:cxn ang="0">
                <a:pos x="connsiteX6705" y="connsiteY6705"/>
              </a:cxn>
              <a:cxn ang="0">
                <a:pos x="connsiteX6706" y="connsiteY6706"/>
              </a:cxn>
              <a:cxn ang="0">
                <a:pos x="connsiteX6707" y="connsiteY6707"/>
              </a:cxn>
              <a:cxn ang="0">
                <a:pos x="connsiteX6708" y="connsiteY6708"/>
              </a:cxn>
              <a:cxn ang="0">
                <a:pos x="connsiteX6709" y="connsiteY6709"/>
              </a:cxn>
              <a:cxn ang="0">
                <a:pos x="connsiteX6710" y="connsiteY6710"/>
              </a:cxn>
              <a:cxn ang="0">
                <a:pos x="connsiteX6711" y="connsiteY6711"/>
              </a:cxn>
              <a:cxn ang="0">
                <a:pos x="connsiteX6712" y="connsiteY6712"/>
              </a:cxn>
              <a:cxn ang="0">
                <a:pos x="connsiteX6713" y="connsiteY6713"/>
              </a:cxn>
              <a:cxn ang="0">
                <a:pos x="connsiteX6714" y="connsiteY6714"/>
              </a:cxn>
              <a:cxn ang="0">
                <a:pos x="connsiteX6715" y="connsiteY6715"/>
              </a:cxn>
              <a:cxn ang="0">
                <a:pos x="connsiteX6716" y="connsiteY6716"/>
              </a:cxn>
              <a:cxn ang="0">
                <a:pos x="connsiteX6717" y="connsiteY6717"/>
              </a:cxn>
              <a:cxn ang="0">
                <a:pos x="connsiteX6718" y="connsiteY6718"/>
              </a:cxn>
              <a:cxn ang="0">
                <a:pos x="connsiteX6719" y="connsiteY6719"/>
              </a:cxn>
              <a:cxn ang="0">
                <a:pos x="connsiteX6720" y="connsiteY6720"/>
              </a:cxn>
              <a:cxn ang="0">
                <a:pos x="connsiteX6721" y="connsiteY6721"/>
              </a:cxn>
              <a:cxn ang="0">
                <a:pos x="connsiteX6722" y="connsiteY6722"/>
              </a:cxn>
              <a:cxn ang="0">
                <a:pos x="connsiteX6723" y="connsiteY6723"/>
              </a:cxn>
              <a:cxn ang="0">
                <a:pos x="connsiteX6724" y="connsiteY6724"/>
              </a:cxn>
              <a:cxn ang="0">
                <a:pos x="connsiteX6725" y="connsiteY6725"/>
              </a:cxn>
              <a:cxn ang="0">
                <a:pos x="connsiteX6726" y="connsiteY6726"/>
              </a:cxn>
              <a:cxn ang="0">
                <a:pos x="connsiteX6727" y="connsiteY6727"/>
              </a:cxn>
              <a:cxn ang="0">
                <a:pos x="connsiteX6728" y="connsiteY6728"/>
              </a:cxn>
              <a:cxn ang="0">
                <a:pos x="connsiteX6729" y="connsiteY6729"/>
              </a:cxn>
              <a:cxn ang="0">
                <a:pos x="connsiteX6730" y="connsiteY6730"/>
              </a:cxn>
              <a:cxn ang="0">
                <a:pos x="connsiteX6731" y="connsiteY6731"/>
              </a:cxn>
              <a:cxn ang="0">
                <a:pos x="connsiteX6732" y="connsiteY6732"/>
              </a:cxn>
              <a:cxn ang="0">
                <a:pos x="connsiteX6733" y="connsiteY6733"/>
              </a:cxn>
              <a:cxn ang="0">
                <a:pos x="connsiteX6734" y="connsiteY6734"/>
              </a:cxn>
              <a:cxn ang="0">
                <a:pos x="connsiteX6735" y="connsiteY6735"/>
              </a:cxn>
              <a:cxn ang="0">
                <a:pos x="connsiteX6736" y="connsiteY6736"/>
              </a:cxn>
              <a:cxn ang="0">
                <a:pos x="connsiteX6737" y="connsiteY6737"/>
              </a:cxn>
              <a:cxn ang="0">
                <a:pos x="connsiteX6738" y="connsiteY6738"/>
              </a:cxn>
              <a:cxn ang="0">
                <a:pos x="connsiteX6739" y="connsiteY6739"/>
              </a:cxn>
              <a:cxn ang="0">
                <a:pos x="connsiteX6740" y="connsiteY6740"/>
              </a:cxn>
              <a:cxn ang="0">
                <a:pos x="connsiteX6741" y="connsiteY6741"/>
              </a:cxn>
              <a:cxn ang="0">
                <a:pos x="connsiteX6742" y="connsiteY6742"/>
              </a:cxn>
              <a:cxn ang="0">
                <a:pos x="connsiteX6743" y="connsiteY6743"/>
              </a:cxn>
              <a:cxn ang="0">
                <a:pos x="connsiteX6744" y="connsiteY6744"/>
              </a:cxn>
              <a:cxn ang="0">
                <a:pos x="connsiteX6745" y="connsiteY6745"/>
              </a:cxn>
              <a:cxn ang="0">
                <a:pos x="connsiteX6746" y="connsiteY6746"/>
              </a:cxn>
              <a:cxn ang="0">
                <a:pos x="connsiteX6747" y="connsiteY6747"/>
              </a:cxn>
              <a:cxn ang="0">
                <a:pos x="connsiteX6748" y="connsiteY6748"/>
              </a:cxn>
              <a:cxn ang="0">
                <a:pos x="connsiteX6749" y="connsiteY6749"/>
              </a:cxn>
              <a:cxn ang="0">
                <a:pos x="connsiteX6750" y="connsiteY6750"/>
              </a:cxn>
              <a:cxn ang="0">
                <a:pos x="connsiteX6751" y="connsiteY6751"/>
              </a:cxn>
              <a:cxn ang="0">
                <a:pos x="connsiteX6752" y="connsiteY6752"/>
              </a:cxn>
              <a:cxn ang="0">
                <a:pos x="connsiteX6753" y="connsiteY6753"/>
              </a:cxn>
              <a:cxn ang="0">
                <a:pos x="connsiteX6754" y="connsiteY6754"/>
              </a:cxn>
              <a:cxn ang="0">
                <a:pos x="connsiteX6755" y="connsiteY6755"/>
              </a:cxn>
              <a:cxn ang="0">
                <a:pos x="connsiteX6756" y="connsiteY6756"/>
              </a:cxn>
              <a:cxn ang="0">
                <a:pos x="connsiteX6757" y="connsiteY6757"/>
              </a:cxn>
              <a:cxn ang="0">
                <a:pos x="connsiteX6758" y="connsiteY6758"/>
              </a:cxn>
              <a:cxn ang="0">
                <a:pos x="connsiteX6759" y="connsiteY6759"/>
              </a:cxn>
              <a:cxn ang="0">
                <a:pos x="connsiteX6760" y="connsiteY6760"/>
              </a:cxn>
              <a:cxn ang="0">
                <a:pos x="connsiteX6761" y="connsiteY6761"/>
              </a:cxn>
              <a:cxn ang="0">
                <a:pos x="connsiteX6762" y="connsiteY6762"/>
              </a:cxn>
              <a:cxn ang="0">
                <a:pos x="connsiteX6763" y="connsiteY6763"/>
              </a:cxn>
              <a:cxn ang="0">
                <a:pos x="connsiteX6764" y="connsiteY6764"/>
              </a:cxn>
              <a:cxn ang="0">
                <a:pos x="connsiteX6765" y="connsiteY6765"/>
              </a:cxn>
              <a:cxn ang="0">
                <a:pos x="connsiteX6766" y="connsiteY6766"/>
              </a:cxn>
              <a:cxn ang="0">
                <a:pos x="connsiteX6767" y="connsiteY6767"/>
              </a:cxn>
              <a:cxn ang="0">
                <a:pos x="connsiteX6768" y="connsiteY6768"/>
              </a:cxn>
              <a:cxn ang="0">
                <a:pos x="connsiteX6769" y="connsiteY6769"/>
              </a:cxn>
              <a:cxn ang="0">
                <a:pos x="connsiteX6770" y="connsiteY6770"/>
              </a:cxn>
              <a:cxn ang="0">
                <a:pos x="connsiteX6771" y="connsiteY6771"/>
              </a:cxn>
              <a:cxn ang="0">
                <a:pos x="connsiteX6772" y="connsiteY6772"/>
              </a:cxn>
              <a:cxn ang="0">
                <a:pos x="connsiteX6773" y="connsiteY6773"/>
              </a:cxn>
              <a:cxn ang="0">
                <a:pos x="connsiteX6774" y="connsiteY6774"/>
              </a:cxn>
              <a:cxn ang="0">
                <a:pos x="connsiteX6775" y="connsiteY6775"/>
              </a:cxn>
              <a:cxn ang="0">
                <a:pos x="connsiteX6776" y="connsiteY6776"/>
              </a:cxn>
              <a:cxn ang="0">
                <a:pos x="connsiteX6777" y="connsiteY6777"/>
              </a:cxn>
              <a:cxn ang="0">
                <a:pos x="connsiteX6778" y="connsiteY6778"/>
              </a:cxn>
              <a:cxn ang="0">
                <a:pos x="connsiteX6779" y="connsiteY6779"/>
              </a:cxn>
              <a:cxn ang="0">
                <a:pos x="connsiteX6780" y="connsiteY6780"/>
              </a:cxn>
              <a:cxn ang="0">
                <a:pos x="connsiteX6781" y="connsiteY6781"/>
              </a:cxn>
              <a:cxn ang="0">
                <a:pos x="connsiteX6782" y="connsiteY6782"/>
              </a:cxn>
              <a:cxn ang="0">
                <a:pos x="connsiteX6783" y="connsiteY6783"/>
              </a:cxn>
              <a:cxn ang="0">
                <a:pos x="connsiteX6784" y="connsiteY6784"/>
              </a:cxn>
              <a:cxn ang="0">
                <a:pos x="connsiteX6785" y="connsiteY6785"/>
              </a:cxn>
              <a:cxn ang="0">
                <a:pos x="connsiteX6786" y="connsiteY6786"/>
              </a:cxn>
              <a:cxn ang="0">
                <a:pos x="connsiteX6787" y="connsiteY6787"/>
              </a:cxn>
              <a:cxn ang="0">
                <a:pos x="connsiteX6788" y="connsiteY6788"/>
              </a:cxn>
              <a:cxn ang="0">
                <a:pos x="connsiteX6789" y="connsiteY6789"/>
              </a:cxn>
              <a:cxn ang="0">
                <a:pos x="connsiteX6790" y="connsiteY6790"/>
              </a:cxn>
              <a:cxn ang="0">
                <a:pos x="connsiteX6791" y="connsiteY6791"/>
              </a:cxn>
              <a:cxn ang="0">
                <a:pos x="connsiteX6792" y="connsiteY6792"/>
              </a:cxn>
              <a:cxn ang="0">
                <a:pos x="connsiteX6793" y="connsiteY6793"/>
              </a:cxn>
              <a:cxn ang="0">
                <a:pos x="connsiteX6794" y="connsiteY6794"/>
              </a:cxn>
              <a:cxn ang="0">
                <a:pos x="connsiteX6795" y="connsiteY6795"/>
              </a:cxn>
              <a:cxn ang="0">
                <a:pos x="connsiteX6796" y="connsiteY6796"/>
              </a:cxn>
              <a:cxn ang="0">
                <a:pos x="connsiteX6797" y="connsiteY6797"/>
              </a:cxn>
              <a:cxn ang="0">
                <a:pos x="connsiteX6798" y="connsiteY6798"/>
              </a:cxn>
              <a:cxn ang="0">
                <a:pos x="connsiteX6799" y="connsiteY6799"/>
              </a:cxn>
              <a:cxn ang="0">
                <a:pos x="connsiteX6800" y="connsiteY6800"/>
              </a:cxn>
              <a:cxn ang="0">
                <a:pos x="connsiteX6801" y="connsiteY6801"/>
              </a:cxn>
              <a:cxn ang="0">
                <a:pos x="connsiteX6802" y="connsiteY6802"/>
              </a:cxn>
              <a:cxn ang="0">
                <a:pos x="connsiteX6803" y="connsiteY6803"/>
              </a:cxn>
              <a:cxn ang="0">
                <a:pos x="connsiteX6804" y="connsiteY6804"/>
              </a:cxn>
              <a:cxn ang="0">
                <a:pos x="connsiteX6805" y="connsiteY6805"/>
              </a:cxn>
              <a:cxn ang="0">
                <a:pos x="connsiteX6806" y="connsiteY6806"/>
              </a:cxn>
              <a:cxn ang="0">
                <a:pos x="connsiteX6807" y="connsiteY6807"/>
              </a:cxn>
              <a:cxn ang="0">
                <a:pos x="connsiteX6808" y="connsiteY6808"/>
              </a:cxn>
              <a:cxn ang="0">
                <a:pos x="connsiteX6809" y="connsiteY6809"/>
              </a:cxn>
              <a:cxn ang="0">
                <a:pos x="connsiteX6810" y="connsiteY6810"/>
              </a:cxn>
              <a:cxn ang="0">
                <a:pos x="connsiteX6811" y="connsiteY6811"/>
              </a:cxn>
              <a:cxn ang="0">
                <a:pos x="connsiteX6812" y="connsiteY6812"/>
              </a:cxn>
              <a:cxn ang="0">
                <a:pos x="connsiteX6813" y="connsiteY6813"/>
              </a:cxn>
              <a:cxn ang="0">
                <a:pos x="connsiteX6814" y="connsiteY6814"/>
              </a:cxn>
              <a:cxn ang="0">
                <a:pos x="connsiteX6815" y="connsiteY6815"/>
              </a:cxn>
              <a:cxn ang="0">
                <a:pos x="connsiteX6816" y="connsiteY6816"/>
              </a:cxn>
              <a:cxn ang="0">
                <a:pos x="connsiteX6817" y="connsiteY6817"/>
              </a:cxn>
              <a:cxn ang="0">
                <a:pos x="connsiteX6818" y="connsiteY6818"/>
              </a:cxn>
              <a:cxn ang="0">
                <a:pos x="connsiteX6819" y="connsiteY6819"/>
              </a:cxn>
              <a:cxn ang="0">
                <a:pos x="connsiteX6820" y="connsiteY6820"/>
              </a:cxn>
              <a:cxn ang="0">
                <a:pos x="connsiteX6821" y="connsiteY6821"/>
              </a:cxn>
              <a:cxn ang="0">
                <a:pos x="connsiteX6822" y="connsiteY6822"/>
              </a:cxn>
              <a:cxn ang="0">
                <a:pos x="connsiteX6823" y="connsiteY6823"/>
              </a:cxn>
              <a:cxn ang="0">
                <a:pos x="connsiteX6824" y="connsiteY6824"/>
              </a:cxn>
              <a:cxn ang="0">
                <a:pos x="connsiteX6825" y="connsiteY6825"/>
              </a:cxn>
              <a:cxn ang="0">
                <a:pos x="connsiteX6826" y="connsiteY6826"/>
              </a:cxn>
              <a:cxn ang="0">
                <a:pos x="connsiteX6827" y="connsiteY6827"/>
              </a:cxn>
              <a:cxn ang="0">
                <a:pos x="connsiteX6828" y="connsiteY6828"/>
              </a:cxn>
              <a:cxn ang="0">
                <a:pos x="connsiteX6829" y="connsiteY6829"/>
              </a:cxn>
              <a:cxn ang="0">
                <a:pos x="connsiteX6830" y="connsiteY6830"/>
              </a:cxn>
              <a:cxn ang="0">
                <a:pos x="connsiteX6831" y="connsiteY6831"/>
              </a:cxn>
              <a:cxn ang="0">
                <a:pos x="connsiteX6832" y="connsiteY6832"/>
              </a:cxn>
              <a:cxn ang="0">
                <a:pos x="connsiteX6833" y="connsiteY6833"/>
              </a:cxn>
              <a:cxn ang="0">
                <a:pos x="connsiteX6834" y="connsiteY6834"/>
              </a:cxn>
              <a:cxn ang="0">
                <a:pos x="connsiteX6835" y="connsiteY6835"/>
              </a:cxn>
              <a:cxn ang="0">
                <a:pos x="connsiteX6836" y="connsiteY6836"/>
              </a:cxn>
              <a:cxn ang="0">
                <a:pos x="connsiteX6837" y="connsiteY6837"/>
              </a:cxn>
              <a:cxn ang="0">
                <a:pos x="connsiteX6838" y="connsiteY6838"/>
              </a:cxn>
              <a:cxn ang="0">
                <a:pos x="connsiteX6839" y="connsiteY6839"/>
              </a:cxn>
              <a:cxn ang="0">
                <a:pos x="connsiteX6840" y="connsiteY6840"/>
              </a:cxn>
              <a:cxn ang="0">
                <a:pos x="connsiteX6841" y="connsiteY6841"/>
              </a:cxn>
              <a:cxn ang="0">
                <a:pos x="connsiteX6842" y="connsiteY6842"/>
              </a:cxn>
              <a:cxn ang="0">
                <a:pos x="connsiteX6843" y="connsiteY6843"/>
              </a:cxn>
              <a:cxn ang="0">
                <a:pos x="connsiteX6844" y="connsiteY6844"/>
              </a:cxn>
              <a:cxn ang="0">
                <a:pos x="connsiteX6845" y="connsiteY6845"/>
              </a:cxn>
              <a:cxn ang="0">
                <a:pos x="connsiteX6846" y="connsiteY6846"/>
              </a:cxn>
              <a:cxn ang="0">
                <a:pos x="connsiteX6847" y="connsiteY6847"/>
              </a:cxn>
              <a:cxn ang="0">
                <a:pos x="connsiteX6848" y="connsiteY6848"/>
              </a:cxn>
              <a:cxn ang="0">
                <a:pos x="connsiteX6849" y="connsiteY6849"/>
              </a:cxn>
              <a:cxn ang="0">
                <a:pos x="connsiteX6850" y="connsiteY6850"/>
              </a:cxn>
              <a:cxn ang="0">
                <a:pos x="connsiteX6851" y="connsiteY6851"/>
              </a:cxn>
              <a:cxn ang="0">
                <a:pos x="connsiteX6852" y="connsiteY6852"/>
              </a:cxn>
              <a:cxn ang="0">
                <a:pos x="connsiteX6853" y="connsiteY6853"/>
              </a:cxn>
              <a:cxn ang="0">
                <a:pos x="connsiteX6854" y="connsiteY6854"/>
              </a:cxn>
              <a:cxn ang="0">
                <a:pos x="connsiteX6855" y="connsiteY6855"/>
              </a:cxn>
              <a:cxn ang="0">
                <a:pos x="connsiteX6856" y="connsiteY6856"/>
              </a:cxn>
              <a:cxn ang="0">
                <a:pos x="connsiteX6857" y="connsiteY6857"/>
              </a:cxn>
              <a:cxn ang="0">
                <a:pos x="connsiteX6858" y="connsiteY6858"/>
              </a:cxn>
              <a:cxn ang="0">
                <a:pos x="connsiteX6859" y="connsiteY6859"/>
              </a:cxn>
              <a:cxn ang="0">
                <a:pos x="connsiteX6860" y="connsiteY6860"/>
              </a:cxn>
              <a:cxn ang="0">
                <a:pos x="connsiteX6861" y="connsiteY6861"/>
              </a:cxn>
              <a:cxn ang="0">
                <a:pos x="connsiteX6862" y="connsiteY6862"/>
              </a:cxn>
              <a:cxn ang="0">
                <a:pos x="connsiteX6863" y="connsiteY6863"/>
              </a:cxn>
              <a:cxn ang="0">
                <a:pos x="connsiteX6864" y="connsiteY6864"/>
              </a:cxn>
              <a:cxn ang="0">
                <a:pos x="connsiteX6865" y="connsiteY6865"/>
              </a:cxn>
              <a:cxn ang="0">
                <a:pos x="connsiteX6866" y="connsiteY6866"/>
              </a:cxn>
              <a:cxn ang="0">
                <a:pos x="connsiteX6867" y="connsiteY6867"/>
              </a:cxn>
              <a:cxn ang="0">
                <a:pos x="connsiteX6868" y="connsiteY6868"/>
              </a:cxn>
              <a:cxn ang="0">
                <a:pos x="connsiteX6869" y="connsiteY6869"/>
              </a:cxn>
              <a:cxn ang="0">
                <a:pos x="connsiteX6870" y="connsiteY6870"/>
              </a:cxn>
              <a:cxn ang="0">
                <a:pos x="connsiteX6871" y="connsiteY6871"/>
              </a:cxn>
              <a:cxn ang="0">
                <a:pos x="connsiteX6872" y="connsiteY6872"/>
              </a:cxn>
              <a:cxn ang="0">
                <a:pos x="connsiteX6873" y="connsiteY6873"/>
              </a:cxn>
              <a:cxn ang="0">
                <a:pos x="connsiteX6874" y="connsiteY6874"/>
              </a:cxn>
              <a:cxn ang="0">
                <a:pos x="connsiteX6875" y="connsiteY6875"/>
              </a:cxn>
              <a:cxn ang="0">
                <a:pos x="connsiteX6876" y="connsiteY6876"/>
              </a:cxn>
              <a:cxn ang="0">
                <a:pos x="connsiteX6877" y="connsiteY6877"/>
              </a:cxn>
              <a:cxn ang="0">
                <a:pos x="connsiteX6878" y="connsiteY6878"/>
              </a:cxn>
              <a:cxn ang="0">
                <a:pos x="connsiteX6879" y="connsiteY6879"/>
              </a:cxn>
              <a:cxn ang="0">
                <a:pos x="connsiteX6880" y="connsiteY6880"/>
              </a:cxn>
              <a:cxn ang="0">
                <a:pos x="connsiteX6881" y="connsiteY6881"/>
              </a:cxn>
              <a:cxn ang="0">
                <a:pos x="connsiteX6882" y="connsiteY6882"/>
              </a:cxn>
              <a:cxn ang="0">
                <a:pos x="connsiteX6883" y="connsiteY6883"/>
              </a:cxn>
              <a:cxn ang="0">
                <a:pos x="connsiteX6884" y="connsiteY6884"/>
              </a:cxn>
              <a:cxn ang="0">
                <a:pos x="connsiteX6885" y="connsiteY6885"/>
              </a:cxn>
              <a:cxn ang="0">
                <a:pos x="connsiteX6886" y="connsiteY6886"/>
              </a:cxn>
              <a:cxn ang="0">
                <a:pos x="connsiteX6887" y="connsiteY6887"/>
              </a:cxn>
              <a:cxn ang="0">
                <a:pos x="connsiteX6888" y="connsiteY6888"/>
              </a:cxn>
              <a:cxn ang="0">
                <a:pos x="connsiteX6889" y="connsiteY6889"/>
              </a:cxn>
              <a:cxn ang="0">
                <a:pos x="connsiteX6890" y="connsiteY6890"/>
              </a:cxn>
              <a:cxn ang="0">
                <a:pos x="connsiteX6891" y="connsiteY6891"/>
              </a:cxn>
              <a:cxn ang="0">
                <a:pos x="connsiteX6892" y="connsiteY6892"/>
              </a:cxn>
              <a:cxn ang="0">
                <a:pos x="connsiteX6893" y="connsiteY6893"/>
              </a:cxn>
              <a:cxn ang="0">
                <a:pos x="connsiteX6894" y="connsiteY6894"/>
              </a:cxn>
              <a:cxn ang="0">
                <a:pos x="connsiteX6895" y="connsiteY6895"/>
              </a:cxn>
              <a:cxn ang="0">
                <a:pos x="connsiteX6896" y="connsiteY6896"/>
              </a:cxn>
              <a:cxn ang="0">
                <a:pos x="connsiteX6897" y="connsiteY6897"/>
              </a:cxn>
              <a:cxn ang="0">
                <a:pos x="connsiteX6898" y="connsiteY6898"/>
              </a:cxn>
              <a:cxn ang="0">
                <a:pos x="connsiteX6899" y="connsiteY6899"/>
              </a:cxn>
              <a:cxn ang="0">
                <a:pos x="connsiteX6900" y="connsiteY6900"/>
              </a:cxn>
              <a:cxn ang="0">
                <a:pos x="connsiteX6901" y="connsiteY6901"/>
              </a:cxn>
              <a:cxn ang="0">
                <a:pos x="connsiteX6902" y="connsiteY6902"/>
              </a:cxn>
              <a:cxn ang="0">
                <a:pos x="connsiteX6903" y="connsiteY6903"/>
              </a:cxn>
              <a:cxn ang="0">
                <a:pos x="connsiteX6904" y="connsiteY6904"/>
              </a:cxn>
              <a:cxn ang="0">
                <a:pos x="connsiteX6905" y="connsiteY6905"/>
              </a:cxn>
              <a:cxn ang="0">
                <a:pos x="connsiteX6906" y="connsiteY6906"/>
              </a:cxn>
              <a:cxn ang="0">
                <a:pos x="connsiteX6907" y="connsiteY6907"/>
              </a:cxn>
              <a:cxn ang="0">
                <a:pos x="connsiteX6908" y="connsiteY6908"/>
              </a:cxn>
              <a:cxn ang="0">
                <a:pos x="connsiteX6909" y="connsiteY6909"/>
              </a:cxn>
              <a:cxn ang="0">
                <a:pos x="connsiteX6910" y="connsiteY6910"/>
              </a:cxn>
              <a:cxn ang="0">
                <a:pos x="connsiteX6911" y="connsiteY6911"/>
              </a:cxn>
              <a:cxn ang="0">
                <a:pos x="connsiteX6912" y="connsiteY6912"/>
              </a:cxn>
              <a:cxn ang="0">
                <a:pos x="connsiteX6913" y="connsiteY6913"/>
              </a:cxn>
              <a:cxn ang="0">
                <a:pos x="connsiteX6914" y="connsiteY6914"/>
              </a:cxn>
              <a:cxn ang="0">
                <a:pos x="connsiteX6915" y="connsiteY6915"/>
              </a:cxn>
              <a:cxn ang="0">
                <a:pos x="connsiteX6916" y="connsiteY6916"/>
              </a:cxn>
              <a:cxn ang="0">
                <a:pos x="connsiteX6917" y="connsiteY6917"/>
              </a:cxn>
              <a:cxn ang="0">
                <a:pos x="connsiteX6918" y="connsiteY6918"/>
              </a:cxn>
              <a:cxn ang="0">
                <a:pos x="connsiteX6919" y="connsiteY6919"/>
              </a:cxn>
              <a:cxn ang="0">
                <a:pos x="connsiteX6920" y="connsiteY6920"/>
              </a:cxn>
              <a:cxn ang="0">
                <a:pos x="connsiteX6921" y="connsiteY6921"/>
              </a:cxn>
              <a:cxn ang="0">
                <a:pos x="connsiteX6922" y="connsiteY6922"/>
              </a:cxn>
              <a:cxn ang="0">
                <a:pos x="connsiteX6923" y="connsiteY6923"/>
              </a:cxn>
              <a:cxn ang="0">
                <a:pos x="connsiteX6924" y="connsiteY6924"/>
              </a:cxn>
              <a:cxn ang="0">
                <a:pos x="connsiteX6925" y="connsiteY6925"/>
              </a:cxn>
              <a:cxn ang="0">
                <a:pos x="connsiteX6926" y="connsiteY6926"/>
              </a:cxn>
              <a:cxn ang="0">
                <a:pos x="connsiteX6927" y="connsiteY6927"/>
              </a:cxn>
              <a:cxn ang="0">
                <a:pos x="connsiteX6928" y="connsiteY6928"/>
              </a:cxn>
              <a:cxn ang="0">
                <a:pos x="connsiteX6929" y="connsiteY6929"/>
              </a:cxn>
              <a:cxn ang="0">
                <a:pos x="connsiteX6930" y="connsiteY6930"/>
              </a:cxn>
              <a:cxn ang="0">
                <a:pos x="connsiteX6931" y="connsiteY6931"/>
              </a:cxn>
              <a:cxn ang="0">
                <a:pos x="connsiteX6932" y="connsiteY6932"/>
              </a:cxn>
              <a:cxn ang="0">
                <a:pos x="connsiteX6933" y="connsiteY6933"/>
              </a:cxn>
              <a:cxn ang="0">
                <a:pos x="connsiteX6934" y="connsiteY6934"/>
              </a:cxn>
              <a:cxn ang="0">
                <a:pos x="connsiteX6935" y="connsiteY6935"/>
              </a:cxn>
              <a:cxn ang="0">
                <a:pos x="connsiteX6936" y="connsiteY6936"/>
              </a:cxn>
              <a:cxn ang="0">
                <a:pos x="connsiteX6937" y="connsiteY6937"/>
              </a:cxn>
              <a:cxn ang="0">
                <a:pos x="connsiteX6938" y="connsiteY6938"/>
              </a:cxn>
              <a:cxn ang="0">
                <a:pos x="connsiteX6939" y="connsiteY6939"/>
              </a:cxn>
              <a:cxn ang="0">
                <a:pos x="connsiteX6940" y="connsiteY6940"/>
              </a:cxn>
              <a:cxn ang="0">
                <a:pos x="connsiteX6941" y="connsiteY6941"/>
              </a:cxn>
              <a:cxn ang="0">
                <a:pos x="connsiteX6942" y="connsiteY6942"/>
              </a:cxn>
              <a:cxn ang="0">
                <a:pos x="connsiteX6943" y="connsiteY6943"/>
              </a:cxn>
              <a:cxn ang="0">
                <a:pos x="connsiteX6944" y="connsiteY6944"/>
              </a:cxn>
              <a:cxn ang="0">
                <a:pos x="connsiteX6945" y="connsiteY6945"/>
              </a:cxn>
              <a:cxn ang="0">
                <a:pos x="connsiteX6946" y="connsiteY6946"/>
              </a:cxn>
              <a:cxn ang="0">
                <a:pos x="connsiteX6947" y="connsiteY6947"/>
              </a:cxn>
              <a:cxn ang="0">
                <a:pos x="connsiteX6948" y="connsiteY6948"/>
              </a:cxn>
              <a:cxn ang="0">
                <a:pos x="connsiteX6949" y="connsiteY6949"/>
              </a:cxn>
              <a:cxn ang="0">
                <a:pos x="connsiteX6950" y="connsiteY6950"/>
              </a:cxn>
              <a:cxn ang="0">
                <a:pos x="connsiteX6951" y="connsiteY6951"/>
              </a:cxn>
              <a:cxn ang="0">
                <a:pos x="connsiteX6952" y="connsiteY6952"/>
              </a:cxn>
              <a:cxn ang="0">
                <a:pos x="connsiteX6953" y="connsiteY6953"/>
              </a:cxn>
              <a:cxn ang="0">
                <a:pos x="connsiteX6954" y="connsiteY6954"/>
              </a:cxn>
              <a:cxn ang="0">
                <a:pos x="connsiteX6955" y="connsiteY6955"/>
              </a:cxn>
              <a:cxn ang="0">
                <a:pos x="connsiteX6956" y="connsiteY6956"/>
              </a:cxn>
              <a:cxn ang="0">
                <a:pos x="connsiteX6957" y="connsiteY6957"/>
              </a:cxn>
              <a:cxn ang="0">
                <a:pos x="connsiteX6958" y="connsiteY6958"/>
              </a:cxn>
              <a:cxn ang="0">
                <a:pos x="connsiteX6959" y="connsiteY6959"/>
              </a:cxn>
              <a:cxn ang="0">
                <a:pos x="connsiteX6960" y="connsiteY6960"/>
              </a:cxn>
              <a:cxn ang="0">
                <a:pos x="connsiteX6961" y="connsiteY6961"/>
              </a:cxn>
              <a:cxn ang="0">
                <a:pos x="connsiteX6962" y="connsiteY6962"/>
              </a:cxn>
              <a:cxn ang="0">
                <a:pos x="connsiteX6963" y="connsiteY6963"/>
              </a:cxn>
              <a:cxn ang="0">
                <a:pos x="connsiteX6964" y="connsiteY6964"/>
              </a:cxn>
              <a:cxn ang="0">
                <a:pos x="connsiteX6965" y="connsiteY6965"/>
              </a:cxn>
              <a:cxn ang="0">
                <a:pos x="connsiteX6966" y="connsiteY6966"/>
              </a:cxn>
              <a:cxn ang="0">
                <a:pos x="connsiteX6967" y="connsiteY6967"/>
              </a:cxn>
              <a:cxn ang="0">
                <a:pos x="connsiteX6968" y="connsiteY6968"/>
              </a:cxn>
              <a:cxn ang="0">
                <a:pos x="connsiteX6969" y="connsiteY6969"/>
              </a:cxn>
              <a:cxn ang="0">
                <a:pos x="connsiteX6970" y="connsiteY6970"/>
              </a:cxn>
              <a:cxn ang="0">
                <a:pos x="connsiteX6971" y="connsiteY6971"/>
              </a:cxn>
              <a:cxn ang="0">
                <a:pos x="connsiteX6972" y="connsiteY6972"/>
              </a:cxn>
              <a:cxn ang="0">
                <a:pos x="connsiteX6973" y="connsiteY6973"/>
              </a:cxn>
              <a:cxn ang="0">
                <a:pos x="connsiteX6974" y="connsiteY6974"/>
              </a:cxn>
              <a:cxn ang="0">
                <a:pos x="connsiteX6975" y="connsiteY6975"/>
              </a:cxn>
              <a:cxn ang="0">
                <a:pos x="connsiteX6976" y="connsiteY6976"/>
              </a:cxn>
              <a:cxn ang="0">
                <a:pos x="connsiteX6977" y="connsiteY6977"/>
              </a:cxn>
              <a:cxn ang="0">
                <a:pos x="connsiteX6978" y="connsiteY6978"/>
              </a:cxn>
              <a:cxn ang="0">
                <a:pos x="connsiteX6979" y="connsiteY6979"/>
              </a:cxn>
              <a:cxn ang="0">
                <a:pos x="connsiteX6980" y="connsiteY6980"/>
              </a:cxn>
              <a:cxn ang="0">
                <a:pos x="connsiteX6981" y="connsiteY6981"/>
              </a:cxn>
              <a:cxn ang="0">
                <a:pos x="connsiteX6982" y="connsiteY6982"/>
              </a:cxn>
              <a:cxn ang="0">
                <a:pos x="connsiteX6983" y="connsiteY6983"/>
              </a:cxn>
              <a:cxn ang="0">
                <a:pos x="connsiteX6984" y="connsiteY6984"/>
              </a:cxn>
              <a:cxn ang="0">
                <a:pos x="connsiteX6985" y="connsiteY6985"/>
              </a:cxn>
              <a:cxn ang="0">
                <a:pos x="connsiteX6986" y="connsiteY6986"/>
              </a:cxn>
              <a:cxn ang="0">
                <a:pos x="connsiteX6987" y="connsiteY6987"/>
              </a:cxn>
              <a:cxn ang="0">
                <a:pos x="connsiteX6988" y="connsiteY6988"/>
              </a:cxn>
              <a:cxn ang="0">
                <a:pos x="connsiteX6989" y="connsiteY6989"/>
              </a:cxn>
              <a:cxn ang="0">
                <a:pos x="connsiteX6990" y="connsiteY6990"/>
              </a:cxn>
              <a:cxn ang="0">
                <a:pos x="connsiteX6991" y="connsiteY6991"/>
              </a:cxn>
              <a:cxn ang="0">
                <a:pos x="connsiteX6992" y="connsiteY6992"/>
              </a:cxn>
              <a:cxn ang="0">
                <a:pos x="connsiteX6993" y="connsiteY6993"/>
              </a:cxn>
              <a:cxn ang="0">
                <a:pos x="connsiteX6994" y="connsiteY6994"/>
              </a:cxn>
              <a:cxn ang="0">
                <a:pos x="connsiteX6995" y="connsiteY6995"/>
              </a:cxn>
              <a:cxn ang="0">
                <a:pos x="connsiteX6996" y="connsiteY6996"/>
              </a:cxn>
              <a:cxn ang="0">
                <a:pos x="connsiteX6997" y="connsiteY6997"/>
              </a:cxn>
              <a:cxn ang="0">
                <a:pos x="connsiteX6998" y="connsiteY6998"/>
              </a:cxn>
              <a:cxn ang="0">
                <a:pos x="connsiteX6999" y="connsiteY6999"/>
              </a:cxn>
              <a:cxn ang="0">
                <a:pos x="connsiteX7000" y="connsiteY7000"/>
              </a:cxn>
              <a:cxn ang="0">
                <a:pos x="connsiteX7001" y="connsiteY7001"/>
              </a:cxn>
              <a:cxn ang="0">
                <a:pos x="connsiteX7002" y="connsiteY7002"/>
              </a:cxn>
              <a:cxn ang="0">
                <a:pos x="connsiteX7003" y="connsiteY7003"/>
              </a:cxn>
              <a:cxn ang="0">
                <a:pos x="connsiteX7004" y="connsiteY7004"/>
              </a:cxn>
              <a:cxn ang="0">
                <a:pos x="connsiteX7005" y="connsiteY7005"/>
              </a:cxn>
              <a:cxn ang="0">
                <a:pos x="connsiteX7006" y="connsiteY7006"/>
              </a:cxn>
              <a:cxn ang="0">
                <a:pos x="connsiteX7007" y="connsiteY7007"/>
              </a:cxn>
              <a:cxn ang="0">
                <a:pos x="connsiteX7008" y="connsiteY7008"/>
              </a:cxn>
              <a:cxn ang="0">
                <a:pos x="connsiteX7009" y="connsiteY7009"/>
              </a:cxn>
              <a:cxn ang="0">
                <a:pos x="connsiteX7010" y="connsiteY7010"/>
              </a:cxn>
              <a:cxn ang="0">
                <a:pos x="connsiteX7011" y="connsiteY7011"/>
              </a:cxn>
              <a:cxn ang="0">
                <a:pos x="connsiteX7012" y="connsiteY7012"/>
              </a:cxn>
              <a:cxn ang="0">
                <a:pos x="connsiteX7013" y="connsiteY7013"/>
              </a:cxn>
              <a:cxn ang="0">
                <a:pos x="connsiteX7014" y="connsiteY7014"/>
              </a:cxn>
              <a:cxn ang="0">
                <a:pos x="connsiteX7015" y="connsiteY7015"/>
              </a:cxn>
              <a:cxn ang="0">
                <a:pos x="connsiteX7016" y="connsiteY7016"/>
              </a:cxn>
              <a:cxn ang="0">
                <a:pos x="connsiteX7017" y="connsiteY7017"/>
              </a:cxn>
              <a:cxn ang="0">
                <a:pos x="connsiteX7018" y="connsiteY7018"/>
              </a:cxn>
              <a:cxn ang="0">
                <a:pos x="connsiteX7019" y="connsiteY7019"/>
              </a:cxn>
              <a:cxn ang="0">
                <a:pos x="connsiteX7020" y="connsiteY7020"/>
              </a:cxn>
              <a:cxn ang="0">
                <a:pos x="connsiteX7021" y="connsiteY7021"/>
              </a:cxn>
              <a:cxn ang="0">
                <a:pos x="connsiteX7022" y="connsiteY7022"/>
              </a:cxn>
              <a:cxn ang="0">
                <a:pos x="connsiteX7023" y="connsiteY7023"/>
              </a:cxn>
              <a:cxn ang="0">
                <a:pos x="connsiteX7024" y="connsiteY7024"/>
              </a:cxn>
              <a:cxn ang="0">
                <a:pos x="connsiteX7025" y="connsiteY7025"/>
              </a:cxn>
              <a:cxn ang="0">
                <a:pos x="connsiteX7026" y="connsiteY7026"/>
              </a:cxn>
              <a:cxn ang="0">
                <a:pos x="connsiteX7027" y="connsiteY7027"/>
              </a:cxn>
              <a:cxn ang="0">
                <a:pos x="connsiteX7028" y="connsiteY7028"/>
              </a:cxn>
              <a:cxn ang="0">
                <a:pos x="connsiteX7029" y="connsiteY7029"/>
              </a:cxn>
              <a:cxn ang="0">
                <a:pos x="connsiteX7030" y="connsiteY7030"/>
              </a:cxn>
              <a:cxn ang="0">
                <a:pos x="connsiteX7031" y="connsiteY7031"/>
              </a:cxn>
              <a:cxn ang="0">
                <a:pos x="connsiteX7032" y="connsiteY7032"/>
              </a:cxn>
              <a:cxn ang="0">
                <a:pos x="connsiteX7033" y="connsiteY7033"/>
              </a:cxn>
              <a:cxn ang="0">
                <a:pos x="connsiteX7034" y="connsiteY7034"/>
              </a:cxn>
              <a:cxn ang="0">
                <a:pos x="connsiteX7035" y="connsiteY7035"/>
              </a:cxn>
              <a:cxn ang="0">
                <a:pos x="connsiteX7036" y="connsiteY7036"/>
              </a:cxn>
              <a:cxn ang="0">
                <a:pos x="connsiteX7037" y="connsiteY7037"/>
              </a:cxn>
              <a:cxn ang="0">
                <a:pos x="connsiteX7038" y="connsiteY7038"/>
              </a:cxn>
              <a:cxn ang="0">
                <a:pos x="connsiteX7039" y="connsiteY7039"/>
              </a:cxn>
              <a:cxn ang="0">
                <a:pos x="connsiteX7040" y="connsiteY7040"/>
              </a:cxn>
              <a:cxn ang="0">
                <a:pos x="connsiteX7041" y="connsiteY7041"/>
              </a:cxn>
              <a:cxn ang="0">
                <a:pos x="connsiteX7042" y="connsiteY7042"/>
              </a:cxn>
              <a:cxn ang="0">
                <a:pos x="connsiteX7043" y="connsiteY7043"/>
              </a:cxn>
              <a:cxn ang="0">
                <a:pos x="connsiteX7044" y="connsiteY7044"/>
              </a:cxn>
              <a:cxn ang="0">
                <a:pos x="connsiteX7045" y="connsiteY7045"/>
              </a:cxn>
              <a:cxn ang="0">
                <a:pos x="connsiteX7046" y="connsiteY7046"/>
              </a:cxn>
              <a:cxn ang="0">
                <a:pos x="connsiteX7047" y="connsiteY7047"/>
              </a:cxn>
              <a:cxn ang="0">
                <a:pos x="connsiteX7048" y="connsiteY7048"/>
              </a:cxn>
              <a:cxn ang="0">
                <a:pos x="connsiteX7049" y="connsiteY7049"/>
              </a:cxn>
              <a:cxn ang="0">
                <a:pos x="connsiteX7050" y="connsiteY7050"/>
              </a:cxn>
              <a:cxn ang="0">
                <a:pos x="connsiteX7051" y="connsiteY7051"/>
              </a:cxn>
              <a:cxn ang="0">
                <a:pos x="connsiteX7052" y="connsiteY7052"/>
              </a:cxn>
              <a:cxn ang="0">
                <a:pos x="connsiteX7053" y="connsiteY7053"/>
              </a:cxn>
              <a:cxn ang="0">
                <a:pos x="connsiteX7054" y="connsiteY7054"/>
              </a:cxn>
              <a:cxn ang="0">
                <a:pos x="connsiteX7055" y="connsiteY7055"/>
              </a:cxn>
              <a:cxn ang="0">
                <a:pos x="connsiteX7056" y="connsiteY7056"/>
              </a:cxn>
              <a:cxn ang="0">
                <a:pos x="connsiteX7057" y="connsiteY7057"/>
              </a:cxn>
              <a:cxn ang="0">
                <a:pos x="connsiteX7058" y="connsiteY7058"/>
              </a:cxn>
              <a:cxn ang="0">
                <a:pos x="connsiteX7059" y="connsiteY7059"/>
              </a:cxn>
              <a:cxn ang="0">
                <a:pos x="connsiteX7060" y="connsiteY7060"/>
              </a:cxn>
              <a:cxn ang="0">
                <a:pos x="connsiteX7061" y="connsiteY7061"/>
              </a:cxn>
              <a:cxn ang="0">
                <a:pos x="connsiteX7062" y="connsiteY7062"/>
              </a:cxn>
              <a:cxn ang="0">
                <a:pos x="connsiteX7063" y="connsiteY7063"/>
              </a:cxn>
              <a:cxn ang="0">
                <a:pos x="connsiteX7064" y="connsiteY7064"/>
              </a:cxn>
              <a:cxn ang="0">
                <a:pos x="connsiteX7065" y="connsiteY7065"/>
              </a:cxn>
              <a:cxn ang="0">
                <a:pos x="connsiteX7066" y="connsiteY7066"/>
              </a:cxn>
              <a:cxn ang="0">
                <a:pos x="connsiteX7067" y="connsiteY7067"/>
              </a:cxn>
              <a:cxn ang="0">
                <a:pos x="connsiteX7068" y="connsiteY7068"/>
              </a:cxn>
              <a:cxn ang="0">
                <a:pos x="connsiteX7069" y="connsiteY7069"/>
              </a:cxn>
              <a:cxn ang="0">
                <a:pos x="connsiteX7070" y="connsiteY7070"/>
              </a:cxn>
              <a:cxn ang="0">
                <a:pos x="connsiteX7071" y="connsiteY7071"/>
              </a:cxn>
              <a:cxn ang="0">
                <a:pos x="connsiteX7072" y="connsiteY7072"/>
              </a:cxn>
              <a:cxn ang="0">
                <a:pos x="connsiteX7073" y="connsiteY7073"/>
              </a:cxn>
              <a:cxn ang="0">
                <a:pos x="connsiteX7074" y="connsiteY7074"/>
              </a:cxn>
              <a:cxn ang="0">
                <a:pos x="connsiteX7075" y="connsiteY7075"/>
              </a:cxn>
              <a:cxn ang="0">
                <a:pos x="connsiteX7076" y="connsiteY7076"/>
              </a:cxn>
              <a:cxn ang="0">
                <a:pos x="connsiteX7077" y="connsiteY7077"/>
              </a:cxn>
              <a:cxn ang="0">
                <a:pos x="connsiteX7078" y="connsiteY7078"/>
              </a:cxn>
              <a:cxn ang="0">
                <a:pos x="connsiteX7079" y="connsiteY7079"/>
              </a:cxn>
              <a:cxn ang="0">
                <a:pos x="connsiteX7080" y="connsiteY7080"/>
              </a:cxn>
              <a:cxn ang="0">
                <a:pos x="connsiteX7081" y="connsiteY7081"/>
              </a:cxn>
              <a:cxn ang="0">
                <a:pos x="connsiteX7082" y="connsiteY7082"/>
              </a:cxn>
              <a:cxn ang="0">
                <a:pos x="connsiteX7083" y="connsiteY7083"/>
              </a:cxn>
              <a:cxn ang="0">
                <a:pos x="connsiteX7084" y="connsiteY7084"/>
              </a:cxn>
              <a:cxn ang="0">
                <a:pos x="connsiteX7085" y="connsiteY7085"/>
              </a:cxn>
              <a:cxn ang="0">
                <a:pos x="connsiteX7086" y="connsiteY7086"/>
              </a:cxn>
              <a:cxn ang="0">
                <a:pos x="connsiteX7087" y="connsiteY7087"/>
              </a:cxn>
              <a:cxn ang="0">
                <a:pos x="connsiteX7088" y="connsiteY7088"/>
              </a:cxn>
              <a:cxn ang="0">
                <a:pos x="connsiteX7089" y="connsiteY7089"/>
              </a:cxn>
              <a:cxn ang="0">
                <a:pos x="connsiteX7090" y="connsiteY7090"/>
              </a:cxn>
              <a:cxn ang="0">
                <a:pos x="connsiteX7091" y="connsiteY7091"/>
              </a:cxn>
              <a:cxn ang="0">
                <a:pos x="connsiteX7092" y="connsiteY7092"/>
              </a:cxn>
              <a:cxn ang="0">
                <a:pos x="connsiteX7093" y="connsiteY7093"/>
              </a:cxn>
              <a:cxn ang="0">
                <a:pos x="connsiteX7094" y="connsiteY7094"/>
              </a:cxn>
              <a:cxn ang="0">
                <a:pos x="connsiteX7095" y="connsiteY7095"/>
              </a:cxn>
              <a:cxn ang="0">
                <a:pos x="connsiteX7096" y="connsiteY7096"/>
              </a:cxn>
              <a:cxn ang="0">
                <a:pos x="connsiteX7097" y="connsiteY7097"/>
              </a:cxn>
              <a:cxn ang="0">
                <a:pos x="connsiteX7098" y="connsiteY7098"/>
              </a:cxn>
              <a:cxn ang="0">
                <a:pos x="connsiteX7099" y="connsiteY7099"/>
              </a:cxn>
              <a:cxn ang="0">
                <a:pos x="connsiteX7100" y="connsiteY7100"/>
              </a:cxn>
              <a:cxn ang="0">
                <a:pos x="connsiteX7101" y="connsiteY7101"/>
              </a:cxn>
              <a:cxn ang="0">
                <a:pos x="connsiteX7102" y="connsiteY7102"/>
              </a:cxn>
              <a:cxn ang="0">
                <a:pos x="connsiteX7103" y="connsiteY7103"/>
              </a:cxn>
              <a:cxn ang="0">
                <a:pos x="connsiteX7104" y="connsiteY7104"/>
              </a:cxn>
              <a:cxn ang="0">
                <a:pos x="connsiteX7105" y="connsiteY7105"/>
              </a:cxn>
              <a:cxn ang="0">
                <a:pos x="connsiteX7106" y="connsiteY7106"/>
              </a:cxn>
              <a:cxn ang="0">
                <a:pos x="connsiteX7107" y="connsiteY7107"/>
              </a:cxn>
              <a:cxn ang="0">
                <a:pos x="connsiteX7108" y="connsiteY7108"/>
              </a:cxn>
              <a:cxn ang="0">
                <a:pos x="connsiteX7109" y="connsiteY7109"/>
              </a:cxn>
              <a:cxn ang="0">
                <a:pos x="connsiteX7110" y="connsiteY7110"/>
              </a:cxn>
              <a:cxn ang="0">
                <a:pos x="connsiteX7111" y="connsiteY7111"/>
              </a:cxn>
              <a:cxn ang="0">
                <a:pos x="connsiteX7112" y="connsiteY7112"/>
              </a:cxn>
              <a:cxn ang="0">
                <a:pos x="connsiteX7113" y="connsiteY7113"/>
              </a:cxn>
              <a:cxn ang="0">
                <a:pos x="connsiteX7114" y="connsiteY7114"/>
              </a:cxn>
              <a:cxn ang="0">
                <a:pos x="connsiteX7115" y="connsiteY7115"/>
              </a:cxn>
              <a:cxn ang="0">
                <a:pos x="connsiteX7116" y="connsiteY7116"/>
              </a:cxn>
              <a:cxn ang="0">
                <a:pos x="connsiteX7117" y="connsiteY7117"/>
              </a:cxn>
              <a:cxn ang="0">
                <a:pos x="connsiteX7118" y="connsiteY7118"/>
              </a:cxn>
              <a:cxn ang="0">
                <a:pos x="connsiteX7119" y="connsiteY7119"/>
              </a:cxn>
              <a:cxn ang="0">
                <a:pos x="connsiteX7120" y="connsiteY7120"/>
              </a:cxn>
              <a:cxn ang="0">
                <a:pos x="connsiteX7121" y="connsiteY7121"/>
              </a:cxn>
              <a:cxn ang="0">
                <a:pos x="connsiteX7122" y="connsiteY7122"/>
              </a:cxn>
              <a:cxn ang="0">
                <a:pos x="connsiteX7123" y="connsiteY7123"/>
              </a:cxn>
              <a:cxn ang="0">
                <a:pos x="connsiteX7124" y="connsiteY7124"/>
              </a:cxn>
              <a:cxn ang="0">
                <a:pos x="connsiteX7125" y="connsiteY7125"/>
              </a:cxn>
              <a:cxn ang="0">
                <a:pos x="connsiteX7126" y="connsiteY7126"/>
              </a:cxn>
              <a:cxn ang="0">
                <a:pos x="connsiteX7127" y="connsiteY7127"/>
              </a:cxn>
              <a:cxn ang="0">
                <a:pos x="connsiteX7128" y="connsiteY7128"/>
              </a:cxn>
              <a:cxn ang="0">
                <a:pos x="connsiteX7129" y="connsiteY7129"/>
              </a:cxn>
              <a:cxn ang="0">
                <a:pos x="connsiteX7130" y="connsiteY7130"/>
              </a:cxn>
              <a:cxn ang="0">
                <a:pos x="connsiteX7131" y="connsiteY7131"/>
              </a:cxn>
              <a:cxn ang="0">
                <a:pos x="connsiteX7132" y="connsiteY7132"/>
              </a:cxn>
              <a:cxn ang="0">
                <a:pos x="connsiteX7133" y="connsiteY7133"/>
              </a:cxn>
              <a:cxn ang="0">
                <a:pos x="connsiteX7134" y="connsiteY7134"/>
              </a:cxn>
              <a:cxn ang="0">
                <a:pos x="connsiteX7135" y="connsiteY7135"/>
              </a:cxn>
              <a:cxn ang="0">
                <a:pos x="connsiteX7136" y="connsiteY7136"/>
              </a:cxn>
              <a:cxn ang="0">
                <a:pos x="connsiteX7137" y="connsiteY7137"/>
              </a:cxn>
              <a:cxn ang="0">
                <a:pos x="connsiteX7138" y="connsiteY7138"/>
              </a:cxn>
              <a:cxn ang="0">
                <a:pos x="connsiteX7139" y="connsiteY7139"/>
              </a:cxn>
              <a:cxn ang="0">
                <a:pos x="connsiteX7140" y="connsiteY7140"/>
              </a:cxn>
              <a:cxn ang="0">
                <a:pos x="connsiteX7141" y="connsiteY7141"/>
              </a:cxn>
              <a:cxn ang="0">
                <a:pos x="connsiteX7142" y="connsiteY7142"/>
              </a:cxn>
              <a:cxn ang="0">
                <a:pos x="connsiteX7143" y="connsiteY7143"/>
              </a:cxn>
              <a:cxn ang="0">
                <a:pos x="connsiteX7144" y="connsiteY7144"/>
              </a:cxn>
              <a:cxn ang="0">
                <a:pos x="connsiteX7145" y="connsiteY7145"/>
              </a:cxn>
              <a:cxn ang="0">
                <a:pos x="connsiteX7146" y="connsiteY7146"/>
              </a:cxn>
              <a:cxn ang="0">
                <a:pos x="connsiteX7147" y="connsiteY7147"/>
              </a:cxn>
              <a:cxn ang="0">
                <a:pos x="connsiteX7148" y="connsiteY7148"/>
              </a:cxn>
              <a:cxn ang="0">
                <a:pos x="connsiteX7149" y="connsiteY7149"/>
              </a:cxn>
              <a:cxn ang="0">
                <a:pos x="connsiteX7150" y="connsiteY7150"/>
              </a:cxn>
              <a:cxn ang="0">
                <a:pos x="connsiteX7151" y="connsiteY7151"/>
              </a:cxn>
              <a:cxn ang="0">
                <a:pos x="connsiteX7152" y="connsiteY7152"/>
              </a:cxn>
              <a:cxn ang="0">
                <a:pos x="connsiteX7153" y="connsiteY7153"/>
              </a:cxn>
              <a:cxn ang="0">
                <a:pos x="connsiteX7154" y="connsiteY7154"/>
              </a:cxn>
              <a:cxn ang="0">
                <a:pos x="connsiteX7155" y="connsiteY7155"/>
              </a:cxn>
              <a:cxn ang="0">
                <a:pos x="connsiteX7156" y="connsiteY7156"/>
              </a:cxn>
              <a:cxn ang="0">
                <a:pos x="connsiteX7157" y="connsiteY7157"/>
              </a:cxn>
              <a:cxn ang="0">
                <a:pos x="connsiteX7158" y="connsiteY7158"/>
              </a:cxn>
              <a:cxn ang="0">
                <a:pos x="connsiteX7159" y="connsiteY7159"/>
              </a:cxn>
              <a:cxn ang="0">
                <a:pos x="connsiteX7160" y="connsiteY7160"/>
              </a:cxn>
              <a:cxn ang="0">
                <a:pos x="connsiteX7161" y="connsiteY7161"/>
              </a:cxn>
              <a:cxn ang="0">
                <a:pos x="connsiteX7162" y="connsiteY7162"/>
              </a:cxn>
              <a:cxn ang="0">
                <a:pos x="connsiteX7163" y="connsiteY7163"/>
              </a:cxn>
              <a:cxn ang="0">
                <a:pos x="connsiteX7164" y="connsiteY7164"/>
              </a:cxn>
              <a:cxn ang="0">
                <a:pos x="connsiteX7165" y="connsiteY7165"/>
              </a:cxn>
              <a:cxn ang="0">
                <a:pos x="connsiteX7166" y="connsiteY7166"/>
              </a:cxn>
              <a:cxn ang="0">
                <a:pos x="connsiteX7167" y="connsiteY7167"/>
              </a:cxn>
              <a:cxn ang="0">
                <a:pos x="connsiteX7168" y="connsiteY7168"/>
              </a:cxn>
              <a:cxn ang="0">
                <a:pos x="connsiteX7169" y="connsiteY7169"/>
              </a:cxn>
              <a:cxn ang="0">
                <a:pos x="connsiteX7170" y="connsiteY7170"/>
              </a:cxn>
              <a:cxn ang="0">
                <a:pos x="connsiteX7171" y="connsiteY7171"/>
              </a:cxn>
              <a:cxn ang="0">
                <a:pos x="connsiteX7172" y="connsiteY7172"/>
              </a:cxn>
              <a:cxn ang="0">
                <a:pos x="connsiteX7173" y="connsiteY7173"/>
              </a:cxn>
              <a:cxn ang="0">
                <a:pos x="connsiteX7174" y="connsiteY7174"/>
              </a:cxn>
              <a:cxn ang="0">
                <a:pos x="connsiteX7175" y="connsiteY7175"/>
              </a:cxn>
              <a:cxn ang="0">
                <a:pos x="connsiteX7176" y="connsiteY7176"/>
              </a:cxn>
              <a:cxn ang="0">
                <a:pos x="connsiteX7177" y="connsiteY7177"/>
              </a:cxn>
              <a:cxn ang="0">
                <a:pos x="connsiteX7178" y="connsiteY7178"/>
              </a:cxn>
              <a:cxn ang="0">
                <a:pos x="connsiteX7179" y="connsiteY7179"/>
              </a:cxn>
              <a:cxn ang="0">
                <a:pos x="connsiteX7180" y="connsiteY7180"/>
              </a:cxn>
              <a:cxn ang="0">
                <a:pos x="connsiteX7181" y="connsiteY7181"/>
              </a:cxn>
              <a:cxn ang="0">
                <a:pos x="connsiteX7182" y="connsiteY7182"/>
              </a:cxn>
              <a:cxn ang="0">
                <a:pos x="connsiteX7183" y="connsiteY7183"/>
              </a:cxn>
              <a:cxn ang="0">
                <a:pos x="connsiteX7184" y="connsiteY7184"/>
              </a:cxn>
              <a:cxn ang="0">
                <a:pos x="connsiteX7185" y="connsiteY7185"/>
              </a:cxn>
              <a:cxn ang="0">
                <a:pos x="connsiteX7186" y="connsiteY7186"/>
              </a:cxn>
              <a:cxn ang="0">
                <a:pos x="connsiteX7187" y="connsiteY7187"/>
              </a:cxn>
              <a:cxn ang="0">
                <a:pos x="connsiteX7188" y="connsiteY7188"/>
              </a:cxn>
              <a:cxn ang="0">
                <a:pos x="connsiteX7189" y="connsiteY7189"/>
              </a:cxn>
              <a:cxn ang="0">
                <a:pos x="connsiteX7190" y="connsiteY7190"/>
              </a:cxn>
              <a:cxn ang="0">
                <a:pos x="connsiteX7191" y="connsiteY7191"/>
              </a:cxn>
              <a:cxn ang="0">
                <a:pos x="connsiteX7192" y="connsiteY7192"/>
              </a:cxn>
              <a:cxn ang="0">
                <a:pos x="connsiteX7193" y="connsiteY7193"/>
              </a:cxn>
              <a:cxn ang="0">
                <a:pos x="connsiteX7194" y="connsiteY7194"/>
              </a:cxn>
              <a:cxn ang="0">
                <a:pos x="connsiteX7195" y="connsiteY7195"/>
              </a:cxn>
              <a:cxn ang="0">
                <a:pos x="connsiteX7196" y="connsiteY7196"/>
              </a:cxn>
              <a:cxn ang="0">
                <a:pos x="connsiteX7197" y="connsiteY7197"/>
              </a:cxn>
              <a:cxn ang="0">
                <a:pos x="connsiteX7198" y="connsiteY7198"/>
              </a:cxn>
              <a:cxn ang="0">
                <a:pos x="connsiteX7199" y="connsiteY7199"/>
              </a:cxn>
              <a:cxn ang="0">
                <a:pos x="connsiteX7200" y="connsiteY7200"/>
              </a:cxn>
              <a:cxn ang="0">
                <a:pos x="connsiteX7201" y="connsiteY7201"/>
              </a:cxn>
              <a:cxn ang="0">
                <a:pos x="connsiteX7202" y="connsiteY7202"/>
              </a:cxn>
              <a:cxn ang="0">
                <a:pos x="connsiteX7203" y="connsiteY7203"/>
              </a:cxn>
              <a:cxn ang="0">
                <a:pos x="connsiteX7204" y="connsiteY7204"/>
              </a:cxn>
              <a:cxn ang="0">
                <a:pos x="connsiteX7205" y="connsiteY7205"/>
              </a:cxn>
              <a:cxn ang="0">
                <a:pos x="connsiteX7206" y="connsiteY7206"/>
              </a:cxn>
              <a:cxn ang="0">
                <a:pos x="connsiteX7207" y="connsiteY7207"/>
              </a:cxn>
              <a:cxn ang="0">
                <a:pos x="connsiteX7208" y="connsiteY7208"/>
              </a:cxn>
              <a:cxn ang="0">
                <a:pos x="connsiteX7209" y="connsiteY7209"/>
              </a:cxn>
              <a:cxn ang="0">
                <a:pos x="connsiteX7210" y="connsiteY7210"/>
              </a:cxn>
              <a:cxn ang="0">
                <a:pos x="connsiteX7211" y="connsiteY7211"/>
              </a:cxn>
              <a:cxn ang="0">
                <a:pos x="connsiteX7212" y="connsiteY7212"/>
              </a:cxn>
              <a:cxn ang="0">
                <a:pos x="connsiteX7213" y="connsiteY7213"/>
              </a:cxn>
              <a:cxn ang="0">
                <a:pos x="connsiteX7214" y="connsiteY7214"/>
              </a:cxn>
              <a:cxn ang="0">
                <a:pos x="connsiteX7215" y="connsiteY7215"/>
              </a:cxn>
              <a:cxn ang="0">
                <a:pos x="connsiteX7216" y="connsiteY7216"/>
              </a:cxn>
              <a:cxn ang="0">
                <a:pos x="connsiteX7217" y="connsiteY7217"/>
              </a:cxn>
              <a:cxn ang="0">
                <a:pos x="connsiteX7218" y="connsiteY7218"/>
              </a:cxn>
              <a:cxn ang="0">
                <a:pos x="connsiteX7219" y="connsiteY7219"/>
              </a:cxn>
              <a:cxn ang="0">
                <a:pos x="connsiteX7220" y="connsiteY7220"/>
              </a:cxn>
              <a:cxn ang="0">
                <a:pos x="connsiteX7221" y="connsiteY7221"/>
              </a:cxn>
              <a:cxn ang="0">
                <a:pos x="connsiteX7222" y="connsiteY7222"/>
              </a:cxn>
              <a:cxn ang="0">
                <a:pos x="connsiteX7223" y="connsiteY7223"/>
              </a:cxn>
              <a:cxn ang="0">
                <a:pos x="connsiteX7224" y="connsiteY7224"/>
              </a:cxn>
              <a:cxn ang="0">
                <a:pos x="connsiteX7225" y="connsiteY7225"/>
              </a:cxn>
              <a:cxn ang="0">
                <a:pos x="connsiteX7226" y="connsiteY7226"/>
              </a:cxn>
              <a:cxn ang="0">
                <a:pos x="connsiteX7227" y="connsiteY7227"/>
              </a:cxn>
              <a:cxn ang="0">
                <a:pos x="connsiteX7228" y="connsiteY7228"/>
              </a:cxn>
              <a:cxn ang="0">
                <a:pos x="connsiteX7229" y="connsiteY7229"/>
              </a:cxn>
              <a:cxn ang="0">
                <a:pos x="connsiteX7230" y="connsiteY7230"/>
              </a:cxn>
              <a:cxn ang="0">
                <a:pos x="connsiteX7231" y="connsiteY7231"/>
              </a:cxn>
              <a:cxn ang="0">
                <a:pos x="connsiteX7232" y="connsiteY7232"/>
              </a:cxn>
              <a:cxn ang="0">
                <a:pos x="connsiteX7233" y="connsiteY7233"/>
              </a:cxn>
              <a:cxn ang="0">
                <a:pos x="connsiteX7234" y="connsiteY7234"/>
              </a:cxn>
              <a:cxn ang="0">
                <a:pos x="connsiteX7235" y="connsiteY7235"/>
              </a:cxn>
              <a:cxn ang="0">
                <a:pos x="connsiteX7236" y="connsiteY7236"/>
              </a:cxn>
              <a:cxn ang="0">
                <a:pos x="connsiteX7237" y="connsiteY7237"/>
              </a:cxn>
              <a:cxn ang="0">
                <a:pos x="connsiteX7238" y="connsiteY7238"/>
              </a:cxn>
              <a:cxn ang="0">
                <a:pos x="connsiteX7239" y="connsiteY7239"/>
              </a:cxn>
              <a:cxn ang="0">
                <a:pos x="connsiteX7240" y="connsiteY7240"/>
              </a:cxn>
              <a:cxn ang="0">
                <a:pos x="connsiteX7241" y="connsiteY7241"/>
              </a:cxn>
              <a:cxn ang="0">
                <a:pos x="connsiteX7242" y="connsiteY7242"/>
              </a:cxn>
              <a:cxn ang="0">
                <a:pos x="connsiteX7243" y="connsiteY7243"/>
              </a:cxn>
              <a:cxn ang="0">
                <a:pos x="connsiteX7244" y="connsiteY7244"/>
              </a:cxn>
              <a:cxn ang="0">
                <a:pos x="connsiteX7245" y="connsiteY7245"/>
              </a:cxn>
              <a:cxn ang="0">
                <a:pos x="connsiteX7246" y="connsiteY7246"/>
              </a:cxn>
              <a:cxn ang="0">
                <a:pos x="connsiteX7247" y="connsiteY7247"/>
              </a:cxn>
              <a:cxn ang="0">
                <a:pos x="connsiteX7248" y="connsiteY7248"/>
              </a:cxn>
              <a:cxn ang="0">
                <a:pos x="connsiteX7249" y="connsiteY7249"/>
              </a:cxn>
              <a:cxn ang="0">
                <a:pos x="connsiteX7250" y="connsiteY7250"/>
              </a:cxn>
              <a:cxn ang="0">
                <a:pos x="connsiteX7251" y="connsiteY7251"/>
              </a:cxn>
              <a:cxn ang="0">
                <a:pos x="connsiteX7252" y="connsiteY7252"/>
              </a:cxn>
              <a:cxn ang="0">
                <a:pos x="connsiteX7253" y="connsiteY7253"/>
              </a:cxn>
              <a:cxn ang="0">
                <a:pos x="connsiteX7254" y="connsiteY7254"/>
              </a:cxn>
              <a:cxn ang="0">
                <a:pos x="connsiteX7255" y="connsiteY7255"/>
              </a:cxn>
              <a:cxn ang="0">
                <a:pos x="connsiteX7256" y="connsiteY7256"/>
              </a:cxn>
              <a:cxn ang="0">
                <a:pos x="connsiteX7257" y="connsiteY7257"/>
              </a:cxn>
              <a:cxn ang="0">
                <a:pos x="connsiteX7258" y="connsiteY7258"/>
              </a:cxn>
              <a:cxn ang="0">
                <a:pos x="connsiteX7259" y="connsiteY7259"/>
              </a:cxn>
              <a:cxn ang="0">
                <a:pos x="connsiteX7260" y="connsiteY7260"/>
              </a:cxn>
              <a:cxn ang="0">
                <a:pos x="connsiteX7261" y="connsiteY7261"/>
              </a:cxn>
              <a:cxn ang="0">
                <a:pos x="connsiteX7262" y="connsiteY7262"/>
              </a:cxn>
              <a:cxn ang="0">
                <a:pos x="connsiteX7263" y="connsiteY7263"/>
              </a:cxn>
              <a:cxn ang="0">
                <a:pos x="connsiteX7264" y="connsiteY7264"/>
              </a:cxn>
              <a:cxn ang="0">
                <a:pos x="connsiteX7265" y="connsiteY7265"/>
              </a:cxn>
              <a:cxn ang="0">
                <a:pos x="connsiteX7266" y="connsiteY7266"/>
              </a:cxn>
              <a:cxn ang="0">
                <a:pos x="connsiteX7267" y="connsiteY7267"/>
              </a:cxn>
              <a:cxn ang="0">
                <a:pos x="connsiteX7268" y="connsiteY7268"/>
              </a:cxn>
              <a:cxn ang="0">
                <a:pos x="connsiteX7269" y="connsiteY7269"/>
              </a:cxn>
              <a:cxn ang="0">
                <a:pos x="connsiteX7270" y="connsiteY7270"/>
              </a:cxn>
              <a:cxn ang="0">
                <a:pos x="connsiteX7271" y="connsiteY7271"/>
              </a:cxn>
              <a:cxn ang="0">
                <a:pos x="connsiteX7272" y="connsiteY7272"/>
              </a:cxn>
              <a:cxn ang="0">
                <a:pos x="connsiteX7273" y="connsiteY7273"/>
              </a:cxn>
              <a:cxn ang="0">
                <a:pos x="connsiteX7274" y="connsiteY7274"/>
              </a:cxn>
              <a:cxn ang="0">
                <a:pos x="connsiteX7275" y="connsiteY7275"/>
              </a:cxn>
              <a:cxn ang="0">
                <a:pos x="connsiteX7276" y="connsiteY7276"/>
              </a:cxn>
              <a:cxn ang="0">
                <a:pos x="connsiteX7277" y="connsiteY7277"/>
              </a:cxn>
              <a:cxn ang="0">
                <a:pos x="connsiteX7278" y="connsiteY7278"/>
              </a:cxn>
              <a:cxn ang="0">
                <a:pos x="connsiteX7279" y="connsiteY7279"/>
              </a:cxn>
              <a:cxn ang="0">
                <a:pos x="connsiteX7280" y="connsiteY7280"/>
              </a:cxn>
              <a:cxn ang="0">
                <a:pos x="connsiteX7281" y="connsiteY7281"/>
              </a:cxn>
              <a:cxn ang="0">
                <a:pos x="connsiteX7282" y="connsiteY7282"/>
              </a:cxn>
              <a:cxn ang="0">
                <a:pos x="connsiteX7283" y="connsiteY7283"/>
              </a:cxn>
              <a:cxn ang="0">
                <a:pos x="connsiteX7284" y="connsiteY7284"/>
              </a:cxn>
              <a:cxn ang="0">
                <a:pos x="connsiteX7285" y="connsiteY7285"/>
              </a:cxn>
              <a:cxn ang="0">
                <a:pos x="connsiteX7286" y="connsiteY7286"/>
              </a:cxn>
              <a:cxn ang="0">
                <a:pos x="connsiteX7287" y="connsiteY7287"/>
              </a:cxn>
              <a:cxn ang="0">
                <a:pos x="connsiteX7288" y="connsiteY7288"/>
              </a:cxn>
              <a:cxn ang="0">
                <a:pos x="connsiteX7289" y="connsiteY7289"/>
              </a:cxn>
              <a:cxn ang="0">
                <a:pos x="connsiteX7290" y="connsiteY7290"/>
              </a:cxn>
              <a:cxn ang="0">
                <a:pos x="connsiteX7291" y="connsiteY7291"/>
              </a:cxn>
              <a:cxn ang="0">
                <a:pos x="connsiteX7292" y="connsiteY7292"/>
              </a:cxn>
              <a:cxn ang="0">
                <a:pos x="connsiteX7293" y="connsiteY7293"/>
              </a:cxn>
              <a:cxn ang="0">
                <a:pos x="connsiteX7294" y="connsiteY7294"/>
              </a:cxn>
              <a:cxn ang="0">
                <a:pos x="connsiteX7295" y="connsiteY7295"/>
              </a:cxn>
              <a:cxn ang="0">
                <a:pos x="connsiteX7296" y="connsiteY7296"/>
              </a:cxn>
              <a:cxn ang="0">
                <a:pos x="connsiteX7297" y="connsiteY7297"/>
              </a:cxn>
              <a:cxn ang="0">
                <a:pos x="connsiteX7298" y="connsiteY7298"/>
              </a:cxn>
              <a:cxn ang="0">
                <a:pos x="connsiteX7299" y="connsiteY7299"/>
              </a:cxn>
              <a:cxn ang="0">
                <a:pos x="connsiteX7300" y="connsiteY7300"/>
              </a:cxn>
              <a:cxn ang="0">
                <a:pos x="connsiteX7301" y="connsiteY7301"/>
              </a:cxn>
              <a:cxn ang="0">
                <a:pos x="connsiteX7302" y="connsiteY7302"/>
              </a:cxn>
              <a:cxn ang="0">
                <a:pos x="connsiteX7303" y="connsiteY7303"/>
              </a:cxn>
              <a:cxn ang="0">
                <a:pos x="connsiteX7304" y="connsiteY7304"/>
              </a:cxn>
              <a:cxn ang="0">
                <a:pos x="connsiteX7305" y="connsiteY7305"/>
              </a:cxn>
              <a:cxn ang="0">
                <a:pos x="connsiteX7306" y="connsiteY7306"/>
              </a:cxn>
              <a:cxn ang="0">
                <a:pos x="connsiteX7307" y="connsiteY7307"/>
              </a:cxn>
              <a:cxn ang="0">
                <a:pos x="connsiteX7308" y="connsiteY7308"/>
              </a:cxn>
              <a:cxn ang="0">
                <a:pos x="connsiteX7309" y="connsiteY7309"/>
              </a:cxn>
              <a:cxn ang="0">
                <a:pos x="connsiteX7310" y="connsiteY7310"/>
              </a:cxn>
              <a:cxn ang="0">
                <a:pos x="connsiteX7311" y="connsiteY7311"/>
              </a:cxn>
              <a:cxn ang="0">
                <a:pos x="connsiteX7312" y="connsiteY7312"/>
              </a:cxn>
              <a:cxn ang="0">
                <a:pos x="connsiteX7313" y="connsiteY7313"/>
              </a:cxn>
              <a:cxn ang="0">
                <a:pos x="connsiteX7314" y="connsiteY7314"/>
              </a:cxn>
              <a:cxn ang="0">
                <a:pos x="connsiteX7315" y="connsiteY7315"/>
              </a:cxn>
              <a:cxn ang="0">
                <a:pos x="connsiteX7316" y="connsiteY7316"/>
              </a:cxn>
              <a:cxn ang="0">
                <a:pos x="connsiteX7317" y="connsiteY7317"/>
              </a:cxn>
              <a:cxn ang="0">
                <a:pos x="connsiteX7318" y="connsiteY7318"/>
              </a:cxn>
              <a:cxn ang="0">
                <a:pos x="connsiteX7319" y="connsiteY7319"/>
              </a:cxn>
              <a:cxn ang="0">
                <a:pos x="connsiteX7320" y="connsiteY7320"/>
              </a:cxn>
              <a:cxn ang="0">
                <a:pos x="connsiteX7321" y="connsiteY7321"/>
              </a:cxn>
              <a:cxn ang="0">
                <a:pos x="connsiteX7322" y="connsiteY7322"/>
              </a:cxn>
              <a:cxn ang="0">
                <a:pos x="connsiteX7323" y="connsiteY7323"/>
              </a:cxn>
              <a:cxn ang="0">
                <a:pos x="connsiteX7324" y="connsiteY7324"/>
              </a:cxn>
              <a:cxn ang="0">
                <a:pos x="connsiteX7325" y="connsiteY7325"/>
              </a:cxn>
              <a:cxn ang="0">
                <a:pos x="connsiteX7326" y="connsiteY7326"/>
              </a:cxn>
              <a:cxn ang="0">
                <a:pos x="connsiteX7327" y="connsiteY7327"/>
              </a:cxn>
              <a:cxn ang="0">
                <a:pos x="connsiteX7328" y="connsiteY7328"/>
              </a:cxn>
              <a:cxn ang="0">
                <a:pos x="connsiteX7329" y="connsiteY7329"/>
              </a:cxn>
              <a:cxn ang="0">
                <a:pos x="connsiteX7330" y="connsiteY7330"/>
              </a:cxn>
              <a:cxn ang="0">
                <a:pos x="connsiteX7331" y="connsiteY7331"/>
              </a:cxn>
              <a:cxn ang="0">
                <a:pos x="connsiteX7332" y="connsiteY7332"/>
              </a:cxn>
              <a:cxn ang="0">
                <a:pos x="connsiteX7333" y="connsiteY7333"/>
              </a:cxn>
              <a:cxn ang="0">
                <a:pos x="connsiteX7334" y="connsiteY7334"/>
              </a:cxn>
              <a:cxn ang="0">
                <a:pos x="connsiteX7335" y="connsiteY7335"/>
              </a:cxn>
              <a:cxn ang="0">
                <a:pos x="connsiteX7336" y="connsiteY7336"/>
              </a:cxn>
              <a:cxn ang="0">
                <a:pos x="connsiteX7337" y="connsiteY7337"/>
              </a:cxn>
              <a:cxn ang="0">
                <a:pos x="connsiteX7338" y="connsiteY7338"/>
              </a:cxn>
              <a:cxn ang="0">
                <a:pos x="connsiteX7339" y="connsiteY7339"/>
              </a:cxn>
              <a:cxn ang="0">
                <a:pos x="connsiteX7340" y="connsiteY7340"/>
              </a:cxn>
              <a:cxn ang="0">
                <a:pos x="connsiteX7341" y="connsiteY7341"/>
              </a:cxn>
              <a:cxn ang="0">
                <a:pos x="connsiteX7342" y="connsiteY7342"/>
              </a:cxn>
              <a:cxn ang="0">
                <a:pos x="connsiteX7343" y="connsiteY7343"/>
              </a:cxn>
              <a:cxn ang="0">
                <a:pos x="connsiteX7344" y="connsiteY7344"/>
              </a:cxn>
              <a:cxn ang="0">
                <a:pos x="connsiteX7345" y="connsiteY7345"/>
              </a:cxn>
              <a:cxn ang="0">
                <a:pos x="connsiteX7346" y="connsiteY7346"/>
              </a:cxn>
              <a:cxn ang="0">
                <a:pos x="connsiteX7347" y="connsiteY7347"/>
              </a:cxn>
              <a:cxn ang="0">
                <a:pos x="connsiteX7348" y="connsiteY7348"/>
              </a:cxn>
              <a:cxn ang="0">
                <a:pos x="connsiteX7349" y="connsiteY7349"/>
              </a:cxn>
              <a:cxn ang="0">
                <a:pos x="connsiteX7350" y="connsiteY7350"/>
              </a:cxn>
              <a:cxn ang="0">
                <a:pos x="connsiteX7351" y="connsiteY7351"/>
              </a:cxn>
              <a:cxn ang="0">
                <a:pos x="connsiteX7352" y="connsiteY7352"/>
              </a:cxn>
              <a:cxn ang="0">
                <a:pos x="connsiteX7353" y="connsiteY7353"/>
              </a:cxn>
              <a:cxn ang="0">
                <a:pos x="connsiteX7354" y="connsiteY7354"/>
              </a:cxn>
              <a:cxn ang="0">
                <a:pos x="connsiteX7355" y="connsiteY7355"/>
              </a:cxn>
              <a:cxn ang="0">
                <a:pos x="connsiteX7356" y="connsiteY7356"/>
              </a:cxn>
              <a:cxn ang="0">
                <a:pos x="connsiteX7357" y="connsiteY7357"/>
              </a:cxn>
              <a:cxn ang="0">
                <a:pos x="connsiteX7358" y="connsiteY7358"/>
              </a:cxn>
              <a:cxn ang="0">
                <a:pos x="connsiteX7359" y="connsiteY7359"/>
              </a:cxn>
              <a:cxn ang="0">
                <a:pos x="connsiteX7360" y="connsiteY7360"/>
              </a:cxn>
              <a:cxn ang="0">
                <a:pos x="connsiteX7361" y="connsiteY7361"/>
              </a:cxn>
              <a:cxn ang="0">
                <a:pos x="connsiteX7362" y="connsiteY7362"/>
              </a:cxn>
              <a:cxn ang="0">
                <a:pos x="connsiteX7363" y="connsiteY7363"/>
              </a:cxn>
              <a:cxn ang="0">
                <a:pos x="connsiteX7364" y="connsiteY7364"/>
              </a:cxn>
              <a:cxn ang="0">
                <a:pos x="connsiteX7365" y="connsiteY7365"/>
              </a:cxn>
              <a:cxn ang="0">
                <a:pos x="connsiteX7366" y="connsiteY7366"/>
              </a:cxn>
              <a:cxn ang="0">
                <a:pos x="connsiteX7367" y="connsiteY7367"/>
              </a:cxn>
              <a:cxn ang="0">
                <a:pos x="connsiteX7368" y="connsiteY7368"/>
              </a:cxn>
              <a:cxn ang="0">
                <a:pos x="connsiteX7369" y="connsiteY7369"/>
              </a:cxn>
              <a:cxn ang="0">
                <a:pos x="connsiteX7370" y="connsiteY7370"/>
              </a:cxn>
              <a:cxn ang="0">
                <a:pos x="connsiteX7371" y="connsiteY7371"/>
              </a:cxn>
              <a:cxn ang="0">
                <a:pos x="connsiteX7372" y="connsiteY7372"/>
              </a:cxn>
              <a:cxn ang="0">
                <a:pos x="connsiteX7373" y="connsiteY7373"/>
              </a:cxn>
              <a:cxn ang="0">
                <a:pos x="connsiteX7374" y="connsiteY7374"/>
              </a:cxn>
              <a:cxn ang="0">
                <a:pos x="connsiteX7375" y="connsiteY7375"/>
              </a:cxn>
              <a:cxn ang="0">
                <a:pos x="connsiteX7376" y="connsiteY7376"/>
              </a:cxn>
              <a:cxn ang="0">
                <a:pos x="connsiteX7377" y="connsiteY7377"/>
              </a:cxn>
              <a:cxn ang="0">
                <a:pos x="connsiteX7378" y="connsiteY7378"/>
              </a:cxn>
              <a:cxn ang="0">
                <a:pos x="connsiteX7379" y="connsiteY7379"/>
              </a:cxn>
              <a:cxn ang="0">
                <a:pos x="connsiteX7380" y="connsiteY7380"/>
              </a:cxn>
              <a:cxn ang="0">
                <a:pos x="connsiteX7381" y="connsiteY7381"/>
              </a:cxn>
              <a:cxn ang="0">
                <a:pos x="connsiteX7382" y="connsiteY7382"/>
              </a:cxn>
              <a:cxn ang="0">
                <a:pos x="connsiteX7383" y="connsiteY7383"/>
              </a:cxn>
              <a:cxn ang="0">
                <a:pos x="connsiteX7384" y="connsiteY7384"/>
              </a:cxn>
              <a:cxn ang="0">
                <a:pos x="connsiteX7385" y="connsiteY7385"/>
              </a:cxn>
              <a:cxn ang="0">
                <a:pos x="connsiteX7386" y="connsiteY7386"/>
              </a:cxn>
              <a:cxn ang="0">
                <a:pos x="connsiteX7387" y="connsiteY7387"/>
              </a:cxn>
              <a:cxn ang="0">
                <a:pos x="connsiteX7388" y="connsiteY7388"/>
              </a:cxn>
              <a:cxn ang="0">
                <a:pos x="connsiteX7389" y="connsiteY7389"/>
              </a:cxn>
              <a:cxn ang="0">
                <a:pos x="connsiteX7390" y="connsiteY7390"/>
              </a:cxn>
              <a:cxn ang="0">
                <a:pos x="connsiteX7391" y="connsiteY7391"/>
              </a:cxn>
              <a:cxn ang="0">
                <a:pos x="connsiteX7392" y="connsiteY7392"/>
              </a:cxn>
              <a:cxn ang="0">
                <a:pos x="connsiteX7393" y="connsiteY7393"/>
              </a:cxn>
              <a:cxn ang="0">
                <a:pos x="connsiteX7394" y="connsiteY7394"/>
              </a:cxn>
              <a:cxn ang="0">
                <a:pos x="connsiteX7395" y="connsiteY7395"/>
              </a:cxn>
              <a:cxn ang="0">
                <a:pos x="connsiteX7396" y="connsiteY7396"/>
              </a:cxn>
              <a:cxn ang="0">
                <a:pos x="connsiteX7397" y="connsiteY7397"/>
              </a:cxn>
              <a:cxn ang="0">
                <a:pos x="connsiteX7398" y="connsiteY7398"/>
              </a:cxn>
              <a:cxn ang="0">
                <a:pos x="connsiteX7399" y="connsiteY7399"/>
              </a:cxn>
              <a:cxn ang="0">
                <a:pos x="connsiteX7400" y="connsiteY7400"/>
              </a:cxn>
              <a:cxn ang="0">
                <a:pos x="connsiteX7401" y="connsiteY7401"/>
              </a:cxn>
              <a:cxn ang="0">
                <a:pos x="connsiteX7402" y="connsiteY7402"/>
              </a:cxn>
              <a:cxn ang="0">
                <a:pos x="connsiteX7403" y="connsiteY7403"/>
              </a:cxn>
              <a:cxn ang="0">
                <a:pos x="connsiteX7404" y="connsiteY7404"/>
              </a:cxn>
              <a:cxn ang="0">
                <a:pos x="connsiteX7405" y="connsiteY7405"/>
              </a:cxn>
              <a:cxn ang="0">
                <a:pos x="connsiteX7406" y="connsiteY7406"/>
              </a:cxn>
              <a:cxn ang="0">
                <a:pos x="connsiteX7407" y="connsiteY7407"/>
              </a:cxn>
              <a:cxn ang="0">
                <a:pos x="connsiteX7408" y="connsiteY7408"/>
              </a:cxn>
              <a:cxn ang="0">
                <a:pos x="connsiteX7409" y="connsiteY7409"/>
              </a:cxn>
              <a:cxn ang="0">
                <a:pos x="connsiteX7410" y="connsiteY7410"/>
              </a:cxn>
              <a:cxn ang="0">
                <a:pos x="connsiteX7411" y="connsiteY7411"/>
              </a:cxn>
              <a:cxn ang="0">
                <a:pos x="connsiteX7412" y="connsiteY7412"/>
              </a:cxn>
              <a:cxn ang="0">
                <a:pos x="connsiteX7413" y="connsiteY7413"/>
              </a:cxn>
              <a:cxn ang="0">
                <a:pos x="connsiteX7414" y="connsiteY7414"/>
              </a:cxn>
              <a:cxn ang="0">
                <a:pos x="connsiteX7415" y="connsiteY7415"/>
              </a:cxn>
              <a:cxn ang="0">
                <a:pos x="connsiteX7416" y="connsiteY7416"/>
              </a:cxn>
              <a:cxn ang="0">
                <a:pos x="connsiteX7417" y="connsiteY7417"/>
              </a:cxn>
              <a:cxn ang="0">
                <a:pos x="connsiteX7418" y="connsiteY7418"/>
              </a:cxn>
              <a:cxn ang="0">
                <a:pos x="connsiteX7419" y="connsiteY7419"/>
              </a:cxn>
              <a:cxn ang="0">
                <a:pos x="connsiteX7420" y="connsiteY7420"/>
              </a:cxn>
              <a:cxn ang="0">
                <a:pos x="connsiteX7421" y="connsiteY7421"/>
              </a:cxn>
              <a:cxn ang="0">
                <a:pos x="connsiteX7422" y="connsiteY7422"/>
              </a:cxn>
              <a:cxn ang="0">
                <a:pos x="connsiteX7423" y="connsiteY7423"/>
              </a:cxn>
              <a:cxn ang="0">
                <a:pos x="connsiteX7424" y="connsiteY7424"/>
              </a:cxn>
              <a:cxn ang="0">
                <a:pos x="connsiteX7425" y="connsiteY7425"/>
              </a:cxn>
              <a:cxn ang="0">
                <a:pos x="connsiteX7426" y="connsiteY7426"/>
              </a:cxn>
              <a:cxn ang="0">
                <a:pos x="connsiteX7427" y="connsiteY7427"/>
              </a:cxn>
              <a:cxn ang="0">
                <a:pos x="connsiteX7428" y="connsiteY7428"/>
              </a:cxn>
              <a:cxn ang="0">
                <a:pos x="connsiteX7429" y="connsiteY7429"/>
              </a:cxn>
              <a:cxn ang="0">
                <a:pos x="connsiteX7430" y="connsiteY7430"/>
              </a:cxn>
              <a:cxn ang="0">
                <a:pos x="connsiteX7431" y="connsiteY7431"/>
              </a:cxn>
              <a:cxn ang="0">
                <a:pos x="connsiteX7432" y="connsiteY7432"/>
              </a:cxn>
              <a:cxn ang="0">
                <a:pos x="connsiteX7433" y="connsiteY7433"/>
              </a:cxn>
              <a:cxn ang="0">
                <a:pos x="connsiteX7434" y="connsiteY7434"/>
              </a:cxn>
              <a:cxn ang="0">
                <a:pos x="connsiteX7435" y="connsiteY7435"/>
              </a:cxn>
              <a:cxn ang="0">
                <a:pos x="connsiteX7436" y="connsiteY7436"/>
              </a:cxn>
              <a:cxn ang="0">
                <a:pos x="connsiteX7437" y="connsiteY7437"/>
              </a:cxn>
              <a:cxn ang="0">
                <a:pos x="connsiteX7438" y="connsiteY7438"/>
              </a:cxn>
              <a:cxn ang="0">
                <a:pos x="connsiteX7439" y="connsiteY7439"/>
              </a:cxn>
              <a:cxn ang="0">
                <a:pos x="connsiteX7440" y="connsiteY7440"/>
              </a:cxn>
              <a:cxn ang="0">
                <a:pos x="connsiteX7441" y="connsiteY7441"/>
              </a:cxn>
              <a:cxn ang="0">
                <a:pos x="connsiteX7442" y="connsiteY7442"/>
              </a:cxn>
              <a:cxn ang="0">
                <a:pos x="connsiteX7443" y="connsiteY7443"/>
              </a:cxn>
              <a:cxn ang="0">
                <a:pos x="connsiteX7444" y="connsiteY7444"/>
              </a:cxn>
              <a:cxn ang="0">
                <a:pos x="connsiteX7445" y="connsiteY7445"/>
              </a:cxn>
              <a:cxn ang="0">
                <a:pos x="connsiteX7446" y="connsiteY7446"/>
              </a:cxn>
              <a:cxn ang="0">
                <a:pos x="connsiteX7447" y="connsiteY7447"/>
              </a:cxn>
              <a:cxn ang="0">
                <a:pos x="connsiteX7448" y="connsiteY7448"/>
              </a:cxn>
              <a:cxn ang="0">
                <a:pos x="connsiteX7449" y="connsiteY7449"/>
              </a:cxn>
              <a:cxn ang="0">
                <a:pos x="connsiteX7450" y="connsiteY7450"/>
              </a:cxn>
              <a:cxn ang="0">
                <a:pos x="connsiteX7451" y="connsiteY7451"/>
              </a:cxn>
              <a:cxn ang="0">
                <a:pos x="connsiteX7452" y="connsiteY7452"/>
              </a:cxn>
              <a:cxn ang="0">
                <a:pos x="connsiteX7453" y="connsiteY7453"/>
              </a:cxn>
              <a:cxn ang="0">
                <a:pos x="connsiteX7454" y="connsiteY7454"/>
              </a:cxn>
              <a:cxn ang="0">
                <a:pos x="connsiteX7455" y="connsiteY7455"/>
              </a:cxn>
              <a:cxn ang="0">
                <a:pos x="connsiteX7456" y="connsiteY7456"/>
              </a:cxn>
              <a:cxn ang="0">
                <a:pos x="connsiteX7457" y="connsiteY7457"/>
              </a:cxn>
              <a:cxn ang="0">
                <a:pos x="connsiteX7458" y="connsiteY7458"/>
              </a:cxn>
              <a:cxn ang="0">
                <a:pos x="connsiteX7459" y="connsiteY7459"/>
              </a:cxn>
              <a:cxn ang="0">
                <a:pos x="connsiteX7460" y="connsiteY7460"/>
              </a:cxn>
              <a:cxn ang="0">
                <a:pos x="connsiteX7461" y="connsiteY7461"/>
              </a:cxn>
              <a:cxn ang="0">
                <a:pos x="connsiteX7462" y="connsiteY7462"/>
              </a:cxn>
              <a:cxn ang="0">
                <a:pos x="connsiteX7463" y="connsiteY7463"/>
              </a:cxn>
              <a:cxn ang="0">
                <a:pos x="connsiteX7464" y="connsiteY7464"/>
              </a:cxn>
              <a:cxn ang="0">
                <a:pos x="connsiteX7465" y="connsiteY7465"/>
              </a:cxn>
              <a:cxn ang="0">
                <a:pos x="connsiteX7466" y="connsiteY7466"/>
              </a:cxn>
              <a:cxn ang="0">
                <a:pos x="connsiteX7467" y="connsiteY7467"/>
              </a:cxn>
              <a:cxn ang="0">
                <a:pos x="connsiteX7468" y="connsiteY7468"/>
              </a:cxn>
              <a:cxn ang="0">
                <a:pos x="connsiteX7469" y="connsiteY7469"/>
              </a:cxn>
              <a:cxn ang="0">
                <a:pos x="connsiteX7470" y="connsiteY7470"/>
              </a:cxn>
              <a:cxn ang="0">
                <a:pos x="connsiteX7471" y="connsiteY7471"/>
              </a:cxn>
              <a:cxn ang="0">
                <a:pos x="connsiteX7472" y="connsiteY7472"/>
              </a:cxn>
              <a:cxn ang="0">
                <a:pos x="connsiteX7473" y="connsiteY7473"/>
              </a:cxn>
              <a:cxn ang="0">
                <a:pos x="connsiteX7474" y="connsiteY7474"/>
              </a:cxn>
              <a:cxn ang="0">
                <a:pos x="connsiteX7475" y="connsiteY7475"/>
              </a:cxn>
              <a:cxn ang="0">
                <a:pos x="connsiteX7476" y="connsiteY7476"/>
              </a:cxn>
              <a:cxn ang="0">
                <a:pos x="connsiteX7477" y="connsiteY7477"/>
              </a:cxn>
              <a:cxn ang="0">
                <a:pos x="connsiteX7478" y="connsiteY7478"/>
              </a:cxn>
              <a:cxn ang="0">
                <a:pos x="connsiteX7479" y="connsiteY7479"/>
              </a:cxn>
              <a:cxn ang="0">
                <a:pos x="connsiteX7480" y="connsiteY7480"/>
              </a:cxn>
              <a:cxn ang="0">
                <a:pos x="connsiteX7481" y="connsiteY7481"/>
              </a:cxn>
              <a:cxn ang="0">
                <a:pos x="connsiteX7482" y="connsiteY7482"/>
              </a:cxn>
              <a:cxn ang="0">
                <a:pos x="connsiteX7483" y="connsiteY7483"/>
              </a:cxn>
              <a:cxn ang="0">
                <a:pos x="connsiteX7484" y="connsiteY7484"/>
              </a:cxn>
              <a:cxn ang="0">
                <a:pos x="connsiteX7485" y="connsiteY7485"/>
              </a:cxn>
              <a:cxn ang="0">
                <a:pos x="connsiteX7486" y="connsiteY7486"/>
              </a:cxn>
              <a:cxn ang="0">
                <a:pos x="connsiteX7487" y="connsiteY7487"/>
              </a:cxn>
              <a:cxn ang="0">
                <a:pos x="connsiteX7488" y="connsiteY7488"/>
              </a:cxn>
              <a:cxn ang="0">
                <a:pos x="connsiteX7489" y="connsiteY7489"/>
              </a:cxn>
              <a:cxn ang="0">
                <a:pos x="connsiteX7490" y="connsiteY7490"/>
              </a:cxn>
              <a:cxn ang="0">
                <a:pos x="connsiteX7491" y="connsiteY7491"/>
              </a:cxn>
              <a:cxn ang="0">
                <a:pos x="connsiteX7492" y="connsiteY7492"/>
              </a:cxn>
              <a:cxn ang="0">
                <a:pos x="connsiteX7493" y="connsiteY7493"/>
              </a:cxn>
              <a:cxn ang="0">
                <a:pos x="connsiteX7494" y="connsiteY7494"/>
              </a:cxn>
              <a:cxn ang="0">
                <a:pos x="connsiteX7495" y="connsiteY7495"/>
              </a:cxn>
              <a:cxn ang="0">
                <a:pos x="connsiteX7496" y="connsiteY7496"/>
              </a:cxn>
              <a:cxn ang="0">
                <a:pos x="connsiteX7497" y="connsiteY7497"/>
              </a:cxn>
              <a:cxn ang="0">
                <a:pos x="connsiteX7498" y="connsiteY7498"/>
              </a:cxn>
              <a:cxn ang="0">
                <a:pos x="connsiteX7499" y="connsiteY7499"/>
              </a:cxn>
              <a:cxn ang="0">
                <a:pos x="connsiteX7500" y="connsiteY7500"/>
              </a:cxn>
              <a:cxn ang="0">
                <a:pos x="connsiteX7501" y="connsiteY7501"/>
              </a:cxn>
              <a:cxn ang="0">
                <a:pos x="connsiteX7502" y="connsiteY7502"/>
              </a:cxn>
              <a:cxn ang="0">
                <a:pos x="connsiteX7503" y="connsiteY7503"/>
              </a:cxn>
              <a:cxn ang="0">
                <a:pos x="connsiteX7504" y="connsiteY7504"/>
              </a:cxn>
              <a:cxn ang="0">
                <a:pos x="connsiteX7505" y="connsiteY7505"/>
              </a:cxn>
              <a:cxn ang="0">
                <a:pos x="connsiteX7506" y="connsiteY7506"/>
              </a:cxn>
              <a:cxn ang="0">
                <a:pos x="connsiteX7507" y="connsiteY7507"/>
              </a:cxn>
              <a:cxn ang="0">
                <a:pos x="connsiteX7508" y="connsiteY7508"/>
              </a:cxn>
              <a:cxn ang="0">
                <a:pos x="connsiteX7509" y="connsiteY7509"/>
              </a:cxn>
              <a:cxn ang="0">
                <a:pos x="connsiteX7510" y="connsiteY7510"/>
              </a:cxn>
              <a:cxn ang="0">
                <a:pos x="connsiteX7511" y="connsiteY7511"/>
              </a:cxn>
              <a:cxn ang="0">
                <a:pos x="connsiteX7512" y="connsiteY7512"/>
              </a:cxn>
              <a:cxn ang="0">
                <a:pos x="connsiteX7513" y="connsiteY7513"/>
              </a:cxn>
              <a:cxn ang="0">
                <a:pos x="connsiteX7514" y="connsiteY7514"/>
              </a:cxn>
              <a:cxn ang="0">
                <a:pos x="connsiteX7515" y="connsiteY7515"/>
              </a:cxn>
              <a:cxn ang="0">
                <a:pos x="connsiteX7516" y="connsiteY7516"/>
              </a:cxn>
              <a:cxn ang="0">
                <a:pos x="connsiteX7517" y="connsiteY7517"/>
              </a:cxn>
              <a:cxn ang="0">
                <a:pos x="connsiteX7518" y="connsiteY7518"/>
              </a:cxn>
              <a:cxn ang="0">
                <a:pos x="connsiteX7519" y="connsiteY7519"/>
              </a:cxn>
              <a:cxn ang="0">
                <a:pos x="connsiteX7520" y="connsiteY7520"/>
              </a:cxn>
              <a:cxn ang="0">
                <a:pos x="connsiteX7521" y="connsiteY7521"/>
              </a:cxn>
              <a:cxn ang="0">
                <a:pos x="connsiteX7522" y="connsiteY7522"/>
              </a:cxn>
              <a:cxn ang="0">
                <a:pos x="connsiteX7523" y="connsiteY7523"/>
              </a:cxn>
              <a:cxn ang="0">
                <a:pos x="connsiteX7524" y="connsiteY7524"/>
              </a:cxn>
              <a:cxn ang="0">
                <a:pos x="connsiteX7525" y="connsiteY7525"/>
              </a:cxn>
              <a:cxn ang="0">
                <a:pos x="connsiteX7526" y="connsiteY7526"/>
              </a:cxn>
              <a:cxn ang="0">
                <a:pos x="connsiteX7527" y="connsiteY7527"/>
              </a:cxn>
              <a:cxn ang="0">
                <a:pos x="connsiteX7528" y="connsiteY7528"/>
              </a:cxn>
              <a:cxn ang="0">
                <a:pos x="connsiteX7529" y="connsiteY7529"/>
              </a:cxn>
              <a:cxn ang="0">
                <a:pos x="connsiteX7530" y="connsiteY7530"/>
              </a:cxn>
              <a:cxn ang="0">
                <a:pos x="connsiteX7531" y="connsiteY7531"/>
              </a:cxn>
              <a:cxn ang="0">
                <a:pos x="connsiteX7532" y="connsiteY7532"/>
              </a:cxn>
              <a:cxn ang="0">
                <a:pos x="connsiteX7533" y="connsiteY7533"/>
              </a:cxn>
              <a:cxn ang="0">
                <a:pos x="connsiteX7534" y="connsiteY7534"/>
              </a:cxn>
              <a:cxn ang="0">
                <a:pos x="connsiteX7535" y="connsiteY7535"/>
              </a:cxn>
              <a:cxn ang="0">
                <a:pos x="connsiteX7536" y="connsiteY7536"/>
              </a:cxn>
              <a:cxn ang="0">
                <a:pos x="connsiteX7537" y="connsiteY7537"/>
              </a:cxn>
              <a:cxn ang="0">
                <a:pos x="connsiteX7538" y="connsiteY7538"/>
              </a:cxn>
              <a:cxn ang="0">
                <a:pos x="connsiteX7539" y="connsiteY7539"/>
              </a:cxn>
              <a:cxn ang="0">
                <a:pos x="connsiteX7540" y="connsiteY7540"/>
              </a:cxn>
              <a:cxn ang="0">
                <a:pos x="connsiteX7541" y="connsiteY7541"/>
              </a:cxn>
              <a:cxn ang="0">
                <a:pos x="connsiteX7542" y="connsiteY7542"/>
              </a:cxn>
              <a:cxn ang="0">
                <a:pos x="connsiteX7543" y="connsiteY7543"/>
              </a:cxn>
              <a:cxn ang="0">
                <a:pos x="connsiteX7544" y="connsiteY7544"/>
              </a:cxn>
              <a:cxn ang="0">
                <a:pos x="connsiteX7545" y="connsiteY7545"/>
              </a:cxn>
              <a:cxn ang="0">
                <a:pos x="connsiteX7546" y="connsiteY7546"/>
              </a:cxn>
              <a:cxn ang="0">
                <a:pos x="connsiteX7547" y="connsiteY7547"/>
              </a:cxn>
              <a:cxn ang="0">
                <a:pos x="connsiteX7548" y="connsiteY7548"/>
              </a:cxn>
              <a:cxn ang="0">
                <a:pos x="connsiteX7549" y="connsiteY7549"/>
              </a:cxn>
              <a:cxn ang="0">
                <a:pos x="connsiteX7550" y="connsiteY7550"/>
              </a:cxn>
              <a:cxn ang="0">
                <a:pos x="connsiteX7551" y="connsiteY7551"/>
              </a:cxn>
              <a:cxn ang="0">
                <a:pos x="connsiteX7552" y="connsiteY7552"/>
              </a:cxn>
              <a:cxn ang="0">
                <a:pos x="connsiteX7553" y="connsiteY7553"/>
              </a:cxn>
              <a:cxn ang="0">
                <a:pos x="connsiteX7554" y="connsiteY7554"/>
              </a:cxn>
              <a:cxn ang="0">
                <a:pos x="connsiteX7555" y="connsiteY7555"/>
              </a:cxn>
              <a:cxn ang="0">
                <a:pos x="connsiteX7556" y="connsiteY7556"/>
              </a:cxn>
              <a:cxn ang="0">
                <a:pos x="connsiteX7557" y="connsiteY7557"/>
              </a:cxn>
              <a:cxn ang="0">
                <a:pos x="connsiteX7558" y="connsiteY7558"/>
              </a:cxn>
              <a:cxn ang="0">
                <a:pos x="connsiteX7559" y="connsiteY7559"/>
              </a:cxn>
              <a:cxn ang="0">
                <a:pos x="connsiteX7560" y="connsiteY7560"/>
              </a:cxn>
              <a:cxn ang="0">
                <a:pos x="connsiteX7561" y="connsiteY7561"/>
              </a:cxn>
              <a:cxn ang="0">
                <a:pos x="connsiteX7562" y="connsiteY7562"/>
              </a:cxn>
              <a:cxn ang="0">
                <a:pos x="connsiteX7563" y="connsiteY7563"/>
              </a:cxn>
              <a:cxn ang="0">
                <a:pos x="connsiteX7564" y="connsiteY7564"/>
              </a:cxn>
              <a:cxn ang="0">
                <a:pos x="connsiteX7565" y="connsiteY7565"/>
              </a:cxn>
              <a:cxn ang="0">
                <a:pos x="connsiteX7566" y="connsiteY7566"/>
              </a:cxn>
              <a:cxn ang="0">
                <a:pos x="connsiteX7567" y="connsiteY7567"/>
              </a:cxn>
              <a:cxn ang="0">
                <a:pos x="connsiteX7568" y="connsiteY7568"/>
              </a:cxn>
              <a:cxn ang="0">
                <a:pos x="connsiteX7569" y="connsiteY7569"/>
              </a:cxn>
              <a:cxn ang="0">
                <a:pos x="connsiteX7570" y="connsiteY7570"/>
              </a:cxn>
              <a:cxn ang="0">
                <a:pos x="connsiteX7571" y="connsiteY7571"/>
              </a:cxn>
              <a:cxn ang="0">
                <a:pos x="connsiteX7572" y="connsiteY7572"/>
              </a:cxn>
              <a:cxn ang="0">
                <a:pos x="connsiteX7573" y="connsiteY7573"/>
              </a:cxn>
              <a:cxn ang="0">
                <a:pos x="connsiteX7574" y="connsiteY7574"/>
              </a:cxn>
              <a:cxn ang="0">
                <a:pos x="connsiteX7575" y="connsiteY7575"/>
              </a:cxn>
              <a:cxn ang="0">
                <a:pos x="connsiteX7576" y="connsiteY7576"/>
              </a:cxn>
              <a:cxn ang="0">
                <a:pos x="connsiteX7577" y="connsiteY7577"/>
              </a:cxn>
              <a:cxn ang="0">
                <a:pos x="connsiteX7578" y="connsiteY7578"/>
              </a:cxn>
              <a:cxn ang="0">
                <a:pos x="connsiteX7579" y="connsiteY7579"/>
              </a:cxn>
              <a:cxn ang="0">
                <a:pos x="connsiteX7580" y="connsiteY7580"/>
              </a:cxn>
              <a:cxn ang="0">
                <a:pos x="connsiteX7581" y="connsiteY7581"/>
              </a:cxn>
              <a:cxn ang="0">
                <a:pos x="connsiteX7582" y="connsiteY7582"/>
              </a:cxn>
              <a:cxn ang="0">
                <a:pos x="connsiteX7583" y="connsiteY7583"/>
              </a:cxn>
              <a:cxn ang="0">
                <a:pos x="connsiteX7584" y="connsiteY7584"/>
              </a:cxn>
              <a:cxn ang="0">
                <a:pos x="connsiteX7585" y="connsiteY7585"/>
              </a:cxn>
              <a:cxn ang="0">
                <a:pos x="connsiteX7586" y="connsiteY7586"/>
              </a:cxn>
              <a:cxn ang="0">
                <a:pos x="connsiteX7587" y="connsiteY7587"/>
              </a:cxn>
              <a:cxn ang="0">
                <a:pos x="connsiteX7588" y="connsiteY7588"/>
              </a:cxn>
              <a:cxn ang="0">
                <a:pos x="connsiteX7589" y="connsiteY7589"/>
              </a:cxn>
              <a:cxn ang="0">
                <a:pos x="connsiteX7590" y="connsiteY7590"/>
              </a:cxn>
              <a:cxn ang="0">
                <a:pos x="connsiteX7591" y="connsiteY7591"/>
              </a:cxn>
              <a:cxn ang="0">
                <a:pos x="connsiteX7592" y="connsiteY7592"/>
              </a:cxn>
              <a:cxn ang="0">
                <a:pos x="connsiteX7593" y="connsiteY7593"/>
              </a:cxn>
              <a:cxn ang="0">
                <a:pos x="connsiteX7594" y="connsiteY7594"/>
              </a:cxn>
              <a:cxn ang="0">
                <a:pos x="connsiteX7595" y="connsiteY7595"/>
              </a:cxn>
              <a:cxn ang="0">
                <a:pos x="connsiteX7596" y="connsiteY7596"/>
              </a:cxn>
              <a:cxn ang="0">
                <a:pos x="connsiteX7597" y="connsiteY7597"/>
              </a:cxn>
              <a:cxn ang="0">
                <a:pos x="connsiteX7598" y="connsiteY7598"/>
              </a:cxn>
              <a:cxn ang="0">
                <a:pos x="connsiteX7599" y="connsiteY7599"/>
              </a:cxn>
              <a:cxn ang="0">
                <a:pos x="connsiteX7600" y="connsiteY7600"/>
              </a:cxn>
              <a:cxn ang="0">
                <a:pos x="connsiteX7601" y="connsiteY7601"/>
              </a:cxn>
              <a:cxn ang="0">
                <a:pos x="connsiteX7602" y="connsiteY7602"/>
              </a:cxn>
              <a:cxn ang="0">
                <a:pos x="connsiteX7603" y="connsiteY7603"/>
              </a:cxn>
              <a:cxn ang="0">
                <a:pos x="connsiteX7604" y="connsiteY7604"/>
              </a:cxn>
              <a:cxn ang="0">
                <a:pos x="connsiteX7605" y="connsiteY7605"/>
              </a:cxn>
              <a:cxn ang="0">
                <a:pos x="connsiteX7606" y="connsiteY7606"/>
              </a:cxn>
              <a:cxn ang="0">
                <a:pos x="connsiteX7607" y="connsiteY7607"/>
              </a:cxn>
              <a:cxn ang="0">
                <a:pos x="connsiteX7608" y="connsiteY7608"/>
              </a:cxn>
              <a:cxn ang="0">
                <a:pos x="connsiteX7609" y="connsiteY7609"/>
              </a:cxn>
              <a:cxn ang="0">
                <a:pos x="connsiteX7610" y="connsiteY7610"/>
              </a:cxn>
              <a:cxn ang="0">
                <a:pos x="connsiteX7611" y="connsiteY7611"/>
              </a:cxn>
              <a:cxn ang="0">
                <a:pos x="connsiteX7612" y="connsiteY7612"/>
              </a:cxn>
              <a:cxn ang="0">
                <a:pos x="connsiteX7613" y="connsiteY7613"/>
              </a:cxn>
              <a:cxn ang="0">
                <a:pos x="connsiteX7614" y="connsiteY7614"/>
              </a:cxn>
              <a:cxn ang="0">
                <a:pos x="connsiteX7615" y="connsiteY7615"/>
              </a:cxn>
              <a:cxn ang="0">
                <a:pos x="connsiteX7616" y="connsiteY7616"/>
              </a:cxn>
              <a:cxn ang="0">
                <a:pos x="connsiteX7617" y="connsiteY7617"/>
              </a:cxn>
              <a:cxn ang="0">
                <a:pos x="connsiteX7618" y="connsiteY7618"/>
              </a:cxn>
              <a:cxn ang="0">
                <a:pos x="connsiteX7619" y="connsiteY7619"/>
              </a:cxn>
              <a:cxn ang="0">
                <a:pos x="connsiteX7620" y="connsiteY7620"/>
              </a:cxn>
              <a:cxn ang="0">
                <a:pos x="connsiteX7621" y="connsiteY7621"/>
              </a:cxn>
              <a:cxn ang="0">
                <a:pos x="connsiteX7622" y="connsiteY7622"/>
              </a:cxn>
              <a:cxn ang="0">
                <a:pos x="connsiteX7623" y="connsiteY7623"/>
              </a:cxn>
              <a:cxn ang="0">
                <a:pos x="connsiteX7624" y="connsiteY7624"/>
              </a:cxn>
              <a:cxn ang="0">
                <a:pos x="connsiteX7625" y="connsiteY7625"/>
              </a:cxn>
              <a:cxn ang="0">
                <a:pos x="connsiteX7626" y="connsiteY7626"/>
              </a:cxn>
              <a:cxn ang="0">
                <a:pos x="connsiteX7627" y="connsiteY7627"/>
              </a:cxn>
              <a:cxn ang="0">
                <a:pos x="connsiteX7628" y="connsiteY7628"/>
              </a:cxn>
              <a:cxn ang="0">
                <a:pos x="connsiteX7629" y="connsiteY7629"/>
              </a:cxn>
              <a:cxn ang="0">
                <a:pos x="connsiteX7630" y="connsiteY7630"/>
              </a:cxn>
              <a:cxn ang="0">
                <a:pos x="connsiteX7631" y="connsiteY7631"/>
              </a:cxn>
              <a:cxn ang="0">
                <a:pos x="connsiteX7632" y="connsiteY7632"/>
              </a:cxn>
              <a:cxn ang="0">
                <a:pos x="connsiteX7633" y="connsiteY7633"/>
              </a:cxn>
              <a:cxn ang="0">
                <a:pos x="connsiteX7634" y="connsiteY7634"/>
              </a:cxn>
              <a:cxn ang="0">
                <a:pos x="connsiteX7635" y="connsiteY7635"/>
              </a:cxn>
              <a:cxn ang="0">
                <a:pos x="connsiteX7636" y="connsiteY7636"/>
              </a:cxn>
              <a:cxn ang="0">
                <a:pos x="connsiteX7637" y="connsiteY7637"/>
              </a:cxn>
              <a:cxn ang="0">
                <a:pos x="connsiteX7638" y="connsiteY7638"/>
              </a:cxn>
              <a:cxn ang="0">
                <a:pos x="connsiteX7639" y="connsiteY7639"/>
              </a:cxn>
              <a:cxn ang="0">
                <a:pos x="connsiteX7640" y="connsiteY7640"/>
              </a:cxn>
              <a:cxn ang="0">
                <a:pos x="connsiteX7641" y="connsiteY7641"/>
              </a:cxn>
              <a:cxn ang="0">
                <a:pos x="connsiteX7642" y="connsiteY7642"/>
              </a:cxn>
              <a:cxn ang="0">
                <a:pos x="connsiteX7643" y="connsiteY7643"/>
              </a:cxn>
              <a:cxn ang="0">
                <a:pos x="connsiteX7644" y="connsiteY7644"/>
              </a:cxn>
              <a:cxn ang="0">
                <a:pos x="connsiteX7645" y="connsiteY7645"/>
              </a:cxn>
              <a:cxn ang="0">
                <a:pos x="connsiteX7646" y="connsiteY7646"/>
              </a:cxn>
              <a:cxn ang="0">
                <a:pos x="connsiteX7647" y="connsiteY7647"/>
              </a:cxn>
              <a:cxn ang="0">
                <a:pos x="connsiteX7648" y="connsiteY7648"/>
              </a:cxn>
              <a:cxn ang="0">
                <a:pos x="connsiteX7649" y="connsiteY7649"/>
              </a:cxn>
              <a:cxn ang="0">
                <a:pos x="connsiteX7650" y="connsiteY7650"/>
              </a:cxn>
              <a:cxn ang="0">
                <a:pos x="connsiteX7651" y="connsiteY7651"/>
              </a:cxn>
              <a:cxn ang="0">
                <a:pos x="connsiteX7652" y="connsiteY7652"/>
              </a:cxn>
              <a:cxn ang="0">
                <a:pos x="connsiteX7653" y="connsiteY7653"/>
              </a:cxn>
              <a:cxn ang="0">
                <a:pos x="connsiteX7654" y="connsiteY7654"/>
              </a:cxn>
              <a:cxn ang="0">
                <a:pos x="connsiteX7655" y="connsiteY7655"/>
              </a:cxn>
              <a:cxn ang="0">
                <a:pos x="connsiteX7656" y="connsiteY7656"/>
              </a:cxn>
              <a:cxn ang="0">
                <a:pos x="connsiteX7657" y="connsiteY7657"/>
              </a:cxn>
              <a:cxn ang="0">
                <a:pos x="connsiteX7658" y="connsiteY7658"/>
              </a:cxn>
              <a:cxn ang="0">
                <a:pos x="connsiteX7659" y="connsiteY7659"/>
              </a:cxn>
              <a:cxn ang="0">
                <a:pos x="connsiteX7660" y="connsiteY7660"/>
              </a:cxn>
              <a:cxn ang="0">
                <a:pos x="connsiteX7661" y="connsiteY7661"/>
              </a:cxn>
              <a:cxn ang="0">
                <a:pos x="connsiteX7662" y="connsiteY7662"/>
              </a:cxn>
              <a:cxn ang="0">
                <a:pos x="connsiteX7663" y="connsiteY7663"/>
              </a:cxn>
              <a:cxn ang="0">
                <a:pos x="connsiteX7664" y="connsiteY7664"/>
              </a:cxn>
              <a:cxn ang="0">
                <a:pos x="connsiteX7665" y="connsiteY7665"/>
              </a:cxn>
              <a:cxn ang="0">
                <a:pos x="connsiteX7666" y="connsiteY7666"/>
              </a:cxn>
              <a:cxn ang="0">
                <a:pos x="connsiteX7667" y="connsiteY7667"/>
              </a:cxn>
              <a:cxn ang="0">
                <a:pos x="connsiteX7668" y="connsiteY7668"/>
              </a:cxn>
              <a:cxn ang="0">
                <a:pos x="connsiteX7669" y="connsiteY7669"/>
              </a:cxn>
              <a:cxn ang="0">
                <a:pos x="connsiteX7670" y="connsiteY7670"/>
              </a:cxn>
              <a:cxn ang="0">
                <a:pos x="connsiteX7671" y="connsiteY7671"/>
              </a:cxn>
              <a:cxn ang="0">
                <a:pos x="connsiteX7672" y="connsiteY7672"/>
              </a:cxn>
              <a:cxn ang="0">
                <a:pos x="connsiteX7673" y="connsiteY7673"/>
              </a:cxn>
              <a:cxn ang="0">
                <a:pos x="connsiteX7674" y="connsiteY7674"/>
              </a:cxn>
              <a:cxn ang="0">
                <a:pos x="connsiteX7675" y="connsiteY7675"/>
              </a:cxn>
              <a:cxn ang="0">
                <a:pos x="connsiteX7676" y="connsiteY7676"/>
              </a:cxn>
              <a:cxn ang="0">
                <a:pos x="connsiteX7677" y="connsiteY7677"/>
              </a:cxn>
              <a:cxn ang="0">
                <a:pos x="connsiteX7678" y="connsiteY7678"/>
              </a:cxn>
              <a:cxn ang="0">
                <a:pos x="connsiteX7679" y="connsiteY7679"/>
              </a:cxn>
              <a:cxn ang="0">
                <a:pos x="connsiteX7680" y="connsiteY7680"/>
              </a:cxn>
              <a:cxn ang="0">
                <a:pos x="connsiteX7681" y="connsiteY7681"/>
              </a:cxn>
              <a:cxn ang="0">
                <a:pos x="connsiteX7682" y="connsiteY7682"/>
              </a:cxn>
              <a:cxn ang="0">
                <a:pos x="connsiteX7683" y="connsiteY7683"/>
              </a:cxn>
              <a:cxn ang="0">
                <a:pos x="connsiteX7684" y="connsiteY7684"/>
              </a:cxn>
              <a:cxn ang="0">
                <a:pos x="connsiteX7685" y="connsiteY7685"/>
              </a:cxn>
              <a:cxn ang="0">
                <a:pos x="connsiteX7686" y="connsiteY7686"/>
              </a:cxn>
              <a:cxn ang="0">
                <a:pos x="connsiteX7687" y="connsiteY7687"/>
              </a:cxn>
              <a:cxn ang="0">
                <a:pos x="connsiteX7688" y="connsiteY7688"/>
              </a:cxn>
              <a:cxn ang="0">
                <a:pos x="connsiteX7689" y="connsiteY7689"/>
              </a:cxn>
              <a:cxn ang="0">
                <a:pos x="connsiteX7690" y="connsiteY7690"/>
              </a:cxn>
              <a:cxn ang="0">
                <a:pos x="connsiteX7691" y="connsiteY7691"/>
              </a:cxn>
              <a:cxn ang="0">
                <a:pos x="connsiteX7692" y="connsiteY7692"/>
              </a:cxn>
              <a:cxn ang="0">
                <a:pos x="connsiteX7693" y="connsiteY7693"/>
              </a:cxn>
              <a:cxn ang="0">
                <a:pos x="connsiteX7694" y="connsiteY7694"/>
              </a:cxn>
              <a:cxn ang="0">
                <a:pos x="connsiteX7695" y="connsiteY7695"/>
              </a:cxn>
              <a:cxn ang="0">
                <a:pos x="connsiteX7696" y="connsiteY7696"/>
              </a:cxn>
              <a:cxn ang="0">
                <a:pos x="connsiteX7697" y="connsiteY7697"/>
              </a:cxn>
              <a:cxn ang="0">
                <a:pos x="connsiteX7698" y="connsiteY7698"/>
              </a:cxn>
              <a:cxn ang="0">
                <a:pos x="connsiteX7699" y="connsiteY7699"/>
              </a:cxn>
              <a:cxn ang="0">
                <a:pos x="connsiteX7700" y="connsiteY7700"/>
              </a:cxn>
              <a:cxn ang="0">
                <a:pos x="connsiteX7701" y="connsiteY7701"/>
              </a:cxn>
              <a:cxn ang="0">
                <a:pos x="connsiteX7702" y="connsiteY7702"/>
              </a:cxn>
              <a:cxn ang="0">
                <a:pos x="connsiteX7703" y="connsiteY7703"/>
              </a:cxn>
              <a:cxn ang="0">
                <a:pos x="connsiteX7704" y="connsiteY7704"/>
              </a:cxn>
              <a:cxn ang="0">
                <a:pos x="connsiteX7705" y="connsiteY7705"/>
              </a:cxn>
              <a:cxn ang="0">
                <a:pos x="connsiteX7706" y="connsiteY7706"/>
              </a:cxn>
              <a:cxn ang="0">
                <a:pos x="connsiteX7707" y="connsiteY7707"/>
              </a:cxn>
              <a:cxn ang="0">
                <a:pos x="connsiteX7708" y="connsiteY7708"/>
              </a:cxn>
              <a:cxn ang="0">
                <a:pos x="connsiteX7709" y="connsiteY7709"/>
              </a:cxn>
              <a:cxn ang="0">
                <a:pos x="connsiteX7710" y="connsiteY7710"/>
              </a:cxn>
              <a:cxn ang="0">
                <a:pos x="connsiteX7711" y="connsiteY7711"/>
              </a:cxn>
              <a:cxn ang="0">
                <a:pos x="connsiteX7712" y="connsiteY7712"/>
              </a:cxn>
              <a:cxn ang="0">
                <a:pos x="connsiteX7713" y="connsiteY7713"/>
              </a:cxn>
              <a:cxn ang="0">
                <a:pos x="connsiteX7714" y="connsiteY7714"/>
              </a:cxn>
              <a:cxn ang="0">
                <a:pos x="connsiteX7715" y="connsiteY7715"/>
              </a:cxn>
              <a:cxn ang="0">
                <a:pos x="connsiteX7716" y="connsiteY7716"/>
              </a:cxn>
              <a:cxn ang="0">
                <a:pos x="connsiteX7717" y="connsiteY7717"/>
              </a:cxn>
              <a:cxn ang="0">
                <a:pos x="connsiteX7718" y="connsiteY7718"/>
              </a:cxn>
              <a:cxn ang="0">
                <a:pos x="connsiteX7719" y="connsiteY7719"/>
              </a:cxn>
              <a:cxn ang="0">
                <a:pos x="connsiteX7720" y="connsiteY7720"/>
              </a:cxn>
              <a:cxn ang="0">
                <a:pos x="connsiteX7721" y="connsiteY7721"/>
              </a:cxn>
              <a:cxn ang="0">
                <a:pos x="connsiteX7722" y="connsiteY7722"/>
              </a:cxn>
              <a:cxn ang="0">
                <a:pos x="connsiteX7723" y="connsiteY7723"/>
              </a:cxn>
              <a:cxn ang="0">
                <a:pos x="connsiteX7724" y="connsiteY7724"/>
              </a:cxn>
              <a:cxn ang="0">
                <a:pos x="connsiteX7725" y="connsiteY7725"/>
              </a:cxn>
              <a:cxn ang="0">
                <a:pos x="connsiteX7726" y="connsiteY7726"/>
              </a:cxn>
              <a:cxn ang="0">
                <a:pos x="connsiteX7727" y="connsiteY7727"/>
              </a:cxn>
              <a:cxn ang="0">
                <a:pos x="connsiteX7728" y="connsiteY7728"/>
              </a:cxn>
              <a:cxn ang="0">
                <a:pos x="connsiteX7729" y="connsiteY7729"/>
              </a:cxn>
              <a:cxn ang="0">
                <a:pos x="connsiteX7730" y="connsiteY7730"/>
              </a:cxn>
              <a:cxn ang="0">
                <a:pos x="connsiteX7731" y="connsiteY7731"/>
              </a:cxn>
              <a:cxn ang="0">
                <a:pos x="connsiteX7732" y="connsiteY7732"/>
              </a:cxn>
              <a:cxn ang="0">
                <a:pos x="connsiteX7733" y="connsiteY7733"/>
              </a:cxn>
              <a:cxn ang="0">
                <a:pos x="connsiteX7734" y="connsiteY7734"/>
              </a:cxn>
              <a:cxn ang="0">
                <a:pos x="connsiteX7735" y="connsiteY7735"/>
              </a:cxn>
              <a:cxn ang="0">
                <a:pos x="connsiteX7736" y="connsiteY7736"/>
              </a:cxn>
              <a:cxn ang="0">
                <a:pos x="connsiteX7737" y="connsiteY7737"/>
              </a:cxn>
              <a:cxn ang="0">
                <a:pos x="connsiteX7738" y="connsiteY7738"/>
              </a:cxn>
              <a:cxn ang="0">
                <a:pos x="connsiteX7739" y="connsiteY7739"/>
              </a:cxn>
              <a:cxn ang="0">
                <a:pos x="connsiteX7740" y="connsiteY7740"/>
              </a:cxn>
              <a:cxn ang="0">
                <a:pos x="connsiteX7741" y="connsiteY7741"/>
              </a:cxn>
              <a:cxn ang="0">
                <a:pos x="connsiteX7742" y="connsiteY7742"/>
              </a:cxn>
              <a:cxn ang="0">
                <a:pos x="connsiteX7743" y="connsiteY7743"/>
              </a:cxn>
              <a:cxn ang="0">
                <a:pos x="connsiteX7744" y="connsiteY7744"/>
              </a:cxn>
              <a:cxn ang="0">
                <a:pos x="connsiteX7745" y="connsiteY7745"/>
              </a:cxn>
              <a:cxn ang="0">
                <a:pos x="connsiteX7746" y="connsiteY7746"/>
              </a:cxn>
              <a:cxn ang="0">
                <a:pos x="connsiteX7747" y="connsiteY7747"/>
              </a:cxn>
              <a:cxn ang="0">
                <a:pos x="connsiteX7748" y="connsiteY7748"/>
              </a:cxn>
              <a:cxn ang="0">
                <a:pos x="connsiteX7749" y="connsiteY7749"/>
              </a:cxn>
              <a:cxn ang="0">
                <a:pos x="connsiteX7750" y="connsiteY7750"/>
              </a:cxn>
              <a:cxn ang="0">
                <a:pos x="connsiteX7751" y="connsiteY7751"/>
              </a:cxn>
              <a:cxn ang="0">
                <a:pos x="connsiteX7752" y="connsiteY7752"/>
              </a:cxn>
              <a:cxn ang="0">
                <a:pos x="connsiteX7753" y="connsiteY7753"/>
              </a:cxn>
              <a:cxn ang="0">
                <a:pos x="connsiteX7754" y="connsiteY7754"/>
              </a:cxn>
              <a:cxn ang="0">
                <a:pos x="connsiteX7755" y="connsiteY7755"/>
              </a:cxn>
              <a:cxn ang="0">
                <a:pos x="connsiteX7756" y="connsiteY7756"/>
              </a:cxn>
              <a:cxn ang="0">
                <a:pos x="connsiteX7757" y="connsiteY7757"/>
              </a:cxn>
              <a:cxn ang="0">
                <a:pos x="connsiteX7758" y="connsiteY7758"/>
              </a:cxn>
              <a:cxn ang="0">
                <a:pos x="connsiteX7759" y="connsiteY7759"/>
              </a:cxn>
              <a:cxn ang="0">
                <a:pos x="connsiteX7760" y="connsiteY7760"/>
              </a:cxn>
              <a:cxn ang="0">
                <a:pos x="connsiteX7761" y="connsiteY7761"/>
              </a:cxn>
              <a:cxn ang="0">
                <a:pos x="connsiteX7762" y="connsiteY7762"/>
              </a:cxn>
              <a:cxn ang="0">
                <a:pos x="connsiteX7763" y="connsiteY7763"/>
              </a:cxn>
              <a:cxn ang="0">
                <a:pos x="connsiteX7764" y="connsiteY7764"/>
              </a:cxn>
              <a:cxn ang="0">
                <a:pos x="connsiteX7765" y="connsiteY7765"/>
              </a:cxn>
              <a:cxn ang="0">
                <a:pos x="connsiteX7766" y="connsiteY7766"/>
              </a:cxn>
              <a:cxn ang="0">
                <a:pos x="connsiteX7767" y="connsiteY7767"/>
              </a:cxn>
              <a:cxn ang="0">
                <a:pos x="connsiteX7768" y="connsiteY7768"/>
              </a:cxn>
              <a:cxn ang="0">
                <a:pos x="connsiteX7769" y="connsiteY7769"/>
              </a:cxn>
              <a:cxn ang="0">
                <a:pos x="connsiteX7770" y="connsiteY7770"/>
              </a:cxn>
              <a:cxn ang="0">
                <a:pos x="connsiteX7771" y="connsiteY7771"/>
              </a:cxn>
              <a:cxn ang="0">
                <a:pos x="connsiteX7772" y="connsiteY7772"/>
              </a:cxn>
              <a:cxn ang="0">
                <a:pos x="connsiteX7773" y="connsiteY7773"/>
              </a:cxn>
              <a:cxn ang="0">
                <a:pos x="connsiteX7774" y="connsiteY7774"/>
              </a:cxn>
              <a:cxn ang="0">
                <a:pos x="connsiteX7775" y="connsiteY7775"/>
              </a:cxn>
              <a:cxn ang="0">
                <a:pos x="connsiteX7776" y="connsiteY7776"/>
              </a:cxn>
              <a:cxn ang="0">
                <a:pos x="connsiteX7777" y="connsiteY7777"/>
              </a:cxn>
              <a:cxn ang="0">
                <a:pos x="connsiteX7778" y="connsiteY7778"/>
              </a:cxn>
              <a:cxn ang="0">
                <a:pos x="connsiteX7779" y="connsiteY7779"/>
              </a:cxn>
              <a:cxn ang="0">
                <a:pos x="connsiteX7780" y="connsiteY7780"/>
              </a:cxn>
              <a:cxn ang="0">
                <a:pos x="connsiteX7781" y="connsiteY7781"/>
              </a:cxn>
              <a:cxn ang="0">
                <a:pos x="connsiteX7782" y="connsiteY7782"/>
              </a:cxn>
              <a:cxn ang="0">
                <a:pos x="connsiteX7783" y="connsiteY7783"/>
              </a:cxn>
              <a:cxn ang="0">
                <a:pos x="connsiteX7784" y="connsiteY7784"/>
              </a:cxn>
              <a:cxn ang="0">
                <a:pos x="connsiteX7785" y="connsiteY7785"/>
              </a:cxn>
              <a:cxn ang="0">
                <a:pos x="connsiteX7786" y="connsiteY7786"/>
              </a:cxn>
              <a:cxn ang="0">
                <a:pos x="connsiteX7787" y="connsiteY7787"/>
              </a:cxn>
              <a:cxn ang="0">
                <a:pos x="connsiteX7788" y="connsiteY7788"/>
              </a:cxn>
              <a:cxn ang="0">
                <a:pos x="connsiteX7789" y="connsiteY7789"/>
              </a:cxn>
              <a:cxn ang="0">
                <a:pos x="connsiteX7790" y="connsiteY7790"/>
              </a:cxn>
              <a:cxn ang="0">
                <a:pos x="connsiteX7791" y="connsiteY7791"/>
              </a:cxn>
              <a:cxn ang="0">
                <a:pos x="connsiteX7792" y="connsiteY7792"/>
              </a:cxn>
              <a:cxn ang="0">
                <a:pos x="connsiteX7793" y="connsiteY7793"/>
              </a:cxn>
              <a:cxn ang="0">
                <a:pos x="connsiteX7794" y="connsiteY7794"/>
              </a:cxn>
              <a:cxn ang="0">
                <a:pos x="connsiteX7795" y="connsiteY7795"/>
              </a:cxn>
              <a:cxn ang="0">
                <a:pos x="connsiteX7796" y="connsiteY7796"/>
              </a:cxn>
              <a:cxn ang="0">
                <a:pos x="connsiteX7797" y="connsiteY7797"/>
              </a:cxn>
              <a:cxn ang="0">
                <a:pos x="connsiteX7798" y="connsiteY7798"/>
              </a:cxn>
              <a:cxn ang="0">
                <a:pos x="connsiteX7799" y="connsiteY7799"/>
              </a:cxn>
              <a:cxn ang="0">
                <a:pos x="connsiteX7800" y="connsiteY7800"/>
              </a:cxn>
              <a:cxn ang="0">
                <a:pos x="connsiteX7801" y="connsiteY7801"/>
              </a:cxn>
              <a:cxn ang="0">
                <a:pos x="connsiteX7802" y="connsiteY7802"/>
              </a:cxn>
              <a:cxn ang="0">
                <a:pos x="connsiteX7803" y="connsiteY7803"/>
              </a:cxn>
              <a:cxn ang="0">
                <a:pos x="connsiteX7804" y="connsiteY7804"/>
              </a:cxn>
              <a:cxn ang="0">
                <a:pos x="connsiteX7805" y="connsiteY7805"/>
              </a:cxn>
              <a:cxn ang="0">
                <a:pos x="connsiteX7806" y="connsiteY7806"/>
              </a:cxn>
              <a:cxn ang="0">
                <a:pos x="connsiteX7807" y="connsiteY7807"/>
              </a:cxn>
              <a:cxn ang="0">
                <a:pos x="connsiteX7808" y="connsiteY7808"/>
              </a:cxn>
              <a:cxn ang="0">
                <a:pos x="connsiteX7809" y="connsiteY7809"/>
              </a:cxn>
              <a:cxn ang="0">
                <a:pos x="connsiteX7810" y="connsiteY7810"/>
              </a:cxn>
              <a:cxn ang="0">
                <a:pos x="connsiteX7811" y="connsiteY7811"/>
              </a:cxn>
              <a:cxn ang="0">
                <a:pos x="connsiteX7812" y="connsiteY7812"/>
              </a:cxn>
              <a:cxn ang="0">
                <a:pos x="connsiteX7813" y="connsiteY7813"/>
              </a:cxn>
              <a:cxn ang="0">
                <a:pos x="connsiteX7814" y="connsiteY7814"/>
              </a:cxn>
              <a:cxn ang="0">
                <a:pos x="connsiteX7815" y="connsiteY7815"/>
              </a:cxn>
              <a:cxn ang="0">
                <a:pos x="connsiteX7816" y="connsiteY7816"/>
              </a:cxn>
              <a:cxn ang="0">
                <a:pos x="connsiteX7817" y="connsiteY7817"/>
              </a:cxn>
              <a:cxn ang="0">
                <a:pos x="connsiteX7818" y="connsiteY7818"/>
              </a:cxn>
              <a:cxn ang="0">
                <a:pos x="connsiteX7819" y="connsiteY7819"/>
              </a:cxn>
              <a:cxn ang="0">
                <a:pos x="connsiteX7820" y="connsiteY7820"/>
              </a:cxn>
              <a:cxn ang="0">
                <a:pos x="connsiteX7821" y="connsiteY7821"/>
              </a:cxn>
              <a:cxn ang="0">
                <a:pos x="connsiteX7822" y="connsiteY7822"/>
              </a:cxn>
              <a:cxn ang="0">
                <a:pos x="connsiteX7823" y="connsiteY7823"/>
              </a:cxn>
              <a:cxn ang="0">
                <a:pos x="connsiteX7824" y="connsiteY7824"/>
              </a:cxn>
              <a:cxn ang="0">
                <a:pos x="connsiteX7825" y="connsiteY7825"/>
              </a:cxn>
              <a:cxn ang="0">
                <a:pos x="connsiteX7826" y="connsiteY7826"/>
              </a:cxn>
              <a:cxn ang="0">
                <a:pos x="connsiteX7827" y="connsiteY7827"/>
              </a:cxn>
              <a:cxn ang="0">
                <a:pos x="connsiteX7828" y="connsiteY7828"/>
              </a:cxn>
              <a:cxn ang="0">
                <a:pos x="connsiteX7829" y="connsiteY7829"/>
              </a:cxn>
              <a:cxn ang="0">
                <a:pos x="connsiteX7830" y="connsiteY7830"/>
              </a:cxn>
              <a:cxn ang="0">
                <a:pos x="connsiteX7831" y="connsiteY7831"/>
              </a:cxn>
              <a:cxn ang="0">
                <a:pos x="connsiteX7832" y="connsiteY7832"/>
              </a:cxn>
              <a:cxn ang="0">
                <a:pos x="connsiteX7833" y="connsiteY7833"/>
              </a:cxn>
              <a:cxn ang="0">
                <a:pos x="connsiteX7834" y="connsiteY7834"/>
              </a:cxn>
              <a:cxn ang="0">
                <a:pos x="connsiteX7835" y="connsiteY7835"/>
              </a:cxn>
              <a:cxn ang="0">
                <a:pos x="connsiteX7836" y="connsiteY7836"/>
              </a:cxn>
              <a:cxn ang="0">
                <a:pos x="connsiteX7837" y="connsiteY7837"/>
              </a:cxn>
              <a:cxn ang="0">
                <a:pos x="connsiteX7838" y="connsiteY7838"/>
              </a:cxn>
              <a:cxn ang="0">
                <a:pos x="connsiteX7839" y="connsiteY7839"/>
              </a:cxn>
              <a:cxn ang="0">
                <a:pos x="connsiteX7840" y="connsiteY7840"/>
              </a:cxn>
              <a:cxn ang="0">
                <a:pos x="connsiteX7841" y="connsiteY7841"/>
              </a:cxn>
              <a:cxn ang="0">
                <a:pos x="connsiteX7842" y="connsiteY7842"/>
              </a:cxn>
              <a:cxn ang="0">
                <a:pos x="connsiteX7843" y="connsiteY7843"/>
              </a:cxn>
              <a:cxn ang="0">
                <a:pos x="connsiteX7844" y="connsiteY7844"/>
              </a:cxn>
              <a:cxn ang="0">
                <a:pos x="connsiteX7845" y="connsiteY7845"/>
              </a:cxn>
              <a:cxn ang="0">
                <a:pos x="connsiteX7846" y="connsiteY7846"/>
              </a:cxn>
              <a:cxn ang="0">
                <a:pos x="connsiteX7847" y="connsiteY7847"/>
              </a:cxn>
              <a:cxn ang="0">
                <a:pos x="connsiteX7848" y="connsiteY7848"/>
              </a:cxn>
              <a:cxn ang="0">
                <a:pos x="connsiteX7849" y="connsiteY7849"/>
              </a:cxn>
              <a:cxn ang="0">
                <a:pos x="connsiteX7850" y="connsiteY7850"/>
              </a:cxn>
              <a:cxn ang="0">
                <a:pos x="connsiteX7851" y="connsiteY7851"/>
              </a:cxn>
              <a:cxn ang="0">
                <a:pos x="connsiteX7852" y="connsiteY7852"/>
              </a:cxn>
              <a:cxn ang="0">
                <a:pos x="connsiteX7853" y="connsiteY7853"/>
              </a:cxn>
              <a:cxn ang="0">
                <a:pos x="connsiteX7854" y="connsiteY7854"/>
              </a:cxn>
              <a:cxn ang="0">
                <a:pos x="connsiteX7855" y="connsiteY7855"/>
              </a:cxn>
              <a:cxn ang="0">
                <a:pos x="connsiteX7856" y="connsiteY7856"/>
              </a:cxn>
              <a:cxn ang="0">
                <a:pos x="connsiteX7857" y="connsiteY7857"/>
              </a:cxn>
              <a:cxn ang="0">
                <a:pos x="connsiteX7858" y="connsiteY7858"/>
              </a:cxn>
              <a:cxn ang="0">
                <a:pos x="connsiteX7859" y="connsiteY7859"/>
              </a:cxn>
              <a:cxn ang="0">
                <a:pos x="connsiteX7860" y="connsiteY7860"/>
              </a:cxn>
              <a:cxn ang="0">
                <a:pos x="connsiteX7861" y="connsiteY7861"/>
              </a:cxn>
              <a:cxn ang="0">
                <a:pos x="connsiteX7862" y="connsiteY7862"/>
              </a:cxn>
              <a:cxn ang="0">
                <a:pos x="connsiteX7863" y="connsiteY7863"/>
              </a:cxn>
              <a:cxn ang="0">
                <a:pos x="connsiteX7864" y="connsiteY7864"/>
              </a:cxn>
              <a:cxn ang="0">
                <a:pos x="connsiteX7865" y="connsiteY7865"/>
              </a:cxn>
              <a:cxn ang="0">
                <a:pos x="connsiteX7866" y="connsiteY7866"/>
              </a:cxn>
              <a:cxn ang="0">
                <a:pos x="connsiteX7867" y="connsiteY7867"/>
              </a:cxn>
              <a:cxn ang="0">
                <a:pos x="connsiteX7868" y="connsiteY7868"/>
              </a:cxn>
              <a:cxn ang="0">
                <a:pos x="connsiteX7869" y="connsiteY7869"/>
              </a:cxn>
              <a:cxn ang="0">
                <a:pos x="connsiteX7870" y="connsiteY7870"/>
              </a:cxn>
              <a:cxn ang="0">
                <a:pos x="connsiteX7871" y="connsiteY7871"/>
              </a:cxn>
              <a:cxn ang="0">
                <a:pos x="connsiteX7872" y="connsiteY7872"/>
              </a:cxn>
              <a:cxn ang="0">
                <a:pos x="connsiteX7873" y="connsiteY7873"/>
              </a:cxn>
              <a:cxn ang="0">
                <a:pos x="connsiteX7874" y="connsiteY7874"/>
              </a:cxn>
              <a:cxn ang="0">
                <a:pos x="connsiteX7875" y="connsiteY7875"/>
              </a:cxn>
              <a:cxn ang="0">
                <a:pos x="connsiteX7876" y="connsiteY7876"/>
              </a:cxn>
              <a:cxn ang="0">
                <a:pos x="connsiteX7877" y="connsiteY7877"/>
              </a:cxn>
              <a:cxn ang="0">
                <a:pos x="connsiteX7878" y="connsiteY7878"/>
              </a:cxn>
              <a:cxn ang="0">
                <a:pos x="connsiteX7879" y="connsiteY7879"/>
              </a:cxn>
              <a:cxn ang="0">
                <a:pos x="connsiteX7880" y="connsiteY7880"/>
              </a:cxn>
              <a:cxn ang="0">
                <a:pos x="connsiteX7881" y="connsiteY7881"/>
              </a:cxn>
              <a:cxn ang="0">
                <a:pos x="connsiteX7882" y="connsiteY7882"/>
              </a:cxn>
              <a:cxn ang="0">
                <a:pos x="connsiteX7883" y="connsiteY7883"/>
              </a:cxn>
              <a:cxn ang="0">
                <a:pos x="connsiteX7884" y="connsiteY7884"/>
              </a:cxn>
              <a:cxn ang="0">
                <a:pos x="connsiteX7885" y="connsiteY7885"/>
              </a:cxn>
              <a:cxn ang="0">
                <a:pos x="connsiteX7886" y="connsiteY7886"/>
              </a:cxn>
              <a:cxn ang="0">
                <a:pos x="connsiteX7887" y="connsiteY7887"/>
              </a:cxn>
              <a:cxn ang="0">
                <a:pos x="connsiteX7888" y="connsiteY7888"/>
              </a:cxn>
              <a:cxn ang="0">
                <a:pos x="connsiteX7889" y="connsiteY7889"/>
              </a:cxn>
              <a:cxn ang="0">
                <a:pos x="connsiteX7890" y="connsiteY7890"/>
              </a:cxn>
              <a:cxn ang="0">
                <a:pos x="connsiteX7891" y="connsiteY7891"/>
              </a:cxn>
              <a:cxn ang="0">
                <a:pos x="connsiteX7892" y="connsiteY7892"/>
              </a:cxn>
              <a:cxn ang="0">
                <a:pos x="connsiteX7893" y="connsiteY7893"/>
              </a:cxn>
              <a:cxn ang="0">
                <a:pos x="connsiteX7894" y="connsiteY7894"/>
              </a:cxn>
              <a:cxn ang="0">
                <a:pos x="connsiteX7895" y="connsiteY7895"/>
              </a:cxn>
              <a:cxn ang="0">
                <a:pos x="connsiteX7896" y="connsiteY7896"/>
              </a:cxn>
              <a:cxn ang="0">
                <a:pos x="connsiteX7897" y="connsiteY7897"/>
              </a:cxn>
              <a:cxn ang="0">
                <a:pos x="connsiteX7898" y="connsiteY7898"/>
              </a:cxn>
              <a:cxn ang="0">
                <a:pos x="connsiteX7899" y="connsiteY7899"/>
              </a:cxn>
              <a:cxn ang="0">
                <a:pos x="connsiteX7900" y="connsiteY7900"/>
              </a:cxn>
              <a:cxn ang="0">
                <a:pos x="connsiteX7901" y="connsiteY7901"/>
              </a:cxn>
              <a:cxn ang="0">
                <a:pos x="connsiteX7902" y="connsiteY7902"/>
              </a:cxn>
              <a:cxn ang="0">
                <a:pos x="connsiteX7903" y="connsiteY7903"/>
              </a:cxn>
              <a:cxn ang="0">
                <a:pos x="connsiteX7904" y="connsiteY7904"/>
              </a:cxn>
              <a:cxn ang="0">
                <a:pos x="connsiteX7905" y="connsiteY7905"/>
              </a:cxn>
              <a:cxn ang="0">
                <a:pos x="connsiteX7906" y="connsiteY7906"/>
              </a:cxn>
              <a:cxn ang="0">
                <a:pos x="connsiteX7907" y="connsiteY7907"/>
              </a:cxn>
              <a:cxn ang="0">
                <a:pos x="connsiteX7908" y="connsiteY7908"/>
              </a:cxn>
              <a:cxn ang="0">
                <a:pos x="connsiteX7909" y="connsiteY7909"/>
              </a:cxn>
              <a:cxn ang="0">
                <a:pos x="connsiteX7910" y="connsiteY7910"/>
              </a:cxn>
              <a:cxn ang="0">
                <a:pos x="connsiteX7911" y="connsiteY7911"/>
              </a:cxn>
              <a:cxn ang="0">
                <a:pos x="connsiteX7912" y="connsiteY7912"/>
              </a:cxn>
              <a:cxn ang="0">
                <a:pos x="connsiteX7913" y="connsiteY7913"/>
              </a:cxn>
              <a:cxn ang="0">
                <a:pos x="connsiteX7914" y="connsiteY7914"/>
              </a:cxn>
              <a:cxn ang="0">
                <a:pos x="connsiteX7915" y="connsiteY7915"/>
              </a:cxn>
              <a:cxn ang="0">
                <a:pos x="connsiteX7916" y="connsiteY7916"/>
              </a:cxn>
              <a:cxn ang="0">
                <a:pos x="connsiteX7917" y="connsiteY7917"/>
              </a:cxn>
              <a:cxn ang="0">
                <a:pos x="connsiteX7918" y="connsiteY7918"/>
              </a:cxn>
              <a:cxn ang="0">
                <a:pos x="connsiteX7919" y="connsiteY7919"/>
              </a:cxn>
              <a:cxn ang="0">
                <a:pos x="connsiteX7920" y="connsiteY7920"/>
              </a:cxn>
              <a:cxn ang="0">
                <a:pos x="connsiteX7921" y="connsiteY7921"/>
              </a:cxn>
              <a:cxn ang="0">
                <a:pos x="connsiteX7922" y="connsiteY7922"/>
              </a:cxn>
              <a:cxn ang="0">
                <a:pos x="connsiteX7923" y="connsiteY7923"/>
              </a:cxn>
              <a:cxn ang="0">
                <a:pos x="connsiteX7924" y="connsiteY7924"/>
              </a:cxn>
              <a:cxn ang="0">
                <a:pos x="connsiteX7925" y="connsiteY7925"/>
              </a:cxn>
              <a:cxn ang="0">
                <a:pos x="connsiteX7926" y="connsiteY7926"/>
              </a:cxn>
              <a:cxn ang="0">
                <a:pos x="connsiteX7927" y="connsiteY7927"/>
              </a:cxn>
              <a:cxn ang="0">
                <a:pos x="connsiteX7928" y="connsiteY7928"/>
              </a:cxn>
              <a:cxn ang="0">
                <a:pos x="connsiteX7929" y="connsiteY7929"/>
              </a:cxn>
              <a:cxn ang="0">
                <a:pos x="connsiteX7930" y="connsiteY7930"/>
              </a:cxn>
              <a:cxn ang="0">
                <a:pos x="connsiteX7931" y="connsiteY7931"/>
              </a:cxn>
              <a:cxn ang="0">
                <a:pos x="connsiteX7932" y="connsiteY7932"/>
              </a:cxn>
              <a:cxn ang="0">
                <a:pos x="connsiteX7933" y="connsiteY7933"/>
              </a:cxn>
              <a:cxn ang="0">
                <a:pos x="connsiteX7934" y="connsiteY7934"/>
              </a:cxn>
              <a:cxn ang="0">
                <a:pos x="connsiteX7935" y="connsiteY7935"/>
              </a:cxn>
              <a:cxn ang="0">
                <a:pos x="connsiteX7936" y="connsiteY7936"/>
              </a:cxn>
              <a:cxn ang="0">
                <a:pos x="connsiteX7937" y="connsiteY7937"/>
              </a:cxn>
              <a:cxn ang="0">
                <a:pos x="connsiteX7938" y="connsiteY7938"/>
              </a:cxn>
              <a:cxn ang="0">
                <a:pos x="connsiteX7939" y="connsiteY7939"/>
              </a:cxn>
              <a:cxn ang="0">
                <a:pos x="connsiteX7940" y="connsiteY7940"/>
              </a:cxn>
              <a:cxn ang="0">
                <a:pos x="connsiteX7941" y="connsiteY7941"/>
              </a:cxn>
              <a:cxn ang="0">
                <a:pos x="connsiteX7942" y="connsiteY7942"/>
              </a:cxn>
              <a:cxn ang="0">
                <a:pos x="connsiteX7943" y="connsiteY7943"/>
              </a:cxn>
              <a:cxn ang="0">
                <a:pos x="connsiteX7944" y="connsiteY7944"/>
              </a:cxn>
              <a:cxn ang="0">
                <a:pos x="connsiteX7945" y="connsiteY7945"/>
              </a:cxn>
              <a:cxn ang="0">
                <a:pos x="connsiteX7946" y="connsiteY7946"/>
              </a:cxn>
              <a:cxn ang="0">
                <a:pos x="connsiteX7947" y="connsiteY7947"/>
              </a:cxn>
              <a:cxn ang="0">
                <a:pos x="connsiteX7948" y="connsiteY7948"/>
              </a:cxn>
              <a:cxn ang="0">
                <a:pos x="connsiteX7949" y="connsiteY7949"/>
              </a:cxn>
              <a:cxn ang="0">
                <a:pos x="connsiteX7950" y="connsiteY7950"/>
              </a:cxn>
              <a:cxn ang="0">
                <a:pos x="connsiteX7951" y="connsiteY7951"/>
              </a:cxn>
              <a:cxn ang="0">
                <a:pos x="connsiteX7952" y="connsiteY7952"/>
              </a:cxn>
              <a:cxn ang="0">
                <a:pos x="connsiteX7953" y="connsiteY7953"/>
              </a:cxn>
              <a:cxn ang="0">
                <a:pos x="connsiteX7954" y="connsiteY7954"/>
              </a:cxn>
              <a:cxn ang="0">
                <a:pos x="connsiteX7955" y="connsiteY7955"/>
              </a:cxn>
              <a:cxn ang="0">
                <a:pos x="connsiteX7956" y="connsiteY7956"/>
              </a:cxn>
              <a:cxn ang="0">
                <a:pos x="connsiteX7957" y="connsiteY7957"/>
              </a:cxn>
              <a:cxn ang="0">
                <a:pos x="connsiteX7958" y="connsiteY7958"/>
              </a:cxn>
              <a:cxn ang="0">
                <a:pos x="connsiteX7959" y="connsiteY7959"/>
              </a:cxn>
              <a:cxn ang="0">
                <a:pos x="connsiteX7960" y="connsiteY7960"/>
              </a:cxn>
              <a:cxn ang="0">
                <a:pos x="connsiteX7961" y="connsiteY7961"/>
              </a:cxn>
              <a:cxn ang="0">
                <a:pos x="connsiteX7962" y="connsiteY7962"/>
              </a:cxn>
              <a:cxn ang="0">
                <a:pos x="connsiteX7963" y="connsiteY7963"/>
              </a:cxn>
              <a:cxn ang="0">
                <a:pos x="connsiteX7964" y="connsiteY7964"/>
              </a:cxn>
              <a:cxn ang="0">
                <a:pos x="connsiteX7965" y="connsiteY7965"/>
              </a:cxn>
              <a:cxn ang="0">
                <a:pos x="connsiteX7966" y="connsiteY7966"/>
              </a:cxn>
              <a:cxn ang="0">
                <a:pos x="connsiteX7967" y="connsiteY7967"/>
              </a:cxn>
              <a:cxn ang="0">
                <a:pos x="connsiteX7968" y="connsiteY7968"/>
              </a:cxn>
              <a:cxn ang="0">
                <a:pos x="connsiteX7969" y="connsiteY7969"/>
              </a:cxn>
              <a:cxn ang="0">
                <a:pos x="connsiteX7970" y="connsiteY7970"/>
              </a:cxn>
              <a:cxn ang="0">
                <a:pos x="connsiteX7971" y="connsiteY7971"/>
              </a:cxn>
              <a:cxn ang="0">
                <a:pos x="connsiteX7972" y="connsiteY7972"/>
              </a:cxn>
              <a:cxn ang="0">
                <a:pos x="connsiteX7973" y="connsiteY7973"/>
              </a:cxn>
              <a:cxn ang="0">
                <a:pos x="connsiteX7974" y="connsiteY7974"/>
              </a:cxn>
              <a:cxn ang="0">
                <a:pos x="connsiteX7975" y="connsiteY7975"/>
              </a:cxn>
              <a:cxn ang="0">
                <a:pos x="connsiteX7976" y="connsiteY7976"/>
              </a:cxn>
              <a:cxn ang="0">
                <a:pos x="connsiteX7977" y="connsiteY7977"/>
              </a:cxn>
              <a:cxn ang="0">
                <a:pos x="connsiteX7978" y="connsiteY7978"/>
              </a:cxn>
              <a:cxn ang="0">
                <a:pos x="connsiteX7979" y="connsiteY7979"/>
              </a:cxn>
              <a:cxn ang="0">
                <a:pos x="connsiteX7980" y="connsiteY7980"/>
              </a:cxn>
              <a:cxn ang="0">
                <a:pos x="connsiteX7981" y="connsiteY7981"/>
              </a:cxn>
              <a:cxn ang="0">
                <a:pos x="connsiteX7982" y="connsiteY7982"/>
              </a:cxn>
              <a:cxn ang="0">
                <a:pos x="connsiteX7983" y="connsiteY7983"/>
              </a:cxn>
              <a:cxn ang="0">
                <a:pos x="connsiteX7984" y="connsiteY7984"/>
              </a:cxn>
              <a:cxn ang="0">
                <a:pos x="connsiteX7985" y="connsiteY7985"/>
              </a:cxn>
              <a:cxn ang="0">
                <a:pos x="connsiteX7986" y="connsiteY7986"/>
              </a:cxn>
              <a:cxn ang="0">
                <a:pos x="connsiteX7987" y="connsiteY7987"/>
              </a:cxn>
              <a:cxn ang="0">
                <a:pos x="connsiteX7988" y="connsiteY7988"/>
              </a:cxn>
              <a:cxn ang="0">
                <a:pos x="connsiteX7989" y="connsiteY7989"/>
              </a:cxn>
              <a:cxn ang="0">
                <a:pos x="connsiteX7990" y="connsiteY7990"/>
              </a:cxn>
              <a:cxn ang="0">
                <a:pos x="connsiteX7991" y="connsiteY7991"/>
              </a:cxn>
              <a:cxn ang="0">
                <a:pos x="connsiteX7992" y="connsiteY7992"/>
              </a:cxn>
              <a:cxn ang="0">
                <a:pos x="connsiteX7993" y="connsiteY7993"/>
              </a:cxn>
              <a:cxn ang="0">
                <a:pos x="connsiteX7994" y="connsiteY7994"/>
              </a:cxn>
              <a:cxn ang="0">
                <a:pos x="connsiteX7995" y="connsiteY7995"/>
              </a:cxn>
              <a:cxn ang="0">
                <a:pos x="connsiteX7996" y="connsiteY7996"/>
              </a:cxn>
              <a:cxn ang="0">
                <a:pos x="connsiteX7997" y="connsiteY7997"/>
              </a:cxn>
              <a:cxn ang="0">
                <a:pos x="connsiteX7998" y="connsiteY7998"/>
              </a:cxn>
              <a:cxn ang="0">
                <a:pos x="connsiteX7999" y="connsiteY7999"/>
              </a:cxn>
              <a:cxn ang="0">
                <a:pos x="connsiteX8000" y="connsiteY8000"/>
              </a:cxn>
              <a:cxn ang="0">
                <a:pos x="connsiteX8001" y="connsiteY8001"/>
              </a:cxn>
              <a:cxn ang="0">
                <a:pos x="connsiteX8002" y="connsiteY8002"/>
              </a:cxn>
              <a:cxn ang="0">
                <a:pos x="connsiteX8003" y="connsiteY8003"/>
              </a:cxn>
              <a:cxn ang="0">
                <a:pos x="connsiteX8004" y="connsiteY8004"/>
              </a:cxn>
              <a:cxn ang="0">
                <a:pos x="connsiteX8005" y="connsiteY8005"/>
              </a:cxn>
              <a:cxn ang="0">
                <a:pos x="connsiteX8006" y="connsiteY8006"/>
              </a:cxn>
              <a:cxn ang="0">
                <a:pos x="connsiteX8007" y="connsiteY8007"/>
              </a:cxn>
              <a:cxn ang="0">
                <a:pos x="connsiteX8008" y="connsiteY8008"/>
              </a:cxn>
              <a:cxn ang="0">
                <a:pos x="connsiteX8009" y="connsiteY8009"/>
              </a:cxn>
              <a:cxn ang="0">
                <a:pos x="connsiteX8010" y="connsiteY8010"/>
              </a:cxn>
              <a:cxn ang="0">
                <a:pos x="connsiteX8011" y="connsiteY8011"/>
              </a:cxn>
              <a:cxn ang="0">
                <a:pos x="connsiteX8012" y="connsiteY8012"/>
              </a:cxn>
              <a:cxn ang="0">
                <a:pos x="connsiteX8013" y="connsiteY8013"/>
              </a:cxn>
              <a:cxn ang="0">
                <a:pos x="connsiteX8014" y="connsiteY8014"/>
              </a:cxn>
              <a:cxn ang="0">
                <a:pos x="connsiteX8015" y="connsiteY8015"/>
              </a:cxn>
              <a:cxn ang="0">
                <a:pos x="connsiteX8016" y="connsiteY8016"/>
              </a:cxn>
              <a:cxn ang="0">
                <a:pos x="connsiteX8017" y="connsiteY8017"/>
              </a:cxn>
              <a:cxn ang="0">
                <a:pos x="connsiteX8018" y="connsiteY8018"/>
              </a:cxn>
              <a:cxn ang="0">
                <a:pos x="connsiteX8019" y="connsiteY8019"/>
              </a:cxn>
              <a:cxn ang="0">
                <a:pos x="connsiteX8020" y="connsiteY8020"/>
              </a:cxn>
              <a:cxn ang="0">
                <a:pos x="connsiteX8021" y="connsiteY8021"/>
              </a:cxn>
              <a:cxn ang="0">
                <a:pos x="connsiteX8022" y="connsiteY8022"/>
              </a:cxn>
              <a:cxn ang="0">
                <a:pos x="connsiteX8023" y="connsiteY8023"/>
              </a:cxn>
              <a:cxn ang="0">
                <a:pos x="connsiteX8024" y="connsiteY8024"/>
              </a:cxn>
              <a:cxn ang="0">
                <a:pos x="connsiteX8025" y="connsiteY8025"/>
              </a:cxn>
              <a:cxn ang="0">
                <a:pos x="connsiteX8026" y="connsiteY8026"/>
              </a:cxn>
              <a:cxn ang="0">
                <a:pos x="connsiteX8027" y="connsiteY8027"/>
              </a:cxn>
              <a:cxn ang="0">
                <a:pos x="connsiteX8028" y="connsiteY8028"/>
              </a:cxn>
              <a:cxn ang="0">
                <a:pos x="connsiteX8029" y="connsiteY8029"/>
              </a:cxn>
              <a:cxn ang="0">
                <a:pos x="connsiteX8030" y="connsiteY8030"/>
              </a:cxn>
              <a:cxn ang="0">
                <a:pos x="connsiteX8031" y="connsiteY8031"/>
              </a:cxn>
              <a:cxn ang="0">
                <a:pos x="connsiteX8032" y="connsiteY8032"/>
              </a:cxn>
              <a:cxn ang="0">
                <a:pos x="connsiteX8033" y="connsiteY8033"/>
              </a:cxn>
              <a:cxn ang="0">
                <a:pos x="connsiteX8034" y="connsiteY8034"/>
              </a:cxn>
              <a:cxn ang="0">
                <a:pos x="connsiteX8035" y="connsiteY8035"/>
              </a:cxn>
              <a:cxn ang="0">
                <a:pos x="connsiteX8036" y="connsiteY8036"/>
              </a:cxn>
              <a:cxn ang="0">
                <a:pos x="connsiteX8037" y="connsiteY8037"/>
              </a:cxn>
              <a:cxn ang="0">
                <a:pos x="connsiteX8038" y="connsiteY8038"/>
              </a:cxn>
              <a:cxn ang="0">
                <a:pos x="connsiteX8039" y="connsiteY8039"/>
              </a:cxn>
              <a:cxn ang="0">
                <a:pos x="connsiteX8040" y="connsiteY8040"/>
              </a:cxn>
              <a:cxn ang="0">
                <a:pos x="connsiteX8041" y="connsiteY8041"/>
              </a:cxn>
              <a:cxn ang="0">
                <a:pos x="connsiteX8042" y="connsiteY8042"/>
              </a:cxn>
              <a:cxn ang="0">
                <a:pos x="connsiteX8043" y="connsiteY8043"/>
              </a:cxn>
              <a:cxn ang="0">
                <a:pos x="connsiteX8044" y="connsiteY8044"/>
              </a:cxn>
              <a:cxn ang="0">
                <a:pos x="connsiteX8045" y="connsiteY8045"/>
              </a:cxn>
              <a:cxn ang="0">
                <a:pos x="connsiteX8046" y="connsiteY8046"/>
              </a:cxn>
              <a:cxn ang="0">
                <a:pos x="connsiteX8047" y="connsiteY8047"/>
              </a:cxn>
              <a:cxn ang="0">
                <a:pos x="connsiteX8048" y="connsiteY8048"/>
              </a:cxn>
              <a:cxn ang="0">
                <a:pos x="connsiteX8049" y="connsiteY8049"/>
              </a:cxn>
              <a:cxn ang="0">
                <a:pos x="connsiteX8050" y="connsiteY8050"/>
              </a:cxn>
              <a:cxn ang="0">
                <a:pos x="connsiteX8051" y="connsiteY8051"/>
              </a:cxn>
              <a:cxn ang="0">
                <a:pos x="connsiteX8052" y="connsiteY8052"/>
              </a:cxn>
              <a:cxn ang="0">
                <a:pos x="connsiteX8053" y="connsiteY8053"/>
              </a:cxn>
              <a:cxn ang="0">
                <a:pos x="connsiteX8054" y="connsiteY8054"/>
              </a:cxn>
              <a:cxn ang="0">
                <a:pos x="connsiteX8055" y="connsiteY8055"/>
              </a:cxn>
              <a:cxn ang="0">
                <a:pos x="connsiteX8056" y="connsiteY8056"/>
              </a:cxn>
              <a:cxn ang="0">
                <a:pos x="connsiteX8057" y="connsiteY8057"/>
              </a:cxn>
              <a:cxn ang="0">
                <a:pos x="connsiteX8058" y="connsiteY8058"/>
              </a:cxn>
              <a:cxn ang="0">
                <a:pos x="connsiteX8059" y="connsiteY8059"/>
              </a:cxn>
              <a:cxn ang="0">
                <a:pos x="connsiteX8060" y="connsiteY8060"/>
              </a:cxn>
              <a:cxn ang="0">
                <a:pos x="connsiteX8061" y="connsiteY8061"/>
              </a:cxn>
              <a:cxn ang="0">
                <a:pos x="connsiteX8062" y="connsiteY8062"/>
              </a:cxn>
              <a:cxn ang="0">
                <a:pos x="connsiteX8063" y="connsiteY8063"/>
              </a:cxn>
              <a:cxn ang="0">
                <a:pos x="connsiteX8064" y="connsiteY8064"/>
              </a:cxn>
              <a:cxn ang="0">
                <a:pos x="connsiteX8065" y="connsiteY8065"/>
              </a:cxn>
              <a:cxn ang="0">
                <a:pos x="connsiteX8066" y="connsiteY8066"/>
              </a:cxn>
              <a:cxn ang="0">
                <a:pos x="connsiteX8067" y="connsiteY8067"/>
              </a:cxn>
              <a:cxn ang="0">
                <a:pos x="connsiteX8068" y="connsiteY8068"/>
              </a:cxn>
              <a:cxn ang="0">
                <a:pos x="connsiteX8069" y="connsiteY8069"/>
              </a:cxn>
              <a:cxn ang="0">
                <a:pos x="connsiteX8070" y="connsiteY8070"/>
              </a:cxn>
              <a:cxn ang="0">
                <a:pos x="connsiteX8071" y="connsiteY8071"/>
              </a:cxn>
              <a:cxn ang="0">
                <a:pos x="connsiteX8072" y="connsiteY8072"/>
              </a:cxn>
              <a:cxn ang="0">
                <a:pos x="connsiteX8073" y="connsiteY8073"/>
              </a:cxn>
              <a:cxn ang="0">
                <a:pos x="connsiteX8074" y="connsiteY8074"/>
              </a:cxn>
              <a:cxn ang="0">
                <a:pos x="connsiteX8075" y="connsiteY8075"/>
              </a:cxn>
              <a:cxn ang="0">
                <a:pos x="connsiteX8076" y="connsiteY8076"/>
              </a:cxn>
              <a:cxn ang="0">
                <a:pos x="connsiteX8077" y="connsiteY8077"/>
              </a:cxn>
              <a:cxn ang="0">
                <a:pos x="connsiteX8078" y="connsiteY8078"/>
              </a:cxn>
              <a:cxn ang="0">
                <a:pos x="connsiteX8079" y="connsiteY8079"/>
              </a:cxn>
              <a:cxn ang="0">
                <a:pos x="connsiteX8080" y="connsiteY8080"/>
              </a:cxn>
              <a:cxn ang="0">
                <a:pos x="connsiteX8081" y="connsiteY8081"/>
              </a:cxn>
              <a:cxn ang="0">
                <a:pos x="connsiteX8082" y="connsiteY8082"/>
              </a:cxn>
              <a:cxn ang="0">
                <a:pos x="connsiteX8083" y="connsiteY8083"/>
              </a:cxn>
              <a:cxn ang="0">
                <a:pos x="connsiteX8084" y="connsiteY8084"/>
              </a:cxn>
              <a:cxn ang="0">
                <a:pos x="connsiteX8085" y="connsiteY8085"/>
              </a:cxn>
              <a:cxn ang="0">
                <a:pos x="connsiteX8086" y="connsiteY8086"/>
              </a:cxn>
              <a:cxn ang="0">
                <a:pos x="connsiteX8087" y="connsiteY8087"/>
              </a:cxn>
              <a:cxn ang="0">
                <a:pos x="connsiteX8088" y="connsiteY8088"/>
              </a:cxn>
              <a:cxn ang="0">
                <a:pos x="connsiteX8089" y="connsiteY8089"/>
              </a:cxn>
              <a:cxn ang="0">
                <a:pos x="connsiteX8090" y="connsiteY8090"/>
              </a:cxn>
              <a:cxn ang="0">
                <a:pos x="connsiteX8091" y="connsiteY8091"/>
              </a:cxn>
              <a:cxn ang="0">
                <a:pos x="connsiteX8092" y="connsiteY8092"/>
              </a:cxn>
              <a:cxn ang="0">
                <a:pos x="connsiteX8093" y="connsiteY8093"/>
              </a:cxn>
              <a:cxn ang="0">
                <a:pos x="connsiteX8094" y="connsiteY8094"/>
              </a:cxn>
              <a:cxn ang="0">
                <a:pos x="connsiteX8095" y="connsiteY8095"/>
              </a:cxn>
              <a:cxn ang="0">
                <a:pos x="connsiteX8096" y="connsiteY8096"/>
              </a:cxn>
              <a:cxn ang="0">
                <a:pos x="connsiteX8097" y="connsiteY8097"/>
              </a:cxn>
              <a:cxn ang="0">
                <a:pos x="connsiteX8098" y="connsiteY8098"/>
              </a:cxn>
              <a:cxn ang="0">
                <a:pos x="connsiteX8099" y="connsiteY8099"/>
              </a:cxn>
              <a:cxn ang="0">
                <a:pos x="connsiteX8100" y="connsiteY8100"/>
              </a:cxn>
              <a:cxn ang="0">
                <a:pos x="connsiteX8101" y="connsiteY8101"/>
              </a:cxn>
              <a:cxn ang="0">
                <a:pos x="connsiteX8102" y="connsiteY8102"/>
              </a:cxn>
              <a:cxn ang="0">
                <a:pos x="connsiteX8103" y="connsiteY8103"/>
              </a:cxn>
              <a:cxn ang="0">
                <a:pos x="connsiteX8104" y="connsiteY8104"/>
              </a:cxn>
              <a:cxn ang="0">
                <a:pos x="connsiteX8105" y="connsiteY8105"/>
              </a:cxn>
              <a:cxn ang="0">
                <a:pos x="connsiteX8106" y="connsiteY8106"/>
              </a:cxn>
              <a:cxn ang="0">
                <a:pos x="connsiteX8107" y="connsiteY8107"/>
              </a:cxn>
              <a:cxn ang="0">
                <a:pos x="connsiteX8108" y="connsiteY8108"/>
              </a:cxn>
              <a:cxn ang="0">
                <a:pos x="connsiteX8109" y="connsiteY8109"/>
              </a:cxn>
              <a:cxn ang="0">
                <a:pos x="connsiteX8110" y="connsiteY8110"/>
              </a:cxn>
              <a:cxn ang="0">
                <a:pos x="connsiteX8111" y="connsiteY8111"/>
              </a:cxn>
              <a:cxn ang="0">
                <a:pos x="connsiteX8112" y="connsiteY8112"/>
              </a:cxn>
              <a:cxn ang="0">
                <a:pos x="connsiteX8113" y="connsiteY8113"/>
              </a:cxn>
              <a:cxn ang="0">
                <a:pos x="connsiteX8114" y="connsiteY8114"/>
              </a:cxn>
              <a:cxn ang="0">
                <a:pos x="connsiteX8115" y="connsiteY8115"/>
              </a:cxn>
              <a:cxn ang="0">
                <a:pos x="connsiteX8116" y="connsiteY8116"/>
              </a:cxn>
              <a:cxn ang="0">
                <a:pos x="connsiteX8117" y="connsiteY8117"/>
              </a:cxn>
              <a:cxn ang="0">
                <a:pos x="connsiteX8118" y="connsiteY8118"/>
              </a:cxn>
              <a:cxn ang="0">
                <a:pos x="connsiteX8119" y="connsiteY8119"/>
              </a:cxn>
              <a:cxn ang="0">
                <a:pos x="connsiteX8120" y="connsiteY8120"/>
              </a:cxn>
              <a:cxn ang="0">
                <a:pos x="connsiteX8121" y="connsiteY8121"/>
              </a:cxn>
              <a:cxn ang="0">
                <a:pos x="connsiteX8122" y="connsiteY8122"/>
              </a:cxn>
              <a:cxn ang="0">
                <a:pos x="connsiteX8123" y="connsiteY8123"/>
              </a:cxn>
              <a:cxn ang="0">
                <a:pos x="connsiteX8124" y="connsiteY8124"/>
              </a:cxn>
              <a:cxn ang="0">
                <a:pos x="connsiteX8125" y="connsiteY8125"/>
              </a:cxn>
              <a:cxn ang="0">
                <a:pos x="connsiteX8126" y="connsiteY8126"/>
              </a:cxn>
              <a:cxn ang="0">
                <a:pos x="connsiteX8127" y="connsiteY8127"/>
              </a:cxn>
              <a:cxn ang="0">
                <a:pos x="connsiteX8128" y="connsiteY8128"/>
              </a:cxn>
              <a:cxn ang="0">
                <a:pos x="connsiteX8129" y="connsiteY8129"/>
              </a:cxn>
              <a:cxn ang="0">
                <a:pos x="connsiteX8130" y="connsiteY8130"/>
              </a:cxn>
              <a:cxn ang="0">
                <a:pos x="connsiteX8131" y="connsiteY8131"/>
              </a:cxn>
              <a:cxn ang="0">
                <a:pos x="connsiteX8132" y="connsiteY8132"/>
              </a:cxn>
              <a:cxn ang="0">
                <a:pos x="connsiteX8133" y="connsiteY8133"/>
              </a:cxn>
              <a:cxn ang="0">
                <a:pos x="connsiteX8134" y="connsiteY8134"/>
              </a:cxn>
              <a:cxn ang="0">
                <a:pos x="connsiteX8135" y="connsiteY8135"/>
              </a:cxn>
              <a:cxn ang="0">
                <a:pos x="connsiteX8136" y="connsiteY8136"/>
              </a:cxn>
              <a:cxn ang="0">
                <a:pos x="connsiteX8137" y="connsiteY8137"/>
              </a:cxn>
              <a:cxn ang="0">
                <a:pos x="connsiteX8138" y="connsiteY8138"/>
              </a:cxn>
              <a:cxn ang="0">
                <a:pos x="connsiteX8139" y="connsiteY8139"/>
              </a:cxn>
              <a:cxn ang="0">
                <a:pos x="connsiteX8140" y="connsiteY8140"/>
              </a:cxn>
              <a:cxn ang="0">
                <a:pos x="connsiteX8141" y="connsiteY8141"/>
              </a:cxn>
              <a:cxn ang="0">
                <a:pos x="connsiteX8142" y="connsiteY8142"/>
              </a:cxn>
              <a:cxn ang="0">
                <a:pos x="connsiteX8143" y="connsiteY8143"/>
              </a:cxn>
              <a:cxn ang="0">
                <a:pos x="connsiteX8144" y="connsiteY8144"/>
              </a:cxn>
              <a:cxn ang="0">
                <a:pos x="connsiteX8145" y="connsiteY8145"/>
              </a:cxn>
              <a:cxn ang="0">
                <a:pos x="connsiteX8146" y="connsiteY8146"/>
              </a:cxn>
              <a:cxn ang="0">
                <a:pos x="connsiteX8147" y="connsiteY8147"/>
              </a:cxn>
              <a:cxn ang="0">
                <a:pos x="connsiteX8148" y="connsiteY8148"/>
              </a:cxn>
              <a:cxn ang="0">
                <a:pos x="connsiteX8149" y="connsiteY8149"/>
              </a:cxn>
              <a:cxn ang="0">
                <a:pos x="connsiteX8150" y="connsiteY8150"/>
              </a:cxn>
              <a:cxn ang="0">
                <a:pos x="connsiteX8151" y="connsiteY8151"/>
              </a:cxn>
              <a:cxn ang="0">
                <a:pos x="connsiteX8152" y="connsiteY8152"/>
              </a:cxn>
              <a:cxn ang="0">
                <a:pos x="connsiteX8153" y="connsiteY8153"/>
              </a:cxn>
              <a:cxn ang="0">
                <a:pos x="connsiteX8154" y="connsiteY8154"/>
              </a:cxn>
              <a:cxn ang="0">
                <a:pos x="connsiteX8155" y="connsiteY8155"/>
              </a:cxn>
              <a:cxn ang="0">
                <a:pos x="connsiteX8156" y="connsiteY8156"/>
              </a:cxn>
              <a:cxn ang="0">
                <a:pos x="connsiteX8157" y="connsiteY8157"/>
              </a:cxn>
              <a:cxn ang="0">
                <a:pos x="connsiteX8158" y="connsiteY8158"/>
              </a:cxn>
              <a:cxn ang="0">
                <a:pos x="connsiteX8159" y="connsiteY8159"/>
              </a:cxn>
              <a:cxn ang="0">
                <a:pos x="connsiteX8160" y="connsiteY8160"/>
              </a:cxn>
              <a:cxn ang="0">
                <a:pos x="connsiteX8161" y="connsiteY8161"/>
              </a:cxn>
              <a:cxn ang="0">
                <a:pos x="connsiteX8162" y="connsiteY8162"/>
              </a:cxn>
              <a:cxn ang="0">
                <a:pos x="connsiteX8163" y="connsiteY8163"/>
              </a:cxn>
              <a:cxn ang="0">
                <a:pos x="connsiteX8164" y="connsiteY8164"/>
              </a:cxn>
              <a:cxn ang="0">
                <a:pos x="connsiteX8165" y="connsiteY8165"/>
              </a:cxn>
              <a:cxn ang="0">
                <a:pos x="connsiteX8166" y="connsiteY8166"/>
              </a:cxn>
              <a:cxn ang="0">
                <a:pos x="connsiteX8167" y="connsiteY8167"/>
              </a:cxn>
              <a:cxn ang="0">
                <a:pos x="connsiteX8168" y="connsiteY8168"/>
              </a:cxn>
              <a:cxn ang="0">
                <a:pos x="connsiteX8169" y="connsiteY8169"/>
              </a:cxn>
              <a:cxn ang="0">
                <a:pos x="connsiteX8170" y="connsiteY8170"/>
              </a:cxn>
              <a:cxn ang="0">
                <a:pos x="connsiteX8171" y="connsiteY8171"/>
              </a:cxn>
              <a:cxn ang="0">
                <a:pos x="connsiteX8172" y="connsiteY8172"/>
              </a:cxn>
              <a:cxn ang="0">
                <a:pos x="connsiteX8173" y="connsiteY8173"/>
              </a:cxn>
              <a:cxn ang="0">
                <a:pos x="connsiteX8174" y="connsiteY8174"/>
              </a:cxn>
              <a:cxn ang="0">
                <a:pos x="connsiteX8175" y="connsiteY8175"/>
              </a:cxn>
              <a:cxn ang="0">
                <a:pos x="connsiteX8176" y="connsiteY8176"/>
              </a:cxn>
              <a:cxn ang="0">
                <a:pos x="connsiteX8177" y="connsiteY8177"/>
              </a:cxn>
              <a:cxn ang="0">
                <a:pos x="connsiteX8178" y="connsiteY8178"/>
              </a:cxn>
              <a:cxn ang="0">
                <a:pos x="connsiteX8179" y="connsiteY8179"/>
              </a:cxn>
              <a:cxn ang="0">
                <a:pos x="connsiteX8180" y="connsiteY8180"/>
              </a:cxn>
              <a:cxn ang="0">
                <a:pos x="connsiteX8181" y="connsiteY8181"/>
              </a:cxn>
              <a:cxn ang="0">
                <a:pos x="connsiteX8182" y="connsiteY8182"/>
              </a:cxn>
              <a:cxn ang="0">
                <a:pos x="connsiteX8183" y="connsiteY8183"/>
              </a:cxn>
              <a:cxn ang="0">
                <a:pos x="connsiteX8184" y="connsiteY8184"/>
              </a:cxn>
              <a:cxn ang="0">
                <a:pos x="connsiteX8185" y="connsiteY8185"/>
              </a:cxn>
              <a:cxn ang="0">
                <a:pos x="connsiteX8186" y="connsiteY8186"/>
              </a:cxn>
              <a:cxn ang="0">
                <a:pos x="connsiteX8187" y="connsiteY8187"/>
              </a:cxn>
              <a:cxn ang="0">
                <a:pos x="connsiteX8188" y="connsiteY8188"/>
              </a:cxn>
              <a:cxn ang="0">
                <a:pos x="connsiteX8189" y="connsiteY8189"/>
              </a:cxn>
              <a:cxn ang="0">
                <a:pos x="connsiteX8190" y="connsiteY8190"/>
              </a:cxn>
              <a:cxn ang="0">
                <a:pos x="connsiteX8191" y="connsiteY8191"/>
              </a:cxn>
              <a:cxn ang="0">
                <a:pos x="connsiteX8192" y="connsiteY8192"/>
              </a:cxn>
              <a:cxn ang="0">
                <a:pos x="connsiteX8193" y="connsiteY8193"/>
              </a:cxn>
              <a:cxn ang="0">
                <a:pos x="connsiteX8194" y="connsiteY8194"/>
              </a:cxn>
              <a:cxn ang="0">
                <a:pos x="connsiteX8195" y="connsiteY8195"/>
              </a:cxn>
              <a:cxn ang="0">
                <a:pos x="connsiteX8196" y="connsiteY8196"/>
              </a:cxn>
              <a:cxn ang="0">
                <a:pos x="connsiteX8197" y="connsiteY8197"/>
              </a:cxn>
              <a:cxn ang="0">
                <a:pos x="connsiteX8198" y="connsiteY8198"/>
              </a:cxn>
              <a:cxn ang="0">
                <a:pos x="connsiteX8199" y="connsiteY8199"/>
              </a:cxn>
              <a:cxn ang="0">
                <a:pos x="connsiteX8200" y="connsiteY8200"/>
              </a:cxn>
              <a:cxn ang="0">
                <a:pos x="connsiteX8201" y="connsiteY8201"/>
              </a:cxn>
              <a:cxn ang="0">
                <a:pos x="connsiteX8202" y="connsiteY8202"/>
              </a:cxn>
              <a:cxn ang="0">
                <a:pos x="connsiteX8203" y="connsiteY8203"/>
              </a:cxn>
              <a:cxn ang="0">
                <a:pos x="connsiteX8204" y="connsiteY8204"/>
              </a:cxn>
              <a:cxn ang="0">
                <a:pos x="connsiteX8205" y="connsiteY8205"/>
              </a:cxn>
              <a:cxn ang="0">
                <a:pos x="connsiteX8206" y="connsiteY8206"/>
              </a:cxn>
              <a:cxn ang="0">
                <a:pos x="connsiteX8207" y="connsiteY8207"/>
              </a:cxn>
              <a:cxn ang="0">
                <a:pos x="connsiteX8208" y="connsiteY8208"/>
              </a:cxn>
              <a:cxn ang="0">
                <a:pos x="connsiteX8209" y="connsiteY8209"/>
              </a:cxn>
              <a:cxn ang="0">
                <a:pos x="connsiteX8210" y="connsiteY8210"/>
              </a:cxn>
              <a:cxn ang="0">
                <a:pos x="connsiteX8211" y="connsiteY8211"/>
              </a:cxn>
              <a:cxn ang="0">
                <a:pos x="connsiteX8212" y="connsiteY8212"/>
              </a:cxn>
              <a:cxn ang="0">
                <a:pos x="connsiteX8213" y="connsiteY8213"/>
              </a:cxn>
              <a:cxn ang="0">
                <a:pos x="connsiteX8214" y="connsiteY8214"/>
              </a:cxn>
              <a:cxn ang="0">
                <a:pos x="connsiteX8215" y="connsiteY8215"/>
              </a:cxn>
              <a:cxn ang="0">
                <a:pos x="connsiteX8216" y="connsiteY8216"/>
              </a:cxn>
              <a:cxn ang="0">
                <a:pos x="connsiteX8217" y="connsiteY8217"/>
              </a:cxn>
              <a:cxn ang="0">
                <a:pos x="connsiteX8218" y="connsiteY8218"/>
              </a:cxn>
              <a:cxn ang="0">
                <a:pos x="connsiteX8219" y="connsiteY8219"/>
              </a:cxn>
              <a:cxn ang="0">
                <a:pos x="connsiteX8220" y="connsiteY8220"/>
              </a:cxn>
              <a:cxn ang="0">
                <a:pos x="connsiteX8221" y="connsiteY8221"/>
              </a:cxn>
              <a:cxn ang="0">
                <a:pos x="connsiteX8222" y="connsiteY8222"/>
              </a:cxn>
              <a:cxn ang="0">
                <a:pos x="connsiteX8223" y="connsiteY8223"/>
              </a:cxn>
              <a:cxn ang="0">
                <a:pos x="connsiteX8224" y="connsiteY8224"/>
              </a:cxn>
              <a:cxn ang="0">
                <a:pos x="connsiteX8225" y="connsiteY8225"/>
              </a:cxn>
              <a:cxn ang="0">
                <a:pos x="connsiteX8226" y="connsiteY8226"/>
              </a:cxn>
              <a:cxn ang="0">
                <a:pos x="connsiteX8227" y="connsiteY8227"/>
              </a:cxn>
              <a:cxn ang="0">
                <a:pos x="connsiteX8228" y="connsiteY8228"/>
              </a:cxn>
              <a:cxn ang="0">
                <a:pos x="connsiteX8229" y="connsiteY8229"/>
              </a:cxn>
              <a:cxn ang="0">
                <a:pos x="connsiteX8230" y="connsiteY8230"/>
              </a:cxn>
              <a:cxn ang="0">
                <a:pos x="connsiteX8231" y="connsiteY8231"/>
              </a:cxn>
              <a:cxn ang="0">
                <a:pos x="connsiteX8232" y="connsiteY8232"/>
              </a:cxn>
              <a:cxn ang="0">
                <a:pos x="connsiteX8233" y="connsiteY8233"/>
              </a:cxn>
              <a:cxn ang="0">
                <a:pos x="connsiteX8234" y="connsiteY8234"/>
              </a:cxn>
              <a:cxn ang="0">
                <a:pos x="connsiteX8235" y="connsiteY8235"/>
              </a:cxn>
              <a:cxn ang="0">
                <a:pos x="connsiteX8236" y="connsiteY8236"/>
              </a:cxn>
              <a:cxn ang="0">
                <a:pos x="connsiteX8237" y="connsiteY8237"/>
              </a:cxn>
              <a:cxn ang="0">
                <a:pos x="connsiteX8238" y="connsiteY8238"/>
              </a:cxn>
              <a:cxn ang="0">
                <a:pos x="connsiteX8239" y="connsiteY8239"/>
              </a:cxn>
              <a:cxn ang="0">
                <a:pos x="connsiteX8240" y="connsiteY8240"/>
              </a:cxn>
              <a:cxn ang="0">
                <a:pos x="connsiteX8241" y="connsiteY8241"/>
              </a:cxn>
              <a:cxn ang="0">
                <a:pos x="connsiteX8242" y="connsiteY8242"/>
              </a:cxn>
              <a:cxn ang="0">
                <a:pos x="connsiteX8243" y="connsiteY8243"/>
              </a:cxn>
              <a:cxn ang="0">
                <a:pos x="connsiteX8244" y="connsiteY8244"/>
              </a:cxn>
              <a:cxn ang="0">
                <a:pos x="connsiteX8245" y="connsiteY8245"/>
              </a:cxn>
              <a:cxn ang="0">
                <a:pos x="connsiteX8246" y="connsiteY8246"/>
              </a:cxn>
              <a:cxn ang="0">
                <a:pos x="connsiteX8247" y="connsiteY8247"/>
              </a:cxn>
              <a:cxn ang="0">
                <a:pos x="connsiteX8248" y="connsiteY8248"/>
              </a:cxn>
              <a:cxn ang="0">
                <a:pos x="connsiteX8249" y="connsiteY8249"/>
              </a:cxn>
              <a:cxn ang="0">
                <a:pos x="connsiteX8250" y="connsiteY8250"/>
              </a:cxn>
              <a:cxn ang="0">
                <a:pos x="connsiteX8251" y="connsiteY8251"/>
              </a:cxn>
              <a:cxn ang="0">
                <a:pos x="connsiteX8252" y="connsiteY8252"/>
              </a:cxn>
              <a:cxn ang="0">
                <a:pos x="connsiteX8253" y="connsiteY8253"/>
              </a:cxn>
              <a:cxn ang="0">
                <a:pos x="connsiteX8254" y="connsiteY8254"/>
              </a:cxn>
              <a:cxn ang="0">
                <a:pos x="connsiteX8255" y="connsiteY8255"/>
              </a:cxn>
              <a:cxn ang="0">
                <a:pos x="connsiteX8256" y="connsiteY8256"/>
              </a:cxn>
              <a:cxn ang="0">
                <a:pos x="connsiteX8257" y="connsiteY8257"/>
              </a:cxn>
              <a:cxn ang="0">
                <a:pos x="connsiteX8258" y="connsiteY8258"/>
              </a:cxn>
              <a:cxn ang="0">
                <a:pos x="connsiteX8259" y="connsiteY8259"/>
              </a:cxn>
              <a:cxn ang="0">
                <a:pos x="connsiteX8260" y="connsiteY8260"/>
              </a:cxn>
              <a:cxn ang="0">
                <a:pos x="connsiteX8261" y="connsiteY8261"/>
              </a:cxn>
              <a:cxn ang="0">
                <a:pos x="connsiteX8262" y="connsiteY8262"/>
              </a:cxn>
              <a:cxn ang="0">
                <a:pos x="connsiteX8263" y="connsiteY8263"/>
              </a:cxn>
              <a:cxn ang="0">
                <a:pos x="connsiteX8264" y="connsiteY8264"/>
              </a:cxn>
              <a:cxn ang="0">
                <a:pos x="connsiteX8265" y="connsiteY8265"/>
              </a:cxn>
              <a:cxn ang="0">
                <a:pos x="connsiteX8266" y="connsiteY8266"/>
              </a:cxn>
              <a:cxn ang="0">
                <a:pos x="connsiteX8267" y="connsiteY8267"/>
              </a:cxn>
              <a:cxn ang="0">
                <a:pos x="connsiteX8268" y="connsiteY8268"/>
              </a:cxn>
              <a:cxn ang="0">
                <a:pos x="connsiteX8269" y="connsiteY8269"/>
              </a:cxn>
              <a:cxn ang="0">
                <a:pos x="connsiteX8270" y="connsiteY8270"/>
              </a:cxn>
              <a:cxn ang="0">
                <a:pos x="connsiteX8271" y="connsiteY8271"/>
              </a:cxn>
              <a:cxn ang="0">
                <a:pos x="connsiteX8272" y="connsiteY8272"/>
              </a:cxn>
              <a:cxn ang="0">
                <a:pos x="connsiteX8273" y="connsiteY8273"/>
              </a:cxn>
              <a:cxn ang="0">
                <a:pos x="connsiteX8274" y="connsiteY8274"/>
              </a:cxn>
              <a:cxn ang="0">
                <a:pos x="connsiteX8275" y="connsiteY8275"/>
              </a:cxn>
              <a:cxn ang="0">
                <a:pos x="connsiteX8276" y="connsiteY8276"/>
              </a:cxn>
              <a:cxn ang="0">
                <a:pos x="connsiteX8277" y="connsiteY8277"/>
              </a:cxn>
              <a:cxn ang="0">
                <a:pos x="connsiteX8278" y="connsiteY8278"/>
              </a:cxn>
              <a:cxn ang="0">
                <a:pos x="connsiteX8279" y="connsiteY8279"/>
              </a:cxn>
              <a:cxn ang="0">
                <a:pos x="connsiteX8280" y="connsiteY8280"/>
              </a:cxn>
              <a:cxn ang="0">
                <a:pos x="connsiteX8281" y="connsiteY8281"/>
              </a:cxn>
              <a:cxn ang="0">
                <a:pos x="connsiteX8282" y="connsiteY8282"/>
              </a:cxn>
              <a:cxn ang="0">
                <a:pos x="connsiteX8283" y="connsiteY8283"/>
              </a:cxn>
              <a:cxn ang="0">
                <a:pos x="connsiteX8284" y="connsiteY8284"/>
              </a:cxn>
              <a:cxn ang="0">
                <a:pos x="connsiteX8285" y="connsiteY8285"/>
              </a:cxn>
              <a:cxn ang="0">
                <a:pos x="connsiteX8286" y="connsiteY8286"/>
              </a:cxn>
              <a:cxn ang="0">
                <a:pos x="connsiteX8287" y="connsiteY8287"/>
              </a:cxn>
              <a:cxn ang="0">
                <a:pos x="connsiteX8288" y="connsiteY8288"/>
              </a:cxn>
              <a:cxn ang="0">
                <a:pos x="connsiteX8289" y="connsiteY8289"/>
              </a:cxn>
              <a:cxn ang="0">
                <a:pos x="connsiteX8290" y="connsiteY8290"/>
              </a:cxn>
              <a:cxn ang="0">
                <a:pos x="connsiteX8291" y="connsiteY8291"/>
              </a:cxn>
              <a:cxn ang="0">
                <a:pos x="connsiteX8292" y="connsiteY8292"/>
              </a:cxn>
              <a:cxn ang="0">
                <a:pos x="connsiteX8293" y="connsiteY8293"/>
              </a:cxn>
              <a:cxn ang="0">
                <a:pos x="connsiteX8294" y="connsiteY8294"/>
              </a:cxn>
              <a:cxn ang="0">
                <a:pos x="connsiteX8295" y="connsiteY8295"/>
              </a:cxn>
              <a:cxn ang="0">
                <a:pos x="connsiteX8296" y="connsiteY8296"/>
              </a:cxn>
              <a:cxn ang="0">
                <a:pos x="connsiteX8297" y="connsiteY8297"/>
              </a:cxn>
              <a:cxn ang="0">
                <a:pos x="connsiteX8298" y="connsiteY8298"/>
              </a:cxn>
              <a:cxn ang="0">
                <a:pos x="connsiteX8299" y="connsiteY8299"/>
              </a:cxn>
              <a:cxn ang="0">
                <a:pos x="connsiteX8300" y="connsiteY8300"/>
              </a:cxn>
              <a:cxn ang="0">
                <a:pos x="connsiteX8301" y="connsiteY8301"/>
              </a:cxn>
              <a:cxn ang="0">
                <a:pos x="connsiteX8302" y="connsiteY8302"/>
              </a:cxn>
              <a:cxn ang="0">
                <a:pos x="connsiteX8303" y="connsiteY8303"/>
              </a:cxn>
              <a:cxn ang="0">
                <a:pos x="connsiteX8304" y="connsiteY8304"/>
              </a:cxn>
              <a:cxn ang="0">
                <a:pos x="connsiteX8305" y="connsiteY8305"/>
              </a:cxn>
              <a:cxn ang="0">
                <a:pos x="connsiteX8306" y="connsiteY8306"/>
              </a:cxn>
              <a:cxn ang="0">
                <a:pos x="connsiteX8307" y="connsiteY8307"/>
              </a:cxn>
              <a:cxn ang="0">
                <a:pos x="connsiteX8308" y="connsiteY8308"/>
              </a:cxn>
              <a:cxn ang="0">
                <a:pos x="connsiteX8309" y="connsiteY8309"/>
              </a:cxn>
              <a:cxn ang="0">
                <a:pos x="connsiteX8310" y="connsiteY8310"/>
              </a:cxn>
              <a:cxn ang="0">
                <a:pos x="connsiteX8311" y="connsiteY8311"/>
              </a:cxn>
              <a:cxn ang="0">
                <a:pos x="connsiteX8312" y="connsiteY8312"/>
              </a:cxn>
              <a:cxn ang="0">
                <a:pos x="connsiteX8313" y="connsiteY8313"/>
              </a:cxn>
              <a:cxn ang="0">
                <a:pos x="connsiteX8314" y="connsiteY8314"/>
              </a:cxn>
              <a:cxn ang="0">
                <a:pos x="connsiteX8315" y="connsiteY8315"/>
              </a:cxn>
              <a:cxn ang="0">
                <a:pos x="connsiteX8316" y="connsiteY8316"/>
              </a:cxn>
              <a:cxn ang="0">
                <a:pos x="connsiteX8317" y="connsiteY8317"/>
              </a:cxn>
              <a:cxn ang="0">
                <a:pos x="connsiteX8318" y="connsiteY8318"/>
              </a:cxn>
              <a:cxn ang="0">
                <a:pos x="connsiteX8319" y="connsiteY8319"/>
              </a:cxn>
              <a:cxn ang="0">
                <a:pos x="connsiteX8320" y="connsiteY8320"/>
              </a:cxn>
              <a:cxn ang="0">
                <a:pos x="connsiteX8321" y="connsiteY8321"/>
              </a:cxn>
              <a:cxn ang="0">
                <a:pos x="connsiteX8322" y="connsiteY8322"/>
              </a:cxn>
              <a:cxn ang="0">
                <a:pos x="connsiteX8323" y="connsiteY8323"/>
              </a:cxn>
              <a:cxn ang="0">
                <a:pos x="connsiteX8324" y="connsiteY8324"/>
              </a:cxn>
              <a:cxn ang="0">
                <a:pos x="connsiteX8325" y="connsiteY8325"/>
              </a:cxn>
              <a:cxn ang="0">
                <a:pos x="connsiteX8326" y="connsiteY8326"/>
              </a:cxn>
              <a:cxn ang="0">
                <a:pos x="connsiteX8327" y="connsiteY8327"/>
              </a:cxn>
              <a:cxn ang="0">
                <a:pos x="connsiteX8328" y="connsiteY8328"/>
              </a:cxn>
              <a:cxn ang="0">
                <a:pos x="connsiteX8329" y="connsiteY8329"/>
              </a:cxn>
              <a:cxn ang="0">
                <a:pos x="connsiteX8330" y="connsiteY8330"/>
              </a:cxn>
              <a:cxn ang="0">
                <a:pos x="connsiteX8331" y="connsiteY8331"/>
              </a:cxn>
              <a:cxn ang="0">
                <a:pos x="connsiteX8332" y="connsiteY8332"/>
              </a:cxn>
              <a:cxn ang="0">
                <a:pos x="connsiteX8333" y="connsiteY8333"/>
              </a:cxn>
              <a:cxn ang="0">
                <a:pos x="connsiteX8334" y="connsiteY8334"/>
              </a:cxn>
              <a:cxn ang="0">
                <a:pos x="connsiteX8335" y="connsiteY8335"/>
              </a:cxn>
              <a:cxn ang="0">
                <a:pos x="connsiteX8336" y="connsiteY8336"/>
              </a:cxn>
              <a:cxn ang="0">
                <a:pos x="connsiteX8337" y="connsiteY8337"/>
              </a:cxn>
              <a:cxn ang="0">
                <a:pos x="connsiteX8338" y="connsiteY8338"/>
              </a:cxn>
              <a:cxn ang="0">
                <a:pos x="connsiteX8339" y="connsiteY8339"/>
              </a:cxn>
              <a:cxn ang="0">
                <a:pos x="connsiteX8340" y="connsiteY8340"/>
              </a:cxn>
              <a:cxn ang="0">
                <a:pos x="connsiteX8341" y="connsiteY8341"/>
              </a:cxn>
              <a:cxn ang="0">
                <a:pos x="connsiteX8342" y="connsiteY8342"/>
              </a:cxn>
              <a:cxn ang="0">
                <a:pos x="connsiteX8343" y="connsiteY8343"/>
              </a:cxn>
              <a:cxn ang="0">
                <a:pos x="connsiteX8344" y="connsiteY8344"/>
              </a:cxn>
              <a:cxn ang="0">
                <a:pos x="connsiteX8345" y="connsiteY8345"/>
              </a:cxn>
              <a:cxn ang="0">
                <a:pos x="connsiteX8346" y="connsiteY8346"/>
              </a:cxn>
              <a:cxn ang="0">
                <a:pos x="connsiteX8347" y="connsiteY8347"/>
              </a:cxn>
              <a:cxn ang="0">
                <a:pos x="connsiteX8348" y="connsiteY8348"/>
              </a:cxn>
              <a:cxn ang="0">
                <a:pos x="connsiteX8349" y="connsiteY8349"/>
              </a:cxn>
              <a:cxn ang="0">
                <a:pos x="connsiteX8350" y="connsiteY8350"/>
              </a:cxn>
              <a:cxn ang="0">
                <a:pos x="connsiteX8351" y="connsiteY8351"/>
              </a:cxn>
              <a:cxn ang="0">
                <a:pos x="connsiteX8352" y="connsiteY8352"/>
              </a:cxn>
              <a:cxn ang="0">
                <a:pos x="connsiteX8353" y="connsiteY8353"/>
              </a:cxn>
              <a:cxn ang="0">
                <a:pos x="connsiteX8354" y="connsiteY8354"/>
              </a:cxn>
              <a:cxn ang="0">
                <a:pos x="connsiteX8355" y="connsiteY8355"/>
              </a:cxn>
              <a:cxn ang="0">
                <a:pos x="connsiteX8356" y="connsiteY8356"/>
              </a:cxn>
              <a:cxn ang="0">
                <a:pos x="connsiteX8357" y="connsiteY8357"/>
              </a:cxn>
              <a:cxn ang="0">
                <a:pos x="connsiteX8358" y="connsiteY8358"/>
              </a:cxn>
              <a:cxn ang="0">
                <a:pos x="connsiteX8359" y="connsiteY8359"/>
              </a:cxn>
              <a:cxn ang="0">
                <a:pos x="connsiteX8360" y="connsiteY8360"/>
              </a:cxn>
              <a:cxn ang="0">
                <a:pos x="connsiteX8361" y="connsiteY8361"/>
              </a:cxn>
              <a:cxn ang="0">
                <a:pos x="connsiteX8362" y="connsiteY8362"/>
              </a:cxn>
              <a:cxn ang="0">
                <a:pos x="connsiteX8363" y="connsiteY8363"/>
              </a:cxn>
              <a:cxn ang="0">
                <a:pos x="connsiteX8364" y="connsiteY8364"/>
              </a:cxn>
              <a:cxn ang="0">
                <a:pos x="connsiteX8365" y="connsiteY8365"/>
              </a:cxn>
              <a:cxn ang="0">
                <a:pos x="connsiteX8366" y="connsiteY8366"/>
              </a:cxn>
              <a:cxn ang="0">
                <a:pos x="connsiteX8367" y="connsiteY8367"/>
              </a:cxn>
              <a:cxn ang="0">
                <a:pos x="connsiteX8368" y="connsiteY8368"/>
              </a:cxn>
              <a:cxn ang="0">
                <a:pos x="connsiteX8369" y="connsiteY8369"/>
              </a:cxn>
              <a:cxn ang="0">
                <a:pos x="connsiteX8370" y="connsiteY8370"/>
              </a:cxn>
              <a:cxn ang="0">
                <a:pos x="connsiteX8371" y="connsiteY8371"/>
              </a:cxn>
              <a:cxn ang="0">
                <a:pos x="connsiteX8372" y="connsiteY8372"/>
              </a:cxn>
              <a:cxn ang="0">
                <a:pos x="connsiteX8373" y="connsiteY8373"/>
              </a:cxn>
              <a:cxn ang="0">
                <a:pos x="connsiteX8374" y="connsiteY8374"/>
              </a:cxn>
              <a:cxn ang="0">
                <a:pos x="connsiteX8375" y="connsiteY8375"/>
              </a:cxn>
              <a:cxn ang="0">
                <a:pos x="connsiteX8376" y="connsiteY8376"/>
              </a:cxn>
              <a:cxn ang="0">
                <a:pos x="connsiteX8377" y="connsiteY8377"/>
              </a:cxn>
              <a:cxn ang="0">
                <a:pos x="connsiteX8378" y="connsiteY8378"/>
              </a:cxn>
              <a:cxn ang="0">
                <a:pos x="connsiteX8379" y="connsiteY8379"/>
              </a:cxn>
              <a:cxn ang="0">
                <a:pos x="connsiteX8380" y="connsiteY8380"/>
              </a:cxn>
              <a:cxn ang="0">
                <a:pos x="connsiteX8381" y="connsiteY8381"/>
              </a:cxn>
              <a:cxn ang="0">
                <a:pos x="connsiteX8382" y="connsiteY8382"/>
              </a:cxn>
              <a:cxn ang="0">
                <a:pos x="connsiteX8383" y="connsiteY8383"/>
              </a:cxn>
              <a:cxn ang="0">
                <a:pos x="connsiteX8384" y="connsiteY8384"/>
              </a:cxn>
              <a:cxn ang="0">
                <a:pos x="connsiteX8385" y="connsiteY8385"/>
              </a:cxn>
              <a:cxn ang="0">
                <a:pos x="connsiteX8386" y="connsiteY8386"/>
              </a:cxn>
              <a:cxn ang="0">
                <a:pos x="connsiteX8387" y="connsiteY8387"/>
              </a:cxn>
              <a:cxn ang="0">
                <a:pos x="connsiteX8388" y="connsiteY8388"/>
              </a:cxn>
              <a:cxn ang="0">
                <a:pos x="connsiteX8389" y="connsiteY8389"/>
              </a:cxn>
              <a:cxn ang="0">
                <a:pos x="connsiteX8390" y="connsiteY8390"/>
              </a:cxn>
              <a:cxn ang="0">
                <a:pos x="connsiteX8391" y="connsiteY8391"/>
              </a:cxn>
              <a:cxn ang="0">
                <a:pos x="connsiteX8392" y="connsiteY8392"/>
              </a:cxn>
              <a:cxn ang="0">
                <a:pos x="connsiteX8393" y="connsiteY8393"/>
              </a:cxn>
              <a:cxn ang="0">
                <a:pos x="connsiteX8394" y="connsiteY8394"/>
              </a:cxn>
              <a:cxn ang="0">
                <a:pos x="connsiteX8395" y="connsiteY8395"/>
              </a:cxn>
              <a:cxn ang="0">
                <a:pos x="connsiteX8396" y="connsiteY8396"/>
              </a:cxn>
              <a:cxn ang="0">
                <a:pos x="connsiteX8397" y="connsiteY8397"/>
              </a:cxn>
              <a:cxn ang="0">
                <a:pos x="connsiteX8398" y="connsiteY8398"/>
              </a:cxn>
              <a:cxn ang="0">
                <a:pos x="connsiteX8399" y="connsiteY8399"/>
              </a:cxn>
              <a:cxn ang="0">
                <a:pos x="connsiteX8400" y="connsiteY8400"/>
              </a:cxn>
              <a:cxn ang="0">
                <a:pos x="connsiteX8401" y="connsiteY8401"/>
              </a:cxn>
              <a:cxn ang="0">
                <a:pos x="connsiteX8402" y="connsiteY8402"/>
              </a:cxn>
              <a:cxn ang="0">
                <a:pos x="connsiteX8403" y="connsiteY8403"/>
              </a:cxn>
              <a:cxn ang="0">
                <a:pos x="connsiteX8404" y="connsiteY8404"/>
              </a:cxn>
              <a:cxn ang="0">
                <a:pos x="connsiteX8405" y="connsiteY8405"/>
              </a:cxn>
              <a:cxn ang="0">
                <a:pos x="connsiteX8406" y="connsiteY8406"/>
              </a:cxn>
              <a:cxn ang="0">
                <a:pos x="connsiteX8407" y="connsiteY8407"/>
              </a:cxn>
              <a:cxn ang="0">
                <a:pos x="connsiteX8408" y="connsiteY8408"/>
              </a:cxn>
              <a:cxn ang="0">
                <a:pos x="connsiteX8409" y="connsiteY8409"/>
              </a:cxn>
              <a:cxn ang="0">
                <a:pos x="connsiteX8410" y="connsiteY8410"/>
              </a:cxn>
              <a:cxn ang="0">
                <a:pos x="connsiteX8411" y="connsiteY8411"/>
              </a:cxn>
              <a:cxn ang="0">
                <a:pos x="connsiteX8412" y="connsiteY8412"/>
              </a:cxn>
              <a:cxn ang="0">
                <a:pos x="connsiteX8413" y="connsiteY8413"/>
              </a:cxn>
              <a:cxn ang="0">
                <a:pos x="connsiteX8414" y="connsiteY8414"/>
              </a:cxn>
              <a:cxn ang="0">
                <a:pos x="connsiteX8415" y="connsiteY8415"/>
              </a:cxn>
              <a:cxn ang="0">
                <a:pos x="connsiteX8416" y="connsiteY8416"/>
              </a:cxn>
              <a:cxn ang="0">
                <a:pos x="connsiteX8417" y="connsiteY8417"/>
              </a:cxn>
              <a:cxn ang="0">
                <a:pos x="connsiteX8418" y="connsiteY8418"/>
              </a:cxn>
              <a:cxn ang="0">
                <a:pos x="connsiteX8419" y="connsiteY8419"/>
              </a:cxn>
              <a:cxn ang="0">
                <a:pos x="connsiteX8420" y="connsiteY8420"/>
              </a:cxn>
              <a:cxn ang="0">
                <a:pos x="connsiteX8421" y="connsiteY8421"/>
              </a:cxn>
              <a:cxn ang="0">
                <a:pos x="connsiteX8422" y="connsiteY8422"/>
              </a:cxn>
              <a:cxn ang="0">
                <a:pos x="connsiteX8423" y="connsiteY8423"/>
              </a:cxn>
              <a:cxn ang="0">
                <a:pos x="connsiteX8424" y="connsiteY8424"/>
              </a:cxn>
              <a:cxn ang="0">
                <a:pos x="connsiteX8425" y="connsiteY8425"/>
              </a:cxn>
              <a:cxn ang="0">
                <a:pos x="connsiteX8426" y="connsiteY8426"/>
              </a:cxn>
              <a:cxn ang="0">
                <a:pos x="connsiteX8427" y="connsiteY8427"/>
              </a:cxn>
              <a:cxn ang="0">
                <a:pos x="connsiteX8428" y="connsiteY8428"/>
              </a:cxn>
              <a:cxn ang="0">
                <a:pos x="connsiteX8429" y="connsiteY8429"/>
              </a:cxn>
              <a:cxn ang="0">
                <a:pos x="connsiteX8430" y="connsiteY8430"/>
              </a:cxn>
              <a:cxn ang="0">
                <a:pos x="connsiteX8431" y="connsiteY8431"/>
              </a:cxn>
              <a:cxn ang="0">
                <a:pos x="connsiteX8432" y="connsiteY8432"/>
              </a:cxn>
              <a:cxn ang="0">
                <a:pos x="connsiteX8433" y="connsiteY8433"/>
              </a:cxn>
              <a:cxn ang="0">
                <a:pos x="connsiteX8434" y="connsiteY8434"/>
              </a:cxn>
              <a:cxn ang="0">
                <a:pos x="connsiteX8435" y="connsiteY8435"/>
              </a:cxn>
              <a:cxn ang="0">
                <a:pos x="connsiteX8436" y="connsiteY8436"/>
              </a:cxn>
              <a:cxn ang="0">
                <a:pos x="connsiteX8437" y="connsiteY8437"/>
              </a:cxn>
              <a:cxn ang="0">
                <a:pos x="connsiteX8438" y="connsiteY8438"/>
              </a:cxn>
              <a:cxn ang="0">
                <a:pos x="connsiteX8439" y="connsiteY8439"/>
              </a:cxn>
              <a:cxn ang="0">
                <a:pos x="connsiteX8440" y="connsiteY8440"/>
              </a:cxn>
              <a:cxn ang="0">
                <a:pos x="connsiteX8441" y="connsiteY8441"/>
              </a:cxn>
              <a:cxn ang="0">
                <a:pos x="connsiteX8442" y="connsiteY8442"/>
              </a:cxn>
              <a:cxn ang="0">
                <a:pos x="connsiteX8443" y="connsiteY8443"/>
              </a:cxn>
              <a:cxn ang="0">
                <a:pos x="connsiteX8444" y="connsiteY8444"/>
              </a:cxn>
              <a:cxn ang="0">
                <a:pos x="connsiteX8445" y="connsiteY8445"/>
              </a:cxn>
              <a:cxn ang="0">
                <a:pos x="connsiteX8446" y="connsiteY8446"/>
              </a:cxn>
              <a:cxn ang="0">
                <a:pos x="connsiteX8447" y="connsiteY8447"/>
              </a:cxn>
              <a:cxn ang="0">
                <a:pos x="connsiteX8448" y="connsiteY8448"/>
              </a:cxn>
              <a:cxn ang="0">
                <a:pos x="connsiteX8449" y="connsiteY8449"/>
              </a:cxn>
              <a:cxn ang="0">
                <a:pos x="connsiteX8450" y="connsiteY8450"/>
              </a:cxn>
              <a:cxn ang="0">
                <a:pos x="connsiteX8451" y="connsiteY8451"/>
              </a:cxn>
              <a:cxn ang="0">
                <a:pos x="connsiteX8452" y="connsiteY8452"/>
              </a:cxn>
              <a:cxn ang="0">
                <a:pos x="connsiteX8453" y="connsiteY8453"/>
              </a:cxn>
              <a:cxn ang="0">
                <a:pos x="connsiteX8454" y="connsiteY8454"/>
              </a:cxn>
              <a:cxn ang="0">
                <a:pos x="connsiteX8455" y="connsiteY8455"/>
              </a:cxn>
              <a:cxn ang="0">
                <a:pos x="connsiteX8456" y="connsiteY8456"/>
              </a:cxn>
              <a:cxn ang="0">
                <a:pos x="connsiteX8457" y="connsiteY8457"/>
              </a:cxn>
              <a:cxn ang="0">
                <a:pos x="connsiteX8458" y="connsiteY8458"/>
              </a:cxn>
              <a:cxn ang="0">
                <a:pos x="connsiteX8459" y="connsiteY8459"/>
              </a:cxn>
              <a:cxn ang="0">
                <a:pos x="connsiteX8460" y="connsiteY8460"/>
              </a:cxn>
              <a:cxn ang="0">
                <a:pos x="connsiteX8461" y="connsiteY8461"/>
              </a:cxn>
              <a:cxn ang="0">
                <a:pos x="connsiteX8462" y="connsiteY8462"/>
              </a:cxn>
              <a:cxn ang="0">
                <a:pos x="connsiteX8463" y="connsiteY8463"/>
              </a:cxn>
              <a:cxn ang="0">
                <a:pos x="connsiteX8464" y="connsiteY8464"/>
              </a:cxn>
              <a:cxn ang="0">
                <a:pos x="connsiteX8465" y="connsiteY8465"/>
              </a:cxn>
              <a:cxn ang="0">
                <a:pos x="connsiteX8466" y="connsiteY8466"/>
              </a:cxn>
              <a:cxn ang="0">
                <a:pos x="connsiteX8467" y="connsiteY8467"/>
              </a:cxn>
              <a:cxn ang="0">
                <a:pos x="connsiteX8468" y="connsiteY8468"/>
              </a:cxn>
              <a:cxn ang="0">
                <a:pos x="connsiteX8469" y="connsiteY8469"/>
              </a:cxn>
              <a:cxn ang="0">
                <a:pos x="connsiteX8470" y="connsiteY8470"/>
              </a:cxn>
              <a:cxn ang="0">
                <a:pos x="connsiteX8471" y="connsiteY8471"/>
              </a:cxn>
              <a:cxn ang="0">
                <a:pos x="connsiteX8472" y="connsiteY8472"/>
              </a:cxn>
              <a:cxn ang="0">
                <a:pos x="connsiteX8473" y="connsiteY8473"/>
              </a:cxn>
              <a:cxn ang="0">
                <a:pos x="connsiteX8474" y="connsiteY8474"/>
              </a:cxn>
              <a:cxn ang="0">
                <a:pos x="connsiteX8475" y="connsiteY8475"/>
              </a:cxn>
              <a:cxn ang="0">
                <a:pos x="connsiteX8476" y="connsiteY8476"/>
              </a:cxn>
              <a:cxn ang="0">
                <a:pos x="connsiteX8477" y="connsiteY8477"/>
              </a:cxn>
              <a:cxn ang="0">
                <a:pos x="connsiteX8478" y="connsiteY8478"/>
              </a:cxn>
              <a:cxn ang="0">
                <a:pos x="connsiteX8479" y="connsiteY8479"/>
              </a:cxn>
              <a:cxn ang="0">
                <a:pos x="connsiteX8480" y="connsiteY8480"/>
              </a:cxn>
              <a:cxn ang="0">
                <a:pos x="connsiteX8481" y="connsiteY8481"/>
              </a:cxn>
              <a:cxn ang="0">
                <a:pos x="connsiteX8482" y="connsiteY8482"/>
              </a:cxn>
              <a:cxn ang="0">
                <a:pos x="connsiteX8483" y="connsiteY8483"/>
              </a:cxn>
              <a:cxn ang="0">
                <a:pos x="connsiteX8484" y="connsiteY8484"/>
              </a:cxn>
              <a:cxn ang="0">
                <a:pos x="connsiteX8485" y="connsiteY8485"/>
              </a:cxn>
              <a:cxn ang="0">
                <a:pos x="connsiteX8486" y="connsiteY8486"/>
              </a:cxn>
              <a:cxn ang="0">
                <a:pos x="connsiteX8487" y="connsiteY8487"/>
              </a:cxn>
              <a:cxn ang="0">
                <a:pos x="connsiteX8488" y="connsiteY8488"/>
              </a:cxn>
              <a:cxn ang="0">
                <a:pos x="connsiteX8489" y="connsiteY8489"/>
              </a:cxn>
              <a:cxn ang="0">
                <a:pos x="connsiteX8490" y="connsiteY8490"/>
              </a:cxn>
              <a:cxn ang="0">
                <a:pos x="connsiteX8491" y="connsiteY8491"/>
              </a:cxn>
              <a:cxn ang="0">
                <a:pos x="connsiteX8492" y="connsiteY8492"/>
              </a:cxn>
              <a:cxn ang="0">
                <a:pos x="connsiteX8493" y="connsiteY8493"/>
              </a:cxn>
              <a:cxn ang="0">
                <a:pos x="connsiteX8494" y="connsiteY8494"/>
              </a:cxn>
              <a:cxn ang="0">
                <a:pos x="connsiteX8495" y="connsiteY8495"/>
              </a:cxn>
              <a:cxn ang="0">
                <a:pos x="connsiteX8496" y="connsiteY8496"/>
              </a:cxn>
              <a:cxn ang="0">
                <a:pos x="connsiteX8497" y="connsiteY8497"/>
              </a:cxn>
              <a:cxn ang="0">
                <a:pos x="connsiteX8498" y="connsiteY8498"/>
              </a:cxn>
              <a:cxn ang="0">
                <a:pos x="connsiteX8499" y="connsiteY8499"/>
              </a:cxn>
              <a:cxn ang="0">
                <a:pos x="connsiteX8500" y="connsiteY8500"/>
              </a:cxn>
              <a:cxn ang="0">
                <a:pos x="connsiteX8501" y="connsiteY8501"/>
              </a:cxn>
              <a:cxn ang="0">
                <a:pos x="connsiteX8502" y="connsiteY8502"/>
              </a:cxn>
              <a:cxn ang="0">
                <a:pos x="connsiteX8503" y="connsiteY8503"/>
              </a:cxn>
              <a:cxn ang="0">
                <a:pos x="connsiteX8504" y="connsiteY8504"/>
              </a:cxn>
              <a:cxn ang="0">
                <a:pos x="connsiteX8505" y="connsiteY8505"/>
              </a:cxn>
              <a:cxn ang="0">
                <a:pos x="connsiteX8506" y="connsiteY8506"/>
              </a:cxn>
              <a:cxn ang="0">
                <a:pos x="connsiteX8507" y="connsiteY8507"/>
              </a:cxn>
              <a:cxn ang="0">
                <a:pos x="connsiteX8508" y="connsiteY8508"/>
              </a:cxn>
              <a:cxn ang="0">
                <a:pos x="connsiteX8509" y="connsiteY8509"/>
              </a:cxn>
              <a:cxn ang="0">
                <a:pos x="connsiteX8510" y="connsiteY8510"/>
              </a:cxn>
              <a:cxn ang="0">
                <a:pos x="connsiteX8511" y="connsiteY8511"/>
              </a:cxn>
              <a:cxn ang="0">
                <a:pos x="connsiteX8512" y="connsiteY8512"/>
              </a:cxn>
              <a:cxn ang="0">
                <a:pos x="connsiteX8513" y="connsiteY8513"/>
              </a:cxn>
              <a:cxn ang="0">
                <a:pos x="connsiteX8514" y="connsiteY8514"/>
              </a:cxn>
              <a:cxn ang="0">
                <a:pos x="connsiteX8515" y="connsiteY8515"/>
              </a:cxn>
              <a:cxn ang="0">
                <a:pos x="connsiteX8516" y="connsiteY8516"/>
              </a:cxn>
              <a:cxn ang="0">
                <a:pos x="connsiteX8517" y="connsiteY8517"/>
              </a:cxn>
              <a:cxn ang="0">
                <a:pos x="connsiteX8518" y="connsiteY8518"/>
              </a:cxn>
              <a:cxn ang="0">
                <a:pos x="connsiteX8519" y="connsiteY8519"/>
              </a:cxn>
              <a:cxn ang="0">
                <a:pos x="connsiteX8520" y="connsiteY8520"/>
              </a:cxn>
              <a:cxn ang="0">
                <a:pos x="connsiteX8521" y="connsiteY8521"/>
              </a:cxn>
              <a:cxn ang="0">
                <a:pos x="connsiteX8522" y="connsiteY8522"/>
              </a:cxn>
              <a:cxn ang="0">
                <a:pos x="connsiteX8523" y="connsiteY8523"/>
              </a:cxn>
              <a:cxn ang="0">
                <a:pos x="connsiteX8524" y="connsiteY8524"/>
              </a:cxn>
              <a:cxn ang="0">
                <a:pos x="connsiteX8525" y="connsiteY8525"/>
              </a:cxn>
              <a:cxn ang="0">
                <a:pos x="connsiteX8526" y="connsiteY8526"/>
              </a:cxn>
              <a:cxn ang="0">
                <a:pos x="connsiteX8527" y="connsiteY8527"/>
              </a:cxn>
              <a:cxn ang="0">
                <a:pos x="connsiteX8528" y="connsiteY8528"/>
              </a:cxn>
              <a:cxn ang="0">
                <a:pos x="connsiteX8529" y="connsiteY8529"/>
              </a:cxn>
              <a:cxn ang="0">
                <a:pos x="connsiteX8530" y="connsiteY8530"/>
              </a:cxn>
              <a:cxn ang="0">
                <a:pos x="connsiteX8531" y="connsiteY8531"/>
              </a:cxn>
              <a:cxn ang="0">
                <a:pos x="connsiteX8532" y="connsiteY8532"/>
              </a:cxn>
              <a:cxn ang="0">
                <a:pos x="connsiteX8533" y="connsiteY8533"/>
              </a:cxn>
              <a:cxn ang="0">
                <a:pos x="connsiteX8534" y="connsiteY8534"/>
              </a:cxn>
              <a:cxn ang="0">
                <a:pos x="connsiteX8535" y="connsiteY8535"/>
              </a:cxn>
              <a:cxn ang="0">
                <a:pos x="connsiteX8536" y="connsiteY8536"/>
              </a:cxn>
              <a:cxn ang="0">
                <a:pos x="connsiteX8537" y="connsiteY8537"/>
              </a:cxn>
              <a:cxn ang="0">
                <a:pos x="connsiteX8538" y="connsiteY8538"/>
              </a:cxn>
              <a:cxn ang="0">
                <a:pos x="connsiteX8539" y="connsiteY8539"/>
              </a:cxn>
              <a:cxn ang="0">
                <a:pos x="connsiteX8540" y="connsiteY8540"/>
              </a:cxn>
              <a:cxn ang="0">
                <a:pos x="connsiteX8541" y="connsiteY8541"/>
              </a:cxn>
              <a:cxn ang="0">
                <a:pos x="connsiteX8542" y="connsiteY8542"/>
              </a:cxn>
              <a:cxn ang="0">
                <a:pos x="connsiteX8543" y="connsiteY8543"/>
              </a:cxn>
              <a:cxn ang="0">
                <a:pos x="connsiteX8544" y="connsiteY8544"/>
              </a:cxn>
              <a:cxn ang="0">
                <a:pos x="connsiteX8545" y="connsiteY8545"/>
              </a:cxn>
              <a:cxn ang="0">
                <a:pos x="connsiteX8546" y="connsiteY8546"/>
              </a:cxn>
              <a:cxn ang="0">
                <a:pos x="connsiteX8547" y="connsiteY8547"/>
              </a:cxn>
              <a:cxn ang="0">
                <a:pos x="connsiteX8548" y="connsiteY8548"/>
              </a:cxn>
              <a:cxn ang="0">
                <a:pos x="connsiteX8549" y="connsiteY8549"/>
              </a:cxn>
              <a:cxn ang="0">
                <a:pos x="connsiteX8550" y="connsiteY8550"/>
              </a:cxn>
              <a:cxn ang="0">
                <a:pos x="connsiteX8551" y="connsiteY8551"/>
              </a:cxn>
              <a:cxn ang="0">
                <a:pos x="connsiteX8552" y="connsiteY8552"/>
              </a:cxn>
              <a:cxn ang="0">
                <a:pos x="connsiteX8553" y="connsiteY8553"/>
              </a:cxn>
              <a:cxn ang="0">
                <a:pos x="connsiteX8554" y="connsiteY8554"/>
              </a:cxn>
              <a:cxn ang="0">
                <a:pos x="connsiteX8555" y="connsiteY8555"/>
              </a:cxn>
              <a:cxn ang="0">
                <a:pos x="connsiteX8556" y="connsiteY8556"/>
              </a:cxn>
              <a:cxn ang="0">
                <a:pos x="connsiteX8557" y="connsiteY8557"/>
              </a:cxn>
              <a:cxn ang="0">
                <a:pos x="connsiteX8558" y="connsiteY8558"/>
              </a:cxn>
              <a:cxn ang="0">
                <a:pos x="connsiteX8559" y="connsiteY8559"/>
              </a:cxn>
              <a:cxn ang="0">
                <a:pos x="connsiteX8560" y="connsiteY8560"/>
              </a:cxn>
              <a:cxn ang="0">
                <a:pos x="connsiteX8561" y="connsiteY8561"/>
              </a:cxn>
              <a:cxn ang="0">
                <a:pos x="connsiteX8562" y="connsiteY8562"/>
              </a:cxn>
              <a:cxn ang="0">
                <a:pos x="connsiteX8563" y="connsiteY8563"/>
              </a:cxn>
              <a:cxn ang="0">
                <a:pos x="connsiteX8564" y="connsiteY8564"/>
              </a:cxn>
              <a:cxn ang="0">
                <a:pos x="connsiteX8565" y="connsiteY8565"/>
              </a:cxn>
              <a:cxn ang="0">
                <a:pos x="connsiteX8566" y="connsiteY8566"/>
              </a:cxn>
              <a:cxn ang="0">
                <a:pos x="connsiteX8567" y="connsiteY8567"/>
              </a:cxn>
              <a:cxn ang="0">
                <a:pos x="connsiteX8568" y="connsiteY8568"/>
              </a:cxn>
              <a:cxn ang="0">
                <a:pos x="connsiteX8569" y="connsiteY8569"/>
              </a:cxn>
              <a:cxn ang="0">
                <a:pos x="connsiteX8570" y="connsiteY8570"/>
              </a:cxn>
              <a:cxn ang="0">
                <a:pos x="connsiteX8571" y="connsiteY8571"/>
              </a:cxn>
              <a:cxn ang="0">
                <a:pos x="connsiteX8572" y="connsiteY8572"/>
              </a:cxn>
              <a:cxn ang="0">
                <a:pos x="connsiteX8573" y="connsiteY8573"/>
              </a:cxn>
              <a:cxn ang="0">
                <a:pos x="connsiteX8574" y="connsiteY8574"/>
              </a:cxn>
              <a:cxn ang="0">
                <a:pos x="connsiteX8575" y="connsiteY8575"/>
              </a:cxn>
              <a:cxn ang="0">
                <a:pos x="connsiteX8576" y="connsiteY8576"/>
              </a:cxn>
              <a:cxn ang="0">
                <a:pos x="connsiteX8577" y="connsiteY8577"/>
              </a:cxn>
              <a:cxn ang="0">
                <a:pos x="connsiteX8578" y="connsiteY8578"/>
              </a:cxn>
              <a:cxn ang="0">
                <a:pos x="connsiteX8579" y="connsiteY8579"/>
              </a:cxn>
              <a:cxn ang="0">
                <a:pos x="connsiteX8580" y="connsiteY8580"/>
              </a:cxn>
              <a:cxn ang="0">
                <a:pos x="connsiteX8581" y="connsiteY8581"/>
              </a:cxn>
              <a:cxn ang="0">
                <a:pos x="connsiteX8582" y="connsiteY8582"/>
              </a:cxn>
              <a:cxn ang="0">
                <a:pos x="connsiteX8583" y="connsiteY8583"/>
              </a:cxn>
              <a:cxn ang="0">
                <a:pos x="connsiteX8584" y="connsiteY8584"/>
              </a:cxn>
              <a:cxn ang="0">
                <a:pos x="connsiteX8585" y="connsiteY8585"/>
              </a:cxn>
              <a:cxn ang="0">
                <a:pos x="connsiteX8586" y="connsiteY8586"/>
              </a:cxn>
              <a:cxn ang="0">
                <a:pos x="connsiteX8587" y="connsiteY8587"/>
              </a:cxn>
              <a:cxn ang="0">
                <a:pos x="connsiteX8588" y="connsiteY8588"/>
              </a:cxn>
              <a:cxn ang="0">
                <a:pos x="connsiteX8589" y="connsiteY8589"/>
              </a:cxn>
              <a:cxn ang="0">
                <a:pos x="connsiteX8590" y="connsiteY8590"/>
              </a:cxn>
              <a:cxn ang="0">
                <a:pos x="connsiteX8591" y="connsiteY8591"/>
              </a:cxn>
              <a:cxn ang="0">
                <a:pos x="connsiteX8592" y="connsiteY8592"/>
              </a:cxn>
              <a:cxn ang="0">
                <a:pos x="connsiteX8593" y="connsiteY8593"/>
              </a:cxn>
              <a:cxn ang="0">
                <a:pos x="connsiteX8594" y="connsiteY8594"/>
              </a:cxn>
              <a:cxn ang="0">
                <a:pos x="connsiteX8595" y="connsiteY8595"/>
              </a:cxn>
              <a:cxn ang="0">
                <a:pos x="connsiteX8596" y="connsiteY8596"/>
              </a:cxn>
              <a:cxn ang="0">
                <a:pos x="connsiteX8597" y="connsiteY8597"/>
              </a:cxn>
              <a:cxn ang="0">
                <a:pos x="connsiteX8598" y="connsiteY8598"/>
              </a:cxn>
              <a:cxn ang="0">
                <a:pos x="connsiteX8599" y="connsiteY8599"/>
              </a:cxn>
              <a:cxn ang="0">
                <a:pos x="connsiteX8600" y="connsiteY8600"/>
              </a:cxn>
              <a:cxn ang="0">
                <a:pos x="connsiteX8601" y="connsiteY8601"/>
              </a:cxn>
              <a:cxn ang="0">
                <a:pos x="connsiteX8602" y="connsiteY8602"/>
              </a:cxn>
              <a:cxn ang="0">
                <a:pos x="connsiteX8603" y="connsiteY8603"/>
              </a:cxn>
              <a:cxn ang="0">
                <a:pos x="connsiteX8604" y="connsiteY8604"/>
              </a:cxn>
              <a:cxn ang="0">
                <a:pos x="connsiteX8605" y="connsiteY8605"/>
              </a:cxn>
              <a:cxn ang="0">
                <a:pos x="connsiteX8606" y="connsiteY8606"/>
              </a:cxn>
              <a:cxn ang="0">
                <a:pos x="connsiteX8607" y="connsiteY8607"/>
              </a:cxn>
              <a:cxn ang="0">
                <a:pos x="connsiteX8608" y="connsiteY8608"/>
              </a:cxn>
              <a:cxn ang="0">
                <a:pos x="connsiteX8609" y="connsiteY8609"/>
              </a:cxn>
              <a:cxn ang="0">
                <a:pos x="connsiteX8610" y="connsiteY8610"/>
              </a:cxn>
              <a:cxn ang="0">
                <a:pos x="connsiteX8611" y="connsiteY8611"/>
              </a:cxn>
              <a:cxn ang="0">
                <a:pos x="connsiteX8612" y="connsiteY8612"/>
              </a:cxn>
              <a:cxn ang="0">
                <a:pos x="connsiteX8613" y="connsiteY8613"/>
              </a:cxn>
              <a:cxn ang="0">
                <a:pos x="connsiteX8614" y="connsiteY8614"/>
              </a:cxn>
              <a:cxn ang="0">
                <a:pos x="connsiteX8615" y="connsiteY8615"/>
              </a:cxn>
              <a:cxn ang="0">
                <a:pos x="connsiteX8616" y="connsiteY8616"/>
              </a:cxn>
              <a:cxn ang="0">
                <a:pos x="connsiteX8617" y="connsiteY8617"/>
              </a:cxn>
              <a:cxn ang="0">
                <a:pos x="connsiteX8618" y="connsiteY8618"/>
              </a:cxn>
              <a:cxn ang="0">
                <a:pos x="connsiteX8619" y="connsiteY8619"/>
              </a:cxn>
              <a:cxn ang="0">
                <a:pos x="connsiteX8620" y="connsiteY8620"/>
              </a:cxn>
              <a:cxn ang="0">
                <a:pos x="connsiteX8621" y="connsiteY8621"/>
              </a:cxn>
              <a:cxn ang="0">
                <a:pos x="connsiteX8622" y="connsiteY8622"/>
              </a:cxn>
              <a:cxn ang="0">
                <a:pos x="connsiteX8623" y="connsiteY8623"/>
              </a:cxn>
              <a:cxn ang="0">
                <a:pos x="connsiteX8624" y="connsiteY8624"/>
              </a:cxn>
              <a:cxn ang="0">
                <a:pos x="connsiteX8625" y="connsiteY8625"/>
              </a:cxn>
              <a:cxn ang="0">
                <a:pos x="connsiteX8626" y="connsiteY8626"/>
              </a:cxn>
              <a:cxn ang="0">
                <a:pos x="connsiteX8627" y="connsiteY8627"/>
              </a:cxn>
              <a:cxn ang="0">
                <a:pos x="connsiteX8628" y="connsiteY8628"/>
              </a:cxn>
              <a:cxn ang="0">
                <a:pos x="connsiteX8629" y="connsiteY8629"/>
              </a:cxn>
              <a:cxn ang="0">
                <a:pos x="connsiteX8630" y="connsiteY8630"/>
              </a:cxn>
              <a:cxn ang="0">
                <a:pos x="connsiteX8631" y="connsiteY8631"/>
              </a:cxn>
              <a:cxn ang="0">
                <a:pos x="connsiteX8632" y="connsiteY8632"/>
              </a:cxn>
              <a:cxn ang="0">
                <a:pos x="connsiteX8633" y="connsiteY8633"/>
              </a:cxn>
              <a:cxn ang="0">
                <a:pos x="connsiteX8634" y="connsiteY8634"/>
              </a:cxn>
              <a:cxn ang="0">
                <a:pos x="connsiteX8635" y="connsiteY8635"/>
              </a:cxn>
              <a:cxn ang="0">
                <a:pos x="connsiteX8636" y="connsiteY8636"/>
              </a:cxn>
              <a:cxn ang="0">
                <a:pos x="connsiteX8637" y="connsiteY8637"/>
              </a:cxn>
              <a:cxn ang="0">
                <a:pos x="connsiteX8638" y="connsiteY8638"/>
              </a:cxn>
              <a:cxn ang="0">
                <a:pos x="connsiteX8639" y="connsiteY8639"/>
              </a:cxn>
              <a:cxn ang="0">
                <a:pos x="connsiteX8640" y="connsiteY8640"/>
              </a:cxn>
              <a:cxn ang="0">
                <a:pos x="connsiteX8641" y="connsiteY8641"/>
              </a:cxn>
              <a:cxn ang="0">
                <a:pos x="connsiteX8642" y="connsiteY8642"/>
              </a:cxn>
              <a:cxn ang="0">
                <a:pos x="connsiteX8643" y="connsiteY8643"/>
              </a:cxn>
              <a:cxn ang="0">
                <a:pos x="connsiteX8644" y="connsiteY8644"/>
              </a:cxn>
              <a:cxn ang="0">
                <a:pos x="connsiteX8645" y="connsiteY8645"/>
              </a:cxn>
              <a:cxn ang="0">
                <a:pos x="connsiteX8646" y="connsiteY8646"/>
              </a:cxn>
              <a:cxn ang="0">
                <a:pos x="connsiteX8647" y="connsiteY8647"/>
              </a:cxn>
              <a:cxn ang="0">
                <a:pos x="connsiteX8648" y="connsiteY8648"/>
              </a:cxn>
              <a:cxn ang="0">
                <a:pos x="connsiteX8649" y="connsiteY8649"/>
              </a:cxn>
              <a:cxn ang="0">
                <a:pos x="connsiteX8650" y="connsiteY8650"/>
              </a:cxn>
              <a:cxn ang="0">
                <a:pos x="connsiteX8651" y="connsiteY8651"/>
              </a:cxn>
              <a:cxn ang="0">
                <a:pos x="connsiteX8652" y="connsiteY8652"/>
              </a:cxn>
              <a:cxn ang="0">
                <a:pos x="connsiteX8653" y="connsiteY8653"/>
              </a:cxn>
              <a:cxn ang="0">
                <a:pos x="connsiteX8654" y="connsiteY8654"/>
              </a:cxn>
              <a:cxn ang="0">
                <a:pos x="connsiteX8655" y="connsiteY8655"/>
              </a:cxn>
              <a:cxn ang="0">
                <a:pos x="connsiteX8656" y="connsiteY8656"/>
              </a:cxn>
              <a:cxn ang="0">
                <a:pos x="connsiteX8657" y="connsiteY8657"/>
              </a:cxn>
              <a:cxn ang="0">
                <a:pos x="connsiteX8658" y="connsiteY8658"/>
              </a:cxn>
              <a:cxn ang="0">
                <a:pos x="connsiteX8659" y="connsiteY8659"/>
              </a:cxn>
              <a:cxn ang="0">
                <a:pos x="connsiteX8660" y="connsiteY8660"/>
              </a:cxn>
              <a:cxn ang="0">
                <a:pos x="connsiteX8661" y="connsiteY8661"/>
              </a:cxn>
              <a:cxn ang="0">
                <a:pos x="connsiteX8662" y="connsiteY8662"/>
              </a:cxn>
              <a:cxn ang="0">
                <a:pos x="connsiteX8663" y="connsiteY8663"/>
              </a:cxn>
              <a:cxn ang="0">
                <a:pos x="connsiteX8664" y="connsiteY8664"/>
              </a:cxn>
              <a:cxn ang="0">
                <a:pos x="connsiteX8665" y="connsiteY8665"/>
              </a:cxn>
              <a:cxn ang="0">
                <a:pos x="connsiteX8666" y="connsiteY8666"/>
              </a:cxn>
              <a:cxn ang="0">
                <a:pos x="connsiteX8667" y="connsiteY8667"/>
              </a:cxn>
              <a:cxn ang="0">
                <a:pos x="connsiteX8668" y="connsiteY8668"/>
              </a:cxn>
              <a:cxn ang="0">
                <a:pos x="connsiteX8669" y="connsiteY8669"/>
              </a:cxn>
              <a:cxn ang="0">
                <a:pos x="connsiteX8670" y="connsiteY8670"/>
              </a:cxn>
              <a:cxn ang="0">
                <a:pos x="connsiteX8671" y="connsiteY8671"/>
              </a:cxn>
              <a:cxn ang="0">
                <a:pos x="connsiteX8672" y="connsiteY8672"/>
              </a:cxn>
              <a:cxn ang="0">
                <a:pos x="connsiteX8673" y="connsiteY8673"/>
              </a:cxn>
              <a:cxn ang="0">
                <a:pos x="connsiteX8674" y="connsiteY8674"/>
              </a:cxn>
              <a:cxn ang="0">
                <a:pos x="connsiteX8675" y="connsiteY8675"/>
              </a:cxn>
              <a:cxn ang="0">
                <a:pos x="connsiteX8676" y="connsiteY8676"/>
              </a:cxn>
              <a:cxn ang="0">
                <a:pos x="connsiteX8677" y="connsiteY8677"/>
              </a:cxn>
              <a:cxn ang="0">
                <a:pos x="connsiteX8678" y="connsiteY8678"/>
              </a:cxn>
              <a:cxn ang="0">
                <a:pos x="connsiteX8679" y="connsiteY8679"/>
              </a:cxn>
              <a:cxn ang="0">
                <a:pos x="connsiteX8680" y="connsiteY8680"/>
              </a:cxn>
              <a:cxn ang="0">
                <a:pos x="connsiteX8681" y="connsiteY8681"/>
              </a:cxn>
              <a:cxn ang="0">
                <a:pos x="connsiteX8682" y="connsiteY8682"/>
              </a:cxn>
              <a:cxn ang="0">
                <a:pos x="connsiteX8683" y="connsiteY8683"/>
              </a:cxn>
              <a:cxn ang="0">
                <a:pos x="connsiteX8684" y="connsiteY8684"/>
              </a:cxn>
              <a:cxn ang="0">
                <a:pos x="connsiteX8685" y="connsiteY8685"/>
              </a:cxn>
              <a:cxn ang="0">
                <a:pos x="connsiteX8686" y="connsiteY8686"/>
              </a:cxn>
              <a:cxn ang="0">
                <a:pos x="connsiteX8687" y="connsiteY8687"/>
              </a:cxn>
              <a:cxn ang="0">
                <a:pos x="connsiteX8688" y="connsiteY8688"/>
              </a:cxn>
              <a:cxn ang="0">
                <a:pos x="connsiteX8689" y="connsiteY8689"/>
              </a:cxn>
              <a:cxn ang="0">
                <a:pos x="connsiteX8690" y="connsiteY8690"/>
              </a:cxn>
              <a:cxn ang="0">
                <a:pos x="connsiteX8691" y="connsiteY8691"/>
              </a:cxn>
              <a:cxn ang="0">
                <a:pos x="connsiteX8692" y="connsiteY8692"/>
              </a:cxn>
              <a:cxn ang="0">
                <a:pos x="connsiteX8693" y="connsiteY8693"/>
              </a:cxn>
              <a:cxn ang="0">
                <a:pos x="connsiteX8694" y="connsiteY8694"/>
              </a:cxn>
              <a:cxn ang="0">
                <a:pos x="connsiteX8695" y="connsiteY8695"/>
              </a:cxn>
              <a:cxn ang="0">
                <a:pos x="connsiteX8696" y="connsiteY8696"/>
              </a:cxn>
              <a:cxn ang="0">
                <a:pos x="connsiteX8697" y="connsiteY8697"/>
              </a:cxn>
              <a:cxn ang="0">
                <a:pos x="connsiteX8698" y="connsiteY8698"/>
              </a:cxn>
              <a:cxn ang="0">
                <a:pos x="connsiteX8699" y="connsiteY8699"/>
              </a:cxn>
              <a:cxn ang="0">
                <a:pos x="connsiteX8700" y="connsiteY8700"/>
              </a:cxn>
              <a:cxn ang="0">
                <a:pos x="connsiteX8701" y="connsiteY8701"/>
              </a:cxn>
              <a:cxn ang="0">
                <a:pos x="connsiteX8702" y="connsiteY8702"/>
              </a:cxn>
              <a:cxn ang="0">
                <a:pos x="connsiteX8703" y="connsiteY8703"/>
              </a:cxn>
              <a:cxn ang="0">
                <a:pos x="connsiteX8704" y="connsiteY8704"/>
              </a:cxn>
              <a:cxn ang="0">
                <a:pos x="connsiteX8705" y="connsiteY8705"/>
              </a:cxn>
              <a:cxn ang="0">
                <a:pos x="connsiteX8706" y="connsiteY8706"/>
              </a:cxn>
              <a:cxn ang="0">
                <a:pos x="connsiteX8707" y="connsiteY8707"/>
              </a:cxn>
              <a:cxn ang="0">
                <a:pos x="connsiteX8708" y="connsiteY8708"/>
              </a:cxn>
              <a:cxn ang="0">
                <a:pos x="connsiteX8709" y="connsiteY8709"/>
              </a:cxn>
              <a:cxn ang="0">
                <a:pos x="connsiteX8710" y="connsiteY8710"/>
              </a:cxn>
              <a:cxn ang="0">
                <a:pos x="connsiteX8711" y="connsiteY8711"/>
              </a:cxn>
              <a:cxn ang="0">
                <a:pos x="connsiteX8712" y="connsiteY8712"/>
              </a:cxn>
              <a:cxn ang="0">
                <a:pos x="connsiteX8713" y="connsiteY8713"/>
              </a:cxn>
              <a:cxn ang="0">
                <a:pos x="connsiteX8714" y="connsiteY8714"/>
              </a:cxn>
              <a:cxn ang="0">
                <a:pos x="connsiteX8715" y="connsiteY8715"/>
              </a:cxn>
              <a:cxn ang="0">
                <a:pos x="connsiteX8716" y="connsiteY8716"/>
              </a:cxn>
              <a:cxn ang="0">
                <a:pos x="connsiteX8717" y="connsiteY8717"/>
              </a:cxn>
              <a:cxn ang="0">
                <a:pos x="connsiteX8718" y="connsiteY8718"/>
              </a:cxn>
              <a:cxn ang="0">
                <a:pos x="connsiteX8719" y="connsiteY8719"/>
              </a:cxn>
              <a:cxn ang="0">
                <a:pos x="connsiteX8720" y="connsiteY8720"/>
              </a:cxn>
              <a:cxn ang="0">
                <a:pos x="connsiteX8721" y="connsiteY8721"/>
              </a:cxn>
              <a:cxn ang="0">
                <a:pos x="connsiteX8722" y="connsiteY8722"/>
              </a:cxn>
              <a:cxn ang="0">
                <a:pos x="connsiteX8723" y="connsiteY8723"/>
              </a:cxn>
              <a:cxn ang="0">
                <a:pos x="connsiteX8724" y="connsiteY8724"/>
              </a:cxn>
              <a:cxn ang="0">
                <a:pos x="connsiteX8725" y="connsiteY8725"/>
              </a:cxn>
              <a:cxn ang="0">
                <a:pos x="connsiteX8726" y="connsiteY8726"/>
              </a:cxn>
              <a:cxn ang="0">
                <a:pos x="connsiteX8727" y="connsiteY8727"/>
              </a:cxn>
              <a:cxn ang="0">
                <a:pos x="connsiteX8728" y="connsiteY8728"/>
              </a:cxn>
              <a:cxn ang="0">
                <a:pos x="connsiteX8729" y="connsiteY8729"/>
              </a:cxn>
              <a:cxn ang="0">
                <a:pos x="connsiteX8730" y="connsiteY8730"/>
              </a:cxn>
              <a:cxn ang="0">
                <a:pos x="connsiteX8731" y="connsiteY8731"/>
              </a:cxn>
              <a:cxn ang="0">
                <a:pos x="connsiteX8732" y="connsiteY8732"/>
              </a:cxn>
              <a:cxn ang="0">
                <a:pos x="connsiteX8733" y="connsiteY8733"/>
              </a:cxn>
              <a:cxn ang="0">
                <a:pos x="connsiteX8734" y="connsiteY8734"/>
              </a:cxn>
              <a:cxn ang="0">
                <a:pos x="connsiteX8735" y="connsiteY8735"/>
              </a:cxn>
              <a:cxn ang="0">
                <a:pos x="connsiteX8736" y="connsiteY8736"/>
              </a:cxn>
              <a:cxn ang="0">
                <a:pos x="connsiteX8737" y="connsiteY8737"/>
              </a:cxn>
              <a:cxn ang="0">
                <a:pos x="connsiteX8738" y="connsiteY8738"/>
              </a:cxn>
              <a:cxn ang="0">
                <a:pos x="connsiteX8739" y="connsiteY8739"/>
              </a:cxn>
              <a:cxn ang="0">
                <a:pos x="connsiteX8740" y="connsiteY8740"/>
              </a:cxn>
              <a:cxn ang="0">
                <a:pos x="connsiteX8741" y="connsiteY8741"/>
              </a:cxn>
              <a:cxn ang="0">
                <a:pos x="connsiteX8742" y="connsiteY8742"/>
              </a:cxn>
              <a:cxn ang="0">
                <a:pos x="connsiteX8743" y="connsiteY8743"/>
              </a:cxn>
              <a:cxn ang="0">
                <a:pos x="connsiteX8744" y="connsiteY8744"/>
              </a:cxn>
              <a:cxn ang="0">
                <a:pos x="connsiteX8745" y="connsiteY8745"/>
              </a:cxn>
              <a:cxn ang="0">
                <a:pos x="connsiteX8746" y="connsiteY8746"/>
              </a:cxn>
              <a:cxn ang="0">
                <a:pos x="connsiteX8747" y="connsiteY8747"/>
              </a:cxn>
              <a:cxn ang="0">
                <a:pos x="connsiteX8748" y="connsiteY8748"/>
              </a:cxn>
              <a:cxn ang="0">
                <a:pos x="connsiteX8749" y="connsiteY8749"/>
              </a:cxn>
              <a:cxn ang="0">
                <a:pos x="connsiteX8750" y="connsiteY8750"/>
              </a:cxn>
              <a:cxn ang="0">
                <a:pos x="connsiteX8751" y="connsiteY8751"/>
              </a:cxn>
              <a:cxn ang="0">
                <a:pos x="connsiteX8752" y="connsiteY8752"/>
              </a:cxn>
              <a:cxn ang="0">
                <a:pos x="connsiteX8753" y="connsiteY8753"/>
              </a:cxn>
              <a:cxn ang="0">
                <a:pos x="connsiteX8754" y="connsiteY8754"/>
              </a:cxn>
              <a:cxn ang="0">
                <a:pos x="connsiteX8755" y="connsiteY8755"/>
              </a:cxn>
              <a:cxn ang="0">
                <a:pos x="connsiteX8756" y="connsiteY8756"/>
              </a:cxn>
              <a:cxn ang="0">
                <a:pos x="connsiteX8757" y="connsiteY8757"/>
              </a:cxn>
              <a:cxn ang="0">
                <a:pos x="connsiteX8758" y="connsiteY8758"/>
              </a:cxn>
              <a:cxn ang="0">
                <a:pos x="connsiteX8759" y="connsiteY8759"/>
              </a:cxn>
              <a:cxn ang="0">
                <a:pos x="connsiteX8760" y="connsiteY8760"/>
              </a:cxn>
              <a:cxn ang="0">
                <a:pos x="connsiteX8761" y="connsiteY8761"/>
              </a:cxn>
              <a:cxn ang="0">
                <a:pos x="connsiteX8762" y="connsiteY8762"/>
              </a:cxn>
              <a:cxn ang="0">
                <a:pos x="connsiteX8763" y="connsiteY8763"/>
              </a:cxn>
              <a:cxn ang="0">
                <a:pos x="connsiteX8764" y="connsiteY8764"/>
              </a:cxn>
              <a:cxn ang="0">
                <a:pos x="connsiteX8765" y="connsiteY8765"/>
              </a:cxn>
              <a:cxn ang="0">
                <a:pos x="connsiteX8766" y="connsiteY8766"/>
              </a:cxn>
              <a:cxn ang="0">
                <a:pos x="connsiteX8767" y="connsiteY8767"/>
              </a:cxn>
              <a:cxn ang="0">
                <a:pos x="connsiteX8768" y="connsiteY8768"/>
              </a:cxn>
              <a:cxn ang="0">
                <a:pos x="connsiteX8769" y="connsiteY8769"/>
              </a:cxn>
              <a:cxn ang="0">
                <a:pos x="connsiteX8770" y="connsiteY8770"/>
              </a:cxn>
              <a:cxn ang="0">
                <a:pos x="connsiteX8771" y="connsiteY8771"/>
              </a:cxn>
              <a:cxn ang="0">
                <a:pos x="connsiteX8772" y="connsiteY8772"/>
              </a:cxn>
              <a:cxn ang="0">
                <a:pos x="connsiteX8773" y="connsiteY8773"/>
              </a:cxn>
              <a:cxn ang="0">
                <a:pos x="connsiteX8774" y="connsiteY8774"/>
              </a:cxn>
              <a:cxn ang="0">
                <a:pos x="connsiteX8775" y="connsiteY8775"/>
              </a:cxn>
              <a:cxn ang="0">
                <a:pos x="connsiteX8776" y="connsiteY8776"/>
              </a:cxn>
              <a:cxn ang="0">
                <a:pos x="connsiteX8777" y="connsiteY8777"/>
              </a:cxn>
              <a:cxn ang="0">
                <a:pos x="connsiteX8778" y="connsiteY8778"/>
              </a:cxn>
              <a:cxn ang="0">
                <a:pos x="connsiteX8779" y="connsiteY8779"/>
              </a:cxn>
              <a:cxn ang="0">
                <a:pos x="connsiteX8780" y="connsiteY8780"/>
              </a:cxn>
              <a:cxn ang="0">
                <a:pos x="connsiteX8781" y="connsiteY8781"/>
              </a:cxn>
              <a:cxn ang="0">
                <a:pos x="connsiteX8782" y="connsiteY8782"/>
              </a:cxn>
              <a:cxn ang="0">
                <a:pos x="connsiteX8783" y="connsiteY8783"/>
              </a:cxn>
              <a:cxn ang="0">
                <a:pos x="connsiteX8784" y="connsiteY8784"/>
              </a:cxn>
              <a:cxn ang="0">
                <a:pos x="connsiteX8785" y="connsiteY8785"/>
              </a:cxn>
              <a:cxn ang="0">
                <a:pos x="connsiteX8786" y="connsiteY8786"/>
              </a:cxn>
              <a:cxn ang="0">
                <a:pos x="connsiteX8787" y="connsiteY8787"/>
              </a:cxn>
              <a:cxn ang="0">
                <a:pos x="connsiteX8788" y="connsiteY8788"/>
              </a:cxn>
              <a:cxn ang="0">
                <a:pos x="connsiteX8789" y="connsiteY8789"/>
              </a:cxn>
              <a:cxn ang="0">
                <a:pos x="connsiteX8790" y="connsiteY8790"/>
              </a:cxn>
              <a:cxn ang="0">
                <a:pos x="connsiteX8791" y="connsiteY8791"/>
              </a:cxn>
              <a:cxn ang="0">
                <a:pos x="connsiteX8792" y="connsiteY8792"/>
              </a:cxn>
              <a:cxn ang="0">
                <a:pos x="connsiteX8793" y="connsiteY8793"/>
              </a:cxn>
              <a:cxn ang="0">
                <a:pos x="connsiteX8794" y="connsiteY8794"/>
              </a:cxn>
              <a:cxn ang="0">
                <a:pos x="connsiteX8795" y="connsiteY8795"/>
              </a:cxn>
              <a:cxn ang="0">
                <a:pos x="connsiteX8796" y="connsiteY8796"/>
              </a:cxn>
              <a:cxn ang="0">
                <a:pos x="connsiteX8797" y="connsiteY8797"/>
              </a:cxn>
              <a:cxn ang="0">
                <a:pos x="connsiteX8798" y="connsiteY8798"/>
              </a:cxn>
              <a:cxn ang="0">
                <a:pos x="connsiteX8799" y="connsiteY8799"/>
              </a:cxn>
              <a:cxn ang="0">
                <a:pos x="connsiteX8800" y="connsiteY8800"/>
              </a:cxn>
              <a:cxn ang="0">
                <a:pos x="connsiteX8801" y="connsiteY8801"/>
              </a:cxn>
              <a:cxn ang="0">
                <a:pos x="connsiteX8802" y="connsiteY8802"/>
              </a:cxn>
              <a:cxn ang="0">
                <a:pos x="connsiteX8803" y="connsiteY8803"/>
              </a:cxn>
              <a:cxn ang="0">
                <a:pos x="connsiteX8804" y="connsiteY8804"/>
              </a:cxn>
              <a:cxn ang="0">
                <a:pos x="connsiteX8805" y="connsiteY8805"/>
              </a:cxn>
              <a:cxn ang="0">
                <a:pos x="connsiteX8806" y="connsiteY8806"/>
              </a:cxn>
              <a:cxn ang="0">
                <a:pos x="connsiteX8807" y="connsiteY8807"/>
              </a:cxn>
              <a:cxn ang="0">
                <a:pos x="connsiteX8808" y="connsiteY8808"/>
              </a:cxn>
              <a:cxn ang="0">
                <a:pos x="connsiteX8809" y="connsiteY8809"/>
              </a:cxn>
              <a:cxn ang="0">
                <a:pos x="connsiteX8810" y="connsiteY8810"/>
              </a:cxn>
              <a:cxn ang="0">
                <a:pos x="connsiteX8811" y="connsiteY8811"/>
              </a:cxn>
              <a:cxn ang="0">
                <a:pos x="connsiteX8812" y="connsiteY8812"/>
              </a:cxn>
              <a:cxn ang="0">
                <a:pos x="connsiteX8813" y="connsiteY8813"/>
              </a:cxn>
              <a:cxn ang="0">
                <a:pos x="connsiteX8814" y="connsiteY8814"/>
              </a:cxn>
              <a:cxn ang="0">
                <a:pos x="connsiteX8815" y="connsiteY8815"/>
              </a:cxn>
              <a:cxn ang="0">
                <a:pos x="connsiteX8816" y="connsiteY8816"/>
              </a:cxn>
              <a:cxn ang="0">
                <a:pos x="connsiteX8817" y="connsiteY8817"/>
              </a:cxn>
              <a:cxn ang="0">
                <a:pos x="connsiteX8818" y="connsiteY8818"/>
              </a:cxn>
              <a:cxn ang="0">
                <a:pos x="connsiteX8819" y="connsiteY8819"/>
              </a:cxn>
              <a:cxn ang="0">
                <a:pos x="connsiteX8820" y="connsiteY8820"/>
              </a:cxn>
              <a:cxn ang="0">
                <a:pos x="connsiteX8821" y="connsiteY8821"/>
              </a:cxn>
              <a:cxn ang="0">
                <a:pos x="connsiteX8822" y="connsiteY8822"/>
              </a:cxn>
              <a:cxn ang="0">
                <a:pos x="connsiteX8823" y="connsiteY8823"/>
              </a:cxn>
              <a:cxn ang="0">
                <a:pos x="connsiteX8824" y="connsiteY8824"/>
              </a:cxn>
              <a:cxn ang="0">
                <a:pos x="connsiteX8825" y="connsiteY8825"/>
              </a:cxn>
              <a:cxn ang="0">
                <a:pos x="connsiteX8826" y="connsiteY8826"/>
              </a:cxn>
              <a:cxn ang="0">
                <a:pos x="connsiteX8827" y="connsiteY8827"/>
              </a:cxn>
              <a:cxn ang="0">
                <a:pos x="connsiteX8828" y="connsiteY8828"/>
              </a:cxn>
              <a:cxn ang="0">
                <a:pos x="connsiteX8829" y="connsiteY8829"/>
              </a:cxn>
              <a:cxn ang="0">
                <a:pos x="connsiteX8830" y="connsiteY8830"/>
              </a:cxn>
              <a:cxn ang="0">
                <a:pos x="connsiteX8831" y="connsiteY8831"/>
              </a:cxn>
              <a:cxn ang="0">
                <a:pos x="connsiteX8832" y="connsiteY8832"/>
              </a:cxn>
              <a:cxn ang="0">
                <a:pos x="connsiteX8833" y="connsiteY8833"/>
              </a:cxn>
              <a:cxn ang="0">
                <a:pos x="connsiteX8834" y="connsiteY8834"/>
              </a:cxn>
              <a:cxn ang="0">
                <a:pos x="connsiteX8835" y="connsiteY8835"/>
              </a:cxn>
              <a:cxn ang="0">
                <a:pos x="connsiteX8836" y="connsiteY8836"/>
              </a:cxn>
              <a:cxn ang="0">
                <a:pos x="connsiteX8837" y="connsiteY8837"/>
              </a:cxn>
              <a:cxn ang="0">
                <a:pos x="connsiteX8838" y="connsiteY8838"/>
              </a:cxn>
              <a:cxn ang="0">
                <a:pos x="connsiteX8839" y="connsiteY8839"/>
              </a:cxn>
              <a:cxn ang="0">
                <a:pos x="connsiteX8840" y="connsiteY8840"/>
              </a:cxn>
              <a:cxn ang="0">
                <a:pos x="connsiteX8841" y="connsiteY8841"/>
              </a:cxn>
              <a:cxn ang="0">
                <a:pos x="connsiteX8842" y="connsiteY8842"/>
              </a:cxn>
              <a:cxn ang="0">
                <a:pos x="connsiteX8843" y="connsiteY8843"/>
              </a:cxn>
              <a:cxn ang="0">
                <a:pos x="connsiteX8844" y="connsiteY8844"/>
              </a:cxn>
              <a:cxn ang="0">
                <a:pos x="connsiteX8845" y="connsiteY8845"/>
              </a:cxn>
              <a:cxn ang="0">
                <a:pos x="connsiteX8846" y="connsiteY8846"/>
              </a:cxn>
              <a:cxn ang="0">
                <a:pos x="connsiteX8847" y="connsiteY8847"/>
              </a:cxn>
              <a:cxn ang="0">
                <a:pos x="connsiteX8848" y="connsiteY8848"/>
              </a:cxn>
              <a:cxn ang="0">
                <a:pos x="connsiteX8849" y="connsiteY8849"/>
              </a:cxn>
              <a:cxn ang="0">
                <a:pos x="connsiteX8850" y="connsiteY8850"/>
              </a:cxn>
              <a:cxn ang="0">
                <a:pos x="connsiteX8851" y="connsiteY8851"/>
              </a:cxn>
              <a:cxn ang="0">
                <a:pos x="connsiteX8852" y="connsiteY8852"/>
              </a:cxn>
              <a:cxn ang="0">
                <a:pos x="connsiteX8853" y="connsiteY8853"/>
              </a:cxn>
              <a:cxn ang="0">
                <a:pos x="connsiteX8854" y="connsiteY8854"/>
              </a:cxn>
              <a:cxn ang="0">
                <a:pos x="connsiteX8855" y="connsiteY8855"/>
              </a:cxn>
              <a:cxn ang="0">
                <a:pos x="connsiteX8856" y="connsiteY8856"/>
              </a:cxn>
              <a:cxn ang="0">
                <a:pos x="connsiteX8857" y="connsiteY8857"/>
              </a:cxn>
              <a:cxn ang="0">
                <a:pos x="connsiteX8858" y="connsiteY8858"/>
              </a:cxn>
              <a:cxn ang="0">
                <a:pos x="connsiteX8859" y="connsiteY8859"/>
              </a:cxn>
              <a:cxn ang="0">
                <a:pos x="connsiteX8860" y="connsiteY8860"/>
              </a:cxn>
              <a:cxn ang="0">
                <a:pos x="connsiteX8861" y="connsiteY8861"/>
              </a:cxn>
              <a:cxn ang="0">
                <a:pos x="connsiteX8862" y="connsiteY8862"/>
              </a:cxn>
              <a:cxn ang="0">
                <a:pos x="connsiteX8863" y="connsiteY8863"/>
              </a:cxn>
              <a:cxn ang="0">
                <a:pos x="connsiteX8864" y="connsiteY8864"/>
              </a:cxn>
              <a:cxn ang="0">
                <a:pos x="connsiteX8865" y="connsiteY8865"/>
              </a:cxn>
              <a:cxn ang="0">
                <a:pos x="connsiteX8866" y="connsiteY8866"/>
              </a:cxn>
              <a:cxn ang="0">
                <a:pos x="connsiteX8867" y="connsiteY8867"/>
              </a:cxn>
              <a:cxn ang="0">
                <a:pos x="connsiteX8868" y="connsiteY8868"/>
              </a:cxn>
              <a:cxn ang="0">
                <a:pos x="connsiteX8869" y="connsiteY8869"/>
              </a:cxn>
              <a:cxn ang="0">
                <a:pos x="connsiteX8870" y="connsiteY8870"/>
              </a:cxn>
              <a:cxn ang="0">
                <a:pos x="connsiteX8871" y="connsiteY8871"/>
              </a:cxn>
              <a:cxn ang="0">
                <a:pos x="connsiteX8872" y="connsiteY8872"/>
              </a:cxn>
              <a:cxn ang="0">
                <a:pos x="connsiteX8873" y="connsiteY8873"/>
              </a:cxn>
              <a:cxn ang="0">
                <a:pos x="connsiteX8874" y="connsiteY8874"/>
              </a:cxn>
              <a:cxn ang="0">
                <a:pos x="connsiteX8875" y="connsiteY8875"/>
              </a:cxn>
              <a:cxn ang="0">
                <a:pos x="connsiteX8876" y="connsiteY8876"/>
              </a:cxn>
              <a:cxn ang="0">
                <a:pos x="connsiteX8877" y="connsiteY8877"/>
              </a:cxn>
              <a:cxn ang="0">
                <a:pos x="connsiteX8878" y="connsiteY8878"/>
              </a:cxn>
              <a:cxn ang="0">
                <a:pos x="connsiteX8879" y="connsiteY8879"/>
              </a:cxn>
              <a:cxn ang="0">
                <a:pos x="connsiteX8880" y="connsiteY8880"/>
              </a:cxn>
              <a:cxn ang="0">
                <a:pos x="connsiteX8881" y="connsiteY8881"/>
              </a:cxn>
              <a:cxn ang="0">
                <a:pos x="connsiteX8882" y="connsiteY8882"/>
              </a:cxn>
              <a:cxn ang="0">
                <a:pos x="connsiteX8883" y="connsiteY8883"/>
              </a:cxn>
              <a:cxn ang="0">
                <a:pos x="connsiteX8884" y="connsiteY8884"/>
              </a:cxn>
              <a:cxn ang="0">
                <a:pos x="connsiteX8885" y="connsiteY8885"/>
              </a:cxn>
              <a:cxn ang="0">
                <a:pos x="connsiteX8886" y="connsiteY8886"/>
              </a:cxn>
              <a:cxn ang="0">
                <a:pos x="connsiteX8887" y="connsiteY8887"/>
              </a:cxn>
              <a:cxn ang="0">
                <a:pos x="connsiteX8888" y="connsiteY8888"/>
              </a:cxn>
              <a:cxn ang="0">
                <a:pos x="connsiteX8889" y="connsiteY8889"/>
              </a:cxn>
              <a:cxn ang="0">
                <a:pos x="connsiteX8890" y="connsiteY8890"/>
              </a:cxn>
              <a:cxn ang="0">
                <a:pos x="connsiteX8891" y="connsiteY8891"/>
              </a:cxn>
              <a:cxn ang="0">
                <a:pos x="connsiteX8892" y="connsiteY8892"/>
              </a:cxn>
              <a:cxn ang="0">
                <a:pos x="connsiteX8893" y="connsiteY8893"/>
              </a:cxn>
              <a:cxn ang="0">
                <a:pos x="connsiteX8894" y="connsiteY8894"/>
              </a:cxn>
              <a:cxn ang="0">
                <a:pos x="connsiteX8895" y="connsiteY8895"/>
              </a:cxn>
              <a:cxn ang="0">
                <a:pos x="connsiteX8896" y="connsiteY8896"/>
              </a:cxn>
              <a:cxn ang="0">
                <a:pos x="connsiteX8897" y="connsiteY8897"/>
              </a:cxn>
              <a:cxn ang="0">
                <a:pos x="connsiteX8898" y="connsiteY8898"/>
              </a:cxn>
              <a:cxn ang="0">
                <a:pos x="connsiteX8899" y="connsiteY8899"/>
              </a:cxn>
              <a:cxn ang="0">
                <a:pos x="connsiteX8900" y="connsiteY8900"/>
              </a:cxn>
              <a:cxn ang="0">
                <a:pos x="connsiteX8901" y="connsiteY8901"/>
              </a:cxn>
              <a:cxn ang="0">
                <a:pos x="connsiteX8902" y="connsiteY8902"/>
              </a:cxn>
              <a:cxn ang="0">
                <a:pos x="connsiteX8903" y="connsiteY8903"/>
              </a:cxn>
              <a:cxn ang="0">
                <a:pos x="connsiteX8904" y="connsiteY8904"/>
              </a:cxn>
              <a:cxn ang="0">
                <a:pos x="connsiteX8905" y="connsiteY8905"/>
              </a:cxn>
              <a:cxn ang="0">
                <a:pos x="connsiteX8906" y="connsiteY8906"/>
              </a:cxn>
              <a:cxn ang="0">
                <a:pos x="connsiteX8907" y="connsiteY8907"/>
              </a:cxn>
              <a:cxn ang="0">
                <a:pos x="connsiteX8908" y="connsiteY8908"/>
              </a:cxn>
              <a:cxn ang="0">
                <a:pos x="connsiteX8909" y="connsiteY8909"/>
              </a:cxn>
              <a:cxn ang="0">
                <a:pos x="connsiteX8910" y="connsiteY8910"/>
              </a:cxn>
              <a:cxn ang="0">
                <a:pos x="connsiteX8911" y="connsiteY8911"/>
              </a:cxn>
              <a:cxn ang="0">
                <a:pos x="connsiteX8912" y="connsiteY8912"/>
              </a:cxn>
              <a:cxn ang="0">
                <a:pos x="connsiteX8913" y="connsiteY8913"/>
              </a:cxn>
              <a:cxn ang="0">
                <a:pos x="connsiteX8914" y="connsiteY8914"/>
              </a:cxn>
              <a:cxn ang="0">
                <a:pos x="connsiteX8915" y="connsiteY8915"/>
              </a:cxn>
              <a:cxn ang="0">
                <a:pos x="connsiteX8916" y="connsiteY8916"/>
              </a:cxn>
              <a:cxn ang="0">
                <a:pos x="connsiteX8917" y="connsiteY8917"/>
              </a:cxn>
              <a:cxn ang="0">
                <a:pos x="connsiteX8918" y="connsiteY8918"/>
              </a:cxn>
              <a:cxn ang="0">
                <a:pos x="connsiteX8919" y="connsiteY8919"/>
              </a:cxn>
              <a:cxn ang="0">
                <a:pos x="connsiteX8920" y="connsiteY8920"/>
              </a:cxn>
              <a:cxn ang="0">
                <a:pos x="connsiteX8921" y="connsiteY8921"/>
              </a:cxn>
              <a:cxn ang="0">
                <a:pos x="connsiteX8922" y="connsiteY8922"/>
              </a:cxn>
              <a:cxn ang="0">
                <a:pos x="connsiteX8923" y="connsiteY8923"/>
              </a:cxn>
              <a:cxn ang="0">
                <a:pos x="connsiteX8924" y="connsiteY8924"/>
              </a:cxn>
              <a:cxn ang="0">
                <a:pos x="connsiteX8925" y="connsiteY8925"/>
              </a:cxn>
              <a:cxn ang="0">
                <a:pos x="connsiteX8926" y="connsiteY8926"/>
              </a:cxn>
              <a:cxn ang="0">
                <a:pos x="connsiteX8927" y="connsiteY8927"/>
              </a:cxn>
              <a:cxn ang="0">
                <a:pos x="connsiteX8928" y="connsiteY8928"/>
              </a:cxn>
              <a:cxn ang="0">
                <a:pos x="connsiteX8929" y="connsiteY8929"/>
              </a:cxn>
              <a:cxn ang="0">
                <a:pos x="connsiteX8930" y="connsiteY8930"/>
              </a:cxn>
              <a:cxn ang="0">
                <a:pos x="connsiteX8931" y="connsiteY8931"/>
              </a:cxn>
              <a:cxn ang="0">
                <a:pos x="connsiteX8932" y="connsiteY8932"/>
              </a:cxn>
              <a:cxn ang="0">
                <a:pos x="connsiteX8933" y="connsiteY8933"/>
              </a:cxn>
              <a:cxn ang="0">
                <a:pos x="connsiteX8934" y="connsiteY8934"/>
              </a:cxn>
              <a:cxn ang="0">
                <a:pos x="connsiteX8935" y="connsiteY8935"/>
              </a:cxn>
              <a:cxn ang="0">
                <a:pos x="connsiteX8936" y="connsiteY8936"/>
              </a:cxn>
              <a:cxn ang="0">
                <a:pos x="connsiteX8937" y="connsiteY8937"/>
              </a:cxn>
              <a:cxn ang="0">
                <a:pos x="connsiteX8938" y="connsiteY8938"/>
              </a:cxn>
              <a:cxn ang="0">
                <a:pos x="connsiteX8939" y="connsiteY8939"/>
              </a:cxn>
              <a:cxn ang="0">
                <a:pos x="connsiteX8940" y="connsiteY8940"/>
              </a:cxn>
              <a:cxn ang="0">
                <a:pos x="connsiteX8941" y="connsiteY8941"/>
              </a:cxn>
              <a:cxn ang="0">
                <a:pos x="connsiteX8942" y="connsiteY8942"/>
              </a:cxn>
              <a:cxn ang="0">
                <a:pos x="connsiteX8943" y="connsiteY8943"/>
              </a:cxn>
              <a:cxn ang="0">
                <a:pos x="connsiteX8944" y="connsiteY8944"/>
              </a:cxn>
              <a:cxn ang="0">
                <a:pos x="connsiteX8945" y="connsiteY8945"/>
              </a:cxn>
              <a:cxn ang="0">
                <a:pos x="connsiteX8946" y="connsiteY8946"/>
              </a:cxn>
              <a:cxn ang="0">
                <a:pos x="connsiteX8947" y="connsiteY8947"/>
              </a:cxn>
              <a:cxn ang="0">
                <a:pos x="connsiteX8948" y="connsiteY8948"/>
              </a:cxn>
              <a:cxn ang="0">
                <a:pos x="connsiteX8949" y="connsiteY8949"/>
              </a:cxn>
              <a:cxn ang="0">
                <a:pos x="connsiteX8950" y="connsiteY8950"/>
              </a:cxn>
              <a:cxn ang="0">
                <a:pos x="connsiteX8951" y="connsiteY8951"/>
              </a:cxn>
              <a:cxn ang="0">
                <a:pos x="connsiteX8952" y="connsiteY8952"/>
              </a:cxn>
              <a:cxn ang="0">
                <a:pos x="connsiteX8953" y="connsiteY8953"/>
              </a:cxn>
              <a:cxn ang="0">
                <a:pos x="connsiteX8954" y="connsiteY8954"/>
              </a:cxn>
              <a:cxn ang="0">
                <a:pos x="connsiteX8955" y="connsiteY8955"/>
              </a:cxn>
              <a:cxn ang="0">
                <a:pos x="connsiteX8956" y="connsiteY8956"/>
              </a:cxn>
              <a:cxn ang="0">
                <a:pos x="connsiteX8957" y="connsiteY8957"/>
              </a:cxn>
              <a:cxn ang="0">
                <a:pos x="connsiteX8958" y="connsiteY8958"/>
              </a:cxn>
              <a:cxn ang="0">
                <a:pos x="connsiteX8959" y="connsiteY8959"/>
              </a:cxn>
              <a:cxn ang="0">
                <a:pos x="connsiteX8960" y="connsiteY8960"/>
              </a:cxn>
              <a:cxn ang="0">
                <a:pos x="connsiteX8961" y="connsiteY8961"/>
              </a:cxn>
              <a:cxn ang="0">
                <a:pos x="connsiteX8962" y="connsiteY8962"/>
              </a:cxn>
              <a:cxn ang="0">
                <a:pos x="connsiteX8963" y="connsiteY8963"/>
              </a:cxn>
              <a:cxn ang="0">
                <a:pos x="connsiteX8964" y="connsiteY8964"/>
              </a:cxn>
              <a:cxn ang="0">
                <a:pos x="connsiteX8965" y="connsiteY8965"/>
              </a:cxn>
              <a:cxn ang="0">
                <a:pos x="connsiteX8966" y="connsiteY8966"/>
              </a:cxn>
              <a:cxn ang="0">
                <a:pos x="connsiteX8967" y="connsiteY8967"/>
              </a:cxn>
              <a:cxn ang="0">
                <a:pos x="connsiteX8968" y="connsiteY8968"/>
              </a:cxn>
              <a:cxn ang="0">
                <a:pos x="connsiteX8969" y="connsiteY8969"/>
              </a:cxn>
              <a:cxn ang="0">
                <a:pos x="connsiteX8970" y="connsiteY8970"/>
              </a:cxn>
              <a:cxn ang="0">
                <a:pos x="connsiteX8971" y="connsiteY8971"/>
              </a:cxn>
              <a:cxn ang="0">
                <a:pos x="connsiteX8972" y="connsiteY8972"/>
              </a:cxn>
              <a:cxn ang="0">
                <a:pos x="connsiteX8973" y="connsiteY8973"/>
              </a:cxn>
              <a:cxn ang="0">
                <a:pos x="connsiteX8974" y="connsiteY8974"/>
              </a:cxn>
              <a:cxn ang="0">
                <a:pos x="connsiteX8975" y="connsiteY8975"/>
              </a:cxn>
              <a:cxn ang="0">
                <a:pos x="connsiteX8976" y="connsiteY8976"/>
              </a:cxn>
              <a:cxn ang="0">
                <a:pos x="connsiteX8977" y="connsiteY8977"/>
              </a:cxn>
              <a:cxn ang="0">
                <a:pos x="connsiteX8978" y="connsiteY8978"/>
              </a:cxn>
              <a:cxn ang="0">
                <a:pos x="connsiteX8979" y="connsiteY8979"/>
              </a:cxn>
              <a:cxn ang="0">
                <a:pos x="connsiteX8980" y="connsiteY8980"/>
              </a:cxn>
              <a:cxn ang="0">
                <a:pos x="connsiteX8981" y="connsiteY8981"/>
              </a:cxn>
              <a:cxn ang="0">
                <a:pos x="connsiteX8982" y="connsiteY8982"/>
              </a:cxn>
              <a:cxn ang="0">
                <a:pos x="connsiteX8983" y="connsiteY8983"/>
              </a:cxn>
              <a:cxn ang="0">
                <a:pos x="connsiteX8984" y="connsiteY8984"/>
              </a:cxn>
              <a:cxn ang="0">
                <a:pos x="connsiteX8985" y="connsiteY8985"/>
              </a:cxn>
              <a:cxn ang="0">
                <a:pos x="connsiteX8986" y="connsiteY8986"/>
              </a:cxn>
              <a:cxn ang="0">
                <a:pos x="connsiteX8987" y="connsiteY8987"/>
              </a:cxn>
              <a:cxn ang="0">
                <a:pos x="connsiteX8988" y="connsiteY8988"/>
              </a:cxn>
              <a:cxn ang="0">
                <a:pos x="connsiteX8989" y="connsiteY8989"/>
              </a:cxn>
              <a:cxn ang="0">
                <a:pos x="connsiteX8990" y="connsiteY8990"/>
              </a:cxn>
              <a:cxn ang="0">
                <a:pos x="connsiteX8991" y="connsiteY8991"/>
              </a:cxn>
              <a:cxn ang="0">
                <a:pos x="connsiteX8992" y="connsiteY8992"/>
              </a:cxn>
              <a:cxn ang="0">
                <a:pos x="connsiteX8993" y="connsiteY8993"/>
              </a:cxn>
              <a:cxn ang="0">
                <a:pos x="connsiteX8994" y="connsiteY8994"/>
              </a:cxn>
              <a:cxn ang="0">
                <a:pos x="connsiteX8995" y="connsiteY8995"/>
              </a:cxn>
              <a:cxn ang="0">
                <a:pos x="connsiteX8996" y="connsiteY8996"/>
              </a:cxn>
              <a:cxn ang="0">
                <a:pos x="connsiteX8997" y="connsiteY8997"/>
              </a:cxn>
              <a:cxn ang="0">
                <a:pos x="connsiteX8998" y="connsiteY8998"/>
              </a:cxn>
              <a:cxn ang="0">
                <a:pos x="connsiteX8999" y="connsiteY8999"/>
              </a:cxn>
              <a:cxn ang="0">
                <a:pos x="connsiteX9000" y="connsiteY9000"/>
              </a:cxn>
              <a:cxn ang="0">
                <a:pos x="connsiteX9001" y="connsiteY9001"/>
              </a:cxn>
              <a:cxn ang="0">
                <a:pos x="connsiteX9002" y="connsiteY9002"/>
              </a:cxn>
              <a:cxn ang="0">
                <a:pos x="connsiteX9003" y="connsiteY9003"/>
              </a:cxn>
              <a:cxn ang="0">
                <a:pos x="connsiteX9004" y="connsiteY9004"/>
              </a:cxn>
              <a:cxn ang="0">
                <a:pos x="connsiteX9005" y="connsiteY9005"/>
              </a:cxn>
              <a:cxn ang="0">
                <a:pos x="connsiteX9006" y="connsiteY9006"/>
              </a:cxn>
              <a:cxn ang="0">
                <a:pos x="connsiteX9007" y="connsiteY9007"/>
              </a:cxn>
              <a:cxn ang="0">
                <a:pos x="connsiteX9008" y="connsiteY9008"/>
              </a:cxn>
              <a:cxn ang="0">
                <a:pos x="connsiteX9009" y="connsiteY9009"/>
              </a:cxn>
              <a:cxn ang="0">
                <a:pos x="connsiteX9010" y="connsiteY9010"/>
              </a:cxn>
              <a:cxn ang="0">
                <a:pos x="connsiteX9011" y="connsiteY9011"/>
              </a:cxn>
              <a:cxn ang="0">
                <a:pos x="connsiteX9012" y="connsiteY9012"/>
              </a:cxn>
              <a:cxn ang="0">
                <a:pos x="connsiteX9013" y="connsiteY9013"/>
              </a:cxn>
              <a:cxn ang="0">
                <a:pos x="connsiteX9014" y="connsiteY9014"/>
              </a:cxn>
              <a:cxn ang="0">
                <a:pos x="connsiteX9015" y="connsiteY9015"/>
              </a:cxn>
              <a:cxn ang="0">
                <a:pos x="connsiteX9016" y="connsiteY9016"/>
              </a:cxn>
              <a:cxn ang="0">
                <a:pos x="connsiteX9017" y="connsiteY9017"/>
              </a:cxn>
              <a:cxn ang="0">
                <a:pos x="connsiteX9018" y="connsiteY9018"/>
              </a:cxn>
              <a:cxn ang="0">
                <a:pos x="connsiteX9019" y="connsiteY9019"/>
              </a:cxn>
              <a:cxn ang="0">
                <a:pos x="connsiteX9020" y="connsiteY9020"/>
              </a:cxn>
              <a:cxn ang="0">
                <a:pos x="connsiteX9021" y="connsiteY9021"/>
              </a:cxn>
              <a:cxn ang="0">
                <a:pos x="connsiteX9022" y="connsiteY9022"/>
              </a:cxn>
              <a:cxn ang="0">
                <a:pos x="connsiteX9023" y="connsiteY9023"/>
              </a:cxn>
              <a:cxn ang="0">
                <a:pos x="connsiteX9024" y="connsiteY9024"/>
              </a:cxn>
              <a:cxn ang="0">
                <a:pos x="connsiteX9025" y="connsiteY9025"/>
              </a:cxn>
              <a:cxn ang="0">
                <a:pos x="connsiteX9026" y="connsiteY9026"/>
              </a:cxn>
              <a:cxn ang="0">
                <a:pos x="connsiteX9027" y="connsiteY9027"/>
              </a:cxn>
              <a:cxn ang="0">
                <a:pos x="connsiteX9028" y="connsiteY9028"/>
              </a:cxn>
              <a:cxn ang="0">
                <a:pos x="connsiteX9029" y="connsiteY9029"/>
              </a:cxn>
              <a:cxn ang="0">
                <a:pos x="connsiteX9030" y="connsiteY9030"/>
              </a:cxn>
              <a:cxn ang="0">
                <a:pos x="connsiteX9031" y="connsiteY9031"/>
              </a:cxn>
              <a:cxn ang="0">
                <a:pos x="connsiteX9032" y="connsiteY9032"/>
              </a:cxn>
              <a:cxn ang="0">
                <a:pos x="connsiteX9033" y="connsiteY9033"/>
              </a:cxn>
              <a:cxn ang="0">
                <a:pos x="connsiteX9034" y="connsiteY9034"/>
              </a:cxn>
              <a:cxn ang="0">
                <a:pos x="connsiteX9035" y="connsiteY9035"/>
              </a:cxn>
              <a:cxn ang="0">
                <a:pos x="connsiteX9036" y="connsiteY9036"/>
              </a:cxn>
              <a:cxn ang="0">
                <a:pos x="connsiteX9037" y="connsiteY9037"/>
              </a:cxn>
              <a:cxn ang="0">
                <a:pos x="connsiteX9038" y="connsiteY9038"/>
              </a:cxn>
              <a:cxn ang="0">
                <a:pos x="connsiteX9039" y="connsiteY9039"/>
              </a:cxn>
              <a:cxn ang="0">
                <a:pos x="connsiteX9040" y="connsiteY9040"/>
              </a:cxn>
              <a:cxn ang="0">
                <a:pos x="connsiteX9041" y="connsiteY9041"/>
              </a:cxn>
              <a:cxn ang="0">
                <a:pos x="connsiteX9042" y="connsiteY9042"/>
              </a:cxn>
              <a:cxn ang="0">
                <a:pos x="connsiteX9043" y="connsiteY9043"/>
              </a:cxn>
              <a:cxn ang="0">
                <a:pos x="connsiteX9044" y="connsiteY9044"/>
              </a:cxn>
              <a:cxn ang="0">
                <a:pos x="connsiteX9045" y="connsiteY9045"/>
              </a:cxn>
              <a:cxn ang="0">
                <a:pos x="connsiteX9046" y="connsiteY9046"/>
              </a:cxn>
              <a:cxn ang="0">
                <a:pos x="connsiteX9047" y="connsiteY9047"/>
              </a:cxn>
              <a:cxn ang="0">
                <a:pos x="connsiteX9048" y="connsiteY9048"/>
              </a:cxn>
              <a:cxn ang="0">
                <a:pos x="connsiteX9049" y="connsiteY9049"/>
              </a:cxn>
              <a:cxn ang="0">
                <a:pos x="connsiteX9050" y="connsiteY9050"/>
              </a:cxn>
              <a:cxn ang="0">
                <a:pos x="connsiteX9051" y="connsiteY9051"/>
              </a:cxn>
              <a:cxn ang="0">
                <a:pos x="connsiteX9052" y="connsiteY9052"/>
              </a:cxn>
              <a:cxn ang="0">
                <a:pos x="connsiteX9053" y="connsiteY9053"/>
              </a:cxn>
              <a:cxn ang="0">
                <a:pos x="connsiteX9054" y="connsiteY9054"/>
              </a:cxn>
              <a:cxn ang="0">
                <a:pos x="connsiteX9055" y="connsiteY9055"/>
              </a:cxn>
              <a:cxn ang="0">
                <a:pos x="connsiteX9056" y="connsiteY9056"/>
              </a:cxn>
              <a:cxn ang="0">
                <a:pos x="connsiteX9057" y="connsiteY9057"/>
              </a:cxn>
              <a:cxn ang="0">
                <a:pos x="connsiteX9058" y="connsiteY9058"/>
              </a:cxn>
              <a:cxn ang="0">
                <a:pos x="connsiteX9059" y="connsiteY9059"/>
              </a:cxn>
              <a:cxn ang="0">
                <a:pos x="connsiteX9060" y="connsiteY9060"/>
              </a:cxn>
              <a:cxn ang="0">
                <a:pos x="connsiteX9061" y="connsiteY9061"/>
              </a:cxn>
              <a:cxn ang="0">
                <a:pos x="connsiteX9062" y="connsiteY9062"/>
              </a:cxn>
              <a:cxn ang="0">
                <a:pos x="connsiteX9063" y="connsiteY9063"/>
              </a:cxn>
              <a:cxn ang="0">
                <a:pos x="connsiteX9064" y="connsiteY9064"/>
              </a:cxn>
              <a:cxn ang="0">
                <a:pos x="connsiteX9065" y="connsiteY9065"/>
              </a:cxn>
              <a:cxn ang="0">
                <a:pos x="connsiteX9066" y="connsiteY9066"/>
              </a:cxn>
              <a:cxn ang="0">
                <a:pos x="connsiteX9067" y="connsiteY9067"/>
              </a:cxn>
              <a:cxn ang="0">
                <a:pos x="connsiteX9068" y="connsiteY9068"/>
              </a:cxn>
              <a:cxn ang="0">
                <a:pos x="connsiteX9069" y="connsiteY9069"/>
              </a:cxn>
              <a:cxn ang="0">
                <a:pos x="connsiteX9070" y="connsiteY9070"/>
              </a:cxn>
              <a:cxn ang="0">
                <a:pos x="connsiteX9071" y="connsiteY9071"/>
              </a:cxn>
              <a:cxn ang="0">
                <a:pos x="connsiteX9072" y="connsiteY9072"/>
              </a:cxn>
              <a:cxn ang="0">
                <a:pos x="connsiteX9073" y="connsiteY9073"/>
              </a:cxn>
              <a:cxn ang="0">
                <a:pos x="connsiteX9074" y="connsiteY9074"/>
              </a:cxn>
              <a:cxn ang="0">
                <a:pos x="connsiteX9075" y="connsiteY9075"/>
              </a:cxn>
              <a:cxn ang="0">
                <a:pos x="connsiteX9076" y="connsiteY9076"/>
              </a:cxn>
              <a:cxn ang="0">
                <a:pos x="connsiteX9077" y="connsiteY9077"/>
              </a:cxn>
              <a:cxn ang="0">
                <a:pos x="connsiteX9078" y="connsiteY9078"/>
              </a:cxn>
              <a:cxn ang="0">
                <a:pos x="connsiteX9079" y="connsiteY9079"/>
              </a:cxn>
              <a:cxn ang="0">
                <a:pos x="connsiteX9080" y="connsiteY9080"/>
              </a:cxn>
              <a:cxn ang="0">
                <a:pos x="connsiteX9081" y="connsiteY9081"/>
              </a:cxn>
              <a:cxn ang="0">
                <a:pos x="connsiteX9082" y="connsiteY9082"/>
              </a:cxn>
              <a:cxn ang="0">
                <a:pos x="connsiteX9083" y="connsiteY9083"/>
              </a:cxn>
              <a:cxn ang="0">
                <a:pos x="connsiteX9084" y="connsiteY9084"/>
              </a:cxn>
              <a:cxn ang="0">
                <a:pos x="connsiteX9085" y="connsiteY9085"/>
              </a:cxn>
              <a:cxn ang="0">
                <a:pos x="connsiteX9086" y="connsiteY9086"/>
              </a:cxn>
              <a:cxn ang="0">
                <a:pos x="connsiteX9087" y="connsiteY9087"/>
              </a:cxn>
              <a:cxn ang="0">
                <a:pos x="connsiteX9088" y="connsiteY9088"/>
              </a:cxn>
              <a:cxn ang="0">
                <a:pos x="connsiteX9089" y="connsiteY9089"/>
              </a:cxn>
              <a:cxn ang="0">
                <a:pos x="connsiteX9090" y="connsiteY9090"/>
              </a:cxn>
              <a:cxn ang="0">
                <a:pos x="connsiteX9091" y="connsiteY9091"/>
              </a:cxn>
              <a:cxn ang="0">
                <a:pos x="connsiteX9092" y="connsiteY9092"/>
              </a:cxn>
              <a:cxn ang="0">
                <a:pos x="connsiteX9093" y="connsiteY9093"/>
              </a:cxn>
              <a:cxn ang="0">
                <a:pos x="connsiteX9094" y="connsiteY9094"/>
              </a:cxn>
              <a:cxn ang="0">
                <a:pos x="connsiteX9095" y="connsiteY9095"/>
              </a:cxn>
              <a:cxn ang="0">
                <a:pos x="connsiteX9096" y="connsiteY9096"/>
              </a:cxn>
              <a:cxn ang="0">
                <a:pos x="connsiteX9097" y="connsiteY9097"/>
              </a:cxn>
              <a:cxn ang="0">
                <a:pos x="connsiteX9098" y="connsiteY9098"/>
              </a:cxn>
              <a:cxn ang="0">
                <a:pos x="connsiteX9099" y="connsiteY9099"/>
              </a:cxn>
              <a:cxn ang="0">
                <a:pos x="connsiteX9100" y="connsiteY9100"/>
              </a:cxn>
              <a:cxn ang="0">
                <a:pos x="connsiteX9101" y="connsiteY9101"/>
              </a:cxn>
              <a:cxn ang="0">
                <a:pos x="connsiteX9102" y="connsiteY9102"/>
              </a:cxn>
              <a:cxn ang="0">
                <a:pos x="connsiteX9103" y="connsiteY9103"/>
              </a:cxn>
              <a:cxn ang="0">
                <a:pos x="connsiteX9104" y="connsiteY9104"/>
              </a:cxn>
              <a:cxn ang="0">
                <a:pos x="connsiteX9105" y="connsiteY9105"/>
              </a:cxn>
              <a:cxn ang="0">
                <a:pos x="connsiteX9106" y="connsiteY9106"/>
              </a:cxn>
              <a:cxn ang="0">
                <a:pos x="connsiteX9107" y="connsiteY9107"/>
              </a:cxn>
              <a:cxn ang="0">
                <a:pos x="connsiteX9108" y="connsiteY9108"/>
              </a:cxn>
              <a:cxn ang="0">
                <a:pos x="connsiteX9109" y="connsiteY9109"/>
              </a:cxn>
              <a:cxn ang="0">
                <a:pos x="connsiteX9110" y="connsiteY9110"/>
              </a:cxn>
              <a:cxn ang="0">
                <a:pos x="connsiteX9111" y="connsiteY9111"/>
              </a:cxn>
              <a:cxn ang="0">
                <a:pos x="connsiteX9112" y="connsiteY9112"/>
              </a:cxn>
              <a:cxn ang="0">
                <a:pos x="connsiteX9113" y="connsiteY9113"/>
              </a:cxn>
              <a:cxn ang="0">
                <a:pos x="connsiteX9114" y="connsiteY9114"/>
              </a:cxn>
              <a:cxn ang="0">
                <a:pos x="connsiteX9115" y="connsiteY9115"/>
              </a:cxn>
              <a:cxn ang="0">
                <a:pos x="connsiteX9116" y="connsiteY9116"/>
              </a:cxn>
              <a:cxn ang="0">
                <a:pos x="connsiteX9117" y="connsiteY9117"/>
              </a:cxn>
              <a:cxn ang="0">
                <a:pos x="connsiteX9118" y="connsiteY9118"/>
              </a:cxn>
              <a:cxn ang="0">
                <a:pos x="connsiteX9119" y="connsiteY9119"/>
              </a:cxn>
              <a:cxn ang="0">
                <a:pos x="connsiteX9120" y="connsiteY9120"/>
              </a:cxn>
              <a:cxn ang="0">
                <a:pos x="connsiteX9121" y="connsiteY9121"/>
              </a:cxn>
              <a:cxn ang="0">
                <a:pos x="connsiteX9122" y="connsiteY9122"/>
              </a:cxn>
              <a:cxn ang="0">
                <a:pos x="connsiteX9123" y="connsiteY9123"/>
              </a:cxn>
              <a:cxn ang="0">
                <a:pos x="connsiteX9124" y="connsiteY9124"/>
              </a:cxn>
              <a:cxn ang="0">
                <a:pos x="connsiteX9125" y="connsiteY9125"/>
              </a:cxn>
              <a:cxn ang="0">
                <a:pos x="connsiteX9126" y="connsiteY9126"/>
              </a:cxn>
              <a:cxn ang="0">
                <a:pos x="connsiteX9127" y="connsiteY9127"/>
              </a:cxn>
              <a:cxn ang="0">
                <a:pos x="connsiteX9128" y="connsiteY9128"/>
              </a:cxn>
              <a:cxn ang="0">
                <a:pos x="connsiteX9129" y="connsiteY9129"/>
              </a:cxn>
              <a:cxn ang="0">
                <a:pos x="connsiteX9130" y="connsiteY9130"/>
              </a:cxn>
              <a:cxn ang="0">
                <a:pos x="connsiteX9131" y="connsiteY9131"/>
              </a:cxn>
              <a:cxn ang="0">
                <a:pos x="connsiteX9132" y="connsiteY9132"/>
              </a:cxn>
              <a:cxn ang="0">
                <a:pos x="connsiteX9133" y="connsiteY9133"/>
              </a:cxn>
              <a:cxn ang="0">
                <a:pos x="connsiteX9134" y="connsiteY9134"/>
              </a:cxn>
              <a:cxn ang="0">
                <a:pos x="connsiteX9135" y="connsiteY9135"/>
              </a:cxn>
              <a:cxn ang="0">
                <a:pos x="connsiteX9136" y="connsiteY9136"/>
              </a:cxn>
              <a:cxn ang="0">
                <a:pos x="connsiteX9137" y="connsiteY9137"/>
              </a:cxn>
              <a:cxn ang="0">
                <a:pos x="connsiteX9138" y="connsiteY9138"/>
              </a:cxn>
              <a:cxn ang="0">
                <a:pos x="connsiteX9139" y="connsiteY9139"/>
              </a:cxn>
              <a:cxn ang="0">
                <a:pos x="connsiteX9140" y="connsiteY9140"/>
              </a:cxn>
              <a:cxn ang="0">
                <a:pos x="connsiteX9141" y="connsiteY9141"/>
              </a:cxn>
              <a:cxn ang="0">
                <a:pos x="connsiteX9142" y="connsiteY9142"/>
              </a:cxn>
              <a:cxn ang="0">
                <a:pos x="connsiteX9143" y="connsiteY9143"/>
              </a:cxn>
              <a:cxn ang="0">
                <a:pos x="connsiteX9144" y="connsiteY9144"/>
              </a:cxn>
              <a:cxn ang="0">
                <a:pos x="connsiteX9145" y="connsiteY9145"/>
              </a:cxn>
              <a:cxn ang="0">
                <a:pos x="connsiteX9146" y="connsiteY9146"/>
              </a:cxn>
              <a:cxn ang="0">
                <a:pos x="connsiteX9147" y="connsiteY9147"/>
              </a:cxn>
              <a:cxn ang="0">
                <a:pos x="connsiteX9148" y="connsiteY9148"/>
              </a:cxn>
              <a:cxn ang="0">
                <a:pos x="connsiteX9149" y="connsiteY9149"/>
              </a:cxn>
              <a:cxn ang="0">
                <a:pos x="connsiteX9150" y="connsiteY9150"/>
              </a:cxn>
              <a:cxn ang="0">
                <a:pos x="connsiteX9151" y="connsiteY9151"/>
              </a:cxn>
              <a:cxn ang="0">
                <a:pos x="connsiteX9152" y="connsiteY9152"/>
              </a:cxn>
              <a:cxn ang="0">
                <a:pos x="connsiteX9153" y="connsiteY9153"/>
              </a:cxn>
              <a:cxn ang="0">
                <a:pos x="connsiteX9154" y="connsiteY9154"/>
              </a:cxn>
              <a:cxn ang="0">
                <a:pos x="connsiteX9155" y="connsiteY9155"/>
              </a:cxn>
              <a:cxn ang="0">
                <a:pos x="connsiteX9156" y="connsiteY9156"/>
              </a:cxn>
              <a:cxn ang="0">
                <a:pos x="connsiteX9157" y="connsiteY9157"/>
              </a:cxn>
              <a:cxn ang="0">
                <a:pos x="connsiteX9158" y="connsiteY9158"/>
              </a:cxn>
              <a:cxn ang="0">
                <a:pos x="connsiteX9159" y="connsiteY9159"/>
              </a:cxn>
              <a:cxn ang="0">
                <a:pos x="connsiteX9160" y="connsiteY9160"/>
              </a:cxn>
              <a:cxn ang="0">
                <a:pos x="connsiteX9161" y="connsiteY9161"/>
              </a:cxn>
              <a:cxn ang="0">
                <a:pos x="connsiteX9162" y="connsiteY9162"/>
              </a:cxn>
              <a:cxn ang="0">
                <a:pos x="connsiteX9163" y="connsiteY9163"/>
              </a:cxn>
              <a:cxn ang="0">
                <a:pos x="connsiteX9164" y="connsiteY9164"/>
              </a:cxn>
              <a:cxn ang="0">
                <a:pos x="connsiteX9165" y="connsiteY9165"/>
              </a:cxn>
              <a:cxn ang="0">
                <a:pos x="connsiteX9166" y="connsiteY9166"/>
              </a:cxn>
              <a:cxn ang="0">
                <a:pos x="connsiteX9167" y="connsiteY9167"/>
              </a:cxn>
              <a:cxn ang="0">
                <a:pos x="connsiteX9168" y="connsiteY9168"/>
              </a:cxn>
              <a:cxn ang="0">
                <a:pos x="connsiteX9169" y="connsiteY9169"/>
              </a:cxn>
              <a:cxn ang="0">
                <a:pos x="connsiteX9170" y="connsiteY9170"/>
              </a:cxn>
              <a:cxn ang="0">
                <a:pos x="connsiteX9171" y="connsiteY9171"/>
              </a:cxn>
              <a:cxn ang="0">
                <a:pos x="connsiteX9172" y="connsiteY9172"/>
              </a:cxn>
              <a:cxn ang="0">
                <a:pos x="connsiteX9173" y="connsiteY9173"/>
              </a:cxn>
              <a:cxn ang="0">
                <a:pos x="connsiteX9174" y="connsiteY9174"/>
              </a:cxn>
              <a:cxn ang="0">
                <a:pos x="connsiteX9175" y="connsiteY9175"/>
              </a:cxn>
              <a:cxn ang="0">
                <a:pos x="connsiteX9176" y="connsiteY9176"/>
              </a:cxn>
              <a:cxn ang="0">
                <a:pos x="connsiteX9177" y="connsiteY9177"/>
              </a:cxn>
              <a:cxn ang="0">
                <a:pos x="connsiteX9178" y="connsiteY9178"/>
              </a:cxn>
              <a:cxn ang="0">
                <a:pos x="connsiteX9179" y="connsiteY9179"/>
              </a:cxn>
              <a:cxn ang="0">
                <a:pos x="connsiteX9180" y="connsiteY9180"/>
              </a:cxn>
              <a:cxn ang="0">
                <a:pos x="connsiteX9181" y="connsiteY9181"/>
              </a:cxn>
              <a:cxn ang="0">
                <a:pos x="connsiteX9182" y="connsiteY9182"/>
              </a:cxn>
              <a:cxn ang="0">
                <a:pos x="connsiteX9183" y="connsiteY9183"/>
              </a:cxn>
              <a:cxn ang="0">
                <a:pos x="connsiteX9184" y="connsiteY9184"/>
              </a:cxn>
              <a:cxn ang="0">
                <a:pos x="connsiteX9185" y="connsiteY9185"/>
              </a:cxn>
              <a:cxn ang="0">
                <a:pos x="connsiteX9186" y="connsiteY9186"/>
              </a:cxn>
              <a:cxn ang="0">
                <a:pos x="connsiteX9187" y="connsiteY9187"/>
              </a:cxn>
              <a:cxn ang="0">
                <a:pos x="connsiteX9188" y="connsiteY9188"/>
              </a:cxn>
              <a:cxn ang="0">
                <a:pos x="connsiteX9189" y="connsiteY9189"/>
              </a:cxn>
              <a:cxn ang="0">
                <a:pos x="connsiteX9190" y="connsiteY9190"/>
              </a:cxn>
              <a:cxn ang="0">
                <a:pos x="connsiteX9191" y="connsiteY9191"/>
              </a:cxn>
              <a:cxn ang="0">
                <a:pos x="connsiteX9192" y="connsiteY9192"/>
              </a:cxn>
              <a:cxn ang="0">
                <a:pos x="connsiteX9193" y="connsiteY9193"/>
              </a:cxn>
              <a:cxn ang="0">
                <a:pos x="connsiteX9194" y="connsiteY9194"/>
              </a:cxn>
              <a:cxn ang="0">
                <a:pos x="connsiteX9195" y="connsiteY9195"/>
              </a:cxn>
              <a:cxn ang="0">
                <a:pos x="connsiteX9196" y="connsiteY9196"/>
              </a:cxn>
              <a:cxn ang="0">
                <a:pos x="connsiteX9197" y="connsiteY9197"/>
              </a:cxn>
              <a:cxn ang="0">
                <a:pos x="connsiteX9198" y="connsiteY9198"/>
              </a:cxn>
              <a:cxn ang="0">
                <a:pos x="connsiteX9199" y="connsiteY9199"/>
              </a:cxn>
              <a:cxn ang="0">
                <a:pos x="connsiteX9200" y="connsiteY9200"/>
              </a:cxn>
              <a:cxn ang="0">
                <a:pos x="connsiteX9201" y="connsiteY9201"/>
              </a:cxn>
              <a:cxn ang="0">
                <a:pos x="connsiteX9202" y="connsiteY9202"/>
              </a:cxn>
              <a:cxn ang="0">
                <a:pos x="connsiteX9203" y="connsiteY9203"/>
              </a:cxn>
              <a:cxn ang="0">
                <a:pos x="connsiteX9204" y="connsiteY9204"/>
              </a:cxn>
              <a:cxn ang="0">
                <a:pos x="connsiteX9205" y="connsiteY9205"/>
              </a:cxn>
              <a:cxn ang="0">
                <a:pos x="connsiteX9206" y="connsiteY9206"/>
              </a:cxn>
              <a:cxn ang="0">
                <a:pos x="connsiteX9207" y="connsiteY9207"/>
              </a:cxn>
              <a:cxn ang="0">
                <a:pos x="connsiteX9208" y="connsiteY9208"/>
              </a:cxn>
              <a:cxn ang="0">
                <a:pos x="connsiteX9209" y="connsiteY9209"/>
              </a:cxn>
              <a:cxn ang="0">
                <a:pos x="connsiteX9210" y="connsiteY9210"/>
              </a:cxn>
              <a:cxn ang="0">
                <a:pos x="connsiteX9211" y="connsiteY9211"/>
              </a:cxn>
              <a:cxn ang="0">
                <a:pos x="connsiteX9212" y="connsiteY9212"/>
              </a:cxn>
              <a:cxn ang="0">
                <a:pos x="connsiteX9213" y="connsiteY9213"/>
              </a:cxn>
              <a:cxn ang="0">
                <a:pos x="connsiteX9214" y="connsiteY9214"/>
              </a:cxn>
              <a:cxn ang="0">
                <a:pos x="connsiteX9215" y="connsiteY9215"/>
              </a:cxn>
              <a:cxn ang="0">
                <a:pos x="connsiteX9216" y="connsiteY9216"/>
              </a:cxn>
              <a:cxn ang="0">
                <a:pos x="connsiteX9217" y="connsiteY9217"/>
              </a:cxn>
              <a:cxn ang="0">
                <a:pos x="connsiteX9218" y="connsiteY9218"/>
              </a:cxn>
              <a:cxn ang="0">
                <a:pos x="connsiteX9219" y="connsiteY9219"/>
              </a:cxn>
              <a:cxn ang="0">
                <a:pos x="connsiteX9220" y="connsiteY9220"/>
              </a:cxn>
              <a:cxn ang="0">
                <a:pos x="connsiteX9221" y="connsiteY9221"/>
              </a:cxn>
              <a:cxn ang="0">
                <a:pos x="connsiteX9222" y="connsiteY9222"/>
              </a:cxn>
              <a:cxn ang="0">
                <a:pos x="connsiteX9223" y="connsiteY9223"/>
              </a:cxn>
              <a:cxn ang="0">
                <a:pos x="connsiteX9224" y="connsiteY9224"/>
              </a:cxn>
              <a:cxn ang="0">
                <a:pos x="connsiteX9225" y="connsiteY9225"/>
              </a:cxn>
              <a:cxn ang="0">
                <a:pos x="connsiteX9226" y="connsiteY9226"/>
              </a:cxn>
              <a:cxn ang="0">
                <a:pos x="connsiteX9227" y="connsiteY9227"/>
              </a:cxn>
              <a:cxn ang="0">
                <a:pos x="connsiteX9228" y="connsiteY9228"/>
              </a:cxn>
              <a:cxn ang="0">
                <a:pos x="connsiteX9229" y="connsiteY9229"/>
              </a:cxn>
              <a:cxn ang="0">
                <a:pos x="connsiteX9230" y="connsiteY9230"/>
              </a:cxn>
              <a:cxn ang="0">
                <a:pos x="connsiteX9231" y="connsiteY9231"/>
              </a:cxn>
              <a:cxn ang="0">
                <a:pos x="connsiteX9232" y="connsiteY9232"/>
              </a:cxn>
              <a:cxn ang="0">
                <a:pos x="connsiteX9233" y="connsiteY9233"/>
              </a:cxn>
              <a:cxn ang="0">
                <a:pos x="connsiteX9234" y="connsiteY9234"/>
              </a:cxn>
              <a:cxn ang="0">
                <a:pos x="connsiteX9235" y="connsiteY9235"/>
              </a:cxn>
              <a:cxn ang="0">
                <a:pos x="connsiteX9236" y="connsiteY9236"/>
              </a:cxn>
              <a:cxn ang="0">
                <a:pos x="connsiteX9237" y="connsiteY9237"/>
              </a:cxn>
              <a:cxn ang="0">
                <a:pos x="connsiteX9238" y="connsiteY9238"/>
              </a:cxn>
              <a:cxn ang="0">
                <a:pos x="connsiteX9239" y="connsiteY9239"/>
              </a:cxn>
              <a:cxn ang="0">
                <a:pos x="connsiteX9240" y="connsiteY9240"/>
              </a:cxn>
              <a:cxn ang="0">
                <a:pos x="connsiteX9241" y="connsiteY9241"/>
              </a:cxn>
              <a:cxn ang="0">
                <a:pos x="connsiteX9242" y="connsiteY9242"/>
              </a:cxn>
              <a:cxn ang="0">
                <a:pos x="connsiteX9243" y="connsiteY9243"/>
              </a:cxn>
              <a:cxn ang="0">
                <a:pos x="connsiteX9244" y="connsiteY9244"/>
              </a:cxn>
              <a:cxn ang="0">
                <a:pos x="connsiteX9245" y="connsiteY9245"/>
              </a:cxn>
              <a:cxn ang="0">
                <a:pos x="connsiteX9246" y="connsiteY9246"/>
              </a:cxn>
              <a:cxn ang="0">
                <a:pos x="connsiteX9247" y="connsiteY9247"/>
              </a:cxn>
              <a:cxn ang="0">
                <a:pos x="connsiteX9248" y="connsiteY9248"/>
              </a:cxn>
              <a:cxn ang="0">
                <a:pos x="connsiteX9249" y="connsiteY9249"/>
              </a:cxn>
              <a:cxn ang="0">
                <a:pos x="connsiteX9250" y="connsiteY9250"/>
              </a:cxn>
              <a:cxn ang="0">
                <a:pos x="connsiteX9251" y="connsiteY9251"/>
              </a:cxn>
              <a:cxn ang="0">
                <a:pos x="connsiteX9252" y="connsiteY9252"/>
              </a:cxn>
              <a:cxn ang="0">
                <a:pos x="connsiteX9253" y="connsiteY9253"/>
              </a:cxn>
              <a:cxn ang="0">
                <a:pos x="connsiteX9254" y="connsiteY9254"/>
              </a:cxn>
              <a:cxn ang="0">
                <a:pos x="connsiteX9255" y="connsiteY9255"/>
              </a:cxn>
              <a:cxn ang="0">
                <a:pos x="connsiteX9256" y="connsiteY9256"/>
              </a:cxn>
              <a:cxn ang="0">
                <a:pos x="connsiteX9257" y="connsiteY9257"/>
              </a:cxn>
              <a:cxn ang="0">
                <a:pos x="connsiteX9258" y="connsiteY9258"/>
              </a:cxn>
              <a:cxn ang="0">
                <a:pos x="connsiteX9259" y="connsiteY9259"/>
              </a:cxn>
              <a:cxn ang="0">
                <a:pos x="connsiteX9260" y="connsiteY9260"/>
              </a:cxn>
              <a:cxn ang="0">
                <a:pos x="connsiteX9261" y="connsiteY9261"/>
              </a:cxn>
              <a:cxn ang="0">
                <a:pos x="connsiteX9262" y="connsiteY9262"/>
              </a:cxn>
              <a:cxn ang="0">
                <a:pos x="connsiteX9263" y="connsiteY9263"/>
              </a:cxn>
              <a:cxn ang="0">
                <a:pos x="connsiteX9264" y="connsiteY9264"/>
              </a:cxn>
              <a:cxn ang="0">
                <a:pos x="connsiteX9265" y="connsiteY9265"/>
              </a:cxn>
              <a:cxn ang="0">
                <a:pos x="connsiteX9266" y="connsiteY9266"/>
              </a:cxn>
              <a:cxn ang="0">
                <a:pos x="connsiteX9267" y="connsiteY9267"/>
              </a:cxn>
              <a:cxn ang="0">
                <a:pos x="connsiteX9268" y="connsiteY9268"/>
              </a:cxn>
              <a:cxn ang="0">
                <a:pos x="connsiteX9269" y="connsiteY9269"/>
              </a:cxn>
              <a:cxn ang="0">
                <a:pos x="connsiteX9270" y="connsiteY9270"/>
              </a:cxn>
              <a:cxn ang="0">
                <a:pos x="connsiteX9271" y="connsiteY9271"/>
              </a:cxn>
              <a:cxn ang="0">
                <a:pos x="connsiteX9272" y="connsiteY9272"/>
              </a:cxn>
              <a:cxn ang="0">
                <a:pos x="connsiteX9273" y="connsiteY9273"/>
              </a:cxn>
              <a:cxn ang="0">
                <a:pos x="connsiteX9274" y="connsiteY9274"/>
              </a:cxn>
              <a:cxn ang="0">
                <a:pos x="connsiteX9275" y="connsiteY9275"/>
              </a:cxn>
              <a:cxn ang="0">
                <a:pos x="connsiteX9276" y="connsiteY9276"/>
              </a:cxn>
              <a:cxn ang="0">
                <a:pos x="connsiteX9277" y="connsiteY9277"/>
              </a:cxn>
              <a:cxn ang="0">
                <a:pos x="connsiteX9278" y="connsiteY9278"/>
              </a:cxn>
              <a:cxn ang="0">
                <a:pos x="connsiteX9279" y="connsiteY9279"/>
              </a:cxn>
              <a:cxn ang="0">
                <a:pos x="connsiteX9280" y="connsiteY9280"/>
              </a:cxn>
              <a:cxn ang="0">
                <a:pos x="connsiteX9281" y="connsiteY9281"/>
              </a:cxn>
              <a:cxn ang="0">
                <a:pos x="connsiteX9282" y="connsiteY9282"/>
              </a:cxn>
              <a:cxn ang="0">
                <a:pos x="connsiteX9283" y="connsiteY9283"/>
              </a:cxn>
              <a:cxn ang="0">
                <a:pos x="connsiteX9284" y="connsiteY9284"/>
              </a:cxn>
              <a:cxn ang="0">
                <a:pos x="connsiteX9285" y="connsiteY9285"/>
              </a:cxn>
              <a:cxn ang="0">
                <a:pos x="connsiteX9286" y="connsiteY9286"/>
              </a:cxn>
              <a:cxn ang="0">
                <a:pos x="connsiteX9287" y="connsiteY9287"/>
              </a:cxn>
              <a:cxn ang="0">
                <a:pos x="connsiteX9288" y="connsiteY9288"/>
              </a:cxn>
              <a:cxn ang="0">
                <a:pos x="connsiteX9289" y="connsiteY9289"/>
              </a:cxn>
              <a:cxn ang="0">
                <a:pos x="connsiteX9290" y="connsiteY9290"/>
              </a:cxn>
              <a:cxn ang="0">
                <a:pos x="connsiteX9291" y="connsiteY9291"/>
              </a:cxn>
              <a:cxn ang="0">
                <a:pos x="connsiteX9292" y="connsiteY9292"/>
              </a:cxn>
              <a:cxn ang="0">
                <a:pos x="connsiteX9293" y="connsiteY9293"/>
              </a:cxn>
              <a:cxn ang="0">
                <a:pos x="connsiteX9294" y="connsiteY9294"/>
              </a:cxn>
              <a:cxn ang="0">
                <a:pos x="connsiteX9295" y="connsiteY9295"/>
              </a:cxn>
              <a:cxn ang="0">
                <a:pos x="connsiteX9296" y="connsiteY9296"/>
              </a:cxn>
              <a:cxn ang="0">
                <a:pos x="connsiteX9297" y="connsiteY9297"/>
              </a:cxn>
              <a:cxn ang="0">
                <a:pos x="connsiteX9298" y="connsiteY9298"/>
              </a:cxn>
              <a:cxn ang="0">
                <a:pos x="connsiteX9299" y="connsiteY9299"/>
              </a:cxn>
              <a:cxn ang="0">
                <a:pos x="connsiteX9300" y="connsiteY9300"/>
              </a:cxn>
              <a:cxn ang="0">
                <a:pos x="connsiteX9301" y="connsiteY9301"/>
              </a:cxn>
              <a:cxn ang="0">
                <a:pos x="connsiteX9302" y="connsiteY9302"/>
              </a:cxn>
              <a:cxn ang="0">
                <a:pos x="connsiteX9303" y="connsiteY9303"/>
              </a:cxn>
              <a:cxn ang="0">
                <a:pos x="connsiteX9304" y="connsiteY9304"/>
              </a:cxn>
              <a:cxn ang="0">
                <a:pos x="connsiteX9305" y="connsiteY9305"/>
              </a:cxn>
              <a:cxn ang="0">
                <a:pos x="connsiteX9306" y="connsiteY9306"/>
              </a:cxn>
              <a:cxn ang="0">
                <a:pos x="connsiteX9307" y="connsiteY9307"/>
              </a:cxn>
              <a:cxn ang="0">
                <a:pos x="connsiteX9308" y="connsiteY9308"/>
              </a:cxn>
              <a:cxn ang="0">
                <a:pos x="connsiteX9309" y="connsiteY9309"/>
              </a:cxn>
              <a:cxn ang="0">
                <a:pos x="connsiteX9310" y="connsiteY9310"/>
              </a:cxn>
              <a:cxn ang="0">
                <a:pos x="connsiteX9311" y="connsiteY9311"/>
              </a:cxn>
              <a:cxn ang="0">
                <a:pos x="connsiteX9312" y="connsiteY9312"/>
              </a:cxn>
              <a:cxn ang="0">
                <a:pos x="connsiteX9313" y="connsiteY9313"/>
              </a:cxn>
              <a:cxn ang="0">
                <a:pos x="connsiteX9314" y="connsiteY9314"/>
              </a:cxn>
              <a:cxn ang="0">
                <a:pos x="connsiteX9315" y="connsiteY9315"/>
              </a:cxn>
              <a:cxn ang="0">
                <a:pos x="connsiteX9316" y="connsiteY9316"/>
              </a:cxn>
              <a:cxn ang="0">
                <a:pos x="connsiteX9317" y="connsiteY9317"/>
              </a:cxn>
              <a:cxn ang="0">
                <a:pos x="connsiteX9318" y="connsiteY9318"/>
              </a:cxn>
              <a:cxn ang="0">
                <a:pos x="connsiteX9319" y="connsiteY9319"/>
              </a:cxn>
              <a:cxn ang="0">
                <a:pos x="connsiteX9320" y="connsiteY9320"/>
              </a:cxn>
              <a:cxn ang="0">
                <a:pos x="connsiteX9321" y="connsiteY9321"/>
              </a:cxn>
              <a:cxn ang="0">
                <a:pos x="connsiteX9322" y="connsiteY9322"/>
              </a:cxn>
              <a:cxn ang="0">
                <a:pos x="connsiteX9323" y="connsiteY9323"/>
              </a:cxn>
              <a:cxn ang="0">
                <a:pos x="connsiteX9324" y="connsiteY9324"/>
              </a:cxn>
              <a:cxn ang="0">
                <a:pos x="connsiteX9325" y="connsiteY9325"/>
              </a:cxn>
              <a:cxn ang="0">
                <a:pos x="connsiteX9326" y="connsiteY9326"/>
              </a:cxn>
              <a:cxn ang="0">
                <a:pos x="connsiteX9327" y="connsiteY9327"/>
              </a:cxn>
              <a:cxn ang="0">
                <a:pos x="connsiteX9328" y="connsiteY9328"/>
              </a:cxn>
              <a:cxn ang="0">
                <a:pos x="connsiteX9329" y="connsiteY9329"/>
              </a:cxn>
              <a:cxn ang="0">
                <a:pos x="connsiteX9330" y="connsiteY9330"/>
              </a:cxn>
              <a:cxn ang="0">
                <a:pos x="connsiteX9331" y="connsiteY9331"/>
              </a:cxn>
              <a:cxn ang="0">
                <a:pos x="connsiteX9332" y="connsiteY9332"/>
              </a:cxn>
              <a:cxn ang="0">
                <a:pos x="connsiteX9333" y="connsiteY9333"/>
              </a:cxn>
              <a:cxn ang="0">
                <a:pos x="connsiteX9334" y="connsiteY9334"/>
              </a:cxn>
              <a:cxn ang="0">
                <a:pos x="connsiteX9335" y="connsiteY9335"/>
              </a:cxn>
              <a:cxn ang="0">
                <a:pos x="connsiteX9336" y="connsiteY9336"/>
              </a:cxn>
              <a:cxn ang="0">
                <a:pos x="connsiteX9337" y="connsiteY9337"/>
              </a:cxn>
              <a:cxn ang="0">
                <a:pos x="connsiteX9338" y="connsiteY9338"/>
              </a:cxn>
              <a:cxn ang="0">
                <a:pos x="connsiteX9339" y="connsiteY9339"/>
              </a:cxn>
              <a:cxn ang="0">
                <a:pos x="connsiteX9340" y="connsiteY9340"/>
              </a:cxn>
              <a:cxn ang="0">
                <a:pos x="connsiteX9341" y="connsiteY9341"/>
              </a:cxn>
              <a:cxn ang="0">
                <a:pos x="connsiteX9342" y="connsiteY9342"/>
              </a:cxn>
              <a:cxn ang="0">
                <a:pos x="connsiteX9343" y="connsiteY9343"/>
              </a:cxn>
              <a:cxn ang="0">
                <a:pos x="connsiteX9344" y="connsiteY9344"/>
              </a:cxn>
              <a:cxn ang="0">
                <a:pos x="connsiteX9345" y="connsiteY9345"/>
              </a:cxn>
              <a:cxn ang="0">
                <a:pos x="connsiteX9346" y="connsiteY9346"/>
              </a:cxn>
              <a:cxn ang="0">
                <a:pos x="connsiteX9347" y="connsiteY9347"/>
              </a:cxn>
              <a:cxn ang="0">
                <a:pos x="connsiteX9348" y="connsiteY9348"/>
              </a:cxn>
              <a:cxn ang="0">
                <a:pos x="connsiteX9349" y="connsiteY9349"/>
              </a:cxn>
              <a:cxn ang="0">
                <a:pos x="connsiteX9350" y="connsiteY9350"/>
              </a:cxn>
              <a:cxn ang="0">
                <a:pos x="connsiteX9351" y="connsiteY9351"/>
              </a:cxn>
              <a:cxn ang="0">
                <a:pos x="connsiteX9352" y="connsiteY9352"/>
              </a:cxn>
              <a:cxn ang="0">
                <a:pos x="connsiteX9353" y="connsiteY9353"/>
              </a:cxn>
              <a:cxn ang="0">
                <a:pos x="connsiteX9354" y="connsiteY9354"/>
              </a:cxn>
              <a:cxn ang="0">
                <a:pos x="connsiteX9355" y="connsiteY9355"/>
              </a:cxn>
              <a:cxn ang="0">
                <a:pos x="connsiteX9356" y="connsiteY9356"/>
              </a:cxn>
              <a:cxn ang="0">
                <a:pos x="connsiteX9357" y="connsiteY9357"/>
              </a:cxn>
              <a:cxn ang="0">
                <a:pos x="connsiteX9358" y="connsiteY9358"/>
              </a:cxn>
              <a:cxn ang="0">
                <a:pos x="connsiteX9359" y="connsiteY9359"/>
              </a:cxn>
              <a:cxn ang="0">
                <a:pos x="connsiteX9360" y="connsiteY9360"/>
              </a:cxn>
              <a:cxn ang="0">
                <a:pos x="connsiteX9361" y="connsiteY9361"/>
              </a:cxn>
              <a:cxn ang="0">
                <a:pos x="connsiteX9362" y="connsiteY9362"/>
              </a:cxn>
              <a:cxn ang="0">
                <a:pos x="connsiteX9363" y="connsiteY9363"/>
              </a:cxn>
              <a:cxn ang="0">
                <a:pos x="connsiteX9364" y="connsiteY9364"/>
              </a:cxn>
              <a:cxn ang="0">
                <a:pos x="connsiteX9365" y="connsiteY9365"/>
              </a:cxn>
              <a:cxn ang="0">
                <a:pos x="connsiteX9366" y="connsiteY9366"/>
              </a:cxn>
              <a:cxn ang="0">
                <a:pos x="connsiteX9367" y="connsiteY9367"/>
              </a:cxn>
              <a:cxn ang="0">
                <a:pos x="connsiteX9368" y="connsiteY9368"/>
              </a:cxn>
              <a:cxn ang="0">
                <a:pos x="connsiteX9369" y="connsiteY9369"/>
              </a:cxn>
              <a:cxn ang="0">
                <a:pos x="connsiteX9370" y="connsiteY9370"/>
              </a:cxn>
              <a:cxn ang="0">
                <a:pos x="connsiteX9371" y="connsiteY9371"/>
              </a:cxn>
              <a:cxn ang="0">
                <a:pos x="connsiteX9372" y="connsiteY9372"/>
              </a:cxn>
              <a:cxn ang="0">
                <a:pos x="connsiteX9373" y="connsiteY9373"/>
              </a:cxn>
              <a:cxn ang="0">
                <a:pos x="connsiteX9374" y="connsiteY9374"/>
              </a:cxn>
              <a:cxn ang="0">
                <a:pos x="connsiteX9375" y="connsiteY9375"/>
              </a:cxn>
              <a:cxn ang="0">
                <a:pos x="connsiteX9376" y="connsiteY9376"/>
              </a:cxn>
              <a:cxn ang="0">
                <a:pos x="connsiteX9377" y="connsiteY9377"/>
              </a:cxn>
              <a:cxn ang="0">
                <a:pos x="connsiteX9378" y="connsiteY9378"/>
              </a:cxn>
              <a:cxn ang="0">
                <a:pos x="connsiteX9379" y="connsiteY9379"/>
              </a:cxn>
              <a:cxn ang="0">
                <a:pos x="connsiteX9380" y="connsiteY9380"/>
              </a:cxn>
              <a:cxn ang="0">
                <a:pos x="connsiteX9381" y="connsiteY9381"/>
              </a:cxn>
              <a:cxn ang="0">
                <a:pos x="connsiteX9382" y="connsiteY9382"/>
              </a:cxn>
              <a:cxn ang="0">
                <a:pos x="connsiteX9383" y="connsiteY9383"/>
              </a:cxn>
              <a:cxn ang="0">
                <a:pos x="connsiteX9384" y="connsiteY9384"/>
              </a:cxn>
              <a:cxn ang="0">
                <a:pos x="connsiteX9385" y="connsiteY9385"/>
              </a:cxn>
              <a:cxn ang="0">
                <a:pos x="connsiteX9386" y="connsiteY9386"/>
              </a:cxn>
              <a:cxn ang="0">
                <a:pos x="connsiteX9387" y="connsiteY9387"/>
              </a:cxn>
              <a:cxn ang="0">
                <a:pos x="connsiteX9388" y="connsiteY9388"/>
              </a:cxn>
              <a:cxn ang="0">
                <a:pos x="connsiteX9389" y="connsiteY9389"/>
              </a:cxn>
              <a:cxn ang="0">
                <a:pos x="connsiteX9390" y="connsiteY9390"/>
              </a:cxn>
              <a:cxn ang="0">
                <a:pos x="connsiteX9391" y="connsiteY9391"/>
              </a:cxn>
              <a:cxn ang="0">
                <a:pos x="connsiteX9392" y="connsiteY9392"/>
              </a:cxn>
              <a:cxn ang="0">
                <a:pos x="connsiteX9393" y="connsiteY9393"/>
              </a:cxn>
              <a:cxn ang="0">
                <a:pos x="connsiteX9394" y="connsiteY9394"/>
              </a:cxn>
              <a:cxn ang="0">
                <a:pos x="connsiteX9395" y="connsiteY9395"/>
              </a:cxn>
              <a:cxn ang="0">
                <a:pos x="connsiteX9396" y="connsiteY9396"/>
              </a:cxn>
              <a:cxn ang="0">
                <a:pos x="connsiteX9397" y="connsiteY9397"/>
              </a:cxn>
              <a:cxn ang="0">
                <a:pos x="connsiteX9398" y="connsiteY9398"/>
              </a:cxn>
              <a:cxn ang="0">
                <a:pos x="connsiteX9399" y="connsiteY9399"/>
              </a:cxn>
              <a:cxn ang="0">
                <a:pos x="connsiteX9400" y="connsiteY9400"/>
              </a:cxn>
              <a:cxn ang="0">
                <a:pos x="connsiteX9401" y="connsiteY9401"/>
              </a:cxn>
              <a:cxn ang="0">
                <a:pos x="connsiteX9402" y="connsiteY9402"/>
              </a:cxn>
              <a:cxn ang="0">
                <a:pos x="connsiteX9403" y="connsiteY9403"/>
              </a:cxn>
              <a:cxn ang="0">
                <a:pos x="connsiteX9404" y="connsiteY9404"/>
              </a:cxn>
              <a:cxn ang="0">
                <a:pos x="connsiteX9405" y="connsiteY9405"/>
              </a:cxn>
              <a:cxn ang="0">
                <a:pos x="connsiteX9406" y="connsiteY9406"/>
              </a:cxn>
              <a:cxn ang="0">
                <a:pos x="connsiteX9407" y="connsiteY9407"/>
              </a:cxn>
              <a:cxn ang="0">
                <a:pos x="connsiteX9408" y="connsiteY9408"/>
              </a:cxn>
              <a:cxn ang="0">
                <a:pos x="connsiteX9409" y="connsiteY9409"/>
              </a:cxn>
              <a:cxn ang="0">
                <a:pos x="connsiteX9410" y="connsiteY9410"/>
              </a:cxn>
              <a:cxn ang="0">
                <a:pos x="connsiteX9411" y="connsiteY9411"/>
              </a:cxn>
              <a:cxn ang="0">
                <a:pos x="connsiteX9412" y="connsiteY9412"/>
              </a:cxn>
              <a:cxn ang="0">
                <a:pos x="connsiteX9413" y="connsiteY9413"/>
              </a:cxn>
              <a:cxn ang="0">
                <a:pos x="connsiteX9414" y="connsiteY9414"/>
              </a:cxn>
              <a:cxn ang="0">
                <a:pos x="connsiteX9415" y="connsiteY9415"/>
              </a:cxn>
              <a:cxn ang="0">
                <a:pos x="connsiteX9416" y="connsiteY9416"/>
              </a:cxn>
              <a:cxn ang="0">
                <a:pos x="connsiteX9417" y="connsiteY9417"/>
              </a:cxn>
              <a:cxn ang="0">
                <a:pos x="connsiteX9418" y="connsiteY9418"/>
              </a:cxn>
              <a:cxn ang="0">
                <a:pos x="connsiteX9419" y="connsiteY9419"/>
              </a:cxn>
              <a:cxn ang="0">
                <a:pos x="connsiteX9420" y="connsiteY9420"/>
              </a:cxn>
              <a:cxn ang="0">
                <a:pos x="connsiteX9421" y="connsiteY9421"/>
              </a:cxn>
              <a:cxn ang="0">
                <a:pos x="connsiteX9422" y="connsiteY9422"/>
              </a:cxn>
              <a:cxn ang="0">
                <a:pos x="connsiteX9423" y="connsiteY9423"/>
              </a:cxn>
              <a:cxn ang="0">
                <a:pos x="connsiteX9424" y="connsiteY9424"/>
              </a:cxn>
              <a:cxn ang="0">
                <a:pos x="connsiteX9425" y="connsiteY9425"/>
              </a:cxn>
              <a:cxn ang="0">
                <a:pos x="connsiteX9426" y="connsiteY9426"/>
              </a:cxn>
              <a:cxn ang="0">
                <a:pos x="connsiteX9427" y="connsiteY9427"/>
              </a:cxn>
              <a:cxn ang="0">
                <a:pos x="connsiteX9428" y="connsiteY9428"/>
              </a:cxn>
              <a:cxn ang="0">
                <a:pos x="connsiteX9429" y="connsiteY9429"/>
              </a:cxn>
              <a:cxn ang="0">
                <a:pos x="connsiteX9430" y="connsiteY9430"/>
              </a:cxn>
              <a:cxn ang="0">
                <a:pos x="connsiteX9431" y="connsiteY9431"/>
              </a:cxn>
              <a:cxn ang="0">
                <a:pos x="connsiteX9432" y="connsiteY9432"/>
              </a:cxn>
              <a:cxn ang="0">
                <a:pos x="connsiteX9433" y="connsiteY9433"/>
              </a:cxn>
              <a:cxn ang="0">
                <a:pos x="connsiteX9434" y="connsiteY9434"/>
              </a:cxn>
              <a:cxn ang="0">
                <a:pos x="connsiteX9435" y="connsiteY9435"/>
              </a:cxn>
              <a:cxn ang="0">
                <a:pos x="connsiteX9436" y="connsiteY9436"/>
              </a:cxn>
              <a:cxn ang="0">
                <a:pos x="connsiteX9437" y="connsiteY9437"/>
              </a:cxn>
              <a:cxn ang="0">
                <a:pos x="connsiteX9438" y="connsiteY9438"/>
              </a:cxn>
              <a:cxn ang="0">
                <a:pos x="connsiteX9439" y="connsiteY9439"/>
              </a:cxn>
              <a:cxn ang="0">
                <a:pos x="connsiteX9440" y="connsiteY9440"/>
              </a:cxn>
              <a:cxn ang="0">
                <a:pos x="connsiteX9441" y="connsiteY9441"/>
              </a:cxn>
              <a:cxn ang="0">
                <a:pos x="connsiteX9442" y="connsiteY9442"/>
              </a:cxn>
              <a:cxn ang="0">
                <a:pos x="connsiteX9443" y="connsiteY9443"/>
              </a:cxn>
              <a:cxn ang="0">
                <a:pos x="connsiteX9444" y="connsiteY9444"/>
              </a:cxn>
              <a:cxn ang="0">
                <a:pos x="connsiteX9445" y="connsiteY9445"/>
              </a:cxn>
              <a:cxn ang="0">
                <a:pos x="connsiteX9446" y="connsiteY9446"/>
              </a:cxn>
              <a:cxn ang="0">
                <a:pos x="connsiteX9447" y="connsiteY9447"/>
              </a:cxn>
              <a:cxn ang="0">
                <a:pos x="connsiteX9448" y="connsiteY9448"/>
              </a:cxn>
              <a:cxn ang="0">
                <a:pos x="connsiteX9449" y="connsiteY9449"/>
              </a:cxn>
              <a:cxn ang="0">
                <a:pos x="connsiteX9450" y="connsiteY9450"/>
              </a:cxn>
              <a:cxn ang="0">
                <a:pos x="connsiteX9451" y="connsiteY9451"/>
              </a:cxn>
              <a:cxn ang="0">
                <a:pos x="connsiteX9452" y="connsiteY9452"/>
              </a:cxn>
              <a:cxn ang="0">
                <a:pos x="connsiteX9453" y="connsiteY9453"/>
              </a:cxn>
              <a:cxn ang="0">
                <a:pos x="connsiteX9454" y="connsiteY9454"/>
              </a:cxn>
              <a:cxn ang="0">
                <a:pos x="connsiteX9455" y="connsiteY9455"/>
              </a:cxn>
              <a:cxn ang="0">
                <a:pos x="connsiteX9456" y="connsiteY9456"/>
              </a:cxn>
              <a:cxn ang="0">
                <a:pos x="connsiteX9457" y="connsiteY9457"/>
              </a:cxn>
              <a:cxn ang="0">
                <a:pos x="connsiteX9458" y="connsiteY9458"/>
              </a:cxn>
              <a:cxn ang="0">
                <a:pos x="connsiteX9459" y="connsiteY9459"/>
              </a:cxn>
              <a:cxn ang="0">
                <a:pos x="connsiteX9460" y="connsiteY9460"/>
              </a:cxn>
              <a:cxn ang="0">
                <a:pos x="connsiteX9461" y="connsiteY9461"/>
              </a:cxn>
              <a:cxn ang="0">
                <a:pos x="connsiteX9462" y="connsiteY9462"/>
              </a:cxn>
              <a:cxn ang="0">
                <a:pos x="connsiteX9463" y="connsiteY9463"/>
              </a:cxn>
              <a:cxn ang="0">
                <a:pos x="connsiteX9464" y="connsiteY9464"/>
              </a:cxn>
              <a:cxn ang="0">
                <a:pos x="connsiteX9465" y="connsiteY9465"/>
              </a:cxn>
              <a:cxn ang="0">
                <a:pos x="connsiteX9466" y="connsiteY9466"/>
              </a:cxn>
              <a:cxn ang="0">
                <a:pos x="connsiteX9467" y="connsiteY9467"/>
              </a:cxn>
              <a:cxn ang="0">
                <a:pos x="connsiteX9468" y="connsiteY9468"/>
              </a:cxn>
              <a:cxn ang="0">
                <a:pos x="connsiteX9469" y="connsiteY9469"/>
              </a:cxn>
              <a:cxn ang="0">
                <a:pos x="connsiteX9470" y="connsiteY9470"/>
              </a:cxn>
              <a:cxn ang="0">
                <a:pos x="connsiteX9471" y="connsiteY9471"/>
              </a:cxn>
              <a:cxn ang="0">
                <a:pos x="connsiteX9472" y="connsiteY9472"/>
              </a:cxn>
              <a:cxn ang="0">
                <a:pos x="connsiteX9473" y="connsiteY9473"/>
              </a:cxn>
              <a:cxn ang="0">
                <a:pos x="connsiteX9474" y="connsiteY9474"/>
              </a:cxn>
              <a:cxn ang="0">
                <a:pos x="connsiteX9475" y="connsiteY9475"/>
              </a:cxn>
              <a:cxn ang="0">
                <a:pos x="connsiteX9476" y="connsiteY9476"/>
              </a:cxn>
              <a:cxn ang="0">
                <a:pos x="connsiteX9477" y="connsiteY9477"/>
              </a:cxn>
              <a:cxn ang="0">
                <a:pos x="connsiteX9478" y="connsiteY9478"/>
              </a:cxn>
              <a:cxn ang="0">
                <a:pos x="connsiteX9479" y="connsiteY9479"/>
              </a:cxn>
              <a:cxn ang="0">
                <a:pos x="connsiteX9480" y="connsiteY9480"/>
              </a:cxn>
              <a:cxn ang="0">
                <a:pos x="connsiteX9481" y="connsiteY9481"/>
              </a:cxn>
              <a:cxn ang="0">
                <a:pos x="connsiteX9482" y="connsiteY9482"/>
              </a:cxn>
              <a:cxn ang="0">
                <a:pos x="connsiteX9483" y="connsiteY9483"/>
              </a:cxn>
              <a:cxn ang="0">
                <a:pos x="connsiteX9484" y="connsiteY9484"/>
              </a:cxn>
              <a:cxn ang="0">
                <a:pos x="connsiteX9485" y="connsiteY9485"/>
              </a:cxn>
              <a:cxn ang="0">
                <a:pos x="connsiteX9486" y="connsiteY9486"/>
              </a:cxn>
              <a:cxn ang="0">
                <a:pos x="connsiteX9487" y="connsiteY9487"/>
              </a:cxn>
              <a:cxn ang="0">
                <a:pos x="connsiteX9488" y="connsiteY9488"/>
              </a:cxn>
              <a:cxn ang="0">
                <a:pos x="connsiteX9489" y="connsiteY9489"/>
              </a:cxn>
              <a:cxn ang="0">
                <a:pos x="connsiteX9490" y="connsiteY9490"/>
              </a:cxn>
              <a:cxn ang="0">
                <a:pos x="connsiteX9491" y="connsiteY9491"/>
              </a:cxn>
              <a:cxn ang="0">
                <a:pos x="connsiteX9492" y="connsiteY9492"/>
              </a:cxn>
              <a:cxn ang="0">
                <a:pos x="connsiteX9493" y="connsiteY9493"/>
              </a:cxn>
              <a:cxn ang="0">
                <a:pos x="connsiteX9494" y="connsiteY9494"/>
              </a:cxn>
              <a:cxn ang="0">
                <a:pos x="connsiteX9495" y="connsiteY9495"/>
              </a:cxn>
              <a:cxn ang="0">
                <a:pos x="connsiteX9496" y="connsiteY9496"/>
              </a:cxn>
              <a:cxn ang="0">
                <a:pos x="connsiteX9497" y="connsiteY9497"/>
              </a:cxn>
              <a:cxn ang="0">
                <a:pos x="connsiteX9498" y="connsiteY9498"/>
              </a:cxn>
              <a:cxn ang="0">
                <a:pos x="connsiteX9499" y="connsiteY9499"/>
              </a:cxn>
              <a:cxn ang="0">
                <a:pos x="connsiteX9500" y="connsiteY9500"/>
              </a:cxn>
              <a:cxn ang="0">
                <a:pos x="connsiteX9501" y="connsiteY9501"/>
              </a:cxn>
              <a:cxn ang="0">
                <a:pos x="connsiteX9502" y="connsiteY9502"/>
              </a:cxn>
              <a:cxn ang="0">
                <a:pos x="connsiteX9503" y="connsiteY9503"/>
              </a:cxn>
              <a:cxn ang="0">
                <a:pos x="connsiteX9504" y="connsiteY9504"/>
              </a:cxn>
              <a:cxn ang="0">
                <a:pos x="connsiteX9505" y="connsiteY9505"/>
              </a:cxn>
              <a:cxn ang="0">
                <a:pos x="connsiteX9506" y="connsiteY9506"/>
              </a:cxn>
              <a:cxn ang="0">
                <a:pos x="connsiteX9507" y="connsiteY9507"/>
              </a:cxn>
              <a:cxn ang="0">
                <a:pos x="connsiteX9508" y="connsiteY9508"/>
              </a:cxn>
              <a:cxn ang="0">
                <a:pos x="connsiteX9509" y="connsiteY9509"/>
              </a:cxn>
              <a:cxn ang="0">
                <a:pos x="connsiteX9510" y="connsiteY9510"/>
              </a:cxn>
              <a:cxn ang="0">
                <a:pos x="connsiteX9511" y="connsiteY9511"/>
              </a:cxn>
              <a:cxn ang="0">
                <a:pos x="connsiteX9512" y="connsiteY9512"/>
              </a:cxn>
              <a:cxn ang="0">
                <a:pos x="connsiteX9513" y="connsiteY9513"/>
              </a:cxn>
              <a:cxn ang="0">
                <a:pos x="connsiteX9514" y="connsiteY9514"/>
              </a:cxn>
              <a:cxn ang="0">
                <a:pos x="connsiteX9515" y="connsiteY9515"/>
              </a:cxn>
              <a:cxn ang="0">
                <a:pos x="connsiteX9516" y="connsiteY9516"/>
              </a:cxn>
              <a:cxn ang="0">
                <a:pos x="connsiteX9517" y="connsiteY9517"/>
              </a:cxn>
              <a:cxn ang="0">
                <a:pos x="connsiteX9518" y="connsiteY9518"/>
              </a:cxn>
              <a:cxn ang="0">
                <a:pos x="connsiteX9519" y="connsiteY9519"/>
              </a:cxn>
              <a:cxn ang="0">
                <a:pos x="connsiteX9520" y="connsiteY9520"/>
              </a:cxn>
              <a:cxn ang="0">
                <a:pos x="connsiteX9521" y="connsiteY9521"/>
              </a:cxn>
              <a:cxn ang="0">
                <a:pos x="connsiteX9522" y="connsiteY9522"/>
              </a:cxn>
              <a:cxn ang="0">
                <a:pos x="connsiteX9523" y="connsiteY9523"/>
              </a:cxn>
              <a:cxn ang="0">
                <a:pos x="connsiteX9524" y="connsiteY9524"/>
              </a:cxn>
              <a:cxn ang="0">
                <a:pos x="connsiteX9525" y="connsiteY9525"/>
              </a:cxn>
              <a:cxn ang="0">
                <a:pos x="connsiteX9526" y="connsiteY9526"/>
              </a:cxn>
              <a:cxn ang="0">
                <a:pos x="connsiteX9527" y="connsiteY9527"/>
              </a:cxn>
              <a:cxn ang="0">
                <a:pos x="connsiteX9528" y="connsiteY9528"/>
              </a:cxn>
              <a:cxn ang="0">
                <a:pos x="connsiteX9529" y="connsiteY9529"/>
              </a:cxn>
              <a:cxn ang="0">
                <a:pos x="connsiteX9530" y="connsiteY9530"/>
              </a:cxn>
              <a:cxn ang="0">
                <a:pos x="connsiteX9531" y="connsiteY9531"/>
              </a:cxn>
              <a:cxn ang="0">
                <a:pos x="connsiteX9532" y="connsiteY9532"/>
              </a:cxn>
              <a:cxn ang="0">
                <a:pos x="connsiteX9533" y="connsiteY9533"/>
              </a:cxn>
              <a:cxn ang="0">
                <a:pos x="connsiteX9534" y="connsiteY9534"/>
              </a:cxn>
              <a:cxn ang="0">
                <a:pos x="connsiteX9535" y="connsiteY9535"/>
              </a:cxn>
              <a:cxn ang="0">
                <a:pos x="connsiteX9536" y="connsiteY9536"/>
              </a:cxn>
              <a:cxn ang="0">
                <a:pos x="connsiteX9537" y="connsiteY9537"/>
              </a:cxn>
              <a:cxn ang="0">
                <a:pos x="connsiteX9538" y="connsiteY9538"/>
              </a:cxn>
              <a:cxn ang="0">
                <a:pos x="connsiteX9539" y="connsiteY9539"/>
              </a:cxn>
              <a:cxn ang="0">
                <a:pos x="connsiteX9540" y="connsiteY9540"/>
              </a:cxn>
              <a:cxn ang="0">
                <a:pos x="connsiteX9541" y="connsiteY9541"/>
              </a:cxn>
              <a:cxn ang="0">
                <a:pos x="connsiteX9542" y="connsiteY9542"/>
              </a:cxn>
              <a:cxn ang="0">
                <a:pos x="connsiteX9543" y="connsiteY9543"/>
              </a:cxn>
              <a:cxn ang="0">
                <a:pos x="connsiteX9544" y="connsiteY9544"/>
              </a:cxn>
              <a:cxn ang="0">
                <a:pos x="connsiteX9545" y="connsiteY9545"/>
              </a:cxn>
              <a:cxn ang="0">
                <a:pos x="connsiteX9546" y="connsiteY9546"/>
              </a:cxn>
              <a:cxn ang="0">
                <a:pos x="connsiteX9547" y="connsiteY9547"/>
              </a:cxn>
              <a:cxn ang="0">
                <a:pos x="connsiteX9548" y="connsiteY9548"/>
              </a:cxn>
              <a:cxn ang="0">
                <a:pos x="connsiteX9549" y="connsiteY9549"/>
              </a:cxn>
              <a:cxn ang="0">
                <a:pos x="connsiteX9550" y="connsiteY9550"/>
              </a:cxn>
              <a:cxn ang="0">
                <a:pos x="connsiteX9551" y="connsiteY9551"/>
              </a:cxn>
              <a:cxn ang="0">
                <a:pos x="connsiteX9552" y="connsiteY9552"/>
              </a:cxn>
              <a:cxn ang="0">
                <a:pos x="connsiteX9553" y="connsiteY9553"/>
              </a:cxn>
              <a:cxn ang="0">
                <a:pos x="connsiteX9554" y="connsiteY9554"/>
              </a:cxn>
              <a:cxn ang="0">
                <a:pos x="connsiteX9555" y="connsiteY9555"/>
              </a:cxn>
              <a:cxn ang="0">
                <a:pos x="connsiteX9556" y="connsiteY9556"/>
              </a:cxn>
              <a:cxn ang="0">
                <a:pos x="connsiteX9557" y="connsiteY9557"/>
              </a:cxn>
              <a:cxn ang="0">
                <a:pos x="connsiteX9558" y="connsiteY9558"/>
              </a:cxn>
              <a:cxn ang="0">
                <a:pos x="connsiteX9559" y="connsiteY9559"/>
              </a:cxn>
              <a:cxn ang="0">
                <a:pos x="connsiteX9560" y="connsiteY9560"/>
              </a:cxn>
              <a:cxn ang="0">
                <a:pos x="connsiteX9561" y="connsiteY9561"/>
              </a:cxn>
              <a:cxn ang="0">
                <a:pos x="connsiteX9562" y="connsiteY9562"/>
              </a:cxn>
              <a:cxn ang="0">
                <a:pos x="connsiteX9563" y="connsiteY9563"/>
              </a:cxn>
              <a:cxn ang="0">
                <a:pos x="connsiteX9564" y="connsiteY9564"/>
              </a:cxn>
              <a:cxn ang="0">
                <a:pos x="connsiteX9565" y="connsiteY9565"/>
              </a:cxn>
              <a:cxn ang="0">
                <a:pos x="connsiteX9566" y="connsiteY9566"/>
              </a:cxn>
              <a:cxn ang="0">
                <a:pos x="connsiteX9567" y="connsiteY9567"/>
              </a:cxn>
              <a:cxn ang="0">
                <a:pos x="connsiteX9568" y="connsiteY9568"/>
              </a:cxn>
              <a:cxn ang="0">
                <a:pos x="connsiteX9569" y="connsiteY9569"/>
              </a:cxn>
              <a:cxn ang="0">
                <a:pos x="connsiteX9570" y="connsiteY9570"/>
              </a:cxn>
              <a:cxn ang="0">
                <a:pos x="connsiteX9571" y="connsiteY9571"/>
              </a:cxn>
              <a:cxn ang="0">
                <a:pos x="connsiteX9572" y="connsiteY9572"/>
              </a:cxn>
              <a:cxn ang="0">
                <a:pos x="connsiteX9573" y="connsiteY9573"/>
              </a:cxn>
              <a:cxn ang="0">
                <a:pos x="connsiteX9574" y="connsiteY9574"/>
              </a:cxn>
              <a:cxn ang="0">
                <a:pos x="connsiteX9575" y="connsiteY9575"/>
              </a:cxn>
              <a:cxn ang="0">
                <a:pos x="connsiteX9576" y="connsiteY9576"/>
              </a:cxn>
              <a:cxn ang="0">
                <a:pos x="connsiteX9577" y="connsiteY9577"/>
              </a:cxn>
              <a:cxn ang="0">
                <a:pos x="connsiteX9578" y="connsiteY9578"/>
              </a:cxn>
              <a:cxn ang="0">
                <a:pos x="connsiteX9579" y="connsiteY9579"/>
              </a:cxn>
              <a:cxn ang="0">
                <a:pos x="connsiteX9580" y="connsiteY9580"/>
              </a:cxn>
              <a:cxn ang="0">
                <a:pos x="connsiteX9581" y="connsiteY9581"/>
              </a:cxn>
              <a:cxn ang="0">
                <a:pos x="connsiteX9582" y="connsiteY9582"/>
              </a:cxn>
              <a:cxn ang="0">
                <a:pos x="connsiteX9583" y="connsiteY9583"/>
              </a:cxn>
              <a:cxn ang="0">
                <a:pos x="connsiteX9584" y="connsiteY9584"/>
              </a:cxn>
              <a:cxn ang="0">
                <a:pos x="connsiteX9585" y="connsiteY9585"/>
              </a:cxn>
              <a:cxn ang="0">
                <a:pos x="connsiteX9586" y="connsiteY9586"/>
              </a:cxn>
              <a:cxn ang="0">
                <a:pos x="connsiteX9587" y="connsiteY9587"/>
              </a:cxn>
              <a:cxn ang="0">
                <a:pos x="connsiteX9588" y="connsiteY9588"/>
              </a:cxn>
              <a:cxn ang="0">
                <a:pos x="connsiteX9589" y="connsiteY9589"/>
              </a:cxn>
              <a:cxn ang="0">
                <a:pos x="connsiteX9590" y="connsiteY9590"/>
              </a:cxn>
              <a:cxn ang="0">
                <a:pos x="connsiteX9591" y="connsiteY9591"/>
              </a:cxn>
              <a:cxn ang="0">
                <a:pos x="connsiteX9592" y="connsiteY9592"/>
              </a:cxn>
              <a:cxn ang="0">
                <a:pos x="connsiteX9593" y="connsiteY9593"/>
              </a:cxn>
              <a:cxn ang="0">
                <a:pos x="connsiteX9594" y="connsiteY9594"/>
              </a:cxn>
              <a:cxn ang="0">
                <a:pos x="connsiteX9595" y="connsiteY9595"/>
              </a:cxn>
              <a:cxn ang="0">
                <a:pos x="connsiteX9596" y="connsiteY9596"/>
              </a:cxn>
              <a:cxn ang="0">
                <a:pos x="connsiteX9597" y="connsiteY9597"/>
              </a:cxn>
              <a:cxn ang="0">
                <a:pos x="connsiteX9598" y="connsiteY9598"/>
              </a:cxn>
              <a:cxn ang="0">
                <a:pos x="connsiteX9599" y="connsiteY9599"/>
              </a:cxn>
              <a:cxn ang="0">
                <a:pos x="connsiteX9600" y="connsiteY9600"/>
              </a:cxn>
              <a:cxn ang="0">
                <a:pos x="connsiteX9601" y="connsiteY9601"/>
              </a:cxn>
              <a:cxn ang="0">
                <a:pos x="connsiteX9602" y="connsiteY9602"/>
              </a:cxn>
              <a:cxn ang="0">
                <a:pos x="connsiteX9603" y="connsiteY9603"/>
              </a:cxn>
              <a:cxn ang="0">
                <a:pos x="connsiteX9604" y="connsiteY9604"/>
              </a:cxn>
              <a:cxn ang="0">
                <a:pos x="connsiteX9605" y="connsiteY9605"/>
              </a:cxn>
              <a:cxn ang="0">
                <a:pos x="connsiteX9606" y="connsiteY9606"/>
              </a:cxn>
              <a:cxn ang="0">
                <a:pos x="connsiteX9607" y="connsiteY9607"/>
              </a:cxn>
              <a:cxn ang="0">
                <a:pos x="connsiteX9608" y="connsiteY9608"/>
              </a:cxn>
              <a:cxn ang="0">
                <a:pos x="connsiteX9609" y="connsiteY9609"/>
              </a:cxn>
              <a:cxn ang="0">
                <a:pos x="connsiteX9610" y="connsiteY9610"/>
              </a:cxn>
              <a:cxn ang="0">
                <a:pos x="connsiteX9611" y="connsiteY9611"/>
              </a:cxn>
              <a:cxn ang="0">
                <a:pos x="connsiteX9612" y="connsiteY9612"/>
              </a:cxn>
              <a:cxn ang="0">
                <a:pos x="connsiteX9613" y="connsiteY9613"/>
              </a:cxn>
              <a:cxn ang="0">
                <a:pos x="connsiteX9614" y="connsiteY9614"/>
              </a:cxn>
              <a:cxn ang="0">
                <a:pos x="connsiteX9615" y="connsiteY9615"/>
              </a:cxn>
              <a:cxn ang="0">
                <a:pos x="connsiteX9616" y="connsiteY9616"/>
              </a:cxn>
              <a:cxn ang="0">
                <a:pos x="connsiteX9617" y="connsiteY9617"/>
              </a:cxn>
              <a:cxn ang="0">
                <a:pos x="connsiteX9618" y="connsiteY9618"/>
              </a:cxn>
              <a:cxn ang="0">
                <a:pos x="connsiteX9619" y="connsiteY9619"/>
              </a:cxn>
              <a:cxn ang="0">
                <a:pos x="connsiteX9620" y="connsiteY9620"/>
              </a:cxn>
              <a:cxn ang="0">
                <a:pos x="connsiteX9621" y="connsiteY9621"/>
              </a:cxn>
              <a:cxn ang="0">
                <a:pos x="connsiteX9622" y="connsiteY9622"/>
              </a:cxn>
              <a:cxn ang="0">
                <a:pos x="connsiteX9623" y="connsiteY9623"/>
              </a:cxn>
              <a:cxn ang="0">
                <a:pos x="connsiteX9624" y="connsiteY9624"/>
              </a:cxn>
              <a:cxn ang="0">
                <a:pos x="connsiteX9625" y="connsiteY9625"/>
              </a:cxn>
              <a:cxn ang="0">
                <a:pos x="connsiteX9626" y="connsiteY9626"/>
              </a:cxn>
              <a:cxn ang="0">
                <a:pos x="connsiteX9627" y="connsiteY9627"/>
              </a:cxn>
              <a:cxn ang="0">
                <a:pos x="connsiteX9628" y="connsiteY9628"/>
              </a:cxn>
              <a:cxn ang="0">
                <a:pos x="connsiteX9629" y="connsiteY9629"/>
              </a:cxn>
              <a:cxn ang="0">
                <a:pos x="connsiteX9630" y="connsiteY9630"/>
              </a:cxn>
              <a:cxn ang="0">
                <a:pos x="connsiteX9631" y="connsiteY9631"/>
              </a:cxn>
              <a:cxn ang="0">
                <a:pos x="connsiteX9632" y="connsiteY9632"/>
              </a:cxn>
              <a:cxn ang="0">
                <a:pos x="connsiteX9633" y="connsiteY9633"/>
              </a:cxn>
              <a:cxn ang="0">
                <a:pos x="connsiteX9634" y="connsiteY9634"/>
              </a:cxn>
              <a:cxn ang="0">
                <a:pos x="connsiteX9635" y="connsiteY9635"/>
              </a:cxn>
              <a:cxn ang="0">
                <a:pos x="connsiteX9636" y="connsiteY9636"/>
              </a:cxn>
              <a:cxn ang="0">
                <a:pos x="connsiteX9637" y="connsiteY9637"/>
              </a:cxn>
              <a:cxn ang="0">
                <a:pos x="connsiteX9638" y="connsiteY9638"/>
              </a:cxn>
              <a:cxn ang="0">
                <a:pos x="connsiteX9639" y="connsiteY9639"/>
              </a:cxn>
              <a:cxn ang="0">
                <a:pos x="connsiteX9640" y="connsiteY9640"/>
              </a:cxn>
              <a:cxn ang="0">
                <a:pos x="connsiteX9641" y="connsiteY9641"/>
              </a:cxn>
              <a:cxn ang="0">
                <a:pos x="connsiteX9642" y="connsiteY9642"/>
              </a:cxn>
              <a:cxn ang="0">
                <a:pos x="connsiteX9643" y="connsiteY9643"/>
              </a:cxn>
              <a:cxn ang="0">
                <a:pos x="connsiteX9644" y="connsiteY9644"/>
              </a:cxn>
              <a:cxn ang="0">
                <a:pos x="connsiteX9645" y="connsiteY9645"/>
              </a:cxn>
              <a:cxn ang="0">
                <a:pos x="connsiteX9646" y="connsiteY9646"/>
              </a:cxn>
              <a:cxn ang="0">
                <a:pos x="connsiteX9647" y="connsiteY9647"/>
              </a:cxn>
              <a:cxn ang="0">
                <a:pos x="connsiteX9648" y="connsiteY9648"/>
              </a:cxn>
              <a:cxn ang="0">
                <a:pos x="connsiteX9649" y="connsiteY9649"/>
              </a:cxn>
              <a:cxn ang="0">
                <a:pos x="connsiteX9650" y="connsiteY9650"/>
              </a:cxn>
              <a:cxn ang="0">
                <a:pos x="connsiteX9651" y="connsiteY9651"/>
              </a:cxn>
              <a:cxn ang="0">
                <a:pos x="connsiteX9652" y="connsiteY9652"/>
              </a:cxn>
              <a:cxn ang="0">
                <a:pos x="connsiteX9653" y="connsiteY9653"/>
              </a:cxn>
              <a:cxn ang="0">
                <a:pos x="connsiteX9654" y="connsiteY9654"/>
              </a:cxn>
              <a:cxn ang="0">
                <a:pos x="connsiteX9655" y="connsiteY9655"/>
              </a:cxn>
              <a:cxn ang="0">
                <a:pos x="connsiteX9656" y="connsiteY9656"/>
              </a:cxn>
              <a:cxn ang="0">
                <a:pos x="connsiteX9657" y="connsiteY9657"/>
              </a:cxn>
              <a:cxn ang="0">
                <a:pos x="connsiteX9658" y="connsiteY9658"/>
              </a:cxn>
              <a:cxn ang="0">
                <a:pos x="connsiteX9659" y="connsiteY9659"/>
              </a:cxn>
              <a:cxn ang="0">
                <a:pos x="connsiteX9660" y="connsiteY9660"/>
              </a:cxn>
              <a:cxn ang="0">
                <a:pos x="connsiteX9661" y="connsiteY9661"/>
              </a:cxn>
              <a:cxn ang="0">
                <a:pos x="connsiteX9662" y="connsiteY9662"/>
              </a:cxn>
              <a:cxn ang="0">
                <a:pos x="connsiteX9663" y="connsiteY9663"/>
              </a:cxn>
              <a:cxn ang="0">
                <a:pos x="connsiteX9664" y="connsiteY9664"/>
              </a:cxn>
              <a:cxn ang="0">
                <a:pos x="connsiteX9665" y="connsiteY9665"/>
              </a:cxn>
              <a:cxn ang="0">
                <a:pos x="connsiteX9666" y="connsiteY9666"/>
              </a:cxn>
              <a:cxn ang="0">
                <a:pos x="connsiteX9667" y="connsiteY9667"/>
              </a:cxn>
              <a:cxn ang="0">
                <a:pos x="connsiteX9668" y="connsiteY9668"/>
              </a:cxn>
              <a:cxn ang="0">
                <a:pos x="connsiteX9669" y="connsiteY9669"/>
              </a:cxn>
              <a:cxn ang="0">
                <a:pos x="connsiteX9670" y="connsiteY9670"/>
              </a:cxn>
              <a:cxn ang="0">
                <a:pos x="connsiteX9671" y="connsiteY9671"/>
              </a:cxn>
              <a:cxn ang="0">
                <a:pos x="connsiteX9672" y="connsiteY9672"/>
              </a:cxn>
              <a:cxn ang="0">
                <a:pos x="connsiteX9673" y="connsiteY9673"/>
              </a:cxn>
              <a:cxn ang="0">
                <a:pos x="connsiteX9674" y="connsiteY9674"/>
              </a:cxn>
              <a:cxn ang="0">
                <a:pos x="connsiteX9675" y="connsiteY9675"/>
              </a:cxn>
              <a:cxn ang="0">
                <a:pos x="connsiteX9676" y="connsiteY9676"/>
              </a:cxn>
              <a:cxn ang="0">
                <a:pos x="connsiteX9677" y="connsiteY9677"/>
              </a:cxn>
              <a:cxn ang="0">
                <a:pos x="connsiteX9678" y="connsiteY9678"/>
              </a:cxn>
              <a:cxn ang="0">
                <a:pos x="connsiteX9679" y="connsiteY9679"/>
              </a:cxn>
              <a:cxn ang="0">
                <a:pos x="connsiteX9680" y="connsiteY9680"/>
              </a:cxn>
              <a:cxn ang="0">
                <a:pos x="connsiteX9681" y="connsiteY9681"/>
              </a:cxn>
              <a:cxn ang="0">
                <a:pos x="connsiteX9682" y="connsiteY9682"/>
              </a:cxn>
              <a:cxn ang="0">
                <a:pos x="connsiteX9683" y="connsiteY9683"/>
              </a:cxn>
              <a:cxn ang="0">
                <a:pos x="connsiteX9684" y="connsiteY9684"/>
              </a:cxn>
              <a:cxn ang="0">
                <a:pos x="connsiteX9685" y="connsiteY9685"/>
              </a:cxn>
              <a:cxn ang="0">
                <a:pos x="connsiteX9686" y="connsiteY9686"/>
              </a:cxn>
              <a:cxn ang="0">
                <a:pos x="connsiteX9687" y="connsiteY9687"/>
              </a:cxn>
              <a:cxn ang="0">
                <a:pos x="connsiteX9688" y="connsiteY9688"/>
              </a:cxn>
              <a:cxn ang="0">
                <a:pos x="connsiteX9689" y="connsiteY9689"/>
              </a:cxn>
              <a:cxn ang="0">
                <a:pos x="connsiteX9690" y="connsiteY9690"/>
              </a:cxn>
              <a:cxn ang="0">
                <a:pos x="connsiteX9691" y="connsiteY9691"/>
              </a:cxn>
              <a:cxn ang="0">
                <a:pos x="connsiteX9692" y="connsiteY9692"/>
              </a:cxn>
              <a:cxn ang="0">
                <a:pos x="connsiteX9693" y="connsiteY9693"/>
              </a:cxn>
              <a:cxn ang="0">
                <a:pos x="connsiteX9694" y="connsiteY9694"/>
              </a:cxn>
              <a:cxn ang="0">
                <a:pos x="connsiteX9695" y="connsiteY9695"/>
              </a:cxn>
              <a:cxn ang="0">
                <a:pos x="connsiteX9696" y="connsiteY9696"/>
              </a:cxn>
              <a:cxn ang="0">
                <a:pos x="connsiteX9697" y="connsiteY9697"/>
              </a:cxn>
              <a:cxn ang="0">
                <a:pos x="connsiteX9698" y="connsiteY9698"/>
              </a:cxn>
              <a:cxn ang="0">
                <a:pos x="connsiteX9699" y="connsiteY9699"/>
              </a:cxn>
              <a:cxn ang="0">
                <a:pos x="connsiteX9700" y="connsiteY9700"/>
              </a:cxn>
              <a:cxn ang="0">
                <a:pos x="connsiteX9701" y="connsiteY9701"/>
              </a:cxn>
              <a:cxn ang="0">
                <a:pos x="connsiteX9702" y="connsiteY9702"/>
              </a:cxn>
              <a:cxn ang="0">
                <a:pos x="connsiteX9703" y="connsiteY9703"/>
              </a:cxn>
              <a:cxn ang="0">
                <a:pos x="connsiteX9704" y="connsiteY9704"/>
              </a:cxn>
              <a:cxn ang="0">
                <a:pos x="connsiteX9705" y="connsiteY9705"/>
              </a:cxn>
              <a:cxn ang="0">
                <a:pos x="connsiteX9706" y="connsiteY9706"/>
              </a:cxn>
              <a:cxn ang="0">
                <a:pos x="connsiteX9707" y="connsiteY9707"/>
              </a:cxn>
              <a:cxn ang="0">
                <a:pos x="connsiteX9708" y="connsiteY9708"/>
              </a:cxn>
              <a:cxn ang="0">
                <a:pos x="connsiteX9709" y="connsiteY9709"/>
              </a:cxn>
              <a:cxn ang="0">
                <a:pos x="connsiteX9710" y="connsiteY9710"/>
              </a:cxn>
              <a:cxn ang="0">
                <a:pos x="connsiteX9711" y="connsiteY9711"/>
              </a:cxn>
              <a:cxn ang="0">
                <a:pos x="connsiteX9712" y="connsiteY9712"/>
              </a:cxn>
              <a:cxn ang="0">
                <a:pos x="connsiteX9713" y="connsiteY9713"/>
              </a:cxn>
              <a:cxn ang="0">
                <a:pos x="connsiteX9714" y="connsiteY9714"/>
              </a:cxn>
              <a:cxn ang="0">
                <a:pos x="connsiteX9715" y="connsiteY9715"/>
              </a:cxn>
              <a:cxn ang="0">
                <a:pos x="connsiteX9716" y="connsiteY9716"/>
              </a:cxn>
              <a:cxn ang="0">
                <a:pos x="connsiteX9717" y="connsiteY9717"/>
              </a:cxn>
              <a:cxn ang="0">
                <a:pos x="connsiteX9718" y="connsiteY9718"/>
              </a:cxn>
              <a:cxn ang="0">
                <a:pos x="connsiteX9719" y="connsiteY9719"/>
              </a:cxn>
              <a:cxn ang="0">
                <a:pos x="connsiteX9720" y="connsiteY9720"/>
              </a:cxn>
              <a:cxn ang="0">
                <a:pos x="connsiteX9721" y="connsiteY9721"/>
              </a:cxn>
              <a:cxn ang="0">
                <a:pos x="connsiteX9722" y="connsiteY9722"/>
              </a:cxn>
              <a:cxn ang="0">
                <a:pos x="connsiteX9723" y="connsiteY9723"/>
              </a:cxn>
              <a:cxn ang="0">
                <a:pos x="connsiteX9724" y="connsiteY9724"/>
              </a:cxn>
              <a:cxn ang="0">
                <a:pos x="connsiteX9725" y="connsiteY9725"/>
              </a:cxn>
              <a:cxn ang="0">
                <a:pos x="connsiteX9726" y="connsiteY9726"/>
              </a:cxn>
              <a:cxn ang="0">
                <a:pos x="connsiteX9727" y="connsiteY9727"/>
              </a:cxn>
              <a:cxn ang="0">
                <a:pos x="connsiteX9728" y="connsiteY9728"/>
              </a:cxn>
              <a:cxn ang="0">
                <a:pos x="connsiteX9729" y="connsiteY9729"/>
              </a:cxn>
              <a:cxn ang="0">
                <a:pos x="connsiteX9730" y="connsiteY9730"/>
              </a:cxn>
              <a:cxn ang="0">
                <a:pos x="connsiteX9731" y="connsiteY9731"/>
              </a:cxn>
              <a:cxn ang="0">
                <a:pos x="connsiteX9732" y="connsiteY9732"/>
              </a:cxn>
              <a:cxn ang="0">
                <a:pos x="connsiteX9733" y="connsiteY9733"/>
              </a:cxn>
              <a:cxn ang="0">
                <a:pos x="connsiteX9734" y="connsiteY9734"/>
              </a:cxn>
              <a:cxn ang="0">
                <a:pos x="connsiteX9735" y="connsiteY9735"/>
              </a:cxn>
              <a:cxn ang="0">
                <a:pos x="connsiteX9736" y="connsiteY9736"/>
              </a:cxn>
              <a:cxn ang="0">
                <a:pos x="connsiteX9737" y="connsiteY9737"/>
              </a:cxn>
              <a:cxn ang="0">
                <a:pos x="connsiteX9738" y="connsiteY9738"/>
              </a:cxn>
              <a:cxn ang="0">
                <a:pos x="connsiteX9739" y="connsiteY9739"/>
              </a:cxn>
              <a:cxn ang="0">
                <a:pos x="connsiteX9740" y="connsiteY9740"/>
              </a:cxn>
              <a:cxn ang="0">
                <a:pos x="connsiteX9741" y="connsiteY9741"/>
              </a:cxn>
              <a:cxn ang="0">
                <a:pos x="connsiteX9742" y="connsiteY9742"/>
              </a:cxn>
              <a:cxn ang="0">
                <a:pos x="connsiteX9743" y="connsiteY9743"/>
              </a:cxn>
              <a:cxn ang="0">
                <a:pos x="connsiteX9744" y="connsiteY9744"/>
              </a:cxn>
              <a:cxn ang="0">
                <a:pos x="connsiteX9745" y="connsiteY9745"/>
              </a:cxn>
              <a:cxn ang="0">
                <a:pos x="connsiteX9746" y="connsiteY9746"/>
              </a:cxn>
              <a:cxn ang="0">
                <a:pos x="connsiteX9747" y="connsiteY9747"/>
              </a:cxn>
              <a:cxn ang="0">
                <a:pos x="connsiteX9748" y="connsiteY9748"/>
              </a:cxn>
              <a:cxn ang="0">
                <a:pos x="connsiteX9749" y="connsiteY9749"/>
              </a:cxn>
              <a:cxn ang="0">
                <a:pos x="connsiteX9750" y="connsiteY9750"/>
              </a:cxn>
              <a:cxn ang="0">
                <a:pos x="connsiteX9751" y="connsiteY9751"/>
              </a:cxn>
              <a:cxn ang="0">
                <a:pos x="connsiteX9752" y="connsiteY9752"/>
              </a:cxn>
              <a:cxn ang="0">
                <a:pos x="connsiteX9753" y="connsiteY9753"/>
              </a:cxn>
              <a:cxn ang="0">
                <a:pos x="connsiteX9754" y="connsiteY9754"/>
              </a:cxn>
              <a:cxn ang="0">
                <a:pos x="connsiteX9755" y="connsiteY9755"/>
              </a:cxn>
              <a:cxn ang="0">
                <a:pos x="connsiteX9756" y="connsiteY9756"/>
              </a:cxn>
              <a:cxn ang="0">
                <a:pos x="connsiteX9757" y="connsiteY9757"/>
              </a:cxn>
              <a:cxn ang="0">
                <a:pos x="connsiteX9758" y="connsiteY9758"/>
              </a:cxn>
              <a:cxn ang="0">
                <a:pos x="connsiteX9759" y="connsiteY9759"/>
              </a:cxn>
              <a:cxn ang="0">
                <a:pos x="connsiteX9760" y="connsiteY9760"/>
              </a:cxn>
              <a:cxn ang="0">
                <a:pos x="connsiteX9761" y="connsiteY9761"/>
              </a:cxn>
              <a:cxn ang="0">
                <a:pos x="connsiteX9762" y="connsiteY9762"/>
              </a:cxn>
              <a:cxn ang="0">
                <a:pos x="connsiteX9763" y="connsiteY9763"/>
              </a:cxn>
              <a:cxn ang="0">
                <a:pos x="connsiteX9764" y="connsiteY9764"/>
              </a:cxn>
              <a:cxn ang="0">
                <a:pos x="connsiteX9765" y="connsiteY9765"/>
              </a:cxn>
              <a:cxn ang="0">
                <a:pos x="connsiteX9766" y="connsiteY9766"/>
              </a:cxn>
              <a:cxn ang="0">
                <a:pos x="connsiteX9767" y="connsiteY9767"/>
              </a:cxn>
              <a:cxn ang="0">
                <a:pos x="connsiteX9768" y="connsiteY9768"/>
              </a:cxn>
              <a:cxn ang="0">
                <a:pos x="connsiteX9769" y="connsiteY9769"/>
              </a:cxn>
              <a:cxn ang="0">
                <a:pos x="connsiteX9770" y="connsiteY9770"/>
              </a:cxn>
              <a:cxn ang="0">
                <a:pos x="connsiteX9771" y="connsiteY9771"/>
              </a:cxn>
              <a:cxn ang="0">
                <a:pos x="connsiteX9772" y="connsiteY9772"/>
              </a:cxn>
              <a:cxn ang="0">
                <a:pos x="connsiteX9773" y="connsiteY9773"/>
              </a:cxn>
              <a:cxn ang="0">
                <a:pos x="connsiteX9774" y="connsiteY9774"/>
              </a:cxn>
              <a:cxn ang="0">
                <a:pos x="connsiteX9775" y="connsiteY9775"/>
              </a:cxn>
              <a:cxn ang="0">
                <a:pos x="connsiteX9776" y="connsiteY9776"/>
              </a:cxn>
              <a:cxn ang="0">
                <a:pos x="connsiteX9777" y="connsiteY9777"/>
              </a:cxn>
              <a:cxn ang="0">
                <a:pos x="connsiteX9778" y="connsiteY9778"/>
              </a:cxn>
              <a:cxn ang="0">
                <a:pos x="connsiteX9779" y="connsiteY9779"/>
              </a:cxn>
              <a:cxn ang="0">
                <a:pos x="connsiteX9780" y="connsiteY9780"/>
              </a:cxn>
              <a:cxn ang="0">
                <a:pos x="connsiteX9781" y="connsiteY9781"/>
              </a:cxn>
              <a:cxn ang="0">
                <a:pos x="connsiteX9782" y="connsiteY9782"/>
              </a:cxn>
              <a:cxn ang="0">
                <a:pos x="connsiteX9783" y="connsiteY9783"/>
              </a:cxn>
              <a:cxn ang="0">
                <a:pos x="connsiteX9784" y="connsiteY9784"/>
              </a:cxn>
              <a:cxn ang="0">
                <a:pos x="connsiteX9785" y="connsiteY9785"/>
              </a:cxn>
              <a:cxn ang="0">
                <a:pos x="connsiteX9786" y="connsiteY9786"/>
              </a:cxn>
              <a:cxn ang="0">
                <a:pos x="connsiteX9787" y="connsiteY9787"/>
              </a:cxn>
              <a:cxn ang="0">
                <a:pos x="connsiteX9788" y="connsiteY9788"/>
              </a:cxn>
              <a:cxn ang="0">
                <a:pos x="connsiteX9789" y="connsiteY9789"/>
              </a:cxn>
              <a:cxn ang="0">
                <a:pos x="connsiteX9790" y="connsiteY9790"/>
              </a:cxn>
              <a:cxn ang="0">
                <a:pos x="connsiteX9791" y="connsiteY9791"/>
              </a:cxn>
              <a:cxn ang="0">
                <a:pos x="connsiteX9792" y="connsiteY9792"/>
              </a:cxn>
              <a:cxn ang="0">
                <a:pos x="connsiteX9793" y="connsiteY9793"/>
              </a:cxn>
              <a:cxn ang="0">
                <a:pos x="connsiteX9794" y="connsiteY9794"/>
              </a:cxn>
              <a:cxn ang="0">
                <a:pos x="connsiteX9795" y="connsiteY9795"/>
              </a:cxn>
              <a:cxn ang="0">
                <a:pos x="connsiteX9796" y="connsiteY9796"/>
              </a:cxn>
              <a:cxn ang="0">
                <a:pos x="connsiteX9797" y="connsiteY9797"/>
              </a:cxn>
              <a:cxn ang="0">
                <a:pos x="connsiteX9798" y="connsiteY9798"/>
              </a:cxn>
              <a:cxn ang="0">
                <a:pos x="connsiteX9799" y="connsiteY9799"/>
              </a:cxn>
              <a:cxn ang="0">
                <a:pos x="connsiteX9800" y="connsiteY9800"/>
              </a:cxn>
              <a:cxn ang="0">
                <a:pos x="connsiteX9801" y="connsiteY9801"/>
              </a:cxn>
              <a:cxn ang="0">
                <a:pos x="connsiteX9802" y="connsiteY9802"/>
              </a:cxn>
              <a:cxn ang="0">
                <a:pos x="connsiteX9803" y="connsiteY9803"/>
              </a:cxn>
              <a:cxn ang="0">
                <a:pos x="connsiteX9804" y="connsiteY9804"/>
              </a:cxn>
              <a:cxn ang="0">
                <a:pos x="connsiteX9805" y="connsiteY9805"/>
              </a:cxn>
              <a:cxn ang="0">
                <a:pos x="connsiteX9806" y="connsiteY9806"/>
              </a:cxn>
              <a:cxn ang="0">
                <a:pos x="connsiteX9807" y="connsiteY9807"/>
              </a:cxn>
              <a:cxn ang="0">
                <a:pos x="connsiteX9808" y="connsiteY9808"/>
              </a:cxn>
              <a:cxn ang="0">
                <a:pos x="connsiteX9809" y="connsiteY9809"/>
              </a:cxn>
              <a:cxn ang="0">
                <a:pos x="connsiteX9810" y="connsiteY9810"/>
              </a:cxn>
              <a:cxn ang="0">
                <a:pos x="connsiteX9811" y="connsiteY9811"/>
              </a:cxn>
              <a:cxn ang="0">
                <a:pos x="connsiteX9812" y="connsiteY9812"/>
              </a:cxn>
              <a:cxn ang="0">
                <a:pos x="connsiteX9813" y="connsiteY9813"/>
              </a:cxn>
              <a:cxn ang="0">
                <a:pos x="connsiteX9814" y="connsiteY9814"/>
              </a:cxn>
              <a:cxn ang="0">
                <a:pos x="connsiteX9815" y="connsiteY9815"/>
              </a:cxn>
              <a:cxn ang="0">
                <a:pos x="connsiteX9816" y="connsiteY9816"/>
              </a:cxn>
              <a:cxn ang="0">
                <a:pos x="connsiteX9817" y="connsiteY9817"/>
              </a:cxn>
              <a:cxn ang="0">
                <a:pos x="connsiteX9818" y="connsiteY9818"/>
              </a:cxn>
              <a:cxn ang="0">
                <a:pos x="connsiteX9819" y="connsiteY9819"/>
              </a:cxn>
              <a:cxn ang="0">
                <a:pos x="connsiteX9820" y="connsiteY9820"/>
              </a:cxn>
              <a:cxn ang="0">
                <a:pos x="connsiteX9821" y="connsiteY9821"/>
              </a:cxn>
              <a:cxn ang="0">
                <a:pos x="connsiteX9822" y="connsiteY9822"/>
              </a:cxn>
              <a:cxn ang="0">
                <a:pos x="connsiteX9823" y="connsiteY9823"/>
              </a:cxn>
              <a:cxn ang="0">
                <a:pos x="connsiteX9824" y="connsiteY9824"/>
              </a:cxn>
              <a:cxn ang="0">
                <a:pos x="connsiteX9825" y="connsiteY9825"/>
              </a:cxn>
              <a:cxn ang="0">
                <a:pos x="connsiteX9826" y="connsiteY9826"/>
              </a:cxn>
              <a:cxn ang="0">
                <a:pos x="connsiteX9827" y="connsiteY9827"/>
              </a:cxn>
              <a:cxn ang="0">
                <a:pos x="connsiteX9828" y="connsiteY9828"/>
              </a:cxn>
              <a:cxn ang="0">
                <a:pos x="connsiteX9829" y="connsiteY9829"/>
              </a:cxn>
              <a:cxn ang="0">
                <a:pos x="connsiteX9830" y="connsiteY9830"/>
              </a:cxn>
              <a:cxn ang="0">
                <a:pos x="connsiteX9831" y="connsiteY9831"/>
              </a:cxn>
              <a:cxn ang="0">
                <a:pos x="connsiteX9832" y="connsiteY9832"/>
              </a:cxn>
              <a:cxn ang="0">
                <a:pos x="connsiteX9833" y="connsiteY9833"/>
              </a:cxn>
              <a:cxn ang="0">
                <a:pos x="connsiteX9834" y="connsiteY9834"/>
              </a:cxn>
              <a:cxn ang="0">
                <a:pos x="connsiteX9835" y="connsiteY9835"/>
              </a:cxn>
              <a:cxn ang="0">
                <a:pos x="connsiteX9836" y="connsiteY9836"/>
              </a:cxn>
              <a:cxn ang="0">
                <a:pos x="connsiteX9837" y="connsiteY9837"/>
              </a:cxn>
              <a:cxn ang="0">
                <a:pos x="connsiteX9838" y="connsiteY9838"/>
              </a:cxn>
              <a:cxn ang="0">
                <a:pos x="connsiteX9839" y="connsiteY9839"/>
              </a:cxn>
              <a:cxn ang="0">
                <a:pos x="connsiteX9840" y="connsiteY9840"/>
              </a:cxn>
              <a:cxn ang="0">
                <a:pos x="connsiteX9841" y="connsiteY9841"/>
              </a:cxn>
              <a:cxn ang="0">
                <a:pos x="connsiteX9842" y="connsiteY9842"/>
              </a:cxn>
              <a:cxn ang="0">
                <a:pos x="connsiteX9843" y="connsiteY9843"/>
              </a:cxn>
              <a:cxn ang="0">
                <a:pos x="connsiteX9844" y="connsiteY9844"/>
              </a:cxn>
              <a:cxn ang="0">
                <a:pos x="connsiteX9845" y="connsiteY9845"/>
              </a:cxn>
              <a:cxn ang="0">
                <a:pos x="connsiteX9846" y="connsiteY9846"/>
              </a:cxn>
              <a:cxn ang="0">
                <a:pos x="connsiteX9847" y="connsiteY9847"/>
              </a:cxn>
              <a:cxn ang="0">
                <a:pos x="connsiteX9848" y="connsiteY9848"/>
              </a:cxn>
              <a:cxn ang="0">
                <a:pos x="connsiteX9849" y="connsiteY9849"/>
              </a:cxn>
              <a:cxn ang="0">
                <a:pos x="connsiteX9850" y="connsiteY9850"/>
              </a:cxn>
              <a:cxn ang="0">
                <a:pos x="connsiteX9851" y="connsiteY9851"/>
              </a:cxn>
              <a:cxn ang="0">
                <a:pos x="connsiteX9852" y="connsiteY9852"/>
              </a:cxn>
              <a:cxn ang="0">
                <a:pos x="connsiteX9853" y="connsiteY9853"/>
              </a:cxn>
              <a:cxn ang="0">
                <a:pos x="connsiteX9854" y="connsiteY9854"/>
              </a:cxn>
              <a:cxn ang="0">
                <a:pos x="connsiteX9855" y="connsiteY9855"/>
              </a:cxn>
              <a:cxn ang="0">
                <a:pos x="connsiteX9856" y="connsiteY9856"/>
              </a:cxn>
              <a:cxn ang="0">
                <a:pos x="connsiteX9857" y="connsiteY9857"/>
              </a:cxn>
              <a:cxn ang="0">
                <a:pos x="connsiteX9858" y="connsiteY9858"/>
              </a:cxn>
              <a:cxn ang="0">
                <a:pos x="connsiteX9859" y="connsiteY9859"/>
              </a:cxn>
              <a:cxn ang="0">
                <a:pos x="connsiteX9860" y="connsiteY9860"/>
              </a:cxn>
              <a:cxn ang="0">
                <a:pos x="connsiteX9861" y="connsiteY9861"/>
              </a:cxn>
              <a:cxn ang="0">
                <a:pos x="connsiteX9862" y="connsiteY9862"/>
              </a:cxn>
              <a:cxn ang="0">
                <a:pos x="connsiteX9863" y="connsiteY9863"/>
              </a:cxn>
              <a:cxn ang="0">
                <a:pos x="connsiteX9864" y="connsiteY9864"/>
              </a:cxn>
              <a:cxn ang="0">
                <a:pos x="connsiteX9865" y="connsiteY9865"/>
              </a:cxn>
              <a:cxn ang="0">
                <a:pos x="connsiteX9866" y="connsiteY9866"/>
              </a:cxn>
              <a:cxn ang="0">
                <a:pos x="connsiteX9867" y="connsiteY9867"/>
              </a:cxn>
              <a:cxn ang="0">
                <a:pos x="connsiteX9868" y="connsiteY9868"/>
              </a:cxn>
              <a:cxn ang="0">
                <a:pos x="connsiteX9869" y="connsiteY9869"/>
              </a:cxn>
              <a:cxn ang="0">
                <a:pos x="connsiteX9870" y="connsiteY9870"/>
              </a:cxn>
              <a:cxn ang="0">
                <a:pos x="connsiteX9871" y="connsiteY9871"/>
              </a:cxn>
              <a:cxn ang="0">
                <a:pos x="connsiteX9872" y="connsiteY9872"/>
              </a:cxn>
              <a:cxn ang="0">
                <a:pos x="connsiteX9873" y="connsiteY9873"/>
              </a:cxn>
              <a:cxn ang="0">
                <a:pos x="connsiteX9874" y="connsiteY9874"/>
              </a:cxn>
              <a:cxn ang="0">
                <a:pos x="connsiteX9875" y="connsiteY9875"/>
              </a:cxn>
              <a:cxn ang="0">
                <a:pos x="connsiteX9876" y="connsiteY9876"/>
              </a:cxn>
              <a:cxn ang="0">
                <a:pos x="connsiteX9877" y="connsiteY9877"/>
              </a:cxn>
              <a:cxn ang="0">
                <a:pos x="connsiteX9878" y="connsiteY9878"/>
              </a:cxn>
              <a:cxn ang="0">
                <a:pos x="connsiteX9879" y="connsiteY9879"/>
              </a:cxn>
              <a:cxn ang="0">
                <a:pos x="connsiteX9880" y="connsiteY9880"/>
              </a:cxn>
              <a:cxn ang="0">
                <a:pos x="connsiteX9881" y="connsiteY9881"/>
              </a:cxn>
              <a:cxn ang="0">
                <a:pos x="connsiteX9882" y="connsiteY9882"/>
              </a:cxn>
              <a:cxn ang="0">
                <a:pos x="connsiteX9883" y="connsiteY9883"/>
              </a:cxn>
              <a:cxn ang="0">
                <a:pos x="connsiteX9884" y="connsiteY9884"/>
              </a:cxn>
              <a:cxn ang="0">
                <a:pos x="connsiteX9885" y="connsiteY9885"/>
              </a:cxn>
              <a:cxn ang="0">
                <a:pos x="connsiteX9886" y="connsiteY9886"/>
              </a:cxn>
              <a:cxn ang="0">
                <a:pos x="connsiteX9887" y="connsiteY9887"/>
              </a:cxn>
              <a:cxn ang="0">
                <a:pos x="connsiteX9888" y="connsiteY9888"/>
              </a:cxn>
              <a:cxn ang="0">
                <a:pos x="connsiteX9889" y="connsiteY9889"/>
              </a:cxn>
              <a:cxn ang="0">
                <a:pos x="connsiteX9890" y="connsiteY9890"/>
              </a:cxn>
              <a:cxn ang="0">
                <a:pos x="connsiteX9891" y="connsiteY9891"/>
              </a:cxn>
              <a:cxn ang="0">
                <a:pos x="connsiteX9892" y="connsiteY9892"/>
              </a:cxn>
              <a:cxn ang="0">
                <a:pos x="connsiteX9893" y="connsiteY9893"/>
              </a:cxn>
              <a:cxn ang="0">
                <a:pos x="connsiteX9894" y="connsiteY9894"/>
              </a:cxn>
              <a:cxn ang="0">
                <a:pos x="connsiteX9895" y="connsiteY9895"/>
              </a:cxn>
              <a:cxn ang="0">
                <a:pos x="connsiteX9896" y="connsiteY9896"/>
              </a:cxn>
              <a:cxn ang="0">
                <a:pos x="connsiteX9897" y="connsiteY9897"/>
              </a:cxn>
              <a:cxn ang="0">
                <a:pos x="connsiteX9898" y="connsiteY9898"/>
              </a:cxn>
              <a:cxn ang="0">
                <a:pos x="connsiteX9899" y="connsiteY9899"/>
              </a:cxn>
              <a:cxn ang="0">
                <a:pos x="connsiteX9900" y="connsiteY9900"/>
              </a:cxn>
              <a:cxn ang="0">
                <a:pos x="connsiteX9901" y="connsiteY9901"/>
              </a:cxn>
              <a:cxn ang="0">
                <a:pos x="connsiteX9902" y="connsiteY9902"/>
              </a:cxn>
              <a:cxn ang="0">
                <a:pos x="connsiteX9903" y="connsiteY9903"/>
              </a:cxn>
              <a:cxn ang="0">
                <a:pos x="connsiteX9904" y="connsiteY9904"/>
              </a:cxn>
              <a:cxn ang="0">
                <a:pos x="connsiteX9905" y="connsiteY9905"/>
              </a:cxn>
              <a:cxn ang="0">
                <a:pos x="connsiteX9906" y="connsiteY9906"/>
              </a:cxn>
              <a:cxn ang="0">
                <a:pos x="connsiteX9907" y="connsiteY9907"/>
              </a:cxn>
              <a:cxn ang="0">
                <a:pos x="connsiteX9908" y="connsiteY9908"/>
              </a:cxn>
              <a:cxn ang="0">
                <a:pos x="connsiteX9909" y="connsiteY9909"/>
              </a:cxn>
              <a:cxn ang="0">
                <a:pos x="connsiteX9910" y="connsiteY9910"/>
              </a:cxn>
              <a:cxn ang="0">
                <a:pos x="connsiteX9911" y="connsiteY9911"/>
              </a:cxn>
              <a:cxn ang="0">
                <a:pos x="connsiteX9912" y="connsiteY9912"/>
              </a:cxn>
              <a:cxn ang="0">
                <a:pos x="connsiteX9913" y="connsiteY9913"/>
              </a:cxn>
              <a:cxn ang="0">
                <a:pos x="connsiteX9914" y="connsiteY9914"/>
              </a:cxn>
              <a:cxn ang="0">
                <a:pos x="connsiteX9915" y="connsiteY9915"/>
              </a:cxn>
              <a:cxn ang="0">
                <a:pos x="connsiteX9916" y="connsiteY9916"/>
              </a:cxn>
              <a:cxn ang="0">
                <a:pos x="connsiteX9917" y="connsiteY9917"/>
              </a:cxn>
              <a:cxn ang="0">
                <a:pos x="connsiteX9918" y="connsiteY9918"/>
              </a:cxn>
              <a:cxn ang="0">
                <a:pos x="connsiteX9919" y="connsiteY9919"/>
              </a:cxn>
              <a:cxn ang="0">
                <a:pos x="connsiteX9920" y="connsiteY9920"/>
              </a:cxn>
              <a:cxn ang="0">
                <a:pos x="connsiteX9921" y="connsiteY9921"/>
              </a:cxn>
              <a:cxn ang="0">
                <a:pos x="connsiteX9922" y="connsiteY9922"/>
              </a:cxn>
              <a:cxn ang="0">
                <a:pos x="connsiteX9923" y="connsiteY9923"/>
              </a:cxn>
              <a:cxn ang="0">
                <a:pos x="connsiteX9924" y="connsiteY9924"/>
              </a:cxn>
              <a:cxn ang="0">
                <a:pos x="connsiteX9925" y="connsiteY9925"/>
              </a:cxn>
              <a:cxn ang="0">
                <a:pos x="connsiteX9926" y="connsiteY9926"/>
              </a:cxn>
              <a:cxn ang="0">
                <a:pos x="connsiteX9927" y="connsiteY9927"/>
              </a:cxn>
              <a:cxn ang="0">
                <a:pos x="connsiteX9928" y="connsiteY9928"/>
              </a:cxn>
              <a:cxn ang="0">
                <a:pos x="connsiteX9929" y="connsiteY9929"/>
              </a:cxn>
              <a:cxn ang="0">
                <a:pos x="connsiteX9930" y="connsiteY9930"/>
              </a:cxn>
              <a:cxn ang="0">
                <a:pos x="connsiteX9931" y="connsiteY9931"/>
              </a:cxn>
              <a:cxn ang="0">
                <a:pos x="connsiteX9932" y="connsiteY9932"/>
              </a:cxn>
              <a:cxn ang="0">
                <a:pos x="connsiteX9933" y="connsiteY9933"/>
              </a:cxn>
              <a:cxn ang="0">
                <a:pos x="connsiteX9934" y="connsiteY9934"/>
              </a:cxn>
              <a:cxn ang="0">
                <a:pos x="connsiteX9935" y="connsiteY9935"/>
              </a:cxn>
              <a:cxn ang="0">
                <a:pos x="connsiteX9936" y="connsiteY9936"/>
              </a:cxn>
              <a:cxn ang="0">
                <a:pos x="connsiteX9937" y="connsiteY9937"/>
              </a:cxn>
              <a:cxn ang="0">
                <a:pos x="connsiteX9938" y="connsiteY9938"/>
              </a:cxn>
              <a:cxn ang="0">
                <a:pos x="connsiteX9939" y="connsiteY9939"/>
              </a:cxn>
              <a:cxn ang="0">
                <a:pos x="connsiteX9940" y="connsiteY9940"/>
              </a:cxn>
              <a:cxn ang="0">
                <a:pos x="connsiteX9941" y="connsiteY9941"/>
              </a:cxn>
              <a:cxn ang="0">
                <a:pos x="connsiteX9942" y="connsiteY9942"/>
              </a:cxn>
              <a:cxn ang="0">
                <a:pos x="connsiteX9943" y="connsiteY9943"/>
              </a:cxn>
              <a:cxn ang="0">
                <a:pos x="connsiteX9944" y="connsiteY9944"/>
              </a:cxn>
              <a:cxn ang="0">
                <a:pos x="connsiteX9945" y="connsiteY9945"/>
              </a:cxn>
              <a:cxn ang="0">
                <a:pos x="connsiteX9946" y="connsiteY9946"/>
              </a:cxn>
              <a:cxn ang="0">
                <a:pos x="connsiteX9947" y="connsiteY9947"/>
              </a:cxn>
              <a:cxn ang="0">
                <a:pos x="connsiteX9948" y="connsiteY9948"/>
              </a:cxn>
              <a:cxn ang="0">
                <a:pos x="connsiteX9949" y="connsiteY9949"/>
              </a:cxn>
              <a:cxn ang="0">
                <a:pos x="connsiteX9950" y="connsiteY9950"/>
              </a:cxn>
              <a:cxn ang="0">
                <a:pos x="connsiteX9951" y="connsiteY9951"/>
              </a:cxn>
              <a:cxn ang="0">
                <a:pos x="connsiteX9952" y="connsiteY9952"/>
              </a:cxn>
              <a:cxn ang="0">
                <a:pos x="connsiteX9953" y="connsiteY9953"/>
              </a:cxn>
              <a:cxn ang="0">
                <a:pos x="connsiteX9954" y="connsiteY9954"/>
              </a:cxn>
              <a:cxn ang="0">
                <a:pos x="connsiteX9955" y="connsiteY9955"/>
              </a:cxn>
              <a:cxn ang="0">
                <a:pos x="connsiteX9956" y="connsiteY9956"/>
              </a:cxn>
              <a:cxn ang="0">
                <a:pos x="connsiteX9957" y="connsiteY9957"/>
              </a:cxn>
              <a:cxn ang="0">
                <a:pos x="connsiteX9958" y="connsiteY9958"/>
              </a:cxn>
              <a:cxn ang="0">
                <a:pos x="connsiteX9959" y="connsiteY9959"/>
              </a:cxn>
              <a:cxn ang="0">
                <a:pos x="connsiteX9960" y="connsiteY9960"/>
              </a:cxn>
              <a:cxn ang="0">
                <a:pos x="connsiteX9961" y="connsiteY9961"/>
              </a:cxn>
              <a:cxn ang="0">
                <a:pos x="connsiteX9962" y="connsiteY9962"/>
              </a:cxn>
              <a:cxn ang="0">
                <a:pos x="connsiteX9963" y="connsiteY9963"/>
              </a:cxn>
              <a:cxn ang="0">
                <a:pos x="connsiteX9964" y="connsiteY9964"/>
              </a:cxn>
              <a:cxn ang="0">
                <a:pos x="connsiteX9965" y="connsiteY9965"/>
              </a:cxn>
              <a:cxn ang="0">
                <a:pos x="connsiteX9966" y="connsiteY9966"/>
              </a:cxn>
              <a:cxn ang="0">
                <a:pos x="connsiteX9967" y="connsiteY9967"/>
              </a:cxn>
              <a:cxn ang="0">
                <a:pos x="connsiteX9968" y="connsiteY9968"/>
              </a:cxn>
              <a:cxn ang="0">
                <a:pos x="connsiteX9969" y="connsiteY9969"/>
              </a:cxn>
              <a:cxn ang="0">
                <a:pos x="connsiteX9970" y="connsiteY9970"/>
              </a:cxn>
              <a:cxn ang="0">
                <a:pos x="connsiteX9971" y="connsiteY9971"/>
              </a:cxn>
              <a:cxn ang="0">
                <a:pos x="connsiteX9972" y="connsiteY9972"/>
              </a:cxn>
              <a:cxn ang="0">
                <a:pos x="connsiteX9973" y="connsiteY9973"/>
              </a:cxn>
              <a:cxn ang="0">
                <a:pos x="connsiteX9974" y="connsiteY9974"/>
              </a:cxn>
              <a:cxn ang="0">
                <a:pos x="connsiteX9975" y="connsiteY9975"/>
              </a:cxn>
              <a:cxn ang="0">
                <a:pos x="connsiteX9976" y="connsiteY9976"/>
              </a:cxn>
              <a:cxn ang="0">
                <a:pos x="connsiteX9977" y="connsiteY9977"/>
              </a:cxn>
              <a:cxn ang="0">
                <a:pos x="connsiteX9978" y="connsiteY9978"/>
              </a:cxn>
              <a:cxn ang="0">
                <a:pos x="connsiteX9979" y="connsiteY9979"/>
              </a:cxn>
              <a:cxn ang="0">
                <a:pos x="connsiteX9980" y="connsiteY9980"/>
              </a:cxn>
              <a:cxn ang="0">
                <a:pos x="connsiteX9981" y="connsiteY9981"/>
              </a:cxn>
              <a:cxn ang="0">
                <a:pos x="connsiteX9982" y="connsiteY9982"/>
              </a:cxn>
              <a:cxn ang="0">
                <a:pos x="connsiteX9983" y="connsiteY9983"/>
              </a:cxn>
              <a:cxn ang="0">
                <a:pos x="connsiteX9984" y="connsiteY9984"/>
              </a:cxn>
              <a:cxn ang="0">
                <a:pos x="connsiteX9985" y="connsiteY9985"/>
              </a:cxn>
              <a:cxn ang="0">
                <a:pos x="connsiteX9986" y="connsiteY9986"/>
              </a:cxn>
              <a:cxn ang="0">
                <a:pos x="connsiteX9987" y="connsiteY9987"/>
              </a:cxn>
              <a:cxn ang="0">
                <a:pos x="connsiteX9988" y="connsiteY9988"/>
              </a:cxn>
              <a:cxn ang="0">
                <a:pos x="connsiteX9989" y="connsiteY9989"/>
              </a:cxn>
              <a:cxn ang="0">
                <a:pos x="connsiteX9990" y="connsiteY9990"/>
              </a:cxn>
              <a:cxn ang="0">
                <a:pos x="connsiteX9991" y="connsiteY9991"/>
              </a:cxn>
              <a:cxn ang="0">
                <a:pos x="connsiteX9992" y="connsiteY9992"/>
              </a:cxn>
              <a:cxn ang="0">
                <a:pos x="connsiteX9993" y="connsiteY9993"/>
              </a:cxn>
              <a:cxn ang="0">
                <a:pos x="connsiteX9994" y="connsiteY9994"/>
              </a:cxn>
              <a:cxn ang="0">
                <a:pos x="connsiteX9995" y="connsiteY9995"/>
              </a:cxn>
              <a:cxn ang="0">
                <a:pos x="connsiteX9996" y="connsiteY9996"/>
              </a:cxn>
              <a:cxn ang="0">
                <a:pos x="connsiteX9997" y="connsiteY9997"/>
              </a:cxn>
              <a:cxn ang="0">
                <a:pos x="connsiteX9998" y="connsiteY9998"/>
              </a:cxn>
              <a:cxn ang="0">
                <a:pos x="connsiteX9999" y="connsiteY9999"/>
              </a:cxn>
              <a:cxn ang="0">
                <a:pos x="connsiteX10000" y="connsiteY10000"/>
              </a:cxn>
              <a:cxn ang="0">
                <a:pos x="connsiteX10001" y="connsiteY10001"/>
              </a:cxn>
              <a:cxn ang="0">
                <a:pos x="connsiteX10002" y="connsiteY10002"/>
              </a:cxn>
              <a:cxn ang="0">
                <a:pos x="connsiteX10003" y="connsiteY10003"/>
              </a:cxn>
              <a:cxn ang="0">
                <a:pos x="connsiteX10004" y="connsiteY10004"/>
              </a:cxn>
              <a:cxn ang="0">
                <a:pos x="connsiteX10005" y="connsiteY10005"/>
              </a:cxn>
              <a:cxn ang="0">
                <a:pos x="connsiteX10006" y="connsiteY10006"/>
              </a:cxn>
              <a:cxn ang="0">
                <a:pos x="connsiteX10007" y="connsiteY10007"/>
              </a:cxn>
              <a:cxn ang="0">
                <a:pos x="connsiteX10008" y="connsiteY10008"/>
              </a:cxn>
              <a:cxn ang="0">
                <a:pos x="connsiteX10009" y="connsiteY10009"/>
              </a:cxn>
              <a:cxn ang="0">
                <a:pos x="connsiteX10010" y="connsiteY10010"/>
              </a:cxn>
              <a:cxn ang="0">
                <a:pos x="connsiteX10011" y="connsiteY10011"/>
              </a:cxn>
              <a:cxn ang="0">
                <a:pos x="connsiteX10012" y="connsiteY10012"/>
              </a:cxn>
              <a:cxn ang="0">
                <a:pos x="connsiteX10013" y="connsiteY10013"/>
              </a:cxn>
              <a:cxn ang="0">
                <a:pos x="connsiteX10014" y="connsiteY10014"/>
              </a:cxn>
              <a:cxn ang="0">
                <a:pos x="connsiteX10015" y="connsiteY10015"/>
              </a:cxn>
              <a:cxn ang="0">
                <a:pos x="connsiteX10016" y="connsiteY10016"/>
              </a:cxn>
              <a:cxn ang="0">
                <a:pos x="connsiteX10017" y="connsiteY10017"/>
              </a:cxn>
              <a:cxn ang="0">
                <a:pos x="connsiteX10018" y="connsiteY10018"/>
              </a:cxn>
              <a:cxn ang="0">
                <a:pos x="connsiteX10019" y="connsiteY10019"/>
              </a:cxn>
              <a:cxn ang="0">
                <a:pos x="connsiteX10020" y="connsiteY10020"/>
              </a:cxn>
              <a:cxn ang="0">
                <a:pos x="connsiteX10021" y="connsiteY10021"/>
              </a:cxn>
              <a:cxn ang="0">
                <a:pos x="connsiteX10022" y="connsiteY10022"/>
              </a:cxn>
              <a:cxn ang="0">
                <a:pos x="connsiteX10023" y="connsiteY10023"/>
              </a:cxn>
              <a:cxn ang="0">
                <a:pos x="connsiteX10024" y="connsiteY10024"/>
              </a:cxn>
              <a:cxn ang="0">
                <a:pos x="connsiteX10025" y="connsiteY10025"/>
              </a:cxn>
              <a:cxn ang="0">
                <a:pos x="connsiteX10026" y="connsiteY10026"/>
              </a:cxn>
              <a:cxn ang="0">
                <a:pos x="connsiteX10027" y="connsiteY10027"/>
              </a:cxn>
              <a:cxn ang="0">
                <a:pos x="connsiteX10028" y="connsiteY10028"/>
              </a:cxn>
              <a:cxn ang="0">
                <a:pos x="connsiteX10029" y="connsiteY10029"/>
              </a:cxn>
              <a:cxn ang="0">
                <a:pos x="connsiteX10030" y="connsiteY10030"/>
              </a:cxn>
              <a:cxn ang="0">
                <a:pos x="connsiteX10031" y="connsiteY10031"/>
              </a:cxn>
              <a:cxn ang="0">
                <a:pos x="connsiteX10032" y="connsiteY10032"/>
              </a:cxn>
              <a:cxn ang="0">
                <a:pos x="connsiteX10033" y="connsiteY10033"/>
              </a:cxn>
              <a:cxn ang="0">
                <a:pos x="connsiteX10034" y="connsiteY10034"/>
              </a:cxn>
              <a:cxn ang="0">
                <a:pos x="connsiteX10035" y="connsiteY10035"/>
              </a:cxn>
              <a:cxn ang="0">
                <a:pos x="connsiteX10036" y="connsiteY10036"/>
              </a:cxn>
              <a:cxn ang="0">
                <a:pos x="connsiteX10037" y="connsiteY10037"/>
              </a:cxn>
              <a:cxn ang="0">
                <a:pos x="connsiteX10038" y="connsiteY10038"/>
              </a:cxn>
              <a:cxn ang="0">
                <a:pos x="connsiteX10039" y="connsiteY10039"/>
              </a:cxn>
              <a:cxn ang="0">
                <a:pos x="connsiteX10040" y="connsiteY10040"/>
              </a:cxn>
              <a:cxn ang="0">
                <a:pos x="connsiteX10041" y="connsiteY10041"/>
              </a:cxn>
              <a:cxn ang="0">
                <a:pos x="connsiteX10042" y="connsiteY10042"/>
              </a:cxn>
              <a:cxn ang="0">
                <a:pos x="connsiteX10043" y="connsiteY10043"/>
              </a:cxn>
              <a:cxn ang="0">
                <a:pos x="connsiteX10044" y="connsiteY10044"/>
              </a:cxn>
              <a:cxn ang="0">
                <a:pos x="connsiteX10045" y="connsiteY10045"/>
              </a:cxn>
              <a:cxn ang="0">
                <a:pos x="connsiteX10046" y="connsiteY10046"/>
              </a:cxn>
              <a:cxn ang="0">
                <a:pos x="connsiteX10047" y="connsiteY10047"/>
              </a:cxn>
              <a:cxn ang="0">
                <a:pos x="connsiteX10048" y="connsiteY10048"/>
              </a:cxn>
              <a:cxn ang="0">
                <a:pos x="connsiteX10049" y="connsiteY10049"/>
              </a:cxn>
              <a:cxn ang="0">
                <a:pos x="connsiteX10050" y="connsiteY10050"/>
              </a:cxn>
              <a:cxn ang="0">
                <a:pos x="connsiteX10051" y="connsiteY10051"/>
              </a:cxn>
              <a:cxn ang="0">
                <a:pos x="connsiteX10052" y="connsiteY10052"/>
              </a:cxn>
              <a:cxn ang="0">
                <a:pos x="connsiteX10053" y="connsiteY10053"/>
              </a:cxn>
              <a:cxn ang="0">
                <a:pos x="connsiteX10054" y="connsiteY10054"/>
              </a:cxn>
              <a:cxn ang="0">
                <a:pos x="connsiteX10055" y="connsiteY10055"/>
              </a:cxn>
              <a:cxn ang="0">
                <a:pos x="connsiteX10056" y="connsiteY10056"/>
              </a:cxn>
              <a:cxn ang="0">
                <a:pos x="connsiteX10057" y="connsiteY10057"/>
              </a:cxn>
              <a:cxn ang="0">
                <a:pos x="connsiteX10058" y="connsiteY10058"/>
              </a:cxn>
              <a:cxn ang="0">
                <a:pos x="connsiteX10059" y="connsiteY10059"/>
              </a:cxn>
              <a:cxn ang="0">
                <a:pos x="connsiteX10060" y="connsiteY10060"/>
              </a:cxn>
              <a:cxn ang="0">
                <a:pos x="connsiteX10061" y="connsiteY10061"/>
              </a:cxn>
              <a:cxn ang="0">
                <a:pos x="connsiteX10062" y="connsiteY10062"/>
              </a:cxn>
              <a:cxn ang="0">
                <a:pos x="connsiteX10063" y="connsiteY10063"/>
              </a:cxn>
              <a:cxn ang="0">
                <a:pos x="connsiteX10064" y="connsiteY10064"/>
              </a:cxn>
              <a:cxn ang="0">
                <a:pos x="connsiteX10065" y="connsiteY10065"/>
              </a:cxn>
              <a:cxn ang="0">
                <a:pos x="connsiteX10066" y="connsiteY10066"/>
              </a:cxn>
              <a:cxn ang="0">
                <a:pos x="connsiteX10067" y="connsiteY10067"/>
              </a:cxn>
              <a:cxn ang="0">
                <a:pos x="connsiteX10068" y="connsiteY10068"/>
              </a:cxn>
              <a:cxn ang="0">
                <a:pos x="connsiteX10069" y="connsiteY10069"/>
              </a:cxn>
              <a:cxn ang="0">
                <a:pos x="connsiteX10070" y="connsiteY10070"/>
              </a:cxn>
              <a:cxn ang="0">
                <a:pos x="connsiteX10071" y="connsiteY10071"/>
              </a:cxn>
              <a:cxn ang="0">
                <a:pos x="connsiteX10072" y="connsiteY10072"/>
              </a:cxn>
              <a:cxn ang="0">
                <a:pos x="connsiteX10073" y="connsiteY10073"/>
              </a:cxn>
              <a:cxn ang="0">
                <a:pos x="connsiteX10074" y="connsiteY10074"/>
              </a:cxn>
              <a:cxn ang="0">
                <a:pos x="connsiteX10075" y="connsiteY10075"/>
              </a:cxn>
              <a:cxn ang="0">
                <a:pos x="connsiteX10076" y="connsiteY10076"/>
              </a:cxn>
              <a:cxn ang="0">
                <a:pos x="connsiteX10077" y="connsiteY10077"/>
              </a:cxn>
              <a:cxn ang="0">
                <a:pos x="connsiteX10078" y="connsiteY10078"/>
              </a:cxn>
              <a:cxn ang="0">
                <a:pos x="connsiteX10079" y="connsiteY10079"/>
              </a:cxn>
              <a:cxn ang="0">
                <a:pos x="connsiteX10080" y="connsiteY10080"/>
              </a:cxn>
              <a:cxn ang="0">
                <a:pos x="connsiteX10081" y="connsiteY10081"/>
              </a:cxn>
              <a:cxn ang="0">
                <a:pos x="connsiteX10082" y="connsiteY10082"/>
              </a:cxn>
              <a:cxn ang="0">
                <a:pos x="connsiteX10083" y="connsiteY10083"/>
              </a:cxn>
              <a:cxn ang="0">
                <a:pos x="connsiteX10084" y="connsiteY10084"/>
              </a:cxn>
              <a:cxn ang="0">
                <a:pos x="connsiteX10085" y="connsiteY10085"/>
              </a:cxn>
              <a:cxn ang="0">
                <a:pos x="connsiteX10086" y="connsiteY10086"/>
              </a:cxn>
              <a:cxn ang="0">
                <a:pos x="connsiteX10087" y="connsiteY10087"/>
              </a:cxn>
              <a:cxn ang="0">
                <a:pos x="connsiteX10088" y="connsiteY10088"/>
              </a:cxn>
              <a:cxn ang="0">
                <a:pos x="connsiteX10089" y="connsiteY10089"/>
              </a:cxn>
              <a:cxn ang="0">
                <a:pos x="connsiteX10090" y="connsiteY10090"/>
              </a:cxn>
              <a:cxn ang="0">
                <a:pos x="connsiteX10091" y="connsiteY10091"/>
              </a:cxn>
              <a:cxn ang="0">
                <a:pos x="connsiteX10092" y="connsiteY10092"/>
              </a:cxn>
              <a:cxn ang="0">
                <a:pos x="connsiteX10093" y="connsiteY10093"/>
              </a:cxn>
              <a:cxn ang="0">
                <a:pos x="connsiteX10094" y="connsiteY10094"/>
              </a:cxn>
              <a:cxn ang="0">
                <a:pos x="connsiteX10095" y="connsiteY10095"/>
              </a:cxn>
              <a:cxn ang="0">
                <a:pos x="connsiteX10096" y="connsiteY10096"/>
              </a:cxn>
              <a:cxn ang="0">
                <a:pos x="connsiteX10097" y="connsiteY10097"/>
              </a:cxn>
              <a:cxn ang="0">
                <a:pos x="connsiteX10098" y="connsiteY10098"/>
              </a:cxn>
              <a:cxn ang="0">
                <a:pos x="connsiteX10099" y="connsiteY10099"/>
              </a:cxn>
              <a:cxn ang="0">
                <a:pos x="connsiteX10100" y="connsiteY10100"/>
              </a:cxn>
              <a:cxn ang="0">
                <a:pos x="connsiteX10101" y="connsiteY10101"/>
              </a:cxn>
              <a:cxn ang="0">
                <a:pos x="connsiteX10102" y="connsiteY10102"/>
              </a:cxn>
              <a:cxn ang="0">
                <a:pos x="connsiteX10103" y="connsiteY10103"/>
              </a:cxn>
              <a:cxn ang="0">
                <a:pos x="connsiteX10104" y="connsiteY10104"/>
              </a:cxn>
              <a:cxn ang="0">
                <a:pos x="connsiteX10105" y="connsiteY10105"/>
              </a:cxn>
              <a:cxn ang="0">
                <a:pos x="connsiteX10106" y="connsiteY10106"/>
              </a:cxn>
              <a:cxn ang="0">
                <a:pos x="connsiteX10107" y="connsiteY10107"/>
              </a:cxn>
              <a:cxn ang="0">
                <a:pos x="connsiteX10108" y="connsiteY10108"/>
              </a:cxn>
              <a:cxn ang="0">
                <a:pos x="connsiteX10109" y="connsiteY10109"/>
              </a:cxn>
              <a:cxn ang="0">
                <a:pos x="connsiteX10110" y="connsiteY10110"/>
              </a:cxn>
              <a:cxn ang="0">
                <a:pos x="connsiteX10111" y="connsiteY10111"/>
              </a:cxn>
              <a:cxn ang="0">
                <a:pos x="connsiteX10112" y="connsiteY10112"/>
              </a:cxn>
              <a:cxn ang="0">
                <a:pos x="connsiteX10113" y="connsiteY10113"/>
              </a:cxn>
              <a:cxn ang="0">
                <a:pos x="connsiteX10114" y="connsiteY10114"/>
              </a:cxn>
              <a:cxn ang="0">
                <a:pos x="connsiteX10115" y="connsiteY10115"/>
              </a:cxn>
              <a:cxn ang="0">
                <a:pos x="connsiteX10116" y="connsiteY10116"/>
              </a:cxn>
              <a:cxn ang="0">
                <a:pos x="connsiteX10117" y="connsiteY10117"/>
              </a:cxn>
              <a:cxn ang="0">
                <a:pos x="connsiteX10118" y="connsiteY10118"/>
              </a:cxn>
              <a:cxn ang="0">
                <a:pos x="connsiteX10119" y="connsiteY10119"/>
              </a:cxn>
              <a:cxn ang="0">
                <a:pos x="connsiteX10120" y="connsiteY10120"/>
              </a:cxn>
              <a:cxn ang="0">
                <a:pos x="connsiteX10121" y="connsiteY10121"/>
              </a:cxn>
              <a:cxn ang="0">
                <a:pos x="connsiteX10122" y="connsiteY10122"/>
              </a:cxn>
              <a:cxn ang="0">
                <a:pos x="connsiteX10123" y="connsiteY10123"/>
              </a:cxn>
              <a:cxn ang="0">
                <a:pos x="connsiteX10124" y="connsiteY10124"/>
              </a:cxn>
              <a:cxn ang="0">
                <a:pos x="connsiteX10125" y="connsiteY10125"/>
              </a:cxn>
              <a:cxn ang="0">
                <a:pos x="connsiteX10126" y="connsiteY10126"/>
              </a:cxn>
              <a:cxn ang="0">
                <a:pos x="connsiteX10127" y="connsiteY10127"/>
              </a:cxn>
              <a:cxn ang="0">
                <a:pos x="connsiteX10128" y="connsiteY10128"/>
              </a:cxn>
              <a:cxn ang="0">
                <a:pos x="connsiteX10129" y="connsiteY10129"/>
              </a:cxn>
              <a:cxn ang="0">
                <a:pos x="connsiteX10130" y="connsiteY10130"/>
              </a:cxn>
              <a:cxn ang="0">
                <a:pos x="connsiteX10131" y="connsiteY10131"/>
              </a:cxn>
              <a:cxn ang="0">
                <a:pos x="connsiteX10132" y="connsiteY10132"/>
              </a:cxn>
              <a:cxn ang="0">
                <a:pos x="connsiteX10133" y="connsiteY10133"/>
              </a:cxn>
              <a:cxn ang="0">
                <a:pos x="connsiteX10134" y="connsiteY10134"/>
              </a:cxn>
              <a:cxn ang="0">
                <a:pos x="connsiteX10135" y="connsiteY10135"/>
              </a:cxn>
              <a:cxn ang="0">
                <a:pos x="connsiteX10136" y="connsiteY10136"/>
              </a:cxn>
              <a:cxn ang="0">
                <a:pos x="connsiteX10137" y="connsiteY10137"/>
              </a:cxn>
              <a:cxn ang="0">
                <a:pos x="connsiteX10138" y="connsiteY10138"/>
              </a:cxn>
              <a:cxn ang="0">
                <a:pos x="connsiteX10139" y="connsiteY10139"/>
              </a:cxn>
              <a:cxn ang="0">
                <a:pos x="connsiteX10140" y="connsiteY10140"/>
              </a:cxn>
              <a:cxn ang="0">
                <a:pos x="connsiteX10141" y="connsiteY10141"/>
              </a:cxn>
              <a:cxn ang="0">
                <a:pos x="connsiteX10142" y="connsiteY10142"/>
              </a:cxn>
              <a:cxn ang="0">
                <a:pos x="connsiteX10143" y="connsiteY10143"/>
              </a:cxn>
              <a:cxn ang="0">
                <a:pos x="connsiteX10144" y="connsiteY10144"/>
              </a:cxn>
              <a:cxn ang="0">
                <a:pos x="connsiteX10145" y="connsiteY10145"/>
              </a:cxn>
              <a:cxn ang="0">
                <a:pos x="connsiteX10146" y="connsiteY10146"/>
              </a:cxn>
              <a:cxn ang="0">
                <a:pos x="connsiteX10147" y="connsiteY10147"/>
              </a:cxn>
              <a:cxn ang="0">
                <a:pos x="connsiteX10148" y="connsiteY10148"/>
              </a:cxn>
              <a:cxn ang="0">
                <a:pos x="connsiteX10149" y="connsiteY10149"/>
              </a:cxn>
              <a:cxn ang="0">
                <a:pos x="connsiteX10150" y="connsiteY10150"/>
              </a:cxn>
              <a:cxn ang="0">
                <a:pos x="connsiteX10151" y="connsiteY10151"/>
              </a:cxn>
              <a:cxn ang="0">
                <a:pos x="connsiteX10152" y="connsiteY10152"/>
              </a:cxn>
              <a:cxn ang="0">
                <a:pos x="connsiteX10153" y="connsiteY10153"/>
              </a:cxn>
              <a:cxn ang="0">
                <a:pos x="connsiteX10154" y="connsiteY10154"/>
              </a:cxn>
              <a:cxn ang="0">
                <a:pos x="connsiteX10155" y="connsiteY10155"/>
              </a:cxn>
              <a:cxn ang="0">
                <a:pos x="connsiteX10156" y="connsiteY10156"/>
              </a:cxn>
              <a:cxn ang="0">
                <a:pos x="connsiteX10157" y="connsiteY10157"/>
              </a:cxn>
              <a:cxn ang="0">
                <a:pos x="connsiteX10158" y="connsiteY10158"/>
              </a:cxn>
              <a:cxn ang="0">
                <a:pos x="connsiteX10159" y="connsiteY10159"/>
              </a:cxn>
              <a:cxn ang="0">
                <a:pos x="connsiteX10160" y="connsiteY10160"/>
              </a:cxn>
              <a:cxn ang="0">
                <a:pos x="connsiteX10161" y="connsiteY10161"/>
              </a:cxn>
              <a:cxn ang="0">
                <a:pos x="connsiteX10162" y="connsiteY10162"/>
              </a:cxn>
              <a:cxn ang="0">
                <a:pos x="connsiteX10163" y="connsiteY10163"/>
              </a:cxn>
              <a:cxn ang="0">
                <a:pos x="connsiteX10164" y="connsiteY10164"/>
              </a:cxn>
              <a:cxn ang="0">
                <a:pos x="connsiteX10165" y="connsiteY10165"/>
              </a:cxn>
              <a:cxn ang="0">
                <a:pos x="connsiteX10166" y="connsiteY10166"/>
              </a:cxn>
              <a:cxn ang="0">
                <a:pos x="connsiteX10167" y="connsiteY10167"/>
              </a:cxn>
              <a:cxn ang="0">
                <a:pos x="connsiteX10168" y="connsiteY10168"/>
              </a:cxn>
              <a:cxn ang="0">
                <a:pos x="connsiteX10169" y="connsiteY10169"/>
              </a:cxn>
              <a:cxn ang="0">
                <a:pos x="connsiteX10170" y="connsiteY10170"/>
              </a:cxn>
              <a:cxn ang="0">
                <a:pos x="connsiteX10171" y="connsiteY10171"/>
              </a:cxn>
              <a:cxn ang="0">
                <a:pos x="connsiteX10172" y="connsiteY10172"/>
              </a:cxn>
              <a:cxn ang="0">
                <a:pos x="connsiteX10173" y="connsiteY10173"/>
              </a:cxn>
              <a:cxn ang="0">
                <a:pos x="connsiteX10174" y="connsiteY10174"/>
              </a:cxn>
              <a:cxn ang="0">
                <a:pos x="connsiteX10175" y="connsiteY10175"/>
              </a:cxn>
              <a:cxn ang="0">
                <a:pos x="connsiteX10176" y="connsiteY10176"/>
              </a:cxn>
              <a:cxn ang="0">
                <a:pos x="connsiteX10177" y="connsiteY10177"/>
              </a:cxn>
              <a:cxn ang="0">
                <a:pos x="connsiteX10178" y="connsiteY10178"/>
              </a:cxn>
              <a:cxn ang="0">
                <a:pos x="connsiteX10179" y="connsiteY10179"/>
              </a:cxn>
              <a:cxn ang="0">
                <a:pos x="connsiteX10180" y="connsiteY10180"/>
              </a:cxn>
              <a:cxn ang="0">
                <a:pos x="connsiteX10181" y="connsiteY10181"/>
              </a:cxn>
              <a:cxn ang="0">
                <a:pos x="connsiteX10182" y="connsiteY10182"/>
              </a:cxn>
              <a:cxn ang="0">
                <a:pos x="connsiteX10183" y="connsiteY10183"/>
              </a:cxn>
              <a:cxn ang="0">
                <a:pos x="connsiteX10184" y="connsiteY10184"/>
              </a:cxn>
              <a:cxn ang="0">
                <a:pos x="connsiteX10185" y="connsiteY10185"/>
              </a:cxn>
              <a:cxn ang="0">
                <a:pos x="connsiteX10186" y="connsiteY10186"/>
              </a:cxn>
              <a:cxn ang="0">
                <a:pos x="connsiteX10187" y="connsiteY10187"/>
              </a:cxn>
              <a:cxn ang="0">
                <a:pos x="connsiteX10188" y="connsiteY10188"/>
              </a:cxn>
              <a:cxn ang="0">
                <a:pos x="connsiteX10189" y="connsiteY10189"/>
              </a:cxn>
              <a:cxn ang="0">
                <a:pos x="connsiteX10190" y="connsiteY10190"/>
              </a:cxn>
              <a:cxn ang="0">
                <a:pos x="connsiteX10191" y="connsiteY10191"/>
              </a:cxn>
              <a:cxn ang="0">
                <a:pos x="connsiteX10192" y="connsiteY10192"/>
              </a:cxn>
              <a:cxn ang="0">
                <a:pos x="connsiteX10193" y="connsiteY10193"/>
              </a:cxn>
              <a:cxn ang="0">
                <a:pos x="connsiteX10194" y="connsiteY10194"/>
              </a:cxn>
              <a:cxn ang="0">
                <a:pos x="connsiteX10195" y="connsiteY10195"/>
              </a:cxn>
              <a:cxn ang="0">
                <a:pos x="connsiteX10196" y="connsiteY10196"/>
              </a:cxn>
              <a:cxn ang="0">
                <a:pos x="connsiteX10197" y="connsiteY10197"/>
              </a:cxn>
              <a:cxn ang="0">
                <a:pos x="connsiteX10198" y="connsiteY10198"/>
              </a:cxn>
              <a:cxn ang="0">
                <a:pos x="connsiteX10199" y="connsiteY10199"/>
              </a:cxn>
              <a:cxn ang="0">
                <a:pos x="connsiteX10200" y="connsiteY10200"/>
              </a:cxn>
              <a:cxn ang="0">
                <a:pos x="connsiteX10201" y="connsiteY10201"/>
              </a:cxn>
              <a:cxn ang="0">
                <a:pos x="connsiteX10202" y="connsiteY10202"/>
              </a:cxn>
              <a:cxn ang="0">
                <a:pos x="connsiteX10203" y="connsiteY10203"/>
              </a:cxn>
              <a:cxn ang="0">
                <a:pos x="connsiteX10204" y="connsiteY10204"/>
              </a:cxn>
              <a:cxn ang="0">
                <a:pos x="connsiteX10205" y="connsiteY10205"/>
              </a:cxn>
              <a:cxn ang="0">
                <a:pos x="connsiteX10206" y="connsiteY10206"/>
              </a:cxn>
              <a:cxn ang="0">
                <a:pos x="connsiteX10207" y="connsiteY10207"/>
              </a:cxn>
              <a:cxn ang="0">
                <a:pos x="connsiteX10208" y="connsiteY10208"/>
              </a:cxn>
              <a:cxn ang="0">
                <a:pos x="connsiteX10209" y="connsiteY10209"/>
              </a:cxn>
              <a:cxn ang="0">
                <a:pos x="connsiteX10210" y="connsiteY10210"/>
              </a:cxn>
              <a:cxn ang="0">
                <a:pos x="connsiteX10211" y="connsiteY10211"/>
              </a:cxn>
              <a:cxn ang="0">
                <a:pos x="connsiteX10212" y="connsiteY10212"/>
              </a:cxn>
              <a:cxn ang="0">
                <a:pos x="connsiteX10213" y="connsiteY10213"/>
              </a:cxn>
              <a:cxn ang="0">
                <a:pos x="connsiteX10214" y="connsiteY10214"/>
              </a:cxn>
              <a:cxn ang="0">
                <a:pos x="connsiteX10215" y="connsiteY10215"/>
              </a:cxn>
              <a:cxn ang="0">
                <a:pos x="connsiteX10216" y="connsiteY10216"/>
              </a:cxn>
              <a:cxn ang="0">
                <a:pos x="connsiteX10217" y="connsiteY10217"/>
              </a:cxn>
              <a:cxn ang="0">
                <a:pos x="connsiteX10218" y="connsiteY10218"/>
              </a:cxn>
              <a:cxn ang="0">
                <a:pos x="connsiteX10219" y="connsiteY10219"/>
              </a:cxn>
              <a:cxn ang="0">
                <a:pos x="connsiteX10220" y="connsiteY10220"/>
              </a:cxn>
              <a:cxn ang="0">
                <a:pos x="connsiteX10221" y="connsiteY10221"/>
              </a:cxn>
              <a:cxn ang="0">
                <a:pos x="connsiteX10222" y="connsiteY10222"/>
              </a:cxn>
              <a:cxn ang="0">
                <a:pos x="connsiteX10223" y="connsiteY10223"/>
              </a:cxn>
              <a:cxn ang="0">
                <a:pos x="connsiteX10224" y="connsiteY10224"/>
              </a:cxn>
              <a:cxn ang="0">
                <a:pos x="connsiteX10225" y="connsiteY10225"/>
              </a:cxn>
              <a:cxn ang="0">
                <a:pos x="connsiteX10226" y="connsiteY10226"/>
              </a:cxn>
              <a:cxn ang="0">
                <a:pos x="connsiteX10227" y="connsiteY10227"/>
              </a:cxn>
              <a:cxn ang="0">
                <a:pos x="connsiteX10228" y="connsiteY10228"/>
              </a:cxn>
              <a:cxn ang="0">
                <a:pos x="connsiteX10229" y="connsiteY10229"/>
              </a:cxn>
              <a:cxn ang="0">
                <a:pos x="connsiteX10230" y="connsiteY10230"/>
              </a:cxn>
              <a:cxn ang="0">
                <a:pos x="connsiteX10231" y="connsiteY10231"/>
              </a:cxn>
              <a:cxn ang="0">
                <a:pos x="connsiteX10232" y="connsiteY10232"/>
              </a:cxn>
              <a:cxn ang="0">
                <a:pos x="connsiteX10233" y="connsiteY10233"/>
              </a:cxn>
              <a:cxn ang="0">
                <a:pos x="connsiteX10234" y="connsiteY10234"/>
              </a:cxn>
              <a:cxn ang="0">
                <a:pos x="connsiteX10235" y="connsiteY10235"/>
              </a:cxn>
              <a:cxn ang="0">
                <a:pos x="connsiteX10236" y="connsiteY10236"/>
              </a:cxn>
              <a:cxn ang="0">
                <a:pos x="connsiteX10237" y="connsiteY10237"/>
              </a:cxn>
              <a:cxn ang="0">
                <a:pos x="connsiteX10238" y="connsiteY10238"/>
              </a:cxn>
              <a:cxn ang="0">
                <a:pos x="connsiteX10239" y="connsiteY10239"/>
              </a:cxn>
              <a:cxn ang="0">
                <a:pos x="connsiteX10240" y="connsiteY10240"/>
              </a:cxn>
              <a:cxn ang="0">
                <a:pos x="connsiteX10241" y="connsiteY10241"/>
              </a:cxn>
              <a:cxn ang="0">
                <a:pos x="connsiteX10242" y="connsiteY10242"/>
              </a:cxn>
              <a:cxn ang="0">
                <a:pos x="connsiteX10243" y="connsiteY10243"/>
              </a:cxn>
              <a:cxn ang="0">
                <a:pos x="connsiteX10244" y="connsiteY10244"/>
              </a:cxn>
              <a:cxn ang="0">
                <a:pos x="connsiteX10245" y="connsiteY10245"/>
              </a:cxn>
              <a:cxn ang="0">
                <a:pos x="connsiteX10246" y="connsiteY10246"/>
              </a:cxn>
              <a:cxn ang="0">
                <a:pos x="connsiteX10247" y="connsiteY10247"/>
              </a:cxn>
              <a:cxn ang="0">
                <a:pos x="connsiteX10248" y="connsiteY10248"/>
              </a:cxn>
              <a:cxn ang="0">
                <a:pos x="connsiteX10249" y="connsiteY10249"/>
              </a:cxn>
              <a:cxn ang="0">
                <a:pos x="connsiteX10250" y="connsiteY10250"/>
              </a:cxn>
              <a:cxn ang="0">
                <a:pos x="connsiteX10251" y="connsiteY10251"/>
              </a:cxn>
              <a:cxn ang="0">
                <a:pos x="connsiteX10252" y="connsiteY10252"/>
              </a:cxn>
              <a:cxn ang="0">
                <a:pos x="connsiteX10253" y="connsiteY10253"/>
              </a:cxn>
              <a:cxn ang="0">
                <a:pos x="connsiteX10254" y="connsiteY10254"/>
              </a:cxn>
              <a:cxn ang="0">
                <a:pos x="connsiteX10255" y="connsiteY10255"/>
              </a:cxn>
              <a:cxn ang="0">
                <a:pos x="connsiteX10256" y="connsiteY10256"/>
              </a:cxn>
              <a:cxn ang="0">
                <a:pos x="connsiteX10257" y="connsiteY10257"/>
              </a:cxn>
              <a:cxn ang="0">
                <a:pos x="connsiteX10258" y="connsiteY10258"/>
              </a:cxn>
              <a:cxn ang="0">
                <a:pos x="connsiteX10259" y="connsiteY10259"/>
              </a:cxn>
              <a:cxn ang="0">
                <a:pos x="connsiteX10260" y="connsiteY10260"/>
              </a:cxn>
              <a:cxn ang="0">
                <a:pos x="connsiteX10261" y="connsiteY10261"/>
              </a:cxn>
              <a:cxn ang="0">
                <a:pos x="connsiteX10262" y="connsiteY10262"/>
              </a:cxn>
              <a:cxn ang="0">
                <a:pos x="connsiteX10263" y="connsiteY10263"/>
              </a:cxn>
              <a:cxn ang="0">
                <a:pos x="connsiteX10264" y="connsiteY10264"/>
              </a:cxn>
              <a:cxn ang="0">
                <a:pos x="connsiteX10265" y="connsiteY10265"/>
              </a:cxn>
              <a:cxn ang="0">
                <a:pos x="connsiteX10266" y="connsiteY10266"/>
              </a:cxn>
              <a:cxn ang="0">
                <a:pos x="connsiteX10267" y="connsiteY10267"/>
              </a:cxn>
              <a:cxn ang="0">
                <a:pos x="connsiteX10268" y="connsiteY10268"/>
              </a:cxn>
              <a:cxn ang="0">
                <a:pos x="connsiteX10269" y="connsiteY10269"/>
              </a:cxn>
              <a:cxn ang="0">
                <a:pos x="connsiteX10270" y="connsiteY10270"/>
              </a:cxn>
              <a:cxn ang="0">
                <a:pos x="connsiteX10271" y="connsiteY10271"/>
              </a:cxn>
              <a:cxn ang="0">
                <a:pos x="connsiteX10272" y="connsiteY10272"/>
              </a:cxn>
              <a:cxn ang="0">
                <a:pos x="connsiteX10273" y="connsiteY10273"/>
              </a:cxn>
              <a:cxn ang="0">
                <a:pos x="connsiteX10274" y="connsiteY10274"/>
              </a:cxn>
              <a:cxn ang="0">
                <a:pos x="connsiteX10275" y="connsiteY10275"/>
              </a:cxn>
              <a:cxn ang="0">
                <a:pos x="connsiteX10276" y="connsiteY10276"/>
              </a:cxn>
              <a:cxn ang="0">
                <a:pos x="connsiteX10277" y="connsiteY10277"/>
              </a:cxn>
              <a:cxn ang="0">
                <a:pos x="connsiteX10278" y="connsiteY10278"/>
              </a:cxn>
              <a:cxn ang="0">
                <a:pos x="connsiteX10279" y="connsiteY10279"/>
              </a:cxn>
              <a:cxn ang="0">
                <a:pos x="connsiteX10280" y="connsiteY10280"/>
              </a:cxn>
              <a:cxn ang="0">
                <a:pos x="connsiteX10281" y="connsiteY10281"/>
              </a:cxn>
              <a:cxn ang="0">
                <a:pos x="connsiteX10282" y="connsiteY10282"/>
              </a:cxn>
              <a:cxn ang="0">
                <a:pos x="connsiteX10283" y="connsiteY10283"/>
              </a:cxn>
              <a:cxn ang="0">
                <a:pos x="connsiteX10284" y="connsiteY10284"/>
              </a:cxn>
              <a:cxn ang="0">
                <a:pos x="connsiteX10285" y="connsiteY10285"/>
              </a:cxn>
              <a:cxn ang="0">
                <a:pos x="connsiteX10286" y="connsiteY10286"/>
              </a:cxn>
              <a:cxn ang="0">
                <a:pos x="connsiteX10287" y="connsiteY10287"/>
              </a:cxn>
              <a:cxn ang="0">
                <a:pos x="connsiteX10288" y="connsiteY10288"/>
              </a:cxn>
              <a:cxn ang="0">
                <a:pos x="connsiteX10289" y="connsiteY10289"/>
              </a:cxn>
              <a:cxn ang="0">
                <a:pos x="connsiteX10290" y="connsiteY10290"/>
              </a:cxn>
              <a:cxn ang="0">
                <a:pos x="connsiteX10291" y="connsiteY10291"/>
              </a:cxn>
              <a:cxn ang="0">
                <a:pos x="connsiteX10292" y="connsiteY10292"/>
              </a:cxn>
              <a:cxn ang="0">
                <a:pos x="connsiteX10293" y="connsiteY10293"/>
              </a:cxn>
              <a:cxn ang="0">
                <a:pos x="connsiteX10294" y="connsiteY10294"/>
              </a:cxn>
              <a:cxn ang="0">
                <a:pos x="connsiteX10295" y="connsiteY10295"/>
              </a:cxn>
              <a:cxn ang="0">
                <a:pos x="connsiteX10296" y="connsiteY10296"/>
              </a:cxn>
              <a:cxn ang="0">
                <a:pos x="connsiteX10297" y="connsiteY10297"/>
              </a:cxn>
              <a:cxn ang="0">
                <a:pos x="connsiteX10298" y="connsiteY10298"/>
              </a:cxn>
              <a:cxn ang="0">
                <a:pos x="connsiteX10299" y="connsiteY10299"/>
              </a:cxn>
              <a:cxn ang="0">
                <a:pos x="connsiteX10300" y="connsiteY10300"/>
              </a:cxn>
              <a:cxn ang="0">
                <a:pos x="connsiteX10301" y="connsiteY10301"/>
              </a:cxn>
              <a:cxn ang="0">
                <a:pos x="connsiteX10302" y="connsiteY10302"/>
              </a:cxn>
              <a:cxn ang="0">
                <a:pos x="connsiteX10303" y="connsiteY10303"/>
              </a:cxn>
              <a:cxn ang="0">
                <a:pos x="connsiteX10304" y="connsiteY10304"/>
              </a:cxn>
              <a:cxn ang="0">
                <a:pos x="connsiteX10305" y="connsiteY10305"/>
              </a:cxn>
              <a:cxn ang="0">
                <a:pos x="connsiteX10306" y="connsiteY10306"/>
              </a:cxn>
              <a:cxn ang="0">
                <a:pos x="connsiteX10307" y="connsiteY10307"/>
              </a:cxn>
              <a:cxn ang="0">
                <a:pos x="connsiteX10308" y="connsiteY10308"/>
              </a:cxn>
              <a:cxn ang="0">
                <a:pos x="connsiteX10309" y="connsiteY10309"/>
              </a:cxn>
              <a:cxn ang="0">
                <a:pos x="connsiteX10310" y="connsiteY10310"/>
              </a:cxn>
              <a:cxn ang="0">
                <a:pos x="connsiteX10311" y="connsiteY10311"/>
              </a:cxn>
              <a:cxn ang="0">
                <a:pos x="connsiteX10312" y="connsiteY10312"/>
              </a:cxn>
              <a:cxn ang="0">
                <a:pos x="connsiteX10313" y="connsiteY10313"/>
              </a:cxn>
              <a:cxn ang="0">
                <a:pos x="connsiteX10314" y="connsiteY10314"/>
              </a:cxn>
              <a:cxn ang="0">
                <a:pos x="connsiteX10315" y="connsiteY10315"/>
              </a:cxn>
              <a:cxn ang="0">
                <a:pos x="connsiteX10316" y="connsiteY10316"/>
              </a:cxn>
              <a:cxn ang="0">
                <a:pos x="connsiteX10317" y="connsiteY10317"/>
              </a:cxn>
              <a:cxn ang="0">
                <a:pos x="connsiteX10318" y="connsiteY10318"/>
              </a:cxn>
              <a:cxn ang="0">
                <a:pos x="connsiteX10319" y="connsiteY10319"/>
              </a:cxn>
              <a:cxn ang="0">
                <a:pos x="connsiteX10320" y="connsiteY10320"/>
              </a:cxn>
              <a:cxn ang="0">
                <a:pos x="connsiteX10321" y="connsiteY10321"/>
              </a:cxn>
              <a:cxn ang="0">
                <a:pos x="connsiteX10322" y="connsiteY10322"/>
              </a:cxn>
              <a:cxn ang="0">
                <a:pos x="connsiteX10323" y="connsiteY10323"/>
              </a:cxn>
              <a:cxn ang="0">
                <a:pos x="connsiteX10324" y="connsiteY10324"/>
              </a:cxn>
              <a:cxn ang="0">
                <a:pos x="connsiteX10325" y="connsiteY10325"/>
              </a:cxn>
              <a:cxn ang="0">
                <a:pos x="connsiteX10326" y="connsiteY10326"/>
              </a:cxn>
              <a:cxn ang="0">
                <a:pos x="connsiteX10327" y="connsiteY10327"/>
              </a:cxn>
              <a:cxn ang="0">
                <a:pos x="connsiteX10328" y="connsiteY10328"/>
              </a:cxn>
              <a:cxn ang="0">
                <a:pos x="connsiteX10329" y="connsiteY10329"/>
              </a:cxn>
              <a:cxn ang="0">
                <a:pos x="connsiteX10330" y="connsiteY10330"/>
              </a:cxn>
              <a:cxn ang="0">
                <a:pos x="connsiteX10331" y="connsiteY10331"/>
              </a:cxn>
              <a:cxn ang="0">
                <a:pos x="connsiteX10332" y="connsiteY10332"/>
              </a:cxn>
              <a:cxn ang="0">
                <a:pos x="connsiteX10333" y="connsiteY10333"/>
              </a:cxn>
              <a:cxn ang="0">
                <a:pos x="connsiteX10334" y="connsiteY10334"/>
              </a:cxn>
              <a:cxn ang="0">
                <a:pos x="connsiteX10335" y="connsiteY10335"/>
              </a:cxn>
              <a:cxn ang="0">
                <a:pos x="connsiteX10336" y="connsiteY10336"/>
              </a:cxn>
              <a:cxn ang="0">
                <a:pos x="connsiteX10337" y="connsiteY10337"/>
              </a:cxn>
              <a:cxn ang="0">
                <a:pos x="connsiteX10338" y="connsiteY10338"/>
              </a:cxn>
              <a:cxn ang="0">
                <a:pos x="connsiteX10339" y="connsiteY10339"/>
              </a:cxn>
              <a:cxn ang="0">
                <a:pos x="connsiteX10340" y="connsiteY10340"/>
              </a:cxn>
              <a:cxn ang="0">
                <a:pos x="connsiteX10341" y="connsiteY10341"/>
              </a:cxn>
              <a:cxn ang="0">
                <a:pos x="connsiteX10342" y="connsiteY10342"/>
              </a:cxn>
              <a:cxn ang="0">
                <a:pos x="connsiteX10343" y="connsiteY10343"/>
              </a:cxn>
              <a:cxn ang="0">
                <a:pos x="connsiteX10344" y="connsiteY10344"/>
              </a:cxn>
              <a:cxn ang="0">
                <a:pos x="connsiteX10345" y="connsiteY10345"/>
              </a:cxn>
              <a:cxn ang="0">
                <a:pos x="connsiteX10346" y="connsiteY10346"/>
              </a:cxn>
              <a:cxn ang="0">
                <a:pos x="connsiteX10347" y="connsiteY10347"/>
              </a:cxn>
              <a:cxn ang="0">
                <a:pos x="connsiteX10348" y="connsiteY10348"/>
              </a:cxn>
              <a:cxn ang="0">
                <a:pos x="connsiteX10349" y="connsiteY10349"/>
              </a:cxn>
              <a:cxn ang="0">
                <a:pos x="connsiteX10350" y="connsiteY10350"/>
              </a:cxn>
              <a:cxn ang="0">
                <a:pos x="connsiteX10351" y="connsiteY10351"/>
              </a:cxn>
              <a:cxn ang="0">
                <a:pos x="connsiteX10352" y="connsiteY10352"/>
              </a:cxn>
              <a:cxn ang="0">
                <a:pos x="connsiteX10353" y="connsiteY10353"/>
              </a:cxn>
              <a:cxn ang="0">
                <a:pos x="connsiteX10354" y="connsiteY10354"/>
              </a:cxn>
              <a:cxn ang="0">
                <a:pos x="connsiteX10355" y="connsiteY10355"/>
              </a:cxn>
              <a:cxn ang="0">
                <a:pos x="connsiteX10356" y="connsiteY10356"/>
              </a:cxn>
              <a:cxn ang="0">
                <a:pos x="connsiteX10357" y="connsiteY10357"/>
              </a:cxn>
              <a:cxn ang="0">
                <a:pos x="connsiteX10358" y="connsiteY10358"/>
              </a:cxn>
              <a:cxn ang="0">
                <a:pos x="connsiteX10359" y="connsiteY10359"/>
              </a:cxn>
              <a:cxn ang="0">
                <a:pos x="connsiteX10360" y="connsiteY10360"/>
              </a:cxn>
              <a:cxn ang="0">
                <a:pos x="connsiteX10361" y="connsiteY10361"/>
              </a:cxn>
              <a:cxn ang="0">
                <a:pos x="connsiteX10362" y="connsiteY10362"/>
              </a:cxn>
              <a:cxn ang="0">
                <a:pos x="connsiteX10363" y="connsiteY10363"/>
              </a:cxn>
              <a:cxn ang="0">
                <a:pos x="connsiteX10364" y="connsiteY10364"/>
              </a:cxn>
              <a:cxn ang="0">
                <a:pos x="connsiteX10365" y="connsiteY10365"/>
              </a:cxn>
              <a:cxn ang="0">
                <a:pos x="connsiteX10366" y="connsiteY10366"/>
              </a:cxn>
              <a:cxn ang="0">
                <a:pos x="connsiteX10367" y="connsiteY10367"/>
              </a:cxn>
              <a:cxn ang="0">
                <a:pos x="connsiteX10368" y="connsiteY10368"/>
              </a:cxn>
              <a:cxn ang="0">
                <a:pos x="connsiteX10369" y="connsiteY10369"/>
              </a:cxn>
              <a:cxn ang="0">
                <a:pos x="connsiteX10370" y="connsiteY10370"/>
              </a:cxn>
              <a:cxn ang="0">
                <a:pos x="connsiteX10371" y="connsiteY10371"/>
              </a:cxn>
              <a:cxn ang="0">
                <a:pos x="connsiteX10372" y="connsiteY10372"/>
              </a:cxn>
              <a:cxn ang="0">
                <a:pos x="connsiteX10373" y="connsiteY10373"/>
              </a:cxn>
              <a:cxn ang="0">
                <a:pos x="connsiteX10374" y="connsiteY10374"/>
              </a:cxn>
              <a:cxn ang="0">
                <a:pos x="connsiteX10375" y="connsiteY10375"/>
              </a:cxn>
              <a:cxn ang="0">
                <a:pos x="connsiteX10376" y="connsiteY10376"/>
              </a:cxn>
              <a:cxn ang="0">
                <a:pos x="connsiteX10377" y="connsiteY10377"/>
              </a:cxn>
              <a:cxn ang="0">
                <a:pos x="connsiteX10378" y="connsiteY10378"/>
              </a:cxn>
              <a:cxn ang="0">
                <a:pos x="connsiteX10379" y="connsiteY10379"/>
              </a:cxn>
              <a:cxn ang="0">
                <a:pos x="connsiteX10380" y="connsiteY10380"/>
              </a:cxn>
              <a:cxn ang="0">
                <a:pos x="connsiteX10381" y="connsiteY10381"/>
              </a:cxn>
              <a:cxn ang="0">
                <a:pos x="connsiteX10382" y="connsiteY10382"/>
              </a:cxn>
              <a:cxn ang="0">
                <a:pos x="connsiteX10383" y="connsiteY10383"/>
              </a:cxn>
              <a:cxn ang="0">
                <a:pos x="connsiteX10384" y="connsiteY10384"/>
              </a:cxn>
              <a:cxn ang="0">
                <a:pos x="connsiteX10385" y="connsiteY10385"/>
              </a:cxn>
              <a:cxn ang="0">
                <a:pos x="connsiteX10386" y="connsiteY10386"/>
              </a:cxn>
              <a:cxn ang="0">
                <a:pos x="connsiteX10387" y="connsiteY10387"/>
              </a:cxn>
              <a:cxn ang="0">
                <a:pos x="connsiteX10388" y="connsiteY10388"/>
              </a:cxn>
              <a:cxn ang="0">
                <a:pos x="connsiteX10389" y="connsiteY10389"/>
              </a:cxn>
              <a:cxn ang="0">
                <a:pos x="connsiteX10390" y="connsiteY10390"/>
              </a:cxn>
              <a:cxn ang="0">
                <a:pos x="connsiteX10391" y="connsiteY10391"/>
              </a:cxn>
              <a:cxn ang="0">
                <a:pos x="connsiteX10392" y="connsiteY10392"/>
              </a:cxn>
              <a:cxn ang="0">
                <a:pos x="connsiteX10393" y="connsiteY10393"/>
              </a:cxn>
              <a:cxn ang="0">
                <a:pos x="connsiteX10394" y="connsiteY10394"/>
              </a:cxn>
              <a:cxn ang="0">
                <a:pos x="connsiteX10395" y="connsiteY10395"/>
              </a:cxn>
              <a:cxn ang="0">
                <a:pos x="connsiteX10396" y="connsiteY10396"/>
              </a:cxn>
              <a:cxn ang="0">
                <a:pos x="connsiteX10397" y="connsiteY10397"/>
              </a:cxn>
              <a:cxn ang="0">
                <a:pos x="connsiteX10398" y="connsiteY10398"/>
              </a:cxn>
              <a:cxn ang="0">
                <a:pos x="connsiteX10399" y="connsiteY10399"/>
              </a:cxn>
              <a:cxn ang="0">
                <a:pos x="connsiteX10400" y="connsiteY10400"/>
              </a:cxn>
              <a:cxn ang="0">
                <a:pos x="connsiteX10401" y="connsiteY10401"/>
              </a:cxn>
              <a:cxn ang="0">
                <a:pos x="connsiteX10402" y="connsiteY10402"/>
              </a:cxn>
              <a:cxn ang="0">
                <a:pos x="connsiteX10403" y="connsiteY10403"/>
              </a:cxn>
              <a:cxn ang="0">
                <a:pos x="connsiteX10404" y="connsiteY10404"/>
              </a:cxn>
              <a:cxn ang="0">
                <a:pos x="connsiteX10405" y="connsiteY10405"/>
              </a:cxn>
              <a:cxn ang="0">
                <a:pos x="connsiteX10406" y="connsiteY10406"/>
              </a:cxn>
              <a:cxn ang="0">
                <a:pos x="connsiteX10407" y="connsiteY10407"/>
              </a:cxn>
              <a:cxn ang="0">
                <a:pos x="connsiteX10408" y="connsiteY10408"/>
              </a:cxn>
              <a:cxn ang="0">
                <a:pos x="connsiteX10409" y="connsiteY10409"/>
              </a:cxn>
              <a:cxn ang="0">
                <a:pos x="connsiteX10410" y="connsiteY10410"/>
              </a:cxn>
              <a:cxn ang="0">
                <a:pos x="connsiteX10411" y="connsiteY10411"/>
              </a:cxn>
              <a:cxn ang="0">
                <a:pos x="connsiteX10412" y="connsiteY10412"/>
              </a:cxn>
              <a:cxn ang="0">
                <a:pos x="connsiteX10413" y="connsiteY10413"/>
              </a:cxn>
              <a:cxn ang="0">
                <a:pos x="connsiteX10414" y="connsiteY10414"/>
              </a:cxn>
              <a:cxn ang="0">
                <a:pos x="connsiteX10415" y="connsiteY10415"/>
              </a:cxn>
              <a:cxn ang="0">
                <a:pos x="connsiteX10416" y="connsiteY10416"/>
              </a:cxn>
              <a:cxn ang="0">
                <a:pos x="connsiteX10417" y="connsiteY10417"/>
              </a:cxn>
              <a:cxn ang="0">
                <a:pos x="connsiteX10418" y="connsiteY10418"/>
              </a:cxn>
              <a:cxn ang="0">
                <a:pos x="connsiteX10419" y="connsiteY10419"/>
              </a:cxn>
              <a:cxn ang="0">
                <a:pos x="connsiteX10420" y="connsiteY10420"/>
              </a:cxn>
              <a:cxn ang="0">
                <a:pos x="connsiteX10421" y="connsiteY10421"/>
              </a:cxn>
              <a:cxn ang="0">
                <a:pos x="connsiteX10422" y="connsiteY10422"/>
              </a:cxn>
              <a:cxn ang="0">
                <a:pos x="connsiteX10423" y="connsiteY10423"/>
              </a:cxn>
              <a:cxn ang="0">
                <a:pos x="connsiteX10424" y="connsiteY10424"/>
              </a:cxn>
              <a:cxn ang="0">
                <a:pos x="connsiteX10425" y="connsiteY10425"/>
              </a:cxn>
              <a:cxn ang="0">
                <a:pos x="connsiteX10426" y="connsiteY10426"/>
              </a:cxn>
              <a:cxn ang="0">
                <a:pos x="connsiteX10427" y="connsiteY10427"/>
              </a:cxn>
              <a:cxn ang="0">
                <a:pos x="connsiteX10428" y="connsiteY10428"/>
              </a:cxn>
              <a:cxn ang="0">
                <a:pos x="connsiteX10429" y="connsiteY10429"/>
              </a:cxn>
              <a:cxn ang="0">
                <a:pos x="connsiteX10430" y="connsiteY10430"/>
              </a:cxn>
              <a:cxn ang="0">
                <a:pos x="connsiteX10431" y="connsiteY10431"/>
              </a:cxn>
              <a:cxn ang="0">
                <a:pos x="connsiteX10432" y="connsiteY10432"/>
              </a:cxn>
              <a:cxn ang="0">
                <a:pos x="connsiteX10433" y="connsiteY10433"/>
              </a:cxn>
              <a:cxn ang="0">
                <a:pos x="connsiteX10434" y="connsiteY10434"/>
              </a:cxn>
              <a:cxn ang="0">
                <a:pos x="connsiteX10435" y="connsiteY10435"/>
              </a:cxn>
              <a:cxn ang="0">
                <a:pos x="connsiteX10436" y="connsiteY10436"/>
              </a:cxn>
              <a:cxn ang="0">
                <a:pos x="connsiteX10437" y="connsiteY10437"/>
              </a:cxn>
              <a:cxn ang="0">
                <a:pos x="connsiteX10438" y="connsiteY10438"/>
              </a:cxn>
              <a:cxn ang="0">
                <a:pos x="connsiteX10439" y="connsiteY10439"/>
              </a:cxn>
              <a:cxn ang="0">
                <a:pos x="connsiteX10440" y="connsiteY10440"/>
              </a:cxn>
              <a:cxn ang="0">
                <a:pos x="connsiteX10441" y="connsiteY10441"/>
              </a:cxn>
              <a:cxn ang="0">
                <a:pos x="connsiteX10442" y="connsiteY10442"/>
              </a:cxn>
              <a:cxn ang="0">
                <a:pos x="connsiteX10443" y="connsiteY10443"/>
              </a:cxn>
              <a:cxn ang="0">
                <a:pos x="connsiteX10444" y="connsiteY10444"/>
              </a:cxn>
              <a:cxn ang="0">
                <a:pos x="connsiteX10445" y="connsiteY10445"/>
              </a:cxn>
              <a:cxn ang="0">
                <a:pos x="connsiteX10446" y="connsiteY10446"/>
              </a:cxn>
              <a:cxn ang="0">
                <a:pos x="connsiteX10447" y="connsiteY10447"/>
              </a:cxn>
              <a:cxn ang="0">
                <a:pos x="connsiteX10448" y="connsiteY10448"/>
              </a:cxn>
              <a:cxn ang="0">
                <a:pos x="connsiteX10449" y="connsiteY10449"/>
              </a:cxn>
              <a:cxn ang="0">
                <a:pos x="connsiteX10450" y="connsiteY10450"/>
              </a:cxn>
              <a:cxn ang="0">
                <a:pos x="connsiteX10451" y="connsiteY10451"/>
              </a:cxn>
              <a:cxn ang="0">
                <a:pos x="connsiteX10452" y="connsiteY10452"/>
              </a:cxn>
              <a:cxn ang="0">
                <a:pos x="connsiteX10453" y="connsiteY10453"/>
              </a:cxn>
              <a:cxn ang="0">
                <a:pos x="connsiteX10454" y="connsiteY10454"/>
              </a:cxn>
              <a:cxn ang="0">
                <a:pos x="connsiteX10455" y="connsiteY10455"/>
              </a:cxn>
              <a:cxn ang="0">
                <a:pos x="connsiteX10456" y="connsiteY10456"/>
              </a:cxn>
              <a:cxn ang="0">
                <a:pos x="connsiteX10457" y="connsiteY10457"/>
              </a:cxn>
              <a:cxn ang="0">
                <a:pos x="connsiteX10458" y="connsiteY10458"/>
              </a:cxn>
              <a:cxn ang="0">
                <a:pos x="connsiteX10459" y="connsiteY10459"/>
              </a:cxn>
              <a:cxn ang="0">
                <a:pos x="connsiteX10460" y="connsiteY10460"/>
              </a:cxn>
              <a:cxn ang="0">
                <a:pos x="connsiteX10461" y="connsiteY10461"/>
              </a:cxn>
              <a:cxn ang="0">
                <a:pos x="connsiteX10462" y="connsiteY10462"/>
              </a:cxn>
              <a:cxn ang="0">
                <a:pos x="connsiteX10463" y="connsiteY10463"/>
              </a:cxn>
              <a:cxn ang="0">
                <a:pos x="connsiteX10464" y="connsiteY10464"/>
              </a:cxn>
              <a:cxn ang="0">
                <a:pos x="connsiteX10465" y="connsiteY10465"/>
              </a:cxn>
              <a:cxn ang="0">
                <a:pos x="connsiteX10466" y="connsiteY10466"/>
              </a:cxn>
              <a:cxn ang="0">
                <a:pos x="connsiteX10467" y="connsiteY10467"/>
              </a:cxn>
              <a:cxn ang="0">
                <a:pos x="connsiteX10468" y="connsiteY10468"/>
              </a:cxn>
              <a:cxn ang="0">
                <a:pos x="connsiteX10469" y="connsiteY10469"/>
              </a:cxn>
              <a:cxn ang="0">
                <a:pos x="connsiteX10470" y="connsiteY10470"/>
              </a:cxn>
              <a:cxn ang="0">
                <a:pos x="connsiteX10471" y="connsiteY10471"/>
              </a:cxn>
              <a:cxn ang="0">
                <a:pos x="connsiteX10472" y="connsiteY10472"/>
              </a:cxn>
              <a:cxn ang="0">
                <a:pos x="connsiteX10473" y="connsiteY10473"/>
              </a:cxn>
              <a:cxn ang="0">
                <a:pos x="connsiteX10474" y="connsiteY10474"/>
              </a:cxn>
              <a:cxn ang="0">
                <a:pos x="connsiteX10475" y="connsiteY10475"/>
              </a:cxn>
              <a:cxn ang="0">
                <a:pos x="connsiteX10476" y="connsiteY10476"/>
              </a:cxn>
              <a:cxn ang="0">
                <a:pos x="connsiteX10477" y="connsiteY10477"/>
              </a:cxn>
              <a:cxn ang="0">
                <a:pos x="connsiteX10478" y="connsiteY10478"/>
              </a:cxn>
              <a:cxn ang="0">
                <a:pos x="connsiteX10479" y="connsiteY10479"/>
              </a:cxn>
              <a:cxn ang="0">
                <a:pos x="connsiteX10480" y="connsiteY10480"/>
              </a:cxn>
              <a:cxn ang="0">
                <a:pos x="connsiteX10481" y="connsiteY10481"/>
              </a:cxn>
              <a:cxn ang="0">
                <a:pos x="connsiteX10482" y="connsiteY10482"/>
              </a:cxn>
              <a:cxn ang="0">
                <a:pos x="connsiteX10483" y="connsiteY10483"/>
              </a:cxn>
              <a:cxn ang="0">
                <a:pos x="connsiteX10484" y="connsiteY10484"/>
              </a:cxn>
              <a:cxn ang="0">
                <a:pos x="connsiteX10485" y="connsiteY10485"/>
              </a:cxn>
              <a:cxn ang="0">
                <a:pos x="connsiteX10486" y="connsiteY10486"/>
              </a:cxn>
              <a:cxn ang="0">
                <a:pos x="connsiteX10487" y="connsiteY10487"/>
              </a:cxn>
              <a:cxn ang="0">
                <a:pos x="connsiteX10488" y="connsiteY10488"/>
              </a:cxn>
              <a:cxn ang="0">
                <a:pos x="connsiteX10489" y="connsiteY10489"/>
              </a:cxn>
              <a:cxn ang="0">
                <a:pos x="connsiteX10490" y="connsiteY10490"/>
              </a:cxn>
              <a:cxn ang="0">
                <a:pos x="connsiteX10491" y="connsiteY10491"/>
              </a:cxn>
              <a:cxn ang="0">
                <a:pos x="connsiteX10492" y="connsiteY10492"/>
              </a:cxn>
              <a:cxn ang="0">
                <a:pos x="connsiteX10493" y="connsiteY10493"/>
              </a:cxn>
              <a:cxn ang="0">
                <a:pos x="connsiteX10494" y="connsiteY10494"/>
              </a:cxn>
              <a:cxn ang="0">
                <a:pos x="connsiteX10495" y="connsiteY10495"/>
              </a:cxn>
              <a:cxn ang="0">
                <a:pos x="connsiteX10496" y="connsiteY10496"/>
              </a:cxn>
              <a:cxn ang="0">
                <a:pos x="connsiteX10497" y="connsiteY10497"/>
              </a:cxn>
              <a:cxn ang="0">
                <a:pos x="connsiteX10498" y="connsiteY10498"/>
              </a:cxn>
              <a:cxn ang="0">
                <a:pos x="connsiteX10499" y="connsiteY10499"/>
              </a:cxn>
              <a:cxn ang="0">
                <a:pos x="connsiteX10500" y="connsiteY10500"/>
              </a:cxn>
              <a:cxn ang="0">
                <a:pos x="connsiteX10501" y="connsiteY10501"/>
              </a:cxn>
              <a:cxn ang="0">
                <a:pos x="connsiteX10502" y="connsiteY10502"/>
              </a:cxn>
              <a:cxn ang="0">
                <a:pos x="connsiteX10503" y="connsiteY10503"/>
              </a:cxn>
              <a:cxn ang="0">
                <a:pos x="connsiteX10504" y="connsiteY10504"/>
              </a:cxn>
              <a:cxn ang="0">
                <a:pos x="connsiteX10505" y="connsiteY10505"/>
              </a:cxn>
              <a:cxn ang="0">
                <a:pos x="connsiteX10506" y="connsiteY10506"/>
              </a:cxn>
              <a:cxn ang="0">
                <a:pos x="connsiteX10507" y="connsiteY10507"/>
              </a:cxn>
              <a:cxn ang="0">
                <a:pos x="connsiteX10508" y="connsiteY10508"/>
              </a:cxn>
              <a:cxn ang="0">
                <a:pos x="connsiteX10509" y="connsiteY10509"/>
              </a:cxn>
              <a:cxn ang="0">
                <a:pos x="connsiteX10510" y="connsiteY10510"/>
              </a:cxn>
              <a:cxn ang="0">
                <a:pos x="connsiteX10511" y="connsiteY10511"/>
              </a:cxn>
              <a:cxn ang="0">
                <a:pos x="connsiteX10512" y="connsiteY10512"/>
              </a:cxn>
              <a:cxn ang="0">
                <a:pos x="connsiteX10513" y="connsiteY10513"/>
              </a:cxn>
              <a:cxn ang="0">
                <a:pos x="connsiteX10514" y="connsiteY10514"/>
              </a:cxn>
              <a:cxn ang="0">
                <a:pos x="connsiteX10515" y="connsiteY10515"/>
              </a:cxn>
              <a:cxn ang="0">
                <a:pos x="connsiteX10516" y="connsiteY10516"/>
              </a:cxn>
              <a:cxn ang="0">
                <a:pos x="connsiteX10517" y="connsiteY10517"/>
              </a:cxn>
              <a:cxn ang="0">
                <a:pos x="connsiteX10518" y="connsiteY10518"/>
              </a:cxn>
              <a:cxn ang="0">
                <a:pos x="connsiteX10519" y="connsiteY10519"/>
              </a:cxn>
              <a:cxn ang="0">
                <a:pos x="connsiteX10520" y="connsiteY10520"/>
              </a:cxn>
              <a:cxn ang="0">
                <a:pos x="connsiteX10521" y="connsiteY10521"/>
              </a:cxn>
              <a:cxn ang="0">
                <a:pos x="connsiteX10522" y="connsiteY10522"/>
              </a:cxn>
              <a:cxn ang="0">
                <a:pos x="connsiteX10523" y="connsiteY10523"/>
              </a:cxn>
              <a:cxn ang="0">
                <a:pos x="connsiteX10524" y="connsiteY10524"/>
              </a:cxn>
              <a:cxn ang="0">
                <a:pos x="connsiteX10525" y="connsiteY10525"/>
              </a:cxn>
              <a:cxn ang="0">
                <a:pos x="connsiteX10526" y="connsiteY10526"/>
              </a:cxn>
              <a:cxn ang="0">
                <a:pos x="connsiteX10527" y="connsiteY10527"/>
              </a:cxn>
              <a:cxn ang="0">
                <a:pos x="connsiteX10528" y="connsiteY10528"/>
              </a:cxn>
              <a:cxn ang="0">
                <a:pos x="connsiteX10529" y="connsiteY10529"/>
              </a:cxn>
              <a:cxn ang="0">
                <a:pos x="connsiteX10530" y="connsiteY10530"/>
              </a:cxn>
              <a:cxn ang="0">
                <a:pos x="connsiteX10531" y="connsiteY10531"/>
              </a:cxn>
              <a:cxn ang="0">
                <a:pos x="connsiteX10532" y="connsiteY10532"/>
              </a:cxn>
              <a:cxn ang="0">
                <a:pos x="connsiteX10533" y="connsiteY10533"/>
              </a:cxn>
              <a:cxn ang="0">
                <a:pos x="connsiteX10534" y="connsiteY10534"/>
              </a:cxn>
              <a:cxn ang="0">
                <a:pos x="connsiteX10535" y="connsiteY10535"/>
              </a:cxn>
              <a:cxn ang="0">
                <a:pos x="connsiteX10536" y="connsiteY10536"/>
              </a:cxn>
              <a:cxn ang="0">
                <a:pos x="connsiteX10537" y="connsiteY10537"/>
              </a:cxn>
              <a:cxn ang="0">
                <a:pos x="connsiteX10538" y="connsiteY10538"/>
              </a:cxn>
              <a:cxn ang="0">
                <a:pos x="connsiteX10539" y="connsiteY10539"/>
              </a:cxn>
              <a:cxn ang="0">
                <a:pos x="connsiteX10540" y="connsiteY10540"/>
              </a:cxn>
              <a:cxn ang="0">
                <a:pos x="connsiteX10541" y="connsiteY10541"/>
              </a:cxn>
              <a:cxn ang="0">
                <a:pos x="connsiteX10542" y="connsiteY10542"/>
              </a:cxn>
              <a:cxn ang="0">
                <a:pos x="connsiteX10543" y="connsiteY10543"/>
              </a:cxn>
              <a:cxn ang="0">
                <a:pos x="connsiteX10544" y="connsiteY10544"/>
              </a:cxn>
              <a:cxn ang="0">
                <a:pos x="connsiteX10545" y="connsiteY10545"/>
              </a:cxn>
              <a:cxn ang="0">
                <a:pos x="connsiteX10546" y="connsiteY10546"/>
              </a:cxn>
              <a:cxn ang="0">
                <a:pos x="connsiteX10547" y="connsiteY10547"/>
              </a:cxn>
              <a:cxn ang="0">
                <a:pos x="connsiteX10548" y="connsiteY10548"/>
              </a:cxn>
              <a:cxn ang="0">
                <a:pos x="connsiteX10549" y="connsiteY10549"/>
              </a:cxn>
              <a:cxn ang="0">
                <a:pos x="connsiteX10550" y="connsiteY10550"/>
              </a:cxn>
              <a:cxn ang="0">
                <a:pos x="connsiteX10551" y="connsiteY10551"/>
              </a:cxn>
              <a:cxn ang="0">
                <a:pos x="connsiteX10552" y="connsiteY10552"/>
              </a:cxn>
              <a:cxn ang="0">
                <a:pos x="connsiteX10553" y="connsiteY10553"/>
              </a:cxn>
              <a:cxn ang="0">
                <a:pos x="connsiteX10554" y="connsiteY10554"/>
              </a:cxn>
              <a:cxn ang="0">
                <a:pos x="connsiteX10555" y="connsiteY10555"/>
              </a:cxn>
              <a:cxn ang="0">
                <a:pos x="connsiteX10556" y="connsiteY10556"/>
              </a:cxn>
              <a:cxn ang="0">
                <a:pos x="connsiteX10557" y="connsiteY10557"/>
              </a:cxn>
              <a:cxn ang="0">
                <a:pos x="connsiteX10558" y="connsiteY10558"/>
              </a:cxn>
              <a:cxn ang="0">
                <a:pos x="connsiteX10559" y="connsiteY10559"/>
              </a:cxn>
              <a:cxn ang="0">
                <a:pos x="connsiteX10560" y="connsiteY10560"/>
              </a:cxn>
              <a:cxn ang="0">
                <a:pos x="connsiteX10561" y="connsiteY10561"/>
              </a:cxn>
              <a:cxn ang="0">
                <a:pos x="connsiteX10562" y="connsiteY10562"/>
              </a:cxn>
              <a:cxn ang="0">
                <a:pos x="connsiteX10563" y="connsiteY10563"/>
              </a:cxn>
              <a:cxn ang="0">
                <a:pos x="connsiteX10564" y="connsiteY10564"/>
              </a:cxn>
              <a:cxn ang="0">
                <a:pos x="connsiteX10565" y="connsiteY10565"/>
              </a:cxn>
              <a:cxn ang="0">
                <a:pos x="connsiteX10566" y="connsiteY10566"/>
              </a:cxn>
              <a:cxn ang="0">
                <a:pos x="connsiteX10567" y="connsiteY10567"/>
              </a:cxn>
              <a:cxn ang="0">
                <a:pos x="connsiteX10568" y="connsiteY10568"/>
              </a:cxn>
              <a:cxn ang="0">
                <a:pos x="connsiteX10569" y="connsiteY10569"/>
              </a:cxn>
              <a:cxn ang="0">
                <a:pos x="connsiteX10570" y="connsiteY10570"/>
              </a:cxn>
              <a:cxn ang="0">
                <a:pos x="connsiteX10571" y="connsiteY10571"/>
              </a:cxn>
              <a:cxn ang="0">
                <a:pos x="connsiteX10572" y="connsiteY10572"/>
              </a:cxn>
              <a:cxn ang="0">
                <a:pos x="connsiteX10573" y="connsiteY10573"/>
              </a:cxn>
              <a:cxn ang="0">
                <a:pos x="connsiteX10574" y="connsiteY10574"/>
              </a:cxn>
              <a:cxn ang="0">
                <a:pos x="connsiteX10575" y="connsiteY10575"/>
              </a:cxn>
              <a:cxn ang="0">
                <a:pos x="connsiteX10576" y="connsiteY10576"/>
              </a:cxn>
              <a:cxn ang="0">
                <a:pos x="connsiteX10577" y="connsiteY10577"/>
              </a:cxn>
              <a:cxn ang="0">
                <a:pos x="connsiteX10578" y="connsiteY10578"/>
              </a:cxn>
              <a:cxn ang="0">
                <a:pos x="connsiteX10579" y="connsiteY10579"/>
              </a:cxn>
              <a:cxn ang="0">
                <a:pos x="connsiteX10580" y="connsiteY10580"/>
              </a:cxn>
              <a:cxn ang="0">
                <a:pos x="connsiteX10581" y="connsiteY10581"/>
              </a:cxn>
              <a:cxn ang="0">
                <a:pos x="connsiteX10582" y="connsiteY10582"/>
              </a:cxn>
              <a:cxn ang="0">
                <a:pos x="connsiteX10583" y="connsiteY10583"/>
              </a:cxn>
              <a:cxn ang="0">
                <a:pos x="connsiteX10584" y="connsiteY10584"/>
              </a:cxn>
              <a:cxn ang="0">
                <a:pos x="connsiteX10585" y="connsiteY10585"/>
              </a:cxn>
              <a:cxn ang="0">
                <a:pos x="connsiteX10586" y="connsiteY10586"/>
              </a:cxn>
              <a:cxn ang="0">
                <a:pos x="connsiteX10587" y="connsiteY10587"/>
              </a:cxn>
              <a:cxn ang="0">
                <a:pos x="connsiteX10588" y="connsiteY10588"/>
              </a:cxn>
              <a:cxn ang="0">
                <a:pos x="connsiteX10589" y="connsiteY10589"/>
              </a:cxn>
              <a:cxn ang="0">
                <a:pos x="connsiteX10590" y="connsiteY10590"/>
              </a:cxn>
              <a:cxn ang="0">
                <a:pos x="connsiteX10591" y="connsiteY10591"/>
              </a:cxn>
              <a:cxn ang="0">
                <a:pos x="connsiteX10592" y="connsiteY10592"/>
              </a:cxn>
              <a:cxn ang="0">
                <a:pos x="connsiteX10593" y="connsiteY10593"/>
              </a:cxn>
              <a:cxn ang="0">
                <a:pos x="connsiteX10594" y="connsiteY10594"/>
              </a:cxn>
              <a:cxn ang="0">
                <a:pos x="connsiteX10595" y="connsiteY10595"/>
              </a:cxn>
              <a:cxn ang="0">
                <a:pos x="connsiteX10596" y="connsiteY10596"/>
              </a:cxn>
              <a:cxn ang="0">
                <a:pos x="connsiteX10597" y="connsiteY10597"/>
              </a:cxn>
              <a:cxn ang="0">
                <a:pos x="connsiteX10598" y="connsiteY10598"/>
              </a:cxn>
              <a:cxn ang="0">
                <a:pos x="connsiteX10599" y="connsiteY10599"/>
              </a:cxn>
              <a:cxn ang="0">
                <a:pos x="connsiteX10600" y="connsiteY10600"/>
              </a:cxn>
              <a:cxn ang="0">
                <a:pos x="connsiteX10601" y="connsiteY10601"/>
              </a:cxn>
              <a:cxn ang="0">
                <a:pos x="connsiteX10602" y="connsiteY10602"/>
              </a:cxn>
              <a:cxn ang="0">
                <a:pos x="connsiteX10603" y="connsiteY10603"/>
              </a:cxn>
              <a:cxn ang="0">
                <a:pos x="connsiteX10604" y="connsiteY10604"/>
              </a:cxn>
              <a:cxn ang="0">
                <a:pos x="connsiteX10605" y="connsiteY10605"/>
              </a:cxn>
              <a:cxn ang="0">
                <a:pos x="connsiteX10606" y="connsiteY10606"/>
              </a:cxn>
              <a:cxn ang="0">
                <a:pos x="connsiteX10607" y="connsiteY10607"/>
              </a:cxn>
              <a:cxn ang="0">
                <a:pos x="connsiteX10608" y="connsiteY10608"/>
              </a:cxn>
              <a:cxn ang="0">
                <a:pos x="connsiteX10609" y="connsiteY10609"/>
              </a:cxn>
              <a:cxn ang="0">
                <a:pos x="connsiteX10610" y="connsiteY10610"/>
              </a:cxn>
              <a:cxn ang="0">
                <a:pos x="connsiteX10611" y="connsiteY10611"/>
              </a:cxn>
              <a:cxn ang="0">
                <a:pos x="connsiteX10612" y="connsiteY10612"/>
              </a:cxn>
              <a:cxn ang="0">
                <a:pos x="connsiteX10613" y="connsiteY10613"/>
              </a:cxn>
              <a:cxn ang="0">
                <a:pos x="connsiteX10614" y="connsiteY10614"/>
              </a:cxn>
              <a:cxn ang="0">
                <a:pos x="connsiteX10615" y="connsiteY10615"/>
              </a:cxn>
              <a:cxn ang="0">
                <a:pos x="connsiteX10616" y="connsiteY10616"/>
              </a:cxn>
              <a:cxn ang="0">
                <a:pos x="connsiteX10617" y="connsiteY10617"/>
              </a:cxn>
              <a:cxn ang="0">
                <a:pos x="connsiteX10618" y="connsiteY10618"/>
              </a:cxn>
              <a:cxn ang="0">
                <a:pos x="connsiteX10619" y="connsiteY10619"/>
              </a:cxn>
              <a:cxn ang="0">
                <a:pos x="connsiteX10620" y="connsiteY10620"/>
              </a:cxn>
              <a:cxn ang="0">
                <a:pos x="connsiteX10621" y="connsiteY10621"/>
              </a:cxn>
              <a:cxn ang="0">
                <a:pos x="connsiteX10622" y="connsiteY10622"/>
              </a:cxn>
              <a:cxn ang="0">
                <a:pos x="connsiteX10623" y="connsiteY10623"/>
              </a:cxn>
              <a:cxn ang="0">
                <a:pos x="connsiteX10624" y="connsiteY10624"/>
              </a:cxn>
              <a:cxn ang="0">
                <a:pos x="connsiteX10625" y="connsiteY10625"/>
              </a:cxn>
              <a:cxn ang="0">
                <a:pos x="connsiteX10626" y="connsiteY10626"/>
              </a:cxn>
              <a:cxn ang="0">
                <a:pos x="connsiteX10627" y="connsiteY10627"/>
              </a:cxn>
              <a:cxn ang="0">
                <a:pos x="connsiteX10628" y="connsiteY10628"/>
              </a:cxn>
              <a:cxn ang="0">
                <a:pos x="connsiteX10629" y="connsiteY10629"/>
              </a:cxn>
              <a:cxn ang="0">
                <a:pos x="connsiteX10630" y="connsiteY10630"/>
              </a:cxn>
              <a:cxn ang="0">
                <a:pos x="connsiteX10631" y="connsiteY10631"/>
              </a:cxn>
              <a:cxn ang="0">
                <a:pos x="connsiteX10632" y="connsiteY10632"/>
              </a:cxn>
              <a:cxn ang="0">
                <a:pos x="connsiteX10633" y="connsiteY10633"/>
              </a:cxn>
              <a:cxn ang="0">
                <a:pos x="connsiteX10634" y="connsiteY10634"/>
              </a:cxn>
              <a:cxn ang="0">
                <a:pos x="connsiteX10635" y="connsiteY10635"/>
              </a:cxn>
              <a:cxn ang="0">
                <a:pos x="connsiteX10636" y="connsiteY10636"/>
              </a:cxn>
              <a:cxn ang="0">
                <a:pos x="connsiteX10637" y="connsiteY10637"/>
              </a:cxn>
              <a:cxn ang="0">
                <a:pos x="connsiteX10638" y="connsiteY10638"/>
              </a:cxn>
              <a:cxn ang="0">
                <a:pos x="connsiteX10639" y="connsiteY10639"/>
              </a:cxn>
              <a:cxn ang="0">
                <a:pos x="connsiteX10640" y="connsiteY10640"/>
              </a:cxn>
              <a:cxn ang="0">
                <a:pos x="connsiteX10641" y="connsiteY10641"/>
              </a:cxn>
              <a:cxn ang="0">
                <a:pos x="connsiteX10642" y="connsiteY10642"/>
              </a:cxn>
              <a:cxn ang="0">
                <a:pos x="connsiteX10643" y="connsiteY10643"/>
              </a:cxn>
              <a:cxn ang="0">
                <a:pos x="connsiteX10644" y="connsiteY10644"/>
              </a:cxn>
              <a:cxn ang="0">
                <a:pos x="connsiteX10645" y="connsiteY10645"/>
              </a:cxn>
              <a:cxn ang="0">
                <a:pos x="connsiteX10646" y="connsiteY10646"/>
              </a:cxn>
              <a:cxn ang="0">
                <a:pos x="connsiteX10647" y="connsiteY10647"/>
              </a:cxn>
              <a:cxn ang="0">
                <a:pos x="connsiteX10648" y="connsiteY10648"/>
              </a:cxn>
              <a:cxn ang="0">
                <a:pos x="connsiteX10649" y="connsiteY10649"/>
              </a:cxn>
              <a:cxn ang="0">
                <a:pos x="connsiteX10650" y="connsiteY10650"/>
              </a:cxn>
              <a:cxn ang="0">
                <a:pos x="connsiteX10651" y="connsiteY10651"/>
              </a:cxn>
              <a:cxn ang="0">
                <a:pos x="connsiteX10652" y="connsiteY10652"/>
              </a:cxn>
              <a:cxn ang="0">
                <a:pos x="connsiteX10653" y="connsiteY10653"/>
              </a:cxn>
              <a:cxn ang="0">
                <a:pos x="connsiteX10654" y="connsiteY10654"/>
              </a:cxn>
              <a:cxn ang="0">
                <a:pos x="connsiteX10655" y="connsiteY10655"/>
              </a:cxn>
              <a:cxn ang="0">
                <a:pos x="connsiteX10656" y="connsiteY10656"/>
              </a:cxn>
              <a:cxn ang="0">
                <a:pos x="connsiteX10657" y="connsiteY10657"/>
              </a:cxn>
              <a:cxn ang="0">
                <a:pos x="connsiteX10658" y="connsiteY10658"/>
              </a:cxn>
              <a:cxn ang="0">
                <a:pos x="connsiteX10659" y="connsiteY10659"/>
              </a:cxn>
              <a:cxn ang="0">
                <a:pos x="connsiteX10660" y="connsiteY10660"/>
              </a:cxn>
              <a:cxn ang="0">
                <a:pos x="connsiteX10661" y="connsiteY10661"/>
              </a:cxn>
              <a:cxn ang="0">
                <a:pos x="connsiteX10662" y="connsiteY10662"/>
              </a:cxn>
              <a:cxn ang="0">
                <a:pos x="connsiteX10663" y="connsiteY10663"/>
              </a:cxn>
              <a:cxn ang="0">
                <a:pos x="connsiteX10664" y="connsiteY10664"/>
              </a:cxn>
              <a:cxn ang="0">
                <a:pos x="connsiteX10665" y="connsiteY10665"/>
              </a:cxn>
              <a:cxn ang="0">
                <a:pos x="connsiteX10666" y="connsiteY10666"/>
              </a:cxn>
              <a:cxn ang="0">
                <a:pos x="connsiteX10667" y="connsiteY10667"/>
              </a:cxn>
              <a:cxn ang="0">
                <a:pos x="connsiteX10668" y="connsiteY10668"/>
              </a:cxn>
              <a:cxn ang="0">
                <a:pos x="connsiteX10669" y="connsiteY10669"/>
              </a:cxn>
              <a:cxn ang="0">
                <a:pos x="connsiteX10670" y="connsiteY10670"/>
              </a:cxn>
              <a:cxn ang="0">
                <a:pos x="connsiteX10671" y="connsiteY10671"/>
              </a:cxn>
              <a:cxn ang="0">
                <a:pos x="connsiteX10672" y="connsiteY10672"/>
              </a:cxn>
              <a:cxn ang="0">
                <a:pos x="connsiteX10673" y="connsiteY10673"/>
              </a:cxn>
              <a:cxn ang="0">
                <a:pos x="connsiteX10674" y="connsiteY10674"/>
              </a:cxn>
              <a:cxn ang="0">
                <a:pos x="connsiteX10675" y="connsiteY10675"/>
              </a:cxn>
              <a:cxn ang="0">
                <a:pos x="connsiteX10676" y="connsiteY10676"/>
              </a:cxn>
              <a:cxn ang="0">
                <a:pos x="connsiteX10677" y="connsiteY10677"/>
              </a:cxn>
              <a:cxn ang="0">
                <a:pos x="connsiteX10678" y="connsiteY10678"/>
              </a:cxn>
              <a:cxn ang="0">
                <a:pos x="connsiteX10679" y="connsiteY10679"/>
              </a:cxn>
              <a:cxn ang="0">
                <a:pos x="connsiteX10680" y="connsiteY10680"/>
              </a:cxn>
              <a:cxn ang="0">
                <a:pos x="connsiteX10681" y="connsiteY10681"/>
              </a:cxn>
              <a:cxn ang="0">
                <a:pos x="connsiteX10682" y="connsiteY10682"/>
              </a:cxn>
              <a:cxn ang="0">
                <a:pos x="connsiteX10683" y="connsiteY10683"/>
              </a:cxn>
              <a:cxn ang="0">
                <a:pos x="connsiteX10684" y="connsiteY10684"/>
              </a:cxn>
              <a:cxn ang="0">
                <a:pos x="connsiteX10685" y="connsiteY10685"/>
              </a:cxn>
              <a:cxn ang="0">
                <a:pos x="connsiteX10686" y="connsiteY10686"/>
              </a:cxn>
              <a:cxn ang="0">
                <a:pos x="connsiteX10687" y="connsiteY10687"/>
              </a:cxn>
              <a:cxn ang="0">
                <a:pos x="connsiteX10688" y="connsiteY10688"/>
              </a:cxn>
              <a:cxn ang="0">
                <a:pos x="connsiteX10689" y="connsiteY10689"/>
              </a:cxn>
              <a:cxn ang="0">
                <a:pos x="connsiteX10690" y="connsiteY10690"/>
              </a:cxn>
              <a:cxn ang="0">
                <a:pos x="connsiteX10691" y="connsiteY10691"/>
              </a:cxn>
              <a:cxn ang="0">
                <a:pos x="connsiteX10692" y="connsiteY10692"/>
              </a:cxn>
              <a:cxn ang="0">
                <a:pos x="connsiteX10693" y="connsiteY10693"/>
              </a:cxn>
              <a:cxn ang="0">
                <a:pos x="connsiteX10694" y="connsiteY10694"/>
              </a:cxn>
              <a:cxn ang="0">
                <a:pos x="connsiteX10695" y="connsiteY10695"/>
              </a:cxn>
              <a:cxn ang="0">
                <a:pos x="connsiteX10696" y="connsiteY10696"/>
              </a:cxn>
              <a:cxn ang="0">
                <a:pos x="connsiteX10697" y="connsiteY10697"/>
              </a:cxn>
              <a:cxn ang="0">
                <a:pos x="connsiteX10698" y="connsiteY10698"/>
              </a:cxn>
              <a:cxn ang="0">
                <a:pos x="connsiteX10699" y="connsiteY10699"/>
              </a:cxn>
              <a:cxn ang="0">
                <a:pos x="connsiteX10700" y="connsiteY10700"/>
              </a:cxn>
              <a:cxn ang="0">
                <a:pos x="connsiteX10701" y="connsiteY10701"/>
              </a:cxn>
              <a:cxn ang="0">
                <a:pos x="connsiteX10702" y="connsiteY10702"/>
              </a:cxn>
              <a:cxn ang="0">
                <a:pos x="connsiteX10703" y="connsiteY10703"/>
              </a:cxn>
              <a:cxn ang="0">
                <a:pos x="connsiteX10704" y="connsiteY10704"/>
              </a:cxn>
              <a:cxn ang="0">
                <a:pos x="connsiteX10705" y="connsiteY10705"/>
              </a:cxn>
              <a:cxn ang="0">
                <a:pos x="connsiteX10706" y="connsiteY10706"/>
              </a:cxn>
              <a:cxn ang="0">
                <a:pos x="connsiteX10707" y="connsiteY10707"/>
              </a:cxn>
              <a:cxn ang="0">
                <a:pos x="connsiteX10708" y="connsiteY10708"/>
              </a:cxn>
              <a:cxn ang="0">
                <a:pos x="connsiteX10709" y="connsiteY10709"/>
              </a:cxn>
              <a:cxn ang="0">
                <a:pos x="connsiteX10710" y="connsiteY10710"/>
              </a:cxn>
              <a:cxn ang="0">
                <a:pos x="connsiteX10711" y="connsiteY10711"/>
              </a:cxn>
              <a:cxn ang="0">
                <a:pos x="connsiteX10712" y="connsiteY10712"/>
              </a:cxn>
              <a:cxn ang="0">
                <a:pos x="connsiteX10713" y="connsiteY10713"/>
              </a:cxn>
              <a:cxn ang="0">
                <a:pos x="connsiteX10714" y="connsiteY10714"/>
              </a:cxn>
              <a:cxn ang="0">
                <a:pos x="connsiteX10715" y="connsiteY10715"/>
              </a:cxn>
              <a:cxn ang="0">
                <a:pos x="connsiteX10716" y="connsiteY10716"/>
              </a:cxn>
              <a:cxn ang="0">
                <a:pos x="connsiteX10717" y="connsiteY10717"/>
              </a:cxn>
              <a:cxn ang="0">
                <a:pos x="connsiteX10718" y="connsiteY10718"/>
              </a:cxn>
              <a:cxn ang="0">
                <a:pos x="connsiteX10719" y="connsiteY10719"/>
              </a:cxn>
              <a:cxn ang="0">
                <a:pos x="connsiteX10720" y="connsiteY10720"/>
              </a:cxn>
              <a:cxn ang="0">
                <a:pos x="connsiteX10721" y="connsiteY10721"/>
              </a:cxn>
              <a:cxn ang="0">
                <a:pos x="connsiteX10722" y="connsiteY10722"/>
              </a:cxn>
              <a:cxn ang="0">
                <a:pos x="connsiteX10723" y="connsiteY10723"/>
              </a:cxn>
              <a:cxn ang="0">
                <a:pos x="connsiteX10724" y="connsiteY10724"/>
              </a:cxn>
              <a:cxn ang="0">
                <a:pos x="connsiteX10725" y="connsiteY10725"/>
              </a:cxn>
              <a:cxn ang="0">
                <a:pos x="connsiteX10726" y="connsiteY10726"/>
              </a:cxn>
              <a:cxn ang="0">
                <a:pos x="connsiteX10727" y="connsiteY10727"/>
              </a:cxn>
              <a:cxn ang="0">
                <a:pos x="connsiteX10728" y="connsiteY10728"/>
              </a:cxn>
              <a:cxn ang="0">
                <a:pos x="connsiteX10729" y="connsiteY10729"/>
              </a:cxn>
              <a:cxn ang="0">
                <a:pos x="connsiteX10730" y="connsiteY10730"/>
              </a:cxn>
              <a:cxn ang="0">
                <a:pos x="connsiteX10731" y="connsiteY10731"/>
              </a:cxn>
              <a:cxn ang="0">
                <a:pos x="connsiteX10732" y="connsiteY10732"/>
              </a:cxn>
              <a:cxn ang="0">
                <a:pos x="connsiteX10733" y="connsiteY10733"/>
              </a:cxn>
              <a:cxn ang="0">
                <a:pos x="connsiteX10734" y="connsiteY10734"/>
              </a:cxn>
              <a:cxn ang="0">
                <a:pos x="connsiteX10735" y="connsiteY10735"/>
              </a:cxn>
              <a:cxn ang="0">
                <a:pos x="connsiteX10736" y="connsiteY10736"/>
              </a:cxn>
              <a:cxn ang="0">
                <a:pos x="connsiteX10737" y="connsiteY10737"/>
              </a:cxn>
              <a:cxn ang="0">
                <a:pos x="connsiteX10738" y="connsiteY10738"/>
              </a:cxn>
              <a:cxn ang="0">
                <a:pos x="connsiteX10739" y="connsiteY10739"/>
              </a:cxn>
              <a:cxn ang="0">
                <a:pos x="connsiteX10740" y="connsiteY10740"/>
              </a:cxn>
              <a:cxn ang="0">
                <a:pos x="connsiteX10741" y="connsiteY10741"/>
              </a:cxn>
              <a:cxn ang="0">
                <a:pos x="connsiteX10742" y="connsiteY10742"/>
              </a:cxn>
              <a:cxn ang="0">
                <a:pos x="connsiteX10743" y="connsiteY10743"/>
              </a:cxn>
              <a:cxn ang="0">
                <a:pos x="connsiteX10744" y="connsiteY10744"/>
              </a:cxn>
              <a:cxn ang="0">
                <a:pos x="connsiteX10745" y="connsiteY10745"/>
              </a:cxn>
              <a:cxn ang="0">
                <a:pos x="connsiteX10746" y="connsiteY10746"/>
              </a:cxn>
              <a:cxn ang="0">
                <a:pos x="connsiteX10747" y="connsiteY10747"/>
              </a:cxn>
              <a:cxn ang="0">
                <a:pos x="connsiteX10748" y="connsiteY10748"/>
              </a:cxn>
              <a:cxn ang="0">
                <a:pos x="connsiteX10749" y="connsiteY10749"/>
              </a:cxn>
              <a:cxn ang="0">
                <a:pos x="connsiteX10750" y="connsiteY10750"/>
              </a:cxn>
              <a:cxn ang="0">
                <a:pos x="connsiteX10751" y="connsiteY10751"/>
              </a:cxn>
              <a:cxn ang="0">
                <a:pos x="connsiteX10752" y="connsiteY10752"/>
              </a:cxn>
              <a:cxn ang="0">
                <a:pos x="connsiteX10753" y="connsiteY10753"/>
              </a:cxn>
              <a:cxn ang="0">
                <a:pos x="connsiteX10754" y="connsiteY10754"/>
              </a:cxn>
              <a:cxn ang="0">
                <a:pos x="connsiteX10755" y="connsiteY10755"/>
              </a:cxn>
              <a:cxn ang="0">
                <a:pos x="connsiteX10756" y="connsiteY10756"/>
              </a:cxn>
              <a:cxn ang="0">
                <a:pos x="connsiteX10757" y="connsiteY10757"/>
              </a:cxn>
              <a:cxn ang="0">
                <a:pos x="connsiteX10758" y="connsiteY10758"/>
              </a:cxn>
              <a:cxn ang="0">
                <a:pos x="connsiteX10759" y="connsiteY10759"/>
              </a:cxn>
              <a:cxn ang="0">
                <a:pos x="connsiteX10760" y="connsiteY10760"/>
              </a:cxn>
              <a:cxn ang="0">
                <a:pos x="connsiteX10761" y="connsiteY10761"/>
              </a:cxn>
              <a:cxn ang="0">
                <a:pos x="connsiteX10762" y="connsiteY10762"/>
              </a:cxn>
              <a:cxn ang="0">
                <a:pos x="connsiteX10763" y="connsiteY10763"/>
              </a:cxn>
              <a:cxn ang="0">
                <a:pos x="connsiteX10764" y="connsiteY10764"/>
              </a:cxn>
              <a:cxn ang="0">
                <a:pos x="connsiteX10765" y="connsiteY10765"/>
              </a:cxn>
              <a:cxn ang="0">
                <a:pos x="connsiteX10766" y="connsiteY10766"/>
              </a:cxn>
              <a:cxn ang="0">
                <a:pos x="connsiteX10767" y="connsiteY10767"/>
              </a:cxn>
              <a:cxn ang="0">
                <a:pos x="connsiteX10768" y="connsiteY10768"/>
              </a:cxn>
              <a:cxn ang="0">
                <a:pos x="connsiteX10769" y="connsiteY10769"/>
              </a:cxn>
              <a:cxn ang="0">
                <a:pos x="connsiteX10770" y="connsiteY10770"/>
              </a:cxn>
              <a:cxn ang="0">
                <a:pos x="connsiteX10771" y="connsiteY10771"/>
              </a:cxn>
              <a:cxn ang="0">
                <a:pos x="connsiteX10772" y="connsiteY10772"/>
              </a:cxn>
              <a:cxn ang="0">
                <a:pos x="connsiteX10773" y="connsiteY10773"/>
              </a:cxn>
              <a:cxn ang="0">
                <a:pos x="connsiteX10774" y="connsiteY10774"/>
              </a:cxn>
              <a:cxn ang="0">
                <a:pos x="connsiteX10775" y="connsiteY10775"/>
              </a:cxn>
              <a:cxn ang="0">
                <a:pos x="connsiteX10776" y="connsiteY10776"/>
              </a:cxn>
              <a:cxn ang="0">
                <a:pos x="connsiteX10777" y="connsiteY10777"/>
              </a:cxn>
              <a:cxn ang="0">
                <a:pos x="connsiteX10778" y="connsiteY10778"/>
              </a:cxn>
              <a:cxn ang="0">
                <a:pos x="connsiteX10779" y="connsiteY10779"/>
              </a:cxn>
              <a:cxn ang="0">
                <a:pos x="connsiteX10780" y="connsiteY10780"/>
              </a:cxn>
              <a:cxn ang="0">
                <a:pos x="connsiteX10781" y="connsiteY10781"/>
              </a:cxn>
              <a:cxn ang="0">
                <a:pos x="connsiteX10782" y="connsiteY10782"/>
              </a:cxn>
              <a:cxn ang="0">
                <a:pos x="connsiteX10783" y="connsiteY10783"/>
              </a:cxn>
              <a:cxn ang="0">
                <a:pos x="connsiteX10784" y="connsiteY10784"/>
              </a:cxn>
              <a:cxn ang="0">
                <a:pos x="connsiteX10785" y="connsiteY10785"/>
              </a:cxn>
              <a:cxn ang="0">
                <a:pos x="connsiteX10786" y="connsiteY10786"/>
              </a:cxn>
              <a:cxn ang="0">
                <a:pos x="connsiteX10787" y="connsiteY10787"/>
              </a:cxn>
              <a:cxn ang="0">
                <a:pos x="connsiteX10788" y="connsiteY10788"/>
              </a:cxn>
              <a:cxn ang="0">
                <a:pos x="connsiteX10789" y="connsiteY10789"/>
              </a:cxn>
              <a:cxn ang="0">
                <a:pos x="connsiteX10790" y="connsiteY10790"/>
              </a:cxn>
              <a:cxn ang="0">
                <a:pos x="connsiteX10791" y="connsiteY10791"/>
              </a:cxn>
              <a:cxn ang="0">
                <a:pos x="connsiteX10792" y="connsiteY10792"/>
              </a:cxn>
              <a:cxn ang="0">
                <a:pos x="connsiteX10793" y="connsiteY10793"/>
              </a:cxn>
              <a:cxn ang="0">
                <a:pos x="connsiteX10794" y="connsiteY10794"/>
              </a:cxn>
              <a:cxn ang="0">
                <a:pos x="connsiteX10795" y="connsiteY10795"/>
              </a:cxn>
              <a:cxn ang="0">
                <a:pos x="connsiteX10796" y="connsiteY10796"/>
              </a:cxn>
              <a:cxn ang="0">
                <a:pos x="connsiteX10797" y="connsiteY10797"/>
              </a:cxn>
              <a:cxn ang="0">
                <a:pos x="connsiteX10798" y="connsiteY10798"/>
              </a:cxn>
              <a:cxn ang="0">
                <a:pos x="connsiteX10799" y="connsiteY10799"/>
              </a:cxn>
              <a:cxn ang="0">
                <a:pos x="connsiteX10800" y="connsiteY10800"/>
              </a:cxn>
              <a:cxn ang="0">
                <a:pos x="connsiteX10801" y="connsiteY10801"/>
              </a:cxn>
              <a:cxn ang="0">
                <a:pos x="connsiteX10802" y="connsiteY10802"/>
              </a:cxn>
              <a:cxn ang="0">
                <a:pos x="connsiteX10803" y="connsiteY10803"/>
              </a:cxn>
              <a:cxn ang="0">
                <a:pos x="connsiteX10804" y="connsiteY10804"/>
              </a:cxn>
              <a:cxn ang="0">
                <a:pos x="connsiteX10805" y="connsiteY10805"/>
              </a:cxn>
              <a:cxn ang="0">
                <a:pos x="connsiteX10806" y="connsiteY10806"/>
              </a:cxn>
              <a:cxn ang="0">
                <a:pos x="connsiteX10807" y="connsiteY10807"/>
              </a:cxn>
              <a:cxn ang="0">
                <a:pos x="connsiteX10808" y="connsiteY10808"/>
              </a:cxn>
              <a:cxn ang="0">
                <a:pos x="connsiteX10809" y="connsiteY10809"/>
              </a:cxn>
              <a:cxn ang="0">
                <a:pos x="connsiteX10810" y="connsiteY10810"/>
              </a:cxn>
              <a:cxn ang="0">
                <a:pos x="connsiteX10811" y="connsiteY10811"/>
              </a:cxn>
              <a:cxn ang="0">
                <a:pos x="connsiteX10812" y="connsiteY10812"/>
              </a:cxn>
              <a:cxn ang="0">
                <a:pos x="connsiteX10813" y="connsiteY10813"/>
              </a:cxn>
              <a:cxn ang="0">
                <a:pos x="connsiteX10814" y="connsiteY10814"/>
              </a:cxn>
              <a:cxn ang="0">
                <a:pos x="connsiteX10815" y="connsiteY10815"/>
              </a:cxn>
              <a:cxn ang="0">
                <a:pos x="connsiteX10816" y="connsiteY10816"/>
              </a:cxn>
              <a:cxn ang="0">
                <a:pos x="connsiteX10817" y="connsiteY10817"/>
              </a:cxn>
              <a:cxn ang="0">
                <a:pos x="connsiteX10818" y="connsiteY10818"/>
              </a:cxn>
              <a:cxn ang="0">
                <a:pos x="connsiteX10819" y="connsiteY10819"/>
              </a:cxn>
              <a:cxn ang="0">
                <a:pos x="connsiteX10820" y="connsiteY10820"/>
              </a:cxn>
              <a:cxn ang="0">
                <a:pos x="connsiteX10821" y="connsiteY10821"/>
              </a:cxn>
              <a:cxn ang="0">
                <a:pos x="connsiteX10822" y="connsiteY10822"/>
              </a:cxn>
              <a:cxn ang="0">
                <a:pos x="connsiteX10823" y="connsiteY10823"/>
              </a:cxn>
              <a:cxn ang="0">
                <a:pos x="connsiteX10824" y="connsiteY10824"/>
              </a:cxn>
              <a:cxn ang="0">
                <a:pos x="connsiteX10825" y="connsiteY10825"/>
              </a:cxn>
              <a:cxn ang="0">
                <a:pos x="connsiteX10826" y="connsiteY10826"/>
              </a:cxn>
              <a:cxn ang="0">
                <a:pos x="connsiteX10827" y="connsiteY10827"/>
              </a:cxn>
              <a:cxn ang="0">
                <a:pos x="connsiteX10828" y="connsiteY10828"/>
              </a:cxn>
              <a:cxn ang="0">
                <a:pos x="connsiteX10829" y="connsiteY10829"/>
              </a:cxn>
              <a:cxn ang="0">
                <a:pos x="connsiteX10830" y="connsiteY10830"/>
              </a:cxn>
              <a:cxn ang="0">
                <a:pos x="connsiteX10831" y="connsiteY10831"/>
              </a:cxn>
              <a:cxn ang="0">
                <a:pos x="connsiteX10832" y="connsiteY10832"/>
              </a:cxn>
              <a:cxn ang="0">
                <a:pos x="connsiteX10833" y="connsiteY10833"/>
              </a:cxn>
              <a:cxn ang="0">
                <a:pos x="connsiteX10834" y="connsiteY10834"/>
              </a:cxn>
              <a:cxn ang="0">
                <a:pos x="connsiteX10835" y="connsiteY10835"/>
              </a:cxn>
              <a:cxn ang="0">
                <a:pos x="connsiteX10836" y="connsiteY10836"/>
              </a:cxn>
              <a:cxn ang="0">
                <a:pos x="connsiteX10837" y="connsiteY10837"/>
              </a:cxn>
              <a:cxn ang="0">
                <a:pos x="connsiteX10838" y="connsiteY10838"/>
              </a:cxn>
              <a:cxn ang="0">
                <a:pos x="connsiteX10839" y="connsiteY10839"/>
              </a:cxn>
              <a:cxn ang="0">
                <a:pos x="connsiteX10840" y="connsiteY10840"/>
              </a:cxn>
              <a:cxn ang="0">
                <a:pos x="connsiteX10841" y="connsiteY10841"/>
              </a:cxn>
              <a:cxn ang="0">
                <a:pos x="connsiteX10842" y="connsiteY10842"/>
              </a:cxn>
              <a:cxn ang="0">
                <a:pos x="connsiteX10843" y="connsiteY10843"/>
              </a:cxn>
              <a:cxn ang="0">
                <a:pos x="connsiteX10844" y="connsiteY10844"/>
              </a:cxn>
              <a:cxn ang="0">
                <a:pos x="connsiteX10845" y="connsiteY10845"/>
              </a:cxn>
              <a:cxn ang="0">
                <a:pos x="connsiteX10846" y="connsiteY10846"/>
              </a:cxn>
              <a:cxn ang="0">
                <a:pos x="connsiteX10847" y="connsiteY10847"/>
              </a:cxn>
              <a:cxn ang="0">
                <a:pos x="connsiteX10848" y="connsiteY10848"/>
              </a:cxn>
              <a:cxn ang="0">
                <a:pos x="connsiteX10849" y="connsiteY10849"/>
              </a:cxn>
              <a:cxn ang="0">
                <a:pos x="connsiteX10850" y="connsiteY10850"/>
              </a:cxn>
              <a:cxn ang="0">
                <a:pos x="connsiteX10851" y="connsiteY10851"/>
              </a:cxn>
              <a:cxn ang="0">
                <a:pos x="connsiteX10852" y="connsiteY10852"/>
              </a:cxn>
              <a:cxn ang="0">
                <a:pos x="connsiteX10853" y="connsiteY10853"/>
              </a:cxn>
              <a:cxn ang="0">
                <a:pos x="connsiteX10854" y="connsiteY10854"/>
              </a:cxn>
              <a:cxn ang="0">
                <a:pos x="connsiteX10855" y="connsiteY10855"/>
              </a:cxn>
              <a:cxn ang="0">
                <a:pos x="connsiteX10856" y="connsiteY10856"/>
              </a:cxn>
              <a:cxn ang="0">
                <a:pos x="connsiteX10857" y="connsiteY10857"/>
              </a:cxn>
              <a:cxn ang="0">
                <a:pos x="connsiteX10858" y="connsiteY10858"/>
              </a:cxn>
              <a:cxn ang="0">
                <a:pos x="connsiteX10859" y="connsiteY10859"/>
              </a:cxn>
              <a:cxn ang="0">
                <a:pos x="connsiteX10860" y="connsiteY10860"/>
              </a:cxn>
              <a:cxn ang="0">
                <a:pos x="connsiteX10861" y="connsiteY10861"/>
              </a:cxn>
              <a:cxn ang="0">
                <a:pos x="connsiteX10862" y="connsiteY10862"/>
              </a:cxn>
              <a:cxn ang="0">
                <a:pos x="connsiteX10863" y="connsiteY10863"/>
              </a:cxn>
              <a:cxn ang="0">
                <a:pos x="connsiteX10864" y="connsiteY10864"/>
              </a:cxn>
              <a:cxn ang="0">
                <a:pos x="connsiteX10865" y="connsiteY10865"/>
              </a:cxn>
              <a:cxn ang="0">
                <a:pos x="connsiteX10866" y="connsiteY10866"/>
              </a:cxn>
              <a:cxn ang="0">
                <a:pos x="connsiteX10867" y="connsiteY10867"/>
              </a:cxn>
              <a:cxn ang="0">
                <a:pos x="connsiteX10868" y="connsiteY10868"/>
              </a:cxn>
              <a:cxn ang="0">
                <a:pos x="connsiteX10869" y="connsiteY10869"/>
              </a:cxn>
              <a:cxn ang="0">
                <a:pos x="connsiteX10870" y="connsiteY10870"/>
              </a:cxn>
              <a:cxn ang="0">
                <a:pos x="connsiteX10871" y="connsiteY10871"/>
              </a:cxn>
              <a:cxn ang="0">
                <a:pos x="connsiteX10872" y="connsiteY10872"/>
              </a:cxn>
              <a:cxn ang="0">
                <a:pos x="connsiteX10873" y="connsiteY10873"/>
              </a:cxn>
              <a:cxn ang="0">
                <a:pos x="connsiteX10874" y="connsiteY10874"/>
              </a:cxn>
              <a:cxn ang="0">
                <a:pos x="connsiteX10875" y="connsiteY10875"/>
              </a:cxn>
              <a:cxn ang="0">
                <a:pos x="connsiteX10876" y="connsiteY10876"/>
              </a:cxn>
              <a:cxn ang="0">
                <a:pos x="connsiteX10877" y="connsiteY10877"/>
              </a:cxn>
              <a:cxn ang="0">
                <a:pos x="connsiteX10878" y="connsiteY10878"/>
              </a:cxn>
              <a:cxn ang="0">
                <a:pos x="connsiteX10879" y="connsiteY10879"/>
              </a:cxn>
              <a:cxn ang="0">
                <a:pos x="connsiteX10880" y="connsiteY10880"/>
              </a:cxn>
              <a:cxn ang="0">
                <a:pos x="connsiteX10881" y="connsiteY10881"/>
              </a:cxn>
              <a:cxn ang="0">
                <a:pos x="connsiteX10882" y="connsiteY10882"/>
              </a:cxn>
              <a:cxn ang="0">
                <a:pos x="connsiteX10883" y="connsiteY10883"/>
              </a:cxn>
              <a:cxn ang="0">
                <a:pos x="connsiteX10884" y="connsiteY10884"/>
              </a:cxn>
              <a:cxn ang="0">
                <a:pos x="connsiteX10885" y="connsiteY10885"/>
              </a:cxn>
              <a:cxn ang="0">
                <a:pos x="connsiteX10886" y="connsiteY10886"/>
              </a:cxn>
              <a:cxn ang="0">
                <a:pos x="connsiteX10887" y="connsiteY10887"/>
              </a:cxn>
              <a:cxn ang="0">
                <a:pos x="connsiteX10888" y="connsiteY10888"/>
              </a:cxn>
              <a:cxn ang="0">
                <a:pos x="connsiteX10889" y="connsiteY10889"/>
              </a:cxn>
              <a:cxn ang="0">
                <a:pos x="connsiteX10890" y="connsiteY10890"/>
              </a:cxn>
              <a:cxn ang="0">
                <a:pos x="connsiteX10891" y="connsiteY10891"/>
              </a:cxn>
              <a:cxn ang="0">
                <a:pos x="connsiteX10892" y="connsiteY10892"/>
              </a:cxn>
              <a:cxn ang="0">
                <a:pos x="connsiteX10893" y="connsiteY10893"/>
              </a:cxn>
              <a:cxn ang="0">
                <a:pos x="connsiteX10894" y="connsiteY10894"/>
              </a:cxn>
              <a:cxn ang="0">
                <a:pos x="connsiteX10895" y="connsiteY10895"/>
              </a:cxn>
              <a:cxn ang="0">
                <a:pos x="connsiteX10896" y="connsiteY10896"/>
              </a:cxn>
              <a:cxn ang="0">
                <a:pos x="connsiteX10897" y="connsiteY10897"/>
              </a:cxn>
              <a:cxn ang="0">
                <a:pos x="connsiteX10898" y="connsiteY10898"/>
              </a:cxn>
              <a:cxn ang="0">
                <a:pos x="connsiteX10899" y="connsiteY10899"/>
              </a:cxn>
              <a:cxn ang="0">
                <a:pos x="connsiteX10900" y="connsiteY10900"/>
              </a:cxn>
              <a:cxn ang="0">
                <a:pos x="connsiteX10901" y="connsiteY10901"/>
              </a:cxn>
              <a:cxn ang="0">
                <a:pos x="connsiteX10902" y="connsiteY10902"/>
              </a:cxn>
              <a:cxn ang="0">
                <a:pos x="connsiteX10903" y="connsiteY10903"/>
              </a:cxn>
              <a:cxn ang="0">
                <a:pos x="connsiteX10904" y="connsiteY10904"/>
              </a:cxn>
              <a:cxn ang="0">
                <a:pos x="connsiteX10905" y="connsiteY10905"/>
              </a:cxn>
              <a:cxn ang="0">
                <a:pos x="connsiteX10906" y="connsiteY10906"/>
              </a:cxn>
              <a:cxn ang="0">
                <a:pos x="connsiteX10907" y="connsiteY10907"/>
              </a:cxn>
              <a:cxn ang="0">
                <a:pos x="connsiteX10908" y="connsiteY10908"/>
              </a:cxn>
              <a:cxn ang="0">
                <a:pos x="connsiteX10909" y="connsiteY10909"/>
              </a:cxn>
              <a:cxn ang="0">
                <a:pos x="connsiteX10910" y="connsiteY10910"/>
              </a:cxn>
              <a:cxn ang="0">
                <a:pos x="connsiteX10911" y="connsiteY10911"/>
              </a:cxn>
              <a:cxn ang="0">
                <a:pos x="connsiteX10912" y="connsiteY10912"/>
              </a:cxn>
              <a:cxn ang="0">
                <a:pos x="connsiteX10913" y="connsiteY10913"/>
              </a:cxn>
              <a:cxn ang="0">
                <a:pos x="connsiteX10914" y="connsiteY10914"/>
              </a:cxn>
              <a:cxn ang="0">
                <a:pos x="connsiteX10915" y="connsiteY10915"/>
              </a:cxn>
              <a:cxn ang="0">
                <a:pos x="connsiteX10916" y="connsiteY10916"/>
              </a:cxn>
              <a:cxn ang="0">
                <a:pos x="connsiteX10917" y="connsiteY10917"/>
              </a:cxn>
              <a:cxn ang="0">
                <a:pos x="connsiteX10918" y="connsiteY10918"/>
              </a:cxn>
              <a:cxn ang="0">
                <a:pos x="connsiteX10919" y="connsiteY10919"/>
              </a:cxn>
              <a:cxn ang="0">
                <a:pos x="connsiteX10920" y="connsiteY10920"/>
              </a:cxn>
              <a:cxn ang="0">
                <a:pos x="connsiteX10921" y="connsiteY10921"/>
              </a:cxn>
              <a:cxn ang="0">
                <a:pos x="connsiteX10922" y="connsiteY10922"/>
              </a:cxn>
              <a:cxn ang="0">
                <a:pos x="connsiteX10923" y="connsiteY10923"/>
              </a:cxn>
              <a:cxn ang="0">
                <a:pos x="connsiteX10924" y="connsiteY10924"/>
              </a:cxn>
              <a:cxn ang="0">
                <a:pos x="connsiteX10925" y="connsiteY10925"/>
              </a:cxn>
              <a:cxn ang="0">
                <a:pos x="connsiteX10926" y="connsiteY10926"/>
              </a:cxn>
              <a:cxn ang="0">
                <a:pos x="connsiteX10927" y="connsiteY10927"/>
              </a:cxn>
              <a:cxn ang="0">
                <a:pos x="connsiteX10928" y="connsiteY10928"/>
              </a:cxn>
              <a:cxn ang="0">
                <a:pos x="connsiteX10929" y="connsiteY10929"/>
              </a:cxn>
              <a:cxn ang="0">
                <a:pos x="connsiteX10930" y="connsiteY10930"/>
              </a:cxn>
              <a:cxn ang="0">
                <a:pos x="connsiteX10931" y="connsiteY10931"/>
              </a:cxn>
              <a:cxn ang="0">
                <a:pos x="connsiteX10932" y="connsiteY10932"/>
              </a:cxn>
              <a:cxn ang="0">
                <a:pos x="connsiteX10933" y="connsiteY10933"/>
              </a:cxn>
              <a:cxn ang="0">
                <a:pos x="connsiteX10934" y="connsiteY10934"/>
              </a:cxn>
              <a:cxn ang="0">
                <a:pos x="connsiteX10935" y="connsiteY10935"/>
              </a:cxn>
              <a:cxn ang="0">
                <a:pos x="connsiteX10936" y="connsiteY10936"/>
              </a:cxn>
              <a:cxn ang="0">
                <a:pos x="connsiteX10937" y="connsiteY10937"/>
              </a:cxn>
              <a:cxn ang="0">
                <a:pos x="connsiteX10938" y="connsiteY10938"/>
              </a:cxn>
              <a:cxn ang="0">
                <a:pos x="connsiteX10939" y="connsiteY10939"/>
              </a:cxn>
              <a:cxn ang="0">
                <a:pos x="connsiteX10940" y="connsiteY10940"/>
              </a:cxn>
              <a:cxn ang="0">
                <a:pos x="connsiteX10941" y="connsiteY10941"/>
              </a:cxn>
              <a:cxn ang="0">
                <a:pos x="connsiteX10942" y="connsiteY10942"/>
              </a:cxn>
              <a:cxn ang="0">
                <a:pos x="connsiteX10943" y="connsiteY10943"/>
              </a:cxn>
              <a:cxn ang="0">
                <a:pos x="connsiteX10944" y="connsiteY10944"/>
              </a:cxn>
              <a:cxn ang="0">
                <a:pos x="connsiteX10945" y="connsiteY10945"/>
              </a:cxn>
              <a:cxn ang="0">
                <a:pos x="connsiteX10946" y="connsiteY10946"/>
              </a:cxn>
              <a:cxn ang="0">
                <a:pos x="connsiteX10947" y="connsiteY10947"/>
              </a:cxn>
              <a:cxn ang="0">
                <a:pos x="connsiteX10948" y="connsiteY10948"/>
              </a:cxn>
              <a:cxn ang="0">
                <a:pos x="connsiteX10949" y="connsiteY10949"/>
              </a:cxn>
              <a:cxn ang="0">
                <a:pos x="connsiteX10950" y="connsiteY10950"/>
              </a:cxn>
              <a:cxn ang="0">
                <a:pos x="connsiteX10951" y="connsiteY10951"/>
              </a:cxn>
              <a:cxn ang="0">
                <a:pos x="connsiteX10952" y="connsiteY10952"/>
              </a:cxn>
              <a:cxn ang="0">
                <a:pos x="connsiteX10953" y="connsiteY10953"/>
              </a:cxn>
              <a:cxn ang="0">
                <a:pos x="connsiteX10954" y="connsiteY10954"/>
              </a:cxn>
              <a:cxn ang="0">
                <a:pos x="connsiteX10955" y="connsiteY10955"/>
              </a:cxn>
              <a:cxn ang="0">
                <a:pos x="connsiteX10956" y="connsiteY10956"/>
              </a:cxn>
              <a:cxn ang="0">
                <a:pos x="connsiteX10957" y="connsiteY10957"/>
              </a:cxn>
              <a:cxn ang="0">
                <a:pos x="connsiteX10958" y="connsiteY10958"/>
              </a:cxn>
              <a:cxn ang="0">
                <a:pos x="connsiteX10959" y="connsiteY10959"/>
              </a:cxn>
              <a:cxn ang="0">
                <a:pos x="connsiteX10960" y="connsiteY10960"/>
              </a:cxn>
              <a:cxn ang="0">
                <a:pos x="connsiteX10961" y="connsiteY10961"/>
              </a:cxn>
              <a:cxn ang="0">
                <a:pos x="connsiteX10962" y="connsiteY10962"/>
              </a:cxn>
              <a:cxn ang="0">
                <a:pos x="connsiteX10963" y="connsiteY10963"/>
              </a:cxn>
              <a:cxn ang="0">
                <a:pos x="connsiteX10964" y="connsiteY10964"/>
              </a:cxn>
              <a:cxn ang="0">
                <a:pos x="connsiteX10965" y="connsiteY10965"/>
              </a:cxn>
              <a:cxn ang="0">
                <a:pos x="connsiteX10966" y="connsiteY10966"/>
              </a:cxn>
              <a:cxn ang="0">
                <a:pos x="connsiteX10967" y="connsiteY10967"/>
              </a:cxn>
              <a:cxn ang="0">
                <a:pos x="connsiteX10968" y="connsiteY10968"/>
              </a:cxn>
              <a:cxn ang="0">
                <a:pos x="connsiteX10969" y="connsiteY10969"/>
              </a:cxn>
              <a:cxn ang="0">
                <a:pos x="connsiteX10970" y="connsiteY10970"/>
              </a:cxn>
              <a:cxn ang="0">
                <a:pos x="connsiteX10971" y="connsiteY10971"/>
              </a:cxn>
              <a:cxn ang="0">
                <a:pos x="connsiteX10972" y="connsiteY10972"/>
              </a:cxn>
              <a:cxn ang="0">
                <a:pos x="connsiteX10973" y="connsiteY10973"/>
              </a:cxn>
              <a:cxn ang="0">
                <a:pos x="connsiteX10974" y="connsiteY10974"/>
              </a:cxn>
              <a:cxn ang="0">
                <a:pos x="connsiteX10975" y="connsiteY10975"/>
              </a:cxn>
              <a:cxn ang="0">
                <a:pos x="connsiteX10976" y="connsiteY10976"/>
              </a:cxn>
              <a:cxn ang="0">
                <a:pos x="connsiteX10977" y="connsiteY10977"/>
              </a:cxn>
              <a:cxn ang="0">
                <a:pos x="connsiteX10978" y="connsiteY10978"/>
              </a:cxn>
              <a:cxn ang="0">
                <a:pos x="connsiteX10979" y="connsiteY10979"/>
              </a:cxn>
              <a:cxn ang="0">
                <a:pos x="connsiteX10980" y="connsiteY10980"/>
              </a:cxn>
              <a:cxn ang="0">
                <a:pos x="connsiteX10981" y="connsiteY10981"/>
              </a:cxn>
              <a:cxn ang="0">
                <a:pos x="connsiteX10982" y="connsiteY10982"/>
              </a:cxn>
              <a:cxn ang="0">
                <a:pos x="connsiteX10983" y="connsiteY10983"/>
              </a:cxn>
              <a:cxn ang="0">
                <a:pos x="connsiteX10984" y="connsiteY10984"/>
              </a:cxn>
              <a:cxn ang="0">
                <a:pos x="connsiteX10985" y="connsiteY10985"/>
              </a:cxn>
              <a:cxn ang="0">
                <a:pos x="connsiteX10986" y="connsiteY10986"/>
              </a:cxn>
              <a:cxn ang="0">
                <a:pos x="connsiteX10987" y="connsiteY10987"/>
              </a:cxn>
              <a:cxn ang="0">
                <a:pos x="connsiteX10988" y="connsiteY10988"/>
              </a:cxn>
              <a:cxn ang="0">
                <a:pos x="connsiteX10989" y="connsiteY10989"/>
              </a:cxn>
              <a:cxn ang="0">
                <a:pos x="connsiteX10990" y="connsiteY10990"/>
              </a:cxn>
              <a:cxn ang="0">
                <a:pos x="connsiteX10991" y="connsiteY10991"/>
              </a:cxn>
              <a:cxn ang="0">
                <a:pos x="connsiteX10992" y="connsiteY10992"/>
              </a:cxn>
              <a:cxn ang="0">
                <a:pos x="connsiteX10993" y="connsiteY10993"/>
              </a:cxn>
              <a:cxn ang="0">
                <a:pos x="connsiteX10994" y="connsiteY10994"/>
              </a:cxn>
              <a:cxn ang="0">
                <a:pos x="connsiteX10995" y="connsiteY10995"/>
              </a:cxn>
              <a:cxn ang="0">
                <a:pos x="connsiteX10996" y="connsiteY10996"/>
              </a:cxn>
              <a:cxn ang="0">
                <a:pos x="connsiteX10997" y="connsiteY10997"/>
              </a:cxn>
              <a:cxn ang="0">
                <a:pos x="connsiteX10998" y="connsiteY10998"/>
              </a:cxn>
              <a:cxn ang="0">
                <a:pos x="connsiteX10999" y="connsiteY10999"/>
              </a:cxn>
              <a:cxn ang="0">
                <a:pos x="connsiteX11000" y="connsiteY11000"/>
              </a:cxn>
              <a:cxn ang="0">
                <a:pos x="connsiteX11001" y="connsiteY11001"/>
              </a:cxn>
              <a:cxn ang="0">
                <a:pos x="connsiteX11002" y="connsiteY11002"/>
              </a:cxn>
              <a:cxn ang="0">
                <a:pos x="connsiteX11003" y="connsiteY11003"/>
              </a:cxn>
              <a:cxn ang="0">
                <a:pos x="connsiteX11004" y="connsiteY11004"/>
              </a:cxn>
              <a:cxn ang="0">
                <a:pos x="connsiteX11005" y="connsiteY11005"/>
              </a:cxn>
              <a:cxn ang="0">
                <a:pos x="connsiteX11006" y="connsiteY11006"/>
              </a:cxn>
              <a:cxn ang="0">
                <a:pos x="connsiteX11007" y="connsiteY11007"/>
              </a:cxn>
              <a:cxn ang="0">
                <a:pos x="connsiteX11008" y="connsiteY11008"/>
              </a:cxn>
              <a:cxn ang="0">
                <a:pos x="connsiteX11009" y="connsiteY11009"/>
              </a:cxn>
              <a:cxn ang="0">
                <a:pos x="connsiteX11010" y="connsiteY11010"/>
              </a:cxn>
              <a:cxn ang="0">
                <a:pos x="connsiteX11011" y="connsiteY11011"/>
              </a:cxn>
              <a:cxn ang="0">
                <a:pos x="connsiteX11012" y="connsiteY11012"/>
              </a:cxn>
              <a:cxn ang="0">
                <a:pos x="connsiteX11013" y="connsiteY11013"/>
              </a:cxn>
              <a:cxn ang="0">
                <a:pos x="connsiteX11014" y="connsiteY11014"/>
              </a:cxn>
              <a:cxn ang="0">
                <a:pos x="connsiteX11015" y="connsiteY11015"/>
              </a:cxn>
              <a:cxn ang="0">
                <a:pos x="connsiteX11016" y="connsiteY11016"/>
              </a:cxn>
              <a:cxn ang="0">
                <a:pos x="connsiteX11017" y="connsiteY11017"/>
              </a:cxn>
              <a:cxn ang="0">
                <a:pos x="connsiteX11018" y="connsiteY11018"/>
              </a:cxn>
              <a:cxn ang="0">
                <a:pos x="connsiteX11019" y="connsiteY11019"/>
              </a:cxn>
              <a:cxn ang="0">
                <a:pos x="connsiteX11020" y="connsiteY11020"/>
              </a:cxn>
              <a:cxn ang="0">
                <a:pos x="connsiteX11021" y="connsiteY11021"/>
              </a:cxn>
              <a:cxn ang="0">
                <a:pos x="connsiteX11022" y="connsiteY11022"/>
              </a:cxn>
              <a:cxn ang="0">
                <a:pos x="connsiteX11023" y="connsiteY11023"/>
              </a:cxn>
              <a:cxn ang="0">
                <a:pos x="connsiteX11024" y="connsiteY11024"/>
              </a:cxn>
              <a:cxn ang="0">
                <a:pos x="connsiteX11025" y="connsiteY11025"/>
              </a:cxn>
              <a:cxn ang="0">
                <a:pos x="connsiteX11026" y="connsiteY11026"/>
              </a:cxn>
              <a:cxn ang="0">
                <a:pos x="connsiteX11027" y="connsiteY11027"/>
              </a:cxn>
              <a:cxn ang="0">
                <a:pos x="connsiteX11028" y="connsiteY11028"/>
              </a:cxn>
              <a:cxn ang="0">
                <a:pos x="connsiteX11029" y="connsiteY11029"/>
              </a:cxn>
              <a:cxn ang="0">
                <a:pos x="connsiteX11030" y="connsiteY11030"/>
              </a:cxn>
              <a:cxn ang="0">
                <a:pos x="connsiteX11031" y="connsiteY11031"/>
              </a:cxn>
              <a:cxn ang="0">
                <a:pos x="connsiteX11032" y="connsiteY11032"/>
              </a:cxn>
              <a:cxn ang="0">
                <a:pos x="connsiteX11033" y="connsiteY11033"/>
              </a:cxn>
              <a:cxn ang="0">
                <a:pos x="connsiteX11034" y="connsiteY11034"/>
              </a:cxn>
              <a:cxn ang="0">
                <a:pos x="connsiteX11035" y="connsiteY11035"/>
              </a:cxn>
              <a:cxn ang="0">
                <a:pos x="connsiteX11036" y="connsiteY11036"/>
              </a:cxn>
              <a:cxn ang="0">
                <a:pos x="connsiteX11037" y="connsiteY11037"/>
              </a:cxn>
              <a:cxn ang="0">
                <a:pos x="connsiteX11038" y="connsiteY11038"/>
              </a:cxn>
              <a:cxn ang="0">
                <a:pos x="connsiteX11039" y="connsiteY11039"/>
              </a:cxn>
              <a:cxn ang="0">
                <a:pos x="connsiteX11040" y="connsiteY11040"/>
              </a:cxn>
              <a:cxn ang="0">
                <a:pos x="connsiteX11041" y="connsiteY11041"/>
              </a:cxn>
              <a:cxn ang="0">
                <a:pos x="connsiteX11042" y="connsiteY11042"/>
              </a:cxn>
              <a:cxn ang="0">
                <a:pos x="connsiteX11043" y="connsiteY11043"/>
              </a:cxn>
              <a:cxn ang="0">
                <a:pos x="connsiteX11044" y="connsiteY11044"/>
              </a:cxn>
              <a:cxn ang="0">
                <a:pos x="connsiteX11045" y="connsiteY11045"/>
              </a:cxn>
              <a:cxn ang="0">
                <a:pos x="connsiteX11046" y="connsiteY11046"/>
              </a:cxn>
              <a:cxn ang="0">
                <a:pos x="connsiteX11047" y="connsiteY11047"/>
              </a:cxn>
              <a:cxn ang="0">
                <a:pos x="connsiteX11048" y="connsiteY11048"/>
              </a:cxn>
              <a:cxn ang="0">
                <a:pos x="connsiteX11049" y="connsiteY11049"/>
              </a:cxn>
              <a:cxn ang="0">
                <a:pos x="connsiteX11050" y="connsiteY11050"/>
              </a:cxn>
              <a:cxn ang="0">
                <a:pos x="connsiteX11051" y="connsiteY11051"/>
              </a:cxn>
              <a:cxn ang="0">
                <a:pos x="connsiteX11052" y="connsiteY11052"/>
              </a:cxn>
              <a:cxn ang="0">
                <a:pos x="connsiteX11053" y="connsiteY11053"/>
              </a:cxn>
              <a:cxn ang="0">
                <a:pos x="connsiteX11054" y="connsiteY11054"/>
              </a:cxn>
              <a:cxn ang="0">
                <a:pos x="connsiteX11055" y="connsiteY11055"/>
              </a:cxn>
              <a:cxn ang="0">
                <a:pos x="connsiteX11056" y="connsiteY11056"/>
              </a:cxn>
              <a:cxn ang="0">
                <a:pos x="connsiteX11057" y="connsiteY11057"/>
              </a:cxn>
              <a:cxn ang="0">
                <a:pos x="connsiteX11058" y="connsiteY11058"/>
              </a:cxn>
              <a:cxn ang="0">
                <a:pos x="connsiteX11059" y="connsiteY11059"/>
              </a:cxn>
              <a:cxn ang="0">
                <a:pos x="connsiteX11060" y="connsiteY11060"/>
              </a:cxn>
              <a:cxn ang="0">
                <a:pos x="connsiteX11061" y="connsiteY11061"/>
              </a:cxn>
              <a:cxn ang="0">
                <a:pos x="connsiteX11062" y="connsiteY11062"/>
              </a:cxn>
              <a:cxn ang="0">
                <a:pos x="connsiteX11063" y="connsiteY11063"/>
              </a:cxn>
              <a:cxn ang="0">
                <a:pos x="connsiteX11064" y="connsiteY11064"/>
              </a:cxn>
              <a:cxn ang="0">
                <a:pos x="connsiteX11065" y="connsiteY11065"/>
              </a:cxn>
              <a:cxn ang="0">
                <a:pos x="connsiteX11066" y="connsiteY11066"/>
              </a:cxn>
              <a:cxn ang="0">
                <a:pos x="connsiteX11067" y="connsiteY11067"/>
              </a:cxn>
              <a:cxn ang="0">
                <a:pos x="connsiteX11068" y="connsiteY11068"/>
              </a:cxn>
              <a:cxn ang="0">
                <a:pos x="connsiteX11069" y="connsiteY11069"/>
              </a:cxn>
              <a:cxn ang="0">
                <a:pos x="connsiteX11070" y="connsiteY11070"/>
              </a:cxn>
              <a:cxn ang="0">
                <a:pos x="connsiteX11071" y="connsiteY11071"/>
              </a:cxn>
              <a:cxn ang="0">
                <a:pos x="connsiteX11072" y="connsiteY11072"/>
              </a:cxn>
              <a:cxn ang="0">
                <a:pos x="connsiteX11073" y="connsiteY11073"/>
              </a:cxn>
              <a:cxn ang="0">
                <a:pos x="connsiteX11074" y="connsiteY11074"/>
              </a:cxn>
              <a:cxn ang="0">
                <a:pos x="connsiteX11075" y="connsiteY11075"/>
              </a:cxn>
              <a:cxn ang="0">
                <a:pos x="connsiteX11076" y="connsiteY11076"/>
              </a:cxn>
              <a:cxn ang="0">
                <a:pos x="connsiteX11077" y="connsiteY11077"/>
              </a:cxn>
              <a:cxn ang="0">
                <a:pos x="connsiteX11078" y="connsiteY11078"/>
              </a:cxn>
              <a:cxn ang="0">
                <a:pos x="connsiteX11079" y="connsiteY11079"/>
              </a:cxn>
              <a:cxn ang="0">
                <a:pos x="connsiteX11080" y="connsiteY11080"/>
              </a:cxn>
              <a:cxn ang="0">
                <a:pos x="connsiteX11081" y="connsiteY11081"/>
              </a:cxn>
              <a:cxn ang="0">
                <a:pos x="connsiteX11082" y="connsiteY11082"/>
              </a:cxn>
              <a:cxn ang="0">
                <a:pos x="connsiteX11083" y="connsiteY11083"/>
              </a:cxn>
              <a:cxn ang="0">
                <a:pos x="connsiteX11084" y="connsiteY11084"/>
              </a:cxn>
              <a:cxn ang="0">
                <a:pos x="connsiteX11085" y="connsiteY11085"/>
              </a:cxn>
              <a:cxn ang="0">
                <a:pos x="connsiteX11086" y="connsiteY11086"/>
              </a:cxn>
              <a:cxn ang="0">
                <a:pos x="connsiteX11087" y="connsiteY11087"/>
              </a:cxn>
              <a:cxn ang="0">
                <a:pos x="connsiteX11088" y="connsiteY11088"/>
              </a:cxn>
              <a:cxn ang="0">
                <a:pos x="connsiteX11089" y="connsiteY11089"/>
              </a:cxn>
              <a:cxn ang="0">
                <a:pos x="connsiteX11090" y="connsiteY11090"/>
              </a:cxn>
              <a:cxn ang="0">
                <a:pos x="connsiteX11091" y="connsiteY11091"/>
              </a:cxn>
              <a:cxn ang="0">
                <a:pos x="connsiteX11092" y="connsiteY11092"/>
              </a:cxn>
              <a:cxn ang="0">
                <a:pos x="connsiteX11093" y="connsiteY11093"/>
              </a:cxn>
              <a:cxn ang="0">
                <a:pos x="connsiteX11094" y="connsiteY11094"/>
              </a:cxn>
              <a:cxn ang="0">
                <a:pos x="connsiteX11095" y="connsiteY11095"/>
              </a:cxn>
              <a:cxn ang="0">
                <a:pos x="connsiteX11096" y="connsiteY11096"/>
              </a:cxn>
              <a:cxn ang="0">
                <a:pos x="connsiteX11097" y="connsiteY11097"/>
              </a:cxn>
              <a:cxn ang="0">
                <a:pos x="connsiteX11098" y="connsiteY11098"/>
              </a:cxn>
              <a:cxn ang="0">
                <a:pos x="connsiteX11099" y="connsiteY11099"/>
              </a:cxn>
              <a:cxn ang="0">
                <a:pos x="connsiteX11100" y="connsiteY11100"/>
              </a:cxn>
              <a:cxn ang="0">
                <a:pos x="connsiteX11101" y="connsiteY11101"/>
              </a:cxn>
              <a:cxn ang="0">
                <a:pos x="connsiteX11102" y="connsiteY11102"/>
              </a:cxn>
              <a:cxn ang="0">
                <a:pos x="connsiteX11103" y="connsiteY11103"/>
              </a:cxn>
              <a:cxn ang="0">
                <a:pos x="connsiteX11104" y="connsiteY11104"/>
              </a:cxn>
              <a:cxn ang="0">
                <a:pos x="connsiteX11105" y="connsiteY11105"/>
              </a:cxn>
              <a:cxn ang="0">
                <a:pos x="connsiteX11106" y="connsiteY11106"/>
              </a:cxn>
              <a:cxn ang="0">
                <a:pos x="connsiteX11107" y="connsiteY11107"/>
              </a:cxn>
              <a:cxn ang="0">
                <a:pos x="connsiteX11108" y="connsiteY11108"/>
              </a:cxn>
              <a:cxn ang="0">
                <a:pos x="connsiteX11109" y="connsiteY11109"/>
              </a:cxn>
              <a:cxn ang="0">
                <a:pos x="connsiteX11110" y="connsiteY11110"/>
              </a:cxn>
              <a:cxn ang="0">
                <a:pos x="connsiteX11111" y="connsiteY11111"/>
              </a:cxn>
              <a:cxn ang="0">
                <a:pos x="connsiteX11112" y="connsiteY11112"/>
              </a:cxn>
              <a:cxn ang="0">
                <a:pos x="connsiteX11113" y="connsiteY11113"/>
              </a:cxn>
              <a:cxn ang="0">
                <a:pos x="connsiteX11114" y="connsiteY11114"/>
              </a:cxn>
              <a:cxn ang="0">
                <a:pos x="connsiteX11115" y="connsiteY11115"/>
              </a:cxn>
              <a:cxn ang="0">
                <a:pos x="connsiteX11116" y="connsiteY11116"/>
              </a:cxn>
              <a:cxn ang="0">
                <a:pos x="connsiteX11117" y="connsiteY11117"/>
              </a:cxn>
              <a:cxn ang="0">
                <a:pos x="connsiteX11118" y="connsiteY11118"/>
              </a:cxn>
              <a:cxn ang="0">
                <a:pos x="connsiteX11119" y="connsiteY11119"/>
              </a:cxn>
              <a:cxn ang="0">
                <a:pos x="connsiteX11120" y="connsiteY11120"/>
              </a:cxn>
              <a:cxn ang="0">
                <a:pos x="connsiteX11121" y="connsiteY11121"/>
              </a:cxn>
              <a:cxn ang="0">
                <a:pos x="connsiteX11122" y="connsiteY11122"/>
              </a:cxn>
              <a:cxn ang="0">
                <a:pos x="connsiteX11123" y="connsiteY11123"/>
              </a:cxn>
              <a:cxn ang="0">
                <a:pos x="connsiteX11124" y="connsiteY11124"/>
              </a:cxn>
              <a:cxn ang="0">
                <a:pos x="connsiteX11125" y="connsiteY11125"/>
              </a:cxn>
              <a:cxn ang="0">
                <a:pos x="connsiteX11126" y="connsiteY11126"/>
              </a:cxn>
              <a:cxn ang="0">
                <a:pos x="connsiteX11127" y="connsiteY11127"/>
              </a:cxn>
              <a:cxn ang="0">
                <a:pos x="connsiteX11128" y="connsiteY11128"/>
              </a:cxn>
              <a:cxn ang="0">
                <a:pos x="connsiteX11129" y="connsiteY11129"/>
              </a:cxn>
              <a:cxn ang="0">
                <a:pos x="connsiteX11130" y="connsiteY11130"/>
              </a:cxn>
              <a:cxn ang="0">
                <a:pos x="connsiteX11131" y="connsiteY11131"/>
              </a:cxn>
              <a:cxn ang="0">
                <a:pos x="connsiteX11132" y="connsiteY11132"/>
              </a:cxn>
              <a:cxn ang="0">
                <a:pos x="connsiteX11133" y="connsiteY11133"/>
              </a:cxn>
              <a:cxn ang="0">
                <a:pos x="connsiteX11134" y="connsiteY11134"/>
              </a:cxn>
              <a:cxn ang="0">
                <a:pos x="connsiteX11135" y="connsiteY11135"/>
              </a:cxn>
              <a:cxn ang="0">
                <a:pos x="connsiteX11136" y="connsiteY11136"/>
              </a:cxn>
              <a:cxn ang="0">
                <a:pos x="connsiteX11137" y="connsiteY11137"/>
              </a:cxn>
              <a:cxn ang="0">
                <a:pos x="connsiteX11138" y="connsiteY11138"/>
              </a:cxn>
              <a:cxn ang="0">
                <a:pos x="connsiteX11139" y="connsiteY11139"/>
              </a:cxn>
              <a:cxn ang="0">
                <a:pos x="connsiteX11140" y="connsiteY11140"/>
              </a:cxn>
              <a:cxn ang="0">
                <a:pos x="connsiteX11141" y="connsiteY11141"/>
              </a:cxn>
              <a:cxn ang="0">
                <a:pos x="connsiteX11142" y="connsiteY11142"/>
              </a:cxn>
              <a:cxn ang="0">
                <a:pos x="connsiteX11143" y="connsiteY11143"/>
              </a:cxn>
              <a:cxn ang="0">
                <a:pos x="connsiteX11144" y="connsiteY11144"/>
              </a:cxn>
              <a:cxn ang="0">
                <a:pos x="connsiteX11145" y="connsiteY11145"/>
              </a:cxn>
              <a:cxn ang="0">
                <a:pos x="connsiteX11146" y="connsiteY11146"/>
              </a:cxn>
              <a:cxn ang="0">
                <a:pos x="connsiteX11147" y="connsiteY11147"/>
              </a:cxn>
              <a:cxn ang="0">
                <a:pos x="connsiteX11148" y="connsiteY11148"/>
              </a:cxn>
              <a:cxn ang="0">
                <a:pos x="connsiteX11149" y="connsiteY11149"/>
              </a:cxn>
              <a:cxn ang="0">
                <a:pos x="connsiteX11150" y="connsiteY11150"/>
              </a:cxn>
              <a:cxn ang="0">
                <a:pos x="connsiteX11151" y="connsiteY11151"/>
              </a:cxn>
              <a:cxn ang="0">
                <a:pos x="connsiteX11152" y="connsiteY11152"/>
              </a:cxn>
              <a:cxn ang="0">
                <a:pos x="connsiteX11153" y="connsiteY11153"/>
              </a:cxn>
              <a:cxn ang="0">
                <a:pos x="connsiteX11154" y="connsiteY11154"/>
              </a:cxn>
              <a:cxn ang="0">
                <a:pos x="connsiteX11155" y="connsiteY11155"/>
              </a:cxn>
              <a:cxn ang="0">
                <a:pos x="connsiteX11156" y="connsiteY11156"/>
              </a:cxn>
              <a:cxn ang="0">
                <a:pos x="connsiteX11157" y="connsiteY11157"/>
              </a:cxn>
              <a:cxn ang="0">
                <a:pos x="connsiteX11158" y="connsiteY11158"/>
              </a:cxn>
              <a:cxn ang="0">
                <a:pos x="connsiteX11159" y="connsiteY11159"/>
              </a:cxn>
              <a:cxn ang="0">
                <a:pos x="connsiteX11160" y="connsiteY11160"/>
              </a:cxn>
              <a:cxn ang="0">
                <a:pos x="connsiteX11161" y="connsiteY11161"/>
              </a:cxn>
              <a:cxn ang="0">
                <a:pos x="connsiteX11162" y="connsiteY11162"/>
              </a:cxn>
              <a:cxn ang="0">
                <a:pos x="connsiteX11163" y="connsiteY11163"/>
              </a:cxn>
              <a:cxn ang="0">
                <a:pos x="connsiteX11164" y="connsiteY11164"/>
              </a:cxn>
              <a:cxn ang="0">
                <a:pos x="connsiteX11165" y="connsiteY11165"/>
              </a:cxn>
              <a:cxn ang="0">
                <a:pos x="connsiteX11166" y="connsiteY11166"/>
              </a:cxn>
              <a:cxn ang="0">
                <a:pos x="connsiteX11167" y="connsiteY11167"/>
              </a:cxn>
              <a:cxn ang="0">
                <a:pos x="connsiteX11168" y="connsiteY11168"/>
              </a:cxn>
              <a:cxn ang="0">
                <a:pos x="connsiteX11169" y="connsiteY11169"/>
              </a:cxn>
              <a:cxn ang="0">
                <a:pos x="connsiteX11170" y="connsiteY11170"/>
              </a:cxn>
              <a:cxn ang="0">
                <a:pos x="connsiteX11171" y="connsiteY11171"/>
              </a:cxn>
              <a:cxn ang="0">
                <a:pos x="connsiteX11172" y="connsiteY11172"/>
              </a:cxn>
              <a:cxn ang="0">
                <a:pos x="connsiteX11173" y="connsiteY11173"/>
              </a:cxn>
              <a:cxn ang="0">
                <a:pos x="connsiteX11174" y="connsiteY11174"/>
              </a:cxn>
              <a:cxn ang="0">
                <a:pos x="connsiteX11175" y="connsiteY11175"/>
              </a:cxn>
              <a:cxn ang="0">
                <a:pos x="connsiteX11176" y="connsiteY11176"/>
              </a:cxn>
              <a:cxn ang="0">
                <a:pos x="connsiteX11177" y="connsiteY11177"/>
              </a:cxn>
              <a:cxn ang="0">
                <a:pos x="connsiteX11178" y="connsiteY11178"/>
              </a:cxn>
              <a:cxn ang="0">
                <a:pos x="connsiteX11179" y="connsiteY11179"/>
              </a:cxn>
              <a:cxn ang="0">
                <a:pos x="connsiteX11180" y="connsiteY11180"/>
              </a:cxn>
              <a:cxn ang="0">
                <a:pos x="connsiteX11181" y="connsiteY11181"/>
              </a:cxn>
              <a:cxn ang="0">
                <a:pos x="connsiteX11182" y="connsiteY11182"/>
              </a:cxn>
              <a:cxn ang="0">
                <a:pos x="connsiteX11183" y="connsiteY11183"/>
              </a:cxn>
              <a:cxn ang="0">
                <a:pos x="connsiteX11184" y="connsiteY11184"/>
              </a:cxn>
              <a:cxn ang="0">
                <a:pos x="connsiteX11185" y="connsiteY11185"/>
              </a:cxn>
              <a:cxn ang="0">
                <a:pos x="connsiteX11186" y="connsiteY11186"/>
              </a:cxn>
              <a:cxn ang="0">
                <a:pos x="connsiteX11187" y="connsiteY11187"/>
              </a:cxn>
              <a:cxn ang="0">
                <a:pos x="connsiteX11188" y="connsiteY11188"/>
              </a:cxn>
              <a:cxn ang="0">
                <a:pos x="connsiteX11189" y="connsiteY11189"/>
              </a:cxn>
              <a:cxn ang="0">
                <a:pos x="connsiteX11190" y="connsiteY11190"/>
              </a:cxn>
              <a:cxn ang="0">
                <a:pos x="connsiteX11191" y="connsiteY11191"/>
              </a:cxn>
              <a:cxn ang="0">
                <a:pos x="connsiteX11192" y="connsiteY11192"/>
              </a:cxn>
              <a:cxn ang="0">
                <a:pos x="connsiteX11193" y="connsiteY11193"/>
              </a:cxn>
              <a:cxn ang="0">
                <a:pos x="connsiteX11194" y="connsiteY11194"/>
              </a:cxn>
              <a:cxn ang="0">
                <a:pos x="connsiteX11195" y="connsiteY11195"/>
              </a:cxn>
              <a:cxn ang="0">
                <a:pos x="connsiteX11196" y="connsiteY11196"/>
              </a:cxn>
              <a:cxn ang="0">
                <a:pos x="connsiteX11197" y="connsiteY11197"/>
              </a:cxn>
              <a:cxn ang="0">
                <a:pos x="connsiteX11198" y="connsiteY11198"/>
              </a:cxn>
              <a:cxn ang="0">
                <a:pos x="connsiteX11199" y="connsiteY11199"/>
              </a:cxn>
              <a:cxn ang="0">
                <a:pos x="connsiteX11200" y="connsiteY11200"/>
              </a:cxn>
              <a:cxn ang="0">
                <a:pos x="connsiteX11201" y="connsiteY11201"/>
              </a:cxn>
              <a:cxn ang="0">
                <a:pos x="connsiteX11202" y="connsiteY11202"/>
              </a:cxn>
              <a:cxn ang="0">
                <a:pos x="connsiteX11203" y="connsiteY11203"/>
              </a:cxn>
              <a:cxn ang="0">
                <a:pos x="connsiteX11204" y="connsiteY11204"/>
              </a:cxn>
              <a:cxn ang="0">
                <a:pos x="connsiteX11205" y="connsiteY11205"/>
              </a:cxn>
              <a:cxn ang="0">
                <a:pos x="connsiteX11206" y="connsiteY11206"/>
              </a:cxn>
              <a:cxn ang="0">
                <a:pos x="connsiteX11207" y="connsiteY11207"/>
              </a:cxn>
              <a:cxn ang="0">
                <a:pos x="connsiteX11208" y="connsiteY11208"/>
              </a:cxn>
              <a:cxn ang="0">
                <a:pos x="connsiteX11209" y="connsiteY11209"/>
              </a:cxn>
              <a:cxn ang="0">
                <a:pos x="connsiteX11210" y="connsiteY11210"/>
              </a:cxn>
              <a:cxn ang="0">
                <a:pos x="connsiteX11211" y="connsiteY11211"/>
              </a:cxn>
              <a:cxn ang="0">
                <a:pos x="connsiteX11212" y="connsiteY11212"/>
              </a:cxn>
              <a:cxn ang="0">
                <a:pos x="connsiteX11213" y="connsiteY11213"/>
              </a:cxn>
              <a:cxn ang="0">
                <a:pos x="connsiteX11214" y="connsiteY11214"/>
              </a:cxn>
              <a:cxn ang="0">
                <a:pos x="connsiteX11215" y="connsiteY11215"/>
              </a:cxn>
              <a:cxn ang="0">
                <a:pos x="connsiteX11216" y="connsiteY11216"/>
              </a:cxn>
              <a:cxn ang="0">
                <a:pos x="connsiteX11217" y="connsiteY11217"/>
              </a:cxn>
              <a:cxn ang="0">
                <a:pos x="connsiteX11218" y="connsiteY11218"/>
              </a:cxn>
              <a:cxn ang="0">
                <a:pos x="connsiteX11219" y="connsiteY11219"/>
              </a:cxn>
              <a:cxn ang="0">
                <a:pos x="connsiteX11220" y="connsiteY11220"/>
              </a:cxn>
              <a:cxn ang="0">
                <a:pos x="connsiteX11221" y="connsiteY11221"/>
              </a:cxn>
              <a:cxn ang="0">
                <a:pos x="connsiteX11222" y="connsiteY11222"/>
              </a:cxn>
              <a:cxn ang="0">
                <a:pos x="connsiteX11223" y="connsiteY11223"/>
              </a:cxn>
              <a:cxn ang="0">
                <a:pos x="connsiteX11224" y="connsiteY11224"/>
              </a:cxn>
              <a:cxn ang="0">
                <a:pos x="connsiteX11225" y="connsiteY11225"/>
              </a:cxn>
              <a:cxn ang="0">
                <a:pos x="connsiteX11226" y="connsiteY11226"/>
              </a:cxn>
              <a:cxn ang="0">
                <a:pos x="connsiteX11227" y="connsiteY11227"/>
              </a:cxn>
              <a:cxn ang="0">
                <a:pos x="connsiteX11228" y="connsiteY11228"/>
              </a:cxn>
              <a:cxn ang="0">
                <a:pos x="connsiteX11229" y="connsiteY11229"/>
              </a:cxn>
              <a:cxn ang="0">
                <a:pos x="connsiteX11230" y="connsiteY11230"/>
              </a:cxn>
              <a:cxn ang="0">
                <a:pos x="connsiteX11231" y="connsiteY11231"/>
              </a:cxn>
              <a:cxn ang="0">
                <a:pos x="connsiteX11232" y="connsiteY11232"/>
              </a:cxn>
              <a:cxn ang="0">
                <a:pos x="connsiteX11233" y="connsiteY11233"/>
              </a:cxn>
              <a:cxn ang="0">
                <a:pos x="connsiteX11234" y="connsiteY11234"/>
              </a:cxn>
              <a:cxn ang="0">
                <a:pos x="connsiteX11235" y="connsiteY11235"/>
              </a:cxn>
              <a:cxn ang="0">
                <a:pos x="connsiteX11236" y="connsiteY11236"/>
              </a:cxn>
              <a:cxn ang="0">
                <a:pos x="connsiteX11237" y="connsiteY11237"/>
              </a:cxn>
              <a:cxn ang="0">
                <a:pos x="connsiteX11238" y="connsiteY11238"/>
              </a:cxn>
              <a:cxn ang="0">
                <a:pos x="connsiteX11239" y="connsiteY11239"/>
              </a:cxn>
              <a:cxn ang="0">
                <a:pos x="connsiteX11240" y="connsiteY11240"/>
              </a:cxn>
              <a:cxn ang="0">
                <a:pos x="connsiteX11241" y="connsiteY11241"/>
              </a:cxn>
              <a:cxn ang="0">
                <a:pos x="connsiteX11242" y="connsiteY11242"/>
              </a:cxn>
              <a:cxn ang="0">
                <a:pos x="connsiteX11243" y="connsiteY11243"/>
              </a:cxn>
              <a:cxn ang="0">
                <a:pos x="connsiteX11244" y="connsiteY11244"/>
              </a:cxn>
              <a:cxn ang="0">
                <a:pos x="connsiteX11245" y="connsiteY11245"/>
              </a:cxn>
              <a:cxn ang="0">
                <a:pos x="connsiteX11246" y="connsiteY11246"/>
              </a:cxn>
              <a:cxn ang="0">
                <a:pos x="connsiteX11247" y="connsiteY11247"/>
              </a:cxn>
              <a:cxn ang="0">
                <a:pos x="connsiteX11248" y="connsiteY11248"/>
              </a:cxn>
              <a:cxn ang="0">
                <a:pos x="connsiteX11249" y="connsiteY11249"/>
              </a:cxn>
              <a:cxn ang="0">
                <a:pos x="connsiteX11250" y="connsiteY11250"/>
              </a:cxn>
              <a:cxn ang="0">
                <a:pos x="connsiteX11251" y="connsiteY11251"/>
              </a:cxn>
              <a:cxn ang="0">
                <a:pos x="connsiteX11252" y="connsiteY11252"/>
              </a:cxn>
              <a:cxn ang="0">
                <a:pos x="connsiteX11253" y="connsiteY11253"/>
              </a:cxn>
              <a:cxn ang="0">
                <a:pos x="connsiteX11254" y="connsiteY11254"/>
              </a:cxn>
              <a:cxn ang="0">
                <a:pos x="connsiteX11255" y="connsiteY11255"/>
              </a:cxn>
              <a:cxn ang="0">
                <a:pos x="connsiteX11256" y="connsiteY11256"/>
              </a:cxn>
              <a:cxn ang="0">
                <a:pos x="connsiteX11257" y="connsiteY11257"/>
              </a:cxn>
              <a:cxn ang="0">
                <a:pos x="connsiteX11258" y="connsiteY11258"/>
              </a:cxn>
              <a:cxn ang="0">
                <a:pos x="connsiteX11259" y="connsiteY11259"/>
              </a:cxn>
              <a:cxn ang="0">
                <a:pos x="connsiteX11260" y="connsiteY11260"/>
              </a:cxn>
              <a:cxn ang="0">
                <a:pos x="connsiteX11261" y="connsiteY11261"/>
              </a:cxn>
              <a:cxn ang="0">
                <a:pos x="connsiteX11262" y="connsiteY11262"/>
              </a:cxn>
              <a:cxn ang="0">
                <a:pos x="connsiteX11263" y="connsiteY11263"/>
              </a:cxn>
              <a:cxn ang="0">
                <a:pos x="connsiteX11264" y="connsiteY11264"/>
              </a:cxn>
              <a:cxn ang="0">
                <a:pos x="connsiteX11265" y="connsiteY11265"/>
              </a:cxn>
              <a:cxn ang="0">
                <a:pos x="connsiteX11266" y="connsiteY11266"/>
              </a:cxn>
              <a:cxn ang="0">
                <a:pos x="connsiteX11267" y="connsiteY11267"/>
              </a:cxn>
              <a:cxn ang="0">
                <a:pos x="connsiteX11268" y="connsiteY11268"/>
              </a:cxn>
              <a:cxn ang="0">
                <a:pos x="connsiteX11269" y="connsiteY11269"/>
              </a:cxn>
              <a:cxn ang="0">
                <a:pos x="connsiteX11270" y="connsiteY11270"/>
              </a:cxn>
              <a:cxn ang="0">
                <a:pos x="connsiteX11271" y="connsiteY11271"/>
              </a:cxn>
              <a:cxn ang="0">
                <a:pos x="connsiteX11272" y="connsiteY11272"/>
              </a:cxn>
              <a:cxn ang="0">
                <a:pos x="connsiteX11273" y="connsiteY11273"/>
              </a:cxn>
              <a:cxn ang="0">
                <a:pos x="connsiteX11274" y="connsiteY11274"/>
              </a:cxn>
              <a:cxn ang="0">
                <a:pos x="connsiteX11275" y="connsiteY11275"/>
              </a:cxn>
              <a:cxn ang="0">
                <a:pos x="connsiteX11276" y="connsiteY11276"/>
              </a:cxn>
              <a:cxn ang="0">
                <a:pos x="connsiteX11277" y="connsiteY11277"/>
              </a:cxn>
              <a:cxn ang="0">
                <a:pos x="connsiteX11278" y="connsiteY11278"/>
              </a:cxn>
              <a:cxn ang="0">
                <a:pos x="connsiteX11279" y="connsiteY11279"/>
              </a:cxn>
              <a:cxn ang="0">
                <a:pos x="connsiteX11280" y="connsiteY11280"/>
              </a:cxn>
              <a:cxn ang="0">
                <a:pos x="connsiteX11281" y="connsiteY11281"/>
              </a:cxn>
              <a:cxn ang="0">
                <a:pos x="connsiteX11282" y="connsiteY11282"/>
              </a:cxn>
              <a:cxn ang="0">
                <a:pos x="connsiteX11283" y="connsiteY11283"/>
              </a:cxn>
              <a:cxn ang="0">
                <a:pos x="connsiteX11284" y="connsiteY11284"/>
              </a:cxn>
              <a:cxn ang="0">
                <a:pos x="connsiteX11285" y="connsiteY11285"/>
              </a:cxn>
              <a:cxn ang="0">
                <a:pos x="connsiteX11286" y="connsiteY11286"/>
              </a:cxn>
              <a:cxn ang="0">
                <a:pos x="connsiteX11287" y="connsiteY11287"/>
              </a:cxn>
              <a:cxn ang="0">
                <a:pos x="connsiteX11288" y="connsiteY11288"/>
              </a:cxn>
              <a:cxn ang="0">
                <a:pos x="connsiteX11289" y="connsiteY11289"/>
              </a:cxn>
              <a:cxn ang="0">
                <a:pos x="connsiteX11290" y="connsiteY11290"/>
              </a:cxn>
              <a:cxn ang="0">
                <a:pos x="connsiteX11291" y="connsiteY11291"/>
              </a:cxn>
              <a:cxn ang="0">
                <a:pos x="connsiteX11292" y="connsiteY11292"/>
              </a:cxn>
              <a:cxn ang="0">
                <a:pos x="connsiteX11293" y="connsiteY11293"/>
              </a:cxn>
              <a:cxn ang="0">
                <a:pos x="connsiteX11294" y="connsiteY11294"/>
              </a:cxn>
              <a:cxn ang="0">
                <a:pos x="connsiteX11295" y="connsiteY11295"/>
              </a:cxn>
              <a:cxn ang="0">
                <a:pos x="connsiteX11296" y="connsiteY11296"/>
              </a:cxn>
              <a:cxn ang="0">
                <a:pos x="connsiteX11297" y="connsiteY11297"/>
              </a:cxn>
              <a:cxn ang="0">
                <a:pos x="connsiteX11298" y="connsiteY11298"/>
              </a:cxn>
              <a:cxn ang="0">
                <a:pos x="connsiteX11299" y="connsiteY11299"/>
              </a:cxn>
              <a:cxn ang="0">
                <a:pos x="connsiteX11300" y="connsiteY11300"/>
              </a:cxn>
              <a:cxn ang="0">
                <a:pos x="connsiteX11301" y="connsiteY11301"/>
              </a:cxn>
              <a:cxn ang="0">
                <a:pos x="connsiteX11302" y="connsiteY11302"/>
              </a:cxn>
              <a:cxn ang="0">
                <a:pos x="connsiteX11303" y="connsiteY11303"/>
              </a:cxn>
              <a:cxn ang="0">
                <a:pos x="connsiteX11304" y="connsiteY11304"/>
              </a:cxn>
              <a:cxn ang="0">
                <a:pos x="connsiteX11305" y="connsiteY11305"/>
              </a:cxn>
              <a:cxn ang="0">
                <a:pos x="connsiteX11306" y="connsiteY11306"/>
              </a:cxn>
              <a:cxn ang="0">
                <a:pos x="connsiteX11307" y="connsiteY11307"/>
              </a:cxn>
              <a:cxn ang="0">
                <a:pos x="connsiteX11308" y="connsiteY11308"/>
              </a:cxn>
              <a:cxn ang="0">
                <a:pos x="connsiteX11309" y="connsiteY11309"/>
              </a:cxn>
              <a:cxn ang="0">
                <a:pos x="connsiteX11310" y="connsiteY11310"/>
              </a:cxn>
              <a:cxn ang="0">
                <a:pos x="connsiteX11311" y="connsiteY11311"/>
              </a:cxn>
              <a:cxn ang="0">
                <a:pos x="connsiteX11312" y="connsiteY11312"/>
              </a:cxn>
              <a:cxn ang="0">
                <a:pos x="connsiteX11313" y="connsiteY11313"/>
              </a:cxn>
              <a:cxn ang="0">
                <a:pos x="connsiteX11314" y="connsiteY11314"/>
              </a:cxn>
              <a:cxn ang="0">
                <a:pos x="connsiteX11315" y="connsiteY11315"/>
              </a:cxn>
              <a:cxn ang="0">
                <a:pos x="connsiteX11316" y="connsiteY11316"/>
              </a:cxn>
              <a:cxn ang="0">
                <a:pos x="connsiteX11317" y="connsiteY11317"/>
              </a:cxn>
              <a:cxn ang="0">
                <a:pos x="connsiteX11318" y="connsiteY11318"/>
              </a:cxn>
              <a:cxn ang="0">
                <a:pos x="connsiteX11319" y="connsiteY11319"/>
              </a:cxn>
              <a:cxn ang="0">
                <a:pos x="connsiteX11320" y="connsiteY11320"/>
              </a:cxn>
              <a:cxn ang="0">
                <a:pos x="connsiteX11321" y="connsiteY11321"/>
              </a:cxn>
              <a:cxn ang="0">
                <a:pos x="connsiteX11322" y="connsiteY11322"/>
              </a:cxn>
              <a:cxn ang="0">
                <a:pos x="connsiteX11323" y="connsiteY11323"/>
              </a:cxn>
              <a:cxn ang="0">
                <a:pos x="connsiteX11324" y="connsiteY11324"/>
              </a:cxn>
              <a:cxn ang="0">
                <a:pos x="connsiteX11325" y="connsiteY11325"/>
              </a:cxn>
              <a:cxn ang="0">
                <a:pos x="connsiteX11326" y="connsiteY11326"/>
              </a:cxn>
              <a:cxn ang="0">
                <a:pos x="connsiteX11327" y="connsiteY11327"/>
              </a:cxn>
              <a:cxn ang="0">
                <a:pos x="connsiteX11328" y="connsiteY11328"/>
              </a:cxn>
              <a:cxn ang="0">
                <a:pos x="connsiteX11329" y="connsiteY11329"/>
              </a:cxn>
              <a:cxn ang="0">
                <a:pos x="connsiteX11330" y="connsiteY11330"/>
              </a:cxn>
              <a:cxn ang="0">
                <a:pos x="connsiteX11331" y="connsiteY11331"/>
              </a:cxn>
              <a:cxn ang="0">
                <a:pos x="connsiteX11332" y="connsiteY11332"/>
              </a:cxn>
              <a:cxn ang="0">
                <a:pos x="connsiteX11333" y="connsiteY11333"/>
              </a:cxn>
              <a:cxn ang="0">
                <a:pos x="connsiteX11334" y="connsiteY11334"/>
              </a:cxn>
              <a:cxn ang="0">
                <a:pos x="connsiteX11335" y="connsiteY11335"/>
              </a:cxn>
              <a:cxn ang="0">
                <a:pos x="connsiteX11336" y="connsiteY11336"/>
              </a:cxn>
              <a:cxn ang="0">
                <a:pos x="connsiteX11337" y="connsiteY11337"/>
              </a:cxn>
              <a:cxn ang="0">
                <a:pos x="connsiteX11338" y="connsiteY11338"/>
              </a:cxn>
              <a:cxn ang="0">
                <a:pos x="connsiteX11339" y="connsiteY11339"/>
              </a:cxn>
              <a:cxn ang="0">
                <a:pos x="connsiteX11340" y="connsiteY11340"/>
              </a:cxn>
              <a:cxn ang="0">
                <a:pos x="connsiteX11341" y="connsiteY11341"/>
              </a:cxn>
              <a:cxn ang="0">
                <a:pos x="connsiteX11342" y="connsiteY11342"/>
              </a:cxn>
              <a:cxn ang="0">
                <a:pos x="connsiteX11343" y="connsiteY11343"/>
              </a:cxn>
              <a:cxn ang="0">
                <a:pos x="connsiteX11344" y="connsiteY11344"/>
              </a:cxn>
              <a:cxn ang="0">
                <a:pos x="connsiteX11345" y="connsiteY11345"/>
              </a:cxn>
              <a:cxn ang="0">
                <a:pos x="connsiteX11346" y="connsiteY11346"/>
              </a:cxn>
              <a:cxn ang="0">
                <a:pos x="connsiteX11347" y="connsiteY11347"/>
              </a:cxn>
              <a:cxn ang="0">
                <a:pos x="connsiteX11348" y="connsiteY11348"/>
              </a:cxn>
              <a:cxn ang="0">
                <a:pos x="connsiteX11349" y="connsiteY11349"/>
              </a:cxn>
              <a:cxn ang="0">
                <a:pos x="connsiteX11350" y="connsiteY11350"/>
              </a:cxn>
              <a:cxn ang="0">
                <a:pos x="connsiteX11351" y="connsiteY11351"/>
              </a:cxn>
              <a:cxn ang="0">
                <a:pos x="connsiteX11352" y="connsiteY11352"/>
              </a:cxn>
              <a:cxn ang="0">
                <a:pos x="connsiteX11353" y="connsiteY11353"/>
              </a:cxn>
              <a:cxn ang="0">
                <a:pos x="connsiteX11354" y="connsiteY11354"/>
              </a:cxn>
              <a:cxn ang="0">
                <a:pos x="connsiteX11355" y="connsiteY11355"/>
              </a:cxn>
              <a:cxn ang="0">
                <a:pos x="connsiteX11356" y="connsiteY11356"/>
              </a:cxn>
              <a:cxn ang="0">
                <a:pos x="connsiteX11357" y="connsiteY11357"/>
              </a:cxn>
              <a:cxn ang="0">
                <a:pos x="connsiteX11358" y="connsiteY11358"/>
              </a:cxn>
              <a:cxn ang="0">
                <a:pos x="connsiteX11359" y="connsiteY11359"/>
              </a:cxn>
              <a:cxn ang="0">
                <a:pos x="connsiteX11360" y="connsiteY11360"/>
              </a:cxn>
              <a:cxn ang="0">
                <a:pos x="connsiteX11361" y="connsiteY11361"/>
              </a:cxn>
              <a:cxn ang="0">
                <a:pos x="connsiteX11362" y="connsiteY11362"/>
              </a:cxn>
              <a:cxn ang="0">
                <a:pos x="connsiteX11363" y="connsiteY11363"/>
              </a:cxn>
              <a:cxn ang="0">
                <a:pos x="connsiteX11364" y="connsiteY11364"/>
              </a:cxn>
              <a:cxn ang="0">
                <a:pos x="connsiteX11365" y="connsiteY11365"/>
              </a:cxn>
              <a:cxn ang="0">
                <a:pos x="connsiteX11366" y="connsiteY11366"/>
              </a:cxn>
              <a:cxn ang="0">
                <a:pos x="connsiteX11367" y="connsiteY11367"/>
              </a:cxn>
              <a:cxn ang="0">
                <a:pos x="connsiteX11368" y="connsiteY11368"/>
              </a:cxn>
              <a:cxn ang="0">
                <a:pos x="connsiteX11369" y="connsiteY11369"/>
              </a:cxn>
              <a:cxn ang="0">
                <a:pos x="connsiteX11370" y="connsiteY11370"/>
              </a:cxn>
              <a:cxn ang="0">
                <a:pos x="connsiteX11371" y="connsiteY11371"/>
              </a:cxn>
              <a:cxn ang="0">
                <a:pos x="connsiteX11372" y="connsiteY11372"/>
              </a:cxn>
              <a:cxn ang="0">
                <a:pos x="connsiteX11373" y="connsiteY11373"/>
              </a:cxn>
              <a:cxn ang="0">
                <a:pos x="connsiteX11374" y="connsiteY11374"/>
              </a:cxn>
              <a:cxn ang="0">
                <a:pos x="connsiteX11375" y="connsiteY11375"/>
              </a:cxn>
              <a:cxn ang="0">
                <a:pos x="connsiteX11376" y="connsiteY11376"/>
              </a:cxn>
              <a:cxn ang="0">
                <a:pos x="connsiteX11377" y="connsiteY11377"/>
              </a:cxn>
              <a:cxn ang="0">
                <a:pos x="connsiteX11378" y="connsiteY11378"/>
              </a:cxn>
              <a:cxn ang="0">
                <a:pos x="connsiteX11379" y="connsiteY11379"/>
              </a:cxn>
              <a:cxn ang="0">
                <a:pos x="connsiteX11380" y="connsiteY11380"/>
              </a:cxn>
              <a:cxn ang="0">
                <a:pos x="connsiteX11381" y="connsiteY11381"/>
              </a:cxn>
              <a:cxn ang="0">
                <a:pos x="connsiteX11382" y="connsiteY11382"/>
              </a:cxn>
              <a:cxn ang="0">
                <a:pos x="connsiteX11383" y="connsiteY11383"/>
              </a:cxn>
              <a:cxn ang="0">
                <a:pos x="connsiteX11384" y="connsiteY11384"/>
              </a:cxn>
              <a:cxn ang="0">
                <a:pos x="connsiteX11385" y="connsiteY11385"/>
              </a:cxn>
              <a:cxn ang="0">
                <a:pos x="connsiteX11386" y="connsiteY11386"/>
              </a:cxn>
              <a:cxn ang="0">
                <a:pos x="connsiteX11387" y="connsiteY11387"/>
              </a:cxn>
              <a:cxn ang="0">
                <a:pos x="connsiteX11388" y="connsiteY11388"/>
              </a:cxn>
              <a:cxn ang="0">
                <a:pos x="connsiteX11389" y="connsiteY11389"/>
              </a:cxn>
              <a:cxn ang="0">
                <a:pos x="connsiteX11390" y="connsiteY11390"/>
              </a:cxn>
              <a:cxn ang="0">
                <a:pos x="connsiteX11391" y="connsiteY11391"/>
              </a:cxn>
              <a:cxn ang="0">
                <a:pos x="connsiteX11392" y="connsiteY11392"/>
              </a:cxn>
              <a:cxn ang="0">
                <a:pos x="connsiteX11393" y="connsiteY11393"/>
              </a:cxn>
              <a:cxn ang="0">
                <a:pos x="connsiteX11394" y="connsiteY11394"/>
              </a:cxn>
              <a:cxn ang="0">
                <a:pos x="connsiteX11395" y="connsiteY11395"/>
              </a:cxn>
              <a:cxn ang="0">
                <a:pos x="connsiteX11396" y="connsiteY11396"/>
              </a:cxn>
              <a:cxn ang="0">
                <a:pos x="connsiteX11397" y="connsiteY11397"/>
              </a:cxn>
              <a:cxn ang="0">
                <a:pos x="connsiteX11398" y="connsiteY11398"/>
              </a:cxn>
              <a:cxn ang="0">
                <a:pos x="connsiteX11399" y="connsiteY11399"/>
              </a:cxn>
              <a:cxn ang="0">
                <a:pos x="connsiteX11400" y="connsiteY11400"/>
              </a:cxn>
              <a:cxn ang="0">
                <a:pos x="connsiteX11401" y="connsiteY11401"/>
              </a:cxn>
              <a:cxn ang="0">
                <a:pos x="connsiteX11402" y="connsiteY11402"/>
              </a:cxn>
              <a:cxn ang="0">
                <a:pos x="connsiteX11403" y="connsiteY11403"/>
              </a:cxn>
              <a:cxn ang="0">
                <a:pos x="connsiteX11404" y="connsiteY11404"/>
              </a:cxn>
              <a:cxn ang="0">
                <a:pos x="connsiteX11405" y="connsiteY11405"/>
              </a:cxn>
              <a:cxn ang="0">
                <a:pos x="connsiteX11406" y="connsiteY11406"/>
              </a:cxn>
              <a:cxn ang="0">
                <a:pos x="connsiteX11407" y="connsiteY11407"/>
              </a:cxn>
              <a:cxn ang="0">
                <a:pos x="connsiteX11408" y="connsiteY11408"/>
              </a:cxn>
              <a:cxn ang="0">
                <a:pos x="connsiteX11409" y="connsiteY11409"/>
              </a:cxn>
              <a:cxn ang="0">
                <a:pos x="connsiteX11410" y="connsiteY11410"/>
              </a:cxn>
              <a:cxn ang="0">
                <a:pos x="connsiteX11411" y="connsiteY11411"/>
              </a:cxn>
              <a:cxn ang="0">
                <a:pos x="connsiteX11412" y="connsiteY11412"/>
              </a:cxn>
              <a:cxn ang="0">
                <a:pos x="connsiteX11413" y="connsiteY11413"/>
              </a:cxn>
              <a:cxn ang="0">
                <a:pos x="connsiteX11414" y="connsiteY11414"/>
              </a:cxn>
              <a:cxn ang="0">
                <a:pos x="connsiteX11415" y="connsiteY11415"/>
              </a:cxn>
              <a:cxn ang="0">
                <a:pos x="connsiteX11416" y="connsiteY11416"/>
              </a:cxn>
              <a:cxn ang="0">
                <a:pos x="connsiteX11417" y="connsiteY11417"/>
              </a:cxn>
              <a:cxn ang="0">
                <a:pos x="connsiteX11418" y="connsiteY11418"/>
              </a:cxn>
              <a:cxn ang="0">
                <a:pos x="connsiteX11419" y="connsiteY11419"/>
              </a:cxn>
              <a:cxn ang="0">
                <a:pos x="connsiteX11420" y="connsiteY11420"/>
              </a:cxn>
              <a:cxn ang="0">
                <a:pos x="connsiteX11421" y="connsiteY11421"/>
              </a:cxn>
              <a:cxn ang="0">
                <a:pos x="connsiteX11422" y="connsiteY11422"/>
              </a:cxn>
              <a:cxn ang="0">
                <a:pos x="connsiteX11423" y="connsiteY11423"/>
              </a:cxn>
              <a:cxn ang="0">
                <a:pos x="connsiteX11424" y="connsiteY11424"/>
              </a:cxn>
              <a:cxn ang="0">
                <a:pos x="connsiteX11425" y="connsiteY11425"/>
              </a:cxn>
              <a:cxn ang="0">
                <a:pos x="connsiteX11426" y="connsiteY11426"/>
              </a:cxn>
              <a:cxn ang="0">
                <a:pos x="connsiteX11427" y="connsiteY11427"/>
              </a:cxn>
              <a:cxn ang="0">
                <a:pos x="connsiteX11428" y="connsiteY11428"/>
              </a:cxn>
              <a:cxn ang="0">
                <a:pos x="connsiteX11429" y="connsiteY11429"/>
              </a:cxn>
              <a:cxn ang="0">
                <a:pos x="connsiteX11430" y="connsiteY11430"/>
              </a:cxn>
              <a:cxn ang="0">
                <a:pos x="connsiteX11431" y="connsiteY11431"/>
              </a:cxn>
              <a:cxn ang="0">
                <a:pos x="connsiteX11432" y="connsiteY11432"/>
              </a:cxn>
              <a:cxn ang="0">
                <a:pos x="connsiteX11433" y="connsiteY11433"/>
              </a:cxn>
              <a:cxn ang="0">
                <a:pos x="connsiteX11434" y="connsiteY11434"/>
              </a:cxn>
              <a:cxn ang="0">
                <a:pos x="connsiteX11435" y="connsiteY11435"/>
              </a:cxn>
              <a:cxn ang="0">
                <a:pos x="connsiteX11436" y="connsiteY11436"/>
              </a:cxn>
              <a:cxn ang="0">
                <a:pos x="connsiteX11437" y="connsiteY11437"/>
              </a:cxn>
              <a:cxn ang="0">
                <a:pos x="connsiteX11438" y="connsiteY11438"/>
              </a:cxn>
              <a:cxn ang="0">
                <a:pos x="connsiteX11439" y="connsiteY11439"/>
              </a:cxn>
              <a:cxn ang="0">
                <a:pos x="connsiteX11440" y="connsiteY11440"/>
              </a:cxn>
              <a:cxn ang="0">
                <a:pos x="connsiteX11441" y="connsiteY11441"/>
              </a:cxn>
              <a:cxn ang="0">
                <a:pos x="connsiteX11442" y="connsiteY11442"/>
              </a:cxn>
              <a:cxn ang="0">
                <a:pos x="connsiteX11443" y="connsiteY11443"/>
              </a:cxn>
              <a:cxn ang="0">
                <a:pos x="connsiteX11444" y="connsiteY11444"/>
              </a:cxn>
              <a:cxn ang="0">
                <a:pos x="connsiteX11445" y="connsiteY11445"/>
              </a:cxn>
              <a:cxn ang="0">
                <a:pos x="connsiteX11446" y="connsiteY11446"/>
              </a:cxn>
              <a:cxn ang="0">
                <a:pos x="connsiteX11447" y="connsiteY11447"/>
              </a:cxn>
              <a:cxn ang="0">
                <a:pos x="connsiteX11448" y="connsiteY11448"/>
              </a:cxn>
              <a:cxn ang="0">
                <a:pos x="connsiteX11449" y="connsiteY11449"/>
              </a:cxn>
              <a:cxn ang="0">
                <a:pos x="connsiteX11450" y="connsiteY11450"/>
              </a:cxn>
              <a:cxn ang="0">
                <a:pos x="connsiteX11451" y="connsiteY11451"/>
              </a:cxn>
              <a:cxn ang="0">
                <a:pos x="connsiteX11452" y="connsiteY11452"/>
              </a:cxn>
              <a:cxn ang="0">
                <a:pos x="connsiteX11453" y="connsiteY11453"/>
              </a:cxn>
              <a:cxn ang="0">
                <a:pos x="connsiteX11454" y="connsiteY11454"/>
              </a:cxn>
              <a:cxn ang="0">
                <a:pos x="connsiteX11455" y="connsiteY11455"/>
              </a:cxn>
              <a:cxn ang="0">
                <a:pos x="connsiteX11456" y="connsiteY11456"/>
              </a:cxn>
              <a:cxn ang="0">
                <a:pos x="connsiteX11457" y="connsiteY11457"/>
              </a:cxn>
              <a:cxn ang="0">
                <a:pos x="connsiteX11458" y="connsiteY11458"/>
              </a:cxn>
              <a:cxn ang="0">
                <a:pos x="connsiteX11459" y="connsiteY11459"/>
              </a:cxn>
              <a:cxn ang="0">
                <a:pos x="connsiteX11460" y="connsiteY11460"/>
              </a:cxn>
              <a:cxn ang="0">
                <a:pos x="connsiteX11461" y="connsiteY11461"/>
              </a:cxn>
              <a:cxn ang="0">
                <a:pos x="connsiteX11462" y="connsiteY11462"/>
              </a:cxn>
              <a:cxn ang="0">
                <a:pos x="connsiteX11463" y="connsiteY11463"/>
              </a:cxn>
              <a:cxn ang="0">
                <a:pos x="connsiteX11464" y="connsiteY11464"/>
              </a:cxn>
              <a:cxn ang="0">
                <a:pos x="connsiteX11465" y="connsiteY11465"/>
              </a:cxn>
              <a:cxn ang="0">
                <a:pos x="connsiteX11466" y="connsiteY11466"/>
              </a:cxn>
              <a:cxn ang="0">
                <a:pos x="connsiteX11467" y="connsiteY11467"/>
              </a:cxn>
              <a:cxn ang="0">
                <a:pos x="connsiteX11468" y="connsiteY11468"/>
              </a:cxn>
              <a:cxn ang="0">
                <a:pos x="connsiteX11469" y="connsiteY11469"/>
              </a:cxn>
              <a:cxn ang="0">
                <a:pos x="connsiteX11470" y="connsiteY11470"/>
              </a:cxn>
              <a:cxn ang="0">
                <a:pos x="connsiteX11471" y="connsiteY11471"/>
              </a:cxn>
              <a:cxn ang="0">
                <a:pos x="connsiteX11472" y="connsiteY11472"/>
              </a:cxn>
              <a:cxn ang="0">
                <a:pos x="connsiteX11473" y="connsiteY11473"/>
              </a:cxn>
              <a:cxn ang="0">
                <a:pos x="connsiteX11474" y="connsiteY11474"/>
              </a:cxn>
              <a:cxn ang="0">
                <a:pos x="connsiteX11475" y="connsiteY11475"/>
              </a:cxn>
              <a:cxn ang="0">
                <a:pos x="connsiteX11476" y="connsiteY11476"/>
              </a:cxn>
              <a:cxn ang="0">
                <a:pos x="connsiteX11477" y="connsiteY11477"/>
              </a:cxn>
              <a:cxn ang="0">
                <a:pos x="connsiteX11478" y="connsiteY11478"/>
              </a:cxn>
              <a:cxn ang="0">
                <a:pos x="connsiteX11479" y="connsiteY11479"/>
              </a:cxn>
              <a:cxn ang="0">
                <a:pos x="connsiteX11480" y="connsiteY11480"/>
              </a:cxn>
              <a:cxn ang="0">
                <a:pos x="connsiteX11481" y="connsiteY11481"/>
              </a:cxn>
              <a:cxn ang="0">
                <a:pos x="connsiteX11482" y="connsiteY11482"/>
              </a:cxn>
              <a:cxn ang="0">
                <a:pos x="connsiteX11483" y="connsiteY11483"/>
              </a:cxn>
              <a:cxn ang="0">
                <a:pos x="connsiteX11484" y="connsiteY11484"/>
              </a:cxn>
              <a:cxn ang="0">
                <a:pos x="connsiteX11485" y="connsiteY11485"/>
              </a:cxn>
              <a:cxn ang="0">
                <a:pos x="connsiteX11486" y="connsiteY11486"/>
              </a:cxn>
              <a:cxn ang="0">
                <a:pos x="connsiteX11487" y="connsiteY11487"/>
              </a:cxn>
              <a:cxn ang="0">
                <a:pos x="connsiteX11488" y="connsiteY11488"/>
              </a:cxn>
              <a:cxn ang="0">
                <a:pos x="connsiteX11489" y="connsiteY11489"/>
              </a:cxn>
              <a:cxn ang="0">
                <a:pos x="connsiteX11490" y="connsiteY11490"/>
              </a:cxn>
              <a:cxn ang="0">
                <a:pos x="connsiteX11491" y="connsiteY11491"/>
              </a:cxn>
              <a:cxn ang="0">
                <a:pos x="connsiteX11492" y="connsiteY11492"/>
              </a:cxn>
              <a:cxn ang="0">
                <a:pos x="connsiteX11493" y="connsiteY11493"/>
              </a:cxn>
              <a:cxn ang="0">
                <a:pos x="connsiteX11494" y="connsiteY11494"/>
              </a:cxn>
              <a:cxn ang="0">
                <a:pos x="connsiteX11495" y="connsiteY11495"/>
              </a:cxn>
              <a:cxn ang="0">
                <a:pos x="connsiteX11496" y="connsiteY11496"/>
              </a:cxn>
              <a:cxn ang="0">
                <a:pos x="connsiteX11497" y="connsiteY11497"/>
              </a:cxn>
              <a:cxn ang="0">
                <a:pos x="connsiteX11498" y="connsiteY11498"/>
              </a:cxn>
              <a:cxn ang="0">
                <a:pos x="connsiteX11499" y="connsiteY11499"/>
              </a:cxn>
              <a:cxn ang="0">
                <a:pos x="connsiteX11500" y="connsiteY11500"/>
              </a:cxn>
              <a:cxn ang="0">
                <a:pos x="connsiteX11501" y="connsiteY11501"/>
              </a:cxn>
              <a:cxn ang="0">
                <a:pos x="connsiteX11502" y="connsiteY11502"/>
              </a:cxn>
              <a:cxn ang="0">
                <a:pos x="connsiteX11503" y="connsiteY11503"/>
              </a:cxn>
              <a:cxn ang="0">
                <a:pos x="connsiteX11504" y="connsiteY11504"/>
              </a:cxn>
              <a:cxn ang="0">
                <a:pos x="connsiteX11505" y="connsiteY11505"/>
              </a:cxn>
              <a:cxn ang="0">
                <a:pos x="connsiteX11506" y="connsiteY11506"/>
              </a:cxn>
              <a:cxn ang="0">
                <a:pos x="connsiteX11507" y="connsiteY11507"/>
              </a:cxn>
              <a:cxn ang="0">
                <a:pos x="connsiteX11508" y="connsiteY11508"/>
              </a:cxn>
              <a:cxn ang="0">
                <a:pos x="connsiteX11509" y="connsiteY11509"/>
              </a:cxn>
              <a:cxn ang="0">
                <a:pos x="connsiteX11510" y="connsiteY11510"/>
              </a:cxn>
              <a:cxn ang="0">
                <a:pos x="connsiteX11511" y="connsiteY11511"/>
              </a:cxn>
              <a:cxn ang="0">
                <a:pos x="connsiteX11512" y="connsiteY11512"/>
              </a:cxn>
              <a:cxn ang="0">
                <a:pos x="connsiteX11513" y="connsiteY11513"/>
              </a:cxn>
              <a:cxn ang="0">
                <a:pos x="connsiteX11514" y="connsiteY11514"/>
              </a:cxn>
              <a:cxn ang="0">
                <a:pos x="connsiteX11515" y="connsiteY11515"/>
              </a:cxn>
              <a:cxn ang="0">
                <a:pos x="connsiteX11516" y="connsiteY11516"/>
              </a:cxn>
              <a:cxn ang="0">
                <a:pos x="connsiteX11517" y="connsiteY11517"/>
              </a:cxn>
              <a:cxn ang="0">
                <a:pos x="connsiteX11518" y="connsiteY11518"/>
              </a:cxn>
              <a:cxn ang="0">
                <a:pos x="connsiteX11519" y="connsiteY11519"/>
              </a:cxn>
              <a:cxn ang="0">
                <a:pos x="connsiteX11520" y="connsiteY11520"/>
              </a:cxn>
              <a:cxn ang="0">
                <a:pos x="connsiteX11521" y="connsiteY11521"/>
              </a:cxn>
              <a:cxn ang="0">
                <a:pos x="connsiteX11522" y="connsiteY11522"/>
              </a:cxn>
              <a:cxn ang="0">
                <a:pos x="connsiteX11523" y="connsiteY11523"/>
              </a:cxn>
              <a:cxn ang="0">
                <a:pos x="connsiteX11524" y="connsiteY11524"/>
              </a:cxn>
              <a:cxn ang="0">
                <a:pos x="connsiteX11525" y="connsiteY11525"/>
              </a:cxn>
              <a:cxn ang="0">
                <a:pos x="connsiteX11526" y="connsiteY11526"/>
              </a:cxn>
              <a:cxn ang="0">
                <a:pos x="connsiteX11527" y="connsiteY11527"/>
              </a:cxn>
              <a:cxn ang="0">
                <a:pos x="connsiteX11528" y="connsiteY11528"/>
              </a:cxn>
              <a:cxn ang="0">
                <a:pos x="connsiteX11529" y="connsiteY11529"/>
              </a:cxn>
              <a:cxn ang="0">
                <a:pos x="connsiteX11530" y="connsiteY11530"/>
              </a:cxn>
              <a:cxn ang="0">
                <a:pos x="connsiteX11531" y="connsiteY11531"/>
              </a:cxn>
              <a:cxn ang="0">
                <a:pos x="connsiteX11532" y="connsiteY11532"/>
              </a:cxn>
              <a:cxn ang="0">
                <a:pos x="connsiteX11533" y="connsiteY11533"/>
              </a:cxn>
              <a:cxn ang="0">
                <a:pos x="connsiteX11534" y="connsiteY11534"/>
              </a:cxn>
              <a:cxn ang="0">
                <a:pos x="connsiteX11535" y="connsiteY11535"/>
              </a:cxn>
              <a:cxn ang="0">
                <a:pos x="connsiteX11536" y="connsiteY11536"/>
              </a:cxn>
              <a:cxn ang="0">
                <a:pos x="connsiteX11537" y="connsiteY11537"/>
              </a:cxn>
              <a:cxn ang="0">
                <a:pos x="connsiteX11538" y="connsiteY11538"/>
              </a:cxn>
              <a:cxn ang="0">
                <a:pos x="connsiteX11539" y="connsiteY11539"/>
              </a:cxn>
              <a:cxn ang="0">
                <a:pos x="connsiteX11540" y="connsiteY11540"/>
              </a:cxn>
              <a:cxn ang="0">
                <a:pos x="connsiteX11541" y="connsiteY11541"/>
              </a:cxn>
              <a:cxn ang="0">
                <a:pos x="connsiteX11542" y="connsiteY11542"/>
              </a:cxn>
              <a:cxn ang="0">
                <a:pos x="connsiteX11543" y="connsiteY11543"/>
              </a:cxn>
              <a:cxn ang="0">
                <a:pos x="connsiteX11544" y="connsiteY11544"/>
              </a:cxn>
              <a:cxn ang="0">
                <a:pos x="connsiteX11545" y="connsiteY11545"/>
              </a:cxn>
              <a:cxn ang="0">
                <a:pos x="connsiteX11546" y="connsiteY11546"/>
              </a:cxn>
              <a:cxn ang="0">
                <a:pos x="connsiteX11547" y="connsiteY11547"/>
              </a:cxn>
              <a:cxn ang="0">
                <a:pos x="connsiteX11548" y="connsiteY11548"/>
              </a:cxn>
              <a:cxn ang="0">
                <a:pos x="connsiteX11549" y="connsiteY11549"/>
              </a:cxn>
              <a:cxn ang="0">
                <a:pos x="connsiteX11550" y="connsiteY11550"/>
              </a:cxn>
              <a:cxn ang="0">
                <a:pos x="connsiteX11551" y="connsiteY11551"/>
              </a:cxn>
              <a:cxn ang="0">
                <a:pos x="connsiteX11552" y="connsiteY11552"/>
              </a:cxn>
              <a:cxn ang="0">
                <a:pos x="connsiteX11553" y="connsiteY11553"/>
              </a:cxn>
              <a:cxn ang="0">
                <a:pos x="connsiteX11554" y="connsiteY11554"/>
              </a:cxn>
              <a:cxn ang="0">
                <a:pos x="connsiteX11555" y="connsiteY11555"/>
              </a:cxn>
              <a:cxn ang="0">
                <a:pos x="connsiteX11556" y="connsiteY11556"/>
              </a:cxn>
              <a:cxn ang="0">
                <a:pos x="connsiteX11557" y="connsiteY11557"/>
              </a:cxn>
              <a:cxn ang="0">
                <a:pos x="connsiteX11558" y="connsiteY11558"/>
              </a:cxn>
              <a:cxn ang="0">
                <a:pos x="connsiteX11559" y="connsiteY11559"/>
              </a:cxn>
              <a:cxn ang="0">
                <a:pos x="connsiteX11560" y="connsiteY11560"/>
              </a:cxn>
              <a:cxn ang="0">
                <a:pos x="connsiteX11561" y="connsiteY11561"/>
              </a:cxn>
              <a:cxn ang="0">
                <a:pos x="connsiteX11562" y="connsiteY11562"/>
              </a:cxn>
              <a:cxn ang="0">
                <a:pos x="connsiteX11563" y="connsiteY11563"/>
              </a:cxn>
              <a:cxn ang="0">
                <a:pos x="connsiteX11564" y="connsiteY11564"/>
              </a:cxn>
              <a:cxn ang="0">
                <a:pos x="connsiteX11565" y="connsiteY11565"/>
              </a:cxn>
              <a:cxn ang="0">
                <a:pos x="connsiteX11566" y="connsiteY11566"/>
              </a:cxn>
              <a:cxn ang="0">
                <a:pos x="connsiteX11567" y="connsiteY11567"/>
              </a:cxn>
              <a:cxn ang="0">
                <a:pos x="connsiteX11568" y="connsiteY11568"/>
              </a:cxn>
              <a:cxn ang="0">
                <a:pos x="connsiteX11569" y="connsiteY11569"/>
              </a:cxn>
              <a:cxn ang="0">
                <a:pos x="connsiteX11570" y="connsiteY11570"/>
              </a:cxn>
              <a:cxn ang="0">
                <a:pos x="connsiteX11571" y="connsiteY11571"/>
              </a:cxn>
              <a:cxn ang="0">
                <a:pos x="connsiteX11572" y="connsiteY11572"/>
              </a:cxn>
              <a:cxn ang="0">
                <a:pos x="connsiteX11573" y="connsiteY11573"/>
              </a:cxn>
              <a:cxn ang="0">
                <a:pos x="connsiteX11574" y="connsiteY11574"/>
              </a:cxn>
              <a:cxn ang="0">
                <a:pos x="connsiteX11575" y="connsiteY11575"/>
              </a:cxn>
              <a:cxn ang="0">
                <a:pos x="connsiteX11576" y="connsiteY11576"/>
              </a:cxn>
              <a:cxn ang="0">
                <a:pos x="connsiteX11577" y="connsiteY11577"/>
              </a:cxn>
              <a:cxn ang="0">
                <a:pos x="connsiteX11578" y="connsiteY11578"/>
              </a:cxn>
              <a:cxn ang="0">
                <a:pos x="connsiteX11579" y="connsiteY11579"/>
              </a:cxn>
              <a:cxn ang="0">
                <a:pos x="connsiteX11580" y="connsiteY11580"/>
              </a:cxn>
              <a:cxn ang="0">
                <a:pos x="connsiteX11581" y="connsiteY11581"/>
              </a:cxn>
              <a:cxn ang="0">
                <a:pos x="connsiteX11582" y="connsiteY11582"/>
              </a:cxn>
              <a:cxn ang="0">
                <a:pos x="connsiteX11583" y="connsiteY11583"/>
              </a:cxn>
              <a:cxn ang="0">
                <a:pos x="connsiteX11584" y="connsiteY11584"/>
              </a:cxn>
              <a:cxn ang="0">
                <a:pos x="connsiteX11585" y="connsiteY11585"/>
              </a:cxn>
              <a:cxn ang="0">
                <a:pos x="connsiteX11586" y="connsiteY11586"/>
              </a:cxn>
              <a:cxn ang="0">
                <a:pos x="connsiteX11587" y="connsiteY11587"/>
              </a:cxn>
              <a:cxn ang="0">
                <a:pos x="connsiteX11588" y="connsiteY11588"/>
              </a:cxn>
              <a:cxn ang="0">
                <a:pos x="connsiteX11589" y="connsiteY11589"/>
              </a:cxn>
              <a:cxn ang="0">
                <a:pos x="connsiteX11590" y="connsiteY11590"/>
              </a:cxn>
              <a:cxn ang="0">
                <a:pos x="connsiteX11591" y="connsiteY11591"/>
              </a:cxn>
              <a:cxn ang="0">
                <a:pos x="connsiteX11592" y="connsiteY11592"/>
              </a:cxn>
              <a:cxn ang="0">
                <a:pos x="connsiteX11593" y="connsiteY11593"/>
              </a:cxn>
              <a:cxn ang="0">
                <a:pos x="connsiteX11594" y="connsiteY11594"/>
              </a:cxn>
              <a:cxn ang="0">
                <a:pos x="connsiteX11595" y="connsiteY11595"/>
              </a:cxn>
              <a:cxn ang="0">
                <a:pos x="connsiteX11596" y="connsiteY11596"/>
              </a:cxn>
              <a:cxn ang="0">
                <a:pos x="connsiteX11597" y="connsiteY11597"/>
              </a:cxn>
              <a:cxn ang="0">
                <a:pos x="connsiteX11598" y="connsiteY11598"/>
              </a:cxn>
              <a:cxn ang="0">
                <a:pos x="connsiteX11599" y="connsiteY11599"/>
              </a:cxn>
              <a:cxn ang="0">
                <a:pos x="connsiteX11600" y="connsiteY11600"/>
              </a:cxn>
              <a:cxn ang="0">
                <a:pos x="connsiteX11601" y="connsiteY11601"/>
              </a:cxn>
              <a:cxn ang="0">
                <a:pos x="connsiteX11602" y="connsiteY11602"/>
              </a:cxn>
              <a:cxn ang="0">
                <a:pos x="connsiteX11603" y="connsiteY11603"/>
              </a:cxn>
              <a:cxn ang="0">
                <a:pos x="connsiteX11604" y="connsiteY11604"/>
              </a:cxn>
              <a:cxn ang="0">
                <a:pos x="connsiteX11605" y="connsiteY11605"/>
              </a:cxn>
              <a:cxn ang="0">
                <a:pos x="connsiteX11606" y="connsiteY11606"/>
              </a:cxn>
              <a:cxn ang="0">
                <a:pos x="connsiteX11607" y="connsiteY11607"/>
              </a:cxn>
              <a:cxn ang="0">
                <a:pos x="connsiteX11608" y="connsiteY11608"/>
              </a:cxn>
              <a:cxn ang="0">
                <a:pos x="connsiteX11609" y="connsiteY11609"/>
              </a:cxn>
              <a:cxn ang="0">
                <a:pos x="connsiteX11610" y="connsiteY11610"/>
              </a:cxn>
              <a:cxn ang="0">
                <a:pos x="connsiteX11611" y="connsiteY11611"/>
              </a:cxn>
              <a:cxn ang="0">
                <a:pos x="connsiteX11612" y="connsiteY11612"/>
              </a:cxn>
              <a:cxn ang="0">
                <a:pos x="connsiteX11613" y="connsiteY11613"/>
              </a:cxn>
              <a:cxn ang="0">
                <a:pos x="connsiteX11614" y="connsiteY11614"/>
              </a:cxn>
              <a:cxn ang="0">
                <a:pos x="connsiteX11615" y="connsiteY11615"/>
              </a:cxn>
              <a:cxn ang="0">
                <a:pos x="connsiteX11616" y="connsiteY11616"/>
              </a:cxn>
              <a:cxn ang="0">
                <a:pos x="connsiteX11617" y="connsiteY11617"/>
              </a:cxn>
              <a:cxn ang="0">
                <a:pos x="connsiteX11618" y="connsiteY11618"/>
              </a:cxn>
              <a:cxn ang="0">
                <a:pos x="connsiteX11619" y="connsiteY11619"/>
              </a:cxn>
              <a:cxn ang="0">
                <a:pos x="connsiteX11620" y="connsiteY11620"/>
              </a:cxn>
              <a:cxn ang="0">
                <a:pos x="connsiteX11621" y="connsiteY11621"/>
              </a:cxn>
              <a:cxn ang="0">
                <a:pos x="connsiteX11622" y="connsiteY11622"/>
              </a:cxn>
              <a:cxn ang="0">
                <a:pos x="connsiteX11623" y="connsiteY11623"/>
              </a:cxn>
              <a:cxn ang="0">
                <a:pos x="connsiteX11624" y="connsiteY11624"/>
              </a:cxn>
              <a:cxn ang="0">
                <a:pos x="connsiteX11625" y="connsiteY11625"/>
              </a:cxn>
              <a:cxn ang="0">
                <a:pos x="connsiteX11626" y="connsiteY11626"/>
              </a:cxn>
              <a:cxn ang="0">
                <a:pos x="connsiteX11627" y="connsiteY11627"/>
              </a:cxn>
              <a:cxn ang="0">
                <a:pos x="connsiteX11628" y="connsiteY11628"/>
              </a:cxn>
              <a:cxn ang="0">
                <a:pos x="connsiteX11629" y="connsiteY11629"/>
              </a:cxn>
              <a:cxn ang="0">
                <a:pos x="connsiteX11630" y="connsiteY11630"/>
              </a:cxn>
              <a:cxn ang="0">
                <a:pos x="connsiteX11631" y="connsiteY11631"/>
              </a:cxn>
              <a:cxn ang="0">
                <a:pos x="connsiteX11632" y="connsiteY11632"/>
              </a:cxn>
              <a:cxn ang="0">
                <a:pos x="connsiteX11633" y="connsiteY11633"/>
              </a:cxn>
              <a:cxn ang="0">
                <a:pos x="connsiteX11634" y="connsiteY11634"/>
              </a:cxn>
              <a:cxn ang="0">
                <a:pos x="connsiteX11635" y="connsiteY11635"/>
              </a:cxn>
              <a:cxn ang="0">
                <a:pos x="connsiteX11636" y="connsiteY11636"/>
              </a:cxn>
              <a:cxn ang="0">
                <a:pos x="connsiteX11637" y="connsiteY11637"/>
              </a:cxn>
              <a:cxn ang="0">
                <a:pos x="connsiteX11638" y="connsiteY11638"/>
              </a:cxn>
              <a:cxn ang="0">
                <a:pos x="connsiteX11639" y="connsiteY11639"/>
              </a:cxn>
              <a:cxn ang="0">
                <a:pos x="connsiteX11640" y="connsiteY11640"/>
              </a:cxn>
              <a:cxn ang="0">
                <a:pos x="connsiteX11641" y="connsiteY11641"/>
              </a:cxn>
              <a:cxn ang="0">
                <a:pos x="connsiteX11642" y="connsiteY11642"/>
              </a:cxn>
              <a:cxn ang="0">
                <a:pos x="connsiteX11643" y="connsiteY11643"/>
              </a:cxn>
              <a:cxn ang="0">
                <a:pos x="connsiteX11644" y="connsiteY11644"/>
              </a:cxn>
              <a:cxn ang="0">
                <a:pos x="connsiteX11645" y="connsiteY11645"/>
              </a:cxn>
              <a:cxn ang="0">
                <a:pos x="connsiteX11646" y="connsiteY11646"/>
              </a:cxn>
              <a:cxn ang="0">
                <a:pos x="connsiteX11647" y="connsiteY11647"/>
              </a:cxn>
              <a:cxn ang="0">
                <a:pos x="connsiteX11648" y="connsiteY11648"/>
              </a:cxn>
              <a:cxn ang="0">
                <a:pos x="connsiteX11649" y="connsiteY11649"/>
              </a:cxn>
              <a:cxn ang="0">
                <a:pos x="connsiteX11650" y="connsiteY11650"/>
              </a:cxn>
              <a:cxn ang="0">
                <a:pos x="connsiteX11651" y="connsiteY11651"/>
              </a:cxn>
              <a:cxn ang="0">
                <a:pos x="connsiteX11652" y="connsiteY11652"/>
              </a:cxn>
              <a:cxn ang="0">
                <a:pos x="connsiteX11653" y="connsiteY11653"/>
              </a:cxn>
              <a:cxn ang="0">
                <a:pos x="connsiteX11654" y="connsiteY11654"/>
              </a:cxn>
              <a:cxn ang="0">
                <a:pos x="connsiteX11655" y="connsiteY11655"/>
              </a:cxn>
              <a:cxn ang="0">
                <a:pos x="connsiteX11656" y="connsiteY11656"/>
              </a:cxn>
              <a:cxn ang="0">
                <a:pos x="connsiteX11657" y="connsiteY11657"/>
              </a:cxn>
              <a:cxn ang="0">
                <a:pos x="connsiteX11658" y="connsiteY11658"/>
              </a:cxn>
              <a:cxn ang="0">
                <a:pos x="connsiteX11659" y="connsiteY11659"/>
              </a:cxn>
              <a:cxn ang="0">
                <a:pos x="connsiteX11660" y="connsiteY11660"/>
              </a:cxn>
              <a:cxn ang="0">
                <a:pos x="connsiteX11661" y="connsiteY11661"/>
              </a:cxn>
              <a:cxn ang="0">
                <a:pos x="connsiteX11662" y="connsiteY11662"/>
              </a:cxn>
              <a:cxn ang="0">
                <a:pos x="connsiteX11663" y="connsiteY11663"/>
              </a:cxn>
              <a:cxn ang="0">
                <a:pos x="connsiteX11664" y="connsiteY11664"/>
              </a:cxn>
              <a:cxn ang="0">
                <a:pos x="connsiteX11665" y="connsiteY11665"/>
              </a:cxn>
              <a:cxn ang="0">
                <a:pos x="connsiteX11666" y="connsiteY11666"/>
              </a:cxn>
              <a:cxn ang="0">
                <a:pos x="connsiteX11667" y="connsiteY11667"/>
              </a:cxn>
              <a:cxn ang="0">
                <a:pos x="connsiteX11668" y="connsiteY11668"/>
              </a:cxn>
              <a:cxn ang="0">
                <a:pos x="connsiteX11669" y="connsiteY11669"/>
              </a:cxn>
              <a:cxn ang="0">
                <a:pos x="connsiteX11670" y="connsiteY11670"/>
              </a:cxn>
              <a:cxn ang="0">
                <a:pos x="connsiteX11671" y="connsiteY11671"/>
              </a:cxn>
              <a:cxn ang="0">
                <a:pos x="connsiteX11672" y="connsiteY11672"/>
              </a:cxn>
              <a:cxn ang="0">
                <a:pos x="connsiteX11673" y="connsiteY11673"/>
              </a:cxn>
              <a:cxn ang="0">
                <a:pos x="connsiteX11674" y="connsiteY11674"/>
              </a:cxn>
              <a:cxn ang="0">
                <a:pos x="connsiteX11675" y="connsiteY11675"/>
              </a:cxn>
              <a:cxn ang="0">
                <a:pos x="connsiteX11676" y="connsiteY11676"/>
              </a:cxn>
              <a:cxn ang="0">
                <a:pos x="connsiteX11677" y="connsiteY11677"/>
              </a:cxn>
              <a:cxn ang="0">
                <a:pos x="connsiteX11678" y="connsiteY11678"/>
              </a:cxn>
              <a:cxn ang="0">
                <a:pos x="connsiteX11679" y="connsiteY11679"/>
              </a:cxn>
              <a:cxn ang="0">
                <a:pos x="connsiteX11680" y="connsiteY11680"/>
              </a:cxn>
              <a:cxn ang="0">
                <a:pos x="connsiteX11681" y="connsiteY11681"/>
              </a:cxn>
              <a:cxn ang="0">
                <a:pos x="connsiteX11682" y="connsiteY11682"/>
              </a:cxn>
              <a:cxn ang="0">
                <a:pos x="connsiteX11683" y="connsiteY11683"/>
              </a:cxn>
              <a:cxn ang="0">
                <a:pos x="connsiteX11684" y="connsiteY11684"/>
              </a:cxn>
              <a:cxn ang="0">
                <a:pos x="connsiteX11685" y="connsiteY11685"/>
              </a:cxn>
              <a:cxn ang="0">
                <a:pos x="connsiteX11686" y="connsiteY11686"/>
              </a:cxn>
              <a:cxn ang="0">
                <a:pos x="connsiteX11687" y="connsiteY11687"/>
              </a:cxn>
              <a:cxn ang="0">
                <a:pos x="connsiteX11688" y="connsiteY11688"/>
              </a:cxn>
              <a:cxn ang="0">
                <a:pos x="connsiteX11689" y="connsiteY11689"/>
              </a:cxn>
              <a:cxn ang="0">
                <a:pos x="connsiteX11690" y="connsiteY11690"/>
              </a:cxn>
              <a:cxn ang="0">
                <a:pos x="connsiteX11691" y="connsiteY11691"/>
              </a:cxn>
              <a:cxn ang="0">
                <a:pos x="connsiteX11692" y="connsiteY11692"/>
              </a:cxn>
              <a:cxn ang="0">
                <a:pos x="connsiteX11693" y="connsiteY11693"/>
              </a:cxn>
              <a:cxn ang="0">
                <a:pos x="connsiteX11694" y="connsiteY11694"/>
              </a:cxn>
              <a:cxn ang="0">
                <a:pos x="connsiteX11695" y="connsiteY11695"/>
              </a:cxn>
              <a:cxn ang="0">
                <a:pos x="connsiteX11696" y="connsiteY11696"/>
              </a:cxn>
              <a:cxn ang="0">
                <a:pos x="connsiteX11697" y="connsiteY11697"/>
              </a:cxn>
              <a:cxn ang="0">
                <a:pos x="connsiteX11698" y="connsiteY11698"/>
              </a:cxn>
              <a:cxn ang="0">
                <a:pos x="connsiteX11699" y="connsiteY11699"/>
              </a:cxn>
              <a:cxn ang="0">
                <a:pos x="connsiteX11700" y="connsiteY11700"/>
              </a:cxn>
              <a:cxn ang="0">
                <a:pos x="connsiteX11701" y="connsiteY11701"/>
              </a:cxn>
              <a:cxn ang="0">
                <a:pos x="connsiteX11702" y="connsiteY11702"/>
              </a:cxn>
              <a:cxn ang="0">
                <a:pos x="connsiteX11703" y="connsiteY11703"/>
              </a:cxn>
              <a:cxn ang="0">
                <a:pos x="connsiteX11704" y="connsiteY11704"/>
              </a:cxn>
              <a:cxn ang="0">
                <a:pos x="connsiteX11705" y="connsiteY11705"/>
              </a:cxn>
              <a:cxn ang="0">
                <a:pos x="connsiteX11706" y="connsiteY11706"/>
              </a:cxn>
              <a:cxn ang="0">
                <a:pos x="connsiteX11707" y="connsiteY11707"/>
              </a:cxn>
              <a:cxn ang="0">
                <a:pos x="connsiteX11708" y="connsiteY11708"/>
              </a:cxn>
              <a:cxn ang="0">
                <a:pos x="connsiteX11709" y="connsiteY11709"/>
              </a:cxn>
              <a:cxn ang="0">
                <a:pos x="connsiteX11710" y="connsiteY11710"/>
              </a:cxn>
              <a:cxn ang="0">
                <a:pos x="connsiteX11711" y="connsiteY11711"/>
              </a:cxn>
              <a:cxn ang="0">
                <a:pos x="connsiteX11712" y="connsiteY11712"/>
              </a:cxn>
              <a:cxn ang="0">
                <a:pos x="connsiteX11713" y="connsiteY11713"/>
              </a:cxn>
              <a:cxn ang="0">
                <a:pos x="connsiteX11714" y="connsiteY11714"/>
              </a:cxn>
              <a:cxn ang="0">
                <a:pos x="connsiteX11715" y="connsiteY11715"/>
              </a:cxn>
              <a:cxn ang="0">
                <a:pos x="connsiteX11716" y="connsiteY11716"/>
              </a:cxn>
              <a:cxn ang="0">
                <a:pos x="connsiteX11717" y="connsiteY11717"/>
              </a:cxn>
              <a:cxn ang="0">
                <a:pos x="connsiteX11718" y="connsiteY11718"/>
              </a:cxn>
              <a:cxn ang="0">
                <a:pos x="connsiteX11719" y="connsiteY11719"/>
              </a:cxn>
              <a:cxn ang="0">
                <a:pos x="connsiteX11720" y="connsiteY11720"/>
              </a:cxn>
              <a:cxn ang="0">
                <a:pos x="connsiteX11721" y="connsiteY11721"/>
              </a:cxn>
              <a:cxn ang="0">
                <a:pos x="connsiteX11722" y="connsiteY11722"/>
              </a:cxn>
              <a:cxn ang="0">
                <a:pos x="connsiteX11723" y="connsiteY11723"/>
              </a:cxn>
              <a:cxn ang="0">
                <a:pos x="connsiteX11724" y="connsiteY11724"/>
              </a:cxn>
              <a:cxn ang="0">
                <a:pos x="connsiteX11725" y="connsiteY11725"/>
              </a:cxn>
              <a:cxn ang="0">
                <a:pos x="connsiteX11726" y="connsiteY11726"/>
              </a:cxn>
              <a:cxn ang="0">
                <a:pos x="connsiteX11727" y="connsiteY11727"/>
              </a:cxn>
              <a:cxn ang="0">
                <a:pos x="connsiteX11728" y="connsiteY11728"/>
              </a:cxn>
              <a:cxn ang="0">
                <a:pos x="connsiteX11729" y="connsiteY11729"/>
              </a:cxn>
              <a:cxn ang="0">
                <a:pos x="connsiteX11730" y="connsiteY11730"/>
              </a:cxn>
              <a:cxn ang="0">
                <a:pos x="connsiteX11731" y="connsiteY11731"/>
              </a:cxn>
              <a:cxn ang="0">
                <a:pos x="connsiteX11732" y="connsiteY11732"/>
              </a:cxn>
              <a:cxn ang="0">
                <a:pos x="connsiteX11733" y="connsiteY11733"/>
              </a:cxn>
              <a:cxn ang="0">
                <a:pos x="connsiteX11734" y="connsiteY11734"/>
              </a:cxn>
              <a:cxn ang="0">
                <a:pos x="connsiteX11735" y="connsiteY11735"/>
              </a:cxn>
              <a:cxn ang="0">
                <a:pos x="connsiteX11736" y="connsiteY11736"/>
              </a:cxn>
              <a:cxn ang="0">
                <a:pos x="connsiteX11737" y="connsiteY11737"/>
              </a:cxn>
              <a:cxn ang="0">
                <a:pos x="connsiteX11738" y="connsiteY11738"/>
              </a:cxn>
              <a:cxn ang="0">
                <a:pos x="connsiteX11739" y="connsiteY11739"/>
              </a:cxn>
              <a:cxn ang="0">
                <a:pos x="connsiteX11740" y="connsiteY11740"/>
              </a:cxn>
              <a:cxn ang="0">
                <a:pos x="connsiteX11741" y="connsiteY11741"/>
              </a:cxn>
              <a:cxn ang="0">
                <a:pos x="connsiteX11742" y="connsiteY11742"/>
              </a:cxn>
              <a:cxn ang="0">
                <a:pos x="connsiteX11743" y="connsiteY11743"/>
              </a:cxn>
              <a:cxn ang="0">
                <a:pos x="connsiteX11744" y="connsiteY11744"/>
              </a:cxn>
              <a:cxn ang="0">
                <a:pos x="connsiteX11745" y="connsiteY11745"/>
              </a:cxn>
              <a:cxn ang="0">
                <a:pos x="connsiteX11746" y="connsiteY11746"/>
              </a:cxn>
              <a:cxn ang="0">
                <a:pos x="connsiteX11747" y="connsiteY11747"/>
              </a:cxn>
              <a:cxn ang="0">
                <a:pos x="connsiteX11748" y="connsiteY11748"/>
              </a:cxn>
              <a:cxn ang="0">
                <a:pos x="connsiteX11749" y="connsiteY11749"/>
              </a:cxn>
              <a:cxn ang="0">
                <a:pos x="connsiteX11750" y="connsiteY11750"/>
              </a:cxn>
              <a:cxn ang="0">
                <a:pos x="connsiteX11751" y="connsiteY11751"/>
              </a:cxn>
              <a:cxn ang="0">
                <a:pos x="connsiteX11752" y="connsiteY11752"/>
              </a:cxn>
              <a:cxn ang="0">
                <a:pos x="connsiteX11753" y="connsiteY11753"/>
              </a:cxn>
              <a:cxn ang="0">
                <a:pos x="connsiteX11754" y="connsiteY11754"/>
              </a:cxn>
              <a:cxn ang="0">
                <a:pos x="connsiteX11755" y="connsiteY11755"/>
              </a:cxn>
              <a:cxn ang="0">
                <a:pos x="connsiteX11756" y="connsiteY11756"/>
              </a:cxn>
              <a:cxn ang="0">
                <a:pos x="connsiteX11757" y="connsiteY11757"/>
              </a:cxn>
              <a:cxn ang="0">
                <a:pos x="connsiteX11758" y="connsiteY11758"/>
              </a:cxn>
              <a:cxn ang="0">
                <a:pos x="connsiteX11759" y="connsiteY11759"/>
              </a:cxn>
              <a:cxn ang="0">
                <a:pos x="connsiteX11760" y="connsiteY11760"/>
              </a:cxn>
              <a:cxn ang="0">
                <a:pos x="connsiteX11761" y="connsiteY11761"/>
              </a:cxn>
              <a:cxn ang="0">
                <a:pos x="connsiteX11762" y="connsiteY11762"/>
              </a:cxn>
              <a:cxn ang="0">
                <a:pos x="connsiteX11763" y="connsiteY11763"/>
              </a:cxn>
              <a:cxn ang="0">
                <a:pos x="connsiteX11764" y="connsiteY11764"/>
              </a:cxn>
              <a:cxn ang="0">
                <a:pos x="connsiteX11765" y="connsiteY11765"/>
              </a:cxn>
              <a:cxn ang="0">
                <a:pos x="connsiteX11766" y="connsiteY11766"/>
              </a:cxn>
              <a:cxn ang="0">
                <a:pos x="connsiteX11767" y="connsiteY11767"/>
              </a:cxn>
              <a:cxn ang="0">
                <a:pos x="connsiteX11768" y="connsiteY11768"/>
              </a:cxn>
              <a:cxn ang="0">
                <a:pos x="connsiteX11769" y="connsiteY11769"/>
              </a:cxn>
              <a:cxn ang="0">
                <a:pos x="connsiteX11770" y="connsiteY11770"/>
              </a:cxn>
              <a:cxn ang="0">
                <a:pos x="connsiteX11771" y="connsiteY11771"/>
              </a:cxn>
              <a:cxn ang="0">
                <a:pos x="connsiteX11772" y="connsiteY11772"/>
              </a:cxn>
              <a:cxn ang="0">
                <a:pos x="connsiteX11773" y="connsiteY11773"/>
              </a:cxn>
              <a:cxn ang="0">
                <a:pos x="connsiteX11774" y="connsiteY11774"/>
              </a:cxn>
              <a:cxn ang="0">
                <a:pos x="connsiteX11775" y="connsiteY11775"/>
              </a:cxn>
              <a:cxn ang="0">
                <a:pos x="connsiteX11776" y="connsiteY11776"/>
              </a:cxn>
              <a:cxn ang="0">
                <a:pos x="connsiteX11777" y="connsiteY11777"/>
              </a:cxn>
              <a:cxn ang="0">
                <a:pos x="connsiteX11778" y="connsiteY11778"/>
              </a:cxn>
              <a:cxn ang="0">
                <a:pos x="connsiteX11779" y="connsiteY11779"/>
              </a:cxn>
              <a:cxn ang="0">
                <a:pos x="connsiteX11780" y="connsiteY11780"/>
              </a:cxn>
              <a:cxn ang="0">
                <a:pos x="connsiteX11781" y="connsiteY11781"/>
              </a:cxn>
              <a:cxn ang="0">
                <a:pos x="connsiteX11782" y="connsiteY11782"/>
              </a:cxn>
              <a:cxn ang="0">
                <a:pos x="connsiteX11783" y="connsiteY11783"/>
              </a:cxn>
              <a:cxn ang="0">
                <a:pos x="connsiteX11784" y="connsiteY11784"/>
              </a:cxn>
              <a:cxn ang="0">
                <a:pos x="connsiteX11785" y="connsiteY11785"/>
              </a:cxn>
              <a:cxn ang="0">
                <a:pos x="connsiteX11786" y="connsiteY11786"/>
              </a:cxn>
              <a:cxn ang="0">
                <a:pos x="connsiteX11787" y="connsiteY11787"/>
              </a:cxn>
              <a:cxn ang="0">
                <a:pos x="connsiteX11788" y="connsiteY11788"/>
              </a:cxn>
              <a:cxn ang="0">
                <a:pos x="connsiteX11789" y="connsiteY11789"/>
              </a:cxn>
              <a:cxn ang="0">
                <a:pos x="connsiteX11790" y="connsiteY11790"/>
              </a:cxn>
              <a:cxn ang="0">
                <a:pos x="connsiteX11791" y="connsiteY11791"/>
              </a:cxn>
              <a:cxn ang="0">
                <a:pos x="connsiteX11792" y="connsiteY11792"/>
              </a:cxn>
              <a:cxn ang="0">
                <a:pos x="connsiteX11793" y="connsiteY11793"/>
              </a:cxn>
              <a:cxn ang="0">
                <a:pos x="connsiteX11794" y="connsiteY11794"/>
              </a:cxn>
              <a:cxn ang="0">
                <a:pos x="connsiteX11795" y="connsiteY11795"/>
              </a:cxn>
              <a:cxn ang="0">
                <a:pos x="connsiteX11796" y="connsiteY11796"/>
              </a:cxn>
              <a:cxn ang="0">
                <a:pos x="connsiteX11797" y="connsiteY11797"/>
              </a:cxn>
              <a:cxn ang="0">
                <a:pos x="connsiteX11798" y="connsiteY11798"/>
              </a:cxn>
              <a:cxn ang="0">
                <a:pos x="connsiteX11799" y="connsiteY11799"/>
              </a:cxn>
              <a:cxn ang="0">
                <a:pos x="connsiteX11800" y="connsiteY11800"/>
              </a:cxn>
              <a:cxn ang="0">
                <a:pos x="connsiteX11801" y="connsiteY11801"/>
              </a:cxn>
              <a:cxn ang="0">
                <a:pos x="connsiteX11802" y="connsiteY11802"/>
              </a:cxn>
              <a:cxn ang="0">
                <a:pos x="connsiteX11803" y="connsiteY11803"/>
              </a:cxn>
              <a:cxn ang="0">
                <a:pos x="connsiteX11804" y="connsiteY11804"/>
              </a:cxn>
              <a:cxn ang="0">
                <a:pos x="connsiteX11805" y="connsiteY11805"/>
              </a:cxn>
              <a:cxn ang="0">
                <a:pos x="connsiteX11806" y="connsiteY11806"/>
              </a:cxn>
              <a:cxn ang="0">
                <a:pos x="connsiteX11807" y="connsiteY11807"/>
              </a:cxn>
              <a:cxn ang="0">
                <a:pos x="connsiteX11808" y="connsiteY11808"/>
              </a:cxn>
              <a:cxn ang="0">
                <a:pos x="connsiteX11809" y="connsiteY11809"/>
              </a:cxn>
              <a:cxn ang="0">
                <a:pos x="connsiteX11810" y="connsiteY11810"/>
              </a:cxn>
              <a:cxn ang="0">
                <a:pos x="connsiteX11811" y="connsiteY11811"/>
              </a:cxn>
              <a:cxn ang="0">
                <a:pos x="connsiteX11812" y="connsiteY11812"/>
              </a:cxn>
              <a:cxn ang="0">
                <a:pos x="connsiteX11813" y="connsiteY11813"/>
              </a:cxn>
              <a:cxn ang="0">
                <a:pos x="connsiteX11814" y="connsiteY11814"/>
              </a:cxn>
              <a:cxn ang="0">
                <a:pos x="connsiteX11815" y="connsiteY11815"/>
              </a:cxn>
              <a:cxn ang="0">
                <a:pos x="connsiteX11816" y="connsiteY11816"/>
              </a:cxn>
              <a:cxn ang="0">
                <a:pos x="connsiteX11817" y="connsiteY11817"/>
              </a:cxn>
              <a:cxn ang="0">
                <a:pos x="connsiteX11818" y="connsiteY11818"/>
              </a:cxn>
              <a:cxn ang="0">
                <a:pos x="connsiteX11819" y="connsiteY11819"/>
              </a:cxn>
              <a:cxn ang="0">
                <a:pos x="connsiteX11820" y="connsiteY11820"/>
              </a:cxn>
              <a:cxn ang="0">
                <a:pos x="connsiteX11821" y="connsiteY11821"/>
              </a:cxn>
              <a:cxn ang="0">
                <a:pos x="connsiteX11822" y="connsiteY11822"/>
              </a:cxn>
              <a:cxn ang="0">
                <a:pos x="connsiteX11823" y="connsiteY11823"/>
              </a:cxn>
              <a:cxn ang="0">
                <a:pos x="connsiteX11824" y="connsiteY11824"/>
              </a:cxn>
              <a:cxn ang="0">
                <a:pos x="connsiteX11825" y="connsiteY11825"/>
              </a:cxn>
              <a:cxn ang="0">
                <a:pos x="connsiteX11826" y="connsiteY11826"/>
              </a:cxn>
              <a:cxn ang="0">
                <a:pos x="connsiteX11827" y="connsiteY11827"/>
              </a:cxn>
              <a:cxn ang="0">
                <a:pos x="connsiteX11828" y="connsiteY11828"/>
              </a:cxn>
              <a:cxn ang="0">
                <a:pos x="connsiteX11829" y="connsiteY11829"/>
              </a:cxn>
              <a:cxn ang="0">
                <a:pos x="connsiteX11830" y="connsiteY11830"/>
              </a:cxn>
              <a:cxn ang="0">
                <a:pos x="connsiteX11831" y="connsiteY11831"/>
              </a:cxn>
              <a:cxn ang="0">
                <a:pos x="connsiteX11832" y="connsiteY11832"/>
              </a:cxn>
              <a:cxn ang="0">
                <a:pos x="connsiteX11833" y="connsiteY11833"/>
              </a:cxn>
              <a:cxn ang="0">
                <a:pos x="connsiteX11834" y="connsiteY11834"/>
              </a:cxn>
              <a:cxn ang="0">
                <a:pos x="connsiteX11835" y="connsiteY11835"/>
              </a:cxn>
              <a:cxn ang="0">
                <a:pos x="connsiteX11836" y="connsiteY11836"/>
              </a:cxn>
              <a:cxn ang="0">
                <a:pos x="connsiteX11837" y="connsiteY11837"/>
              </a:cxn>
              <a:cxn ang="0">
                <a:pos x="connsiteX11838" y="connsiteY11838"/>
              </a:cxn>
              <a:cxn ang="0">
                <a:pos x="connsiteX11839" y="connsiteY11839"/>
              </a:cxn>
              <a:cxn ang="0">
                <a:pos x="connsiteX11840" y="connsiteY11840"/>
              </a:cxn>
              <a:cxn ang="0">
                <a:pos x="connsiteX11841" y="connsiteY11841"/>
              </a:cxn>
              <a:cxn ang="0">
                <a:pos x="connsiteX11842" y="connsiteY11842"/>
              </a:cxn>
              <a:cxn ang="0">
                <a:pos x="connsiteX11843" y="connsiteY11843"/>
              </a:cxn>
              <a:cxn ang="0">
                <a:pos x="connsiteX11844" y="connsiteY11844"/>
              </a:cxn>
              <a:cxn ang="0">
                <a:pos x="connsiteX11845" y="connsiteY11845"/>
              </a:cxn>
              <a:cxn ang="0">
                <a:pos x="connsiteX11846" y="connsiteY11846"/>
              </a:cxn>
              <a:cxn ang="0">
                <a:pos x="connsiteX11847" y="connsiteY11847"/>
              </a:cxn>
              <a:cxn ang="0">
                <a:pos x="connsiteX11848" y="connsiteY11848"/>
              </a:cxn>
              <a:cxn ang="0">
                <a:pos x="connsiteX11849" y="connsiteY11849"/>
              </a:cxn>
              <a:cxn ang="0">
                <a:pos x="connsiteX11850" y="connsiteY11850"/>
              </a:cxn>
              <a:cxn ang="0">
                <a:pos x="connsiteX11851" y="connsiteY11851"/>
              </a:cxn>
              <a:cxn ang="0">
                <a:pos x="connsiteX11852" y="connsiteY11852"/>
              </a:cxn>
              <a:cxn ang="0">
                <a:pos x="connsiteX11853" y="connsiteY11853"/>
              </a:cxn>
              <a:cxn ang="0">
                <a:pos x="connsiteX11854" y="connsiteY11854"/>
              </a:cxn>
              <a:cxn ang="0">
                <a:pos x="connsiteX11855" y="connsiteY11855"/>
              </a:cxn>
              <a:cxn ang="0">
                <a:pos x="connsiteX11856" y="connsiteY11856"/>
              </a:cxn>
              <a:cxn ang="0">
                <a:pos x="connsiteX11857" y="connsiteY11857"/>
              </a:cxn>
              <a:cxn ang="0">
                <a:pos x="connsiteX11858" y="connsiteY11858"/>
              </a:cxn>
              <a:cxn ang="0">
                <a:pos x="connsiteX11859" y="connsiteY11859"/>
              </a:cxn>
              <a:cxn ang="0">
                <a:pos x="connsiteX11860" y="connsiteY11860"/>
              </a:cxn>
              <a:cxn ang="0">
                <a:pos x="connsiteX11861" y="connsiteY11861"/>
              </a:cxn>
              <a:cxn ang="0">
                <a:pos x="connsiteX11862" y="connsiteY11862"/>
              </a:cxn>
              <a:cxn ang="0">
                <a:pos x="connsiteX11863" y="connsiteY11863"/>
              </a:cxn>
              <a:cxn ang="0">
                <a:pos x="connsiteX11864" y="connsiteY11864"/>
              </a:cxn>
              <a:cxn ang="0">
                <a:pos x="connsiteX11865" y="connsiteY11865"/>
              </a:cxn>
              <a:cxn ang="0">
                <a:pos x="connsiteX11866" y="connsiteY11866"/>
              </a:cxn>
              <a:cxn ang="0">
                <a:pos x="connsiteX11867" y="connsiteY11867"/>
              </a:cxn>
              <a:cxn ang="0">
                <a:pos x="connsiteX11868" y="connsiteY11868"/>
              </a:cxn>
              <a:cxn ang="0">
                <a:pos x="connsiteX11869" y="connsiteY11869"/>
              </a:cxn>
              <a:cxn ang="0">
                <a:pos x="connsiteX11870" y="connsiteY11870"/>
              </a:cxn>
              <a:cxn ang="0">
                <a:pos x="connsiteX11871" y="connsiteY11871"/>
              </a:cxn>
              <a:cxn ang="0">
                <a:pos x="connsiteX11872" y="connsiteY11872"/>
              </a:cxn>
              <a:cxn ang="0">
                <a:pos x="connsiteX11873" y="connsiteY11873"/>
              </a:cxn>
              <a:cxn ang="0">
                <a:pos x="connsiteX11874" y="connsiteY11874"/>
              </a:cxn>
              <a:cxn ang="0">
                <a:pos x="connsiteX11875" y="connsiteY11875"/>
              </a:cxn>
              <a:cxn ang="0">
                <a:pos x="connsiteX11876" y="connsiteY11876"/>
              </a:cxn>
              <a:cxn ang="0">
                <a:pos x="connsiteX11877" y="connsiteY11877"/>
              </a:cxn>
              <a:cxn ang="0">
                <a:pos x="connsiteX11878" y="connsiteY11878"/>
              </a:cxn>
              <a:cxn ang="0">
                <a:pos x="connsiteX11879" y="connsiteY11879"/>
              </a:cxn>
              <a:cxn ang="0">
                <a:pos x="connsiteX11880" y="connsiteY11880"/>
              </a:cxn>
              <a:cxn ang="0">
                <a:pos x="connsiteX11881" y="connsiteY11881"/>
              </a:cxn>
              <a:cxn ang="0">
                <a:pos x="connsiteX11882" y="connsiteY11882"/>
              </a:cxn>
              <a:cxn ang="0">
                <a:pos x="connsiteX11883" y="connsiteY11883"/>
              </a:cxn>
              <a:cxn ang="0">
                <a:pos x="connsiteX11884" y="connsiteY11884"/>
              </a:cxn>
              <a:cxn ang="0">
                <a:pos x="connsiteX11885" y="connsiteY11885"/>
              </a:cxn>
              <a:cxn ang="0">
                <a:pos x="connsiteX11886" y="connsiteY11886"/>
              </a:cxn>
              <a:cxn ang="0">
                <a:pos x="connsiteX11887" y="connsiteY11887"/>
              </a:cxn>
              <a:cxn ang="0">
                <a:pos x="connsiteX11888" y="connsiteY11888"/>
              </a:cxn>
              <a:cxn ang="0">
                <a:pos x="connsiteX11889" y="connsiteY11889"/>
              </a:cxn>
              <a:cxn ang="0">
                <a:pos x="connsiteX11890" y="connsiteY11890"/>
              </a:cxn>
              <a:cxn ang="0">
                <a:pos x="connsiteX11891" y="connsiteY11891"/>
              </a:cxn>
              <a:cxn ang="0">
                <a:pos x="connsiteX11892" y="connsiteY11892"/>
              </a:cxn>
              <a:cxn ang="0">
                <a:pos x="connsiteX11893" y="connsiteY11893"/>
              </a:cxn>
              <a:cxn ang="0">
                <a:pos x="connsiteX11894" y="connsiteY11894"/>
              </a:cxn>
              <a:cxn ang="0">
                <a:pos x="connsiteX11895" y="connsiteY11895"/>
              </a:cxn>
              <a:cxn ang="0">
                <a:pos x="connsiteX11896" y="connsiteY11896"/>
              </a:cxn>
              <a:cxn ang="0">
                <a:pos x="connsiteX11897" y="connsiteY11897"/>
              </a:cxn>
              <a:cxn ang="0">
                <a:pos x="connsiteX11898" y="connsiteY11898"/>
              </a:cxn>
              <a:cxn ang="0">
                <a:pos x="connsiteX11899" y="connsiteY11899"/>
              </a:cxn>
              <a:cxn ang="0">
                <a:pos x="connsiteX11900" y="connsiteY11900"/>
              </a:cxn>
              <a:cxn ang="0">
                <a:pos x="connsiteX11901" y="connsiteY11901"/>
              </a:cxn>
              <a:cxn ang="0">
                <a:pos x="connsiteX11902" y="connsiteY11902"/>
              </a:cxn>
              <a:cxn ang="0">
                <a:pos x="connsiteX11903" y="connsiteY11903"/>
              </a:cxn>
              <a:cxn ang="0">
                <a:pos x="connsiteX11904" y="connsiteY11904"/>
              </a:cxn>
              <a:cxn ang="0">
                <a:pos x="connsiteX11905" y="connsiteY11905"/>
              </a:cxn>
              <a:cxn ang="0">
                <a:pos x="connsiteX11906" y="connsiteY11906"/>
              </a:cxn>
              <a:cxn ang="0">
                <a:pos x="connsiteX11907" y="connsiteY11907"/>
              </a:cxn>
              <a:cxn ang="0">
                <a:pos x="connsiteX11908" y="connsiteY11908"/>
              </a:cxn>
              <a:cxn ang="0">
                <a:pos x="connsiteX11909" y="connsiteY11909"/>
              </a:cxn>
              <a:cxn ang="0">
                <a:pos x="connsiteX11910" y="connsiteY11910"/>
              </a:cxn>
              <a:cxn ang="0">
                <a:pos x="connsiteX11911" y="connsiteY11911"/>
              </a:cxn>
              <a:cxn ang="0">
                <a:pos x="connsiteX11912" y="connsiteY11912"/>
              </a:cxn>
              <a:cxn ang="0">
                <a:pos x="connsiteX11913" y="connsiteY11913"/>
              </a:cxn>
              <a:cxn ang="0">
                <a:pos x="connsiteX11914" y="connsiteY11914"/>
              </a:cxn>
              <a:cxn ang="0">
                <a:pos x="connsiteX11915" y="connsiteY11915"/>
              </a:cxn>
              <a:cxn ang="0">
                <a:pos x="connsiteX11916" y="connsiteY11916"/>
              </a:cxn>
              <a:cxn ang="0">
                <a:pos x="connsiteX11917" y="connsiteY11917"/>
              </a:cxn>
              <a:cxn ang="0">
                <a:pos x="connsiteX11918" y="connsiteY11918"/>
              </a:cxn>
              <a:cxn ang="0">
                <a:pos x="connsiteX11919" y="connsiteY11919"/>
              </a:cxn>
              <a:cxn ang="0">
                <a:pos x="connsiteX11920" y="connsiteY11920"/>
              </a:cxn>
              <a:cxn ang="0">
                <a:pos x="connsiteX11921" y="connsiteY11921"/>
              </a:cxn>
              <a:cxn ang="0">
                <a:pos x="connsiteX11922" y="connsiteY11922"/>
              </a:cxn>
              <a:cxn ang="0">
                <a:pos x="connsiteX11923" y="connsiteY11923"/>
              </a:cxn>
              <a:cxn ang="0">
                <a:pos x="connsiteX11924" y="connsiteY11924"/>
              </a:cxn>
              <a:cxn ang="0">
                <a:pos x="connsiteX11925" y="connsiteY11925"/>
              </a:cxn>
              <a:cxn ang="0">
                <a:pos x="connsiteX11926" y="connsiteY11926"/>
              </a:cxn>
              <a:cxn ang="0">
                <a:pos x="connsiteX11927" y="connsiteY11927"/>
              </a:cxn>
              <a:cxn ang="0">
                <a:pos x="connsiteX11928" y="connsiteY11928"/>
              </a:cxn>
              <a:cxn ang="0">
                <a:pos x="connsiteX11929" y="connsiteY11929"/>
              </a:cxn>
              <a:cxn ang="0">
                <a:pos x="connsiteX11930" y="connsiteY11930"/>
              </a:cxn>
              <a:cxn ang="0">
                <a:pos x="connsiteX11931" y="connsiteY11931"/>
              </a:cxn>
              <a:cxn ang="0">
                <a:pos x="connsiteX11932" y="connsiteY11932"/>
              </a:cxn>
              <a:cxn ang="0">
                <a:pos x="connsiteX11933" y="connsiteY11933"/>
              </a:cxn>
              <a:cxn ang="0">
                <a:pos x="connsiteX11934" y="connsiteY11934"/>
              </a:cxn>
              <a:cxn ang="0">
                <a:pos x="connsiteX11935" y="connsiteY11935"/>
              </a:cxn>
              <a:cxn ang="0">
                <a:pos x="connsiteX11936" y="connsiteY11936"/>
              </a:cxn>
              <a:cxn ang="0">
                <a:pos x="connsiteX11937" y="connsiteY11937"/>
              </a:cxn>
              <a:cxn ang="0">
                <a:pos x="connsiteX11938" y="connsiteY11938"/>
              </a:cxn>
              <a:cxn ang="0">
                <a:pos x="connsiteX11939" y="connsiteY11939"/>
              </a:cxn>
              <a:cxn ang="0">
                <a:pos x="connsiteX11940" y="connsiteY11940"/>
              </a:cxn>
              <a:cxn ang="0">
                <a:pos x="connsiteX11941" y="connsiteY11941"/>
              </a:cxn>
              <a:cxn ang="0">
                <a:pos x="connsiteX11942" y="connsiteY11942"/>
              </a:cxn>
              <a:cxn ang="0">
                <a:pos x="connsiteX11943" y="connsiteY11943"/>
              </a:cxn>
              <a:cxn ang="0">
                <a:pos x="connsiteX11944" y="connsiteY11944"/>
              </a:cxn>
              <a:cxn ang="0">
                <a:pos x="connsiteX11945" y="connsiteY11945"/>
              </a:cxn>
              <a:cxn ang="0">
                <a:pos x="connsiteX11946" y="connsiteY11946"/>
              </a:cxn>
              <a:cxn ang="0">
                <a:pos x="connsiteX11947" y="connsiteY11947"/>
              </a:cxn>
              <a:cxn ang="0">
                <a:pos x="connsiteX11948" y="connsiteY11948"/>
              </a:cxn>
              <a:cxn ang="0">
                <a:pos x="connsiteX11949" y="connsiteY11949"/>
              </a:cxn>
              <a:cxn ang="0">
                <a:pos x="connsiteX11950" y="connsiteY11950"/>
              </a:cxn>
              <a:cxn ang="0">
                <a:pos x="connsiteX11951" y="connsiteY11951"/>
              </a:cxn>
              <a:cxn ang="0">
                <a:pos x="connsiteX11952" y="connsiteY11952"/>
              </a:cxn>
              <a:cxn ang="0">
                <a:pos x="connsiteX11953" y="connsiteY11953"/>
              </a:cxn>
              <a:cxn ang="0">
                <a:pos x="connsiteX11954" y="connsiteY11954"/>
              </a:cxn>
              <a:cxn ang="0">
                <a:pos x="connsiteX11955" y="connsiteY11955"/>
              </a:cxn>
              <a:cxn ang="0">
                <a:pos x="connsiteX11956" y="connsiteY11956"/>
              </a:cxn>
              <a:cxn ang="0">
                <a:pos x="connsiteX11957" y="connsiteY11957"/>
              </a:cxn>
              <a:cxn ang="0">
                <a:pos x="connsiteX11958" y="connsiteY11958"/>
              </a:cxn>
              <a:cxn ang="0">
                <a:pos x="connsiteX11959" y="connsiteY11959"/>
              </a:cxn>
              <a:cxn ang="0">
                <a:pos x="connsiteX11960" y="connsiteY11960"/>
              </a:cxn>
              <a:cxn ang="0">
                <a:pos x="connsiteX11961" y="connsiteY11961"/>
              </a:cxn>
              <a:cxn ang="0">
                <a:pos x="connsiteX11962" y="connsiteY11962"/>
              </a:cxn>
              <a:cxn ang="0">
                <a:pos x="connsiteX11963" y="connsiteY11963"/>
              </a:cxn>
              <a:cxn ang="0">
                <a:pos x="connsiteX11964" y="connsiteY11964"/>
              </a:cxn>
              <a:cxn ang="0">
                <a:pos x="connsiteX11965" y="connsiteY11965"/>
              </a:cxn>
              <a:cxn ang="0">
                <a:pos x="connsiteX11966" y="connsiteY11966"/>
              </a:cxn>
              <a:cxn ang="0">
                <a:pos x="connsiteX11967" y="connsiteY11967"/>
              </a:cxn>
              <a:cxn ang="0">
                <a:pos x="connsiteX11968" y="connsiteY11968"/>
              </a:cxn>
              <a:cxn ang="0">
                <a:pos x="connsiteX11969" y="connsiteY11969"/>
              </a:cxn>
              <a:cxn ang="0">
                <a:pos x="connsiteX11970" y="connsiteY11970"/>
              </a:cxn>
              <a:cxn ang="0">
                <a:pos x="connsiteX11971" y="connsiteY11971"/>
              </a:cxn>
              <a:cxn ang="0">
                <a:pos x="connsiteX11972" y="connsiteY11972"/>
              </a:cxn>
              <a:cxn ang="0">
                <a:pos x="connsiteX11973" y="connsiteY11973"/>
              </a:cxn>
              <a:cxn ang="0">
                <a:pos x="connsiteX11974" y="connsiteY11974"/>
              </a:cxn>
              <a:cxn ang="0">
                <a:pos x="connsiteX11975" y="connsiteY11975"/>
              </a:cxn>
              <a:cxn ang="0">
                <a:pos x="connsiteX11976" y="connsiteY11976"/>
              </a:cxn>
              <a:cxn ang="0">
                <a:pos x="connsiteX11977" y="connsiteY11977"/>
              </a:cxn>
              <a:cxn ang="0">
                <a:pos x="connsiteX11978" y="connsiteY11978"/>
              </a:cxn>
              <a:cxn ang="0">
                <a:pos x="connsiteX11979" y="connsiteY11979"/>
              </a:cxn>
              <a:cxn ang="0">
                <a:pos x="connsiteX11980" y="connsiteY11980"/>
              </a:cxn>
              <a:cxn ang="0">
                <a:pos x="connsiteX11981" y="connsiteY11981"/>
              </a:cxn>
              <a:cxn ang="0">
                <a:pos x="connsiteX11982" y="connsiteY11982"/>
              </a:cxn>
              <a:cxn ang="0">
                <a:pos x="connsiteX11983" y="connsiteY11983"/>
              </a:cxn>
              <a:cxn ang="0">
                <a:pos x="connsiteX11984" y="connsiteY11984"/>
              </a:cxn>
              <a:cxn ang="0">
                <a:pos x="connsiteX11985" y="connsiteY11985"/>
              </a:cxn>
              <a:cxn ang="0">
                <a:pos x="connsiteX11986" y="connsiteY11986"/>
              </a:cxn>
              <a:cxn ang="0">
                <a:pos x="connsiteX11987" y="connsiteY11987"/>
              </a:cxn>
              <a:cxn ang="0">
                <a:pos x="connsiteX11988" y="connsiteY11988"/>
              </a:cxn>
              <a:cxn ang="0">
                <a:pos x="connsiteX11989" y="connsiteY11989"/>
              </a:cxn>
              <a:cxn ang="0">
                <a:pos x="connsiteX11990" y="connsiteY11990"/>
              </a:cxn>
              <a:cxn ang="0">
                <a:pos x="connsiteX11991" y="connsiteY11991"/>
              </a:cxn>
              <a:cxn ang="0">
                <a:pos x="connsiteX11992" y="connsiteY11992"/>
              </a:cxn>
              <a:cxn ang="0">
                <a:pos x="connsiteX11993" y="connsiteY11993"/>
              </a:cxn>
              <a:cxn ang="0">
                <a:pos x="connsiteX11994" y="connsiteY11994"/>
              </a:cxn>
              <a:cxn ang="0">
                <a:pos x="connsiteX11995" y="connsiteY11995"/>
              </a:cxn>
              <a:cxn ang="0">
                <a:pos x="connsiteX11996" y="connsiteY11996"/>
              </a:cxn>
              <a:cxn ang="0">
                <a:pos x="connsiteX11997" y="connsiteY11997"/>
              </a:cxn>
              <a:cxn ang="0">
                <a:pos x="connsiteX11998" y="connsiteY11998"/>
              </a:cxn>
              <a:cxn ang="0">
                <a:pos x="connsiteX11999" y="connsiteY11999"/>
              </a:cxn>
              <a:cxn ang="0">
                <a:pos x="connsiteX12000" y="connsiteY12000"/>
              </a:cxn>
              <a:cxn ang="0">
                <a:pos x="connsiteX12001" y="connsiteY12001"/>
              </a:cxn>
              <a:cxn ang="0">
                <a:pos x="connsiteX12002" y="connsiteY12002"/>
              </a:cxn>
              <a:cxn ang="0">
                <a:pos x="connsiteX12003" y="connsiteY12003"/>
              </a:cxn>
              <a:cxn ang="0">
                <a:pos x="connsiteX12004" y="connsiteY12004"/>
              </a:cxn>
              <a:cxn ang="0">
                <a:pos x="connsiteX12005" y="connsiteY12005"/>
              </a:cxn>
              <a:cxn ang="0">
                <a:pos x="connsiteX12006" y="connsiteY12006"/>
              </a:cxn>
              <a:cxn ang="0">
                <a:pos x="connsiteX12007" y="connsiteY12007"/>
              </a:cxn>
              <a:cxn ang="0">
                <a:pos x="connsiteX12008" y="connsiteY12008"/>
              </a:cxn>
              <a:cxn ang="0">
                <a:pos x="connsiteX12009" y="connsiteY12009"/>
              </a:cxn>
              <a:cxn ang="0">
                <a:pos x="connsiteX12010" y="connsiteY12010"/>
              </a:cxn>
              <a:cxn ang="0">
                <a:pos x="connsiteX12011" y="connsiteY12011"/>
              </a:cxn>
              <a:cxn ang="0">
                <a:pos x="connsiteX12012" y="connsiteY12012"/>
              </a:cxn>
              <a:cxn ang="0">
                <a:pos x="connsiteX12013" y="connsiteY12013"/>
              </a:cxn>
              <a:cxn ang="0">
                <a:pos x="connsiteX12014" y="connsiteY12014"/>
              </a:cxn>
              <a:cxn ang="0">
                <a:pos x="connsiteX12015" y="connsiteY12015"/>
              </a:cxn>
              <a:cxn ang="0">
                <a:pos x="connsiteX12016" y="connsiteY12016"/>
              </a:cxn>
              <a:cxn ang="0">
                <a:pos x="connsiteX12017" y="connsiteY12017"/>
              </a:cxn>
              <a:cxn ang="0">
                <a:pos x="connsiteX12018" y="connsiteY12018"/>
              </a:cxn>
              <a:cxn ang="0">
                <a:pos x="connsiteX12019" y="connsiteY12019"/>
              </a:cxn>
              <a:cxn ang="0">
                <a:pos x="connsiteX12020" y="connsiteY12020"/>
              </a:cxn>
              <a:cxn ang="0">
                <a:pos x="connsiteX12021" y="connsiteY12021"/>
              </a:cxn>
              <a:cxn ang="0">
                <a:pos x="connsiteX12022" y="connsiteY12022"/>
              </a:cxn>
              <a:cxn ang="0">
                <a:pos x="connsiteX12023" y="connsiteY12023"/>
              </a:cxn>
              <a:cxn ang="0">
                <a:pos x="connsiteX12024" y="connsiteY12024"/>
              </a:cxn>
              <a:cxn ang="0">
                <a:pos x="connsiteX12025" y="connsiteY12025"/>
              </a:cxn>
              <a:cxn ang="0">
                <a:pos x="connsiteX12026" y="connsiteY12026"/>
              </a:cxn>
              <a:cxn ang="0">
                <a:pos x="connsiteX12027" y="connsiteY12027"/>
              </a:cxn>
              <a:cxn ang="0">
                <a:pos x="connsiteX12028" y="connsiteY12028"/>
              </a:cxn>
              <a:cxn ang="0">
                <a:pos x="connsiteX12029" y="connsiteY12029"/>
              </a:cxn>
              <a:cxn ang="0">
                <a:pos x="connsiteX12030" y="connsiteY12030"/>
              </a:cxn>
              <a:cxn ang="0">
                <a:pos x="connsiteX12031" y="connsiteY12031"/>
              </a:cxn>
              <a:cxn ang="0">
                <a:pos x="connsiteX12032" y="connsiteY12032"/>
              </a:cxn>
              <a:cxn ang="0">
                <a:pos x="connsiteX12033" y="connsiteY12033"/>
              </a:cxn>
              <a:cxn ang="0">
                <a:pos x="connsiteX12034" y="connsiteY12034"/>
              </a:cxn>
              <a:cxn ang="0">
                <a:pos x="connsiteX12035" y="connsiteY12035"/>
              </a:cxn>
              <a:cxn ang="0">
                <a:pos x="connsiteX12036" y="connsiteY12036"/>
              </a:cxn>
              <a:cxn ang="0">
                <a:pos x="connsiteX12037" y="connsiteY12037"/>
              </a:cxn>
              <a:cxn ang="0">
                <a:pos x="connsiteX12038" y="connsiteY12038"/>
              </a:cxn>
              <a:cxn ang="0">
                <a:pos x="connsiteX12039" y="connsiteY12039"/>
              </a:cxn>
              <a:cxn ang="0">
                <a:pos x="connsiteX12040" y="connsiteY12040"/>
              </a:cxn>
              <a:cxn ang="0">
                <a:pos x="connsiteX12041" y="connsiteY12041"/>
              </a:cxn>
              <a:cxn ang="0">
                <a:pos x="connsiteX12042" y="connsiteY12042"/>
              </a:cxn>
              <a:cxn ang="0">
                <a:pos x="connsiteX12043" y="connsiteY12043"/>
              </a:cxn>
              <a:cxn ang="0">
                <a:pos x="connsiteX12044" y="connsiteY12044"/>
              </a:cxn>
              <a:cxn ang="0">
                <a:pos x="connsiteX12045" y="connsiteY12045"/>
              </a:cxn>
              <a:cxn ang="0">
                <a:pos x="connsiteX12046" y="connsiteY12046"/>
              </a:cxn>
              <a:cxn ang="0">
                <a:pos x="connsiteX12047" y="connsiteY12047"/>
              </a:cxn>
              <a:cxn ang="0">
                <a:pos x="connsiteX12048" y="connsiteY12048"/>
              </a:cxn>
              <a:cxn ang="0">
                <a:pos x="connsiteX12049" y="connsiteY12049"/>
              </a:cxn>
              <a:cxn ang="0">
                <a:pos x="connsiteX12050" y="connsiteY12050"/>
              </a:cxn>
              <a:cxn ang="0">
                <a:pos x="connsiteX12051" y="connsiteY12051"/>
              </a:cxn>
              <a:cxn ang="0">
                <a:pos x="connsiteX12052" y="connsiteY12052"/>
              </a:cxn>
              <a:cxn ang="0">
                <a:pos x="connsiteX12053" y="connsiteY12053"/>
              </a:cxn>
              <a:cxn ang="0">
                <a:pos x="connsiteX12054" y="connsiteY12054"/>
              </a:cxn>
              <a:cxn ang="0">
                <a:pos x="connsiteX12055" y="connsiteY12055"/>
              </a:cxn>
              <a:cxn ang="0">
                <a:pos x="connsiteX12056" y="connsiteY12056"/>
              </a:cxn>
              <a:cxn ang="0">
                <a:pos x="connsiteX12057" y="connsiteY12057"/>
              </a:cxn>
              <a:cxn ang="0">
                <a:pos x="connsiteX12058" y="connsiteY12058"/>
              </a:cxn>
              <a:cxn ang="0">
                <a:pos x="connsiteX12059" y="connsiteY12059"/>
              </a:cxn>
              <a:cxn ang="0">
                <a:pos x="connsiteX12060" y="connsiteY12060"/>
              </a:cxn>
              <a:cxn ang="0">
                <a:pos x="connsiteX12061" y="connsiteY12061"/>
              </a:cxn>
              <a:cxn ang="0">
                <a:pos x="connsiteX12062" y="connsiteY12062"/>
              </a:cxn>
              <a:cxn ang="0">
                <a:pos x="connsiteX12063" y="connsiteY12063"/>
              </a:cxn>
              <a:cxn ang="0">
                <a:pos x="connsiteX12064" y="connsiteY12064"/>
              </a:cxn>
              <a:cxn ang="0">
                <a:pos x="connsiteX12065" y="connsiteY12065"/>
              </a:cxn>
              <a:cxn ang="0">
                <a:pos x="connsiteX12066" y="connsiteY12066"/>
              </a:cxn>
              <a:cxn ang="0">
                <a:pos x="connsiteX12067" y="connsiteY12067"/>
              </a:cxn>
              <a:cxn ang="0">
                <a:pos x="connsiteX12068" y="connsiteY12068"/>
              </a:cxn>
              <a:cxn ang="0">
                <a:pos x="connsiteX12069" y="connsiteY12069"/>
              </a:cxn>
              <a:cxn ang="0">
                <a:pos x="connsiteX12070" y="connsiteY12070"/>
              </a:cxn>
              <a:cxn ang="0">
                <a:pos x="connsiteX12071" y="connsiteY12071"/>
              </a:cxn>
              <a:cxn ang="0">
                <a:pos x="connsiteX12072" y="connsiteY12072"/>
              </a:cxn>
              <a:cxn ang="0">
                <a:pos x="connsiteX12073" y="connsiteY12073"/>
              </a:cxn>
              <a:cxn ang="0">
                <a:pos x="connsiteX12074" y="connsiteY12074"/>
              </a:cxn>
              <a:cxn ang="0">
                <a:pos x="connsiteX12075" y="connsiteY12075"/>
              </a:cxn>
              <a:cxn ang="0">
                <a:pos x="connsiteX12076" y="connsiteY12076"/>
              </a:cxn>
              <a:cxn ang="0">
                <a:pos x="connsiteX12077" y="connsiteY12077"/>
              </a:cxn>
              <a:cxn ang="0">
                <a:pos x="connsiteX12078" y="connsiteY12078"/>
              </a:cxn>
              <a:cxn ang="0">
                <a:pos x="connsiteX12079" y="connsiteY12079"/>
              </a:cxn>
              <a:cxn ang="0">
                <a:pos x="connsiteX12080" y="connsiteY12080"/>
              </a:cxn>
              <a:cxn ang="0">
                <a:pos x="connsiteX12081" y="connsiteY12081"/>
              </a:cxn>
              <a:cxn ang="0">
                <a:pos x="connsiteX12082" y="connsiteY12082"/>
              </a:cxn>
              <a:cxn ang="0">
                <a:pos x="connsiteX12083" y="connsiteY12083"/>
              </a:cxn>
              <a:cxn ang="0">
                <a:pos x="connsiteX12084" y="connsiteY12084"/>
              </a:cxn>
              <a:cxn ang="0">
                <a:pos x="connsiteX12085" y="connsiteY12085"/>
              </a:cxn>
              <a:cxn ang="0">
                <a:pos x="connsiteX12086" y="connsiteY12086"/>
              </a:cxn>
              <a:cxn ang="0">
                <a:pos x="connsiteX12087" y="connsiteY12087"/>
              </a:cxn>
              <a:cxn ang="0">
                <a:pos x="connsiteX12088" y="connsiteY12088"/>
              </a:cxn>
              <a:cxn ang="0">
                <a:pos x="connsiteX12089" y="connsiteY12089"/>
              </a:cxn>
              <a:cxn ang="0">
                <a:pos x="connsiteX12090" y="connsiteY12090"/>
              </a:cxn>
              <a:cxn ang="0">
                <a:pos x="connsiteX12091" y="connsiteY12091"/>
              </a:cxn>
              <a:cxn ang="0">
                <a:pos x="connsiteX12092" y="connsiteY12092"/>
              </a:cxn>
              <a:cxn ang="0">
                <a:pos x="connsiteX12093" y="connsiteY12093"/>
              </a:cxn>
              <a:cxn ang="0">
                <a:pos x="connsiteX12094" y="connsiteY12094"/>
              </a:cxn>
              <a:cxn ang="0">
                <a:pos x="connsiteX12095" y="connsiteY12095"/>
              </a:cxn>
              <a:cxn ang="0">
                <a:pos x="connsiteX12096" y="connsiteY12096"/>
              </a:cxn>
              <a:cxn ang="0">
                <a:pos x="connsiteX12097" y="connsiteY12097"/>
              </a:cxn>
              <a:cxn ang="0">
                <a:pos x="connsiteX12098" y="connsiteY12098"/>
              </a:cxn>
              <a:cxn ang="0">
                <a:pos x="connsiteX12099" y="connsiteY12099"/>
              </a:cxn>
              <a:cxn ang="0">
                <a:pos x="connsiteX12100" y="connsiteY12100"/>
              </a:cxn>
              <a:cxn ang="0">
                <a:pos x="connsiteX12101" y="connsiteY12101"/>
              </a:cxn>
              <a:cxn ang="0">
                <a:pos x="connsiteX12102" y="connsiteY12102"/>
              </a:cxn>
              <a:cxn ang="0">
                <a:pos x="connsiteX12103" y="connsiteY12103"/>
              </a:cxn>
              <a:cxn ang="0">
                <a:pos x="connsiteX12104" y="connsiteY12104"/>
              </a:cxn>
              <a:cxn ang="0">
                <a:pos x="connsiteX12105" y="connsiteY12105"/>
              </a:cxn>
              <a:cxn ang="0">
                <a:pos x="connsiteX12106" y="connsiteY12106"/>
              </a:cxn>
              <a:cxn ang="0">
                <a:pos x="connsiteX12107" y="connsiteY12107"/>
              </a:cxn>
              <a:cxn ang="0">
                <a:pos x="connsiteX12108" y="connsiteY12108"/>
              </a:cxn>
              <a:cxn ang="0">
                <a:pos x="connsiteX12109" y="connsiteY12109"/>
              </a:cxn>
              <a:cxn ang="0">
                <a:pos x="connsiteX12110" y="connsiteY12110"/>
              </a:cxn>
              <a:cxn ang="0">
                <a:pos x="connsiteX12111" y="connsiteY12111"/>
              </a:cxn>
              <a:cxn ang="0">
                <a:pos x="connsiteX12112" y="connsiteY12112"/>
              </a:cxn>
              <a:cxn ang="0">
                <a:pos x="connsiteX12113" y="connsiteY12113"/>
              </a:cxn>
              <a:cxn ang="0">
                <a:pos x="connsiteX12114" y="connsiteY12114"/>
              </a:cxn>
              <a:cxn ang="0">
                <a:pos x="connsiteX12115" y="connsiteY12115"/>
              </a:cxn>
              <a:cxn ang="0">
                <a:pos x="connsiteX12116" y="connsiteY12116"/>
              </a:cxn>
              <a:cxn ang="0">
                <a:pos x="connsiteX12117" y="connsiteY12117"/>
              </a:cxn>
              <a:cxn ang="0">
                <a:pos x="connsiteX12118" y="connsiteY12118"/>
              </a:cxn>
              <a:cxn ang="0">
                <a:pos x="connsiteX12119" y="connsiteY12119"/>
              </a:cxn>
              <a:cxn ang="0">
                <a:pos x="connsiteX12120" y="connsiteY12120"/>
              </a:cxn>
              <a:cxn ang="0">
                <a:pos x="connsiteX12121" y="connsiteY12121"/>
              </a:cxn>
              <a:cxn ang="0">
                <a:pos x="connsiteX12122" y="connsiteY12122"/>
              </a:cxn>
              <a:cxn ang="0">
                <a:pos x="connsiteX12123" y="connsiteY12123"/>
              </a:cxn>
              <a:cxn ang="0">
                <a:pos x="connsiteX12124" y="connsiteY12124"/>
              </a:cxn>
              <a:cxn ang="0">
                <a:pos x="connsiteX12125" y="connsiteY12125"/>
              </a:cxn>
              <a:cxn ang="0">
                <a:pos x="connsiteX12126" y="connsiteY12126"/>
              </a:cxn>
              <a:cxn ang="0">
                <a:pos x="connsiteX12127" y="connsiteY12127"/>
              </a:cxn>
              <a:cxn ang="0">
                <a:pos x="connsiteX12128" y="connsiteY12128"/>
              </a:cxn>
              <a:cxn ang="0">
                <a:pos x="connsiteX12129" y="connsiteY12129"/>
              </a:cxn>
              <a:cxn ang="0">
                <a:pos x="connsiteX12130" y="connsiteY12130"/>
              </a:cxn>
              <a:cxn ang="0">
                <a:pos x="connsiteX12131" y="connsiteY12131"/>
              </a:cxn>
              <a:cxn ang="0">
                <a:pos x="connsiteX12132" y="connsiteY12132"/>
              </a:cxn>
              <a:cxn ang="0">
                <a:pos x="connsiteX12133" y="connsiteY12133"/>
              </a:cxn>
              <a:cxn ang="0">
                <a:pos x="connsiteX12134" y="connsiteY12134"/>
              </a:cxn>
              <a:cxn ang="0">
                <a:pos x="connsiteX12135" y="connsiteY12135"/>
              </a:cxn>
              <a:cxn ang="0">
                <a:pos x="connsiteX12136" y="connsiteY12136"/>
              </a:cxn>
              <a:cxn ang="0">
                <a:pos x="connsiteX12137" y="connsiteY12137"/>
              </a:cxn>
              <a:cxn ang="0">
                <a:pos x="connsiteX12138" y="connsiteY12138"/>
              </a:cxn>
              <a:cxn ang="0">
                <a:pos x="connsiteX12139" y="connsiteY12139"/>
              </a:cxn>
              <a:cxn ang="0">
                <a:pos x="connsiteX12140" y="connsiteY12140"/>
              </a:cxn>
              <a:cxn ang="0">
                <a:pos x="connsiteX12141" y="connsiteY12141"/>
              </a:cxn>
              <a:cxn ang="0">
                <a:pos x="connsiteX12142" y="connsiteY12142"/>
              </a:cxn>
              <a:cxn ang="0">
                <a:pos x="connsiteX12143" y="connsiteY12143"/>
              </a:cxn>
              <a:cxn ang="0">
                <a:pos x="connsiteX12144" y="connsiteY12144"/>
              </a:cxn>
              <a:cxn ang="0">
                <a:pos x="connsiteX12145" y="connsiteY12145"/>
              </a:cxn>
              <a:cxn ang="0">
                <a:pos x="connsiteX12146" y="connsiteY12146"/>
              </a:cxn>
              <a:cxn ang="0">
                <a:pos x="connsiteX12147" y="connsiteY12147"/>
              </a:cxn>
              <a:cxn ang="0">
                <a:pos x="connsiteX12148" y="connsiteY12148"/>
              </a:cxn>
              <a:cxn ang="0">
                <a:pos x="connsiteX12149" y="connsiteY12149"/>
              </a:cxn>
              <a:cxn ang="0">
                <a:pos x="connsiteX12150" y="connsiteY12150"/>
              </a:cxn>
              <a:cxn ang="0">
                <a:pos x="connsiteX12151" y="connsiteY12151"/>
              </a:cxn>
              <a:cxn ang="0">
                <a:pos x="connsiteX12152" y="connsiteY12152"/>
              </a:cxn>
              <a:cxn ang="0">
                <a:pos x="connsiteX12153" y="connsiteY12153"/>
              </a:cxn>
              <a:cxn ang="0">
                <a:pos x="connsiteX12154" y="connsiteY12154"/>
              </a:cxn>
              <a:cxn ang="0">
                <a:pos x="connsiteX12155" y="connsiteY12155"/>
              </a:cxn>
              <a:cxn ang="0">
                <a:pos x="connsiteX12156" y="connsiteY12156"/>
              </a:cxn>
              <a:cxn ang="0">
                <a:pos x="connsiteX12157" y="connsiteY12157"/>
              </a:cxn>
              <a:cxn ang="0">
                <a:pos x="connsiteX12158" y="connsiteY12158"/>
              </a:cxn>
              <a:cxn ang="0">
                <a:pos x="connsiteX12159" y="connsiteY12159"/>
              </a:cxn>
              <a:cxn ang="0">
                <a:pos x="connsiteX12160" y="connsiteY12160"/>
              </a:cxn>
              <a:cxn ang="0">
                <a:pos x="connsiteX12161" y="connsiteY12161"/>
              </a:cxn>
              <a:cxn ang="0">
                <a:pos x="connsiteX12162" y="connsiteY12162"/>
              </a:cxn>
              <a:cxn ang="0">
                <a:pos x="connsiteX12163" y="connsiteY12163"/>
              </a:cxn>
              <a:cxn ang="0">
                <a:pos x="connsiteX12164" y="connsiteY12164"/>
              </a:cxn>
              <a:cxn ang="0">
                <a:pos x="connsiteX12165" y="connsiteY12165"/>
              </a:cxn>
              <a:cxn ang="0">
                <a:pos x="connsiteX12166" y="connsiteY12166"/>
              </a:cxn>
              <a:cxn ang="0">
                <a:pos x="connsiteX12167" y="connsiteY12167"/>
              </a:cxn>
              <a:cxn ang="0">
                <a:pos x="connsiteX12168" y="connsiteY12168"/>
              </a:cxn>
              <a:cxn ang="0">
                <a:pos x="connsiteX12169" y="connsiteY12169"/>
              </a:cxn>
              <a:cxn ang="0">
                <a:pos x="connsiteX12170" y="connsiteY12170"/>
              </a:cxn>
              <a:cxn ang="0">
                <a:pos x="connsiteX12171" y="connsiteY12171"/>
              </a:cxn>
              <a:cxn ang="0">
                <a:pos x="connsiteX12172" y="connsiteY12172"/>
              </a:cxn>
              <a:cxn ang="0">
                <a:pos x="connsiteX12173" y="connsiteY12173"/>
              </a:cxn>
              <a:cxn ang="0">
                <a:pos x="connsiteX12174" y="connsiteY12174"/>
              </a:cxn>
              <a:cxn ang="0">
                <a:pos x="connsiteX12175" y="connsiteY12175"/>
              </a:cxn>
              <a:cxn ang="0">
                <a:pos x="connsiteX12176" y="connsiteY12176"/>
              </a:cxn>
              <a:cxn ang="0">
                <a:pos x="connsiteX12177" y="connsiteY12177"/>
              </a:cxn>
              <a:cxn ang="0">
                <a:pos x="connsiteX12178" y="connsiteY12178"/>
              </a:cxn>
              <a:cxn ang="0">
                <a:pos x="connsiteX12179" y="connsiteY12179"/>
              </a:cxn>
              <a:cxn ang="0">
                <a:pos x="connsiteX12180" y="connsiteY12180"/>
              </a:cxn>
              <a:cxn ang="0">
                <a:pos x="connsiteX12181" y="connsiteY12181"/>
              </a:cxn>
              <a:cxn ang="0">
                <a:pos x="connsiteX12182" y="connsiteY12182"/>
              </a:cxn>
              <a:cxn ang="0">
                <a:pos x="connsiteX12183" y="connsiteY12183"/>
              </a:cxn>
              <a:cxn ang="0">
                <a:pos x="connsiteX12184" y="connsiteY12184"/>
              </a:cxn>
              <a:cxn ang="0">
                <a:pos x="connsiteX12185" y="connsiteY12185"/>
              </a:cxn>
              <a:cxn ang="0">
                <a:pos x="connsiteX12186" y="connsiteY12186"/>
              </a:cxn>
              <a:cxn ang="0">
                <a:pos x="connsiteX12187" y="connsiteY12187"/>
              </a:cxn>
              <a:cxn ang="0">
                <a:pos x="connsiteX12188" y="connsiteY12188"/>
              </a:cxn>
              <a:cxn ang="0">
                <a:pos x="connsiteX12189" y="connsiteY12189"/>
              </a:cxn>
              <a:cxn ang="0">
                <a:pos x="connsiteX12190" y="connsiteY12190"/>
              </a:cxn>
              <a:cxn ang="0">
                <a:pos x="connsiteX12191" y="connsiteY12191"/>
              </a:cxn>
              <a:cxn ang="0">
                <a:pos x="connsiteX12192" y="connsiteY12192"/>
              </a:cxn>
              <a:cxn ang="0">
                <a:pos x="connsiteX12193" y="connsiteY12193"/>
              </a:cxn>
              <a:cxn ang="0">
                <a:pos x="connsiteX12194" y="connsiteY12194"/>
              </a:cxn>
              <a:cxn ang="0">
                <a:pos x="connsiteX12195" y="connsiteY12195"/>
              </a:cxn>
              <a:cxn ang="0">
                <a:pos x="connsiteX12196" y="connsiteY12196"/>
              </a:cxn>
              <a:cxn ang="0">
                <a:pos x="connsiteX12197" y="connsiteY12197"/>
              </a:cxn>
              <a:cxn ang="0">
                <a:pos x="connsiteX12198" y="connsiteY12198"/>
              </a:cxn>
              <a:cxn ang="0">
                <a:pos x="connsiteX12199" y="connsiteY12199"/>
              </a:cxn>
              <a:cxn ang="0">
                <a:pos x="connsiteX12200" y="connsiteY12200"/>
              </a:cxn>
              <a:cxn ang="0">
                <a:pos x="connsiteX12201" y="connsiteY12201"/>
              </a:cxn>
              <a:cxn ang="0">
                <a:pos x="connsiteX12202" y="connsiteY12202"/>
              </a:cxn>
              <a:cxn ang="0">
                <a:pos x="connsiteX12203" y="connsiteY12203"/>
              </a:cxn>
              <a:cxn ang="0">
                <a:pos x="connsiteX12204" y="connsiteY12204"/>
              </a:cxn>
              <a:cxn ang="0">
                <a:pos x="connsiteX12205" y="connsiteY12205"/>
              </a:cxn>
              <a:cxn ang="0">
                <a:pos x="connsiteX12206" y="connsiteY12206"/>
              </a:cxn>
              <a:cxn ang="0">
                <a:pos x="connsiteX12207" y="connsiteY12207"/>
              </a:cxn>
              <a:cxn ang="0">
                <a:pos x="connsiteX12208" y="connsiteY12208"/>
              </a:cxn>
              <a:cxn ang="0">
                <a:pos x="connsiteX12209" y="connsiteY12209"/>
              </a:cxn>
              <a:cxn ang="0">
                <a:pos x="connsiteX12210" y="connsiteY12210"/>
              </a:cxn>
              <a:cxn ang="0">
                <a:pos x="connsiteX12211" y="connsiteY12211"/>
              </a:cxn>
              <a:cxn ang="0">
                <a:pos x="connsiteX12212" y="connsiteY12212"/>
              </a:cxn>
              <a:cxn ang="0">
                <a:pos x="connsiteX12213" y="connsiteY12213"/>
              </a:cxn>
              <a:cxn ang="0">
                <a:pos x="connsiteX12214" y="connsiteY12214"/>
              </a:cxn>
              <a:cxn ang="0">
                <a:pos x="connsiteX12215" y="connsiteY12215"/>
              </a:cxn>
              <a:cxn ang="0">
                <a:pos x="connsiteX12216" y="connsiteY12216"/>
              </a:cxn>
              <a:cxn ang="0">
                <a:pos x="connsiteX12217" y="connsiteY12217"/>
              </a:cxn>
              <a:cxn ang="0">
                <a:pos x="connsiteX12218" y="connsiteY12218"/>
              </a:cxn>
              <a:cxn ang="0">
                <a:pos x="connsiteX12219" y="connsiteY12219"/>
              </a:cxn>
              <a:cxn ang="0">
                <a:pos x="connsiteX12220" y="connsiteY12220"/>
              </a:cxn>
              <a:cxn ang="0">
                <a:pos x="connsiteX12221" y="connsiteY12221"/>
              </a:cxn>
              <a:cxn ang="0">
                <a:pos x="connsiteX12222" y="connsiteY12222"/>
              </a:cxn>
              <a:cxn ang="0">
                <a:pos x="connsiteX12223" y="connsiteY12223"/>
              </a:cxn>
              <a:cxn ang="0">
                <a:pos x="connsiteX12224" y="connsiteY12224"/>
              </a:cxn>
              <a:cxn ang="0">
                <a:pos x="connsiteX12225" y="connsiteY12225"/>
              </a:cxn>
              <a:cxn ang="0">
                <a:pos x="connsiteX12226" y="connsiteY12226"/>
              </a:cxn>
              <a:cxn ang="0">
                <a:pos x="connsiteX12227" y="connsiteY12227"/>
              </a:cxn>
              <a:cxn ang="0">
                <a:pos x="connsiteX12228" y="connsiteY12228"/>
              </a:cxn>
              <a:cxn ang="0">
                <a:pos x="connsiteX12229" y="connsiteY12229"/>
              </a:cxn>
              <a:cxn ang="0">
                <a:pos x="connsiteX12230" y="connsiteY12230"/>
              </a:cxn>
              <a:cxn ang="0">
                <a:pos x="connsiteX12231" y="connsiteY12231"/>
              </a:cxn>
              <a:cxn ang="0">
                <a:pos x="connsiteX12232" y="connsiteY12232"/>
              </a:cxn>
              <a:cxn ang="0">
                <a:pos x="connsiteX12233" y="connsiteY12233"/>
              </a:cxn>
              <a:cxn ang="0">
                <a:pos x="connsiteX12234" y="connsiteY12234"/>
              </a:cxn>
              <a:cxn ang="0">
                <a:pos x="connsiteX12235" y="connsiteY12235"/>
              </a:cxn>
              <a:cxn ang="0">
                <a:pos x="connsiteX12236" y="connsiteY12236"/>
              </a:cxn>
              <a:cxn ang="0">
                <a:pos x="connsiteX12237" y="connsiteY12237"/>
              </a:cxn>
              <a:cxn ang="0">
                <a:pos x="connsiteX12238" y="connsiteY12238"/>
              </a:cxn>
              <a:cxn ang="0">
                <a:pos x="connsiteX12239" y="connsiteY12239"/>
              </a:cxn>
              <a:cxn ang="0">
                <a:pos x="connsiteX12240" y="connsiteY12240"/>
              </a:cxn>
              <a:cxn ang="0">
                <a:pos x="connsiteX12241" y="connsiteY12241"/>
              </a:cxn>
              <a:cxn ang="0">
                <a:pos x="connsiteX12242" y="connsiteY12242"/>
              </a:cxn>
              <a:cxn ang="0">
                <a:pos x="connsiteX12243" y="connsiteY12243"/>
              </a:cxn>
              <a:cxn ang="0">
                <a:pos x="connsiteX12244" y="connsiteY12244"/>
              </a:cxn>
              <a:cxn ang="0">
                <a:pos x="connsiteX12245" y="connsiteY12245"/>
              </a:cxn>
              <a:cxn ang="0">
                <a:pos x="connsiteX12246" y="connsiteY12246"/>
              </a:cxn>
              <a:cxn ang="0">
                <a:pos x="connsiteX12247" y="connsiteY12247"/>
              </a:cxn>
              <a:cxn ang="0">
                <a:pos x="connsiteX12248" y="connsiteY12248"/>
              </a:cxn>
              <a:cxn ang="0">
                <a:pos x="connsiteX12249" y="connsiteY12249"/>
              </a:cxn>
              <a:cxn ang="0">
                <a:pos x="connsiteX12250" y="connsiteY12250"/>
              </a:cxn>
              <a:cxn ang="0">
                <a:pos x="connsiteX12251" y="connsiteY12251"/>
              </a:cxn>
              <a:cxn ang="0">
                <a:pos x="connsiteX12252" y="connsiteY12252"/>
              </a:cxn>
              <a:cxn ang="0">
                <a:pos x="connsiteX12253" y="connsiteY12253"/>
              </a:cxn>
              <a:cxn ang="0">
                <a:pos x="connsiteX12254" y="connsiteY12254"/>
              </a:cxn>
              <a:cxn ang="0">
                <a:pos x="connsiteX12255" y="connsiteY12255"/>
              </a:cxn>
              <a:cxn ang="0">
                <a:pos x="connsiteX12256" y="connsiteY12256"/>
              </a:cxn>
              <a:cxn ang="0">
                <a:pos x="connsiteX12257" y="connsiteY12257"/>
              </a:cxn>
              <a:cxn ang="0">
                <a:pos x="connsiteX12258" y="connsiteY12258"/>
              </a:cxn>
              <a:cxn ang="0">
                <a:pos x="connsiteX12259" y="connsiteY12259"/>
              </a:cxn>
              <a:cxn ang="0">
                <a:pos x="connsiteX12260" y="connsiteY12260"/>
              </a:cxn>
              <a:cxn ang="0">
                <a:pos x="connsiteX12261" y="connsiteY12261"/>
              </a:cxn>
              <a:cxn ang="0">
                <a:pos x="connsiteX12262" y="connsiteY12262"/>
              </a:cxn>
              <a:cxn ang="0">
                <a:pos x="connsiteX12263" y="connsiteY12263"/>
              </a:cxn>
              <a:cxn ang="0">
                <a:pos x="connsiteX12264" y="connsiteY12264"/>
              </a:cxn>
              <a:cxn ang="0">
                <a:pos x="connsiteX12265" y="connsiteY12265"/>
              </a:cxn>
              <a:cxn ang="0">
                <a:pos x="connsiteX12266" y="connsiteY12266"/>
              </a:cxn>
              <a:cxn ang="0">
                <a:pos x="connsiteX12267" y="connsiteY12267"/>
              </a:cxn>
              <a:cxn ang="0">
                <a:pos x="connsiteX12268" y="connsiteY12268"/>
              </a:cxn>
              <a:cxn ang="0">
                <a:pos x="connsiteX12269" y="connsiteY12269"/>
              </a:cxn>
              <a:cxn ang="0">
                <a:pos x="connsiteX12270" y="connsiteY12270"/>
              </a:cxn>
              <a:cxn ang="0">
                <a:pos x="connsiteX12271" y="connsiteY12271"/>
              </a:cxn>
              <a:cxn ang="0">
                <a:pos x="connsiteX12272" y="connsiteY12272"/>
              </a:cxn>
              <a:cxn ang="0">
                <a:pos x="connsiteX12273" y="connsiteY12273"/>
              </a:cxn>
              <a:cxn ang="0">
                <a:pos x="connsiteX12274" y="connsiteY12274"/>
              </a:cxn>
              <a:cxn ang="0">
                <a:pos x="connsiteX12275" y="connsiteY12275"/>
              </a:cxn>
              <a:cxn ang="0">
                <a:pos x="connsiteX12276" y="connsiteY12276"/>
              </a:cxn>
              <a:cxn ang="0">
                <a:pos x="connsiteX12277" y="connsiteY12277"/>
              </a:cxn>
              <a:cxn ang="0">
                <a:pos x="connsiteX12278" y="connsiteY12278"/>
              </a:cxn>
              <a:cxn ang="0">
                <a:pos x="connsiteX12279" y="connsiteY12279"/>
              </a:cxn>
              <a:cxn ang="0">
                <a:pos x="connsiteX12280" y="connsiteY12280"/>
              </a:cxn>
              <a:cxn ang="0">
                <a:pos x="connsiteX12281" y="connsiteY12281"/>
              </a:cxn>
              <a:cxn ang="0">
                <a:pos x="connsiteX12282" y="connsiteY12282"/>
              </a:cxn>
              <a:cxn ang="0">
                <a:pos x="connsiteX12283" y="connsiteY12283"/>
              </a:cxn>
              <a:cxn ang="0">
                <a:pos x="connsiteX12284" y="connsiteY12284"/>
              </a:cxn>
              <a:cxn ang="0">
                <a:pos x="connsiteX12285" y="connsiteY12285"/>
              </a:cxn>
              <a:cxn ang="0">
                <a:pos x="connsiteX12286" y="connsiteY12286"/>
              </a:cxn>
              <a:cxn ang="0">
                <a:pos x="connsiteX12287" y="connsiteY12287"/>
              </a:cxn>
              <a:cxn ang="0">
                <a:pos x="connsiteX12288" y="connsiteY12288"/>
              </a:cxn>
              <a:cxn ang="0">
                <a:pos x="connsiteX12289" y="connsiteY12289"/>
              </a:cxn>
              <a:cxn ang="0">
                <a:pos x="connsiteX12290" y="connsiteY12290"/>
              </a:cxn>
              <a:cxn ang="0">
                <a:pos x="connsiteX12291" y="connsiteY12291"/>
              </a:cxn>
              <a:cxn ang="0">
                <a:pos x="connsiteX12292" y="connsiteY12292"/>
              </a:cxn>
              <a:cxn ang="0">
                <a:pos x="connsiteX12293" y="connsiteY12293"/>
              </a:cxn>
              <a:cxn ang="0">
                <a:pos x="connsiteX12294" y="connsiteY12294"/>
              </a:cxn>
              <a:cxn ang="0">
                <a:pos x="connsiteX12295" y="connsiteY12295"/>
              </a:cxn>
              <a:cxn ang="0">
                <a:pos x="connsiteX12296" y="connsiteY12296"/>
              </a:cxn>
              <a:cxn ang="0">
                <a:pos x="connsiteX12297" y="connsiteY12297"/>
              </a:cxn>
              <a:cxn ang="0">
                <a:pos x="connsiteX12298" y="connsiteY12298"/>
              </a:cxn>
              <a:cxn ang="0">
                <a:pos x="connsiteX12299" y="connsiteY12299"/>
              </a:cxn>
              <a:cxn ang="0">
                <a:pos x="connsiteX12300" y="connsiteY12300"/>
              </a:cxn>
              <a:cxn ang="0">
                <a:pos x="connsiteX12301" y="connsiteY12301"/>
              </a:cxn>
              <a:cxn ang="0">
                <a:pos x="connsiteX12302" y="connsiteY12302"/>
              </a:cxn>
              <a:cxn ang="0">
                <a:pos x="connsiteX12303" y="connsiteY12303"/>
              </a:cxn>
              <a:cxn ang="0">
                <a:pos x="connsiteX12304" y="connsiteY12304"/>
              </a:cxn>
              <a:cxn ang="0">
                <a:pos x="connsiteX12305" y="connsiteY12305"/>
              </a:cxn>
              <a:cxn ang="0">
                <a:pos x="connsiteX12306" y="connsiteY12306"/>
              </a:cxn>
              <a:cxn ang="0">
                <a:pos x="connsiteX12307" y="connsiteY12307"/>
              </a:cxn>
              <a:cxn ang="0">
                <a:pos x="connsiteX12308" y="connsiteY12308"/>
              </a:cxn>
              <a:cxn ang="0">
                <a:pos x="connsiteX12309" y="connsiteY12309"/>
              </a:cxn>
              <a:cxn ang="0">
                <a:pos x="connsiteX12310" y="connsiteY12310"/>
              </a:cxn>
              <a:cxn ang="0">
                <a:pos x="connsiteX12311" y="connsiteY12311"/>
              </a:cxn>
              <a:cxn ang="0">
                <a:pos x="connsiteX12312" y="connsiteY12312"/>
              </a:cxn>
              <a:cxn ang="0">
                <a:pos x="connsiteX12313" y="connsiteY12313"/>
              </a:cxn>
              <a:cxn ang="0">
                <a:pos x="connsiteX12314" y="connsiteY12314"/>
              </a:cxn>
              <a:cxn ang="0">
                <a:pos x="connsiteX12315" y="connsiteY12315"/>
              </a:cxn>
              <a:cxn ang="0">
                <a:pos x="connsiteX12316" y="connsiteY12316"/>
              </a:cxn>
              <a:cxn ang="0">
                <a:pos x="connsiteX12317" y="connsiteY12317"/>
              </a:cxn>
              <a:cxn ang="0">
                <a:pos x="connsiteX12318" y="connsiteY12318"/>
              </a:cxn>
              <a:cxn ang="0">
                <a:pos x="connsiteX12319" y="connsiteY12319"/>
              </a:cxn>
              <a:cxn ang="0">
                <a:pos x="connsiteX12320" y="connsiteY12320"/>
              </a:cxn>
              <a:cxn ang="0">
                <a:pos x="connsiteX12321" y="connsiteY12321"/>
              </a:cxn>
              <a:cxn ang="0">
                <a:pos x="connsiteX12322" y="connsiteY12322"/>
              </a:cxn>
              <a:cxn ang="0">
                <a:pos x="connsiteX12323" y="connsiteY12323"/>
              </a:cxn>
              <a:cxn ang="0">
                <a:pos x="connsiteX12324" y="connsiteY12324"/>
              </a:cxn>
              <a:cxn ang="0">
                <a:pos x="connsiteX12325" y="connsiteY12325"/>
              </a:cxn>
              <a:cxn ang="0">
                <a:pos x="connsiteX12326" y="connsiteY12326"/>
              </a:cxn>
              <a:cxn ang="0">
                <a:pos x="connsiteX12327" y="connsiteY12327"/>
              </a:cxn>
              <a:cxn ang="0">
                <a:pos x="connsiteX12328" y="connsiteY12328"/>
              </a:cxn>
              <a:cxn ang="0">
                <a:pos x="connsiteX12329" y="connsiteY12329"/>
              </a:cxn>
              <a:cxn ang="0">
                <a:pos x="connsiteX12330" y="connsiteY12330"/>
              </a:cxn>
              <a:cxn ang="0">
                <a:pos x="connsiteX12331" y="connsiteY12331"/>
              </a:cxn>
              <a:cxn ang="0">
                <a:pos x="connsiteX12332" y="connsiteY12332"/>
              </a:cxn>
              <a:cxn ang="0">
                <a:pos x="connsiteX12333" y="connsiteY12333"/>
              </a:cxn>
              <a:cxn ang="0">
                <a:pos x="connsiteX12334" y="connsiteY12334"/>
              </a:cxn>
              <a:cxn ang="0">
                <a:pos x="connsiteX12335" y="connsiteY12335"/>
              </a:cxn>
              <a:cxn ang="0">
                <a:pos x="connsiteX12336" y="connsiteY12336"/>
              </a:cxn>
              <a:cxn ang="0">
                <a:pos x="connsiteX12337" y="connsiteY12337"/>
              </a:cxn>
              <a:cxn ang="0">
                <a:pos x="connsiteX12338" y="connsiteY12338"/>
              </a:cxn>
              <a:cxn ang="0">
                <a:pos x="connsiteX12339" y="connsiteY12339"/>
              </a:cxn>
              <a:cxn ang="0">
                <a:pos x="connsiteX12340" y="connsiteY12340"/>
              </a:cxn>
              <a:cxn ang="0">
                <a:pos x="connsiteX12341" y="connsiteY12341"/>
              </a:cxn>
              <a:cxn ang="0">
                <a:pos x="connsiteX12342" y="connsiteY12342"/>
              </a:cxn>
              <a:cxn ang="0">
                <a:pos x="connsiteX12343" y="connsiteY12343"/>
              </a:cxn>
              <a:cxn ang="0">
                <a:pos x="connsiteX12344" y="connsiteY12344"/>
              </a:cxn>
              <a:cxn ang="0">
                <a:pos x="connsiteX12345" y="connsiteY12345"/>
              </a:cxn>
              <a:cxn ang="0">
                <a:pos x="connsiteX12346" y="connsiteY12346"/>
              </a:cxn>
              <a:cxn ang="0">
                <a:pos x="connsiteX12347" y="connsiteY12347"/>
              </a:cxn>
              <a:cxn ang="0">
                <a:pos x="connsiteX12348" y="connsiteY12348"/>
              </a:cxn>
              <a:cxn ang="0">
                <a:pos x="connsiteX12349" y="connsiteY12349"/>
              </a:cxn>
              <a:cxn ang="0">
                <a:pos x="connsiteX12350" y="connsiteY12350"/>
              </a:cxn>
              <a:cxn ang="0">
                <a:pos x="connsiteX12351" y="connsiteY12351"/>
              </a:cxn>
              <a:cxn ang="0">
                <a:pos x="connsiteX12352" y="connsiteY12352"/>
              </a:cxn>
              <a:cxn ang="0">
                <a:pos x="connsiteX12353" y="connsiteY12353"/>
              </a:cxn>
              <a:cxn ang="0">
                <a:pos x="connsiteX12354" y="connsiteY12354"/>
              </a:cxn>
              <a:cxn ang="0">
                <a:pos x="connsiteX12355" y="connsiteY12355"/>
              </a:cxn>
              <a:cxn ang="0">
                <a:pos x="connsiteX12356" y="connsiteY12356"/>
              </a:cxn>
              <a:cxn ang="0">
                <a:pos x="connsiteX12357" y="connsiteY12357"/>
              </a:cxn>
              <a:cxn ang="0">
                <a:pos x="connsiteX12358" y="connsiteY12358"/>
              </a:cxn>
              <a:cxn ang="0">
                <a:pos x="connsiteX12359" y="connsiteY12359"/>
              </a:cxn>
              <a:cxn ang="0">
                <a:pos x="connsiteX12360" y="connsiteY12360"/>
              </a:cxn>
              <a:cxn ang="0">
                <a:pos x="connsiteX12361" y="connsiteY12361"/>
              </a:cxn>
              <a:cxn ang="0">
                <a:pos x="connsiteX12362" y="connsiteY12362"/>
              </a:cxn>
              <a:cxn ang="0">
                <a:pos x="connsiteX12363" y="connsiteY12363"/>
              </a:cxn>
              <a:cxn ang="0">
                <a:pos x="connsiteX12364" y="connsiteY12364"/>
              </a:cxn>
              <a:cxn ang="0">
                <a:pos x="connsiteX12365" y="connsiteY12365"/>
              </a:cxn>
              <a:cxn ang="0">
                <a:pos x="connsiteX12366" y="connsiteY12366"/>
              </a:cxn>
              <a:cxn ang="0">
                <a:pos x="connsiteX12367" y="connsiteY12367"/>
              </a:cxn>
              <a:cxn ang="0">
                <a:pos x="connsiteX12368" y="connsiteY12368"/>
              </a:cxn>
              <a:cxn ang="0">
                <a:pos x="connsiteX12369" y="connsiteY12369"/>
              </a:cxn>
              <a:cxn ang="0">
                <a:pos x="connsiteX12370" y="connsiteY12370"/>
              </a:cxn>
              <a:cxn ang="0">
                <a:pos x="connsiteX12371" y="connsiteY12371"/>
              </a:cxn>
              <a:cxn ang="0">
                <a:pos x="connsiteX12372" y="connsiteY12372"/>
              </a:cxn>
              <a:cxn ang="0">
                <a:pos x="connsiteX12373" y="connsiteY12373"/>
              </a:cxn>
              <a:cxn ang="0">
                <a:pos x="connsiteX12374" y="connsiteY12374"/>
              </a:cxn>
              <a:cxn ang="0">
                <a:pos x="connsiteX12375" y="connsiteY12375"/>
              </a:cxn>
              <a:cxn ang="0">
                <a:pos x="connsiteX12376" y="connsiteY12376"/>
              </a:cxn>
              <a:cxn ang="0">
                <a:pos x="connsiteX12377" y="connsiteY12377"/>
              </a:cxn>
              <a:cxn ang="0">
                <a:pos x="connsiteX12378" y="connsiteY12378"/>
              </a:cxn>
              <a:cxn ang="0">
                <a:pos x="connsiteX12379" y="connsiteY12379"/>
              </a:cxn>
              <a:cxn ang="0">
                <a:pos x="connsiteX12380" y="connsiteY12380"/>
              </a:cxn>
              <a:cxn ang="0">
                <a:pos x="connsiteX12381" y="connsiteY12381"/>
              </a:cxn>
              <a:cxn ang="0">
                <a:pos x="connsiteX12382" y="connsiteY12382"/>
              </a:cxn>
              <a:cxn ang="0">
                <a:pos x="connsiteX12383" y="connsiteY12383"/>
              </a:cxn>
              <a:cxn ang="0">
                <a:pos x="connsiteX12384" y="connsiteY12384"/>
              </a:cxn>
              <a:cxn ang="0">
                <a:pos x="connsiteX12385" y="connsiteY12385"/>
              </a:cxn>
              <a:cxn ang="0">
                <a:pos x="connsiteX12386" y="connsiteY12386"/>
              </a:cxn>
              <a:cxn ang="0">
                <a:pos x="connsiteX12387" y="connsiteY12387"/>
              </a:cxn>
              <a:cxn ang="0">
                <a:pos x="connsiteX12388" y="connsiteY12388"/>
              </a:cxn>
              <a:cxn ang="0">
                <a:pos x="connsiteX12389" y="connsiteY12389"/>
              </a:cxn>
              <a:cxn ang="0">
                <a:pos x="connsiteX12390" y="connsiteY12390"/>
              </a:cxn>
              <a:cxn ang="0">
                <a:pos x="connsiteX12391" y="connsiteY12391"/>
              </a:cxn>
              <a:cxn ang="0">
                <a:pos x="connsiteX12392" y="connsiteY12392"/>
              </a:cxn>
              <a:cxn ang="0">
                <a:pos x="connsiteX12393" y="connsiteY12393"/>
              </a:cxn>
              <a:cxn ang="0">
                <a:pos x="connsiteX12394" y="connsiteY12394"/>
              </a:cxn>
              <a:cxn ang="0">
                <a:pos x="connsiteX12395" y="connsiteY12395"/>
              </a:cxn>
              <a:cxn ang="0">
                <a:pos x="connsiteX12396" y="connsiteY12396"/>
              </a:cxn>
              <a:cxn ang="0">
                <a:pos x="connsiteX12397" y="connsiteY12397"/>
              </a:cxn>
              <a:cxn ang="0">
                <a:pos x="connsiteX12398" y="connsiteY12398"/>
              </a:cxn>
              <a:cxn ang="0">
                <a:pos x="connsiteX12399" y="connsiteY12399"/>
              </a:cxn>
              <a:cxn ang="0">
                <a:pos x="connsiteX12400" y="connsiteY12400"/>
              </a:cxn>
              <a:cxn ang="0">
                <a:pos x="connsiteX12401" y="connsiteY12401"/>
              </a:cxn>
              <a:cxn ang="0">
                <a:pos x="connsiteX12402" y="connsiteY12402"/>
              </a:cxn>
              <a:cxn ang="0">
                <a:pos x="connsiteX12403" y="connsiteY12403"/>
              </a:cxn>
              <a:cxn ang="0">
                <a:pos x="connsiteX12404" y="connsiteY12404"/>
              </a:cxn>
              <a:cxn ang="0">
                <a:pos x="connsiteX12405" y="connsiteY12405"/>
              </a:cxn>
              <a:cxn ang="0">
                <a:pos x="connsiteX12406" y="connsiteY12406"/>
              </a:cxn>
              <a:cxn ang="0">
                <a:pos x="connsiteX12407" y="connsiteY12407"/>
              </a:cxn>
              <a:cxn ang="0">
                <a:pos x="connsiteX12408" y="connsiteY12408"/>
              </a:cxn>
              <a:cxn ang="0">
                <a:pos x="connsiteX12409" y="connsiteY12409"/>
              </a:cxn>
              <a:cxn ang="0">
                <a:pos x="connsiteX12410" y="connsiteY12410"/>
              </a:cxn>
              <a:cxn ang="0">
                <a:pos x="connsiteX12411" y="connsiteY12411"/>
              </a:cxn>
              <a:cxn ang="0">
                <a:pos x="connsiteX12412" y="connsiteY12412"/>
              </a:cxn>
              <a:cxn ang="0">
                <a:pos x="connsiteX12413" y="connsiteY12413"/>
              </a:cxn>
              <a:cxn ang="0">
                <a:pos x="connsiteX12414" y="connsiteY12414"/>
              </a:cxn>
              <a:cxn ang="0">
                <a:pos x="connsiteX12415" y="connsiteY12415"/>
              </a:cxn>
              <a:cxn ang="0">
                <a:pos x="connsiteX12416" y="connsiteY12416"/>
              </a:cxn>
              <a:cxn ang="0">
                <a:pos x="connsiteX12417" y="connsiteY12417"/>
              </a:cxn>
              <a:cxn ang="0">
                <a:pos x="connsiteX12418" y="connsiteY12418"/>
              </a:cxn>
              <a:cxn ang="0">
                <a:pos x="connsiteX12419" y="connsiteY12419"/>
              </a:cxn>
              <a:cxn ang="0">
                <a:pos x="connsiteX12420" y="connsiteY12420"/>
              </a:cxn>
              <a:cxn ang="0">
                <a:pos x="connsiteX12421" y="connsiteY12421"/>
              </a:cxn>
              <a:cxn ang="0">
                <a:pos x="connsiteX12422" y="connsiteY12422"/>
              </a:cxn>
              <a:cxn ang="0">
                <a:pos x="connsiteX12423" y="connsiteY12423"/>
              </a:cxn>
              <a:cxn ang="0">
                <a:pos x="connsiteX12424" y="connsiteY12424"/>
              </a:cxn>
              <a:cxn ang="0">
                <a:pos x="connsiteX12425" y="connsiteY12425"/>
              </a:cxn>
              <a:cxn ang="0">
                <a:pos x="connsiteX12426" y="connsiteY12426"/>
              </a:cxn>
              <a:cxn ang="0">
                <a:pos x="connsiteX12427" y="connsiteY12427"/>
              </a:cxn>
              <a:cxn ang="0">
                <a:pos x="connsiteX12428" y="connsiteY12428"/>
              </a:cxn>
              <a:cxn ang="0">
                <a:pos x="connsiteX12429" y="connsiteY12429"/>
              </a:cxn>
              <a:cxn ang="0">
                <a:pos x="connsiteX12430" y="connsiteY12430"/>
              </a:cxn>
              <a:cxn ang="0">
                <a:pos x="connsiteX12431" y="connsiteY12431"/>
              </a:cxn>
              <a:cxn ang="0">
                <a:pos x="connsiteX12432" y="connsiteY12432"/>
              </a:cxn>
              <a:cxn ang="0">
                <a:pos x="connsiteX12433" y="connsiteY12433"/>
              </a:cxn>
              <a:cxn ang="0">
                <a:pos x="connsiteX12434" y="connsiteY12434"/>
              </a:cxn>
              <a:cxn ang="0">
                <a:pos x="connsiteX12435" y="connsiteY12435"/>
              </a:cxn>
              <a:cxn ang="0">
                <a:pos x="connsiteX12436" y="connsiteY12436"/>
              </a:cxn>
              <a:cxn ang="0">
                <a:pos x="connsiteX12437" y="connsiteY12437"/>
              </a:cxn>
              <a:cxn ang="0">
                <a:pos x="connsiteX12438" y="connsiteY12438"/>
              </a:cxn>
              <a:cxn ang="0">
                <a:pos x="connsiteX12439" y="connsiteY12439"/>
              </a:cxn>
              <a:cxn ang="0">
                <a:pos x="connsiteX12440" y="connsiteY12440"/>
              </a:cxn>
              <a:cxn ang="0">
                <a:pos x="connsiteX12441" y="connsiteY12441"/>
              </a:cxn>
              <a:cxn ang="0">
                <a:pos x="connsiteX12442" y="connsiteY12442"/>
              </a:cxn>
              <a:cxn ang="0">
                <a:pos x="connsiteX12443" y="connsiteY12443"/>
              </a:cxn>
              <a:cxn ang="0">
                <a:pos x="connsiteX12444" y="connsiteY12444"/>
              </a:cxn>
              <a:cxn ang="0">
                <a:pos x="connsiteX12445" y="connsiteY12445"/>
              </a:cxn>
              <a:cxn ang="0">
                <a:pos x="connsiteX12446" y="connsiteY12446"/>
              </a:cxn>
              <a:cxn ang="0">
                <a:pos x="connsiteX12447" y="connsiteY12447"/>
              </a:cxn>
              <a:cxn ang="0">
                <a:pos x="connsiteX12448" y="connsiteY12448"/>
              </a:cxn>
              <a:cxn ang="0">
                <a:pos x="connsiteX12449" y="connsiteY12449"/>
              </a:cxn>
              <a:cxn ang="0">
                <a:pos x="connsiteX12450" y="connsiteY12450"/>
              </a:cxn>
              <a:cxn ang="0">
                <a:pos x="connsiteX12451" y="connsiteY12451"/>
              </a:cxn>
              <a:cxn ang="0">
                <a:pos x="connsiteX12452" y="connsiteY12452"/>
              </a:cxn>
              <a:cxn ang="0">
                <a:pos x="connsiteX12453" y="connsiteY12453"/>
              </a:cxn>
              <a:cxn ang="0">
                <a:pos x="connsiteX12454" y="connsiteY12454"/>
              </a:cxn>
              <a:cxn ang="0">
                <a:pos x="connsiteX12455" y="connsiteY12455"/>
              </a:cxn>
              <a:cxn ang="0">
                <a:pos x="connsiteX12456" y="connsiteY12456"/>
              </a:cxn>
              <a:cxn ang="0">
                <a:pos x="connsiteX12457" y="connsiteY12457"/>
              </a:cxn>
              <a:cxn ang="0">
                <a:pos x="connsiteX12458" y="connsiteY12458"/>
              </a:cxn>
              <a:cxn ang="0">
                <a:pos x="connsiteX12459" y="connsiteY12459"/>
              </a:cxn>
              <a:cxn ang="0">
                <a:pos x="connsiteX12460" y="connsiteY12460"/>
              </a:cxn>
              <a:cxn ang="0">
                <a:pos x="connsiteX12461" y="connsiteY12461"/>
              </a:cxn>
              <a:cxn ang="0">
                <a:pos x="connsiteX12462" y="connsiteY12462"/>
              </a:cxn>
              <a:cxn ang="0">
                <a:pos x="connsiteX12463" y="connsiteY12463"/>
              </a:cxn>
              <a:cxn ang="0">
                <a:pos x="connsiteX12464" y="connsiteY12464"/>
              </a:cxn>
              <a:cxn ang="0">
                <a:pos x="connsiteX12465" y="connsiteY12465"/>
              </a:cxn>
              <a:cxn ang="0">
                <a:pos x="connsiteX12466" y="connsiteY12466"/>
              </a:cxn>
              <a:cxn ang="0">
                <a:pos x="connsiteX12467" y="connsiteY12467"/>
              </a:cxn>
              <a:cxn ang="0">
                <a:pos x="connsiteX12468" y="connsiteY12468"/>
              </a:cxn>
              <a:cxn ang="0">
                <a:pos x="connsiteX12469" y="connsiteY12469"/>
              </a:cxn>
              <a:cxn ang="0">
                <a:pos x="connsiteX12470" y="connsiteY12470"/>
              </a:cxn>
              <a:cxn ang="0">
                <a:pos x="connsiteX12471" y="connsiteY12471"/>
              </a:cxn>
              <a:cxn ang="0">
                <a:pos x="connsiteX12472" y="connsiteY12472"/>
              </a:cxn>
              <a:cxn ang="0">
                <a:pos x="connsiteX12473" y="connsiteY12473"/>
              </a:cxn>
              <a:cxn ang="0">
                <a:pos x="connsiteX12474" y="connsiteY12474"/>
              </a:cxn>
              <a:cxn ang="0">
                <a:pos x="connsiteX12475" y="connsiteY12475"/>
              </a:cxn>
              <a:cxn ang="0">
                <a:pos x="connsiteX12476" y="connsiteY12476"/>
              </a:cxn>
              <a:cxn ang="0">
                <a:pos x="connsiteX12477" y="connsiteY12477"/>
              </a:cxn>
              <a:cxn ang="0">
                <a:pos x="connsiteX12478" y="connsiteY12478"/>
              </a:cxn>
              <a:cxn ang="0">
                <a:pos x="connsiteX12479" y="connsiteY12479"/>
              </a:cxn>
              <a:cxn ang="0">
                <a:pos x="connsiteX12480" y="connsiteY12480"/>
              </a:cxn>
              <a:cxn ang="0">
                <a:pos x="connsiteX12481" y="connsiteY12481"/>
              </a:cxn>
              <a:cxn ang="0">
                <a:pos x="connsiteX12482" y="connsiteY12482"/>
              </a:cxn>
              <a:cxn ang="0">
                <a:pos x="connsiteX12483" y="connsiteY12483"/>
              </a:cxn>
              <a:cxn ang="0">
                <a:pos x="connsiteX12484" y="connsiteY12484"/>
              </a:cxn>
              <a:cxn ang="0">
                <a:pos x="connsiteX12485" y="connsiteY12485"/>
              </a:cxn>
              <a:cxn ang="0">
                <a:pos x="connsiteX12486" y="connsiteY12486"/>
              </a:cxn>
              <a:cxn ang="0">
                <a:pos x="connsiteX12487" y="connsiteY12487"/>
              </a:cxn>
              <a:cxn ang="0">
                <a:pos x="connsiteX12488" y="connsiteY12488"/>
              </a:cxn>
              <a:cxn ang="0">
                <a:pos x="connsiteX12489" y="connsiteY12489"/>
              </a:cxn>
              <a:cxn ang="0">
                <a:pos x="connsiteX12490" y="connsiteY12490"/>
              </a:cxn>
              <a:cxn ang="0">
                <a:pos x="connsiteX12491" y="connsiteY12491"/>
              </a:cxn>
              <a:cxn ang="0">
                <a:pos x="connsiteX12492" y="connsiteY12492"/>
              </a:cxn>
              <a:cxn ang="0">
                <a:pos x="connsiteX12493" y="connsiteY12493"/>
              </a:cxn>
              <a:cxn ang="0">
                <a:pos x="connsiteX12494" y="connsiteY12494"/>
              </a:cxn>
              <a:cxn ang="0">
                <a:pos x="connsiteX12495" y="connsiteY12495"/>
              </a:cxn>
              <a:cxn ang="0">
                <a:pos x="connsiteX12496" y="connsiteY12496"/>
              </a:cxn>
              <a:cxn ang="0">
                <a:pos x="connsiteX12497" y="connsiteY12497"/>
              </a:cxn>
              <a:cxn ang="0">
                <a:pos x="connsiteX12498" y="connsiteY12498"/>
              </a:cxn>
              <a:cxn ang="0">
                <a:pos x="connsiteX12499" y="connsiteY12499"/>
              </a:cxn>
              <a:cxn ang="0">
                <a:pos x="connsiteX12500" y="connsiteY12500"/>
              </a:cxn>
              <a:cxn ang="0">
                <a:pos x="connsiteX12501" y="connsiteY12501"/>
              </a:cxn>
              <a:cxn ang="0">
                <a:pos x="connsiteX12502" y="connsiteY12502"/>
              </a:cxn>
              <a:cxn ang="0">
                <a:pos x="connsiteX12503" y="connsiteY12503"/>
              </a:cxn>
              <a:cxn ang="0">
                <a:pos x="connsiteX12504" y="connsiteY12504"/>
              </a:cxn>
              <a:cxn ang="0">
                <a:pos x="connsiteX12505" y="connsiteY12505"/>
              </a:cxn>
              <a:cxn ang="0">
                <a:pos x="connsiteX12506" y="connsiteY12506"/>
              </a:cxn>
              <a:cxn ang="0">
                <a:pos x="connsiteX12507" y="connsiteY12507"/>
              </a:cxn>
              <a:cxn ang="0">
                <a:pos x="connsiteX12508" y="connsiteY12508"/>
              </a:cxn>
              <a:cxn ang="0">
                <a:pos x="connsiteX12509" y="connsiteY12509"/>
              </a:cxn>
              <a:cxn ang="0">
                <a:pos x="connsiteX12510" y="connsiteY12510"/>
              </a:cxn>
              <a:cxn ang="0">
                <a:pos x="connsiteX12511" y="connsiteY12511"/>
              </a:cxn>
              <a:cxn ang="0">
                <a:pos x="connsiteX12512" y="connsiteY12512"/>
              </a:cxn>
              <a:cxn ang="0">
                <a:pos x="connsiteX12513" y="connsiteY12513"/>
              </a:cxn>
              <a:cxn ang="0">
                <a:pos x="connsiteX12514" y="connsiteY12514"/>
              </a:cxn>
              <a:cxn ang="0">
                <a:pos x="connsiteX12515" y="connsiteY12515"/>
              </a:cxn>
              <a:cxn ang="0">
                <a:pos x="connsiteX12516" y="connsiteY12516"/>
              </a:cxn>
              <a:cxn ang="0">
                <a:pos x="connsiteX12517" y="connsiteY12517"/>
              </a:cxn>
              <a:cxn ang="0">
                <a:pos x="connsiteX12518" y="connsiteY12518"/>
              </a:cxn>
              <a:cxn ang="0">
                <a:pos x="connsiteX12519" y="connsiteY12519"/>
              </a:cxn>
              <a:cxn ang="0">
                <a:pos x="connsiteX12520" y="connsiteY12520"/>
              </a:cxn>
              <a:cxn ang="0">
                <a:pos x="connsiteX12521" y="connsiteY12521"/>
              </a:cxn>
              <a:cxn ang="0">
                <a:pos x="connsiteX12522" y="connsiteY12522"/>
              </a:cxn>
              <a:cxn ang="0">
                <a:pos x="connsiteX12523" y="connsiteY12523"/>
              </a:cxn>
              <a:cxn ang="0">
                <a:pos x="connsiteX12524" y="connsiteY12524"/>
              </a:cxn>
              <a:cxn ang="0">
                <a:pos x="connsiteX12525" y="connsiteY12525"/>
              </a:cxn>
              <a:cxn ang="0">
                <a:pos x="connsiteX12526" y="connsiteY12526"/>
              </a:cxn>
              <a:cxn ang="0">
                <a:pos x="connsiteX12527" y="connsiteY12527"/>
              </a:cxn>
              <a:cxn ang="0">
                <a:pos x="connsiteX12528" y="connsiteY12528"/>
              </a:cxn>
              <a:cxn ang="0">
                <a:pos x="connsiteX12529" y="connsiteY12529"/>
              </a:cxn>
              <a:cxn ang="0">
                <a:pos x="connsiteX12530" y="connsiteY12530"/>
              </a:cxn>
              <a:cxn ang="0">
                <a:pos x="connsiteX12531" y="connsiteY12531"/>
              </a:cxn>
              <a:cxn ang="0">
                <a:pos x="connsiteX12532" y="connsiteY12532"/>
              </a:cxn>
              <a:cxn ang="0">
                <a:pos x="connsiteX12533" y="connsiteY12533"/>
              </a:cxn>
              <a:cxn ang="0">
                <a:pos x="connsiteX12534" y="connsiteY12534"/>
              </a:cxn>
              <a:cxn ang="0">
                <a:pos x="connsiteX12535" y="connsiteY12535"/>
              </a:cxn>
              <a:cxn ang="0">
                <a:pos x="connsiteX12536" y="connsiteY12536"/>
              </a:cxn>
              <a:cxn ang="0">
                <a:pos x="connsiteX12537" y="connsiteY12537"/>
              </a:cxn>
              <a:cxn ang="0">
                <a:pos x="connsiteX12538" y="connsiteY12538"/>
              </a:cxn>
              <a:cxn ang="0">
                <a:pos x="connsiteX12539" y="connsiteY12539"/>
              </a:cxn>
              <a:cxn ang="0">
                <a:pos x="connsiteX12540" y="connsiteY12540"/>
              </a:cxn>
              <a:cxn ang="0">
                <a:pos x="connsiteX12541" y="connsiteY12541"/>
              </a:cxn>
              <a:cxn ang="0">
                <a:pos x="connsiteX12542" y="connsiteY12542"/>
              </a:cxn>
              <a:cxn ang="0">
                <a:pos x="connsiteX12543" y="connsiteY12543"/>
              </a:cxn>
              <a:cxn ang="0">
                <a:pos x="connsiteX12544" y="connsiteY12544"/>
              </a:cxn>
              <a:cxn ang="0">
                <a:pos x="connsiteX12545" y="connsiteY12545"/>
              </a:cxn>
              <a:cxn ang="0">
                <a:pos x="connsiteX12546" y="connsiteY12546"/>
              </a:cxn>
              <a:cxn ang="0">
                <a:pos x="connsiteX12547" y="connsiteY12547"/>
              </a:cxn>
              <a:cxn ang="0">
                <a:pos x="connsiteX12548" y="connsiteY12548"/>
              </a:cxn>
              <a:cxn ang="0">
                <a:pos x="connsiteX12549" y="connsiteY12549"/>
              </a:cxn>
              <a:cxn ang="0">
                <a:pos x="connsiteX12550" y="connsiteY12550"/>
              </a:cxn>
              <a:cxn ang="0">
                <a:pos x="connsiteX12551" y="connsiteY12551"/>
              </a:cxn>
              <a:cxn ang="0">
                <a:pos x="connsiteX12552" y="connsiteY12552"/>
              </a:cxn>
              <a:cxn ang="0">
                <a:pos x="connsiteX12553" y="connsiteY12553"/>
              </a:cxn>
              <a:cxn ang="0">
                <a:pos x="connsiteX12554" y="connsiteY12554"/>
              </a:cxn>
              <a:cxn ang="0">
                <a:pos x="connsiteX12555" y="connsiteY12555"/>
              </a:cxn>
              <a:cxn ang="0">
                <a:pos x="connsiteX12556" y="connsiteY12556"/>
              </a:cxn>
              <a:cxn ang="0">
                <a:pos x="connsiteX12557" y="connsiteY12557"/>
              </a:cxn>
              <a:cxn ang="0">
                <a:pos x="connsiteX12558" y="connsiteY12558"/>
              </a:cxn>
              <a:cxn ang="0">
                <a:pos x="connsiteX12559" y="connsiteY12559"/>
              </a:cxn>
              <a:cxn ang="0">
                <a:pos x="connsiteX12560" y="connsiteY12560"/>
              </a:cxn>
              <a:cxn ang="0">
                <a:pos x="connsiteX12561" y="connsiteY12561"/>
              </a:cxn>
              <a:cxn ang="0">
                <a:pos x="connsiteX12562" y="connsiteY12562"/>
              </a:cxn>
              <a:cxn ang="0">
                <a:pos x="connsiteX12563" y="connsiteY12563"/>
              </a:cxn>
              <a:cxn ang="0">
                <a:pos x="connsiteX12564" y="connsiteY12564"/>
              </a:cxn>
              <a:cxn ang="0">
                <a:pos x="connsiteX12565" y="connsiteY12565"/>
              </a:cxn>
              <a:cxn ang="0">
                <a:pos x="connsiteX12566" y="connsiteY12566"/>
              </a:cxn>
              <a:cxn ang="0">
                <a:pos x="connsiteX12567" y="connsiteY12567"/>
              </a:cxn>
              <a:cxn ang="0">
                <a:pos x="connsiteX12568" y="connsiteY12568"/>
              </a:cxn>
              <a:cxn ang="0">
                <a:pos x="connsiteX12569" y="connsiteY12569"/>
              </a:cxn>
              <a:cxn ang="0">
                <a:pos x="connsiteX12570" y="connsiteY12570"/>
              </a:cxn>
              <a:cxn ang="0">
                <a:pos x="connsiteX12571" y="connsiteY12571"/>
              </a:cxn>
              <a:cxn ang="0">
                <a:pos x="connsiteX12572" y="connsiteY12572"/>
              </a:cxn>
              <a:cxn ang="0">
                <a:pos x="connsiteX12573" y="connsiteY12573"/>
              </a:cxn>
              <a:cxn ang="0">
                <a:pos x="connsiteX12574" y="connsiteY12574"/>
              </a:cxn>
              <a:cxn ang="0">
                <a:pos x="connsiteX12575" y="connsiteY12575"/>
              </a:cxn>
              <a:cxn ang="0">
                <a:pos x="connsiteX12576" y="connsiteY12576"/>
              </a:cxn>
              <a:cxn ang="0">
                <a:pos x="connsiteX12577" y="connsiteY12577"/>
              </a:cxn>
              <a:cxn ang="0">
                <a:pos x="connsiteX12578" y="connsiteY12578"/>
              </a:cxn>
              <a:cxn ang="0">
                <a:pos x="connsiteX12579" y="connsiteY12579"/>
              </a:cxn>
              <a:cxn ang="0">
                <a:pos x="connsiteX12580" y="connsiteY12580"/>
              </a:cxn>
              <a:cxn ang="0">
                <a:pos x="connsiteX12581" y="connsiteY12581"/>
              </a:cxn>
              <a:cxn ang="0">
                <a:pos x="connsiteX12582" y="connsiteY12582"/>
              </a:cxn>
              <a:cxn ang="0">
                <a:pos x="connsiteX12583" y="connsiteY12583"/>
              </a:cxn>
              <a:cxn ang="0">
                <a:pos x="connsiteX12584" y="connsiteY12584"/>
              </a:cxn>
              <a:cxn ang="0">
                <a:pos x="connsiteX12585" y="connsiteY12585"/>
              </a:cxn>
              <a:cxn ang="0">
                <a:pos x="connsiteX12586" y="connsiteY12586"/>
              </a:cxn>
              <a:cxn ang="0">
                <a:pos x="connsiteX12587" y="connsiteY12587"/>
              </a:cxn>
              <a:cxn ang="0">
                <a:pos x="connsiteX12588" y="connsiteY12588"/>
              </a:cxn>
              <a:cxn ang="0">
                <a:pos x="connsiteX12589" y="connsiteY12589"/>
              </a:cxn>
              <a:cxn ang="0">
                <a:pos x="connsiteX12590" y="connsiteY12590"/>
              </a:cxn>
              <a:cxn ang="0">
                <a:pos x="connsiteX12591" y="connsiteY12591"/>
              </a:cxn>
              <a:cxn ang="0">
                <a:pos x="connsiteX12592" y="connsiteY12592"/>
              </a:cxn>
              <a:cxn ang="0">
                <a:pos x="connsiteX12593" y="connsiteY12593"/>
              </a:cxn>
              <a:cxn ang="0">
                <a:pos x="connsiteX12594" y="connsiteY12594"/>
              </a:cxn>
              <a:cxn ang="0">
                <a:pos x="connsiteX12595" y="connsiteY12595"/>
              </a:cxn>
              <a:cxn ang="0">
                <a:pos x="connsiteX12596" y="connsiteY12596"/>
              </a:cxn>
              <a:cxn ang="0">
                <a:pos x="connsiteX12597" y="connsiteY12597"/>
              </a:cxn>
              <a:cxn ang="0">
                <a:pos x="connsiteX12598" y="connsiteY12598"/>
              </a:cxn>
              <a:cxn ang="0">
                <a:pos x="connsiteX12599" y="connsiteY12599"/>
              </a:cxn>
              <a:cxn ang="0">
                <a:pos x="connsiteX12600" y="connsiteY12600"/>
              </a:cxn>
              <a:cxn ang="0">
                <a:pos x="connsiteX12601" y="connsiteY12601"/>
              </a:cxn>
              <a:cxn ang="0">
                <a:pos x="connsiteX12602" y="connsiteY12602"/>
              </a:cxn>
              <a:cxn ang="0">
                <a:pos x="connsiteX12603" y="connsiteY12603"/>
              </a:cxn>
              <a:cxn ang="0">
                <a:pos x="connsiteX12604" y="connsiteY12604"/>
              </a:cxn>
              <a:cxn ang="0">
                <a:pos x="connsiteX12605" y="connsiteY12605"/>
              </a:cxn>
              <a:cxn ang="0">
                <a:pos x="connsiteX12606" y="connsiteY12606"/>
              </a:cxn>
              <a:cxn ang="0">
                <a:pos x="connsiteX12607" y="connsiteY12607"/>
              </a:cxn>
              <a:cxn ang="0">
                <a:pos x="connsiteX12608" y="connsiteY12608"/>
              </a:cxn>
              <a:cxn ang="0">
                <a:pos x="connsiteX12609" y="connsiteY12609"/>
              </a:cxn>
              <a:cxn ang="0">
                <a:pos x="connsiteX12610" y="connsiteY12610"/>
              </a:cxn>
              <a:cxn ang="0">
                <a:pos x="connsiteX12611" y="connsiteY12611"/>
              </a:cxn>
              <a:cxn ang="0">
                <a:pos x="connsiteX12612" y="connsiteY12612"/>
              </a:cxn>
              <a:cxn ang="0">
                <a:pos x="connsiteX12613" y="connsiteY12613"/>
              </a:cxn>
              <a:cxn ang="0">
                <a:pos x="connsiteX12614" y="connsiteY12614"/>
              </a:cxn>
              <a:cxn ang="0">
                <a:pos x="connsiteX12615" y="connsiteY12615"/>
              </a:cxn>
              <a:cxn ang="0">
                <a:pos x="connsiteX12616" y="connsiteY12616"/>
              </a:cxn>
              <a:cxn ang="0">
                <a:pos x="connsiteX12617" y="connsiteY12617"/>
              </a:cxn>
              <a:cxn ang="0">
                <a:pos x="connsiteX12618" y="connsiteY12618"/>
              </a:cxn>
              <a:cxn ang="0">
                <a:pos x="connsiteX12619" y="connsiteY12619"/>
              </a:cxn>
              <a:cxn ang="0">
                <a:pos x="connsiteX12620" y="connsiteY12620"/>
              </a:cxn>
              <a:cxn ang="0">
                <a:pos x="connsiteX12621" y="connsiteY12621"/>
              </a:cxn>
              <a:cxn ang="0">
                <a:pos x="connsiteX12622" y="connsiteY12622"/>
              </a:cxn>
              <a:cxn ang="0">
                <a:pos x="connsiteX12623" y="connsiteY12623"/>
              </a:cxn>
              <a:cxn ang="0">
                <a:pos x="connsiteX12624" y="connsiteY12624"/>
              </a:cxn>
              <a:cxn ang="0">
                <a:pos x="connsiteX12625" y="connsiteY12625"/>
              </a:cxn>
              <a:cxn ang="0">
                <a:pos x="connsiteX12626" y="connsiteY12626"/>
              </a:cxn>
              <a:cxn ang="0">
                <a:pos x="connsiteX12627" y="connsiteY12627"/>
              </a:cxn>
              <a:cxn ang="0">
                <a:pos x="connsiteX12628" y="connsiteY12628"/>
              </a:cxn>
              <a:cxn ang="0">
                <a:pos x="connsiteX12629" y="connsiteY12629"/>
              </a:cxn>
              <a:cxn ang="0">
                <a:pos x="connsiteX12630" y="connsiteY12630"/>
              </a:cxn>
              <a:cxn ang="0">
                <a:pos x="connsiteX12631" y="connsiteY12631"/>
              </a:cxn>
              <a:cxn ang="0">
                <a:pos x="connsiteX12632" y="connsiteY12632"/>
              </a:cxn>
              <a:cxn ang="0">
                <a:pos x="connsiteX12633" y="connsiteY12633"/>
              </a:cxn>
              <a:cxn ang="0">
                <a:pos x="connsiteX12634" y="connsiteY12634"/>
              </a:cxn>
              <a:cxn ang="0">
                <a:pos x="connsiteX12635" y="connsiteY12635"/>
              </a:cxn>
              <a:cxn ang="0">
                <a:pos x="connsiteX12636" y="connsiteY12636"/>
              </a:cxn>
              <a:cxn ang="0">
                <a:pos x="connsiteX12637" y="connsiteY12637"/>
              </a:cxn>
              <a:cxn ang="0">
                <a:pos x="connsiteX12638" y="connsiteY12638"/>
              </a:cxn>
              <a:cxn ang="0">
                <a:pos x="connsiteX12639" y="connsiteY12639"/>
              </a:cxn>
              <a:cxn ang="0">
                <a:pos x="connsiteX12640" y="connsiteY12640"/>
              </a:cxn>
              <a:cxn ang="0">
                <a:pos x="connsiteX12641" y="connsiteY12641"/>
              </a:cxn>
              <a:cxn ang="0">
                <a:pos x="connsiteX12642" y="connsiteY12642"/>
              </a:cxn>
              <a:cxn ang="0">
                <a:pos x="connsiteX12643" y="connsiteY12643"/>
              </a:cxn>
              <a:cxn ang="0">
                <a:pos x="connsiteX12644" y="connsiteY12644"/>
              </a:cxn>
              <a:cxn ang="0">
                <a:pos x="connsiteX12645" y="connsiteY12645"/>
              </a:cxn>
              <a:cxn ang="0">
                <a:pos x="connsiteX12646" y="connsiteY12646"/>
              </a:cxn>
              <a:cxn ang="0">
                <a:pos x="connsiteX12647" y="connsiteY12647"/>
              </a:cxn>
              <a:cxn ang="0">
                <a:pos x="connsiteX12648" y="connsiteY12648"/>
              </a:cxn>
              <a:cxn ang="0">
                <a:pos x="connsiteX12649" y="connsiteY12649"/>
              </a:cxn>
              <a:cxn ang="0">
                <a:pos x="connsiteX12650" y="connsiteY12650"/>
              </a:cxn>
              <a:cxn ang="0">
                <a:pos x="connsiteX12651" y="connsiteY12651"/>
              </a:cxn>
              <a:cxn ang="0">
                <a:pos x="connsiteX12652" y="connsiteY12652"/>
              </a:cxn>
              <a:cxn ang="0">
                <a:pos x="connsiteX12653" y="connsiteY12653"/>
              </a:cxn>
              <a:cxn ang="0">
                <a:pos x="connsiteX12654" y="connsiteY12654"/>
              </a:cxn>
              <a:cxn ang="0">
                <a:pos x="connsiteX12655" y="connsiteY12655"/>
              </a:cxn>
              <a:cxn ang="0">
                <a:pos x="connsiteX12656" y="connsiteY12656"/>
              </a:cxn>
              <a:cxn ang="0">
                <a:pos x="connsiteX12657" y="connsiteY12657"/>
              </a:cxn>
              <a:cxn ang="0">
                <a:pos x="connsiteX12658" y="connsiteY12658"/>
              </a:cxn>
              <a:cxn ang="0">
                <a:pos x="connsiteX12659" y="connsiteY12659"/>
              </a:cxn>
              <a:cxn ang="0">
                <a:pos x="connsiteX12660" y="connsiteY12660"/>
              </a:cxn>
              <a:cxn ang="0">
                <a:pos x="connsiteX12661" y="connsiteY12661"/>
              </a:cxn>
              <a:cxn ang="0">
                <a:pos x="connsiteX12662" y="connsiteY12662"/>
              </a:cxn>
              <a:cxn ang="0">
                <a:pos x="connsiteX12663" y="connsiteY12663"/>
              </a:cxn>
              <a:cxn ang="0">
                <a:pos x="connsiteX12664" y="connsiteY12664"/>
              </a:cxn>
              <a:cxn ang="0">
                <a:pos x="connsiteX12665" y="connsiteY12665"/>
              </a:cxn>
              <a:cxn ang="0">
                <a:pos x="connsiteX12666" y="connsiteY12666"/>
              </a:cxn>
              <a:cxn ang="0">
                <a:pos x="connsiteX12667" y="connsiteY12667"/>
              </a:cxn>
              <a:cxn ang="0">
                <a:pos x="connsiteX12668" y="connsiteY12668"/>
              </a:cxn>
              <a:cxn ang="0">
                <a:pos x="connsiteX12669" y="connsiteY12669"/>
              </a:cxn>
              <a:cxn ang="0">
                <a:pos x="connsiteX12670" y="connsiteY12670"/>
              </a:cxn>
              <a:cxn ang="0">
                <a:pos x="connsiteX12671" y="connsiteY12671"/>
              </a:cxn>
              <a:cxn ang="0">
                <a:pos x="connsiteX12672" y="connsiteY12672"/>
              </a:cxn>
              <a:cxn ang="0">
                <a:pos x="connsiteX12673" y="connsiteY12673"/>
              </a:cxn>
              <a:cxn ang="0">
                <a:pos x="connsiteX12674" y="connsiteY12674"/>
              </a:cxn>
              <a:cxn ang="0">
                <a:pos x="connsiteX12675" y="connsiteY12675"/>
              </a:cxn>
              <a:cxn ang="0">
                <a:pos x="connsiteX12676" y="connsiteY12676"/>
              </a:cxn>
              <a:cxn ang="0">
                <a:pos x="connsiteX12677" y="connsiteY12677"/>
              </a:cxn>
              <a:cxn ang="0">
                <a:pos x="connsiteX12678" y="connsiteY12678"/>
              </a:cxn>
              <a:cxn ang="0">
                <a:pos x="connsiteX12679" y="connsiteY12679"/>
              </a:cxn>
              <a:cxn ang="0">
                <a:pos x="connsiteX12680" y="connsiteY12680"/>
              </a:cxn>
              <a:cxn ang="0">
                <a:pos x="connsiteX12681" y="connsiteY12681"/>
              </a:cxn>
              <a:cxn ang="0">
                <a:pos x="connsiteX12682" y="connsiteY12682"/>
              </a:cxn>
              <a:cxn ang="0">
                <a:pos x="connsiteX12683" y="connsiteY12683"/>
              </a:cxn>
              <a:cxn ang="0">
                <a:pos x="connsiteX12684" y="connsiteY12684"/>
              </a:cxn>
              <a:cxn ang="0">
                <a:pos x="connsiteX12685" y="connsiteY12685"/>
              </a:cxn>
              <a:cxn ang="0">
                <a:pos x="connsiteX12686" y="connsiteY12686"/>
              </a:cxn>
              <a:cxn ang="0">
                <a:pos x="connsiteX12687" y="connsiteY12687"/>
              </a:cxn>
              <a:cxn ang="0">
                <a:pos x="connsiteX12688" y="connsiteY12688"/>
              </a:cxn>
              <a:cxn ang="0">
                <a:pos x="connsiteX12689" y="connsiteY12689"/>
              </a:cxn>
              <a:cxn ang="0">
                <a:pos x="connsiteX12690" y="connsiteY12690"/>
              </a:cxn>
              <a:cxn ang="0">
                <a:pos x="connsiteX12691" y="connsiteY12691"/>
              </a:cxn>
              <a:cxn ang="0">
                <a:pos x="connsiteX12692" y="connsiteY12692"/>
              </a:cxn>
              <a:cxn ang="0">
                <a:pos x="connsiteX12693" y="connsiteY12693"/>
              </a:cxn>
              <a:cxn ang="0">
                <a:pos x="connsiteX12694" y="connsiteY12694"/>
              </a:cxn>
              <a:cxn ang="0">
                <a:pos x="connsiteX12695" y="connsiteY12695"/>
              </a:cxn>
              <a:cxn ang="0">
                <a:pos x="connsiteX12696" y="connsiteY12696"/>
              </a:cxn>
              <a:cxn ang="0">
                <a:pos x="connsiteX12697" y="connsiteY12697"/>
              </a:cxn>
              <a:cxn ang="0">
                <a:pos x="connsiteX12698" y="connsiteY12698"/>
              </a:cxn>
              <a:cxn ang="0">
                <a:pos x="connsiteX12699" y="connsiteY12699"/>
              </a:cxn>
              <a:cxn ang="0">
                <a:pos x="connsiteX12700" y="connsiteY12700"/>
              </a:cxn>
              <a:cxn ang="0">
                <a:pos x="connsiteX12701" y="connsiteY12701"/>
              </a:cxn>
              <a:cxn ang="0">
                <a:pos x="connsiteX12702" y="connsiteY12702"/>
              </a:cxn>
              <a:cxn ang="0">
                <a:pos x="connsiteX12703" y="connsiteY12703"/>
              </a:cxn>
              <a:cxn ang="0">
                <a:pos x="connsiteX12704" y="connsiteY12704"/>
              </a:cxn>
              <a:cxn ang="0">
                <a:pos x="connsiteX12705" y="connsiteY12705"/>
              </a:cxn>
              <a:cxn ang="0">
                <a:pos x="connsiteX12706" y="connsiteY12706"/>
              </a:cxn>
              <a:cxn ang="0">
                <a:pos x="connsiteX12707" y="connsiteY12707"/>
              </a:cxn>
              <a:cxn ang="0">
                <a:pos x="connsiteX12708" y="connsiteY12708"/>
              </a:cxn>
              <a:cxn ang="0">
                <a:pos x="connsiteX12709" y="connsiteY12709"/>
              </a:cxn>
              <a:cxn ang="0">
                <a:pos x="connsiteX12710" y="connsiteY12710"/>
              </a:cxn>
              <a:cxn ang="0">
                <a:pos x="connsiteX12711" y="connsiteY12711"/>
              </a:cxn>
              <a:cxn ang="0">
                <a:pos x="connsiteX12712" y="connsiteY12712"/>
              </a:cxn>
              <a:cxn ang="0">
                <a:pos x="connsiteX12713" y="connsiteY12713"/>
              </a:cxn>
              <a:cxn ang="0">
                <a:pos x="connsiteX12714" y="connsiteY12714"/>
              </a:cxn>
              <a:cxn ang="0">
                <a:pos x="connsiteX12715" y="connsiteY12715"/>
              </a:cxn>
              <a:cxn ang="0">
                <a:pos x="connsiteX12716" y="connsiteY12716"/>
              </a:cxn>
              <a:cxn ang="0">
                <a:pos x="connsiteX12717" y="connsiteY12717"/>
              </a:cxn>
              <a:cxn ang="0">
                <a:pos x="connsiteX12718" y="connsiteY12718"/>
              </a:cxn>
              <a:cxn ang="0">
                <a:pos x="connsiteX12719" y="connsiteY12719"/>
              </a:cxn>
              <a:cxn ang="0">
                <a:pos x="connsiteX12720" y="connsiteY12720"/>
              </a:cxn>
              <a:cxn ang="0">
                <a:pos x="connsiteX12721" y="connsiteY12721"/>
              </a:cxn>
              <a:cxn ang="0">
                <a:pos x="connsiteX12722" y="connsiteY12722"/>
              </a:cxn>
              <a:cxn ang="0">
                <a:pos x="connsiteX12723" y="connsiteY12723"/>
              </a:cxn>
              <a:cxn ang="0">
                <a:pos x="connsiteX12724" y="connsiteY12724"/>
              </a:cxn>
              <a:cxn ang="0">
                <a:pos x="connsiteX12725" y="connsiteY12725"/>
              </a:cxn>
              <a:cxn ang="0">
                <a:pos x="connsiteX12726" y="connsiteY12726"/>
              </a:cxn>
              <a:cxn ang="0">
                <a:pos x="connsiteX12727" y="connsiteY12727"/>
              </a:cxn>
              <a:cxn ang="0">
                <a:pos x="connsiteX12728" y="connsiteY12728"/>
              </a:cxn>
              <a:cxn ang="0">
                <a:pos x="connsiteX12729" y="connsiteY12729"/>
              </a:cxn>
              <a:cxn ang="0">
                <a:pos x="connsiteX12730" y="connsiteY12730"/>
              </a:cxn>
              <a:cxn ang="0">
                <a:pos x="connsiteX12731" y="connsiteY12731"/>
              </a:cxn>
              <a:cxn ang="0">
                <a:pos x="connsiteX12732" y="connsiteY12732"/>
              </a:cxn>
              <a:cxn ang="0">
                <a:pos x="connsiteX12733" y="connsiteY12733"/>
              </a:cxn>
              <a:cxn ang="0">
                <a:pos x="connsiteX12734" y="connsiteY12734"/>
              </a:cxn>
              <a:cxn ang="0">
                <a:pos x="connsiteX12735" y="connsiteY12735"/>
              </a:cxn>
              <a:cxn ang="0">
                <a:pos x="connsiteX12736" y="connsiteY12736"/>
              </a:cxn>
              <a:cxn ang="0">
                <a:pos x="connsiteX12737" y="connsiteY12737"/>
              </a:cxn>
              <a:cxn ang="0">
                <a:pos x="connsiteX12738" y="connsiteY12738"/>
              </a:cxn>
              <a:cxn ang="0">
                <a:pos x="connsiteX12739" y="connsiteY12739"/>
              </a:cxn>
              <a:cxn ang="0">
                <a:pos x="connsiteX12740" y="connsiteY12740"/>
              </a:cxn>
              <a:cxn ang="0">
                <a:pos x="connsiteX12741" y="connsiteY12741"/>
              </a:cxn>
              <a:cxn ang="0">
                <a:pos x="connsiteX12742" y="connsiteY12742"/>
              </a:cxn>
              <a:cxn ang="0">
                <a:pos x="connsiteX12743" y="connsiteY12743"/>
              </a:cxn>
              <a:cxn ang="0">
                <a:pos x="connsiteX12744" y="connsiteY12744"/>
              </a:cxn>
              <a:cxn ang="0">
                <a:pos x="connsiteX12745" y="connsiteY12745"/>
              </a:cxn>
              <a:cxn ang="0">
                <a:pos x="connsiteX12746" y="connsiteY12746"/>
              </a:cxn>
              <a:cxn ang="0">
                <a:pos x="connsiteX12747" y="connsiteY12747"/>
              </a:cxn>
              <a:cxn ang="0">
                <a:pos x="connsiteX12748" y="connsiteY12748"/>
              </a:cxn>
              <a:cxn ang="0">
                <a:pos x="connsiteX12749" y="connsiteY12749"/>
              </a:cxn>
              <a:cxn ang="0">
                <a:pos x="connsiteX12750" y="connsiteY12750"/>
              </a:cxn>
              <a:cxn ang="0">
                <a:pos x="connsiteX12751" y="connsiteY12751"/>
              </a:cxn>
              <a:cxn ang="0">
                <a:pos x="connsiteX12752" y="connsiteY12752"/>
              </a:cxn>
              <a:cxn ang="0">
                <a:pos x="connsiteX12753" y="connsiteY12753"/>
              </a:cxn>
              <a:cxn ang="0">
                <a:pos x="connsiteX12754" y="connsiteY12754"/>
              </a:cxn>
              <a:cxn ang="0">
                <a:pos x="connsiteX12755" y="connsiteY12755"/>
              </a:cxn>
              <a:cxn ang="0">
                <a:pos x="connsiteX12756" y="connsiteY12756"/>
              </a:cxn>
              <a:cxn ang="0">
                <a:pos x="connsiteX12757" y="connsiteY12757"/>
              </a:cxn>
              <a:cxn ang="0">
                <a:pos x="connsiteX12758" y="connsiteY12758"/>
              </a:cxn>
              <a:cxn ang="0">
                <a:pos x="connsiteX12759" y="connsiteY12759"/>
              </a:cxn>
              <a:cxn ang="0">
                <a:pos x="connsiteX12760" y="connsiteY12760"/>
              </a:cxn>
              <a:cxn ang="0">
                <a:pos x="connsiteX12761" y="connsiteY12761"/>
              </a:cxn>
              <a:cxn ang="0">
                <a:pos x="connsiteX12762" y="connsiteY12762"/>
              </a:cxn>
              <a:cxn ang="0">
                <a:pos x="connsiteX12763" y="connsiteY12763"/>
              </a:cxn>
              <a:cxn ang="0">
                <a:pos x="connsiteX12764" y="connsiteY12764"/>
              </a:cxn>
              <a:cxn ang="0">
                <a:pos x="connsiteX12765" y="connsiteY12765"/>
              </a:cxn>
              <a:cxn ang="0">
                <a:pos x="connsiteX12766" y="connsiteY12766"/>
              </a:cxn>
              <a:cxn ang="0">
                <a:pos x="connsiteX12767" y="connsiteY12767"/>
              </a:cxn>
              <a:cxn ang="0">
                <a:pos x="connsiteX12768" y="connsiteY12768"/>
              </a:cxn>
              <a:cxn ang="0">
                <a:pos x="connsiteX12769" y="connsiteY12769"/>
              </a:cxn>
              <a:cxn ang="0">
                <a:pos x="connsiteX12770" y="connsiteY12770"/>
              </a:cxn>
              <a:cxn ang="0">
                <a:pos x="connsiteX12771" y="connsiteY12771"/>
              </a:cxn>
              <a:cxn ang="0">
                <a:pos x="connsiteX12772" y="connsiteY12772"/>
              </a:cxn>
              <a:cxn ang="0">
                <a:pos x="connsiteX12773" y="connsiteY12773"/>
              </a:cxn>
              <a:cxn ang="0">
                <a:pos x="connsiteX12774" y="connsiteY12774"/>
              </a:cxn>
              <a:cxn ang="0">
                <a:pos x="connsiteX12775" y="connsiteY12775"/>
              </a:cxn>
              <a:cxn ang="0">
                <a:pos x="connsiteX12776" y="connsiteY12776"/>
              </a:cxn>
              <a:cxn ang="0">
                <a:pos x="connsiteX12777" y="connsiteY12777"/>
              </a:cxn>
              <a:cxn ang="0">
                <a:pos x="connsiteX12778" y="connsiteY12778"/>
              </a:cxn>
              <a:cxn ang="0">
                <a:pos x="connsiteX12779" y="connsiteY12779"/>
              </a:cxn>
              <a:cxn ang="0">
                <a:pos x="connsiteX12780" y="connsiteY12780"/>
              </a:cxn>
              <a:cxn ang="0">
                <a:pos x="connsiteX12781" y="connsiteY12781"/>
              </a:cxn>
              <a:cxn ang="0">
                <a:pos x="connsiteX12782" y="connsiteY12782"/>
              </a:cxn>
              <a:cxn ang="0">
                <a:pos x="connsiteX12783" y="connsiteY12783"/>
              </a:cxn>
              <a:cxn ang="0">
                <a:pos x="connsiteX12784" y="connsiteY12784"/>
              </a:cxn>
              <a:cxn ang="0">
                <a:pos x="connsiteX12785" y="connsiteY12785"/>
              </a:cxn>
              <a:cxn ang="0">
                <a:pos x="connsiteX12786" y="connsiteY12786"/>
              </a:cxn>
              <a:cxn ang="0">
                <a:pos x="connsiteX12787" y="connsiteY12787"/>
              </a:cxn>
              <a:cxn ang="0">
                <a:pos x="connsiteX12788" y="connsiteY12788"/>
              </a:cxn>
              <a:cxn ang="0">
                <a:pos x="connsiteX12789" y="connsiteY12789"/>
              </a:cxn>
              <a:cxn ang="0">
                <a:pos x="connsiteX12790" y="connsiteY12790"/>
              </a:cxn>
              <a:cxn ang="0">
                <a:pos x="connsiteX12791" y="connsiteY12791"/>
              </a:cxn>
              <a:cxn ang="0">
                <a:pos x="connsiteX12792" y="connsiteY12792"/>
              </a:cxn>
              <a:cxn ang="0">
                <a:pos x="connsiteX12793" y="connsiteY12793"/>
              </a:cxn>
              <a:cxn ang="0">
                <a:pos x="connsiteX12794" y="connsiteY12794"/>
              </a:cxn>
              <a:cxn ang="0">
                <a:pos x="connsiteX12795" y="connsiteY12795"/>
              </a:cxn>
              <a:cxn ang="0">
                <a:pos x="connsiteX12796" y="connsiteY12796"/>
              </a:cxn>
              <a:cxn ang="0">
                <a:pos x="connsiteX12797" y="connsiteY12797"/>
              </a:cxn>
              <a:cxn ang="0">
                <a:pos x="connsiteX12798" y="connsiteY12798"/>
              </a:cxn>
              <a:cxn ang="0">
                <a:pos x="connsiteX12799" y="connsiteY12799"/>
              </a:cxn>
              <a:cxn ang="0">
                <a:pos x="connsiteX12800" y="connsiteY12800"/>
              </a:cxn>
              <a:cxn ang="0">
                <a:pos x="connsiteX12801" y="connsiteY12801"/>
              </a:cxn>
              <a:cxn ang="0">
                <a:pos x="connsiteX12802" y="connsiteY12802"/>
              </a:cxn>
              <a:cxn ang="0">
                <a:pos x="connsiteX12803" y="connsiteY12803"/>
              </a:cxn>
              <a:cxn ang="0">
                <a:pos x="connsiteX12804" y="connsiteY12804"/>
              </a:cxn>
              <a:cxn ang="0">
                <a:pos x="connsiteX12805" y="connsiteY12805"/>
              </a:cxn>
              <a:cxn ang="0">
                <a:pos x="connsiteX12806" y="connsiteY12806"/>
              </a:cxn>
              <a:cxn ang="0">
                <a:pos x="connsiteX12807" y="connsiteY12807"/>
              </a:cxn>
              <a:cxn ang="0">
                <a:pos x="connsiteX12808" y="connsiteY12808"/>
              </a:cxn>
              <a:cxn ang="0">
                <a:pos x="connsiteX12809" y="connsiteY12809"/>
              </a:cxn>
              <a:cxn ang="0">
                <a:pos x="connsiteX12810" y="connsiteY12810"/>
              </a:cxn>
              <a:cxn ang="0">
                <a:pos x="connsiteX12811" y="connsiteY12811"/>
              </a:cxn>
              <a:cxn ang="0">
                <a:pos x="connsiteX12812" y="connsiteY12812"/>
              </a:cxn>
              <a:cxn ang="0">
                <a:pos x="connsiteX12813" y="connsiteY12813"/>
              </a:cxn>
              <a:cxn ang="0">
                <a:pos x="connsiteX12814" y="connsiteY12814"/>
              </a:cxn>
              <a:cxn ang="0">
                <a:pos x="connsiteX12815" y="connsiteY12815"/>
              </a:cxn>
              <a:cxn ang="0">
                <a:pos x="connsiteX12816" y="connsiteY12816"/>
              </a:cxn>
              <a:cxn ang="0">
                <a:pos x="connsiteX12817" y="connsiteY12817"/>
              </a:cxn>
              <a:cxn ang="0">
                <a:pos x="connsiteX12818" y="connsiteY12818"/>
              </a:cxn>
              <a:cxn ang="0">
                <a:pos x="connsiteX12819" y="connsiteY12819"/>
              </a:cxn>
              <a:cxn ang="0">
                <a:pos x="connsiteX12820" y="connsiteY12820"/>
              </a:cxn>
              <a:cxn ang="0">
                <a:pos x="connsiteX12821" y="connsiteY12821"/>
              </a:cxn>
              <a:cxn ang="0">
                <a:pos x="connsiteX12822" y="connsiteY12822"/>
              </a:cxn>
              <a:cxn ang="0">
                <a:pos x="connsiteX12823" y="connsiteY12823"/>
              </a:cxn>
              <a:cxn ang="0">
                <a:pos x="connsiteX12824" y="connsiteY12824"/>
              </a:cxn>
              <a:cxn ang="0">
                <a:pos x="connsiteX12825" y="connsiteY12825"/>
              </a:cxn>
              <a:cxn ang="0">
                <a:pos x="connsiteX12826" y="connsiteY12826"/>
              </a:cxn>
              <a:cxn ang="0">
                <a:pos x="connsiteX12827" y="connsiteY12827"/>
              </a:cxn>
              <a:cxn ang="0">
                <a:pos x="connsiteX12828" y="connsiteY12828"/>
              </a:cxn>
              <a:cxn ang="0">
                <a:pos x="connsiteX12829" y="connsiteY12829"/>
              </a:cxn>
              <a:cxn ang="0">
                <a:pos x="connsiteX12830" y="connsiteY12830"/>
              </a:cxn>
              <a:cxn ang="0">
                <a:pos x="connsiteX12831" y="connsiteY12831"/>
              </a:cxn>
              <a:cxn ang="0">
                <a:pos x="connsiteX12832" y="connsiteY12832"/>
              </a:cxn>
              <a:cxn ang="0">
                <a:pos x="connsiteX12833" y="connsiteY12833"/>
              </a:cxn>
              <a:cxn ang="0">
                <a:pos x="connsiteX12834" y="connsiteY12834"/>
              </a:cxn>
              <a:cxn ang="0">
                <a:pos x="connsiteX12835" y="connsiteY12835"/>
              </a:cxn>
              <a:cxn ang="0">
                <a:pos x="connsiteX12836" y="connsiteY12836"/>
              </a:cxn>
              <a:cxn ang="0">
                <a:pos x="connsiteX12837" y="connsiteY12837"/>
              </a:cxn>
              <a:cxn ang="0">
                <a:pos x="connsiteX12838" y="connsiteY12838"/>
              </a:cxn>
              <a:cxn ang="0">
                <a:pos x="connsiteX12839" y="connsiteY12839"/>
              </a:cxn>
              <a:cxn ang="0">
                <a:pos x="connsiteX12840" y="connsiteY12840"/>
              </a:cxn>
              <a:cxn ang="0">
                <a:pos x="connsiteX12841" y="connsiteY12841"/>
              </a:cxn>
              <a:cxn ang="0">
                <a:pos x="connsiteX12842" y="connsiteY12842"/>
              </a:cxn>
              <a:cxn ang="0">
                <a:pos x="connsiteX12843" y="connsiteY12843"/>
              </a:cxn>
              <a:cxn ang="0">
                <a:pos x="connsiteX12844" y="connsiteY12844"/>
              </a:cxn>
              <a:cxn ang="0">
                <a:pos x="connsiteX12845" y="connsiteY12845"/>
              </a:cxn>
              <a:cxn ang="0">
                <a:pos x="connsiteX12846" y="connsiteY12846"/>
              </a:cxn>
              <a:cxn ang="0">
                <a:pos x="connsiteX12847" y="connsiteY12847"/>
              </a:cxn>
              <a:cxn ang="0">
                <a:pos x="connsiteX12848" y="connsiteY12848"/>
              </a:cxn>
              <a:cxn ang="0">
                <a:pos x="connsiteX12849" y="connsiteY12849"/>
              </a:cxn>
              <a:cxn ang="0">
                <a:pos x="connsiteX12850" y="connsiteY12850"/>
              </a:cxn>
              <a:cxn ang="0">
                <a:pos x="connsiteX12851" y="connsiteY12851"/>
              </a:cxn>
              <a:cxn ang="0">
                <a:pos x="connsiteX12852" y="connsiteY12852"/>
              </a:cxn>
              <a:cxn ang="0">
                <a:pos x="connsiteX12853" y="connsiteY12853"/>
              </a:cxn>
              <a:cxn ang="0">
                <a:pos x="connsiteX12854" y="connsiteY12854"/>
              </a:cxn>
              <a:cxn ang="0">
                <a:pos x="connsiteX12855" y="connsiteY12855"/>
              </a:cxn>
              <a:cxn ang="0">
                <a:pos x="connsiteX12856" y="connsiteY12856"/>
              </a:cxn>
              <a:cxn ang="0">
                <a:pos x="connsiteX12857" y="connsiteY12857"/>
              </a:cxn>
              <a:cxn ang="0">
                <a:pos x="connsiteX12858" y="connsiteY12858"/>
              </a:cxn>
              <a:cxn ang="0">
                <a:pos x="connsiteX12859" y="connsiteY12859"/>
              </a:cxn>
              <a:cxn ang="0">
                <a:pos x="connsiteX12860" y="connsiteY12860"/>
              </a:cxn>
              <a:cxn ang="0">
                <a:pos x="connsiteX12861" y="connsiteY12861"/>
              </a:cxn>
              <a:cxn ang="0">
                <a:pos x="connsiteX12862" y="connsiteY12862"/>
              </a:cxn>
              <a:cxn ang="0">
                <a:pos x="connsiteX12863" y="connsiteY12863"/>
              </a:cxn>
              <a:cxn ang="0">
                <a:pos x="connsiteX12864" y="connsiteY12864"/>
              </a:cxn>
              <a:cxn ang="0">
                <a:pos x="connsiteX12865" y="connsiteY12865"/>
              </a:cxn>
              <a:cxn ang="0">
                <a:pos x="connsiteX12866" y="connsiteY12866"/>
              </a:cxn>
              <a:cxn ang="0">
                <a:pos x="connsiteX12867" y="connsiteY12867"/>
              </a:cxn>
              <a:cxn ang="0">
                <a:pos x="connsiteX12868" y="connsiteY12868"/>
              </a:cxn>
              <a:cxn ang="0">
                <a:pos x="connsiteX12869" y="connsiteY12869"/>
              </a:cxn>
              <a:cxn ang="0">
                <a:pos x="connsiteX12870" y="connsiteY12870"/>
              </a:cxn>
              <a:cxn ang="0">
                <a:pos x="connsiteX12871" y="connsiteY12871"/>
              </a:cxn>
              <a:cxn ang="0">
                <a:pos x="connsiteX12872" y="connsiteY12872"/>
              </a:cxn>
              <a:cxn ang="0">
                <a:pos x="connsiteX12873" y="connsiteY12873"/>
              </a:cxn>
              <a:cxn ang="0">
                <a:pos x="connsiteX12874" y="connsiteY12874"/>
              </a:cxn>
              <a:cxn ang="0">
                <a:pos x="connsiteX12875" y="connsiteY12875"/>
              </a:cxn>
              <a:cxn ang="0">
                <a:pos x="connsiteX12876" y="connsiteY12876"/>
              </a:cxn>
              <a:cxn ang="0">
                <a:pos x="connsiteX12877" y="connsiteY12877"/>
              </a:cxn>
              <a:cxn ang="0">
                <a:pos x="connsiteX12878" y="connsiteY12878"/>
              </a:cxn>
              <a:cxn ang="0">
                <a:pos x="connsiteX12879" y="connsiteY12879"/>
              </a:cxn>
              <a:cxn ang="0">
                <a:pos x="connsiteX12880" y="connsiteY12880"/>
              </a:cxn>
              <a:cxn ang="0">
                <a:pos x="connsiteX12881" y="connsiteY12881"/>
              </a:cxn>
              <a:cxn ang="0">
                <a:pos x="connsiteX12882" y="connsiteY12882"/>
              </a:cxn>
              <a:cxn ang="0">
                <a:pos x="connsiteX12883" y="connsiteY12883"/>
              </a:cxn>
              <a:cxn ang="0">
                <a:pos x="connsiteX12884" y="connsiteY12884"/>
              </a:cxn>
              <a:cxn ang="0">
                <a:pos x="connsiteX12885" y="connsiteY12885"/>
              </a:cxn>
              <a:cxn ang="0">
                <a:pos x="connsiteX12886" y="connsiteY12886"/>
              </a:cxn>
              <a:cxn ang="0">
                <a:pos x="connsiteX12887" y="connsiteY12887"/>
              </a:cxn>
              <a:cxn ang="0">
                <a:pos x="connsiteX12888" y="connsiteY12888"/>
              </a:cxn>
              <a:cxn ang="0">
                <a:pos x="connsiteX12889" y="connsiteY12889"/>
              </a:cxn>
              <a:cxn ang="0">
                <a:pos x="connsiteX12890" y="connsiteY12890"/>
              </a:cxn>
              <a:cxn ang="0">
                <a:pos x="connsiteX12891" y="connsiteY12891"/>
              </a:cxn>
              <a:cxn ang="0">
                <a:pos x="connsiteX12892" y="connsiteY12892"/>
              </a:cxn>
              <a:cxn ang="0">
                <a:pos x="connsiteX12893" y="connsiteY12893"/>
              </a:cxn>
              <a:cxn ang="0">
                <a:pos x="connsiteX12894" y="connsiteY12894"/>
              </a:cxn>
              <a:cxn ang="0">
                <a:pos x="connsiteX12895" y="connsiteY12895"/>
              </a:cxn>
              <a:cxn ang="0">
                <a:pos x="connsiteX12896" y="connsiteY12896"/>
              </a:cxn>
              <a:cxn ang="0">
                <a:pos x="connsiteX12897" y="connsiteY12897"/>
              </a:cxn>
              <a:cxn ang="0">
                <a:pos x="connsiteX12898" y="connsiteY12898"/>
              </a:cxn>
              <a:cxn ang="0">
                <a:pos x="connsiteX12899" y="connsiteY12899"/>
              </a:cxn>
              <a:cxn ang="0">
                <a:pos x="connsiteX12900" y="connsiteY12900"/>
              </a:cxn>
              <a:cxn ang="0">
                <a:pos x="connsiteX12901" y="connsiteY12901"/>
              </a:cxn>
              <a:cxn ang="0">
                <a:pos x="connsiteX12902" y="connsiteY12902"/>
              </a:cxn>
              <a:cxn ang="0">
                <a:pos x="connsiteX12903" y="connsiteY12903"/>
              </a:cxn>
              <a:cxn ang="0">
                <a:pos x="connsiteX12904" y="connsiteY12904"/>
              </a:cxn>
              <a:cxn ang="0">
                <a:pos x="connsiteX12905" y="connsiteY12905"/>
              </a:cxn>
              <a:cxn ang="0">
                <a:pos x="connsiteX12906" y="connsiteY12906"/>
              </a:cxn>
              <a:cxn ang="0">
                <a:pos x="connsiteX12907" y="connsiteY12907"/>
              </a:cxn>
              <a:cxn ang="0">
                <a:pos x="connsiteX12908" y="connsiteY12908"/>
              </a:cxn>
              <a:cxn ang="0">
                <a:pos x="connsiteX12909" y="connsiteY12909"/>
              </a:cxn>
              <a:cxn ang="0">
                <a:pos x="connsiteX12910" y="connsiteY12910"/>
              </a:cxn>
              <a:cxn ang="0">
                <a:pos x="connsiteX12911" y="connsiteY12911"/>
              </a:cxn>
              <a:cxn ang="0">
                <a:pos x="connsiteX12912" y="connsiteY12912"/>
              </a:cxn>
              <a:cxn ang="0">
                <a:pos x="connsiteX12913" y="connsiteY12913"/>
              </a:cxn>
              <a:cxn ang="0">
                <a:pos x="connsiteX12914" y="connsiteY12914"/>
              </a:cxn>
              <a:cxn ang="0">
                <a:pos x="connsiteX12915" y="connsiteY12915"/>
              </a:cxn>
              <a:cxn ang="0">
                <a:pos x="connsiteX12916" y="connsiteY12916"/>
              </a:cxn>
              <a:cxn ang="0">
                <a:pos x="connsiteX12917" y="connsiteY12917"/>
              </a:cxn>
              <a:cxn ang="0">
                <a:pos x="connsiteX12918" y="connsiteY12918"/>
              </a:cxn>
              <a:cxn ang="0">
                <a:pos x="connsiteX12919" y="connsiteY12919"/>
              </a:cxn>
              <a:cxn ang="0">
                <a:pos x="connsiteX12920" y="connsiteY12920"/>
              </a:cxn>
              <a:cxn ang="0">
                <a:pos x="connsiteX12921" y="connsiteY12921"/>
              </a:cxn>
              <a:cxn ang="0">
                <a:pos x="connsiteX12922" y="connsiteY12922"/>
              </a:cxn>
              <a:cxn ang="0">
                <a:pos x="connsiteX12923" y="connsiteY12923"/>
              </a:cxn>
              <a:cxn ang="0">
                <a:pos x="connsiteX12924" y="connsiteY12924"/>
              </a:cxn>
              <a:cxn ang="0">
                <a:pos x="connsiteX12925" y="connsiteY12925"/>
              </a:cxn>
              <a:cxn ang="0">
                <a:pos x="connsiteX12926" y="connsiteY12926"/>
              </a:cxn>
              <a:cxn ang="0">
                <a:pos x="connsiteX12927" y="connsiteY12927"/>
              </a:cxn>
              <a:cxn ang="0">
                <a:pos x="connsiteX12928" y="connsiteY12928"/>
              </a:cxn>
              <a:cxn ang="0">
                <a:pos x="connsiteX12929" y="connsiteY12929"/>
              </a:cxn>
              <a:cxn ang="0">
                <a:pos x="connsiteX12930" y="connsiteY12930"/>
              </a:cxn>
              <a:cxn ang="0">
                <a:pos x="connsiteX12931" y="connsiteY12931"/>
              </a:cxn>
              <a:cxn ang="0">
                <a:pos x="connsiteX12932" y="connsiteY12932"/>
              </a:cxn>
              <a:cxn ang="0">
                <a:pos x="connsiteX12933" y="connsiteY12933"/>
              </a:cxn>
              <a:cxn ang="0">
                <a:pos x="connsiteX12934" y="connsiteY12934"/>
              </a:cxn>
              <a:cxn ang="0">
                <a:pos x="connsiteX12935" y="connsiteY12935"/>
              </a:cxn>
              <a:cxn ang="0">
                <a:pos x="connsiteX12936" y="connsiteY12936"/>
              </a:cxn>
              <a:cxn ang="0">
                <a:pos x="connsiteX12937" y="connsiteY12937"/>
              </a:cxn>
              <a:cxn ang="0">
                <a:pos x="connsiteX12938" y="connsiteY12938"/>
              </a:cxn>
              <a:cxn ang="0">
                <a:pos x="connsiteX12939" y="connsiteY12939"/>
              </a:cxn>
              <a:cxn ang="0">
                <a:pos x="connsiteX12940" y="connsiteY12940"/>
              </a:cxn>
              <a:cxn ang="0">
                <a:pos x="connsiteX12941" y="connsiteY12941"/>
              </a:cxn>
              <a:cxn ang="0">
                <a:pos x="connsiteX12942" y="connsiteY12942"/>
              </a:cxn>
              <a:cxn ang="0">
                <a:pos x="connsiteX12943" y="connsiteY12943"/>
              </a:cxn>
              <a:cxn ang="0">
                <a:pos x="connsiteX12944" y="connsiteY12944"/>
              </a:cxn>
              <a:cxn ang="0">
                <a:pos x="connsiteX12945" y="connsiteY12945"/>
              </a:cxn>
              <a:cxn ang="0">
                <a:pos x="connsiteX12946" y="connsiteY12946"/>
              </a:cxn>
              <a:cxn ang="0">
                <a:pos x="connsiteX12947" y="connsiteY12947"/>
              </a:cxn>
              <a:cxn ang="0">
                <a:pos x="connsiteX12948" y="connsiteY12948"/>
              </a:cxn>
              <a:cxn ang="0">
                <a:pos x="connsiteX12949" y="connsiteY12949"/>
              </a:cxn>
              <a:cxn ang="0">
                <a:pos x="connsiteX12950" y="connsiteY12950"/>
              </a:cxn>
              <a:cxn ang="0">
                <a:pos x="connsiteX12951" y="connsiteY12951"/>
              </a:cxn>
              <a:cxn ang="0">
                <a:pos x="connsiteX12952" y="connsiteY12952"/>
              </a:cxn>
              <a:cxn ang="0">
                <a:pos x="connsiteX12953" y="connsiteY12953"/>
              </a:cxn>
              <a:cxn ang="0">
                <a:pos x="connsiteX12954" y="connsiteY12954"/>
              </a:cxn>
              <a:cxn ang="0">
                <a:pos x="connsiteX12955" y="connsiteY12955"/>
              </a:cxn>
              <a:cxn ang="0">
                <a:pos x="connsiteX12956" y="connsiteY12956"/>
              </a:cxn>
              <a:cxn ang="0">
                <a:pos x="connsiteX12957" y="connsiteY12957"/>
              </a:cxn>
              <a:cxn ang="0">
                <a:pos x="connsiteX12958" y="connsiteY12958"/>
              </a:cxn>
              <a:cxn ang="0">
                <a:pos x="connsiteX12959" y="connsiteY12959"/>
              </a:cxn>
              <a:cxn ang="0">
                <a:pos x="connsiteX12960" y="connsiteY12960"/>
              </a:cxn>
              <a:cxn ang="0">
                <a:pos x="connsiteX12961" y="connsiteY12961"/>
              </a:cxn>
              <a:cxn ang="0">
                <a:pos x="connsiteX12962" y="connsiteY12962"/>
              </a:cxn>
              <a:cxn ang="0">
                <a:pos x="connsiteX12963" y="connsiteY12963"/>
              </a:cxn>
              <a:cxn ang="0">
                <a:pos x="connsiteX12964" y="connsiteY12964"/>
              </a:cxn>
              <a:cxn ang="0">
                <a:pos x="connsiteX12965" y="connsiteY12965"/>
              </a:cxn>
              <a:cxn ang="0">
                <a:pos x="connsiteX12966" y="connsiteY12966"/>
              </a:cxn>
              <a:cxn ang="0">
                <a:pos x="connsiteX12967" y="connsiteY12967"/>
              </a:cxn>
              <a:cxn ang="0">
                <a:pos x="connsiteX12968" y="connsiteY12968"/>
              </a:cxn>
              <a:cxn ang="0">
                <a:pos x="connsiteX12969" y="connsiteY12969"/>
              </a:cxn>
              <a:cxn ang="0">
                <a:pos x="connsiteX12970" y="connsiteY12970"/>
              </a:cxn>
              <a:cxn ang="0">
                <a:pos x="connsiteX12971" y="connsiteY12971"/>
              </a:cxn>
              <a:cxn ang="0">
                <a:pos x="connsiteX12972" y="connsiteY12972"/>
              </a:cxn>
              <a:cxn ang="0">
                <a:pos x="connsiteX12973" y="connsiteY12973"/>
              </a:cxn>
              <a:cxn ang="0">
                <a:pos x="connsiteX12974" y="connsiteY12974"/>
              </a:cxn>
              <a:cxn ang="0">
                <a:pos x="connsiteX12975" y="connsiteY12975"/>
              </a:cxn>
              <a:cxn ang="0">
                <a:pos x="connsiteX12976" y="connsiteY12976"/>
              </a:cxn>
              <a:cxn ang="0">
                <a:pos x="connsiteX12977" y="connsiteY12977"/>
              </a:cxn>
              <a:cxn ang="0">
                <a:pos x="connsiteX12978" y="connsiteY12978"/>
              </a:cxn>
              <a:cxn ang="0">
                <a:pos x="connsiteX12979" y="connsiteY12979"/>
              </a:cxn>
              <a:cxn ang="0">
                <a:pos x="connsiteX12980" y="connsiteY12980"/>
              </a:cxn>
              <a:cxn ang="0">
                <a:pos x="connsiteX12981" y="connsiteY12981"/>
              </a:cxn>
              <a:cxn ang="0">
                <a:pos x="connsiteX12982" y="connsiteY12982"/>
              </a:cxn>
              <a:cxn ang="0">
                <a:pos x="connsiteX12983" y="connsiteY12983"/>
              </a:cxn>
              <a:cxn ang="0">
                <a:pos x="connsiteX12984" y="connsiteY12984"/>
              </a:cxn>
              <a:cxn ang="0">
                <a:pos x="connsiteX12985" y="connsiteY12985"/>
              </a:cxn>
              <a:cxn ang="0">
                <a:pos x="connsiteX12986" y="connsiteY12986"/>
              </a:cxn>
              <a:cxn ang="0">
                <a:pos x="connsiteX12987" y="connsiteY12987"/>
              </a:cxn>
              <a:cxn ang="0">
                <a:pos x="connsiteX12988" y="connsiteY12988"/>
              </a:cxn>
              <a:cxn ang="0">
                <a:pos x="connsiteX12989" y="connsiteY12989"/>
              </a:cxn>
              <a:cxn ang="0">
                <a:pos x="connsiteX12990" y="connsiteY12990"/>
              </a:cxn>
              <a:cxn ang="0">
                <a:pos x="connsiteX12991" y="connsiteY12991"/>
              </a:cxn>
              <a:cxn ang="0">
                <a:pos x="connsiteX12992" y="connsiteY12992"/>
              </a:cxn>
              <a:cxn ang="0">
                <a:pos x="connsiteX12993" y="connsiteY12993"/>
              </a:cxn>
              <a:cxn ang="0">
                <a:pos x="connsiteX12994" y="connsiteY12994"/>
              </a:cxn>
              <a:cxn ang="0">
                <a:pos x="connsiteX12995" y="connsiteY12995"/>
              </a:cxn>
              <a:cxn ang="0">
                <a:pos x="connsiteX12996" y="connsiteY12996"/>
              </a:cxn>
              <a:cxn ang="0">
                <a:pos x="connsiteX12997" y="connsiteY12997"/>
              </a:cxn>
              <a:cxn ang="0">
                <a:pos x="connsiteX12998" y="connsiteY12998"/>
              </a:cxn>
              <a:cxn ang="0">
                <a:pos x="connsiteX12999" y="connsiteY12999"/>
              </a:cxn>
              <a:cxn ang="0">
                <a:pos x="connsiteX13000" y="connsiteY13000"/>
              </a:cxn>
              <a:cxn ang="0">
                <a:pos x="connsiteX13001" y="connsiteY13001"/>
              </a:cxn>
              <a:cxn ang="0">
                <a:pos x="connsiteX13002" y="connsiteY13002"/>
              </a:cxn>
              <a:cxn ang="0">
                <a:pos x="connsiteX13003" y="connsiteY13003"/>
              </a:cxn>
              <a:cxn ang="0">
                <a:pos x="connsiteX13004" y="connsiteY13004"/>
              </a:cxn>
              <a:cxn ang="0">
                <a:pos x="connsiteX13005" y="connsiteY13005"/>
              </a:cxn>
              <a:cxn ang="0">
                <a:pos x="connsiteX13006" y="connsiteY13006"/>
              </a:cxn>
              <a:cxn ang="0">
                <a:pos x="connsiteX13007" y="connsiteY13007"/>
              </a:cxn>
              <a:cxn ang="0">
                <a:pos x="connsiteX13008" y="connsiteY13008"/>
              </a:cxn>
              <a:cxn ang="0">
                <a:pos x="connsiteX13009" y="connsiteY13009"/>
              </a:cxn>
              <a:cxn ang="0">
                <a:pos x="connsiteX13010" y="connsiteY13010"/>
              </a:cxn>
              <a:cxn ang="0">
                <a:pos x="connsiteX13011" y="connsiteY13011"/>
              </a:cxn>
              <a:cxn ang="0">
                <a:pos x="connsiteX13012" y="connsiteY13012"/>
              </a:cxn>
              <a:cxn ang="0">
                <a:pos x="connsiteX13013" y="connsiteY13013"/>
              </a:cxn>
              <a:cxn ang="0">
                <a:pos x="connsiteX13014" y="connsiteY13014"/>
              </a:cxn>
              <a:cxn ang="0">
                <a:pos x="connsiteX13015" y="connsiteY13015"/>
              </a:cxn>
              <a:cxn ang="0">
                <a:pos x="connsiteX13016" y="connsiteY13016"/>
              </a:cxn>
              <a:cxn ang="0">
                <a:pos x="connsiteX13017" y="connsiteY13017"/>
              </a:cxn>
              <a:cxn ang="0">
                <a:pos x="connsiteX13018" y="connsiteY13018"/>
              </a:cxn>
              <a:cxn ang="0">
                <a:pos x="connsiteX13019" y="connsiteY13019"/>
              </a:cxn>
              <a:cxn ang="0">
                <a:pos x="connsiteX13020" y="connsiteY13020"/>
              </a:cxn>
              <a:cxn ang="0">
                <a:pos x="connsiteX13021" y="connsiteY13021"/>
              </a:cxn>
              <a:cxn ang="0">
                <a:pos x="connsiteX13022" y="connsiteY13022"/>
              </a:cxn>
              <a:cxn ang="0">
                <a:pos x="connsiteX13023" y="connsiteY13023"/>
              </a:cxn>
              <a:cxn ang="0">
                <a:pos x="connsiteX13024" y="connsiteY13024"/>
              </a:cxn>
              <a:cxn ang="0">
                <a:pos x="connsiteX13025" y="connsiteY13025"/>
              </a:cxn>
              <a:cxn ang="0">
                <a:pos x="connsiteX13026" y="connsiteY13026"/>
              </a:cxn>
              <a:cxn ang="0">
                <a:pos x="connsiteX13027" y="connsiteY13027"/>
              </a:cxn>
              <a:cxn ang="0">
                <a:pos x="connsiteX13028" y="connsiteY13028"/>
              </a:cxn>
              <a:cxn ang="0">
                <a:pos x="connsiteX13029" y="connsiteY13029"/>
              </a:cxn>
              <a:cxn ang="0">
                <a:pos x="connsiteX13030" y="connsiteY13030"/>
              </a:cxn>
              <a:cxn ang="0">
                <a:pos x="connsiteX13031" y="connsiteY13031"/>
              </a:cxn>
              <a:cxn ang="0">
                <a:pos x="connsiteX13032" y="connsiteY13032"/>
              </a:cxn>
              <a:cxn ang="0">
                <a:pos x="connsiteX13033" y="connsiteY13033"/>
              </a:cxn>
              <a:cxn ang="0">
                <a:pos x="connsiteX13034" y="connsiteY13034"/>
              </a:cxn>
              <a:cxn ang="0">
                <a:pos x="connsiteX13035" y="connsiteY13035"/>
              </a:cxn>
              <a:cxn ang="0">
                <a:pos x="connsiteX13036" y="connsiteY13036"/>
              </a:cxn>
              <a:cxn ang="0">
                <a:pos x="connsiteX13037" y="connsiteY13037"/>
              </a:cxn>
              <a:cxn ang="0">
                <a:pos x="connsiteX13038" y="connsiteY13038"/>
              </a:cxn>
              <a:cxn ang="0">
                <a:pos x="connsiteX13039" y="connsiteY13039"/>
              </a:cxn>
              <a:cxn ang="0">
                <a:pos x="connsiteX13040" y="connsiteY13040"/>
              </a:cxn>
              <a:cxn ang="0">
                <a:pos x="connsiteX13041" y="connsiteY13041"/>
              </a:cxn>
              <a:cxn ang="0">
                <a:pos x="connsiteX13042" y="connsiteY13042"/>
              </a:cxn>
              <a:cxn ang="0">
                <a:pos x="connsiteX13043" y="connsiteY13043"/>
              </a:cxn>
              <a:cxn ang="0">
                <a:pos x="connsiteX13044" y="connsiteY13044"/>
              </a:cxn>
              <a:cxn ang="0">
                <a:pos x="connsiteX13045" y="connsiteY13045"/>
              </a:cxn>
              <a:cxn ang="0">
                <a:pos x="connsiteX13046" y="connsiteY13046"/>
              </a:cxn>
              <a:cxn ang="0">
                <a:pos x="connsiteX13047" y="connsiteY13047"/>
              </a:cxn>
              <a:cxn ang="0">
                <a:pos x="connsiteX13048" y="connsiteY13048"/>
              </a:cxn>
              <a:cxn ang="0">
                <a:pos x="connsiteX13049" y="connsiteY13049"/>
              </a:cxn>
              <a:cxn ang="0">
                <a:pos x="connsiteX13050" y="connsiteY13050"/>
              </a:cxn>
              <a:cxn ang="0">
                <a:pos x="connsiteX13051" y="connsiteY13051"/>
              </a:cxn>
              <a:cxn ang="0">
                <a:pos x="connsiteX13052" y="connsiteY13052"/>
              </a:cxn>
              <a:cxn ang="0">
                <a:pos x="connsiteX13053" y="connsiteY13053"/>
              </a:cxn>
              <a:cxn ang="0">
                <a:pos x="connsiteX13054" y="connsiteY13054"/>
              </a:cxn>
              <a:cxn ang="0">
                <a:pos x="connsiteX13055" y="connsiteY13055"/>
              </a:cxn>
              <a:cxn ang="0">
                <a:pos x="connsiteX13056" y="connsiteY13056"/>
              </a:cxn>
              <a:cxn ang="0">
                <a:pos x="connsiteX13057" y="connsiteY13057"/>
              </a:cxn>
              <a:cxn ang="0">
                <a:pos x="connsiteX13058" y="connsiteY13058"/>
              </a:cxn>
              <a:cxn ang="0">
                <a:pos x="connsiteX13059" y="connsiteY13059"/>
              </a:cxn>
              <a:cxn ang="0">
                <a:pos x="connsiteX13060" y="connsiteY13060"/>
              </a:cxn>
              <a:cxn ang="0">
                <a:pos x="connsiteX13061" y="connsiteY13061"/>
              </a:cxn>
              <a:cxn ang="0">
                <a:pos x="connsiteX13062" y="connsiteY13062"/>
              </a:cxn>
              <a:cxn ang="0">
                <a:pos x="connsiteX13063" y="connsiteY13063"/>
              </a:cxn>
              <a:cxn ang="0">
                <a:pos x="connsiteX13064" y="connsiteY13064"/>
              </a:cxn>
              <a:cxn ang="0">
                <a:pos x="connsiteX13065" y="connsiteY13065"/>
              </a:cxn>
              <a:cxn ang="0">
                <a:pos x="connsiteX13066" y="connsiteY13066"/>
              </a:cxn>
              <a:cxn ang="0">
                <a:pos x="connsiteX13067" y="connsiteY13067"/>
              </a:cxn>
              <a:cxn ang="0">
                <a:pos x="connsiteX13068" y="connsiteY13068"/>
              </a:cxn>
              <a:cxn ang="0">
                <a:pos x="connsiteX13069" y="connsiteY13069"/>
              </a:cxn>
              <a:cxn ang="0">
                <a:pos x="connsiteX13070" y="connsiteY13070"/>
              </a:cxn>
              <a:cxn ang="0">
                <a:pos x="connsiteX13071" y="connsiteY13071"/>
              </a:cxn>
              <a:cxn ang="0">
                <a:pos x="connsiteX13072" y="connsiteY13072"/>
              </a:cxn>
              <a:cxn ang="0">
                <a:pos x="connsiteX13073" y="connsiteY13073"/>
              </a:cxn>
              <a:cxn ang="0">
                <a:pos x="connsiteX13074" y="connsiteY13074"/>
              </a:cxn>
              <a:cxn ang="0">
                <a:pos x="connsiteX13075" y="connsiteY13075"/>
              </a:cxn>
              <a:cxn ang="0">
                <a:pos x="connsiteX13076" y="connsiteY13076"/>
              </a:cxn>
              <a:cxn ang="0">
                <a:pos x="connsiteX13077" y="connsiteY13077"/>
              </a:cxn>
              <a:cxn ang="0">
                <a:pos x="connsiteX13078" y="connsiteY13078"/>
              </a:cxn>
              <a:cxn ang="0">
                <a:pos x="connsiteX13079" y="connsiteY13079"/>
              </a:cxn>
              <a:cxn ang="0">
                <a:pos x="connsiteX13080" y="connsiteY13080"/>
              </a:cxn>
              <a:cxn ang="0">
                <a:pos x="connsiteX13081" y="connsiteY13081"/>
              </a:cxn>
              <a:cxn ang="0">
                <a:pos x="connsiteX13082" y="connsiteY13082"/>
              </a:cxn>
              <a:cxn ang="0">
                <a:pos x="connsiteX13083" y="connsiteY13083"/>
              </a:cxn>
              <a:cxn ang="0">
                <a:pos x="connsiteX13084" y="connsiteY13084"/>
              </a:cxn>
              <a:cxn ang="0">
                <a:pos x="connsiteX13085" y="connsiteY13085"/>
              </a:cxn>
              <a:cxn ang="0">
                <a:pos x="connsiteX13086" y="connsiteY13086"/>
              </a:cxn>
              <a:cxn ang="0">
                <a:pos x="connsiteX13087" y="connsiteY13087"/>
              </a:cxn>
              <a:cxn ang="0">
                <a:pos x="connsiteX13088" y="connsiteY13088"/>
              </a:cxn>
              <a:cxn ang="0">
                <a:pos x="connsiteX13089" y="connsiteY13089"/>
              </a:cxn>
              <a:cxn ang="0">
                <a:pos x="connsiteX13090" y="connsiteY13090"/>
              </a:cxn>
              <a:cxn ang="0">
                <a:pos x="connsiteX13091" y="connsiteY13091"/>
              </a:cxn>
              <a:cxn ang="0">
                <a:pos x="connsiteX13092" y="connsiteY13092"/>
              </a:cxn>
              <a:cxn ang="0">
                <a:pos x="connsiteX13093" y="connsiteY13093"/>
              </a:cxn>
              <a:cxn ang="0">
                <a:pos x="connsiteX13094" y="connsiteY13094"/>
              </a:cxn>
              <a:cxn ang="0">
                <a:pos x="connsiteX13095" y="connsiteY13095"/>
              </a:cxn>
              <a:cxn ang="0">
                <a:pos x="connsiteX13096" y="connsiteY13096"/>
              </a:cxn>
              <a:cxn ang="0">
                <a:pos x="connsiteX13097" y="connsiteY13097"/>
              </a:cxn>
              <a:cxn ang="0">
                <a:pos x="connsiteX13098" y="connsiteY13098"/>
              </a:cxn>
              <a:cxn ang="0">
                <a:pos x="connsiteX13099" y="connsiteY13099"/>
              </a:cxn>
              <a:cxn ang="0">
                <a:pos x="connsiteX13100" y="connsiteY13100"/>
              </a:cxn>
              <a:cxn ang="0">
                <a:pos x="connsiteX13101" y="connsiteY13101"/>
              </a:cxn>
              <a:cxn ang="0">
                <a:pos x="connsiteX13102" y="connsiteY13102"/>
              </a:cxn>
              <a:cxn ang="0">
                <a:pos x="connsiteX13103" y="connsiteY13103"/>
              </a:cxn>
              <a:cxn ang="0">
                <a:pos x="connsiteX13104" y="connsiteY13104"/>
              </a:cxn>
              <a:cxn ang="0">
                <a:pos x="connsiteX13105" y="connsiteY13105"/>
              </a:cxn>
              <a:cxn ang="0">
                <a:pos x="connsiteX13106" y="connsiteY13106"/>
              </a:cxn>
              <a:cxn ang="0">
                <a:pos x="connsiteX13107" y="connsiteY13107"/>
              </a:cxn>
              <a:cxn ang="0">
                <a:pos x="connsiteX13108" y="connsiteY13108"/>
              </a:cxn>
              <a:cxn ang="0">
                <a:pos x="connsiteX13109" y="connsiteY13109"/>
              </a:cxn>
              <a:cxn ang="0">
                <a:pos x="connsiteX13110" y="connsiteY13110"/>
              </a:cxn>
              <a:cxn ang="0">
                <a:pos x="connsiteX13111" y="connsiteY13111"/>
              </a:cxn>
              <a:cxn ang="0">
                <a:pos x="connsiteX13112" y="connsiteY13112"/>
              </a:cxn>
              <a:cxn ang="0">
                <a:pos x="connsiteX13113" y="connsiteY13113"/>
              </a:cxn>
              <a:cxn ang="0">
                <a:pos x="connsiteX13114" y="connsiteY13114"/>
              </a:cxn>
              <a:cxn ang="0">
                <a:pos x="connsiteX13115" y="connsiteY13115"/>
              </a:cxn>
              <a:cxn ang="0">
                <a:pos x="connsiteX13116" y="connsiteY13116"/>
              </a:cxn>
              <a:cxn ang="0">
                <a:pos x="connsiteX13117" y="connsiteY13117"/>
              </a:cxn>
              <a:cxn ang="0">
                <a:pos x="connsiteX13118" y="connsiteY13118"/>
              </a:cxn>
              <a:cxn ang="0">
                <a:pos x="connsiteX13119" y="connsiteY13119"/>
              </a:cxn>
              <a:cxn ang="0">
                <a:pos x="connsiteX13120" y="connsiteY13120"/>
              </a:cxn>
              <a:cxn ang="0">
                <a:pos x="connsiteX13121" y="connsiteY13121"/>
              </a:cxn>
              <a:cxn ang="0">
                <a:pos x="connsiteX13122" y="connsiteY13122"/>
              </a:cxn>
              <a:cxn ang="0">
                <a:pos x="connsiteX13123" y="connsiteY13123"/>
              </a:cxn>
              <a:cxn ang="0">
                <a:pos x="connsiteX13124" y="connsiteY13124"/>
              </a:cxn>
              <a:cxn ang="0">
                <a:pos x="connsiteX13125" y="connsiteY13125"/>
              </a:cxn>
              <a:cxn ang="0">
                <a:pos x="connsiteX13126" y="connsiteY13126"/>
              </a:cxn>
              <a:cxn ang="0">
                <a:pos x="connsiteX13127" y="connsiteY13127"/>
              </a:cxn>
              <a:cxn ang="0">
                <a:pos x="connsiteX13128" y="connsiteY13128"/>
              </a:cxn>
              <a:cxn ang="0">
                <a:pos x="connsiteX13129" y="connsiteY13129"/>
              </a:cxn>
              <a:cxn ang="0">
                <a:pos x="connsiteX13130" y="connsiteY13130"/>
              </a:cxn>
              <a:cxn ang="0">
                <a:pos x="connsiteX13131" y="connsiteY13131"/>
              </a:cxn>
              <a:cxn ang="0">
                <a:pos x="connsiteX13132" y="connsiteY13132"/>
              </a:cxn>
              <a:cxn ang="0">
                <a:pos x="connsiteX13133" y="connsiteY13133"/>
              </a:cxn>
              <a:cxn ang="0">
                <a:pos x="connsiteX13134" y="connsiteY13134"/>
              </a:cxn>
              <a:cxn ang="0">
                <a:pos x="connsiteX13135" y="connsiteY13135"/>
              </a:cxn>
              <a:cxn ang="0">
                <a:pos x="connsiteX13136" y="connsiteY13136"/>
              </a:cxn>
              <a:cxn ang="0">
                <a:pos x="connsiteX13137" y="connsiteY13137"/>
              </a:cxn>
              <a:cxn ang="0">
                <a:pos x="connsiteX13138" y="connsiteY13138"/>
              </a:cxn>
              <a:cxn ang="0">
                <a:pos x="connsiteX13139" y="connsiteY13139"/>
              </a:cxn>
              <a:cxn ang="0">
                <a:pos x="connsiteX13140" y="connsiteY13140"/>
              </a:cxn>
              <a:cxn ang="0">
                <a:pos x="connsiteX13141" y="connsiteY13141"/>
              </a:cxn>
              <a:cxn ang="0">
                <a:pos x="connsiteX13142" y="connsiteY13142"/>
              </a:cxn>
              <a:cxn ang="0">
                <a:pos x="connsiteX13143" y="connsiteY13143"/>
              </a:cxn>
              <a:cxn ang="0">
                <a:pos x="connsiteX13144" y="connsiteY13144"/>
              </a:cxn>
              <a:cxn ang="0">
                <a:pos x="connsiteX13145" y="connsiteY13145"/>
              </a:cxn>
              <a:cxn ang="0">
                <a:pos x="connsiteX13146" y="connsiteY13146"/>
              </a:cxn>
              <a:cxn ang="0">
                <a:pos x="connsiteX13147" y="connsiteY13147"/>
              </a:cxn>
              <a:cxn ang="0">
                <a:pos x="connsiteX13148" y="connsiteY13148"/>
              </a:cxn>
              <a:cxn ang="0">
                <a:pos x="connsiteX13149" y="connsiteY13149"/>
              </a:cxn>
              <a:cxn ang="0">
                <a:pos x="connsiteX13150" y="connsiteY13150"/>
              </a:cxn>
              <a:cxn ang="0">
                <a:pos x="connsiteX13151" y="connsiteY13151"/>
              </a:cxn>
              <a:cxn ang="0">
                <a:pos x="connsiteX13152" y="connsiteY13152"/>
              </a:cxn>
              <a:cxn ang="0">
                <a:pos x="connsiteX13153" y="connsiteY13153"/>
              </a:cxn>
              <a:cxn ang="0">
                <a:pos x="connsiteX13154" y="connsiteY13154"/>
              </a:cxn>
              <a:cxn ang="0">
                <a:pos x="connsiteX13155" y="connsiteY13155"/>
              </a:cxn>
              <a:cxn ang="0">
                <a:pos x="connsiteX13156" y="connsiteY13156"/>
              </a:cxn>
              <a:cxn ang="0">
                <a:pos x="connsiteX13157" y="connsiteY13157"/>
              </a:cxn>
              <a:cxn ang="0">
                <a:pos x="connsiteX13158" y="connsiteY13158"/>
              </a:cxn>
              <a:cxn ang="0">
                <a:pos x="connsiteX13159" y="connsiteY13159"/>
              </a:cxn>
              <a:cxn ang="0">
                <a:pos x="connsiteX13160" y="connsiteY13160"/>
              </a:cxn>
              <a:cxn ang="0">
                <a:pos x="connsiteX13161" y="connsiteY13161"/>
              </a:cxn>
              <a:cxn ang="0">
                <a:pos x="connsiteX13162" y="connsiteY13162"/>
              </a:cxn>
              <a:cxn ang="0">
                <a:pos x="connsiteX13163" y="connsiteY13163"/>
              </a:cxn>
              <a:cxn ang="0">
                <a:pos x="connsiteX13164" y="connsiteY13164"/>
              </a:cxn>
              <a:cxn ang="0">
                <a:pos x="connsiteX13165" y="connsiteY13165"/>
              </a:cxn>
              <a:cxn ang="0">
                <a:pos x="connsiteX13166" y="connsiteY13166"/>
              </a:cxn>
              <a:cxn ang="0">
                <a:pos x="connsiteX13167" y="connsiteY13167"/>
              </a:cxn>
              <a:cxn ang="0">
                <a:pos x="connsiteX13168" y="connsiteY13168"/>
              </a:cxn>
              <a:cxn ang="0">
                <a:pos x="connsiteX13169" y="connsiteY13169"/>
              </a:cxn>
              <a:cxn ang="0">
                <a:pos x="connsiteX13170" y="connsiteY13170"/>
              </a:cxn>
              <a:cxn ang="0">
                <a:pos x="connsiteX13171" y="connsiteY13171"/>
              </a:cxn>
              <a:cxn ang="0">
                <a:pos x="connsiteX13172" y="connsiteY13172"/>
              </a:cxn>
              <a:cxn ang="0">
                <a:pos x="connsiteX13173" y="connsiteY13173"/>
              </a:cxn>
              <a:cxn ang="0">
                <a:pos x="connsiteX13174" y="connsiteY13174"/>
              </a:cxn>
              <a:cxn ang="0">
                <a:pos x="connsiteX13175" y="connsiteY13175"/>
              </a:cxn>
              <a:cxn ang="0">
                <a:pos x="connsiteX13176" y="connsiteY13176"/>
              </a:cxn>
              <a:cxn ang="0">
                <a:pos x="connsiteX13177" y="connsiteY13177"/>
              </a:cxn>
              <a:cxn ang="0">
                <a:pos x="connsiteX13178" y="connsiteY13178"/>
              </a:cxn>
              <a:cxn ang="0">
                <a:pos x="connsiteX13179" y="connsiteY13179"/>
              </a:cxn>
              <a:cxn ang="0">
                <a:pos x="connsiteX13180" y="connsiteY13180"/>
              </a:cxn>
              <a:cxn ang="0">
                <a:pos x="connsiteX13181" y="connsiteY13181"/>
              </a:cxn>
              <a:cxn ang="0">
                <a:pos x="connsiteX13182" y="connsiteY13182"/>
              </a:cxn>
              <a:cxn ang="0">
                <a:pos x="connsiteX13183" y="connsiteY13183"/>
              </a:cxn>
              <a:cxn ang="0">
                <a:pos x="connsiteX13184" y="connsiteY13184"/>
              </a:cxn>
              <a:cxn ang="0">
                <a:pos x="connsiteX13185" y="connsiteY13185"/>
              </a:cxn>
              <a:cxn ang="0">
                <a:pos x="connsiteX13186" y="connsiteY13186"/>
              </a:cxn>
              <a:cxn ang="0">
                <a:pos x="connsiteX13187" y="connsiteY13187"/>
              </a:cxn>
              <a:cxn ang="0">
                <a:pos x="connsiteX13188" y="connsiteY13188"/>
              </a:cxn>
              <a:cxn ang="0">
                <a:pos x="connsiteX13189" y="connsiteY13189"/>
              </a:cxn>
              <a:cxn ang="0">
                <a:pos x="connsiteX13190" y="connsiteY13190"/>
              </a:cxn>
              <a:cxn ang="0">
                <a:pos x="connsiteX13191" y="connsiteY13191"/>
              </a:cxn>
              <a:cxn ang="0">
                <a:pos x="connsiteX13192" y="connsiteY13192"/>
              </a:cxn>
              <a:cxn ang="0">
                <a:pos x="connsiteX13193" y="connsiteY13193"/>
              </a:cxn>
              <a:cxn ang="0">
                <a:pos x="connsiteX13194" y="connsiteY13194"/>
              </a:cxn>
              <a:cxn ang="0">
                <a:pos x="connsiteX13195" y="connsiteY13195"/>
              </a:cxn>
              <a:cxn ang="0">
                <a:pos x="connsiteX13196" y="connsiteY13196"/>
              </a:cxn>
              <a:cxn ang="0">
                <a:pos x="connsiteX13197" y="connsiteY13197"/>
              </a:cxn>
              <a:cxn ang="0">
                <a:pos x="connsiteX13198" y="connsiteY13198"/>
              </a:cxn>
              <a:cxn ang="0">
                <a:pos x="connsiteX13199" y="connsiteY13199"/>
              </a:cxn>
              <a:cxn ang="0">
                <a:pos x="connsiteX13200" y="connsiteY13200"/>
              </a:cxn>
              <a:cxn ang="0">
                <a:pos x="connsiteX13201" y="connsiteY13201"/>
              </a:cxn>
              <a:cxn ang="0">
                <a:pos x="connsiteX13202" y="connsiteY13202"/>
              </a:cxn>
              <a:cxn ang="0">
                <a:pos x="connsiteX13203" y="connsiteY13203"/>
              </a:cxn>
              <a:cxn ang="0">
                <a:pos x="connsiteX13204" y="connsiteY13204"/>
              </a:cxn>
              <a:cxn ang="0">
                <a:pos x="connsiteX13205" y="connsiteY13205"/>
              </a:cxn>
              <a:cxn ang="0">
                <a:pos x="connsiteX13206" y="connsiteY13206"/>
              </a:cxn>
              <a:cxn ang="0">
                <a:pos x="connsiteX13207" y="connsiteY13207"/>
              </a:cxn>
              <a:cxn ang="0">
                <a:pos x="connsiteX13208" y="connsiteY13208"/>
              </a:cxn>
              <a:cxn ang="0">
                <a:pos x="connsiteX13209" y="connsiteY13209"/>
              </a:cxn>
              <a:cxn ang="0">
                <a:pos x="connsiteX13210" y="connsiteY13210"/>
              </a:cxn>
              <a:cxn ang="0">
                <a:pos x="connsiteX13211" y="connsiteY13211"/>
              </a:cxn>
              <a:cxn ang="0">
                <a:pos x="connsiteX13212" y="connsiteY13212"/>
              </a:cxn>
              <a:cxn ang="0">
                <a:pos x="connsiteX13213" y="connsiteY13213"/>
              </a:cxn>
              <a:cxn ang="0">
                <a:pos x="connsiteX13214" y="connsiteY13214"/>
              </a:cxn>
              <a:cxn ang="0">
                <a:pos x="connsiteX13215" y="connsiteY13215"/>
              </a:cxn>
              <a:cxn ang="0">
                <a:pos x="connsiteX13216" y="connsiteY13216"/>
              </a:cxn>
              <a:cxn ang="0">
                <a:pos x="connsiteX13217" y="connsiteY13217"/>
              </a:cxn>
              <a:cxn ang="0">
                <a:pos x="connsiteX13218" y="connsiteY13218"/>
              </a:cxn>
              <a:cxn ang="0">
                <a:pos x="connsiteX13219" y="connsiteY13219"/>
              </a:cxn>
              <a:cxn ang="0">
                <a:pos x="connsiteX13220" y="connsiteY13220"/>
              </a:cxn>
              <a:cxn ang="0">
                <a:pos x="connsiteX13221" y="connsiteY13221"/>
              </a:cxn>
              <a:cxn ang="0">
                <a:pos x="connsiteX13222" y="connsiteY13222"/>
              </a:cxn>
              <a:cxn ang="0">
                <a:pos x="connsiteX13223" y="connsiteY13223"/>
              </a:cxn>
              <a:cxn ang="0">
                <a:pos x="connsiteX13224" y="connsiteY13224"/>
              </a:cxn>
              <a:cxn ang="0">
                <a:pos x="connsiteX13225" y="connsiteY13225"/>
              </a:cxn>
              <a:cxn ang="0">
                <a:pos x="connsiteX13226" y="connsiteY13226"/>
              </a:cxn>
              <a:cxn ang="0">
                <a:pos x="connsiteX13227" y="connsiteY13227"/>
              </a:cxn>
              <a:cxn ang="0">
                <a:pos x="connsiteX13228" y="connsiteY13228"/>
              </a:cxn>
              <a:cxn ang="0">
                <a:pos x="connsiteX13229" y="connsiteY13229"/>
              </a:cxn>
              <a:cxn ang="0">
                <a:pos x="connsiteX13230" y="connsiteY13230"/>
              </a:cxn>
              <a:cxn ang="0">
                <a:pos x="connsiteX13231" y="connsiteY13231"/>
              </a:cxn>
              <a:cxn ang="0">
                <a:pos x="connsiteX13232" y="connsiteY13232"/>
              </a:cxn>
              <a:cxn ang="0">
                <a:pos x="connsiteX13233" y="connsiteY13233"/>
              </a:cxn>
              <a:cxn ang="0">
                <a:pos x="connsiteX13234" y="connsiteY13234"/>
              </a:cxn>
              <a:cxn ang="0">
                <a:pos x="connsiteX13235" y="connsiteY13235"/>
              </a:cxn>
              <a:cxn ang="0">
                <a:pos x="connsiteX13236" y="connsiteY13236"/>
              </a:cxn>
              <a:cxn ang="0">
                <a:pos x="connsiteX13237" y="connsiteY13237"/>
              </a:cxn>
              <a:cxn ang="0">
                <a:pos x="connsiteX13238" y="connsiteY13238"/>
              </a:cxn>
              <a:cxn ang="0">
                <a:pos x="connsiteX13239" y="connsiteY13239"/>
              </a:cxn>
              <a:cxn ang="0">
                <a:pos x="connsiteX13240" y="connsiteY13240"/>
              </a:cxn>
              <a:cxn ang="0">
                <a:pos x="connsiteX13241" y="connsiteY13241"/>
              </a:cxn>
              <a:cxn ang="0">
                <a:pos x="connsiteX13242" y="connsiteY13242"/>
              </a:cxn>
              <a:cxn ang="0">
                <a:pos x="connsiteX13243" y="connsiteY13243"/>
              </a:cxn>
              <a:cxn ang="0">
                <a:pos x="connsiteX13244" y="connsiteY13244"/>
              </a:cxn>
              <a:cxn ang="0">
                <a:pos x="connsiteX13245" y="connsiteY13245"/>
              </a:cxn>
              <a:cxn ang="0">
                <a:pos x="connsiteX13246" y="connsiteY13246"/>
              </a:cxn>
              <a:cxn ang="0">
                <a:pos x="connsiteX13247" y="connsiteY13247"/>
              </a:cxn>
              <a:cxn ang="0">
                <a:pos x="connsiteX13248" y="connsiteY13248"/>
              </a:cxn>
              <a:cxn ang="0">
                <a:pos x="connsiteX13249" y="connsiteY13249"/>
              </a:cxn>
              <a:cxn ang="0">
                <a:pos x="connsiteX13250" y="connsiteY13250"/>
              </a:cxn>
              <a:cxn ang="0">
                <a:pos x="connsiteX13251" y="connsiteY13251"/>
              </a:cxn>
              <a:cxn ang="0">
                <a:pos x="connsiteX13252" y="connsiteY13252"/>
              </a:cxn>
              <a:cxn ang="0">
                <a:pos x="connsiteX13253" y="connsiteY13253"/>
              </a:cxn>
              <a:cxn ang="0">
                <a:pos x="connsiteX13254" y="connsiteY13254"/>
              </a:cxn>
              <a:cxn ang="0">
                <a:pos x="connsiteX13255" y="connsiteY13255"/>
              </a:cxn>
              <a:cxn ang="0">
                <a:pos x="connsiteX13256" y="connsiteY13256"/>
              </a:cxn>
              <a:cxn ang="0">
                <a:pos x="connsiteX13257" y="connsiteY13257"/>
              </a:cxn>
              <a:cxn ang="0">
                <a:pos x="connsiteX13258" y="connsiteY13258"/>
              </a:cxn>
              <a:cxn ang="0">
                <a:pos x="connsiteX13259" y="connsiteY13259"/>
              </a:cxn>
              <a:cxn ang="0">
                <a:pos x="connsiteX13260" y="connsiteY13260"/>
              </a:cxn>
              <a:cxn ang="0">
                <a:pos x="connsiteX13261" y="connsiteY13261"/>
              </a:cxn>
              <a:cxn ang="0">
                <a:pos x="connsiteX13262" y="connsiteY13262"/>
              </a:cxn>
              <a:cxn ang="0">
                <a:pos x="connsiteX13263" y="connsiteY13263"/>
              </a:cxn>
              <a:cxn ang="0">
                <a:pos x="connsiteX13264" y="connsiteY13264"/>
              </a:cxn>
              <a:cxn ang="0">
                <a:pos x="connsiteX13265" y="connsiteY13265"/>
              </a:cxn>
              <a:cxn ang="0">
                <a:pos x="connsiteX13266" y="connsiteY13266"/>
              </a:cxn>
              <a:cxn ang="0">
                <a:pos x="connsiteX13267" y="connsiteY13267"/>
              </a:cxn>
              <a:cxn ang="0">
                <a:pos x="connsiteX13268" y="connsiteY13268"/>
              </a:cxn>
              <a:cxn ang="0">
                <a:pos x="connsiteX13269" y="connsiteY13269"/>
              </a:cxn>
              <a:cxn ang="0">
                <a:pos x="connsiteX13270" y="connsiteY13270"/>
              </a:cxn>
              <a:cxn ang="0">
                <a:pos x="connsiteX13271" y="connsiteY13271"/>
              </a:cxn>
              <a:cxn ang="0">
                <a:pos x="connsiteX13272" y="connsiteY13272"/>
              </a:cxn>
              <a:cxn ang="0">
                <a:pos x="connsiteX13273" y="connsiteY13273"/>
              </a:cxn>
              <a:cxn ang="0">
                <a:pos x="connsiteX13274" y="connsiteY13274"/>
              </a:cxn>
              <a:cxn ang="0">
                <a:pos x="connsiteX13275" y="connsiteY13275"/>
              </a:cxn>
              <a:cxn ang="0">
                <a:pos x="connsiteX13276" y="connsiteY13276"/>
              </a:cxn>
              <a:cxn ang="0">
                <a:pos x="connsiteX13277" y="connsiteY13277"/>
              </a:cxn>
              <a:cxn ang="0">
                <a:pos x="connsiteX13278" y="connsiteY13278"/>
              </a:cxn>
              <a:cxn ang="0">
                <a:pos x="connsiteX13279" y="connsiteY13279"/>
              </a:cxn>
              <a:cxn ang="0">
                <a:pos x="connsiteX13280" y="connsiteY13280"/>
              </a:cxn>
              <a:cxn ang="0">
                <a:pos x="connsiteX13281" y="connsiteY13281"/>
              </a:cxn>
              <a:cxn ang="0">
                <a:pos x="connsiteX13282" y="connsiteY13282"/>
              </a:cxn>
              <a:cxn ang="0">
                <a:pos x="connsiteX13283" y="connsiteY13283"/>
              </a:cxn>
              <a:cxn ang="0">
                <a:pos x="connsiteX13284" y="connsiteY13284"/>
              </a:cxn>
              <a:cxn ang="0">
                <a:pos x="connsiteX13285" y="connsiteY13285"/>
              </a:cxn>
              <a:cxn ang="0">
                <a:pos x="connsiteX13286" y="connsiteY13286"/>
              </a:cxn>
              <a:cxn ang="0">
                <a:pos x="connsiteX13287" y="connsiteY13287"/>
              </a:cxn>
              <a:cxn ang="0">
                <a:pos x="connsiteX13288" y="connsiteY13288"/>
              </a:cxn>
              <a:cxn ang="0">
                <a:pos x="connsiteX13289" y="connsiteY13289"/>
              </a:cxn>
              <a:cxn ang="0">
                <a:pos x="connsiteX13290" y="connsiteY13290"/>
              </a:cxn>
              <a:cxn ang="0">
                <a:pos x="connsiteX13291" y="connsiteY13291"/>
              </a:cxn>
              <a:cxn ang="0">
                <a:pos x="connsiteX13292" y="connsiteY13292"/>
              </a:cxn>
              <a:cxn ang="0">
                <a:pos x="connsiteX13293" y="connsiteY13293"/>
              </a:cxn>
              <a:cxn ang="0">
                <a:pos x="connsiteX13294" y="connsiteY13294"/>
              </a:cxn>
              <a:cxn ang="0">
                <a:pos x="connsiteX13295" y="connsiteY13295"/>
              </a:cxn>
              <a:cxn ang="0">
                <a:pos x="connsiteX13296" y="connsiteY13296"/>
              </a:cxn>
              <a:cxn ang="0">
                <a:pos x="connsiteX13297" y="connsiteY13297"/>
              </a:cxn>
              <a:cxn ang="0">
                <a:pos x="connsiteX13298" y="connsiteY13298"/>
              </a:cxn>
              <a:cxn ang="0">
                <a:pos x="connsiteX13299" y="connsiteY13299"/>
              </a:cxn>
              <a:cxn ang="0">
                <a:pos x="connsiteX13300" y="connsiteY13300"/>
              </a:cxn>
              <a:cxn ang="0">
                <a:pos x="connsiteX13301" y="connsiteY13301"/>
              </a:cxn>
              <a:cxn ang="0">
                <a:pos x="connsiteX13302" y="connsiteY13302"/>
              </a:cxn>
              <a:cxn ang="0">
                <a:pos x="connsiteX13303" y="connsiteY13303"/>
              </a:cxn>
              <a:cxn ang="0">
                <a:pos x="connsiteX13304" y="connsiteY13304"/>
              </a:cxn>
              <a:cxn ang="0">
                <a:pos x="connsiteX13305" y="connsiteY13305"/>
              </a:cxn>
              <a:cxn ang="0">
                <a:pos x="connsiteX13306" y="connsiteY13306"/>
              </a:cxn>
              <a:cxn ang="0">
                <a:pos x="connsiteX13307" y="connsiteY13307"/>
              </a:cxn>
              <a:cxn ang="0">
                <a:pos x="connsiteX13308" y="connsiteY13308"/>
              </a:cxn>
              <a:cxn ang="0">
                <a:pos x="connsiteX13309" y="connsiteY13309"/>
              </a:cxn>
              <a:cxn ang="0">
                <a:pos x="connsiteX13310" y="connsiteY13310"/>
              </a:cxn>
              <a:cxn ang="0">
                <a:pos x="connsiteX13311" y="connsiteY13311"/>
              </a:cxn>
              <a:cxn ang="0">
                <a:pos x="connsiteX13312" y="connsiteY13312"/>
              </a:cxn>
              <a:cxn ang="0">
                <a:pos x="connsiteX13313" y="connsiteY13313"/>
              </a:cxn>
              <a:cxn ang="0">
                <a:pos x="connsiteX13314" y="connsiteY13314"/>
              </a:cxn>
              <a:cxn ang="0">
                <a:pos x="connsiteX13315" y="connsiteY13315"/>
              </a:cxn>
              <a:cxn ang="0">
                <a:pos x="connsiteX13316" y="connsiteY13316"/>
              </a:cxn>
              <a:cxn ang="0">
                <a:pos x="connsiteX13317" y="connsiteY13317"/>
              </a:cxn>
              <a:cxn ang="0">
                <a:pos x="connsiteX13318" y="connsiteY13318"/>
              </a:cxn>
              <a:cxn ang="0">
                <a:pos x="connsiteX13319" y="connsiteY13319"/>
              </a:cxn>
              <a:cxn ang="0">
                <a:pos x="connsiteX13320" y="connsiteY13320"/>
              </a:cxn>
              <a:cxn ang="0">
                <a:pos x="connsiteX13321" y="connsiteY13321"/>
              </a:cxn>
              <a:cxn ang="0">
                <a:pos x="connsiteX13322" y="connsiteY13322"/>
              </a:cxn>
              <a:cxn ang="0">
                <a:pos x="connsiteX13323" y="connsiteY13323"/>
              </a:cxn>
              <a:cxn ang="0">
                <a:pos x="connsiteX13324" y="connsiteY13324"/>
              </a:cxn>
              <a:cxn ang="0">
                <a:pos x="connsiteX13325" y="connsiteY13325"/>
              </a:cxn>
              <a:cxn ang="0">
                <a:pos x="connsiteX13326" y="connsiteY13326"/>
              </a:cxn>
              <a:cxn ang="0">
                <a:pos x="connsiteX13327" y="connsiteY13327"/>
              </a:cxn>
              <a:cxn ang="0">
                <a:pos x="connsiteX13328" y="connsiteY13328"/>
              </a:cxn>
              <a:cxn ang="0">
                <a:pos x="connsiteX13329" y="connsiteY13329"/>
              </a:cxn>
              <a:cxn ang="0">
                <a:pos x="connsiteX13330" y="connsiteY13330"/>
              </a:cxn>
              <a:cxn ang="0">
                <a:pos x="connsiteX13331" y="connsiteY13331"/>
              </a:cxn>
              <a:cxn ang="0">
                <a:pos x="connsiteX13332" y="connsiteY13332"/>
              </a:cxn>
              <a:cxn ang="0">
                <a:pos x="connsiteX13333" y="connsiteY13333"/>
              </a:cxn>
              <a:cxn ang="0">
                <a:pos x="connsiteX13334" y="connsiteY13334"/>
              </a:cxn>
              <a:cxn ang="0">
                <a:pos x="connsiteX13335" y="connsiteY13335"/>
              </a:cxn>
              <a:cxn ang="0">
                <a:pos x="connsiteX13336" y="connsiteY13336"/>
              </a:cxn>
              <a:cxn ang="0">
                <a:pos x="connsiteX13337" y="connsiteY13337"/>
              </a:cxn>
              <a:cxn ang="0">
                <a:pos x="connsiteX13338" y="connsiteY13338"/>
              </a:cxn>
              <a:cxn ang="0">
                <a:pos x="connsiteX13339" y="connsiteY13339"/>
              </a:cxn>
              <a:cxn ang="0">
                <a:pos x="connsiteX13340" y="connsiteY13340"/>
              </a:cxn>
              <a:cxn ang="0">
                <a:pos x="connsiteX13341" y="connsiteY13341"/>
              </a:cxn>
              <a:cxn ang="0">
                <a:pos x="connsiteX13342" y="connsiteY13342"/>
              </a:cxn>
              <a:cxn ang="0">
                <a:pos x="connsiteX13343" y="connsiteY13343"/>
              </a:cxn>
              <a:cxn ang="0">
                <a:pos x="connsiteX13344" y="connsiteY13344"/>
              </a:cxn>
              <a:cxn ang="0">
                <a:pos x="connsiteX13345" y="connsiteY13345"/>
              </a:cxn>
              <a:cxn ang="0">
                <a:pos x="connsiteX13346" y="connsiteY13346"/>
              </a:cxn>
              <a:cxn ang="0">
                <a:pos x="connsiteX13347" y="connsiteY13347"/>
              </a:cxn>
              <a:cxn ang="0">
                <a:pos x="connsiteX13348" y="connsiteY13348"/>
              </a:cxn>
              <a:cxn ang="0">
                <a:pos x="connsiteX13349" y="connsiteY13349"/>
              </a:cxn>
              <a:cxn ang="0">
                <a:pos x="connsiteX13350" y="connsiteY13350"/>
              </a:cxn>
              <a:cxn ang="0">
                <a:pos x="connsiteX13351" y="connsiteY13351"/>
              </a:cxn>
              <a:cxn ang="0">
                <a:pos x="connsiteX13352" y="connsiteY13352"/>
              </a:cxn>
              <a:cxn ang="0">
                <a:pos x="connsiteX13353" y="connsiteY13353"/>
              </a:cxn>
              <a:cxn ang="0">
                <a:pos x="connsiteX13354" y="connsiteY13354"/>
              </a:cxn>
              <a:cxn ang="0">
                <a:pos x="connsiteX13355" y="connsiteY13355"/>
              </a:cxn>
              <a:cxn ang="0">
                <a:pos x="connsiteX13356" y="connsiteY13356"/>
              </a:cxn>
              <a:cxn ang="0">
                <a:pos x="connsiteX13357" y="connsiteY13357"/>
              </a:cxn>
              <a:cxn ang="0">
                <a:pos x="connsiteX13358" y="connsiteY13358"/>
              </a:cxn>
              <a:cxn ang="0">
                <a:pos x="connsiteX13359" y="connsiteY13359"/>
              </a:cxn>
              <a:cxn ang="0">
                <a:pos x="connsiteX13360" y="connsiteY13360"/>
              </a:cxn>
              <a:cxn ang="0">
                <a:pos x="connsiteX13361" y="connsiteY13361"/>
              </a:cxn>
              <a:cxn ang="0">
                <a:pos x="connsiteX13362" y="connsiteY13362"/>
              </a:cxn>
              <a:cxn ang="0">
                <a:pos x="connsiteX13363" y="connsiteY13363"/>
              </a:cxn>
              <a:cxn ang="0">
                <a:pos x="connsiteX13364" y="connsiteY13364"/>
              </a:cxn>
              <a:cxn ang="0">
                <a:pos x="connsiteX13365" y="connsiteY13365"/>
              </a:cxn>
              <a:cxn ang="0">
                <a:pos x="connsiteX13366" y="connsiteY13366"/>
              </a:cxn>
              <a:cxn ang="0">
                <a:pos x="connsiteX13367" y="connsiteY13367"/>
              </a:cxn>
              <a:cxn ang="0">
                <a:pos x="connsiteX13368" y="connsiteY13368"/>
              </a:cxn>
              <a:cxn ang="0">
                <a:pos x="connsiteX13369" y="connsiteY13369"/>
              </a:cxn>
              <a:cxn ang="0">
                <a:pos x="connsiteX13370" y="connsiteY13370"/>
              </a:cxn>
              <a:cxn ang="0">
                <a:pos x="connsiteX13371" y="connsiteY13371"/>
              </a:cxn>
              <a:cxn ang="0">
                <a:pos x="connsiteX13372" y="connsiteY13372"/>
              </a:cxn>
              <a:cxn ang="0">
                <a:pos x="connsiteX13373" y="connsiteY13373"/>
              </a:cxn>
              <a:cxn ang="0">
                <a:pos x="connsiteX13374" y="connsiteY13374"/>
              </a:cxn>
              <a:cxn ang="0">
                <a:pos x="connsiteX13375" y="connsiteY13375"/>
              </a:cxn>
              <a:cxn ang="0">
                <a:pos x="connsiteX13376" y="connsiteY13376"/>
              </a:cxn>
              <a:cxn ang="0">
                <a:pos x="connsiteX13377" y="connsiteY13377"/>
              </a:cxn>
              <a:cxn ang="0">
                <a:pos x="connsiteX13378" y="connsiteY13378"/>
              </a:cxn>
              <a:cxn ang="0">
                <a:pos x="connsiteX13379" y="connsiteY13379"/>
              </a:cxn>
              <a:cxn ang="0">
                <a:pos x="connsiteX13380" y="connsiteY13380"/>
              </a:cxn>
              <a:cxn ang="0">
                <a:pos x="connsiteX13381" y="connsiteY13381"/>
              </a:cxn>
              <a:cxn ang="0">
                <a:pos x="connsiteX13382" y="connsiteY13382"/>
              </a:cxn>
              <a:cxn ang="0">
                <a:pos x="connsiteX13383" y="connsiteY13383"/>
              </a:cxn>
              <a:cxn ang="0">
                <a:pos x="connsiteX13384" y="connsiteY13384"/>
              </a:cxn>
              <a:cxn ang="0">
                <a:pos x="connsiteX13385" y="connsiteY13385"/>
              </a:cxn>
              <a:cxn ang="0">
                <a:pos x="connsiteX13386" y="connsiteY13386"/>
              </a:cxn>
              <a:cxn ang="0">
                <a:pos x="connsiteX13387" y="connsiteY13387"/>
              </a:cxn>
              <a:cxn ang="0">
                <a:pos x="connsiteX13388" y="connsiteY13388"/>
              </a:cxn>
              <a:cxn ang="0">
                <a:pos x="connsiteX13389" y="connsiteY13389"/>
              </a:cxn>
              <a:cxn ang="0">
                <a:pos x="connsiteX13390" y="connsiteY13390"/>
              </a:cxn>
              <a:cxn ang="0">
                <a:pos x="connsiteX13391" y="connsiteY13391"/>
              </a:cxn>
              <a:cxn ang="0">
                <a:pos x="connsiteX13392" y="connsiteY13392"/>
              </a:cxn>
              <a:cxn ang="0">
                <a:pos x="connsiteX13393" y="connsiteY13393"/>
              </a:cxn>
              <a:cxn ang="0">
                <a:pos x="connsiteX13394" y="connsiteY13394"/>
              </a:cxn>
              <a:cxn ang="0">
                <a:pos x="connsiteX13395" y="connsiteY13395"/>
              </a:cxn>
              <a:cxn ang="0">
                <a:pos x="connsiteX13396" y="connsiteY13396"/>
              </a:cxn>
              <a:cxn ang="0">
                <a:pos x="connsiteX13397" y="connsiteY13397"/>
              </a:cxn>
              <a:cxn ang="0">
                <a:pos x="connsiteX13398" y="connsiteY13398"/>
              </a:cxn>
              <a:cxn ang="0">
                <a:pos x="connsiteX13399" y="connsiteY13399"/>
              </a:cxn>
              <a:cxn ang="0">
                <a:pos x="connsiteX13400" y="connsiteY13400"/>
              </a:cxn>
              <a:cxn ang="0">
                <a:pos x="connsiteX13401" y="connsiteY13401"/>
              </a:cxn>
              <a:cxn ang="0">
                <a:pos x="connsiteX13402" y="connsiteY13402"/>
              </a:cxn>
              <a:cxn ang="0">
                <a:pos x="connsiteX13403" y="connsiteY13403"/>
              </a:cxn>
              <a:cxn ang="0">
                <a:pos x="connsiteX13404" y="connsiteY13404"/>
              </a:cxn>
              <a:cxn ang="0">
                <a:pos x="connsiteX13405" y="connsiteY13405"/>
              </a:cxn>
              <a:cxn ang="0">
                <a:pos x="connsiteX13406" y="connsiteY13406"/>
              </a:cxn>
              <a:cxn ang="0">
                <a:pos x="connsiteX13407" y="connsiteY13407"/>
              </a:cxn>
              <a:cxn ang="0">
                <a:pos x="connsiteX13408" y="connsiteY13408"/>
              </a:cxn>
              <a:cxn ang="0">
                <a:pos x="connsiteX13409" y="connsiteY13409"/>
              </a:cxn>
              <a:cxn ang="0">
                <a:pos x="connsiteX13410" y="connsiteY13410"/>
              </a:cxn>
              <a:cxn ang="0">
                <a:pos x="connsiteX13411" y="connsiteY13411"/>
              </a:cxn>
              <a:cxn ang="0">
                <a:pos x="connsiteX13412" y="connsiteY13412"/>
              </a:cxn>
              <a:cxn ang="0">
                <a:pos x="connsiteX13413" y="connsiteY13413"/>
              </a:cxn>
              <a:cxn ang="0">
                <a:pos x="connsiteX13414" y="connsiteY13414"/>
              </a:cxn>
              <a:cxn ang="0">
                <a:pos x="connsiteX13415" y="connsiteY13415"/>
              </a:cxn>
              <a:cxn ang="0">
                <a:pos x="connsiteX13416" y="connsiteY13416"/>
              </a:cxn>
              <a:cxn ang="0">
                <a:pos x="connsiteX13417" y="connsiteY13417"/>
              </a:cxn>
              <a:cxn ang="0">
                <a:pos x="connsiteX13418" y="connsiteY13418"/>
              </a:cxn>
              <a:cxn ang="0">
                <a:pos x="connsiteX13419" y="connsiteY13419"/>
              </a:cxn>
              <a:cxn ang="0">
                <a:pos x="connsiteX13420" y="connsiteY13420"/>
              </a:cxn>
              <a:cxn ang="0">
                <a:pos x="connsiteX13421" y="connsiteY13421"/>
              </a:cxn>
              <a:cxn ang="0">
                <a:pos x="connsiteX13422" y="connsiteY13422"/>
              </a:cxn>
              <a:cxn ang="0">
                <a:pos x="connsiteX13423" y="connsiteY13423"/>
              </a:cxn>
              <a:cxn ang="0">
                <a:pos x="connsiteX13424" y="connsiteY13424"/>
              </a:cxn>
              <a:cxn ang="0">
                <a:pos x="connsiteX13425" y="connsiteY13425"/>
              </a:cxn>
              <a:cxn ang="0">
                <a:pos x="connsiteX13426" y="connsiteY13426"/>
              </a:cxn>
              <a:cxn ang="0">
                <a:pos x="connsiteX13427" y="connsiteY13427"/>
              </a:cxn>
              <a:cxn ang="0">
                <a:pos x="connsiteX13428" y="connsiteY13428"/>
              </a:cxn>
              <a:cxn ang="0">
                <a:pos x="connsiteX13429" y="connsiteY13429"/>
              </a:cxn>
              <a:cxn ang="0">
                <a:pos x="connsiteX13430" y="connsiteY13430"/>
              </a:cxn>
              <a:cxn ang="0">
                <a:pos x="connsiteX13431" y="connsiteY13431"/>
              </a:cxn>
              <a:cxn ang="0">
                <a:pos x="connsiteX13432" y="connsiteY13432"/>
              </a:cxn>
              <a:cxn ang="0">
                <a:pos x="connsiteX13433" y="connsiteY13433"/>
              </a:cxn>
              <a:cxn ang="0">
                <a:pos x="connsiteX13434" y="connsiteY13434"/>
              </a:cxn>
              <a:cxn ang="0">
                <a:pos x="connsiteX13435" y="connsiteY13435"/>
              </a:cxn>
              <a:cxn ang="0">
                <a:pos x="connsiteX13436" y="connsiteY13436"/>
              </a:cxn>
              <a:cxn ang="0">
                <a:pos x="connsiteX13437" y="connsiteY13437"/>
              </a:cxn>
              <a:cxn ang="0">
                <a:pos x="connsiteX13438" y="connsiteY13438"/>
              </a:cxn>
              <a:cxn ang="0">
                <a:pos x="connsiteX13439" y="connsiteY13439"/>
              </a:cxn>
              <a:cxn ang="0">
                <a:pos x="connsiteX13440" y="connsiteY13440"/>
              </a:cxn>
              <a:cxn ang="0">
                <a:pos x="connsiteX13441" y="connsiteY13441"/>
              </a:cxn>
              <a:cxn ang="0">
                <a:pos x="connsiteX13442" y="connsiteY13442"/>
              </a:cxn>
              <a:cxn ang="0">
                <a:pos x="connsiteX13443" y="connsiteY13443"/>
              </a:cxn>
              <a:cxn ang="0">
                <a:pos x="connsiteX13444" y="connsiteY13444"/>
              </a:cxn>
              <a:cxn ang="0">
                <a:pos x="connsiteX13445" y="connsiteY13445"/>
              </a:cxn>
              <a:cxn ang="0">
                <a:pos x="connsiteX13446" y="connsiteY13446"/>
              </a:cxn>
              <a:cxn ang="0">
                <a:pos x="connsiteX13447" y="connsiteY13447"/>
              </a:cxn>
              <a:cxn ang="0">
                <a:pos x="connsiteX13448" y="connsiteY13448"/>
              </a:cxn>
              <a:cxn ang="0">
                <a:pos x="connsiteX13449" y="connsiteY13449"/>
              </a:cxn>
              <a:cxn ang="0">
                <a:pos x="connsiteX13450" y="connsiteY13450"/>
              </a:cxn>
              <a:cxn ang="0">
                <a:pos x="connsiteX13451" y="connsiteY13451"/>
              </a:cxn>
              <a:cxn ang="0">
                <a:pos x="connsiteX13452" y="connsiteY13452"/>
              </a:cxn>
              <a:cxn ang="0">
                <a:pos x="connsiteX13453" y="connsiteY13453"/>
              </a:cxn>
              <a:cxn ang="0">
                <a:pos x="connsiteX13454" y="connsiteY13454"/>
              </a:cxn>
              <a:cxn ang="0">
                <a:pos x="connsiteX13455" y="connsiteY13455"/>
              </a:cxn>
              <a:cxn ang="0">
                <a:pos x="connsiteX13456" y="connsiteY13456"/>
              </a:cxn>
              <a:cxn ang="0">
                <a:pos x="connsiteX13457" y="connsiteY13457"/>
              </a:cxn>
              <a:cxn ang="0">
                <a:pos x="connsiteX13458" y="connsiteY13458"/>
              </a:cxn>
              <a:cxn ang="0">
                <a:pos x="connsiteX13459" y="connsiteY13459"/>
              </a:cxn>
              <a:cxn ang="0">
                <a:pos x="connsiteX13460" y="connsiteY13460"/>
              </a:cxn>
              <a:cxn ang="0">
                <a:pos x="connsiteX13461" y="connsiteY13461"/>
              </a:cxn>
              <a:cxn ang="0">
                <a:pos x="connsiteX13462" y="connsiteY13462"/>
              </a:cxn>
              <a:cxn ang="0">
                <a:pos x="connsiteX13463" y="connsiteY13463"/>
              </a:cxn>
              <a:cxn ang="0">
                <a:pos x="connsiteX13464" y="connsiteY13464"/>
              </a:cxn>
              <a:cxn ang="0">
                <a:pos x="connsiteX13465" y="connsiteY13465"/>
              </a:cxn>
              <a:cxn ang="0">
                <a:pos x="connsiteX13466" y="connsiteY13466"/>
              </a:cxn>
              <a:cxn ang="0">
                <a:pos x="connsiteX13467" y="connsiteY13467"/>
              </a:cxn>
              <a:cxn ang="0">
                <a:pos x="connsiteX13468" y="connsiteY13468"/>
              </a:cxn>
              <a:cxn ang="0">
                <a:pos x="connsiteX13469" y="connsiteY13469"/>
              </a:cxn>
              <a:cxn ang="0">
                <a:pos x="connsiteX13470" y="connsiteY13470"/>
              </a:cxn>
              <a:cxn ang="0">
                <a:pos x="connsiteX13471" y="connsiteY13471"/>
              </a:cxn>
              <a:cxn ang="0">
                <a:pos x="connsiteX13472" y="connsiteY13472"/>
              </a:cxn>
              <a:cxn ang="0">
                <a:pos x="connsiteX13473" y="connsiteY13473"/>
              </a:cxn>
              <a:cxn ang="0">
                <a:pos x="connsiteX13474" y="connsiteY13474"/>
              </a:cxn>
              <a:cxn ang="0">
                <a:pos x="connsiteX13475" y="connsiteY13475"/>
              </a:cxn>
              <a:cxn ang="0">
                <a:pos x="connsiteX13476" y="connsiteY13476"/>
              </a:cxn>
              <a:cxn ang="0">
                <a:pos x="connsiteX13477" y="connsiteY13477"/>
              </a:cxn>
              <a:cxn ang="0">
                <a:pos x="connsiteX13478" y="connsiteY13478"/>
              </a:cxn>
              <a:cxn ang="0">
                <a:pos x="connsiteX13479" y="connsiteY13479"/>
              </a:cxn>
              <a:cxn ang="0">
                <a:pos x="connsiteX13480" y="connsiteY13480"/>
              </a:cxn>
              <a:cxn ang="0">
                <a:pos x="connsiteX13481" y="connsiteY13481"/>
              </a:cxn>
              <a:cxn ang="0">
                <a:pos x="connsiteX13482" y="connsiteY13482"/>
              </a:cxn>
              <a:cxn ang="0">
                <a:pos x="connsiteX13483" y="connsiteY13483"/>
              </a:cxn>
              <a:cxn ang="0">
                <a:pos x="connsiteX13484" y="connsiteY13484"/>
              </a:cxn>
              <a:cxn ang="0">
                <a:pos x="connsiteX13485" y="connsiteY13485"/>
              </a:cxn>
              <a:cxn ang="0">
                <a:pos x="connsiteX13486" y="connsiteY13486"/>
              </a:cxn>
              <a:cxn ang="0">
                <a:pos x="connsiteX13487" y="connsiteY13487"/>
              </a:cxn>
              <a:cxn ang="0">
                <a:pos x="connsiteX13488" y="connsiteY13488"/>
              </a:cxn>
              <a:cxn ang="0">
                <a:pos x="connsiteX13489" y="connsiteY13489"/>
              </a:cxn>
              <a:cxn ang="0">
                <a:pos x="connsiteX13490" y="connsiteY13490"/>
              </a:cxn>
              <a:cxn ang="0">
                <a:pos x="connsiteX13491" y="connsiteY13491"/>
              </a:cxn>
              <a:cxn ang="0">
                <a:pos x="connsiteX13492" y="connsiteY13492"/>
              </a:cxn>
              <a:cxn ang="0">
                <a:pos x="connsiteX13493" y="connsiteY13493"/>
              </a:cxn>
              <a:cxn ang="0">
                <a:pos x="connsiteX13494" y="connsiteY13494"/>
              </a:cxn>
              <a:cxn ang="0">
                <a:pos x="connsiteX13495" y="connsiteY13495"/>
              </a:cxn>
              <a:cxn ang="0">
                <a:pos x="connsiteX13496" y="connsiteY13496"/>
              </a:cxn>
              <a:cxn ang="0">
                <a:pos x="connsiteX13497" y="connsiteY13497"/>
              </a:cxn>
              <a:cxn ang="0">
                <a:pos x="connsiteX13498" y="connsiteY13498"/>
              </a:cxn>
              <a:cxn ang="0">
                <a:pos x="connsiteX13499" y="connsiteY13499"/>
              </a:cxn>
              <a:cxn ang="0">
                <a:pos x="connsiteX13500" y="connsiteY13500"/>
              </a:cxn>
              <a:cxn ang="0">
                <a:pos x="connsiteX13501" y="connsiteY13501"/>
              </a:cxn>
              <a:cxn ang="0">
                <a:pos x="connsiteX13502" y="connsiteY13502"/>
              </a:cxn>
              <a:cxn ang="0">
                <a:pos x="connsiteX13503" y="connsiteY13503"/>
              </a:cxn>
              <a:cxn ang="0">
                <a:pos x="connsiteX13504" y="connsiteY13504"/>
              </a:cxn>
              <a:cxn ang="0">
                <a:pos x="connsiteX13505" y="connsiteY13505"/>
              </a:cxn>
              <a:cxn ang="0">
                <a:pos x="connsiteX13506" y="connsiteY13506"/>
              </a:cxn>
              <a:cxn ang="0">
                <a:pos x="connsiteX13507" y="connsiteY13507"/>
              </a:cxn>
              <a:cxn ang="0">
                <a:pos x="connsiteX13508" y="connsiteY13508"/>
              </a:cxn>
              <a:cxn ang="0">
                <a:pos x="connsiteX13509" y="connsiteY13509"/>
              </a:cxn>
              <a:cxn ang="0">
                <a:pos x="connsiteX13510" y="connsiteY13510"/>
              </a:cxn>
              <a:cxn ang="0">
                <a:pos x="connsiteX13511" y="connsiteY13511"/>
              </a:cxn>
              <a:cxn ang="0">
                <a:pos x="connsiteX13512" y="connsiteY13512"/>
              </a:cxn>
              <a:cxn ang="0">
                <a:pos x="connsiteX13513" y="connsiteY13513"/>
              </a:cxn>
              <a:cxn ang="0">
                <a:pos x="connsiteX13514" y="connsiteY13514"/>
              </a:cxn>
              <a:cxn ang="0">
                <a:pos x="connsiteX13515" y="connsiteY13515"/>
              </a:cxn>
              <a:cxn ang="0">
                <a:pos x="connsiteX13516" y="connsiteY13516"/>
              </a:cxn>
              <a:cxn ang="0">
                <a:pos x="connsiteX13517" y="connsiteY13517"/>
              </a:cxn>
              <a:cxn ang="0">
                <a:pos x="connsiteX13518" y="connsiteY13518"/>
              </a:cxn>
              <a:cxn ang="0">
                <a:pos x="connsiteX13519" y="connsiteY13519"/>
              </a:cxn>
              <a:cxn ang="0">
                <a:pos x="connsiteX13520" y="connsiteY13520"/>
              </a:cxn>
              <a:cxn ang="0">
                <a:pos x="connsiteX13521" y="connsiteY13521"/>
              </a:cxn>
              <a:cxn ang="0">
                <a:pos x="connsiteX13522" y="connsiteY13522"/>
              </a:cxn>
              <a:cxn ang="0">
                <a:pos x="connsiteX13523" y="connsiteY13523"/>
              </a:cxn>
              <a:cxn ang="0">
                <a:pos x="connsiteX13524" y="connsiteY13524"/>
              </a:cxn>
              <a:cxn ang="0">
                <a:pos x="connsiteX13525" y="connsiteY13525"/>
              </a:cxn>
              <a:cxn ang="0">
                <a:pos x="connsiteX13526" y="connsiteY13526"/>
              </a:cxn>
              <a:cxn ang="0">
                <a:pos x="connsiteX13527" y="connsiteY13527"/>
              </a:cxn>
              <a:cxn ang="0">
                <a:pos x="connsiteX13528" y="connsiteY13528"/>
              </a:cxn>
              <a:cxn ang="0">
                <a:pos x="connsiteX13529" y="connsiteY13529"/>
              </a:cxn>
              <a:cxn ang="0">
                <a:pos x="connsiteX13530" y="connsiteY13530"/>
              </a:cxn>
              <a:cxn ang="0">
                <a:pos x="connsiteX13531" y="connsiteY13531"/>
              </a:cxn>
              <a:cxn ang="0">
                <a:pos x="connsiteX13532" y="connsiteY13532"/>
              </a:cxn>
              <a:cxn ang="0">
                <a:pos x="connsiteX13533" y="connsiteY13533"/>
              </a:cxn>
              <a:cxn ang="0">
                <a:pos x="connsiteX13534" y="connsiteY13534"/>
              </a:cxn>
              <a:cxn ang="0">
                <a:pos x="connsiteX13535" y="connsiteY13535"/>
              </a:cxn>
              <a:cxn ang="0">
                <a:pos x="connsiteX13536" y="connsiteY13536"/>
              </a:cxn>
              <a:cxn ang="0">
                <a:pos x="connsiteX13537" y="connsiteY13537"/>
              </a:cxn>
              <a:cxn ang="0">
                <a:pos x="connsiteX13538" y="connsiteY13538"/>
              </a:cxn>
              <a:cxn ang="0">
                <a:pos x="connsiteX13539" y="connsiteY13539"/>
              </a:cxn>
              <a:cxn ang="0">
                <a:pos x="connsiteX13540" y="connsiteY13540"/>
              </a:cxn>
              <a:cxn ang="0">
                <a:pos x="connsiteX13541" y="connsiteY13541"/>
              </a:cxn>
              <a:cxn ang="0">
                <a:pos x="connsiteX13542" y="connsiteY13542"/>
              </a:cxn>
              <a:cxn ang="0">
                <a:pos x="connsiteX13543" y="connsiteY13543"/>
              </a:cxn>
              <a:cxn ang="0">
                <a:pos x="connsiteX13544" y="connsiteY13544"/>
              </a:cxn>
              <a:cxn ang="0">
                <a:pos x="connsiteX13545" y="connsiteY13545"/>
              </a:cxn>
              <a:cxn ang="0">
                <a:pos x="connsiteX13546" y="connsiteY13546"/>
              </a:cxn>
              <a:cxn ang="0">
                <a:pos x="connsiteX13547" y="connsiteY13547"/>
              </a:cxn>
              <a:cxn ang="0">
                <a:pos x="connsiteX13548" y="connsiteY13548"/>
              </a:cxn>
              <a:cxn ang="0">
                <a:pos x="connsiteX13549" y="connsiteY13549"/>
              </a:cxn>
              <a:cxn ang="0">
                <a:pos x="connsiteX13550" y="connsiteY13550"/>
              </a:cxn>
              <a:cxn ang="0">
                <a:pos x="connsiteX13551" y="connsiteY13551"/>
              </a:cxn>
              <a:cxn ang="0">
                <a:pos x="connsiteX13552" y="connsiteY13552"/>
              </a:cxn>
              <a:cxn ang="0">
                <a:pos x="connsiteX13553" y="connsiteY13553"/>
              </a:cxn>
              <a:cxn ang="0">
                <a:pos x="connsiteX13554" y="connsiteY13554"/>
              </a:cxn>
              <a:cxn ang="0">
                <a:pos x="connsiteX13555" y="connsiteY13555"/>
              </a:cxn>
              <a:cxn ang="0">
                <a:pos x="connsiteX13556" y="connsiteY13556"/>
              </a:cxn>
              <a:cxn ang="0">
                <a:pos x="connsiteX13557" y="connsiteY13557"/>
              </a:cxn>
              <a:cxn ang="0">
                <a:pos x="connsiteX13558" y="connsiteY13558"/>
              </a:cxn>
              <a:cxn ang="0">
                <a:pos x="connsiteX13559" y="connsiteY13559"/>
              </a:cxn>
              <a:cxn ang="0">
                <a:pos x="connsiteX13560" y="connsiteY13560"/>
              </a:cxn>
              <a:cxn ang="0">
                <a:pos x="connsiteX13561" y="connsiteY13561"/>
              </a:cxn>
              <a:cxn ang="0">
                <a:pos x="connsiteX13562" y="connsiteY13562"/>
              </a:cxn>
              <a:cxn ang="0">
                <a:pos x="connsiteX13563" y="connsiteY13563"/>
              </a:cxn>
              <a:cxn ang="0">
                <a:pos x="connsiteX13564" y="connsiteY13564"/>
              </a:cxn>
              <a:cxn ang="0">
                <a:pos x="connsiteX13565" y="connsiteY13565"/>
              </a:cxn>
              <a:cxn ang="0">
                <a:pos x="connsiteX13566" y="connsiteY13566"/>
              </a:cxn>
              <a:cxn ang="0">
                <a:pos x="connsiteX13567" y="connsiteY13567"/>
              </a:cxn>
              <a:cxn ang="0">
                <a:pos x="connsiteX13568" y="connsiteY13568"/>
              </a:cxn>
              <a:cxn ang="0">
                <a:pos x="connsiteX13569" y="connsiteY13569"/>
              </a:cxn>
              <a:cxn ang="0">
                <a:pos x="connsiteX13570" y="connsiteY13570"/>
              </a:cxn>
              <a:cxn ang="0">
                <a:pos x="connsiteX13571" y="connsiteY13571"/>
              </a:cxn>
              <a:cxn ang="0">
                <a:pos x="connsiteX13572" y="connsiteY13572"/>
              </a:cxn>
              <a:cxn ang="0">
                <a:pos x="connsiteX13573" y="connsiteY13573"/>
              </a:cxn>
              <a:cxn ang="0">
                <a:pos x="connsiteX13574" y="connsiteY13574"/>
              </a:cxn>
              <a:cxn ang="0">
                <a:pos x="connsiteX13575" y="connsiteY13575"/>
              </a:cxn>
              <a:cxn ang="0">
                <a:pos x="connsiteX13576" y="connsiteY13576"/>
              </a:cxn>
              <a:cxn ang="0">
                <a:pos x="connsiteX13577" y="connsiteY13577"/>
              </a:cxn>
              <a:cxn ang="0">
                <a:pos x="connsiteX13578" y="connsiteY13578"/>
              </a:cxn>
              <a:cxn ang="0">
                <a:pos x="connsiteX13579" y="connsiteY13579"/>
              </a:cxn>
              <a:cxn ang="0">
                <a:pos x="connsiteX13580" y="connsiteY13580"/>
              </a:cxn>
              <a:cxn ang="0">
                <a:pos x="connsiteX13581" y="connsiteY13581"/>
              </a:cxn>
              <a:cxn ang="0">
                <a:pos x="connsiteX13582" y="connsiteY13582"/>
              </a:cxn>
              <a:cxn ang="0">
                <a:pos x="connsiteX13583" y="connsiteY13583"/>
              </a:cxn>
              <a:cxn ang="0">
                <a:pos x="connsiteX13584" y="connsiteY13584"/>
              </a:cxn>
              <a:cxn ang="0">
                <a:pos x="connsiteX13585" y="connsiteY13585"/>
              </a:cxn>
              <a:cxn ang="0">
                <a:pos x="connsiteX13586" y="connsiteY13586"/>
              </a:cxn>
              <a:cxn ang="0">
                <a:pos x="connsiteX13587" y="connsiteY13587"/>
              </a:cxn>
              <a:cxn ang="0">
                <a:pos x="connsiteX13588" y="connsiteY13588"/>
              </a:cxn>
              <a:cxn ang="0">
                <a:pos x="connsiteX13589" y="connsiteY13589"/>
              </a:cxn>
              <a:cxn ang="0">
                <a:pos x="connsiteX13590" y="connsiteY13590"/>
              </a:cxn>
              <a:cxn ang="0">
                <a:pos x="connsiteX13591" y="connsiteY13591"/>
              </a:cxn>
              <a:cxn ang="0">
                <a:pos x="connsiteX13592" y="connsiteY13592"/>
              </a:cxn>
              <a:cxn ang="0">
                <a:pos x="connsiteX13593" y="connsiteY13593"/>
              </a:cxn>
              <a:cxn ang="0">
                <a:pos x="connsiteX13594" y="connsiteY13594"/>
              </a:cxn>
              <a:cxn ang="0">
                <a:pos x="connsiteX13595" y="connsiteY13595"/>
              </a:cxn>
              <a:cxn ang="0">
                <a:pos x="connsiteX13596" y="connsiteY13596"/>
              </a:cxn>
              <a:cxn ang="0">
                <a:pos x="connsiteX13597" y="connsiteY13597"/>
              </a:cxn>
              <a:cxn ang="0">
                <a:pos x="connsiteX13598" y="connsiteY13598"/>
              </a:cxn>
              <a:cxn ang="0">
                <a:pos x="connsiteX13599" y="connsiteY13599"/>
              </a:cxn>
              <a:cxn ang="0">
                <a:pos x="connsiteX13600" y="connsiteY13600"/>
              </a:cxn>
              <a:cxn ang="0">
                <a:pos x="connsiteX13601" y="connsiteY13601"/>
              </a:cxn>
              <a:cxn ang="0">
                <a:pos x="connsiteX13602" y="connsiteY13602"/>
              </a:cxn>
              <a:cxn ang="0">
                <a:pos x="connsiteX13603" y="connsiteY13603"/>
              </a:cxn>
              <a:cxn ang="0">
                <a:pos x="connsiteX13604" y="connsiteY13604"/>
              </a:cxn>
              <a:cxn ang="0">
                <a:pos x="connsiteX13605" y="connsiteY13605"/>
              </a:cxn>
              <a:cxn ang="0">
                <a:pos x="connsiteX13606" y="connsiteY13606"/>
              </a:cxn>
              <a:cxn ang="0">
                <a:pos x="connsiteX13607" y="connsiteY13607"/>
              </a:cxn>
              <a:cxn ang="0">
                <a:pos x="connsiteX13608" y="connsiteY13608"/>
              </a:cxn>
              <a:cxn ang="0">
                <a:pos x="connsiteX13609" y="connsiteY13609"/>
              </a:cxn>
              <a:cxn ang="0">
                <a:pos x="connsiteX13610" y="connsiteY13610"/>
              </a:cxn>
              <a:cxn ang="0">
                <a:pos x="connsiteX13611" y="connsiteY13611"/>
              </a:cxn>
              <a:cxn ang="0">
                <a:pos x="connsiteX13612" y="connsiteY13612"/>
              </a:cxn>
              <a:cxn ang="0">
                <a:pos x="connsiteX13613" y="connsiteY13613"/>
              </a:cxn>
              <a:cxn ang="0">
                <a:pos x="connsiteX13614" y="connsiteY13614"/>
              </a:cxn>
              <a:cxn ang="0">
                <a:pos x="connsiteX13615" y="connsiteY13615"/>
              </a:cxn>
              <a:cxn ang="0">
                <a:pos x="connsiteX13616" y="connsiteY13616"/>
              </a:cxn>
              <a:cxn ang="0">
                <a:pos x="connsiteX13617" y="connsiteY13617"/>
              </a:cxn>
              <a:cxn ang="0">
                <a:pos x="connsiteX13618" y="connsiteY13618"/>
              </a:cxn>
              <a:cxn ang="0">
                <a:pos x="connsiteX13619" y="connsiteY13619"/>
              </a:cxn>
              <a:cxn ang="0">
                <a:pos x="connsiteX13620" y="connsiteY13620"/>
              </a:cxn>
              <a:cxn ang="0">
                <a:pos x="connsiteX13621" y="connsiteY13621"/>
              </a:cxn>
              <a:cxn ang="0">
                <a:pos x="connsiteX13622" y="connsiteY13622"/>
              </a:cxn>
              <a:cxn ang="0">
                <a:pos x="connsiteX13623" y="connsiteY13623"/>
              </a:cxn>
              <a:cxn ang="0">
                <a:pos x="connsiteX13624" y="connsiteY13624"/>
              </a:cxn>
              <a:cxn ang="0">
                <a:pos x="connsiteX13625" y="connsiteY13625"/>
              </a:cxn>
              <a:cxn ang="0">
                <a:pos x="connsiteX13626" y="connsiteY13626"/>
              </a:cxn>
              <a:cxn ang="0">
                <a:pos x="connsiteX13627" y="connsiteY13627"/>
              </a:cxn>
              <a:cxn ang="0">
                <a:pos x="connsiteX13628" y="connsiteY13628"/>
              </a:cxn>
              <a:cxn ang="0">
                <a:pos x="connsiteX13629" y="connsiteY13629"/>
              </a:cxn>
              <a:cxn ang="0">
                <a:pos x="connsiteX13630" y="connsiteY13630"/>
              </a:cxn>
              <a:cxn ang="0">
                <a:pos x="connsiteX13631" y="connsiteY13631"/>
              </a:cxn>
              <a:cxn ang="0">
                <a:pos x="connsiteX13632" y="connsiteY13632"/>
              </a:cxn>
              <a:cxn ang="0">
                <a:pos x="connsiteX13633" y="connsiteY13633"/>
              </a:cxn>
              <a:cxn ang="0">
                <a:pos x="connsiteX13634" y="connsiteY13634"/>
              </a:cxn>
              <a:cxn ang="0">
                <a:pos x="connsiteX13635" y="connsiteY13635"/>
              </a:cxn>
              <a:cxn ang="0">
                <a:pos x="connsiteX13636" y="connsiteY13636"/>
              </a:cxn>
              <a:cxn ang="0">
                <a:pos x="connsiteX13637" y="connsiteY13637"/>
              </a:cxn>
              <a:cxn ang="0">
                <a:pos x="connsiteX13638" y="connsiteY13638"/>
              </a:cxn>
              <a:cxn ang="0">
                <a:pos x="connsiteX13639" y="connsiteY13639"/>
              </a:cxn>
              <a:cxn ang="0">
                <a:pos x="connsiteX13640" y="connsiteY13640"/>
              </a:cxn>
              <a:cxn ang="0">
                <a:pos x="connsiteX13641" y="connsiteY13641"/>
              </a:cxn>
              <a:cxn ang="0">
                <a:pos x="connsiteX13642" y="connsiteY13642"/>
              </a:cxn>
              <a:cxn ang="0">
                <a:pos x="connsiteX13643" y="connsiteY13643"/>
              </a:cxn>
              <a:cxn ang="0">
                <a:pos x="connsiteX13644" y="connsiteY13644"/>
              </a:cxn>
              <a:cxn ang="0">
                <a:pos x="connsiteX13645" y="connsiteY13645"/>
              </a:cxn>
              <a:cxn ang="0">
                <a:pos x="connsiteX13646" y="connsiteY13646"/>
              </a:cxn>
              <a:cxn ang="0">
                <a:pos x="connsiteX13647" y="connsiteY13647"/>
              </a:cxn>
              <a:cxn ang="0">
                <a:pos x="connsiteX13648" y="connsiteY13648"/>
              </a:cxn>
              <a:cxn ang="0">
                <a:pos x="connsiteX13649" y="connsiteY13649"/>
              </a:cxn>
              <a:cxn ang="0">
                <a:pos x="connsiteX13650" y="connsiteY13650"/>
              </a:cxn>
              <a:cxn ang="0">
                <a:pos x="connsiteX13651" y="connsiteY13651"/>
              </a:cxn>
              <a:cxn ang="0">
                <a:pos x="connsiteX13652" y="connsiteY13652"/>
              </a:cxn>
              <a:cxn ang="0">
                <a:pos x="connsiteX13653" y="connsiteY13653"/>
              </a:cxn>
              <a:cxn ang="0">
                <a:pos x="connsiteX13654" y="connsiteY13654"/>
              </a:cxn>
              <a:cxn ang="0">
                <a:pos x="connsiteX13655" y="connsiteY13655"/>
              </a:cxn>
              <a:cxn ang="0">
                <a:pos x="connsiteX13656" y="connsiteY13656"/>
              </a:cxn>
              <a:cxn ang="0">
                <a:pos x="connsiteX13657" y="connsiteY13657"/>
              </a:cxn>
              <a:cxn ang="0">
                <a:pos x="connsiteX13658" y="connsiteY13658"/>
              </a:cxn>
              <a:cxn ang="0">
                <a:pos x="connsiteX13659" y="connsiteY13659"/>
              </a:cxn>
              <a:cxn ang="0">
                <a:pos x="connsiteX13660" y="connsiteY13660"/>
              </a:cxn>
              <a:cxn ang="0">
                <a:pos x="connsiteX13661" y="connsiteY13661"/>
              </a:cxn>
              <a:cxn ang="0">
                <a:pos x="connsiteX13662" y="connsiteY13662"/>
              </a:cxn>
              <a:cxn ang="0">
                <a:pos x="connsiteX13663" y="connsiteY13663"/>
              </a:cxn>
              <a:cxn ang="0">
                <a:pos x="connsiteX13664" y="connsiteY13664"/>
              </a:cxn>
              <a:cxn ang="0">
                <a:pos x="connsiteX13665" y="connsiteY13665"/>
              </a:cxn>
              <a:cxn ang="0">
                <a:pos x="connsiteX13666" y="connsiteY13666"/>
              </a:cxn>
              <a:cxn ang="0">
                <a:pos x="connsiteX13667" y="connsiteY13667"/>
              </a:cxn>
              <a:cxn ang="0">
                <a:pos x="connsiteX13668" y="connsiteY13668"/>
              </a:cxn>
              <a:cxn ang="0">
                <a:pos x="connsiteX13669" y="connsiteY13669"/>
              </a:cxn>
              <a:cxn ang="0">
                <a:pos x="connsiteX13670" y="connsiteY13670"/>
              </a:cxn>
              <a:cxn ang="0">
                <a:pos x="connsiteX13671" y="connsiteY13671"/>
              </a:cxn>
              <a:cxn ang="0">
                <a:pos x="connsiteX13672" y="connsiteY13672"/>
              </a:cxn>
              <a:cxn ang="0">
                <a:pos x="connsiteX13673" y="connsiteY13673"/>
              </a:cxn>
              <a:cxn ang="0">
                <a:pos x="connsiteX13674" y="connsiteY13674"/>
              </a:cxn>
              <a:cxn ang="0">
                <a:pos x="connsiteX13675" y="connsiteY13675"/>
              </a:cxn>
              <a:cxn ang="0">
                <a:pos x="connsiteX13676" y="connsiteY13676"/>
              </a:cxn>
              <a:cxn ang="0">
                <a:pos x="connsiteX13677" y="connsiteY13677"/>
              </a:cxn>
              <a:cxn ang="0">
                <a:pos x="connsiteX13678" y="connsiteY13678"/>
              </a:cxn>
              <a:cxn ang="0">
                <a:pos x="connsiteX13679" y="connsiteY13679"/>
              </a:cxn>
              <a:cxn ang="0">
                <a:pos x="connsiteX13680" y="connsiteY13680"/>
              </a:cxn>
              <a:cxn ang="0">
                <a:pos x="connsiteX13681" y="connsiteY13681"/>
              </a:cxn>
              <a:cxn ang="0">
                <a:pos x="connsiteX13682" y="connsiteY13682"/>
              </a:cxn>
              <a:cxn ang="0">
                <a:pos x="connsiteX13683" y="connsiteY13683"/>
              </a:cxn>
              <a:cxn ang="0">
                <a:pos x="connsiteX13684" y="connsiteY13684"/>
              </a:cxn>
              <a:cxn ang="0">
                <a:pos x="connsiteX13685" y="connsiteY13685"/>
              </a:cxn>
              <a:cxn ang="0">
                <a:pos x="connsiteX13686" y="connsiteY13686"/>
              </a:cxn>
              <a:cxn ang="0">
                <a:pos x="connsiteX13687" y="connsiteY13687"/>
              </a:cxn>
              <a:cxn ang="0">
                <a:pos x="connsiteX13688" y="connsiteY13688"/>
              </a:cxn>
              <a:cxn ang="0">
                <a:pos x="connsiteX13689" y="connsiteY13689"/>
              </a:cxn>
              <a:cxn ang="0">
                <a:pos x="connsiteX13690" y="connsiteY13690"/>
              </a:cxn>
              <a:cxn ang="0">
                <a:pos x="connsiteX13691" y="connsiteY13691"/>
              </a:cxn>
              <a:cxn ang="0">
                <a:pos x="connsiteX13692" y="connsiteY13692"/>
              </a:cxn>
              <a:cxn ang="0">
                <a:pos x="connsiteX13693" y="connsiteY13693"/>
              </a:cxn>
              <a:cxn ang="0">
                <a:pos x="connsiteX13694" y="connsiteY13694"/>
              </a:cxn>
              <a:cxn ang="0">
                <a:pos x="connsiteX13695" y="connsiteY13695"/>
              </a:cxn>
              <a:cxn ang="0">
                <a:pos x="connsiteX13696" y="connsiteY13696"/>
              </a:cxn>
              <a:cxn ang="0">
                <a:pos x="connsiteX13697" y="connsiteY13697"/>
              </a:cxn>
              <a:cxn ang="0">
                <a:pos x="connsiteX13698" y="connsiteY13698"/>
              </a:cxn>
              <a:cxn ang="0">
                <a:pos x="connsiteX13699" y="connsiteY13699"/>
              </a:cxn>
              <a:cxn ang="0">
                <a:pos x="connsiteX13700" y="connsiteY13700"/>
              </a:cxn>
              <a:cxn ang="0">
                <a:pos x="connsiteX13701" y="connsiteY13701"/>
              </a:cxn>
              <a:cxn ang="0">
                <a:pos x="connsiteX13702" y="connsiteY13702"/>
              </a:cxn>
              <a:cxn ang="0">
                <a:pos x="connsiteX13703" y="connsiteY13703"/>
              </a:cxn>
              <a:cxn ang="0">
                <a:pos x="connsiteX13704" y="connsiteY13704"/>
              </a:cxn>
              <a:cxn ang="0">
                <a:pos x="connsiteX13705" y="connsiteY13705"/>
              </a:cxn>
              <a:cxn ang="0">
                <a:pos x="connsiteX13706" y="connsiteY13706"/>
              </a:cxn>
              <a:cxn ang="0">
                <a:pos x="connsiteX13707" y="connsiteY13707"/>
              </a:cxn>
              <a:cxn ang="0">
                <a:pos x="connsiteX13708" y="connsiteY13708"/>
              </a:cxn>
              <a:cxn ang="0">
                <a:pos x="connsiteX13709" y="connsiteY13709"/>
              </a:cxn>
              <a:cxn ang="0">
                <a:pos x="connsiteX13710" y="connsiteY13710"/>
              </a:cxn>
              <a:cxn ang="0">
                <a:pos x="connsiteX13711" y="connsiteY13711"/>
              </a:cxn>
              <a:cxn ang="0">
                <a:pos x="connsiteX13712" y="connsiteY13712"/>
              </a:cxn>
              <a:cxn ang="0">
                <a:pos x="connsiteX13713" y="connsiteY13713"/>
              </a:cxn>
              <a:cxn ang="0">
                <a:pos x="connsiteX13714" y="connsiteY13714"/>
              </a:cxn>
              <a:cxn ang="0">
                <a:pos x="connsiteX13715" y="connsiteY13715"/>
              </a:cxn>
              <a:cxn ang="0">
                <a:pos x="connsiteX13716" y="connsiteY13716"/>
              </a:cxn>
              <a:cxn ang="0">
                <a:pos x="connsiteX13717" y="connsiteY13717"/>
              </a:cxn>
              <a:cxn ang="0">
                <a:pos x="connsiteX13718" y="connsiteY13718"/>
              </a:cxn>
              <a:cxn ang="0">
                <a:pos x="connsiteX13719" y="connsiteY13719"/>
              </a:cxn>
              <a:cxn ang="0">
                <a:pos x="connsiteX13720" y="connsiteY13720"/>
              </a:cxn>
              <a:cxn ang="0">
                <a:pos x="connsiteX13721" y="connsiteY13721"/>
              </a:cxn>
              <a:cxn ang="0">
                <a:pos x="connsiteX13722" y="connsiteY13722"/>
              </a:cxn>
              <a:cxn ang="0">
                <a:pos x="connsiteX13723" y="connsiteY13723"/>
              </a:cxn>
              <a:cxn ang="0">
                <a:pos x="connsiteX13724" y="connsiteY13724"/>
              </a:cxn>
              <a:cxn ang="0">
                <a:pos x="connsiteX13725" y="connsiteY13725"/>
              </a:cxn>
              <a:cxn ang="0">
                <a:pos x="connsiteX13726" y="connsiteY13726"/>
              </a:cxn>
              <a:cxn ang="0">
                <a:pos x="connsiteX13727" y="connsiteY13727"/>
              </a:cxn>
              <a:cxn ang="0">
                <a:pos x="connsiteX13728" y="connsiteY13728"/>
              </a:cxn>
              <a:cxn ang="0">
                <a:pos x="connsiteX13729" y="connsiteY13729"/>
              </a:cxn>
              <a:cxn ang="0">
                <a:pos x="connsiteX13730" y="connsiteY13730"/>
              </a:cxn>
              <a:cxn ang="0">
                <a:pos x="connsiteX13731" y="connsiteY13731"/>
              </a:cxn>
              <a:cxn ang="0">
                <a:pos x="connsiteX13732" y="connsiteY13732"/>
              </a:cxn>
              <a:cxn ang="0">
                <a:pos x="connsiteX13733" y="connsiteY13733"/>
              </a:cxn>
              <a:cxn ang="0">
                <a:pos x="connsiteX13734" y="connsiteY13734"/>
              </a:cxn>
              <a:cxn ang="0">
                <a:pos x="connsiteX13735" y="connsiteY13735"/>
              </a:cxn>
              <a:cxn ang="0">
                <a:pos x="connsiteX13736" y="connsiteY13736"/>
              </a:cxn>
              <a:cxn ang="0">
                <a:pos x="connsiteX13737" y="connsiteY13737"/>
              </a:cxn>
              <a:cxn ang="0">
                <a:pos x="connsiteX13738" y="connsiteY13738"/>
              </a:cxn>
              <a:cxn ang="0">
                <a:pos x="connsiteX13739" y="connsiteY13739"/>
              </a:cxn>
              <a:cxn ang="0">
                <a:pos x="connsiteX13740" y="connsiteY13740"/>
              </a:cxn>
              <a:cxn ang="0">
                <a:pos x="connsiteX13741" y="connsiteY13741"/>
              </a:cxn>
              <a:cxn ang="0">
                <a:pos x="connsiteX13742" y="connsiteY13742"/>
              </a:cxn>
              <a:cxn ang="0">
                <a:pos x="connsiteX13743" y="connsiteY13743"/>
              </a:cxn>
              <a:cxn ang="0">
                <a:pos x="connsiteX13744" y="connsiteY13744"/>
              </a:cxn>
              <a:cxn ang="0">
                <a:pos x="connsiteX13745" y="connsiteY13745"/>
              </a:cxn>
              <a:cxn ang="0">
                <a:pos x="connsiteX13746" y="connsiteY13746"/>
              </a:cxn>
              <a:cxn ang="0">
                <a:pos x="connsiteX13747" y="connsiteY13747"/>
              </a:cxn>
              <a:cxn ang="0">
                <a:pos x="connsiteX13748" y="connsiteY13748"/>
              </a:cxn>
              <a:cxn ang="0">
                <a:pos x="connsiteX13749" y="connsiteY13749"/>
              </a:cxn>
              <a:cxn ang="0">
                <a:pos x="connsiteX13750" y="connsiteY13750"/>
              </a:cxn>
              <a:cxn ang="0">
                <a:pos x="connsiteX13751" y="connsiteY13751"/>
              </a:cxn>
              <a:cxn ang="0">
                <a:pos x="connsiteX13752" y="connsiteY13752"/>
              </a:cxn>
              <a:cxn ang="0">
                <a:pos x="connsiteX13753" y="connsiteY13753"/>
              </a:cxn>
              <a:cxn ang="0">
                <a:pos x="connsiteX13754" y="connsiteY13754"/>
              </a:cxn>
              <a:cxn ang="0">
                <a:pos x="connsiteX13755" y="connsiteY13755"/>
              </a:cxn>
              <a:cxn ang="0">
                <a:pos x="connsiteX13756" y="connsiteY13756"/>
              </a:cxn>
              <a:cxn ang="0">
                <a:pos x="connsiteX13757" y="connsiteY13757"/>
              </a:cxn>
              <a:cxn ang="0">
                <a:pos x="connsiteX13758" y="connsiteY13758"/>
              </a:cxn>
              <a:cxn ang="0">
                <a:pos x="connsiteX13759" y="connsiteY13759"/>
              </a:cxn>
              <a:cxn ang="0">
                <a:pos x="connsiteX13760" y="connsiteY13760"/>
              </a:cxn>
              <a:cxn ang="0">
                <a:pos x="connsiteX13761" y="connsiteY13761"/>
              </a:cxn>
              <a:cxn ang="0">
                <a:pos x="connsiteX13762" y="connsiteY13762"/>
              </a:cxn>
              <a:cxn ang="0">
                <a:pos x="connsiteX13763" y="connsiteY13763"/>
              </a:cxn>
              <a:cxn ang="0">
                <a:pos x="connsiteX13764" y="connsiteY13764"/>
              </a:cxn>
              <a:cxn ang="0">
                <a:pos x="connsiteX13765" y="connsiteY13765"/>
              </a:cxn>
              <a:cxn ang="0">
                <a:pos x="connsiteX13766" y="connsiteY13766"/>
              </a:cxn>
              <a:cxn ang="0">
                <a:pos x="connsiteX13767" y="connsiteY13767"/>
              </a:cxn>
              <a:cxn ang="0">
                <a:pos x="connsiteX13768" y="connsiteY13768"/>
              </a:cxn>
              <a:cxn ang="0">
                <a:pos x="connsiteX13769" y="connsiteY13769"/>
              </a:cxn>
              <a:cxn ang="0">
                <a:pos x="connsiteX13770" y="connsiteY13770"/>
              </a:cxn>
              <a:cxn ang="0">
                <a:pos x="connsiteX13771" y="connsiteY13771"/>
              </a:cxn>
              <a:cxn ang="0">
                <a:pos x="connsiteX13772" y="connsiteY13772"/>
              </a:cxn>
              <a:cxn ang="0">
                <a:pos x="connsiteX13773" y="connsiteY13773"/>
              </a:cxn>
              <a:cxn ang="0">
                <a:pos x="connsiteX13774" y="connsiteY13774"/>
              </a:cxn>
              <a:cxn ang="0">
                <a:pos x="connsiteX13775" y="connsiteY13775"/>
              </a:cxn>
              <a:cxn ang="0">
                <a:pos x="connsiteX13776" y="connsiteY13776"/>
              </a:cxn>
              <a:cxn ang="0">
                <a:pos x="connsiteX13777" y="connsiteY13777"/>
              </a:cxn>
              <a:cxn ang="0">
                <a:pos x="connsiteX13778" y="connsiteY13778"/>
              </a:cxn>
              <a:cxn ang="0">
                <a:pos x="connsiteX13779" y="connsiteY13779"/>
              </a:cxn>
              <a:cxn ang="0">
                <a:pos x="connsiteX13780" y="connsiteY13780"/>
              </a:cxn>
              <a:cxn ang="0">
                <a:pos x="connsiteX13781" y="connsiteY13781"/>
              </a:cxn>
              <a:cxn ang="0">
                <a:pos x="connsiteX13782" y="connsiteY13782"/>
              </a:cxn>
              <a:cxn ang="0">
                <a:pos x="connsiteX13783" y="connsiteY13783"/>
              </a:cxn>
              <a:cxn ang="0">
                <a:pos x="connsiteX13784" y="connsiteY13784"/>
              </a:cxn>
              <a:cxn ang="0">
                <a:pos x="connsiteX13785" y="connsiteY13785"/>
              </a:cxn>
              <a:cxn ang="0">
                <a:pos x="connsiteX13786" y="connsiteY13786"/>
              </a:cxn>
              <a:cxn ang="0">
                <a:pos x="connsiteX13787" y="connsiteY13787"/>
              </a:cxn>
              <a:cxn ang="0">
                <a:pos x="connsiteX13788" y="connsiteY13788"/>
              </a:cxn>
              <a:cxn ang="0">
                <a:pos x="connsiteX13789" y="connsiteY13789"/>
              </a:cxn>
              <a:cxn ang="0">
                <a:pos x="connsiteX13790" y="connsiteY13790"/>
              </a:cxn>
              <a:cxn ang="0">
                <a:pos x="connsiteX13791" y="connsiteY13791"/>
              </a:cxn>
              <a:cxn ang="0">
                <a:pos x="connsiteX13792" y="connsiteY13792"/>
              </a:cxn>
              <a:cxn ang="0">
                <a:pos x="connsiteX13793" y="connsiteY13793"/>
              </a:cxn>
              <a:cxn ang="0">
                <a:pos x="connsiteX13794" y="connsiteY13794"/>
              </a:cxn>
              <a:cxn ang="0">
                <a:pos x="connsiteX13795" y="connsiteY13795"/>
              </a:cxn>
              <a:cxn ang="0">
                <a:pos x="connsiteX13796" y="connsiteY13796"/>
              </a:cxn>
              <a:cxn ang="0">
                <a:pos x="connsiteX13797" y="connsiteY13797"/>
              </a:cxn>
              <a:cxn ang="0">
                <a:pos x="connsiteX13798" y="connsiteY13798"/>
              </a:cxn>
              <a:cxn ang="0">
                <a:pos x="connsiteX13799" y="connsiteY13799"/>
              </a:cxn>
              <a:cxn ang="0">
                <a:pos x="connsiteX13800" y="connsiteY13800"/>
              </a:cxn>
              <a:cxn ang="0">
                <a:pos x="connsiteX13801" y="connsiteY13801"/>
              </a:cxn>
              <a:cxn ang="0">
                <a:pos x="connsiteX13802" y="connsiteY13802"/>
              </a:cxn>
              <a:cxn ang="0">
                <a:pos x="connsiteX13803" y="connsiteY13803"/>
              </a:cxn>
              <a:cxn ang="0">
                <a:pos x="connsiteX13804" y="connsiteY13804"/>
              </a:cxn>
              <a:cxn ang="0">
                <a:pos x="connsiteX13805" y="connsiteY13805"/>
              </a:cxn>
              <a:cxn ang="0">
                <a:pos x="connsiteX13806" y="connsiteY13806"/>
              </a:cxn>
              <a:cxn ang="0">
                <a:pos x="connsiteX13807" y="connsiteY13807"/>
              </a:cxn>
              <a:cxn ang="0">
                <a:pos x="connsiteX13808" y="connsiteY13808"/>
              </a:cxn>
              <a:cxn ang="0">
                <a:pos x="connsiteX13809" y="connsiteY13809"/>
              </a:cxn>
              <a:cxn ang="0">
                <a:pos x="connsiteX13810" y="connsiteY13810"/>
              </a:cxn>
              <a:cxn ang="0">
                <a:pos x="connsiteX13811" y="connsiteY13811"/>
              </a:cxn>
              <a:cxn ang="0">
                <a:pos x="connsiteX13812" y="connsiteY13812"/>
              </a:cxn>
              <a:cxn ang="0">
                <a:pos x="connsiteX13813" y="connsiteY13813"/>
              </a:cxn>
              <a:cxn ang="0">
                <a:pos x="connsiteX13814" y="connsiteY13814"/>
              </a:cxn>
              <a:cxn ang="0">
                <a:pos x="connsiteX13815" y="connsiteY13815"/>
              </a:cxn>
              <a:cxn ang="0">
                <a:pos x="connsiteX13816" y="connsiteY13816"/>
              </a:cxn>
              <a:cxn ang="0">
                <a:pos x="connsiteX13817" y="connsiteY13817"/>
              </a:cxn>
              <a:cxn ang="0">
                <a:pos x="connsiteX13818" y="connsiteY13818"/>
              </a:cxn>
              <a:cxn ang="0">
                <a:pos x="connsiteX13819" y="connsiteY13819"/>
              </a:cxn>
              <a:cxn ang="0">
                <a:pos x="connsiteX13820" y="connsiteY13820"/>
              </a:cxn>
              <a:cxn ang="0">
                <a:pos x="connsiteX13821" y="connsiteY13821"/>
              </a:cxn>
              <a:cxn ang="0">
                <a:pos x="connsiteX13822" y="connsiteY13822"/>
              </a:cxn>
              <a:cxn ang="0">
                <a:pos x="connsiteX13823" y="connsiteY13823"/>
              </a:cxn>
              <a:cxn ang="0">
                <a:pos x="connsiteX13824" y="connsiteY13824"/>
              </a:cxn>
              <a:cxn ang="0">
                <a:pos x="connsiteX13825" y="connsiteY13825"/>
              </a:cxn>
              <a:cxn ang="0">
                <a:pos x="connsiteX13826" y="connsiteY13826"/>
              </a:cxn>
              <a:cxn ang="0">
                <a:pos x="connsiteX13827" y="connsiteY13827"/>
              </a:cxn>
              <a:cxn ang="0">
                <a:pos x="connsiteX13828" y="connsiteY13828"/>
              </a:cxn>
              <a:cxn ang="0">
                <a:pos x="connsiteX13829" y="connsiteY13829"/>
              </a:cxn>
              <a:cxn ang="0">
                <a:pos x="connsiteX13830" y="connsiteY13830"/>
              </a:cxn>
              <a:cxn ang="0">
                <a:pos x="connsiteX13831" y="connsiteY13831"/>
              </a:cxn>
              <a:cxn ang="0">
                <a:pos x="connsiteX13832" y="connsiteY13832"/>
              </a:cxn>
              <a:cxn ang="0">
                <a:pos x="connsiteX13833" y="connsiteY13833"/>
              </a:cxn>
              <a:cxn ang="0">
                <a:pos x="connsiteX13834" y="connsiteY13834"/>
              </a:cxn>
              <a:cxn ang="0">
                <a:pos x="connsiteX13835" y="connsiteY13835"/>
              </a:cxn>
              <a:cxn ang="0">
                <a:pos x="connsiteX13836" y="connsiteY13836"/>
              </a:cxn>
              <a:cxn ang="0">
                <a:pos x="connsiteX13837" y="connsiteY13837"/>
              </a:cxn>
              <a:cxn ang="0">
                <a:pos x="connsiteX13838" y="connsiteY13838"/>
              </a:cxn>
              <a:cxn ang="0">
                <a:pos x="connsiteX13839" y="connsiteY13839"/>
              </a:cxn>
              <a:cxn ang="0">
                <a:pos x="connsiteX13840" y="connsiteY13840"/>
              </a:cxn>
              <a:cxn ang="0">
                <a:pos x="connsiteX13841" y="connsiteY13841"/>
              </a:cxn>
              <a:cxn ang="0">
                <a:pos x="connsiteX13842" y="connsiteY13842"/>
              </a:cxn>
              <a:cxn ang="0">
                <a:pos x="connsiteX13843" y="connsiteY13843"/>
              </a:cxn>
              <a:cxn ang="0">
                <a:pos x="connsiteX13844" y="connsiteY13844"/>
              </a:cxn>
              <a:cxn ang="0">
                <a:pos x="connsiteX13845" y="connsiteY13845"/>
              </a:cxn>
              <a:cxn ang="0">
                <a:pos x="connsiteX13846" y="connsiteY13846"/>
              </a:cxn>
              <a:cxn ang="0">
                <a:pos x="connsiteX13847" y="connsiteY13847"/>
              </a:cxn>
              <a:cxn ang="0">
                <a:pos x="connsiteX13848" y="connsiteY13848"/>
              </a:cxn>
              <a:cxn ang="0">
                <a:pos x="connsiteX13849" y="connsiteY13849"/>
              </a:cxn>
              <a:cxn ang="0">
                <a:pos x="connsiteX13850" y="connsiteY13850"/>
              </a:cxn>
              <a:cxn ang="0">
                <a:pos x="connsiteX13851" y="connsiteY13851"/>
              </a:cxn>
              <a:cxn ang="0">
                <a:pos x="connsiteX13852" y="connsiteY13852"/>
              </a:cxn>
              <a:cxn ang="0">
                <a:pos x="connsiteX13853" y="connsiteY13853"/>
              </a:cxn>
              <a:cxn ang="0">
                <a:pos x="connsiteX13854" y="connsiteY13854"/>
              </a:cxn>
              <a:cxn ang="0">
                <a:pos x="connsiteX13855" y="connsiteY13855"/>
              </a:cxn>
              <a:cxn ang="0">
                <a:pos x="connsiteX13856" y="connsiteY13856"/>
              </a:cxn>
              <a:cxn ang="0">
                <a:pos x="connsiteX13857" y="connsiteY13857"/>
              </a:cxn>
              <a:cxn ang="0">
                <a:pos x="connsiteX13858" y="connsiteY13858"/>
              </a:cxn>
              <a:cxn ang="0">
                <a:pos x="connsiteX13859" y="connsiteY13859"/>
              </a:cxn>
              <a:cxn ang="0">
                <a:pos x="connsiteX13860" y="connsiteY13860"/>
              </a:cxn>
              <a:cxn ang="0">
                <a:pos x="connsiteX13861" y="connsiteY13861"/>
              </a:cxn>
              <a:cxn ang="0">
                <a:pos x="connsiteX13862" y="connsiteY13862"/>
              </a:cxn>
              <a:cxn ang="0">
                <a:pos x="connsiteX13863" y="connsiteY13863"/>
              </a:cxn>
              <a:cxn ang="0">
                <a:pos x="connsiteX13864" y="connsiteY13864"/>
              </a:cxn>
              <a:cxn ang="0">
                <a:pos x="connsiteX13865" y="connsiteY13865"/>
              </a:cxn>
              <a:cxn ang="0">
                <a:pos x="connsiteX13866" y="connsiteY13866"/>
              </a:cxn>
              <a:cxn ang="0">
                <a:pos x="connsiteX13867" y="connsiteY13867"/>
              </a:cxn>
              <a:cxn ang="0">
                <a:pos x="connsiteX13868" y="connsiteY13868"/>
              </a:cxn>
              <a:cxn ang="0">
                <a:pos x="connsiteX13869" y="connsiteY13869"/>
              </a:cxn>
              <a:cxn ang="0">
                <a:pos x="connsiteX13870" y="connsiteY13870"/>
              </a:cxn>
              <a:cxn ang="0">
                <a:pos x="connsiteX13871" y="connsiteY13871"/>
              </a:cxn>
              <a:cxn ang="0">
                <a:pos x="connsiteX13872" y="connsiteY13872"/>
              </a:cxn>
              <a:cxn ang="0">
                <a:pos x="connsiteX13873" y="connsiteY13873"/>
              </a:cxn>
              <a:cxn ang="0">
                <a:pos x="connsiteX13874" y="connsiteY13874"/>
              </a:cxn>
              <a:cxn ang="0">
                <a:pos x="connsiteX13875" y="connsiteY13875"/>
              </a:cxn>
              <a:cxn ang="0">
                <a:pos x="connsiteX13876" y="connsiteY13876"/>
              </a:cxn>
              <a:cxn ang="0">
                <a:pos x="connsiteX13877" y="connsiteY13877"/>
              </a:cxn>
              <a:cxn ang="0">
                <a:pos x="connsiteX13878" y="connsiteY13878"/>
              </a:cxn>
              <a:cxn ang="0">
                <a:pos x="connsiteX13879" y="connsiteY13879"/>
              </a:cxn>
              <a:cxn ang="0">
                <a:pos x="connsiteX13880" y="connsiteY13880"/>
              </a:cxn>
              <a:cxn ang="0">
                <a:pos x="connsiteX13881" y="connsiteY13881"/>
              </a:cxn>
              <a:cxn ang="0">
                <a:pos x="connsiteX13882" y="connsiteY13882"/>
              </a:cxn>
              <a:cxn ang="0">
                <a:pos x="connsiteX13883" y="connsiteY13883"/>
              </a:cxn>
              <a:cxn ang="0">
                <a:pos x="connsiteX13884" y="connsiteY13884"/>
              </a:cxn>
              <a:cxn ang="0">
                <a:pos x="connsiteX13885" y="connsiteY13885"/>
              </a:cxn>
              <a:cxn ang="0">
                <a:pos x="connsiteX13886" y="connsiteY13886"/>
              </a:cxn>
              <a:cxn ang="0">
                <a:pos x="connsiteX13887" y="connsiteY13887"/>
              </a:cxn>
              <a:cxn ang="0">
                <a:pos x="connsiteX13888" y="connsiteY13888"/>
              </a:cxn>
              <a:cxn ang="0">
                <a:pos x="connsiteX13889" y="connsiteY13889"/>
              </a:cxn>
              <a:cxn ang="0">
                <a:pos x="connsiteX13890" y="connsiteY13890"/>
              </a:cxn>
              <a:cxn ang="0">
                <a:pos x="connsiteX13891" y="connsiteY13891"/>
              </a:cxn>
              <a:cxn ang="0">
                <a:pos x="connsiteX13892" y="connsiteY13892"/>
              </a:cxn>
              <a:cxn ang="0">
                <a:pos x="connsiteX13893" y="connsiteY13893"/>
              </a:cxn>
              <a:cxn ang="0">
                <a:pos x="connsiteX13894" y="connsiteY13894"/>
              </a:cxn>
              <a:cxn ang="0">
                <a:pos x="connsiteX13895" y="connsiteY13895"/>
              </a:cxn>
              <a:cxn ang="0">
                <a:pos x="connsiteX13896" y="connsiteY13896"/>
              </a:cxn>
              <a:cxn ang="0">
                <a:pos x="connsiteX13897" y="connsiteY13897"/>
              </a:cxn>
              <a:cxn ang="0">
                <a:pos x="connsiteX13898" y="connsiteY13898"/>
              </a:cxn>
              <a:cxn ang="0">
                <a:pos x="connsiteX13899" y="connsiteY13899"/>
              </a:cxn>
              <a:cxn ang="0">
                <a:pos x="connsiteX13900" y="connsiteY13900"/>
              </a:cxn>
              <a:cxn ang="0">
                <a:pos x="connsiteX13901" y="connsiteY13901"/>
              </a:cxn>
              <a:cxn ang="0">
                <a:pos x="connsiteX13902" y="connsiteY13902"/>
              </a:cxn>
              <a:cxn ang="0">
                <a:pos x="connsiteX13903" y="connsiteY13903"/>
              </a:cxn>
              <a:cxn ang="0">
                <a:pos x="connsiteX13904" y="connsiteY13904"/>
              </a:cxn>
              <a:cxn ang="0">
                <a:pos x="connsiteX13905" y="connsiteY13905"/>
              </a:cxn>
              <a:cxn ang="0">
                <a:pos x="connsiteX13906" y="connsiteY13906"/>
              </a:cxn>
              <a:cxn ang="0">
                <a:pos x="connsiteX13907" y="connsiteY13907"/>
              </a:cxn>
              <a:cxn ang="0">
                <a:pos x="connsiteX13908" y="connsiteY13908"/>
              </a:cxn>
              <a:cxn ang="0">
                <a:pos x="connsiteX13909" y="connsiteY13909"/>
              </a:cxn>
              <a:cxn ang="0">
                <a:pos x="connsiteX13910" y="connsiteY13910"/>
              </a:cxn>
              <a:cxn ang="0">
                <a:pos x="connsiteX13911" y="connsiteY13911"/>
              </a:cxn>
              <a:cxn ang="0">
                <a:pos x="connsiteX13912" y="connsiteY13912"/>
              </a:cxn>
              <a:cxn ang="0">
                <a:pos x="connsiteX13913" y="connsiteY13913"/>
              </a:cxn>
              <a:cxn ang="0">
                <a:pos x="connsiteX13914" y="connsiteY13914"/>
              </a:cxn>
              <a:cxn ang="0">
                <a:pos x="connsiteX13915" y="connsiteY13915"/>
              </a:cxn>
              <a:cxn ang="0">
                <a:pos x="connsiteX13916" y="connsiteY13916"/>
              </a:cxn>
              <a:cxn ang="0">
                <a:pos x="connsiteX13917" y="connsiteY13917"/>
              </a:cxn>
              <a:cxn ang="0">
                <a:pos x="connsiteX13918" y="connsiteY13918"/>
              </a:cxn>
              <a:cxn ang="0">
                <a:pos x="connsiteX13919" y="connsiteY13919"/>
              </a:cxn>
              <a:cxn ang="0">
                <a:pos x="connsiteX13920" y="connsiteY13920"/>
              </a:cxn>
              <a:cxn ang="0">
                <a:pos x="connsiteX13921" y="connsiteY13921"/>
              </a:cxn>
              <a:cxn ang="0">
                <a:pos x="connsiteX13922" y="connsiteY13922"/>
              </a:cxn>
              <a:cxn ang="0">
                <a:pos x="connsiteX13923" y="connsiteY13923"/>
              </a:cxn>
              <a:cxn ang="0">
                <a:pos x="connsiteX13924" y="connsiteY13924"/>
              </a:cxn>
              <a:cxn ang="0">
                <a:pos x="connsiteX13925" y="connsiteY13925"/>
              </a:cxn>
              <a:cxn ang="0">
                <a:pos x="connsiteX13926" y="connsiteY13926"/>
              </a:cxn>
              <a:cxn ang="0">
                <a:pos x="connsiteX13927" y="connsiteY13927"/>
              </a:cxn>
              <a:cxn ang="0">
                <a:pos x="connsiteX13928" y="connsiteY13928"/>
              </a:cxn>
              <a:cxn ang="0">
                <a:pos x="connsiteX13929" y="connsiteY13929"/>
              </a:cxn>
              <a:cxn ang="0">
                <a:pos x="connsiteX13930" y="connsiteY13930"/>
              </a:cxn>
              <a:cxn ang="0">
                <a:pos x="connsiteX13931" y="connsiteY13931"/>
              </a:cxn>
              <a:cxn ang="0">
                <a:pos x="connsiteX13932" y="connsiteY13932"/>
              </a:cxn>
              <a:cxn ang="0">
                <a:pos x="connsiteX13933" y="connsiteY13933"/>
              </a:cxn>
              <a:cxn ang="0">
                <a:pos x="connsiteX13934" y="connsiteY13934"/>
              </a:cxn>
              <a:cxn ang="0">
                <a:pos x="connsiteX13935" y="connsiteY13935"/>
              </a:cxn>
              <a:cxn ang="0">
                <a:pos x="connsiteX13936" y="connsiteY13936"/>
              </a:cxn>
              <a:cxn ang="0">
                <a:pos x="connsiteX13937" y="connsiteY13937"/>
              </a:cxn>
              <a:cxn ang="0">
                <a:pos x="connsiteX13938" y="connsiteY13938"/>
              </a:cxn>
              <a:cxn ang="0">
                <a:pos x="connsiteX13939" y="connsiteY13939"/>
              </a:cxn>
              <a:cxn ang="0">
                <a:pos x="connsiteX13940" y="connsiteY13940"/>
              </a:cxn>
              <a:cxn ang="0">
                <a:pos x="connsiteX13941" y="connsiteY13941"/>
              </a:cxn>
              <a:cxn ang="0">
                <a:pos x="connsiteX13942" y="connsiteY13942"/>
              </a:cxn>
              <a:cxn ang="0">
                <a:pos x="connsiteX13943" y="connsiteY13943"/>
              </a:cxn>
              <a:cxn ang="0">
                <a:pos x="connsiteX13944" y="connsiteY13944"/>
              </a:cxn>
              <a:cxn ang="0">
                <a:pos x="connsiteX13945" y="connsiteY13945"/>
              </a:cxn>
              <a:cxn ang="0">
                <a:pos x="connsiteX13946" y="connsiteY13946"/>
              </a:cxn>
              <a:cxn ang="0">
                <a:pos x="connsiteX13947" y="connsiteY13947"/>
              </a:cxn>
              <a:cxn ang="0">
                <a:pos x="connsiteX13948" y="connsiteY13948"/>
              </a:cxn>
              <a:cxn ang="0">
                <a:pos x="connsiteX13949" y="connsiteY13949"/>
              </a:cxn>
              <a:cxn ang="0">
                <a:pos x="connsiteX13950" y="connsiteY13950"/>
              </a:cxn>
              <a:cxn ang="0">
                <a:pos x="connsiteX13951" y="connsiteY13951"/>
              </a:cxn>
              <a:cxn ang="0">
                <a:pos x="connsiteX13952" y="connsiteY13952"/>
              </a:cxn>
              <a:cxn ang="0">
                <a:pos x="connsiteX13953" y="connsiteY13953"/>
              </a:cxn>
              <a:cxn ang="0">
                <a:pos x="connsiteX13954" y="connsiteY13954"/>
              </a:cxn>
              <a:cxn ang="0">
                <a:pos x="connsiteX13955" y="connsiteY13955"/>
              </a:cxn>
              <a:cxn ang="0">
                <a:pos x="connsiteX13956" y="connsiteY13956"/>
              </a:cxn>
              <a:cxn ang="0">
                <a:pos x="connsiteX13957" y="connsiteY13957"/>
              </a:cxn>
              <a:cxn ang="0">
                <a:pos x="connsiteX13958" y="connsiteY13958"/>
              </a:cxn>
              <a:cxn ang="0">
                <a:pos x="connsiteX13959" y="connsiteY13959"/>
              </a:cxn>
              <a:cxn ang="0">
                <a:pos x="connsiteX13960" y="connsiteY13960"/>
              </a:cxn>
              <a:cxn ang="0">
                <a:pos x="connsiteX13961" y="connsiteY13961"/>
              </a:cxn>
              <a:cxn ang="0">
                <a:pos x="connsiteX13962" y="connsiteY13962"/>
              </a:cxn>
              <a:cxn ang="0">
                <a:pos x="connsiteX13963" y="connsiteY13963"/>
              </a:cxn>
              <a:cxn ang="0">
                <a:pos x="connsiteX13964" y="connsiteY13964"/>
              </a:cxn>
              <a:cxn ang="0">
                <a:pos x="connsiteX13965" y="connsiteY13965"/>
              </a:cxn>
              <a:cxn ang="0">
                <a:pos x="connsiteX13966" y="connsiteY13966"/>
              </a:cxn>
              <a:cxn ang="0">
                <a:pos x="connsiteX13967" y="connsiteY13967"/>
              </a:cxn>
              <a:cxn ang="0">
                <a:pos x="connsiteX13968" y="connsiteY13968"/>
              </a:cxn>
              <a:cxn ang="0">
                <a:pos x="connsiteX13969" y="connsiteY13969"/>
              </a:cxn>
              <a:cxn ang="0">
                <a:pos x="connsiteX13970" y="connsiteY13970"/>
              </a:cxn>
              <a:cxn ang="0">
                <a:pos x="connsiteX13971" y="connsiteY13971"/>
              </a:cxn>
              <a:cxn ang="0">
                <a:pos x="connsiteX13972" y="connsiteY13972"/>
              </a:cxn>
              <a:cxn ang="0">
                <a:pos x="connsiteX13973" y="connsiteY13973"/>
              </a:cxn>
              <a:cxn ang="0">
                <a:pos x="connsiteX13974" y="connsiteY13974"/>
              </a:cxn>
              <a:cxn ang="0">
                <a:pos x="connsiteX13975" y="connsiteY13975"/>
              </a:cxn>
              <a:cxn ang="0">
                <a:pos x="connsiteX13976" y="connsiteY13976"/>
              </a:cxn>
              <a:cxn ang="0">
                <a:pos x="connsiteX13977" y="connsiteY13977"/>
              </a:cxn>
              <a:cxn ang="0">
                <a:pos x="connsiteX13978" y="connsiteY13978"/>
              </a:cxn>
              <a:cxn ang="0">
                <a:pos x="connsiteX13979" y="connsiteY13979"/>
              </a:cxn>
              <a:cxn ang="0">
                <a:pos x="connsiteX13980" y="connsiteY13980"/>
              </a:cxn>
              <a:cxn ang="0">
                <a:pos x="connsiteX13981" y="connsiteY13981"/>
              </a:cxn>
              <a:cxn ang="0">
                <a:pos x="connsiteX13982" y="connsiteY13982"/>
              </a:cxn>
              <a:cxn ang="0">
                <a:pos x="connsiteX13983" y="connsiteY13983"/>
              </a:cxn>
              <a:cxn ang="0">
                <a:pos x="connsiteX13984" y="connsiteY13984"/>
              </a:cxn>
              <a:cxn ang="0">
                <a:pos x="connsiteX13985" y="connsiteY13985"/>
              </a:cxn>
              <a:cxn ang="0">
                <a:pos x="connsiteX13986" y="connsiteY13986"/>
              </a:cxn>
              <a:cxn ang="0">
                <a:pos x="connsiteX13987" y="connsiteY13987"/>
              </a:cxn>
              <a:cxn ang="0">
                <a:pos x="connsiteX13988" y="connsiteY13988"/>
              </a:cxn>
              <a:cxn ang="0">
                <a:pos x="connsiteX13989" y="connsiteY13989"/>
              </a:cxn>
              <a:cxn ang="0">
                <a:pos x="connsiteX13990" y="connsiteY13990"/>
              </a:cxn>
              <a:cxn ang="0">
                <a:pos x="connsiteX13991" y="connsiteY13991"/>
              </a:cxn>
              <a:cxn ang="0">
                <a:pos x="connsiteX13992" y="connsiteY13992"/>
              </a:cxn>
              <a:cxn ang="0">
                <a:pos x="connsiteX13993" y="connsiteY13993"/>
              </a:cxn>
              <a:cxn ang="0">
                <a:pos x="connsiteX13994" y="connsiteY13994"/>
              </a:cxn>
              <a:cxn ang="0">
                <a:pos x="connsiteX13995" y="connsiteY13995"/>
              </a:cxn>
              <a:cxn ang="0">
                <a:pos x="connsiteX13996" y="connsiteY13996"/>
              </a:cxn>
              <a:cxn ang="0">
                <a:pos x="connsiteX13997" y="connsiteY13997"/>
              </a:cxn>
              <a:cxn ang="0">
                <a:pos x="connsiteX13998" y="connsiteY13998"/>
              </a:cxn>
              <a:cxn ang="0">
                <a:pos x="connsiteX13999" y="connsiteY13999"/>
              </a:cxn>
              <a:cxn ang="0">
                <a:pos x="connsiteX14000" y="connsiteY14000"/>
              </a:cxn>
              <a:cxn ang="0">
                <a:pos x="connsiteX14001" y="connsiteY14001"/>
              </a:cxn>
              <a:cxn ang="0">
                <a:pos x="connsiteX14002" y="connsiteY14002"/>
              </a:cxn>
              <a:cxn ang="0">
                <a:pos x="connsiteX14003" y="connsiteY14003"/>
              </a:cxn>
              <a:cxn ang="0">
                <a:pos x="connsiteX14004" y="connsiteY14004"/>
              </a:cxn>
              <a:cxn ang="0">
                <a:pos x="connsiteX14005" y="connsiteY14005"/>
              </a:cxn>
              <a:cxn ang="0">
                <a:pos x="connsiteX14006" y="connsiteY14006"/>
              </a:cxn>
              <a:cxn ang="0">
                <a:pos x="connsiteX14007" y="connsiteY14007"/>
              </a:cxn>
              <a:cxn ang="0">
                <a:pos x="connsiteX14008" y="connsiteY14008"/>
              </a:cxn>
              <a:cxn ang="0">
                <a:pos x="connsiteX14009" y="connsiteY14009"/>
              </a:cxn>
              <a:cxn ang="0">
                <a:pos x="connsiteX14010" y="connsiteY14010"/>
              </a:cxn>
              <a:cxn ang="0">
                <a:pos x="connsiteX14011" y="connsiteY14011"/>
              </a:cxn>
              <a:cxn ang="0">
                <a:pos x="connsiteX14012" y="connsiteY14012"/>
              </a:cxn>
              <a:cxn ang="0">
                <a:pos x="connsiteX14013" y="connsiteY14013"/>
              </a:cxn>
              <a:cxn ang="0">
                <a:pos x="connsiteX14014" y="connsiteY14014"/>
              </a:cxn>
              <a:cxn ang="0">
                <a:pos x="connsiteX14015" y="connsiteY14015"/>
              </a:cxn>
              <a:cxn ang="0">
                <a:pos x="connsiteX14016" y="connsiteY14016"/>
              </a:cxn>
              <a:cxn ang="0">
                <a:pos x="connsiteX14017" y="connsiteY14017"/>
              </a:cxn>
              <a:cxn ang="0">
                <a:pos x="connsiteX14018" y="connsiteY14018"/>
              </a:cxn>
              <a:cxn ang="0">
                <a:pos x="connsiteX14019" y="connsiteY14019"/>
              </a:cxn>
              <a:cxn ang="0">
                <a:pos x="connsiteX14020" y="connsiteY14020"/>
              </a:cxn>
              <a:cxn ang="0">
                <a:pos x="connsiteX14021" y="connsiteY14021"/>
              </a:cxn>
              <a:cxn ang="0">
                <a:pos x="connsiteX14022" y="connsiteY14022"/>
              </a:cxn>
              <a:cxn ang="0">
                <a:pos x="connsiteX14023" y="connsiteY14023"/>
              </a:cxn>
              <a:cxn ang="0">
                <a:pos x="connsiteX14024" y="connsiteY14024"/>
              </a:cxn>
              <a:cxn ang="0">
                <a:pos x="connsiteX14025" y="connsiteY14025"/>
              </a:cxn>
              <a:cxn ang="0">
                <a:pos x="connsiteX14026" y="connsiteY14026"/>
              </a:cxn>
              <a:cxn ang="0">
                <a:pos x="connsiteX14027" y="connsiteY14027"/>
              </a:cxn>
              <a:cxn ang="0">
                <a:pos x="connsiteX14028" y="connsiteY14028"/>
              </a:cxn>
              <a:cxn ang="0">
                <a:pos x="connsiteX14029" y="connsiteY14029"/>
              </a:cxn>
              <a:cxn ang="0">
                <a:pos x="connsiteX14030" y="connsiteY14030"/>
              </a:cxn>
              <a:cxn ang="0">
                <a:pos x="connsiteX14031" y="connsiteY14031"/>
              </a:cxn>
              <a:cxn ang="0">
                <a:pos x="connsiteX14032" y="connsiteY14032"/>
              </a:cxn>
              <a:cxn ang="0">
                <a:pos x="connsiteX14033" y="connsiteY14033"/>
              </a:cxn>
              <a:cxn ang="0">
                <a:pos x="connsiteX14034" y="connsiteY14034"/>
              </a:cxn>
              <a:cxn ang="0">
                <a:pos x="connsiteX14035" y="connsiteY14035"/>
              </a:cxn>
              <a:cxn ang="0">
                <a:pos x="connsiteX14036" y="connsiteY14036"/>
              </a:cxn>
              <a:cxn ang="0">
                <a:pos x="connsiteX14037" y="connsiteY14037"/>
              </a:cxn>
              <a:cxn ang="0">
                <a:pos x="connsiteX14038" y="connsiteY14038"/>
              </a:cxn>
              <a:cxn ang="0">
                <a:pos x="connsiteX14039" y="connsiteY14039"/>
              </a:cxn>
              <a:cxn ang="0">
                <a:pos x="connsiteX14040" y="connsiteY14040"/>
              </a:cxn>
              <a:cxn ang="0">
                <a:pos x="connsiteX14041" y="connsiteY14041"/>
              </a:cxn>
              <a:cxn ang="0">
                <a:pos x="connsiteX14042" y="connsiteY14042"/>
              </a:cxn>
              <a:cxn ang="0">
                <a:pos x="connsiteX14043" y="connsiteY14043"/>
              </a:cxn>
              <a:cxn ang="0">
                <a:pos x="connsiteX14044" y="connsiteY14044"/>
              </a:cxn>
              <a:cxn ang="0">
                <a:pos x="connsiteX14045" y="connsiteY14045"/>
              </a:cxn>
              <a:cxn ang="0">
                <a:pos x="connsiteX14046" y="connsiteY14046"/>
              </a:cxn>
              <a:cxn ang="0">
                <a:pos x="connsiteX14047" y="connsiteY14047"/>
              </a:cxn>
              <a:cxn ang="0">
                <a:pos x="connsiteX14048" y="connsiteY14048"/>
              </a:cxn>
              <a:cxn ang="0">
                <a:pos x="connsiteX14049" y="connsiteY14049"/>
              </a:cxn>
              <a:cxn ang="0">
                <a:pos x="connsiteX14050" y="connsiteY14050"/>
              </a:cxn>
              <a:cxn ang="0">
                <a:pos x="connsiteX14051" y="connsiteY14051"/>
              </a:cxn>
              <a:cxn ang="0">
                <a:pos x="connsiteX14052" y="connsiteY14052"/>
              </a:cxn>
              <a:cxn ang="0">
                <a:pos x="connsiteX14053" y="connsiteY14053"/>
              </a:cxn>
              <a:cxn ang="0">
                <a:pos x="connsiteX14054" y="connsiteY14054"/>
              </a:cxn>
              <a:cxn ang="0">
                <a:pos x="connsiteX14055" y="connsiteY14055"/>
              </a:cxn>
              <a:cxn ang="0">
                <a:pos x="connsiteX14056" y="connsiteY14056"/>
              </a:cxn>
              <a:cxn ang="0">
                <a:pos x="connsiteX14057" y="connsiteY14057"/>
              </a:cxn>
              <a:cxn ang="0">
                <a:pos x="connsiteX14058" y="connsiteY14058"/>
              </a:cxn>
              <a:cxn ang="0">
                <a:pos x="connsiteX14059" y="connsiteY14059"/>
              </a:cxn>
              <a:cxn ang="0">
                <a:pos x="connsiteX14060" y="connsiteY14060"/>
              </a:cxn>
              <a:cxn ang="0">
                <a:pos x="connsiteX14061" y="connsiteY14061"/>
              </a:cxn>
              <a:cxn ang="0">
                <a:pos x="connsiteX14062" y="connsiteY14062"/>
              </a:cxn>
              <a:cxn ang="0">
                <a:pos x="connsiteX14063" y="connsiteY14063"/>
              </a:cxn>
              <a:cxn ang="0">
                <a:pos x="connsiteX14064" y="connsiteY14064"/>
              </a:cxn>
              <a:cxn ang="0">
                <a:pos x="connsiteX14065" y="connsiteY14065"/>
              </a:cxn>
              <a:cxn ang="0">
                <a:pos x="connsiteX14066" y="connsiteY14066"/>
              </a:cxn>
              <a:cxn ang="0">
                <a:pos x="connsiteX14067" y="connsiteY14067"/>
              </a:cxn>
              <a:cxn ang="0">
                <a:pos x="connsiteX14068" y="connsiteY14068"/>
              </a:cxn>
              <a:cxn ang="0">
                <a:pos x="connsiteX14069" y="connsiteY14069"/>
              </a:cxn>
              <a:cxn ang="0">
                <a:pos x="connsiteX14070" y="connsiteY14070"/>
              </a:cxn>
              <a:cxn ang="0">
                <a:pos x="connsiteX14071" y="connsiteY14071"/>
              </a:cxn>
              <a:cxn ang="0">
                <a:pos x="connsiteX14072" y="connsiteY14072"/>
              </a:cxn>
              <a:cxn ang="0">
                <a:pos x="connsiteX14073" y="connsiteY14073"/>
              </a:cxn>
              <a:cxn ang="0">
                <a:pos x="connsiteX14074" y="connsiteY14074"/>
              </a:cxn>
              <a:cxn ang="0">
                <a:pos x="connsiteX14075" y="connsiteY14075"/>
              </a:cxn>
              <a:cxn ang="0">
                <a:pos x="connsiteX14076" y="connsiteY14076"/>
              </a:cxn>
              <a:cxn ang="0">
                <a:pos x="connsiteX14077" y="connsiteY14077"/>
              </a:cxn>
              <a:cxn ang="0">
                <a:pos x="connsiteX14078" y="connsiteY14078"/>
              </a:cxn>
              <a:cxn ang="0">
                <a:pos x="connsiteX14079" y="connsiteY14079"/>
              </a:cxn>
              <a:cxn ang="0">
                <a:pos x="connsiteX14080" y="connsiteY14080"/>
              </a:cxn>
              <a:cxn ang="0">
                <a:pos x="connsiteX14081" y="connsiteY14081"/>
              </a:cxn>
              <a:cxn ang="0">
                <a:pos x="connsiteX14082" y="connsiteY14082"/>
              </a:cxn>
              <a:cxn ang="0">
                <a:pos x="connsiteX14083" y="connsiteY14083"/>
              </a:cxn>
              <a:cxn ang="0">
                <a:pos x="connsiteX14084" y="connsiteY14084"/>
              </a:cxn>
              <a:cxn ang="0">
                <a:pos x="connsiteX14085" y="connsiteY14085"/>
              </a:cxn>
              <a:cxn ang="0">
                <a:pos x="connsiteX14086" y="connsiteY14086"/>
              </a:cxn>
              <a:cxn ang="0">
                <a:pos x="connsiteX14087" y="connsiteY14087"/>
              </a:cxn>
              <a:cxn ang="0">
                <a:pos x="connsiteX14088" y="connsiteY14088"/>
              </a:cxn>
              <a:cxn ang="0">
                <a:pos x="connsiteX14089" y="connsiteY14089"/>
              </a:cxn>
              <a:cxn ang="0">
                <a:pos x="connsiteX14090" y="connsiteY14090"/>
              </a:cxn>
              <a:cxn ang="0">
                <a:pos x="connsiteX14091" y="connsiteY14091"/>
              </a:cxn>
              <a:cxn ang="0">
                <a:pos x="connsiteX14092" y="connsiteY14092"/>
              </a:cxn>
              <a:cxn ang="0">
                <a:pos x="connsiteX14093" y="connsiteY14093"/>
              </a:cxn>
              <a:cxn ang="0">
                <a:pos x="connsiteX14094" y="connsiteY14094"/>
              </a:cxn>
              <a:cxn ang="0">
                <a:pos x="connsiteX14095" y="connsiteY14095"/>
              </a:cxn>
              <a:cxn ang="0">
                <a:pos x="connsiteX14096" y="connsiteY14096"/>
              </a:cxn>
              <a:cxn ang="0">
                <a:pos x="connsiteX14097" y="connsiteY14097"/>
              </a:cxn>
              <a:cxn ang="0">
                <a:pos x="connsiteX14098" y="connsiteY14098"/>
              </a:cxn>
              <a:cxn ang="0">
                <a:pos x="connsiteX14099" y="connsiteY14099"/>
              </a:cxn>
              <a:cxn ang="0">
                <a:pos x="connsiteX14100" y="connsiteY14100"/>
              </a:cxn>
              <a:cxn ang="0">
                <a:pos x="connsiteX14101" y="connsiteY14101"/>
              </a:cxn>
              <a:cxn ang="0">
                <a:pos x="connsiteX14102" y="connsiteY14102"/>
              </a:cxn>
              <a:cxn ang="0">
                <a:pos x="connsiteX14103" y="connsiteY14103"/>
              </a:cxn>
              <a:cxn ang="0">
                <a:pos x="connsiteX14104" y="connsiteY14104"/>
              </a:cxn>
              <a:cxn ang="0">
                <a:pos x="connsiteX14105" y="connsiteY14105"/>
              </a:cxn>
              <a:cxn ang="0">
                <a:pos x="connsiteX14106" y="connsiteY14106"/>
              </a:cxn>
              <a:cxn ang="0">
                <a:pos x="connsiteX14107" y="connsiteY14107"/>
              </a:cxn>
              <a:cxn ang="0">
                <a:pos x="connsiteX14108" y="connsiteY14108"/>
              </a:cxn>
              <a:cxn ang="0">
                <a:pos x="connsiteX14109" y="connsiteY14109"/>
              </a:cxn>
              <a:cxn ang="0">
                <a:pos x="connsiteX14110" y="connsiteY14110"/>
              </a:cxn>
              <a:cxn ang="0">
                <a:pos x="connsiteX14111" y="connsiteY14111"/>
              </a:cxn>
              <a:cxn ang="0">
                <a:pos x="connsiteX14112" y="connsiteY14112"/>
              </a:cxn>
              <a:cxn ang="0">
                <a:pos x="connsiteX14113" y="connsiteY14113"/>
              </a:cxn>
              <a:cxn ang="0">
                <a:pos x="connsiteX14114" y="connsiteY14114"/>
              </a:cxn>
              <a:cxn ang="0">
                <a:pos x="connsiteX14115" y="connsiteY14115"/>
              </a:cxn>
              <a:cxn ang="0">
                <a:pos x="connsiteX14116" y="connsiteY14116"/>
              </a:cxn>
              <a:cxn ang="0">
                <a:pos x="connsiteX14117" y="connsiteY14117"/>
              </a:cxn>
              <a:cxn ang="0">
                <a:pos x="connsiteX14118" y="connsiteY14118"/>
              </a:cxn>
              <a:cxn ang="0">
                <a:pos x="connsiteX14119" y="connsiteY14119"/>
              </a:cxn>
              <a:cxn ang="0">
                <a:pos x="connsiteX14120" y="connsiteY14120"/>
              </a:cxn>
              <a:cxn ang="0">
                <a:pos x="connsiteX14121" y="connsiteY14121"/>
              </a:cxn>
              <a:cxn ang="0">
                <a:pos x="connsiteX14122" y="connsiteY14122"/>
              </a:cxn>
              <a:cxn ang="0">
                <a:pos x="connsiteX14123" y="connsiteY14123"/>
              </a:cxn>
              <a:cxn ang="0">
                <a:pos x="connsiteX14124" y="connsiteY14124"/>
              </a:cxn>
              <a:cxn ang="0">
                <a:pos x="connsiteX14125" y="connsiteY14125"/>
              </a:cxn>
              <a:cxn ang="0">
                <a:pos x="connsiteX14126" y="connsiteY14126"/>
              </a:cxn>
              <a:cxn ang="0">
                <a:pos x="connsiteX14127" y="connsiteY14127"/>
              </a:cxn>
              <a:cxn ang="0">
                <a:pos x="connsiteX14128" y="connsiteY14128"/>
              </a:cxn>
              <a:cxn ang="0">
                <a:pos x="connsiteX14129" y="connsiteY14129"/>
              </a:cxn>
              <a:cxn ang="0">
                <a:pos x="connsiteX14130" y="connsiteY14130"/>
              </a:cxn>
              <a:cxn ang="0">
                <a:pos x="connsiteX14131" y="connsiteY14131"/>
              </a:cxn>
              <a:cxn ang="0">
                <a:pos x="connsiteX14132" y="connsiteY14132"/>
              </a:cxn>
              <a:cxn ang="0">
                <a:pos x="connsiteX14133" y="connsiteY14133"/>
              </a:cxn>
              <a:cxn ang="0">
                <a:pos x="connsiteX14134" y="connsiteY14134"/>
              </a:cxn>
              <a:cxn ang="0">
                <a:pos x="connsiteX14135" y="connsiteY14135"/>
              </a:cxn>
              <a:cxn ang="0">
                <a:pos x="connsiteX14136" y="connsiteY14136"/>
              </a:cxn>
              <a:cxn ang="0">
                <a:pos x="connsiteX14137" y="connsiteY14137"/>
              </a:cxn>
              <a:cxn ang="0">
                <a:pos x="connsiteX14138" y="connsiteY14138"/>
              </a:cxn>
              <a:cxn ang="0">
                <a:pos x="connsiteX14139" y="connsiteY14139"/>
              </a:cxn>
              <a:cxn ang="0">
                <a:pos x="connsiteX14140" y="connsiteY14140"/>
              </a:cxn>
              <a:cxn ang="0">
                <a:pos x="connsiteX14141" y="connsiteY14141"/>
              </a:cxn>
              <a:cxn ang="0">
                <a:pos x="connsiteX14142" y="connsiteY14142"/>
              </a:cxn>
              <a:cxn ang="0">
                <a:pos x="connsiteX14143" y="connsiteY14143"/>
              </a:cxn>
              <a:cxn ang="0">
                <a:pos x="connsiteX14144" y="connsiteY14144"/>
              </a:cxn>
              <a:cxn ang="0">
                <a:pos x="connsiteX14145" y="connsiteY14145"/>
              </a:cxn>
              <a:cxn ang="0">
                <a:pos x="connsiteX14146" y="connsiteY14146"/>
              </a:cxn>
              <a:cxn ang="0">
                <a:pos x="connsiteX14147" y="connsiteY14147"/>
              </a:cxn>
              <a:cxn ang="0">
                <a:pos x="connsiteX14148" y="connsiteY14148"/>
              </a:cxn>
              <a:cxn ang="0">
                <a:pos x="connsiteX14149" y="connsiteY14149"/>
              </a:cxn>
              <a:cxn ang="0">
                <a:pos x="connsiteX14150" y="connsiteY14150"/>
              </a:cxn>
              <a:cxn ang="0">
                <a:pos x="connsiteX14151" y="connsiteY14151"/>
              </a:cxn>
              <a:cxn ang="0">
                <a:pos x="connsiteX14152" y="connsiteY14152"/>
              </a:cxn>
              <a:cxn ang="0">
                <a:pos x="connsiteX14153" y="connsiteY14153"/>
              </a:cxn>
              <a:cxn ang="0">
                <a:pos x="connsiteX14154" y="connsiteY14154"/>
              </a:cxn>
              <a:cxn ang="0">
                <a:pos x="connsiteX14155" y="connsiteY14155"/>
              </a:cxn>
              <a:cxn ang="0">
                <a:pos x="connsiteX14156" y="connsiteY14156"/>
              </a:cxn>
              <a:cxn ang="0">
                <a:pos x="connsiteX14157" y="connsiteY14157"/>
              </a:cxn>
              <a:cxn ang="0">
                <a:pos x="connsiteX14158" y="connsiteY14158"/>
              </a:cxn>
              <a:cxn ang="0">
                <a:pos x="connsiteX14159" y="connsiteY14159"/>
              </a:cxn>
              <a:cxn ang="0">
                <a:pos x="connsiteX14160" y="connsiteY14160"/>
              </a:cxn>
              <a:cxn ang="0">
                <a:pos x="connsiteX14161" y="connsiteY14161"/>
              </a:cxn>
              <a:cxn ang="0">
                <a:pos x="connsiteX14162" y="connsiteY14162"/>
              </a:cxn>
              <a:cxn ang="0">
                <a:pos x="connsiteX14163" y="connsiteY14163"/>
              </a:cxn>
              <a:cxn ang="0">
                <a:pos x="connsiteX14164" y="connsiteY14164"/>
              </a:cxn>
              <a:cxn ang="0">
                <a:pos x="connsiteX14165" y="connsiteY14165"/>
              </a:cxn>
              <a:cxn ang="0">
                <a:pos x="connsiteX14166" y="connsiteY14166"/>
              </a:cxn>
              <a:cxn ang="0">
                <a:pos x="connsiteX14167" y="connsiteY14167"/>
              </a:cxn>
              <a:cxn ang="0">
                <a:pos x="connsiteX14168" y="connsiteY14168"/>
              </a:cxn>
              <a:cxn ang="0">
                <a:pos x="connsiteX14169" y="connsiteY14169"/>
              </a:cxn>
              <a:cxn ang="0">
                <a:pos x="connsiteX14170" y="connsiteY14170"/>
              </a:cxn>
              <a:cxn ang="0">
                <a:pos x="connsiteX14171" y="connsiteY14171"/>
              </a:cxn>
              <a:cxn ang="0">
                <a:pos x="connsiteX14172" y="connsiteY14172"/>
              </a:cxn>
              <a:cxn ang="0">
                <a:pos x="connsiteX14173" y="connsiteY14173"/>
              </a:cxn>
              <a:cxn ang="0">
                <a:pos x="connsiteX14174" y="connsiteY14174"/>
              </a:cxn>
              <a:cxn ang="0">
                <a:pos x="connsiteX14175" y="connsiteY14175"/>
              </a:cxn>
              <a:cxn ang="0">
                <a:pos x="connsiteX14176" y="connsiteY14176"/>
              </a:cxn>
              <a:cxn ang="0">
                <a:pos x="connsiteX14177" y="connsiteY14177"/>
              </a:cxn>
              <a:cxn ang="0">
                <a:pos x="connsiteX14178" y="connsiteY14178"/>
              </a:cxn>
              <a:cxn ang="0">
                <a:pos x="connsiteX14179" y="connsiteY14179"/>
              </a:cxn>
              <a:cxn ang="0">
                <a:pos x="connsiteX14180" y="connsiteY14180"/>
              </a:cxn>
              <a:cxn ang="0">
                <a:pos x="connsiteX14181" y="connsiteY14181"/>
              </a:cxn>
              <a:cxn ang="0">
                <a:pos x="connsiteX14182" y="connsiteY14182"/>
              </a:cxn>
              <a:cxn ang="0">
                <a:pos x="connsiteX14183" y="connsiteY14183"/>
              </a:cxn>
              <a:cxn ang="0">
                <a:pos x="connsiteX14184" y="connsiteY14184"/>
              </a:cxn>
              <a:cxn ang="0">
                <a:pos x="connsiteX14185" y="connsiteY14185"/>
              </a:cxn>
              <a:cxn ang="0">
                <a:pos x="connsiteX14186" y="connsiteY14186"/>
              </a:cxn>
              <a:cxn ang="0">
                <a:pos x="connsiteX14187" y="connsiteY14187"/>
              </a:cxn>
              <a:cxn ang="0">
                <a:pos x="connsiteX14188" y="connsiteY14188"/>
              </a:cxn>
              <a:cxn ang="0">
                <a:pos x="connsiteX14189" y="connsiteY14189"/>
              </a:cxn>
              <a:cxn ang="0">
                <a:pos x="connsiteX14190" y="connsiteY14190"/>
              </a:cxn>
              <a:cxn ang="0">
                <a:pos x="connsiteX14191" y="connsiteY14191"/>
              </a:cxn>
              <a:cxn ang="0">
                <a:pos x="connsiteX14192" y="connsiteY14192"/>
              </a:cxn>
              <a:cxn ang="0">
                <a:pos x="connsiteX14193" y="connsiteY14193"/>
              </a:cxn>
              <a:cxn ang="0">
                <a:pos x="connsiteX14194" y="connsiteY14194"/>
              </a:cxn>
              <a:cxn ang="0">
                <a:pos x="connsiteX14195" y="connsiteY14195"/>
              </a:cxn>
              <a:cxn ang="0">
                <a:pos x="connsiteX14196" y="connsiteY14196"/>
              </a:cxn>
              <a:cxn ang="0">
                <a:pos x="connsiteX14197" y="connsiteY14197"/>
              </a:cxn>
              <a:cxn ang="0">
                <a:pos x="connsiteX14198" y="connsiteY14198"/>
              </a:cxn>
              <a:cxn ang="0">
                <a:pos x="connsiteX14199" y="connsiteY14199"/>
              </a:cxn>
              <a:cxn ang="0">
                <a:pos x="connsiteX14200" y="connsiteY14200"/>
              </a:cxn>
              <a:cxn ang="0">
                <a:pos x="connsiteX14201" y="connsiteY14201"/>
              </a:cxn>
              <a:cxn ang="0">
                <a:pos x="connsiteX14202" y="connsiteY14202"/>
              </a:cxn>
              <a:cxn ang="0">
                <a:pos x="connsiteX14203" y="connsiteY14203"/>
              </a:cxn>
              <a:cxn ang="0">
                <a:pos x="connsiteX14204" y="connsiteY14204"/>
              </a:cxn>
              <a:cxn ang="0">
                <a:pos x="connsiteX14205" y="connsiteY14205"/>
              </a:cxn>
              <a:cxn ang="0">
                <a:pos x="connsiteX14206" y="connsiteY14206"/>
              </a:cxn>
              <a:cxn ang="0">
                <a:pos x="connsiteX14207" y="connsiteY14207"/>
              </a:cxn>
              <a:cxn ang="0">
                <a:pos x="connsiteX14208" y="connsiteY14208"/>
              </a:cxn>
              <a:cxn ang="0">
                <a:pos x="connsiteX14209" y="connsiteY14209"/>
              </a:cxn>
              <a:cxn ang="0">
                <a:pos x="connsiteX14210" y="connsiteY14210"/>
              </a:cxn>
              <a:cxn ang="0">
                <a:pos x="connsiteX14211" y="connsiteY14211"/>
              </a:cxn>
              <a:cxn ang="0">
                <a:pos x="connsiteX14212" y="connsiteY14212"/>
              </a:cxn>
              <a:cxn ang="0">
                <a:pos x="connsiteX14213" y="connsiteY14213"/>
              </a:cxn>
              <a:cxn ang="0">
                <a:pos x="connsiteX14214" y="connsiteY14214"/>
              </a:cxn>
              <a:cxn ang="0">
                <a:pos x="connsiteX14215" y="connsiteY14215"/>
              </a:cxn>
              <a:cxn ang="0">
                <a:pos x="connsiteX14216" y="connsiteY14216"/>
              </a:cxn>
              <a:cxn ang="0">
                <a:pos x="connsiteX14217" y="connsiteY14217"/>
              </a:cxn>
              <a:cxn ang="0">
                <a:pos x="connsiteX14218" y="connsiteY14218"/>
              </a:cxn>
              <a:cxn ang="0">
                <a:pos x="connsiteX14219" y="connsiteY14219"/>
              </a:cxn>
              <a:cxn ang="0">
                <a:pos x="connsiteX14220" y="connsiteY14220"/>
              </a:cxn>
              <a:cxn ang="0">
                <a:pos x="connsiteX14221" y="connsiteY14221"/>
              </a:cxn>
              <a:cxn ang="0">
                <a:pos x="connsiteX14222" y="connsiteY14222"/>
              </a:cxn>
              <a:cxn ang="0">
                <a:pos x="connsiteX14223" y="connsiteY14223"/>
              </a:cxn>
              <a:cxn ang="0">
                <a:pos x="connsiteX14224" y="connsiteY14224"/>
              </a:cxn>
              <a:cxn ang="0">
                <a:pos x="connsiteX14225" y="connsiteY14225"/>
              </a:cxn>
              <a:cxn ang="0">
                <a:pos x="connsiteX14226" y="connsiteY14226"/>
              </a:cxn>
              <a:cxn ang="0">
                <a:pos x="connsiteX14227" y="connsiteY14227"/>
              </a:cxn>
              <a:cxn ang="0">
                <a:pos x="connsiteX14228" y="connsiteY14228"/>
              </a:cxn>
              <a:cxn ang="0">
                <a:pos x="connsiteX14229" y="connsiteY14229"/>
              </a:cxn>
              <a:cxn ang="0">
                <a:pos x="connsiteX14230" y="connsiteY14230"/>
              </a:cxn>
              <a:cxn ang="0">
                <a:pos x="connsiteX14231" y="connsiteY14231"/>
              </a:cxn>
              <a:cxn ang="0">
                <a:pos x="connsiteX14232" y="connsiteY14232"/>
              </a:cxn>
              <a:cxn ang="0">
                <a:pos x="connsiteX14233" y="connsiteY14233"/>
              </a:cxn>
              <a:cxn ang="0">
                <a:pos x="connsiteX14234" y="connsiteY14234"/>
              </a:cxn>
              <a:cxn ang="0">
                <a:pos x="connsiteX14235" y="connsiteY14235"/>
              </a:cxn>
              <a:cxn ang="0">
                <a:pos x="connsiteX14236" y="connsiteY14236"/>
              </a:cxn>
              <a:cxn ang="0">
                <a:pos x="connsiteX14237" y="connsiteY14237"/>
              </a:cxn>
              <a:cxn ang="0">
                <a:pos x="connsiteX14238" y="connsiteY14238"/>
              </a:cxn>
              <a:cxn ang="0">
                <a:pos x="connsiteX14239" y="connsiteY14239"/>
              </a:cxn>
              <a:cxn ang="0">
                <a:pos x="connsiteX14240" y="connsiteY14240"/>
              </a:cxn>
              <a:cxn ang="0">
                <a:pos x="connsiteX14241" y="connsiteY14241"/>
              </a:cxn>
              <a:cxn ang="0">
                <a:pos x="connsiteX14242" y="connsiteY14242"/>
              </a:cxn>
              <a:cxn ang="0">
                <a:pos x="connsiteX14243" y="connsiteY14243"/>
              </a:cxn>
              <a:cxn ang="0">
                <a:pos x="connsiteX14244" y="connsiteY14244"/>
              </a:cxn>
              <a:cxn ang="0">
                <a:pos x="connsiteX14245" y="connsiteY14245"/>
              </a:cxn>
              <a:cxn ang="0">
                <a:pos x="connsiteX14246" y="connsiteY14246"/>
              </a:cxn>
              <a:cxn ang="0">
                <a:pos x="connsiteX14247" y="connsiteY14247"/>
              </a:cxn>
              <a:cxn ang="0">
                <a:pos x="connsiteX14248" y="connsiteY14248"/>
              </a:cxn>
              <a:cxn ang="0">
                <a:pos x="connsiteX14249" y="connsiteY14249"/>
              </a:cxn>
              <a:cxn ang="0">
                <a:pos x="connsiteX14250" y="connsiteY14250"/>
              </a:cxn>
              <a:cxn ang="0">
                <a:pos x="connsiteX14251" y="connsiteY14251"/>
              </a:cxn>
              <a:cxn ang="0">
                <a:pos x="connsiteX14252" y="connsiteY14252"/>
              </a:cxn>
              <a:cxn ang="0">
                <a:pos x="connsiteX14253" y="connsiteY14253"/>
              </a:cxn>
              <a:cxn ang="0">
                <a:pos x="connsiteX14254" y="connsiteY14254"/>
              </a:cxn>
              <a:cxn ang="0">
                <a:pos x="connsiteX14255" y="connsiteY14255"/>
              </a:cxn>
              <a:cxn ang="0">
                <a:pos x="connsiteX14256" y="connsiteY14256"/>
              </a:cxn>
              <a:cxn ang="0">
                <a:pos x="connsiteX14257" y="connsiteY14257"/>
              </a:cxn>
              <a:cxn ang="0">
                <a:pos x="connsiteX14258" y="connsiteY14258"/>
              </a:cxn>
              <a:cxn ang="0">
                <a:pos x="connsiteX14259" y="connsiteY14259"/>
              </a:cxn>
              <a:cxn ang="0">
                <a:pos x="connsiteX14260" y="connsiteY14260"/>
              </a:cxn>
              <a:cxn ang="0">
                <a:pos x="connsiteX14261" y="connsiteY14261"/>
              </a:cxn>
              <a:cxn ang="0">
                <a:pos x="connsiteX14262" y="connsiteY14262"/>
              </a:cxn>
              <a:cxn ang="0">
                <a:pos x="connsiteX14263" y="connsiteY14263"/>
              </a:cxn>
              <a:cxn ang="0">
                <a:pos x="connsiteX14264" y="connsiteY14264"/>
              </a:cxn>
              <a:cxn ang="0">
                <a:pos x="connsiteX14265" y="connsiteY14265"/>
              </a:cxn>
              <a:cxn ang="0">
                <a:pos x="connsiteX14266" y="connsiteY14266"/>
              </a:cxn>
              <a:cxn ang="0">
                <a:pos x="connsiteX14267" y="connsiteY14267"/>
              </a:cxn>
              <a:cxn ang="0">
                <a:pos x="connsiteX14268" y="connsiteY14268"/>
              </a:cxn>
              <a:cxn ang="0">
                <a:pos x="connsiteX14269" y="connsiteY14269"/>
              </a:cxn>
              <a:cxn ang="0">
                <a:pos x="connsiteX14270" y="connsiteY14270"/>
              </a:cxn>
              <a:cxn ang="0">
                <a:pos x="connsiteX14271" y="connsiteY14271"/>
              </a:cxn>
              <a:cxn ang="0">
                <a:pos x="connsiteX14272" y="connsiteY14272"/>
              </a:cxn>
              <a:cxn ang="0">
                <a:pos x="connsiteX14273" y="connsiteY14273"/>
              </a:cxn>
              <a:cxn ang="0">
                <a:pos x="connsiteX14274" y="connsiteY14274"/>
              </a:cxn>
              <a:cxn ang="0">
                <a:pos x="connsiteX14275" y="connsiteY14275"/>
              </a:cxn>
              <a:cxn ang="0">
                <a:pos x="connsiteX14276" y="connsiteY14276"/>
              </a:cxn>
              <a:cxn ang="0">
                <a:pos x="connsiteX14277" y="connsiteY14277"/>
              </a:cxn>
              <a:cxn ang="0">
                <a:pos x="connsiteX14278" y="connsiteY14278"/>
              </a:cxn>
              <a:cxn ang="0">
                <a:pos x="connsiteX14279" y="connsiteY14279"/>
              </a:cxn>
              <a:cxn ang="0">
                <a:pos x="connsiteX14280" y="connsiteY14280"/>
              </a:cxn>
              <a:cxn ang="0">
                <a:pos x="connsiteX14281" y="connsiteY14281"/>
              </a:cxn>
              <a:cxn ang="0">
                <a:pos x="connsiteX14282" y="connsiteY14282"/>
              </a:cxn>
              <a:cxn ang="0">
                <a:pos x="connsiteX14283" y="connsiteY14283"/>
              </a:cxn>
              <a:cxn ang="0">
                <a:pos x="connsiteX14284" y="connsiteY14284"/>
              </a:cxn>
              <a:cxn ang="0">
                <a:pos x="connsiteX14285" y="connsiteY14285"/>
              </a:cxn>
              <a:cxn ang="0">
                <a:pos x="connsiteX14286" y="connsiteY14286"/>
              </a:cxn>
              <a:cxn ang="0">
                <a:pos x="connsiteX14287" y="connsiteY14287"/>
              </a:cxn>
              <a:cxn ang="0">
                <a:pos x="connsiteX14288" y="connsiteY14288"/>
              </a:cxn>
              <a:cxn ang="0">
                <a:pos x="connsiteX14289" y="connsiteY14289"/>
              </a:cxn>
              <a:cxn ang="0">
                <a:pos x="connsiteX14290" y="connsiteY14290"/>
              </a:cxn>
              <a:cxn ang="0">
                <a:pos x="connsiteX14291" y="connsiteY14291"/>
              </a:cxn>
              <a:cxn ang="0">
                <a:pos x="connsiteX14292" y="connsiteY14292"/>
              </a:cxn>
              <a:cxn ang="0">
                <a:pos x="connsiteX14293" y="connsiteY14293"/>
              </a:cxn>
              <a:cxn ang="0">
                <a:pos x="connsiteX14294" y="connsiteY14294"/>
              </a:cxn>
              <a:cxn ang="0">
                <a:pos x="connsiteX14295" y="connsiteY14295"/>
              </a:cxn>
              <a:cxn ang="0">
                <a:pos x="connsiteX14296" y="connsiteY14296"/>
              </a:cxn>
              <a:cxn ang="0">
                <a:pos x="connsiteX14297" y="connsiteY14297"/>
              </a:cxn>
              <a:cxn ang="0">
                <a:pos x="connsiteX14298" y="connsiteY14298"/>
              </a:cxn>
              <a:cxn ang="0">
                <a:pos x="connsiteX14299" y="connsiteY14299"/>
              </a:cxn>
              <a:cxn ang="0">
                <a:pos x="connsiteX14300" y="connsiteY14300"/>
              </a:cxn>
              <a:cxn ang="0">
                <a:pos x="connsiteX14301" y="connsiteY14301"/>
              </a:cxn>
              <a:cxn ang="0">
                <a:pos x="connsiteX14302" y="connsiteY14302"/>
              </a:cxn>
              <a:cxn ang="0">
                <a:pos x="connsiteX14303" y="connsiteY14303"/>
              </a:cxn>
              <a:cxn ang="0">
                <a:pos x="connsiteX14304" y="connsiteY14304"/>
              </a:cxn>
              <a:cxn ang="0">
                <a:pos x="connsiteX14305" y="connsiteY14305"/>
              </a:cxn>
              <a:cxn ang="0">
                <a:pos x="connsiteX14306" y="connsiteY14306"/>
              </a:cxn>
              <a:cxn ang="0">
                <a:pos x="connsiteX14307" y="connsiteY14307"/>
              </a:cxn>
              <a:cxn ang="0">
                <a:pos x="connsiteX14308" y="connsiteY14308"/>
              </a:cxn>
              <a:cxn ang="0">
                <a:pos x="connsiteX14309" y="connsiteY14309"/>
              </a:cxn>
              <a:cxn ang="0">
                <a:pos x="connsiteX14310" y="connsiteY14310"/>
              </a:cxn>
              <a:cxn ang="0">
                <a:pos x="connsiteX14311" y="connsiteY14311"/>
              </a:cxn>
              <a:cxn ang="0">
                <a:pos x="connsiteX14312" y="connsiteY14312"/>
              </a:cxn>
              <a:cxn ang="0">
                <a:pos x="connsiteX14313" y="connsiteY14313"/>
              </a:cxn>
              <a:cxn ang="0">
                <a:pos x="connsiteX14314" y="connsiteY14314"/>
              </a:cxn>
              <a:cxn ang="0">
                <a:pos x="connsiteX14315" y="connsiteY14315"/>
              </a:cxn>
              <a:cxn ang="0">
                <a:pos x="connsiteX14316" y="connsiteY14316"/>
              </a:cxn>
              <a:cxn ang="0">
                <a:pos x="connsiteX14317" y="connsiteY14317"/>
              </a:cxn>
              <a:cxn ang="0">
                <a:pos x="connsiteX14318" y="connsiteY14318"/>
              </a:cxn>
              <a:cxn ang="0">
                <a:pos x="connsiteX14319" y="connsiteY14319"/>
              </a:cxn>
              <a:cxn ang="0">
                <a:pos x="connsiteX14320" y="connsiteY14320"/>
              </a:cxn>
              <a:cxn ang="0">
                <a:pos x="connsiteX14321" y="connsiteY14321"/>
              </a:cxn>
              <a:cxn ang="0">
                <a:pos x="connsiteX14322" y="connsiteY14322"/>
              </a:cxn>
              <a:cxn ang="0">
                <a:pos x="connsiteX14323" y="connsiteY14323"/>
              </a:cxn>
              <a:cxn ang="0">
                <a:pos x="connsiteX14324" y="connsiteY14324"/>
              </a:cxn>
              <a:cxn ang="0">
                <a:pos x="connsiteX14325" y="connsiteY14325"/>
              </a:cxn>
              <a:cxn ang="0">
                <a:pos x="connsiteX14326" y="connsiteY14326"/>
              </a:cxn>
              <a:cxn ang="0">
                <a:pos x="connsiteX14327" y="connsiteY14327"/>
              </a:cxn>
              <a:cxn ang="0">
                <a:pos x="connsiteX14328" y="connsiteY14328"/>
              </a:cxn>
              <a:cxn ang="0">
                <a:pos x="connsiteX14329" y="connsiteY14329"/>
              </a:cxn>
              <a:cxn ang="0">
                <a:pos x="connsiteX14330" y="connsiteY14330"/>
              </a:cxn>
              <a:cxn ang="0">
                <a:pos x="connsiteX14331" y="connsiteY14331"/>
              </a:cxn>
              <a:cxn ang="0">
                <a:pos x="connsiteX14332" y="connsiteY14332"/>
              </a:cxn>
              <a:cxn ang="0">
                <a:pos x="connsiteX14333" y="connsiteY14333"/>
              </a:cxn>
              <a:cxn ang="0">
                <a:pos x="connsiteX14334" y="connsiteY14334"/>
              </a:cxn>
              <a:cxn ang="0">
                <a:pos x="connsiteX14335" y="connsiteY14335"/>
              </a:cxn>
              <a:cxn ang="0">
                <a:pos x="connsiteX14336" y="connsiteY14336"/>
              </a:cxn>
              <a:cxn ang="0">
                <a:pos x="connsiteX14337" y="connsiteY14337"/>
              </a:cxn>
              <a:cxn ang="0">
                <a:pos x="connsiteX14338" y="connsiteY14338"/>
              </a:cxn>
              <a:cxn ang="0">
                <a:pos x="connsiteX14339" y="connsiteY14339"/>
              </a:cxn>
              <a:cxn ang="0">
                <a:pos x="connsiteX14340" y="connsiteY14340"/>
              </a:cxn>
              <a:cxn ang="0">
                <a:pos x="connsiteX14341" y="connsiteY14341"/>
              </a:cxn>
              <a:cxn ang="0">
                <a:pos x="connsiteX14342" y="connsiteY14342"/>
              </a:cxn>
              <a:cxn ang="0">
                <a:pos x="connsiteX14343" y="connsiteY14343"/>
              </a:cxn>
              <a:cxn ang="0">
                <a:pos x="connsiteX14344" y="connsiteY14344"/>
              </a:cxn>
              <a:cxn ang="0">
                <a:pos x="connsiteX14345" y="connsiteY14345"/>
              </a:cxn>
              <a:cxn ang="0">
                <a:pos x="connsiteX14346" y="connsiteY14346"/>
              </a:cxn>
              <a:cxn ang="0">
                <a:pos x="connsiteX14347" y="connsiteY14347"/>
              </a:cxn>
              <a:cxn ang="0">
                <a:pos x="connsiteX14348" y="connsiteY14348"/>
              </a:cxn>
              <a:cxn ang="0">
                <a:pos x="connsiteX14349" y="connsiteY14349"/>
              </a:cxn>
              <a:cxn ang="0">
                <a:pos x="connsiteX14350" y="connsiteY14350"/>
              </a:cxn>
              <a:cxn ang="0">
                <a:pos x="connsiteX14351" y="connsiteY14351"/>
              </a:cxn>
              <a:cxn ang="0">
                <a:pos x="connsiteX14352" y="connsiteY14352"/>
              </a:cxn>
              <a:cxn ang="0">
                <a:pos x="connsiteX14353" y="connsiteY14353"/>
              </a:cxn>
              <a:cxn ang="0">
                <a:pos x="connsiteX14354" y="connsiteY14354"/>
              </a:cxn>
              <a:cxn ang="0">
                <a:pos x="connsiteX14355" y="connsiteY14355"/>
              </a:cxn>
              <a:cxn ang="0">
                <a:pos x="connsiteX14356" y="connsiteY14356"/>
              </a:cxn>
              <a:cxn ang="0">
                <a:pos x="connsiteX14357" y="connsiteY14357"/>
              </a:cxn>
              <a:cxn ang="0">
                <a:pos x="connsiteX14358" y="connsiteY14358"/>
              </a:cxn>
              <a:cxn ang="0">
                <a:pos x="connsiteX14359" y="connsiteY14359"/>
              </a:cxn>
              <a:cxn ang="0">
                <a:pos x="connsiteX14360" y="connsiteY14360"/>
              </a:cxn>
              <a:cxn ang="0">
                <a:pos x="connsiteX14361" y="connsiteY14361"/>
              </a:cxn>
              <a:cxn ang="0">
                <a:pos x="connsiteX14362" y="connsiteY14362"/>
              </a:cxn>
              <a:cxn ang="0">
                <a:pos x="connsiteX14363" y="connsiteY14363"/>
              </a:cxn>
              <a:cxn ang="0">
                <a:pos x="connsiteX14364" y="connsiteY14364"/>
              </a:cxn>
              <a:cxn ang="0">
                <a:pos x="connsiteX14365" y="connsiteY14365"/>
              </a:cxn>
              <a:cxn ang="0">
                <a:pos x="connsiteX14366" y="connsiteY14366"/>
              </a:cxn>
              <a:cxn ang="0">
                <a:pos x="connsiteX14367" y="connsiteY14367"/>
              </a:cxn>
              <a:cxn ang="0">
                <a:pos x="connsiteX14368" y="connsiteY14368"/>
              </a:cxn>
              <a:cxn ang="0">
                <a:pos x="connsiteX14369" y="connsiteY14369"/>
              </a:cxn>
              <a:cxn ang="0">
                <a:pos x="connsiteX14370" y="connsiteY14370"/>
              </a:cxn>
              <a:cxn ang="0">
                <a:pos x="connsiteX14371" y="connsiteY14371"/>
              </a:cxn>
              <a:cxn ang="0">
                <a:pos x="connsiteX14372" y="connsiteY14372"/>
              </a:cxn>
              <a:cxn ang="0">
                <a:pos x="connsiteX14373" y="connsiteY14373"/>
              </a:cxn>
              <a:cxn ang="0">
                <a:pos x="connsiteX14374" y="connsiteY14374"/>
              </a:cxn>
              <a:cxn ang="0">
                <a:pos x="connsiteX14375" y="connsiteY14375"/>
              </a:cxn>
              <a:cxn ang="0">
                <a:pos x="connsiteX14376" y="connsiteY14376"/>
              </a:cxn>
              <a:cxn ang="0">
                <a:pos x="connsiteX14377" y="connsiteY14377"/>
              </a:cxn>
              <a:cxn ang="0">
                <a:pos x="connsiteX14378" y="connsiteY14378"/>
              </a:cxn>
              <a:cxn ang="0">
                <a:pos x="connsiteX14379" y="connsiteY14379"/>
              </a:cxn>
              <a:cxn ang="0">
                <a:pos x="connsiteX14380" y="connsiteY14380"/>
              </a:cxn>
              <a:cxn ang="0">
                <a:pos x="connsiteX14381" y="connsiteY14381"/>
              </a:cxn>
              <a:cxn ang="0">
                <a:pos x="connsiteX14382" y="connsiteY14382"/>
              </a:cxn>
              <a:cxn ang="0">
                <a:pos x="connsiteX14383" y="connsiteY14383"/>
              </a:cxn>
              <a:cxn ang="0">
                <a:pos x="connsiteX14384" y="connsiteY14384"/>
              </a:cxn>
              <a:cxn ang="0">
                <a:pos x="connsiteX14385" y="connsiteY14385"/>
              </a:cxn>
              <a:cxn ang="0">
                <a:pos x="connsiteX14386" y="connsiteY14386"/>
              </a:cxn>
              <a:cxn ang="0">
                <a:pos x="connsiteX14387" y="connsiteY14387"/>
              </a:cxn>
              <a:cxn ang="0">
                <a:pos x="connsiteX14388" y="connsiteY14388"/>
              </a:cxn>
              <a:cxn ang="0">
                <a:pos x="connsiteX14389" y="connsiteY14389"/>
              </a:cxn>
              <a:cxn ang="0">
                <a:pos x="connsiteX14390" y="connsiteY14390"/>
              </a:cxn>
              <a:cxn ang="0">
                <a:pos x="connsiteX14391" y="connsiteY14391"/>
              </a:cxn>
              <a:cxn ang="0">
                <a:pos x="connsiteX14392" y="connsiteY14392"/>
              </a:cxn>
              <a:cxn ang="0">
                <a:pos x="connsiteX14393" y="connsiteY14393"/>
              </a:cxn>
              <a:cxn ang="0">
                <a:pos x="connsiteX14394" y="connsiteY14394"/>
              </a:cxn>
              <a:cxn ang="0">
                <a:pos x="connsiteX14395" y="connsiteY14395"/>
              </a:cxn>
              <a:cxn ang="0">
                <a:pos x="connsiteX14396" y="connsiteY14396"/>
              </a:cxn>
              <a:cxn ang="0">
                <a:pos x="connsiteX14397" y="connsiteY14397"/>
              </a:cxn>
              <a:cxn ang="0">
                <a:pos x="connsiteX14398" y="connsiteY14398"/>
              </a:cxn>
              <a:cxn ang="0">
                <a:pos x="connsiteX14399" y="connsiteY14399"/>
              </a:cxn>
              <a:cxn ang="0">
                <a:pos x="connsiteX14400" y="connsiteY14400"/>
              </a:cxn>
              <a:cxn ang="0">
                <a:pos x="connsiteX14401" y="connsiteY14401"/>
              </a:cxn>
              <a:cxn ang="0">
                <a:pos x="connsiteX14402" y="connsiteY14402"/>
              </a:cxn>
              <a:cxn ang="0">
                <a:pos x="connsiteX14403" y="connsiteY14403"/>
              </a:cxn>
              <a:cxn ang="0">
                <a:pos x="connsiteX14404" y="connsiteY14404"/>
              </a:cxn>
              <a:cxn ang="0">
                <a:pos x="connsiteX14405" y="connsiteY14405"/>
              </a:cxn>
              <a:cxn ang="0">
                <a:pos x="connsiteX14406" y="connsiteY14406"/>
              </a:cxn>
              <a:cxn ang="0">
                <a:pos x="connsiteX14407" y="connsiteY14407"/>
              </a:cxn>
              <a:cxn ang="0">
                <a:pos x="connsiteX14408" y="connsiteY14408"/>
              </a:cxn>
              <a:cxn ang="0">
                <a:pos x="connsiteX14409" y="connsiteY14409"/>
              </a:cxn>
              <a:cxn ang="0">
                <a:pos x="connsiteX14410" y="connsiteY14410"/>
              </a:cxn>
              <a:cxn ang="0">
                <a:pos x="connsiteX14411" y="connsiteY14411"/>
              </a:cxn>
              <a:cxn ang="0">
                <a:pos x="connsiteX14412" y="connsiteY14412"/>
              </a:cxn>
              <a:cxn ang="0">
                <a:pos x="connsiteX14413" y="connsiteY14413"/>
              </a:cxn>
              <a:cxn ang="0">
                <a:pos x="connsiteX14414" y="connsiteY14414"/>
              </a:cxn>
              <a:cxn ang="0">
                <a:pos x="connsiteX14415" y="connsiteY14415"/>
              </a:cxn>
              <a:cxn ang="0">
                <a:pos x="connsiteX14416" y="connsiteY14416"/>
              </a:cxn>
              <a:cxn ang="0">
                <a:pos x="connsiteX14417" y="connsiteY14417"/>
              </a:cxn>
              <a:cxn ang="0">
                <a:pos x="connsiteX14418" y="connsiteY14418"/>
              </a:cxn>
              <a:cxn ang="0">
                <a:pos x="connsiteX14419" y="connsiteY14419"/>
              </a:cxn>
              <a:cxn ang="0">
                <a:pos x="connsiteX14420" y="connsiteY14420"/>
              </a:cxn>
              <a:cxn ang="0">
                <a:pos x="connsiteX14421" y="connsiteY14421"/>
              </a:cxn>
              <a:cxn ang="0">
                <a:pos x="connsiteX14422" y="connsiteY14422"/>
              </a:cxn>
              <a:cxn ang="0">
                <a:pos x="connsiteX14423" y="connsiteY14423"/>
              </a:cxn>
              <a:cxn ang="0">
                <a:pos x="connsiteX14424" y="connsiteY14424"/>
              </a:cxn>
              <a:cxn ang="0">
                <a:pos x="connsiteX14425" y="connsiteY14425"/>
              </a:cxn>
              <a:cxn ang="0">
                <a:pos x="connsiteX14426" y="connsiteY14426"/>
              </a:cxn>
              <a:cxn ang="0">
                <a:pos x="connsiteX14427" y="connsiteY14427"/>
              </a:cxn>
              <a:cxn ang="0">
                <a:pos x="connsiteX14428" y="connsiteY14428"/>
              </a:cxn>
              <a:cxn ang="0">
                <a:pos x="connsiteX14429" y="connsiteY14429"/>
              </a:cxn>
              <a:cxn ang="0">
                <a:pos x="connsiteX14430" y="connsiteY14430"/>
              </a:cxn>
              <a:cxn ang="0">
                <a:pos x="connsiteX14431" y="connsiteY14431"/>
              </a:cxn>
              <a:cxn ang="0">
                <a:pos x="connsiteX14432" y="connsiteY14432"/>
              </a:cxn>
              <a:cxn ang="0">
                <a:pos x="connsiteX14433" y="connsiteY14433"/>
              </a:cxn>
              <a:cxn ang="0">
                <a:pos x="connsiteX14434" y="connsiteY14434"/>
              </a:cxn>
              <a:cxn ang="0">
                <a:pos x="connsiteX14435" y="connsiteY14435"/>
              </a:cxn>
              <a:cxn ang="0">
                <a:pos x="connsiteX14436" y="connsiteY14436"/>
              </a:cxn>
              <a:cxn ang="0">
                <a:pos x="connsiteX14437" y="connsiteY14437"/>
              </a:cxn>
              <a:cxn ang="0">
                <a:pos x="connsiteX14438" y="connsiteY14438"/>
              </a:cxn>
              <a:cxn ang="0">
                <a:pos x="connsiteX14439" y="connsiteY14439"/>
              </a:cxn>
              <a:cxn ang="0">
                <a:pos x="connsiteX14440" y="connsiteY14440"/>
              </a:cxn>
              <a:cxn ang="0">
                <a:pos x="connsiteX14441" y="connsiteY14441"/>
              </a:cxn>
              <a:cxn ang="0">
                <a:pos x="connsiteX14442" y="connsiteY14442"/>
              </a:cxn>
              <a:cxn ang="0">
                <a:pos x="connsiteX14443" y="connsiteY14443"/>
              </a:cxn>
              <a:cxn ang="0">
                <a:pos x="connsiteX14444" y="connsiteY14444"/>
              </a:cxn>
              <a:cxn ang="0">
                <a:pos x="connsiteX14445" y="connsiteY14445"/>
              </a:cxn>
              <a:cxn ang="0">
                <a:pos x="connsiteX14446" y="connsiteY14446"/>
              </a:cxn>
              <a:cxn ang="0">
                <a:pos x="connsiteX14447" y="connsiteY14447"/>
              </a:cxn>
              <a:cxn ang="0">
                <a:pos x="connsiteX14448" y="connsiteY14448"/>
              </a:cxn>
              <a:cxn ang="0">
                <a:pos x="connsiteX14449" y="connsiteY14449"/>
              </a:cxn>
              <a:cxn ang="0">
                <a:pos x="connsiteX14450" y="connsiteY14450"/>
              </a:cxn>
              <a:cxn ang="0">
                <a:pos x="connsiteX14451" y="connsiteY14451"/>
              </a:cxn>
              <a:cxn ang="0">
                <a:pos x="connsiteX14452" y="connsiteY14452"/>
              </a:cxn>
              <a:cxn ang="0">
                <a:pos x="connsiteX14453" y="connsiteY14453"/>
              </a:cxn>
              <a:cxn ang="0">
                <a:pos x="connsiteX14454" y="connsiteY14454"/>
              </a:cxn>
              <a:cxn ang="0">
                <a:pos x="connsiteX14455" y="connsiteY14455"/>
              </a:cxn>
              <a:cxn ang="0">
                <a:pos x="connsiteX14456" y="connsiteY14456"/>
              </a:cxn>
              <a:cxn ang="0">
                <a:pos x="connsiteX14457" y="connsiteY14457"/>
              </a:cxn>
              <a:cxn ang="0">
                <a:pos x="connsiteX14458" y="connsiteY14458"/>
              </a:cxn>
              <a:cxn ang="0">
                <a:pos x="connsiteX14459" y="connsiteY14459"/>
              </a:cxn>
              <a:cxn ang="0">
                <a:pos x="connsiteX14460" y="connsiteY14460"/>
              </a:cxn>
              <a:cxn ang="0">
                <a:pos x="connsiteX14461" y="connsiteY14461"/>
              </a:cxn>
              <a:cxn ang="0">
                <a:pos x="connsiteX14462" y="connsiteY14462"/>
              </a:cxn>
              <a:cxn ang="0">
                <a:pos x="connsiteX14463" y="connsiteY14463"/>
              </a:cxn>
              <a:cxn ang="0">
                <a:pos x="connsiteX14464" y="connsiteY14464"/>
              </a:cxn>
              <a:cxn ang="0">
                <a:pos x="connsiteX14465" y="connsiteY14465"/>
              </a:cxn>
              <a:cxn ang="0">
                <a:pos x="connsiteX14466" y="connsiteY14466"/>
              </a:cxn>
              <a:cxn ang="0">
                <a:pos x="connsiteX14467" y="connsiteY14467"/>
              </a:cxn>
              <a:cxn ang="0">
                <a:pos x="connsiteX14468" y="connsiteY14468"/>
              </a:cxn>
              <a:cxn ang="0">
                <a:pos x="connsiteX14469" y="connsiteY14469"/>
              </a:cxn>
              <a:cxn ang="0">
                <a:pos x="connsiteX14470" y="connsiteY14470"/>
              </a:cxn>
              <a:cxn ang="0">
                <a:pos x="connsiteX14471" y="connsiteY14471"/>
              </a:cxn>
              <a:cxn ang="0">
                <a:pos x="connsiteX14472" y="connsiteY14472"/>
              </a:cxn>
              <a:cxn ang="0">
                <a:pos x="connsiteX14473" y="connsiteY14473"/>
              </a:cxn>
              <a:cxn ang="0">
                <a:pos x="connsiteX14474" y="connsiteY14474"/>
              </a:cxn>
              <a:cxn ang="0">
                <a:pos x="connsiteX14475" y="connsiteY14475"/>
              </a:cxn>
              <a:cxn ang="0">
                <a:pos x="connsiteX14476" y="connsiteY14476"/>
              </a:cxn>
              <a:cxn ang="0">
                <a:pos x="connsiteX14477" y="connsiteY14477"/>
              </a:cxn>
              <a:cxn ang="0">
                <a:pos x="connsiteX14478" y="connsiteY14478"/>
              </a:cxn>
              <a:cxn ang="0">
                <a:pos x="connsiteX14479" y="connsiteY14479"/>
              </a:cxn>
              <a:cxn ang="0">
                <a:pos x="connsiteX14480" y="connsiteY14480"/>
              </a:cxn>
              <a:cxn ang="0">
                <a:pos x="connsiteX14481" y="connsiteY14481"/>
              </a:cxn>
              <a:cxn ang="0">
                <a:pos x="connsiteX14482" y="connsiteY14482"/>
              </a:cxn>
              <a:cxn ang="0">
                <a:pos x="connsiteX14483" y="connsiteY14483"/>
              </a:cxn>
              <a:cxn ang="0">
                <a:pos x="connsiteX14484" y="connsiteY14484"/>
              </a:cxn>
              <a:cxn ang="0">
                <a:pos x="connsiteX14485" y="connsiteY14485"/>
              </a:cxn>
              <a:cxn ang="0">
                <a:pos x="connsiteX14486" y="connsiteY14486"/>
              </a:cxn>
              <a:cxn ang="0">
                <a:pos x="connsiteX14487" y="connsiteY14487"/>
              </a:cxn>
              <a:cxn ang="0">
                <a:pos x="connsiteX14488" y="connsiteY14488"/>
              </a:cxn>
              <a:cxn ang="0">
                <a:pos x="connsiteX14489" y="connsiteY14489"/>
              </a:cxn>
              <a:cxn ang="0">
                <a:pos x="connsiteX14490" y="connsiteY14490"/>
              </a:cxn>
              <a:cxn ang="0">
                <a:pos x="connsiteX14491" y="connsiteY14491"/>
              </a:cxn>
              <a:cxn ang="0">
                <a:pos x="connsiteX14492" y="connsiteY14492"/>
              </a:cxn>
              <a:cxn ang="0">
                <a:pos x="connsiteX14493" y="connsiteY14493"/>
              </a:cxn>
              <a:cxn ang="0">
                <a:pos x="connsiteX14494" y="connsiteY14494"/>
              </a:cxn>
              <a:cxn ang="0">
                <a:pos x="connsiteX14495" y="connsiteY14495"/>
              </a:cxn>
              <a:cxn ang="0">
                <a:pos x="connsiteX14496" y="connsiteY14496"/>
              </a:cxn>
              <a:cxn ang="0">
                <a:pos x="connsiteX14497" y="connsiteY14497"/>
              </a:cxn>
              <a:cxn ang="0">
                <a:pos x="connsiteX14498" y="connsiteY14498"/>
              </a:cxn>
              <a:cxn ang="0">
                <a:pos x="connsiteX14499" y="connsiteY14499"/>
              </a:cxn>
              <a:cxn ang="0">
                <a:pos x="connsiteX14500" y="connsiteY14500"/>
              </a:cxn>
              <a:cxn ang="0">
                <a:pos x="connsiteX14501" y="connsiteY14501"/>
              </a:cxn>
              <a:cxn ang="0">
                <a:pos x="connsiteX14502" y="connsiteY14502"/>
              </a:cxn>
              <a:cxn ang="0">
                <a:pos x="connsiteX14503" y="connsiteY14503"/>
              </a:cxn>
              <a:cxn ang="0">
                <a:pos x="connsiteX14504" y="connsiteY14504"/>
              </a:cxn>
              <a:cxn ang="0">
                <a:pos x="connsiteX14505" y="connsiteY14505"/>
              </a:cxn>
              <a:cxn ang="0">
                <a:pos x="connsiteX14506" y="connsiteY14506"/>
              </a:cxn>
              <a:cxn ang="0">
                <a:pos x="connsiteX14507" y="connsiteY14507"/>
              </a:cxn>
              <a:cxn ang="0">
                <a:pos x="connsiteX14508" y="connsiteY14508"/>
              </a:cxn>
              <a:cxn ang="0">
                <a:pos x="connsiteX14509" y="connsiteY14509"/>
              </a:cxn>
              <a:cxn ang="0">
                <a:pos x="connsiteX14510" y="connsiteY14510"/>
              </a:cxn>
              <a:cxn ang="0">
                <a:pos x="connsiteX14511" y="connsiteY14511"/>
              </a:cxn>
              <a:cxn ang="0">
                <a:pos x="connsiteX14512" y="connsiteY14512"/>
              </a:cxn>
              <a:cxn ang="0">
                <a:pos x="connsiteX14513" y="connsiteY14513"/>
              </a:cxn>
              <a:cxn ang="0">
                <a:pos x="connsiteX14514" y="connsiteY14514"/>
              </a:cxn>
              <a:cxn ang="0">
                <a:pos x="connsiteX14515" y="connsiteY14515"/>
              </a:cxn>
              <a:cxn ang="0">
                <a:pos x="connsiteX14516" y="connsiteY14516"/>
              </a:cxn>
              <a:cxn ang="0">
                <a:pos x="connsiteX14517" y="connsiteY14517"/>
              </a:cxn>
              <a:cxn ang="0">
                <a:pos x="connsiteX14518" y="connsiteY14518"/>
              </a:cxn>
              <a:cxn ang="0">
                <a:pos x="connsiteX14519" y="connsiteY14519"/>
              </a:cxn>
              <a:cxn ang="0">
                <a:pos x="connsiteX14520" y="connsiteY14520"/>
              </a:cxn>
              <a:cxn ang="0">
                <a:pos x="connsiteX14521" y="connsiteY14521"/>
              </a:cxn>
              <a:cxn ang="0">
                <a:pos x="connsiteX14522" y="connsiteY14522"/>
              </a:cxn>
              <a:cxn ang="0">
                <a:pos x="connsiteX14523" y="connsiteY14523"/>
              </a:cxn>
              <a:cxn ang="0">
                <a:pos x="connsiteX14524" y="connsiteY14524"/>
              </a:cxn>
              <a:cxn ang="0">
                <a:pos x="connsiteX14525" y="connsiteY14525"/>
              </a:cxn>
              <a:cxn ang="0">
                <a:pos x="connsiteX14526" y="connsiteY14526"/>
              </a:cxn>
              <a:cxn ang="0">
                <a:pos x="connsiteX14527" y="connsiteY14527"/>
              </a:cxn>
              <a:cxn ang="0">
                <a:pos x="connsiteX14528" y="connsiteY14528"/>
              </a:cxn>
              <a:cxn ang="0">
                <a:pos x="connsiteX14529" y="connsiteY14529"/>
              </a:cxn>
              <a:cxn ang="0">
                <a:pos x="connsiteX14530" y="connsiteY14530"/>
              </a:cxn>
              <a:cxn ang="0">
                <a:pos x="connsiteX14531" y="connsiteY14531"/>
              </a:cxn>
              <a:cxn ang="0">
                <a:pos x="connsiteX14532" y="connsiteY14532"/>
              </a:cxn>
              <a:cxn ang="0">
                <a:pos x="connsiteX14533" y="connsiteY14533"/>
              </a:cxn>
              <a:cxn ang="0">
                <a:pos x="connsiteX14534" y="connsiteY14534"/>
              </a:cxn>
              <a:cxn ang="0">
                <a:pos x="connsiteX14535" y="connsiteY14535"/>
              </a:cxn>
              <a:cxn ang="0">
                <a:pos x="connsiteX14536" y="connsiteY14536"/>
              </a:cxn>
              <a:cxn ang="0">
                <a:pos x="connsiteX14537" y="connsiteY14537"/>
              </a:cxn>
              <a:cxn ang="0">
                <a:pos x="connsiteX14538" y="connsiteY14538"/>
              </a:cxn>
              <a:cxn ang="0">
                <a:pos x="connsiteX14539" y="connsiteY14539"/>
              </a:cxn>
              <a:cxn ang="0">
                <a:pos x="connsiteX14540" y="connsiteY14540"/>
              </a:cxn>
              <a:cxn ang="0">
                <a:pos x="connsiteX14541" y="connsiteY14541"/>
              </a:cxn>
              <a:cxn ang="0">
                <a:pos x="connsiteX14542" y="connsiteY14542"/>
              </a:cxn>
              <a:cxn ang="0">
                <a:pos x="connsiteX14543" y="connsiteY14543"/>
              </a:cxn>
              <a:cxn ang="0">
                <a:pos x="connsiteX14544" y="connsiteY14544"/>
              </a:cxn>
              <a:cxn ang="0">
                <a:pos x="connsiteX14545" y="connsiteY14545"/>
              </a:cxn>
              <a:cxn ang="0">
                <a:pos x="connsiteX14546" y="connsiteY14546"/>
              </a:cxn>
              <a:cxn ang="0">
                <a:pos x="connsiteX14547" y="connsiteY14547"/>
              </a:cxn>
              <a:cxn ang="0">
                <a:pos x="connsiteX14548" y="connsiteY14548"/>
              </a:cxn>
              <a:cxn ang="0">
                <a:pos x="connsiteX14549" y="connsiteY14549"/>
              </a:cxn>
              <a:cxn ang="0">
                <a:pos x="connsiteX14550" y="connsiteY14550"/>
              </a:cxn>
              <a:cxn ang="0">
                <a:pos x="connsiteX14551" y="connsiteY14551"/>
              </a:cxn>
              <a:cxn ang="0">
                <a:pos x="connsiteX14552" y="connsiteY14552"/>
              </a:cxn>
              <a:cxn ang="0">
                <a:pos x="connsiteX14553" y="connsiteY14553"/>
              </a:cxn>
              <a:cxn ang="0">
                <a:pos x="connsiteX14554" y="connsiteY14554"/>
              </a:cxn>
              <a:cxn ang="0">
                <a:pos x="connsiteX14555" y="connsiteY14555"/>
              </a:cxn>
              <a:cxn ang="0">
                <a:pos x="connsiteX14556" y="connsiteY14556"/>
              </a:cxn>
              <a:cxn ang="0">
                <a:pos x="connsiteX14557" y="connsiteY14557"/>
              </a:cxn>
              <a:cxn ang="0">
                <a:pos x="connsiteX14558" y="connsiteY14558"/>
              </a:cxn>
              <a:cxn ang="0">
                <a:pos x="connsiteX14559" y="connsiteY14559"/>
              </a:cxn>
              <a:cxn ang="0">
                <a:pos x="connsiteX14560" y="connsiteY14560"/>
              </a:cxn>
              <a:cxn ang="0">
                <a:pos x="connsiteX14561" y="connsiteY14561"/>
              </a:cxn>
              <a:cxn ang="0">
                <a:pos x="connsiteX14562" y="connsiteY14562"/>
              </a:cxn>
              <a:cxn ang="0">
                <a:pos x="connsiteX14563" y="connsiteY14563"/>
              </a:cxn>
              <a:cxn ang="0">
                <a:pos x="connsiteX14564" y="connsiteY14564"/>
              </a:cxn>
              <a:cxn ang="0">
                <a:pos x="connsiteX14565" y="connsiteY14565"/>
              </a:cxn>
              <a:cxn ang="0">
                <a:pos x="connsiteX14566" y="connsiteY14566"/>
              </a:cxn>
              <a:cxn ang="0">
                <a:pos x="connsiteX14567" y="connsiteY14567"/>
              </a:cxn>
              <a:cxn ang="0">
                <a:pos x="connsiteX14568" y="connsiteY14568"/>
              </a:cxn>
              <a:cxn ang="0">
                <a:pos x="connsiteX14569" y="connsiteY14569"/>
              </a:cxn>
              <a:cxn ang="0">
                <a:pos x="connsiteX14570" y="connsiteY14570"/>
              </a:cxn>
              <a:cxn ang="0">
                <a:pos x="connsiteX14571" y="connsiteY14571"/>
              </a:cxn>
              <a:cxn ang="0">
                <a:pos x="connsiteX14572" y="connsiteY14572"/>
              </a:cxn>
              <a:cxn ang="0">
                <a:pos x="connsiteX14573" y="connsiteY14573"/>
              </a:cxn>
              <a:cxn ang="0">
                <a:pos x="connsiteX14574" y="connsiteY14574"/>
              </a:cxn>
              <a:cxn ang="0">
                <a:pos x="connsiteX14575" y="connsiteY14575"/>
              </a:cxn>
              <a:cxn ang="0">
                <a:pos x="connsiteX14576" y="connsiteY14576"/>
              </a:cxn>
              <a:cxn ang="0">
                <a:pos x="connsiteX14577" y="connsiteY14577"/>
              </a:cxn>
              <a:cxn ang="0">
                <a:pos x="connsiteX14578" y="connsiteY14578"/>
              </a:cxn>
              <a:cxn ang="0">
                <a:pos x="connsiteX14579" y="connsiteY14579"/>
              </a:cxn>
              <a:cxn ang="0">
                <a:pos x="connsiteX14580" y="connsiteY14580"/>
              </a:cxn>
              <a:cxn ang="0">
                <a:pos x="connsiteX14581" y="connsiteY14581"/>
              </a:cxn>
              <a:cxn ang="0">
                <a:pos x="connsiteX14582" y="connsiteY14582"/>
              </a:cxn>
              <a:cxn ang="0">
                <a:pos x="connsiteX14583" y="connsiteY14583"/>
              </a:cxn>
              <a:cxn ang="0">
                <a:pos x="connsiteX14584" y="connsiteY14584"/>
              </a:cxn>
              <a:cxn ang="0">
                <a:pos x="connsiteX14585" y="connsiteY14585"/>
              </a:cxn>
              <a:cxn ang="0">
                <a:pos x="connsiteX14586" y="connsiteY14586"/>
              </a:cxn>
              <a:cxn ang="0">
                <a:pos x="connsiteX14587" y="connsiteY14587"/>
              </a:cxn>
              <a:cxn ang="0">
                <a:pos x="connsiteX14588" y="connsiteY14588"/>
              </a:cxn>
              <a:cxn ang="0">
                <a:pos x="connsiteX14589" y="connsiteY14589"/>
              </a:cxn>
              <a:cxn ang="0">
                <a:pos x="connsiteX14590" y="connsiteY14590"/>
              </a:cxn>
              <a:cxn ang="0">
                <a:pos x="connsiteX14591" y="connsiteY14591"/>
              </a:cxn>
              <a:cxn ang="0">
                <a:pos x="connsiteX14592" y="connsiteY14592"/>
              </a:cxn>
              <a:cxn ang="0">
                <a:pos x="connsiteX14593" y="connsiteY14593"/>
              </a:cxn>
              <a:cxn ang="0">
                <a:pos x="connsiteX14594" y="connsiteY14594"/>
              </a:cxn>
              <a:cxn ang="0">
                <a:pos x="connsiteX14595" y="connsiteY14595"/>
              </a:cxn>
              <a:cxn ang="0">
                <a:pos x="connsiteX14596" y="connsiteY14596"/>
              </a:cxn>
              <a:cxn ang="0">
                <a:pos x="connsiteX14597" y="connsiteY14597"/>
              </a:cxn>
              <a:cxn ang="0">
                <a:pos x="connsiteX14598" y="connsiteY14598"/>
              </a:cxn>
              <a:cxn ang="0">
                <a:pos x="connsiteX14599" y="connsiteY14599"/>
              </a:cxn>
              <a:cxn ang="0">
                <a:pos x="connsiteX14600" y="connsiteY14600"/>
              </a:cxn>
              <a:cxn ang="0">
                <a:pos x="connsiteX14601" y="connsiteY14601"/>
              </a:cxn>
              <a:cxn ang="0">
                <a:pos x="connsiteX14602" y="connsiteY14602"/>
              </a:cxn>
              <a:cxn ang="0">
                <a:pos x="connsiteX14603" y="connsiteY14603"/>
              </a:cxn>
              <a:cxn ang="0">
                <a:pos x="connsiteX14604" y="connsiteY14604"/>
              </a:cxn>
              <a:cxn ang="0">
                <a:pos x="connsiteX14605" y="connsiteY14605"/>
              </a:cxn>
              <a:cxn ang="0">
                <a:pos x="connsiteX14606" y="connsiteY14606"/>
              </a:cxn>
              <a:cxn ang="0">
                <a:pos x="connsiteX14607" y="connsiteY14607"/>
              </a:cxn>
              <a:cxn ang="0">
                <a:pos x="connsiteX14608" y="connsiteY14608"/>
              </a:cxn>
              <a:cxn ang="0">
                <a:pos x="connsiteX14609" y="connsiteY14609"/>
              </a:cxn>
              <a:cxn ang="0">
                <a:pos x="connsiteX14610" y="connsiteY14610"/>
              </a:cxn>
              <a:cxn ang="0">
                <a:pos x="connsiteX14611" y="connsiteY14611"/>
              </a:cxn>
              <a:cxn ang="0">
                <a:pos x="connsiteX14612" y="connsiteY14612"/>
              </a:cxn>
              <a:cxn ang="0">
                <a:pos x="connsiteX14613" y="connsiteY14613"/>
              </a:cxn>
              <a:cxn ang="0">
                <a:pos x="connsiteX14614" y="connsiteY14614"/>
              </a:cxn>
              <a:cxn ang="0">
                <a:pos x="connsiteX14615" y="connsiteY14615"/>
              </a:cxn>
              <a:cxn ang="0">
                <a:pos x="connsiteX14616" y="connsiteY14616"/>
              </a:cxn>
              <a:cxn ang="0">
                <a:pos x="connsiteX14617" y="connsiteY14617"/>
              </a:cxn>
              <a:cxn ang="0">
                <a:pos x="connsiteX14618" y="connsiteY14618"/>
              </a:cxn>
              <a:cxn ang="0">
                <a:pos x="connsiteX14619" y="connsiteY14619"/>
              </a:cxn>
              <a:cxn ang="0">
                <a:pos x="connsiteX14620" y="connsiteY14620"/>
              </a:cxn>
              <a:cxn ang="0">
                <a:pos x="connsiteX14621" y="connsiteY14621"/>
              </a:cxn>
              <a:cxn ang="0">
                <a:pos x="connsiteX14622" y="connsiteY14622"/>
              </a:cxn>
              <a:cxn ang="0">
                <a:pos x="connsiteX14623" y="connsiteY14623"/>
              </a:cxn>
              <a:cxn ang="0">
                <a:pos x="connsiteX14624" y="connsiteY14624"/>
              </a:cxn>
              <a:cxn ang="0">
                <a:pos x="connsiteX14625" y="connsiteY14625"/>
              </a:cxn>
              <a:cxn ang="0">
                <a:pos x="connsiteX14626" y="connsiteY14626"/>
              </a:cxn>
              <a:cxn ang="0">
                <a:pos x="connsiteX14627" y="connsiteY14627"/>
              </a:cxn>
              <a:cxn ang="0">
                <a:pos x="connsiteX14628" y="connsiteY14628"/>
              </a:cxn>
              <a:cxn ang="0">
                <a:pos x="connsiteX14629" y="connsiteY14629"/>
              </a:cxn>
              <a:cxn ang="0">
                <a:pos x="connsiteX14630" y="connsiteY14630"/>
              </a:cxn>
              <a:cxn ang="0">
                <a:pos x="connsiteX14631" y="connsiteY14631"/>
              </a:cxn>
              <a:cxn ang="0">
                <a:pos x="connsiteX14632" y="connsiteY14632"/>
              </a:cxn>
              <a:cxn ang="0">
                <a:pos x="connsiteX14633" y="connsiteY14633"/>
              </a:cxn>
              <a:cxn ang="0">
                <a:pos x="connsiteX14634" y="connsiteY14634"/>
              </a:cxn>
              <a:cxn ang="0">
                <a:pos x="connsiteX14635" y="connsiteY14635"/>
              </a:cxn>
              <a:cxn ang="0">
                <a:pos x="connsiteX14636" y="connsiteY14636"/>
              </a:cxn>
              <a:cxn ang="0">
                <a:pos x="connsiteX14637" y="connsiteY14637"/>
              </a:cxn>
              <a:cxn ang="0">
                <a:pos x="connsiteX14638" y="connsiteY14638"/>
              </a:cxn>
              <a:cxn ang="0">
                <a:pos x="connsiteX14639" y="connsiteY14639"/>
              </a:cxn>
              <a:cxn ang="0">
                <a:pos x="connsiteX14640" y="connsiteY14640"/>
              </a:cxn>
              <a:cxn ang="0">
                <a:pos x="connsiteX14641" y="connsiteY14641"/>
              </a:cxn>
              <a:cxn ang="0">
                <a:pos x="connsiteX14642" y="connsiteY14642"/>
              </a:cxn>
              <a:cxn ang="0">
                <a:pos x="connsiteX14643" y="connsiteY14643"/>
              </a:cxn>
              <a:cxn ang="0">
                <a:pos x="connsiteX14644" y="connsiteY14644"/>
              </a:cxn>
              <a:cxn ang="0">
                <a:pos x="connsiteX14645" y="connsiteY14645"/>
              </a:cxn>
              <a:cxn ang="0">
                <a:pos x="connsiteX14646" y="connsiteY14646"/>
              </a:cxn>
              <a:cxn ang="0">
                <a:pos x="connsiteX14647" y="connsiteY14647"/>
              </a:cxn>
              <a:cxn ang="0">
                <a:pos x="connsiteX14648" y="connsiteY14648"/>
              </a:cxn>
              <a:cxn ang="0">
                <a:pos x="connsiteX14649" y="connsiteY14649"/>
              </a:cxn>
              <a:cxn ang="0">
                <a:pos x="connsiteX14650" y="connsiteY14650"/>
              </a:cxn>
              <a:cxn ang="0">
                <a:pos x="connsiteX14651" y="connsiteY14651"/>
              </a:cxn>
              <a:cxn ang="0">
                <a:pos x="connsiteX14652" y="connsiteY14652"/>
              </a:cxn>
              <a:cxn ang="0">
                <a:pos x="connsiteX14653" y="connsiteY14653"/>
              </a:cxn>
              <a:cxn ang="0">
                <a:pos x="connsiteX14654" y="connsiteY14654"/>
              </a:cxn>
              <a:cxn ang="0">
                <a:pos x="connsiteX14655" y="connsiteY14655"/>
              </a:cxn>
              <a:cxn ang="0">
                <a:pos x="connsiteX14656" y="connsiteY14656"/>
              </a:cxn>
              <a:cxn ang="0">
                <a:pos x="connsiteX14657" y="connsiteY14657"/>
              </a:cxn>
              <a:cxn ang="0">
                <a:pos x="connsiteX14658" y="connsiteY14658"/>
              </a:cxn>
              <a:cxn ang="0">
                <a:pos x="connsiteX14659" y="connsiteY14659"/>
              </a:cxn>
              <a:cxn ang="0">
                <a:pos x="connsiteX14660" y="connsiteY14660"/>
              </a:cxn>
              <a:cxn ang="0">
                <a:pos x="connsiteX14661" y="connsiteY14661"/>
              </a:cxn>
              <a:cxn ang="0">
                <a:pos x="connsiteX14662" y="connsiteY14662"/>
              </a:cxn>
              <a:cxn ang="0">
                <a:pos x="connsiteX14663" y="connsiteY14663"/>
              </a:cxn>
              <a:cxn ang="0">
                <a:pos x="connsiteX14664" y="connsiteY14664"/>
              </a:cxn>
              <a:cxn ang="0">
                <a:pos x="connsiteX14665" y="connsiteY14665"/>
              </a:cxn>
              <a:cxn ang="0">
                <a:pos x="connsiteX14666" y="connsiteY14666"/>
              </a:cxn>
              <a:cxn ang="0">
                <a:pos x="connsiteX14667" y="connsiteY14667"/>
              </a:cxn>
              <a:cxn ang="0">
                <a:pos x="connsiteX14668" y="connsiteY14668"/>
              </a:cxn>
              <a:cxn ang="0">
                <a:pos x="connsiteX14669" y="connsiteY14669"/>
              </a:cxn>
              <a:cxn ang="0">
                <a:pos x="connsiteX14670" y="connsiteY14670"/>
              </a:cxn>
              <a:cxn ang="0">
                <a:pos x="connsiteX14671" y="connsiteY14671"/>
              </a:cxn>
              <a:cxn ang="0">
                <a:pos x="connsiteX14672" y="connsiteY14672"/>
              </a:cxn>
              <a:cxn ang="0">
                <a:pos x="connsiteX14673" y="connsiteY14673"/>
              </a:cxn>
              <a:cxn ang="0">
                <a:pos x="connsiteX14674" y="connsiteY14674"/>
              </a:cxn>
              <a:cxn ang="0">
                <a:pos x="connsiteX14675" y="connsiteY14675"/>
              </a:cxn>
              <a:cxn ang="0">
                <a:pos x="connsiteX14676" y="connsiteY14676"/>
              </a:cxn>
              <a:cxn ang="0">
                <a:pos x="connsiteX14677" y="connsiteY14677"/>
              </a:cxn>
              <a:cxn ang="0">
                <a:pos x="connsiteX14678" y="connsiteY14678"/>
              </a:cxn>
              <a:cxn ang="0">
                <a:pos x="connsiteX14679" y="connsiteY14679"/>
              </a:cxn>
              <a:cxn ang="0">
                <a:pos x="connsiteX14680" y="connsiteY14680"/>
              </a:cxn>
              <a:cxn ang="0">
                <a:pos x="connsiteX14681" y="connsiteY14681"/>
              </a:cxn>
              <a:cxn ang="0">
                <a:pos x="connsiteX14682" y="connsiteY14682"/>
              </a:cxn>
              <a:cxn ang="0">
                <a:pos x="connsiteX14683" y="connsiteY14683"/>
              </a:cxn>
              <a:cxn ang="0">
                <a:pos x="connsiteX14684" y="connsiteY14684"/>
              </a:cxn>
              <a:cxn ang="0">
                <a:pos x="connsiteX14685" y="connsiteY14685"/>
              </a:cxn>
              <a:cxn ang="0">
                <a:pos x="connsiteX14686" y="connsiteY14686"/>
              </a:cxn>
              <a:cxn ang="0">
                <a:pos x="connsiteX14687" y="connsiteY14687"/>
              </a:cxn>
              <a:cxn ang="0">
                <a:pos x="connsiteX14688" y="connsiteY14688"/>
              </a:cxn>
              <a:cxn ang="0">
                <a:pos x="connsiteX14689" y="connsiteY14689"/>
              </a:cxn>
              <a:cxn ang="0">
                <a:pos x="connsiteX14690" y="connsiteY14690"/>
              </a:cxn>
              <a:cxn ang="0">
                <a:pos x="connsiteX14691" y="connsiteY14691"/>
              </a:cxn>
              <a:cxn ang="0">
                <a:pos x="connsiteX14692" y="connsiteY14692"/>
              </a:cxn>
              <a:cxn ang="0">
                <a:pos x="connsiteX14693" y="connsiteY14693"/>
              </a:cxn>
              <a:cxn ang="0">
                <a:pos x="connsiteX14694" y="connsiteY14694"/>
              </a:cxn>
              <a:cxn ang="0">
                <a:pos x="connsiteX14695" y="connsiteY14695"/>
              </a:cxn>
              <a:cxn ang="0">
                <a:pos x="connsiteX14696" y="connsiteY14696"/>
              </a:cxn>
              <a:cxn ang="0">
                <a:pos x="connsiteX14697" y="connsiteY14697"/>
              </a:cxn>
              <a:cxn ang="0">
                <a:pos x="connsiteX14698" y="connsiteY14698"/>
              </a:cxn>
              <a:cxn ang="0">
                <a:pos x="connsiteX14699" y="connsiteY14699"/>
              </a:cxn>
              <a:cxn ang="0">
                <a:pos x="connsiteX14700" y="connsiteY14700"/>
              </a:cxn>
              <a:cxn ang="0">
                <a:pos x="connsiteX14701" y="connsiteY14701"/>
              </a:cxn>
              <a:cxn ang="0">
                <a:pos x="connsiteX14702" y="connsiteY14702"/>
              </a:cxn>
              <a:cxn ang="0">
                <a:pos x="connsiteX14703" y="connsiteY14703"/>
              </a:cxn>
              <a:cxn ang="0">
                <a:pos x="connsiteX14704" y="connsiteY14704"/>
              </a:cxn>
              <a:cxn ang="0">
                <a:pos x="connsiteX14705" y="connsiteY14705"/>
              </a:cxn>
              <a:cxn ang="0">
                <a:pos x="connsiteX14706" y="connsiteY14706"/>
              </a:cxn>
              <a:cxn ang="0">
                <a:pos x="connsiteX14707" y="connsiteY14707"/>
              </a:cxn>
              <a:cxn ang="0">
                <a:pos x="connsiteX14708" y="connsiteY14708"/>
              </a:cxn>
              <a:cxn ang="0">
                <a:pos x="connsiteX14709" y="connsiteY14709"/>
              </a:cxn>
              <a:cxn ang="0">
                <a:pos x="connsiteX14710" y="connsiteY14710"/>
              </a:cxn>
              <a:cxn ang="0">
                <a:pos x="connsiteX14711" y="connsiteY14711"/>
              </a:cxn>
              <a:cxn ang="0">
                <a:pos x="connsiteX14712" y="connsiteY14712"/>
              </a:cxn>
              <a:cxn ang="0">
                <a:pos x="connsiteX14713" y="connsiteY14713"/>
              </a:cxn>
              <a:cxn ang="0">
                <a:pos x="connsiteX14714" y="connsiteY14714"/>
              </a:cxn>
              <a:cxn ang="0">
                <a:pos x="connsiteX14715" y="connsiteY14715"/>
              </a:cxn>
              <a:cxn ang="0">
                <a:pos x="connsiteX14716" y="connsiteY14716"/>
              </a:cxn>
              <a:cxn ang="0">
                <a:pos x="connsiteX14717" y="connsiteY14717"/>
              </a:cxn>
              <a:cxn ang="0">
                <a:pos x="connsiteX14718" y="connsiteY14718"/>
              </a:cxn>
              <a:cxn ang="0">
                <a:pos x="connsiteX14719" y="connsiteY14719"/>
              </a:cxn>
              <a:cxn ang="0">
                <a:pos x="connsiteX14720" y="connsiteY14720"/>
              </a:cxn>
              <a:cxn ang="0">
                <a:pos x="connsiteX14721" y="connsiteY14721"/>
              </a:cxn>
              <a:cxn ang="0">
                <a:pos x="connsiteX14722" y="connsiteY14722"/>
              </a:cxn>
              <a:cxn ang="0">
                <a:pos x="connsiteX14723" y="connsiteY14723"/>
              </a:cxn>
              <a:cxn ang="0">
                <a:pos x="connsiteX14724" y="connsiteY14724"/>
              </a:cxn>
              <a:cxn ang="0">
                <a:pos x="connsiteX14725" y="connsiteY14725"/>
              </a:cxn>
              <a:cxn ang="0">
                <a:pos x="connsiteX14726" y="connsiteY14726"/>
              </a:cxn>
              <a:cxn ang="0">
                <a:pos x="connsiteX14727" y="connsiteY14727"/>
              </a:cxn>
              <a:cxn ang="0">
                <a:pos x="connsiteX14728" y="connsiteY14728"/>
              </a:cxn>
              <a:cxn ang="0">
                <a:pos x="connsiteX14729" y="connsiteY14729"/>
              </a:cxn>
              <a:cxn ang="0">
                <a:pos x="connsiteX14730" y="connsiteY14730"/>
              </a:cxn>
              <a:cxn ang="0">
                <a:pos x="connsiteX14731" y="connsiteY14731"/>
              </a:cxn>
              <a:cxn ang="0">
                <a:pos x="connsiteX14732" y="connsiteY14732"/>
              </a:cxn>
              <a:cxn ang="0">
                <a:pos x="connsiteX14733" y="connsiteY14733"/>
              </a:cxn>
              <a:cxn ang="0">
                <a:pos x="connsiteX14734" y="connsiteY14734"/>
              </a:cxn>
              <a:cxn ang="0">
                <a:pos x="connsiteX14735" y="connsiteY14735"/>
              </a:cxn>
              <a:cxn ang="0">
                <a:pos x="connsiteX14736" y="connsiteY14736"/>
              </a:cxn>
              <a:cxn ang="0">
                <a:pos x="connsiteX14737" y="connsiteY14737"/>
              </a:cxn>
              <a:cxn ang="0">
                <a:pos x="connsiteX14738" y="connsiteY14738"/>
              </a:cxn>
              <a:cxn ang="0">
                <a:pos x="connsiteX14739" y="connsiteY14739"/>
              </a:cxn>
              <a:cxn ang="0">
                <a:pos x="connsiteX14740" y="connsiteY14740"/>
              </a:cxn>
              <a:cxn ang="0">
                <a:pos x="connsiteX14741" y="connsiteY14741"/>
              </a:cxn>
              <a:cxn ang="0">
                <a:pos x="connsiteX14742" y="connsiteY14742"/>
              </a:cxn>
              <a:cxn ang="0">
                <a:pos x="connsiteX14743" y="connsiteY14743"/>
              </a:cxn>
              <a:cxn ang="0">
                <a:pos x="connsiteX14744" y="connsiteY14744"/>
              </a:cxn>
              <a:cxn ang="0">
                <a:pos x="connsiteX14745" y="connsiteY14745"/>
              </a:cxn>
              <a:cxn ang="0">
                <a:pos x="connsiteX14746" y="connsiteY14746"/>
              </a:cxn>
              <a:cxn ang="0">
                <a:pos x="connsiteX14747" y="connsiteY14747"/>
              </a:cxn>
              <a:cxn ang="0">
                <a:pos x="connsiteX14748" y="connsiteY14748"/>
              </a:cxn>
              <a:cxn ang="0">
                <a:pos x="connsiteX14749" y="connsiteY14749"/>
              </a:cxn>
              <a:cxn ang="0">
                <a:pos x="connsiteX14750" y="connsiteY14750"/>
              </a:cxn>
              <a:cxn ang="0">
                <a:pos x="connsiteX14751" y="connsiteY14751"/>
              </a:cxn>
              <a:cxn ang="0">
                <a:pos x="connsiteX14752" y="connsiteY14752"/>
              </a:cxn>
              <a:cxn ang="0">
                <a:pos x="connsiteX14753" y="connsiteY14753"/>
              </a:cxn>
              <a:cxn ang="0">
                <a:pos x="connsiteX14754" y="connsiteY14754"/>
              </a:cxn>
              <a:cxn ang="0">
                <a:pos x="connsiteX14755" y="connsiteY14755"/>
              </a:cxn>
              <a:cxn ang="0">
                <a:pos x="connsiteX14756" y="connsiteY14756"/>
              </a:cxn>
              <a:cxn ang="0">
                <a:pos x="connsiteX14757" y="connsiteY14757"/>
              </a:cxn>
              <a:cxn ang="0">
                <a:pos x="connsiteX14758" y="connsiteY14758"/>
              </a:cxn>
              <a:cxn ang="0">
                <a:pos x="connsiteX14759" y="connsiteY14759"/>
              </a:cxn>
              <a:cxn ang="0">
                <a:pos x="connsiteX14760" y="connsiteY14760"/>
              </a:cxn>
              <a:cxn ang="0">
                <a:pos x="connsiteX14761" y="connsiteY14761"/>
              </a:cxn>
              <a:cxn ang="0">
                <a:pos x="connsiteX14762" y="connsiteY14762"/>
              </a:cxn>
              <a:cxn ang="0">
                <a:pos x="connsiteX14763" y="connsiteY14763"/>
              </a:cxn>
              <a:cxn ang="0">
                <a:pos x="connsiteX14764" y="connsiteY14764"/>
              </a:cxn>
              <a:cxn ang="0">
                <a:pos x="connsiteX14765" y="connsiteY14765"/>
              </a:cxn>
              <a:cxn ang="0">
                <a:pos x="connsiteX14766" y="connsiteY14766"/>
              </a:cxn>
              <a:cxn ang="0">
                <a:pos x="connsiteX14767" y="connsiteY14767"/>
              </a:cxn>
              <a:cxn ang="0">
                <a:pos x="connsiteX14768" y="connsiteY14768"/>
              </a:cxn>
              <a:cxn ang="0">
                <a:pos x="connsiteX14769" y="connsiteY14769"/>
              </a:cxn>
              <a:cxn ang="0">
                <a:pos x="connsiteX14770" y="connsiteY14770"/>
              </a:cxn>
              <a:cxn ang="0">
                <a:pos x="connsiteX14771" y="connsiteY14771"/>
              </a:cxn>
              <a:cxn ang="0">
                <a:pos x="connsiteX14772" y="connsiteY14772"/>
              </a:cxn>
              <a:cxn ang="0">
                <a:pos x="connsiteX14773" y="connsiteY14773"/>
              </a:cxn>
              <a:cxn ang="0">
                <a:pos x="connsiteX14774" y="connsiteY14774"/>
              </a:cxn>
              <a:cxn ang="0">
                <a:pos x="connsiteX14775" y="connsiteY14775"/>
              </a:cxn>
              <a:cxn ang="0">
                <a:pos x="connsiteX14776" y="connsiteY14776"/>
              </a:cxn>
              <a:cxn ang="0">
                <a:pos x="connsiteX14777" y="connsiteY14777"/>
              </a:cxn>
              <a:cxn ang="0">
                <a:pos x="connsiteX14778" y="connsiteY14778"/>
              </a:cxn>
              <a:cxn ang="0">
                <a:pos x="connsiteX14779" y="connsiteY14779"/>
              </a:cxn>
              <a:cxn ang="0">
                <a:pos x="connsiteX14780" y="connsiteY14780"/>
              </a:cxn>
              <a:cxn ang="0">
                <a:pos x="connsiteX14781" y="connsiteY14781"/>
              </a:cxn>
              <a:cxn ang="0">
                <a:pos x="connsiteX14782" y="connsiteY14782"/>
              </a:cxn>
              <a:cxn ang="0">
                <a:pos x="connsiteX14783" y="connsiteY14783"/>
              </a:cxn>
              <a:cxn ang="0">
                <a:pos x="connsiteX14784" y="connsiteY14784"/>
              </a:cxn>
              <a:cxn ang="0">
                <a:pos x="connsiteX14785" y="connsiteY14785"/>
              </a:cxn>
              <a:cxn ang="0">
                <a:pos x="connsiteX14786" y="connsiteY14786"/>
              </a:cxn>
              <a:cxn ang="0">
                <a:pos x="connsiteX14787" y="connsiteY14787"/>
              </a:cxn>
              <a:cxn ang="0">
                <a:pos x="connsiteX14788" y="connsiteY14788"/>
              </a:cxn>
              <a:cxn ang="0">
                <a:pos x="connsiteX14789" y="connsiteY14789"/>
              </a:cxn>
              <a:cxn ang="0">
                <a:pos x="connsiteX14790" y="connsiteY14790"/>
              </a:cxn>
              <a:cxn ang="0">
                <a:pos x="connsiteX14791" y="connsiteY14791"/>
              </a:cxn>
              <a:cxn ang="0">
                <a:pos x="connsiteX14792" y="connsiteY14792"/>
              </a:cxn>
              <a:cxn ang="0">
                <a:pos x="connsiteX14793" y="connsiteY14793"/>
              </a:cxn>
              <a:cxn ang="0">
                <a:pos x="connsiteX14794" y="connsiteY14794"/>
              </a:cxn>
              <a:cxn ang="0">
                <a:pos x="connsiteX14795" y="connsiteY14795"/>
              </a:cxn>
              <a:cxn ang="0">
                <a:pos x="connsiteX14796" y="connsiteY14796"/>
              </a:cxn>
              <a:cxn ang="0">
                <a:pos x="connsiteX14797" y="connsiteY14797"/>
              </a:cxn>
              <a:cxn ang="0">
                <a:pos x="connsiteX14798" y="connsiteY14798"/>
              </a:cxn>
              <a:cxn ang="0">
                <a:pos x="connsiteX14799" y="connsiteY14799"/>
              </a:cxn>
              <a:cxn ang="0">
                <a:pos x="connsiteX14800" y="connsiteY14800"/>
              </a:cxn>
              <a:cxn ang="0">
                <a:pos x="connsiteX14801" y="connsiteY14801"/>
              </a:cxn>
              <a:cxn ang="0">
                <a:pos x="connsiteX14802" y="connsiteY14802"/>
              </a:cxn>
              <a:cxn ang="0">
                <a:pos x="connsiteX14803" y="connsiteY14803"/>
              </a:cxn>
              <a:cxn ang="0">
                <a:pos x="connsiteX14804" y="connsiteY14804"/>
              </a:cxn>
              <a:cxn ang="0">
                <a:pos x="connsiteX14805" y="connsiteY14805"/>
              </a:cxn>
              <a:cxn ang="0">
                <a:pos x="connsiteX14806" y="connsiteY14806"/>
              </a:cxn>
              <a:cxn ang="0">
                <a:pos x="connsiteX14807" y="connsiteY14807"/>
              </a:cxn>
              <a:cxn ang="0">
                <a:pos x="connsiteX14808" y="connsiteY14808"/>
              </a:cxn>
              <a:cxn ang="0">
                <a:pos x="connsiteX14809" y="connsiteY14809"/>
              </a:cxn>
              <a:cxn ang="0">
                <a:pos x="connsiteX14810" y="connsiteY14810"/>
              </a:cxn>
              <a:cxn ang="0">
                <a:pos x="connsiteX14811" y="connsiteY14811"/>
              </a:cxn>
              <a:cxn ang="0">
                <a:pos x="connsiteX14812" y="connsiteY14812"/>
              </a:cxn>
              <a:cxn ang="0">
                <a:pos x="connsiteX14813" y="connsiteY14813"/>
              </a:cxn>
              <a:cxn ang="0">
                <a:pos x="connsiteX14814" y="connsiteY14814"/>
              </a:cxn>
              <a:cxn ang="0">
                <a:pos x="connsiteX14815" y="connsiteY14815"/>
              </a:cxn>
              <a:cxn ang="0">
                <a:pos x="connsiteX14816" y="connsiteY14816"/>
              </a:cxn>
              <a:cxn ang="0">
                <a:pos x="connsiteX14817" y="connsiteY14817"/>
              </a:cxn>
              <a:cxn ang="0">
                <a:pos x="connsiteX14818" y="connsiteY14818"/>
              </a:cxn>
              <a:cxn ang="0">
                <a:pos x="connsiteX14819" y="connsiteY14819"/>
              </a:cxn>
              <a:cxn ang="0">
                <a:pos x="connsiteX14820" y="connsiteY14820"/>
              </a:cxn>
              <a:cxn ang="0">
                <a:pos x="connsiteX14821" y="connsiteY14821"/>
              </a:cxn>
              <a:cxn ang="0">
                <a:pos x="connsiteX14822" y="connsiteY14822"/>
              </a:cxn>
              <a:cxn ang="0">
                <a:pos x="connsiteX14823" y="connsiteY14823"/>
              </a:cxn>
              <a:cxn ang="0">
                <a:pos x="connsiteX14824" y="connsiteY14824"/>
              </a:cxn>
              <a:cxn ang="0">
                <a:pos x="connsiteX14825" y="connsiteY14825"/>
              </a:cxn>
              <a:cxn ang="0">
                <a:pos x="connsiteX14826" y="connsiteY14826"/>
              </a:cxn>
              <a:cxn ang="0">
                <a:pos x="connsiteX14827" y="connsiteY14827"/>
              </a:cxn>
              <a:cxn ang="0">
                <a:pos x="connsiteX14828" y="connsiteY14828"/>
              </a:cxn>
              <a:cxn ang="0">
                <a:pos x="connsiteX14829" y="connsiteY14829"/>
              </a:cxn>
              <a:cxn ang="0">
                <a:pos x="connsiteX14830" y="connsiteY14830"/>
              </a:cxn>
              <a:cxn ang="0">
                <a:pos x="connsiteX14831" y="connsiteY14831"/>
              </a:cxn>
              <a:cxn ang="0">
                <a:pos x="connsiteX14832" y="connsiteY14832"/>
              </a:cxn>
              <a:cxn ang="0">
                <a:pos x="connsiteX14833" y="connsiteY14833"/>
              </a:cxn>
              <a:cxn ang="0">
                <a:pos x="connsiteX14834" y="connsiteY14834"/>
              </a:cxn>
              <a:cxn ang="0">
                <a:pos x="connsiteX14835" y="connsiteY14835"/>
              </a:cxn>
              <a:cxn ang="0">
                <a:pos x="connsiteX14836" y="connsiteY14836"/>
              </a:cxn>
              <a:cxn ang="0">
                <a:pos x="connsiteX14837" y="connsiteY14837"/>
              </a:cxn>
              <a:cxn ang="0">
                <a:pos x="connsiteX14838" y="connsiteY14838"/>
              </a:cxn>
              <a:cxn ang="0">
                <a:pos x="connsiteX14839" y="connsiteY14839"/>
              </a:cxn>
              <a:cxn ang="0">
                <a:pos x="connsiteX14840" y="connsiteY14840"/>
              </a:cxn>
              <a:cxn ang="0">
                <a:pos x="connsiteX14841" y="connsiteY14841"/>
              </a:cxn>
              <a:cxn ang="0">
                <a:pos x="connsiteX14842" y="connsiteY14842"/>
              </a:cxn>
              <a:cxn ang="0">
                <a:pos x="connsiteX14843" y="connsiteY14843"/>
              </a:cxn>
              <a:cxn ang="0">
                <a:pos x="connsiteX14844" y="connsiteY14844"/>
              </a:cxn>
              <a:cxn ang="0">
                <a:pos x="connsiteX14845" y="connsiteY14845"/>
              </a:cxn>
              <a:cxn ang="0">
                <a:pos x="connsiteX14846" y="connsiteY14846"/>
              </a:cxn>
              <a:cxn ang="0">
                <a:pos x="connsiteX14847" y="connsiteY14847"/>
              </a:cxn>
              <a:cxn ang="0">
                <a:pos x="connsiteX14848" y="connsiteY14848"/>
              </a:cxn>
              <a:cxn ang="0">
                <a:pos x="connsiteX14849" y="connsiteY14849"/>
              </a:cxn>
              <a:cxn ang="0">
                <a:pos x="connsiteX14850" y="connsiteY14850"/>
              </a:cxn>
              <a:cxn ang="0">
                <a:pos x="connsiteX14851" y="connsiteY14851"/>
              </a:cxn>
              <a:cxn ang="0">
                <a:pos x="connsiteX14852" y="connsiteY14852"/>
              </a:cxn>
              <a:cxn ang="0">
                <a:pos x="connsiteX14853" y="connsiteY14853"/>
              </a:cxn>
              <a:cxn ang="0">
                <a:pos x="connsiteX14854" y="connsiteY14854"/>
              </a:cxn>
              <a:cxn ang="0">
                <a:pos x="connsiteX14855" y="connsiteY14855"/>
              </a:cxn>
              <a:cxn ang="0">
                <a:pos x="connsiteX14856" y="connsiteY14856"/>
              </a:cxn>
              <a:cxn ang="0">
                <a:pos x="connsiteX14857" y="connsiteY14857"/>
              </a:cxn>
              <a:cxn ang="0">
                <a:pos x="connsiteX14858" y="connsiteY14858"/>
              </a:cxn>
              <a:cxn ang="0">
                <a:pos x="connsiteX14859" y="connsiteY14859"/>
              </a:cxn>
              <a:cxn ang="0">
                <a:pos x="connsiteX14860" y="connsiteY14860"/>
              </a:cxn>
              <a:cxn ang="0">
                <a:pos x="connsiteX14861" y="connsiteY14861"/>
              </a:cxn>
              <a:cxn ang="0">
                <a:pos x="connsiteX14862" y="connsiteY14862"/>
              </a:cxn>
              <a:cxn ang="0">
                <a:pos x="connsiteX14863" y="connsiteY14863"/>
              </a:cxn>
              <a:cxn ang="0">
                <a:pos x="connsiteX14864" y="connsiteY14864"/>
              </a:cxn>
              <a:cxn ang="0">
                <a:pos x="connsiteX14865" y="connsiteY14865"/>
              </a:cxn>
              <a:cxn ang="0">
                <a:pos x="connsiteX14866" y="connsiteY14866"/>
              </a:cxn>
              <a:cxn ang="0">
                <a:pos x="connsiteX14867" y="connsiteY14867"/>
              </a:cxn>
              <a:cxn ang="0">
                <a:pos x="connsiteX14868" y="connsiteY14868"/>
              </a:cxn>
              <a:cxn ang="0">
                <a:pos x="connsiteX14869" y="connsiteY14869"/>
              </a:cxn>
              <a:cxn ang="0">
                <a:pos x="connsiteX14870" y="connsiteY14870"/>
              </a:cxn>
              <a:cxn ang="0">
                <a:pos x="connsiteX14871" y="connsiteY14871"/>
              </a:cxn>
              <a:cxn ang="0">
                <a:pos x="connsiteX14872" y="connsiteY14872"/>
              </a:cxn>
              <a:cxn ang="0">
                <a:pos x="connsiteX14873" y="connsiteY14873"/>
              </a:cxn>
              <a:cxn ang="0">
                <a:pos x="connsiteX14874" y="connsiteY14874"/>
              </a:cxn>
              <a:cxn ang="0">
                <a:pos x="connsiteX14875" y="connsiteY14875"/>
              </a:cxn>
              <a:cxn ang="0">
                <a:pos x="connsiteX14876" y="connsiteY14876"/>
              </a:cxn>
              <a:cxn ang="0">
                <a:pos x="connsiteX14877" y="connsiteY14877"/>
              </a:cxn>
              <a:cxn ang="0">
                <a:pos x="connsiteX14878" y="connsiteY14878"/>
              </a:cxn>
              <a:cxn ang="0">
                <a:pos x="connsiteX14879" y="connsiteY14879"/>
              </a:cxn>
              <a:cxn ang="0">
                <a:pos x="connsiteX14880" y="connsiteY14880"/>
              </a:cxn>
              <a:cxn ang="0">
                <a:pos x="connsiteX14881" y="connsiteY14881"/>
              </a:cxn>
              <a:cxn ang="0">
                <a:pos x="connsiteX14882" y="connsiteY14882"/>
              </a:cxn>
              <a:cxn ang="0">
                <a:pos x="connsiteX14883" y="connsiteY14883"/>
              </a:cxn>
              <a:cxn ang="0">
                <a:pos x="connsiteX14884" y="connsiteY14884"/>
              </a:cxn>
              <a:cxn ang="0">
                <a:pos x="connsiteX14885" y="connsiteY14885"/>
              </a:cxn>
              <a:cxn ang="0">
                <a:pos x="connsiteX14886" y="connsiteY14886"/>
              </a:cxn>
              <a:cxn ang="0">
                <a:pos x="connsiteX14887" y="connsiteY14887"/>
              </a:cxn>
              <a:cxn ang="0">
                <a:pos x="connsiteX14888" y="connsiteY14888"/>
              </a:cxn>
              <a:cxn ang="0">
                <a:pos x="connsiteX14889" y="connsiteY14889"/>
              </a:cxn>
              <a:cxn ang="0">
                <a:pos x="connsiteX14890" y="connsiteY14890"/>
              </a:cxn>
              <a:cxn ang="0">
                <a:pos x="connsiteX14891" y="connsiteY14891"/>
              </a:cxn>
              <a:cxn ang="0">
                <a:pos x="connsiteX14892" y="connsiteY14892"/>
              </a:cxn>
              <a:cxn ang="0">
                <a:pos x="connsiteX14893" y="connsiteY14893"/>
              </a:cxn>
              <a:cxn ang="0">
                <a:pos x="connsiteX14894" y="connsiteY14894"/>
              </a:cxn>
              <a:cxn ang="0">
                <a:pos x="connsiteX14895" y="connsiteY14895"/>
              </a:cxn>
              <a:cxn ang="0">
                <a:pos x="connsiteX14896" y="connsiteY14896"/>
              </a:cxn>
              <a:cxn ang="0">
                <a:pos x="connsiteX14897" y="connsiteY14897"/>
              </a:cxn>
              <a:cxn ang="0">
                <a:pos x="connsiteX14898" y="connsiteY14898"/>
              </a:cxn>
              <a:cxn ang="0">
                <a:pos x="connsiteX14899" y="connsiteY14899"/>
              </a:cxn>
              <a:cxn ang="0">
                <a:pos x="connsiteX14900" y="connsiteY14900"/>
              </a:cxn>
              <a:cxn ang="0">
                <a:pos x="connsiteX14901" y="connsiteY14901"/>
              </a:cxn>
              <a:cxn ang="0">
                <a:pos x="connsiteX14902" y="connsiteY14902"/>
              </a:cxn>
              <a:cxn ang="0">
                <a:pos x="connsiteX14903" y="connsiteY14903"/>
              </a:cxn>
              <a:cxn ang="0">
                <a:pos x="connsiteX14904" y="connsiteY14904"/>
              </a:cxn>
              <a:cxn ang="0">
                <a:pos x="connsiteX14905" y="connsiteY14905"/>
              </a:cxn>
              <a:cxn ang="0">
                <a:pos x="connsiteX14906" y="connsiteY14906"/>
              </a:cxn>
              <a:cxn ang="0">
                <a:pos x="connsiteX14907" y="connsiteY14907"/>
              </a:cxn>
              <a:cxn ang="0">
                <a:pos x="connsiteX14908" y="connsiteY14908"/>
              </a:cxn>
              <a:cxn ang="0">
                <a:pos x="connsiteX14909" y="connsiteY14909"/>
              </a:cxn>
              <a:cxn ang="0">
                <a:pos x="connsiteX14910" y="connsiteY14910"/>
              </a:cxn>
              <a:cxn ang="0">
                <a:pos x="connsiteX14911" y="connsiteY14911"/>
              </a:cxn>
              <a:cxn ang="0">
                <a:pos x="connsiteX14912" y="connsiteY14912"/>
              </a:cxn>
              <a:cxn ang="0">
                <a:pos x="connsiteX14913" y="connsiteY14913"/>
              </a:cxn>
              <a:cxn ang="0">
                <a:pos x="connsiteX14914" y="connsiteY14914"/>
              </a:cxn>
              <a:cxn ang="0">
                <a:pos x="connsiteX14915" y="connsiteY14915"/>
              </a:cxn>
              <a:cxn ang="0">
                <a:pos x="connsiteX14916" y="connsiteY14916"/>
              </a:cxn>
              <a:cxn ang="0">
                <a:pos x="connsiteX14917" y="connsiteY14917"/>
              </a:cxn>
              <a:cxn ang="0">
                <a:pos x="connsiteX14918" y="connsiteY14918"/>
              </a:cxn>
              <a:cxn ang="0">
                <a:pos x="connsiteX14919" y="connsiteY14919"/>
              </a:cxn>
              <a:cxn ang="0">
                <a:pos x="connsiteX14920" y="connsiteY14920"/>
              </a:cxn>
              <a:cxn ang="0">
                <a:pos x="connsiteX14921" y="connsiteY14921"/>
              </a:cxn>
              <a:cxn ang="0">
                <a:pos x="connsiteX14922" y="connsiteY14922"/>
              </a:cxn>
              <a:cxn ang="0">
                <a:pos x="connsiteX14923" y="connsiteY14923"/>
              </a:cxn>
              <a:cxn ang="0">
                <a:pos x="connsiteX14924" y="connsiteY14924"/>
              </a:cxn>
              <a:cxn ang="0">
                <a:pos x="connsiteX14925" y="connsiteY14925"/>
              </a:cxn>
              <a:cxn ang="0">
                <a:pos x="connsiteX14926" y="connsiteY14926"/>
              </a:cxn>
              <a:cxn ang="0">
                <a:pos x="connsiteX14927" y="connsiteY14927"/>
              </a:cxn>
              <a:cxn ang="0">
                <a:pos x="connsiteX14928" y="connsiteY14928"/>
              </a:cxn>
              <a:cxn ang="0">
                <a:pos x="connsiteX14929" y="connsiteY14929"/>
              </a:cxn>
              <a:cxn ang="0">
                <a:pos x="connsiteX14930" y="connsiteY14930"/>
              </a:cxn>
              <a:cxn ang="0">
                <a:pos x="connsiteX14931" y="connsiteY14931"/>
              </a:cxn>
              <a:cxn ang="0">
                <a:pos x="connsiteX14932" y="connsiteY14932"/>
              </a:cxn>
              <a:cxn ang="0">
                <a:pos x="connsiteX14933" y="connsiteY14933"/>
              </a:cxn>
              <a:cxn ang="0">
                <a:pos x="connsiteX14934" y="connsiteY14934"/>
              </a:cxn>
              <a:cxn ang="0">
                <a:pos x="connsiteX14935" y="connsiteY14935"/>
              </a:cxn>
              <a:cxn ang="0">
                <a:pos x="connsiteX14936" y="connsiteY14936"/>
              </a:cxn>
              <a:cxn ang="0">
                <a:pos x="connsiteX14937" y="connsiteY14937"/>
              </a:cxn>
              <a:cxn ang="0">
                <a:pos x="connsiteX14938" y="connsiteY14938"/>
              </a:cxn>
              <a:cxn ang="0">
                <a:pos x="connsiteX14939" y="connsiteY14939"/>
              </a:cxn>
              <a:cxn ang="0">
                <a:pos x="connsiteX14940" y="connsiteY14940"/>
              </a:cxn>
              <a:cxn ang="0">
                <a:pos x="connsiteX14941" y="connsiteY14941"/>
              </a:cxn>
              <a:cxn ang="0">
                <a:pos x="connsiteX14942" y="connsiteY14942"/>
              </a:cxn>
              <a:cxn ang="0">
                <a:pos x="connsiteX14943" y="connsiteY14943"/>
              </a:cxn>
              <a:cxn ang="0">
                <a:pos x="connsiteX14944" y="connsiteY14944"/>
              </a:cxn>
              <a:cxn ang="0">
                <a:pos x="connsiteX14945" y="connsiteY14945"/>
              </a:cxn>
              <a:cxn ang="0">
                <a:pos x="connsiteX14946" y="connsiteY14946"/>
              </a:cxn>
              <a:cxn ang="0">
                <a:pos x="connsiteX14947" y="connsiteY14947"/>
              </a:cxn>
              <a:cxn ang="0">
                <a:pos x="connsiteX14948" y="connsiteY14948"/>
              </a:cxn>
              <a:cxn ang="0">
                <a:pos x="connsiteX14949" y="connsiteY14949"/>
              </a:cxn>
              <a:cxn ang="0">
                <a:pos x="connsiteX14950" y="connsiteY14950"/>
              </a:cxn>
              <a:cxn ang="0">
                <a:pos x="connsiteX14951" y="connsiteY14951"/>
              </a:cxn>
              <a:cxn ang="0">
                <a:pos x="connsiteX14952" y="connsiteY14952"/>
              </a:cxn>
              <a:cxn ang="0">
                <a:pos x="connsiteX14953" y="connsiteY14953"/>
              </a:cxn>
              <a:cxn ang="0">
                <a:pos x="connsiteX14954" y="connsiteY14954"/>
              </a:cxn>
              <a:cxn ang="0">
                <a:pos x="connsiteX14955" y="connsiteY14955"/>
              </a:cxn>
              <a:cxn ang="0">
                <a:pos x="connsiteX14956" y="connsiteY14956"/>
              </a:cxn>
              <a:cxn ang="0">
                <a:pos x="connsiteX14957" y="connsiteY14957"/>
              </a:cxn>
              <a:cxn ang="0">
                <a:pos x="connsiteX14958" y="connsiteY14958"/>
              </a:cxn>
              <a:cxn ang="0">
                <a:pos x="connsiteX14959" y="connsiteY14959"/>
              </a:cxn>
              <a:cxn ang="0">
                <a:pos x="connsiteX14960" y="connsiteY14960"/>
              </a:cxn>
              <a:cxn ang="0">
                <a:pos x="connsiteX14961" y="connsiteY14961"/>
              </a:cxn>
              <a:cxn ang="0">
                <a:pos x="connsiteX14962" y="connsiteY14962"/>
              </a:cxn>
              <a:cxn ang="0">
                <a:pos x="connsiteX14963" y="connsiteY14963"/>
              </a:cxn>
              <a:cxn ang="0">
                <a:pos x="connsiteX14964" y="connsiteY14964"/>
              </a:cxn>
              <a:cxn ang="0">
                <a:pos x="connsiteX14965" y="connsiteY14965"/>
              </a:cxn>
              <a:cxn ang="0">
                <a:pos x="connsiteX14966" y="connsiteY14966"/>
              </a:cxn>
              <a:cxn ang="0">
                <a:pos x="connsiteX14967" y="connsiteY14967"/>
              </a:cxn>
              <a:cxn ang="0">
                <a:pos x="connsiteX14968" y="connsiteY14968"/>
              </a:cxn>
              <a:cxn ang="0">
                <a:pos x="connsiteX14969" y="connsiteY14969"/>
              </a:cxn>
              <a:cxn ang="0">
                <a:pos x="connsiteX14970" y="connsiteY14970"/>
              </a:cxn>
              <a:cxn ang="0">
                <a:pos x="connsiteX14971" y="connsiteY14971"/>
              </a:cxn>
              <a:cxn ang="0">
                <a:pos x="connsiteX14972" y="connsiteY14972"/>
              </a:cxn>
              <a:cxn ang="0">
                <a:pos x="connsiteX14973" y="connsiteY14973"/>
              </a:cxn>
              <a:cxn ang="0">
                <a:pos x="connsiteX14974" y="connsiteY14974"/>
              </a:cxn>
              <a:cxn ang="0">
                <a:pos x="connsiteX14975" y="connsiteY14975"/>
              </a:cxn>
              <a:cxn ang="0">
                <a:pos x="connsiteX14976" y="connsiteY14976"/>
              </a:cxn>
              <a:cxn ang="0">
                <a:pos x="connsiteX14977" y="connsiteY14977"/>
              </a:cxn>
              <a:cxn ang="0">
                <a:pos x="connsiteX14978" y="connsiteY14978"/>
              </a:cxn>
              <a:cxn ang="0">
                <a:pos x="connsiteX14979" y="connsiteY14979"/>
              </a:cxn>
              <a:cxn ang="0">
                <a:pos x="connsiteX14980" y="connsiteY14980"/>
              </a:cxn>
              <a:cxn ang="0">
                <a:pos x="connsiteX14981" y="connsiteY14981"/>
              </a:cxn>
              <a:cxn ang="0">
                <a:pos x="connsiteX14982" y="connsiteY14982"/>
              </a:cxn>
              <a:cxn ang="0">
                <a:pos x="connsiteX14983" y="connsiteY14983"/>
              </a:cxn>
              <a:cxn ang="0">
                <a:pos x="connsiteX14984" y="connsiteY14984"/>
              </a:cxn>
              <a:cxn ang="0">
                <a:pos x="connsiteX14985" y="connsiteY14985"/>
              </a:cxn>
              <a:cxn ang="0">
                <a:pos x="connsiteX14986" y="connsiteY14986"/>
              </a:cxn>
              <a:cxn ang="0">
                <a:pos x="connsiteX14987" y="connsiteY14987"/>
              </a:cxn>
              <a:cxn ang="0">
                <a:pos x="connsiteX14988" y="connsiteY14988"/>
              </a:cxn>
              <a:cxn ang="0">
                <a:pos x="connsiteX14989" y="connsiteY14989"/>
              </a:cxn>
              <a:cxn ang="0">
                <a:pos x="connsiteX14990" y="connsiteY14990"/>
              </a:cxn>
              <a:cxn ang="0">
                <a:pos x="connsiteX14991" y="connsiteY14991"/>
              </a:cxn>
              <a:cxn ang="0">
                <a:pos x="connsiteX14992" y="connsiteY14992"/>
              </a:cxn>
              <a:cxn ang="0">
                <a:pos x="connsiteX14993" y="connsiteY14993"/>
              </a:cxn>
              <a:cxn ang="0">
                <a:pos x="connsiteX14994" y="connsiteY14994"/>
              </a:cxn>
              <a:cxn ang="0">
                <a:pos x="connsiteX14995" y="connsiteY14995"/>
              </a:cxn>
              <a:cxn ang="0">
                <a:pos x="connsiteX14996" y="connsiteY14996"/>
              </a:cxn>
              <a:cxn ang="0">
                <a:pos x="connsiteX14997" y="connsiteY14997"/>
              </a:cxn>
              <a:cxn ang="0">
                <a:pos x="connsiteX14998" y="connsiteY14998"/>
              </a:cxn>
              <a:cxn ang="0">
                <a:pos x="connsiteX14999" y="connsiteY14999"/>
              </a:cxn>
              <a:cxn ang="0">
                <a:pos x="connsiteX15000" y="connsiteY15000"/>
              </a:cxn>
              <a:cxn ang="0">
                <a:pos x="connsiteX15001" y="connsiteY15001"/>
              </a:cxn>
              <a:cxn ang="0">
                <a:pos x="connsiteX15002" y="connsiteY15002"/>
              </a:cxn>
              <a:cxn ang="0">
                <a:pos x="connsiteX15003" y="connsiteY15003"/>
              </a:cxn>
              <a:cxn ang="0">
                <a:pos x="connsiteX15004" y="connsiteY15004"/>
              </a:cxn>
              <a:cxn ang="0">
                <a:pos x="connsiteX15005" y="connsiteY15005"/>
              </a:cxn>
              <a:cxn ang="0">
                <a:pos x="connsiteX15006" y="connsiteY15006"/>
              </a:cxn>
              <a:cxn ang="0">
                <a:pos x="connsiteX15007" y="connsiteY15007"/>
              </a:cxn>
              <a:cxn ang="0">
                <a:pos x="connsiteX15008" y="connsiteY15008"/>
              </a:cxn>
              <a:cxn ang="0">
                <a:pos x="connsiteX15009" y="connsiteY15009"/>
              </a:cxn>
              <a:cxn ang="0">
                <a:pos x="connsiteX15010" y="connsiteY15010"/>
              </a:cxn>
              <a:cxn ang="0">
                <a:pos x="connsiteX15011" y="connsiteY15011"/>
              </a:cxn>
              <a:cxn ang="0">
                <a:pos x="connsiteX15012" y="connsiteY15012"/>
              </a:cxn>
              <a:cxn ang="0">
                <a:pos x="connsiteX15013" y="connsiteY15013"/>
              </a:cxn>
              <a:cxn ang="0">
                <a:pos x="connsiteX15014" y="connsiteY15014"/>
              </a:cxn>
              <a:cxn ang="0">
                <a:pos x="connsiteX15015" y="connsiteY15015"/>
              </a:cxn>
              <a:cxn ang="0">
                <a:pos x="connsiteX15016" y="connsiteY15016"/>
              </a:cxn>
              <a:cxn ang="0">
                <a:pos x="connsiteX15017" y="connsiteY15017"/>
              </a:cxn>
              <a:cxn ang="0">
                <a:pos x="connsiteX15018" y="connsiteY15018"/>
              </a:cxn>
              <a:cxn ang="0">
                <a:pos x="connsiteX15019" y="connsiteY15019"/>
              </a:cxn>
              <a:cxn ang="0">
                <a:pos x="connsiteX15020" y="connsiteY15020"/>
              </a:cxn>
              <a:cxn ang="0">
                <a:pos x="connsiteX15021" y="connsiteY15021"/>
              </a:cxn>
              <a:cxn ang="0">
                <a:pos x="connsiteX15022" y="connsiteY15022"/>
              </a:cxn>
              <a:cxn ang="0">
                <a:pos x="connsiteX15023" y="connsiteY15023"/>
              </a:cxn>
              <a:cxn ang="0">
                <a:pos x="connsiteX15024" y="connsiteY15024"/>
              </a:cxn>
              <a:cxn ang="0">
                <a:pos x="connsiteX15025" y="connsiteY15025"/>
              </a:cxn>
              <a:cxn ang="0">
                <a:pos x="connsiteX15026" y="connsiteY15026"/>
              </a:cxn>
              <a:cxn ang="0">
                <a:pos x="connsiteX15027" y="connsiteY15027"/>
              </a:cxn>
              <a:cxn ang="0">
                <a:pos x="connsiteX15028" y="connsiteY15028"/>
              </a:cxn>
              <a:cxn ang="0">
                <a:pos x="connsiteX15029" y="connsiteY15029"/>
              </a:cxn>
              <a:cxn ang="0">
                <a:pos x="connsiteX15030" y="connsiteY15030"/>
              </a:cxn>
              <a:cxn ang="0">
                <a:pos x="connsiteX15031" y="connsiteY15031"/>
              </a:cxn>
              <a:cxn ang="0">
                <a:pos x="connsiteX15032" y="connsiteY15032"/>
              </a:cxn>
              <a:cxn ang="0">
                <a:pos x="connsiteX15033" y="connsiteY15033"/>
              </a:cxn>
              <a:cxn ang="0">
                <a:pos x="connsiteX15034" y="connsiteY15034"/>
              </a:cxn>
              <a:cxn ang="0">
                <a:pos x="connsiteX15035" y="connsiteY15035"/>
              </a:cxn>
              <a:cxn ang="0">
                <a:pos x="connsiteX15036" y="connsiteY15036"/>
              </a:cxn>
              <a:cxn ang="0">
                <a:pos x="connsiteX15037" y="connsiteY15037"/>
              </a:cxn>
              <a:cxn ang="0">
                <a:pos x="connsiteX15038" y="connsiteY15038"/>
              </a:cxn>
              <a:cxn ang="0">
                <a:pos x="connsiteX15039" y="connsiteY15039"/>
              </a:cxn>
              <a:cxn ang="0">
                <a:pos x="connsiteX15040" y="connsiteY15040"/>
              </a:cxn>
              <a:cxn ang="0">
                <a:pos x="connsiteX15041" y="connsiteY15041"/>
              </a:cxn>
              <a:cxn ang="0">
                <a:pos x="connsiteX15042" y="connsiteY15042"/>
              </a:cxn>
              <a:cxn ang="0">
                <a:pos x="connsiteX15043" y="connsiteY15043"/>
              </a:cxn>
              <a:cxn ang="0">
                <a:pos x="connsiteX15044" y="connsiteY15044"/>
              </a:cxn>
              <a:cxn ang="0">
                <a:pos x="connsiteX15045" y="connsiteY15045"/>
              </a:cxn>
              <a:cxn ang="0">
                <a:pos x="connsiteX15046" y="connsiteY15046"/>
              </a:cxn>
              <a:cxn ang="0">
                <a:pos x="connsiteX15047" y="connsiteY15047"/>
              </a:cxn>
              <a:cxn ang="0">
                <a:pos x="connsiteX15048" y="connsiteY15048"/>
              </a:cxn>
              <a:cxn ang="0">
                <a:pos x="connsiteX15049" y="connsiteY15049"/>
              </a:cxn>
              <a:cxn ang="0">
                <a:pos x="connsiteX15050" y="connsiteY15050"/>
              </a:cxn>
              <a:cxn ang="0">
                <a:pos x="connsiteX15051" y="connsiteY15051"/>
              </a:cxn>
              <a:cxn ang="0">
                <a:pos x="connsiteX15052" y="connsiteY15052"/>
              </a:cxn>
              <a:cxn ang="0">
                <a:pos x="connsiteX15053" y="connsiteY15053"/>
              </a:cxn>
              <a:cxn ang="0">
                <a:pos x="connsiteX15054" y="connsiteY15054"/>
              </a:cxn>
              <a:cxn ang="0">
                <a:pos x="connsiteX15055" y="connsiteY15055"/>
              </a:cxn>
              <a:cxn ang="0">
                <a:pos x="connsiteX15056" y="connsiteY15056"/>
              </a:cxn>
              <a:cxn ang="0">
                <a:pos x="connsiteX15057" y="connsiteY15057"/>
              </a:cxn>
              <a:cxn ang="0">
                <a:pos x="connsiteX15058" y="connsiteY15058"/>
              </a:cxn>
              <a:cxn ang="0">
                <a:pos x="connsiteX15059" y="connsiteY15059"/>
              </a:cxn>
              <a:cxn ang="0">
                <a:pos x="connsiteX15060" y="connsiteY15060"/>
              </a:cxn>
              <a:cxn ang="0">
                <a:pos x="connsiteX15061" y="connsiteY15061"/>
              </a:cxn>
              <a:cxn ang="0">
                <a:pos x="connsiteX15062" y="connsiteY15062"/>
              </a:cxn>
              <a:cxn ang="0">
                <a:pos x="connsiteX15063" y="connsiteY15063"/>
              </a:cxn>
              <a:cxn ang="0">
                <a:pos x="connsiteX15064" y="connsiteY15064"/>
              </a:cxn>
              <a:cxn ang="0">
                <a:pos x="connsiteX15065" y="connsiteY15065"/>
              </a:cxn>
              <a:cxn ang="0">
                <a:pos x="connsiteX15066" y="connsiteY15066"/>
              </a:cxn>
              <a:cxn ang="0">
                <a:pos x="connsiteX15067" y="connsiteY15067"/>
              </a:cxn>
              <a:cxn ang="0">
                <a:pos x="connsiteX15068" y="connsiteY15068"/>
              </a:cxn>
              <a:cxn ang="0">
                <a:pos x="connsiteX15069" y="connsiteY15069"/>
              </a:cxn>
              <a:cxn ang="0">
                <a:pos x="connsiteX15070" y="connsiteY15070"/>
              </a:cxn>
              <a:cxn ang="0">
                <a:pos x="connsiteX15071" y="connsiteY15071"/>
              </a:cxn>
              <a:cxn ang="0">
                <a:pos x="connsiteX15072" y="connsiteY15072"/>
              </a:cxn>
              <a:cxn ang="0">
                <a:pos x="connsiteX15073" y="connsiteY15073"/>
              </a:cxn>
              <a:cxn ang="0">
                <a:pos x="connsiteX15074" y="connsiteY15074"/>
              </a:cxn>
              <a:cxn ang="0">
                <a:pos x="connsiteX15075" y="connsiteY15075"/>
              </a:cxn>
              <a:cxn ang="0">
                <a:pos x="connsiteX15076" y="connsiteY15076"/>
              </a:cxn>
              <a:cxn ang="0">
                <a:pos x="connsiteX15077" y="connsiteY15077"/>
              </a:cxn>
              <a:cxn ang="0">
                <a:pos x="connsiteX15078" y="connsiteY15078"/>
              </a:cxn>
              <a:cxn ang="0">
                <a:pos x="connsiteX15079" y="connsiteY15079"/>
              </a:cxn>
              <a:cxn ang="0">
                <a:pos x="connsiteX15080" y="connsiteY15080"/>
              </a:cxn>
              <a:cxn ang="0">
                <a:pos x="connsiteX15081" y="connsiteY15081"/>
              </a:cxn>
              <a:cxn ang="0">
                <a:pos x="connsiteX15082" y="connsiteY15082"/>
              </a:cxn>
              <a:cxn ang="0">
                <a:pos x="connsiteX15083" y="connsiteY15083"/>
              </a:cxn>
              <a:cxn ang="0">
                <a:pos x="connsiteX15084" y="connsiteY15084"/>
              </a:cxn>
              <a:cxn ang="0">
                <a:pos x="connsiteX15085" y="connsiteY15085"/>
              </a:cxn>
              <a:cxn ang="0">
                <a:pos x="connsiteX15086" y="connsiteY15086"/>
              </a:cxn>
              <a:cxn ang="0">
                <a:pos x="connsiteX15087" y="connsiteY15087"/>
              </a:cxn>
              <a:cxn ang="0">
                <a:pos x="connsiteX15088" y="connsiteY15088"/>
              </a:cxn>
              <a:cxn ang="0">
                <a:pos x="connsiteX15089" y="connsiteY15089"/>
              </a:cxn>
              <a:cxn ang="0">
                <a:pos x="connsiteX15090" y="connsiteY15090"/>
              </a:cxn>
              <a:cxn ang="0">
                <a:pos x="connsiteX15091" y="connsiteY15091"/>
              </a:cxn>
              <a:cxn ang="0">
                <a:pos x="connsiteX15092" y="connsiteY15092"/>
              </a:cxn>
              <a:cxn ang="0">
                <a:pos x="connsiteX15093" y="connsiteY15093"/>
              </a:cxn>
              <a:cxn ang="0">
                <a:pos x="connsiteX15094" y="connsiteY15094"/>
              </a:cxn>
              <a:cxn ang="0">
                <a:pos x="connsiteX15095" y="connsiteY15095"/>
              </a:cxn>
              <a:cxn ang="0">
                <a:pos x="connsiteX15096" y="connsiteY15096"/>
              </a:cxn>
              <a:cxn ang="0">
                <a:pos x="connsiteX15097" y="connsiteY15097"/>
              </a:cxn>
              <a:cxn ang="0">
                <a:pos x="connsiteX15098" y="connsiteY15098"/>
              </a:cxn>
              <a:cxn ang="0">
                <a:pos x="connsiteX15099" y="connsiteY15099"/>
              </a:cxn>
              <a:cxn ang="0">
                <a:pos x="connsiteX15100" y="connsiteY15100"/>
              </a:cxn>
              <a:cxn ang="0">
                <a:pos x="connsiteX15101" y="connsiteY15101"/>
              </a:cxn>
              <a:cxn ang="0">
                <a:pos x="connsiteX15102" y="connsiteY15102"/>
              </a:cxn>
              <a:cxn ang="0">
                <a:pos x="connsiteX15103" y="connsiteY15103"/>
              </a:cxn>
              <a:cxn ang="0">
                <a:pos x="connsiteX15104" y="connsiteY15104"/>
              </a:cxn>
              <a:cxn ang="0">
                <a:pos x="connsiteX15105" y="connsiteY15105"/>
              </a:cxn>
              <a:cxn ang="0">
                <a:pos x="connsiteX15106" y="connsiteY15106"/>
              </a:cxn>
              <a:cxn ang="0">
                <a:pos x="connsiteX15107" y="connsiteY15107"/>
              </a:cxn>
              <a:cxn ang="0">
                <a:pos x="connsiteX15108" y="connsiteY15108"/>
              </a:cxn>
              <a:cxn ang="0">
                <a:pos x="connsiteX15109" y="connsiteY15109"/>
              </a:cxn>
              <a:cxn ang="0">
                <a:pos x="connsiteX15110" y="connsiteY15110"/>
              </a:cxn>
              <a:cxn ang="0">
                <a:pos x="connsiteX15111" y="connsiteY15111"/>
              </a:cxn>
              <a:cxn ang="0">
                <a:pos x="connsiteX15112" y="connsiteY15112"/>
              </a:cxn>
              <a:cxn ang="0">
                <a:pos x="connsiteX15113" y="connsiteY15113"/>
              </a:cxn>
              <a:cxn ang="0">
                <a:pos x="connsiteX15114" y="connsiteY15114"/>
              </a:cxn>
              <a:cxn ang="0">
                <a:pos x="connsiteX15115" y="connsiteY15115"/>
              </a:cxn>
              <a:cxn ang="0">
                <a:pos x="connsiteX15116" y="connsiteY15116"/>
              </a:cxn>
              <a:cxn ang="0">
                <a:pos x="connsiteX15117" y="connsiteY15117"/>
              </a:cxn>
              <a:cxn ang="0">
                <a:pos x="connsiteX15118" y="connsiteY15118"/>
              </a:cxn>
              <a:cxn ang="0">
                <a:pos x="connsiteX15119" y="connsiteY15119"/>
              </a:cxn>
              <a:cxn ang="0">
                <a:pos x="connsiteX15120" y="connsiteY15120"/>
              </a:cxn>
              <a:cxn ang="0">
                <a:pos x="connsiteX15121" y="connsiteY15121"/>
              </a:cxn>
              <a:cxn ang="0">
                <a:pos x="connsiteX15122" y="connsiteY15122"/>
              </a:cxn>
              <a:cxn ang="0">
                <a:pos x="connsiteX15123" y="connsiteY15123"/>
              </a:cxn>
              <a:cxn ang="0">
                <a:pos x="connsiteX15124" y="connsiteY15124"/>
              </a:cxn>
              <a:cxn ang="0">
                <a:pos x="connsiteX15125" y="connsiteY15125"/>
              </a:cxn>
              <a:cxn ang="0">
                <a:pos x="connsiteX15126" y="connsiteY15126"/>
              </a:cxn>
              <a:cxn ang="0">
                <a:pos x="connsiteX15127" y="connsiteY15127"/>
              </a:cxn>
              <a:cxn ang="0">
                <a:pos x="connsiteX15128" y="connsiteY15128"/>
              </a:cxn>
              <a:cxn ang="0">
                <a:pos x="connsiteX15129" y="connsiteY15129"/>
              </a:cxn>
              <a:cxn ang="0">
                <a:pos x="connsiteX15130" y="connsiteY15130"/>
              </a:cxn>
              <a:cxn ang="0">
                <a:pos x="connsiteX15131" y="connsiteY15131"/>
              </a:cxn>
              <a:cxn ang="0">
                <a:pos x="connsiteX15132" y="connsiteY15132"/>
              </a:cxn>
              <a:cxn ang="0">
                <a:pos x="connsiteX15133" y="connsiteY15133"/>
              </a:cxn>
              <a:cxn ang="0">
                <a:pos x="connsiteX15134" y="connsiteY15134"/>
              </a:cxn>
              <a:cxn ang="0">
                <a:pos x="connsiteX15135" y="connsiteY15135"/>
              </a:cxn>
              <a:cxn ang="0">
                <a:pos x="connsiteX15136" y="connsiteY15136"/>
              </a:cxn>
              <a:cxn ang="0">
                <a:pos x="connsiteX15137" y="connsiteY15137"/>
              </a:cxn>
              <a:cxn ang="0">
                <a:pos x="connsiteX15138" y="connsiteY15138"/>
              </a:cxn>
              <a:cxn ang="0">
                <a:pos x="connsiteX15139" y="connsiteY15139"/>
              </a:cxn>
              <a:cxn ang="0">
                <a:pos x="connsiteX15140" y="connsiteY15140"/>
              </a:cxn>
              <a:cxn ang="0">
                <a:pos x="connsiteX15141" y="connsiteY15141"/>
              </a:cxn>
              <a:cxn ang="0">
                <a:pos x="connsiteX15142" y="connsiteY15142"/>
              </a:cxn>
              <a:cxn ang="0">
                <a:pos x="connsiteX15143" y="connsiteY15143"/>
              </a:cxn>
              <a:cxn ang="0">
                <a:pos x="connsiteX15144" y="connsiteY15144"/>
              </a:cxn>
              <a:cxn ang="0">
                <a:pos x="connsiteX15145" y="connsiteY15145"/>
              </a:cxn>
              <a:cxn ang="0">
                <a:pos x="connsiteX15146" y="connsiteY15146"/>
              </a:cxn>
              <a:cxn ang="0">
                <a:pos x="connsiteX15147" y="connsiteY15147"/>
              </a:cxn>
              <a:cxn ang="0">
                <a:pos x="connsiteX15148" y="connsiteY15148"/>
              </a:cxn>
              <a:cxn ang="0">
                <a:pos x="connsiteX15149" y="connsiteY15149"/>
              </a:cxn>
              <a:cxn ang="0">
                <a:pos x="connsiteX15150" y="connsiteY15150"/>
              </a:cxn>
              <a:cxn ang="0">
                <a:pos x="connsiteX15151" y="connsiteY15151"/>
              </a:cxn>
              <a:cxn ang="0">
                <a:pos x="connsiteX15152" y="connsiteY15152"/>
              </a:cxn>
              <a:cxn ang="0">
                <a:pos x="connsiteX15153" y="connsiteY15153"/>
              </a:cxn>
              <a:cxn ang="0">
                <a:pos x="connsiteX15154" y="connsiteY15154"/>
              </a:cxn>
              <a:cxn ang="0">
                <a:pos x="connsiteX15155" y="connsiteY15155"/>
              </a:cxn>
              <a:cxn ang="0">
                <a:pos x="connsiteX15156" y="connsiteY15156"/>
              </a:cxn>
              <a:cxn ang="0">
                <a:pos x="connsiteX15157" y="connsiteY15157"/>
              </a:cxn>
              <a:cxn ang="0">
                <a:pos x="connsiteX15158" y="connsiteY15158"/>
              </a:cxn>
              <a:cxn ang="0">
                <a:pos x="connsiteX15159" y="connsiteY15159"/>
              </a:cxn>
              <a:cxn ang="0">
                <a:pos x="connsiteX15160" y="connsiteY15160"/>
              </a:cxn>
              <a:cxn ang="0">
                <a:pos x="connsiteX15161" y="connsiteY15161"/>
              </a:cxn>
              <a:cxn ang="0">
                <a:pos x="connsiteX15162" y="connsiteY15162"/>
              </a:cxn>
              <a:cxn ang="0">
                <a:pos x="connsiteX15163" y="connsiteY15163"/>
              </a:cxn>
              <a:cxn ang="0">
                <a:pos x="connsiteX15164" y="connsiteY15164"/>
              </a:cxn>
              <a:cxn ang="0">
                <a:pos x="connsiteX15165" y="connsiteY15165"/>
              </a:cxn>
              <a:cxn ang="0">
                <a:pos x="connsiteX15166" y="connsiteY15166"/>
              </a:cxn>
              <a:cxn ang="0">
                <a:pos x="connsiteX15167" y="connsiteY15167"/>
              </a:cxn>
              <a:cxn ang="0">
                <a:pos x="connsiteX15168" y="connsiteY15168"/>
              </a:cxn>
              <a:cxn ang="0">
                <a:pos x="connsiteX15169" y="connsiteY15169"/>
              </a:cxn>
              <a:cxn ang="0">
                <a:pos x="connsiteX15170" y="connsiteY15170"/>
              </a:cxn>
              <a:cxn ang="0">
                <a:pos x="connsiteX15171" y="connsiteY15171"/>
              </a:cxn>
              <a:cxn ang="0">
                <a:pos x="connsiteX15172" y="connsiteY15172"/>
              </a:cxn>
              <a:cxn ang="0">
                <a:pos x="connsiteX15173" y="connsiteY15173"/>
              </a:cxn>
              <a:cxn ang="0">
                <a:pos x="connsiteX15174" y="connsiteY15174"/>
              </a:cxn>
              <a:cxn ang="0">
                <a:pos x="connsiteX15175" y="connsiteY15175"/>
              </a:cxn>
              <a:cxn ang="0">
                <a:pos x="connsiteX15176" y="connsiteY15176"/>
              </a:cxn>
              <a:cxn ang="0">
                <a:pos x="connsiteX15177" y="connsiteY15177"/>
              </a:cxn>
              <a:cxn ang="0">
                <a:pos x="connsiteX15178" y="connsiteY15178"/>
              </a:cxn>
              <a:cxn ang="0">
                <a:pos x="connsiteX15179" y="connsiteY15179"/>
              </a:cxn>
              <a:cxn ang="0">
                <a:pos x="connsiteX15180" y="connsiteY15180"/>
              </a:cxn>
              <a:cxn ang="0">
                <a:pos x="connsiteX15181" y="connsiteY15181"/>
              </a:cxn>
              <a:cxn ang="0">
                <a:pos x="connsiteX15182" y="connsiteY15182"/>
              </a:cxn>
              <a:cxn ang="0">
                <a:pos x="connsiteX15183" y="connsiteY15183"/>
              </a:cxn>
              <a:cxn ang="0">
                <a:pos x="connsiteX15184" y="connsiteY15184"/>
              </a:cxn>
              <a:cxn ang="0">
                <a:pos x="connsiteX15185" y="connsiteY15185"/>
              </a:cxn>
              <a:cxn ang="0">
                <a:pos x="connsiteX15186" y="connsiteY15186"/>
              </a:cxn>
              <a:cxn ang="0">
                <a:pos x="connsiteX15187" y="connsiteY15187"/>
              </a:cxn>
              <a:cxn ang="0">
                <a:pos x="connsiteX15188" y="connsiteY15188"/>
              </a:cxn>
              <a:cxn ang="0">
                <a:pos x="connsiteX15189" y="connsiteY15189"/>
              </a:cxn>
              <a:cxn ang="0">
                <a:pos x="connsiteX15190" y="connsiteY15190"/>
              </a:cxn>
              <a:cxn ang="0">
                <a:pos x="connsiteX15191" y="connsiteY15191"/>
              </a:cxn>
              <a:cxn ang="0">
                <a:pos x="connsiteX15192" y="connsiteY15192"/>
              </a:cxn>
              <a:cxn ang="0">
                <a:pos x="connsiteX15193" y="connsiteY15193"/>
              </a:cxn>
              <a:cxn ang="0">
                <a:pos x="connsiteX15194" y="connsiteY15194"/>
              </a:cxn>
              <a:cxn ang="0">
                <a:pos x="connsiteX15195" y="connsiteY15195"/>
              </a:cxn>
              <a:cxn ang="0">
                <a:pos x="connsiteX15196" y="connsiteY15196"/>
              </a:cxn>
              <a:cxn ang="0">
                <a:pos x="connsiteX15197" y="connsiteY15197"/>
              </a:cxn>
              <a:cxn ang="0">
                <a:pos x="connsiteX15198" y="connsiteY15198"/>
              </a:cxn>
              <a:cxn ang="0">
                <a:pos x="connsiteX15199" y="connsiteY15199"/>
              </a:cxn>
              <a:cxn ang="0">
                <a:pos x="connsiteX15200" y="connsiteY15200"/>
              </a:cxn>
              <a:cxn ang="0">
                <a:pos x="connsiteX15201" y="connsiteY15201"/>
              </a:cxn>
              <a:cxn ang="0">
                <a:pos x="connsiteX15202" y="connsiteY15202"/>
              </a:cxn>
              <a:cxn ang="0">
                <a:pos x="connsiteX15203" y="connsiteY15203"/>
              </a:cxn>
              <a:cxn ang="0">
                <a:pos x="connsiteX15204" y="connsiteY15204"/>
              </a:cxn>
              <a:cxn ang="0">
                <a:pos x="connsiteX15205" y="connsiteY15205"/>
              </a:cxn>
              <a:cxn ang="0">
                <a:pos x="connsiteX15206" y="connsiteY15206"/>
              </a:cxn>
              <a:cxn ang="0">
                <a:pos x="connsiteX15207" y="connsiteY15207"/>
              </a:cxn>
              <a:cxn ang="0">
                <a:pos x="connsiteX15208" y="connsiteY15208"/>
              </a:cxn>
              <a:cxn ang="0">
                <a:pos x="connsiteX15209" y="connsiteY15209"/>
              </a:cxn>
              <a:cxn ang="0">
                <a:pos x="connsiteX15210" y="connsiteY15210"/>
              </a:cxn>
              <a:cxn ang="0">
                <a:pos x="connsiteX15211" y="connsiteY15211"/>
              </a:cxn>
              <a:cxn ang="0">
                <a:pos x="connsiteX15212" y="connsiteY15212"/>
              </a:cxn>
              <a:cxn ang="0">
                <a:pos x="connsiteX15213" y="connsiteY15213"/>
              </a:cxn>
              <a:cxn ang="0">
                <a:pos x="connsiteX15214" y="connsiteY15214"/>
              </a:cxn>
              <a:cxn ang="0">
                <a:pos x="connsiteX15215" y="connsiteY15215"/>
              </a:cxn>
              <a:cxn ang="0">
                <a:pos x="connsiteX15216" y="connsiteY15216"/>
              </a:cxn>
              <a:cxn ang="0">
                <a:pos x="connsiteX15217" y="connsiteY15217"/>
              </a:cxn>
              <a:cxn ang="0">
                <a:pos x="connsiteX15218" y="connsiteY15218"/>
              </a:cxn>
              <a:cxn ang="0">
                <a:pos x="connsiteX15219" y="connsiteY15219"/>
              </a:cxn>
              <a:cxn ang="0">
                <a:pos x="connsiteX15220" y="connsiteY15220"/>
              </a:cxn>
              <a:cxn ang="0">
                <a:pos x="connsiteX15221" y="connsiteY15221"/>
              </a:cxn>
              <a:cxn ang="0">
                <a:pos x="connsiteX15222" y="connsiteY15222"/>
              </a:cxn>
              <a:cxn ang="0">
                <a:pos x="connsiteX15223" y="connsiteY15223"/>
              </a:cxn>
              <a:cxn ang="0">
                <a:pos x="connsiteX15224" y="connsiteY15224"/>
              </a:cxn>
              <a:cxn ang="0">
                <a:pos x="connsiteX15225" y="connsiteY15225"/>
              </a:cxn>
              <a:cxn ang="0">
                <a:pos x="connsiteX15226" y="connsiteY15226"/>
              </a:cxn>
              <a:cxn ang="0">
                <a:pos x="connsiteX15227" y="connsiteY15227"/>
              </a:cxn>
              <a:cxn ang="0">
                <a:pos x="connsiteX15228" y="connsiteY15228"/>
              </a:cxn>
              <a:cxn ang="0">
                <a:pos x="connsiteX15229" y="connsiteY15229"/>
              </a:cxn>
              <a:cxn ang="0">
                <a:pos x="connsiteX15230" y="connsiteY15230"/>
              </a:cxn>
              <a:cxn ang="0">
                <a:pos x="connsiteX15231" y="connsiteY15231"/>
              </a:cxn>
              <a:cxn ang="0">
                <a:pos x="connsiteX15232" y="connsiteY15232"/>
              </a:cxn>
              <a:cxn ang="0">
                <a:pos x="connsiteX15233" y="connsiteY15233"/>
              </a:cxn>
              <a:cxn ang="0">
                <a:pos x="connsiteX15234" y="connsiteY15234"/>
              </a:cxn>
              <a:cxn ang="0">
                <a:pos x="connsiteX15235" y="connsiteY15235"/>
              </a:cxn>
              <a:cxn ang="0">
                <a:pos x="connsiteX15236" y="connsiteY15236"/>
              </a:cxn>
              <a:cxn ang="0">
                <a:pos x="connsiteX15237" y="connsiteY15237"/>
              </a:cxn>
              <a:cxn ang="0">
                <a:pos x="connsiteX15238" y="connsiteY15238"/>
              </a:cxn>
              <a:cxn ang="0">
                <a:pos x="connsiteX15239" y="connsiteY15239"/>
              </a:cxn>
              <a:cxn ang="0">
                <a:pos x="connsiteX15240" y="connsiteY15240"/>
              </a:cxn>
              <a:cxn ang="0">
                <a:pos x="connsiteX15241" y="connsiteY15241"/>
              </a:cxn>
              <a:cxn ang="0">
                <a:pos x="connsiteX15242" y="connsiteY15242"/>
              </a:cxn>
              <a:cxn ang="0">
                <a:pos x="connsiteX15243" y="connsiteY15243"/>
              </a:cxn>
              <a:cxn ang="0">
                <a:pos x="connsiteX15244" y="connsiteY15244"/>
              </a:cxn>
              <a:cxn ang="0">
                <a:pos x="connsiteX15245" y="connsiteY15245"/>
              </a:cxn>
              <a:cxn ang="0">
                <a:pos x="connsiteX15246" y="connsiteY15246"/>
              </a:cxn>
              <a:cxn ang="0">
                <a:pos x="connsiteX15247" y="connsiteY15247"/>
              </a:cxn>
              <a:cxn ang="0">
                <a:pos x="connsiteX15248" y="connsiteY15248"/>
              </a:cxn>
              <a:cxn ang="0">
                <a:pos x="connsiteX15249" y="connsiteY15249"/>
              </a:cxn>
              <a:cxn ang="0">
                <a:pos x="connsiteX15250" y="connsiteY15250"/>
              </a:cxn>
              <a:cxn ang="0">
                <a:pos x="connsiteX15251" y="connsiteY15251"/>
              </a:cxn>
              <a:cxn ang="0">
                <a:pos x="connsiteX15252" y="connsiteY15252"/>
              </a:cxn>
              <a:cxn ang="0">
                <a:pos x="connsiteX15253" y="connsiteY15253"/>
              </a:cxn>
              <a:cxn ang="0">
                <a:pos x="connsiteX15254" y="connsiteY15254"/>
              </a:cxn>
              <a:cxn ang="0">
                <a:pos x="connsiteX15255" y="connsiteY15255"/>
              </a:cxn>
              <a:cxn ang="0">
                <a:pos x="connsiteX15256" y="connsiteY15256"/>
              </a:cxn>
              <a:cxn ang="0">
                <a:pos x="connsiteX15257" y="connsiteY15257"/>
              </a:cxn>
              <a:cxn ang="0">
                <a:pos x="connsiteX15258" y="connsiteY15258"/>
              </a:cxn>
              <a:cxn ang="0">
                <a:pos x="connsiteX15259" y="connsiteY15259"/>
              </a:cxn>
              <a:cxn ang="0">
                <a:pos x="connsiteX15260" y="connsiteY15260"/>
              </a:cxn>
              <a:cxn ang="0">
                <a:pos x="connsiteX15261" y="connsiteY15261"/>
              </a:cxn>
              <a:cxn ang="0">
                <a:pos x="connsiteX15262" y="connsiteY15262"/>
              </a:cxn>
              <a:cxn ang="0">
                <a:pos x="connsiteX15263" y="connsiteY15263"/>
              </a:cxn>
              <a:cxn ang="0">
                <a:pos x="connsiteX15264" y="connsiteY15264"/>
              </a:cxn>
              <a:cxn ang="0">
                <a:pos x="connsiteX15265" y="connsiteY15265"/>
              </a:cxn>
              <a:cxn ang="0">
                <a:pos x="connsiteX15266" y="connsiteY15266"/>
              </a:cxn>
              <a:cxn ang="0">
                <a:pos x="connsiteX15267" y="connsiteY15267"/>
              </a:cxn>
              <a:cxn ang="0">
                <a:pos x="connsiteX15268" y="connsiteY15268"/>
              </a:cxn>
              <a:cxn ang="0">
                <a:pos x="connsiteX15269" y="connsiteY15269"/>
              </a:cxn>
              <a:cxn ang="0">
                <a:pos x="connsiteX15270" y="connsiteY15270"/>
              </a:cxn>
              <a:cxn ang="0">
                <a:pos x="connsiteX15271" y="connsiteY15271"/>
              </a:cxn>
              <a:cxn ang="0">
                <a:pos x="connsiteX15272" y="connsiteY15272"/>
              </a:cxn>
              <a:cxn ang="0">
                <a:pos x="connsiteX15273" y="connsiteY15273"/>
              </a:cxn>
              <a:cxn ang="0">
                <a:pos x="connsiteX15274" y="connsiteY15274"/>
              </a:cxn>
              <a:cxn ang="0">
                <a:pos x="connsiteX15275" y="connsiteY15275"/>
              </a:cxn>
              <a:cxn ang="0">
                <a:pos x="connsiteX15276" y="connsiteY15276"/>
              </a:cxn>
              <a:cxn ang="0">
                <a:pos x="connsiteX15277" y="connsiteY15277"/>
              </a:cxn>
              <a:cxn ang="0">
                <a:pos x="connsiteX15278" y="connsiteY15278"/>
              </a:cxn>
              <a:cxn ang="0">
                <a:pos x="connsiteX15279" y="connsiteY15279"/>
              </a:cxn>
              <a:cxn ang="0">
                <a:pos x="connsiteX15280" y="connsiteY15280"/>
              </a:cxn>
              <a:cxn ang="0">
                <a:pos x="connsiteX15281" y="connsiteY15281"/>
              </a:cxn>
              <a:cxn ang="0">
                <a:pos x="connsiteX15282" y="connsiteY15282"/>
              </a:cxn>
              <a:cxn ang="0">
                <a:pos x="connsiteX15283" y="connsiteY15283"/>
              </a:cxn>
              <a:cxn ang="0">
                <a:pos x="connsiteX15284" y="connsiteY15284"/>
              </a:cxn>
              <a:cxn ang="0">
                <a:pos x="connsiteX15285" y="connsiteY15285"/>
              </a:cxn>
              <a:cxn ang="0">
                <a:pos x="connsiteX15286" y="connsiteY15286"/>
              </a:cxn>
              <a:cxn ang="0">
                <a:pos x="connsiteX15287" y="connsiteY15287"/>
              </a:cxn>
              <a:cxn ang="0">
                <a:pos x="connsiteX15288" y="connsiteY15288"/>
              </a:cxn>
              <a:cxn ang="0">
                <a:pos x="connsiteX15289" y="connsiteY15289"/>
              </a:cxn>
              <a:cxn ang="0">
                <a:pos x="connsiteX15290" y="connsiteY15290"/>
              </a:cxn>
              <a:cxn ang="0">
                <a:pos x="connsiteX15291" y="connsiteY15291"/>
              </a:cxn>
              <a:cxn ang="0">
                <a:pos x="connsiteX15292" y="connsiteY15292"/>
              </a:cxn>
              <a:cxn ang="0">
                <a:pos x="connsiteX15293" y="connsiteY15293"/>
              </a:cxn>
              <a:cxn ang="0">
                <a:pos x="connsiteX15294" y="connsiteY15294"/>
              </a:cxn>
              <a:cxn ang="0">
                <a:pos x="connsiteX15295" y="connsiteY15295"/>
              </a:cxn>
              <a:cxn ang="0">
                <a:pos x="connsiteX15296" y="connsiteY15296"/>
              </a:cxn>
              <a:cxn ang="0">
                <a:pos x="connsiteX15297" y="connsiteY15297"/>
              </a:cxn>
              <a:cxn ang="0">
                <a:pos x="connsiteX15298" y="connsiteY15298"/>
              </a:cxn>
              <a:cxn ang="0">
                <a:pos x="connsiteX15299" y="connsiteY15299"/>
              </a:cxn>
              <a:cxn ang="0">
                <a:pos x="connsiteX15300" y="connsiteY15300"/>
              </a:cxn>
              <a:cxn ang="0">
                <a:pos x="connsiteX15301" y="connsiteY15301"/>
              </a:cxn>
              <a:cxn ang="0">
                <a:pos x="connsiteX15302" y="connsiteY15302"/>
              </a:cxn>
              <a:cxn ang="0">
                <a:pos x="connsiteX15303" y="connsiteY15303"/>
              </a:cxn>
              <a:cxn ang="0">
                <a:pos x="connsiteX15304" y="connsiteY15304"/>
              </a:cxn>
              <a:cxn ang="0">
                <a:pos x="connsiteX15305" y="connsiteY15305"/>
              </a:cxn>
              <a:cxn ang="0">
                <a:pos x="connsiteX15306" y="connsiteY15306"/>
              </a:cxn>
              <a:cxn ang="0">
                <a:pos x="connsiteX15307" y="connsiteY15307"/>
              </a:cxn>
              <a:cxn ang="0">
                <a:pos x="connsiteX15308" y="connsiteY15308"/>
              </a:cxn>
              <a:cxn ang="0">
                <a:pos x="connsiteX15309" y="connsiteY15309"/>
              </a:cxn>
              <a:cxn ang="0">
                <a:pos x="connsiteX15310" y="connsiteY15310"/>
              </a:cxn>
              <a:cxn ang="0">
                <a:pos x="connsiteX15311" y="connsiteY15311"/>
              </a:cxn>
              <a:cxn ang="0">
                <a:pos x="connsiteX15312" y="connsiteY15312"/>
              </a:cxn>
              <a:cxn ang="0">
                <a:pos x="connsiteX15313" y="connsiteY15313"/>
              </a:cxn>
              <a:cxn ang="0">
                <a:pos x="connsiteX15314" y="connsiteY15314"/>
              </a:cxn>
              <a:cxn ang="0">
                <a:pos x="connsiteX15315" y="connsiteY15315"/>
              </a:cxn>
              <a:cxn ang="0">
                <a:pos x="connsiteX15316" y="connsiteY15316"/>
              </a:cxn>
              <a:cxn ang="0">
                <a:pos x="connsiteX15317" y="connsiteY15317"/>
              </a:cxn>
              <a:cxn ang="0">
                <a:pos x="connsiteX15318" y="connsiteY15318"/>
              </a:cxn>
              <a:cxn ang="0">
                <a:pos x="connsiteX15319" y="connsiteY15319"/>
              </a:cxn>
              <a:cxn ang="0">
                <a:pos x="connsiteX15320" y="connsiteY15320"/>
              </a:cxn>
              <a:cxn ang="0">
                <a:pos x="connsiteX15321" y="connsiteY15321"/>
              </a:cxn>
              <a:cxn ang="0">
                <a:pos x="connsiteX15322" y="connsiteY15322"/>
              </a:cxn>
              <a:cxn ang="0">
                <a:pos x="connsiteX15323" y="connsiteY15323"/>
              </a:cxn>
              <a:cxn ang="0">
                <a:pos x="connsiteX15324" y="connsiteY15324"/>
              </a:cxn>
              <a:cxn ang="0">
                <a:pos x="connsiteX15325" y="connsiteY15325"/>
              </a:cxn>
              <a:cxn ang="0">
                <a:pos x="connsiteX15326" y="connsiteY15326"/>
              </a:cxn>
              <a:cxn ang="0">
                <a:pos x="connsiteX15327" y="connsiteY15327"/>
              </a:cxn>
              <a:cxn ang="0">
                <a:pos x="connsiteX15328" y="connsiteY15328"/>
              </a:cxn>
              <a:cxn ang="0">
                <a:pos x="connsiteX15329" y="connsiteY15329"/>
              </a:cxn>
              <a:cxn ang="0">
                <a:pos x="connsiteX15330" y="connsiteY15330"/>
              </a:cxn>
              <a:cxn ang="0">
                <a:pos x="connsiteX15331" y="connsiteY15331"/>
              </a:cxn>
              <a:cxn ang="0">
                <a:pos x="connsiteX15332" y="connsiteY15332"/>
              </a:cxn>
              <a:cxn ang="0">
                <a:pos x="connsiteX15333" y="connsiteY15333"/>
              </a:cxn>
              <a:cxn ang="0">
                <a:pos x="connsiteX15334" y="connsiteY15334"/>
              </a:cxn>
              <a:cxn ang="0">
                <a:pos x="connsiteX15335" y="connsiteY15335"/>
              </a:cxn>
              <a:cxn ang="0">
                <a:pos x="connsiteX15336" y="connsiteY15336"/>
              </a:cxn>
              <a:cxn ang="0">
                <a:pos x="connsiteX15337" y="connsiteY15337"/>
              </a:cxn>
              <a:cxn ang="0">
                <a:pos x="connsiteX15338" y="connsiteY15338"/>
              </a:cxn>
              <a:cxn ang="0">
                <a:pos x="connsiteX15339" y="connsiteY15339"/>
              </a:cxn>
              <a:cxn ang="0">
                <a:pos x="connsiteX15340" y="connsiteY15340"/>
              </a:cxn>
              <a:cxn ang="0">
                <a:pos x="connsiteX15341" y="connsiteY15341"/>
              </a:cxn>
              <a:cxn ang="0">
                <a:pos x="connsiteX15342" y="connsiteY15342"/>
              </a:cxn>
              <a:cxn ang="0">
                <a:pos x="connsiteX15343" y="connsiteY15343"/>
              </a:cxn>
              <a:cxn ang="0">
                <a:pos x="connsiteX15344" y="connsiteY15344"/>
              </a:cxn>
              <a:cxn ang="0">
                <a:pos x="connsiteX15345" y="connsiteY15345"/>
              </a:cxn>
              <a:cxn ang="0">
                <a:pos x="connsiteX15346" y="connsiteY15346"/>
              </a:cxn>
              <a:cxn ang="0">
                <a:pos x="connsiteX15347" y="connsiteY15347"/>
              </a:cxn>
              <a:cxn ang="0">
                <a:pos x="connsiteX15348" y="connsiteY15348"/>
              </a:cxn>
              <a:cxn ang="0">
                <a:pos x="connsiteX15349" y="connsiteY15349"/>
              </a:cxn>
              <a:cxn ang="0">
                <a:pos x="connsiteX15350" y="connsiteY15350"/>
              </a:cxn>
              <a:cxn ang="0">
                <a:pos x="connsiteX15351" y="connsiteY15351"/>
              </a:cxn>
              <a:cxn ang="0">
                <a:pos x="connsiteX15352" y="connsiteY15352"/>
              </a:cxn>
              <a:cxn ang="0">
                <a:pos x="connsiteX15353" y="connsiteY15353"/>
              </a:cxn>
              <a:cxn ang="0">
                <a:pos x="connsiteX15354" y="connsiteY15354"/>
              </a:cxn>
              <a:cxn ang="0">
                <a:pos x="connsiteX15355" y="connsiteY15355"/>
              </a:cxn>
              <a:cxn ang="0">
                <a:pos x="connsiteX15356" y="connsiteY15356"/>
              </a:cxn>
              <a:cxn ang="0">
                <a:pos x="connsiteX15357" y="connsiteY15357"/>
              </a:cxn>
              <a:cxn ang="0">
                <a:pos x="connsiteX15358" y="connsiteY15358"/>
              </a:cxn>
              <a:cxn ang="0">
                <a:pos x="connsiteX15359" y="connsiteY15359"/>
              </a:cxn>
              <a:cxn ang="0">
                <a:pos x="connsiteX15360" y="connsiteY15360"/>
              </a:cxn>
              <a:cxn ang="0">
                <a:pos x="connsiteX15361" y="connsiteY15361"/>
              </a:cxn>
              <a:cxn ang="0">
                <a:pos x="connsiteX15362" y="connsiteY15362"/>
              </a:cxn>
              <a:cxn ang="0">
                <a:pos x="connsiteX15363" y="connsiteY15363"/>
              </a:cxn>
              <a:cxn ang="0">
                <a:pos x="connsiteX15364" y="connsiteY15364"/>
              </a:cxn>
              <a:cxn ang="0">
                <a:pos x="connsiteX15365" y="connsiteY15365"/>
              </a:cxn>
              <a:cxn ang="0">
                <a:pos x="connsiteX15366" y="connsiteY15366"/>
              </a:cxn>
              <a:cxn ang="0">
                <a:pos x="connsiteX15367" y="connsiteY15367"/>
              </a:cxn>
              <a:cxn ang="0">
                <a:pos x="connsiteX15368" y="connsiteY15368"/>
              </a:cxn>
              <a:cxn ang="0">
                <a:pos x="connsiteX15369" y="connsiteY15369"/>
              </a:cxn>
              <a:cxn ang="0">
                <a:pos x="connsiteX15370" y="connsiteY15370"/>
              </a:cxn>
              <a:cxn ang="0">
                <a:pos x="connsiteX15371" y="connsiteY15371"/>
              </a:cxn>
              <a:cxn ang="0">
                <a:pos x="connsiteX15372" y="connsiteY15372"/>
              </a:cxn>
              <a:cxn ang="0">
                <a:pos x="connsiteX15373" y="connsiteY15373"/>
              </a:cxn>
              <a:cxn ang="0">
                <a:pos x="connsiteX15374" y="connsiteY15374"/>
              </a:cxn>
              <a:cxn ang="0">
                <a:pos x="connsiteX15375" y="connsiteY15375"/>
              </a:cxn>
              <a:cxn ang="0">
                <a:pos x="connsiteX15376" y="connsiteY15376"/>
              </a:cxn>
              <a:cxn ang="0">
                <a:pos x="connsiteX15377" y="connsiteY15377"/>
              </a:cxn>
              <a:cxn ang="0">
                <a:pos x="connsiteX15378" y="connsiteY15378"/>
              </a:cxn>
              <a:cxn ang="0">
                <a:pos x="connsiteX15379" y="connsiteY15379"/>
              </a:cxn>
              <a:cxn ang="0">
                <a:pos x="connsiteX15380" y="connsiteY15380"/>
              </a:cxn>
              <a:cxn ang="0">
                <a:pos x="connsiteX15381" y="connsiteY15381"/>
              </a:cxn>
              <a:cxn ang="0">
                <a:pos x="connsiteX15382" y="connsiteY15382"/>
              </a:cxn>
              <a:cxn ang="0">
                <a:pos x="connsiteX15383" y="connsiteY15383"/>
              </a:cxn>
              <a:cxn ang="0">
                <a:pos x="connsiteX15384" y="connsiteY15384"/>
              </a:cxn>
              <a:cxn ang="0">
                <a:pos x="connsiteX15385" y="connsiteY15385"/>
              </a:cxn>
              <a:cxn ang="0">
                <a:pos x="connsiteX15386" y="connsiteY15386"/>
              </a:cxn>
              <a:cxn ang="0">
                <a:pos x="connsiteX15387" y="connsiteY15387"/>
              </a:cxn>
              <a:cxn ang="0">
                <a:pos x="connsiteX15388" y="connsiteY15388"/>
              </a:cxn>
              <a:cxn ang="0">
                <a:pos x="connsiteX15389" y="connsiteY15389"/>
              </a:cxn>
              <a:cxn ang="0">
                <a:pos x="connsiteX15390" y="connsiteY15390"/>
              </a:cxn>
              <a:cxn ang="0">
                <a:pos x="connsiteX15391" y="connsiteY15391"/>
              </a:cxn>
              <a:cxn ang="0">
                <a:pos x="connsiteX15392" y="connsiteY15392"/>
              </a:cxn>
              <a:cxn ang="0">
                <a:pos x="connsiteX15393" y="connsiteY15393"/>
              </a:cxn>
              <a:cxn ang="0">
                <a:pos x="connsiteX15394" y="connsiteY15394"/>
              </a:cxn>
              <a:cxn ang="0">
                <a:pos x="connsiteX15395" y="connsiteY15395"/>
              </a:cxn>
              <a:cxn ang="0">
                <a:pos x="connsiteX15396" y="connsiteY15396"/>
              </a:cxn>
              <a:cxn ang="0">
                <a:pos x="connsiteX15397" y="connsiteY15397"/>
              </a:cxn>
              <a:cxn ang="0">
                <a:pos x="connsiteX15398" y="connsiteY15398"/>
              </a:cxn>
              <a:cxn ang="0">
                <a:pos x="connsiteX15399" y="connsiteY15399"/>
              </a:cxn>
              <a:cxn ang="0">
                <a:pos x="connsiteX15400" y="connsiteY15400"/>
              </a:cxn>
              <a:cxn ang="0">
                <a:pos x="connsiteX15401" y="connsiteY15401"/>
              </a:cxn>
              <a:cxn ang="0">
                <a:pos x="connsiteX15402" y="connsiteY15402"/>
              </a:cxn>
              <a:cxn ang="0">
                <a:pos x="connsiteX15403" y="connsiteY15403"/>
              </a:cxn>
              <a:cxn ang="0">
                <a:pos x="connsiteX15404" y="connsiteY15404"/>
              </a:cxn>
              <a:cxn ang="0">
                <a:pos x="connsiteX15405" y="connsiteY15405"/>
              </a:cxn>
              <a:cxn ang="0">
                <a:pos x="connsiteX15406" y="connsiteY15406"/>
              </a:cxn>
              <a:cxn ang="0">
                <a:pos x="connsiteX15407" y="connsiteY15407"/>
              </a:cxn>
              <a:cxn ang="0">
                <a:pos x="connsiteX15408" y="connsiteY15408"/>
              </a:cxn>
              <a:cxn ang="0">
                <a:pos x="connsiteX15409" y="connsiteY15409"/>
              </a:cxn>
              <a:cxn ang="0">
                <a:pos x="connsiteX15410" y="connsiteY15410"/>
              </a:cxn>
              <a:cxn ang="0">
                <a:pos x="connsiteX15411" y="connsiteY15411"/>
              </a:cxn>
              <a:cxn ang="0">
                <a:pos x="connsiteX15412" y="connsiteY15412"/>
              </a:cxn>
              <a:cxn ang="0">
                <a:pos x="connsiteX15413" y="connsiteY15413"/>
              </a:cxn>
              <a:cxn ang="0">
                <a:pos x="connsiteX15414" y="connsiteY15414"/>
              </a:cxn>
              <a:cxn ang="0">
                <a:pos x="connsiteX15415" y="connsiteY15415"/>
              </a:cxn>
              <a:cxn ang="0">
                <a:pos x="connsiteX15416" y="connsiteY15416"/>
              </a:cxn>
              <a:cxn ang="0">
                <a:pos x="connsiteX15417" y="connsiteY15417"/>
              </a:cxn>
              <a:cxn ang="0">
                <a:pos x="connsiteX15418" y="connsiteY15418"/>
              </a:cxn>
              <a:cxn ang="0">
                <a:pos x="connsiteX15419" y="connsiteY15419"/>
              </a:cxn>
              <a:cxn ang="0">
                <a:pos x="connsiteX15420" y="connsiteY15420"/>
              </a:cxn>
              <a:cxn ang="0">
                <a:pos x="connsiteX15421" y="connsiteY15421"/>
              </a:cxn>
              <a:cxn ang="0">
                <a:pos x="connsiteX15422" y="connsiteY15422"/>
              </a:cxn>
              <a:cxn ang="0">
                <a:pos x="connsiteX15423" y="connsiteY15423"/>
              </a:cxn>
              <a:cxn ang="0">
                <a:pos x="connsiteX15424" y="connsiteY15424"/>
              </a:cxn>
              <a:cxn ang="0">
                <a:pos x="connsiteX15425" y="connsiteY15425"/>
              </a:cxn>
              <a:cxn ang="0">
                <a:pos x="connsiteX15426" y="connsiteY15426"/>
              </a:cxn>
              <a:cxn ang="0">
                <a:pos x="connsiteX15427" y="connsiteY15427"/>
              </a:cxn>
              <a:cxn ang="0">
                <a:pos x="connsiteX15428" y="connsiteY15428"/>
              </a:cxn>
              <a:cxn ang="0">
                <a:pos x="connsiteX15429" y="connsiteY15429"/>
              </a:cxn>
              <a:cxn ang="0">
                <a:pos x="connsiteX15430" y="connsiteY15430"/>
              </a:cxn>
              <a:cxn ang="0">
                <a:pos x="connsiteX15431" y="connsiteY15431"/>
              </a:cxn>
              <a:cxn ang="0">
                <a:pos x="connsiteX15432" y="connsiteY15432"/>
              </a:cxn>
              <a:cxn ang="0">
                <a:pos x="connsiteX15433" y="connsiteY15433"/>
              </a:cxn>
              <a:cxn ang="0">
                <a:pos x="connsiteX15434" y="connsiteY15434"/>
              </a:cxn>
              <a:cxn ang="0">
                <a:pos x="connsiteX15435" y="connsiteY15435"/>
              </a:cxn>
              <a:cxn ang="0">
                <a:pos x="connsiteX15436" y="connsiteY15436"/>
              </a:cxn>
              <a:cxn ang="0">
                <a:pos x="connsiteX15437" y="connsiteY15437"/>
              </a:cxn>
              <a:cxn ang="0">
                <a:pos x="connsiteX15438" y="connsiteY15438"/>
              </a:cxn>
              <a:cxn ang="0">
                <a:pos x="connsiteX15439" y="connsiteY15439"/>
              </a:cxn>
              <a:cxn ang="0">
                <a:pos x="connsiteX15440" y="connsiteY15440"/>
              </a:cxn>
              <a:cxn ang="0">
                <a:pos x="connsiteX15441" y="connsiteY15441"/>
              </a:cxn>
              <a:cxn ang="0">
                <a:pos x="connsiteX15442" y="connsiteY15442"/>
              </a:cxn>
              <a:cxn ang="0">
                <a:pos x="connsiteX15443" y="connsiteY15443"/>
              </a:cxn>
              <a:cxn ang="0">
                <a:pos x="connsiteX15444" y="connsiteY15444"/>
              </a:cxn>
              <a:cxn ang="0">
                <a:pos x="connsiteX15445" y="connsiteY15445"/>
              </a:cxn>
              <a:cxn ang="0">
                <a:pos x="connsiteX15446" y="connsiteY15446"/>
              </a:cxn>
              <a:cxn ang="0">
                <a:pos x="connsiteX15447" y="connsiteY15447"/>
              </a:cxn>
              <a:cxn ang="0">
                <a:pos x="connsiteX15448" y="connsiteY15448"/>
              </a:cxn>
              <a:cxn ang="0">
                <a:pos x="connsiteX15449" y="connsiteY15449"/>
              </a:cxn>
              <a:cxn ang="0">
                <a:pos x="connsiteX15450" y="connsiteY15450"/>
              </a:cxn>
              <a:cxn ang="0">
                <a:pos x="connsiteX15451" y="connsiteY15451"/>
              </a:cxn>
              <a:cxn ang="0">
                <a:pos x="connsiteX15452" y="connsiteY15452"/>
              </a:cxn>
              <a:cxn ang="0">
                <a:pos x="connsiteX15453" y="connsiteY15453"/>
              </a:cxn>
              <a:cxn ang="0">
                <a:pos x="connsiteX15454" y="connsiteY15454"/>
              </a:cxn>
              <a:cxn ang="0">
                <a:pos x="connsiteX15455" y="connsiteY15455"/>
              </a:cxn>
              <a:cxn ang="0">
                <a:pos x="connsiteX15456" y="connsiteY15456"/>
              </a:cxn>
              <a:cxn ang="0">
                <a:pos x="connsiteX15457" y="connsiteY15457"/>
              </a:cxn>
              <a:cxn ang="0">
                <a:pos x="connsiteX15458" y="connsiteY15458"/>
              </a:cxn>
              <a:cxn ang="0">
                <a:pos x="connsiteX15459" y="connsiteY15459"/>
              </a:cxn>
              <a:cxn ang="0">
                <a:pos x="connsiteX15460" y="connsiteY15460"/>
              </a:cxn>
              <a:cxn ang="0">
                <a:pos x="connsiteX15461" y="connsiteY15461"/>
              </a:cxn>
              <a:cxn ang="0">
                <a:pos x="connsiteX15462" y="connsiteY15462"/>
              </a:cxn>
              <a:cxn ang="0">
                <a:pos x="connsiteX15463" y="connsiteY15463"/>
              </a:cxn>
              <a:cxn ang="0">
                <a:pos x="connsiteX15464" y="connsiteY15464"/>
              </a:cxn>
              <a:cxn ang="0">
                <a:pos x="connsiteX15465" y="connsiteY15465"/>
              </a:cxn>
              <a:cxn ang="0">
                <a:pos x="connsiteX15466" y="connsiteY15466"/>
              </a:cxn>
              <a:cxn ang="0">
                <a:pos x="connsiteX15467" y="connsiteY15467"/>
              </a:cxn>
              <a:cxn ang="0">
                <a:pos x="connsiteX15468" y="connsiteY15468"/>
              </a:cxn>
              <a:cxn ang="0">
                <a:pos x="connsiteX15469" y="connsiteY15469"/>
              </a:cxn>
              <a:cxn ang="0">
                <a:pos x="connsiteX15470" y="connsiteY15470"/>
              </a:cxn>
              <a:cxn ang="0">
                <a:pos x="connsiteX15471" y="connsiteY15471"/>
              </a:cxn>
              <a:cxn ang="0">
                <a:pos x="connsiteX15472" y="connsiteY15472"/>
              </a:cxn>
              <a:cxn ang="0">
                <a:pos x="connsiteX15473" y="connsiteY15473"/>
              </a:cxn>
              <a:cxn ang="0">
                <a:pos x="connsiteX15474" y="connsiteY15474"/>
              </a:cxn>
              <a:cxn ang="0">
                <a:pos x="connsiteX15475" y="connsiteY15475"/>
              </a:cxn>
              <a:cxn ang="0">
                <a:pos x="connsiteX15476" y="connsiteY15476"/>
              </a:cxn>
              <a:cxn ang="0">
                <a:pos x="connsiteX15477" y="connsiteY15477"/>
              </a:cxn>
              <a:cxn ang="0">
                <a:pos x="connsiteX15478" y="connsiteY15478"/>
              </a:cxn>
              <a:cxn ang="0">
                <a:pos x="connsiteX15479" y="connsiteY15479"/>
              </a:cxn>
              <a:cxn ang="0">
                <a:pos x="connsiteX15480" y="connsiteY15480"/>
              </a:cxn>
              <a:cxn ang="0">
                <a:pos x="connsiteX15481" y="connsiteY15481"/>
              </a:cxn>
              <a:cxn ang="0">
                <a:pos x="connsiteX15482" y="connsiteY15482"/>
              </a:cxn>
              <a:cxn ang="0">
                <a:pos x="connsiteX15483" y="connsiteY15483"/>
              </a:cxn>
              <a:cxn ang="0">
                <a:pos x="connsiteX15484" y="connsiteY15484"/>
              </a:cxn>
              <a:cxn ang="0">
                <a:pos x="connsiteX15485" y="connsiteY15485"/>
              </a:cxn>
              <a:cxn ang="0">
                <a:pos x="connsiteX15486" y="connsiteY15486"/>
              </a:cxn>
              <a:cxn ang="0">
                <a:pos x="connsiteX15487" y="connsiteY15487"/>
              </a:cxn>
              <a:cxn ang="0">
                <a:pos x="connsiteX15488" y="connsiteY15488"/>
              </a:cxn>
              <a:cxn ang="0">
                <a:pos x="connsiteX15489" y="connsiteY15489"/>
              </a:cxn>
              <a:cxn ang="0">
                <a:pos x="connsiteX15490" y="connsiteY15490"/>
              </a:cxn>
              <a:cxn ang="0">
                <a:pos x="connsiteX15491" y="connsiteY15491"/>
              </a:cxn>
              <a:cxn ang="0">
                <a:pos x="connsiteX15492" y="connsiteY15492"/>
              </a:cxn>
              <a:cxn ang="0">
                <a:pos x="connsiteX15493" y="connsiteY15493"/>
              </a:cxn>
              <a:cxn ang="0">
                <a:pos x="connsiteX15494" y="connsiteY15494"/>
              </a:cxn>
              <a:cxn ang="0">
                <a:pos x="connsiteX15495" y="connsiteY15495"/>
              </a:cxn>
              <a:cxn ang="0">
                <a:pos x="connsiteX15496" y="connsiteY15496"/>
              </a:cxn>
              <a:cxn ang="0">
                <a:pos x="connsiteX15497" y="connsiteY15497"/>
              </a:cxn>
              <a:cxn ang="0">
                <a:pos x="connsiteX15498" y="connsiteY15498"/>
              </a:cxn>
              <a:cxn ang="0">
                <a:pos x="connsiteX15499" y="connsiteY15499"/>
              </a:cxn>
              <a:cxn ang="0">
                <a:pos x="connsiteX15500" y="connsiteY15500"/>
              </a:cxn>
              <a:cxn ang="0">
                <a:pos x="connsiteX15501" y="connsiteY15501"/>
              </a:cxn>
              <a:cxn ang="0">
                <a:pos x="connsiteX15502" y="connsiteY15502"/>
              </a:cxn>
              <a:cxn ang="0">
                <a:pos x="connsiteX15503" y="connsiteY15503"/>
              </a:cxn>
              <a:cxn ang="0">
                <a:pos x="connsiteX15504" y="connsiteY15504"/>
              </a:cxn>
              <a:cxn ang="0">
                <a:pos x="connsiteX15505" y="connsiteY15505"/>
              </a:cxn>
              <a:cxn ang="0">
                <a:pos x="connsiteX15506" y="connsiteY15506"/>
              </a:cxn>
              <a:cxn ang="0">
                <a:pos x="connsiteX15507" y="connsiteY15507"/>
              </a:cxn>
              <a:cxn ang="0">
                <a:pos x="connsiteX15508" y="connsiteY15508"/>
              </a:cxn>
              <a:cxn ang="0">
                <a:pos x="connsiteX15509" y="connsiteY15509"/>
              </a:cxn>
              <a:cxn ang="0">
                <a:pos x="connsiteX15510" y="connsiteY15510"/>
              </a:cxn>
              <a:cxn ang="0">
                <a:pos x="connsiteX15511" y="connsiteY15511"/>
              </a:cxn>
              <a:cxn ang="0">
                <a:pos x="connsiteX15512" y="connsiteY15512"/>
              </a:cxn>
              <a:cxn ang="0">
                <a:pos x="connsiteX15513" y="connsiteY15513"/>
              </a:cxn>
              <a:cxn ang="0">
                <a:pos x="connsiteX15514" y="connsiteY15514"/>
              </a:cxn>
              <a:cxn ang="0">
                <a:pos x="connsiteX15515" y="connsiteY15515"/>
              </a:cxn>
              <a:cxn ang="0">
                <a:pos x="connsiteX15516" y="connsiteY15516"/>
              </a:cxn>
              <a:cxn ang="0">
                <a:pos x="connsiteX15517" y="connsiteY15517"/>
              </a:cxn>
              <a:cxn ang="0">
                <a:pos x="connsiteX15518" y="connsiteY15518"/>
              </a:cxn>
              <a:cxn ang="0">
                <a:pos x="connsiteX15519" y="connsiteY15519"/>
              </a:cxn>
              <a:cxn ang="0">
                <a:pos x="connsiteX15520" y="connsiteY15520"/>
              </a:cxn>
              <a:cxn ang="0">
                <a:pos x="connsiteX15521" y="connsiteY15521"/>
              </a:cxn>
              <a:cxn ang="0">
                <a:pos x="connsiteX15522" y="connsiteY15522"/>
              </a:cxn>
              <a:cxn ang="0">
                <a:pos x="connsiteX15523" y="connsiteY15523"/>
              </a:cxn>
              <a:cxn ang="0">
                <a:pos x="connsiteX15524" y="connsiteY15524"/>
              </a:cxn>
              <a:cxn ang="0">
                <a:pos x="connsiteX15525" y="connsiteY15525"/>
              </a:cxn>
              <a:cxn ang="0">
                <a:pos x="connsiteX15526" y="connsiteY15526"/>
              </a:cxn>
              <a:cxn ang="0">
                <a:pos x="connsiteX15527" y="connsiteY15527"/>
              </a:cxn>
              <a:cxn ang="0">
                <a:pos x="connsiteX15528" y="connsiteY15528"/>
              </a:cxn>
              <a:cxn ang="0">
                <a:pos x="connsiteX15529" y="connsiteY15529"/>
              </a:cxn>
              <a:cxn ang="0">
                <a:pos x="connsiteX15530" y="connsiteY15530"/>
              </a:cxn>
              <a:cxn ang="0">
                <a:pos x="connsiteX15531" y="connsiteY15531"/>
              </a:cxn>
              <a:cxn ang="0">
                <a:pos x="connsiteX15532" y="connsiteY15532"/>
              </a:cxn>
              <a:cxn ang="0">
                <a:pos x="connsiteX15533" y="connsiteY15533"/>
              </a:cxn>
              <a:cxn ang="0">
                <a:pos x="connsiteX15534" y="connsiteY15534"/>
              </a:cxn>
              <a:cxn ang="0">
                <a:pos x="connsiteX15535" y="connsiteY15535"/>
              </a:cxn>
              <a:cxn ang="0">
                <a:pos x="connsiteX15536" y="connsiteY15536"/>
              </a:cxn>
              <a:cxn ang="0">
                <a:pos x="connsiteX15537" y="connsiteY15537"/>
              </a:cxn>
              <a:cxn ang="0">
                <a:pos x="connsiteX15538" y="connsiteY15538"/>
              </a:cxn>
              <a:cxn ang="0">
                <a:pos x="connsiteX15539" y="connsiteY15539"/>
              </a:cxn>
              <a:cxn ang="0">
                <a:pos x="connsiteX15540" y="connsiteY15540"/>
              </a:cxn>
              <a:cxn ang="0">
                <a:pos x="connsiteX15541" y="connsiteY15541"/>
              </a:cxn>
              <a:cxn ang="0">
                <a:pos x="connsiteX15542" y="connsiteY15542"/>
              </a:cxn>
              <a:cxn ang="0">
                <a:pos x="connsiteX15543" y="connsiteY15543"/>
              </a:cxn>
              <a:cxn ang="0">
                <a:pos x="connsiteX15544" y="connsiteY15544"/>
              </a:cxn>
              <a:cxn ang="0">
                <a:pos x="connsiteX15545" y="connsiteY15545"/>
              </a:cxn>
              <a:cxn ang="0">
                <a:pos x="connsiteX15546" y="connsiteY15546"/>
              </a:cxn>
              <a:cxn ang="0">
                <a:pos x="connsiteX15547" y="connsiteY15547"/>
              </a:cxn>
              <a:cxn ang="0">
                <a:pos x="connsiteX15548" y="connsiteY15548"/>
              </a:cxn>
              <a:cxn ang="0">
                <a:pos x="connsiteX15549" y="connsiteY15549"/>
              </a:cxn>
              <a:cxn ang="0">
                <a:pos x="connsiteX15550" y="connsiteY15550"/>
              </a:cxn>
              <a:cxn ang="0">
                <a:pos x="connsiteX15551" y="connsiteY15551"/>
              </a:cxn>
              <a:cxn ang="0">
                <a:pos x="connsiteX15552" y="connsiteY15552"/>
              </a:cxn>
              <a:cxn ang="0">
                <a:pos x="connsiteX15553" y="connsiteY15553"/>
              </a:cxn>
              <a:cxn ang="0">
                <a:pos x="connsiteX15554" y="connsiteY15554"/>
              </a:cxn>
              <a:cxn ang="0">
                <a:pos x="connsiteX15555" y="connsiteY15555"/>
              </a:cxn>
              <a:cxn ang="0">
                <a:pos x="connsiteX15556" y="connsiteY15556"/>
              </a:cxn>
              <a:cxn ang="0">
                <a:pos x="connsiteX15557" y="connsiteY15557"/>
              </a:cxn>
              <a:cxn ang="0">
                <a:pos x="connsiteX15558" y="connsiteY15558"/>
              </a:cxn>
              <a:cxn ang="0">
                <a:pos x="connsiteX15559" y="connsiteY15559"/>
              </a:cxn>
              <a:cxn ang="0">
                <a:pos x="connsiteX15560" y="connsiteY15560"/>
              </a:cxn>
              <a:cxn ang="0">
                <a:pos x="connsiteX15561" y="connsiteY15561"/>
              </a:cxn>
              <a:cxn ang="0">
                <a:pos x="connsiteX15562" y="connsiteY15562"/>
              </a:cxn>
              <a:cxn ang="0">
                <a:pos x="connsiteX15563" y="connsiteY15563"/>
              </a:cxn>
              <a:cxn ang="0">
                <a:pos x="connsiteX15564" y="connsiteY15564"/>
              </a:cxn>
              <a:cxn ang="0">
                <a:pos x="connsiteX15565" y="connsiteY15565"/>
              </a:cxn>
              <a:cxn ang="0">
                <a:pos x="connsiteX15566" y="connsiteY15566"/>
              </a:cxn>
              <a:cxn ang="0">
                <a:pos x="connsiteX15567" y="connsiteY15567"/>
              </a:cxn>
              <a:cxn ang="0">
                <a:pos x="connsiteX15568" y="connsiteY15568"/>
              </a:cxn>
              <a:cxn ang="0">
                <a:pos x="connsiteX15569" y="connsiteY15569"/>
              </a:cxn>
              <a:cxn ang="0">
                <a:pos x="connsiteX15570" y="connsiteY15570"/>
              </a:cxn>
              <a:cxn ang="0">
                <a:pos x="connsiteX15571" y="connsiteY15571"/>
              </a:cxn>
              <a:cxn ang="0">
                <a:pos x="connsiteX15572" y="connsiteY15572"/>
              </a:cxn>
              <a:cxn ang="0">
                <a:pos x="connsiteX15573" y="connsiteY15573"/>
              </a:cxn>
              <a:cxn ang="0">
                <a:pos x="connsiteX15574" y="connsiteY15574"/>
              </a:cxn>
              <a:cxn ang="0">
                <a:pos x="connsiteX15575" y="connsiteY15575"/>
              </a:cxn>
              <a:cxn ang="0">
                <a:pos x="connsiteX15576" y="connsiteY15576"/>
              </a:cxn>
              <a:cxn ang="0">
                <a:pos x="connsiteX15577" y="connsiteY15577"/>
              </a:cxn>
              <a:cxn ang="0">
                <a:pos x="connsiteX15578" y="connsiteY15578"/>
              </a:cxn>
              <a:cxn ang="0">
                <a:pos x="connsiteX15579" y="connsiteY15579"/>
              </a:cxn>
              <a:cxn ang="0">
                <a:pos x="connsiteX15580" y="connsiteY15580"/>
              </a:cxn>
              <a:cxn ang="0">
                <a:pos x="connsiteX15581" y="connsiteY15581"/>
              </a:cxn>
              <a:cxn ang="0">
                <a:pos x="connsiteX15582" y="connsiteY15582"/>
              </a:cxn>
              <a:cxn ang="0">
                <a:pos x="connsiteX15583" y="connsiteY15583"/>
              </a:cxn>
              <a:cxn ang="0">
                <a:pos x="connsiteX15584" y="connsiteY15584"/>
              </a:cxn>
              <a:cxn ang="0">
                <a:pos x="connsiteX15585" y="connsiteY15585"/>
              </a:cxn>
              <a:cxn ang="0">
                <a:pos x="connsiteX15586" y="connsiteY15586"/>
              </a:cxn>
              <a:cxn ang="0">
                <a:pos x="connsiteX15587" y="connsiteY15587"/>
              </a:cxn>
              <a:cxn ang="0">
                <a:pos x="connsiteX15588" y="connsiteY15588"/>
              </a:cxn>
              <a:cxn ang="0">
                <a:pos x="connsiteX15589" y="connsiteY15589"/>
              </a:cxn>
              <a:cxn ang="0">
                <a:pos x="connsiteX15590" y="connsiteY15590"/>
              </a:cxn>
              <a:cxn ang="0">
                <a:pos x="connsiteX15591" y="connsiteY15591"/>
              </a:cxn>
              <a:cxn ang="0">
                <a:pos x="connsiteX15592" y="connsiteY15592"/>
              </a:cxn>
              <a:cxn ang="0">
                <a:pos x="connsiteX15593" y="connsiteY15593"/>
              </a:cxn>
              <a:cxn ang="0">
                <a:pos x="connsiteX15594" y="connsiteY15594"/>
              </a:cxn>
              <a:cxn ang="0">
                <a:pos x="connsiteX15595" y="connsiteY15595"/>
              </a:cxn>
              <a:cxn ang="0">
                <a:pos x="connsiteX15596" y="connsiteY15596"/>
              </a:cxn>
              <a:cxn ang="0">
                <a:pos x="connsiteX15597" y="connsiteY15597"/>
              </a:cxn>
              <a:cxn ang="0">
                <a:pos x="connsiteX15598" y="connsiteY15598"/>
              </a:cxn>
              <a:cxn ang="0">
                <a:pos x="connsiteX15599" y="connsiteY15599"/>
              </a:cxn>
              <a:cxn ang="0">
                <a:pos x="connsiteX15600" y="connsiteY15600"/>
              </a:cxn>
              <a:cxn ang="0">
                <a:pos x="connsiteX15601" y="connsiteY15601"/>
              </a:cxn>
              <a:cxn ang="0">
                <a:pos x="connsiteX15602" y="connsiteY15602"/>
              </a:cxn>
              <a:cxn ang="0">
                <a:pos x="connsiteX15603" y="connsiteY15603"/>
              </a:cxn>
              <a:cxn ang="0">
                <a:pos x="connsiteX15604" y="connsiteY15604"/>
              </a:cxn>
              <a:cxn ang="0">
                <a:pos x="connsiteX15605" y="connsiteY15605"/>
              </a:cxn>
              <a:cxn ang="0">
                <a:pos x="connsiteX15606" y="connsiteY15606"/>
              </a:cxn>
              <a:cxn ang="0">
                <a:pos x="connsiteX15607" y="connsiteY15607"/>
              </a:cxn>
              <a:cxn ang="0">
                <a:pos x="connsiteX15608" y="connsiteY15608"/>
              </a:cxn>
              <a:cxn ang="0">
                <a:pos x="connsiteX15609" y="connsiteY15609"/>
              </a:cxn>
              <a:cxn ang="0">
                <a:pos x="connsiteX15610" y="connsiteY15610"/>
              </a:cxn>
              <a:cxn ang="0">
                <a:pos x="connsiteX15611" y="connsiteY15611"/>
              </a:cxn>
              <a:cxn ang="0">
                <a:pos x="connsiteX15612" y="connsiteY15612"/>
              </a:cxn>
              <a:cxn ang="0">
                <a:pos x="connsiteX15613" y="connsiteY15613"/>
              </a:cxn>
              <a:cxn ang="0">
                <a:pos x="connsiteX15614" y="connsiteY15614"/>
              </a:cxn>
              <a:cxn ang="0">
                <a:pos x="connsiteX15615" y="connsiteY15615"/>
              </a:cxn>
              <a:cxn ang="0">
                <a:pos x="connsiteX15616" y="connsiteY15616"/>
              </a:cxn>
              <a:cxn ang="0">
                <a:pos x="connsiteX15617" y="connsiteY15617"/>
              </a:cxn>
              <a:cxn ang="0">
                <a:pos x="connsiteX15618" y="connsiteY15618"/>
              </a:cxn>
              <a:cxn ang="0">
                <a:pos x="connsiteX15619" y="connsiteY15619"/>
              </a:cxn>
              <a:cxn ang="0">
                <a:pos x="connsiteX15620" y="connsiteY15620"/>
              </a:cxn>
              <a:cxn ang="0">
                <a:pos x="connsiteX15621" y="connsiteY15621"/>
              </a:cxn>
              <a:cxn ang="0">
                <a:pos x="connsiteX15622" y="connsiteY15622"/>
              </a:cxn>
              <a:cxn ang="0">
                <a:pos x="connsiteX15623" y="connsiteY15623"/>
              </a:cxn>
              <a:cxn ang="0">
                <a:pos x="connsiteX15624" y="connsiteY15624"/>
              </a:cxn>
              <a:cxn ang="0">
                <a:pos x="connsiteX15625" y="connsiteY15625"/>
              </a:cxn>
              <a:cxn ang="0">
                <a:pos x="connsiteX15626" y="connsiteY15626"/>
              </a:cxn>
              <a:cxn ang="0">
                <a:pos x="connsiteX15627" y="connsiteY15627"/>
              </a:cxn>
              <a:cxn ang="0">
                <a:pos x="connsiteX15628" y="connsiteY15628"/>
              </a:cxn>
              <a:cxn ang="0">
                <a:pos x="connsiteX15629" y="connsiteY15629"/>
              </a:cxn>
              <a:cxn ang="0">
                <a:pos x="connsiteX15630" y="connsiteY15630"/>
              </a:cxn>
              <a:cxn ang="0">
                <a:pos x="connsiteX15631" y="connsiteY15631"/>
              </a:cxn>
              <a:cxn ang="0">
                <a:pos x="connsiteX15632" y="connsiteY15632"/>
              </a:cxn>
              <a:cxn ang="0">
                <a:pos x="connsiteX15633" y="connsiteY15633"/>
              </a:cxn>
              <a:cxn ang="0">
                <a:pos x="connsiteX15634" y="connsiteY15634"/>
              </a:cxn>
              <a:cxn ang="0">
                <a:pos x="connsiteX15635" y="connsiteY15635"/>
              </a:cxn>
              <a:cxn ang="0">
                <a:pos x="connsiteX15636" y="connsiteY15636"/>
              </a:cxn>
              <a:cxn ang="0">
                <a:pos x="connsiteX15637" y="connsiteY15637"/>
              </a:cxn>
              <a:cxn ang="0">
                <a:pos x="connsiteX15638" y="connsiteY15638"/>
              </a:cxn>
              <a:cxn ang="0">
                <a:pos x="connsiteX15639" y="connsiteY15639"/>
              </a:cxn>
              <a:cxn ang="0">
                <a:pos x="connsiteX15640" y="connsiteY15640"/>
              </a:cxn>
              <a:cxn ang="0">
                <a:pos x="connsiteX15641" y="connsiteY15641"/>
              </a:cxn>
              <a:cxn ang="0">
                <a:pos x="connsiteX15642" y="connsiteY15642"/>
              </a:cxn>
              <a:cxn ang="0">
                <a:pos x="connsiteX15643" y="connsiteY15643"/>
              </a:cxn>
              <a:cxn ang="0">
                <a:pos x="connsiteX15644" y="connsiteY15644"/>
              </a:cxn>
              <a:cxn ang="0">
                <a:pos x="connsiteX15645" y="connsiteY15645"/>
              </a:cxn>
              <a:cxn ang="0">
                <a:pos x="connsiteX15646" y="connsiteY15646"/>
              </a:cxn>
              <a:cxn ang="0">
                <a:pos x="connsiteX15647" y="connsiteY15647"/>
              </a:cxn>
              <a:cxn ang="0">
                <a:pos x="connsiteX15648" y="connsiteY15648"/>
              </a:cxn>
              <a:cxn ang="0">
                <a:pos x="connsiteX15649" y="connsiteY15649"/>
              </a:cxn>
              <a:cxn ang="0">
                <a:pos x="connsiteX15650" y="connsiteY15650"/>
              </a:cxn>
              <a:cxn ang="0">
                <a:pos x="connsiteX15651" y="connsiteY15651"/>
              </a:cxn>
              <a:cxn ang="0">
                <a:pos x="connsiteX15652" y="connsiteY15652"/>
              </a:cxn>
              <a:cxn ang="0">
                <a:pos x="connsiteX15653" y="connsiteY15653"/>
              </a:cxn>
              <a:cxn ang="0">
                <a:pos x="connsiteX15654" y="connsiteY15654"/>
              </a:cxn>
              <a:cxn ang="0">
                <a:pos x="connsiteX15655" y="connsiteY15655"/>
              </a:cxn>
              <a:cxn ang="0">
                <a:pos x="connsiteX15656" y="connsiteY15656"/>
              </a:cxn>
              <a:cxn ang="0">
                <a:pos x="connsiteX15657" y="connsiteY15657"/>
              </a:cxn>
              <a:cxn ang="0">
                <a:pos x="connsiteX15658" y="connsiteY15658"/>
              </a:cxn>
              <a:cxn ang="0">
                <a:pos x="connsiteX15659" y="connsiteY15659"/>
              </a:cxn>
              <a:cxn ang="0">
                <a:pos x="connsiteX15660" y="connsiteY15660"/>
              </a:cxn>
              <a:cxn ang="0">
                <a:pos x="connsiteX15661" y="connsiteY15661"/>
              </a:cxn>
              <a:cxn ang="0">
                <a:pos x="connsiteX15662" y="connsiteY15662"/>
              </a:cxn>
              <a:cxn ang="0">
                <a:pos x="connsiteX15663" y="connsiteY15663"/>
              </a:cxn>
              <a:cxn ang="0">
                <a:pos x="connsiteX15664" y="connsiteY15664"/>
              </a:cxn>
              <a:cxn ang="0">
                <a:pos x="connsiteX15665" y="connsiteY15665"/>
              </a:cxn>
              <a:cxn ang="0">
                <a:pos x="connsiteX15666" y="connsiteY15666"/>
              </a:cxn>
              <a:cxn ang="0">
                <a:pos x="connsiteX15667" y="connsiteY15667"/>
              </a:cxn>
              <a:cxn ang="0">
                <a:pos x="connsiteX15668" y="connsiteY15668"/>
              </a:cxn>
              <a:cxn ang="0">
                <a:pos x="connsiteX15669" y="connsiteY15669"/>
              </a:cxn>
              <a:cxn ang="0">
                <a:pos x="connsiteX15670" y="connsiteY15670"/>
              </a:cxn>
              <a:cxn ang="0">
                <a:pos x="connsiteX15671" y="connsiteY15671"/>
              </a:cxn>
              <a:cxn ang="0">
                <a:pos x="connsiteX15672" y="connsiteY15672"/>
              </a:cxn>
              <a:cxn ang="0">
                <a:pos x="connsiteX15673" y="connsiteY15673"/>
              </a:cxn>
              <a:cxn ang="0">
                <a:pos x="connsiteX15674" y="connsiteY15674"/>
              </a:cxn>
              <a:cxn ang="0">
                <a:pos x="connsiteX15675" y="connsiteY15675"/>
              </a:cxn>
              <a:cxn ang="0">
                <a:pos x="connsiteX15676" y="connsiteY15676"/>
              </a:cxn>
              <a:cxn ang="0">
                <a:pos x="connsiteX15677" y="connsiteY15677"/>
              </a:cxn>
              <a:cxn ang="0">
                <a:pos x="connsiteX15678" y="connsiteY15678"/>
              </a:cxn>
              <a:cxn ang="0">
                <a:pos x="connsiteX15679" y="connsiteY15679"/>
              </a:cxn>
              <a:cxn ang="0">
                <a:pos x="connsiteX15680" y="connsiteY15680"/>
              </a:cxn>
              <a:cxn ang="0">
                <a:pos x="connsiteX15681" y="connsiteY15681"/>
              </a:cxn>
              <a:cxn ang="0">
                <a:pos x="connsiteX15682" y="connsiteY15682"/>
              </a:cxn>
              <a:cxn ang="0">
                <a:pos x="connsiteX15683" y="connsiteY15683"/>
              </a:cxn>
              <a:cxn ang="0">
                <a:pos x="connsiteX15684" y="connsiteY15684"/>
              </a:cxn>
              <a:cxn ang="0">
                <a:pos x="connsiteX15685" y="connsiteY15685"/>
              </a:cxn>
              <a:cxn ang="0">
                <a:pos x="connsiteX15686" y="connsiteY15686"/>
              </a:cxn>
              <a:cxn ang="0">
                <a:pos x="connsiteX15687" y="connsiteY15687"/>
              </a:cxn>
              <a:cxn ang="0">
                <a:pos x="connsiteX15688" y="connsiteY15688"/>
              </a:cxn>
              <a:cxn ang="0">
                <a:pos x="connsiteX15689" y="connsiteY15689"/>
              </a:cxn>
              <a:cxn ang="0">
                <a:pos x="connsiteX15690" y="connsiteY15690"/>
              </a:cxn>
              <a:cxn ang="0">
                <a:pos x="connsiteX15691" y="connsiteY15691"/>
              </a:cxn>
              <a:cxn ang="0">
                <a:pos x="connsiteX15692" y="connsiteY15692"/>
              </a:cxn>
              <a:cxn ang="0">
                <a:pos x="connsiteX15693" y="connsiteY15693"/>
              </a:cxn>
              <a:cxn ang="0">
                <a:pos x="connsiteX15694" y="connsiteY15694"/>
              </a:cxn>
              <a:cxn ang="0">
                <a:pos x="connsiteX15695" y="connsiteY15695"/>
              </a:cxn>
              <a:cxn ang="0">
                <a:pos x="connsiteX15696" y="connsiteY15696"/>
              </a:cxn>
              <a:cxn ang="0">
                <a:pos x="connsiteX15697" y="connsiteY15697"/>
              </a:cxn>
              <a:cxn ang="0">
                <a:pos x="connsiteX15698" y="connsiteY15698"/>
              </a:cxn>
              <a:cxn ang="0">
                <a:pos x="connsiteX15699" y="connsiteY15699"/>
              </a:cxn>
              <a:cxn ang="0">
                <a:pos x="connsiteX15700" y="connsiteY15700"/>
              </a:cxn>
              <a:cxn ang="0">
                <a:pos x="connsiteX15701" y="connsiteY15701"/>
              </a:cxn>
              <a:cxn ang="0">
                <a:pos x="connsiteX15702" y="connsiteY15702"/>
              </a:cxn>
              <a:cxn ang="0">
                <a:pos x="connsiteX15703" y="connsiteY15703"/>
              </a:cxn>
              <a:cxn ang="0">
                <a:pos x="connsiteX15704" y="connsiteY15704"/>
              </a:cxn>
              <a:cxn ang="0">
                <a:pos x="connsiteX15705" y="connsiteY15705"/>
              </a:cxn>
              <a:cxn ang="0">
                <a:pos x="connsiteX15706" y="connsiteY15706"/>
              </a:cxn>
              <a:cxn ang="0">
                <a:pos x="connsiteX15707" y="connsiteY15707"/>
              </a:cxn>
              <a:cxn ang="0">
                <a:pos x="connsiteX15708" y="connsiteY15708"/>
              </a:cxn>
              <a:cxn ang="0">
                <a:pos x="connsiteX15709" y="connsiteY15709"/>
              </a:cxn>
              <a:cxn ang="0">
                <a:pos x="connsiteX15710" y="connsiteY15710"/>
              </a:cxn>
              <a:cxn ang="0">
                <a:pos x="connsiteX15711" y="connsiteY15711"/>
              </a:cxn>
              <a:cxn ang="0">
                <a:pos x="connsiteX15712" y="connsiteY15712"/>
              </a:cxn>
              <a:cxn ang="0">
                <a:pos x="connsiteX15713" y="connsiteY15713"/>
              </a:cxn>
              <a:cxn ang="0">
                <a:pos x="connsiteX15714" y="connsiteY15714"/>
              </a:cxn>
              <a:cxn ang="0">
                <a:pos x="connsiteX15715" y="connsiteY15715"/>
              </a:cxn>
              <a:cxn ang="0">
                <a:pos x="connsiteX15716" y="connsiteY15716"/>
              </a:cxn>
              <a:cxn ang="0">
                <a:pos x="connsiteX15717" y="connsiteY15717"/>
              </a:cxn>
              <a:cxn ang="0">
                <a:pos x="connsiteX15718" y="connsiteY15718"/>
              </a:cxn>
              <a:cxn ang="0">
                <a:pos x="connsiteX15719" y="connsiteY15719"/>
              </a:cxn>
              <a:cxn ang="0">
                <a:pos x="connsiteX15720" y="connsiteY15720"/>
              </a:cxn>
              <a:cxn ang="0">
                <a:pos x="connsiteX15721" y="connsiteY15721"/>
              </a:cxn>
              <a:cxn ang="0">
                <a:pos x="connsiteX15722" y="connsiteY15722"/>
              </a:cxn>
              <a:cxn ang="0">
                <a:pos x="connsiteX15723" y="connsiteY15723"/>
              </a:cxn>
              <a:cxn ang="0">
                <a:pos x="connsiteX15724" y="connsiteY15724"/>
              </a:cxn>
              <a:cxn ang="0">
                <a:pos x="connsiteX15725" y="connsiteY15725"/>
              </a:cxn>
              <a:cxn ang="0">
                <a:pos x="connsiteX15726" y="connsiteY15726"/>
              </a:cxn>
              <a:cxn ang="0">
                <a:pos x="connsiteX15727" y="connsiteY15727"/>
              </a:cxn>
              <a:cxn ang="0">
                <a:pos x="connsiteX15728" y="connsiteY15728"/>
              </a:cxn>
              <a:cxn ang="0">
                <a:pos x="connsiteX15729" y="connsiteY15729"/>
              </a:cxn>
              <a:cxn ang="0">
                <a:pos x="connsiteX15730" y="connsiteY15730"/>
              </a:cxn>
              <a:cxn ang="0">
                <a:pos x="connsiteX15731" y="connsiteY15731"/>
              </a:cxn>
              <a:cxn ang="0">
                <a:pos x="connsiteX15732" y="connsiteY15732"/>
              </a:cxn>
              <a:cxn ang="0">
                <a:pos x="connsiteX15733" y="connsiteY15733"/>
              </a:cxn>
              <a:cxn ang="0">
                <a:pos x="connsiteX15734" y="connsiteY15734"/>
              </a:cxn>
              <a:cxn ang="0">
                <a:pos x="connsiteX15735" y="connsiteY15735"/>
              </a:cxn>
              <a:cxn ang="0">
                <a:pos x="connsiteX15736" y="connsiteY15736"/>
              </a:cxn>
              <a:cxn ang="0">
                <a:pos x="connsiteX15737" y="connsiteY15737"/>
              </a:cxn>
              <a:cxn ang="0">
                <a:pos x="connsiteX15738" y="connsiteY15738"/>
              </a:cxn>
              <a:cxn ang="0">
                <a:pos x="connsiteX15739" y="connsiteY15739"/>
              </a:cxn>
              <a:cxn ang="0">
                <a:pos x="connsiteX15740" y="connsiteY15740"/>
              </a:cxn>
              <a:cxn ang="0">
                <a:pos x="connsiteX15741" y="connsiteY15741"/>
              </a:cxn>
              <a:cxn ang="0">
                <a:pos x="connsiteX15742" y="connsiteY15742"/>
              </a:cxn>
              <a:cxn ang="0">
                <a:pos x="connsiteX15743" y="connsiteY15743"/>
              </a:cxn>
              <a:cxn ang="0">
                <a:pos x="connsiteX15744" y="connsiteY15744"/>
              </a:cxn>
              <a:cxn ang="0">
                <a:pos x="connsiteX15745" y="connsiteY15745"/>
              </a:cxn>
              <a:cxn ang="0">
                <a:pos x="connsiteX15746" y="connsiteY15746"/>
              </a:cxn>
              <a:cxn ang="0">
                <a:pos x="connsiteX15747" y="connsiteY15747"/>
              </a:cxn>
              <a:cxn ang="0">
                <a:pos x="connsiteX15748" y="connsiteY15748"/>
              </a:cxn>
              <a:cxn ang="0">
                <a:pos x="connsiteX15749" y="connsiteY15749"/>
              </a:cxn>
              <a:cxn ang="0">
                <a:pos x="connsiteX15750" y="connsiteY15750"/>
              </a:cxn>
              <a:cxn ang="0">
                <a:pos x="connsiteX15751" y="connsiteY15751"/>
              </a:cxn>
              <a:cxn ang="0">
                <a:pos x="connsiteX15752" y="connsiteY15752"/>
              </a:cxn>
              <a:cxn ang="0">
                <a:pos x="connsiteX15753" y="connsiteY15753"/>
              </a:cxn>
              <a:cxn ang="0">
                <a:pos x="connsiteX15754" y="connsiteY15754"/>
              </a:cxn>
              <a:cxn ang="0">
                <a:pos x="connsiteX15755" y="connsiteY15755"/>
              </a:cxn>
              <a:cxn ang="0">
                <a:pos x="connsiteX15756" y="connsiteY15756"/>
              </a:cxn>
              <a:cxn ang="0">
                <a:pos x="connsiteX15757" y="connsiteY15757"/>
              </a:cxn>
              <a:cxn ang="0">
                <a:pos x="connsiteX15758" y="connsiteY15758"/>
              </a:cxn>
              <a:cxn ang="0">
                <a:pos x="connsiteX15759" y="connsiteY15759"/>
              </a:cxn>
              <a:cxn ang="0">
                <a:pos x="connsiteX15760" y="connsiteY15760"/>
              </a:cxn>
              <a:cxn ang="0">
                <a:pos x="connsiteX15761" y="connsiteY15761"/>
              </a:cxn>
              <a:cxn ang="0">
                <a:pos x="connsiteX15762" y="connsiteY15762"/>
              </a:cxn>
              <a:cxn ang="0">
                <a:pos x="connsiteX15763" y="connsiteY15763"/>
              </a:cxn>
              <a:cxn ang="0">
                <a:pos x="connsiteX15764" y="connsiteY15764"/>
              </a:cxn>
              <a:cxn ang="0">
                <a:pos x="connsiteX15765" y="connsiteY15765"/>
              </a:cxn>
              <a:cxn ang="0">
                <a:pos x="connsiteX15766" y="connsiteY15766"/>
              </a:cxn>
              <a:cxn ang="0">
                <a:pos x="connsiteX15767" y="connsiteY15767"/>
              </a:cxn>
              <a:cxn ang="0">
                <a:pos x="connsiteX15768" y="connsiteY15768"/>
              </a:cxn>
              <a:cxn ang="0">
                <a:pos x="connsiteX15769" y="connsiteY15769"/>
              </a:cxn>
              <a:cxn ang="0">
                <a:pos x="connsiteX15770" y="connsiteY15770"/>
              </a:cxn>
              <a:cxn ang="0">
                <a:pos x="connsiteX15771" y="connsiteY15771"/>
              </a:cxn>
              <a:cxn ang="0">
                <a:pos x="connsiteX15772" y="connsiteY15772"/>
              </a:cxn>
              <a:cxn ang="0">
                <a:pos x="connsiteX15773" y="connsiteY15773"/>
              </a:cxn>
              <a:cxn ang="0">
                <a:pos x="connsiteX15774" y="connsiteY15774"/>
              </a:cxn>
              <a:cxn ang="0">
                <a:pos x="connsiteX15775" y="connsiteY15775"/>
              </a:cxn>
              <a:cxn ang="0">
                <a:pos x="connsiteX15776" y="connsiteY15776"/>
              </a:cxn>
              <a:cxn ang="0">
                <a:pos x="connsiteX15777" y="connsiteY15777"/>
              </a:cxn>
              <a:cxn ang="0">
                <a:pos x="connsiteX15778" y="connsiteY15778"/>
              </a:cxn>
              <a:cxn ang="0">
                <a:pos x="connsiteX15779" y="connsiteY15779"/>
              </a:cxn>
              <a:cxn ang="0">
                <a:pos x="connsiteX15780" y="connsiteY15780"/>
              </a:cxn>
              <a:cxn ang="0">
                <a:pos x="connsiteX15781" y="connsiteY15781"/>
              </a:cxn>
              <a:cxn ang="0">
                <a:pos x="connsiteX15782" y="connsiteY15782"/>
              </a:cxn>
              <a:cxn ang="0">
                <a:pos x="connsiteX15783" y="connsiteY15783"/>
              </a:cxn>
              <a:cxn ang="0">
                <a:pos x="connsiteX15784" y="connsiteY15784"/>
              </a:cxn>
              <a:cxn ang="0">
                <a:pos x="connsiteX15785" y="connsiteY15785"/>
              </a:cxn>
              <a:cxn ang="0">
                <a:pos x="connsiteX15786" y="connsiteY15786"/>
              </a:cxn>
              <a:cxn ang="0">
                <a:pos x="connsiteX15787" y="connsiteY15787"/>
              </a:cxn>
              <a:cxn ang="0">
                <a:pos x="connsiteX15788" y="connsiteY15788"/>
              </a:cxn>
              <a:cxn ang="0">
                <a:pos x="connsiteX15789" y="connsiteY15789"/>
              </a:cxn>
              <a:cxn ang="0">
                <a:pos x="connsiteX15790" y="connsiteY15790"/>
              </a:cxn>
              <a:cxn ang="0">
                <a:pos x="connsiteX15791" y="connsiteY15791"/>
              </a:cxn>
              <a:cxn ang="0">
                <a:pos x="connsiteX15792" y="connsiteY15792"/>
              </a:cxn>
              <a:cxn ang="0">
                <a:pos x="connsiteX15793" y="connsiteY15793"/>
              </a:cxn>
              <a:cxn ang="0">
                <a:pos x="connsiteX15794" y="connsiteY15794"/>
              </a:cxn>
              <a:cxn ang="0">
                <a:pos x="connsiteX15795" y="connsiteY15795"/>
              </a:cxn>
              <a:cxn ang="0">
                <a:pos x="connsiteX15796" y="connsiteY15796"/>
              </a:cxn>
              <a:cxn ang="0">
                <a:pos x="connsiteX15797" y="connsiteY15797"/>
              </a:cxn>
              <a:cxn ang="0">
                <a:pos x="connsiteX15798" y="connsiteY15798"/>
              </a:cxn>
              <a:cxn ang="0">
                <a:pos x="connsiteX15799" y="connsiteY15799"/>
              </a:cxn>
              <a:cxn ang="0">
                <a:pos x="connsiteX15800" y="connsiteY15800"/>
              </a:cxn>
              <a:cxn ang="0">
                <a:pos x="connsiteX15801" y="connsiteY15801"/>
              </a:cxn>
              <a:cxn ang="0">
                <a:pos x="connsiteX15802" y="connsiteY15802"/>
              </a:cxn>
              <a:cxn ang="0">
                <a:pos x="connsiteX15803" y="connsiteY15803"/>
              </a:cxn>
              <a:cxn ang="0">
                <a:pos x="connsiteX15804" y="connsiteY15804"/>
              </a:cxn>
              <a:cxn ang="0">
                <a:pos x="connsiteX15805" y="connsiteY15805"/>
              </a:cxn>
              <a:cxn ang="0">
                <a:pos x="connsiteX15806" y="connsiteY15806"/>
              </a:cxn>
              <a:cxn ang="0">
                <a:pos x="connsiteX15807" y="connsiteY15807"/>
              </a:cxn>
              <a:cxn ang="0">
                <a:pos x="connsiteX15808" y="connsiteY15808"/>
              </a:cxn>
              <a:cxn ang="0">
                <a:pos x="connsiteX15809" y="connsiteY15809"/>
              </a:cxn>
              <a:cxn ang="0">
                <a:pos x="connsiteX15810" y="connsiteY15810"/>
              </a:cxn>
              <a:cxn ang="0">
                <a:pos x="connsiteX15811" y="connsiteY15811"/>
              </a:cxn>
              <a:cxn ang="0">
                <a:pos x="connsiteX15812" y="connsiteY15812"/>
              </a:cxn>
              <a:cxn ang="0">
                <a:pos x="connsiteX15813" y="connsiteY15813"/>
              </a:cxn>
              <a:cxn ang="0">
                <a:pos x="connsiteX15814" y="connsiteY15814"/>
              </a:cxn>
              <a:cxn ang="0">
                <a:pos x="connsiteX15815" y="connsiteY15815"/>
              </a:cxn>
              <a:cxn ang="0">
                <a:pos x="connsiteX15816" y="connsiteY15816"/>
              </a:cxn>
              <a:cxn ang="0">
                <a:pos x="connsiteX15817" y="connsiteY15817"/>
              </a:cxn>
              <a:cxn ang="0">
                <a:pos x="connsiteX15818" y="connsiteY15818"/>
              </a:cxn>
              <a:cxn ang="0">
                <a:pos x="connsiteX15819" y="connsiteY15819"/>
              </a:cxn>
              <a:cxn ang="0">
                <a:pos x="connsiteX15820" y="connsiteY15820"/>
              </a:cxn>
              <a:cxn ang="0">
                <a:pos x="connsiteX15821" y="connsiteY15821"/>
              </a:cxn>
              <a:cxn ang="0">
                <a:pos x="connsiteX15822" y="connsiteY15822"/>
              </a:cxn>
              <a:cxn ang="0">
                <a:pos x="connsiteX15823" y="connsiteY15823"/>
              </a:cxn>
              <a:cxn ang="0">
                <a:pos x="connsiteX15824" y="connsiteY15824"/>
              </a:cxn>
              <a:cxn ang="0">
                <a:pos x="connsiteX15825" y="connsiteY15825"/>
              </a:cxn>
              <a:cxn ang="0">
                <a:pos x="connsiteX15826" y="connsiteY15826"/>
              </a:cxn>
              <a:cxn ang="0">
                <a:pos x="connsiteX15827" y="connsiteY15827"/>
              </a:cxn>
              <a:cxn ang="0">
                <a:pos x="connsiteX15828" y="connsiteY15828"/>
              </a:cxn>
              <a:cxn ang="0">
                <a:pos x="connsiteX15829" y="connsiteY15829"/>
              </a:cxn>
              <a:cxn ang="0">
                <a:pos x="connsiteX15830" y="connsiteY15830"/>
              </a:cxn>
              <a:cxn ang="0">
                <a:pos x="connsiteX15831" y="connsiteY15831"/>
              </a:cxn>
              <a:cxn ang="0">
                <a:pos x="connsiteX15832" y="connsiteY15832"/>
              </a:cxn>
              <a:cxn ang="0">
                <a:pos x="connsiteX15833" y="connsiteY15833"/>
              </a:cxn>
              <a:cxn ang="0">
                <a:pos x="connsiteX15834" y="connsiteY15834"/>
              </a:cxn>
              <a:cxn ang="0">
                <a:pos x="connsiteX15835" y="connsiteY15835"/>
              </a:cxn>
              <a:cxn ang="0">
                <a:pos x="connsiteX15836" y="connsiteY15836"/>
              </a:cxn>
              <a:cxn ang="0">
                <a:pos x="connsiteX15837" y="connsiteY15837"/>
              </a:cxn>
              <a:cxn ang="0">
                <a:pos x="connsiteX15838" y="connsiteY15838"/>
              </a:cxn>
              <a:cxn ang="0">
                <a:pos x="connsiteX15839" y="connsiteY15839"/>
              </a:cxn>
              <a:cxn ang="0">
                <a:pos x="connsiteX15840" y="connsiteY15840"/>
              </a:cxn>
              <a:cxn ang="0">
                <a:pos x="connsiteX15841" y="connsiteY15841"/>
              </a:cxn>
              <a:cxn ang="0">
                <a:pos x="connsiteX15842" y="connsiteY15842"/>
              </a:cxn>
              <a:cxn ang="0">
                <a:pos x="connsiteX15843" y="connsiteY15843"/>
              </a:cxn>
              <a:cxn ang="0">
                <a:pos x="connsiteX15844" y="connsiteY15844"/>
              </a:cxn>
              <a:cxn ang="0">
                <a:pos x="connsiteX15845" y="connsiteY15845"/>
              </a:cxn>
              <a:cxn ang="0">
                <a:pos x="connsiteX15846" y="connsiteY15846"/>
              </a:cxn>
              <a:cxn ang="0">
                <a:pos x="connsiteX15847" y="connsiteY15847"/>
              </a:cxn>
              <a:cxn ang="0">
                <a:pos x="connsiteX15848" y="connsiteY15848"/>
              </a:cxn>
              <a:cxn ang="0">
                <a:pos x="connsiteX15849" y="connsiteY15849"/>
              </a:cxn>
              <a:cxn ang="0">
                <a:pos x="connsiteX15850" y="connsiteY15850"/>
              </a:cxn>
              <a:cxn ang="0">
                <a:pos x="connsiteX15851" y="connsiteY15851"/>
              </a:cxn>
              <a:cxn ang="0">
                <a:pos x="connsiteX15852" y="connsiteY15852"/>
              </a:cxn>
              <a:cxn ang="0">
                <a:pos x="connsiteX15853" y="connsiteY15853"/>
              </a:cxn>
              <a:cxn ang="0">
                <a:pos x="connsiteX15854" y="connsiteY15854"/>
              </a:cxn>
              <a:cxn ang="0">
                <a:pos x="connsiteX15855" y="connsiteY15855"/>
              </a:cxn>
              <a:cxn ang="0">
                <a:pos x="connsiteX15856" y="connsiteY15856"/>
              </a:cxn>
              <a:cxn ang="0">
                <a:pos x="connsiteX15857" y="connsiteY15857"/>
              </a:cxn>
              <a:cxn ang="0">
                <a:pos x="connsiteX15858" y="connsiteY15858"/>
              </a:cxn>
              <a:cxn ang="0">
                <a:pos x="connsiteX15859" y="connsiteY15859"/>
              </a:cxn>
              <a:cxn ang="0">
                <a:pos x="connsiteX15860" y="connsiteY15860"/>
              </a:cxn>
              <a:cxn ang="0">
                <a:pos x="connsiteX15861" y="connsiteY15861"/>
              </a:cxn>
              <a:cxn ang="0">
                <a:pos x="connsiteX15862" y="connsiteY15862"/>
              </a:cxn>
              <a:cxn ang="0">
                <a:pos x="connsiteX15863" y="connsiteY15863"/>
              </a:cxn>
              <a:cxn ang="0">
                <a:pos x="connsiteX15864" y="connsiteY15864"/>
              </a:cxn>
              <a:cxn ang="0">
                <a:pos x="connsiteX15865" y="connsiteY15865"/>
              </a:cxn>
              <a:cxn ang="0">
                <a:pos x="connsiteX15866" y="connsiteY15866"/>
              </a:cxn>
              <a:cxn ang="0">
                <a:pos x="connsiteX15867" y="connsiteY15867"/>
              </a:cxn>
              <a:cxn ang="0">
                <a:pos x="connsiteX15868" y="connsiteY15868"/>
              </a:cxn>
              <a:cxn ang="0">
                <a:pos x="connsiteX15869" y="connsiteY15869"/>
              </a:cxn>
              <a:cxn ang="0">
                <a:pos x="connsiteX15870" y="connsiteY15870"/>
              </a:cxn>
              <a:cxn ang="0">
                <a:pos x="connsiteX15871" y="connsiteY15871"/>
              </a:cxn>
              <a:cxn ang="0">
                <a:pos x="connsiteX15872" y="connsiteY15872"/>
              </a:cxn>
              <a:cxn ang="0">
                <a:pos x="connsiteX15873" y="connsiteY15873"/>
              </a:cxn>
              <a:cxn ang="0">
                <a:pos x="connsiteX15874" y="connsiteY15874"/>
              </a:cxn>
              <a:cxn ang="0">
                <a:pos x="connsiteX15875" y="connsiteY15875"/>
              </a:cxn>
              <a:cxn ang="0">
                <a:pos x="connsiteX15876" y="connsiteY15876"/>
              </a:cxn>
              <a:cxn ang="0">
                <a:pos x="connsiteX15877" y="connsiteY15877"/>
              </a:cxn>
              <a:cxn ang="0">
                <a:pos x="connsiteX15878" y="connsiteY15878"/>
              </a:cxn>
              <a:cxn ang="0">
                <a:pos x="connsiteX15879" y="connsiteY15879"/>
              </a:cxn>
              <a:cxn ang="0">
                <a:pos x="connsiteX15880" y="connsiteY15880"/>
              </a:cxn>
              <a:cxn ang="0">
                <a:pos x="connsiteX15881" y="connsiteY15881"/>
              </a:cxn>
              <a:cxn ang="0">
                <a:pos x="connsiteX15882" y="connsiteY15882"/>
              </a:cxn>
              <a:cxn ang="0">
                <a:pos x="connsiteX15883" y="connsiteY15883"/>
              </a:cxn>
              <a:cxn ang="0">
                <a:pos x="connsiteX15884" y="connsiteY15884"/>
              </a:cxn>
              <a:cxn ang="0">
                <a:pos x="connsiteX15885" y="connsiteY15885"/>
              </a:cxn>
              <a:cxn ang="0">
                <a:pos x="connsiteX15886" y="connsiteY15886"/>
              </a:cxn>
              <a:cxn ang="0">
                <a:pos x="connsiteX15887" y="connsiteY15887"/>
              </a:cxn>
              <a:cxn ang="0">
                <a:pos x="connsiteX15888" y="connsiteY15888"/>
              </a:cxn>
              <a:cxn ang="0">
                <a:pos x="connsiteX15889" y="connsiteY15889"/>
              </a:cxn>
              <a:cxn ang="0">
                <a:pos x="connsiteX15890" y="connsiteY15890"/>
              </a:cxn>
              <a:cxn ang="0">
                <a:pos x="connsiteX15891" y="connsiteY15891"/>
              </a:cxn>
              <a:cxn ang="0">
                <a:pos x="connsiteX15892" y="connsiteY15892"/>
              </a:cxn>
              <a:cxn ang="0">
                <a:pos x="connsiteX15893" y="connsiteY15893"/>
              </a:cxn>
              <a:cxn ang="0">
                <a:pos x="connsiteX15894" y="connsiteY15894"/>
              </a:cxn>
              <a:cxn ang="0">
                <a:pos x="connsiteX15895" y="connsiteY15895"/>
              </a:cxn>
              <a:cxn ang="0">
                <a:pos x="connsiteX15896" y="connsiteY15896"/>
              </a:cxn>
              <a:cxn ang="0">
                <a:pos x="connsiteX15897" y="connsiteY15897"/>
              </a:cxn>
              <a:cxn ang="0">
                <a:pos x="connsiteX15898" y="connsiteY15898"/>
              </a:cxn>
              <a:cxn ang="0">
                <a:pos x="connsiteX15899" y="connsiteY15899"/>
              </a:cxn>
              <a:cxn ang="0">
                <a:pos x="connsiteX15900" y="connsiteY15900"/>
              </a:cxn>
              <a:cxn ang="0">
                <a:pos x="connsiteX15901" y="connsiteY15901"/>
              </a:cxn>
              <a:cxn ang="0">
                <a:pos x="connsiteX15902" y="connsiteY15902"/>
              </a:cxn>
              <a:cxn ang="0">
                <a:pos x="connsiteX15903" y="connsiteY15903"/>
              </a:cxn>
              <a:cxn ang="0">
                <a:pos x="connsiteX15904" y="connsiteY15904"/>
              </a:cxn>
              <a:cxn ang="0">
                <a:pos x="connsiteX15905" y="connsiteY15905"/>
              </a:cxn>
              <a:cxn ang="0">
                <a:pos x="connsiteX15906" y="connsiteY15906"/>
              </a:cxn>
              <a:cxn ang="0">
                <a:pos x="connsiteX15907" y="connsiteY15907"/>
              </a:cxn>
              <a:cxn ang="0">
                <a:pos x="connsiteX15908" y="connsiteY15908"/>
              </a:cxn>
              <a:cxn ang="0">
                <a:pos x="connsiteX15909" y="connsiteY15909"/>
              </a:cxn>
              <a:cxn ang="0">
                <a:pos x="connsiteX15910" y="connsiteY15910"/>
              </a:cxn>
              <a:cxn ang="0">
                <a:pos x="connsiteX15911" y="connsiteY15911"/>
              </a:cxn>
              <a:cxn ang="0">
                <a:pos x="connsiteX15912" y="connsiteY15912"/>
              </a:cxn>
              <a:cxn ang="0">
                <a:pos x="connsiteX15913" y="connsiteY15913"/>
              </a:cxn>
              <a:cxn ang="0">
                <a:pos x="connsiteX15914" y="connsiteY15914"/>
              </a:cxn>
              <a:cxn ang="0">
                <a:pos x="connsiteX15915" y="connsiteY15915"/>
              </a:cxn>
              <a:cxn ang="0">
                <a:pos x="connsiteX15916" y="connsiteY15916"/>
              </a:cxn>
              <a:cxn ang="0">
                <a:pos x="connsiteX15917" y="connsiteY15917"/>
              </a:cxn>
              <a:cxn ang="0">
                <a:pos x="connsiteX15918" y="connsiteY15918"/>
              </a:cxn>
              <a:cxn ang="0">
                <a:pos x="connsiteX15919" y="connsiteY15919"/>
              </a:cxn>
              <a:cxn ang="0">
                <a:pos x="connsiteX15920" y="connsiteY15920"/>
              </a:cxn>
              <a:cxn ang="0">
                <a:pos x="connsiteX15921" y="connsiteY15921"/>
              </a:cxn>
              <a:cxn ang="0">
                <a:pos x="connsiteX15922" y="connsiteY15922"/>
              </a:cxn>
              <a:cxn ang="0">
                <a:pos x="connsiteX15923" y="connsiteY15923"/>
              </a:cxn>
              <a:cxn ang="0">
                <a:pos x="connsiteX15924" y="connsiteY15924"/>
              </a:cxn>
              <a:cxn ang="0">
                <a:pos x="connsiteX15925" y="connsiteY15925"/>
              </a:cxn>
              <a:cxn ang="0">
                <a:pos x="connsiteX15926" y="connsiteY15926"/>
              </a:cxn>
              <a:cxn ang="0">
                <a:pos x="connsiteX15927" y="connsiteY15927"/>
              </a:cxn>
              <a:cxn ang="0">
                <a:pos x="connsiteX15928" y="connsiteY15928"/>
              </a:cxn>
              <a:cxn ang="0">
                <a:pos x="connsiteX15929" y="connsiteY15929"/>
              </a:cxn>
              <a:cxn ang="0">
                <a:pos x="connsiteX15930" y="connsiteY15930"/>
              </a:cxn>
              <a:cxn ang="0">
                <a:pos x="connsiteX15931" y="connsiteY15931"/>
              </a:cxn>
              <a:cxn ang="0">
                <a:pos x="connsiteX15932" y="connsiteY15932"/>
              </a:cxn>
              <a:cxn ang="0">
                <a:pos x="connsiteX15933" y="connsiteY15933"/>
              </a:cxn>
              <a:cxn ang="0">
                <a:pos x="connsiteX15934" y="connsiteY15934"/>
              </a:cxn>
              <a:cxn ang="0">
                <a:pos x="connsiteX15935" y="connsiteY15935"/>
              </a:cxn>
              <a:cxn ang="0">
                <a:pos x="connsiteX15936" y="connsiteY15936"/>
              </a:cxn>
              <a:cxn ang="0">
                <a:pos x="connsiteX15937" y="connsiteY15937"/>
              </a:cxn>
              <a:cxn ang="0">
                <a:pos x="connsiteX15938" y="connsiteY15938"/>
              </a:cxn>
              <a:cxn ang="0">
                <a:pos x="connsiteX15939" y="connsiteY15939"/>
              </a:cxn>
              <a:cxn ang="0">
                <a:pos x="connsiteX15940" y="connsiteY15940"/>
              </a:cxn>
              <a:cxn ang="0">
                <a:pos x="connsiteX15941" y="connsiteY15941"/>
              </a:cxn>
              <a:cxn ang="0">
                <a:pos x="connsiteX15942" y="connsiteY15942"/>
              </a:cxn>
              <a:cxn ang="0">
                <a:pos x="connsiteX15943" y="connsiteY15943"/>
              </a:cxn>
              <a:cxn ang="0">
                <a:pos x="connsiteX15944" y="connsiteY15944"/>
              </a:cxn>
              <a:cxn ang="0">
                <a:pos x="connsiteX15945" y="connsiteY15945"/>
              </a:cxn>
              <a:cxn ang="0">
                <a:pos x="connsiteX15946" y="connsiteY15946"/>
              </a:cxn>
              <a:cxn ang="0">
                <a:pos x="connsiteX15947" y="connsiteY15947"/>
              </a:cxn>
              <a:cxn ang="0">
                <a:pos x="connsiteX15948" y="connsiteY15948"/>
              </a:cxn>
              <a:cxn ang="0">
                <a:pos x="connsiteX15949" y="connsiteY15949"/>
              </a:cxn>
              <a:cxn ang="0">
                <a:pos x="connsiteX15950" y="connsiteY15950"/>
              </a:cxn>
              <a:cxn ang="0">
                <a:pos x="connsiteX15951" y="connsiteY15951"/>
              </a:cxn>
              <a:cxn ang="0">
                <a:pos x="connsiteX15952" y="connsiteY15952"/>
              </a:cxn>
              <a:cxn ang="0">
                <a:pos x="connsiteX15953" y="connsiteY15953"/>
              </a:cxn>
              <a:cxn ang="0">
                <a:pos x="connsiteX15954" y="connsiteY15954"/>
              </a:cxn>
              <a:cxn ang="0">
                <a:pos x="connsiteX15955" y="connsiteY15955"/>
              </a:cxn>
              <a:cxn ang="0">
                <a:pos x="connsiteX15956" y="connsiteY15956"/>
              </a:cxn>
              <a:cxn ang="0">
                <a:pos x="connsiteX15957" y="connsiteY15957"/>
              </a:cxn>
              <a:cxn ang="0">
                <a:pos x="connsiteX15958" y="connsiteY15958"/>
              </a:cxn>
              <a:cxn ang="0">
                <a:pos x="connsiteX15959" y="connsiteY15959"/>
              </a:cxn>
              <a:cxn ang="0">
                <a:pos x="connsiteX15960" y="connsiteY15960"/>
              </a:cxn>
              <a:cxn ang="0">
                <a:pos x="connsiteX15961" y="connsiteY15961"/>
              </a:cxn>
              <a:cxn ang="0">
                <a:pos x="connsiteX15962" y="connsiteY15962"/>
              </a:cxn>
              <a:cxn ang="0">
                <a:pos x="connsiteX15963" y="connsiteY15963"/>
              </a:cxn>
              <a:cxn ang="0">
                <a:pos x="connsiteX15964" y="connsiteY15964"/>
              </a:cxn>
              <a:cxn ang="0">
                <a:pos x="connsiteX15965" y="connsiteY15965"/>
              </a:cxn>
              <a:cxn ang="0">
                <a:pos x="connsiteX15966" y="connsiteY15966"/>
              </a:cxn>
              <a:cxn ang="0">
                <a:pos x="connsiteX15967" y="connsiteY15967"/>
              </a:cxn>
              <a:cxn ang="0">
                <a:pos x="connsiteX15968" y="connsiteY15968"/>
              </a:cxn>
              <a:cxn ang="0">
                <a:pos x="connsiteX15969" y="connsiteY15969"/>
              </a:cxn>
              <a:cxn ang="0">
                <a:pos x="connsiteX15970" y="connsiteY15970"/>
              </a:cxn>
              <a:cxn ang="0">
                <a:pos x="connsiteX15971" y="connsiteY15971"/>
              </a:cxn>
              <a:cxn ang="0">
                <a:pos x="connsiteX15972" y="connsiteY15972"/>
              </a:cxn>
              <a:cxn ang="0">
                <a:pos x="connsiteX15973" y="connsiteY15973"/>
              </a:cxn>
              <a:cxn ang="0">
                <a:pos x="connsiteX15974" y="connsiteY15974"/>
              </a:cxn>
              <a:cxn ang="0">
                <a:pos x="connsiteX15975" y="connsiteY15975"/>
              </a:cxn>
              <a:cxn ang="0">
                <a:pos x="connsiteX15976" y="connsiteY15976"/>
              </a:cxn>
              <a:cxn ang="0">
                <a:pos x="connsiteX15977" y="connsiteY15977"/>
              </a:cxn>
              <a:cxn ang="0">
                <a:pos x="connsiteX15978" y="connsiteY15978"/>
              </a:cxn>
              <a:cxn ang="0">
                <a:pos x="connsiteX15979" y="connsiteY15979"/>
              </a:cxn>
              <a:cxn ang="0">
                <a:pos x="connsiteX15980" y="connsiteY15980"/>
              </a:cxn>
              <a:cxn ang="0">
                <a:pos x="connsiteX15981" y="connsiteY15981"/>
              </a:cxn>
              <a:cxn ang="0">
                <a:pos x="connsiteX15982" y="connsiteY15982"/>
              </a:cxn>
              <a:cxn ang="0">
                <a:pos x="connsiteX15983" y="connsiteY15983"/>
              </a:cxn>
              <a:cxn ang="0">
                <a:pos x="connsiteX15984" y="connsiteY15984"/>
              </a:cxn>
              <a:cxn ang="0">
                <a:pos x="connsiteX15985" y="connsiteY15985"/>
              </a:cxn>
              <a:cxn ang="0">
                <a:pos x="connsiteX15986" y="connsiteY15986"/>
              </a:cxn>
              <a:cxn ang="0">
                <a:pos x="connsiteX15987" y="connsiteY15987"/>
              </a:cxn>
              <a:cxn ang="0">
                <a:pos x="connsiteX15988" y="connsiteY15988"/>
              </a:cxn>
              <a:cxn ang="0">
                <a:pos x="connsiteX15989" y="connsiteY15989"/>
              </a:cxn>
              <a:cxn ang="0">
                <a:pos x="connsiteX15990" y="connsiteY15990"/>
              </a:cxn>
              <a:cxn ang="0">
                <a:pos x="connsiteX15991" y="connsiteY15991"/>
              </a:cxn>
              <a:cxn ang="0">
                <a:pos x="connsiteX15992" y="connsiteY15992"/>
              </a:cxn>
              <a:cxn ang="0">
                <a:pos x="connsiteX15993" y="connsiteY15993"/>
              </a:cxn>
              <a:cxn ang="0">
                <a:pos x="connsiteX15994" y="connsiteY15994"/>
              </a:cxn>
              <a:cxn ang="0">
                <a:pos x="connsiteX15995" y="connsiteY15995"/>
              </a:cxn>
              <a:cxn ang="0">
                <a:pos x="connsiteX15996" y="connsiteY15996"/>
              </a:cxn>
              <a:cxn ang="0">
                <a:pos x="connsiteX15997" y="connsiteY15997"/>
              </a:cxn>
              <a:cxn ang="0">
                <a:pos x="connsiteX15998" y="connsiteY15998"/>
              </a:cxn>
              <a:cxn ang="0">
                <a:pos x="connsiteX15999" y="connsiteY15999"/>
              </a:cxn>
              <a:cxn ang="0">
                <a:pos x="connsiteX16000" y="connsiteY16000"/>
              </a:cxn>
              <a:cxn ang="0">
                <a:pos x="connsiteX16001" y="connsiteY16001"/>
              </a:cxn>
              <a:cxn ang="0">
                <a:pos x="connsiteX16002" y="connsiteY16002"/>
              </a:cxn>
              <a:cxn ang="0">
                <a:pos x="connsiteX16003" y="connsiteY16003"/>
              </a:cxn>
              <a:cxn ang="0">
                <a:pos x="connsiteX16004" y="connsiteY16004"/>
              </a:cxn>
              <a:cxn ang="0">
                <a:pos x="connsiteX16005" y="connsiteY16005"/>
              </a:cxn>
              <a:cxn ang="0">
                <a:pos x="connsiteX16006" y="connsiteY16006"/>
              </a:cxn>
              <a:cxn ang="0">
                <a:pos x="connsiteX16007" y="connsiteY16007"/>
              </a:cxn>
              <a:cxn ang="0">
                <a:pos x="connsiteX16008" y="connsiteY16008"/>
              </a:cxn>
              <a:cxn ang="0">
                <a:pos x="connsiteX16009" y="connsiteY16009"/>
              </a:cxn>
              <a:cxn ang="0">
                <a:pos x="connsiteX16010" y="connsiteY16010"/>
              </a:cxn>
              <a:cxn ang="0">
                <a:pos x="connsiteX16011" y="connsiteY16011"/>
              </a:cxn>
              <a:cxn ang="0">
                <a:pos x="connsiteX16012" y="connsiteY16012"/>
              </a:cxn>
              <a:cxn ang="0">
                <a:pos x="connsiteX16013" y="connsiteY16013"/>
              </a:cxn>
              <a:cxn ang="0">
                <a:pos x="connsiteX16014" y="connsiteY16014"/>
              </a:cxn>
              <a:cxn ang="0">
                <a:pos x="connsiteX16015" y="connsiteY16015"/>
              </a:cxn>
              <a:cxn ang="0">
                <a:pos x="connsiteX16016" y="connsiteY16016"/>
              </a:cxn>
              <a:cxn ang="0">
                <a:pos x="connsiteX16017" y="connsiteY16017"/>
              </a:cxn>
              <a:cxn ang="0">
                <a:pos x="connsiteX16018" y="connsiteY16018"/>
              </a:cxn>
              <a:cxn ang="0">
                <a:pos x="connsiteX16019" y="connsiteY16019"/>
              </a:cxn>
              <a:cxn ang="0">
                <a:pos x="connsiteX16020" y="connsiteY16020"/>
              </a:cxn>
              <a:cxn ang="0">
                <a:pos x="connsiteX16021" y="connsiteY16021"/>
              </a:cxn>
              <a:cxn ang="0">
                <a:pos x="connsiteX16022" y="connsiteY16022"/>
              </a:cxn>
              <a:cxn ang="0">
                <a:pos x="connsiteX16023" y="connsiteY16023"/>
              </a:cxn>
              <a:cxn ang="0">
                <a:pos x="connsiteX16024" y="connsiteY16024"/>
              </a:cxn>
              <a:cxn ang="0">
                <a:pos x="connsiteX16025" y="connsiteY16025"/>
              </a:cxn>
              <a:cxn ang="0">
                <a:pos x="connsiteX16026" y="connsiteY16026"/>
              </a:cxn>
              <a:cxn ang="0">
                <a:pos x="connsiteX16027" y="connsiteY16027"/>
              </a:cxn>
              <a:cxn ang="0">
                <a:pos x="connsiteX16028" y="connsiteY16028"/>
              </a:cxn>
              <a:cxn ang="0">
                <a:pos x="connsiteX16029" y="connsiteY16029"/>
              </a:cxn>
              <a:cxn ang="0">
                <a:pos x="connsiteX16030" y="connsiteY16030"/>
              </a:cxn>
              <a:cxn ang="0">
                <a:pos x="connsiteX16031" y="connsiteY16031"/>
              </a:cxn>
              <a:cxn ang="0">
                <a:pos x="connsiteX16032" y="connsiteY16032"/>
              </a:cxn>
              <a:cxn ang="0">
                <a:pos x="connsiteX16033" y="connsiteY16033"/>
              </a:cxn>
              <a:cxn ang="0">
                <a:pos x="connsiteX16034" y="connsiteY16034"/>
              </a:cxn>
              <a:cxn ang="0">
                <a:pos x="connsiteX16035" y="connsiteY16035"/>
              </a:cxn>
              <a:cxn ang="0">
                <a:pos x="connsiteX16036" y="connsiteY16036"/>
              </a:cxn>
              <a:cxn ang="0">
                <a:pos x="connsiteX16037" y="connsiteY16037"/>
              </a:cxn>
              <a:cxn ang="0">
                <a:pos x="connsiteX16038" y="connsiteY16038"/>
              </a:cxn>
              <a:cxn ang="0">
                <a:pos x="connsiteX16039" y="connsiteY16039"/>
              </a:cxn>
              <a:cxn ang="0">
                <a:pos x="connsiteX16040" y="connsiteY16040"/>
              </a:cxn>
              <a:cxn ang="0">
                <a:pos x="connsiteX16041" y="connsiteY16041"/>
              </a:cxn>
              <a:cxn ang="0">
                <a:pos x="connsiteX16042" y="connsiteY16042"/>
              </a:cxn>
              <a:cxn ang="0">
                <a:pos x="connsiteX16043" y="connsiteY16043"/>
              </a:cxn>
              <a:cxn ang="0">
                <a:pos x="connsiteX16044" y="connsiteY16044"/>
              </a:cxn>
              <a:cxn ang="0">
                <a:pos x="connsiteX16045" y="connsiteY16045"/>
              </a:cxn>
              <a:cxn ang="0">
                <a:pos x="connsiteX16046" y="connsiteY16046"/>
              </a:cxn>
              <a:cxn ang="0">
                <a:pos x="connsiteX16047" y="connsiteY16047"/>
              </a:cxn>
              <a:cxn ang="0">
                <a:pos x="connsiteX16048" y="connsiteY16048"/>
              </a:cxn>
              <a:cxn ang="0">
                <a:pos x="connsiteX16049" y="connsiteY16049"/>
              </a:cxn>
              <a:cxn ang="0">
                <a:pos x="connsiteX16050" y="connsiteY16050"/>
              </a:cxn>
              <a:cxn ang="0">
                <a:pos x="connsiteX16051" y="connsiteY16051"/>
              </a:cxn>
              <a:cxn ang="0">
                <a:pos x="connsiteX16052" y="connsiteY16052"/>
              </a:cxn>
              <a:cxn ang="0">
                <a:pos x="connsiteX16053" y="connsiteY16053"/>
              </a:cxn>
              <a:cxn ang="0">
                <a:pos x="connsiteX16054" y="connsiteY16054"/>
              </a:cxn>
              <a:cxn ang="0">
                <a:pos x="connsiteX16055" y="connsiteY16055"/>
              </a:cxn>
              <a:cxn ang="0">
                <a:pos x="connsiteX16056" y="connsiteY16056"/>
              </a:cxn>
              <a:cxn ang="0">
                <a:pos x="connsiteX16057" y="connsiteY16057"/>
              </a:cxn>
              <a:cxn ang="0">
                <a:pos x="connsiteX16058" y="connsiteY16058"/>
              </a:cxn>
              <a:cxn ang="0">
                <a:pos x="connsiteX16059" y="connsiteY16059"/>
              </a:cxn>
              <a:cxn ang="0">
                <a:pos x="connsiteX16060" y="connsiteY16060"/>
              </a:cxn>
              <a:cxn ang="0">
                <a:pos x="connsiteX16061" y="connsiteY16061"/>
              </a:cxn>
              <a:cxn ang="0">
                <a:pos x="connsiteX16062" y="connsiteY16062"/>
              </a:cxn>
              <a:cxn ang="0">
                <a:pos x="connsiteX16063" y="connsiteY16063"/>
              </a:cxn>
              <a:cxn ang="0">
                <a:pos x="connsiteX16064" y="connsiteY16064"/>
              </a:cxn>
              <a:cxn ang="0">
                <a:pos x="connsiteX16065" y="connsiteY16065"/>
              </a:cxn>
              <a:cxn ang="0">
                <a:pos x="connsiteX16066" y="connsiteY16066"/>
              </a:cxn>
              <a:cxn ang="0">
                <a:pos x="connsiteX16067" y="connsiteY16067"/>
              </a:cxn>
              <a:cxn ang="0">
                <a:pos x="connsiteX16068" y="connsiteY16068"/>
              </a:cxn>
              <a:cxn ang="0">
                <a:pos x="connsiteX16069" y="connsiteY16069"/>
              </a:cxn>
              <a:cxn ang="0">
                <a:pos x="connsiteX16070" y="connsiteY16070"/>
              </a:cxn>
              <a:cxn ang="0">
                <a:pos x="connsiteX16071" y="connsiteY16071"/>
              </a:cxn>
              <a:cxn ang="0">
                <a:pos x="connsiteX16072" y="connsiteY16072"/>
              </a:cxn>
              <a:cxn ang="0">
                <a:pos x="connsiteX16073" y="connsiteY16073"/>
              </a:cxn>
              <a:cxn ang="0">
                <a:pos x="connsiteX16074" y="connsiteY16074"/>
              </a:cxn>
              <a:cxn ang="0">
                <a:pos x="connsiteX16075" y="connsiteY16075"/>
              </a:cxn>
              <a:cxn ang="0">
                <a:pos x="connsiteX16076" y="connsiteY16076"/>
              </a:cxn>
              <a:cxn ang="0">
                <a:pos x="connsiteX16077" y="connsiteY16077"/>
              </a:cxn>
              <a:cxn ang="0">
                <a:pos x="connsiteX16078" y="connsiteY16078"/>
              </a:cxn>
              <a:cxn ang="0">
                <a:pos x="connsiteX16079" y="connsiteY16079"/>
              </a:cxn>
              <a:cxn ang="0">
                <a:pos x="connsiteX16080" y="connsiteY16080"/>
              </a:cxn>
              <a:cxn ang="0">
                <a:pos x="connsiteX16081" y="connsiteY16081"/>
              </a:cxn>
              <a:cxn ang="0">
                <a:pos x="connsiteX16082" y="connsiteY16082"/>
              </a:cxn>
              <a:cxn ang="0">
                <a:pos x="connsiteX16083" y="connsiteY16083"/>
              </a:cxn>
              <a:cxn ang="0">
                <a:pos x="connsiteX16084" y="connsiteY16084"/>
              </a:cxn>
              <a:cxn ang="0">
                <a:pos x="connsiteX16085" y="connsiteY16085"/>
              </a:cxn>
              <a:cxn ang="0">
                <a:pos x="connsiteX16086" y="connsiteY16086"/>
              </a:cxn>
              <a:cxn ang="0">
                <a:pos x="connsiteX16087" y="connsiteY16087"/>
              </a:cxn>
              <a:cxn ang="0">
                <a:pos x="connsiteX16088" y="connsiteY16088"/>
              </a:cxn>
              <a:cxn ang="0">
                <a:pos x="connsiteX16089" y="connsiteY16089"/>
              </a:cxn>
              <a:cxn ang="0">
                <a:pos x="connsiteX16090" y="connsiteY16090"/>
              </a:cxn>
              <a:cxn ang="0">
                <a:pos x="connsiteX16091" y="connsiteY16091"/>
              </a:cxn>
              <a:cxn ang="0">
                <a:pos x="connsiteX16092" y="connsiteY16092"/>
              </a:cxn>
              <a:cxn ang="0">
                <a:pos x="connsiteX16093" y="connsiteY16093"/>
              </a:cxn>
              <a:cxn ang="0">
                <a:pos x="connsiteX16094" y="connsiteY16094"/>
              </a:cxn>
              <a:cxn ang="0">
                <a:pos x="connsiteX16095" y="connsiteY16095"/>
              </a:cxn>
              <a:cxn ang="0">
                <a:pos x="connsiteX16096" y="connsiteY16096"/>
              </a:cxn>
              <a:cxn ang="0">
                <a:pos x="connsiteX16097" y="connsiteY16097"/>
              </a:cxn>
              <a:cxn ang="0">
                <a:pos x="connsiteX16098" y="connsiteY16098"/>
              </a:cxn>
              <a:cxn ang="0">
                <a:pos x="connsiteX16099" y="connsiteY16099"/>
              </a:cxn>
              <a:cxn ang="0">
                <a:pos x="connsiteX16100" y="connsiteY16100"/>
              </a:cxn>
              <a:cxn ang="0">
                <a:pos x="connsiteX16101" y="connsiteY16101"/>
              </a:cxn>
              <a:cxn ang="0">
                <a:pos x="connsiteX16102" y="connsiteY16102"/>
              </a:cxn>
              <a:cxn ang="0">
                <a:pos x="connsiteX16103" y="connsiteY16103"/>
              </a:cxn>
              <a:cxn ang="0">
                <a:pos x="connsiteX16104" y="connsiteY16104"/>
              </a:cxn>
              <a:cxn ang="0">
                <a:pos x="connsiteX16105" y="connsiteY16105"/>
              </a:cxn>
              <a:cxn ang="0">
                <a:pos x="connsiteX16106" y="connsiteY16106"/>
              </a:cxn>
              <a:cxn ang="0">
                <a:pos x="connsiteX16107" y="connsiteY16107"/>
              </a:cxn>
              <a:cxn ang="0">
                <a:pos x="connsiteX16108" y="connsiteY16108"/>
              </a:cxn>
              <a:cxn ang="0">
                <a:pos x="connsiteX16109" y="connsiteY16109"/>
              </a:cxn>
              <a:cxn ang="0">
                <a:pos x="connsiteX16110" y="connsiteY16110"/>
              </a:cxn>
              <a:cxn ang="0">
                <a:pos x="connsiteX16111" y="connsiteY16111"/>
              </a:cxn>
              <a:cxn ang="0">
                <a:pos x="connsiteX16112" y="connsiteY16112"/>
              </a:cxn>
              <a:cxn ang="0">
                <a:pos x="connsiteX16113" y="connsiteY16113"/>
              </a:cxn>
              <a:cxn ang="0">
                <a:pos x="connsiteX16114" y="connsiteY16114"/>
              </a:cxn>
              <a:cxn ang="0">
                <a:pos x="connsiteX16115" y="connsiteY16115"/>
              </a:cxn>
              <a:cxn ang="0">
                <a:pos x="connsiteX16116" y="connsiteY16116"/>
              </a:cxn>
              <a:cxn ang="0">
                <a:pos x="connsiteX16117" y="connsiteY16117"/>
              </a:cxn>
              <a:cxn ang="0">
                <a:pos x="connsiteX16118" y="connsiteY16118"/>
              </a:cxn>
              <a:cxn ang="0">
                <a:pos x="connsiteX16119" y="connsiteY16119"/>
              </a:cxn>
              <a:cxn ang="0">
                <a:pos x="connsiteX16120" y="connsiteY16120"/>
              </a:cxn>
              <a:cxn ang="0">
                <a:pos x="connsiteX16121" y="connsiteY16121"/>
              </a:cxn>
              <a:cxn ang="0">
                <a:pos x="connsiteX16122" y="connsiteY16122"/>
              </a:cxn>
              <a:cxn ang="0">
                <a:pos x="connsiteX16123" y="connsiteY16123"/>
              </a:cxn>
              <a:cxn ang="0">
                <a:pos x="connsiteX16124" y="connsiteY16124"/>
              </a:cxn>
              <a:cxn ang="0">
                <a:pos x="connsiteX16125" y="connsiteY16125"/>
              </a:cxn>
              <a:cxn ang="0">
                <a:pos x="connsiteX16126" y="connsiteY16126"/>
              </a:cxn>
              <a:cxn ang="0">
                <a:pos x="connsiteX16127" y="connsiteY16127"/>
              </a:cxn>
              <a:cxn ang="0">
                <a:pos x="connsiteX16128" y="connsiteY16128"/>
              </a:cxn>
              <a:cxn ang="0">
                <a:pos x="connsiteX16129" y="connsiteY16129"/>
              </a:cxn>
              <a:cxn ang="0">
                <a:pos x="connsiteX16130" y="connsiteY16130"/>
              </a:cxn>
              <a:cxn ang="0">
                <a:pos x="connsiteX16131" y="connsiteY16131"/>
              </a:cxn>
              <a:cxn ang="0">
                <a:pos x="connsiteX16132" y="connsiteY16132"/>
              </a:cxn>
              <a:cxn ang="0">
                <a:pos x="connsiteX16133" y="connsiteY16133"/>
              </a:cxn>
              <a:cxn ang="0">
                <a:pos x="connsiteX16134" y="connsiteY16134"/>
              </a:cxn>
              <a:cxn ang="0">
                <a:pos x="connsiteX16135" y="connsiteY16135"/>
              </a:cxn>
              <a:cxn ang="0">
                <a:pos x="connsiteX16136" y="connsiteY16136"/>
              </a:cxn>
              <a:cxn ang="0">
                <a:pos x="connsiteX16137" y="connsiteY16137"/>
              </a:cxn>
              <a:cxn ang="0">
                <a:pos x="connsiteX16138" y="connsiteY16138"/>
              </a:cxn>
              <a:cxn ang="0">
                <a:pos x="connsiteX16139" y="connsiteY16139"/>
              </a:cxn>
              <a:cxn ang="0">
                <a:pos x="connsiteX16140" y="connsiteY16140"/>
              </a:cxn>
              <a:cxn ang="0">
                <a:pos x="connsiteX16141" y="connsiteY16141"/>
              </a:cxn>
              <a:cxn ang="0">
                <a:pos x="connsiteX16142" y="connsiteY16142"/>
              </a:cxn>
              <a:cxn ang="0">
                <a:pos x="connsiteX16143" y="connsiteY16143"/>
              </a:cxn>
              <a:cxn ang="0">
                <a:pos x="connsiteX16144" y="connsiteY16144"/>
              </a:cxn>
              <a:cxn ang="0">
                <a:pos x="connsiteX16145" y="connsiteY16145"/>
              </a:cxn>
              <a:cxn ang="0">
                <a:pos x="connsiteX16146" y="connsiteY16146"/>
              </a:cxn>
              <a:cxn ang="0">
                <a:pos x="connsiteX16147" y="connsiteY16147"/>
              </a:cxn>
              <a:cxn ang="0">
                <a:pos x="connsiteX16148" y="connsiteY16148"/>
              </a:cxn>
              <a:cxn ang="0">
                <a:pos x="connsiteX16149" y="connsiteY16149"/>
              </a:cxn>
              <a:cxn ang="0">
                <a:pos x="connsiteX16150" y="connsiteY16150"/>
              </a:cxn>
              <a:cxn ang="0">
                <a:pos x="connsiteX16151" y="connsiteY16151"/>
              </a:cxn>
              <a:cxn ang="0">
                <a:pos x="connsiteX16152" y="connsiteY16152"/>
              </a:cxn>
              <a:cxn ang="0">
                <a:pos x="connsiteX16153" y="connsiteY16153"/>
              </a:cxn>
              <a:cxn ang="0">
                <a:pos x="connsiteX16154" y="connsiteY16154"/>
              </a:cxn>
              <a:cxn ang="0">
                <a:pos x="connsiteX16155" y="connsiteY16155"/>
              </a:cxn>
              <a:cxn ang="0">
                <a:pos x="connsiteX16156" y="connsiteY16156"/>
              </a:cxn>
              <a:cxn ang="0">
                <a:pos x="connsiteX16157" y="connsiteY16157"/>
              </a:cxn>
              <a:cxn ang="0">
                <a:pos x="connsiteX16158" y="connsiteY16158"/>
              </a:cxn>
              <a:cxn ang="0">
                <a:pos x="connsiteX16159" y="connsiteY16159"/>
              </a:cxn>
              <a:cxn ang="0">
                <a:pos x="connsiteX16160" y="connsiteY16160"/>
              </a:cxn>
              <a:cxn ang="0">
                <a:pos x="connsiteX16161" y="connsiteY16161"/>
              </a:cxn>
              <a:cxn ang="0">
                <a:pos x="connsiteX16162" y="connsiteY16162"/>
              </a:cxn>
              <a:cxn ang="0">
                <a:pos x="connsiteX16163" y="connsiteY16163"/>
              </a:cxn>
              <a:cxn ang="0">
                <a:pos x="connsiteX16164" y="connsiteY16164"/>
              </a:cxn>
              <a:cxn ang="0">
                <a:pos x="connsiteX16165" y="connsiteY16165"/>
              </a:cxn>
              <a:cxn ang="0">
                <a:pos x="connsiteX16166" y="connsiteY16166"/>
              </a:cxn>
              <a:cxn ang="0">
                <a:pos x="connsiteX16167" y="connsiteY16167"/>
              </a:cxn>
              <a:cxn ang="0">
                <a:pos x="connsiteX16168" y="connsiteY16168"/>
              </a:cxn>
              <a:cxn ang="0">
                <a:pos x="connsiteX16169" y="connsiteY16169"/>
              </a:cxn>
              <a:cxn ang="0">
                <a:pos x="connsiteX16170" y="connsiteY16170"/>
              </a:cxn>
              <a:cxn ang="0">
                <a:pos x="connsiteX16171" y="connsiteY16171"/>
              </a:cxn>
              <a:cxn ang="0">
                <a:pos x="connsiteX16172" y="connsiteY16172"/>
              </a:cxn>
              <a:cxn ang="0">
                <a:pos x="connsiteX16173" y="connsiteY16173"/>
              </a:cxn>
              <a:cxn ang="0">
                <a:pos x="connsiteX16174" y="connsiteY16174"/>
              </a:cxn>
              <a:cxn ang="0">
                <a:pos x="connsiteX16175" y="connsiteY16175"/>
              </a:cxn>
              <a:cxn ang="0">
                <a:pos x="connsiteX16176" y="connsiteY16176"/>
              </a:cxn>
              <a:cxn ang="0">
                <a:pos x="connsiteX16177" y="connsiteY16177"/>
              </a:cxn>
              <a:cxn ang="0">
                <a:pos x="connsiteX16178" y="connsiteY16178"/>
              </a:cxn>
              <a:cxn ang="0">
                <a:pos x="connsiteX16179" y="connsiteY16179"/>
              </a:cxn>
              <a:cxn ang="0">
                <a:pos x="connsiteX16180" y="connsiteY16180"/>
              </a:cxn>
              <a:cxn ang="0">
                <a:pos x="connsiteX16181" y="connsiteY16181"/>
              </a:cxn>
              <a:cxn ang="0">
                <a:pos x="connsiteX16182" y="connsiteY16182"/>
              </a:cxn>
              <a:cxn ang="0">
                <a:pos x="connsiteX16183" y="connsiteY16183"/>
              </a:cxn>
              <a:cxn ang="0">
                <a:pos x="connsiteX16184" y="connsiteY16184"/>
              </a:cxn>
              <a:cxn ang="0">
                <a:pos x="connsiteX16185" y="connsiteY16185"/>
              </a:cxn>
              <a:cxn ang="0">
                <a:pos x="connsiteX16186" y="connsiteY16186"/>
              </a:cxn>
              <a:cxn ang="0">
                <a:pos x="connsiteX16187" y="connsiteY16187"/>
              </a:cxn>
              <a:cxn ang="0">
                <a:pos x="connsiteX16188" y="connsiteY16188"/>
              </a:cxn>
              <a:cxn ang="0">
                <a:pos x="connsiteX16189" y="connsiteY16189"/>
              </a:cxn>
              <a:cxn ang="0">
                <a:pos x="connsiteX16190" y="connsiteY16190"/>
              </a:cxn>
              <a:cxn ang="0">
                <a:pos x="connsiteX16191" y="connsiteY16191"/>
              </a:cxn>
              <a:cxn ang="0">
                <a:pos x="connsiteX16192" y="connsiteY16192"/>
              </a:cxn>
              <a:cxn ang="0">
                <a:pos x="connsiteX16193" y="connsiteY16193"/>
              </a:cxn>
              <a:cxn ang="0">
                <a:pos x="connsiteX16194" y="connsiteY16194"/>
              </a:cxn>
              <a:cxn ang="0">
                <a:pos x="connsiteX16195" y="connsiteY16195"/>
              </a:cxn>
              <a:cxn ang="0">
                <a:pos x="connsiteX16196" y="connsiteY16196"/>
              </a:cxn>
              <a:cxn ang="0">
                <a:pos x="connsiteX16197" y="connsiteY16197"/>
              </a:cxn>
              <a:cxn ang="0">
                <a:pos x="connsiteX16198" y="connsiteY16198"/>
              </a:cxn>
              <a:cxn ang="0">
                <a:pos x="connsiteX16199" y="connsiteY16199"/>
              </a:cxn>
              <a:cxn ang="0">
                <a:pos x="connsiteX16200" y="connsiteY16200"/>
              </a:cxn>
              <a:cxn ang="0">
                <a:pos x="connsiteX16201" y="connsiteY16201"/>
              </a:cxn>
              <a:cxn ang="0">
                <a:pos x="connsiteX16202" y="connsiteY16202"/>
              </a:cxn>
              <a:cxn ang="0">
                <a:pos x="connsiteX16203" y="connsiteY16203"/>
              </a:cxn>
              <a:cxn ang="0">
                <a:pos x="connsiteX16204" y="connsiteY16204"/>
              </a:cxn>
              <a:cxn ang="0">
                <a:pos x="connsiteX16205" y="connsiteY16205"/>
              </a:cxn>
              <a:cxn ang="0">
                <a:pos x="connsiteX16206" y="connsiteY16206"/>
              </a:cxn>
              <a:cxn ang="0">
                <a:pos x="connsiteX16207" y="connsiteY16207"/>
              </a:cxn>
              <a:cxn ang="0">
                <a:pos x="connsiteX16208" y="connsiteY16208"/>
              </a:cxn>
              <a:cxn ang="0">
                <a:pos x="connsiteX16209" y="connsiteY16209"/>
              </a:cxn>
              <a:cxn ang="0">
                <a:pos x="connsiteX16210" y="connsiteY16210"/>
              </a:cxn>
              <a:cxn ang="0">
                <a:pos x="connsiteX16211" y="connsiteY16211"/>
              </a:cxn>
              <a:cxn ang="0">
                <a:pos x="connsiteX16212" y="connsiteY16212"/>
              </a:cxn>
              <a:cxn ang="0">
                <a:pos x="connsiteX16213" y="connsiteY16213"/>
              </a:cxn>
              <a:cxn ang="0">
                <a:pos x="connsiteX16214" y="connsiteY16214"/>
              </a:cxn>
              <a:cxn ang="0">
                <a:pos x="connsiteX16215" y="connsiteY16215"/>
              </a:cxn>
              <a:cxn ang="0">
                <a:pos x="connsiteX16216" y="connsiteY16216"/>
              </a:cxn>
              <a:cxn ang="0">
                <a:pos x="connsiteX16217" y="connsiteY16217"/>
              </a:cxn>
              <a:cxn ang="0">
                <a:pos x="connsiteX16218" y="connsiteY16218"/>
              </a:cxn>
              <a:cxn ang="0">
                <a:pos x="connsiteX16219" y="connsiteY16219"/>
              </a:cxn>
              <a:cxn ang="0">
                <a:pos x="connsiteX16220" y="connsiteY16220"/>
              </a:cxn>
              <a:cxn ang="0">
                <a:pos x="connsiteX16221" y="connsiteY16221"/>
              </a:cxn>
              <a:cxn ang="0">
                <a:pos x="connsiteX16222" y="connsiteY16222"/>
              </a:cxn>
              <a:cxn ang="0">
                <a:pos x="connsiteX16223" y="connsiteY16223"/>
              </a:cxn>
              <a:cxn ang="0">
                <a:pos x="connsiteX16224" y="connsiteY16224"/>
              </a:cxn>
              <a:cxn ang="0">
                <a:pos x="connsiteX16225" y="connsiteY16225"/>
              </a:cxn>
              <a:cxn ang="0">
                <a:pos x="connsiteX16226" y="connsiteY16226"/>
              </a:cxn>
              <a:cxn ang="0">
                <a:pos x="connsiteX16227" y="connsiteY16227"/>
              </a:cxn>
              <a:cxn ang="0">
                <a:pos x="connsiteX16228" y="connsiteY16228"/>
              </a:cxn>
              <a:cxn ang="0">
                <a:pos x="connsiteX16229" y="connsiteY16229"/>
              </a:cxn>
              <a:cxn ang="0">
                <a:pos x="connsiteX16230" y="connsiteY16230"/>
              </a:cxn>
              <a:cxn ang="0">
                <a:pos x="connsiteX16231" y="connsiteY16231"/>
              </a:cxn>
              <a:cxn ang="0">
                <a:pos x="connsiteX16232" y="connsiteY16232"/>
              </a:cxn>
              <a:cxn ang="0">
                <a:pos x="connsiteX16233" y="connsiteY16233"/>
              </a:cxn>
              <a:cxn ang="0">
                <a:pos x="connsiteX16234" y="connsiteY16234"/>
              </a:cxn>
              <a:cxn ang="0">
                <a:pos x="connsiteX16235" y="connsiteY16235"/>
              </a:cxn>
              <a:cxn ang="0">
                <a:pos x="connsiteX16236" y="connsiteY16236"/>
              </a:cxn>
              <a:cxn ang="0">
                <a:pos x="connsiteX16237" y="connsiteY16237"/>
              </a:cxn>
              <a:cxn ang="0">
                <a:pos x="connsiteX16238" y="connsiteY16238"/>
              </a:cxn>
              <a:cxn ang="0">
                <a:pos x="connsiteX16239" y="connsiteY16239"/>
              </a:cxn>
              <a:cxn ang="0">
                <a:pos x="connsiteX16240" y="connsiteY16240"/>
              </a:cxn>
              <a:cxn ang="0">
                <a:pos x="connsiteX16241" y="connsiteY16241"/>
              </a:cxn>
              <a:cxn ang="0">
                <a:pos x="connsiteX16242" y="connsiteY16242"/>
              </a:cxn>
              <a:cxn ang="0">
                <a:pos x="connsiteX16243" y="connsiteY16243"/>
              </a:cxn>
              <a:cxn ang="0">
                <a:pos x="connsiteX16244" y="connsiteY16244"/>
              </a:cxn>
              <a:cxn ang="0">
                <a:pos x="connsiteX16245" y="connsiteY16245"/>
              </a:cxn>
              <a:cxn ang="0">
                <a:pos x="connsiteX16246" y="connsiteY16246"/>
              </a:cxn>
              <a:cxn ang="0">
                <a:pos x="connsiteX16247" y="connsiteY16247"/>
              </a:cxn>
              <a:cxn ang="0">
                <a:pos x="connsiteX16248" y="connsiteY16248"/>
              </a:cxn>
              <a:cxn ang="0">
                <a:pos x="connsiteX16249" y="connsiteY16249"/>
              </a:cxn>
              <a:cxn ang="0">
                <a:pos x="connsiteX16250" y="connsiteY16250"/>
              </a:cxn>
              <a:cxn ang="0">
                <a:pos x="connsiteX16251" y="connsiteY16251"/>
              </a:cxn>
              <a:cxn ang="0">
                <a:pos x="connsiteX16252" y="connsiteY16252"/>
              </a:cxn>
              <a:cxn ang="0">
                <a:pos x="connsiteX16253" y="connsiteY16253"/>
              </a:cxn>
              <a:cxn ang="0">
                <a:pos x="connsiteX16254" y="connsiteY16254"/>
              </a:cxn>
              <a:cxn ang="0">
                <a:pos x="connsiteX16255" y="connsiteY16255"/>
              </a:cxn>
              <a:cxn ang="0">
                <a:pos x="connsiteX16256" y="connsiteY16256"/>
              </a:cxn>
              <a:cxn ang="0">
                <a:pos x="connsiteX16257" y="connsiteY16257"/>
              </a:cxn>
              <a:cxn ang="0">
                <a:pos x="connsiteX16258" y="connsiteY16258"/>
              </a:cxn>
              <a:cxn ang="0">
                <a:pos x="connsiteX16259" y="connsiteY16259"/>
              </a:cxn>
              <a:cxn ang="0">
                <a:pos x="connsiteX16260" y="connsiteY16260"/>
              </a:cxn>
              <a:cxn ang="0">
                <a:pos x="connsiteX16261" y="connsiteY16261"/>
              </a:cxn>
              <a:cxn ang="0">
                <a:pos x="connsiteX16262" y="connsiteY16262"/>
              </a:cxn>
              <a:cxn ang="0">
                <a:pos x="connsiteX16263" y="connsiteY16263"/>
              </a:cxn>
              <a:cxn ang="0">
                <a:pos x="connsiteX16264" y="connsiteY16264"/>
              </a:cxn>
              <a:cxn ang="0">
                <a:pos x="connsiteX16265" y="connsiteY16265"/>
              </a:cxn>
              <a:cxn ang="0">
                <a:pos x="connsiteX16266" y="connsiteY16266"/>
              </a:cxn>
              <a:cxn ang="0">
                <a:pos x="connsiteX16267" y="connsiteY16267"/>
              </a:cxn>
              <a:cxn ang="0">
                <a:pos x="connsiteX16268" y="connsiteY16268"/>
              </a:cxn>
              <a:cxn ang="0">
                <a:pos x="connsiteX16269" y="connsiteY16269"/>
              </a:cxn>
              <a:cxn ang="0">
                <a:pos x="connsiteX16270" y="connsiteY16270"/>
              </a:cxn>
              <a:cxn ang="0">
                <a:pos x="connsiteX16271" y="connsiteY16271"/>
              </a:cxn>
              <a:cxn ang="0">
                <a:pos x="connsiteX16272" y="connsiteY16272"/>
              </a:cxn>
              <a:cxn ang="0">
                <a:pos x="connsiteX16273" y="connsiteY16273"/>
              </a:cxn>
              <a:cxn ang="0">
                <a:pos x="connsiteX16274" y="connsiteY16274"/>
              </a:cxn>
              <a:cxn ang="0">
                <a:pos x="connsiteX16275" y="connsiteY16275"/>
              </a:cxn>
              <a:cxn ang="0">
                <a:pos x="connsiteX16276" y="connsiteY16276"/>
              </a:cxn>
              <a:cxn ang="0">
                <a:pos x="connsiteX16277" y="connsiteY16277"/>
              </a:cxn>
              <a:cxn ang="0">
                <a:pos x="connsiteX16278" y="connsiteY16278"/>
              </a:cxn>
              <a:cxn ang="0">
                <a:pos x="connsiteX16279" y="connsiteY16279"/>
              </a:cxn>
              <a:cxn ang="0">
                <a:pos x="connsiteX16280" y="connsiteY16280"/>
              </a:cxn>
              <a:cxn ang="0">
                <a:pos x="connsiteX16281" y="connsiteY16281"/>
              </a:cxn>
              <a:cxn ang="0">
                <a:pos x="connsiteX16282" y="connsiteY16282"/>
              </a:cxn>
              <a:cxn ang="0">
                <a:pos x="connsiteX16283" y="connsiteY16283"/>
              </a:cxn>
              <a:cxn ang="0">
                <a:pos x="connsiteX16284" y="connsiteY16284"/>
              </a:cxn>
              <a:cxn ang="0">
                <a:pos x="connsiteX16285" y="connsiteY16285"/>
              </a:cxn>
              <a:cxn ang="0">
                <a:pos x="connsiteX16286" y="connsiteY16286"/>
              </a:cxn>
              <a:cxn ang="0">
                <a:pos x="connsiteX16287" y="connsiteY16287"/>
              </a:cxn>
              <a:cxn ang="0">
                <a:pos x="connsiteX16288" y="connsiteY16288"/>
              </a:cxn>
              <a:cxn ang="0">
                <a:pos x="connsiteX16289" y="connsiteY16289"/>
              </a:cxn>
              <a:cxn ang="0">
                <a:pos x="connsiteX16290" y="connsiteY16290"/>
              </a:cxn>
              <a:cxn ang="0">
                <a:pos x="connsiteX16291" y="connsiteY16291"/>
              </a:cxn>
              <a:cxn ang="0">
                <a:pos x="connsiteX16292" y="connsiteY16292"/>
              </a:cxn>
              <a:cxn ang="0">
                <a:pos x="connsiteX16293" y="connsiteY16293"/>
              </a:cxn>
              <a:cxn ang="0">
                <a:pos x="connsiteX16294" y="connsiteY16294"/>
              </a:cxn>
              <a:cxn ang="0">
                <a:pos x="connsiteX16295" y="connsiteY16295"/>
              </a:cxn>
              <a:cxn ang="0">
                <a:pos x="connsiteX16296" y="connsiteY16296"/>
              </a:cxn>
              <a:cxn ang="0">
                <a:pos x="connsiteX16297" y="connsiteY16297"/>
              </a:cxn>
              <a:cxn ang="0">
                <a:pos x="connsiteX16298" y="connsiteY16298"/>
              </a:cxn>
              <a:cxn ang="0">
                <a:pos x="connsiteX16299" y="connsiteY16299"/>
              </a:cxn>
              <a:cxn ang="0">
                <a:pos x="connsiteX16300" y="connsiteY16300"/>
              </a:cxn>
              <a:cxn ang="0">
                <a:pos x="connsiteX16301" y="connsiteY16301"/>
              </a:cxn>
              <a:cxn ang="0">
                <a:pos x="connsiteX16302" y="connsiteY16302"/>
              </a:cxn>
              <a:cxn ang="0">
                <a:pos x="connsiteX16303" y="connsiteY16303"/>
              </a:cxn>
              <a:cxn ang="0">
                <a:pos x="connsiteX16304" y="connsiteY16304"/>
              </a:cxn>
              <a:cxn ang="0">
                <a:pos x="connsiteX16305" y="connsiteY16305"/>
              </a:cxn>
              <a:cxn ang="0">
                <a:pos x="connsiteX16306" y="connsiteY16306"/>
              </a:cxn>
              <a:cxn ang="0">
                <a:pos x="connsiteX16307" y="connsiteY16307"/>
              </a:cxn>
              <a:cxn ang="0">
                <a:pos x="connsiteX16308" y="connsiteY16308"/>
              </a:cxn>
              <a:cxn ang="0">
                <a:pos x="connsiteX16309" y="connsiteY16309"/>
              </a:cxn>
              <a:cxn ang="0">
                <a:pos x="connsiteX16310" y="connsiteY16310"/>
              </a:cxn>
              <a:cxn ang="0">
                <a:pos x="connsiteX16311" y="connsiteY16311"/>
              </a:cxn>
              <a:cxn ang="0">
                <a:pos x="connsiteX16312" y="connsiteY16312"/>
              </a:cxn>
              <a:cxn ang="0">
                <a:pos x="connsiteX16313" y="connsiteY16313"/>
              </a:cxn>
              <a:cxn ang="0">
                <a:pos x="connsiteX16314" y="connsiteY16314"/>
              </a:cxn>
              <a:cxn ang="0">
                <a:pos x="connsiteX16315" y="connsiteY16315"/>
              </a:cxn>
              <a:cxn ang="0">
                <a:pos x="connsiteX16316" y="connsiteY16316"/>
              </a:cxn>
              <a:cxn ang="0">
                <a:pos x="connsiteX16317" y="connsiteY16317"/>
              </a:cxn>
              <a:cxn ang="0">
                <a:pos x="connsiteX16318" y="connsiteY16318"/>
              </a:cxn>
              <a:cxn ang="0">
                <a:pos x="connsiteX16319" y="connsiteY16319"/>
              </a:cxn>
              <a:cxn ang="0">
                <a:pos x="connsiteX16320" y="connsiteY16320"/>
              </a:cxn>
              <a:cxn ang="0">
                <a:pos x="connsiteX16321" y="connsiteY16321"/>
              </a:cxn>
              <a:cxn ang="0">
                <a:pos x="connsiteX16322" y="connsiteY16322"/>
              </a:cxn>
              <a:cxn ang="0">
                <a:pos x="connsiteX16323" y="connsiteY16323"/>
              </a:cxn>
              <a:cxn ang="0">
                <a:pos x="connsiteX16324" y="connsiteY16324"/>
              </a:cxn>
              <a:cxn ang="0">
                <a:pos x="connsiteX16325" y="connsiteY16325"/>
              </a:cxn>
              <a:cxn ang="0">
                <a:pos x="connsiteX16326" y="connsiteY16326"/>
              </a:cxn>
              <a:cxn ang="0">
                <a:pos x="connsiteX16327" y="connsiteY16327"/>
              </a:cxn>
              <a:cxn ang="0">
                <a:pos x="connsiteX16328" y="connsiteY16328"/>
              </a:cxn>
              <a:cxn ang="0">
                <a:pos x="connsiteX16329" y="connsiteY16329"/>
              </a:cxn>
              <a:cxn ang="0">
                <a:pos x="connsiteX16330" y="connsiteY16330"/>
              </a:cxn>
              <a:cxn ang="0">
                <a:pos x="connsiteX16331" y="connsiteY16331"/>
              </a:cxn>
              <a:cxn ang="0">
                <a:pos x="connsiteX16332" y="connsiteY16332"/>
              </a:cxn>
              <a:cxn ang="0">
                <a:pos x="connsiteX16333" y="connsiteY16333"/>
              </a:cxn>
              <a:cxn ang="0">
                <a:pos x="connsiteX16334" y="connsiteY16334"/>
              </a:cxn>
              <a:cxn ang="0">
                <a:pos x="connsiteX16335" y="connsiteY16335"/>
              </a:cxn>
              <a:cxn ang="0">
                <a:pos x="connsiteX16336" y="connsiteY16336"/>
              </a:cxn>
              <a:cxn ang="0">
                <a:pos x="connsiteX16337" y="connsiteY16337"/>
              </a:cxn>
              <a:cxn ang="0">
                <a:pos x="connsiteX16338" y="connsiteY16338"/>
              </a:cxn>
              <a:cxn ang="0">
                <a:pos x="connsiteX16339" y="connsiteY16339"/>
              </a:cxn>
              <a:cxn ang="0">
                <a:pos x="connsiteX16340" y="connsiteY16340"/>
              </a:cxn>
              <a:cxn ang="0">
                <a:pos x="connsiteX16341" y="connsiteY16341"/>
              </a:cxn>
              <a:cxn ang="0">
                <a:pos x="connsiteX16342" y="connsiteY16342"/>
              </a:cxn>
              <a:cxn ang="0">
                <a:pos x="connsiteX16343" y="connsiteY16343"/>
              </a:cxn>
              <a:cxn ang="0">
                <a:pos x="connsiteX16344" y="connsiteY16344"/>
              </a:cxn>
              <a:cxn ang="0">
                <a:pos x="connsiteX16345" y="connsiteY16345"/>
              </a:cxn>
              <a:cxn ang="0">
                <a:pos x="connsiteX16346" y="connsiteY16346"/>
              </a:cxn>
              <a:cxn ang="0">
                <a:pos x="connsiteX16347" y="connsiteY16347"/>
              </a:cxn>
              <a:cxn ang="0">
                <a:pos x="connsiteX16348" y="connsiteY16348"/>
              </a:cxn>
              <a:cxn ang="0">
                <a:pos x="connsiteX16349" y="connsiteY16349"/>
              </a:cxn>
              <a:cxn ang="0">
                <a:pos x="connsiteX16350" y="connsiteY16350"/>
              </a:cxn>
              <a:cxn ang="0">
                <a:pos x="connsiteX16351" y="connsiteY16351"/>
              </a:cxn>
              <a:cxn ang="0">
                <a:pos x="connsiteX16352" y="connsiteY16352"/>
              </a:cxn>
              <a:cxn ang="0">
                <a:pos x="connsiteX16353" y="connsiteY16353"/>
              </a:cxn>
              <a:cxn ang="0">
                <a:pos x="connsiteX16354" y="connsiteY16354"/>
              </a:cxn>
              <a:cxn ang="0">
                <a:pos x="connsiteX16355" y="connsiteY16355"/>
              </a:cxn>
              <a:cxn ang="0">
                <a:pos x="connsiteX16356" y="connsiteY16356"/>
              </a:cxn>
              <a:cxn ang="0">
                <a:pos x="connsiteX16357" y="connsiteY16357"/>
              </a:cxn>
              <a:cxn ang="0">
                <a:pos x="connsiteX16358" y="connsiteY16358"/>
              </a:cxn>
              <a:cxn ang="0">
                <a:pos x="connsiteX16359" y="connsiteY16359"/>
              </a:cxn>
              <a:cxn ang="0">
                <a:pos x="connsiteX16360" y="connsiteY16360"/>
              </a:cxn>
              <a:cxn ang="0">
                <a:pos x="connsiteX16361" y="connsiteY16361"/>
              </a:cxn>
              <a:cxn ang="0">
                <a:pos x="connsiteX16362" y="connsiteY16362"/>
              </a:cxn>
              <a:cxn ang="0">
                <a:pos x="connsiteX16363" y="connsiteY16363"/>
              </a:cxn>
              <a:cxn ang="0">
                <a:pos x="connsiteX16364" y="connsiteY16364"/>
              </a:cxn>
              <a:cxn ang="0">
                <a:pos x="connsiteX16365" y="connsiteY16365"/>
              </a:cxn>
              <a:cxn ang="0">
                <a:pos x="connsiteX16366" y="connsiteY16366"/>
              </a:cxn>
              <a:cxn ang="0">
                <a:pos x="connsiteX16367" y="connsiteY16367"/>
              </a:cxn>
              <a:cxn ang="0">
                <a:pos x="connsiteX16368" y="connsiteY16368"/>
              </a:cxn>
              <a:cxn ang="0">
                <a:pos x="connsiteX16369" y="connsiteY16369"/>
              </a:cxn>
              <a:cxn ang="0">
                <a:pos x="connsiteX16370" y="connsiteY16370"/>
              </a:cxn>
              <a:cxn ang="0">
                <a:pos x="connsiteX16371" y="connsiteY16371"/>
              </a:cxn>
              <a:cxn ang="0">
                <a:pos x="connsiteX16372" y="connsiteY16372"/>
              </a:cxn>
              <a:cxn ang="0">
                <a:pos x="connsiteX16373" y="connsiteY16373"/>
              </a:cxn>
              <a:cxn ang="0">
                <a:pos x="connsiteX16374" y="connsiteY16374"/>
              </a:cxn>
              <a:cxn ang="0">
                <a:pos x="connsiteX16375" y="connsiteY16375"/>
              </a:cxn>
              <a:cxn ang="0">
                <a:pos x="connsiteX16376" y="connsiteY16376"/>
              </a:cxn>
              <a:cxn ang="0">
                <a:pos x="connsiteX16377" y="connsiteY16377"/>
              </a:cxn>
              <a:cxn ang="0">
                <a:pos x="connsiteX16378" y="connsiteY16378"/>
              </a:cxn>
              <a:cxn ang="0">
                <a:pos x="connsiteX16379" y="connsiteY16379"/>
              </a:cxn>
              <a:cxn ang="0">
                <a:pos x="connsiteX16380" y="connsiteY16380"/>
              </a:cxn>
              <a:cxn ang="0">
                <a:pos x="connsiteX16381" y="connsiteY16381"/>
              </a:cxn>
              <a:cxn ang="0">
                <a:pos x="connsiteX16382" y="connsiteY16382"/>
              </a:cxn>
              <a:cxn ang="0">
                <a:pos x="connsiteX16383" y="connsiteY16383"/>
              </a:cxn>
              <a:cxn ang="0">
                <a:pos x="connsiteX16384" y="connsiteY16384"/>
              </a:cxn>
              <a:cxn ang="0">
                <a:pos x="connsiteX16385" y="connsiteY16385"/>
              </a:cxn>
              <a:cxn ang="0">
                <a:pos x="connsiteX16386" y="connsiteY16386"/>
              </a:cxn>
              <a:cxn ang="0">
                <a:pos x="connsiteX16387" y="connsiteY16387"/>
              </a:cxn>
              <a:cxn ang="0">
                <a:pos x="connsiteX16388" y="connsiteY16388"/>
              </a:cxn>
              <a:cxn ang="0">
                <a:pos x="connsiteX16389" y="connsiteY16389"/>
              </a:cxn>
              <a:cxn ang="0">
                <a:pos x="connsiteX16390" y="connsiteY16390"/>
              </a:cxn>
              <a:cxn ang="0">
                <a:pos x="connsiteX16391" y="connsiteY16391"/>
              </a:cxn>
              <a:cxn ang="0">
                <a:pos x="connsiteX16392" y="connsiteY16392"/>
              </a:cxn>
              <a:cxn ang="0">
                <a:pos x="connsiteX16393" y="connsiteY16393"/>
              </a:cxn>
              <a:cxn ang="0">
                <a:pos x="connsiteX16394" y="connsiteY16394"/>
              </a:cxn>
              <a:cxn ang="0">
                <a:pos x="connsiteX16395" y="connsiteY16395"/>
              </a:cxn>
              <a:cxn ang="0">
                <a:pos x="connsiteX16396" y="connsiteY16396"/>
              </a:cxn>
              <a:cxn ang="0">
                <a:pos x="connsiteX16397" y="connsiteY16397"/>
              </a:cxn>
              <a:cxn ang="0">
                <a:pos x="connsiteX16398" y="connsiteY16398"/>
              </a:cxn>
              <a:cxn ang="0">
                <a:pos x="connsiteX16399" y="connsiteY16399"/>
              </a:cxn>
              <a:cxn ang="0">
                <a:pos x="connsiteX16400" y="connsiteY16400"/>
              </a:cxn>
              <a:cxn ang="0">
                <a:pos x="connsiteX16401" y="connsiteY16401"/>
              </a:cxn>
              <a:cxn ang="0">
                <a:pos x="connsiteX16402" y="connsiteY16402"/>
              </a:cxn>
              <a:cxn ang="0">
                <a:pos x="connsiteX16403" y="connsiteY16403"/>
              </a:cxn>
              <a:cxn ang="0">
                <a:pos x="connsiteX16404" y="connsiteY16404"/>
              </a:cxn>
              <a:cxn ang="0">
                <a:pos x="connsiteX16405" y="connsiteY16405"/>
              </a:cxn>
              <a:cxn ang="0">
                <a:pos x="connsiteX16406" y="connsiteY16406"/>
              </a:cxn>
              <a:cxn ang="0">
                <a:pos x="connsiteX16407" y="connsiteY16407"/>
              </a:cxn>
              <a:cxn ang="0">
                <a:pos x="connsiteX16408" y="connsiteY16408"/>
              </a:cxn>
              <a:cxn ang="0">
                <a:pos x="connsiteX16409" y="connsiteY16409"/>
              </a:cxn>
              <a:cxn ang="0">
                <a:pos x="connsiteX16410" y="connsiteY16410"/>
              </a:cxn>
              <a:cxn ang="0">
                <a:pos x="connsiteX16411" y="connsiteY16411"/>
              </a:cxn>
              <a:cxn ang="0">
                <a:pos x="connsiteX16412" y="connsiteY16412"/>
              </a:cxn>
              <a:cxn ang="0">
                <a:pos x="connsiteX16413" y="connsiteY16413"/>
              </a:cxn>
              <a:cxn ang="0">
                <a:pos x="connsiteX16414" y="connsiteY16414"/>
              </a:cxn>
              <a:cxn ang="0">
                <a:pos x="connsiteX16415" y="connsiteY16415"/>
              </a:cxn>
              <a:cxn ang="0">
                <a:pos x="connsiteX16416" y="connsiteY16416"/>
              </a:cxn>
              <a:cxn ang="0">
                <a:pos x="connsiteX16417" y="connsiteY16417"/>
              </a:cxn>
              <a:cxn ang="0">
                <a:pos x="connsiteX16418" y="connsiteY16418"/>
              </a:cxn>
              <a:cxn ang="0">
                <a:pos x="connsiteX16419" y="connsiteY16419"/>
              </a:cxn>
              <a:cxn ang="0">
                <a:pos x="connsiteX16420" y="connsiteY16420"/>
              </a:cxn>
              <a:cxn ang="0">
                <a:pos x="connsiteX16421" y="connsiteY16421"/>
              </a:cxn>
              <a:cxn ang="0">
                <a:pos x="connsiteX16422" y="connsiteY16422"/>
              </a:cxn>
              <a:cxn ang="0">
                <a:pos x="connsiteX16423" y="connsiteY16423"/>
              </a:cxn>
              <a:cxn ang="0">
                <a:pos x="connsiteX16424" y="connsiteY16424"/>
              </a:cxn>
              <a:cxn ang="0">
                <a:pos x="connsiteX16425" y="connsiteY16425"/>
              </a:cxn>
              <a:cxn ang="0">
                <a:pos x="connsiteX16426" y="connsiteY16426"/>
              </a:cxn>
              <a:cxn ang="0">
                <a:pos x="connsiteX16427" y="connsiteY16427"/>
              </a:cxn>
              <a:cxn ang="0">
                <a:pos x="connsiteX16428" y="connsiteY16428"/>
              </a:cxn>
              <a:cxn ang="0">
                <a:pos x="connsiteX16429" y="connsiteY16429"/>
              </a:cxn>
              <a:cxn ang="0">
                <a:pos x="connsiteX16430" y="connsiteY16430"/>
              </a:cxn>
              <a:cxn ang="0">
                <a:pos x="connsiteX16431" y="connsiteY16431"/>
              </a:cxn>
              <a:cxn ang="0">
                <a:pos x="connsiteX16432" y="connsiteY16432"/>
              </a:cxn>
              <a:cxn ang="0">
                <a:pos x="connsiteX16433" y="connsiteY16433"/>
              </a:cxn>
              <a:cxn ang="0">
                <a:pos x="connsiteX16434" y="connsiteY16434"/>
              </a:cxn>
              <a:cxn ang="0">
                <a:pos x="connsiteX16435" y="connsiteY16435"/>
              </a:cxn>
              <a:cxn ang="0">
                <a:pos x="connsiteX16436" y="connsiteY16436"/>
              </a:cxn>
              <a:cxn ang="0">
                <a:pos x="connsiteX16437" y="connsiteY16437"/>
              </a:cxn>
              <a:cxn ang="0">
                <a:pos x="connsiteX16438" y="connsiteY16438"/>
              </a:cxn>
              <a:cxn ang="0">
                <a:pos x="connsiteX16439" y="connsiteY16439"/>
              </a:cxn>
              <a:cxn ang="0">
                <a:pos x="connsiteX16440" y="connsiteY16440"/>
              </a:cxn>
              <a:cxn ang="0">
                <a:pos x="connsiteX16441" y="connsiteY16441"/>
              </a:cxn>
              <a:cxn ang="0">
                <a:pos x="connsiteX16442" y="connsiteY16442"/>
              </a:cxn>
              <a:cxn ang="0">
                <a:pos x="connsiteX16443" y="connsiteY16443"/>
              </a:cxn>
              <a:cxn ang="0">
                <a:pos x="connsiteX16444" y="connsiteY16444"/>
              </a:cxn>
              <a:cxn ang="0">
                <a:pos x="connsiteX16445" y="connsiteY16445"/>
              </a:cxn>
              <a:cxn ang="0">
                <a:pos x="connsiteX16446" y="connsiteY16446"/>
              </a:cxn>
              <a:cxn ang="0">
                <a:pos x="connsiteX16447" y="connsiteY16447"/>
              </a:cxn>
              <a:cxn ang="0">
                <a:pos x="connsiteX16448" y="connsiteY16448"/>
              </a:cxn>
              <a:cxn ang="0">
                <a:pos x="connsiteX16449" y="connsiteY16449"/>
              </a:cxn>
              <a:cxn ang="0">
                <a:pos x="connsiteX16450" y="connsiteY16450"/>
              </a:cxn>
              <a:cxn ang="0">
                <a:pos x="connsiteX16451" y="connsiteY16451"/>
              </a:cxn>
              <a:cxn ang="0">
                <a:pos x="connsiteX16452" y="connsiteY16452"/>
              </a:cxn>
              <a:cxn ang="0">
                <a:pos x="connsiteX16453" y="connsiteY16453"/>
              </a:cxn>
              <a:cxn ang="0">
                <a:pos x="connsiteX16454" y="connsiteY16454"/>
              </a:cxn>
              <a:cxn ang="0">
                <a:pos x="connsiteX16455" y="connsiteY16455"/>
              </a:cxn>
              <a:cxn ang="0">
                <a:pos x="connsiteX16456" y="connsiteY16456"/>
              </a:cxn>
              <a:cxn ang="0">
                <a:pos x="connsiteX16457" y="connsiteY16457"/>
              </a:cxn>
              <a:cxn ang="0">
                <a:pos x="connsiteX16458" y="connsiteY16458"/>
              </a:cxn>
              <a:cxn ang="0">
                <a:pos x="connsiteX16459" y="connsiteY16459"/>
              </a:cxn>
              <a:cxn ang="0">
                <a:pos x="connsiteX16460" y="connsiteY16460"/>
              </a:cxn>
              <a:cxn ang="0">
                <a:pos x="connsiteX16461" y="connsiteY16461"/>
              </a:cxn>
              <a:cxn ang="0">
                <a:pos x="connsiteX16462" y="connsiteY16462"/>
              </a:cxn>
              <a:cxn ang="0">
                <a:pos x="connsiteX16463" y="connsiteY16463"/>
              </a:cxn>
              <a:cxn ang="0">
                <a:pos x="connsiteX16464" y="connsiteY16464"/>
              </a:cxn>
              <a:cxn ang="0">
                <a:pos x="connsiteX16465" y="connsiteY16465"/>
              </a:cxn>
              <a:cxn ang="0">
                <a:pos x="connsiteX16466" y="connsiteY16466"/>
              </a:cxn>
              <a:cxn ang="0">
                <a:pos x="connsiteX16467" y="connsiteY16467"/>
              </a:cxn>
              <a:cxn ang="0">
                <a:pos x="connsiteX16468" y="connsiteY16468"/>
              </a:cxn>
              <a:cxn ang="0">
                <a:pos x="connsiteX16469" y="connsiteY16469"/>
              </a:cxn>
              <a:cxn ang="0">
                <a:pos x="connsiteX16470" y="connsiteY16470"/>
              </a:cxn>
              <a:cxn ang="0">
                <a:pos x="connsiteX16471" y="connsiteY16471"/>
              </a:cxn>
              <a:cxn ang="0">
                <a:pos x="connsiteX16472" y="connsiteY16472"/>
              </a:cxn>
              <a:cxn ang="0">
                <a:pos x="connsiteX16473" y="connsiteY16473"/>
              </a:cxn>
              <a:cxn ang="0">
                <a:pos x="connsiteX16474" y="connsiteY16474"/>
              </a:cxn>
              <a:cxn ang="0">
                <a:pos x="connsiteX16475" y="connsiteY16475"/>
              </a:cxn>
              <a:cxn ang="0">
                <a:pos x="connsiteX16476" y="connsiteY16476"/>
              </a:cxn>
              <a:cxn ang="0">
                <a:pos x="connsiteX16477" y="connsiteY16477"/>
              </a:cxn>
              <a:cxn ang="0">
                <a:pos x="connsiteX16478" y="connsiteY16478"/>
              </a:cxn>
              <a:cxn ang="0">
                <a:pos x="connsiteX16479" y="connsiteY16479"/>
              </a:cxn>
              <a:cxn ang="0">
                <a:pos x="connsiteX16480" y="connsiteY16480"/>
              </a:cxn>
              <a:cxn ang="0">
                <a:pos x="connsiteX16481" y="connsiteY16481"/>
              </a:cxn>
              <a:cxn ang="0">
                <a:pos x="connsiteX16482" y="connsiteY16482"/>
              </a:cxn>
              <a:cxn ang="0">
                <a:pos x="connsiteX16483" y="connsiteY16483"/>
              </a:cxn>
              <a:cxn ang="0">
                <a:pos x="connsiteX16484" y="connsiteY16484"/>
              </a:cxn>
              <a:cxn ang="0">
                <a:pos x="connsiteX16485" y="connsiteY16485"/>
              </a:cxn>
              <a:cxn ang="0">
                <a:pos x="connsiteX16486" y="connsiteY16486"/>
              </a:cxn>
              <a:cxn ang="0">
                <a:pos x="connsiteX16487" y="connsiteY16487"/>
              </a:cxn>
              <a:cxn ang="0">
                <a:pos x="connsiteX16488" y="connsiteY16488"/>
              </a:cxn>
              <a:cxn ang="0">
                <a:pos x="connsiteX16489" y="connsiteY16489"/>
              </a:cxn>
              <a:cxn ang="0">
                <a:pos x="connsiteX16490" y="connsiteY16490"/>
              </a:cxn>
              <a:cxn ang="0">
                <a:pos x="connsiteX16491" y="connsiteY16491"/>
              </a:cxn>
              <a:cxn ang="0">
                <a:pos x="connsiteX16492" y="connsiteY16492"/>
              </a:cxn>
              <a:cxn ang="0">
                <a:pos x="connsiteX16493" y="connsiteY16493"/>
              </a:cxn>
              <a:cxn ang="0">
                <a:pos x="connsiteX16494" y="connsiteY16494"/>
              </a:cxn>
              <a:cxn ang="0">
                <a:pos x="connsiteX16495" y="connsiteY16495"/>
              </a:cxn>
              <a:cxn ang="0">
                <a:pos x="connsiteX16496" y="connsiteY16496"/>
              </a:cxn>
              <a:cxn ang="0">
                <a:pos x="connsiteX16497" y="connsiteY16497"/>
              </a:cxn>
              <a:cxn ang="0">
                <a:pos x="connsiteX16498" y="connsiteY16498"/>
              </a:cxn>
              <a:cxn ang="0">
                <a:pos x="connsiteX16499" y="connsiteY16499"/>
              </a:cxn>
              <a:cxn ang="0">
                <a:pos x="connsiteX16500" y="connsiteY16500"/>
              </a:cxn>
              <a:cxn ang="0">
                <a:pos x="connsiteX16501" y="connsiteY16501"/>
              </a:cxn>
              <a:cxn ang="0">
                <a:pos x="connsiteX16502" y="connsiteY16502"/>
              </a:cxn>
              <a:cxn ang="0">
                <a:pos x="connsiteX16503" y="connsiteY16503"/>
              </a:cxn>
              <a:cxn ang="0">
                <a:pos x="connsiteX16504" y="connsiteY16504"/>
              </a:cxn>
              <a:cxn ang="0">
                <a:pos x="connsiteX16505" y="connsiteY16505"/>
              </a:cxn>
              <a:cxn ang="0">
                <a:pos x="connsiteX16506" y="connsiteY16506"/>
              </a:cxn>
              <a:cxn ang="0">
                <a:pos x="connsiteX16507" y="connsiteY16507"/>
              </a:cxn>
              <a:cxn ang="0">
                <a:pos x="connsiteX16508" y="connsiteY16508"/>
              </a:cxn>
              <a:cxn ang="0">
                <a:pos x="connsiteX16509" y="connsiteY16509"/>
              </a:cxn>
              <a:cxn ang="0">
                <a:pos x="connsiteX16510" y="connsiteY16510"/>
              </a:cxn>
              <a:cxn ang="0">
                <a:pos x="connsiteX16511" y="connsiteY16511"/>
              </a:cxn>
              <a:cxn ang="0">
                <a:pos x="connsiteX16512" y="connsiteY16512"/>
              </a:cxn>
              <a:cxn ang="0">
                <a:pos x="connsiteX16513" y="connsiteY16513"/>
              </a:cxn>
              <a:cxn ang="0">
                <a:pos x="connsiteX16514" y="connsiteY16514"/>
              </a:cxn>
              <a:cxn ang="0">
                <a:pos x="connsiteX16515" y="connsiteY16515"/>
              </a:cxn>
              <a:cxn ang="0">
                <a:pos x="connsiteX16516" y="connsiteY16516"/>
              </a:cxn>
              <a:cxn ang="0">
                <a:pos x="connsiteX16517" y="connsiteY16517"/>
              </a:cxn>
              <a:cxn ang="0">
                <a:pos x="connsiteX16518" y="connsiteY16518"/>
              </a:cxn>
              <a:cxn ang="0">
                <a:pos x="connsiteX16519" y="connsiteY16519"/>
              </a:cxn>
              <a:cxn ang="0">
                <a:pos x="connsiteX16520" y="connsiteY16520"/>
              </a:cxn>
              <a:cxn ang="0">
                <a:pos x="connsiteX16521" y="connsiteY16521"/>
              </a:cxn>
              <a:cxn ang="0">
                <a:pos x="connsiteX16522" y="connsiteY16522"/>
              </a:cxn>
              <a:cxn ang="0">
                <a:pos x="connsiteX16523" y="connsiteY16523"/>
              </a:cxn>
              <a:cxn ang="0">
                <a:pos x="connsiteX16524" y="connsiteY16524"/>
              </a:cxn>
              <a:cxn ang="0">
                <a:pos x="connsiteX16525" y="connsiteY16525"/>
              </a:cxn>
              <a:cxn ang="0">
                <a:pos x="connsiteX16526" y="connsiteY16526"/>
              </a:cxn>
              <a:cxn ang="0">
                <a:pos x="connsiteX16527" y="connsiteY16527"/>
              </a:cxn>
              <a:cxn ang="0">
                <a:pos x="connsiteX16528" y="connsiteY16528"/>
              </a:cxn>
              <a:cxn ang="0">
                <a:pos x="connsiteX16529" y="connsiteY16529"/>
              </a:cxn>
              <a:cxn ang="0">
                <a:pos x="connsiteX16530" y="connsiteY16530"/>
              </a:cxn>
              <a:cxn ang="0">
                <a:pos x="connsiteX16531" y="connsiteY16531"/>
              </a:cxn>
              <a:cxn ang="0">
                <a:pos x="connsiteX16532" y="connsiteY16532"/>
              </a:cxn>
              <a:cxn ang="0">
                <a:pos x="connsiteX16533" y="connsiteY16533"/>
              </a:cxn>
              <a:cxn ang="0">
                <a:pos x="connsiteX16534" y="connsiteY16534"/>
              </a:cxn>
              <a:cxn ang="0">
                <a:pos x="connsiteX16535" y="connsiteY16535"/>
              </a:cxn>
              <a:cxn ang="0">
                <a:pos x="connsiteX16536" y="connsiteY16536"/>
              </a:cxn>
              <a:cxn ang="0">
                <a:pos x="connsiteX16537" y="connsiteY16537"/>
              </a:cxn>
              <a:cxn ang="0">
                <a:pos x="connsiteX16538" y="connsiteY16538"/>
              </a:cxn>
              <a:cxn ang="0">
                <a:pos x="connsiteX16539" y="connsiteY16539"/>
              </a:cxn>
              <a:cxn ang="0">
                <a:pos x="connsiteX16540" y="connsiteY16540"/>
              </a:cxn>
              <a:cxn ang="0">
                <a:pos x="connsiteX16541" y="connsiteY16541"/>
              </a:cxn>
              <a:cxn ang="0">
                <a:pos x="connsiteX16542" y="connsiteY16542"/>
              </a:cxn>
              <a:cxn ang="0">
                <a:pos x="connsiteX16543" y="connsiteY16543"/>
              </a:cxn>
              <a:cxn ang="0">
                <a:pos x="connsiteX16544" y="connsiteY16544"/>
              </a:cxn>
              <a:cxn ang="0">
                <a:pos x="connsiteX16545" y="connsiteY16545"/>
              </a:cxn>
              <a:cxn ang="0">
                <a:pos x="connsiteX16546" y="connsiteY16546"/>
              </a:cxn>
              <a:cxn ang="0">
                <a:pos x="connsiteX16547" y="connsiteY16547"/>
              </a:cxn>
              <a:cxn ang="0">
                <a:pos x="connsiteX16548" y="connsiteY16548"/>
              </a:cxn>
              <a:cxn ang="0">
                <a:pos x="connsiteX16549" y="connsiteY16549"/>
              </a:cxn>
              <a:cxn ang="0">
                <a:pos x="connsiteX16550" y="connsiteY16550"/>
              </a:cxn>
              <a:cxn ang="0">
                <a:pos x="connsiteX16551" y="connsiteY16551"/>
              </a:cxn>
              <a:cxn ang="0">
                <a:pos x="connsiteX16552" y="connsiteY16552"/>
              </a:cxn>
              <a:cxn ang="0">
                <a:pos x="connsiteX16553" y="connsiteY16553"/>
              </a:cxn>
              <a:cxn ang="0">
                <a:pos x="connsiteX16554" y="connsiteY16554"/>
              </a:cxn>
              <a:cxn ang="0">
                <a:pos x="connsiteX16555" y="connsiteY16555"/>
              </a:cxn>
              <a:cxn ang="0">
                <a:pos x="connsiteX16556" y="connsiteY16556"/>
              </a:cxn>
              <a:cxn ang="0">
                <a:pos x="connsiteX16557" y="connsiteY16557"/>
              </a:cxn>
              <a:cxn ang="0">
                <a:pos x="connsiteX16558" y="connsiteY16558"/>
              </a:cxn>
              <a:cxn ang="0">
                <a:pos x="connsiteX16559" y="connsiteY16559"/>
              </a:cxn>
              <a:cxn ang="0">
                <a:pos x="connsiteX16560" y="connsiteY16560"/>
              </a:cxn>
              <a:cxn ang="0">
                <a:pos x="connsiteX16561" y="connsiteY16561"/>
              </a:cxn>
              <a:cxn ang="0">
                <a:pos x="connsiteX16562" y="connsiteY16562"/>
              </a:cxn>
              <a:cxn ang="0">
                <a:pos x="connsiteX16563" y="connsiteY16563"/>
              </a:cxn>
              <a:cxn ang="0">
                <a:pos x="connsiteX16564" y="connsiteY16564"/>
              </a:cxn>
              <a:cxn ang="0">
                <a:pos x="connsiteX16565" y="connsiteY16565"/>
              </a:cxn>
              <a:cxn ang="0">
                <a:pos x="connsiteX16566" y="connsiteY16566"/>
              </a:cxn>
              <a:cxn ang="0">
                <a:pos x="connsiteX16567" y="connsiteY16567"/>
              </a:cxn>
              <a:cxn ang="0">
                <a:pos x="connsiteX16568" y="connsiteY16568"/>
              </a:cxn>
              <a:cxn ang="0">
                <a:pos x="connsiteX16569" y="connsiteY16569"/>
              </a:cxn>
              <a:cxn ang="0">
                <a:pos x="connsiteX16570" y="connsiteY16570"/>
              </a:cxn>
              <a:cxn ang="0">
                <a:pos x="connsiteX16571" y="connsiteY16571"/>
              </a:cxn>
              <a:cxn ang="0">
                <a:pos x="connsiteX16572" y="connsiteY16572"/>
              </a:cxn>
              <a:cxn ang="0">
                <a:pos x="connsiteX16573" y="connsiteY16573"/>
              </a:cxn>
              <a:cxn ang="0">
                <a:pos x="connsiteX16574" y="connsiteY16574"/>
              </a:cxn>
              <a:cxn ang="0">
                <a:pos x="connsiteX16575" y="connsiteY16575"/>
              </a:cxn>
              <a:cxn ang="0">
                <a:pos x="connsiteX16576" y="connsiteY16576"/>
              </a:cxn>
              <a:cxn ang="0">
                <a:pos x="connsiteX16577" y="connsiteY16577"/>
              </a:cxn>
              <a:cxn ang="0">
                <a:pos x="connsiteX16578" y="connsiteY16578"/>
              </a:cxn>
              <a:cxn ang="0">
                <a:pos x="connsiteX16579" y="connsiteY16579"/>
              </a:cxn>
              <a:cxn ang="0">
                <a:pos x="connsiteX16580" y="connsiteY16580"/>
              </a:cxn>
              <a:cxn ang="0">
                <a:pos x="connsiteX16581" y="connsiteY16581"/>
              </a:cxn>
              <a:cxn ang="0">
                <a:pos x="connsiteX16582" y="connsiteY16582"/>
              </a:cxn>
              <a:cxn ang="0">
                <a:pos x="connsiteX16583" y="connsiteY16583"/>
              </a:cxn>
              <a:cxn ang="0">
                <a:pos x="connsiteX16584" y="connsiteY16584"/>
              </a:cxn>
              <a:cxn ang="0">
                <a:pos x="connsiteX16585" y="connsiteY16585"/>
              </a:cxn>
              <a:cxn ang="0">
                <a:pos x="connsiteX16586" y="connsiteY16586"/>
              </a:cxn>
              <a:cxn ang="0">
                <a:pos x="connsiteX16587" y="connsiteY16587"/>
              </a:cxn>
              <a:cxn ang="0">
                <a:pos x="connsiteX16588" y="connsiteY16588"/>
              </a:cxn>
              <a:cxn ang="0">
                <a:pos x="connsiteX16589" y="connsiteY16589"/>
              </a:cxn>
              <a:cxn ang="0">
                <a:pos x="connsiteX16590" y="connsiteY16590"/>
              </a:cxn>
              <a:cxn ang="0">
                <a:pos x="connsiteX16591" y="connsiteY16591"/>
              </a:cxn>
              <a:cxn ang="0">
                <a:pos x="connsiteX16592" y="connsiteY16592"/>
              </a:cxn>
              <a:cxn ang="0">
                <a:pos x="connsiteX16593" y="connsiteY16593"/>
              </a:cxn>
              <a:cxn ang="0">
                <a:pos x="connsiteX16594" y="connsiteY16594"/>
              </a:cxn>
              <a:cxn ang="0">
                <a:pos x="connsiteX16595" y="connsiteY16595"/>
              </a:cxn>
              <a:cxn ang="0">
                <a:pos x="connsiteX16596" y="connsiteY16596"/>
              </a:cxn>
              <a:cxn ang="0">
                <a:pos x="connsiteX16597" y="connsiteY16597"/>
              </a:cxn>
              <a:cxn ang="0">
                <a:pos x="connsiteX16598" y="connsiteY16598"/>
              </a:cxn>
              <a:cxn ang="0">
                <a:pos x="connsiteX16599" y="connsiteY16599"/>
              </a:cxn>
              <a:cxn ang="0">
                <a:pos x="connsiteX16600" y="connsiteY16600"/>
              </a:cxn>
              <a:cxn ang="0">
                <a:pos x="connsiteX16601" y="connsiteY16601"/>
              </a:cxn>
              <a:cxn ang="0">
                <a:pos x="connsiteX16602" y="connsiteY16602"/>
              </a:cxn>
              <a:cxn ang="0">
                <a:pos x="connsiteX16603" y="connsiteY16603"/>
              </a:cxn>
              <a:cxn ang="0">
                <a:pos x="connsiteX16604" y="connsiteY16604"/>
              </a:cxn>
              <a:cxn ang="0">
                <a:pos x="connsiteX16605" y="connsiteY16605"/>
              </a:cxn>
              <a:cxn ang="0">
                <a:pos x="connsiteX16606" y="connsiteY16606"/>
              </a:cxn>
              <a:cxn ang="0">
                <a:pos x="connsiteX16607" y="connsiteY16607"/>
              </a:cxn>
              <a:cxn ang="0">
                <a:pos x="connsiteX16608" y="connsiteY16608"/>
              </a:cxn>
              <a:cxn ang="0">
                <a:pos x="connsiteX16609" y="connsiteY16609"/>
              </a:cxn>
              <a:cxn ang="0">
                <a:pos x="connsiteX16610" y="connsiteY16610"/>
              </a:cxn>
              <a:cxn ang="0">
                <a:pos x="connsiteX16611" y="connsiteY16611"/>
              </a:cxn>
              <a:cxn ang="0">
                <a:pos x="connsiteX16612" y="connsiteY16612"/>
              </a:cxn>
              <a:cxn ang="0">
                <a:pos x="connsiteX16613" y="connsiteY16613"/>
              </a:cxn>
              <a:cxn ang="0">
                <a:pos x="connsiteX16614" y="connsiteY16614"/>
              </a:cxn>
              <a:cxn ang="0">
                <a:pos x="connsiteX16615" y="connsiteY16615"/>
              </a:cxn>
              <a:cxn ang="0">
                <a:pos x="connsiteX16616" y="connsiteY16616"/>
              </a:cxn>
              <a:cxn ang="0">
                <a:pos x="connsiteX16617" y="connsiteY16617"/>
              </a:cxn>
              <a:cxn ang="0">
                <a:pos x="connsiteX16618" y="connsiteY16618"/>
              </a:cxn>
              <a:cxn ang="0">
                <a:pos x="connsiteX16619" y="connsiteY16619"/>
              </a:cxn>
              <a:cxn ang="0">
                <a:pos x="connsiteX16620" y="connsiteY16620"/>
              </a:cxn>
              <a:cxn ang="0">
                <a:pos x="connsiteX16621" y="connsiteY16621"/>
              </a:cxn>
              <a:cxn ang="0">
                <a:pos x="connsiteX16622" y="connsiteY16622"/>
              </a:cxn>
              <a:cxn ang="0">
                <a:pos x="connsiteX16623" y="connsiteY16623"/>
              </a:cxn>
              <a:cxn ang="0">
                <a:pos x="connsiteX16624" y="connsiteY16624"/>
              </a:cxn>
              <a:cxn ang="0">
                <a:pos x="connsiteX16625" y="connsiteY16625"/>
              </a:cxn>
              <a:cxn ang="0">
                <a:pos x="connsiteX16626" y="connsiteY16626"/>
              </a:cxn>
              <a:cxn ang="0">
                <a:pos x="connsiteX16627" y="connsiteY16627"/>
              </a:cxn>
              <a:cxn ang="0">
                <a:pos x="connsiteX16628" y="connsiteY16628"/>
              </a:cxn>
              <a:cxn ang="0">
                <a:pos x="connsiteX16629" y="connsiteY16629"/>
              </a:cxn>
              <a:cxn ang="0">
                <a:pos x="connsiteX16630" y="connsiteY16630"/>
              </a:cxn>
              <a:cxn ang="0">
                <a:pos x="connsiteX16631" y="connsiteY16631"/>
              </a:cxn>
              <a:cxn ang="0">
                <a:pos x="connsiteX16632" y="connsiteY16632"/>
              </a:cxn>
              <a:cxn ang="0">
                <a:pos x="connsiteX16633" y="connsiteY16633"/>
              </a:cxn>
              <a:cxn ang="0">
                <a:pos x="connsiteX16634" y="connsiteY16634"/>
              </a:cxn>
              <a:cxn ang="0">
                <a:pos x="connsiteX16635" y="connsiteY16635"/>
              </a:cxn>
              <a:cxn ang="0">
                <a:pos x="connsiteX16636" y="connsiteY16636"/>
              </a:cxn>
              <a:cxn ang="0">
                <a:pos x="connsiteX16637" y="connsiteY16637"/>
              </a:cxn>
              <a:cxn ang="0">
                <a:pos x="connsiteX16638" y="connsiteY16638"/>
              </a:cxn>
              <a:cxn ang="0">
                <a:pos x="connsiteX16639" y="connsiteY16639"/>
              </a:cxn>
              <a:cxn ang="0">
                <a:pos x="connsiteX16640" y="connsiteY16640"/>
              </a:cxn>
              <a:cxn ang="0">
                <a:pos x="connsiteX16641" y="connsiteY16641"/>
              </a:cxn>
              <a:cxn ang="0">
                <a:pos x="connsiteX16642" y="connsiteY16642"/>
              </a:cxn>
              <a:cxn ang="0">
                <a:pos x="connsiteX16643" y="connsiteY16643"/>
              </a:cxn>
              <a:cxn ang="0">
                <a:pos x="connsiteX16644" y="connsiteY16644"/>
              </a:cxn>
              <a:cxn ang="0">
                <a:pos x="connsiteX16645" y="connsiteY16645"/>
              </a:cxn>
              <a:cxn ang="0">
                <a:pos x="connsiteX16646" y="connsiteY16646"/>
              </a:cxn>
              <a:cxn ang="0">
                <a:pos x="connsiteX16647" y="connsiteY16647"/>
              </a:cxn>
              <a:cxn ang="0">
                <a:pos x="connsiteX16648" y="connsiteY16648"/>
              </a:cxn>
              <a:cxn ang="0">
                <a:pos x="connsiteX16649" y="connsiteY16649"/>
              </a:cxn>
              <a:cxn ang="0">
                <a:pos x="connsiteX16650" y="connsiteY16650"/>
              </a:cxn>
              <a:cxn ang="0">
                <a:pos x="connsiteX16651" y="connsiteY16651"/>
              </a:cxn>
              <a:cxn ang="0">
                <a:pos x="connsiteX16652" y="connsiteY16652"/>
              </a:cxn>
              <a:cxn ang="0">
                <a:pos x="connsiteX16653" y="connsiteY16653"/>
              </a:cxn>
              <a:cxn ang="0">
                <a:pos x="connsiteX16654" y="connsiteY16654"/>
              </a:cxn>
              <a:cxn ang="0">
                <a:pos x="connsiteX16655" y="connsiteY16655"/>
              </a:cxn>
              <a:cxn ang="0">
                <a:pos x="connsiteX16656" y="connsiteY16656"/>
              </a:cxn>
              <a:cxn ang="0">
                <a:pos x="connsiteX16657" y="connsiteY16657"/>
              </a:cxn>
              <a:cxn ang="0">
                <a:pos x="connsiteX16658" y="connsiteY16658"/>
              </a:cxn>
              <a:cxn ang="0">
                <a:pos x="connsiteX16659" y="connsiteY16659"/>
              </a:cxn>
              <a:cxn ang="0">
                <a:pos x="connsiteX16660" y="connsiteY16660"/>
              </a:cxn>
              <a:cxn ang="0">
                <a:pos x="connsiteX16661" y="connsiteY16661"/>
              </a:cxn>
              <a:cxn ang="0">
                <a:pos x="connsiteX16662" y="connsiteY16662"/>
              </a:cxn>
              <a:cxn ang="0">
                <a:pos x="connsiteX16663" y="connsiteY16663"/>
              </a:cxn>
              <a:cxn ang="0">
                <a:pos x="connsiteX16664" y="connsiteY16664"/>
              </a:cxn>
              <a:cxn ang="0">
                <a:pos x="connsiteX16665" y="connsiteY16665"/>
              </a:cxn>
              <a:cxn ang="0">
                <a:pos x="connsiteX16666" y="connsiteY16666"/>
              </a:cxn>
              <a:cxn ang="0">
                <a:pos x="connsiteX16667" y="connsiteY16667"/>
              </a:cxn>
              <a:cxn ang="0">
                <a:pos x="connsiteX16668" y="connsiteY16668"/>
              </a:cxn>
              <a:cxn ang="0">
                <a:pos x="connsiteX16669" y="connsiteY16669"/>
              </a:cxn>
              <a:cxn ang="0">
                <a:pos x="connsiteX16670" y="connsiteY16670"/>
              </a:cxn>
              <a:cxn ang="0">
                <a:pos x="connsiteX16671" y="connsiteY16671"/>
              </a:cxn>
              <a:cxn ang="0">
                <a:pos x="connsiteX16672" y="connsiteY16672"/>
              </a:cxn>
              <a:cxn ang="0">
                <a:pos x="connsiteX16673" y="connsiteY16673"/>
              </a:cxn>
              <a:cxn ang="0">
                <a:pos x="connsiteX16674" y="connsiteY16674"/>
              </a:cxn>
              <a:cxn ang="0">
                <a:pos x="connsiteX16675" y="connsiteY16675"/>
              </a:cxn>
              <a:cxn ang="0">
                <a:pos x="connsiteX16676" y="connsiteY16676"/>
              </a:cxn>
              <a:cxn ang="0">
                <a:pos x="connsiteX16677" y="connsiteY16677"/>
              </a:cxn>
              <a:cxn ang="0">
                <a:pos x="connsiteX16678" y="connsiteY16678"/>
              </a:cxn>
              <a:cxn ang="0">
                <a:pos x="connsiteX16679" y="connsiteY16679"/>
              </a:cxn>
              <a:cxn ang="0">
                <a:pos x="connsiteX16680" y="connsiteY16680"/>
              </a:cxn>
              <a:cxn ang="0">
                <a:pos x="connsiteX16681" y="connsiteY16681"/>
              </a:cxn>
              <a:cxn ang="0">
                <a:pos x="connsiteX16682" y="connsiteY16682"/>
              </a:cxn>
              <a:cxn ang="0">
                <a:pos x="connsiteX16683" y="connsiteY16683"/>
              </a:cxn>
              <a:cxn ang="0">
                <a:pos x="connsiteX16684" y="connsiteY16684"/>
              </a:cxn>
              <a:cxn ang="0">
                <a:pos x="connsiteX16685" y="connsiteY16685"/>
              </a:cxn>
              <a:cxn ang="0">
                <a:pos x="connsiteX16686" y="connsiteY16686"/>
              </a:cxn>
              <a:cxn ang="0">
                <a:pos x="connsiteX16687" y="connsiteY16687"/>
              </a:cxn>
              <a:cxn ang="0">
                <a:pos x="connsiteX16688" y="connsiteY16688"/>
              </a:cxn>
              <a:cxn ang="0">
                <a:pos x="connsiteX16689" y="connsiteY16689"/>
              </a:cxn>
              <a:cxn ang="0">
                <a:pos x="connsiteX16690" y="connsiteY16690"/>
              </a:cxn>
              <a:cxn ang="0">
                <a:pos x="connsiteX16691" y="connsiteY16691"/>
              </a:cxn>
              <a:cxn ang="0">
                <a:pos x="connsiteX16692" y="connsiteY16692"/>
              </a:cxn>
              <a:cxn ang="0">
                <a:pos x="connsiteX16693" y="connsiteY16693"/>
              </a:cxn>
              <a:cxn ang="0">
                <a:pos x="connsiteX16694" y="connsiteY16694"/>
              </a:cxn>
              <a:cxn ang="0">
                <a:pos x="connsiteX16695" y="connsiteY16695"/>
              </a:cxn>
              <a:cxn ang="0">
                <a:pos x="connsiteX16696" y="connsiteY16696"/>
              </a:cxn>
              <a:cxn ang="0">
                <a:pos x="connsiteX16697" y="connsiteY16697"/>
              </a:cxn>
              <a:cxn ang="0">
                <a:pos x="connsiteX16698" y="connsiteY16698"/>
              </a:cxn>
              <a:cxn ang="0">
                <a:pos x="connsiteX16699" y="connsiteY16699"/>
              </a:cxn>
              <a:cxn ang="0">
                <a:pos x="connsiteX16700" y="connsiteY16700"/>
              </a:cxn>
              <a:cxn ang="0">
                <a:pos x="connsiteX16701" y="connsiteY16701"/>
              </a:cxn>
              <a:cxn ang="0">
                <a:pos x="connsiteX16702" y="connsiteY16702"/>
              </a:cxn>
              <a:cxn ang="0">
                <a:pos x="connsiteX16703" y="connsiteY16703"/>
              </a:cxn>
              <a:cxn ang="0">
                <a:pos x="connsiteX16704" y="connsiteY16704"/>
              </a:cxn>
              <a:cxn ang="0">
                <a:pos x="connsiteX16705" y="connsiteY16705"/>
              </a:cxn>
              <a:cxn ang="0">
                <a:pos x="connsiteX16706" y="connsiteY16706"/>
              </a:cxn>
              <a:cxn ang="0">
                <a:pos x="connsiteX16707" y="connsiteY16707"/>
              </a:cxn>
              <a:cxn ang="0">
                <a:pos x="connsiteX16708" y="connsiteY16708"/>
              </a:cxn>
              <a:cxn ang="0">
                <a:pos x="connsiteX16709" y="connsiteY16709"/>
              </a:cxn>
              <a:cxn ang="0">
                <a:pos x="connsiteX16710" y="connsiteY16710"/>
              </a:cxn>
              <a:cxn ang="0">
                <a:pos x="connsiteX16711" y="connsiteY16711"/>
              </a:cxn>
              <a:cxn ang="0">
                <a:pos x="connsiteX16712" y="connsiteY16712"/>
              </a:cxn>
              <a:cxn ang="0">
                <a:pos x="connsiteX16713" y="connsiteY16713"/>
              </a:cxn>
              <a:cxn ang="0">
                <a:pos x="connsiteX16714" y="connsiteY16714"/>
              </a:cxn>
              <a:cxn ang="0">
                <a:pos x="connsiteX16715" y="connsiteY16715"/>
              </a:cxn>
              <a:cxn ang="0">
                <a:pos x="connsiteX16716" y="connsiteY16716"/>
              </a:cxn>
              <a:cxn ang="0">
                <a:pos x="connsiteX16717" y="connsiteY16717"/>
              </a:cxn>
              <a:cxn ang="0">
                <a:pos x="connsiteX16718" y="connsiteY16718"/>
              </a:cxn>
              <a:cxn ang="0">
                <a:pos x="connsiteX16719" y="connsiteY16719"/>
              </a:cxn>
              <a:cxn ang="0">
                <a:pos x="connsiteX16720" y="connsiteY16720"/>
              </a:cxn>
              <a:cxn ang="0">
                <a:pos x="connsiteX16721" y="connsiteY16721"/>
              </a:cxn>
              <a:cxn ang="0">
                <a:pos x="connsiteX16722" y="connsiteY16722"/>
              </a:cxn>
              <a:cxn ang="0">
                <a:pos x="connsiteX16723" y="connsiteY16723"/>
              </a:cxn>
              <a:cxn ang="0">
                <a:pos x="connsiteX16724" y="connsiteY16724"/>
              </a:cxn>
              <a:cxn ang="0">
                <a:pos x="connsiteX16725" y="connsiteY16725"/>
              </a:cxn>
              <a:cxn ang="0">
                <a:pos x="connsiteX16726" y="connsiteY16726"/>
              </a:cxn>
              <a:cxn ang="0">
                <a:pos x="connsiteX16727" y="connsiteY16727"/>
              </a:cxn>
              <a:cxn ang="0">
                <a:pos x="connsiteX16728" y="connsiteY16728"/>
              </a:cxn>
              <a:cxn ang="0">
                <a:pos x="connsiteX16729" y="connsiteY16729"/>
              </a:cxn>
              <a:cxn ang="0">
                <a:pos x="connsiteX16730" y="connsiteY16730"/>
              </a:cxn>
              <a:cxn ang="0">
                <a:pos x="connsiteX16731" y="connsiteY16731"/>
              </a:cxn>
              <a:cxn ang="0">
                <a:pos x="connsiteX16732" y="connsiteY16732"/>
              </a:cxn>
              <a:cxn ang="0">
                <a:pos x="connsiteX16733" y="connsiteY16733"/>
              </a:cxn>
              <a:cxn ang="0">
                <a:pos x="connsiteX16734" y="connsiteY16734"/>
              </a:cxn>
              <a:cxn ang="0">
                <a:pos x="connsiteX16735" y="connsiteY16735"/>
              </a:cxn>
              <a:cxn ang="0">
                <a:pos x="connsiteX16736" y="connsiteY16736"/>
              </a:cxn>
              <a:cxn ang="0">
                <a:pos x="connsiteX16737" y="connsiteY16737"/>
              </a:cxn>
              <a:cxn ang="0">
                <a:pos x="connsiteX16738" y="connsiteY16738"/>
              </a:cxn>
              <a:cxn ang="0">
                <a:pos x="connsiteX16739" y="connsiteY16739"/>
              </a:cxn>
              <a:cxn ang="0">
                <a:pos x="connsiteX16740" y="connsiteY16740"/>
              </a:cxn>
              <a:cxn ang="0">
                <a:pos x="connsiteX16741" y="connsiteY16741"/>
              </a:cxn>
              <a:cxn ang="0">
                <a:pos x="connsiteX16742" y="connsiteY16742"/>
              </a:cxn>
              <a:cxn ang="0">
                <a:pos x="connsiteX16743" y="connsiteY16743"/>
              </a:cxn>
              <a:cxn ang="0">
                <a:pos x="connsiteX16744" y="connsiteY16744"/>
              </a:cxn>
              <a:cxn ang="0">
                <a:pos x="connsiteX16745" y="connsiteY16745"/>
              </a:cxn>
              <a:cxn ang="0">
                <a:pos x="connsiteX16746" y="connsiteY16746"/>
              </a:cxn>
              <a:cxn ang="0">
                <a:pos x="connsiteX16747" y="connsiteY16747"/>
              </a:cxn>
              <a:cxn ang="0">
                <a:pos x="connsiteX16748" y="connsiteY16748"/>
              </a:cxn>
              <a:cxn ang="0">
                <a:pos x="connsiteX16749" y="connsiteY16749"/>
              </a:cxn>
              <a:cxn ang="0">
                <a:pos x="connsiteX16750" y="connsiteY16750"/>
              </a:cxn>
              <a:cxn ang="0">
                <a:pos x="connsiteX16751" y="connsiteY16751"/>
              </a:cxn>
              <a:cxn ang="0">
                <a:pos x="connsiteX16752" y="connsiteY16752"/>
              </a:cxn>
              <a:cxn ang="0">
                <a:pos x="connsiteX16753" y="connsiteY16753"/>
              </a:cxn>
              <a:cxn ang="0">
                <a:pos x="connsiteX16754" y="connsiteY16754"/>
              </a:cxn>
              <a:cxn ang="0">
                <a:pos x="connsiteX16755" y="connsiteY16755"/>
              </a:cxn>
              <a:cxn ang="0">
                <a:pos x="connsiteX16756" y="connsiteY16756"/>
              </a:cxn>
              <a:cxn ang="0">
                <a:pos x="connsiteX16757" y="connsiteY16757"/>
              </a:cxn>
              <a:cxn ang="0">
                <a:pos x="connsiteX16758" y="connsiteY16758"/>
              </a:cxn>
              <a:cxn ang="0">
                <a:pos x="connsiteX16759" y="connsiteY16759"/>
              </a:cxn>
              <a:cxn ang="0">
                <a:pos x="connsiteX16760" y="connsiteY16760"/>
              </a:cxn>
              <a:cxn ang="0">
                <a:pos x="connsiteX16761" y="connsiteY16761"/>
              </a:cxn>
              <a:cxn ang="0">
                <a:pos x="connsiteX16762" y="connsiteY16762"/>
              </a:cxn>
              <a:cxn ang="0">
                <a:pos x="connsiteX16763" y="connsiteY16763"/>
              </a:cxn>
              <a:cxn ang="0">
                <a:pos x="connsiteX16764" y="connsiteY16764"/>
              </a:cxn>
              <a:cxn ang="0">
                <a:pos x="connsiteX16765" y="connsiteY16765"/>
              </a:cxn>
              <a:cxn ang="0">
                <a:pos x="connsiteX16766" y="connsiteY16766"/>
              </a:cxn>
              <a:cxn ang="0">
                <a:pos x="connsiteX16767" y="connsiteY16767"/>
              </a:cxn>
              <a:cxn ang="0">
                <a:pos x="connsiteX16768" y="connsiteY16768"/>
              </a:cxn>
              <a:cxn ang="0">
                <a:pos x="connsiteX16769" y="connsiteY16769"/>
              </a:cxn>
              <a:cxn ang="0">
                <a:pos x="connsiteX16770" y="connsiteY16770"/>
              </a:cxn>
              <a:cxn ang="0">
                <a:pos x="connsiteX16771" y="connsiteY16771"/>
              </a:cxn>
              <a:cxn ang="0">
                <a:pos x="connsiteX16772" y="connsiteY16772"/>
              </a:cxn>
              <a:cxn ang="0">
                <a:pos x="connsiteX16773" y="connsiteY16773"/>
              </a:cxn>
              <a:cxn ang="0">
                <a:pos x="connsiteX16774" y="connsiteY16774"/>
              </a:cxn>
              <a:cxn ang="0">
                <a:pos x="connsiteX16775" y="connsiteY16775"/>
              </a:cxn>
              <a:cxn ang="0">
                <a:pos x="connsiteX16776" y="connsiteY16776"/>
              </a:cxn>
              <a:cxn ang="0">
                <a:pos x="connsiteX16777" y="connsiteY16777"/>
              </a:cxn>
              <a:cxn ang="0">
                <a:pos x="connsiteX16778" y="connsiteY16778"/>
              </a:cxn>
              <a:cxn ang="0">
                <a:pos x="connsiteX16779" y="connsiteY16779"/>
              </a:cxn>
              <a:cxn ang="0">
                <a:pos x="connsiteX16780" y="connsiteY16780"/>
              </a:cxn>
              <a:cxn ang="0">
                <a:pos x="connsiteX16781" y="connsiteY16781"/>
              </a:cxn>
              <a:cxn ang="0">
                <a:pos x="connsiteX16782" y="connsiteY16782"/>
              </a:cxn>
              <a:cxn ang="0">
                <a:pos x="connsiteX16783" y="connsiteY16783"/>
              </a:cxn>
              <a:cxn ang="0">
                <a:pos x="connsiteX16784" y="connsiteY16784"/>
              </a:cxn>
              <a:cxn ang="0">
                <a:pos x="connsiteX16785" y="connsiteY16785"/>
              </a:cxn>
              <a:cxn ang="0">
                <a:pos x="connsiteX16786" y="connsiteY16786"/>
              </a:cxn>
              <a:cxn ang="0">
                <a:pos x="connsiteX16787" y="connsiteY16787"/>
              </a:cxn>
              <a:cxn ang="0">
                <a:pos x="connsiteX16788" y="connsiteY16788"/>
              </a:cxn>
              <a:cxn ang="0">
                <a:pos x="connsiteX16789" y="connsiteY16789"/>
              </a:cxn>
              <a:cxn ang="0">
                <a:pos x="connsiteX16790" y="connsiteY16790"/>
              </a:cxn>
              <a:cxn ang="0">
                <a:pos x="connsiteX16791" y="connsiteY16791"/>
              </a:cxn>
              <a:cxn ang="0">
                <a:pos x="connsiteX16792" y="connsiteY16792"/>
              </a:cxn>
              <a:cxn ang="0">
                <a:pos x="connsiteX16793" y="connsiteY16793"/>
              </a:cxn>
              <a:cxn ang="0">
                <a:pos x="connsiteX16794" y="connsiteY16794"/>
              </a:cxn>
              <a:cxn ang="0">
                <a:pos x="connsiteX16795" y="connsiteY16795"/>
              </a:cxn>
              <a:cxn ang="0">
                <a:pos x="connsiteX16796" y="connsiteY16796"/>
              </a:cxn>
              <a:cxn ang="0">
                <a:pos x="connsiteX16797" y="connsiteY16797"/>
              </a:cxn>
              <a:cxn ang="0">
                <a:pos x="connsiteX16798" y="connsiteY16798"/>
              </a:cxn>
              <a:cxn ang="0">
                <a:pos x="connsiteX16799" y="connsiteY16799"/>
              </a:cxn>
              <a:cxn ang="0">
                <a:pos x="connsiteX16800" y="connsiteY16800"/>
              </a:cxn>
              <a:cxn ang="0">
                <a:pos x="connsiteX16801" y="connsiteY16801"/>
              </a:cxn>
              <a:cxn ang="0">
                <a:pos x="connsiteX16802" y="connsiteY16802"/>
              </a:cxn>
              <a:cxn ang="0">
                <a:pos x="connsiteX16803" y="connsiteY16803"/>
              </a:cxn>
              <a:cxn ang="0">
                <a:pos x="connsiteX16804" y="connsiteY16804"/>
              </a:cxn>
              <a:cxn ang="0">
                <a:pos x="connsiteX16805" y="connsiteY16805"/>
              </a:cxn>
              <a:cxn ang="0">
                <a:pos x="connsiteX16806" y="connsiteY16806"/>
              </a:cxn>
              <a:cxn ang="0">
                <a:pos x="connsiteX16807" y="connsiteY16807"/>
              </a:cxn>
              <a:cxn ang="0">
                <a:pos x="connsiteX16808" y="connsiteY16808"/>
              </a:cxn>
              <a:cxn ang="0">
                <a:pos x="connsiteX16809" y="connsiteY16809"/>
              </a:cxn>
              <a:cxn ang="0">
                <a:pos x="connsiteX16810" y="connsiteY16810"/>
              </a:cxn>
              <a:cxn ang="0">
                <a:pos x="connsiteX16811" y="connsiteY16811"/>
              </a:cxn>
              <a:cxn ang="0">
                <a:pos x="connsiteX16812" y="connsiteY16812"/>
              </a:cxn>
              <a:cxn ang="0">
                <a:pos x="connsiteX16813" y="connsiteY16813"/>
              </a:cxn>
              <a:cxn ang="0">
                <a:pos x="connsiteX16814" y="connsiteY16814"/>
              </a:cxn>
              <a:cxn ang="0">
                <a:pos x="connsiteX16815" y="connsiteY16815"/>
              </a:cxn>
              <a:cxn ang="0">
                <a:pos x="connsiteX16816" y="connsiteY16816"/>
              </a:cxn>
              <a:cxn ang="0">
                <a:pos x="connsiteX16817" y="connsiteY16817"/>
              </a:cxn>
              <a:cxn ang="0">
                <a:pos x="connsiteX16818" y="connsiteY16818"/>
              </a:cxn>
              <a:cxn ang="0">
                <a:pos x="connsiteX16819" y="connsiteY16819"/>
              </a:cxn>
              <a:cxn ang="0">
                <a:pos x="connsiteX16820" y="connsiteY16820"/>
              </a:cxn>
              <a:cxn ang="0">
                <a:pos x="connsiteX16821" y="connsiteY16821"/>
              </a:cxn>
              <a:cxn ang="0">
                <a:pos x="connsiteX16822" y="connsiteY16822"/>
              </a:cxn>
              <a:cxn ang="0">
                <a:pos x="connsiteX16823" y="connsiteY16823"/>
              </a:cxn>
              <a:cxn ang="0">
                <a:pos x="connsiteX16824" y="connsiteY16824"/>
              </a:cxn>
              <a:cxn ang="0">
                <a:pos x="connsiteX16825" y="connsiteY16825"/>
              </a:cxn>
              <a:cxn ang="0">
                <a:pos x="connsiteX16826" y="connsiteY16826"/>
              </a:cxn>
              <a:cxn ang="0">
                <a:pos x="connsiteX16827" y="connsiteY16827"/>
              </a:cxn>
              <a:cxn ang="0">
                <a:pos x="connsiteX16828" y="connsiteY16828"/>
              </a:cxn>
              <a:cxn ang="0">
                <a:pos x="connsiteX16829" y="connsiteY16829"/>
              </a:cxn>
              <a:cxn ang="0">
                <a:pos x="connsiteX16830" y="connsiteY16830"/>
              </a:cxn>
              <a:cxn ang="0">
                <a:pos x="connsiteX16831" y="connsiteY16831"/>
              </a:cxn>
              <a:cxn ang="0">
                <a:pos x="connsiteX16832" y="connsiteY16832"/>
              </a:cxn>
              <a:cxn ang="0">
                <a:pos x="connsiteX16833" y="connsiteY16833"/>
              </a:cxn>
              <a:cxn ang="0">
                <a:pos x="connsiteX16834" y="connsiteY16834"/>
              </a:cxn>
              <a:cxn ang="0">
                <a:pos x="connsiteX16835" y="connsiteY16835"/>
              </a:cxn>
              <a:cxn ang="0">
                <a:pos x="connsiteX16836" y="connsiteY16836"/>
              </a:cxn>
              <a:cxn ang="0">
                <a:pos x="connsiteX16837" y="connsiteY16837"/>
              </a:cxn>
              <a:cxn ang="0">
                <a:pos x="connsiteX16838" y="connsiteY16838"/>
              </a:cxn>
              <a:cxn ang="0">
                <a:pos x="connsiteX16839" y="connsiteY16839"/>
              </a:cxn>
              <a:cxn ang="0">
                <a:pos x="connsiteX16840" y="connsiteY16840"/>
              </a:cxn>
              <a:cxn ang="0">
                <a:pos x="connsiteX16841" y="connsiteY16841"/>
              </a:cxn>
              <a:cxn ang="0">
                <a:pos x="connsiteX16842" y="connsiteY16842"/>
              </a:cxn>
              <a:cxn ang="0">
                <a:pos x="connsiteX16843" y="connsiteY16843"/>
              </a:cxn>
              <a:cxn ang="0">
                <a:pos x="connsiteX16844" y="connsiteY16844"/>
              </a:cxn>
              <a:cxn ang="0">
                <a:pos x="connsiteX16845" y="connsiteY16845"/>
              </a:cxn>
              <a:cxn ang="0">
                <a:pos x="connsiteX16846" y="connsiteY16846"/>
              </a:cxn>
              <a:cxn ang="0">
                <a:pos x="connsiteX16847" y="connsiteY16847"/>
              </a:cxn>
              <a:cxn ang="0">
                <a:pos x="connsiteX16848" y="connsiteY16848"/>
              </a:cxn>
              <a:cxn ang="0">
                <a:pos x="connsiteX16849" y="connsiteY16849"/>
              </a:cxn>
              <a:cxn ang="0">
                <a:pos x="connsiteX16850" y="connsiteY16850"/>
              </a:cxn>
              <a:cxn ang="0">
                <a:pos x="connsiteX16851" y="connsiteY16851"/>
              </a:cxn>
              <a:cxn ang="0">
                <a:pos x="connsiteX16852" y="connsiteY16852"/>
              </a:cxn>
              <a:cxn ang="0">
                <a:pos x="connsiteX16853" y="connsiteY16853"/>
              </a:cxn>
              <a:cxn ang="0">
                <a:pos x="connsiteX16854" y="connsiteY16854"/>
              </a:cxn>
              <a:cxn ang="0">
                <a:pos x="connsiteX16855" y="connsiteY16855"/>
              </a:cxn>
              <a:cxn ang="0">
                <a:pos x="connsiteX16856" y="connsiteY16856"/>
              </a:cxn>
              <a:cxn ang="0">
                <a:pos x="connsiteX16857" y="connsiteY16857"/>
              </a:cxn>
              <a:cxn ang="0">
                <a:pos x="connsiteX16858" y="connsiteY16858"/>
              </a:cxn>
              <a:cxn ang="0">
                <a:pos x="connsiteX16859" y="connsiteY16859"/>
              </a:cxn>
              <a:cxn ang="0">
                <a:pos x="connsiteX16860" y="connsiteY16860"/>
              </a:cxn>
              <a:cxn ang="0">
                <a:pos x="connsiteX16861" y="connsiteY16861"/>
              </a:cxn>
              <a:cxn ang="0">
                <a:pos x="connsiteX16862" y="connsiteY16862"/>
              </a:cxn>
              <a:cxn ang="0">
                <a:pos x="connsiteX16863" y="connsiteY16863"/>
              </a:cxn>
              <a:cxn ang="0">
                <a:pos x="connsiteX16864" y="connsiteY16864"/>
              </a:cxn>
              <a:cxn ang="0">
                <a:pos x="connsiteX16865" y="connsiteY16865"/>
              </a:cxn>
              <a:cxn ang="0">
                <a:pos x="connsiteX16866" y="connsiteY16866"/>
              </a:cxn>
              <a:cxn ang="0">
                <a:pos x="connsiteX16867" y="connsiteY16867"/>
              </a:cxn>
              <a:cxn ang="0">
                <a:pos x="connsiteX16868" y="connsiteY16868"/>
              </a:cxn>
              <a:cxn ang="0">
                <a:pos x="connsiteX16869" y="connsiteY16869"/>
              </a:cxn>
              <a:cxn ang="0">
                <a:pos x="connsiteX16870" y="connsiteY16870"/>
              </a:cxn>
              <a:cxn ang="0">
                <a:pos x="connsiteX16871" y="connsiteY16871"/>
              </a:cxn>
              <a:cxn ang="0">
                <a:pos x="connsiteX16872" y="connsiteY16872"/>
              </a:cxn>
              <a:cxn ang="0">
                <a:pos x="connsiteX16873" y="connsiteY16873"/>
              </a:cxn>
              <a:cxn ang="0">
                <a:pos x="connsiteX16874" y="connsiteY16874"/>
              </a:cxn>
              <a:cxn ang="0">
                <a:pos x="connsiteX16875" y="connsiteY16875"/>
              </a:cxn>
              <a:cxn ang="0">
                <a:pos x="connsiteX16876" y="connsiteY16876"/>
              </a:cxn>
              <a:cxn ang="0">
                <a:pos x="connsiteX16877" y="connsiteY16877"/>
              </a:cxn>
              <a:cxn ang="0">
                <a:pos x="connsiteX16878" y="connsiteY16878"/>
              </a:cxn>
              <a:cxn ang="0">
                <a:pos x="connsiteX16879" y="connsiteY16879"/>
              </a:cxn>
              <a:cxn ang="0">
                <a:pos x="connsiteX16880" y="connsiteY16880"/>
              </a:cxn>
              <a:cxn ang="0">
                <a:pos x="connsiteX16881" y="connsiteY16881"/>
              </a:cxn>
              <a:cxn ang="0">
                <a:pos x="connsiteX16882" y="connsiteY16882"/>
              </a:cxn>
              <a:cxn ang="0">
                <a:pos x="connsiteX16883" y="connsiteY16883"/>
              </a:cxn>
              <a:cxn ang="0">
                <a:pos x="connsiteX16884" y="connsiteY16884"/>
              </a:cxn>
              <a:cxn ang="0">
                <a:pos x="connsiteX16885" y="connsiteY16885"/>
              </a:cxn>
              <a:cxn ang="0">
                <a:pos x="connsiteX16886" y="connsiteY16886"/>
              </a:cxn>
              <a:cxn ang="0">
                <a:pos x="connsiteX16887" y="connsiteY16887"/>
              </a:cxn>
              <a:cxn ang="0">
                <a:pos x="connsiteX16888" y="connsiteY16888"/>
              </a:cxn>
              <a:cxn ang="0">
                <a:pos x="connsiteX16889" y="connsiteY16889"/>
              </a:cxn>
              <a:cxn ang="0">
                <a:pos x="connsiteX16890" y="connsiteY16890"/>
              </a:cxn>
              <a:cxn ang="0">
                <a:pos x="connsiteX16891" y="connsiteY16891"/>
              </a:cxn>
              <a:cxn ang="0">
                <a:pos x="connsiteX16892" y="connsiteY16892"/>
              </a:cxn>
              <a:cxn ang="0">
                <a:pos x="connsiteX16893" y="connsiteY16893"/>
              </a:cxn>
              <a:cxn ang="0">
                <a:pos x="connsiteX16894" y="connsiteY16894"/>
              </a:cxn>
              <a:cxn ang="0">
                <a:pos x="connsiteX16895" y="connsiteY16895"/>
              </a:cxn>
              <a:cxn ang="0">
                <a:pos x="connsiteX16896" y="connsiteY16896"/>
              </a:cxn>
              <a:cxn ang="0">
                <a:pos x="connsiteX16897" y="connsiteY16897"/>
              </a:cxn>
              <a:cxn ang="0">
                <a:pos x="connsiteX16898" y="connsiteY16898"/>
              </a:cxn>
              <a:cxn ang="0">
                <a:pos x="connsiteX16899" y="connsiteY16899"/>
              </a:cxn>
              <a:cxn ang="0">
                <a:pos x="connsiteX16900" y="connsiteY16900"/>
              </a:cxn>
              <a:cxn ang="0">
                <a:pos x="connsiteX16901" y="connsiteY16901"/>
              </a:cxn>
              <a:cxn ang="0">
                <a:pos x="connsiteX16902" y="connsiteY16902"/>
              </a:cxn>
              <a:cxn ang="0">
                <a:pos x="connsiteX16903" y="connsiteY16903"/>
              </a:cxn>
              <a:cxn ang="0">
                <a:pos x="connsiteX16904" y="connsiteY16904"/>
              </a:cxn>
              <a:cxn ang="0">
                <a:pos x="connsiteX16905" y="connsiteY16905"/>
              </a:cxn>
              <a:cxn ang="0">
                <a:pos x="connsiteX16906" y="connsiteY16906"/>
              </a:cxn>
              <a:cxn ang="0">
                <a:pos x="connsiteX16907" y="connsiteY16907"/>
              </a:cxn>
              <a:cxn ang="0">
                <a:pos x="connsiteX16908" y="connsiteY16908"/>
              </a:cxn>
              <a:cxn ang="0">
                <a:pos x="connsiteX16909" y="connsiteY16909"/>
              </a:cxn>
              <a:cxn ang="0">
                <a:pos x="connsiteX16910" y="connsiteY16910"/>
              </a:cxn>
              <a:cxn ang="0">
                <a:pos x="connsiteX16911" y="connsiteY16911"/>
              </a:cxn>
              <a:cxn ang="0">
                <a:pos x="connsiteX16912" y="connsiteY16912"/>
              </a:cxn>
              <a:cxn ang="0">
                <a:pos x="connsiteX16913" y="connsiteY16913"/>
              </a:cxn>
              <a:cxn ang="0">
                <a:pos x="connsiteX16914" y="connsiteY16914"/>
              </a:cxn>
              <a:cxn ang="0">
                <a:pos x="connsiteX16915" y="connsiteY16915"/>
              </a:cxn>
              <a:cxn ang="0">
                <a:pos x="connsiteX16916" y="connsiteY16916"/>
              </a:cxn>
              <a:cxn ang="0">
                <a:pos x="connsiteX16917" y="connsiteY16917"/>
              </a:cxn>
              <a:cxn ang="0">
                <a:pos x="connsiteX16918" y="connsiteY16918"/>
              </a:cxn>
              <a:cxn ang="0">
                <a:pos x="connsiteX16919" y="connsiteY16919"/>
              </a:cxn>
              <a:cxn ang="0">
                <a:pos x="connsiteX16920" y="connsiteY16920"/>
              </a:cxn>
              <a:cxn ang="0">
                <a:pos x="connsiteX16921" y="connsiteY16921"/>
              </a:cxn>
              <a:cxn ang="0">
                <a:pos x="connsiteX16922" y="connsiteY16922"/>
              </a:cxn>
              <a:cxn ang="0">
                <a:pos x="connsiteX16923" y="connsiteY16923"/>
              </a:cxn>
              <a:cxn ang="0">
                <a:pos x="connsiteX16924" y="connsiteY16924"/>
              </a:cxn>
              <a:cxn ang="0">
                <a:pos x="connsiteX16925" y="connsiteY16925"/>
              </a:cxn>
              <a:cxn ang="0">
                <a:pos x="connsiteX16926" y="connsiteY16926"/>
              </a:cxn>
              <a:cxn ang="0">
                <a:pos x="connsiteX16927" y="connsiteY16927"/>
              </a:cxn>
              <a:cxn ang="0">
                <a:pos x="connsiteX16928" y="connsiteY16928"/>
              </a:cxn>
              <a:cxn ang="0">
                <a:pos x="connsiteX16929" y="connsiteY16929"/>
              </a:cxn>
              <a:cxn ang="0">
                <a:pos x="connsiteX16930" y="connsiteY16930"/>
              </a:cxn>
              <a:cxn ang="0">
                <a:pos x="connsiteX16931" y="connsiteY16931"/>
              </a:cxn>
              <a:cxn ang="0">
                <a:pos x="connsiteX16932" y="connsiteY16932"/>
              </a:cxn>
              <a:cxn ang="0">
                <a:pos x="connsiteX16933" y="connsiteY16933"/>
              </a:cxn>
              <a:cxn ang="0">
                <a:pos x="connsiteX16934" y="connsiteY16934"/>
              </a:cxn>
              <a:cxn ang="0">
                <a:pos x="connsiteX16935" y="connsiteY16935"/>
              </a:cxn>
              <a:cxn ang="0">
                <a:pos x="connsiteX16936" y="connsiteY16936"/>
              </a:cxn>
              <a:cxn ang="0">
                <a:pos x="connsiteX16937" y="connsiteY16937"/>
              </a:cxn>
              <a:cxn ang="0">
                <a:pos x="connsiteX16938" y="connsiteY16938"/>
              </a:cxn>
              <a:cxn ang="0">
                <a:pos x="connsiteX16939" y="connsiteY16939"/>
              </a:cxn>
              <a:cxn ang="0">
                <a:pos x="connsiteX16940" y="connsiteY16940"/>
              </a:cxn>
              <a:cxn ang="0">
                <a:pos x="connsiteX16941" y="connsiteY16941"/>
              </a:cxn>
              <a:cxn ang="0">
                <a:pos x="connsiteX16942" y="connsiteY16942"/>
              </a:cxn>
              <a:cxn ang="0">
                <a:pos x="connsiteX16943" y="connsiteY16943"/>
              </a:cxn>
              <a:cxn ang="0">
                <a:pos x="connsiteX16944" y="connsiteY16944"/>
              </a:cxn>
              <a:cxn ang="0">
                <a:pos x="connsiteX16945" y="connsiteY16945"/>
              </a:cxn>
              <a:cxn ang="0">
                <a:pos x="connsiteX16946" y="connsiteY16946"/>
              </a:cxn>
              <a:cxn ang="0">
                <a:pos x="connsiteX16947" y="connsiteY16947"/>
              </a:cxn>
              <a:cxn ang="0">
                <a:pos x="connsiteX16948" y="connsiteY16948"/>
              </a:cxn>
              <a:cxn ang="0">
                <a:pos x="connsiteX16949" y="connsiteY16949"/>
              </a:cxn>
              <a:cxn ang="0">
                <a:pos x="connsiteX16950" y="connsiteY16950"/>
              </a:cxn>
              <a:cxn ang="0">
                <a:pos x="connsiteX16951" y="connsiteY16951"/>
              </a:cxn>
              <a:cxn ang="0">
                <a:pos x="connsiteX16952" y="connsiteY16952"/>
              </a:cxn>
              <a:cxn ang="0">
                <a:pos x="connsiteX16953" y="connsiteY16953"/>
              </a:cxn>
              <a:cxn ang="0">
                <a:pos x="connsiteX16954" y="connsiteY16954"/>
              </a:cxn>
              <a:cxn ang="0">
                <a:pos x="connsiteX16955" y="connsiteY16955"/>
              </a:cxn>
              <a:cxn ang="0">
                <a:pos x="connsiteX16956" y="connsiteY16956"/>
              </a:cxn>
              <a:cxn ang="0">
                <a:pos x="connsiteX16957" y="connsiteY16957"/>
              </a:cxn>
              <a:cxn ang="0">
                <a:pos x="connsiteX16958" y="connsiteY16958"/>
              </a:cxn>
              <a:cxn ang="0">
                <a:pos x="connsiteX16959" y="connsiteY16959"/>
              </a:cxn>
              <a:cxn ang="0">
                <a:pos x="connsiteX16960" y="connsiteY16960"/>
              </a:cxn>
              <a:cxn ang="0">
                <a:pos x="connsiteX16961" y="connsiteY16961"/>
              </a:cxn>
              <a:cxn ang="0">
                <a:pos x="connsiteX16962" y="connsiteY16962"/>
              </a:cxn>
              <a:cxn ang="0">
                <a:pos x="connsiteX16963" y="connsiteY16963"/>
              </a:cxn>
              <a:cxn ang="0">
                <a:pos x="connsiteX16964" y="connsiteY16964"/>
              </a:cxn>
              <a:cxn ang="0">
                <a:pos x="connsiteX16965" y="connsiteY16965"/>
              </a:cxn>
              <a:cxn ang="0">
                <a:pos x="connsiteX16966" y="connsiteY16966"/>
              </a:cxn>
              <a:cxn ang="0">
                <a:pos x="connsiteX16967" y="connsiteY16967"/>
              </a:cxn>
              <a:cxn ang="0">
                <a:pos x="connsiteX16968" y="connsiteY16968"/>
              </a:cxn>
              <a:cxn ang="0">
                <a:pos x="connsiteX16969" y="connsiteY16969"/>
              </a:cxn>
              <a:cxn ang="0">
                <a:pos x="connsiteX16970" y="connsiteY16970"/>
              </a:cxn>
              <a:cxn ang="0">
                <a:pos x="connsiteX16971" y="connsiteY16971"/>
              </a:cxn>
              <a:cxn ang="0">
                <a:pos x="connsiteX16972" y="connsiteY16972"/>
              </a:cxn>
              <a:cxn ang="0">
                <a:pos x="connsiteX16973" y="connsiteY16973"/>
              </a:cxn>
              <a:cxn ang="0">
                <a:pos x="connsiteX16974" y="connsiteY16974"/>
              </a:cxn>
              <a:cxn ang="0">
                <a:pos x="connsiteX16975" y="connsiteY16975"/>
              </a:cxn>
              <a:cxn ang="0">
                <a:pos x="connsiteX16976" y="connsiteY16976"/>
              </a:cxn>
              <a:cxn ang="0">
                <a:pos x="connsiteX16977" y="connsiteY16977"/>
              </a:cxn>
              <a:cxn ang="0">
                <a:pos x="connsiteX16978" y="connsiteY16978"/>
              </a:cxn>
              <a:cxn ang="0">
                <a:pos x="connsiteX16979" y="connsiteY16979"/>
              </a:cxn>
              <a:cxn ang="0">
                <a:pos x="connsiteX16980" y="connsiteY16980"/>
              </a:cxn>
              <a:cxn ang="0">
                <a:pos x="connsiteX16981" y="connsiteY16981"/>
              </a:cxn>
              <a:cxn ang="0">
                <a:pos x="connsiteX16982" y="connsiteY16982"/>
              </a:cxn>
              <a:cxn ang="0">
                <a:pos x="connsiteX16983" y="connsiteY16983"/>
              </a:cxn>
              <a:cxn ang="0">
                <a:pos x="connsiteX16984" y="connsiteY16984"/>
              </a:cxn>
              <a:cxn ang="0">
                <a:pos x="connsiteX16985" y="connsiteY16985"/>
              </a:cxn>
              <a:cxn ang="0">
                <a:pos x="connsiteX16986" y="connsiteY16986"/>
              </a:cxn>
              <a:cxn ang="0">
                <a:pos x="connsiteX16987" y="connsiteY16987"/>
              </a:cxn>
              <a:cxn ang="0">
                <a:pos x="connsiteX16988" y="connsiteY16988"/>
              </a:cxn>
              <a:cxn ang="0">
                <a:pos x="connsiteX16989" y="connsiteY16989"/>
              </a:cxn>
              <a:cxn ang="0">
                <a:pos x="connsiteX16990" y="connsiteY16990"/>
              </a:cxn>
              <a:cxn ang="0">
                <a:pos x="connsiteX16991" y="connsiteY16991"/>
              </a:cxn>
              <a:cxn ang="0">
                <a:pos x="connsiteX16992" y="connsiteY16992"/>
              </a:cxn>
              <a:cxn ang="0">
                <a:pos x="connsiteX16993" y="connsiteY16993"/>
              </a:cxn>
              <a:cxn ang="0">
                <a:pos x="connsiteX16994" y="connsiteY16994"/>
              </a:cxn>
              <a:cxn ang="0">
                <a:pos x="connsiteX16995" y="connsiteY16995"/>
              </a:cxn>
              <a:cxn ang="0">
                <a:pos x="connsiteX16996" y="connsiteY16996"/>
              </a:cxn>
              <a:cxn ang="0">
                <a:pos x="connsiteX16997" y="connsiteY16997"/>
              </a:cxn>
              <a:cxn ang="0">
                <a:pos x="connsiteX16998" y="connsiteY16998"/>
              </a:cxn>
              <a:cxn ang="0">
                <a:pos x="connsiteX16999" y="connsiteY16999"/>
              </a:cxn>
              <a:cxn ang="0">
                <a:pos x="connsiteX17000" y="connsiteY17000"/>
              </a:cxn>
              <a:cxn ang="0">
                <a:pos x="connsiteX17001" y="connsiteY17001"/>
              </a:cxn>
              <a:cxn ang="0">
                <a:pos x="connsiteX17002" y="connsiteY17002"/>
              </a:cxn>
              <a:cxn ang="0">
                <a:pos x="connsiteX17003" y="connsiteY17003"/>
              </a:cxn>
              <a:cxn ang="0">
                <a:pos x="connsiteX17004" y="connsiteY17004"/>
              </a:cxn>
              <a:cxn ang="0">
                <a:pos x="connsiteX17005" y="connsiteY17005"/>
              </a:cxn>
              <a:cxn ang="0">
                <a:pos x="connsiteX17006" y="connsiteY17006"/>
              </a:cxn>
              <a:cxn ang="0">
                <a:pos x="connsiteX17007" y="connsiteY17007"/>
              </a:cxn>
              <a:cxn ang="0">
                <a:pos x="connsiteX17008" y="connsiteY17008"/>
              </a:cxn>
              <a:cxn ang="0">
                <a:pos x="connsiteX17009" y="connsiteY17009"/>
              </a:cxn>
              <a:cxn ang="0">
                <a:pos x="connsiteX17010" y="connsiteY17010"/>
              </a:cxn>
              <a:cxn ang="0">
                <a:pos x="connsiteX17011" y="connsiteY17011"/>
              </a:cxn>
              <a:cxn ang="0">
                <a:pos x="connsiteX17012" y="connsiteY17012"/>
              </a:cxn>
              <a:cxn ang="0">
                <a:pos x="connsiteX17013" y="connsiteY17013"/>
              </a:cxn>
              <a:cxn ang="0">
                <a:pos x="connsiteX17014" y="connsiteY17014"/>
              </a:cxn>
              <a:cxn ang="0">
                <a:pos x="connsiteX17015" y="connsiteY17015"/>
              </a:cxn>
              <a:cxn ang="0">
                <a:pos x="connsiteX17016" y="connsiteY17016"/>
              </a:cxn>
              <a:cxn ang="0">
                <a:pos x="connsiteX17017" y="connsiteY17017"/>
              </a:cxn>
              <a:cxn ang="0">
                <a:pos x="connsiteX17018" y="connsiteY17018"/>
              </a:cxn>
              <a:cxn ang="0">
                <a:pos x="connsiteX17019" y="connsiteY17019"/>
              </a:cxn>
              <a:cxn ang="0">
                <a:pos x="connsiteX17020" y="connsiteY17020"/>
              </a:cxn>
              <a:cxn ang="0">
                <a:pos x="connsiteX17021" y="connsiteY17021"/>
              </a:cxn>
              <a:cxn ang="0">
                <a:pos x="connsiteX17022" y="connsiteY17022"/>
              </a:cxn>
              <a:cxn ang="0">
                <a:pos x="connsiteX17023" y="connsiteY17023"/>
              </a:cxn>
              <a:cxn ang="0">
                <a:pos x="connsiteX17024" y="connsiteY17024"/>
              </a:cxn>
              <a:cxn ang="0">
                <a:pos x="connsiteX17025" y="connsiteY17025"/>
              </a:cxn>
              <a:cxn ang="0">
                <a:pos x="connsiteX17026" y="connsiteY17026"/>
              </a:cxn>
              <a:cxn ang="0">
                <a:pos x="connsiteX17027" y="connsiteY17027"/>
              </a:cxn>
              <a:cxn ang="0">
                <a:pos x="connsiteX17028" y="connsiteY17028"/>
              </a:cxn>
              <a:cxn ang="0">
                <a:pos x="connsiteX17029" y="connsiteY17029"/>
              </a:cxn>
              <a:cxn ang="0">
                <a:pos x="connsiteX17030" y="connsiteY17030"/>
              </a:cxn>
              <a:cxn ang="0">
                <a:pos x="connsiteX17031" y="connsiteY17031"/>
              </a:cxn>
              <a:cxn ang="0">
                <a:pos x="connsiteX17032" y="connsiteY17032"/>
              </a:cxn>
              <a:cxn ang="0">
                <a:pos x="connsiteX17033" y="connsiteY17033"/>
              </a:cxn>
              <a:cxn ang="0">
                <a:pos x="connsiteX17034" y="connsiteY17034"/>
              </a:cxn>
              <a:cxn ang="0">
                <a:pos x="connsiteX17035" y="connsiteY17035"/>
              </a:cxn>
              <a:cxn ang="0">
                <a:pos x="connsiteX17036" y="connsiteY17036"/>
              </a:cxn>
              <a:cxn ang="0">
                <a:pos x="connsiteX17037" y="connsiteY17037"/>
              </a:cxn>
              <a:cxn ang="0">
                <a:pos x="connsiteX17038" y="connsiteY17038"/>
              </a:cxn>
              <a:cxn ang="0">
                <a:pos x="connsiteX17039" y="connsiteY17039"/>
              </a:cxn>
              <a:cxn ang="0">
                <a:pos x="connsiteX17040" y="connsiteY17040"/>
              </a:cxn>
              <a:cxn ang="0">
                <a:pos x="connsiteX17041" y="connsiteY17041"/>
              </a:cxn>
              <a:cxn ang="0">
                <a:pos x="connsiteX17042" y="connsiteY17042"/>
              </a:cxn>
              <a:cxn ang="0">
                <a:pos x="connsiteX17043" y="connsiteY17043"/>
              </a:cxn>
              <a:cxn ang="0">
                <a:pos x="connsiteX17044" y="connsiteY17044"/>
              </a:cxn>
              <a:cxn ang="0">
                <a:pos x="connsiteX17045" y="connsiteY17045"/>
              </a:cxn>
              <a:cxn ang="0">
                <a:pos x="connsiteX17046" y="connsiteY17046"/>
              </a:cxn>
              <a:cxn ang="0">
                <a:pos x="connsiteX17047" y="connsiteY17047"/>
              </a:cxn>
              <a:cxn ang="0">
                <a:pos x="connsiteX17048" y="connsiteY17048"/>
              </a:cxn>
              <a:cxn ang="0">
                <a:pos x="connsiteX17049" y="connsiteY17049"/>
              </a:cxn>
              <a:cxn ang="0">
                <a:pos x="connsiteX17050" y="connsiteY17050"/>
              </a:cxn>
              <a:cxn ang="0">
                <a:pos x="connsiteX17051" y="connsiteY17051"/>
              </a:cxn>
              <a:cxn ang="0">
                <a:pos x="connsiteX17052" y="connsiteY17052"/>
              </a:cxn>
              <a:cxn ang="0">
                <a:pos x="connsiteX17053" y="connsiteY17053"/>
              </a:cxn>
              <a:cxn ang="0">
                <a:pos x="connsiteX17054" y="connsiteY17054"/>
              </a:cxn>
              <a:cxn ang="0">
                <a:pos x="connsiteX17055" y="connsiteY17055"/>
              </a:cxn>
              <a:cxn ang="0">
                <a:pos x="connsiteX17056" y="connsiteY17056"/>
              </a:cxn>
              <a:cxn ang="0">
                <a:pos x="connsiteX17057" y="connsiteY17057"/>
              </a:cxn>
              <a:cxn ang="0">
                <a:pos x="connsiteX17058" y="connsiteY17058"/>
              </a:cxn>
              <a:cxn ang="0">
                <a:pos x="connsiteX17059" y="connsiteY17059"/>
              </a:cxn>
              <a:cxn ang="0">
                <a:pos x="connsiteX17060" y="connsiteY17060"/>
              </a:cxn>
              <a:cxn ang="0">
                <a:pos x="connsiteX17061" y="connsiteY17061"/>
              </a:cxn>
              <a:cxn ang="0">
                <a:pos x="connsiteX17062" y="connsiteY17062"/>
              </a:cxn>
              <a:cxn ang="0">
                <a:pos x="connsiteX17063" y="connsiteY17063"/>
              </a:cxn>
              <a:cxn ang="0">
                <a:pos x="connsiteX17064" y="connsiteY17064"/>
              </a:cxn>
              <a:cxn ang="0">
                <a:pos x="connsiteX17065" y="connsiteY17065"/>
              </a:cxn>
              <a:cxn ang="0">
                <a:pos x="connsiteX17066" y="connsiteY17066"/>
              </a:cxn>
              <a:cxn ang="0">
                <a:pos x="connsiteX17067" y="connsiteY17067"/>
              </a:cxn>
              <a:cxn ang="0">
                <a:pos x="connsiteX17068" y="connsiteY17068"/>
              </a:cxn>
              <a:cxn ang="0">
                <a:pos x="connsiteX17069" y="connsiteY17069"/>
              </a:cxn>
              <a:cxn ang="0">
                <a:pos x="connsiteX17070" y="connsiteY17070"/>
              </a:cxn>
              <a:cxn ang="0">
                <a:pos x="connsiteX17071" y="connsiteY17071"/>
              </a:cxn>
              <a:cxn ang="0">
                <a:pos x="connsiteX17072" y="connsiteY17072"/>
              </a:cxn>
              <a:cxn ang="0">
                <a:pos x="connsiteX17073" y="connsiteY17073"/>
              </a:cxn>
              <a:cxn ang="0">
                <a:pos x="connsiteX17074" y="connsiteY17074"/>
              </a:cxn>
              <a:cxn ang="0">
                <a:pos x="connsiteX17075" y="connsiteY17075"/>
              </a:cxn>
              <a:cxn ang="0">
                <a:pos x="connsiteX17076" y="connsiteY17076"/>
              </a:cxn>
              <a:cxn ang="0">
                <a:pos x="connsiteX17077" y="connsiteY17077"/>
              </a:cxn>
              <a:cxn ang="0">
                <a:pos x="connsiteX17078" y="connsiteY17078"/>
              </a:cxn>
              <a:cxn ang="0">
                <a:pos x="connsiteX17079" y="connsiteY17079"/>
              </a:cxn>
              <a:cxn ang="0">
                <a:pos x="connsiteX17080" y="connsiteY17080"/>
              </a:cxn>
              <a:cxn ang="0">
                <a:pos x="connsiteX17081" y="connsiteY17081"/>
              </a:cxn>
              <a:cxn ang="0">
                <a:pos x="connsiteX17082" y="connsiteY17082"/>
              </a:cxn>
              <a:cxn ang="0">
                <a:pos x="connsiteX17083" y="connsiteY17083"/>
              </a:cxn>
              <a:cxn ang="0">
                <a:pos x="connsiteX17084" y="connsiteY17084"/>
              </a:cxn>
              <a:cxn ang="0">
                <a:pos x="connsiteX17085" y="connsiteY17085"/>
              </a:cxn>
              <a:cxn ang="0">
                <a:pos x="connsiteX17086" y="connsiteY17086"/>
              </a:cxn>
              <a:cxn ang="0">
                <a:pos x="connsiteX17087" y="connsiteY17087"/>
              </a:cxn>
              <a:cxn ang="0">
                <a:pos x="connsiteX17088" y="connsiteY17088"/>
              </a:cxn>
              <a:cxn ang="0">
                <a:pos x="connsiteX17089" y="connsiteY17089"/>
              </a:cxn>
              <a:cxn ang="0">
                <a:pos x="connsiteX17090" y="connsiteY17090"/>
              </a:cxn>
              <a:cxn ang="0">
                <a:pos x="connsiteX17091" y="connsiteY17091"/>
              </a:cxn>
              <a:cxn ang="0">
                <a:pos x="connsiteX17092" y="connsiteY17092"/>
              </a:cxn>
              <a:cxn ang="0">
                <a:pos x="connsiteX17093" y="connsiteY17093"/>
              </a:cxn>
              <a:cxn ang="0">
                <a:pos x="connsiteX17094" y="connsiteY17094"/>
              </a:cxn>
              <a:cxn ang="0">
                <a:pos x="connsiteX17095" y="connsiteY17095"/>
              </a:cxn>
              <a:cxn ang="0">
                <a:pos x="connsiteX17096" y="connsiteY17096"/>
              </a:cxn>
              <a:cxn ang="0">
                <a:pos x="connsiteX17097" y="connsiteY17097"/>
              </a:cxn>
              <a:cxn ang="0">
                <a:pos x="connsiteX17098" y="connsiteY17098"/>
              </a:cxn>
              <a:cxn ang="0">
                <a:pos x="connsiteX17099" y="connsiteY17099"/>
              </a:cxn>
              <a:cxn ang="0">
                <a:pos x="connsiteX17100" y="connsiteY17100"/>
              </a:cxn>
              <a:cxn ang="0">
                <a:pos x="connsiteX17101" y="connsiteY17101"/>
              </a:cxn>
              <a:cxn ang="0">
                <a:pos x="connsiteX17102" y="connsiteY17102"/>
              </a:cxn>
              <a:cxn ang="0">
                <a:pos x="connsiteX17103" y="connsiteY17103"/>
              </a:cxn>
              <a:cxn ang="0">
                <a:pos x="connsiteX17104" y="connsiteY17104"/>
              </a:cxn>
              <a:cxn ang="0">
                <a:pos x="connsiteX17105" y="connsiteY17105"/>
              </a:cxn>
              <a:cxn ang="0">
                <a:pos x="connsiteX17106" y="connsiteY17106"/>
              </a:cxn>
              <a:cxn ang="0">
                <a:pos x="connsiteX17107" y="connsiteY17107"/>
              </a:cxn>
              <a:cxn ang="0">
                <a:pos x="connsiteX17108" y="connsiteY17108"/>
              </a:cxn>
              <a:cxn ang="0">
                <a:pos x="connsiteX17109" y="connsiteY17109"/>
              </a:cxn>
              <a:cxn ang="0">
                <a:pos x="connsiteX17110" y="connsiteY17110"/>
              </a:cxn>
              <a:cxn ang="0">
                <a:pos x="connsiteX17111" y="connsiteY17111"/>
              </a:cxn>
              <a:cxn ang="0">
                <a:pos x="connsiteX17112" y="connsiteY17112"/>
              </a:cxn>
              <a:cxn ang="0">
                <a:pos x="connsiteX17113" y="connsiteY17113"/>
              </a:cxn>
              <a:cxn ang="0">
                <a:pos x="connsiteX17114" y="connsiteY17114"/>
              </a:cxn>
              <a:cxn ang="0">
                <a:pos x="connsiteX17115" y="connsiteY17115"/>
              </a:cxn>
              <a:cxn ang="0">
                <a:pos x="connsiteX17116" y="connsiteY17116"/>
              </a:cxn>
              <a:cxn ang="0">
                <a:pos x="connsiteX17117" y="connsiteY17117"/>
              </a:cxn>
              <a:cxn ang="0">
                <a:pos x="connsiteX17118" y="connsiteY17118"/>
              </a:cxn>
              <a:cxn ang="0">
                <a:pos x="connsiteX17119" y="connsiteY17119"/>
              </a:cxn>
              <a:cxn ang="0">
                <a:pos x="connsiteX17120" y="connsiteY17120"/>
              </a:cxn>
              <a:cxn ang="0">
                <a:pos x="connsiteX17121" y="connsiteY17121"/>
              </a:cxn>
              <a:cxn ang="0">
                <a:pos x="connsiteX17122" y="connsiteY17122"/>
              </a:cxn>
              <a:cxn ang="0">
                <a:pos x="connsiteX17123" y="connsiteY17123"/>
              </a:cxn>
              <a:cxn ang="0">
                <a:pos x="connsiteX17124" y="connsiteY17124"/>
              </a:cxn>
              <a:cxn ang="0">
                <a:pos x="connsiteX17125" y="connsiteY17125"/>
              </a:cxn>
              <a:cxn ang="0">
                <a:pos x="connsiteX17126" y="connsiteY17126"/>
              </a:cxn>
              <a:cxn ang="0">
                <a:pos x="connsiteX17127" y="connsiteY17127"/>
              </a:cxn>
              <a:cxn ang="0">
                <a:pos x="connsiteX17128" y="connsiteY17128"/>
              </a:cxn>
              <a:cxn ang="0">
                <a:pos x="connsiteX17129" y="connsiteY17129"/>
              </a:cxn>
              <a:cxn ang="0">
                <a:pos x="connsiteX17130" y="connsiteY17130"/>
              </a:cxn>
              <a:cxn ang="0">
                <a:pos x="connsiteX17131" y="connsiteY17131"/>
              </a:cxn>
              <a:cxn ang="0">
                <a:pos x="connsiteX17132" y="connsiteY17132"/>
              </a:cxn>
              <a:cxn ang="0">
                <a:pos x="connsiteX17133" y="connsiteY17133"/>
              </a:cxn>
              <a:cxn ang="0">
                <a:pos x="connsiteX17134" y="connsiteY17134"/>
              </a:cxn>
              <a:cxn ang="0">
                <a:pos x="connsiteX17135" y="connsiteY17135"/>
              </a:cxn>
              <a:cxn ang="0">
                <a:pos x="connsiteX17136" y="connsiteY17136"/>
              </a:cxn>
              <a:cxn ang="0">
                <a:pos x="connsiteX17137" y="connsiteY17137"/>
              </a:cxn>
              <a:cxn ang="0">
                <a:pos x="connsiteX17138" y="connsiteY17138"/>
              </a:cxn>
              <a:cxn ang="0">
                <a:pos x="connsiteX17139" y="connsiteY17139"/>
              </a:cxn>
              <a:cxn ang="0">
                <a:pos x="connsiteX17140" y="connsiteY17140"/>
              </a:cxn>
              <a:cxn ang="0">
                <a:pos x="connsiteX17141" y="connsiteY17141"/>
              </a:cxn>
              <a:cxn ang="0">
                <a:pos x="connsiteX17142" y="connsiteY17142"/>
              </a:cxn>
              <a:cxn ang="0">
                <a:pos x="connsiteX17143" y="connsiteY17143"/>
              </a:cxn>
              <a:cxn ang="0">
                <a:pos x="connsiteX17144" y="connsiteY17144"/>
              </a:cxn>
              <a:cxn ang="0">
                <a:pos x="connsiteX17145" y="connsiteY17145"/>
              </a:cxn>
              <a:cxn ang="0">
                <a:pos x="connsiteX17146" y="connsiteY17146"/>
              </a:cxn>
              <a:cxn ang="0">
                <a:pos x="connsiteX17147" y="connsiteY17147"/>
              </a:cxn>
              <a:cxn ang="0">
                <a:pos x="connsiteX17148" y="connsiteY17148"/>
              </a:cxn>
              <a:cxn ang="0">
                <a:pos x="connsiteX17149" y="connsiteY17149"/>
              </a:cxn>
              <a:cxn ang="0">
                <a:pos x="connsiteX17150" y="connsiteY17150"/>
              </a:cxn>
              <a:cxn ang="0">
                <a:pos x="connsiteX17151" y="connsiteY17151"/>
              </a:cxn>
              <a:cxn ang="0">
                <a:pos x="connsiteX17152" y="connsiteY17152"/>
              </a:cxn>
              <a:cxn ang="0">
                <a:pos x="connsiteX17153" y="connsiteY17153"/>
              </a:cxn>
              <a:cxn ang="0">
                <a:pos x="connsiteX17154" y="connsiteY17154"/>
              </a:cxn>
              <a:cxn ang="0">
                <a:pos x="connsiteX17155" y="connsiteY17155"/>
              </a:cxn>
              <a:cxn ang="0">
                <a:pos x="connsiteX17156" y="connsiteY17156"/>
              </a:cxn>
              <a:cxn ang="0">
                <a:pos x="connsiteX17157" y="connsiteY17157"/>
              </a:cxn>
              <a:cxn ang="0">
                <a:pos x="connsiteX17158" y="connsiteY17158"/>
              </a:cxn>
              <a:cxn ang="0">
                <a:pos x="connsiteX17159" y="connsiteY17159"/>
              </a:cxn>
              <a:cxn ang="0">
                <a:pos x="connsiteX17160" y="connsiteY17160"/>
              </a:cxn>
              <a:cxn ang="0">
                <a:pos x="connsiteX17161" y="connsiteY17161"/>
              </a:cxn>
              <a:cxn ang="0">
                <a:pos x="connsiteX17162" y="connsiteY17162"/>
              </a:cxn>
              <a:cxn ang="0">
                <a:pos x="connsiteX17163" y="connsiteY17163"/>
              </a:cxn>
              <a:cxn ang="0">
                <a:pos x="connsiteX17164" y="connsiteY17164"/>
              </a:cxn>
              <a:cxn ang="0">
                <a:pos x="connsiteX17165" y="connsiteY17165"/>
              </a:cxn>
              <a:cxn ang="0">
                <a:pos x="connsiteX17166" y="connsiteY17166"/>
              </a:cxn>
              <a:cxn ang="0">
                <a:pos x="connsiteX17167" y="connsiteY17167"/>
              </a:cxn>
              <a:cxn ang="0">
                <a:pos x="connsiteX17168" y="connsiteY17168"/>
              </a:cxn>
              <a:cxn ang="0">
                <a:pos x="connsiteX17169" y="connsiteY17169"/>
              </a:cxn>
              <a:cxn ang="0">
                <a:pos x="connsiteX17170" y="connsiteY17170"/>
              </a:cxn>
              <a:cxn ang="0">
                <a:pos x="connsiteX17171" y="connsiteY17171"/>
              </a:cxn>
              <a:cxn ang="0">
                <a:pos x="connsiteX17172" y="connsiteY17172"/>
              </a:cxn>
              <a:cxn ang="0">
                <a:pos x="connsiteX17173" y="connsiteY17173"/>
              </a:cxn>
              <a:cxn ang="0">
                <a:pos x="connsiteX17174" y="connsiteY17174"/>
              </a:cxn>
              <a:cxn ang="0">
                <a:pos x="connsiteX17175" y="connsiteY17175"/>
              </a:cxn>
              <a:cxn ang="0">
                <a:pos x="connsiteX17176" y="connsiteY17176"/>
              </a:cxn>
              <a:cxn ang="0">
                <a:pos x="connsiteX17177" y="connsiteY17177"/>
              </a:cxn>
              <a:cxn ang="0">
                <a:pos x="connsiteX17178" y="connsiteY17178"/>
              </a:cxn>
              <a:cxn ang="0">
                <a:pos x="connsiteX17179" y="connsiteY17179"/>
              </a:cxn>
              <a:cxn ang="0">
                <a:pos x="connsiteX17180" y="connsiteY17180"/>
              </a:cxn>
              <a:cxn ang="0">
                <a:pos x="connsiteX17181" y="connsiteY17181"/>
              </a:cxn>
              <a:cxn ang="0">
                <a:pos x="connsiteX17182" y="connsiteY17182"/>
              </a:cxn>
              <a:cxn ang="0">
                <a:pos x="connsiteX17183" y="connsiteY17183"/>
              </a:cxn>
              <a:cxn ang="0">
                <a:pos x="connsiteX17184" y="connsiteY17184"/>
              </a:cxn>
              <a:cxn ang="0">
                <a:pos x="connsiteX17185" y="connsiteY17185"/>
              </a:cxn>
              <a:cxn ang="0">
                <a:pos x="connsiteX17186" y="connsiteY17186"/>
              </a:cxn>
              <a:cxn ang="0">
                <a:pos x="connsiteX17187" y="connsiteY17187"/>
              </a:cxn>
              <a:cxn ang="0">
                <a:pos x="connsiteX17188" y="connsiteY17188"/>
              </a:cxn>
              <a:cxn ang="0">
                <a:pos x="connsiteX17189" y="connsiteY17189"/>
              </a:cxn>
              <a:cxn ang="0">
                <a:pos x="connsiteX17190" y="connsiteY17190"/>
              </a:cxn>
              <a:cxn ang="0">
                <a:pos x="connsiteX17191" y="connsiteY17191"/>
              </a:cxn>
              <a:cxn ang="0">
                <a:pos x="connsiteX17192" y="connsiteY17192"/>
              </a:cxn>
              <a:cxn ang="0">
                <a:pos x="connsiteX17193" y="connsiteY17193"/>
              </a:cxn>
              <a:cxn ang="0">
                <a:pos x="connsiteX17194" y="connsiteY17194"/>
              </a:cxn>
              <a:cxn ang="0">
                <a:pos x="connsiteX17195" y="connsiteY17195"/>
              </a:cxn>
              <a:cxn ang="0">
                <a:pos x="connsiteX17196" y="connsiteY17196"/>
              </a:cxn>
              <a:cxn ang="0">
                <a:pos x="connsiteX17197" y="connsiteY17197"/>
              </a:cxn>
              <a:cxn ang="0">
                <a:pos x="connsiteX17198" y="connsiteY17198"/>
              </a:cxn>
              <a:cxn ang="0">
                <a:pos x="connsiteX17199" y="connsiteY17199"/>
              </a:cxn>
              <a:cxn ang="0">
                <a:pos x="connsiteX17200" y="connsiteY17200"/>
              </a:cxn>
              <a:cxn ang="0">
                <a:pos x="connsiteX17201" y="connsiteY17201"/>
              </a:cxn>
              <a:cxn ang="0">
                <a:pos x="connsiteX17202" y="connsiteY17202"/>
              </a:cxn>
              <a:cxn ang="0">
                <a:pos x="connsiteX17203" y="connsiteY17203"/>
              </a:cxn>
              <a:cxn ang="0">
                <a:pos x="connsiteX17204" y="connsiteY17204"/>
              </a:cxn>
              <a:cxn ang="0">
                <a:pos x="connsiteX17205" y="connsiteY17205"/>
              </a:cxn>
              <a:cxn ang="0">
                <a:pos x="connsiteX17206" y="connsiteY17206"/>
              </a:cxn>
              <a:cxn ang="0">
                <a:pos x="connsiteX17207" y="connsiteY17207"/>
              </a:cxn>
              <a:cxn ang="0">
                <a:pos x="connsiteX17208" y="connsiteY17208"/>
              </a:cxn>
              <a:cxn ang="0">
                <a:pos x="connsiteX17209" y="connsiteY17209"/>
              </a:cxn>
              <a:cxn ang="0">
                <a:pos x="connsiteX17210" y="connsiteY17210"/>
              </a:cxn>
              <a:cxn ang="0">
                <a:pos x="connsiteX17211" y="connsiteY17211"/>
              </a:cxn>
              <a:cxn ang="0">
                <a:pos x="connsiteX17212" y="connsiteY17212"/>
              </a:cxn>
              <a:cxn ang="0">
                <a:pos x="connsiteX17213" y="connsiteY17213"/>
              </a:cxn>
              <a:cxn ang="0">
                <a:pos x="connsiteX17214" y="connsiteY17214"/>
              </a:cxn>
              <a:cxn ang="0">
                <a:pos x="connsiteX17215" y="connsiteY17215"/>
              </a:cxn>
              <a:cxn ang="0">
                <a:pos x="connsiteX17216" y="connsiteY17216"/>
              </a:cxn>
              <a:cxn ang="0">
                <a:pos x="connsiteX17217" y="connsiteY17217"/>
              </a:cxn>
              <a:cxn ang="0">
                <a:pos x="connsiteX17218" y="connsiteY17218"/>
              </a:cxn>
              <a:cxn ang="0">
                <a:pos x="connsiteX17219" y="connsiteY17219"/>
              </a:cxn>
              <a:cxn ang="0">
                <a:pos x="connsiteX17220" y="connsiteY17220"/>
              </a:cxn>
              <a:cxn ang="0">
                <a:pos x="connsiteX17221" y="connsiteY17221"/>
              </a:cxn>
              <a:cxn ang="0">
                <a:pos x="connsiteX17222" y="connsiteY17222"/>
              </a:cxn>
              <a:cxn ang="0">
                <a:pos x="connsiteX17223" y="connsiteY17223"/>
              </a:cxn>
              <a:cxn ang="0">
                <a:pos x="connsiteX17224" y="connsiteY17224"/>
              </a:cxn>
              <a:cxn ang="0">
                <a:pos x="connsiteX17225" y="connsiteY17225"/>
              </a:cxn>
              <a:cxn ang="0">
                <a:pos x="connsiteX17226" y="connsiteY17226"/>
              </a:cxn>
              <a:cxn ang="0">
                <a:pos x="connsiteX17227" y="connsiteY17227"/>
              </a:cxn>
              <a:cxn ang="0">
                <a:pos x="connsiteX17228" y="connsiteY17228"/>
              </a:cxn>
              <a:cxn ang="0">
                <a:pos x="connsiteX17229" y="connsiteY17229"/>
              </a:cxn>
              <a:cxn ang="0">
                <a:pos x="connsiteX17230" y="connsiteY17230"/>
              </a:cxn>
              <a:cxn ang="0">
                <a:pos x="connsiteX17231" y="connsiteY17231"/>
              </a:cxn>
              <a:cxn ang="0">
                <a:pos x="connsiteX17232" y="connsiteY17232"/>
              </a:cxn>
              <a:cxn ang="0">
                <a:pos x="connsiteX17233" y="connsiteY17233"/>
              </a:cxn>
              <a:cxn ang="0">
                <a:pos x="connsiteX17234" y="connsiteY17234"/>
              </a:cxn>
              <a:cxn ang="0">
                <a:pos x="connsiteX17235" y="connsiteY17235"/>
              </a:cxn>
              <a:cxn ang="0">
                <a:pos x="connsiteX17236" y="connsiteY17236"/>
              </a:cxn>
              <a:cxn ang="0">
                <a:pos x="connsiteX17237" y="connsiteY17237"/>
              </a:cxn>
              <a:cxn ang="0">
                <a:pos x="connsiteX17238" y="connsiteY17238"/>
              </a:cxn>
              <a:cxn ang="0">
                <a:pos x="connsiteX17239" y="connsiteY17239"/>
              </a:cxn>
              <a:cxn ang="0">
                <a:pos x="connsiteX17240" y="connsiteY17240"/>
              </a:cxn>
              <a:cxn ang="0">
                <a:pos x="connsiteX17241" y="connsiteY17241"/>
              </a:cxn>
              <a:cxn ang="0">
                <a:pos x="connsiteX17242" y="connsiteY17242"/>
              </a:cxn>
              <a:cxn ang="0">
                <a:pos x="connsiteX17243" y="connsiteY17243"/>
              </a:cxn>
              <a:cxn ang="0">
                <a:pos x="connsiteX17244" y="connsiteY17244"/>
              </a:cxn>
              <a:cxn ang="0">
                <a:pos x="connsiteX17245" y="connsiteY17245"/>
              </a:cxn>
              <a:cxn ang="0">
                <a:pos x="connsiteX17246" y="connsiteY17246"/>
              </a:cxn>
              <a:cxn ang="0">
                <a:pos x="connsiteX17247" y="connsiteY17247"/>
              </a:cxn>
              <a:cxn ang="0">
                <a:pos x="connsiteX17248" y="connsiteY17248"/>
              </a:cxn>
              <a:cxn ang="0">
                <a:pos x="connsiteX17249" y="connsiteY17249"/>
              </a:cxn>
              <a:cxn ang="0">
                <a:pos x="connsiteX17250" y="connsiteY17250"/>
              </a:cxn>
              <a:cxn ang="0">
                <a:pos x="connsiteX17251" y="connsiteY17251"/>
              </a:cxn>
              <a:cxn ang="0">
                <a:pos x="connsiteX17252" y="connsiteY17252"/>
              </a:cxn>
              <a:cxn ang="0">
                <a:pos x="connsiteX17253" y="connsiteY17253"/>
              </a:cxn>
              <a:cxn ang="0">
                <a:pos x="connsiteX17254" y="connsiteY17254"/>
              </a:cxn>
              <a:cxn ang="0">
                <a:pos x="connsiteX17255" y="connsiteY17255"/>
              </a:cxn>
              <a:cxn ang="0">
                <a:pos x="connsiteX17256" y="connsiteY17256"/>
              </a:cxn>
              <a:cxn ang="0">
                <a:pos x="connsiteX17257" y="connsiteY17257"/>
              </a:cxn>
              <a:cxn ang="0">
                <a:pos x="connsiteX17258" y="connsiteY17258"/>
              </a:cxn>
              <a:cxn ang="0">
                <a:pos x="connsiteX17259" y="connsiteY17259"/>
              </a:cxn>
              <a:cxn ang="0">
                <a:pos x="connsiteX17260" y="connsiteY17260"/>
              </a:cxn>
              <a:cxn ang="0">
                <a:pos x="connsiteX17261" y="connsiteY17261"/>
              </a:cxn>
              <a:cxn ang="0">
                <a:pos x="connsiteX17262" y="connsiteY17262"/>
              </a:cxn>
              <a:cxn ang="0">
                <a:pos x="connsiteX17263" y="connsiteY17263"/>
              </a:cxn>
              <a:cxn ang="0">
                <a:pos x="connsiteX17264" y="connsiteY17264"/>
              </a:cxn>
              <a:cxn ang="0">
                <a:pos x="connsiteX17265" y="connsiteY17265"/>
              </a:cxn>
              <a:cxn ang="0">
                <a:pos x="connsiteX17266" y="connsiteY17266"/>
              </a:cxn>
              <a:cxn ang="0">
                <a:pos x="connsiteX17267" y="connsiteY17267"/>
              </a:cxn>
              <a:cxn ang="0">
                <a:pos x="connsiteX17268" y="connsiteY17268"/>
              </a:cxn>
              <a:cxn ang="0">
                <a:pos x="connsiteX17269" y="connsiteY17269"/>
              </a:cxn>
              <a:cxn ang="0">
                <a:pos x="connsiteX17270" y="connsiteY17270"/>
              </a:cxn>
              <a:cxn ang="0">
                <a:pos x="connsiteX17271" y="connsiteY17271"/>
              </a:cxn>
              <a:cxn ang="0">
                <a:pos x="connsiteX17272" y="connsiteY17272"/>
              </a:cxn>
              <a:cxn ang="0">
                <a:pos x="connsiteX17273" y="connsiteY17273"/>
              </a:cxn>
              <a:cxn ang="0">
                <a:pos x="connsiteX17274" y="connsiteY17274"/>
              </a:cxn>
              <a:cxn ang="0">
                <a:pos x="connsiteX17275" y="connsiteY17275"/>
              </a:cxn>
              <a:cxn ang="0">
                <a:pos x="connsiteX17276" y="connsiteY17276"/>
              </a:cxn>
              <a:cxn ang="0">
                <a:pos x="connsiteX17277" y="connsiteY17277"/>
              </a:cxn>
              <a:cxn ang="0">
                <a:pos x="connsiteX17278" y="connsiteY17278"/>
              </a:cxn>
              <a:cxn ang="0">
                <a:pos x="connsiteX17279" y="connsiteY17279"/>
              </a:cxn>
              <a:cxn ang="0">
                <a:pos x="connsiteX17280" y="connsiteY17280"/>
              </a:cxn>
              <a:cxn ang="0">
                <a:pos x="connsiteX17281" y="connsiteY17281"/>
              </a:cxn>
              <a:cxn ang="0">
                <a:pos x="connsiteX17282" y="connsiteY17282"/>
              </a:cxn>
              <a:cxn ang="0">
                <a:pos x="connsiteX17283" y="connsiteY17283"/>
              </a:cxn>
              <a:cxn ang="0">
                <a:pos x="connsiteX17284" y="connsiteY17284"/>
              </a:cxn>
              <a:cxn ang="0">
                <a:pos x="connsiteX17285" y="connsiteY17285"/>
              </a:cxn>
              <a:cxn ang="0">
                <a:pos x="connsiteX17286" y="connsiteY17286"/>
              </a:cxn>
              <a:cxn ang="0">
                <a:pos x="connsiteX17287" y="connsiteY17287"/>
              </a:cxn>
              <a:cxn ang="0">
                <a:pos x="connsiteX17288" y="connsiteY17288"/>
              </a:cxn>
              <a:cxn ang="0">
                <a:pos x="connsiteX17289" y="connsiteY17289"/>
              </a:cxn>
              <a:cxn ang="0">
                <a:pos x="connsiteX17290" y="connsiteY17290"/>
              </a:cxn>
              <a:cxn ang="0">
                <a:pos x="connsiteX17291" y="connsiteY17291"/>
              </a:cxn>
              <a:cxn ang="0">
                <a:pos x="connsiteX17292" y="connsiteY17292"/>
              </a:cxn>
              <a:cxn ang="0">
                <a:pos x="connsiteX17293" y="connsiteY17293"/>
              </a:cxn>
              <a:cxn ang="0">
                <a:pos x="connsiteX17294" y="connsiteY17294"/>
              </a:cxn>
              <a:cxn ang="0">
                <a:pos x="connsiteX17295" y="connsiteY17295"/>
              </a:cxn>
              <a:cxn ang="0">
                <a:pos x="connsiteX17296" y="connsiteY17296"/>
              </a:cxn>
              <a:cxn ang="0">
                <a:pos x="connsiteX17297" y="connsiteY17297"/>
              </a:cxn>
              <a:cxn ang="0">
                <a:pos x="connsiteX17298" y="connsiteY17298"/>
              </a:cxn>
              <a:cxn ang="0">
                <a:pos x="connsiteX17299" y="connsiteY17299"/>
              </a:cxn>
              <a:cxn ang="0">
                <a:pos x="connsiteX17300" y="connsiteY17300"/>
              </a:cxn>
              <a:cxn ang="0">
                <a:pos x="connsiteX17301" y="connsiteY17301"/>
              </a:cxn>
              <a:cxn ang="0">
                <a:pos x="connsiteX17302" y="connsiteY17302"/>
              </a:cxn>
              <a:cxn ang="0">
                <a:pos x="connsiteX17303" y="connsiteY17303"/>
              </a:cxn>
              <a:cxn ang="0">
                <a:pos x="connsiteX17304" y="connsiteY17304"/>
              </a:cxn>
              <a:cxn ang="0">
                <a:pos x="connsiteX17305" y="connsiteY17305"/>
              </a:cxn>
              <a:cxn ang="0">
                <a:pos x="connsiteX17306" y="connsiteY17306"/>
              </a:cxn>
              <a:cxn ang="0">
                <a:pos x="connsiteX17307" y="connsiteY17307"/>
              </a:cxn>
              <a:cxn ang="0">
                <a:pos x="connsiteX17308" y="connsiteY17308"/>
              </a:cxn>
              <a:cxn ang="0">
                <a:pos x="connsiteX17309" y="connsiteY17309"/>
              </a:cxn>
              <a:cxn ang="0">
                <a:pos x="connsiteX17310" y="connsiteY17310"/>
              </a:cxn>
              <a:cxn ang="0">
                <a:pos x="connsiteX17311" y="connsiteY17311"/>
              </a:cxn>
              <a:cxn ang="0">
                <a:pos x="connsiteX17312" y="connsiteY17312"/>
              </a:cxn>
              <a:cxn ang="0">
                <a:pos x="connsiteX17313" y="connsiteY17313"/>
              </a:cxn>
              <a:cxn ang="0">
                <a:pos x="connsiteX17314" y="connsiteY17314"/>
              </a:cxn>
              <a:cxn ang="0">
                <a:pos x="connsiteX17315" y="connsiteY17315"/>
              </a:cxn>
            </a:cxnLst>
            <a:rect l="l" t="t" r="r" b="b"/>
            <a:pathLst>
              <a:path w="8267681" h="6698675">
                <a:moveTo>
                  <a:pt x="4399243" y="6517819"/>
                </a:moveTo>
                <a:cubicBezTo>
                  <a:pt x="4410987" y="6513121"/>
                  <a:pt x="4410987" y="6546003"/>
                  <a:pt x="4394545" y="6538957"/>
                </a:cubicBezTo>
                <a:cubicBezTo>
                  <a:pt x="4392197" y="6527214"/>
                  <a:pt x="4399243" y="6524865"/>
                  <a:pt x="4399243" y="6517819"/>
                </a:cubicBezTo>
                <a:close/>
                <a:moveTo>
                  <a:pt x="4660902" y="6379855"/>
                </a:moveTo>
                <a:lnTo>
                  <a:pt x="4664655" y="6393334"/>
                </a:lnTo>
                <a:cubicBezTo>
                  <a:pt x="4664655" y="6389811"/>
                  <a:pt x="4662306" y="6385114"/>
                  <a:pt x="4660839" y="6380416"/>
                </a:cubicBezTo>
                <a:close/>
                <a:moveTo>
                  <a:pt x="4624726" y="6351055"/>
                </a:moveTo>
                <a:cubicBezTo>
                  <a:pt x="4627074" y="6348707"/>
                  <a:pt x="4631772" y="6355753"/>
                  <a:pt x="4631772" y="6355753"/>
                </a:cubicBezTo>
                <a:cubicBezTo>
                  <a:pt x="4629423" y="6360450"/>
                  <a:pt x="4622377" y="6353404"/>
                  <a:pt x="4624726" y="6351055"/>
                </a:cubicBezTo>
                <a:close/>
                <a:moveTo>
                  <a:pt x="3985859" y="6238313"/>
                </a:moveTo>
                <a:cubicBezTo>
                  <a:pt x="3990556" y="6238313"/>
                  <a:pt x="3988207" y="6245360"/>
                  <a:pt x="3985859" y="6245360"/>
                </a:cubicBezTo>
                <a:cubicBezTo>
                  <a:pt x="3978812" y="6245360"/>
                  <a:pt x="3983510" y="6238313"/>
                  <a:pt x="3985859" y="6238313"/>
                </a:cubicBezTo>
                <a:close/>
                <a:moveTo>
                  <a:pt x="4594220" y="6237839"/>
                </a:moveTo>
                <a:lnTo>
                  <a:pt x="4594192" y="6238314"/>
                </a:lnTo>
                <a:lnTo>
                  <a:pt x="4594122" y="6237859"/>
                </a:lnTo>
                <a:close/>
                <a:moveTo>
                  <a:pt x="4375755" y="6224221"/>
                </a:moveTo>
                <a:cubicBezTo>
                  <a:pt x="4387499" y="6219523"/>
                  <a:pt x="4387499" y="6252406"/>
                  <a:pt x="4371057" y="6243011"/>
                </a:cubicBezTo>
                <a:cubicBezTo>
                  <a:pt x="4368709" y="6233616"/>
                  <a:pt x="4375755" y="6231267"/>
                  <a:pt x="4375755" y="6224221"/>
                </a:cubicBezTo>
                <a:close/>
                <a:moveTo>
                  <a:pt x="4650562" y="6214826"/>
                </a:moveTo>
                <a:cubicBezTo>
                  <a:pt x="4676399" y="6252407"/>
                  <a:pt x="4721026" y="6299383"/>
                  <a:pt x="4730421" y="6348707"/>
                </a:cubicBezTo>
                <a:cubicBezTo>
                  <a:pt x="4702236" y="6306429"/>
                  <a:pt x="4676399" y="6259454"/>
                  <a:pt x="4650562" y="6214826"/>
                </a:cubicBezTo>
                <a:close/>
                <a:moveTo>
                  <a:pt x="4676399" y="6212478"/>
                </a:moveTo>
                <a:cubicBezTo>
                  <a:pt x="4692840" y="6235966"/>
                  <a:pt x="4702236" y="6264151"/>
                  <a:pt x="4716328" y="6287639"/>
                </a:cubicBezTo>
                <a:cubicBezTo>
                  <a:pt x="4702236" y="6273546"/>
                  <a:pt x="4683445" y="6240663"/>
                  <a:pt x="4676399" y="6212478"/>
                </a:cubicBezTo>
                <a:close/>
                <a:moveTo>
                  <a:pt x="4608285" y="6210129"/>
                </a:moveTo>
                <a:cubicBezTo>
                  <a:pt x="4608285" y="6219524"/>
                  <a:pt x="4610633" y="6226570"/>
                  <a:pt x="4610633" y="6235966"/>
                </a:cubicBezTo>
                <a:cubicBezTo>
                  <a:pt x="4612982" y="6231268"/>
                  <a:pt x="4612982" y="6224222"/>
                  <a:pt x="4612982" y="6217175"/>
                </a:cubicBezTo>
                <a:cubicBezTo>
                  <a:pt x="4610633" y="6214826"/>
                  <a:pt x="4610633" y="6212478"/>
                  <a:pt x="4608285" y="6210129"/>
                </a:cubicBezTo>
                <a:close/>
                <a:moveTo>
                  <a:pt x="3082312" y="6207988"/>
                </a:moveTo>
                <a:lnTo>
                  <a:pt x="3081580" y="6214825"/>
                </a:lnTo>
                <a:cubicBezTo>
                  <a:pt x="3078056" y="6216000"/>
                  <a:pt x="3079818" y="6213651"/>
                  <a:pt x="3081286" y="6211009"/>
                </a:cubicBezTo>
                <a:close/>
                <a:moveTo>
                  <a:pt x="3082403" y="6207139"/>
                </a:moveTo>
                <a:lnTo>
                  <a:pt x="3082570" y="6207229"/>
                </a:lnTo>
                <a:lnTo>
                  <a:pt x="3082312" y="6207988"/>
                </a:lnTo>
                <a:close/>
                <a:moveTo>
                  <a:pt x="4690492" y="6196036"/>
                </a:moveTo>
                <a:cubicBezTo>
                  <a:pt x="4721026" y="6224222"/>
                  <a:pt x="4746863" y="6278243"/>
                  <a:pt x="4784443" y="6308777"/>
                </a:cubicBezTo>
                <a:cubicBezTo>
                  <a:pt x="4775048" y="6313475"/>
                  <a:pt x="4779745" y="6313475"/>
                  <a:pt x="4782094" y="6322870"/>
                </a:cubicBezTo>
                <a:cubicBezTo>
                  <a:pt x="4753909" y="6278243"/>
                  <a:pt x="4721026" y="6240663"/>
                  <a:pt x="4690492" y="6196036"/>
                </a:cubicBezTo>
                <a:close/>
                <a:moveTo>
                  <a:pt x="4709282" y="6158455"/>
                </a:moveTo>
                <a:cubicBezTo>
                  <a:pt x="4713980" y="6158455"/>
                  <a:pt x="4730421" y="6188990"/>
                  <a:pt x="4742165" y="6198385"/>
                </a:cubicBezTo>
                <a:cubicBezTo>
                  <a:pt x="4760955" y="6210128"/>
                  <a:pt x="4775048" y="6243011"/>
                  <a:pt x="4796187" y="6261801"/>
                </a:cubicBezTo>
                <a:cubicBezTo>
                  <a:pt x="4765653" y="6238313"/>
                  <a:pt x="4735119" y="6193687"/>
                  <a:pt x="4709282" y="6158455"/>
                </a:cubicBezTo>
                <a:close/>
                <a:moveTo>
                  <a:pt x="3949728" y="6154009"/>
                </a:moveTo>
                <a:lnTo>
                  <a:pt x="3956288" y="6156469"/>
                </a:lnTo>
                <a:lnTo>
                  <a:pt x="3952976" y="6158456"/>
                </a:lnTo>
                <a:cubicBezTo>
                  <a:pt x="3949452" y="6158456"/>
                  <a:pt x="3948278" y="6156695"/>
                  <a:pt x="3948572" y="6154933"/>
                </a:cubicBezTo>
                <a:close/>
                <a:moveTo>
                  <a:pt x="4584797" y="6151410"/>
                </a:moveTo>
                <a:cubicBezTo>
                  <a:pt x="4582448" y="6151410"/>
                  <a:pt x="4580099" y="6153759"/>
                  <a:pt x="4580099" y="6153759"/>
                </a:cubicBezTo>
                <a:cubicBezTo>
                  <a:pt x="4580099" y="6160805"/>
                  <a:pt x="4580099" y="6167851"/>
                  <a:pt x="4582448" y="6174898"/>
                </a:cubicBezTo>
                <a:cubicBezTo>
                  <a:pt x="4582448" y="6167851"/>
                  <a:pt x="4582448" y="6160805"/>
                  <a:pt x="4584797" y="6151410"/>
                </a:cubicBezTo>
                <a:close/>
                <a:moveTo>
                  <a:pt x="3833188" y="6130270"/>
                </a:moveTo>
                <a:cubicBezTo>
                  <a:pt x="3837886" y="6134967"/>
                  <a:pt x="3842583" y="6139665"/>
                  <a:pt x="3835536" y="6142014"/>
                </a:cubicBezTo>
                <a:cubicBezTo>
                  <a:pt x="3826141" y="6142014"/>
                  <a:pt x="3828490" y="6132618"/>
                  <a:pt x="3833188" y="6130270"/>
                </a:cubicBezTo>
                <a:close/>
                <a:moveTo>
                  <a:pt x="3095672" y="6097386"/>
                </a:moveTo>
                <a:cubicBezTo>
                  <a:pt x="3098022" y="6118526"/>
                  <a:pt x="3093324" y="6153758"/>
                  <a:pt x="3095672" y="6184291"/>
                </a:cubicBezTo>
                <a:cubicBezTo>
                  <a:pt x="3105069" y="6172547"/>
                  <a:pt x="3105069" y="6156106"/>
                  <a:pt x="3102719" y="6142014"/>
                </a:cubicBezTo>
                <a:cubicBezTo>
                  <a:pt x="3102719" y="6134967"/>
                  <a:pt x="3102719" y="6099735"/>
                  <a:pt x="3095672" y="6097386"/>
                </a:cubicBezTo>
                <a:close/>
                <a:moveTo>
                  <a:pt x="6538980" y="6085643"/>
                </a:moveTo>
                <a:cubicBezTo>
                  <a:pt x="6609443" y="6123224"/>
                  <a:pt x="6672862" y="6167850"/>
                  <a:pt x="6719837" y="6226570"/>
                </a:cubicBezTo>
                <a:cubicBezTo>
                  <a:pt x="6670513" y="6179594"/>
                  <a:pt x="6616490" y="6137316"/>
                  <a:pt x="6553073" y="6102085"/>
                </a:cubicBezTo>
                <a:cubicBezTo>
                  <a:pt x="6571864" y="6174897"/>
                  <a:pt x="6593002" y="6266499"/>
                  <a:pt x="6625886" y="6336963"/>
                </a:cubicBezTo>
                <a:cubicBezTo>
                  <a:pt x="6611792" y="6266499"/>
                  <a:pt x="6578910" y="6191338"/>
                  <a:pt x="6562468" y="6116178"/>
                </a:cubicBezTo>
                <a:cubicBezTo>
                  <a:pt x="6611792" y="6144363"/>
                  <a:pt x="6651723" y="6181943"/>
                  <a:pt x="6689303" y="6224222"/>
                </a:cubicBezTo>
                <a:cubicBezTo>
                  <a:pt x="6656420" y="6198385"/>
                  <a:pt x="6623536" y="6167850"/>
                  <a:pt x="6588305" y="6142014"/>
                </a:cubicBezTo>
                <a:cubicBezTo>
                  <a:pt x="6628235" y="6191338"/>
                  <a:pt x="6675211" y="6233617"/>
                  <a:pt x="6703396" y="6292336"/>
                </a:cubicBezTo>
                <a:cubicBezTo>
                  <a:pt x="6670513" y="6261801"/>
                  <a:pt x="6651723" y="6219524"/>
                  <a:pt x="6614141" y="6193687"/>
                </a:cubicBezTo>
                <a:cubicBezTo>
                  <a:pt x="6625886" y="6238314"/>
                  <a:pt x="6647025" y="6273545"/>
                  <a:pt x="6656420" y="6320521"/>
                </a:cubicBezTo>
                <a:cubicBezTo>
                  <a:pt x="6654072" y="6318173"/>
                  <a:pt x="6651723" y="6315824"/>
                  <a:pt x="6651723" y="6308777"/>
                </a:cubicBezTo>
                <a:cubicBezTo>
                  <a:pt x="6647025" y="6318173"/>
                  <a:pt x="6658769" y="6332265"/>
                  <a:pt x="6658769" y="6344009"/>
                </a:cubicBezTo>
                <a:cubicBezTo>
                  <a:pt x="6665816" y="6341661"/>
                  <a:pt x="6656420" y="6336963"/>
                  <a:pt x="6658769" y="6329917"/>
                </a:cubicBezTo>
                <a:cubicBezTo>
                  <a:pt x="6672862" y="6346358"/>
                  <a:pt x="6672862" y="6372194"/>
                  <a:pt x="6679908" y="6393333"/>
                </a:cubicBezTo>
                <a:cubicBezTo>
                  <a:pt x="6668164" y="6388636"/>
                  <a:pt x="6668164" y="6374543"/>
                  <a:pt x="6670513" y="6362799"/>
                </a:cubicBezTo>
                <a:cubicBezTo>
                  <a:pt x="6639979" y="6346358"/>
                  <a:pt x="6630584" y="6271197"/>
                  <a:pt x="6609443" y="6228919"/>
                </a:cubicBezTo>
                <a:cubicBezTo>
                  <a:pt x="6625886" y="6289987"/>
                  <a:pt x="6642328" y="6374543"/>
                  <a:pt x="6686955" y="6414472"/>
                </a:cubicBezTo>
                <a:cubicBezTo>
                  <a:pt x="6689303" y="6416821"/>
                  <a:pt x="6691652" y="6416821"/>
                  <a:pt x="6691652" y="6412124"/>
                </a:cubicBezTo>
                <a:cubicBezTo>
                  <a:pt x="6694001" y="6419170"/>
                  <a:pt x="6705744" y="6428565"/>
                  <a:pt x="6701047" y="6435612"/>
                </a:cubicBezTo>
                <a:cubicBezTo>
                  <a:pt x="6609443" y="6358102"/>
                  <a:pt x="6569515" y="6226570"/>
                  <a:pt x="6538980" y="6085643"/>
                </a:cubicBezTo>
                <a:close/>
                <a:moveTo>
                  <a:pt x="4450916" y="6085643"/>
                </a:moveTo>
                <a:cubicBezTo>
                  <a:pt x="4472055" y="6099736"/>
                  <a:pt x="4443870" y="6137316"/>
                  <a:pt x="4462660" y="6149060"/>
                </a:cubicBezTo>
                <a:cubicBezTo>
                  <a:pt x="4481450" y="6151409"/>
                  <a:pt x="4472055" y="6130270"/>
                  <a:pt x="4490845" y="6130270"/>
                </a:cubicBezTo>
                <a:cubicBezTo>
                  <a:pt x="4493194" y="6167850"/>
                  <a:pt x="4500240" y="6191338"/>
                  <a:pt x="4511984" y="6212478"/>
                </a:cubicBezTo>
                <a:cubicBezTo>
                  <a:pt x="4457962" y="6217175"/>
                  <a:pt x="4448567" y="6160804"/>
                  <a:pt x="4415684" y="6134968"/>
                </a:cubicBezTo>
                <a:cubicBezTo>
                  <a:pt x="4429777" y="6120875"/>
                  <a:pt x="4446218" y="6109131"/>
                  <a:pt x="4450916" y="6085643"/>
                </a:cubicBezTo>
                <a:close/>
                <a:moveTo>
                  <a:pt x="6517841" y="6057458"/>
                </a:moveTo>
                <a:cubicBezTo>
                  <a:pt x="6553073" y="6069202"/>
                  <a:pt x="6585955" y="6092690"/>
                  <a:pt x="6616490" y="6111480"/>
                </a:cubicBezTo>
                <a:cubicBezTo>
                  <a:pt x="6647024" y="6132619"/>
                  <a:pt x="6682256" y="6151409"/>
                  <a:pt x="6705743" y="6172548"/>
                </a:cubicBezTo>
                <a:cubicBezTo>
                  <a:pt x="6731580" y="6196036"/>
                  <a:pt x="6736278" y="6228919"/>
                  <a:pt x="6752719" y="6257104"/>
                </a:cubicBezTo>
                <a:cubicBezTo>
                  <a:pt x="6743324" y="6250057"/>
                  <a:pt x="6743324" y="6233616"/>
                  <a:pt x="6731580" y="6226570"/>
                </a:cubicBezTo>
                <a:cubicBezTo>
                  <a:pt x="6731580" y="6250057"/>
                  <a:pt x="6745673" y="6278243"/>
                  <a:pt x="6731580" y="6292336"/>
                </a:cubicBezTo>
                <a:cubicBezTo>
                  <a:pt x="6731580" y="6275894"/>
                  <a:pt x="6733929" y="6254755"/>
                  <a:pt x="6724534" y="6240663"/>
                </a:cubicBezTo>
                <a:cubicBezTo>
                  <a:pt x="6733929" y="6210129"/>
                  <a:pt x="6710441" y="6181943"/>
                  <a:pt x="6689302" y="6165502"/>
                </a:cubicBezTo>
                <a:cubicBezTo>
                  <a:pt x="6644675" y="6132619"/>
                  <a:pt x="6574212" y="6097387"/>
                  <a:pt x="6531934" y="6073899"/>
                </a:cubicBezTo>
                <a:cubicBezTo>
                  <a:pt x="6555422" y="6184292"/>
                  <a:pt x="6569514" y="6322870"/>
                  <a:pt x="6628234" y="6400380"/>
                </a:cubicBezTo>
                <a:cubicBezTo>
                  <a:pt x="6557771" y="6318173"/>
                  <a:pt x="6538980" y="6188990"/>
                  <a:pt x="6517841" y="6057458"/>
                </a:cubicBezTo>
                <a:close/>
                <a:moveTo>
                  <a:pt x="6271219" y="6043366"/>
                </a:moveTo>
                <a:lnTo>
                  <a:pt x="6271368" y="6069830"/>
                </a:lnTo>
                <a:lnTo>
                  <a:pt x="6268870" y="6099736"/>
                </a:lnTo>
                <a:lnTo>
                  <a:pt x="6264150" y="6067859"/>
                </a:lnTo>
                <a:close/>
                <a:moveTo>
                  <a:pt x="3767423" y="6043365"/>
                </a:moveTo>
                <a:cubicBezTo>
                  <a:pt x="3769771" y="6045714"/>
                  <a:pt x="3772120" y="6045714"/>
                  <a:pt x="3774468" y="6045714"/>
                </a:cubicBezTo>
                <a:cubicBezTo>
                  <a:pt x="3772120" y="6048063"/>
                  <a:pt x="3769771" y="6050411"/>
                  <a:pt x="3767423" y="6050411"/>
                </a:cubicBezTo>
                <a:cubicBezTo>
                  <a:pt x="3767423" y="6045714"/>
                  <a:pt x="3767423" y="6043365"/>
                  <a:pt x="3767423" y="6043365"/>
                </a:cubicBezTo>
                <a:close/>
                <a:moveTo>
                  <a:pt x="2964141" y="6036320"/>
                </a:moveTo>
                <a:cubicBezTo>
                  <a:pt x="2966489" y="6029272"/>
                  <a:pt x="2959442" y="6059808"/>
                  <a:pt x="2957094" y="6073900"/>
                </a:cubicBezTo>
                <a:cubicBezTo>
                  <a:pt x="2952396" y="6087992"/>
                  <a:pt x="2945350" y="6106783"/>
                  <a:pt x="2940652" y="6116178"/>
                </a:cubicBezTo>
                <a:cubicBezTo>
                  <a:pt x="2938303" y="6087992"/>
                  <a:pt x="2952396" y="6057459"/>
                  <a:pt x="2964141" y="6036320"/>
                </a:cubicBezTo>
                <a:close/>
                <a:moveTo>
                  <a:pt x="4817032" y="6017235"/>
                </a:moveTo>
                <a:cubicBezTo>
                  <a:pt x="4818500" y="6018703"/>
                  <a:pt x="4819674" y="6021052"/>
                  <a:pt x="4819674" y="6022226"/>
                </a:cubicBezTo>
                <a:cubicBezTo>
                  <a:pt x="4817325" y="6026923"/>
                  <a:pt x="4810279" y="6019877"/>
                  <a:pt x="4812628" y="6017528"/>
                </a:cubicBezTo>
                <a:cubicBezTo>
                  <a:pt x="4813802" y="6015180"/>
                  <a:pt x="4815564" y="6015767"/>
                  <a:pt x="4817032" y="6017235"/>
                </a:cubicBezTo>
                <a:close/>
                <a:moveTo>
                  <a:pt x="3704005" y="6001087"/>
                </a:moveTo>
                <a:cubicBezTo>
                  <a:pt x="3708702" y="6001087"/>
                  <a:pt x="3706353" y="6005784"/>
                  <a:pt x="3704005" y="6008133"/>
                </a:cubicBezTo>
                <a:cubicBezTo>
                  <a:pt x="3696958" y="6008133"/>
                  <a:pt x="3701656" y="6001087"/>
                  <a:pt x="3704005" y="6001087"/>
                </a:cubicBezTo>
                <a:close/>
                <a:moveTo>
                  <a:pt x="4429777" y="5998739"/>
                </a:moveTo>
                <a:cubicBezTo>
                  <a:pt x="4441521" y="6041017"/>
                  <a:pt x="4413335" y="6050412"/>
                  <a:pt x="4415684" y="6083295"/>
                </a:cubicBezTo>
                <a:cubicBezTo>
                  <a:pt x="4401592" y="6083295"/>
                  <a:pt x="4408638" y="6055110"/>
                  <a:pt x="4418033" y="6057459"/>
                </a:cubicBezTo>
                <a:cubicBezTo>
                  <a:pt x="4406289" y="6050412"/>
                  <a:pt x="4408638" y="6026924"/>
                  <a:pt x="4406289" y="6008134"/>
                </a:cubicBezTo>
                <a:cubicBezTo>
                  <a:pt x="4418033" y="6008134"/>
                  <a:pt x="4418033" y="5998739"/>
                  <a:pt x="4429777" y="5998739"/>
                </a:cubicBezTo>
                <a:close/>
                <a:moveTo>
                  <a:pt x="3950626" y="5986995"/>
                </a:moveTo>
                <a:cubicBezTo>
                  <a:pt x="3948278" y="5989344"/>
                  <a:pt x="3948278" y="5994041"/>
                  <a:pt x="3948278" y="5998739"/>
                </a:cubicBezTo>
                <a:cubicBezTo>
                  <a:pt x="3952976" y="5996390"/>
                  <a:pt x="3955324" y="5996390"/>
                  <a:pt x="3957673" y="5996390"/>
                </a:cubicBezTo>
                <a:close/>
                <a:moveTo>
                  <a:pt x="6421541" y="5977600"/>
                </a:moveTo>
                <a:lnTo>
                  <a:pt x="6428588" y="5984105"/>
                </a:lnTo>
                <a:lnTo>
                  <a:pt x="6428588" y="6076249"/>
                </a:lnTo>
                <a:lnTo>
                  <a:pt x="6431244" y="6125825"/>
                </a:lnTo>
                <a:close/>
                <a:moveTo>
                  <a:pt x="3616807" y="5974958"/>
                </a:moveTo>
                <a:cubicBezTo>
                  <a:pt x="3618275" y="5976426"/>
                  <a:pt x="3619449" y="5978775"/>
                  <a:pt x="3619449" y="5979949"/>
                </a:cubicBezTo>
                <a:cubicBezTo>
                  <a:pt x="3618275" y="5982298"/>
                  <a:pt x="3616513" y="5981711"/>
                  <a:pt x="3615045" y="5980243"/>
                </a:cubicBezTo>
                <a:lnTo>
                  <a:pt x="3613763" y="5977821"/>
                </a:lnTo>
                <a:lnTo>
                  <a:pt x="3614849" y="5975088"/>
                </a:lnTo>
                <a:close/>
                <a:moveTo>
                  <a:pt x="6590653" y="5972902"/>
                </a:moveTo>
                <a:cubicBezTo>
                  <a:pt x="6602397" y="6001088"/>
                  <a:pt x="6647024" y="6012832"/>
                  <a:pt x="6672861" y="6019878"/>
                </a:cubicBezTo>
                <a:cubicBezTo>
                  <a:pt x="6651722" y="5998739"/>
                  <a:pt x="6623536" y="5982297"/>
                  <a:pt x="6590653" y="5972902"/>
                </a:cubicBezTo>
                <a:close/>
                <a:moveTo>
                  <a:pt x="6146746" y="5958727"/>
                </a:moveTo>
                <a:lnTo>
                  <a:pt x="6149047" y="5964058"/>
                </a:lnTo>
                <a:cubicBezTo>
                  <a:pt x="6150331" y="5971948"/>
                  <a:pt x="6150111" y="5980389"/>
                  <a:pt x="6149377" y="5989051"/>
                </a:cubicBezTo>
                <a:lnTo>
                  <a:pt x="6148045" y="6015239"/>
                </a:lnTo>
                <a:lnTo>
                  <a:pt x="6145560" y="5967031"/>
                </a:lnTo>
                <a:close/>
                <a:moveTo>
                  <a:pt x="3691967" y="5956168"/>
                </a:moveTo>
                <a:cubicBezTo>
                  <a:pt x="3690500" y="5954700"/>
                  <a:pt x="3688738" y="5954113"/>
                  <a:pt x="3687563" y="5956461"/>
                </a:cubicBezTo>
                <a:cubicBezTo>
                  <a:pt x="3685214" y="5958810"/>
                  <a:pt x="3689912" y="5965856"/>
                  <a:pt x="3694609" y="5961159"/>
                </a:cubicBezTo>
                <a:cubicBezTo>
                  <a:pt x="3694609" y="5959985"/>
                  <a:pt x="3693435" y="5957636"/>
                  <a:pt x="3691967" y="5956168"/>
                </a:cubicBezTo>
                <a:close/>
                <a:moveTo>
                  <a:pt x="4914507" y="5952790"/>
                </a:moveTo>
                <a:cubicBezTo>
                  <a:pt x="4919351" y="5947946"/>
                  <a:pt x="4934765" y="5962919"/>
                  <a:pt x="4948858" y="5954111"/>
                </a:cubicBezTo>
                <a:cubicBezTo>
                  <a:pt x="4948858" y="5968204"/>
                  <a:pt x="4923022" y="5961158"/>
                  <a:pt x="4913627" y="5965855"/>
                </a:cubicBezTo>
                <a:cubicBezTo>
                  <a:pt x="4912452" y="5958222"/>
                  <a:pt x="4912893" y="5954405"/>
                  <a:pt x="4914507" y="5952790"/>
                </a:cubicBezTo>
                <a:close/>
                <a:moveTo>
                  <a:pt x="6433285" y="5947066"/>
                </a:moveTo>
                <a:cubicBezTo>
                  <a:pt x="6517841" y="5977600"/>
                  <a:pt x="6595351" y="6029273"/>
                  <a:pt x="6668163" y="6064505"/>
                </a:cubicBezTo>
                <a:cubicBezTo>
                  <a:pt x="6635280" y="6015180"/>
                  <a:pt x="6593002" y="6001088"/>
                  <a:pt x="6527236" y="5977600"/>
                </a:cubicBezTo>
                <a:cubicBezTo>
                  <a:pt x="6492004" y="5963507"/>
                  <a:pt x="6452076" y="5947066"/>
                  <a:pt x="6433285" y="5947066"/>
                </a:cubicBezTo>
                <a:close/>
                <a:moveTo>
                  <a:pt x="6015287" y="5933327"/>
                </a:moveTo>
                <a:lnTo>
                  <a:pt x="6015974" y="5935249"/>
                </a:lnTo>
                <a:cubicBezTo>
                  <a:pt x="6017846" y="5942809"/>
                  <a:pt x="6018727" y="5951177"/>
                  <a:pt x="6017552" y="5961159"/>
                </a:cubicBezTo>
                <a:lnTo>
                  <a:pt x="6012772" y="5950059"/>
                </a:lnTo>
                <a:lnTo>
                  <a:pt x="6013294" y="5946149"/>
                </a:lnTo>
                <a:close/>
                <a:moveTo>
                  <a:pt x="4556611" y="5932973"/>
                </a:moveTo>
                <a:cubicBezTo>
                  <a:pt x="4556611" y="5935322"/>
                  <a:pt x="4556611" y="5940020"/>
                  <a:pt x="4556611" y="5942368"/>
                </a:cubicBezTo>
                <a:cubicBezTo>
                  <a:pt x="4561309" y="5944717"/>
                  <a:pt x="4563658" y="5942368"/>
                  <a:pt x="4561309" y="5935322"/>
                </a:cubicBezTo>
                <a:cubicBezTo>
                  <a:pt x="4561309" y="5935322"/>
                  <a:pt x="4558960" y="5932973"/>
                  <a:pt x="4556611" y="5932973"/>
                </a:cubicBezTo>
                <a:close/>
                <a:moveTo>
                  <a:pt x="6166056" y="5932508"/>
                </a:moveTo>
                <a:lnTo>
                  <a:pt x="6170809" y="5935616"/>
                </a:lnTo>
                <a:cubicBezTo>
                  <a:pt x="6171984" y="5938258"/>
                  <a:pt x="6172571" y="5941194"/>
                  <a:pt x="6174919" y="5942368"/>
                </a:cubicBezTo>
                <a:cubicBezTo>
                  <a:pt x="6174919" y="5965856"/>
                  <a:pt x="6174919" y="5986995"/>
                  <a:pt x="6174919" y="6010483"/>
                </a:cubicBezTo>
                <a:cubicBezTo>
                  <a:pt x="6174919" y="6012832"/>
                  <a:pt x="6174919" y="6015180"/>
                  <a:pt x="6174919" y="6017529"/>
                </a:cubicBezTo>
                <a:cubicBezTo>
                  <a:pt x="6172571" y="6024576"/>
                  <a:pt x="6172571" y="6012832"/>
                  <a:pt x="6172571" y="6010483"/>
                </a:cubicBezTo>
                <a:lnTo>
                  <a:pt x="6164203" y="5945635"/>
                </a:lnTo>
                <a:close/>
                <a:moveTo>
                  <a:pt x="6419193" y="5925927"/>
                </a:moveTo>
                <a:cubicBezTo>
                  <a:pt x="6416844" y="5925927"/>
                  <a:pt x="6414495" y="5925927"/>
                  <a:pt x="6414495" y="5928276"/>
                </a:cubicBezTo>
                <a:cubicBezTo>
                  <a:pt x="6473214" y="5947066"/>
                  <a:pt x="6531934" y="5965856"/>
                  <a:pt x="6585956" y="5986995"/>
                </a:cubicBezTo>
                <a:cubicBezTo>
                  <a:pt x="6548376" y="5947066"/>
                  <a:pt x="6473214" y="5947066"/>
                  <a:pt x="6419193" y="5925927"/>
                </a:cubicBezTo>
                <a:close/>
                <a:moveTo>
                  <a:pt x="6152261" y="5920124"/>
                </a:moveTo>
                <a:lnTo>
                  <a:pt x="6153744" y="5926551"/>
                </a:lnTo>
                <a:cubicBezTo>
                  <a:pt x="6154221" y="5931652"/>
                  <a:pt x="6153781" y="5937084"/>
                  <a:pt x="6151432" y="5942368"/>
                </a:cubicBezTo>
                <a:lnTo>
                  <a:pt x="6149423" y="5939990"/>
                </a:lnTo>
                <a:close/>
                <a:moveTo>
                  <a:pt x="6001110" y="5918880"/>
                </a:moveTo>
                <a:cubicBezTo>
                  <a:pt x="6004633" y="5924752"/>
                  <a:pt x="6006395" y="5932386"/>
                  <a:pt x="6008450" y="5940020"/>
                </a:cubicBezTo>
                <a:lnTo>
                  <a:pt x="6012772" y="5950059"/>
                </a:lnTo>
                <a:lnTo>
                  <a:pt x="6008156" y="5984646"/>
                </a:lnTo>
                <a:cubicBezTo>
                  <a:pt x="6004633" y="5975839"/>
                  <a:pt x="6002138" y="5965710"/>
                  <a:pt x="6000413" y="5954736"/>
                </a:cubicBezTo>
                <a:lnTo>
                  <a:pt x="5998895" y="5937721"/>
                </a:lnTo>
                <a:close/>
                <a:moveTo>
                  <a:pt x="6120898" y="5916532"/>
                </a:moveTo>
                <a:cubicBezTo>
                  <a:pt x="6123247" y="5944717"/>
                  <a:pt x="6123247" y="5975251"/>
                  <a:pt x="6132642" y="5991693"/>
                </a:cubicBezTo>
                <a:cubicBezTo>
                  <a:pt x="6127944" y="5968205"/>
                  <a:pt x="6139688" y="5925927"/>
                  <a:pt x="6120898" y="5916532"/>
                </a:cubicBezTo>
                <a:close/>
                <a:moveTo>
                  <a:pt x="3903651" y="5916532"/>
                </a:moveTo>
                <a:cubicBezTo>
                  <a:pt x="3905999" y="5944717"/>
                  <a:pt x="3856675" y="5956461"/>
                  <a:pt x="3875466" y="5977600"/>
                </a:cubicBezTo>
                <a:cubicBezTo>
                  <a:pt x="3894256" y="5965856"/>
                  <a:pt x="3901302" y="5947066"/>
                  <a:pt x="3915395" y="5932973"/>
                </a:cubicBezTo>
                <a:close/>
                <a:moveTo>
                  <a:pt x="5315267" y="5911834"/>
                </a:moveTo>
                <a:lnTo>
                  <a:pt x="5327011" y="5911834"/>
                </a:lnTo>
                <a:cubicBezTo>
                  <a:pt x="5327011" y="5918880"/>
                  <a:pt x="5319964" y="5909485"/>
                  <a:pt x="5315267" y="5911834"/>
                </a:cubicBezTo>
                <a:close/>
                <a:moveTo>
                  <a:pt x="6304160" y="5907650"/>
                </a:moveTo>
                <a:lnTo>
                  <a:pt x="6304295" y="5947854"/>
                </a:lnTo>
                <a:lnTo>
                  <a:pt x="6303442" y="5956902"/>
                </a:lnTo>
                <a:lnTo>
                  <a:pt x="6303111" y="5966312"/>
                </a:lnTo>
                <a:lnTo>
                  <a:pt x="6297056" y="6018117"/>
                </a:lnTo>
                <a:lnTo>
                  <a:pt x="6281192" y="6105813"/>
                </a:lnTo>
                <a:lnTo>
                  <a:pt x="6281826" y="6085234"/>
                </a:lnTo>
                <a:lnTo>
                  <a:pt x="6290010" y="6016355"/>
                </a:lnTo>
                <a:lnTo>
                  <a:pt x="6294797" y="5973674"/>
                </a:lnTo>
                <a:lnTo>
                  <a:pt x="6298158" y="5952461"/>
                </a:lnTo>
                <a:close/>
                <a:moveTo>
                  <a:pt x="6398053" y="5900090"/>
                </a:moveTo>
                <a:cubicBezTo>
                  <a:pt x="6395705" y="5900090"/>
                  <a:pt x="6393356" y="5900090"/>
                  <a:pt x="6393356" y="5904788"/>
                </a:cubicBezTo>
                <a:cubicBezTo>
                  <a:pt x="6437983" y="5916532"/>
                  <a:pt x="6489656" y="5932973"/>
                  <a:pt x="6529585" y="5937671"/>
                </a:cubicBezTo>
                <a:cubicBezTo>
                  <a:pt x="6496702" y="5914183"/>
                  <a:pt x="6437983" y="5916532"/>
                  <a:pt x="6398053" y="5900090"/>
                </a:cubicBezTo>
                <a:close/>
                <a:moveTo>
                  <a:pt x="5820254" y="5897742"/>
                </a:moveTo>
                <a:lnTo>
                  <a:pt x="5821318" y="5905370"/>
                </a:lnTo>
                <a:lnTo>
                  <a:pt x="5820008" y="5898810"/>
                </a:lnTo>
                <a:close/>
                <a:moveTo>
                  <a:pt x="5237757" y="5895392"/>
                </a:moveTo>
                <a:cubicBezTo>
                  <a:pt x="5242455" y="5900090"/>
                  <a:pt x="5251850" y="5904787"/>
                  <a:pt x="5256547" y="5911833"/>
                </a:cubicBezTo>
                <a:cubicBezTo>
                  <a:pt x="5251850" y="5911833"/>
                  <a:pt x="5247152" y="5911833"/>
                  <a:pt x="5244803" y="5909485"/>
                </a:cubicBezTo>
                <a:cubicBezTo>
                  <a:pt x="5242455" y="5907136"/>
                  <a:pt x="5242455" y="5907136"/>
                  <a:pt x="5240106" y="5904787"/>
                </a:cubicBezTo>
                <a:cubicBezTo>
                  <a:pt x="5240106" y="5902438"/>
                  <a:pt x="5237757" y="5900090"/>
                  <a:pt x="5237757" y="5895392"/>
                </a:cubicBezTo>
                <a:close/>
                <a:moveTo>
                  <a:pt x="3098022" y="5895392"/>
                </a:moveTo>
                <a:cubicBezTo>
                  <a:pt x="3086277" y="5951762"/>
                  <a:pt x="3076882" y="5991692"/>
                  <a:pt x="3069836" y="6041016"/>
                </a:cubicBezTo>
                <a:cubicBezTo>
                  <a:pt x="3069836" y="6043365"/>
                  <a:pt x="3069836" y="6043365"/>
                  <a:pt x="3072186" y="6043365"/>
                </a:cubicBezTo>
                <a:cubicBezTo>
                  <a:pt x="3079231" y="5996389"/>
                  <a:pt x="3100370" y="5949413"/>
                  <a:pt x="3098022" y="5895392"/>
                </a:cubicBezTo>
                <a:close/>
                <a:moveTo>
                  <a:pt x="6172426" y="5887391"/>
                </a:moveTo>
                <a:lnTo>
                  <a:pt x="6176938" y="5891099"/>
                </a:lnTo>
                <a:cubicBezTo>
                  <a:pt x="6181672" y="5901999"/>
                  <a:pt x="6175506" y="5921817"/>
                  <a:pt x="6177268" y="5937671"/>
                </a:cubicBezTo>
                <a:cubicBezTo>
                  <a:pt x="6170222" y="5937671"/>
                  <a:pt x="6170222" y="5921229"/>
                  <a:pt x="6167873" y="5928276"/>
                </a:cubicBezTo>
                <a:lnTo>
                  <a:pt x="6167292" y="5923755"/>
                </a:lnTo>
                <a:close/>
                <a:moveTo>
                  <a:pt x="6367519" y="5883649"/>
                </a:moveTo>
                <a:cubicBezTo>
                  <a:pt x="6367519" y="5900090"/>
                  <a:pt x="6367519" y="5918880"/>
                  <a:pt x="6367519" y="5935322"/>
                </a:cubicBezTo>
                <a:cubicBezTo>
                  <a:pt x="6367519" y="5944717"/>
                  <a:pt x="6367519" y="5954112"/>
                  <a:pt x="6367519" y="5963507"/>
                </a:cubicBezTo>
                <a:cubicBezTo>
                  <a:pt x="6372217" y="5958810"/>
                  <a:pt x="6367519" y="5944717"/>
                  <a:pt x="6369868" y="5937671"/>
                </a:cubicBezTo>
                <a:cubicBezTo>
                  <a:pt x="6372217" y="5921229"/>
                  <a:pt x="6372217" y="5895393"/>
                  <a:pt x="6374566" y="5883649"/>
                </a:cubicBezTo>
                <a:cubicBezTo>
                  <a:pt x="6400402" y="5895393"/>
                  <a:pt x="6447378" y="5900090"/>
                  <a:pt x="6475563" y="5902439"/>
                </a:cubicBezTo>
                <a:cubicBezTo>
                  <a:pt x="6445029" y="5890695"/>
                  <a:pt x="6412146" y="5883649"/>
                  <a:pt x="6374566" y="5883649"/>
                </a:cubicBezTo>
                <a:cubicBezTo>
                  <a:pt x="6369868" y="5883649"/>
                  <a:pt x="6367519" y="5883649"/>
                  <a:pt x="6367519" y="5883649"/>
                </a:cubicBezTo>
                <a:close/>
                <a:moveTo>
                  <a:pt x="5827680" y="5883350"/>
                </a:moveTo>
                <a:lnTo>
                  <a:pt x="5833613" y="5938441"/>
                </a:lnTo>
                <a:cubicBezTo>
                  <a:pt x="5836108" y="5958076"/>
                  <a:pt x="5838457" y="5977600"/>
                  <a:pt x="5839044" y="5996390"/>
                </a:cubicBezTo>
                <a:cubicBezTo>
                  <a:pt x="5833172" y="5982298"/>
                  <a:pt x="5829649" y="5964095"/>
                  <a:pt x="5827007" y="5946185"/>
                </a:cubicBezTo>
                <a:lnTo>
                  <a:pt x="5821318" y="5905370"/>
                </a:lnTo>
                <a:lnTo>
                  <a:pt x="5824952" y="5923578"/>
                </a:lnTo>
                <a:close/>
                <a:moveTo>
                  <a:pt x="5331708" y="5876602"/>
                </a:moveTo>
                <a:cubicBezTo>
                  <a:pt x="5317616" y="5890695"/>
                  <a:pt x="5272989" y="5883649"/>
                  <a:pt x="5254199" y="5885997"/>
                </a:cubicBezTo>
                <a:cubicBezTo>
                  <a:pt x="5263594" y="5890695"/>
                  <a:pt x="5258896" y="5893044"/>
                  <a:pt x="5265943" y="5897741"/>
                </a:cubicBezTo>
                <a:cubicBezTo>
                  <a:pt x="5263594" y="5888346"/>
                  <a:pt x="5287082" y="5895392"/>
                  <a:pt x="5298826" y="5895392"/>
                </a:cubicBezTo>
                <a:cubicBezTo>
                  <a:pt x="5296477" y="5904788"/>
                  <a:pt x="5287082" y="5895392"/>
                  <a:pt x="5277687" y="5897741"/>
                </a:cubicBezTo>
                <a:cubicBezTo>
                  <a:pt x="5284733" y="5904788"/>
                  <a:pt x="5305872" y="5900090"/>
                  <a:pt x="5301174" y="5911834"/>
                </a:cubicBezTo>
                <a:lnTo>
                  <a:pt x="5315267" y="5911834"/>
                </a:lnTo>
                <a:cubicBezTo>
                  <a:pt x="5327011" y="5932973"/>
                  <a:pt x="5366940" y="5923578"/>
                  <a:pt x="5371638" y="5951763"/>
                </a:cubicBezTo>
                <a:cubicBezTo>
                  <a:pt x="5355196" y="5932973"/>
                  <a:pt x="5343452" y="5940019"/>
                  <a:pt x="5317616" y="5930624"/>
                </a:cubicBezTo>
                <a:cubicBezTo>
                  <a:pt x="5319964" y="5947065"/>
                  <a:pt x="5338755" y="5944717"/>
                  <a:pt x="5341104" y="5958809"/>
                </a:cubicBezTo>
                <a:cubicBezTo>
                  <a:pt x="5322313" y="5949414"/>
                  <a:pt x="5305872" y="5940019"/>
                  <a:pt x="5289431" y="5928276"/>
                </a:cubicBezTo>
                <a:cubicBezTo>
                  <a:pt x="5289431" y="5923578"/>
                  <a:pt x="5287082" y="5918880"/>
                  <a:pt x="5284733" y="5914183"/>
                </a:cubicBezTo>
                <a:cubicBezTo>
                  <a:pt x="5282384" y="5916532"/>
                  <a:pt x="5282384" y="5918880"/>
                  <a:pt x="5280035" y="5921229"/>
                </a:cubicBezTo>
                <a:cubicBezTo>
                  <a:pt x="5265943" y="5911834"/>
                  <a:pt x="5251850" y="5900090"/>
                  <a:pt x="5240106" y="5888346"/>
                </a:cubicBezTo>
                <a:cubicBezTo>
                  <a:pt x="5242455" y="5888346"/>
                  <a:pt x="5242455" y="5885997"/>
                  <a:pt x="5242455" y="5885997"/>
                </a:cubicBezTo>
                <a:cubicBezTo>
                  <a:pt x="5244804" y="5890695"/>
                  <a:pt x="5247152" y="5893044"/>
                  <a:pt x="5251850" y="5895392"/>
                </a:cubicBezTo>
                <a:cubicBezTo>
                  <a:pt x="5258896" y="5895392"/>
                  <a:pt x="5240106" y="5883649"/>
                  <a:pt x="5247152" y="5881300"/>
                </a:cubicBezTo>
                <a:cubicBezTo>
                  <a:pt x="5275338" y="5878951"/>
                  <a:pt x="5301174" y="5874254"/>
                  <a:pt x="5331708" y="5876602"/>
                </a:cubicBezTo>
                <a:close/>
                <a:moveTo>
                  <a:pt x="4845511" y="5876601"/>
                </a:moveTo>
                <a:cubicBezTo>
                  <a:pt x="4847860" y="5874253"/>
                  <a:pt x="4852557" y="5881299"/>
                  <a:pt x="4852557" y="5881299"/>
                </a:cubicBezTo>
                <a:cubicBezTo>
                  <a:pt x="4850208" y="5885997"/>
                  <a:pt x="4843162" y="5878950"/>
                  <a:pt x="4845511" y="5876601"/>
                </a:cubicBezTo>
                <a:close/>
                <a:moveTo>
                  <a:pt x="3537241" y="5874254"/>
                </a:moveTo>
                <a:cubicBezTo>
                  <a:pt x="3537241" y="5883649"/>
                  <a:pt x="3520800" y="5878951"/>
                  <a:pt x="3520800" y="5888346"/>
                </a:cubicBezTo>
                <a:cubicBezTo>
                  <a:pt x="3534892" y="5893044"/>
                  <a:pt x="3556032" y="5878951"/>
                  <a:pt x="3537241" y="5874254"/>
                </a:cubicBezTo>
                <a:close/>
                <a:moveTo>
                  <a:pt x="6001110" y="5867207"/>
                </a:moveTo>
                <a:cubicBezTo>
                  <a:pt x="6005808" y="5870731"/>
                  <a:pt x="6009331" y="5878365"/>
                  <a:pt x="6013148" y="5885117"/>
                </a:cubicBezTo>
                <a:lnTo>
                  <a:pt x="6018513" y="5892860"/>
                </a:lnTo>
                <a:lnTo>
                  <a:pt x="6019313" y="5907431"/>
                </a:lnTo>
                <a:lnTo>
                  <a:pt x="6015287" y="5933327"/>
                </a:lnTo>
                <a:lnTo>
                  <a:pt x="6008450" y="5914183"/>
                </a:lnTo>
                <a:cubicBezTo>
                  <a:pt x="6002872" y="5900678"/>
                  <a:pt x="5997587" y="5887172"/>
                  <a:pt x="6001110" y="5867207"/>
                </a:cubicBezTo>
                <a:close/>
                <a:moveTo>
                  <a:pt x="5324663" y="5855462"/>
                </a:moveTo>
                <a:cubicBezTo>
                  <a:pt x="5308222" y="5867206"/>
                  <a:pt x="5275339" y="5869555"/>
                  <a:pt x="5249502" y="5871904"/>
                </a:cubicBezTo>
                <a:cubicBezTo>
                  <a:pt x="5249502" y="5869555"/>
                  <a:pt x="5251851" y="5867206"/>
                  <a:pt x="5251851" y="5864857"/>
                </a:cubicBezTo>
                <a:cubicBezTo>
                  <a:pt x="5277688" y="5860160"/>
                  <a:pt x="5303524" y="5848416"/>
                  <a:pt x="5324663" y="5855462"/>
                </a:cubicBezTo>
                <a:close/>
                <a:moveTo>
                  <a:pt x="4725723" y="5853115"/>
                </a:moveTo>
                <a:cubicBezTo>
                  <a:pt x="4723375" y="5855464"/>
                  <a:pt x="4721026" y="5857812"/>
                  <a:pt x="4718677" y="5855464"/>
                </a:cubicBezTo>
                <a:cubicBezTo>
                  <a:pt x="4725723" y="5862510"/>
                  <a:pt x="4730421" y="5869556"/>
                  <a:pt x="4737467" y="5876602"/>
                </a:cubicBezTo>
                <a:cubicBezTo>
                  <a:pt x="4739816" y="5874254"/>
                  <a:pt x="4739816" y="5874254"/>
                  <a:pt x="4744513" y="5874254"/>
                </a:cubicBezTo>
                <a:cubicBezTo>
                  <a:pt x="4739816" y="5867207"/>
                  <a:pt x="4732770" y="5860161"/>
                  <a:pt x="4725723" y="5853115"/>
                </a:cubicBezTo>
                <a:close/>
                <a:moveTo>
                  <a:pt x="3079231" y="5853114"/>
                </a:moveTo>
                <a:cubicBezTo>
                  <a:pt x="3062788" y="5942369"/>
                  <a:pt x="3013464" y="6031622"/>
                  <a:pt x="2999371" y="6125574"/>
                </a:cubicBezTo>
                <a:cubicBezTo>
                  <a:pt x="2992325" y="6116179"/>
                  <a:pt x="3006418" y="6090342"/>
                  <a:pt x="2992325" y="6095040"/>
                </a:cubicBezTo>
                <a:cubicBezTo>
                  <a:pt x="3027557" y="6019878"/>
                  <a:pt x="3051045" y="5935322"/>
                  <a:pt x="3079231" y="5853114"/>
                </a:cubicBezTo>
                <a:close/>
                <a:moveTo>
                  <a:pt x="6059081" y="5852596"/>
                </a:moveTo>
                <a:lnTo>
                  <a:pt x="6062325" y="5857959"/>
                </a:lnTo>
                <a:cubicBezTo>
                  <a:pt x="6064527" y="5861923"/>
                  <a:pt x="6066289" y="5865446"/>
                  <a:pt x="6066876" y="5867207"/>
                </a:cubicBezTo>
                <a:lnTo>
                  <a:pt x="6067177" y="5871757"/>
                </a:lnTo>
                <a:close/>
                <a:moveTo>
                  <a:pt x="3090974" y="5846068"/>
                </a:moveTo>
                <a:cubicBezTo>
                  <a:pt x="3074533" y="5942369"/>
                  <a:pt x="3043999" y="6048064"/>
                  <a:pt x="3022860" y="6142015"/>
                </a:cubicBezTo>
                <a:cubicBezTo>
                  <a:pt x="3018162" y="6090342"/>
                  <a:pt x="3034604" y="6038668"/>
                  <a:pt x="3051045" y="5991693"/>
                </a:cubicBezTo>
                <a:cubicBezTo>
                  <a:pt x="3067486" y="5944718"/>
                  <a:pt x="3079231" y="5897741"/>
                  <a:pt x="3090974" y="5846068"/>
                </a:cubicBezTo>
                <a:close/>
                <a:moveTo>
                  <a:pt x="3196668" y="5845342"/>
                </a:moveTo>
                <a:lnTo>
                  <a:pt x="3203715" y="5914183"/>
                </a:lnTo>
                <a:lnTo>
                  <a:pt x="3196669" y="5879223"/>
                </a:lnTo>
                <a:close/>
                <a:moveTo>
                  <a:pt x="6477912" y="5841371"/>
                </a:moveTo>
                <a:cubicBezTo>
                  <a:pt x="6484958" y="5855464"/>
                  <a:pt x="6499051" y="5862510"/>
                  <a:pt x="6506097" y="5876602"/>
                </a:cubicBezTo>
                <a:cubicBezTo>
                  <a:pt x="6524888" y="5881300"/>
                  <a:pt x="6541329" y="5900090"/>
                  <a:pt x="6553073" y="5902439"/>
                </a:cubicBezTo>
                <a:cubicBezTo>
                  <a:pt x="6529585" y="5883649"/>
                  <a:pt x="6496702" y="5848417"/>
                  <a:pt x="6477912" y="5841371"/>
                </a:cubicBezTo>
                <a:close/>
                <a:moveTo>
                  <a:pt x="6336986" y="5841371"/>
                </a:moveTo>
                <a:cubicBezTo>
                  <a:pt x="6341683" y="5841371"/>
                  <a:pt x="6341683" y="5848417"/>
                  <a:pt x="6348730" y="5850766"/>
                </a:cubicBezTo>
                <a:cubicBezTo>
                  <a:pt x="6414495" y="5857812"/>
                  <a:pt x="6475563" y="5890695"/>
                  <a:pt x="6527236" y="5923578"/>
                </a:cubicBezTo>
                <a:cubicBezTo>
                  <a:pt x="6527236" y="5928276"/>
                  <a:pt x="6529585" y="5923578"/>
                  <a:pt x="6531934" y="5921229"/>
                </a:cubicBezTo>
                <a:cubicBezTo>
                  <a:pt x="6536632" y="5928276"/>
                  <a:pt x="6553073" y="5940020"/>
                  <a:pt x="6562468" y="5935322"/>
                </a:cubicBezTo>
                <a:cubicBezTo>
                  <a:pt x="6548376" y="5930624"/>
                  <a:pt x="6529585" y="5893044"/>
                  <a:pt x="6524888" y="5911834"/>
                </a:cubicBezTo>
                <a:cubicBezTo>
                  <a:pt x="6496702" y="5857812"/>
                  <a:pt x="6412146" y="5843720"/>
                  <a:pt x="6336986" y="5841371"/>
                </a:cubicBezTo>
                <a:close/>
                <a:moveTo>
                  <a:pt x="4803233" y="5834325"/>
                </a:moveTo>
                <a:cubicBezTo>
                  <a:pt x="4810280" y="5831976"/>
                  <a:pt x="4814390" y="5834912"/>
                  <a:pt x="4817033" y="5839903"/>
                </a:cubicBezTo>
                <a:lnTo>
                  <a:pt x="4817249" y="5840678"/>
                </a:lnTo>
                <a:lnTo>
                  <a:pt x="4817326" y="5841371"/>
                </a:lnTo>
                <a:cubicBezTo>
                  <a:pt x="4810279" y="5841371"/>
                  <a:pt x="4812628" y="5853115"/>
                  <a:pt x="4807931" y="5855464"/>
                </a:cubicBezTo>
                <a:cubicBezTo>
                  <a:pt x="4799710" y="5860162"/>
                  <a:pt x="4792664" y="5859574"/>
                  <a:pt x="4786205" y="5858107"/>
                </a:cubicBezTo>
                <a:lnTo>
                  <a:pt x="4780580" y="5857290"/>
                </a:lnTo>
                <a:lnTo>
                  <a:pt x="4781214" y="5855170"/>
                </a:lnTo>
                <a:cubicBezTo>
                  <a:pt x="4786205" y="5847830"/>
                  <a:pt x="4793838" y="5844894"/>
                  <a:pt x="4805582" y="5853115"/>
                </a:cubicBezTo>
                <a:cubicBezTo>
                  <a:pt x="4805582" y="5841371"/>
                  <a:pt x="4796187" y="5839022"/>
                  <a:pt x="4803233" y="5834325"/>
                </a:cubicBezTo>
                <a:close/>
                <a:moveTo>
                  <a:pt x="3652331" y="5834325"/>
                </a:moveTo>
                <a:cubicBezTo>
                  <a:pt x="3647634" y="5857812"/>
                  <a:pt x="3635890" y="5874254"/>
                  <a:pt x="3628844" y="5895393"/>
                </a:cubicBezTo>
                <a:cubicBezTo>
                  <a:pt x="3647634" y="5888346"/>
                  <a:pt x="3652331" y="5871905"/>
                  <a:pt x="3666424" y="5864859"/>
                </a:cubicBezTo>
                <a:cubicBezTo>
                  <a:pt x="3661727" y="5853115"/>
                  <a:pt x="3661727" y="5839022"/>
                  <a:pt x="3652331" y="5834325"/>
                </a:cubicBezTo>
                <a:close/>
                <a:moveTo>
                  <a:pt x="4742165" y="5834324"/>
                </a:moveTo>
                <a:cubicBezTo>
                  <a:pt x="4749211" y="5834324"/>
                  <a:pt x="4744513" y="5839022"/>
                  <a:pt x="4742165" y="5841370"/>
                </a:cubicBezTo>
                <a:cubicBezTo>
                  <a:pt x="4735118" y="5841370"/>
                  <a:pt x="4739816" y="5834324"/>
                  <a:pt x="4742165" y="5834324"/>
                </a:cubicBezTo>
                <a:close/>
                <a:moveTo>
                  <a:pt x="4706933" y="5831976"/>
                </a:moveTo>
                <a:cubicBezTo>
                  <a:pt x="4702236" y="5834325"/>
                  <a:pt x="4702236" y="5834325"/>
                  <a:pt x="4699887" y="5836673"/>
                </a:cubicBezTo>
                <a:cubicBezTo>
                  <a:pt x="4704584" y="5841371"/>
                  <a:pt x="4709282" y="5846069"/>
                  <a:pt x="4713980" y="5848417"/>
                </a:cubicBezTo>
                <a:cubicBezTo>
                  <a:pt x="4709282" y="5843720"/>
                  <a:pt x="4706933" y="5836673"/>
                  <a:pt x="4706933" y="5831976"/>
                </a:cubicBezTo>
                <a:close/>
                <a:moveTo>
                  <a:pt x="3036951" y="5831976"/>
                </a:moveTo>
                <a:cubicBezTo>
                  <a:pt x="3033428" y="5842545"/>
                  <a:pt x="3030493" y="5854289"/>
                  <a:pt x="3026676" y="5865445"/>
                </a:cubicBezTo>
                <a:lnTo>
                  <a:pt x="3026150" y="5866458"/>
                </a:lnTo>
                <a:close/>
                <a:moveTo>
                  <a:pt x="5348774" y="5831388"/>
                </a:moveTo>
                <a:cubicBezTo>
                  <a:pt x="5358280" y="5830801"/>
                  <a:pt x="5366941" y="5831388"/>
                  <a:pt x="5373987" y="5834324"/>
                </a:cubicBezTo>
                <a:cubicBezTo>
                  <a:pt x="5331708" y="5839021"/>
                  <a:pt x="5294128" y="5848416"/>
                  <a:pt x="5254199" y="5855463"/>
                </a:cubicBezTo>
                <a:cubicBezTo>
                  <a:pt x="5256548" y="5850765"/>
                  <a:pt x="5256548" y="5846068"/>
                  <a:pt x="5258897" y="5841370"/>
                </a:cubicBezTo>
                <a:cubicBezTo>
                  <a:pt x="5265943" y="5841370"/>
                  <a:pt x="5270640" y="5841370"/>
                  <a:pt x="5261245" y="5836672"/>
                </a:cubicBezTo>
                <a:cubicBezTo>
                  <a:pt x="5284146" y="5845480"/>
                  <a:pt x="5320258" y="5833149"/>
                  <a:pt x="5348774" y="5831388"/>
                </a:cubicBezTo>
                <a:close/>
                <a:moveTo>
                  <a:pt x="6318195" y="5822581"/>
                </a:moveTo>
                <a:cubicBezTo>
                  <a:pt x="6344032" y="5829627"/>
                  <a:pt x="6388658" y="5831976"/>
                  <a:pt x="6412146" y="5834325"/>
                </a:cubicBezTo>
                <a:cubicBezTo>
                  <a:pt x="6386309" y="5824929"/>
                  <a:pt x="6346381" y="5820232"/>
                  <a:pt x="6318195" y="5822581"/>
                </a:cubicBezTo>
                <a:close/>
                <a:moveTo>
                  <a:pt x="6137339" y="5820232"/>
                </a:moveTo>
                <a:cubicBezTo>
                  <a:pt x="6134991" y="5839022"/>
                  <a:pt x="6139688" y="5857812"/>
                  <a:pt x="6153780" y="5871905"/>
                </a:cubicBezTo>
                <a:cubicBezTo>
                  <a:pt x="6156129" y="5850766"/>
                  <a:pt x="6144386" y="5843720"/>
                  <a:pt x="6153780" y="5829627"/>
                </a:cubicBezTo>
                <a:cubicBezTo>
                  <a:pt x="6149083" y="5824929"/>
                  <a:pt x="6144386" y="5822581"/>
                  <a:pt x="6137339" y="5820232"/>
                </a:cubicBezTo>
                <a:close/>
                <a:moveTo>
                  <a:pt x="6116200" y="5820232"/>
                </a:moveTo>
                <a:cubicBezTo>
                  <a:pt x="6118549" y="5855464"/>
                  <a:pt x="6113852" y="5885998"/>
                  <a:pt x="6125596" y="5909486"/>
                </a:cubicBezTo>
                <a:cubicBezTo>
                  <a:pt x="6127944" y="5893044"/>
                  <a:pt x="6132642" y="5869556"/>
                  <a:pt x="6120898" y="5857812"/>
                </a:cubicBezTo>
                <a:cubicBezTo>
                  <a:pt x="6123247" y="5857812"/>
                  <a:pt x="6125596" y="5857812"/>
                  <a:pt x="6127944" y="5860161"/>
                </a:cubicBezTo>
                <a:cubicBezTo>
                  <a:pt x="6130293" y="5841371"/>
                  <a:pt x="6123247" y="5831976"/>
                  <a:pt x="6116200" y="5820232"/>
                </a:cubicBezTo>
                <a:close/>
                <a:moveTo>
                  <a:pt x="5836679" y="5808338"/>
                </a:moveTo>
                <a:lnTo>
                  <a:pt x="5829209" y="5860785"/>
                </a:lnTo>
                <a:lnTo>
                  <a:pt x="5827680" y="5883350"/>
                </a:lnTo>
                <a:lnTo>
                  <a:pt x="5827301" y="5879832"/>
                </a:lnTo>
                <a:cubicBezTo>
                  <a:pt x="5826126" y="5860602"/>
                  <a:pt x="5826420" y="5841885"/>
                  <a:pt x="5829796" y="5824306"/>
                </a:cubicBezTo>
                <a:close/>
                <a:moveTo>
                  <a:pt x="5303524" y="5803790"/>
                </a:moveTo>
                <a:cubicBezTo>
                  <a:pt x="5301175" y="5806139"/>
                  <a:pt x="5301175" y="5806139"/>
                  <a:pt x="5298826" y="5808488"/>
                </a:cubicBezTo>
                <a:cubicBezTo>
                  <a:pt x="5289431" y="5810836"/>
                  <a:pt x="5280036" y="5813185"/>
                  <a:pt x="5270641" y="5817883"/>
                </a:cubicBezTo>
                <a:cubicBezTo>
                  <a:pt x="5270641" y="5815534"/>
                  <a:pt x="5272990" y="5813185"/>
                  <a:pt x="5272990" y="5810836"/>
                </a:cubicBezTo>
                <a:cubicBezTo>
                  <a:pt x="5282385" y="5808488"/>
                  <a:pt x="5294129" y="5806139"/>
                  <a:pt x="5303524" y="5803790"/>
                </a:cubicBezTo>
                <a:close/>
                <a:moveTo>
                  <a:pt x="6299405" y="5801442"/>
                </a:moveTo>
                <a:cubicBezTo>
                  <a:pt x="6318195" y="5815534"/>
                  <a:pt x="6358124" y="5808488"/>
                  <a:pt x="6383961" y="5817883"/>
                </a:cubicBezTo>
                <a:cubicBezTo>
                  <a:pt x="6367519" y="5801442"/>
                  <a:pt x="6322893" y="5801442"/>
                  <a:pt x="6299405" y="5801442"/>
                </a:cubicBezTo>
                <a:close/>
                <a:moveTo>
                  <a:pt x="3830839" y="5801442"/>
                </a:moveTo>
                <a:cubicBezTo>
                  <a:pt x="3805002" y="5857812"/>
                  <a:pt x="3762724" y="5902439"/>
                  <a:pt x="3732190" y="5956461"/>
                </a:cubicBezTo>
                <a:cubicBezTo>
                  <a:pt x="3743934" y="5954112"/>
                  <a:pt x="3755678" y="5954112"/>
                  <a:pt x="3767423" y="5951764"/>
                </a:cubicBezTo>
                <a:cubicBezTo>
                  <a:pt x="3762724" y="5930624"/>
                  <a:pt x="3774468" y="5923578"/>
                  <a:pt x="3781514" y="5911834"/>
                </a:cubicBezTo>
                <a:cubicBezTo>
                  <a:pt x="3793259" y="5911834"/>
                  <a:pt x="3795607" y="5902439"/>
                  <a:pt x="3805002" y="5902439"/>
                </a:cubicBezTo>
                <a:cubicBezTo>
                  <a:pt x="3816746" y="5876602"/>
                  <a:pt x="3837886" y="5857812"/>
                  <a:pt x="3849629" y="5829627"/>
                </a:cubicBezTo>
                <a:close/>
                <a:moveTo>
                  <a:pt x="5804101" y="5799379"/>
                </a:moveTo>
                <a:lnTo>
                  <a:pt x="5807410" y="5846546"/>
                </a:lnTo>
                <a:lnTo>
                  <a:pt x="5812973" y="5893411"/>
                </a:lnTo>
                <a:lnTo>
                  <a:pt x="5812932" y="5894505"/>
                </a:lnTo>
                <a:lnTo>
                  <a:pt x="5794234" y="5834476"/>
                </a:lnTo>
                <a:close/>
                <a:moveTo>
                  <a:pt x="4662306" y="5789698"/>
                </a:moveTo>
                <a:cubicBezTo>
                  <a:pt x="4662306" y="5792047"/>
                  <a:pt x="4662306" y="5794395"/>
                  <a:pt x="4662306" y="5799093"/>
                </a:cubicBezTo>
                <a:cubicBezTo>
                  <a:pt x="4667004" y="5801442"/>
                  <a:pt x="4671702" y="5803790"/>
                  <a:pt x="4676399" y="5806139"/>
                </a:cubicBezTo>
                <a:cubicBezTo>
                  <a:pt x="4671702" y="5801442"/>
                  <a:pt x="4667004" y="5794395"/>
                  <a:pt x="4662306" y="5789698"/>
                </a:cubicBezTo>
                <a:close/>
                <a:moveTo>
                  <a:pt x="5317616" y="5787348"/>
                </a:moveTo>
                <a:cubicBezTo>
                  <a:pt x="5305872" y="5794394"/>
                  <a:pt x="5291779" y="5796743"/>
                  <a:pt x="5275338" y="5799092"/>
                </a:cubicBezTo>
                <a:cubicBezTo>
                  <a:pt x="5277687" y="5796743"/>
                  <a:pt x="5277687" y="5794394"/>
                  <a:pt x="5277687" y="5792046"/>
                </a:cubicBezTo>
                <a:cubicBezTo>
                  <a:pt x="5291779" y="5789697"/>
                  <a:pt x="5303523" y="5787348"/>
                  <a:pt x="5317616" y="5787348"/>
                </a:cubicBezTo>
                <a:close/>
                <a:moveTo>
                  <a:pt x="5867230" y="5785000"/>
                </a:moveTo>
                <a:lnTo>
                  <a:pt x="5876073" y="5795006"/>
                </a:lnTo>
                <a:lnTo>
                  <a:pt x="5871817" y="5814213"/>
                </a:lnTo>
                <a:cubicBezTo>
                  <a:pt x="5868845" y="5823902"/>
                  <a:pt x="5865468" y="5832563"/>
                  <a:pt x="5862532" y="5839022"/>
                </a:cubicBezTo>
                <a:lnTo>
                  <a:pt x="5863322" y="5802687"/>
                </a:lnTo>
                <a:lnTo>
                  <a:pt x="5864881" y="5796744"/>
                </a:lnTo>
                <a:cubicBezTo>
                  <a:pt x="5867230" y="5796744"/>
                  <a:pt x="5871927" y="5806139"/>
                  <a:pt x="5874276" y="5799093"/>
                </a:cubicBezTo>
                <a:cubicBezTo>
                  <a:pt x="5867230" y="5799093"/>
                  <a:pt x="5862532" y="5787349"/>
                  <a:pt x="5867230" y="5785000"/>
                </a:cubicBezTo>
                <a:close/>
                <a:moveTo>
                  <a:pt x="6083317" y="5782651"/>
                </a:moveTo>
                <a:cubicBezTo>
                  <a:pt x="6083317" y="5813185"/>
                  <a:pt x="6097410" y="5827278"/>
                  <a:pt x="6109154" y="5848417"/>
                </a:cubicBezTo>
                <a:cubicBezTo>
                  <a:pt x="6106805" y="5820232"/>
                  <a:pt x="6097410" y="5799093"/>
                  <a:pt x="6083317" y="5782651"/>
                </a:cubicBezTo>
                <a:close/>
                <a:moveTo>
                  <a:pt x="4969996" y="5782651"/>
                </a:moveTo>
                <a:cubicBezTo>
                  <a:pt x="4972345" y="5789698"/>
                  <a:pt x="4972345" y="5796744"/>
                  <a:pt x="4972345" y="5801442"/>
                </a:cubicBezTo>
                <a:cubicBezTo>
                  <a:pt x="4977043" y="5801442"/>
                  <a:pt x="4981740" y="5799093"/>
                  <a:pt x="4984089" y="5794395"/>
                </a:cubicBezTo>
                <a:cubicBezTo>
                  <a:pt x="4979391" y="5792047"/>
                  <a:pt x="4974694" y="5787349"/>
                  <a:pt x="4969996" y="5782651"/>
                </a:cubicBezTo>
                <a:close/>
                <a:moveTo>
                  <a:pt x="6282963" y="5780303"/>
                </a:moveTo>
                <a:cubicBezTo>
                  <a:pt x="6280614" y="5787349"/>
                  <a:pt x="6287661" y="5785000"/>
                  <a:pt x="6287661" y="5789698"/>
                </a:cubicBezTo>
                <a:cubicBezTo>
                  <a:pt x="6372217" y="5789698"/>
                  <a:pt x="6428588" y="5817883"/>
                  <a:pt x="6477912" y="5853115"/>
                </a:cubicBezTo>
                <a:cubicBezTo>
                  <a:pt x="6447378" y="5796744"/>
                  <a:pt x="6358124" y="5782651"/>
                  <a:pt x="6282963" y="5780303"/>
                </a:cubicBezTo>
                <a:close/>
                <a:moveTo>
                  <a:pt x="5305871" y="5770906"/>
                </a:moveTo>
                <a:cubicBezTo>
                  <a:pt x="5298825" y="5775604"/>
                  <a:pt x="5291778" y="5777952"/>
                  <a:pt x="5284732" y="5780301"/>
                </a:cubicBezTo>
                <a:cubicBezTo>
                  <a:pt x="5284732" y="5777952"/>
                  <a:pt x="5284732" y="5777952"/>
                  <a:pt x="5287081" y="5775604"/>
                </a:cubicBezTo>
                <a:cubicBezTo>
                  <a:pt x="5294127" y="5773255"/>
                  <a:pt x="5298825" y="5773255"/>
                  <a:pt x="5305871" y="5770906"/>
                </a:cubicBezTo>
                <a:close/>
                <a:moveTo>
                  <a:pt x="4685794" y="5768559"/>
                </a:moveTo>
                <a:cubicBezTo>
                  <a:pt x="4683445" y="5768559"/>
                  <a:pt x="4681096" y="5770907"/>
                  <a:pt x="4678748" y="5770907"/>
                </a:cubicBezTo>
                <a:cubicBezTo>
                  <a:pt x="4674050" y="5773256"/>
                  <a:pt x="4671702" y="5775605"/>
                  <a:pt x="4669353" y="5777954"/>
                </a:cubicBezTo>
                <a:cubicBezTo>
                  <a:pt x="4678748" y="5789698"/>
                  <a:pt x="4688143" y="5801442"/>
                  <a:pt x="4697538" y="5813185"/>
                </a:cubicBezTo>
                <a:cubicBezTo>
                  <a:pt x="4699887" y="5813185"/>
                  <a:pt x="4702236" y="5813185"/>
                  <a:pt x="4704584" y="5813185"/>
                </a:cubicBezTo>
                <a:cubicBezTo>
                  <a:pt x="4709282" y="5817883"/>
                  <a:pt x="4711631" y="5824929"/>
                  <a:pt x="4713980" y="5831976"/>
                </a:cubicBezTo>
                <a:cubicBezTo>
                  <a:pt x="4725723" y="5843720"/>
                  <a:pt x="4737467" y="5857812"/>
                  <a:pt x="4749211" y="5871905"/>
                </a:cubicBezTo>
                <a:cubicBezTo>
                  <a:pt x="4751560" y="5871905"/>
                  <a:pt x="4753909" y="5874254"/>
                  <a:pt x="4758606" y="5876602"/>
                </a:cubicBezTo>
                <a:cubicBezTo>
                  <a:pt x="4760955" y="5867207"/>
                  <a:pt x="4753909" y="5850766"/>
                  <a:pt x="4756257" y="5841371"/>
                </a:cubicBezTo>
                <a:cubicBezTo>
                  <a:pt x="4744513" y="5827278"/>
                  <a:pt x="4732770" y="5810837"/>
                  <a:pt x="4718677" y="5796744"/>
                </a:cubicBezTo>
                <a:cubicBezTo>
                  <a:pt x="4709282" y="5785000"/>
                  <a:pt x="4697538" y="5777954"/>
                  <a:pt x="4685794" y="5768559"/>
                </a:cubicBezTo>
                <a:close/>
                <a:moveTo>
                  <a:pt x="6381869" y="5762907"/>
                </a:moveTo>
                <a:cubicBezTo>
                  <a:pt x="6376621" y="5761953"/>
                  <a:pt x="6371043" y="5762100"/>
                  <a:pt x="6365171" y="5763861"/>
                </a:cubicBezTo>
                <a:cubicBezTo>
                  <a:pt x="6383961" y="5770907"/>
                  <a:pt x="6405100" y="5787349"/>
                  <a:pt x="6419193" y="5787349"/>
                </a:cubicBezTo>
                <a:cubicBezTo>
                  <a:pt x="6410385" y="5778541"/>
                  <a:pt x="6397613" y="5765770"/>
                  <a:pt x="6381869" y="5762907"/>
                </a:cubicBezTo>
                <a:close/>
                <a:moveTo>
                  <a:pt x="6212500" y="5761512"/>
                </a:moveTo>
                <a:lnTo>
                  <a:pt x="6215701" y="5766800"/>
                </a:lnTo>
                <a:lnTo>
                  <a:pt x="6212500" y="5785000"/>
                </a:lnTo>
                <a:lnTo>
                  <a:pt x="6211296" y="5769686"/>
                </a:lnTo>
                <a:close/>
                <a:moveTo>
                  <a:pt x="4605936" y="5761512"/>
                </a:moveTo>
                <a:cubicBezTo>
                  <a:pt x="4605936" y="5763861"/>
                  <a:pt x="4603587" y="5763861"/>
                  <a:pt x="4603587" y="5763861"/>
                </a:cubicBezTo>
                <a:cubicBezTo>
                  <a:pt x="4608285" y="5770907"/>
                  <a:pt x="4615331" y="5777954"/>
                  <a:pt x="4620028" y="5785000"/>
                </a:cubicBezTo>
                <a:cubicBezTo>
                  <a:pt x="4620028" y="5782651"/>
                  <a:pt x="4622377" y="5780303"/>
                  <a:pt x="4624726" y="5777954"/>
                </a:cubicBezTo>
                <a:cubicBezTo>
                  <a:pt x="4620028" y="5777954"/>
                  <a:pt x="4617680" y="5775605"/>
                  <a:pt x="4617680" y="5770907"/>
                </a:cubicBezTo>
                <a:cubicBezTo>
                  <a:pt x="4612982" y="5766210"/>
                  <a:pt x="4610633" y="5763861"/>
                  <a:pt x="4605936" y="5761512"/>
                </a:cubicBezTo>
                <a:close/>
                <a:moveTo>
                  <a:pt x="6259476" y="5756815"/>
                </a:moveTo>
                <a:cubicBezTo>
                  <a:pt x="6257127" y="5763861"/>
                  <a:pt x="6266522" y="5763861"/>
                  <a:pt x="6266522" y="5770907"/>
                </a:cubicBezTo>
                <a:cubicBezTo>
                  <a:pt x="6315846" y="5766210"/>
                  <a:pt x="6355776" y="5782651"/>
                  <a:pt x="6391007" y="5785000"/>
                </a:cubicBezTo>
                <a:cubicBezTo>
                  <a:pt x="6358124" y="5759163"/>
                  <a:pt x="6313498" y="5761512"/>
                  <a:pt x="6259476" y="5756815"/>
                </a:cubicBezTo>
                <a:close/>
                <a:moveTo>
                  <a:pt x="3772119" y="5752117"/>
                </a:moveTo>
                <a:cubicBezTo>
                  <a:pt x="3755678" y="5747420"/>
                  <a:pt x="3739236" y="5770907"/>
                  <a:pt x="3755678" y="5773256"/>
                </a:cubicBezTo>
                <a:cubicBezTo>
                  <a:pt x="3755678" y="5761512"/>
                  <a:pt x="3774468" y="5766210"/>
                  <a:pt x="3772119" y="5752117"/>
                </a:cubicBezTo>
                <a:close/>
                <a:moveTo>
                  <a:pt x="5277687" y="5752116"/>
                </a:moveTo>
                <a:cubicBezTo>
                  <a:pt x="5280036" y="5752116"/>
                  <a:pt x="5280036" y="5752116"/>
                  <a:pt x="5280036" y="5752116"/>
                </a:cubicBezTo>
                <a:cubicBezTo>
                  <a:pt x="5289431" y="5747418"/>
                  <a:pt x="5305873" y="5756814"/>
                  <a:pt x="5322314" y="5752116"/>
                </a:cubicBezTo>
                <a:cubicBezTo>
                  <a:pt x="5315268" y="5759162"/>
                  <a:pt x="5296477" y="5754465"/>
                  <a:pt x="5284734" y="5759162"/>
                </a:cubicBezTo>
                <a:cubicBezTo>
                  <a:pt x="5284734" y="5761511"/>
                  <a:pt x="5289431" y="5761511"/>
                  <a:pt x="5294129" y="5761511"/>
                </a:cubicBezTo>
                <a:cubicBezTo>
                  <a:pt x="5287082" y="5766209"/>
                  <a:pt x="5280036" y="5768558"/>
                  <a:pt x="5270641" y="5768558"/>
                </a:cubicBezTo>
                <a:cubicBezTo>
                  <a:pt x="5275339" y="5763860"/>
                  <a:pt x="5277687" y="5756814"/>
                  <a:pt x="5277687" y="5752116"/>
                </a:cubicBezTo>
                <a:close/>
                <a:moveTo>
                  <a:pt x="6192408" y="5746636"/>
                </a:moveTo>
                <a:lnTo>
                  <a:pt x="6193584" y="5751033"/>
                </a:lnTo>
                <a:lnTo>
                  <a:pt x="6187838" y="5808488"/>
                </a:lnTo>
                <a:cubicBezTo>
                  <a:pt x="6185489" y="5836674"/>
                  <a:pt x="6183140" y="5863685"/>
                  <a:pt x="6179617" y="5883649"/>
                </a:cubicBezTo>
                <a:lnTo>
                  <a:pt x="6173645" y="5878971"/>
                </a:lnTo>
                <a:lnTo>
                  <a:pt x="6184939" y="5811644"/>
                </a:lnTo>
                <a:lnTo>
                  <a:pt x="6190033" y="5756977"/>
                </a:lnTo>
                <a:close/>
                <a:moveTo>
                  <a:pt x="2073956" y="5745070"/>
                </a:moveTo>
                <a:lnTo>
                  <a:pt x="2066912" y="5752116"/>
                </a:lnTo>
                <a:lnTo>
                  <a:pt x="2069262" y="6073899"/>
                </a:lnTo>
                <a:lnTo>
                  <a:pt x="2076305" y="6080945"/>
                </a:lnTo>
                <a:lnTo>
                  <a:pt x="2081005" y="6073899"/>
                </a:lnTo>
                <a:lnTo>
                  <a:pt x="2085700" y="5921228"/>
                </a:lnTo>
                <a:lnTo>
                  <a:pt x="2083355" y="5836672"/>
                </a:lnTo>
                <a:lnTo>
                  <a:pt x="2081005" y="5770906"/>
                </a:lnTo>
                <a:cubicBezTo>
                  <a:pt x="2081005" y="5770906"/>
                  <a:pt x="2078654" y="5752116"/>
                  <a:pt x="2073956" y="5745070"/>
                </a:cubicBezTo>
                <a:close/>
                <a:moveTo>
                  <a:pt x="6376914" y="5735676"/>
                </a:moveTo>
                <a:cubicBezTo>
                  <a:pt x="6391007" y="5747420"/>
                  <a:pt x="6407449" y="5770907"/>
                  <a:pt x="6433285" y="5761512"/>
                </a:cubicBezTo>
                <a:cubicBezTo>
                  <a:pt x="6414495" y="5754466"/>
                  <a:pt x="6395705" y="5735676"/>
                  <a:pt x="6376914" y="5735676"/>
                </a:cubicBezTo>
                <a:close/>
                <a:moveTo>
                  <a:pt x="5331709" y="5733327"/>
                </a:moveTo>
                <a:cubicBezTo>
                  <a:pt x="5331709" y="5735676"/>
                  <a:pt x="5334058" y="5735676"/>
                  <a:pt x="5334058" y="5735676"/>
                </a:cubicBezTo>
                <a:cubicBezTo>
                  <a:pt x="5345802" y="5754466"/>
                  <a:pt x="5348151" y="5782651"/>
                  <a:pt x="5329361" y="5796744"/>
                </a:cubicBezTo>
                <a:cubicBezTo>
                  <a:pt x="5336407" y="5801442"/>
                  <a:pt x="5362244" y="5789698"/>
                  <a:pt x="5369290" y="5792047"/>
                </a:cubicBezTo>
                <a:cubicBezTo>
                  <a:pt x="5366941" y="5803790"/>
                  <a:pt x="5341105" y="5794395"/>
                  <a:pt x="5331709" y="5801442"/>
                </a:cubicBezTo>
                <a:cubicBezTo>
                  <a:pt x="5327012" y="5808488"/>
                  <a:pt x="5334058" y="5829627"/>
                  <a:pt x="5319966" y="5829627"/>
                </a:cubicBezTo>
                <a:cubicBezTo>
                  <a:pt x="5322314" y="5820232"/>
                  <a:pt x="5324663" y="5810837"/>
                  <a:pt x="5327012" y="5801442"/>
                </a:cubicBezTo>
                <a:cubicBezTo>
                  <a:pt x="5319966" y="5803790"/>
                  <a:pt x="5315268" y="5803790"/>
                  <a:pt x="5308222" y="5806139"/>
                </a:cubicBezTo>
                <a:cubicBezTo>
                  <a:pt x="5308222" y="5803790"/>
                  <a:pt x="5308222" y="5803790"/>
                  <a:pt x="5305873" y="5801442"/>
                </a:cubicBezTo>
                <a:cubicBezTo>
                  <a:pt x="5312919" y="5801442"/>
                  <a:pt x="5319966" y="5799093"/>
                  <a:pt x="5327012" y="5799093"/>
                </a:cubicBezTo>
                <a:cubicBezTo>
                  <a:pt x="5336407" y="5777954"/>
                  <a:pt x="5338756" y="5756815"/>
                  <a:pt x="5331709" y="5733327"/>
                </a:cubicBezTo>
                <a:close/>
                <a:moveTo>
                  <a:pt x="3593612" y="5733327"/>
                </a:moveTo>
                <a:cubicBezTo>
                  <a:pt x="3595962" y="5740374"/>
                  <a:pt x="3586566" y="5742722"/>
                  <a:pt x="3595962" y="5745071"/>
                </a:cubicBezTo>
                <a:cubicBezTo>
                  <a:pt x="3600658" y="5742722"/>
                  <a:pt x="3600658" y="5733327"/>
                  <a:pt x="3593612" y="5733327"/>
                </a:cubicBezTo>
                <a:close/>
                <a:moveTo>
                  <a:pt x="3062788" y="5730977"/>
                </a:moveTo>
                <a:cubicBezTo>
                  <a:pt x="3041649" y="5785000"/>
                  <a:pt x="3027557" y="5843720"/>
                  <a:pt x="3011115" y="5895393"/>
                </a:cubicBezTo>
                <a:lnTo>
                  <a:pt x="3026150" y="5866458"/>
                </a:lnTo>
                <a:lnTo>
                  <a:pt x="3006418" y="5929449"/>
                </a:lnTo>
                <a:cubicBezTo>
                  <a:pt x="2993500" y="5961745"/>
                  <a:pt x="2979407" y="5994041"/>
                  <a:pt x="2968837" y="6026924"/>
                </a:cubicBezTo>
                <a:cubicBezTo>
                  <a:pt x="2997022" y="5935322"/>
                  <a:pt x="3027557" y="5822581"/>
                  <a:pt x="3062788" y="5730977"/>
                </a:cubicBezTo>
                <a:close/>
                <a:moveTo>
                  <a:pt x="5098043" y="5727940"/>
                </a:moveTo>
                <a:lnTo>
                  <a:pt x="5146155" y="5730978"/>
                </a:lnTo>
                <a:lnTo>
                  <a:pt x="5097699" y="5734139"/>
                </a:lnTo>
                <a:close/>
                <a:moveTo>
                  <a:pt x="3779166" y="5726281"/>
                </a:moveTo>
                <a:cubicBezTo>
                  <a:pt x="3774468" y="5726281"/>
                  <a:pt x="3774468" y="5738025"/>
                  <a:pt x="3781514" y="5738025"/>
                </a:cubicBezTo>
                <a:cubicBezTo>
                  <a:pt x="3781514" y="5733327"/>
                  <a:pt x="3783863" y="5730978"/>
                  <a:pt x="3783863" y="5728630"/>
                </a:cubicBezTo>
                <a:lnTo>
                  <a:pt x="3781514" y="5726281"/>
                </a:lnTo>
                <a:cubicBezTo>
                  <a:pt x="3781514" y="5726281"/>
                  <a:pt x="3779166" y="5726281"/>
                  <a:pt x="3779166" y="5726281"/>
                </a:cubicBezTo>
                <a:close/>
                <a:moveTo>
                  <a:pt x="3090974" y="5723931"/>
                </a:moveTo>
                <a:cubicBezTo>
                  <a:pt x="3093323" y="5714536"/>
                  <a:pt x="3083927" y="5756814"/>
                  <a:pt x="3081579" y="5768558"/>
                </a:cubicBezTo>
                <a:cubicBezTo>
                  <a:pt x="3069835" y="5806139"/>
                  <a:pt x="3046347" y="5848417"/>
                  <a:pt x="3053393" y="5883649"/>
                </a:cubicBezTo>
                <a:cubicBezTo>
                  <a:pt x="3034604" y="5935322"/>
                  <a:pt x="3027557" y="5984646"/>
                  <a:pt x="3008768" y="6036320"/>
                </a:cubicBezTo>
                <a:cubicBezTo>
                  <a:pt x="2982930" y="6062156"/>
                  <a:pt x="2978232" y="6104434"/>
                  <a:pt x="2961791" y="6146712"/>
                </a:cubicBezTo>
                <a:cubicBezTo>
                  <a:pt x="2964141" y="6095039"/>
                  <a:pt x="2985279" y="6050412"/>
                  <a:pt x="2997023" y="5991693"/>
                </a:cubicBezTo>
                <a:cubicBezTo>
                  <a:pt x="3004069" y="5998739"/>
                  <a:pt x="2994674" y="6012832"/>
                  <a:pt x="2994674" y="6022227"/>
                </a:cubicBezTo>
                <a:cubicBezTo>
                  <a:pt x="3001720" y="6012832"/>
                  <a:pt x="3011116" y="5994041"/>
                  <a:pt x="3004069" y="5977600"/>
                </a:cubicBezTo>
                <a:cubicBezTo>
                  <a:pt x="3041649" y="5900090"/>
                  <a:pt x="3060440" y="5806139"/>
                  <a:pt x="3090974" y="5723931"/>
                </a:cubicBezTo>
                <a:close/>
                <a:moveTo>
                  <a:pt x="3209171" y="5721887"/>
                </a:moveTo>
                <a:lnTo>
                  <a:pt x="3216392" y="5724775"/>
                </a:lnTo>
                <a:lnTo>
                  <a:pt x="3220156" y="5775605"/>
                </a:lnTo>
                <a:lnTo>
                  <a:pt x="3212353" y="5751953"/>
                </a:lnTo>
                <a:lnTo>
                  <a:pt x="3209850" y="5732662"/>
                </a:lnTo>
                <a:close/>
                <a:moveTo>
                  <a:pt x="6261678" y="5720115"/>
                </a:moveTo>
                <a:cubicBezTo>
                  <a:pt x="6245530" y="5720702"/>
                  <a:pt x="6230116" y="5721583"/>
                  <a:pt x="6217198" y="5721583"/>
                </a:cubicBezTo>
                <a:cubicBezTo>
                  <a:pt x="6228942" y="5733327"/>
                  <a:pt x="6247732" y="5730978"/>
                  <a:pt x="6264173" y="5733327"/>
                </a:cubicBezTo>
                <a:cubicBezTo>
                  <a:pt x="6299405" y="5740374"/>
                  <a:pt x="6334637" y="5756815"/>
                  <a:pt x="6379263" y="5754466"/>
                </a:cubicBezTo>
                <a:cubicBezTo>
                  <a:pt x="6365171" y="5719234"/>
                  <a:pt x="6310121" y="5718354"/>
                  <a:pt x="6261678" y="5720115"/>
                </a:cubicBezTo>
                <a:close/>
                <a:moveTo>
                  <a:pt x="5289430" y="5719233"/>
                </a:moveTo>
                <a:cubicBezTo>
                  <a:pt x="5296476" y="5723931"/>
                  <a:pt x="5303523" y="5728628"/>
                  <a:pt x="5308220" y="5728628"/>
                </a:cubicBezTo>
                <a:cubicBezTo>
                  <a:pt x="5305871" y="5728628"/>
                  <a:pt x="5305871" y="5728628"/>
                  <a:pt x="5315266" y="5730977"/>
                </a:cubicBezTo>
                <a:cubicBezTo>
                  <a:pt x="5310569" y="5735674"/>
                  <a:pt x="5305871" y="5735674"/>
                  <a:pt x="5298825" y="5733326"/>
                </a:cubicBezTo>
                <a:cubicBezTo>
                  <a:pt x="5298825" y="5733326"/>
                  <a:pt x="5296476" y="5728628"/>
                  <a:pt x="5289430" y="5719233"/>
                </a:cubicBezTo>
                <a:close/>
                <a:moveTo>
                  <a:pt x="5272989" y="5719233"/>
                </a:moveTo>
                <a:cubicBezTo>
                  <a:pt x="5280035" y="5723931"/>
                  <a:pt x="5284733" y="5728628"/>
                  <a:pt x="5289431" y="5730977"/>
                </a:cubicBezTo>
                <a:cubicBezTo>
                  <a:pt x="5284733" y="5730977"/>
                  <a:pt x="5282384" y="5728628"/>
                  <a:pt x="5282384" y="5728628"/>
                </a:cubicBezTo>
                <a:cubicBezTo>
                  <a:pt x="5277687" y="5728628"/>
                  <a:pt x="5280035" y="5738023"/>
                  <a:pt x="5275338" y="5738023"/>
                </a:cubicBezTo>
                <a:cubicBezTo>
                  <a:pt x="5275338" y="5735674"/>
                  <a:pt x="5275338" y="5735674"/>
                  <a:pt x="5275338" y="5733326"/>
                </a:cubicBezTo>
                <a:cubicBezTo>
                  <a:pt x="5275338" y="5733326"/>
                  <a:pt x="5275338" y="5730977"/>
                  <a:pt x="5277687" y="5730977"/>
                </a:cubicBezTo>
                <a:cubicBezTo>
                  <a:pt x="5277687" y="5730977"/>
                  <a:pt x="5275338" y="5730977"/>
                  <a:pt x="5275338" y="5730977"/>
                </a:cubicBezTo>
                <a:cubicBezTo>
                  <a:pt x="5275338" y="5728628"/>
                  <a:pt x="5275338" y="5723931"/>
                  <a:pt x="5272989" y="5719233"/>
                </a:cubicBezTo>
                <a:close/>
                <a:moveTo>
                  <a:pt x="3685214" y="5712188"/>
                </a:moveTo>
                <a:cubicBezTo>
                  <a:pt x="3689912" y="5730978"/>
                  <a:pt x="3668773" y="5754466"/>
                  <a:pt x="3685214" y="5763861"/>
                </a:cubicBezTo>
                <a:cubicBezTo>
                  <a:pt x="3678169" y="5747420"/>
                  <a:pt x="3694609" y="5749768"/>
                  <a:pt x="3699307" y="5742722"/>
                </a:cubicBezTo>
                <a:cubicBezTo>
                  <a:pt x="3689912" y="5723932"/>
                  <a:pt x="3704005" y="5716886"/>
                  <a:pt x="3685214" y="5712188"/>
                </a:cubicBezTo>
                <a:close/>
                <a:moveTo>
                  <a:pt x="5362242" y="5712187"/>
                </a:moveTo>
                <a:cubicBezTo>
                  <a:pt x="5362242" y="5712187"/>
                  <a:pt x="5364591" y="5714536"/>
                  <a:pt x="5364591" y="5716885"/>
                </a:cubicBezTo>
                <a:cubicBezTo>
                  <a:pt x="5362242" y="5723931"/>
                  <a:pt x="5359894" y="5730977"/>
                  <a:pt x="5355196" y="5740373"/>
                </a:cubicBezTo>
                <a:cubicBezTo>
                  <a:pt x="5355196" y="5733326"/>
                  <a:pt x="5357545" y="5721582"/>
                  <a:pt x="5362242" y="5712187"/>
                </a:cubicBezTo>
                <a:close/>
                <a:moveTo>
                  <a:pt x="3118768" y="5711267"/>
                </a:moveTo>
                <a:lnTo>
                  <a:pt x="3118867" y="5713948"/>
                </a:lnTo>
                <a:cubicBezTo>
                  <a:pt x="3120922" y="5734500"/>
                  <a:pt x="3123858" y="5755639"/>
                  <a:pt x="3126206" y="5773255"/>
                </a:cubicBezTo>
                <a:lnTo>
                  <a:pt x="3124197" y="5771247"/>
                </a:lnTo>
                <a:lnTo>
                  <a:pt x="3152042" y="5914183"/>
                </a:lnTo>
                <a:cubicBezTo>
                  <a:pt x="3150868" y="5876603"/>
                  <a:pt x="3145583" y="5837261"/>
                  <a:pt x="3138243" y="5797919"/>
                </a:cubicBezTo>
                <a:close/>
                <a:moveTo>
                  <a:pt x="5099083" y="5709215"/>
                </a:moveTo>
                <a:lnTo>
                  <a:pt x="5100574" y="5709289"/>
                </a:lnTo>
                <a:cubicBezTo>
                  <a:pt x="5110043" y="5710427"/>
                  <a:pt x="5118557" y="5712188"/>
                  <a:pt x="5125016" y="5714537"/>
                </a:cubicBezTo>
                <a:cubicBezTo>
                  <a:pt x="5119144" y="5713950"/>
                  <a:pt x="5111657" y="5713656"/>
                  <a:pt x="5103217" y="5713583"/>
                </a:cubicBezTo>
                <a:lnTo>
                  <a:pt x="5098838" y="5713641"/>
                </a:lnTo>
                <a:close/>
                <a:moveTo>
                  <a:pt x="5446798" y="5707489"/>
                </a:moveTo>
                <a:cubicBezTo>
                  <a:pt x="5446798" y="5719233"/>
                  <a:pt x="5442101" y="5726280"/>
                  <a:pt x="5446798" y="5735675"/>
                </a:cubicBezTo>
                <a:cubicBezTo>
                  <a:pt x="5428008" y="5763861"/>
                  <a:pt x="5425659" y="5824929"/>
                  <a:pt x="5416264" y="5867207"/>
                </a:cubicBezTo>
                <a:cubicBezTo>
                  <a:pt x="5418613" y="5815534"/>
                  <a:pt x="5432705" y="5756815"/>
                  <a:pt x="5446798" y="5707489"/>
                </a:cubicBezTo>
                <a:close/>
                <a:moveTo>
                  <a:pt x="4852558" y="5702792"/>
                </a:moveTo>
                <a:cubicBezTo>
                  <a:pt x="4859604" y="5726280"/>
                  <a:pt x="4829070" y="5726280"/>
                  <a:pt x="4829070" y="5705141"/>
                </a:cubicBezTo>
                <a:cubicBezTo>
                  <a:pt x="4836116" y="5705141"/>
                  <a:pt x="4843163" y="5705141"/>
                  <a:pt x="4852558" y="5702792"/>
                </a:cubicBezTo>
                <a:close/>
                <a:moveTo>
                  <a:pt x="6264467" y="5700151"/>
                </a:moveTo>
                <a:cubicBezTo>
                  <a:pt x="6241860" y="5700444"/>
                  <a:pt x="6218372" y="5702793"/>
                  <a:pt x="6198407" y="5702793"/>
                </a:cubicBezTo>
                <a:cubicBezTo>
                  <a:pt x="6219547" y="5716886"/>
                  <a:pt x="6290010" y="5707490"/>
                  <a:pt x="6325242" y="5709839"/>
                </a:cubicBezTo>
                <a:cubicBezTo>
                  <a:pt x="6308800" y="5701619"/>
                  <a:pt x="6287074" y="5699857"/>
                  <a:pt x="6264467" y="5700151"/>
                </a:cubicBezTo>
                <a:close/>
                <a:moveTo>
                  <a:pt x="5404644" y="5691791"/>
                </a:moveTo>
                <a:lnTo>
                  <a:pt x="5409217" y="5719235"/>
                </a:lnTo>
                <a:cubicBezTo>
                  <a:pt x="5409217" y="5712188"/>
                  <a:pt x="5404520" y="5707491"/>
                  <a:pt x="5402171" y="5700444"/>
                </a:cubicBezTo>
                <a:close/>
                <a:moveTo>
                  <a:pt x="5404520" y="5691049"/>
                </a:moveTo>
                <a:lnTo>
                  <a:pt x="5404770" y="5691349"/>
                </a:lnTo>
                <a:lnTo>
                  <a:pt x="5404644" y="5691791"/>
                </a:lnTo>
                <a:close/>
                <a:moveTo>
                  <a:pt x="4719962" y="5689472"/>
                </a:moveTo>
                <a:cubicBezTo>
                  <a:pt x="4718090" y="5690903"/>
                  <a:pt x="4703998" y="5709840"/>
                  <a:pt x="4716328" y="5695747"/>
                </a:cubicBezTo>
                <a:cubicBezTo>
                  <a:pt x="4719852" y="5690462"/>
                  <a:pt x="4720586" y="5688994"/>
                  <a:pt x="4719962" y="5689472"/>
                </a:cubicBezTo>
                <a:close/>
                <a:moveTo>
                  <a:pt x="5105003" y="5685322"/>
                </a:moveTo>
                <a:lnTo>
                  <a:pt x="5136760" y="5700444"/>
                </a:lnTo>
                <a:lnTo>
                  <a:pt x="5088742" y="5701965"/>
                </a:lnTo>
                <a:lnTo>
                  <a:pt x="5059250" y="5686352"/>
                </a:lnTo>
                <a:cubicBezTo>
                  <a:pt x="5073342" y="5686352"/>
                  <a:pt x="5089784" y="5686352"/>
                  <a:pt x="5103877" y="5688700"/>
                </a:cubicBezTo>
                <a:close/>
                <a:moveTo>
                  <a:pt x="6172094" y="5684480"/>
                </a:moveTo>
                <a:cubicBezTo>
                  <a:pt x="6170956" y="5684150"/>
                  <a:pt x="6169635" y="5684590"/>
                  <a:pt x="6167873" y="5686352"/>
                </a:cubicBezTo>
                <a:cubicBezTo>
                  <a:pt x="6170222" y="5728630"/>
                  <a:pt x="6153780" y="5782651"/>
                  <a:pt x="6160827" y="5827278"/>
                </a:cubicBezTo>
                <a:cubicBezTo>
                  <a:pt x="6179617" y="5789698"/>
                  <a:pt x="6170222" y="5728630"/>
                  <a:pt x="6184315" y="5693398"/>
                </a:cubicBezTo>
                <a:cubicBezTo>
                  <a:pt x="6177268" y="5693398"/>
                  <a:pt x="6175506" y="5685471"/>
                  <a:pt x="6172094" y="5684480"/>
                </a:cubicBezTo>
                <a:close/>
                <a:moveTo>
                  <a:pt x="5406869" y="5684003"/>
                </a:moveTo>
                <a:cubicBezTo>
                  <a:pt x="5411566" y="5691049"/>
                  <a:pt x="5413915" y="5698096"/>
                  <a:pt x="5416264" y="5705142"/>
                </a:cubicBezTo>
                <a:cubicBezTo>
                  <a:pt x="5412741" y="5703967"/>
                  <a:pt x="5411566" y="5701031"/>
                  <a:pt x="5410392" y="5698095"/>
                </a:cubicBezTo>
                <a:lnTo>
                  <a:pt x="5404770" y="5691349"/>
                </a:lnTo>
                <a:close/>
                <a:moveTo>
                  <a:pt x="3177878" y="5684003"/>
                </a:moveTo>
                <a:cubicBezTo>
                  <a:pt x="3184925" y="5723932"/>
                  <a:pt x="3191971" y="5763861"/>
                  <a:pt x="3201366" y="5801442"/>
                </a:cubicBezTo>
                <a:cubicBezTo>
                  <a:pt x="3199017" y="5763861"/>
                  <a:pt x="3194321" y="5728630"/>
                  <a:pt x="3189622" y="5695747"/>
                </a:cubicBezTo>
                <a:cubicBezTo>
                  <a:pt x="3184925" y="5693398"/>
                  <a:pt x="3182576" y="5688700"/>
                  <a:pt x="3180227" y="5684003"/>
                </a:cubicBezTo>
                <a:cubicBezTo>
                  <a:pt x="3177878" y="5684003"/>
                  <a:pt x="3177878" y="5684003"/>
                  <a:pt x="3177878" y="5684003"/>
                </a:cubicBezTo>
                <a:close/>
                <a:moveTo>
                  <a:pt x="5066296" y="5676956"/>
                </a:moveTo>
                <a:cubicBezTo>
                  <a:pt x="5033413" y="5669910"/>
                  <a:pt x="4998182" y="5679305"/>
                  <a:pt x="4979391" y="5691049"/>
                </a:cubicBezTo>
                <a:cubicBezTo>
                  <a:pt x="5009925" y="5686352"/>
                  <a:pt x="5040460" y="5684003"/>
                  <a:pt x="5066296" y="5676956"/>
                </a:cubicBezTo>
                <a:close/>
                <a:moveTo>
                  <a:pt x="4462660" y="5672259"/>
                </a:moveTo>
                <a:cubicBezTo>
                  <a:pt x="4462660" y="5674608"/>
                  <a:pt x="4462660" y="5676956"/>
                  <a:pt x="4462660" y="5681654"/>
                </a:cubicBezTo>
                <a:cubicBezTo>
                  <a:pt x="4465009" y="5681654"/>
                  <a:pt x="4465009" y="5684003"/>
                  <a:pt x="4467358" y="5684003"/>
                </a:cubicBezTo>
                <a:cubicBezTo>
                  <a:pt x="4469706" y="5684003"/>
                  <a:pt x="4469706" y="5681654"/>
                  <a:pt x="4469706" y="5681654"/>
                </a:cubicBezTo>
                <a:cubicBezTo>
                  <a:pt x="4467358" y="5679305"/>
                  <a:pt x="4465009" y="5674608"/>
                  <a:pt x="4462660" y="5672259"/>
                </a:cubicBezTo>
                <a:close/>
                <a:moveTo>
                  <a:pt x="3036951" y="5672258"/>
                </a:moveTo>
                <a:cubicBezTo>
                  <a:pt x="3041649" y="5667561"/>
                  <a:pt x="3022859" y="5702793"/>
                  <a:pt x="3018161" y="5712188"/>
                </a:cubicBezTo>
                <a:cubicBezTo>
                  <a:pt x="2997022" y="5756815"/>
                  <a:pt x="2973534" y="5815535"/>
                  <a:pt x="2950047" y="5857813"/>
                </a:cubicBezTo>
                <a:cubicBezTo>
                  <a:pt x="2945350" y="5862510"/>
                  <a:pt x="2964139" y="5827279"/>
                  <a:pt x="2968837" y="5817883"/>
                </a:cubicBezTo>
                <a:cubicBezTo>
                  <a:pt x="2989977" y="5770908"/>
                  <a:pt x="3015813" y="5714537"/>
                  <a:pt x="3036951" y="5672258"/>
                </a:cubicBezTo>
                <a:close/>
                <a:moveTo>
                  <a:pt x="6148276" y="5666681"/>
                </a:moveTo>
                <a:cubicBezTo>
                  <a:pt x="6146882" y="5666681"/>
                  <a:pt x="6145561" y="5667562"/>
                  <a:pt x="6144386" y="5669910"/>
                </a:cubicBezTo>
                <a:cubicBezTo>
                  <a:pt x="6153780" y="5709839"/>
                  <a:pt x="6127944" y="5768559"/>
                  <a:pt x="6137339" y="5815534"/>
                </a:cubicBezTo>
                <a:cubicBezTo>
                  <a:pt x="6149083" y="5813185"/>
                  <a:pt x="6146734" y="5822581"/>
                  <a:pt x="6153780" y="5820232"/>
                </a:cubicBezTo>
                <a:cubicBezTo>
                  <a:pt x="6156129" y="5773256"/>
                  <a:pt x="6151432" y="5716886"/>
                  <a:pt x="6160827" y="5674608"/>
                </a:cubicBezTo>
                <a:cubicBezTo>
                  <a:pt x="6157304" y="5674608"/>
                  <a:pt x="6152460" y="5666681"/>
                  <a:pt x="6148276" y="5666681"/>
                </a:cubicBezTo>
                <a:close/>
                <a:moveTo>
                  <a:pt x="5636986" y="5666411"/>
                </a:moveTo>
                <a:lnTo>
                  <a:pt x="5635875" y="5682829"/>
                </a:lnTo>
                <a:cubicBezTo>
                  <a:pt x="5631765" y="5729217"/>
                  <a:pt x="5626480" y="5776780"/>
                  <a:pt x="5625305" y="5822581"/>
                </a:cubicBezTo>
                <a:cubicBezTo>
                  <a:pt x="5624131" y="5800268"/>
                  <a:pt x="5623103" y="5776633"/>
                  <a:pt x="5622480" y="5752558"/>
                </a:cubicBezTo>
                <a:lnTo>
                  <a:pt x="5622377" y="5734131"/>
                </a:lnTo>
                <a:lnTo>
                  <a:pt x="5625452" y="5705839"/>
                </a:lnTo>
                <a:close/>
                <a:moveTo>
                  <a:pt x="6158478" y="5665212"/>
                </a:moveTo>
                <a:cubicBezTo>
                  <a:pt x="6160827" y="5672259"/>
                  <a:pt x="6167873" y="5674608"/>
                  <a:pt x="6174919" y="5676956"/>
                </a:cubicBezTo>
                <a:cubicBezTo>
                  <a:pt x="6200756" y="5681654"/>
                  <a:pt x="6250081" y="5674608"/>
                  <a:pt x="6271219" y="5681654"/>
                </a:cubicBezTo>
                <a:cubicBezTo>
                  <a:pt x="6247732" y="5662864"/>
                  <a:pt x="6196059" y="5669910"/>
                  <a:pt x="6158478" y="5665212"/>
                </a:cubicBezTo>
                <a:close/>
                <a:moveTo>
                  <a:pt x="3283573" y="5665212"/>
                </a:moveTo>
                <a:cubicBezTo>
                  <a:pt x="3274178" y="5672259"/>
                  <a:pt x="3255388" y="5669910"/>
                  <a:pt x="3250690" y="5679305"/>
                </a:cubicBezTo>
                <a:cubicBezTo>
                  <a:pt x="3250690" y="5681654"/>
                  <a:pt x="3250690" y="5686352"/>
                  <a:pt x="3250690" y="5688700"/>
                </a:cubicBezTo>
                <a:cubicBezTo>
                  <a:pt x="3267132" y="5686352"/>
                  <a:pt x="3278876" y="5679305"/>
                  <a:pt x="3283573" y="5665212"/>
                </a:cubicBezTo>
                <a:close/>
                <a:moveTo>
                  <a:pt x="3058092" y="5660514"/>
                </a:moveTo>
                <a:cubicBezTo>
                  <a:pt x="3062790" y="5655816"/>
                  <a:pt x="3051046" y="5691048"/>
                  <a:pt x="3046348" y="5705141"/>
                </a:cubicBezTo>
                <a:cubicBezTo>
                  <a:pt x="3029907" y="5756814"/>
                  <a:pt x="3015815" y="5794394"/>
                  <a:pt x="2997024" y="5839021"/>
                </a:cubicBezTo>
                <a:cubicBezTo>
                  <a:pt x="2994675" y="5846068"/>
                  <a:pt x="2982932" y="5876601"/>
                  <a:pt x="2985280" y="5862509"/>
                </a:cubicBezTo>
                <a:cubicBezTo>
                  <a:pt x="2997024" y="5801441"/>
                  <a:pt x="3036953" y="5733326"/>
                  <a:pt x="3058092" y="5660514"/>
                </a:cubicBezTo>
                <a:close/>
                <a:moveTo>
                  <a:pt x="3116813" y="5658178"/>
                </a:moveTo>
                <a:lnTo>
                  <a:pt x="3117965" y="5689456"/>
                </a:lnTo>
                <a:lnTo>
                  <a:pt x="3140298" y="5799093"/>
                </a:lnTo>
                <a:cubicBezTo>
                  <a:pt x="3135600" y="5761512"/>
                  <a:pt x="3128554" y="5719234"/>
                  <a:pt x="3121508" y="5676956"/>
                </a:cubicBezTo>
                <a:cubicBezTo>
                  <a:pt x="3121508" y="5676956"/>
                  <a:pt x="3119159" y="5676956"/>
                  <a:pt x="3119159" y="5676956"/>
                </a:cubicBezTo>
                <a:cubicBezTo>
                  <a:pt x="3119159" y="5674608"/>
                  <a:pt x="3119159" y="5674608"/>
                  <a:pt x="3119159" y="5672259"/>
                </a:cubicBezTo>
                <a:close/>
                <a:moveTo>
                  <a:pt x="4446219" y="5651120"/>
                </a:moveTo>
                <a:cubicBezTo>
                  <a:pt x="4448567" y="5653468"/>
                  <a:pt x="4448567" y="5660515"/>
                  <a:pt x="4448567" y="5665212"/>
                </a:cubicBezTo>
                <a:cubicBezTo>
                  <a:pt x="4450916" y="5669910"/>
                  <a:pt x="4455614" y="5674608"/>
                  <a:pt x="4460311" y="5679305"/>
                </a:cubicBezTo>
                <a:cubicBezTo>
                  <a:pt x="4460311" y="5667561"/>
                  <a:pt x="4455614" y="5653468"/>
                  <a:pt x="4446219" y="5651120"/>
                </a:cubicBezTo>
                <a:close/>
                <a:moveTo>
                  <a:pt x="3262434" y="5646422"/>
                </a:moveTo>
                <a:cubicBezTo>
                  <a:pt x="3260085" y="5646422"/>
                  <a:pt x="3253039" y="5646422"/>
                  <a:pt x="3248342" y="5648771"/>
                </a:cubicBezTo>
                <a:cubicBezTo>
                  <a:pt x="3248342" y="5651120"/>
                  <a:pt x="3248342" y="5653468"/>
                  <a:pt x="3248342" y="5655817"/>
                </a:cubicBezTo>
                <a:cubicBezTo>
                  <a:pt x="3260085" y="5655817"/>
                  <a:pt x="3278876" y="5651120"/>
                  <a:pt x="3262434" y="5646422"/>
                </a:cubicBezTo>
                <a:close/>
                <a:moveTo>
                  <a:pt x="3180227" y="5646422"/>
                </a:moveTo>
                <a:cubicBezTo>
                  <a:pt x="3175530" y="5646422"/>
                  <a:pt x="3173181" y="5651120"/>
                  <a:pt x="3168483" y="5655817"/>
                </a:cubicBezTo>
                <a:cubicBezTo>
                  <a:pt x="3168483" y="5660515"/>
                  <a:pt x="3170832" y="5662864"/>
                  <a:pt x="3170832" y="5667561"/>
                </a:cubicBezTo>
                <a:cubicBezTo>
                  <a:pt x="3175530" y="5665212"/>
                  <a:pt x="3177878" y="5665212"/>
                  <a:pt x="3182576" y="5665212"/>
                </a:cubicBezTo>
                <a:cubicBezTo>
                  <a:pt x="3182576" y="5658166"/>
                  <a:pt x="3180227" y="5653468"/>
                  <a:pt x="3180227" y="5646422"/>
                </a:cubicBezTo>
                <a:close/>
                <a:moveTo>
                  <a:pt x="6196389" y="5646202"/>
                </a:moveTo>
                <a:cubicBezTo>
                  <a:pt x="6176681" y="5645101"/>
                  <a:pt x="6156717" y="5645248"/>
                  <a:pt x="6137339" y="5646422"/>
                </a:cubicBezTo>
                <a:cubicBezTo>
                  <a:pt x="6139688" y="5646422"/>
                  <a:pt x="6139688" y="5653468"/>
                  <a:pt x="6144386" y="5651120"/>
                </a:cubicBezTo>
                <a:cubicBezTo>
                  <a:pt x="6172571" y="5658166"/>
                  <a:pt x="6200756" y="5651120"/>
                  <a:pt x="6224244" y="5653468"/>
                </a:cubicBezTo>
                <a:cubicBezTo>
                  <a:pt x="6271219" y="5658166"/>
                  <a:pt x="6299405" y="5688700"/>
                  <a:pt x="6344032" y="5695747"/>
                </a:cubicBezTo>
                <a:cubicBezTo>
                  <a:pt x="6312324" y="5664038"/>
                  <a:pt x="6255513" y="5649505"/>
                  <a:pt x="6196389" y="5646202"/>
                </a:cubicBezTo>
                <a:close/>
                <a:moveTo>
                  <a:pt x="6120898" y="5644073"/>
                </a:moveTo>
                <a:cubicBezTo>
                  <a:pt x="6123247" y="5653468"/>
                  <a:pt x="6125596" y="5660515"/>
                  <a:pt x="6125596" y="5672259"/>
                </a:cubicBezTo>
                <a:cubicBezTo>
                  <a:pt x="6125596" y="5707490"/>
                  <a:pt x="6092712" y="5787349"/>
                  <a:pt x="6127944" y="5803790"/>
                </a:cubicBezTo>
                <a:cubicBezTo>
                  <a:pt x="6127944" y="5773256"/>
                  <a:pt x="6132642" y="5733327"/>
                  <a:pt x="6132642" y="5695747"/>
                </a:cubicBezTo>
                <a:cubicBezTo>
                  <a:pt x="6134991" y="5676956"/>
                  <a:pt x="6142037" y="5646422"/>
                  <a:pt x="6120898" y="5644073"/>
                </a:cubicBezTo>
                <a:close/>
                <a:moveTo>
                  <a:pt x="5218967" y="5644073"/>
                </a:moveTo>
                <a:cubicBezTo>
                  <a:pt x="5216618" y="5648771"/>
                  <a:pt x="5216618" y="5651120"/>
                  <a:pt x="5216618" y="5653468"/>
                </a:cubicBezTo>
                <a:lnTo>
                  <a:pt x="5218623" y="5644245"/>
                </a:lnTo>
                <a:close/>
                <a:moveTo>
                  <a:pt x="3107415" y="5644073"/>
                </a:moveTo>
                <a:lnTo>
                  <a:pt x="3111987" y="5664642"/>
                </a:lnTo>
                <a:lnTo>
                  <a:pt x="3116811" y="5658167"/>
                </a:lnTo>
                <a:lnTo>
                  <a:pt x="3114461" y="5644073"/>
                </a:lnTo>
                <a:cubicBezTo>
                  <a:pt x="3112112" y="5644073"/>
                  <a:pt x="3109764" y="5644073"/>
                  <a:pt x="3107415" y="5644073"/>
                </a:cubicBezTo>
                <a:close/>
                <a:moveTo>
                  <a:pt x="5792069" y="5637027"/>
                </a:moveTo>
                <a:cubicBezTo>
                  <a:pt x="5782674" y="5679305"/>
                  <a:pt x="5785022" y="5719234"/>
                  <a:pt x="5801464" y="5752117"/>
                </a:cubicBezTo>
                <a:cubicBezTo>
                  <a:pt x="5803813" y="5714537"/>
                  <a:pt x="5799115" y="5684003"/>
                  <a:pt x="5803813" y="5644073"/>
                </a:cubicBezTo>
                <a:cubicBezTo>
                  <a:pt x="5799115" y="5644073"/>
                  <a:pt x="5801464" y="5634678"/>
                  <a:pt x="5792069" y="5637027"/>
                </a:cubicBezTo>
                <a:close/>
                <a:moveTo>
                  <a:pt x="3173181" y="5634678"/>
                </a:moveTo>
                <a:cubicBezTo>
                  <a:pt x="3173181" y="5637027"/>
                  <a:pt x="3175530" y="5641725"/>
                  <a:pt x="3177878" y="5639376"/>
                </a:cubicBezTo>
                <a:cubicBezTo>
                  <a:pt x="3177878" y="5637027"/>
                  <a:pt x="3177878" y="5637027"/>
                  <a:pt x="3177878" y="5634678"/>
                </a:cubicBezTo>
                <a:cubicBezTo>
                  <a:pt x="3175530" y="5634678"/>
                  <a:pt x="3175530" y="5632330"/>
                  <a:pt x="3173181" y="5634678"/>
                </a:cubicBezTo>
                <a:close/>
                <a:moveTo>
                  <a:pt x="3527920" y="5629614"/>
                </a:moveTo>
                <a:cubicBezTo>
                  <a:pt x="3521534" y="5634679"/>
                  <a:pt x="3523736" y="5652294"/>
                  <a:pt x="3532544" y="5648771"/>
                </a:cubicBezTo>
                <a:cubicBezTo>
                  <a:pt x="3532544" y="5644073"/>
                  <a:pt x="3532544" y="5641725"/>
                  <a:pt x="3537241" y="5641725"/>
                </a:cubicBezTo>
                <a:cubicBezTo>
                  <a:pt x="3537241" y="5639376"/>
                  <a:pt x="3537241" y="5634678"/>
                  <a:pt x="3537241" y="5629981"/>
                </a:cubicBezTo>
                <a:cubicBezTo>
                  <a:pt x="3533131" y="5627632"/>
                  <a:pt x="3530048" y="5627926"/>
                  <a:pt x="3527920" y="5629614"/>
                </a:cubicBezTo>
                <a:close/>
                <a:moveTo>
                  <a:pt x="6099759" y="5627632"/>
                </a:moveTo>
                <a:cubicBezTo>
                  <a:pt x="6113852" y="5679305"/>
                  <a:pt x="6059829" y="5756815"/>
                  <a:pt x="6106805" y="5782651"/>
                </a:cubicBezTo>
                <a:cubicBezTo>
                  <a:pt x="6106805" y="5730978"/>
                  <a:pt x="6104456" y="5674608"/>
                  <a:pt x="6111503" y="5634678"/>
                </a:cubicBezTo>
                <a:cubicBezTo>
                  <a:pt x="6109154" y="5632330"/>
                  <a:pt x="6104456" y="5629981"/>
                  <a:pt x="6099759" y="5627632"/>
                </a:cubicBezTo>
                <a:close/>
                <a:moveTo>
                  <a:pt x="4432126" y="5625283"/>
                </a:moveTo>
                <a:cubicBezTo>
                  <a:pt x="4432126" y="5632330"/>
                  <a:pt x="4432126" y="5641725"/>
                  <a:pt x="4432126" y="5651120"/>
                </a:cubicBezTo>
                <a:cubicBezTo>
                  <a:pt x="4436824" y="5653468"/>
                  <a:pt x="4439172" y="5655817"/>
                  <a:pt x="4441521" y="5655817"/>
                </a:cubicBezTo>
                <a:cubicBezTo>
                  <a:pt x="4439172" y="5644073"/>
                  <a:pt x="4439172" y="5632330"/>
                  <a:pt x="4432126" y="5625283"/>
                </a:cubicBezTo>
                <a:close/>
                <a:moveTo>
                  <a:pt x="3692261" y="5620586"/>
                </a:moveTo>
                <a:cubicBezTo>
                  <a:pt x="3668773" y="5625283"/>
                  <a:pt x="3666424" y="5648771"/>
                  <a:pt x="3642936" y="5653468"/>
                </a:cubicBezTo>
                <a:cubicBezTo>
                  <a:pt x="3652331" y="5691049"/>
                  <a:pt x="3586566" y="5695747"/>
                  <a:pt x="3610054" y="5728630"/>
                </a:cubicBezTo>
                <a:cubicBezTo>
                  <a:pt x="3612402" y="5709839"/>
                  <a:pt x="3628844" y="5702793"/>
                  <a:pt x="3640587" y="5691049"/>
                </a:cubicBezTo>
                <a:cubicBezTo>
                  <a:pt x="3638239" y="5667561"/>
                  <a:pt x="3657029" y="5662864"/>
                  <a:pt x="3678169" y="5660515"/>
                </a:cubicBezTo>
                <a:cubicBezTo>
                  <a:pt x="3682866" y="5646422"/>
                  <a:pt x="3694609" y="5639376"/>
                  <a:pt x="3692261" y="5620586"/>
                </a:cubicBezTo>
                <a:close/>
                <a:moveTo>
                  <a:pt x="5481402" y="5615697"/>
                </a:moveTo>
                <a:lnTo>
                  <a:pt x="5498471" y="5646422"/>
                </a:lnTo>
                <a:cubicBezTo>
                  <a:pt x="5500820" y="5655817"/>
                  <a:pt x="5503169" y="5667561"/>
                  <a:pt x="5503169" y="5679305"/>
                </a:cubicBezTo>
                <a:cubicBezTo>
                  <a:pt x="5496123" y="5669910"/>
                  <a:pt x="5491425" y="5657579"/>
                  <a:pt x="5487315" y="5644367"/>
                </a:cubicBezTo>
                <a:lnTo>
                  <a:pt x="5480249" y="5621319"/>
                </a:lnTo>
                <a:close/>
                <a:moveTo>
                  <a:pt x="4415684" y="5608842"/>
                </a:moveTo>
                <a:cubicBezTo>
                  <a:pt x="4418033" y="5625283"/>
                  <a:pt x="4418033" y="5639376"/>
                  <a:pt x="4420382" y="5651120"/>
                </a:cubicBezTo>
                <a:cubicBezTo>
                  <a:pt x="4422731" y="5651120"/>
                  <a:pt x="4425080" y="5651120"/>
                  <a:pt x="4427428" y="5651120"/>
                </a:cubicBezTo>
                <a:cubicBezTo>
                  <a:pt x="4425080" y="5637027"/>
                  <a:pt x="4425080" y="5622935"/>
                  <a:pt x="4422731" y="5608842"/>
                </a:cubicBezTo>
                <a:cubicBezTo>
                  <a:pt x="4420382" y="5608842"/>
                  <a:pt x="4418033" y="5608842"/>
                  <a:pt x="4415684" y="5608842"/>
                </a:cubicBezTo>
                <a:close/>
                <a:moveTo>
                  <a:pt x="6080161" y="5607961"/>
                </a:moveTo>
                <a:cubicBezTo>
                  <a:pt x="6078767" y="5607961"/>
                  <a:pt x="6077446" y="5608842"/>
                  <a:pt x="6076271" y="5611191"/>
                </a:cubicBezTo>
                <a:cubicBezTo>
                  <a:pt x="6092712" y="5658166"/>
                  <a:pt x="6045737" y="5721583"/>
                  <a:pt x="6078620" y="5745071"/>
                </a:cubicBezTo>
                <a:cubicBezTo>
                  <a:pt x="6083317" y="5712188"/>
                  <a:pt x="6083317" y="5651120"/>
                  <a:pt x="6092712" y="5615888"/>
                </a:cubicBezTo>
                <a:cubicBezTo>
                  <a:pt x="6089190" y="5615888"/>
                  <a:pt x="6084345" y="5607961"/>
                  <a:pt x="6080161" y="5607961"/>
                </a:cubicBezTo>
                <a:close/>
                <a:moveTo>
                  <a:pt x="4699887" y="5601795"/>
                </a:moveTo>
                <a:cubicBezTo>
                  <a:pt x="4704584" y="5608842"/>
                  <a:pt x="4709282" y="5615888"/>
                  <a:pt x="4716328" y="5620586"/>
                </a:cubicBezTo>
                <a:cubicBezTo>
                  <a:pt x="4730421" y="5625283"/>
                  <a:pt x="4746862" y="5627632"/>
                  <a:pt x="4753909" y="5639376"/>
                </a:cubicBezTo>
                <a:cubicBezTo>
                  <a:pt x="4760955" y="5639376"/>
                  <a:pt x="4768001" y="5637027"/>
                  <a:pt x="4775048" y="5637027"/>
                </a:cubicBezTo>
                <a:cubicBezTo>
                  <a:pt x="4768001" y="5632330"/>
                  <a:pt x="4760955" y="5625283"/>
                  <a:pt x="4753909" y="5620586"/>
                </a:cubicBezTo>
                <a:cubicBezTo>
                  <a:pt x="4749211" y="5620586"/>
                  <a:pt x="4749211" y="5629981"/>
                  <a:pt x="4742165" y="5627632"/>
                </a:cubicBezTo>
                <a:cubicBezTo>
                  <a:pt x="4742165" y="5622935"/>
                  <a:pt x="4749211" y="5622935"/>
                  <a:pt x="4751560" y="5620586"/>
                </a:cubicBezTo>
                <a:cubicBezTo>
                  <a:pt x="4746862" y="5615888"/>
                  <a:pt x="4744513" y="5608842"/>
                  <a:pt x="4739816" y="5604144"/>
                </a:cubicBezTo>
                <a:cubicBezTo>
                  <a:pt x="4728072" y="5601795"/>
                  <a:pt x="4713980" y="5601795"/>
                  <a:pt x="4699887" y="5601795"/>
                </a:cubicBezTo>
                <a:close/>
                <a:moveTo>
                  <a:pt x="5165349" y="5600291"/>
                </a:moveTo>
                <a:cubicBezTo>
                  <a:pt x="5166853" y="5600622"/>
                  <a:pt x="5168468" y="5603558"/>
                  <a:pt x="5169642" y="5611191"/>
                </a:cubicBezTo>
                <a:cubicBezTo>
                  <a:pt x="5157312" y="5621760"/>
                  <a:pt x="5160835" y="5599300"/>
                  <a:pt x="5165349" y="5600291"/>
                </a:cubicBezTo>
                <a:close/>
                <a:moveTo>
                  <a:pt x="3133252" y="5599447"/>
                </a:moveTo>
                <a:cubicBezTo>
                  <a:pt x="3130903" y="5601795"/>
                  <a:pt x="3128554" y="5601795"/>
                  <a:pt x="3126205" y="5604144"/>
                </a:cubicBezTo>
                <a:cubicBezTo>
                  <a:pt x="3128554" y="5613539"/>
                  <a:pt x="3130903" y="5622935"/>
                  <a:pt x="3133252" y="5632330"/>
                </a:cubicBezTo>
                <a:cubicBezTo>
                  <a:pt x="3135600" y="5632330"/>
                  <a:pt x="3137949" y="5632330"/>
                  <a:pt x="3140298" y="5629981"/>
                </a:cubicBezTo>
                <a:cubicBezTo>
                  <a:pt x="3137949" y="5618237"/>
                  <a:pt x="3135600" y="5608842"/>
                  <a:pt x="3133252" y="5599447"/>
                </a:cubicBezTo>
                <a:close/>
                <a:moveTo>
                  <a:pt x="6212500" y="5594749"/>
                </a:moveTo>
                <a:cubicBezTo>
                  <a:pt x="6189012" y="5590051"/>
                  <a:pt x="6174919" y="5601795"/>
                  <a:pt x="6151432" y="5604144"/>
                </a:cubicBezTo>
                <a:cubicBezTo>
                  <a:pt x="6130293" y="5606493"/>
                  <a:pt x="6111503" y="5597098"/>
                  <a:pt x="6090364" y="5608842"/>
                </a:cubicBezTo>
                <a:cubicBezTo>
                  <a:pt x="6104456" y="5625283"/>
                  <a:pt x="6125596" y="5613539"/>
                  <a:pt x="6146734" y="5613539"/>
                </a:cubicBezTo>
                <a:cubicBezTo>
                  <a:pt x="6285312" y="5613539"/>
                  <a:pt x="6348730" y="5707490"/>
                  <a:pt x="6463820" y="5723932"/>
                </a:cubicBezTo>
                <a:cubicBezTo>
                  <a:pt x="6398053" y="5674608"/>
                  <a:pt x="6306451" y="5613539"/>
                  <a:pt x="6212500" y="5594749"/>
                </a:cubicBezTo>
                <a:close/>
                <a:moveTo>
                  <a:pt x="4610633" y="5592400"/>
                </a:moveTo>
                <a:cubicBezTo>
                  <a:pt x="4608285" y="5615888"/>
                  <a:pt x="4629423" y="5599447"/>
                  <a:pt x="4641167" y="5601795"/>
                </a:cubicBezTo>
                <a:cubicBezTo>
                  <a:pt x="4643516" y="5611191"/>
                  <a:pt x="4683445" y="5613539"/>
                  <a:pt x="4664655" y="5604144"/>
                </a:cubicBezTo>
                <a:cubicBezTo>
                  <a:pt x="4645865" y="5601795"/>
                  <a:pt x="4634121" y="5590051"/>
                  <a:pt x="4610633" y="5592400"/>
                </a:cubicBezTo>
                <a:close/>
                <a:moveTo>
                  <a:pt x="6052783" y="5590051"/>
                </a:moveTo>
                <a:cubicBezTo>
                  <a:pt x="6066876" y="5627632"/>
                  <a:pt x="6045737" y="5667561"/>
                  <a:pt x="6045737" y="5709839"/>
                </a:cubicBezTo>
                <a:cubicBezTo>
                  <a:pt x="6059829" y="5679305"/>
                  <a:pt x="6052783" y="5627632"/>
                  <a:pt x="6069224" y="5599447"/>
                </a:cubicBezTo>
                <a:cubicBezTo>
                  <a:pt x="6062178" y="5599447"/>
                  <a:pt x="6062178" y="5590051"/>
                  <a:pt x="6052783" y="5590051"/>
                </a:cubicBezTo>
                <a:close/>
                <a:moveTo>
                  <a:pt x="6071573" y="5587703"/>
                </a:moveTo>
                <a:cubicBezTo>
                  <a:pt x="6071573" y="5594749"/>
                  <a:pt x="6076271" y="5599447"/>
                  <a:pt x="6083317" y="5599447"/>
                </a:cubicBezTo>
                <a:cubicBezTo>
                  <a:pt x="6092712" y="5592400"/>
                  <a:pt x="6116200" y="5597098"/>
                  <a:pt x="6125596" y="5587703"/>
                </a:cubicBezTo>
                <a:cubicBezTo>
                  <a:pt x="6106805" y="5587703"/>
                  <a:pt x="6090364" y="5587703"/>
                  <a:pt x="6071573" y="5587703"/>
                </a:cubicBezTo>
                <a:close/>
                <a:moveTo>
                  <a:pt x="3025221" y="5585905"/>
                </a:moveTo>
                <a:lnTo>
                  <a:pt x="3013464" y="5618237"/>
                </a:lnTo>
                <a:cubicBezTo>
                  <a:pt x="3004656" y="5641138"/>
                  <a:pt x="2989242" y="5661396"/>
                  <a:pt x="2984068" y="5682976"/>
                </a:cubicBezTo>
                <a:lnTo>
                  <a:pt x="2983690" y="5690344"/>
                </a:lnTo>
                <a:lnTo>
                  <a:pt x="2947698" y="5766210"/>
                </a:lnTo>
                <a:cubicBezTo>
                  <a:pt x="2958268" y="5735676"/>
                  <a:pt x="2971773" y="5705142"/>
                  <a:pt x="2985866" y="5674314"/>
                </a:cubicBezTo>
                <a:close/>
                <a:moveTo>
                  <a:pt x="5049855" y="5585354"/>
                </a:moveTo>
                <a:cubicBezTo>
                  <a:pt x="5045157" y="5587703"/>
                  <a:pt x="5035762" y="5590051"/>
                  <a:pt x="5045157" y="5592400"/>
                </a:cubicBezTo>
                <a:cubicBezTo>
                  <a:pt x="5052204" y="5592400"/>
                  <a:pt x="5059250" y="5587703"/>
                  <a:pt x="5049855" y="5585354"/>
                </a:cubicBezTo>
                <a:close/>
                <a:moveTo>
                  <a:pt x="5672443" y="5585100"/>
                </a:moveTo>
                <a:lnTo>
                  <a:pt x="5672281" y="5587703"/>
                </a:lnTo>
                <a:lnTo>
                  <a:pt x="5672075" y="5587032"/>
                </a:lnTo>
                <a:close/>
                <a:moveTo>
                  <a:pt x="5768581" y="5583005"/>
                </a:moveTo>
                <a:cubicBezTo>
                  <a:pt x="5766232" y="5604144"/>
                  <a:pt x="5756837" y="5629981"/>
                  <a:pt x="5770930" y="5644073"/>
                </a:cubicBezTo>
                <a:cubicBezTo>
                  <a:pt x="5773278" y="5627632"/>
                  <a:pt x="5782674" y="5592400"/>
                  <a:pt x="5768581" y="5583005"/>
                </a:cubicBezTo>
                <a:close/>
                <a:moveTo>
                  <a:pt x="4894835" y="5580657"/>
                </a:moveTo>
                <a:cubicBezTo>
                  <a:pt x="4887789" y="5580657"/>
                  <a:pt x="4878394" y="5580657"/>
                  <a:pt x="4871348" y="5585354"/>
                </a:cubicBezTo>
                <a:cubicBezTo>
                  <a:pt x="4873696" y="5585354"/>
                  <a:pt x="4876045" y="5587703"/>
                  <a:pt x="4878394" y="5587703"/>
                </a:cubicBezTo>
                <a:cubicBezTo>
                  <a:pt x="4883092" y="5587703"/>
                  <a:pt x="4887789" y="5587703"/>
                  <a:pt x="4892487" y="5587703"/>
                </a:cubicBezTo>
                <a:cubicBezTo>
                  <a:pt x="4892487" y="5585354"/>
                  <a:pt x="4894835" y="5583005"/>
                  <a:pt x="4894835" y="5580657"/>
                </a:cubicBezTo>
                <a:close/>
                <a:moveTo>
                  <a:pt x="3027291" y="5580213"/>
                </a:moveTo>
                <a:lnTo>
                  <a:pt x="3027557" y="5580657"/>
                </a:lnTo>
                <a:lnTo>
                  <a:pt x="3025221" y="5585905"/>
                </a:lnTo>
                <a:close/>
                <a:moveTo>
                  <a:pt x="4969996" y="5575959"/>
                </a:moveTo>
                <a:cubicBezTo>
                  <a:pt x="4965299" y="5580657"/>
                  <a:pt x="4958252" y="5580657"/>
                  <a:pt x="4960601" y="5590051"/>
                </a:cubicBezTo>
                <a:cubicBezTo>
                  <a:pt x="4967647" y="5590051"/>
                  <a:pt x="4974694" y="5592400"/>
                  <a:pt x="4981740" y="5592400"/>
                </a:cubicBezTo>
                <a:cubicBezTo>
                  <a:pt x="4984089" y="5587703"/>
                  <a:pt x="4984089" y="5583005"/>
                  <a:pt x="4984089" y="5575959"/>
                </a:cubicBezTo>
                <a:cubicBezTo>
                  <a:pt x="4979391" y="5575959"/>
                  <a:pt x="4974694" y="5575959"/>
                  <a:pt x="4969996" y="5575959"/>
                </a:cubicBezTo>
                <a:close/>
                <a:moveTo>
                  <a:pt x="4951206" y="5575959"/>
                </a:moveTo>
                <a:cubicBezTo>
                  <a:pt x="4939462" y="5575959"/>
                  <a:pt x="4927718" y="5578308"/>
                  <a:pt x="4915974" y="5578308"/>
                </a:cubicBezTo>
                <a:cubicBezTo>
                  <a:pt x="4915974" y="5580657"/>
                  <a:pt x="4918323" y="5585354"/>
                  <a:pt x="4920672" y="5587703"/>
                </a:cubicBezTo>
                <a:cubicBezTo>
                  <a:pt x="4925370" y="5587703"/>
                  <a:pt x="4927718" y="5587703"/>
                  <a:pt x="4932416" y="5587703"/>
                </a:cubicBezTo>
                <a:cubicBezTo>
                  <a:pt x="4939462" y="5585354"/>
                  <a:pt x="4946509" y="5583005"/>
                  <a:pt x="4951206" y="5575959"/>
                </a:cubicBezTo>
                <a:close/>
                <a:moveTo>
                  <a:pt x="3027557" y="5573610"/>
                </a:moveTo>
                <a:lnTo>
                  <a:pt x="3029692" y="5573610"/>
                </a:lnTo>
                <a:lnTo>
                  <a:pt x="3027291" y="5580213"/>
                </a:lnTo>
                <a:lnTo>
                  <a:pt x="3024916" y="5576253"/>
                </a:lnTo>
                <a:cubicBezTo>
                  <a:pt x="3025208" y="5574785"/>
                  <a:pt x="3026383" y="5573610"/>
                  <a:pt x="3027557" y="5573610"/>
                </a:cubicBezTo>
                <a:close/>
                <a:moveTo>
                  <a:pt x="6029296" y="5571261"/>
                </a:moveTo>
                <a:cubicBezTo>
                  <a:pt x="6041039" y="5604144"/>
                  <a:pt x="6008156" y="5665212"/>
                  <a:pt x="6033993" y="5691049"/>
                </a:cubicBezTo>
                <a:cubicBezTo>
                  <a:pt x="6038690" y="5653468"/>
                  <a:pt x="6036342" y="5611191"/>
                  <a:pt x="6045737" y="5578308"/>
                </a:cubicBezTo>
                <a:cubicBezTo>
                  <a:pt x="6038690" y="5578308"/>
                  <a:pt x="6036342" y="5571261"/>
                  <a:pt x="6029296" y="5571261"/>
                </a:cubicBezTo>
                <a:close/>
                <a:moveTo>
                  <a:pt x="3032254" y="5566566"/>
                </a:moveTo>
                <a:lnTo>
                  <a:pt x="3029905" y="5573610"/>
                </a:lnTo>
                <a:lnTo>
                  <a:pt x="3029692" y="5573610"/>
                </a:lnTo>
                <a:close/>
                <a:moveTo>
                  <a:pt x="3036951" y="5564215"/>
                </a:moveTo>
                <a:lnTo>
                  <a:pt x="3038333" y="5566633"/>
                </a:lnTo>
                <a:lnTo>
                  <a:pt x="2982930" y="5705142"/>
                </a:lnTo>
                <a:lnTo>
                  <a:pt x="2983690" y="5690344"/>
                </a:lnTo>
                <a:lnTo>
                  <a:pt x="2988509" y="5680186"/>
                </a:lnTo>
                <a:cubicBezTo>
                  <a:pt x="3002308" y="5651120"/>
                  <a:pt x="3015813" y="5621760"/>
                  <a:pt x="3027557" y="5592400"/>
                </a:cubicBezTo>
                <a:cubicBezTo>
                  <a:pt x="3029905" y="5587703"/>
                  <a:pt x="3029905" y="5583005"/>
                  <a:pt x="3032254" y="5578308"/>
                </a:cubicBezTo>
                <a:cubicBezTo>
                  <a:pt x="3034604" y="5573610"/>
                  <a:pt x="3034604" y="5568913"/>
                  <a:pt x="3036951" y="5564215"/>
                </a:cubicBezTo>
                <a:close/>
                <a:moveTo>
                  <a:pt x="3126205" y="5561866"/>
                </a:moveTo>
                <a:cubicBezTo>
                  <a:pt x="3119159" y="5566564"/>
                  <a:pt x="3123856" y="5573610"/>
                  <a:pt x="3121508" y="5578308"/>
                </a:cubicBezTo>
                <a:lnTo>
                  <a:pt x="3119851" y="5582176"/>
                </a:lnTo>
                <a:lnTo>
                  <a:pt x="3119468" y="5582449"/>
                </a:lnTo>
                <a:lnTo>
                  <a:pt x="3114461" y="5583005"/>
                </a:lnTo>
                <a:cubicBezTo>
                  <a:pt x="3114461" y="5585354"/>
                  <a:pt x="3112112" y="5585354"/>
                  <a:pt x="3112112" y="5587703"/>
                </a:cubicBezTo>
                <a:lnTo>
                  <a:pt x="3119468" y="5582449"/>
                </a:lnTo>
                <a:lnTo>
                  <a:pt x="3119747" y="5582419"/>
                </a:lnTo>
                <a:lnTo>
                  <a:pt x="3119851" y="5582176"/>
                </a:lnTo>
                <a:lnTo>
                  <a:pt x="3128554" y="5575959"/>
                </a:lnTo>
                <a:cubicBezTo>
                  <a:pt x="3128554" y="5571261"/>
                  <a:pt x="3126205" y="5566564"/>
                  <a:pt x="3126205" y="5561866"/>
                </a:cubicBezTo>
                <a:close/>
                <a:moveTo>
                  <a:pt x="6003459" y="5552471"/>
                </a:moveTo>
                <a:cubicBezTo>
                  <a:pt x="6012854" y="5585354"/>
                  <a:pt x="5979971" y="5634678"/>
                  <a:pt x="6008156" y="5660515"/>
                </a:cubicBezTo>
                <a:cubicBezTo>
                  <a:pt x="6012854" y="5627632"/>
                  <a:pt x="6010505" y="5590051"/>
                  <a:pt x="6019901" y="5561866"/>
                </a:cubicBezTo>
                <a:cubicBezTo>
                  <a:pt x="6015203" y="5557169"/>
                  <a:pt x="6010505" y="5554820"/>
                  <a:pt x="6003459" y="5552471"/>
                </a:cubicBezTo>
                <a:close/>
                <a:moveTo>
                  <a:pt x="4901882" y="5552471"/>
                </a:moveTo>
                <a:cubicBezTo>
                  <a:pt x="4892487" y="5554820"/>
                  <a:pt x="4880743" y="5554820"/>
                  <a:pt x="4871348" y="5557169"/>
                </a:cubicBezTo>
                <a:cubicBezTo>
                  <a:pt x="4883092" y="5557169"/>
                  <a:pt x="4894835" y="5557169"/>
                  <a:pt x="4904230" y="5557169"/>
                </a:cubicBezTo>
                <a:cubicBezTo>
                  <a:pt x="4904230" y="5554820"/>
                  <a:pt x="4901882" y="5554820"/>
                  <a:pt x="4901882" y="5552471"/>
                </a:cubicBezTo>
                <a:close/>
                <a:moveTo>
                  <a:pt x="3135600" y="5552471"/>
                </a:moveTo>
                <a:cubicBezTo>
                  <a:pt x="3133252" y="5552471"/>
                  <a:pt x="3133252" y="5554820"/>
                  <a:pt x="3130903" y="5554820"/>
                </a:cubicBezTo>
                <a:cubicBezTo>
                  <a:pt x="3133252" y="5557169"/>
                  <a:pt x="3133252" y="5559517"/>
                  <a:pt x="3133252" y="5561866"/>
                </a:cubicBezTo>
                <a:cubicBezTo>
                  <a:pt x="3135600" y="5561866"/>
                  <a:pt x="3135600" y="5561866"/>
                  <a:pt x="3137949" y="5561866"/>
                </a:cubicBezTo>
                <a:cubicBezTo>
                  <a:pt x="3137949" y="5559517"/>
                  <a:pt x="3135600" y="5554820"/>
                  <a:pt x="3135600" y="5552471"/>
                </a:cubicBezTo>
                <a:close/>
                <a:moveTo>
                  <a:pt x="3053393" y="5550122"/>
                </a:moveTo>
                <a:cubicBezTo>
                  <a:pt x="3051044" y="5557169"/>
                  <a:pt x="3048695" y="5566564"/>
                  <a:pt x="3046347" y="5573610"/>
                </a:cubicBezTo>
                <a:cubicBezTo>
                  <a:pt x="3048695" y="5568913"/>
                  <a:pt x="3053393" y="5561866"/>
                  <a:pt x="3055742" y="5554820"/>
                </a:cubicBezTo>
                <a:cubicBezTo>
                  <a:pt x="3055742" y="5552471"/>
                  <a:pt x="3053393" y="5552471"/>
                  <a:pt x="3053393" y="5550122"/>
                </a:cubicBezTo>
                <a:close/>
                <a:moveTo>
                  <a:pt x="4930067" y="5547773"/>
                </a:moveTo>
                <a:cubicBezTo>
                  <a:pt x="4930067" y="5550122"/>
                  <a:pt x="4930067" y="5550122"/>
                  <a:pt x="4930067" y="5550122"/>
                </a:cubicBezTo>
                <a:cubicBezTo>
                  <a:pt x="4925370" y="5552471"/>
                  <a:pt x="4923021" y="5554820"/>
                  <a:pt x="4920672" y="5557169"/>
                </a:cubicBezTo>
                <a:cubicBezTo>
                  <a:pt x="4927718" y="5557169"/>
                  <a:pt x="4934765" y="5557169"/>
                  <a:pt x="4941811" y="5554820"/>
                </a:cubicBezTo>
                <a:cubicBezTo>
                  <a:pt x="4953555" y="5552471"/>
                  <a:pt x="4965299" y="5552471"/>
                  <a:pt x="4972345" y="5557169"/>
                </a:cubicBezTo>
                <a:cubicBezTo>
                  <a:pt x="4977043" y="5557169"/>
                  <a:pt x="4981740" y="5557169"/>
                  <a:pt x="4986438" y="5557169"/>
                </a:cubicBezTo>
                <a:cubicBezTo>
                  <a:pt x="4984089" y="5554820"/>
                  <a:pt x="4984089" y="5550122"/>
                  <a:pt x="4984089" y="5547773"/>
                </a:cubicBezTo>
                <a:cubicBezTo>
                  <a:pt x="4967647" y="5545425"/>
                  <a:pt x="4948857" y="5545425"/>
                  <a:pt x="4930067" y="5547773"/>
                </a:cubicBezTo>
                <a:close/>
                <a:moveTo>
                  <a:pt x="2294738" y="5543076"/>
                </a:moveTo>
                <a:lnTo>
                  <a:pt x="2292990" y="5543731"/>
                </a:lnTo>
                <a:lnTo>
                  <a:pt x="2293411" y="5545835"/>
                </a:lnTo>
                <a:close/>
                <a:moveTo>
                  <a:pt x="5204874" y="5540727"/>
                </a:moveTo>
                <a:cubicBezTo>
                  <a:pt x="5204874" y="5543076"/>
                  <a:pt x="5204874" y="5543076"/>
                  <a:pt x="5204874" y="5543076"/>
                </a:cubicBezTo>
                <a:cubicBezTo>
                  <a:pt x="5204874" y="5543076"/>
                  <a:pt x="5204874" y="5545425"/>
                  <a:pt x="5204874" y="5547773"/>
                </a:cubicBezTo>
                <a:cubicBezTo>
                  <a:pt x="5204874" y="5552471"/>
                  <a:pt x="5204874" y="5554820"/>
                  <a:pt x="5204874" y="5559517"/>
                </a:cubicBezTo>
                <a:cubicBezTo>
                  <a:pt x="5209572" y="5557169"/>
                  <a:pt x="5211921" y="5557169"/>
                  <a:pt x="5216618" y="5557169"/>
                </a:cubicBezTo>
                <a:cubicBezTo>
                  <a:pt x="5221316" y="5557169"/>
                  <a:pt x="5223664" y="5554820"/>
                  <a:pt x="5221316" y="5550122"/>
                </a:cubicBezTo>
                <a:cubicBezTo>
                  <a:pt x="5214269" y="5550122"/>
                  <a:pt x="5211921" y="5543076"/>
                  <a:pt x="5204874" y="5540727"/>
                </a:cubicBezTo>
                <a:close/>
                <a:moveTo>
                  <a:pt x="3144995" y="5538378"/>
                </a:moveTo>
                <a:cubicBezTo>
                  <a:pt x="3142647" y="5540727"/>
                  <a:pt x="3142647" y="5543076"/>
                  <a:pt x="3140298" y="5545425"/>
                </a:cubicBezTo>
                <a:cubicBezTo>
                  <a:pt x="3140298" y="5550122"/>
                  <a:pt x="3142647" y="5554820"/>
                  <a:pt x="3144995" y="5559517"/>
                </a:cubicBezTo>
                <a:cubicBezTo>
                  <a:pt x="3147344" y="5552471"/>
                  <a:pt x="3144995" y="5545425"/>
                  <a:pt x="3144995" y="5538378"/>
                </a:cubicBezTo>
                <a:close/>
                <a:moveTo>
                  <a:pt x="5395125" y="5536029"/>
                </a:moveTo>
                <a:lnTo>
                  <a:pt x="5408084" y="5556698"/>
                </a:lnTo>
                <a:lnTo>
                  <a:pt x="5402171" y="5568913"/>
                </a:lnTo>
                <a:lnTo>
                  <a:pt x="5394500" y="5537405"/>
                </a:lnTo>
                <a:close/>
                <a:moveTo>
                  <a:pt x="5979971" y="5533681"/>
                </a:moveTo>
                <a:cubicBezTo>
                  <a:pt x="5996412" y="5559517"/>
                  <a:pt x="5965878" y="5608842"/>
                  <a:pt x="5987017" y="5632330"/>
                </a:cubicBezTo>
                <a:cubicBezTo>
                  <a:pt x="5994064" y="5604144"/>
                  <a:pt x="5987017" y="5557169"/>
                  <a:pt x="5996412" y="5540727"/>
                </a:cubicBezTo>
                <a:cubicBezTo>
                  <a:pt x="5991715" y="5538378"/>
                  <a:pt x="5989366" y="5533681"/>
                  <a:pt x="5979971" y="5533681"/>
                </a:cubicBezTo>
                <a:close/>
                <a:moveTo>
                  <a:pt x="2391423" y="5525293"/>
                </a:moveTo>
                <a:lnTo>
                  <a:pt x="2386193" y="5541131"/>
                </a:lnTo>
                <a:cubicBezTo>
                  <a:pt x="2382670" y="5549388"/>
                  <a:pt x="2378707" y="5556581"/>
                  <a:pt x="2374596" y="5561866"/>
                </a:cubicBezTo>
                <a:lnTo>
                  <a:pt x="2379118" y="5541946"/>
                </a:lnTo>
                <a:lnTo>
                  <a:pt x="2383992" y="5540727"/>
                </a:lnTo>
                <a:close/>
                <a:moveTo>
                  <a:pt x="5214269" y="5524286"/>
                </a:moveTo>
                <a:cubicBezTo>
                  <a:pt x="5214269" y="5526635"/>
                  <a:pt x="5218967" y="5533681"/>
                  <a:pt x="5221316" y="5528983"/>
                </a:cubicBezTo>
                <a:cubicBezTo>
                  <a:pt x="5221316" y="5528983"/>
                  <a:pt x="5216618" y="5521937"/>
                  <a:pt x="5214269" y="5524286"/>
                </a:cubicBezTo>
                <a:close/>
                <a:moveTo>
                  <a:pt x="5033413" y="5524286"/>
                </a:moveTo>
                <a:cubicBezTo>
                  <a:pt x="5033413" y="5524286"/>
                  <a:pt x="5033413" y="5526635"/>
                  <a:pt x="5033413" y="5528983"/>
                </a:cubicBezTo>
                <a:cubicBezTo>
                  <a:pt x="5035762" y="5528983"/>
                  <a:pt x="5035762" y="5528983"/>
                  <a:pt x="5038111" y="5528983"/>
                </a:cubicBezTo>
                <a:cubicBezTo>
                  <a:pt x="5040460" y="5528983"/>
                  <a:pt x="5040460" y="5526635"/>
                  <a:pt x="5040460" y="5526635"/>
                </a:cubicBezTo>
                <a:cubicBezTo>
                  <a:pt x="5038111" y="5526635"/>
                  <a:pt x="5035762" y="5526635"/>
                  <a:pt x="5033413" y="5524286"/>
                </a:cubicBezTo>
                <a:close/>
                <a:moveTo>
                  <a:pt x="6153780" y="5519588"/>
                </a:moveTo>
                <a:cubicBezTo>
                  <a:pt x="6123247" y="5517240"/>
                  <a:pt x="6073922" y="5559517"/>
                  <a:pt x="6017552" y="5547773"/>
                </a:cubicBezTo>
                <a:cubicBezTo>
                  <a:pt x="6026947" y="5571261"/>
                  <a:pt x="6076271" y="5557169"/>
                  <a:pt x="6113852" y="5559517"/>
                </a:cubicBezTo>
                <a:cubicBezTo>
                  <a:pt x="6156129" y="5561866"/>
                  <a:pt x="6191361" y="5575959"/>
                  <a:pt x="6226593" y="5573610"/>
                </a:cubicBezTo>
                <a:cubicBezTo>
                  <a:pt x="6228942" y="5566564"/>
                  <a:pt x="6221895" y="5568913"/>
                  <a:pt x="6221895" y="5564215"/>
                </a:cubicBezTo>
                <a:cubicBezTo>
                  <a:pt x="6247732" y="5585354"/>
                  <a:pt x="6294707" y="5585354"/>
                  <a:pt x="6332288" y="5597098"/>
                </a:cubicBezTo>
                <a:cubicBezTo>
                  <a:pt x="6301754" y="5573610"/>
                  <a:pt x="6257127" y="5550122"/>
                  <a:pt x="6217198" y="5543076"/>
                </a:cubicBezTo>
                <a:cubicBezTo>
                  <a:pt x="6224244" y="5552471"/>
                  <a:pt x="6235988" y="5559517"/>
                  <a:pt x="6240686" y="5571261"/>
                </a:cubicBezTo>
                <a:cubicBezTo>
                  <a:pt x="6228355" y="5557169"/>
                  <a:pt x="6212060" y="5536470"/>
                  <a:pt x="6190811" y="5528984"/>
                </a:cubicBezTo>
                <a:lnTo>
                  <a:pt x="6173273" y="5527188"/>
                </a:lnTo>
                <a:lnTo>
                  <a:pt x="6217199" y="5561867"/>
                </a:lnTo>
                <a:cubicBezTo>
                  <a:pt x="6207803" y="5558343"/>
                  <a:pt x="6200170" y="5551884"/>
                  <a:pt x="6193123" y="5545131"/>
                </a:cubicBezTo>
                <a:lnTo>
                  <a:pt x="6173176" y="5527178"/>
                </a:lnTo>
                <a:lnTo>
                  <a:pt x="6167873" y="5526635"/>
                </a:lnTo>
                <a:cubicBezTo>
                  <a:pt x="6170222" y="5526635"/>
                  <a:pt x="6170222" y="5526635"/>
                  <a:pt x="6170222" y="5526635"/>
                </a:cubicBezTo>
                <a:cubicBezTo>
                  <a:pt x="6165524" y="5521937"/>
                  <a:pt x="6160827" y="5519588"/>
                  <a:pt x="6153780" y="5519588"/>
                </a:cubicBezTo>
                <a:close/>
                <a:moveTo>
                  <a:pt x="5040460" y="5517240"/>
                </a:moveTo>
                <a:cubicBezTo>
                  <a:pt x="5038111" y="5517240"/>
                  <a:pt x="5033413" y="5517240"/>
                  <a:pt x="5031065" y="5519588"/>
                </a:cubicBezTo>
                <a:cubicBezTo>
                  <a:pt x="5035762" y="5519588"/>
                  <a:pt x="5038111" y="5519588"/>
                  <a:pt x="5038111" y="5521937"/>
                </a:cubicBezTo>
                <a:cubicBezTo>
                  <a:pt x="5040460" y="5521937"/>
                  <a:pt x="5040460" y="5519588"/>
                  <a:pt x="5040460" y="5517240"/>
                </a:cubicBezTo>
                <a:close/>
                <a:moveTo>
                  <a:pt x="3285152" y="5514670"/>
                </a:moveTo>
                <a:cubicBezTo>
                  <a:pt x="3282988" y="5515037"/>
                  <a:pt x="3278289" y="5524285"/>
                  <a:pt x="3269481" y="5547773"/>
                </a:cubicBezTo>
                <a:cubicBezTo>
                  <a:pt x="3269481" y="5543076"/>
                  <a:pt x="3241295" y="5627632"/>
                  <a:pt x="3278876" y="5606493"/>
                </a:cubicBezTo>
                <a:cubicBezTo>
                  <a:pt x="3275353" y="5592401"/>
                  <a:pt x="3291647" y="5513570"/>
                  <a:pt x="3285152" y="5514670"/>
                </a:cubicBezTo>
                <a:close/>
                <a:moveTo>
                  <a:pt x="5954134" y="5512542"/>
                </a:moveTo>
                <a:cubicBezTo>
                  <a:pt x="5961181" y="5545425"/>
                  <a:pt x="5937693" y="5594749"/>
                  <a:pt x="5965878" y="5608842"/>
                </a:cubicBezTo>
                <a:cubicBezTo>
                  <a:pt x="5975274" y="5585354"/>
                  <a:pt x="5958832" y="5540727"/>
                  <a:pt x="5975274" y="5524286"/>
                </a:cubicBezTo>
                <a:cubicBezTo>
                  <a:pt x="5965878" y="5521937"/>
                  <a:pt x="5965878" y="5510193"/>
                  <a:pt x="5954134" y="5512542"/>
                </a:cubicBezTo>
                <a:close/>
                <a:moveTo>
                  <a:pt x="4850209" y="5512542"/>
                </a:moveTo>
                <a:cubicBezTo>
                  <a:pt x="4841401" y="5512542"/>
                  <a:pt x="4832593" y="5513717"/>
                  <a:pt x="4824372" y="5517240"/>
                </a:cubicBezTo>
                <a:cubicBezTo>
                  <a:pt x="4840813" y="5517240"/>
                  <a:pt x="4854906" y="5519588"/>
                  <a:pt x="4871348" y="5521937"/>
                </a:cubicBezTo>
                <a:cubicBezTo>
                  <a:pt x="4873696" y="5519588"/>
                  <a:pt x="4873696" y="5517240"/>
                  <a:pt x="4876045" y="5514891"/>
                </a:cubicBezTo>
                <a:cubicBezTo>
                  <a:pt x="4867825" y="5513717"/>
                  <a:pt x="4859017" y="5512542"/>
                  <a:pt x="4850209" y="5512542"/>
                </a:cubicBezTo>
                <a:close/>
                <a:moveTo>
                  <a:pt x="3180227" y="5512542"/>
                </a:moveTo>
                <a:cubicBezTo>
                  <a:pt x="3180227" y="5517240"/>
                  <a:pt x="3180227" y="5524286"/>
                  <a:pt x="3182576" y="5528983"/>
                </a:cubicBezTo>
                <a:cubicBezTo>
                  <a:pt x="3184925" y="5526635"/>
                  <a:pt x="3187274" y="5521937"/>
                  <a:pt x="3187274" y="5519588"/>
                </a:cubicBezTo>
                <a:cubicBezTo>
                  <a:pt x="3184925" y="5519588"/>
                  <a:pt x="3182576" y="5517240"/>
                  <a:pt x="3180227" y="5512542"/>
                </a:cubicBezTo>
                <a:close/>
                <a:moveTo>
                  <a:pt x="5207223" y="5510193"/>
                </a:moveTo>
                <a:lnTo>
                  <a:pt x="5206461" y="5516781"/>
                </a:lnTo>
                <a:lnTo>
                  <a:pt x="5204836" y="5517280"/>
                </a:lnTo>
                <a:close/>
                <a:moveTo>
                  <a:pt x="4967647" y="5510193"/>
                </a:moveTo>
                <a:cubicBezTo>
                  <a:pt x="4974694" y="5514891"/>
                  <a:pt x="4984089" y="5519588"/>
                  <a:pt x="4993484" y="5524286"/>
                </a:cubicBezTo>
                <a:cubicBezTo>
                  <a:pt x="4998182" y="5524286"/>
                  <a:pt x="5002879" y="5521937"/>
                  <a:pt x="5005228" y="5519588"/>
                </a:cubicBezTo>
                <a:cubicBezTo>
                  <a:pt x="4995833" y="5510193"/>
                  <a:pt x="4972345" y="5514891"/>
                  <a:pt x="4967647" y="5510193"/>
                </a:cubicBezTo>
                <a:close/>
                <a:moveTo>
                  <a:pt x="6112017" y="5505202"/>
                </a:moveTo>
                <a:cubicBezTo>
                  <a:pt x="6078767" y="5507844"/>
                  <a:pt x="6042213" y="5534268"/>
                  <a:pt x="5996412" y="5528983"/>
                </a:cubicBezTo>
                <a:cubicBezTo>
                  <a:pt x="5994064" y="5538378"/>
                  <a:pt x="6003459" y="5538378"/>
                  <a:pt x="6005808" y="5543076"/>
                </a:cubicBezTo>
                <a:cubicBezTo>
                  <a:pt x="6048085" y="5528983"/>
                  <a:pt x="6102108" y="5526635"/>
                  <a:pt x="6144386" y="5512542"/>
                </a:cubicBezTo>
                <a:cubicBezTo>
                  <a:pt x="6133817" y="5506083"/>
                  <a:pt x="6123100" y="5504321"/>
                  <a:pt x="6112017" y="5505202"/>
                </a:cubicBezTo>
                <a:close/>
                <a:moveTo>
                  <a:pt x="5031065" y="5503147"/>
                </a:moveTo>
                <a:cubicBezTo>
                  <a:pt x="5031065" y="5505496"/>
                  <a:pt x="5031065" y="5505496"/>
                  <a:pt x="5031065" y="5505496"/>
                </a:cubicBezTo>
                <a:cubicBezTo>
                  <a:pt x="5035762" y="5507844"/>
                  <a:pt x="5040460" y="5507844"/>
                  <a:pt x="5042809" y="5507844"/>
                </a:cubicBezTo>
                <a:cubicBezTo>
                  <a:pt x="5038111" y="5505496"/>
                  <a:pt x="5033413" y="5505496"/>
                  <a:pt x="5031065" y="5503147"/>
                </a:cubicBezTo>
                <a:close/>
                <a:moveTo>
                  <a:pt x="4347570" y="5498449"/>
                </a:moveTo>
                <a:cubicBezTo>
                  <a:pt x="4361663" y="5505496"/>
                  <a:pt x="4375755" y="5512542"/>
                  <a:pt x="4387499" y="5519588"/>
                </a:cubicBezTo>
                <a:cubicBezTo>
                  <a:pt x="4380453" y="5512542"/>
                  <a:pt x="4371058" y="5507844"/>
                  <a:pt x="4364011" y="5500798"/>
                </a:cubicBezTo>
                <a:cubicBezTo>
                  <a:pt x="4359314" y="5498449"/>
                  <a:pt x="4352267" y="5498449"/>
                  <a:pt x="4347570" y="5498449"/>
                </a:cubicBezTo>
                <a:close/>
                <a:moveTo>
                  <a:pt x="3612402" y="5498449"/>
                </a:moveTo>
                <a:cubicBezTo>
                  <a:pt x="3579519" y="5510193"/>
                  <a:pt x="3577171" y="5536029"/>
                  <a:pt x="3551335" y="5538378"/>
                </a:cubicBezTo>
                <a:cubicBezTo>
                  <a:pt x="3551335" y="5554820"/>
                  <a:pt x="3556032" y="5564215"/>
                  <a:pt x="3565427" y="5568913"/>
                </a:cubicBezTo>
                <a:cubicBezTo>
                  <a:pt x="3588915" y="5550122"/>
                  <a:pt x="3600658" y="5524286"/>
                  <a:pt x="3612402" y="5498449"/>
                </a:cubicBezTo>
                <a:close/>
                <a:moveTo>
                  <a:pt x="3316456" y="5498449"/>
                </a:moveTo>
                <a:lnTo>
                  <a:pt x="3317038" y="5499887"/>
                </a:lnTo>
                <a:lnTo>
                  <a:pt x="3315910" y="5499637"/>
                </a:lnTo>
                <a:close/>
                <a:moveTo>
                  <a:pt x="6154625" y="5496725"/>
                </a:moveTo>
                <a:cubicBezTo>
                  <a:pt x="6149964" y="5496688"/>
                  <a:pt x="6144973" y="5497862"/>
                  <a:pt x="6139688" y="5500798"/>
                </a:cubicBezTo>
                <a:cubicBezTo>
                  <a:pt x="6146734" y="5512542"/>
                  <a:pt x="6170222" y="5521937"/>
                  <a:pt x="6186663" y="5514891"/>
                </a:cubicBezTo>
                <a:cubicBezTo>
                  <a:pt x="6179617" y="5507845"/>
                  <a:pt x="6168607" y="5496835"/>
                  <a:pt x="6154625" y="5496725"/>
                </a:cubicBezTo>
                <a:close/>
                <a:moveTo>
                  <a:pt x="5928298" y="5496100"/>
                </a:moveTo>
                <a:cubicBezTo>
                  <a:pt x="5932995" y="5514891"/>
                  <a:pt x="5928298" y="5543076"/>
                  <a:pt x="5932995" y="5559517"/>
                </a:cubicBezTo>
                <a:cubicBezTo>
                  <a:pt x="5935344" y="5540727"/>
                  <a:pt x="5935344" y="5519588"/>
                  <a:pt x="5947088" y="5505496"/>
                </a:cubicBezTo>
                <a:cubicBezTo>
                  <a:pt x="5940042" y="5503147"/>
                  <a:pt x="5937693" y="5496100"/>
                  <a:pt x="5928298" y="5496100"/>
                </a:cubicBezTo>
                <a:close/>
                <a:moveTo>
                  <a:pt x="5012274" y="5496100"/>
                </a:moveTo>
                <a:cubicBezTo>
                  <a:pt x="5012274" y="5498449"/>
                  <a:pt x="5012274" y="5500798"/>
                  <a:pt x="5012274" y="5503147"/>
                </a:cubicBezTo>
                <a:cubicBezTo>
                  <a:pt x="5014623" y="5503147"/>
                  <a:pt x="5016972" y="5500798"/>
                  <a:pt x="5019321" y="5498449"/>
                </a:cubicBezTo>
                <a:cubicBezTo>
                  <a:pt x="5016972" y="5498449"/>
                  <a:pt x="5014623" y="5496100"/>
                  <a:pt x="5012274" y="5496100"/>
                </a:cubicBezTo>
                <a:close/>
                <a:moveTo>
                  <a:pt x="6113852" y="5493752"/>
                </a:moveTo>
                <a:cubicBezTo>
                  <a:pt x="6055132" y="5489054"/>
                  <a:pt x="6019901" y="5510193"/>
                  <a:pt x="5968227" y="5512542"/>
                </a:cubicBezTo>
                <a:cubicBezTo>
                  <a:pt x="5987017" y="5524286"/>
                  <a:pt x="6012854" y="5512542"/>
                  <a:pt x="6036342" y="5507844"/>
                </a:cubicBezTo>
                <a:cubicBezTo>
                  <a:pt x="6062178" y="5503147"/>
                  <a:pt x="6090364" y="5500798"/>
                  <a:pt x="6113852" y="5493752"/>
                </a:cubicBezTo>
                <a:close/>
                <a:moveTo>
                  <a:pt x="5721605" y="5493752"/>
                </a:moveTo>
                <a:cubicBezTo>
                  <a:pt x="5719256" y="5533681"/>
                  <a:pt x="5735698" y="5554820"/>
                  <a:pt x="5749791" y="5578308"/>
                </a:cubicBezTo>
                <a:cubicBezTo>
                  <a:pt x="5740396" y="5554820"/>
                  <a:pt x="5749791" y="5505496"/>
                  <a:pt x="5731000" y="5510193"/>
                </a:cubicBezTo>
                <a:cubicBezTo>
                  <a:pt x="5726303" y="5507844"/>
                  <a:pt x="5731000" y="5493752"/>
                  <a:pt x="5721605" y="5493752"/>
                </a:cubicBezTo>
                <a:close/>
                <a:moveTo>
                  <a:pt x="3083927" y="5491403"/>
                </a:moveTo>
                <a:cubicBezTo>
                  <a:pt x="3081578" y="5500798"/>
                  <a:pt x="3076881" y="5510193"/>
                  <a:pt x="3074532" y="5517240"/>
                </a:cubicBezTo>
                <a:cubicBezTo>
                  <a:pt x="3067486" y="5500798"/>
                  <a:pt x="3081578" y="5500798"/>
                  <a:pt x="3083927" y="5491403"/>
                </a:cubicBezTo>
                <a:close/>
                <a:moveTo>
                  <a:pt x="3627082" y="5491109"/>
                </a:moveTo>
                <a:cubicBezTo>
                  <a:pt x="3625321" y="5489642"/>
                  <a:pt x="3622972" y="5489054"/>
                  <a:pt x="3621798" y="5491403"/>
                </a:cubicBezTo>
                <a:cubicBezTo>
                  <a:pt x="3621798" y="5493752"/>
                  <a:pt x="3626495" y="5500798"/>
                  <a:pt x="3628844" y="5496100"/>
                </a:cubicBezTo>
                <a:cubicBezTo>
                  <a:pt x="3630018" y="5494926"/>
                  <a:pt x="3628844" y="5492578"/>
                  <a:pt x="3627082" y="5491109"/>
                </a:cubicBezTo>
                <a:close/>
                <a:moveTo>
                  <a:pt x="5242313" y="5490328"/>
                </a:moveTo>
                <a:lnTo>
                  <a:pt x="5227385" y="5624678"/>
                </a:lnTo>
                <a:lnTo>
                  <a:pt x="5230711" y="5625283"/>
                </a:lnTo>
                <a:lnTo>
                  <a:pt x="5227318" y="5625283"/>
                </a:lnTo>
                <a:lnTo>
                  <a:pt x="5226013" y="5637027"/>
                </a:lnTo>
                <a:cubicBezTo>
                  <a:pt x="5221316" y="5632330"/>
                  <a:pt x="5220141" y="5635266"/>
                  <a:pt x="5219554" y="5639963"/>
                </a:cubicBezTo>
                <a:lnTo>
                  <a:pt x="5218623" y="5644245"/>
                </a:lnTo>
                <a:lnTo>
                  <a:pt x="5214269" y="5646422"/>
                </a:lnTo>
                <a:lnTo>
                  <a:pt x="5214022" y="5641024"/>
                </a:lnTo>
                <a:lnTo>
                  <a:pt x="5211921" y="5641724"/>
                </a:lnTo>
                <a:cubicBezTo>
                  <a:pt x="5211921" y="5639375"/>
                  <a:pt x="5209572" y="5639375"/>
                  <a:pt x="5209572" y="5639375"/>
                </a:cubicBezTo>
                <a:lnTo>
                  <a:pt x="5213946" y="5639375"/>
                </a:lnTo>
                <a:lnTo>
                  <a:pt x="5213606" y="5631964"/>
                </a:lnTo>
                <a:lnTo>
                  <a:pt x="5207223" y="5632329"/>
                </a:lnTo>
                <a:cubicBezTo>
                  <a:pt x="5204874" y="5629980"/>
                  <a:pt x="5204874" y="5629980"/>
                  <a:pt x="5204874" y="5627631"/>
                </a:cubicBezTo>
                <a:lnTo>
                  <a:pt x="5213438" y="5628290"/>
                </a:lnTo>
                <a:lnTo>
                  <a:pt x="5213300" y="5625283"/>
                </a:lnTo>
                <a:lnTo>
                  <a:pt x="5204874" y="5625283"/>
                </a:lnTo>
                <a:cubicBezTo>
                  <a:pt x="5204874" y="5622934"/>
                  <a:pt x="5204874" y="5620585"/>
                  <a:pt x="5204874" y="5620585"/>
                </a:cubicBezTo>
                <a:lnTo>
                  <a:pt x="5213153" y="5622091"/>
                </a:lnTo>
                <a:lnTo>
                  <a:pt x="5212802" y="5614420"/>
                </a:lnTo>
                <a:cubicBezTo>
                  <a:pt x="5213095" y="5603557"/>
                  <a:pt x="5213095" y="5592401"/>
                  <a:pt x="5209572" y="5580657"/>
                </a:cubicBezTo>
                <a:cubicBezTo>
                  <a:pt x="5202525" y="5604144"/>
                  <a:pt x="5197828" y="5627632"/>
                  <a:pt x="5188433" y="5648771"/>
                </a:cubicBezTo>
                <a:cubicBezTo>
                  <a:pt x="5186084" y="5648771"/>
                  <a:pt x="5186084" y="5648771"/>
                  <a:pt x="5183735" y="5648771"/>
                </a:cubicBezTo>
                <a:cubicBezTo>
                  <a:pt x="5188433" y="5628807"/>
                  <a:pt x="5194305" y="5605319"/>
                  <a:pt x="5199002" y="5581244"/>
                </a:cubicBezTo>
                <a:lnTo>
                  <a:pt x="5206461" y="5516781"/>
                </a:lnTo>
                <a:lnTo>
                  <a:pt x="5218123" y="5513203"/>
                </a:lnTo>
                <a:cubicBezTo>
                  <a:pt x="5227463" y="5507734"/>
                  <a:pt x="5235051" y="5500449"/>
                  <a:pt x="5241423" y="5491926"/>
                </a:cubicBezTo>
                <a:close/>
                <a:moveTo>
                  <a:pt x="5472635" y="5489054"/>
                </a:moveTo>
                <a:cubicBezTo>
                  <a:pt x="5465589" y="5510193"/>
                  <a:pt x="5453845" y="5559517"/>
                  <a:pt x="5474984" y="5573610"/>
                </a:cubicBezTo>
                <a:cubicBezTo>
                  <a:pt x="5484379" y="5545425"/>
                  <a:pt x="5477333" y="5517240"/>
                  <a:pt x="5472635" y="5489054"/>
                </a:cubicBezTo>
                <a:close/>
                <a:moveTo>
                  <a:pt x="4871348" y="5489054"/>
                </a:moveTo>
                <a:cubicBezTo>
                  <a:pt x="4871348" y="5491403"/>
                  <a:pt x="4871348" y="5491403"/>
                  <a:pt x="4871348" y="5493752"/>
                </a:cubicBezTo>
                <a:cubicBezTo>
                  <a:pt x="4876045" y="5493752"/>
                  <a:pt x="4880743" y="5493752"/>
                  <a:pt x="4885440" y="5493752"/>
                </a:cubicBezTo>
                <a:cubicBezTo>
                  <a:pt x="4883092" y="5491403"/>
                  <a:pt x="4876045" y="5491403"/>
                  <a:pt x="4871348" y="5489054"/>
                </a:cubicBezTo>
                <a:close/>
                <a:moveTo>
                  <a:pt x="5527802" y="5488010"/>
                </a:moveTo>
                <a:lnTo>
                  <a:pt x="5532739" y="5517111"/>
                </a:lnTo>
                <a:lnTo>
                  <a:pt x="5531648" y="5526928"/>
                </a:lnTo>
                <a:cubicBezTo>
                  <a:pt x="5527831" y="5547187"/>
                  <a:pt x="5521959" y="5568913"/>
                  <a:pt x="5521959" y="5587703"/>
                </a:cubicBezTo>
                <a:cubicBezTo>
                  <a:pt x="5520785" y="5568913"/>
                  <a:pt x="5521959" y="5550710"/>
                  <a:pt x="5523721" y="5532213"/>
                </a:cubicBezTo>
                <a:close/>
                <a:moveTo>
                  <a:pt x="5075691" y="5486705"/>
                </a:moveTo>
                <a:cubicBezTo>
                  <a:pt x="5075691" y="5491403"/>
                  <a:pt x="5075691" y="5493752"/>
                  <a:pt x="5075691" y="5498449"/>
                </a:cubicBezTo>
                <a:cubicBezTo>
                  <a:pt x="5085086" y="5505496"/>
                  <a:pt x="5094482" y="5507844"/>
                  <a:pt x="5099179" y="5489054"/>
                </a:cubicBezTo>
                <a:cubicBezTo>
                  <a:pt x="5085086" y="5491403"/>
                  <a:pt x="5080389" y="5491403"/>
                  <a:pt x="5075691" y="5486705"/>
                </a:cubicBezTo>
                <a:close/>
                <a:moveTo>
                  <a:pt x="4803233" y="5486705"/>
                </a:moveTo>
                <a:cubicBezTo>
                  <a:pt x="4800884" y="5486705"/>
                  <a:pt x="4796187" y="5489054"/>
                  <a:pt x="4793838" y="5489054"/>
                </a:cubicBezTo>
                <a:cubicBezTo>
                  <a:pt x="4798535" y="5489054"/>
                  <a:pt x="4800884" y="5489054"/>
                  <a:pt x="4805582" y="5489054"/>
                </a:cubicBezTo>
                <a:cubicBezTo>
                  <a:pt x="4805582" y="5489054"/>
                  <a:pt x="4805582" y="5486705"/>
                  <a:pt x="4803233" y="5486705"/>
                </a:cubicBezTo>
                <a:close/>
                <a:moveTo>
                  <a:pt x="4984020" y="5486001"/>
                </a:moveTo>
                <a:lnTo>
                  <a:pt x="4988199" y="5486412"/>
                </a:lnTo>
                <a:lnTo>
                  <a:pt x="4991603" y="5487562"/>
                </a:lnTo>
                <a:close/>
                <a:moveTo>
                  <a:pt x="4817326" y="5484356"/>
                </a:moveTo>
                <a:cubicBezTo>
                  <a:pt x="4819675" y="5484356"/>
                  <a:pt x="4822023" y="5486705"/>
                  <a:pt x="4824372" y="5489054"/>
                </a:cubicBezTo>
                <a:cubicBezTo>
                  <a:pt x="4822023" y="5489054"/>
                  <a:pt x="4822023" y="5491403"/>
                  <a:pt x="4819675" y="5491403"/>
                </a:cubicBezTo>
                <a:cubicBezTo>
                  <a:pt x="4831419" y="5491403"/>
                  <a:pt x="4845511" y="5493752"/>
                  <a:pt x="4859604" y="5493752"/>
                </a:cubicBezTo>
                <a:cubicBezTo>
                  <a:pt x="4861952" y="5491403"/>
                  <a:pt x="4861952" y="5489054"/>
                  <a:pt x="4861952" y="5486705"/>
                </a:cubicBezTo>
                <a:cubicBezTo>
                  <a:pt x="4847860" y="5482008"/>
                  <a:pt x="4833767" y="5482008"/>
                  <a:pt x="4817326" y="5484356"/>
                </a:cubicBezTo>
                <a:close/>
                <a:moveTo>
                  <a:pt x="5902461" y="5477310"/>
                </a:moveTo>
                <a:cubicBezTo>
                  <a:pt x="5907159" y="5500798"/>
                  <a:pt x="5888369" y="5536029"/>
                  <a:pt x="5909508" y="5543076"/>
                </a:cubicBezTo>
                <a:cubicBezTo>
                  <a:pt x="5914205" y="5526635"/>
                  <a:pt x="5909508" y="5500798"/>
                  <a:pt x="5921252" y="5486705"/>
                </a:cubicBezTo>
                <a:cubicBezTo>
                  <a:pt x="5914205" y="5484356"/>
                  <a:pt x="5911857" y="5477310"/>
                  <a:pt x="5902461" y="5477310"/>
                </a:cubicBezTo>
                <a:close/>
                <a:moveTo>
                  <a:pt x="2414525" y="5477310"/>
                </a:moveTo>
                <a:lnTo>
                  <a:pt x="2391423" y="5525293"/>
                </a:lnTo>
                <a:lnTo>
                  <a:pt x="2395148" y="5514010"/>
                </a:lnTo>
                <a:cubicBezTo>
                  <a:pt x="2397497" y="5504468"/>
                  <a:pt x="2399113" y="5494706"/>
                  <a:pt x="2399699" y="5485568"/>
                </a:cubicBezTo>
                <a:lnTo>
                  <a:pt x="2399599" y="5484045"/>
                </a:lnTo>
                <a:close/>
                <a:moveTo>
                  <a:pt x="3292969" y="5470264"/>
                </a:moveTo>
                <a:cubicBezTo>
                  <a:pt x="3304712" y="5474961"/>
                  <a:pt x="3290620" y="5477310"/>
                  <a:pt x="3281225" y="5477310"/>
                </a:cubicBezTo>
                <a:cubicBezTo>
                  <a:pt x="3269481" y="5474961"/>
                  <a:pt x="3283573" y="5470264"/>
                  <a:pt x="3292969" y="5470264"/>
                </a:cubicBezTo>
                <a:close/>
                <a:moveTo>
                  <a:pt x="2398415" y="5465909"/>
                </a:moveTo>
                <a:lnTo>
                  <a:pt x="2399599" y="5484045"/>
                </a:lnTo>
                <a:lnTo>
                  <a:pt x="2391735" y="5487593"/>
                </a:lnTo>
                <a:lnTo>
                  <a:pt x="2396645" y="5466928"/>
                </a:lnTo>
                <a:close/>
                <a:moveTo>
                  <a:pt x="4883092" y="5465566"/>
                </a:moveTo>
                <a:cubicBezTo>
                  <a:pt x="4843162" y="5467915"/>
                  <a:pt x="4803233" y="5470264"/>
                  <a:pt x="4765653" y="5477310"/>
                </a:cubicBezTo>
                <a:cubicBezTo>
                  <a:pt x="4800884" y="5477310"/>
                  <a:pt x="4836116" y="5474961"/>
                  <a:pt x="4871348" y="5474961"/>
                </a:cubicBezTo>
                <a:cubicBezTo>
                  <a:pt x="4876045" y="5474961"/>
                  <a:pt x="4880743" y="5470264"/>
                  <a:pt x="4883092" y="5465566"/>
                </a:cubicBezTo>
                <a:close/>
                <a:moveTo>
                  <a:pt x="5876625" y="5463218"/>
                </a:moveTo>
                <a:cubicBezTo>
                  <a:pt x="5874276" y="5482008"/>
                  <a:pt x="5881322" y="5496100"/>
                  <a:pt x="5878973" y="5514891"/>
                </a:cubicBezTo>
                <a:cubicBezTo>
                  <a:pt x="5890717" y="5505496"/>
                  <a:pt x="5883671" y="5479659"/>
                  <a:pt x="5895415" y="5470264"/>
                </a:cubicBezTo>
                <a:cubicBezTo>
                  <a:pt x="5886020" y="5470264"/>
                  <a:pt x="5886020" y="5463218"/>
                  <a:pt x="5876625" y="5463218"/>
                </a:cubicBezTo>
                <a:close/>
                <a:moveTo>
                  <a:pt x="4911277" y="5463218"/>
                </a:moveTo>
                <a:cubicBezTo>
                  <a:pt x="4913626" y="5470264"/>
                  <a:pt x="4918323" y="5472613"/>
                  <a:pt x="4923021" y="5474961"/>
                </a:cubicBezTo>
                <a:cubicBezTo>
                  <a:pt x="4920672" y="5470264"/>
                  <a:pt x="4920672" y="5465566"/>
                  <a:pt x="4920672" y="5463218"/>
                </a:cubicBezTo>
                <a:cubicBezTo>
                  <a:pt x="4915974" y="5463218"/>
                  <a:pt x="4913626" y="5463218"/>
                  <a:pt x="4911277" y="5463218"/>
                </a:cubicBezTo>
                <a:close/>
                <a:moveTo>
                  <a:pt x="4991135" y="5460869"/>
                </a:moveTo>
                <a:cubicBezTo>
                  <a:pt x="4974694" y="5463218"/>
                  <a:pt x="4955903" y="5463218"/>
                  <a:pt x="4937114" y="5463218"/>
                </a:cubicBezTo>
                <a:cubicBezTo>
                  <a:pt x="4934765" y="5465566"/>
                  <a:pt x="4932416" y="5467915"/>
                  <a:pt x="4932416" y="5472613"/>
                </a:cubicBezTo>
                <a:cubicBezTo>
                  <a:pt x="4937114" y="5472613"/>
                  <a:pt x="4939462" y="5474961"/>
                  <a:pt x="4941811" y="5477310"/>
                </a:cubicBezTo>
                <a:lnTo>
                  <a:pt x="4984020" y="5486001"/>
                </a:lnTo>
                <a:lnTo>
                  <a:pt x="4978878" y="5485494"/>
                </a:lnTo>
                <a:cubicBezTo>
                  <a:pt x="4975868" y="5486118"/>
                  <a:pt x="4972932" y="5487880"/>
                  <a:pt x="4969996" y="5491403"/>
                </a:cubicBezTo>
                <a:cubicBezTo>
                  <a:pt x="4965299" y="5489054"/>
                  <a:pt x="4958252" y="5486705"/>
                  <a:pt x="4948857" y="5486705"/>
                </a:cubicBezTo>
                <a:cubicBezTo>
                  <a:pt x="4951206" y="5489054"/>
                  <a:pt x="4951206" y="5491403"/>
                  <a:pt x="4953555" y="5493752"/>
                </a:cubicBezTo>
                <a:cubicBezTo>
                  <a:pt x="4969996" y="5498449"/>
                  <a:pt x="4986438" y="5505496"/>
                  <a:pt x="5002879" y="5510193"/>
                </a:cubicBezTo>
                <a:cubicBezTo>
                  <a:pt x="5000531" y="5507844"/>
                  <a:pt x="5000531" y="5505496"/>
                  <a:pt x="5002879" y="5500798"/>
                </a:cubicBezTo>
                <a:cubicBezTo>
                  <a:pt x="5005228" y="5503147"/>
                  <a:pt x="5007577" y="5503147"/>
                  <a:pt x="5009925" y="5503147"/>
                </a:cubicBezTo>
                <a:cubicBezTo>
                  <a:pt x="5009925" y="5500798"/>
                  <a:pt x="5009925" y="5496100"/>
                  <a:pt x="5009925" y="5493752"/>
                </a:cubicBezTo>
                <a:lnTo>
                  <a:pt x="4991603" y="5487562"/>
                </a:lnTo>
                <a:lnTo>
                  <a:pt x="5021669" y="5493752"/>
                </a:lnTo>
                <a:cubicBezTo>
                  <a:pt x="5028716" y="5482008"/>
                  <a:pt x="5028716" y="5463218"/>
                  <a:pt x="5045157" y="5477310"/>
                </a:cubicBezTo>
                <a:cubicBezTo>
                  <a:pt x="5049855" y="5493752"/>
                  <a:pt x="5035762" y="5491403"/>
                  <a:pt x="5031065" y="5498449"/>
                </a:cubicBezTo>
                <a:cubicBezTo>
                  <a:pt x="5035762" y="5498449"/>
                  <a:pt x="5040460" y="5500798"/>
                  <a:pt x="5045157" y="5503147"/>
                </a:cubicBezTo>
                <a:cubicBezTo>
                  <a:pt x="5045157" y="5493752"/>
                  <a:pt x="5049855" y="5486705"/>
                  <a:pt x="5052204" y="5479659"/>
                </a:cubicBezTo>
                <a:cubicBezTo>
                  <a:pt x="5052204" y="5489054"/>
                  <a:pt x="5049855" y="5493752"/>
                  <a:pt x="5049855" y="5500798"/>
                </a:cubicBezTo>
                <a:cubicBezTo>
                  <a:pt x="5052204" y="5496100"/>
                  <a:pt x="5054552" y="5489054"/>
                  <a:pt x="5063947" y="5486705"/>
                </a:cubicBezTo>
                <a:cubicBezTo>
                  <a:pt x="5066296" y="5489054"/>
                  <a:pt x="5070994" y="5491403"/>
                  <a:pt x="5073342" y="5493752"/>
                </a:cubicBezTo>
                <a:cubicBezTo>
                  <a:pt x="5073342" y="5489054"/>
                  <a:pt x="5073342" y="5484356"/>
                  <a:pt x="5073342" y="5479659"/>
                </a:cubicBezTo>
                <a:cubicBezTo>
                  <a:pt x="5070994" y="5474961"/>
                  <a:pt x="5070994" y="5472613"/>
                  <a:pt x="5070994" y="5470264"/>
                </a:cubicBezTo>
                <a:cubicBezTo>
                  <a:pt x="5063947" y="5472613"/>
                  <a:pt x="5061599" y="5467915"/>
                  <a:pt x="5054552" y="5467915"/>
                </a:cubicBezTo>
                <a:cubicBezTo>
                  <a:pt x="5054552" y="5470264"/>
                  <a:pt x="5054552" y="5477310"/>
                  <a:pt x="5052204" y="5477310"/>
                </a:cubicBezTo>
                <a:cubicBezTo>
                  <a:pt x="5052204" y="5472613"/>
                  <a:pt x="5052204" y="5467915"/>
                  <a:pt x="5049855" y="5465566"/>
                </a:cubicBezTo>
                <a:cubicBezTo>
                  <a:pt x="5033413" y="5465566"/>
                  <a:pt x="5033413" y="5463218"/>
                  <a:pt x="5019321" y="5463218"/>
                </a:cubicBezTo>
                <a:cubicBezTo>
                  <a:pt x="5016972" y="5472613"/>
                  <a:pt x="5016972" y="5479659"/>
                  <a:pt x="5012274" y="5486705"/>
                </a:cubicBezTo>
                <a:cubicBezTo>
                  <a:pt x="5009925" y="5474961"/>
                  <a:pt x="5016972" y="5472613"/>
                  <a:pt x="5014623" y="5460869"/>
                </a:cubicBezTo>
                <a:cubicBezTo>
                  <a:pt x="5009925" y="5460869"/>
                  <a:pt x="5005228" y="5460869"/>
                  <a:pt x="4995833" y="5460869"/>
                </a:cubicBezTo>
                <a:cubicBezTo>
                  <a:pt x="4995833" y="5470264"/>
                  <a:pt x="5005228" y="5479659"/>
                  <a:pt x="4998182" y="5486705"/>
                </a:cubicBezTo>
                <a:cubicBezTo>
                  <a:pt x="4995833" y="5477310"/>
                  <a:pt x="4993484" y="5467915"/>
                  <a:pt x="4991135" y="5460869"/>
                </a:cubicBezTo>
                <a:close/>
                <a:moveTo>
                  <a:pt x="6015350" y="5458777"/>
                </a:moveTo>
                <a:cubicBezTo>
                  <a:pt x="5979237" y="5459548"/>
                  <a:pt x="5952374" y="5473200"/>
                  <a:pt x="5918903" y="5474961"/>
                </a:cubicBezTo>
                <a:cubicBezTo>
                  <a:pt x="5921252" y="5479659"/>
                  <a:pt x="5928298" y="5484356"/>
                  <a:pt x="5935344" y="5489054"/>
                </a:cubicBezTo>
                <a:cubicBezTo>
                  <a:pt x="5963530" y="5467915"/>
                  <a:pt x="6022249" y="5479659"/>
                  <a:pt x="6055132" y="5463218"/>
                </a:cubicBezTo>
                <a:cubicBezTo>
                  <a:pt x="6040452" y="5459695"/>
                  <a:pt x="6027387" y="5458521"/>
                  <a:pt x="6015350" y="5458777"/>
                </a:cubicBezTo>
                <a:close/>
                <a:moveTo>
                  <a:pt x="5517045" y="5453724"/>
                </a:moveTo>
                <a:lnTo>
                  <a:pt x="5517519" y="5454446"/>
                </a:lnTo>
                <a:cubicBezTo>
                  <a:pt x="5523134" y="5472613"/>
                  <a:pt x="5517849" y="5499037"/>
                  <a:pt x="5512564" y="5514891"/>
                </a:cubicBezTo>
                <a:cubicBezTo>
                  <a:pt x="5517262" y="5557169"/>
                  <a:pt x="5514913" y="5615888"/>
                  <a:pt x="5498471" y="5646422"/>
                </a:cubicBezTo>
                <a:lnTo>
                  <a:pt x="5483463" y="5605644"/>
                </a:lnTo>
                <a:lnTo>
                  <a:pt x="5487021" y="5588290"/>
                </a:lnTo>
                <a:cubicBezTo>
                  <a:pt x="5493040" y="5564509"/>
                  <a:pt x="5499719" y="5540581"/>
                  <a:pt x="5505628" y="5515992"/>
                </a:cubicBezTo>
                <a:close/>
                <a:moveTo>
                  <a:pt x="3191384" y="5447363"/>
                </a:moveTo>
                <a:cubicBezTo>
                  <a:pt x="3186687" y="5449125"/>
                  <a:pt x="3182576" y="5452648"/>
                  <a:pt x="3177878" y="5456171"/>
                </a:cubicBezTo>
                <a:cubicBezTo>
                  <a:pt x="3182576" y="5458520"/>
                  <a:pt x="3189622" y="5460869"/>
                  <a:pt x="3194321" y="5463218"/>
                </a:cubicBezTo>
                <a:cubicBezTo>
                  <a:pt x="3196668" y="5456171"/>
                  <a:pt x="3201366" y="5451474"/>
                  <a:pt x="3208412" y="5449125"/>
                </a:cubicBezTo>
                <a:cubicBezTo>
                  <a:pt x="3201366" y="5445602"/>
                  <a:pt x="3196082" y="5445602"/>
                  <a:pt x="3191384" y="5447363"/>
                </a:cubicBezTo>
                <a:close/>
                <a:moveTo>
                  <a:pt x="5850788" y="5444427"/>
                </a:moveTo>
                <a:cubicBezTo>
                  <a:pt x="5853137" y="5460869"/>
                  <a:pt x="5846091" y="5484356"/>
                  <a:pt x="5862532" y="5489054"/>
                </a:cubicBezTo>
                <a:cubicBezTo>
                  <a:pt x="5860183" y="5472613"/>
                  <a:pt x="5867230" y="5465566"/>
                  <a:pt x="5869579" y="5453822"/>
                </a:cubicBezTo>
                <a:cubicBezTo>
                  <a:pt x="5862532" y="5451474"/>
                  <a:pt x="5860183" y="5444427"/>
                  <a:pt x="5850788" y="5444427"/>
                </a:cubicBezTo>
                <a:close/>
                <a:moveTo>
                  <a:pt x="4958252" y="5444427"/>
                </a:moveTo>
                <a:cubicBezTo>
                  <a:pt x="4955903" y="5449125"/>
                  <a:pt x="4951206" y="5453822"/>
                  <a:pt x="4946509" y="5456171"/>
                </a:cubicBezTo>
                <a:cubicBezTo>
                  <a:pt x="4960601" y="5456171"/>
                  <a:pt x="4977043" y="5456171"/>
                  <a:pt x="4993484" y="5456171"/>
                </a:cubicBezTo>
                <a:cubicBezTo>
                  <a:pt x="4993484" y="5446776"/>
                  <a:pt x="4972345" y="5442078"/>
                  <a:pt x="4958252" y="5444427"/>
                </a:cubicBezTo>
                <a:close/>
                <a:moveTo>
                  <a:pt x="4837584" y="5441785"/>
                </a:moveTo>
                <a:cubicBezTo>
                  <a:pt x="4821436" y="5442079"/>
                  <a:pt x="4805582" y="5443253"/>
                  <a:pt x="4791489" y="5446776"/>
                </a:cubicBezTo>
                <a:cubicBezTo>
                  <a:pt x="4789140" y="5451474"/>
                  <a:pt x="4786792" y="5453822"/>
                  <a:pt x="4784443" y="5456171"/>
                </a:cubicBezTo>
                <a:cubicBezTo>
                  <a:pt x="4800884" y="5456171"/>
                  <a:pt x="4814977" y="5456171"/>
                  <a:pt x="4829070" y="5456171"/>
                </a:cubicBezTo>
                <a:cubicBezTo>
                  <a:pt x="4836116" y="5451474"/>
                  <a:pt x="4845511" y="5453822"/>
                  <a:pt x="4852557" y="5456171"/>
                </a:cubicBezTo>
                <a:cubicBezTo>
                  <a:pt x="4864301" y="5456171"/>
                  <a:pt x="4873696" y="5456171"/>
                  <a:pt x="4885440" y="5456171"/>
                </a:cubicBezTo>
                <a:cubicBezTo>
                  <a:pt x="4887789" y="5451474"/>
                  <a:pt x="4887789" y="5446776"/>
                  <a:pt x="4885440" y="5442078"/>
                </a:cubicBezTo>
                <a:cubicBezTo>
                  <a:pt x="4870173" y="5442078"/>
                  <a:pt x="4853732" y="5441491"/>
                  <a:pt x="4837584" y="5441785"/>
                </a:cubicBezTo>
                <a:close/>
                <a:moveTo>
                  <a:pt x="5056901" y="5439730"/>
                </a:moveTo>
                <a:cubicBezTo>
                  <a:pt x="5054552" y="5439730"/>
                  <a:pt x="5049855" y="5442078"/>
                  <a:pt x="5047506" y="5442078"/>
                </a:cubicBezTo>
                <a:cubicBezTo>
                  <a:pt x="5049855" y="5442078"/>
                  <a:pt x="5052204" y="5444427"/>
                  <a:pt x="5054552" y="5444427"/>
                </a:cubicBezTo>
                <a:cubicBezTo>
                  <a:pt x="5054552" y="5442078"/>
                  <a:pt x="5056901" y="5442078"/>
                  <a:pt x="5056901" y="5439730"/>
                </a:cubicBezTo>
                <a:close/>
                <a:moveTo>
                  <a:pt x="5061599" y="5437381"/>
                </a:moveTo>
                <a:cubicBezTo>
                  <a:pt x="5061599" y="5442078"/>
                  <a:pt x="5063947" y="5446776"/>
                  <a:pt x="5066296" y="5449125"/>
                </a:cubicBezTo>
                <a:cubicBezTo>
                  <a:pt x="5068645" y="5449125"/>
                  <a:pt x="5068645" y="5446776"/>
                  <a:pt x="5068645" y="5446776"/>
                </a:cubicBezTo>
                <a:cubicBezTo>
                  <a:pt x="5068645" y="5442078"/>
                  <a:pt x="5066296" y="5439730"/>
                  <a:pt x="5063947" y="5437381"/>
                </a:cubicBezTo>
                <a:cubicBezTo>
                  <a:pt x="5061599" y="5437381"/>
                  <a:pt x="5061599" y="5437381"/>
                  <a:pt x="5061599" y="5437381"/>
                </a:cubicBezTo>
                <a:close/>
                <a:moveTo>
                  <a:pt x="5477333" y="5435032"/>
                </a:moveTo>
                <a:cubicBezTo>
                  <a:pt x="5479681" y="5463218"/>
                  <a:pt x="5467937" y="5498449"/>
                  <a:pt x="5484379" y="5512542"/>
                </a:cubicBezTo>
                <a:cubicBezTo>
                  <a:pt x="5491425" y="5484356"/>
                  <a:pt x="5491425" y="5456171"/>
                  <a:pt x="5477333" y="5435032"/>
                </a:cubicBezTo>
                <a:close/>
                <a:moveTo>
                  <a:pt x="6045737" y="5432683"/>
                </a:moveTo>
                <a:cubicBezTo>
                  <a:pt x="6045737" y="5453822"/>
                  <a:pt x="6073922" y="5451474"/>
                  <a:pt x="6095061" y="5453822"/>
                </a:cubicBezTo>
                <a:cubicBezTo>
                  <a:pt x="6092712" y="5432683"/>
                  <a:pt x="6069224" y="5432683"/>
                  <a:pt x="6045737" y="5432683"/>
                </a:cubicBezTo>
                <a:close/>
                <a:moveTo>
                  <a:pt x="5973513" y="5432096"/>
                </a:moveTo>
                <a:cubicBezTo>
                  <a:pt x="5951786" y="5433858"/>
                  <a:pt x="5930647" y="5442078"/>
                  <a:pt x="5921252" y="5453822"/>
                </a:cubicBezTo>
                <a:cubicBezTo>
                  <a:pt x="5907159" y="5458520"/>
                  <a:pt x="5907159" y="5453822"/>
                  <a:pt x="5897764" y="5456171"/>
                </a:cubicBezTo>
                <a:cubicBezTo>
                  <a:pt x="5897764" y="5463218"/>
                  <a:pt x="5902461" y="5467915"/>
                  <a:pt x="5914205" y="5467915"/>
                </a:cubicBezTo>
                <a:cubicBezTo>
                  <a:pt x="5914205" y="5465566"/>
                  <a:pt x="5914205" y="5458520"/>
                  <a:pt x="5916554" y="5458520"/>
                </a:cubicBezTo>
                <a:cubicBezTo>
                  <a:pt x="5951786" y="5453822"/>
                  <a:pt x="5987017" y="5449125"/>
                  <a:pt x="6029296" y="5449125"/>
                </a:cubicBezTo>
                <a:cubicBezTo>
                  <a:pt x="6017552" y="5435032"/>
                  <a:pt x="5995239" y="5430335"/>
                  <a:pt x="5973513" y="5432096"/>
                </a:cubicBezTo>
                <a:close/>
                <a:moveTo>
                  <a:pt x="5648793" y="5430334"/>
                </a:moveTo>
                <a:cubicBezTo>
                  <a:pt x="5641747" y="5451474"/>
                  <a:pt x="5634701" y="5474961"/>
                  <a:pt x="5648793" y="5493752"/>
                </a:cubicBezTo>
                <a:cubicBezTo>
                  <a:pt x="5651142" y="5477310"/>
                  <a:pt x="5658188" y="5442078"/>
                  <a:pt x="5648793" y="5430334"/>
                </a:cubicBezTo>
                <a:close/>
                <a:moveTo>
                  <a:pt x="2997022" y="5430334"/>
                </a:moveTo>
                <a:cubicBezTo>
                  <a:pt x="2992325" y="5453822"/>
                  <a:pt x="2968837" y="5453822"/>
                  <a:pt x="2987627" y="5467915"/>
                </a:cubicBezTo>
                <a:cubicBezTo>
                  <a:pt x="3001720" y="5463218"/>
                  <a:pt x="3001720" y="5442078"/>
                  <a:pt x="2997022" y="5430334"/>
                </a:cubicBezTo>
                <a:close/>
                <a:moveTo>
                  <a:pt x="5822603" y="5427986"/>
                </a:moveTo>
                <a:cubicBezTo>
                  <a:pt x="5822603" y="5449125"/>
                  <a:pt x="5831998" y="5458520"/>
                  <a:pt x="5843742" y="5467915"/>
                </a:cubicBezTo>
                <a:cubicBezTo>
                  <a:pt x="5841393" y="5453822"/>
                  <a:pt x="5836695" y="5446776"/>
                  <a:pt x="5843742" y="5435032"/>
                </a:cubicBezTo>
                <a:cubicBezTo>
                  <a:pt x="5834347" y="5435032"/>
                  <a:pt x="5834347" y="5427986"/>
                  <a:pt x="5822603" y="5427986"/>
                </a:cubicBezTo>
                <a:close/>
                <a:moveTo>
                  <a:pt x="4857255" y="5420939"/>
                </a:moveTo>
                <a:cubicBezTo>
                  <a:pt x="4831419" y="5423288"/>
                  <a:pt x="4807931" y="5430334"/>
                  <a:pt x="4786792" y="5432683"/>
                </a:cubicBezTo>
                <a:cubicBezTo>
                  <a:pt x="4789140" y="5435032"/>
                  <a:pt x="4791489" y="5435032"/>
                  <a:pt x="4793838" y="5437381"/>
                </a:cubicBezTo>
                <a:cubicBezTo>
                  <a:pt x="4814977" y="5437381"/>
                  <a:pt x="4836116" y="5435032"/>
                  <a:pt x="4857255" y="5435032"/>
                </a:cubicBezTo>
                <a:cubicBezTo>
                  <a:pt x="4857255" y="5432683"/>
                  <a:pt x="4857255" y="5427986"/>
                  <a:pt x="4857255" y="5420939"/>
                </a:cubicBezTo>
                <a:close/>
                <a:moveTo>
                  <a:pt x="4302943" y="5420939"/>
                </a:moveTo>
                <a:cubicBezTo>
                  <a:pt x="4302943" y="5427986"/>
                  <a:pt x="4298245" y="5425637"/>
                  <a:pt x="4302943" y="5430334"/>
                </a:cubicBezTo>
                <a:cubicBezTo>
                  <a:pt x="4326431" y="5437381"/>
                  <a:pt x="4349919" y="5446776"/>
                  <a:pt x="4371058" y="5456171"/>
                </a:cubicBezTo>
                <a:cubicBezTo>
                  <a:pt x="4371058" y="5453822"/>
                  <a:pt x="4373407" y="5453822"/>
                  <a:pt x="4373407" y="5451474"/>
                </a:cubicBezTo>
                <a:cubicBezTo>
                  <a:pt x="4373407" y="5451474"/>
                  <a:pt x="4371058" y="5451474"/>
                  <a:pt x="4371058" y="5449125"/>
                </a:cubicBezTo>
                <a:cubicBezTo>
                  <a:pt x="4352267" y="5437381"/>
                  <a:pt x="4326431" y="5430334"/>
                  <a:pt x="4302943" y="5420939"/>
                </a:cubicBezTo>
                <a:close/>
                <a:moveTo>
                  <a:pt x="3228964" y="5418885"/>
                </a:moveTo>
                <a:cubicBezTo>
                  <a:pt x="3221331" y="5419178"/>
                  <a:pt x="3214284" y="5425637"/>
                  <a:pt x="3208412" y="5442078"/>
                </a:cubicBezTo>
                <a:cubicBezTo>
                  <a:pt x="3231901" y="5458520"/>
                  <a:pt x="3241295" y="5444427"/>
                  <a:pt x="3253039" y="5432683"/>
                </a:cubicBezTo>
                <a:cubicBezTo>
                  <a:pt x="3244819" y="5424463"/>
                  <a:pt x="3236598" y="5418591"/>
                  <a:pt x="3228964" y="5418885"/>
                </a:cubicBezTo>
                <a:close/>
                <a:moveTo>
                  <a:pt x="4857255" y="5411545"/>
                </a:moveTo>
                <a:cubicBezTo>
                  <a:pt x="4847860" y="5416242"/>
                  <a:pt x="4840813" y="5416242"/>
                  <a:pt x="4833767" y="5418591"/>
                </a:cubicBezTo>
                <a:cubicBezTo>
                  <a:pt x="4840813" y="5416242"/>
                  <a:pt x="4850208" y="5416242"/>
                  <a:pt x="4857255" y="5416242"/>
                </a:cubicBezTo>
                <a:cubicBezTo>
                  <a:pt x="4857255" y="5413893"/>
                  <a:pt x="4857255" y="5413893"/>
                  <a:pt x="4857255" y="5411545"/>
                </a:cubicBezTo>
                <a:close/>
                <a:moveTo>
                  <a:pt x="5108574" y="5409196"/>
                </a:moveTo>
                <a:cubicBezTo>
                  <a:pt x="5096830" y="5413893"/>
                  <a:pt x="5106226" y="5435032"/>
                  <a:pt x="5094482" y="5437381"/>
                </a:cubicBezTo>
                <a:cubicBezTo>
                  <a:pt x="5096830" y="5446776"/>
                  <a:pt x="5108574" y="5444427"/>
                  <a:pt x="5117969" y="5442078"/>
                </a:cubicBezTo>
                <a:cubicBezTo>
                  <a:pt x="5117969" y="5432683"/>
                  <a:pt x="5117969" y="5423288"/>
                  <a:pt x="5117969" y="5411545"/>
                </a:cubicBezTo>
                <a:cubicBezTo>
                  <a:pt x="5115620" y="5411545"/>
                  <a:pt x="5113272" y="5409196"/>
                  <a:pt x="5108574" y="5409196"/>
                </a:cubicBezTo>
                <a:close/>
                <a:moveTo>
                  <a:pt x="5094482" y="5404498"/>
                </a:moveTo>
                <a:cubicBezTo>
                  <a:pt x="5094482" y="5409196"/>
                  <a:pt x="5092133" y="5413893"/>
                  <a:pt x="5092133" y="5418591"/>
                </a:cubicBezTo>
                <a:cubicBezTo>
                  <a:pt x="5096830" y="5418591"/>
                  <a:pt x="5099179" y="5418591"/>
                  <a:pt x="5103877" y="5411545"/>
                </a:cubicBezTo>
                <a:cubicBezTo>
                  <a:pt x="5101528" y="5409196"/>
                  <a:pt x="5099179" y="5406847"/>
                  <a:pt x="5094482" y="5404498"/>
                </a:cubicBezTo>
                <a:close/>
                <a:moveTo>
                  <a:pt x="5930206" y="5401746"/>
                </a:moveTo>
                <a:cubicBezTo>
                  <a:pt x="5915233" y="5398774"/>
                  <a:pt x="5893654" y="5413307"/>
                  <a:pt x="5881322" y="5418591"/>
                </a:cubicBezTo>
                <a:cubicBezTo>
                  <a:pt x="5895415" y="5420939"/>
                  <a:pt x="5928298" y="5418591"/>
                  <a:pt x="5942390" y="5411545"/>
                </a:cubicBezTo>
                <a:cubicBezTo>
                  <a:pt x="5939454" y="5405673"/>
                  <a:pt x="5935197" y="5402737"/>
                  <a:pt x="5930206" y="5401746"/>
                </a:cubicBezTo>
                <a:close/>
                <a:moveTo>
                  <a:pt x="5078040" y="5397452"/>
                </a:moveTo>
                <a:cubicBezTo>
                  <a:pt x="5075691" y="5402149"/>
                  <a:pt x="5073342" y="5406847"/>
                  <a:pt x="5070994" y="5411545"/>
                </a:cubicBezTo>
                <a:cubicBezTo>
                  <a:pt x="5073342" y="5411545"/>
                  <a:pt x="5075691" y="5411545"/>
                  <a:pt x="5078040" y="5413893"/>
                </a:cubicBezTo>
                <a:cubicBezTo>
                  <a:pt x="5078040" y="5409196"/>
                  <a:pt x="5080389" y="5406847"/>
                  <a:pt x="5080389" y="5402149"/>
                </a:cubicBezTo>
                <a:cubicBezTo>
                  <a:pt x="5080389" y="5402149"/>
                  <a:pt x="5078040" y="5399801"/>
                  <a:pt x="5078040" y="5397452"/>
                </a:cubicBezTo>
                <a:close/>
                <a:moveTo>
                  <a:pt x="5045157" y="5390405"/>
                </a:moveTo>
                <a:cubicBezTo>
                  <a:pt x="5040460" y="5397452"/>
                  <a:pt x="5038111" y="5404498"/>
                  <a:pt x="5035762" y="5411545"/>
                </a:cubicBezTo>
                <a:cubicBezTo>
                  <a:pt x="5045157" y="5411545"/>
                  <a:pt x="5054552" y="5411545"/>
                  <a:pt x="5066296" y="5409196"/>
                </a:cubicBezTo>
                <a:cubicBezTo>
                  <a:pt x="5068645" y="5404498"/>
                  <a:pt x="5070994" y="5397452"/>
                  <a:pt x="5070994" y="5390405"/>
                </a:cubicBezTo>
                <a:cubicBezTo>
                  <a:pt x="5061599" y="5392754"/>
                  <a:pt x="5066296" y="5409196"/>
                  <a:pt x="5049855" y="5406847"/>
                </a:cubicBezTo>
                <a:cubicBezTo>
                  <a:pt x="5049855" y="5397452"/>
                  <a:pt x="5047506" y="5392754"/>
                  <a:pt x="5045157" y="5390405"/>
                </a:cubicBezTo>
                <a:close/>
                <a:moveTo>
                  <a:pt x="4307641" y="5388057"/>
                </a:moveTo>
                <a:cubicBezTo>
                  <a:pt x="4312338" y="5409196"/>
                  <a:pt x="4342872" y="5409196"/>
                  <a:pt x="4364011" y="5416242"/>
                </a:cubicBezTo>
                <a:cubicBezTo>
                  <a:pt x="4364011" y="5406847"/>
                  <a:pt x="4361663" y="5399801"/>
                  <a:pt x="4356965" y="5397452"/>
                </a:cubicBezTo>
                <a:cubicBezTo>
                  <a:pt x="4356965" y="5397452"/>
                  <a:pt x="4356965" y="5395103"/>
                  <a:pt x="4356965" y="5395103"/>
                </a:cubicBezTo>
                <a:cubicBezTo>
                  <a:pt x="4342872" y="5390405"/>
                  <a:pt x="4326431" y="5388057"/>
                  <a:pt x="4307641" y="5388057"/>
                </a:cubicBezTo>
                <a:close/>
                <a:moveTo>
                  <a:pt x="6012854" y="5383359"/>
                </a:moveTo>
                <a:cubicBezTo>
                  <a:pt x="6019901" y="5397452"/>
                  <a:pt x="6031644" y="5406847"/>
                  <a:pt x="6033993" y="5423288"/>
                </a:cubicBezTo>
                <a:cubicBezTo>
                  <a:pt x="6043388" y="5423288"/>
                  <a:pt x="6059829" y="5430334"/>
                  <a:pt x="6066876" y="5423288"/>
                </a:cubicBezTo>
                <a:cubicBezTo>
                  <a:pt x="6052783" y="5406847"/>
                  <a:pt x="6036342" y="5392754"/>
                  <a:pt x="6012854" y="5383359"/>
                </a:cubicBezTo>
                <a:close/>
                <a:moveTo>
                  <a:pt x="5430357" y="5383359"/>
                </a:moveTo>
                <a:cubicBezTo>
                  <a:pt x="5437403" y="5427986"/>
                  <a:pt x="5409218" y="5458520"/>
                  <a:pt x="5435055" y="5479659"/>
                </a:cubicBezTo>
                <a:cubicBezTo>
                  <a:pt x="5442101" y="5449125"/>
                  <a:pt x="5439752" y="5411545"/>
                  <a:pt x="5430357" y="5383359"/>
                </a:cubicBezTo>
                <a:close/>
                <a:moveTo>
                  <a:pt x="5280035" y="5381010"/>
                </a:moveTo>
                <a:lnTo>
                  <a:pt x="5282219" y="5393383"/>
                </a:lnTo>
                <a:lnTo>
                  <a:pt x="5280439" y="5397379"/>
                </a:lnTo>
                <a:cubicBezTo>
                  <a:pt x="5272622" y="5418885"/>
                  <a:pt x="5266383" y="5442372"/>
                  <a:pt x="5257428" y="5463218"/>
                </a:cubicBezTo>
                <a:lnTo>
                  <a:pt x="5242313" y="5490328"/>
                </a:lnTo>
                <a:lnTo>
                  <a:pt x="5249501" y="5425637"/>
                </a:lnTo>
                <a:cubicBezTo>
                  <a:pt x="5254199" y="5420939"/>
                  <a:pt x="5256547" y="5416242"/>
                  <a:pt x="5256547" y="5409196"/>
                </a:cubicBezTo>
                <a:cubicBezTo>
                  <a:pt x="5254199" y="5409196"/>
                  <a:pt x="5251850" y="5409196"/>
                  <a:pt x="5251850" y="5409196"/>
                </a:cubicBezTo>
                <a:cubicBezTo>
                  <a:pt x="5254199" y="5402149"/>
                  <a:pt x="5254199" y="5392754"/>
                  <a:pt x="5256547" y="5385708"/>
                </a:cubicBezTo>
                <a:cubicBezTo>
                  <a:pt x="5265943" y="5381010"/>
                  <a:pt x="5272989" y="5378661"/>
                  <a:pt x="5280035" y="5381010"/>
                </a:cubicBezTo>
                <a:close/>
                <a:moveTo>
                  <a:pt x="4934765" y="5381010"/>
                </a:moveTo>
                <a:lnTo>
                  <a:pt x="4932556" y="5382755"/>
                </a:lnTo>
                <a:lnTo>
                  <a:pt x="4890138" y="5388057"/>
                </a:lnTo>
                <a:cubicBezTo>
                  <a:pt x="4894836" y="5402150"/>
                  <a:pt x="4903644" y="5402737"/>
                  <a:pt x="4912452" y="5398626"/>
                </a:cubicBezTo>
                <a:lnTo>
                  <a:pt x="4932556" y="5382755"/>
                </a:lnTo>
                <a:lnTo>
                  <a:pt x="4938680" y="5381989"/>
                </a:lnTo>
                <a:lnTo>
                  <a:pt x="4944160" y="5383359"/>
                </a:lnTo>
                <a:cubicBezTo>
                  <a:pt x="4946509" y="5383359"/>
                  <a:pt x="4946509" y="5381010"/>
                  <a:pt x="4946509" y="5381010"/>
                </a:cubicBezTo>
                <a:lnTo>
                  <a:pt x="4938680" y="5381989"/>
                </a:lnTo>
                <a:close/>
                <a:moveTo>
                  <a:pt x="5998761" y="5378661"/>
                </a:moveTo>
                <a:cubicBezTo>
                  <a:pt x="5972925" y="5378661"/>
                  <a:pt x="5961181" y="5395103"/>
                  <a:pt x="5937693" y="5395103"/>
                </a:cubicBezTo>
                <a:cubicBezTo>
                  <a:pt x="5940042" y="5409196"/>
                  <a:pt x="5951786" y="5413893"/>
                  <a:pt x="5972925" y="5411545"/>
                </a:cubicBezTo>
                <a:cubicBezTo>
                  <a:pt x="5975274" y="5406847"/>
                  <a:pt x="5961181" y="5402149"/>
                  <a:pt x="5970576" y="5397452"/>
                </a:cubicBezTo>
                <a:cubicBezTo>
                  <a:pt x="5977622" y="5418591"/>
                  <a:pt x="5996412" y="5425637"/>
                  <a:pt x="6026947" y="5423288"/>
                </a:cubicBezTo>
                <a:cubicBezTo>
                  <a:pt x="6024598" y="5402149"/>
                  <a:pt x="6008156" y="5395103"/>
                  <a:pt x="5998761" y="5378661"/>
                </a:cubicBezTo>
                <a:close/>
                <a:moveTo>
                  <a:pt x="5547796" y="5378661"/>
                </a:moveTo>
                <a:cubicBezTo>
                  <a:pt x="5554842" y="5416242"/>
                  <a:pt x="5514913" y="5449125"/>
                  <a:pt x="5540750" y="5470264"/>
                </a:cubicBezTo>
                <a:cubicBezTo>
                  <a:pt x="5538401" y="5439730"/>
                  <a:pt x="5557191" y="5402149"/>
                  <a:pt x="5547796" y="5378661"/>
                </a:cubicBezTo>
                <a:close/>
                <a:moveTo>
                  <a:pt x="5007577" y="5378661"/>
                </a:moveTo>
                <a:cubicBezTo>
                  <a:pt x="5005228" y="5385708"/>
                  <a:pt x="5002879" y="5392754"/>
                  <a:pt x="5005228" y="5399801"/>
                </a:cubicBezTo>
                <a:cubicBezTo>
                  <a:pt x="5012274" y="5404498"/>
                  <a:pt x="5019321" y="5409196"/>
                  <a:pt x="5028716" y="5411545"/>
                </a:cubicBezTo>
                <a:cubicBezTo>
                  <a:pt x="5031065" y="5402149"/>
                  <a:pt x="5033413" y="5392754"/>
                  <a:pt x="5035762" y="5383359"/>
                </a:cubicBezTo>
                <a:cubicBezTo>
                  <a:pt x="5033413" y="5383359"/>
                  <a:pt x="5031065" y="5381010"/>
                  <a:pt x="5028716" y="5381010"/>
                </a:cubicBezTo>
                <a:cubicBezTo>
                  <a:pt x="5021669" y="5381010"/>
                  <a:pt x="5016972" y="5378661"/>
                  <a:pt x="5007577" y="5378661"/>
                </a:cubicBezTo>
                <a:close/>
                <a:moveTo>
                  <a:pt x="2454455" y="5378661"/>
                </a:moveTo>
                <a:cubicBezTo>
                  <a:pt x="2430967" y="5383359"/>
                  <a:pt x="2409828" y="5378661"/>
                  <a:pt x="2391037" y="5390405"/>
                </a:cubicBezTo>
                <a:cubicBezTo>
                  <a:pt x="2407479" y="5385708"/>
                  <a:pt x="2449757" y="5402149"/>
                  <a:pt x="2454455" y="5378661"/>
                </a:cubicBezTo>
                <a:close/>
                <a:moveTo>
                  <a:pt x="4981740" y="5376313"/>
                </a:moveTo>
                <a:cubicBezTo>
                  <a:pt x="4965299" y="5373964"/>
                  <a:pt x="4953555" y="5378661"/>
                  <a:pt x="4946509" y="5388057"/>
                </a:cubicBezTo>
                <a:cubicBezTo>
                  <a:pt x="4951206" y="5392754"/>
                  <a:pt x="4953555" y="5397452"/>
                  <a:pt x="4958252" y="5399801"/>
                </a:cubicBezTo>
                <a:cubicBezTo>
                  <a:pt x="4969996" y="5397452"/>
                  <a:pt x="4979391" y="5397452"/>
                  <a:pt x="4991135" y="5395103"/>
                </a:cubicBezTo>
                <a:cubicBezTo>
                  <a:pt x="4993484" y="5390405"/>
                  <a:pt x="4993484" y="5388057"/>
                  <a:pt x="4993484" y="5385708"/>
                </a:cubicBezTo>
                <a:cubicBezTo>
                  <a:pt x="4991135" y="5388057"/>
                  <a:pt x="4988787" y="5390405"/>
                  <a:pt x="4979391" y="5390405"/>
                </a:cubicBezTo>
                <a:cubicBezTo>
                  <a:pt x="4981740" y="5385708"/>
                  <a:pt x="4981740" y="5381010"/>
                  <a:pt x="4981740" y="5376313"/>
                </a:cubicBezTo>
                <a:close/>
                <a:moveTo>
                  <a:pt x="4866650" y="5376313"/>
                </a:moveTo>
                <a:cubicBezTo>
                  <a:pt x="4861952" y="5378661"/>
                  <a:pt x="4857255" y="5381010"/>
                  <a:pt x="4852557" y="5381010"/>
                </a:cubicBezTo>
                <a:cubicBezTo>
                  <a:pt x="4854906" y="5381010"/>
                  <a:pt x="4854906" y="5383359"/>
                  <a:pt x="4857255" y="5383359"/>
                </a:cubicBezTo>
                <a:cubicBezTo>
                  <a:pt x="4859604" y="5383359"/>
                  <a:pt x="4861952" y="5383359"/>
                  <a:pt x="4864301" y="5383359"/>
                </a:cubicBezTo>
                <a:cubicBezTo>
                  <a:pt x="4864301" y="5381010"/>
                  <a:pt x="4866650" y="5378661"/>
                  <a:pt x="4866650" y="5376313"/>
                </a:cubicBezTo>
                <a:close/>
                <a:moveTo>
                  <a:pt x="5406869" y="5362220"/>
                </a:moveTo>
                <a:cubicBezTo>
                  <a:pt x="5402171" y="5381010"/>
                  <a:pt x="5402171" y="5411545"/>
                  <a:pt x="5411567" y="5423288"/>
                </a:cubicBezTo>
                <a:cubicBezTo>
                  <a:pt x="5416264" y="5406847"/>
                  <a:pt x="5416264" y="5373964"/>
                  <a:pt x="5406869" y="5362220"/>
                </a:cubicBezTo>
                <a:close/>
                <a:moveTo>
                  <a:pt x="3410811" y="5356385"/>
                </a:moveTo>
                <a:cubicBezTo>
                  <a:pt x="3404976" y="5354734"/>
                  <a:pt x="3397489" y="5379836"/>
                  <a:pt x="3415105" y="5369266"/>
                </a:cubicBezTo>
                <a:cubicBezTo>
                  <a:pt x="3414518" y="5360458"/>
                  <a:pt x="3412756" y="5356935"/>
                  <a:pt x="3410811" y="5356385"/>
                </a:cubicBezTo>
                <a:close/>
                <a:moveTo>
                  <a:pt x="6071573" y="5352825"/>
                </a:moveTo>
                <a:cubicBezTo>
                  <a:pt x="6055132" y="5350476"/>
                  <a:pt x="6041039" y="5366918"/>
                  <a:pt x="6017552" y="5366918"/>
                </a:cubicBezTo>
                <a:cubicBezTo>
                  <a:pt x="6038690" y="5388057"/>
                  <a:pt x="6062178" y="5404498"/>
                  <a:pt x="6078620" y="5427986"/>
                </a:cubicBezTo>
                <a:cubicBezTo>
                  <a:pt x="6118549" y="5430334"/>
                  <a:pt x="6118549" y="5467915"/>
                  <a:pt x="6165524" y="5460869"/>
                </a:cubicBezTo>
                <a:cubicBezTo>
                  <a:pt x="6160827" y="5442078"/>
                  <a:pt x="6142037" y="5423288"/>
                  <a:pt x="6123247" y="5402149"/>
                </a:cubicBezTo>
                <a:cubicBezTo>
                  <a:pt x="6109154" y="5385708"/>
                  <a:pt x="6090364" y="5355174"/>
                  <a:pt x="6071573" y="5352825"/>
                </a:cubicBezTo>
                <a:close/>
                <a:moveTo>
                  <a:pt x="4861952" y="5352825"/>
                </a:moveTo>
                <a:cubicBezTo>
                  <a:pt x="4840813" y="5352825"/>
                  <a:pt x="4817326" y="5355174"/>
                  <a:pt x="4789140" y="5357523"/>
                </a:cubicBezTo>
                <a:cubicBezTo>
                  <a:pt x="4789140" y="5359871"/>
                  <a:pt x="4791489" y="5362220"/>
                  <a:pt x="4791489" y="5366918"/>
                </a:cubicBezTo>
                <a:cubicBezTo>
                  <a:pt x="4796187" y="5366918"/>
                  <a:pt x="4800884" y="5366918"/>
                  <a:pt x="4805582" y="5366918"/>
                </a:cubicBezTo>
                <a:cubicBezTo>
                  <a:pt x="4824372" y="5364569"/>
                  <a:pt x="4845511" y="5362220"/>
                  <a:pt x="4864301" y="5359871"/>
                </a:cubicBezTo>
                <a:cubicBezTo>
                  <a:pt x="4864301" y="5357523"/>
                  <a:pt x="4864301" y="5355174"/>
                  <a:pt x="4861952" y="5352825"/>
                </a:cubicBezTo>
                <a:close/>
                <a:moveTo>
                  <a:pt x="3435327" y="5350843"/>
                </a:moveTo>
                <a:cubicBezTo>
                  <a:pt x="3433161" y="5350477"/>
                  <a:pt x="3430959" y="5351651"/>
                  <a:pt x="3429198" y="5355174"/>
                </a:cubicBezTo>
                <a:cubicBezTo>
                  <a:pt x="3436245" y="5359871"/>
                  <a:pt x="3426849" y="5371615"/>
                  <a:pt x="3440941" y="5373964"/>
                </a:cubicBezTo>
                <a:cubicBezTo>
                  <a:pt x="3447988" y="5366918"/>
                  <a:pt x="3441823" y="5351944"/>
                  <a:pt x="3435327" y="5350843"/>
                </a:cubicBezTo>
                <a:close/>
                <a:moveTo>
                  <a:pt x="4894835" y="5350476"/>
                </a:moveTo>
                <a:cubicBezTo>
                  <a:pt x="4894835" y="5352825"/>
                  <a:pt x="4894835" y="5352825"/>
                  <a:pt x="4894835" y="5355174"/>
                </a:cubicBezTo>
                <a:cubicBezTo>
                  <a:pt x="4904230" y="5352825"/>
                  <a:pt x="4913626" y="5352825"/>
                  <a:pt x="4923021" y="5352825"/>
                </a:cubicBezTo>
                <a:cubicBezTo>
                  <a:pt x="4923021" y="5352825"/>
                  <a:pt x="4920672" y="5350476"/>
                  <a:pt x="4920672" y="5350476"/>
                </a:cubicBezTo>
                <a:cubicBezTo>
                  <a:pt x="4911277" y="5350476"/>
                  <a:pt x="4901882" y="5350476"/>
                  <a:pt x="4894835" y="5350476"/>
                </a:cubicBezTo>
                <a:close/>
                <a:moveTo>
                  <a:pt x="3539590" y="5348127"/>
                </a:moveTo>
                <a:cubicBezTo>
                  <a:pt x="3534892" y="5350476"/>
                  <a:pt x="3534892" y="5352825"/>
                  <a:pt x="3544288" y="5352825"/>
                </a:cubicBezTo>
                <a:close/>
                <a:moveTo>
                  <a:pt x="4664655" y="5345779"/>
                </a:moveTo>
                <a:cubicBezTo>
                  <a:pt x="4662306" y="5348127"/>
                  <a:pt x="4662306" y="5348127"/>
                  <a:pt x="4659958" y="5348127"/>
                </a:cubicBezTo>
                <a:cubicBezTo>
                  <a:pt x="4662306" y="5348127"/>
                  <a:pt x="4664655" y="5348127"/>
                  <a:pt x="4667004" y="5348127"/>
                </a:cubicBezTo>
                <a:cubicBezTo>
                  <a:pt x="4667004" y="5345779"/>
                  <a:pt x="4664655" y="5345779"/>
                  <a:pt x="4664655" y="5345779"/>
                </a:cubicBezTo>
                <a:close/>
                <a:moveTo>
                  <a:pt x="2228981" y="5341080"/>
                </a:moveTo>
                <a:cubicBezTo>
                  <a:pt x="2224281" y="5345778"/>
                  <a:pt x="2221931" y="5348126"/>
                  <a:pt x="2219582" y="5350475"/>
                </a:cubicBezTo>
                <a:cubicBezTo>
                  <a:pt x="2214888" y="5350475"/>
                  <a:pt x="2212538" y="5350475"/>
                  <a:pt x="2210188" y="5350475"/>
                </a:cubicBezTo>
                <a:cubicBezTo>
                  <a:pt x="2214888" y="5345778"/>
                  <a:pt x="2221931" y="5343429"/>
                  <a:pt x="2228981" y="5341080"/>
                </a:cubicBezTo>
                <a:close/>
                <a:moveTo>
                  <a:pt x="4824372" y="5331686"/>
                </a:moveTo>
                <a:cubicBezTo>
                  <a:pt x="4819675" y="5334035"/>
                  <a:pt x="4812628" y="5334035"/>
                  <a:pt x="4807931" y="5334035"/>
                </a:cubicBezTo>
                <a:cubicBezTo>
                  <a:pt x="4803233" y="5336383"/>
                  <a:pt x="4796187" y="5341081"/>
                  <a:pt x="4793838" y="5348127"/>
                </a:cubicBezTo>
                <a:cubicBezTo>
                  <a:pt x="4798535" y="5348127"/>
                  <a:pt x="4805582" y="5348127"/>
                  <a:pt x="4812628" y="5348127"/>
                </a:cubicBezTo>
                <a:cubicBezTo>
                  <a:pt x="4826721" y="5345779"/>
                  <a:pt x="4843162" y="5345779"/>
                  <a:pt x="4857255" y="5343430"/>
                </a:cubicBezTo>
                <a:cubicBezTo>
                  <a:pt x="4850208" y="5336383"/>
                  <a:pt x="4838465" y="5334035"/>
                  <a:pt x="4826721" y="5338732"/>
                </a:cubicBezTo>
                <a:cubicBezTo>
                  <a:pt x="4826721" y="5336383"/>
                  <a:pt x="4824372" y="5334035"/>
                  <a:pt x="4824372" y="5331686"/>
                </a:cubicBezTo>
                <a:close/>
                <a:moveTo>
                  <a:pt x="5503169" y="5329337"/>
                </a:moveTo>
                <a:cubicBezTo>
                  <a:pt x="5503169" y="5331686"/>
                  <a:pt x="5503169" y="5334035"/>
                  <a:pt x="5503169" y="5336383"/>
                </a:cubicBezTo>
                <a:cubicBezTo>
                  <a:pt x="5500820" y="5329337"/>
                  <a:pt x="5493774" y="5326988"/>
                  <a:pt x="5489076" y="5334035"/>
                </a:cubicBezTo>
                <a:cubicBezTo>
                  <a:pt x="5503169" y="5336383"/>
                  <a:pt x="5474984" y="5357523"/>
                  <a:pt x="5498471" y="5357523"/>
                </a:cubicBezTo>
                <a:cubicBezTo>
                  <a:pt x="5498471" y="5355174"/>
                  <a:pt x="5498471" y="5355174"/>
                  <a:pt x="5500820" y="5355174"/>
                </a:cubicBezTo>
                <a:cubicBezTo>
                  <a:pt x="5498471" y="5373964"/>
                  <a:pt x="5491425" y="5392754"/>
                  <a:pt x="5503169" y="5406847"/>
                </a:cubicBezTo>
                <a:cubicBezTo>
                  <a:pt x="5503169" y="5390405"/>
                  <a:pt x="5517262" y="5355174"/>
                  <a:pt x="5510215" y="5331686"/>
                </a:cubicBezTo>
                <a:cubicBezTo>
                  <a:pt x="5507866" y="5331686"/>
                  <a:pt x="5507866" y="5329337"/>
                  <a:pt x="5503169" y="5329337"/>
                </a:cubicBezTo>
                <a:close/>
                <a:moveTo>
                  <a:pt x="5049855" y="5329337"/>
                </a:moveTo>
                <a:cubicBezTo>
                  <a:pt x="5047506" y="5331686"/>
                  <a:pt x="5045157" y="5334035"/>
                  <a:pt x="5042809" y="5336383"/>
                </a:cubicBezTo>
                <a:cubicBezTo>
                  <a:pt x="5038111" y="5336383"/>
                  <a:pt x="5035762" y="5336383"/>
                  <a:pt x="5031065" y="5338732"/>
                </a:cubicBezTo>
                <a:cubicBezTo>
                  <a:pt x="5038111" y="5338732"/>
                  <a:pt x="5045157" y="5338732"/>
                  <a:pt x="5049855" y="5338732"/>
                </a:cubicBezTo>
                <a:cubicBezTo>
                  <a:pt x="5049855" y="5336383"/>
                  <a:pt x="5049855" y="5331686"/>
                  <a:pt x="5049855" y="5329337"/>
                </a:cubicBezTo>
                <a:close/>
                <a:moveTo>
                  <a:pt x="5526657" y="5326988"/>
                </a:moveTo>
                <a:cubicBezTo>
                  <a:pt x="5538401" y="5373964"/>
                  <a:pt x="5491425" y="5416242"/>
                  <a:pt x="5524308" y="5439730"/>
                </a:cubicBezTo>
                <a:cubicBezTo>
                  <a:pt x="5529006" y="5404498"/>
                  <a:pt x="5538401" y="5357523"/>
                  <a:pt x="5526657" y="5326988"/>
                </a:cubicBezTo>
                <a:close/>
                <a:moveTo>
                  <a:pt x="4861952" y="5326988"/>
                </a:moveTo>
                <a:cubicBezTo>
                  <a:pt x="4861952" y="5329337"/>
                  <a:pt x="4864301" y="5331686"/>
                  <a:pt x="4864301" y="5334035"/>
                </a:cubicBezTo>
                <a:cubicBezTo>
                  <a:pt x="4871348" y="5334035"/>
                  <a:pt x="4873696" y="5331686"/>
                  <a:pt x="4878394" y="5329337"/>
                </a:cubicBezTo>
                <a:cubicBezTo>
                  <a:pt x="4880743" y="5329337"/>
                  <a:pt x="4880743" y="5329337"/>
                  <a:pt x="4880743" y="5326988"/>
                </a:cubicBezTo>
                <a:cubicBezTo>
                  <a:pt x="4876045" y="5326988"/>
                  <a:pt x="4868999" y="5326988"/>
                  <a:pt x="4861952" y="5326988"/>
                </a:cubicBezTo>
                <a:close/>
                <a:moveTo>
                  <a:pt x="2899548" y="5323466"/>
                </a:moveTo>
                <a:lnTo>
                  <a:pt x="2896027" y="5326987"/>
                </a:lnTo>
                <a:lnTo>
                  <a:pt x="2898374" y="5326987"/>
                </a:lnTo>
                <a:close/>
                <a:moveTo>
                  <a:pt x="5829649" y="5317593"/>
                </a:moveTo>
                <a:cubicBezTo>
                  <a:pt x="5815557" y="5310547"/>
                  <a:pt x="5780325" y="5322291"/>
                  <a:pt x="5768581" y="5331686"/>
                </a:cubicBezTo>
                <a:cubicBezTo>
                  <a:pt x="5789720" y="5329337"/>
                  <a:pt x="5815557" y="5329337"/>
                  <a:pt x="5829649" y="5317593"/>
                </a:cubicBezTo>
                <a:close/>
                <a:moveTo>
                  <a:pt x="5442101" y="5317593"/>
                </a:moveTo>
                <a:cubicBezTo>
                  <a:pt x="5444449" y="5345779"/>
                  <a:pt x="5430357" y="5378661"/>
                  <a:pt x="5451496" y="5392754"/>
                </a:cubicBezTo>
                <a:cubicBezTo>
                  <a:pt x="5451496" y="5395103"/>
                  <a:pt x="5453845" y="5395103"/>
                  <a:pt x="5453845" y="5390405"/>
                </a:cubicBezTo>
                <a:cubicBezTo>
                  <a:pt x="5451496" y="5366918"/>
                  <a:pt x="5451496" y="5336383"/>
                  <a:pt x="5442101" y="5317593"/>
                </a:cubicBezTo>
                <a:close/>
                <a:moveTo>
                  <a:pt x="5078040" y="5308198"/>
                </a:moveTo>
                <a:cubicBezTo>
                  <a:pt x="5078040" y="5310547"/>
                  <a:pt x="5075691" y="5310547"/>
                  <a:pt x="5073342" y="5312896"/>
                </a:cubicBezTo>
                <a:cubicBezTo>
                  <a:pt x="5068645" y="5319942"/>
                  <a:pt x="5066296" y="5329337"/>
                  <a:pt x="5063947" y="5338732"/>
                </a:cubicBezTo>
                <a:cubicBezTo>
                  <a:pt x="5066296" y="5341081"/>
                  <a:pt x="5075691" y="5336383"/>
                  <a:pt x="5075691" y="5341081"/>
                </a:cubicBezTo>
                <a:cubicBezTo>
                  <a:pt x="5070994" y="5343430"/>
                  <a:pt x="5059250" y="5338732"/>
                  <a:pt x="5059250" y="5343430"/>
                </a:cubicBezTo>
                <a:cubicBezTo>
                  <a:pt x="5059250" y="5343430"/>
                  <a:pt x="5059250" y="5345779"/>
                  <a:pt x="5059250" y="5345779"/>
                </a:cubicBezTo>
                <a:cubicBezTo>
                  <a:pt x="5066296" y="5348127"/>
                  <a:pt x="5070994" y="5350476"/>
                  <a:pt x="5075691" y="5357523"/>
                </a:cubicBezTo>
                <a:cubicBezTo>
                  <a:pt x="5078040" y="5341081"/>
                  <a:pt x="5078040" y="5322291"/>
                  <a:pt x="5078040" y="5308198"/>
                </a:cubicBezTo>
                <a:close/>
                <a:moveTo>
                  <a:pt x="3523149" y="5305849"/>
                </a:moveTo>
                <a:cubicBezTo>
                  <a:pt x="3513754" y="5315244"/>
                  <a:pt x="3527846" y="5338732"/>
                  <a:pt x="3534892" y="5324639"/>
                </a:cubicBezTo>
                <a:cubicBezTo>
                  <a:pt x="3527846" y="5319942"/>
                  <a:pt x="3530195" y="5310547"/>
                  <a:pt x="3523149" y="5305849"/>
                </a:cubicBezTo>
                <a:close/>
                <a:moveTo>
                  <a:pt x="4916415" y="5305336"/>
                </a:moveTo>
                <a:cubicBezTo>
                  <a:pt x="4910984" y="5305115"/>
                  <a:pt x="4905405" y="5305849"/>
                  <a:pt x="4899533" y="5308198"/>
                </a:cubicBezTo>
                <a:cubicBezTo>
                  <a:pt x="4899533" y="5310547"/>
                  <a:pt x="4899533" y="5312896"/>
                  <a:pt x="4899533" y="5315244"/>
                </a:cubicBezTo>
                <a:cubicBezTo>
                  <a:pt x="4923021" y="5317593"/>
                  <a:pt x="4946509" y="5324639"/>
                  <a:pt x="4962950" y="5326988"/>
                </a:cubicBezTo>
                <a:cubicBezTo>
                  <a:pt x="4960601" y="5322291"/>
                  <a:pt x="4967647" y="5322291"/>
                  <a:pt x="4965299" y="5315244"/>
                </a:cubicBezTo>
                <a:cubicBezTo>
                  <a:pt x="4947683" y="5315244"/>
                  <a:pt x="4932710" y="5305996"/>
                  <a:pt x="4916415" y="5305336"/>
                </a:cubicBezTo>
                <a:close/>
                <a:moveTo>
                  <a:pt x="5075691" y="5298803"/>
                </a:moveTo>
                <a:cubicBezTo>
                  <a:pt x="5075691" y="5301152"/>
                  <a:pt x="5073342" y="5303501"/>
                  <a:pt x="5073342" y="5305849"/>
                </a:cubicBezTo>
                <a:cubicBezTo>
                  <a:pt x="5073342" y="5305849"/>
                  <a:pt x="5075691" y="5305849"/>
                  <a:pt x="5075691" y="5305849"/>
                </a:cubicBezTo>
                <a:cubicBezTo>
                  <a:pt x="5075691" y="5303501"/>
                  <a:pt x="5075691" y="5301152"/>
                  <a:pt x="5075691" y="5298803"/>
                </a:cubicBezTo>
                <a:close/>
                <a:moveTo>
                  <a:pt x="2137375" y="5296453"/>
                </a:moveTo>
                <a:lnTo>
                  <a:pt x="2137375" y="5303499"/>
                </a:lnTo>
                <a:lnTo>
                  <a:pt x="2135025" y="5345778"/>
                </a:lnTo>
                <a:lnTo>
                  <a:pt x="2106840" y="5378660"/>
                </a:lnTo>
                <a:lnTo>
                  <a:pt x="2085700" y="5514890"/>
                </a:lnTo>
                <a:cubicBezTo>
                  <a:pt x="2083355" y="5524285"/>
                  <a:pt x="2076305" y="5536028"/>
                  <a:pt x="2076305" y="5547772"/>
                </a:cubicBezTo>
                <a:cubicBezTo>
                  <a:pt x="2076305" y="5547772"/>
                  <a:pt x="2076305" y="5568912"/>
                  <a:pt x="2097447" y="5625282"/>
                </a:cubicBezTo>
                <a:lnTo>
                  <a:pt x="2109190" y="5691048"/>
                </a:lnTo>
                <a:lnTo>
                  <a:pt x="2118582" y="6078596"/>
                </a:lnTo>
                <a:cubicBezTo>
                  <a:pt x="2113883" y="6165502"/>
                  <a:pt x="2104490" y="6196035"/>
                  <a:pt x="2097447" y="6200733"/>
                </a:cubicBezTo>
                <a:cubicBezTo>
                  <a:pt x="2090398" y="6205430"/>
                  <a:pt x="2078654" y="6207779"/>
                  <a:pt x="2071607" y="6203081"/>
                </a:cubicBezTo>
                <a:cubicBezTo>
                  <a:pt x="2069262" y="6200733"/>
                  <a:pt x="2071607" y="6193686"/>
                  <a:pt x="2071607" y="6188989"/>
                </a:cubicBezTo>
                <a:cubicBezTo>
                  <a:pt x="2071607" y="6184291"/>
                  <a:pt x="2066912" y="6181943"/>
                  <a:pt x="2064562" y="6179594"/>
                </a:cubicBezTo>
                <a:cubicBezTo>
                  <a:pt x="2059862" y="6177245"/>
                  <a:pt x="2052819" y="6181943"/>
                  <a:pt x="2048120" y="6181943"/>
                </a:cubicBezTo>
                <a:cubicBezTo>
                  <a:pt x="2019934" y="6177245"/>
                  <a:pt x="2010542" y="6149060"/>
                  <a:pt x="2008192" y="6127921"/>
                </a:cubicBezTo>
                <a:cubicBezTo>
                  <a:pt x="2003493" y="6080945"/>
                  <a:pt x="2012892" y="6031621"/>
                  <a:pt x="2012892" y="5984645"/>
                </a:cubicBezTo>
                <a:cubicBezTo>
                  <a:pt x="2015237" y="5862509"/>
                  <a:pt x="2017586" y="5740372"/>
                  <a:pt x="2015237" y="5618236"/>
                </a:cubicBezTo>
                <a:cubicBezTo>
                  <a:pt x="2015237" y="5618236"/>
                  <a:pt x="2017586" y="5620585"/>
                  <a:pt x="2017586" y="5620585"/>
                </a:cubicBezTo>
                <a:cubicBezTo>
                  <a:pt x="2038727" y="5590050"/>
                  <a:pt x="2038727" y="5540726"/>
                  <a:pt x="2048120" y="5531331"/>
                </a:cubicBezTo>
                <a:cubicBezTo>
                  <a:pt x="2057515" y="5536028"/>
                  <a:pt x="2043422" y="5550121"/>
                  <a:pt x="2057515" y="5554819"/>
                </a:cubicBezTo>
                <a:cubicBezTo>
                  <a:pt x="2076305" y="5458519"/>
                  <a:pt x="2055170" y="5404497"/>
                  <a:pt x="2066912" y="5315243"/>
                </a:cubicBezTo>
                <a:cubicBezTo>
                  <a:pt x="2085700" y="5310546"/>
                  <a:pt x="2088049" y="5301151"/>
                  <a:pt x="2111540" y="5319941"/>
                </a:cubicBezTo>
                <a:cubicBezTo>
                  <a:pt x="2113883" y="5305848"/>
                  <a:pt x="2123282" y="5298802"/>
                  <a:pt x="2137375" y="5296453"/>
                </a:cubicBezTo>
                <a:close/>
                <a:moveTo>
                  <a:pt x="5416264" y="5294106"/>
                </a:moveTo>
                <a:cubicBezTo>
                  <a:pt x="5416264" y="5312896"/>
                  <a:pt x="5402171" y="5345779"/>
                  <a:pt x="5418613" y="5357523"/>
                </a:cubicBezTo>
                <a:cubicBezTo>
                  <a:pt x="5413915" y="5336383"/>
                  <a:pt x="5430357" y="5310547"/>
                  <a:pt x="5416264" y="5294106"/>
                </a:cubicBezTo>
                <a:close/>
                <a:moveTo>
                  <a:pt x="4920672" y="5291757"/>
                </a:moveTo>
                <a:cubicBezTo>
                  <a:pt x="4915974" y="5291757"/>
                  <a:pt x="4911277" y="5291757"/>
                  <a:pt x="4904230" y="5298803"/>
                </a:cubicBezTo>
                <a:cubicBezTo>
                  <a:pt x="4925370" y="5301152"/>
                  <a:pt x="4944160" y="5305849"/>
                  <a:pt x="4960601" y="5310547"/>
                </a:cubicBezTo>
                <a:cubicBezTo>
                  <a:pt x="4960601" y="5308198"/>
                  <a:pt x="4958252" y="5303501"/>
                  <a:pt x="4955903" y="5301152"/>
                </a:cubicBezTo>
                <a:cubicBezTo>
                  <a:pt x="4939462" y="5305849"/>
                  <a:pt x="4930067" y="5298803"/>
                  <a:pt x="4920672" y="5291757"/>
                </a:cubicBezTo>
                <a:close/>
                <a:moveTo>
                  <a:pt x="4868999" y="5289408"/>
                </a:moveTo>
                <a:cubicBezTo>
                  <a:pt x="4852557" y="5284710"/>
                  <a:pt x="4854906" y="5298803"/>
                  <a:pt x="4840813" y="5298803"/>
                </a:cubicBezTo>
                <a:cubicBezTo>
                  <a:pt x="4840813" y="5298803"/>
                  <a:pt x="4840813" y="5301152"/>
                  <a:pt x="4840813" y="5301152"/>
                </a:cubicBezTo>
                <a:cubicBezTo>
                  <a:pt x="4847860" y="5301152"/>
                  <a:pt x="4857255" y="5298803"/>
                  <a:pt x="4864301" y="5298803"/>
                </a:cubicBezTo>
                <a:cubicBezTo>
                  <a:pt x="4864301" y="5296454"/>
                  <a:pt x="4864301" y="5294106"/>
                  <a:pt x="4868999" y="5289408"/>
                </a:cubicBezTo>
                <a:close/>
                <a:moveTo>
                  <a:pt x="2900569" y="5284711"/>
                </a:moveTo>
                <a:lnTo>
                  <a:pt x="2900723" y="5284711"/>
                </a:lnTo>
                <a:lnTo>
                  <a:pt x="2900493" y="5285862"/>
                </a:lnTo>
                <a:close/>
                <a:moveTo>
                  <a:pt x="2900723" y="5282362"/>
                </a:moveTo>
                <a:lnTo>
                  <a:pt x="2900569" y="5284711"/>
                </a:lnTo>
                <a:lnTo>
                  <a:pt x="2898374" y="5284711"/>
                </a:lnTo>
                <a:cubicBezTo>
                  <a:pt x="2898374" y="5284711"/>
                  <a:pt x="2900723" y="5282362"/>
                  <a:pt x="2900723" y="5282362"/>
                </a:cubicBezTo>
                <a:close/>
                <a:moveTo>
                  <a:pt x="5428008" y="5280013"/>
                </a:moveTo>
                <a:cubicBezTo>
                  <a:pt x="5425659" y="5289408"/>
                  <a:pt x="5413915" y="5289408"/>
                  <a:pt x="5420962" y="5296454"/>
                </a:cubicBezTo>
                <a:cubicBezTo>
                  <a:pt x="5420962" y="5294106"/>
                  <a:pt x="5423311" y="5291757"/>
                  <a:pt x="5428008" y="5294106"/>
                </a:cubicBezTo>
                <a:cubicBezTo>
                  <a:pt x="5425659" y="5301152"/>
                  <a:pt x="5430357" y="5305849"/>
                  <a:pt x="5435055" y="5310547"/>
                </a:cubicBezTo>
                <a:cubicBezTo>
                  <a:pt x="5444449" y="5296454"/>
                  <a:pt x="5444449" y="5284710"/>
                  <a:pt x="5428008" y="5280013"/>
                </a:cubicBezTo>
                <a:close/>
                <a:moveTo>
                  <a:pt x="2529615" y="5280013"/>
                </a:moveTo>
                <a:cubicBezTo>
                  <a:pt x="2475594" y="5296454"/>
                  <a:pt x="2402781" y="5280013"/>
                  <a:pt x="2346412" y="5303501"/>
                </a:cubicBezTo>
                <a:cubicBezTo>
                  <a:pt x="2395735" y="5298803"/>
                  <a:pt x="2461501" y="5308198"/>
                  <a:pt x="2508476" y="5289408"/>
                </a:cubicBezTo>
                <a:cubicBezTo>
                  <a:pt x="2515523" y="5296454"/>
                  <a:pt x="2524918" y="5289408"/>
                  <a:pt x="2529615" y="5280013"/>
                </a:cubicBezTo>
                <a:close/>
                <a:moveTo>
                  <a:pt x="5552493" y="5275315"/>
                </a:moveTo>
                <a:cubicBezTo>
                  <a:pt x="5561888" y="5282362"/>
                  <a:pt x="5521959" y="5284710"/>
                  <a:pt x="5547796" y="5301152"/>
                </a:cubicBezTo>
                <a:cubicBezTo>
                  <a:pt x="5561888" y="5291757"/>
                  <a:pt x="5575981" y="5270618"/>
                  <a:pt x="5552493" y="5275315"/>
                </a:cubicBezTo>
                <a:close/>
                <a:moveTo>
                  <a:pt x="5625269" y="5263461"/>
                </a:moveTo>
                <a:cubicBezTo>
                  <a:pt x="5623544" y="5261516"/>
                  <a:pt x="5621195" y="5261222"/>
                  <a:pt x="5618259" y="5263571"/>
                </a:cubicBezTo>
                <a:cubicBezTo>
                  <a:pt x="5627654" y="5270618"/>
                  <a:pt x="5611213" y="5291757"/>
                  <a:pt x="5622957" y="5298803"/>
                </a:cubicBezTo>
                <a:cubicBezTo>
                  <a:pt x="5630004" y="5289995"/>
                  <a:pt x="5630444" y="5269297"/>
                  <a:pt x="5625269" y="5263461"/>
                </a:cubicBezTo>
                <a:close/>
                <a:moveTo>
                  <a:pt x="5572972" y="5259718"/>
                </a:moveTo>
                <a:cubicBezTo>
                  <a:pt x="5572899" y="5259168"/>
                  <a:pt x="5573045" y="5261810"/>
                  <a:pt x="5573632" y="5270618"/>
                </a:cubicBezTo>
                <a:cubicBezTo>
                  <a:pt x="5575394" y="5291757"/>
                  <a:pt x="5573192" y="5261370"/>
                  <a:pt x="5572972" y="5259718"/>
                </a:cubicBezTo>
                <a:close/>
                <a:moveTo>
                  <a:pt x="2548406" y="5251827"/>
                </a:moveTo>
                <a:cubicBezTo>
                  <a:pt x="2494384" y="5272966"/>
                  <a:pt x="2416874" y="5254176"/>
                  <a:pt x="2376945" y="5284710"/>
                </a:cubicBezTo>
                <a:cubicBezTo>
                  <a:pt x="2430967" y="5282362"/>
                  <a:pt x="2492035" y="5263571"/>
                  <a:pt x="2539011" y="5268269"/>
                </a:cubicBezTo>
                <a:cubicBezTo>
                  <a:pt x="2536662" y="5258874"/>
                  <a:pt x="2546057" y="5261222"/>
                  <a:pt x="2548406" y="5251827"/>
                </a:cubicBezTo>
                <a:close/>
                <a:moveTo>
                  <a:pt x="4948857" y="5249479"/>
                </a:moveTo>
                <a:cubicBezTo>
                  <a:pt x="4946509" y="5254176"/>
                  <a:pt x="4944160" y="5258874"/>
                  <a:pt x="4941811" y="5261222"/>
                </a:cubicBezTo>
                <a:cubicBezTo>
                  <a:pt x="4953555" y="5270618"/>
                  <a:pt x="4962950" y="5277664"/>
                  <a:pt x="4972345" y="5268269"/>
                </a:cubicBezTo>
                <a:cubicBezTo>
                  <a:pt x="4962950" y="5263571"/>
                  <a:pt x="4953555" y="5258874"/>
                  <a:pt x="4948857" y="5249479"/>
                </a:cubicBezTo>
                <a:close/>
                <a:moveTo>
                  <a:pt x="4923021" y="5235386"/>
                </a:moveTo>
                <a:cubicBezTo>
                  <a:pt x="4923021" y="5237735"/>
                  <a:pt x="4920672" y="5240084"/>
                  <a:pt x="4918323" y="5242432"/>
                </a:cubicBezTo>
                <a:lnTo>
                  <a:pt x="4918323" y="5244781"/>
                </a:lnTo>
                <a:cubicBezTo>
                  <a:pt x="4918323" y="5244781"/>
                  <a:pt x="4920672" y="5247130"/>
                  <a:pt x="4923021" y="5247130"/>
                </a:cubicBezTo>
                <a:cubicBezTo>
                  <a:pt x="4925370" y="5242432"/>
                  <a:pt x="4925370" y="5237735"/>
                  <a:pt x="4923021" y="5235386"/>
                </a:cubicBezTo>
                <a:close/>
                <a:moveTo>
                  <a:pt x="2546057" y="5221293"/>
                </a:moveTo>
                <a:cubicBezTo>
                  <a:pt x="2494384" y="5225991"/>
                  <a:pt x="2447408" y="5230688"/>
                  <a:pt x="2414525" y="5254176"/>
                </a:cubicBezTo>
                <a:cubicBezTo>
                  <a:pt x="2459152" y="5242432"/>
                  <a:pt x="2517871" y="5244781"/>
                  <a:pt x="2546057" y="5221293"/>
                </a:cubicBezTo>
                <a:close/>
                <a:moveTo>
                  <a:pt x="5514913" y="5218944"/>
                </a:moveTo>
                <a:cubicBezTo>
                  <a:pt x="5510215" y="5233037"/>
                  <a:pt x="5514913" y="5247130"/>
                  <a:pt x="5496123" y="5244781"/>
                </a:cubicBezTo>
                <a:cubicBezTo>
                  <a:pt x="5500820" y="5235386"/>
                  <a:pt x="5498471" y="5228340"/>
                  <a:pt x="5491425" y="5223642"/>
                </a:cubicBezTo>
                <a:cubicBezTo>
                  <a:pt x="5493774" y="5254176"/>
                  <a:pt x="5463240" y="5237735"/>
                  <a:pt x="5453845" y="5263571"/>
                </a:cubicBezTo>
                <a:cubicBezTo>
                  <a:pt x="5453845" y="5270618"/>
                  <a:pt x="5460891" y="5298803"/>
                  <a:pt x="5474984" y="5284710"/>
                </a:cubicBezTo>
                <a:cubicBezTo>
                  <a:pt x="5467937" y="5277664"/>
                  <a:pt x="5467937" y="5268269"/>
                  <a:pt x="5472635" y="5256525"/>
                </a:cubicBezTo>
                <a:cubicBezTo>
                  <a:pt x="5498471" y="5275315"/>
                  <a:pt x="5498471" y="5235386"/>
                  <a:pt x="5521959" y="5249479"/>
                </a:cubicBezTo>
                <a:cubicBezTo>
                  <a:pt x="5524308" y="5237735"/>
                  <a:pt x="5531354" y="5223642"/>
                  <a:pt x="5514913" y="5218944"/>
                </a:cubicBezTo>
                <a:close/>
                <a:moveTo>
                  <a:pt x="5547796" y="5214247"/>
                </a:moveTo>
                <a:cubicBezTo>
                  <a:pt x="5540750" y="5221293"/>
                  <a:pt x="5533703" y="5221293"/>
                  <a:pt x="5531354" y="5235386"/>
                </a:cubicBezTo>
                <a:cubicBezTo>
                  <a:pt x="5536052" y="5237735"/>
                  <a:pt x="5538401" y="5237735"/>
                  <a:pt x="5543098" y="5240084"/>
                </a:cubicBezTo>
                <a:cubicBezTo>
                  <a:pt x="5547796" y="5233037"/>
                  <a:pt x="5552493" y="5235386"/>
                  <a:pt x="5554842" y="5230688"/>
                </a:cubicBezTo>
                <a:cubicBezTo>
                  <a:pt x="5552493" y="5228340"/>
                  <a:pt x="5545447" y="5225991"/>
                  <a:pt x="5545447" y="5218944"/>
                </a:cubicBezTo>
                <a:cubicBezTo>
                  <a:pt x="5547796" y="5221293"/>
                  <a:pt x="5554842" y="5218944"/>
                  <a:pt x="5547796" y="5214247"/>
                </a:cubicBezTo>
                <a:close/>
                <a:moveTo>
                  <a:pt x="2501430" y="5214247"/>
                </a:moveTo>
                <a:cubicBezTo>
                  <a:pt x="2468547" y="5221293"/>
                  <a:pt x="2430967" y="5223642"/>
                  <a:pt x="2405130" y="5237735"/>
                </a:cubicBezTo>
                <a:cubicBezTo>
                  <a:pt x="2440362" y="5233037"/>
                  <a:pt x="2473246" y="5225991"/>
                  <a:pt x="2501430" y="5214247"/>
                </a:cubicBezTo>
                <a:close/>
                <a:moveTo>
                  <a:pt x="5474984" y="5211898"/>
                </a:moveTo>
                <a:cubicBezTo>
                  <a:pt x="5472635" y="5216596"/>
                  <a:pt x="5472635" y="5218944"/>
                  <a:pt x="5470286" y="5223642"/>
                </a:cubicBezTo>
                <a:cubicBezTo>
                  <a:pt x="5474984" y="5225991"/>
                  <a:pt x="5477333" y="5225991"/>
                  <a:pt x="5482030" y="5228340"/>
                </a:cubicBezTo>
                <a:cubicBezTo>
                  <a:pt x="5484379" y="5223642"/>
                  <a:pt x="5484379" y="5221293"/>
                  <a:pt x="5486728" y="5216596"/>
                </a:cubicBezTo>
                <a:cubicBezTo>
                  <a:pt x="5482030" y="5214247"/>
                  <a:pt x="5479681" y="5214247"/>
                  <a:pt x="5474984" y="5211898"/>
                </a:cubicBezTo>
                <a:close/>
                <a:moveTo>
                  <a:pt x="2607125" y="5204852"/>
                </a:moveTo>
                <a:cubicBezTo>
                  <a:pt x="2585986" y="5230688"/>
                  <a:pt x="2630613" y="5228340"/>
                  <a:pt x="2640008" y="5225991"/>
                </a:cubicBezTo>
                <a:cubicBezTo>
                  <a:pt x="2625916" y="5218944"/>
                  <a:pt x="2611823" y="5214247"/>
                  <a:pt x="2607125" y="5204852"/>
                </a:cubicBezTo>
                <a:close/>
                <a:moveTo>
                  <a:pt x="2814406" y="5201622"/>
                </a:moveTo>
                <a:cubicBezTo>
                  <a:pt x="2823215" y="5203090"/>
                  <a:pt x="2830260" y="5209549"/>
                  <a:pt x="2827912" y="5223642"/>
                </a:cubicBezTo>
                <a:cubicBezTo>
                  <a:pt x="2811471" y="5230688"/>
                  <a:pt x="2809121" y="5230688"/>
                  <a:pt x="2792680" y="5228339"/>
                </a:cubicBezTo>
                <a:cubicBezTo>
                  <a:pt x="2792680" y="5221293"/>
                  <a:pt x="2790331" y="5216595"/>
                  <a:pt x="2790331" y="5209549"/>
                </a:cubicBezTo>
                <a:cubicBezTo>
                  <a:pt x="2795028" y="5203677"/>
                  <a:pt x="2805598" y="5200154"/>
                  <a:pt x="2814406" y="5201622"/>
                </a:cubicBezTo>
                <a:close/>
                <a:moveTo>
                  <a:pt x="5460891" y="5197806"/>
                </a:moveTo>
                <a:cubicBezTo>
                  <a:pt x="5458542" y="5202503"/>
                  <a:pt x="5456193" y="5207200"/>
                  <a:pt x="5456193" y="5209549"/>
                </a:cubicBezTo>
                <a:cubicBezTo>
                  <a:pt x="5460891" y="5211898"/>
                  <a:pt x="5463240" y="5211898"/>
                  <a:pt x="5467937" y="5214247"/>
                </a:cubicBezTo>
                <a:cubicBezTo>
                  <a:pt x="5470286" y="5209549"/>
                  <a:pt x="5470286" y="5207200"/>
                  <a:pt x="5472635" y="5202503"/>
                </a:cubicBezTo>
                <a:cubicBezTo>
                  <a:pt x="5467937" y="5200154"/>
                  <a:pt x="5465589" y="5200154"/>
                  <a:pt x="5460891" y="5197806"/>
                </a:cubicBezTo>
                <a:close/>
                <a:moveTo>
                  <a:pt x="5042809" y="5195457"/>
                </a:moveTo>
                <a:cubicBezTo>
                  <a:pt x="5031065" y="5200154"/>
                  <a:pt x="5021669" y="5218944"/>
                  <a:pt x="5026367" y="5233037"/>
                </a:cubicBezTo>
                <a:cubicBezTo>
                  <a:pt x="5021669" y="5235386"/>
                  <a:pt x="5016972" y="5242432"/>
                  <a:pt x="5014623" y="5247130"/>
                </a:cubicBezTo>
                <a:cubicBezTo>
                  <a:pt x="5019321" y="5249479"/>
                  <a:pt x="5024018" y="5254176"/>
                  <a:pt x="5026367" y="5258874"/>
                </a:cubicBezTo>
                <a:cubicBezTo>
                  <a:pt x="5031065" y="5237735"/>
                  <a:pt x="5033413" y="5214247"/>
                  <a:pt x="5042809" y="5195457"/>
                </a:cubicBezTo>
                <a:close/>
                <a:moveTo>
                  <a:pt x="2130329" y="5195457"/>
                </a:moveTo>
                <a:cubicBezTo>
                  <a:pt x="2132678" y="5197806"/>
                  <a:pt x="2135028" y="5202503"/>
                  <a:pt x="2137376" y="5204852"/>
                </a:cubicBezTo>
                <a:lnTo>
                  <a:pt x="2137376" y="5287060"/>
                </a:lnTo>
                <a:cubicBezTo>
                  <a:pt x="2111540" y="5291757"/>
                  <a:pt x="2083355" y="5296455"/>
                  <a:pt x="2055170" y="5294106"/>
                </a:cubicBezTo>
                <a:cubicBezTo>
                  <a:pt x="2062215" y="5263572"/>
                  <a:pt x="2057520" y="5242433"/>
                  <a:pt x="2078657" y="5221294"/>
                </a:cubicBezTo>
                <a:cubicBezTo>
                  <a:pt x="2088055" y="5223643"/>
                  <a:pt x="2073963" y="5258874"/>
                  <a:pt x="2088055" y="5244782"/>
                </a:cubicBezTo>
                <a:cubicBezTo>
                  <a:pt x="2076308" y="5211899"/>
                  <a:pt x="2104493" y="5195457"/>
                  <a:pt x="2130329" y="5195457"/>
                </a:cubicBezTo>
                <a:close/>
                <a:moveTo>
                  <a:pt x="5566586" y="5188411"/>
                </a:moveTo>
                <a:cubicBezTo>
                  <a:pt x="5566586" y="5209549"/>
                  <a:pt x="5545447" y="5186062"/>
                  <a:pt x="5545447" y="5207200"/>
                </a:cubicBezTo>
                <a:cubicBezTo>
                  <a:pt x="5575981" y="5200154"/>
                  <a:pt x="5561888" y="5235386"/>
                  <a:pt x="5573632" y="5251827"/>
                </a:cubicBezTo>
                <a:cubicBezTo>
                  <a:pt x="5575981" y="5228340"/>
                  <a:pt x="5575981" y="5207200"/>
                  <a:pt x="5566586" y="5188411"/>
                </a:cubicBezTo>
                <a:close/>
                <a:moveTo>
                  <a:pt x="4810279" y="5186062"/>
                </a:moveTo>
                <a:cubicBezTo>
                  <a:pt x="4810279" y="5195457"/>
                  <a:pt x="4819675" y="5202503"/>
                  <a:pt x="4829070" y="5207200"/>
                </a:cubicBezTo>
                <a:cubicBezTo>
                  <a:pt x="4838465" y="5207200"/>
                  <a:pt x="4847860" y="5209549"/>
                  <a:pt x="4854906" y="5209549"/>
                </a:cubicBezTo>
                <a:cubicBezTo>
                  <a:pt x="4857255" y="5209549"/>
                  <a:pt x="4859604" y="5209549"/>
                  <a:pt x="4859604" y="5207200"/>
                </a:cubicBezTo>
                <a:cubicBezTo>
                  <a:pt x="4850208" y="5190759"/>
                  <a:pt x="4829070" y="5190759"/>
                  <a:pt x="4810279" y="5186062"/>
                </a:cubicBezTo>
                <a:close/>
                <a:moveTo>
                  <a:pt x="5521042" y="5181731"/>
                </a:moveTo>
                <a:cubicBezTo>
                  <a:pt x="5518877" y="5181365"/>
                  <a:pt x="5516675" y="5182539"/>
                  <a:pt x="5514913" y="5186062"/>
                </a:cubicBezTo>
                <a:cubicBezTo>
                  <a:pt x="5521959" y="5190759"/>
                  <a:pt x="5512564" y="5202503"/>
                  <a:pt x="5526657" y="5204852"/>
                </a:cubicBezTo>
                <a:cubicBezTo>
                  <a:pt x="5533704" y="5197806"/>
                  <a:pt x="5527538" y="5182832"/>
                  <a:pt x="5521042" y="5181731"/>
                </a:cubicBezTo>
                <a:close/>
                <a:moveTo>
                  <a:pt x="2562498" y="5181364"/>
                </a:moveTo>
                <a:cubicBezTo>
                  <a:pt x="2503779" y="5186062"/>
                  <a:pt x="2442711" y="5207200"/>
                  <a:pt x="2393386" y="5228340"/>
                </a:cubicBezTo>
                <a:cubicBezTo>
                  <a:pt x="2445059" y="5209549"/>
                  <a:pt x="2510825" y="5202503"/>
                  <a:pt x="2562498" y="5181364"/>
                </a:cubicBezTo>
                <a:close/>
                <a:moveTo>
                  <a:pt x="5441440" y="5177914"/>
                </a:moveTo>
                <a:cubicBezTo>
                  <a:pt x="5426687" y="5180777"/>
                  <a:pt x="5413916" y="5200155"/>
                  <a:pt x="5420962" y="5214247"/>
                </a:cubicBezTo>
                <a:cubicBezTo>
                  <a:pt x="5442101" y="5195457"/>
                  <a:pt x="5428008" y="5251827"/>
                  <a:pt x="5446798" y="5233037"/>
                </a:cubicBezTo>
                <a:cubicBezTo>
                  <a:pt x="5446798" y="5225991"/>
                  <a:pt x="5453845" y="5202503"/>
                  <a:pt x="5456193" y="5181364"/>
                </a:cubicBezTo>
                <a:cubicBezTo>
                  <a:pt x="5451496" y="5177841"/>
                  <a:pt x="5446358" y="5176960"/>
                  <a:pt x="5441440" y="5177914"/>
                </a:cubicBezTo>
                <a:close/>
                <a:moveTo>
                  <a:pt x="3990556" y="5174318"/>
                </a:moveTo>
                <a:cubicBezTo>
                  <a:pt x="3983509" y="5176667"/>
                  <a:pt x="3974114" y="5176667"/>
                  <a:pt x="3967068" y="5179015"/>
                </a:cubicBezTo>
                <a:cubicBezTo>
                  <a:pt x="3964720" y="5179015"/>
                  <a:pt x="3962370" y="5181364"/>
                  <a:pt x="3960021" y="5181364"/>
                </a:cubicBezTo>
                <a:cubicBezTo>
                  <a:pt x="3962370" y="5186062"/>
                  <a:pt x="3964720" y="5188411"/>
                  <a:pt x="3967068" y="5195457"/>
                </a:cubicBezTo>
                <a:cubicBezTo>
                  <a:pt x="3969416" y="5195457"/>
                  <a:pt x="3971765" y="5195457"/>
                  <a:pt x="3974114" y="5195457"/>
                </a:cubicBezTo>
                <a:cubicBezTo>
                  <a:pt x="3978812" y="5193108"/>
                  <a:pt x="3983509" y="5190759"/>
                  <a:pt x="3988207" y="5188411"/>
                </a:cubicBezTo>
                <a:cubicBezTo>
                  <a:pt x="3990556" y="5183713"/>
                  <a:pt x="3992904" y="5179015"/>
                  <a:pt x="3990556" y="5174318"/>
                </a:cubicBezTo>
                <a:close/>
                <a:moveTo>
                  <a:pt x="5533703" y="5167271"/>
                </a:moveTo>
                <a:cubicBezTo>
                  <a:pt x="5519610" y="5181364"/>
                  <a:pt x="5538401" y="5202503"/>
                  <a:pt x="5543098" y="5190759"/>
                </a:cubicBezTo>
                <a:cubicBezTo>
                  <a:pt x="5533703" y="5186062"/>
                  <a:pt x="5547796" y="5171969"/>
                  <a:pt x="5533703" y="5167271"/>
                </a:cubicBezTo>
                <a:close/>
                <a:moveTo>
                  <a:pt x="4951206" y="5167271"/>
                </a:moveTo>
                <a:cubicBezTo>
                  <a:pt x="4948857" y="5171969"/>
                  <a:pt x="4946509" y="5176667"/>
                  <a:pt x="4944160" y="5176667"/>
                </a:cubicBezTo>
                <a:cubicBezTo>
                  <a:pt x="4944160" y="5183713"/>
                  <a:pt x="4946509" y="5188411"/>
                  <a:pt x="4948857" y="5190759"/>
                </a:cubicBezTo>
                <a:cubicBezTo>
                  <a:pt x="4953555" y="5183713"/>
                  <a:pt x="4958252" y="5174318"/>
                  <a:pt x="4960601" y="5167271"/>
                </a:cubicBezTo>
                <a:cubicBezTo>
                  <a:pt x="4958252" y="5167271"/>
                  <a:pt x="4953555" y="5167271"/>
                  <a:pt x="4951206" y="5167271"/>
                </a:cubicBezTo>
                <a:close/>
                <a:moveTo>
                  <a:pt x="2466198" y="5143784"/>
                </a:moveTo>
                <a:cubicBezTo>
                  <a:pt x="2452106" y="5167271"/>
                  <a:pt x="2428619" y="5179015"/>
                  <a:pt x="2414525" y="5202503"/>
                </a:cubicBezTo>
                <a:cubicBezTo>
                  <a:pt x="2475594" y="5186062"/>
                  <a:pt x="2541359" y="5153179"/>
                  <a:pt x="2609474" y="5160225"/>
                </a:cubicBezTo>
                <a:cubicBezTo>
                  <a:pt x="2609474" y="5153179"/>
                  <a:pt x="2616520" y="5153179"/>
                  <a:pt x="2616520" y="5143784"/>
                </a:cubicBezTo>
                <a:cubicBezTo>
                  <a:pt x="2567196" y="5148481"/>
                  <a:pt x="2517871" y="5141435"/>
                  <a:pt x="2477942" y="5150830"/>
                </a:cubicBezTo>
                <a:cubicBezTo>
                  <a:pt x="2475594" y="5146132"/>
                  <a:pt x="2473246" y="5141435"/>
                  <a:pt x="2466198" y="5143784"/>
                </a:cubicBezTo>
                <a:close/>
                <a:moveTo>
                  <a:pt x="1742791" y="5141434"/>
                </a:moveTo>
                <a:cubicBezTo>
                  <a:pt x="1742791" y="5141434"/>
                  <a:pt x="1742791" y="5143783"/>
                  <a:pt x="1747485" y="5146132"/>
                </a:cubicBezTo>
                <a:lnTo>
                  <a:pt x="1752183" y="5153178"/>
                </a:lnTo>
                <a:lnTo>
                  <a:pt x="1742791" y="5157875"/>
                </a:lnTo>
                <a:lnTo>
                  <a:pt x="1738091" y="5153178"/>
                </a:lnTo>
                <a:lnTo>
                  <a:pt x="1738091" y="5143783"/>
                </a:lnTo>
                <a:cubicBezTo>
                  <a:pt x="1740441" y="5143783"/>
                  <a:pt x="1740441" y="5141434"/>
                  <a:pt x="1742791" y="5141434"/>
                </a:cubicBezTo>
                <a:close/>
                <a:moveTo>
                  <a:pt x="2318226" y="5134389"/>
                </a:moveTo>
                <a:cubicBezTo>
                  <a:pt x="2315878" y="5139087"/>
                  <a:pt x="2313529" y="5141435"/>
                  <a:pt x="2313529" y="5146133"/>
                </a:cubicBezTo>
                <a:cubicBezTo>
                  <a:pt x="2318226" y="5148482"/>
                  <a:pt x="2320576" y="5150830"/>
                  <a:pt x="2322924" y="5153179"/>
                </a:cubicBezTo>
                <a:cubicBezTo>
                  <a:pt x="2304134" y="5162574"/>
                  <a:pt x="2290041" y="5174318"/>
                  <a:pt x="2268902" y="5179016"/>
                </a:cubicBezTo>
                <a:cubicBezTo>
                  <a:pt x="2280646" y="5160225"/>
                  <a:pt x="2299436" y="5148482"/>
                  <a:pt x="2318226" y="5134389"/>
                </a:cubicBezTo>
                <a:close/>
                <a:moveTo>
                  <a:pt x="1564280" y="5129690"/>
                </a:moveTo>
                <a:lnTo>
                  <a:pt x="1571330" y="5132039"/>
                </a:lnTo>
                <a:lnTo>
                  <a:pt x="1564280" y="5141434"/>
                </a:lnTo>
                <a:lnTo>
                  <a:pt x="1557238" y="5132039"/>
                </a:lnTo>
                <a:close/>
                <a:moveTo>
                  <a:pt x="2842003" y="5122645"/>
                </a:moveTo>
                <a:cubicBezTo>
                  <a:pt x="2839654" y="5122645"/>
                  <a:pt x="2837305" y="5124994"/>
                  <a:pt x="2834957" y="5127343"/>
                </a:cubicBezTo>
                <a:lnTo>
                  <a:pt x="2834170" y="5126948"/>
                </a:lnTo>
                <a:close/>
                <a:moveTo>
                  <a:pt x="2750400" y="5110900"/>
                </a:moveTo>
                <a:cubicBezTo>
                  <a:pt x="2750400" y="5115598"/>
                  <a:pt x="2750400" y="5117946"/>
                  <a:pt x="2748053" y="5120295"/>
                </a:cubicBezTo>
                <a:cubicBezTo>
                  <a:pt x="2741006" y="5122644"/>
                  <a:pt x="2733959" y="5127341"/>
                  <a:pt x="2722215" y="5122644"/>
                </a:cubicBezTo>
                <a:cubicBezTo>
                  <a:pt x="2731610" y="5115598"/>
                  <a:pt x="2741006" y="5113249"/>
                  <a:pt x="2750400" y="5110900"/>
                </a:cubicBezTo>
                <a:close/>
                <a:moveTo>
                  <a:pt x="1446842" y="5108551"/>
                </a:moveTo>
                <a:lnTo>
                  <a:pt x="1453889" y="5113249"/>
                </a:lnTo>
                <a:lnTo>
                  <a:pt x="1446842" y="5122644"/>
                </a:lnTo>
                <a:lnTo>
                  <a:pt x="1442147" y="5113249"/>
                </a:lnTo>
                <a:close/>
                <a:moveTo>
                  <a:pt x="1752183" y="5106202"/>
                </a:moveTo>
                <a:cubicBezTo>
                  <a:pt x="1752183" y="5106202"/>
                  <a:pt x="1754534" y="5108551"/>
                  <a:pt x="1756884" y="5108551"/>
                </a:cubicBezTo>
                <a:lnTo>
                  <a:pt x="1756884" y="5117946"/>
                </a:lnTo>
                <a:cubicBezTo>
                  <a:pt x="1756884" y="5117946"/>
                  <a:pt x="1754534" y="5120295"/>
                  <a:pt x="1752183" y="5122643"/>
                </a:cubicBezTo>
                <a:lnTo>
                  <a:pt x="1742787" y="5124992"/>
                </a:lnTo>
                <a:lnTo>
                  <a:pt x="1735741" y="5117946"/>
                </a:lnTo>
                <a:cubicBezTo>
                  <a:pt x="1735741" y="5117946"/>
                  <a:pt x="1742787" y="5108551"/>
                  <a:pt x="1742787" y="5108551"/>
                </a:cubicBezTo>
                <a:close/>
                <a:moveTo>
                  <a:pt x="2611823" y="5103854"/>
                </a:moveTo>
                <a:cubicBezTo>
                  <a:pt x="2562498" y="5110901"/>
                  <a:pt x="2515523" y="5106203"/>
                  <a:pt x="2473246" y="5122645"/>
                </a:cubicBezTo>
                <a:cubicBezTo>
                  <a:pt x="2492035" y="5120296"/>
                  <a:pt x="2515523" y="5117947"/>
                  <a:pt x="2539011" y="5115598"/>
                </a:cubicBezTo>
                <a:cubicBezTo>
                  <a:pt x="2541359" y="5117947"/>
                  <a:pt x="2541359" y="5117947"/>
                  <a:pt x="2543709" y="5120296"/>
                </a:cubicBezTo>
                <a:cubicBezTo>
                  <a:pt x="2524918" y="5120296"/>
                  <a:pt x="2508476" y="5124993"/>
                  <a:pt x="2492035" y="5136737"/>
                </a:cubicBezTo>
                <a:cubicBezTo>
                  <a:pt x="2527267" y="5129691"/>
                  <a:pt x="2578940" y="5139086"/>
                  <a:pt x="2607125" y="5124993"/>
                </a:cubicBezTo>
                <a:cubicBezTo>
                  <a:pt x="2590684" y="5124993"/>
                  <a:pt x="2571893" y="5122645"/>
                  <a:pt x="2555452" y="5122645"/>
                </a:cubicBezTo>
                <a:cubicBezTo>
                  <a:pt x="2555452" y="5120296"/>
                  <a:pt x="2557801" y="5117947"/>
                  <a:pt x="2555452" y="5115598"/>
                </a:cubicBezTo>
                <a:cubicBezTo>
                  <a:pt x="2576591" y="5113249"/>
                  <a:pt x="2597730" y="5110901"/>
                  <a:pt x="2611823" y="5103854"/>
                </a:cubicBezTo>
                <a:close/>
                <a:moveTo>
                  <a:pt x="2792680" y="5101506"/>
                </a:moveTo>
                <a:cubicBezTo>
                  <a:pt x="2792680" y="5103855"/>
                  <a:pt x="2792680" y="5103855"/>
                  <a:pt x="2792680" y="5106204"/>
                </a:cubicBezTo>
                <a:lnTo>
                  <a:pt x="2834170" y="5126948"/>
                </a:lnTo>
                <a:lnTo>
                  <a:pt x="2821159" y="5134095"/>
                </a:lnTo>
                <a:cubicBezTo>
                  <a:pt x="2812644" y="5136737"/>
                  <a:pt x="2803248" y="5139086"/>
                  <a:pt x="2795027" y="5143784"/>
                </a:cubicBezTo>
                <a:cubicBezTo>
                  <a:pt x="2792680" y="5153179"/>
                  <a:pt x="2818515" y="5146133"/>
                  <a:pt x="2813817" y="5162574"/>
                </a:cubicBezTo>
                <a:cubicBezTo>
                  <a:pt x="2809120" y="5162574"/>
                  <a:pt x="2802074" y="5162574"/>
                  <a:pt x="2797376" y="5162574"/>
                </a:cubicBezTo>
                <a:cubicBezTo>
                  <a:pt x="2790330" y="5141436"/>
                  <a:pt x="2771540" y="5129692"/>
                  <a:pt x="2745703" y="5132040"/>
                </a:cubicBezTo>
                <a:cubicBezTo>
                  <a:pt x="2752749" y="5124994"/>
                  <a:pt x="2762144" y="5120296"/>
                  <a:pt x="2771540" y="5113250"/>
                </a:cubicBezTo>
                <a:cubicBezTo>
                  <a:pt x="2766842" y="5110901"/>
                  <a:pt x="2762144" y="5110901"/>
                  <a:pt x="2759797" y="5110901"/>
                </a:cubicBezTo>
                <a:cubicBezTo>
                  <a:pt x="2762144" y="5110901"/>
                  <a:pt x="2762144" y="5108552"/>
                  <a:pt x="2762144" y="5108552"/>
                </a:cubicBezTo>
                <a:cubicBezTo>
                  <a:pt x="2762144" y="5108552"/>
                  <a:pt x="2762144" y="5106204"/>
                  <a:pt x="2762144" y="5106204"/>
                </a:cubicBezTo>
                <a:cubicBezTo>
                  <a:pt x="2771540" y="5103855"/>
                  <a:pt x="2783283" y="5103855"/>
                  <a:pt x="2792680" y="5101506"/>
                </a:cubicBezTo>
                <a:close/>
                <a:moveTo>
                  <a:pt x="2849049" y="5092110"/>
                </a:moveTo>
                <a:cubicBezTo>
                  <a:pt x="2849049" y="5094459"/>
                  <a:pt x="2849049" y="5096808"/>
                  <a:pt x="2849049" y="5099156"/>
                </a:cubicBezTo>
                <a:cubicBezTo>
                  <a:pt x="2844351" y="5101505"/>
                  <a:pt x="2842003" y="5101505"/>
                  <a:pt x="2837305" y="5101505"/>
                </a:cubicBezTo>
                <a:cubicBezTo>
                  <a:pt x="2834956" y="5101505"/>
                  <a:pt x="2832608" y="5099156"/>
                  <a:pt x="2827910" y="5096808"/>
                </a:cubicBezTo>
                <a:cubicBezTo>
                  <a:pt x="2834956" y="5096808"/>
                  <a:pt x="2842003" y="5094459"/>
                  <a:pt x="2849049" y="5092110"/>
                </a:cubicBezTo>
                <a:close/>
                <a:moveTo>
                  <a:pt x="1583073" y="5092110"/>
                </a:moveTo>
                <a:cubicBezTo>
                  <a:pt x="1583073" y="5092110"/>
                  <a:pt x="1585423" y="5094459"/>
                  <a:pt x="1587773" y="5096808"/>
                </a:cubicBezTo>
                <a:lnTo>
                  <a:pt x="1587773" y="5106203"/>
                </a:lnTo>
                <a:cubicBezTo>
                  <a:pt x="1587773" y="5106203"/>
                  <a:pt x="1585423" y="5108551"/>
                  <a:pt x="1583073" y="5110900"/>
                </a:cubicBezTo>
                <a:lnTo>
                  <a:pt x="1573676" y="5110900"/>
                </a:lnTo>
                <a:lnTo>
                  <a:pt x="1566630" y="5106203"/>
                </a:lnTo>
                <a:cubicBezTo>
                  <a:pt x="1566630" y="5106203"/>
                  <a:pt x="1564280" y="5103854"/>
                  <a:pt x="1564280" y="5096808"/>
                </a:cubicBezTo>
                <a:lnTo>
                  <a:pt x="1573676" y="5094459"/>
                </a:lnTo>
                <a:close/>
                <a:moveTo>
                  <a:pt x="2466198" y="5075669"/>
                </a:moveTo>
                <a:cubicBezTo>
                  <a:pt x="2423920" y="5087413"/>
                  <a:pt x="2400433" y="5117947"/>
                  <a:pt x="2369898" y="5141435"/>
                </a:cubicBezTo>
                <a:cubicBezTo>
                  <a:pt x="2405130" y="5122645"/>
                  <a:pt x="2440362" y="5101505"/>
                  <a:pt x="2466198" y="5075669"/>
                </a:cubicBezTo>
                <a:close/>
                <a:moveTo>
                  <a:pt x="5532235" y="5072146"/>
                </a:moveTo>
                <a:cubicBezTo>
                  <a:pt x="5533116" y="5070972"/>
                  <a:pt x="5532529" y="5072146"/>
                  <a:pt x="5529006" y="5078018"/>
                </a:cubicBezTo>
                <a:cubicBezTo>
                  <a:pt x="5521959" y="5087413"/>
                  <a:pt x="5524308" y="5085064"/>
                  <a:pt x="5526657" y="5080367"/>
                </a:cubicBezTo>
                <a:cubicBezTo>
                  <a:pt x="5529006" y="5076844"/>
                  <a:pt x="5531355" y="5073320"/>
                  <a:pt x="5532235" y="5072146"/>
                </a:cubicBezTo>
                <a:close/>
                <a:moveTo>
                  <a:pt x="1735741" y="5056879"/>
                </a:moveTo>
                <a:cubicBezTo>
                  <a:pt x="1735741" y="5056879"/>
                  <a:pt x="1735741" y="5059228"/>
                  <a:pt x="1735741" y="5059228"/>
                </a:cubicBezTo>
                <a:lnTo>
                  <a:pt x="1756884" y="5075669"/>
                </a:lnTo>
                <a:lnTo>
                  <a:pt x="1752183" y="5099157"/>
                </a:lnTo>
                <a:cubicBezTo>
                  <a:pt x="1747485" y="5096808"/>
                  <a:pt x="1745137" y="5096808"/>
                  <a:pt x="1742787" y="5094460"/>
                </a:cubicBezTo>
                <a:cubicBezTo>
                  <a:pt x="1742787" y="5092111"/>
                  <a:pt x="1735741" y="5087413"/>
                  <a:pt x="1731044" y="5082716"/>
                </a:cubicBezTo>
                <a:lnTo>
                  <a:pt x="1726349" y="5066274"/>
                </a:lnTo>
                <a:close/>
                <a:moveTo>
                  <a:pt x="2635310" y="5052181"/>
                </a:moveTo>
                <a:cubicBezTo>
                  <a:pt x="2600079" y="5052181"/>
                  <a:pt x="2564847" y="5052181"/>
                  <a:pt x="2541359" y="5063925"/>
                </a:cubicBezTo>
                <a:cubicBezTo>
                  <a:pt x="2576591" y="5063925"/>
                  <a:pt x="2607125" y="5063925"/>
                  <a:pt x="2635310" y="5052181"/>
                </a:cubicBezTo>
                <a:close/>
                <a:moveTo>
                  <a:pt x="1524353" y="5045134"/>
                </a:moveTo>
                <a:lnTo>
                  <a:pt x="1531403" y="5045134"/>
                </a:lnTo>
                <a:lnTo>
                  <a:pt x="1536096" y="5047483"/>
                </a:lnTo>
                <a:lnTo>
                  <a:pt x="1531403" y="5056878"/>
                </a:lnTo>
                <a:lnTo>
                  <a:pt x="1519655" y="5047483"/>
                </a:lnTo>
                <a:close/>
                <a:moveTo>
                  <a:pt x="1573676" y="5040437"/>
                </a:moveTo>
                <a:cubicBezTo>
                  <a:pt x="1573676" y="5040437"/>
                  <a:pt x="1573676" y="5040437"/>
                  <a:pt x="1576025" y="5040437"/>
                </a:cubicBezTo>
                <a:lnTo>
                  <a:pt x="1585423" y="5045135"/>
                </a:lnTo>
                <a:lnTo>
                  <a:pt x="1590117" y="5049832"/>
                </a:lnTo>
                <a:lnTo>
                  <a:pt x="1585423" y="5059227"/>
                </a:lnTo>
                <a:lnTo>
                  <a:pt x="1576025" y="5054529"/>
                </a:lnTo>
                <a:lnTo>
                  <a:pt x="1571330" y="5049832"/>
                </a:lnTo>
                <a:close/>
                <a:moveTo>
                  <a:pt x="3676224" y="5036951"/>
                </a:moveTo>
                <a:cubicBezTo>
                  <a:pt x="3670388" y="5035299"/>
                  <a:pt x="3662901" y="5060402"/>
                  <a:pt x="3680517" y="5049832"/>
                </a:cubicBezTo>
                <a:cubicBezTo>
                  <a:pt x="3679930" y="5041024"/>
                  <a:pt x="3678169" y="5037501"/>
                  <a:pt x="3676224" y="5036951"/>
                </a:cubicBezTo>
                <a:close/>
                <a:moveTo>
                  <a:pt x="5060718" y="5031042"/>
                </a:moveTo>
                <a:cubicBezTo>
                  <a:pt x="5057489" y="5029868"/>
                  <a:pt x="5054553" y="5029868"/>
                  <a:pt x="5052204" y="5033391"/>
                </a:cubicBezTo>
                <a:cubicBezTo>
                  <a:pt x="5063947" y="5035740"/>
                  <a:pt x="5061599" y="5045135"/>
                  <a:pt x="5063947" y="5052181"/>
                </a:cubicBezTo>
                <a:cubicBezTo>
                  <a:pt x="5066296" y="5047484"/>
                  <a:pt x="5068645" y="5040437"/>
                  <a:pt x="5070994" y="5035740"/>
                </a:cubicBezTo>
                <a:cubicBezTo>
                  <a:pt x="5067471" y="5034566"/>
                  <a:pt x="5063948" y="5032217"/>
                  <a:pt x="5060718" y="5031042"/>
                </a:cubicBezTo>
                <a:close/>
                <a:moveTo>
                  <a:pt x="5035762" y="5026345"/>
                </a:moveTo>
                <a:cubicBezTo>
                  <a:pt x="5021669" y="5040437"/>
                  <a:pt x="5054552" y="5061576"/>
                  <a:pt x="5056901" y="5054530"/>
                </a:cubicBezTo>
                <a:cubicBezTo>
                  <a:pt x="5047506" y="5047484"/>
                  <a:pt x="5042809" y="5035740"/>
                  <a:pt x="5035762" y="5026345"/>
                </a:cubicBezTo>
                <a:close/>
                <a:moveTo>
                  <a:pt x="1712256" y="5023995"/>
                </a:moveTo>
                <a:lnTo>
                  <a:pt x="1733394" y="5023995"/>
                </a:lnTo>
                <a:cubicBezTo>
                  <a:pt x="1745141" y="5028693"/>
                  <a:pt x="1747487" y="5031041"/>
                  <a:pt x="1747487" y="5033390"/>
                </a:cubicBezTo>
                <a:cubicBezTo>
                  <a:pt x="1749835" y="5040436"/>
                  <a:pt x="1745141" y="5045134"/>
                  <a:pt x="1742791" y="5045134"/>
                </a:cubicBezTo>
                <a:cubicBezTo>
                  <a:pt x="1742791" y="5045134"/>
                  <a:pt x="1740441" y="5042785"/>
                  <a:pt x="1740441" y="5042785"/>
                </a:cubicBezTo>
                <a:close/>
                <a:moveTo>
                  <a:pt x="5599470" y="5019298"/>
                </a:moveTo>
                <a:cubicBezTo>
                  <a:pt x="5618260" y="5045135"/>
                  <a:pt x="5637050" y="5056879"/>
                  <a:pt x="5653492" y="5085064"/>
                </a:cubicBezTo>
                <a:cubicBezTo>
                  <a:pt x="5630004" y="5070971"/>
                  <a:pt x="5611214" y="5049832"/>
                  <a:pt x="5599470" y="5019298"/>
                </a:cubicBezTo>
                <a:close/>
                <a:moveTo>
                  <a:pt x="1820298" y="5019297"/>
                </a:moveTo>
                <a:lnTo>
                  <a:pt x="1829697" y="5023995"/>
                </a:lnTo>
                <a:cubicBezTo>
                  <a:pt x="1829697" y="5023995"/>
                  <a:pt x="1832042" y="5026343"/>
                  <a:pt x="1832042" y="5026343"/>
                </a:cubicBezTo>
                <a:lnTo>
                  <a:pt x="1829697" y="5031041"/>
                </a:lnTo>
                <a:lnTo>
                  <a:pt x="1820298" y="5031041"/>
                </a:lnTo>
                <a:lnTo>
                  <a:pt x="1815600" y="5026343"/>
                </a:lnTo>
                <a:close/>
                <a:moveTo>
                  <a:pt x="1677023" y="5005205"/>
                </a:moveTo>
                <a:cubicBezTo>
                  <a:pt x="1691114" y="5000507"/>
                  <a:pt x="1698163" y="5007553"/>
                  <a:pt x="1716951" y="5031041"/>
                </a:cubicBezTo>
                <a:cubicBezTo>
                  <a:pt x="1712256" y="5035739"/>
                  <a:pt x="1709906" y="5038088"/>
                  <a:pt x="1705207" y="5040437"/>
                </a:cubicBezTo>
                <a:cubicBezTo>
                  <a:pt x="1705207" y="5040437"/>
                  <a:pt x="1709906" y="5047483"/>
                  <a:pt x="1712256" y="5049831"/>
                </a:cubicBezTo>
                <a:lnTo>
                  <a:pt x="1716951" y="5092111"/>
                </a:lnTo>
                <a:cubicBezTo>
                  <a:pt x="1728699" y="5099157"/>
                  <a:pt x="1728699" y="5099157"/>
                  <a:pt x="1728699" y="5101506"/>
                </a:cubicBezTo>
                <a:cubicBezTo>
                  <a:pt x="1728699" y="5108552"/>
                  <a:pt x="1712256" y="5103854"/>
                  <a:pt x="1707556" y="5108552"/>
                </a:cubicBezTo>
                <a:cubicBezTo>
                  <a:pt x="1705207" y="5110901"/>
                  <a:pt x="1705207" y="5115598"/>
                  <a:pt x="1705207" y="5117947"/>
                </a:cubicBezTo>
                <a:cubicBezTo>
                  <a:pt x="1705207" y="5117947"/>
                  <a:pt x="1714606" y="5124993"/>
                  <a:pt x="1716951" y="5127342"/>
                </a:cubicBezTo>
                <a:lnTo>
                  <a:pt x="1719300" y="5132040"/>
                </a:lnTo>
                <a:lnTo>
                  <a:pt x="1702858" y="5207201"/>
                </a:lnTo>
                <a:cubicBezTo>
                  <a:pt x="1702858" y="5207201"/>
                  <a:pt x="1700509" y="5214247"/>
                  <a:pt x="1700509" y="5216596"/>
                </a:cubicBezTo>
                <a:lnTo>
                  <a:pt x="1707556" y="5225991"/>
                </a:lnTo>
                <a:lnTo>
                  <a:pt x="1693463" y="5305850"/>
                </a:lnTo>
                <a:cubicBezTo>
                  <a:pt x="1688766" y="5305850"/>
                  <a:pt x="1686421" y="5308198"/>
                  <a:pt x="1684071" y="5305850"/>
                </a:cubicBezTo>
                <a:cubicBezTo>
                  <a:pt x="1684071" y="5305850"/>
                  <a:pt x="1684071" y="5301152"/>
                  <a:pt x="1681721" y="5301152"/>
                </a:cubicBezTo>
                <a:cubicBezTo>
                  <a:pt x="1679372" y="5296454"/>
                  <a:pt x="1669978" y="5296454"/>
                  <a:pt x="1667628" y="5291757"/>
                </a:cubicBezTo>
                <a:cubicBezTo>
                  <a:pt x="1665278" y="5287059"/>
                  <a:pt x="1669978" y="5280013"/>
                  <a:pt x="1669978" y="5275315"/>
                </a:cubicBezTo>
                <a:cubicBezTo>
                  <a:pt x="1669978" y="5275315"/>
                  <a:pt x="1660580" y="5240084"/>
                  <a:pt x="1655886" y="5223642"/>
                </a:cubicBezTo>
                <a:lnTo>
                  <a:pt x="1653535" y="5143784"/>
                </a:lnTo>
                <a:cubicBezTo>
                  <a:pt x="1651185" y="5117947"/>
                  <a:pt x="1641793" y="5099157"/>
                  <a:pt x="1641793" y="5096808"/>
                </a:cubicBezTo>
                <a:cubicBezTo>
                  <a:pt x="1641793" y="5096808"/>
                  <a:pt x="1644139" y="5092111"/>
                  <a:pt x="1655886" y="5092111"/>
                </a:cubicBezTo>
                <a:lnTo>
                  <a:pt x="1660580" y="5089762"/>
                </a:lnTo>
                <a:lnTo>
                  <a:pt x="1658231" y="5033390"/>
                </a:lnTo>
                <a:cubicBezTo>
                  <a:pt x="1653535" y="5040437"/>
                  <a:pt x="1651185" y="5045134"/>
                  <a:pt x="1648837" y="5052180"/>
                </a:cubicBezTo>
                <a:cubicBezTo>
                  <a:pt x="1646487" y="5052180"/>
                  <a:pt x="1641793" y="5049831"/>
                  <a:pt x="1639443" y="5047483"/>
                </a:cubicBezTo>
                <a:cubicBezTo>
                  <a:pt x="1653535" y="5033390"/>
                  <a:pt x="1660580" y="5009902"/>
                  <a:pt x="1677023" y="5005205"/>
                </a:cubicBezTo>
                <a:close/>
                <a:moveTo>
                  <a:pt x="2602485" y="5001430"/>
                </a:moveTo>
                <a:lnTo>
                  <a:pt x="2597730" y="5005206"/>
                </a:lnTo>
                <a:lnTo>
                  <a:pt x="2595467" y="5002246"/>
                </a:lnTo>
                <a:close/>
                <a:moveTo>
                  <a:pt x="5055140" y="4996985"/>
                </a:moveTo>
                <a:cubicBezTo>
                  <a:pt x="5051617" y="5000508"/>
                  <a:pt x="5047507" y="5009903"/>
                  <a:pt x="5052204" y="5016950"/>
                </a:cubicBezTo>
                <a:cubicBezTo>
                  <a:pt x="5061599" y="5023996"/>
                  <a:pt x="5068645" y="5016950"/>
                  <a:pt x="5054552" y="5012252"/>
                </a:cubicBezTo>
                <a:cubicBezTo>
                  <a:pt x="5061599" y="4995810"/>
                  <a:pt x="5058663" y="4993461"/>
                  <a:pt x="5055140" y="4996985"/>
                </a:cubicBezTo>
                <a:close/>
                <a:moveTo>
                  <a:pt x="5965878" y="4993462"/>
                </a:moveTo>
                <a:cubicBezTo>
                  <a:pt x="5972925" y="5009903"/>
                  <a:pt x="5975274" y="5033391"/>
                  <a:pt x="5991715" y="5042786"/>
                </a:cubicBezTo>
                <a:cubicBezTo>
                  <a:pt x="5987017" y="5021647"/>
                  <a:pt x="5982320" y="5002857"/>
                  <a:pt x="5965878" y="4993462"/>
                </a:cubicBezTo>
                <a:close/>
                <a:moveTo>
                  <a:pt x="4204882" y="4992287"/>
                </a:moveTo>
                <a:cubicBezTo>
                  <a:pt x="4200184" y="4989938"/>
                  <a:pt x="4193725" y="4993461"/>
                  <a:pt x="4199597" y="5009903"/>
                </a:cubicBezTo>
                <a:cubicBezTo>
                  <a:pt x="4212516" y="5002856"/>
                  <a:pt x="4209580" y="4994635"/>
                  <a:pt x="4204882" y="4992287"/>
                </a:cubicBezTo>
                <a:close/>
                <a:moveTo>
                  <a:pt x="1566630" y="4991112"/>
                </a:moveTo>
                <a:cubicBezTo>
                  <a:pt x="1566630" y="4991112"/>
                  <a:pt x="1568980" y="4993461"/>
                  <a:pt x="1571330" y="4995810"/>
                </a:cubicBezTo>
                <a:lnTo>
                  <a:pt x="1571330" y="5005205"/>
                </a:lnTo>
                <a:lnTo>
                  <a:pt x="1566630" y="5014600"/>
                </a:lnTo>
                <a:lnTo>
                  <a:pt x="1557238" y="5014600"/>
                </a:lnTo>
                <a:lnTo>
                  <a:pt x="1554887" y="5012251"/>
                </a:lnTo>
                <a:lnTo>
                  <a:pt x="1554887" y="5002856"/>
                </a:lnTo>
                <a:close/>
                <a:moveTo>
                  <a:pt x="1702859" y="4988763"/>
                </a:moveTo>
                <a:lnTo>
                  <a:pt x="1712256" y="4991112"/>
                </a:lnTo>
                <a:cubicBezTo>
                  <a:pt x="1712256" y="4991112"/>
                  <a:pt x="1714606" y="4993461"/>
                  <a:pt x="1714606" y="4993461"/>
                </a:cubicBezTo>
                <a:lnTo>
                  <a:pt x="1712256" y="4998158"/>
                </a:lnTo>
                <a:lnTo>
                  <a:pt x="1707556" y="5000507"/>
                </a:lnTo>
                <a:lnTo>
                  <a:pt x="1702859" y="5002856"/>
                </a:lnTo>
                <a:lnTo>
                  <a:pt x="1700514" y="5000507"/>
                </a:lnTo>
                <a:lnTo>
                  <a:pt x="1698163" y="4991112"/>
                </a:lnTo>
                <a:close/>
                <a:moveTo>
                  <a:pt x="1625350" y="4986415"/>
                </a:moveTo>
                <a:lnTo>
                  <a:pt x="1634745" y="4988764"/>
                </a:lnTo>
                <a:lnTo>
                  <a:pt x="1625350" y="4995810"/>
                </a:lnTo>
                <a:lnTo>
                  <a:pt x="1618302" y="4988764"/>
                </a:lnTo>
                <a:close/>
                <a:moveTo>
                  <a:pt x="2763614" y="4982011"/>
                </a:moveTo>
                <a:cubicBezTo>
                  <a:pt x="2753337" y="4982305"/>
                  <a:pt x="2744529" y="4986415"/>
                  <a:pt x="2738657" y="4998159"/>
                </a:cubicBezTo>
                <a:cubicBezTo>
                  <a:pt x="2745703" y="5000508"/>
                  <a:pt x="2752749" y="5007554"/>
                  <a:pt x="2757447" y="5000508"/>
                </a:cubicBezTo>
                <a:cubicBezTo>
                  <a:pt x="2745703" y="4984067"/>
                  <a:pt x="2792680" y="5005206"/>
                  <a:pt x="2797376" y="4988764"/>
                </a:cubicBezTo>
                <a:cubicBezTo>
                  <a:pt x="2785633" y="4985241"/>
                  <a:pt x="2773889" y="4981718"/>
                  <a:pt x="2763614" y="4982011"/>
                </a:cubicBezTo>
                <a:close/>
                <a:moveTo>
                  <a:pt x="2139727" y="4981718"/>
                </a:moveTo>
                <a:lnTo>
                  <a:pt x="2139727" y="5056879"/>
                </a:lnTo>
                <a:cubicBezTo>
                  <a:pt x="2111540" y="5054530"/>
                  <a:pt x="2081007" y="5052181"/>
                  <a:pt x="2052822" y="5047484"/>
                </a:cubicBezTo>
                <a:cubicBezTo>
                  <a:pt x="2066915" y="5014601"/>
                  <a:pt x="2057520" y="5000508"/>
                  <a:pt x="2064565" y="4984067"/>
                </a:cubicBezTo>
                <a:cubicBezTo>
                  <a:pt x="2095100" y="4993462"/>
                  <a:pt x="2116240" y="4981718"/>
                  <a:pt x="2139727" y="4981718"/>
                </a:cubicBezTo>
                <a:close/>
                <a:moveTo>
                  <a:pt x="1604209" y="4981717"/>
                </a:moveTo>
                <a:lnTo>
                  <a:pt x="1608908" y="4981717"/>
                </a:lnTo>
                <a:lnTo>
                  <a:pt x="1618302" y="4988763"/>
                </a:lnTo>
                <a:lnTo>
                  <a:pt x="1608908" y="4993461"/>
                </a:lnTo>
                <a:lnTo>
                  <a:pt x="1599515" y="4988763"/>
                </a:lnTo>
                <a:close/>
                <a:moveTo>
                  <a:pt x="5498471" y="4977020"/>
                </a:moveTo>
                <a:cubicBezTo>
                  <a:pt x="5498471" y="4977020"/>
                  <a:pt x="5496123" y="4977020"/>
                  <a:pt x="5496123" y="4979369"/>
                </a:cubicBezTo>
                <a:cubicBezTo>
                  <a:pt x="5498471" y="4981718"/>
                  <a:pt x="5498471" y="4981718"/>
                  <a:pt x="5500820" y="4984067"/>
                </a:cubicBezTo>
                <a:cubicBezTo>
                  <a:pt x="5503169" y="4984067"/>
                  <a:pt x="5505518" y="4979369"/>
                  <a:pt x="5498471" y="4977020"/>
                </a:cubicBezTo>
                <a:close/>
                <a:moveTo>
                  <a:pt x="2409828" y="4972323"/>
                </a:moveTo>
                <a:cubicBezTo>
                  <a:pt x="2409828" y="4979369"/>
                  <a:pt x="2409828" y="4984067"/>
                  <a:pt x="2409828" y="4986416"/>
                </a:cubicBezTo>
                <a:cubicBezTo>
                  <a:pt x="2419223" y="4972323"/>
                  <a:pt x="2426270" y="4981718"/>
                  <a:pt x="2438013" y="4988765"/>
                </a:cubicBezTo>
                <a:cubicBezTo>
                  <a:pt x="2402783" y="5009904"/>
                  <a:pt x="2372248" y="5035740"/>
                  <a:pt x="2337016" y="5052182"/>
                </a:cubicBezTo>
                <a:cubicBezTo>
                  <a:pt x="2355806" y="5033391"/>
                  <a:pt x="2381643" y="5019299"/>
                  <a:pt x="2398084" y="4995811"/>
                </a:cubicBezTo>
                <a:cubicBezTo>
                  <a:pt x="2395736" y="4993462"/>
                  <a:pt x="2393387" y="4993462"/>
                  <a:pt x="2391039" y="4991113"/>
                </a:cubicBezTo>
                <a:cubicBezTo>
                  <a:pt x="2395736" y="4981718"/>
                  <a:pt x="2402783" y="4977021"/>
                  <a:pt x="2409828" y="4972323"/>
                </a:cubicBezTo>
                <a:close/>
                <a:moveTo>
                  <a:pt x="1430405" y="4965276"/>
                </a:moveTo>
                <a:cubicBezTo>
                  <a:pt x="1430405" y="4965276"/>
                  <a:pt x="1437447" y="4969974"/>
                  <a:pt x="1439797" y="4972322"/>
                </a:cubicBezTo>
                <a:lnTo>
                  <a:pt x="1446842" y="4979369"/>
                </a:lnTo>
                <a:cubicBezTo>
                  <a:pt x="1442147" y="4991112"/>
                  <a:pt x="1442147" y="4991112"/>
                  <a:pt x="1437447" y="4991112"/>
                </a:cubicBezTo>
                <a:cubicBezTo>
                  <a:pt x="1437447" y="4991112"/>
                  <a:pt x="1430405" y="4991112"/>
                  <a:pt x="1425704" y="4986415"/>
                </a:cubicBezTo>
                <a:lnTo>
                  <a:pt x="1416312" y="4969974"/>
                </a:lnTo>
                <a:cubicBezTo>
                  <a:pt x="1423355" y="4965276"/>
                  <a:pt x="1425704" y="4965276"/>
                  <a:pt x="1430405" y="4965276"/>
                </a:cubicBezTo>
                <a:close/>
                <a:moveTo>
                  <a:pt x="1514956" y="4960579"/>
                </a:moveTo>
                <a:cubicBezTo>
                  <a:pt x="1529053" y="4962928"/>
                  <a:pt x="1529053" y="4967625"/>
                  <a:pt x="1526702" y="4972323"/>
                </a:cubicBezTo>
                <a:cubicBezTo>
                  <a:pt x="1524352" y="4974672"/>
                  <a:pt x="1519655" y="4977021"/>
                  <a:pt x="1519655" y="4979369"/>
                </a:cubicBezTo>
                <a:cubicBezTo>
                  <a:pt x="1519655" y="4984067"/>
                  <a:pt x="1519655" y="4986416"/>
                  <a:pt x="1519655" y="4988765"/>
                </a:cubicBezTo>
                <a:cubicBezTo>
                  <a:pt x="1519655" y="4988765"/>
                  <a:pt x="1517305" y="4991113"/>
                  <a:pt x="1514956" y="4993462"/>
                </a:cubicBezTo>
                <a:lnTo>
                  <a:pt x="1505561" y="4998160"/>
                </a:lnTo>
                <a:lnTo>
                  <a:pt x="1505561" y="4972323"/>
                </a:lnTo>
                <a:close/>
                <a:moveTo>
                  <a:pt x="1406915" y="4960578"/>
                </a:moveTo>
                <a:lnTo>
                  <a:pt x="1411612" y="4969973"/>
                </a:lnTo>
                <a:lnTo>
                  <a:pt x="1406915" y="4972322"/>
                </a:lnTo>
                <a:lnTo>
                  <a:pt x="1404570" y="4969973"/>
                </a:lnTo>
                <a:close/>
                <a:moveTo>
                  <a:pt x="5982320" y="4958230"/>
                </a:moveTo>
                <a:cubicBezTo>
                  <a:pt x="5989366" y="4979369"/>
                  <a:pt x="5989366" y="5005206"/>
                  <a:pt x="6001110" y="5019298"/>
                </a:cubicBezTo>
                <a:cubicBezTo>
                  <a:pt x="5996412" y="5005206"/>
                  <a:pt x="6001110" y="4995810"/>
                  <a:pt x="6003459" y="4984067"/>
                </a:cubicBezTo>
                <a:cubicBezTo>
                  <a:pt x="5984669" y="4988764"/>
                  <a:pt x="5996412" y="4960579"/>
                  <a:pt x="5982320" y="4958230"/>
                </a:cubicBezTo>
                <a:close/>
                <a:moveTo>
                  <a:pt x="1719300" y="4958229"/>
                </a:moveTo>
                <a:lnTo>
                  <a:pt x="1721650" y="4965275"/>
                </a:lnTo>
                <a:lnTo>
                  <a:pt x="1719300" y="4969973"/>
                </a:lnTo>
                <a:lnTo>
                  <a:pt x="1712256" y="4965275"/>
                </a:lnTo>
                <a:close/>
                <a:moveTo>
                  <a:pt x="1472682" y="4958229"/>
                </a:moveTo>
                <a:lnTo>
                  <a:pt x="1482075" y="4962927"/>
                </a:lnTo>
                <a:lnTo>
                  <a:pt x="1472682" y="4972322"/>
                </a:lnTo>
                <a:lnTo>
                  <a:pt x="1467982" y="4972322"/>
                </a:lnTo>
                <a:lnTo>
                  <a:pt x="1465632" y="4962927"/>
                </a:lnTo>
                <a:close/>
                <a:moveTo>
                  <a:pt x="6010505" y="4953533"/>
                </a:moveTo>
                <a:cubicBezTo>
                  <a:pt x="6015203" y="4981718"/>
                  <a:pt x="6029296" y="5002857"/>
                  <a:pt x="6048085" y="5019298"/>
                </a:cubicBezTo>
                <a:cubicBezTo>
                  <a:pt x="6043388" y="5005206"/>
                  <a:pt x="6043388" y="4988764"/>
                  <a:pt x="6031644" y="4986415"/>
                </a:cubicBezTo>
                <a:cubicBezTo>
                  <a:pt x="6038690" y="4972323"/>
                  <a:pt x="6019901" y="4960579"/>
                  <a:pt x="6010505" y="4953533"/>
                </a:cubicBezTo>
                <a:close/>
                <a:moveTo>
                  <a:pt x="2910118" y="4948835"/>
                </a:moveTo>
                <a:cubicBezTo>
                  <a:pt x="2907769" y="4958230"/>
                  <a:pt x="2907769" y="4965277"/>
                  <a:pt x="2907769" y="4974672"/>
                </a:cubicBezTo>
                <a:lnTo>
                  <a:pt x="2900531" y="4976962"/>
                </a:lnTo>
                <a:lnTo>
                  <a:pt x="2877235" y="4969974"/>
                </a:lnTo>
                <a:lnTo>
                  <a:pt x="2878279" y="4964754"/>
                </a:lnTo>
                <a:lnTo>
                  <a:pt x="2904078" y="4951855"/>
                </a:lnTo>
                <a:lnTo>
                  <a:pt x="2905420" y="4953533"/>
                </a:lnTo>
                <a:lnTo>
                  <a:pt x="2907083" y="4950353"/>
                </a:lnTo>
                <a:close/>
                <a:moveTo>
                  <a:pt x="1693464" y="4937090"/>
                </a:moveTo>
                <a:lnTo>
                  <a:pt x="1702859" y="4937090"/>
                </a:lnTo>
                <a:lnTo>
                  <a:pt x="1705207" y="4946485"/>
                </a:lnTo>
                <a:cubicBezTo>
                  <a:pt x="1705207" y="4946485"/>
                  <a:pt x="1702859" y="4948834"/>
                  <a:pt x="1702859" y="4948834"/>
                </a:cubicBezTo>
                <a:lnTo>
                  <a:pt x="1693464" y="4948834"/>
                </a:lnTo>
                <a:lnTo>
                  <a:pt x="1688766" y="4946485"/>
                </a:lnTo>
                <a:close/>
                <a:moveTo>
                  <a:pt x="5393290" y="4933751"/>
                </a:moveTo>
                <a:cubicBezTo>
                  <a:pt x="5382061" y="4935182"/>
                  <a:pt x="5372812" y="4948834"/>
                  <a:pt x="5383381" y="4955881"/>
                </a:cubicBezTo>
                <a:cubicBezTo>
                  <a:pt x="5388079" y="4944137"/>
                  <a:pt x="5402171" y="4953533"/>
                  <a:pt x="5404520" y="4937091"/>
                </a:cubicBezTo>
                <a:cubicBezTo>
                  <a:pt x="5400997" y="4934155"/>
                  <a:pt x="5397034" y="4933274"/>
                  <a:pt x="5393290" y="4933751"/>
                </a:cubicBezTo>
                <a:close/>
                <a:moveTo>
                  <a:pt x="5486728" y="4918301"/>
                </a:moveTo>
                <a:cubicBezTo>
                  <a:pt x="5486728" y="4920650"/>
                  <a:pt x="5486728" y="4920650"/>
                  <a:pt x="5486728" y="4922998"/>
                </a:cubicBezTo>
                <a:cubicBezTo>
                  <a:pt x="5491425" y="4925347"/>
                  <a:pt x="5493774" y="4925347"/>
                  <a:pt x="5493774" y="4927696"/>
                </a:cubicBezTo>
                <a:cubicBezTo>
                  <a:pt x="5491425" y="4925347"/>
                  <a:pt x="5489076" y="4920650"/>
                  <a:pt x="5486728" y="4918301"/>
                </a:cubicBezTo>
                <a:close/>
                <a:moveTo>
                  <a:pt x="2438014" y="4915952"/>
                </a:moveTo>
                <a:cubicBezTo>
                  <a:pt x="2428619" y="4925347"/>
                  <a:pt x="2423922" y="4934742"/>
                  <a:pt x="2419224" y="4944137"/>
                </a:cubicBezTo>
                <a:cubicBezTo>
                  <a:pt x="2412178" y="4951184"/>
                  <a:pt x="2407480" y="4955881"/>
                  <a:pt x="2402783" y="4962928"/>
                </a:cubicBezTo>
                <a:cubicBezTo>
                  <a:pt x="2407480" y="4960579"/>
                  <a:pt x="2409830" y="4958230"/>
                  <a:pt x="2414526" y="4955881"/>
                </a:cubicBezTo>
                <a:cubicBezTo>
                  <a:pt x="2414526" y="4958230"/>
                  <a:pt x="2412178" y="4962928"/>
                  <a:pt x="2412178" y="4965277"/>
                </a:cubicBezTo>
                <a:cubicBezTo>
                  <a:pt x="2407480" y="4965277"/>
                  <a:pt x="2402783" y="4969974"/>
                  <a:pt x="2398085" y="4967625"/>
                </a:cubicBezTo>
                <a:cubicBezTo>
                  <a:pt x="2409830" y="4948835"/>
                  <a:pt x="2423922" y="4932393"/>
                  <a:pt x="2438014" y="4915952"/>
                </a:cubicBezTo>
                <a:close/>
                <a:moveTo>
                  <a:pt x="1458585" y="4915951"/>
                </a:moveTo>
                <a:lnTo>
                  <a:pt x="1463283" y="4920649"/>
                </a:lnTo>
                <a:lnTo>
                  <a:pt x="1458585" y="4922997"/>
                </a:lnTo>
                <a:lnTo>
                  <a:pt x="1451539" y="4920649"/>
                </a:lnTo>
                <a:close/>
                <a:moveTo>
                  <a:pt x="1507909" y="4911254"/>
                </a:moveTo>
                <a:lnTo>
                  <a:pt x="1517305" y="4911254"/>
                </a:lnTo>
                <a:lnTo>
                  <a:pt x="1507909" y="4932393"/>
                </a:lnTo>
                <a:lnTo>
                  <a:pt x="1505561" y="4932393"/>
                </a:lnTo>
                <a:lnTo>
                  <a:pt x="1503213" y="4922998"/>
                </a:lnTo>
                <a:lnTo>
                  <a:pt x="1507909" y="4913603"/>
                </a:lnTo>
                <a:cubicBezTo>
                  <a:pt x="1507909" y="4913603"/>
                  <a:pt x="1507909" y="4911254"/>
                  <a:pt x="1507909" y="4911254"/>
                </a:cubicBezTo>
                <a:close/>
                <a:moveTo>
                  <a:pt x="5742745" y="4906557"/>
                </a:moveTo>
                <a:cubicBezTo>
                  <a:pt x="5763884" y="4934742"/>
                  <a:pt x="5782675" y="4962928"/>
                  <a:pt x="5803813" y="4993462"/>
                </a:cubicBezTo>
                <a:cubicBezTo>
                  <a:pt x="5785023" y="4972323"/>
                  <a:pt x="5763884" y="4944137"/>
                  <a:pt x="5742745" y="4918301"/>
                </a:cubicBezTo>
                <a:cubicBezTo>
                  <a:pt x="5742745" y="4913603"/>
                  <a:pt x="5742745" y="4908906"/>
                  <a:pt x="5742745" y="4906557"/>
                </a:cubicBezTo>
                <a:close/>
                <a:moveTo>
                  <a:pt x="2994674" y="4906557"/>
                </a:moveTo>
                <a:cubicBezTo>
                  <a:pt x="2995261" y="4913603"/>
                  <a:pt x="2993500" y="4918741"/>
                  <a:pt x="2990233" y="4922594"/>
                </a:cubicBezTo>
                <a:lnTo>
                  <a:pt x="2988718" y="4923532"/>
                </a:lnTo>
                <a:lnTo>
                  <a:pt x="2980581" y="4922998"/>
                </a:lnTo>
                <a:cubicBezTo>
                  <a:pt x="2982930" y="4919475"/>
                  <a:pt x="2983517" y="4916539"/>
                  <a:pt x="2983224" y="4914190"/>
                </a:cubicBezTo>
                <a:lnTo>
                  <a:pt x="2982353" y="4912449"/>
                </a:lnTo>
                <a:close/>
                <a:moveTo>
                  <a:pt x="1669978" y="4906557"/>
                </a:moveTo>
                <a:lnTo>
                  <a:pt x="1677023" y="4911255"/>
                </a:lnTo>
                <a:lnTo>
                  <a:pt x="1674674" y="4920650"/>
                </a:lnTo>
                <a:lnTo>
                  <a:pt x="1677023" y="4930045"/>
                </a:lnTo>
                <a:lnTo>
                  <a:pt x="1669978" y="4939440"/>
                </a:lnTo>
                <a:lnTo>
                  <a:pt x="1665278" y="4930045"/>
                </a:lnTo>
                <a:close/>
                <a:moveTo>
                  <a:pt x="1421006" y="4906557"/>
                </a:moveTo>
                <a:cubicBezTo>
                  <a:pt x="1421006" y="4906557"/>
                  <a:pt x="1428054" y="4908906"/>
                  <a:pt x="1430405" y="4908906"/>
                </a:cubicBezTo>
                <a:lnTo>
                  <a:pt x="1423355" y="4918301"/>
                </a:lnTo>
                <a:cubicBezTo>
                  <a:pt x="1425704" y="4920650"/>
                  <a:pt x="1428054" y="4925347"/>
                  <a:pt x="1430405" y="4925347"/>
                </a:cubicBezTo>
                <a:cubicBezTo>
                  <a:pt x="1435098" y="4925347"/>
                  <a:pt x="1437447" y="4920650"/>
                  <a:pt x="1439797" y="4920650"/>
                </a:cubicBezTo>
                <a:cubicBezTo>
                  <a:pt x="1439797" y="4920650"/>
                  <a:pt x="1442147" y="4925347"/>
                  <a:pt x="1444497" y="4927696"/>
                </a:cubicBezTo>
                <a:lnTo>
                  <a:pt x="1439797" y="4944137"/>
                </a:lnTo>
                <a:cubicBezTo>
                  <a:pt x="1437447" y="4944137"/>
                  <a:pt x="1432750" y="4946486"/>
                  <a:pt x="1430405" y="4944137"/>
                </a:cubicBezTo>
                <a:cubicBezTo>
                  <a:pt x="1430405" y="4944137"/>
                  <a:pt x="1430405" y="4939440"/>
                  <a:pt x="1425704" y="4927696"/>
                </a:cubicBezTo>
                <a:lnTo>
                  <a:pt x="1418657" y="4920650"/>
                </a:lnTo>
                <a:cubicBezTo>
                  <a:pt x="1418657" y="4918301"/>
                  <a:pt x="1416312" y="4913603"/>
                  <a:pt x="1416312" y="4911255"/>
                </a:cubicBezTo>
                <a:cubicBezTo>
                  <a:pt x="1418657" y="4908906"/>
                  <a:pt x="1418657" y="4906557"/>
                  <a:pt x="1421006" y="4906557"/>
                </a:cubicBezTo>
                <a:close/>
                <a:moveTo>
                  <a:pt x="1533749" y="4906556"/>
                </a:moveTo>
                <a:lnTo>
                  <a:pt x="1543145" y="4906556"/>
                </a:lnTo>
                <a:lnTo>
                  <a:pt x="1545495" y="4913602"/>
                </a:lnTo>
                <a:lnTo>
                  <a:pt x="1543145" y="4920649"/>
                </a:lnTo>
                <a:lnTo>
                  <a:pt x="1533749" y="4925346"/>
                </a:lnTo>
                <a:lnTo>
                  <a:pt x="1529053" y="4920649"/>
                </a:lnTo>
                <a:lnTo>
                  <a:pt x="1529053" y="4911254"/>
                </a:lnTo>
                <a:close/>
                <a:moveTo>
                  <a:pt x="1756884" y="4901858"/>
                </a:moveTo>
                <a:lnTo>
                  <a:pt x="1766276" y="4906556"/>
                </a:lnTo>
                <a:lnTo>
                  <a:pt x="1759229" y="4915951"/>
                </a:lnTo>
                <a:cubicBezTo>
                  <a:pt x="1759229" y="4915951"/>
                  <a:pt x="1756884" y="4915951"/>
                  <a:pt x="1756884" y="4915951"/>
                </a:cubicBezTo>
                <a:lnTo>
                  <a:pt x="1754534" y="4915951"/>
                </a:lnTo>
                <a:lnTo>
                  <a:pt x="1749835" y="4906556"/>
                </a:lnTo>
                <a:close/>
                <a:moveTo>
                  <a:pt x="1592466" y="4899510"/>
                </a:moveTo>
                <a:cubicBezTo>
                  <a:pt x="1592466" y="4899510"/>
                  <a:pt x="1594816" y="4901859"/>
                  <a:pt x="1597165" y="4904208"/>
                </a:cubicBezTo>
                <a:lnTo>
                  <a:pt x="1604209" y="4915951"/>
                </a:lnTo>
                <a:lnTo>
                  <a:pt x="1594816" y="4920649"/>
                </a:lnTo>
                <a:lnTo>
                  <a:pt x="1590117" y="4913603"/>
                </a:lnTo>
                <a:lnTo>
                  <a:pt x="1585423" y="4906556"/>
                </a:lnTo>
                <a:cubicBezTo>
                  <a:pt x="1585423" y="4906556"/>
                  <a:pt x="1583073" y="4904208"/>
                  <a:pt x="1583073" y="4904208"/>
                </a:cubicBezTo>
                <a:close/>
                <a:moveTo>
                  <a:pt x="2773888" y="4894813"/>
                </a:moveTo>
                <a:cubicBezTo>
                  <a:pt x="2748053" y="4901859"/>
                  <a:pt x="2717518" y="4906557"/>
                  <a:pt x="2684635" y="4913603"/>
                </a:cubicBezTo>
                <a:cubicBezTo>
                  <a:pt x="2686984" y="4915952"/>
                  <a:pt x="2694030" y="4918301"/>
                  <a:pt x="2696379" y="4922998"/>
                </a:cubicBezTo>
                <a:cubicBezTo>
                  <a:pt x="2712820" y="4915952"/>
                  <a:pt x="2729262" y="4908906"/>
                  <a:pt x="2745703" y="4908906"/>
                </a:cubicBezTo>
                <a:cubicBezTo>
                  <a:pt x="2755098" y="4906557"/>
                  <a:pt x="2764493" y="4904208"/>
                  <a:pt x="2773888" y="4901859"/>
                </a:cubicBezTo>
                <a:cubicBezTo>
                  <a:pt x="2773888" y="4899511"/>
                  <a:pt x="2773888" y="4897162"/>
                  <a:pt x="2773888" y="4894813"/>
                </a:cubicBezTo>
                <a:close/>
                <a:moveTo>
                  <a:pt x="3030193" y="4893782"/>
                </a:moveTo>
                <a:lnTo>
                  <a:pt x="3032254" y="4894813"/>
                </a:lnTo>
                <a:cubicBezTo>
                  <a:pt x="3029905" y="4908906"/>
                  <a:pt x="3018161" y="4899511"/>
                  <a:pt x="3013464" y="4906557"/>
                </a:cubicBezTo>
                <a:cubicBezTo>
                  <a:pt x="3009941" y="4904208"/>
                  <a:pt x="3008768" y="4901566"/>
                  <a:pt x="3009134" y="4899107"/>
                </a:cubicBezTo>
                <a:lnTo>
                  <a:pt x="3011601" y="4895921"/>
                </a:lnTo>
                <a:close/>
                <a:moveTo>
                  <a:pt x="1397519" y="4892463"/>
                </a:moveTo>
                <a:lnTo>
                  <a:pt x="1402219" y="4901858"/>
                </a:lnTo>
                <a:lnTo>
                  <a:pt x="1397519" y="4908904"/>
                </a:lnTo>
                <a:lnTo>
                  <a:pt x="1390472" y="4901858"/>
                </a:lnTo>
                <a:close/>
                <a:moveTo>
                  <a:pt x="2790330" y="4887767"/>
                </a:moveTo>
                <a:cubicBezTo>
                  <a:pt x="2787981" y="4892464"/>
                  <a:pt x="2785633" y="4894813"/>
                  <a:pt x="2785633" y="4899511"/>
                </a:cubicBezTo>
                <a:cubicBezTo>
                  <a:pt x="2787981" y="4899511"/>
                  <a:pt x="2792680" y="4899511"/>
                  <a:pt x="2795027" y="4899511"/>
                </a:cubicBezTo>
                <a:cubicBezTo>
                  <a:pt x="2795027" y="4899511"/>
                  <a:pt x="2797376" y="4897162"/>
                  <a:pt x="2799725" y="4897162"/>
                </a:cubicBezTo>
                <a:cubicBezTo>
                  <a:pt x="2799725" y="4892464"/>
                  <a:pt x="2795027" y="4890115"/>
                  <a:pt x="2790330" y="4887767"/>
                </a:cubicBezTo>
                <a:close/>
                <a:moveTo>
                  <a:pt x="5465589" y="4885418"/>
                </a:moveTo>
                <a:cubicBezTo>
                  <a:pt x="5460891" y="4885418"/>
                  <a:pt x="5456193" y="4887767"/>
                  <a:pt x="5451496" y="4887767"/>
                </a:cubicBezTo>
                <a:cubicBezTo>
                  <a:pt x="5456193" y="4894813"/>
                  <a:pt x="5460891" y="4901859"/>
                  <a:pt x="5467937" y="4908906"/>
                </a:cubicBezTo>
                <a:cubicBezTo>
                  <a:pt x="5472635" y="4908906"/>
                  <a:pt x="5477333" y="4908906"/>
                  <a:pt x="5482030" y="4908906"/>
                </a:cubicBezTo>
                <a:cubicBezTo>
                  <a:pt x="5477333" y="4901859"/>
                  <a:pt x="5470286" y="4892464"/>
                  <a:pt x="5465589" y="4885418"/>
                </a:cubicBezTo>
                <a:close/>
                <a:moveTo>
                  <a:pt x="5376335" y="4885418"/>
                </a:moveTo>
                <a:cubicBezTo>
                  <a:pt x="5371638" y="4901859"/>
                  <a:pt x="5366940" y="4915952"/>
                  <a:pt x="5381033" y="4920650"/>
                </a:cubicBezTo>
                <a:cubicBezTo>
                  <a:pt x="5388079" y="4906557"/>
                  <a:pt x="5378684" y="4897162"/>
                  <a:pt x="5376335" y="4885418"/>
                </a:cubicBezTo>
                <a:close/>
                <a:moveTo>
                  <a:pt x="1526702" y="4885417"/>
                </a:moveTo>
                <a:lnTo>
                  <a:pt x="1531398" y="4890115"/>
                </a:lnTo>
                <a:lnTo>
                  <a:pt x="1536096" y="4899510"/>
                </a:lnTo>
                <a:lnTo>
                  <a:pt x="1526702" y="4901858"/>
                </a:lnTo>
                <a:lnTo>
                  <a:pt x="1522003" y="4897161"/>
                </a:lnTo>
                <a:cubicBezTo>
                  <a:pt x="1522003" y="4897161"/>
                  <a:pt x="1519655" y="4894812"/>
                  <a:pt x="1514956" y="4887766"/>
                </a:cubicBezTo>
                <a:close/>
                <a:moveTo>
                  <a:pt x="5780325" y="4871325"/>
                </a:moveTo>
                <a:cubicBezTo>
                  <a:pt x="5806161" y="4899510"/>
                  <a:pt x="5831998" y="4927696"/>
                  <a:pt x="5853137" y="4962927"/>
                </a:cubicBezTo>
                <a:cubicBezTo>
                  <a:pt x="5864881" y="4981718"/>
                  <a:pt x="5841393" y="4948834"/>
                  <a:pt x="5836695" y="4944137"/>
                </a:cubicBezTo>
                <a:cubicBezTo>
                  <a:pt x="5817905" y="4922998"/>
                  <a:pt x="5796766" y="4901859"/>
                  <a:pt x="5775627" y="4880720"/>
                </a:cubicBezTo>
                <a:cubicBezTo>
                  <a:pt x="5775627" y="4876023"/>
                  <a:pt x="5777976" y="4873674"/>
                  <a:pt x="5780325" y="4871325"/>
                </a:cubicBezTo>
                <a:close/>
                <a:moveTo>
                  <a:pt x="5968227" y="4868976"/>
                </a:moveTo>
                <a:cubicBezTo>
                  <a:pt x="5979971" y="4892464"/>
                  <a:pt x="5977622" y="4925347"/>
                  <a:pt x="6003459" y="4934742"/>
                </a:cubicBezTo>
                <a:cubicBezTo>
                  <a:pt x="6005808" y="4899511"/>
                  <a:pt x="5984669" y="4885418"/>
                  <a:pt x="5968227" y="4868976"/>
                </a:cubicBezTo>
                <a:close/>
                <a:moveTo>
                  <a:pt x="2689332" y="4866628"/>
                </a:moveTo>
                <a:lnTo>
                  <a:pt x="2635536" y="4876537"/>
                </a:lnTo>
                <a:lnTo>
                  <a:pt x="2632963" y="4876023"/>
                </a:lnTo>
                <a:lnTo>
                  <a:pt x="2632612" y="4877076"/>
                </a:lnTo>
                <a:lnTo>
                  <a:pt x="2600079" y="4883069"/>
                </a:lnTo>
                <a:cubicBezTo>
                  <a:pt x="2602427" y="4885418"/>
                  <a:pt x="2604776" y="4887767"/>
                  <a:pt x="2609474" y="4887767"/>
                </a:cubicBezTo>
                <a:cubicBezTo>
                  <a:pt x="2607125" y="4897162"/>
                  <a:pt x="2590684" y="4894813"/>
                  <a:pt x="2585986" y="4885418"/>
                </a:cubicBezTo>
                <a:cubicBezTo>
                  <a:pt x="2553103" y="4894813"/>
                  <a:pt x="2524918" y="4906557"/>
                  <a:pt x="2513174" y="4932393"/>
                </a:cubicBezTo>
                <a:cubicBezTo>
                  <a:pt x="2546057" y="4913603"/>
                  <a:pt x="2588336" y="4901859"/>
                  <a:pt x="2628264" y="4890115"/>
                </a:cubicBezTo>
                <a:lnTo>
                  <a:pt x="2632612" y="4877076"/>
                </a:lnTo>
                <a:lnTo>
                  <a:pt x="2635536" y="4876537"/>
                </a:lnTo>
                <a:lnTo>
                  <a:pt x="2656449" y="4880720"/>
                </a:lnTo>
                <a:cubicBezTo>
                  <a:pt x="2670543" y="4876023"/>
                  <a:pt x="2682286" y="4871325"/>
                  <a:pt x="2691681" y="4866628"/>
                </a:cubicBezTo>
                <a:cubicBezTo>
                  <a:pt x="2691681" y="4866628"/>
                  <a:pt x="2689332" y="4866628"/>
                  <a:pt x="2689332" y="4866628"/>
                </a:cubicBezTo>
                <a:close/>
                <a:moveTo>
                  <a:pt x="2925752" y="4865746"/>
                </a:moveTo>
                <a:cubicBezTo>
                  <a:pt x="2916284" y="4870151"/>
                  <a:pt x="2910118" y="4893051"/>
                  <a:pt x="2917164" y="4894813"/>
                </a:cubicBezTo>
                <a:cubicBezTo>
                  <a:pt x="2917164" y="4876023"/>
                  <a:pt x="2931256" y="4883069"/>
                  <a:pt x="2935954" y="4868976"/>
                </a:cubicBezTo>
                <a:cubicBezTo>
                  <a:pt x="2932432" y="4864866"/>
                  <a:pt x="2928908" y="4864278"/>
                  <a:pt x="2925752" y="4865746"/>
                </a:cubicBezTo>
                <a:close/>
                <a:moveTo>
                  <a:pt x="6092712" y="4859582"/>
                </a:moveTo>
                <a:cubicBezTo>
                  <a:pt x="6099759" y="4894813"/>
                  <a:pt x="6104456" y="4932393"/>
                  <a:pt x="6083317" y="4953533"/>
                </a:cubicBezTo>
                <a:cubicBezTo>
                  <a:pt x="6088015" y="4962928"/>
                  <a:pt x="6088015" y="4977020"/>
                  <a:pt x="6099759" y="4977020"/>
                </a:cubicBezTo>
                <a:cubicBezTo>
                  <a:pt x="6109154" y="4941789"/>
                  <a:pt x="6106805" y="4887767"/>
                  <a:pt x="6092712" y="4859582"/>
                </a:cubicBezTo>
                <a:close/>
                <a:moveTo>
                  <a:pt x="5271228" y="4856645"/>
                </a:moveTo>
                <a:cubicBezTo>
                  <a:pt x="5268144" y="4855765"/>
                  <a:pt x="5246565" y="4865453"/>
                  <a:pt x="5265943" y="4861930"/>
                </a:cubicBezTo>
                <a:cubicBezTo>
                  <a:pt x="5271228" y="4858407"/>
                  <a:pt x="5272255" y="4856939"/>
                  <a:pt x="5271228" y="4856645"/>
                </a:cubicBezTo>
                <a:close/>
                <a:moveTo>
                  <a:pt x="5344479" y="4856572"/>
                </a:moveTo>
                <a:cubicBezTo>
                  <a:pt x="5344480" y="4854150"/>
                  <a:pt x="5343452" y="4853709"/>
                  <a:pt x="5341103" y="4857233"/>
                </a:cubicBezTo>
                <a:cubicBezTo>
                  <a:pt x="5331708" y="4868976"/>
                  <a:pt x="5322313" y="4871325"/>
                  <a:pt x="5308220" y="4878371"/>
                </a:cubicBezTo>
                <a:cubicBezTo>
                  <a:pt x="5331708" y="4880720"/>
                  <a:pt x="5303523" y="4906557"/>
                  <a:pt x="5322313" y="4911255"/>
                </a:cubicBezTo>
                <a:cubicBezTo>
                  <a:pt x="5327011" y="4904208"/>
                  <a:pt x="5331708" y="4899511"/>
                  <a:pt x="5336406" y="4897162"/>
                </a:cubicBezTo>
                <a:cubicBezTo>
                  <a:pt x="5327011" y="4892464"/>
                  <a:pt x="5324662" y="4885418"/>
                  <a:pt x="5324662" y="4878371"/>
                </a:cubicBezTo>
                <a:cubicBezTo>
                  <a:pt x="5335231" y="4888940"/>
                  <a:pt x="5344479" y="4863838"/>
                  <a:pt x="5344479" y="4856572"/>
                </a:cubicBezTo>
                <a:close/>
                <a:moveTo>
                  <a:pt x="1533749" y="4854883"/>
                </a:moveTo>
                <a:lnTo>
                  <a:pt x="1538446" y="4861929"/>
                </a:lnTo>
                <a:lnTo>
                  <a:pt x="1526702" y="4871325"/>
                </a:lnTo>
                <a:lnTo>
                  <a:pt x="1517305" y="4871325"/>
                </a:lnTo>
                <a:lnTo>
                  <a:pt x="1507909" y="4871325"/>
                </a:lnTo>
                <a:lnTo>
                  <a:pt x="1507909" y="4868976"/>
                </a:lnTo>
                <a:lnTo>
                  <a:pt x="1507909" y="4861929"/>
                </a:lnTo>
                <a:lnTo>
                  <a:pt x="1526702" y="4857232"/>
                </a:lnTo>
                <a:close/>
                <a:moveTo>
                  <a:pt x="1399869" y="4854883"/>
                </a:moveTo>
                <a:lnTo>
                  <a:pt x="1409264" y="4854883"/>
                </a:lnTo>
                <a:lnTo>
                  <a:pt x="1413962" y="4859581"/>
                </a:lnTo>
                <a:lnTo>
                  <a:pt x="1411613" y="4868976"/>
                </a:lnTo>
                <a:cubicBezTo>
                  <a:pt x="1411613" y="4868976"/>
                  <a:pt x="1409264" y="4871325"/>
                  <a:pt x="1409264" y="4871325"/>
                </a:cubicBezTo>
                <a:lnTo>
                  <a:pt x="1399869" y="4871325"/>
                </a:lnTo>
                <a:lnTo>
                  <a:pt x="1397520" y="4868976"/>
                </a:lnTo>
                <a:lnTo>
                  <a:pt x="1395171" y="4859581"/>
                </a:lnTo>
                <a:close/>
                <a:moveTo>
                  <a:pt x="5533703" y="4852535"/>
                </a:moveTo>
                <a:cubicBezTo>
                  <a:pt x="5531354" y="4854884"/>
                  <a:pt x="5529006" y="4854884"/>
                  <a:pt x="5526657" y="4857233"/>
                </a:cubicBezTo>
                <a:cubicBezTo>
                  <a:pt x="5540750" y="4880720"/>
                  <a:pt x="5554842" y="4904208"/>
                  <a:pt x="5568935" y="4927696"/>
                </a:cubicBezTo>
                <a:cubicBezTo>
                  <a:pt x="5573632" y="4927696"/>
                  <a:pt x="5578330" y="4927696"/>
                  <a:pt x="5583028" y="4927696"/>
                </a:cubicBezTo>
                <a:cubicBezTo>
                  <a:pt x="5566586" y="4901859"/>
                  <a:pt x="5550145" y="4878371"/>
                  <a:pt x="5533703" y="4852535"/>
                </a:cubicBezTo>
                <a:close/>
                <a:moveTo>
                  <a:pt x="6048085" y="4845489"/>
                </a:moveTo>
                <a:cubicBezTo>
                  <a:pt x="6052783" y="4866628"/>
                  <a:pt x="6048085" y="4892464"/>
                  <a:pt x="6064527" y="4908906"/>
                </a:cubicBezTo>
                <a:cubicBezTo>
                  <a:pt x="6062178" y="4885418"/>
                  <a:pt x="6059829" y="4861930"/>
                  <a:pt x="6048085" y="4845489"/>
                </a:cubicBezTo>
                <a:close/>
                <a:moveTo>
                  <a:pt x="3084348" y="4842019"/>
                </a:moveTo>
                <a:lnTo>
                  <a:pt x="3086325" y="4842287"/>
                </a:lnTo>
                <a:lnTo>
                  <a:pt x="3083927" y="4843140"/>
                </a:lnTo>
                <a:close/>
                <a:moveTo>
                  <a:pt x="3077468" y="4841084"/>
                </a:moveTo>
                <a:lnTo>
                  <a:pt x="3080239" y="4841461"/>
                </a:lnTo>
                <a:lnTo>
                  <a:pt x="3076881" y="4843140"/>
                </a:lnTo>
                <a:lnTo>
                  <a:pt x="3074112" y="4842384"/>
                </a:lnTo>
                <a:close/>
                <a:moveTo>
                  <a:pt x="5887011" y="4838589"/>
                </a:moveTo>
                <a:cubicBezTo>
                  <a:pt x="5876772" y="4844755"/>
                  <a:pt x="5870166" y="4870737"/>
                  <a:pt x="5886020" y="4868976"/>
                </a:cubicBezTo>
                <a:cubicBezTo>
                  <a:pt x="5890717" y="4859582"/>
                  <a:pt x="5893066" y="4850186"/>
                  <a:pt x="5897764" y="4840791"/>
                </a:cubicBezTo>
                <a:cubicBezTo>
                  <a:pt x="5894241" y="4836681"/>
                  <a:pt x="5890424" y="4836534"/>
                  <a:pt x="5887011" y="4838589"/>
                </a:cubicBezTo>
                <a:close/>
                <a:moveTo>
                  <a:pt x="2919514" y="4838442"/>
                </a:moveTo>
                <a:cubicBezTo>
                  <a:pt x="2907769" y="4840791"/>
                  <a:pt x="2898374" y="4843140"/>
                  <a:pt x="2888979" y="4847838"/>
                </a:cubicBezTo>
                <a:cubicBezTo>
                  <a:pt x="2884281" y="4854884"/>
                  <a:pt x="2879583" y="4864279"/>
                  <a:pt x="2874887" y="4873674"/>
                </a:cubicBezTo>
                <a:cubicBezTo>
                  <a:pt x="2888979" y="4871325"/>
                  <a:pt x="2903071" y="4866628"/>
                  <a:pt x="2917164" y="4859582"/>
                </a:cubicBezTo>
                <a:cubicBezTo>
                  <a:pt x="2919514" y="4852535"/>
                  <a:pt x="2919514" y="4845489"/>
                  <a:pt x="2919514" y="4838442"/>
                </a:cubicBezTo>
                <a:close/>
                <a:moveTo>
                  <a:pt x="5295486" y="4837268"/>
                </a:moveTo>
                <a:cubicBezTo>
                  <a:pt x="5292366" y="4836093"/>
                  <a:pt x="5289430" y="4836681"/>
                  <a:pt x="5287081" y="4840791"/>
                </a:cubicBezTo>
                <a:cubicBezTo>
                  <a:pt x="5284732" y="4859582"/>
                  <a:pt x="5329359" y="4873674"/>
                  <a:pt x="5317616" y="4847838"/>
                </a:cubicBezTo>
                <a:cubicBezTo>
                  <a:pt x="5315855" y="4860168"/>
                  <a:pt x="5304844" y="4840791"/>
                  <a:pt x="5295486" y="4837268"/>
                </a:cubicBezTo>
                <a:close/>
                <a:moveTo>
                  <a:pt x="1510260" y="4836093"/>
                </a:moveTo>
                <a:lnTo>
                  <a:pt x="1512610" y="4845488"/>
                </a:lnTo>
                <a:lnTo>
                  <a:pt x="1491468" y="4847837"/>
                </a:lnTo>
                <a:lnTo>
                  <a:pt x="1484425" y="4843139"/>
                </a:lnTo>
                <a:lnTo>
                  <a:pt x="1491468" y="4840791"/>
                </a:lnTo>
                <a:close/>
                <a:moveTo>
                  <a:pt x="5583028" y="4829047"/>
                </a:moveTo>
                <a:cubicBezTo>
                  <a:pt x="5580679" y="4831396"/>
                  <a:pt x="5580679" y="4831396"/>
                  <a:pt x="5578330" y="4831396"/>
                </a:cubicBezTo>
                <a:cubicBezTo>
                  <a:pt x="5580679" y="4833745"/>
                  <a:pt x="5585376" y="4836094"/>
                  <a:pt x="5590074" y="4838442"/>
                </a:cubicBezTo>
                <a:cubicBezTo>
                  <a:pt x="5587725" y="4836094"/>
                  <a:pt x="5585376" y="4831396"/>
                  <a:pt x="5583028" y="4829047"/>
                </a:cubicBezTo>
                <a:close/>
                <a:moveTo>
                  <a:pt x="4396894" y="4826698"/>
                </a:moveTo>
                <a:cubicBezTo>
                  <a:pt x="4394545" y="4831396"/>
                  <a:pt x="4394545" y="4833745"/>
                  <a:pt x="4392197" y="4838442"/>
                </a:cubicBezTo>
                <a:cubicBezTo>
                  <a:pt x="4396894" y="4840791"/>
                  <a:pt x="4399243" y="4840791"/>
                  <a:pt x="4403940" y="4843140"/>
                </a:cubicBezTo>
                <a:cubicBezTo>
                  <a:pt x="4406289" y="4838442"/>
                  <a:pt x="4406289" y="4836094"/>
                  <a:pt x="4408638" y="4831396"/>
                </a:cubicBezTo>
                <a:cubicBezTo>
                  <a:pt x="4403940" y="4829047"/>
                  <a:pt x="4401592" y="4829047"/>
                  <a:pt x="4396894" y="4826698"/>
                </a:cubicBezTo>
                <a:close/>
                <a:moveTo>
                  <a:pt x="1620652" y="4826697"/>
                </a:moveTo>
                <a:lnTo>
                  <a:pt x="1630051" y="4826697"/>
                </a:lnTo>
                <a:cubicBezTo>
                  <a:pt x="1630051" y="4826697"/>
                  <a:pt x="1632395" y="4829046"/>
                  <a:pt x="1632395" y="4829046"/>
                </a:cubicBezTo>
                <a:lnTo>
                  <a:pt x="1634745" y="4838441"/>
                </a:lnTo>
                <a:lnTo>
                  <a:pt x="1634745" y="4847836"/>
                </a:lnTo>
                <a:cubicBezTo>
                  <a:pt x="1634745" y="4847836"/>
                  <a:pt x="1632395" y="4850185"/>
                  <a:pt x="1630051" y="4852534"/>
                </a:cubicBezTo>
                <a:lnTo>
                  <a:pt x="1620652" y="4852534"/>
                </a:lnTo>
                <a:lnTo>
                  <a:pt x="1613608" y="4845487"/>
                </a:lnTo>
                <a:lnTo>
                  <a:pt x="1613608" y="4838441"/>
                </a:lnTo>
                <a:lnTo>
                  <a:pt x="1618302" y="4829046"/>
                </a:lnTo>
                <a:cubicBezTo>
                  <a:pt x="1618302" y="4829046"/>
                  <a:pt x="1620652" y="4826697"/>
                  <a:pt x="1620652" y="4826697"/>
                </a:cubicBezTo>
                <a:close/>
                <a:moveTo>
                  <a:pt x="2574242" y="4824350"/>
                </a:moveTo>
                <a:cubicBezTo>
                  <a:pt x="2562498" y="4829047"/>
                  <a:pt x="2550754" y="4836094"/>
                  <a:pt x="2539011" y="4843140"/>
                </a:cubicBezTo>
                <a:lnTo>
                  <a:pt x="2548406" y="4850186"/>
                </a:lnTo>
                <a:cubicBezTo>
                  <a:pt x="2557801" y="4840791"/>
                  <a:pt x="2567196" y="4833745"/>
                  <a:pt x="2574242" y="4824350"/>
                </a:cubicBezTo>
                <a:close/>
                <a:moveTo>
                  <a:pt x="1543145" y="4824349"/>
                </a:moveTo>
                <a:cubicBezTo>
                  <a:pt x="1543145" y="4824349"/>
                  <a:pt x="1547841" y="4826698"/>
                  <a:pt x="1552537" y="4829047"/>
                </a:cubicBezTo>
                <a:lnTo>
                  <a:pt x="1557238" y="4836093"/>
                </a:lnTo>
                <a:lnTo>
                  <a:pt x="1550189" y="4843139"/>
                </a:lnTo>
                <a:lnTo>
                  <a:pt x="1543145" y="4838442"/>
                </a:lnTo>
                <a:lnTo>
                  <a:pt x="1538446" y="4833744"/>
                </a:lnTo>
                <a:close/>
                <a:moveTo>
                  <a:pt x="1406915" y="4824349"/>
                </a:moveTo>
                <a:lnTo>
                  <a:pt x="1411612" y="4826698"/>
                </a:lnTo>
                <a:lnTo>
                  <a:pt x="1409262" y="4836093"/>
                </a:lnTo>
                <a:cubicBezTo>
                  <a:pt x="1409262" y="4836093"/>
                  <a:pt x="1406915" y="4838442"/>
                  <a:pt x="1406915" y="4838442"/>
                </a:cubicBezTo>
                <a:lnTo>
                  <a:pt x="1404570" y="4836093"/>
                </a:lnTo>
                <a:lnTo>
                  <a:pt x="1402219" y="4826698"/>
                </a:lnTo>
                <a:close/>
                <a:moveTo>
                  <a:pt x="5437403" y="4822001"/>
                </a:moveTo>
                <a:cubicBezTo>
                  <a:pt x="5435055" y="4826698"/>
                  <a:pt x="5435055" y="4829047"/>
                  <a:pt x="5432706" y="4833745"/>
                </a:cubicBezTo>
                <a:cubicBezTo>
                  <a:pt x="5437403" y="4836094"/>
                  <a:pt x="5439752" y="4836094"/>
                  <a:pt x="5444449" y="4838442"/>
                </a:cubicBezTo>
                <a:cubicBezTo>
                  <a:pt x="5446798" y="4833745"/>
                  <a:pt x="5446798" y="4831396"/>
                  <a:pt x="5449147" y="4826698"/>
                </a:cubicBezTo>
                <a:cubicBezTo>
                  <a:pt x="5444449" y="4826698"/>
                  <a:pt x="5442101" y="4824350"/>
                  <a:pt x="5437403" y="4822001"/>
                </a:cubicBezTo>
                <a:close/>
                <a:moveTo>
                  <a:pt x="3039300" y="4812606"/>
                </a:moveTo>
                <a:cubicBezTo>
                  <a:pt x="3032254" y="4817303"/>
                  <a:pt x="3025208" y="4819652"/>
                  <a:pt x="3018161" y="4819652"/>
                </a:cubicBezTo>
                <a:cubicBezTo>
                  <a:pt x="3020510" y="4819652"/>
                  <a:pt x="3020510" y="4822001"/>
                  <a:pt x="3020510" y="4822001"/>
                </a:cubicBezTo>
                <a:lnTo>
                  <a:pt x="3020510" y="4831396"/>
                </a:lnTo>
                <a:lnTo>
                  <a:pt x="3020510" y="4836094"/>
                </a:lnTo>
                <a:cubicBezTo>
                  <a:pt x="3027557" y="4836094"/>
                  <a:pt x="3036951" y="4836094"/>
                  <a:pt x="3046347" y="4833745"/>
                </a:cubicBezTo>
                <a:cubicBezTo>
                  <a:pt x="3051044" y="4829047"/>
                  <a:pt x="3053393" y="4824350"/>
                  <a:pt x="3055742" y="4819652"/>
                </a:cubicBezTo>
                <a:cubicBezTo>
                  <a:pt x="3051044" y="4817303"/>
                  <a:pt x="3046347" y="4814955"/>
                  <a:pt x="3039300" y="4812606"/>
                </a:cubicBezTo>
                <a:close/>
                <a:moveTo>
                  <a:pt x="2839654" y="4810257"/>
                </a:moveTo>
                <a:cubicBezTo>
                  <a:pt x="2839654" y="4810257"/>
                  <a:pt x="2837305" y="4812606"/>
                  <a:pt x="2837305" y="4812606"/>
                </a:cubicBezTo>
                <a:cubicBezTo>
                  <a:pt x="2839654" y="4812606"/>
                  <a:pt x="2839654" y="4812606"/>
                  <a:pt x="2842003" y="4812606"/>
                </a:cubicBezTo>
                <a:cubicBezTo>
                  <a:pt x="2842003" y="4810257"/>
                  <a:pt x="2842003" y="4810257"/>
                  <a:pt x="2839654" y="4810257"/>
                </a:cubicBezTo>
                <a:close/>
                <a:moveTo>
                  <a:pt x="1594816" y="4810257"/>
                </a:moveTo>
                <a:lnTo>
                  <a:pt x="1604210" y="4810257"/>
                </a:lnTo>
                <a:lnTo>
                  <a:pt x="1604210" y="4857233"/>
                </a:lnTo>
                <a:cubicBezTo>
                  <a:pt x="1599515" y="4857233"/>
                  <a:pt x="1597166" y="4859582"/>
                  <a:pt x="1594816" y="4859582"/>
                </a:cubicBezTo>
                <a:cubicBezTo>
                  <a:pt x="1590118" y="4859582"/>
                  <a:pt x="1587773" y="4854884"/>
                  <a:pt x="1585423" y="4854884"/>
                </a:cubicBezTo>
                <a:cubicBezTo>
                  <a:pt x="1583073" y="4854884"/>
                  <a:pt x="1580723" y="4859582"/>
                  <a:pt x="1580723" y="4861930"/>
                </a:cubicBezTo>
                <a:cubicBezTo>
                  <a:pt x="1580723" y="4861930"/>
                  <a:pt x="1585423" y="4873674"/>
                  <a:pt x="1587773" y="4878372"/>
                </a:cubicBezTo>
                <a:lnTo>
                  <a:pt x="1557238" y="4892464"/>
                </a:lnTo>
                <a:cubicBezTo>
                  <a:pt x="1554887" y="4887767"/>
                  <a:pt x="1550189" y="4883069"/>
                  <a:pt x="1550189" y="4880720"/>
                </a:cubicBezTo>
                <a:cubicBezTo>
                  <a:pt x="1550189" y="4878372"/>
                  <a:pt x="1566630" y="4861930"/>
                  <a:pt x="1566630" y="4861930"/>
                </a:cubicBezTo>
                <a:cubicBezTo>
                  <a:pt x="1571330" y="4859582"/>
                  <a:pt x="1573676" y="4861930"/>
                  <a:pt x="1576025" y="4861930"/>
                </a:cubicBezTo>
                <a:cubicBezTo>
                  <a:pt x="1576025" y="4861930"/>
                  <a:pt x="1583073" y="4852535"/>
                  <a:pt x="1587773" y="4847838"/>
                </a:cubicBezTo>
                <a:lnTo>
                  <a:pt x="1587773" y="4838442"/>
                </a:lnTo>
                <a:lnTo>
                  <a:pt x="1559588" y="4829047"/>
                </a:lnTo>
                <a:lnTo>
                  <a:pt x="1554887" y="4819652"/>
                </a:lnTo>
                <a:close/>
                <a:moveTo>
                  <a:pt x="1529053" y="4810256"/>
                </a:moveTo>
                <a:lnTo>
                  <a:pt x="1531403" y="4819651"/>
                </a:lnTo>
                <a:lnTo>
                  <a:pt x="1529053" y="4826697"/>
                </a:lnTo>
                <a:lnTo>
                  <a:pt x="1519655" y="4824349"/>
                </a:lnTo>
                <a:close/>
                <a:moveTo>
                  <a:pt x="2849049" y="4803211"/>
                </a:moveTo>
                <a:cubicBezTo>
                  <a:pt x="2846700" y="4803211"/>
                  <a:pt x="2846700" y="4805560"/>
                  <a:pt x="2844352" y="4805560"/>
                </a:cubicBezTo>
                <a:cubicBezTo>
                  <a:pt x="2846700" y="4807908"/>
                  <a:pt x="2846700" y="4810257"/>
                  <a:pt x="2846700" y="4812606"/>
                </a:cubicBezTo>
                <a:cubicBezTo>
                  <a:pt x="2849049" y="4812606"/>
                  <a:pt x="2851398" y="4812606"/>
                  <a:pt x="2851398" y="4812606"/>
                </a:cubicBezTo>
                <a:cubicBezTo>
                  <a:pt x="2849049" y="4807908"/>
                  <a:pt x="2849049" y="4805560"/>
                  <a:pt x="2849049" y="4803211"/>
                </a:cubicBezTo>
                <a:close/>
                <a:moveTo>
                  <a:pt x="2684635" y="4800862"/>
                </a:moveTo>
                <a:cubicBezTo>
                  <a:pt x="2665845" y="4807908"/>
                  <a:pt x="2647054" y="4817303"/>
                  <a:pt x="2630613" y="4826698"/>
                </a:cubicBezTo>
                <a:cubicBezTo>
                  <a:pt x="2635310" y="4826698"/>
                  <a:pt x="2637659" y="4824350"/>
                  <a:pt x="2640008" y="4824350"/>
                </a:cubicBezTo>
                <a:cubicBezTo>
                  <a:pt x="2644706" y="4817303"/>
                  <a:pt x="2656449" y="4817303"/>
                  <a:pt x="2665845" y="4817303"/>
                </a:cubicBezTo>
                <a:cubicBezTo>
                  <a:pt x="2670543" y="4817303"/>
                  <a:pt x="2677588" y="4814955"/>
                  <a:pt x="2682286" y="4812606"/>
                </a:cubicBezTo>
                <a:cubicBezTo>
                  <a:pt x="2684635" y="4810257"/>
                  <a:pt x="2684635" y="4805560"/>
                  <a:pt x="2684635" y="4800862"/>
                </a:cubicBezTo>
                <a:close/>
                <a:moveTo>
                  <a:pt x="5425659" y="4798513"/>
                </a:moveTo>
                <a:lnTo>
                  <a:pt x="5436932" y="4803344"/>
                </a:lnTo>
                <a:lnTo>
                  <a:pt x="5435164" y="4807871"/>
                </a:lnTo>
                <a:lnTo>
                  <a:pt x="5424462" y="4817646"/>
                </a:lnTo>
                <a:lnTo>
                  <a:pt x="5418613" y="4814955"/>
                </a:lnTo>
                <a:cubicBezTo>
                  <a:pt x="5420962" y="4810257"/>
                  <a:pt x="5423311" y="4803211"/>
                  <a:pt x="5425659" y="4798513"/>
                </a:cubicBezTo>
                <a:close/>
                <a:moveTo>
                  <a:pt x="1620652" y="4798512"/>
                </a:moveTo>
                <a:lnTo>
                  <a:pt x="1627701" y="4803210"/>
                </a:lnTo>
                <a:lnTo>
                  <a:pt x="1620652" y="4810256"/>
                </a:lnTo>
                <a:lnTo>
                  <a:pt x="1615958" y="4803210"/>
                </a:lnTo>
                <a:close/>
                <a:moveTo>
                  <a:pt x="5454506" y="4796428"/>
                </a:moveTo>
                <a:lnTo>
                  <a:pt x="5463310" y="4799950"/>
                </a:lnTo>
                <a:lnTo>
                  <a:pt x="5456193" y="4810257"/>
                </a:lnTo>
                <a:cubicBezTo>
                  <a:pt x="5452670" y="4806147"/>
                  <a:pt x="5452524" y="4802183"/>
                  <a:pt x="5453698" y="4798219"/>
                </a:cubicBezTo>
                <a:close/>
                <a:moveTo>
                  <a:pt x="2466198" y="4791466"/>
                </a:moveTo>
                <a:lnTo>
                  <a:pt x="2470896" y="4798512"/>
                </a:lnTo>
                <a:lnTo>
                  <a:pt x="2466198" y="4805559"/>
                </a:lnTo>
                <a:lnTo>
                  <a:pt x="2459152" y="4798512"/>
                </a:lnTo>
                <a:close/>
                <a:moveTo>
                  <a:pt x="1611258" y="4791466"/>
                </a:moveTo>
                <a:lnTo>
                  <a:pt x="1613608" y="4796164"/>
                </a:lnTo>
                <a:lnTo>
                  <a:pt x="1611258" y="4798512"/>
                </a:lnTo>
                <a:lnTo>
                  <a:pt x="1604209" y="4796164"/>
                </a:lnTo>
                <a:close/>
                <a:moveTo>
                  <a:pt x="2968837" y="4786769"/>
                </a:moveTo>
                <a:cubicBezTo>
                  <a:pt x="2961791" y="4789118"/>
                  <a:pt x="2954744" y="4800862"/>
                  <a:pt x="2947698" y="4814955"/>
                </a:cubicBezTo>
                <a:cubicBezTo>
                  <a:pt x="2947698" y="4814955"/>
                  <a:pt x="2945350" y="4814955"/>
                  <a:pt x="2945350" y="4814955"/>
                </a:cubicBezTo>
                <a:cubicBezTo>
                  <a:pt x="2945350" y="4814955"/>
                  <a:pt x="2943000" y="4814955"/>
                  <a:pt x="2943000" y="4817303"/>
                </a:cubicBezTo>
                <a:cubicBezTo>
                  <a:pt x="2943000" y="4819652"/>
                  <a:pt x="2943000" y="4819652"/>
                  <a:pt x="2943000" y="4819652"/>
                </a:cubicBezTo>
                <a:lnTo>
                  <a:pt x="2945350" y="4822001"/>
                </a:lnTo>
                <a:cubicBezTo>
                  <a:pt x="2940652" y="4833745"/>
                  <a:pt x="2938303" y="4843140"/>
                  <a:pt x="2940652" y="4850186"/>
                </a:cubicBezTo>
                <a:cubicBezTo>
                  <a:pt x="2940652" y="4847838"/>
                  <a:pt x="2943000" y="4843140"/>
                  <a:pt x="2945350" y="4840791"/>
                </a:cubicBezTo>
                <a:cubicBezTo>
                  <a:pt x="2947698" y="4840791"/>
                  <a:pt x="2947698" y="4840791"/>
                  <a:pt x="2947698" y="4840791"/>
                </a:cubicBezTo>
                <a:cubicBezTo>
                  <a:pt x="2954744" y="4843140"/>
                  <a:pt x="2961791" y="4847838"/>
                  <a:pt x="2971186" y="4850186"/>
                </a:cubicBezTo>
                <a:cubicBezTo>
                  <a:pt x="2980581" y="4845489"/>
                  <a:pt x="2992325" y="4840791"/>
                  <a:pt x="3004069" y="4838442"/>
                </a:cubicBezTo>
                <a:lnTo>
                  <a:pt x="3004069" y="4831396"/>
                </a:lnTo>
                <a:lnTo>
                  <a:pt x="3004069" y="4822001"/>
                </a:lnTo>
                <a:cubicBezTo>
                  <a:pt x="2992325" y="4822001"/>
                  <a:pt x="2980581" y="4819652"/>
                  <a:pt x="2968837" y="4817303"/>
                </a:cubicBezTo>
                <a:cubicBezTo>
                  <a:pt x="2968837" y="4819652"/>
                  <a:pt x="2964139" y="4819652"/>
                  <a:pt x="2961791" y="4819652"/>
                </a:cubicBezTo>
                <a:cubicBezTo>
                  <a:pt x="2968837" y="4807908"/>
                  <a:pt x="2973535" y="4796164"/>
                  <a:pt x="2968837" y="4786769"/>
                </a:cubicBezTo>
                <a:close/>
                <a:moveTo>
                  <a:pt x="2484988" y="4786768"/>
                </a:moveTo>
                <a:lnTo>
                  <a:pt x="2489686" y="4791466"/>
                </a:lnTo>
                <a:lnTo>
                  <a:pt x="2482640" y="4796163"/>
                </a:lnTo>
                <a:lnTo>
                  <a:pt x="2477942" y="4791466"/>
                </a:lnTo>
                <a:close/>
                <a:moveTo>
                  <a:pt x="1568980" y="4786768"/>
                </a:moveTo>
                <a:lnTo>
                  <a:pt x="1578373" y="4789117"/>
                </a:lnTo>
                <a:lnTo>
                  <a:pt x="1578373" y="4796163"/>
                </a:lnTo>
                <a:lnTo>
                  <a:pt x="1568980" y="4796163"/>
                </a:lnTo>
                <a:lnTo>
                  <a:pt x="1566630" y="4793814"/>
                </a:lnTo>
                <a:close/>
                <a:moveTo>
                  <a:pt x="3046090" y="4785264"/>
                </a:moveTo>
                <a:cubicBezTo>
                  <a:pt x="3043851" y="4785154"/>
                  <a:pt x="3042237" y="4786182"/>
                  <a:pt x="3041649" y="4789118"/>
                </a:cubicBezTo>
                <a:cubicBezTo>
                  <a:pt x="3051044" y="4791467"/>
                  <a:pt x="3067486" y="4810257"/>
                  <a:pt x="3072184" y="4796164"/>
                </a:cubicBezTo>
                <a:cubicBezTo>
                  <a:pt x="3065137" y="4796164"/>
                  <a:pt x="3052806" y="4785594"/>
                  <a:pt x="3046090" y="4785264"/>
                </a:cubicBezTo>
                <a:close/>
                <a:moveTo>
                  <a:pt x="2745703" y="4784420"/>
                </a:moveTo>
                <a:cubicBezTo>
                  <a:pt x="2731610" y="4786769"/>
                  <a:pt x="2722215" y="4789118"/>
                  <a:pt x="2712820" y="4791467"/>
                </a:cubicBezTo>
                <a:cubicBezTo>
                  <a:pt x="2722215" y="4791467"/>
                  <a:pt x="2729262" y="4789118"/>
                  <a:pt x="2738657" y="4789118"/>
                </a:cubicBezTo>
                <a:cubicBezTo>
                  <a:pt x="2741006" y="4786769"/>
                  <a:pt x="2743354" y="4786769"/>
                  <a:pt x="2745703" y="4784420"/>
                </a:cubicBezTo>
                <a:close/>
                <a:moveTo>
                  <a:pt x="3729841" y="4779723"/>
                </a:moveTo>
                <a:cubicBezTo>
                  <a:pt x="3727493" y="4784420"/>
                  <a:pt x="3727493" y="4786769"/>
                  <a:pt x="3725144" y="4791467"/>
                </a:cubicBezTo>
                <a:cubicBezTo>
                  <a:pt x="3729841" y="4791467"/>
                  <a:pt x="3734539" y="4793816"/>
                  <a:pt x="3736888" y="4796164"/>
                </a:cubicBezTo>
                <a:cubicBezTo>
                  <a:pt x="3739236" y="4791467"/>
                  <a:pt x="3739236" y="4789118"/>
                  <a:pt x="3741585" y="4784420"/>
                </a:cubicBezTo>
                <a:cubicBezTo>
                  <a:pt x="3736888" y="4782072"/>
                  <a:pt x="3734539" y="4782072"/>
                  <a:pt x="3729841" y="4779723"/>
                </a:cubicBezTo>
                <a:close/>
                <a:moveTo>
                  <a:pt x="5925949" y="4774731"/>
                </a:moveTo>
                <a:cubicBezTo>
                  <a:pt x="5924775" y="4774438"/>
                  <a:pt x="5923600" y="4775025"/>
                  <a:pt x="5923600" y="4777374"/>
                </a:cubicBezTo>
                <a:cubicBezTo>
                  <a:pt x="5942390" y="4807908"/>
                  <a:pt x="5951786" y="4847838"/>
                  <a:pt x="5979971" y="4868976"/>
                </a:cubicBezTo>
                <a:cubicBezTo>
                  <a:pt x="5965878" y="4836094"/>
                  <a:pt x="5947088" y="4807908"/>
                  <a:pt x="5928298" y="4777374"/>
                </a:cubicBezTo>
                <a:cubicBezTo>
                  <a:pt x="5928298" y="4776199"/>
                  <a:pt x="5927124" y="4775025"/>
                  <a:pt x="5925949" y="4774731"/>
                </a:cubicBezTo>
                <a:close/>
                <a:moveTo>
                  <a:pt x="6118549" y="4770328"/>
                </a:moveTo>
                <a:cubicBezTo>
                  <a:pt x="6120898" y="4772676"/>
                  <a:pt x="6120898" y="4772676"/>
                  <a:pt x="6120898" y="4775025"/>
                </a:cubicBezTo>
                <a:lnTo>
                  <a:pt x="6116385" y="4770512"/>
                </a:lnTo>
                <a:close/>
                <a:moveTo>
                  <a:pt x="6116200" y="4770328"/>
                </a:moveTo>
                <a:lnTo>
                  <a:pt x="6116385" y="4770512"/>
                </a:lnTo>
                <a:lnTo>
                  <a:pt x="6116160" y="4770532"/>
                </a:lnTo>
                <a:close/>
                <a:moveTo>
                  <a:pt x="1484425" y="4770328"/>
                </a:moveTo>
                <a:cubicBezTo>
                  <a:pt x="1484425" y="4770328"/>
                  <a:pt x="1491470" y="4770328"/>
                  <a:pt x="1493818" y="4770328"/>
                </a:cubicBezTo>
                <a:lnTo>
                  <a:pt x="1491470" y="4793816"/>
                </a:lnTo>
                <a:lnTo>
                  <a:pt x="1491470" y="4810257"/>
                </a:lnTo>
                <a:lnTo>
                  <a:pt x="1484425" y="4800862"/>
                </a:lnTo>
                <a:cubicBezTo>
                  <a:pt x="1482075" y="4798513"/>
                  <a:pt x="1479726" y="4796164"/>
                  <a:pt x="1477377" y="4796164"/>
                </a:cubicBezTo>
                <a:cubicBezTo>
                  <a:pt x="1477377" y="4796164"/>
                  <a:pt x="1470332" y="4798513"/>
                  <a:pt x="1467982" y="4800862"/>
                </a:cubicBezTo>
                <a:lnTo>
                  <a:pt x="1467982" y="4789118"/>
                </a:lnTo>
                <a:lnTo>
                  <a:pt x="1479726" y="4777374"/>
                </a:lnTo>
                <a:cubicBezTo>
                  <a:pt x="1482075" y="4775026"/>
                  <a:pt x="1482075" y="4772677"/>
                  <a:pt x="1484425" y="4770328"/>
                </a:cubicBezTo>
                <a:close/>
                <a:moveTo>
                  <a:pt x="1568980" y="4765629"/>
                </a:moveTo>
                <a:cubicBezTo>
                  <a:pt x="1568980" y="4765629"/>
                  <a:pt x="1571330" y="4767978"/>
                  <a:pt x="1571330" y="4767978"/>
                </a:cubicBezTo>
                <a:lnTo>
                  <a:pt x="1576024" y="4777373"/>
                </a:lnTo>
                <a:lnTo>
                  <a:pt x="1568980" y="4786768"/>
                </a:lnTo>
                <a:lnTo>
                  <a:pt x="1559588" y="4782070"/>
                </a:lnTo>
                <a:lnTo>
                  <a:pt x="1554887" y="4777373"/>
                </a:lnTo>
                <a:lnTo>
                  <a:pt x="1559588" y="4767978"/>
                </a:lnTo>
                <a:close/>
                <a:moveTo>
                  <a:pt x="1526702" y="4765629"/>
                </a:moveTo>
                <a:cubicBezTo>
                  <a:pt x="1526702" y="4765629"/>
                  <a:pt x="1531403" y="4767978"/>
                  <a:pt x="1540795" y="4775024"/>
                </a:cubicBezTo>
                <a:lnTo>
                  <a:pt x="1536096" y="4784419"/>
                </a:lnTo>
                <a:cubicBezTo>
                  <a:pt x="1536096" y="4784419"/>
                  <a:pt x="1533749" y="4784419"/>
                  <a:pt x="1533749" y="4784419"/>
                </a:cubicBezTo>
                <a:lnTo>
                  <a:pt x="1526702" y="4784419"/>
                </a:lnTo>
                <a:lnTo>
                  <a:pt x="1517305" y="4777373"/>
                </a:lnTo>
                <a:close/>
                <a:moveTo>
                  <a:pt x="1425704" y="4763281"/>
                </a:moveTo>
                <a:lnTo>
                  <a:pt x="1430400" y="4767979"/>
                </a:lnTo>
                <a:lnTo>
                  <a:pt x="1432749" y="4775025"/>
                </a:lnTo>
                <a:lnTo>
                  <a:pt x="1425704" y="4779722"/>
                </a:lnTo>
                <a:lnTo>
                  <a:pt x="1421006" y="4775025"/>
                </a:lnTo>
                <a:lnTo>
                  <a:pt x="1421006" y="4767979"/>
                </a:lnTo>
                <a:close/>
                <a:moveTo>
                  <a:pt x="2917164" y="4760933"/>
                </a:moveTo>
                <a:cubicBezTo>
                  <a:pt x="2912466" y="4765630"/>
                  <a:pt x="2907769" y="4770328"/>
                  <a:pt x="2903071" y="4772676"/>
                </a:cubicBezTo>
                <a:cubicBezTo>
                  <a:pt x="2903071" y="4779723"/>
                  <a:pt x="2903071" y="4786769"/>
                  <a:pt x="2905420" y="4791467"/>
                </a:cubicBezTo>
                <a:cubicBezTo>
                  <a:pt x="2919514" y="4786769"/>
                  <a:pt x="2924210" y="4770328"/>
                  <a:pt x="2917164" y="4760933"/>
                </a:cubicBezTo>
                <a:close/>
                <a:moveTo>
                  <a:pt x="2954744" y="4758584"/>
                </a:moveTo>
                <a:lnTo>
                  <a:pt x="2950047" y="4763281"/>
                </a:lnTo>
                <a:cubicBezTo>
                  <a:pt x="2952395" y="4763281"/>
                  <a:pt x="2952395" y="4763281"/>
                  <a:pt x="2954744" y="4763281"/>
                </a:cubicBezTo>
                <a:cubicBezTo>
                  <a:pt x="2954744" y="4763281"/>
                  <a:pt x="2957093" y="4760933"/>
                  <a:pt x="2957093" y="4758584"/>
                </a:cubicBezTo>
                <a:cubicBezTo>
                  <a:pt x="2957093" y="4758584"/>
                  <a:pt x="2954744" y="4758584"/>
                  <a:pt x="2954744" y="4758584"/>
                </a:cubicBezTo>
                <a:close/>
                <a:moveTo>
                  <a:pt x="5564825" y="4755648"/>
                </a:moveTo>
                <a:cubicBezTo>
                  <a:pt x="5558366" y="4757996"/>
                  <a:pt x="5553668" y="4762107"/>
                  <a:pt x="5547796" y="4765630"/>
                </a:cubicBezTo>
                <a:cubicBezTo>
                  <a:pt x="5550145" y="4779723"/>
                  <a:pt x="5566586" y="4786769"/>
                  <a:pt x="5566586" y="4800862"/>
                </a:cubicBezTo>
                <a:cubicBezTo>
                  <a:pt x="5580679" y="4777374"/>
                  <a:pt x="5583028" y="4767979"/>
                  <a:pt x="5592423" y="4756235"/>
                </a:cubicBezTo>
                <a:cubicBezTo>
                  <a:pt x="5579505" y="4752712"/>
                  <a:pt x="5571284" y="4753299"/>
                  <a:pt x="5564825" y="4755648"/>
                </a:cubicBezTo>
                <a:close/>
                <a:moveTo>
                  <a:pt x="2682286" y="4753886"/>
                </a:moveTo>
                <a:cubicBezTo>
                  <a:pt x="2675240" y="4756235"/>
                  <a:pt x="2668193" y="4760933"/>
                  <a:pt x="2663496" y="4765630"/>
                </a:cubicBezTo>
                <a:cubicBezTo>
                  <a:pt x="2675240" y="4763281"/>
                  <a:pt x="2686984" y="4760933"/>
                  <a:pt x="2698728" y="4758584"/>
                </a:cubicBezTo>
                <a:cubicBezTo>
                  <a:pt x="2694030" y="4756235"/>
                  <a:pt x="2689332" y="4753886"/>
                  <a:pt x="2682286" y="4753886"/>
                </a:cubicBezTo>
                <a:close/>
                <a:moveTo>
                  <a:pt x="4857843" y="4751537"/>
                </a:moveTo>
                <a:cubicBezTo>
                  <a:pt x="4855494" y="4749188"/>
                  <a:pt x="4852558" y="4748014"/>
                  <a:pt x="4847860" y="4751538"/>
                </a:cubicBezTo>
                <a:cubicBezTo>
                  <a:pt x="4852557" y="4756235"/>
                  <a:pt x="4854906" y="4767979"/>
                  <a:pt x="4864301" y="4758584"/>
                </a:cubicBezTo>
                <a:cubicBezTo>
                  <a:pt x="4861953" y="4757409"/>
                  <a:pt x="4860191" y="4753886"/>
                  <a:pt x="4857843" y="4751537"/>
                </a:cubicBezTo>
                <a:close/>
                <a:moveTo>
                  <a:pt x="5925949" y="4746840"/>
                </a:moveTo>
                <a:cubicBezTo>
                  <a:pt x="5949437" y="4793816"/>
                  <a:pt x="5975274" y="4840791"/>
                  <a:pt x="5998761" y="4887767"/>
                </a:cubicBezTo>
                <a:cubicBezTo>
                  <a:pt x="5998761" y="4857233"/>
                  <a:pt x="5979971" y="4831396"/>
                  <a:pt x="5965878" y="4800862"/>
                </a:cubicBezTo>
                <a:cubicBezTo>
                  <a:pt x="5954134" y="4777374"/>
                  <a:pt x="5940042" y="4758584"/>
                  <a:pt x="5925949" y="4746840"/>
                </a:cubicBezTo>
                <a:close/>
                <a:moveTo>
                  <a:pt x="1503213" y="4744490"/>
                </a:moveTo>
                <a:lnTo>
                  <a:pt x="1510260" y="4749188"/>
                </a:lnTo>
                <a:lnTo>
                  <a:pt x="1510260" y="4758583"/>
                </a:lnTo>
                <a:lnTo>
                  <a:pt x="1500867" y="4760931"/>
                </a:lnTo>
                <a:lnTo>
                  <a:pt x="1498517" y="4758583"/>
                </a:lnTo>
                <a:lnTo>
                  <a:pt x="1498517" y="4749188"/>
                </a:lnTo>
                <a:close/>
                <a:moveTo>
                  <a:pt x="1418657" y="4744490"/>
                </a:moveTo>
                <a:lnTo>
                  <a:pt x="1425704" y="4749188"/>
                </a:lnTo>
                <a:lnTo>
                  <a:pt x="1418657" y="4756234"/>
                </a:lnTo>
                <a:lnTo>
                  <a:pt x="1411612" y="4749188"/>
                </a:lnTo>
                <a:close/>
                <a:moveTo>
                  <a:pt x="3745953" y="4740308"/>
                </a:moveTo>
                <a:cubicBezTo>
                  <a:pt x="3745255" y="4738473"/>
                  <a:pt x="3743347" y="4738620"/>
                  <a:pt x="3739236" y="4742143"/>
                </a:cubicBezTo>
                <a:cubicBezTo>
                  <a:pt x="3743934" y="4746840"/>
                  <a:pt x="3725144" y="4789118"/>
                  <a:pt x="3746282" y="4772676"/>
                </a:cubicBezTo>
                <a:cubicBezTo>
                  <a:pt x="3739237" y="4769153"/>
                  <a:pt x="3748045" y="4745812"/>
                  <a:pt x="3745953" y="4740308"/>
                </a:cubicBezTo>
                <a:close/>
                <a:moveTo>
                  <a:pt x="1282428" y="4732746"/>
                </a:moveTo>
                <a:lnTo>
                  <a:pt x="1291823" y="4732746"/>
                </a:lnTo>
                <a:lnTo>
                  <a:pt x="1294172" y="4739792"/>
                </a:lnTo>
                <a:lnTo>
                  <a:pt x="1291823" y="4746839"/>
                </a:lnTo>
                <a:lnTo>
                  <a:pt x="1282428" y="4746839"/>
                </a:lnTo>
                <a:lnTo>
                  <a:pt x="1277730" y="4739792"/>
                </a:lnTo>
                <a:close/>
                <a:moveTo>
                  <a:pt x="3043301" y="4728086"/>
                </a:moveTo>
                <a:cubicBezTo>
                  <a:pt x="3022273" y="4729958"/>
                  <a:pt x="3002895" y="4742730"/>
                  <a:pt x="2978232" y="4751538"/>
                </a:cubicBezTo>
                <a:cubicBezTo>
                  <a:pt x="2975883" y="4753886"/>
                  <a:pt x="2975883" y="4758584"/>
                  <a:pt x="2973535" y="4760933"/>
                </a:cubicBezTo>
                <a:cubicBezTo>
                  <a:pt x="2975883" y="4758584"/>
                  <a:pt x="2980581" y="4758584"/>
                  <a:pt x="2982930" y="4758584"/>
                </a:cubicBezTo>
                <a:lnTo>
                  <a:pt x="2982930" y="4756235"/>
                </a:lnTo>
                <a:cubicBezTo>
                  <a:pt x="2982930" y="4756235"/>
                  <a:pt x="2985278" y="4756235"/>
                  <a:pt x="2985278" y="4756235"/>
                </a:cubicBezTo>
                <a:lnTo>
                  <a:pt x="2992325" y="4756235"/>
                </a:lnTo>
                <a:cubicBezTo>
                  <a:pt x="2992325" y="4756235"/>
                  <a:pt x="2992325" y="4756235"/>
                  <a:pt x="2992325" y="4758584"/>
                </a:cubicBezTo>
                <a:cubicBezTo>
                  <a:pt x="2999371" y="4756235"/>
                  <a:pt x="3004069" y="4753886"/>
                  <a:pt x="3008766" y="4751538"/>
                </a:cubicBezTo>
                <a:cubicBezTo>
                  <a:pt x="3022859" y="4758584"/>
                  <a:pt x="3069835" y="4756235"/>
                  <a:pt x="3065137" y="4730399"/>
                </a:cubicBezTo>
                <a:cubicBezTo>
                  <a:pt x="3057504" y="4728050"/>
                  <a:pt x="3050311" y="4727462"/>
                  <a:pt x="3043301" y="4728086"/>
                </a:cubicBezTo>
                <a:close/>
                <a:moveTo>
                  <a:pt x="2769191" y="4728050"/>
                </a:moveTo>
                <a:cubicBezTo>
                  <a:pt x="2766842" y="4728050"/>
                  <a:pt x="2764493" y="4730399"/>
                  <a:pt x="2759797" y="4732747"/>
                </a:cubicBezTo>
                <a:cubicBezTo>
                  <a:pt x="2757447" y="4735096"/>
                  <a:pt x="2757447" y="4735096"/>
                  <a:pt x="2755098" y="4737445"/>
                </a:cubicBezTo>
                <a:cubicBezTo>
                  <a:pt x="2759797" y="4732747"/>
                  <a:pt x="2764493" y="4730399"/>
                  <a:pt x="2769191" y="4728050"/>
                </a:cubicBezTo>
                <a:close/>
                <a:moveTo>
                  <a:pt x="6004891" y="4727059"/>
                </a:moveTo>
                <a:cubicBezTo>
                  <a:pt x="6007056" y="4727536"/>
                  <a:pt x="6009185" y="4729371"/>
                  <a:pt x="6010799" y="4731867"/>
                </a:cubicBezTo>
                <a:lnTo>
                  <a:pt x="6010739" y="4735416"/>
                </a:lnTo>
                <a:lnTo>
                  <a:pt x="5999451" y="4730023"/>
                </a:lnTo>
                <a:close/>
                <a:moveTo>
                  <a:pt x="2512121" y="4721047"/>
                </a:moveTo>
                <a:lnTo>
                  <a:pt x="2506128" y="4723352"/>
                </a:lnTo>
                <a:lnTo>
                  <a:pt x="2506788" y="4722680"/>
                </a:lnTo>
                <a:close/>
                <a:moveTo>
                  <a:pt x="5597120" y="4716306"/>
                </a:moveTo>
                <a:cubicBezTo>
                  <a:pt x="5604166" y="4725701"/>
                  <a:pt x="5611213" y="4735096"/>
                  <a:pt x="5618259" y="4744491"/>
                </a:cubicBezTo>
                <a:cubicBezTo>
                  <a:pt x="5620608" y="4742143"/>
                  <a:pt x="5622957" y="4742143"/>
                  <a:pt x="5627654" y="4742143"/>
                </a:cubicBezTo>
                <a:cubicBezTo>
                  <a:pt x="5627654" y="4737445"/>
                  <a:pt x="5627654" y="4735096"/>
                  <a:pt x="5627654" y="4732747"/>
                </a:cubicBezTo>
                <a:cubicBezTo>
                  <a:pt x="5618259" y="4725701"/>
                  <a:pt x="5608864" y="4718655"/>
                  <a:pt x="5597120" y="4716306"/>
                </a:cubicBezTo>
                <a:close/>
                <a:moveTo>
                  <a:pt x="5493774" y="4716306"/>
                </a:moveTo>
                <a:lnTo>
                  <a:pt x="5496634" y="4720547"/>
                </a:lnTo>
                <a:lnTo>
                  <a:pt x="5485653" y="4730296"/>
                </a:lnTo>
                <a:lnTo>
                  <a:pt x="5486691" y="4728784"/>
                </a:lnTo>
                <a:cubicBezTo>
                  <a:pt x="5488930" y="4725554"/>
                  <a:pt x="5491426" y="4721590"/>
                  <a:pt x="5493774" y="4716306"/>
                </a:cubicBezTo>
                <a:close/>
                <a:moveTo>
                  <a:pt x="6491637" y="4710392"/>
                </a:moveTo>
                <a:lnTo>
                  <a:pt x="6501401" y="4812606"/>
                </a:lnTo>
                <a:cubicBezTo>
                  <a:pt x="6501401" y="4807908"/>
                  <a:pt x="6499052" y="4800862"/>
                  <a:pt x="6499052" y="4793815"/>
                </a:cubicBezTo>
                <a:close/>
                <a:moveTo>
                  <a:pt x="1364636" y="4709260"/>
                </a:moveTo>
                <a:cubicBezTo>
                  <a:pt x="1366985" y="4709260"/>
                  <a:pt x="1385777" y="4716306"/>
                  <a:pt x="1390472" y="4737445"/>
                </a:cubicBezTo>
                <a:cubicBezTo>
                  <a:pt x="1392823" y="4742143"/>
                  <a:pt x="1385777" y="4749189"/>
                  <a:pt x="1388127" y="4756236"/>
                </a:cubicBezTo>
                <a:cubicBezTo>
                  <a:pt x="1390472" y="4763282"/>
                  <a:pt x="1399869" y="4765631"/>
                  <a:pt x="1404570" y="4772677"/>
                </a:cubicBezTo>
                <a:cubicBezTo>
                  <a:pt x="1409265" y="4777375"/>
                  <a:pt x="1411613" y="4777375"/>
                  <a:pt x="1413962" y="4782072"/>
                </a:cubicBezTo>
                <a:cubicBezTo>
                  <a:pt x="1416312" y="4786770"/>
                  <a:pt x="1413962" y="4789119"/>
                  <a:pt x="1413962" y="4791467"/>
                </a:cubicBezTo>
                <a:cubicBezTo>
                  <a:pt x="1416312" y="4793816"/>
                  <a:pt x="1416312" y="4796165"/>
                  <a:pt x="1416312" y="4796165"/>
                </a:cubicBezTo>
                <a:cubicBezTo>
                  <a:pt x="1418662" y="4798514"/>
                  <a:pt x="1423355" y="4796165"/>
                  <a:pt x="1425704" y="4798514"/>
                </a:cubicBezTo>
                <a:cubicBezTo>
                  <a:pt x="1425704" y="4798514"/>
                  <a:pt x="1428054" y="4798514"/>
                  <a:pt x="1428054" y="4800863"/>
                </a:cubicBezTo>
                <a:cubicBezTo>
                  <a:pt x="1428054" y="4800863"/>
                  <a:pt x="1425704" y="4803211"/>
                  <a:pt x="1418662" y="4803211"/>
                </a:cubicBezTo>
                <a:cubicBezTo>
                  <a:pt x="1418662" y="4803211"/>
                  <a:pt x="1411613" y="4803211"/>
                  <a:pt x="1409265" y="4800863"/>
                </a:cubicBezTo>
                <a:lnTo>
                  <a:pt x="1383426" y="4791467"/>
                </a:lnTo>
                <a:cubicBezTo>
                  <a:pt x="1383426" y="4786770"/>
                  <a:pt x="1381077" y="4779723"/>
                  <a:pt x="1381077" y="4775026"/>
                </a:cubicBezTo>
                <a:cubicBezTo>
                  <a:pt x="1381077" y="4770328"/>
                  <a:pt x="1383426" y="4767980"/>
                  <a:pt x="1381077" y="4765631"/>
                </a:cubicBezTo>
                <a:cubicBezTo>
                  <a:pt x="1381077" y="4765631"/>
                  <a:pt x="1378730" y="4763282"/>
                  <a:pt x="1378730" y="4763282"/>
                </a:cubicBezTo>
                <a:cubicBezTo>
                  <a:pt x="1374034" y="4770328"/>
                  <a:pt x="1371684" y="4775026"/>
                  <a:pt x="1369334" y="4782072"/>
                </a:cubicBezTo>
                <a:cubicBezTo>
                  <a:pt x="1357592" y="4772677"/>
                  <a:pt x="1357592" y="4772677"/>
                  <a:pt x="1359937" y="4765631"/>
                </a:cubicBezTo>
                <a:cubicBezTo>
                  <a:pt x="1362286" y="4756236"/>
                  <a:pt x="1369334" y="4749189"/>
                  <a:pt x="1371684" y="4742143"/>
                </a:cubicBezTo>
                <a:cubicBezTo>
                  <a:pt x="1374034" y="4732748"/>
                  <a:pt x="1357592" y="4723353"/>
                  <a:pt x="1359937" y="4713958"/>
                </a:cubicBezTo>
                <a:cubicBezTo>
                  <a:pt x="1359937" y="4711609"/>
                  <a:pt x="1362286" y="4709260"/>
                  <a:pt x="1364636" y="4709260"/>
                </a:cubicBezTo>
                <a:close/>
                <a:moveTo>
                  <a:pt x="1874309" y="4706911"/>
                </a:moveTo>
                <a:lnTo>
                  <a:pt x="1867266" y="4713957"/>
                </a:lnTo>
                <a:lnTo>
                  <a:pt x="1874309" y="4721003"/>
                </a:lnTo>
                <a:lnTo>
                  <a:pt x="1881358" y="4713957"/>
                </a:lnTo>
                <a:close/>
                <a:moveTo>
                  <a:pt x="2961791" y="4704562"/>
                </a:moveTo>
                <a:cubicBezTo>
                  <a:pt x="2959442" y="4706911"/>
                  <a:pt x="2957093" y="4709259"/>
                  <a:pt x="2961791" y="4709259"/>
                </a:cubicBezTo>
                <a:cubicBezTo>
                  <a:pt x="2964139" y="4709259"/>
                  <a:pt x="2964139" y="4709259"/>
                  <a:pt x="2964139" y="4709259"/>
                </a:cubicBezTo>
                <a:cubicBezTo>
                  <a:pt x="2964139" y="4706911"/>
                  <a:pt x="2964139" y="4706911"/>
                  <a:pt x="2961791" y="4704562"/>
                </a:cubicBezTo>
                <a:close/>
                <a:moveTo>
                  <a:pt x="5533703" y="4699865"/>
                </a:moveTo>
                <a:cubicBezTo>
                  <a:pt x="5533703" y="4702213"/>
                  <a:pt x="5531354" y="4706911"/>
                  <a:pt x="5529006" y="4711608"/>
                </a:cubicBezTo>
                <a:cubicBezTo>
                  <a:pt x="5536052" y="4716306"/>
                  <a:pt x="5533703" y="4721003"/>
                  <a:pt x="5538401" y="4723352"/>
                </a:cubicBezTo>
                <a:cubicBezTo>
                  <a:pt x="5536052" y="4706911"/>
                  <a:pt x="5561888" y="4706911"/>
                  <a:pt x="5547796" y="4699865"/>
                </a:cubicBezTo>
                <a:cubicBezTo>
                  <a:pt x="5545447" y="4702213"/>
                  <a:pt x="5540750" y="4704562"/>
                  <a:pt x="5533703" y="4699865"/>
                </a:cubicBezTo>
                <a:close/>
                <a:moveTo>
                  <a:pt x="1604209" y="4695166"/>
                </a:moveTo>
                <a:lnTo>
                  <a:pt x="1608908" y="4702212"/>
                </a:lnTo>
                <a:lnTo>
                  <a:pt x="1604209" y="4709259"/>
                </a:lnTo>
                <a:lnTo>
                  <a:pt x="1597165" y="4702212"/>
                </a:lnTo>
                <a:close/>
                <a:moveTo>
                  <a:pt x="1273032" y="4695166"/>
                </a:moveTo>
                <a:lnTo>
                  <a:pt x="1284778" y="4695166"/>
                </a:lnTo>
                <a:lnTo>
                  <a:pt x="1291821" y="4704561"/>
                </a:lnTo>
                <a:lnTo>
                  <a:pt x="1291821" y="4716305"/>
                </a:lnTo>
                <a:lnTo>
                  <a:pt x="1282428" y="4716305"/>
                </a:lnTo>
                <a:cubicBezTo>
                  <a:pt x="1282428" y="4716305"/>
                  <a:pt x="1280078" y="4713956"/>
                  <a:pt x="1280078" y="4711607"/>
                </a:cubicBezTo>
                <a:close/>
                <a:moveTo>
                  <a:pt x="1172038" y="4692817"/>
                </a:moveTo>
                <a:lnTo>
                  <a:pt x="1181432" y="4692817"/>
                </a:lnTo>
                <a:lnTo>
                  <a:pt x="1172038" y="4704561"/>
                </a:lnTo>
                <a:lnTo>
                  <a:pt x="1169688" y="4695166"/>
                </a:lnTo>
                <a:close/>
                <a:moveTo>
                  <a:pt x="1235452" y="4690468"/>
                </a:moveTo>
                <a:cubicBezTo>
                  <a:pt x="1235452" y="4690468"/>
                  <a:pt x="1237800" y="4695166"/>
                  <a:pt x="1237800" y="4695166"/>
                </a:cubicBezTo>
                <a:lnTo>
                  <a:pt x="1237800" y="4704561"/>
                </a:lnTo>
                <a:cubicBezTo>
                  <a:pt x="1237800" y="4704561"/>
                  <a:pt x="1235452" y="4706910"/>
                  <a:pt x="1233102" y="4709258"/>
                </a:cubicBezTo>
                <a:lnTo>
                  <a:pt x="1223708" y="4713956"/>
                </a:lnTo>
                <a:lnTo>
                  <a:pt x="1219010" y="4704561"/>
                </a:lnTo>
                <a:lnTo>
                  <a:pt x="1223708" y="4695166"/>
                </a:lnTo>
                <a:close/>
                <a:moveTo>
                  <a:pt x="3034604" y="4688121"/>
                </a:moveTo>
                <a:cubicBezTo>
                  <a:pt x="3029905" y="4690469"/>
                  <a:pt x="3025208" y="4690469"/>
                  <a:pt x="3022859" y="4690469"/>
                </a:cubicBezTo>
                <a:cubicBezTo>
                  <a:pt x="3020510" y="4692818"/>
                  <a:pt x="3015813" y="4697516"/>
                  <a:pt x="3013464" y="4699865"/>
                </a:cubicBezTo>
                <a:cubicBezTo>
                  <a:pt x="3015813" y="4697516"/>
                  <a:pt x="3015813" y="4692818"/>
                  <a:pt x="3018161" y="4690469"/>
                </a:cubicBezTo>
                <a:cubicBezTo>
                  <a:pt x="3013464" y="4692818"/>
                  <a:pt x="3008766" y="4692818"/>
                  <a:pt x="3004069" y="4695167"/>
                </a:cubicBezTo>
                <a:cubicBezTo>
                  <a:pt x="3004069" y="4695167"/>
                  <a:pt x="3004069" y="4697516"/>
                  <a:pt x="3004069" y="4697516"/>
                </a:cubicBezTo>
                <a:cubicBezTo>
                  <a:pt x="3001720" y="4702213"/>
                  <a:pt x="2997022" y="4704562"/>
                  <a:pt x="2994674" y="4709259"/>
                </a:cubicBezTo>
                <a:cubicBezTo>
                  <a:pt x="2999371" y="4709259"/>
                  <a:pt x="3001720" y="4709259"/>
                  <a:pt x="3006417" y="4709259"/>
                </a:cubicBezTo>
                <a:cubicBezTo>
                  <a:pt x="3008766" y="4706911"/>
                  <a:pt x="3011115" y="4706911"/>
                  <a:pt x="3013464" y="4704562"/>
                </a:cubicBezTo>
                <a:lnTo>
                  <a:pt x="3013464" y="4706911"/>
                </a:lnTo>
                <a:cubicBezTo>
                  <a:pt x="3022859" y="4704562"/>
                  <a:pt x="3032254" y="4697516"/>
                  <a:pt x="3034604" y="4688121"/>
                </a:cubicBezTo>
                <a:close/>
                <a:moveTo>
                  <a:pt x="6489287" y="4685794"/>
                </a:moveTo>
                <a:lnTo>
                  <a:pt x="6489657" y="4688120"/>
                </a:lnTo>
                <a:lnTo>
                  <a:pt x="6491637" y="4710392"/>
                </a:lnTo>
                <a:close/>
                <a:moveTo>
                  <a:pt x="1343499" y="4683422"/>
                </a:moveTo>
                <a:lnTo>
                  <a:pt x="1345844" y="4690468"/>
                </a:lnTo>
                <a:lnTo>
                  <a:pt x="1341149" y="4692817"/>
                </a:lnTo>
                <a:lnTo>
                  <a:pt x="1338799" y="4690468"/>
                </a:lnTo>
                <a:close/>
                <a:moveTo>
                  <a:pt x="1012319" y="4664633"/>
                </a:moveTo>
                <a:cubicBezTo>
                  <a:pt x="1012319" y="4664633"/>
                  <a:pt x="1019363" y="4666982"/>
                  <a:pt x="1021714" y="4666982"/>
                </a:cubicBezTo>
                <a:lnTo>
                  <a:pt x="1017014" y="4685772"/>
                </a:lnTo>
                <a:lnTo>
                  <a:pt x="1024062" y="4702213"/>
                </a:lnTo>
                <a:cubicBezTo>
                  <a:pt x="1024062" y="4704562"/>
                  <a:pt x="1021714" y="4706911"/>
                  <a:pt x="1019363" y="4709260"/>
                </a:cubicBezTo>
                <a:cubicBezTo>
                  <a:pt x="1019363" y="4706911"/>
                  <a:pt x="1017014" y="4704562"/>
                  <a:pt x="1014664" y="4702213"/>
                </a:cubicBezTo>
                <a:cubicBezTo>
                  <a:pt x="1014664" y="4702213"/>
                  <a:pt x="1014664" y="4699865"/>
                  <a:pt x="1007619" y="4692818"/>
                </a:cubicBezTo>
                <a:close/>
                <a:moveTo>
                  <a:pt x="1359937" y="4664632"/>
                </a:moveTo>
                <a:lnTo>
                  <a:pt x="1388127" y="4664632"/>
                </a:lnTo>
                <a:lnTo>
                  <a:pt x="1395172" y="4674027"/>
                </a:lnTo>
                <a:lnTo>
                  <a:pt x="1385777" y="4678725"/>
                </a:lnTo>
                <a:cubicBezTo>
                  <a:pt x="1385777" y="4678725"/>
                  <a:pt x="1378728" y="4678725"/>
                  <a:pt x="1371684" y="4683422"/>
                </a:cubicBezTo>
                <a:lnTo>
                  <a:pt x="1362287" y="4676376"/>
                </a:lnTo>
                <a:lnTo>
                  <a:pt x="1359937" y="4674027"/>
                </a:lnTo>
                <a:close/>
                <a:moveTo>
                  <a:pt x="1071040" y="4664632"/>
                </a:moveTo>
                <a:lnTo>
                  <a:pt x="1078084" y="4669330"/>
                </a:lnTo>
                <a:lnTo>
                  <a:pt x="1071040" y="4678725"/>
                </a:lnTo>
                <a:lnTo>
                  <a:pt x="1066340" y="4669330"/>
                </a:lnTo>
                <a:close/>
                <a:moveTo>
                  <a:pt x="1273032" y="4662283"/>
                </a:moveTo>
                <a:lnTo>
                  <a:pt x="1301221" y="4662283"/>
                </a:lnTo>
                <a:lnTo>
                  <a:pt x="1291821" y="4671678"/>
                </a:lnTo>
                <a:lnTo>
                  <a:pt x="1282428" y="4671678"/>
                </a:lnTo>
                <a:close/>
                <a:moveTo>
                  <a:pt x="876088" y="4657585"/>
                </a:moveTo>
                <a:lnTo>
                  <a:pt x="883136" y="4666980"/>
                </a:lnTo>
                <a:lnTo>
                  <a:pt x="883136" y="4674026"/>
                </a:lnTo>
                <a:lnTo>
                  <a:pt x="876088" y="4678724"/>
                </a:lnTo>
                <a:close/>
                <a:moveTo>
                  <a:pt x="1209615" y="4650539"/>
                </a:moveTo>
                <a:cubicBezTo>
                  <a:pt x="1209615" y="4650539"/>
                  <a:pt x="1209615" y="4652888"/>
                  <a:pt x="1209615" y="4652888"/>
                </a:cubicBezTo>
                <a:lnTo>
                  <a:pt x="1207265" y="4659934"/>
                </a:lnTo>
                <a:lnTo>
                  <a:pt x="1197873" y="4659934"/>
                </a:lnTo>
                <a:lnTo>
                  <a:pt x="1197873" y="4652888"/>
                </a:lnTo>
                <a:close/>
                <a:moveTo>
                  <a:pt x="2654101" y="4643494"/>
                </a:moveTo>
                <a:cubicBezTo>
                  <a:pt x="2647054" y="4645843"/>
                  <a:pt x="2640008" y="4648191"/>
                  <a:pt x="2632963" y="4652889"/>
                </a:cubicBezTo>
                <a:cubicBezTo>
                  <a:pt x="2637659" y="4657586"/>
                  <a:pt x="2642357" y="4659935"/>
                  <a:pt x="2649403" y="4662284"/>
                </a:cubicBezTo>
                <a:cubicBezTo>
                  <a:pt x="2651752" y="4657586"/>
                  <a:pt x="2654101" y="4650540"/>
                  <a:pt x="2654101" y="4643494"/>
                </a:cubicBezTo>
                <a:close/>
                <a:moveTo>
                  <a:pt x="1341149" y="4638796"/>
                </a:moveTo>
                <a:cubicBezTo>
                  <a:pt x="1343499" y="4636447"/>
                  <a:pt x="1345849" y="4638796"/>
                  <a:pt x="1348194" y="4641145"/>
                </a:cubicBezTo>
                <a:lnTo>
                  <a:pt x="1348194" y="4666981"/>
                </a:lnTo>
                <a:cubicBezTo>
                  <a:pt x="1348194" y="4666981"/>
                  <a:pt x="1345849" y="4669330"/>
                  <a:pt x="1343499" y="4669330"/>
                </a:cubicBezTo>
                <a:lnTo>
                  <a:pt x="1334102" y="4669330"/>
                </a:lnTo>
                <a:lnTo>
                  <a:pt x="1329406" y="4664633"/>
                </a:lnTo>
                <a:lnTo>
                  <a:pt x="1329406" y="4655237"/>
                </a:lnTo>
                <a:close/>
                <a:moveTo>
                  <a:pt x="1132110" y="4638795"/>
                </a:moveTo>
                <a:lnTo>
                  <a:pt x="1141503" y="4641144"/>
                </a:lnTo>
                <a:lnTo>
                  <a:pt x="1146203" y="4648190"/>
                </a:lnTo>
                <a:cubicBezTo>
                  <a:pt x="1146203" y="4648190"/>
                  <a:pt x="1143853" y="4650539"/>
                  <a:pt x="1141503" y="4650539"/>
                </a:cubicBezTo>
                <a:lnTo>
                  <a:pt x="1132110" y="4652888"/>
                </a:lnTo>
                <a:lnTo>
                  <a:pt x="1122711" y="4652888"/>
                </a:lnTo>
                <a:lnTo>
                  <a:pt x="1120361" y="4645841"/>
                </a:lnTo>
                <a:cubicBezTo>
                  <a:pt x="1120361" y="4645841"/>
                  <a:pt x="1122711" y="4643493"/>
                  <a:pt x="1122711" y="4643493"/>
                </a:cubicBezTo>
                <a:close/>
                <a:moveTo>
                  <a:pt x="2903071" y="4631750"/>
                </a:moveTo>
                <a:cubicBezTo>
                  <a:pt x="2903071" y="4634099"/>
                  <a:pt x="2903071" y="4636448"/>
                  <a:pt x="2903071" y="4641145"/>
                </a:cubicBezTo>
                <a:cubicBezTo>
                  <a:pt x="2907769" y="4641145"/>
                  <a:pt x="2914815" y="4641145"/>
                  <a:pt x="2921861" y="4641145"/>
                </a:cubicBezTo>
                <a:cubicBezTo>
                  <a:pt x="2919514" y="4636448"/>
                  <a:pt x="2914815" y="4634099"/>
                  <a:pt x="2910118" y="4631750"/>
                </a:cubicBezTo>
                <a:cubicBezTo>
                  <a:pt x="2907769" y="4631750"/>
                  <a:pt x="2905420" y="4631750"/>
                  <a:pt x="2903071" y="4631750"/>
                </a:cubicBezTo>
                <a:close/>
                <a:moveTo>
                  <a:pt x="1565848" y="4629401"/>
                </a:moveTo>
                <a:lnTo>
                  <a:pt x="1566630" y="4629401"/>
                </a:lnTo>
                <a:lnTo>
                  <a:pt x="1570425" y="4631930"/>
                </a:lnTo>
                <a:lnTo>
                  <a:pt x="1568980" y="4634098"/>
                </a:lnTo>
                <a:close/>
                <a:moveTo>
                  <a:pt x="1164996" y="4629400"/>
                </a:moveTo>
                <a:lnTo>
                  <a:pt x="1183780" y="4629400"/>
                </a:lnTo>
                <a:lnTo>
                  <a:pt x="1183780" y="4638795"/>
                </a:lnTo>
                <a:lnTo>
                  <a:pt x="1174388" y="4645841"/>
                </a:lnTo>
                <a:lnTo>
                  <a:pt x="1164996" y="4641144"/>
                </a:lnTo>
                <a:lnTo>
                  <a:pt x="1160296" y="4636446"/>
                </a:lnTo>
                <a:close/>
                <a:moveTo>
                  <a:pt x="1458590" y="4627051"/>
                </a:moveTo>
                <a:cubicBezTo>
                  <a:pt x="1465632" y="4638795"/>
                  <a:pt x="1463283" y="4631749"/>
                  <a:pt x="1467982" y="4643492"/>
                </a:cubicBezTo>
                <a:cubicBezTo>
                  <a:pt x="1467982" y="4643492"/>
                  <a:pt x="1463283" y="4650539"/>
                  <a:pt x="1460934" y="4652888"/>
                </a:cubicBezTo>
                <a:lnTo>
                  <a:pt x="1479726" y="4678724"/>
                </a:lnTo>
                <a:cubicBezTo>
                  <a:pt x="1484425" y="4681073"/>
                  <a:pt x="1486775" y="4690468"/>
                  <a:pt x="1493818" y="4690468"/>
                </a:cubicBezTo>
                <a:cubicBezTo>
                  <a:pt x="1496167" y="4690468"/>
                  <a:pt x="1498517" y="4688119"/>
                  <a:pt x="1500867" y="4685771"/>
                </a:cubicBezTo>
                <a:cubicBezTo>
                  <a:pt x="1498517" y="4681073"/>
                  <a:pt x="1496167" y="4678724"/>
                  <a:pt x="1496167" y="4676376"/>
                </a:cubicBezTo>
                <a:cubicBezTo>
                  <a:pt x="1498517" y="4671678"/>
                  <a:pt x="1505561" y="4666980"/>
                  <a:pt x="1510260" y="4669329"/>
                </a:cubicBezTo>
                <a:cubicBezTo>
                  <a:pt x="1512610" y="4671678"/>
                  <a:pt x="1512610" y="4674027"/>
                  <a:pt x="1512610" y="4676376"/>
                </a:cubicBezTo>
                <a:cubicBezTo>
                  <a:pt x="1512610" y="4681073"/>
                  <a:pt x="1505561" y="4681073"/>
                  <a:pt x="1503213" y="4685771"/>
                </a:cubicBezTo>
                <a:cubicBezTo>
                  <a:pt x="1500867" y="4690468"/>
                  <a:pt x="1512610" y="4695166"/>
                  <a:pt x="1512610" y="4702212"/>
                </a:cubicBezTo>
                <a:cubicBezTo>
                  <a:pt x="1512610" y="4704561"/>
                  <a:pt x="1503213" y="4713956"/>
                  <a:pt x="1484425" y="4709258"/>
                </a:cubicBezTo>
                <a:cubicBezTo>
                  <a:pt x="1479726" y="4709258"/>
                  <a:pt x="1477377" y="4704561"/>
                  <a:pt x="1475028" y="4702212"/>
                </a:cubicBezTo>
                <a:cubicBezTo>
                  <a:pt x="1472682" y="4713956"/>
                  <a:pt x="1472682" y="4706910"/>
                  <a:pt x="1470332" y="4718654"/>
                </a:cubicBezTo>
                <a:cubicBezTo>
                  <a:pt x="1477377" y="4716305"/>
                  <a:pt x="1484425" y="4718654"/>
                  <a:pt x="1491468" y="4718654"/>
                </a:cubicBezTo>
                <a:cubicBezTo>
                  <a:pt x="1500867" y="4718654"/>
                  <a:pt x="1507909" y="4723351"/>
                  <a:pt x="1517305" y="4721002"/>
                </a:cubicBezTo>
                <a:cubicBezTo>
                  <a:pt x="1524352" y="4711607"/>
                  <a:pt x="1529053" y="4702212"/>
                  <a:pt x="1533749" y="4692817"/>
                </a:cubicBezTo>
                <a:cubicBezTo>
                  <a:pt x="1540795" y="4697514"/>
                  <a:pt x="1547841" y="4704561"/>
                  <a:pt x="1554887" y="4711607"/>
                </a:cubicBezTo>
                <a:cubicBezTo>
                  <a:pt x="1552537" y="4716305"/>
                  <a:pt x="1550189" y="4723351"/>
                  <a:pt x="1547841" y="4728049"/>
                </a:cubicBezTo>
                <a:cubicBezTo>
                  <a:pt x="1552537" y="4725700"/>
                  <a:pt x="1554887" y="4725700"/>
                  <a:pt x="1559588" y="4725700"/>
                </a:cubicBezTo>
                <a:cubicBezTo>
                  <a:pt x="1559588" y="4725700"/>
                  <a:pt x="1561931" y="4728049"/>
                  <a:pt x="1561931" y="4728049"/>
                </a:cubicBezTo>
                <a:cubicBezTo>
                  <a:pt x="1564280" y="4730398"/>
                  <a:pt x="1566630" y="4735095"/>
                  <a:pt x="1568980" y="4737444"/>
                </a:cubicBezTo>
                <a:cubicBezTo>
                  <a:pt x="1561931" y="4739793"/>
                  <a:pt x="1557238" y="4746839"/>
                  <a:pt x="1550189" y="4744490"/>
                </a:cubicBezTo>
                <a:cubicBezTo>
                  <a:pt x="1547841" y="4742141"/>
                  <a:pt x="1550189" y="4732746"/>
                  <a:pt x="1538446" y="4739793"/>
                </a:cubicBezTo>
                <a:cubicBezTo>
                  <a:pt x="1533749" y="4737444"/>
                  <a:pt x="1529053" y="4749187"/>
                  <a:pt x="1522003" y="4746839"/>
                </a:cubicBezTo>
                <a:cubicBezTo>
                  <a:pt x="1514956" y="4744490"/>
                  <a:pt x="1512610" y="4730398"/>
                  <a:pt x="1505561" y="4732746"/>
                </a:cubicBezTo>
                <a:cubicBezTo>
                  <a:pt x="1505561" y="4732746"/>
                  <a:pt x="1500867" y="4737444"/>
                  <a:pt x="1496167" y="4746839"/>
                </a:cubicBezTo>
                <a:cubicBezTo>
                  <a:pt x="1484425" y="4737444"/>
                  <a:pt x="1472682" y="4735095"/>
                  <a:pt x="1465632" y="4730398"/>
                </a:cubicBezTo>
                <a:cubicBezTo>
                  <a:pt x="1460934" y="4728049"/>
                  <a:pt x="1449189" y="4732746"/>
                  <a:pt x="1446842" y="4746839"/>
                </a:cubicBezTo>
                <a:cubicBezTo>
                  <a:pt x="1444497" y="4756234"/>
                  <a:pt x="1451539" y="4767978"/>
                  <a:pt x="1444497" y="4772675"/>
                </a:cubicBezTo>
                <a:cubicBezTo>
                  <a:pt x="1444497" y="4772675"/>
                  <a:pt x="1449189" y="4777373"/>
                  <a:pt x="1449189" y="4789117"/>
                </a:cubicBezTo>
                <a:lnTo>
                  <a:pt x="1444497" y="4805558"/>
                </a:lnTo>
                <a:cubicBezTo>
                  <a:pt x="1446842" y="4807907"/>
                  <a:pt x="1449189" y="4812605"/>
                  <a:pt x="1451539" y="4812605"/>
                </a:cubicBezTo>
                <a:cubicBezTo>
                  <a:pt x="1451539" y="4812605"/>
                  <a:pt x="1458590" y="4810256"/>
                  <a:pt x="1460934" y="4807907"/>
                </a:cubicBezTo>
                <a:lnTo>
                  <a:pt x="1460934" y="4822000"/>
                </a:lnTo>
                <a:cubicBezTo>
                  <a:pt x="1456239" y="4822000"/>
                  <a:pt x="1453889" y="4824349"/>
                  <a:pt x="1451539" y="4822000"/>
                </a:cubicBezTo>
                <a:cubicBezTo>
                  <a:pt x="1449189" y="4819651"/>
                  <a:pt x="1449189" y="4807907"/>
                  <a:pt x="1444497" y="4807907"/>
                </a:cubicBezTo>
                <a:cubicBezTo>
                  <a:pt x="1444497" y="4807907"/>
                  <a:pt x="1439797" y="4812605"/>
                  <a:pt x="1437447" y="4814953"/>
                </a:cubicBezTo>
                <a:lnTo>
                  <a:pt x="1435098" y="4782071"/>
                </a:lnTo>
                <a:cubicBezTo>
                  <a:pt x="1435098" y="4777373"/>
                  <a:pt x="1435098" y="4775024"/>
                  <a:pt x="1437447" y="4772675"/>
                </a:cubicBezTo>
                <a:cubicBezTo>
                  <a:pt x="1435098" y="4770327"/>
                  <a:pt x="1435098" y="4765629"/>
                  <a:pt x="1432749" y="4763280"/>
                </a:cubicBezTo>
                <a:cubicBezTo>
                  <a:pt x="1416312" y="4742141"/>
                  <a:pt x="1458590" y="4706910"/>
                  <a:pt x="1463283" y="4704561"/>
                </a:cubicBezTo>
                <a:cubicBezTo>
                  <a:pt x="1465632" y="4704561"/>
                  <a:pt x="1465632" y="4702212"/>
                  <a:pt x="1467982" y="4699863"/>
                </a:cubicBezTo>
                <a:cubicBezTo>
                  <a:pt x="1472682" y="4695166"/>
                  <a:pt x="1475028" y="4692817"/>
                  <a:pt x="1477377" y="4688119"/>
                </a:cubicBezTo>
                <a:cubicBezTo>
                  <a:pt x="1477377" y="4688119"/>
                  <a:pt x="1467982" y="4688119"/>
                  <a:pt x="1463283" y="4688119"/>
                </a:cubicBezTo>
                <a:lnTo>
                  <a:pt x="1446842" y="4685771"/>
                </a:lnTo>
                <a:cubicBezTo>
                  <a:pt x="1449189" y="4676376"/>
                  <a:pt x="1453889" y="4669329"/>
                  <a:pt x="1453889" y="4659934"/>
                </a:cubicBezTo>
                <a:cubicBezTo>
                  <a:pt x="1456239" y="4650539"/>
                  <a:pt x="1449189" y="4641144"/>
                  <a:pt x="1451539" y="4634097"/>
                </a:cubicBezTo>
                <a:cubicBezTo>
                  <a:pt x="1451539" y="4631749"/>
                  <a:pt x="1456239" y="4629400"/>
                  <a:pt x="1458590" y="4627051"/>
                </a:cubicBezTo>
                <a:close/>
                <a:moveTo>
                  <a:pt x="970042" y="4624703"/>
                </a:moveTo>
                <a:lnTo>
                  <a:pt x="974738" y="4634098"/>
                </a:lnTo>
                <a:lnTo>
                  <a:pt x="970042" y="4638796"/>
                </a:lnTo>
                <a:lnTo>
                  <a:pt x="962993" y="4634098"/>
                </a:lnTo>
                <a:close/>
                <a:moveTo>
                  <a:pt x="1275381" y="4622355"/>
                </a:moveTo>
                <a:lnTo>
                  <a:pt x="1296521" y="4638796"/>
                </a:lnTo>
                <a:cubicBezTo>
                  <a:pt x="1294172" y="4641145"/>
                  <a:pt x="1294172" y="4645843"/>
                  <a:pt x="1291823" y="4648192"/>
                </a:cubicBezTo>
                <a:cubicBezTo>
                  <a:pt x="1287129" y="4650540"/>
                  <a:pt x="1254243" y="4662284"/>
                  <a:pt x="1249545" y="4662284"/>
                </a:cubicBezTo>
                <a:cubicBezTo>
                  <a:pt x="1249545" y="4662284"/>
                  <a:pt x="1240151" y="4657587"/>
                  <a:pt x="1240151" y="4657587"/>
                </a:cubicBezTo>
                <a:cubicBezTo>
                  <a:pt x="1261288" y="4645843"/>
                  <a:pt x="1261288" y="4648192"/>
                  <a:pt x="1265986" y="4631750"/>
                </a:cubicBezTo>
                <a:cubicBezTo>
                  <a:pt x="1265986" y="4631750"/>
                  <a:pt x="1273036" y="4624704"/>
                  <a:pt x="1275381" y="4622355"/>
                </a:cubicBezTo>
                <a:close/>
                <a:moveTo>
                  <a:pt x="2957093" y="4620006"/>
                </a:moveTo>
                <a:cubicBezTo>
                  <a:pt x="2954744" y="4622355"/>
                  <a:pt x="2952395" y="4622355"/>
                  <a:pt x="2950047" y="4622355"/>
                </a:cubicBezTo>
                <a:cubicBezTo>
                  <a:pt x="2950047" y="4624704"/>
                  <a:pt x="2950047" y="4627052"/>
                  <a:pt x="2950047" y="4627052"/>
                </a:cubicBezTo>
                <a:cubicBezTo>
                  <a:pt x="2952395" y="4624704"/>
                  <a:pt x="2954744" y="4624704"/>
                  <a:pt x="2957093" y="4622355"/>
                </a:cubicBezTo>
                <a:cubicBezTo>
                  <a:pt x="2957093" y="4622355"/>
                  <a:pt x="2957093" y="4620006"/>
                  <a:pt x="2957093" y="4620006"/>
                </a:cubicBezTo>
                <a:close/>
                <a:moveTo>
                  <a:pt x="2658799" y="4620006"/>
                </a:moveTo>
                <a:cubicBezTo>
                  <a:pt x="2647054" y="4627052"/>
                  <a:pt x="2632963" y="4636448"/>
                  <a:pt x="2618869" y="4643494"/>
                </a:cubicBezTo>
                <a:cubicBezTo>
                  <a:pt x="2630613" y="4641145"/>
                  <a:pt x="2642357" y="4638796"/>
                  <a:pt x="2654101" y="4636448"/>
                </a:cubicBezTo>
                <a:cubicBezTo>
                  <a:pt x="2654101" y="4629401"/>
                  <a:pt x="2656449" y="4624704"/>
                  <a:pt x="2658799" y="4620006"/>
                </a:cubicBezTo>
                <a:close/>
                <a:moveTo>
                  <a:pt x="885486" y="4617656"/>
                </a:moveTo>
                <a:lnTo>
                  <a:pt x="890181" y="4624702"/>
                </a:lnTo>
                <a:lnTo>
                  <a:pt x="885486" y="4627051"/>
                </a:lnTo>
                <a:lnTo>
                  <a:pt x="878437" y="4624702"/>
                </a:lnTo>
                <a:close/>
                <a:moveTo>
                  <a:pt x="1080432" y="4615307"/>
                </a:moveTo>
                <a:cubicBezTo>
                  <a:pt x="1080432" y="4615307"/>
                  <a:pt x="1082782" y="4617656"/>
                  <a:pt x="1082782" y="4617656"/>
                </a:cubicBezTo>
                <a:lnTo>
                  <a:pt x="1080432" y="4634097"/>
                </a:lnTo>
                <a:lnTo>
                  <a:pt x="1073390" y="4643492"/>
                </a:lnTo>
                <a:cubicBezTo>
                  <a:pt x="1073390" y="4643492"/>
                  <a:pt x="1071040" y="4643492"/>
                  <a:pt x="1071040" y="4643492"/>
                </a:cubicBezTo>
                <a:lnTo>
                  <a:pt x="1068690" y="4634097"/>
                </a:lnTo>
                <a:lnTo>
                  <a:pt x="1078084" y="4617656"/>
                </a:lnTo>
                <a:cubicBezTo>
                  <a:pt x="1078084" y="4617656"/>
                  <a:pt x="1080432" y="4615307"/>
                  <a:pt x="1080432" y="4615307"/>
                </a:cubicBezTo>
                <a:close/>
                <a:moveTo>
                  <a:pt x="927764" y="4610610"/>
                </a:moveTo>
                <a:lnTo>
                  <a:pt x="937157" y="4612959"/>
                </a:lnTo>
                <a:lnTo>
                  <a:pt x="939507" y="4617656"/>
                </a:lnTo>
                <a:lnTo>
                  <a:pt x="937157" y="4622354"/>
                </a:lnTo>
                <a:cubicBezTo>
                  <a:pt x="937157" y="4622354"/>
                  <a:pt x="934808" y="4624703"/>
                  <a:pt x="934808" y="4624703"/>
                </a:cubicBezTo>
                <a:lnTo>
                  <a:pt x="927764" y="4629400"/>
                </a:lnTo>
                <a:lnTo>
                  <a:pt x="923064" y="4624703"/>
                </a:lnTo>
                <a:lnTo>
                  <a:pt x="923064" y="4615308"/>
                </a:lnTo>
                <a:cubicBezTo>
                  <a:pt x="923064" y="4615308"/>
                  <a:pt x="925414" y="4612959"/>
                  <a:pt x="927764" y="4610610"/>
                </a:cubicBezTo>
                <a:close/>
                <a:moveTo>
                  <a:pt x="1698150" y="4608262"/>
                </a:moveTo>
                <a:lnTo>
                  <a:pt x="1691104" y="4610611"/>
                </a:lnTo>
                <a:lnTo>
                  <a:pt x="1698150" y="4615308"/>
                </a:lnTo>
                <a:lnTo>
                  <a:pt x="1707547" y="4608262"/>
                </a:lnTo>
                <a:close/>
                <a:moveTo>
                  <a:pt x="1310613" y="4608261"/>
                </a:moveTo>
                <a:lnTo>
                  <a:pt x="1331751" y="4617656"/>
                </a:lnTo>
                <a:lnTo>
                  <a:pt x="1317659" y="4634098"/>
                </a:lnTo>
                <a:cubicBezTo>
                  <a:pt x="1308264" y="4634098"/>
                  <a:pt x="1310613" y="4636447"/>
                  <a:pt x="1305916" y="4627051"/>
                </a:cubicBezTo>
                <a:cubicBezTo>
                  <a:pt x="1298871" y="4617656"/>
                  <a:pt x="1301221" y="4620005"/>
                  <a:pt x="1303566" y="4610610"/>
                </a:cubicBezTo>
                <a:cubicBezTo>
                  <a:pt x="1303566" y="4610610"/>
                  <a:pt x="1308264" y="4610610"/>
                  <a:pt x="1310613" y="4608261"/>
                </a:cubicBezTo>
                <a:close/>
                <a:moveTo>
                  <a:pt x="2489091" y="4605304"/>
                </a:moveTo>
                <a:lnTo>
                  <a:pt x="2492035" y="4605913"/>
                </a:lnTo>
                <a:cubicBezTo>
                  <a:pt x="2487337" y="4610611"/>
                  <a:pt x="2480291" y="4612960"/>
                  <a:pt x="2473246" y="4615308"/>
                </a:cubicBezTo>
                <a:lnTo>
                  <a:pt x="2473246" y="4610784"/>
                </a:lnTo>
                <a:lnTo>
                  <a:pt x="2488549" y="4605399"/>
                </a:lnTo>
                <a:close/>
                <a:moveTo>
                  <a:pt x="1531403" y="4598867"/>
                </a:moveTo>
                <a:cubicBezTo>
                  <a:pt x="1529053" y="4601216"/>
                  <a:pt x="1524352" y="4603564"/>
                  <a:pt x="1524352" y="4605913"/>
                </a:cubicBezTo>
                <a:cubicBezTo>
                  <a:pt x="1522004" y="4610611"/>
                  <a:pt x="1526702" y="4612959"/>
                  <a:pt x="1526702" y="4615308"/>
                </a:cubicBezTo>
                <a:cubicBezTo>
                  <a:pt x="1526702" y="4620006"/>
                  <a:pt x="1519655" y="4627052"/>
                  <a:pt x="1522004" y="4631749"/>
                </a:cubicBezTo>
                <a:cubicBezTo>
                  <a:pt x="1522004" y="4631749"/>
                  <a:pt x="1526702" y="4636447"/>
                  <a:pt x="1529053" y="4638796"/>
                </a:cubicBezTo>
                <a:lnTo>
                  <a:pt x="1545495" y="4624703"/>
                </a:lnTo>
                <a:lnTo>
                  <a:pt x="1543145" y="4615308"/>
                </a:lnTo>
                <a:close/>
                <a:moveTo>
                  <a:pt x="885486" y="4598866"/>
                </a:moveTo>
                <a:lnTo>
                  <a:pt x="892530" y="4605912"/>
                </a:lnTo>
                <a:lnTo>
                  <a:pt x="885486" y="4612959"/>
                </a:lnTo>
                <a:lnTo>
                  <a:pt x="880786" y="4605912"/>
                </a:lnTo>
                <a:close/>
                <a:moveTo>
                  <a:pt x="2714582" y="4596518"/>
                </a:moveTo>
                <a:cubicBezTo>
                  <a:pt x="2708710" y="4596518"/>
                  <a:pt x="2702252" y="4597692"/>
                  <a:pt x="2696379" y="4598867"/>
                </a:cubicBezTo>
                <a:cubicBezTo>
                  <a:pt x="2684635" y="4601216"/>
                  <a:pt x="2675240" y="4608262"/>
                  <a:pt x="2663496" y="4615308"/>
                </a:cubicBezTo>
                <a:cubicBezTo>
                  <a:pt x="2694030" y="4608262"/>
                  <a:pt x="2722215" y="4624704"/>
                  <a:pt x="2733959" y="4601216"/>
                </a:cubicBezTo>
                <a:cubicBezTo>
                  <a:pt x="2736308" y="4601216"/>
                  <a:pt x="2738657" y="4601216"/>
                  <a:pt x="2741006" y="4601216"/>
                </a:cubicBezTo>
                <a:cubicBezTo>
                  <a:pt x="2736308" y="4601216"/>
                  <a:pt x="2733959" y="4598867"/>
                  <a:pt x="2729262" y="4598867"/>
                </a:cubicBezTo>
                <a:cubicBezTo>
                  <a:pt x="2729262" y="4598867"/>
                  <a:pt x="2729262" y="4601216"/>
                  <a:pt x="2729262" y="4601216"/>
                </a:cubicBezTo>
                <a:cubicBezTo>
                  <a:pt x="2725739" y="4597692"/>
                  <a:pt x="2720454" y="4596518"/>
                  <a:pt x="2714582" y="4596518"/>
                </a:cubicBezTo>
                <a:close/>
                <a:moveTo>
                  <a:pt x="979435" y="4596518"/>
                </a:moveTo>
                <a:cubicBezTo>
                  <a:pt x="979435" y="4596518"/>
                  <a:pt x="984134" y="4601216"/>
                  <a:pt x="988835" y="4605913"/>
                </a:cubicBezTo>
                <a:lnTo>
                  <a:pt x="1005270" y="4617657"/>
                </a:lnTo>
                <a:lnTo>
                  <a:pt x="998227" y="4634099"/>
                </a:lnTo>
                <a:cubicBezTo>
                  <a:pt x="998227" y="4636448"/>
                  <a:pt x="995877" y="4636448"/>
                  <a:pt x="995877" y="4638796"/>
                </a:cubicBezTo>
                <a:cubicBezTo>
                  <a:pt x="995877" y="4636448"/>
                  <a:pt x="991178" y="4636448"/>
                  <a:pt x="991178" y="4634099"/>
                </a:cubicBezTo>
                <a:cubicBezTo>
                  <a:pt x="991178" y="4634099"/>
                  <a:pt x="991178" y="4624704"/>
                  <a:pt x="988835" y="4622355"/>
                </a:cubicBezTo>
                <a:lnTo>
                  <a:pt x="974742" y="4608262"/>
                </a:lnTo>
                <a:cubicBezTo>
                  <a:pt x="974742" y="4603564"/>
                  <a:pt x="972392" y="4601216"/>
                  <a:pt x="974742" y="4598867"/>
                </a:cubicBezTo>
                <a:cubicBezTo>
                  <a:pt x="974742" y="4598867"/>
                  <a:pt x="977087" y="4596518"/>
                  <a:pt x="979435" y="4596518"/>
                </a:cubicBezTo>
                <a:close/>
                <a:moveTo>
                  <a:pt x="2926559" y="4594169"/>
                </a:moveTo>
                <a:cubicBezTo>
                  <a:pt x="2926559" y="4594169"/>
                  <a:pt x="2926559" y="4596518"/>
                  <a:pt x="2926559" y="4596518"/>
                </a:cubicBezTo>
                <a:cubicBezTo>
                  <a:pt x="2926559" y="4598867"/>
                  <a:pt x="2924210" y="4598867"/>
                  <a:pt x="2924210" y="4598867"/>
                </a:cubicBezTo>
                <a:close/>
                <a:moveTo>
                  <a:pt x="1430400" y="4593875"/>
                </a:moveTo>
                <a:cubicBezTo>
                  <a:pt x="1428639" y="4592994"/>
                  <a:pt x="1425704" y="4592994"/>
                  <a:pt x="1421006" y="4594168"/>
                </a:cubicBezTo>
                <a:cubicBezTo>
                  <a:pt x="1421006" y="4594168"/>
                  <a:pt x="1413962" y="4596517"/>
                  <a:pt x="1411612" y="4596517"/>
                </a:cubicBezTo>
                <a:lnTo>
                  <a:pt x="1383426" y="4605912"/>
                </a:lnTo>
                <a:lnTo>
                  <a:pt x="1385777" y="4631749"/>
                </a:lnTo>
                <a:cubicBezTo>
                  <a:pt x="1388127" y="4634098"/>
                  <a:pt x="1388127" y="4638795"/>
                  <a:pt x="1392822" y="4638795"/>
                </a:cubicBezTo>
                <a:cubicBezTo>
                  <a:pt x="1392822" y="4638795"/>
                  <a:pt x="1404570" y="4629400"/>
                  <a:pt x="1392822" y="4622354"/>
                </a:cubicBezTo>
                <a:lnTo>
                  <a:pt x="1404570" y="4605912"/>
                </a:lnTo>
                <a:cubicBezTo>
                  <a:pt x="1406914" y="4605912"/>
                  <a:pt x="1409262" y="4603563"/>
                  <a:pt x="1411612" y="4603563"/>
                </a:cubicBezTo>
                <a:cubicBezTo>
                  <a:pt x="1416312" y="4603563"/>
                  <a:pt x="1416312" y="4610610"/>
                  <a:pt x="1421006" y="4610610"/>
                </a:cubicBezTo>
                <a:cubicBezTo>
                  <a:pt x="1423355" y="4612959"/>
                  <a:pt x="1432749" y="4603563"/>
                  <a:pt x="1432749" y="4598866"/>
                </a:cubicBezTo>
                <a:cubicBezTo>
                  <a:pt x="1432749" y="4596517"/>
                  <a:pt x="1432165" y="4594756"/>
                  <a:pt x="1430400" y="4593875"/>
                </a:cubicBezTo>
                <a:close/>
                <a:moveTo>
                  <a:pt x="1317659" y="4591820"/>
                </a:moveTo>
                <a:lnTo>
                  <a:pt x="1327056" y="4591820"/>
                </a:lnTo>
                <a:lnTo>
                  <a:pt x="1329406" y="4596518"/>
                </a:lnTo>
                <a:lnTo>
                  <a:pt x="1327056" y="4598866"/>
                </a:lnTo>
                <a:lnTo>
                  <a:pt x="1317659" y="4596518"/>
                </a:lnTo>
                <a:close/>
                <a:moveTo>
                  <a:pt x="1089827" y="4591820"/>
                </a:moveTo>
                <a:lnTo>
                  <a:pt x="1099225" y="4601215"/>
                </a:lnTo>
                <a:lnTo>
                  <a:pt x="1089827" y="4610610"/>
                </a:lnTo>
                <a:lnTo>
                  <a:pt x="1082782" y="4603564"/>
                </a:lnTo>
                <a:lnTo>
                  <a:pt x="1087482" y="4594169"/>
                </a:lnTo>
                <a:cubicBezTo>
                  <a:pt x="1087482" y="4594169"/>
                  <a:pt x="1089827" y="4591820"/>
                  <a:pt x="1089827" y="4591820"/>
                </a:cubicBezTo>
                <a:close/>
                <a:moveTo>
                  <a:pt x="1148548" y="4584773"/>
                </a:moveTo>
                <a:lnTo>
                  <a:pt x="1157945" y="4584773"/>
                </a:lnTo>
                <a:cubicBezTo>
                  <a:pt x="1157945" y="4584773"/>
                  <a:pt x="1160296" y="4589471"/>
                  <a:pt x="1160296" y="4591819"/>
                </a:cubicBezTo>
                <a:lnTo>
                  <a:pt x="1162646" y="4601215"/>
                </a:lnTo>
                <a:lnTo>
                  <a:pt x="1162646" y="4610610"/>
                </a:lnTo>
                <a:cubicBezTo>
                  <a:pt x="1162646" y="4610610"/>
                  <a:pt x="1160296" y="4612959"/>
                  <a:pt x="1157945" y="4615307"/>
                </a:cubicBezTo>
                <a:lnTo>
                  <a:pt x="1148548" y="4612959"/>
                </a:lnTo>
                <a:lnTo>
                  <a:pt x="1148548" y="4610610"/>
                </a:lnTo>
                <a:lnTo>
                  <a:pt x="1146203" y="4601215"/>
                </a:lnTo>
                <a:lnTo>
                  <a:pt x="1146203" y="4591819"/>
                </a:lnTo>
                <a:cubicBezTo>
                  <a:pt x="1146203" y="4591819"/>
                  <a:pt x="1148548" y="4587122"/>
                  <a:pt x="1148548" y="4584773"/>
                </a:cubicBezTo>
                <a:close/>
                <a:moveTo>
                  <a:pt x="5099253" y="4582462"/>
                </a:moveTo>
                <a:cubicBezTo>
                  <a:pt x="5096537" y="4582278"/>
                  <a:pt x="5093895" y="4583600"/>
                  <a:pt x="5092133" y="4587123"/>
                </a:cubicBezTo>
                <a:cubicBezTo>
                  <a:pt x="5099179" y="4591821"/>
                  <a:pt x="5089784" y="4603564"/>
                  <a:pt x="5103877" y="4605913"/>
                </a:cubicBezTo>
                <a:cubicBezTo>
                  <a:pt x="5116208" y="4597105"/>
                  <a:pt x="5107400" y="4583012"/>
                  <a:pt x="5099253" y="4582462"/>
                </a:cubicBezTo>
                <a:close/>
                <a:moveTo>
                  <a:pt x="2954744" y="4582426"/>
                </a:moveTo>
                <a:cubicBezTo>
                  <a:pt x="2954744" y="4587123"/>
                  <a:pt x="2954744" y="4591821"/>
                  <a:pt x="2957093" y="4596518"/>
                </a:cubicBezTo>
                <a:cubicBezTo>
                  <a:pt x="2959442" y="4596518"/>
                  <a:pt x="2964139" y="4596518"/>
                  <a:pt x="2968837" y="4594169"/>
                </a:cubicBezTo>
                <a:cubicBezTo>
                  <a:pt x="2966488" y="4587123"/>
                  <a:pt x="2961791" y="4584774"/>
                  <a:pt x="2954744" y="4582426"/>
                </a:cubicBezTo>
                <a:close/>
                <a:moveTo>
                  <a:pt x="2917164" y="4582426"/>
                </a:moveTo>
                <a:cubicBezTo>
                  <a:pt x="2919514" y="4584774"/>
                  <a:pt x="2919514" y="4587123"/>
                  <a:pt x="2919514" y="4589472"/>
                </a:cubicBezTo>
                <a:lnTo>
                  <a:pt x="2924210" y="4594169"/>
                </a:lnTo>
                <a:lnTo>
                  <a:pt x="2921861" y="4596518"/>
                </a:lnTo>
                <a:cubicBezTo>
                  <a:pt x="2924210" y="4598867"/>
                  <a:pt x="2924210" y="4598867"/>
                  <a:pt x="2924210" y="4601216"/>
                </a:cubicBezTo>
                <a:cubicBezTo>
                  <a:pt x="2926559" y="4601216"/>
                  <a:pt x="2928908" y="4601216"/>
                  <a:pt x="2931256" y="4601216"/>
                </a:cubicBezTo>
                <a:cubicBezTo>
                  <a:pt x="2931256" y="4601216"/>
                  <a:pt x="2933605" y="4601216"/>
                  <a:pt x="2935954" y="4601216"/>
                </a:cubicBezTo>
                <a:cubicBezTo>
                  <a:pt x="2938303" y="4598867"/>
                  <a:pt x="2943000" y="4598867"/>
                  <a:pt x="2940652" y="4598867"/>
                </a:cubicBezTo>
                <a:cubicBezTo>
                  <a:pt x="2933605" y="4591821"/>
                  <a:pt x="2926559" y="4584774"/>
                  <a:pt x="2919514" y="4582426"/>
                </a:cubicBezTo>
                <a:cubicBezTo>
                  <a:pt x="2919514" y="4582426"/>
                  <a:pt x="2917164" y="4582426"/>
                  <a:pt x="2917164" y="4582426"/>
                </a:cubicBezTo>
                <a:close/>
                <a:moveTo>
                  <a:pt x="2999371" y="4580077"/>
                </a:moveTo>
                <a:cubicBezTo>
                  <a:pt x="2994674" y="4580077"/>
                  <a:pt x="2989977" y="4582426"/>
                  <a:pt x="2985278" y="4584774"/>
                </a:cubicBezTo>
                <a:cubicBezTo>
                  <a:pt x="2985278" y="4589472"/>
                  <a:pt x="2985278" y="4591821"/>
                  <a:pt x="2985278" y="4594169"/>
                </a:cubicBezTo>
                <a:cubicBezTo>
                  <a:pt x="2992325" y="4594169"/>
                  <a:pt x="3001720" y="4594169"/>
                  <a:pt x="3008766" y="4596518"/>
                </a:cubicBezTo>
                <a:cubicBezTo>
                  <a:pt x="3006417" y="4591821"/>
                  <a:pt x="3004069" y="4584774"/>
                  <a:pt x="2999371" y="4580077"/>
                </a:cubicBezTo>
                <a:close/>
                <a:moveTo>
                  <a:pt x="2910118" y="4580077"/>
                </a:moveTo>
                <a:cubicBezTo>
                  <a:pt x="2905420" y="4587123"/>
                  <a:pt x="2879583" y="4601216"/>
                  <a:pt x="2891327" y="4605913"/>
                </a:cubicBezTo>
                <a:cubicBezTo>
                  <a:pt x="2893676" y="4598867"/>
                  <a:pt x="2921861" y="4591821"/>
                  <a:pt x="2910118" y="4580077"/>
                </a:cubicBezTo>
                <a:close/>
                <a:moveTo>
                  <a:pt x="962993" y="4580076"/>
                </a:moveTo>
                <a:cubicBezTo>
                  <a:pt x="962993" y="4580076"/>
                  <a:pt x="965342" y="4582425"/>
                  <a:pt x="967692" y="4582425"/>
                </a:cubicBezTo>
                <a:lnTo>
                  <a:pt x="960649" y="4598866"/>
                </a:lnTo>
                <a:lnTo>
                  <a:pt x="953599" y="4605913"/>
                </a:lnTo>
                <a:lnTo>
                  <a:pt x="944207" y="4598866"/>
                </a:lnTo>
                <a:lnTo>
                  <a:pt x="953599" y="4582425"/>
                </a:lnTo>
                <a:close/>
                <a:moveTo>
                  <a:pt x="1522004" y="4577728"/>
                </a:moveTo>
                <a:lnTo>
                  <a:pt x="1519655" y="4591820"/>
                </a:lnTo>
                <a:lnTo>
                  <a:pt x="1522004" y="4589472"/>
                </a:lnTo>
                <a:lnTo>
                  <a:pt x="1529053" y="4580076"/>
                </a:lnTo>
                <a:close/>
                <a:moveTo>
                  <a:pt x="1073390" y="4577727"/>
                </a:moveTo>
                <a:lnTo>
                  <a:pt x="1078084" y="4584773"/>
                </a:lnTo>
                <a:lnTo>
                  <a:pt x="1078084" y="4591820"/>
                </a:lnTo>
                <a:lnTo>
                  <a:pt x="1073390" y="4596517"/>
                </a:lnTo>
                <a:lnTo>
                  <a:pt x="1063991" y="4594168"/>
                </a:lnTo>
                <a:close/>
                <a:moveTo>
                  <a:pt x="3015813" y="4573030"/>
                </a:moveTo>
                <a:cubicBezTo>
                  <a:pt x="3013464" y="4573030"/>
                  <a:pt x="3008766" y="4575379"/>
                  <a:pt x="3004069" y="4577728"/>
                </a:cubicBezTo>
                <a:cubicBezTo>
                  <a:pt x="3006417" y="4584774"/>
                  <a:pt x="3008766" y="4591821"/>
                  <a:pt x="3011115" y="4598867"/>
                </a:cubicBezTo>
                <a:cubicBezTo>
                  <a:pt x="3013464" y="4598867"/>
                  <a:pt x="3013464" y="4601216"/>
                  <a:pt x="3015813" y="4601216"/>
                </a:cubicBezTo>
                <a:cubicBezTo>
                  <a:pt x="3018161" y="4598867"/>
                  <a:pt x="3020510" y="4596518"/>
                  <a:pt x="3022859" y="4594169"/>
                </a:cubicBezTo>
                <a:cubicBezTo>
                  <a:pt x="3020510" y="4587123"/>
                  <a:pt x="3018161" y="4580077"/>
                  <a:pt x="3015813" y="4573030"/>
                </a:cubicBezTo>
                <a:close/>
                <a:moveTo>
                  <a:pt x="5634700" y="4573029"/>
                </a:moveTo>
                <a:cubicBezTo>
                  <a:pt x="5641747" y="4573029"/>
                  <a:pt x="5637049" y="4580075"/>
                  <a:pt x="5634700" y="4580075"/>
                </a:cubicBezTo>
                <a:cubicBezTo>
                  <a:pt x="5627654" y="4580075"/>
                  <a:pt x="5630003" y="4575378"/>
                  <a:pt x="5634700" y="4573029"/>
                </a:cubicBezTo>
                <a:close/>
                <a:moveTo>
                  <a:pt x="3065137" y="4570682"/>
                </a:moveTo>
                <a:cubicBezTo>
                  <a:pt x="3065137" y="4573030"/>
                  <a:pt x="3067486" y="4573030"/>
                  <a:pt x="3067486" y="4575379"/>
                </a:cubicBezTo>
                <a:cubicBezTo>
                  <a:pt x="3069835" y="4575379"/>
                  <a:pt x="3072184" y="4575379"/>
                  <a:pt x="3072184" y="4573030"/>
                </a:cubicBezTo>
                <a:cubicBezTo>
                  <a:pt x="3069835" y="4570682"/>
                  <a:pt x="3067486" y="4570682"/>
                  <a:pt x="3065137" y="4570682"/>
                </a:cubicBezTo>
                <a:close/>
                <a:moveTo>
                  <a:pt x="1470332" y="4570681"/>
                </a:moveTo>
                <a:cubicBezTo>
                  <a:pt x="1470332" y="4570681"/>
                  <a:pt x="1470332" y="4573030"/>
                  <a:pt x="1470332" y="4573030"/>
                </a:cubicBezTo>
                <a:lnTo>
                  <a:pt x="1472682" y="4582425"/>
                </a:lnTo>
                <a:lnTo>
                  <a:pt x="1451539" y="4584774"/>
                </a:lnTo>
                <a:lnTo>
                  <a:pt x="1449189" y="4582425"/>
                </a:lnTo>
                <a:cubicBezTo>
                  <a:pt x="1449189" y="4582425"/>
                  <a:pt x="1451539" y="4580076"/>
                  <a:pt x="1451539" y="4577727"/>
                </a:cubicBezTo>
                <a:lnTo>
                  <a:pt x="1460934" y="4577727"/>
                </a:lnTo>
                <a:lnTo>
                  <a:pt x="1467982" y="4573030"/>
                </a:lnTo>
                <a:cubicBezTo>
                  <a:pt x="1467982" y="4573030"/>
                  <a:pt x="1470332" y="4570681"/>
                  <a:pt x="1470332" y="4570681"/>
                </a:cubicBezTo>
                <a:close/>
                <a:moveTo>
                  <a:pt x="3046347" y="4568333"/>
                </a:moveTo>
                <a:cubicBezTo>
                  <a:pt x="3039300" y="4568333"/>
                  <a:pt x="3034604" y="4570682"/>
                  <a:pt x="3027557" y="4570682"/>
                </a:cubicBezTo>
                <a:cubicBezTo>
                  <a:pt x="3029905" y="4575379"/>
                  <a:pt x="3032254" y="4582426"/>
                  <a:pt x="3034604" y="4587123"/>
                </a:cubicBezTo>
                <a:cubicBezTo>
                  <a:pt x="3039300" y="4587123"/>
                  <a:pt x="3043998" y="4584774"/>
                  <a:pt x="3046347" y="4582426"/>
                </a:cubicBezTo>
                <a:cubicBezTo>
                  <a:pt x="3046347" y="4577728"/>
                  <a:pt x="3046347" y="4573030"/>
                  <a:pt x="3046347" y="4568333"/>
                </a:cubicBezTo>
                <a:close/>
                <a:moveTo>
                  <a:pt x="2684635" y="4568333"/>
                </a:moveTo>
                <a:cubicBezTo>
                  <a:pt x="2675240" y="4568333"/>
                  <a:pt x="2665845" y="4570682"/>
                  <a:pt x="2656449" y="4573030"/>
                </a:cubicBezTo>
                <a:cubicBezTo>
                  <a:pt x="2663496" y="4573030"/>
                  <a:pt x="2672891" y="4573030"/>
                  <a:pt x="2684635" y="4573030"/>
                </a:cubicBezTo>
                <a:cubicBezTo>
                  <a:pt x="2684635" y="4573030"/>
                  <a:pt x="2684635" y="4570682"/>
                  <a:pt x="2684635" y="4568333"/>
                </a:cubicBezTo>
                <a:close/>
                <a:moveTo>
                  <a:pt x="1583073" y="4568332"/>
                </a:moveTo>
                <a:lnTo>
                  <a:pt x="1587769" y="4575378"/>
                </a:lnTo>
                <a:lnTo>
                  <a:pt x="1585423" y="4584773"/>
                </a:lnTo>
                <a:cubicBezTo>
                  <a:pt x="1585423" y="4584773"/>
                  <a:pt x="1585423" y="4587122"/>
                  <a:pt x="1583073" y="4587122"/>
                </a:cubicBezTo>
                <a:cubicBezTo>
                  <a:pt x="1583073" y="4587122"/>
                  <a:pt x="1580722" y="4584773"/>
                  <a:pt x="1578373" y="4584773"/>
                </a:cubicBezTo>
                <a:lnTo>
                  <a:pt x="1571330" y="4575378"/>
                </a:lnTo>
                <a:close/>
                <a:moveTo>
                  <a:pt x="1700499" y="4563635"/>
                </a:moveTo>
                <a:cubicBezTo>
                  <a:pt x="1700499" y="4563635"/>
                  <a:pt x="1698150" y="4565984"/>
                  <a:pt x="1698150" y="4565984"/>
                </a:cubicBezTo>
                <a:lnTo>
                  <a:pt x="1695805" y="4575379"/>
                </a:lnTo>
                <a:lnTo>
                  <a:pt x="1695805" y="4584774"/>
                </a:lnTo>
                <a:lnTo>
                  <a:pt x="1700499" y="4587123"/>
                </a:lnTo>
                <a:lnTo>
                  <a:pt x="1702848" y="4584774"/>
                </a:lnTo>
                <a:lnTo>
                  <a:pt x="1705197" y="4575379"/>
                </a:lnTo>
                <a:lnTo>
                  <a:pt x="1702848" y="4565984"/>
                </a:lnTo>
                <a:cubicBezTo>
                  <a:pt x="1700499" y="4565984"/>
                  <a:pt x="1700499" y="4563635"/>
                  <a:pt x="1700499" y="4563635"/>
                </a:cubicBezTo>
                <a:close/>
                <a:moveTo>
                  <a:pt x="1268336" y="4563635"/>
                </a:moveTo>
                <a:lnTo>
                  <a:pt x="1277730" y="4570681"/>
                </a:lnTo>
                <a:lnTo>
                  <a:pt x="1282428" y="4580076"/>
                </a:lnTo>
                <a:cubicBezTo>
                  <a:pt x="1261288" y="4601216"/>
                  <a:pt x="1275380" y="4598867"/>
                  <a:pt x="1263637" y="4580076"/>
                </a:cubicBezTo>
                <a:lnTo>
                  <a:pt x="1263637" y="4570681"/>
                </a:lnTo>
                <a:cubicBezTo>
                  <a:pt x="1263637" y="4570681"/>
                  <a:pt x="1265986" y="4565984"/>
                  <a:pt x="1268336" y="4563635"/>
                </a:cubicBezTo>
                <a:close/>
                <a:moveTo>
                  <a:pt x="845567" y="4563634"/>
                </a:moveTo>
                <a:cubicBezTo>
                  <a:pt x="845567" y="4563634"/>
                  <a:pt x="852609" y="4563634"/>
                  <a:pt x="859660" y="4570680"/>
                </a:cubicBezTo>
                <a:lnTo>
                  <a:pt x="854959" y="4589471"/>
                </a:lnTo>
                <a:lnTo>
                  <a:pt x="845567" y="4594168"/>
                </a:lnTo>
                <a:cubicBezTo>
                  <a:pt x="845567" y="4594168"/>
                  <a:pt x="840870" y="4589471"/>
                  <a:pt x="840870" y="4587122"/>
                </a:cubicBezTo>
                <a:lnTo>
                  <a:pt x="833817" y="4570680"/>
                </a:lnTo>
                <a:close/>
                <a:moveTo>
                  <a:pt x="2769191" y="4558938"/>
                </a:moveTo>
                <a:cubicBezTo>
                  <a:pt x="2762144" y="4561286"/>
                  <a:pt x="2757447" y="4561286"/>
                  <a:pt x="2752749" y="4561286"/>
                </a:cubicBezTo>
                <a:lnTo>
                  <a:pt x="2750401" y="4563635"/>
                </a:lnTo>
                <a:lnTo>
                  <a:pt x="2743354" y="4561286"/>
                </a:lnTo>
                <a:cubicBezTo>
                  <a:pt x="2743354" y="4565984"/>
                  <a:pt x="2741006" y="4570682"/>
                  <a:pt x="2741006" y="4573030"/>
                </a:cubicBezTo>
                <a:cubicBezTo>
                  <a:pt x="2750401" y="4573030"/>
                  <a:pt x="2759797" y="4570682"/>
                  <a:pt x="2769191" y="4570682"/>
                </a:cubicBezTo>
                <a:cubicBezTo>
                  <a:pt x="2771540" y="4570682"/>
                  <a:pt x="2773888" y="4570682"/>
                  <a:pt x="2778586" y="4570682"/>
                </a:cubicBezTo>
                <a:cubicBezTo>
                  <a:pt x="2776237" y="4565984"/>
                  <a:pt x="2771540" y="4561286"/>
                  <a:pt x="2769191" y="4558938"/>
                </a:cubicBezTo>
                <a:close/>
                <a:moveTo>
                  <a:pt x="1132110" y="4558937"/>
                </a:moveTo>
                <a:lnTo>
                  <a:pt x="1132110" y="4570681"/>
                </a:lnTo>
                <a:lnTo>
                  <a:pt x="1125060" y="4568332"/>
                </a:lnTo>
                <a:close/>
                <a:moveTo>
                  <a:pt x="963002" y="4556588"/>
                </a:moveTo>
                <a:cubicBezTo>
                  <a:pt x="963002" y="4556588"/>
                  <a:pt x="963002" y="4556588"/>
                  <a:pt x="963002" y="4558937"/>
                </a:cubicBezTo>
                <a:lnTo>
                  <a:pt x="967700" y="4568332"/>
                </a:lnTo>
                <a:lnTo>
                  <a:pt x="963002" y="4570681"/>
                </a:lnTo>
                <a:lnTo>
                  <a:pt x="958308" y="4565983"/>
                </a:lnTo>
                <a:close/>
                <a:moveTo>
                  <a:pt x="5742451" y="4556002"/>
                </a:moveTo>
                <a:cubicBezTo>
                  <a:pt x="5749204" y="4557764"/>
                  <a:pt x="5754489" y="4563635"/>
                  <a:pt x="5756838" y="4575379"/>
                </a:cubicBezTo>
                <a:cubicBezTo>
                  <a:pt x="5745094" y="4575379"/>
                  <a:pt x="5735699" y="4580077"/>
                  <a:pt x="5735699" y="4591821"/>
                </a:cubicBezTo>
                <a:cubicBezTo>
                  <a:pt x="5723955" y="4594170"/>
                  <a:pt x="5721606" y="4577728"/>
                  <a:pt x="5719257" y="4561287"/>
                </a:cubicBezTo>
                <a:cubicBezTo>
                  <a:pt x="5727478" y="4556589"/>
                  <a:pt x="5735698" y="4554241"/>
                  <a:pt x="5742451" y="4556002"/>
                </a:cubicBezTo>
                <a:close/>
                <a:moveTo>
                  <a:pt x="2398084" y="4554240"/>
                </a:moveTo>
                <a:lnTo>
                  <a:pt x="2386340" y="4558938"/>
                </a:lnTo>
                <a:lnTo>
                  <a:pt x="2391037" y="4570682"/>
                </a:lnTo>
                <a:lnTo>
                  <a:pt x="2393386" y="4573030"/>
                </a:lnTo>
                <a:lnTo>
                  <a:pt x="2402781" y="4573030"/>
                </a:lnTo>
                <a:lnTo>
                  <a:pt x="2398084" y="4563635"/>
                </a:lnTo>
                <a:close/>
                <a:moveTo>
                  <a:pt x="1174388" y="4551890"/>
                </a:moveTo>
                <a:lnTo>
                  <a:pt x="1183780" y="4554239"/>
                </a:lnTo>
                <a:lnTo>
                  <a:pt x="1188481" y="4561285"/>
                </a:lnTo>
                <a:lnTo>
                  <a:pt x="1183780" y="4563634"/>
                </a:lnTo>
                <a:lnTo>
                  <a:pt x="1174388" y="4565983"/>
                </a:lnTo>
                <a:lnTo>
                  <a:pt x="1167341" y="4558936"/>
                </a:lnTo>
                <a:close/>
                <a:moveTo>
                  <a:pt x="1207265" y="4549543"/>
                </a:moveTo>
                <a:lnTo>
                  <a:pt x="1223708" y="4563636"/>
                </a:lnTo>
                <a:cubicBezTo>
                  <a:pt x="1228408" y="4561287"/>
                  <a:pt x="1228408" y="4556589"/>
                  <a:pt x="1233103" y="4556589"/>
                </a:cubicBezTo>
                <a:cubicBezTo>
                  <a:pt x="1235452" y="4556589"/>
                  <a:pt x="1240151" y="4558938"/>
                  <a:pt x="1240151" y="4561287"/>
                </a:cubicBezTo>
                <a:cubicBezTo>
                  <a:pt x="1240151" y="4561287"/>
                  <a:pt x="1240151" y="4565985"/>
                  <a:pt x="1230754" y="4577729"/>
                </a:cubicBezTo>
                <a:lnTo>
                  <a:pt x="1247196" y="4594170"/>
                </a:lnTo>
                <a:cubicBezTo>
                  <a:pt x="1247196" y="4594170"/>
                  <a:pt x="1244846" y="4601216"/>
                  <a:pt x="1233103" y="4601216"/>
                </a:cubicBezTo>
                <a:lnTo>
                  <a:pt x="1202568" y="4603565"/>
                </a:lnTo>
                <a:cubicBezTo>
                  <a:pt x="1204917" y="4601216"/>
                  <a:pt x="1204917" y="4596519"/>
                  <a:pt x="1207265" y="4596519"/>
                </a:cubicBezTo>
                <a:cubicBezTo>
                  <a:pt x="1211965" y="4596519"/>
                  <a:pt x="1214311" y="4598868"/>
                  <a:pt x="1216660" y="4598868"/>
                </a:cubicBezTo>
                <a:cubicBezTo>
                  <a:pt x="1216660" y="4598868"/>
                  <a:pt x="1219010" y="4596519"/>
                  <a:pt x="1219010" y="4594170"/>
                </a:cubicBezTo>
                <a:lnTo>
                  <a:pt x="1197873" y="4575380"/>
                </a:lnTo>
                <a:cubicBezTo>
                  <a:pt x="1197873" y="4575380"/>
                  <a:pt x="1190824" y="4580077"/>
                  <a:pt x="1188481" y="4582426"/>
                </a:cubicBezTo>
                <a:lnTo>
                  <a:pt x="1176738" y="4601216"/>
                </a:lnTo>
                <a:cubicBezTo>
                  <a:pt x="1176738" y="4601216"/>
                  <a:pt x="1167341" y="4580077"/>
                  <a:pt x="1186130" y="4568333"/>
                </a:cubicBezTo>
                <a:close/>
                <a:moveTo>
                  <a:pt x="2477942" y="4549542"/>
                </a:moveTo>
                <a:lnTo>
                  <a:pt x="2475594" y="4554240"/>
                </a:lnTo>
                <a:lnTo>
                  <a:pt x="2475594" y="4556589"/>
                </a:lnTo>
                <a:cubicBezTo>
                  <a:pt x="2480291" y="4554240"/>
                  <a:pt x="2482640" y="4554240"/>
                  <a:pt x="2487337" y="4551891"/>
                </a:cubicBezTo>
                <a:close/>
                <a:moveTo>
                  <a:pt x="1362286" y="4549542"/>
                </a:moveTo>
                <a:lnTo>
                  <a:pt x="1371684" y="4554240"/>
                </a:lnTo>
                <a:cubicBezTo>
                  <a:pt x="1371684" y="4554240"/>
                  <a:pt x="1374034" y="4556588"/>
                  <a:pt x="1374034" y="4556588"/>
                </a:cubicBezTo>
                <a:cubicBezTo>
                  <a:pt x="1374034" y="4556588"/>
                  <a:pt x="1371684" y="4558937"/>
                  <a:pt x="1371684" y="4558937"/>
                </a:cubicBezTo>
                <a:lnTo>
                  <a:pt x="1366984" y="4563635"/>
                </a:lnTo>
                <a:cubicBezTo>
                  <a:pt x="1366984" y="4563635"/>
                  <a:pt x="1364634" y="4565984"/>
                  <a:pt x="1362286" y="4565984"/>
                </a:cubicBezTo>
                <a:lnTo>
                  <a:pt x="1359937" y="4563635"/>
                </a:lnTo>
                <a:lnTo>
                  <a:pt x="1357592" y="4554240"/>
                </a:lnTo>
                <a:close/>
                <a:moveTo>
                  <a:pt x="1618291" y="4537799"/>
                </a:moveTo>
                <a:cubicBezTo>
                  <a:pt x="1613595" y="4540147"/>
                  <a:pt x="1611249" y="4544845"/>
                  <a:pt x="1606549" y="4549542"/>
                </a:cubicBezTo>
                <a:cubicBezTo>
                  <a:pt x="1606549" y="4551891"/>
                  <a:pt x="1608899" y="4556589"/>
                  <a:pt x="1608899" y="4561286"/>
                </a:cubicBezTo>
                <a:cubicBezTo>
                  <a:pt x="1604199" y="4561286"/>
                  <a:pt x="1601851" y="4563635"/>
                  <a:pt x="1599502" y="4563635"/>
                </a:cubicBezTo>
                <a:cubicBezTo>
                  <a:pt x="1599502" y="4563635"/>
                  <a:pt x="1593629" y="4563048"/>
                  <a:pt x="1587170" y="4560992"/>
                </a:cubicBezTo>
                <a:lnTo>
                  <a:pt x="1580878" y="4556448"/>
                </a:lnTo>
                <a:lnTo>
                  <a:pt x="1580723" y="4558937"/>
                </a:lnTo>
                <a:cubicBezTo>
                  <a:pt x="1580723" y="4561286"/>
                  <a:pt x="1580723" y="4561286"/>
                  <a:pt x="1578373" y="4561286"/>
                </a:cubicBezTo>
                <a:cubicBezTo>
                  <a:pt x="1571330" y="4558937"/>
                  <a:pt x="1568980" y="4549542"/>
                  <a:pt x="1561932" y="4547194"/>
                </a:cubicBezTo>
                <a:cubicBezTo>
                  <a:pt x="1561932" y="4547194"/>
                  <a:pt x="1547841" y="4542496"/>
                  <a:pt x="1538446" y="4575379"/>
                </a:cubicBezTo>
                <a:lnTo>
                  <a:pt x="1545495" y="4582425"/>
                </a:lnTo>
                <a:lnTo>
                  <a:pt x="1561932" y="4556589"/>
                </a:lnTo>
                <a:cubicBezTo>
                  <a:pt x="1566630" y="4558937"/>
                  <a:pt x="1566630" y="4556589"/>
                  <a:pt x="1566630" y="4565984"/>
                </a:cubicBezTo>
                <a:cubicBezTo>
                  <a:pt x="1568980" y="4587123"/>
                  <a:pt x="1564282" y="4598867"/>
                  <a:pt x="1561932" y="4598867"/>
                </a:cubicBezTo>
                <a:cubicBezTo>
                  <a:pt x="1557238" y="4601216"/>
                  <a:pt x="1554887" y="4596518"/>
                  <a:pt x="1552538" y="4596518"/>
                </a:cubicBezTo>
                <a:cubicBezTo>
                  <a:pt x="1552538" y="4598867"/>
                  <a:pt x="1552538" y="4601216"/>
                  <a:pt x="1552538" y="4603564"/>
                </a:cubicBezTo>
                <a:cubicBezTo>
                  <a:pt x="1557238" y="4608262"/>
                  <a:pt x="1557238" y="4612959"/>
                  <a:pt x="1564282" y="4612959"/>
                </a:cubicBezTo>
                <a:cubicBezTo>
                  <a:pt x="1578373" y="4608262"/>
                  <a:pt x="1583073" y="4596518"/>
                  <a:pt x="1601866" y="4608262"/>
                </a:cubicBezTo>
                <a:lnTo>
                  <a:pt x="1603165" y="4613457"/>
                </a:lnTo>
                <a:lnTo>
                  <a:pt x="1609044" y="4608225"/>
                </a:lnTo>
                <a:cubicBezTo>
                  <a:pt x="1613447" y="4605913"/>
                  <a:pt x="1619466" y="4604151"/>
                  <a:pt x="1627686" y="4603564"/>
                </a:cubicBezTo>
                <a:lnTo>
                  <a:pt x="1622992" y="4568333"/>
                </a:lnTo>
                <a:cubicBezTo>
                  <a:pt x="1627686" y="4556589"/>
                  <a:pt x="1627686" y="4554240"/>
                  <a:pt x="1627686" y="4551891"/>
                </a:cubicBezTo>
                <a:cubicBezTo>
                  <a:pt x="1625342" y="4544845"/>
                  <a:pt x="1620641" y="4542496"/>
                  <a:pt x="1618291" y="4537799"/>
                </a:cubicBezTo>
                <a:close/>
                <a:moveTo>
                  <a:pt x="1021714" y="4535450"/>
                </a:moveTo>
                <a:cubicBezTo>
                  <a:pt x="1021714" y="4535450"/>
                  <a:pt x="1038156" y="4549543"/>
                  <a:pt x="1038156" y="4547194"/>
                </a:cubicBezTo>
                <a:lnTo>
                  <a:pt x="1026412" y="4563635"/>
                </a:lnTo>
                <a:cubicBezTo>
                  <a:pt x="1028762" y="4568333"/>
                  <a:pt x="1031108" y="4573030"/>
                  <a:pt x="1031108" y="4573030"/>
                </a:cubicBezTo>
                <a:cubicBezTo>
                  <a:pt x="1031108" y="4575379"/>
                  <a:pt x="1028762" y="4577728"/>
                  <a:pt x="1026412" y="4577728"/>
                </a:cubicBezTo>
                <a:cubicBezTo>
                  <a:pt x="1026412" y="4577728"/>
                  <a:pt x="1017015" y="4573030"/>
                  <a:pt x="1017015" y="4573030"/>
                </a:cubicBezTo>
                <a:lnTo>
                  <a:pt x="995877" y="4556589"/>
                </a:lnTo>
                <a:cubicBezTo>
                  <a:pt x="998227" y="4554240"/>
                  <a:pt x="1000577" y="4549543"/>
                  <a:pt x="1002922" y="4549543"/>
                </a:cubicBezTo>
                <a:cubicBezTo>
                  <a:pt x="1007619" y="4549543"/>
                  <a:pt x="1009969" y="4551891"/>
                  <a:pt x="1012319" y="4551891"/>
                </a:cubicBezTo>
                <a:cubicBezTo>
                  <a:pt x="1017015" y="4549543"/>
                  <a:pt x="1014664" y="4542496"/>
                  <a:pt x="1017015" y="4540148"/>
                </a:cubicBezTo>
                <a:cubicBezTo>
                  <a:pt x="1017015" y="4537799"/>
                  <a:pt x="1019364" y="4535450"/>
                  <a:pt x="1021714" y="4535450"/>
                </a:cubicBezTo>
                <a:close/>
                <a:moveTo>
                  <a:pt x="1157945" y="4535449"/>
                </a:moveTo>
                <a:cubicBezTo>
                  <a:pt x="1157945" y="4535449"/>
                  <a:pt x="1160296" y="4535449"/>
                  <a:pt x="1160296" y="4535449"/>
                </a:cubicBezTo>
                <a:lnTo>
                  <a:pt x="1167341" y="4544844"/>
                </a:lnTo>
                <a:lnTo>
                  <a:pt x="1157945" y="4547193"/>
                </a:lnTo>
                <a:close/>
                <a:moveTo>
                  <a:pt x="1466513" y="4534568"/>
                </a:moveTo>
                <a:cubicBezTo>
                  <a:pt x="1468572" y="4533687"/>
                  <a:pt x="1470332" y="4534275"/>
                  <a:pt x="1472682" y="4535449"/>
                </a:cubicBezTo>
                <a:cubicBezTo>
                  <a:pt x="1475028" y="4535449"/>
                  <a:pt x="1475028" y="4540147"/>
                  <a:pt x="1475028" y="4542495"/>
                </a:cubicBezTo>
                <a:cubicBezTo>
                  <a:pt x="1475028" y="4544844"/>
                  <a:pt x="1472682" y="4544844"/>
                  <a:pt x="1472682" y="4547193"/>
                </a:cubicBezTo>
                <a:cubicBezTo>
                  <a:pt x="1472682" y="4551890"/>
                  <a:pt x="1482074" y="4554239"/>
                  <a:pt x="1482074" y="4558937"/>
                </a:cubicBezTo>
                <a:cubicBezTo>
                  <a:pt x="1482074" y="4558937"/>
                  <a:pt x="1479726" y="4561285"/>
                  <a:pt x="1479726" y="4561285"/>
                </a:cubicBezTo>
                <a:lnTo>
                  <a:pt x="1470332" y="4565983"/>
                </a:lnTo>
                <a:lnTo>
                  <a:pt x="1428054" y="4549541"/>
                </a:lnTo>
                <a:lnTo>
                  <a:pt x="1423355" y="4556588"/>
                </a:lnTo>
                <a:lnTo>
                  <a:pt x="1444497" y="4601215"/>
                </a:lnTo>
                <a:cubicBezTo>
                  <a:pt x="1444497" y="4617656"/>
                  <a:pt x="1444497" y="4615307"/>
                  <a:pt x="1435098" y="4622354"/>
                </a:cubicBezTo>
                <a:cubicBezTo>
                  <a:pt x="1430400" y="4627051"/>
                  <a:pt x="1423355" y="4627051"/>
                  <a:pt x="1418657" y="4631749"/>
                </a:cubicBezTo>
                <a:lnTo>
                  <a:pt x="1411612" y="4629400"/>
                </a:lnTo>
                <a:lnTo>
                  <a:pt x="1404570" y="4631749"/>
                </a:lnTo>
                <a:lnTo>
                  <a:pt x="1411612" y="4636447"/>
                </a:lnTo>
                <a:lnTo>
                  <a:pt x="1418657" y="4631749"/>
                </a:lnTo>
                <a:cubicBezTo>
                  <a:pt x="1416312" y="4634098"/>
                  <a:pt x="1411612" y="4636447"/>
                  <a:pt x="1411612" y="4638795"/>
                </a:cubicBezTo>
                <a:cubicBezTo>
                  <a:pt x="1411612" y="4641144"/>
                  <a:pt x="1416312" y="4643493"/>
                  <a:pt x="1418657" y="4645842"/>
                </a:cubicBezTo>
                <a:cubicBezTo>
                  <a:pt x="1423355" y="4641144"/>
                  <a:pt x="1425704" y="4638795"/>
                  <a:pt x="1428054" y="4634098"/>
                </a:cubicBezTo>
                <a:cubicBezTo>
                  <a:pt x="1430400" y="4634098"/>
                  <a:pt x="1435098" y="4636447"/>
                  <a:pt x="1435098" y="4638795"/>
                </a:cubicBezTo>
                <a:cubicBezTo>
                  <a:pt x="1435098" y="4643493"/>
                  <a:pt x="1432749" y="4645842"/>
                  <a:pt x="1432749" y="4648190"/>
                </a:cubicBezTo>
                <a:cubicBezTo>
                  <a:pt x="1432749" y="4652888"/>
                  <a:pt x="1435098" y="4655237"/>
                  <a:pt x="1435098" y="4657585"/>
                </a:cubicBezTo>
                <a:cubicBezTo>
                  <a:pt x="1435098" y="4666980"/>
                  <a:pt x="1432749" y="4671678"/>
                  <a:pt x="1428054" y="4671678"/>
                </a:cubicBezTo>
                <a:cubicBezTo>
                  <a:pt x="1428054" y="4671678"/>
                  <a:pt x="1421006" y="4671678"/>
                  <a:pt x="1418657" y="4666980"/>
                </a:cubicBezTo>
                <a:lnTo>
                  <a:pt x="1411612" y="4657585"/>
                </a:lnTo>
                <a:cubicBezTo>
                  <a:pt x="1406914" y="4659934"/>
                  <a:pt x="1406914" y="4664632"/>
                  <a:pt x="1402219" y="4664632"/>
                </a:cubicBezTo>
                <a:cubicBezTo>
                  <a:pt x="1381077" y="4662283"/>
                  <a:pt x="1355241" y="4627051"/>
                  <a:pt x="1345844" y="4631749"/>
                </a:cubicBezTo>
                <a:cubicBezTo>
                  <a:pt x="1350542" y="4627051"/>
                  <a:pt x="1352891" y="4624703"/>
                  <a:pt x="1355241" y="4622354"/>
                </a:cubicBezTo>
                <a:cubicBezTo>
                  <a:pt x="1341149" y="4610610"/>
                  <a:pt x="1338799" y="4608261"/>
                  <a:pt x="1341149" y="4605912"/>
                </a:cubicBezTo>
                <a:cubicBezTo>
                  <a:pt x="1343494" y="4601215"/>
                  <a:pt x="1350542" y="4601215"/>
                  <a:pt x="1350542" y="4596517"/>
                </a:cubicBezTo>
                <a:cubicBezTo>
                  <a:pt x="1350542" y="4591820"/>
                  <a:pt x="1343494" y="4589471"/>
                  <a:pt x="1341149" y="4587122"/>
                </a:cubicBezTo>
                <a:cubicBezTo>
                  <a:pt x="1343494" y="4587122"/>
                  <a:pt x="1345844" y="4584773"/>
                  <a:pt x="1348194" y="4584773"/>
                </a:cubicBezTo>
                <a:cubicBezTo>
                  <a:pt x="1355241" y="4584773"/>
                  <a:pt x="1364634" y="4589471"/>
                  <a:pt x="1366984" y="4596517"/>
                </a:cubicBezTo>
                <a:cubicBezTo>
                  <a:pt x="1369334" y="4601215"/>
                  <a:pt x="1371684" y="4601215"/>
                  <a:pt x="1352891" y="4612959"/>
                </a:cubicBezTo>
                <a:cubicBezTo>
                  <a:pt x="1355241" y="4615307"/>
                  <a:pt x="1355241" y="4620005"/>
                  <a:pt x="1357592" y="4620005"/>
                </a:cubicBezTo>
                <a:cubicBezTo>
                  <a:pt x="1362286" y="4620005"/>
                  <a:pt x="1364634" y="4617656"/>
                  <a:pt x="1366984" y="4615307"/>
                </a:cubicBezTo>
                <a:cubicBezTo>
                  <a:pt x="1374029" y="4608261"/>
                  <a:pt x="1378728" y="4596517"/>
                  <a:pt x="1383426" y="4587122"/>
                </a:cubicBezTo>
                <a:cubicBezTo>
                  <a:pt x="1388127" y="4582425"/>
                  <a:pt x="1390472" y="4577727"/>
                  <a:pt x="1392822" y="4573029"/>
                </a:cubicBezTo>
                <a:cubicBezTo>
                  <a:pt x="1397519" y="4573029"/>
                  <a:pt x="1399869" y="4575378"/>
                  <a:pt x="1402219" y="4577727"/>
                </a:cubicBezTo>
                <a:cubicBezTo>
                  <a:pt x="1406914" y="4580076"/>
                  <a:pt x="1409262" y="4582425"/>
                  <a:pt x="1411612" y="4584773"/>
                </a:cubicBezTo>
                <a:cubicBezTo>
                  <a:pt x="1413962" y="4582425"/>
                  <a:pt x="1416312" y="4580076"/>
                  <a:pt x="1416312" y="4577727"/>
                </a:cubicBezTo>
                <a:cubicBezTo>
                  <a:pt x="1418657" y="4568332"/>
                  <a:pt x="1413962" y="4556588"/>
                  <a:pt x="1406914" y="4551890"/>
                </a:cubicBezTo>
                <a:lnTo>
                  <a:pt x="1392822" y="4551890"/>
                </a:lnTo>
                <a:lnTo>
                  <a:pt x="1392822" y="4542495"/>
                </a:lnTo>
                <a:lnTo>
                  <a:pt x="1458585" y="4542495"/>
                </a:lnTo>
                <a:cubicBezTo>
                  <a:pt x="1462111" y="4537798"/>
                  <a:pt x="1464461" y="4535449"/>
                  <a:pt x="1466513" y="4534568"/>
                </a:cubicBezTo>
                <a:close/>
                <a:moveTo>
                  <a:pt x="2515523" y="4533101"/>
                </a:moveTo>
                <a:cubicBezTo>
                  <a:pt x="2510825" y="4533101"/>
                  <a:pt x="2508476" y="4535450"/>
                  <a:pt x="2503779" y="4535450"/>
                </a:cubicBezTo>
                <a:cubicBezTo>
                  <a:pt x="2503779" y="4537799"/>
                  <a:pt x="2503779" y="4540147"/>
                  <a:pt x="2503779" y="4542496"/>
                </a:cubicBezTo>
                <a:cubicBezTo>
                  <a:pt x="2508476" y="4540147"/>
                  <a:pt x="2513174" y="4537799"/>
                  <a:pt x="2515523" y="4533101"/>
                </a:cubicBezTo>
                <a:close/>
                <a:moveTo>
                  <a:pt x="1082782" y="4530753"/>
                </a:moveTo>
                <a:cubicBezTo>
                  <a:pt x="1082782" y="4530753"/>
                  <a:pt x="1085132" y="4537799"/>
                  <a:pt x="1087482" y="4540148"/>
                </a:cubicBezTo>
                <a:lnTo>
                  <a:pt x="1108618" y="4549543"/>
                </a:lnTo>
                <a:cubicBezTo>
                  <a:pt x="1118018" y="4556589"/>
                  <a:pt x="1113317" y="4554241"/>
                  <a:pt x="1122711" y="4556589"/>
                </a:cubicBezTo>
                <a:cubicBezTo>
                  <a:pt x="1120362" y="4556589"/>
                  <a:pt x="1118018" y="4558938"/>
                  <a:pt x="1115668" y="4561287"/>
                </a:cubicBezTo>
                <a:cubicBezTo>
                  <a:pt x="1080433" y="4556589"/>
                  <a:pt x="1092177" y="4554241"/>
                  <a:pt x="1085132" y="4573031"/>
                </a:cubicBezTo>
                <a:cubicBezTo>
                  <a:pt x="1085132" y="4575380"/>
                  <a:pt x="1082782" y="4575380"/>
                  <a:pt x="1080433" y="4575380"/>
                </a:cubicBezTo>
                <a:cubicBezTo>
                  <a:pt x="1078084" y="4575380"/>
                  <a:pt x="1075736" y="4575380"/>
                  <a:pt x="1075736" y="4573031"/>
                </a:cubicBezTo>
                <a:cubicBezTo>
                  <a:pt x="1071040" y="4565985"/>
                  <a:pt x="1099225" y="4556589"/>
                  <a:pt x="1080433" y="4549543"/>
                </a:cubicBezTo>
                <a:cubicBezTo>
                  <a:pt x="1075736" y="4549543"/>
                  <a:pt x="1073390" y="4551892"/>
                  <a:pt x="1071040" y="4551892"/>
                </a:cubicBezTo>
                <a:cubicBezTo>
                  <a:pt x="1066339" y="4551892"/>
                  <a:pt x="1063991" y="4544846"/>
                  <a:pt x="1066339" y="4540148"/>
                </a:cubicBezTo>
                <a:cubicBezTo>
                  <a:pt x="1068690" y="4537799"/>
                  <a:pt x="1080433" y="4530753"/>
                  <a:pt x="1082782" y="4530753"/>
                </a:cubicBezTo>
                <a:close/>
                <a:moveTo>
                  <a:pt x="2647054" y="4528404"/>
                </a:moveTo>
                <a:cubicBezTo>
                  <a:pt x="2625916" y="4533101"/>
                  <a:pt x="2602427" y="4535450"/>
                  <a:pt x="2581289" y="4535450"/>
                </a:cubicBezTo>
                <a:cubicBezTo>
                  <a:pt x="2574242" y="4542496"/>
                  <a:pt x="2555452" y="4551891"/>
                  <a:pt x="2557801" y="4561286"/>
                </a:cubicBezTo>
                <a:cubicBezTo>
                  <a:pt x="2593033" y="4554240"/>
                  <a:pt x="2625916" y="4542496"/>
                  <a:pt x="2656449" y="4535450"/>
                </a:cubicBezTo>
                <a:cubicBezTo>
                  <a:pt x="2654101" y="4533101"/>
                  <a:pt x="2649403" y="4530753"/>
                  <a:pt x="2647054" y="4528404"/>
                </a:cubicBezTo>
                <a:close/>
                <a:moveTo>
                  <a:pt x="5641747" y="4528403"/>
                </a:moveTo>
                <a:cubicBezTo>
                  <a:pt x="5646445" y="4528403"/>
                  <a:pt x="5646445" y="4535449"/>
                  <a:pt x="5648793" y="4540147"/>
                </a:cubicBezTo>
                <a:cubicBezTo>
                  <a:pt x="5641747" y="4540147"/>
                  <a:pt x="5644096" y="4533101"/>
                  <a:pt x="5641747" y="4528403"/>
                </a:cubicBezTo>
                <a:close/>
                <a:moveTo>
                  <a:pt x="1284778" y="4526054"/>
                </a:moveTo>
                <a:lnTo>
                  <a:pt x="1280079" y="4533100"/>
                </a:lnTo>
                <a:lnTo>
                  <a:pt x="1282428" y="4542495"/>
                </a:lnTo>
                <a:cubicBezTo>
                  <a:pt x="1282428" y="4542495"/>
                  <a:pt x="1284778" y="4544844"/>
                  <a:pt x="1284778" y="4544844"/>
                </a:cubicBezTo>
                <a:lnTo>
                  <a:pt x="1294172" y="4549542"/>
                </a:lnTo>
                <a:lnTo>
                  <a:pt x="1298871" y="4542495"/>
                </a:lnTo>
                <a:lnTo>
                  <a:pt x="1294172" y="4535449"/>
                </a:lnTo>
                <a:cubicBezTo>
                  <a:pt x="1294172" y="4535449"/>
                  <a:pt x="1291823" y="4533100"/>
                  <a:pt x="1291823" y="4533100"/>
                </a:cubicBezTo>
                <a:close/>
                <a:moveTo>
                  <a:pt x="946557" y="4521356"/>
                </a:moveTo>
                <a:cubicBezTo>
                  <a:pt x="948901" y="4521356"/>
                  <a:pt x="948901" y="4521356"/>
                  <a:pt x="951250" y="4521356"/>
                </a:cubicBezTo>
                <a:cubicBezTo>
                  <a:pt x="951250" y="4523705"/>
                  <a:pt x="958299" y="4530751"/>
                  <a:pt x="958299" y="4530751"/>
                </a:cubicBezTo>
                <a:cubicBezTo>
                  <a:pt x="960649" y="4535449"/>
                  <a:pt x="958299" y="4537797"/>
                  <a:pt x="958299" y="4540146"/>
                </a:cubicBezTo>
                <a:cubicBezTo>
                  <a:pt x="958299" y="4544844"/>
                  <a:pt x="958299" y="4547193"/>
                  <a:pt x="958299" y="4549541"/>
                </a:cubicBezTo>
                <a:cubicBezTo>
                  <a:pt x="958299" y="4549541"/>
                  <a:pt x="958299" y="4549541"/>
                  <a:pt x="946557" y="4551890"/>
                </a:cubicBezTo>
                <a:lnTo>
                  <a:pt x="920715" y="4547193"/>
                </a:lnTo>
                <a:lnTo>
                  <a:pt x="939506" y="4537797"/>
                </a:lnTo>
                <a:cubicBezTo>
                  <a:pt x="944207" y="4526054"/>
                  <a:pt x="946557" y="4521356"/>
                  <a:pt x="946557" y="4521356"/>
                </a:cubicBezTo>
                <a:close/>
                <a:moveTo>
                  <a:pt x="5679329" y="4516660"/>
                </a:moveTo>
                <a:cubicBezTo>
                  <a:pt x="5674631" y="4537799"/>
                  <a:pt x="5700468" y="4549543"/>
                  <a:pt x="5684026" y="4561287"/>
                </a:cubicBezTo>
                <a:cubicBezTo>
                  <a:pt x="5667585" y="4570682"/>
                  <a:pt x="5672282" y="4549543"/>
                  <a:pt x="5669934" y="4537799"/>
                </a:cubicBezTo>
                <a:cubicBezTo>
                  <a:pt x="5665236" y="4537799"/>
                  <a:pt x="5658190" y="4540148"/>
                  <a:pt x="5653492" y="4540148"/>
                </a:cubicBezTo>
                <a:cubicBezTo>
                  <a:pt x="5651143" y="4521358"/>
                  <a:pt x="5672282" y="4523706"/>
                  <a:pt x="5679329" y="4516660"/>
                </a:cubicBezTo>
                <a:close/>
                <a:moveTo>
                  <a:pt x="2715170" y="4511962"/>
                </a:moveTo>
                <a:cubicBezTo>
                  <a:pt x="2698728" y="4516660"/>
                  <a:pt x="2684635" y="4519009"/>
                  <a:pt x="2665845" y="4523706"/>
                </a:cubicBezTo>
                <a:cubicBezTo>
                  <a:pt x="2668193" y="4526055"/>
                  <a:pt x="2668193" y="4528404"/>
                  <a:pt x="2670543" y="4530753"/>
                </a:cubicBezTo>
                <a:cubicBezTo>
                  <a:pt x="2672891" y="4530753"/>
                  <a:pt x="2677588" y="4528404"/>
                  <a:pt x="2679937" y="4528404"/>
                </a:cubicBezTo>
                <a:cubicBezTo>
                  <a:pt x="2691681" y="4526055"/>
                  <a:pt x="2705774" y="4526055"/>
                  <a:pt x="2717518" y="4526055"/>
                </a:cubicBezTo>
                <a:cubicBezTo>
                  <a:pt x="2717518" y="4526055"/>
                  <a:pt x="2715170" y="4523706"/>
                  <a:pt x="2715170" y="4523706"/>
                </a:cubicBezTo>
                <a:cubicBezTo>
                  <a:pt x="2715170" y="4521357"/>
                  <a:pt x="2715170" y="4516660"/>
                  <a:pt x="2717518" y="4514311"/>
                </a:cubicBezTo>
                <a:cubicBezTo>
                  <a:pt x="2715170" y="4514311"/>
                  <a:pt x="2715170" y="4511962"/>
                  <a:pt x="2715170" y="4511962"/>
                </a:cubicBezTo>
                <a:close/>
                <a:moveTo>
                  <a:pt x="1075734" y="4511961"/>
                </a:moveTo>
                <a:lnTo>
                  <a:pt x="1082782" y="4516659"/>
                </a:lnTo>
                <a:lnTo>
                  <a:pt x="1075734" y="4526054"/>
                </a:lnTo>
                <a:cubicBezTo>
                  <a:pt x="1075734" y="4526054"/>
                  <a:pt x="1073390" y="4528402"/>
                  <a:pt x="1073390" y="4528402"/>
                </a:cubicBezTo>
                <a:lnTo>
                  <a:pt x="1071040" y="4526054"/>
                </a:lnTo>
                <a:lnTo>
                  <a:pt x="1068690" y="4516659"/>
                </a:lnTo>
                <a:close/>
                <a:moveTo>
                  <a:pt x="1040504" y="4507264"/>
                </a:moveTo>
                <a:lnTo>
                  <a:pt x="1047549" y="4516659"/>
                </a:lnTo>
                <a:lnTo>
                  <a:pt x="1040504" y="4521357"/>
                </a:lnTo>
                <a:lnTo>
                  <a:pt x="1035805" y="4516659"/>
                </a:lnTo>
                <a:close/>
                <a:moveTo>
                  <a:pt x="995885" y="4502567"/>
                </a:moveTo>
                <a:lnTo>
                  <a:pt x="1009978" y="4509613"/>
                </a:lnTo>
                <a:cubicBezTo>
                  <a:pt x="1012323" y="4514311"/>
                  <a:pt x="1017022" y="4514311"/>
                  <a:pt x="1019371" y="4519009"/>
                </a:cubicBezTo>
                <a:cubicBezTo>
                  <a:pt x="1021721" y="4523706"/>
                  <a:pt x="1021721" y="4526055"/>
                  <a:pt x="1014678" y="4530753"/>
                </a:cubicBezTo>
                <a:cubicBezTo>
                  <a:pt x="1009978" y="4533101"/>
                  <a:pt x="1007627" y="4533101"/>
                  <a:pt x="1005277" y="4535450"/>
                </a:cubicBezTo>
                <a:cubicBezTo>
                  <a:pt x="1005277" y="4535450"/>
                  <a:pt x="1002929" y="4533101"/>
                  <a:pt x="1002929" y="4533101"/>
                </a:cubicBezTo>
                <a:lnTo>
                  <a:pt x="979443" y="4523706"/>
                </a:lnTo>
                <a:lnTo>
                  <a:pt x="991188" y="4507265"/>
                </a:lnTo>
                <a:cubicBezTo>
                  <a:pt x="991188" y="4507265"/>
                  <a:pt x="995885" y="4502567"/>
                  <a:pt x="995885" y="4502567"/>
                </a:cubicBezTo>
                <a:close/>
                <a:moveTo>
                  <a:pt x="1157945" y="4502566"/>
                </a:moveTo>
                <a:lnTo>
                  <a:pt x="1167341" y="4502566"/>
                </a:lnTo>
                <a:lnTo>
                  <a:pt x="1172038" y="4509612"/>
                </a:lnTo>
                <a:lnTo>
                  <a:pt x="1167341" y="4514310"/>
                </a:lnTo>
                <a:lnTo>
                  <a:pt x="1157945" y="4514310"/>
                </a:lnTo>
                <a:lnTo>
                  <a:pt x="1153246" y="4509612"/>
                </a:lnTo>
                <a:close/>
                <a:moveTo>
                  <a:pt x="901929" y="4502566"/>
                </a:moveTo>
                <a:lnTo>
                  <a:pt x="911321" y="4502566"/>
                </a:lnTo>
                <a:cubicBezTo>
                  <a:pt x="911321" y="4502566"/>
                  <a:pt x="913671" y="4504915"/>
                  <a:pt x="916021" y="4507264"/>
                </a:cubicBezTo>
                <a:lnTo>
                  <a:pt x="920715" y="4514310"/>
                </a:lnTo>
                <a:lnTo>
                  <a:pt x="918366" y="4523705"/>
                </a:lnTo>
                <a:lnTo>
                  <a:pt x="908971" y="4523705"/>
                </a:lnTo>
                <a:lnTo>
                  <a:pt x="899579" y="4507264"/>
                </a:lnTo>
                <a:cubicBezTo>
                  <a:pt x="899579" y="4507264"/>
                  <a:pt x="901929" y="4504915"/>
                  <a:pt x="901929" y="4502566"/>
                </a:cubicBezTo>
                <a:close/>
                <a:moveTo>
                  <a:pt x="2616520" y="4500218"/>
                </a:moveTo>
                <a:cubicBezTo>
                  <a:pt x="2609474" y="4507265"/>
                  <a:pt x="2602427" y="4514311"/>
                  <a:pt x="2602427" y="4519009"/>
                </a:cubicBezTo>
                <a:cubicBezTo>
                  <a:pt x="2609474" y="4519009"/>
                  <a:pt x="2618869" y="4516660"/>
                  <a:pt x="2628264" y="4514311"/>
                </a:cubicBezTo>
                <a:cubicBezTo>
                  <a:pt x="2621218" y="4507265"/>
                  <a:pt x="2618869" y="4502567"/>
                  <a:pt x="2616520" y="4500218"/>
                </a:cubicBezTo>
                <a:close/>
                <a:moveTo>
                  <a:pt x="1118018" y="4500218"/>
                </a:moveTo>
                <a:lnTo>
                  <a:pt x="1129760" y="4500218"/>
                </a:lnTo>
                <a:cubicBezTo>
                  <a:pt x="1129760" y="4500218"/>
                  <a:pt x="1132110" y="4502567"/>
                  <a:pt x="1134461" y="4504916"/>
                </a:cubicBezTo>
                <a:lnTo>
                  <a:pt x="1146203" y="4526054"/>
                </a:lnTo>
                <a:cubicBezTo>
                  <a:pt x="1146203" y="4528403"/>
                  <a:pt x="1148548" y="4530752"/>
                  <a:pt x="1148548" y="4533101"/>
                </a:cubicBezTo>
                <a:cubicBezTo>
                  <a:pt x="1146203" y="4537798"/>
                  <a:pt x="1139154" y="4542496"/>
                  <a:pt x="1134461" y="4542496"/>
                </a:cubicBezTo>
                <a:lnTo>
                  <a:pt x="1127410" y="4526054"/>
                </a:lnTo>
                <a:close/>
                <a:moveTo>
                  <a:pt x="786838" y="4497868"/>
                </a:moveTo>
                <a:lnTo>
                  <a:pt x="791539" y="4504914"/>
                </a:lnTo>
                <a:lnTo>
                  <a:pt x="791539" y="4511961"/>
                </a:lnTo>
                <a:lnTo>
                  <a:pt x="786838" y="4516658"/>
                </a:lnTo>
                <a:close/>
                <a:moveTo>
                  <a:pt x="2611823" y="4495521"/>
                </a:moveTo>
                <a:cubicBezTo>
                  <a:pt x="2581289" y="4509613"/>
                  <a:pt x="2541359" y="4514311"/>
                  <a:pt x="2524918" y="4540147"/>
                </a:cubicBezTo>
                <a:cubicBezTo>
                  <a:pt x="2562498" y="4533101"/>
                  <a:pt x="2595381" y="4523706"/>
                  <a:pt x="2611823" y="4495521"/>
                </a:cubicBezTo>
                <a:close/>
                <a:moveTo>
                  <a:pt x="2830260" y="4493172"/>
                </a:moveTo>
                <a:cubicBezTo>
                  <a:pt x="2825561" y="4495521"/>
                  <a:pt x="2818515" y="4495521"/>
                  <a:pt x="2813818" y="4497869"/>
                </a:cubicBezTo>
                <a:lnTo>
                  <a:pt x="2816166" y="4500218"/>
                </a:lnTo>
                <a:lnTo>
                  <a:pt x="2811469" y="4507265"/>
                </a:lnTo>
                <a:lnTo>
                  <a:pt x="2804424" y="4500218"/>
                </a:lnTo>
                <a:cubicBezTo>
                  <a:pt x="2792680" y="4502567"/>
                  <a:pt x="2780935" y="4502567"/>
                  <a:pt x="2771540" y="4497869"/>
                </a:cubicBezTo>
                <a:cubicBezTo>
                  <a:pt x="2766842" y="4497869"/>
                  <a:pt x="2764493" y="4500218"/>
                  <a:pt x="2759797" y="4500218"/>
                </a:cubicBezTo>
                <a:cubicBezTo>
                  <a:pt x="2759797" y="4507265"/>
                  <a:pt x="2764493" y="4514311"/>
                  <a:pt x="2764493" y="4519009"/>
                </a:cubicBezTo>
                <a:cubicBezTo>
                  <a:pt x="2797376" y="4511962"/>
                  <a:pt x="2825561" y="4507265"/>
                  <a:pt x="2863142" y="4495521"/>
                </a:cubicBezTo>
                <a:cubicBezTo>
                  <a:pt x="2863142" y="4493172"/>
                  <a:pt x="2863142" y="4493172"/>
                  <a:pt x="2863142" y="4493172"/>
                </a:cubicBezTo>
                <a:cubicBezTo>
                  <a:pt x="2849049" y="4493172"/>
                  <a:pt x="2839654" y="4493172"/>
                  <a:pt x="2830260" y="4493172"/>
                </a:cubicBezTo>
                <a:close/>
                <a:moveTo>
                  <a:pt x="1348194" y="4490822"/>
                </a:moveTo>
                <a:cubicBezTo>
                  <a:pt x="1350542" y="4490822"/>
                  <a:pt x="1352892" y="4495520"/>
                  <a:pt x="1352892" y="4497868"/>
                </a:cubicBezTo>
                <a:cubicBezTo>
                  <a:pt x="1352892" y="4507264"/>
                  <a:pt x="1341149" y="4516659"/>
                  <a:pt x="1338799" y="4516659"/>
                </a:cubicBezTo>
                <a:cubicBezTo>
                  <a:pt x="1334102" y="4516659"/>
                  <a:pt x="1331752" y="4514310"/>
                  <a:pt x="1329406" y="4514310"/>
                </a:cubicBezTo>
                <a:cubicBezTo>
                  <a:pt x="1327056" y="4514310"/>
                  <a:pt x="1327056" y="4514310"/>
                  <a:pt x="1327056" y="4514310"/>
                </a:cubicBezTo>
                <a:cubicBezTo>
                  <a:pt x="1324706" y="4516659"/>
                  <a:pt x="1324706" y="4521356"/>
                  <a:pt x="1324706" y="4523705"/>
                </a:cubicBezTo>
                <a:cubicBezTo>
                  <a:pt x="1322358" y="4533100"/>
                  <a:pt x="1320009" y="4540147"/>
                  <a:pt x="1317659" y="4549542"/>
                </a:cubicBezTo>
                <a:cubicBezTo>
                  <a:pt x="1345844" y="4594169"/>
                  <a:pt x="1308264" y="4521356"/>
                  <a:pt x="1338799" y="4533100"/>
                </a:cubicBezTo>
                <a:cubicBezTo>
                  <a:pt x="1343499" y="4535449"/>
                  <a:pt x="1345844" y="4540147"/>
                  <a:pt x="1345844" y="4542495"/>
                </a:cubicBezTo>
                <a:cubicBezTo>
                  <a:pt x="1345844" y="4547193"/>
                  <a:pt x="1343499" y="4549542"/>
                  <a:pt x="1343499" y="4551890"/>
                </a:cubicBezTo>
                <a:cubicBezTo>
                  <a:pt x="1343499" y="4556588"/>
                  <a:pt x="1345844" y="4558937"/>
                  <a:pt x="1345844" y="4561285"/>
                </a:cubicBezTo>
                <a:cubicBezTo>
                  <a:pt x="1336448" y="4565983"/>
                  <a:pt x="1324706" y="4584773"/>
                  <a:pt x="1320009" y="4584773"/>
                </a:cubicBezTo>
                <a:cubicBezTo>
                  <a:pt x="1315314" y="4587122"/>
                  <a:pt x="1312964" y="4584773"/>
                  <a:pt x="1310613" y="4584773"/>
                </a:cubicBezTo>
                <a:cubicBezTo>
                  <a:pt x="1310613" y="4584773"/>
                  <a:pt x="1298871" y="4591820"/>
                  <a:pt x="1291823" y="4596517"/>
                </a:cubicBezTo>
                <a:lnTo>
                  <a:pt x="1294172" y="4570681"/>
                </a:lnTo>
                <a:cubicBezTo>
                  <a:pt x="1289474" y="4568332"/>
                  <a:pt x="1287129" y="4568332"/>
                  <a:pt x="1284778" y="4565983"/>
                </a:cubicBezTo>
                <a:cubicBezTo>
                  <a:pt x="1280079" y="4563634"/>
                  <a:pt x="1277730" y="4556588"/>
                  <a:pt x="1273032" y="4554239"/>
                </a:cubicBezTo>
                <a:cubicBezTo>
                  <a:pt x="1268336" y="4551890"/>
                  <a:pt x="1261288" y="4558937"/>
                  <a:pt x="1256593" y="4554239"/>
                </a:cubicBezTo>
                <a:cubicBezTo>
                  <a:pt x="1254243" y="4551890"/>
                  <a:pt x="1254243" y="4547193"/>
                  <a:pt x="1254243" y="4544844"/>
                </a:cubicBezTo>
                <a:cubicBezTo>
                  <a:pt x="1256593" y="4530752"/>
                  <a:pt x="1273032" y="4514310"/>
                  <a:pt x="1284778" y="4514310"/>
                </a:cubicBezTo>
                <a:cubicBezTo>
                  <a:pt x="1294172" y="4511961"/>
                  <a:pt x="1301221" y="4521356"/>
                  <a:pt x="1310613" y="4521356"/>
                </a:cubicBezTo>
                <a:cubicBezTo>
                  <a:pt x="1317659" y="4521356"/>
                  <a:pt x="1320009" y="4502566"/>
                  <a:pt x="1320009" y="4502566"/>
                </a:cubicBezTo>
                <a:cubicBezTo>
                  <a:pt x="1327056" y="4497868"/>
                  <a:pt x="1336448" y="4493171"/>
                  <a:pt x="1348194" y="4490822"/>
                </a:cubicBezTo>
                <a:close/>
                <a:moveTo>
                  <a:pt x="829124" y="4486125"/>
                </a:moveTo>
                <a:lnTo>
                  <a:pt x="845567" y="4486125"/>
                </a:lnTo>
                <a:cubicBezTo>
                  <a:pt x="847912" y="4490823"/>
                  <a:pt x="852609" y="4490823"/>
                  <a:pt x="852609" y="4495520"/>
                </a:cubicBezTo>
                <a:cubicBezTo>
                  <a:pt x="852609" y="4495520"/>
                  <a:pt x="847912" y="4502566"/>
                  <a:pt x="845567" y="4504915"/>
                </a:cubicBezTo>
                <a:lnTo>
                  <a:pt x="838520" y="4514310"/>
                </a:lnTo>
                <a:cubicBezTo>
                  <a:pt x="833817" y="4514310"/>
                  <a:pt x="831469" y="4516659"/>
                  <a:pt x="829124" y="4514310"/>
                </a:cubicBezTo>
                <a:cubicBezTo>
                  <a:pt x="829124" y="4514310"/>
                  <a:pt x="826774" y="4511962"/>
                  <a:pt x="826774" y="4511962"/>
                </a:cubicBezTo>
                <a:lnTo>
                  <a:pt x="812682" y="4502566"/>
                </a:lnTo>
                <a:cubicBezTo>
                  <a:pt x="817373" y="4502566"/>
                  <a:pt x="819724" y="4502566"/>
                  <a:pt x="822077" y="4502566"/>
                </a:cubicBezTo>
                <a:cubicBezTo>
                  <a:pt x="824424" y="4495520"/>
                  <a:pt x="824424" y="4490823"/>
                  <a:pt x="829124" y="4486125"/>
                </a:cubicBezTo>
                <a:close/>
                <a:moveTo>
                  <a:pt x="1446842" y="4483777"/>
                </a:moveTo>
                <a:lnTo>
                  <a:pt x="1439797" y="4486125"/>
                </a:lnTo>
                <a:lnTo>
                  <a:pt x="1446842" y="4490823"/>
                </a:lnTo>
                <a:lnTo>
                  <a:pt x="1451539" y="4486125"/>
                </a:lnTo>
                <a:close/>
                <a:moveTo>
                  <a:pt x="5622957" y="4483776"/>
                </a:moveTo>
                <a:cubicBezTo>
                  <a:pt x="5622957" y="4483776"/>
                  <a:pt x="5625306" y="4483776"/>
                  <a:pt x="5627655" y="4483776"/>
                </a:cubicBezTo>
                <a:cubicBezTo>
                  <a:pt x="5625306" y="4486125"/>
                  <a:pt x="5625306" y="4486125"/>
                  <a:pt x="5622957" y="4486125"/>
                </a:cubicBezTo>
                <a:cubicBezTo>
                  <a:pt x="5622957" y="4486125"/>
                  <a:pt x="5622957" y="4483776"/>
                  <a:pt x="5622957" y="4483776"/>
                </a:cubicBezTo>
                <a:close/>
                <a:moveTo>
                  <a:pt x="2618869" y="4481428"/>
                </a:moveTo>
                <a:cubicBezTo>
                  <a:pt x="2616520" y="4483777"/>
                  <a:pt x="2611823" y="4486125"/>
                  <a:pt x="2609474" y="4488474"/>
                </a:cubicBezTo>
                <a:cubicBezTo>
                  <a:pt x="2611823" y="4488474"/>
                  <a:pt x="2614172" y="4486125"/>
                  <a:pt x="2616520" y="4486125"/>
                </a:cubicBezTo>
                <a:cubicBezTo>
                  <a:pt x="2618869" y="4483777"/>
                  <a:pt x="2618869" y="4483777"/>
                  <a:pt x="2618869" y="4481428"/>
                </a:cubicBezTo>
                <a:close/>
                <a:moveTo>
                  <a:pt x="880786" y="4481427"/>
                </a:moveTo>
                <a:cubicBezTo>
                  <a:pt x="880786" y="4481427"/>
                  <a:pt x="883136" y="4483776"/>
                  <a:pt x="885486" y="4486125"/>
                </a:cubicBezTo>
                <a:lnTo>
                  <a:pt x="890181" y="4493171"/>
                </a:lnTo>
                <a:lnTo>
                  <a:pt x="887836" y="4504915"/>
                </a:lnTo>
                <a:lnTo>
                  <a:pt x="880786" y="4507264"/>
                </a:lnTo>
                <a:cubicBezTo>
                  <a:pt x="880786" y="4507264"/>
                  <a:pt x="878437" y="4504915"/>
                  <a:pt x="876088" y="4502566"/>
                </a:cubicBezTo>
                <a:lnTo>
                  <a:pt x="871394" y="4490822"/>
                </a:lnTo>
                <a:cubicBezTo>
                  <a:pt x="878437" y="4483776"/>
                  <a:pt x="878437" y="4483776"/>
                  <a:pt x="880786" y="4481427"/>
                </a:cubicBezTo>
                <a:close/>
                <a:moveTo>
                  <a:pt x="777446" y="4481427"/>
                </a:moveTo>
                <a:lnTo>
                  <a:pt x="782138" y="4486125"/>
                </a:lnTo>
                <a:lnTo>
                  <a:pt x="777446" y="4495520"/>
                </a:lnTo>
                <a:lnTo>
                  <a:pt x="772746" y="4486125"/>
                </a:lnTo>
                <a:close/>
                <a:moveTo>
                  <a:pt x="2698728" y="4479079"/>
                </a:moveTo>
                <a:cubicBezTo>
                  <a:pt x="2694030" y="4481428"/>
                  <a:pt x="2691681" y="4481428"/>
                  <a:pt x="2686984" y="4481428"/>
                </a:cubicBezTo>
                <a:cubicBezTo>
                  <a:pt x="2686984" y="4483777"/>
                  <a:pt x="2686984" y="4486125"/>
                  <a:pt x="2684635" y="4486125"/>
                </a:cubicBezTo>
                <a:cubicBezTo>
                  <a:pt x="2682286" y="4488474"/>
                  <a:pt x="2677588" y="4483777"/>
                  <a:pt x="2675240" y="4486125"/>
                </a:cubicBezTo>
                <a:cubicBezTo>
                  <a:pt x="2668193" y="4488474"/>
                  <a:pt x="2665845" y="4504916"/>
                  <a:pt x="2658799" y="4502567"/>
                </a:cubicBezTo>
                <a:cubicBezTo>
                  <a:pt x="2654101" y="4500218"/>
                  <a:pt x="2651752" y="4495521"/>
                  <a:pt x="2649403" y="4490823"/>
                </a:cubicBezTo>
                <a:cubicBezTo>
                  <a:pt x="2647054" y="4493172"/>
                  <a:pt x="2642357" y="4493172"/>
                  <a:pt x="2642357" y="4495521"/>
                </a:cubicBezTo>
                <a:cubicBezTo>
                  <a:pt x="2642357" y="4495521"/>
                  <a:pt x="2649403" y="4502567"/>
                  <a:pt x="2656449" y="4509613"/>
                </a:cubicBezTo>
                <a:cubicBezTo>
                  <a:pt x="2668193" y="4507265"/>
                  <a:pt x="2682286" y="4504916"/>
                  <a:pt x="2694030" y="4502567"/>
                </a:cubicBezTo>
                <a:cubicBezTo>
                  <a:pt x="2691681" y="4495521"/>
                  <a:pt x="2689332" y="4490823"/>
                  <a:pt x="2691681" y="4486125"/>
                </a:cubicBezTo>
                <a:cubicBezTo>
                  <a:pt x="2691681" y="4483777"/>
                  <a:pt x="2698728" y="4481428"/>
                  <a:pt x="2698728" y="4479079"/>
                </a:cubicBezTo>
                <a:close/>
                <a:moveTo>
                  <a:pt x="1693472" y="4476730"/>
                </a:moveTo>
                <a:lnTo>
                  <a:pt x="1700516" y="4483776"/>
                </a:lnTo>
                <a:lnTo>
                  <a:pt x="1709910" y="4481428"/>
                </a:lnTo>
                <a:lnTo>
                  <a:pt x="1693472" y="4488474"/>
                </a:lnTo>
                <a:lnTo>
                  <a:pt x="1691121" y="4483776"/>
                </a:lnTo>
                <a:close/>
                <a:moveTo>
                  <a:pt x="1601861" y="4472032"/>
                </a:moveTo>
                <a:lnTo>
                  <a:pt x="1606559" y="4481427"/>
                </a:lnTo>
                <a:lnTo>
                  <a:pt x="1599515" y="4490822"/>
                </a:lnTo>
                <a:lnTo>
                  <a:pt x="1590118" y="4500217"/>
                </a:lnTo>
                <a:lnTo>
                  <a:pt x="1590118" y="4497868"/>
                </a:lnTo>
                <a:lnTo>
                  <a:pt x="1585423" y="4490822"/>
                </a:lnTo>
                <a:close/>
                <a:moveTo>
                  <a:pt x="862010" y="4469683"/>
                </a:moveTo>
                <a:lnTo>
                  <a:pt x="869052" y="4479078"/>
                </a:lnTo>
                <a:lnTo>
                  <a:pt x="862010" y="4481427"/>
                </a:lnTo>
                <a:close/>
                <a:moveTo>
                  <a:pt x="3062788" y="4467335"/>
                </a:moveTo>
                <a:cubicBezTo>
                  <a:pt x="3053393" y="4490823"/>
                  <a:pt x="3027557" y="4507265"/>
                  <a:pt x="3046347" y="4521357"/>
                </a:cubicBezTo>
                <a:cubicBezTo>
                  <a:pt x="3055742" y="4504916"/>
                  <a:pt x="3095671" y="4483777"/>
                  <a:pt x="3062788" y="4467335"/>
                </a:cubicBezTo>
                <a:close/>
                <a:moveTo>
                  <a:pt x="946559" y="4467334"/>
                </a:moveTo>
                <a:lnTo>
                  <a:pt x="955958" y="4472032"/>
                </a:lnTo>
                <a:lnTo>
                  <a:pt x="953607" y="4481427"/>
                </a:lnTo>
                <a:lnTo>
                  <a:pt x="946559" y="4488473"/>
                </a:lnTo>
                <a:lnTo>
                  <a:pt x="941860" y="4481427"/>
                </a:lnTo>
                <a:lnTo>
                  <a:pt x="941860" y="4472032"/>
                </a:lnTo>
                <a:close/>
                <a:moveTo>
                  <a:pt x="1118018" y="4462637"/>
                </a:moveTo>
                <a:lnTo>
                  <a:pt x="1127410" y="4462637"/>
                </a:lnTo>
                <a:cubicBezTo>
                  <a:pt x="1127410" y="4462637"/>
                  <a:pt x="1129760" y="4464986"/>
                  <a:pt x="1129760" y="4464986"/>
                </a:cubicBezTo>
                <a:lnTo>
                  <a:pt x="1132110" y="4474381"/>
                </a:lnTo>
                <a:lnTo>
                  <a:pt x="1127410" y="4481427"/>
                </a:lnTo>
                <a:lnTo>
                  <a:pt x="1120362" y="4474381"/>
                </a:lnTo>
                <a:lnTo>
                  <a:pt x="1115668" y="4464986"/>
                </a:lnTo>
                <a:cubicBezTo>
                  <a:pt x="1115668" y="4464986"/>
                  <a:pt x="1118018" y="4462637"/>
                  <a:pt x="1118018" y="4462637"/>
                </a:cubicBezTo>
                <a:close/>
                <a:moveTo>
                  <a:pt x="880786" y="4462637"/>
                </a:moveTo>
                <a:lnTo>
                  <a:pt x="904274" y="4479078"/>
                </a:lnTo>
                <a:lnTo>
                  <a:pt x="904274" y="4490822"/>
                </a:lnTo>
                <a:cubicBezTo>
                  <a:pt x="899579" y="4490822"/>
                  <a:pt x="897229" y="4490822"/>
                  <a:pt x="894879" y="4490822"/>
                </a:cubicBezTo>
                <a:lnTo>
                  <a:pt x="890187" y="4481427"/>
                </a:lnTo>
                <a:cubicBezTo>
                  <a:pt x="890187" y="4481427"/>
                  <a:pt x="887836" y="4479078"/>
                  <a:pt x="887836" y="4479078"/>
                </a:cubicBezTo>
                <a:cubicBezTo>
                  <a:pt x="883136" y="4476730"/>
                  <a:pt x="880786" y="4479078"/>
                  <a:pt x="878438" y="4476730"/>
                </a:cubicBezTo>
                <a:cubicBezTo>
                  <a:pt x="878438" y="4476730"/>
                  <a:pt x="876088" y="4474381"/>
                  <a:pt x="873744" y="4472032"/>
                </a:cubicBezTo>
                <a:close/>
                <a:moveTo>
                  <a:pt x="2644706" y="4460289"/>
                </a:moveTo>
                <a:cubicBezTo>
                  <a:pt x="2642357" y="4462638"/>
                  <a:pt x="2637659" y="4464987"/>
                  <a:pt x="2635310" y="4464987"/>
                </a:cubicBezTo>
                <a:lnTo>
                  <a:pt x="2640008" y="4464987"/>
                </a:lnTo>
                <a:cubicBezTo>
                  <a:pt x="2640008" y="4464987"/>
                  <a:pt x="2642357" y="4462638"/>
                  <a:pt x="2644706" y="4460289"/>
                </a:cubicBezTo>
                <a:close/>
                <a:moveTo>
                  <a:pt x="2597730" y="4460289"/>
                </a:moveTo>
                <a:cubicBezTo>
                  <a:pt x="2593033" y="4462638"/>
                  <a:pt x="2588336" y="4462638"/>
                  <a:pt x="2588336" y="4467335"/>
                </a:cubicBezTo>
                <a:lnTo>
                  <a:pt x="2593033" y="4472033"/>
                </a:lnTo>
                <a:lnTo>
                  <a:pt x="2585986" y="4479079"/>
                </a:lnTo>
                <a:lnTo>
                  <a:pt x="2576591" y="4481428"/>
                </a:lnTo>
                <a:lnTo>
                  <a:pt x="2574242" y="4476731"/>
                </a:lnTo>
                <a:cubicBezTo>
                  <a:pt x="2548406" y="4490823"/>
                  <a:pt x="2524918" y="4509613"/>
                  <a:pt x="2501430" y="4521357"/>
                </a:cubicBezTo>
                <a:cubicBezTo>
                  <a:pt x="2503779" y="4521357"/>
                  <a:pt x="2503779" y="4523706"/>
                  <a:pt x="2503779" y="4523706"/>
                </a:cubicBezTo>
                <a:cubicBezTo>
                  <a:pt x="2503779" y="4526055"/>
                  <a:pt x="2506128" y="4530753"/>
                  <a:pt x="2506128" y="4533101"/>
                </a:cubicBezTo>
                <a:cubicBezTo>
                  <a:pt x="2539011" y="4516660"/>
                  <a:pt x="2571893" y="4500218"/>
                  <a:pt x="2602427" y="4481428"/>
                </a:cubicBezTo>
                <a:lnTo>
                  <a:pt x="2595381" y="4481428"/>
                </a:lnTo>
                <a:cubicBezTo>
                  <a:pt x="2595381" y="4481428"/>
                  <a:pt x="2597730" y="4474382"/>
                  <a:pt x="2600079" y="4469684"/>
                </a:cubicBezTo>
                <a:lnTo>
                  <a:pt x="2607125" y="4462638"/>
                </a:lnTo>
                <a:close/>
                <a:moveTo>
                  <a:pt x="1336450" y="4457939"/>
                </a:moveTo>
                <a:cubicBezTo>
                  <a:pt x="1336450" y="4457939"/>
                  <a:pt x="1341149" y="4464985"/>
                  <a:pt x="1343499" y="4467334"/>
                </a:cubicBezTo>
                <a:lnTo>
                  <a:pt x="1343499" y="4476729"/>
                </a:lnTo>
                <a:lnTo>
                  <a:pt x="1310614" y="4486124"/>
                </a:lnTo>
                <a:cubicBezTo>
                  <a:pt x="1310614" y="4483776"/>
                  <a:pt x="1308265" y="4483776"/>
                  <a:pt x="1308265" y="4483776"/>
                </a:cubicBezTo>
                <a:cubicBezTo>
                  <a:pt x="1308265" y="4483776"/>
                  <a:pt x="1305916" y="4476729"/>
                  <a:pt x="1305916" y="4474380"/>
                </a:cubicBezTo>
                <a:lnTo>
                  <a:pt x="1320009" y="4460288"/>
                </a:lnTo>
                <a:cubicBezTo>
                  <a:pt x="1324706" y="4460288"/>
                  <a:pt x="1327056" y="4462637"/>
                  <a:pt x="1329406" y="4462637"/>
                </a:cubicBezTo>
                <a:cubicBezTo>
                  <a:pt x="1331757" y="4460288"/>
                  <a:pt x="1334100" y="4457939"/>
                  <a:pt x="1336450" y="4457939"/>
                </a:cubicBezTo>
                <a:close/>
                <a:moveTo>
                  <a:pt x="930118" y="4455591"/>
                </a:moveTo>
                <a:cubicBezTo>
                  <a:pt x="934816" y="4453243"/>
                  <a:pt x="944209" y="4460289"/>
                  <a:pt x="941860" y="4460289"/>
                </a:cubicBezTo>
                <a:cubicBezTo>
                  <a:pt x="941860" y="4460289"/>
                  <a:pt x="939515" y="4464987"/>
                  <a:pt x="932467" y="4469684"/>
                </a:cubicBezTo>
                <a:lnTo>
                  <a:pt x="920722" y="4488474"/>
                </a:lnTo>
                <a:lnTo>
                  <a:pt x="925422" y="4462638"/>
                </a:lnTo>
                <a:cubicBezTo>
                  <a:pt x="927768" y="4460289"/>
                  <a:pt x="927768" y="4455591"/>
                  <a:pt x="930118" y="4455591"/>
                </a:cubicBezTo>
                <a:close/>
                <a:moveTo>
                  <a:pt x="2698728" y="4453243"/>
                </a:moveTo>
                <a:lnTo>
                  <a:pt x="2696379" y="4455591"/>
                </a:lnTo>
                <a:lnTo>
                  <a:pt x="2701076" y="4457940"/>
                </a:lnTo>
                <a:lnTo>
                  <a:pt x="2703426" y="4455591"/>
                </a:lnTo>
                <a:cubicBezTo>
                  <a:pt x="2701076" y="4455591"/>
                  <a:pt x="2701076" y="4453243"/>
                  <a:pt x="2698728" y="4453243"/>
                </a:cubicBezTo>
                <a:close/>
                <a:moveTo>
                  <a:pt x="1082783" y="4450894"/>
                </a:moveTo>
                <a:cubicBezTo>
                  <a:pt x="1082783" y="4450894"/>
                  <a:pt x="1089833" y="4453243"/>
                  <a:pt x="1092183" y="4455592"/>
                </a:cubicBezTo>
                <a:lnTo>
                  <a:pt x="1099225" y="4464987"/>
                </a:lnTo>
                <a:lnTo>
                  <a:pt x="1082783" y="4502567"/>
                </a:lnTo>
                <a:cubicBezTo>
                  <a:pt x="1078085" y="4500219"/>
                  <a:pt x="1075736" y="4502567"/>
                  <a:pt x="1073390" y="4500219"/>
                </a:cubicBezTo>
                <a:cubicBezTo>
                  <a:pt x="1073390" y="4500219"/>
                  <a:pt x="1071040" y="4497870"/>
                  <a:pt x="1071040" y="4497870"/>
                </a:cubicBezTo>
                <a:lnTo>
                  <a:pt x="1078085" y="4481428"/>
                </a:lnTo>
                <a:lnTo>
                  <a:pt x="1066340" y="4472033"/>
                </a:lnTo>
                <a:lnTo>
                  <a:pt x="1078085" y="4455592"/>
                </a:lnTo>
                <a:cubicBezTo>
                  <a:pt x="1080434" y="4455592"/>
                  <a:pt x="1080434" y="4453243"/>
                  <a:pt x="1082783" y="4450894"/>
                </a:cubicBezTo>
                <a:close/>
                <a:moveTo>
                  <a:pt x="2632963" y="4448545"/>
                </a:moveTo>
                <a:lnTo>
                  <a:pt x="2621218" y="4453243"/>
                </a:lnTo>
                <a:lnTo>
                  <a:pt x="2623567" y="4462638"/>
                </a:lnTo>
                <a:cubicBezTo>
                  <a:pt x="2630613" y="4460289"/>
                  <a:pt x="2637659" y="4455591"/>
                  <a:pt x="2644706" y="4450894"/>
                </a:cubicBezTo>
                <a:lnTo>
                  <a:pt x="2642357" y="4448545"/>
                </a:lnTo>
                <a:cubicBezTo>
                  <a:pt x="2637659" y="4448545"/>
                  <a:pt x="2635310" y="4448545"/>
                  <a:pt x="2632963" y="4448545"/>
                </a:cubicBezTo>
                <a:close/>
                <a:moveTo>
                  <a:pt x="5714560" y="4446195"/>
                </a:moveTo>
                <a:cubicBezTo>
                  <a:pt x="5723955" y="4450893"/>
                  <a:pt x="5731002" y="4453241"/>
                  <a:pt x="5745094" y="4448544"/>
                </a:cubicBezTo>
                <a:cubicBezTo>
                  <a:pt x="5745094" y="4469683"/>
                  <a:pt x="5712212" y="4472032"/>
                  <a:pt x="5714560" y="4446195"/>
                </a:cubicBezTo>
                <a:close/>
                <a:moveTo>
                  <a:pt x="2795027" y="4443847"/>
                </a:moveTo>
                <a:cubicBezTo>
                  <a:pt x="2795027" y="4443847"/>
                  <a:pt x="2792680" y="4443847"/>
                  <a:pt x="2790330" y="4446196"/>
                </a:cubicBezTo>
                <a:lnTo>
                  <a:pt x="2792680" y="4450894"/>
                </a:lnTo>
                <a:lnTo>
                  <a:pt x="2797376" y="4450894"/>
                </a:lnTo>
                <a:cubicBezTo>
                  <a:pt x="2797376" y="4448545"/>
                  <a:pt x="2795027" y="4446196"/>
                  <a:pt x="2795027" y="4443847"/>
                </a:cubicBezTo>
                <a:close/>
                <a:moveTo>
                  <a:pt x="2764493" y="4443847"/>
                </a:moveTo>
                <a:cubicBezTo>
                  <a:pt x="2764493" y="4455591"/>
                  <a:pt x="2769191" y="4460289"/>
                  <a:pt x="2776237" y="4462638"/>
                </a:cubicBezTo>
                <a:cubicBezTo>
                  <a:pt x="2778586" y="4462638"/>
                  <a:pt x="2783284" y="4462638"/>
                  <a:pt x="2787981" y="4462638"/>
                </a:cubicBezTo>
                <a:cubicBezTo>
                  <a:pt x="2790330" y="4460289"/>
                  <a:pt x="2790330" y="4457940"/>
                  <a:pt x="2792680" y="4457940"/>
                </a:cubicBezTo>
                <a:cubicBezTo>
                  <a:pt x="2787981" y="4455591"/>
                  <a:pt x="2780935" y="4450894"/>
                  <a:pt x="2771540" y="4443847"/>
                </a:cubicBezTo>
                <a:cubicBezTo>
                  <a:pt x="2769191" y="4443847"/>
                  <a:pt x="2766842" y="4443847"/>
                  <a:pt x="2764493" y="4443847"/>
                </a:cubicBezTo>
                <a:close/>
                <a:moveTo>
                  <a:pt x="1470332" y="4443846"/>
                </a:moveTo>
                <a:lnTo>
                  <a:pt x="1479726" y="4443846"/>
                </a:lnTo>
                <a:lnTo>
                  <a:pt x="1479726" y="4460288"/>
                </a:lnTo>
                <a:lnTo>
                  <a:pt x="1470332" y="4460288"/>
                </a:lnTo>
                <a:lnTo>
                  <a:pt x="1463283" y="4455590"/>
                </a:lnTo>
                <a:lnTo>
                  <a:pt x="1463283" y="4453242"/>
                </a:lnTo>
                <a:lnTo>
                  <a:pt x="1463283" y="4448544"/>
                </a:lnTo>
                <a:cubicBezTo>
                  <a:pt x="1463283" y="4448544"/>
                  <a:pt x="1463283" y="4446195"/>
                  <a:pt x="1463283" y="4446195"/>
                </a:cubicBezTo>
                <a:close/>
                <a:moveTo>
                  <a:pt x="1040505" y="4441499"/>
                </a:moveTo>
                <a:cubicBezTo>
                  <a:pt x="1042855" y="4441499"/>
                  <a:pt x="1054598" y="4457940"/>
                  <a:pt x="1054598" y="4464987"/>
                </a:cubicBezTo>
                <a:cubicBezTo>
                  <a:pt x="1054598" y="4481428"/>
                  <a:pt x="1035807" y="4486126"/>
                  <a:pt x="1031108" y="4483777"/>
                </a:cubicBezTo>
                <a:cubicBezTo>
                  <a:pt x="1031108" y="4483777"/>
                  <a:pt x="1031108" y="4481428"/>
                  <a:pt x="1031108" y="4481428"/>
                </a:cubicBezTo>
                <a:lnTo>
                  <a:pt x="1014665" y="4469684"/>
                </a:lnTo>
                <a:cubicBezTo>
                  <a:pt x="1014665" y="4467335"/>
                  <a:pt x="1009969" y="4464987"/>
                  <a:pt x="1009969" y="4462638"/>
                </a:cubicBezTo>
                <a:cubicBezTo>
                  <a:pt x="1009969" y="4457940"/>
                  <a:pt x="1012319" y="4455592"/>
                  <a:pt x="1014665" y="4455592"/>
                </a:cubicBezTo>
                <a:cubicBezTo>
                  <a:pt x="1019364" y="4455592"/>
                  <a:pt x="1028762" y="4460289"/>
                  <a:pt x="1028762" y="4462638"/>
                </a:cubicBezTo>
                <a:cubicBezTo>
                  <a:pt x="1028762" y="4467335"/>
                  <a:pt x="1024062" y="4469684"/>
                  <a:pt x="1024062" y="4472033"/>
                </a:cubicBezTo>
                <a:cubicBezTo>
                  <a:pt x="1026412" y="4476731"/>
                  <a:pt x="1035807" y="4481428"/>
                  <a:pt x="1040505" y="4479079"/>
                </a:cubicBezTo>
                <a:cubicBezTo>
                  <a:pt x="1040505" y="4479079"/>
                  <a:pt x="1042855" y="4474382"/>
                  <a:pt x="1045205" y="4472033"/>
                </a:cubicBezTo>
                <a:lnTo>
                  <a:pt x="1031108" y="4448545"/>
                </a:lnTo>
                <a:cubicBezTo>
                  <a:pt x="1031108" y="4448545"/>
                  <a:pt x="1031108" y="4446197"/>
                  <a:pt x="1031108" y="4446197"/>
                </a:cubicBezTo>
                <a:cubicBezTo>
                  <a:pt x="1033457" y="4443848"/>
                  <a:pt x="1038154" y="4441499"/>
                  <a:pt x="1040505" y="4441499"/>
                </a:cubicBezTo>
                <a:close/>
                <a:moveTo>
                  <a:pt x="796234" y="4432103"/>
                </a:moveTo>
                <a:lnTo>
                  <a:pt x="800931" y="4436801"/>
                </a:lnTo>
                <a:lnTo>
                  <a:pt x="796234" y="4443847"/>
                </a:lnTo>
                <a:lnTo>
                  <a:pt x="791539" y="4436801"/>
                </a:lnTo>
                <a:close/>
                <a:moveTo>
                  <a:pt x="1381077" y="4429755"/>
                </a:moveTo>
                <a:cubicBezTo>
                  <a:pt x="1381077" y="4432104"/>
                  <a:pt x="1381077" y="4434453"/>
                  <a:pt x="1381077" y="4434453"/>
                </a:cubicBezTo>
                <a:cubicBezTo>
                  <a:pt x="1381077" y="4436801"/>
                  <a:pt x="1378728" y="4439150"/>
                  <a:pt x="1378728" y="4441499"/>
                </a:cubicBezTo>
                <a:cubicBezTo>
                  <a:pt x="1378728" y="4443848"/>
                  <a:pt x="1390472" y="4469684"/>
                  <a:pt x="1395170" y="4469684"/>
                </a:cubicBezTo>
                <a:cubicBezTo>
                  <a:pt x="1399869" y="4472033"/>
                  <a:pt x="1409262" y="4467335"/>
                  <a:pt x="1418657" y="4450894"/>
                </a:cubicBezTo>
                <a:cubicBezTo>
                  <a:pt x="1421006" y="4446196"/>
                  <a:pt x="1423355" y="4439150"/>
                  <a:pt x="1428054" y="4439150"/>
                </a:cubicBezTo>
                <a:cubicBezTo>
                  <a:pt x="1430400" y="4439150"/>
                  <a:pt x="1432749" y="4441499"/>
                  <a:pt x="1435097" y="4443848"/>
                </a:cubicBezTo>
                <a:cubicBezTo>
                  <a:pt x="1435097" y="4443848"/>
                  <a:pt x="1437447" y="4457940"/>
                  <a:pt x="1428054" y="4469684"/>
                </a:cubicBezTo>
                <a:lnTo>
                  <a:pt x="1418657" y="4490823"/>
                </a:lnTo>
                <a:lnTo>
                  <a:pt x="1385777" y="4483777"/>
                </a:lnTo>
                <a:cubicBezTo>
                  <a:pt x="1385777" y="4488475"/>
                  <a:pt x="1383426" y="4490823"/>
                  <a:pt x="1383426" y="4495521"/>
                </a:cubicBezTo>
                <a:cubicBezTo>
                  <a:pt x="1383426" y="4497870"/>
                  <a:pt x="1383426" y="4500218"/>
                  <a:pt x="1392820" y="4500218"/>
                </a:cubicBezTo>
                <a:cubicBezTo>
                  <a:pt x="1397519" y="4500218"/>
                  <a:pt x="1399869" y="4497870"/>
                  <a:pt x="1402219" y="4500218"/>
                </a:cubicBezTo>
                <a:cubicBezTo>
                  <a:pt x="1404570" y="4500218"/>
                  <a:pt x="1406914" y="4502567"/>
                  <a:pt x="1406914" y="4504916"/>
                </a:cubicBezTo>
                <a:cubicBezTo>
                  <a:pt x="1406914" y="4509613"/>
                  <a:pt x="1404570" y="4511962"/>
                  <a:pt x="1395170" y="4514311"/>
                </a:cubicBezTo>
                <a:cubicBezTo>
                  <a:pt x="1388127" y="4516660"/>
                  <a:pt x="1378728" y="4509613"/>
                  <a:pt x="1374029" y="4514311"/>
                </a:cubicBezTo>
                <a:cubicBezTo>
                  <a:pt x="1371684" y="4516660"/>
                  <a:pt x="1371684" y="4521357"/>
                  <a:pt x="1369334" y="4523706"/>
                </a:cubicBezTo>
                <a:cubicBezTo>
                  <a:pt x="1364634" y="4526055"/>
                  <a:pt x="1357592" y="4530753"/>
                  <a:pt x="1352891" y="4528404"/>
                </a:cubicBezTo>
                <a:cubicBezTo>
                  <a:pt x="1350542" y="4526055"/>
                  <a:pt x="1348194" y="4523706"/>
                  <a:pt x="1348194" y="4521357"/>
                </a:cubicBezTo>
                <a:cubicBezTo>
                  <a:pt x="1345844" y="4516660"/>
                  <a:pt x="1345844" y="4514311"/>
                  <a:pt x="1348194" y="4511962"/>
                </a:cubicBezTo>
                <a:cubicBezTo>
                  <a:pt x="1348194" y="4511962"/>
                  <a:pt x="1362284" y="4509613"/>
                  <a:pt x="1369334" y="4509613"/>
                </a:cubicBezTo>
                <a:lnTo>
                  <a:pt x="1374029" y="4479079"/>
                </a:lnTo>
                <a:cubicBezTo>
                  <a:pt x="1366984" y="4476731"/>
                  <a:pt x="1357592" y="4472033"/>
                  <a:pt x="1350542" y="4469684"/>
                </a:cubicBezTo>
                <a:cubicBezTo>
                  <a:pt x="1366984" y="4455591"/>
                  <a:pt x="1357592" y="4472033"/>
                  <a:pt x="1371684" y="4432104"/>
                </a:cubicBezTo>
                <a:cubicBezTo>
                  <a:pt x="1376378" y="4432104"/>
                  <a:pt x="1378728" y="4429755"/>
                  <a:pt x="1381077" y="4429755"/>
                </a:cubicBezTo>
                <a:close/>
                <a:moveTo>
                  <a:pt x="1338799" y="4429755"/>
                </a:moveTo>
                <a:cubicBezTo>
                  <a:pt x="1338799" y="4429755"/>
                  <a:pt x="1345844" y="4432104"/>
                  <a:pt x="1348194" y="4434453"/>
                </a:cubicBezTo>
                <a:lnTo>
                  <a:pt x="1348194" y="4450894"/>
                </a:lnTo>
                <a:lnTo>
                  <a:pt x="1322358" y="4448545"/>
                </a:lnTo>
                <a:cubicBezTo>
                  <a:pt x="1317659" y="4448545"/>
                  <a:pt x="1315314" y="4446196"/>
                  <a:pt x="1312964" y="4446196"/>
                </a:cubicBezTo>
                <a:cubicBezTo>
                  <a:pt x="1312964" y="4446196"/>
                  <a:pt x="1310613" y="4450894"/>
                  <a:pt x="1308264" y="4453243"/>
                </a:cubicBezTo>
                <a:lnTo>
                  <a:pt x="1294172" y="4469684"/>
                </a:lnTo>
                <a:lnTo>
                  <a:pt x="1291823" y="4462638"/>
                </a:lnTo>
                <a:cubicBezTo>
                  <a:pt x="1291823" y="4462638"/>
                  <a:pt x="1294172" y="4455591"/>
                  <a:pt x="1296521" y="4453243"/>
                </a:cubicBezTo>
                <a:lnTo>
                  <a:pt x="1301221" y="4436801"/>
                </a:lnTo>
                <a:cubicBezTo>
                  <a:pt x="1303567" y="4436801"/>
                  <a:pt x="1303567" y="4434453"/>
                  <a:pt x="1305916" y="4434453"/>
                </a:cubicBezTo>
                <a:cubicBezTo>
                  <a:pt x="1308264" y="4434453"/>
                  <a:pt x="1310613" y="4434453"/>
                  <a:pt x="1322358" y="4443848"/>
                </a:cubicBezTo>
                <a:cubicBezTo>
                  <a:pt x="1329406" y="4429755"/>
                  <a:pt x="1334100" y="4429755"/>
                  <a:pt x="1338799" y="4429755"/>
                </a:cubicBezTo>
                <a:close/>
                <a:moveTo>
                  <a:pt x="2513174" y="4429754"/>
                </a:moveTo>
                <a:lnTo>
                  <a:pt x="2522569" y="4432103"/>
                </a:lnTo>
                <a:cubicBezTo>
                  <a:pt x="2522569" y="4432103"/>
                  <a:pt x="2529615" y="4439149"/>
                  <a:pt x="2536662" y="4443847"/>
                </a:cubicBezTo>
                <a:lnTo>
                  <a:pt x="2531964" y="4450893"/>
                </a:lnTo>
                <a:lnTo>
                  <a:pt x="2522569" y="4450893"/>
                </a:lnTo>
                <a:lnTo>
                  <a:pt x="2515522" y="4443847"/>
                </a:lnTo>
                <a:cubicBezTo>
                  <a:pt x="2513174" y="4439149"/>
                  <a:pt x="2510825" y="4436800"/>
                  <a:pt x="2508476" y="4436800"/>
                </a:cubicBezTo>
                <a:cubicBezTo>
                  <a:pt x="2508476" y="4436800"/>
                  <a:pt x="2510825" y="4432103"/>
                  <a:pt x="2513174" y="4429754"/>
                </a:cubicBezTo>
                <a:close/>
                <a:moveTo>
                  <a:pt x="1531403" y="4429754"/>
                </a:moveTo>
                <a:lnTo>
                  <a:pt x="1526702" y="4436800"/>
                </a:lnTo>
                <a:lnTo>
                  <a:pt x="1540795" y="4446196"/>
                </a:lnTo>
                <a:lnTo>
                  <a:pt x="1547841" y="4450893"/>
                </a:lnTo>
                <a:cubicBezTo>
                  <a:pt x="1547841" y="4450893"/>
                  <a:pt x="1550190" y="4448545"/>
                  <a:pt x="1550190" y="4446196"/>
                </a:cubicBezTo>
                <a:lnTo>
                  <a:pt x="1545495" y="4436800"/>
                </a:lnTo>
                <a:cubicBezTo>
                  <a:pt x="1545495" y="4436800"/>
                  <a:pt x="1543145" y="4434451"/>
                  <a:pt x="1540795" y="4432102"/>
                </a:cubicBezTo>
                <a:close/>
                <a:moveTo>
                  <a:pt x="1277730" y="4429754"/>
                </a:moveTo>
                <a:lnTo>
                  <a:pt x="1287129" y="4429754"/>
                </a:lnTo>
                <a:lnTo>
                  <a:pt x="1291823" y="4434452"/>
                </a:lnTo>
                <a:lnTo>
                  <a:pt x="1287129" y="4439149"/>
                </a:lnTo>
                <a:lnTo>
                  <a:pt x="1277730" y="4441498"/>
                </a:lnTo>
                <a:lnTo>
                  <a:pt x="1268336" y="4434452"/>
                </a:lnTo>
                <a:cubicBezTo>
                  <a:pt x="1268336" y="4434452"/>
                  <a:pt x="1270686" y="4432103"/>
                  <a:pt x="1268336" y="4432103"/>
                </a:cubicBezTo>
                <a:close/>
                <a:moveTo>
                  <a:pt x="1101575" y="4427405"/>
                </a:moveTo>
                <a:cubicBezTo>
                  <a:pt x="1108619" y="4427405"/>
                  <a:pt x="1110969" y="4439149"/>
                  <a:pt x="1118018" y="4441498"/>
                </a:cubicBezTo>
                <a:cubicBezTo>
                  <a:pt x="1122713" y="4441498"/>
                  <a:pt x="1129760" y="4434451"/>
                  <a:pt x="1134461" y="4436800"/>
                </a:cubicBezTo>
                <a:cubicBezTo>
                  <a:pt x="1136805" y="4436800"/>
                  <a:pt x="1136805" y="4439149"/>
                  <a:pt x="1139155" y="4441498"/>
                </a:cubicBezTo>
                <a:cubicBezTo>
                  <a:pt x="1139155" y="4441498"/>
                  <a:pt x="1136805" y="4441498"/>
                  <a:pt x="1134461" y="4446195"/>
                </a:cubicBezTo>
                <a:lnTo>
                  <a:pt x="1118018" y="4455590"/>
                </a:lnTo>
                <a:cubicBezTo>
                  <a:pt x="1118018" y="4455590"/>
                  <a:pt x="1108619" y="4457939"/>
                  <a:pt x="1106271" y="4453242"/>
                </a:cubicBezTo>
                <a:lnTo>
                  <a:pt x="1087482" y="4443846"/>
                </a:lnTo>
                <a:cubicBezTo>
                  <a:pt x="1087482" y="4439149"/>
                  <a:pt x="1087482" y="4436800"/>
                  <a:pt x="1087482" y="4434451"/>
                </a:cubicBezTo>
                <a:cubicBezTo>
                  <a:pt x="1089833" y="4432103"/>
                  <a:pt x="1099225" y="4427405"/>
                  <a:pt x="1101575" y="4427405"/>
                </a:cubicBezTo>
                <a:close/>
                <a:moveTo>
                  <a:pt x="1392822" y="4425057"/>
                </a:moveTo>
                <a:lnTo>
                  <a:pt x="1402219" y="4425057"/>
                </a:lnTo>
                <a:lnTo>
                  <a:pt x="1406915" y="4427406"/>
                </a:lnTo>
                <a:lnTo>
                  <a:pt x="1404570" y="4436801"/>
                </a:lnTo>
                <a:lnTo>
                  <a:pt x="1399869" y="4436801"/>
                </a:lnTo>
                <a:lnTo>
                  <a:pt x="1392822" y="4427406"/>
                </a:lnTo>
                <a:close/>
                <a:moveTo>
                  <a:pt x="1449190" y="4422708"/>
                </a:moveTo>
                <a:lnTo>
                  <a:pt x="1475028" y="4427406"/>
                </a:lnTo>
                <a:lnTo>
                  <a:pt x="1449190" y="4434452"/>
                </a:lnTo>
                <a:lnTo>
                  <a:pt x="1444497" y="4427406"/>
                </a:lnTo>
                <a:cubicBezTo>
                  <a:pt x="1444497" y="4427406"/>
                  <a:pt x="1446842" y="4425057"/>
                  <a:pt x="1449190" y="4422708"/>
                </a:cubicBezTo>
                <a:close/>
                <a:moveTo>
                  <a:pt x="1557238" y="4422707"/>
                </a:moveTo>
                <a:lnTo>
                  <a:pt x="1552538" y="4429754"/>
                </a:lnTo>
                <a:lnTo>
                  <a:pt x="1557238" y="4434451"/>
                </a:lnTo>
                <a:lnTo>
                  <a:pt x="1566630" y="4434451"/>
                </a:lnTo>
                <a:lnTo>
                  <a:pt x="1573676" y="4429754"/>
                </a:lnTo>
                <a:lnTo>
                  <a:pt x="1566630" y="4422707"/>
                </a:lnTo>
                <a:close/>
                <a:moveTo>
                  <a:pt x="1226058" y="4420359"/>
                </a:moveTo>
                <a:lnTo>
                  <a:pt x="1235452" y="4422708"/>
                </a:lnTo>
                <a:cubicBezTo>
                  <a:pt x="1235452" y="4425057"/>
                  <a:pt x="1237800" y="4425057"/>
                  <a:pt x="1235452" y="4427405"/>
                </a:cubicBezTo>
                <a:lnTo>
                  <a:pt x="1233102" y="4432103"/>
                </a:lnTo>
                <a:lnTo>
                  <a:pt x="1228404" y="4441498"/>
                </a:lnTo>
                <a:lnTo>
                  <a:pt x="1219010" y="4434452"/>
                </a:lnTo>
                <a:lnTo>
                  <a:pt x="1221358" y="4425057"/>
                </a:lnTo>
                <a:close/>
                <a:moveTo>
                  <a:pt x="1184661" y="4418598"/>
                </a:moveTo>
                <a:cubicBezTo>
                  <a:pt x="1187891" y="4418010"/>
                  <a:pt x="1190826" y="4418010"/>
                  <a:pt x="1193174" y="4420359"/>
                </a:cubicBezTo>
                <a:cubicBezTo>
                  <a:pt x="1195523" y="4420359"/>
                  <a:pt x="1197873" y="4425057"/>
                  <a:pt x="1195523" y="4427405"/>
                </a:cubicBezTo>
                <a:cubicBezTo>
                  <a:pt x="1193174" y="4429754"/>
                  <a:pt x="1188481" y="4427405"/>
                  <a:pt x="1186130" y="4429754"/>
                </a:cubicBezTo>
                <a:cubicBezTo>
                  <a:pt x="1186130" y="4429754"/>
                  <a:pt x="1181432" y="4432103"/>
                  <a:pt x="1181432" y="4434452"/>
                </a:cubicBezTo>
                <a:cubicBezTo>
                  <a:pt x="1179081" y="4436801"/>
                  <a:pt x="1181432" y="4446196"/>
                  <a:pt x="1186130" y="4450893"/>
                </a:cubicBezTo>
                <a:cubicBezTo>
                  <a:pt x="1188481" y="4453242"/>
                  <a:pt x="1197873" y="4455591"/>
                  <a:pt x="1202568" y="4455591"/>
                </a:cubicBezTo>
                <a:cubicBezTo>
                  <a:pt x="1209615" y="4453242"/>
                  <a:pt x="1211965" y="4446196"/>
                  <a:pt x="1219010" y="4443847"/>
                </a:cubicBezTo>
                <a:cubicBezTo>
                  <a:pt x="1223708" y="4441498"/>
                  <a:pt x="1226058" y="4441498"/>
                  <a:pt x="1228404" y="4441498"/>
                </a:cubicBezTo>
                <a:cubicBezTo>
                  <a:pt x="1244851" y="4446196"/>
                  <a:pt x="1256593" y="4460288"/>
                  <a:pt x="1273032" y="4467334"/>
                </a:cubicBezTo>
                <a:cubicBezTo>
                  <a:pt x="1270686" y="4467334"/>
                  <a:pt x="1270686" y="4469683"/>
                  <a:pt x="1268336" y="4469683"/>
                </a:cubicBezTo>
                <a:cubicBezTo>
                  <a:pt x="1261288" y="4469683"/>
                  <a:pt x="1256593" y="4467334"/>
                  <a:pt x="1249543" y="4467334"/>
                </a:cubicBezTo>
                <a:cubicBezTo>
                  <a:pt x="1251893" y="4483776"/>
                  <a:pt x="1249543" y="4481427"/>
                  <a:pt x="1258939" y="4483776"/>
                </a:cubicBezTo>
                <a:cubicBezTo>
                  <a:pt x="1263637" y="4483776"/>
                  <a:pt x="1265986" y="4483776"/>
                  <a:pt x="1268336" y="4483776"/>
                </a:cubicBezTo>
                <a:cubicBezTo>
                  <a:pt x="1273032" y="4483776"/>
                  <a:pt x="1275380" y="4486125"/>
                  <a:pt x="1277730" y="4486125"/>
                </a:cubicBezTo>
                <a:cubicBezTo>
                  <a:pt x="1277730" y="4488474"/>
                  <a:pt x="1275380" y="4490822"/>
                  <a:pt x="1273032" y="4493171"/>
                </a:cubicBezTo>
                <a:cubicBezTo>
                  <a:pt x="1273032" y="4493171"/>
                  <a:pt x="1270686" y="4493171"/>
                  <a:pt x="1270686" y="4493171"/>
                </a:cubicBezTo>
                <a:cubicBezTo>
                  <a:pt x="1249543" y="4507264"/>
                  <a:pt x="1247196" y="4511961"/>
                  <a:pt x="1244851" y="4537798"/>
                </a:cubicBezTo>
                <a:cubicBezTo>
                  <a:pt x="1240151" y="4537798"/>
                  <a:pt x="1237801" y="4537798"/>
                  <a:pt x="1235452" y="4535449"/>
                </a:cubicBezTo>
                <a:cubicBezTo>
                  <a:pt x="1219010" y="4519008"/>
                  <a:pt x="1216661" y="4514310"/>
                  <a:pt x="1219010" y="4509612"/>
                </a:cubicBezTo>
                <a:cubicBezTo>
                  <a:pt x="1223708" y="4502566"/>
                  <a:pt x="1237801" y="4507264"/>
                  <a:pt x="1244851" y="4502566"/>
                </a:cubicBezTo>
                <a:cubicBezTo>
                  <a:pt x="1247196" y="4500218"/>
                  <a:pt x="1249543" y="4495520"/>
                  <a:pt x="1249543" y="4493171"/>
                </a:cubicBezTo>
                <a:cubicBezTo>
                  <a:pt x="1247196" y="4483776"/>
                  <a:pt x="1226058" y="4467334"/>
                  <a:pt x="1211965" y="4467334"/>
                </a:cubicBezTo>
                <a:cubicBezTo>
                  <a:pt x="1200223" y="4467334"/>
                  <a:pt x="1190826" y="4474381"/>
                  <a:pt x="1190826" y="4483776"/>
                </a:cubicBezTo>
                <a:cubicBezTo>
                  <a:pt x="1190826" y="4483776"/>
                  <a:pt x="1190826" y="4490822"/>
                  <a:pt x="1202568" y="4500218"/>
                </a:cubicBezTo>
                <a:lnTo>
                  <a:pt x="1193174" y="4511961"/>
                </a:lnTo>
                <a:lnTo>
                  <a:pt x="1150898" y="4481427"/>
                </a:lnTo>
                <a:cubicBezTo>
                  <a:pt x="1157945" y="4474381"/>
                  <a:pt x="1167341" y="4467334"/>
                  <a:pt x="1169688" y="4457939"/>
                </a:cubicBezTo>
                <a:cubicBezTo>
                  <a:pt x="1169688" y="4448544"/>
                  <a:pt x="1167341" y="4439149"/>
                  <a:pt x="1160296" y="4434452"/>
                </a:cubicBezTo>
                <a:cubicBezTo>
                  <a:pt x="1160296" y="4434452"/>
                  <a:pt x="1148548" y="4439149"/>
                  <a:pt x="1143853" y="4439149"/>
                </a:cubicBezTo>
                <a:lnTo>
                  <a:pt x="1136805" y="4436801"/>
                </a:lnTo>
                <a:lnTo>
                  <a:pt x="1174388" y="4420359"/>
                </a:lnTo>
                <a:cubicBezTo>
                  <a:pt x="1177909" y="4420359"/>
                  <a:pt x="1181432" y="4419185"/>
                  <a:pt x="1184661" y="4418598"/>
                </a:cubicBezTo>
                <a:close/>
                <a:moveTo>
                  <a:pt x="5695769" y="4418010"/>
                </a:moveTo>
                <a:cubicBezTo>
                  <a:pt x="5698118" y="4413313"/>
                  <a:pt x="5702815" y="4422708"/>
                  <a:pt x="5702815" y="4422708"/>
                </a:cubicBezTo>
                <a:cubicBezTo>
                  <a:pt x="5700467" y="4427405"/>
                  <a:pt x="5693420" y="4420359"/>
                  <a:pt x="5695769" y="4418010"/>
                </a:cubicBezTo>
                <a:close/>
                <a:moveTo>
                  <a:pt x="1498517" y="4415661"/>
                </a:moveTo>
                <a:lnTo>
                  <a:pt x="1505561" y="4420359"/>
                </a:lnTo>
                <a:lnTo>
                  <a:pt x="1498517" y="4429754"/>
                </a:lnTo>
                <a:lnTo>
                  <a:pt x="1493818" y="4420359"/>
                </a:lnTo>
                <a:close/>
                <a:moveTo>
                  <a:pt x="829124" y="4415661"/>
                </a:moveTo>
                <a:lnTo>
                  <a:pt x="838520" y="4415661"/>
                </a:lnTo>
                <a:lnTo>
                  <a:pt x="843217" y="4420359"/>
                </a:lnTo>
                <a:lnTo>
                  <a:pt x="840870" y="4429754"/>
                </a:lnTo>
                <a:cubicBezTo>
                  <a:pt x="840870" y="4429754"/>
                  <a:pt x="838520" y="4429754"/>
                  <a:pt x="838520" y="4429754"/>
                </a:cubicBezTo>
                <a:lnTo>
                  <a:pt x="829124" y="4429754"/>
                </a:lnTo>
                <a:lnTo>
                  <a:pt x="824424" y="4429754"/>
                </a:lnTo>
                <a:lnTo>
                  <a:pt x="822077" y="4420359"/>
                </a:lnTo>
                <a:close/>
                <a:moveTo>
                  <a:pt x="946559" y="4410965"/>
                </a:moveTo>
                <a:cubicBezTo>
                  <a:pt x="951257" y="4410965"/>
                  <a:pt x="953607" y="4413314"/>
                  <a:pt x="953607" y="4415663"/>
                </a:cubicBezTo>
                <a:cubicBezTo>
                  <a:pt x="955958" y="4420360"/>
                  <a:pt x="948909" y="4427406"/>
                  <a:pt x="951257" y="4432104"/>
                </a:cubicBezTo>
                <a:cubicBezTo>
                  <a:pt x="951257" y="4434453"/>
                  <a:pt x="953607" y="4439150"/>
                  <a:pt x="955958" y="4439150"/>
                </a:cubicBezTo>
                <a:cubicBezTo>
                  <a:pt x="960652" y="4441499"/>
                  <a:pt x="967700" y="4432104"/>
                  <a:pt x="972396" y="4434453"/>
                </a:cubicBezTo>
                <a:cubicBezTo>
                  <a:pt x="972396" y="4434453"/>
                  <a:pt x="979443" y="4446197"/>
                  <a:pt x="979443" y="4448546"/>
                </a:cubicBezTo>
                <a:cubicBezTo>
                  <a:pt x="979443" y="4450894"/>
                  <a:pt x="974746" y="4453243"/>
                  <a:pt x="972396" y="4453243"/>
                </a:cubicBezTo>
                <a:cubicBezTo>
                  <a:pt x="967700" y="4453243"/>
                  <a:pt x="960652" y="4453243"/>
                  <a:pt x="955958" y="4448546"/>
                </a:cubicBezTo>
                <a:cubicBezTo>
                  <a:pt x="953607" y="4446197"/>
                  <a:pt x="953607" y="4439150"/>
                  <a:pt x="948909" y="4436802"/>
                </a:cubicBezTo>
                <a:cubicBezTo>
                  <a:pt x="944210" y="4434453"/>
                  <a:pt x="941860" y="4434453"/>
                  <a:pt x="939515" y="4434453"/>
                </a:cubicBezTo>
                <a:cubicBezTo>
                  <a:pt x="934816" y="4434453"/>
                  <a:pt x="932467" y="4434453"/>
                  <a:pt x="930118" y="4434453"/>
                </a:cubicBezTo>
                <a:cubicBezTo>
                  <a:pt x="927772" y="4434453"/>
                  <a:pt x="927772" y="4432104"/>
                  <a:pt x="923072" y="4434453"/>
                </a:cubicBezTo>
                <a:cubicBezTo>
                  <a:pt x="925422" y="4429755"/>
                  <a:pt x="930118" y="4427406"/>
                  <a:pt x="932467" y="4425058"/>
                </a:cubicBezTo>
                <a:cubicBezTo>
                  <a:pt x="944210" y="4413314"/>
                  <a:pt x="946559" y="4410965"/>
                  <a:pt x="946559" y="4410965"/>
                </a:cubicBezTo>
                <a:close/>
                <a:moveTo>
                  <a:pt x="885486" y="4410965"/>
                </a:moveTo>
                <a:lnTo>
                  <a:pt x="918367" y="4410965"/>
                </a:lnTo>
                <a:cubicBezTo>
                  <a:pt x="916021" y="4418011"/>
                  <a:pt x="916021" y="4420360"/>
                  <a:pt x="916021" y="4420360"/>
                </a:cubicBezTo>
                <a:cubicBezTo>
                  <a:pt x="913671" y="4425058"/>
                  <a:pt x="908973" y="4427406"/>
                  <a:pt x="908973" y="4429755"/>
                </a:cubicBezTo>
                <a:cubicBezTo>
                  <a:pt x="906624" y="4434453"/>
                  <a:pt x="913671" y="4441499"/>
                  <a:pt x="911322" y="4446197"/>
                </a:cubicBezTo>
                <a:cubicBezTo>
                  <a:pt x="911322" y="4448546"/>
                  <a:pt x="908973" y="4448546"/>
                  <a:pt x="906624" y="4448546"/>
                </a:cubicBezTo>
                <a:cubicBezTo>
                  <a:pt x="904274" y="4448546"/>
                  <a:pt x="901929" y="4448546"/>
                  <a:pt x="901929" y="4446197"/>
                </a:cubicBezTo>
                <a:cubicBezTo>
                  <a:pt x="899579" y="4441499"/>
                  <a:pt x="901929" y="4432104"/>
                  <a:pt x="897229" y="4432104"/>
                </a:cubicBezTo>
                <a:cubicBezTo>
                  <a:pt x="897229" y="4432104"/>
                  <a:pt x="892532" y="4434453"/>
                  <a:pt x="880787" y="4446197"/>
                </a:cubicBezTo>
                <a:cubicBezTo>
                  <a:pt x="880787" y="4446197"/>
                  <a:pt x="878438" y="4439150"/>
                  <a:pt x="876089" y="4436802"/>
                </a:cubicBezTo>
                <a:close/>
                <a:moveTo>
                  <a:pt x="2802074" y="4408616"/>
                </a:moveTo>
                <a:lnTo>
                  <a:pt x="2795027" y="4415662"/>
                </a:lnTo>
                <a:cubicBezTo>
                  <a:pt x="2797376" y="4415662"/>
                  <a:pt x="2802074" y="4415662"/>
                  <a:pt x="2804424" y="4415662"/>
                </a:cubicBezTo>
                <a:cubicBezTo>
                  <a:pt x="2804424" y="4415662"/>
                  <a:pt x="2802074" y="4410965"/>
                  <a:pt x="2802074" y="4408616"/>
                </a:cubicBezTo>
                <a:close/>
                <a:moveTo>
                  <a:pt x="2726913" y="4408616"/>
                </a:moveTo>
                <a:cubicBezTo>
                  <a:pt x="2726913" y="4408616"/>
                  <a:pt x="2726913" y="4410965"/>
                  <a:pt x="2726913" y="4410965"/>
                </a:cubicBezTo>
                <a:cubicBezTo>
                  <a:pt x="2726913" y="4410965"/>
                  <a:pt x="2729262" y="4408616"/>
                  <a:pt x="2729262" y="4408616"/>
                </a:cubicBezTo>
                <a:cubicBezTo>
                  <a:pt x="2729262" y="4408616"/>
                  <a:pt x="2726913" y="4408616"/>
                  <a:pt x="2726913" y="4408616"/>
                </a:cubicBezTo>
                <a:close/>
                <a:moveTo>
                  <a:pt x="2557801" y="4399221"/>
                </a:moveTo>
                <a:cubicBezTo>
                  <a:pt x="2557801" y="4399221"/>
                  <a:pt x="2555452" y="4401570"/>
                  <a:pt x="2555452" y="4401570"/>
                </a:cubicBezTo>
                <a:lnTo>
                  <a:pt x="2553103" y="4408616"/>
                </a:lnTo>
                <a:lnTo>
                  <a:pt x="2555452" y="4413314"/>
                </a:lnTo>
                <a:lnTo>
                  <a:pt x="2564847" y="4413314"/>
                </a:lnTo>
                <a:cubicBezTo>
                  <a:pt x="2564847" y="4413314"/>
                  <a:pt x="2567196" y="4413314"/>
                  <a:pt x="2567196" y="4410965"/>
                </a:cubicBezTo>
                <a:cubicBezTo>
                  <a:pt x="2567196" y="4410965"/>
                  <a:pt x="2564847" y="4408616"/>
                  <a:pt x="2564847" y="4408616"/>
                </a:cubicBezTo>
                <a:lnTo>
                  <a:pt x="2560150" y="4401570"/>
                </a:lnTo>
                <a:cubicBezTo>
                  <a:pt x="2560150" y="4401570"/>
                  <a:pt x="2557801" y="4399221"/>
                  <a:pt x="2557801" y="4399221"/>
                </a:cubicBezTo>
                <a:close/>
                <a:moveTo>
                  <a:pt x="3011115" y="4396872"/>
                </a:moveTo>
                <a:cubicBezTo>
                  <a:pt x="3008766" y="4401570"/>
                  <a:pt x="3008766" y="4403918"/>
                  <a:pt x="3006417" y="4408616"/>
                </a:cubicBezTo>
                <a:cubicBezTo>
                  <a:pt x="3008766" y="4410965"/>
                  <a:pt x="3013464" y="4410965"/>
                  <a:pt x="3018161" y="4413314"/>
                </a:cubicBezTo>
                <a:cubicBezTo>
                  <a:pt x="3020510" y="4408616"/>
                  <a:pt x="3020510" y="4406267"/>
                  <a:pt x="3022859" y="4401570"/>
                </a:cubicBezTo>
                <a:cubicBezTo>
                  <a:pt x="3018161" y="4399221"/>
                  <a:pt x="3015813" y="4399221"/>
                  <a:pt x="3011115" y="4396872"/>
                </a:cubicBezTo>
                <a:close/>
                <a:moveTo>
                  <a:pt x="5669933" y="4394523"/>
                </a:moveTo>
                <a:cubicBezTo>
                  <a:pt x="5686375" y="4408616"/>
                  <a:pt x="5646445" y="4420359"/>
                  <a:pt x="5662887" y="4453243"/>
                </a:cubicBezTo>
                <a:cubicBezTo>
                  <a:pt x="5655840" y="4455591"/>
                  <a:pt x="5651143" y="4457940"/>
                  <a:pt x="5648794" y="4457940"/>
                </a:cubicBezTo>
                <a:cubicBezTo>
                  <a:pt x="5644097" y="4457940"/>
                  <a:pt x="5641748" y="4455591"/>
                  <a:pt x="5632353" y="4450894"/>
                </a:cubicBezTo>
                <a:cubicBezTo>
                  <a:pt x="5632353" y="4453243"/>
                  <a:pt x="5632353" y="4453243"/>
                  <a:pt x="5630004" y="4453243"/>
                </a:cubicBezTo>
                <a:cubicBezTo>
                  <a:pt x="5634702" y="4446196"/>
                  <a:pt x="5639399" y="4439150"/>
                  <a:pt x="5644097" y="4432103"/>
                </a:cubicBezTo>
                <a:cubicBezTo>
                  <a:pt x="5639399" y="4425057"/>
                  <a:pt x="5634702" y="4420359"/>
                  <a:pt x="5632353" y="4413313"/>
                </a:cubicBezTo>
                <a:cubicBezTo>
                  <a:pt x="5632353" y="4410964"/>
                  <a:pt x="5632353" y="4410964"/>
                  <a:pt x="5632353" y="4410964"/>
                </a:cubicBezTo>
                <a:cubicBezTo>
                  <a:pt x="5634702" y="4408616"/>
                  <a:pt x="5637050" y="4406267"/>
                  <a:pt x="5639399" y="4403918"/>
                </a:cubicBezTo>
                <a:cubicBezTo>
                  <a:pt x="5641748" y="4406267"/>
                  <a:pt x="5641748" y="4408616"/>
                  <a:pt x="5641748" y="4410964"/>
                </a:cubicBezTo>
                <a:cubicBezTo>
                  <a:pt x="5646445" y="4410964"/>
                  <a:pt x="5648794" y="4408616"/>
                  <a:pt x="5641748" y="4403918"/>
                </a:cubicBezTo>
                <a:cubicBezTo>
                  <a:pt x="5644097" y="4387477"/>
                  <a:pt x="5669933" y="4422708"/>
                  <a:pt x="5669933" y="4394523"/>
                </a:cubicBezTo>
                <a:close/>
                <a:moveTo>
                  <a:pt x="1524352" y="4392173"/>
                </a:moveTo>
                <a:cubicBezTo>
                  <a:pt x="1524352" y="4392173"/>
                  <a:pt x="1526702" y="4394522"/>
                  <a:pt x="1526702" y="4394522"/>
                </a:cubicBezTo>
                <a:lnTo>
                  <a:pt x="1524352" y="4403917"/>
                </a:lnTo>
                <a:lnTo>
                  <a:pt x="1514956" y="4403917"/>
                </a:lnTo>
                <a:lnTo>
                  <a:pt x="1514956" y="4394522"/>
                </a:lnTo>
                <a:close/>
                <a:moveTo>
                  <a:pt x="1244851" y="4392173"/>
                </a:moveTo>
                <a:lnTo>
                  <a:pt x="1249543" y="4399219"/>
                </a:lnTo>
                <a:lnTo>
                  <a:pt x="1244851" y="4403917"/>
                </a:lnTo>
                <a:lnTo>
                  <a:pt x="1240151" y="4399219"/>
                </a:lnTo>
                <a:close/>
                <a:moveTo>
                  <a:pt x="1018971" y="4390478"/>
                </a:moveTo>
                <a:lnTo>
                  <a:pt x="1024062" y="4392175"/>
                </a:lnTo>
                <a:lnTo>
                  <a:pt x="1047551" y="4406267"/>
                </a:lnTo>
                <a:cubicBezTo>
                  <a:pt x="1061648" y="4410965"/>
                  <a:pt x="1061648" y="4410965"/>
                  <a:pt x="1063991" y="4415662"/>
                </a:cubicBezTo>
                <a:cubicBezTo>
                  <a:pt x="1063991" y="4415662"/>
                  <a:pt x="1061648" y="4420360"/>
                  <a:pt x="1059297" y="4422709"/>
                </a:cubicBezTo>
                <a:lnTo>
                  <a:pt x="1040505" y="4429755"/>
                </a:lnTo>
                <a:cubicBezTo>
                  <a:pt x="1040505" y="4429755"/>
                  <a:pt x="1033457" y="4427406"/>
                  <a:pt x="1028762" y="4422709"/>
                </a:cubicBezTo>
                <a:lnTo>
                  <a:pt x="1017015" y="4406267"/>
                </a:lnTo>
                <a:cubicBezTo>
                  <a:pt x="1017015" y="4406267"/>
                  <a:pt x="1019364" y="4399221"/>
                  <a:pt x="1021713" y="4396872"/>
                </a:cubicBezTo>
                <a:close/>
                <a:moveTo>
                  <a:pt x="1000580" y="4389826"/>
                </a:moveTo>
                <a:cubicBezTo>
                  <a:pt x="1002929" y="4389826"/>
                  <a:pt x="1002929" y="4394523"/>
                  <a:pt x="1000580" y="4396872"/>
                </a:cubicBezTo>
                <a:cubicBezTo>
                  <a:pt x="1000580" y="4396872"/>
                  <a:pt x="998235" y="4403918"/>
                  <a:pt x="998235" y="4406267"/>
                </a:cubicBezTo>
                <a:lnTo>
                  <a:pt x="1014674" y="4418011"/>
                </a:lnTo>
                <a:cubicBezTo>
                  <a:pt x="1021721" y="4425058"/>
                  <a:pt x="1021721" y="4427406"/>
                  <a:pt x="1019371" y="4432104"/>
                </a:cubicBezTo>
                <a:cubicBezTo>
                  <a:pt x="1017022" y="4436801"/>
                  <a:pt x="1009978" y="4439150"/>
                  <a:pt x="1005277" y="4436801"/>
                </a:cubicBezTo>
                <a:cubicBezTo>
                  <a:pt x="1005277" y="4436801"/>
                  <a:pt x="1005277" y="4434453"/>
                  <a:pt x="1002929" y="4432104"/>
                </a:cubicBezTo>
                <a:lnTo>
                  <a:pt x="998235" y="4427406"/>
                </a:lnTo>
                <a:lnTo>
                  <a:pt x="984143" y="4422709"/>
                </a:lnTo>
                <a:cubicBezTo>
                  <a:pt x="986488" y="4418011"/>
                  <a:pt x="991186" y="4413314"/>
                  <a:pt x="991186" y="4406267"/>
                </a:cubicBezTo>
                <a:cubicBezTo>
                  <a:pt x="991186" y="4401570"/>
                  <a:pt x="988836" y="4399221"/>
                  <a:pt x="988836" y="4396872"/>
                </a:cubicBezTo>
                <a:cubicBezTo>
                  <a:pt x="988836" y="4392174"/>
                  <a:pt x="995885" y="4387477"/>
                  <a:pt x="1000580" y="4389826"/>
                </a:cubicBezTo>
                <a:close/>
                <a:moveTo>
                  <a:pt x="1406915" y="4389825"/>
                </a:moveTo>
                <a:lnTo>
                  <a:pt x="1413962" y="4389825"/>
                </a:lnTo>
                <a:lnTo>
                  <a:pt x="1418657" y="4394523"/>
                </a:lnTo>
                <a:lnTo>
                  <a:pt x="1413962" y="4399220"/>
                </a:lnTo>
                <a:lnTo>
                  <a:pt x="1406915" y="4396871"/>
                </a:lnTo>
                <a:lnTo>
                  <a:pt x="1402219" y="4394523"/>
                </a:lnTo>
                <a:close/>
                <a:moveTo>
                  <a:pt x="1355241" y="4389825"/>
                </a:moveTo>
                <a:lnTo>
                  <a:pt x="1362286" y="4394523"/>
                </a:lnTo>
                <a:lnTo>
                  <a:pt x="1355241" y="4401569"/>
                </a:lnTo>
                <a:lnTo>
                  <a:pt x="1345844" y="4392174"/>
                </a:lnTo>
                <a:close/>
                <a:moveTo>
                  <a:pt x="770398" y="4389825"/>
                </a:moveTo>
                <a:lnTo>
                  <a:pt x="777446" y="4394523"/>
                </a:lnTo>
                <a:lnTo>
                  <a:pt x="768045" y="4420359"/>
                </a:lnTo>
                <a:lnTo>
                  <a:pt x="753956" y="4394523"/>
                </a:lnTo>
                <a:cubicBezTo>
                  <a:pt x="753956" y="4394523"/>
                  <a:pt x="758653" y="4389825"/>
                  <a:pt x="770398" y="4389825"/>
                </a:cubicBezTo>
                <a:close/>
                <a:moveTo>
                  <a:pt x="2682286" y="4387477"/>
                </a:moveTo>
                <a:lnTo>
                  <a:pt x="2684635" y="4389826"/>
                </a:lnTo>
                <a:cubicBezTo>
                  <a:pt x="2684635" y="4389826"/>
                  <a:pt x="2684635" y="4389826"/>
                  <a:pt x="2686984" y="4387477"/>
                </a:cubicBezTo>
                <a:cubicBezTo>
                  <a:pt x="2686984" y="4389826"/>
                  <a:pt x="2684635" y="4389826"/>
                  <a:pt x="2682286" y="4387477"/>
                </a:cubicBezTo>
                <a:close/>
                <a:moveTo>
                  <a:pt x="906622" y="4387476"/>
                </a:moveTo>
                <a:lnTo>
                  <a:pt x="911321" y="4396871"/>
                </a:lnTo>
                <a:lnTo>
                  <a:pt x="906622" y="4403917"/>
                </a:lnTo>
                <a:lnTo>
                  <a:pt x="897229" y="4396871"/>
                </a:lnTo>
                <a:close/>
                <a:moveTo>
                  <a:pt x="1017271" y="4386508"/>
                </a:moveTo>
                <a:lnTo>
                  <a:pt x="1018971" y="4390478"/>
                </a:lnTo>
                <a:lnTo>
                  <a:pt x="1017015" y="4389826"/>
                </a:lnTo>
                <a:close/>
                <a:moveTo>
                  <a:pt x="822077" y="4385127"/>
                </a:moveTo>
                <a:lnTo>
                  <a:pt x="840870" y="4385127"/>
                </a:lnTo>
                <a:cubicBezTo>
                  <a:pt x="840870" y="4387476"/>
                  <a:pt x="840870" y="4387476"/>
                  <a:pt x="840870" y="4387476"/>
                </a:cubicBezTo>
                <a:cubicBezTo>
                  <a:pt x="840870" y="4387476"/>
                  <a:pt x="838520" y="4394522"/>
                  <a:pt x="838520" y="4396871"/>
                </a:cubicBezTo>
                <a:lnTo>
                  <a:pt x="831469" y="4403917"/>
                </a:lnTo>
                <a:lnTo>
                  <a:pt x="822077" y="4401569"/>
                </a:lnTo>
                <a:lnTo>
                  <a:pt x="817373" y="4394522"/>
                </a:lnTo>
                <a:close/>
                <a:moveTo>
                  <a:pt x="2506128" y="4382779"/>
                </a:moveTo>
                <a:cubicBezTo>
                  <a:pt x="2496732" y="4385128"/>
                  <a:pt x="2473246" y="4422709"/>
                  <a:pt x="2477942" y="4479079"/>
                </a:cubicBezTo>
                <a:cubicBezTo>
                  <a:pt x="2477942" y="4493172"/>
                  <a:pt x="2487337" y="4504916"/>
                  <a:pt x="2496732" y="4516660"/>
                </a:cubicBezTo>
                <a:cubicBezTo>
                  <a:pt x="2524918" y="4495521"/>
                  <a:pt x="2555452" y="4476731"/>
                  <a:pt x="2590684" y="4460289"/>
                </a:cubicBezTo>
                <a:lnTo>
                  <a:pt x="2567196" y="4453243"/>
                </a:lnTo>
                <a:cubicBezTo>
                  <a:pt x="2557801" y="4457940"/>
                  <a:pt x="2548406" y="4462638"/>
                  <a:pt x="2539011" y="4464987"/>
                </a:cubicBezTo>
                <a:cubicBezTo>
                  <a:pt x="2541359" y="4455591"/>
                  <a:pt x="2548406" y="4450894"/>
                  <a:pt x="2555452" y="4448545"/>
                </a:cubicBezTo>
                <a:lnTo>
                  <a:pt x="2548406" y="4446196"/>
                </a:lnTo>
                <a:cubicBezTo>
                  <a:pt x="2548406" y="4443847"/>
                  <a:pt x="2548406" y="4439150"/>
                  <a:pt x="2548406" y="4436801"/>
                </a:cubicBezTo>
                <a:cubicBezTo>
                  <a:pt x="2550754" y="4439150"/>
                  <a:pt x="2553103" y="4439150"/>
                  <a:pt x="2555452" y="4439150"/>
                </a:cubicBezTo>
                <a:cubicBezTo>
                  <a:pt x="2555452" y="4434452"/>
                  <a:pt x="2557801" y="4429755"/>
                  <a:pt x="2555452" y="4425057"/>
                </a:cubicBezTo>
                <a:cubicBezTo>
                  <a:pt x="2546057" y="4406267"/>
                  <a:pt x="2527267" y="4378082"/>
                  <a:pt x="2506128" y="4382779"/>
                </a:cubicBezTo>
                <a:close/>
                <a:moveTo>
                  <a:pt x="5719256" y="4382778"/>
                </a:moveTo>
                <a:cubicBezTo>
                  <a:pt x="5719256" y="4394522"/>
                  <a:pt x="5728652" y="4413312"/>
                  <a:pt x="5712210" y="4408614"/>
                </a:cubicBezTo>
                <a:cubicBezTo>
                  <a:pt x="5709861" y="4399219"/>
                  <a:pt x="5702815" y="4396871"/>
                  <a:pt x="5702815" y="4385127"/>
                </a:cubicBezTo>
                <a:cubicBezTo>
                  <a:pt x="5707513" y="4385127"/>
                  <a:pt x="5714559" y="4382778"/>
                  <a:pt x="5719256" y="4382778"/>
                </a:cubicBezTo>
                <a:close/>
                <a:moveTo>
                  <a:pt x="1280078" y="4380430"/>
                </a:moveTo>
                <a:lnTo>
                  <a:pt x="1282428" y="4382779"/>
                </a:lnTo>
                <a:lnTo>
                  <a:pt x="1280078" y="4387476"/>
                </a:lnTo>
                <a:lnTo>
                  <a:pt x="1273032" y="4382779"/>
                </a:lnTo>
                <a:close/>
                <a:moveTo>
                  <a:pt x="737513" y="4380430"/>
                </a:moveTo>
                <a:lnTo>
                  <a:pt x="744560" y="4385128"/>
                </a:lnTo>
                <a:lnTo>
                  <a:pt x="737513" y="4392174"/>
                </a:lnTo>
                <a:lnTo>
                  <a:pt x="732818" y="4385128"/>
                </a:lnTo>
                <a:close/>
                <a:moveTo>
                  <a:pt x="2621218" y="4378082"/>
                </a:moveTo>
                <a:cubicBezTo>
                  <a:pt x="2618869" y="4380430"/>
                  <a:pt x="2614172" y="4380430"/>
                  <a:pt x="2611823" y="4382779"/>
                </a:cubicBezTo>
                <a:lnTo>
                  <a:pt x="2611823" y="4385128"/>
                </a:lnTo>
                <a:cubicBezTo>
                  <a:pt x="2614172" y="4387477"/>
                  <a:pt x="2614172" y="4387477"/>
                  <a:pt x="2616520" y="4389826"/>
                </a:cubicBezTo>
                <a:cubicBezTo>
                  <a:pt x="2616520" y="4389826"/>
                  <a:pt x="2618869" y="4392174"/>
                  <a:pt x="2621218" y="4394523"/>
                </a:cubicBezTo>
                <a:lnTo>
                  <a:pt x="2625916" y="4399221"/>
                </a:lnTo>
                <a:cubicBezTo>
                  <a:pt x="2625916" y="4399221"/>
                  <a:pt x="2630613" y="4396872"/>
                  <a:pt x="2632963" y="4394523"/>
                </a:cubicBezTo>
                <a:lnTo>
                  <a:pt x="2621218" y="4385128"/>
                </a:lnTo>
                <a:cubicBezTo>
                  <a:pt x="2621218" y="4380430"/>
                  <a:pt x="2621218" y="4380430"/>
                  <a:pt x="2621218" y="4378082"/>
                </a:cubicBezTo>
                <a:close/>
                <a:moveTo>
                  <a:pt x="1017015" y="4378082"/>
                </a:moveTo>
                <a:cubicBezTo>
                  <a:pt x="1017015" y="4378082"/>
                  <a:pt x="1019364" y="4380431"/>
                  <a:pt x="1019364" y="4380431"/>
                </a:cubicBezTo>
                <a:cubicBezTo>
                  <a:pt x="1019364" y="4382779"/>
                  <a:pt x="1018190" y="4384541"/>
                  <a:pt x="1017310" y="4386009"/>
                </a:cubicBezTo>
                <a:lnTo>
                  <a:pt x="1017271" y="4386508"/>
                </a:lnTo>
                <a:lnTo>
                  <a:pt x="1014664" y="4380431"/>
                </a:lnTo>
                <a:close/>
                <a:moveTo>
                  <a:pt x="1608908" y="4378081"/>
                </a:moveTo>
                <a:cubicBezTo>
                  <a:pt x="1608908" y="4378081"/>
                  <a:pt x="1611258" y="4380430"/>
                  <a:pt x="1611258" y="4380430"/>
                </a:cubicBezTo>
                <a:lnTo>
                  <a:pt x="1613608" y="4389825"/>
                </a:lnTo>
                <a:lnTo>
                  <a:pt x="1606559" y="4394522"/>
                </a:lnTo>
                <a:lnTo>
                  <a:pt x="1599515" y="4389825"/>
                </a:lnTo>
                <a:lnTo>
                  <a:pt x="1606559" y="4380430"/>
                </a:lnTo>
                <a:cubicBezTo>
                  <a:pt x="1608908" y="4378081"/>
                  <a:pt x="1608908" y="4378081"/>
                  <a:pt x="1608908" y="4378081"/>
                </a:cubicBezTo>
                <a:close/>
                <a:moveTo>
                  <a:pt x="1557238" y="4373383"/>
                </a:moveTo>
                <a:lnTo>
                  <a:pt x="1561931" y="4378081"/>
                </a:lnTo>
                <a:lnTo>
                  <a:pt x="1557238" y="4387476"/>
                </a:lnTo>
                <a:lnTo>
                  <a:pt x="1547841" y="4375732"/>
                </a:lnTo>
                <a:close/>
                <a:moveTo>
                  <a:pt x="981792" y="4373383"/>
                </a:moveTo>
                <a:cubicBezTo>
                  <a:pt x="986493" y="4373383"/>
                  <a:pt x="991186" y="4385127"/>
                  <a:pt x="988836" y="4387476"/>
                </a:cubicBezTo>
                <a:cubicBezTo>
                  <a:pt x="988836" y="4387476"/>
                  <a:pt x="984143" y="4389825"/>
                  <a:pt x="981792" y="4392173"/>
                </a:cubicBezTo>
                <a:lnTo>
                  <a:pt x="955958" y="4399220"/>
                </a:lnTo>
                <a:lnTo>
                  <a:pt x="953607" y="4394522"/>
                </a:lnTo>
                <a:cubicBezTo>
                  <a:pt x="953607" y="4394522"/>
                  <a:pt x="953607" y="4392173"/>
                  <a:pt x="955958" y="4392173"/>
                </a:cubicBezTo>
                <a:cubicBezTo>
                  <a:pt x="960652" y="4389825"/>
                  <a:pt x="963002" y="4394522"/>
                  <a:pt x="965350" y="4392173"/>
                </a:cubicBezTo>
                <a:cubicBezTo>
                  <a:pt x="970050" y="4389825"/>
                  <a:pt x="970050" y="4382778"/>
                  <a:pt x="972396" y="4378081"/>
                </a:cubicBezTo>
                <a:cubicBezTo>
                  <a:pt x="972396" y="4375732"/>
                  <a:pt x="977094" y="4373383"/>
                  <a:pt x="981792" y="4373383"/>
                </a:cubicBezTo>
                <a:close/>
                <a:moveTo>
                  <a:pt x="2686984" y="4368687"/>
                </a:moveTo>
                <a:cubicBezTo>
                  <a:pt x="2682286" y="4368687"/>
                  <a:pt x="2677588" y="4371035"/>
                  <a:pt x="2672891" y="4371035"/>
                </a:cubicBezTo>
                <a:lnTo>
                  <a:pt x="2679937" y="4382779"/>
                </a:lnTo>
                <a:cubicBezTo>
                  <a:pt x="2684635" y="4382779"/>
                  <a:pt x="2686984" y="4380430"/>
                  <a:pt x="2694030" y="4378082"/>
                </a:cubicBezTo>
                <a:cubicBezTo>
                  <a:pt x="2694030" y="4375733"/>
                  <a:pt x="2694030" y="4375733"/>
                  <a:pt x="2694030" y="4375733"/>
                </a:cubicBezTo>
                <a:close/>
                <a:moveTo>
                  <a:pt x="1644143" y="4366337"/>
                </a:moveTo>
                <a:lnTo>
                  <a:pt x="1653536" y="4371035"/>
                </a:lnTo>
                <a:cubicBezTo>
                  <a:pt x="1653536" y="4371035"/>
                  <a:pt x="1655886" y="4371035"/>
                  <a:pt x="1655886" y="4373383"/>
                </a:cubicBezTo>
                <a:cubicBezTo>
                  <a:pt x="1655886" y="4373383"/>
                  <a:pt x="1653536" y="4375732"/>
                  <a:pt x="1653536" y="4375732"/>
                </a:cubicBezTo>
                <a:lnTo>
                  <a:pt x="1646493" y="4380430"/>
                </a:lnTo>
                <a:cubicBezTo>
                  <a:pt x="1646493" y="4380430"/>
                  <a:pt x="1644143" y="4382778"/>
                  <a:pt x="1644143" y="4382778"/>
                </a:cubicBezTo>
                <a:lnTo>
                  <a:pt x="1641793" y="4380430"/>
                </a:lnTo>
                <a:lnTo>
                  <a:pt x="1639445" y="4371035"/>
                </a:lnTo>
                <a:close/>
                <a:moveTo>
                  <a:pt x="1160296" y="4363988"/>
                </a:moveTo>
                <a:lnTo>
                  <a:pt x="1167341" y="4373383"/>
                </a:lnTo>
                <a:lnTo>
                  <a:pt x="1160296" y="4375732"/>
                </a:lnTo>
                <a:close/>
                <a:moveTo>
                  <a:pt x="2726913" y="4361640"/>
                </a:moveTo>
                <a:cubicBezTo>
                  <a:pt x="2719866" y="4363989"/>
                  <a:pt x="2715170" y="4363989"/>
                  <a:pt x="2708123" y="4366338"/>
                </a:cubicBezTo>
                <a:cubicBezTo>
                  <a:pt x="2705774" y="4368687"/>
                  <a:pt x="2705774" y="4368687"/>
                  <a:pt x="2705774" y="4371035"/>
                </a:cubicBezTo>
                <a:cubicBezTo>
                  <a:pt x="2705774" y="4373384"/>
                  <a:pt x="2705774" y="4373384"/>
                  <a:pt x="2708123" y="4375733"/>
                </a:cubicBezTo>
                <a:cubicBezTo>
                  <a:pt x="2712820" y="4375733"/>
                  <a:pt x="2715170" y="4373384"/>
                  <a:pt x="2719866" y="4371035"/>
                </a:cubicBezTo>
                <a:cubicBezTo>
                  <a:pt x="2722215" y="4368687"/>
                  <a:pt x="2724564" y="4363989"/>
                  <a:pt x="2726913" y="4361640"/>
                </a:cubicBezTo>
                <a:close/>
                <a:moveTo>
                  <a:pt x="2607125" y="4359292"/>
                </a:moveTo>
                <a:lnTo>
                  <a:pt x="2607125" y="4373384"/>
                </a:lnTo>
                <a:cubicBezTo>
                  <a:pt x="2609474" y="4373384"/>
                  <a:pt x="2609474" y="4373384"/>
                  <a:pt x="2611823" y="4373384"/>
                </a:cubicBezTo>
                <a:cubicBezTo>
                  <a:pt x="2616520" y="4371035"/>
                  <a:pt x="2621218" y="4368687"/>
                  <a:pt x="2625916" y="4366338"/>
                </a:cubicBezTo>
                <a:cubicBezTo>
                  <a:pt x="2625916" y="4366338"/>
                  <a:pt x="2623567" y="4363989"/>
                  <a:pt x="2623567" y="4363989"/>
                </a:cubicBezTo>
                <a:lnTo>
                  <a:pt x="2609474" y="4359292"/>
                </a:lnTo>
                <a:cubicBezTo>
                  <a:pt x="2609474" y="4359292"/>
                  <a:pt x="2607125" y="4359292"/>
                  <a:pt x="2607125" y="4359292"/>
                </a:cubicBezTo>
                <a:close/>
                <a:moveTo>
                  <a:pt x="1592466" y="4356942"/>
                </a:moveTo>
                <a:lnTo>
                  <a:pt x="1601861" y="4359291"/>
                </a:lnTo>
                <a:cubicBezTo>
                  <a:pt x="1601861" y="4359291"/>
                  <a:pt x="1604208" y="4361640"/>
                  <a:pt x="1604208" y="4361640"/>
                </a:cubicBezTo>
                <a:lnTo>
                  <a:pt x="1601861" y="4366337"/>
                </a:lnTo>
                <a:lnTo>
                  <a:pt x="1592466" y="4366337"/>
                </a:lnTo>
                <a:lnTo>
                  <a:pt x="1587769" y="4361640"/>
                </a:lnTo>
                <a:close/>
                <a:moveTo>
                  <a:pt x="880797" y="4352245"/>
                </a:moveTo>
                <a:cubicBezTo>
                  <a:pt x="883145" y="4354594"/>
                  <a:pt x="885495" y="4359291"/>
                  <a:pt x="885495" y="4361640"/>
                </a:cubicBezTo>
                <a:cubicBezTo>
                  <a:pt x="885495" y="4363989"/>
                  <a:pt x="878448" y="4368686"/>
                  <a:pt x="873748" y="4378082"/>
                </a:cubicBezTo>
                <a:cubicBezTo>
                  <a:pt x="876096" y="4378082"/>
                  <a:pt x="878448" y="4378082"/>
                  <a:pt x="880797" y="4380430"/>
                </a:cubicBezTo>
                <a:cubicBezTo>
                  <a:pt x="883145" y="4380430"/>
                  <a:pt x="885495" y="4382779"/>
                  <a:pt x="887840" y="4385128"/>
                </a:cubicBezTo>
                <a:cubicBezTo>
                  <a:pt x="885495" y="4387477"/>
                  <a:pt x="883145" y="4389826"/>
                  <a:pt x="880797" y="4389826"/>
                </a:cubicBezTo>
                <a:cubicBezTo>
                  <a:pt x="878448" y="4392174"/>
                  <a:pt x="866703" y="4389826"/>
                  <a:pt x="864355" y="4387477"/>
                </a:cubicBezTo>
                <a:cubicBezTo>
                  <a:pt x="864355" y="4387477"/>
                  <a:pt x="864355" y="4387477"/>
                  <a:pt x="864355" y="4385128"/>
                </a:cubicBezTo>
                <a:cubicBezTo>
                  <a:pt x="866703" y="4382779"/>
                  <a:pt x="871402" y="4380430"/>
                  <a:pt x="869052" y="4375733"/>
                </a:cubicBezTo>
                <a:cubicBezTo>
                  <a:pt x="871402" y="4371035"/>
                  <a:pt x="866703" y="4363989"/>
                  <a:pt x="866703" y="4359291"/>
                </a:cubicBezTo>
                <a:cubicBezTo>
                  <a:pt x="869052" y="4352245"/>
                  <a:pt x="876096" y="4349896"/>
                  <a:pt x="880797" y="4352245"/>
                </a:cubicBezTo>
                <a:close/>
                <a:moveTo>
                  <a:pt x="2658799" y="4349896"/>
                </a:moveTo>
                <a:cubicBezTo>
                  <a:pt x="2651752" y="4347548"/>
                  <a:pt x="2649403" y="4349896"/>
                  <a:pt x="2649403" y="4352245"/>
                </a:cubicBezTo>
                <a:cubicBezTo>
                  <a:pt x="2649403" y="4352245"/>
                  <a:pt x="2656449" y="4354594"/>
                  <a:pt x="2656449" y="4352245"/>
                </a:cubicBezTo>
                <a:lnTo>
                  <a:pt x="2658799" y="4354594"/>
                </a:lnTo>
                <a:cubicBezTo>
                  <a:pt x="2658799" y="4354594"/>
                  <a:pt x="2661147" y="4354594"/>
                  <a:pt x="2661147" y="4354594"/>
                </a:cubicBezTo>
                <a:cubicBezTo>
                  <a:pt x="2661147" y="4352245"/>
                  <a:pt x="2661147" y="4349896"/>
                  <a:pt x="2658799" y="4349896"/>
                </a:cubicBezTo>
                <a:close/>
                <a:moveTo>
                  <a:pt x="941861" y="4349895"/>
                </a:moveTo>
                <a:cubicBezTo>
                  <a:pt x="941861" y="4349895"/>
                  <a:pt x="944209" y="4352244"/>
                  <a:pt x="944209" y="4352244"/>
                </a:cubicBezTo>
                <a:lnTo>
                  <a:pt x="944209" y="4361639"/>
                </a:lnTo>
                <a:cubicBezTo>
                  <a:pt x="944209" y="4361639"/>
                  <a:pt x="941861" y="4363988"/>
                  <a:pt x="941861" y="4361639"/>
                </a:cubicBezTo>
                <a:lnTo>
                  <a:pt x="932468" y="4366337"/>
                </a:lnTo>
                <a:lnTo>
                  <a:pt x="927772" y="4359290"/>
                </a:lnTo>
                <a:lnTo>
                  <a:pt x="932468" y="4354593"/>
                </a:lnTo>
                <a:lnTo>
                  <a:pt x="939515" y="4352244"/>
                </a:lnTo>
                <a:cubicBezTo>
                  <a:pt x="939515" y="4349895"/>
                  <a:pt x="941861" y="4349895"/>
                  <a:pt x="941861" y="4349895"/>
                </a:cubicBezTo>
                <a:close/>
                <a:moveTo>
                  <a:pt x="1063992" y="4340501"/>
                </a:moveTo>
                <a:cubicBezTo>
                  <a:pt x="1068690" y="4340501"/>
                  <a:pt x="1073390" y="4338152"/>
                  <a:pt x="1078085" y="4340501"/>
                </a:cubicBezTo>
                <a:cubicBezTo>
                  <a:pt x="1080434" y="4340501"/>
                  <a:pt x="1082782" y="4354594"/>
                  <a:pt x="1082782" y="4356942"/>
                </a:cubicBezTo>
                <a:cubicBezTo>
                  <a:pt x="1080434" y="4361640"/>
                  <a:pt x="1075736" y="4363989"/>
                  <a:pt x="1071040" y="4366338"/>
                </a:cubicBezTo>
                <a:cubicBezTo>
                  <a:pt x="1071040" y="4368686"/>
                  <a:pt x="1073390" y="4371035"/>
                  <a:pt x="1075736" y="4373384"/>
                </a:cubicBezTo>
                <a:cubicBezTo>
                  <a:pt x="1075736" y="4373384"/>
                  <a:pt x="1082782" y="4371035"/>
                  <a:pt x="1085132" y="4368686"/>
                </a:cubicBezTo>
                <a:lnTo>
                  <a:pt x="1110969" y="4375733"/>
                </a:lnTo>
                <a:cubicBezTo>
                  <a:pt x="1106271" y="4375733"/>
                  <a:pt x="1103925" y="4375733"/>
                  <a:pt x="1101575" y="4375733"/>
                </a:cubicBezTo>
                <a:cubicBezTo>
                  <a:pt x="1089833" y="4375733"/>
                  <a:pt x="1085132" y="4389826"/>
                  <a:pt x="1085132" y="4392174"/>
                </a:cubicBezTo>
                <a:cubicBezTo>
                  <a:pt x="1085132" y="4399220"/>
                  <a:pt x="1096876" y="4396872"/>
                  <a:pt x="1099225" y="4401569"/>
                </a:cubicBezTo>
                <a:cubicBezTo>
                  <a:pt x="1099225" y="4403918"/>
                  <a:pt x="1092183" y="4410964"/>
                  <a:pt x="1092183" y="4410964"/>
                </a:cubicBezTo>
                <a:cubicBezTo>
                  <a:pt x="1092183" y="4410964"/>
                  <a:pt x="1089833" y="4408615"/>
                  <a:pt x="1089833" y="4408615"/>
                </a:cubicBezTo>
                <a:cubicBezTo>
                  <a:pt x="1073390" y="4392174"/>
                  <a:pt x="1066340" y="4382779"/>
                  <a:pt x="1059297" y="4382779"/>
                </a:cubicBezTo>
                <a:cubicBezTo>
                  <a:pt x="1054597" y="4382779"/>
                  <a:pt x="1052249" y="4385128"/>
                  <a:pt x="1049899" y="4385128"/>
                </a:cubicBezTo>
                <a:cubicBezTo>
                  <a:pt x="1045205" y="4385128"/>
                  <a:pt x="1040504" y="4368686"/>
                  <a:pt x="1038156" y="4363989"/>
                </a:cubicBezTo>
                <a:lnTo>
                  <a:pt x="1033457" y="4354594"/>
                </a:lnTo>
                <a:lnTo>
                  <a:pt x="1040504" y="4349896"/>
                </a:lnTo>
                <a:cubicBezTo>
                  <a:pt x="1047551" y="4359291"/>
                  <a:pt x="1047551" y="4378082"/>
                  <a:pt x="1066340" y="4375733"/>
                </a:cubicBezTo>
                <a:cubicBezTo>
                  <a:pt x="1068690" y="4375733"/>
                  <a:pt x="1071040" y="4373384"/>
                  <a:pt x="1073390" y="4375733"/>
                </a:cubicBezTo>
                <a:cubicBezTo>
                  <a:pt x="1071040" y="4375733"/>
                  <a:pt x="1071040" y="4373384"/>
                  <a:pt x="1068690" y="4373384"/>
                </a:cubicBezTo>
                <a:cubicBezTo>
                  <a:pt x="1054597" y="4371035"/>
                  <a:pt x="1045205" y="4363989"/>
                  <a:pt x="1068690" y="4361640"/>
                </a:cubicBezTo>
                <a:cubicBezTo>
                  <a:pt x="1066340" y="4354594"/>
                  <a:pt x="1066340" y="4347547"/>
                  <a:pt x="1063992" y="4340501"/>
                </a:cubicBezTo>
                <a:close/>
                <a:moveTo>
                  <a:pt x="1637096" y="4338151"/>
                </a:moveTo>
                <a:lnTo>
                  <a:pt x="1644143" y="4345197"/>
                </a:lnTo>
                <a:lnTo>
                  <a:pt x="1646493" y="4347546"/>
                </a:lnTo>
                <a:cubicBezTo>
                  <a:pt x="1646493" y="4347546"/>
                  <a:pt x="1644143" y="4347546"/>
                  <a:pt x="1644143" y="4347546"/>
                </a:cubicBezTo>
                <a:lnTo>
                  <a:pt x="1634751" y="4349895"/>
                </a:lnTo>
                <a:close/>
                <a:moveTo>
                  <a:pt x="1110969" y="4335803"/>
                </a:moveTo>
                <a:lnTo>
                  <a:pt x="1118018" y="4338152"/>
                </a:lnTo>
                <a:lnTo>
                  <a:pt x="1110969" y="4347547"/>
                </a:lnTo>
                <a:lnTo>
                  <a:pt x="1106270" y="4338152"/>
                </a:lnTo>
                <a:close/>
                <a:moveTo>
                  <a:pt x="1017022" y="4333454"/>
                </a:moveTo>
                <a:lnTo>
                  <a:pt x="1028766" y="4354593"/>
                </a:lnTo>
                <a:lnTo>
                  <a:pt x="1017022" y="4363988"/>
                </a:lnTo>
                <a:lnTo>
                  <a:pt x="1014674" y="4363988"/>
                </a:lnTo>
                <a:lnTo>
                  <a:pt x="1012323" y="4354593"/>
                </a:lnTo>
                <a:close/>
                <a:moveTo>
                  <a:pt x="3105067" y="4328757"/>
                </a:moveTo>
                <a:cubicBezTo>
                  <a:pt x="3076881" y="4352245"/>
                  <a:pt x="3051044" y="4387477"/>
                  <a:pt x="3098020" y="4413314"/>
                </a:cubicBezTo>
                <a:cubicBezTo>
                  <a:pt x="3126205" y="4396872"/>
                  <a:pt x="3142647" y="4396872"/>
                  <a:pt x="3149694" y="4352245"/>
                </a:cubicBezTo>
                <a:cubicBezTo>
                  <a:pt x="3154390" y="4354594"/>
                  <a:pt x="3159088" y="4349896"/>
                  <a:pt x="3152042" y="4347548"/>
                </a:cubicBezTo>
                <a:cubicBezTo>
                  <a:pt x="3135600" y="4349896"/>
                  <a:pt x="3137949" y="4333455"/>
                  <a:pt x="3105067" y="4328757"/>
                </a:cubicBezTo>
                <a:close/>
                <a:moveTo>
                  <a:pt x="2733959" y="4328757"/>
                </a:moveTo>
                <a:lnTo>
                  <a:pt x="2715170" y="4333455"/>
                </a:lnTo>
                <a:cubicBezTo>
                  <a:pt x="2712820" y="4333455"/>
                  <a:pt x="2708123" y="4335804"/>
                  <a:pt x="2705774" y="4338152"/>
                </a:cubicBezTo>
                <a:cubicBezTo>
                  <a:pt x="2708123" y="4340501"/>
                  <a:pt x="2708123" y="4342850"/>
                  <a:pt x="2708123" y="4342850"/>
                </a:cubicBezTo>
                <a:cubicBezTo>
                  <a:pt x="2719866" y="4340501"/>
                  <a:pt x="2729262" y="4338152"/>
                  <a:pt x="2738657" y="4338152"/>
                </a:cubicBezTo>
                <a:cubicBezTo>
                  <a:pt x="2738657" y="4333455"/>
                  <a:pt x="2736308" y="4331106"/>
                  <a:pt x="2733959" y="4328757"/>
                </a:cubicBezTo>
                <a:close/>
                <a:moveTo>
                  <a:pt x="655997" y="4324764"/>
                </a:moveTo>
                <a:lnTo>
                  <a:pt x="683477" y="4345199"/>
                </a:lnTo>
                <a:cubicBezTo>
                  <a:pt x="676431" y="4340501"/>
                  <a:pt x="669389" y="4335804"/>
                  <a:pt x="662338" y="4331106"/>
                </a:cubicBezTo>
                <a:close/>
                <a:moveTo>
                  <a:pt x="2642357" y="4324060"/>
                </a:moveTo>
                <a:cubicBezTo>
                  <a:pt x="2642357" y="4324060"/>
                  <a:pt x="2640008" y="4326408"/>
                  <a:pt x="2640008" y="4326408"/>
                </a:cubicBezTo>
                <a:lnTo>
                  <a:pt x="2642357" y="4335804"/>
                </a:lnTo>
                <a:cubicBezTo>
                  <a:pt x="2642357" y="4335804"/>
                  <a:pt x="2644706" y="4338152"/>
                  <a:pt x="2644706" y="4338152"/>
                </a:cubicBezTo>
                <a:lnTo>
                  <a:pt x="2661147" y="4338152"/>
                </a:lnTo>
                <a:cubicBezTo>
                  <a:pt x="2665845" y="4335804"/>
                  <a:pt x="2668193" y="4335804"/>
                  <a:pt x="2672891" y="4333455"/>
                </a:cubicBezTo>
                <a:lnTo>
                  <a:pt x="2677588" y="4326408"/>
                </a:lnTo>
                <a:lnTo>
                  <a:pt x="2651752" y="4335804"/>
                </a:lnTo>
                <a:cubicBezTo>
                  <a:pt x="2647054" y="4324060"/>
                  <a:pt x="2644706" y="4324060"/>
                  <a:pt x="2642357" y="4324060"/>
                </a:cubicBezTo>
                <a:close/>
                <a:moveTo>
                  <a:pt x="916021" y="4321710"/>
                </a:moveTo>
                <a:lnTo>
                  <a:pt x="923064" y="4324059"/>
                </a:lnTo>
                <a:cubicBezTo>
                  <a:pt x="923064" y="4326408"/>
                  <a:pt x="925414" y="4326408"/>
                  <a:pt x="925414" y="4328756"/>
                </a:cubicBezTo>
                <a:cubicBezTo>
                  <a:pt x="925414" y="4328756"/>
                  <a:pt x="923064" y="4331105"/>
                  <a:pt x="923064" y="4331105"/>
                </a:cubicBezTo>
                <a:lnTo>
                  <a:pt x="916021" y="4335803"/>
                </a:lnTo>
                <a:cubicBezTo>
                  <a:pt x="916021" y="4335803"/>
                  <a:pt x="913671" y="4338151"/>
                  <a:pt x="913671" y="4338151"/>
                </a:cubicBezTo>
                <a:lnTo>
                  <a:pt x="913671" y="4335803"/>
                </a:lnTo>
                <a:lnTo>
                  <a:pt x="911321" y="4326408"/>
                </a:lnTo>
                <a:close/>
                <a:moveTo>
                  <a:pt x="2764493" y="4314665"/>
                </a:moveTo>
                <a:cubicBezTo>
                  <a:pt x="2762144" y="4317014"/>
                  <a:pt x="2757447" y="4317014"/>
                  <a:pt x="2752749" y="4319362"/>
                </a:cubicBezTo>
                <a:lnTo>
                  <a:pt x="2778586" y="4326408"/>
                </a:lnTo>
                <a:lnTo>
                  <a:pt x="2783284" y="4319362"/>
                </a:lnTo>
                <a:close/>
                <a:moveTo>
                  <a:pt x="1773312" y="4314665"/>
                </a:moveTo>
                <a:cubicBezTo>
                  <a:pt x="1759219" y="4328757"/>
                  <a:pt x="1752175" y="4352245"/>
                  <a:pt x="1766267" y="4366338"/>
                </a:cubicBezTo>
                <a:cubicBezTo>
                  <a:pt x="1773312" y="4335804"/>
                  <a:pt x="1799148" y="4328757"/>
                  <a:pt x="1773312" y="4314665"/>
                </a:cubicBezTo>
                <a:close/>
                <a:moveTo>
                  <a:pt x="1033457" y="4312315"/>
                </a:moveTo>
                <a:lnTo>
                  <a:pt x="1038154" y="4321710"/>
                </a:lnTo>
                <a:cubicBezTo>
                  <a:pt x="1038154" y="4321710"/>
                  <a:pt x="1040504" y="4324059"/>
                  <a:pt x="1042855" y="4326408"/>
                </a:cubicBezTo>
                <a:lnTo>
                  <a:pt x="1052249" y="4331105"/>
                </a:lnTo>
                <a:lnTo>
                  <a:pt x="1047551" y="4340500"/>
                </a:lnTo>
                <a:cubicBezTo>
                  <a:pt x="1045205" y="4340500"/>
                  <a:pt x="1045205" y="4342849"/>
                  <a:pt x="1042855" y="4342849"/>
                </a:cubicBezTo>
                <a:cubicBezTo>
                  <a:pt x="1042855" y="4342849"/>
                  <a:pt x="1038154" y="4340500"/>
                  <a:pt x="1035806" y="4340500"/>
                </a:cubicBezTo>
                <a:lnTo>
                  <a:pt x="1031108" y="4331105"/>
                </a:lnTo>
                <a:close/>
                <a:moveTo>
                  <a:pt x="3936534" y="4307619"/>
                </a:moveTo>
                <a:cubicBezTo>
                  <a:pt x="3934185" y="4317014"/>
                  <a:pt x="3927140" y="4326408"/>
                  <a:pt x="3941231" y="4328757"/>
                </a:cubicBezTo>
                <a:cubicBezTo>
                  <a:pt x="3943580" y="4324060"/>
                  <a:pt x="3943580" y="4321711"/>
                  <a:pt x="3945929" y="4317014"/>
                </a:cubicBezTo>
                <a:cubicBezTo>
                  <a:pt x="3938883" y="4314665"/>
                  <a:pt x="3941231" y="4309967"/>
                  <a:pt x="3936534" y="4307619"/>
                </a:cubicBezTo>
                <a:close/>
                <a:moveTo>
                  <a:pt x="1136805" y="4305269"/>
                </a:moveTo>
                <a:lnTo>
                  <a:pt x="1141503" y="4312315"/>
                </a:lnTo>
                <a:lnTo>
                  <a:pt x="1141503" y="4321710"/>
                </a:lnTo>
                <a:lnTo>
                  <a:pt x="1141503" y="4331106"/>
                </a:lnTo>
                <a:cubicBezTo>
                  <a:pt x="1141503" y="4331106"/>
                  <a:pt x="1139154" y="4333454"/>
                  <a:pt x="1136805" y="4335803"/>
                </a:cubicBezTo>
                <a:lnTo>
                  <a:pt x="1127410" y="4335803"/>
                </a:lnTo>
                <a:lnTo>
                  <a:pt x="1122711" y="4331106"/>
                </a:lnTo>
                <a:lnTo>
                  <a:pt x="1127410" y="4321710"/>
                </a:lnTo>
                <a:close/>
                <a:moveTo>
                  <a:pt x="2625916" y="4302921"/>
                </a:moveTo>
                <a:lnTo>
                  <a:pt x="2621218" y="4312316"/>
                </a:lnTo>
                <a:lnTo>
                  <a:pt x="2625916" y="4314665"/>
                </a:lnTo>
                <a:lnTo>
                  <a:pt x="2635310" y="4314665"/>
                </a:lnTo>
                <a:lnTo>
                  <a:pt x="2640008" y="4309967"/>
                </a:lnTo>
                <a:lnTo>
                  <a:pt x="2635310" y="4302921"/>
                </a:lnTo>
                <a:close/>
                <a:moveTo>
                  <a:pt x="5759186" y="4300571"/>
                </a:moveTo>
                <a:cubicBezTo>
                  <a:pt x="5766232" y="4300571"/>
                  <a:pt x="5763883" y="4305269"/>
                  <a:pt x="5759186" y="4307617"/>
                </a:cubicBezTo>
                <a:cubicBezTo>
                  <a:pt x="5752139" y="4307617"/>
                  <a:pt x="5756837" y="4300571"/>
                  <a:pt x="5759186" y="4300571"/>
                </a:cubicBezTo>
                <a:close/>
                <a:moveTo>
                  <a:pt x="5773278" y="4298223"/>
                </a:moveTo>
                <a:cubicBezTo>
                  <a:pt x="5777976" y="4309967"/>
                  <a:pt x="5785022" y="4319362"/>
                  <a:pt x="5787371" y="4331106"/>
                </a:cubicBezTo>
                <a:cubicBezTo>
                  <a:pt x="5792068" y="4333455"/>
                  <a:pt x="5787371" y="4324060"/>
                  <a:pt x="5789719" y="4319362"/>
                </a:cubicBezTo>
                <a:cubicBezTo>
                  <a:pt x="5792068" y="4335804"/>
                  <a:pt x="5799115" y="4356943"/>
                  <a:pt x="5794417" y="4373384"/>
                </a:cubicBezTo>
                <a:cubicBezTo>
                  <a:pt x="5787371" y="4354594"/>
                  <a:pt x="5782673" y="4335804"/>
                  <a:pt x="5775627" y="4319362"/>
                </a:cubicBezTo>
                <a:cubicBezTo>
                  <a:pt x="5775627" y="4312316"/>
                  <a:pt x="5775627" y="4305269"/>
                  <a:pt x="5773278" y="4298223"/>
                </a:cubicBezTo>
                <a:close/>
                <a:moveTo>
                  <a:pt x="1120361" y="4298222"/>
                </a:moveTo>
                <a:lnTo>
                  <a:pt x="1127410" y="4300571"/>
                </a:lnTo>
                <a:lnTo>
                  <a:pt x="1134455" y="4305268"/>
                </a:lnTo>
                <a:lnTo>
                  <a:pt x="1127410" y="4312315"/>
                </a:lnTo>
                <a:lnTo>
                  <a:pt x="1120361" y="4309966"/>
                </a:lnTo>
                <a:lnTo>
                  <a:pt x="1113317" y="4305268"/>
                </a:lnTo>
                <a:close/>
                <a:moveTo>
                  <a:pt x="1078084" y="4293525"/>
                </a:moveTo>
                <a:lnTo>
                  <a:pt x="1078084" y="4305269"/>
                </a:lnTo>
                <a:lnTo>
                  <a:pt x="1073390" y="4305269"/>
                </a:lnTo>
                <a:lnTo>
                  <a:pt x="1068690" y="4295874"/>
                </a:lnTo>
                <a:close/>
                <a:moveTo>
                  <a:pt x="3196668" y="4291177"/>
                </a:moveTo>
                <a:cubicBezTo>
                  <a:pt x="3194321" y="4293526"/>
                  <a:pt x="3194321" y="4293526"/>
                  <a:pt x="3191971" y="4293526"/>
                </a:cubicBezTo>
                <a:lnTo>
                  <a:pt x="3171735" y="4307691"/>
                </a:lnTo>
                <a:lnTo>
                  <a:pt x="3169714" y="4308230"/>
                </a:lnTo>
                <a:lnTo>
                  <a:pt x="3173474" y="4302921"/>
                </a:lnTo>
                <a:cubicBezTo>
                  <a:pt x="3176117" y="4301159"/>
                  <a:pt x="3179053" y="4299398"/>
                  <a:pt x="3180227" y="4295875"/>
                </a:cubicBezTo>
                <a:cubicBezTo>
                  <a:pt x="3173181" y="4298223"/>
                  <a:pt x="3166134" y="4298223"/>
                  <a:pt x="3159088" y="4300572"/>
                </a:cubicBezTo>
                <a:cubicBezTo>
                  <a:pt x="3156739" y="4302921"/>
                  <a:pt x="3156739" y="4307619"/>
                  <a:pt x="3154390" y="4312316"/>
                </a:cubicBezTo>
                <a:lnTo>
                  <a:pt x="3169714" y="4308230"/>
                </a:lnTo>
                <a:lnTo>
                  <a:pt x="3168483" y="4309967"/>
                </a:lnTo>
                <a:lnTo>
                  <a:pt x="3171735" y="4307691"/>
                </a:lnTo>
                <a:lnTo>
                  <a:pt x="3189622" y="4302921"/>
                </a:lnTo>
                <a:cubicBezTo>
                  <a:pt x="3194321" y="4298223"/>
                  <a:pt x="3194321" y="4293526"/>
                  <a:pt x="3196668" y="4291177"/>
                </a:cubicBezTo>
                <a:close/>
                <a:moveTo>
                  <a:pt x="1517310" y="4291176"/>
                </a:moveTo>
                <a:lnTo>
                  <a:pt x="1522004" y="4293525"/>
                </a:lnTo>
                <a:lnTo>
                  <a:pt x="1517310" y="4300571"/>
                </a:lnTo>
                <a:lnTo>
                  <a:pt x="1512610" y="4293525"/>
                </a:lnTo>
                <a:close/>
                <a:moveTo>
                  <a:pt x="5676979" y="4288828"/>
                </a:moveTo>
                <a:cubicBezTo>
                  <a:pt x="5688723" y="4307618"/>
                  <a:pt x="5700467" y="4326408"/>
                  <a:pt x="5714560" y="4345199"/>
                </a:cubicBezTo>
                <a:cubicBezTo>
                  <a:pt x="5702816" y="4345199"/>
                  <a:pt x="5693421" y="4319362"/>
                  <a:pt x="5679328" y="4312316"/>
                </a:cubicBezTo>
                <a:cubicBezTo>
                  <a:pt x="5676979" y="4324060"/>
                  <a:pt x="5681677" y="4335804"/>
                  <a:pt x="5686374" y="4347548"/>
                </a:cubicBezTo>
                <a:cubicBezTo>
                  <a:pt x="5695769" y="4345199"/>
                  <a:pt x="5709862" y="4349896"/>
                  <a:pt x="5712211" y="4352245"/>
                </a:cubicBezTo>
                <a:cubicBezTo>
                  <a:pt x="5709862" y="4366338"/>
                  <a:pt x="5698118" y="4356943"/>
                  <a:pt x="5688723" y="4354594"/>
                </a:cubicBezTo>
                <a:cubicBezTo>
                  <a:pt x="5688723" y="4359291"/>
                  <a:pt x="5691072" y="4366338"/>
                  <a:pt x="5691072" y="4371035"/>
                </a:cubicBezTo>
                <a:cubicBezTo>
                  <a:pt x="5688723" y="4366338"/>
                  <a:pt x="5686374" y="4359291"/>
                  <a:pt x="5684025" y="4354594"/>
                </a:cubicBezTo>
                <a:cubicBezTo>
                  <a:pt x="5684025" y="4354594"/>
                  <a:pt x="5681677" y="4354594"/>
                  <a:pt x="5681677" y="4354594"/>
                </a:cubicBezTo>
                <a:cubicBezTo>
                  <a:pt x="5681677" y="4354594"/>
                  <a:pt x="5681677" y="4352245"/>
                  <a:pt x="5681677" y="4352245"/>
                </a:cubicBezTo>
                <a:cubicBezTo>
                  <a:pt x="5676979" y="4342850"/>
                  <a:pt x="5672282" y="4333455"/>
                  <a:pt x="5667584" y="4324060"/>
                </a:cubicBezTo>
                <a:cubicBezTo>
                  <a:pt x="5669933" y="4312316"/>
                  <a:pt x="5672282" y="4300572"/>
                  <a:pt x="5676979" y="4288828"/>
                </a:cubicBezTo>
                <a:close/>
                <a:moveTo>
                  <a:pt x="2177320" y="4288827"/>
                </a:moveTo>
                <a:cubicBezTo>
                  <a:pt x="2182020" y="4288827"/>
                  <a:pt x="2184364" y="4293525"/>
                  <a:pt x="2184364" y="4295873"/>
                </a:cubicBezTo>
                <a:cubicBezTo>
                  <a:pt x="2182020" y="4298222"/>
                  <a:pt x="2179670" y="4300571"/>
                  <a:pt x="2177320" y="4302920"/>
                </a:cubicBezTo>
                <a:cubicBezTo>
                  <a:pt x="2177320" y="4298222"/>
                  <a:pt x="2177320" y="4293525"/>
                  <a:pt x="2177320" y="4288827"/>
                </a:cubicBezTo>
                <a:close/>
                <a:moveTo>
                  <a:pt x="2658799" y="4284131"/>
                </a:moveTo>
                <a:lnTo>
                  <a:pt x="2656449" y="4293526"/>
                </a:lnTo>
                <a:lnTo>
                  <a:pt x="2651752" y="4302921"/>
                </a:lnTo>
                <a:lnTo>
                  <a:pt x="2656449" y="4312316"/>
                </a:lnTo>
                <a:cubicBezTo>
                  <a:pt x="2656449" y="4312316"/>
                  <a:pt x="2658799" y="4314665"/>
                  <a:pt x="2658799" y="4314665"/>
                </a:cubicBezTo>
                <a:lnTo>
                  <a:pt x="2661147" y="4312316"/>
                </a:lnTo>
                <a:lnTo>
                  <a:pt x="2663496" y="4302921"/>
                </a:lnTo>
                <a:lnTo>
                  <a:pt x="2661147" y="4293526"/>
                </a:lnTo>
                <a:close/>
                <a:moveTo>
                  <a:pt x="5944739" y="4281781"/>
                </a:moveTo>
                <a:cubicBezTo>
                  <a:pt x="5944739" y="4284130"/>
                  <a:pt x="5947088" y="4288827"/>
                  <a:pt x="5947088" y="4293525"/>
                </a:cubicBezTo>
                <a:cubicBezTo>
                  <a:pt x="5947088" y="4291176"/>
                  <a:pt x="5947088" y="4291176"/>
                  <a:pt x="5944739" y="4288827"/>
                </a:cubicBezTo>
                <a:cubicBezTo>
                  <a:pt x="5944739" y="4291176"/>
                  <a:pt x="5944739" y="4291176"/>
                  <a:pt x="5944739" y="4293525"/>
                </a:cubicBezTo>
                <a:cubicBezTo>
                  <a:pt x="5944739" y="4291176"/>
                  <a:pt x="5942390" y="4291176"/>
                  <a:pt x="5935344" y="4291176"/>
                </a:cubicBezTo>
                <a:cubicBezTo>
                  <a:pt x="5935344" y="4286479"/>
                  <a:pt x="5937693" y="4286479"/>
                  <a:pt x="5940042" y="4284130"/>
                </a:cubicBezTo>
                <a:cubicBezTo>
                  <a:pt x="5942390" y="4284130"/>
                  <a:pt x="5942390" y="4284130"/>
                  <a:pt x="5944739" y="4281781"/>
                </a:cubicBezTo>
                <a:close/>
                <a:moveTo>
                  <a:pt x="1566630" y="4277083"/>
                </a:moveTo>
                <a:cubicBezTo>
                  <a:pt x="1568980" y="4277083"/>
                  <a:pt x="1568980" y="4277083"/>
                  <a:pt x="1568980" y="4277083"/>
                </a:cubicBezTo>
                <a:lnTo>
                  <a:pt x="1576025" y="4286478"/>
                </a:lnTo>
                <a:lnTo>
                  <a:pt x="1568980" y="4291176"/>
                </a:lnTo>
                <a:lnTo>
                  <a:pt x="1564280" y="4286478"/>
                </a:lnTo>
                <a:close/>
                <a:moveTo>
                  <a:pt x="2710471" y="4274735"/>
                </a:moveTo>
                <a:cubicBezTo>
                  <a:pt x="2705774" y="4279433"/>
                  <a:pt x="2701076" y="4284131"/>
                  <a:pt x="2696379" y="4288828"/>
                </a:cubicBezTo>
                <a:lnTo>
                  <a:pt x="2703426" y="4305270"/>
                </a:lnTo>
                <a:lnTo>
                  <a:pt x="2736308" y="4314665"/>
                </a:lnTo>
                <a:cubicBezTo>
                  <a:pt x="2741006" y="4312316"/>
                  <a:pt x="2745703" y="4309967"/>
                  <a:pt x="2750401" y="4309967"/>
                </a:cubicBezTo>
                <a:lnTo>
                  <a:pt x="2719866" y="4300572"/>
                </a:lnTo>
                <a:cubicBezTo>
                  <a:pt x="2710471" y="4298223"/>
                  <a:pt x="2708123" y="4298223"/>
                  <a:pt x="2708123" y="4286479"/>
                </a:cubicBezTo>
                <a:cubicBezTo>
                  <a:pt x="2708123" y="4281782"/>
                  <a:pt x="2708123" y="4279433"/>
                  <a:pt x="2710471" y="4274735"/>
                </a:cubicBezTo>
                <a:close/>
                <a:moveTo>
                  <a:pt x="2708123" y="4270038"/>
                </a:moveTo>
                <a:cubicBezTo>
                  <a:pt x="2691681" y="4267689"/>
                  <a:pt x="2675240" y="4272387"/>
                  <a:pt x="2661147" y="4277084"/>
                </a:cubicBezTo>
                <a:cubicBezTo>
                  <a:pt x="2661147" y="4279433"/>
                  <a:pt x="2665845" y="4281782"/>
                  <a:pt x="2668193" y="4281782"/>
                </a:cubicBezTo>
                <a:cubicBezTo>
                  <a:pt x="2672891" y="4281782"/>
                  <a:pt x="2672891" y="4274735"/>
                  <a:pt x="2677588" y="4274735"/>
                </a:cubicBezTo>
                <a:cubicBezTo>
                  <a:pt x="2677588" y="4274735"/>
                  <a:pt x="2682286" y="4272387"/>
                  <a:pt x="2691681" y="4284131"/>
                </a:cubicBezTo>
                <a:cubicBezTo>
                  <a:pt x="2698728" y="4279433"/>
                  <a:pt x="2703426" y="4274735"/>
                  <a:pt x="2708123" y="4270038"/>
                </a:cubicBezTo>
                <a:close/>
                <a:moveTo>
                  <a:pt x="995885" y="4267688"/>
                </a:moveTo>
                <a:lnTo>
                  <a:pt x="1017021" y="4267688"/>
                </a:lnTo>
                <a:lnTo>
                  <a:pt x="1019371" y="4288827"/>
                </a:lnTo>
                <a:lnTo>
                  <a:pt x="1009978" y="4288827"/>
                </a:lnTo>
                <a:cubicBezTo>
                  <a:pt x="1009978" y="4288827"/>
                  <a:pt x="1007627" y="4286478"/>
                  <a:pt x="1007627" y="4286478"/>
                </a:cubicBezTo>
                <a:lnTo>
                  <a:pt x="993535" y="4277083"/>
                </a:lnTo>
                <a:close/>
                <a:moveTo>
                  <a:pt x="2785633" y="4260643"/>
                </a:moveTo>
                <a:cubicBezTo>
                  <a:pt x="2785633" y="4265340"/>
                  <a:pt x="2783284" y="4267689"/>
                  <a:pt x="2785633" y="4270038"/>
                </a:cubicBezTo>
                <a:cubicBezTo>
                  <a:pt x="2785633" y="4270038"/>
                  <a:pt x="2787981" y="4272387"/>
                  <a:pt x="2790330" y="4272387"/>
                </a:cubicBezTo>
                <a:cubicBezTo>
                  <a:pt x="2790330" y="4267689"/>
                  <a:pt x="2790330" y="4262992"/>
                  <a:pt x="2790330" y="4260643"/>
                </a:cubicBezTo>
                <a:cubicBezTo>
                  <a:pt x="2787981" y="4260643"/>
                  <a:pt x="2785633" y="4260643"/>
                  <a:pt x="2785633" y="4260643"/>
                </a:cubicBezTo>
                <a:close/>
                <a:moveTo>
                  <a:pt x="1169688" y="4255944"/>
                </a:moveTo>
                <a:lnTo>
                  <a:pt x="1174388" y="4262990"/>
                </a:lnTo>
                <a:lnTo>
                  <a:pt x="1169688" y="4267688"/>
                </a:lnTo>
                <a:lnTo>
                  <a:pt x="1164991" y="4262990"/>
                </a:lnTo>
                <a:close/>
                <a:moveTo>
                  <a:pt x="5707512" y="4248898"/>
                </a:moveTo>
                <a:cubicBezTo>
                  <a:pt x="5702815" y="4251246"/>
                  <a:pt x="5700466" y="4255944"/>
                  <a:pt x="5707512" y="4255944"/>
                </a:cubicBezTo>
                <a:cubicBezTo>
                  <a:pt x="5707512" y="4253595"/>
                  <a:pt x="5707512" y="4251246"/>
                  <a:pt x="5707512" y="4248898"/>
                </a:cubicBezTo>
                <a:close/>
                <a:moveTo>
                  <a:pt x="2987627" y="4239504"/>
                </a:moveTo>
                <a:cubicBezTo>
                  <a:pt x="2978232" y="4246550"/>
                  <a:pt x="2959442" y="4248899"/>
                  <a:pt x="2978232" y="4262992"/>
                </a:cubicBezTo>
                <a:cubicBezTo>
                  <a:pt x="2975883" y="4248899"/>
                  <a:pt x="3004069" y="4251248"/>
                  <a:pt x="2987627" y="4239504"/>
                </a:cubicBezTo>
                <a:close/>
                <a:moveTo>
                  <a:pt x="2804424" y="4223062"/>
                </a:moveTo>
                <a:lnTo>
                  <a:pt x="2806641" y="4223192"/>
                </a:lnTo>
                <a:lnTo>
                  <a:pt x="2806067" y="4223766"/>
                </a:lnTo>
                <a:close/>
                <a:moveTo>
                  <a:pt x="2778586" y="4220713"/>
                </a:moveTo>
                <a:cubicBezTo>
                  <a:pt x="2766842" y="4230109"/>
                  <a:pt x="2752749" y="4237155"/>
                  <a:pt x="2741006" y="4246550"/>
                </a:cubicBezTo>
                <a:cubicBezTo>
                  <a:pt x="2741006" y="4248899"/>
                  <a:pt x="2743354" y="4251248"/>
                  <a:pt x="2743354" y="4253597"/>
                </a:cubicBezTo>
                <a:cubicBezTo>
                  <a:pt x="2743354" y="4253597"/>
                  <a:pt x="2745703" y="4253597"/>
                  <a:pt x="2745703" y="4253597"/>
                </a:cubicBezTo>
                <a:cubicBezTo>
                  <a:pt x="2748053" y="4251248"/>
                  <a:pt x="2750401" y="4248899"/>
                  <a:pt x="2752749" y="4246550"/>
                </a:cubicBezTo>
                <a:lnTo>
                  <a:pt x="2766842" y="4251248"/>
                </a:lnTo>
                <a:cubicBezTo>
                  <a:pt x="2776237" y="4251248"/>
                  <a:pt x="2785633" y="4246550"/>
                  <a:pt x="2792680" y="4244201"/>
                </a:cubicBezTo>
                <a:cubicBezTo>
                  <a:pt x="2795027" y="4241853"/>
                  <a:pt x="2795027" y="4241853"/>
                  <a:pt x="2797376" y="4239504"/>
                </a:cubicBezTo>
                <a:lnTo>
                  <a:pt x="2797376" y="4232457"/>
                </a:lnTo>
                <a:lnTo>
                  <a:pt x="2806067" y="4223766"/>
                </a:lnTo>
                <a:lnTo>
                  <a:pt x="2820864" y="4230109"/>
                </a:lnTo>
                <a:cubicBezTo>
                  <a:pt x="2827910" y="4230109"/>
                  <a:pt x="2832608" y="4227760"/>
                  <a:pt x="2839654" y="4227760"/>
                </a:cubicBezTo>
                <a:cubicBezTo>
                  <a:pt x="2842003" y="4227760"/>
                  <a:pt x="2844352" y="4227760"/>
                  <a:pt x="2844352" y="4225411"/>
                </a:cubicBezTo>
                <a:lnTo>
                  <a:pt x="2806641" y="4223192"/>
                </a:lnTo>
                <a:lnTo>
                  <a:pt x="2806771" y="4223062"/>
                </a:lnTo>
                <a:cubicBezTo>
                  <a:pt x="2797376" y="4223062"/>
                  <a:pt x="2787981" y="4223062"/>
                  <a:pt x="2778586" y="4220713"/>
                </a:cubicBezTo>
                <a:close/>
                <a:moveTo>
                  <a:pt x="6367244" y="4217315"/>
                </a:moveTo>
                <a:lnTo>
                  <a:pt x="6369869" y="4218365"/>
                </a:lnTo>
                <a:lnTo>
                  <a:pt x="6368731" y="4221068"/>
                </a:lnTo>
                <a:close/>
                <a:moveTo>
                  <a:pt x="1009978" y="4213666"/>
                </a:moveTo>
                <a:lnTo>
                  <a:pt x="1014674" y="4218364"/>
                </a:lnTo>
                <a:lnTo>
                  <a:pt x="1009978" y="4225410"/>
                </a:lnTo>
                <a:lnTo>
                  <a:pt x="1002929" y="4218364"/>
                </a:lnTo>
                <a:close/>
                <a:moveTo>
                  <a:pt x="2919514" y="4192528"/>
                </a:moveTo>
                <a:cubicBezTo>
                  <a:pt x="2912466" y="4194877"/>
                  <a:pt x="2905420" y="4199575"/>
                  <a:pt x="2898374" y="4201923"/>
                </a:cubicBezTo>
                <a:lnTo>
                  <a:pt x="2908898" y="4203426"/>
                </a:lnTo>
                <a:lnTo>
                  <a:pt x="2907769" y="4204272"/>
                </a:lnTo>
                <a:lnTo>
                  <a:pt x="2909335" y="4203489"/>
                </a:lnTo>
                <a:lnTo>
                  <a:pt x="2914815" y="4204272"/>
                </a:lnTo>
                <a:cubicBezTo>
                  <a:pt x="2917164" y="4201923"/>
                  <a:pt x="2917164" y="4201923"/>
                  <a:pt x="2917164" y="4199575"/>
                </a:cubicBezTo>
                <a:lnTo>
                  <a:pt x="2909335" y="4203489"/>
                </a:lnTo>
                <a:lnTo>
                  <a:pt x="2908898" y="4203426"/>
                </a:lnTo>
                <a:lnTo>
                  <a:pt x="2917164" y="4197226"/>
                </a:lnTo>
                <a:cubicBezTo>
                  <a:pt x="2917164" y="4194877"/>
                  <a:pt x="2919514" y="4194877"/>
                  <a:pt x="2919514" y="4192528"/>
                </a:cubicBezTo>
                <a:close/>
                <a:moveTo>
                  <a:pt x="3020510" y="4190180"/>
                </a:moveTo>
                <a:cubicBezTo>
                  <a:pt x="3018161" y="4201923"/>
                  <a:pt x="2992325" y="4213667"/>
                  <a:pt x="3006417" y="4225411"/>
                </a:cubicBezTo>
                <a:cubicBezTo>
                  <a:pt x="3006417" y="4206621"/>
                  <a:pt x="3034604" y="4204272"/>
                  <a:pt x="3020510" y="4190180"/>
                </a:cubicBezTo>
                <a:close/>
                <a:moveTo>
                  <a:pt x="2668193" y="4187831"/>
                </a:moveTo>
                <a:cubicBezTo>
                  <a:pt x="2654101" y="4183133"/>
                  <a:pt x="2637659" y="4204272"/>
                  <a:pt x="2642357" y="4216016"/>
                </a:cubicBezTo>
                <a:cubicBezTo>
                  <a:pt x="2644706" y="4211318"/>
                  <a:pt x="2656449" y="4216016"/>
                  <a:pt x="2661147" y="4213667"/>
                </a:cubicBezTo>
                <a:cubicBezTo>
                  <a:pt x="2663496" y="4206621"/>
                  <a:pt x="2668193" y="4197226"/>
                  <a:pt x="2668193" y="4187831"/>
                </a:cubicBezTo>
                <a:close/>
                <a:moveTo>
                  <a:pt x="2997022" y="4180784"/>
                </a:moveTo>
                <a:cubicBezTo>
                  <a:pt x="2957093" y="4204272"/>
                  <a:pt x="2919514" y="4274735"/>
                  <a:pt x="2874887" y="4314665"/>
                </a:cubicBezTo>
                <a:cubicBezTo>
                  <a:pt x="2917164" y="4284131"/>
                  <a:pt x="2985278" y="4213667"/>
                  <a:pt x="2997022" y="4180784"/>
                </a:cubicBezTo>
                <a:close/>
                <a:moveTo>
                  <a:pt x="5693420" y="4173737"/>
                </a:moveTo>
                <a:cubicBezTo>
                  <a:pt x="5700466" y="4185480"/>
                  <a:pt x="5702815" y="4197224"/>
                  <a:pt x="5709861" y="4208968"/>
                </a:cubicBezTo>
                <a:cubicBezTo>
                  <a:pt x="5712210" y="4208968"/>
                  <a:pt x="5716908" y="4208968"/>
                  <a:pt x="5719256" y="4208968"/>
                </a:cubicBezTo>
                <a:cubicBezTo>
                  <a:pt x="5719256" y="4211317"/>
                  <a:pt x="5716908" y="4216015"/>
                  <a:pt x="5716908" y="4218364"/>
                </a:cubicBezTo>
                <a:cubicBezTo>
                  <a:pt x="5721605" y="4223061"/>
                  <a:pt x="5726303" y="4227759"/>
                  <a:pt x="5731000" y="4232456"/>
                </a:cubicBezTo>
                <a:cubicBezTo>
                  <a:pt x="5723954" y="4206620"/>
                  <a:pt x="5712210" y="4185480"/>
                  <a:pt x="5693420" y="4173737"/>
                </a:cubicBezTo>
                <a:close/>
                <a:moveTo>
                  <a:pt x="2926559" y="4166692"/>
                </a:moveTo>
                <a:cubicBezTo>
                  <a:pt x="2924210" y="4169040"/>
                  <a:pt x="2924210" y="4169040"/>
                  <a:pt x="2924210" y="4169040"/>
                </a:cubicBezTo>
                <a:cubicBezTo>
                  <a:pt x="2910118" y="4173738"/>
                  <a:pt x="2907769" y="4187831"/>
                  <a:pt x="2893676" y="4192528"/>
                </a:cubicBezTo>
                <a:cubicBezTo>
                  <a:pt x="2877235" y="4187831"/>
                  <a:pt x="2872537" y="4178436"/>
                  <a:pt x="2860793" y="4197226"/>
                </a:cubicBezTo>
                <a:cubicBezTo>
                  <a:pt x="2851398" y="4194877"/>
                  <a:pt x="2846700" y="4187831"/>
                  <a:pt x="2842003" y="4178436"/>
                </a:cubicBezTo>
                <a:cubicBezTo>
                  <a:pt x="2823213" y="4185482"/>
                  <a:pt x="2806771" y="4197226"/>
                  <a:pt x="2795027" y="4211318"/>
                </a:cubicBezTo>
                <a:cubicBezTo>
                  <a:pt x="2823213" y="4218365"/>
                  <a:pt x="2844352" y="4216016"/>
                  <a:pt x="2865491" y="4211318"/>
                </a:cubicBezTo>
                <a:cubicBezTo>
                  <a:pt x="2863142" y="4208970"/>
                  <a:pt x="2858444" y="4208970"/>
                  <a:pt x="2856096" y="4208970"/>
                </a:cubicBezTo>
                <a:cubicBezTo>
                  <a:pt x="2867840" y="4199575"/>
                  <a:pt x="2881932" y="4197226"/>
                  <a:pt x="2896025" y="4199575"/>
                </a:cubicBezTo>
                <a:cubicBezTo>
                  <a:pt x="2907769" y="4194877"/>
                  <a:pt x="2917164" y="4190180"/>
                  <a:pt x="2926559" y="4185482"/>
                </a:cubicBezTo>
                <a:cubicBezTo>
                  <a:pt x="2928908" y="4178436"/>
                  <a:pt x="2933605" y="4171389"/>
                  <a:pt x="2935954" y="4166692"/>
                </a:cubicBezTo>
                <a:cubicBezTo>
                  <a:pt x="2935954" y="4166692"/>
                  <a:pt x="2933605" y="4166692"/>
                  <a:pt x="2933605" y="4166692"/>
                </a:cubicBezTo>
                <a:cubicBezTo>
                  <a:pt x="2931256" y="4166692"/>
                  <a:pt x="2928908" y="4166692"/>
                  <a:pt x="2926559" y="4166692"/>
                </a:cubicBezTo>
                <a:close/>
                <a:moveTo>
                  <a:pt x="2186714" y="4154948"/>
                </a:moveTo>
                <a:lnTo>
                  <a:pt x="2212551" y="4154948"/>
                </a:lnTo>
                <a:cubicBezTo>
                  <a:pt x="2212551" y="4154948"/>
                  <a:pt x="2214899" y="4157297"/>
                  <a:pt x="2214899" y="4159646"/>
                </a:cubicBezTo>
                <a:lnTo>
                  <a:pt x="2214899" y="4178436"/>
                </a:lnTo>
                <a:lnTo>
                  <a:pt x="2200806" y="4206621"/>
                </a:lnTo>
                <a:cubicBezTo>
                  <a:pt x="2200806" y="4206621"/>
                  <a:pt x="2198457" y="4208970"/>
                  <a:pt x="2198457" y="4211319"/>
                </a:cubicBezTo>
                <a:lnTo>
                  <a:pt x="2193762" y="4206621"/>
                </a:lnTo>
                <a:close/>
                <a:moveTo>
                  <a:pt x="1669451" y="4154177"/>
                </a:moveTo>
                <a:cubicBezTo>
                  <a:pt x="1652057" y="4158911"/>
                  <a:pt x="1645890" y="4183133"/>
                  <a:pt x="1637084" y="4190180"/>
                </a:cubicBezTo>
                <a:cubicBezTo>
                  <a:pt x="1641779" y="4192528"/>
                  <a:pt x="1648827" y="4194877"/>
                  <a:pt x="1653527" y="4197226"/>
                </a:cubicBezTo>
                <a:cubicBezTo>
                  <a:pt x="1660569" y="4176087"/>
                  <a:pt x="1679362" y="4173738"/>
                  <a:pt x="1691104" y="4157296"/>
                </a:cubicBezTo>
                <a:cubicBezTo>
                  <a:pt x="1682296" y="4153186"/>
                  <a:pt x="1675251" y="4152598"/>
                  <a:pt x="1669451" y="4154177"/>
                </a:cubicBezTo>
                <a:close/>
                <a:moveTo>
                  <a:pt x="3027557" y="4152599"/>
                </a:moveTo>
                <a:cubicBezTo>
                  <a:pt x="3020510" y="4159645"/>
                  <a:pt x="3013464" y="4164343"/>
                  <a:pt x="3006417" y="4171389"/>
                </a:cubicBezTo>
                <a:cubicBezTo>
                  <a:pt x="3018161" y="4180784"/>
                  <a:pt x="3039300" y="4159645"/>
                  <a:pt x="3027557" y="4152599"/>
                </a:cubicBezTo>
                <a:close/>
                <a:moveTo>
                  <a:pt x="2820864" y="4145552"/>
                </a:moveTo>
                <a:cubicBezTo>
                  <a:pt x="2783284" y="4152599"/>
                  <a:pt x="2752749" y="4176087"/>
                  <a:pt x="2719866" y="4183133"/>
                </a:cubicBezTo>
                <a:cubicBezTo>
                  <a:pt x="2717518" y="4192528"/>
                  <a:pt x="2731610" y="4185482"/>
                  <a:pt x="2731610" y="4192528"/>
                </a:cubicBezTo>
                <a:cubicBezTo>
                  <a:pt x="2703426" y="4187831"/>
                  <a:pt x="2686984" y="4194877"/>
                  <a:pt x="2672891" y="4208970"/>
                </a:cubicBezTo>
                <a:cubicBezTo>
                  <a:pt x="2712820" y="4208970"/>
                  <a:pt x="2733959" y="4208970"/>
                  <a:pt x="2780935" y="4211318"/>
                </a:cubicBezTo>
                <a:cubicBezTo>
                  <a:pt x="2797376" y="4197226"/>
                  <a:pt x="2816166" y="4185482"/>
                  <a:pt x="2837305" y="4176087"/>
                </a:cubicBezTo>
                <a:cubicBezTo>
                  <a:pt x="2832608" y="4164343"/>
                  <a:pt x="2827910" y="4152599"/>
                  <a:pt x="2820864" y="4145552"/>
                </a:cubicBezTo>
                <a:close/>
                <a:moveTo>
                  <a:pt x="2717518" y="4138506"/>
                </a:moveTo>
                <a:cubicBezTo>
                  <a:pt x="2703426" y="4147901"/>
                  <a:pt x="2708123" y="4178436"/>
                  <a:pt x="2682286" y="4178436"/>
                </a:cubicBezTo>
                <a:cubicBezTo>
                  <a:pt x="2682286" y="4187831"/>
                  <a:pt x="2675240" y="4192528"/>
                  <a:pt x="2668193" y="4199575"/>
                </a:cubicBezTo>
                <a:cubicBezTo>
                  <a:pt x="2682286" y="4201923"/>
                  <a:pt x="2682286" y="4192528"/>
                  <a:pt x="2684635" y="4190180"/>
                </a:cubicBezTo>
                <a:cubicBezTo>
                  <a:pt x="2712820" y="4180784"/>
                  <a:pt x="2750401" y="4178436"/>
                  <a:pt x="2755098" y="4140855"/>
                </a:cubicBezTo>
                <a:cubicBezTo>
                  <a:pt x="2741006" y="4133809"/>
                  <a:pt x="2726913" y="4145552"/>
                  <a:pt x="2719866" y="4147901"/>
                </a:cubicBezTo>
                <a:cubicBezTo>
                  <a:pt x="2724564" y="4145552"/>
                  <a:pt x="2724564" y="4136157"/>
                  <a:pt x="2717518" y="4138506"/>
                </a:cubicBezTo>
                <a:close/>
                <a:moveTo>
                  <a:pt x="5888443" y="4134543"/>
                </a:moveTo>
                <a:cubicBezTo>
                  <a:pt x="5891305" y="4138506"/>
                  <a:pt x="5910683" y="4159645"/>
                  <a:pt x="5893067" y="4138506"/>
                </a:cubicBezTo>
                <a:cubicBezTo>
                  <a:pt x="5888369" y="4133809"/>
                  <a:pt x="5887488" y="4133222"/>
                  <a:pt x="5888443" y="4134543"/>
                </a:cubicBezTo>
                <a:close/>
                <a:moveTo>
                  <a:pt x="2689332" y="4133809"/>
                </a:moveTo>
                <a:cubicBezTo>
                  <a:pt x="2682286" y="4152599"/>
                  <a:pt x="2665845" y="4159645"/>
                  <a:pt x="2663496" y="4180784"/>
                </a:cubicBezTo>
                <a:cubicBezTo>
                  <a:pt x="2682286" y="4176087"/>
                  <a:pt x="2686984" y="4152599"/>
                  <a:pt x="2696379" y="4136157"/>
                </a:cubicBezTo>
                <a:cubicBezTo>
                  <a:pt x="2694030" y="4136157"/>
                  <a:pt x="2694030" y="4133809"/>
                  <a:pt x="2689332" y="4133809"/>
                </a:cubicBezTo>
                <a:close/>
                <a:moveTo>
                  <a:pt x="3635890" y="4129111"/>
                </a:moveTo>
                <a:cubicBezTo>
                  <a:pt x="3619449" y="4150250"/>
                  <a:pt x="3619449" y="4143204"/>
                  <a:pt x="3607706" y="4166692"/>
                </a:cubicBezTo>
                <a:cubicBezTo>
                  <a:pt x="3619449" y="4171389"/>
                  <a:pt x="3612402" y="4185482"/>
                  <a:pt x="3624146" y="4192528"/>
                </a:cubicBezTo>
                <a:cubicBezTo>
                  <a:pt x="3642936" y="4190180"/>
                  <a:pt x="3657029" y="4176087"/>
                  <a:pt x="3671122" y="4157296"/>
                </a:cubicBezTo>
                <a:cubicBezTo>
                  <a:pt x="3661727" y="4138506"/>
                  <a:pt x="3645285" y="4140855"/>
                  <a:pt x="3635890" y="4129111"/>
                </a:cubicBezTo>
                <a:close/>
                <a:moveTo>
                  <a:pt x="3384571" y="4110321"/>
                </a:moveTo>
                <a:cubicBezTo>
                  <a:pt x="3375176" y="4115018"/>
                  <a:pt x="3354037" y="4150250"/>
                  <a:pt x="3363432" y="4161994"/>
                </a:cubicBezTo>
                <a:cubicBezTo>
                  <a:pt x="3365780" y="4138506"/>
                  <a:pt x="3398664" y="4129111"/>
                  <a:pt x="3384571" y="4110321"/>
                </a:cubicBezTo>
                <a:close/>
                <a:moveTo>
                  <a:pt x="5702815" y="4107971"/>
                </a:moveTo>
                <a:cubicBezTo>
                  <a:pt x="5707512" y="4110320"/>
                  <a:pt x="5709861" y="4112669"/>
                  <a:pt x="5714559" y="4115017"/>
                </a:cubicBezTo>
                <a:cubicBezTo>
                  <a:pt x="5714559" y="4117366"/>
                  <a:pt x="5716908" y="4122064"/>
                  <a:pt x="5721605" y="4124412"/>
                </a:cubicBezTo>
                <a:cubicBezTo>
                  <a:pt x="5721605" y="4122064"/>
                  <a:pt x="5721605" y="4122064"/>
                  <a:pt x="5721605" y="4119715"/>
                </a:cubicBezTo>
                <a:cubicBezTo>
                  <a:pt x="5723954" y="4124412"/>
                  <a:pt x="5726303" y="4126761"/>
                  <a:pt x="5728652" y="4133807"/>
                </a:cubicBezTo>
                <a:cubicBezTo>
                  <a:pt x="5735698" y="4140854"/>
                  <a:pt x="5742744" y="4147900"/>
                  <a:pt x="5747442" y="4157295"/>
                </a:cubicBezTo>
                <a:cubicBezTo>
                  <a:pt x="5742744" y="4152598"/>
                  <a:pt x="5735698" y="4145551"/>
                  <a:pt x="5731000" y="4140854"/>
                </a:cubicBezTo>
                <a:cubicBezTo>
                  <a:pt x="5731000" y="4143203"/>
                  <a:pt x="5731000" y="4143203"/>
                  <a:pt x="5731000" y="4143203"/>
                </a:cubicBezTo>
                <a:cubicBezTo>
                  <a:pt x="5723954" y="4140854"/>
                  <a:pt x="5721605" y="4143203"/>
                  <a:pt x="5721605" y="4147900"/>
                </a:cubicBezTo>
                <a:cubicBezTo>
                  <a:pt x="5728652" y="4154947"/>
                  <a:pt x="5738046" y="4159644"/>
                  <a:pt x="5747442" y="4161993"/>
                </a:cubicBezTo>
                <a:cubicBezTo>
                  <a:pt x="5749790" y="4169039"/>
                  <a:pt x="5742744" y="4171388"/>
                  <a:pt x="5738046" y="4166691"/>
                </a:cubicBezTo>
                <a:cubicBezTo>
                  <a:pt x="5761534" y="4208968"/>
                  <a:pt x="5792068" y="4244200"/>
                  <a:pt x="5789720" y="4312315"/>
                </a:cubicBezTo>
                <a:cubicBezTo>
                  <a:pt x="5780325" y="4291176"/>
                  <a:pt x="5785022" y="4253595"/>
                  <a:pt x="5761534" y="4246549"/>
                </a:cubicBezTo>
                <a:cubicBezTo>
                  <a:pt x="5759186" y="4258293"/>
                  <a:pt x="5761534" y="4267688"/>
                  <a:pt x="5763883" y="4279432"/>
                </a:cubicBezTo>
                <a:cubicBezTo>
                  <a:pt x="5761534" y="4281781"/>
                  <a:pt x="5761534" y="4281781"/>
                  <a:pt x="5759186" y="4284129"/>
                </a:cubicBezTo>
                <a:cubicBezTo>
                  <a:pt x="5754488" y="4274734"/>
                  <a:pt x="5749790" y="4265339"/>
                  <a:pt x="5745093" y="4258293"/>
                </a:cubicBezTo>
                <a:cubicBezTo>
                  <a:pt x="5738046" y="4265339"/>
                  <a:pt x="5731000" y="4267688"/>
                  <a:pt x="5723954" y="4272386"/>
                </a:cubicBezTo>
                <a:cubicBezTo>
                  <a:pt x="5726303" y="4284129"/>
                  <a:pt x="5731000" y="4293524"/>
                  <a:pt x="5733349" y="4302919"/>
                </a:cubicBezTo>
                <a:cubicBezTo>
                  <a:pt x="5728652" y="4298222"/>
                  <a:pt x="5723954" y="4288827"/>
                  <a:pt x="5719256" y="4281781"/>
                </a:cubicBezTo>
                <a:cubicBezTo>
                  <a:pt x="5709861" y="4274734"/>
                  <a:pt x="5698117" y="4272386"/>
                  <a:pt x="5684025" y="4272386"/>
                </a:cubicBezTo>
                <a:cubicBezTo>
                  <a:pt x="5688722" y="4260642"/>
                  <a:pt x="5693420" y="4251246"/>
                  <a:pt x="5700466" y="4239502"/>
                </a:cubicBezTo>
                <a:cubicBezTo>
                  <a:pt x="5691071" y="4230107"/>
                  <a:pt x="5674630" y="4248898"/>
                  <a:pt x="5676978" y="4230107"/>
                </a:cubicBezTo>
                <a:cubicBezTo>
                  <a:pt x="5712210" y="4220712"/>
                  <a:pt x="5693420" y="4157295"/>
                  <a:pt x="5669932" y="4180783"/>
                </a:cubicBezTo>
                <a:cubicBezTo>
                  <a:pt x="5679327" y="4152598"/>
                  <a:pt x="5686373" y="4129110"/>
                  <a:pt x="5702815" y="4107971"/>
                </a:cubicBezTo>
                <a:close/>
                <a:moveTo>
                  <a:pt x="359361" y="4103274"/>
                </a:moveTo>
                <a:lnTo>
                  <a:pt x="368753" y="4105623"/>
                </a:lnTo>
                <a:cubicBezTo>
                  <a:pt x="371103" y="4105623"/>
                  <a:pt x="371103" y="4107972"/>
                  <a:pt x="371103" y="4107972"/>
                </a:cubicBezTo>
                <a:cubicBezTo>
                  <a:pt x="371103" y="4107972"/>
                  <a:pt x="368753" y="4110320"/>
                  <a:pt x="368753" y="4110320"/>
                </a:cubicBezTo>
                <a:lnTo>
                  <a:pt x="359361" y="4112669"/>
                </a:lnTo>
                <a:lnTo>
                  <a:pt x="357011" y="4107972"/>
                </a:lnTo>
                <a:close/>
                <a:moveTo>
                  <a:pt x="5108268" y="4100655"/>
                </a:moveTo>
                <a:lnTo>
                  <a:pt x="5107216" y="4104852"/>
                </a:lnTo>
                <a:lnTo>
                  <a:pt x="5103556" y="4112572"/>
                </a:lnTo>
                <a:lnTo>
                  <a:pt x="5102813" y="4111862"/>
                </a:lnTo>
                <a:cubicBezTo>
                  <a:pt x="5102336" y="4109146"/>
                  <a:pt x="5103143" y="4105916"/>
                  <a:pt x="5104758" y="4103274"/>
                </a:cubicBezTo>
                <a:close/>
                <a:moveTo>
                  <a:pt x="2301785" y="4096228"/>
                </a:moveTo>
                <a:cubicBezTo>
                  <a:pt x="2301785" y="4098577"/>
                  <a:pt x="2304134" y="4100926"/>
                  <a:pt x="2304134" y="4103275"/>
                </a:cubicBezTo>
                <a:lnTo>
                  <a:pt x="2311180" y="4103275"/>
                </a:lnTo>
                <a:cubicBezTo>
                  <a:pt x="2311180" y="4124414"/>
                  <a:pt x="2315878" y="4145553"/>
                  <a:pt x="2325273" y="4166692"/>
                </a:cubicBezTo>
                <a:lnTo>
                  <a:pt x="2306483" y="4192529"/>
                </a:lnTo>
                <a:cubicBezTo>
                  <a:pt x="2299437" y="4185482"/>
                  <a:pt x="2287693" y="4166692"/>
                  <a:pt x="2294740" y="4152600"/>
                </a:cubicBezTo>
                <a:cubicBezTo>
                  <a:pt x="2297088" y="4147902"/>
                  <a:pt x="2304134" y="4147902"/>
                  <a:pt x="2311180" y="4145553"/>
                </a:cubicBezTo>
                <a:cubicBezTo>
                  <a:pt x="2294740" y="4133809"/>
                  <a:pt x="2294740" y="4133809"/>
                  <a:pt x="2292390" y="4119717"/>
                </a:cubicBezTo>
                <a:cubicBezTo>
                  <a:pt x="2290041" y="4103275"/>
                  <a:pt x="2292390" y="4105624"/>
                  <a:pt x="2301785" y="4096228"/>
                </a:cubicBezTo>
                <a:close/>
                <a:moveTo>
                  <a:pt x="2823213" y="4093879"/>
                </a:moveTo>
                <a:cubicBezTo>
                  <a:pt x="2823213" y="4096228"/>
                  <a:pt x="2823213" y="4098577"/>
                  <a:pt x="2825561" y="4100926"/>
                </a:cubicBezTo>
                <a:cubicBezTo>
                  <a:pt x="2825561" y="4098577"/>
                  <a:pt x="2827910" y="4096228"/>
                  <a:pt x="2827910" y="4093879"/>
                </a:cubicBezTo>
                <a:cubicBezTo>
                  <a:pt x="2827910" y="4093879"/>
                  <a:pt x="2825561" y="4093879"/>
                  <a:pt x="2823213" y="4093879"/>
                </a:cubicBezTo>
                <a:close/>
                <a:moveTo>
                  <a:pt x="2818515" y="4093879"/>
                </a:moveTo>
                <a:cubicBezTo>
                  <a:pt x="2806771" y="4093879"/>
                  <a:pt x="2799725" y="4110321"/>
                  <a:pt x="2792680" y="4107972"/>
                </a:cubicBezTo>
                <a:cubicBezTo>
                  <a:pt x="2792680" y="4105623"/>
                  <a:pt x="2804424" y="4098577"/>
                  <a:pt x="2792680" y="4098577"/>
                </a:cubicBezTo>
                <a:cubicBezTo>
                  <a:pt x="2780935" y="4107972"/>
                  <a:pt x="2773888" y="4122065"/>
                  <a:pt x="2776237" y="4145552"/>
                </a:cubicBezTo>
                <a:cubicBezTo>
                  <a:pt x="2766842" y="4147901"/>
                  <a:pt x="2755098" y="4145552"/>
                  <a:pt x="2757447" y="4161994"/>
                </a:cubicBezTo>
                <a:cubicBezTo>
                  <a:pt x="2776237" y="4154948"/>
                  <a:pt x="2795027" y="4147901"/>
                  <a:pt x="2816166" y="4143204"/>
                </a:cubicBezTo>
                <a:cubicBezTo>
                  <a:pt x="2813818" y="4143204"/>
                  <a:pt x="2813818" y="4140855"/>
                  <a:pt x="2811469" y="4140855"/>
                </a:cubicBezTo>
                <a:cubicBezTo>
                  <a:pt x="2806771" y="4124414"/>
                  <a:pt x="2823213" y="4126762"/>
                  <a:pt x="2827910" y="4119716"/>
                </a:cubicBezTo>
                <a:cubicBezTo>
                  <a:pt x="2827910" y="4117367"/>
                  <a:pt x="2827910" y="4115018"/>
                  <a:pt x="2827910" y="4112670"/>
                </a:cubicBezTo>
                <a:cubicBezTo>
                  <a:pt x="2825561" y="4105623"/>
                  <a:pt x="2823213" y="4098577"/>
                  <a:pt x="2818515" y="4093879"/>
                </a:cubicBezTo>
                <a:close/>
                <a:moveTo>
                  <a:pt x="2808570" y="4087236"/>
                </a:moveTo>
                <a:cubicBezTo>
                  <a:pt x="2808680" y="4086686"/>
                  <a:pt x="2777412" y="4095053"/>
                  <a:pt x="2795027" y="4091530"/>
                </a:cubicBezTo>
                <a:cubicBezTo>
                  <a:pt x="2805011" y="4088594"/>
                  <a:pt x="2808533" y="4087420"/>
                  <a:pt x="2808570" y="4087236"/>
                </a:cubicBezTo>
                <a:close/>
                <a:moveTo>
                  <a:pt x="2578940" y="4079786"/>
                </a:moveTo>
                <a:cubicBezTo>
                  <a:pt x="2578940" y="4079786"/>
                  <a:pt x="2581289" y="4079786"/>
                  <a:pt x="2581289" y="4082135"/>
                </a:cubicBezTo>
                <a:cubicBezTo>
                  <a:pt x="2581289" y="4082135"/>
                  <a:pt x="2578940" y="4084484"/>
                  <a:pt x="2578940" y="4084484"/>
                </a:cubicBezTo>
                <a:lnTo>
                  <a:pt x="2562498" y="4096228"/>
                </a:lnTo>
                <a:lnTo>
                  <a:pt x="2555452" y="4091530"/>
                </a:lnTo>
                <a:lnTo>
                  <a:pt x="2557801" y="4082135"/>
                </a:lnTo>
                <a:close/>
                <a:moveTo>
                  <a:pt x="2834957" y="4077438"/>
                </a:moveTo>
                <a:cubicBezTo>
                  <a:pt x="2830260" y="4077438"/>
                  <a:pt x="2825561" y="4077438"/>
                  <a:pt x="2820864" y="4079787"/>
                </a:cubicBezTo>
                <a:cubicBezTo>
                  <a:pt x="2825561" y="4079787"/>
                  <a:pt x="2823213" y="4084484"/>
                  <a:pt x="2823213" y="4089182"/>
                </a:cubicBezTo>
                <a:cubicBezTo>
                  <a:pt x="2825561" y="4089182"/>
                  <a:pt x="2827910" y="4089182"/>
                  <a:pt x="2830260" y="4089182"/>
                </a:cubicBezTo>
                <a:cubicBezTo>
                  <a:pt x="2832608" y="4084484"/>
                  <a:pt x="2832608" y="4082136"/>
                  <a:pt x="2834957" y="4077438"/>
                </a:cubicBezTo>
                <a:close/>
                <a:moveTo>
                  <a:pt x="5073600" y="4071786"/>
                </a:moveTo>
                <a:cubicBezTo>
                  <a:pt x="5074811" y="4070538"/>
                  <a:pt x="5073930" y="4070978"/>
                  <a:pt x="5068645" y="4075089"/>
                </a:cubicBezTo>
                <a:cubicBezTo>
                  <a:pt x="5047507" y="4094466"/>
                  <a:pt x="5069967" y="4075529"/>
                  <a:pt x="5073600" y="4071786"/>
                </a:cubicBezTo>
                <a:close/>
                <a:moveTo>
                  <a:pt x="1190824" y="4070391"/>
                </a:moveTo>
                <a:lnTo>
                  <a:pt x="1195523" y="4077437"/>
                </a:lnTo>
                <a:lnTo>
                  <a:pt x="1193172" y="4086832"/>
                </a:lnTo>
                <a:cubicBezTo>
                  <a:pt x="1193172" y="4086832"/>
                  <a:pt x="1190824" y="4089181"/>
                  <a:pt x="1190824" y="4091530"/>
                </a:cubicBezTo>
                <a:lnTo>
                  <a:pt x="1183780" y="4086832"/>
                </a:lnTo>
                <a:lnTo>
                  <a:pt x="1186130" y="4077437"/>
                </a:lnTo>
                <a:close/>
                <a:moveTo>
                  <a:pt x="2115685" y="4065278"/>
                </a:moveTo>
                <a:lnTo>
                  <a:pt x="2115565" y="4066700"/>
                </a:lnTo>
                <a:lnTo>
                  <a:pt x="2113885" y="4075089"/>
                </a:lnTo>
                <a:lnTo>
                  <a:pt x="2114891" y="4068039"/>
                </a:lnTo>
                <a:close/>
                <a:moveTo>
                  <a:pt x="2503779" y="4063345"/>
                </a:moveTo>
                <a:lnTo>
                  <a:pt x="2496732" y="4070392"/>
                </a:lnTo>
                <a:lnTo>
                  <a:pt x="2503779" y="4075089"/>
                </a:lnTo>
                <a:lnTo>
                  <a:pt x="2508476" y="4070392"/>
                </a:lnTo>
                <a:close/>
                <a:moveTo>
                  <a:pt x="2247762" y="4063345"/>
                </a:moveTo>
                <a:lnTo>
                  <a:pt x="2238373" y="4075089"/>
                </a:lnTo>
                <a:lnTo>
                  <a:pt x="2243064" y="4117367"/>
                </a:lnTo>
                <a:lnTo>
                  <a:pt x="2247762" y="4122065"/>
                </a:lnTo>
                <a:cubicBezTo>
                  <a:pt x="2247762" y="4122065"/>
                  <a:pt x="2247762" y="4119716"/>
                  <a:pt x="2247762" y="4117367"/>
                </a:cubicBezTo>
                <a:lnTo>
                  <a:pt x="2257158" y="4093879"/>
                </a:lnTo>
                <a:lnTo>
                  <a:pt x="2250111" y="4075089"/>
                </a:lnTo>
                <a:cubicBezTo>
                  <a:pt x="2250111" y="4075089"/>
                  <a:pt x="2250111" y="4068043"/>
                  <a:pt x="2247762" y="4063345"/>
                </a:cubicBezTo>
                <a:close/>
                <a:moveTo>
                  <a:pt x="1174388" y="4060996"/>
                </a:moveTo>
                <a:lnTo>
                  <a:pt x="1181432" y="4068042"/>
                </a:lnTo>
                <a:lnTo>
                  <a:pt x="1176738" y="4077437"/>
                </a:lnTo>
                <a:cubicBezTo>
                  <a:pt x="1176738" y="4077437"/>
                  <a:pt x="1174388" y="4079786"/>
                  <a:pt x="1174388" y="4079786"/>
                </a:cubicBezTo>
                <a:lnTo>
                  <a:pt x="1172038" y="4077437"/>
                </a:lnTo>
                <a:lnTo>
                  <a:pt x="1167341" y="4068042"/>
                </a:lnTo>
                <a:close/>
                <a:moveTo>
                  <a:pt x="3389268" y="4049253"/>
                </a:moveTo>
                <a:cubicBezTo>
                  <a:pt x="3356385" y="4077438"/>
                  <a:pt x="3316456" y="4140855"/>
                  <a:pt x="3311758" y="4173738"/>
                </a:cubicBezTo>
                <a:cubicBezTo>
                  <a:pt x="3325851" y="4124414"/>
                  <a:pt x="3401012" y="4110321"/>
                  <a:pt x="3389268" y="4049253"/>
                </a:cubicBezTo>
                <a:close/>
                <a:moveTo>
                  <a:pt x="3200559" y="4041325"/>
                </a:moveTo>
                <a:cubicBezTo>
                  <a:pt x="3191091" y="4045729"/>
                  <a:pt x="3184925" y="4068630"/>
                  <a:pt x="3191971" y="4070392"/>
                </a:cubicBezTo>
                <a:cubicBezTo>
                  <a:pt x="3199017" y="4065694"/>
                  <a:pt x="3206063" y="4058648"/>
                  <a:pt x="3210761" y="4044555"/>
                </a:cubicBezTo>
                <a:cubicBezTo>
                  <a:pt x="3207239" y="4040444"/>
                  <a:pt x="3203715" y="4039857"/>
                  <a:pt x="3200559" y="4041325"/>
                </a:cubicBezTo>
                <a:close/>
                <a:moveTo>
                  <a:pt x="580151" y="4037508"/>
                </a:moveTo>
                <a:lnTo>
                  <a:pt x="589545" y="4037508"/>
                </a:lnTo>
                <a:lnTo>
                  <a:pt x="591897" y="4044554"/>
                </a:lnTo>
                <a:cubicBezTo>
                  <a:pt x="591897" y="4044554"/>
                  <a:pt x="591897" y="4044554"/>
                  <a:pt x="589545" y="4046903"/>
                </a:cubicBezTo>
                <a:lnTo>
                  <a:pt x="580151" y="4046903"/>
                </a:lnTo>
                <a:lnTo>
                  <a:pt x="577800" y="4044554"/>
                </a:lnTo>
                <a:close/>
                <a:moveTo>
                  <a:pt x="2792680" y="4028114"/>
                </a:moveTo>
                <a:cubicBezTo>
                  <a:pt x="2787981" y="4039857"/>
                  <a:pt x="2790330" y="4063345"/>
                  <a:pt x="2790330" y="4082136"/>
                </a:cubicBezTo>
                <a:cubicBezTo>
                  <a:pt x="2797376" y="4075089"/>
                  <a:pt x="2804424" y="4070392"/>
                  <a:pt x="2811469" y="4063345"/>
                </a:cubicBezTo>
                <a:cubicBezTo>
                  <a:pt x="2809120" y="4060997"/>
                  <a:pt x="2804424" y="4056299"/>
                  <a:pt x="2802074" y="4051601"/>
                </a:cubicBezTo>
                <a:cubicBezTo>
                  <a:pt x="2797376" y="4044555"/>
                  <a:pt x="2795027" y="4037509"/>
                  <a:pt x="2792680" y="4028114"/>
                </a:cubicBezTo>
                <a:close/>
                <a:moveTo>
                  <a:pt x="335871" y="4025764"/>
                </a:moveTo>
                <a:lnTo>
                  <a:pt x="345268" y="4046904"/>
                </a:lnTo>
                <a:cubicBezTo>
                  <a:pt x="345268" y="4051601"/>
                  <a:pt x="347618" y="4053950"/>
                  <a:pt x="347618" y="4056299"/>
                </a:cubicBezTo>
                <a:cubicBezTo>
                  <a:pt x="347618" y="4056299"/>
                  <a:pt x="347618" y="4063345"/>
                  <a:pt x="347618" y="4065694"/>
                </a:cubicBezTo>
                <a:lnTo>
                  <a:pt x="338219" y="4082136"/>
                </a:lnTo>
                <a:lnTo>
                  <a:pt x="317083" y="4086833"/>
                </a:lnTo>
                <a:lnTo>
                  <a:pt x="310034" y="4082136"/>
                </a:lnTo>
                <a:cubicBezTo>
                  <a:pt x="310034" y="4082136"/>
                  <a:pt x="310034" y="4075089"/>
                  <a:pt x="310034" y="4072741"/>
                </a:cubicBezTo>
                <a:lnTo>
                  <a:pt x="321777" y="4056299"/>
                </a:lnTo>
                <a:cubicBezTo>
                  <a:pt x="321777" y="4056299"/>
                  <a:pt x="321777" y="4051601"/>
                  <a:pt x="321777" y="4039858"/>
                </a:cubicBezTo>
                <a:close/>
                <a:moveTo>
                  <a:pt x="2308830" y="4018719"/>
                </a:moveTo>
                <a:lnTo>
                  <a:pt x="2299435" y="4030462"/>
                </a:lnTo>
                <a:lnTo>
                  <a:pt x="2308830" y="4035160"/>
                </a:lnTo>
                <a:lnTo>
                  <a:pt x="2313529" y="4028114"/>
                </a:lnTo>
                <a:close/>
                <a:moveTo>
                  <a:pt x="5783077" y="4015232"/>
                </a:moveTo>
                <a:cubicBezTo>
                  <a:pt x="5777242" y="4013581"/>
                  <a:pt x="5769755" y="4038683"/>
                  <a:pt x="5787371" y="4028113"/>
                </a:cubicBezTo>
                <a:cubicBezTo>
                  <a:pt x="5786784" y="4019305"/>
                  <a:pt x="5785022" y="4015782"/>
                  <a:pt x="5783077" y="4015232"/>
                </a:cubicBezTo>
                <a:close/>
                <a:moveTo>
                  <a:pt x="1183772" y="4009323"/>
                </a:moveTo>
                <a:lnTo>
                  <a:pt x="1176721" y="4018719"/>
                </a:lnTo>
                <a:lnTo>
                  <a:pt x="1188465" y="4028114"/>
                </a:lnTo>
                <a:lnTo>
                  <a:pt x="1190814" y="4030462"/>
                </a:lnTo>
                <a:lnTo>
                  <a:pt x="1200209" y="4028114"/>
                </a:lnTo>
                <a:lnTo>
                  <a:pt x="1204906" y="4016370"/>
                </a:lnTo>
                <a:cubicBezTo>
                  <a:pt x="1204906" y="4016370"/>
                  <a:pt x="1202558" y="4014021"/>
                  <a:pt x="1200209" y="4011672"/>
                </a:cubicBezTo>
                <a:close/>
                <a:moveTo>
                  <a:pt x="1164979" y="4009323"/>
                </a:moveTo>
                <a:cubicBezTo>
                  <a:pt x="1162629" y="4011672"/>
                  <a:pt x="1160280" y="4014021"/>
                  <a:pt x="1157931" y="4016370"/>
                </a:cubicBezTo>
                <a:cubicBezTo>
                  <a:pt x="1160280" y="4021067"/>
                  <a:pt x="1162629" y="4021067"/>
                  <a:pt x="1164979" y="4021067"/>
                </a:cubicBezTo>
                <a:cubicBezTo>
                  <a:pt x="1169679" y="4021067"/>
                  <a:pt x="1172024" y="4016370"/>
                  <a:pt x="1164979" y="4009323"/>
                </a:cubicBezTo>
                <a:close/>
                <a:moveTo>
                  <a:pt x="1336448" y="4006974"/>
                </a:moveTo>
                <a:lnTo>
                  <a:pt x="1343499" y="4009323"/>
                </a:lnTo>
                <a:lnTo>
                  <a:pt x="1334102" y="4018718"/>
                </a:lnTo>
                <a:lnTo>
                  <a:pt x="1329406" y="4011672"/>
                </a:lnTo>
                <a:close/>
                <a:moveTo>
                  <a:pt x="688176" y="4004626"/>
                </a:moveTo>
                <a:lnTo>
                  <a:pt x="687706" y="4006504"/>
                </a:lnTo>
                <a:lnTo>
                  <a:pt x="683477" y="4009323"/>
                </a:lnTo>
                <a:cubicBezTo>
                  <a:pt x="685826" y="4006975"/>
                  <a:pt x="688176" y="4006975"/>
                  <a:pt x="688176" y="4004626"/>
                </a:cubicBezTo>
                <a:close/>
                <a:moveTo>
                  <a:pt x="3372387" y="4003341"/>
                </a:moveTo>
                <a:cubicBezTo>
                  <a:pt x="3370185" y="4003892"/>
                  <a:pt x="3348165" y="4014021"/>
                  <a:pt x="3365780" y="4006975"/>
                </a:cubicBezTo>
                <a:cubicBezTo>
                  <a:pt x="3371653" y="4004039"/>
                  <a:pt x="3373120" y="4003158"/>
                  <a:pt x="3372387" y="4003341"/>
                </a:cubicBezTo>
                <a:close/>
                <a:moveTo>
                  <a:pt x="5007577" y="4002277"/>
                </a:moveTo>
                <a:cubicBezTo>
                  <a:pt x="5009925" y="4006975"/>
                  <a:pt x="5009925" y="4009323"/>
                  <a:pt x="5012274" y="4011672"/>
                </a:cubicBezTo>
                <a:cubicBezTo>
                  <a:pt x="5012274" y="4011672"/>
                  <a:pt x="5014623" y="4009323"/>
                  <a:pt x="5014623" y="4006975"/>
                </a:cubicBezTo>
                <a:cubicBezTo>
                  <a:pt x="5012274" y="4006975"/>
                  <a:pt x="5009925" y="4004626"/>
                  <a:pt x="5007577" y="4002277"/>
                </a:cubicBezTo>
                <a:close/>
                <a:moveTo>
                  <a:pt x="3241295" y="4002277"/>
                </a:moveTo>
                <a:cubicBezTo>
                  <a:pt x="3224854" y="3990533"/>
                  <a:pt x="3199017" y="4042206"/>
                  <a:pt x="3217807" y="4039857"/>
                </a:cubicBezTo>
                <a:cubicBezTo>
                  <a:pt x="3222505" y="4021067"/>
                  <a:pt x="3236598" y="4023416"/>
                  <a:pt x="3241295" y="4002277"/>
                </a:cubicBezTo>
                <a:close/>
                <a:moveTo>
                  <a:pt x="975315" y="4002020"/>
                </a:moveTo>
                <a:cubicBezTo>
                  <a:pt x="972231" y="4001690"/>
                  <a:pt x="950651" y="4012259"/>
                  <a:pt x="970028" y="4006975"/>
                </a:cubicBezTo>
                <a:cubicBezTo>
                  <a:pt x="975315" y="4003451"/>
                  <a:pt x="976341" y="4002130"/>
                  <a:pt x="975315" y="4002020"/>
                </a:cubicBezTo>
                <a:close/>
                <a:moveTo>
                  <a:pt x="1580722" y="3999927"/>
                </a:moveTo>
                <a:lnTo>
                  <a:pt x="1587769" y="4006973"/>
                </a:lnTo>
                <a:lnTo>
                  <a:pt x="1580722" y="4014020"/>
                </a:lnTo>
                <a:lnTo>
                  <a:pt x="1571330" y="4009322"/>
                </a:lnTo>
                <a:lnTo>
                  <a:pt x="1568980" y="4006973"/>
                </a:lnTo>
                <a:lnTo>
                  <a:pt x="1571330" y="4002276"/>
                </a:lnTo>
                <a:close/>
                <a:moveTo>
                  <a:pt x="267756" y="3999927"/>
                </a:moveTo>
                <a:cubicBezTo>
                  <a:pt x="267756" y="3999927"/>
                  <a:pt x="281850" y="3999927"/>
                  <a:pt x="288898" y="4006974"/>
                </a:cubicBezTo>
                <a:lnTo>
                  <a:pt x="300640" y="4032811"/>
                </a:lnTo>
                <a:lnTo>
                  <a:pt x="293594" y="4051601"/>
                </a:lnTo>
                <a:cubicBezTo>
                  <a:pt x="288898" y="4051601"/>
                  <a:pt x="286548" y="4051601"/>
                  <a:pt x="284199" y="4051601"/>
                </a:cubicBezTo>
                <a:cubicBezTo>
                  <a:pt x="284199" y="4051601"/>
                  <a:pt x="279500" y="4051601"/>
                  <a:pt x="277151" y="4049253"/>
                </a:cubicBezTo>
                <a:lnTo>
                  <a:pt x="267756" y="4039857"/>
                </a:lnTo>
                <a:lnTo>
                  <a:pt x="258363" y="4014021"/>
                </a:lnTo>
                <a:cubicBezTo>
                  <a:pt x="263063" y="4002277"/>
                  <a:pt x="263063" y="4002277"/>
                  <a:pt x="267756" y="3999927"/>
                </a:cubicBezTo>
                <a:close/>
                <a:moveTo>
                  <a:pt x="5074443" y="3993799"/>
                </a:moveTo>
                <a:cubicBezTo>
                  <a:pt x="5062773" y="3991707"/>
                  <a:pt x="5050442" y="4000515"/>
                  <a:pt x="5059250" y="4009323"/>
                </a:cubicBezTo>
                <a:cubicBezTo>
                  <a:pt x="5068645" y="3990533"/>
                  <a:pt x="5080389" y="4030462"/>
                  <a:pt x="5085086" y="4014021"/>
                </a:cubicBezTo>
                <a:cubicBezTo>
                  <a:pt x="5082738" y="4011672"/>
                  <a:pt x="5080389" y="4006975"/>
                  <a:pt x="5085086" y="3999928"/>
                </a:cubicBezTo>
                <a:cubicBezTo>
                  <a:pt x="5082150" y="3996404"/>
                  <a:pt x="5078334" y="3994496"/>
                  <a:pt x="5074443" y="3993799"/>
                </a:cubicBezTo>
                <a:close/>
                <a:moveTo>
                  <a:pt x="1402219" y="3990532"/>
                </a:moveTo>
                <a:lnTo>
                  <a:pt x="1409262" y="3995230"/>
                </a:lnTo>
                <a:lnTo>
                  <a:pt x="1402219" y="3999927"/>
                </a:lnTo>
                <a:lnTo>
                  <a:pt x="1399869" y="3995230"/>
                </a:lnTo>
                <a:close/>
                <a:moveTo>
                  <a:pt x="2978526" y="3986092"/>
                </a:moveTo>
                <a:cubicBezTo>
                  <a:pt x="2963993" y="3985542"/>
                  <a:pt x="2949460" y="3995230"/>
                  <a:pt x="2954744" y="4002277"/>
                </a:cubicBezTo>
                <a:cubicBezTo>
                  <a:pt x="2964139" y="3992882"/>
                  <a:pt x="2980581" y="3999928"/>
                  <a:pt x="2992325" y="3990533"/>
                </a:cubicBezTo>
                <a:cubicBezTo>
                  <a:pt x="2988215" y="3987597"/>
                  <a:pt x="2983370" y="3986275"/>
                  <a:pt x="2978526" y="3986092"/>
                </a:cubicBezTo>
                <a:close/>
                <a:moveTo>
                  <a:pt x="1320009" y="3985835"/>
                </a:moveTo>
                <a:cubicBezTo>
                  <a:pt x="1320009" y="3985835"/>
                  <a:pt x="1322358" y="3988185"/>
                  <a:pt x="1322358" y="3988185"/>
                </a:cubicBezTo>
                <a:lnTo>
                  <a:pt x="1324706" y="4014022"/>
                </a:lnTo>
                <a:cubicBezTo>
                  <a:pt x="1324706" y="4014022"/>
                  <a:pt x="1322358" y="4016370"/>
                  <a:pt x="1320009" y="4018719"/>
                </a:cubicBezTo>
                <a:lnTo>
                  <a:pt x="1310613" y="4018719"/>
                </a:lnTo>
                <a:lnTo>
                  <a:pt x="1305916" y="4014022"/>
                </a:lnTo>
                <a:lnTo>
                  <a:pt x="1305916" y="4004626"/>
                </a:lnTo>
                <a:lnTo>
                  <a:pt x="1317659" y="3988185"/>
                </a:lnTo>
                <a:cubicBezTo>
                  <a:pt x="1317659" y="3985835"/>
                  <a:pt x="1320009" y="3985835"/>
                  <a:pt x="1320009" y="3985835"/>
                </a:cubicBezTo>
                <a:close/>
                <a:moveTo>
                  <a:pt x="2179670" y="3983486"/>
                </a:moveTo>
                <a:cubicBezTo>
                  <a:pt x="2182015" y="3983486"/>
                  <a:pt x="2184364" y="3985835"/>
                  <a:pt x="2184364" y="3988184"/>
                </a:cubicBezTo>
                <a:lnTo>
                  <a:pt x="2170272" y="3985835"/>
                </a:lnTo>
                <a:cubicBezTo>
                  <a:pt x="2174969" y="3983486"/>
                  <a:pt x="2177320" y="3983486"/>
                  <a:pt x="2179670" y="3983486"/>
                </a:cubicBezTo>
                <a:close/>
                <a:moveTo>
                  <a:pt x="1359937" y="3983486"/>
                </a:moveTo>
                <a:cubicBezTo>
                  <a:pt x="1359937" y="3983486"/>
                  <a:pt x="1369334" y="3983486"/>
                  <a:pt x="1374034" y="3997580"/>
                </a:cubicBezTo>
                <a:lnTo>
                  <a:pt x="1381077" y="4014021"/>
                </a:lnTo>
                <a:lnTo>
                  <a:pt x="1359937" y="4025765"/>
                </a:lnTo>
                <a:lnTo>
                  <a:pt x="1352892" y="4021067"/>
                </a:lnTo>
                <a:cubicBezTo>
                  <a:pt x="1352892" y="4021067"/>
                  <a:pt x="1355241" y="4014021"/>
                  <a:pt x="1355241" y="4011672"/>
                </a:cubicBezTo>
                <a:lnTo>
                  <a:pt x="1355241" y="3985836"/>
                </a:lnTo>
                <a:cubicBezTo>
                  <a:pt x="1357592" y="3985836"/>
                  <a:pt x="1357592" y="3983486"/>
                  <a:pt x="1359937" y="3983486"/>
                </a:cubicBezTo>
                <a:close/>
                <a:moveTo>
                  <a:pt x="530824" y="3981137"/>
                </a:moveTo>
                <a:lnTo>
                  <a:pt x="540222" y="3983486"/>
                </a:lnTo>
                <a:lnTo>
                  <a:pt x="530824" y="3988183"/>
                </a:lnTo>
                <a:lnTo>
                  <a:pt x="528480" y="3983486"/>
                </a:lnTo>
                <a:close/>
                <a:moveTo>
                  <a:pt x="5979070" y="3980180"/>
                </a:moveTo>
                <a:lnTo>
                  <a:pt x="5982688" y="3980844"/>
                </a:lnTo>
                <a:lnTo>
                  <a:pt x="5982403" y="3984712"/>
                </a:lnTo>
                <a:close/>
                <a:moveTo>
                  <a:pt x="2684635" y="3976440"/>
                </a:moveTo>
                <a:cubicBezTo>
                  <a:pt x="2682286" y="3981138"/>
                  <a:pt x="2682286" y="3983487"/>
                  <a:pt x="2679937" y="3988184"/>
                </a:cubicBezTo>
                <a:cubicBezTo>
                  <a:pt x="2679937" y="3988184"/>
                  <a:pt x="2679937" y="3990533"/>
                  <a:pt x="2679937" y="3990533"/>
                </a:cubicBezTo>
                <a:lnTo>
                  <a:pt x="2689332" y="3992882"/>
                </a:lnTo>
                <a:lnTo>
                  <a:pt x="2694030" y="3988184"/>
                </a:lnTo>
                <a:lnTo>
                  <a:pt x="2689332" y="3978789"/>
                </a:lnTo>
                <a:close/>
                <a:moveTo>
                  <a:pt x="2614172" y="3971743"/>
                </a:moveTo>
                <a:lnTo>
                  <a:pt x="2609474" y="3978789"/>
                </a:lnTo>
                <a:cubicBezTo>
                  <a:pt x="2609474" y="3978789"/>
                  <a:pt x="2609474" y="3981138"/>
                  <a:pt x="2609474" y="3981138"/>
                </a:cubicBezTo>
                <a:lnTo>
                  <a:pt x="2614172" y="3985835"/>
                </a:lnTo>
                <a:lnTo>
                  <a:pt x="2618869" y="3978789"/>
                </a:lnTo>
                <a:close/>
                <a:moveTo>
                  <a:pt x="1413962" y="3971742"/>
                </a:moveTo>
                <a:lnTo>
                  <a:pt x="1418657" y="3976440"/>
                </a:lnTo>
                <a:lnTo>
                  <a:pt x="1418657" y="3985835"/>
                </a:lnTo>
                <a:lnTo>
                  <a:pt x="1413962" y="3992881"/>
                </a:lnTo>
                <a:lnTo>
                  <a:pt x="1406914" y="3985835"/>
                </a:lnTo>
                <a:lnTo>
                  <a:pt x="1404570" y="3976440"/>
                </a:lnTo>
                <a:close/>
                <a:moveTo>
                  <a:pt x="1685472" y="3967362"/>
                </a:moveTo>
                <a:lnTo>
                  <a:pt x="1688755" y="3973798"/>
                </a:lnTo>
                <a:lnTo>
                  <a:pt x="1684438" y="3985496"/>
                </a:lnTo>
                <a:close/>
                <a:moveTo>
                  <a:pt x="645912" y="3967045"/>
                </a:moveTo>
                <a:lnTo>
                  <a:pt x="667050" y="3967045"/>
                </a:lnTo>
                <a:cubicBezTo>
                  <a:pt x="667050" y="3967045"/>
                  <a:pt x="669397" y="3967045"/>
                  <a:pt x="669397" y="3967045"/>
                </a:cubicBezTo>
                <a:lnTo>
                  <a:pt x="671747" y="3976440"/>
                </a:lnTo>
                <a:lnTo>
                  <a:pt x="650613" y="3983486"/>
                </a:lnTo>
                <a:lnTo>
                  <a:pt x="645912" y="3976440"/>
                </a:lnTo>
                <a:close/>
                <a:moveTo>
                  <a:pt x="328825" y="3967045"/>
                </a:moveTo>
                <a:lnTo>
                  <a:pt x="335876" y="3971743"/>
                </a:lnTo>
                <a:lnTo>
                  <a:pt x="328825" y="3981138"/>
                </a:lnTo>
                <a:lnTo>
                  <a:pt x="319433" y="3971743"/>
                </a:lnTo>
                <a:close/>
                <a:moveTo>
                  <a:pt x="789174" y="3964697"/>
                </a:moveTo>
                <a:cubicBezTo>
                  <a:pt x="786824" y="3967046"/>
                  <a:pt x="784479" y="3967046"/>
                  <a:pt x="782129" y="3969394"/>
                </a:cubicBezTo>
                <a:cubicBezTo>
                  <a:pt x="772731" y="3969394"/>
                  <a:pt x="763336" y="3969394"/>
                  <a:pt x="753944" y="3971743"/>
                </a:cubicBezTo>
                <a:lnTo>
                  <a:pt x="793872" y="3976440"/>
                </a:lnTo>
                <a:cubicBezTo>
                  <a:pt x="796222" y="3974092"/>
                  <a:pt x="798572" y="3971743"/>
                  <a:pt x="800917" y="3969394"/>
                </a:cubicBezTo>
                <a:cubicBezTo>
                  <a:pt x="796222" y="3967046"/>
                  <a:pt x="791521" y="3967046"/>
                  <a:pt x="789174" y="3964697"/>
                </a:cubicBezTo>
                <a:close/>
                <a:moveTo>
                  <a:pt x="1301221" y="3964696"/>
                </a:moveTo>
                <a:lnTo>
                  <a:pt x="1310613" y="3969394"/>
                </a:lnTo>
                <a:lnTo>
                  <a:pt x="1301221" y="3976440"/>
                </a:lnTo>
                <a:lnTo>
                  <a:pt x="1294172" y="3969394"/>
                </a:lnTo>
                <a:close/>
                <a:moveTo>
                  <a:pt x="624778" y="3959998"/>
                </a:moveTo>
                <a:lnTo>
                  <a:pt x="636520" y="3959998"/>
                </a:lnTo>
                <a:lnTo>
                  <a:pt x="634170" y="3969393"/>
                </a:lnTo>
                <a:close/>
                <a:moveTo>
                  <a:pt x="5843742" y="3955301"/>
                </a:moveTo>
                <a:cubicBezTo>
                  <a:pt x="5853138" y="3967045"/>
                  <a:pt x="5860184" y="3976440"/>
                  <a:pt x="5869579" y="3988184"/>
                </a:cubicBezTo>
                <a:cubicBezTo>
                  <a:pt x="5923601" y="4053950"/>
                  <a:pt x="5984669" y="4117367"/>
                  <a:pt x="6012854" y="4208969"/>
                </a:cubicBezTo>
                <a:cubicBezTo>
                  <a:pt x="5994064" y="4187830"/>
                  <a:pt x="5977623" y="4140854"/>
                  <a:pt x="5956484" y="4107972"/>
                </a:cubicBezTo>
                <a:cubicBezTo>
                  <a:pt x="5923601" y="4075089"/>
                  <a:pt x="5888369" y="4042206"/>
                  <a:pt x="5857835" y="4006974"/>
                </a:cubicBezTo>
                <a:cubicBezTo>
                  <a:pt x="5857835" y="4004625"/>
                  <a:pt x="5855486" y="4002277"/>
                  <a:pt x="5853138" y="3999928"/>
                </a:cubicBezTo>
                <a:cubicBezTo>
                  <a:pt x="5846091" y="3992881"/>
                  <a:pt x="5839045" y="3985835"/>
                  <a:pt x="5834347" y="3978789"/>
                </a:cubicBezTo>
                <a:cubicBezTo>
                  <a:pt x="5827301" y="3976440"/>
                  <a:pt x="5820255" y="3974091"/>
                  <a:pt x="5815557" y="3971742"/>
                </a:cubicBezTo>
                <a:cubicBezTo>
                  <a:pt x="5829650" y="3964696"/>
                  <a:pt x="5829650" y="3985835"/>
                  <a:pt x="5843742" y="3969394"/>
                </a:cubicBezTo>
                <a:cubicBezTo>
                  <a:pt x="5839045" y="3964696"/>
                  <a:pt x="5841394" y="3959999"/>
                  <a:pt x="5843742" y="3955301"/>
                </a:cubicBezTo>
                <a:close/>
                <a:moveTo>
                  <a:pt x="1590117" y="3955301"/>
                </a:moveTo>
                <a:lnTo>
                  <a:pt x="1599515" y="3964696"/>
                </a:lnTo>
                <a:lnTo>
                  <a:pt x="1597165" y="3974091"/>
                </a:lnTo>
                <a:cubicBezTo>
                  <a:pt x="1597165" y="3974091"/>
                  <a:pt x="1594816" y="3976440"/>
                  <a:pt x="1592466" y="3978789"/>
                </a:cubicBezTo>
                <a:lnTo>
                  <a:pt x="1585423" y="3974091"/>
                </a:lnTo>
                <a:lnTo>
                  <a:pt x="1583073" y="3964696"/>
                </a:lnTo>
                <a:close/>
                <a:moveTo>
                  <a:pt x="850242" y="3948255"/>
                </a:moveTo>
                <a:lnTo>
                  <a:pt x="843195" y="3952953"/>
                </a:lnTo>
                <a:lnTo>
                  <a:pt x="847892" y="3962348"/>
                </a:lnTo>
                <a:cubicBezTo>
                  <a:pt x="847892" y="3962348"/>
                  <a:pt x="852592" y="3964697"/>
                  <a:pt x="852592" y="3964697"/>
                </a:cubicBezTo>
                <a:lnTo>
                  <a:pt x="859637" y="3962348"/>
                </a:lnTo>
                <a:lnTo>
                  <a:pt x="857287" y="3952953"/>
                </a:lnTo>
                <a:close/>
                <a:moveTo>
                  <a:pt x="6200757" y="3943557"/>
                </a:moveTo>
                <a:cubicBezTo>
                  <a:pt x="6224245" y="3974091"/>
                  <a:pt x="6247732" y="4004625"/>
                  <a:pt x="6268871" y="4037509"/>
                </a:cubicBezTo>
                <a:cubicBezTo>
                  <a:pt x="6250081" y="4009323"/>
                  <a:pt x="6231291" y="3981138"/>
                  <a:pt x="6210152" y="3952952"/>
                </a:cubicBezTo>
                <a:cubicBezTo>
                  <a:pt x="6207804" y="3948255"/>
                  <a:pt x="6205455" y="3945906"/>
                  <a:pt x="6200757" y="3943557"/>
                </a:cubicBezTo>
                <a:close/>
                <a:moveTo>
                  <a:pt x="4441521" y="3936511"/>
                </a:moveTo>
                <a:cubicBezTo>
                  <a:pt x="4436824" y="3938860"/>
                  <a:pt x="4415684" y="3957650"/>
                  <a:pt x="4429777" y="3964697"/>
                </a:cubicBezTo>
                <a:cubicBezTo>
                  <a:pt x="4432126" y="3959999"/>
                  <a:pt x="4436824" y="3959999"/>
                  <a:pt x="4443870" y="3964697"/>
                </a:cubicBezTo>
                <a:cubicBezTo>
                  <a:pt x="4450916" y="3952953"/>
                  <a:pt x="4450916" y="3941209"/>
                  <a:pt x="4441521" y="3936511"/>
                </a:cubicBezTo>
                <a:close/>
                <a:moveTo>
                  <a:pt x="1435098" y="3929464"/>
                </a:moveTo>
                <a:lnTo>
                  <a:pt x="1446842" y="3983487"/>
                </a:lnTo>
                <a:cubicBezTo>
                  <a:pt x="1446842" y="3983487"/>
                  <a:pt x="1435098" y="3955302"/>
                  <a:pt x="1430400" y="3936511"/>
                </a:cubicBezTo>
                <a:close/>
                <a:moveTo>
                  <a:pt x="1378728" y="3924767"/>
                </a:moveTo>
                <a:lnTo>
                  <a:pt x="1381077" y="3927116"/>
                </a:lnTo>
                <a:lnTo>
                  <a:pt x="1378728" y="3931813"/>
                </a:lnTo>
                <a:lnTo>
                  <a:pt x="1369334" y="3929465"/>
                </a:lnTo>
                <a:close/>
                <a:moveTo>
                  <a:pt x="1322347" y="3922418"/>
                </a:moveTo>
                <a:cubicBezTo>
                  <a:pt x="1319997" y="3924767"/>
                  <a:pt x="1317649" y="3924767"/>
                  <a:pt x="1315299" y="3927116"/>
                </a:cubicBezTo>
                <a:lnTo>
                  <a:pt x="1319997" y="3934162"/>
                </a:lnTo>
                <a:lnTo>
                  <a:pt x="1329393" y="3924767"/>
                </a:lnTo>
                <a:close/>
                <a:moveTo>
                  <a:pt x="1418657" y="3920069"/>
                </a:moveTo>
                <a:cubicBezTo>
                  <a:pt x="1421006" y="3917720"/>
                  <a:pt x="1423355" y="3927115"/>
                  <a:pt x="1428054" y="3936510"/>
                </a:cubicBezTo>
                <a:lnTo>
                  <a:pt x="1421006" y="3934161"/>
                </a:lnTo>
                <a:lnTo>
                  <a:pt x="1416312" y="3929464"/>
                </a:lnTo>
                <a:close/>
                <a:moveTo>
                  <a:pt x="2679937" y="3917721"/>
                </a:moveTo>
                <a:lnTo>
                  <a:pt x="2663496" y="3929465"/>
                </a:lnTo>
                <a:cubicBezTo>
                  <a:pt x="2663496" y="3929465"/>
                  <a:pt x="2663496" y="3931814"/>
                  <a:pt x="2663496" y="3931814"/>
                </a:cubicBezTo>
                <a:lnTo>
                  <a:pt x="2672891" y="3934162"/>
                </a:lnTo>
                <a:cubicBezTo>
                  <a:pt x="2679937" y="3929465"/>
                  <a:pt x="2682286" y="3927116"/>
                  <a:pt x="2682286" y="3922418"/>
                </a:cubicBezTo>
                <a:cubicBezTo>
                  <a:pt x="2682286" y="3922418"/>
                  <a:pt x="2679937" y="3920070"/>
                  <a:pt x="2679937" y="3917721"/>
                </a:cubicBezTo>
                <a:close/>
                <a:moveTo>
                  <a:pt x="1092166" y="3917721"/>
                </a:moveTo>
                <a:lnTo>
                  <a:pt x="1085119" y="3924767"/>
                </a:lnTo>
                <a:cubicBezTo>
                  <a:pt x="1087468" y="3922418"/>
                  <a:pt x="1089817" y="3920070"/>
                  <a:pt x="1094516" y="3920070"/>
                </a:cubicBezTo>
                <a:close/>
                <a:moveTo>
                  <a:pt x="845543" y="3917721"/>
                </a:moveTo>
                <a:lnTo>
                  <a:pt x="838500" y="3920070"/>
                </a:lnTo>
                <a:lnTo>
                  <a:pt x="854942" y="3929465"/>
                </a:lnTo>
                <a:lnTo>
                  <a:pt x="847892" y="3920070"/>
                </a:lnTo>
                <a:close/>
                <a:moveTo>
                  <a:pt x="302990" y="3915371"/>
                </a:moveTo>
                <a:lnTo>
                  <a:pt x="312384" y="3915371"/>
                </a:lnTo>
                <a:lnTo>
                  <a:pt x="317083" y="3920069"/>
                </a:lnTo>
                <a:lnTo>
                  <a:pt x="314733" y="3929464"/>
                </a:lnTo>
                <a:cubicBezTo>
                  <a:pt x="312384" y="3931813"/>
                  <a:pt x="310034" y="3929464"/>
                  <a:pt x="307685" y="3929464"/>
                </a:cubicBezTo>
                <a:lnTo>
                  <a:pt x="300640" y="3920069"/>
                </a:lnTo>
                <a:cubicBezTo>
                  <a:pt x="300640" y="3920069"/>
                  <a:pt x="302990" y="3917720"/>
                  <a:pt x="302990" y="3915371"/>
                </a:cubicBezTo>
                <a:close/>
                <a:moveTo>
                  <a:pt x="770398" y="3908325"/>
                </a:moveTo>
                <a:cubicBezTo>
                  <a:pt x="772746" y="3908325"/>
                  <a:pt x="775096" y="3910675"/>
                  <a:pt x="777446" y="3910675"/>
                </a:cubicBezTo>
                <a:cubicBezTo>
                  <a:pt x="777446" y="3910675"/>
                  <a:pt x="772746" y="3917721"/>
                  <a:pt x="772746" y="3920070"/>
                </a:cubicBezTo>
                <a:lnTo>
                  <a:pt x="765696" y="3936511"/>
                </a:lnTo>
                <a:cubicBezTo>
                  <a:pt x="765696" y="3936511"/>
                  <a:pt x="756304" y="3943558"/>
                  <a:pt x="751611" y="3941209"/>
                </a:cubicBezTo>
                <a:lnTo>
                  <a:pt x="746905" y="3936511"/>
                </a:lnTo>
                <a:lnTo>
                  <a:pt x="746905" y="3927116"/>
                </a:lnTo>
                <a:close/>
                <a:moveTo>
                  <a:pt x="5749790" y="3905977"/>
                </a:moveTo>
                <a:cubicBezTo>
                  <a:pt x="5752139" y="3905977"/>
                  <a:pt x="5752139" y="3908326"/>
                  <a:pt x="5752139" y="3908326"/>
                </a:cubicBezTo>
                <a:cubicBezTo>
                  <a:pt x="5752139" y="3908326"/>
                  <a:pt x="5754488" y="3908326"/>
                  <a:pt x="5754488" y="3908326"/>
                </a:cubicBezTo>
                <a:cubicBezTo>
                  <a:pt x="5754488" y="3910674"/>
                  <a:pt x="5754488" y="3910674"/>
                  <a:pt x="5754488" y="3913023"/>
                </a:cubicBezTo>
                <a:cubicBezTo>
                  <a:pt x="5763883" y="3931814"/>
                  <a:pt x="5782673" y="3941209"/>
                  <a:pt x="5801463" y="3948255"/>
                </a:cubicBezTo>
                <a:cubicBezTo>
                  <a:pt x="5794417" y="3936511"/>
                  <a:pt x="5787371" y="3924767"/>
                  <a:pt x="5775627" y="3917721"/>
                </a:cubicBezTo>
                <a:cubicBezTo>
                  <a:pt x="5773278" y="3903628"/>
                  <a:pt x="5770930" y="3908326"/>
                  <a:pt x="5768581" y="3913023"/>
                </a:cubicBezTo>
                <a:cubicBezTo>
                  <a:pt x="5763883" y="3910674"/>
                  <a:pt x="5756837" y="3908326"/>
                  <a:pt x="5749790" y="3905977"/>
                </a:cubicBezTo>
                <a:close/>
                <a:moveTo>
                  <a:pt x="1143545" y="3904802"/>
                </a:moveTo>
                <a:cubicBezTo>
                  <a:pt x="1137967" y="3907151"/>
                  <a:pt x="1133273" y="3915372"/>
                  <a:pt x="1146188" y="3922418"/>
                </a:cubicBezTo>
                <a:cubicBezTo>
                  <a:pt x="1155587" y="3905977"/>
                  <a:pt x="1149126" y="3902454"/>
                  <a:pt x="1143545" y="3904802"/>
                </a:cubicBezTo>
                <a:close/>
                <a:moveTo>
                  <a:pt x="847892" y="3901280"/>
                </a:moveTo>
                <a:lnTo>
                  <a:pt x="852592" y="3910675"/>
                </a:lnTo>
                <a:cubicBezTo>
                  <a:pt x="852592" y="3910675"/>
                  <a:pt x="854942" y="3913024"/>
                  <a:pt x="854942" y="3913024"/>
                </a:cubicBezTo>
                <a:lnTo>
                  <a:pt x="854942" y="3901280"/>
                </a:lnTo>
                <a:close/>
                <a:moveTo>
                  <a:pt x="735168" y="3901279"/>
                </a:moveTo>
                <a:cubicBezTo>
                  <a:pt x="735168" y="3901279"/>
                  <a:pt x="744560" y="3901279"/>
                  <a:pt x="746906" y="3910674"/>
                </a:cubicBezTo>
                <a:lnTo>
                  <a:pt x="728118" y="3931813"/>
                </a:lnTo>
                <a:cubicBezTo>
                  <a:pt x="728118" y="3931813"/>
                  <a:pt x="714026" y="3929464"/>
                  <a:pt x="711675" y="3927115"/>
                </a:cubicBezTo>
                <a:lnTo>
                  <a:pt x="709328" y="3915372"/>
                </a:lnTo>
                <a:cubicBezTo>
                  <a:pt x="730468" y="3903628"/>
                  <a:pt x="732818" y="3901279"/>
                  <a:pt x="735168" y="3901279"/>
                </a:cubicBezTo>
                <a:close/>
                <a:moveTo>
                  <a:pt x="6146735" y="3898930"/>
                </a:moveTo>
                <a:cubicBezTo>
                  <a:pt x="6153781" y="3910674"/>
                  <a:pt x="6165525" y="3929465"/>
                  <a:pt x="6172572" y="3941209"/>
                </a:cubicBezTo>
                <a:cubicBezTo>
                  <a:pt x="6174920" y="3941209"/>
                  <a:pt x="6174920" y="3941209"/>
                  <a:pt x="6177269" y="3941209"/>
                </a:cubicBezTo>
                <a:cubicBezTo>
                  <a:pt x="6167874" y="3927116"/>
                  <a:pt x="6156130" y="3913023"/>
                  <a:pt x="6146735" y="3898930"/>
                </a:cubicBezTo>
                <a:close/>
                <a:moveTo>
                  <a:pt x="1463283" y="3891884"/>
                </a:moveTo>
                <a:lnTo>
                  <a:pt x="1472682" y="3896582"/>
                </a:lnTo>
                <a:lnTo>
                  <a:pt x="1467982" y="3903628"/>
                </a:lnTo>
                <a:lnTo>
                  <a:pt x="1463283" y="3905977"/>
                </a:lnTo>
                <a:close/>
                <a:moveTo>
                  <a:pt x="744560" y="3887186"/>
                </a:moveTo>
                <a:lnTo>
                  <a:pt x="749256" y="3894232"/>
                </a:lnTo>
                <a:lnTo>
                  <a:pt x="744560" y="3901279"/>
                </a:lnTo>
                <a:lnTo>
                  <a:pt x="737513" y="3894232"/>
                </a:lnTo>
                <a:close/>
                <a:moveTo>
                  <a:pt x="2686984" y="3882489"/>
                </a:moveTo>
                <a:cubicBezTo>
                  <a:pt x="2682286" y="3889536"/>
                  <a:pt x="2677588" y="3896582"/>
                  <a:pt x="2672891" y="3903628"/>
                </a:cubicBezTo>
                <a:cubicBezTo>
                  <a:pt x="2677588" y="3908326"/>
                  <a:pt x="2682286" y="3915372"/>
                  <a:pt x="2686984" y="3920070"/>
                </a:cubicBezTo>
                <a:cubicBezTo>
                  <a:pt x="2691681" y="3910675"/>
                  <a:pt x="2694030" y="3901280"/>
                  <a:pt x="2696379" y="3891884"/>
                </a:cubicBezTo>
                <a:cubicBezTo>
                  <a:pt x="2694030" y="3889536"/>
                  <a:pt x="2689332" y="3884838"/>
                  <a:pt x="2686984" y="3882489"/>
                </a:cubicBezTo>
                <a:close/>
                <a:moveTo>
                  <a:pt x="650613" y="3880140"/>
                </a:moveTo>
                <a:lnTo>
                  <a:pt x="657655" y="3884838"/>
                </a:lnTo>
                <a:lnTo>
                  <a:pt x="650613" y="3889535"/>
                </a:lnTo>
                <a:lnTo>
                  <a:pt x="648263" y="3882489"/>
                </a:lnTo>
                <a:close/>
                <a:moveTo>
                  <a:pt x="5913724" y="3877191"/>
                </a:moveTo>
                <a:cubicBezTo>
                  <a:pt x="5913765" y="3877902"/>
                  <a:pt x="5913912" y="3879553"/>
                  <a:pt x="5914206" y="3882489"/>
                </a:cubicBezTo>
                <a:cubicBezTo>
                  <a:pt x="5918316" y="3913317"/>
                  <a:pt x="5913435" y="3872213"/>
                  <a:pt x="5913724" y="3877191"/>
                </a:cubicBezTo>
                <a:close/>
                <a:moveTo>
                  <a:pt x="1075724" y="3870745"/>
                </a:moveTo>
                <a:cubicBezTo>
                  <a:pt x="1075724" y="3870745"/>
                  <a:pt x="1071027" y="3873094"/>
                  <a:pt x="1068681" y="3873094"/>
                </a:cubicBezTo>
                <a:lnTo>
                  <a:pt x="1059282" y="3884838"/>
                </a:lnTo>
                <a:cubicBezTo>
                  <a:pt x="1056934" y="3887187"/>
                  <a:pt x="1054584" y="3887187"/>
                  <a:pt x="1052238" y="3889536"/>
                </a:cubicBezTo>
                <a:cubicBezTo>
                  <a:pt x="1052238" y="3889536"/>
                  <a:pt x="1054584" y="3894233"/>
                  <a:pt x="1056934" y="3896582"/>
                </a:cubicBezTo>
                <a:lnTo>
                  <a:pt x="1085119" y="3882489"/>
                </a:lnTo>
                <a:cubicBezTo>
                  <a:pt x="1082774" y="3870745"/>
                  <a:pt x="1082774" y="3870745"/>
                  <a:pt x="1075724" y="3870745"/>
                </a:cubicBezTo>
                <a:close/>
                <a:moveTo>
                  <a:pt x="1507909" y="3866047"/>
                </a:moveTo>
                <a:cubicBezTo>
                  <a:pt x="1512610" y="3868396"/>
                  <a:pt x="1517305" y="3873093"/>
                  <a:pt x="1522004" y="3875442"/>
                </a:cubicBezTo>
                <a:cubicBezTo>
                  <a:pt x="1519655" y="3877791"/>
                  <a:pt x="1517305" y="3877791"/>
                  <a:pt x="1514956" y="3880140"/>
                </a:cubicBezTo>
                <a:close/>
                <a:moveTo>
                  <a:pt x="627128" y="3861350"/>
                </a:moveTo>
                <a:lnTo>
                  <a:pt x="634173" y="3866048"/>
                </a:lnTo>
                <a:lnTo>
                  <a:pt x="627128" y="3875443"/>
                </a:lnTo>
                <a:lnTo>
                  <a:pt x="620080" y="3866048"/>
                </a:lnTo>
                <a:close/>
                <a:moveTo>
                  <a:pt x="2665845" y="3859002"/>
                </a:moveTo>
                <a:cubicBezTo>
                  <a:pt x="2661147" y="3866048"/>
                  <a:pt x="2654101" y="3873094"/>
                  <a:pt x="2649403" y="3880140"/>
                </a:cubicBezTo>
                <a:cubicBezTo>
                  <a:pt x="2651752" y="3884838"/>
                  <a:pt x="2656449" y="3887187"/>
                  <a:pt x="2661147" y="3891884"/>
                </a:cubicBezTo>
                <a:cubicBezTo>
                  <a:pt x="2665845" y="3882489"/>
                  <a:pt x="2670543" y="3875443"/>
                  <a:pt x="2675240" y="3866048"/>
                </a:cubicBezTo>
                <a:cubicBezTo>
                  <a:pt x="2672891" y="3863699"/>
                  <a:pt x="2668193" y="3861350"/>
                  <a:pt x="2665845" y="3859002"/>
                </a:cubicBezTo>
                <a:close/>
                <a:moveTo>
                  <a:pt x="716375" y="3854303"/>
                </a:moveTo>
                <a:cubicBezTo>
                  <a:pt x="716375" y="3854303"/>
                  <a:pt x="718721" y="3856652"/>
                  <a:pt x="718721" y="3856652"/>
                </a:cubicBezTo>
                <a:lnTo>
                  <a:pt x="723419" y="3866047"/>
                </a:lnTo>
                <a:lnTo>
                  <a:pt x="718721" y="3873093"/>
                </a:lnTo>
                <a:lnTo>
                  <a:pt x="706979" y="3863698"/>
                </a:lnTo>
                <a:cubicBezTo>
                  <a:pt x="716375" y="3854303"/>
                  <a:pt x="716375" y="3854303"/>
                  <a:pt x="716375" y="3854303"/>
                </a:cubicBezTo>
                <a:close/>
                <a:moveTo>
                  <a:pt x="676448" y="3849607"/>
                </a:moveTo>
                <a:lnTo>
                  <a:pt x="671747" y="3859002"/>
                </a:lnTo>
                <a:lnTo>
                  <a:pt x="676448" y="3863700"/>
                </a:lnTo>
                <a:lnTo>
                  <a:pt x="685840" y="3859002"/>
                </a:lnTo>
                <a:close/>
                <a:moveTo>
                  <a:pt x="5697677" y="3841973"/>
                </a:moveTo>
                <a:cubicBezTo>
                  <a:pt x="5695475" y="3841092"/>
                  <a:pt x="5673455" y="3850781"/>
                  <a:pt x="5691071" y="3847257"/>
                </a:cubicBezTo>
                <a:cubicBezTo>
                  <a:pt x="5696943" y="3843734"/>
                  <a:pt x="5698411" y="3842266"/>
                  <a:pt x="5697677" y="3841973"/>
                </a:cubicBezTo>
                <a:close/>
                <a:moveTo>
                  <a:pt x="1202558" y="3837863"/>
                </a:moveTo>
                <a:lnTo>
                  <a:pt x="1195514" y="3840211"/>
                </a:lnTo>
                <a:lnTo>
                  <a:pt x="1202558" y="3849607"/>
                </a:lnTo>
                <a:close/>
                <a:moveTo>
                  <a:pt x="2541359" y="3830816"/>
                </a:moveTo>
                <a:cubicBezTo>
                  <a:pt x="2539011" y="3830816"/>
                  <a:pt x="2539011" y="3833165"/>
                  <a:pt x="2536662" y="3835514"/>
                </a:cubicBezTo>
                <a:cubicBezTo>
                  <a:pt x="2539011" y="3835514"/>
                  <a:pt x="2543709" y="3835514"/>
                  <a:pt x="2543709" y="3835514"/>
                </a:cubicBezTo>
                <a:cubicBezTo>
                  <a:pt x="2543709" y="3833165"/>
                  <a:pt x="2543709" y="3833165"/>
                  <a:pt x="2541359" y="3830816"/>
                </a:cubicBezTo>
                <a:close/>
                <a:moveTo>
                  <a:pt x="3304712" y="3826119"/>
                </a:moveTo>
                <a:cubicBezTo>
                  <a:pt x="3222505" y="3901280"/>
                  <a:pt x="3170832" y="3978789"/>
                  <a:pt x="3088625" y="4056299"/>
                </a:cubicBezTo>
                <a:cubicBezTo>
                  <a:pt x="3170832" y="4018719"/>
                  <a:pt x="3206063" y="3915372"/>
                  <a:pt x="3267132" y="3898931"/>
                </a:cubicBezTo>
                <a:cubicBezTo>
                  <a:pt x="3253039" y="3915372"/>
                  <a:pt x="3227203" y="3959999"/>
                  <a:pt x="3229551" y="3971743"/>
                </a:cubicBezTo>
                <a:cubicBezTo>
                  <a:pt x="3248342" y="3941209"/>
                  <a:pt x="3227203" y="3985835"/>
                  <a:pt x="3236598" y="3988184"/>
                </a:cubicBezTo>
                <a:cubicBezTo>
                  <a:pt x="3250690" y="3981138"/>
                  <a:pt x="3267132" y="3943558"/>
                  <a:pt x="3253039" y="3934162"/>
                </a:cubicBezTo>
                <a:cubicBezTo>
                  <a:pt x="3297666" y="3905977"/>
                  <a:pt x="3281225" y="3861350"/>
                  <a:pt x="3304712" y="3826119"/>
                </a:cubicBezTo>
                <a:close/>
                <a:moveTo>
                  <a:pt x="357011" y="3826118"/>
                </a:moveTo>
                <a:cubicBezTo>
                  <a:pt x="357011" y="3826118"/>
                  <a:pt x="357011" y="3828467"/>
                  <a:pt x="359361" y="3830816"/>
                </a:cubicBezTo>
                <a:lnTo>
                  <a:pt x="357011" y="3840211"/>
                </a:lnTo>
                <a:cubicBezTo>
                  <a:pt x="357011" y="3840211"/>
                  <a:pt x="354661" y="3842559"/>
                  <a:pt x="354661" y="3842559"/>
                </a:cubicBezTo>
                <a:lnTo>
                  <a:pt x="345268" y="3844908"/>
                </a:lnTo>
                <a:lnTo>
                  <a:pt x="342918" y="3840211"/>
                </a:lnTo>
                <a:lnTo>
                  <a:pt x="347618" y="3833164"/>
                </a:lnTo>
                <a:cubicBezTo>
                  <a:pt x="347618" y="3833164"/>
                  <a:pt x="349963" y="3830816"/>
                  <a:pt x="349963" y="3830816"/>
                </a:cubicBezTo>
                <a:close/>
                <a:moveTo>
                  <a:pt x="5918903" y="3823770"/>
                </a:moveTo>
                <a:cubicBezTo>
                  <a:pt x="5916555" y="3828467"/>
                  <a:pt x="5916555" y="3830816"/>
                  <a:pt x="5914206" y="3835513"/>
                </a:cubicBezTo>
                <a:cubicBezTo>
                  <a:pt x="5918903" y="3837862"/>
                  <a:pt x="5921252" y="3837862"/>
                  <a:pt x="5925950" y="3840211"/>
                </a:cubicBezTo>
                <a:cubicBezTo>
                  <a:pt x="5925950" y="3835513"/>
                  <a:pt x="5928299" y="3833165"/>
                  <a:pt x="5930647" y="3828467"/>
                </a:cubicBezTo>
                <a:cubicBezTo>
                  <a:pt x="5925950" y="3826119"/>
                  <a:pt x="5923601" y="3826119"/>
                  <a:pt x="5918903" y="3823770"/>
                </a:cubicBezTo>
                <a:close/>
                <a:moveTo>
                  <a:pt x="6332289" y="3819072"/>
                </a:moveTo>
                <a:lnTo>
                  <a:pt x="6334818" y="3820156"/>
                </a:lnTo>
                <a:lnTo>
                  <a:pt x="6336986" y="3823770"/>
                </a:lnTo>
                <a:lnTo>
                  <a:pt x="6332717" y="3819857"/>
                </a:lnTo>
                <a:close/>
                <a:moveTo>
                  <a:pt x="697584" y="3814375"/>
                </a:moveTo>
                <a:cubicBezTo>
                  <a:pt x="699935" y="3814375"/>
                  <a:pt x="699935" y="3816723"/>
                  <a:pt x="699935" y="3816723"/>
                </a:cubicBezTo>
                <a:cubicBezTo>
                  <a:pt x="699935" y="3816723"/>
                  <a:pt x="697584" y="3823771"/>
                  <a:pt x="695234" y="3826120"/>
                </a:cubicBezTo>
                <a:lnTo>
                  <a:pt x="692886" y="3868397"/>
                </a:lnTo>
                <a:cubicBezTo>
                  <a:pt x="690536" y="3870746"/>
                  <a:pt x="688190" y="3875444"/>
                  <a:pt x="683493" y="3877793"/>
                </a:cubicBezTo>
                <a:cubicBezTo>
                  <a:pt x="683493" y="3877793"/>
                  <a:pt x="676448" y="3877793"/>
                  <a:pt x="674098" y="3875444"/>
                </a:cubicBezTo>
                <a:lnTo>
                  <a:pt x="662355" y="3859002"/>
                </a:lnTo>
                <a:lnTo>
                  <a:pt x="669400" y="3840212"/>
                </a:lnTo>
                <a:cubicBezTo>
                  <a:pt x="671747" y="3840212"/>
                  <a:pt x="674098" y="3842561"/>
                  <a:pt x="671747" y="3840212"/>
                </a:cubicBezTo>
                <a:cubicBezTo>
                  <a:pt x="674098" y="3840212"/>
                  <a:pt x="676448" y="3835515"/>
                  <a:pt x="676448" y="3833166"/>
                </a:cubicBezTo>
                <a:cubicBezTo>
                  <a:pt x="676448" y="3828468"/>
                  <a:pt x="671747" y="3826120"/>
                  <a:pt x="671747" y="3823771"/>
                </a:cubicBezTo>
                <a:cubicBezTo>
                  <a:pt x="674098" y="3819072"/>
                  <a:pt x="690536" y="3812026"/>
                  <a:pt x="697584" y="3814375"/>
                </a:cubicBezTo>
                <a:close/>
                <a:moveTo>
                  <a:pt x="1550189" y="3814374"/>
                </a:moveTo>
                <a:cubicBezTo>
                  <a:pt x="1552537" y="3819072"/>
                  <a:pt x="1552537" y="3823769"/>
                  <a:pt x="1554887" y="3828467"/>
                </a:cubicBezTo>
                <a:cubicBezTo>
                  <a:pt x="1550189" y="3826118"/>
                  <a:pt x="1545495" y="3823769"/>
                  <a:pt x="1543145" y="3821420"/>
                </a:cubicBezTo>
                <a:cubicBezTo>
                  <a:pt x="1545495" y="3819072"/>
                  <a:pt x="1547841" y="3816723"/>
                  <a:pt x="1550189" y="3814374"/>
                </a:cubicBezTo>
                <a:close/>
                <a:moveTo>
                  <a:pt x="2564847" y="3812026"/>
                </a:moveTo>
                <a:cubicBezTo>
                  <a:pt x="2564847" y="3821421"/>
                  <a:pt x="2569545" y="3833165"/>
                  <a:pt x="2574242" y="3842560"/>
                </a:cubicBezTo>
                <a:cubicBezTo>
                  <a:pt x="2588336" y="3847258"/>
                  <a:pt x="2604776" y="3854304"/>
                  <a:pt x="2618869" y="3861350"/>
                </a:cubicBezTo>
                <a:cubicBezTo>
                  <a:pt x="2621218" y="3859002"/>
                  <a:pt x="2623567" y="3854304"/>
                  <a:pt x="2625916" y="3851955"/>
                </a:cubicBezTo>
                <a:cubicBezTo>
                  <a:pt x="2621218" y="3849607"/>
                  <a:pt x="2618869" y="3849607"/>
                  <a:pt x="2616520" y="3847258"/>
                </a:cubicBezTo>
                <a:cubicBezTo>
                  <a:pt x="2616520" y="3849607"/>
                  <a:pt x="2616520" y="3849607"/>
                  <a:pt x="2616520" y="3851955"/>
                </a:cubicBezTo>
                <a:cubicBezTo>
                  <a:pt x="2614172" y="3849607"/>
                  <a:pt x="2611823" y="3847258"/>
                  <a:pt x="2609474" y="3844909"/>
                </a:cubicBezTo>
                <a:cubicBezTo>
                  <a:pt x="2609474" y="3842560"/>
                  <a:pt x="2607125" y="3842560"/>
                  <a:pt x="2604776" y="3840211"/>
                </a:cubicBezTo>
                <a:cubicBezTo>
                  <a:pt x="2595381" y="3833165"/>
                  <a:pt x="2588336" y="3826119"/>
                  <a:pt x="2581289" y="3816723"/>
                </a:cubicBezTo>
                <a:cubicBezTo>
                  <a:pt x="2576591" y="3814375"/>
                  <a:pt x="2569545" y="3814375"/>
                  <a:pt x="2564847" y="3812026"/>
                </a:cubicBezTo>
                <a:close/>
                <a:moveTo>
                  <a:pt x="2442711" y="3807328"/>
                </a:moveTo>
                <a:cubicBezTo>
                  <a:pt x="2433315" y="3804980"/>
                  <a:pt x="2440362" y="3821421"/>
                  <a:pt x="2430967" y="3819072"/>
                </a:cubicBezTo>
                <a:cubicBezTo>
                  <a:pt x="2430967" y="3816723"/>
                  <a:pt x="2430967" y="3812026"/>
                  <a:pt x="2430967" y="3809677"/>
                </a:cubicBezTo>
                <a:cubicBezTo>
                  <a:pt x="2421572" y="3821421"/>
                  <a:pt x="2421572" y="3833165"/>
                  <a:pt x="2423920" y="3844909"/>
                </a:cubicBezTo>
                <a:cubicBezTo>
                  <a:pt x="2433315" y="3842560"/>
                  <a:pt x="2442711" y="3840211"/>
                  <a:pt x="2452106" y="3837863"/>
                </a:cubicBezTo>
                <a:cubicBezTo>
                  <a:pt x="2445059" y="3828467"/>
                  <a:pt x="2440362" y="3819072"/>
                  <a:pt x="2442711" y="3807328"/>
                </a:cubicBezTo>
                <a:close/>
                <a:moveTo>
                  <a:pt x="1150886" y="3807328"/>
                </a:moveTo>
                <a:lnTo>
                  <a:pt x="1141494" y="3809677"/>
                </a:lnTo>
                <a:lnTo>
                  <a:pt x="1132095" y="3812026"/>
                </a:lnTo>
                <a:cubicBezTo>
                  <a:pt x="1132095" y="3814375"/>
                  <a:pt x="1129746" y="3814375"/>
                  <a:pt x="1129746" y="3814375"/>
                </a:cubicBezTo>
                <a:cubicBezTo>
                  <a:pt x="1129746" y="3814375"/>
                  <a:pt x="1132095" y="3816723"/>
                  <a:pt x="1132095" y="3819072"/>
                </a:cubicBezTo>
                <a:lnTo>
                  <a:pt x="1141494" y="3819072"/>
                </a:lnTo>
                <a:lnTo>
                  <a:pt x="1150886" y="3821421"/>
                </a:lnTo>
                <a:lnTo>
                  <a:pt x="1155587" y="3812026"/>
                </a:lnTo>
                <a:close/>
                <a:moveTo>
                  <a:pt x="2466198" y="3804980"/>
                </a:moveTo>
                <a:cubicBezTo>
                  <a:pt x="2461501" y="3804980"/>
                  <a:pt x="2454455" y="3807328"/>
                  <a:pt x="2449757" y="3807328"/>
                </a:cubicBezTo>
                <a:cubicBezTo>
                  <a:pt x="2449757" y="3816723"/>
                  <a:pt x="2452106" y="3828467"/>
                  <a:pt x="2456803" y="3837863"/>
                </a:cubicBezTo>
                <a:cubicBezTo>
                  <a:pt x="2461501" y="3837863"/>
                  <a:pt x="2466198" y="3835514"/>
                  <a:pt x="2470896" y="3835514"/>
                </a:cubicBezTo>
                <a:cubicBezTo>
                  <a:pt x="2473246" y="3826119"/>
                  <a:pt x="2468547" y="3816723"/>
                  <a:pt x="2466198" y="3804980"/>
                </a:cubicBezTo>
                <a:close/>
                <a:moveTo>
                  <a:pt x="988835" y="3802630"/>
                </a:moveTo>
                <a:lnTo>
                  <a:pt x="1007622" y="3814375"/>
                </a:lnTo>
                <a:lnTo>
                  <a:pt x="1005277" y="3830816"/>
                </a:lnTo>
                <a:cubicBezTo>
                  <a:pt x="1002927" y="3833165"/>
                  <a:pt x="1000577" y="3835514"/>
                  <a:pt x="998228" y="3835514"/>
                </a:cubicBezTo>
                <a:cubicBezTo>
                  <a:pt x="998228" y="3835514"/>
                  <a:pt x="993530" y="3833165"/>
                  <a:pt x="991185" y="3830816"/>
                </a:cubicBezTo>
                <a:lnTo>
                  <a:pt x="963000" y="3821421"/>
                </a:lnTo>
                <a:cubicBezTo>
                  <a:pt x="963000" y="3821421"/>
                  <a:pt x="965350" y="3816724"/>
                  <a:pt x="965350" y="3814375"/>
                </a:cubicBezTo>
                <a:close/>
                <a:moveTo>
                  <a:pt x="3560729" y="3800282"/>
                </a:moveTo>
                <a:cubicBezTo>
                  <a:pt x="3544288" y="3802631"/>
                  <a:pt x="3480872" y="3847258"/>
                  <a:pt x="3478522" y="3882489"/>
                </a:cubicBezTo>
                <a:cubicBezTo>
                  <a:pt x="3492615" y="3840211"/>
                  <a:pt x="3584217" y="3819072"/>
                  <a:pt x="3560729" y="3800282"/>
                </a:cubicBezTo>
                <a:close/>
                <a:moveTo>
                  <a:pt x="746906" y="3795584"/>
                </a:moveTo>
                <a:cubicBezTo>
                  <a:pt x="751611" y="3797933"/>
                  <a:pt x="753956" y="3802630"/>
                  <a:pt x="751611" y="3809678"/>
                </a:cubicBezTo>
                <a:cubicBezTo>
                  <a:pt x="749256" y="3812026"/>
                  <a:pt x="746906" y="3814375"/>
                  <a:pt x="746906" y="3821421"/>
                </a:cubicBezTo>
                <a:cubicBezTo>
                  <a:pt x="746906" y="3821421"/>
                  <a:pt x="744560" y="3826119"/>
                  <a:pt x="760999" y="3837863"/>
                </a:cubicBezTo>
                <a:lnTo>
                  <a:pt x="749256" y="3854305"/>
                </a:lnTo>
                <a:cubicBezTo>
                  <a:pt x="746906" y="3856653"/>
                  <a:pt x="746906" y="3856653"/>
                  <a:pt x="744560" y="3859002"/>
                </a:cubicBezTo>
                <a:cubicBezTo>
                  <a:pt x="744560" y="3859002"/>
                  <a:pt x="739861" y="3854305"/>
                  <a:pt x="737513" y="3854305"/>
                </a:cubicBezTo>
                <a:lnTo>
                  <a:pt x="711675" y="3844909"/>
                </a:lnTo>
                <a:cubicBezTo>
                  <a:pt x="711675" y="3844909"/>
                  <a:pt x="728118" y="3833165"/>
                  <a:pt x="732818" y="3828468"/>
                </a:cubicBezTo>
                <a:lnTo>
                  <a:pt x="737513" y="3797933"/>
                </a:lnTo>
                <a:cubicBezTo>
                  <a:pt x="742210" y="3795584"/>
                  <a:pt x="744560" y="3795584"/>
                  <a:pt x="746906" y="3795584"/>
                </a:cubicBezTo>
                <a:close/>
                <a:moveTo>
                  <a:pt x="4722201" y="3795291"/>
                </a:moveTo>
                <a:cubicBezTo>
                  <a:pt x="4721026" y="3795584"/>
                  <a:pt x="4719852" y="3796759"/>
                  <a:pt x="4718677" y="3797933"/>
                </a:cubicBezTo>
                <a:cubicBezTo>
                  <a:pt x="4721026" y="3797933"/>
                  <a:pt x="4723375" y="3797933"/>
                  <a:pt x="4725723" y="3797933"/>
                </a:cubicBezTo>
                <a:cubicBezTo>
                  <a:pt x="4724549" y="3795584"/>
                  <a:pt x="4723375" y="3794997"/>
                  <a:pt x="4722201" y="3795291"/>
                </a:cubicBezTo>
                <a:close/>
                <a:moveTo>
                  <a:pt x="5844989" y="3794080"/>
                </a:moveTo>
                <a:cubicBezTo>
                  <a:pt x="5844329" y="3794410"/>
                  <a:pt x="5828475" y="3820834"/>
                  <a:pt x="5839044" y="3804979"/>
                </a:cubicBezTo>
                <a:cubicBezTo>
                  <a:pt x="5843742" y="3796759"/>
                  <a:pt x="5845210" y="3793970"/>
                  <a:pt x="5844989" y="3794080"/>
                </a:cubicBezTo>
                <a:close/>
                <a:moveTo>
                  <a:pt x="5914609" y="3794079"/>
                </a:moveTo>
                <a:cubicBezTo>
                  <a:pt x="5910095" y="3793089"/>
                  <a:pt x="5906572" y="3815549"/>
                  <a:pt x="5918903" y="3804979"/>
                </a:cubicBezTo>
                <a:cubicBezTo>
                  <a:pt x="5917728" y="3797346"/>
                  <a:pt x="5916114" y="3794410"/>
                  <a:pt x="5914609" y="3794079"/>
                </a:cubicBezTo>
                <a:close/>
                <a:moveTo>
                  <a:pt x="4760955" y="3790887"/>
                </a:moveTo>
                <a:cubicBezTo>
                  <a:pt x="4760955" y="3793236"/>
                  <a:pt x="4763304" y="3793236"/>
                  <a:pt x="4760955" y="3795585"/>
                </a:cubicBezTo>
                <a:cubicBezTo>
                  <a:pt x="4765653" y="3795585"/>
                  <a:pt x="4770350" y="3795585"/>
                  <a:pt x="4775048" y="3795585"/>
                </a:cubicBezTo>
                <a:cubicBezTo>
                  <a:pt x="4775048" y="3795585"/>
                  <a:pt x="4777397" y="3795585"/>
                  <a:pt x="4777397" y="3795585"/>
                </a:cubicBezTo>
                <a:cubicBezTo>
                  <a:pt x="4772699" y="3793236"/>
                  <a:pt x="4768001" y="3790887"/>
                  <a:pt x="4760955" y="3790887"/>
                </a:cubicBezTo>
                <a:close/>
                <a:moveTo>
                  <a:pt x="5796284" y="3783240"/>
                </a:moveTo>
                <a:cubicBezTo>
                  <a:pt x="5796326" y="3783951"/>
                  <a:pt x="5796473" y="3785602"/>
                  <a:pt x="5796766" y="3788538"/>
                </a:cubicBezTo>
                <a:cubicBezTo>
                  <a:pt x="5800876" y="3819366"/>
                  <a:pt x="5795995" y="3778262"/>
                  <a:pt x="5796284" y="3783240"/>
                </a:cubicBezTo>
                <a:close/>
                <a:moveTo>
                  <a:pt x="4730421" y="3781492"/>
                </a:moveTo>
                <a:cubicBezTo>
                  <a:pt x="4725723" y="3783841"/>
                  <a:pt x="4730421" y="3793236"/>
                  <a:pt x="4725723" y="3795585"/>
                </a:cubicBezTo>
                <a:cubicBezTo>
                  <a:pt x="4732770" y="3795585"/>
                  <a:pt x="4739816" y="3795585"/>
                  <a:pt x="4746862" y="3795585"/>
                </a:cubicBezTo>
                <a:cubicBezTo>
                  <a:pt x="4744513" y="3788538"/>
                  <a:pt x="4739816" y="3781492"/>
                  <a:pt x="4730421" y="3781492"/>
                </a:cubicBezTo>
                <a:close/>
                <a:moveTo>
                  <a:pt x="213735" y="3776793"/>
                </a:moveTo>
                <a:lnTo>
                  <a:pt x="220780" y="3779142"/>
                </a:lnTo>
                <a:lnTo>
                  <a:pt x="225478" y="3783839"/>
                </a:lnTo>
                <a:lnTo>
                  <a:pt x="220780" y="3786188"/>
                </a:lnTo>
                <a:lnTo>
                  <a:pt x="211385" y="3790886"/>
                </a:lnTo>
                <a:lnTo>
                  <a:pt x="206687" y="3783839"/>
                </a:lnTo>
                <a:close/>
                <a:moveTo>
                  <a:pt x="1261277" y="3774445"/>
                </a:moveTo>
                <a:lnTo>
                  <a:pt x="1251884" y="3781492"/>
                </a:lnTo>
                <a:lnTo>
                  <a:pt x="1261277" y="3786189"/>
                </a:lnTo>
                <a:lnTo>
                  <a:pt x="1265977" y="3781492"/>
                </a:lnTo>
                <a:close/>
                <a:moveTo>
                  <a:pt x="5758085" y="3772940"/>
                </a:moveTo>
                <a:cubicBezTo>
                  <a:pt x="5757424" y="3773271"/>
                  <a:pt x="5741569" y="3799694"/>
                  <a:pt x="5752139" y="3783840"/>
                </a:cubicBezTo>
                <a:cubicBezTo>
                  <a:pt x="5756837" y="3775619"/>
                  <a:pt x="5758305" y="3772830"/>
                  <a:pt x="5758085" y="3772940"/>
                </a:cubicBezTo>
                <a:close/>
                <a:moveTo>
                  <a:pt x="5883378" y="3772684"/>
                </a:moveTo>
                <a:cubicBezTo>
                  <a:pt x="5878387" y="3770922"/>
                  <a:pt x="5871928" y="3774446"/>
                  <a:pt x="5878974" y="3788538"/>
                </a:cubicBezTo>
                <a:cubicBezTo>
                  <a:pt x="5891892" y="3781492"/>
                  <a:pt x="5888369" y="3774445"/>
                  <a:pt x="5883378" y="3772684"/>
                </a:cubicBezTo>
                <a:close/>
                <a:moveTo>
                  <a:pt x="932464" y="3772096"/>
                </a:moveTo>
                <a:cubicBezTo>
                  <a:pt x="932464" y="3774445"/>
                  <a:pt x="937159" y="3776794"/>
                  <a:pt x="937159" y="3779142"/>
                </a:cubicBezTo>
                <a:cubicBezTo>
                  <a:pt x="937159" y="3781491"/>
                  <a:pt x="934810" y="3786189"/>
                  <a:pt x="932464" y="3786189"/>
                </a:cubicBezTo>
                <a:cubicBezTo>
                  <a:pt x="927764" y="3786189"/>
                  <a:pt x="925414" y="3781491"/>
                  <a:pt x="923065" y="3781491"/>
                </a:cubicBezTo>
                <a:cubicBezTo>
                  <a:pt x="923065" y="3781491"/>
                  <a:pt x="920715" y="3783840"/>
                  <a:pt x="918367" y="3786189"/>
                </a:cubicBezTo>
                <a:lnTo>
                  <a:pt x="885486" y="3793235"/>
                </a:lnTo>
                <a:cubicBezTo>
                  <a:pt x="883136" y="3795584"/>
                  <a:pt x="883136" y="3797932"/>
                  <a:pt x="880786" y="3797932"/>
                </a:cubicBezTo>
                <a:cubicBezTo>
                  <a:pt x="878437" y="3797932"/>
                  <a:pt x="876088" y="3795584"/>
                  <a:pt x="873744" y="3793235"/>
                </a:cubicBezTo>
                <a:cubicBezTo>
                  <a:pt x="873744" y="3793235"/>
                  <a:pt x="866694" y="3786189"/>
                  <a:pt x="880786" y="3774445"/>
                </a:cubicBezTo>
                <a:lnTo>
                  <a:pt x="906625" y="3783840"/>
                </a:lnTo>
                <a:cubicBezTo>
                  <a:pt x="906625" y="3783840"/>
                  <a:pt x="908972" y="3779142"/>
                  <a:pt x="911322" y="3776794"/>
                </a:cubicBezTo>
                <a:close/>
                <a:moveTo>
                  <a:pt x="6423890" y="3769747"/>
                </a:moveTo>
                <a:cubicBezTo>
                  <a:pt x="6466168" y="3783841"/>
                  <a:pt x="6510795" y="3816724"/>
                  <a:pt x="6550724" y="3840211"/>
                </a:cubicBezTo>
                <a:cubicBezTo>
                  <a:pt x="6506097" y="3828468"/>
                  <a:pt x="6468517" y="3788538"/>
                  <a:pt x="6423890" y="3769747"/>
                </a:cubicBezTo>
                <a:close/>
                <a:moveTo>
                  <a:pt x="230177" y="3769747"/>
                </a:moveTo>
                <a:lnTo>
                  <a:pt x="237223" y="3774445"/>
                </a:lnTo>
                <a:lnTo>
                  <a:pt x="230177" y="3781491"/>
                </a:lnTo>
                <a:lnTo>
                  <a:pt x="223129" y="3776793"/>
                </a:lnTo>
                <a:close/>
                <a:moveTo>
                  <a:pt x="6271572" y="3756595"/>
                </a:moveTo>
                <a:lnTo>
                  <a:pt x="6280615" y="3769748"/>
                </a:lnTo>
                <a:lnTo>
                  <a:pt x="6275556" y="3763425"/>
                </a:lnTo>
                <a:close/>
                <a:moveTo>
                  <a:pt x="784488" y="3755656"/>
                </a:moveTo>
                <a:cubicBezTo>
                  <a:pt x="789190" y="3755656"/>
                  <a:pt x="793889" y="3753306"/>
                  <a:pt x="798582" y="3755656"/>
                </a:cubicBezTo>
                <a:cubicBezTo>
                  <a:pt x="798582" y="3755656"/>
                  <a:pt x="803289" y="3762702"/>
                  <a:pt x="805634" y="3765051"/>
                </a:cubicBezTo>
                <a:lnTo>
                  <a:pt x="831469" y="3762702"/>
                </a:lnTo>
                <a:lnTo>
                  <a:pt x="852609" y="3774446"/>
                </a:lnTo>
                <a:cubicBezTo>
                  <a:pt x="852609" y="3774446"/>
                  <a:pt x="850260" y="3781492"/>
                  <a:pt x="847912" y="3783841"/>
                </a:cubicBezTo>
                <a:lnTo>
                  <a:pt x="822077" y="3788539"/>
                </a:lnTo>
                <a:lnTo>
                  <a:pt x="798582" y="3779144"/>
                </a:lnTo>
                <a:lnTo>
                  <a:pt x="779790" y="3790888"/>
                </a:lnTo>
                <a:lnTo>
                  <a:pt x="770398" y="3781492"/>
                </a:lnTo>
                <a:cubicBezTo>
                  <a:pt x="770398" y="3781492"/>
                  <a:pt x="772746" y="3776795"/>
                  <a:pt x="772746" y="3774446"/>
                </a:cubicBezTo>
                <a:close/>
                <a:moveTo>
                  <a:pt x="3854326" y="3755655"/>
                </a:moveTo>
                <a:cubicBezTo>
                  <a:pt x="3828490" y="3774445"/>
                  <a:pt x="3823792" y="3779143"/>
                  <a:pt x="3795607" y="3800282"/>
                </a:cubicBezTo>
                <a:cubicBezTo>
                  <a:pt x="3819095" y="3793236"/>
                  <a:pt x="3844931" y="3795585"/>
                  <a:pt x="3863722" y="3779143"/>
                </a:cubicBezTo>
                <a:cubicBezTo>
                  <a:pt x="3854326" y="3774445"/>
                  <a:pt x="3868419" y="3760353"/>
                  <a:pt x="3854326" y="3755655"/>
                </a:cubicBezTo>
                <a:close/>
                <a:moveTo>
                  <a:pt x="4786792" y="3753307"/>
                </a:moveTo>
                <a:cubicBezTo>
                  <a:pt x="4791489" y="3767399"/>
                  <a:pt x="4798535" y="3779143"/>
                  <a:pt x="4812628" y="3776794"/>
                </a:cubicBezTo>
                <a:cubicBezTo>
                  <a:pt x="4807931" y="3769748"/>
                  <a:pt x="4805582" y="3760353"/>
                  <a:pt x="4800884" y="3753307"/>
                </a:cubicBezTo>
                <a:cubicBezTo>
                  <a:pt x="4796187" y="3755655"/>
                  <a:pt x="4791489" y="3755655"/>
                  <a:pt x="4786792" y="3753307"/>
                </a:cubicBezTo>
                <a:close/>
                <a:moveTo>
                  <a:pt x="4847860" y="3746260"/>
                </a:moveTo>
                <a:cubicBezTo>
                  <a:pt x="4845511" y="3748609"/>
                  <a:pt x="4840813" y="3748609"/>
                  <a:pt x="4838465" y="3748609"/>
                </a:cubicBezTo>
                <a:cubicBezTo>
                  <a:pt x="4838465" y="3748609"/>
                  <a:pt x="4840813" y="3750958"/>
                  <a:pt x="4840813" y="3750958"/>
                </a:cubicBezTo>
                <a:cubicBezTo>
                  <a:pt x="4843162" y="3748609"/>
                  <a:pt x="4845511" y="3748609"/>
                  <a:pt x="4847860" y="3746260"/>
                </a:cubicBezTo>
                <a:close/>
                <a:moveTo>
                  <a:pt x="4199597" y="3746260"/>
                </a:moveTo>
                <a:cubicBezTo>
                  <a:pt x="4201946" y="3755655"/>
                  <a:pt x="4164365" y="3760353"/>
                  <a:pt x="4157319" y="3783841"/>
                </a:cubicBezTo>
                <a:cubicBezTo>
                  <a:pt x="4166714" y="3816723"/>
                  <a:pt x="4190202" y="3819072"/>
                  <a:pt x="4211341" y="3833165"/>
                </a:cubicBezTo>
                <a:cubicBezTo>
                  <a:pt x="4227782" y="3809677"/>
                  <a:pt x="4234828" y="3800282"/>
                  <a:pt x="4246572" y="3779143"/>
                </a:cubicBezTo>
                <a:cubicBezTo>
                  <a:pt x="4220736" y="3765050"/>
                  <a:pt x="4220736" y="3746260"/>
                  <a:pt x="4199597" y="3746260"/>
                </a:cubicBezTo>
                <a:close/>
                <a:moveTo>
                  <a:pt x="3472870" y="3745710"/>
                </a:moveTo>
                <a:cubicBezTo>
                  <a:pt x="3467365" y="3746260"/>
                  <a:pt x="3458557" y="3765637"/>
                  <a:pt x="3476173" y="3753307"/>
                </a:cubicBezTo>
                <a:cubicBezTo>
                  <a:pt x="3476173" y="3747435"/>
                  <a:pt x="3474705" y="3745526"/>
                  <a:pt x="3472870" y="3745710"/>
                </a:cubicBezTo>
                <a:close/>
                <a:moveTo>
                  <a:pt x="1042856" y="3741562"/>
                </a:moveTo>
                <a:lnTo>
                  <a:pt x="1052255" y="3743911"/>
                </a:lnTo>
                <a:lnTo>
                  <a:pt x="1042856" y="3755655"/>
                </a:lnTo>
                <a:lnTo>
                  <a:pt x="1042856" y="3753306"/>
                </a:lnTo>
                <a:lnTo>
                  <a:pt x="1038157" y="3746260"/>
                </a:lnTo>
                <a:close/>
                <a:moveTo>
                  <a:pt x="6351078" y="3739213"/>
                </a:moveTo>
                <a:cubicBezTo>
                  <a:pt x="6367521" y="3741562"/>
                  <a:pt x="6386311" y="3741562"/>
                  <a:pt x="6402752" y="3743911"/>
                </a:cubicBezTo>
                <a:cubicBezTo>
                  <a:pt x="6393357" y="3750957"/>
                  <a:pt x="6379265" y="3739213"/>
                  <a:pt x="6367521" y="3743911"/>
                </a:cubicBezTo>
                <a:cubicBezTo>
                  <a:pt x="6416845" y="3781491"/>
                  <a:pt x="6473216" y="3812025"/>
                  <a:pt x="6522540" y="3851955"/>
                </a:cubicBezTo>
                <a:cubicBezTo>
                  <a:pt x="6459123" y="3819072"/>
                  <a:pt x="6402752" y="3781491"/>
                  <a:pt x="6351078" y="3739213"/>
                </a:cubicBezTo>
                <a:close/>
                <a:moveTo>
                  <a:pt x="1127412" y="3739213"/>
                </a:moveTo>
                <a:cubicBezTo>
                  <a:pt x="1132110" y="3739213"/>
                  <a:pt x="1148553" y="3755656"/>
                  <a:pt x="1148553" y="3755656"/>
                </a:cubicBezTo>
                <a:cubicBezTo>
                  <a:pt x="1153249" y="3769748"/>
                  <a:pt x="1139156" y="3776795"/>
                  <a:pt x="1134461" y="3772097"/>
                </a:cubicBezTo>
                <a:cubicBezTo>
                  <a:pt x="1134461" y="3772097"/>
                  <a:pt x="1132110" y="3765051"/>
                  <a:pt x="1132110" y="3762702"/>
                </a:cubicBezTo>
                <a:lnTo>
                  <a:pt x="1122714" y="3746260"/>
                </a:lnTo>
                <a:cubicBezTo>
                  <a:pt x="1125062" y="3743912"/>
                  <a:pt x="1125062" y="3741563"/>
                  <a:pt x="1127412" y="3739213"/>
                </a:cubicBezTo>
                <a:close/>
                <a:moveTo>
                  <a:pt x="6005808" y="3725121"/>
                </a:moveTo>
                <a:cubicBezTo>
                  <a:pt x="6003460" y="3725121"/>
                  <a:pt x="6003460" y="3727470"/>
                  <a:pt x="6003460" y="3727470"/>
                </a:cubicBezTo>
                <a:cubicBezTo>
                  <a:pt x="6008157" y="3734516"/>
                  <a:pt x="6015203" y="3739213"/>
                  <a:pt x="6019901" y="3743911"/>
                </a:cubicBezTo>
                <a:cubicBezTo>
                  <a:pt x="6024598" y="3748609"/>
                  <a:pt x="6031645" y="3755655"/>
                  <a:pt x="6043389" y="3758004"/>
                </a:cubicBezTo>
                <a:cubicBezTo>
                  <a:pt x="6029296" y="3746260"/>
                  <a:pt x="6017552" y="3736865"/>
                  <a:pt x="6005808" y="3725121"/>
                </a:cubicBezTo>
                <a:close/>
                <a:moveTo>
                  <a:pt x="6371924" y="3724239"/>
                </a:moveTo>
                <a:cubicBezTo>
                  <a:pt x="6395118" y="3723359"/>
                  <a:pt x="6419193" y="3723946"/>
                  <a:pt x="6442681" y="3725120"/>
                </a:cubicBezTo>
                <a:cubicBezTo>
                  <a:pt x="6409797" y="3736864"/>
                  <a:pt x="6353427" y="3722771"/>
                  <a:pt x="6322893" y="3736864"/>
                </a:cubicBezTo>
                <a:cubicBezTo>
                  <a:pt x="6365171" y="3762701"/>
                  <a:pt x="6409797" y="3788538"/>
                  <a:pt x="6449727" y="3819072"/>
                </a:cubicBezTo>
                <a:cubicBezTo>
                  <a:pt x="6398053" y="3802631"/>
                  <a:pt x="6348729" y="3765050"/>
                  <a:pt x="6306451" y="3732166"/>
                </a:cubicBezTo>
                <a:cubicBezTo>
                  <a:pt x="6326416" y="3727469"/>
                  <a:pt x="6348730" y="3725120"/>
                  <a:pt x="6371924" y="3724239"/>
                </a:cubicBezTo>
                <a:close/>
                <a:moveTo>
                  <a:pt x="6205455" y="3722772"/>
                </a:moveTo>
                <a:cubicBezTo>
                  <a:pt x="6217199" y="3736865"/>
                  <a:pt x="6238337" y="3755655"/>
                  <a:pt x="6252430" y="3760353"/>
                </a:cubicBezTo>
                <a:cubicBezTo>
                  <a:pt x="6243035" y="3748609"/>
                  <a:pt x="6231291" y="3734516"/>
                  <a:pt x="6221896" y="3722772"/>
                </a:cubicBezTo>
                <a:cubicBezTo>
                  <a:pt x="6214850" y="3722772"/>
                  <a:pt x="6210152" y="3722772"/>
                  <a:pt x="6205455" y="3722772"/>
                </a:cubicBezTo>
                <a:close/>
                <a:moveTo>
                  <a:pt x="1017015" y="3722772"/>
                </a:moveTo>
                <a:lnTo>
                  <a:pt x="1024062" y="3727470"/>
                </a:lnTo>
                <a:lnTo>
                  <a:pt x="1017015" y="3736865"/>
                </a:lnTo>
                <a:close/>
                <a:moveTo>
                  <a:pt x="589527" y="3722772"/>
                </a:moveTo>
                <a:cubicBezTo>
                  <a:pt x="591875" y="3727470"/>
                  <a:pt x="591875" y="3729819"/>
                  <a:pt x="591875" y="3732168"/>
                </a:cubicBezTo>
                <a:cubicBezTo>
                  <a:pt x="591875" y="3734516"/>
                  <a:pt x="582483" y="3739214"/>
                  <a:pt x="573086" y="3736865"/>
                </a:cubicBezTo>
                <a:cubicBezTo>
                  <a:pt x="568391" y="3736865"/>
                  <a:pt x="563691" y="3729819"/>
                  <a:pt x="566040" y="3725121"/>
                </a:cubicBezTo>
                <a:cubicBezTo>
                  <a:pt x="566040" y="3725121"/>
                  <a:pt x="582483" y="3722772"/>
                  <a:pt x="589527" y="3722772"/>
                </a:cubicBezTo>
                <a:close/>
                <a:moveTo>
                  <a:pt x="6266523" y="3720423"/>
                </a:moveTo>
                <a:cubicBezTo>
                  <a:pt x="6264174" y="3722772"/>
                  <a:pt x="6259476" y="3722772"/>
                  <a:pt x="6257127" y="3725121"/>
                </a:cubicBezTo>
                <a:cubicBezTo>
                  <a:pt x="6266523" y="3736865"/>
                  <a:pt x="6280615" y="3743911"/>
                  <a:pt x="6292359" y="3753306"/>
                </a:cubicBezTo>
                <a:cubicBezTo>
                  <a:pt x="6287662" y="3746260"/>
                  <a:pt x="6282964" y="3739213"/>
                  <a:pt x="6278267" y="3732167"/>
                </a:cubicBezTo>
                <a:cubicBezTo>
                  <a:pt x="6273569" y="3729818"/>
                  <a:pt x="6268871" y="3727470"/>
                  <a:pt x="6264174" y="3727470"/>
                </a:cubicBezTo>
                <a:cubicBezTo>
                  <a:pt x="6266523" y="3727470"/>
                  <a:pt x="6268871" y="3725121"/>
                  <a:pt x="6271220" y="3725121"/>
                </a:cubicBezTo>
                <a:cubicBezTo>
                  <a:pt x="6268871" y="3722772"/>
                  <a:pt x="6268871" y="3720423"/>
                  <a:pt x="6266523" y="3720423"/>
                </a:cubicBezTo>
                <a:close/>
                <a:moveTo>
                  <a:pt x="6231291" y="3718075"/>
                </a:moveTo>
                <a:cubicBezTo>
                  <a:pt x="6228942" y="3718075"/>
                  <a:pt x="6228942" y="3720423"/>
                  <a:pt x="6226593" y="3720423"/>
                </a:cubicBezTo>
                <a:cubicBezTo>
                  <a:pt x="6233640" y="3725121"/>
                  <a:pt x="6238337" y="3729818"/>
                  <a:pt x="6243035" y="3734516"/>
                </a:cubicBezTo>
                <a:cubicBezTo>
                  <a:pt x="6240686" y="3732167"/>
                  <a:pt x="6238337" y="3729818"/>
                  <a:pt x="6235988" y="3725121"/>
                </a:cubicBezTo>
                <a:cubicBezTo>
                  <a:pt x="6235988" y="3722772"/>
                  <a:pt x="6233640" y="3720423"/>
                  <a:pt x="6231291" y="3718075"/>
                </a:cubicBezTo>
                <a:close/>
                <a:moveTo>
                  <a:pt x="6238337" y="3713377"/>
                </a:moveTo>
                <a:cubicBezTo>
                  <a:pt x="6235988" y="3713377"/>
                  <a:pt x="6235988" y="3715726"/>
                  <a:pt x="6233640" y="3715726"/>
                </a:cubicBezTo>
                <a:cubicBezTo>
                  <a:pt x="6235988" y="3718075"/>
                  <a:pt x="6238337" y="3720423"/>
                  <a:pt x="6240686" y="3722772"/>
                </a:cubicBezTo>
                <a:cubicBezTo>
                  <a:pt x="6243035" y="3722772"/>
                  <a:pt x="6243035" y="3720423"/>
                  <a:pt x="6243035" y="3720423"/>
                </a:cubicBezTo>
                <a:close/>
                <a:moveTo>
                  <a:pt x="1127412" y="3713377"/>
                </a:moveTo>
                <a:cubicBezTo>
                  <a:pt x="1127412" y="3713377"/>
                  <a:pt x="1134461" y="3718075"/>
                  <a:pt x="1132110" y="3722772"/>
                </a:cubicBezTo>
                <a:cubicBezTo>
                  <a:pt x="1132110" y="3722772"/>
                  <a:pt x="1127412" y="3725121"/>
                  <a:pt x="1125063" y="3727470"/>
                </a:cubicBezTo>
                <a:lnTo>
                  <a:pt x="1108620" y="3743911"/>
                </a:lnTo>
                <a:cubicBezTo>
                  <a:pt x="1099226" y="3736865"/>
                  <a:pt x="1099226" y="3736865"/>
                  <a:pt x="1101575" y="3729819"/>
                </a:cubicBezTo>
                <a:cubicBezTo>
                  <a:pt x="1103925" y="3718075"/>
                  <a:pt x="1115668" y="3711027"/>
                  <a:pt x="1127412" y="3713377"/>
                </a:cubicBezTo>
                <a:close/>
                <a:moveTo>
                  <a:pt x="1305905" y="3711028"/>
                </a:moveTo>
                <a:cubicBezTo>
                  <a:pt x="1305905" y="3711028"/>
                  <a:pt x="1298858" y="3711028"/>
                  <a:pt x="1294162" y="3715726"/>
                </a:cubicBezTo>
                <a:lnTo>
                  <a:pt x="1284765" y="3732168"/>
                </a:lnTo>
                <a:cubicBezTo>
                  <a:pt x="1284765" y="3736865"/>
                  <a:pt x="1282420" y="3739214"/>
                  <a:pt x="1282420" y="3741563"/>
                </a:cubicBezTo>
                <a:cubicBezTo>
                  <a:pt x="1282420" y="3741563"/>
                  <a:pt x="1284765" y="3746260"/>
                  <a:pt x="1287115" y="3748609"/>
                </a:cubicBezTo>
                <a:lnTo>
                  <a:pt x="1312950" y="3736865"/>
                </a:lnTo>
                <a:lnTo>
                  <a:pt x="1315299" y="3720424"/>
                </a:lnTo>
                <a:close/>
                <a:moveTo>
                  <a:pt x="6193711" y="3708680"/>
                </a:moveTo>
                <a:cubicBezTo>
                  <a:pt x="6186664" y="3711028"/>
                  <a:pt x="6177269" y="3713377"/>
                  <a:pt x="6172572" y="3718075"/>
                </a:cubicBezTo>
                <a:cubicBezTo>
                  <a:pt x="6186664" y="3725121"/>
                  <a:pt x="6193711" y="3743911"/>
                  <a:pt x="6214850" y="3750957"/>
                </a:cubicBezTo>
                <a:cubicBezTo>
                  <a:pt x="6207804" y="3736865"/>
                  <a:pt x="6198408" y="3727470"/>
                  <a:pt x="6186664" y="3720423"/>
                </a:cubicBezTo>
                <a:cubicBezTo>
                  <a:pt x="6186664" y="3715726"/>
                  <a:pt x="6196060" y="3715726"/>
                  <a:pt x="6193711" y="3708680"/>
                </a:cubicBezTo>
                <a:close/>
                <a:moveTo>
                  <a:pt x="5700467" y="3708679"/>
                </a:moveTo>
                <a:cubicBezTo>
                  <a:pt x="5702815" y="3711028"/>
                  <a:pt x="5705164" y="3711028"/>
                  <a:pt x="5705164" y="3713377"/>
                </a:cubicBezTo>
                <a:cubicBezTo>
                  <a:pt x="5700467" y="3713377"/>
                  <a:pt x="5698118" y="3711028"/>
                  <a:pt x="5695769" y="3711028"/>
                </a:cubicBezTo>
                <a:cubicBezTo>
                  <a:pt x="5698118" y="3711028"/>
                  <a:pt x="5700467" y="3708679"/>
                  <a:pt x="5700467" y="3708679"/>
                </a:cubicBezTo>
                <a:close/>
                <a:moveTo>
                  <a:pt x="267756" y="3706330"/>
                </a:moveTo>
                <a:cubicBezTo>
                  <a:pt x="272455" y="3706330"/>
                  <a:pt x="279500" y="3711028"/>
                  <a:pt x="281849" y="3713376"/>
                </a:cubicBezTo>
                <a:cubicBezTo>
                  <a:pt x="284198" y="3718074"/>
                  <a:pt x="279500" y="3725120"/>
                  <a:pt x="281849" y="3729818"/>
                </a:cubicBezTo>
                <a:cubicBezTo>
                  <a:pt x="281849" y="3734515"/>
                  <a:pt x="286548" y="3736864"/>
                  <a:pt x="288898" y="3739213"/>
                </a:cubicBezTo>
                <a:cubicBezTo>
                  <a:pt x="295942" y="3743911"/>
                  <a:pt x="305341" y="3743911"/>
                  <a:pt x="312384" y="3748608"/>
                </a:cubicBezTo>
                <a:cubicBezTo>
                  <a:pt x="335876" y="3762702"/>
                  <a:pt x="347618" y="3776794"/>
                  <a:pt x="349969" y="3795585"/>
                </a:cubicBezTo>
                <a:cubicBezTo>
                  <a:pt x="349969" y="3800282"/>
                  <a:pt x="352313" y="3804980"/>
                  <a:pt x="349969" y="3809677"/>
                </a:cubicBezTo>
                <a:cubicBezTo>
                  <a:pt x="347618" y="3814375"/>
                  <a:pt x="342918" y="3816724"/>
                  <a:pt x="340570" y="3819073"/>
                </a:cubicBezTo>
                <a:cubicBezTo>
                  <a:pt x="338220" y="3823770"/>
                  <a:pt x="328825" y="3842560"/>
                  <a:pt x="328825" y="3842560"/>
                </a:cubicBezTo>
                <a:cubicBezTo>
                  <a:pt x="326477" y="3849607"/>
                  <a:pt x="333526" y="3856653"/>
                  <a:pt x="331176" y="3863699"/>
                </a:cubicBezTo>
                <a:cubicBezTo>
                  <a:pt x="328825" y="3873094"/>
                  <a:pt x="317083" y="3877792"/>
                  <a:pt x="312384" y="3884838"/>
                </a:cubicBezTo>
                <a:cubicBezTo>
                  <a:pt x="300640" y="3873094"/>
                  <a:pt x="300640" y="3873094"/>
                  <a:pt x="300640" y="3868397"/>
                </a:cubicBezTo>
                <a:cubicBezTo>
                  <a:pt x="302990" y="3861351"/>
                  <a:pt x="310035" y="3856653"/>
                  <a:pt x="314733" y="3851955"/>
                </a:cubicBezTo>
                <a:cubicBezTo>
                  <a:pt x="298290" y="3840211"/>
                  <a:pt x="305341" y="3847258"/>
                  <a:pt x="298290" y="3833165"/>
                </a:cubicBezTo>
                <a:cubicBezTo>
                  <a:pt x="307686" y="3828467"/>
                  <a:pt x="305341" y="3830816"/>
                  <a:pt x="310035" y="3826119"/>
                </a:cubicBezTo>
                <a:cubicBezTo>
                  <a:pt x="298290" y="3819073"/>
                  <a:pt x="277151" y="3821421"/>
                  <a:pt x="270105" y="3809677"/>
                </a:cubicBezTo>
                <a:cubicBezTo>
                  <a:pt x="265407" y="3804980"/>
                  <a:pt x="274805" y="3797933"/>
                  <a:pt x="274805" y="3786189"/>
                </a:cubicBezTo>
                <a:cubicBezTo>
                  <a:pt x="272455" y="3781492"/>
                  <a:pt x="263063" y="3783841"/>
                  <a:pt x="260713" y="3779143"/>
                </a:cubicBezTo>
                <a:cubicBezTo>
                  <a:pt x="260713" y="3774446"/>
                  <a:pt x="263063" y="3772097"/>
                  <a:pt x="263063" y="3769748"/>
                </a:cubicBezTo>
                <a:cubicBezTo>
                  <a:pt x="263063" y="3765051"/>
                  <a:pt x="256014" y="3760353"/>
                  <a:pt x="253664" y="3753306"/>
                </a:cubicBezTo>
                <a:cubicBezTo>
                  <a:pt x="251321" y="3748608"/>
                  <a:pt x="258363" y="3741562"/>
                  <a:pt x="258363" y="3736864"/>
                </a:cubicBezTo>
                <a:cubicBezTo>
                  <a:pt x="258363" y="3732167"/>
                  <a:pt x="253664" y="3725120"/>
                  <a:pt x="256014" y="3720423"/>
                </a:cubicBezTo>
                <a:cubicBezTo>
                  <a:pt x="258363" y="3715725"/>
                  <a:pt x="263063" y="3708679"/>
                  <a:pt x="267756" y="3706330"/>
                </a:cubicBezTo>
                <a:close/>
                <a:moveTo>
                  <a:pt x="6254779" y="3703982"/>
                </a:moveTo>
                <a:cubicBezTo>
                  <a:pt x="6250081" y="3706331"/>
                  <a:pt x="6247732" y="3708680"/>
                  <a:pt x="6243035" y="3711028"/>
                </a:cubicBezTo>
                <a:cubicBezTo>
                  <a:pt x="6245383" y="3713377"/>
                  <a:pt x="6245383" y="3715726"/>
                  <a:pt x="6247732" y="3718075"/>
                </a:cubicBezTo>
                <a:cubicBezTo>
                  <a:pt x="6252430" y="3715726"/>
                  <a:pt x="6254779" y="3713377"/>
                  <a:pt x="6259476" y="3711028"/>
                </a:cubicBezTo>
                <a:cubicBezTo>
                  <a:pt x="6259476" y="3708680"/>
                  <a:pt x="6257127" y="3706331"/>
                  <a:pt x="6254779" y="3703982"/>
                </a:cubicBezTo>
                <a:close/>
                <a:moveTo>
                  <a:pt x="178502" y="3703981"/>
                </a:moveTo>
                <a:lnTo>
                  <a:pt x="187900" y="3703981"/>
                </a:lnTo>
                <a:lnTo>
                  <a:pt x="192595" y="3708679"/>
                </a:lnTo>
                <a:lnTo>
                  <a:pt x="194944" y="3718074"/>
                </a:lnTo>
                <a:lnTo>
                  <a:pt x="187900" y="3722771"/>
                </a:lnTo>
                <a:cubicBezTo>
                  <a:pt x="187900" y="3722771"/>
                  <a:pt x="185549" y="3720423"/>
                  <a:pt x="183199" y="3718074"/>
                </a:cubicBezTo>
                <a:lnTo>
                  <a:pt x="173807" y="3708679"/>
                </a:lnTo>
                <a:close/>
                <a:moveTo>
                  <a:pt x="1164996" y="3701633"/>
                </a:moveTo>
                <a:lnTo>
                  <a:pt x="1174388" y="3708679"/>
                </a:lnTo>
                <a:cubicBezTo>
                  <a:pt x="1174388" y="3708679"/>
                  <a:pt x="1176738" y="3711028"/>
                  <a:pt x="1176738" y="3713377"/>
                </a:cubicBezTo>
                <a:cubicBezTo>
                  <a:pt x="1176738" y="3713377"/>
                  <a:pt x="1174388" y="3718074"/>
                  <a:pt x="1172039" y="3720423"/>
                </a:cubicBezTo>
                <a:lnTo>
                  <a:pt x="1155599" y="3729818"/>
                </a:lnTo>
                <a:cubicBezTo>
                  <a:pt x="1153254" y="3732167"/>
                  <a:pt x="1153254" y="3732167"/>
                  <a:pt x="1153254" y="3732167"/>
                </a:cubicBezTo>
                <a:cubicBezTo>
                  <a:pt x="1148553" y="3732167"/>
                  <a:pt x="1146203" y="3732167"/>
                  <a:pt x="1143853" y="3729818"/>
                </a:cubicBezTo>
                <a:cubicBezTo>
                  <a:pt x="1143853" y="3729818"/>
                  <a:pt x="1136811" y="3722772"/>
                  <a:pt x="1148553" y="3718074"/>
                </a:cubicBezTo>
                <a:close/>
                <a:moveTo>
                  <a:pt x="1885614" y="3699578"/>
                </a:moveTo>
                <a:cubicBezTo>
                  <a:pt x="1874162" y="3704863"/>
                  <a:pt x="1877248" y="3728644"/>
                  <a:pt x="1879008" y="3739214"/>
                </a:cubicBezTo>
                <a:cubicBezTo>
                  <a:pt x="1895451" y="3746260"/>
                  <a:pt x="1904843" y="3741563"/>
                  <a:pt x="1911894" y="3725121"/>
                </a:cubicBezTo>
                <a:cubicBezTo>
                  <a:pt x="1895451" y="3722772"/>
                  <a:pt x="1893101" y="3715726"/>
                  <a:pt x="1902495" y="3701633"/>
                </a:cubicBezTo>
                <a:cubicBezTo>
                  <a:pt x="1894861" y="3698110"/>
                  <a:pt x="1889429" y="3697816"/>
                  <a:pt x="1885614" y="3699578"/>
                </a:cubicBezTo>
                <a:close/>
                <a:moveTo>
                  <a:pt x="6231291" y="3699284"/>
                </a:moveTo>
                <a:cubicBezTo>
                  <a:pt x="6228942" y="3701633"/>
                  <a:pt x="6226593" y="3701633"/>
                  <a:pt x="6224245" y="3703982"/>
                </a:cubicBezTo>
                <a:lnTo>
                  <a:pt x="6224245" y="3706331"/>
                </a:lnTo>
                <a:cubicBezTo>
                  <a:pt x="6221896" y="3703982"/>
                  <a:pt x="6221896" y="3703982"/>
                  <a:pt x="6221896" y="3703982"/>
                </a:cubicBezTo>
                <a:cubicBezTo>
                  <a:pt x="6212501" y="3708680"/>
                  <a:pt x="6205455" y="3713377"/>
                  <a:pt x="6196060" y="3718075"/>
                </a:cubicBezTo>
                <a:cubicBezTo>
                  <a:pt x="6210152" y="3727470"/>
                  <a:pt x="6217199" y="3718075"/>
                  <a:pt x="6226593" y="3708680"/>
                </a:cubicBezTo>
                <a:cubicBezTo>
                  <a:pt x="6228942" y="3706331"/>
                  <a:pt x="6228942" y="3706331"/>
                  <a:pt x="6233640" y="3703982"/>
                </a:cubicBezTo>
                <a:close/>
                <a:moveTo>
                  <a:pt x="230177" y="3694587"/>
                </a:moveTo>
                <a:cubicBezTo>
                  <a:pt x="232528" y="3694587"/>
                  <a:pt x="234878" y="3696935"/>
                  <a:pt x="234878" y="3699284"/>
                </a:cubicBezTo>
                <a:cubicBezTo>
                  <a:pt x="237228" y="3701633"/>
                  <a:pt x="232528" y="3722773"/>
                  <a:pt x="230177" y="3725122"/>
                </a:cubicBezTo>
                <a:cubicBezTo>
                  <a:pt x="230177" y="3725122"/>
                  <a:pt x="220780" y="3729819"/>
                  <a:pt x="220780" y="3734517"/>
                </a:cubicBezTo>
                <a:lnTo>
                  <a:pt x="244270" y="3743912"/>
                </a:lnTo>
                <a:cubicBezTo>
                  <a:pt x="244270" y="3743912"/>
                  <a:pt x="241921" y="3748610"/>
                  <a:pt x="239572" y="3750958"/>
                </a:cubicBezTo>
                <a:lnTo>
                  <a:pt x="223130" y="3769748"/>
                </a:lnTo>
                <a:cubicBezTo>
                  <a:pt x="216085" y="3760353"/>
                  <a:pt x="216085" y="3758005"/>
                  <a:pt x="213735" y="3758005"/>
                </a:cubicBezTo>
                <a:cubicBezTo>
                  <a:pt x="209037" y="3755656"/>
                  <a:pt x="206687" y="3762702"/>
                  <a:pt x="204338" y="3762702"/>
                </a:cubicBezTo>
                <a:cubicBezTo>
                  <a:pt x="204338" y="3762702"/>
                  <a:pt x="201992" y="3760353"/>
                  <a:pt x="201992" y="3760353"/>
                </a:cubicBezTo>
                <a:lnTo>
                  <a:pt x="204338" y="3739214"/>
                </a:lnTo>
                <a:cubicBezTo>
                  <a:pt x="201992" y="3734517"/>
                  <a:pt x="199642" y="3729819"/>
                  <a:pt x="199642" y="3725122"/>
                </a:cubicBezTo>
                <a:cubicBezTo>
                  <a:pt x="199642" y="3725122"/>
                  <a:pt x="209037" y="3718075"/>
                  <a:pt x="218435" y="3699284"/>
                </a:cubicBezTo>
                <a:cubicBezTo>
                  <a:pt x="220780" y="3694587"/>
                  <a:pt x="225479" y="3692238"/>
                  <a:pt x="230177" y="3694587"/>
                </a:cubicBezTo>
                <a:close/>
                <a:moveTo>
                  <a:pt x="6245383" y="3689889"/>
                </a:moveTo>
                <a:cubicBezTo>
                  <a:pt x="6240686" y="3692238"/>
                  <a:pt x="6238337" y="3694587"/>
                  <a:pt x="6233640" y="3696936"/>
                </a:cubicBezTo>
                <a:cubicBezTo>
                  <a:pt x="6233640" y="3696936"/>
                  <a:pt x="6235988" y="3699284"/>
                  <a:pt x="6235988" y="3699284"/>
                </a:cubicBezTo>
                <a:cubicBezTo>
                  <a:pt x="6238337" y="3696936"/>
                  <a:pt x="6238337" y="3696936"/>
                  <a:pt x="6238337" y="3696936"/>
                </a:cubicBezTo>
                <a:cubicBezTo>
                  <a:pt x="6240686" y="3694587"/>
                  <a:pt x="6245383" y="3694587"/>
                  <a:pt x="6247732" y="3692238"/>
                </a:cubicBezTo>
                <a:cubicBezTo>
                  <a:pt x="6247732" y="3692238"/>
                  <a:pt x="6245383" y="3689889"/>
                  <a:pt x="6245383" y="3689889"/>
                </a:cubicBezTo>
                <a:close/>
                <a:moveTo>
                  <a:pt x="1026412" y="3687540"/>
                </a:moveTo>
                <a:lnTo>
                  <a:pt x="1035807" y="3694586"/>
                </a:lnTo>
                <a:cubicBezTo>
                  <a:pt x="1035807" y="3694586"/>
                  <a:pt x="1033457" y="3701633"/>
                  <a:pt x="1026412" y="3708679"/>
                </a:cubicBezTo>
                <a:lnTo>
                  <a:pt x="1017015" y="3708679"/>
                </a:lnTo>
                <a:lnTo>
                  <a:pt x="1009969" y="3703981"/>
                </a:lnTo>
                <a:lnTo>
                  <a:pt x="1009969" y="3694586"/>
                </a:lnTo>
                <a:lnTo>
                  <a:pt x="1017015" y="3689889"/>
                </a:lnTo>
                <a:close/>
                <a:moveTo>
                  <a:pt x="256014" y="3687540"/>
                </a:moveTo>
                <a:lnTo>
                  <a:pt x="256014" y="3703981"/>
                </a:lnTo>
                <a:lnTo>
                  <a:pt x="251315" y="3699284"/>
                </a:lnTo>
                <a:lnTo>
                  <a:pt x="251315" y="3692238"/>
                </a:lnTo>
                <a:close/>
                <a:moveTo>
                  <a:pt x="6196060" y="3680494"/>
                </a:moveTo>
                <a:cubicBezTo>
                  <a:pt x="6186664" y="3687540"/>
                  <a:pt x="6177269" y="3694587"/>
                  <a:pt x="6170223" y="3699284"/>
                </a:cubicBezTo>
                <a:cubicBezTo>
                  <a:pt x="6181967" y="3696936"/>
                  <a:pt x="6191362" y="3692238"/>
                  <a:pt x="6203106" y="3685192"/>
                </a:cubicBezTo>
                <a:cubicBezTo>
                  <a:pt x="6200757" y="3685192"/>
                  <a:pt x="6198408" y="3682843"/>
                  <a:pt x="6196060" y="3680494"/>
                </a:cubicBezTo>
                <a:close/>
                <a:moveTo>
                  <a:pt x="6207804" y="3673448"/>
                </a:moveTo>
                <a:cubicBezTo>
                  <a:pt x="6205455" y="3673448"/>
                  <a:pt x="6205455" y="3675796"/>
                  <a:pt x="6203106" y="3675796"/>
                </a:cubicBezTo>
                <a:lnTo>
                  <a:pt x="6207804" y="3682843"/>
                </a:lnTo>
                <a:cubicBezTo>
                  <a:pt x="6207804" y="3682843"/>
                  <a:pt x="6210152" y="3680494"/>
                  <a:pt x="6212501" y="3680494"/>
                </a:cubicBezTo>
                <a:close/>
                <a:moveTo>
                  <a:pt x="3375176" y="3671099"/>
                </a:moveTo>
                <a:cubicBezTo>
                  <a:pt x="3365780" y="3694587"/>
                  <a:pt x="3356385" y="3713377"/>
                  <a:pt x="3344642" y="3718075"/>
                </a:cubicBezTo>
                <a:cubicBezTo>
                  <a:pt x="3354037" y="3725121"/>
                  <a:pt x="3358734" y="3715726"/>
                  <a:pt x="3365780" y="3713377"/>
                </a:cubicBezTo>
                <a:cubicBezTo>
                  <a:pt x="3363432" y="3718075"/>
                  <a:pt x="3361083" y="3725121"/>
                  <a:pt x="3365780" y="3727470"/>
                </a:cubicBezTo>
                <a:cubicBezTo>
                  <a:pt x="3356385" y="3699285"/>
                  <a:pt x="3408059" y="3692238"/>
                  <a:pt x="3375176" y="3671099"/>
                </a:cubicBezTo>
                <a:close/>
                <a:moveTo>
                  <a:pt x="197292" y="3671098"/>
                </a:moveTo>
                <a:cubicBezTo>
                  <a:pt x="197292" y="3671098"/>
                  <a:pt x="204338" y="3671098"/>
                  <a:pt x="216085" y="3682843"/>
                </a:cubicBezTo>
                <a:cubicBezTo>
                  <a:pt x="216085" y="3682843"/>
                  <a:pt x="216085" y="3687540"/>
                  <a:pt x="216085" y="3692238"/>
                </a:cubicBezTo>
                <a:lnTo>
                  <a:pt x="199642" y="3701633"/>
                </a:lnTo>
                <a:cubicBezTo>
                  <a:pt x="199642" y="3701633"/>
                  <a:pt x="199642" y="3703982"/>
                  <a:pt x="197292" y="3703982"/>
                </a:cubicBezTo>
                <a:cubicBezTo>
                  <a:pt x="197292" y="3703982"/>
                  <a:pt x="194944" y="3701633"/>
                  <a:pt x="194944" y="3701633"/>
                </a:cubicBezTo>
                <a:lnTo>
                  <a:pt x="190250" y="3692238"/>
                </a:lnTo>
                <a:cubicBezTo>
                  <a:pt x="192595" y="3687540"/>
                  <a:pt x="192595" y="3680494"/>
                  <a:pt x="194944" y="3675797"/>
                </a:cubicBezTo>
                <a:cubicBezTo>
                  <a:pt x="194944" y="3673448"/>
                  <a:pt x="194944" y="3671098"/>
                  <a:pt x="197292" y="3671098"/>
                </a:cubicBezTo>
                <a:close/>
                <a:moveTo>
                  <a:pt x="2105664" y="3665227"/>
                </a:moveTo>
                <a:cubicBezTo>
                  <a:pt x="2104489" y="3663465"/>
                  <a:pt x="2103319" y="3662878"/>
                  <a:pt x="2099792" y="3666402"/>
                </a:cubicBezTo>
                <a:cubicBezTo>
                  <a:pt x="2097443" y="3673448"/>
                  <a:pt x="2106840" y="3678146"/>
                  <a:pt x="2111536" y="3671099"/>
                </a:cubicBezTo>
                <a:cubicBezTo>
                  <a:pt x="2108012" y="3669924"/>
                  <a:pt x="2106840" y="3666988"/>
                  <a:pt x="2105664" y="3665227"/>
                </a:cubicBezTo>
                <a:close/>
                <a:moveTo>
                  <a:pt x="6221896" y="3661704"/>
                </a:moveTo>
                <a:cubicBezTo>
                  <a:pt x="6219547" y="3661704"/>
                  <a:pt x="6217199" y="3664053"/>
                  <a:pt x="6214850" y="3666402"/>
                </a:cubicBezTo>
                <a:cubicBezTo>
                  <a:pt x="6217199" y="3671099"/>
                  <a:pt x="6219547" y="3673448"/>
                  <a:pt x="6219547" y="3675796"/>
                </a:cubicBezTo>
                <a:cubicBezTo>
                  <a:pt x="6224245" y="3675796"/>
                  <a:pt x="6226593" y="3673448"/>
                  <a:pt x="6228942" y="3671099"/>
                </a:cubicBezTo>
                <a:cubicBezTo>
                  <a:pt x="6226593" y="3668750"/>
                  <a:pt x="6224245" y="3664053"/>
                  <a:pt x="6221896" y="3661704"/>
                </a:cubicBezTo>
                <a:close/>
                <a:moveTo>
                  <a:pt x="6163176" y="3661704"/>
                </a:moveTo>
                <a:cubicBezTo>
                  <a:pt x="6156130" y="3668750"/>
                  <a:pt x="6149084" y="3673448"/>
                  <a:pt x="6142037" y="3680494"/>
                </a:cubicBezTo>
                <a:cubicBezTo>
                  <a:pt x="6134991" y="3682843"/>
                  <a:pt x="6130293" y="3696936"/>
                  <a:pt x="6137340" y="3703982"/>
                </a:cubicBezTo>
                <a:cubicBezTo>
                  <a:pt x="6144386" y="3696936"/>
                  <a:pt x="6151432" y="3692238"/>
                  <a:pt x="6158479" y="3685192"/>
                </a:cubicBezTo>
                <a:cubicBezTo>
                  <a:pt x="6153781" y="3680494"/>
                  <a:pt x="6149084" y="3678145"/>
                  <a:pt x="6142037" y="3680494"/>
                </a:cubicBezTo>
                <a:cubicBezTo>
                  <a:pt x="6153781" y="3673448"/>
                  <a:pt x="6160828" y="3668750"/>
                  <a:pt x="6167874" y="3664053"/>
                </a:cubicBezTo>
                <a:cubicBezTo>
                  <a:pt x="6167874" y="3664053"/>
                  <a:pt x="6165525" y="3661704"/>
                  <a:pt x="6163176" y="3661704"/>
                </a:cubicBezTo>
                <a:close/>
                <a:moveTo>
                  <a:pt x="256012" y="3659355"/>
                </a:moveTo>
                <a:lnTo>
                  <a:pt x="265406" y="3664053"/>
                </a:lnTo>
                <a:lnTo>
                  <a:pt x="267755" y="3682843"/>
                </a:lnTo>
                <a:cubicBezTo>
                  <a:pt x="267755" y="3682843"/>
                  <a:pt x="265406" y="3685192"/>
                  <a:pt x="263058" y="3682843"/>
                </a:cubicBezTo>
                <a:lnTo>
                  <a:pt x="253663" y="3678145"/>
                </a:lnTo>
                <a:lnTo>
                  <a:pt x="246620" y="3666401"/>
                </a:lnTo>
                <a:close/>
                <a:moveTo>
                  <a:pt x="6229706" y="3654654"/>
                </a:moveTo>
                <a:lnTo>
                  <a:pt x="6230080" y="3655061"/>
                </a:lnTo>
                <a:lnTo>
                  <a:pt x="6228446" y="3655606"/>
                </a:lnTo>
                <a:close/>
                <a:moveTo>
                  <a:pt x="1061648" y="3649960"/>
                </a:moveTo>
                <a:cubicBezTo>
                  <a:pt x="1061648" y="3649960"/>
                  <a:pt x="1063998" y="3652309"/>
                  <a:pt x="1066342" y="3654658"/>
                </a:cubicBezTo>
                <a:lnTo>
                  <a:pt x="1061648" y="3659355"/>
                </a:lnTo>
                <a:cubicBezTo>
                  <a:pt x="1061648" y="3659355"/>
                  <a:pt x="1059299" y="3661704"/>
                  <a:pt x="1059299" y="3661704"/>
                </a:cubicBezTo>
                <a:lnTo>
                  <a:pt x="1052255" y="3666401"/>
                </a:lnTo>
                <a:lnTo>
                  <a:pt x="1045205" y="3661704"/>
                </a:lnTo>
                <a:cubicBezTo>
                  <a:pt x="1045205" y="3661704"/>
                  <a:pt x="1054606" y="3652309"/>
                  <a:pt x="1054606" y="3652309"/>
                </a:cubicBezTo>
                <a:close/>
                <a:moveTo>
                  <a:pt x="5234454" y="3648565"/>
                </a:moveTo>
                <a:cubicBezTo>
                  <a:pt x="5234381" y="3648345"/>
                  <a:pt x="5234527" y="3649666"/>
                  <a:pt x="5234821" y="3651721"/>
                </a:cubicBezTo>
                <a:lnTo>
                  <a:pt x="5235408" y="3654657"/>
                </a:lnTo>
                <a:lnTo>
                  <a:pt x="5235408" y="3654658"/>
                </a:lnTo>
                <a:cubicBezTo>
                  <a:pt x="5235408" y="3661704"/>
                  <a:pt x="5237757" y="3664053"/>
                  <a:pt x="5237757" y="3666402"/>
                </a:cubicBezTo>
                <a:lnTo>
                  <a:pt x="5235408" y="3654657"/>
                </a:lnTo>
                <a:close/>
                <a:moveTo>
                  <a:pt x="450967" y="3647611"/>
                </a:moveTo>
                <a:lnTo>
                  <a:pt x="458011" y="3652309"/>
                </a:lnTo>
                <a:lnTo>
                  <a:pt x="455662" y="3661704"/>
                </a:lnTo>
                <a:lnTo>
                  <a:pt x="441569" y="3671099"/>
                </a:lnTo>
                <a:lnTo>
                  <a:pt x="439224" y="3668750"/>
                </a:lnTo>
                <a:lnTo>
                  <a:pt x="439224" y="3659355"/>
                </a:lnTo>
                <a:close/>
                <a:moveTo>
                  <a:pt x="5942648" y="3641593"/>
                </a:moveTo>
                <a:cubicBezTo>
                  <a:pt x="5937693" y="3642033"/>
                  <a:pt x="5911270" y="3646437"/>
                  <a:pt x="5937694" y="3642914"/>
                </a:cubicBezTo>
                <a:cubicBezTo>
                  <a:pt x="5943565" y="3641740"/>
                  <a:pt x="5944299" y="3641446"/>
                  <a:pt x="5942648" y="3641593"/>
                </a:cubicBezTo>
                <a:close/>
                <a:moveTo>
                  <a:pt x="925405" y="3640565"/>
                </a:moveTo>
                <a:cubicBezTo>
                  <a:pt x="925405" y="3640565"/>
                  <a:pt x="927750" y="3642914"/>
                  <a:pt x="927750" y="3642914"/>
                </a:cubicBezTo>
                <a:lnTo>
                  <a:pt x="920602" y="3642914"/>
                </a:lnTo>
                <a:lnTo>
                  <a:pt x="922160" y="3641028"/>
                </a:lnTo>
                <a:close/>
                <a:moveTo>
                  <a:pt x="3997603" y="3638216"/>
                </a:moveTo>
                <a:cubicBezTo>
                  <a:pt x="3990556" y="3647611"/>
                  <a:pt x="3957673" y="3652309"/>
                  <a:pt x="3967068" y="3666402"/>
                </a:cubicBezTo>
                <a:cubicBezTo>
                  <a:pt x="3974114" y="3657006"/>
                  <a:pt x="4011695" y="3659355"/>
                  <a:pt x="3997603" y="3638216"/>
                </a:cubicBezTo>
                <a:close/>
                <a:moveTo>
                  <a:pt x="197292" y="3635867"/>
                </a:moveTo>
                <a:lnTo>
                  <a:pt x="204338" y="3638216"/>
                </a:lnTo>
                <a:lnTo>
                  <a:pt x="206687" y="3647611"/>
                </a:lnTo>
                <a:lnTo>
                  <a:pt x="201992" y="3657006"/>
                </a:lnTo>
                <a:cubicBezTo>
                  <a:pt x="201992" y="3657006"/>
                  <a:pt x="199642" y="3659355"/>
                  <a:pt x="197292" y="3659355"/>
                </a:cubicBezTo>
                <a:lnTo>
                  <a:pt x="187900" y="3657006"/>
                </a:lnTo>
                <a:close/>
                <a:moveTo>
                  <a:pt x="6198408" y="3633518"/>
                </a:moveTo>
                <a:cubicBezTo>
                  <a:pt x="6196060" y="3633518"/>
                  <a:pt x="6193711" y="3635867"/>
                  <a:pt x="6196060" y="3638216"/>
                </a:cubicBezTo>
                <a:cubicBezTo>
                  <a:pt x="6198408" y="3640565"/>
                  <a:pt x="6198408" y="3640565"/>
                  <a:pt x="6200757" y="3642914"/>
                </a:cubicBezTo>
                <a:cubicBezTo>
                  <a:pt x="6198408" y="3649960"/>
                  <a:pt x="6200757" y="3657006"/>
                  <a:pt x="6205455" y="3661704"/>
                </a:cubicBezTo>
                <a:cubicBezTo>
                  <a:pt x="6207804" y="3654658"/>
                  <a:pt x="6207804" y="3649960"/>
                  <a:pt x="6205455" y="3645262"/>
                </a:cubicBezTo>
                <a:cubicBezTo>
                  <a:pt x="6205455" y="3645262"/>
                  <a:pt x="6207804" y="3642914"/>
                  <a:pt x="6207804" y="3642914"/>
                </a:cubicBezTo>
                <a:cubicBezTo>
                  <a:pt x="6203106" y="3640565"/>
                  <a:pt x="6200757" y="3635867"/>
                  <a:pt x="6198408" y="3633518"/>
                </a:cubicBezTo>
                <a:close/>
                <a:moveTo>
                  <a:pt x="1287115" y="3631170"/>
                </a:moveTo>
                <a:lnTo>
                  <a:pt x="1282420" y="3638216"/>
                </a:lnTo>
                <a:cubicBezTo>
                  <a:pt x="1282420" y="3638216"/>
                  <a:pt x="1284765" y="3640565"/>
                  <a:pt x="1287115" y="3640565"/>
                </a:cubicBezTo>
                <a:lnTo>
                  <a:pt x="1296512" y="3642914"/>
                </a:lnTo>
                <a:lnTo>
                  <a:pt x="1305905" y="3640565"/>
                </a:lnTo>
                <a:cubicBezTo>
                  <a:pt x="1305905" y="3640565"/>
                  <a:pt x="1308255" y="3640565"/>
                  <a:pt x="1308255" y="3638216"/>
                </a:cubicBezTo>
                <a:lnTo>
                  <a:pt x="1296512" y="3631170"/>
                </a:lnTo>
                <a:close/>
                <a:moveTo>
                  <a:pt x="502623" y="3631170"/>
                </a:moveTo>
                <a:cubicBezTo>
                  <a:pt x="502623" y="3631170"/>
                  <a:pt x="500278" y="3633519"/>
                  <a:pt x="497928" y="3633519"/>
                </a:cubicBezTo>
                <a:lnTo>
                  <a:pt x="500278" y="3642914"/>
                </a:lnTo>
                <a:lnTo>
                  <a:pt x="507320" y="3652309"/>
                </a:lnTo>
                <a:lnTo>
                  <a:pt x="509670" y="3654658"/>
                </a:lnTo>
                <a:cubicBezTo>
                  <a:pt x="509670" y="3654658"/>
                  <a:pt x="512020" y="3652309"/>
                  <a:pt x="514366" y="3652309"/>
                </a:cubicBezTo>
                <a:lnTo>
                  <a:pt x="514366" y="3645263"/>
                </a:lnTo>
                <a:cubicBezTo>
                  <a:pt x="523763" y="3638216"/>
                  <a:pt x="519064" y="3640565"/>
                  <a:pt x="526113" y="3635868"/>
                </a:cubicBezTo>
                <a:cubicBezTo>
                  <a:pt x="526113" y="3635868"/>
                  <a:pt x="523763" y="3633519"/>
                  <a:pt x="521413" y="3631170"/>
                </a:cubicBezTo>
                <a:lnTo>
                  <a:pt x="512020" y="3633519"/>
                </a:lnTo>
                <a:close/>
                <a:moveTo>
                  <a:pt x="298290" y="3631169"/>
                </a:moveTo>
                <a:cubicBezTo>
                  <a:pt x="305341" y="3628820"/>
                  <a:pt x="310035" y="3631169"/>
                  <a:pt x="312384" y="3631169"/>
                </a:cubicBezTo>
                <a:cubicBezTo>
                  <a:pt x="312384" y="3631169"/>
                  <a:pt x="319429" y="3631169"/>
                  <a:pt x="321778" y="3631169"/>
                </a:cubicBezTo>
                <a:lnTo>
                  <a:pt x="331176" y="3640564"/>
                </a:lnTo>
                <a:lnTo>
                  <a:pt x="321778" y="3647610"/>
                </a:lnTo>
                <a:lnTo>
                  <a:pt x="288898" y="3642913"/>
                </a:lnTo>
                <a:cubicBezTo>
                  <a:pt x="293593" y="3640564"/>
                  <a:pt x="293593" y="3633518"/>
                  <a:pt x="298290" y="3631169"/>
                </a:cubicBezTo>
                <a:close/>
                <a:moveTo>
                  <a:pt x="1251884" y="3628821"/>
                </a:moveTo>
                <a:cubicBezTo>
                  <a:pt x="1247184" y="3631170"/>
                  <a:pt x="1240142" y="3635868"/>
                  <a:pt x="1240142" y="3638216"/>
                </a:cubicBezTo>
                <a:cubicBezTo>
                  <a:pt x="1235442" y="3647611"/>
                  <a:pt x="1247184" y="3659355"/>
                  <a:pt x="1251884" y="3671099"/>
                </a:cubicBezTo>
                <a:cubicBezTo>
                  <a:pt x="1251884" y="3675797"/>
                  <a:pt x="1251884" y="3678146"/>
                  <a:pt x="1251884" y="3680494"/>
                </a:cubicBezTo>
                <a:cubicBezTo>
                  <a:pt x="1249534" y="3687541"/>
                  <a:pt x="1233092" y="3687541"/>
                  <a:pt x="1230743" y="3696936"/>
                </a:cubicBezTo>
                <a:cubicBezTo>
                  <a:pt x="1230743" y="3701633"/>
                  <a:pt x="1233092" y="3703982"/>
                  <a:pt x="1235442" y="3706331"/>
                </a:cubicBezTo>
                <a:cubicBezTo>
                  <a:pt x="1237792" y="3708680"/>
                  <a:pt x="1242488" y="3706331"/>
                  <a:pt x="1244836" y="3706331"/>
                </a:cubicBezTo>
                <a:cubicBezTo>
                  <a:pt x="1247184" y="3708680"/>
                  <a:pt x="1247184" y="3708680"/>
                  <a:pt x="1247184" y="3708680"/>
                </a:cubicBezTo>
                <a:cubicBezTo>
                  <a:pt x="1254235" y="3715726"/>
                  <a:pt x="1254235" y="3715726"/>
                  <a:pt x="1261277" y="3708680"/>
                </a:cubicBezTo>
                <a:cubicBezTo>
                  <a:pt x="1265977" y="3706331"/>
                  <a:pt x="1268327" y="3701633"/>
                  <a:pt x="1270672" y="3699285"/>
                </a:cubicBezTo>
                <a:cubicBezTo>
                  <a:pt x="1273021" y="3696936"/>
                  <a:pt x="1277719" y="3694587"/>
                  <a:pt x="1280070" y="3694587"/>
                </a:cubicBezTo>
                <a:cubicBezTo>
                  <a:pt x="1284765" y="3692238"/>
                  <a:pt x="1289462" y="3699285"/>
                  <a:pt x="1296512" y="3701633"/>
                </a:cubicBezTo>
                <a:cubicBezTo>
                  <a:pt x="1303555" y="3703982"/>
                  <a:pt x="1305905" y="3692238"/>
                  <a:pt x="1312950" y="3689890"/>
                </a:cubicBezTo>
                <a:cubicBezTo>
                  <a:pt x="1312950" y="3689890"/>
                  <a:pt x="1319997" y="3687541"/>
                  <a:pt x="1327043" y="3699285"/>
                </a:cubicBezTo>
                <a:lnTo>
                  <a:pt x="1338790" y="3706331"/>
                </a:lnTo>
                <a:cubicBezTo>
                  <a:pt x="1338790" y="3706331"/>
                  <a:pt x="1355228" y="3689890"/>
                  <a:pt x="1362275" y="3680494"/>
                </a:cubicBezTo>
                <a:lnTo>
                  <a:pt x="1352883" y="3654658"/>
                </a:lnTo>
                <a:cubicBezTo>
                  <a:pt x="1345833" y="3645263"/>
                  <a:pt x="1348182" y="3645263"/>
                  <a:pt x="1343485" y="3645263"/>
                </a:cubicBezTo>
                <a:cubicBezTo>
                  <a:pt x="1343485" y="3645263"/>
                  <a:pt x="1341135" y="3645263"/>
                  <a:pt x="1338790" y="3645263"/>
                </a:cubicBezTo>
                <a:cubicBezTo>
                  <a:pt x="1338790" y="3649960"/>
                  <a:pt x="1338790" y="3652309"/>
                  <a:pt x="1338790" y="3654658"/>
                </a:cubicBezTo>
                <a:cubicBezTo>
                  <a:pt x="1338790" y="3664053"/>
                  <a:pt x="1334090" y="3671099"/>
                  <a:pt x="1322347" y="3673448"/>
                </a:cubicBezTo>
                <a:cubicBezTo>
                  <a:pt x="1301206" y="3680494"/>
                  <a:pt x="1275370" y="3671099"/>
                  <a:pt x="1270672" y="3661704"/>
                </a:cubicBezTo>
                <a:cubicBezTo>
                  <a:pt x="1265977" y="3652309"/>
                  <a:pt x="1270672" y="3640565"/>
                  <a:pt x="1270672" y="3628821"/>
                </a:cubicBezTo>
                <a:cubicBezTo>
                  <a:pt x="1263627" y="3628821"/>
                  <a:pt x="1258928" y="3626473"/>
                  <a:pt x="1251884" y="3628821"/>
                </a:cubicBezTo>
                <a:close/>
                <a:moveTo>
                  <a:pt x="251314" y="3624123"/>
                </a:moveTo>
                <a:cubicBezTo>
                  <a:pt x="253663" y="3624123"/>
                  <a:pt x="253663" y="3624123"/>
                  <a:pt x="256012" y="3624123"/>
                </a:cubicBezTo>
                <a:cubicBezTo>
                  <a:pt x="256012" y="3624123"/>
                  <a:pt x="258363" y="3624123"/>
                  <a:pt x="258363" y="3624123"/>
                </a:cubicBezTo>
                <a:lnTo>
                  <a:pt x="260708" y="3649960"/>
                </a:lnTo>
                <a:lnTo>
                  <a:pt x="256012" y="3654657"/>
                </a:lnTo>
                <a:lnTo>
                  <a:pt x="246620" y="3652308"/>
                </a:lnTo>
                <a:lnTo>
                  <a:pt x="241920" y="3647611"/>
                </a:lnTo>
                <a:lnTo>
                  <a:pt x="246620" y="3640564"/>
                </a:lnTo>
                <a:close/>
                <a:moveTo>
                  <a:pt x="5984596" y="3624014"/>
                </a:moveTo>
                <a:cubicBezTo>
                  <a:pt x="5983788" y="3622509"/>
                  <a:pt x="5982321" y="3622949"/>
                  <a:pt x="5979972" y="3626472"/>
                </a:cubicBezTo>
                <a:cubicBezTo>
                  <a:pt x="5979972" y="3638216"/>
                  <a:pt x="5972925" y="3649960"/>
                  <a:pt x="5979972" y="3659355"/>
                </a:cubicBezTo>
                <a:cubicBezTo>
                  <a:pt x="5983494" y="3650547"/>
                  <a:pt x="5987018" y="3628528"/>
                  <a:pt x="5984596" y="3624014"/>
                </a:cubicBezTo>
                <a:close/>
                <a:moveTo>
                  <a:pt x="5942391" y="3621774"/>
                </a:moveTo>
                <a:cubicBezTo>
                  <a:pt x="5942391" y="3621774"/>
                  <a:pt x="5942391" y="3624123"/>
                  <a:pt x="5942391" y="3624123"/>
                </a:cubicBezTo>
                <a:cubicBezTo>
                  <a:pt x="5944740" y="3626472"/>
                  <a:pt x="5947089" y="3628821"/>
                  <a:pt x="5949438" y="3631170"/>
                </a:cubicBezTo>
                <a:cubicBezTo>
                  <a:pt x="5951786" y="3631170"/>
                  <a:pt x="5951786" y="3631170"/>
                  <a:pt x="5951786" y="3631170"/>
                </a:cubicBezTo>
                <a:cubicBezTo>
                  <a:pt x="5949438" y="3626472"/>
                  <a:pt x="5944740" y="3624123"/>
                  <a:pt x="5942391" y="3621774"/>
                </a:cubicBezTo>
                <a:close/>
                <a:moveTo>
                  <a:pt x="1019370" y="3617076"/>
                </a:moveTo>
                <a:lnTo>
                  <a:pt x="1024070" y="3624122"/>
                </a:lnTo>
                <a:lnTo>
                  <a:pt x="1019370" y="3631169"/>
                </a:lnTo>
                <a:lnTo>
                  <a:pt x="1009973" y="3628820"/>
                </a:lnTo>
                <a:lnTo>
                  <a:pt x="1007623" y="3626471"/>
                </a:lnTo>
                <a:lnTo>
                  <a:pt x="1009973" y="3621774"/>
                </a:lnTo>
                <a:close/>
                <a:moveTo>
                  <a:pt x="6181967" y="3614728"/>
                </a:moveTo>
                <a:cubicBezTo>
                  <a:pt x="6181967" y="3614728"/>
                  <a:pt x="6179618" y="3617077"/>
                  <a:pt x="6179618" y="3617077"/>
                </a:cubicBezTo>
                <a:cubicBezTo>
                  <a:pt x="6179618" y="3619426"/>
                  <a:pt x="6181967" y="3619426"/>
                  <a:pt x="6181967" y="3621774"/>
                </a:cubicBezTo>
                <a:cubicBezTo>
                  <a:pt x="6179618" y="3624123"/>
                  <a:pt x="6179618" y="3624123"/>
                  <a:pt x="6177269" y="3624123"/>
                </a:cubicBezTo>
                <a:cubicBezTo>
                  <a:pt x="6193711" y="3626472"/>
                  <a:pt x="6160828" y="3649960"/>
                  <a:pt x="6181967" y="3652309"/>
                </a:cubicBezTo>
                <a:cubicBezTo>
                  <a:pt x="6181967" y="3649960"/>
                  <a:pt x="6184316" y="3649960"/>
                  <a:pt x="6184316" y="3647611"/>
                </a:cubicBezTo>
                <a:cubicBezTo>
                  <a:pt x="6186664" y="3649960"/>
                  <a:pt x="6186664" y="3652309"/>
                  <a:pt x="6189013" y="3654658"/>
                </a:cubicBezTo>
                <a:cubicBezTo>
                  <a:pt x="6189013" y="3654658"/>
                  <a:pt x="6191362" y="3652309"/>
                  <a:pt x="6191362" y="3652309"/>
                </a:cubicBezTo>
                <a:lnTo>
                  <a:pt x="6184316" y="3645262"/>
                </a:lnTo>
                <a:cubicBezTo>
                  <a:pt x="6189013" y="3635867"/>
                  <a:pt x="6193711" y="3626472"/>
                  <a:pt x="6189013" y="3621774"/>
                </a:cubicBezTo>
                <a:cubicBezTo>
                  <a:pt x="6186664" y="3619426"/>
                  <a:pt x="6184316" y="3617077"/>
                  <a:pt x="6181967" y="3614728"/>
                </a:cubicBezTo>
                <a:close/>
                <a:moveTo>
                  <a:pt x="443918" y="3612379"/>
                </a:moveTo>
                <a:lnTo>
                  <a:pt x="448616" y="3619425"/>
                </a:lnTo>
                <a:lnTo>
                  <a:pt x="443918" y="3621774"/>
                </a:lnTo>
                <a:lnTo>
                  <a:pt x="439224" y="3617077"/>
                </a:lnTo>
                <a:close/>
                <a:moveTo>
                  <a:pt x="385199" y="3612379"/>
                </a:moveTo>
                <a:lnTo>
                  <a:pt x="392246" y="3617077"/>
                </a:lnTo>
                <a:lnTo>
                  <a:pt x="385199" y="3624123"/>
                </a:lnTo>
                <a:lnTo>
                  <a:pt x="380504" y="3617077"/>
                </a:lnTo>
                <a:close/>
                <a:moveTo>
                  <a:pt x="6000157" y="3607132"/>
                </a:moveTo>
                <a:cubicBezTo>
                  <a:pt x="5994652" y="3607682"/>
                  <a:pt x="5985844" y="3627060"/>
                  <a:pt x="6003460" y="3614728"/>
                </a:cubicBezTo>
                <a:cubicBezTo>
                  <a:pt x="6003460" y="3608856"/>
                  <a:pt x="6001992" y="3606948"/>
                  <a:pt x="6000157" y="3607132"/>
                </a:cubicBezTo>
                <a:close/>
                <a:moveTo>
                  <a:pt x="183199" y="3605333"/>
                </a:moveTo>
                <a:lnTo>
                  <a:pt x="190250" y="3610031"/>
                </a:lnTo>
                <a:cubicBezTo>
                  <a:pt x="190250" y="3610031"/>
                  <a:pt x="192596" y="3612379"/>
                  <a:pt x="192596" y="3614728"/>
                </a:cubicBezTo>
                <a:lnTo>
                  <a:pt x="192596" y="3621774"/>
                </a:lnTo>
                <a:cubicBezTo>
                  <a:pt x="192596" y="3621774"/>
                  <a:pt x="190250" y="3624123"/>
                  <a:pt x="187900" y="3626472"/>
                </a:cubicBezTo>
                <a:lnTo>
                  <a:pt x="183199" y="3621774"/>
                </a:lnTo>
                <a:lnTo>
                  <a:pt x="180852" y="3619426"/>
                </a:lnTo>
                <a:lnTo>
                  <a:pt x="176157" y="3614728"/>
                </a:lnTo>
                <a:close/>
                <a:moveTo>
                  <a:pt x="6048379" y="3601810"/>
                </a:moveTo>
                <a:cubicBezTo>
                  <a:pt x="6046911" y="3600049"/>
                  <a:pt x="6045737" y="3599462"/>
                  <a:pt x="6043389" y="3602985"/>
                </a:cubicBezTo>
                <a:cubicBezTo>
                  <a:pt x="6041040" y="3607682"/>
                  <a:pt x="6050435" y="3614728"/>
                  <a:pt x="6055133" y="3607682"/>
                </a:cubicBezTo>
                <a:cubicBezTo>
                  <a:pt x="6051609" y="3606508"/>
                  <a:pt x="6049847" y="3603572"/>
                  <a:pt x="6048379" y="3601810"/>
                </a:cubicBezTo>
                <a:close/>
                <a:moveTo>
                  <a:pt x="739852" y="3600636"/>
                </a:moveTo>
                <a:lnTo>
                  <a:pt x="723409" y="3617077"/>
                </a:lnTo>
                <a:lnTo>
                  <a:pt x="744547" y="3614729"/>
                </a:lnTo>
                <a:lnTo>
                  <a:pt x="746895" y="3605333"/>
                </a:lnTo>
                <a:close/>
                <a:moveTo>
                  <a:pt x="981775" y="3598287"/>
                </a:moveTo>
                <a:lnTo>
                  <a:pt x="984905" y="3600636"/>
                </a:lnTo>
                <a:lnTo>
                  <a:pt x="981265" y="3600636"/>
                </a:lnTo>
                <a:close/>
                <a:moveTo>
                  <a:pt x="6163176" y="3595938"/>
                </a:moveTo>
                <a:cubicBezTo>
                  <a:pt x="6165525" y="3600636"/>
                  <a:pt x="6167874" y="3605333"/>
                  <a:pt x="6170223" y="3607682"/>
                </a:cubicBezTo>
                <a:cubicBezTo>
                  <a:pt x="6170223" y="3607682"/>
                  <a:pt x="6172572" y="3605333"/>
                  <a:pt x="6172572" y="3605333"/>
                </a:cubicBezTo>
                <a:cubicBezTo>
                  <a:pt x="6170223" y="3602985"/>
                  <a:pt x="6165525" y="3598287"/>
                  <a:pt x="6163176" y="3595938"/>
                </a:cubicBezTo>
                <a:close/>
                <a:moveTo>
                  <a:pt x="366405" y="3595938"/>
                </a:moveTo>
                <a:lnTo>
                  <a:pt x="375803" y="3595938"/>
                </a:lnTo>
                <a:cubicBezTo>
                  <a:pt x="375803" y="3595938"/>
                  <a:pt x="378149" y="3598287"/>
                  <a:pt x="378149" y="3600636"/>
                </a:cubicBezTo>
                <a:lnTo>
                  <a:pt x="375803" y="3610031"/>
                </a:lnTo>
                <a:cubicBezTo>
                  <a:pt x="375803" y="3610031"/>
                  <a:pt x="373453" y="3612379"/>
                  <a:pt x="373453" y="3612379"/>
                </a:cubicBezTo>
                <a:lnTo>
                  <a:pt x="366405" y="3610031"/>
                </a:lnTo>
                <a:lnTo>
                  <a:pt x="361706" y="3600636"/>
                </a:lnTo>
                <a:close/>
                <a:moveTo>
                  <a:pt x="6073776" y="3592929"/>
                </a:moveTo>
                <a:cubicBezTo>
                  <a:pt x="6071574" y="3594030"/>
                  <a:pt x="6069225" y="3597113"/>
                  <a:pt x="6066877" y="3602985"/>
                </a:cubicBezTo>
                <a:cubicBezTo>
                  <a:pt x="6080969" y="3617077"/>
                  <a:pt x="6083318" y="3635867"/>
                  <a:pt x="6083318" y="3654658"/>
                </a:cubicBezTo>
                <a:cubicBezTo>
                  <a:pt x="6083318" y="3654658"/>
                  <a:pt x="6083318" y="3654658"/>
                  <a:pt x="6080969" y="3654658"/>
                </a:cubicBezTo>
                <a:cubicBezTo>
                  <a:pt x="6080969" y="3657006"/>
                  <a:pt x="6083318" y="3657006"/>
                  <a:pt x="6083318" y="3657006"/>
                </a:cubicBezTo>
                <a:cubicBezTo>
                  <a:pt x="6083318" y="3675796"/>
                  <a:pt x="6085667" y="3694587"/>
                  <a:pt x="6099760" y="3703982"/>
                </a:cubicBezTo>
                <a:cubicBezTo>
                  <a:pt x="6095062" y="3687540"/>
                  <a:pt x="6095062" y="3668750"/>
                  <a:pt x="6088016" y="3652309"/>
                </a:cubicBezTo>
                <a:cubicBezTo>
                  <a:pt x="6088016" y="3654658"/>
                  <a:pt x="6085667" y="3657006"/>
                  <a:pt x="6083318" y="3657006"/>
                </a:cubicBezTo>
                <a:cubicBezTo>
                  <a:pt x="6083318" y="3657006"/>
                  <a:pt x="6083318" y="3654658"/>
                  <a:pt x="6083318" y="3654658"/>
                </a:cubicBezTo>
                <a:cubicBezTo>
                  <a:pt x="6097411" y="3649960"/>
                  <a:pt x="6080969" y="3628821"/>
                  <a:pt x="6097411" y="3628821"/>
                </a:cubicBezTo>
                <a:cubicBezTo>
                  <a:pt x="6092713" y="3638216"/>
                  <a:pt x="6104457" y="3682843"/>
                  <a:pt x="6102109" y="3664053"/>
                </a:cubicBezTo>
                <a:cubicBezTo>
                  <a:pt x="6097411" y="3633518"/>
                  <a:pt x="6116201" y="3614728"/>
                  <a:pt x="6113852" y="3600636"/>
                </a:cubicBezTo>
                <a:cubicBezTo>
                  <a:pt x="6111503" y="3602985"/>
                  <a:pt x="6083318" y="3591241"/>
                  <a:pt x="6095062" y="3612380"/>
                </a:cubicBezTo>
                <a:cubicBezTo>
                  <a:pt x="6097411" y="3607682"/>
                  <a:pt x="6099760" y="3600636"/>
                  <a:pt x="6104457" y="3602985"/>
                </a:cubicBezTo>
                <a:cubicBezTo>
                  <a:pt x="6099760" y="3612380"/>
                  <a:pt x="6092713" y="3614728"/>
                  <a:pt x="6085667" y="3614728"/>
                </a:cubicBezTo>
                <a:cubicBezTo>
                  <a:pt x="6085667" y="3604159"/>
                  <a:pt x="6080382" y="3589626"/>
                  <a:pt x="6073776" y="3592929"/>
                </a:cubicBezTo>
                <a:close/>
                <a:moveTo>
                  <a:pt x="934798" y="3584195"/>
                </a:moveTo>
                <a:lnTo>
                  <a:pt x="892520" y="3586543"/>
                </a:lnTo>
                <a:lnTo>
                  <a:pt x="918355" y="3598287"/>
                </a:lnTo>
                <a:cubicBezTo>
                  <a:pt x="918355" y="3598287"/>
                  <a:pt x="923055" y="3600636"/>
                  <a:pt x="934798" y="3600636"/>
                </a:cubicBezTo>
                <a:close/>
                <a:moveTo>
                  <a:pt x="317083" y="3584194"/>
                </a:moveTo>
                <a:lnTo>
                  <a:pt x="324127" y="3591240"/>
                </a:lnTo>
                <a:lnTo>
                  <a:pt x="317083" y="3595938"/>
                </a:lnTo>
                <a:lnTo>
                  <a:pt x="312384" y="3591240"/>
                </a:lnTo>
                <a:close/>
                <a:moveTo>
                  <a:pt x="5970576" y="3579496"/>
                </a:moveTo>
                <a:cubicBezTo>
                  <a:pt x="5970576" y="3581845"/>
                  <a:pt x="5970576" y="3584194"/>
                  <a:pt x="5970576" y="3586542"/>
                </a:cubicBezTo>
                <a:cubicBezTo>
                  <a:pt x="5968228" y="3586542"/>
                  <a:pt x="5965879" y="3584194"/>
                  <a:pt x="5963530" y="3581845"/>
                </a:cubicBezTo>
                <a:cubicBezTo>
                  <a:pt x="5963530" y="3579496"/>
                  <a:pt x="5965879" y="3577147"/>
                  <a:pt x="5970576" y="3579496"/>
                </a:cubicBezTo>
                <a:close/>
                <a:moveTo>
                  <a:pt x="1172041" y="3579496"/>
                </a:moveTo>
                <a:cubicBezTo>
                  <a:pt x="1172041" y="3579496"/>
                  <a:pt x="1179088" y="3584195"/>
                  <a:pt x="1181439" y="3586543"/>
                </a:cubicBezTo>
                <a:lnTo>
                  <a:pt x="1190831" y="3610031"/>
                </a:lnTo>
                <a:lnTo>
                  <a:pt x="1181439" y="3624124"/>
                </a:lnTo>
                <a:lnTo>
                  <a:pt x="1155604" y="3633519"/>
                </a:lnTo>
                <a:lnTo>
                  <a:pt x="1150903" y="3628821"/>
                </a:lnTo>
                <a:cubicBezTo>
                  <a:pt x="1150903" y="3628821"/>
                  <a:pt x="1153254" y="3624124"/>
                  <a:pt x="1155604" y="3621775"/>
                </a:cubicBezTo>
                <a:lnTo>
                  <a:pt x="1169696" y="3612380"/>
                </a:lnTo>
                <a:cubicBezTo>
                  <a:pt x="1172041" y="3612380"/>
                  <a:pt x="1174390" y="3607682"/>
                  <a:pt x="1174390" y="3602985"/>
                </a:cubicBezTo>
                <a:cubicBezTo>
                  <a:pt x="1174390" y="3598287"/>
                  <a:pt x="1169696" y="3595938"/>
                  <a:pt x="1167346" y="3593590"/>
                </a:cubicBezTo>
                <a:cubicBezTo>
                  <a:pt x="1167346" y="3588892"/>
                  <a:pt x="1167346" y="3586543"/>
                  <a:pt x="1167346" y="3584195"/>
                </a:cubicBezTo>
                <a:cubicBezTo>
                  <a:pt x="1167346" y="3581846"/>
                  <a:pt x="1169696" y="3579496"/>
                  <a:pt x="1172041" y="3579496"/>
                </a:cubicBezTo>
                <a:close/>
                <a:moveTo>
                  <a:pt x="1512596" y="3577148"/>
                </a:moveTo>
                <a:cubicBezTo>
                  <a:pt x="1505551" y="3591241"/>
                  <a:pt x="1512596" y="3598287"/>
                  <a:pt x="1519643" y="3607682"/>
                </a:cubicBezTo>
                <a:cubicBezTo>
                  <a:pt x="1533736" y="3579497"/>
                  <a:pt x="1540786" y="3619426"/>
                  <a:pt x="1554874" y="3621775"/>
                </a:cubicBezTo>
                <a:cubicBezTo>
                  <a:pt x="1557223" y="3612380"/>
                  <a:pt x="1561921" y="3605333"/>
                  <a:pt x="1564271" y="3598287"/>
                </a:cubicBezTo>
                <a:cubicBezTo>
                  <a:pt x="1538436" y="3581846"/>
                  <a:pt x="1538436" y="3581846"/>
                  <a:pt x="1512596" y="3577148"/>
                </a:cubicBezTo>
                <a:close/>
                <a:moveTo>
                  <a:pt x="272455" y="3571863"/>
                </a:moveTo>
                <a:cubicBezTo>
                  <a:pt x="273040" y="3571863"/>
                  <a:pt x="273628" y="3572450"/>
                  <a:pt x="274805" y="3574799"/>
                </a:cubicBezTo>
                <a:cubicBezTo>
                  <a:pt x="274805" y="3574799"/>
                  <a:pt x="281849" y="3581845"/>
                  <a:pt x="286548" y="3586543"/>
                </a:cubicBezTo>
                <a:lnTo>
                  <a:pt x="281849" y="3593589"/>
                </a:lnTo>
                <a:lnTo>
                  <a:pt x="274805" y="3595938"/>
                </a:lnTo>
                <a:lnTo>
                  <a:pt x="270105" y="3591241"/>
                </a:lnTo>
                <a:lnTo>
                  <a:pt x="267756" y="3581845"/>
                </a:lnTo>
                <a:lnTo>
                  <a:pt x="270105" y="3572450"/>
                </a:lnTo>
                <a:cubicBezTo>
                  <a:pt x="271279" y="3572450"/>
                  <a:pt x="271866" y="3571863"/>
                  <a:pt x="272455" y="3571863"/>
                </a:cubicBezTo>
                <a:close/>
                <a:moveTo>
                  <a:pt x="1578364" y="3570102"/>
                </a:moveTo>
                <a:cubicBezTo>
                  <a:pt x="1578364" y="3584195"/>
                  <a:pt x="1578364" y="3595938"/>
                  <a:pt x="1580714" y="3610031"/>
                </a:cubicBezTo>
                <a:cubicBezTo>
                  <a:pt x="1590107" y="3602985"/>
                  <a:pt x="1599502" y="3598287"/>
                  <a:pt x="1608899" y="3588892"/>
                </a:cubicBezTo>
                <a:cubicBezTo>
                  <a:pt x="1599502" y="3584195"/>
                  <a:pt x="1587757" y="3577148"/>
                  <a:pt x="1578364" y="3570102"/>
                </a:cubicBezTo>
                <a:close/>
                <a:moveTo>
                  <a:pt x="6036342" y="3567753"/>
                </a:moveTo>
                <a:cubicBezTo>
                  <a:pt x="6033993" y="3584194"/>
                  <a:pt x="6019901" y="3574799"/>
                  <a:pt x="6015203" y="3586543"/>
                </a:cubicBezTo>
                <a:cubicBezTo>
                  <a:pt x="6038691" y="3600636"/>
                  <a:pt x="6012855" y="3635867"/>
                  <a:pt x="6029296" y="3652309"/>
                </a:cubicBezTo>
                <a:cubicBezTo>
                  <a:pt x="6050435" y="3635867"/>
                  <a:pt x="6019901" y="3614728"/>
                  <a:pt x="6036342" y="3567753"/>
                </a:cubicBezTo>
                <a:close/>
                <a:moveTo>
                  <a:pt x="620060" y="3565110"/>
                </a:moveTo>
                <a:cubicBezTo>
                  <a:pt x="617129" y="3565404"/>
                  <a:pt x="613018" y="3566578"/>
                  <a:pt x="608318" y="3570102"/>
                </a:cubicBezTo>
                <a:lnTo>
                  <a:pt x="605970" y="3584195"/>
                </a:lnTo>
                <a:lnTo>
                  <a:pt x="636503" y="3586543"/>
                </a:lnTo>
                <a:lnTo>
                  <a:pt x="638853" y="3588892"/>
                </a:lnTo>
                <a:cubicBezTo>
                  <a:pt x="638853" y="3588892"/>
                  <a:pt x="643548" y="3588892"/>
                  <a:pt x="650596" y="3588892"/>
                </a:cubicBezTo>
                <a:lnTo>
                  <a:pt x="634153" y="3570102"/>
                </a:lnTo>
                <a:cubicBezTo>
                  <a:pt x="629456" y="3567753"/>
                  <a:pt x="627111" y="3565404"/>
                  <a:pt x="624761" y="3565404"/>
                </a:cubicBezTo>
                <a:cubicBezTo>
                  <a:pt x="624761" y="3565404"/>
                  <a:pt x="623000" y="3564816"/>
                  <a:pt x="620060" y="3565110"/>
                </a:cubicBezTo>
                <a:close/>
                <a:moveTo>
                  <a:pt x="326475" y="3560706"/>
                </a:moveTo>
                <a:lnTo>
                  <a:pt x="328825" y="3565404"/>
                </a:lnTo>
                <a:lnTo>
                  <a:pt x="326475" y="3574799"/>
                </a:lnTo>
                <a:lnTo>
                  <a:pt x="317083" y="3565404"/>
                </a:lnTo>
                <a:close/>
                <a:moveTo>
                  <a:pt x="573086" y="3556009"/>
                </a:moveTo>
                <a:lnTo>
                  <a:pt x="563691" y="3572451"/>
                </a:lnTo>
                <a:cubicBezTo>
                  <a:pt x="561342" y="3574799"/>
                  <a:pt x="561342" y="3574799"/>
                  <a:pt x="558992" y="3577148"/>
                </a:cubicBezTo>
                <a:cubicBezTo>
                  <a:pt x="558992" y="3577148"/>
                  <a:pt x="561342" y="3579497"/>
                  <a:pt x="563691" y="3581846"/>
                </a:cubicBezTo>
                <a:lnTo>
                  <a:pt x="582483" y="3560707"/>
                </a:lnTo>
                <a:close/>
                <a:moveTo>
                  <a:pt x="5881322" y="3551311"/>
                </a:moveTo>
                <a:cubicBezTo>
                  <a:pt x="5881322" y="3553660"/>
                  <a:pt x="5881322" y="3563055"/>
                  <a:pt x="5883671" y="3572450"/>
                </a:cubicBezTo>
                <a:cubicBezTo>
                  <a:pt x="5878973" y="3567753"/>
                  <a:pt x="5874276" y="3565404"/>
                  <a:pt x="5869578" y="3560706"/>
                </a:cubicBezTo>
                <a:cubicBezTo>
                  <a:pt x="5871927" y="3556009"/>
                  <a:pt x="5874276" y="3551311"/>
                  <a:pt x="5881322" y="3551311"/>
                </a:cubicBezTo>
                <a:close/>
                <a:moveTo>
                  <a:pt x="291244" y="3548962"/>
                </a:moveTo>
                <a:lnTo>
                  <a:pt x="300640" y="3551311"/>
                </a:lnTo>
                <a:cubicBezTo>
                  <a:pt x="300640" y="3551311"/>
                  <a:pt x="302990" y="3556008"/>
                  <a:pt x="305336" y="3556008"/>
                </a:cubicBezTo>
                <a:lnTo>
                  <a:pt x="310034" y="3565403"/>
                </a:lnTo>
                <a:lnTo>
                  <a:pt x="300640" y="3567752"/>
                </a:lnTo>
                <a:lnTo>
                  <a:pt x="291244" y="3567752"/>
                </a:lnTo>
                <a:lnTo>
                  <a:pt x="284197" y="3563055"/>
                </a:lnTo>
                <a:lnTo>
                  <a:pt x="286548" y="3553660"/>
                </a:lnTo>
                <a:close/>
                <a:moveTo>
                  <a:pt x="512020" y="3546614"/>
                </a:moveTo>
                <a:lnTo>
                  <a:pt x="502623" y="3548963"/>
                </a:lnTo>
                <a:lnTo>
                  <a:pt x="500278" y="3551311"/>
                </a:lnTo>
                <a:lnTo>
                  <a:pt x="502623" y="3556009"/>
                </a:lnTo>
                <a:lnTo>
                  <a:pt x="512020" y="3556009"/>
                </a:lnTo>
                <a:lnTo>
                  <a:pt x="514366" y="3551311"/>
                </a:lnTo>
                <a:close/>
                <a:moveTo>
                  <a:pt x="382854" y="3541916"/>
                </a:moveTo>
                <a:cubicBezTo>
                  <a:pt x="378154" y="3544265"/>
                  <a:pt x="375805" y="3548963"/>
                  <a:pt x="373456" y="3551311"/>
                </a:cubicBezTo>
                <a:cubicBezTo>
                  <a:pt x="373456" y="3551311"/>
                  <a:pt x="380504" y="3553660"/>
                  <a:pt x="382854" y="3556009"/>
                </a:cubicBezTo>
                <a:lnTo>
                  <a:pt x="392247" y="3551311"/>
                </a:lnTo>
                <a:lnTo>
                  <a:pt x="406339" y="3584194"/>
                </a:lnTo>
                <a:cubicBezTo>
                  <a:pt x="418084" y="3581846"/>
                  <a:pt x="418084" y="3586543"/>
                  <a:pt x="418084" y="3570102"/>
                </a:cubicBezTo>
                <a:lnTo>
                  <a:pt x="403989" y="3548963"/>
                </a:lnTo>
                <a:cubicBezTo>
                  <a:pt x="406339" y="3546614"/>
                  <a:pt x="408689" y="3546614"/>
                  <a:pt x="411039" y="3544265"/>
                </a:cubicBezTo>
                <a:cubicBezTo>
                  <a:pt x="411039" y="3544265"/>
                  <a:pt x="413389" y="3541916"/>
                  <a:pt x="415734" y="3541916"/>
                </a:cubicBezTo>
                <a:cubicBezTo>
                  <a:pt x="396941" y="3546614"/>
                  <a:pt x="403989" y="3544265"/>
                  <a:pt x="392247" y="3548963"/>
                </a:cubicBezTo>
                <a:cubicBezTo>
                  <a:pt x="387548" y="3546614"/>
                  <a:pt x="385199" y="3544265"/>
                  <a:pt x="382854" y="3541916"/>
                </a:cubicBezTo>
                <a:close/>
                <a:moveTo>
                  <a:pt x="901914" y="3539567"/>
                </a:moveTo>
                <a:lnTo>
                  <a:pt x="897220" y="3548963"/>
                </a:lnTo>
                <a:cubicBezTo>
                  <a:pt x="897220" y="3548963"/>
                  <a:pt x="901914" y="3556009"/>
                  <a:pt x="906612" y="3558358"/>
                </a:cubicBezTo>
                <a:lnTo>
                  <a:pt x="911313" y="3560707"/>
                </a:lnTo>
                <a:lnTo>
                  <a:pt x="920705" y="3558358"/>
                </a:lnTo>
                <a:cubicBezTo>
                  <a:pt x="920705" y="3558358"/>
                  <a:pt x="923055" y="3558358"/>
                  <a:pt x="923055" y="3558358"/>
                </a:cubicBezTo>
                <a:lnTo>
                  <a:pt x="927750" y="3548963"/>
                </a:lnTo>
                <a:lnTo>
                  <a:pt x="920705" y="3541916"/>
                </a:lnTo>
                <a:lnTo>
                  <a:pt x="911313" y="3539567"/>
                </a:lnTo>
                <a:close/>
                <a:moveTo>
                  <a:pt x="706966" y="3534870"/>
                </a:moveTo>
                <a:lnTo>
                  <a:pt x="704616" y="3537219"/>
                </a:lnTo>
                <a:lnTo>
                  <a:pt x="706966" y="3541916"/>
                </a:lnTo>
                <a:lnTo>
                  <a:pt x="711666" y="3537219"/>
                </a:lnTo>
                <a:close/>
                <a:moveTo>
                  <a:pt x="216085" y="3534869"/>
                </a:moveTo>
                <a:lnTo>
                  <a:pt x="220780" y="3539567"/>
                </a:lnTo>
                <a:lnTo>
                  <a:pt x="216085" y="3546613"/>
                </a:lnTo>
                <a:lnTo>
                  <a:pt x="211384" y="3539567"/>
                </a:lnTo>
                <a:close/>
                <a:moveTo>
                  <a:pt x="5916554" y="3532521"/>
                </a:moveTo>
                <a:cubicBezTo>
                  <a:pt x="5916554" y="3537219"/>
                  <a:pt x="5918903" y="3541916"/>
                  <a:pt x="5918903" y="3546614"/>
                </a:cubicBezTo>
                <a:cubicBezTo>
                  <a:pt x="5918903" y="3546614"/>
                  <a:pt x="5916554" y="3544265"/>
                  <a:pt x="5916554" y="3544265"/>
                </a:cubicBezTo>
                <a:cubicBezTo>
                  <a:pt x="5914206" y="3541916"/>
                  <a:pt x="5911857" y="3541916"/>
                  <a:pt x="5909508" y="3541916"/>
                </a:cubicBezTo>
                <a:cubicBezTo>
                  <a:pt x="5911857" y="3539567"/>
                  <a:pt x="5914206" y="3537219"/>
                  <a:pt x="5916554" y="3532521"/>
                </a:cubicBezTo>
                <a:close/>
                <a:moveTo>
                  <a:pt x="1183772" y="3532521"/>
                </a:moveTo>
                <a:lnTo>
                  <a:pt x="1179071" y="3534870"/>
                </a:lnTo>
                <a:lnTo>
                  <a:pt x="1181422" y="3544265"/>
                </a:lnTo>
                <a:lnTo>
                  <a:pt x="1183772" y="3544265"/>
                </a:lnTo>
                <a:lnTo>
                  <a:pt x="1188465" y="3541916"/>
                </a:lnTo>
                <a:lnTo>
                  <a:pt x="1195514" y="3537219"/>
                </a:lnTo>
                <a:cubicBezTo>
                  <a:pt x="1195514" y="3537219"/>
                  <a:pt x="1193164" y="3534870"/>
                  <a:pt x="1193164" y="3534870"/>
                </a:cubicBezTo>
                <a:close/>
                <a:moveTo>
                  <a:pt x="6023424" y="3531640"/>
                </a:moveTo>
                <a:cubicBezTo>
                  <a:pt x="6019900" y="3533108"/>
                  <a:pt x="6017552" y="3548963"/>
                  <a:pt x="6026947" y="3574799"/>
                </a:cubicBezTo>
                <a:cubicBezTo>
                  <a:pt x="6031644" y="3543091"/>
                  <a:pt x="6026947" y="3530172"/>
                  <a:pt x="6023424" y="3531640"/>
                </a:cubicBezTo>
                <a:close/>
                <a:moveTo>
                  <a:pt x="361714" y="3523126"/>
                </a:moveTo>
                <a:cubicBezTo>
                  <a:pt x="361714" y="3523126"/>
                  <a:pt x="357014" y="3523126"/>
                  <a:pt x="352319" y="3525475"/>
                </a:cubicBezTo>
                <a:lnTo>
                  <a:pt x="352319" y="3541916"/>
                </a:lnTo>
                <a:lnTo>
                  <a:pt x="371112" y="3539567"/>
                </a:lnTo>
                <a:close/>
                <a:moveTo>
                  <a:pt x="5855485" y="3523125"/>
                </a:moveTo>
                <a:cubicBezTo>
                  <a:pt x="5857834" y="3525474"/>
                  <a:pt x="5860183" y="3525474"/>
                  <a:pt x="5862532" y="3527823"/>
                </a:cubicBezTo>
                <a:cubicBezTo>
                  <a:pt x="5860183" y="3534869"/>
                  <a:pt x="5860183" y="3541915"/>
                  <a:pt x="5860183" y="3548962"/>
                </a:cubicBezTo>
                <a:cubicBezTo>
                  <a:pt x="5850788" y="3548962"/>
                  <a:pt x="5855485" y="3532520"/>
                  <a:pt x="5855485" y="3523125"/>
                </a:cubicBezTo>
                <a:close/>
                <a:moveTo>
                  <a:pt x="563691" y="3518429"/>
                </a:moveTo>
                <a:cubicBezTo>
                  <a:pt x="563691" y="3518429"/>
                  <a:pt x="556648" y="3520778"/>
                  <a:pt x="554298" y="3520778"/>
                </a:cubicBezTo>
                <a:lnTo>
                  <a:pt x="561342" y="3546614"/>
                </a:lnTo>
                <a:cubicBezTo>
                  <a:pt x="566040" y="3544265"/>
                  <a:pt x="566040" y="3539567"/>
                  <a:pt x="570741" y="3537219"/>
                </a:cubicBezTo>
                <a:cubicBezTo>
                  <a:pt x="570741" y="3537219"/>
                  <a:pt x="577783" y="3537219"/>
                  <a:pt x="580133" y="3537219"/>
                </a:cubicBezTo>
                <a:lnTo>
                  <a:pt x="603620" y="3544265"/>
                </a:lnTo>
                <a:cubicBezTo>
                  <a:pt x="605970" y="3548963"/>
                  <a:pt x="610668" y="3551311"/>
                  <a:pt x="613018" y="3553660"/>
                </a:cubicBezTo>
                <a:cubicBezTo>
                  <a:pt x="615363" y="3556009"/>
                  <a:pt x="631806" y="3556009"/>
                  <a:pt x="631806" y="3556009"/>
                </a:cubicBezTo>
                <a:cubicBezTo>
                  <a:pt x="631806" y="3556009"/>
                  <a:pt x="634153" y="3553660"/>
                  <a:pt x="634153" y="3553660"/>
                </a:cubicBezTo>
                <a:cubicBezTo>
                  <a:pt x="634153" y="3553660"/>
                  <a:pt x="634153" y="3546614"/>
                  <a:pt x="634153" y="3544265"/>
                </a:cubicBezTo>
                <a:lnTo>
                  <a:pt x="624761" y="3523126"/>
                </a:lnTo>
                <a:cubicBezTo>
                  <a:pt x="624761" y="3523126"/>
                  <a:pt x="617713" y="3520778"/>
                  <a:pt x="615363" y="3518429"/>
                </a:cubicBezTo>
                <a:lnTo>
                  <a:pt x="580133" y="3532521"/>
                </a:lnTo>
                <a:cubicBezTo>
                  <a:pt x="575435" y="3534870"/>
                  <a:pt x="573086" y="3537219"/>
                  <a:pt x="570741" y="3534870"/>
                </a:cubicBezTo>
                <a:cubicBezTo>
                  <a:pt x="566040" y="3532521"/>
                  <a:pt x="568391" y="3520778"/>
                  <a:pt x="563691" y="3518429"/>
                </a:cubicBezTo>
                <a:close/>
                <a:moveTo>
                  <a:pt x="1909560" y="3518428"/>
                </a:moveTo>
                <a:cubicBezTo>
                  <a:pt x="1881375" y="3539568"/>
                  <a:pt x="1867278" y="3548963"/>
                  <a:pt x="1857884" y="3556010"/>
                </a:cubicBezTo>
                <a:cubicBezTo>
                  <a:pt x="1874325" y="3544266"/>
                  <a:pt x="1893118" y="3530173"/>
                  <a:pt x="1909560" y="3518428"/>
                </a:cubicBezTo>
                <a:close/>
                <a:moveTo>
                  <a:pt x="241920" y="3518428"/>
                </a:moveTo>
                <a:cubicBezTo>
                  <a:pt x="251315" y="3525474"/>
                  <a:pt x="253663" y="3527823"/>
                  <a:pt x="253663" y="3530172"/>
                </a:cubicBezTo>
                <a:cubicBezTo>
                  <a:pt x="253663" y="3530172"/>
                  <a:pt x="248970" y="3537218"/>
                  <a:pt x="246620" y="3539567"/>
                </a:cubicBezTo>
                <a:lnTo>
                  <a:pt x="241920" y="3546613"/>
                </a:lnTo>
                <a:lnTo>
                  <a:pt x="234878" y="3541916"/>
                </a:lnTo>
                <a:lnTo>
                  <a:pt x="234878" y="3532521"/>
                </a:lnTo>
                <a:lnTo>
                  <a:pt x="234878" y="3523126"/>
                </a:lnTo>
                <a:close/>
                <a:moveTo>
                  <a:pt x="5914205" y="3511381"/>
                </a:moveTo>
                <a:cubicBezTo>
                  <a:pt x="5916554" y="3513730"/>
                  <a:pt x="5921251" y="3516079"/>
                  <a:pt x="5921251" y="3518427"/>
                </a:cubicBezTo>
                <a:cubicBezTo>
                  <a:pt x="5921251" y="3518427"/>
                  <a:pt x="5918903" y="3518427"/>
                  <a:pt x="5918903" y="3520776"/>
                </a:cubicBezTo>
                <a:cubicBezTo>
                  <a:pt x="5921251" y="3520776"/>
                  <a:pt x="5923600" y="3527822"/>
                  <a:pt x="5916554" y="3525474"/>
                </a:cubicBezTo>
                <a:cubicBezTo>
                  <a:pt x="5914205" y="3520776"/>
                  <a:pt x="5914205" y="3516079"/>
                  <a:pt x="5914205" y="3511381"/>
                </a:cubicBezTo>
                <a:close/>
                <a:moveTo>
                  <a:pt x="1957625" y="3501386"/>
                </a:moveTo>
                <a:cubicBezTo>
                  <a:pt x="1958479" y="3501289"/>
                  <a:pt x="1956829" y="3502868"/>
                  <a:pt x="1951838" y="3506684"/>
                </a:cubicBezTo>
                <a:cubicBezTo>
                  <a:pt x="1787421" y="3605333"/>
                  <a:pt x="1935395" y="3532520"/>
                  <a:pt x="1754538" y="3645263"/>
                </a:cubicBezTo>
                <a:cubicBezTo>
                  <a:pt x="1695817" y="3666402"/>
                  <a:pt x="1754538" y="3631170"/>
                  <a:pt x="1857883" y="3556009"/>
                </a:cubicBezTo>
                <a:cubicBezTo>
                  <a:pt x="1822946" y="3584781"/>
                  <a:pt x="1951651" y="3502060"/>
                  <a:pt x="1957625" y="3501386"/>
                </a:cubicBezTo>
                <a:close/>
                <a:moveTo>
                  <a:pt x="1350532" y="3499638"/>
                </a:moveTo>
                <a:lnTo>
                  <a:pt x="1343485" y="3504336"/>
                </a:lnTo>
                <a:lnTo>
                  <a:pt x="1350532" y="3509034"/>
                </a:lnTo>
                <a:lnTo>
                  <a:pt x="1355228" y="3504336"/>
                </a:lnTo>
                <a:close/>
                <a:moveTo>
                  <a:pt x="335876" y="3499638"/>
                </a:moveTo>
                <a:lnTo>
                  <a:pt x="328829" y="3506685"/>
                </a:lnTo>
                <a:lnTo>
                  <a:pt x="333528" y="3516080"/>
                </a:lnTo>
                <a:cubicBezTo>
                  <a:pt x="333528" y="3516080"/>
                  <a:pt x="335876" y="3518429"/>
                  <a:pt x="335876" y="3518429"/>
                </a:cubicBezTo>
                <a:lnTo>
                  <a:pt x="345271" y="3504336"/>
                </a:lnTo>
                <a:close/>
                <a:moveTo>
                  <a:pt x="6132642" y="3497289"/>
                </a:moveTo>
                <a:cubicBezTo>
                  <a:pt x="6134991" y="3501987"/>
                  <a:pt x="6137340" y="3506684"/>
                  <a:pt x="6137340" y="3511382"/>
                </a:cubicBezTo>
                <a:cubicBezTo>
                  <a:pt x="6134991" y="3509033"/>
                  <a:pt x="6132642" y="3506684"/>
                  <a:pt x="6132642" y="3506684"/>
                </a:cubicBezTo>
                <a:cubicBezTo>
                  <a:pt x="6132642" y="3504335"/>
                  <a:pt x="6132642" y="3499638"/>
                  <a:pt x="6132642" y="3497289"/>
                </a:cubicBezTo>
                <a:close/>
                <a:moveTo>
                  <a:pt x="5888369" y="3497289"/>
                </a:moveTo>
                <a:cubicBezTo>
                  <a:pt x="5893067" y="3499639"/>
                  <a:pt x="5900113" y="3504336"/>
                  <a:pt x="5904810" y="3506685"/>
                </a:cubicBezTo>
                <a:cubicBezTo>
                  <a:pt x="5902462" y="3516080"/>
                  <a:pt x="5902462" y="3527824"/>
                  <a:pt x="5902462" y="3534870"/>
                </a:cubicBezTo>
                <a:cubicBezTo>
                  <a:pt x="5897764" y="3532522"/>
                  <a:pt x="5895415" y="3530173"/>
                  <a:pt x="5893067" y="3530173"/>
                </a:cubicBezTo>
                <a:cubicBezTo>
                  <a:pt x="5890718" y="3518429"/>
                  <a:pt x="5890718" y="3506685"/>
                  <a:pt x="5888369" y="3497289"/>
                </a:cubicBezTo>
                <a:close/>
                <a:moveTo>
                  <a:pt x="1035796" y="3494941"/>
                </a:moveTo>
                <a:lnTo>
                  <a:pt x="1031098" y="3499638"/>
                </a:lnTo>
                <a:lnTo>
                  <a:pt x="1035796" y="3506685"/>
                </a:lnTo>
                <a:lnTo>
                  <a:pt x="1045190" y="3506685"/>
                </a:lnTo>
                <a:lnTo>
                  <a:pt x="1049888" y="3499638"/>
                </a:lnTo>
                <a:lnTo>
                  <a:pt x="1045190" y="3494941"/>
                </a:lnTo>
                <a:close/>
                <a:moveTo>
                  <a:pt x="1547828" y="3490243"/>
                </a:moveTo>
                <a:lnTo>
                  <a:pt x="1529038" y="3494941"/>
                </a:lnTo>
                <a:lnTo>
                  <a:pt x="1519643" y="3509034"/>
                </a:lnTo>
                <a:cubicBezTo>
                  <a:pt x="1519643" y="3509034"/>
                  <a:pt x="1526694" y="3513731"/>
                  <a:pt x="1536086" y="3516080"/>
                </a:cubicBezTo>
                <a:lnTo>
                  <a:pt x="1564271" y="3516080"/>
                </a:lnTo>
                <a:cubicBezTo>
                  <a:pt x="1564271" y="3513731"/>
                  <a:pt x="1566621" y="3511382"/>
                  <a:pt x="1566621" y="3509034"/>
                </a:cubicBezTo>
                <a:cubicBezTo>
                  <a:pt x="1566621" y="3509034"/>
                  <a:pt x="1566621" y="3501987"/>
                  <a:pt x="1566621" y="3499638"/>
                </a:cubicBezTo>
                <a:close/>
                <a:moveTo>
                  <a:pt x="960634" y="3490243"/>
                </a:moveTo>
                <a:lnTo>
                  <a:pt x="918355" y="3492592"/>
                </a:lnTo>
                <a:cubicBezTo>
                  <a:pt x="916007" y="3492592"/>
                  <a:pt x="913658" y="3494941"/>
                  <a:pt x="911313" y="3494941"/>
                </a:cubicBezTo>
                <a:cubicBezTo>
                  <a:pt x="911313" y="3499638"/>
                  <a:pt x="913658" y="3501987"/>
                  <a:pt x="916007" y="3504336"/>
                </a:cubicBezTo>
                <a:cubicBezTo>
                  <a:pt x="916007" y="3504336"/>
                  <a:pt x="927750" y="3511382"/>
                  <a:pt x="934798" y="3513731"/>
                </a:cubicBezTo>
                <a:lnTo>
                  <a:pt x="941843" y="3518429"/>
                </a:lnTo>
                <a:cubicBezTo>
                  <a:pt x="941843" y="3518429"/>
                  <a:pt x="944193" y="3518429"/>
                  <a:pt x="946541" y="3516080"/>
                </a:cubicBezTo>
                <a:lnTo>
                  <a:pt x="977076" y="3501987"/>
                </a:lnTo>
                <a:cubicBezTo>
                  <a:pt x="977076" y="3501987"/>
                  <a:pt x="984126" y="3504336"/>
                  <a:pt x="986470" y="3506685"/>
                </a:cubicBezTo>
                <a:lnTo>
                  <a:pt x="1012306" y="3499638"/>
                </a:lnTo>
                <a:close/>
                <a:moveTo>
                  <a:pt x="1071027" y="3485546"/>
                </a:moveTo>
                <a:cubicBezTo>
                  <a:pt x="1068681" y="3487894"/>
                  <a:pt x="1066331" y="3487894"/>
                  <a:pt x="1063981" y="3490243"/>
                </a:cubicBezTo>
                <a:cubicBezTo>
                  <a:pt x="1063981" y="3490243"/>
                  <a:pt x="1063981" y="3501987"/>
                  <a:pt x="1071027" y="3509034"/>
                </a:cubicBezTo>
                <a:lnTo>
                  <a:pt x="1103909" y="3509034"/>
                </a:lnTo>
                <a:lnTo>
                  <a:pt x="1120351" y="3501987"/>
                </a:lnTo>
                <a:cubicBezTo>
                  <a:pt x="1120351" y="3501987"/>
                  <a:pt x="1127401" y="3506685"/>
                  <a:pt x="1129746" y="3509034"/>
                </a:cubicBezTo>
                <a:lnTo>
                  <a:pt x="1155587" y="3497290"/>
                </a:lnTo>
                <a:cubicBezTo>
                  <a:pt x="1155587" y="3497290"/>
                  <a:pt x="1150886" y="3494941"/>
                  <a:pt x="1148537" y="3492592"/>
                </a:cubicBezTo>
                <a:lnTo>
                  <a:pt x="1122701" y="3497290"/>
                </a:lnTo>
                <a:cubicBezTo>
                  <a:pt x="1122701" y="3497290"/>
                  <a:pt x="1118002" y="3497290"/>
                  <a:pt x="1106259" y="3492592"/>
                </a:cubicBezTo>
                <a:lnTo>
                  <a:pt x="1080423" y="3487894"/>
                </a:lnTo>
                <a:cubicBezTo>
                  <a:pt x="1075724" y="3487894"/>
                  <a:pt x="1073376" y="3485546"/>
                  <a:pt x="1071027" y="3485546"/>
                </a:cubicBezTo>
                <a:close/>
                <a:moveTo>
                  <a:pt x="5981219" y="3476994"/>
                </a:moveTo>
                <a:cubicBezTo>
                  <a:pt x="5980559" y="3477325"/>
                  <a:pt x="5964704" y="3503748"/>
                  <a:pt x="5975274" y="3487894"/>
                </a:cubicBezTo>
                <a:cubicBezTo>
                  <a:pt x="5979972" y="3479673"/>
                  <a:pt x="5981440" y="3476884"/>
                  <a:pt x="5981219" y="3476994"/>
                </a:cubicBezTo>
                <a:close/>
                <a:moveTo>
                  <a:pt x="164409" y="3466755"/>
                </a:moveTo>
                <a:lnTo>
                  <a:pt x="173807" y="3466755"/>
                </a:lnTo>
                <a:cubicBezTo>
                  <a:pt x="173807" y="3466755"/>
                  <a:pt x="176157" y="3469104"/>
                  <a:pt x="178501" y="3471453"/>
                </a:cubicBezTo>
                <a:lnTo>
                  <a:pt x="176157" y="3480848"/>
                </a:lnTo>
                <a:lnTo>
                  <a:pt x="164409" y="3494940"/>
                </a:lnTo>
                <a:lnTo>
                  <a:pt x="162060" y="3490243"/>
                </a:lnTo>
                <a:lnTo>
                  <a:pt x="162060" y="3480848"/>
                </a:lnTo>
                <a:lnTo>
                  <a:pt x="159715" y="3471453"/>
                </a:lnTo>
                <a:cubicBezTo>
                  <a:pt x="159715" y="3471453"/>
                  <a:pt x="162060" y="3469104"/>
                  <a:pt x="164409" y="3466755"/>
                </a:cubicBezTo>
                <a:close/>
                <a:moveTo>
                  <a:pt x="1680832" y="3462938"/>
                </a:moveTo>
                <a:cubicBezTo>
                  <a:pt x="1677601" y="3462058"/>
                  <a:pt x="1674663" y="3462058"/>
                  <a:pt x="1672313" y="3464407"/>
                </a:cubicBezTo>
                <a:cubicBezTo>
                  <a:pt x="1679362" y="3466756"/>
                  <a:pt x="1686406" y="3473802"/>
                  <a:pt x="1691104" y="3466756"/>
                </a:cubicBezTo>
                <a:cubicBezTo>
                  <a:pt x="1687583" y="3465581"/>
                  <a:pt x="1684058" y="3463819"/>
                  <a:pt x="1680832" y="3462938"/>
                </a:cubicBezTo>
                <a:close/>
                <a:moveTo>
                  <a:pt x="418084" y="3457359"/>
                </a:moveTo>
                <a:lnTo>
                  <a:pt x="429826" y="3457359"/>
                </a:lnTo>
                <a:lnTo>
                  <a:pt x="436874" y="3462057"/>
                </a:lnTo>
                <a:lnTo>
                  <a:pt x="443918" y="3466754"/>
                </a:lnTo>
                <a:lnTo>
                  <a:pt x="436874" y="3473801"/>
                </a:lnTo>
                <a:lnTo>
                  <a:pt x="427482" y="3471452"/>
                </a:lnTo>
                <a:lnTo>
                  <a:pt x="420431" y="3466754"/>
                </a:lnTo>
                <a:cubicBezTo>
                  <a:pt x="420431" y="3466754"/>
                  <a:pt x="420431" y="3464405"/>
                  <a:pt x="418084" y="3457359"/>
                </a:cubicBezTo>
                <a:close/>
                <a:moveTo>
                  <a:pt x="3884861" y="3455012"/>
                </a:moveTo>
                <a:cubicBezTo>
                  <a:pt x="3849629" y="3464407"/>
                  <a:pt x="3823792" y="3494941"/>
                  <a:pt x="3793259" y="3513731"/>
                </a:cubicBezTo>
                <a:cubicBezTo>
                  <a:pt x="3819095" y="3525475"/>
                  <a:pt x="3823792" y="3485546"/>
                  <a:pt x="3849629" y="3490243"/>
                </a:cubicBezTo>
                <a:cubicBezTo>
                  <a:pt x="3856675" y="3494941"/>
                  <a:pt x="3847280" y="3506685"/>
                  <a:pt x="3861373" y="3509034"/>
                </a:cubicBezTo>
                <a:cubicBezTo>
                  <a:pt x="3873117" y="3485546"/>
                  <a:pt x="3896605" y="3494941"/>
                  <a:pt x="3910697" y="3471453"/>
                </a:cubicBezTo>
                <a:cubicBezTo>
                  <a:pt x="3887209" y="3464407"/>
                  <a:pt x="3880163" y="3497290"/>
                  <a:pt x="3856675" y="3490243"/>
                </a:cubicBezTo>
                <a:cubicBezTo>
                  <a:pt x="3863722" y="3473802"/>
                  <a:pt x="3882513" y="3480848"/>
                  <a:pt x="3884861" y="3455012"/>
                </a:cubicBezTo>
                <a:close/>
                <a:moveTo>
                  <a:pt x="241920" y="3455011"/>
                </a:moveTo>
                <a:lnTo>
                  <a:pt x="246620" y="3462057"/>
                </a:lnTo>
                <a:lnTo>
                  <a:pt x="246620" y="3471452"/>
                </a:lnTo>
                <a:lnTo>
                  <a:pt x="241921" y="3478499"/>
                </a:lnTo>
                <a:lnTo>
                  <a:pt x="258363" y="3469103"/>
                </a:lnTo>
                <a:cubicBezTo>
                  <a:pt x="258363" y="3469103"/>
                  <a:pt x="265406" y="3471453"/>
                  <a:pt x="272455" y="3478499"/>
                </a:cubicBezTo>
                <a:lnTo>
                  <a:pt x="258363" y="3492592"/>
                </a:lnTo>
                <a:cubicBezTo>
                  <a:pt x="253663" y="3497290"/>
                  <a:pt x="251315" y="3499638"/>
                  <a:pt x="253663" y="3504336"/>
                </a:cubicBezTo>
                <a:cubicBezTo>
                  <a:pt x="256012" y="3509034"/>
                  <a:pt x="260713" y="3511382"/>
                  <a:pt x="263058" y="3513731"/>
                </a:cubicBezTo>
                <a:cubicBezTo>
                  <a:pt x="260713" y="3513731"/>
                  <a:pt x="260713" y="3513731"/>
                  <a:pt x="258363" y="3513731"/>
                </a:cubicBezTo>
                <a:lnTo>
                  <a:pt x="225479" y="3497290"/>
                </a:lnTo>
                <a:cubicBezTo>
                  <a:pt x="225479" y="3497290"/>
                  <a:pt x="222836" y="3493326"/>
                  <a:pt x="230434" y="3486389"/>
                </a:cubicBezTo>
                <a:lnTo>
                  <a:pt x="241920" y="3478499"/>
                </a:lnTo>
                <a:lnTo>
                  <a:pt x="234878" y="3478499"/>
                </a:lnTo>
                <a:lnTo>
                  <a:pt x="232528" y="3473801"/>
                </a:lnTo>
                <a:lnTo>
                  <a:pt x="230177" y="3464406"/>
                </a:lnTo>
                <a:cubicBezTo>
                  <a:pt x="230177" y="3464406"/>
                  <a:pt x="232528" y="3462057"/>
                  <a:pt x="234878" y="3459709"/>
                </a:cubicBezTo>
                <a:close/>
                <a:moveTo>
                  <a:pt x="197292" y="3455011"/>
                </a:moveTo>
                <a:cubicBezTo>
                  <a:pt x="201992" y="3457361"/>
                  <a:pt x="204338" y="3457361"/>
                  <a:pt x="206687" y="3459710"/>
                </a:cubicBezTo>
                <a:cubicBezTo>
                  <a:pt x="206687" y="3459710"/>
                  <a:pt x="209036" y="3462058"/>
                  <a:pt x="209036" y="3462058"/>
                </a:cubicBezTo>
                <a:lnTo>
                  <a:pt x="199642" y="3478500"/>
                </a:lnTo>
                <a:cubicBezTo>
                  <a:pt x="211384" y="3483197"/>
                  <a:pt x="211384" y="3483197"/>
                  <a:pt x="211384" y="3487895"/>
                </a:cubicBezTo>
                <a:cubicBezTo>
                  <a:pt x="211384" y="3487895"/>
                  <a:pt x="209036" y="3492592"/>
                  <a:pt x="204338" y="3494941"/>
                </a:cubicBezTo>
                <a:lnTo>
                  <a:pt x="194942" y="3490244"/>
                </a:lnTo>
                <a:cubicBezTo>
                  <a:pt x="194942" y="3487895"/>
                  <a:pt x="194942" y="3487895"/>
                  <a:pt x="194942" y="3487895"/>
                </a:cubicBezTo>
                <a:cubicBezTo>
                  <a:pt x="194942" y="3487895"/>
                  <a:pt x="194942" y="3480848"/>
                  <a:pt x="194942" y="3478500"/>
                </a:cubicBezTo>
                <a:lnTo>
                  <a:pt x="190250" y="3469105"/>
                </a:lnTo>
                <a:cubicBezTo>
                  <a:pt x="190250" y="3469105"/>
                  <a:pt x="187900" y="3462058"/>
                  <a:pt x="187900" y="3459710"/>
                </a:cubicBezTo>
                <a:close/>
                <a:moveTo>
                  <a:pt x="216085" y="3447964"/>
                </a:moveTo>
                <a:lnTo>
                  <a:pt x="225478" y="3452662"/>
                </a:lnTo>
                <a:cubicBezTo>
                  <a:pt x="225478" y="3452662"/>
                  <a:pt x="227827" y="3452662"/>
                  <a:pt x="230177" y="3455010"/>
                </a:cubicBezTo>
                <a:cubicBezTo>
                  <a:pt x="230177" y="3455010"/>
                  <a:pt x="227827" y="3457359"/>
                  <a:pt x="227827" y="3457359"/>
                </a:cubicBezTo>
                <a:lnTo>
                  <a:pt x="218435" y="3459708"/>
                </a:lnTo>
                <a:lnTo>
                  <a:pt x="213735" y="3455010"/>
                </a:lnTo>
                <a:close/>
                <a:moveTo>
                  <a:pt x="1324697" y="3443268"/>
                </a:moveTo>
                <a:cubicBezTo>
                  <a:pt x="1324697" y="3443268"/>
                  <a:pt x="1322347" y="3450314"/>
                  <a:pt x="1319997" y="3452663"/>
                </a:cubicBezTo>
                <a:lnTo>
                  <a:pt x="1338790" y="3462058"/>
                </a:lnTo>
                <a:lnTo>
                  <a:pt x="1366975" y="3455012"/>
                </a:lnTo>
                <a:lnTo>
                  <a:pt x="1327043" y="3445616"/>
                </a:lnTo>
                <a:cubicBezTo>
                  <a:pt x="1324697" y="3443268"/>
                  <a:pt x="1324697" y="3443268"/>
                  <a:pt x="1324697" y="3443268"/>
                </a:cubicBezTo>
                <a:close/>
                <a:moveTo>
                  <a:pt x="1970609" y="3438570"/>
                </a:moveTo>
                <a:cubicBezTo>
                  <a:pt x="1834380" y="3523126"/>
                  <a:pt x="1773312" y="3577148"/>
                  <a:pt x="1712247" y="3628821"/>
                </a:cubicBezTo>
                <a:cubicBezTo>
                  <a:pt x="1707547" y="3633519"/>
                  <a:pt x="1700499" y="3638216"/>
                  <a:pt x="1695805" y="3642914"/>
                </a:cubicBezTo>
                <a:cubicBezTo>
                  <a:pt x="1679362" y="3626473"/>
                  <a:pt x="1648827" y="3600636"/>
                  <a:pt x="1634734" y="3626473"/>
                </a:cubicBezTo>
                <a:cubicBezTo>
                  <a:pt x="1644128" y="3635868"/>
                  <a:pt x="1667619" y="3640565"/>
                  <a:pt x="1681712" y="3654658"/>
                </a:cubicBezTo>
                <a:cubicBezTo>
                  <a:pt x="1665269" y="3671099"/>
                  <a:pt x="1646477" y="3685192"/>
                  <a:pt x="1625342" y="3701633"/>
                </a:cubicBezTo>
                <a:cubicBezTo>
                  <a:pt x="1634734" y="3708680"/>
                  <a:pt x="1644128" y="3718075"/>
                  <a:pt x="1655873" y="3725121"/>
                </a:cubicBezTo>
                <a:cubicBezTo>
                  <a:pt x="1721640" y="3769748"/>
                  <a:pt x="1829682" y="3753307"/>
                  <a:pt x="1897797" y="3687541"/>
                </a:cubicBezTo>
                <a:cubicBezTo>
                  <a:pt x="1933029" y="3654658"/>
                  <a:pt x="1963563" y="3610031"/>
                  <a:pt x="1977656" y="3548963"/>
                </a:cubicBezTo>
                <a:cubicBezTo>
                  <a:pt x="1984702" y="3518429"/>
                  <a:pt x="1982356" y="3490243"/>
                  <a:pt x="1980006" y="3471453"/>
                </a:cubicBezTo>
                <a:cubicBezTo>
                  <a:pt x="1921286" y="3497290"/>
                  <a:pt x="1947121" y="3459709"/>
                  <a:pt x="1970609" y="3438570"/>
                </a:cubicBezTo>
                <a:close/>
                <a:moveTo>
                  <a:pt x="4252518" y="3437065"/>
                </a:moveTo>
                <a:cubicBezTo>
                  <a:pt x="4251858" y="3437396"/>
                  <a:pt x="4236003" y="3463819"/>
                  <a:pt x="4246572" y="3447965"/>
                </a:cubicBezTo>
                <a:cubicBezTo>
                  <a:pt x="4251270" y="3439744"/>
                  <a:pt x="4252738" y="3436955"/>
                  <a:pt x="4252518" y="3437065"/>
                </a:cubicBezTo>
                <a:close/>
                <a:moveTo>
                  <a:pt x="1188465" y="3436221"/>
                </a:moveTo>
                <a:lnTo>
                  <a:pt x="1172024" y="3445616"/>
                </a:lnTo>
                <a:cubicBezTo>
                  <a:pt x="1169679" y="3445616"/>
                  <a:pt x="1167329" y="3447965"/>
                  <a:pt x="1164979" y="3450314"/>
                </a:cubicBezTo>
                <a:cubicBezTo>
                  <a:pt x="1164979" y="3450314"/>
                  <a:pt x="1172024" y="3459709"/>
                  <a:pt x="1181422" y="3459709"/>
                </a:cubicBezTo>
                <a:lnTo>
                  <a:pt x="1207257" y="3459709"/>
                </a:lnTo>
                <a:lnTo>
                  <a:pt x="1240142" y="3457360"/>
                </a:lnTo>
                <a:cubicBezTo>
                  <a:pt x="1251884" y="3455012"/>
                  <a:pt x="1251884" y="3455012"/>
                  <a:pt x="1251884" y="3450314"/>
                </a:cubicBezTo>
                <a:cubicBezTo>
                  <a:pt x="1251884" y="3450314"/>
                  <a:pt x="1242488" y="3443268"/>
                  <a:pt x="1230743" y="3438570"/>
                </a:cubicBezTo>
                <a:lnTo>
                  <a:pt x="1204906" y="3440919"/>
                </a:lnTo>
                <a:cubicBezTo>
                  <a:pt x="1204906" y="3440919"/>
                  <a:pt x="1200209" y="3438570"/>
                  <a:pt x="1188465" y="3436221"/>
                </a:cubicBezTo>
                <a:close/>
                <a:moveTo>
                  <a:pt x="1035796" y="3433872"/>
                </a:moveTo>
                <a:cubicBezTo>
                  <a:pt x="1026403" y="3431524"/>
                  <a:pt x="1014655" y="3440919"/>
                  <a:pt x="1002912" y="3440919"/>
                </a:cubicBezTo>
                <a:cubicBezTo>
                  <a:pt x="995868" y="3440919"/>
                  <a:pt x="988819" y="3436221"/>
                  <a:pt x="984126" y="3438570"/>
                </a:cubicBezTo>
                <a:cubicBezTo>
                  <a:pt x="984126" y="3440919"/>
                  <a:pt x="979425" y="3443268"/>
                  <a:pt x="974727" y="3447965"/>
                </a:cubicBezTo>
                <a:cubicBezTo>
                  <a:pt x="974727" y="3447965"/>
                  <a:pt x="981775" y="3450314"/>
                  <a:pt x="986470" y="3452663"/>
                </a:cubicBezTo>
                <a:lnTo>
                  <a:pt x="1054584" y="3457360"/>
                </a:lnTo>
                <a:cubicBezTo>
                  <a:pt x="1059282" y="3457360"/>
                  <a:pt x="1061632" y="3457360"/>
                  <a:pt x="1063981" y="3457360"/>
                </a:cubicBezTo>
                <a:cubicBezTo>
                  <a:pt x="1071027" y="3459709"/>
                  <a:pt x="1080423" y="3462058"/>
                  <a:pt x="1087468" y="3466756"/>
                </a:cubicBezTo>
                <a:cubicBezTo>
                  <a:pt x="1092166" y="3469104"/>
                  <a:pt x="1092166" y="3469104"/>
                  <a:pt x="1096866" y="3469104"/>
                </a:cubicBezTo>
                <a:cubicBezTo>
                  <a:pt x="1106259" y="3466756"/>
                  <a:pt x="1113305" y="3452663"/>
                  <a:pt x="1122701" y="3452663"/>
                </a:cubicBezTo>
                <a:cubicBezTo>
                  <a:pt x="1127401" y="3455012"/>
                  <a:pt x="1127401" y="3459709"/>
                  <a:pt x="1132095" y="3462058"/>
                </a:cubicBezTo>
                <a:cubicBezTo>
                  <a:pt x="1132095" y="3462058"/>
                  <a:pt x="1134444" y="3464407"/>
                  <a:pt x="1153236" y="3452663"/>
                </a:cubicBezTo>
                <a:lnTo>
                  <a:pt x="1148537" y="3443268"/>
                </a:lnTo>
                <a:lnTo>
                  <a:pt x="1061632" y="3445616"/>
                </a:lnTo>
                <a:cubicBezTo>
                  <a:pt x="1052238" y="3440919"/>
                  <a:pt x="1045190" y="3433872"/>
                  <a:pt x="1035796" y="3433872"/>
                </a:cubicBezTo>
                <a:close/>
                <a:moveTo>
                  <a:pt x="5782674" y="3429174"/>
                </a:moveTo>
                <a:cubicBezTo>
                  <a:pt x="5785022" y="3431523"/>
                  <a:pt x="5789720" y="3433872"/>
                  <a:pt x="5792069" y="3436220"/>
                </a:cubicBezTo>
                <a:cubicBezTo>
                  <a:pt x="5792069" y="3443267"/>
                  <a:pt x="5792069" y="3450313"/>
                  <a:pt x="5787371" y="3459708"/>
                </a:cubicBezTo>
                <a:cubicBezTo>
                  <a:pt x="5796766" y="3455011"/>
                  <a:pt x="5803813" y="3452662"/>
                  <a:pt x="5810859" y="3447964"/>
                </a:cubicBezTo>
                <a:cubicBezTo>
                  <a:pt x="5820254" y="3452662"/>
                  <a:pt x="5831998" y="3459708"/>
                  <a:pt x="5841393" y="3462057"/>
                </a:cubicBezTo>
                <a:cubicBezTo>
                  <a:pt x="5850788" y="3469103"/>
                  <a:pt x="5860183" y="3473801"/>
                  <a:pt x="5869578" y="3480847"/>
                </a:cubicBezTo>
                <a:cubicBezTo>
                  <a:pt x="5867230" y="3490242"/>
                  <a:pt x="5867230" y="3499637"/>
                  <a:pt x="5864881" y="3509033"/>
                </a:cubicBezTo>
                <a:lnTo>
                  <a:pt x="5766232" y="3462057"/>
                </a:lnTo>
                <a:lnTo>
                  <a:pt x="5780325" y="3476150"/>
                </a:lnTo>
                <a:cubicBezTo>
                  <a:pt x="5803813" y="3490242"/>
                  <a:pt x="5824951" y="3501986"/>
                  <a:pt x="5848439" y="3516079"/>
                </a:cubicBezTo>
                <a:cubicBezTo>
                  <a:pt x="5846091" y="3516079"/>
                  <a:pt x="5846091" y="3518428"/>
                  <a:pt x="5843742" y="3518428"/>
                </a:cubicBezTo>
                <a:cubicBezTo>
                  <a:pt x="5846091" y="3525474"/>
                  <a:pt x="5843742" y="3532521"/>
                  <a:pt x="5843742" y="3539567"/>
                </a:cubicBezTo>
                <a:cubicBezTo>
                  <a:pt x="5829649" y="3527823"/>
                  <a:pt x="5813208" y="3518428"/>
                  <a:pt x="5796766" y="3506684"/>
                </a:cubicBezTo>
                <a:cubicBezTo>
                  <a:pt x="5796766" y="3506684"/>
                  <a:pt x="5796766" y="3509033"/>
                  <a:pt x="5796766" y="3509033"/>
                </a:cubicBezTo>
                <a:cubicBezTo>
                  <a:pt x="5813208" y="3520777"/>
                  <a:pt x="5829649" y="3530172"/>
                  <a:pt x="5843742" y="3541916"/>
                </a:cubicBezTo>
                <a:cubicBezTo>
                  <a:pt x="5841393" y="3551310"/>
                  <a:pt x="5841393" y="3560706"/>
                  <a:pt x="5843742" y="3567752"/>
                </a:cubicBezTo>
                <a:cubicBezTo>
                  <a:pt x="5831998" y="3563054"/>
                  <a:pt x="5827300" y="3567752"/>
                  <a:pt x="5831998" y="3577147"/>
                </a:cubicBezTo>
                <a:cubicBezTo>
                  <a:pt x="5813208" y="3572450"/>
                  <a:pt x="5834347" y="3527823"/>
                  <a:pt x="5813208" y="3541916"/>
                </a:cubicBezTo>
                <a:cubicBezTo>
                  <a:pt x="5820254" y="3548962"/>
                  <a:pt x="5808510" y="3556008"/>
                  <a:pt x="5796766" y="3563054"/>
                </a:cubicBezTo>
                <a:cubicBezTo>
                  <a:pt x="5792069" y="3560706"/>
                  <a:pt x="5787371" y="3556008"/>
                  <a:pt x="5782674" y="3553659"/>
                </a:cubicBezTo>
                <a:cubicBezTo>
                  <a:pt x="5777976" y="3532521"/>
                  <a:pt x="5766232" y="3509033"/>
                  <a:pt x="5759186" y="3487894"/>
                </a:cubicBezTo>
                <a:cubicBezTo>
                  <a:pt x="5766232" y="3492591"/>
                  <a:pt x="5773278" y="3497289"/>
                  <a:pt x="5780325" y="3501986"/>
                </a:cubicBezTo>
                <a:cubicBezTo>
                  <a:pt x="5780325" y="3501986"/>
                  <a:pt x="5777976" y="3499637"/>
                  <a:pt x="5777976" y="3497289"/>
                </a:cubicBezTo>
                <a:cubicBezTo>
                  <a:pt x="5770930" y="3492591"/>
                  <a:pt x="5763883" y="3490242"/>
                  <a:pt x="5756837" y="3485545"/>
                </a:cubicBezTo>
                <a:cubicBezTo>
                  <a:pt x="5756837" y="3478499"/>
                  <a:pt x="5756837" y="3471452"/>
                  <a:pt x="5756837" y="3466755"/>
                </a:cubicBezTo>
                <a:cubicBezTo>
                  <a:pt x="5756837" y="3464406"/>
                  <a:pt x="5768581" y="3440918"/>
                  <a:pt x="5782674" y="3429174"/>
                </a:cubicBezTo>
                <a:close/>
                <a:moveTo>
                  <a:pt x="180851" y="3429174"/>
                </a:moveTo>
                <a:lnTo>
                  <a:pt x="192596" y="3429174"/>
                </a:lnTo>
                <a:lnTo>
                  <a:pt x="199642" y="3438569"/>
                </a:lnTo>
                <a:cubicBezTo>
                  <a:pt x="199642" y="3438569"/>
                  <a:pt x="199642" y="3443267"/>
                  <a:pt x="192596" y="3455011"/>
                </a:cubicBezTo>
                <a:lnTo>
                  <a:pt x="185549" y="3445615"/>
                </a:lnTo>
                <a:lnTo>
                  <a:pt x="176157" y="3450313"/>
                </a:lnTo>
                <a:cubicBezTo>
                  <a:pt x="171457" y="3447964"/>
                  <a:pt x="169107" y="3447964"/>
                  <a:pt x="166757" y="3445615"/>
                </a:cubicBezTo>
                <a:cubicBezTo>
                  <a:pt x="162060" y="3436220"/>
                  <a:pt x="162060" y="3433872"/>
                  <a:pt x="166757" y="3431523"/>
                </a:cubicBezTo>
                <a:cubicBezTo>
                  <a:pt x="166757" y="3431523"/>
                  <a:pt x="178502" y="3429174"/>
                  <a:pt x="180851" y="3429174"/>
                </a:cubicBezTo>
                <a:close/>
                <a:moveTo>
                  <a:pt x="366411" y="3426826"/>
                </a:moveTo>
                <a:lnTo>
                  <a:pt x="371112" y="3431524"/>
                </a:lnTo>
                <a:lnTo>
                  <a:pt x="380504" y="3431524"/>
                </a:lnTo>
                <a:lnTo>
                  <a:pt x="382854" y="3429175"/>
                </a:lnTo>
                <a:lnTo>
                  <a:pt x="380504" y="3426826"/>
                </a:lnTo>
                <a:lnTo>
                  <a:pt x="371112" y="3426826"/>
                </a:lnTo>
                <a:close/>
                <a:moveTo>
                  <a:pt x="556661" y="3417430"/>
                </a:moveTo>
                <a:lnTo>
                  <a:pt x="566057" y="3417430"/>
                </a:lnTo>
                <a:cubicBezTo>
                  <a:pt x="566057" y="3419779"/>
                  <a:pt x="568408" y="3419779"/>
                  <a:pt x="568408" y="3422128"/>
                </a:cubicBezTo>
                <a:cubicBezTo>
                  <a:pt x="568408" y="3422128"/>
                  <a:pt x="566057" y="3424476"/>
                  <a:pt x="566057" y="3426825"/>
                </a:cubicBezTo>
                <a:lnTo>
                  <a:pt x="556661" y="3429174"/>
                </a:lnTo>
                <a:lnTo>
                  <a:pt x="549615" y="3424476"/>
                </a:lnTo>
                <a:close/>
                <a:moveTo>
                  <a:pt x="1836730" y="3415083"/>
                </a:moveTo>
                <a:lnTo>
                  <a:pt x="1800581" y="3444536"/>
                </a:lnTo>
                <a:lnTo>
                  <a:pt x="1801497" y="3443268"/>
                </a:lnTo>
                <a:close/>
                <a:moveTo>
                  <a:pt x="535524" y="3408035"/>
                </a:moveTo>
                <a:lnTo>
                  <a:pt x="542573" y="3415081"/>
                </a:lnTo>
                <a:cubicBezTo>
                  <a:pt x="542573" y="3415081"/>
                  <a:pt x="542573" y="3417430"/>
                  <a:pt x="542573" y="3417430"/>
                </a:cubicBezTo>
                <a:lnTo>
                  <a:pt x="533175" y="3431523"/>
                </a:lnTo>
                <a:lnTo>
                  <a:pt x="523780" y="3426825"/>
                </a:lnTo>
                <a:lnTo>
                  <a:pt x="521430" y="3424476"/>
                </a:lnTo>
                <a:lnTo>
                  <a:pt x="521430" y="3415081"/>
                </a:lnTo>
                <a:close/>
                <a:moveTo>
                  <a:pt x="133892" y="3408035"/>
                </a:moveTo>
                <a:lnTo>
                  <a:pt x="138576" y="3412733"/>
                </a:lnTo>
                <a:cubicBezTo>
                  <a:pt x="138576" y="3412733"/>
                  <a:pt x="140934" y="3415081"/>
                  <a:pt x="140934" y="3415081"/>
                </a:cubicBezTo>
                <a:lnTo>
                  <a:pt x="152666" y="3419779"/>
                </a:lnTo>
                <a:cubicBezTo>
                  <a:pt x="155014" y="3419779"/>
                  <a:pt x="155014" y="3422128"/>
                  <a:pt x="157364" y="3422128"/>
                </a:cubicBezTo>
                <a:cubicBezTo>
                  <a:pt x="157364" y="3422128"/>
                  <a:pt x="155014" y="3424476"/>
                  <a:pt x="152666" y="3426825"/>
                </a:cubicBezTo>
                <a:lnTo>
                  <a:pt x="143276" y="3429174"/>
                </a:lnTo>
                <a:lnTo>
                  <a:pt x="133892" y="3424476"/>
                </a:lnTo>
                <a:lnTo>
                  <a:pt x="131534" y="3422128"/>
                </a:lnTo>
                <a:lnTo>
                  <a:pt x="126833" y="3412733"/>
                </a:lnTo>
                <a:close/>
                <a:moveTo>
                  <a:pt x="201992" y="3405686"/>
                </a:moveTo>
                <a:lnTo>
                  <a:pt x="213735" y="3408035"/>
                </a:lnTo>
                <a:cubicBezTo>
                  <a:pt x="213735" y="3410384"/>
                  <a:pt x="216085" y="3410384"/>
                  <a:pt x="216085" y="3412732"/>
                </a:cubicBezTo>
                <a:cubicBezTo>
                  <a:pt x="216085" y="3412732"/>
                  <a:pt x="213735" y="3415081"/>
                  <a:pt x="213735" y="3415081"/>
                </a:cubicBezTo>
                <a:lnTo>
                  <a:pt x="206687" y="3419779"/>
                </a:lnTo>
                <a:cubicBezTo>
                  <a:pt x="206687" y="3419779"/>
                  <a:pt x="204338" y="3422127"/>
                  <a:pt x="204338" y="3422127"/>
                </a:cubicBezTo>
                <a:lnTo>
                  <a:pt x="201992" y="3419779"/>
                </a:lnTo>
                <a:lnTo>
                  <a:pt x="197293" y="3410384"/>
                </a:lnTo>
                <a:close/>
                <a:moveTo>
                  <a:pt x="1174373" y="3398641"/>
                </a:moveTo>
                <a:lnTo>
                  <a:pt x="1174373" y="3405687"/>
                </a:lnTo>
                <a:lnTo>
                  <a:pt x="1183772" y="3408036"/>
                </a:lnTo>
                <a:lnTo>
                  <a:pt x="1188465" y="3400990"/>
                </a:lnTo>
                <a:lnTo>
                  <a:pt x="1183772" y="3398641"/>
                </a:lnTo>
                <a:close/>
                <a:moveTo>
                  <a:pt x="481502" y="3398640"/>
                </a:moveTo>
                <a:cubicBezTo>
                  <a:pt x="490896" y="3403339"/>
                  <a:pt x="493245" y="3405687"/>
                  <a:pt x="495596" y="3408036"/>
                </a:cubicBezTo>
                <a:cubicBezTo>
                  <a:pt x="495596" y="3408036"/>
                  <a:pt x="493245" y="3412734"/>
                  <a:pt x="490896" y="3415083"/>
                </a:cubicBezTo>
                <a:lnTo>
                  <a:pt x="490896" y="3424478"/>
                </a:lnTo>
                <a:lnTo>
                  <a:pt x="465059" y="3433873"/>
                </a:lnTo>
                <a:lnTo>
                  <a:pt x="458011" y="3431524"/>
                </a:lnTo>
                <a:cubicBezTo>
                  <a:pt x="458011" y="3431524"/>
                  <a:pt x="460360" y="3424478"/>
                  <a:pt x="460360" y="3422129"/>
                </a:cubicBezTo>
                <a:close/>
                <a:moveTo>
                  <a:pt x="887821" y="3396292"/>
                </a:moveTo>
                <a:lnTo>
                  <a:pt x="887821" y="3405687"/>
                </a:lnTo>
                <a:lnTo>
                  <a:pt x="894870" y="3412734"/>
                </a:lnTo>
                <a:lnTo>
                  <a:pt x="899565" y="3405687"/>
                </a:lnTo>
                <a:close/>
                <a:moveTo>
                  <a:pt x="408689" y="3396291"/>
                </a:moveTo>
                <a:lnTo>
                  <a:pt x="422782" y="3396291"/>
                </a:lnTo>
                <a:cubicBezTo>
                  <a:pt x="422782" y="3396291"/>
                  <a:pt x="427482" y="3400990"/>
                  <a:pt x="429826" y="3403338"/>
                </a:cubicBezTo>
                <a:lnTo>
                  <a:pt x="446268" y="3415082"/>
                </a:lnTo>
                <a:cubicBezTo>
                  <a:pt x="453317" y="3426826"/>
                  <a:pt x="453317" y="3429175"/>
                  <a:pt x="453317" y="3431524"/>
                </a:cubicBezTo>
                <a:cubicBezTo>
                  <a:pt x="453317" y="3436221"/>
                  <a:pt x="448616" y="3438570"/>
                  <a:pt x="443919" y="3440919"/>
                </a:cubicBezTo>
                <a:cubicBezTo>
                  <a:pt x="441574" y="3440919"/>
                  <a:pt x="432176" y="3436221"/>
                  <a:pt x="432176" y="3433872"/>
                </a:cubicBezTo>
                <a:cubicBezTo>
                  <a:pt x="432176" y="3433872"/>
                  <a:pt x="425132" y="3426826"/>
                  <a:pt x="439224" y="3419780"/>
                </a:cubicBezTo>
                <a:lnTo>
                  <a:pt x="420433" y="3405687"/>
                </a:lnTo>
                <a:cubicBezTo>
                  <a:pt x="418084" y="3405687"/>
                  <a:pt x="415734" y="3403338"/>
                  <a:pt x="413389" y="3403338"/>
                </a:cubicBezTo>
                <a:cubicBezTo>
                  <a:pt x="413389" y="3403338"/>
                  <a:pt x="411039" y="3398641"/>
                  <a:pt x="408689" y="3396291"/>
                </a:cubicBezTo>
                <a:close/>
                <a:moveTo>
                  <a:pt x="267758" y="3393943"/>
                </a:moveTo>
                <a:lnTo>
                  <a:pt x="263063" y="3396292"/>
                </a:lnTo>
                <a:lnTo>
                  <a:pt x="265413" y="3405687"/>
                </a:lnTo>
                <a:cubicBezTo>
                  <a:pt x="265413" y="3405687"/>
                  <a:pt x="267758" y="3408036"/>
                  <a:pt x="267758" y="3408036"/>
                </a:cubicBezTo>
                <a:lnTo>
                  <a:pt x="277156" y="3408036"/>
                </a:lnTo>
                <a:cubicBezTo>
                  <a:pt x="277156" y="3408036"/>
                  <a:pt x="279506" y="3405687"/>
                  <a:pt x="279506" y="3403339"/>
                </a:cubicBezTo>
                <a:lnTo>
                  <a:pt x="274807" y="3398641"/>
                </a:lnTo>
                <a:cubicBezTo>
                  <a:pt x="274807" y="3398641"/>
                  <a:pt x="272457" y="3396292"/>
                  <a:pt x="272457" y="3396292"/>
                </a:cubicBezTo>
                <a:close/>
                <a:moveTo>
                  <a:pt x="1040496" y="3389246"/>
                </a:moveTo>
                <a:lnTo>
                  <a:pt x="1031098" y="3393943"/>
                </a:lnTo>
                <a:lnTo>
                  <a:pt x="1024053" y="3393943"/>
                </a:lnTo>
                <a:lnTo>
                  <a:pt x="1031098" y="3398641"/>
                </a:lnTo>
                <a:lnTo>
                  <a:pt x="1040496" y="3400990"/>
                </a:lnTo>
                <a:lnTo>
                  <a:pt x="1049888" y="3400990"/>
                </a:lnTo>
                <a:lnTo>
                  <a:pt x="1054584" y="3396292"/>
                </a:lnTo>
                <a:cubicBezTo>
                  <a:pt x="1054584" y="3396292"/>
                  <a:pt x="1052238" y="3393943"/>
                  <a:pt x="1049888" y="3393943"/>
                </a:cubicBezTo>
                <a:close/>
                <a:moveTo>
                  <a:pt x="159715" y="3386896"/>
                </a:moveTo>
                <a:lnTo>
                  <a:pt x="164409" y="3393942"/>
                </a:lnTo>
                <a:lnTo>
                  <a:pt x="162060" y="3403338"/>
                </a:lnTo>
                <a:cubicBezTo>
                  <a:pt x="162060" y="3403338"/>
                  <a:pt x="159715" y="3403338"/>
                  <a:pt x="159715" y="3403338"/>
                </a:cubicBezTo>
                <a:lnTo>
                  <a:pt x="157364" y="3403338"/>
                </a:lnTo>
                <a:lnTo>
                  <a:pt x="152666" y="3393942"/>
                </a:lnTo>
                <a:close/>
                <a:moveTo>
                  <a:pt x="117450" y="3386896"/>
                </a:moveTo>
                <a:lnTo>
                  <a:pt x="124492" y="3393942"/>
                </a:lnTo>
                <a:lnTo>
                  <a:pt x="117450" y="3398640"/>
                </a:lnTo>
                <a:lnTo>
                  <a:pt x="108049" y="3396291"/>
                </a:lnTo>
                <a:close/>
                <a:moveTo>
                  <a:pt x="742210" y="3379850"/>
                </a:moveTo>
                <a:lnTo>
                  <a:pt x="751602" y="3379850"/>
                </a:lnTo>
                <a:lnTo>
                  <a:pt x="758653" y="3386896"/>
                </a:lnTo>
                <a:lnTo>
                  <a:pt x="739860" y="3393943"/>
                </a:lnTo>
                <a:lnTo>
                  <a:pt x="735161" y="3389245"/>
                </a:lnTo>
                <a:lnTo>
                  <a:pt x="735161" y="3382199"/>
                </a:lnTo>
                <a:close/>
                <a:moveTo>
                  <a:pt x="133892" y="3379850"/>
                </a:moveTo>
                <a:lnTo>
                  <a:pt x="140934" y="3384548"/>
                </a:lnTo>
                <a:lnTo>
                  <a:pt x="133892" y="3391594"/>
                </a:lnTo>
                <a:lnTo>
                  <a:pt x="126833" y="3384548"/>
                </a:lnTo>
                <a:close/>
                <a:moveTo>
                  <a:pt x="1031098" y="3377502"/>
                </a:moveTo>
                <a:lnTo>
                  <a:pt x="1028748" y="3382199"/>
                </a:lnTo>
                <a:lnTo>
                  <a:pt x="1031098" y="3386897"/>
                </a:lnTo>
                <a:lnTo>
                  <a:pt x="1035796" y="3382199"/>
                </a:lnTo>
                <a:close/>
                <a:moveTo>
                  <a:pt x="1544011" y="3376621"/>
                </a:moveTo>
                <a:cubicBezTo>
                  <a:pt x="1541957" y="3375740"/>
                  <a:pt x="1540786" y="3376327"/>
                  <a:pt x="1538436" y="3377502"/>
                </a:cubicBezTo>
                <a:cubicBezTo>
                  <a:pt x="1529038" y="3379851"/>
                  <a:pt x="1533736" y="3396292"/>
                  <a:pt x="1529038" y="3405687"/>
                </a:cubicBezTo>
                <a:cubicBezTo>
                  <a:pt x="1529038" y="3408036"/>
                  <a:pt x="1524344" y="3408036"/>
                  <a:pt x="1524344" y="3410385"/>
                </a:cubicBezTo>
                <a:cubicBezTo>
                  <a:pt x="1524344" y="3415083"/>
                  <a:pt x="1526694" y="3419780"/>
                  <a:pt x="1529038" y="3422129"/>
                </a:cubicBezTo>
                <a:cubicBezTo>
                  <a:pt x="1531386" y="3424477"/>
                  <a:pt x="1536086" y="3422129"/>
                  <a:pt x="1538436" y="3422129"/>
                </a:cubicBezTo>
                <a:cubicBezTo>
                  <a:pt x="1540786" y="3422129"/>
                  <a:pt x="1543131" y="3426826"/>
                  <a:pt x="1545479" y="3429175"/>
                </a:cubicBezTo>
                <a:cubicBezTo>
                  <a:pt x="1547828" y="3433872"/>
                  <a:pt x="1545479" y="3436221"/>
                  <a:pt x="1545479" y="3438570"/>
                </a:cubicBezTo>
                <a:cubicBezTo>
                  <a:pt x="1545479" y="3443268"/>
                  <a:pt x="1545479" y="3445616"/>
                  <a:pt x="1545479" y="3447965"/>
                </a:cubicBezTo>
                <a:cubicBezTo>
                  <a:pt x="1545479" y="3452663"/>
                  <a:pt x="1540786" y="3455012"/>
                  <a:pt x="1538436" y="3455012"/>
                </a:cubicBezTo>
                <a:cubicBezTo>
                  <a:pt x="1533736" y="3455012"/>
                  <a:pt x="1533736" y="3447965"/>
                  <a:pt x="1531386" y="3447965"/>
                </a:cubicBezTo>
                <a:cubicBezTo>
                  <a:pt x="1531386" y="3447965"/>
                  <a:pt x="1514946" y="3455012"/>
                  <a:pt x="1507901" y="3464407"/>
                </a:cubicBezTo>
                <a:cubicBezTo>
                  <a:pt x="1512596" y="3466756"/>
                  <a:pt x="1514946" y="3471453"/>
                  <a:pt x="1521993" y="3471453"/>
                </a:cubicBezTo>
                <a:cubicBezTo>
                  <a:pt x="1536086" y="3476151"/>
                  <a:pt x="1550179" y="3473802"/>
                  <a:pt x="1580714" y="3455012"/>
                </a:cubicBezTo>
                <a:cubicBezTo>
                  <a:pt x="1580714" y="3455012"/>
                  <a:pt x="1561921" y="3443268"/>
                  <a:pt x="1559573" y="3419780"/>
                </a:cubicBezTo>
                <a:lnTo>
                  <a:pt x="1554874" y="3384548"/>
                </a:lnTo>
                <a:cubicBezTo>
                  <a:pt x="1549003" y="3379850"/>
                  <a:pt x="1546068" y="3377501"/>
                  <a:pt x="1544011" y="3376621"/>
                </a:cubicBezTo>
                <a:close/>
                <a:moveTo>
                  <a:pt x="1284765" y="3375153"/>
                </a:moveTo>
                <a:lnTo>
                  <a:pt x="1251884" y="3382199"/>
                </a:lnTo>
                <a:cubicBezTo>
                  <a:pt x="1249534" y="3382199"/>
                  <a:pt x="1247184" y="3384548"/>
                  <a:pt x="1244836" y="3382199"/>
                </a:cubicBezTo>
                <a:cubicBezTo>
                  <a:pt x="1247184" y="3386897"/>
                  <a:pt x="1251884" y="3386897"/>
                  <a:pt x="1251884" y="3391595"/>
                </a:cubicBezTo>
                <a:cubicBezTo>
                  <a:pt x="1251884" y="3396292"/>
                  <a:pt x="1247184" y="3398641"/>
                  <a:pt x="1247184" y="3400990"/>
                </a:cubicBezTo>
                <a:cubicBezTo>
                  <a:pt x="1247184" y="3405687"/>
                  <a:pt x="1249534" y="3408036"/>
                  <a:pt x="1251884" y="3410385"/>
                </a:cubicBezTo>
                <a:cubicBezTo>
                  <a:pt x="1251884" y="3410385"/>
                  <a:pt x="1254235" y="3410385"/>
                  <a:pt x="1256579" y="3410385"/>
                </a:cubicBezTo>
                <a:lnTo>
                  <a:pt x="1277719" y="3410385"/>
                </a:lnTo>
                <a:lnTo>
                  <a:pt x="1298858" y="3412734"/>
                </a:lnTo>
                <a:cubicBezTo>
                  <a:pt x="1298858" y="3417431"/>
                  <a:pt x="1298858" y="3419780"/>
                  <a:pt x="1301206" y="3422129"/>
                </a:cubicBezTo>
                <a:cubicBezTo>
                  <a:pt x="1301206" y="3424477"/>
                  <a:pt x="1301206" y="3424477"/>
                  <a:pt x="1301206" y="3424477"/>
                </a:cubicBezTo>
                <a:cubicBezTo>
                  <a:pt x="1301206" y="3424477"/>
                  <a:pt x="1303555" y="3422129"/>
                  <a:pt x="1305905" y="3422129"/>
                </a:cubicBezTo>
                <a:lnTo>
                  <a:pt x="1310605" y="3398641"/>
                </a:lnTo>
                <a:cubicBezTo>
                  <a:pt x="1310605" y="3398641"/>
                  <a:pt x="1312950" y="3396292"/>
                  <a:pt x="1312950" y="3396292"/>
                </a:cubicBezTo>
                <a:cubicBezTo>
                  <a:pt x="1319997" y="3386897"/>
                  <a:pt x="1317649" y="3389246"/>
                  <a:pt x="1327043" y="3386897"/>
                </a:cubicBezTo>
                <a:cubicBezTo>
                  <a:pt x="1327043" y="3386897"/>
                  <a:pt x="1322347" y="3384548"/>
                  <a:pt x="1310605" y="3377502"/>
                </a:cubicBezTo>
                <a:close/>
                <a:moveTo>
                  <a:pt x="930100" y="3370456"/>
                </a:moveTo>
                <a:lnTo>
                  <a:pt x="904263" y="3379851"/>
                </a:lnTo>
                <a:lnTo>
                  <a:pt x="930100" y="3382199"/>
                </a:lnTo>
                <a:lnTo>
                  <a:pt x="937148" y="3382199"/>
                </a:lnTo>
                <a:lnTo>
                  <a:pt x="934798" y="3372804"/>
                </a:lnTo>
                <a:cubicBezTo>
                  <a:pt x="934798" y="3372804"/>
                  <a:pt x="932448" y="3370456"/>
                  <a:pt x="930100" y="3370456"/>
                </a:cubicBezTo>
                <a:close/>
                <a:moveTo>
                  <a:pt x="378154" y="3370455"/>
                </a:moveTo>
                <a:lnTo>
                  <a:pt x="387548" y="3372804"/>
                </a:lnTo>
                <a:cubicBezTo>
                  <a:pt x="387548" y="3372804"/>
                  <a:pt x="392246" y="3377501"/>
                  <a:pt x="399291" y="3386896"/>
                </a:cubicBezTo>
                <a:lnTo>
                  <a:pt x="394596" y="3396292"/>
                </a:lnTo>
                <a:lnTo>
                  <a:pt x="373455" y="3379850"/>
                </a:lnTo>
                <a:cubicBezTo>
                  <a:pt x="373455" y="3379850"/>
                  <a:pt x="378154" y="3377501"/>
                  <a:pt x="378154" y="3370455"/>
                </a:cubicBezTo>
                <a:close/>
                <a:moveTo>
                  <a:pt x="3841592" y="3369721"/>
                </a:moveTo>
                <a:cubicBezTo>
                  <a:pt x="3821884" y="3367959"/>
                  <a:pt x="3798543" y="3388658"/>
                  <a:pt x="3800304" y="3408036"/>
                </a:cubicBezTo>
                <a:cubicBezTo>
                  <a:pt x="3828490" y="3408036"/>
                  <a:pt x="3805002" y="3433872"/>
                  <a:pt x="3849629" y="3436221"/>
                </a:cubicBezTo>
                <a:cubicBezTo>
                  <a:pt x="3863722" y="3403339"/>
                  <a:pt x="3844931" y="3403339"/>
                  <a:pt x="3859024" y="3379851"/>
                </a:cubicBezTo>
                <a:cubicBezTo>
                  <a:pt x="3854327" y="3373391"/>
                  <a:pt x="3848161" y="3370309"/>
                  <a:pt x="3841592" y="3369721"/>
                </a:cubicBezTo>
                <a:close/>
                <a:moveTo>
                  <a:pt x="695224" y="3365758"/>
                </a:moveTo>
                <a:cubicBezTo>
                  <a:pt x="678781" y="3365758"/>
                  <a:pt x="676431" y="3368107"/>
                  <a:pt x="667039" y="3379851"/>
                </a:cubicBezTo>
                <a:cubicBezTo>
                  <a:pt x="648246" y="3400990"/>
                  <a:pt x="664688" y="3389246"/>
                  <a:pt x="643548" y="3396292"/>
                </a:cubicBezTo>
                <a:cubicBezTo>
                  <a:pt x="643548" y="3396292"/>
                  <a:pt x="659991" y="3403339"/>
                  <a:pt x="667039" y="3405687"/>
                </a:cubicBezTo>
                <a:lnTo>
                  <a:pt x="725755" y="3410385"/>
                </a:lnTo>
                <a:cubicBezTo>
                  <a:pt x="725755" y="3410385"/>
                  <a:pt x="742197" y="3412734"/>
                  <a:pt x="749244" y="3415083"/>
                </a:cubicBezTo>
                <a:lnTo>
                  <a:pt x="831452" y="3408036"/>
                </a:lnTo>
                <a:cubicBezTo>
                  <a:pt x="838500" y="3403339"/>
                  <a:pt x="833800" y="3405687"/>
                  <a:pt x="843195" y="3398641"/>
                </a:cubicBezTo>
                <a:cubicBezTo>
                  <a:pt x="840850" y="3396292"/>
                  <a:pt x="838500" y="3391595"/>
                  <a:pt x="836149" y="3391595"/>
                </a:cubicBezTo>
                <a:cubicBezTo>
                  <a:pt x="831452" y="3391595"/>
                  <a:pt x="829102" y="3393943"/>
                  <a:pt x="826757" y="3393943"/>
                </a:cubicBezTo>
                <a:cubicBezTo>
                  <a:pt x="822057" y="3393943"/>
                  <a:pt x="819707" y="3393943"/>
                  <a:pt x="817359" y="3393943"/>
                </a:cubicBezTo>
                <a:cubicBezTo>
                  <a:pt x="803265" y="3393943"/>
                  <a:pt x="791521" y="3391595"/>
                  <a:pt x="779779" y="3389246"/>
                </a:cubicBezTo>
                <a:cubicBezTo>
                  <a:pt x="786824" y="3384548"/>
                  <a:pt x="791521" y="3375153"/>
                  <a:pt x="800917" y="3372804"/>
                </a:cubicBezTo>
                <a:cubicBezTo>
                  <a:pt x="840850" y="3365758"/>
                  <a:pt x="859637" y="3403339"/>
                  <a:pt x="866685" y="3405687"/>
                </a:cubicBezTo>
                <a:cubicBezTo>
                  <a:pt x="866685" y="3400990"/>
                  <a:pt x="869035" y="3398641"/>
                  <a:pt x="869035" y="3396292"/>
                </a:cubicBezTo>
                <a:cubicBezTo>
                  <a:pt x="869035" y="3391595"/>
                  <a:pt x="866685" y="3389246"/>
                  <a:pt x="869035" y="3386897"/>
                </a:cubicBezTo>
                <a:cubicBezTo>
                  <a:pt x="876077" y="3379851"/>
                  <a:pt x="885472" y="3382199"/>
                  <a:pt x="897220" y="3382199"/>
                </a:cubicBezTo>
                <a:cubicBezTo>
                  <a:pt x="897220" y="3382199"/>
                  <a:pt x="892520" y="3377502"/>
                  <a:pt x="890170" y="3375153"/>
                </a:cubicBezTo>
                <a:lnTo>
                  <a:pt x="880777" y="3372804"/>
                </a:lnTo>
                <a:lnTo>
                  <a:pt x="711666" y="3370456"/>
                </a:lnTo>
                <a:cubicBezTo>
                  <a:pt x="699919" y="3368107"/>
                  <a:pt x="695224" y="3365758"/>
                  <a:pt x="695224" y="3365758"/>
                </a:cubicBezTo>
                <a:close/>
                <a:moveTo>
                  <a:pt x="6020537" y="3364525"/>
                </a:moveTo>
                <a:lnTo>
                  <a:pt x="6025038" y="3369308"/>
                </a:lnTo>
                <a:lnTo>
                  <a:pt x="6024011" y="3369868"/>
                </a:lnTo>
                <a:cubicBezTo>
                  <a:pt x="6021369" y="3369868"/>
                  <a:pt x="6019167" y="3368547"/>
                  <a:pt x="6019387" y="3365905"/>
                </a:cubicBezTo>
                <a:close/>
                <a:moveTo>
                  <a:pt x="4782498" y="3359555"/>
                </a:moveTo>
                <a:cubicBezTo>
                  <a:pt x="4777984" y="3358564"/>
                  <a:pt x="4774461" y="3381025"/>
                  <a:pt x="4786792" y="3370456"/>
                </a:cubicBezTo>
                <a:cubicBezTo>
                  <a:pt x="4785618" y="3362822"/>
                  <a:pt x="4784003" y="3359886"/>
                  <a:pt x="4782498" y="3359555"/>
                </a:cubicBezTo>
                <a:close/>
                <a:moveTo>
                  <a:pt x="364061" y="3354013"/>
                </a:moveTo>
                <a:cubicBezTo>
                  <a:pt x="364061" y="3354013"/>
                  <a:pt x="364061" y="3354013"/>
                  <a:pt x="366411" y="3354013"/>
                </a:cubicBezTo>
                <a:lnTo>
                  <a:pt x="371107" y="3363408"/>
                </a:lnTo>
                <a:lnTo>
                  <a:pt x="361713" y="3365757"/>
                </a:lnTo>
                <a:close/>
                <a:moveTo>
                  <a:pt x="1261277" y="3344658"/>
                </a:moveTo>
                <a:cubicBezTo>
                  <a:pt x="1261277" y="3344658"/>
                  <a:pt x="1256579" y="3349336"/>
                  <a:pt x="1256579" y="3349336"/>
                </a:cubicBezTo>
                <a:lnTo>
                  <a:pt x="1284765" y="3358712"/>
                </a:lnTo>
                <a:cubicBezTo>
                  <a:pt x="1287115" y="3361061"/>
                  <a:pt x="1291812" y="3361061"/>
                  <a:pt x="1301206" y="3351665"/>
                </a:cubicBezTo>
                <a:cubicBezTo>
                  <a:pt x="1294162" y="3347004"/>
                  <a:pt x="1289462" y="3344658"/>
                  <a:pt x="1287115" y="3344658"/>
                </a:cubicBezTo>
                <a:cubicBezTo>
                  <a:pt x="1282420" y="3344658"/>
                  <a:pt x="1275370" y="3347004"/>
                  <a:pt x="1270672" y="3347004"/>
                </a:cubicBezTo>
                <a:cubicBezTo>
                  <a:pt x="1265977" y="3347004"/>
                  <a:pt x="1263627" y="3344658"/>
                  <a:pt x="1261277" y="3344658"/>
                </a:cubicBezTo>
                <a:close/>
                <a:moveTo>
                  <a:pt x="286550" y="3344658"/>
                </a:moveTo>
                <a:lnTo>
                  <a:pt x="281856" y="3351665"/>
                </a:lnTo>
                <a:cubicBezTo>
                  <a:pt x="279506" y="3356363"/>
                  <a:pt x="277156" y="3358712"/>
                  <a:pt x="274807" y="3361060"/>
                </a:cubicBezTo>
                <a:cubicBezTo>
                  <a:pt x="274807" y="3361060"/>
                  <a:pt x="277156" y="3363409"/>
                  <a:pt x="277156" y="3365758"/>
                </a:cubicBezTo>
                <a:lnTo>
                  <a:pt x="279506" y="3361060"/>
                </a:lnTo>
                <a:cubicBezTo>
                  <a:pt x="279506" y="3361060"/>
                  <a:pt x="288900" y="3354014"/>
                  <a:pt x="288900" y="3351665"/>
                </a:cubicBezTo>
                <a:close/>
                <a:moveTo>
                  <a:pt x="328830" y="3342305"/>
                </a:moveTo>
                <a:lnTo>
                  <a:pt x="328830" y="3354013"/>
                </a:lnTo>
                <a:lnTo>
                  <a:pt x="324134" y="3344657"/>
                </a:lnTo>
                <a:close/>
                <a:moveTo>
                  <a:pt x="6057481" y="3337608"/>
                </a:moveTo>
                <a:cubicBezTo>
                  <a:pt x="6045737" y="3351665"/>
                  <a:pt x="6064528" y="3351665"/>
                  <a:pt x="6066877" y="3361060"/>
                </a:cubicBezTo>
                <a:cubicBezTo>
                  <a:pt x="6076272" y="3347004"/>
                  <a:pt x="6059830" y="3344658"/>
                  <a:pt x="6057481" y="3337608"/>
                </a:cubicBezTo>
                <a:close/>
                <a:moveTo>
                  <a:pt x="462710" y="3332907"/>
                </a:moveTo>
                <a:cubicBezTo>
                  <a:pt x="467409" y="3339957"/>
                  <a:pt x="465059" y="3335256"/>
                  <a:pt x="472105" y="3342305"/>
                </a:cubicBezTo>
                <a:cubicBezTo>
                  <a:pt x="472105" y="3342305"/>
                  <a:pt x="474453" y="3344657"/>
                  <a:pt x="476802" y="3347004"/>
                </a:cubicBezTo>
                <a:lnTo>
                  <a:pt x="472105" y="3356362"/>
                </a:lnTo>
                <a:lnTo>
                  <a:pt x="453317" y="3356362"/>
                </a:lnTo>
                <a:lnTo>
                  <a:pt x="448616" y="3347004"/>
                </a:lnTo>
                <a:close/>
                <a:moveTo>
                  <a:pt x="389896" y="3332907"/>
                </a:moveTo>
                <a:lnTo>
                  <a:pt x="394596" y="3337608"/>
                </a:lnTo>
                <a:lnTo>
                  <a:pt x="389896" y="3347004"/>
                </a:lnTo>
                <a:lnTo>
                  <a:pt x="382854" y="3337608"/>
                </a:lnTo>
                <a:close/>
                <a:moveTo>
                  <a:pt x="2568371" y="3331731"/>
                </a:moveTo>
                <a:cubicBezTo>
                  <a:pt x="2567196" y="3329968"/>
                  <a:pt x="2566022" y="3329386"/>
                  <a:pt x="2562498" y="3332907"/>
                </a:cubicBezTo>
                <a:cubicBezTo>
                  <a:pt x="2560150" y="3337610"/>
                  <a:pt x="2569545" y="3344658"/>
                  <a:pt x="2574242" y="3337610"/>
                </a:cubicBezTo>
                <a:cubicBezTo>
                  <a:pt x="2570719" y="3336435"/>
                  <a:pt x="2569545" y="3333493"/>
                  <a:pt x="2568371" y="3331731"/>
                </a:cubicBezTo>
                <a:close/>
                <a:moveTo>
                  <a:pt x="2860793" y="3330561"/>
                </a:moveTo>
                <a:cubicBezTo>
                  <a:pt x="2844352" y="3325857"/>
                  <a:pt x="2823213" y="3358712"/>
                  <a:pt x="2839654" y="3363409"/>
                </a:cubicBezTo>
                <a:cubicBezTo>
                  <a:pt x="2846700" y="3349336"/>
                  <a:pt x="2851398" y="3335256"/>
                  <a:pt x="2860793" y="3330561"/>
                </a:cubicBezTo>
                <a:close/>
                <a:moveTo>
                  <a:pt x="869045" y="3328206"/>
                </a:moveTo>
                <a:lnTo>
                  <a:pt x="878444" y="3328206"/>
                </a:lnTo>
                <a:cubicBezTo>
                  <a:pt x="887836" y="3330561"/>
                  <a:pt x="894887" y="3335256"/>
                  <a:pt x="904279" y="3337608"/>
                </a:cubicBezTo>
                <a:cubicBezTo>
                  <a:pt x="904279" y="3337608"/>
                  <a:pt x="899581" y="3339957"/>
                  <a:pt x="897233" y="3344658"/>
                </a:cubicBezTo>
                <a:lnTo>
                  <a:pt x="871397" y="3339957"/>
                </a:lnTo>
                <a:lnTo>
                  <a:pt x="862001" y="3337608"/>
                </a:lnTo>
                <a:close/>
                <a:moveTo>
                  <a:pt x="2097443" y="3323513"/>
                </a:moveTo>
                <a:cubicBezTo>
                  <a:pt x="2088048" y="3330561"/>
                  <a:pt x="2078654" y="3332907"/>
                  <a:pt x="2069258" y="3344658"/>
                </a:cubicBezTo>
                <a:cubicBezTo>
                  <a:pt x="2097443" y="3356363"/>
                  <a:pt x="2062212" y="3342305"/>
                  <a:pt x="2062212" y="3361061"/>
                </a:cubicBezTo>
                <a:cubicBezTo>
                  <a:pt x="2069258" y="3363409"/>
                  <a:pt x="2066912" y="3368107"/>
                  <a:pt x="2071607" y="3370456"/>
                </a:cubicBezTo>
                <a:cubicBezTo>
                  <a:pt x="2078654" y="3358712"/>
                  <a:pt x="2088048" y="3358712"/>
                  <a:pt x="2097443" y="3356363"/>
                </a:cubicBezTo>
                <a:cubicBezTo>
                  <a:pt x="2083350" y="3347004"/>
                  <a:pt x="2120932" y="3335256"/>
                  <a:pt x="2097443" y="3323513"/>
                </a:cubicBezTo>
                <a:close/>
                <a:moveTo>
                  <a:pt x="1420995" y="3323513"/>
                </a:moveTo>
                <a:lnTo>
                  <a:pt x="1418645" y="3328206"/>
                </a:lnTo>
                <a:cubicBezTo>
                  <a:pt x="1418645" y="3328206"/>
                  <a:pt x="1420995" y="3330561"/>
                  <a:pt x="1420995" y="3330561"/>
                </a:cubicBezTo>
                <a:lnTo>
                  <a:pt x="1430390" y="3330561"/>
                </a:lnTo>
                <a:cubicBezTo>
                  <a:pt x="1430390" y="3330561"/>
                  <a:pt x="1432739" y="3328206"/>
                  <a:pt x="1432739" y="3328206"/>
                </a:cubicBezTo>
                <a:lnTo>
                  <a:pt x="1430390" y="3323513"/>
                </a:lnTo>
                <a:close/>
                <a:moveTo>
                  <a:pt x="413384" y="3323511"/>
                </a:moveTo>
                <a:lnTo>
                  <a:pt x="415734" y="3330561"/>
                </a:lnTo>
                <a:cubicBezTo>
                  <a:pt x="415734" y="3330561"/>
                  <a:pt x="413384" y="3332907"/>
                  <a:pt x="413384" y="3332907"/>
                </a:cubicBezTo>
                <a:lnTo>
                  <a:pt x="403989" y="3332907"/>
                </a:lnTo>
                <a:lnTo>
                  <a:pt x="401638" y="3330561"/>
                </a:lnTo>
                <a:lnTo>
                  <a:pt x="403989" y="3328206"/>
                </a:lnTo>
                <a:close/>
                <a:moveTo>
                  <a:pt x="253671" y="3321157"/>
                </a:moveTo>
                <a:lnTo>
                  <a:pt x="246622" y="3328206"/>
                </a:lnTo>
                <a:lnTo>
                  <a:pt x="253671" y="3332907"/>
                </a:lnTo>
                <a:lnTo>
                  <a:pt x="263063" y="3328206"/>
                </a:lnTo>
                <a:lnTo>
                  <a:pt x="265413" y="3321157"/>
                </a:lnTo>
                <a:cubicBezTo>
                  <a:pt x="265413" y="3321157"/>
                  <a:pt x="263063" y="3321157"/>
                  <a:pt x="263063" y="3321157"/>
                </a:cubicBezTo>
                <a:lnTo>
                  <a:pt x="256016" y="3321157"/>
                </a:lnTo>
                <a:cubicBezTo>
                  <a:pt x="256016" y="3321157"/>
                  <a:pt x="253671" y="3321157"/>
                  <a:pt x="253671" y="3321157"/>
                </a:cubicBezTo>
                <a:close/>
                <a:moveTo>
                  <a:pt x="1378718" y="3318807"/>
                </a:moveTo>
                <a:lnTo>
                  <a:pt x="1374019" y="3328206"/>
                </a:lnTo>
                <a:lnTo>
                  <a:pt x="1378718" y="3332907"/>
                </a:lnTo>
                <a:lnTo>
                  <a:pt x="1388112" y="3332907"/>
                </a:lnTo>
                <a:lnTo>
                  <a:pt x="1392810" y="3328206"/>
                </a:lnTo>
                <a:lnTo>
                  <a:pt x="1388112" y="3321157"/>
                </a:lnTo>
                <a:lnTo>
                  <a:pt x="1383414" y="3318807"/>
                </a:lnTo>
                <a:cubicBezTo>
                  <a:pt x="1381068" y="3318807"/>
                  <a:pt x="1381068" y="3318807"/>
                  <a:pt x="1378718" y="3318807"/>
                </a:cubicBezTo>
                <a:close/>
                <a:moveTo>
                  <a:pt x="2358156" y="3311755"/>
                </a:moveTo>
                <a:cubicBezTo>
                  <a:pt x="2332318" y="3325857"/>
                  <a:pt x="2301785" y="3325857"/>
                  <a:pt x="2280645" y="3354014"/>
                </a:cubicBezTo>
                <a:cubicBezTo>
                  <a:pt x="2297086" y="3368107"/>
                  <a:pt x="2285342" y="3393943"/>
                  <a:pt x="2299435" y="3408036"/>
                </a:cubicBezTo>
                <a:cubicBezTo>
                  <a:pt x="2299435" y="3408036"/>
                  <a:pt x="2304133" y="3396292"/>
                  <a:pt x="2304133" y="3396292"/>
                </a:cubicBezTo>
                <a:cubicBezTo>
                  <a:pt x="2376945" y="3433872"/>
                  <a:pt x="2416874" y="3375153"/>
                  <a:pt x="2358156" y="3311755"/>
                </a:cubicBezTo>
                <a:close/>
                <a:moveTo>
                  <a:pt x="49346" y="3302340"/>
                </a:moveTo>
                <a:cubicBezTo>
                  <a:pt x="49346" y="3302340"/>
                  <a:pt x="51679" y="3307040"/>
                  <a:pt x="51679" y="3307040"/>
                </a:cubicBezTo>
                <a:lnTo>
                  <a:pt x="56379" y="3316463"/>
                </a:lnTo>
                <a:lnTo>
                  <a:pt x="51679" y="3325857"/>
                </a:lnTo>
                <a:cubicBezTo>
                  <a:pt x="51679" y="3325857"/>
                  <a:pt x="49346" y="3328206"/>
                  <a:pt x="49346" y="3328206"/>
                </a:cubicBezTo>
                <a:lnTo>
                  <a:pt x="46978" y="3325857"/>
                </a:lnTo>
                <a:lnTo>
                  <a:pt x="42286" y="3316463"/>
                </a:lnTo>
                <a:lnTo>
                  <a:pt x="42286" y="3307040"/>
                </a:lnTo>
                <a:close/>
                <a:moveTo>
                  <a:pt x="5472636" y="3300006"/>
                </a:moveTo>
                <a:lnTo>
                  <a:pt x="5477334" y="3300006"/>
                </a:lnTo>
                <a:lnTo>
                  <a:pt x="5479682" y="3300006"/>
                </a:lnTo>
                <a:lnTo>
                  <a:pt x="5477334" y="3304697"/>
                </a:lnTo>
                <a:close/>
                <a:moveTo>
                  <a:pt x="5378685" y="3300002"/>
                </a:moveTo>
                <a:lnTo>
                  <a:pt x="5381034" y="3300002"/>
                </a:lnTo>
                <a:lnTo>
                  <a:pt x="5378685" y="3302342"/>
                </a:lnTo>
                <a:close/>
                <a:moveTo>
                  <a:pt x="507337" y="3292983"/>
                </a:moveTo>
                <a:lnTo>
                  <a:pt x="514388" y="3297674"/>
                </a:lnTo>
                <a:lnTo>
                  <a:pt x="507337" y="3304700"/>
                </a:lnTo>
                <a:lnTo>
                  <a:pt x="502639" y="3297674"/>
                </a:lnTo>
                <a:close/>
                <a:moveTo>
                  <a:pt x="455662" y="3292983"/>
                </a:moveTo>
                <a:lnTo>
                  <a:pt x="460359" y="3297674"/>
                </a:lnTo>
                <a:lnTo>
                  <a:pt x="455662" y="3302340"/>
                </a:lnTo>
                <a:lnTo>
                  <a:pt x="448616" y="3297674"/>
                </a:lnTo>
                <a:close/>
                <a:moveTo>
                  <a:pt x="575452" y="3290651"/>
                </a:moveTo>
                <a:lnTo>
                  <a:pt x="601293" y="3290651"/>
                </a:lnTo>
                <a:lnTo>
                  <a:pt x="608335" y="3297674"/>
                </a:lnTo>
                <a:lnTo>
                  <a:pt x="601293" y="3304700"/>
                </a:lnTo>
                <a:lnTo>
                  <a:pt x="575452" y="3300006"/>
                </a:lnTo>
                <a:lnTo>
                  <a:pt x="570758" y="3295314"/>
                </a:lnTo>
                <a:cubicBezTo>
                  <a:pt x="570758" y="3295314"/>
                  <a:pt x="573108" y="3292983"/>
                  <a:pt x="575452" y="3290651"/>
                </a:cubicBezTo>
                <a:close/>
                <a:moveTo>
                  <a:pt x="96307" y="3290651"/>
                </a:moveTo>
                <a:cubicBezTo>
                  <a:pt x="101007" y="3288292"/>
                  <a:pt x="105707" y="3288292"/>
                  <a:pt x="108049" y="3290651"/>
                </a:cubicBezTo>
                <a:cubicBezTo>
                  <a:pt x="108049" y="3290651"/>
                  <a:pt x="110408" y="3297674"/>
                  <a:pt x="112749" y="3300006"/>
                </a:cubicBezTo>
                <a:lnTo>
                  <a:pt x="136234" y="3325857"/>
                </a:lnTo>
                <a:cubicBezTo>
                  <a:pt x="136234" y="3325857"/>
                  <a:pt x="133892" y="3328207"/>
                  <a:pt x="133892" y="3330562"/>
                </a:cubicBezTo>
                <a:cubicBezTo>
                  <a:pt x="133892" y="3330562"/>
                  <a:pt x="131534" y="3328207"/>
                  <a:pt x="126850" y="3325857"/>
                </a:cubicBezTo>
                <a:lnTo>
                  <a:pt x="89265" y="3321158"/>
                </a:lnTo>
                <a:lnTo>
                  <a:pt x="72822" y="3309405"/>
                </a:lnTo>
                <a:lnTo>
                  <a:pt x="89265" y="3302342"/>
                </a:lnTo>
                <a:cubicBezTo>
                  <a:pt x="93965" y="3297674"/>
                  <a:pt x="93965" y="3292983"/>
                  <a:pt x="96307" y="3290651"/>
                </a:cubicBezTo>
                <a:close/>
                <a:moveTo>
                  <a:pt x="4335826" y="3289170"/>
                </a:moveTo>
                <a:cubicBezTo>
                  <a:pt x="4328193" y="3287717"/>
                  <a:pt x="4321734" y="3288292"/>
                  <a:pt x="4317036" y="3292983"/>
                </a:cubicBezTo>
                <a:cubicBezTo>
                  <a:pt x="4328780" y="3290651"/>
                  <a:pt x="4349919" y="3304700"/>
                  <a:pt x="4361663" y="3297674"/>
                </a:cubicBezTo>
                <a:cubicBezTo>
                  <a:pt x="4352268" y="3294162"/>
                  <a:pt x="4343460" y="3290651"/>
                  <a:pt x="4335826" y="3289170"/>
                </a:cubicBezTo>
                <a:close/>
                <a:moveTo>
                  <a:pt x="5850007" y="3288292"/>
                </a:moveTo>
                <a:lnTo>
                  <a:pt x="5855487" y="3288292"/>
                </a:lnTo>
                <a:lnTo>
                  <a:pt x="5853139" y="3300006"/>
                </a:lnTo>
                <a:cubicBezTo>
                  <a:pt x="5850790" y="3300006"/>
                  <a:pt x="5848441" y="3300006"/>
                  <a:pt x="5848441" y="3297674"/>
                </a:cubicBezTo>
                <a:lnTo>
                  <a:pt x="5846603" y="3290350"/>
                </a:lnTo>
                <a:lnTo>
                  <a:pt x="5848441" y="3290651"/>
                </a:lnTo>
                <a:close/>
                <a:moveTo>
                  <a:pt x="5465590" y="3288292"/>
                </a:moveTo>
                <a:lnTo>
                  <a:pt x="5465590" y="3292983"/>
                </a:lnTo>
                <a:cubicBezTo>
                  <a:pt x="5467938" y="3290624"/>
                  <a:pt x="5465590" y="3290624"/>
                  <a:pt x="5467938" y="3292983"/>
                </a:cubicBezTo>
                <a:lnTo>
                  <a:pt x="5465590" y="3295314"/>
                </a:lnTo>
                <a:lnTo>
                  <a:pt x="5463241" y="3292983"/>
                </a:lnTo>
                <a:cubicBezTo>
                  <a:pt x="5465590" y="3290624"/>
                  <a:pt x="5463241" y="3292983"/>
                  <a:pt x="5463241" y="3290624"/>
                </a:cubicBezTo>
                <a:cubicBezTo>
                  <a:pt x="5465590" y="3285933"/>
                  <a:pt x="5460892" y="3290624"/>
                  <a:pt x="5465590" y="3288292"/>
                </a:cubicBezTo>
                <a:close/>
                <a:moveTo>
                  <a:pt x="152668" y="3288292"/>
                </a:moveTo>
                <a:lnTo>
                  <a:pt x="157365" y="3290651"/>
                </a:lnTo>
                <a:cubicBezTo>
                  <a:pt x="157365" y="3290651"/>
                  <a:pt x="159715" y="3292983"/>
                  <a:pt x="159715" y="3295314"/>
                </a:cubicBezTo>
                <a:lnTo>
                  <a:pt x="164415" y="3300006"/>
                </a:lnTo>
                <a:lnTo>
                  <a:pt x="162065" y="3304700"/>
                </a:lnTo>
                <a:lnTo>
                  <a:pt x="152668" y="3304700"/>
                </a:lnTo>
                <a:lnTo>
                  <a:pt x="147972" y="3300006"/>
                </a:lnTo>
                <a:lnTo>
                  <a:pt x="147972" y="3290651"/>
                </a:lnTo>
                <a:close/>
                <a:moveTo>
                  <a:pt x="204342" y="3285961"/>
                </a:moveTo>
                <a:lnTo>
                  <a:pt x="194950" y="3292983"/>
                </a:lnTo>
                <a:lnTo>
                  <a:pt x="201995" y="3297674"/>
                </a:lnTo>
                <a:lnTo>
                  <a:pt x="209043" y="3292983"/>
                </a:lnTo>
                <a:close/>
                <a:moveTo>
                  <a:pt x="5482031" y="3285933"/>
                </a:moveTo>
                <a:cubicBezTo>
                  <a:pt x="5479682" y="3290624"/>
                  <a:pt x="5482031" y="3290624"/>
                  <a:pt x="5482031" y="3290624"/>
                </a:cubicBezTo>
                <a:lnTo>
                  <a:pt x="5479682" y="3288292"/>
                </a:lnTo>
                <a:close/>
                <a:moveTo>
                  <a:pt x="5413916" y="3283602"/>
                </a:moveTo>
                <a:lnTo>
                  <a:pt x="5413916" y="3288292"/>
                </a:lnTo>
                <a:lnTo>
                  <a:pt x="5413916" y="3290624"/>
                </a:lnTo>
                <a:lnTo>
                  <a:pt x="5413916" y="3292983"/>
                </a:lnTo>
                <a:lnTo>
                  <a:pt x="5411568" y="3292983"/>
                </a:lnTo>
                <a:cubicBezTo>
                  <a:pt x="5411568" y="3290624"/>
                  <a:pt x="5411568" y="3292983"/>
                  <a:pt x="5409219" y="3290624"/>
                </a:cubicBezTo>
                <a:lnTo>
                  <a:pt x="5409219" y="3285961"/>
                </a:lnTo>
                <a:close/>
                <a:moveTo>
                  <a:pt x="5449148" y="3281270"/>
                </a:moveTo>
                <a:lnTo>
                  <a:pt x="5451497" y="3281270"/>
                </a:lnTo>
                <a:lnTo>
                  <a:pt x="5451497" y="3283602"/>
                </a:lnTo>
                <a:close/>
                <a:moveTo>
                  <a:pt x="636520" y="3281270"/>
                </a:moveTo>
                <a:lnTo>
                  <a:pt x="648263" y="3283629"/>
                </a:lnTo>
                <a:cubicBezTo>
                  <a:pt x="648263" y="3283629"/>
                  <a:pt x="650613" y="3285961"/>
                  <a:pt x="660005" y="3295314"/>
                </a:cubicBezTo>
                <a:lnTo>
                  <a:pt x="648263" y="3304700"/>
                </a:lnTo>
                <a:cubicBezTo>
                  <a:pt x="643565" y="3302340"/>
                  <a:pt x="641221" y="3302340"/>
                  <a:pt x="638870" y="3302340"/>
                </a:cubicBezTo>
                <a:cubicBezTo>
                  <a:pt x="638870" y="3302340"/>
                  <a:pt x="636520" y="3302340"/>
                  <a:pt x="636520" y="3302340"/>
                </a:cubicBezTo>
                <a:lnTo>
                  <a:pt x="622428" y="3292983"/>
                </a:lnTo>
                <a:close/>
                <a:moveTo>
                  <a:pt x="5423312" y="3281205"/>
                </a:moveTo>
                <a:lnTo>
                  <a:pt x="5423312" y="3283551"/>
                </a:lnTo>
                <a:lnTo>
                  <a:pt x="5420963" y="3283551"/>
                </a:lnTo>
                <a:close/>
                <a:moveTo>
                  <a:pt x="3653286" y="3280118"/>
                </a:moveTo>
                <a:cubicBezTo>
                  <a:pt x="3637212" y="3282751"/>
                  <a:pt x="3621798" y="3295918"/>
                  <a:pt x="3628844" y="3311755"/>
                </a:cubicBezTo>
                <a:cubicBezTo>
                  <a:pt x="3635890" y="3323513"/>
                  <a:pt x="3666424" y="3335256"/>
                  <a:pt x="3680517" y="3300006"/>
                </a:cubicBezTo>
                <a:cubicBezTo>
                  <a:pt x="3675819" y="3295314"/>
                  <a:pt x="3671122" y="3288292"/>
                  <a:pt x="3668773" y="3281270"/>
                </a:cubicBezTo>
                <a:cubicBezTo>
                  <a:pt x="3664076" y="3279515"/>
                  <a:pt x="3658644" y="3279241"/>
                  <a:pt x="3653286" y="3280118"/>
                </a:cubicBezTo>
                <a:close/>
                <a:moveTo>
                  <a:pt x="735164" y="3278939"/>
                </a:moveTo>
                <a:cubicBezTo>
                  <a:pt x="753956" y="3276607"/>
                  <a:pt x="770398" y="3278939"/>
                  <a:pt x="789190" y="3281270"/>
                </a:cubicBezTo>
                <a:cubicBezTo>
                  <a:pt x="803281" y="3290651"/>
                  <a:pt x="819724" y="3300006"/>
                  <a:pt x="833817" y="3307040"/>
                </a:cubicBezTo>
                <a:cubicBezTo>
                  <a:pt x="817373" y="3307040"/>
                  <a:pt x="800931" y="3309406"/>
                  <a:pt x="784488" y="3309406"/>
                </a:cubicBezTo>
                <a:cubicBezTo>
                  <a:pt x="768045" y="3309406"/>
                  <a:pt x="751611" y="3302342"/>
                  <a:pt x="735164" y="3300006"/>
                </a:cubicBezTo>
                <a:cubicBezTo>
                  <a:pt x="721071" y="3297674"/>
                  <a:pt x="706979" y="3307040"/>
                  <a:pt x="692885" y="3304700"/>
                </a:cubicBezTo>
                <a:cubicBezTo>
                  <a:pt x="667050" y="3302342"/>
                  <a:pt x="664705" y="3295314"/>
                  <a:pt x="664705" y="3290651"/>
                </a:cubicBezTo>
                <a:cubicBezTo>
                  <a:pt x="664705" y="3290651"/>
                  <a:pt x="671747" y="3283629"/>
                  <a:pt x="676448" y="3281270"/>
                </a:cubicBezTo>
                <a:lnTo>
                  <a:pt x="718726" y="3285961"/>
                </a:lnTo>
                <a:cubicBezTo>
                  <a:pt x="725768" y="3283629"/>
                  <a:pt x="730468" y="3281270"/>
                  <a:pt x="735164" y="3278939"/>
                </a:cubicBezTo>
                <a:close/>
                <a:moveTo>
                  <a:pt x="5456194" y="3278911"/>
                </a:moveTo>
                <a:cubicBezTo>
                  <a:pt x="5460892" y="3281270"/>
                  <a:pt x="5456194" y="3281270"/>
                  <a:pt x="5458543" y="3285961"/>
                </a:cubicBezTo>
                <a:cubicBezTo>
                  <a:pt x="5453846" y="3290624"/>
                  <a:pt x="5456194" y="3288292"/>
                  <a:pt x="5453846" y="3288292"/>
                </a:cubicBezTo>
                <a:lnTo>
                  <a:pt x="5453846" y="3285961"/>
                </a:lnTo>
                <a:lnTo>
                  <a:pt x="5451497" y="3283602"/>
                </a:lnTo>
                <a:lnTo>
                  <a:pt x="5456194" y="3283602"/>
                </a:lnTo>
                <a:close/>
                <a:moveTo>
                  <a:pt x="5359895" y="3278911"/>
                </a:moveTo>
                <a:cubicBezTo>
                  <a:pt x="5357546" y="3285961"/>
                  <a:pt x="5359895" y="3285961"/>
                  <a:pt x="5355197" y="3285961"/>
                </a:cubicBezTo>
                <a:lnTo>
                  <a:pt x="5352849" y="3288292"/>
                </a:lnTo>
                <a:lnTo>
                  <a:pt x="5350500" y="3283602"/>
                </a:lnTo>
                <a:lnTo>
                  <a:pt x="5355197" y="3281270"/>
                </a:lnTo>
                <a:lnTo>
                  <a:pt x="5357546" y="3281270"/>
                </a:lnTo>
                <a:close/>
                <a:moveTo>
                  <a:pt x="4039256" y="3277266"/>
                </a:moveTo>
                <a:cubicBezTo>
                  <a:pt x="4030339" y="3280118"/>
                  <a:pt x="4026375" y="3299430"/>
                  <a:pt x="4042230" y="3297674"/>
                </a:cubicBezTo>
                <a:cubicBezTo>
                  <a:pt x="4044578" y="3290651"/>
                  <a:pt x="4046926" y="3285961"/>
                  <a:pt x="4049275" y="3281270"/>
                </a:cubicBezTo>
                <a:cubicBezTo>
                  <a:pt x="4045752" y="3277184"/>
                  <a:pt x="4042230" y="3276306"/>
                  <a:pt x="4039256" y="3277266"/>
                </a:cubicBezTo>
                <a:close/>
                <a:moveTo>
                  <a:pt x="371112" y="3276607"/>
                </a:moveTo>
                <a:lnTo>
                  <a:pt x="371112" y="3288292"/>
                </a:lnTo>
                <a:lnTo>
                  <a:pt x="380504" y="3290651"/>
                </a:lnTo>
                <a:cubicBezTo>
                  <a:pt x="380504" y="3290651"/>
                  <a:pt x="380504" y="3295314"/>
                  <a:pt x="382854" y="3297674"/>
                </a:cubicBezTo>
                <a:lnTo>
                  <a:pt x="389897" y="3302341"/>
                </a:lnTo>
                <a:lnTo>
                  <a:pt x="396941" y="3297674"/>
                </a:lnTo>
                <a:lnTo>
                  <a:pt x="394596" y="3288292"/>
                </a:lnTo>
                <a:cubicBezTo>
                  <a:pt x="394596" y="3288292"/>
                  <a:pt x="392247" y="3285961"/>
                  <a:pt x="389897" y="3283629"/>
                </a:cubicBezTo>
                <a:lnTo>
                  <a:pt x="380504" y="3285961"/>
                </a:lnTo>
                <a:lnTo>
                  <a:pt x="375805" y="3278939"/>
                </a:lnTo>
                <a:cubicBezTo>
                  <a:pt x="373456" y="3276607"/>
                  <a:pt x="373456" y="3276607"/>
                  <a:pt x="371112" y="3276607"/>
                </a:cubicBezTo>
                <a:close/>
                <a:moveTo>
                  <a:pt x="5345802" y="3276552"/>
                </a:moveTo>
                <a:lnTo>
                  <a:pt x="5345802" y="3278884"/>
                </a:lnTo>
                <a:lnTo>
                  <a:pt x="5343453" y="3278884"/>
                </a:lnTo>
                <a:close/>
                <a:moveTo>
                  <a:pt x="422782" y="3274271"/>
                </a:moveTo>
                <a:lnTo>
                  <a:pt x="429826" y="3278939"/>
                </a:lnTo>
                <a:lnTo>
                  <a:pt x="422782" y="3285961"/>
                </a:lnTo>
                <a:lnTo>
                  <a:pt x="418084" y="3278939"/>
                </a:lnTo>
                <a:close/>
                <a:moveTo>
                  <a:pt x="5430358" y="3274221"/>
                </a:moveTo>
                <a:cubicBezTo>
                  <a:pt x="5435055" y="3276580"/>
                  <a:pt x="5430358" y="3276580"/>
                  <a:pt x="5432706" y="3276580"/>
                </a:cubicBezTo>
                <a:cubicBezTo>
                  <a:pt x="5432706" y="3281243"/>
                  <a:pt x="5435055" y="3278911"/>
                  <a:pt x="5432706" y="3281243"/>
                </a:cubicBezTo>
                <a:lnTo>
                  <a:pt x="5430358" y="3281243"/>
                </a:lnTo>
                <a:cubicBezTo>
                  <a:pt x="5430358" y="3278911"/>
                  <a:pt x="5432706" y="3278911"/>
                  <a:pt x="5430358" y="3274221"/>
                </a:cubicBezTo>
                <a:close/>
                <a:moveTo>
                  <a:pt x="5319965" y="3274166"/>
                </a:moveTo>
                <a:lnTo>
                  <a:pt x="5317617" y="3278857"/>
                </a:lnTo>
                <a:lnTo>
                  <a:pt x="5315268" y="3276524"/>
                </a:lnTo>
                <a:close/>
                <a:moveTo>
                  <a:pt x="5810861" y="3271915"/>
                </a:moveTo>
                <a:lnTo>
                  <a:pt x="5811853" y="3272300"/>
                </a:lnTo>
                <a:lnTo>
                  <a:pt x="5811411" y="3273970"/>
                </a:lnTo>
                <a:cubicBezTo>
                  <a:pt x="5810861" y="3277485"/>
                  <a:pt x="5812622" y="3273089"/>
                  <a:pt x="5803814" y="3276607"/>
                </a:cubicBezTo>
                <a:lnTo>
                  <a:pt x="5807729" y="3272685"/>
                </a:lnTo>
                <a:close/>
                <a:moveTo>
                  <a:pt x="1167329" y="3271915"/>
                </a:moveTo>
                <a:cubicBezTo>
                  <a:pt x="1167329" y="3271915"/>
                  <a:pt x="1164979" y="3274248"/>
                  <a:pt x="1164979" y="3274248"/>
                </a:cubicBezTo>
                <a:lnTo>
                  <a:pt x="1167329" y="3281270"/>
                </a:lnTo>
                <a:lnTo>
                  <a:pt x="1176721" y="3278939"/>
                </a:lnTo>
                <a:lnTo>
                  <a:pt x="1183772" y="3274248"/>
                </a:lnTo>
                <a:lnTo>
                  <a:pt x="1176721" y="3271915"/>
                </a:lnTo>
                <a:close/>
                <a:moveTo>
                  <a:pt x="5362243" y="3271888"/>
                </a:moveTo>
                <a:cubicBezTo>
                  <a:pt x="5366941" y="3271888"/>
                  <a:pt x="5364592" y="3271888"/>
                  <a:pt x="5364592" y="3274221"/>
                </a:cubicBezTo>
                <a:lnTo>
                  <a:pt x="5366941" y="3274221"/>
                </a:lnTo>
                <a:cubicBezTo>
                  <a:pt x="5364592" y="3276580"/>
                  <a:pt x="5366941" y="3276580"/>
                  <a:pt x="5362243" y="3276580"/>
                </a:cubicBezTo>
                <a:lnTo>
                  <a:pt x="5359895" y="3278911"/>
                </a:lnTo>
                <a:cubicBezTo>
                  <a:pt x="5357546" y="3278911"/>
                  <a:pt x="5357546" y="3278911"/>
                  <a:pt x="5359895" y="3274221"/>
                </a:cubicBezTo>
                <a:cubicBezTo>
                  <a:pt x="5359895" y="3274221"/>
                  <a:pt x="5359895" y="3271888"/>
                  <a:pt x="5362243" y="3271888"/>
                </a:cubicBezTo>
                <a:close/>
                <a:moveTo>
                  <a:pt x="5812357" y="3270403"/>
                </a:moveTo>
                <a:lnTo>
                  <a:pt x="5811959" y="3271915"/>
                </a:lnTo>
                <a:lnTo>
                  <a:pt x="5810861" y="3271915"/>
                </a:lnTo>
                <a:close/>
                <a:moveTo>
                  <a:pt x="227836" y="3269574"/>
                </a:moveTo>
                <a:lnTo>
                  <a:pt x="220785" y="3276607"/>
                </a:lnTo>
                <a:lnTo>
                  <a:pt x="227836" y="3295314"/>
                </a:lnTo>
                <a:lnTo>
                  <a:pt x="237228" y="3274273"/>
                </a:lnTo>
                <a:close/>
                <a:moveTo>
                  <a:pt x="1066331" y="3269552"/>
                </a:moveTo>
                <a:lnTo>
                  <a:pt x="1059282" y="3271915"/>
                </a:lnTo>
                <a:lnTo>
                  <a:pt x="1063981" y="3278939"/>
                </a:lnTo>
                <a:lnTo>
                  <a:pt x="1073376" y="3278939"/>
                </a:lnTo>
                <a:lnTo>
                  <a:pt x="1082774" y="3276607"/>
                </a:lnTo>
                <a:cubicBezTo>
                  <a:pt x="1085119" y="3274248"/>
                  <a:pt x="1085119" y="3274248"/>
                  <a:pt x="1085119" y="3271915"/>
                </a:cubicBezTo>
                <a:cubicBezTo>
                  <a:pt x="1085119" y="3271915"/>
                  <a:pt x="1082774" y="3271915"/>
                  <a:pt x="1082774" y="3271915"/>
                </a:cubicBezTo>
                <a:lnTo>
                  <a:pt x="1075724" y="3269552"/>
                </a:lnTo>
                <a:close/>
                <a:moveTo>
                  <a:pt x="5862534" y="3269551"/>
                </a:moveTo>
                <a:lnTo>
                  <a:pt x="5865950" y="3270405"/>
                </a:lnTo>
                <a:lnTo>
                  <a:pt x="5867231" y="3274248"/>
                </a:lnTo>
                <a:lnTo>
                  <a:pt x="5862173" y="3271722"/>
                </a:lnTo>
                <a:close/>
                <a:moveTo>
                  <a:pt x="5751903" y="3268974"/>
                </a:moveTo>
                <a:lnTo>
                  <a:pt x="5750196" y="3273253"/>
                </a:lnTo>
                <a:lnTo>
                  <a:pt x="5748912" y="3271034"/>
                </a:lnTo>
                <a:close/>
                <a:moveTo>
                  <a:pt x="5812801" y="3268736"/>
                </a:moveTo>
                <a:lnTo>
                  <a:pt x="5813209" y="3269551"/>
                </a:lnTo>
                <a:lnTo>
                  <a:pt x="5812357" y="3270403"/>
                </a:lnTo>
                <a:close/>
                <a:moveTo>
                  <a:pt x="5813209" y="3267196"/>
                </a:moveTo>
                <a:lnTo>
                  <a:pt x="5812801" y="3268736"/>
                </a:lnTo>
                <a:lnTo>
                  <a:pt x="5812427" y="3267986"/>
                </a:lnTo>
                <a:close/>
                <a:moveTo>
                  <a:pt x="5766234" y="3267196"/>
                </a:moveTo>
                <a:lnTo>
                  <a:pt x="5766234" y="3271915"/>
                </a:lnTo>
                <a:lnTo>
                  <a:pt x="5762711" y="3269552"/>
                </a:lnTo>
                <a:close/>
                <a:moveTo>
                  <a:pt x="5343453" y="3267163"/>
                </a:moveTo>
                <a:cubicBezTo>
                  <a:pt x="5345802" y="3264804"/>
                  <a:pt x="5345802" y="3264804"/>
                  <a:pt x="5348150" y="3267163"/>
                </a:cubicBezTo>
                <a:cubicBezTo>
                  <a:pt x="5343453" y="3269499"/>
                  <a:pt x="5345802" y="3267163"/>
                  <a:pt x="5343453" y="3271861"/>
                </a:cubicBezTo>
                <a:cubicBezTo>
                  <a:pt x="5341104" y="3269499"/>
                  <a:pt x="5343453" y="3267163"/>
                  <a:pt x="5343453" y="3267163"/>
                </a:cubicBezTo>
                <a:close/>
                <a:moveTo>
                  <a:pt x="5390429" y="3267116"/>
                </a:moveTo>
                <a:lnTo>
                  <a:pt x="5395127" y="3267116"/>
                </a:lnTo>
                <a:lnTo>
                  <a:pt x="5392778" y="3269465"/>
                </a:lnTo>
                <a:close/>
                <a:moveTo>
                  <a:pt x="6028146" y="3263741"/>
                </a:moveTo>
                <a:lnTo>
                  <a:pt x="6030371" y="3263976"/>
                </a:lnTo>
                <a:lnTo>
                  <a:pt x="6029297" y="3267196"/>
                </a:lnTo>
                <a:close/>
                <a:moveTo>
                  <a:pt x="6017553" y="3262638"/>
                </a:moveTo>
                <a:lnTo>
                  <a:pt x="6017993" y="3262673"/>
                </a:lnTo>
                <a:lnTo>
                  <a:pt x="6022889" y="3263191"/>
                </a:lnTo>
                <a:lnTo>
                  <a:pt x="6017553" y="3267196"/>
                </a:lnTo>
                <a:close/>
                <a:moveTo>
                  <a:pt x="143276" y="3262502"/>
                </a:moveTo>
                <a:cubicBezTo>
                  <a:pt x="143276" y="3262502"/>
                  <a:pt x="145623" y="3264857"/>
                  <a:pt x="147972" y="3267197"/>
                </a:cubicBezTo>
                <a:lnTo>
                  <a:pt x="150322" y="3276607"/>
                </a:lnTo>
                <a:lnTo>
                  <a:pt x="147972" y="3285961"/>
                </a:lnTo>
                <a:lnTo>
                  <a:pt x="143276" y="3292983"/>
                </a:lnTo>
                <a:lnTo>
                  <a:pt x="136234" y="3285961"/>
                </a:lnTo>
                <a:lnTo>
                  <a:pt x="136234" y="3276607"/>
                </a:lnTo>
                <a:lnTo>
                  <a:pt x="136234" y="3267197"/>
                </a:lnTo>
                <a:close/>
                <a:moveTo>
                  <a:pt x="5406870" y="3262481"/>
                </a:moveTo>
                <a:lnTo>
                  <a:pt x="5411567" y="3264834"/>
                </a:lnTo>
                <a:lnTo>
                  <a:pt x="5411567" y="3269549"/>
                </a:lnTo>
                <a:lnTo>
                  <a:pt x="5409218" y="3271888"/>
                </a:lnTo>
                <a:lnTo>
                  <a:pt x="5413916" y="3274248"/>
                </a:lnTo>
                <a:cubicBezTo>
                  <a:pt x="5413916" y="3278911"/>
                  <a:pt x="5416265" y="3274248"/>
                  <a:pt x="5413916" y="3278911"/>
                </a:cubicBezTo>
                <a:cubicBezTo>
                  <a:pt x="5411567" y="3276580"/>
                  <a:pt x="5413916" y="3276580"/>
                  <a:pt x="5409218" y="3276580"/>
                </a:cubicBezTo>
                <a:cubicBezTo>
                  <a:pt x="5409218" y="3271888"/>
                  <a:pt x="5409218" y="3274248"/>
                  <a:pt x="5406870" y="3271888"/>
                </a:cubicBezTo>
                <a:lnTo>
                  <a:pt x="5409218" y="3269549"/>
                </a:lnTo>
                <a:cubicBezTo>
                  <a:pt x="5406870" y="3264834"/>
                  <a:pt x="5411567" y="3269549"/>
                  <a:pt x="5406870" y="3267188"/>
                </a:cubicBezTo>
                <a:cubicBezTo>
                  <a:pt x="5406870" y="3267188"/>
                  <a:pt x="5406870" y="3262481"/>
                  <a:pt x="5406870" y="3262481"/>
                </a:cubicBezTo>
                <a:close/>
                <a:moveTo>
                  <a:pt x="5336407" y="3262447"/>
                </a:moveTo>
                <a:lnTo>
                  <a:pt x="5336407" y="3267143"/>
                </a:lnTo>
                <a:lnTo>
                  <a:pt x="5334058" y="3267143"/>
                </a:lnTo>
                <a:cubicBezTo>
                  <a:pt x="5334058" y="3262447"/>
                  <a:pt x="5334058" y="3264803"/>
                  <a:pt x="5336407" y="3262447"/>
                </a:cubicBezTo>
                <a:close/>
                <a:moveTo>
                  <a:pt x="5472636" y="3262444"/>
                </a:moveTo>
                <a:cubicBezTo>
                  <a:pt x="5477334" y="3264797"/>
                  <a:pt x="5472636" y="3262444"/>
                  <a:pt x="5474985" y="3267139"/>
                </a:cubicBezTo>
                <a:lnTo>
                  <a:pt x="5472636" y="3267139"/>
                </a:lnTo>
                <a:cubicBezTo>
                  <a:pt x="5472636" y="3267139"/>
                  <a:pt x="5472636" y="3262444"/>
                  <a:pt x="5472636" y="3262444"/>
                </a:cubicBezTo>
                <a:close/>
                <a:moveTo>
                  <a:pt x="5604168" y="3262423"/>
                </a:moveTo>
                <a:lnTo>
                  <a:pt x="5606517" y="3267116"/>
                </a:lnTo>
                <a:lnTo>
                  <a:pt x="5604168" y="3267116"/>
                </a:lnTo>
                <a:close/>
                <a:moveTo>
                  <a:pt x="6031646" y="3260142"/>
                </a:moveTo>
                <a:lnTo>
                  <a:pt x="6038692" y="3264856"/>
                </a:lnTo>
                <a:lnTo>
                  <a:pt x="6030371" y="3263976"/>
                </a:lnTo>
                <a:close/>
                <a:moveTo>
                  <a:pt x="6026948" y="3260142"/>
                </a:moveTo>
                <a:lnTo>
                  <a:pt x="6028146" y="3263741"/>
                </a:lnTo>
                <a:lnTo>
                  <a:pt x="6022889" y="3263191"/>
                </a:lnTo>
                <a:close/>
                <a:moveTo>
                  <a:pt x="5449148" y="3260120"/>
                </a:moveTo>
                <a:cubicBezTo>
                  <a:pt x="5451497" y="3262474"/>
                  <a:pt x="5451497" y="3262474"/>
                  <a:pt x="5451497" y="3267179"/>
                </a:cubicBezTo>
                <a:cubicBezTo>
                  <a:pt x="5449148" y="3269524"/>
                  <a:pt x="5446800" y="3267179"/>
                  <a:pt x="5449148" y="3264821"/>
                </a:cubicBezTo>
                <a:cubicBezTo>
                  <a:pt x="5444451" y="3264821"/>
                  <a:pt x="5446800" y="3269524"/>
                  <a:pt x="5444451" y="3264821"/>
                </a:cubicBezTo>
                <a:lnTo>
                  <a:pt x="5446800" y="3264821"/>
                </a:lnTo>
                <a:lnTo>
                  <a:pt x="5449148" y="3262474"/>
                </a:lnTo>
                <a:cubicBezTo>
                  <a:pt x="5446800" y="3257766"/>
                  <a:pt x="5449148" y="3264821"/>
                  <a:pt x="5449148" y="3260120"/>
                </a:cubicBezTo>
                <a:close/>
                <a:moveTo>
                  <a:pt x="6017553" y="3257792"/>
                </a:moveTo>
                <a:lnTo>
                  <a:pt x="6017553" y="3262638"/>
                </a:lnTo>
                <a:lnTo>
                  <a:pt x="6011839" y="3262083"/>
                </a:lnTo>
                <a:close/>
                <a:moveTo>
                  <a:pt x="5702348" y="3257792"/>
                </a:moveTo>
                <a:lnTo>
                  <a:pt x="5710947" y="3257792"/>
                </a:lnTo>
                <a:lnTo>
                  <a:pt x="5711273" y="3262015"/>
                </a:lnTo>
                <a:lnTo>
                  <a:pt x="5709863" y="3262492"/>
                </a:lnTo>
                <a:lnTo>
                  <a:pt x="5703600" y="3260927"/>
                </a:lnTo>
                <a:close/>
                <a:moveTo>
                  <a:pt x="4328780" y="3257791"/>
                </a:moveTo>
                <a:cubicBezTo>
                  <a:pt x="4321733" y="3257791"/>
                  <a:pt x="4314687" y="3257791"/>
                  <a:pt x="4307641" y="3262494"/>
                </a:cubicBezTo>
                <a:cubicBezTo>
                  <a:pt x="4314687" y="3267196"/>
                  <a:pt x="4342872" y="3267196"/>
                  <a:pt x="4328780" y="3257791"/>
                </a:cubicBezTo>
                <a:close/>
                <a:moveTo>
                  <a:pt x="4275345" y="3256612"/>
                </a:moveTo>
                <a:cubicBezTo>
                  <a:pt x="4267125" y="3256031"/>
                  <a:pt x="4259491" y="3256612"/>
                  <a:pt x="4253619" y="3260142"/>
                </a:cubicBezTo>
                <a:cubicBezTo>
                  <a:pt x="4265363" y="3255436"/>
                  <a:pt x="4293548" y="3281270"/>
                  <a:pt x="4300594" y="3260142"/>
                </a:cubicBezTo>
                <a:cubicBezTo>
                  <a:pt x="4292374" y="3258964"/>
                  <a:pt x="4283566" y="3257205"/>
                  <a:pt x="4275345" y="3256612"/>
                </a:cubicBezTo>
                <a:close/>
                <a:moveTo>
                  <a:pt x="5395127" y="3255399"/>
                </a:moveTo>
                <a:cubicBezTo>
                  <a:pt x="5395127" y="3260096"/>
                  <a:pt x="5392778" y="3255399"/>
                  <a:pt x="5395127" y="3260096"/>
                </a:cubicBezTo>
                <a:lnTo>
                  <a:pt x="5392778" y="3257745"/>
                </a:lnTo>
                <a:close/>
                <a:moveTo>
                  <a:pt x="6003461" y="3253093"/>
                </a:moveTo>
                <a:lnTo>
                  <a:pt x="6006983" y="3261608"/>
                </a:lnTo>
                <a:lnTo>
                  <a:pt x="6011839" y="3262083"/>
                </a:lnTo>
                <a:lnTo>
                  <a:pt x="6008158" y="3264856"/>
                </a:lnTo>
                <a:cubicBezTo>
                  <a:pt x="5996414" y="3264856"/>
                  <a:pt x="6008158" y="3267196"/>
                  <a:pt x="5998763" y="3262492"/>
                </a:cubicBezTo>
                <a:close/>
                <a:moveTo>
                  <a:pt x="5987019" y="3253091"/>
                </a:moveTo>
                <a:lnTo>
                  <a:pt x="5996414" y="3253091"/>
                </a:lnTo>
                <a:lnTo>
                  <a:pt x="5996414" y="3260142"/>
                </a:lnTo>
                <a:cubicBezTo>
                  <a:pt x="5987019" y="3257792"/>
                  <a:pt x="5991716" y="3260142"/>
                  <a:pt x="5987019" y="3253091"/>
                </a:cubicBezTo>
                <a:close/>
                <a:moveTo>
                  <a:pt x="2017585" y="3250741"/>
                </a:moveTo>
                <a:lnTo>
                  <a:pt x="2017732" y="3251034"/>
                </a:lnTo>
                <a:lnTo>
                  <a:pt x="2008192" y="3262494"/>
                </a:lnTo>
                <a:lnTo>
                  <a:pt x="2008038" y="3262205"/>
                </a:lnTo>
                <a:close/>
                <a:moveTo>
                  <a:pt x="913658" y="3250741"/>
                </a:moveTo>
                <a:cubicBezTo>
                  <a:pt x="913658" y="3250741"/>
                  <a:pt x="911313" y="3253091"/>
                  <a:pt x="908962" y="3253091"/>
                </a:cubicBezTo>
                <a:lnTo>
                  <a:pt x="916007" y="3262494"/>
                </a:lnTo>
                <a:lnTo>
                  <a:pt x="923055" y="3269552"/>
                </a:lnTo>
                <a:lnTo>
                  <a:pt x="925405" y="3262494"/>
                </a:lnTo>
                <a:lnTo>
                  <a:pt x="918355" y="3253091"/>
                </a:lnTo>
                <a:cubicBezTo>
                  <a:pt x="916007" y="3253091"/>
                  <a:pt x="916007" y="3250741"/>
                  <a:pt x="913658" y="3250741"/>
                </a:cubicBezTo>
                <a:close/>
                <a:moveTo>
                  <a:pt x="5907050" y="3250068"/>
                </a:moveTo>
                <a:lnTo>
                  <a:pt x="5900114" y="3250742"/>
                </a:lnTo>
                <a:lnTo>
                  <a:pt x="5900938" y="3254031"/>
                </a:lnTo>
                <a:lnTo>
                  <a:pt x="5906279" y="3251035"/>
                </a:lnTo>
                <a:close/>
                <a:moveTo>
                  <a:pt x="5369290" y="3246031"/>
                </a:moveTo>
                <a:lnTo>
                  <a:pt x="5371639" y="3248383"/>
                </a:lnTo>
                <a:lnTo>
                  <a:pt x="5373987" y="3253083"/>
                </a:lnTo>
                <a:lnTo>
                  <a:pt x="5369290" y="3250734"/>
                </a:lnTo>
                <a:lnTo>
                  <a:pt x="5369290" y="3248383"/>
                </a:lnTo>
                <a:close/>
                <a:moveTo>
                  <a:pt x="5662887" y="3246029"/>
                </a:moveTo>
                <a:lnTo>
                  <a:pt x="5665236" y="3246029"/>
                </a:lnTo>
                <a:lnTo>
                  <a:pt x="5667585" y="3248376"/>
                </a:lnTo>
                <a:cubicBezTo>
                  <a:pt x="5665236" y="3253077"/>
                  <a:pt x="5669934" y="3250733"/>
                  <a:pt x="5665236" y="3253077"/>
                </a:cubicBezTo>
                <a:lnTo>
                  <a:pt x="5665236" y="3250733"/>
                </a:lnTo>
                <a:lnTo>
                  <a:pt x="5662887" y="3250733"/>
                </a:lnTo>
                <a:lnTo>
                  <a:pt x="5665236" y="3248376"/>
                </a:lnTo>
                <a:close/>
                <a:moveTo>
                  <a:pt x="68121" y="3243694"/>
                </a:moveTo>
                <a:lnTo>
                  <a:pt x="82223" y="3248399"/>
                </a:lnTo>
                <a:cubicBezTo>
                  <a:pt x="82223" y="3248399"/>
                  <a:pt x="82223" y="3250744"/>
                  <a:pt x="93965" y="3255450"/>
                </a:cubicBezTo>
                <a:lnTo>
                  <a:pt x="93965" y="3274271"/>
                </a:lnTo>
                <a:cubicBezTo>
                  <a:pt x="96307" y="3278939"/>
                  <a:pt x="98665" y="3281270"/>
                  <a:pt x="98665" y="3283629"/>
                </a:cubicBezTo>
                <a:cubicBezTo>
                  <a:pt x="98665" y="3285961"/>
                  <a:pt x="96307" y="3288292"/>
                  <a:pt x="93965" y="3288292"/>
                </a:cubicBezTo>
                <a:cubicBezTo>
                  <a:pt x="89265" y="3290651"/>
                  <a:pt x="79864" y="3285961"/>
                  <a:pt x="77522" y="3283629"/>
                </a:cubicBezTo>
                <a:cubicBezTo>
                  <a:pt x="77522" y="3283629"/>
                  <a:pt x="70463" y="3274271"/>
                  <a:pt x="75163" y="3269564"/>
                </a:cubicBezTo>
                <a:lnTo>
                  <a:pt x="79864" y="3264857"/>
                </a:lnTo>
                <a:lnTo>
                  <a:pt x="63421" y="3248399"/>
                </a:lnTo>
                <a:cubicBezTo>
                  <a:pt x="63421" y="3248399"/>
                  <a:pt x="65788" y="3246043"/>
                  <a:pt x="68121" y="3243694"/>
                </a:cubicBezTo>
                <a:close/>
                <a:moveTo>
                  <a:pt x="5345802" y="3243630"/>
                </a:moveTo>
                <a:lnTo>
                  <a:pt x="5348151" y="3245983"/>
                </a:lnTo>
                <a:lnTo>
                  <a:pt x="5345802" y="3245983"/>
                </a:lnTo>
                <a:close/>
                <a:moveTo>
                  <a:pt x="5303524" y="3241327"/>
                </a:moveTo>
                <a:cubicBezTo>
                  <a:pt x="5308221" y="3241327"/>
                  <a:pt x="5310570" y="3246023"/>
                  <a:pt x="5312919" y="3248376"/>
                </a:cubicBezTo>
                <a:cubicBezTo>
                  <a:pt x="5312919" y="3248376"/>
                  <a:pt x="5312919" y="3248376"/>
                  <a:pt x="5310570" y="3248376"/>
                </a:cubicBezTo>
                <a:cubicBezTo>
                  <a:pt x="5308221" y="3248376"/>
                  <a:pt x="5308221" y="3248376"/>
                  <a:pt x="5308221" y="3246023"/>
                </a:cubicBezTo>
                <a:close/>
                <a:moveTo>
                  <a:pt x="389897" y="3238995"/>
                </a:moveTo>
                <a:lnTo>
                  <a:pt x="382854" y="3246043"/>
                </a:lnTo>
                <a:lnTo>
                  <a:pt x="387548" y="3255452"/>
                </a:lnTo>
                <a:lnTo>
                  <a:pt x="389897" y="3246043"/>
                </a:lnTo>
                <a:close/>
                <a:moveTo>
                  <a:pt x="5660538" y="3238983"/>
                </a:moveTo>
                <a:lnTo>
                  <a:pt x="5658190" y="3241328"/>
                </a:lnTo>
                <a:lnTo>
                  <a:pt x="5660538" y="3241328"/>
                </a:lnTo>
                <a:lnTo>
                  <a:pt x="5660538" y="3243679"/>
                </a:lnTo>
                <a:lnTo>
                  <a:pt x="5658190" y="3246029"/>
                </a:lnTo>
                <a:cubicBezTo>
                  <a:pt x="5658190" y="3243679"/>
                  <a:pt x="5658190" y="3243679"/>
                  <a:pt x="5655841" y="3241328"/>
                </a:cubicBezTo>
                <a:close/>
                <a:moveTo>
                  <a:pt x="5362243" y="3238983"/>
                </a:moveTo>
                <a:lnTo>
                  <a:pt x="5364592" y="3238983"/>
                </a:lnTo>
                <a:lnTo>
                  <a:pt x="5366941" y="3238983"/>
                </a:lnTo>
                <a:lnTo>
                  <a:pt x="5369290" y="3241332"/>
                </a:lnTo>
                <a:cubicBezTo>
                  <a:pt x="5369290" y="3246031"/>
                  <a:pt x="5371639" y="3241332"/>
                  <a:pt x="5369290" y="3246031"/>
                </a:cubicBezTo>
                <a:lnTo>
                  <a:pt x="5369290" y="3243685"/>
                </a:lnTo>
                <a:lnTo>
                  <a:pt x="5364592" y="3246031"/>
                </a:lnTo>
                <a:lnTo>
                  <a:pt x="5364592" y="3241332"/>
                </a:lnTo>
                <a:close/>
                <a:moveTo>
                  <a:pt x="354669" y="3236645"/>
                </a:moveTo>
                <a:lnTo>
                  <a:pt x="349970" y="3243694"/>
                </a:lnTo>
                <a:lnTo>
                  <a:pt x="352319" y="3253094"/>
                </a:lnTo>
                <a:cubicBezTo>
                  <a:pt x="352319" y="3253094"/>
                  <a:pt x="354669" y="3255452"/>
                  <a:pt x="354669" y="3255452"/>
                </a:cubicBezTo>
                <a:lnTo>
                  <a:pt x="357014" y="3253094"/>
                </a:lnTo>
                <a:lnTo>
                  <a:pt x="359363" y="3243694"/>
                </a:lnTo>
                <a:close/>
                <a:moveTo>
                  <a:pt x="194950" y="3236645"/>
                </a:moveTo>
                <a:lnTo>
                  <a:pt x="187901" y="3241348"/>
                </a:lnTo>
                <a:lnTo>
                  <a:pt x="194950" y="3248400"/>
                </a:lnTo>
                <a:lnTo>
                  <a:pt x="197296" y="3241348"/>
                </a:lnTo>
                <a:close/>
                <a:moveTo>
                  <a:pt x="5846092" y="3236643"/>
                </a:moveTo>
                <a:lnTo>
                  <a:pt x="5848441" y="3243691"/>
                </a:lnTo>
                <a:lnTo>
                  <a:pt x="5836697" y="3243691"/>
                </a:lnTo>
                <a:lnTo>
                  <a:pt x="5843743" y="3250742"/>
                </a:lnTo>
                <a:lnTo>
                  <a:pt x="5848441" y="3243691"/>
                </a:lnTo>
                <a:lnTo>
                  <a:pt x="5855487" y="3236643"/>
                </a:lnTo>
                <a:close/>
                <a:moveTo>
                  <a:pt x="5651143" y="3236613"/>
                </a:moveTo>
                <a:lnTo>
                  <a:pt x="5655840" y="3241311"/>
                </a:lnTo>
                <a:cubicBezTo>
                  <a:pt x="5651143" y="3241311"/>
                  <a:pt x="5648794" y="3241311"/>
                  <a:pt x="5648794" y="3238967"/>
                </a:cubicBezTo>
                <a:cubicBezTo>
                  <a:pt x="5648794" y="3236613"/>
                  <a:pt x="5648794" y="3238967"/>
                  <a:pt x="5651143" y="3236613"/>
                </a:cubicBezTo>
                <a:close/>
                <a:moveTo>
                  <a:pt x="584850" y="3234294"/>
                </a:moveTo>
                <a:lnTo>
                  <a:pt x="587195" y="3238993"/>
                </a:lnTo>
                <a:lnTo>
                  <a:pt x="582500" y="3246043"/>
                </a:lnTo>
                <a:cubicBezTo>
                  <a:pt x="582500" y="3246043"/>
                  <a:pt x="582500" y="3248399"/>
                  <a:pt x="582500" y="3248399"/>
                </a:cubicBezTo>
                <a:lnTo>
                  <a:pt x="575452" y="3253094"/>
                </a:lnTo>
                <a:lnTo>
                  <a:pt x="570758" y="3248399"/>
                </a:lnTo>
                <a:lnTo>
                  <a:pt x="573108" y="3238993"/>
                </a:lnTo>
                <a:cubicBezTo>
                  <a:pt x="573108" y="3238993"/>
                  <a:pt x="575452" y="3236644"/>
                  <a:pt x="575452" y="3236644"/>
                </a:cubicBezTo>
                <a:close/>
                <a:moveTo>
                  <a:pt x="5359895" y="3234284"/>
                </a:moveTo>
                <a:lnTo>
                  <a:pt x="5362243" y="3238983"/>
                </a:lnTo>
                <a:lnTo>
                  <a:pt x="5359895" y="3241332"/>
                </a:lnTo>
                <a:lnTo>
                  <a:pt x="5359895" y="3238983"/>
                </a:lnTo>
                <a:lnTo>
                  <a:pt x="5357546" y="3238983"/>
                </a:lnTo>
                <a:lnTo>
                  <a:pt x="5359895" y="3236637"/>
                </a:lnTo>
                <a:cubicBezTo>
                  <a:pt x="5359895" y="3234284"/>
                  <a:pt x="5359895" y="3238983"/>
                  <a:pt x="5359895" y="3234284"/>
                </a:cubicBezTo>
                <a:close/>
                <a:moveTo>
                  <a:pt x="4453706" y="3232129"/>
                </a:moveTo>
                <a:cubicBezTo>
                  <a:pt x="4420676" y="3237082"/>
                  <a:pt x="4391609" y="3264850"/>
                  <a:pt x="4354616" y="3264850"/>
                </a:cubicBezTo>
                <a:cubicBezTo>
                  <a:pt x="4375755" y="3281270"/>
                  <a:pt x="4408638" y="3257791"/>
                  <a:pt x="4406289" y="3285961"/>
                </a:cubicBezTo>
                <a:cubicBezTo>
                  <a:pt x="4380453" y="3276607"/>
                  <a:pt x="4368709" y="3297674"/>
                  <a:pt x="4371058" y="3318807"/>
                </a:cubicBezTo>
                <a:cubicBezTo>
                  <a:pt x="4352267" y="3325857"/>
                  <a:pt x="4347570" y="3300006"/>
                  <a:pt x="4331129" y="3316463"/>
                </a:cubicBezTo>
                <a:cubicBezTo>
                  <a:pt x="4345221" y="3321157"/>
                  <a:pt x="4352267" y="3325857"/>
                  <a:pt x="4349919" y="3337610"/>
                </a:cubicBezTo>
                <a:cubicBezTo>
                  <a:pt x="4314687" y="3351665"/>
                  <a:pt x="4305292" y="3332907"/>
                  <a:pt x="4281804" y="3337610"/>
                </a:cubicBezTo>
                <a:cubicBezTo>
                  <a:pt x="4288850" y="3342305"/>
                  <a:pt x="4300594" y="3344658"/>
                  <a:pt x="4293548" y="3356363"/>
                </a:cubicBezTo>
                <a:cubicBezTo>
                  <a:pt x="4277107" y="3370456"/>
                  <a:pt x="4253619" y="3375153"/>
                  <a:pt x="4227782" y="3370456"/>
                </a:cubicBezTo>
                <a:cubicBezTo>
                  <a:pt x="4263014" y="3382199"/>
                  <a:pt x="4220736" y="3384548"/>
                  <a:pt x="4218387" y="3408036"/>
                </a:cubicBezTo>
                <a:cubicBezTo>
                  <a:pt x="4206643" y="3400990"/>
                  <a:pt x="4194899" y="3400990"/>
                  <a:pt x="4190202" y="3410385"/>
                </a:cubicBezTo>
                <a:cubicBezTo>
                  <a:pt x="4197248" y="3417431"/>
                  <a:pt x="4206643" y="3408036"/>
                  <a:pt x="4206643" y="3417431"/>
                </a:cubicBezTo>
                <a:cubicBezTo>
                  <a:pt x="4176109" y="3433872"/>
                  <a:pt x="4140877" y="3433872"/>
                  <a:pt x="4122087" y="3478499"/>
                </a:cubicBezTo>
                <a:cubicBezTo>
                  <a:pt x="4100948" y="3476151"/>
                  <a:pt x="4098599" y="3464407"/>
                  <a:pt x="4079810" y="3480848"/>
                </a:cubicBezTo>
                <a:cubicBezTo>
                  <a:pt x="4133831" y="3480848"/>
                  <a:pt x="4044578" y="3520778"/>
                  <a:pt x="4075111" y="3525475"/>
                </a:cubicBezTo>
                <a:cubicBezTo>
                  <a:pt x="4103297" y="3459709"/>
                  <a:pt x="4180806" y="3509034"/>
                  <a:pt x="4213690" y="3452663"/>
                </a:cubicBezTo>
                <a:cubicBezTo>
                  <a:pt x="4204294" y="3433872"/>
                  <a:pt x="4185504" y="3450314"/>
                  <a:pt x="4180806" y="3431524"/>
                </a:cubicBezTo>
                <a:cubicBezTo>
                  <a:pt x="4194899" y="3422129"/>
                  <a:pt x="4211341" y="3417431"/>
                  <a:pt x="4232480" y="3419780"/>
                </a:cubicBezTo>
                <a:cubicBezTo>
                  <a:pt x="4225434" y="3429175"/>
                  <a:pt x="4211341" y="3417431"/>
                  <a:pt x="4211341" y="3438570"/>
                </a:cubicBezTo>
                <a:cubicBezTo>
                  <a:pt x="4237177" y="3443268"/>
                  <a:pt x="4255968" y="3429175"/>
                  <a:pt x="4267712" y="3400990"/>
                </a:cubicBezTo>
                <a:cubicBezTo>
                  <a:pt x="4328780" y="3384548"/>
                  <a:pt x="4359314" y="3375153"/>
                  <a:pt x="4415684" y="3354014"/>
                </a:cubicBezTo>
                <a:cubicBezTo>
                  <a:pt x="4413336" y="3370456"/>
                  <a:pt x="4382802" y="3396292"/>
                  <a:pt x="4401592" y="3389246"/>
                </a:cubicBezTo>
                <a:cubicBezTo>
                  <a:pt x="4408638" y="3379851"/>
                  <a:pt x="4413336" y="3365758"/>
                  <a:pt x="4427428" y="3372804"/>
                </a:cubicBezTo>
                <a:cubicBezTo>
                  <a:pt x="4436824" y="3375153"/>
                  <a:pt x="4425080" y="3389246"/>
                  <a:pt x="4432126" y="3393943"/>
                </a:cubicBezTo>
                <a:cubicBezTo>
                  <a:pt x="4436824" y="3368107"/>
                  <a:pt x="4467358" y="3365758"/>
                  <a:pt x="4467358" y="3389246"/>
                </a:cubicBezTo>
                <a:cubicBezTo>
                  <a:pt x="4528426" y="3351665"/>
                  <a:pt x="4540170" y="3264850"/>
                  <a:pt x="4488497" y="3236641"/>
                </a:cubicBezTo>
                <a:cubicBezTo>
                  <a:pt x="4476166" y="3231356"/>
                  <a:pt x="4464716" y="3230474"/>
                  <a:pt x="4453706" y="3232129"/>
                </a:cubicBezTo>
                <a:close/>
                <a:moveTo>
                  <a:pt x="5564239" y="3231915"/>
                </a:moveTo>
                <a:lnTo>
                  <a:pt x="5566587" y="3231915"/>
                </a:lnTo>
                <a:cubicBezTo>
                  <a:pt x="5568936" y="3236612"/>
                  <a:pt x="5564239" y="3229564"/>
                  <a:pt x="5568936" y="3234261"/>
                </a:cubicBezTo>
                <a:lnTo>
                  <a:pt x="5566587" y="3234261"/>
                </a:lnTo>
                <a:cubicBezTo>
                  <a:pt x="5564239" y="3234261"/>
                  <a:pt x="5566587" y="3234261"/>
                  <a:pt x="5564239" y="3231915"/>
                </a:cubicBezTo>
                <a:close/>
                <a:moveTo>
                  <a:pt x="5646445" y="3231888"/>
                </a:moveTo>
                <a:lnTo>
                  <a:pt x="5646445" y="3234236"/>
                </a:lnTo>
                <a:lnTo>
                  <a:pt x="5641748" y="3234236"/>
                </a:lnTo>
                <a:close/>
                <a:moveTo>
                  <a:pt x="5296477" y="3229583"/>
                </a:moveTo>
                <a:lnTo>
                  <a:pt x="5301175" y="3234281"/>
                </a:lnTo>
                <a:lnTo>
                  <a:pt x="5301175" y="3236629"/>
                </a:lnTo>
                <a:lnTo>
                  <a:pt x="5303524" y="3238979"/>
                </a:lnTo>
                <a:cubicBezTo>
                  <a:pt x="5298826" y="3241329"/>
                  <a:pt x="5298826" y="3234281"/>
                  <a:pt x="5294129" y="3231929"/>
                </a:cubicBezTo>
                <a:close/>
                <a:moveTo>
                  <a:pt x="5632353" y="3229564"/>
                </a:moveTo>
                <a:lnTo>
                  <a:pt x="5634702" y="3231915"/>
                </a:lnTo>
                <a:cubicBezTo>
                  <a:pt x="5632353" y="3234261"/>
                  <a:pt x="5634702" y="3231915"/>
                  <a:pt x="5634702" y="3234261"/>
                </a:cubicBezTo>
                <a:lnTo>
                  <a:pt x="5632353" y="3234261"/>
                </a:lnTo>
                <a:close/>
                <a:moveTo>
                  <a:pt x="321784" y="3227243"/>
                </a:moveTo>
                <a:lnTo>
                  <a:pt x="295948" y="3234296"/>
                </a:lnTo>
                <a:lnTo>
                  <a:pt x="284200" y="3243694"/>
                </a:lnTo>
                <a:cubicBezTo>
                  <a:pt x="286550" y="3246043"/>
                  <a:pt x="286550" y="3246043"/>
                  <a:pt x="288900" y="3246043"/>
                </a:cubicBezTo>
                <a:cubicBezTo>
                  <a:pt x="291248" y="3246043"/>
                  <a:pt x="293598" y="3243694"/>
                  <a:pt x="295948" y="3243694"/>
                </a:cubicBezTo>
                <a:cubicBezTo>
                  <a:pt x="295948" y="3243694"/>
                  <a:pt x="302992" y="3241348"/>
                  <a:pt x="310041" y="3250745"/>
                </a:cubicBezTo>
                <a:lnTo>
                  <a:pt x="312391" y="3255452"/>
                </a:lnTo>
                <a:cubicBezTo>
                  <a:pt x="312391" y="3255452"/>
                  <a:pt x="319434" y="3253094"/>
                  <a:pt x="321784" y="3253094"/>
                </a:cubicBezTo>
                <a:lnTo>
                  <a:pt x="333528" y="3243694"/>
                </a:lnTo>
                <a:cubicBezTo>
                  <a:pt x="333528" y="3243694"/>
                  <a:pt x="333528" y="3241348"/>
                  <a:pt x="326484" y="3234296"/>
                </a:cubicBezTo>
                <a:close/>
                <a:moveTo>
                  <a:pt x="5888370" y="3224895"/>
                </a:moveTo>
                <a:lnTo>
                  <a:pt x="5878975" y="3234291"/>
                </a:lnTo>
                <a:lnTo>
                  <a:pt x="5888370" y="3238992"/>
                </a:lnTo>
                <a:close/>
                <a:moveTo>
                  <a:pt x="93965" y="3224895"/>
                </a:moveTo>
                <a:lnTo>
                  <a:pt x="117450" y="3236645"/>
                </a:lnTo>
                <a:cubicBezTo>
                  <a:pt x="117450" y="3236645"/>
                  <a:pt x="124492" y="3243694"/>
                  <a:pt x="126850" y="3246043"/>
                </a:cubicBezTo>
                <a:lnTo>
                  <a:pt x="124492" y="3274272"/>
                </a:lnTo>
                <a:cubicBezTo>
                  <a:pt x="122150" y="3276607"/>
                  <a:pt x="119791" y="3278939"/>
                  <a:pt x="117450" y="3278939"/>
                </a:cubicBezTo>
                <a:cubicBezTo>
                  <a:pt x="117450" y="3278939"/>
                  <a:pt x="115108" y="3276607"/>
                  <a:pt x="112749" y="3276607"/>
                </a:cubicBezTo>
                <a:lnTo>
                  <a:pt x="84564" y="3231944"/>
                </a:lnTo>
                <a:cubicBezTo>
                  <a:pt x="84564" y="3231944"/>
                  <a:pt x="91606" y="3227243"/>
                  <a:pt x="93965" y="3224895"/>
                </a:cubicBezTo>
                <a:close/>
                <a:moveTo>
                  <a:pt x="5345802" y="3224857"/>
                </a:moveTo>
                <a:lnTo>
                  <a:pt x="5348151" y="3224857"/>
                </a:lnTo>
                <a:lnTo>
                  <a:pt x="5348151" y="3227202"/>
                </a:lnTo>
                <a:lnTo>
                  <a:pt x="5345802" y="3227202"/>
                </a:lnTo>
                <a:close/>
                <a:moveTo>
                  <a:pt x="6006397" y="3224309"/>
                </a:moveTo>
                <a:cubicBezTo>
                  <a:pt x="6008745" y="3224309"/>
                  <a:pt x="6010507" y="3224895"/>
                  <a:pt x="6012855" y="3227241"/>
                </a:cubicBezTo>
                <a:lnTo>
                  <a:pt x="6005809" y="3234291"/>
                </a:lnTo>
                <a:lnTo>
                  <a:pt x="6001111" y="3230448"/>
                </a:lnTo>
                <a:lnTo>
                  <a:pt x="6001111" y="3224620"/>
                </a:lnTo>
                <a:close/>
                <a:moveTo>
                  <a:pt x="6001111" y="3222545"/>
                </a:moveTo>
                <a:lnTo>
                  <a:pt x="6001111" y="3224620"/>
                </a:lnTo>
                <a:lnTo>
                  <a:pt x="5998112" y="3224794"/>
                </a:lnTo>
                <a:close/>
                <a:moveTo>
                  <a:pt x="5984670" y="3222545"/>
                </a:moveTo>
                <a:lnTo>
                  <a:pt x="5991716" y="3229593"/>
                </a:lnTo>
                <a:lnTo>
                  <a:pt x="5993804" y="3228028"/>
                </a:lnTo>
                <a:lnTo>
                  <a:pt x="5999350" y="3229007"/>
                </a:lnTo>
                <a:lnTo>
                  <a:pt x="6001111" y="3230448"/>
                </a:lnTo>
                <a:lnTo>
                  <a:pt x="6001111" y="3231943"/>
                </a:lnTo>
                <a:lnTo>
                  <a:pt x="6010507" y="3238992"/>
                </a:lnTo>
                <a:lnTo>
                  <a:pt x="6003461" y="3253093"/>
                </a:lnTo>
                <a:lnTo>
                  <a:pt x="6003460" y="3253091"/>
                </a:lnTo>
                <a:lnTo>
                  <a:pt x="5996414" y="3253091"/>
                </a:lnTo>
                <a:lnTo>
                  <a:pt x="6001111" y="3246041"/>
                </a:lnTo>
                <a:lnTo>
                  <a:pt x="5984670" y="3246041"/>
                </a:lnTo>
                <a:cubicBezTo>
                  <a:pt x="5989368" y="3231943"/>
                  <a:pt x="5982321" y="3246041"/>
                  <a:pt x="5987019" y="3231943"/>
                </a:cubicBezTo>
                <a:lnTo>
                  <a:pt x="5982556" y="3227478"/>
                </a:lnTo>
                <a:lnTo>
                  <a:pt x="5982028" y="3226361"/>
                </a:lnTo>
                <a:close/>
                <a:moveTo>
                  <a:pt x="601293" y="3220195"/>
                </a:moveTo>
                <a:lnTo>
                  <a:pt x="643565" y="3220195"/>
                </a:lnTo>
                <a:cubicBezTo>
                  <a:pt x="643565" y="3220195"/>
                  <a:pt x="704633" y="3229594"/>
                  <a:pt x="737513" y="3241348"/>
                </a:cubicBezTo>
                <a:cubicBezTo>
                  <a:pt x="744560" y="3248400"/>
                  <a:pt x="749256" y="3253094"/>
                  <a:pt x="756304" y="3260144"/>
                </a:cubicBezTo>
                <a:lnTo>
                  <a:pt x="735164" y="3269573"/>
                </a:lnTo>
                <a:cubicBezTo>
                  <a:pt x="730468" y="3264858"/>
                  <a:pt x="728118" y="3257798"/>
                  <a:pt x="721076" y="3253094"/>
                </a:cubicBezTo>
                <a:cubicBezTo>
                  <a:pt x="716375" y="3250745"/>
                  <a:pt x="711676" y="3253094"/>
                  <a:pt x="706979" y="3253094"/>
                </a:cubicBezTo>
                <a:cubicBezTo>
                  <a:pt x="706979" y="3257798"/>
                  <a:pt x="706979" y="3260144"/>
                  <a:pt x="706979" y="3262504"/>
                </a:cubicBezTo>
                <a:cubicBezTo>
                  <a:pt x="704633" y="3267199"/>
                  <a:pt x="697583" y="3269573"/>
                  <a:pt x="692885" y="3267199"/>
                </a:cubicBezTo>
                <a:cubicBezTo>
                  <a:pt x="692885" y="3267199"/>
                  <a:pt x="690536" y="3257798"/>
                  <a:pt x="690536" y="3253094"/>
                </a:cubicBezTo>
                <a:lnTo>
                  <a:pt x="662355" y="3243694"/>
                </a:lnTo>
                <a:cubicBezTo>
                  <a:pt x="662355" y="3243694"/>
                  <a:pt x="660005" y="3241348"/>
                  <a:pt x="660005" y="3241348"/>
                </a:cubicBezTo>
                <a:cubicBezTo>
                  <a:pt x="643565" y="3236645"/>
                  <a:pt x="641221" y="3238993"/>
                  <a:pt x="634170" y="3250745"/>
                </a:cubicBezTo>
                <a:cubicBezTo>
                  <a:pt x="641221" y="3255453"/>
                  <a:pt x="645912" y="3257798"/>
                  <a:pt x="650613" y="3260144"/>
                </a:cubicBezTo>
                <a:cubicBezTo>
                  <a:pt x="641221" y="3267199"/>
                  <a:pt x="638870" y="3269573"/>
                  <a:pt x="627128" y="3267199"/>
                </a:cubicBezTo>
                <a:cubicBezTo>
                  <a:pt x="620080" y="3264858"/>
                  <a:pt x="615386" y="3260144"/>
                  <a:pt x="610685" y="3257798"/>
                </a:cubicBezTo>
                <a:cubicBezTo>
                  <a:pt x="613036" y="3253094"/>
                  <a:pt x="615386" y="3250745"/>
                  <a:pt x="617730" y="3248400"/>
                </a:cubicBezTo>
                <a:cubicBezTo>
                  <a:pt x="617730" y="3248400"/>
                  <a:pt x="608335" y="3236645"/>
                  <a:pt x="603643" y="3231944"/>
                </a:cubicBezTo>
                <a:close/>
                <a:moveTo>
                  <a:pt x="347620" y="3220195"/>
                </a:moveTo>
                <a:lnTo>
                  <a:pt x="342922" y="3227243"/>
                </a:lnTo>
                <a:lnTo>
                  <a:pt x="345271" y="3236645"/>
                </a:lnTo>
                <a:cubicBezTo>
                  <a:pt x="345271" y="3236645"/>
                  <a:pt x="347620" y="3238995"/>
                  <a:pt x="347620" y="3241348"/>
                </a:cubicBezTo>
                <a:lnTo>
                  <a:pt x="357014" y="3227243"/>
                </a:lnTo>
                <a:close/>
                <a:moveTo>
                  <a:pt x="220785" y="3220195"/>
                </a:moveTo>
                <a:cubicBezTo>
                  <a:pt x="220785" y="3220195"/>
                  <a:pt x="218435" y="3222544"/>
                  <a:pt x="218435" y="3224895"/>
                </a:cubicBezTo>
                <a:lnTo>
                  <a:pt x="213738" y="3231944"/>
                </a:lnTo>
                <a:lnTo>
                  <a:pt x="213738" y="3241348"/>
                </a:lnTo>
                <a:lnTo>
                  <a:pt x="220785" y="3250745"/>
                </a:lnTo>
                <a:lnTo>
                  <a:pt x="230182" y="3248400"/>
                </a:lnTo>
                <a:cubicBezTo>
                  <a:pt x="232530" y="3246043"/>
                  <a:pt x="232530" y="3246043"/>
                  <a:pt x="234879" y="3243694"/>
                </a:cubicBezTo>
                <a:cubicBezTo>
                  <a:pt x="234879" y="3243694"/>
                  <a:pt x="230182" y="3241348"/>
                  <a:pt x="225486" y="3234296"/>
                </a:cubicBezTo>
                <a:lnTo>
                  <a:pt x="225486" y="3224895"/>
                </a:lnTo>
                <a:cubicBezTo>
                  <a:pt x="223135" y="3222544"/>
                  <a:pt x="223135" y="3222544"/>
                  <a:pt x="220785" y="3220195"/>
                </a:cubicBezTo>
                <a:close/>
                <a:moveTo>
                  <a:pt x="5366941" y="3220153"/>
                </a:moveTo>
                <a:lnTo>
                  <a:pt x="5369290" y="3220153"/>
                </a:lnTo>
                <a:lnTo>
                  <a:pt x="5366941" y="3224850"/>
                </a:lnTo>
                <a:close/>
                <a:moveTo>
                  <a:pt x="5900114" y="3215498"/>
                </a:moveTo>
                <a:lnTo>
                  <a:pt x="5890719" y="3220192"/>
                </a:lnTo>
                <a:lnTo>
                  <a:pt x="5900114" y="3222545"/>
                </a:lnTo>
                <a:close/>
                <a:moveTo>
                  <a:pt x="958286" y="3215496"/>
                </a:moveTo>
                <a:lnTo>
                  <a:pt x="948890" y="3222544"/>
                </a:lnTo>
                <a:lnTo>
                  <a:pt x="958286" y="3224895"/>
                </a:lnTo>
                <a:lnTo>
                  <a:pt x="962983" y="3222544"/>
                </a:lnTo>
                <a:close/>
                <a:moveTo>
                  <a:pt x="5350500" y="3215461"/>
                </a:moveTo>
                <a:lnTo>
                  <a:pt x="5352849" y="3215461"/>
                </a:lnTo>
                <a:lnTo>
                  <a:pt x="5355197" y="3220157"/>
                </a:lnTo>
                <a:lnTo>
                  <a:pt x="5352849" y="3220157"/>
                </a:lnTo>
                <a:close/>
                <a:moveTo>
                  <a:pt x="5641749" y="3213146"/>
                </a:moveTo>
                <a:lnTo>
                  <a:pt x="5634708" y="3220186"/>
                </a:lnTo>
                <a:lnTo>
                  <a:pt x="5634714" y="3220192"/>
                </a:lnTo>
                <a:lnTo>
                  <a:pt x="5639387" y="3220192"/>
                </a:lnTo>
                <a:lnTo>
                  <a:pt x="5639399" y="3220183"/>
                </a:lnTo>
                <a:lnTo>
                  <a:pt x="5639399" y="3220192"/>
                </a:lnTo>
                <a:lnTo>
                  <a:pt x="5646446" y="3220192"/>
                </a:lnTo>
                <a:close/>
                <a:moveTo>
                  <a:pt x="5287083" y="3213129"/>
                </a:moveTo>
                <a:lnTo>
                  <a:pt x="5289432" y="3213129"/>
                </a:lnTo>
                <a:cubicBezTo>
                  <a:pt x="5294129" y="3213129"/>
                  <a:pt x="5294129" y="3215477"/>
                  <a:pt x="5294129" y="3217825"/>
                </a:cubicBezTo>
                <a:lnTo>
                  <a:pt x="5291780" y="3217825"/>
                </a:lnTo>
                <a:close/>
                <a:moveTo>
                  <a:pt x="913658" y="3210799"/>
                </a:moveTo>
                <a:lnTo>
                  <a:pt x="906612" y="3217847"/>
                </a:lnTo>
                <a:lnTo>
                  <a:pt x="913658" y="3224895"/>
                </a:lnTo>
                <a:lnTo>
                  <a:pt x="923055" y="3224895"/>
                </a:lnTo>
                <a:lnTo>
                  <a:pt x="932448" y="3222544"/>
                </a:lnTo>
                <a:cubicBezTo>
                  <a:pt x="932448" y="3220195"/>
                  <a:pt x="934798" y="3220195"/>
                  <a:pt x="934798" y="3217847"/>
                </a:cubicBezTo>
                <a:cubicBezTo>
                  <a:pt x="934798" y="3217847"/>
                  <a:pt x="932448" y="3215496"/>
                  <a:pt x="932448" y="3213146"/>
                </a:cubicBezTo>
                <a:lnTo>
                  <a:pt x="923055" y="3210799"/>
                </a:lnTo>
                <a:close/>
                <a:moveTo>
                  <a:pt x="5341104" y="3210769"/>
                </a:moveTo>
                <a:lnTo>
                  <a:pt x="5341104" y="3217819"/>
                </a:lnTo>
                <a:lnTo>
                  <a:pt x="5336407" y="3215466"/>
                </a:lnTo>
                <a:close/>
                <a:moveTo>
                  <a:pt x="5270641" y="3210769"/>
                </a:moveTo>
                <a:cubicBezTo>
                  <a:pt x="5272989" y="3210769"/>
                  <a:pt x="5270641" y="3208420"/>
                  <a:pt x="5272989" y="3210769"/>
                </a:cubicBezTo>
                <a:cubicBezTo>
                  <a:pt x="5265943" y="3213122"/>
                  <a:pt x="5270641" y="3213122"/>
                  <a:pt x="5268292" y="3213122"/>
                </a:cubicBezTo>
                <a:cubicBezTo>
                  <a:pt x="5268292" y="3213122"/>
                  <a:pt x="5268292" y="3210769"/>
                  <a:pt x="5270641" y="3210769"/>
                </a:cubicBezTo>
                <a:close/>
                <a:moveTo>
                  <a:pt x="5350499" y="3210766"/>
                </a:moveTo>
                <a:lnTo>
                  <a:pt x="5350499" y="3215463"/>
                </a:lnTo>
                <a:lnTo>
                  <a:pt x="5350499" y="3217814"/>
                </a:lnTo>
                <a:lnTo>
                  <a:pt x="5348151" y="3213113"/>
                </a:lnTo>
                <a:close/>
                <a:moveTo>
                  <a:pt x="871380" y="3208446"/>
                </a:moveTo>
                <a:lnTo>
                  <a:pt x="861985" y="3215496"/>
                </a:lnTo>
                <a:cubicBezTo>
                  <a:pt x="859637" y="3215496"/>
                  <a:pt x="859637" y="3217847"/>
                  <a:pt x="859637" y="3217847"/>
                </a:cubicBezTo>
                <a:cubicBezTo>
                  <a:pt x="859637" y="3217847"/>
                  <a:pt x="861985" y="3220195"/>
                  <a:pt x="861985" y="3220195"/>
                </a:cubicBezTo>
                <a:lnTo>
                  <a:pt x="871380" y="3224895"/>
                </a:lnTo>
                <a:lnTo>
                  <a:pt x="880777" y="3222544"/>
                </a:lnTo>
                <a:cubicBezTo>
                  <a:pt x="880777" y="3222544"/>
                  <a:pt x="883127" y="3220195"/>
                  <a:pt x="883127" y="3215496"/>
                </a:cubicBezTo>
                <a:lnTo>
                  <a:pt x="880777" y="3210799"/>
                </a:lnTo>
                <a:close/>
                <a:moveTo>
                  <a:pt x="5930648" y="3206104"/>
                </a:moveTo>
                <a:lnTo>
                  <a:pt x="5937694" y="3213146"/>
                </a:lnTo>
                <a:lnTo>
                  <a:pt x="5942392" y="3206104"/>
                </a:lnTo>
                <a:close/>
                <a:moveTo>
                  <a:pt x="5359895" y="3206080"/>
                </a:moveTo>
                <a:lnTo>
                  <a:pt x="5362243" y="3208432"/>
                </a:lnTo>
                <a:lnTo>
                  <a:pt x="5362243" y="3210777"/>
                </a:lnTo>
                <a:lnTo>
                  <a:pt x="5357546" y="3210777"/>
                </a:lnTo>
                <a:cubicBezTo>
                  <a:pt x="5357546" y="3208432"/>
                  <a:pt x="5357546" y="3208432"/>
                  <a:pt x="5359895" y="3206080"/>
                </a:cubicBezTo>
                <a:close/>
                <a:moveTo>
                  <a:pt x="6001111" y="3203752"/>
                </a:moveTo>
                <a:lnTo>
                  <a:pt x="5994065" y="3217847"/>
                </a:lnTo>
                <a:cubicBezTo>
                  <a:pt x="5996414" y="3217847"/>
                  <a:pt x="5998763" y="3222545"/>
                  <a:pt x="6001111" y="3203752"/>
                </a:cubicBezTo>
                <a:close/>
                <a:moveTo>
                  <a:pt x="5606517" y="3203752"/>
                </a:moveTo>
                <a:lnTo>
                  <a:pt x="5601819" y="3213146"/>
                </a:lnTo>
                <a:cubicBezTo>
                  <a:pt x="5604168" y="3217848"/>
                  <a:pt x="5605342" y="3218432"/>
                  <a:pt x="5605342" y="3219023"/>
                </a:cubicBezTo>
                <a:lnTo>
                  <a:pt x="5602574" y="3223635"/>
                </a:lnTo>
                <a:lnTo>
                  <a:pt x="5598213" y="3222763"/>
                </a:lnTo>
                <a:lnTo>
                  <a:pt x="5595360" y="3221076"/>
                </a:lnTo>
                <a:cubicBezTo>
                  <a:pt x="5595360" y="3220786"/>
                  <a:pt x="5597121" y="3220195"/>
                  <a:pt x="5599470" y="3215498"/>
                </a:cubicBezTo>
                <a:lnTo>
                  <a:pt x="5592424" y="3215498"/>
                </a:lnTo>
                <a:lnTo>
                  <a:pt x="5592424" y="3208446"/>
                </a:lnTo>
                <a:lnTo>
                  <a:pt x="5599470" y="3210801"/>
                </a:lnTo>
                <a:close/>
                <a:moveTo>
                  <a:pt x="1691104" y="3203751"/>
                </a:moveTo>
                <a:cubicBezTo>
                  <a:pt x="1662919" y="3203751"/>
                  <a:pt x="1634734" y="3210799"/>
                  <a:pt x="1606549" y="3220195"/>
                </a:cubicBezTo>
                <a:cubicBezTo>
                  <a:pt x="1543131" y="3241337"/>
                  <a:pt x="1406903" y="3307040"/>
                  <a:pt x="1366975" y="3473802"/>
                </a:cubicBezTo>
                <a:cubicBezTo>
                  <a:pt x="1348182" y="3553660"/>
                  <a:pt x="1352883" y="3642914"/>
                  <a:pt x="1392810" y="3734516"/>
                </a:cubicBezTo>
                <a:cubicBezTo>
                  <a:pt x="1392810" y="3736865"/>
                  <a:pt x="1395160" y="3736865"/>
                  <a:pt x="1395160" y="3739214"/>
                </a:cubicBezTo>
                <a:cubicBezTo>
                  <a:pt x="1411603" y="3727470"/>
                  <a:pt x="1428041" y="3715726"/>
                  <a:pt x="1446832" y="3703982"/>
                </a:cubicBezTo>
                <a:cubicBezTo>
                  <a:pt x="1418645" y="3633519"/>
                  <a:pt x="1420995" y="3551311"/>
                  <a:pt x="1439788" y="3494941"/>
                </a:cubicBezTo>
                <a:cubicBezTo>
                  <a:pt x="1484412" y="3370456"/>
                  <a:pt x="1590107" y="3339957"/>
                  <a:pt x="1632384" y="3347004"/>
                </a:cubicBezTo>
                <a:cubicBezTo>
                  <a:pt x="1733382" y="3351665"/>
                  <a:pt x="1761568" y="3403339"/>
                  <a:pt x="1770962" y="3445616"/>
                </a:cubicBezTo>
                <a:cubicBezTo>
                  <a:pt x="1770962" y="3452663"/>
                  <a:pt x="1773312" y="3459709"/>
                  <a:pt x="1773312" y="3466756"/>
                </a:cubicBezTo>
                <a:lnTo>
                  <a:pt x="1800581" y="3444536"/>
                </a:lnTo>
                <a:lnTo>
                  <a:pt x="1796359" y="3450387"/>
                </a:lnTo>
                <a:cubicBezTo>
                  <a:pt x="1801204" y="3449286"/>
                  <a:pt x="1833792" y="3425064"/>
                  <a:pt x="1874309" y="3391595"/>
                </a:cubicBezTo>
                <a:cubicBezTo>
                  <a:pt x="1895451" y="3375153"/>
                  <a:pt x="1916587" y="3354014"/>
                  <a:pt x="1937729" y="3335256"/>
                </a:cubicBezTo>
                <a:cubicBezTo>
                  <a:pt x="1918936" y="3307040"/>
                  <a:pt x="1895451" y="3278939"/>
                  <a:pt x="1867266" y="3257791"/>
                </a:cubicBezTo>
                <a:cubicBezTo>
                  <a:pt x="1857868" y="3260142"/>
                  <a:pt x="1850823" y="3264850"/>
                  <a:pt x="1841426" y="3267196"/>
                </a:cubicBezTo>
                <a:cubicBezTo>
                  <a:pt x="1824988" y="3271915"/>
                  <a:pt x="1806195" y="3274248"/>
                  <a:pt x="1789753" y="3271915"/>
                </a:cubicBezTo>
                <a:cubicBezTo>
                  <a:pt x="1756869" y="3269552"/>
                  <a:pt x="1728684" y="3250741"/>
                  <a:pt x="1712247" y="3234289"/>
                </a:cubicBezTo>
                <a:cubicBezTo>
                  <a:pt x="1702848" y="3222544"/>
                  <a:pt x="1695805" y="3213146"/>
                  <a:pt x="1691104" y="3203751"/>
                </a:cubicBezTo>
                <a:close/>
                <a:moveTo>
                  <a:pt x="5383383" y="3203741"/>
                </a:moveTo>
                <a:cubicBezTo>
                  <a:pt x="5385731" y="3206088"/>
                  <a:pt x="5383383" y="3208436"/>
                  <a:pt x="5385731" y="3208436"/>
                </a:cubicBezTo>
                <a:cubicBezTo>
                  <a:pt x="5385731" y="3210788"/>
                  <a:pt x="5383383" y="3208436"/>
                  <a:pt x="5385731" y="3210788"/>
                </a:cubicBezTo>
                <a:lnTo>
                  <a:pt x="5383383" y="3210788"/>
                </a:lnTo>
                <a:lnTo>
                  <a:pt x="5381034" y="3208436"/>
                </a:lnTo>
                <a:close/>
                <a:moveTo>
                  <a:pt x="5258897" y="3203728"/>
                </a:moveTo>
                <a:cubicBezTo>
                  <a:pt x="5263594" y="3206077"/>
                  <a:pt x="5261245" y="3203728"/>
                  <a:pt x="5263594" y="3208422"/>
                </a:cubicBezTo>
                <a:cubicBezTo>
                  <a:pt x="5263594" y="3208422"/>
                  <a:pt x="5261245" y="3208422"/>
                  <a:pt x="5261245" y="3208422"/>
                </a:cubicBezTo>
                <a:cubicBezTo>
                  <a:pt x="5258897" y="3208422"/>
                  <a:pt x="5258897" y="3206077"/>
                  <a:pt x="5258897" y="3203728"/>
                </a:cubicBezTo>
                <a:close/>
                <a:moveTo>
                  <a:pt x="5921253" y="3201403"/>
                </a:moveTo>
                <a:lnTo>
                  <a:pt x="5921253" y="3208446"/>
                </a:lnTo>
                <a:lnTo>
                  <a:pt x="5928299" y="3208446"/>
                </a:lnTo>
                <a:close/>
                <a:moveTo>
                  <a:pt x="5893068" y="3201403"/>
                </a:moveTo>
                <a:lnTo>
                  <a:pt x="5907160" y="3215498"/>
                </a:lnTo>
                <a:lnTo>
                  <a:pt x="5909509" y="3210801"/>
                </a:lnTo>
                <a:cubicBezTo>
                  <a:pt x="5904812" y="3201403"/>
                  <a:pt x="5907160" y="3201403"/>
                  <a:pt x="5893068" y="3201403"/>
                </a:cubicBezTo>
                <a:close/>
                <a:moveTo>
                  <a:pt x="4319385" y="3201403"/>
                </a:moveTo>
                <a:cubicBezTo>
                  <a:pt x="4309989" y="3220195"/>
                  <a:pt x="4319385" y="3231943"/>
                  <a:pt x="4319385" y="3248384"/>
                </a:cubicBezTo>
                <a:cubicBezTo>
                  <a:pt x="4328780" y="3229593"/>
                  <a:pt x="4347570" y="3243691"/>
                  <a:pt x="4352267" y="3222544"/>
                </a:cubicBezTo>
                <a:cubicBezTo>
                  <a:pt x="4345221" y="3203751"/>
                  <a:pt x="4326431" y="3220195"/>
                  <a:pt x="4319385" y="3201403"/>
                </a:cubicBezTo>
                <a:close/>
                <a:moveTo>
                  <a:pt x="1702848" y="3201403"/>
                </a:moveTo>
                <a:cubicBezTo>
                  <a:pt x="1707547" y="3206100"/>
                  <a:pt x="1712247" y="3213146"/>
                  <a:pt x="1716941" y="3217847"/>
                </a:cubicBezTo>
                <a:cubicBezTo>
                  <a:pt x="1733382" y="3234289"/>
                  <a:pt x="1749825" y="3246041"/>
                  <a:pt x="1768613" y="3253091"/>
                </a:cubicBezTo>
                <a:cubicBezTo>
                  <a:pt x="1773312" y="3248384"/>
                  <a:pt x="1754520" y="3234289"/>
                  <a:pt x="1749825" y="3224895"/>
                </a:cubicBezTo>
                <a:cubicBezTo>
                  <a:pt x="1747475" y="3220195"/>
                  <a:pt x="1749825" y="3220195"/>
                  <a:pt x="1756869" y="3220195"/>
                </a:cubicBezTo>
                <a:cubicBezTo>
                  <a:pt x="1763917" y="3222544"/>
                  <a:pt x="1780360" y="3227241"/>
                  <a:pt x="1806195" y="3222544"/>
                </a:cubicBezTo>
                <a:cubicBezTo>
                  <a:pt x="1787404" y="3224895"/>
                  <a:pt x="1768613" y="3220195"/>
                  <a:pt x="1754520" y="3210799"/>
                </a:cubicBezTo>
                <a:cubicBezTo>
                  <a:pt x="1752175" y="3210799"/>
                  <a:pt x="1749825" y="3208446"/>
                  <a:pt x="1747475" y="3206100"/>
                </a:cubicBezTo>
                <a:cubicBezTo>
                  <a:pt x="1733382" y="3203751"/>
                  <a:pt x="1721640" y="3203751"/>
                  <a:pt x="1702848" y="3201403"/>
                </a:cubicBezTo>
                <a:close/>
                <a:moveTo>
                  <a:pt x="5242456" y="3201382"/>
                </a:moveTo>
                <a:lnTo>
                  <a:pt x="5242456" y="3206080"/>
                </a:lnTo>
                <a:cubicBezTo>
                  <a:pt x="5242456" y="3208426"/>
                  <a:pt x="5242456" y="3206080"/>
                  <a:pt x="5240107" y="3208426"/>
                </a:cubicBezTo>
                <a:cubicBezTo>
                  <a:pt x="5237758" y="3199032"/>
                  <a:pt x="5240107" y="3203729"/>
                  <a:pt x="5242456" y="3201382"/>
                </a:cubicBezTo>
                <a:close/>
                <a:moveTo>
                  <a:pt x="5207224" y="3201377"/>
                </a:moveTo>
                <a:cubicBezTo>
                  <a:pt x="5204875" y="3206077"/>
                  <a:pt x="5209572" y="3206077"/>
                  <a:pt x="5204875" y="3208426"/>
                </a:cubicBezTo>
                <a:lnTo>
                  <a:pt x="5204875" y="3203728"/>
                </a:lnTo>
                <a:lnTo>
                  <a:pt x="5202526" y="3203728"/>
                </a:lnTo>
                <a:cubicBezTo>
                  <a:pt x="5202526" y="3201377"/>
                  <a:pt x="5202526" y="3201377"/>
                  <a:pt x="5207224" y="3201377"/>
                </a:cubicBezTo>
                <a:close/>
                <a:moveTo>
                  <a:pt x="5383089" y="3200804"/>
                </a:moveTo>
                <a:cubicBezTo>
                  <a:pt x="5382796" y="3200804"/>
                  <a:pt x="5382209" y="3201391"/>
                  <a:pt x="5383383" y="3203741"/>
                </a:cubicBezTo>
                <a:cubicBezTo>
                  <a:pt x="5381034" y="3203741"/>
                  <a:pt x="5381034" y="3203741"/>
                  <a:pt x="5378685" y="3203741"/>
                </a:cubicBezTo>
                <a:cubicBezTo>
                  <a:pt x="5378685" y="3203741"/>
                  <a:pt x="5378685" y="3201390"/>
                  <a:pt x="5381034" y="3201390"/>
                </a:cubicBezTo>
                <a:cubicBezTo>
                  <a:pt x="5383383" y="3201390"/>
                  <a:pt x="5383383" y="3200804"/>
                  <a:pt x="5383089" y="3200804"/>
                </a:cubicBezTo>
                <a:close/>
                <a:moveTo>
                  <a:pt x="5288844" y="3199622"/>
                </a:moveTo>
                <a:cubicBezTo>
                  <a:pt x="5288844" y="3199622"/>
                  <a:pt x="5288257" y="3200210"/>
                  <a:pt x="5289431" y="3201386"/>
                </a:cubicBezTo>
                <a:lnTo>
                  <a:pt x="5289431" y="3203732"/>
                </a:lnTo>
                <a:cubicBezTo>
                  <a:pt x="5284733" y="3203732"/>
                  <a:pt x="5284733" y="3203732"/>
                  <a:pt x="5282385" y="3201386"/>
                </a:cubicBezTo>
                <a:cubicBezTo>
                  <a:pt x="5284733" y="3201386"/>
                  <a:pt x="5282385" y="3201386"/>
                  <a:pt x="5284733" y="3201386"/>
                </a:cubicBezTo>
                <a:cubicBezTo>
                  <a:pt x="5288257" y="3200210"/>
                  <a:pt x="5288844" y="3199622"/>
                  <a:pt x="5288844" y="3199622"/>
                </a:cubicBezTo>
                <a:close/>
                <a:moveTo>
                  <a:pt x="103349" y="3199057"/>
                </a:moveTo>
                <a:cubicBezTo>
                  <a:pt x="105707" y="3203753"/>
                  <a:pt x="108049" y="3208452"/>
                  <a:pt x="110391" y="3213150"/>
                </a:cubicBezTo>
                <a:cubicBezTo>
                  <a:pt x="110391" y="3213150"/>
                  <a:pt x="117450" y="3215498"/>
                  <a:pt x="119791" y="3215498"/>
                </a:cubicBezTo>
                <a:cubicBezTo>
                  <a:pt x="115091" y="3215498"/>
                  <a:pt x="112749" y="3217847"/>
                  <a:pt x="110391" y="3217847"/>
                </a:cubicBezTo>
                <a:cubicBezTo>
                  <a:pt x="103349" y="3217847"/>
                  <a:pt x="96307" y="3213150"/>
                  <a:pt x="96307" y="3206104"/>
                </a:cubicBezTo>
                <a:cubicBezTo>
                  <a:pt x="96307" y="3203753"/>
                  <a:pt x="101007" y="3201406"/>
                  <a:pt x="103349" y="3199057"/>
                </a:cubicBezTo>
                <a:close/>
                <a:moveTo>
                  <a:pt x="5200178" y="3199032"/>
                </a:moveTo>
                <a:cubicBezTo>
                  <a:pt x="5200178" y="3206080"/>
                  <a:pt x="5200178" y="3201384"/>
                  <a:pt x="5197829" y="3206080"/>
                </a:cubicBezTo>
                <a:close/>
                <a:moveTo>
                  <a:pt x="1991749" y="3196705"/>
                </a:moveTo>
                <a:cubicBezTo>
                  <a:pt x="1989399" y="3203751"/>
                  <a:pt x="1987051" y="3210799"/>
                  <a:pt x="1984702" y="3217847"/>
                </a:cubicBezTo>
                <a:lnTo>
                  <a:pt x="2008038" y="3262205"/>
                </a:lnTo>
                <a:lnTo>
                  <a:pt x="2005841" y="3264850"/>
                </a:lnTo>
                <a:cubicBezTo>
                  <a:pt x="2008192" y="3264850"/>
                  <a:pt x="2008192" y="3267196"/>
                  <a:pt x="2008192" y="3267196"/>
                </a:cubicBezTo>
                <a:cubicBezTo>
                  <a:pt x="2010542" y="3262494"/>
                  <a:pt x="2015236" y="3260142"/>
                  <a:pt x="2017585" y="3257791"/>
                </a:cubicBezTo>
                <a:cubicBezTo>
                  <a:pt x="2019934" y="3257791"/>
                  <a:pt x="2022284" y="3255436"/>
                  <a:pt x="2019934" y="3255436"/>
                </a:cubicBezTo>
                <a:lnTo>
                  <a:pt x="2017732" y="3251034"/>
                </a:lnTo>
                <a:lnTo>
                  <a:pt x="2019934" y="3248384"/>
                </a:lnTo>
                <a:cubicBezTo>
                  <a:pt x="2010542" y="3231943"/>
                  <a:pt x="2001143" y="3213146"/>
                  <a:pt x="1991749" y="3196705"/>
                </a:cubicBezTo>
                <a:close/>
                <a:moveTo>
                  <a:pt x="5294129" y="3196653"/>
                </a:moveTo>
                <a:lnTo>
                  <a:pt x="5296477" y="3199003"/>
                </a:lnTo>
                <a:lnTo>
                  <a:pt x="5294129" y="3199003"/>
                </a:lnTo>
                <a:close/>
                <a:moveTo>
                  <a:pt x="5181387" y="3194332"/>
                </a:moveTo>
                <a:cubicBezTo>
                  <a:pt x="5179038" y="3199029"/>
                  <a:pt x="5181387" y="3191982"/>
                  <a:pt x="5181387" y="3196679"/>
                </a:cubicBezTo>
                <a:lnTo>
                  <a:pt x="5179038" y="3196679"/>
                </a:lnTo>
                <a:lnTo>
                  <a:pt x="5176690" y="3196679"/>
                </a:lnTo>
                <a:cubicBezTo>
                  <a:pt x="5176690" y="3194332"/>
                  <a:pt x="5176690" y="3194332"/>
                  <a:pt x="5181387" y="3194332"/>
                </a:cubicBezTo>
                <a:close/>
                <a:moveTo>
                  <a:pt x="5395127" y="3194316"/>
                </a:moveTo>
                <a:lnTo>
                  <a:pt x="5397475" y="3194316"/>
                </a:lnTo>
                <a:lnTo>
                  <a:pt x="5399824" y="3194316"/>
                </a:lnTo>
                <a:lnTo>
                  <a:pt x="5397475" y="3196664"/>
                </a:lnTo>
                <a:close/>
                <a:moveTo>
                  <a:pt x="5611214" y="3192007"/>
                </a:moveTo>
                <a:lnTo>
                  <a:pt x="5615832" y="3193302"/>
                </a:lnTo>
                <a:lnTo>
                  <a:pt x="5613829" y="3196307"/>
                </a:lnTo>
                <a:close/>
                <a:moveTo>
                  <a:pt x="5153202" y="3192003"/>
                </a:moveTo>
                <a:cubicBezTo>
                  <a:pt x="5155551" y="3194350"/>
                  <a:pt x="5155551" y="3194350"/>
                  <a:pt x="5157900" y="3196697"/>
                </a:cubicBezTo>
                <a:lnTo>
                  <a:pt x="5153202" y="3196697"/>
                </a:lnTo>
                <a:close/>
                <a:moveTo>
                  <a:pt x="5881324" y="3189661"/>
                </a:moveTo>
                <a:lnTo>
                  <a:pt x="5888370" y="3196705"/>
                </a:lnTo>
                <a:lnTo>
                  <a:pt x="5888370" y="3189661"/>
                </a:lnTo>
                <a:close/>
                <a:moveTo>
                  <a:pt x="5237758" y="3189645"/>
                </a:moveTo>
                <a:lnTo>
                  <a:pt x="5237758" y="3194341"/>
                </a:lnTo>
                <a:lnTo>
                  <a:pt x="5240107" y="3196687"/>
                </a:lnTo>
                <a:lnTo>
                  <a:pt x="5235410" y="3199038"/>
                </a:lnTo>
                <a:lnTo>
                  <a:pt x="5233061" y="3199038"/>
                </a:lnTo>
                <a:lnTo>
                  <a:pt x="5235410" y="3196687"/>
                </a:lnTo>
                <a:lnTo>
                  <a:pt x="5233061" y="3194341"/>
                </a:lnTo>
                <a:cubicBezTo>
                  <a:pt x="5233061" y="3191990"/>
                  <a:pt x="5233061" y="3194341"/>
                  <a:pt x="5233061" y="3191990"/>
                </a:cubicBezTo>
                <a:close/>
                <a:moveTo>
                  <a:pt x="5287082" y="3189636"/>
                </a:moveTo>
                <a:lnTo>
                  <a:pt x="5291780" y="3189636"/>
                </a:lnTo>
                <a:cubicBezTo>
                  <a:pt x="5289431" y="3194333"/>
                  <a:pt x="5294128" y="3191986"/>
                  <a:pt x="5289431" y="3194333"/>
                </a:cubicBezTo>
                <a:cubicBezTo>
                  <a:pt x="5284733" y="3191986"/>
                  <a:pt x="5287082" y="3194333"/>
                  <a:pt x="5287082" y="3189636"/>
                </a:cubicBezTo>
                <a:close/>
                <a:moveTo>
                  <a:pt x="5204875" y="3189608"/>
                </a:moveTo>
                <a:lnTo>
                  <a:pt x="5207224" y="3189608"/>
                </a:lnTo>
                <a:lnTo>
                  <a:pt x="5204875" y="3191956"/>
                </a:lnTo>
                <a:close/>
                <a:moveTo>
                  <a:pt x="5280036" y="3187295"/>
                </a:moveTo>
                <a:lnTo>
                  <a:pt x="5282385" y="3187295"/>
                </a:lnTo>
                <a:lnTo>
                  <a:pt x="5282385" y="3196691"/>
                </a:lnTo>
                <a:cubicBezTo>
                  <a:pt x="5280036" y="3194341"/>
                  <a:pt x="5277688" y="3191993"/>
                  <a:pt x="5277688" y="3189645"/>
                </a:cubicBezTo>
                <a:close/>
                <a:moveTo>
                  <a:pt x="5216619" y="3187275"/>
                </a:moveTo>
                <a:lnTo>
                  <a:pt x="5221316" y="3187275"/>
                </a:lnTo>
                <a:lnTo>
                  <a:pt x="5221316" y="3189627"/>
                </a:lnTo>
                <a:lnTo>
                  <a:pt x="5216619" y="3189627"/>
                </a:lnTo>
                <a:close/>
                <a:moveTo>
                  <a:pt x="5256548" y="3187259"/>
                </a:moveTo>
                <a:lnTo>
                  <a:pt x="5261245" y="3187259"/>
                </a:lnTo>
                <a:lnTo>
                  <a:pt x="5258897" y="3189605"/>
                </a:lnTo>
                <a:close/>
                <a:moveTo>
                  <a:pt x="5242456" y="3184937"/>
                </a:moveTo>
                <a:lnTo>
                  <a:pt x="5242456" y="3189635"/>
                </a:lnTo>
                <a:lnTo>
                  <a:pt x="5237758" y="3189635"/>
                </a:lnTo>
                <a:close/>
                <a:moveTo>
                  <a:pt x="542573" y="3180274"/>
                </a:moveTo>
                <a:cubicBezTo>
                  <a:pt x="547267" y="3180274"/>
                  <a:pt x="549615" y="3184971"/>
                  <a:pt x="551965" y="3184971"/>
                </a:cubicBezTo>
                <a:cubicBezTo>
                  <a:pt x="551965" y="3184971"/>
                  <a:pt x="559011" y="3182622"/>
                  <a:pt x="561358" y="3182622"/>
                </a:cubicBezTo>
                <a:lnTo>
                  <a:pt x="603643" y="3192015"/>
                </a:lnTo>
                <a:cubicBezTo>
                  <a:pt x="603643" y="3194367"/>
                  <a:pt x="605988" y="3194367"/>
                  <a:pt x="605988" y="3196710"/>
                </a:cubicBezTo>
                <a:cubicBezTo>
                  <a:pt x="605988" y="3199057"/>
                  <a:pt x="603643" y="3203754"/>
                  <a:pt x="601293" y="3203754"/>
                </a:cubicBezTo>
                <a:cubicBezTo>
                  <a:pt x="598943" y="3206104"/>
                  <a:pt x="594244" y="3203754"/>
                  <a:pt x="584850" y="3196710"/>
                </a:cubicBezTo>
                <a:cubicBezTo>
                  <a:pt x="584850" y="3196710"/>
                  <a:pt x="580152" y="3192015"/>
                  <a:pt x="566057" y="3192015"/>
                </a:cubicBezTo>
                <a:lnTo>
                  <a:pt x="540222" y="3194367"/>
                </a:lnTo>
                <a:cubicBezTo>
                  <a:pt x="537872" y="3192015"/>
                  <a:pt x="535524" y="3189667"/>
                  <a:pt x="533175" y="3187318"/>
                </a:cubicBezTo>
                <a:cubicBezTo>
                  <a:pt x="537872" y="3184971"/>
                  <a:pt x="540222" y="3180274"/>
                  <a:pt x="542573" y="3180274"/>
                </a:cubicBezTo>
                <a:close/>
                <a:moveTo>
                  <a:pt x="441569" y="3180272"/>
                </a:moveTo>
                <a:lnTo>
                  <a:pt x="450967" y="3182620"/>
                </a:lnTo>
                <a:lnTo>
                  <a:pt x="455662" y="3187317"/>
                </a:lnTo>
                <a:lnTo>
                  <a:pt x="448616" y="3189667"/>
                </a:lnTo>
                <a:lnTo>
                  <a:pt x="441569" y="3189667"/>
                </a:lnTo>
                <a:lnTo>
                  <a:pt x="436874" y="3187317"/>
                </a:lnTo>
                <a:close/>
                <a:moveTo>
                  <a:pt x="5975275" y="3180267"/>
                </a:moveTo>
                <a:lnTo>
                  <a:pt x="5975275" y="3189661"/>
                </a:lnTo>
                <a:cubicBezTo>
                  <a:pt x="5975275" y="3194359"/>
                  <a:pt x="5975275" y="3194359"/>
                  <a:pt x="5972926" y="3199052"/>
                </a:cubicBezTo>
                <a:lnTo>
                  <a:pt x="5979973" y="3206104"/>
                </a:lnTo>
                <a:lnTo>
                  <a:pt x="5984670" y="3203752"/>
                </a:lnTo>
                <a:lnTo>
                  <a:pt x="5982321" y="3210801"/>
                </a:lnTo>
                <a:lnTo>
                  <a:pt x="5975275" y="3210801"/>
                </a:lnTo>
                <a:lnTo>
                  <a:pt x="5979973" y="3217847"/>
                </a:lnTo>
                <a:lnTo>
                  <a:pt x="5989368" y="3210801"/>
                </a:lnTo>
                <a:lnTo>
                  <a:pt x="5982321" y="3194359"/>
                </a:lnTo>
                <a:cubicBezTo>
                  <a:pt x="5996414" y="3196705"/>
                  <a:pt x="5989368" y="3194359"/>
                  <a:pt x="5998763" y="3201403"/>
                </a:cubicBezTo>
                <a:lnTo>
                  <a:pt x="5996414" y="3187311"/>
                </a:lnTo>
                <a:cubicBezTo>
                  <a:pt x="5989368" y="3189661"/>
                  <a:pt x="5998763" y="3189661"/>
                  <a:pt x="5987019" y="3189661"/>
                </a:cubicBezTo>
                <a:lnTo>
                  <a:pt x="5977624" y="3189661"/>
                </a:lnTo>
                <a:lnTo>
                  <a:pt x="5977624" y="3180267"/>
                </a:lnTo>
                <a:close/>
                <a:moveTo>
                  <a:pt x="5524309" y="3180249"/>
                </a:moveTo>
                <a:lnTo>
                  <a:pt x="5526658" y="3180249"/>
                </a:lnTo>
                <a:cubicBezTo>
                  <a:pt x="5526658" y="3182599"/>
                  <a:pt x="5529007" y="3180249"/>
                  <a:pt x="5526658" y="3182599"/>
                </a:cubicBezTo>
                <a:cubicBezTo>
                  <a:pt x="5524309" y="3182599"/>
                  <a:pt x="5526658" y="3180249"/>
                  <a:pt x="5524309" y="3182599"/>
                </a:cubicBezTo>
                <a:close/>
                <a:moveTo>
                  <a:pt x="500295" y="3177922"/>
                </a:moveTo>
                <a:cubicBezTo>
                  <a:pt x="500295" y="3177922"/>
                  <a:pt x="502639" y="3177922"/>
                  <a:pt x="504987" y="3177922"/>
                </a:cubicBezTo>
                <a:lnTo>
                  <a:pt x="509687" y="3187317"/>
                </a:lnTo>
                <a:lnTo>
                  <a:pt x="502639" y="3192013"/>
                </a:lnTo>
                <a:lnTo>
                  <a:pt x="493244" y="3194362"/>
                </a:lnTo>
                <a:lnTo>
                  <a:pt x="488547" y="3187317"/>
                </a:lnTo>
                <a:lnTo>
                  <a:pt x="493244" y="3182622"/>
                </a:lnTo>
                <a:close/>
                <a:moveTo>
                  <a:pt x="5902463" y="3177912"/>
                </a:moveTo>
                <a:cubicBezTo>
                  <a:pt x="5893068" y="3184961"/>
                  <a:pt x="5893068" y="3182612"/>
                  <a:pt x="5893068" y="3194359"/>
                </a:cubicBezTo>
                <a:cubicBezTo>
                  <a:pt x="5897765" y="3192007"/>
                  <a:pt x="5902463" y="3184961"/>
                  <a:pt x="5902463" y="3177912"/>
                </a:cubicBezTo>
                <a:close/>
                <a:moveTo>
                  <a:pt x="5247153" y="3177894"/>
                </a:moveTo>
                <a:lnTo>
                  <a:pt x="5249501" y="3180243"/>
                </a:lnTo>
                <a:lnTo>
                  <a:pt x="5244804" y="3180243"/>
                </a:lnTo>
                <a:close/>
                <a:moveTo>
                  <a:pt x="5265944" y="3177874"/>
                </a:moveTo>
                <a:lnTo>
                  <a:pt x="5265944" y="3180223"/>
                </a:lnTo>
                <a:lnTo>
                  <a:pt x="5261246" y="3180223"/>
                </a:lnTo>
                <a:close/>
                <a:moveTo>
                  <a:pt x="5237758" y="3177857"/>
                </a:moveTo>
                <a:lnTo>
                  <a:pt x="5240107" y="3180205"/>
                </a:lnTo>
                <a:lnTo>
                  <a:pt x="5237758" y="3180205"/>
                </a:lnTo>
                <a:close/>
                <a:moveTo>
                  <a:pt x="5282385" y="3175519"/>
                </a:moveTo>
                <a:lnTo>
                  <a:pt x="5284733" y="3177868"/>
                </a:lnTo>
                <a:lnTo>
                  <a:pt x="5282385" y="3180218"/>
                </a:lnTo>
                <a:lnTo>
                  <a:pt x="5282385" y="3177868"/>
                </a:lnTo>
                <a:close/>
                <a:moveTo>
                  <a:pt x="3828564" y="3173475"/>
                </a:moveTo>
                <a:cubicBezTo>
                  <a:pt x="3821151" y="3176150"/>
                  <a:pt x="3814397" y="3186722"/>
                  <a:pt x="3812048" y="3210799"/>
                </a:cubicBezTo>
                <a:cubicBezTo>
                  <a:pt x="3878989" y="3228416"/>
                  <a:pt x="3850804" y="3165435"/>
                  <a:pt x="3828564" y="3173475"/>
                </a:cubicBezTo>
                <a:close/>
                <a:moveTo>
                  <a:pt x="5589994" y="3173301"/>
                </a:moveTo>
                <a:lnTo>
                  <a:pt x="5592424" y="3177912"/>
                </a:lnTo>
                <a:lnTo>
                  <a:pt x="5591250" y="3177912"/>
                </a:lnTo>
                <a:lnTo>
                  <a:pt x="5587727" y="3175561"/>
                </a:lnTo>
                <a:close/>
                <a:moveTo>
                  <a:pt x="789174" y="3173219"/>
                </a:moveTo>
                <a:lnTo>
                  <a:pt x="786824" y="3175561"/>
                </a:lnTo>
                <a:lnTo>
                  <a:pt x="782129" y="3184961"/>
                </a:lnTo>
                <a:lnTo>
                  <a:pt x="789174" y="3189660"/>
                </a:lnTo>
                <a:close/>
                <a:moveTo>
                  <a:pt x="5291780" y="3173176"/>
                </a:moveTo>
                <a:lnTo>
                  <a:pt x="5294129" y="3177873"/>
                </a:lnTo>
                <a:lnTo>
                  <a:pt x="5289432" y="3175524"/>
                </a:lnTo>
                <a:close/>
                <a:moveTo>
                  <a:pt x="5366941" y="3173172"/>
                </a:moveTo>
                <a:lnTo>
                  <a:pt x="5369290" y="3175522"/>
                </a:lnTo>
                <a:lnTo>
                  <a:pt x="5366941" y="3177869"/>
                </a:lnTo>
                <a:lnTo>
                  <a:pt x="5366941" y="3175522"/>
                </a:lnTo>
                <a:close/>
                <a:moveTo>
                  <a:pt x="6146734" y="3170882"/>
                </a:moveTo>
                <a:lnTo>
                  <a:pt x="6139274" y="3181659"/>
                </a:lnTo>
                <a:lnTo>
                  <a:pt x="6138221" y="3182332"/>
                </a:lnTo>
                <a:cubicBezTo>
                  <a:pt x="6133229" y="3187318"/>
                  <a:pt x="6129119" y="3192015"/>
                  <a:pt x="6125596" y="3192015"/>
                </a:cubicBezTo>
                <a:cubicBezTo>
                  <a:pt x="6131468" y="3188495"/>
                  <a:pt x="6135578" y="3185558"/>
                  <a:pt x="6138808" y="3182332"/>
                </a:cubicBezTo>
                <a:lnTo>
                  <a:pt x="6139274" y="3181659"/>
                </a:lnTo>
                <a:lnTo>
                  <a:pt x="6156129" y="3170882"/>
                </a:lnTo>
                <a:cubicBezTo>
                  <a:pt x="6149083" y="3187318"/>
                  <a:pt x="6130293" y="3196710"/>
                  <a:pt x="6120898" y="3210801"/>
                </a:cubicBezTo>
                <a:cubicBezTo>
                  <a:pt x="6139688" y="3203754"/>
                  <a:pt x="6153781" y="3189668"/>
                  <a:pt x="6167873" y="3177926"/>
                </a:cubicBezTo>
                <a:cubicBezTo>
                  <a:pt x="6172571" y="3192015"/>
                  <a:pt x="6151432" y="3201407"/>
                  <a:pt x="6139688" y="3208452"/>
                </a:cubicBezTo>
                <a:cubicBezTo>
                  <a:pt x="6144386" y="3215500"/>
                  <a:pt x="6156129" y="3208452"/>
                  <a:pt x="6163176" y="3208452"/>
                </a:cubicBezTo>
                <a:cubicBezTo>
                  <a:pt x="6156129" y="3215500"/>
                  <a:pt x="6139688" y="3215500"/>
                  <a:pt x="6123247" y="3217848"/>
                </a:cubicBezTo>
                <a:cubicBezTo>
                  <a:pt x="6134991" y="3227243"/>
                  <a:pt x="6151432" y="3227243"/>
                  <a:pt x="6170222" y="3227243"/>
                </a:cubicBezTo>
                <a:cubicBezTo>
                  <a:pt x="6160827" y="3241348"/>
                  <a:pt x="6113852" y="3229596"/>
                  <a:pt x="6116200" y="3217848"/>
                </a:cubicBezTo>
                <a:cubicBezTo>
                  <a:pt x="6113852" y="3210801"/>
                  <a:pt x="6113852" y="3227243"/>
                  <a:pt x="6104456" y="3222545"/>
                </a:cubicBezTo>
                <a:cubicBezTo>
                  <a:pt x="6125596" y="3243694"/>
                  <a:pt x="6167873" y="3246044"/>
                  <a:pt x="6184315" y="3271915"/>
                </a:cubicBezTo>
                <a:cubicBezTo>
                  <a:pt x="6149083" y="3262505"/>
                  <a:pt x="6125596" y="3241348"/>
                  <a:pt x="6095061" y="3227243"/>
                </a:cubicBezTo>
                <a:cubicBezTo>
                  <a:pt x="6106805" y="3220199"/>
                  <a:pt x="6116200" y="3213150"/>
                  <a:pt x="6120898" y="3199057"/>
                </a:cubicBezTo>
                <a:cubicBezTo>
                  <a:pt x="6111503" y="3210801"/>
                  <a:pt x="6097410" y="3217848"/>
                  <a:pt x="6088015" y="3229596"/>
                </a:cubicBezTo>
                <a:cubicBezTo>
                  <a:pt x="6127944" y="3250745"/>
                  <a:pt x="6156129" y="3285961"/>
                  <a:pt x="6193710" y="3309400"/>
                </a:cubicBezTo>
                <a:cubicBezTo>
                  <a:pt x="6151432" y="3297674"/>
                  <a:pt x="6111503" y="3260144"/>
                  <a:pt x="6078620" y="3229596"/>
                </a:cubicBezTo>
                <a:cubicBezTo>
                  <a:pt x="6102108" y="3210801"/>
                  <a:pt x="6113852" y="3180274"/>
                  <a:pt x="6146734" y="3170882"/>
                </a:cubicBezTo>
                <a:close/>
                <a:moveTo>
                  <a:pt x="5085086" y="3170868"/>
                </a:moveTo>
                <a:cubicBezTo>
                  <a:pt x="5075691" y="3168520"/>
                  <a:pt x="5068645" y="3170868"/>
                  <a:pt x="5063947" y="3175561"/>
                </a:cubicBezTo>
                <a:cubicBezTo>
                  <a:pt x="5073342" y="3177914"/>
                  <a:pt x="5082738" y="3184961"/>
                  <a:pt x="5085086" y="3170868"/>
                </a:cubicBezTo>
                <a:close/>
                <a:moveTo>
                  <a:pt x="5186085" y="3170861"/>
                </a:moveTo>
                <a:lnTo>
                  <a:pt x="5188434" y="3173209"/>
                </a:lnTo>
                <a:lnTo>
                  <a:pt x="5188434" y="3180254"/>
                </a:lnTo>
                <a:lnTo>
                  <a:pt x="5186085" y="3180254"/>
                </a:lnTo>
                <a:lnTo>
                  <a:pt x="5186085" y="3177906"/>
                </a:lnTo>
                <a:lnTo>
                  <a:pt x="5181388" y="3177906"/>
                </a:lnTo>
                <a:cubicBezTo>
                  <a:pt x="5181388" y="3173209"/>
                  <a:pt x="5183737" y="3175553"/>
                  <a:pt x="5186085" y="3170861"/>
                </a:cubicBezTo>
                <a:close/>
                <a:moveTo>
                  <a:pt x="5510217" y="3170842"/>
                </a:moveTo>
                <a:lnTo>
                  <a:pt x="5512566" y="3170842"/>
                </a:lnTo>
                <a:lnTo>
                  <a:pt x="5512566" y="3173191"/>
                </a:lnTo>
                <a:lnTo>
                  <a:pt x="5510217" y="3173191"/>
                </a:lnTo>
                <a:close/>
                <a:moveTo>
                  <a:pt x="5218968" y="3168501"/>
                </a:moveTo>
                <a:lnTo>
                  <a:pt x="5221316" y="3170850"/>
                </a:lnTo>
                <a:cubicBezTo>
                  <a:pt x="5221316" y="3173198"/>
                  <a:pt x="5221316" y="3170850"/>
                  <a:pt x="5221316" y="3173198"/>
                </a:cubicBezTo>
                <a:lnTo>
                  <a:pt x="5216619" y="3175546"/>
                </a:lnTo>
                <a:cubicBezTo>
                  <a:pt x="5216619" y="3170850"/>
                  <a:pt x="5218968" y="3175546"/>
                  <a:pt x="5216619" y="3170850"/>
                </a:cubicBezTo>
                <a:close/>
                <a:moveTo>
                  <a:pt x="5301175" y="3168493"/>
                </a:moveTo>
                <a:lnTo>
                  <a:pt x="5303523" y="3173191"/>
                </a:lnTo>
                <a:lnTo>
                  <a:pt x="5298826" y="3173191"/>
                </a:lnTo>
                <a:cubicBezTo>
                  <a:pt x="5301175" y="3170841"/>
                  <a:pt x="5301175" y="3173191"/>
                  <a:pt x="5298826" y="3170841"/>
                </a:cubicBezTo>
                <a:close/>
                <a:moveTo>
                  <a:pt x="357014" y="3166181"/>
                </a:moveTo>
                <a:lnTo>
                  <a:pt x="358031" y="3169393"/>
                </a:lnTo>
                <a:lnTo>
                  <a:pt x="357014" y="3170882"/>
                </a:lnTo>
                <a:lnTo>
                  <a:pt x="356344" y="3167101"/>
                </a:lnTo>
                <a:close/>
                <a:moveTo>
                  <a:pt x="5277688" y="3166153"/>
                </a:moveTo>
                <a:cubicBezTo>
                  <a:pt x="5282385" y="3166153"/>
                  <a:pt x="5284734" y="3168503"/>
                  <a:pt x="5287083" y="3170852"/>
                </a:cubicBezTo>
                <a:lnTo>
                  <a:pt x="5284734" y="3170852"/>
                </a:lnTo>
                <a:cubicBezTo>
                  <a:pt x="5282385" y="3170852"/>
                  <a:pt x="5280036" y="3168503"/>
                  <a:pt x="5277688" y="3166153"/>
                </a:cubicBezTo>
                <a:close/>
                <a:moveTo>
                  <a:pt x="5237758" y="3166115"/>
                </a:moveTo>
                <a:lnTo>
                  <a:pt x="5240107" y="3166115"/>
                </a:lnTo>
                <a:lnTo>
                  <a:pt x="5237758" y="3168461"/>
                </a:lnTo>
                <a:close/>
                <a:moveTo>
                  <a:pt x="5261245" y="3163812"/>
                </a:moveTo>
                <a:lnTo>
                  <a:pt x="5263594" y="3166162"/>
                </a:lnTo>
                <a:lnTo>
                  <a:pt x="5265943" y="3166162"/>
                </a:lnTo>
                <a:lnTo>
                  <a:pt x="5268292" y="3168512"/>
                </a:lnTo>
                <a:cubicBezTo>
                  <a:pt x="5265943" y="3170861"/>
                  <a:pt x="5268292" y="3168512"/>
                  <a:pt x="5268292" y="3170861"/>
                </a:cubicBezTo>
                <a:cubicBezTo>
                  <a:pt x="5261245" y="3170861"/>
                  <a:pt x="5265943" y="3170861"/>
                  <a:pt x="5263594" y="3170861"/>
                </a:cubicBezTo>
                <a:cubicBezTo>
                  <a:pt x="5263594" y="3173211"/>
                  <a:pt x="5263594" y="3173211"/>
                  <a:pt x="5265943" y="3175555"/>
                </a:cubicBezTo>
                <a:cubicBezTo>
                  <a:pt x="5265943" y="3175555"/>
                  <a:pt x="5263594" y="3175555"/>
                  <a:pt x="5263594" y="3175555"/>
                </a:cubicBezTo>
                <a:cubicBezTo>
                  <a:pt x="5261245" y="3175555"/>
                  <a:pt x="5261245" y="3175555"/>
                  <a:pt x="5258897" y="3173211"/>
                </a:cubicBezTo>
                <a:lnTo>
                  <a:pt x="5258897" y="3168512"/>
                </a:lnTo>
                <a:close/>
                <a:moveTo>
                  <a:pt x="5296478" y="3163767"/>
                </a:moveTo>
                <a:lnTo>
                  <a:pt x="5301176" y="3163767"/>
                </a:lnTo>
                <a:lnTo>
                  <a:pt x="5298827" y="3166117"/>
                </a:lnTo>
                <a:close/>
                <a:moveTo>
                  <a:pt x="6118550" y="3161471"/>
                </a:moveTo>
                <a:cubicBezTo>
                  <a:pt x="6116201" y="3170870"/>
                  <a:pt x="6111503" y="3177914"/>
                  <a:pt x="6106806" y="3184961"/>
                </a:cubicBezTo>
                <a:cubicBezTo>
                  <a:pt x="6106806" y="3184961"/>
                  <a:pt x="6104457" y="3184961"/>
                  <a:pt x="6104457" y="3184961"/>
                </a:cubicBezTo>
                <a:cubicBezTo>
                  <a:pt x="6104457" y="3184961"/>
                  <a:pt x="6104457" y="3187313"/>
                  <a:pt x="6104457" y="3189661"/>
                </a:cubicBezTo>
                <a:cubicBezTo>
                  <a:pt x="6095062" y="3201403"/>
                  <a:pt x="6078621" y="3213146"/>
                  <a:pt x="6064528" y="3222545"/>
                </a:cubicBezTo>
                <a:cubicBezTo>
                  <a:pt x="6104457" y="3267196"/>
                  <a:pt x="6146735" y="3307040"/>
                  <a:pt x="6184316" y="3354014"/>
                </a:cubicBezTo>
                <a:cubicBezTo>
                  <a:pt x="6163176" y="3347004"/>
                  <a:pt x="6153781" y="3328206"/>
                  <a:pt x="6134991" y="3318807"/>
                </a:cubicBezTo>
                <a:cubicBezTo>
                  <a:pt x="6151432" y="3339957"/>
                  <a:pt x="6165525" y="3361060"/>
                  <a:pt x="6184316" y="3379851"/>
                </a:cubicBezTo>
                <a:cubicBezTo>
                  <a:pt x="6179618" y="3379851"/>
                  <a:pt x="6174920" y="3377502"/>
                  <a:pt x="6172572" y="3375153"/>
                </a:cubicBezTo>
                <a:cubicBezTo>
                  <a:pt x="6172572" y="3372804"/>
                  <a:pt x="6170223" y="3370455"/>
                  <a:pt x="6167874" y="3368107"/>
                </a:cubicBezTo>
                <a:cubicBezTo>
                  <a:pt x="6165525" y="3370455"/>
                  <a:pt x="6165525" y="3370455"/>
                  <a:pt x="6165525" y="3372804"/>
                </a:cubicBezTo>
                <a:cubicBezTo>
                  <a:pt x="6132642" y="3351665"/>
                  <a:pt x="6109155" y="3307040"/>
                  <a:pt x="6076272" y="3283629"/>
                </a:cubicBezTo>
                <a:cubicBezTo>
                  <a:pt x="6090365" y="3321157"/>
                  <a:pt x="6132642" y="3356363"/>
                  <a:pt x="6153781" y="3393943"/>
                </a:cubicBezTo>
                <a:cubicBezTo>
                  <a:pt x="6146735" y="3389246"/>
                  <a:pt x="6127945" y="3372804"/>
                  <a:pt x="6116201" y="3363409"/>
                </a:cubicBezTo>
                <a:cubicBezTo>
                  <a:pt x="6132642" y="3389246"/>
                  <a:pt x="6146735" y="3424477"/>
                  <a:pt x="6163176" y="3455011"/>
                </a:cubicBezTo>
                <a:cubicBezTo>
                  <a:pt x="6160828" y="3462058"/>
                  <a:pt x="6160828" y="3466755"/>
                  <a:pt x="6158479" y="3473802"/>
                </a:cubicBezTo>
                <a:cubicBezTo>
                  <a:pt x="6158479" y="3473802"/>
                  <a:pt x="6158479" y="3473802"/>
                  <a:pt x="6156130" y="3473802"/>
                </a:cubicBezTo>
                <a:cubicBezTo>
                  <a:pt x="6153781" y="3478499"/>
                  <a:pt x="6153781" y="3480848"/>
                  <a:pt x="6156130" y="3485546"/>
                </a:cubicBezTo>
                <a:cubicBezTo>
                  <a:pt x="6156130" y="3487894"/>
                  <a:pt x="6156130" y="3487894"/>
                  <a:pt x="6156130" y="3490243"/>
                </a:cubicBezTo>
                <a:cubicBezTo>
                  <a:pt x="6156130" y="3490243"/>
                  <a:pt x="6153781" y="3490243"/>
                  <a:pt x="6151432" y="3490243"/>
                </a:cubicBezTo>
                <a:cubicBezTo>
                  <a:pt x="6144386" y="3490243"/>
                  <a:pt x="6151432" y="3499638"/>
                  <a:pt x="6153781" y="3499638"/>
                </a:cubicBezTo>
                <a:cubicBezTo>
                  <a:pt x="6137340" y="3494941"/>
                  <a:pt x="6123247" y="3464406"/>
                  <a:pt x="6106806" y="3450314"/>
                </a:cubicBezTo>
                <a:cubicBezTo>
                  <a:pt x="6109155" y="3462058"/>
                  <a:pt x="6116201" y="3473802"/>
                  <a:pt x="6123247" y="3483197"/>
                </a:cubicBezTo>
                <a:cubicBezTo>
                  <a:pt x="6118550" y="3483197"/>
                  <a:pt x="6116201" y="3483197"/>
                  <a:pt x="6111503" y="3485546"/>
                </a:cubicBezTo>
                <a:cubicBezTo>
                  <a:pt x="6099760" y="3469104"/>
                  <a:pt x="6088016" y="3450314"/>
                  <a:pt x="6069225" y="3440919"/>
                </a:cubicBezTo>
                <a:cubicBezTo>
                  <a:pt x="6064528" y="3438570"/>
                  <a:pt x="6062179" y="3445616"/>
                  <a:pt x="6066877" y="3445616"/>
                </a:cubicBezTo>
                <a:cubicBezTo>
                  <a:pt x="6057481" y="3443268"/>
                  <a:pt x="6038691" y="3431524"/>
                  <a:pt x="6019901" y="3431524"/>
                </a:cubicBezTo>
                <a:cubicBezTo>
                  <a:pt x="6045737" y="3452662"/>
                  <a:pt x="6069225" y="3473802"/>
                  <a:pt x="6092713" y="3497289"/>
                </a:cubicBezTo>
                <a:cubicBezTo>
                  <a:pt x="6088016" y="3499638"/>
                  <a:pt x="6085667" y="3501987"/>
                  <a:pt x="6080969" y="3504336"/>
                </a:cubicBezTo>
                <a:cubicBezTo>
                  <a:pt x="6080969" y="3504336"/>
                  <a:pt x="6080969" y="3506684"/>
                  <a:pt x="6080969" y="3506684"/>
                </a:cubicBezTo>
                <a:cubicBezTo>
                  <a:pt x="6064528" y="3487894"/>
                  <a:pt x="6045737" y="3469104"/>
                  <a:pt x="6026947" y="3452662"/>
                </a:cubicBezTo>
                <a:cubicBezTo>
                  <a:pt x="6031645" y="3462058"/>
                  <a:pt x="6036342" y="3469104"/>
                  <a:pt x="6041040" y="3478499"/>
                </a:cubicBezTo>
                <a:cubicBezTo>
                  <a:pt x="6055133" y="3490243"/>
                  <a:pt x="6069225" y="3504336"/>
                  <a:pt x="6083318" y="3516079"/>
                </a:cubicBezTo>
                <a:cubicBezTo>
                  <a:pt x="6085667" y="3520777"/>
                  <a:pt x="6085667" y="3525475"/>
                  <a:pt x="6085667" y="3532521"/>
                </a:cubicBezTo>
                <a:cubicBezTo>
                  <a:pt x="6076272" y="3523126"/>
                  <a:pt x="6066877" y="3513731"/>
                  <a:pt x="6057481" y="3504336"/>
                </a:cubicBezTo>
                <a:cubicBezTo>
                  <a:pt x="6059830" y="3511382"/>
                  <a:pt x="6064528" y="3518428"/>
                  <a:pt x="6066877" y="3525475"/>
                </a:cubicBezTo>
                <a:cubicBezTo>
                  <a:pt x="6078621" y="3534870"/>
                  <a:pt x="6088016" y="3544265"/>
                  <a:pt x="6097411" y="3553660"/>
                </a:cubicBezTo>
                <a:cubicBezTo>
                  <a:pt x="6097411" y="3553660"/>
                  <a:pt x="6099760" y="3556009"/>
                  <a:pt x="6099760" y="3556009"/>
                </a:cubicBezTo>
                <a:cubicBezTo>
                  <a:pt x="6099760" y="3553660"/>
                  <a:pt x="6102109" y="3553660"/>
                  <a:pt x="6102109" y="3553660"/>
                </a:cubicBezTo>
                <a:cubicBezTo>
                  <a:pt x="6104457" y="3553660"/>
                  <a:pt x="6104457" y="3556009"/>
                  <a:pt x="6104457" y="3558358"/>
                </a:cubicBezTo>
                <a:cubicBezTo>
                  <a:pt x="6111503" y="3565404"/>
                  <a:pt x="6116201" y="3570101"/>
                  <a:pt x="6123247" y="3577148"/>
                </a:cubicBezTo>
                <a:cubicBezTo>
                  <a:pt x="6125596" y="3607682"/>
                  <a:pt x="6130293" y="3635867"/>
                  <a:pt x="6134991" y="3666402"/>
                </a:cubicBezTo>
                <a:cubicBezTo>
                  <a:pt x="6132642" y="3649960"/>
                  <a:pt x="6139688" y="3617077"/>
                  <a:pt x="6139688" y="3593589"/>
                </a:cubicBezTo>
                <a:cubicBezTo>
                  <a:pt x="6137340" y="3591241"/>
                  <a:pt x="6137340" y="3591241"/>
                  <a:pt x="6137340" y="3591241"/>
                </a:cubicBezTo>
                <a:cubicBezTo>
                  <a:pt x="6137340" y="3586543"/>
                  <a:pt x="6137340" y="3581845"/>
                  <a:pt x="6134991" y="3577148"/>
                </a:cubicBezTo>
                <a:cubicBezTo>
                  <a:pt x="6132642" y="3577148"/>
                  <a:pt x="6132642" y="3579497"/>
                  <a:pt x="6132642" y="3579497"/>
                </a:cubicBezTo>
                <a:cubicBezTo>
                  <a:pt x="6125596" y="3574799"/>
                  <a:pt x="6127945" y="3567753"/>
                  <a:pt x="6118550" y="3565404"/>
                </a:cubicBezTo>
                <a:cubicBezTo>
                  <a:pt x="6118550" y="3567753"/>
                  <a:pt x="6118550" y="3567753"/>
                  <a:pt x="6118550" y="3570101"/>
                </a:cubicBezTo>
                <a:cubicBezTo>
                  <a:pt x="6111503" y="3560706"/>
                  <a:pt x="6104457" y="3553660"/>
                  <a:pt x="6097411" y="3544265"/>
                </a:cubicBezTo>
                <a:cubicBezTo>
                  <a:pt x="6092713" y="3539567"/>
                  <a:pt x="6090365" y="3537219"/>
                  <a:pt x="6085667" y="3532521"/>
                </a:cubicBezTo>
                <a:cubicBezTo>
                  <a:pt x="6095062" y="3537219"/>
                  <a:pt x="6102109" y="3539567"/>
                  <a:pt x="6109155" y="3539567"/>
                </a:cubicBezTo>
                <a:lnTo>
                  <a:pt x="6110329" y="3540742"/>
                </a:lnTo>
                <a:lnTo>
                  <a:pt x="6109155" y="3541916"/>
                </a:lnTo>
                <a:cubicBezTo>
                  <a:pt x="6118550" y="3551311"/>
                  <a:pt x="6125596" y="3560706"/>
                  <a:pt x="6134991" y="3570101"/>
                </a:cubicBezTo>
                <a:cubicBezTo>
                  <a:pt x="6139688" y="3574799"/>
                  <a:pt x="6144386" y="3579497"/>
                  <a:pt x="6149084" y="3584194"/>
                </a:cubicBezTo>
                <a:cubicBezTo>
                  <a:pt x="6144386" y="3579497"/>
                  <a:pt x="6139688" y="3572450"/>
                  <a:pt x="6137340" y="3567753"/>
                </a:cubicBezTo>
                <a:lnTo>
                  <a:pt x="6110329" y="3540742"/>
                </a:lnTo>
                <a:lnTo>
                  <a:pt x="6120898" y="3530172"/>
                </a:lnTo>
                <a:cubicBezTo>
                  <a:pt x="6130293" y="3539567"/>
                  <a:pt x="6137340" y="3548963"/>
                  <a:pt x="6146735" y="3558358"/>
                </a:cubicBezTo>
                <a:cubicBezTo>
                  <a:pt x="6146735" y="3560706"/>
                  <a:pt x="6146735" y="3563055"/>
                  <a:pt x="6146735" y="3570101"/>
                </a:cubicBezTo>
                <a:cubicBezTo>
                  <a:pt x="6149084" y="3588892"/>
                  <a:pt x="6146735" y="3565404"/>
                  <a:pt x="6146735" y="3558358"/>
                </a:cubicBezTo>
                <a:cubicBezTo>
                  <a:pt x="6151432" y="3565404"/>
                  <a:pt x="6158479" y="3570101"/>
                  <a:pt x="6163176" y="3577148"/>
                </a:cubicBezTo>
                <a:cubicBezTo>
                  <a:pt x="6165525" y="3577148"/>
                  <a:pt x="6167874" y="3574799"/>
                  <a:pt x="6170223" y="3574799"/>
                </a:cubicBezTo>
                <a:cubicBezTo>
                  <a:pt x="6170223" y="3579497"/>
                  <a:pt x="6167874" y="3581845"/>
                  <a:pt x="6167874" y="3584194"/>
                </a:cubicBezTo>
                <a:cubicBezTo>
                  <a:pt x="6172572" y="3588892"/>
                  <a:pt x="6177269" y="3593589"/>
                  <a:pt x="6181967" y="3598287"/>
                </a:cubicBezTo>
                <a:cubicBezTo>
                  <a:pt x="6189013" y="3591241"/>
                  <a:pt x="6198408" y="3586543"/>
                  <a:pt x="6207804" y="3584194"/>
                </a:cubicBezTo>
                <a:cubicBezTo>
                  <a:pt x="6205455" y="3593589"/>
                  <a:pt x="6198408" y="3600636"/>
                  <a:pt x="6191362" y="3607682"/>
                </a:cubicBezTo>
                <a:cubicBezTo>
                  <a:pt x="6193711" y="3610031"/>
                  <a:pt x="6196060" y="3614728"/>
                  <a:pt x="6198408" y="3617077"/>
                </a:cubicBezTo>
                <a:cubicBezTo>
                  <a:pt x="6207804" y="3612380"/>
                  <a:pt x="6214850" y="3607682"/>
                  <a:pt x="6224245" y="3602985"/>
                </a:cubicBezTo>
                <a:cubicBezTo>
                  <a:pt x="6219547" y="3612380"/>
                  <a:pt x="6212501" y="3619426"/>
                  <a:pt x="6205455" y="3626472"/>
                </a:cubicBezTo>
                <a:cubicBezTo>
                  <a:pt x="6207804" y="3631170"/>
                  <a:pt x="6212501" y="3633518"/>
                  <a:pt x="6214850" y="3638216"/>
                </a:cubicBezTo>
                <a:cubicBezTo>
                  <a:pt x="6233640" y="3626472"/>
                  <a:pt x="6252430" y="3612380"/>
                  <a:pt x="6273569" y="3600636"/>
                </a:cubicBezTo>
                <a:cubicBezTo>
                  <a:pt x="6278267" y="3593589"/>
                  <a:pt x="6278267" y="3605333"/>
                  <a:pt x="6285313" y="3602985"/>
                </a:cubicBezTo>
                <a:cubicBezTo>
                  <a:pt x="6297057" y="3593589"/>
                  <a:pt x="6313499" y="3588892"/>
                  <a:pt x="6322894" y="3577148"/>
                </a:cubicBezTo>
                <a:cubicBezTo>
                  <a:pt x="6309976" y="3591241"/>
                  <a:pt x="6294708" y="3604746"/>
                  <a:pt x="6278267" y="3617958"/>
                </a:cubicBezTo>
                <a:lnTo>
                  <a:pt x="6229706" y="3654654"/>
                </a:lnTo>
                <a:lnTo>
                  <a:pt x="6225125" y="3649666"/>
                </a:lnTo>
                <a:cubicBezTo>
                  <a:pt x="6218960" y="3647024"/>
                  <a:pt x="6210152" y="3647611"/>
                  <a:pt x="6217199" y="3659355"/>
                </a:cubicBezTo>
                <a:lnTo>
                  <a:pt x="6228446" y="3655606"/>
                </a:lnTo>
                <a:lnTo>
                  <a:pt x="6226593" y="3657006"/>
                </a:lnTo>
                <a:cubicBezTo>
                  <a:pt x="6226593" y="3659355"/>
                  <a:pt x="6228942" y="3659355"/>
                  <a:pt x="6228942" y="3661704"/>
                </a:cubicBezTo>
                <a:cubicBezTo>
                  <a:pt x="6231291" y="3664053"/>
                  <a:pt x="6231291" y="3666402"/>
                  <a:pt x="6233640" y="3668750"/>
                </a:cubicBezTo>
                <a:cubicBezTo>
                  <a:pt x="6240686" y="3661704"/>
                  <a:pt x="6250081" y="3657006"/>
                  <a:pt x="6259476" y="3652309"/>
                </a:cubicBezTo>
                <a:cubicBezTo>
                  <a:pt x="6259476" y="3659355"/>
                  <a:pt x="6254779" y="3666402"/>
                  <a:pt x="6252430" y="3671099"/>
                </a:cubicBezTo>
                <a:cubicBezTo>
                  <a:pt x="6275918" y="3678145"/>
                  <a:pt x="6271220" y="3661704"/>
                  <a:pt x="6268871" y="3647611"/>
                </a:cubicBezTo>
                <a:cubicBezTo>
                  <a:pt x="6285313" y="3638216"/>
                  <a:pt x="6301755" y="3631170"/>
                  <a:pt x="6318196" y="3621774"/>
                </a:cubicBezTo>
                <a:cubicBezTo>
                  <a:pt x="6325242" y="3621774"/>
                  <a:pt x="6315847" y="3626472"/>
                  <a:pt x="6318196" y="3631170"/>
                </a:cubicBezTo>
                <a:cubicBezTo>
                  <a:pt x="6329940" y="3626472"/>
                  <a:pt x="6339335" y="3619426"/>
                  <a:pt x="6353427" y="3617077"/>
                </a:cubicBezTo>
                <a:cubicBezTo>
                  <a:pt x="6318196" y="3640565"/>
                  <a:pt x="6282964" y="3666402"/>
                  <a:pt x="6247732" y="3689889"/>
                </a:cubicBezTo>
                <a:cubicBezTo>
                  <a:pt x="6247732" y="3692238"/>
                  <a:pt x="6250081" y="3692238"/>
                  <a:pt x="6250081" y="3694587"/>
                </a:cubicBezTo>
                <a:cubicBezTo>
                  <a:pt x="6287662" y="3673448"/>
                  <a:pt x="6332289" y="3654658"/>
                  <a:pt x="6367520" y="3635867"/>
                </a:cubicBezTo>
                <a:cubicBezTo>
                  <a:pt x="6336986" y="3664053"/>
                  <a:pt x="6297057" y="3682843"/>
                  <a:pt x="6259476" y="3703982"/>
                </a:cubicBezTo>
                <a:cubicBezTo>
                  <a:pt x="6261825" y="3706331"/>
                  <a:pt x="6261825" y="3708680"/>
                  <a:pt x="6264174" y="3711028"/>
                </a:cubicBezTo>
                <a:cubicBezTo>
                  <a:pt x="6294708" y="3694587"/>
                  <a:pt x="6327591" y="3678145"/>
                  <a:pt x="6365171" y="3668750"/>
                </a:cubicBezTo>
                <a:cubicBezTo>
                  <a:pt x="6334637" y="3687540"/>
                  <a:pt x="6304103" y="3703982"/>
                  <a:pt x="6271220" y="3720423"/>
                </a:cubicBezTo>
                <a:cubicBezTo>
                  <a:pt x="6271220" y="3720423"/>
                  <a:pt x="6273569" y="3722772"/>
                  <a:pt x="6273569" y="3722772"/>
                </a:cubicBezTo>
                <a:cubicBezTo>
                  <a:pt x="6275918" y="3725121"/>
                  <a:pt x="6275918" y="3727470"/>
                  <a:pt x="6278267" y="3729818"/>
                </a:cubicBezTo>
                <a:cubicBezTo>
                  <a:pt x="6304103" y="3720423"/>
                  <a:pt x="6325242" y="3708680"/>
                  <a:pt x="6358125" y="3708680"/>
                </a:cubicBezTo>
                <a:cubicBezTo>
                  <a:pt x="6336986" y="3722772"/>
                  <a:pt x="6306452" y="3722772"/>
                  <a:pt x="6282964" y="3734516"/>
                </a:cubicBezTo>
                <a:cubicBezTo>
                  <a:pt x="6285313" y="3736865"/>
                  <a:pt x="6285313" y="3739213"/>
                  <a:pt x="6287662" y="3741562"/>
                </a:cubicBezTo>
                <a:cubicBezTo>
                  <a:pt x="6320545" y="3774445"/>
                  <a:pt x="6369869" y="3790887"/>
                  <a:pt x="6388659" y="3837862"/>
                </a:cubicBezTo>
                <a:cubicBezTo>
                  <a:pt x="6379264" y="3837862"/>
                  <a:pt x="6374566" y="3828467"/>
                  <a:pt x="6365171" y="3826119"/>
                </a:cubicBezTo>
                <a:cubicBezTo>
                  <a:pt x="6362822" y="3826119"/>
                  <a:pt x="6362822" y="3833165"/>
                  <a:pt x="6365171" y="3833165"/>
                </a:cubicBezTo>
                <a:lnTo>
                  <a:pt x="6334818" y="3820156"/>
                </a:lnTo>
                <a:lnTo>
                  <a:pt x="6322894" y="3800282"/>
                </a:lnTo>
                <a:cubicBezTo>
                  <a:pt x="6301755" y="3783840"/>
                  <a:pt x="6282964" y="3762701"/>
                  <a:pt x="6264174" y="3743911"/>
                </a:cubicBezTo>
                <a:lnTo>
                  <a:pt x="6271572" y="3756595"/>
                </a:lnTo>
                <a:lnTo>
                  <a:pt x="6254779" y="3732167"/>
                </a:lnTo>
                <a:cubicBezTo>
                  <a:pt x="6254779" y="3732167"/>
                  <a:pt x="6252430" y="3729818"/>
                  <a:pt x="6250081" y="3727470"/>
                </a:cubicBezTo>
                <a:cubicBezTo>
                  <a:pt x="6247732" y="3727470"/>
                  <a:pt x="6247732" y="3727470"/>
                  <a:pt x="6245383" y="3727470"/>
                </a:cubicBezTo>
                <a:cubicBezTo>
                  <a:pt x="6247732" y="3729818"/>
                  <a:pt x="6250081" y="3732167"/>
                  <a:pt x="6252430" y="3734516"/>
                </a:cubicBezTo>
                <a:lnTo>
                  <a:pt x="6275556" y="3763425"/>
                </a:lnTo>
                <a:lnTo>
                  <a:pt x="6280615" y="3772097"/>
                </a:lnTo>
                <a:lnTo>
                  <a:pt x="6332717" y="3819857"/>
                </a:lnTo>
                <a:lnTo>
                  <a:pt x="6346381" y="3844908"/>
                </a:lnTo>
                <a:cubicBezTo>
                  <a:pt x="6372218" y="3873094"/>
                  <a:pt x="6398054" y="3901279"/>
                  <a:pt x="6419194" y="3934162"/>
                </a:cubicBezTo>
                <a:cubicBezTo>
                  <a:pt x="6400403" y="3917721"/>
                  <a:pt x="6383962" y="3903628"/>
                  <a:pt x="6365171" y="3887187"/>
                </a:cubicBezTo>
                <a:cubicBezTo>
                  <a:pt x="6369869" y="3896582"/>
                  <a:pt x="6374566" y="3908326"/>
                  <a:pt x="6379264" y="3917721"/>
                </a:cubicBezTo>
                <a:cubicBezTo>
                  <a:pt x="6372218" y="3905977"/>
                  <a:pt x="6365171" y="3894233"/>
                  <a:pt x="6358125" y="3882489"/>
                </a:cubicBezTo>
                <a:cubicBezTo>
                  <a:pt x="6344032" y="3870745"/>
                  <a:pt x="6329940" y="3856652"/>
                  <a:pt x="6315847" y="3844908"/>
                </a:cubicBezTo>
                <a:lnTo>
                  <a:pt x="6318196" y="3847257"/>
                </a:lnTo>
                <a:lnTo>
                  <a:pt x="6332289" y="3870745"/>
                </a:lnTo>
                <a:cubicBezTo>
                  <a:pt x="6351078" y="3903628"/>
                  <a:pt x="6372218" y="3934162"/>
                  <a:pt x="6388659" y="3967045"/>
                </a:cubicBezTo>
                <a:cubicBezTo>
                  <a:pt x="6391008" y="3971743"/>
                  <a:pt x="6391008" y="3974091"/>
                  <a:pt x="6393357" y="3978789"/>
                </a:cubicBezTo>
                <a:cubicBezTo>
                  <a:pt x="6383962" y="3964696"/>
                  <a:pt x="6374566" y="3955301"/>
                  <a:pt x="6367520" y="3948255"/>
                </a:cubicBezTo>
                <a:cubicBezTo>
                  <a:pt x="6367520" y="3948255"/>
                  <a:pt x="6365171" y="3945906"/>
                  <a:pt x="6365171" y="3945906"/>
                </a:cubicBezTo>
                <a:cubicBezTo>
                  <a:pt x="6376915" y="3964696"/>
                  <a:pt x="6376915" y="3971743"/>
                  <a:pt x="6374566" y="3969394"/>
                </a:cubicBezTo>
                <a:cubicBezTo>
                  <a:pt x="6369869" y="3969394"/>
                  <a:pt x="6362822" y="3959999"/>
                  <a:pt x="6355776" y="3950604"/>
                </a:cubicBezTo>
                <a:cubicBezTo>
                  <a:pt x="6348730" y="3941209"/>
                  <a:pt x="6341683" y="3931814"/>
                  <a:pt x="6341683" y="3927116"/>
                </a:cubicBezTo>
                <a:cubicBezTo>
                  <a:pt x="6332289" y="3920070"/>
                  <a:pt x="6325242" y="3913023"/>
                  <a:pt x="6315847" y="3905977"/>
                </a:cubicBezTo>
                <a:cubicBezTo>
                  <a:pt x="6320545" y="3917721"/>
                  <a:pt x="6332289" y="3922418"/>
                  <a:pt x="6332289" y="3938860"/>
                </a:cubicBezTo>
                <a:cubicBezTo>
                  <a:pt x="6327591" y="3938860"/>
                  <a:pt x="6318196" y="3931814"/>
                  <a:pt x="6320545" y="3943557"/>
                </a:cubicBezTo>
                <a:cubicBezTo>
                  <a:pt x="6315847" y="3938860"/>
                  <a:pt x="6308801" y="3934162"/>
                  <a:pt x="6304103" y="3929465"/>
                </a:cubicBezTo>
                <a:cubicBezTo>
                  <a:pt x="6315847" y="3950604"/>
                  <a:pt x="6325242" y="3969394"/>
                  <a:pt x="6336986" y="3988184"/>
                </a:cubicBezTo>
                <a:cubicBezTo>
                  <a:pt x="6360474" y="4039857"/>
                  <a:pt x="6383962" y="4082135"/>
                  <a:pt x="6395706" y="4115018"/>
                </a:cubicBezTo>
                <a:cubicBezTo>
                  <a:pt x="6400403" y="4131460"/>
                  <a:pt x="6407450" y="4143204"/>
                  <a:pt x="6409798" y="4152599"/>
                </a:cubicBezTo>
                <a:cubicBezTo>
                  <a:pt x="6412147" y="4161994"/>
                  <a:pt x="6414496" y="4166691"/>
                  <a:pt x="6414496" y="4166691"/>
                </a:cubicBezTo>
                <a:cubicBezTo>
                  <a:pt x="6412147" y="4171389"/>
                  <a:pt x="6402752" y="4152599"/>
                  <a:pt x="6388659" y="4119716"/>
                </a:cubicBezTo>
                <a:cubicBezTo>
                  <a:pt x="6374566" y="4086833"/>
                  <a:pt x="6351078" y="4044555"/>
                  <a:pt x="6327591" y="4002277"/>
                </a:cubicBezTo>
                <a:cubicBezTo>
                  <a:pt x="6304103" y="3962347"/>
                  <a:pt x="6278267" y="3922418"/>
                  <a:pt x="6259476" y="3891884"/>
                </a:cubicBezTo>
                <a:cubicBezTo>
                  <a:pt x="6252430" y="3884838"/>
                  <a:pt x="6245383" y="3877792"/>
                  <a:pt x="6238337" y="3870745"/>
                </a:cubicBezTo>
                <a:cubicBezTo>
                  <a:pt x="6245383" y="3882489"/>
                  <a:pt x="6252430" y="3894233"/>
                  <a:pt x="6257127" y="3905977"/>
                </a:cubicBezTo>
                <a:cubicBezTo>
                  <a:pt x="6245383" y="3889535"/>
                  <a:pt x="6228942" y="3873094"/>
                  <a:pt x="6217199" y="3859001"/>
                </a:cubicBezTo>
                <a:cubicBezTo>
                  <a:pt x="6210152" y="3849606"/>
                  <a:pt x="6203106" y="3837862"/>
                  <a:pt x="6196060" y="3828467"/>
                </a:cubicBezTo>
                <a:cubicBezTo>
                  <a:pt x="6191362" y="3823770"/>
                  <a:pt x="6186664" y="3819072"/>
                  <a:pt x="6181967" y="3814375"/>
                </a:cubicBezTo>
                <a:cubicBezTo>
                  <a:pt x="6205455" y="3851955"/>
                  <a:pt x="6240686" y="3901279"/>
                  <a:pt x="6278267" y="3934162"/>
                </a:cubicBezTo>
                <a:cubicBezTo>
                  <a:pt x="6278267" y="3941209"/>
                  <a:pt x="6278267" y="3948255"/>
                  <a:pt x="6278267" y="3955301"/>
                </a:cubicBezTo>
                <a:cubicBezTo>
                  <a:pt x="6271220" y="3945906"/>
                  <a:pt x="6264174" y="3938860"/>
                  <a:pt x="6257127" y="3931814"/>
                </a:cubicBezTo>
                <a:cubicBezTo>
                  <a:pt x="6266523" y="3943557"/>
                  <a:pt x="6273569" y="3952952"/>
                  <a:pt x="6280615" y="3964696"/>
                </a:cubicBezTo>
                <a:cubicBezTo>
                  <a:pt x="6285313" y="3969394"/>
                  <a:pt x="6287662" y="3971743"/>
                  <a:pt x="6290011" y="3976440"/>
                </a:cubicBezTo>
                <a:cubicBezTo>
                  <a:pt x="6297057" y="3988184"/>
                  <a:pt x="6306452" y="3999928"/>
                  <a:pt x="6313499" y="4011672"/>
                </a:cubicBezTo>
                <a:lnTo>
                  <a:pt x="6318196" y="4016369"/>
                </a:lnTo>
                <a:cubicBezTo>
                  <a:pt x="6381613" y="4143204"/>
                  <a:pt x="6430938" y="4277084"/>
                  <a:pt x="6463820" y="4413313"/>
                </a:cubicBezTo>
                <a:cubicBezTo>
                  <a:pt x="6496703" y="4549542"/>
                  <a:pt x="6513145" y="4688120"/>
                  <a:pt x="6508447" y="4826698"/>
                </a:cubicBezTo>
                <a:cubicBezTo>
                  <a:pt x="6506098" y="4836093"/>
                  <a:pt x="6503749" y="4833744"/>
                  <a:pt x="6503749" y="4826698"/>
                </a:cubicBezTo>
                <a:cubicBezTo>
                  <a:pt x="6502575" y="4764456"/>
                  <a:pt x="6497290" y="4699864"/>
                  <a:pt x="6488482" y="4634979"/>
                </a:cubicBezTo>
                <a:lnTo>
                  <a:pt x="6480257" y="4591265"/>
                </a:lnTo>
                <a:lnTo>
                  <a:pt x="6480005" y="4588628"/>
                </a:lnTo>
                <a:lnTo>
                  <a:pt x="6478876" y="4583926"/>
                </a:lnTo>
                <a:lnTo>
                  <a:pt x="6452076" y="4441498"/>
                </a:lnTo>
                <a:cubicBezTo>
                  <a:pt x="6421542" y="4312316"/>
                  <a:pt x="6372218" y="4192528"/>
                  <a:pt x="6313499" y="4089182"/>
                </a:cubicBezTo>
                <a:lnTo>
                  <a:pt x="6273569" y="4025765"/>
                </a:lnTo>
                <a:cubicBezTo>
                  <a:pt x="6261825" y="4004625"/>
                  <a:pt x="6245383" y="3985835"/>
                  <a:pt x="6231291" y="3964696"/>
                </a:cubicBezTo>
                <a:cubicBezTo>
                  <a:pt x="6226593" y="3957650"/>
                  <a:pt x="6221896" y="3952952"/>
                  <a:pt x="6219547" y="3945906"/>
                </a:cubicBezTo>
                <a:cubicBezTo>
                  <a:pt x="6219547" y="3945906"/>
                  <a:pt x="6219547" y="3943557"/>
                  <a:pt x="6217199" y="3943557"/>
                </a:cubicBezTo>
                <a:lnTo>
                  <a:pt x="6231291" y="3964696"/>
                </a:lnTo>
                <a:cubicBezTo>
                  <a:pt x="6273569" y="4025764"/>
                  <a:pt x="6311149" y="4090649"/>
                  <a:pt x="6343849" y="4158287"/>
                </a:cubicBezTo>
                <a:lnTo>
                  <a:pt x="6367244" y="4217315"/>
                </a:lnTo>
                <a:lnTo>
                  <a:pt x="6355189" y="4212493"/>
                </a:lnTo>
                <a:cubicBezTo>
                  <a:pt x="6350492" y="4210732"/>
                  <a:pt x="6346381" y="4210144"/>
                  <a:pt x="6344032" y="4213667"/>
                </a:cubicBezTo>
                <a:cubicBezTo>
                  <a:pt x="6362822" y="4213667"/>
                  <a:pt x="6353427" y="4251247"/>
                  <a:pt x="6367520" y="4237155"/>
                </a:cubicBezTo>
                <a:cubicBezTo>
                  <a:pt x="6365171" y="4235981"/>
                  <a:pt x="6364584" y="4233045"/>
                  <a:pt x="6365171" y="4229522"/>
                </a:cubicBezTo>
                <a:lnTo>
                  <a:pt x="6368731" y="4221068"/>
                </a:lnTo>
                <a:lnTo>
                  <a:pt x="6427121" y="4368393"/>
                </a:lnTo>
                <a:lnTo>
                  <a:pt x="6478876" y="4583926"/>
                </a:lnTo>
                <a:lnTo>
                  <a:pt x="6480257" y="4591265"/>
                </a:lnTo>
                <a:lnTo>
                  <a:pt x="6489287" y="4685794"/>
                </a:lnTo>
                <a:lnTo>
                  <a:pt x="6473215" y="4584774"/>
                </a:lnTo>
                <a:cubicBezTo>
                  <a:pt x="6466169" y="4551891"/>
                  <a:pt x="6456773" y="4519008"/>
                  <a:pt x="6449727" y="4488474"/>
                </a:cubicBezTo>
                <a:cubicBezTo>
                  <a:pt x="6440332" y="4457940"/>
                  <a:pt x="6428589" y="4429755"/>
                  <a:pt x="6419194" y="4401569"/>
                </a:cubicBezTo>
                <a:cubicBezTo>
                  <a:pt x="6430938" y="4439150"/>
                  <a:pt x="6442681" y="4474381"/>
                  <a:pt x="6449727" y="4507264"/>
                </a:cubicBezTo>
                <a:cubicBezTo>
                  <a:pt x="6452076" y="4523706"/>
                  <a:pt x="6456773" y="4542496"/>
                  <a:pt x="6461471" y="4558937"/>
                </a:cubicBezTo>
                <a:cubicBezTo>
                  <a:pt x="6463820" y="4565984"/>
                  <a:pt x="6466169" y="4575379"/>
                  <a:pt x="6468517" y="4584774"/>
                </a:cubicBezTo>
                <a:cubicBezTo>
                  <a:pt x="6470866" y="4594169"/>
                  <a:pt x="6470866" y="4603564"/>
                  <a:pt x="6473215" y="4612959"/>
                </a:cubicBezTo>
                <a:cubicBezTo>
                  <a:pt x="6473215" y="4612959"/>
                  <a:pt x="6473215" y="4615308"/>
                  <a:pt x="6470866" y="4608262"/>
                </a:cubicBezTo>
                <a:cubicBezTo>
                  <a:pt x="6475564" y="4631749"/>
                  <a:pt x="6480261" y="4659935"/>
                  <a:pt x="6484959" y="4688120"/>
                </a:cubicBezTo>
                <a:lnTo>
                  <a:pt x="6489858" y="4733436"/>
                </a:lnTo>
                <a:lnTo>
                  <a:pt x="6499052" y="4800862"/>
                </a:lnTo>
                <a:cubicBezTo>
                  <a:pt x="6503749" y="4836094"/>
                  <a:pt x="6506098" y="4871326"/>
                  <a:pt x="6508447" y="4906557"/>
                </a:cubicBezTo>
                <a:cubicBezTo>
                  <a:pt x="6508447" y="4899511"/>
                  <a:pt x="6506098" y="4892465"/>
                  <a:pt x="6506098" y="4885418"/>
                </a:cubicBezTo>
                <a:cubicBezTo>
                  <a:pt x="6501401" y="4854884"/>
                  <a:pt x="6501401" y="4826699"/>
                  <a:pt x="6496703" y="4798513"/>
                </a:cubicBezTo>
                <a:cubicBezTo>
                  <a:pt x="6492006" y="4770328"/>
                  <a:pt x="6487308" y="4744491"/>
                  <a:pt x="6482611" y="4718655"/>
                </a:cubicBezTo>
                <a:lnTo>
                  <a:pt x="6483463" y="4720572"/>
                </a:lnTo>
                <a:lnTo>
                  <a:pt x="6482610" y="4716306"/>
                </a:lnTo>
                <a:cubicBezTo>
                  <a:pt x="6477913" y="4685771"/>
                  <a:pt x="6468517" y="4643493"/>
                  <a:pt x="6459122" y="4601216"/>
                </a:cubicBezTo>
                <a:lnTo>
                  <a:pt x="6442742" y="4537878"/>
                </a:lnTo>
                <a:lnTo>
                  <a:pt x="6435634" y="4514310"/>
                </a:lnTo>
                <a:lnTo>
                  <a:pt x="6440632" y="4529721"/>
                </a:lnTo>
                <a:lnTo>
                  <a:pt x="6423891" y="4464986"/>
                </a:lnTo>
                <a:cubicBezTo>
                  <a:pt x="6416845" y="4443847"/>
                  <a:pt x="6409798" y="4420359"/>
                  <a:pt x="6402752" y="4399220"/>
                </a:cubicBezTo>
                <a:cubicBezTo>
                  <a:pt x="6395706" y="4378082"/>
                  <a:pt x="6388659" y="4356942"/>
                  <a:pt x="6379264" y="4335803"/>
                </a:cubicBezTo>
                <a:cubicBezTo>
                  <a:pt x="6362822" y="4293525"/>
                  <a:pt x="6346381" y="4251247"/>
                  <a:pt x="6325242" y="4211318"/>
                </a:cubicBezTo>
                <a:cubicBezTo>
                  <a:pt x="6315847" y="4190179"/>
                  <a:pt x="6304103" y="4171389"/>
                  <a:pt x="6294708" y="4150250"/>
                </a:cubicBezTo>
                <a:cubicBezTo>
                  <a:pt x="6282964" y="4131460"/>
                  <a:pt x="6271220" y="4110321"/>
                  <a:pt x="6259476" y="4091530"/>
                </a:cubicBezTo>
                <a:cubicBezTo>
                  <a:pt x="6235988" y="4049252"/>
                  <a:pt x="6210152" y="4009323"/>
                  <a:pt x="6184316" y="3969394"/>
                </a:cubicBezTo>
                <a:cubicBezTo>
                  <a:pt x="6167874" y="3959999"/>
                  <a:pt x="6151432" y="3948255"/>
                  <a:pt x="6134991" y="3934162"/>
                </a:cubicBezTo>
                <a:cubicBezTo>
                  <a:pt x="6165525" y="3974091"/>
                  <a:pt x="6193711" y="4016369"/>
                  <a:pt x="6221896" y="4058647"/>
                </a:cubicBezTo>
                <a:cubicBezTo>
                  <a:pt x="6205455" y="4035160"/>
                  <a:pt x="6186664" y="4014021"/>
                  <a:pt x="6170223" y="3990533"/>
                </a:cubicBezTo>
                <a:cubicBezTo>
                  <a:pt x="6134991" y="3945906"/>
                  <a:pt x="6097411" y="3903628"/>
                  <a:pt x="6057481" y="3863699"/>
                </a:cubicBezTo>
                <a:cubicBezTo>
                  <a:pt x="6083318" y="3903628"/>
                  <a:pt x="6116201" y="3934162"/>
                  <a:pt x="6142037" y="3974091"/>
                </a:cubicBezTo>
                <a:cubicBezTo>
                  <a:pt x="6149084" y="3976440"/>
                  <a:pt x="6156130" y="3978789"/>
                  <a:pt x="6160828" y="3981138"/>
                </a:cubicBezTo>
                <a:cubicBezTo>
                  <a:pt x="6160828" y="3992882"/>
                  <a:pt x="6167874" y="3995231"/>
                  <a:pt x="6165525" y="4006974"/>
                </a:cubicBezTo>
                <a:cubicBezTo>
                  <a:pt x="6095062" y="3955301"/>
                  <a:pt x="6048086" y="3882489"/>
                  <a:pt x="5989367" y="3819072"/>
                </a:cubicBezTo>
                <a:cubicBezTo>
                  <a:pt x="6017552" y="3891884"/>
                  <a:pt x="6076272" y="3936511"/>
                  <a:pt x="6109155" y="4006974"/>
                </a:cubicBezTo>
                <a:cubicBezTo>
                  <a:pt x="6099760" y="4018718"/>
                  <a:pt x="6104457" y="4025765"/>
                  <a:pt x="6106806" y="4042206"/>
                </a:cubicBezTo>
                <a:cubicBezTo>
                  <a:pt x="6099760" y="4032811"/>
                  <a:pt x="6095062" y="4023416"/>
                  <a:pt x="6088016" y="4016369"/>
                </a:cubicBezTo>
                <a:cubicBezTo>
                  <a:pt x="6083318" y="4030462"/>
                  <a:pt x="6102109" y="4039857"/>
                  <a:pt x="6104457" y="4053950"/>
                </a:cubicBezTo>
                <a:cubicBezTo>
                  <a:pt x="6109155" y="4056299"/>
                  <a:pt x="6109155" y="4051601"/>
                  <a:pt x="6109155" y="4049252"/>
                </a:cubicBezTo>
                <a:cubicBezTo>
                  <a:pt x="6116201" y="4072740"/>
                  <a:pt x="6125596" y="4089182"/>
                  <a:pt x="6132642" y="4110321"/>
                </a:cubicBezTo>
                <a:cubicBezTo>
                  <a:pt x="6118550" y="4103274"/>
                  <a:pt x="6104457" y="4072740"/>
                  <a:pt x="6097411" y="4051601"/>
                </a:cubicBezTo>
                <a:cubicBezTo>
                  <a:pt x="6043389" y="4004625"/>
                  <a:pt x="6005808" y="3943557"/>
                  <a:pt x="5958833" y="3889535"/>
                </a:cubicBezTo>
                <a:cubicBezTo>
                  <a:pt x="5954135" y="3898930"/>
                  <a:pt x="5963530" y="3913023"/>
                  <a:pt x="5975274" y="3913023"/>
                </a:cubicBezTo>
                <a:cubicBezTo>
                  <a:pt x="5989367" y="3945906"/>
                  <a:pt x="6008157" y="3974091"/>
                  <a:pt x="6026947" y="4002277"/>
                </a:cubicBezTo>
                <a:cubicBezTo>
                  <a:pt x="6019901" y="4002277"/>
                  <a:pt x="6005808" y="4011672"/>
                  <a:pt x="6019901" y="4018718"/>
                </a:cubicBezTo>
                <a:cubicBezTo>
                  <a:pt x="6026947" y="4014021"/>
                  <a:pt x="6029296" y="4009323"/>
                  <a:pt x="6031645" y="4006974"/>
                </a:cubicBezTo>
                <a:cubicBezTo>
                  <a:pt x="6057481" y="4046904"/>
                  <a:pt x="6083318" y="4086833"/>
                  <a:pt x="6104457" y="4131460"/>
                </a:cubicBezTo>
                <a:cubicBezTo>
                  <a:pt x="6036342" y="4053950"/>
                  <a:pt x="5977623" y="3962347"/>
                  <a:pt x="5914206" y="3877792"/>
                </a:cubicBezTo>
                <a:cubicBezTo>
                  <a:pt x="5921252" y="3894233"/>
                  <a:pt x="5930647" y="3908326"/>
                  <a:pt x="5940043" y="3924767"/>
                </a:cubicBezTo>
                <a:cubicBezTo>
                  <a:pt x="5928299" y="3922418"/>
                  <a:pt x="5916555" y="3917721"/>
                  <a:pt x="5909508" y="3924767"/>
                </a:cubicBezTo>
                <a:cubicBezTo>
                  <a:pt x="5918903" y="3931814"/>
                  <a:pt x="5902462" y="3952952"/>
                  <a:pt x="5914206" y="3959999"/>
                </a:cubicBezTo>
                <a:cubicBezTo>
                  <a:pt x="5916555" y="3952952"/>
                  <a:pt x="5925950" y="3957650"/>
                  <a:pt x="5930647" y="3952952"/>
                </a:cubicBezTo>
                <a:cubicBezTo>
                  <a:pt x="5923601" y="3948255"/>
                  <a:pt x="5921252" y="3941209"/>
                  <a:pt x="5925950" y="3931814"/>
                </a:cubicBezTo>
                <a:cubicBezTo>
                  <a:pt x="5930647" y="3934162"/>
                  <a:pt x="5935345" y="3929465"/>
                  <a:pt x="5940043" y="3927116"/>
                </a:cubicBezTo>
                <a:lnTo>
                  <a:pt x="5979070" y="3980180"/>
                </a:lnTo>
                <a:lnTo>
                  <a:pt x="5974687" y="3979376"/>
                </a:lnTo>
                <a:cubicBezTo>
                  <a:pt x="5968228" y="3979376"/>
                  <a:pt x="5961181" y="3981138"/>
                  <a:pt x="5963530" y="3983487"/>
                </a:cubicBezTo>
                <a:cubicBezTo>
                  <a:pt x="5965879" y="3990533"/>
                  <a:pt x="5979972" y="3988184"/>
                  <a:pt x="5982321" y="3985835"/>
                </a:cubicBezTo>
                <a:lnTo>
                  <a:pt x="5982403" y="3984712"/>
                </a:lnTo>
                <a:lnTo>
                  <a:pt x="6006982" y="4018131"/>
                </a:lnTo>
                <a:cubicBezTo>
                  <a:pt x="6029883" y="4048078"/>
                  <a:pt x="6051609" y="4078612"/>
                  <a:pt x="6066877" y="4112669"/>
                </a:cubicBezTo>
                <a:cubicBezTo>
                  <a:pt x="6066877" y="4115018"/>
                  <a:pt x="6069225" y="4119716"/>
                  <a:pt x="6069225" y="4119716"/>
                </a:cubicBezTo>
                <a:cubicBezTo>
                  <a:pt x="6071574" y="4124413"/>
                  <a:pt x="6071574" y="4131460"/>
                  <a:pt x="6073923" y="4136157"/>
                </a:cubicBezTo>
                <a:cubicBezTo>
                  <a:pt x="6066877" y="4138506"/>
                  <a:pt x="6057481" y="4145552"/>
                  <a:pt x="6071574" y="4140855"/>
                </a:cubicBezTo>
                <a:cubicBezTo>
                  <a:pt x="6071574" y="4138506"/>
                  <a:pt x="6073923" y="4138506"/>
                  <a:pt x="6073923" y="4138506"/>
                </a:cubicBezTo>
                <a:cubicBezTo>
                  <a:pt x="6080969" y="4173738"/>
                  <a:pt x="6085667" y="4208969"/>
                  <a:pt x="6102109" y="4237155"/>
                </a:cubicBezTo>
                <a:cubicBezTo>
                  <a:pt x="6085667" y="4208969"/>
                  <a:pt x="6066877" y="4180784"/>
                  <a:pt x="6045737" y="4157296"/>
                </a:cubicBezTo>
                <a:cubicBezTo>
                  <a:pt x="6045737" y="4154948"/>
                  <a:pt x="6045737" y="4150250"/>
                  <a:pt x="6048086" y="4145552"/>
                </a:cubicBezTo>
                <a:cubicBezTo>
                  <a:pt x="6045737" y="4147901"/>
                  <a:pt x="6043389" y="4150250"/>
                  <a:pt x="6041040" y="4150250"/>
                </a:cubicBezTo>
                <a:cubicBezTo>
                  <a:pt x="6041040" y="4147901"/>
                  <a:pt x="6038691" y="4147901"/>
                  <a:pt x="6038691" y="4145552"/>
                </a:cubicBezTo>
                <a:cubicBezTo>
                  <a:pt x="6041040" y="4138506"/>
                  <a:pt x="6043389" y="4129111"/>
                  <a:pt x="6031645" y="4122064"/>
                </a:cubicBezTo>
                <a:cubicBezTo>
                  <a:pt x="6033993" y="4126762"/>
                  <a:pt x="6033993" y="4133808"/>
                  <a:pt x="6033993" y="4138506"/>
                </a:cubicBezTo>
                <a:cubicBezTo>
                  <a:pt x="5991716" y="4091530"/>
                  <a:pt x="5944740" y="4049252"/>
                  <a:pt x="5911857" y="3990533"/>
                </a:cubicBezTo>
                <a:cubicBezTo>
                  <a:pt x="5911857" y="3988184"/>
                  <a:pt x="5909508" y="3988184"/>
                  <a:pt x="5909508" y="3988184"/>
                </a:cubicBezTo>
                <a:cubicBezTo>
                  <a:pt x="5883672" y="3978789"/>
                  <a:pt x="5869579" y="3955301"/>
                  <a:pt x="5850788" y="3938860"/>
                </a:cubicBezTo>
                <a:cubicBezTo>
                  <a:pt x="5850788" y="3934162"/>
                  <a:pt x="5848439" y="3931814"/>
                  <a:pt x="5841393" y="3927116"/>
                </a:cubicBezTo>
                <a:cubicBezTo>
                  <a:pt x="5841393" y="3927116"/>
                  <a:pt x="5839044" y="3929465"/>
                  <a:pt x="5839044" y="3929465"/>
                </a:cubicBezTo>
                <a:cubicBezTo>
                  <a:pt x="5834347" y="3924767"/>
                  <a:pt x="5829649" y="3922418"/>
                  <a:pt x="5822603" y="3920070"/>
                </a:cubicBezTo>
                <a:cubicBezTo>
                  <a:pt x="5824951" y="3927116"/>
                  <a:pt x="5829649" y="3931814"/>
                  <a:pt x="5831998" y="3938860"/>
                </a:cubicBezTo>
                <a:cubicBezTo>
                  <a:pt x="5822603" y="3950604"/>
                  <a:pt x="5815556" y="3962347"/>
                  <a:pt x="5810859" y="3974091"/>
                </a:cubicBezTo>
                <a:cubicBezTo>
                  <a:pt x="5803812" y="3971743"/>
                  <a:pt x="5796766" y="3967045"/>
                  <a:pt x="5787371" y="3967045"/>
                </a:cubicBezTo>
                <a:cubicBezTo>
                  <a:pt x="5794417" y="3976440"/>
                  <a:pt x="5799115" y="3988184"/>
                  <a:pt x="5806161" y="3997579"/>
                </a:cubicBezTo>
                <a:cubicBezTo>
                  <a:pt x="5806161" y="4006974"/>
                  <a:pt x="5808510" y="4018718"/>
                  <a:pt x="5815556" y="4028113"/>
                </a:cubicBezTo>
                <a:cubicBezTo>
                  <a:pt x="5817905" y="4023416"/>
                  <a:pt x="5817905" y="4018718"/>
                  <a:pt x="5817905" y="4014021"/>
                </a:cubicBezTo>
                <a:cubicBezTo>
                  <a:pt x="5855485" y="4072740"/>
                  <a:pt x="5900113" y="4126762"/>
                  <a:pt x="5928299" y="4197225"/>
                </a:cubicBezTo>
                <a:cubicBezTo>
                  <a:pt x="5925950" y="4204272"/>
                  <a:pt x="5923601" y="4187830"/>
                  <a:pt x="5918903" y="4187830"/>
                </a:cubicBezTo>
                <a:cubicBezTo>
                  <a:pt x="5921252" y="4208969"/>
                  <a:pt x="5930647" y="4232457"/>
                  <a:pt x="5937694" y="4255945"/>
                </a:cubicBezTo>
                <a:cubicBezTo>
                  <a:pt x="5935345" y="4255945"/>
                  <a:pt x="5932996" y="4255945"/>
                  <a:pt x="5930647" y="4258294"/>
                </a:cubicBezTo>
                <a:cubicBezTo>
                  <a:pt x="5935345" y="4265340"/>
                  <a:pt x="5932996" y="4277084"/>
                  <a:pt x="5935345" y="4284130"/>
                </a:cubicBezTo>
                <a:cubicBezTo>
                  <a:pt x="5935345" y="4284130"/>
                  <a:pt x="5935345" y="4286479"/>
                  <a:pt x="5935345" y="4286479"/>
                </a:cubicBezTo>
                <a:cubicBezTo>
                  <a:pt x="5907159" y="4185481"/>
                  <a:pt x="5839044" y="4122064"/>
                  <a:pt x="5782673" y="4046904"/>
                </a:cubicBezTo>
                <a:cubicBezTo>
                  <a:pt x="5803812" y="4119716"/>
                  <a:pt x="5881323" y="4159645"/>
                  <a:pt x="5907159" y="4234806"/>
                </a:cubicBezTo>
                <a:cubicBezTo>
                  <a:pt x="5888370" y="4227759"/>
                  <a:pt x="5876626" y="4194877"/>
                  <a:pt x="5853137" y="4185481"/>
                </a:cubicBezTo>
                <a:cubicBezTo>
                  <a:pt x="5857834" y="4201923"/>
                  <a:pt x="5864882" y="4216016"/>
                  <a:pt x="5874277" y="4227759"/>
                </a:cubicBezTo>
                <a:cubicBezTo>
                  <a:pt x="5848439" y="4206621"/>
                  <a:pt x="5846090" y="4169040"/>
                  <a:pt x="5820254" y="4145552"/>
                </a:cubicBezTo>
                <a:cubicBezTo>
                  <a:pt x="5799115" y="4126762"/>
                  <a:pt x="5770930" y="4112669"/>
                  <a:pt x="5747442" y="4091530"/>
                </a:cubicBezTo>
                <a:cubicBezTo>
                  <a:pt x="5731000" y="4077438"/>
                  <a:pt x="5716908" y="4058647"/>
                  <a:pt x="5700466" y="4042206"/>
                </a:cubicBezTo>
                <a:cubicBezTo>
                  <a:pt x="5698117" y="4044555"/>
                  <a:pt x="5695768" y="4044555"/>
                  <a:pt x="5693420" y="4044555"/>
                </a:cubicBezTo>
                <a:cubicBezTo>
                  <a:pt x="5695768" y="4030462"/>
                  <a:pt x="5700466" y="4021067"/>
                  <a:pt x="5705164" y="4014021"/>
                </a:cubicBezTo>
                <a:cubicBezTo>
                  <a:pt x="5667583" y="3974091"/>
                  <a:pt x="5684025" y="3903628"/>
                  <a:pt x="5705164" y="3863699"/>
                </a:cubicBezTo>
                <a:cubicBezTo>
                  <a:pt x="5695768" y="3859001"/>
                  <a:pt x="5669932" y="3868396"/>
                  <a:pt x="5669932" y="3849606"/>
                </a:cubicBezTo>
                <a:cubicBezTo>
                  <a:pt x="5674630" y="3835513"/>
                  <a:pt x="5672281" y="3809677"/>
                  <a:pt x="5674630" y="3781492"/>
                </a:cubicBezTo>
                <a:cubicBezTo>
                  <a:pt x="5676978" y="3781492"/>
                  <a:pt x="5679327" y="3781492"/>
                  <a:pt x="5681676" y="3781492"/>
                </a:cubicBezTo>
                <a:cubicBezTo>
                  <a:pt x="5686373" y="3781492"/>
                  <a:pt x="5691071" y="3779143"/>
                  <a:pt x="5688722" y="3769748"/>
                </a:cubicBezTo>
                <a:cubicBezTo>
                  <a:pt x="5721605" y="3765050"/>
                  <a:pt x="5759186" y="3732167"/>
                  <a:pt x="5770930" y="3746260"/>
                </a:cubicBezTo>
                <a:cubicBezTo>
                  <a:pt x="5775627" y="3743911"/>
                  <a:pt x="5777976" y="3741562"/>
                  <a:pt x="5782673" y="3739213"/>
                </a:cubicBezTo>
                <a:cubicBezTo>
                  <a:pt x="5780325" y="3746260"/>
                  <a:pt x="5787371" y="3758004"/>
                  <a:pt x="5789720" y="3767399"/>
                </a:cubicBezTo>
                <a:cubicBezTo>
                  <a:pt x="5789720" y="3755655"/>
                  <a:pt x="5796766" y="3743911"/>
                  <a:pt x="5789720" y="3734516"/>
                </a:cubicBezTo>
                <a:cubicBezTo>
                  <a:pt x="5810859" y="3720423"/>
                  <a:pt x="5822603" y="3696936"/>
                  <a:pt x="5839044" y="3675796"/>
                </a:cubicBezTo>
                <a:cubicBezTo>
                  <a:pt x="5843742" y="3675796"/>
                  <a:pt x="5846090" y="3678145"/>
                  <a:pt x="5848439" y="3678145"/>
                </a:cubicBezTo>
                <a:cubicBezTo>
                  <a:pt x="5834347" y="3668750"/>
                  <a:pt x="5822603" y="3661704"/>
                  <a:pt x="5808510" y="3652309"/>
                </a:cubicBezTo>
                <a:cubicBezTo>
                  <a:pt x="5810859" y="3640565"/>
                  <a:pt x="5815556" y="3626472"/>
                  <a:pt x="5820254" y="3614728"/>
                </a:cubicBezTo>
                <a:cubicBezTo>
                  <a:pt x="5839044" y="3628821"/>
                  <a:pt x="5857834" y="3642914"/>
                  <a:pt x="5876626" y="3657006"/>
                </a:cubicBezTo>
                <a:cubicBezTo>
                  <a:pt x="5883672" y="3649960"/>
                  <a:pt x="5893067" y="3645262"/>
                  <a:pt x="5907159" y="3652309"/>
                </a:cubicBezTo>
                <a:cubicBezTo>
                  <a:pt x="5881323" y="3631170"/>
                  <a:pt x="5855485" y="3610031"/>
                  <a:pt x="5829649" y="3591241"/>
                </a:cubicBezTo>
                <a:cubicBezTo>
                  <a:pt x="5829649" y="3591241"/>
                  <a:pt x="5829649" y="3588892"/>
                  <a:pt x="5829649" y="3588892"/>
                </a:cubicBezTo>
                <a:cubicBezTo>
                  <a:pt x="5860183" y="3595938"/>
                  <a:pt x="5860183" y="3577148"/>
                  <a:pt x="5864882" y="3565404"/>
                </a:cubicBezTo>
                <a:cubicBezTo>
                  <a:pt x="5871928" y="3567753"/>
                  <a:pt x="5876626" y="3572450"/>
                  <a:pt x="5881323" y="3577148"/>
                </a:cubicBezTo>
                <a:cubicBezTo>
                  <a:pt x="5881323" y="3581845"/>
                  <a:pt x="5883672" y="3586543"/>
                  <a:pt x="5888370" y="3584194"/>
                </a:cubicBezTo>
                <a:cubicBezTo>
                  <a:pt x="5900113" y="3595938"/>
                  <a:pt x="5914206" y="3605333"/>
                  <a:pt x="5925950" y="3617077"/>
                </a:cubicBezTo>
                <a:cubicBezTo>
                  <a:pt x="5928299" y="3617077"/>
                  <a:pt x="5928299" y="3614728"/>
                  <a:pt x="5928299" y="3614728"/>
                </a:cubicBezTo>
                <a:cubicBezTo>
                  <a:pt x="5916555" y="3605333"/>
                  <a:pt x="5902462" y="3593589"/>
                  <a:pt x="5890718" y="3584194"/>
                </a:cubicBezTo>
                <a:cubicBezTo>
                  <a:pt x="5893067" y="3584194"/>
                  <a:pt x="5893067" y="3584194"/>
                  <a:pt x="5895416" y="3581845"/>
                </a:cubicBezTo>
                <a:cubicBezTo>
                  <a:pt x="5895416" y="3572450"/>
                  <a:pt x="5893067" y="3563055"/>
                  <a:pt x="5893067" y="3553660"/>
                </a:cubicBezTo>
                <a:cubicBezTo>
                  <a:pt x="5902462" y="3560706"/>
                  <a:pt x="5911857" y="3565404"/>
                  <a:pt x="5921252" y="3572450"/>
                </a:cubicBezTo>
                <a:cubicBezTo>
                  <a:pt x="5923601" y="3581845"/>
                  <a:pt x="5928299" y="3591241"/>
                  <a:pt x="5937694" y="3598287"/>
                </a:cubicBezTo>
                <a:cubicBezTo>
                  <a:pt x="5940043" y="3591241"/>
                  <a:pt x="5942391" y="3588892"/>
                  <a:pt x="5944740" y="3586543"/>
                </a:cubicBezTo>
                <a:cubicBezTo>
                  <a:pt x="5947089" y="3586543"/>
                  <a:pt x="5947089" y="3586543"/>
                  <a:pt x="5949438" y="3588892"/>
                </a:cubicBezTo>
                <a:cubicBezTo>
                  <a:pt x="5951786" y="3586543"/>
                  <a:pt x="5951786" y="3586543"/>
                  <a:pt x="5954135" y="3586543"/>
                </a:cubicBezTo>
                <a:cubicBezTo>
                  <a:pt x="5954135" y="3588892"/>
                  <a:pt x="5956484" y="3591241"/>
                  <a:pt x="5956484" y="3593589"/>
                </a:cubicBezTo>
                <a:cubicBezTo>
                  <a:pt x="5956484" y="3598287"/>
                  <a:pt x="5958833" y="3602985"/>
                  <a:pt x="5958833" y="3605333"/>
                </a:cubicBezTo>
                <a:cubicBezTo>
                  <a:pt x="5961181" y="3602985"/>
                  <a:pt x="5963530" y="3600636"/>
                  <a:pt x="5963530" y="3598287"/>
                </a:cubicBezTo>
                <a:cubicBezTo>
                  <a:pt x="5965879" y="3600636"/>
                  <a:pt x="5968228" y="3600636"/>
                  <a:pt x="5970577" y="3602985"/>
                </a:cubicBezTo>
                <a:cubicBezTo>
                  <a:pt x="5970577" y="3607682"/>
                  <a:pt x="5975274" y="3610031"/>
                  <a:pt x="5982321" y="3612380"/>
                </a:cubicBezTo>
                <a:cubicBezTo>
                  <a:pt x="5977623" y="3591241"/>
                  <a:pt x="5989367" y="3588892"/>
                  <a:pt x="5982321" y="3565404"/>
                </a:cubicBezTo>
                <a:cubicBezTo>
                  <a:pt x="5991716" y="3567753"/>
                  <a:pt x="5991716" y="3579497"/>
                  <a:pt x="5998762" y="3572450"/>
                </a:cubicBezTo>
                <a:cubicBezTo>
                  <a:pt x="5984669" y="3570101"/>
                  <a:pt x="6001111" y="3553660"/>
                  <a:pt x="5989367" y="3548963"/>
                </a:cubicBezTo>
                <a:cubicBezTo>
                  <a:pt x="5979972" y="3553660"/>
                  <a:pt x="5972925" y="3570101"/>
                  <a:pt x="5961181" y="3570101"/>
                </a:cubicBezTo>
                <a:cubicBezTo>
                  <a:pt x="5956484" y="3560706"/>
                  <a:pt x="5970577" y="3541916"/>
                  <a:pt x="5956484" y="3534870"/>
                </a:cubicBezTo>
                <a:cubicBezTo>
                  <a:pt x="5942391" y="3553660"/>
                  <a:pt x="5963530" y="3558358"/>
                  <a:pt x="5954135" y="3574799"/>
                </a:cubicBezTo>
                <a:cubicBezTo>
                  <a:pt x="5940043" y="3551311"/>
                  <a:pt x="5928299" y="3537219"/>
                  <a:pt x="5951786" y="3532521"/>
                </a:cubicBezTo>
                <a:cubicBezTo>
                  <a:pt x="5942391" y="3532521"/>
                  <a:pt x="5937694" y="3527823"/>
                  <a:pt x="5935345" y="3523126"/>
                </a:cubicBezTo>
                <a:lnTo>
                  <a:pt x="5940043" y="3516079"/>
                </a:lnTo>
                <a:lnTo>
                  <a:pt x="5925950" y="3509033"/>
                </a:lnTo>
                <a:cubicBezTo>
                  <a:pt x="5921252" y="3506684"/>
                  <a:pt x="5918903" y="3504336"/>
                  <a:pt x="5916555" y="3501987"/>
                </a:cubicBezTo>
                <a:cubicBezTo>
                  <a:pt x="5923601" y="3480848"/>
                  <a:pt x="5940043" y="3457360"/>
                  <a:pt x="5909508" y="3462058"/>
                </a:cubicBezTo>
                <a:cubicBezTo>
                  <a:pt x="5932996" y="3478499"/>
                  <a:pt x="5907159" y="3471453"/>
                  <a:pt x="5904811" y="3473802"/>
                </a:cubicBezTo>
                <a:cubicBezTo>
                  <a:pt x="5904811" y="3478499"/>
                  <a:pt x="5904811" y="3485546"/>
                  <a:pt x="5904811" y="3492592"/>
                </a:cubicBezTo>
                <a:cubicBezTo>
                  <a:pt x="5890718" y="3480848"/>
                  <a:pt x="5878974" y="3471453"/>
                  <a:pt x="5867230" y="3459709"/>
                </a:cubicBezTo>
                <a:cubicBezTo>
                  <a:pt x="5860183" y="3452662"/>
                  <a:pt x="5855485" y="3447965"/>
                  <a:pt x="5848439" y="3440919"/>
                </a:cubicBezTo>
                <a:cubicBezTo>
                  <a:pt x="5853137" y="3440919"/>
                  <a:pt x="5857834" y="3440919"/>
                  <a:pt x="5862532" y="3443268"/>
                </a:cubicBezTo>
                <a:cubicBezTo>
                  <a:pt x="5857834" y="3419780"/>
                  <a:pt x="5862532" y="3398641"/>
                  <a:pt x="5871928" y="3375153"/>
                </a:cubicBezTo>
                <a:cubicBezTo>
                  <a:pt x="5886021" y="3384548"/>
                  <a:pt x="5902462" y="3393943"/>
                  <a:pt x="5916555" y="3405687"/>
                </a:cubicBezTo>
                <a:lnTo>
                  <a:pt x="5975274" y="3447965"/>
                </a:lnTo>
                <a:cubicBezTo>
                  <a:pt x="5996413" y="3462058"/>
                  <a:pt x="6012855" y="3478499"/>
                  <a:pt x="6031645" y="3487894"/>
                </a:cubicBezTo>
                <a:cubicBezTo>
                  <a:pt x="6036342" y="3492592"/>
                  <a:pt x="6043389" y="3497289"/>
                  <a:pt x="6048086" y="3501987"/>
                </a:cubicBezTo>
                <a:cubicBezTo>
                  <a:pt x="6038691" y="3487894"/>
                  <a:pt x="6029296" y="3473802"/>
                  <a:pt x="6019901" y="3462058"/>
                </a:cubicBezTo>
                <a:cubicBezTo>
                  <a:pt x="6003460" y="3447965"/>
                  <a:pt x="5987018" y="3431524"/>
                  <a:pt x="5968228" y="3419780"/>
                </a:cubicBezTo>
                <a:cubicBezTo>
                  <a:pt x="5958833" y="3412733"/>
                  <a:pt x="5951786" y="3405687"/>
                  <a:pt x="5942391" y="3400989"/>
                </a:cubicBezTo>
                <a:cubicBezTo>
                  <a:pt x="5944740" y="3400989"/>
                  <a:pt x="5944740" y="3400989"/>
                  <a:pt x="5947089" y="3400989"/>
                </a:cubicBezTo>
                <a:cubicBezTo>
                  <a:pt x="5942391" y="3386897"/>
                  <a:pt x="5937694" y="3356363"/>
                  <a:pt x="5947089" y="3344658"/>
                </a:cubicBezTo>
                <a:cubicBezTo>
                  <a:pt x="5949438" y="3347004"/>
                  <a:pt x="5951786" y="3349336"/>
                  <a:pt x="5954135" y="3351665"/>
                </a:cubicBezTo>
                <a:cubicBezTo>
                  <a:pt x="5954135" y="3361060"/>
                  <a:pt x="5947089" y="3372804"/>
                  <a:pt x="5956484" y="3377502"/>
                </a:cubicBezTo>
                <a:cubicBezTo>
                  <a:pt x="5958833" y="3372804"/>
                  <a:pt x="5961181" y="3365758"/>
                  <a:pt x="5963530" y="3358711"/>
                </a:cubicBezTo>
                <a:cubicBezTo>
                  <a:pt x="5968228" y="3363409"/>
                  <a:pt x="5975274" y="3368107"/>
                  <a:pt x="5979972" y="3372804"/>
                </a:cubicBezTo>
                <a:cubicBezTo>
                  <a:pt x="5979972" y="3386897"/>
                  <a:pt x="5975274" y="3403338"/>
                  <a:pt x="5982321" y="3415082"/>
                </a:cubicBezTo>
                <a:cubicBezTo>
                  <a:pt x="5991716" y="3398641"/>
                  <a:pt x="5987018" y="3389246"/>
                  <a:pt x="5987018" y="3377502"/>
                </a:cubicBezTo>
                <a:cubicBezTo>
                  <a:pt x="6003460" y="3389246"/>
                  <a:pt x="6019901" y="3400989"/>
                  <a:pt x="6033993" y="3412733"/>
                </a:cubicBezTo>
                <a:cubicBezTo>
                  <a:pt x="6022249" y="3410384"/>
                  <a:pt x="6010506" y="3393943"/>
                  <a:pt x="5998762" y="3398641"/>
                </a:cubicBezTo>
                <a:cubicBezTo>
                  <a:pt x="6019901" y="3417431"/>
                  <a:pt x="6045737" y="3417431"/>
                  <a:pt x="6071574" y="3431524"/>
                </a:cubicBezTo>
                <a:cubicBezTo>
                  <a:pt x="6064527" y="3417431"/>
                  <a:pt x="6055719" y="3403926"/>
                  <a:pt x="6045737" y="3391301"/>
                </a:cubicBezTo>
                <a:lnTo>
                  <a:pt x="6025038" y="3369308"/>
                </a:lnTo>
                <a:lnTo>
                  <a:pt x="6031278" y="3365905"/>
                </a:lnTo>
                <a:cubicBezTo>
                  <a:pt x="6032819" y="3363262"/>
                  <a:pt x="6032819" y="3359299"/>
                  <a:pt x="6029296" y="3354014"/>
                </a:cubicBezTo>
                <a:lnTo>
                  <a:pt x="6020537" y="3364525"/>
                </a:lnTo>
                <a:lnTo>
                  <a:pt x="6012855" y="3356363"/>
                </a:lnTo>
                <a:cubicBezTo>
                  <a:pt x="6010506" y="3351665"/>
                  <a:pt x="6010506" y="3344658"/>
                  <a:pt x="6015203" y="3335256"/>
                </a:cubicBezTo>
                <a:cubicBezTo>
                  <a:pt x="6019901" y="3347004"/>
                  <a:pt x="6026947" y="3349336"/>
                  <a:pt x="6033993" y="3337608"/>
                </a:cubicBezTo>
                <a:cubicBezTo>
                  <a:pt x="6041040" y="3309400"/>
                  <a:pt x="6045737" y="3281270"/>
                  <a:pt x="6048086" y="3250742"/>
                </a:cubicBezTo>
                <a:cubicBezTo>
                  <a:pt x="6055133" y="3257792"/>
                  <a:pt x="6062179" y="3264856"/>
                  <a:pt x="6071574" y="3269553"/>
                </a:cubicBezTo>
                <a:cubicBezTo>
                  <a:pt x="6062179" y="3260142"/>
                  <a:pt x="6055133" y="3248386"/>
                  <a:pt x="6048086" y="3238992"/>
                </a:cubicBezTo>
                <a:cubicBezTo>
                  <a:pt x="6048086" y="3229594"/>
                  <a:pt x="6050435" y="3222545"/>
                  <a:pt x="6050435" y="3215498"/>
                </a:cubicBezTo>
                <a:cubicBezTo>
                  <a:pt x="6069225" y="3203752"/>
                  <a:pt x="6076272" y="3184961"/>
                  <a:pt x="6095062" y="3173221"/>
                </a:cubicBezTo>
                <a:cubicBezTo>
                  <a:pt x="6095062" y="3175564"/>
                  <a:pt x="6095062" y="3177914"/>
                  <a:pt x="6095062" y="3180267"/>
                </a:cubicBezTo>
                <a:cubicBezTo>
                  <a:pt x="6083318" y="3194359"/>
                  <a:pt x="6071574" y="3208452"/>
                  <a:pt x="6057481" y="3220195"/>
                </a:cubicBezTo>
                <a:cubicBezTo>
                  <a:pt x="6069225" y="3213146"/>
                  <a:pt x="6083318" y="3201403"/>
                  <a:pt x="6097411" y="3187313"/>
                </a:cubicBezTo>
                <a:cubicBezTo>
                  <a:pt x="6099760" y="3184961"/>
                  <a:pt x="6109155" y="3177914"/>
                  <a:pt x="6111503" y="3170870"/>
                </a:cubicBezTo>
                <a:cubicBezTo>
                  <a:pt x="6113852" y="3168520"/>
                  <a:pt x="6116201" y="3163820"/>
                  <a:pt x="6118550" y="3161471"/>
                </a:cubicBezTo>
                <a:close/>
                <a:moveTo>
                  <a:pt x="5334058" y="3161439"/>
                </a:moveTo>
                <a:lnTo>
                  <a:pt x="5336407" y="3161439"/>
                </a:lnTo>
                <a:lnTo>
                  <a:pt x="5336407" y="3163787"/>
                </a:lnTo>
                <a:lnTo>
                  <a:pt x="5338755" y="3163787"/>
                </a:lnTo>
                <a:lnTo>
                  <a:pt x="5334058" y="3166138"/>
                </a:lnTo>
                <a:close/>
                <a:moveTo>
                  <a:pt x="6090365" y="3159125"/>
                </a:moveTo>
                <a:cubicBezTo>
                  <a:pt x="6085667" y="3175564"/>
                  <a:pt x="6069225" y="3192009"/>
                  <a:pt x="6052784" y="3208452"/>
                </a:cubicBezTo>
                <a:cubicBezTo>
                  <a:pt x="6052784" y="3199053"/>
                  <a:pt x="6052784" y="3189661"/>
                  <a:pt x="6055133" y="3182614"/>
                </a:cubicBezTo>
                <a:cubicBezTo>
                  <a:pt x="6055133" y="3180267"/>
                  <a:pt x="6057481" y="3177914"/>
                  <a:pt x="6057481" y="3177914"/>
                </a:cubicBezTo>
                <a:cubicBezTo>
                  <a:pt x="6064528" y="3177914"/>
                  <a:pt x="6052784" y="3184962"/>
                  <a:pt x="6055133" y="3189661"/>
                </a:cubicBezTo>
                <a:cubicBezTo>
                  <a:pt x="6071574" y="3182614"/>
                  <a:pt x="6080969" y="3170871"/>
                  <a:pt x="6090365" y="3159125"/>
                </a:cubicBezTo>
                <a:close/>
                <a:moveTo>
                  <a:pt x="5218968" y="3159096"/>
                </a:moveTo>
                <a:cubicBezTo>
                  <a:pt x="5223665" y="3161445"/>
                  <a:pt x="5223665" y="3161445"/>
                  <a:pt x="5223665" y="3163793"/>
                </a:cubicBezTo>
                <a:lnTo>
                  <a:pt x="5221316" y="3163793"/>
                </a:lnTo>
                <a:cubicBezTo>
                  <a:pt x="5221316" y="3163793"/>
                  <a:pt x="5218968" y="3161445"/>
                  <a:pt x="5218968" y="3159096"/>
                </a:cubicBezTo>
                <a:close/>
                <a:moveTo>
                  <a:pt x="5568936" y="3159076"/>
                </a:moveTo>
                <a:lnTo>
                  <a:pt x="5568936" y="3161428"/>
                </a:lnTo>
                <a:lnTo>
                  <a:pt x="5566587" y="3163774"/>
                </a:lnTo>
                <a:lnTo>
                  <a:pt x="5566587" y="3161428"/>
                </a:lnTo>
                <a:close/>
                <a:moveTo>
                  <a:pt x="5289432" y="3156750"/>
                </a:moveTo>
                <a:cubicBezTo>
                  <a:pt x="5294129" y="3159098"/>
                  <a:pt x="5291780" y="3159098"/>
                  <a:pt x="5291780" y="3163796"/>
                </a:cubicBezTo>
                <a:lnTo>
                  <a:pt x="5287083" y="3161448"/>
                </a:lnTo>
                <a:lnTo>
                  <a:pt x="5289432" y="3159098"/>
                </a:lnTo>
                <a:cubicBezTo>
                  <a:pt x="5287083" y="3154401"/>
                  <a:pt x="5289432" y="3161448"/>
                  <a:pt x="5289432" y="3156750"/>
                </a:cubicBezTo>
                <a:close/>
                <a:moveTo>
                  <a:pt x="5935346" y="3154423"/>
                </a:moveTo>
                <a:cubicBezTo>
                  <a:pt x="5930648" y="3156772"/>
                  <a:pt x="5925951" y="3156772"/>
                  <a:pt x="5925951" y="3166171"/>
                </a:cubicBezTo>
                <a:lnTo>
                  <a:pt x="5932214" y="3174521"/>
                </a:lnTo>
                <a:lnTo>
                  <a:pt x="5930648" y="3175561"/>
                </a:lnTo>
                <a:lnTo>
                  <a:pt x="5931465" y="3176791"/>
                </a:lnTo>
                <a:lnTo>
                  <a:pt x="5921253" y="3184961"/>
                </a:lnTo>
                <a:lnTo>
                  <a:pt x="5914207" y="3184961"/>
                </a:lnTo>
                <a:lnTo>
                  <a:pt x="5904812" y="3184961"/>
                </a:lnTo>
                <a:lnTo>
                  <a:pt x="5904812" y="3187311"/>
                </a:lnTo>
                <a:lnTo>
                  <a:pt x="5914207" y="3187311"/>
                </a:lnTo>
                <a:lnTo>
                  <a:pt x="5914207" y="3194359"/>
                </a:lnTo>
                <a:lnTo>
                  <a:pt x="5923602" y="3192007"/>
                </a:lnTo>
                <a:lnTo>
                  <a:pt x="5932997" y="3196705"/>
                </a:lnTo>
                <a:lnTo>
                  <a:pt x="5930648" y="3189661"/>
                </a:lnTo>
                <a:lnTo>
                  <a:pt x="5940043" y="3189661"/>
                </a:lnTo>
                <a:lnTo>
                  <a:pt x="5931465" y="3176791"/>
                </a:lnTo>
                <a:lnTo>
                  <a:pt x="5932997" y="3175561"/>
                </a:lnTo>
                <a:lnTo>
                  <a:pt x="5932214" y="3174521"/>
                </a:lnTo>
                <a:lnTo>
                  <a:pt x="5937694" y="3170868"/>
                </a:lnTo>
                <a:lnTo>
                  <a:pt x="5949438" y="3184961"/>
                </a:lnTo>
                <a:lnTo>
                  <a:pt x="5963531" y="3182612"/>
                </a:lnTo>
                <a:lnTo>
                  <a:pt x="5963531" y="3180267"/>
                </a:lnTo>
                <a:lnTo>
                  <a:pt x="5949438" y="3177912"/>
                </a:lnTo>
                <a:lnTo>
                  <a:pt x="5951787" y="3170868"/>
                </a:lnTo>
                <a:lnTo>
                  <a:pt x="5958834" y="3175561"/>
                </a:lnTo>
                <a:cubicBezTo>
                  <a:pt x="5963531" y="3161471"/>
                  <a:pt x="5956485" y="3175561"/>
                  <a:pt x="5961182" y="3161471"/>
                </a:cubicBezTo>
                <a:lnTo>
                  <a:pt x="5951787" y="3161471"/>
                </a:lnTo>
                <a:lnTo>
                  <a:pt x="5956485" y="3168520"/>
                </a:lnTo>
                <a:lnTo>
                  <a:pt x="5951787" y="3170868"/>
                </a:lnTo>
                <a:lnTo>
                  <a:pt x="5944741" y="3163818"/>
                </a:lnTo>
                <a:lnTo>
                  <a:pt x="5935346" y="3170868"/>
                </a:lnTo>
                <a:lnTo>
                  <a:pt x="5932997" y="3166171"/>
                </a:lnTo>
                <a:lnTo>
                  <a:pt x="5940043" y="3156772"/>
                </a:lnTo>
                <a:close/>
                <a:moveTo>
                  <a:pt x="5848441" y="3154423"/>
                </a:moveTo>
                <a:lnTo>
                  <a:pt x="5848441" y="3161471"/>
                </a:lnTo>
                <a:lnTo>
                  <a:pt x="5855487" y="3161471"/>
                </a:lnTo>
                <a:close/>
                <a:moveTo>
                  <a:pt x="5559541" y="3154402"/>
                </a:moveTo>
                <a:lnTo>
                  <a:pt x="5559541" y="3161450"/>
                </a:lnTo>
                <a:lnTo>
                  <a:pt x="5554843" y="3159101"/>
                </a:lnTo>
                <a:close/>
                <a:moveTo>
                  <a:pt x="5263595" y="3154399"/>
                </a:moveTo>
                <a:cubicBezTo>
                  <a:pt x="5265944" y="3156747"/>
                  <a:pt x="5265944" y="3156747"/>
                  <a:pt x="5268292" y="3159096"/>
                </a:cubicBezTo>
                <a:cubicBezTo>
                  <a:pt x="5265944" y="3159096"/>
                  <a:pt x="5263595" y="3159096"/>
                  <a:pt x="5263595" y="3156747"/>
                </a:cubicBezTo>
                <a:cubicBezTo>
                  <a:pt x="5263595" y="3154399"/>
                  <a:pt x="5263595" y="3156747"/>
                  <a:pt x="5263595" y="3154399"/>
                </a:cubicBezTo>
                <a:close/>
                <a:moveTo>
                  <a:pt x="5216619" y="3154371"/>
                </a:moveTo>
                <a:lnTo>
                  <a:pt x="5218968" y="3156720"/>
                </a:lnTo>
                <a:lnTo>
                  <a:pt x="5216619" y="3156720"/>
                </a:lnTo>
                <a:close/>
                <a:moveTo>
                  <a:pt x="5282385" y="3154370"/>
                </a:moveTo>
                <a:lnTo>
                  <a:pt x="5282385" y="3156717"/>
                </a:lnTo>
                <a:lnTo>
                  <a:pt x="5280036" y="3156717"/>
                </a:lnTo>
                <a:close/>
                <a:moveTo>
                  <a:pt x="5561890" y="3152079"/>
                </a:moveTo>
                <a:lnTo>
                  <a:pt x="5568936" y="3152079"/>
                </a:lnTo>
                <a:cubicBezTo>
                  <a:pt x="5566587" y="3166171"/>
                  <a:pt x="5561890" y="3161471"/>
                  <a:pt x="5561890" y="3161471"/>
                </a:cubicBezTo>
                <a:close/>
                <a:moveTo>
                  <a:pt x="5918904" y="3149728"/>
                </a:moveTo>
                <a:cubicBezTo>
                  <a:pt x="5916556" y="3152079"/>
                  <a:pt x="5914207" y="3154423"/>
                  <a:pt x="5914207" y="3154423"/>
                </a:cubicBezTo>
                <a:cubicBezTo>
                  <a:pt x="5914207" y="3154423"/>
                  <a:pt x="5916556" y="3154423"/>
                  <a:pt x="5911858" y="3163818"/>
                </a:cubicBezTo>
                <a:lnTo>
                  <a:pt x="5921253" y="3163818"/>
                </a:lnTo>
                <a:cubicBezTo>
                  <a:pt x="5916556" y="3149728"/>
                  <a:pt x="5923602" y="3163818"/>
                  <a:pt x="5918904" y="3149728"/>
                </a:cubicBezTo>
                <a:close/>
                <a:moveTo>
                  <a:pt x="4380453" y="3149725"/>
                </a:moveTo>
                <a:cubicBezTo>
                  <a:pt x="4378104" y="3154423"/>
                  <a:pt x="4375755" y="3161469"/>
                  <a:pt x="4373407" y="3166171"/>
                </a:cubicBezTo>
                <a:cubicBezTo>
                  <a:pt x="4378104" y="3168520"/>
                  <a:pt x="4380453" y="3168520"/>
                  <a:pt x="4385151" y="3170868"/>
                </a:cubicBezTo>
                <a:cubicBezTo>
                  <a:pt x="4389848" y="3163819"/>
                  <a:pt x="4396894" y="3166171"/>
                  <a:pt x="4399243" y="3156772"/>
                </a:cubicBezTo>
                <a:cubicBezTo>
                  <a:pt x="4392197" y="3154423"/>
                  <a:pt x="4387499" y="3152079"/>
                  <a:pt x="4380453" y="3149725"/>
                </a:cubicBezTo>
                <a:close/>
                <a:moveTo>
                  <a:pt x="5350499" y="3149718"/>
                </a:moveTo>
                <a:cubicBezTo>
                  <a:pt x="5350499" y="3149718"/>
                  <a:pt x="5350499" y="3149718"/>
                  <a:pt x="5350499" y="3152069"/>
                </a:cubicBezTo>
                <a:lnTo>
                  <a:pt x="5350499" y="3156764"/>
                </a:lnTo>
                <a:cubicBezTo>
                  <a:pt x="5350499" y="3159115"/>
                  <a:pt x="5350499" y="3161460"/>
                  <a:pt x="5352848" y="3161460"/>
                </a:cubicBezTo>
                <a:cubicBezTo>
                  <a:pt x="5350499" y="3163811"/>
                  <a:pt x="5352848" y="3161460"/>
                  <a:pt x="5352848" y="3163811"/>
                </a:cubicBezTo>
                <a:lnTo>
                  <a:pt x="5350499" y="3163811"/>
                </a:lnTo>
                <a:lnTo>
                  <a:pt x="5350499" y="3161460"/>
                </a:lnTo>
                <a:lnTo>
                  <a:pt x="5348151" y="3161460"/>
                </a:lnTo>
                <a:lnTo>
                  <a:pt x="5345802" y="3159115"/>
                </a:lnTo>
                <a:cubicBezTo>
                  <a:pt x="5343453" y="3161460"/>
                  <a:pt x="5345802" y="3161460"/>
                  <a:pt x="5343453" y="3159115"/>
                </a:cubicBezTo>
                <a:cubicBezTo>
                  <a:pt x="5348151" y="3156764"/>
                  <a:pt x="5348151" y="3156764"/>
                  <a:pt x="5348151" y="3154413"/>
                </a:cubicBezTo>
                <a:cubicBezTo>
                  <a:pt x="5348151" y="3149718"/>
                  <a:pt x="5348151" y="3152069"/>
                  <a:pt x="5350499" y="3149718"/>
                </a:cubicBezTo>
                <a:close/>
                <a:moveTo>
                  <a:pt x="5211921" y="3149715"/>
                </a:moveTo>
                <a:lnTo>
                  <a:pt x="5214270" y="3152063"/>
                </a:lnTo>
                <a:lnTo>
                  <a:pt x="5211921" y="3154410"/>
                </a:lnTo>
                <a:cubicBezTo>
                  <a:pt x="5214270" y="3156761"/>
                  <a:pt x="5211921" y="3156761"/>
                  <a:pt x="5211921" y="3159109"/>
                </a:cubicBezTo>
                <a:cubicBezTo>
                  <a:pt x="5209572" y="3159109"/>
                  <a:pt x="5211921" y="3156761"/>
                  <a:pt x="5207224" y="3159109"/>
                </a:cubicBezTo>
                <a:cubicBezTo>
                  <a:pt x="5207224" y="3154410"/>
                  <a:pt x="5209572" y="3154410"/>
                  <a:pt x="5211921" y="3152063"/>
                </a:cubicBezTo>
                <a:cubicBezTo>
                  <a:pt x="5209572" y="3147364"/>
                  <a:pt x="5211921" y="3154410"/>
                  <a:pt x="5211921" y="3149715"/>
                </a:cubicBezTo>
                <a:close/>
                <a:moveTo>
                  <a:pt x="5193131" y="3149713"/>
                </a:moveTo>
                <a:lnTo>
                  <a:pt x="5195480" y="3152063"/>
                </a:lnTo>
                <a:lnTo>
                  <a:pt x="5195480" y="3156759"/>
                </a:lnTo>
                <a:cubicBezTo>
                  <a:pt x="5193131" y="3154407"/>
                  <a:pt x="5193131" y="3154407"/>
                  <a:pt x="5190782" y="3154407"/>
                </a:cubicBezTo>
                <a:lnTo>
                  <a:pt x="5188434" y="3152063"/>
                </a:lnTo>
                <a:cubicBezTo>
                  <a:pt x="5190782" y="3149713"/>
                  <a:pt x="5188434" y="3149713"/>
                  <a:pt x="5193131" y="3149713"/>
                </a:cubicBezTo>
                <a:close/>
                <a:moveTo>
                  <a:pt x="5357546" y="3149697"/>
                </a:moveTo>
                <a:lnTo>
                  <a:pt x="5359895" y="3152047"/>
                </a:lnTo>
                <a:cubicBezTo>
                  <a:pt x="5359895" y="3154393"/>
                  <a:pt x="5359895" y="3154393"/>
                  <a:pt x="5357546" y="3154393"/>
                </a:cubicBezTo>
                <a:close/>
                <a:moveTo>
                  <a:pt x="5275339" y="3149685"/>
                </a:moveTo>
                <a:lnTo>
                  <a:pt x="5275339" y="3152033"/>
                </a:lnTo>
                <a:lnTo>
                  <a:pt x="5275339" y="3154381"/>
                </a:lnTo>
                <a:lnTo>
                  <a:pt x="5272990" y="3152033"/>
                </a:lnTo>
                <a:close/>
                <a:moveTo>
                  <a:pt x="5176690" y="3149671"/>
                </a:moveTo>
                <a:lnTo>
                  <a:pt x="5179038" y="3152020"/>
                </a:lnTo>
                <a:lnTo>
                  <a:pt x="5176690" y="3152020"/>
                </a:lnTo>
                <a:close/>
                <a:moveTo>
                  <a:pt x="4124437" y="3147378"/>
                </a:moveTo>
                <a:cubicBezTo>
                  <a:pt x="4089204" y="3170868"/>
                  <a:pt x="4075111" y="3173219"/>
                  <a:pt x="4068066" y="3220195"/>
                </a:cubicBezTo>
                <a:cubicBezTo>
                  <a:pt x="4082158" y="3236641"/>
                  <a:pt x="4103297" y="3243691"/>
                  <a:pt x="4117390" y="3253091"/>
                </a:cubicBezTo>
                <a:cubicBezTo>
                  <a:pt x="4115041" y="3255436"/>
                  <a:pt x="4115041" y="3260142"/>
                  <a:pt x="4119738" y="3260142"/>
                </a:cubicBezTo>
                <a:cubicBezTo>
                  <a:pt x="4136180" y="3243691"/>
                  <a:pt x="4157319" y="3236641"/>
                  <a:pt x="4176109" y="3222544"/>
                </a:cubicBezTo>
                <a:cubicBezTo>
                  <a:pt x="4171412" y="3238992"/>
                  <a:pt x="4227782" y="3260142"/>
                  <a:pt x="4241875" y="3243691"/>
                </a:cubicBezTo>
                <a:cubicBezTo>
                  <a:pt x="4218387" y="3243691"/>
                  <a:pt x="4180806" y="3229593"/>
                  <a:pt x="4173760" y="3208446"/>
                </a:cubicBezTo>
                <a:cubicBezTo>
                  <a:pt x="4187853" y="3206100"/>
                  <a:pt x="4159668" y="3182612"/>
                  <a:pt x="4171412" y="3166171"/>
                </a:cubicBezTo>
                <a:cubicBezTo>
                  <a:pt x="4145575" y="3152079"/>
                  <a:pt x="4138529" y="3161469"/>
                  <a:pt x="4124437" y="3147378"/>
                </a:cubicBezTo>
                <a:close/>
                <a:moveTo>
                  <a:pt x="1808545" y="3147378"/>
                </a:moveTo>
                <a:cubicBezTo>
                  <a:pt x="1801497" y="3149725"/>
                  <a:pt x="1789753" y="3159122"/>
                  <a:pt x="1801497" y="3152079"/>
                </a:cubicBezTo>
                <a:cubicBezTo>
                  <a:pt x="1803846" y="3149725"/>
                  <a:pt x="1806195" y="3147378"/>
                  <a:pt x="1808545" y="3147378"/>
                </a:cubicBezTo>
                <a:close/>
                <a:moveTo>
                  <a:pt x="5343453" y="3147349"/>
                </a:moveTo>
                <a:lnTo>
                  <a:pt x="5345802" y="3147349"/>
                </a:lnTo>
                <a:cubicBezTo>
                  <a:pt x="5345802" y="3152047"/>
                  <a:pt x="5348151" y="3149697"/>
                  <a:pt x="5343453" y="3152047"/>
                </a:cubicBezTo>
                <a:close/>
                <a:moveTo>
                  <a:pt x="5298826" y="3147328"/>
                </a:moveTo>
                <a:lnTo>
                  <a:pt x="5303523" y="3147328"/>
                </a:lnTo>
                <a:lnTo>
                  <a:pt x="5301175" y="3149676"/>
                </a:lnTo>
                <a:close/>
                <a:moveTo>
                  <a:pt x="51679" y="3145044"/>
                </a:moveTo>
                <a:cubicBezTo>
                  <a:pt x="61088" y="3147389"/>
                  <a:pt x="61088" y="3163831"/>
                  <a:pt x="65788" y="3170878"/>
                </a:cubicBezTo>
                <a:cubicBezTo>
                  <a:pt x="70489" y="3177922"/>
                  <a:pt x="79864" y="3180270"/>
                  <a:pt x="84564" y="3187317"/>
                </a:cubicBezTo>
                <a:cubicBezTo>
                  <a:pt x="86906" y="3189663"/>
                  <a:pt x="86906" y="3194362"/>
                  <a:pt x="86906" y="3196708"/>
                </a:cubicBezTo>
                <a:cubicBezTo>
                  <a:pt x="84564" y="3199057"/>
                  <a:pt x="79864" y="3206104"/>
                  <a:pt x="79864" y="3206104"/>
                </a:cubicBezTo>
                <a:cubicBezTo>
                  <a:pt x="75163" y="3206104"/>
                  <a:pt x="70489" y="3201406"/>
                  <a:pt x="68121" y="3203754"/>
                </a:cubicBezTo>
                <a:cubicBezTo>
                  <a:pt x="65788" y="3206104"/>
                  <a:pt x="65788" y="3210801"/>
                  <a:pt x="65788" y="3213150"/>
                </a:cubicBezTo>
                <a:cubicBezTo>
                  <a:pt x="65788" y="3213150"/>
                  <a:pt x="65788" y="3220195"/>
                  <a:pt x="65788" y="3222545"/>
                </a:cubicBezTo>
                <a:lnTo>
                  <a:pt x="54046" y="3255449"/>
                </a:lnTo>
                <a:cubicBezTo>
                  <a:pt x="54046" y="3260144"/>
                  <a:pt x="54046" y="3262502"/>
                  <a:pt x="54046" y="3264857"/>
                </a:cubicBezTo>
                <a:cubicBezTo>
                  <a:pt x="54046" y="3267197"/>
                  <a:pt x="42286" y="3276607"/>
                  <a:pt x="44645" y="3278939"/>
                </a:cubicBezTo>
                <a:cubicBezTo>
                  <a:pt x="42286" y="3278939"/>
                  <a:pt x="37586" y="3276607"/>
                  <a:pt x="37586" y="3274271"/>
                </a:cubicBezTo>
                <a:cubicBezTo>
                  <a:pt x="35244" y="3264857"/>
                  <a:pt x="49346" y="3257798"/>
                  <a:pt x="51679" y="3248399"/>
                </a:cubicBezTo>
                <a:cubicBezTo>
                  <a:pt x="51679" y="3246042"/>
                  <a:pt x="51679" y="3238993"/>
                  <a:pt x="37586" y="3224895"/>
                </a:cubicBezTo>
                <a:cubicBezTo>
                  <a:pt x="32903" y="3222545"/>
                  <a:pt x="28202" y="3208452"/>
                  <a:pt x="30536" y="3206104"/>
                </a:cubicBezTo>
                <a:cubicBezTo>
                  <a:pt x="32903" y="3203754"/>
                  <a:pt x="35244" y="3203754"/>
                  <a:pt x="37586" y="3201406"/>
                </a:cubicBezTo>
                <a:cubicBezTo>
                  <a:pt x="39945" y="3199057"/>
                  <a:pt x="42286" y="3199057"/>
                  <a:pt x="42286" y="3196708"/>
                </a:cubicBezTo>
                <a:cubicBezTo>
                  <a:pt x="42286" y="3192013"/>
                  <a:pt x="37586" y="3189663"/>
                  <a:pt x="35244" y="3187317"/>
                </a:cubicBezTo>
                <a:cubicBezTo>
                  <a:pt x="30536" y="3180270"/>
                  <a:pt x="23502" y="3170878"/>
                  <a:pt x="21143" y="3161480"/>
                </a:cubicBezTo>
                <a:cubicBezTo>
                  <a:pt x="18802" y="3149742"/>
                  <a:pt x="44645" y="3142693"/>
                  <a:pt x="51679" y="3145044"/>
                </a:cubicBezTo>
                <a:close/>
                <a:moveTo>
                  <a:pt x="5176690" y="3144980"/>
                </a:moveTo>
                <a:lnTo>
                  <a:pt x="5179038" y="3144980"/>
                </a:lnTo>
                <a:lnTo>
                  <a:pt x="5176690" y="3147329"/>
                </a:lnTo>
                <a:close/>
                <a:moveTo>
                  <a:pt x="5272990" y="3142671"/>
                </a:moveTo>
                <a:cubicBezTo>
                  <a:pt x="5272990" y="3142671"/>
                  <a:pt x="5275339" y="3142671"/>
                  <a:pt x="5275339" y="3145022"/>
                </a:cubicBezTo>
                <a:cubicBezTo>
                  <a:pt x="5275339" y="3149718"/>
                  <a:pt x="5272990" y="3147368"/>
                  <a:pt x="5270641" y="3149718"/>
                </a:cubicBezTo>
                <a:lnTo>
                  <a:pt x="5268292" y="3147368"/>
                </a:lnTo>
                <a:lnTo>
                  <a:pt x="5263595" y="3147368"/>
                </a:lnTo>
                <a:cubicBezTo>
                  <a:pt x="5265944" y="3145022"/>
                  <a:pt x="5263595" y="3147368"/>
                  <a:pt x="5263595" y="3145022"/>
                </a:cubicBezTo>
                <a:lnTo>
                  <a:pt x="5265944" y="3145022"/>
                </a:lnTo>
                <a:close/>
                <a:moveTo>
                  <a:pt x="5291780" y="3142668"/>
                </a:moveTo>
                <a:lnTo>
                  <a:pt x="5294129" y="3145018"/>
                </a:lnTo>
                <a:cubicBezTo>
                  <a:pt x="5298827" y="3145018"/>
                  <a:pt x="5296478" y="3145018"/>
                  <a:pt x="5298827" y="3147364"/>
                </a:cubicBezTo>
                <a:lnTo>
                  <a:pt x="5291780" y="3147364"/>
                </a:lnTo>
                <a:cubicBezTo>
                  <a:pt x="5291780" y="3142668"/>
                  <a:pt x="5289432" y="3147364"/>
                  <a:pt x="5291780" y="3142668"/>
                </a:cubicBezTo>
                <a:close/>
                <a:moveTo>
                  <a:pt x="169110" y="3140344"/>
                </a:moveTo>
                <a:cubicBezTo>
                  <a:pt x="171459" y="3140344"/>
                  <a:pt x="173809" y="3140344"/>
                  <a:pt x="176157" y="3140344"/>
                </a:cubicBezTo>
                <a:cubicBezTo>
                  <a:pt x="178507" y="3140344"/>
                  <a:pt x="178507" y="3145044"/>
                  <a:pt x="180858" y="3145044"/>
                </a:cubicBezTo>
                <a:cubicBezTo>
                  <a:pt x="185553" y="3147391"/>
                  <a:pt x="192600" y="3137998"/>
                  <a:pt x="197300" y="3140344"/>
                </a:cubicBezTo>
                <a:cubicBezTo>
                  <a:pt x="204342" y="3142693"/>
                  <a:pt x="211393" y="3147391"/>
                  <a:pt x="213738" y="3154434"/>
                </a:cubicBezTo>
                <a:cubicBezTo>
                  <a:pt x="213738" y="3154434"/>
                  <a:pt x="211393" y="3166179"/>
                  <a:pt x="197300" y="3173226"/>
                </a:cubicBezTo>
                <a:lnTo>
                  <a:pt x="169110" y="3173226"/>
                </a:lnTo>
                <a:cubicBezTo>
                  <a:pt x="159715" y="3168529"/>
                  <a:pt x="157366" y="3168529"/>
                  <a:pt x="159715" y="3166179"/>
                </a:cubicBezTo>
                <a:cubicBezTo>
                  <a:pt x="159715" y="3166179"/>
                  <a:pt x="162065" y="3159132"/>
                  <a:pt x="162065" y="3156786"/>
                </a:cubicBezTo>
                <a:close/>
                <a:moveTo>
                  <a:pt x="5289432" y="3140317"/>
                </a:moveTo>
                <a:lnTo>
                  <a:pt x="5294129" y="3140317"/>
                </a:lnTo>
                <a:lnTo>
                  <a:pt x="5291780" y="3142668"/>
                </a:lnTo>
                <a:close/>
                <a:moveTo>
                  <a:pt x="5188434" y="3140304"/>
                </a:moveTo>
                <a:cubicBezTo>
                  <a:pt x="5193131" y="3142652"/>
                  <a:pt x="5188434" y="3140304"/>
                  <a:pt x="5193131" y="3142652"/>
                </a:cubicBezTo>
                <a:cubicBezTo>
                  <a:pt x="5190782" y="3147350"/>
                  <a:pt x="5193131" y="3145002"/>
                  <a:pt x="5188434" y="3145002"/>
                </a:cubicBezTo>
                <a:close/>
                <a:moveTo>
                  <a:pt x="5568936" y="3137982"/>
                </a:moveTo>
                <a:lnTo>
                  <a:pt x="5571285" y="3140332"/>
                </a:lnTo>
                <a:lnTo>
                  <a:pt x="5568936" y="3142680"/>
                </a:lnTo>
                <a:close/>
                <a:moveTo>
                  <a:pt x="5221317" y="3137968"/>
                </a:moveTo>
                <a:cubicBezTo>
                  <a:pt x="5221317" y="3140315"/>
                  <a:pt x="5223666" y="3140315"/>
                  <a:pt x="5223666" y="3142667"/>
                </a:cubicBezTo>
                <a:lnTo>
                  <a:pt x="5223666" y="3145014"/>
                </a:lnTo>
                <a:cubicBezTo>
                  <a:pt x="5223666" y="3147363"/>
                  <a:pt x="5223666" y="3147363"/>
                  <a:pt x="5221317" y="3147363"/>
                </a:cubicBezTo>
                <a:close/>
                <a:moveTo>
                  <a:pt x="5254200" y="3137962"/>
                </a:moveTo>
                <a:lnTo>
                  <a:pt x="5256548" y="3145008"/>
                </a:lnTo>
                <a:cubicBezTo>
                  <a:pt x="5254200" y="3145008"/>
                  <a:pt x="5251851" y="3145008"/>
                  <a:pt x="5254200" y="3140309"/>
                </a:cubicBezTo>
                <a:close/>
                <a:moveTo>
                  <a:pt x="1961214" y="3135632"/>
                </a:moveTo>
                <a:cubicBezTo>
                  <a:pt x="1961214" y="3137983"/>
                  <a:pt x="1961214" y="3137983"/>
                  <a:pt x="1961214" y="3137983"/>
                </a:cubicBezTo>
                <a:cubicBezTo>
                  <a:pt x="1965914" y="3161469"/>
                  <a:pt x="1972958" y="3187311"/>
                  <a:pt x="1982356" y="3210799"/>
                </a:cubicBezTo>
                <a:cubicBezTo>
                  <a:pt x="1982356" y="3203751"/>
                  <a:pt x="1984702" y="3194356"/>
                  <a:pt x="1987051" y="3187311"/>
                </a:cubicBezTo>
                <a:cubicBezTo>
                  <a:pt x="1977656" y="3170868"/>
                  <a:pt x="1968264" y="3152079"/>
                  <a:pt x="1961214" y="3135632"/>
                </a:cubicBezTo>
                <a:close/>
                <a:moveTo>
                  <a:pt x="5467938" y="3133271"/>
                </a:moveTo>
                <a:cubicBezTo>
                  <a:pt x="5465590" y="3137971"/>
                  <a:pt x="5467938" y="3130922"/>
                  <a:pt x="5467938" y="3135619"/>
                </a:cubicBezTo>
                <a:lnTo>
                  <a:pt x="5467938" y="3137971"/>
                </a:lnTo>
                <a:lnTo>
                  <a:pt x="5465590" y="3137971"/>
                </a:lnTo>
                <a:cubicBezTo>
                  <a:pt x="5460892" y="3137971"/>
                  <a:pt x="5465590" y="3135619"/>
                  <a:pt x="5463241" y="3137971"/>
                </a:cubicBezTo>
                <a:cubicBezTo>
                  <a:pt x="5458543" y="3137971"/>
                  <a:pt x="5463241" y="3140319"/>
                  <a:pt x="5458543" y="3137971"/>
                </a:cubicBezTo>
                <a:lnTo>
                  <a:pt x="5456194" y="3140319"/>
                </a:lnTo>
                <a:lnTo>
                  <a:pt x="5456194" y="3142668"/>
                </a:lnTo>
                <a:cubicBezTo>
                  <a:pt x="5451497" y="3140319"/>
                  <a:pt x="5456194" y="3142668"/>
                  <a:pt x="5453846" y="3137971"/>
                </a:cubicBezTo>
                <a:cubicBezTo>
                  <a:pt x="5456194" y="3135619"/>
                  <a:pt x="5456194" y="3135619"/>
                  <a:pt x="5458543" y="3135619"/>
                </a:cubicBezTo>
                <a:lnTo>
                  <a:pt x="5460892" y="3135619"/>
                </a:lnTo>
                <a:cubicBezTo>
                  <a:pt x="5465590" y="3135619"/>
                  <a:pt x="5460892" y="3133271"/>
                  <a:pt x="5467938" y="3133271"/>
                </a:cubicBezTo>
                <a:close/>
                <a:moveTo>
                  <a:pt x="5345802" y="3133262"/>
                </a:moveTo>
                <a:lnTo>
                  <a:pt x="5348151" y="3133262"/>
                </a:lnTo>
                <a:lnTo>
                  <a:pt x="5350499" y="3133262"/>
                </a:lnTo>
                <a:lnTo>
                  <a:pt x="5348151" y="3135612"/>
                </a:lnTo>
                <a:lnTo>
                  <a:pt x="5350499" y="3137961"/>
                </a:lnTo>
                <a:lnTo>
                  <a:pt x="5345807" y="3140308"/>
                </a:lnTo>
                <a:lnTo>
                  <a:pt x="5348151" y="3144998"/>
                </a:lnTo>
                <a:cubicBezTo>
                  <a:pt x="5348151" y="3147345"/>
                  <a:pt x="5350499" y="3144998"/>
                  <a:pt x="5345802" y="3147345"/>
                </a:cubicBezTo>
                <a:lnTo>
                  <a:pt x="5345802" y="3140310"/>
                </a:lnTo>
                <a:lnTo>
                  <a:pt x="5345802" y="3140300"/>
                </a:lnTo>
                <a:close/>
                <a:moveTo>
                  <a:pt x="5277688" y="3133257"/>
                </a:moveTo>
                <a:lnTo>
                  <a:pt x="5280036" y="3137954"/>
                </a:lnTo>
                <a:lnTo>
                  <a:pt x="5277688" y="3137954"/>
                </a:lnTo>
                <a:lnTo>
                  <a:pt x="5275339" y="3135606"/>
                </a:lnTo>
                <a:close/>
                <a:moveTo>
                  <a:pt x="5376336" y="3128568"/>
                </a:moveTo>
                <a:cubicBezTo>
                  <a:pt x="5376336" y="3130918"/>
                  <a:pt x="5373987" y="3128568"/>
                  <a:pt x="5378684" y="3130918"/>
                </a:cubicBezTo>
                <a:lnTo>
                  <a:pt x="5376336" y="3137965"/>
                </a:lnTo>
                <a:lnTo>
                  <a:pt x="5373987" y="3137965"/>
                </a:lnTo>
                <a:lnTo>
                  <a:pt x="5376336" y="3135616"/>
                </a:lnTo>
                <a:cubicBezTo>
                  <a:pt x="5373987" y="3130918"/>
                  <a:pt x="5378684" y="3135616"/>
                  <a:pt x="5373987" y="3133266"/>
                </a:cubicBezTo>
                <a:cubicBezTo>
                  <a:pt x="5376336" y="3126220"/>
                  <a:pt x="5371638" y="3133266"/>
                  <a:pt x="5376336" y="3128568"/>
                </a:cubicBezTo>
                <a:close/>
                <a:moveTo>
                  <a:pt x="4641167" y="3126237"/>
                </a:moveTo>
                <a:cubicBezTo>
                  <a:pt x="4638818" y="3130933"/>
                  <a:pt x="4638818" y="3133283"/>
                  <a:pt x="4636470" y="3137983"/>
                </a:cubicBezTo>
                <a:cubicBezTo>
                  <a:pt x="4641167" y="3140331"/>
                  <a:pt x="4643516" y="3140331"/>
                  <a:pt x="4648214" y="3142680"/>
                </a:cubicBezTo>
                <a:cubicBezTo>
                  <a:pt x="4650562" y="3137983"/>
                  <a:pt x="4650562" y="3135632"/>
                  <a:pt x="4652911" y="3130933"/>
                </a:cubicBezTo>
                <a:cubicBezTo>
                  <a:pt x="4648214" y="3130933"/>
                  <a:pt x="4645865" y="3128585"/>
                  <a:pt x="4641167" y="3126237"/>
                </a:cubicBezTo>
                <a:close/>
                <a:moveTo>
                  <a:pt x="5348151" y="3123839"/>
                </a:moveTo>
                <a:lnTo>
                  <a:pt x="5350499" y="3123839"/>
                </a:lnTo>
                <a:lnTo>
                  <a:pt x="5348151" y="3126187"/>
                </a:lnTo>
                <a:close/>
                <a:moveTo>
                  <a:pt x="5967290" y="3122005"/>
                </a:moveTo>
                <a:lnTo>
                  <a:pt x="5966761" y="3123594"/>
                </a:lnTo>
                <a:lnTo>
                  <a:pt x="5965880" y="3123887"/>
                </a:lnTo>
                <a:close/>
                <a:moveTo>
                  <a:pt x="5932997" y="3119192"/>
                </a:moveTo>
                <a:cubicBezTo>
                  <a:pt x="5937694" y="3133284"/>
                  <a:pt x="5930648" y="3119192"/>
                  <a:pt x="5935346" y="3133284"/>
                </a:cubicBezTo>
                <a:cubicBezTo>
                  <a:pt x="5949438" y="3123887"/>
                  <a:pt x="5935346" y="3133284"/>
                  <a:pt x="5942392" y="3119192"/>
                </a:cubicBezTo>
                <a:close/>
                <a:moveTo>
                  <a:pt x="3671122" y="3112143"/>
                </a:moveTo>
                <a:cubicBezTo>
                  <a:pt x="3666424" y="3130933"/>
                  <a:pt x="3649983" y="3128585"/>
                  <a:pt x="3647634" y="3149725"/>
                </a:cubicBezTo>
                <a:cubicBezTo>
                  <a:pt x="3675819" y="3203751"/>
                  <a:pt x="3732190" y="3133283"/>
                  <a:pt x="3671122" y="3112143"/>
                </a:cubicBezTo>
                <a:close/>
                <a:moveTo>
                  <a:pt x="5251851" y="3112094"/>
                </a:moveTo>
                <a:lnTo>
                  <a:pt x="5251851" y="3116792"/>
                </a:lnTo>
                <a:lnTo>
                  <a:pt x="5249502" y="3114445"/>
                </a:lnTo>
                <a:close/>
                <a:moveTo>
                  <a:pt x="70463" y="3109812"/>
                </a:moveTo>
                <a:lnTo>
                  <a:pt x="77522" y="3137996"/>
                </a:lnTo>
                <a:lnTo>
                  <a:pt x="70463" y="3142693"/>
                </a:lnTo>
                <a:lnTo>
                  <a:pt x="63421" y="3121552"/>
                </a:lnTo>
                <a:lnTo>
                  <a:pt x="61088" y="3112164"/>
                </a:lnTo>
                <a:close/>
                <a:moveTo>
                  <a:pt x="246622" y="3095732"/>
                </a:moveTo>
                <a:cubicBezTo>
                  <a:pt x="246622" y="3095732"/>
                  <a:pt x="244279" y="3098078"/>
                  <a:pt x="244279" y="3098078"/>
                </a:cubicBezTo>
                <a:lnTo>
                  <a:pt x="244279" y="3107472"/>
                </a:lnTo>
                <a:cubicBezTo>
                  <a:pt x="244279" y="3107472"/>
                  <a:pt x="246622" y="3109818"/>
                  <a:pt x="246622" y="3109818"/>
                </a:cubicBezTo>
                <a:lnTo>
                  <a:pt x="256016" y="3112168"/>
                </a:lnTo>
                <a:lnTo>
                  <a:pt x="256016" y="3107472"/>
                </a:lnTo>
                <a:cubicBezTo>
                  <a:pt x="256016" y="3107472"/>
                  <a:pt x="253671" y="3105123"/>
                  <a:pt x="253671" y="3102775"/>
                </a:cubicBezTo>
                <a:lnTo>
                  <a:pt x="248972" y="3098078"/>
                </a:lnTo>
                <a:cubicBezTo>
                  <a:pt x="248972" y="3098078"/>
                  <a:pt x="246622" y="3095732"/>
                  <a:pt x="246622" y="3095732"/>
                </a:cubicBezTo>
                <a:close/>
                <a:moveTo>
                  <a:pt x="9401" y="3095723"/>
                </a:moveTo>
                <a:cubicBezTo>
                  <a:pt x="9401" y="3095723"/>
                  <a:pt x="16443" y="3098073"/>
                  <a:pt x="18802" y="3100424"/>
                </a:cubicBezTo>
                <a:lnTo>
                  <a:pt x="28202" y="3112164"/>
                </a:lnTo>
                <a:lnTo>
                  <a:pt x="39945" y="3130949"/>
                </a:lnTo>
                <a:cubicBezTo>
                  <a:pt x="39945" y="3130949"/>
                  <a:pt x="37586" y="3135648"/>
                  <a:pt x="32903" y="3135648"/>
                </a:cubicBezTo>
                <a:lnTo>
                  <a:pt x="7059" y="3140344"/>
                </a:lnTo>
                <a:cubicBezTo>
                  <a:pt x="7059" y="3140344"/>
                  <a:pt x="4701" y="3140344"/>
                  <a:pt x="0" y="3128601"/>
                </a:cubicBezTo>
                <a:lnTo>
                  <a:pt x="0" y="3102770"/>
                </a:lnTo>
                <a:cubicBezTo>
                  <a:pt x="4701" y="3100424"/>
                  <a:pt x="4701" y="3095723"/>
                  <a:pt x="9401" y="3095723"/>
                </a:cubicBezTo>
                <a:close/>
                <a:moveTo>
                  <a:pt x="5565413" y="3092179"/>
                </a:moveTo>
                <a:lnTo>
                  <a:pt x="5566587" y="3093357"/>
                </a:lnTo>
                <a:lnTo>
                  <a:pt x="5566587" y="3102750"/>
                </a:lnTo>
                <a:lnTo>
                  <a:pt x="5559541" y="3098053"/>
                </a:lnTo>
                <a:close/>
                <a:moveTo>
                  <a:pt x="4217213" y="3091628"/>
                </a:moveTo>
                <a:cubicBezTo>
                  <a:pt x="4204001" y="3091739"/>
                  <a:pt x="4196074" y="3102750"/>
                  <a:pt x="4185504" y="3109793"/>
                </a:cubicBezTo>
                <a:cubicBezTo>
                  <a:pt x="4197248" y="3116843"/>
                  <a:pt x="4208992" y="3133283"/>
                  <a:pt x="4225434" y="3126237"/>
                </a:cubicBezTo>
                <a:cubicBezTo>
                  <a:pt x="4234828" y="3114494"/>
                  <a:pt x="4234828" y="3105095"/>
                  <a:pt x="4232480" y="3095704"/>
                </a:cubicBezTo>
                <a:cubicBezTo>
                  <a:pt x="4226608" y="3092766"/>
                  <a:pt x="4221617" y="3091592"/>
                  <a:pt x="4217213" y="3091628"/>
                </a:cubicBezTo>
                <a:close/>
                <a:moveTo>
                  <a:pt x="101007" y="3088678"/>
                </a:moveTo>
                <a:lnTo>
                  <a:pt x="124492" y="3088678"/>
                </a:lnTo>
                <a:lnTo>
                  <a:pt x="131534" y="3105115"/>
                </a:lnTo>
                <a:cubicBezTo>
                  <a:pt x="131534" y="3105115"/>
                  <a:pt x="129192" y="3107467"/>
                  <a:pt x="129192" y="3107467"/>
                </a:cubicBezTo>
                <a:cubicBezTo>
                  <a:pt x="129192" y="3107467"/>
                  <a:pt x="126850" y="3107467"/>
                  <a:pt x="124492" y="3107467"/>
                </a:cubicBezTo>
                <a:lnTo>
                  <a:pt x="101007" y="3098071"/>
                </a:lnTo>
                <a:close/>
                <a:moveTo>
                  <a:pt x="5543100" y="3086305"/>
                </a:moveTo>
                <a:lnTo>
                  <a:pt x="5552495" y="3095704"/>
                </a:lnTo>
                <a:lnTo>
                  <a:pt x="5554843" y="3086305"/>
                </a:lnTo>
                <a:close/>
                <a:moveTo>
                  <a:pt x="317085" y="3083986"/>
                </a:moveTo>
                <a:lnTo>
                  <a:pt x="281856" y="3126260"/>
                </a:lnTo>
                <a:cubicBezTo>
                  <a:pt x="279506" y="3128603"/>
                  <a:pt x="274807" y="3130952"/>
                  <a:pt x="277156" y="3130952"/>
                </a:cubicBezTo>
                <a:cubicBezTo>
                  <a:pt x="277156" y="3130952"/>
                  <a:pt x="279506" y="3133303"/>
                  <a:pt x="281856" y="3135652"/>
                </a:cubicBezTo>
                <a:lnTo>
                  <a:pt x="314736" y="3130952"/>
                </a:lnTo>
                <a:cubicBezTo>
                  <a:pt x="317085" y="3128603"/>
                  <a:pt x="319434" y="3126260"/>
                  <a:pt x="319434" y="3123908"/>
                </a:cubicBezTo>
                <a:cubicBezTo>
                  <a:pt x="319434" y="3123908"/>
                  <a:pt x="310041" y="3114518"/>
                  <a:pt x="307691" y="3107472"/>
                </a:cubicBezTo>
                <a:lnTo>
                  <a:pt x="319434" y="3093383"/>
                </a:lnTo>
                <a:close/>
                <a:moveTo>
                  <a:pt x="5923602" y="3083956"/>
                </a:moveTo>
                <a:lnTo>
                  <a:pt x="5928299" y="3093357"/>
                </a:lnTo>
                <a:lnTo>
                  <a:pt x="5935346" y="3086305"/>
                </a:lnTo>
                <a:close/>
                <a:moveTo>
                  <a:pt x="5498473" y="3081565"/>
                </a:moveTo>
                <a:lnTo>
                  <a:pt x="5500822" y="3083914"/>
                </a:lnTo>
                <a:lnTo>
                  <a:pt x="5496124" y="3083914"/>
                </a:lnTo>
                <a:close/>
                <a:moveTo>
                  <a:pt x="171459" y="3076936"/>
                </a:moveTo>
                <a:lnTo>
                  <a:pt x="180858" y="3081631"/>
                </a:lnTo>
                <a:lnTo>
                  <a:pt x="171459" y="3093374"/>
                </a:lnTo>
                <a:lnTo>
                  <a:pt x="164415" y="3088678"/>
                </a:lnTo>
                <a:lnTo>
                  <a:pt x="166765" y="3081631"/>
                </a:lnTo>
                <a:close/>
                <a:moveTo>
                  <a:pt x="5937694" y="3076910"/>
                </a:moveTo>
                <a:lnTo>
                  <a:pt x="5937694" y="3088658"/>
                </a:lnTo>
                <a:lnTo>
                  <a:pt x="5942392" y="3083956"/>
                </a:lnTo>
                <a:close/>
                <a:moveTo>
                  <a:pt x="5514914" y="3076878"/>
                </a:moveTo>
                <a:lnTo>
                  <a:pt x="5519611" y="3076878"/>
                </a:lnTo>
                <a:cubicBezTo>
                  <a:pt x="5514914" y="3079223"/>
                  <a:pt x="5519611" y="3074527"/>
                  <a:pt x="5517263" y="3079223"/>
                </a:cubicBezTo>
                <a:cubicBezTo>
                  <a:pt x="5512565" y="3079223"/>
                  <a:pt x="5517263" y="3081574"/>
                  <a:pt x="5514914" y="3076878"/>
                </a:cubicBezTo>
                <a:close/>
                <a:moveTo>
                  <a:pt x="5505519" y="3074518"/>
                </a:moveTo>
                <a:lnTo>
                  <a:pt x="5507867" y="3076866"/>
                </a:lnTo>
                <a:lnTo>
                  <a:pt x="5503170" y="3076866"/>
                </a:lnTo>
                <a:close/>
                <a:moveTo>
                  <a:pt x="5491426" y="3074516"/>
                </a:moveTo>
                <a:lnTo>
                  <a:pt x="5496123" y="3074516"/>
                </a:lnTo>
                <a:lnTo>
                  <a:pt x="5493775" y="3076864"/>
                </a:lnTo>
                <a:close/>
                <a:moveTo>
                  <a:pt x="5923602" y="3072214"/>
                </a:moveTo>
                <a:lnTo>
                  <a:pt x="5928299" y="3079258"/>
                </a:lnTo>
                <a:lnTo>
                  <a:pt x="5935346" y="3074565"/>
                </a:lnTo>
                <a:close/>
                <a:moveTo>
                  <a:pt x="1998794" y="3067516"/>
                </a:moveTo>
                <a:cubicBezTo>
                  <a:pt x="1998794" y="3067516"/>
                  <a:pt x="1996449" y="3069867"/>
                  <a:pt x="1996449" y="3069867"/>
                </a:cubicBezTo>
                <a:cubicBezTo>
                  <a:pt x="1996449" y="3072214"/>
                  <a:pt x="1998794" y="3072214"/>
                  <a:pt x="1998794" y="3074565"/>
                </a:cubicBezTo>
                <a:cubicBezTo>
                  <a:pt x="1998794" y="3072214"/>
                  <a:pt x="1998794" y="3069867"/>
                  <a:pt x="1998794" y="3067516"/>
                </a:cubicBezTo>
                <a:close/>
                <a:moveTo>
                  <a:pt x="5491426" y="3065126"/>
                </a:moveTo>
                <a:cubicBezTo>
                  <a:pt x="5491426" y="3072173"/>
                  <a:pt x="5489077" y="3069825"/>
                  <a:pt x="5489077" y="3069825"/>
                </a:cubicBezTo>
                <a:cubicBezTo>
                  <a:pt x="5489077" y="3065126"/>
                  <a:pt x="5486728" y="3067478"/>
                  <a:pt x="5491426" y="3065126"/>
                </a:cubicBezTo>
                <a:close/>
                <a:moveTo>
                  <a:pt x="5556620" y="3063013"/>
                </a:moveTo>
                <a:lnTo>
                  <a:pt x="5556898" y="3063406"/>
                </a:lnTo>
                <a:cubicBezTo>
                  <a:pt x="5557192" y="3063406"/>
                  <a:pt x="5557192" y="3063992"/>
                  <a:pt x="5557192" y="3069867"/>
                </a:cubicBezTo>
                <a:cubicBezTo>
                  <a:pt x="5554843" y="3065166"/>
                  <a:pt x="5554256" y="3063992"/>
                  <a:pt x="5554550" y="3063703"/>
                </a:cubicBezTo>
                <a:close/>
                <a:moveTo>
                  <a:pt x="5916556" y="3060470"/>
                </a:moveTo>
                <a:lnTo>
                  <a:pt x="5902463" y="3062824"/>
                </a:lnTo>
                <a:lnTo>
                  <a:pt x="5907160" y="3069867"/>
                </a:lnTo>
                <a:close/>
                <a:moveTo>
                  <a:pt x="5484379" y="3060440"/>
                </a:moveTo>
                <a:lnTo>
                  <a:pt x="5489077" y="3060440"/>
                </a:lnTo>
                <a:lnTo>
                  <a:pt x="5486728" y="3062789"/>
                </a:lnTo>
                <a:lnTo>
                  <a:pt x="5482031" y="3062789"/>
                </a:lnTo>
                <a:close/>
                <a:moveTo>
                  <a:pt x="5505519" y="3058070"/>
                </a:moveTo>
                <a:lnTo>
                  <a:pt x="5507867" y="3058070"/>
                </a:lnTo>
                <a:lnTo>
                  <a:pt x="5507867" y="3060419"/>
                </a:lnTo>
                <a:close/>
                <a:moveTo>
                  <a:pt x="5470287" y="3055757"/>
                </a:moveTo>
                <a:lnTo>
                  <a:pt x="5474984" y="3055757"/>
                </a:lnTo>
                <a:cubicBezTo>
                  <a:pt x="5474984" y="3060455"/>
                  <a:pt x="5474984" y="3055757"/>
                  <a:pt x="5472635" y="3062802"/>
                </a:cubicBezTo>
                <a:lnTo>
                  <a:pt x="5470287" y="3060455"/>
                </a:lnTo>
                <a:cubicBezTo>
                  <a:pt x="5470287" y="3060455"/>
                  <a:pt x="5470287" y="3055757"/>
                  <a:pt x="5470287" y="3055757"/>
                </a:cubicBezTo>
                <a:close/>
                <a:moveTo>
                  <a:pt x="5489078" y="3055746"/>
                </a:moveTo>
                <a:cubicBezTo>
                  <a:pt x="5493775" y="3055746"/>
                  <a:pt x="5493775" y="3055746"/>
                  <a:pt x="5493775" y="3060442"/>
                </a:cubicBezTo>
                <a:lnTo>
                  <a:pt x="5491426" y="3060442"/>
                </a:lnTo>
                <a:close/>
                <a:moveTo>
                  <a:pt x="5984670" y="3053423"/>
                </a:moveTo>
                <a:lnTo>
                  <a:pt x="5991716" y="3060470"/>
                </a:lnTo>
                <a:lnTo>
                  <a:pt x="5991716" y="3053423"/>
                </a:lnTo>
                <a:close/>
                <a:moveTo>
                  <a:pt x="5592424" y="3053423"/>
                </a:moveTo>
                <a:lnTo>
                  <a:pt x="5580680" y="3065167"/>
                </a:lnTo>
                <a:lnTo>
                  <a:pt x="5592424" y="3065167"/>
                </a:lnTo>
                <a:close/>
                <a:moveTo>
                  <a:pt x="5564239" y="3053423"/>
                </a:moveTo>
                <a:lnTo>
                  <a:pt x="5565451" y="3060701"/>
                </a:lnTo>
                <a:lnTo>
                  <a:pt x="5564239" y="3062824"/>
                </a:lnTo>
                <a:cubicBezTo>
                  <a:pt x="5561890" y="3062824"/>
                  <a:pt x="5561890" y="3060470"/>
                  <a:pt x="5559541" y="3060470"/>
                </a:cubicBezTo>
                <a:cubicBezTo>
                  <a:pt x="5559541" y="3060470"/>
                  <a:pt x="5559541" y="3062824"/>
                  <a:pt x="5557192" y="3062824"/>
                </a:cubicBezTo>
                <a:lnTo>
                  <a:pt x="5556620" y="3063013"/>
                </a:lnTo>
                <a:lnTo>
                  <a:pt x="5554843" y="3060470"/>
                </a:lnTo>
                <a:close/>
                <a:moveTo>
                  <a:pt x="4436824" y="3051076"/>
                </a:moveTo>
                <a:cubicBezTo>
                  <a:pt x="4418033" y="3055774"/>
                  <a:pt x="4413336" y="3079258"/>
                  <a:pt x="4413336" y="3088657"/>
                </a:cubicBezTo>
                <a:cubicBezTo>
                  <a:pt x="4427428" y="3091003"/>
                  <a:pt x="4455614" y="3065164"/>
                  <a:pt x="4436824" y="3051076"/>
                </a:cubicBezTo>
                <a:close/>
                <a:moveTo>
                  <a:pt x="1550179" y="3051076"/>
                </a:moveTo>
                <a:cubicBezTo>
                  <a:pt x="1533736" y="3055774"/>
                  <a:pt x="1514946" y="3060470"/>
                  <a:pt x="1498509" y="3062824"/>
                </a:cubicBezTo>
                <a:cubicBezTo>
                  <a:pt x="1486761" y="3067516"/>
                  <a:pt x="1472668" y="3067516"/>
                  <a:pt x="1458574" y="3067516"/>
                </a:cubicBezTo>
                <a:cubicBezTo>
                  <a:pt x="1453881" y="3065164"/>
                  <a:pt x="1451531" y="3065164"/>
                  <a:pt x="1446832" y="3065164"/>
                </a:cubicBezTo>
                <a:cubicBezTo>
                  <a:pt x="1446832" y="3065164"/>
                  <a:pt x="1446832" y="3067516"/>
                  <a:pt x="1446832" y="3067516"/>
                </a:cubicBezTo>
                <a:cubicBezTo>
                  <a:pt x="1451531" y="3067516"/>
                  <a:pt x="1453881" y="3067516"/>
                  <a:pt x="1458574" y="3067516"/>
                </a:cubicBezTo>
                <a:cubicBezTo>
                  <a:pt x="1484412" y="3074565"/>
                  <a:pt x="1514946" y="3072214"/>
                  <a:pt x="1543131" y="3067516"/>
                </a:cubicBezTo>
                <a:cubicBezTo>
                  <a:pt x="1545479" y="3062824"/>
                  <a:pt x="1547828" y="3055774"/>
                  <a:pt x="1550179" y="3051076"/>
                </a:cubicBezTo>
                <a:close/>
                <a:moveTo>
                  <a:pt x="5493775" y="3048705"/>
                </a:moveTo>
                <a:lnTo>
                  <a:pt x="5496123" y="3051055"/>
                </a:lnTo>
                <a:cubicBezTo>
                  <a:pt x="5493775" y="3055753"/>
                  <a:pt x="5496123" y="3048705"/>
                  <a:pt x="5496123" y="3053405"/>
                </a:cubicBezTo>
                <a:lnTo>
                  <a:pt x="5493775" y="3053405"/>
                </a:lnTo>
                <a:lnTo>
                  <a:pt x="5491426" y="3053405"/>
                </a:lnTo>
                <a:cubicBezTo>
                  <a:pt x="5493775" y="3051055"/>
                  <a:pt x="5493775" y="3053405"/>
                  <a:pt x="5493775" y="3048705"/>
                </a:cubicBezTo>
                <a:close/>
                <a:moveTo>
                  <a:pt x="5484379" y="3048705"/>
                </a:moveTo>
                <a:lnTo>
                  <a:pt x="5486728" y="3051054"/>
                </a:lnTo>
                <a:cubicBezTo>
                  <a:pt x="5486728" y="3055751"/>
                  <a:pt x="5489077" y="3051054"/>
                  <a:pt x="5486728" y="3055751"/>
                </a:cubicBezTo>
                <a:lnTo>
                  <a:pt x="5482031" y="3053405"/>
                </a:lnTo>
                <a:cubicBezTo>
                  <a:pt x="5484379" y="3051054"/>
                  <a:pt x="5484379" y="3053405"/>
                  <a:pt x="5484379" y="3048705"/>
                </a:cubicBezTo>
                <a:close/>
                <a:moveTo>
                  <a:pt x="5526658" y="3046352"/>
                </a:moveTo>
                <a:lnTo>
                  <a:pt x="5529007" y="3048701"/>
                </a:lnTo>
                <a:lnTo>
                  <a:pt x="5529007" y="3051052"/>
                </a:lnTo>
                <a:lnTo>
                  <a:pt x="5531355" y="3053398"/>
                </a:lnTo>
                <a:lnTo>
                  <a:pt x="5526658" y="3053398"/>
                </a:lnTo>
                <a:close/>
                <a:moveTo>
                  <a:pt x="5526657" y="3043979"/>
                </a:moveTo>
                <a:lnTo>
                  <a:pt x="5526657" y="3046328"/>
                </a:lnTo>
                <a:lnTo>
                  <a:pt x="5524309" y="3046328"/>
                </a:lnTo>
                <a:close/>
                <a:moveTo>
                  <a:pt x="512037" y="3039370"/>
                </a:moveTo>
                <a:lnTo>
                  <a:pt x="502645" y="3041717"/>
                </a:lnTo>
                <a:cubicBezTo>
                  <a:pt x="502645" y="3041717"/>
                  <a:pt x="502645" y="3044066"/>
                  <a:pt x="500295" y="3044066"/>
                </a:cubicBezTo>
                <a:lnTo>
                  <a:pt x="497945" y="3053460"/>
                </a:lnTo>
                <a:lnTo>
                  <a:pt x="504987" y="3058159"/>
                </a:lnTo>
                <a:lnTo>
                  <a:pt x="509687" y="3053460"/>
                </a:lnTo>
                <a:cubicBezTo>
                  <a:pt x="509687" y="3053460"/>
                  <a:pt x="512037" y="3051114"/>
                  <a:pt x="512037" y="3048764"/>
                </a:cubicBezTo>
                <a:lnTo>
                  <a:pt x="519080" y="3046416"/>
                </a:lnTo>
                <a:close/>
                <a:moveTo>
                  <a:pt x="5467938" y="3039315"/>
                </a:moveTo>
                <a:lnTo>
                  <a:pt x="5472635" y="3041662"/>
                </a:lnTo>
                <a:cubicBezTo>
                  <a:pt x="5470287" y="3046361"/>
                  <a:pt x="5467938" y="3041662"/>
                  <a:pt x="5472635" y="3046361"/>
                </a:cubicBezTo>
                <a:cubicBezTo>
                  <a:pt x="5470287" y="3046361"/>
                  <a:pt x="5467938" y="3046361"/>
                  <a:pt x="5467938" y="3044011"/>
                </a:cubicBezTo>
                <a:cubicBezTo>
                  <a:pt x="5467938" y="3041662"/>
                  <a:pt x="5467938" y="3041662"/>
                  <a:pt x="5467938" y="3039315"/>
                </a:cubicBezTo>
                <a:close/>
                <a:moveTo>
                  <a:pt x="5524309" y="3039281"/>
                </a:moveTo>
                <a:lnTo>
                  <a:pt x="5526657" y="3039281"/>
                </a:lnTo>
                <a:lnTo>
                  <a:pt x="5524309" y="3041629"/>
                </a:lnTo>
                <a:close/>
                <a:moveTo>
                  <a:pt x="4575401" y="3036981"/>
                </a:moveTo>
                <a:cubicBezTo>
                  <a:pt x="4500241" y="3039331"/>
                  <a:pt x="4483799" y="3098049"/>
                  <a:pt x="4528426" y="3154423"/>
                </a:cubicBezTo>
                <a:cubicBezTo>
                  <a:pt x="4547216" y="3149725"/>
                  <a:pt x="4563658" y="3156772"/>
                  <a:pt x="4577750" y="3168520"/>
                </a:cubicBezTo>
                <a:cubicBezTo>
                  <a:pt x="4643516" y="3135632"/>
                  <a:pt x="4636470" y="3098049"/>
                  <a:pt x="4575401" y="3036981"/>
                </a:cubicBezTo>
                <a:close/>
                <a:moveTo>
                  <a:pt x="5484380" y="3036939"/>
                </a:moveTo>
                <a:lnTo>
                  <a:pt x="5486729" y="3036939"/>
                </a:lnTo>
                <a:lnTo>
                  <a:pt x="5489078" y="3036939"/>
                </a:lnTo>
                <a:lnTo>
                  <a:pt x="5486729" y="3039288"/>
                </a:lnTo>
                <a:close/>
                <a:moveTo>
                  <a:pt x="5514056" y="3034688"/>
                </a:moveTo>
                <a:lnTo>
                  <a:pt x="5513612" y="3035021"/>
                </a:lnTo>
                <a:lnTo>
                  <a:pt x="5514914" y="3036975"/>
                </a:lnTo>
                <a:close/>
                <a:moveTo>
                  <a:pt x="5996414" y="3029934"/>
                </a:moveTo>
                <a:cubicBezTo>
                  <a:pt x="5991716" y="3036982"/>
                  <a:pt x="5989368" y="3027587"/>
                  <a:pt x="5994065" y="3039329"/>
                </a:cubicBezTo>
                <a:lnTo>
                  <a:pt x="5989368" y="3048727"/>
                </a:lnTo>
                <a:lnTo>
                  <a:pt x="5984670" y="3041679"/>
                </a:lnTo>
                <a:lnTo>
                  <a:pt x="5979973" y="3048727"/>
                </a:lnTo>
                <a:lnTo>
                  <a:pt x="5989368" y="3048727"/>
                </a:lnTo>
                <a:lnTo>
                  <a:pt x="5998763" y="3041679"/>
                </a:lnTo>
                <a:close/>
                <a:moveTo>
                  <a:pt x="5496123" y="3029930"/>
                </a:moveTo>
                <a:cubicBezTo>
                  <a:pt x="5493775" y="3032279"/>
                  <a:pt x="5493775" y="3029930"/>
                  <a:pt x="5493775" y="3034626"/>
                </a:cubicBezTo>
                <a:lnTo>
                  <a:pt x="5498472" y="3032279"/>
                </a:lnTo>
                <a:lnTo>
                  <a:pt x="5498472" y="3029930"/>
                </a:lnTo>
                <a:cubicBezTo>
                  <a:pt x="5496123" y="3032279"/>
                  <a:pt x="5498472" y="3029930"/>
                  <a:pt x="5496123" y="3029930"/>
                </a:cubicBezTo>
                <a:close/>
                <a:moveTo>
                  <a:pt x="5484379" y="3027556"/>
                </a:moveTo>
                <a:cubicBezTo>
                  <a:pt x="5486728" y="3027556"/>
                  <a:pt x="5486728" y="3029906"/>
                  <a:pt x="5484379" y="3032255"/>
                </a:cubicBezTo>
                <a:cubicBezTo>
                  <a:pt x="5482031" y="3027556"/>
                  <a:pt x="5482031" y="3029906"/>
                  <a:pt x="5484379" y="3027556"/>
                </a:cubicBezTo>
                <a:close/>
                <a:moveTo>
                  <a:pt x="5508288" y="3021551"/>
                </a:moveTo>
                <a:lnTo>
                  <a:pt x="5508968" y="3026993"/>
                </a:lnTo>
                <a:lnTo>
                  <a:pt x="5509568" y="3027429"/>
                </a:lnTo>
                <a:lnTo>
                  <a:pt x="5510217" y="3022888"/>
                </a:lnTo>
                <a:close/>
                <a:moveTo>
                  <a:pt x="5531355" y="3020523"/>
                </a:moveTo>
                <a:lnTo>
                  <a:pt x="5533704" y="3025221"/>
                </a:lnTo>
                <a:lnTo>
                  <a:pt x="5533704" y="3029920"/>
                </a:lnTo>
                <a:lnTo>
                  <a:pt x="5531355" y="3029920"/>
                </a:lnTo>
                <a:lnTo>
                  <a:pt x="5529007" y="3027570"/>
                </a:lnTo>
                <a:cubicBezTo>
                  <a:pt x="5531355" y="3020523"/>
                  <a:pt x="5526658" y="3025221"/>
                  <a:pt x="5531355" y="3020523"/>
                </a:cubicBezTo>
                <a:close/>
                <a:moveTo>
                  <a:pt x="408689" y="3015889"/>
                </a:moveTo>
                <a:cubicBezTo>
                  <a:pt x="408689" y="3015889"/>
                  <a:pt x="406339" y="3015889"/>
                  <a:pt x="399291" y="3018240"/>
                </a:cubicBezTo>
                <a:lnTo>
                  <a:pt x="389897" y="3032323"/>
                </a:lnTo>
                <a:lnTo>
                  <a:pt x="389897" y="3041717"/>
                </a:lnTo>
                <a:cubicBezTo>
                  <a:pt x="389897" y="3041717"/>
                  <a:pt x="392247" y="3044066"/>
                  <a:pt x="389897" y="3046416"/>
                </a:cubicBezTo>
                <a:lnTo>
                  <a:pt x="399291" y="3029977"/>
                </a:lnTo>
                <a:lnTo>
                  <a:pt x="408689" y="3027627"/>
                </a:lnTo>
                <a:close/>
                <a:moveTo>
                  <a:pt x="5566587" y="3015844"/>
                </a:moveTo>
                <a:lnTo>
                  <a:pt x="5566587" y="3022888"/>
                </a:lnTo>
                <a:cubicBezTo>
                  <a:pt x="5575983" y="3020539"/>
                  <a:pt x="5568936" y="3020539"/>
                  <a:pt x="5575983" y="3022888"/>
                </a:cubicBezTo>
                <a:lnTo>
                  <a:pt x="5578801" y="3021478"/>
                </a:lnTo>
                <a:lnTo>
                  <a:pt x="5578331" y="3022888"/>
                </a:lnTo>
                <a:lnTo>
                  <a:pt x="5580680" y="3023671"/>
                </a:lnTo>
                <a:lnTo>
                  <a:pt x="5580680" y="3029934"/>
                </a:lnTo>
                <a:lnTo>
                  <a:pt x="5571285" y="3041679"/>
                </a:lnTo>
                <a:lnTo>
                  <a:pt x="5573634" y="3048727"/>
                </a:lnTo>
                <a:lnTo>
                  <a:pt x="5564239" y="3051076"/>
                </a:lnTo>
                <a:cubicBezTo>
                  <a:pt x="5554843" y="3044030"/>
                  <a:pt x="5561890" y="3044030"/>
                  <a:pt x="5547797" y="3044030"/>
                </a:cubicBezTo>
                <a:cubicBezTo>
                  <a:pt x="5550146" y="3034632"/>
                  <a:pt x="5550146" y="3041679"/>
                  <a:pt x="5547797" y="3034632"/>
                </a:cubicBezTo>
                <a:lnTo>
                  <a:pt x="5550146" y="3029934"/>
                </a:lnTo>
                <a:lnTo>
                  <a:pt x="5557192" y="3027587"/>
                </a:lnTo>
                <a:lnTo>
                  <a:pt x="5564239" y="3034632"/>
                </a:lnTo>
                <a:cubicBezTo>
                  <a:pt x="5559541" y="3044030"/>
                  <a:pt x="5557192" y="3039329"/>
                  <a:pt x="5566587" y="3041679"/>
                </a:cubicBezTo>
                <a:cubicBezTo>
                  <a:pt x="5568936" y="3029934"/>
                  <a:pt x="5568936" y="3034632"/>
                  <a:pt x="5573634" y="3027587"/>
                </a:cubicBezTo>
                <a:lnTo>
                  <a:pt x="5564239" y="3027587"/>
                </a:lnTo>
                <a:lnTo>
                  <a:pt x="5557192" y="3018191"/>
                </a:lnTo>
                <a:close/>
                <a:moveTo>
                  <a:pt x="5498472" y="3015837"/>
                </a:moveTo>
                <a:lnTo>
                  <a:pt x="5500821" y="3022882"/>
                </a:lnTo>
                <a:lnTo>
                  <a:pt x="5500824" y="3022879"/>
                </a:lnTo>
                <a:lnTo>
                  <a:pt x="5502165" y="3016363"/>
                </a:lnTo>
                <a:close/>
                <a:moveTo>
                  <a:pt x="5977624" y="3013494"/>
                </a:moveTo>
                <a:lnTo>
                  <a:pt x="5984670" y="3020539"/>
                </a:lnTo>
                <a:lnTo>
                  <a:pt x="5989368" y="3013494"/>
                </a:lnTo>
                <a:close/>
                <a:moveTo>
                  <a:pt x="5975275" y="3013494"/>
                </a:moveTo>
                <a:lnTo>
                  <a:pt x="5963531" y="3025237"/>
                </a:lnTo>
                <a:lnTo>
                  <a:pt x="5975275" y="3025237"/>
                </a:lnTo>
                <a:close/>
                <a:moveTo>
                  <a:pt x="5456195" y="3011136"/>
                </a:moveTo>
                <a:lnTo>
                  <a:pt x="5460892" y="3011136"/>
                </a:lnTo>
                <a:cubicBezTo>
                  <a:pt x="5463241" y="3013485"/>
                  <a:pt x="5463241" y="3013485"/>
                  <a:pt x="5465590" y="3013485"/>
                </a:cubicBezTo>
                <a:cubicBezTo>
                  <a:pt x="5465590" y="3015834"/>
                  <a:pt x="5463241" y="3018185"/>
                  <a:pt x="5460892" y="3018185"/>
                </a:cubicBezTo>
                <a:lnTo>
                  <a:pt x="5460892" y="3015834"/>
                </a:lnTo>
                <a:lnTo>
                  <a:pt x="5460892" y="3013485"/>
                </a:lnTo>
                <a:lnTo>
                  <a:pt x="5456195" y="3013485"/>
                </a:lnTo>
                <a:close/>
                <a:moveTo>
                  <a:pt x="173807" y="3006483"/>
                </a:moveTo>
                <a:lnTo>
                  <a:pt x="180858" y="3013528"/>
                </a:lnTo>
                <a:lnTo>
                  <a:pt x="173807" y="3020572"/>
                </a:lnTo>
                <a:lnTo>
                  <a:pt x="166765" y="3013528"/>
                </a:lnTo>
                <a:close/>
                <a:moveTo>
                  <a:pt x="5484379" y="3006438"/>
                </a:moveTo>
                <a:lnTo>
                  <a:pt x="5489077" y="3015834"/>
                </a:lnTo>
                <a:cubicBezTo>
                  <a:pt x="5489077" y="3020529"/>
                  <a:pt x="5489077" y="3015834"/>
                  <a:pt x="5489077" y="3020529"/>
                </a:cubicBezTo>
                <a:cubicBezTo>
                  <a:pt x="5489077" y="3020529"/>
                  <a:pt x="5489077" y="3020529"/>
                  <a:pt x="5486728" y="3020529"/>
                </a:cubicBezTo>
                <a:lnTo>
                  <a:pt x="5484379" y="3020529"/>
                </a:lnTo>
                <a:lnTo>
                  <a:pt x="5486728" y="3018185"/>
                </a:lnTo>
                <a:lnTo>
                  <a:pt x="5486728" y="3013485"/>
                </a:lnTo>
                <a:lnTo>
                  <a:pt x="5482031" y="3008787"/>
                </a:lnTo>
                <a:close/>
                <a:moveTo>
                  <a:pt x="5381034" y="3004056"/>
                </a:moveTo>
                <a:lnTo>
                  <a:pt x="5383383" y="3008754"/>
                </a:lnTo>
                <a:lnTo>
                  <a:pt x="5381034" y="3008754"/>
                </a:lnTo>
                <a:close/>
                <a:moveTo>
                  <a:pt x="528480" y="3001794"/>
                </a:moveTo>
                <a:lnTo>
                  <a:pt x="528480" y="3011191"/>
                </a:lnTo>
                <a:lnTo>
                  <a:pt x="537872" y="3011191"/>
                </a:lnTo>
                <a:lnTo>
                  <a:pt x="540222" y="3004146"/>
                </a:lnTo>
                <a:cubicBezTo>
                  <a:pt x="540222" y="3004146"/>
                  <a:pt x="537872" y="3001794"/>
                  <a:pt x="537872" y="3001794"/>
                </a:cubicBezTo>
                <a:close/>
                <a:moveTo>
                  <a:pt x="5378685" y="3001702"/>
                </a:moveTo>
                <a:lnTo>
                  <a:pt x="5381034" y="3001702"/>
                </a:lnTo>
                <a:lnTo>
                  <a:pt x="5381034" y="3004051"/>
                </a:lnTo>
                <a:close/>
                <a:moveTo>
                  <a:pt x="5538407" y="2999398"/>
                </a:moveTo>
                <a:lnTo>
                  <a:pt x="5539579" y="3000570"/>
                </a:lnTo>
                <a:lnTo>
                  <a:pt x="5540751" y="2999398"/>
                </a:lnTo>
                <a:close/>
                <a:moveTo>
                  <a:pt x="5315268" y="2999352"/>
                </a:moveTo>
                <a:lnTo>
                  <a:pt x="5317617" y="2999352"/>
                </a:lnTo>
                <a:lnTo>
                  <a:pt x="5315268" y="3001702"/>
                </a:lnTo>
                <a:close/>
                <a:moveTo>
                  <a:pt x="5477334" y="2997034"/>
                </a:moveTo>
                <a:lnTo>
                  <a:pt x="5482031" y="2997034"/>
                </a:lnTo>
                <a:cubicBezTo>
                  <a:pt x="5482031" y="3001733"/>
                  <a:pt x="5482031" y="3004084"/>
                  <a:pt x="5482031" y="3001733"/>
                </a:cubicBezTo>
                <a:cubicBezTo>
                  <a:pt x="5479682" y="3001733"/>
                  <a:pt x="5479682" y="3001733"/>
                  <a:pt x="5477334" y="3001733"/>
                </a:cubicBezTo>
                <a:close/>
                <a:moveTo>
                  <a:pt x="5439753" y="2997034"/>
                </a:moveTo>
                <a:lnTo>
                  <a:pt x="5446799" y="2997034"/>
                </a:lnTo>
                <a:lnTo>
                  <a:pt x="5444450" y="2999384"/>
                </a:lnTo>
                <a:lnTo>
                  <a:pt x="5446799" y="2999384"/>
                </a:lnTo>
                <a:cubicBezTo>
                  <a:pt x="5446799" y="3004084"/>
                  <a:pt x="5446799" y="3001733"/>
                  <a:pt x="5449148" y="3004084"/>
                </a:cubicBezTo>
                <a:lnTo>
                  <a:pt x="5446799" y="3006432"/>
                </a:lnTo>
                <a:cubicBezTo>
                  <a:pt x="5446799" y="3001733"/>
                  <a:pt x="5442102" y="2999384"/>
                  <a:pt x="5439753" y="2997034"/>
                </a:cubicBezTo>
                <a:close/>
                <a:moveTo>
                  <a:pt x="5371639" y="2997019"/>
                </a:moveTo>
                <a:lnTo>
                  <a:pt x="5371639" y="2999368"/>
                </a:lnTo>
                <a:lnTo>
                  <a:pt x="5366941" y="2999368"/>
                </a:lnTo>
                <a:cubicBezTo>
                  <a:pt x="5369290" y="2994671"/>
                  <a:pt x="5366941" y="2999368"/>
                  <a:pt x="5371639" y="2997019"/>
                </a:cubicBezTo>
                <a:close/>
                <a:moveTo>
                  <a:pt x="5465590" y="2994697"/>
                </a:moveTo>
                <a:lnTo>
                  <a:pt x="5465590" y="2999390"/>
                </a:lnTo>
                <a:cubicBezTo>
                  <a:pt x="5465590" y="3001739"/>
                  <a:pt x="5465590" y="2999390"/>
                  <a:pt x="5465590" y="3001739"/>
                </a:cubicBezTo>
                <a:lnTo>
                  <a:pt x="5470288" y="3006438"/>
                </a:lnTo>
                <a:lnTo>
                  <a:pt x="5467939" y="3008788"/>
                </a:lnTo>
                <a:cubicBezTo>
                  <a:pt x="5465590" y="3006438"/>
                  <a:pt x="5465590" y="3006438"/>
                  <a:pt x="5465590" y="3004090"/>
                </a:cubicBezTo>
                <a:lnTo>
                  <a:pt x="5456195" y="3004090"/>
                </a:lnTo>
                <a:cubicBezTo>
                  <a:pt x="5458544" y="2999390"/>
                  <a:pt x="5453846" y="2999390"/>
                  <a:pt x="5458544" y="2997043"/>
                </a:cubicBezTo>
                <a:cubicBezTo>
                  <a:pt x="5458544" y="3001739"/>
                  <a:pt x="5456195" y="2997043"/>
                  <a:pt x="5458544" y="3001739"/>
                </a:cubicBezTo>
                <a:lnTo>
                  <a:pt x="5460892" y="3001739"/>
                </a:lnTo>
                <a:lnTo>
                  <a:pt x="5460892" y="2997043"/>
                </a:lnTo>
                <a:close/>
                <a:moveTo>
                  <a:pt x="5470287" y="2994678"/>
                </a:moveTo>
                <a:lnTo>
                  <a:pt x="5474984" y="2994678"/>
                </a:lnTo>
                <a:cubicBezTo>
                  <a:pt x="5472635" y="2999373"/>
                  <a:pt x="5472635" y="2997026"/>
                  <a:pt x="5470287" y="2999373"/>
                </a:cubicBezTo>
                <a:cubicBezTo>
                  <a:pt x="5470287" y="2994678"/>
                  <a:pt x="5472635" y="2999373"/>
                  <a:pt x="5470287" y="2994678"/>
                </a:cubicBezTo>
                <a:close/>
                <a:moveTo>
                  <a:pt x="288899" y="2992405"/>
                </a:moveTo>
                <a:lnTo>
                  <a:pt x="302992" y="2992405"/>
                </a:lnTo>
                <a:lnTo>
                  <a:pt x="312391" y="3008841"/>
                </a:lnTo>
                <a:cubicBezTo>
                  <a:pt x="312391" y="3008841"/>
                  <a:pt x="310041" y="3011191"/>
                  <a:pt x="307691" y="3011191"/>
                </a:cubicBezTo>
                <a:lnTo>
                  <a:pt x="300643" y="3008841"/>
                </a:lnTo>
                <a:close/>
                <a:moveTo>
                  <a:pt x="5456194" y="2992341"/>
                </a:moveTo>
                <a:lnTo>
                  <a:pt x="5458543" y="2992341"/>
                </a:lnTo>
                <a:cubicBezTo>
                  <a:pt x="5460892" y="2994690"/>
                  <a:pt x="5460892" y="2992341"/>
                  <a:pt x="5460892" y="2997039"/>
                </a:cubicBezTo>
                <a:close/>
                <a:moveTo>
                  <a:pt x="5425660" y="2992332"/>
                </a:moveTo>
                <a:cubicBezTo>
                  <a:pt x="5430358" y="2994682"/>
                  <a:pt x="5428009" y="2992332"/>
                  <a:pt x="5430358" y="2997031"/>
                </a:cubicBezTo>
                <a:cubicBezTo>
                  <a:pt x="5425660" y="2997031"/>
                  <a:pt x="5425660" y="2997031"/>
                  <a:pt x="5425660" y="2992332"/>
                </a:cubicBezTo>
                <a:close/>
                <a:moveTo>
                  <a:pt x="5486729" y="2992328"/>
                </a:moveTo>
                <a:lnTo>
                  <a:pt x="5489078" y="2997023"/>
                </a:lnTo>
                <a:lnTo>
                  <a:pt x="5484380" y="2997023"/>
                </a:lnTo>
                <a:close/>
                <a:moveTo>
                  <a:pt x="5538402" y="2990010"/>
                </a:moveTo>
                <a:lnTo>
                  <a:pt x="5538402" y="2992354"/>
                </a:lnTo>
                <a:lnTo>
                  <a:pt x="5537521" y="2991476"/>
                </a:lnTo>
                <a:lnTo>
                  <a:pt x="5535373" y="2992503"/>
                </a:lnTo>
                <a:lnTo>
                  <a:pt x="5538402" y="2997043"/>
                </a:lnTo>
                <a:lnTo>
                  <a:pt x="5538402" y="2992354"/>
                </a:lnTo>
                <a:lnTo>
                  <a:pt x="5543100" y="2997047"/>
                </a:lnTo>
                <a:lnTo>
                  <a:pt x="5545448" y="2997047"/>
                </a:lnTo>
                <a:close/>
                <a:moveTo>
                  <a:pt x="5312919" y="2989996"/>
                </a:moveTo>
                <a:cubicBezTo>
                  <a:pt x="5317616" y="2989996"/>
                  <a:pt x="5312919" y="2992339"/>
                  <a:pt x="5317616" y="2989996"/>
                </a:cubicBezTo>
                <a:cubicBezTo>
                  <a:pt x="5319965" y="2992339"/>
                  <a:pt x="5317616" y="2992339"/>
                  <a:pt x="5319965" y="2989996"/>
                </a:cubicBezTo>
                <a:cubicBezTo>
                  <a:pt x="5319965" y="2992339"/>
                  <a:pt x="5319965" y="2994688"/>
                  <a:pt x="5317616" y="2994688"/>
                </a:cubicBezTo>
                <a:cubicBezTo>
                  <a:pt x="5315267" y="2994688"/>
                  <a:pt x="5315267" y="2992339"/>
                  <a:pt x="5312919" y="2989996"/>
                </a:cubicBezTo>
                <a:close/>
                <a:moveTo>
                  <a:pt x="5451497" y="2985294"/>
                </a:moveTo>
                <a:cubicBezTo>
                  <a:pt x="5456194" y="2985294"/>
                  <a:pt x="5453846" y="2987648"/>
                  <a:pt x="5458543" y="2989998"/>
                </a:cubicBezTo>
                <a:lnTo>
                  <a:pt x="5456194" y="2992341"/>
                </a:lnTo>
                <a:lnTo>
                  <a:pt x="5453846" y="2992341"/>
                </a:lnTo>
                <a:lnTo>
                  <a:pt x="5451497" y="2989998"/>
                </a:lnTo>
                <a:lnTo>
                  <a:pt x="5451497" y="2987648"/>
                </a:lnTo>
                <a:close/>
                <a:moveTo>
                  <a:pt x="5489078" y="2985265"/>
                </a:moveTo>
                <a:lnTo>
                  <a:pt x="5491426" y="2985265"/>
                </a:lnTo>
                <a:lnTo>
                  <a:pt x="5493775" y="2987615"/>
                </a:lnTo>
                <a:lnTo>
                  <a:pt x="5492966" y="2987615"/>
                </a:lnTo>
                <a:lnTo>
                  <a:pt x="5496124" y="2992354"/>
                </a:lnTo>
                <a:lnTo>
                  <a:pt x="5491427" y="2997047"/>
                </a:lnTo>
                <a:lnTo>
                  <a:pt x="5491427" y="2987615"/>
                </a:lnTo>
                <a:lnTo>
                  <a:pt x="5491426" y="2987615"/>
                </a:lnTo>
                <a:close/>
                <a:moveTo>
                  <a:pt x="5343453" y="2985264"/>
                </a:moveTo>
                <a:lnTo>
                  <a:pt x="5345802" y="2987614"/>
                </a:lnTo>
                <a:lnTo>
                  <a:pt x="5343453" y="2989961"/>
                </a:lnTo>
                <a:lnTo>
                  <a:pt x="5343453" y="2987614"/>
                </a:lnTo>
                <a:close/>
                <a:moveTo>
                  <a:pt x="5319965" y="2985262"/>
                </a:moveTo>
                <a:lnTo>
                  <a:pt x="5322314" y="2985262"/>
                </a:lnTo>
                <a:lnTo>
                  <a:pt x="5319965" y="2987611"/>
                </a:lnTo>
                <a:close/>
                <a:moveTo>
                  <a:pt x="5303524" y="2985256"/>
                </a:moveTo>
                <a:lnTo>
                  <a:pt x="5305873" y="2987605"/>
                </a:lnTo>
                <a:lnTo>
                  <a:pt x="5303524" y="2987605"/>
                </a:lnTo>
                <a:close/>
                <a:moveTo>
                  <a:pt x="5289432" y="2982923"/>
                </a:moveTo>
                <a:lnTo>
                  <a:pt x="5291780" y="2982923"/>
                </a:lnTo>
                <a:lnTo>
                  <a:pt x="5289432" y="2985271"/>
                </a:lnTo>
                <a:close/>
                <a:moveTo>
                  <a:pt x="5557192" y="2982918"/>
                </a:moveTo>
                <a:lnTo>
                  <a:pt x="5559541" y="2982918"/>
                </a:lnTo>
                <a:lnTo>
                  <a:pt x="5559541" y="2985265"/>
                </a:lnTo>
                <a:close/>
                <a:moveTo>
                  <a:pt x="5453846" y="2982915"/>
                </a:moveTo>
                <a:lnTo>
                  <a:pt x="5456194" y="2982915"/>
                </a:lnTo>
                <a:lnTo>
                  <a:pt x="5458543" y="2982915"/>
                </a:lnTo>
                <a:lnTo>
                  <a:pt x="5456194" y="2985264"/>
                </a:lnTo>
                <a:close/>
                <a:moveTo>
                  <a:pt x="5324663" y="2982915"/>
                </a:moveTo>
                <a:lnTo>
                  <a:pt x="5327011" y="2982915"/>
                </a:lnTo>
                <a:lnTo>
                  <a:pt x="5327011" y="2987613"/>
                </a:lnTo>
                <a:close/>
                <a:moveTo>
                  <a:pt x="5557147" y="2978258"/>
                </a:moveTo>
                <a:lnTo>
                  <a:pt x="5557144" y="2978262"/>
                </a:lnTo>
                <a:lnTo>
                  <a:pt x="5557192" y="2978262"/>
                </a:lnTo>
                <a:lnTo>
                  <a:pt x="5552495" y="2985306"/>
                </a:lnTo>
                <a:lnTo>
                  <a:pt x="5559541" y="2987657"/>
                </a:lnTo>
                <a:lnTo>
                  <a:pt x="5561199" y="2990145"/>
                </a:lnTo>
                <a:lnTo>
                  <a:pt x="5559541" y="2992354"/>
                </a:lnTo>
                <a:lnTo>
                  <a:pt x="5562673" y="2992354"/>
                </a:lnTo>
                <a:lnTo>
                  <a:pt x="5564239" y="2994701"/>
                </a:lnTo>
                <a:lnTo>
                  <a:pt x="5554843" y="2994701"/>
                </a:lnTo>
                <a:lnTo>
                  <a:pt x="5554843" y="2997047"/>
                </a:lnTo>
                <a:lnTo>
                  <a:pt x="5568936" y="2997047"/>
                </a:lnTo>
                <a:lnTo>
                  <a:pt x="5568936" y="2992354"/>
                </a:lnTo>
                <a:lnTo>
                  <a:pt x="5562673" y="2992354"/>
                </a:lnTo>
                <a:lnTo>
                  <a:pt x="5561199" y="2990145"/>
                </a:lnTo>
                <a:lnTo>
                  <a:pt x="5566587" y="2982957"/>
                </a:lnTo>
                <a:cubicBezTo>
                  <a:pt x="5559541" y="2978262"/>
                  <a:pt x="5568936" y="2978262"/>
                  <a:pt x="5557192" y="2978262"/>
                </a:cubicBezTo>
                <a:close/>
                <a:moveTo>
                  <a:pt x="5432707" y="2978252"/>
                </a:moveTo>
                <a:lnTo>
                  <a:pt x="5439753" y="2985297"/>
                </a:lnTo>
                <a:lnTo>
                  <a:pt x="5442102" y="2982950"/>
                </a:lnTo>
                <a:cubicBezTo>
                  <a:pt x="5442102" y="2982950"/>
                  <a:pt x="5442102" y="2985297"/>
                  <a:pt x="5442102" y="2985297"/>
                </a:cubicBezTo>
                <a:cubicBezTo>
                  <a:pt x="5442102" y="2987649"/>
                  <a:pt x="5442102" y="2985297"/>
                  <a:pt x="5439753" y="2987649"/>
                </a:cubicBezTo>
                <a:lnTo>
                  <a:pt x="5435056" y="2985297"/>
                </a:lnTo>
                <a:lnTo>
                  <a:pt x="5435056" y="2989995"/>
                </a:lnTo>
                <a:cubicBezTo>
                  <a:pt x="5439753" y="2992338"/>
                  <a:pt x="5437404" y="2989995"/>
                  <a:pt x="5439753" y="2994686"/>
                </a:cubicBezTo>
                <a:lnTo>
                  <a:pt x="5439753" y="2997034"/>
                </a:lnTo>
                <a:lnTo>
                  <a:pt x="5435056" y="2994686"/>
                </a:lnTo>
                <a:lnTo>
                  <a:pt x="5435056" y="2990000"/>
                </a:lnTo>
                <a:lnTo>
                  <a:pt x="5432707" y="2987649"/>
                </a:lnTo>
                <a:cubicBezTo>
                  <a:pt x="5432707" y="2982950"/>
                  <a:pt x="5430358" y="2987649"/>
                  <a:pt x="5432707" y="2982950"/>
                </a:cubicBezTo>
                <a:close/>
                <a:moveTo>
                  <a:pt x="5539517" y="2977557"/>
                </a:moveTo>
                <a:lnTo>
                  <a:pt x="5539650" y="2978114"/>
                </a:lnTo>
                <a:lnTo>
                  <a:pt x="5540751" y="2985306"/>
                </a:lnTo>
                <a:lnTo>
                  <a:pt x="5538402" y="2987657"/>
                </a:lnTo>
                <a:lnTo>
                  <a:pt x="5533705" y="2985306"/>
                </a:lnTo>
                <a:close/>
                <a:moveTo>
                  <a:pt x="5409219" y="2975886"/>
                </a:moveTo>
                <a:cubicBezTo>
                  <a:pt x="5411568" y="2978236"/>
                  <a:pt x="5411568" y="2978236"/>
                  <a:pt x="5411568" y="2980584"/>
                </a:cubicBezTo>
                <a:cubicBezTo>
                  <a:pt x="5411568" y="2982933"/>
                  <a:pt x="5413916" y="2980584"/>
                  <a:pt x="5409219" y="2982933"/>
                </a:cubicBezTo>
                <a:close/>
                <a:moveTo>
                  <a:pt x="5423312" y="2975877"/>
                </a:moveTo>
                <a:lnTo>
                  <a:pt x="5423312" y="2980577"/>
                </a:lnTo>
                <a:cubicBezTo>
                  <a:pt x="5418614" y="2980577"/>
                  <a:pt x="5420963" y="2982926"/>
                  <a:pt x="5420963" y="2978229"/>
                </a:cubicBezTo>
                <a:cubicBezTo>
                  <a:pt x="5420963" y="2973529"/>
                  <a:pt x="5418614" y="2978229"/>
                  <a:pt x="5423312" y="2975877"/>
                </a:cubicBezTo>
                <a:close/>
                <a:moveTo>
                  <a:pt x="5977624" y="2973562"/>
                </a:moveTo>
                <a:lnTo>
                  <a:pt x="5965880" y="2975908"/>
                </a:lnTo>
                <a:lnTo>
                  <a:pt x="5972926" y="2982957"/>
                </a:lnTo>
                <a:close/>
                <a:moveTo>
                  <a:pt x="5312919" y="2973554"/>
                </a:moveTo>
                <a:cubicBezTo>
                  <a:pt x="5315267" y="2973554"/>
                  <a:pt x="5315267" y="2973554"/>
                  <a:pt x="5317616" y="2973554"/>
                </a:cubicBezTo>
                <a:cubicBezTo>
                  <a:pt x="5319965" y="2973554"/>
                  <a:pt x="5317616" y="2978257"/>
                  <a:pt x="5319965" y="2978257"/>
                </a:cubicBezTo>
                <a:lnTo>
                  <a:pt x="5319965" y="2982953"/>
                </a:lnTo>
                <a:cubicBezTo>
                  <a:pt x="5317616" y="2980602"/>
                  <a:pt x="5317616" y="2980602"/>
                  <a:pt x="5315267" y="2980602"/>
                </a:cubicBezTo>
                <a:lnTo>
                  <a:pt x="5308221" y="2980602"/>
                </a:lnTo>
                <a:cubicBezTo>
                  <a:pt x="5308221" y="2975903"/>
                  <a:pt x="5308221" y="2978257"/>
                  <a:pt x="5310570" y="2978257"/>
                </a:cubicBezTo>
                <a:lnTo>
                  <a:pt x="5315267" y="2975903"/>
                </a:lnTo>
                <a:close/>
                <a:moveTo>
                  <a:pt x="5439753" y="2973537"/>
                </a:moveTo>
                <a:cubicBezTo>
                  <a:pt x="5442102" y="2973537"/>
                  <a:pt x="5439753" y="2973537"/>
                  <a:pt x="5444450" y="2975884"/>
                </a:cubicBezTo>
                <a:lnTo>
                  <a:pt x="5442102" y="2978235"/>
                </a:lnTo>
                <a:close/>
                <a:moveTo>
                  <a:pt x="5280036" y="2973529"/>
                </a:moveTo>
                <a:lnTo>
                  <a:pt x="5282385" y="2973529"/>
                </a:lnTo>
                <a:lnTo>
                  <a:pt x="5282385" y="2978229"/>
                </a:lnTo>
                <a:lnTo>
                  <a:pt x="5280036" y="2978229"/>
                </a:lnTo>
                <a:close/>
                <a:moveTo>
                  <a:pt x="5303523" y="2971205"/>
                </a:moveTo>
                <a:cubicBezTo>
                  <a:pt x="5305872" y="2973547"/>
                  <a:pt x="5303523" y="2971205"/>
                  <a:pt x="5303523" y="2973547"/>
                </a:cubicBezTo>
                <a:lnTo>
                  <a:pt x="5305872" y="2978251"/>
                </a:lnTo>
                <a:cubicBezTo>
                  <a:pt x="5308221" y="2975897"/>
                  <a:pt x="5305872" y="2975897"/>
                  <a:pt x="5308221" y="2978251"/>
                </a:cubicBezTo>
                <a:lnTo>
                  <a:pt x="5305872" y="2980597"/>
                </a:lnTo>
                <a:lnTo>
                  <a:pt x="5303523" y="2978251"/>
                </a:lnTo>
                <a:lnTo>
                  <a:pt x="5301175" y="2973547"/>
                </a:lnTo>
                <a:close/>
                <a:moveTo>
                  <a:pt x="5331709" y="2971199"/>
                </a:moveTo>
                <a:cubicBezTo>
                  <a:pt x="5334058" y="2971199"/>
                  <a:pt x="5331709" y="2971199"/>
                  <a:pt x="5334058" y="2973544"/>
                </a:cubicBezTo>
                <a:lnTo>
                  <a:pt x="5331709" y="2975892"/>
                </a:lnTo>
                <a:cubicBezTo>
                  <a:pt x="5329361" y="2975892"/>
                  <a:pt x="5329361" y="2973544"/>
                  <a:pt x="5329361" y="2973544"/>
                </a:cubicBezTo>
                <a:cubicBezTo>
                  <a:pt x="5329361" y="2973544"/>
                  <a:pt x="5329361" y="2971199"/>
                  <a:pt x="5331709" y="2971199"/>
                </a:cubicBezTo>
                <a:close/>
                <a:moveTo>
                  <a:pt x="5402172" y="2971193"/>
                </a:moveTo>
                <a:lnTo>
                  <a:pt x="5402172" y="2973539"/>
                </a:lnTo>
                <a:lnTo>
                  <a:pt x="5404521" y="2975887"/>
                </a:lnTo>
                <a:lnTo>
                  <a:pt x="5402172" y="2978236"/>
                </a:lnTo>
                <a:cubicBezTo>
                  <a:pt x="5402172" y="2978236"/>
                  <a:pt x="5402172" y="2978236"/>
                  <a:pt x="5402172" y="2975887"/>
                </a:cubicBezTo>
                <a:cubicBezTo>
                  <a:pt x="5402172" y="2975887"/>
                  <a:pt x="5402172" y="2975887"/>
                  <a:pt x="5399824" y="2973539"/>
                </a:cubicBezTo>
                <a:close/>
                <a:moveTo>
                  <a:pt x="5517263" y="2971176"/>
                </a:moveTo>
                <a:lnTo>
                  <a:pt x="5519611" y="2971176"/>
                </a:lnTo>
                <a:lnTo>
                  <a:pt x="5521960" y="2971176"/>
                </a:lnTo>
                <a:lnTo>
                  <a:pt x="5519611" y="2973523"/>
                </a:lnTo>
                <a:close/>
                <a:moveTo>
                  <a:pt x="4214864" y="2970045"/>
                </a:moveTo>
                <a:cubicBezTo>
                  <a:pt x="4213690" y="2968282"/>
                  <a:pt x="4212515" y="2967694"/>
                  <a:pt x="4208992" y="2971219"/>
                </a:cubicBezTo>
                <a:cubicBezTo>
                  <a:pt x="4206643" y="2975909"/>
                  <a:pt x="4216038" y="2982957"/>
                  <a:pt x="4220736" y="2975909"/>
                </a:cubicBezTo>
                <a:cubicBezTo>
                  <a:pt x="4217213" y="2974730"/>
                  <a:pt x="4216039" y="2971805"/>
                  <a:pt x="4214864" y="2970045"/>
                </a:cubicBezTo>
                <a:close/>
                <a:moveTo>
                  <a:pt x="241928" y="2968925"/>
                </a:moveTo>
                <a:lnTo>
                  <a:pt x="246622" y="2971274"/>
                </a:lnTo>
                <a:lnTo>
                  <a:pt x="244273" y="2980661"/>
                </a:lnTo>
                <a:lnTo>
                  <a:pt x="241928" y="2983012"/>
                </a:lnTo>
                <a:lnTo>
                  <a:pt x="237228" y="2980661"/>
                </a:lnTo>
                <a:lnTo>
                  <a:pt x="237228" y="2971274"/>
                </a:lnTo>
                <a:close/>
                <a:moveTo>
                  <a:pt x="5371639" y="2968829"/>
                </a:moveTo>
                <a:lnTo>
                  <a:pt x="5373987" y="2971179"/>
                </a:lnTo>
                <a:lnTo>
                  <a:pt x="5369290" y="2973525"/>
                </a:lnTo>
                <a:close/>
                <a:moveTo>
                  <a:pt x="173809" y="2966564"/>
                </a:moveTo>
                <a:cubicBezTo>
                  <a:pt x="173809" y="2966564"/>
                  <a:pt x="178507" y="2966564"/>
                  <a:pt x="183203" y="2966564"/>
                </a:cubicBezTo>
                <a:lnTo>
                  <a:pt x="197300" y="2980651"/>
                </a:lnTo>
                <a:cubicBezTo>
                  <a:pt x="199646" y="2985346"/>
                  <a:pt x="204342" y="2985346"/>
                  <a:pt x="204342" y="2990049"/>
                </a:cubicBezTo>
                <a:cubicBezTo>
                  <a:pt x="204342" y="2992393"/>
                  <a:pt x="201994" y="2994741"/>
                  <a:pt x="199646" y="2994741"/>
                </a:cubicBezTo>
                <a:cubicBezTo>
                  <a:pt x="199646" y="2994741"/>
                  <a:pt x="192600" y="2994741"/>
                  <a:pt x="185553" y="2990049"/>
                </a:cubicBezTo>
                <a:lnTo>
                  <a:pt x="173809" y="2978306"/>
                </a:lnTo>
                <a:close/>
                <a:moveTo>
                  <a:pt x="5305873" y="2966479"/>
                </a:moveTo>
                <a:lnTo>
                  <a:pt x="5305873" y="2968828"/>
                </a:lnTo>
                <a:lnTo>
                  <a:pt x="5303524" y="2968828"/>
                </a:lnTo>
                <a:close/>
                <a:moveTo>
                  <a:pt x="429826" y="2964230"/>
                </a:moveTo>
                <a:lnTo>
                  <a:pt x="420431" y="2994752"/>
                </a:lnTo>
                <a:cubicBezTo>
                  <a:pt x="418084" y="2997098"/>
                  <a:pt x="415734" y="2997098"/>
                  <a:pt x="415734" y="2999446"/>
                </a:cubicBezTo>
                <a:cubicBezTo>
                  <a:pt x="415734" y="2999446"/>
                  <a:pt x="418084" y="3006493"/>
                  <a:pt x="420431" y="3008841"/>
                </a:cubicBezTo>
                <a:lnTo>
                  <a:pt x="439224" y="3025279"/>
                </a:lnTo>
                <a:lnTo>
                  <a:pt x="443918" y="3029977"/>
                </a:lnTo>
                <a:cubicBezTo>
                  <a:pt x="443918" y="3029977"/>
                  <a:pt x="460360" y="3022930"/>
                  <a:pt x="462709" y="3018240"/>
                </a:cubicBezTo>
                <a:lnTo>
                  <a:pt x="453317" y="2999446"/>
                </a:lnTo>
                <a:cubicBezTo>
                  <a:pt x="441569" y="2997098"/>
                  <a:pt x="441569" y="2997098"/>
                  <a:pt x="443918" y="2990058"/>
                </a:cubicBezTo>
                <a:cubicBezTo>
                  <a:pt x="443918" y="2990058"/>
                  <a:pt x="450967" y="2968925"/>
                  <a:pt x="453317" y="2964230"/>
                </a:cubicBezTo>
                <a:close/>
                <a:moveTo>
                  <a:pt x="5411568" y="2964149"/>
                </a:moveTo>
                <a:lnTo>
                  <a:pt x="5413916" y="2968847"/>
                </a:lnTo>
                <a:lnTo>
                  <a:pt x="5411568" y="2971195"/>
                </a:lnTo>
                <a:lnTo>
                  <a:pt x="5409219" y="2971195"/>
                </a:lnTo>
                <a:cubicBezTo>
                  <a:pt x="5409219" y="2971195"/>
                  <a:pt x="5409219" y="2968847"/>
                  <a:pt x="5409219" y="2968847"/>
                </a:cubicBezTo>
                <a:cubicBezTo>
                  <a:pt x="5409219" y="2966497"/>
                  <a:pt x="5411568" y="2968847"/>
                  <a:pt x="5409219" y="2966497"/>
                </a:cubicBezTo>
                <a:close/>
                <a:moveTo>
                  <a:pt x="5961182" y="2961825"/>
                </a:moveTo>
                <a:lnTo>
                  <a:pt x="5951787" y="2964172"/>
                </a:lnTo>
                <a:lnTo>
                  <a:pt x="5961182" y="2973562"/>
                </a:lnTo>
                <a:close/>
                <a:moveTo>
                  <a:pt x="5371639" y="2961781"/>
                </a:moveTo>
                <a:lnTo>
                  <a:pt x="5373987" y="2961781"/>
                </a:lnTo>
                <a:lnTo>
                  <a:pt x="5376336" y="2961781"/>
                </a:lnTo>
                <a:lnTo>
                  <a:pt x="5373987" y="2964131"/>
                </a:lnTo>
                <a:close/>
                <a:moveTo>
                  <a:pt x="5583029" y="2959475"/>
                </a:moveTo>
                <a:lnTo>
                  <a:pt x="5580680" y="2973562"/>
                </a:lnTo>
                <a:lnTo>
                  <a:pt x="5590075" y="2964172"/>
                </a:lnTo>
                <a:close/>
                <a:moveTo>
                  <a:pt x="5336407" y="2959468"/>
                </a:moveTo>
                <a:lnTo>
                  <a:pt x="5338755" y="2959468"/>
                </a:lnTo>
                <a:lnTo>
                  <a:pt x="5338755" y="2966514"/>
                </a:lnTo>
                <a:lnTo>
                  <a:pt x="5336407" y="2966514"/>
                </a:lnTo>
                <a:lnTo>
                  <a:pt x="5336407" y="2968863"/>
                </a:lnTo>
                <a:cubicBezTo>
                  <a:pt x="5334058" y="2968863"/>
                  <a:pt x="5334058" y="2968863"/>
                  <a:pt x="5331709" y="2966514"/>
                </a:cubicBezTo>
                <a:lnTo>
                  <a:pt x="5334058" y="2964166"/>
                </a:lnTo>
                <a:lnTo>
                  <a:pt x="5331709" y="2961817"/>
                </a:lnTo>
                <a:cubicBezTo>
                  <a:pt x="5334058" y="2959468"/>
                  <a:pt x="5334058" y="2959468"/>
                  <a:pt x="5336407" y="2959468"/>
                </a:cubicBezTo>
                <a:close/>
                <a:moveTo>
                  <a:pt x="5534608" y="2955681"/>
                </a:moveTo>
                <a:lnTo>
                  <a:pt x="5536053" y="2957125"/>
                </a:lnTo>
                <a:lnTo>
                  <a:pt x="5536053" y="2957081"/>
                </a:lnTo>
                <a:lnTo>
                  <a:pt x="5540750" y="2959429"/>
                </a:lnTo>
                <a:lnTo>
                  <a:pt x="5538357" y="2959429"/>
                </a:lnTo>
                <a:lnTo>
                  <a:pt x="5540751" y="2961825"/>
                </a:lnTo>
                <a:lnTo>
                  <a:pt x="5538067" y="2964508"/>
                </a:lnTo>
                <a:lnTo>
                  <a:pt x="5531356" y="2959475"/>
                </a:lnTo>
                <a:close/>
                <a:moveTo>
                  <a:pt x="4279455" y="2952426"/>
                </a:moveTo>
                <a:cubicBezTo>
                  <a:pt x="4270060" y="2957125"/>
                  <a:pt x="4265363" y="2971219"/>
                  <a:pt x="4255968" y="2975909"/>
                </a:cubicBezTo>
                <a:cubicBezTo>
                  <a:pt x="4274758" y="2978262"/>
                  <a:pt x="4270060" y="2992354"/>
                  <a:pt x="4279455" y="2999397"/>
                </a:cubicBezTo>
                <a:cubicBezTo>
                  <a:pt x="4288850" y="2992354"/>
                  <a:pt x="4300594" y="2992354"/>
                  <a:pt x="4305292" y="2971219"/>
                </a:cubicBezTo>
                <a:cubicBezTo>
                  <a:pt x="4288850" y="2968869"/>
                  <a:pt x="4293548" y="2954778"/>
                  <a:pt x="4279455" y="2952426"/>
                </a:cubicBezTo>
                <a:close/>
                <a:moveTo>
                  <a:pt x="4131484" y="2951840"/>
                </a:moveTo>
                <a:cubicBezTo>
                  <a:pt x="4127372" y="2954777"/>
                  <a:pt x="4124437" y="2960650"/>
                  <a:pt x="4122087" y="2968869"/>
                </a:cubicBezTo>
                <a:cubicBezTo>
                  <a:pt x="4126785" y="2971219"/>
                  <a:pt x="4133831" y="2973560"/>
                  <a:pt x="4138529" y="2975909"/>
                </a:cubicBezTo>
                <a:cubicBezTo>
                  <a:pt x="4140877" y="2968869"/>
                  <a:pt x="4145575" y="2959474"/>
                  <a:pt x="4147924" y="2952426"/>
                </a:cubicBezTo>
                <a:cubicBezTo>
                  <a:pt x="4140878" y="2948904"/>
                  <a:pt x="4135593" y="2948904"/>
                  <a:pt x="4131484" y="2951840"/>
                </a:cubicBezTo>
                <a:close/>
                <a:moveTo>
                  <a:pt x="3945049" y="2949785"/>
                </a:moveTo>
                <a:cubicBezTo>
                  <a:pt x="3939471" y="2951840"/>
                  <a:pt x="3934185" y="2959475"/>
                  <a:pt x="3945929" y="2966520"/>
                </a:cubicBezTo>
                <a:cubicBezTo>
                  <a:pt x="3956499" y="2951252"/>
                  <a:pt x="3950627" y="2947729"/>
                  <a:pt x="3945049" y="2949785"/>
                </a:cubicBezTo>
                <a:close/>
                <a:moveTo>
                  <a:pt x="5486729" y="2947699"/>
                </a:moveTo>
                <a:cubicBezTo>
                  <a:pt x="5489078" y="2947699"/>
                  <a:pt x="5489078" y="2947699"/>
                  <a:pt x="5489078" y="2952397"/>
                </a:cubicBezTo>
                <a:cubicBezTo>
                  <a:pt x="5486729" y="2950048"/>
                  <a:pt x="5486729" y="2952397"/>
                  <a:pt x="5486729" y="2947699"/>
                </a:cubicBezTo>
                <a:close/>
                <a:moveTo>
                  <a:pt x="521430" y="2945440"/>
                </a:moveTo>
                <a:lnTo>
                  <a:pt x="512037" y="2947789"/>
                </a:lnTo>
                <a:lnTo>
                  <a:pt x="502645" y="2968925"/>
                </a:lnTo>
                <a:lnTo>
                  <a:pt x="526130" y="2952486"/>
                </a:lnTo>
                <a:close/>
                <a:moveTo>
                  <a:pt x="5991716" y="2945379"/>
                </a:moveTo>
                <a:cubicBezTo>
                  <a:pt x="5991716" y="2945379"/>
                  <a:pt x="5994065" y="2952428"/>
                  <a:pt x="5994065" y="2952428"/>
                </a:cubicBezTo>
                <a:lnTo>
                  <a:pt x="5992500" y="2957126"/>
                </a:lnTo>
                <a:lnTo>
                  <a:pt x="5991716" y="2957126"/>
                </a:lnTo>
                <a:lnTo>
                  <a:pt x="5989368" y="2947729"/>
                </a:lnTo>
                <a:lnTo>
                  <a:pt x="5989838" y="2946319"/>
                </a:lnTo>
                <a:close/>
                <a:moveTo>
                  <a:pt x="5343453" y="2945369"/>
                </a:moveTo>
                <a:cubicBezTo>
                  <a:pt x="5345802" y="2947717"/>
                  <a:pt x="5343453" y="2947717"/>
                  <a:pt x="5345802" y="2945369"/>
                </a:cubicBezTo>
                <a:lnTo>
                  <a:pt x="5346312" y="2946084"/>
                </a:lnTo>
                <a:close/>
                <a:moveTo>
                  <a:pt x="5446799" y="2943023"/>
                </a:moveTo>
                <a:cubicBezTo>
                  <a:pt x="5444450" y="2947720"/>
                  <a:pt x="5446799" y="2954769"/>
                  <a:pt x="5444450" y="2957117"/>
                </a:cubicBezTo>
                <a:cubicBezTo>
                  <a:pt x="5442102" y="2952419"/>
                  <a:pt x="5442102" y="2952419"/>
                  <a:pt x="5439753" y="2950070"/>
                </a:cubicBezTo>
                <a:cubicBezTo>
                  <a:pt x="5442102" y="2947720"/>
                  <a:pt x="5439753" y="2950070"/>
                  <a:pt x="5439753" y="2947720"/>
                </a:cubicBezTo>
                <a:cubicBezTo>
                  <a:pt x="5442102" y="2945372"/>
                  <a:pt x="5442102" y="2943023"/>
                  <a:pt x="5446799" y="2943023"/>
                </a:cubicBezTo>
                <a:close/>
                <a:moveTo>
                  <a:pt x="5352848" y="2943019"/>
                </a:moveTo>
                <a:lnTo>
                  <a:pt x="5355197" y="2945369"/>
                </a:lnTo>
                <a:lnTo>
                  <a:pt x="5352848" y="2947717"/>
                </a:lnTo>
                <a:lnTo>
                  <a:pt x="5355197" y="2947717"/>
                </a:lnTo>
                <a:cubicBezTo>
                  <a:pt x="5355197" y="2947717"/>
                  <a:pt x="5355197" y="2950067"/>
                  <a:pt x="5352848" y="2950067"/>
                </a:cubicBezTo>
                <a:cubicBezTo>
                  <a:pt x="5350499" y="2950067"/>
                  <a:pt x="5350499" y="2950067"/>
                  <a:pt x="5350499" y="2947717"/>
                </a:cubicBezTo>
                <a:cubicBezTo>
                  <a:pt x="5348150" y="2947717"/>
                  <a:pt x="5347563" y="2947717"/>
                  <a:pt x="5347270" y="2947424"/>
                </a:cubicBezTo>
                <a:lnTo>
                  <a:pt x="5346312" y="2946084"/>
                </a:lnTo>
                <a:lnTo>
                  <a:pt x="5346976" y="2946250"/>
                </a:lnTo>
                <a:cubicBezTo>
                  <a:pt x="5347563" y="2946543"/>
                  <a:pt x="5348150" y="2946543"/>
                  <a:pt x="5350499" y="2945369"/>
                </a:cubicBezTo>
                <a:close/>
                <a:moveTo>
                  <a:pt x="4336230" y="2942480"/>
                </a:moveTo>
                <a:cubicBezTo>
                  <a:pt x="4330395" y="2943031"/>
                  <a:pt x="4322908" y="2962411"/>
                  <a:pt x="4340523" y="2950078"/>
                </a:cubicBezTo>
                <a:cubicBezTo>
                  <a:pt x="4339936" y="2944205"/>
                  <a:pt x="4338175" y="2942296"/>
                  <a:pt x="4336230" y="2942480"/>
                </a:cubicBezTo>
                <a:close/>
                <a:moveTo>
                  <a:pt x="5848441" y="2940682"/>
                </a:moveTo>
                <a:lnTo>
                  <a:pt x="5848441" y="2947729"/>
                </a:lnTo>
                <a:lnTo>
                  <a:pt x="5855487" y="2940682"/>
                </a:lnTo>
                <a:close/>
                <a:moveTo>
                  <a:pt x="5566587" y="2940682"/>
                </a:moveTo>
                <a:lnTo>
                  <a:pt x="5566587" y="2945349"/>
                </a:lnTo>
                <a:cubicBezTo>
                  <a:pt x="5571285" y="2947698"/>
                  <a:pt x="5568936" y="2943000"/>
                  <a:pt x="5571285" y="2947698"/>
                </a:cubicBezTo>
                <a:lnTo>
                  <a:pt x="5566587" y="2947698"/>
                </a:lnTo>
                <a:lnTo>
                  <a:pt x="5566587" y="2954777"/>
                </a:lnTo>
                <a:cubicBezTo>
                  <a:pt x="5573634" y="2947729"/>
                  <a:pt x="5575983" y="2945379"/>
                  <a:pt x="5566587" y="2940682"/>
                </a:cubicBezTo>
                <a:close/>
                <a:moveTo>
                  <a:pt x="5439753" y="2938320"/>
                </a:moveTo>
                <a:lnTo>
                  <a:pt x="5437404" y="2940669"/>
                </a:lnTo>
                <a:lnTo>
                  <a:pt x="5442102" y="2945367"/>
                </a:lnTo>
                <a:lnTo>
                  <a:pt x="5439753" y="2945367"/>
                </a:lnTo>
                <a:cubicBezTo>
                  <a:pt x="5435056" y="2945367"/>
                  <a:pt x="5439753" y="2947716"/>
                  <a:pt x="5435056" y="2945367"/>
                </a:cubicBezTo>
                <a:lnTo>
                  <a:pt x="5435056" y="2940669"/>
                </a:lnTo>
                <a:close/>
                <a:moveTo>
                  <a:pt x="5594773" y="2935984"/>
                </a:moveTo>
                <a:lnTo>
                  <a:pt x="5587727" y="2943031"/>
                </a:lnTo>
                <a:lnTo>
                  <a:pt x="5594773" y="2943031"/>
                </a:lnTo>
                <a:close/>
                <a:moveTo>
                  <a:pt x="5338755" y="2935960"/>
                </a:moveTo>
                <a:cubicBezTo>
                  <a:pt x="5336407" y="2940658"/>
                  <a:pt x="5338755" y="2940658"/>
                  <a:pt x="5334058" y="2940658"/>
                </a:cubicBezTo>
                <a:cubicBezTo>
                  <a:pt x="5334058" y="2933610"/>
                  <a:pt x="5334058" y="2938308"/>
                  <a:pt x="5338755" y="2935960"/>
                </a:cubicBezTo>
                <a:close/>
                <a:moveTo>
                  <a:pt x="213738" y="2933697"/>
                </a:moveTo>
                <a:cubicBezTo>
                  <a:pt x="218436" y="2933697"/>
                  <a:pt x="220785" y="2933697"/>
                  <a:pt x="223135" y="2933697"/>
                </a:cubicBezTo>
                <a:cubicBezTo>
                  <a:pt x="223135" y="2933697"/>
                  <a:pt x="227836" y="2936046"/>
                  <a:pt x="230182" y="2938396"/>
                </a:cubicBezTo>
                <a:lnTo>
                  <a:pt x="232529" y="2954836"/>
                </a:lnTo>
                <a:cubicBezTo>
                  <a:pt x="232529" y="2954836"/>
                  <a:pt x="227836" y="2961883"/>
                  <a:pt x="225486" y="2964230"/>
                </a:cubicBezTo>
                <a:lnTo>
                  <a:pt x="211388" y="2978316"/>
                </a:lnTo>
                <a:cubicBezTo>
                  <a:pt x="209043" y="2975965"/>
                  <a:pt x="206693" y="2973615"/>
                  <a:pt x="204342" y="2971274"/>
                </a:cubicBezTo>
                <a:close/>
                <a:moveTo>
                  <a:pt x="173807" y="2933684"/>
                </a:moveTo>
                <a:lnTo>
                  <a:pt x="180858" y="2938381"/>
                </a:lnTo>
                <a:lnTo>
                  <a:pt x="183203" y="2945428"/>
                </a:lnTo>
                <a:lnTo>
                  <a:pt x="173807" y="2954822"/>
                </a:lnTo>
                <a:lnTo>
                  <a:pt x="166765" y="2945428"/>
                </a:lnTo>
                <a:lnTo>
                  <a:pt x="169110" y="2936034"/>
                </a:lnTo>
                <a:close/>
                <a:moveTo>
                  <a:pt x="5925951" y="2933634"/>
                </a:moveTo>
                <a:lnTo>
                  <a:pt x="5925951" y="2945379"/>
                </a:lnTo>
                <a:lnTo>
                  <a:pt x="5932997" y="2940682"/>
                </a:lnTo>
                <a:close/>
                <a:moveTo>
                  <a:pt x="5580680" y="2931285"/>
                </a:moveTo>
                <a:lnTo>
                  <a:pt x="5575983" y="2943031"/>
                </a:lnTo>
                <a:cubicBezTo>
                  <a:pt x="5585378" y="2938332"/>
                  <a:pt x="5578331" y="2947729"/>
                  <a:pt x="5585378" y="2933634"/>
                </a:cubicBezTo>
                <a:close/>
                <a:moveTo>
                  <a:pt x="5991325" y="2930698"/>
                </a:moveTo>
                <a:lnTo>
                  <a:pt x="5991716" y="2931285"/>
                </a:lnTo>
                <a:lnTo>
                  <a:pt x="5989629" y="2934417"/>
                </a:lnTo>
                <a:lnTo>
                  <a:pt x="5989368" y="2933634"/>
                </a:lnTo>
                <a:close/>
                <a:moveTo>
                  <a:pt x="5528126" y="2930404"/>
                </a:moveTo>
                <a:cubicBezTo>
                  <a:pt x="5528419" y="2930699"/>
                  <a:pt x="5527832" y="2932460"/>
                  <a:pt x="5529007" y="2935984"/>
                </a:cubicBezTo>
                <a:lnTo>
                  <a:pt x="5519612" y="2940682"/>
                </a:lnTo>
                <a:lnTo>
                  <a:pt x="5524831" y="2945902"/>
                </a:lnTo>
                <a:lnTo>
                  <a:pt x="5521961" y="2947729"/>
                </a:lnTo>
                <a:cubicBezTo>
                  <a:pt x="5521961" y="2947729"/>
                  <a:pt x="5514914" y="2945379"/>
                  <a:pt x="5514914" y="2945379"/>
                </a:cubicBezTo>
                <a:cubicBezTo>
                  <a:pt x="5518437" y="2940682"/>
                  <a:pt x="5520199" y="2939507"/>
                  <a:pt x="5521374" y="2938039"/>
                </a:cubicBezTo>
                <a:lnTo>
                  <a:pt x="5522964" y="2933109"/>
                </a:lnTo>
                <a:close/>
                <a:moveTo>
                  <a:pt x="5366940" y="2928916"/>
                </a:moveTo>
                <a:cubicBezTo>
                  <a:pt x="5366940" y="2933614"/>
                  <a:pt x="5366940" y="2933614"/>
                  <a:pt x="5369289" y="2935964"/>
                </a:cubicBezTo>
                <a:lnTo>
                  <a:pt x="5364592" y="2933614"/>
                </a:lnTo>
                <a:cubicBezTo>
                  <a:pt x="5366940" y="2926567"/>
                  <a:pt x="5362243" y="2933614"/>
                  <a:pt x="5366940" y="2928916"/>
                </a:cubicBezTo>
                <a:close/>
                <a:moveTo>
                  <a:pt x="5948355" y="2926407"/>
                </a:moveTo>
                <a:lnTo>
                  <a:pt x="5949438" y="2926587"/>
                </a:lnTo>
                <a:lnTo>
                  <a:pt x="5948339" y="2930602"/>
                </a:lnTo>
                <a:lnTo>
                  <a:pt x="5947090" y="2928937"/>
                </a:lnTo>
                <a:close/>
                <a:moveTo>
                  <a:pt x="5362243" y="2921849"/>
                </a:moveTo>
                <a:lnTo>
                  <a:pt x="5362243" y="2924198"/>
                </a:lnTo>
                <a:lnTo>
                  <a:pt x="5357546" y="2924198"/>
                </a:lnTo>
                <a:close/>
                <a:moveTo>
                  <a:pt x="5315267" y="2921848"/>
                </a:moveTo>
                <a:lnTo>
                  <a:pt x="5315267" y="2924198"/>
                </a:lnTo>
                <a:lnTo>
                  <a:pt x="5315267" y="2926547"/>
                </a:lnTo>
                <a:lnTo>
                  <a:pt x="5312919" y="2924198"/>
                </a:lnTo>
                <a:close/>
                <a:moveTo>
                  <a:pt x="5305872" y="2919513"/>
                </a:moveTo>
                <a:lnTo>
                  <a:pt x="5303523" y="2924211"/>
                </a:lnTo>
                <a:lnTo>
                  <a:pt x="5301175" y="2921863"/>
                </a:lnTo>
                <a:cubicBezTo>
                  <a:pt x="5303523" y="2919513"/>
                  <a:pt x="5301175" y="2919513"/>
                  <a:pt x="5305872" y="2919513"/>
                </a:cubicBezTo>
                <a:close/>
                <a:moveTo>
                  <a:pt x="5419720" y="2918849"/>
                </a:moveTo>
                <a:lnTo>
                  <a:pt x="5419495" y="2918953"/>
                </a:lnTo>
                <a:lnTo>
                  <a:pt x="5419381" y="2918917"/>
                </a:lnTo>
                <a:close/>
                <a:moveTo>
                  <a:pt x="5428010" y="2917191"/>
                </a:moveTo>
                <a:lnTo>
                  <a:pt x="5428010" y="2921889"/>
                </a:lnTo>
                <a:lnTo>
                  <a:pt x="5424095" y="2917973"/>
                </a:lnTo>
                <a:close/>
                <a:moveTo>
                  <a:pt x="5423312" y="2917191"/>
                </a:moveTo>
                <a:lnTo>
                  <a:pt x="5424095" y="2917973"/>
                </a:lnTo>
                <a:lnTo>
                  <a:pt x="5419720" y="2918849"/>
                </a:lnTo>
                <a:close/>
                <a:moveTo>
                  <a:pt x="5512565" y="2917144"/>
                </a:moveTo>
                <a:lnTo>
                  <a:pt x="5514913" y="2917144"/>
                </a:lnTo>
                <a:lnTo>
                  <a:pt x="5512565" y="2919492"/>
                </a:lnTo>
                <a:close/>
                <a:moveTo>
                  <a:pt x="5909509" y="2914842"/>
                </a:moveTo>
                <a:lnTo>
                  <a:pt x="5916556" y="2921889"/>
                </a:lnTo>
                <a:lnTo>
                  <a:pt x="5921253" y="2914842"/>
                </a:lnTo>
                <a:close/>
                <a:moveTo>
                  <a:pt x="5902463" y="2914842"/>
                </a:moveTo>
                <a:lnTo>
                  <a:pt x="5895416" y="2919539"/>
                </a:lnTo>
                <a:lnTo>
                  <a:pt x="5902463" y="2924238"/>
                </a:lnTo>
                <a:close/>
                <a:moveTo>
                  <a:pt x="5520134" y="2911969"/>
                </a:moveTo>
                <a:lnTo>
                  <a:pt x="5524310" y="2917191"/>
                </a:lnTo>
                <a:lnTo>
                  <a:pt x="5514914" y="2917191"/>
                </a:lnTo>
                <a:close/>
                <a:moveTo>
                  <a:pt x="5413917" y="2910142"/>
                </a:moveTo>
                <a:lnTo>
                  <a:pt x="5416627" y="2911769"/>
                </a:lnTo>
                <a:lnTo>
                  <a:pt x="5413917" y="2917191"/>
                </a:lnTo>
                <a:lnTo>
                  <a:pt x="5419381" y="2918917"/>
                </a:lnTo>
                <a:lnTo>
                  <a:pt x="5416266" y="2919539"/>
                </a:lnTo>
                <a:lnTo>
                  <a:pt x="5411568" y="2917191"/>
                </a:lnTo>
                <a:close/>
                <a:moveTo>
                  <a:pt x="5874278" y="2907794"/>
                </a:moveTo>
                <a:lnTo>
                  <a:pt x="5867231" y="2914842"/>
                </a:lnTo>
                <a:lnTo>
                  <a:pt x="5874278" y="2917191"/>
                </a:lnTo>
                <a:lnTo>
                  <a:pt x="5878975" y="2914842"/>
                </a:lnTo>
                <a:close/>
                <a:moveTo>
                  <a:pt x="5509433" y="2906853"/>
                </a:moveTo>
                <a:lnTo>
                  <a:pt x="5510644" y="2907580"/>
                </a:lnTo>
                <a:lnTo>
                  <a:pt x="5510217" y="2907794"/>
                </a:lnTo>
                <a:close/>
                <a:moveTo>
                  <a:pt x="5514914" y="2905444"/>
                </a:moveTo>
                <a:lnTo>
                  <a:pt x="5517002" y="2908054"/>
                </a:lnTo>
                <a:lnTo>
                  <a:pt x="5514914" y="2910142"/>
                </a:lnTo>
                <a:lnTo>
                  <a:pt x="5510644" y="2907580"/>
                </a:lnTo>
                <a:close/>
                <a:moveTo>
                  <a:pt x="5813209" y="2900746"/>
                </a:moveTo>
                <a:lnTo>
                  <a:pt x="5820256" y="2907794"/>
                </a:lnTo>
                <a:lnTo>
                  <a:pt x="5822604" y="2900746"/>
                </a:lnTo>
                <a:close/>
                <a:moveTo>
                  <a:pt x="5504286" y="2900676"/>
                </a:moveTo>
                <a:lnTo>
                  <a:pt x="5509433" y="2906853"/>
                </a:lnTo>
                <a:lnTo>
                  <a:pt x="5503170" y="2903095"/>
                </a:lnTo>
                <a:close/>
                <a:moveTo>
                  <a:pt x="1134461" y="2898448"/>
                </a:moveTo>
                <a:lnTo>
                  <a:pt x="1108626" y="2905497"/>
                </a:lnTo>
                <a:cubicBezTo>
                  <a:pt x="1108626" y="2905497"/>
                  <a:pt x="1118018" y="2912543"/>
                  <a:pt x="1122718" y="2917239"/>
                </a:cubicBezTo>
                <a:lnTo>
                  <a:pt x="1164997" y="2921938"/>
                </a:lnTo>
                <a:cubicBezTo>
                  <a:pt x="1169696" y="2921938"/>
                  <a:pt x="1172041" y="2924287"/>
                  <a:pt x="1174391" y="2924287"/>
                </a:cubicBezTo>
                <a:cubicBezTo>
                  <a:pt x="1174391" y="2924287"/>
                  <a:pt x="1176738" y="2924287"/>
                  <a:pt x="1176738" y="2924287"/>
                </a:cubicBezTo>
                <a:cubicBezTo>
                  <a:pt x="1188482" y="2926635"/>
                  <a:pt x="1188482" y="2928983"/>
                  <a:pt x="1197876" y="2917239"/>
                </a:cubicBezTo>
                <a:cubicBezTo>
                  <a:pt x="1197876" y="2917239"/>
                  <a:pt x="1193181" y="2914892"/>
                  <a:pt x="1190831" y="2914892"/>
                </a:cubicBezTo>
                <a:lnTo>
                  <a:pt x="1153254" y="2907845"/>
                </a:lnTo>
                <a:close/>
                <a:moveTo>
                  <a:pt x="5411568" y="2898397"/>
                </a:moveTo>
                <a:lnTo>
                  <a:pt x="5414700" y="2899440"/>
                </a:lnTo>
                <a:lnTo>
                  <a:pt x="5413917" y="2900746"/>
                </a:lnTo>
                <a:lnTo>
                  <a:pt x="5425661" y="2910142"/>
                </a:lnTo>
                <a:cubicBezTo>
                  <a:pt x="5420963" y="2912491"/>
                  <a:pt x="5420376" y="2913666"/>
                  <a:pt x="5419789" y="2913666"/>
                </a:cubicBezTo>
                <a:lnTo>
                  <a:pt x="5416627" y="2911769"/>
                </a:lnTo>
                <a:lnTo>
                  <a:pt x="5418615" y="2907794"/>
                </a:lnTo>
                <a:lnTo>
                  <a:pt x="5411568" y="2907794"/>
                </a:lnTo>
                <a:close/>
                <a:moveTo>
                  <a:pt x="5731002" y="2893699"/>
                </a:moveTo>
                <a:lnTo>
                  <a:pt x="5723956" y="2900746"/>
                </a:lnTo>
                <a:lnTo>
                  <a:pt x="5731002" y="2903095"/>
                </a:lnTo>
                <a:close/>
                <a:moveTo>
                  <a:pt x="504987" y="2891422"/>
                </a:moveTo>
                <a:lnTo>
                  <a:pt x="495595" y="2893770"/>
                </a:lnTo>
                <a:lnTo>
                  <a:pt x="493245" y="2900817"/>
                </a:lnTo>
                <a:lnTo>
                  <a:pt x="495595" y="2903165"/>
                </a:lnTo>
                <a:close/>
                <a:moveTo>
                  <a:pt x="6012855" y="2891350"/>
                </a:moveTo>
                <a:cubicBezTo>
                  <a:pt x="6019902" y="2896048"/>
                  <a:pt x="6012855" y="2893699"/>
                  <a:pt x="6022250" y="2891350"/>
                </a:cubicBezTo>
                <a:lnTo>
                  <a:pt x="6022250" y="2898397"/>
                </a:lnTo>
                <a:lnTo>
                  <a:pt x="6029297" y="2898397"/>
                </a:lnTo>
                <a:lnTo>
                  <a:pt x="6024599" y="2905444"/>
                </a:lnTo>
                <a:lnTo>
                  <a:pt x="6031646" y="2905444"/>
                </a:lnTo>
                <a:cubicBezTo>
                  <a:pt x="6029297" y="2917191"/>
                  <a:pt x="6026948" y="2917191"/>
                  <a:pt x="6017553" y="2921889"/>
                </a:cubicBezTo>
                <a:lnTo>
                  <a:pt x="6019902" y="2928937"/>
                </a:lnTo>
                <a:lnTo>
                  <a:pt x="6005809" y="2924238"/>
                </a:lnTo>
                <a:cubicBezTo>
                  <a:pt x="6001111" y="2926587"/>
                  <a:pt x="6008158" y="2926587"/>
                  <a:pt x="5994065" y="2926587"/>
                </a:cubicBezTo>
                <a:lnTo>
                  <a:pt x="5991325" y="2930698"/>
                </a:lnTo>
                <a:lnTo>
                  <a:pt x="5987019" y="2924238"/>
                </a:lnTo>
                <a:cubicBezTo>
                  <a:pt x="6003460" y="2924238"/>
                  <a:pt x="5998763" y="2917191"/>
                  <a:pt x="5996414" y="2905444"/>
                </a:cubicBezTo>
                <a:lnTo>
                  <a:pt x="6005809" y="2905444"/>
                </a:lnTo>
                <a:lnTo>
                  <a:pt x="6005809" y="2898397"/>
                </a:lnTo>
                <a:lnTo>
                  <a:pt x="6012855" y="2898397"/>
                </a:lnTo>
                <a:close/>
                <a:moveTo>
                  <a:pt x="5871929" y="2891350"/>
                </a:moveTo>
                <a:cubicBezTo>
                  <a:pt x="5867231" y="2893699"/>
                  <a:pt x="5862534" y="2891350"/>
                  <a:pt x="5862534" y="2898397"/>
                </a:cubicBezTo>
                <a:cubicBezTo>
                  <a:pt x="5862534" y="2905444"/>
                  <a:pt x="5862534" y="2896048"/>
                  <a:pt x="5864883" y="2905444"/>
                </a:cubicBezTo>
                <a:cubicBezTo>
                  <a:pt x="5878975" y="2896048"/>
                  <a:pt x="5867231" y="2905444"/>
                  <a:pt x="5871929" y="2891350"/>
                </a:cubicBezTo>
                <a:close/>
                <a:moveTo>
                  <a:pt x="5505519" y="2889637"/>
                </a:moveTo>
                <a:lnTo>
                  <a:pt x="5505519" y="2891350"/>
                </a:lnTo>
                <a:lnTo>
                  <a:pt x="5512566" y="2891350"/>
                </a:lnTo>
                <a:lnTo>
                  <a:pt x="5503170" y="2893699"/>
                </a:lnTo>
                <a:cubicBezTo>
                  <a:pt x="5504344" y="2898396"/>
                  <a:pt x="5504932" y="2898985"/>
                  <a:pt x="5504931" y="2899278"/>
                </a:cubicBezTo>
                <a:lnTo>
                  <a:pt x="5504286" y="2900676"/>
                </a:lnTo>
                <a:lnTo>
                  <a:pt x="5498473" y="2893699"/>
                </a:lnTo>
                <a:cubicBezTo>
                  <a:pt x="5505519" y="2891937"/>
                  <a:pt x="5503317" y="2895460"/>
                  <a:pt x="5504748" y="2891388"/>
                </a:cubicBezTo>
                <a:close/>
                <a:moveTo>
                  <a:pt x="5707514" y="2889000"/>
                </a:moveTo>
                <a:lnTo>
                  <a:pt x="5707514" y="2898397"/>
                </a:lnTo>
                <a:lnTo>
                  <a:pt x="5714560" y="2898397"/>
                </a:lnTo>
                <a:cubicBezTo>
                  <a:pt x="5712212" y="2889000"/>
                  <a:pt x="5714560" y="2893699"/>
                  <a:pt x="5707514" y="2889000"/>
                </a:cubicBezTo>
                <a:close/>
                <a:moveTo>
                  <a:pt x="5634702" y="2889000"/>
                </a:moveTo>
                <a:lnTo>
                  <a:pt x="5641749" y="2896048"/>
                </a:lnTo>
                <a:lnTo>
                  <a:pt x="5641749" y="2889000"/>
                </a:lnTo>
                <a:close/>
                <a:moveTo>
                  <a:pt x="5557192" y="2889000"/>
                </a:moveTo>
                <a:lnTo>
                  <a:pt x="5559541" y="2903095"/>
                </a:lnTo>
                <a:lnTo>
                  <a:pt x="5552495" y="2900746"/>
                </a:lnTo>
                <a:lnTo>
                  <a:pt x="5552495" y="2910142"/>
                </a:lnTo>
                <a:lnTo>
                  <a:pt x="5559541" y="2903095"/>
                </a:lnTo>
                <a:cubicBezTo>
                  <a:pt x="5571285" y="2893699"/>
                  <a:pt x="5564239" y="2905444"/>
                  <a:pt x="5566587" y="2889000"/>
                </a:cubicBezTo>
                <a:close/>
                <a:moveTo>
                  <a:pt x="4385151" y="2886651"/>
                </a:moveTo>
                <a:cubicBezTo>
                  <a:pt x="4366360" y="2900746"/>
                  <a:pt x="4371058" y="2898397"/>
                  <a:pt x="4361663" y="2945379"/>
                </a:cubicBezTo>
                <a:cubicBezTo>
                  <a:pt x="4359314" y="2943031"/>
                  <a:pt x="4352267" y="2945379"/>
                  <a:pt x="4359314" y="2950078"/>
                </a:cubicBezTo>
                <a:cubicBezTo>
                  <a:pt x="4378104" y="2947729"/>
                  <a:pt x="4389848" y="2959474"/>
                  <a:pt x="4420382" y="2968869"/>
                </a:cubicBezTo>
                <a:cubicBezTo>
                  <a:pt x="4418033" y="2973560"/>
                  <a:pt x="4415684" y="2980609"/>
                  <a:pt x="4413336" y="2985306"/>
                </a:cubicBezTo>
                <a:cubicBezTo>
                  <a:pt x="4439172" y="2994701"/>
                  <a:pt x="4436824" y="2987659"/>
                  <a:pt x="4465009" y="2992354"/>
                </a:cubicBezTo>
                <a:cubicBezTo>
                  <a:pt x="4465009" y="3013491"/>
                  <a:pt x="4455614" y="3018196"/>
                  <a:pt x="4441521" y="3029934"/>
                </a:cubicBezTo>
                <a:cubicBezTo>
                  <a:pt x="4453265" y="3034631"/>
                  <a:pt x="4450916" y="3044027"/>
                  <a:pt x="4462660" y="3046376"/>
                </a:cubicBezTo>
                <a:cubicBezTo>
                  <a:pt x="4483799" y="3029934"/>
                  <a:pt x="4472055" y="2997047"/>
                  <a:pt x="4507287" y="3004097"/>
                </a:cubicBezTo>
                <a:cubicBezTo>
                  <a:pt x="4530775" y="2966520"/>
                  <a:pt x="4483799" y="2945379"/>
                  <a:pt x="4514333" y="2919539"/>
                </a:cubicBezTo>
                <a:cubicBezTo>
                  <a:pt x="4495543" y="2910142"/>
                  <a:pt x="4507287" y="2940682"/>
                  <a:pt x="4481450" y="2933635"/>
                </a:cubicBezTo>
                <a:cubicBezTo>
                  <a:pt x="4472055" y="2903095"/>
                  <a:pt x="4401592" y="2907793"/>
                  <a:pt x="4385151" y="2886651"/>
                </a:cubicBezTo>
                <a:close/>
                <a:moveTo>
                  <a:pt x="5846092" y="2884302"/>
                </a:moveTo>
                <a:lnTo>
                  <a:pt x="5839046" y="2891350"/>
                </a:lnTo>
                <a:lnTo>
                  <a:pt x="5846092" y="2893699"/>
                </a:lnTo>
                <a:lnTo>
                  <a:pt x="5850790" y="2891350"/>
                </a:lnTo>
                <a:close/>
                <a:moveTo>
                  <a:pt x="5505519" y="2884302"/>
                </a:moveTo>
                <a:lnTo>
                  <a:pt x="5507150" y="2885934"/>
                </a:lnTo>
                <a:lnTo>
                  <a:pt x="5505519" y="2889637"/>
                </a:lnTo>
                <a:close/>
                <a:moveTo>
                  <a:pt x="5585378" y="2881957"/>
                </a:moveTo>
                <a:lnTo>
                  <a:pt x="5585378" y="2891350"/>
                </a:lnTo>
                <a:lnTo>
                  <a:pt x="5592424" y="2891350"/>
                </a:lnTo>
                <a:lnTo>
                  <a:pt x="5592424" y="2881957"/>
                </a:lnTo>
                <a:close/>
                <a:moveTo>
                  <a:pt x="5651144" y="2879605"/>
                </a:moveTo>
                <a:lnTo>
                  <a:pt x="5658190" y="2886652"/>
                </a:lnTo>
                <a:lnTo>
                  <a:pt x="5662887" y="2879605"/>
                </a:lnTo>
                <a:close/>
                <a:moveTo>
                  <a:pt x="5625307" y="2879605"/>
                </a:moveTo>
                <a:cubicBezTo>
                  <a:pt x="5615912" y="2886652"/>
                  <a:pt x="5618261" y="2879605"/>
                  <a:pt x="5618261" y="2893699"/>
                </a:cubicBezTo>
                <a:cubicBezTo>
                  <a:pt x="5627656" y="2891350"/>
                  <a:pt x="5620609" y="2891350"/>
                  <a:pt x="5630005" y="2893699"/>
                </a:cubicBezTo>
                <a:close/>
                <a:moveTo>
                  <a:pt x="1273021" y="2877259"/>
                </a:moveTo>
                <a:cubicBezTo>
                  <a:pt x="1270673" y="2887826"/>
                  <a:pt x="1270088" y="2898397"/>
                  <a:pt x="1270672" y="2908969"/>
                </a:cubicBezTo>
                <a:lnTo>
                  <a:pt x="1270672" y="2893698"/>
                </a:lnTo>
                <a:cubicBezTo>
                  <a:pt x="1270672" y="2886651"/>
                  <a:pt x="1273021" y="2881957"/>
                  <a:pt x="1273021" y="2877259"/>
                </a:cubicBezTo>
                <a:close/>
                <a:moveTo>
                  <a:pt x="5256549" y="2874908"/>
                </a:moveTo>
                <a:lnTo>
                  <a:pt x="5256549" y="2881957"/>
                </a:lnTo>
                <a:lnTo>
                  <a:pt x="5263595" y="2874908"/>
                </a:lnTo>
                <a:close/>
                <a:moveTo>
                  <a:pt x="5186085" y="2874884"/>
                </a:moveTo>
                <a:cubicBezTo>
                  <a:pt x="5183737" y="2877233"/>
                  <a:pt x="5183737" y="2877233"/>
                  <a:pt x="5181388" y="2879581"/>
                </a:cubicBezTo>
                <a:cubicBezTo>
                  <a:pt x="5181388" y="2874884"/>
                  <a:pt x="5179039" y="2874884"/>
                  <a:pt x="5186085" y="2874884"/>
                </a:cubicBezTo>
                <a:close/>
                <a:moveTo>
                  <a:pt x="5514914" y="2870209"/>
                </a:moveTo>
                <a:lnTo>
                  <a:pt x="5507868" y="2877259"/>
                </a:lnTo>
                <a:lnTo>
                  <a:pt x="5514914" y="2877259"/>
                </a:lnTo>
                <a:close/>
                <a:moveTo>
                  <a:pt x="5364973" y="2870209"/>
                </a:moveTo>
                <a:lnTo>
                  <a:pt x="5371639" y="2870209"/>
                </a:lnTo>
                <a:lnTo>
                  <a:pt x="5369290" y="2877259"/>
                </a:lnTo>
                <a:lnTo>
                  <a:pt x="5373596" y="2877259"/>
                </a:lnTo>
                <a:lnTo>
                  <a:pt x="5373988" y="2879605"/>
                </a:lnTo>
                <a:lnTo>
                  <a:pt x="5371639" y="2881957"/>
                </a:lnTo>
                <a:cubicBezTo>
                  <a:pt x="5366941" y="2878431"/>
                  <a:pt x="5365767" y="2877845"/>
                  <a:pt x="5365473" y="2876375"/>
                </a:cubicBezTo>
                <a:close/>
                <a:moveTo>
                  <a:pt x="5860185" y="2867859"/>
                </a:moveTo>
                <a:lnTo>
                  <a:pt x="5860185" y="2877259"/>
                </a:lnTo>
                <a:lnTo>
                  <a:pt x="5869580" y="2867859"/>
                </a:lnTo>
                <a:close/>
                <a:moveTo>
                  <a:pt x="5463241" y="2867859"/>
                </a:moveTo>
                <a:lnTo>
                  <a:pt x="5463241" y="2877259"/>
                </a:lnTo>
                <a:lnTo>
                  <a:pt x="5460892" y="2879605"/>
                </a:lnTo>
                <a:lnTo>
                  <a:pt x="5458544" y="2884302"/>
                </a:lnTo>
                <a:lnTo>
                  <a:pt x="5456195" y="2884302"/>
                </a:lnTo>
                <a:lnTo>
                  <a:pt x="5457134" y="2885714"/>
                </a:lnTo>
                <a:lnTo>
                  <a:pt x="5451497" y="2891350"/>
                </a:lnTo>
                <a:lnTo>
                  <a:pt x="5460892" y="2891350"/>
                </a:lnTo>
                <a:lnTo>
                  <a:pt x="5457134" y="2885714"/>
                </a:lnTo>
                <a:lnTo>
                  <a:pt x="5458544" y="2884302"/>
                </a:lnTo>
                <a:lnTo>
                  <a:pt x="5463241" y="2884302"/>
                </a:lnTo>
                <a:lnTo>
                  <a:pt x="5463241" y="2877259"/>
                </a:lnTo>
                <a:lnTo>
                  <a:pt x="5482032" y="2874908"/>
                </a:lnTo>
                <a:cubicBezTo>
                  <a:pt x="5477334" y="2867859"/>
                  <a:pt x="5482032" y="2870209"/>
                  <a:pt x="5472636" y="2867859"/>
                </a:cubicBezTo>
                <a:lnTo>
                  <a:pt x="5472636" y="2874908"/>
                </a:lnTo>
                <a:close/>
                <a:moveTo>
                  <a:pt x="5331710" y="2867859"/>
                </a:moveTo>
                <a:lnTo>
                  <a:pt x="5338756" y="2874908"/>
                </a:lnTo>
                <a:lnTo>
                  <a:pt x="5341105" y="2867859"/>
                </a:lnTo>
                <a:close/>
                <a:moveTo>
                  <a:pt x="446267" y="2865594"/>
                </a:moveTo>
                <a:lnTo>
                  <a:pt x="349970" y="3011191"/>
                </a:lnTo>
                <a:cubicBezTo>
                  <a:pt x="349970" y="3011191"/>
                  <a:pt x="352319" y="3013540"/>
                  <a:pt x="352319" y="3015889"/>
                </a:cubicBezTo>
                <a:lnTo>
                  <a:pt x="352319" y="3025279"/>
                </a:lnTo>
                <a:cubicBezTo>
                  <a:pt x="352319" y="3025279"/>
                  <a:pt x="333528" y="3053460"/>
                  <a:pt x="321784" y="3065200"/>
                </a:cubicBezTo>
                <a:lnTo>
                  <a:pt x="331178" y="3069899"/>
                </a:lnTo>
                <a:lnTo>
                  <a:pt x="392247" y="2975965"/>
                </a:lnTo>
                <a:lnTo>
                  <a:pt x="443918" y="2879680"/>
                </a:lnTo>
                <a:close/>
                <a:moveTo>
                  <a:pt x="5578331" y="2865511"/>
                </a:moveTo>
                <a:cubicBezTo>
                  <a:pt x="5580680" y="2879605"/>
                  <a:pt x="5575983" y="2870209"/>
                  <a:pt x="5585378" y="2879605"/>
                </a:cubicBezTo>
                <a:cubicBezTo>
                  <a:pt x="5583029" y="2863162"/>
                  <a:pt x="5587727" y="2872559"/>
                  <a:pt x="5578331" y="2865511"/>
                </a:cubicBezTo>
                <a:close/>
                <a:moveTo>
                  <a:pt x="5141459" y="2865511"/>
                </a:moveTo>
                <a:lnTo>
                  <a:pt x="5141459" y="2877259"/>
                </a:lnTo>
                <a:lnTo>
                  <a:pt x="5132573" y="2874295"/>
                </a:lnTo>
                <a:lnTo>
                  <a:pt x="5138763" y="2880009"/>
                </a:lnTo>
                <a:lnTo>
                  <a:pt x="5138816" y="2879899"/>
                </a:lnTo>
                <a:cubicBezTo>
                  <a:pt x="5140284" y="2879017"/>
                  <a:pt x="5142633" y="2879605"/>
                  <a:pt x="5148505" y="2879605"/>
                </a:cubicBezTo>
                <a:cubicBezTo>
                  <a:pt x="5141459" y="2865511"/>
                  <a:pt x="5155551" y="2874908"/>
                  <a:pt x="5141459" y="2865511"/>
                </a:cubicBezTo>
                <a:close/>
                <a:moveTo>
                  <a:pt x="5322315" y="2863162"/>
                </a:moveTo>
                <a:lnTo>
                  <a:pt x="5319966" y="2872559"/>
                </a:lnTo>
                <a:lnTo>
                  <a:pt x="5305873" y="2872559"/>
                </a:lnTo>
                <a:cubicBezTo>
                  <a:pt x="5308222" y="2874908"/>
                  <a:pt x="5310571" y="2877259"/>
                  <a:pt x="5310571" y="2877259"/>
                </a:cubicBezTo>
                <a:cubicBezTo>
                  <a:pt x="5310571" y="2879605"/>
                  <a:pt x="5310571" y="2879605"/>
                  <a:pt x="5312920" y="2884302"/>
                </a:cubicBezTo>
                <a:lnTo>
                  <a:pt x="5319966" y="2879605"/>
                </a:lnTo>
                <a:lnTo>
                  <a:pt x="5319966" y="2891350"/>
                </a:lnTo>
                <a:lnTo>
                  <a:pt x="5329361" y="2879605"/>
                </a:lnTo>
                <a:lnTo>
                  <a:pt x="5319966" y="2879605"/>
                </a:lnTo>
                <a:lnTo>
                  <a:pt x="5329361" y="2867859"/>
                </a:lnTo>
                <a:close/>
                <a:moveTo>
                  <a:pt x="5305873" y="2863162"/>
                </a:moveTo>
                <a:lnTo>
                  <a:pt x="5312920" y="2870209"/>
                </a:lnTo>
                <a:lnTo>
                  <a:pt x="5312920" y="2863162"/>
                </a:lnTo>
                <a:close/>
                <a:moveTo>
                  <a:pt x="5202556" y="2863162"/>
                </a:moveTo>
                <a:lnTo>
                  <a:pt x="5204047" y="2864655"/>
                </a:lnTo>
                <a:lnTo>
                  <a:pt x="5204876" y="2863162"/>
                </a:lnTo>
                <a:close/>
                <a:moveTo>
                  <a:pt x="293598" y="2860890"/>
                </a:moveTo>
                <a:lnTo>
                  <a:pt x="288900" y="2863240"/>
                </a:lnTo>
                <a:lnTo>
                  <a:pt x="293598" y="2870286"/>
                </a:lnTo>
                <a:lnTo>
                  <a:pt x="295948" y="2863240"/>
                </a:lnTo>
                <a:cubicBezTo>
                  <a:pt x="295948" y="2863240"/>
                  <a:pt x="293598" y="2860890"/>
                  <a:pt x="293598" y="2860890"/>
                </a:cubicBezTo>
                <a:close/>
                <a:moveTo>
                  <a:pt x="5848441" y="2860812"/>
                </a:moveTo>
                <a:lnTo>
                  <a:pt x="5848441" y="2867859"/>
                </a:lnTo>
                <a:lnTo>
                  <a:pt x="5839046" y="2867859"/>
                </a:lnTo>
                <a:cubicBezTo>
                  <a:pt x="5843743" y="2881957"/>
                  <a:pt x="5836697" y="2867859"/>
                  <a:pt x="5841395" y="2881957"/>
                </a:cubicBezTo>
                <a:cubicBezTo>
                  <a:pt x="5850790" y="2874908"/>
                  <a:pt x="5848441" y="2881957"/>
                  <a:pt x="5846092" y="2872559"/>
                </a:cubicBezTo>
                <a:lnTo>
                  <a:pt x="5848441" y="2867859"/>
                </a:lnTo>
                <a:lnTo>
                  <a:pt x="5855487" y="2860812"/>
                </a:lnTo>
                <a:close/>
                <a:moveTo>
                  <a:pt x="5667585" y="2858471"/>
                </a:moveTo>
                <a:lnTo>
                  <a:pt x="5660538" y="2865511"/>
                </a:lnTo>
                <a:lnTo>
                  <a:pt x="5672282" y="2865511"/>
                </a:lnTo>
                <a:close/>
                <a:moveTo>
                  <a:pt x="5608865" y="2858471"/>
                </a:moveTo>
                <a:lnTo>
                  <a:pt x="5601819" y="2865511"/>
                </a:lnTo>
                <a:lnTo>
                  <a:pt x="5608865" y="2867859"/>
                </a:lnTo>
                <a:lnTo>
                  <a:pt x="5613563" y="2865511"/>
                </a:lnTo>
                <a:close/>
                <a:moveTo>
                  <a:pt x="5594773" y="2858471"/>
                </a:moveTo>
                <a:lnTo>
                  <a:pt x="5587727" y="2865511"/>
                </a:lnTo>
                <a:lnTo>
                  <a:pt x="5594773" y="2867859"/>
                </a:lnTo>
                <a:close/>
                <a:moveTo>
                  <a:pt x="5437405" y="2858471"/>
                </a:moveTo>
                <a:lnTo>
                  <a:pt x="5430359" y="2865511"/>
                </a:lnTo>
                <a:lnTo>
                  <a:pt x="5442102" y="2865511"/>
                </a:lnTo>
                <a:close/>
                <a:moveTo>
                  <a:pt x="5357546" y="2858471"/>
                </a:moveTo>
                <a:lnTo>
                  <a:pt x="5350500" y="2865511"/>
                </a:lnTo>
                <a:lnTo>
                  <a:pt x="5362244" y="2865511"/>
                </a:lnTo>
                <a:close/>
                <a:moveTo>
                  <a:pt x="5627656" y="2856119"/>
                </a:moveTo>
                <a:lnTo>
                  <a:pt x="5632353" y="2863162"/>
                </a:lnTo>
                <a:lnTo>
                  <a:pt x="5637051" y="2856119"/>
                </a:lnTo>
                <a:close/>
                <a:moveTo>
                  <a:pt x="5543100" y="2856119"/>
                </a:moveTo>
                <a:lnTo>
                  <a:pt x="5543100" y="2865511"/>
                </a:lnTo>
                <a:lnTo>
                  <a:pt x="5554843" y="2865511"/>
                </a:lnTo>
                <a:close/>
                <a:moveTo>
                  <a:pt x="5533705" y="2856119"/>
                </a:moveTo>
                <a:cubicBezTo>
                  <a:pt x="5521961" y="2856119"/>
                  <a:pt x="5521961" y="2856119"/>
                  <a:pt x="5517263" y="2865511"/>
                </a:cubicBezTo>
                <a:cubicBezTo>
                  <a:pt x="5531356" y="2865511"/>
                  <a:pt x="5529007" y="2865511"/>
                  <a:pt x="5533705" y="2856119"/>
                </a:cubicBezTo>
                <a:close/>
                <a:moveTo>
                  <a:pt x="5388080" y="2853769"/>
                </a:moveTo>
                <a:lnTo>
                  <a:pt x="5381034" y="2858471"/>
                </a:lnTo>
                <a:lnTo>
                  <a:pt x="5388080" y="2863162"/>
                </a:lnTo>
                <a:close/>
                <a:moveTo>
                  <a:pt x="5294129" y="2851420"/>
                </a:moveTo>
                <a:lnTo>
                  <a:pt x="5280036" y="2856119"/>
                </a:lnTo>
                <a:lnTo>
                  <a:pt x="5265944" y="2856119"/>
                </a:lnTo>
                <a:lnTo>
                  <a:pt x="5272990" y="2865511"/>
                </a:lnTo>
                <a:lnTo>
                  <a:pt x="5272990" y="2872559"/>
                </a:lnTo>
                <a:cubicBezTo>
                  <a:pt x="5268293" y="2865511"/>
                  <a:pt x="5265944" y="2865511"/>
                  <a:pt x="5258898" y="2863162"/>
                </a:cubicBezTo>
                <a:lnTo>
                  <a:pt x="5263595" y="2856119"/>
                </a:lnTo>
                <a:lnTo>
                  <a:pt x="5254200" y="2856119"/>
                </a:lnTo>
                <a:lnTo>
                  <a:pt x="5256549" y="2870209"/>
                </a:lnTo>
                <a:cubicBezTo>
                  <a:pt x="5270641" y="2877259"/>
                  <a:pt x="5261246" y="2867859"/>
                  <a:pt x="5265944" y="2879605"/>
                </a:cubicBezTo>
                <a:lnTo>
                  <a:pt x="5272990" y="2879605"/>
                </a:lnTo>
                <a:lnTo>
                  <a:pt x="5272990" y="2872559"/>
                </a:lnTo>
                <a:close/>
                <a:moveTo>
                  <a:pt x="5157899" y="2851396"/>
                </a:moveTo>
                <a:lnTo>
                  <a:pt x="5157899" y="2856096"/>
                </a:lnTo>
                <a:lnTo>
                  <a:pt x="5153202" y="2853744"/>
                </a:lnTo>
                <a:close/>
                <a:moveTo>
                  <a:pt x="1115669" y="2849132"/>
                </a:moveTo>
                <a:lnTo>
                  <a:pt x="1106275" y="2853832"/>
                </a:lnTo>
                <a:cubicBezTo>
                  <a:pt x="1106275" y="2856179"/>
                  <a:pt x="1103926" y="2856179"/>
                  <a:pt x="1103926" y="2856179"/>
                </a:cubicBezTo>
                <a:cubicBezTo>
                  <a:pt x="1103926" y="2856179"/>
                  <a:pt x="1106275" y="2858531"/>
                  <a:pt x="1106275" y="2858531"/>
                </a:cubicBezTo>
                <a:lnTo>
                  <a:pt x="1115669" y="2860870"/>
                </a:lnTo>
                <a:lnTo>
                  <a:pt x="1125068" y="2858531"/>
                </a:lnTo>
                <a:cubicBezTo>
                  <a:pt x="1125068" y="2858531"/>
                  <a:pt x="1125068" y="2856179"/>
                  <a:pt x="1127419" y="2856179"/>
                </a:cubicBezTo>
                <a:lnTo>
                  <a:pt x="1125068" y="2851481"/>
                </a:lnTo>
                <a:close/>
                <a:moveTo>
                  <a:pt x="5437405" y="2849069"/>
                </a:moveTo>
                <a:cubicBezTo>
                  <a:pt x="5442102" y="2853769"/>
                  <a:pt x="5444451" y="2853769"/>
                  <a:pt x="5446800" y="2860812"/>
                </a:cubicBezTo>
                <a:lnTo>
                  <a:pt x="5453846" y="2858471"/>
                </a:lnTo>
                <a:cubicBezTo>
                  <a:pt x="5449148" y="2851420"/>
                  <a:pt x="5451497" y="2849069"/>
                  <a:pt x="5437405" y="2849069"/>
                </a:cubicBezTo>
                <a:close/>
                <a:moveTo>
                  <a:pt x="5867231" y="2844369"/>
                </a:moveTo>
                <a:cubicBezTo>
                  <a:pt x="5864883" y="2844369"/>
                  <a:pt x="5860185" y="2849069"/>
                  <a:pt x="5860185" y="2846719"/>
                </a:cubicBezTo>
                <a:lnTo>
                  <a:pt x="5867231" y="2856119"/>
                </a:lnTo>
                <a:lnTo>
                  <a:pt x="5881324" y="2846719"/>
                </a:lnTo>
                <a:cubicBezTo>
                  <a:pt x="5871929" y="2844369"/>
                  <a:pt x="5874278" y="2844369"/>
                  <a:pt x="5867231" y="2844369"/>
                </a:cubicBezTo>
                <a:close/>
                <a:moveTo>
                  <a:pt x="5780326" y="2844369"/>
                </a:moveTo>
                <a:cubicBezTo>
                  <a:pt x="5782675" y="2849069"/>
                  <a:pt x="5782675" y="2846719"/>
                  <a:pt x="5780326" y="2853769"/>
                </a:cubicBezTo>
                <a:lnTo>
                  <a:pt x="5787373" y="2853769"/>
                </a:lnTo>
                <a:lnTo>
                  <a:pt x="5787373" y="2872559"/>
                </a:lnTo>
                <a:lnTo>
                  <a:pt x="5787373" y="2874908"/>
                </a:lnTo>
                <a:lnTo>
                  <a:pt x="5796768" y="2874908"/>
                </a:lnTo>
                <a:cubicBezTo>
                  <a:pt x="5794419" y="2867859"/>
                  <a:pt x="5794419" y="2865511"/>
                  <a:pt x="5796768" y="2858471"/>
                </a:cubicBezTo>
                <a:lnTo>
                  <a:pt x="5789721" y="2853769"/>
                </a:lnTo>
                <a:cubicBezTo>
                  <a:pt x="5794419" y="2844369"/>
                  <a:pt x="5794419" y="2844369"/>
                  <a:pt x="5780326" y="2844369"/>
                </a:cubicBezTo>
                <a:close/>
                <a:moveTo>
                  <a:pt x="5639400" y="2844369"/>
                </a:moveTo>
                <a:lnTo>
                  <a:pt x="5639400" y="2851420"/>
                </a:lnTo>
                <a:lnTo>
                  <a:pt x="5646446" y="2851420"/>
                </a:lnTo>
                <a:close/>
                <a:moveTo>
                  <a:pt x="5561890" y="2844369"/>
                </a:moveTo>
                <a:lnTo>
                  <a:pt x="5554843" y="2851420"/>
                </a:lnTo>
                <a:lnTo>
                  <a:pt x="5566587" y="2851420"/>
                </a:lnTo>
                <a:close/>
                <a:moveTo>
                  <a:pt x="5376337" y="2844369"/>
                </a:moveTo>
                <a:lnTo>
                  <a:pt x="5371639" y="2851420"/>
                </a:lnTo>
                <a:lnTo>
                  <a:pt x="5383383" y="2849069"/>
                </a:lnTo>
                <a:close/>
                <a:moveTo>
                  <a:pt x="5127366" y="2844369"/>
                </a:moveTo>
                <a:lnTo>
                  <a:pt x="5120319" y="2851420"/>
                </a:lnTo>
                <a:lnTo>
                  <a:pt x="5132063" y="2851420"/>
                </a:lnTo>
                <a:close/>
                <a:moveTo>
                  <a:pt x="5751418" y="2842027"/>
                </a:moveTo>
                <a:lnTo>
                  <a:pt x="5754490" y="2844689"/>
                </a:lnTo>
                <a:lnTo>
                  <a:pt x="5754490" y="2842027"/>
                </a:lnTo>
                <a:close/>
                <a:moveTo>
                  <a:pt x="5505519" y="2842027"/>
                </a:moveTo>
                <a:cubicBezTo>
                  <a:pt x="5500822" y="2846719"/>
                  <a:pt x="5500822" y="2842027"/>
                  <a:pt x="5498473" y="2851420"/>
                </a:cubicBezTo>
                <a:lnTo>
                  <a:pt x="5505519" y="2851420"/>
                </a:lnTo>
                <a:close/>
                <a:moveTo>
                  <a:pt x="5428010" y="2842027"/>
                </a:moveTo>
                <a:lnTo>
                  <a:pt x="5428010" y="2849069"/>
                </a:lnTo>
                <a:lnTo>
                  <a:pt x="5435056" y="2842027"/>
                </a:lnTo>
                <a:close/>
                <a:moveTo>
                  <a:pt x="5875591" y="2840784"/>
                </a:moveTo>
                <a:lnTo>
                  <a:pt x="5876626" y="2842027"/>
                </a:lnTo>
                <a:lnTo>
                  <a:pt x="5877021" y="2841433"/>
                </a:lnTo>
                <a:close/>
                <a:moveTo>
                  <a:pt x="5486729" y="2837330"/>
                </a:moveTo>
                <a:lnTo>
                  <a:pt x="5477334" y="2842027"/>
                </a:lnTo>
                <a:lnTo>
                  <a:pt x="5484380" y="2849069"/>
                </a:lnTo>
                <a:close/>
                <a:moveTo>
                  <a:pt x="5200177" y="2837325"/>
                </a:moveTo>
                <a:lnTo>
                  <a:pt x="5198312" y="2839191"/>
                </a:lnTo>
                <a:lnTo>
                  <a:pt x="5200177" y="2839016"/>
                </a:lnTo>
                <a:close/>
                <a:moveTo>
                  <a:pt x="5770931" y="2834980"/>
                </a:moveTo>
                <a:lnTo>
                  <a:pt x="5770931" y="2842027"/>
                </a:lnTo>
                <a:lnTo>
                  <a:pt x="5777977" y="2834980"/>
                </a:lnTo>
                <a:close/>
                <a:moveTo>
                  <a:pt x="5743299" y="2834980"/>
                </a:moveTo>
                <a:lnTo>
                  <a:pt x="5744260" y="2835818"/>
                </a:lnTo>
                <a:lnTo>
                  <a:pt x="5745095" y="2834980"/>
                </a:lnTo>
                <a:close/>
                <a:moveTo>
                  <a:pt x="5849819" y="2834820"/>
                </a:moveTo>
                <a:lnTo>
                  <a:pt x="5850790" y="2834980"/>
                </a:lnTo>
                <a:lnTo>
                  <a:pt x="5850506" y="2835408"/>
                </a:lnTo>
                <a:close/>
                <a:moveTo>
                  <a:pt x="5199256" y="2833302"/>
                </a:moveTo>
                <a:lnTo>
                  <a:pt x="5196655" y="2833514"/>
                </a:lnTo>
                <a:cubicBezTo>
                  <a:pt x="5194306" y="2834395"/>
                  <a:pt x="5193132" y="2836156"/>
                  <a:pt x="5193132" y="2839685"/>
                </a:cubicBezTo>
                <a:lnTo>
                  <a:pt x="5195480" y="2839457"/>
                </a:lnTo>
                <a:lnTo>
                  <a:pt x="5195480" y="2837325"/>
                </a:lnTo>
                <a:cubicBezTo>
                  <a:pt x="5196654" y="2836149"/>
                  <a:pt x="5196654" y="2835563"/>
                  <a:pt x="5196947" y="2834975"/>
                </a:cubicBezTo>
                <a:close/>
                <a:moveTo>
                  <a:pt x="5613563" y="2832635"/>
                </a:moveTo>
                <a:lnTo>
                  <a:pt x="5606517" y="2839685"/>
                </a:lnTo>
                <a:lnTo>
                  <a:pt x="5618261" y="2839685"/>
                </a:lnTo>
                <a:close/>
                <a:moveTo>
                  <a:pt x="5240107" y="2832635"/>
                </a:moveTo>
                <a:cubicBezTo>
                  <a:pt x="5228363" y="2839685"/>
                  <a:pt x="5240107" y="2851420"/>
                  <a:pt x="5223666" y="2842027"/>
                </a:cubicBezTo>
                <a:lnTo>
                  <a:pt x="5216620" y="2844369"/>
                </a:lnTo>
                <a:lnTo>
                  <a:pt x="5216619" y="2844369"/>
                </a:lnTo>
                <a:lnTo>
                  <a:pt x="5216619" y="2849030"/>
                </a:lnTo>
                <a:lnTo>
                  <a:pt x="5218968" y="2849030"/>
                </a:lnTo>
                <a:lnTo>
                  <a:pt x="5216619" y="2851379"/>
                </a:lnTo>
                <a:lnTo>
                  <a:pt x="5216619" y="2849068"/>
                </a:lnTo>
                <a:lnTo>
                  <a:pt x="5214273" y="2844369"/>
                </a:lnTo>
                <a:lnTo>
                  <a:pt x="5204876" y="2844369"/>
                </a:lnTo>
                <a:lnTo>
                  <a:pt x="5211922" y="2853769"/>
                </a:lnTo>
                <a:lnTo>
                  <a:pt x="5218968" y="2851420"/>
                </a:lnTo>
                <a:lnTo>
                  <a:pt x="5226014" y="2853769"/>
                </a:lnTo>
                <a:cubicBezTo>
                  <a:pt x="5237758" y="2846719"/>
                  <a:pt x="5235410" y="2846719"/>
                  <a:pt x="5242456" y="2856119"/>
                </a:cubicBezTo>
                <a:lnTo>
                  <a:pt x="5233061" y="2860812"/>
                </a:lnTo>
                <a:lnTo>
                  <a:pt x="5226014" y="2856119"/>
                </a:lnTo>
                <a:cubicBezTo>
                  <a:pt x="5216620" y="2867859"/>
                  <a:pt x="5228363" y="2860812"/>
                  <a:pt x="5211922" y="2863162"/>
                </a:cubicBezTo>
                <a:cubicBezTo>
                  <a:pt x="5221317" y="2872559"/>
                  <a:pt x="5211922" y="2867859"/>
                  <a:pt x="5226014" y="2865511"/>
                </a:cubicBezTo>
                <a:cubicBezTo>
                  <a:pt x="5228363" y="2867859"/>
                  <a:pt x="5233061" y="2872559"/>
                  <a:pt x="5235410" y="2872559"/>
                </a:cubicBezTo>
                <a:cubicBezTo>
                  <a:pt x="5244805" y="2872559"/>
                  <a:pt x="5242456" y="2870209"/>
                  <a:pt x="5249502" y="2865511"/>
                </a:cubicBezTo>
                <a:cubicBezTo>
                  <a:pt x="5244805" y="2851420"/>
                  <a:pt x="5251851" y="2865511"/>
                  <a:pt x="5247154" y="2851420"/>
                </a:cubicBezTo>
                <a:lnTo>
                  <a:pt x="5254200" y="2844369"/>
                </a:lnTo>
                <a:lnTo>
                  <a:pt x="5240107" y="2842027"/>
                </a:lnTo>
                <a:cubicBezTo>
                  <a:pt x="5244805" y="2834980"/>
                  <a:pt x="5242456" y="2842027"/>
                  <a:pt x="5240107" y="2832635"/>
                </a:cubicBezTo>
                <a:close/>
                <a:moveTo>
                  <a:pt x="5207225" y="2832635"/>
                </a:moveTo>
                <a:lnTo>
                  <a:pt x="5202892" y="2832995"/>
                </a:lnTo>
                <a:lnTo>
                  <a:pt x="5205518" y="2835621"/>
                </a:lnTo>
                <a:close/>
                <a:moveTo>
                  <a:pt x="5813209" y="2830284"/>
                </a:moveTo>
                <a:cubicBezTo>
                  <a:pt x="5801465" y="2832635"/>
                  <a:pt x="5803814" y="2830284"/>
                  <a:pt x="5799117" y="2839685"/>
                </a:cubicBezTo>
                <a:lnTo>
                  <a:pt x="5803814" y="2844369"/>
                </a:lnTo>
                <a:cubicBezTo>
                  <a:pt x="5810861" y="2837330"/>
                  <a:pt x="5810861" y="2842027"/>
                  <a:pt x="5813209" y="2830284"/>
                </a:cubicBezTo>
                <a:close/>
                <a:moveTo>
                  <a:pt x="5251851" y="2830284"/>
                </a:moveTo>
                <a:lnTo>
                  <a:pt x="5256549" y="2837330"/>
                </a:lnTo>
                <a:lnTo>
                  <a:pt x="5261246" y="2830284"/>
                </a:lnTo>
                <a:close/>
                <a:moveTo>
                  <a:pt x="5169644" y="2830284"/>
                </a:moveTo>
                <a:lnTo>
                  <a:pt x="5171993" y="2844369"/>
                </a:lnTo>
                <a:lnTo>
                  <a:pt x="5181388" y="2839685"/>
                </a:lnTo>
                <a:close/>
                <a:moveTo>
                  <a:pt x="5531356" y="2827934"/>
                </a:moveTo>
                <a:cubicBezTo>
                  <a:pt x="5517263" y="2827934"/>
                  <a:pt x="5514914" y="2834980"/>
                  <a:pt x="5507868" y="2844369"/>
                </a:cubicBezTo>
                <a:lnTo>
                  <a:pt x="5512566" y="2849069"/>
                </a:lnTo>
                <a:lnTo>
                  <a:pt x="5519612" y="2842027"/>
                </a:lnTo>
                <a:cubicBezTo>
                  <a:pt x="5533705" y="2846719"/>
                  <a:pt x="5526658" y="2839685"/>
                  <a:pt x="5531356" y="2827934"/>
                </a:cubicBezTo>
                <a:close/>
                <a:moveTo>
                  <a:pt x="312391" y="2825671"/>
                </a:moveTo>
                <a:cubicBezTo>
                  <a:pt x="312391" y="2825671"/>
                  <a:pt x="310041" y="2828019"/>
                  <a:pt x="310041" y="2828019"/>
                </a:cubicBezTo>
                <a:lnTo>
                  <a:pt x="302992" y="2832720"/>
                </a:lnTo>
                <a:cubicBezTo>
                  <a:pt x="302992" y="2832720"/>
                  <a:pt x="300644" y="2835062"/>
                  <a:pt x="300644" y="2835062"/>
                </a:cubicBezTo>
                <a:lnTo>
                  <a:pt x="300644" y="2844451"/>
                </a:lnTo>
                <a:lnTo>
                  <a:pt x="300644" y="2853851"/>
                </a:lnTo>
                <a:cubicBezTo>
                  <a:pt x="300644" y="2853851"/>
                  <a:pt x="300644" y="2856199"/>
                  <a:pt x="302992" y="2856199"/>
                </a:cubicBezTo>
                <a:lnTo>
                  <a:pt x="305341" y="2853851"/>
                </a:lnTo>
                <a:lnTo>
                  <a:pt x="310041" y="2846802"/>
                </a:lnTo>
                <a:lnTo>
                  <a:pt x="314736" y="2828019"/>
                </a:lnTo>
                <a:cubicBezTo>
                  <a:pt x="314736" y="2825671"/>
                  <a:pt x="312391" y="2825671"/>
                  <a:pt x="312391" y="2825671"/>
                </a:cubicBezTo>
                <a:close/>
                <a:moveTo>
                  <a:pt x="5839849" y="2824513"/>
                </a:moveTo>
                <a:lnTo>
                  <a:pt x="5839046" y="2825585"/>
                </a:lnTo>
                <a:lnTo>
                  <a:pt x="5849819" y="2834820"/>
                </a:lnTo>
                <a:lnTo>
                  <a:pt x="5836697" y="2832635"/>
                </a:lnTo>
                <a:lnTo>
                  <a:pt x="5836697" y="2839685"/>
                </a:lnTo>
                <a:lnTo>
                  <a:pt x="5846092" y="2842027"/>
                </a:lnTo>
                <a:lnTo>
                  <a:pt x="5850506" y="2835408"/>
                </a:lnTo>
                <a:lnTo>
                  <a:pt x="5855487" y="2839685"/>
                </a:lnTo>
                <a:lnTo>
                  <a:pt x="5855487" y="2831636"/>
                </a:lnTo>
                <a:close/>
                <a:moveTo>
                  <a:pt x="5615912" y="2823237"/>
                </a:moveTo>
                <a:cubicBezTo>
                  <a:pt x="5622958" y="2830284"/>
                  <a:pt x="5615912" y="2830284"/>
                  <a:pt x="5625307" y="2825585"/>
                </a:cubicBezTo>
                <a:lnTo>
                  <a:pt x="5632353" y="2832635"/>
                </a:lnTo>
                <a:cubicBezTo>
                  <a:pt x="5630005" y="2820886"/>
                  <a:pt x="5632353" y="2823237"/>
                  <a:pt x="5615912" y="2823237"/>
                </a:cubicBezTo>
                <a:close/>
                <a:moveTo>
                  <a:pt x="5580680" y="2823237"/>
                </a:moveTo>
                <a:lnTo>
                  <a:pt x="5585378" y="2830284"/>
                </a:lnTo>
                <a:lnTo>
                  <a:pt x="5590075" y="2823237"/>
                </a:lnTo>
                <a:close/>
                <a:moveTo>
                  <a:pt x="5715990" y="2822215"/>
                </a:moveTo>
                <a:lnTo>
                  <a:pt x="5714560" y="2827934"/>
                </a:lnTo>
                <a:lnTo>
                  <a:pt x="5717580" y="2824913"/>
                </a:lnTo>
                <a:close/>
                <a:moveTo>
                  <a:pt x="5684026" y="2820886"/>
                </a:moveTo>
                <a:lnTo>
                  <a:pt x="5684026" y="2827934"/>
                </a:lnTo>
                <a:lnTo>
                  <a:pt x="5691073" y="2820886"/>
                </a:lnTo>
                <a:close/>
                <a:moveTo>
                  <a:pt x="5113860" y="2820299"/>
                </a:moveTo>
                <a:lnTo>
                  <a:pt x="5112366" y="2820739"/>
                </a:lnTo>
                <a:lnTo>
                  <a:pt x="5117570" y="2827934"/>
                </a:lnTo>
                <a:lnTo>
                  <a:pt x="5120319" y="2827934"/>
                </a:lnTo>
                <a:cubicBezTo>
                  <a:pt x="5116796" y="2823237"/>
                  <a:pt x="5115621" y="2820886"/>
                  <a:pt x="5113860" y="2820299"/>
                </a:cubicBezTo>
                <a:close/>
                <a:moveTo>
                  <a:pt x="5820256" y="2818536"/>
                </a:moveTo>
                <a:lnTo>
                  <a:pt x="5827302" y="2827934"/>
                </a:lnTo>
                <a:lnTo>
                  <a:pt x="5824953" y="2830284"/>
                </a:lnTo>
                <a:cubicBezTo>
                  <a:pt x="5815558" y="2825585"/>
                  <a:pt x="5820256" y="2825585"/>
                  <a:pt x="5815558" y="2832635"/>
                </a:cubicBezTo>
                <a:lnTo>
                  <a:pt x="5817907" y="2837330"/>
                </a:lnTo>
                <a:lnTo>
                  <a:pt x="5827302" y="2834980"/>
                </a:lnTo>
                <a:lnTo>
                  <a:pt x="5827302" y="2827934"/>
                </a:lnTo>
                <a:lnTo>
                  <a:pt x="5836697" y="2827934"/>
                </a:lnTo>
                <a:lnTo>
                  <a:pt x="5831169" y="2820559"/>
                </a:lnTo>
                <a:lnTo>
                  <a:pt x="5826724" y="2818536"/>
                </a:lnTo>
                <a:close/>
                <a:moveTo>
                  <a:pt x="5420963" y="2818536"/>
                </a:moveTo>
                <a:lnTo>
                  <a:pt x="5420963" y="2825585"/>
                </a:lnTo>
                <a:lnTo>
                  <a:pt x="5428010" y="2825585"/>
                </a:lnTo>
                <a:close/>
                <a:moveTo>
                  <a:pt x="5160249" y="2816187"/>
                </a:moveTo>
                <a:lnTo>
                  <a:pt x="5157900" y="2818536"/>
                </a:lnTo>
                <a:cubicBezTo>
                  <a:pt x="5162598" y="2827934"/>
                  <a:pt x="5157900" y="2825585"/>
                  <a:pt x="5167295" y="2823237"/>
                </a:cubicBezTo>
                <a:lnTo>
                  <a:pt x="5176690" y="2825585"/>
                </a:lnTo>
                <a:cubicBezTo>
                  <a:pt x="5167295" y="2813838"/>
                  <a:pt x="5171993" y="2820886"/>
                  <a:pt x="5160249" y="2816187"/>
                </a:cubicBezTo>
                <a:close/>
                <a:moveTo>
                  <a:pt x="5810083" y="2810963"/>
                </a:moveTo>
                <a:lnTo>
                  <a:pt x="5806163" y="2816187"/>
                </a:lnTo>
                <a:lnTo>
                  <a:pt x="5808512" y="2820886"/>
                </a:lnTo>
                <a:lnTo>
                  <a:pt x="5815823" y="2813574"/>
                </a:lnTo>
                <a:close/>
                <a:moveTo>
                  <a:pt x="5557192" y="2809139"/>
                </a:moveTo>
                <a:cubicBezTo>
                  <a:pt x="5561890" y="2816187"/>
                  <a:pt x="5557192" y="2813838"/>
                  <a:pt x="5566587" y="2816187"/>
                </a:cubicBezTo>
                <a:lnTo>
                  <a:pt x="5566587" y="2809139"/>
                </a:lnTo>
                <a:close/>
                <a:moveTo>
                  <a:pt x="5489078" y="2809139"/>
                </a:moveTo>
                <a:lnTo>
                  <a:pt x="5496124" y="2816187"/>
                </a:lnTo>
                <a:lnTo>
                  <a:pt x="5498473" y="2809139"/>
                </a:lnTo>
                <a:close/>
                <a:moveTo>
                  <a:pt x="5186085" y="2809139"/>
                </a:moveTo>
                <a:lnTo>
                  <a:pt x="5190783" y="2816187"/>
                </a:lnTo>
                <a:lnTo>
                  <a:pt x="5195481" y="2809139"/>
                </a:lnTo>
                <a:close/>
                <a:moveTo>
                  <a:pt x="378154" y="2806882"/>
                </a:moveTo>
                <a:lnTo>
                  <a:pt x="373456" y="2813927"/>
                </a:lnTo>
                <a:lnTo>
                  <a:pt x="378154" y="2818621"/>
                </a:lnTo>
                <a:lnTo>
                  <a:pt x="382854" y="2813927"/>
                </a:lnTo>
                <a:close/>
                <a:moveTo>
                  <a:pt x="5721607" y="2806791"/>
                </a:moveTo>
                <a:lnTo>
                  <a:pt x="5714355" y="2809863"/>
                </a:lnTo>
                <a:lnTo>
                  <a:pt x="5722690" y="2817093"/>
                </a:lnTo>
                <a:lnTo>
                  <a:pt x="5723956" y="2811491"/>
                </a:lnTo>
                <a:close/>
                <a:moveTo>
                  <a:pt x="288900" y="2804541"/>
                </a:moveTo>
                <a:lnTo>
                  <a:pt x="279506" y="2806882"/>
                </a:lnTo>
                <a:cubicBezTo>
                  <a:pt x="279506" y="2806882"/>
                  <a:pt x="277156" y="2809233"/>
                  <a:pt x="277156" y="2809233"/>
                </a:cubicBezTo>
                <a:lnTo>
                  <a:pt x="277156" y="2818621"/>
                </a:lnTo>
                <a:lnTo>
                  <a:pt x="274807" y="2828019"/>
                </a:lnTo>
                <a:cubicBezTo>
                  <a:pt x="274807" y="2828019"/>
                  <a:pt x="277156" y="2830368"/>
                  <a:pt x="277156" y="2832720"/>
                </a:cubicBezTo>
                <a:lnTo>
                  <a:pt x="286550" y="2830368"/>
                </a:lnTo>
                <a:lnTo>
                  <a:pt x="295948" y="2816277"/>
                </a:lnTo>
                <a:lnTo>
                  <a:pt x="293598" y="2806882"/>
                </a:lnTo>
                <a:cubicBezTo>
                  <a:pt x="293598" y="2806882"/>
                  <a:pt x="291248" y="2804541"/>
                  <a:pt x="288900" y="2804541"/>
                </a:cubicBezTo>
                <a:close/>
                <a:moveTo>
                  <a:pt x="5127366" y="2804448"/>
                </a:moveTo>
                <a:lnTo>
                  <a:pt x="5120319" y="2811491"/>
                </a:lnTo>
                <a:lnTo>
                  <a:pt x="5127366" y="2811491"/>
                </a:lnTo>
                <a:close/>
                <a:moveTo>
                  <a:pt x="5632353" y="2802108"/>
                </a:moveTo>
                <a:lnTo>
                  <a:pt x="5639400" y="2809139"/>
                </a:lnTo>
                <a:lnTo>
                  <a:pt x="5644097" y="2802108"/>
                </a:lnTo>
                <a:close/>
                <a:moveTo>
                  <a:pt x="5688475" y="2801736"/>
                </a:moveTo>
                <a:lnTo>
                  <a:pt x="5688724" y="2802108"/>
                </a:lnTo>
                <a:lnTo>
                  <a:pt x="5688446" y="2802245"/>
                </a:lnTo>
                <a:close/>
                <a:moveTo>
                  <a:pt x="5193132" y="2797406"/>
                </a:moveTo>
                <a:lnTo>
                  <a:pt x="5197829" y="2804448"/>
                </a:lnTo>
                <a:lnTo>
                  <a:pt x="5202527" y="2797406"/>
                </a:lnTo>
                <a:close/>
                <a:moveTo>
                  <a:pt x="5810861" y="2790357"/>
                </a:moveTo>
                <a:lnTo>
                  <a:pt x="5796768" y="2792709"/>
                </a:lnTo>
                <a:lnTo>
                  <a:pt x="5797897" y="2794399"/>
                </a:lnTo>
                <a:lnTo>
                  <a:pt x="5810861" y="2800587"/>
                </a:lnTo>
                <a:lnTo>
                  <a:pt x="5810861" y="2799755"/>
                </a:lnTo>
                <a:lnTo>
                  <a:pt x="5813209" y="2792709"/>
                </a:lnTo>
                <a:close/>
                <a:moveTo>
                  <a:pt x="5608865" y="2790357"/>
                </a:moveTo>
                <a:lnTo>
                  <a:pt x="5601819" y="2797406"/>
                </a:lnTo>
                <a:lnTo>
                  <a:pt x="5608865" y="2797406"/>
                </a:lnTo>
                <a:close/>
                <a:moveTo>
                  <a:pt x="775080" y="2788011"/>
                </a:moveTo>
                <a:cubicBezTo>
                  <a:pt x="768037" y="2802108"/>
                  <a:pt x="721059" y="2809139"/>
                  <a:pt x="746895" y="2823237"/>
                </a:cubicBezTo>
                <a:cubicBezTo>
                  <a:pt x="751594" y="2806791"/>
                  <a:pt x="786824" y="2806791"/>
                  <a:pt x="775080" y="2788011"/>
                </a:cubicBezTo>
                <a:close/>
                <a:moveTo>
                  <a:pt x="5747444" y="2785659"/>
                </a:moveTo>
                <a:lnTo>
                  <a:pt x="5752141" y="2795055"/>
                </a:lnTo>
                <a:lnTo>
                  <a:pt x="5747444" y="2802108"/>
                </a:lnTo>
                <a:lnTo>
                  <a:pt x="5756839" y="2802108"/>
                </a:lnTo>
                <a:lnTo>
                  <a:pt x="5753423" y="2807215"/>
                </a:lnTo>
                <a:lnTo>
                  <a:pt x="5752141" y="2806791"/>
                </a:lnTo>
                <a:lnTo>
                  <a:pt x="5749973" y="2809492"/>
                </a:lnTo>
                <a:lnTo>
                  <a:pt x="5738048" y="2811491"/>
                </a:lnTo>
                <a:lnTo>
                  <a:pt x="5742746" y="2818536"/>
                </a:lnTo>
                <a:lnTo>
                  <a:pt x="5749973" y="2809492"/>
                </a:lnTo>
                <a:lnTo>
                  <a:pt x="5752141" y="2809139"/>
                </a:lnTo>
                <a:lnTo>
                  <a:pt x="5753423" y="2807215"/>
                </a:lnTo>
                <a:lnTo>
                  <a:pt x="5759187" y="2809139"/>
                </a:lnTo>
                <a:lnTo>
                  <a:pt x="5766234" y="2816187"/>
                </a:lnTo>
                <a:cubicBezTo>
                  <a:pt x="5761536" y="2823237"/>
                  <a:pt x="5761536" y="2827934"/>
                  <a:pt x="5768582" y="2832635"/>
                </a:cubicBezTo>
                <a:lnTo>
                  <a:pt x="5768582" y="2825585"/>
                </a:lnTo>
                <a:lnTo>
                  <a:pt x="5782675" y="2825585"/>
                </a:lnTo>
                <a:cubicBezTo>
                  <a:pt x="5796768" y="2825585"/>
                  <a:pt x="5787373" y="2837330"/>
                  <a:pt x="5796768" y="2823237"/>
                </a:cubicBezTo>
                <a:lnTo>
                  <a:pt x="5787373" y="2823237"/>
                </a:lnTo>
                <a:lnTo>
                  <a:pt x="5789721" y="2816187"/>
                </a:lnTo>
                <a:lnTo>
                  <a:pt x="5785024" y="2818536"/>
                </a:lnTo>
                <a:lnTo>
                  <a:pt x="5785024" y="2811491"/>
                </a:lnTo>
                <a:lnTo>
                  <a:pt x="5792070" y="2811491"/>
                </a:lnTo>
                <a:lnTo>
                  <a:pt x="5801947" y="2807254"/>
                </a:lnTo>
                <a:lnTo>
                  <a:pt x="5781794" y="2798089"/>
                </a:lnTo>
                <a:lnTo>
                  <a:pt x="5773833" y="2795100"/>
                </a:lnTo>
                <a:lnTo>
                  <a:pt x="5768582" y="2802108"/>
                </a:lnTo>
                <a:lnTo>
                  <a:pt x="5754490" y="2799755"/>
                </a:lnTo>
                <a:lnTo>
                  <a:pt x="5756839" y="2792709"/>
                </a:lnTo>
                <a:close/>
                <a:moveTo>
                  <a:pt x="5740397" y="2785659"/>
                </a:moveTo>
                <a:lnTo>
                  <a:pt x="5733351" y="2792709"/>
                </a:lnTo>
                <a:lnTo>
                  <a:pt x="5740397" y="2792709"/>
                </a:lnTo>
                <a:close/>
                <a:moveTo>
                  <a:pt x="5735429" y="2780690"/>
                </a:moveTo>
                <a:lnTo>
                  <a:pt x="5735700" y="2780963"/>
                </a:lnTo>
                <a:lnTo>
                  <a:pt x="5735791" y="2780827"/>
                </a:lnTo>
                <a:close/>
                <a:moveTo>
                  <a:pt x="573108" y="2778709"/>
                </a:moveTo>
                <a:lnTo>
                  <a:pt x="566057" y="2783408"/>
                </a:lnTo>
                <a:lnTo>
                  <a:pt x="573108" y="2790452"/>
                </a:lnTo>
                <a:lnTo>
                  <a:pt x="577802" y="2783408"/>
                </a:lnTo>
                <a:close/>
                <a:moveTo>
                  <a:pt x="5801465" y="2773916"/>
                </a:moveTo>
                <a:lnTo>
                  <a:pt x="5799945" y="2778473"/>
                </a:lnTo>
                <a:lnTo>
                  <a:pt x="5799117" y="2778610"/>
                </a:lnTo>
                <a:lnTo>
                  <a:pt x="5799117" y="2774694"/>
                </a:lnTo>
                <a:close/>
                <a:moveTo>
                  <a:pt x="5651144" y="2773916"/>
                </a:moveTo>
                <a:lnTo>
                  <a:pt x="5651144" y="2783310"/>
                </a:lnTo>
                <a:lnTo>
                  <a:pt x="5660538" y="2773916"/>
                </a:lnTo>
                <a:close/>
                <a:moveTo>
                  <a:pt x="3031300" y="2772485"/>
                </a:moveTo>
                <a:cubicBezTo>
                  <a:pt x="3013025" y="2770831"/>
                  <a:pt x="2999372" y="2782723"/>
                  <a:pt x="2992325" y="2809139"/>
                </a:cubicBezTo>
                <a:cubicBezTo>
                  <a:pt x="3011115" y="2813838"/>
                  <a:pt x="3004069" y="2830284"/>
                  <a:pt x="3022859" y="2834980"/>
                </a:cubicBezTo>
                <a:cubicBezTo>
                  <a:pt x="3027557" y="2823237"/>
                  <a:pt x="3039300" y="2823237"/>
                  <a:pt x="3048695" y="2818536"/>
                </a:cubicBezTo>
                <a:cubicBezTo>
                  <a:pt x="3041649" y="2809139"/>
                  <a:pt x="3043998" y="2795055"/>
                  <a:pt x="3051044" y="2778610"/>
                </a:cubicBezTo>
                <a:cubicBezTo>
                  <a:pt x="3043998" y="2775088"/>
                  <a:pt x="3037392" y="2773036"/>
                  <a:pt x="3031300" y="2772485"/>
                </a:cubicBezTo>
                <a:close/>
                <a:moveTo>
                  <a:pt x="5702817" y="2769215"/>
                </a:moveTo>
                <a:lnTo>
                  <a:pt x="5702817" y="2776265"/>
                </a:lnTo>
                <a:lnTo>
                  <a:pt x="5709827" y="2776265"/>
                </a:lnTo>
                <a:lnTo>
                  <a:pt x="5709827" y="2776357"/>
                </a:lnTo>
                <a:lnTo>
                  <a:pt x="5705166" y="2788011"/>
                </a:lnTo>
                <a:lnTo>
                  <a:pt x="5695770" y="2792709"/>
                </a:lnTo>
                <a:lnTo>
                  <a:pt x="5688724" y="2788011"/>
                </a:lnTo>
                <a:lnTo>
                  <a:pt x="5688724" y="2797406"/>
                </a:lnTo>
                <a:lnTo>
                  <a:pt x="5688475" y="2801736"/>
                </a:lnTo>
                <a:lnTo>
                  <a:pt x="5684026" y="2795055"/>
                </a:lnTo>
                <a:lnTo>
                  <a:pt x="5676980" y="2802108"/>
                </a:lnTo>
                <a:lnTo>
                  <a:pt x="5684026" y="2804448"/>
                </a:lnTo>
                <a:lnTo>
                  <a:pt x="5688446" y="2802245"/>
                </a:lnTo>
                <a:lnTo>
                  <a:pt x="5688431" y="2802508"/>
                </a:lnTo>
                <a:cubicBezTo>
                  <a:pt x="5687990" y="2804596"/>
                  <a:pt x="5687550" y="2799755"/>
                  <a:pt x="5691073" y="2806791"/>
                </a:cubicBezTo>
                <a:cubicBezTo>
                  <a:pt x="5700468" y="2799755"/>
                  <a:pt x="5698119" y="2806791"/>
                  <a:pt x="5695770" y="2797406"/>
                </a:cubicBezTo>
                <a:lnTo>
                  <a:pt x="5702817" y="2790357"/>
                </a:lnTo>
                <a:lnTo>
                  <a:pt x="5712212" y="2790357"/>
                </a:lnTo>
                <a:lnTo>
                  <a:pt x="5707514" y="2783310"/>
                </a:lnTo>
                <a:cubicBezTo>
                  <a:pt x="5709276" y="2778028"/>
                  <a:pt x="5709716" y="2780666"/>
                  <a:pt x="5709827" y="2776375"/>
                </a:cubicBezTo>
                <a:lnTo>
                  <a:pt x="5709827" y="2776357"/>
                </a:lnTo>
                <a:lnTo>
                  <a:pt x="5709863" y="2776265"/>
                </a:lnTo>
                <a:lnTo>
                  <a:pt x="5709827" y="2776265"/>
                </a:lnTo>
                <a:lnTo>
                  <a:pt x="5709854" y="2771093"/>
                </a:lnTo>
                <a:lnTo>
                  <a:pt x="5704854" y="2769215"/>
                </a:lnTo>
                <a:close/>
                <a:moveTo>
                  <a:pt x="4635002" y="2765393"/>
                </a:moveTo>
                <a:cubicBezTo>
                  <a:pt x="4627075" y="2767453"/>
                  <a:pt x="4621203" y="2773917"/>
                  <a:pt x="4617680" y="2785659"/>
                </a:cubicBezTo>
                <a:cubicBezTo>
                  <a:pt x="4638818" y="2797406"/>
                  <a:pt x="4655260" y="2797406"/>
                  <a:pt x="4664655" y="2785659"/>
                </a:cubicBezTo>
                <a:cubicBezTo>
                  <a:pt x="4662306" y="2783310"/>
                  <a:pt x="4659958" y="2778610"/>
                  <a:pt x="4664655" y="2771565"/>
                </a:cubicBezTo>
                <a:cubicBezTo>
                  <a:pt x="4652911" y="2765689"/>
                  <a:pt x="4642929" y="2763342"/>
                  <a:pt x="4635002" y="2765393"/>
                </a:cubicBezTo>
                <a:close/>
                <a:moveTo>
                  <a:pt x="4598963" y="2763967"/>
                </a:moveTo>
                <a:cubicBezTo>
                  <a:pt x="4592577" y="2764515"/>
                  <a:pt x="4584210" y="2783899"/>
                  <a:pt x="4603587" y="2771565"/>
                </a:cubicBezTo>
                <a:cubicBezTo>
                  <a:pt x="4603000" y="2765689"/>
                  <a:pt x="4601092" y="2763781"/>
                  <a:pt x="4598963" y="2763967"/>
                </a:cubicBezTo>
                <a:close/>
                <a:moveTo>
                  <a:pt x="371112" y="2757559"/>
                </a:moveTo>
                <a:lnTo>
                  <a:pt x="375805" y="2762254"/>
                </a:lnTo>
                <a:lnTo>
                  <a:pt x="371112" y="2766944"/>
                </a:lnTo>
                <a:lnTo>
                  <a:pt x="366411" y="2762254"/>
                </a:lnTo>
                <a:close/>
                <a:moveTo>
                  <a:pt x="559011" y="2748183"/>
                </a:moveTo>
                <a:lnTo>
                  <a:pt x="551965" y="2755228"/>
                </a:lnTo>
                <a:cubicBezTo>
                  <a:pt x="551965" y="2755228"/>
                  <a:pt x="549615" y="2757578"/>
                  <a:pt x="547267" y="2766962"/>
                </a:cubicBezTo>
                <a:lnTo>
                  <a:pt x="549615" y="2774014"/>
                </a:lnTo>
                <a:lnTo>
                  <a:pt x="551965" y="2766962"/>
                </a:lnTo>
                <a:lnTo>
                  <a:pt x="559011" y="2762275"/>
                </a:lnTo>
                <a:cubicBezTo>
                  <a:pt x="559011" y="2762275"/>
                  <a:pt x="561359" y="2759929"/>
                  <a:pt x="563709" y="2757578"/>
                </a:cubicBezTo>
                <a:close/>
                <a:moveTo>
                  <a:pt x="5707514" y="2743385"/>
                </a:moveTo>
                <a:lnTo>
                  <a:pt x="5707514" y="2750429"/>
                </a:lnTo>
                <a:lnTo>
                  <a:pt x="5714560" y="2750429"/>
                </a:lnTo>
                <a:close/>
                <a:moveTo>
                  <a:pt x="5632353" y="2733988"/>
                </a:moveTo>
                <a:lnTo>
                  <a:pt x="5632353" y="2743385"/>
                </a:lnTo>
                <a:lnTo>
                  <a:pt x="5646446" y="2741036"/>
                </a:lnTo>
                <a:cubicBezTo>
                  <a:pt x="5641748" y="2733988"/>
                  <a:pt x="5641748" y="2733402"/>
                  <a:pt x="5641161" y="2733988"/>
                </a:cubicBezTo>
                <a:cubicBezTo>
                  <a:pt x="5640574" y="2734577"/>
                  <a:pt x="5639399" y="2736337"/>
                  <a:pt x="5632353" y="2733988"/>
                </a:cubicBezTo>
                <a:close/>
                <a:moveTo>
                  <a:pt x="244279" y="2731719"/>
                </a:moveTo>
                <a:lnTo>
                  <a:pt x="251321" y="2734066"/>
                </a:lnTo>
                <a:lnTo>
                  <a:pt x="248972" y="2743468"/>
                </a:lnTo>
                <a:lnTo>
                  <a:pt x="244279" y="2745816"/>
                </a:lnTo>
                <a:lnTo>
                  <a:pt x="239578" y="2743468"/>
                </a:lnTo>
                <a:lnTo>
                  <a:pt x="239578" y="2734066"/>
                </a:lnTo>
                <a:close/>
                <a:moveTo>
                  <a:pt x="5646446" y="2731636"/>
                </a:moveTo>
                <a:lnTo>
                  <a:pt x="5648795" y="2741036"/>
                </a:lnTo>
                <a:cubicBezTo>
                  <a:pt x="5648795" y="2748077"/>
                  <a:pt x="5646446" y="2743385"/>
                  <a:pt x="5653492" y="2748077"/>
                </a:cubicBezTo>
                <a:lnTo>
                  <a:pt x="5653971" y="2747118"/>
                </a:lnTo>
                <a:lnTo>
                  <a:pt x="5653491" y="2745844"/>
                </a:lnTo>
                <a:lnTo>
                  <a:pt x="5654472" y="2746122"/>
                </a:lnTo>
                <a:lnTo>
                  <a:pt x="5658190" y="2738689"/>
                </a:lnTo>
                <a:cubicBezTo>
                  <a:pt x="5653492" y="2736337"/>
                  <a:pt x="5651144" y="2736337"/>
                  <a:pt x="5651144" y="2736337"/>
                </a:cubicBezTo>
                <a:cubicBezTo>
                  <a:pt x="5651144" y="2736337"/>
                  <a:pt x="5648795" y="2733988"/>
                  <a:pt x="5646446" y="2731636"/>
                </a:cubicBezTo>
                <a:close/>
                <a:moveTo>
                  <a:pt x="345271" y="2729366"/>
                </a:moveTo>
                <a:lnTo>
                  <a:pt x="354669" y="2736415"/>
                </a:lnTo>
                <a:lnTo>
                  <a:pt x="345271" y="2750511"/>
                </a:lnTo>
                <a:lnTo>
                  <a:pt x="342922" y="2745815"/>
                </a:lnTo>
                <a:lnTo>
                  <a:pt x="340576" y="2736415"/>
                </a:lnTo>
                <a:close/>
                <a:moveTo>
                  <a:pt x="4462073" y="2728118"/>
                </a:moveTo>
                <a:cubicBezTo>
                  <a:pt x="4451504" y="2728118"/>
                  <a:pt x="4437998" y="2730467"/>
                  <a:pt x="4432126" y="2729290"/>
                </a:cubicBezTo>
                <a:cubicBezTo>
                  <a:pt x="4453265" y="2731642"/>
                  <a:pt x="4432126" y="2752777"/>
                  <a:pt x="4439172" y="2759827"/>
                </a:cubicBezTo>
                <a:cubicBezTo>
                  <a:pt x="4425080" y="2757477"/>
                  <a:pt x="4406289" y="2764515"/>
                  <a:pt x="4401592" y="2750429"/>
                </a:cubicBezTo>
                <a:cubicBezTo>
                  <a:pt x="4378104" y="2771565"/>
                  <a:pt x="4385151" y="2771565"/>
                  <a:pt x="4380453" y="2802108"/>
                </a:cubicBezTo>
                <a:cubicBezTo>
                  <a:pt x="4403940" y="2820886"/>
                  <a:pt x="4410987" y="2804448"/>
                  <a:pt x="4427428" y="2802108"/>
                </a:cubicBezTo>
                <a:cubicBezTo>
                  <a:pt x="4403940" y="2856119"/>
                  <a:pt x="4460311" y="2846719"/>
                  <a:pt x="4450916" y="2893698"/>
                </a:cubicBezTo>
                <a:cubicBezTo>
                  <a:pt x="4497892" y="2917189"/>
                  <a:pt x="4521379" y="2889000"/>
                  <a:pt x="4551914" y="2900746"/>
                </a:cubicBezTo>
                <a:cubicBezTo>
                  <a:pt x="4554263" y="2884302"/>
                  <a:pt x="4561309" y="2870211"/>
                  <a:pt x="4577750" y="2884302"/>
                </a:cubicBezTo>
                <a:cubicBezTo>
                  <a:pt x="4587145" y="2851420"/>
                  <a:pt x="4591843" y="2827935"/>
                  <a:pt x="4612982" y="2816189"/>
                </a:cubicBezTo>
                <a:cubicBezTo>
                  <a:pt x="4601238" y="2797406"/>
                  <a:pt x="4580099" y="2780961"/>
                  <a:pt x="4577750" y="2755127"/>
                </a:cubicBezTo>
                <a:cubicBezTo>
                  <a:pt x="4528426" y="2738688"/>
                  <a:pt x="4519031" y="2722247"/>
                  <a:pt x="4474404" y="2741036"/>
                </a:cubicBezTo>
                <a:cubicBezTo>
                  <a:pt x="4480276" y="2730467"/>
                  <a:pt x="4472643" y="2728118"/>
                  <a:pt x="4462073" y="2728118"/>
                </a:cubicBezTo>
                <a:close/>
                <a:moveTo>
                  <a:pt x="279506" y="2724669"/>
                </a:moveTo>
                <a:lnTo>
                  <a:pt x="281851" y="2727020"/>
                </a:lnTo>
                <a:lnTo>
                  <a:pt x="279506" y="2736415"/>
                </a:lnTo>
                <a:lnTo>
                  <a:pt x="272456" y="2727020"/>
                </a:lnTo>
                <a:close/>
                <a:moveTo>
                  <a:pt x="5688724" y="2724594"/>
                </a:moveTo>
                <a:cubicBezTo>
                  <a:pt x="5691073" y="2731636"/>
                  <a:pt x="5691073" y="2726944"/>
                  <a:pt x="5688724" y="2733988"/>
                </a:cubicBezTo>
                <a:lnTo>
                  <a:pt x="5698119" y="2733988"/>
                </a:lnTo>
                <a:cubicBezTo>
                  <a:pt x="5693422" y="2726944"/>
                  <a:pt x="5695770" y="2733988"/>
                  <a:pt x="5698119" y="2724594"/>
                </a:cubicBezTo>
                <a:close/>
                <a:moveTo>
                  <a:pt x="507337" y="2722339"/>
                </a:moveTo>
                <a:lnTo>
                  <a:pt x="514388" y="2731738"/>
                </a:lnTo>
                <a:lnTo>
                  <a:pt x="504987" y="2736438"/>
                </a:lnTo>
                <a:lnTo>
                  <a:pt x="500295" y="2731738"/>
                </a:lnTo>
                <a:close/>
                <a:moveTo>
                  <a:pt x="5728653" y="2719897"/>
                </a:moveTo>
                <a:lnTo>
                  <a:pt x="5714560" y="2722246"/>
                </a:lnTo>
                <a:lnTo>
                  <a:pt x="5714560" y="2731636"/>
                </a:lnTo>
                <a:cubicBezTo>
                  <a:pt x="5731002" y="2729290"/>
                  <a:pt x="5721607" y="2733988"/>
                  <a:pt x="5728653" y="2724594"/>
                </a:cubicBezTo>
                <a:cubicBezTo>
                  <a:pt x="5738048" y="2729290"/>
                  <a:pt x="5733351" y="2731636"/>
                  <a:pt x="5735700" y="2722246"/>
                </a:cubicBezTo>
                <a:close/>
                <a:moveTo>
                  <a:pt x="575454" y="2715289"/>
                </a:moveTo>
                <a:lnTo>
                  <a:pt x="570758" y="2722341"/>
                </a:lnTo>
                <a:lnTo>
                  <a:pt x="573108" y="2731739"/>
                </a:lnTo>
                <a:cubicBezTo>
                  <a:pt x="575454" y="2734090"/>
                  <a:pt x="575454" y="2736438"/>
                  <a:pt x="577802" y="2736438"/>
                </a:cubicBezTo>
                <a:cubicBezTo>
                  <a:pt x="577802" y="2736438"/>
                  <a:pt x="584850" y="2729386"/>
                  <a:pt x="589545" y="2724689"/>
                </a:cubicBezTo>
                <a:cubicBezTo>
                  <a:pt x="589545" y="2724689"/>
                  <a:pt x="587201" y="2722341"/>
                  <a:pt x="584850" y="2719991"/>
                </a:cubicBezTo>
                <a:close/>
                <a:moveTo>
                  <a:pt x="5707514" y="2712850"/>
                </a:moveTo>
                <a:cubicBezTo>
                  <a:pt x="5700468" y="2719897"/>
                  <a:pt x="5702817" y="2717549"/>
                  <a:pt x="5702817" y="2724594"/>
                </a:cubicBezTo>
                <a:cubicBezTo>
                  <a:pt x="5702817" y="2733988"/>
                  <a:pt x="5695770" y="2729290"/>
                  <a:pt x="5707514" y="2731636"/>
                </a:cubicBezTo>
                <a:close/>
                <a:moveTo>
                  <a:pt x="302992" y="2703522"/>
                </a:moveTo>
                <a:lnTo>
                  <a:pt x="307691" y="2708220"/>
                </a:lnTo>
                <a:lnTo>
                  <a:pt x="307691" y="2717622"/>
                </a:lnTo>
                <a:lnTo>
                  <a:pt x="302992" y="2724669"/>
                </a:lnTo>
                <a:lnTo>
                  <a:pt x="293598" y="2717622"/>
                </a:lnTo>
                <a:lnTo>
                  <a:pt x="291248" y="2708220"/>
                </a:lnTo>
                <a:cubicBezTo>
                  <a:pt x="291248" y="2708220"/>
                  <a:pt x="293598" y="2705871"/>
                  <a:pt x="293598" y="2705871"/>
                </a:cubicBezTo>
                <a:close/>
                <a:moveTo>
                  <a:pt x="1014671" y="2696465"/>
                </a:moveTo>
                <a:lnTo>
                  <a:pt x="1009973" y="2703518"/>
                </a:lnTo>
                <a:lnTo>
                  <a:pt x="1014671" y="2708217"/>
                </a:lnTo>
                <a:lnTo>
                  <a:pt x="1024070" y="2708217"/>
                </a:lnTo>
                <a:lnTo>
                  <a:pt x="1028765" y="2703518"/>
                </a:lnTo>
                <a:lnTo>
                  <a:pt x="1024070" y="2696465"/>
                </a:lnTo>
                <a:close/>
                <a:moveTo>
                  <a:pt x="5766234" y="2696408"/>
                </a:moveTo>
                <a:lnTo>
                  <a:pt x="5761536" y="2703454"/>
                </a:lnTo>
                <a:lnTo>
                  <a:pt x="5768582" y="2705804"/>
                </a:lnTo>
                <a:lnTo>
                  <a:pt x="5773280" y="2703454"/>
                </a:lnTo>
                <a:close/>
                <a:moveTo>
                  <a:pt x="728118" y="2694114"/>
                </a:moveTo>
                <a:cubicBezTo>
                  <a:pt x="728118" y="2694114"/>
                  <a:pt x="730463" y="2694114"/>
                  <a:pt x="737513" y="2696465"/>
                </a:cubicBezTo>
                <a:cubicBezTo>
                  <a:pt x="732818" y="2701164"/>
                  <a:pt x="728118" y="2703514"/>
                  <a:pt x="725768" y="2708216"/>
                </a:cubicBezTo>
                <a:cubicBezTo>
                  <a:pt x="723418" y="2705866"/>
                  <a:pt x="723418" y="2703514"/>
                  <a:pt x="723418" y="2701164"/>
                </a:cubicBezTo>
                <a:cubicBezTo>
                  <a:pt x="723418" y="2698815"/>
                  <a:pt x="725768" y="2694114"/>
                  <a:pt x="728118" y="2694114"/>
                </a:cubicBezTo>
                <a:close/>
                <a:moveTo>
                  <a:pt x="4213690" y="2694058"/>
                </a:moveTo>
                <a:cubicBezTo>
                  <a:pt x="4211341" y="2698757"/>
                  <a:pt x="4211341" y="2701106"/>
                  <a:pt x="4208992" y="2705803"/>
                </a:cubicBezTo>
                <a:cubicBezTo>
                  <a:pt x="4213690" y="2708153"/>
                  <a:pt x="4216038" y="2708153"/>
                  <a:pt x="4220736" y="2710502"/>
                </a:cubicBezTo>
                <a:cubicBezTo>
                  <a:pt x="4220736" y="2708153"/>
                  <a:pt x="4223085" y="2703455"/>
                  <a:pt x="4225434" y="2698757"/>
                </a:cubicBezTo>
                <a:cubicBezTo>
                  <a:pt x="4220736" y="2696407"/>
                  <a:pt x="4218387" y="2696407"/>
                  <a:pt x="4213690" y="2694058"/>
                </a:cubicBezTo>
                <a:close/>
                <a:moveTo>
                  <a:pt x="5733351" y="2691709"/>
                </a:moveTo>
                <a:lnTo>
                  <a:pt x="5726304" y="2698756"/>
                </a:lnTo>
                <a:lnTo>
                  <a:pt x="5733351" y="2698756"/>
                </a:lnTo>
                <a:close/>
                <a:moveTo>
                  <a:pt x="615386" y="2689436"/>
                </a:moveTo>
                <a:cubicBezTo>
                  <a:pt x="615386" y="2694136"/>
                  <a:pt x="610685" y="2696485"/>
                  <a:pt x="610685" y="2698837"/>
                </a:cubicBezTo>
                <a:cubicBezTo>
                  <a:pt x="610685" y="2698837"/>
                  <a:pt x="608338" y="2703536"/>
                  <a:pt x="615386" y="2715289"/>
                </a:cubicBezTo>
                <a:lnTo>
                  <a:pt x="636520" y="2717641"/>
                </a:lnTo>
                <a:lnTo>
                  <a:pt x="641221" y="2719991"/>
                </a:lnTo>
                <a:lnTo>
                  <a:pt x="650613" y="2717641"/>
                </a:lnTo>
                <a:close/>
                <a:moveTo>
                  <a:pt x="4711631" y="2687012"/>
                </a:moveTo>
                <a:cubicBezTo>
                  <a:pt x="4695189" y="2701106"/>
                  <a:pt x="4704584" y="2705803"/>
                  <a:pt x="4688143" y="2724594"/>
                </a:cubicBezTo>
                <a:cubicBezTo>
                  <a:pt x="4697538" y="2729290"/>
                  <a:pt x="4706933" y="2731642"/>
                  <a:pt x="4713980" y="2729290"/>
                </a:cubicBezTo>
                <a:cubicBezTo>
                  <a:pt x="4718677" y="2703455"/>
                  <a:pt x="4721026" y="2703455"/>
                  <a:pt x="4711631" y="2687012"/>
                </a:cubicBezTo>
                <a:close/>
                <a:moveTo>
                  <a:pt x="220785" y="2684712"/>
                </a:moveTo>
                <a:lnTo>
                  <a:pt x="230178" y="2710563"/>
                </a:lnTo>
                <a:cubicBezTo>
                  <a:pt x="230178" y="2710563"/>
                  <a:pt x="232528" y="2717613"/>
                  <a:pt x="227829" y="2722311"/>
                </a:cubicBezTo>
                <a:lnTo>
                  <a:pt x="220785" y="2719963"/>
                </a:lnTo>
                <a:lnTo>
                  <a:pt x="213735" y="2691762"/>
                </a:lnTo>
                <a:close/>
                <a:moveTo>
                  <a:pt x="601293" y="2682384"/>
                </a:moveTo>
                <a:lnTo>
                  <a:pt x="591901" y="2689436"/>
                </a:lnTo>
                <a:lnTo>
                  <a:pt x="589545" y="2698837"/>
                </a:lnTo>
                <a:cubicBezTo>
                  <a:pt x="589545" y="2698837"/>
                  <a:pt x="591901" y="2701186"/>
                  <a:pt x="591901" y="2701186"/>
                </a:cubicBezTo>
                <a:lnTo>
                  <a:pt x="594244" y="2698837"/>
                </a:lnTo>
                <a:cubicBezTo>
                  <a:pt x="594244" y="2698837"/>
                  <a:pt x="603643" y="2689436"/>
                  <a:pt x="603643" y="2689436"/>
                </a:cubicBezTo>
                <a:close/>
                <a:moveTo>
                  <a:pt x="939515" y="2677665"/>
                </a:moveTo>
                <a:lnTo>
                  <a:pt x="953607" y="2687067"/>
                </a:lnTo>
                <a:lnTo>
                  <a:pt x="963000" y="2701169"/>
                </a:lnTo>
                <a:cubicBezTo>
                  <a:pt x="965350" y="2701169"/>
                  <a:pt x="965350" y="2703518"/>
                  <a:pt x="967700" y="2703518"/>
                </a:cubicBezTo>
                <a:cubicBezTo>
                  <a:pt x="967700" y="2703518"/>
                  <a:pt x="965350" y="2705868"/>
                  <a:pt x="963000" y="2705868"/>
                </a:cubicBezTo>
                <a:lnTo>
                  <a:pt x="946559" y="2710568"/>
                </a:lnTo>
                <a:lnTo>
                  <a:pt x="934815" y="2684718"/>
                </a:lnTo>
                <a:cubicBezTo>
                  <a:pt x="934815" y="2684718"/>
                  <a:pt x="937165" y="2680017"/>
                  <a:pt x="939515" y="2677665"/>
                </a:cubicBezTo>
                <a:close/>
                <a:moveTo>
                  <a:pt x="991185" y="2672967"/>
                </a:moveTo>
                <a:lnTo>
                  <a:pt x="984138" y="2675316"/>
                </a:lnTo>
                <a:lnTo>
                  <a:pt x="986487" y="2684716"/>
                </a:lnTo>
                <a:lnTo>
                  <a:pt x="991185" y="2694115"/>
                </a:lnTo>
                <a:lnTo>
                  <a:pt x="998229" y="2684716"/>
                </a:lnTo>
                <a:lnTo>
                  <a:pt x="993535" y="2675316"/>
                </a:lnTo>
                <a:cubicBezTo>
                  <a:pt x="993535" y="2675316"/>
                  <a:pt x="991185" y="2672967"/>
                  <a:pt x="991185" y="2672967"/>
                </a:cubicBezTo>
                <a:close/>
                <a:moveTo>
                  <a:pt x="669397" y="2670632"/>
                </a:moveTo>
                <a:lnTo>
                  <a:pt x="674098" y="2672983"/>
                </a:lnTo>
                <a:lnTo>
                  <a:pt x="669397" y="2680033"/>
                </a:lnTo>
                <a:lnTo>
                  <a:pt x="664705" y="2672983"/>
                </a:lnTo>
                <a:close/>
                <a:moveTo>
                  <a:pt x="5641749" y="2670568"/>
                </a:moveTo>
                <a:cubicBezTo>
                  <a:pt x="5641749" y="2672918"/>
                  <a:pt x="5641749" y="2672918"/>
                  <a:pt x="5639400" y="2675267"/>
                </a:cubicBezTo>
                <a:cubicBezTo>
                  <a:pt x="5641749" y="2675267"/>
                  <a:pt x="5641749" y="2675267"/>
                  <a:pt x="5644097" y="2672918"/>
                </a:cubicBezTo>
                <a:cubicBezTo>
                  <a:pt x="5644097" y="2670568"/>
                  <a:pt x="5644097" y="2670568"/>
                  <a:pt x="5644097" y="2670568"/>
                </a:cubicBezTo>
                <a:cubicBezTo>
                  <a:pt x="5641749" y="2670568"/>
                  <a:pt x="5641749" y="2670568"/>
                  <a:pt x="5641749" y="2670568"/>
                </a:cubicBezTo>
                <a:close/>
                <a:moveTo>
                  <a:pt x="312386" y="2668269"/>
                </a:moveTo>
                <a:lnTo>
                  <a:pt x="321783" y="2675318"/>
                </a:lnTo>
                <a:lnTo>
                  <a:pt x="326484" y="2684719"/>
                </a:lnTo>
                <a:lnTo>
                  <a:pt x="326484" y="2694120"/>
                </a:lnTo>
                <a:cubicBezTo>
                  <a:pt x="326484" y="2694120"/>
                  <a:pt x="324134" y="2696469"/>
                  <a:pt x="321783" y="2698820"/>
                </a:cubicBezTo>
                <a:lnTo>
                  <a:pt x="312386" y="2696469"/>
                </a:lnTo>
                <a:lnTo>
                  <a:pt x="310041" y="2694120"/>
                </a:lnTo>
                <a:lnTo>
                  <a:pt x="307691" y="2684719"/>
                </a:lnTo>
                <a:lnTo>
                  <a:pt x="305341" y="2675318"/>
                </a:lnTo>
                <a:close/>
                <a:moveTo>
                  <a:pt x="5747444" y="2663521"/>
                </a:moveTo>
                <a:lnTo>
                  <a:pt x="5747444" y="2672918"/>
                </a:lnTo>
                <a:lnTo>
                  <a:pt x="5754490" y="2670568"/>
                </a:lnTo>
                <a:close/>
                <a:moveTo>
                  <a:pt x="1893101" y="2658824"/>
                </a:moveTo>
                <a:cubicBezTo>
                  <a:pt x="1886053" y="2665871"/>
                  <a:pt x="1879008" y="2670569"/>
                  <a:pt x="1871960" y="2677615"/>
                </a:cubicBezTo>
                <a:cubicBezTo>
                  <a:pt x="1883704" y="2689360"/>
                  <a:pt x="1900146" y="2658824"/>
                  <a:pt x="1893101" y="2658824"/>
                </a:cubicBezTo>
                <a:close/>
                <a:moveTo>
                  <a:pt x="991185" y="2656517"/>
                </a:moveTo>
                <a:cubicBezTo>
                  <a:pt x="993535" y="2656517"/>
                  <a:pt x="993535" y="2656517"/>
                  <a:pt x="993535" y="2656517"/>
                </a:cubicBezTo>
                <a:cubicBezTo>
                  <a:pt x="1000578" y="2658866"/>
                  <a:pt x="1009973" y="2658866"/>
                  <a:pt x="1017020" y="2661216"/>
                </a:cubicBezTo>
                <a:lnTo>
                  <a:pt x="1021720" y="2670617"/>
                </a:lnTo>
                <a:lnTo>
                  <a:pt x="1021720" y="2675316"/>
                </a:lnTo>
                <a:cubicBezTo>
                  <a:pt x="1021720" y="2675316"/>
                  <a:pt x="1028765" y="2672967"/>
                  <a:pt x="1031113" y="2672967"/>
                </a:cubicBezTo>
                <a:lnTo>
                  <a:pt x="1028765" y="2663565"/>
                </a:lnTo>
                <a:cubicBezTo>
                  <a:pt x="1103926" y="2684716"/>
                  <a:pt x="1167346" y="2731714"/>
                  <a:pt x="1186134" y="2788081"/>
                </a:cubicBezTo>
                <a:cubicBezTo>
                  <a:pt x="1230759" y="2896100"/>
                  <a:pt x="1181439" y="2987696"/>
                  <a:pt x="1153254" y="3004133"/>
                </a:cubicBezTo>
                <a:cubicBezTo>
                  <a:pt x="1092183" y="3044057"/>
                  <a:pt x="1026415" y="3018229"/>
                  <a:pt x="993535" y="2992391"/>
                </a:cubicBezTo>
                <a:cubicBezTo>
                  <a:pt x="963000" y="2961866"/>
                  <a:pt x="960652" y="2950123"/>
                  <a:pt x="960652" y="2917239"/>
                </a:cubicBezTo>
                <a:cubicBezTo>
                  <a:pt x="941860" y="2882013"/>
                  <a:pt x="1012322" y="2820951"/>
                  <a:pt x="1101576" y="2856179"/>
                </a:cubicBezTo>
                <a:cubicBezTo>
                  <a:pt x="1092183" y="2811555"/>
                  <a:pt x="1052255" y="2762248"/>
                  <a:pt x="988835" y="2748154"/>
                </a:cubicBezTo>
                <a:cubicBezTo>
                  <a:pt x="977092" y="2743465"/>
                  <a:pt x="960652" y="2743465"/>
                  <a:pt x="946558" y="2743465"/>
                </a:cubicBezTo>
                <a:cubicBezTo>
                  <a:pt x="948907" y="2741113"/>
                  <a:pt x="948907" y="2736413"/>
                  <a:pt x="953607" y="2729362"/>
                </a:cubicBezTo>
                <a:cubicBezTo>
                  <a:pt x="958302" y="2731714"/>
                  <a:pt x="960652" y="2731714"/>
                  <a:pt x="963000" y="2734061"/>
                </a:cubicBezTo>
                <a:lnTo>
                  <a:pt x="960652" y="2727016"/>
                </a:lnTo>
                <a:cubicBezTo>
                  <a:pt x="960652" y="2727016"/>
                  <a:pt x="963000" y="2724665"/>
                  <a:pt x="963000" y="2724665"/>
                </a:cubicBezTo>
                <a:lnTo>
                  <a:pt x="972394" y="2724665"/>
                </a:lnTo>
                <a:lnTo>
                  <a:pt x="981792" y="2724665"/>
                </a:lnTo>
                <a:cubicBezTo>
                  <a:pt x="981792" y="2724665"/>
                  <a:pt x="981792" y="2727016"/>
                  <a:pt x="981792" y="2727016"/>
                </a:cubicBezTo>
                <a:cubicBezTo>
                  <a:pt x="981792" y="2727016"/>
                  <a:pt x="981792" y="2729362"/>
                  <a:pt x="981792" y="2729362"/>
                </a:cubicBezTo>
                <a:lnTo>
                  <a:pt x="972394" y="2734061"/>
                </a:lnTo>
                <a:lnTo>
                  <a:pt x="963000" y="2736413"/>
                </a:lnTo>
                <a:cubicBezTo>
                  <a:pt x="974743" y="2741113"/>
                  <a:pt x="986487" y="2745810"/>
                  <a:pt x="1005277" y="2741113"/>
                </a:cubicBezTo>
                <a:cubicBezTo>
                  <a:pt x="1007627" y="2741113"/>
                  <a:pt x="1009973" y="2738764"/>
                  <a:pt x="1012322" y="2736413"/>
                </a:cubicBezTo>
                <a:cubicBezTo>
                  <a:pt x="993535" y="2719966"/>
                  <a:pt x="1002928" y="2727016"/>
                  <a:pt x="972394" y="2698818"/>
                </a:cubicBezTo>
                <a:cubicBezTo>
                  <a:pt x="965350" y="2691766"/>
                  <a:pt x="960652" y="2680017"/>
                  <a:pt x="960652" y="2668266"/>
                </a:cubicBezTo>
                <a:cubicBezTo>
                  <a:pt x="963000" y="2665916"/>
                  <a:pt x="986487" y="2661216"/>
                  <a:pt x="991185" y="2656517"/>
                </a:cubicBezTo>
                <a:close/>
                <a:moveTo>
                  <a:pt x="5738048" y="2651776"/>
                </a:moveTo>
                <a:lnTo>
                  <a:pt x="5733351" y="2661172"/>
                </a:lnTo>
                <a:lnTo>
                  <a:pt x="5745095" y="2661172"/>
                </a:lnTo>
                <a:cubicBezTo>
                  <a:pt x="5742746" y="2654126"/>
                  <a:pt x="5742746" y="2651776"/>
                  <a:pt x="5742746" y="2651776"/>
                </a:cubicBezTo>
                <a:cubicBezTo>
                  <a:pt x="5742746" y="2651776"/>
                  <a:pt x="5740397" y="2651776"/>
                  <a:pt x="5738048" y="2651776"/>
                </a:cubicBezTo>
                <a:close/>
                <a:moveTo>
                  <a:pt x="4488497" y="2651776"/>
                </a:moveTo>
                <a:cubicBezTo>
                  <a:pt x="4481450" y="2665871"/>
                  <a:pt x="4476753" y="2677615"/>
                  <a:pt x="4488497" y="2684662"/>
                </a:cubicBezTo>
                <a:cubicBezTo>
                  <a:pt x="4504938" y="2679965"/>
                  <a:pt x="4497892" y="2661172"/>
                  <a:pt x="4488497" y="2651776"/>
                </a:cubicBezTo>
                <a:close/>
                <a:moveTo>
                  <a:pt x="5747444" y="2644730"/>
                </a:moveTo>
                <a:cubicBezTo>
                  <a:pt x="5752141" y="2651776"/>
                  <a:pt x="5749792" y="2654126"/>
                  <a:pt x="5763885" y="2654126"/>
                </a:cubicBezTo>
                <a:cubicBezTo>
                  <a:pt x="5759187" y="2647078"/>
                  <a:pt x="5761536" y="2654126"/>
                  <a:pt x="5763885" y="2644730"/>
                </a:cubicBezTo>
                <a:close/>
                <a:moveTo>
                  <a:pt x="4764986" y="2641196"/>
                </a:moveTo>
                <a:cubicBezTo>
                  <a:pt x="4751248" y="2645161"/>
                  <a:pt x="4735559" y="2661759"/>
                  <a:pt x="4742165" y="2677615"/>
                </a:cubicBezTo>
                <a:cubicBezTo>
                  <a:pt x="4751560" y="2668219"/>
                  <a:pt x="4775048" y="2679965"/>
                  <a:pt x="4782094" y="2661172"/>
                </a:cubicBezTo>
                <a:lnTo>
                  <a:pt x="4778780" y="2648209"/>
                </a:lnTo>
                <a:lnTo>
                  <a:pt x="4777397" y="2647078"/>
                </a:lnTo>
                <a:lnTo>
                  <a:pt x="4778195" y="2645925"/>
                </a:lnTo>
                <a:lnTo>
                  <a:pt x="4777176" y="2641939"/>
                </a:lnTo>
                <a:cubicBezTo>
                  <a:pt x="4773928" y="2639957"/>
                  <a:pt x="4769566" y="2639875"/>
                  <a:pt x="4764986" y="2641196"/>
                </a:cubicBezTo>
                <a:close/>
                <a:moveTo>
                  <a:pt x="4789141" y="2630634"/>
                </a:moveTo>
                <a:lnTo>
                  <a:pt x="4789140" y="2630635"/>
                </a:lnTo>
                <a:lnTo>
                  <a:pt x="4789141" y="2630636"/>
                </a:lnTo>
                <a:lnTo>
                  <a:pt x="4789141" y="2630635"/>
                </a:lnTo>
                <a:close/>
                <a:moveTo>
                  <a:pt x="4439172" y="2623588"/>
                </a:moveTo>
                <a:cubicBezTo>
                  <a:pt x="4422731" y="2647078"/>
                  <a:pt x="4453265" y="2665871"/>
                  <a:pt x="4472055" y="2658824"/>
                </a:cubicBezTo>
                <a:cubicBezTo>
                  <a:pt x="4479102" y="2647078"/>
                  <a:pt x="4472055" y="2642380"/>
                  <a:pt x="4476753" y="2632984"/>
                </a:cubicBezTo>
                <a:cubicBezTo>
                  <a:pt x="4460311" y="2621239"/>
                  <a:pt x="4453265" y="2628285"/>
                  <a:pt x="4439172" y="2623588"/>
                </a:cubicBezTo>
                <a:close/>
                <a:moveTo>
                  <a:pt x="4286649" y="2623184"/>
                </a:moveTo>
                <a:cubicBezTo>
                  <a:pt x="4285621" y="2622853"/>
                  <a:pt x="4284153" y="2624175"/>
                  <a:pt x="4281804" y="2628285"/>
                </a:cubicBezTo>
                <a:cubicBezTo>
                  <a:pt x="4286502" y="2628285"/>
                  <a:pt x="4281804" y="2656474"/>
                  <a:pt x="4295897" y="2640031"/>
                </a:cubicBezTo>
                <a:cubicBezTo>
                  <a:pt x="4288851" y="2640031"/>
                  <a:pt x="4289731" y="2624175"/>
                  <a:pt x="4286649" y="2623184"/>
                </a:cubicBezTo>
                <a:close/>
                <a:moveTo>
                  <a:pt x="5705166" y="2621239"/>
                </a:moveTo>
                <a:lnTo>
                  <a:pt x="5700468" y="2628286"/>
                </a:lnTo>
                <a:lnTo>
                  <a:pt x="5707514" y="2630635"/>
                </a:lnTo>
                <a:lnTo>
                  <a:pt x="5712212" y="2623587"/>
                </a:lnTo>
                <a:close/>
                <a:moveTo>
                  <a:pt x="4813216" y="2605971"/>
                </a:moveTo>
                <a:lnTo>
                  <a:pt x="4800885" y="2616541"/>
                </a:lnTo>
                <a:lnTo>
                  <a:pt x="4795567" y="2615212"/>
                </a:lnTo>
                <a:lnTo>
                  <a:pt x="4792364" y="2622899"/>
                </a:lnTo>
                <a:lnTo>
                  <a:pt x="4793838" y="2628286"/>
                </a:lnTo>
                <a:cubicBezTo>
                  <a:pt x="4791489" y="2628286"/>
                  <a:pt x="4791489" y="2625937"/>
                  <a:pt x="4791489" y="2630635"/>
                </a:cubicBezTo>
                <a:lnTo>
                  <a:pt x="4791464" y="2631188"/>
                </a:lnTo>
                <a:lnTo>
                  <a:pt x="4813803" y="2636508"/>
                </a:lnTo>
                <a:lnTo>
                  <a:pt x="4826073" y="2630780"/>
                </a:lnTo>
                <a:lnTo>
                  <a:pt x="4825474" y="2629828"/>
                </a:lnTo>
                <a:cubicBezTo>
                  <a:pt x="4823932" y="2629314"/>
                  <a:pt x="4820849" y="2628874"/>
                  <a:pt x="4814977" y="2628286"/>
                </a:cubicBezTo>
                <a:lnTo>
                  <a:pt x="4814977" y="2618890"/>
                </a:lnTo>
                <a:cubicBezTo>
                  <a:pt x="4814977" y="2614192"/>
                  <a:pt x="4815565" y="2613018"/>
                  <a:pt x="4816739" y="2612430"/>
                </a:cubicBezTo>
                <a:lnTo>
                  <a:pt x="4822024" y="2609495"/>
                </a:lnTo>
                <a:lnTo>
                  <a:pt x="4822023" y="2609492"/>
                </a:lnTo>
                <a:lnTo>
                  <a:pt x="4821195" y="2608251"/>
                </a:lnTo>
                <a:close/>
                <a:moveTo>
                  <a:pt x="873747" y="2602467"/>
                </a:moveTo>
                <a:lnTo>
                  <a:pt x="876095" y="2609548"/>
                </a:lnTo>
                <a:lnTo>
                  <a:pt x="876095" y="2611897"/>
                </a:lnTo>
                <a:cubicBezTo>
                  <a:pt x="876095" y="2611897"/>
                  <a:pt x="873747" y="2611897"/>
                  <a:pt x="873747" y="2611897"/>
                </a:cubicBezTo>
                <a:lnTo>
                  <a:pt x="869052" y="2609548"/>
                </a:lnTo>
                <a:close/>
                <a:moveTo>
                  <a:pt x="3577171" y="2571910"/>
                </a:moveTo>
                <a:cubicBezTo>
                  <a:pt x="3565427" y="2588353"/>
                  <a:pt x="3579519" y="2597748"/>
                  <a:pt x="3588915" y="2604796"/>
                </a:cubicBezTo>
                <a:cubicBezTo>
                  <a:pt x="3593612" y="2593051"/>
                  <a:pt x="3600658" y="2595401"/>
                  <a:pt x="3605356" y="2583655"/>
                </a:cubicBezTo>
                <a:cubicBezTo>
                  <a:pt x="3595962" y="2578957"/>
                  <a:pt x="3586566" y="2576607"/>
                  <a:pt x="3577171" y="2571910"/>
                </a:cubicBezTo>
                <a:close/>
                <a:moveTo>
                  <a:pt x="1348182" y="2553119"/>
                </a:moveTo>
                <a:lnTo>
                  <a:pt x="1338790" y="2564863"/>
                </a:lnTo>
                <a:lnTo>
                  <a:pt x="1348182" y="2571910"/>
                </a:lnTo>
                <a:lnTo>
                  <a:pt x="1355228" y="2564863"/>
                </a:lnTo>
                <a:lnTo>
                  <a:pt x="1350532" y="2555466"/>
                </a:lnTo>
                <a:cubicBezTo>
                  <a:pt x="1350532" y="2555466"/>
                  <a:pt x="1348182" y="2553119"/>
                  <a:pt x="1348182" y="2553119"/>
                </a:cubicBezTo>
                <a:close/>
                <a:moveTo>
                  <a:pt x="4497892" y="2546071"/>
                </a:moveTo>
                <a:cubicBezTo>
                  <a:pt x="4493194" y="2553119"/>
                  <a:pt x="4483799" y="2550769"/>
                  <a:pt x="4479102" y="2557816"/>
                </a:cubicBezTo>
                <a:cubicBezTo>
                  <a:pt x="4486148" y="2564863"/>
                  <a:pt x="4486148" y="2571910"/>
                  <a:pt x="4500241" y="2574260"/>
                </a:cubicBezTo>
                <a:cubicBezTo>
                  <a:pt x="4507287" y="2560165"/>
                  <a:pt x="4507287" y="2550769"/>
                  <a:pt x="4497892" y="2546071"/>
                </a:cubicBezTo>
                <a:close/>
                <a:moveTo>
                  <a:pt x="1620641" y="2546071"/>
                </a:moveTo>
                <a:cubicBezTo>
                  <a:pt x="1620641" y="2548420"/>
                  <a:pt x="1620641" y="2550769"/>
                  <a:pt x="1618291" y="2553119"/>
                </a:cubicBezTo>
                <a:lnTo>
                  <a:pt x="1625342" y="2550769"/>
                </a:lnTo>
                <a:cubicBezTo>
                  <a:pt x="1625342" y="2550769"/>
                  <a:pt x="1625342" y="2548420"/>
                  <a:pt x="1625342" y="2548420"/>
                </a:cubicBezTo>
                <a:close/>
                <a:moveTo>
                  <a:pt x="1406903" y="2543721"/>
                </a:moveTo>
                <a:lnTo>
                  <a:pt x="1399856" y="2546071"/>
                </a:lnTo>
                <a:cubicBezTo>
                  <a:pt x="1399856" y="2546071"/>
                  <a:pt x="1397510" y="2550769"/>
                  <a:pt x="1397510" y="2553119"/>
                </a:cubicBezTo>
                <a:lnTo>
                  <a:pt x="1402205" y="2564863"/>
                </a:lnTo>
                <a:lnTo>
                  <a:pt x="1406903" y="2569561"/>
                </a:lnTo>
                <a:lnTo>
                  <a:pt x="1416296" y="2567212"/>
                </a:lnTo>
                <a:lnTo>
                  <a:pt x="1413948" y="2553119"/>
                </a:lnTo>
                <a:lnTo>
                  <a:pt x="1409253" y="2546071"/>
                </a:lnTo>
                <a:cubicBezTo>
                  <a:pt x="1409253" y="2546071"/>
                  <a:pt x="1406903" y="2543721"/>
                  <a:pt x="1406903" y="2543721"/>
                </a:cubicBezTo>
                <a:close/>
                <a:moveTo>
                  <a:pt x="3678058" y="2542915"/>
                </a:moveTo>
                <a:cubicBezTo>
                  <a:pt x="3677728" y="2539171"/>
                  <a:pt x="3676407" y="2551943"/>
                  <a:pt x="3671122" y="2555466"/>
                </a:cubicBezTo>
                <a:cubicBezTo>
                  <a:pt x="3666424" y="2618890"/>
                  <a:pt x="3682866" y="2574260"/>
                  <a:pt x="3678169" y="2553119"/>
                </a:cubicBezTo>
                <a:cubicBezTo>
                  <a:pt x="3678169" y="2547246"/>
                  <a:pt x="3678169" y="2544162"/>
                  <a:pt x="3678058" y="2542915"/>
                </a:cubicBezTo>
                <a:close/>
                <a:moveTo>
                  <a:pt x="908979" y="2536725"/>
                </a:moveTo>
                <a:cubicBezTo>
                  <a:pt x="911325" y="2539076"/>
                  <a:pt x="913674" y="2539076"/>
                  <a:pt x="918372" y="2539076"/>
                </a:cubicBezTo>
                <a:cubicBezTo>
                  <a:pt x="918372" y="2539076"/>
                  <a:pt x="916023" y="2546123"/>
                  <a:pt x="916023" y="2548473"/>
                </a:cubicBezTo>
                <a:lnTo>
                  <a:pt x="937160" y="2569615"/>
                </a:lnTo>
                <a:cubicBezTo>
                  <a:pt x="939510" y="2571964"/>
                  <a:pt x="944209" y="2571964"/>
                  <a:pt x="944209" y="2574314"/>
                </a:cubicBezTo>
                <a:cubicBezTo>
                  <a:pt x="946558" y="2579009"/>
                  <a:pt x="937160" y="2586054"/>
                  <a:pt x="939510" y="2590752"/>
                </a:cubicBezTo>
                <a:cubicBezTo>
                  <a:pt x="939510" y="2593101"/>
                  <a:pt x="941860" y="2593101"/>
                  <a:pt x="944209" y="2595453"/>
                </a:cubicBezTo>
                <a:cubicBezTo>
                  <a:pt x="944209" y="2595453"/>
                  <a:pt x="946558" y="2597807"/>
                  <a:pt x="946558" y="2597807"/>
                </a:cubicBezTo>
                <a:cubicBezTo>
                  <a:pt x="939510" y="2597807"/>
                  <a:pt x="930116" y="2600146"/>
                  <a:pt x="923072" y="2600146"/>
                </a:cubicBezTo>
                <a:cubicBezTo>
                  <a:pt x="920722" y="2600146"/>
                  <a:pt x="920722" y="2600146"/>
                  <a:pt x="920722" y="2600146"/>
                </a:cubicBezTo>
                <a:lnTo>
                  <a:pt x="908979" y="2574314"/>
                </a:lnTo>
                <a:lnTo>
                  <a:pt x="899581" y="2557869"/>
                </a:lnTo>
                <a:close/>
                <a:moveTo>
                  <a:pt x="4427796" y="2532004"/>
                </a:moveTo>
                <a:cubicBezTo>
                  <a:pt x="4425410" y="2536455"/>
                  <a:pt x="4437704" y="2565450"/>
                  <a:pt x="4450916" y="2574260"/>
                </a:cubicBezTo>
                <a:cubicBezTo>
                  <a:pt x="4448567" y="2571910"/>
                  <a:pt x="4446219" y="2567212"/>
                  <a:pt x="4450916" y="2560165"/>
                </a:cubicBezTo>
                <a:cubicBezTo>
                  <a:pt x="4435943" y="2535501"/>
                  <a:pt x="4429227" y="2529334"/>
                  <a:pt x="4427796" y="2532004"/>
                </a:cubicBezTo>
                <a:close/>
                <a:moveTo>
                  <a:pt x="5773280" y="2531977"/>
                </a:moveTo>
                <a:lnTo>
                  <a:pt x="5773280" y="2541373"/>
                </a:lnTo>
                <a:cubicBezTo>
                  <a:pt x="5773280" y="2555467"/>
                  <a:pt x="5773280" y="2543722"/>
                  <a:pt x="5775629" y="2550769"/>
                </a:cubicBezTo>
                <a:cubicBezTo>
                  <a:pt x="5789721" y="2541373"/>
                  <a:pt x="5775629" y="2546071"/>
                  <a:pt x="5789721" y="2541373"/>
                </a:cubicBezTo>
                <a:cubicBezTo>
                  <a:pt x="5782675" y="2531977"/>
                  <a:pt x="5785024" y="2539024"/>
                  <a:pt x="5773280" y="2531977"/>
                </a:cubicBezTo>
                <a:close/>
                <a:moveTo>
                  <a:pt x="5792070" y="2522581"/>
                </a:moveTo>
                <a:lnTo>
                  <a:pt x="5785024" y="2529628"/>
                </a:lnTo>
                <a:lnTo>
                  <a:pt x="5792070" y="2531977"/>
                </a:lnTo>
                <a:lnTo>
                  <a:pt x="5796768" y="2529628"/>
                </a:lnTo>
                <a:close/>
                <a:moveTo>
                  <a:pt x="4723375" y="2522580"/>
                </a:moveTo>
                <a:cubicBezTo>
                  <a:pt x="4695189" y="2539024"/>
                  <a:pt x="4713980" y="2539024"/>
                  <a:pt x="4692840" y="2564863"/>
                </a:cubicBezTo>
                <a:cubicBezTo>
                  <a:pt x="4718677" y="2581307"/>
                  <a:pt x="4737467" y="2593051"/>
                  <a:pt x="4753909" y="2562514"/>
                </a:cubicBezTo>
                <a:cubicBezTo>
                  <a:pt x="4751560" y="2546071"/>
                  <a:pt x="4749211" y="2529628"/>
                  <a:pt x="4723375" y="2522580"/>
                </a:cubicBezTo>
                <a:close/>
                <a:moveTo>
                  <a:pt x="3753329" y="2517883"/>
                </a:moveTo>
                <a:cubicBezTo>
                  <a:pt x="3739236" y="2574260"/>
                  <a:pt x="3673471" y="2630635"/>
                  <a:pt x="3659378" y="2717548"/>
                </a:cubicBezTo>
                <a:cubicBezTo>
                  <a:pt x="3645285" y="2715199"/>
                  <a:pt x="3661727" y="2698757"/>
                  <a:pt x="3649983" y="2694058"/>
                </a:cubicBezTo>
                <a:cubicBezTo>
                  <a:pt x="3628844" y="2701106"/>
                  <a:pt x="3645285" y="2719897"/>
                  <a:pt x="3638239" y="2736337"/>
                </a:cubicBezTo>
                <a:cubicBezTo>
                  <a:pt x="3619449" y="2738688"/>
                  <a:pt x="3607706" y="2759827"/>
                  <a:pt x="3591263" y="2771565"/>
                </a:cubicBezTo>
                <a:cubicBezTo>
                  <a:pt x="3607706" y="2860812"/>
                  <a:pt x="3509056" y="3018196"/>
                  <a:pt x="3502010" y="3121535"/>
                </a:cubicBezTo>
                <a:cubicBezTo>
                  <a:pt x="3494963" y="3116843"/>
                  <a:pt x="3497312" y="3109793"/>
                  <a:pt x="3487917" y="3107447"/>
                </a:cubicBezTo>
                <a:cubicBezTo>
                  <a:pt x="3490266" y="3114494"/>
                  <a:pt x="3492615" y="3121535"/>
                  <a:pt x="3494963" y="3128585"/>
                </a:cubicBezTo>
                <a:cubicBezTo>
                  <a:pt x="3494963" y="3128585"/>
                  <a:pt x="3492615" y="3130933"/>
                  <a:pt x="3492615" y="3130933"/>
                </a:cubicBezTo>
                <a:cubicBezTo>
                  <a:pt x="3494963" y="3133283"/>
                  <a:pt x="3494963" y="3133283"/>
                  <a:pt x="3497312" y="3135632"/>
                </a:cubicBezTo>
                <a:cubicBezTo>
                  <a:pt x="3499661" y="3149725"/>
                  <a:pt x="3504359" y="3163819"/>
                  <a:pt x="3506708" y="3177914"/>
                </a:cubicBezTo>
                <a:cubicBezTo>
                  <a:pt x="3506708" y="3180267"/>
                  <a:pt x="3506708" y="3180267"/>
                  <a:pt x="3506708" y="3182612"/>
                </a:cubicBezTo>
                <a:cubicBezTo>
                  <a:pt x="3506708" y="3187311"/>
                  <a:pt x="3509056" y="3194356"/>
                  <a:pt x="3509056" y="3199053"/>
                </a:cubicBezTo>
                <a:cubicBezTo>
                  <a:pt x="3511405" y="3201403"/>
                  <a:pt x="3511405" y="3206100"/>
                  <a:pt x="3511405" y="3208446"/>
                </a:cubicBezTo>
                <a:cubicBezTo>
                  <a:pt x="3513754" y="3213146"/>
                  <a:pt x="3513754" y="3217847"/>
                  <a:pt x="3513754" y="3222544"/>
                </a:cubicBezTo>
                <a:cubicBezTo>
                  <a:pt x="3516102" y="3227241"/>
                  <a:pt x="3516102" y="3229593"/>
                  <a:pt x="3516102" y="3234289"/>
                </a:cubicBezTo>
                <a:cubicBezTo>
                  <a:pt x="3516102" y="3238992"/>
                  <a:pt x="3516102" y="3243691"/>
                  <a:pt x="3516102" y="3248384"/>
                </a:cubicBezTo>
                <a:cubicBezTo>
                  <a:pt x="3516102" y="3253091"/>
                  <a:pt x="3516102" y="3257791"/>
                  <a:pt x="3516102" y="3262494"/>
                </a:cubicBezTo>
                <a:cubicBezTo>
                  <a:pt x="3516102" y="3267196"/>
                  <a:pt x="3516102" y="3269552"/>
                  <a:pt x="3516102" y="3274248"/>
                </a:cubicBezTo>
                <a:cubicBezTo>
                  <a:pt x="3516102" y="3278939"/>
                  <a:pt x="3516102" y="3285961"/>
                  <a:pt x="3516102" y="3290651"/>
                </a:cubicBezTo>
                <a:cubicBezTo>
                  <a:pt x="3516102" y="3292983"/>
                  <a:pt x="3516102" y="3297674"/>
                  <a:pt x="3516102" y="3300006"/>
                </a:cubicBezTo>
                <a:cubicBezTo>
                  <a:pt x="3513754" y="3307040"/>
                  <a:pt x="3513754" y="3316463"/>
                  <a:pt x="3513754" y="3323513"/>
                </a:cubicBezTo>
                <a:cubicBezTo>
                  <a:pt x="3546636" y="3342305"/>
                  <a:pt x="3520800" y="3424477"/>
                  <a:pt x="3560729" y="3457360"/>
                </a:cubicBezTo>
                <a:cubicBezTo>
                  <a:pt x="3607706" y="3335256"/>
                  <a:pt x="3588915" y="3267196"/>
                  <a:pt x="3645285" y="3184961"/>
                </a:cubicBezTo>
                <a:cubicBezTo>
                  <a:pt x="3638239" y="3170868"/>
                  <a:pt x="3633542" y="3154423"/>
                  <a:pt x="3631192" y="3137983"/>
                </a:cubicBezTo>
                <a:cubicBezTo>
                  <a:pt x="3673471" y="3027584"/>
                  <a:pt x="3706353" y="2926587"/>
                  <a:pt x="3711051" y="2806791"/>
                </a:cubicBezTo>
                <a:cubicBezTo>
                  <a:pt x="3715749" y="2708153"/>
                  <a:pt x="3750980" y="2623588"/>
                  <a:pt x="3774468" y="2534325"/>
                </a:cubicBezTo>
                <a:cubicBezTo>
                  <a:pt x="3736888" y="2539024"/>
                  <a:pt x="3774468" y="2531978"/>
                  <a:pt x="3753329" y="2517883"/>
                </a:cubicBezTo>
                <a:close/>
                <a:moveTo>
                  <a:pt x="5787373" y="2513185"/>
                </a:moveTo>
                <a:lnTo>
                  <a:pt x="5794419" y="2520231"/>
                </a:lnTo>
                <a:lnTo>
                  <a:pt x="5794419" y="2513185"/>
                </a:lnTo>
                <a:close/>
                <a:moveTo>
                  <a:pt x="1407885" y="2510837"/>
                </a:moveTo>
                <a:lnTo>
                  <a:pt x="1409253" y="2510837"/>
                </a:lnTo>
                <a:cubicBezTo>
                  <a:pt x="1409253" y="2510837"/>
                  <a:pt x="1411603" y="2513184"/>
                  <a:pt x="1411603" y="2513184"/>
                </a:cubicBezTo>
                <a:lnTo>
                  <a:pt x="1410811" y="2515551"/>
                </a:lnTo>
                <a:close/>
                <a:moveTo>
                  <a:pt x="5813209" y="2501440"/>
                </a:moveTo>
                <a:lnTo>
                  <a:pt x="5806163" y="2508487"/>
                </a:lnTo>
                <a:lnTo>
                  <a:pt x="5813209" y="2508487"/>
                </a:lnTo>
                <a:close/>
                <a:moveTo>
                  <a:pt x="4434475" y="2499091"/>
                </a:moveTo>
                <a:cubicBezTo>
                  <a:pt x="4450916" y="2517883"/>
                  <a:pt x="4455614" y="2569561"/>
                  <a:pt x="4481450" y="2564863"/>
                </a:cubicBezTo>
                <a:cubicBezTo>
                  <a:pt x="4460311" y="2548420"/>
                  <a:pt x="4453265" y="2501439"/>
                  <a:pt x="4434475" y="2499091"/>
                </a:cubicBezTo>
                <a:close/>
                <a:moveTo>
                  <a:pt x="899583" y="2496789"/>
                </a:moveTo>
                <a:lnTo>
                  <a:pt x="904280" y="2499139"/>
                </a:lnTo>
                <a:lnTo>
                  <a:pt x="899583" y="2506186"/>
                </a:lnTo>
                <a:lnTo>
                  <a:pt x="894887" y="2499139"/>
                </a:lnTo>
                <a:close/>
                <a:moveTo>
                  <a:pt x="1598327" y="2495567"/>
                </a:moveTo>
                <a:cubicBezTo>
                  <a:pt x="1597157" y="2493805"/>
                  <a:pt x="1595978" y="2493218"/>
                  <a:pt x="1592456" y="2496742"/>
                </a:cubicBezTo>
                <a:cubicBezTo>
                  <a:pt x="1590107" y="2501439"/>
                  <a:pt x="1599502" y="2506137"/>
                  <a:pt x="1604199" y="2501439"/>
                </a:cubicBezTo>
                <a:cubicBezTo>
                  <a:pt x="1600678" y="2500265"/>
                  <a:pt x="1599502" y="2497329"/>
                  <a:pt x="1598327" y="2495567"/>
                </a:cubicBezTo>
                <a:close/>
                <a:moveTo>
                  <a:pt x="1153236" y="2487345"/>
                </a:moveTo>
                <a:lnTo>
                  <a:pt x="1148537" y="2494392"/>
                </a:lnTo>
                <a:lnTo>
                  <a:pt x="1153236" y="2499091"/>
                </a:lnTo>
                <a:lnTo>
                  <a:pt x="1162629" y="2494392"/>
                </a:lnTo>
                <a:close/>
                <a:moveTo>
                  <a:pt x="5792070" y="2482648"/>
                </a:moveTo>
                <a:lnTo>
                  <a:pt x="5785024" y="2489695"/>
                </a:lnTo>
                <a:lnTo>
                  <a:pt x="5792070" y="2492044"/>
                </a:lnTo>
                <a:lnTo>
                  <a:pt x="5796768" y="2489695"/>
                </a:lnTo>
                <a:close/>
                <a:moveTo>
                  <a:pt x="3773478" y="2475711"/>
                </a:moveTo>
                <a:cubicBezTo>
                  <a:pt x="3771386" y="2475013"/>
                  <a:pt x="3768597" y="2476188"/>
                  <a:pt x="3765073" y="2480298"/>
                </a:cubicBezTo>
                <a:cubicBezTo>
                  <a:pt x="3774468" y="2484996"/>
                  <a:pt x="3760375" y="2499091"/>
                  <a:pt x="3774468" y="2503789"/>
                </a:cubicBezTo>
                <a:cubicBezTo>
                  <a:pt x="3779754" y="2496742"/>
                  <a:pt x="3779754" y="2477803"/>
                  <a:pt x="3773478" y="2475711"/>
                </a:cubicBezTo>
                <a:close/>
                <a:moveTo>
                  <a:pt x="5599470" y="2475601"/>
                </a:moveTo>
                <a:cubicBezTo>
                  <a:pt x="5594773" y="2482648"/>
                  <a:pt x="5601819" y="2475601"/>
                  <a:pt x="5597122" y="2482648"/>
                </a:cubicBezTo>
                <a:cubicBezTo>
                  <a:pt x="5594773" y="2487346"/>
                  <a:pt x="5592424" y="2482648"/>
                  <a:pt x="5592424" y="2492044"/>
                </a:cubicBezTo>
                <a:cubicBezTo>
                  <a:pt x="5583029" y="2496742"/>
                  <a:pt x="5583029" y="2496742"/>
                  <a:pt x="5573634" y="2503789"/>
                </a:cubicBezTo>
                <a:cubicBezTo>
                  <a:pt x="5573634" y="2513185"/>
                  <a:pt x="5573634" y="2513185"/>
                  <a:pt x="5573634" y="2522581"/>
                </a:cubicBezTo>
                <a:cubicBezTo>
                  <a:pt x="5573634" y="2524930"/>
                  <a:pt x="5573634" y="2524930"/>
                  <a:pt x="5568936" y="2527279"/>
                </a:cubicBezTo>
                <a:cubicBezTo>
                  <a:pt x="5568936" y="2536676"/>
                  <a:pt x="5561890" y="2536676"/>
                  <a:pt x="5561890" y="2541373"/>
                </a:cubicBezTo>
                <a:cubicBezTo>
                  <a:pt x="5561890" y="2548419"/>
                  <a:pt x="5564239" y="2564863"/>
                  <a:pt x="5571285" y="2564863"/>
                </a:cubicBezTo>
                <a:cubicBezTo>
                  <a:pt x="5573634" y="2564863"/>
                  <a:pt x="5580680" y="2560164"/>
                  <a:pt x="5583029" y="2560164"/>
                </a:cubicBezTo>
                <a:cubicBezTo>
                  <a:pt x="5594773" y="2529628"/>
                  <a:pt x="5594773" y="2529628"/>
                  <a:pt x="5604168" y="2499090"/>
                </a:cubicBezTo>
                <a:cubicBezTo>
                  <a:pt x="5606517" y="2489695"/>
                  <a:pt x="5606517" y="2477949"/>
                  <a:pt x="5599470" y="2475601"/>
                </a:cubicBezTo>
                <a:close/>
                <a:moveTo>
                  <a:pt x="5808512" y="2466205"/>
                </a:moveTo>
                <a:lnTo>
                  <a:pt x="5801465" y="2473252"/>
                </a:lnTo>
                <a:lnTo>
                  <a:pt x="5808512" y="2475601"/>
                </a:lnTo>
                <a:lnTo>
                  <a:pt x="5813209" y="2473252"/>
                </a:lnTo>
                <a:close/>
                <a:moveTo>
                  <a:pt x="3194321" y="2463855"/>
                </a:moveTo>
                <a:cubicBezTo>
                  <a:pt x="3191971" y="2470902"/>
                  <a:pt x="3187274" y="2477949"/>
                  <a:pt x="3184925" y="2487345"/>
                </a:cubicBezTo>
                <a:cubicBezTo>
                  <a:pt x="3191971" y="2492043"/>
                  <a:pt x="3196668" y="2492043"/>
                  <a:pt x="3203715" y="2489695"/>
                </a:cubicBezTo>
                <a:cubicBezTo>
                  <a:pt x="3206063" y="2484996"/>
                  <a:pt x="3206063" y="2482647"/>
                  <a:pt x="3208412" y="2477949"/>
                </a:cubicBezTo>
                <a:cubicBezTo>
                  <a:pt x="3201366" y="2473251"/>
                  <a:pt x="3196668" y="2468554"/>
                  <a:pt x="3194321" y="2463855"/>
                </a:cubicBezTo>
                <a:close/>
                <a:moveTo>
                  <a:pt x="5857836" y="2454459"/>
                </a:moveTo>
                <a:lnTo>
                  <a:pt x="5850790" y="2461507"/>
                </a:lnTo>
                <a:lnTo>
                  <a:pt x="5862534" y="2461507"/>
                </a:lnTo>
                <a:close/>
                <a:moveTo>
                  <a:pt x="5766234" y="2454459"/>
                </a:moveTo>
                <a:lnTo>
                  <a:pt x="5759187" y="2461507"/>
                </a:lnTo>
                <a:lnTo>
                  <a:pt x="5770931" y="2461507"/>
                </a:lnTo>
                <a:close/>
                <a:moveTo>
                  <a:pt x="5794419" y="2449762"/>
                </a:moveTo>
                <a:lnTo>
                  <a:pt x="5794419" y="2456808"/>
                </a:lnTo>
                <a:lnTo>
                  <a:pt x="5803814" y="2456808"/>
                </a:lnTo>
                <a:lnTo>
                  <a:pt x="5799117" y="2463855"/>
                </a:lnTo>
                <a:lnTo>
                  <a:pt x="5806163" y="2463855"/>
                </a:lnTo>
                <a:lnTo>
                  <a:pt x="5806163" y="2456808"/>
                </a:lnTo>
                <a:lnTo>
                  <a:pt x="5813209" y="2459158"/>
                </a:lnTo>
                <a:cubicBezTo>
                  <a:pt x="5813209" y="2470903"/>
                  <a:pt x="5827302" y="2456808"/>
                  <a:pt x="5827302" y="2454459"/>
                </a:cubicBezTo>
                <a:lnTo>
                  <a:pt x="5813209" y="2459158"/>
                </a:lnTo>
                <a:lnTo>
                  <a:pt x="5813209" y="2452111"/>
                </a:lnTo>
                <a:lnTo>
                  <a:pt x="5806163" y="2456808"/>
                </a:lnTo>
                <a:lnTo>
                  <a:pt x="5803814" y="2456808"/>
                </a:lnTo>
                <a:cubicBezTo>
                  <a:pt x="5799117" y="2449762"/>
                  <a:pt x="5803814" y="2452111"/>
                  <a:pt x="5794419" y="2449762"/>
                </a:cubicBezTo>
                <a:close/>
                <a:moveTo>
                  <a:pt x="1524344" y="2449762"/>
                </a:moveTo>
                <a:cubicBezTo>
                  <a:pt x="1529038" y="2454459"/>
                  <a:pt x="1531386" y="2459156"/>
                  <a:pt x="1533736" y="2466204"/>
                </a:cubicBezTo>
                <a:cubicBezTo>
                  <a:pt x="1536086" y="2461506"/>
                  <a:pt x="1538436" y="2454459"/>
                  <a:pt x="1538436" y="2449762"/>
                </a:cubicBezTo>
                <a:cubicBezTo>
                  <a:pt x="1533736" y="2449762"/>
                  <a:pt x="1529038" y="2449762"/>
                  <a:pt x="1524344" y="2449762"/>
                </a:cubicBezTo>
                <a:close/>
                <a:moveTo>
                  <a:pt x="4528830" y="2449247"/>
                </a:moveTo>
                <a:cubicBezTo>
                  <a:pt x="4524316" y="2448586"/>
                  <a:pt x="4520792" y="2469728"/>
                  <a:pt x="4533123" y="2459156"/>
                </a:cubicBezTo>
                <a:cubicBezTo>
                  <a:pt x="4531949" y="2452110"/>
                  <a:pt x="4530334" y="2449467"/>
                  <a:pt x="4528830" y="2449247"/>
                </a:cubicBezTo>
                <a:close/>
                <a:moveTo>
                  <a:pt x="1449180" y="2447413"/>
                </a:moveTo>
                <a:cubicBezTo>
                  <a:pt x="1439788" y="2445068"/>
                  <a:pt x="1465623" y="2456808"/>
                  <a:pt x="1491458" y="2461506"/>
                </a:cubicBezTo>
                <a:cubicBezTo>
                  <a:pt x="1505551" y="2463855"/>
                  <a:pt x="1517295" y="2466204"/>
                  <a:pt x="1524344" y="2466204"/>
                </a:cubicBezTo>
                <a:cubicBezTo>
                  <a:pt x="1519643" y="2461506"/>
                  <a:pt x="1517295" y="2456808"/>
                  <a:pt x="1514946" y="2452110"/>
                </a:cubicBezTo>
                <a:cubicBezTo>
                  <a:pt x="1477366" y="2452110"/>
                  <a:pt x="1453881" y="2447413"/>
                  <a:pt x="1449180" y="2447413"/>
                </a:cubicBezTo>
                <a:close/>
                <a:moveTo>
                  <a:pt x="5907159" y="2442717"/>
                </a:moveTo>
                <a:cubicBezTo>
                  <a:pt x="5904811" y="2452113"/>
                  <a:pt x="5904811" y="2459161"/>
                  <a:pt x="5902462" y="2468557"/>
                </a:cubicBezTo>
                <a:cubicBezTo>
                  <a:pt x="5900113" y="2466208"/>
                  <a:pt x="5900113" y="2463858"/>
                  <a:pt x="5900113" y="2461509"/>
                </a:cubicBezTo>
                <a:cubicBezTo>
                  <a:pt x="5900113" y="2459161"/>
                  <a:pt x="5897764" y="2456811"/>
                  <a:pt x="5900113" y="2452113"/>
                </a:cubicBezTo>
                <a:cubicBezTo>
                  <a:pt x="5902462" y="2449764"/>
                  <a:pt x="5904811" y="2445068"/>
                  <a:pt x="5907159" y="2442717"/>
                </a:cubicBezTo>
                <a:close/>
                <a:moveTo>
                  <a:pt x="4676399" y="2442714"/>
                </a:moveTo>
                <a:cubicBezTo>
                  <a:pt x="4674050" y="2459156"/>
                  <a:pt x="4659958" y="2447413"/>
                  <a:pt x="4652911" y="2452110"/>
                </a:cubicBezTo>
                <a:cubicBezTo>
                  <a:pt x="4652911" y="2473251"/>
                  <a:pt x="4641167" y="2473251"/>
                  <a:pt x="4643516" y="2489695"/>
                </a:cubicBezTo>
                <a:cubicBezTo>
                  <a:pt x="4655260" y="2494392"/>
                  <a:pt x="4667004" y="2499091"/>
                  <a:pt x="4678748" y="2503789"/>
                </a:cubicBezTo>
                <a:cubicBezTo>
                  <a:pt x="4697538" y="2492043"/>
                  <a:pt x="4692840" y="2482647"/>
                  <a:pt x="4704584" y="2473251"/>
                </a:cubicBezTo>
                <a:cubicBezTo>
                  <a:pt x="4695189" y="2463855"/>
                  <a:pt x="4681096" y="2454459"/>
                  <a:pt x="4676399" y="2442714"/>
                </a:cubicBezTo>
                <a:close/>
                <a:moveTo>
                  <a:pt x="1580714" y="2442714"/>
                </a:moveTo>
                <a:cubicBezTo>
                  <a:pt x="1576014" y="2442714"/>
                  <a:pt x="1573665" y="2445068"/>
                  <a:pt x="1568972" y="2445068"/>
                </a:cubicBezTo>
                <a:cubicBezTo>
                  <a:pt x="1571316" y="2447413"/>
                  <a:pt x="1573665" y="2449762"/>
                  <a:pt x="1578364" y="2452110"/>
                </a:cubicBezTo>
                <a:cubicBezTo>
                  <a:pt x="1578364" y="2452110"/>
                  <a:pt x="1578364" y="2449762"/>
                  <a:pt x="1580714" y="2442714"/>
                </a:cubicBezTo>
                <a:close/>
                <a:moveTo>
                  <a:pt x="1601851" y="2440367"/>
                </a:moveTo>
                <a:cubicBezTo>
                  <a:pt x="1597157" y="2440367"/>
                  <a:pt x="1594806" y="2440367"/>
                  <a:pt x="1590107" y="2442714"/>
                </a:cubicBezTo>
                <a:lnTo>
                  <a:pt x="1594806" y="2445068"/>
                </a:lnTo>
                <a:lnTo>
                  <a:pt x="1604199" y="2447413"/>
                </a:lnTo>
                <a:lnTo>
                  <a:pt x="1608899" y="2442714"/>
                </a:lnTo>
                <a:lnTo>
                  <a:pt x="1606549" y="2440367"/>
                </a:lnTo>
                <a:cubicBezTo>
                  <a:pt x="1604199" y="2440367"/>
                  <a:pt x="1604199" y="2440367"/>
                  <a:pt x="1601851" y="2440367"/>
                </a:cubicBezTo>
                <a:close/>
                <a:moveTo>
                  <a:pt x="4508498" y="2424842"/>
                </a:moveTo>
                <a:cubicBezTo>
                  <a:pt x="4500241" y="2420108"/>
                  <a:pt x="4505526" y="2442128"/>
                  <a:pt x="4521379" y="2440367"/>
                </a:cubicBezTo>
                <a:cubicBezTo>
                  <a:pt x="4515508" y="2430970"/>
                  <a:pt x="4511250" y="2426421"/>
                  <a:pt x="4508498" y="2424842"/>
                </a:cubicBezTo>
                <a:close/>
                <a:moveTo>
                  <a:pt x="3431546" y="2423923"/>
                </a:moveTo>
                <a:cubicBezTo>
                  <a:pt x="3429198" y="2428622"/>
                  <a:pt x="3426849" y="2435668"/>
                  <a:pt x="3422151" y="2433321"/>
                </a:cubicBezTo>
                <a:cubicBezTo>
                  <a:pt x="3417454" y="2447413"/>
                  <a:pt x="3422151" y="2459156"/>
                  <a:pt x="3436245" y="2466204"/>
                </a:cubicBezTo>
                <a:cubicBezTo>
                  <a:pt x="3445639" y="2459156"/>
                  <a:pt x="3457383" y="2454459"/>
                  <a:pt x="3464429" y="2445068"/>
                </a:cubicBezTo>
                <a:cubicBezTo>
                  <a:pt x="3450337" y="2438019"/>
                  <a:pt x="3450337" y="2426276"/>
                  <a:pt x="3431546" y="2423923"/>
                </a:cubicBezTo>
                <a:close/>
                <a:moveTo>
                  <a:pt x="1282420" y="2419225"/>
                </a:moveTo>
                <a:lnTo>
                  <a:pt x="1275370" y="2428622"/>
                </a:lnTo>
                <a:lnTo>
                  <a:pt x="1282420" y="2433321"/>
                </a:lnTo>
                <a:close/>
                <a:moveTo>
                  <a:pt x="4408638" y="2414529"/>
                </a:moveTo>
                <a:cubicBezTo>
                  <a:pt x="4399243" y="2428622"/>
                  <a:pt x="4422731" y="2456808"/>
                  <a:pt x="4427428" y="2449762"/>
                </a:cubicBezTo>
                <a:cubicBezTo>
                  <a:pt x="4415684" y="2440367"/>
                  <a:pt x="4420382" y="2423923"/>
                  <a:pt x="4408638" y="2414529"/>
                </a:cubicBezTo>
                <a:close/>
                <a:moveTo>
                  <a:pt x="5799117" y="2409830"/>
                </a:moveTo>
                <a:lnTo>
                  <a:pt x="5792070" y="2416881"/>
                </a:lnTo>
                <a:lnTo>
                  <a:pt x="5799117" y="2419226"/>
                </a:lnTo>
                <a:close/>
                <a:moveTo>
                  <a:pt x="5519611" y="2395738"/>
                </a:moveTo>
                <a:cubicBezTo>
                  <a:pt x="5514914" y="2405138"/>
                  <a:pt x="5514914" y="2405138"/>
                  <a:pt x="5512565" y="2412179"/>
                </a:cubicBezTo>
                <a:cubicBezTo>
                  <a:pt x="5510216" y="2412179"/>
                  <a:pt x="5510216" y="2412179"/>
                  <a:pt x="5505519" y="2412179"/>
                </a:cubicBezTo>
                <a:cubicBezTo>
                  <a:pt x="5507867" y="2405138"/>
                  <a:pt x="5507867" y="2409829"/>
                  <a:pt x="5507867" y="2402786"/>
                </a:cubicBezTo>
                <a:cubicBezTo>
                  <a:pt x="5507867" y="2400440"/>
                  <a:pt x="5507867" y="2398089"/>
                  <a:pt x="5512565" y="2398089"/>
                </a:cubicBezTo>
                <a:cubicBezTo>
                  <a:pt x="5517263" y="2398089"/>
                  <a:pt x="5517263" y="2398089"/>
                  <a:pt x="5519611" y="2395738"/>
                </a:cubicBezTo>
                <a:close/>
                <a:moveTo>
                  <a:pt x="5792070" y="2383999"/>
                </a:moveTo>
                <a:lnTo>
                  <a:pt x="5785024" y="2391043"/>
                </a:lnTo>
                <a:lnTo>
                  <a:pt x="5796768" y="2391043"/>
                </a:lnTo>
                <a:close/>
                <a:moveTo>
                  <a:pt x="4389702" y="2382786"/>
                </a:moveTo>
                <a:cubicBezTo>
                  <a:pt x="4386619" y="2381495"/>
                  <a:pt x="4383389" y="2381650"/>
                  <a:pt x="4380453" y="2383997"/>
                </a:cubicBezTo>
                <a:cubicBezTo>
                  <a:pt x="4392197" y="2391043"/>
                  <a:pt x="4394545" y="2402786"/>
                  <a:pt x="4401592" y="2412180"/>
                </a:cubicBezTo>
                <a:cubicBezTo>
                  <a:pt x="4406877" y="2403374"/>
                  <a:pt x="4398950" y="2386644"/>
                  <a:pt x="4389702" y="2382786"/>
                </a:cubicBezTo>
                <a:close/>
                <a:moveTo>
                  <a:pt x="4783349" y="2374949"/>
                </a:moveTo>
                <a:lnTo>
                  <a:pt x="4778855" y="2379849"/>
                </a:lnTo>
                <a:lnTo>
                  <a:pt x="4789141" y="2381650"/>
                </a:lnTo>
                <a:cubicBezTo>
                  <a:pt x="4786793" y="2378126"/>
                  <a:pt x="4785325" y="2376362"/>
                  <a:pt x="4784370" y="2375483"/>
                </a:cubicBezTo>
                <a:close/>
                <a:moveTo>
                  <a:pt x="4460311" y="2374600"/>
                </a:moveTo>
                <a:cubicBezTo>
                  <a:pt x="4472055" y="2386351"/>
                  <a:pt x="4486148" y="2400440"/>
                  <a:pt x="4488497" y="2419225"/>
                </a:cubicBezTo>
                <a:cubicBezTo>
                  <a:pt x="4507287" y="2412180"/>
                  <a:pt x="4469706" y="2367555"/>
                  <a:pt x="4460311" y="2374600"/>
                </a:cubicBezTo>
                <a:close/>
                <a:moveTo>
                  <a:pt x="5813209" y="2369902"/>
                </a:moveTo>
                <a:lnTo>
                  <a:pt x="5806163" y="2376948"/>
                </a:lnTo>
                <a:lnTo>
                  <a:pt x="5817907" y="2376948"/>
                </a:lnTo>
                <a:close/>
                <a:moveTo>
                  <a:pt x="5747444" y="2369902"/>
                </a:moveTo>
                <a:cubicBezTo>
                  <a:pt x="5747444" y="2372252"/>
                  <a:pt x="5747444" y="2372252"/>
                  <a:pt x="5747444" y="2372252"/>
                </a:cubicBezTo>
                <a:cubicBezTo>
                  <a:pt x="5747444" y="2375776"/>
                  <a:pt x="5747444" y="2377536"/>
                  <a:pt x="5747738" y="2379300"/>
                </a:cubicBezTo>
                <a:lnTo>
                  <a:pt x="5748781" y="2382877"/>
                </a:lnTo>
                <a:lnTo>
                  <a:pt x="5749792" y="2388703"/>
                </a:lnTo>
                <a:lnTo>
                  <a:pt x="5749792" y="2386351"/>
                </a:lnTo>
                <a:lnTo>
                  <a:pt x="5748781" y="2382877"/>
                </a:lnTo>
                <a:lnTo>
                  <a:pt x="5748618" y="2381941"/>
                </a:lnTo>
                <a:cubicBezTo>
                  <a:pt x="5748031" y="2378126"/>
                  <a:pt x="5747444" y="2373427"/>
                  <a:pt x="5747444" y="2369902"/>
                </a:cubicBezTo>
                <a:close/>
                <a:moveTo>
                  <a:pt x="5766234" y="2362860"/>
                </a:moveTo>
                <a:lnTo>
                  <a:pt x="5759187" y="2369902"/>
                </a:lnTo>
                <a:lnTo>
                  <a:pt x="5770931" y="2369902"/>
                </a:lnTo>
                <a:close/>
                <a:moveTo>
                  <a:pt x="6987597" y="2355818"/>
                </a:moveTo>
                <a:cubicBezTo>
                  <a:pt x="6989946" y="2360519"/>
                  <a:pt x="6994644" y="2362868"/>
                  <a:pt x="6996992" y="2365209"/>
                </a:cubicBezTo>
                <a:cubicBezTo>
                  <a:pt x="6989946" y="2358168"/>
                  <a:pt x="6989946" y="2358168"/>
                  <a:pt x="6987597" y="2355818"/>
                </a:cubicBezTo>
                <a:close/>
                <a:moveTo>
                  <a:pt x="5813209" y="2353460"/>
                </a:moveTo>
                <a:lnTo>
                  <a:pt x="5803814" y="2358160"/>
                </a:lnTo>
                <a:lnTo>
                  <a:pt x="5810861" y="2365204"/>
                </a:lnTo>
                <a:close/>
                <a:moveTo>
                  <a:pt x="3587814" y="2351956"/>
                </a:moveTo>
                <a:cubicBezTo>
                  <a:pt x="3587153" y="2352287"/>
                  <a:pt x="3571299" y="2378712"/>
                  <a:pt x="3581868" y="2362860"/>
                </a:cubicBezTo>
                <a:cubicBezTo>
                  <a:pt x="3586566" y="2354636"/>
                  <a:pt x="3588034" y="2351846"/>
                  <a:pt x="3587814" y="2351956"/>
                </a:cubicBezTo>
                <a:close/>
                <a:moveTo>
                  <a:pt x="4420382" y="2351110"/>
                </a:moveTo>
                <a:cubicBezTo>
                  <a:pt x="4434475" y="2360508"/>
                  <a:pt x="4448567" y="2416879"/>
                  <a:pt x="4462660" y="2395738"/>
                </a:cubicBezTo>
                <a:cubicBezTo>
                  <a:pt x="4441521" y="2386351"/>
                  <a:pt x="4439172" y="2346420"/>
                  <a:pt x="4420382" y="2351110"/>
                </a:cubicBezTo>
                <a:close/>
                <a:moveTo>
                  <a:pt x="1242503" y="2346447"/>
                </a:moveTo>
                <a:cubicBezTo>
                  <a:pt x="1258944" y="2355836"/>
                  <a:pt x="1273036" y="2365235"/>
                  <a:pt x="1287130" y="2376984"/>
                </a:cubicBezTo>
                <a:cubicBezTo>
                  <a:pt x="1282432" y="2379333"/>
                  <a:pt x="1277736" y="2381683"/>
                  <a:pt x="1273036" y="2381683"/>
                </a:cubicBezTo>
                <a:cubicBezTo>
                  <a:pt x="1261294" y="2384029"/>
                  <a:pt x="1251897" y="2379333"/>
                  <a:pt x="1240154" y="2376984"/>
                </a:cubicBezTo>
                <a:cubicBezTo>
                  <a:pt x="1233109" y="2374634"/>
                  <a:pt x="1226060" y="2369935"/>
                  <a:pt x="1219016" y="2367590"/>
                </a:cubicBezTo>
                <a:cubicBezTo>
                  <a:pt x="1226060" y="2362890"/>
                  <a:pt x="1237804" y="2360540"/>
                  <a:pt x="1242503" y="2351139"/>
                </a:cubicBezTo>
                <a:cubicBezTo>
                  <a:pt x="1242503" y="2348791"/>
                  <a:pt x="1242503" y="2348791"/>
                  <a:pt x="1242503" y="2346447"/>
                </a:cubicBezTo>
                <a:close/>
                <a:moveTo>
                  <a:pt x="5754490" y="2346420"/>
                </a:moveTo>
                <a:lnTo>
                  <a:pt x="5754490" y="2351110"/>
                </a:lnTo>
                <a:lnTo>
                  <a:pt x="5754717" y="2351856"/>
                </a:lnTo>
                <a:lnTo>
                  <a:pt x="5754784" y="2353460"/>
                </a:lnTo>
                <a:lnTo>
                  <a:pt x="5756666" y="2359915"/>
                </a:lnTo>
                <a:lnTo>
                  <a:pt x="5756839" y="2362860"/>
                </a:lnTo>
                <a:lnTo>
                  <a:pt x="5756839" y="2360508"/>
                </a:lnTo>
                <a:lnTo>
                  <a:pt x="5756666" y="2359915"/>
                </a:lnTo>
                <a:lnTo>
                  <a:pt x="5756546" y="2357866"/>
                </a:lnTo>
                <a:lnTo>
                  <a:pt x="5754717" y="2351856"/>
                </a:lnTo>
                <a:close/>
                <a:moveTo>
                  <a:pt x="1031098" y="2346420"/>
                </a:moveTo>
                <a:lnTo>
                  <a:pt x="1031098" y="2353458"/>
                </a:lnTo>
                <a:cubicBezTo>
                  <a:pt x="1031098" y="2353458"/>
                  <a:pt x="1033447" y="2355809"/>
                  <a:pt x="1033447" y="2358160"/>
                </a:cubicBezTo>
                <a:lnTo>
                  <a:pt x="1038146" y="2362860"/>
                </a:lnTo>
                <a:lnTo>
                  <a:pt x="1045190" y="2358160"/>
                </a:lnTo>
                <a:lnTo>
                  <a:pt x="1049888" y="2346420"/>
                </a:lnTo>
                <a:lnTo>
                  <a:pt x="1040496" y="2346420"/>
                </a:lnTo>
                <a:close/>
                <a:moveTo>
                  <a:pt x="5721607" y="2344071"/>
                </a:moveTo>
                <a:cubicBezTo>
                  <a:pt x="5721607" y="2348763"/>
                  <a:pt x="5721607" y="2348763"/>
                  <a:pt x="5721607" y="2353460"/>
                </a:cubicBezTo>
                <a:cubicBezTo>
                  <a:pt x="5721607" y="2358160"/>
                  <a:pt x="5721607" y="2358160"/>
                  <a:pt x="5721607" y="2365204"/>
                </a:cubicBezTo>
                <a:cubicBezTo>
                  <a:pt x="5721607" y="2365204"/>
                  <a:pt x="5723956" y="2367559"/>
                  <a:pt x="5723956" y="2367559"/>
                </a:cubicBezTo>
                <a:cubicBezTo>
                  <a:pt x="5723956" y="2367559"/>
                  <a:pt x="5723956" y="2365204"/>
                  <a:pt x="5726304" y="2365204"/>
                </a:cubicBezTo>
                <a:cubicBezTo>
                  <a:pt x="5726304" y="2362860"/>
                  <a:pt x="5726304" y="2362860"/>
                  <a:pt x="5726304" y="2358160"/>
                </a:cubicBezTo>
                <a:cubicBezTo>
                  <a:pt x="5723956" y="2351110"/>
                  <a:pt x="5723956" y="2351110"/>
                  <a:pt x="5721607" y="2344071"/>
                </a:cubicBezTo>
                <a:close/>
                <a:moveTo>
                  <a:pt x="6008156" y="2339377"/>
                </a:moveTo>
                <a:cubicBezTo>
                  <a:pt x="5987017" y="2419234"/>
                  <a:pt x="5958832" y="2494405"/>
                  <a:pt x="5890717" y="2564877"/>
                </a:cubicBezTo>
                <a:cubicBezTo>
                  <a:pt x="5890717" y="2555482"/>
                  <a:pt x="5893066" y="2548433"/>
                  <a:pt x="5893066" y="2541387"/>
                </a:cubicBezTo>
                <a:cubicBezTo>
                  <a:pt x="5930646" y="2473263"/>
                  <a:pt x="5968227" y="2405150"/>
                  <a:pt x="6008156" y="2339377"/>
                </a:cubicBezTo>
                <a:close/>
                <a:moveTo>
                  <a:pt x="1216666" y="2329996"/>
                </a:moveTo>
                <a:cubicBezTo>
                  <a:pt x="1223710" y="2332348"/>
                  <a:pt x="1230758" y="2337044"/>
                  <a:pt x="1237804" y="2341748"/>
                </a:cubicBezTo>
                <a:cubicBezTo>
                  <a:pt x="1233109" y="2344099"/>
                  <a:pt x="1230758" y="2346447"/>
                  <a:pt x="1226060" y="2346447"/>
                </a:cubicBezTo>
                <a:cubicBezTo>
                  <a:pt x="1219016" y="2344099"/>
                  <a:pt x="1216666" y="2339396"/>
                  <a:pt x="1211966" y="2334698"/>
                </a:cubicBezTo>
                <a:cubicBezTo>
                  <a:pt x="1211966" y="2332348"/>
                  <a:pt x="1214316" y="2329996"/>
                  <a:pt x="1216666" y="2329996"/>
                </a:cubicBezTo>
                <a:close/>
                <a:moveTo>
                  <a:pt x="5796768" y="2327617"/>
                </a:moveTo>
                <a:lnTo>
                  <a:pt x="5792070" y="2337017"/>
                </a:lnTo>
                <a:lnTo>
                  <a:pt x="5799117" y="2337017"/>
                </a:lnTo>
                <a:lnTo>
                  <a:pt x="5799117" y="2344071"/>
                </a:lnTo>
                <a:lnTo>
                  <a:pt x="5806163" y="2337017"/>
                </a:lnTo>
                <a:lnTo>
                  <a:pt x="5799117" y="2337017"/>
                </a:lnTo>
                <a:close/>
                <a:moveTo>
                  <a:pt x="4770350" y="2325277"/>
                </a:moveTo>
                <a:cubicBezTo>
                  <a:pt x="4770350" y="2327617"/>
                  <a:pt x="4770350" y="2327617"/>
                  <a:pt x="4770350" y="2329971"/>
                </a:cubicBezTo>
                <a:lnTo>
                  <a:pt x="4770351" y="2329968"/>
                </a:lnTo>
                <a:lnTo>
                  <a:pt x="4770351" y="2325277"/>
                </a:lnTo>
                <a:close/>
                <a:moveTo>
                  <a:pt x="1947121" y="2325277"/>
                </a:moveTo>
                <a:cubicBezTo>
                  <a:pt x="1944772" y="2325277"/>
                  <a:pt x="1940079" y="2327617"/>
                  <a:pt x="1935378" y="2327617"/>
                </a:cubicBezTo>
                <a:cubicBezTo>
                  <a:pt x="1914238" y="2332320"/>
                  <a:pt x="1893101" y="2339369"/>
                  <a:pt x="1876658" y="2348763"/>
                </a:cubicBezTo>
                <a:cubicBezTo>
                  <a:pt x="1869616" y="2351110"/>
                  <a:pt x="1860216" y="2355809"/>
                  <a:pt x="1853173" y="2358160"/>
                </a:cubicBezTo>
                <a:lnTo>
                  <a:pt x="1855519" y="2360508"/>
                </a:lnTo>
                <a:cubicBezTo>
                  <a:pt x="1862565" y="2362860"/>
                  <a:pt x="1874309" y="2360508"/>
                  <a:pt x="1879008" y="2367555"/>
                </a:cubicBezTo>
                <a:cubicBezTo>
                  <a:pt x="1881358" y="2372252"/>
                  <a:pt x="1879008" y="2374600"/>
                  <a:pt x="1879008" y="2379300"/>
                </a:cubicBezTo>
                <a:cubicBezTo>
                  <a:pt x="1879008" y="2381650"/>
                  <a:pt x="1876658" y="2381650"/>
                  <a:pt x="1876658" y="2383997"/>
                </a:cubicBezTo>
                <a:lnTo>
                  <a:pt x="1886053" y="2388703"/>
                </a:lnTo>
                <a:cubicBezTo>
                  <a:pt x="1888402" y="2391043"/>
                  <a:pt x="1888402" y="2391043"/>
                  <a:pt x="1890751" y="2391043"/>
                </a:cubicBezTo>
                <a:cubicBezTo>
                  <a:pt x="1893101" y="2393386"/>
                  <a:pt x="1895451" y="2393386"/>
                  <a:pt x="1897797" y="2393386"/>
                </a:cubicBezTo>
                <a:lnTo>
                  <a:pt x="1904843" y="2379300"/>
                </a:lnTo>
                <a:cubicBezTo>
                  <a:pt x="1902495" y="2376947"/>
                  <a:pt x="1897797" y="2376947"/>
                  <a:pt x="1895451" y="2374600"/>
                </a:cubicBezTo>
                <a:cubicBezTo>
                  <a:pt x="1893101" y="2372252"/>
                  <a:pt x="1895451" y="2367555"/>
                  <a:pt x="1895451" y="2362860"/>
                </a:cubicBezTo>
                <a:cubicBezTo>
                  <a:pt x="1895451" y="2362860"/>
                  <a:pt x="1911894" y="2362860"/>
                  <a:pt x="1914238" y="2379300"/>
                </a:cubicBezTo>
                <a:lnTo>
                  <a:pt x="1930680" y="2395738"/>
                </a:lnTo>
                <a:cubicBezTo>
                  <a:pt x="1930680" y="2398089"/>
                  <a:pt x="1925982" y="2402786"/>
                  <a:pt x="1921286" y="2402786"/>
                </a:cubicBezTo>
                <a:cubicBezTo>
                  <a:pt x="1916587" y="2405140"/>
                  <a:pt x="1914238" y="2402786"/>
                  <a:pt x="1911894" y="2402786"/>
                </a:cubicBezTo>
                <a:cubicBezTo>
                  <a:pt x="1907193" y="2402786"/>
                  <a:pt x="1904843" y="2405140"/>
                  <a:pt x="1902495" y="2405140"/>
                </a:cubicBezTo>
                <a:cubicBezTo>
                  <a:pt x="1904843" y="2407487"/>
                  <a:pt x="1914238" y="2412180"/>
                  <a:pt x="1928331" y="2407487"/>
                </a:cubicBezTo>
                <a:cubicBezTo>
                  <a:pt x="1942424" y="2398089"/>
                  <a:pt x="1947121" y="2383997"/>
                  <a:pt x="1949471" y="2369902"/>
                </a:cubicBezTo>
                <a:cubicBezTo>
                  <a:pt x="1949471" y="2365199"/>
                  <a:pt x="1949471" y="2360508"/>
                  <a:pt x="1949471" y="2355809"/>
                </a:cubicBezTo>
                <a:cubicBezTo>
                  <a:pt x="1949471" y="2348763"/>
                  <a:pt x="1949471" y="2344071"/>
                  <a:pt x="1949471" y="2339369"/>
                </a:cubicBezTo>
                <a:cubicBezTo>
                  <a:pt x="1947121" y="2334671"/>
                  <a:pt x="1947121" y="2329971"/>
                  <a:pt x="1947121" y="2325277"/>
                </a:cubicBezTo>
                <a:close/>
                <a:moveTo>
                  <a:pt x="530826" y="2320629"/>
                </a:moveTo>
                <a:lnTo>
                  <a:pt x="537872" y="2325313"/>
                </a:lnTo>
                <a:lnTo>
                  <a:pt x="530826" y="2330004"/>
                </a:lnTo>
                <a:lnTo>
                  <a:pt x="526130" y="2325313"/>
                </a:lnTo>
                <a:close/>
                <a:moveTo>
                  <a:pt x="3684774" y="2314383"/>
                </a:moveTo>
                <a:cubicBezTo>
                  <a:pt x="3670241" y="2311189"/>
                  <a:pt x="3657029" y="2323522"/>
                  <a:pt x="3657029" y="2346420"/>
                </a:cubicBezTo>
                <a:cubicBezTo>
                  <a:pt x="3680517" y="2362860"/>
                  <a:pt x="3692261" y="2348763"/>
                  <a:pt x="3699307" y="2322938"/>
                </a:cubicBezTo>
                <a:cubicBezTo>
                  <a:pt x="3694610" y="2318236"/>
                  <a:pt x="3689619" y="2315446"/>
                  <a:pt x="3684774" y="2314383"/>
                </a:cubicBezTo>
                <a:close/>
                <a:moveTo>
                  <a:pt x="4016392" y="2297103"/>
                </a:moveTo>
                <a:cubicBezTo>
                  <a:pt x="4004648" y="2308840"/>
                  <a:pt x="3960021" y="2341718"/>
                  <a:pt x="3976463" y="2341718"/>
                </a:cubicBezTo>
                <a:cubicBezTo>
                  <a:pt x="3985858" y="2325277"/>
                  <a:pt x="4023439" y="2313539"/>
                  <a:pt x="4016392" y="2297103"/>
                </a:cubicBezTo>
                <a:close/>
                <a:moveTo>
                  <a:pt x="1855519" y="2297103"/>
                </a:moveTo>
                <a:cubicBezTo>
                  <a:pt x="1855519" y="2315886"/>
                  <a:pt x="1808545" y="2318240"/>
                  <a:pt x="1834380" y="2329971"/>
                </a:cubicBezTo>
                <a:cubicBezTo>
                  <a:pt x="1836730" y="2313539"/>
                  <a:pt x="1871960" y="2315886"/>
                  <a:pt x="1855519" y="2297103"/>
                </a:cubicBezTo>
                <a:close/>
                <a:moveTo>
                  <a:pt x="4857255" y="2294748"/>
                </a:moveTo>
                <a:cubicBezTo>
                  <a:pt x="4857255" y="2297102"/>
                  <a:pt x="4857255" y="2299444"/>
                  <a:pt x="4859604" y="2299444"/>
                </a:cubicBezTo>
                <a:cubicBezTo>
                  <a:pt x="4861953" y="2297102"/>
                  <a:pt x="4859604" y="2297102"/>
                  <a:pt x="4861953" y="2297102"/>
                </a:cubicBezTo>
                <a:cubicBezTo>
                  <a:pt x="4861953" y="2294748"/>
                  <a:pt x="4859604" y="2294748"/>
                  <a:pt x="4857255" y="2294748"/>
                </a:cubicBezTo>
                <a:close/>
                <a:moveTo>
                  <a:pt x="6904557" y="2287892"/>
                </a:moveTo>
                <a:lnTo>
                  <a:pt x="6907739" y="2290056"/>
                </a:lnTo>
                <a:cubicBezTo>
                  <a:pt x="6926529" y="2306496"/>
                  <a:pt x="6945320" y="2322945"/>
                  <a:pt x="6966459" y="2339379"/>
                </a:cubicBezTo>
                <a:cubicBezTo>
                  <a:pt x="6971157" y="2344082"/>
                  <a:pt x="6975854" y="2346425"/>
                  <a:pt x="6980552" y="2351117"/>
                </a:cubicBezTo>
                <a:close/>
                <a:moveTo>
                  <a:pt x="5803814" y="2287702"/>
                </a:moveTo>
                <a:lnTo>
                  <a:pt x="5796768" y="2294748"/>
                </a:lnTo>
                <a:lnTo>
                  <a:pt x="5804989" y="2297491"/>
                </a:lnTo>
                <a:lnTo>
                  <a:pt x="5803814" y="2299444"/>
                </a:lnTo>
                <a:lnTo>
                  <a:pt x="5810196" y="2300503"/>
                </a:lnTo>
                <a:lnTo>
                  <a:pt x="5806457" y="2306488"/>
                </a:lnTo>
                <a:cubicBezTo>
                  <a:pt x="5805576" y="2307077"/>
                  <a:pt x="5803815" y="2306488"/>
                  <a:pt x="5796768" y="2306488"/>
                </a:cubicBezTo>
                <a:lnTo>
                  <a:pt x="5796768" y="2308840"/>
                </a:lnTo>
                <a:lnTo>
                  <a:pt x="5810861" y="2313539"/>
                </a:lnTo>
                <a:cubicBezTo>
                  <a:pt x="5796768" y="2332323"/>
                  <a:pt x="5810861" y="2304141"/>
                  <a:pt x="5796768" y="2322938"/>
                </a:cubicBezTo>
                <a:lnTo>
                  <a:pt x="5806163" y="2322938"/>
                </a:lnTo>
                <a:cubicBezTo>
                  <a:pt x="5813209" y="2322938"/>
                  <a:pt x="5815558" y="2320594"/>
                  <a:pt x="5815558" y="2313539"/>
                </a:cubicBezTo>
                <a:lnTo>
                  <a:pt x="5815558" y="2311192"/>
                </a:lnTo>
                <a:cubicBezTo>
                  <a:pt x="5815558" y="2299444"/>
                  <a:pt x="5813209" y="2311192"/>
                  <a:pt x="5817907" y="2301787"/>
                </a:cubicBezTo>
                <a:lnTo>
                  <a:pt x="5810196" y="2300503"/>
                </a:lnTo>
                <a:lnTo>
                  <a:pt x="5810861" y="2299444"/>
                </a:lnTo>
                <a:lnTo>
                  <a:pt x="5804989" y="2297491"/>
                </a:lnTo>
                <a:lnTo>
                  <a:pt x="5807338" y="2293572"/>
                </a:lnTo>
                <a:cubicBezTo>
                  <a:pt x="5807338" y="2292985"/>
                  <a:pt x="5806163" y="2292397"/>
                  <a:pt x="5803814" y="2287702"/>
                </a:cubicBezTo>
                <a:close/>
                <a:moveTo>
                  <a:pt x="4892487" y="2287702"/>
                </a:moveTo>
                <a:cubicBezTo>
                  <a:pt x="4892487" y="2290048"/>
                  <a:pt x="4892487" y="2290048"/>
                  <a:pt x="4892487" y="2292397"/>
                </a:cubicBezTo>
                <a:cubicBezTo>
                  <a:pt x="4894836" y="2290048"/>
                  <a:pt x="4894836" y="2290048"/>
                  <a:pt x="4899533" y="2292397"/>
                </a:cubicBezTo>
                <a:cubicBezTo>
                  <a:pt x="4899533" y="2287702"/>
                  <a:pt x="4899533" y="2287702"/>
                  <a:pt x="4897184" y="2287702"/>
                </a:cubicBezTo>
                <a:cubicBezTo>
                  <a:pt x="4894836" y="2287702"/>
                  <a:pt x="4894836" y="2287702"/>
                  <a:pt x="4892487" y="2287702"/>
                </a:cubicBezTo>
                <a:close/>
                <a:moveTo>
                  <a:pt x="4731596" y="2284176"/>
                </a:moveTo>
                <a:cubicBezTo>
                  <a:pt x="4730421" y="2282402"/>
                  <a:pt x="4729247" y="2281824"/>
                  <a:pt x="4725723" y="2285352"/>
                </a:cubicBezTo>
                <a:cubicBezTo>
                  <a:pt x="4723375" y="2292396"/>
                  <a:pt x="4732770" y="2297103"/>
                  <a:pt x="4737467" y="2290047"/>
                </a:cubicBezTo>
                <a:cubicBezTo>
                  <a:pt x="4733944" y="2288875"/>
                  <a:pt x="4732770" y="2285939"/>
                  <a:pt x="4731596" y="2284176"/>
                </a:cubicBezTo>
                <a:close/>
                <a:moveTo>
                  <a:pt x="3947325" y="2282449"/>
                </a:moveTo>
                <a:cubicBezTo>
                  <a:pt x="3941819" y="2282998"/>
                  <a:pt x="3933011" y="2302380"/>
                  <a:pt x="3950626" y="2290047"/>
                </a:cubicBezTo>
                <a:cubicBezTo>
                  <a:pt x="3950626" y="2284173"/>
                  <a:pt x="3949159" y="2282264"/>
                  <a:pt x="3947325" y="2282449"/>
                </a:cubicBezTo>
                <a:close/>
                <a:moveTo>
                  <a:pt x="6894686" y="2281178"/>
                </a:moveTo>
                <a:lnTo>
                  <a:pt x="6903628" y="2287117"/>
                </a:lnTo>
                <a:lnTo>
                  <a:pt x="6904557" y="2287892"/>
                </a:lnTo>
                <a:close/>
                <a:moveTo>
                  <a:pt x="4873697" y="2278306"/>
                </a:moveTo>
                <a:cubicBezTo>
                  <a:pt x="4871348" y="2280654"/>
                  <a:pt x="4871348" y="2280654"/>
                  <a:pt x="4871348" y="2282998"/>
                </a:cubicBezTo>
                <a:cubicBezTo>
                  <a:pt x="4871348" y="2282998"/>
                  <a:pt x="4871348" y="2282998"/>
                  <a:pt x="4873697" y="2282998"/>
                </a:cubicBezTo>
                <a:cubicBezTo>
                  <a:pt x="4873697" y="2287702"/>
                  <a:pt x="4873697" y="2287702"/>
                  <a:pt x="4873697" y="2290048"/>
                </a:cubicBezTo>
                <a:cubicBezTo>
                  <a:pt x="4871348" y="2290048"/>
                  <a:pt x="4871348" y="2290048"/>
                  <a:pt x="4868999" y="2290048"/>
                </a:cubicBezTo>
                <a:cubicBezTo>
                  <a:pt x="4868999" y="2297102"/>
                  <a:pt x="4871348" y="2292397"/>
                  <a:pt x="4873697" y="2292397"/>
                </a:cubicBezTo>
                <a:cubicBezTo>
                  <a:pt x="4873697" y="2292397"/>
                  <a:pt x="4873697" y="2292397"/>
                  <a:pt x="4876046" y="2292397"/>
                </a:cubicBezTo>
                <a:cubicBezTo>
                  <a:pt x="4876046" y="2292397"/>
                  <a:pt x="4876046" y="2292397"/>
                  <a:pt x="4876046" y="2294748"/>
                </a:cubicBezTo>
                <a:cubicBezTo>
                  <a:pt x="4880743" y="2292397"/>
                  <a:pt x="4878395" y="2292397"/>
                  <a:pt x="4883092" y="2290048"/>
                </a:cubicBezTo>
                <a:cubicBezTo>
                  <a:pt x="4885441" y="2287702"/>
                  <a:pt x="4887790" y="2292397"/>
                  <a:pt x="4887790" y="2285352"/>
                </a:cubicBezTo>
                <a:cubicBezTo>
                  <a:pt x="4887790" y="2278306"/>
                  <a:pt x="4878395" y="2280654"/>
                  <a:pt x="4876046" y="2280654"/>
                </a:cubicBezTo>
                <a:cubicBezTo>
                  <a:pt x="4876046" y="2280654"/>
                  <a:pt x="4876046" y="2280654"/>
                  <a:pt x="4873697" y="2278306"/>
                </a:cubicBezTo>
                <a:close/>
                <a:moveTo>
                  <a:pt x="1005277" y="2273626"/>
                </a:moveTo>
                <a:lnTo>
                  <a:pt x="1012321" y="2275977"/>
                </a:lnTo>
                <a:lnTo>
                  <a:pt x="1017020" y="2280675"/>
                </a:lnTo>
                <a:lnTo>
                  <a:pt x="1012321" y="2285374"/>
                </a:lnTo>
                <a:lnTo>
                  <a:pt x="1005277" y="2285374"/>
                </a:lnTo>
                <a:lnTo>
                  <a:pt x="1000577" y="2280675"/>
                </a:lnTo>
                <a:close/>
                <a:moveTo>
                  <a:pt x="4845511" y="2271258"/>
                </a:moveTo>
                <a:cubicBezTo>
                  <a:pt x="4845511" y="2273606"/>
                  <a:pt x="4843163" y="2273606"/>
                  <a:pt x="4840814" y="2275956"/>
                </a:cubicBezTo>
                <a:cubicBezTo>
                  <a:pt x="4840814" y="2275956"/>
                  <a:pt x="4836116" y="2290048"/>
                  <a:pt x="4836116" y="2290048"/>
                </a:cubicBezTo>
                <a:cubicBezTo>
                  <a:pt x="4833768" y="2290048"/>
                  <a:pt x="4833768" y="2290048"/>
                  <a:pt x="4831419" y="2292397"/>
                </a:cubicBezTo>
                <a:cubicBezTo>
                  <a:pt x="4831419" y="2290048"/>
                  <a:pt x="4831419" y="2290048"/>
                  <a:pt x="4831419" y="2290048"/>
                </a:cubicBezTo>
                <a:cubicBezTo>
                  <a:pt x="4832594" y="2286523"/>
                  <a:pt x="4833181" y="2284761"/>
                  <a:pt x="4833475" y="2282998"/>
                </a:cubicBezTo>
                <a:lnTo>
                  <a:pt x="4833572" y="2280657"/>
                </a:lnTo>
                <a:lnTo>
                  <a:pt x="4830279" y="2280698"/>
                </a:lnTo>
                <a:lnTo>
                  <a:pt x="4822024" y="2308840"/>
                </a:lnTo>
                <a:cubicBezTo>
                  <a:pt x="4822024" y="2313539"/>
                  <a:pt x="4824373" y="2315889"/>
                  <a:pt x="4824373" y="2315889"/>
                </a:cubicBezTo>
                <a:cubicBezTo>
                  <a:pt x="4824373" y="2315889"/>
                  <a:pt x="4826721" y="2313539"/>
                  <a:pt x="4826721" y="2311192"/>
                </a:cubicBezTo>
                <a:cubicBezTo>
                  <a:pt x="4826721" y="2315889"/>
                  <a:pt x="4826721" y="2315889"/>
                  <a:pt x="4829070" y="2320594"/>
                </a:cubicBezTo>
                <a:cubicBezTo>
                  <a:pt x="4831419" y="2320594"/>
                  <a:pt x="4831419" y="2322938"/>
                  <a:pt x="4833768" y="2322938"/>
                </a:cubicBezTo>
                <a:cubicBezTo>
                  <a:pt x="4836116" y="2322938"/>
                  <a:pt x="4836116" y="2322938"/>
                  <a:pt x="4836116" y="2322938"/>
                </a:cubicBezTo>
                <a:cubicBezTo>
                  <a:pt x="4836116" y="2329971"/>
                  <a:pt x="4840814" y="2329971"/>
                  <a:pt x="4838465" y="2339369"/>
                </a:cubicBezTo>
                <a:cubicBezTo>
                  <a:pt x="4840814" y="2344071"/>
                  <a:pt x="4843163" y="2341718"/>
                  <a:pt x="4843163" y="2348763"/>
                </a:cubicBezTo>
                <a:cubicBezTo>
                  <a:pt x="4845511" y="2348763"/>
                  <a:pt x="4845511" y="2348763"/>
                  <a:pt x="4847860" y="2348763"/>
                </a:cubicBezTo>
                <a:cubicBezTo>
                  <a:pt x="4850209" y="2351110"/>
                  <a:pt x="4850209" y="2353460"/>
                  <a:pt x="4852558" y="2353460"/>
                </a:cubicBezTo>
                <a:cubicBezTo>
                  <a:pt x="4854907" y="2353460"/>
                  <a:pt x="4854907" y="2351110"/>
                  <a:pt x="4852558" y="2351110"/>
                </a:cubicBezTo>
                <a:cubicBezTo>
                  <a:pt x="4852558" y="2346420"/>
                  <a:pt x="4852558" y="2346420"/>
                  <a:pt x="4854907" y="2344071"/>
                </a:cubicBezTo>
                <a:cubicBezTo>
                  <a:pt x="4857255" y="2344071"/>
                  <a:pt x="4857255" y="2344071"/>
                  <a:pt x="4857255" y="2344071"/>
                </a:cubicBezTo>
                <a:cubicBezTo>
                  <a:pt x="4857255" y="2351110"/>
                  <a:pt x="4859604" y="2351110"/>
                  <a:pt x="4859604" y="2355810"/>
                </a:cubicBezTo>
                <a:cubicBezTo>
                  <a:pt x="4859604" y="2362860"/>
                  <a:pt x="4857255" y="2367559"/>
                  <a:pt x="4859604" y="2374601"/>
                </a:cubicBezTo>
                <a:cubicBezTo>
                  <a:pt x="4857255" y="2376948"/>
                  <a:pt x="4854907" y="2379300"/>
                  <a:pt x="4854907" y="2386351"/>
                </a:cubicBezTo>
                <a:cubicBezTo>
                  <a:pt x="4854907" y="2388703"/>
                  <a:pt x="4854907" y="2388703"/>
                  <a:pt x="4852558" y="2388703"/>
                </a:cubicBezTo>
                <a:cubicBezTo>
                  <a:pt x="4850209" y="2393386"/>
                  <a:pt x="4850209" y="2393386"/>
                  <a:pt x="4850209" y="2400440"/>
                </a:cubicBezTo>
                <a:cubicBezTo>
                  <a:pt x="4850209" y="2407487"/>
                  <a:pt x="4850209" y="2407487"/>
                  <a:pt x="4852558" y="2412180"/>
                </a:cubicBezTo>
                <a:cubicBezTo>
                  <a:pt x="4850209" y="2416881"/>
                  <a:pt x="4850209" y="2416881"/>
                  <a:pt x="4847860" y="2419226"/>
                </a:cubicBezTo>
                <a:cubicBezTo>
                  <a:pt x="4850209" y="2423923"/>
                  <a:pt x="4850209" y="2423923"/>
                  <a:pt x="4850209" y="2428624"/>
                </a:cubicBezTo>
                <a:cubicBezTo>
                  <a:pt x="4859604" y="2438019"/>
                  <a:pt x="4859604" y="2459158"/>
                  <a:pt x="4866651" y="2468554"/>
                </a:cubicBezTo>
                <a:cubicBezTo>
                  <a:pt x="4866651" y="2470903"/>
                  <a:pt x="4866651" y="2470903"/>
                  <a:pt x="4866651" y="2473252"/>
                </a:cubicBezTo>
                <a:cubicBezTo>
                  <a:pt x="4876046" y="2487346"/>
                  <a:pt x="4876046" y="2487346"/>
                  <a:pt x="4887790" y="2501440"/>
                </a:cubicBezTo>
                <a:cubicBezTo>
                  <a:pt x="4887790" y="2510836"/>
                  <a:pt x="4887790" y="2510836"/>
                  <a:pt x="4890138" y="2517883"/>
                </a:cubicBezTo>
                <a:cubicBezTo>
                  <a:pt x="4890138" y="2520231"/>
                  <a:pt x="4890138" y="2520231"/>
                  <a:pt x="4890138" y="2520231"/>
                </a:cubicBezTo>
                <a:cubicBezTo>
                  <a:pt x="4890138" y="2527279"/>
                  <a:pt x="4890138" y="2527279"/>
                  <a:pt x="4890138" y="2534326"/>
                </a:cubicBezTo>
                <a:cubicBezTo>
                  <a:pt x="4890138" y="2534326"/>
                  <a:pt x="4890138" y="2534326"/>
                  <a:pt x="4890138" y="2536676"/>
                </a:cubicBezTo>
                <a:cubicBezTo>
                  <a:pt x="4892487" y="2548419"/>
                  <a:pt x="4894836" y="2553118"/>
                  <a:pt x="4892487" y="2562514"/>
                </a:cubicBezTo>
                <a:cubicBezTo>
                  <a:pt x="4894836" y="2569561"/>
                  <a:pt x="4899533" y="2597749"/>
                  <a:pt x="4897184" y="2602446"/>
                </a:cubicBezTo>
                <a:lnTo>
                  <a:pt x="4894836" y="2602446"/>
                </a:lnTo>
                <a:lnTo>
                  <a:pt x="4899533" y="2607145"/>
                </a:lnTo>
                <a:lnTo>
                  <a:pt x="4900048" y="2609205"/>
                </a:lnTo>
                <a:lnTo>
                  <a:pt x="4903056" y="2611256"/>
                </a:lnTo>
                <a:cubicBezTo>
                  <a:pt x="4908928" y="2614192"/>
                  <a:pt x="4915975" y="2617716"/>
                  <a:pt x="4923021" y="2623588"/>
                </a:cubicBezTo>
                <a:lnTo>
                  <a:pt x="4938002" y="2641231"/>
                </a:lnTo>
                <a:lnTo>
                  <a:pt x="4937114" y="2637682"/>
                </a:lnTo>
                <a:cubicBezTo>
                  <a:pt x="4946509" y="2640031"/>
                  <a:pt x="4958253" y="2640031"/>
                  <a:pt x="4955904" y="2628286"/>
                </a:cubicBezTo>
                <a:cubicBezTo>
                  <a:pt x="4953555" y="2623587"/>
                  <a:pt x="4953555" y="2623587"/>
                  <a:pt x="4951206" y="2623587"/>
                </a:cubicBezTo>
                <a:cubicBezTo>
                  <a:pt x="4951206" y="2621239"/>
                  <a:pt x="4951206" y="2621239"/>
                  <a:pt x="4951206" y="2616541"/>
                </a:cubicBezTo>
                <a:cubicBezTo>
                  <a:pt x="4955904" y="2618890"/>
                  <a:pt x="4955904" y="2618890"/>
                  <a:pt x="4960602" y="2618890"/>
                </a:cubicBezTo>
                <a:cubicBezTo>
                  <a:pt x="4965299" y="2621239"/>
                  <a:pt x="4967648" y="2616541"/>
                  <a:pt x="4969997" y="2611843"/>
                </a:cubicBezTo>
                <a:cubicBezTo>
                  <a:pt x="4972346" y="2604796"/>
                  <a:pt x="4972346" y="2607145"/>
                  <a:pt x="4977043" y="2602446"/>
                </a:cubicBezTo>
                <a:cubicBezTo>
                  <a:pt x="4979392" y="2595400"/>
                  <a:pt x="4977043" y="2595400"/>
                  <a:pt x="4981741" y="2588353"/>
                </a:cubicBezTo>
                <a:cubicBezTo>
                  <a:pt x="4986438" y="2583655"/>
                  <a:pt x="4986438" y="2578958"/>
                  <a:pt x="4984090" y="2569561"/>
                </a:cubicBezTo>
                <a:cubicBezTo>
                  <a:pt x="4984090" y="2564863"/>
                  <a:pt x="4988787" y="2557817"/>
                  <a:pt x="4993485" y="2557817"/>
                </a:cubicBezTo>
                <a:cubicBezTo>
                  <a:pt x="4995833" y="2557817"/>
                  <a:pt x="4995833" y="2557817"/>
                  <a:pt x="4998182" y="2557817"/>
                </a:cubicBezTo>
                <a:cubicBezTo>
                  <a:pt x="5000531" y="2555467"/>
                  <a:pt x="5000531" y="2553118"/>
                  <a:pt x="5005228" y="2553118"/>
                </a:cubicBezTo>
                <a:cubicBezTo>
                  <a:pt x="5012275" y="2553118"/>
                  <a:pt x="5012275" y="2553118"/>
                  <a:pt x="5016972" y="2553118"/>
                </a:cubicBezTo>
                <a:cubicBezTo>
                  <a:pt x="5019321" y="2548419"/>
                  <a:pt x="5019321" y="2548419"/>
                  <a:pt x="5021670" y="2546071"/>
                </a:cubicBezTo>
                <a:cubicBezTo>
                  <a:pt x="5024019" y="2536676"/>
                  <a:pt x="5024019" y="2536676"/>
                  <a:pt x="5028716" y="2527279"/>
                </a:cubicBezTo>
                <a:cubicBezTo>
                  <a:pt x="5028716" y="2522581"/>
                  <a:pt x="5028716" y="2522581"/>
                  <a:pt x="5028716" y="2520231"/>
                </a:cubicBezTo>
                <a:cubicBezTo>
                  <a:pt x="5028716" y="2520231"/>
                  <a:pt x="5028716" y="2520231"/>
                  <a:pt x="5033414" y="2506138"/>
                </a:cubicBezTo>
                <a:cubicBezTo>
                  <a:pt x="5033414" y="2489695"/>
                  <a:pt x="5033414" y="2489695"/>
                  <a:pt x="5033414" y="2475601"/>
                </a:cubicBezTo>
                <a:cubicBezTo>
                  <a:pt x="5038111" y="2475601"/>
                  <a:pt x="5056902" y="2447413"/>
                  <a:pt x="5056902" y="2438019"/>
                </a:cubicBezTo>
                <a:cubicBezTo>
                  <a:pt x="5056902" y="2433321"/>
                  <a:pt x="5054553" y="2423923"/>
                  <a:pt x="5052204" y="2421576"/>
                </a:cubicBezTo>
                <a:cubicBezTo>
                  <a:pt x="5028716" y="2421576"/>
                  <a:pt x="5042809" y="2405140"/>
                  <a:pt x="5009926" y="2405140"/>
                </a:cubicBezTo>
                <a:cubicBezTo>
                  <a:pt x="5007577" y="2405140"/>
                  <a:pt x="5007577" y="2402786"/>
                  <a:pt x="5005228" y="2402786"/>
                </a:cubicBezTo>
                <a:cubicBezTo>
                  <a:pt x="5002880" y="2402786"/>
                  <a:pt x="5005228" y="2405140"/>
                  <a:pt x="5000531" y="2405140"/>
                </a:cubicBezTo>
                <a:cubicBezTo>
                  <a:pt x="5000531" y="2395739"/>
                  <a:pt x="4977043" y="2388703"/>
                  <a:pt x="4967648" y="2388703"/>
                </a:cubicBezTo>
                <a:cubicBezTo>
                  <a:pt x="4969997" y="2386351"/>
                  <a:pt x="4969997" y="2386351"/>
                  <a:pt x="4969997" y="2381650"/>
                </a:cubicBezTo>
                <a:cubicBezTo>
                  <a:pt x="4969997" y="2379300"/>
                  <a:pt x="4969997" y="2379300"/>
                  <a:pt x="4969997" y="2379300"/>
                </a:cubicBezTo>
                <a:cubicBezTo>
                  <a:pt x="4969997" y="2372252"/>
                  <a:pt x="4962950" y="2358160"/>
                  <a:pt x="4958253" y="2355810"/>
                </a:cubicBezTo>
                <a:cubicBezTo>
                  <a:pt x="4948858" y="2348763"/>
                  <a:pt x="4948858" y="2348763"/>
                  <a:pt x="4934765" y="2348763"/>
                </a:cubicBezTo>
                <a:cubicBezTo>
                  <a:pt x="4930068" y="2346420"/>
                  <a:pt x="4927719" y="2339369"/>
                  <a:pt x="4923021" y="2334671"/>
                </a:cubicBezTo>
                <a:cubicBezTo>
                  <a:pt x="4923021" y="2332323"/>
                  <a:pt x="4911277" y="2322938"/>
                  <a:pt x="4911277" y="2322938"/>
                </a:cubicBezTo>
                <a:lnTo>
                  <a:pt x="4904231" y="2322938"/>
                </a:lnTo>
                <a:cubicBezTo>
                  <a:pt x="4904231" y="2322938"/>
                  <a:pt x="4904231" y="2322938"/>
                  <a:pt x="4904231" y="2325277"/>
                </a:cubicBezTo>
                <a:cubicBezTo>
                  <a:pt x="4904231" y="2325277"/>
                  <a:pt x="4904231" y="2325277"/>
                  <a:pt x="4901882" y="2325277"/>
                </a:cubicBezTo>
                <a:cubicBezTo>
                  <a:pt x="4899533" y="2325277"/>
                  <a:pt x="4899533" y="2322938"/>
                  <a:pt x="4897184" y="2322938"/>
                </a:cubicBezTo>
                <a:cubicBezTo>
                  <a:pt x="4894836" y="2322938"/>
                  <a:pt x="4894836" y="2325277"/>
                  <a:pt x="4892487" y="2325277"/>
                </a:cubicBezTo>
                <a:cubicBezTo>
                  <a:pt x="4890138" y="2320594"/>
                  <a:pt x="4890138" y="2320594"/>
                  <a:pt x="4885441" y="2315889"/>
                </a:cubicBezTo>
                <a:cubicBezTo>
                  <a:pt x="4885441" y="2318240"/>
                  <a:pt x="4885441" y="2318240"/>
                  <a:pt x="4885441" y="2320594"/>
                </a:cubicBezTo>
                <a:cubicBezTo>
                  <a:pt x="4883092" y="2320594"/>
                  <a:pt x="4883092" y="2320594"/>
                  <a:pt x="4880743" y="2322938"/>
                </a:cubicBezTo>
                <a:cubicBezTo>
                  <a:pt x="4880743" y="2318240"/>
                  <a:pt x="4880743" y="2318240"/>
                  <a:pt x="4883092" y="2315889"/>
                </a:cubicBezTo>
                <a:cubicBezTo>
                  <a:pt x="4880743" y="2313539"/>
                  <a:pt x="4880743" y="2313539"/>
                  <a:pt x="4878395" y="2313539"/>
                </a:cubicBezTo>
                <a:cubicBezTo>
                  <a:pt x="4878395" y="2318240"/>
                  <a:pt x="4876046" y="2320594"/>
                  <a:pt x="4873697" y="2320594"/>
                </a:cubicBezTo>
                <a:cubicBezTo>
                  <a:pt x="4873697" y="2320594"/>
                  <a:pt x="4873697" y="2320594"/>
                  <a:pt x="4871348" y="2320594"/>
                </a:cubicBezTo>
                <a:cubicBezTo>
                  <a:pt x="4871348" y="2322938"/>
                  <a:pt x="4871348" y="2322938"/>
                  <a:pt x="4871348" y="2322938"/>
                </a:cubicBezTo>
                <a:cubicBezTo>
                  <a:pt x="4868999" y="2322938"/>
                  <a:pt x="4868999" y="2322938"/>
                  <a:pt x="4868999" y="2322938"/>
                </a:cubicBezTo>
                <a:cubicBezTo>
                  <a:pt x="4864302" y="2329971"/>
                  <a:pt x="4864302" y="2329971"/>
                  <a:pt x="4861953" y="2339369"/>
                </a:cubicBezTo>
                <a:cubicBezTo>
                  <a:pt x="4861953" y="2337017"/>
                  <a:pt x="4861953" y="2337017"/>
                  <a:pt x="4859604" y="2334671"/>
                </a:cubicBezTo>
                <a:cubicBezTo>
                  <a:pt x="4857255" y="2334671"/>
                  <a:pt x="4857255" y="2334671"/>
                  <a:pt x="4854907" y="2334671"/>
                </a:cubicBezTo>
                <a:cubicBezTo>
                  <a:pt x="4852558" y="2337017"/>
                  <a:pt x="4852558" y="2337017"/>
                  <a:pt x="4850209" y="2339369"/>
                </a:cubicBezTo>
                <a:cubicBezTo>
                  <a:pt x="4840814" y="2327617"/>
                  <a:pt x="4845511" y="2327617"/>
                  <a:pt x="4847860" y="2304141"/>
                </a:cubicBezTo>
                <a:cubicBezTo>
                  <a:pt x="4845511" y="2301787"/>
                  <a:pt x="4845511" y="2299444"/>
                  <a:pt x="4843163" y="2301787"/>
                </a:cubicBezTo>
                <a:cubicBezTo>
                  <a:pt x="4840814" y="2304141"/>
                  <a:pt x="4840814" y="2304141"/>
                  <a:pt x="4838465" y="2304141"/>
                </a:cubicBezTo>
                <a:cubicBezTo>
                  <a:pt x="4838465" y="2301787"/>
                  <a:pt x="4838465" y="2301787"/>
                  <a:pt x="4838465" y="2301787"/>
                </a:cubicBezTo>
                <a:cubicBezTo>
                  <a:pt x="4838465" y="2299444"/>
                  <a:pt x="4838465" y="2299444"/>
                  <a:pt x="4838465" y="2297102"/>
                </a:cubicBezTo>
                <a:cubicBezTo>
                  <a:pt x="4840814" y="2290048"/>
                  <a:pt x="4840814" y="2287702"/>
                  <a:pt x="4843163" y="2278306"/>
                </a:cubicBezTo>
                <a:cubicBezTo>
                  <a:pt x="4845511" y="2275956"/>
                  <a:pt x="4845511" y="2275956"/>
                  <a:pt x="4845511" y="2273606"/>
                </a:cubicBezTo>
                <a:cubicBezTo>
                  <a:pt x="4845511" y="2273606"/>
                  <a:pt x="4845511" y="2273606"/>
                  <a:pt x="4845511" y="2271258"/>
                </a:cubicBezTo>
                <a:close/>
                <a:moveTo>
                  <a:pt x="4850797" y="2270081"/>
                </a:moveTo>
                <a:cubicBezTo>
                  <a:pt x="4848448" y="2271845"/>
                  <a:pt x="4845512" y="2275957"/>
                  <a:pt x="4843163" y="2280654"/>
                </a:cubicBezTo>
                <a:cubicBezTo>
                  <a:pt x="4847860" y="2278306"/>
                  <a:pt x="4847860" y="2278306"/>
                  <a:pt x="4850209" y="2273606"/>
                </a:cubicBezTo>
                <a:cubicBezTo>
                  <a:pt x="4850209" y="2273606"/>
                  <a:pt x="4850209" y="2273606"/>
                  <a:pt x="4850209" y="2275956"/>
                </a:cubicBezTo>
                <a:cubicBezTo>
                  <a:pt x="4852558" y="2278306"/>
                  <a:pt x="4852558" y="2278306"/>
                  <a:pt x="4857255" y="2278306"/>
                </a:cubicBezTo>
                <a:cubicBezTo>
                  <a:pt x="4857255" y="2280654"/>
                  <a:pt x="4857255" y="2280654"/>
                  <a:pt x="4859604" y="2282998"/>
                </a:cubicBezTo>
                <a:cubicBezTo>
                  <a:pt x="4859604" y="2285352"/>
                  <a:pt x="4859604" y="2285352"/>
                  <a:pt x="4859604" y="2287702"/>
                </a:cubicBezTo>
                <a:cubicBezTo>
                  <a:pt x="4864302" y="2285352"/>
                  <a:pt x="4864302" y="2285352"/>
                  <a:pt x="4868999" y="2285352"/>
                </a:cubicBezTo>
                <a:cubicBezTo>
                  <a:pt x="4868999" y="2278306"/>
                  <a:pt x="4859604" y="2271258"/>
                  <a:pt x="4854907" y="2273606"/>
                </a:cubicBezTo>
                <a:cubicBezTo>
                  <a:pt x="4854907" y="2268908"/>
                  <a:pt x="4853146" y="2268321"/>
                  <a:pt x="4850797" y="2270081"/>
                </a:cubicBezTo>
                <a:close/>
                <a:moveTo>
                  <a:pt x="3686389" y="2266265"/>
                </a:moveTo>
                <a:cubicBezTo>
                  <a:pt x="3685216" y="2264209"/>
                  <a:pt x="3684040" y="2263036"/>
                  <a:pt x="3680517" y="2266559"/>
                </a:cubicBezTo>
                <a:cubicBezTo>
                  <a:pt x="3678169" y="2271258"/>
                  <a:pt x="3687563" y="2278306"/>
                  <a:pt x="3692261" y="2271258"/>
                </a:cubicBezTo>
                <a:cubicBezTo>
                  <a:pt x="3688738" y="2271258"/>
                  <a:pt x="3687563" y="2268321"/>
                  <a:pt x="3686389" y="2266265"/>
                </a:cubicBezTo>
                <a:close/>
                <a:moveTo>
                  <a:pt x="4837844" y="2254901"/>
                </a:moveTo>
                <a:lnTo>
                  <a:pt x="4837287" y="2254980"/>
                </a:lnTo>
                <a:lnTo>
                  <a:pt x="4836116" y="2259511"/>
                </a:lnTo>
                <a:lnTo>
                  <a:pt x="4836116" y="2260789"/>
                </a:lnTo>
                <a:lnTo>
                  <a:pt x="4831463" y="2276657"/>
                </a:lnTo>
                <a:lnTo>
                  <a:pt x="4833586" y="2280338"/>
                </a:lnTo>
                <a:lnTo>
                  <a:pt x="4833768" y="2275956"/>
                </a:lnTo>
                <a:cubicBezTo>
                  <a:pt x="4833768" y="2268908"/>
                  <a:pt x="4833768" y="2268908"/>
                  <a:pt x="4836116" y="2264209"/>
                </a:cubicBezTo>
                <a:lnTo>
                  <a:pt x="4836116" y="2260789"/>
                </a:lnTo>
                <a:close/>
                <a:moveTo>
                  <a:pt x="6853717" y="2252470"/>
                </a:moveTo>
                <a:cubicBezTo>
                  <a:pt x="6853717" y="2252470"/>
                  <a:pt x="6853717" y="2252470"/>
                  <a:pt x="6863112" y="2259519"/>
                </a:cubicBezTo>
                <a:cubicBezTo>
                  <a:pt x="6860763" y="2257169"/>
                  <a:pt x="6858414" y="2254820"/>
                  <a:pt x="6853717" y="2252470"/>
                </a:cubicBezTo>
                <a:close/>
                <a:moveTo>
                  <a:pt x="5787373" y="2250114"/>
                </a:moveTo>
                <a:lnTo>
                  <a:pt x="5780326" y="2257163"/>
                </a:lnTo>
                <a:lnTo>
                  <a:pt x="5787373" y="2259511"/>
                </a:lnTo>
                <a:close/>
                <a:moveTo>
                  <a:pt x="5787373" y="2238373"/>
                </a:moveTo>
                <a:lnTo>
                  <a:pt x="5780326" y="2245423"/>
                </a:lnTo>
                <a:lnTo>
                  <a:pt x="5792070" y="2245423"/>
                </a:lnTo>
                <a:close/>
                <a:moveTo>
                  <a:pt x="4023439" y="2238373"/>
                </a:moveTo>
                <a:cubicBezTo>
                  <a:pt x="4002300" y="2233675"/>
                  <a:pt x="3990556" y="2254816"/>
                  <a:pt x="3976463" y="2273606"/>
                </a:cubicBezTo>
                <a:cubicBezTo>
                  <a:pt x="4002300" y="2282998"/>
                  <a:pt x="4011695" y="2252465"/>
                  <a:pt x="4023439" y="2238373"/>
                </a:cubicBezTo>
                <a:close/>
                <a:moveTo>
                  <a:pt x="6823182" y="2233679"/>
                </a:moveTo>
                <a:cubicBezTo>
                  <a:pt x="6832577" y="2238381"/>
                  <a:pt x="6844321" y="2245428"/>
                  <a:pt x="6853717" y="2252470"/>
                </a:cubicBezTo>
                <a:cubicBezTo>
                  <a:pt x="6853717" y="2252470"/>
                  <a:pt x="6853717" y="2252470"/>
                  <a:pt x="6849019" y="2250117"/>
                </a:cubicBezTo>
                <a:lnTo>
                  <a:pt x="6894686" y="2281178"/>
                </a:lnTo>
                <a:close/>
                <a:moveTo>
                  <a:pt x="6843634" y="2229036"/>
                </a:moveTo>
                <a:lnTo>
                  <a:pt x="6863112" y="2240725"/>
                </a:lnTo>
                <a:cubicBezTo>
                  <a:pt x="6870158" y="2245423"/>
                  <a:pt x="6877204" y="2252467"/>
                  <a:pt x="6884250" y="2257163"/>
                </a:cubicBezTo>
                <a:cubicBezTo>
                  <a:pt x="6888948" y="2261861"/>
                  <a:pt x="6895994" y="2264209"/>
                  <a:pt x="6900692" y="2268908"/>
                </a:cubicBezTo>
                <a:cubicBezTo>
                  <a:pt x="6910087" y="2275956"/>
                  <a:pt x="6919482" y="2282998"/>
                  <a:pt x="6928877" y="2290048"/>
                </a:cubicBezTo>
                <a:close/>
                <a:moveTo>
                  <a:pt x="6804393" y="2221935"/>
                </a:moveTo>
                <a:lnTo>
                  <a:pt x="6813787" y="2226637"/>
                </a:lnTo>
                <a:cubicBezTo>
                  <a:pt x="6816136" y="2228981"/>
                  <a:pt x="6820833" y="2231329"/>
                  <a:pt x="6823182" y="2233679"/>
                </a:cubicBezTo>
                <a:close/>
                <a:moveTo>
                  <a:pt x="5770931" y="2219581"/>
                </a:moveTo>
                <a:cubicBezTo>
                  <a:pt x="5775629" y="2233674"/>
                  <a:pt x="5768582" y="2219581"/>
                  <a:pt x="5773280" y="2233674"/>
                </a:cubicBezTo>
                <a:lnTo>
                  <a:pt x="5787373" y="2231320"/>
                </a:lnTo>
                <a:lnTo>
                  <a:pt x="5787373" y="2228978"/>
                </a:lnTo>
                <a:lnTo>
                  <a:pt x="5777977" y="2228978"/>
                </a:lnTo>
                <a:lnTo>
                  <a:pt x="5782675" y="2221931"/>
                </a:lnTo>
                <a:lnTo>
                  <a:pt x="5782675" y="2219581"/>
                </a:lnTo>
                <a:close/>
                <a:moveTo>
                  <a:pt x="2703426" y="2217233"/>
                </a:moveTo>
                <a:cubicBezTo>
                  <a:pt x="2703426" y="2219581"/>
                  <a:pt x="2701076" y="2221931"/>
                  <a:pt x="2696379" y="2219581"/>
                </a:cubicBezTo>
                <a:cubicBezTo>
                  <a:pt x="2694030" y="2226630"/>
                  <a:pt x="2691681" y="2233675"/>
                  <a:pt x="2703426" y="2236029"/>
                </a:cubicBezTo>
                <a:cubicBezTo>
                  <a:pt x="2705774" y="2228978"/>
                  <a:pt x="2710471" y="2219581"/>
                  <a:pt x="2703426" y="2217233"/>
                </a:cubicBezTo>
                <a:close/>
                <a:moveTo>
                  <a:pt x="6001110" y="2212537"/>
                </a:moveTo>
                <a:cubicBezTo>
                  <a:pt x="5977622" y="2292402"/>
                  <a:pt x="5958832" y="2369910"/>
                  <a:pt x="5907159" y="2442725"/>
                </a:cubicBezTo>
                <a:cubicBezTo>
                  <a:pt x="5925949" y="2365209"/>
                  <a:pt x="5958832" y="2287706"/>
                  <a:pt x="6001110" y="2212537"/>
                </a:cubicBezTo>
                <a:close/>
                <a:moveTo>
                  <a:pt x="5521959" y="2207839"/>
                </a:moveTo>
                <a:cubicBezTo>
                  <a:pt x="5529006" y="2221931"/>
                  <a:pt x="5529006" y="2221931"/>
                  <a:pt x="5536052" y="2233673"/>
                </a:cubicBezTo>
                <a:cubicBezTo>
                  <a:pt x="5533703" y="2233673"/>
                  <a:pt x="5533703" y="2233673"/>
                  <a:pt x="5533703" y="2233673"/>
                </a:cubicBezTo>
                <a:cubicBezTo>
                  <a:pt x="5540750" y="2238372"/>
                  <a:pt x="5543098" y="2243073"/>
                  <a:pt x="5545447" y="2252465"/>
                </a:cubicBezTo>
                <a:cubicBezTo>
                  <a:pt x="5547796" y="2264208"/>
                  <a:pt x="5552493" y="2261859"/>
                  <a:pt x="5559540" y="2266557"/>
                </a:cubicBezTo>
                <a:cubicBezTo>
                  <a:pt x="5566586" y="2278300"/>
                  <a:pt x="5573632" y="2290047"/>
                  <a:pt x="5573632" y="2308838"/>
                </a:cubicBezTo>
                <a:cubicBezTo>
                  <a:pt x="5571284" y="2308838"/>
                  <a:pt x="5552493" y="2290047"/>
                  <a:pt x="5552493" y="2290047"/>
                </a:cubicBezTo>
                <a:cubicBezTo>
                  <a:pt x="5547796" y="2285350"/>
                  <a:pt x="5547796" y="2282998"/>
                  <a:pt x="5545447" y="2275954"/>
                </a:cubicBezTo>
                <a:cubicBezTo>
                  <a:pt x="5543098" y="2268906"/>
                  <a:pt x="5540750" y="2273605"/>
                  <a:pt x="5538401" y="2264208"/>
                </a:cubicBezTo>
                <a:cubicBezTo>
                  <a:pt x="5536052" y="2254812"/>
                  <a:pt x="5538401" y="2250113"/>
                  <a:pt x="5533703" y="2245421"/>
                </a:cubicBezTo>
                <a:cubicBezTo>
                  <a:pt x="5529006" y="2238372"/>
                  <a:pt x="5529006" y="2245421"/>
                  <a:pt x="5526657" y="2236024"/>
                </a:cubicBezTo>
                <a:cubicBezTo>
                  <a:pt x="5526657" y="2228976"/>
                  <a:pt x="5517262" y="2219581"/>
                  <a:pt x="5514913" y="2210184"/>
                </a:cubicBezTo>
                <a:cubicBezTo>
                  <a:pt x="5519610" y="2210184"/>
                  <a:pt x="5519610" y="2210184"/>
                  <a:pt x="5521959" y="2207839"/>
                </a:cubicBezTo>
                <a:close/>
                <a:moveTo>
                  <a:pt x="4634121" y="2207839"/>
                </a:moveTo>
                <a:cubicBezTo>
                  <a:pt x="4627075" y="2240725"/>
                  <a:pt x="4591843" y="2212534"/>
                  <a:pt x="4577750" y="2231324"/>
                </a:cubicBezTo>
                <a:cubicBezTo>
                  <a:pt x="4584797" y="2257163"/>
                  <a:pt x="4601238" y="2292396"/>
                  <a:pt x="4570704" y="2297103"/>
                </a:cubicBezTo>
                <a:cubicBezTo>
                  <a:pt x="4657609" y="2388703"/>
                  <a:pt x="4779745" y="2252465"/>
                  <a:pt x="4634121" y="2207839"/>
                </a:cubicBezTo>
                <a:close/>
                <a:moveTo>
                  <a:pt x="4011695" y="2191392"/>
                </a:moveTo>
                <a:cubicBezTo>
                  <a:pt x="4004648" y="2203143"/>
                  <a:pt x="3990556" y="2196093"/>
                  <a:pt x="3985858" y="2207839"/>
                </a:cubicBezTo>
                <a:cubicBezTo>
                  <a:pt x="3997603" y="2217233"/>
                  <a:pt x="4021090" y="2196093"/>
                  <a:pt x="4011695" y="2191392"/>
                </a:cubicBezTo>
                <a:close/>
                <a:moveTo>
                  <a:pt x="3996281" y="2190404"/>
                </a:moveTo>
                <a:cubicBezTo>
                  <a:pt x="3998924" y="2190074"/>
                  <a:pt x="3960609" y="2191392"/>
                  <a:pt x="3976463" y="2191392"/>
                </a:cubicBezTo>
                <a:cubicBezTo>
                  <a:pt x="3989969" y="2190809"/>
                  <a:pt x="3995400" y="2190514"/>
                  <a:pt x="3996281" y="2190404"/>
                </a:cubicBezTo>
                <a:close/>
                <a:moveTo>
                  <a:pt x="6743324" y="2189047"/>
                </a:moveTo>
                <a:lnTo>
                  <a:pt x="6804393" y="2221935"/>
                </a:lnTo>
                <a:lnTo>
                  <a:pt x="6773859" y="2205495"/>
                </a:lnTo>
                <a:cubicBezTo>
                  <a:pt x="6764463" y="2200797"/>
                  <a:pt x="6755068" y="2193745"/>
                  <a:pt x="6743324" y="2189047"/>
                </a:cubicBezTo>
                <a:close/>
                <a:moveTo>
                  <a:pt x="4742165" y="2165556"/>
                </a:moveTo>
                <a:cubicBezTo>
                  <a:pt x="4742165" y="2167897"/>
                  <a:pt x="4742165" y="2170238"/>
                  <a:pt x="4742165" y="2172581"/>
                </a:cubicBezTo>
                <a:cubicBezTo>
                  <a:pt x="4739816" y="2172581"/>
                  <a:pt x="4737467" y="2170238"/>
                  <a:pt x="4737467" y="2170238"/>
                </a:cubicBezTo>
                <a:cubicBezTo>
                  <a:pt x="4730421" y="2167897"/>
                  <a:pt x="4725723" y="2174939"/>
                  <a:pt x="4718677" y="2172581"/>
                </a:cubicBezTo>
                <a:cubicBezTo>
                  <a:pt x="4728072" y="2174939"/>
                  <a:pt x="4737467" y="2177291"/>
                  <a:pt x="4746862" y="2174939"/>
                </a:cubicBezTo>
                <a:cubicBezTo>
                  <a:pt x="4749211" y="2174939"/>
                  <a:pt x="4751560" y="2172581"/>
                  <a:pt x="4753909" y="2172581"/>
                </a:cubicBezTo>
                <a:cubicBezTo>
                  <a:pt x="4749211" y="2170238"/>
                  <a:pt x="4746862" y="2167897"/>
                  <a:pt x="4742165" y="2165556"/>
                </a:cubicBezTo>
                <a:close/>
                <a:moveTo>
                  <a:pt x="5512566" y="2156184"/>
                </a:moveTo>
                <a:cubicBezTo>
                  <a:pt x="5507868" y="2158525"/>
                  <a:pt x="5507868" y="2158525"/>
                  <a:pt x="5500822" y="2158525"/>
                </a:cubicBezTo>
                <a:cubicBezTo>
                  <a:pt x="5500822" y="2163206"/>
                  <a:pt x="5500822" y="2165556"/>
                  <a:pt x="5503170" y="2165556"/>
                </a:cubicBezTo>
                <a:cubicBezTo>
                  <a:pt x="5507868" y="2167897"/>
                  <a:pt x="5510217" y="2163206"/>
                  <a:pt x="5512566" y="2156184"/>
                </a:cubicBezTo>
                <a:close/>
                <a:moveTo>
                  <a:pt x="4697538" y="2151512"/>
                </a:moveTo>
                <a:cubicBezTo>
                  <a:pt x="4699887" y="2160874"/>
                  <a:pt x="4709282" y="2167897"/>
                  <a:pt x="4709282" y="2156193"/>
                </a:cubicBezTo>
                <a:cubicBezTo>
                  <a:pt x="4706933" y="2156193"/>
                  <a:pt x="4702236" y="2153852"/>
                  <a:pt x="4697538" y="2151512"/>
                </a:cubicBezTo>
                <a:close/>
                <a:moveTo>
                  <a:pt x="3948278" y="2144444"/>
                </a:moveTo>
                <a:cubicBezTo>
                  <a:pt x="3921854" y="2149742"/>
                  <a:pt x="3948278" y="2145768"/>
                  <a:pt x="3953232" y="2144444"/>
                </a:cubicBezTo>
                <a:cubicBezTo>
                  <a:pt x="3954884" y="2144003"/>
                  <a:pt x="3954150" y="2143857"/>
                  <a:pt x="3948278" y="2144444"/>
                </a:cubicBezTo>
                <a:close/>
                <a:moveTo>
                  <a:pt x="1992664" y="2139718"/>
                </a:moveTo>
                <a:lnTo>
                  <a:pt x="1990170" y="2143783"/>
                </a:lnTo>
                <a:lnTo>
                  <a:pt x="1986573" y="2147360"/>
                </a:lnTo>
                <a:close/>
                <a:moveTo>
                  <a:pt x="5601819" y="2137391"/>
                </a:moveTo>
                <a:cubicBezTo>
                  <a:pt x="5601819" y="2137391"/>
                  <a:pt x="5601819" y="2137391"/>
                  <a:pt x="5604168" y="2137391"/>
                </a:cubicBezTo>
                <a:cubicBezTo>
                  <a:pt x="5606517" y="2146799"/>
                  <a:pt x="5601819" y="2137391"/>
                  <a:pt x="5606517" y="2144444"/>
                </a:cubicBezTo>
                <a:cubicBezTo>
                  <a:pt x="5604168" y="2144444"/>
                  <a:pt x="5604168" y="2144444"/>
                  <a:pt x="5601819" y="2142092"/>
                </a:cubicBezTo>
                <a:cubicBezTo>
                  <a:pt x="5601819" y="2139745"/>
                  <a:pt x="5601819" y="2139745"/>
                  <a:pt x="5601819" y="2137391"/>
                </a:cubicBezTo>
                <a:close/>
                <a:moveTo>
                  <a:pt x="6635280" y="2132698"/>
                </a:moveTo>
                <a:cubicBezTo>
                  <a:pt x="6637629" y="2132698"/>
                  <a:pt x="6639978" y="2135051"/>
                  <a:pt x="6642327" y="2135051"/>
                </a:cubicBezTo>
                <a:cubicBezTo>
                  <a:pt x="6656419" y="2142092"/>
                  <a:pt x="6670512" y="2146800"/>
                  <a:pt x="6684604" y="2153852"/>
                </a:cubicBezTo>
                <a:cubicBezTo>
                  <a:pt x="6696348" y="2158534"/>
                  <a:pt x="6705743" y="2163216"/>
                  <a:pt x="6715138" y="2167897"/>
                </a:cubicBezTo>
                <a:cubicBezTo>
                  <a:pt x="6686953" y="2153852"/>
                  <a:pt x="6661117" y="2142092"/>
                  <a:pt x="6635280" y="2132698"/>
                </a:cubicBezTo>
                <a:close/>
                <a:moveTo>
                  <a:pt x="5745095" y="2132698"/>
                </a:moveTo>
                <a:lnTo>
                  <a:pt x="5738048" y="2139749"/>
                </a:lnTo>
                <a:lnTo>
                  <a:pt x="5749792" y="2139749"/>
                </a:lnTo>
                <a:close/>
                <a:moveTo>
                  <a:pt x="965350" y="2130348"/>
                </a:moveTo>
                <a:cubicBezTo>
                  <a:pt x="967700" y="2132698"/>
                  <a:pt x="967700" y="2132698"/>
                  <a:pt x="970050" y="2135053"/>
                </a:cubicBezTo>
                <a:cubicBezTo>
                  <a:pt x="972393" y="2139752"/>
                  <a:pt x="965350" y="2146803"/>
                  <a:pt x="965350" y="2151512"/>
                </a:cubicBezTo>
                <a:cubicBezTo>
                  <a:pt x="960650" y="2153852"/>
                  <a:pt x="958302" y="2153852"/>
                  <a:pt x="953607" y="2153852"/>
                </a:cubicBezTo>
                <a:lnTo>
                  <a:pt x="953607" y="2135053"/>
                </a:lnTo>
                <a:cubicBezTo>
                  <a:pt x="958302" y="2130348"/>
                  <a:pt x="960650" y="2127997"/>
                  <a:pt x="965350" y="2130348"/>
                </a:cubicBezTo>
                <a:close/>
                <a:moveTo>
                  <a:pt x="4742165" y="2130345"/>
                </a:moveTo>
                <a:cubicBezTo>
                  <a:pt x="4739816" y="2132696"/>
                  <a:pt x="4737467" y="2135051"/>
                  <a:pt x="4735118" y="2137393"/>
                </a:cubicBezTo>
                <a:cubicBezTo>
                  <a:pt x="4730421" y="2135051"/>
                  <a:pt x="4725723" y="2135051"/>
                  <a:pt x="4721026" y="2132696"/>
                </a:cubicBezTo>
                <a:cubicBezTo>
                  <a:pt x="4716328" y="2135051"/>
                  <a:pt x="4713980" y="2135051"/>
                  <a:pt x="4709282" y="2137393"/>
                </a:cubicBezTo>
                <a:cubicBezTo>
                  <a:pt x="4711631" y="2139749"/>
                  <a:pt x="4716328" y="2144444"/>
                  <a:pt x="4721026" y="2146800"/>
                </a:cubicBezTo>
                <a:cubicBezTo>
                  <a:pt x="4725723" y="2146800"/>
                  <a:pt x="4728072" y="2146800"/>
                  <a:pt x="4732770" y="2146800"/>
                </a:cubicBezTo>
                <a:cubicBezTo>
                  <a:pt x="4732770" y="2156193"/>
                  <a:pt x="4742165" y="2167897"/>
                  <a:pt x="4753909" y="2165556"/>
                </a:cubicBezTo>
                <a:cubicBezTo>
                  <a:pt x="4756257" y="2167897"/>
                  <a:pt x="4758606" y="2167897"/>
                  <a:pt x="4760955" y="2170238"/>
                </a:cubicBezTo>
                <a:cubicBezTo>
                  <a:pt x="4765653" y="2167897"/>
                  <a:pt x="4768001" y="2163216"/>
                  <a:pt x="4772699" y="2158534"/>
                </a:cubicBezTo>
                <a:cubicBezTo>
                  <a:pt x="4770350" y="2156193"/>
                  <a:pt x="4765653" y="2153852"/>
                  <a:pt x="4763304" y="2153852"/>
                </a:cubicBezTo>
                <a:cubicBezTo>
                  <a:pt x="4763304" y="2153852"/>
                  <a:pt x="4760955" y="2153852"/>
                  <a:pt x="4760955" y="2153852"/>
                </a:cubicBezTo>
                <a:cubicBezTo>
                  <a:pt x="4758606" y="2144444"/>
                  <a:pt x="4756257" y="2135051"/>
                  <a:pt x="4742165" y="2130345"/>
                </a:cubicBezTo>
                <a:close/>
                <a:moveTo>
                  <a:pt x="5733351" y="2123299"/>
                </a:moveTo>
                <a:lnTo>
                  <a:pt x="5738048" y="2130346"/>
                </a:lnTo>
                <a:lnTo>
                  <a:pt x="5745095" y="2123299"/>
                </a:lnTo>
                <a:close/>
                <a:moveTo>
                  <a:pt x="5622957" y="2120947"/>
                </a:moveTo>
                <a:cubicBezTo>
                  <a:pt x="5625306" y="2125645"/>
                  <a:pt x="5625306" y="2125645"/>
                  <a:pt x="5627655" y="2130344"/>
                </a:cubicBezTo>
                <a:cubicBezTo>
                  <a:pt x="5627655" y="2130344"/>
                  <a:pt x="5627655" y="2135047"/>
                  <a:pt x="5625306" y="2135047"/>
                </a:cubicBezTo>
                <a:cubicBezTo>
                  <a:pt x="5625306" y="2135047"/>
                  <a:pt x="5622957" y="2132696"/>
                  <a:pt x="5622957" y="2132696"/>
                </a:cubicBezTo>
                <a:cubicBezTo>
                  <a:pt x="5622957" y="2132696"/>
                  <a:pt x="5622957" y="2132696"/>
                  <a:pt x="5620608" y="2132696"/>
                </a:cubicBezTo>
                <a:cubicBezTo>
                  <a:pt x="5618260" y="2127994"/>
                  <a:pt x="5618260" y="2127994"/>
                  <a:pt x="5618260" y="2123297"/>
                </a:cubicBezTo>
                <a:cubicBezTo>
                  <a:pt x="5620608" y="2120947"/>
                  <a:pt x="5620608" y="2120947"/>
                  <a:pt x="5622957" y="2120947"/>
                </a:cubicBezTo>
                <a:close/>
                <a:moveTo>
                  <a:pt x="4758606" y="2118599"/>
                </a:moveTo>
                <a:cubicBezTo>
                  <a:pt x="4756257" y="2118599"/>
                  <a:pt x="4751560" y="2120948"/>
                  <a:pt x="4749211" y="2120948"/>
                </a:cubicBezTo>
                <a:cubicBezTo>
                  <a:pt x="4756257" y="2123298"/>
                  <a:pt x="4760955" y="2125650"/>
                  <a:pt x="4765653" y="2127997"/>
                </a:cubicBezTo>
                <a:cubicBezTo>
                  <a:pt x="4763304" y="2125650"/>
                  <a:pt x="4760955" y="2120948"/>
                  <a:pt x="4758606" y="2118599"/>
                </a:cubicBezTo>
                <a:close/>
                <a:moveTo>
                  <a:pt x="5714560" y="2116252"/>
                </a:moveTo>
                <a:cubicBezTo>
                  <a:pt x="5721607" y="2130346"/>
                  <a:pt x="5707514" y="2120948"/>
                  <a:pt x="5721607" y="2130346"/>
                </a:cubicBezTo>
                <a:lnTo>
                  <a:pt x="5723956" y="2116252"/>
                </a:lnTo>
                <a:close/>
                <a:moveTo>
                  <a:pt x="5583028" y="2106854"/>
                </a:moveTo>
                <a:cubicBezTo>
                  <a:pt x="5585376" y="2106854"/>
                  <a:pt x="5585376" y="2106854"/>
                  <a:pt x="5590074" y="2109199"/>
                </a:cubicBezTo>
                <a:cubicBezTo>
                  <a:pt x="5590074" y="2109199"/>
                  <a:pt x="5590074" y="2109199"/>
                  <a:pt x="5590074" y="2111551"/>
                </a:cubicBezTo>
                <a:cubicBezTo>
                  <a:pt x="5592423" y="2116249"/>
                  <a:pt x="5590074" y="2113899"/>
                  <a:pt x="5585376" y="2113899"/>
                </a:cubicBezTo>
                <a:cubicBezTo>
                  <a:pt x="5583028" y="2116249"/>
                  <a:pt x="5583028" y="2116249"/>
                  <a:pt x="5580679" y="2118595"/>
                </a:cubicBezTo>
                <a:cubicBezTo>
                  <a:pt x="5583028" y="2118595"/>
                  <a:pt x="5583028" y="2118595"/>
                  <a:pt x="5583028" y="2118595"/>
                </a:cubicBezTo>
                <a:cubicBezTo>
                  <a:pt x="5585376" y="2123296"/>
                  <a:pt x="5585376" y="2123296"/>
                  <a:pt x="5590074" y="2127994"/>
                </a:cubicBezTo>
                <a:cubicBezTo>
                  <a:pt x="5592423" y="2130344"/>
                  <a:pt x="5592423" y="2130344"/>
                  <a:pt x="5594771" y="2132694"/>
                </a:cubicBezTo>
                <a:cubicBezTo>
                  <a:pt x="5597120" y="2146799"/>
                  <a:pt x="5599469" y="2151503"/>
                  <a:pt x="5606515" y="2156184"/>
                </a:cubicBezTo>
                <a:cubicBezTo>
                  <a:pt x="5604166" y="2163206"/>
                  <a:pt x="5615910" y="2170238"/>
                  <a:pt x="5601818" y="2170238"/>
                </a:cubicBezTo>
                <a:cubicBezTo>
                  <a:pt x="5597120" y="2170238"/>
                  <a:pt x="5585376" y="2163206"/>
                  <a:pt x="5585376" y="2158525"/>
                </a:cubicBezTo>
                <a:cubicBezTo>
                  <a:pt x="5583028" y="2151503"/>
                  <a:pt x="5587725" y="2153844"/>
                  <a:pt x="5585376" y="2146799"/>
                </a:cubicBezTo>
                <a:cubicBezTo>
                  <a:pt x="5585376" y="2144444"/>
                  <a:pt x="5585376" y="2144444"/>
                  <a:pt x="5587725" y="2144444"/>
                </a:cubicBezTo>
                <a:cubicBezTo>
                  <a:pt x="5585376" y="2142092"/>
                  <a:pt x="5571284" y="2125645"/>
                  <a:pt x="5571284" y="2123296"/>
                </a:cubicBezTo>
                <a:cubicBezTo>
                  <a:pt x="5571284" y="2123296"/>
                  <a:pt x="5571284" y="2123296"/>
                  <a:pt x="5571284" y="2120945"/>
                </a:cubicBezTo>
                <a:cubicBezTo>
                  <a:pt x="5568935" y="2118595"/>
                  <a:pt x="5568935" y="2118595"/>
                  <a:pt x="5566586" y="2116249"/>
                </a:cubicBezTo>
                <a:cubicBezTo>
                  <a:pt x="5568935" y="2111551"/>
                  <a:pt x="5568935" y="2111551"/>
                  <a:pt x="5568935" y="2109199"/>
                </a:cubicBezTo>
                <a:cubicBezTo>
                  <a:pt x="5575981" y="2111551"/>
                  <a:pt x="5578330" y="2104501"/>
                  <a:pt x="5583028" y="2106854"/>
                </a:cubicBezTo>
                <a:close/>
                <a:moveTo>
                  <a:pt x="1679362" y="2102159"/>
                </a:moveTo>
                <a:cubicBezTo>
                  <a:pt x="1681712" y="2104502"/>
                  <a:pt x="1681712" y="2104502"/>
                  <a:pt x="1684058" y="2106854"/>
                </a:cubicBezTo>
                <a:cubicBezTo>
                  <a:pt x="1686406" y="2109202"/>
                  <a:pt x="1688755" y="2106854"/>
                  <a:pt x="1693454" y="2106854"/>
                </a:cubicBezTo>
                <a:cubicBezTo>
                  <a:pt x="1688755" y="2104502"/>
                  <a:pt x="1684058" y="2102159"/>
                  <a:pt x="1679362" y="2102159"/>
                </a:cubicBezTo>
                <a:close/>
                <a:moveTo>
                  <a:pt x="3995841" y="2097454"/>
                </a:moveTo>
                <a:cubicBezTo>
                  <a:pt x="3992318" y="2096286"/>
                  <a:pt x="3989382" y="2096286"/>
                  <a:pt x="3988207" y="2099806"/>
                </a:cubicBezTo>
                <a:cubicBezTo>
                  <a:pt x="3995253" y="2102159"/>
                  <a:pt x="4002300" y="2109202"/>
                  <a:pt x="4006997" y="2102159"/>
                </a:cubicBezTo>
                <a:cubicBezTo>
                  <a:pt x="4003474" y="2100982"/>
                  <a:pt x="3999364" y="2098630"/>
                  <a:pt x="3995841" y="2097454"/>
                </a:cubicBezTo>
                <a:close/>
                <a:moveTo>
                  <a:pt x="5507867" y="2092758"/>
                </a:moveTo>
                <a:cubicBezTo>
                  <a:pt x="5507867" y="2092758"/>
                  <a:pt x="5514914" y="2092758"/>
                  <a:pt x="5517263" y="2092758"/>
                </a:cubicBezTo>
                <a:cubicBezTo>
                  <a:pt x="5519611" y="2095109"/>
                  <a:pt x="5519611" y="2092758"/>
                  <a:pt x="5519611" y="2095109"/>
                </a:cubicBezTo>
                <a:cubicBezTo>
                  <a:pt x="5519611" y="2097454"/>
                  <a:pt x="5519611" y="2097454"/>
                  <a:pt x="5519611" y="2099803"/>
                </a:cubicBezTo>
                <a:cubicBezTo>
                  <a:pt x="5514914" y="2097454"/>
                  <a:pt x="5514914" y="2097454"/>
                  <a:pt x="5510216" y="2097454"/>
                </a:cubicBezTo>
                <a:cubicBezTo>
                  <a:pt x="5503170" y="2097454"/>
                  <a:pt x="5505519" y="2092758"/>
                  <a:pt x="5507867" y="2092758"/>
                </a:cubicBezTo>
                <a:close/>
                <a:moveTo>
                  <a:pt x="5477333" y="2088060"/>
                </a:moveTo>
                <a:cubicBezTo>
                  <a:pt x="5482030" y="2090408"/>
                  <a:pt x="5482030" y="2090408"/>
                  <a:pt x="5489077" y="2092758"/>
                </a:cubicBezTo>
                <a:cubicBezTo>
                  <a:pt x="5489077" y="2097454"/>
                  <a:pt x="5489077" y="2097454"/>
                  <a:pt x="5489077" y="2099802"/>
                </a:cubicBezTo>
                <a:cubicBezTo>
                  <a:pt x="5493774" y="2106854"/>
                  <a:pt x="5493774" y="2106854"/>
                  <a:pt x="5496123" y="2111549"/>
                </a:cubicBezTo>
                <a:cubicBezTo>
                  <a:pt x="5507867" y="2111549"/>
                  <a:pt x="5493774" y="2099802"/>
                  <a:pt x="5514913" y="2102155"/>
                </a:cubicBezTo>
                <a:cubicBezTo>
                  <a:pt x="5529006" y="2111549"/>
                  <a:pt x="5529006" y="2111549"/>
                  <a:pt x="5543098" y="2123296"/>
                </a:cubicBezTo>
                <a:cubicBezTo>
                  <a:pt x="5543098" y="2125645"/>
                  <a:pt x="5543098" y="2125645"/>
                  <a:pt x="5543098" y="2127994"/>
                </a:cubicBezTo>
                <a:cubicBezTo>
                  <a:pt x="5538401" y="2130343"/>
                  <a:pt x="5529006" y="2130343"/>
                  <a:pt x="5524308" y="2127994"/>
                </a:cubicBezTo>
                <a:cubicBezTo>
                  <a:pt x="5519610" y="2125645"/>
                  <a:pt x="5510215" y="2120945"/>
                  <a:pt x="5507867" y="2118595"/>
                </a:cubicBezTo>
                <a:cubicBezTo>
                  <a:pt x="5505518" y="2118595"/>
                  <a:pt x="5505518" y="2118595"/>
                  <a:pt x="5500821" y="2118595"/>
                </a:cubicBezTo>
                <a:cubicBezTo>
                  <a:pt x="5496123" y="2116249"/>
                  <a:pt x="5489077" y="2113899"/>
                  <a:pt x="5486728" y="2120945"/>
                </a:cubicBezTo>
                <a:cubicBezTo>
                  <a:pt x="5477333" y="2118595"/>
                  <a:pt x="5477333" y="2118595"/>
                  <a:pt x="5467937" y="2116249"/>
                </a:cubicBezTo>
                <a:cubicBezTo>
                  <a:pt x="5467937" y="2111549"/>
                  <a:pt x="5467937" y="2111549"/>
                  <a:pt x="5465589" y="2106854"/>
                </a:cubicBezTo>
                <a:cubicBezTo>
                  <a:pt x="5470286" y="2097454"/>
                  <a:pt x="5470286" y="2097454"/>
                  <a:pt x="5477333" y="2088060"/>
                </a:cubicBezTo>
                <a:close/>
                <a:moveTo>
                  <a:pt x="5707514" y="2083361"/>
                </a:moveTo>
                <a:lnTo>
                  <a:pt x="5707514" y="2092760"/>
                </a:lnTo>
                <a:cubicBezTo>
                  <a:pt x="5693422" y="2095111"/>
                  <a:pt x="5702817" y="2090411"/>
                  <a:pt x="5693422" y="2099806"/>
                </a:cubicBezTo>
                <a:lnTo>
                  <a:pt x="5702817" y="2095111"/>
                </a:lnTo>
                <a:lnTo>
                  <a:pt x="5709863" y="2099806"/>
                </a:lnTo>
                <a:cubicBezTo>
                  <a:pt x="5716909" y="2090411"/>
                  <a:pt x="5714560" y="2097458"/>
                  <a:pt x="5716909" y="2083361"/>
                </a:cubicBezTo>
                <a:close/>
                <a:moveTo>
                  <a:pt x="5688724" y="2083361"/>
                </a:moveTo>
                <a:lnTo>
                  <a:pt x="5688724" y="2090411"/>
                </a:lnTo>
                <a:lnTo>
                  <a:pt x="5695770" y="2090411"/>
                </a:lnTo>
                <a:close/>
                <a:moveTo>
                  <a:pt x="5383383" y="2083360"/>
                </a:moveTo>
                <a:cubicBezTo>
                  <a:pt x="5385731" y="2085712"/>
                  <a:pt x="5385731" y="2085712"/>
                  <a:pt x="5385731" y="2088061"/>
                </a:cubicBezTo>
                <a:cubicBezTo>
                  <a:pt x="5388080" y="2088061"/>
                  <a:pt x="5388080" y="2088061"/>
                  <a:pt x="5390429" y="2085712"/>
                </a:cubicBezTo>
                <a:cubicBezTo>
                  <a:pt x="5397475" y="2095109"/>
                  <a:pt x="5409219" y="2104500"/>
                  <a:pt x="5423312" y="2109199"/>
                </a:cubicBezTo>
                <a:cubicBezTo>
                  <a:pt x="5420963" y="2113899"/>
                  <a:pt x="5420963" y="2109199"/>
                  <a:pt x="5420963" y="2113899"/>
                </a:cubicBezTo>
                <a:cubicBezTo>
                  <a:pt x="5420963" y="2116249"/>
                  <a:pt x="5420963" y="2116249"/>
                  <a:pt x="5420963" y="2120947"/>
                </a:cubicBezTo>
                <a:cubicBezTo>
                  <a:pt x="5425661" y="2123297"/>
                  <a:pt x="5439753" y="2144443"/>
                  <a:pt x="5442102" y="2149151"/>
                </a:cubicBezTo>
                <a:cubicBezTo>
                  <a:pt x="5446800" y="2149151"/>
                  <a:pt x="5446800" y="2149151"/>
                  <a:pt x="5449148" y="2149151"/>
                </a:cubicBezTo>
                <a:cubicBezTo>
                  <a:pt x="5446800" y="2146799"/>
                  <a:pt x="5446800" y="2146799"/>
                  <a:pt x="5446800" y="2144443"/>
                </a:cubicBezTo>
                <a:cubicBezTo>
                  <a:pt x="5446800" y="2142092"/>
                  <a:pt x="5446800" y="2142092"/>
                  <a:pt x="5449148" y="2139745"/>
                </a:cubicBezTo>
                <a:cubicBezTo>
                  <a:pt x="5449148" y="2139745"/>
                  <a:pt x="5449148" y="2139745"/>
                  <a:pt x="5451497" y="2139745"/>
                </a:cubicBezTo>
                <a:cubicBezTo>
                  <a:pt x="5451497" y="2137391"/>
                  <a:pt x="5451497" y="2137391"/>
                  <a:pt x="5451497" y="2135047"/>
                </a:cubicBezTo>
                <a:cubicBezTo>
                  <a:pt x="5446800" y="2132696"/>
                  <a:pt x="5446800" y="2132696"/>
                  <a:pt x="5444451" y="2132696"/>
                </a:cubicBezTo>
                <a:cubicBezTo>
                  <a:pt x="5444451" y="2130344"/>
                  <a:pt x="5444451" y="2130344"/>
                  <a:pt x="5444451" y="2127997"/>
                </a:cubicBezTo>
                <a:cubicBezTo>
                  <a:pt x="5442102" y="2123297"/>
                  <a:pt x="5442102" y="2127997"/>
                  <a:pt x="5439753" y="2120947"/>
                </a:cubicBezTo>
                <a:cubicBezTo>
                  <a:pt x="5442102" y="2120947"/>
                  <a:pt x="5442102" y="2120947"/>
                  <a:pt x="5446800" y="2123297"/>
                </a:cubicBezTo>
                <a:cubicBezTo>
                  <a:pt x="5446800" y="2123297"/>
                  <a:pt x="5446800" y="2123297"/>
                  <a:pt x="5449148" y="2123297"/>
                </a:cubicBezTo>
                <a:cubicBezTo>
                  <a:pt x="5446800" y="2120947"/>
                  <a:pt x="5446800" y="2120947"/>
                  <a:pt x="5446800" y="2118596"/>
                </a:cubicBezTo>
                <a:cubicBezTo>
                  <a:pt x="5453846" y="2118596"/>
                  <a:pt x="5453846" y="2118596"/>
                  <a:pt x="5458544" y="2118596"/>
                </a:cubicBezTo>
                <a:cubicBezTo>
                  <a:pt x="5460892" y="2123297"/>
                  <a:pt x="5460892" y="2123297"/>
                  <a:pt x="5460892" y="2127997"/>
                </a:cubicBezTo>
                <a:cubicBezTo>
                  <a:pt x="5460892" y="2127997"/>
                  <a:pt x="5460892" y="2127997"/>
                  <a:pt x="5463241" y="2127997"/>
                </a:cubicBezTo>
                <a:cubicBezTo>
                  <a:pt x="5460892" y="2132696"/>
                  <a:pt x="5460892" y="2132696"/>
                  <a:pt x="5460892" y="2137391"/>
                </a:cubicBezTo>
                <a:cubicBezTo>
                  <a:pt x="5463241" y="2139745"/>
                  <a:pt x="5463241" y="2139745"/>
                  <a:pt x="5465590" y="2139745"/>
                </a:cubicBezTo>
                <a:cubicBezTo>
                  <a:pt x="5465590" y="2144443"/>
                  <a:pt x="5465590" y="2144443"/>
                  <a:pt x="5465590" y="2149151"/>
                </a:cubicBezTo>
                <a:cubicBezTo>
                  <a:pt x="5467939" y="2149151"/>
                  <a:pt x="5467939" y="2149151"/>
                  <a:pt x="5472636" y="2149151"/>
                </a:cubicBezTo>
                <a:cubicBezTo>
                  <a:pt x="5477334" y="2149151"/>
                  <a:pt x="5474985" y="2151503"/>
                  <a:pt x="5477334" y="2153844"/>
                </a:cubicBezTo>
                <a:cubicBezTo>
                  <a:pt x="5482031" y="2153844"/>
                  <a:pt x="5482031" y="2153844"/>
                  <a:pt x="5486729" y="2153844"/>
                </a:cubicBezTo>
                <a:cubicBezTo>
                  <a:pt x="5486729" y="2151503"/>
                  <a:pt x="5486729" y="2149151"/>
                  <a:pt x="5489078" y="2149151"/>
                </a:cubicBezTo>
                <a:cubicBezTo>
                  <a:pt x="5491426" y="2149151"/>
                  <a:pt x="5496124" y="2151503"/>
                  <a:pt x="5498473" y="2153844"/>
                </a:cubicBezTo>
                <a:cubicBezTo>
                  <a:pt x="5503170" y="2151503"/>
                  <a:pt x="5503170" y="2151503"/>
                  <a:pt x="5510217" y="2151503"/>
                </a:cubicBezTo>
                <a:cubicBezTo>
                  <a:pt x="5512566" y="2153844"/>
                  <a:pt x="5512566" y="2153844"/>
                  <a:pt x="5514914" y="2153844"/>
                </a:cubicBezTo>
                <a:cubicBezTo>
                  <a:pt x="5517263" y="2167897"/>
                  <a:pt x="5519612" y="2160866"/>
                  <a:pt x="5514914" y="2172581"/>
                </a:cubicBezTo>
                <a:cubicBezTo>
                  <a:pt x="5514914" y="2177290"/>
                  <a:pt x="5514914" y="2189045"/>
                  <a:pt x="5521961" y="2196092"/>
                </a:cubicBezTo>
                <a:cubicBezTo>
                  <a:pt x="5505519" y="2196092"/>
                  <a:pt x="5510217" y="2189045"/>
                  <a:pt x="5496124" y="2196092"/>
                </a:cubicBezTo>
                <a:cubicBezTo>
                  <a:pt x="5482031" y="2191392"/>
                  <a:pt x="5482031" y="2191392"/>
                  <a:pt x="5470288" y="2189045"/>
                </a:cubicBezTo>
                <a:cubicBezTo>
                  <a:pt x="5467939" y="2184342"/>
                  <a:pt x="5463241" y="2184342"/>
                  <a:pt x="5456195" y="2184342"/>
                </a:cubicBezTo>
                <a:cubicBezTo>
                  <a:pt x="5451497" y="2172581"/>
                  <a:pt x="5437404" y="2179641"/>
                  <a:pt x="5432707" y="2181991"/>
                </a:cubicBezTo>
                <a:cubicBezTo>
                  <a:pt x="5435056" y="2184342"/>
                  <a:pt x="5435056" y="2184342"/>
                  <a:pt x="5435056" y="2189045"/>
                </a:cubicBezTo>
                <a:cubicBezTo>
                  <a:pt x="5430358" y="2191392"/>
                  <a:pt x="5432707" y="2191392"/>
                  <a:pt x="5428010" y="2191392"/>
                </a:cubicBezTo>
                <a:cubicBezTo>
                  <a:pt x="5425661" y="2191392"/>
                  <a:pt x="5420963" y="2189045"/>
                  <a:pt x="5418615" y="2186690"/>
                </a:cubicBezTo>
                <a:cubicBezTo>
                  <a:pt x="5413917" y="2186690"/>
                  <a:pt x="5413917" y="2186690"/>
                  <a:pt x="5409219" y="2186690"/>
                </a:cubicBezTo>
                <a:cubicBezTo>
                  <a:pt x="5399824" y="2174939"/>
                  <a:pt x="5402173" y="2174939"/>
                  <a:pt x="5385731" y="2174939"/>
                </a:cubicBezTo>
                <a:cubicBezTo>
                  <a:pt x="5381034" y="2174939"/>
                  <a:pt x="5376336" y="2167897"/>
                  <a:pt x="5369290" y="2167897"/>
                </a:cubicBezTo>
                <a:cubicBezTo>
                  <a:pt x="5371639" y="2160866"/>
                  <a:pt x="5376336" y="2163206"/>
                  <a:pt x="5376336" y="2158525"/>
                </a:cubicBezTo>
                <a:cubicBezTo>
                  <a:pt x="5376336" y="2153844"/>
                  <a:pt x="5373988" y="2156184"/>
                  <a:pt x="5373988" y="2151503"/>
                </a:cubicBezTo>
                <a:cubicBezTo>
                  <a:pt x="5373988" y="2149151"/>
                  <a:pt x="5373988" y="2149151"/>
                  <a:pt x="5376336" y="2144443"/>
                </a:cubicBezTo>
                <a:cubicBezTo>
                  <a:pt x="5371639" y="2144443"/>
                  <a:pt x="5371639" y="2144443"/>
                  <a:pt x="5366941" y="2142092"/>
                </a:cubicBezTo>
                <a:cubicBezTo>
                  <a:pt x="5355197" y="2146799"/>
                  <a:pt x="5334058" y="2142092"/>
                  <a:pt x="5324662" y="2144443"/>
                </a:cubicBezTo>
                <a:cubicBezTo>
                  <a:pt x="5317616" y="2146799"/>
                  <a:pt x="5308221" y="2146799"/>
                  <a:pt x="5303523" y="2149151"/>
                </a:cubicBezTo>
                <a:cubicBezTo>
                  <a:pt x="5298826" y="2151503"/>
                  <a:pt x="5289431" y="2156184"/>
                  <a:pt x="5284733" y="2156184"/>
                </a:cubicBezTo>
                <a:cubicBezTo>
                  <a:pt x="5280035" y="2156184"/>
                  <a:pt x="5282384" y="2153844"/>
                  <a:pt x="5277687" y="2153844"/>
                </a:cubicBezTo>
                <a:cubicBezTo>
                  <a:pt x="5277687" y="2142092"/>
                  <a:pt x="5280035" y="2146799"/>
                  <a:pt x="5289431" y="2142092"/>
                </a:cubicBezTo>
                <a:cubicBezTo>
                  <a:pt x="5289431" y="2144443"/>
                  <a:pt x="5289431" y="2146799"/>
                  <a:pt x="5294128" y="2146799"/>
                </a:cubicBezTo>
                <a:cubicBezTo>
                  <a:pt x="5296477" y="2146799"/>
                  <a:pt x="5301175" y="2132696"/>
                  <a:pt x="5301175" y="2132696"/>
                </a:cubicBezTo>
                <a:cubicBezTo>
                  <a:pt x="5301175" y="2127997"/>
                  <a:pt x="5298826" y="2127997"/>
                  <a:pt x="5298826" y="2125650"/>
                </a:cubicBezTo>
                <a:cubicBezTo>
                  <a:pt x="5301175" y="2125650"/>
                  <a:pt x="5301175" y="2125650"/>
                  <a:pt x="5303523" y="2127997"/>
                </a:cubicBezTo>
                <a:cubicBezTo>
                  <a:pt x="5303523" y="2125650"/>
                  <a:pt x="5303523" y="2125650"/>
                  <a:pt x="5303523" y="2123297"/>
                </a:cubicBezTo>
                <a:cubicBezTo>
                  <a:pt x="5303523" y="2123297"/>
                  <a:pt x="5303523" y="2123297"/>
                  <a:pt x="5305872" y="2123297"/>
                </a:cubicBezTo>
                <a:cubicBezTo>
                  <a:pt x="5305872" y="2118596"/>
                  <a:pt x="5305872" y="2118596"/>
                  <a:pt x="5305872" y="2113899"/>
                </a:cubicBezTo>
                <a:cubicBezTo>
                  <a:pt x="5305872" y="2113899"/>
                  <a:pt x="5305872" y="2113899"/>
                  <a:pt x="5308221" y="2113899"/>
                </a:cubicBezTo>
                <a:cubicBezTo>
                  <a:pt x="5308221" y="2116249"/>
                  <a:pt x="5308221" y="2116249"/>
                  <a:pt x="5308221" y="2120947"/>
                </a:cubicBezTo>
                <a:cubicBezTo>
                  <a:pt x="5310570" y="2120947"/>
                  <a:pt x="5310570" y="2120947"/>
                  <a:pt x="5312919" y="2123297"/>
                </a:cubicBezTo>
                <a:cubicBezTo>
                  <a:pt x="5315267" y="2123297"/>
                  <a:pt x="5315267" y="2123297"/>
                  <a:pt x="5317616" y="2120947"/>
                </a:cubicBezTo>
                <a:cubicBezTo>
                  <a:pt x="5317616" y="2109199"/>
                  <a:pt x="5319965" y="2113899"/>
                  <a:pt x="5319965" y="2109199"/>
                </a:cubicBezTo>
                <a:cubicBezTo>
                  <a:pt x="5319965" y="2102156"/>
                  <a:pt x="5317616" y="2104500"/>
                  <a:pt x="5317616" y="2099803"/>
                </a:cubicBezTo>
                <a:cubicBezTo>
                  <a:pt x="5322313" y="2099803"/>
                  <a:pt x="5322313" y="2099803"/>
                  <a:pt x="5324662" y="2097454"/>
                </a:cubicBezTo>
                <a:cubicBezTo>
                  <a:pt x="5334058" y="2099803"/>
                  <a:pt x="5334058" y="2099803"/>
                  <a:pt x="5341105" y="2102156"/>
                </a:cubicBezTo>
                <a:cubicBezTo>
                  <a:pt x="5341105" y="2099803"/>
                  <a:pt x="5341105" y="2099803"/>
                  <a:pt x="5341105" y="2099803"/>
                </a:cubicBezTo>
                <a:cubicBezTo>
                  <a:pt x="5345802" y="2097454"/>
                  <a:pt x="5345802" y="2097454"/>
                  <a:pt x="5350500" y="2097454"/>
                </a:cubicBezTo>
                <a:cubicBezTo>
                  <a:pt x="5350500" y="2099803"/>
                  <a:pt x="5350500" y="2099803"/>
                  <a:pt x="5352849" y="2102156"/>
                </a:cubicBezTo>
                <a:cubicBezTo>
                  <a:pt x="5350500" y="2106854"/>
                  <a:pt x="5350500" y="2102156"/>
                  <a:pt x="5350500" y="2106854"/>
                </a:cubicBezTo>
                <a:cubicBezTo>
                  <a:pt x="5350500" y="2113899"/>
                  <a:pt x="5352849" y="2111549"/>
                  <a:pt x="5352849" y="2116249"/>
                </a:cubicBezTo>
                <a:cubicBezTo>
                  <a:pt x="5350500" y="2116249"/>
                  <a:pt x="5350500" y="2116249"/>
                  <a:pt x="5348151" y="2116249"/>
                </a:cubicBezTo>
                <a:cubicBezTo>
                  <a:pt x="5350500" y="2118596"/>
                  <a:pt x="5350500" y="2118596"/>
                  <a:pt x="5350500" y="2123297"/>
                </a:cubicBezTo>
                <a:cubicBezTo>
                  <a:pt x="5350500" y="2125650"/>
                  <a:pt x="5350500" y="2125650"/>
                  <a:pt x="5350500" y="2130344"/>
                </a:cubicBezTo>
                <a:cubicBezTo>
                  <a:pt x="5355197" y="2130344"/>
                  <a:pt x="5355197" y="2130344"/>
                  <a:pt x="5359895" y="2130344"/>
                </a:cubicBezTo>
                <a:cubicBezTo>
                  <a:pt x="5362244" y="2123297"/>
                  <a:pt x="5362244" y="2123297"/>
                  <a:pt x="5362244" y="2118596"/>
                </a:cubicBezTo>
                <a:cubicBezTo>
                  <a:pt x="5362244" y="2118596"/>
                  <a:pt x="5357546" y="2113899"/>
                  <a:pt x="5357546" y="2113899"/>
                </a:cubicBezTo>
                <a:cubicBezTo>
                  <a:pt x="5357546" y="2104500"/>
                  <a:pt x="5357546" y="2104500"/>
                  <a:pt x="5357546" y="2095109"/>
                </a:cubicBezTo>
                <a:cubicBezTo>
                  <a:pt x="5364593" y="2095109"/>
                  <a:pt x="5359895" y="2099803"/>
                  <a:pt x="5364593" y="2104500"/>
                </a:cubicBezTo>
                <a:cubicBezTo>
                  <a:pt x="5369290" y="2109199"/>
                  <a:pt x="5373988" y="2106854"/>
                  <a:pt x="5376336" y="2113899"/>
                </a:cubicBezTo>
                <a:cubicBezTo>
                  <a:pt x="5376336" y="2111549"/>
                  <a:pt x="5376336" y="2111549"/>
                  <a:pt x="5376336" y="2111549"/>
                </a:cubicBezTo>
                <a:cubicBezTo>
                  <a:pt x="5383383" y="2116249"/>
                  <a:pt x="5383383" y="2116249"/>
                  <a:pt x="5392778" y="2120947"/>
                </a:cubicBezTo>
                <a:cubicBezTo>
                  <a:pt x="5392778" y="2123297"/>
                  <a:pt x="5392778" y="2123297"/>
                  <a:pt x="5392778" y="2123297"/>
                </a:cubicBezTo>
                <a:cubicBezTo>
                  <a:pt x="5395127" y="2120947"/>
                  <a:pt x="5395127" y="2120947"/>
                  <a:pt x="5397475" y="2120947"/>
                </a:cubicBezTo>
                <a:cubicBezTo>
                  <a:pt x="5397475" y="2127997"/>
                  <a:pt x="5397475" y="2127997"/>
                  <a:pt x="5397475" y="2132696"/>
                </a:cubicBezTo>
                <a:cubicBezTo>
                  <a:pt x="5390429" y="2132696"/>
                  <a:pt x="5390429" y="2132696"/>
                  <a:pt x="5383383" y="2132696"/>
                </a:cubicBezTo>
                <a:cubicBezTo>
                  <a:pt x="5378685" y="2132696"/>
                  <a:pt x="5378685" y="2132696"/>
                  <a:pt x="5373988" y="2132696"/>
                </a:cubicBezTo>
                <a:cubicBezTo>
                  <a:pt x="5373988" y="2135047"/>
                  <a:pt x="5373988" y="2135047"/>
                  <a:pt x="5373988" y="2137391"/>
                </a:cubicBezTo>
                <a:cubicBezTo>
                  <a:pt x="5383383" y="2139745"/>
                  <a:pt x="5383383" y="2139745"/>
                  <a:pt x="5392778" y="2144443"/>
                </a:cubicBezTo>
                <a:cubicBezTo>
                  <a:pt x="5395127" y="2139745"/>
                  <a:pt x="5395127" y="2139745"/>
                  <a:pt x="5395127" y="2135047"/>
                </a:cubicBezTo>
                <a:cubicBezTo>
                  <a:pt x="5404522" y="2139745"/>
                  <a:pt x="5399824" y="2132696"/>
                  <a:pt x="5406871" y="2130344"/>
                </a:cubicBezTo>
                <a:cubicBezTo>
                  <a:pt x="5406871" y="2127997"/>
                  <a:pt x="5406871" y="2127997"/>
                  <a:pt x="5406871" y="2125650"/>
                </a:cubicBezTo>
                <a:cubicBezTo>
                  <a:pt x="5406871" y="2125650"/>
                  <a:pt x="5406871" y="2125650"/>
                  <a:pt x="5404522" y="2125650"/>
                </a:cubicBezTo>
                <a:cubicBezTo>
                  <a:pt x="5404522" y="2123297"/>
                  <a:pt x="5404522" y="2123297"/>
                  <a:pt x="5404522" y="2120947"/>
                </a:cubicBezTo>
                <a:cubicBezTo>
                  <a:pt x="5411568" y="2123297"/>
                  <a:pt x="5411568" y="2123297"/>
                  <a:pt x="5416266" y="2125650"/>
                </a:cubicBezTo>
                <a:cubicBezTo>
                  <a:pt x="5416266" y="2118596"/>
                  <a:pt x="5409219" y="2116249"/>
                  <a:pt x="5402173" y="2113899"/>
                </a:cubicBezTo>
                <a:cubicBezTo>
                  <a:pt x="5402173" y="2111549"/>
                  <a:pt x="5402173" y="2111549"/>
                  <a:pt x="5402173" y="2109199"/>
                </a:cubicBezTo>
                <a:cubicBezTo>
                  <a:pt x="5399824" y="2109199"/>
                  <a:pt x="5399824" y="2109199"/>
                  <a:pt x="5397475" y="2109199"/>
                </a:cubicBezTo>
                <a:cubicBezTo>
                  <a:pt x="5390429" y="2109199"/>
                  <a:pt x="5388080" y="2104500"/>
                  <a:pt x="5385731" y="2099803"/>
                </a:cubicBezTo>
                <a:cubicBezTo>
                  <a:pt x="5381034" y="2092759"/>
                  <a:pt x="5376336" y="2097454"/>
                  <a:pt x="5376336" y="2090408"/>
                </a:cubicBezTo>
                <a:cubicBezTo>
                  <a:pt x="5376336" y="2088061"/>
                  <a:pt x="5376336" y="2088061"/>
                  <a:pt x="5376336" y="2088061"/>
                </a:cubicBezTo>
                <a:cubicBezTo>
                  <a:pt x="5376336" y="2083360"/>
                  <a:pt x="5378685" y="2083360"/>
                  <a:pt x="5383383" y="2083360"/>
                </a:cubicBezTo>
                <a:close/>
                <a:moveTo>
                  <a:pt x="4885441" y="2073967"/>
                </a:moveTo>
                <a:lnTo>
                  <a:pt x="4885441" y="2081019"/>
                </a:lnTo>
                <a:lnTo>
                  <a:pt x="4892487" y="2081019"/>
                </a:lnTo>
                <a:close/>
                <a:moveTo>
                  <a:pt x="3972794" y="2063291"/>
                </a:moveTo>
                <a:cubicBezTo>
                  <a:pt x="3968389" y="2062665"/>
                  <a:pt x="3961783" y="2063401"/>
                  <a:pt x="3952976" y="2066928"/>
                </a:cubicBezTo>
                <a:cubicBezTo>
                  <a:pt x="3979399" y="2079252"/>
                  <a:pt x="3986005" y="2065163"/>
                  <a:pt x="3972794" y="2063291"/>
                </a:cubicBezTo>
                <a:close/>
                <a:moveTo>
                  <a:pt x="3932571" y="2056210"/>
                </a:moveTo>
                <a:cubicBezTo>
                  <a:pt x="3929635" y="2054742"/>
                  <a:pt x="3924203" y="2054597"/>
                  <a:pt x="3915395" y="2057527"/>
                </a:cubicBezTo>
                <a:cubicBezTo>
                  <a:pt x="3927727" y="2076904"/>
                  <a:pt x="3941378" y="2060612"/>
                  <a:pt x="3932571" y="2056210"/>
                </a:cubicBezTo>
                <a:close/>
                <a:moveTo>
                  <a:pt x="4688143" y="2055183"/>
                </a:moveTo>
                <a:cubicBezTo>
                  <a:pt x="4685794" y="2057527"/>
                  <a:pt x="4683445" y="2059879"/>
                  <a:pt x="4681096" y="2062226"/>
                </a:cubicBezTo>
                <a:cubicBezTo>
                  <a:pt x="4688143" y="2062226"/>
                  <a:pt x="4695189" y="2064576"/>
                  <a:pt x="4699887" y="2062226"/>
                </a:cubicBezTo>
                <a:cubicBezTo>
                  <a:pt x="4697538" y="2059879"/>
                  <a:pt x="4692840" y="2055183"/>
                  <a:pt x="4688143" y="2055183"/>
                </a:cubicBezTo>
                <a:close/>
                <a:moveTo>
                  <a:pt x="4883536" y="2054203"/>
                </a:moveTo>
                <a:lnTo>
                  <a:pt x="4880743" y="2059776"/>
                </a:lnTo>
                <a:lnTo>
                  <a:pt x="4880743" y="2059879"/>
                </a:lnTo>
                <a:lnTo>
                  <a:pt x="4887790" y="2059879"/>
                </a:lnTo>
                <a:close/>
                <a:moveTo>
                  <a:pt x="5258898" y="2048132"/>
                </a:moveTo>
                <a:cubicBezTo>
                  <a:pt x="5258898" y="2048132"/>
                  <a:pt x="5258898" y="2048132"/>
                  <a:pt x="5261246" y="2048132"/>
                </a:cubicBezTo>
                <a:lnTo>
                  <a:pt x="5259181" y="2048984"/>
                </a:lnTo>
                <a:close/>
                <a:moveTo>
                  <a:pt x="6278408" y="2038855"/>
                </a:moveTo>
                <a:lnTo>
                  <a:pt x="6299405" y="2041088"/>
                </a:lnTo>
                <a:cubicBezTo>
                  <a:pt x="6379263" y="2051660"/>
                  <a:pt x="6457360" y="2067513"/>
                  <a:pt x="6533695" y="2090411"/>
                </a:cubicBezTo>
                <a:lnTo>
                  <a:pt x="6614219" y="2118772"/>
                </a:lnTo>
                <a:lnTo>
                  <a:pt x="6642327" y="2130346"/>
                </a:lnTo>
                <a:cubicBezTo>
                  <a:pt x="6710441" y="2158534"/>
                  <a:pt x="6776207" y="2193745"/>
                  <a:pt x="6837275" y="2236026"/>
                </a:cubicBezTo>
                <a:cubicBezTo>
                  <a:pt x="6757417" y="2184346"/>
                  <a:pt x="6670512" y="2139749"/>
                  <a:pt x="6581258" y="2109202"/>
                </a:cubicBezTo>
                <a:cubicBezTo>
                  <a:pt x="6529585" y="2091587"/>
                  <a:pt x="6476737" y="2076317"/>
                  <a:pt x="6423597" y="2063984"/>
                </a:cubicBezTo>
                <a:close/>
                <a:moveTo>
                  <a:pt x="4659958" y="2038738"/>
                </a:moveTo>
                <a:cubicBezTo>
                  <a:pt x="4659958" y="2038738"/>
                  <a:pt x="4659958" y="2041086"/>
                  <a:pt x="4659958" y="2043438"/>
                </a:cubicBezTo>
                <a:cubicBezTo>
                  <a:pt x="4659958" y="2043438"/>
                  <a:pt x="4662306" y="2043438"/>
                  <a:pt x="4662306" y="2041086"/>
                </a:cubicBezTo>
                <a:cubicBezTo>
                  <a:pt x="4659958" y="2041086"/>
                  <a:pt x="4659958" y="2041086"/>
                  <a:pt x="4659958" y="2038738"/>
                </a:cubicBezTo>
                <a:close/>
                <a:moveTo>
                  <a:pt x="5653492" y="2034040"/>
                </a:moveTo>
                <a:cubicBezTo>
                  <a:pt x="5646446" y="2038738"/>
                  <a:pt x="5646446" y="2034040"/>
                  <a:pt x="5651144" y="2043438"/>
                </a:cubicBezTo>
                <a:lnTo>
                  <a:pt x="5644097" y="2043438"/>
                </a:lnTo>
                <a:lnTo>
                  <a:pt x="5641749" y="2043438"/>
                </a:lnTo>
                <a:lnTo>
                  <a:pt x="5641749" y="2050483"/>
                </a:lnTo>
                <a:cubicBezTo>
                  <a:pt x="5648795" y="2050483"/>
                  <a:pt x="5655841" y="2050483"/>
                  <a:pt x="5655841" y="2043438"/>
                </a:cubicBezTo>
                <a:cubicBezTo>
                  <a:pt x="5655841" y="2031688"/>
                  <a:pt x="5658190" y="2043438"/>
                  <a:pt x="5653492" y="2034040"/>
                </a:cubicBezTo>
                <a:close/>
                <a:moveTo>
                  <a:pt x="4986438" y="2034040"/>
                </a:moveTo>
                <a:lnTo>
                  <a:pt x="4981741" y="2036390"/>
                </a:lnTo>
                <a:cubicBezTo>
                  <a:pt x="4979392" y="2038738"/>
                  <a:pt x="4979392" y="2038738"/>
                  <a:pt x="4977043" y="2041086"/>
                </a:cubicBezTo>
                <a:cubicBezTo>
                  <a:pt x="4979392" y="2039912"/>
                  <a:pt x="4979392" y="2040499"/>
                  <a:pt x="4978218" y="2041969"/>
                </a:cubicBezTo>
                <a:lnTo>
                  <a:pt x="4977209" y="2043030"/>
                </a:lnTo>
                <a:lnTo>
                  <a:pt x="4972346" y="2047353"/>
                </a:lnTo>
                <a:lnTo>
                  <a:pt x="4972346" y="2045787"/>
                </a:lnTo>
                <a:cubicBezTo>
                  <a:pt x="4972346" y="2045787"/>
                  <a:pt x="4972346" y="2045787"/>
                  <a:pt x="4969997" y="2048132"/>
                </a:cubicBezTo>
                <a:cubicBezTo>
                  <a:pt x="4967648" y="2050483"/>
                  <a:pt x="4969997" y="2045787"/>
                  <a:pt x="4967648" y="2050483"/>
                </a:cubicBezTo>
                <a:cubicBezTo>
                  <a:pt x="4967648" y="2050483"/>
                  <a:pt x="4968823" y="2049896"/>
                  <a:pt x="4969410" y="2049896"/>
                </a:cubicBezTo>
                <a:lnTo>
                  <a:pt x="4969326" y="2050036"/>
                </a:lnTo>
                <a:lnTo>
                  <a:pt x="4967313" y="2051825"/>
                </a:lnTo>
                <a:lnTo>
                  <a:pt x="4965299" y="2045787"/>
                </a:lnTo>
                <a:cubicBezTo>
                  <a:pt x="4960602" y="2050483"/>
                  <a:pt x="4955904" y="2057527"/>
                  <a:pt x="4951206" y="2059879"/>
                </a:cubicBezTo>
                <a:cubicBezTo>
                  <a:pt x="4946509" y="2062226"/>
                  <a:pt x="4951206" y="2059879"/>
                  <a:pt x="4946509" y="2062226"/>
                </a:cubicBezTo>
                <a:cubicBezTo>
                  <a:pt x="4948858" y="2062226"/>
                  <a:pt x="4948858" y="2062226"/>
                  <a:pt x="4948858" y="2059879"/>
                </a:cubicBezTo>
                <a:cubicBezTo>
                  <a:pt x="4951206" y="2057527"/>
                  <a:pt x="4951206" y="2057527"/>
                  <a:pt x="4953555" y="2055183"/>
                </a:cubicBezTo>
                <a:cubicBezTo>
                  <a:pt x="4951206" y="2057527"/>
                  <a:pt x="4951206" y="2057527"/>
                  <a:pt x="4951206" y="2057527"/>
                </a:cubicBezTo>
                <a:cubicBezTo>
                  <a:pt x="4951206" y="2059879"/>
                  <a:pt x="4951206" y="2059879"/>
                  <a:pt x="4948858" y="2059879"/>
                </a:cubicBezTo>
                <a:cubicBezTo>
                  <a:pt x="4951206" y="2057527"/>
                  <a:pt x="4946509" y="2059879"/>
                  <a:pt x="4946509" y="2059879"/>
                </a:cubicBezTo>
                <a:cubicBezTo>
                  <a:pt x="4941811" y="2066928"/>
                  <a:pt x="4934765" y="2071617"/>
                  <a:pt x="4930068" y="2078665"/>
                </a:cubicBezTo>
                <a:cubicBezTo>
                  <a:pt x="4927719" y="2081019"/>
                  <a:pt x="4925370" y="2081019"/>
                  <a:pt x="4923021" y="2085712"/>
                </a:cubicBezTo>
                <a:cubicBezTo>
                  <a:pt x="4923021" y="2088062"/>
                  <a:pt x="4923021" y="2088062"/>
                  <a:pt x="4920672" y="2090411"/>
                </a:cubicBezTo>
                <a:cubicBezTo>
                  <a:pt x="4920672" y="2092760"/>
                  <a:pt x="4913626" y="2099806"/>
                  <a:pt x="4911277" y="2102160"/>
                </a:cubicBezTo>
                <a:cubicBezTo>
                  <a:pt x="4908928" y="2106854"/>
                  <a:pt x="4908928" y="2106854"/>
                  <a:pt x="4906580" y="2111553"/>
                </a:cubicBezTo>
                <a:cubicBezTo>
                  <a:pt x="4904231" y="2113903"/>
                  <a:pt x="4904231" y="2113903"/>
                  <a:pt x="4901882" y="2118599"/>
                </a:cubicBezTo>
                <a:cubicBezTo>
                  <a:pt x="4901882" y="2118599"/>
                  <a:pt x="4901882" y="2116252"/>
                  <a:pt x="4908928" y="2106854"/>
                </a:cubicBezTo>
                <a:cubicBezTo>
                  <a:pt x="4906580" y="2109202"/>
                  <a:pt x="4906580" y="2109202"/>
                  <a:pt x="4906580" y="2109202"/>
                </a:cubicBezTo>
                <a:cubicBezTo>
                  <a:pt x="4885441" y="2138566"/>
                  <a:pt x="4867238" y="2170238"/>
                  <a:pt x="4852852" y="2203730"/>
                </a:cubicBezTo>
                <a:lnTo>
                  <a:pt x="4840814" y="2244780"/>
                </a:lnTo>
                <a:lnTo>
                  <a:pt x="4840814" y="2243076"/>
                </a:lnTo>
                <a:cubicBezTo>
                  <a:pt x="4839640" y="2246595"/>
                  <a:pt x="4839053" y="2248351"/>
                  <a:pt x="4838465" y="2250408"/>
                </a:cubicBezTo>
                <a:lnTo>
                  <a:pt x="4837675" y="2253473"/>
                </a:lnTo>
                <a:lnTo>
                  <a:pt x="4838067" y="2254139"/>
                </a:lnTo>
                <a:lnTo>
                  <a:pt x="4840814" y="2244780"/>
                </a:lnTo>
                <a:lnTo>
                  <a:pt x="4840814" y="2245423"/>
                </a:lnTo>
                <a:cubicBezTo>
                  <a:pt x="4843163" y="2243076"/>
                  <a:pt x="4843163" y="2243076"/>
                  <a:pt x="4843163" y="2238373"/>
                </a:cubicBezTo>
                <a:cubicBezTo>
                  <a:pt x="4845511" y="2236026"/>
                  <a:pt x="4845511" y="2236026"/>
                  <a:pt x="4847860" y="2233674"/>
                </a:cubicBezTo>
                <a:cubicBezTo>
                  <a:pt x="4847860" y="2236026"/>
                  <a:pt x="4847860" y="2236026"/>
                  <a:pt x="4847860" y="2236026"/>
                </a:cubicBezTo>
                <a:cubicBezTo>
                  <a:pt x="4850209" y="2233674"/>
                  <a:pt x="4850209" y="2233674"/>
                  <a:pt x="4850209" y="2233674"/>
                </a:cubicBezTo>
                <a:cubicBezTo>
                  <a:pt x="4852558" y="2231320"/>
                  <a:pt x="4852558" y="2231320"/>
                  <a:pt x="4852558" y="2226630"/>
                </a:cubicBezTo>
                <a:cubicBezTo>
                  <a:pt x="4854907" y="2226630"/>
                  <a:pt x="4854907" y="2226630"/>
                  <a:pt x="4857255" y="2224282"/>
                </a:cubicBezTo>
                <a:cubicBezTo>
                  <a:pt x="4857255" y="2226630"/>
                  <a:pt x="4857255" y="2226630"/>
                  <a:pt x="4857255" y="2228978"/>
                </a:cubicBezTo>
                <a:cubicBezTo>
                  <a:pt x="4857255" y="2228978"/>
                  <a:pt x="4857255" y="2228978"/>
                  <a:pt x="4859604" y="2226630"/>
                </a:cubicBezTo>
                <a:cubicBezTo>
                  <a:pt x="4859604" y="2231320"/>
                  <a:pt x="4859604" y="2231320"/>
                  <a:pt x="4859604" y="2233674"/>
                </a:cubicBezTo>
                <a:cubicBezTo>
                  <a:pt x="4859604" y="2231320"/>
                  <a:pt x="4859604" y="2231320"/>
                  <a:pt x="4861953" y="2228978"/>
                </a:cubicBezTo>
                <a:cubicBezTo>
                  <a:pt x="4861953" y="2233674"/>
                  <a:pt x="4861953" y="2236026"/>
                  <a:pt x="4861953" y="2240724"/>
                </a:cubicBezTo>
                <a:cubicBezTo>
                  <a:pt x="4861953" y="2243076"/>
                  <a:pt x="4861953" y="2243076"/>
                  <a:pt x="4861953" y="2247765"/>
                </a:cubicBezTo>
                <a:cubicBezTo>
                  <a:pt x="4864302" y="2247765"/>
                  <a:pt x="4866651" y="2243076"/>
                  <a:pt x="4866651" y="2238373"/>
                </a:cubicBezTo>
                <a:cubicBezTo>
                  <a:pt x="4866651" y="2233674"/>
                  <a:pt x="4864302" y="2224282"/>
                  <a:pt x="4866651" y="2219581"/>
                </a:cubicBezTo>
                <a:cubicBezTo>
                  <a:pt x="4866651" y="2217233"/>
                  <a:pt x="4866651" y="2217233"/>
                  <a:pt x="4866651" y="2217233"/>
                </a:cubicBezTo>
                <a:cubicBezTo>
                  <a:pt x="4866651" y="2212534"/>
                  <a:pt x="4866651" y="2212534"/>
                  <a:pt x="4868999" y="2210186"/>
                </a:cubicBezTo>
                <a:cubicBezTo>
                  <a:pt x="4866651" y="2214885"/>
                  <a:pt x="4866651" y="2214885"/>
                  <a:pt x="4868999" y="2214885"/>
                </a:cubicBezTo>
                <a:cubicBezTo>
                  <a:pt x="4868999" y="2214885"/>
                  <a:pt x="4871348" y="2212534"/>
                  <a:pt x="4871348" y="2212534"/>
                </a:cubicBezTo>
                <a:cubicBezTo>
                  <a:pt x="4871348" y="2212534"/>
                  <a:pt x="4871348" y="2212534"/>
                  <a:pt x="4871348" y="2210186"/>
                </a:cubicBezTo>
                <a:cubicBezTo>
                  <a:pt x="4871348" y="2210186"/>
                  <a:pt x="4873697" y="2207839"/>
                  <a:pt x="4873697" y="2205490"/>
                </a:cubicBezTo>
                <a:cubicBezTo>
                  <a:pt x="4873697" y="2203143"/>
                  <a:pt x="4873697" y="2203143"/>
                  <a:pt x="4873697" y="2200795"/>
                </a:cubicBezTo>
                <a:cubicBezTo>
                  <a:pt x="4878395" y="2196093"/>
                  <a:pt x="4878395" y="2196093"/>
                  <a:pt x="4883092" y="2189045"/>
                </a:cubicBezTo>
                <a:cubicBezTo>
                  <a:pt x="4885441" y="2184346"/>
                  <a:pt x="4885441" y="2184346"/>
                  <a:pt x="4885441" y="2179641"/>
                </a:cubicBezTo>
                <a:cubicBezTo>
                  <a:pt x="4887790" y="2177291"/>
                  <a:pt x="4894836" y="2163216"/>
                  <a:pt x="4897184" y="2160874"/>
                </a:cubicBezTo>
                <a:cubicBezTo>
                  <a:pt x="4897184" y="2160874"/>
                  <a:pt x="4897184" y="2160874"/>
                  <a:pt x="4899533" y="2160874"/>
                </a:cubicBezTo>
                <a:cubicBezTo>
                  <a:pt x="4899533" y="2158534"/>
                  <a:pt x="4899533" y="2158534"/>
                  <a:pt x="4901882" y="2153852"/>
                </a:cubicBezTo>
                <a:cubicBezTo>
                  <a:pt x="4901882" y="2153852"/>
                  <a:pt x="4901882" y="2153852"/>
                  <a:pt x="4904231" y="2153852"/>
                </a:cubicBezTo>
                <a:cubicBezTo>
                  <a:pt x="4906580" y="2149151"/>
                  <a:pt x="4904231" y="2153852"/>
                  <a:pt x="4908928" y="2149151"/>
                </a:cubicBezTo>
                <a:cubicBezTo>
                  <a:pt x="4908928" y="2149151"/>
                  <a:pt x="4908928" y="2146800"/>
                  <a:pt x="4911277" y="2144444"/>
                </a:cubicBezTo>
                <a:cubicBezTo>
                  <a:pt x="4911277" y="2142092"/>
                  <a:pt x="4911277" y="2142092"/>
                  <a:pt x="4911277" y="2139749"/>
                </a:cubicBezTo>
                <a:cubicBezTo>
                  <a:pt x="4913626" y="2135051"/>
                  <a:pt x="4913626" y="2135051"/>
                  <a:pt x="4915975" y="2132698"/>
                </a:cubicBezTo>
                <a:cubicBezTo>
                  <a:pt x="4920672" y="2132698"/>
                  <a:pt x="4923021" y="2130346"/>
                  <a:pt x="4925370" y="2125650"/>
                </a:cubicBezTo>
                <a:cubicBezTo>
                  <a:pt x="4927719" y="2123299"/>
                  <a:pt x="4927719" y="2123299"/>
                  <a:pt x="4930068" y="2123299"/>
                </a:cubicBezTo>
                <a:cubicBezTo>
                  <a:pt x="4927719" y="2125650"/>
                  <a:pt x="4925370" y="2125650"/>
                  <a:pt x="4925370" y="2127997"/>
                </a:cubicBezTo>
                <a:cubicBezTo>
                  <a:pt x="4925370" y="2130346"/>
                  <a:pt x="4925370" y="2130346"/>
                  <a:pt x="4925370" y="2130346"/>
                </a:cubicBezTo>
                <a:cubicBezTo>
                  <a:pt x="4923021" y="2132698"/>
                  <a:pt x="4923021" y="2132698"/>
                  <a:pt x="4925370" y="2132698"/>
                </a:cubicBezTo>
                <a:cubicBezTo>
                  <a:pt x="4927719" y="2130346"/>
                  <a:pt x="4937114" y="2120948"/>
                  <a:pt x="4946509" y="2116252"/>
                </a:cubicBezTo>
                <a:cubicBezTo>
                  <a:pt x="4946509" y="2116252"/>
                  <a:pt x="4946509" y="2116252"/>
                  <a:pt x="4946509" y="2113903"/>
                </a:cubicBezTo>
                <a:cubicBezTo>
                  <a:pt x="4948858" y="2111553"/>
                  <a:pt x="4948858" y="2111553"/>
                  <a:pt x="4951206" y="2111553"/>
                </a:cubicBezTo>
                <a:cubicBezTo>
                  <a:pt x="4951206" y="2111553"/>
                  <a:pt x="4951206" y="2111553"/>
                  <a:pt x="4951206" y="2109202"/>
                </a:cubicBezTo>
                <a:cubicBezTo>
                  <a:pt x="4948858" y="2109202"/>
                  <a:pt x="4948858" y="2109202"/>
                  <a:pt x="4948858" y="2109202"/>
                </a:cubicBezTo>
                <a:cubicBezTo>
                  <a:pt x="4948858" y="2106854"/>
                  <a:pt x="4948858" y="2106854"/>
                  <a:pt x="4948858" y="2104502"/>
                </a:cubicBezTo>
                <a:cubicBezTo>
                  <a:pt x="4948858" y="2104502"/>
                  <a:pt x="4948858" y="2104502"/>
                  <a:pt x="4946509" y="2104502"/>
                </a:cubicBezTo>
                <a:cubicBezTo>
                  <a:pt x="4944160" y="2106854"/>
                  <a:pt x="4944160" y="2106854"/>
                  <a:pt x="4941811" y="2111553"/>
                </a:cubicBezTo>
                <a:cubicBezTo>
                  <a:pt x="4941811" y="2111553"/>
                  <a:pt x="4941811" y="2111553"/>
                  <a:pt x="4939463" y="2111553"/>
                </a:cubicBezTo>
                <a:cubicBezTo>
                  <a:pt x="4937114" y="2111553"/>
                  <a:pt x="4937114" y="2109202"/>
                  <a:pt x="4937114" y="2109202"/>
                </a:cubicBezTo>
                <a:cubicBezTo>
                  <a:pt x="4937114" y="2109202"/>
                  <a:pt x="4937114" y="2109202"/>
                  <a:pt x="4934765" y="2111553"/>
                </a:cubicBezTo>
                <a:cubicBezTo>
                  <a:pt x="4937114" y="2109202"/>
                  <a:pt x="4937114" y="2109202"/>
                  <a:pt x="4937114" y="2106854"/>
                </a:cubicBezTo>
                <a:cubicBezTo>
                  <a:pt x="4937114" y="2106854"/>
                  <a:pt x="4937114" y="2104502"/>
                  <a:pt x="4937114" y="2104502"/>
                </a:cubicBezTo>
                <a:cubicBezTo>
                  <a:pt x="4939463" y="2102160"/>
                  <a:pt x="4939463" y="2102160"/>
                  <a:pt x="4941811" y="2099806"/>
                </a:cubicBezTo>
                <a:cubicBezTo>
                  <a:pt x="4941811" y="2099806"/>
                  <a:pt x="4939463" y="2097458"/>
                  <a:pt x="4937114" y="2099806"/>
                </a:cubicBezTo>
                <a:cubicBezTo>
                  <a:pt x="4934765" y="2102160"/>
                  <a:pt x="4927719" y="2106854"/>
                  <a:pt x="4925370" y="2109202"/>
                </a:cubicBezTo>
                <a:cubicBezTo>
                  <a:pt x="4925370" y="2109202"/>
                  <a:pt x="4937114" y="2097458"/>
                  <a:pt x="4937114" y="2097458"/>
                </a:cubicBezTo>
                <a:cubicBezTo>
                  <a:pt x="4941811" y="2092760"/>
                  <a:pt x="4944160" y="2092760"/>
                  <a:pt x="4951206" y="2090411"/>
                </a:cubicBezTo>
                <a:cubicBezTo>
                  <a:pt x="4953555" y="2090411"/>
                  <a:pt x="4953555" y="2090411"/>
                  <a:pt x="4955904" y="2088062"/>
                </a:cubicBezTo>
                <a:cubicBezTo>
                  <a:pt x="4962950" y="2085712"/>
                  <a:pt x="4962950" y="2081019"/>
                  <a:pt x="4972346" y="2076317"/>
                </a:cubicBezTo>
                <a:cubicBezTo>
                  <a:pt x="4967648" y="2081019"/>
                  <a:pt x="4962950" y="2090411"/>
                  <a:pt x="4958253" y="2092760"/>
                </a:cubicBezTo>
                <a:cubicBezTo>
                  <a:pt x="4955904" y="2095111"/>
                  <a:pt x="4955904" y="2095111"/>
                  <a:pt x="4953555" y="2099806"/>
                </a:cubicBezTo>
                <a:cubicBezTo>
                  <a:pt x="4953555" y="2099806"/>
                  <a:pt x="4953555" y="2099806"/>
                  <a:pt x="4955904" y="2099806"/>
                </a:cubicBezTo>
                <a:cubicBezTo>
                  <a:pt x="4958253" y="2097458"/>
                  <a:pt x="4958253" y="2097458"/>
                  <a:pt x="4960602" y="2097458"/>
                </a:cubicBezTo>
                <a:cubicBezTo>
                  <a:pt x="4965299" y="2095111"/>
                  <a:pt x="4965299" y="2095111"/>
                  <a:pt x="4967648" y="2095111"/>
                </a:cubicBezTo>
                <a:cubicBezTo>
                  <a:pt x="4965299" y="2097458"/>
                  <a:pt x="4965299" y="2097458"/>
                  <a:pt x="4965299" y="2099806"/>
                </a:cubicBezTo>
                <a:cubicBezTo>
                  <a:pt x="4969997" y="2095111"/>
                  <a:pt x="4969997" y="2095111"/>
                  <a:pt x="4974694" y="2092760"/>
                </a:cubicBezTo>
                <a:cubicBezTo>
                  <a:pt x="4972346" y="2095111"/>
                  <a:pt x="4972346" y="2095111"/>
                  <a:pt x="4972346" y="2097458"/>
                </a:cubicBezTo>
                <a:cubicBezTo>
                  <a:pt x="4977043" y="2097458"/>
                  <a:pt x="4977043" y="2097458"/>
                  <a:pt x="4979392" y="2097458"/>
                </a:cubicBezTo>
                <a:cubicBezTo>
                  <a:pt x="4981741" y="2092760"/>
                  <a:pt x="4981741" y="2092760"/>
                  <a:pt x="4984090" y="2090411"/>
                </a:cubicBezTo>
                <a:cubicBezTo>
                  <a:pt x="4981741" y="2085712"/>
                  <a:pt x="4981741" y="2085712"/>
                  <a:pt x="4981741" y="2081019"/>
                </a:cubicBezTo>
                <a:cubicBezTo>
                  <a:pt x="4977043" y="2081019"/>
                  <a:pt x="4977043" y="2081019"/>
                  <a:pt x="4972346" y="2083361"/>
                </a:cubicBezTo>
                <a:cubicBezTo>
                  <a:pt x="4972346" y="2083361"/>
                  <a:pt x="4972346" y="2083361"/>
                  <a:pt x="4972346" y="2081019"/>
                </a:cubicBezTo>
                <a:cubicBezTo>
                  <a:pt x="4969997" y="2081019"/>
                  <a:pt x="4969997" y="2081019"/>
                  <a:pt x="4969997" y="2081019"/>
                </a:cubicBezTo>
                <a:cubicBezTo>
                  <a:pt x="4972346" y="2078665"/>
                  <a:pt x="4972346" y="2078665"/>
                  <a:pt x="4974694" y="2073967"/>
                </a:cubicBezTo>
                <a:cubicBezTo>
                  <a:pt x="4974694" y="2069276"/>
                  <a:pt x="4979392" y="2059879"/>
                  <a:pt x="4974694" y="2062226"/>
                </a:cubicBezTo>
                <a:cubicBezTo>
                  <a:pt x="4974694" y="2064576"/>
                  <a:pt x="4974694" y="2064576"/>
                  <a:pt x="4972346" y="2064576"/>
                </a:cubicBezTo>
                <a:cubicBezTo>
                  <a:pt x="4972346" y="2059879"/>
                  <a:pt x="4974694" y="2059879"/>
                  <a:pt x="4967648" y="2062226"/>
                </a:cubicBezTo>
                <a:cubicBezTo>
                  <a:pt x="4967648" y="2059879"/>
                  <a:pt x="4967648" y="2059879"/>
                  <a:pt x="4967648" y="2059879"/>
                </a:cubicBezTo>
                <a:cubicBezTo>
                  <a:pt x="4967648" y="2062226"/>
                  <a:pt x="4967648" y="2062226"/>
                  <a:pt x="4965299" y="2062226"/>
                </a:cubicBezTo>
                <a:cubicBezTo>
                  <a:pt x="4965299" y="2062226"/>
                  <a:pt x="4965299" y="2062226"/>
                  <a:pt x="4962950" y="2059879"/>
                </a:cubicBezTo>
                <a:cubicBezTo>
                  <a:pt x="4965299" y="2057527"/>
                  <a:pt x="4965299" y="2057527"/>
                  <a:pt x="4967648" y="2055183"/>
                </a:cubicBezTo>
                <a:cubicBezTo>
                  <a:pt x="4967648" y="2055183"/>
                  <a:pt x="4967648" y="2055183"/>
                  <a:pt x="4965299" y="2055183"/>
                </a:cubicBezTo>
                <a:cubicBezTo>
                  <a:pt x="4962950" y="2057527"/>
                  <a:pt x="4962950" y="2057527"/>
                  <a:pt x="4962950" y="2057527"/>
                </a:cubicBezTo>
                <a:cubicBezTo>
                  <a:pt x="4960602" y="2057527"/>
                  <a:pt x="4958253" y="2059879"/>
                  <a:pt x="4958253" y="2059879"/>
                </a:cubicBezTo>
                <a:lnTo>
                  <a:pt x="4967313" y="2051825"/>
                </a:lnTo>
                <a:lnTo>
                  <a:pt x="4967648" y="2052830"/>
                </a:lnTo>
                <a:lnTo>
                  <a:pt x="4969326" y="2050036"/>
                </a:lnTo>
                <a:lnTo>
                  <a:pt x="4972346" y="2047353"/>
                </a:lnTo>
                <a:lnTo>
                  <a:pt x="4972346" y="2048132"/>
                </a:lnTo>
                <a:lnTo>
                  <a:pt x="4977209" y="2043030"/>
                </a:lnTo>
                <a:lnTo>
                  <a:pt x="4979392" y="2041086"/>
                </a:lnTo>
                <a:cubicBezTo>
                  <a:pt x="4981741" y="2038738"/>
                  <a:pt x="4981741" y="2038738"/>
                  <a:pt x="4981741" y="2038738"/>
                </a:cubicBezTo>
                <a:cubicBezTo>
                  <a:pt x="4984090" y="2036390"/>
                  <a:pt x="4984090" y="2036390"/>
                  <a:pt x="4984090" y="2036390"/>
                </a:cubicBezTo>
                <a:close/>
                <a:moveTo>
                  <a:pt x="5258207" y="2030997"/>
                </a:moveTo>
                <a:lnTo>
                  <a:pt x="5258898" y="2031688"/>
                </a:lnTo>
                <a:cubicBezTo>
                  <a:pt x="5256549" y="2034040"/>
                  <a:pt x="5256549" y="2034040"/>
                  <a:pt x="5254200" y="2036390"/>
                </a:cubicBezTo>
                <a:cubicBezTo>
                  <a:pt x="5255374" y="2036390"/>
                  <a:pt x="5256549" y="2034624"/>
                  <a:pt x="5257430" y="2032866"/>
                </a:cubicBezTo>
                <a:close/>
                <a:moveTo>
                  <a:pt x="4896294" y="2028748"/>
                </a:moveTo>
                <a:lnTo>
                  <a:pt x="4895996" y="2029341"/>
                </a:lnTo>
                <a:lnTo>
                  <a:pt x="4897184" y="2029341"/>
                </a:lnTo>
                <a:close/>
                <a:moveTo>
                  <a:pt x="5258115" y="2028559"/>
                </a:moveTo>
                <a:lnTo>
                  <a:pt x="5258898" y="2029341"/>
                </a:lnTo>
                <a:lnTo>
                  <a:pt x="5258207" y="2030997"/>
                </a:lnTo>
                <a:lnTo>
                  <a:pt x="5256549" y="2029341"/>
                </a:lnTo>
                <a:close/>
                <a:moveTo>
                  <a:pt x="4993485" y="2026995"/>
                </a:moveTo>
                <a:cubicBezTo>
                  <a:pt x="4991136" y="2029341"/>
                  <a:pt x="4991136" y="2029341"/>
                  <a:pt x="4988787" y="2031688"/>
                </a:cubicBezTo>
                <a:lnTo>
                  <a:pt x="4986537" y="2033942"/>
                </a:lnTo>
                <a:close/>
                <a:moveTo>
                  <a:pt x="6379263" y="2024644"/>
                </a:moveTo>
                <a:cubicBezTo>
                  <a:pt x="6393356" y="2026995"/>
                  <a:pt x="6405100" y="2029341"/>
                  <a:pt x="6414495" y="2031688"/>
                </a:cubicBezTo>
                <a:cubicBezTo>
                  <a:pt x="6421541" y="2034040"/>
                  <a:pt x="6426239" y="2034040"/>
                  <a:pt x="6423890" y="2034040"/>
                </a:cubicBezTo>
                <a:cubicBezTo>
                  <a:pt x="6423890" y="2034040"/>
                  <a:pt x="6419193" y="2031688"/>
                  <a:pt x="6412146" y="2031688"/>
                </a:cubicBezTo>
                <a:cubicBezTo>
                  <a:pt x="6405100" y="2029341"/>
                  <a:pt x="6393356" y="2026995"/>
                  <a:pt x="6379263" y="2024644"/>
                </a:cubicBezTo>
                <a:close/>
                <a:moveTo>
                  <a:pt x="4913626" y="2024644"/>
                </a:moveTo>
                <a:lnTo>
                  <a:pt x="4913626" y="2031688"/>
                </a:lnTo>
                <a:lnTo>
                  <a:pt x="4923021" y="2024644"/>
                </a:lnTo>
                <a:close/>
                <a:moveTo>
                  <a:pt x="5336407" y="2014813"/>
                </a:moveTo>
                <a:lnTo>
                  <a:pt x="5336407" y="2015249"/>
                </a:lnTo>
                <a:lnTo>
                  <a:pt x="5337146" y="2015249"/>
                </a:lnTo>
                <a:close/>
                <a:moveTo>
                  <a:pt x="6064527" y="2010553"/>
                </a:moveTo>
                <a:cubicBezTo>
                  <a:pt x="6064527" y="2010553"/>
                  <a:pt x="6062178" y="2012900"/>
                  <a:pt x="6062178" y="2012900"/>
                </a:cubicBezTo>
                <a:cubicBezTo>
                  <a:pt x="6069224" y="2012900"/>
                  <a:pt x="6076271" y="2012900"/>
                  <a:pt x="6083317" y="2012900"/>
                </a:cubicBezTo>
                <a:cubicBezTo>
                  <a:pt x="6083317" y="2010553"/>
                  <a:pt x="6083317" y="2010553"/>
                  <a:pt x="6085666" y="2010553"/>
                </a:cubicBezTo>
                <a:cubicBezTo>
                  <a:pt x="6078620" y="2010553"/>
                  <a:pt x="6071573" y="2010553"/>
                  <a:pt x="6064527" y="2010553"/>
                </a:cubicBezTo>
                <a:close/>
                <a:moveTo>
                  <a:pt x="6294316" y="2010163"/>
                </a:moveTo>
                <a:lnTo>
                  <a:pt x="6299405" y="2010553"/>
                </a:lnTo>
                <a:cubicBezTo>
                  <a:pt x="6308800" y="2012900"/>
                  <a:pt x="6318195" y="2015247"/>
                  <a:pt x="6327590" y="2015247"/>
                </a:cubicBezTo>
                <a:cubicBezTo>
                  <a:pt x="6318195" y="2012900"/>
                  <a:pt x="6306451" y="2010553"/>
                  <a:pt x="6297056" y="2010553"/>
                </a:cubicBezTo>
                <a:close/>
                <a:moveTo>
                  <a:pt x="6127944" y="2008212"/>
                </a:moveTo>
                <a:lnTo>
                  <a:pt x="6144390" y="2010553"/>
                </a:lnTo>
                <a:lnTo>
                  <a:pt x="6127944" y="2010553"/>
                </a:lnTo>
                <a:cubicBezTo>
                  <a:pt x="6137339" y="2012900"/>
                  <a:pt x="6149083" y="2015247"/>
                  <a:pt x="6160827" y="2012900"/>
                </a:cubicBezTo>
                <a:lnTo>
                  <a:pt x="6144390" y="2010553"/>
                </a:lnTo>
                <a:lnTo>
                  <a:pt x="6163175" y="2010553"/>
                </a:lnTo>
                <a:cubicBezTo>
                  <a:pt x="6149083" y="2008212"/>
                  <a:pt x="6137339" y="2008212"/>
                  <a:pt x="6127944" y="2008212"/>
                </a:cubicBezTo>
                <a:close/>
                <a:moveTo>
                  <a:pt x="4723375" y="2008212"/>
                </a:moveTo>
                <a:cubicBezTo>
                  <a:pt x="4728072" y="2015247"/>
                  <a:pt x="4732770" y="2022296"/>
                  <a:pt x="4739816" y="2026993"/>
                </a:cubicBezTo>
                <a:cubicBezTo>
                  <a:pt x="4746862" y="2024642"/>
                  <a:pt x="4753909" y="2019944"/>
                  <a:pt x="4760955" y="2015247"/>
                </a:cubicBezTo>
                <a:cubicBezTo>
                  <a:pt x="4758606" y="2015247"/>
                  <a:pt x="4756257" y="2015247"/>
                  <a:pt x="4751560" y="2015247"/>
                </a:cubicBezTo>
                <a:cubicBezTo>
                  <a:pt x="4746862" y="2015247"/>
                  <a:pt x="4742165" y="2015247"/>
                  <a:pt x="4737467" y="2012900"/>
                </a:cubicBezTo>
                <a:cubicBezTo>
                  <a:pt x="4732770" y="2012900"/>
                  <a:pt x="4730421" y="2010553"/>
                  <a:pt x="4728072" y="2010553"/>
                </a:cubicBezTo>
                <a:cubicBezTo>
                  <a:pt x="4725723" y="2010553"/>
                  <a:pt x="4725723" y="2008212"/>
                  <a:pt x="4723375" y="2008212"/>
                </a:cubicBezTo>
                <a:close/>
                <a:moveTo>
                  <a:pt x="4631772" y="2003507"/>
                </a:moveTo>
                <a:cubicBezTo>
                  <a:pt x="4617680" y="2005860"/>
                  <a:pt x="4563658" y="2017598"/>
                  <a:pt x="4580099" y="2015247"/>
                </a:cubicBezTo>
                <a:cubicBezTo>
                  <a:pt x="4596541" y="2019944"/>
                  <a:pt x="4662306" y="2003507"/>
                  <a:pt x="4631772" y="2003507"/>
                </a:cubicBezTo>
                <a:close/>
                <a:moveTo>
                  <a:pt x="5536054" y="2001159"/>
                </a:moveTo>
                <a:cubicBezTo>
                  <a:pt x="5538402" y="2003509"/>
                  <a:pt x="5540751" y="2003509"/>
                  <a:pt x="5540751" y="2003509"/>
                </a:cubicBezTo>
                <a:cubicBezTo>
                  <a:pt x="5543100" y="2005860"/>
                  <a:pt x="5543100" y="2005860"/>
                  <a:pt x="5545448" y="2005860"/>
                </a:cubicBezTo>
                <a:cubicBezTo>
                  <a:pt x="5543100" y="2003509"/>
                  <a:pt x="5540751" y="2001159"/>
                  <a:pt x="5536054" y="2001159"/>
                </a:cubicBezTo>
                <a:close/>
                <a:moveTo>
                  <a:pt x="5465590" y="2001156"/>
                </a:moveTo>
                <a:cubicBezTo>
                  <a:pt x="5467938" y="2005857"/>
                  <a:pt x="5470287" y="2001156"/>
                  <a:pt x="5472636" y="2008209"/>
                </a:cubicBezTo>
                <a:cubicBezTo>
                  <a:pt x="5470287" y="2008209"/>
                  <a:pt x="5470287" y="2008209"/>
                  <a:pt x="5467938" y="2008209"/>
                </a:cubicBezTo>
                <a:cubicBezTo>
                  <a:pt x="5465590" y="2008209"/>
                  <a:pt x="5465590" y="2008209"/>
                  <a:pt x="5465590" y="2008209"/>
                </a:cubicBezTo>
                <a:cubicBezTo>
                  <a:pt x="5463241" y="2003504"/>
                  <a:pt x="5453845" y="1998808"/>
                  <a:pt x="5465590" y="2001156"/>
                </a:cubicBezTo>
                <a:close/>
                <a:moveTo>
                  <a:pt x="4928078" y="2000649"/>
                </a:moveTo>
                <a:lnTo>
                  <a:pt x="4910667" y="2011913"/>
                </a:lnTo>
                <a:lnTo>
                  <a:pt x="4920672" y="2015249"/>
                </a:lnTo>
                <a:cubicBezTo>
                  <a:pt x="4923021" y="2012900"/>
                  <a:pt x="4927719" y="2008212"/>
                  <a:pt x="4927719" y="2005860"/>
                </a:cubicBezTo>
                <a:cubicBezTo>
                  <a:pt x="4927719" y="2002922"/>
                  <a:pt x="4927866" y="2001453"/>
                  <a:pt x="4928013" y="2000755"/>
                </a:cubicBezTo>
                <a:close/>
                <a:moveTo>
                  <a:pt x="4603844" y="1996131"/>
                </a:moveTo>
                <a:cubicBezTo>
                  <a:pt x="4605495" y="1995874"/>
                  <a:pt x="4604761" y="1995874"/>
                  <a:pt x="4598889" y="1996461"/>
                </a:cubicBezTo>
                <a:cubicBezTo>
                  <a:pt x="4572466" y="1999987"/>
                  <a:pt x="4598890" y="1996902"/>
                  <a:pt x="4603844" y="1996131"/>
                </a:cubicBezTo>
                <a:close/>
                <a:moveTo>
                  <a:pt x="4839368" y="1995558"/>
                </a:moveTo>
                <a:lnTo>
                  <a:pt x="4840813" y="1996461"/>
                </a:lnTo>
                <a:lnTo>
                  <a:pt x="4840633" y="1996642"/>
                </a:lnTo>
                <a:close/>
                <a:moveTo>
                  <a:pt x="5601574" y="1992646"/>
                </a:moveTo>
                <a:lnTo>
                  <a:pt x="5603076" y="1993275"/>
                </a:lnTo>
                <a:lnTo>
                  <a:pt x="5601819" y="1994112"/>
                </a:lnTo>
                <a:close/>
                <a:moveTo>
                  <a:pt x="6139687" y="1991764"/>
                </a:moveTo>
                <a:cubicBezTo>
                  <a:pt x="6137339" y="1996462"/>
                  <a:pt x="6134990" y="1998811"/>
                  <a:pt x="6130292" y="2003509"/>
                </a:cubicBezTo>
                <a:cubicBezTo>
                  <a:pt x="6144385" y="2003509"/>
                  <a:pt x="6156129" y="2005860"/>
                  <a:pt x="6167873" y="2005860"/>
                </a:cubicBezTo>
                <a:cubicBezTo>
                  <a:pt x="6172571" y="2001159"/>
                  <a:pt x="6174919" y="1998811"/>
                  <a:pt x="6179617" y="1994112"/>
                </a:cubicBezTo>
                <a:cubicBezTo>
                  <a:pt x="6167873" y="1994112"/>
                  <a:pt x="6153780" y="1991764"/>
                  <a:pt x="6139687" y="1991764"/>
                </a:cubicBezTo>
                <a:close/>
                <a:moveTo>
                  <a:pt x="5521961" y="1991764"/>
                </a:moveTo>
                <a:cubicBezTo>
                  <a:pt x="5526658" y="1994112"/>
                  <a:pt x="5526658" y="1994112"/>
                  <a:pt x="5529007" y="1996460"/>
                </a:cubicBezTo>
                <a:cubicBezTo>
                  <a:pt x="5526658" y="1996460"/>
                  <a:pt x="5526658" y="1994112"/>
                  <a:pt x="5524310" y="1994112"/>
                </a:cubicBezTo>
                <a:cubicBezTo>
                  <a:pt x="5524310" y="1991764"/>
                  <a:pt x="5524310" y="1991764"/>
                  <a:pt x="5521961" y="1991764"/>
                </a:cubicBezTo>
                <a:close/>
                <a:moveTo>
                  <a:pt x="5517263" y="1991764"/>
                </a:moveTo>
                <a:cubicBezTo>
                  <a:pt x="5517263" y="1991764"/>
                  <a:pt x="5517263" y="1991764"/>
                  <a:pt x="5519612" y="1991764"/>
                </a:cubicBezTo>
                <a:cubicBezTo>
                  <a:pt x="5526658" y="1996460"/>
                  <a:pt x="5526658" y="1996460"/>
                  <a:pt x="5529007" y="1998810"/>
                </a:cubicBezTo>
                <a:cubicBezTo>
                  <a:pt x="5526658" y="1996460"/>
                  <a:pt x="5529007" y="1998810"/>
                  <a:pt x="5524310" y="1996460"/>
                </a:cubicBezTo>
                <a:cubicBezTo>
                  <a:pt x="5521961" y="1996460"/>
                  <a:pt x="5521961" y="1996460"/>
                  <a:pt x="5519612" y="1994112"/>
                </a:cubicBezTo>
                <a:cubicBezTo>
                  <a:pt x="5519612" y="1994112"/>
                  <a:pt x="5519612" y="1994112"/>
                  <a:pt x="5517263" y="1991764"/>
                </a:cubicBezTo>
                <a:close/>
                <a:moveTo>
                  <a:pt x="5042809" y="1989415"/>
                </a:moveTo>
                <a:cubicBezTo>
                  <a:pt x="5042809" y="1989415"/>
                  <a:pt x="5045158" y="1989415"/>
                  <a:pt x="5045158" y="1989415"/>
                </a:cubicBezTo>
                <a:lnTo>
                  <a:pt x="5038113" y="1991764"/>
                </a:lnTo>
                <a:close/>
                <a:moveTo>
                  <a:pt x="6078620" y="1987067"/>
                </a:moveTo>
                <a:cubicBezTo>
                  <a:pt x="6073922" y="1989415"/>
                  <a:pt x="6071573" y="1994112"/>
                  <a:pt x="6069224" y="1998811"/>
                </a:cubicBezTo>
                <a:lnTo>
                  <a:pt x="6092712" y="1998811"/>
                </a:lnTo>
                <a:cubicBezTo>
                  <a:pt x="6095061" y="1996462"/>
                  <a:pt x="6099759" y="1991764"/>
                  <a:pt x="6102108" y="1989415"/>
                </a:cubicBezTo>
                <a:cubicBezTo>
                  <a:pt x="6095061" y="1989415"/>
                  <a:pt x="6085666" y="1987067"/>
                  <a:pt x="6078620" y="1987067"/>
                </a:cubicBezTo>
                <a:close/>
                <a:moveTo>
                  <a:pt x="4927718" y="1984718"/>
                </a:moveTo>
                <a:cubicBezTo>
                  <a:pt x="4927718" y="1987067"/>
                  <a:pt x="4925370" y="1987067"/>
                  <a:pt x="4925370" y="1989415"/>
                </a:cubicBezTo>
                <a:lnTo>
                  <a:pt x="4926865" y="1989629"/>
                </a:lnTo>
                <a:lnTo>
                  <a:pt x="4927426" y="1987948"/>
                </a:lnTo>
                <a:lnTo>
                  <a:pt x="4931779" y="1987424"/>
                </a:lnTo>
                <a:close/>
                <a:moveTo>
                  <a:pt x="6146734" y="1982369"/>
                </a:moveTo>
                <a:cubicBezTo>
                  <a:pt x="6144385" y="1984719"/>
                  <a:pt x="6144385" y="1984719"/>
                  <a:pt x="6144385" y="1987067"/>
                </a:cubicBezTo>
                <a:cubicBezTo>
                  <a:pt x="6156129" y="1987067"/>
                  <a:pt x="6167873" y="1989415"/>
                  <a:pt x="6179617" y="1989415"/>
                </a:cubicBezTo>
                <a:cubicBezTo>
                  <a:pt x="6179617" y="1989415"/>
                  <a:pt x="6181966" y="1989415"/>
                  <a:pt x="6181966" y="1989415"/>
                </a:cubicBezTo>
                <a:cubicBezTo>
                  <a:pt x="6184315" y="1987067"/>
                  <a:pt x="6184315" y="1987067"/>
                  <a:pt x="6186663" y="1984719"/>
                </a:cubicBezTo>
                <a:cubicBezTo>
                  <a:pt x="6174919" y="1984719"/>
                  <a:pt x="6160827" y="1982369"/>
                  <a:pt x="6146734" y="1982369"/>
                </a:cubicBezTo>
                <a:close/>
                <a:moveTo>
                  <a:pt x="4941811" y="1982369"/>
                </a:moveTo>
                <a:cubicBezTo>
                  <a:pt x="4939462" y="1982369"/>
                  <a:pt x="4939462" y="1984718"/>
                  <a:pt x="4939462" y="1984718"/>
                </a:cubicBezTo>
                <a:cubicBezTo>
                  <a:pt x="4937114" y="1984718"/>
                  <a:pt x="4934765" y="1984718"/>
                  <a:pt x="4932416" y="1984718"/>
                </a:cubicBezTo>
                <a:lnTo>
                  <a:pt x="4933657" y="1987199"/>
                </a:lnTo>
                <a:lnTo>
                  <a:pt x="4934765" y="1987067"/>
                </a:lnTo>
                <a:cubicBezTo>
                  <a:pt x="4948858" y="1987067"/>
                  <a:pt x="4941811" y="1989415"/>
                  <a:pt x="4944160" y="1984719"/>
                </a:cubicBezTo>
                <a:lnTo>
                  <a:pt x="4944968" y="1983947"/>
                </a:lnTo>
                <a:close/>
                <a:moveTo>
                  <a:pt x="4967648" y="1979498"/>
                </a:moveTo>
                <a:lnTo>
                  <a:pt x="4964035" y="1981105"/>
                </a:lnTo>
                <a:lnTo>
                  <a:pt x="4967648" y="1984719"/>
                </a:lnTo>
                <a:close/>
                <a:moveTo>
                  <a:pt x="6083317" y="1977673"/>
                </a:moveTo>
                <a:cubicBezTo>
                  <a:pt x="6083317" y="1980020"/>
                  <a:pt x="6080968" y="1980020"/>
                  <a:pt x="6080968" y="1982369"/>
                </a:cubicBezTo>
                <a:lnTo>
                  <a:pt x="6085666" y="1982369"/>
                </a:lnTo>
                <a:cubicBezTo>
                  <a:pt x="6092712" y="1984719"/>
                  <a:pt x="6097410" y="1984719"/>
                  <a:pt x="6104456" y="1984719"/>
                </a:cubicBezTo>
                <a:cubicBezTo>
                  <a:pt x="6106805" y="1982369"/>
                  <a:pt x="6106805" y="1982369"/>
                  <a:pt x="6109154" y="1980020"/>
                </a:cubicBezTo>
                <a:cubicBezTo>
                  <a:pt x="6102108" y="1980020"/>
                  <a:pt x="6092712" y="1980020"/>
                  <a:pt x="6083317" y="1977673"/>
                </a:cubicBezTo>
                <a:close/>
                <a:moveTo>
                  <a:pt x="4993485" y="1977673"/>
                </a:moveTo>
                <a:lnTo>
                  <a:pt x="5000531" y="1984719"/>
                </a:lnTo>
                <a:lnTo>
                  <a:pt x="5000531" y="1977673"/>
                </a:lnTo>
                <a:close/>
                <a:moveTo>
                  <a:pt x="4676399" y="1975323"/>
                </a:moveTo>
                <a:cubicBezTo>
                  <a:pt x="4662306" y="1984718"/>
                  <a:pt x="4641167" y="1975323"/>
                  <a:pt x="4629423" y="1989415"/>
                </a:cubicBezTo>
                <a:cubicBezTo>
                  <a:pt x="4643516" y="1987067"/>
                  <a:pt x="4683445" y="1989415"/>
                  <a:pt x="4676399" y="1975323"/>
                </a:cubicBezTo>
                <a:close/>
                <a:moveTo>
                  <a:pt x="5411567" y="1972972"/>
                </a:moveTo>
                <a:cubicBezTo>
                  <a:pt x="5418614" y="1972972"/>
                  <a:pt x="5418614" y="1972972"/>
                  <a:pt x="5425660" y="1977671"/>
                </a:cubicBezTo>
                <a:cubicBezTo>
                  <a:pt x="5418614" y="1980019"/>
                  <a:pt x="5418614" y="1980019"/>
                  <a:pt x="5411567" y="1982367"/>
                </a:cubicBezTo>
                <a:cubicBezTo>
                  <a:pt x="5409218" y="1977671"/>
                  <a:pt x="5409218" y="1977671"/>
                  <a:pt x="5406870" y="1975321"/>
                </a:cubicBezTo>
                <a:cubicBezTo>
                  <a:pt x="5409218" y="1975321"/>
                  <a:pt x="5409218" y="1975321"/>
                  <a:pt x="5411567" y="1972972"/>
                </a:cubicBezTo>
                <a:close/>
                <a:moveTo>
                  <a:pt x="4815308" y="1971213"/>
                </a:moveTo>
                <a:cubicBezTo>
                  <a:pt x="4802206" y="1972534"/>
                  <a:pt x="4786792" y="1981784"/>
                  <a:pt x="4793838" y="1987067"/>
                </a:cubicBezTo>
                <a:cubicBezTo>
                  <a:pt x="4800884" y="1972974"/>
                  <a:pt x="4819675" y="1989415"/>
                  <a:pt x="4826721" y="1972974"/>
                </a:cubicBezTo>
                <a:cubicBezTo>
                  <a:pt x="4823785" y="1971212"/>
                  <a:pt x="4819675" y="1970772"/>
                  <a:pt x="4815308" y="1971213"/>
                </a:cubicBezTo>
                <a:close/>
                <a:moveTo>
                  <a:pt x="5054553" y="1970625"/>
                </a:moveTo>
                <a:lnTo>
                  <a:pt x="5054553" y="1977673"/>
                </a:lnTo>
                <a:cubicBezTo>
                  <a:pt x="5063948" y="1975323"/>
                  <a:pt x="5059250" y="1977673"/>
                  <a:pt x="5063948" y="1970625"/>
                </a:cubicBezTo>
                <a:close/>
                <a:moveTo>
                  <a:pt x="5014623" y="1968276"/>
                </a:moveTo>
                <a:lnTo>
                  <a:pt x="5007577" y="1975323"/>
                </a:lnTo>
                <a:lnTo>
                  <a:pt x="5014623" y="1977673"/>
                </a:lnTo>
                <a:close/>
                <a:moveTo>
                  <a:pt x="5195481" y="1961230"/>
                </a:moveTo>
                <a:cubicBezTo>
                  <a:pt x="5193132" y="1961230"/>
                  <a:pt x="5193132" y="1961230"/>
                  <a:pt x="5190783" y="1963579"/>
                </a:cubicBezTo>
                <a:cubicBezTo>
                  <a:pt x="5183737" y="1965927"/>
                  <a:pt x="5183737" y="1965927"/>
                  <a:pt x="5174341" y="1965927"/>
                </a:cubicBezTo>
                <a:cubicBezTo>
                  <a:pt x="5174341" y="1968276"/>
                  <a:pt x="5174341" y="1968276"/>
                  <a:pt x="5174341" y="1968276"/>
                </a:cubicBezTo>
                <a:cubicBezTo>
                  <a:pt x="5169644" y="1968276"/>
                  <a:pt x="5169644" y="1968276"/>
                  <a:pt x="5164946" y="1968276"/>
                </a:cubicBezTo>
                <a:cubicBezTo>
                  <a:pt x="5160249" y="1970625"/>
                  <a:pt x="5155551" y="1972974"/>
                  <a:pt x="5153203" y="1975323"/>
                </a:cubicBezTo>
                <a:cubicBezTo>
                  <a:pt x="5155551" y="1977673"/>
                  <a:pt x="5155551" y="1977673"/>
                  <a:pt x="5157900" y="1972974"/>
                </a:cubicBezTo>
                <a:cubicBezTo>
                  <a:pt x="5162598" y="1972974"/>
                  <a:pt x="5162598" y="1972974"/>
                  <a:pt x="5164946" y="1972974"/>
                </a:cubicBezTo>
                <a:cubicBezTo>
                  <a:pt x="5164946" y="1975323"/>
                  <a:pt x="5164946" y="1975323"/>
                  <a:pt x="5164946" y="1977673"/>
                </a:cubicBezTo>
                <a:cubicBezTo>
                  <a:pt x="5164946" y="1980020"/>
                  <a:pt x="5164946" y="1980020"/>
                  <a:pt x="5167295" y="1982369"/>
                </a:cubicBezTo>
                <a:cubicBezTo>
                  <a:pt x="5169644" y="1980020"/>
                  <a:pt x="5169644" y="1980020"/>
                  <a:pt x="5171993" y="1980020"/>
                </a:cubicBezTo>
                <a:cubicBezTo>
                  <a:pt x="5169644" y="1980020"/>
                  <a:pt x="5169644" y="1980020"/>
                  <a:pt x="5169644" y="1977673"/>
                </a:cubicBezTo>
                <a:cubicBezTo>
                  <a:pt x="5174341" y="1977673"/>
                  <a:pt x="5176690" y="1977673"/>
                  <a:pt x="5183737" y="1977673"/>
                </a:cubicBezTo>
                <a:cubicBezTo>
                  <a:pt x="5186085" y="1977673"/>
                  <a:pt x="5197829" y="1972974"/>
                  <a:pt x="5200178" y="1972974"/>
                </a:cubicBezTo>
                <a:cubicBezTo>
                  <a:pt x="5209573" y="1968276"/>
                  <a:pt x="5207225" y="1968276"/>
                  <a:pt x="5214271" y="1965927"/>
                </a:cubicBezTo>
                <a:cubicBezTo>
                  <a:pt x="5209573" y="1965927"/>
                  <a:pt x="5209573" y="1965927"/>
                  <a:pt x="5207225" y="1963579"/>
                </a:cubicBezTo>
                <a:cubicBezTo>
                  <a:pt x="5204876" y="1963579"/>
                  <a:pt x="5204876" y="1963579"/>
                  <a:pt x="5204876" y="1963579"/>
                </a:cubicBezTo>
                <a:cubicBezTo>
                  <a:pt x="5204876" y="1963579"/>
                  <a:pt x="5204876" y="1963579"/>
                  <a:pt x="5204876" y="1961230"/>
                </a:cubicBezTo>
                <a:cubicBezTo>
                  <a:pt x="5202527" y="1961230"/>
                  <a:pt x="5202527" y="1961230"/>
                  <a:pt x="5200178" y="1961230"/>
                </a:cubicBezTo>
                <a:cubicBezTo>
                  <a:pt x="5197829" y="1961230"/>
                  <a:pt x="5197829" y="1961230"/>
                  <a:pt x="5195481" y="1961230"/>
                </a:cubicBezTo>
                <a:close/>
                <a:moveTo>
                  <a:pt x="4981741" y="1958882"/>
                </a:moveTo>
                <a:lnTo>
                  <a:pt x="4974694" y="1968276"/>
                </a:lnTo>
                <a:cubicBezTo>
                  <a:pt x="4984090" y="1972974"/>
                  <a:pt x="4977043" y="1970625"/>
                  <a:pt x="4984090" y="1970625"/>
                </a:cubicBezTo>
                <a:lnTo>
                  <a:pt x="4991136" y="1975323"/>
                </a:lnTo>
                <a:lnTo>
                  <a:pt x="4998182" y="1965927"/>
                </a:lnTo>
                <a:cubicBezTo>
                  <a:pt x="4984090" y="1963579"/>
                  <a:pt x="4991136" y="1965927"/>
                  <a:pt x="4981741" y="1958882"/>
                </a:cubicBezTo>
                <a:close/>
                <a:moveTo>
                  <a:pt x="4845511" y="1958881"/>
                </a:moveTo>
                <a:cubicBezTo>
                  <a:pt x="4840813" y="1968277"/>
                  <a:pt x="4833767" y="1977673"/>
                  <a:pt x="4826721" y="1984718"/>
                </a:cubicBezTo>
                <a:lnTo>
                  <a:pt x="4839368" y="1995558"/>
                </a:lnTo>
                <a:lnTo>
                  <a:pt x="4822023" y="1984718"/>
                </a:lnTo>
                <a:cubicBezTo>
                  <a:pt x="4817326" y="1987067"/>
                  <a:pt x="4814977" y="1989415"/>
                  <a:pt x="4812628" y="1991764"/>
                </a:cubicBezTo>
                <a:cubicBezTo>
                  <a:pt x="4810279" y="1994112"/>
                  <a:pt x="4805582" y="1996461"/>
                  <a:pt x="4803233" y="1998811"/>
                </a:cubicBezTo>
                <a:cubicBezTo>
                  <a:pt x="4803233" y="1998811"/>
                  <a:pt x="4805582" y="2001159"/>
                  <a:pt x="4805582" y="2001159"/>
                </a:cubicBezTo>
                <a:cubicBezTo>
                  <a:pt x="4814977" y="2001159"/>
                  <a:pt x="4817326" y="2008212"/>
                  <a:pt x="4819675" y="2012900"/>
                </a:cubicBezTo>
                <a:cubicBezTo>
                  <a:pt x="4822023" y="2015247"/>
                  <a:pt x="4824372" y="2017598"/>
                  <a:pt x="4826721" y="2019944"/>
                </a:cubicBezTo>
                <a:cubicBezTo>
                  <a:pt x="4829070" y="2019944"/>
                  <a:pt x="4831419" y="2019944"/>
                  <a:pt x="4836116" y="2017598"/>
                </a:cubicBezTo>
                <a:cubicBezTo>
                  <a:pt x="4843162" y="2015247"/>
                  <a:pt x="4840813" y="2005860"/>
                  <a:pt x="4836116" y="2001159"/>
                </a:cubicBezTo>
                <a:lnTo>
                  <a:pt x="4840633" y="1996642"/>
                </a:lnTo>
                <a:lnTo>
                  <a:pt x="4843162" y="1998811"/>
                </a:lnTo>
                <a:cubicBezTo>
                  <a:pt x="4852557" y="1989415"/>
                  <a:pt x="4873696" y="1987067"/>
                  <a:pt x="4894835" y="1984718"/>
                </a:cubicBezTo>
                <a:cubicBezTo>
                  <a:pt x="4887789" y="1977673"/>
                  <a:pt x="4880743" y="1972974"/>
                  <a:pt x="4873696" y="1968277"/>
                </a:cubicBezTo>
                <a:cubicBezTo>
                  <a:pt x="4864301" y="1968277"/>
                  <a:pt x="4852557" y="1963579"/>
                  <a:pt x="4845511" y="1958881"/>
                </a:cubicBezTo>
                <a:close/>
                <a:moveTo>
                  <a:pt x="5047780" y="1954730"/>
                </a:moveTo>
                <a:lnTo>
                  <a:pt x="5046669" y="1955022"/>
                </a:lnTo>
                <a:lnTo>
                  <a:pt x="5040460" y="1961230"/>
                </a:lnTo>
                <a:lnTo>
                  <a:pt x="5047507" y="1965927"/>
                </a:lnTo>
                <a:lnTo>
                  <a:pt x="5049855" y="1958882"/>
                </a:lnTo>
                <a:close/>
                <a:moveTo>
                  <a:pt x="5500822" y="1954185"/>
                </a:moveTo>
                <a:lnTo>
                  <a:pt x="5500822" y="1965927"/>
                </a:lnTo>
                <a:lnTo>
                  <a:pt x="5507868" y="1961230"/>
                </a:lnTo>
                <a:close/>
                <a:moveTo>
                  <a:pt x="4988787" y="1951836"/>
                </a:moveTo>
                <a:cubicBezTo>
                  <a:pt x="4993485" y="1961230"/>
                  <a:pt x="4991136" y="1961230"/>
                  <a:pt x="5005228" y="1961230"/>
                </a:cubicBezTo>
                <a:lnTo>
                  <a:pt x="5005228" y="1951836"/>
                </a:lnTo>
                <a:lnTo>
                  <a:pt x="4998182" y="1954185"/>
                </a:lnTo>
                <a:close/>
                <a:moveTo>
                  <a:pt x="5397475" y="1949487"/>
                </a:moveTo>
                <a:cubicBezTo>
                  <a:pt x="5397475" y="1951836"/>
                  <a:pt x="5397475" y="1951836"/>
                  <a:pt x="5397475" y="1951836"/>
                </a:cubicBezTo>
                <a:cubicBezTo>
                  <a:pt x="5392778" y="1951836"/>
                  <a:pt x="5385731" y="1951836"/>
                  <a:pt x="5383383" y="1951836"/>
                </a:cubicBezTo>
                <a:cubicBezTo>
                  <a:pt x="5378685" y="1954185"/>
                  <a:pt x="5373988" y="1954185"/>
                  <a:pt x="5371639" y="1954185"/>
                </a:cubicBezTo>
                <a:lnTo>
                  <a:pt x="5368914" y="1956294"/>
                </a:lnTo>
                <a:lnTo>
                  <a:pt x="5378684" y="1998811"/>
                </a:lnTo>
                <a:lnTo>
                  <a:pt x="5379436" y="2017595"/>
                </a:lnTo>
                <a:lnTo>
                  <a:pt x="5383382" y="2017595"/>
                </a:lnTo>
                <a:cubicBezTo>
                  <a:pt x="5385731" y="2012896"/>
                  <a:pt x="5385731" y="2015246"/>
                  <a:pt x="5385731" y="2012896"/>
                </a:cubicBezTo>
                <a:cubicBezTo>
                  <a:pt x="5385731" y="2010551"/>
                  <a:pt x="5385731" y="2010551"/>
                  <a:pt x="5385731" y="2005857"/>
                </a:cubicBezTo>
                <a:cubicBezTo>
                  <a:pt x="5388080" y="2005857"/>
                  <a:pt x="5388080" y="2005857"/>
                  <a:pt x="5390428" y="2005857"/>
                </a:cubicBezTo>
                <a:cubicBezTo>
                  <a:pt x="5390428" y="2005857"/>
                  <a:pt x="5390428" y="2005857"/>
                  <a:pt x="5392777" y="2003507"/>
                </a:cubicBezTo>
                <a:cubicBezTo>
                  <a:pt x="5395126" y="2003507"/>
                  <a:pt x="5395126" y="2003507"/>
                  <a:pt x="5395126" y="2005857"/>
                </a:cubicBezTo>
                <a:cubicBezTo>
                  <a:pt x="5395126" y="2005857"/>
                  <a:pt x="5395126" y="2005857"/>
                  <a:pt x="5397475" y="2005857"/>
                </a:cubicBezTo>
                <a:cubicBezTo>
                  <a:pt x="5399824" y="2003507"/>
                  <a:pt x="5399824" y="2003507"/>
                  <a:pt x="5399824" y="2001156"/>
                </a:cubicBezTo>
                <a:cubicBezTo>
                  <a:pt x="5395126" y="1996458"/>
                  <a:pt x="5392777" y="1994109"/>
                  <a:pt x="5383382" y="1991762"/>
                </a:cubicBezTo>
                <a:cubicBezTo>
                  <a:pt x="5385731" y="1984714"/>
                  <a:pt x="5385731" y="1984714"/>
                  <a:pt x="5390428" y="1980018"/>
                </a:cubicBezTo>
                <a:cubicBezTo>
                  <a:pt x="5392777" y="1980018"/>
                  <a:pt x="5392777" y="1980018"/>
                  <a:pt x="5392777" y="1980018"/>
                </a:cubicBezTo>
                <a:cubicBezTo>
                  <a:pt x="5397475" y="1982366"/>
                  <a:pt x="5397475" y="1982366"/>
                  <a:pt x="5402172" y="1984714"/>
                </a:cubicBezTo>
                <a:cubicBezTo>
                  <a:pt x="5404521" y="1984714"/>
                  <a:pt x="5404521" y="1984714"/>
                  <a:pt x="5406870" y="1984714"/>
                </a:cubicBezTo>
                <a:cubicBezTo>
                  <a:pt x="5409219" y="1984714"/>
                  <a:pt x="5409219" y="1984714"/>
                  <a:pt x="5409219" y="1987064"/>
                </a:cubicBezTo>
                <a:cubicBezTo>
                  <a:pt x="5406870" y="1989412"/>
                  <a:pt x="5404521" y="1991762"/>
                  <a:pt x="5404521" y="1991762"/>
                </a:cubicBezTo>
                <a:cubicBezTo>
                  <a:pt x="5404521" y="1991762"/>
                  <a:pt x="5409219" y="1996458"/>
                  <a:pt x="5409219" y="1996458"/>
                </a:cubicBezTo>
                <a:cubicBezTo>
                  <a:pt x="5411568" y="1996458"/>
                  <a:pt x="5411568" y="1996458"/>
                  <a:pt x="5413916" y="1994109"/>
                </a:cubicBezTo>
                <a:cubicBezTo>
                  <a:pt x="5416265" y="1996458"/>
                  <a:pt x="5416265" y="1996458"/>
                  <a:pt x="5418614" y="1998808"/>
                </a:cubicBezTo>
                <a:cubicBezTo>
                  <a:pt x="5430358" y="1998808"/>
                  <a:pt x="5439753" y="1998808"/>
                  <a:pt x="5451497" y="2001156"/>
                </a:cubicBezTo>
                <a:cubicBezTo>
                  <a:pt x="5451497" y="2003507"/>
                  <a:pt x="5451497" y="2003507"/>
                  <a:pt x="5451497" y="2003507"/>
                </a:cubicBezTo>
                <a:cubicBezTo>
                  <a:pt x="5449148" y="2003507"/>
                  <a:pt x="5449148" y="2003507"/>
                  <a:pt x="5446799" y="2003507"/>
                </a:cubicBezTo>
                <a:cubicBezTo>
                  <a:pt x="5446799" y="2005857"/>
                  <a:pt x="5446799" y="2005857"/>
                  <a:pt x="5446799" y="2005857"/>
                </a:cubicBezTo>
                <a:cubicBezTo>
                  <a:pt x="5437404" y="2005857"/>
                  <a:pt x="5418614" y="1998808"/>
                  <a:pt x="5420963" y="2005857"/>
                </a:cubicBezTo>
                <a:cubicBezTo>
                  <a:pt x="5420963" y="2005857"/>
                  <a:pt x="5420963" y="2005857"/>
                  <a:pt x="5420963" y="2008206"/>
                </a:cubicBezTo>
                <a:cubicBezTo>
                  <a:pt x="5425660" y="2008206"/>
                  <a:pt x="5428009" y="2010551"/>
                  <a:pt x="5428009" y="2012896"/>
                </a:cubicBezTo>
                <a:cubicBezTo>
                  <a:pt x="5428009" y="2019941"/>
                  <a:pt x="5418614" y="2012896"/>
                  <a:pt x="5416265" y="2010551"/>
                </a:cubicBezTo>
                <a:cubicBezTo>
                  <a:pt x="5409219" y="2012896"/>
                  <a:pt x="5409219" y="2015246"/>
                  <a:pt x="5411568" y="2024642"/>
                </a:cubicBezTo>
                <a:cubicBezTo>
                  <a:pt x="5409219" y="2026992"/>
                  <a:pt x="5409219" y="2026992"/>
                  <a:pt x="5404521" y="2026992"/>
                </a:cubicBezTo>
                <a:cubicBezTo>
                  <a:pt x="5402172" y="2024642"/>
                  <a:pt x="5402172" y="2024642"/>
                  <a:pt x="5399824" y="2024642"/>
                </a:cubicBezTo>
                <a:cubicBezTo>
                  <a:pt x="5397475" y="2024642"/>
                  <a:pt x="5392777" y="2026992"/>
                  <a:pt x="5383382" y="2026992"/>
                </a:cubicBezTo>
                <a:lnTo>
                  <a:pt x="5379812" y="2026992"/>
                </a:lnTo>
                <a:lnTo>
                  <a:pt x="5381033" y="2057527"/>
                </a:lnTo>
                <a:cubicBezTo>
                  <a:pt x="5371638" y="2062226"/>
                  <a:pt x="5362242" y="2059879"/>
                  <a:pt x="5350498" y="2057527"/>
                </a:cubicBezTo>
                <a:cubicBezTo>
                  <a:pt x="5361068" y="2032866"/>
                  <a:pt x="5352260" y="2024056"/>
                  <a:pt x="5339636" y="2016716"/>
                </a:cubicBezTo>
                <a:lnTo>
                  <a:pt x="5338756" y="2016198"/>
                </a:lnTo>
                <a:lnTo>
                  <a:pt x="5338756" y="2022296"/>
                </a:lnTo>
                <a:cubicBezTo>
                  <a:pt x="5338756" y="2022296"/>
                  <a:pt x="5338756" y="2022296"/>
                  <a:pt x="5338756" y="2024644"/>
                </a:cubicBezTo>
                <a:cubicBezTo>
                  <a:pt x="5331710" y="2024644"/>
                  <a:pt x="5331710" y="2024644"/>
                  <a:pt x="5322315" y="2024644"/>
                </a:cubicBezTo>
                <a:cubicBezTo>
                  <a:pt x="5317617" y="2029341"/>
                  <a:pt x="5317617" y="2026995"/>
                  <a:pt x="5315268" y="2029341"/>
                </a:cubicBezTo>
                <a:cubicBezTo>
                  <a:pt x="5312920" y="2029341"/>
                  <a:pt x="5312920" y="2031688"/>
                  <a:pt x="5310571" y="2034040"/>
                </a:cubicBezTo>
                <a:cubicBezTo>
                  <a:pt x="5305873" y="2036390"/>
                  <a:pt x="5298827" y="2036390"/>
                  <a:pt x="5294129" y="2038738"/>
                </a:cubicBezTo>
                <a:cubicBezTo>
                  <a:pt x="5296478" y="2031688"/>
                  <a:pt x="5296478" y="2031688"/>
                  <a:pt x="5296478" y="2026995"/>
                </a:cubicBezTo>
                <a:cubicBezTo>
                  <a:pt x="5294129" y="2026995"/>
                  <a:pt x="5294129" y="2026995"/>
                  <a:pt x="5289432" y="2024644"/>
                </a:cubicBezTo>
                <a:cubicBezTo>
                  <a:pt x="5280036" y="2015249"/>
                  <a:pt x="5280036" y="2015249"/>
                  <a:pt x="5270641" y="2008212"/>
                </a:cubicBezTo>
                <a:cubicBezTo>
                  <a:pt x="5272990" y="2003509"/>
                  <a:pt x="5272990" y="2003509"/>
                  <a:pt x="5275339" y="1998810"/>
                </a:cubicBezTo>
                <a:cubicBezTo>
                  <a:pt x="5272990" y="1998810"/>
                  <a:pt x="5272990" y="1998810"/>
                  <a:pt x="5272990" y="1998810"/>
                </a:cubicBezTo>
                <a:cubicBezTo>
                  <a:pt x="5268293" y="1998810"/>
                  <a:pt x="5268293" y="1998810"/>
                  <a:pt x="5263595" y="1998810"/>
                </a:cubicBezTo>
                <a:cubicBezTo>
                  <a:pt x="5263595" y="1996460"/>
                  <a:pt x="5263595" y="1996460"/>
                  <a:pt x="5265944" y="1994112"/>
                </a:cubicBezTo>
                <a:cubicBezTo>
                  <a:pt x="5258898" y="1996460"/>
                  <a:pt x="5258898" y="1996460"/>
                  <a:pt x="5249502" y="1998810"/>
                </a:cubicBezTo>
                <a:cubicBezTo>
                  <a:pt x="5249502" y="2001159"/>
                  <a:pt x="5249502" y="2001159"/>
                  <a:pt x="5249502" y="2003509"/>
                </a:cubicBezTo>
                <a:cubicBezTo>
                  <a:pt x="5249502" y="2005860"/>
                  <a:pt x="5249502" y="2005860"/>
                  <a:pt x="5247154" y="2008212"/>
                </a:cubicBezTo>
                <a:cubicBezTo>
                  <a:pt x="5249502" y="2008212"/>
                  <a:pt x="5249502" y="2008212"/>
                  <a:pt x="5249502" y="2008212"/>
                </a:cubicBezTo>
                <a:cubicBezTo>
                  <a:pt x="5251851" y="2010553"/>
                  <a:pt x="5251851" y="2010553"/>
                  <a:pt x="5251851" y="2015249"/>
                </a:cubicBezTo>
                <a:cubicBezTo>
                  <a:pt x="5256549" y="2012900"/>
                  <a:pt x="5256549" y="2012900"/>
                  <a:pt x="5258898" y="2012900"/>
                </a:cubicBezTo>
                <a:cubicBezTo>
                  <a:pt x="5256549" y="2015249"/>
                  <a:pt x="5256549" y="2015249"/>
                  <a:pt x="5256549" y="2019944"/>
                </a:cubicBezTo>
                <a:cubicBezTo>
                  <a:pt x="5258898" y="2017598"/>
                  <a:pt x="5258898" y="2017598"/>
                  <a:pt x="5263595" y="2017598"/>
                </a:cubicBezTo>
                <a:cubicBezTo>
                  <a:pt x="5265944" y="2022296"/>
                  <a:pt x="5265944" y="2022296"/>
                  <a:pt x="5268293" y="2024644"/>
                </a:cubicBezTo>
                <a:cubicBezTo>
                  <a:pt x="5265944" y="2024644"/>
                  <a:pt x="5265944" y="2024644"/>
                  <a:pt x="5265944" y="2024644"/>
                </a:cubicBezTo>
                <a:lnTo>
                  <a:pt x="5258115" y="2028559"/>
                </a:lnTo>
                <a:lnTo>
                  <a:pt x="5251851" y="2022296"/>
                </a:lnTo>
                <a:cubicBezTo>
                  <a:pt x="5247741" y="2021114"/>
                  <a:pt x="5242456" y="2021114"/>
                  <a:pt x="5237758" y="2022296"/>
                </a:cubicBezTo>
                <a:cubicBezTo>
                  <a:pt x="5235410" y="2024644"/>
                  <a:pt x="5235410" y="2024644"/>
                  <a:pt x="5235410" y="2026995"/>
                </a:cubicBezTo>
                <a:cubicBezTo>
                  <a:pt x="5233061" y="2026995"/>
                  <a:pt x="5233061" y="2026995"/>
                  <a:pt x="5228363" y="2026995"/>
                </a:cubicBezTo>
                <a:cubicBezTo>
                  <a:pt x="5226014" y="2029341"/>
                  <a:pt x="5226014" y="2029341"/>
                  <a:pt x="5226014" y="2031688"/>
                </a:cubicBezTo>
                <a:cubicBezTo>
                  <a:pt x="5226014" y="2031688"/>
                  <a:pt x="5226014" y="2034040"/>
                  <a:pt x="5228363" y="2034040"/>
                </a:cubicBezTo>
                <a:cubicBezTo>
                  <a:pt x="5228363" y="2036390"/>
                  <a:pt x="5223666" y="2038738"/>
                  <a:pt x="5223666" y="2038738"/>
                </a:cubicBezTo>
                <a:cubicBezTo>
                  <a:pt x="5223666" y="2041086"/>
                  <a:pt x="5226014" y="2043438"/>
                  <a:pt x="5228363" y="2043438"/>
                </a:cubicBezTo>
                <a:cubicBezTo>
                  <a:pt x="5235410" y="2043438"/>
                  <a:pt x="5240107" y="2038738"/>
                  <a:pt x="5244805" y="2038738"/>
                </a:cubicBezTo>
                <a:cubicBezTo>
                  <a:pt x="5251851" y="2038738"/>
                  <a:pt x="5251851" y="2041086"/>
                  <a:pt x="5254200" y="2036390"/>
                </a:cubicBezTo>
                <a:cubicBezTo>
                  <a:pt x="5256549" y="2038738"/>
                  <a:pt x="5256549" y="2038738"/>
                  <a:pt x="5258898" y="2038738"/>
                </a:cubicBezTo>
                <a:cubicBezTo>
                  <a:pt x="5254200" y="2045787"/>
                  <a:pt x="5254200" y="2045787"/>
                  <a:pt x="5249502" y="2050483"/>
                </a:cubicBezTo>
                <a:cubicBezTo>
                  <a:pt x="5253025" y="2050483"/>
                  <a:pt x="5254787" y="2050483"/>
                  <a:pt x="5256255" y="2050190"/>
                </a:cubicBezTo>
                <a:lnTo>
                  <a:pt x="5259181" y="2048984"/>
                </a:lnTo>
                <a:lnTo>
                  <a:pt x="5261246" y="2055183"/>
                </a:lnTo>
                <a:cubicBezTo>
                  <a:pt x="5263595" y="2055183"/>
                  <a:pt x="5263595" y="2055183"/>
                  <a:pt x="5263595" y="2055183"/>
                </a:cubicBezTo>
                <a:cubicBezTo>
                  <a:pt x="5265944" y="2052830"/>
                  <a:pt x="5265944" y="2052830"/>
                  <a:pt x="5268293" y="2048132"/>
                </a:cubicBezTo>
                <a:cubicBezTo>
                  <a:pt x="5272990" y="2045787"/>
                  <a:pt x="5272990" y="2045787"/>
                  <a:pt x="5277688" y="2045787"/>
                </a:cubicBezTo>
                <a:cubicBezTo>
                  <a:pt x="5280036" y="2045787"/>
                  <a:pt x="5280036" y="2045787"/>
                  <a:pt x="5282385" y="2048132"/>
                </a:cubicBezTo>
                <a:cubicBezTo>
                  <a:pt x="5284734" y="2045787"/>
                  <a:pt x="5282385" y="2045787"/>
                  <a:pt x="5287083" y="2045787"/>
                </a:cubicBezTo>
                <a:cubicBezTo>
                  <a:pt x="5289432" y="2045787"/>
                  <a:pt x="5289432" y="2045787"/>
                  <a:pt x="5291780" y="2045787"/>
                </a:cubicBezTo>
                <a:cubicBezTo>
                  <a:pt x="5291780" y="2045787"/>
                  <a:pt x="5291780" y="2045787"/>
                  <a:pt x="5291780" y="2043438"/>
                </a:cubicBezTo>
                <a:cubicBezTo>
                  <a:pt x="5291780" y="2043438"/>
                  <a:pt x="5291780" y="2043438"/>
                  <a:pt x="5294129" y="2043438"/>
                </a:cubicBezTo>
                <a:cubicBezTo>
                  <a:pt x="5294129" y="2045787"/>
                  <a:pt x="5294129" y="2045787"/>
                  <a:pt x="5294129" y="2048132"/>
                </a:cubicBezTo>
                <a:cubicBezTo>
                  <a:pt x="5289432" y="2050483"/>
                  <a:pt x="5289432" y="2050483"/>
                  <a:pt x="5284734" y="2052830"/>
                </a:cubicBezTo>
                <a:cubicBezTo>
                  <a:pt x="5284734" y="2055183"/>
                  <a:pt x="5284734" y="2055183"/>
                  <a:pt x="5284734" y="2055183"/>
                </a:cubicBezTo>
                <a:cubicBezTo>
                  <a:pt x="5280036" y="2055183"/>
                  <a:pt x="5280036" y="2055183"/>
                  <a:pt x="5272990" y="2052830"/>
                </a:cubicBezTo>
                <a:cubicBezTo>
                  <a:pt x="5275339" y="2057527"/>
                  <a:pt x="5275339" y="2057527"/>
                  <a:pt x="5275339" y="2059879"/>
                </a:cubicBezTo>
                <a:cubicBezTo>
                  <a:pt x="5272990" y="2059879"/>
                  <a:pt x="5272990" y="2059879"/>
                  <a:pt x="5270641" y="2059879"/>
                </a:cubicBezTo>
                <a:cubicBezTo>
                  <a:pt x="5268293" y="2057527"/>
                  <a:pt x="5268293" y="2057527"/>
                  <a:pt x="5265944" y="2057527"/>
                </a:cubicBezTo>
                <a:cubicBezTo>
                  <a:pt x="5261246" y="2059879"/>
                  <a:pt x="5261246" y="2059879"/>
                  <a:pt x="5256549" y="2059879"/>
                </a:cubicBezTo>
                <a:cubicBezTo>
                  <a:pt x="5256549" y="2059879"/>
                  <a:pt x="5256549" y="2059879"/>
                  <a:pt x="5256549" y="2062226"/>
                </a:cubicBezTo>
                <a:cubicBezTo>
                  <a:pt x="5256549" y="2066928"/>
                  <a:pt x="5265944" y="2066928"/>
                  <a:pt x="5270641" y="2066928"/>
                </a:cubicBezTo>
                <a:cubicBezTo>
                  <a:pt x="5272990" y="2071617"/>
                  <a:pt x="5272990" y="2071617"/>
                  <a:pt x="5277688" y="2076317"/>
                </a:cubicBezTo>
                <a:cubicBezTo>
                  <a:pt x="5280036" y="2076317"/>
                  <a:pt x="5280036" y="2076317"/>
                  <a:pt x="5280036" y="2076317"/>
                </a:cubicBezTo>
                <a:cubicBezTo>
                  <a:pt x="5280036" y="2083361"/>
                  <a:pt x="5280036" y="2083361"/>
                  <a:pt x="5280036" y="2090411"/>
                </a:cubicBezTo>
                <a:cubicBezTo>
                  <a:pt x="5275339" y="2092760"/>
                  <a:pt x="5275339" y="2092760"/>
                  <a:pt x="5268293" y="2095111"/>
                </a:cubicBezTo>
                <a:cubicBezTo>
                  <a:pt x="5263595" y="2095111"/>
                  <a:pt x="5223666" y="2090411"/>
                  <a:pt x="5223666" y="2102160"/>
                </a:cubicBezTo>
                <a:cubicBezTo>
                  <a:pt x="5223666" y="2104502"/>
                  <a:pt x="5226014" y="2104502"/>
                  <a:pt x="5228363" y="2106854"/>
                </a:cubicBezTo>
                <a:cubicBezTo>
                  <a:pt x="5226014" y="2111553"/>
                  <a:pt x="5226014" y="2111553"/>
                  <a:pt x="5223666" y="2116252"/>
                </a:cubicBezTo>
                <a:cubicBezTo>
                  <a:pt x="5226014" y="2118599"/>
                  <a:pt x="5226014" y="2118599"/>
                  <a:pt x="5228363" y="2120948"/>
                </a:cubicBezTo>
                <a:cubicBezTo>
                  <a:pt x="5226014" y="2120948"/>
                  <a:pt x="5226014" y="2120948"/>
                  <a:pt x="5223666" y="2120948"/>
                </a:cubicBezTo>
                <a:cubicBezTo>
                  <a:pt x="5223666" y="2123299"/>
                  <a:pt x="5223666" y="2123299"/>
                  <a:pt x="5223666" y="2125650"/>
                </a:cubicBezTo>
                <a:cubicBezTo>
                  <a:pt x="5223666" y="2130346"/>
                  <a:pt x="5226014" y="2130346"/>
                  <a:pt x="5228363" y="2130346"/>
                </a:cubicBezTo>
                <a:cubicBezTo>
                  <a:pt x="5226014" y="2135051"/>
                  <a:pt x="5226014" y="2130346"/>
                  <a:pt x="5226014" y="2135051"/>
                </a:cubicBezTo>
                <a:cubicBezTo>
                  <a:pt x="5226014" y="2139749"/>
                  <a:pt x="5226014" y="2139749"/>
                  <a:pt x="5226014" y="2142092"/>
                </a:cubicBezTo>
                <a:cubicBezTo>
                  <a:pt x="5233061" y="2139749"/>
                  <a:pt x="5233061" y="2139749"/>
                  <a:pt x="5240107" y="2139749"/>
                </a:cubicBezTo>
                <a:cubicBezTo>
                  <a:pt x="5242456" y="2142092"/>
                  <a:pt x="5244805" y="2146800"/>
                  <a:pt x="5244805" y="2149151"/>
                </a:cubicBezTo>
                <a:cubicBezTo>
                  <a:pt x="5244805" y="2165556"/>
                  <a:pt x="5216620" y="2163216"/>
                  <a:pt x="5216620" y="2181994"/>
                </a:cubicBezTo>
                <a:cubicBezTo>
                  <a:pt x="5216620" y="2186696"/>
                  <a:pt x="5218968" y="2184346"/>
                  <a:pt x="5218968" y="2189045"/>
                </a:cubicBezTo>
                <a:cubicBezTo>
                  <a:pt x="5207225" y="2205490"/>
                  <a:pt x="5195481" y="2200795"/>
                  <a:pt x="5193132" y="2214885"/>
                </a:cubicBezTo>
                <a:cubicBezTo>
                  <a:pt x="5181388" y="2217233"/>
                  <a:pt x="5186085" y="2221931"/>
                  <a:pt x="5181388" y="2228978"/>
                </a:cubicBezTo>
                <a:cubicBezTo>
                  <a:pt x="5176690" y="2236026"/>
                  <a:pt x="5174341" y="2233674"/>
                  <a:pt x="5171993" y="2245423"/>
                </a:cubicBezTo>
                <a:cubicBezTo>
                  <a:pt x="5169644" y="2245423"/>
                  <a:pt x="5169644" y="2245423"/>
                  <a:pt x="5167295" y="2245423"/>
                </a:cubicBezTo>
                <a:cubicBezTo>
                  <a:pt x="5167295" y="2252465"/>
                  <a:pt x="5167295" y="2252465"/>
                  <a:pt x="5167295" y="2259511"/>
                </a:cubicBezTo>
                <a:cubicBezTo>
                  <a:pt x="5169644" y="2259511"/>
                  <a:pt x="5171993" y="2259511"/>
                  <a:pt x="5171993" y="2261861"/>
                </a:cubicBezTo>
                <a:cubicBezTo>
                  <a:pt x="5171993" y="2266559"/>
                  <a:pt x="5171993" y="2266559"/>
                  <a:pt x="5171993" y="2273606"/>
                </a:cubicBezTo>
                <a:cubicBezTo>
                  <a:pt x="5171993" y="2278306"/>
                  <a:pt x="5171993" y="2278306"/>
                  <a:pt x="5171993" y="2280654"/>
                </a:cubicBezTo>
                <a:cubicBezTo>
                  <a:pt x="5171993" y="2290048"/>
                  <a:pt x="5169644" y="2292397"/>
                  <a:pt x="5162598" y="2297102"/>
                </a:cubicBezTo>
                <a:cubicBezTo>
                  <a:pt x="5164946" y="2301787"/>
                  <a:pt x="5164946" y="2301787"/>
                  <a:pt x="5167295" y="2304141"/>
                </a:cubicBezTo>
                <a:cubicBezTo>
                  <a:pt x="5167295" y="2308840"/>
                  <a:pt x="5167295" y="2308840"/>
                  <a:pt x="5167295" y="2315889"/>
                </a:cubicBezTo>
                <a:cubicBezTo>
                  <a:pt x="5174341" y="2320594"/>
                  <a:pt x="5176690" y="2322938"/>
                  <a:pt x="5183737" y="2329971"/>
                </a:cubicBezTo>
                <a:cubicBezTo>
                  <a:pt x="5190783" y="2337017"/>
                  <a:pt x="5188434" y="2341718"/>
                  <a:pt x="5195481" y="2348763"/>
                </a:cubicBezTo>
                <a:cubicBezTo>
                  <a:pt x="5197829" y="2353460"/>
                  <a:pt x="5223666" y="2372252"/>
                  <a:pt x="5230712" y="2372252"/>
                </a:cubicBezTo>
                <a:cubicBezTo>
                  <a:pt x="5233061" y="2372252"/>
                  <a:pt x="5233061" y="2372252"/>
                  <a:pt x="5233061" y="2372252"/>
                </a:cubicBezTo>
                <a:cubicBezTo>
                  <a:pt x="5237758" y="2372252"/>
                  <a:pt x="5240107" y="2367559"/>
                  <a:pt x="5251851" y="2367559"/>
                </a:cubicBezTo>
                <a:cubicBezTo>
                  <a:pt x="5254200" y="2367559"/>
                  <a:pt x="5254200" y="2367559"/>
                  <a:pt x="5256549" y="2367559"/>
                </a:cubicBezTo>
                <a:cubicBezTo>
                  <a:pt x="5263595" y="2367559"/>
                  <a:pt x="5265944" y="2369902"/>
                  <a:pt x="5270641" y="2372252"/>
                </a:cubicBezTo>
                <a:cubicBezTo>
                  <a:pt x="5275339" y="2369902"/>
                  <a:pt x="5298827" y="2360508"/>
                  <a:pt x="5303524" y="2360508"/>
                </a:cubicBezTo>
                <a:cubicBezTo>
                  <a:pt x="5310571" y="2360508"/>
                  <a:pt x="5310571" y="2360508"/>
                  <a:pt x="5315268" y="2360508"/>
                </a:cubicBezTo>
                <a:cubicBezTo>
                  <a:pt x="5324663" y="2360508"/>
                  <a:pt x="5324663" y="2372252"/>
                  <a:pt x="5331710" y="2376948"/>
                </a:cubicBezTo>
                <a:cubicBezTo>
                  <a:pt x="5336407" y="2374601"/>
                  <a:pt x="5338756" y="2374601"/>
                  <a:pt x="5343453" y="2374601"/>
                </a:cubicBezTo>
                <a:cubicBezTo>
                  <a:pt x="5345802" y="2374601"/>
                  <a:pt x="5345802" y="2374601"/>
                  <a:pt x="5348151" y="2374601"/>
                </a:cubicBezTo>
                <a:cubicBezTo>
                  <a:pt x="5355197" y="2374601"/>
                  <a:pt x="5359895" y="2379300"/>
                  <a:pt x="5359895" y="2386351"/>
                </a:cubicBezTo>
                <a:cubicBezTo>
                  <a:pt x="5359895" y="2391043"/>
                  <a:pt x="5355197" y="2395739"/>
                  <a:pt x="5355197" y="2402786"/>
                </a:cubicBezTo>
                <a:cubicBezTo>
                  <a:pt x="5355197" y="2405140"/>
                  <a:pt x="5355197" y="2405140"/>
                  <a:pt x="5355197" y="2407487"/>
                </a:cubicBezTo>
                <a:cubicBezTo>
                  <a:pt x="5352849" y="2407487"/>
                  <a:pt x="5352849" y="2407487"/>
                  <a:pt x="5350500" y="2407487"/>
                </a:cubicBezTo>
                <a:cubicBezTo>
                  <a:pt x="5352849" y="2419226"/>
                  <a:pt x="5362244" y="2423923"/>
                  <a:pt x="5369290" y="2433321"/>
                </a:cubicBezTo>
                <a:cubicBezTo>
                  <a:pt x="5376337" y="2440367"/>
                  <a:pt x="5378685" y="2452111"/>
                  <a:pt x="5383383" y="2461507"/>
                </a:cubicBezTo>
                <a:cubicBezTo>
                  <a:pt x="5381034" y="2463855"/>
                  <a:pt x="5381034" y="2463855"/>
                  <a:pt x="5378685" y="2466205"/>
                </a:cubicBezTo>
                <a:cubicBezTo>
                  <a:pt x="5381034" y="2468554"/>
                  <a:pt x="5385731" y="2475601"/>
                  <a:pt x="5385731" y="2482648"/>
                </a:cubicBezTo>
                <a:cubicBezTo>
                  <a:pt x="5385731" y="2482648"/>
                  <a:pt x="5369290" y="2503789"/>
                  <a:pt x="5369290" y="2517883"/>
                </a:cubicBezTo>
                <a:cubicBezTo>
                  <a:pt x="5369290" y="2520231"/>
                  <a:pt x="5369290" y="2520231"/>
                  <a:pt x="5369290" y="2522581"/>
                </a:cubicBezTo>
                <a:cubicBezTo>
                  <a:pt x="5369290" y="2529628"/>
                  <a:pt x="5385731" y="2557817"/>
                  <a:pt x="5388080" y="2560164"/>
                </a:cubicBezTo>
                <a:cubicBezTo>
                  <a:pt x="5383383" y="2567212"/>
                  <a:pt x="5390429" y="2590702"/>
                  <a:pt x="5392778" y="2595400"/>
                </a:cubicBezTo>
                <a:cubicBezTo>
                  <a:pt x="5397475" y="2602446"/>
                  <a:pt x="5399824" y="2597749"/>
                  <a:pt x="5402173" y="2609494"/>
                </a:cubicBezTo>
                <a:cubicBezTo>
                  <a:pt x="5404522" y="2616541"/>
                  <a:pt x="5404522" y="2616541"/>
                  <a:pt x="5409219" y="2621239"/>
                </a:cubicBezTo>
                <a:cubicBezTo>
                  <a:pt x="5406871" y="2637682"/>
                  <a:pt x="5416266" y="2640031"/>
                  <a:pt x="5430359" y="2640031"/>
                </a:cubicBezTo>
                <a:cubicBezTo>
                  <a:pt x="5432707" y="2637682"/>
                  <a:pt x="5432707" y="2635333"/>
                  <a:pt x="5437405" y="2635333"/>
                </a:cubicBezTo>
                <a:cubicBezTo>
                  <a:pt x="5439753" y="2635333"/>
                  <a:pt x="5439753" y="2635333"/>
                  <a:pt x="5442102" y="2635333"/>
                </a:cubicBezTo>
                <a:cubicBezTo>
                  <a:pt x="5446800" y="2635333"/>
                  <a:pt x="5446800" y="2635333"/>
                  <a:pt x="5451497" y="2635333"/>
                </a:cubicBezTo>
                <a:cubicBezTo>
                  <a:pt x="5465590" y="2625937"/>
                  <a:pt x="5465590" y="2630635"/>
                  <a:pt x="5479683" y="2616541"/>
                </a:cubicBezTo>
                <a:cubicBezTo>
                  <a:pt x="5486729" y="2611843"/>
                  <a:pt x="5496124" y="2595400"/>
                  <a:pt x="5503170" y="2593051"/>
                </a:cubicBezTo>
                <a:cubicBezTo>
                  <a:pt x="5505519" y="2583655"/>
                  <a:pt x="5505519" y="2583655"/>
                  <a:pt x="5505519" y="2576608"/>
                </a:cubicBezTo>
                <a:cubicBezTo>
                  <a:pt x="5505519" y="2564863"/>
                  <a:pt x="5521961" y="2571910"/>
                  <a:pt x="5521961" y="2560164"/>
                </a:cubicBezTo>
                <a:cubicBezTo>
                  <a:pt x="5521961" y="2555467"/>
                  <a:pt x="5521961" y="2555467"/>
                  <a:pt x="5521961" y="2553118"/>
                </a:cubicBezTo>
                <a:cubicBezTo>
                  <a:pt x="5521961" y="2548419"/>
                  <a:pt x="5519612" y="2536676"/>
                  <a:pt x="5519612" y="2534326"/>
                </a:cubicBezTo>
                <a:cubicBezTo>
                  <a:pt x="5533705" y="2515535"/>
                  <a:pt x="5545448" y="2515535"/>
                  <a:pt x="5557192" y="2499090"/>
                </a:cubicBezTo>
                <a:cubicBezTo>
                  <a:pt x="5557192" y="2484997"/>
                  <a:pt x="5557192" y="2484997"/>
                  <a:pt x="5557192" y="2470903"/>
                </a:cubicBezTo>
                <a:cubicBezTo>
                  <a:pt x="5554843" y="2463855"/>
                  <a:pt x="5550146" y="2461507"/>
                  <a:pt x="5550146" y="2452111"/>
                </a:cubicBezTo>
                <a:cubicBezTo>
                  <a:pt x="5550146" y="2447413"/>
                  <a:pt x="5552495" y="2449762"/>
                  <a:pt x="5552495" y="2445068"/>
                </a:cubicBezTo>
                <a:cubicBezTo>
                  <a:pt x="5550146" y="2442715"/>
                  <a:pt x="5550146" y="2442715"/>
                  <a:pt x="5547797" y="2440367"/>
                </a:cubicBezTo>
                <a:cubicBezTo>
                  <a:pt x="5550146" y="2416881"/>
                  <a:pt x="5583029" y="2391043"/>
                  <a:pt x="5594773" y="2376948"/>
                </a:cubicBezTo>
                <a:cubicBezTo>
                  <a:pt x="5601819" y="2367559"/>
                  <a:pt x="5606517" y="2353460"/>
                  <a:pt x="5611214" y="2341718"/>
                </a:cubicBezTo>
                <a:cubicBezTo>
                  <a:pt x="5620609" y="2311192"/>
                  <a:pt x="5606517" y="2325277"/>
                  <a:pt x="5592424" y="2325277"/>
                </a:cubicBezTo>
                <a:cubicBezTo>
                  <a:pt x="5590075" y="2325277"/>
                  <a:pt x="5590075" y="2325277"/>
                  <a:pt x="5587727" y="2327617"/>
                </a:cubicBezTo>
                <a:cubicBezTo>
                  <a:pt x="5583029" y="2325277"/>
                  <a:pt x="5587727" y="2325277"/>
                  <a:pt x="5583029" y="2325277"/>
                </a:cubicBezTo>
                <a:cubicBezTo>
                  <a:pt x="5580680" y="2325277"/>
                  <a:pt x="5578331" y="2327617"/>
                  <a:pt x="5575983" y="2327617"/>
                </a:cubicBezTo>
                <a:cubicBezTo>
                  <a:pt x="5575983" y="2327617"/>
                  <a:pt x="5571285" y="2322938"/>
                  <a:pt x="5568936" y="2320594"/>
                </a:cubicBezTo>
                <a:cubicBezTo>
                  <a:pt x="5571285" y="2318240"/>
                  <a:pt x="5571285" y="2318240"/>
                  <a:pt x="5571285" y="2313539"/>
                </a:cubicBezTo>
                <a:cubicBezTo>
                  <a:pt x="5578331" y="2315889"/>
                  <a:pt x="5583029" y="2315889"/>
                  <a:pt x="5585378" y="2308840"/>
                </a:cubicBezTo>
                <a:cubicBezTo>
                  <a:pt x="5585378" y="2311192"/>
                  <a:pt x="5585378" y="2311192"/>
                  <a:pt x="5585378" y="2311192"/>
                </a:cubicBezTo>
                <a:cubicBezTo>
                  <a:pt x="5601819" y="2306488"/>
                  <a:pt x="5601819" y="2306488"/>
                  <a:pt x="5618261" y="2299444"/>
                </a:cubicBezTo>
                <a:cubicBezTo>
                  <a:pt x="5618261" y="2285352"/>
                  <a:pt x="5632353" y="2297102"/>
                  <a:pt x="5632353" y="2285352"/>
                </a:cubicBezTo>
                <a:cubicBezTo>
                  <a:pt x="5637051" y="2282998"/>
                  <a:pt x="5637051" y="2282998"/>
                  <a:pt x="5641749" y="2280654"/>
                </a:cubicBezTo>
                <a:cubicBezTo>
                  <a:pt x="5641749" y="2278306"/>
                  <a:pt x="5641749" y="2278306"/>
                  <a:pt x="5641749" y="2273606"/>
                </a:cubicBezTo>
                <a:cubicBezTo>
                  <a:pt x="5644097" y="2273606"/>
                  <a:pt x="5648795" y="2266559"/>
                  <a:pt x="5648795" y="2261861"/>
                </a:cubicBezTo>
                <a:cubicBezTo>
                  <a:pt x="5646446" y="2252465"/>
                  <a:pt x="5632353" y="2257163"/>
                  <a:pt x="5630005" y="2233674"/>
                </a:cubicBezTo>
                <a:cubicBezTo>
                  <a:pt x="5625307" y="2240724"/>
                  <a:pt x="5625307" y="2240724"/>
                  <a:pt x="5620609" y="2245423"/>
                </a:cubicBezTo>
                <a:cubicBezTo>
                  <a:pt x="5601819" y="2243076"/>
                  <a:pt x="5613563" y="2247765"/>
                  <a:pt x="5606517" y="2231320"/>
                </a:cubicBezTo>
                <a:cubicBezTo>
                  <a:pt x="5604168" y="2231320"/>
                  <a:pt x="5604168" y="2231320"/>
                  <a:pt x="5601819" y="2233674"/>
                </a:cubicBezTo>
                <a:cubicBezTo>
                  <a:pt x="5601819" y="2228978"/>
                  <a:pt x="5601819" y="2228978"/>
                  <a:pt x="5599470" y="2224282"/>
                </a:cubicBezTo>
                <a:cubicBezTo>
                  <a:pt x="5592424" y="2214885"/>
                  <a:pt x="5592424" y="2214885"/>
                  <a:pt x="5585378" y="2205490"/>
                </a:cubicBezTo>
                <a:cubicBezTo>
                  <a:pt x="5587727" y="2205490"/>
                  <a:pt x="5587727" y="2205490"/>
                  <a:pt x="5587727" y="2205490"/>
                </a:cubicBezTo>
                <a:cubicBezTo>
                  <a:pt x="5592424" y="2207839"/>
                  <a:pt x="5592424" y="2207839"/>
                  <a:pt x="5597122" y="2207839"/>
                </a:cubicBezTo>
                <a:cubicBezTo>
                  <a:pt x="5601819" y="2221931"/>
                  <a:pt x="5613563" y="2226630"/>
                  <a:pt x="5622958" y="2233674"/>
                </a:cubicBezTo>
                <a:cubicBezTo>
                  <a:pt x="5625307" y="2231320"/>
                  <a:pt x="5625307" y="2231320"/>
                  <a:pt x="5630005" y="2231320"/>
                </a:cubicBezTo>
                <a:cubicBezTo>
                  <a:pt x="5630005" y="2231320"/>
                  <a:pt x="5637051" y="2243076"/>
                  <a:pt x="5637051" y="2243076"/>
                </a:cubicBezTo>
                <a:cubicBezTo>
                  <a:pt x="5646446" y="2243076"/>
                  <a:pt x="5655841" y="2247765"/>
                  <a:pt x="5660538" y="2247765"/>
                </a:cubicBezTo>
                <a:cubicBezTo>
                  <a:pt x="5667585" y="2247765"/>
                  <a:pt x="5667585" y="2247765"/>
                  <a:pt x="5672282" y="2247765"/>
                </a:cubicBezTo>
                <a:cubicBezTo>
                  <a:pt x="5676980" y="2254816"/>
                  <a:pt x="5679329" y="2264209"/>
                  <a:pt x="5691073" y="2264209"/>
                </a:cubicBezTo>
                <a:cubicBezTo>
                  <a:pt x="5691073" y="2264209"/>
                  <a:pt x="5691073" y="2264209"/>
                  <a:pt x="5688724" y="2264209"/>
                </a:cubicBezTo>
                <a:cubicBezTo>
                  <a:pt x="5691073" y="2266559"/>
                  <a:pt x="5695770" y="2275956"/>
                  <a:pt x="5698119" y="2275956"/>
                </a:cubicBezTo>
                <a:cubicBezTo>
                  <a:pt x="5698119" y="2275956"/>
                  <a:pt x="5702817" y="2273606"/>
                  <a:pt x="5702817" y="2273606"/>
                </a:cubicBezTo>
                <a:cubicBezTo>
                  <a:pt x="5705166" y="2275956"/>
                  <a:pt x="5705166" y="2275956"/>
                  <a:pt x="5705166" y="2280654"/>
                </a:cubicBezTo>
                <a:cubicBezTo>
                  <a:pt x="5705166" y="2292397"/>
                  <a:pt x="5721607" y="2348763"/>
                  <a:pt x="5723956" y="2348763"/>
                </a:cubicBezTo>
                <a:cubicBezTo>
                  <a:pt x="5726304" y="2348763"/>
                  <a:pt x="5726304" y="2339369"/>
                  <a:pt x="5728653" y="2337017"/>
                </a:cubicBezTo>
                <a:cubicBezTo>
                  <a:pt x="5728653" y="2332323"/>
                  <a:pt x="5728653" y="2332323"/>
                  <a:pt x="5728653" y="2329971"/>
                </a:cubicBezTo>
                <a:cubicBezTo>
                  <a:pt x="5728653" y="2320594"/>
                  <a:pt x="5728653" y="2320594"/>
                  <a:pt x="5728653" y="2311192"/>
                </a:cubicBezTo>
                <a:cubicBezTo>
                  <a:pt x="5728653" y="2306488"/>
                  <a:pt x="5731002" y="2304141"/>
                  <a:pt x="5733351" y="2304141"/>
                </a:cubicBezTo>
                <a:cubicBezTo>
                  <a:pt x="5733351" y="2297102"/>
                  <a:pt x="5738048" y="2290048"/>
                  <a:pt x="5738048" y="2285352"/>
                </a:cubicBezTo>
                <a:cubicBezTo>
                  <a:pt x="5738048" y="2282998"/>
                  <a:pt x="5738048" y="2282998"/>
                  <a:pt x="5738048" y="2280654"/>
                </a:cubicBezTo>
                <a:cubicBezTo>
                  <a:pt x="5740397" y="2280654"/>
                  <a:pt x="5740397" y="2280654"/>
                  <a:pt x="5740397" y="2280654"/>
                </a:cubicBezTo>
                <a:cubicBezTo>
                  <a:pt x="5742746" y="2282998"/>
                  <a:pt x="5740397" y="2280654"/>
                  <a:pt x="5742746" y="2280654"/>
                </a:cubicBezTo>
                <a:lnTo>
                  <a:pt x="5742746" y="2276873"/>
                </a:lnTo>
                <a:lnTo>
                  <a:pt x="5749792" y="2304369"/>
                </a:lnTo>
                <a:lnTo>
                  <a:pt x="5749792" y="2311192"/>
                </a:lnTo>
                <a:cubicBezTo>
                  <a:pt x="5752141" y="2313539"/>
                  <a:pt x="5752141" y="2313539"/>
                  <a:pt x="5752141" y="2315889"/>
                </a:cubicBezTo>
                <a:cubicBezTo>
                  <a:pt x="5752141" y="2322938"/>
                  <a:pt x="5754490" y="2327617"/>
                  <a:pt x="5754490" y="2334671"/>
                </a:cubicBezTo>
                <a:lnTo>
                  <a:pt x="5754490" y="2332323"/>
                </a:lnTo>
                <a:lnTo>
                  <a:pt x="5754490" y="2329971"/>
                </a:lnTo>
                <a:cubicBezTo>
                  <a:pt x="5754490" y="2327617"/>
                  <a:pt x="5752141" y="2320594"/>
                  <a:pt x="5752141" y="2313539"/>
                </a:cubicBezTo>
                <a:lnTo>
                  <a:pt x="5749792" y="2304369"/>
                </a:lnTo>
                <a:lnTo>
                  <a:pt x="5749792" y="2301787"/>
                </a:lnTo>
                <a:cubicBezTo>
                  <a:pt x="5749792" y="2297102"/>
                  <a:pt x="5749792" y="2299444"/>
                  <a:pt x="5747444" y="2292397"/>
                </a:cubicBezTo>
                <a:cubicBezTo>
                  <a:pt x="5745095" y="2290048"/>
                  <a:pt x="5745095" y="2282998"/>
                  <a:pt x="5742746" y="2275956"/>
                </a:cubicBezTo>
                <a:lnTo>
                  <a:pt x="5742746" y="2276873"/>
                </a:lnTo>
                <a:lnTo>
                  <a:pt x="5729534" y="2225310"/>
                </a:lnTo>
                <a:cubicBezTo>
                  <a:pt x="5698706" y="2140772"/>
                  <a:pt x="5644097" y="2068099"/>
                  <a:pt x="5573634" y="2015249"/>
                </a:cubicBezTo>
                <a:cubicBezTo>
                  <a:pt x="5571285" y="2012900"/>
                  <a:pt x="5573634" y="2015249"/>
                  <a:pt x="5571285" y="2012900"/>
                </a:cubicBezTo>
                <a:cubicBezTo>
                  <a:pt x="5568936" y="2012900"/>
                  <a:pt x="5568936" y="2012900"/>
                  <a:pt x="5566587" y="2010553"/>
                </a:cubicBezTo>
                <a:cubicBezTo>
                  <a:pt x="5564239" y="2008212"/>
                  <a:pt x="5564239" y="2008212"/>
                  <a:pt x="5561890" y="2008212"/>
                </a:cubicBezTo>
                <a:cubicBezTo>
                  <a:pt x="5559541" y="2008212"/>
                  <a:pt x="5559541" y="2008212"/>
                  <a:pt x="5557192" y="2005860"/>
                </a:cubicBezTo>
                <a:cubicBezTo>
                  <a:pt x="5554843" y="2003509"/>
                  <a:pt x="5554843" y="2003509"/>
                  <a:pt x="5554843" y="2003509"/>
                </a:cubicBezTo>
                <a:cubicBezTo>
                  <a:pt x="5550146" y="2001159"/>
                  <a:pt x="5554843" y="2003509"/>
                  <a:pt x="5550146" y="2001159"/>
                </a:cubicBezTo>
                <a:cubicBezTo>
                  <a:pt x="5540751" y="1996460"/>
                  <a:pt x="5540751" y="1996460"/>
                  <a:pt x="5529007" y="1991764"/>
                </a:cubicBezTo>
                <a:cubicBezTo>
                  <a:pt x="5531356" y="1991764"/>
                  <a:pt x="5531356" y="1991764"/>
                  <a:pt x="5531356" y="1994112"/>
                </a:cubicBezTo>
                <a:cubicBezTo>
                  <a:pt x="5529007" y="1991764"/>
                  <a:pt x="5529007" y="1991764"/>
                  <a:pt x="5526658" y="1991764"/>
                </a:cubicBezTo>
                <a:cubicBezTo>
                  <a:pt x="5524310" y="1989415"/>
                  <a:pt x="5521961" y="1989415"/>
                  <a:pt x="5519612" y="1987067"/>
                </a:cubicBezTo>
                <a:cubicBezTo>
                  <a:pt x="5521961" y="1989415"/>
                  <a:pt x="5521961" y="1989415"/>
                  <a:pt x="5524310" y="1989415"/>
                </a:cubicBezTo>
                <a:cubicBezTo>
                  <a:pt x="5521961" y="1987067"/>
                  <a:pt x="5521961" y="1987067"/>
                  <a:pt x="5517263" y="1984719"/>
                </a:cubicBezTo>
                <a:cubicBezTo>
                  <a:pt x="5510217" y="1982369"/>
                  <a:pt x="5510217" y="1982369"/>
                  <a:pt x="5505519" y="1980020"/>
                </a:cubicBezTo>
                <a:cubicBezTo>
                  <a:pt x="5510217" y="1982369"/>
                  <a:pt x="5510217" y="1982369"/>
                  <a:pt x="5512566" y="1984719"/>
                </a:cubicBezTo>
                <a:cubicBezTo>
                  <a:pt x="5517263" y="1994112"/>
                  <a:pt x="5521961" y="1991764"/>
                  <a:pt x="5507868" y="1987067"/>
                </a:cubicBezTo>
                <a:cubicBezTo>
                  <a:pt x="5507868" y="1989415"/>
                  <a:pt x="5498473" y="1987067"/>
                  <a:pt x="5500822" y="1989415"/>
                </a:cubicBezTo>
                <a:cubicBezTo>
                  <a:pt x="5500822" y="1989415"/>
                  <a:pt x="5500822" y="1989415"/>
                  <a:pt x="5503170" y="1991764"/>
                </a:cubicBezTo>
                <a:cubicBezTo>
                  <a:pt x="5493775" y="1987067"/>
                  <a:pt x="5493775" y="1987067"/>
                  <a:pt x="5484380" y="1984719"/>
                </a:cubicBezTo>
                <a:cubicBezTo>
                  <a:pt x="5489078" y="1987067"/>
                  <a:pt x="5489078" y="1987067"/>
                  <a:pt x="5493775" y="1989415"/>
                </a:cubicBezTo>
                <a:cubicBezTo>
                  <a:pt x="5493775" y="1991764"/>
                  <a:pt x="5493775" y="1991764"/>
                  <a:pt x="5493775" y="1991764"/>
                </a:cubicBezTo>
                <a:cubicBezTo>
                  <a:pt x="5486729" y="1989415"/>
                  <a:pt x="5486729" y="1989415"/>
                  <a:pt x="5479683" y="1987067"/>
                </a:cubicBezTo>
                <a:cubicBezTo>
                  <a:pt x="5477334" y="1984719"/>
                  <a:pt x="5477334" y="1984719"/>
                  <a:pt x="5474985" y="1982369"/>
                </a:cubicBezTo>
                <a:cubicBezTo>
                  <a:pt x="5474985" y="1980020"/>
                  <a:pt x="5474985" y="1980020"/>
                  <a:pt x="5474985" y="1980020"/>
                </a:cubicBezTo>
                <a:cubicBezTo>
                  <a:pt x="5470288" y="1977673"/>
                  <a:pt x="5470288" y="1977673"/>
                  <a:pt x="5465590" y="1975323"/>
                </a:cubicBezTo>
                <a:cubicBezTo>
                  <a:pt x="5472636" y="1977673"/>
                  <a:pt x="5484380" y="1982369"/>
                  <a:pt x="5491427" y="1984719"/>
                </a:cubicBezTo>
                <a:cubicBezTo>
                  <a:pt x="5496124" y="1987067"/>
                  <a:pt x="5500822" y="1984719"/>
                  <a:pt x="5500822" y="1984719"/>
                </a:cubicBezTo>
                <a:cubicBezTo>
                  <a:pt x="5493775" y="1977673"/>
                  <a:pt x="5489078" y="1975323"/>
                  <a:pt x="5477334" y="1970625"/>
                </a:cubicBezTo>
                <a:cubicBezTo>
                  <a:pt x="5465590" y="1963579"/>
                  <a:pt x="5465590" y="1965927"/>
                  <a:pt x="5451497" y="1958882"/>
                </a:cubicBezTo>
                <a:cubicBezTo>
                  <a:pt x="5449148" y="1958882"/>
                  <a:pt x="5449148" y="1958882"/>
                  <a:pt x="5449148" y="1958882"/>
                </a:cubicBezTo>
                <a:cubicBezTo>
                  <a:pt x="5444451" y="1956533"/>
                  <a:pt x="5444451" y="1956533"/>
                  <a:pt x="5439753" y="1956533"/>
                </a:cubicBezTo>
                <a:cubicBezTo>
                  <a:pt x="5442102" y="1958882"/>
                  <a:pt x="5442102" y="1958882"/>
                  <a:pt x="5446800" y="1958882"/>
                </a:cubicBezTo>
                <a:cubicBezTo>
                  <a:pt x="5437405" y="1956533"/>
                  <a:pt x="5437405" y="1956533"/>
                  <a:pt x="5425661" y="1951836"/>
                </a:cubicBezTo>
                <a:cubicBezTo>
                  <a:pt x="5425661" y="1954185"/>
                  <a:pt x="5425661" y="1954185"/>
                  <a:pt x="5425661" y="1954185"/>
                </a:cubicBezTo>
                <a:cubicBezTo>
                  <a:pt x="5418615" y="1951836"/>
                  <a:pt x="5418615" y="1951836"/>
                  <a:pt x="5411568" y="1949487"/>
                </a:cubicBezTo>
                <a:cubicBezTo>
                  <a:pt x="5411568" y="1951836"/>
                  <a:pt x="5411568" y="1951836"/>
                  <a:pt x="5409219" y="1951836"/>
                </a:cubicBezTo>
                <a:cubicBezTo>
                  <a:pt x="5404522" y="1949487"/>
                  <a:pt x="5406871" y="1949487"/>
                  <a:pt x="5402173" y="1949487"/>
                </a:cubicBezTo>
                <a:cubicBezTo>
                  <a:pt x="5399824" y="1949487"/>
                  <a:pt x="5399824" y="1949487"/>
                  <a:pt x="5397475" y="1949487"/>
                </a:cubicBezTo>
                <a:close/>
                <a:moveTo>
                  <a:pt x="4984086" y="1944452"/>
                </a:moveTo>
                <a:lnTo>
                  <a:pt x="4985558" y="1945083"/>
                </a:lnTo>
                <a:lnTo>
                  <a:pt x="4985589" y="1944989"/>
                </a:lnTo>
                <a:close/>
                <a:moveTo>
                  <a:pt x="1520023" y="1943885"/>
                </a:moveTo>
                <a:cubicBezTo>
                  <a:pt x="1524209" y="1943958"/>
                  <a:pt x="1529642" y="1944253"/>
                  <a:pt x="1536103" y="1944839"/>
                </a:cubicBezTo>
                <a:lnTo>
                  <a:pt x="1522011" y="1947187"/>
                </a:lnTo>
                <a:cubicBezTo>
                  <a:pt x="1506157" y="1945425"/>
                  <a:pt x="1507477" y="1943666"/>
                  <a:pt x="1520023" y="1943885"/>
                </a:cubicBezTo>
                <a:close/>
                <a:moveTo>
                  <a:pt x="5517263" y="1942441"/>
                </a:moveTo>
                <a:lnTo>
                  <a:pt x="5514914" y="1944789"/>
                </a:lnTo>
                <a:lnTo>
                  <a:pt x="5521961" y="1954185"/>
                </a:lnTo>
                <a:cubicBezTo>
                  <a:pt x="5514914" y="1961230"/>
                  <a:pt x="5519612" y="1956533"/>
                  <a:pt x="5512566" y="1963579"/>
                </a:cubicBezTo>
                <a:cubicBezTo>
                  <a:pt x="5526658" y="1961230"/>
                  <a:pt x="5526658" y="1958882"/>
                  <a:pt x="5526658" y="1944789"/>
                </a:cubicBezTo>
                <a:close/>
                <a:moveTo>
                  <a:pt x="1211967" y="1940123"/>
                </a:moveTo>
                <a:lnTo>
                  <a:pt x="1219016" y="1944821"/>
                </a:lnTo>
                <a:lnTo>
                  <a:pt x="1211967" y="1951864"/>
                </a:lnTo>
                <a:lnTo>
                  <a:pt x="1204923" y="1944821"/>
                </a:lnTo>
                <a:close/>
                <a:moveTo>
                  <a:pt x="5078040" y="1940091"/>
                </a:moveTo>
                <a:lnTo>
                  <a:pt x="5080390" y="1941119"/>
                </a:lnTo>
                <a:lnTo>
                  <a:pt x="5080390" y="1940091"/>
                </a:lnTo>
                <a:lnTo>
                  <a:pt x="5080389" y="1940091"/>
                </a:lnTo>
                <a:cubicBezTo>
                  <a:pt x="5078040" y="1940091"/>
                  <a:pt x="5078040" y="1940091"/>
                  <a:pt x="5078040" y="1940091"/>
                </a:cubicBezTo>
                <a:close/>
                <a:moveTo>
                  <a:pt x="5185597" y="1938231"/>
                </a:moveTo>
                <a:lnTo>
                  <a:pt x="5168615" y="1941156"/>
                </a:lnTo>
                <a:lnTo>
                  <a:pt x="5162513" y="1940410"/>
                </a:lnTo>
                <a:lnTo>
                  <a:pt x="5111737" y="1954834"/>
                </a:lnTo>
                <a:lnTo>
                  <a:pt x="5115620" y="1956533"/>
                </a:lnTo>
                <a:lnTo>
                  <a:pt x="5109660" y="1955682"/>
                </a:lnTo>
                <a:lnTo>
                  <a:pt x="5040460" y="1989415"/>
                </a:lnTo>
                <a:cubicBezTo>
                  <a:pt x="5038111" y="1989415"/>
                  <a:pt x="5038111" y="1989415"/>
                  <a:pt x="5038111" y="1989415"/>
                </a:cubicBezTo>
                <a:cubicBezTo>
                  <a:pt x="5035763" y="1989415"/>
                  <a:pt x="5035763" y="1989415"/>
                  <a:pt x="5033414" y="1991764"/>
                </a:cubicBezTo>
                <a:cubicBezTo>
                  <a:pt x="5033414" y="1994112"/>
                  <a:pt x="5031065" y="1994112"/>
                  <a:pt x="5031065" y="1994112"/>
                </a:cubicBezTo>
                <a:cubicBezTo>
                  <a:pt x="5033414" y="1994112"/>
                  <a:pt x="5033414" y="1994112"/>
                  <a:pt x="5033414" y="1994112"/>
                </a:cubicBezTo>
                <a:lnTo>
                  <a:pt x="5038111" y="1991764"/>
                </a:lnTo>
                <a:lnTo>
                  <a:pt x="5035763" y="1994112"/>
                </a:lnTo>
                <a:cubicBezTo>
                  <a:pt x="5033414" y="1996460"/>
                  <a:pt x="5033414" y="1994112"/>
                  <a:pt x="5031065" y="1996460"/>
                </a:cubicBezTo>
                <a:cubicBezTo>
                  <a:pt x="5028716" y="1998810"/>
                  <a:pt x="5028716" y="1998810"/>
                  <a:pt x="5028716" y="1998810"/>
                </a:cubicBezTo>
                <a:cubicBezTo>
                  <a:pt x="5031065" y="1998810"/>
                  <a:pt x="5031065" y="1998810"/>
                  <a:pt x="5031065" y="1998810"/>
                </a:cubicBezTo>
                <a:cubicBezTo>
                  <a:pt x="5031065" y="1996460"/>
                  <a:pt x="5031065" y="1996460"/>
                  <a:pt x="5033414" y="1996460"/>
                </a:cubicBezTo>
                <a:cubicBezTo>
                  <a:pt x="5038111" y="1994112"/>
                  <a:pt x="5042809" y="1991764"/>
                  <a:pt x="5042809" y="1991764"/>
                </a:cubicBezTo>
                <a:cubicBezTo>
                  <a:pt x="5045158" y="1989415"/>
                  <a:pt x="5045158" y="1989415"/>
                  <a:pt x="5047507" y="1989415"/>
                </a:cubicBezTo>
                <a:cubicBezTo>
                  <a:pt x="5045158" y="1991764"/>
                  <a:pt x="5045158" y="1991764"/>
                  <a:pt x="5042809" y="1994112"/>
                </a:cubicBezTo>
                <a:cubicBezTo>
                  <a:pt x="5038111" y="1996460"/>
                  <a:pt x="5038111" y="1996460"/>
                  <a:pt x="5033414" y="1998810"/>
                </a:cubicBezTo>
                <a:cubicBezTo>
                  <a:pt x="5028716" y="2003509"/>
                  <a:pt x="5028716" y="2003509"/>
                  <a:pt x="5026367" y="2005860"/>
                </a:cubicBezTo>
                <a:cubicBezTo>
                  <a:pt x="5026367" y="2008212"/>
                  <a:pt x="5026367" y="2008212"/>
                  <a:pt x="5024019" y="2010553"/>
                </a:cubicBezTo>
                <a:cubicBezTo>
                  <a:pt x="5026367" y="2008212"/>
                  <a:pt x="5026367" y="2008212"/>
                  <a:pt x="5026367" y="2010553"/>
                </a:cubicBezTo>
                <a:cubicBezTo>
                  <a:pt x="5024019" y="2010553"/>
                  <a:pt x="5024019" y="2010553"/>
                  <a:pt x="5024019" y="2012900"/>
                </a:cubicBezTo>
                <a:cubicBezTo>
                  <a:pt x="5024019" y="2012900"/>
                  <a:pt x="5024019" y="2012900"/>
                  <a:pt x="5026367" y="2012900"/>
                </a:cubicBezTo>
                <a:cubicBezTo>
                  <a:pt x="5021670" y="2017598"/>
                  <a:pt x="5031065" y="2019944"/>
                  <a:pt x="5031065" y="2022296"/>
                </a:cubicBezTo>
                <a:cubicBezTo>
                  <a:pt x="5033414" y="2022296"/>
                  <a:pt x="5033414" y="2022296"/>
                  <a:pt x="5038111" y="2019944"/>
                </a:cubicBezTo>
                <a:cubicBezTo>
                  <a:pt x="5040460" y="2019944"/>
                  <a:pt x="5040460" y="2019944"/>
                  <a:pt x="5042809" y="2019944"/>
                </a:cubicBezTo>
                <a:cubicBezTo>
                  <a:pt x="5042809" y="2022296"/>
                  <a:pt x="5042809" y="2022296"/>
                  <a:pt x="5042809" y="2022296"/>
                </a:cubicBezTo>
                <a:cubicBezTo>
                  <a:pt x="5047507" y="2019944"/>
                  <a:pt x="5047507" y="2019944"/>
                  <a:pt x="5052204" y="2017598"/>
                </a:cubicBezTo>
                <a:cubicBezTo>
                  <a:pt x="5054553" y="2015249"/>
                  <a:pt x="5059250" y="2010553"/>
                  <a:pt x="5061599" y="2008212"/>
                </a:cubicBezTo>
                <a:cubicBezTo>
                  <a:pt x="5061599" y="2008212"/>
                  <a:pt x="5061599" y="2008212"/>
                  <a:pt x="5061599" y="2005860"/>
                </a:cubicBezTo>
                <a:cubicBezTo>
                  <a:pt x="5070994" y="2003509"/>
                  <a:pt x="5070994" y="1998810"/>
                  <a:pt x="5075693" y="1996460"/>
                </a:cubicBezTo>
                <a:cubicBezTo>
                  <a:pt x="5075693" y="1996460"/>
                  <a:pt x="5075693" y="1996460"/>
                  <a:pt x="5073343" y="1996460"/>
                </a:cubicBezTo>
                <a:cubicBezTo>
                  <a:pt x="5073343" y="1994112"/>
                  <a:pt x="5073343" y="1994112"/>
                  <a:pt x="5073343" y="1994112"/>
                </a:cubicBezTo>
                <a:cubicBezTo>
                  <a:pt x="5078042" y="1991764"/>
                  <a:pt x="5078042" y="1991764"/>
                  <a:pt x="5085088" y="1989415"/>
                </a:cubicBezTo>
                <a:cubicBezTo>
                  <a:pt x="5085088" y="1989415"/>
                  <a:pt x="5085088" y="1989415"/>
                  <a:pt x="5087437" y="1987067"/>
                </a:cubicBezTo>
                <a:cubicBezTo>
                  <a:pt x="5092134" y="1987067"/>
                  <a:pt x="5092134" y="1987067"/>
                  <a:pt x="5096832" y="1984719"/>
                </a:cubicBezTo>
                <a:cubicBezTo>
                  <a:pt x="5101530" y="1982369"/>
                  <a:pt x="5117971" y="1972974"/>
                  <a:pt x="5120319" y="1970625"/>
                </a:cubicBezTo>
                <a:cubicBezTo>
                  <a:pt x="5122668" y="1970625"/>
                  <a:pt x="5122668" y="1970625"/>
                  <a:pt x="5125017" y="1970625"/>
                </a:cubicBezTo>
                <a:cubicBezTo>
                  <a:pt x="5146156" y="1965927"/>
                  <a:pt x="5167295" y="1956533"/>
                  <a:pt x="5171993" y="1951836"/>
                </a:cubicBezTo>
                <a:cubicBezTo>
                  <a:pt x="5169644" y="1951836"/>
                  <a:pt x="5169644" y="1951836"/>
                  <a:pt x="5167295" y="1951836"/>
                </a:cubicBezTo>
                <a:cubicBezTo>
                  <a:pt x="5157900" y="1951836"/>
                  <a:pt x="5157900" y="1951836"/>
                  <a:pt x="5150854" y="1954185"/>
                </a:cubicBezTo>
                <a:cubicBezTo>
                  <a:pt x="5150854" y="1954185"/>
                  <a:pt x="5150854" y="1954185"/>
                  <a:pt x="5148505" y="1954185"/>
                </a:cubicBezTo>
                <a:cubicBezTo>
                  <a:pt x="5143807" y="1956533"/>
                  <a:pt x="5143807" y="1956533"/>
                  <a:pt x="5141459" y="1956533"/>
                </a:cubicBezTo>
                <a:cubicBezTo>
                  <a:pt x="5141459" y="1954185"/>
                  <a:pt x="5153203" y="1949487"/>
                  <a:pt x="5157900" y="1949487"/>
                </a:cubicBezTo>
                <a:cubicBezTo>
                  <a:pt x="5162598" y="1949487"/>
                  <a:pt x="5157900" y="1951836"/>
                  <a:pt x="5162598" y="1951836"/>
                </a:cubicBezTo>
                <a:cubicBezTo>
                  <a:pt x="5167295" y="1951836"/>
                  <a:pt x="5167295" y="1949487"/>
                  <a:pt x="5171993" y="1949487"/>
                </a:cubicBezTo>
                <a:cubicBezTo>
                  <a:pt x="5171993" y="1947138"/>
                  <a:pt x="5171993" y="1947138"/>
                  <a:pt x="5171993" y="1947138"/>
                </a:cubicBezTo>
                <a:cubicBezTo>
                  <a:pt x="5174341" y="1944789"/>
                  <a:pt x="5169644" y="1944789"/>
                  <a:pt x="5164946" y="1944789"/>
                </a:cubicBezTo>
                <a:cubicBezTo>
                  <a:pt x="5157900" y="1947138"/>
                  <a:pt x="5162598" y="1944789"/>
                  <a:pt x="5157900" y="1944789"/>
                </a:cubicBezTo>
                <a:cubicBezTo>
                  <a:pt x="5162598" y="1942441"/>
                  <a:pt x="5162598" y="1942441"/>
                  <a:pt x="5164946" y="1942441"/>
                </a:cubicBezTo>
                <a:cubicBezTo>
                  <a:pt x="5169644" y="1942441"/>
                  <a:pt x="5169644" y="1942441"/>
                  <a:pt x="5174341" y="1942441"/>
                </a:cubicBezTo>
                <a:cubicBezTo>
                  <a:pt x="5179039" y="1940092"/>
                  <a:pt x="5179039" y="1940092"/>
                  <a:pt x="5183737" y="1940092"/>
                </a:cubicBezTo>
                <a:close/>
                <a:moveTo>
                  <a:pt x="4965299" y="1937743"/>
                </a:moveTo>
                <a:cubicBezTo>
                  <a:pt x="4960601" y="1940091"/>
                  <a:pt x="4953555" y="1942441"/>
                  <a:pt x="4948857" y="1942441"/>
                </a:cubicBezTo>
                <a:cubicBezTo>
                  <a:pt x="4951206" y="1944789"/>
                  <a:pt x="4953555" y="1947138"/>
                  <a:pt x="4955903" y="1949486"/>
                </a:cubicBezTo>
                <a:cubicBezTo>
                  <a:pt x="4951206" y="1949486"/>
                  <a:pt x="4948857" y="1947138"/>
                  <a:pt x="4944160" y="1947138"/>
                </a:cubicBezTo>
                <a:cubicBezTo>
                  <a:pt x="4941811" y="1951835"/>
                  <a:pt x="4941811" y="1954184"/>
                  <a:pt x="4939462" y="1958881"/>
                </a:cubicBezTo>
                <a:cubicBezTo>
                  <a:pt x="4941811" y="1958881"/>
                  <a:pt x="4941811" y="1958881"/>
                  <a:pt x="4941811" y="1958881"/>
                </a:cubicBezTo>
                <a:cubicBezTo>
                  <a:pt x="4941811" y="1961230"/>
                  <a:pt x="4939462" y="1961230"/>
                  <a:pt x="4939462" y="1961230"/>
                </a:cubicBezTo>
                <a:cubicBezTo>
                  <a:pt x="4937114" y="1963579"/>
                  <a:pt x="4937114" y="1963579"/>
                  <a:pt x="4937114" y="1965928"/>
                </a:cubicBezTo>
                <a:lnTo>
                  <a:pt x="4947004" y="1971579"/>
                </a:lnTo>
                <a:lnTo>
                  <a:pt x="4946509" y="1970625"/>
                </a:lnTo>
                <a:lnTo>
                  <a:pt x="4953555" y="1963579"/>
                </a:lnTo>
                <a:lnTo>
                  <a:pt x="4953555" y="1975323"/>
                </a:lnTo>
                <a:cubicBezTo>
                  <a:pt x="4955903" y="1975323"/>
                  <a:pt x="4955903" y="1975323"/>
                  <a:pt x="4955903" y="1975323"/>
                </a:cubicBezTo>
                <a:lnTo>
                  <a:pt x="4960600" y="1977673"/>
                </a:lnTo>
                <a:lnTo>
                  <a:pt x="4960602" y="1977673"/>
                </a:lnTo>
                <a:lnTo>
                  <a:pt x="4962950" y="1975323"/>
                </a:lnTo>
                <a:lnTo>
                  <a:pt x="4960602" y="1963579"/>
                </a:lnTo>
                <a:lnTo>
                  <a:pt x="4953555" y="1956533"/>
                </a:lnTo>
                <a:lnTo>
                  <a:pt x="4969997" y="1956533"/>
                </a:lnTo>
                <a:lnTo>
                  <a:pt x="4965299" y="1949487"/>
                </a:lnTo>
                <a:cubicBezTo>
                  <a:pt x="4973520" y="1948312"/>
                  <a:pt x="4975282" y="1948899"/>
                  <a:pt x="4975869" y="1948606"/>
                </a:cubicBezTo>
                <a:lnTo>
                  <a:pt x="4979233" y="1942719"/>
                </a:lnTo>
                <a:close/>
                <a:moveTo>
                  <a:pt x="5363636" y="1933324"/>
                </a:moveTo>
                <a:lnTo>
                  <a:pt x="5363796" y="1934021"/>
                </a:lnTo>
                <a:lnTo>
                  <a:pt x="5369290" y="1935394"/>
                </a:lnTo>
                <a:lnTo>
                  <a:pt x="5373988" y="1935394"/>
                </a:lnTo>
                <a:close/>
                <a:moveTo>
                  <a:pt x="5430359" y="1933046"/>
                </a:moveTo>
                <a:lnTo>
                  <a:pt x="5437405" y="1940092"/>
                </a:lnTo>
                <a:lnTo>
                  <a:pt x="5437405" y="1933046"/>
                </a:lnTo>
                <a:close/>
                <a:moveTo>
                  <a:pt x="5381034" y="1933046"/>
                </a:moveTo>
                <a:cubicBezTo>
                  <a:pt x="5385731" y="1937743"/>
                  <a:pt x="5385731" y="1937743"/>
                  <a:pt x="5385731" y="1937743"/>
                </a:cubicBezTo>
                <a:lnTo>
                  <a:pt x="5390429" y="1937743"/>
                </a:lnTo>
                <a:lnTo>
                  <a:pt x="5392778" y="1937743"/>
                </a:lnTo>
                <a:cubicBezTo>
                  <a:pt x="5392778" y="1937743"/>
                  <a:pt x="5392778" y="1937743"/>
                  <a:pt x="5395127" y="1937743"/>
                </a:cubicBezTo>
                <a:cubicBezTo>
                  <a:pt x="5392778" y="1937743"/>
                  <a:pt x="5392778" y="1937743"/>
                  <a:pt x="5388080" y="1935394"/>
                </a:cubicBezTo>
                <a:cubicBezTo>
                  <a:pt x="5385731" y="1935394"/>
                  <a:pt x="5385731" y="1935394"/>
                  <a:pt x="5381034" y="1933046"/>
                </a:cubicBezTo>
                <a:close/>
                <a:moveTo>
                  <a:pt x="5195481" y="1930697"/>
                </a:moveTo>
                <a:cubicBezTo>
                  <a:pt x="5190783" y="1933046"/>
                  <a:pt x="5190783" y="1933046"/>
                  <a:pt x="5186085" y="1933046"/>
                </a:cubicBezTo>
                <a:cubicBezTo>
                  <a:pt x="5188434" y="1933046"/>
                  <a:pt x="5188434" y="1933046"/>
                  <a:pt x="5188434" y="1933046"/>
                </a:cubicBezTo>
                <a:lnTo>
                  <a:pt x="5182188" y="1934821"/>
                </a:lnTo>
                <a:lnTo>
                  <a:pt x="5183413" y="1935394"/>
                </a:lnTo>
                <a:lnTo>
                  <a:pt x="5183737" y="1935394"/>
                </a:lnTo>
                <a:cubicBezTo>
                  <a:pt x="5186085" y="1933046"/>
                  <a:pt x="5186085" y="1933046"/>
                  <a:pt x="5190783" y="1933046"/>
                </a:cubicBezTo>
                <a:cubicBezTo>
                  <a:pt x="5193132" y="1933046"/>
                  <a:pt x="5200178" y="1930697"/>
                  <a:pt x="5200178" y="1930697"/>
                </a:cubicBezTo>
                <a:cubicBezTo>
                  <a:pt x="5200178" y="1930697"/>
                  <a:pt x="5197829" y="1930697"/>
                  <a:pt x="5197829" y="1930697"/>
                </a:cubicBezTo>
                <a:close/>
                <a:moveTo>
                  <a:pt x="5167295" y="1925999"/>
                </a:moveTo>
                <a:lnTo>
                  <a:pt x="5170777" y="1929482"/>
                </a:lnTo>
                <a:lnTo>
                  <a:pt x="5174341" y="1931149"/>
                </a:lnTo>
                <a:lnTo>
                  <a:pt x="5174341" y="1925999"/>
                </a:lnTo>
                <a:close/>
                <a:moveTo>
                  <a:pt x="4944160" y="1918953"/>
                </a:moveTo>
                <a:cubicBezTo>
                  <a:pt x="4944160" y="1921302"/>
                  <a:pt x="4941811" y="1921302"/>
                  <a:pt x="4941811" y="1923651"/>
                </a:cubicBezTo>
                <a:cubicBezTo>
                  <a:pt x="4944160" y="1923651"/>
                  <a:pt x="4944160" y="1923651"/>
                  <a:pt x="4944160" y="1923651"/>
                </a:cubicBezTo>
                <a:cubicBezTo>
                  <a:pt x="4944160" y="1923651"/>
                  <a:pt x="4946509" y="1923651"/>
                  <a:pt x="4948857" y="1923651"/>
                </a:cubicBezTo>
                <a:cubicBezTo>
                  <a:pt x="4948857" y="1921302"/>
                  <a:pt x="4946509" y="1921302"/>
                  <a:pt x="4944160" y="1918953"/>
                </a:cubicBezTo>
                <a:close/>
                <a:moveTo>
                  <a:pt x="5507868" y="1911907"/>
                </a:moveTo>
                <a:lnTo>
                  <a:pt x="5517263" y="1911907"/>
                </a:lnTo>
                <a:lnTo>
                  <a:pt x="5512566" y="1918954"/>
                </a:lnTo>
                <a:close/>
                <a:moveTo>
                  <a:pt x="5176690" y="1911907"/>
                </a:moveTo>
                <a:lnTo>
                  <a:pt x="5169644" y="1918954"/>
                </a:lnTo>
                <a:lnTo>
                  <a:pt x="5176690" y="1921303"/>
                </a:lnTo>
                <a:lnTo>
                  <a:pt x="5181388" y="1918954"/>
                </a:lnTo>
                <a:close/>
                <a:moveTo>
                  <a:pt x="4991135" y="1909558"/>
                </a:moveTo>
                <a:cubicBezTo>
                  <a:pt x="4991135" y="1909558"/>
                  <a:pt x="4988787" y="1911907"/>
                  <a:pt x="4988787" y="1911907"/>
                </a:cubicBezTo>
                <a:cubicBezTo>
                  <a:pt x="4988787" y="1911907"/>
                  <a:pt x="4986438" y="1911907"/>
                  <a:pt x="4986438" y="1911907"/>
                </a:cubicBezTo>
                <a:cubicBezTo>
                  <a:pt x="4986438" y="1911907"/>
                  <a:pt x="4986438" y="1914256"/>
                  <a:pt x="4986438" y="1914256"/>
                </a:cubicBezTo>
                <a:cubicBezTo>
                  <a:pt x="4984089" y="1916605"/>
                  <a:pt x="4984089" y="1916605"/>
                  <a:pt x="4981740" y="1916605"/>
                </a:cubicBezTo>
                <a:cubicBezTo>
                  <a:pt x="4979391" y="1918953"/>
                  <a:pt x="4977043" y="1923651"/>
                  <a:pt x="4974694" y="1926000"/>
                </a:cubicBezTo>
                <a:cubicBezTo>
                  <a:pt x="4974694" y="1928348"/>
                  <a:pt x="4972345" y="1928348"/>
                  <a:pt x="4972345" y="1928348"/>
                </a:cubicBezTo>
                <a:cubicBezTo>
                  <a:pt x="4972345" y="1928348"/>
                  <a:pt x="4972345" y="1930697"/>
                  <a:pt x="4972345" y="1930697"/>
                </a:cubicBezTo>
                <a:cubicBezTo>
                  <a:pt x="4969996" y="1930697"/>
                  <a:pt x="4969996" y="1933046"/>
                  <a:pt x="4969996" y="1933046"/>
                </a:cubicBezTo>
                <a:lnTo>
                  <a:pt x="4986384" y="1942604"/>
                </a:lnTo>
                <a:lnTo>
                  <a:pt x="4986438" y="1942441"/>
                </a:lnTo>
                <a:cubicBezTo>
                  <a:pt x="4986438" y="1940092"/>
                  <a:pt x="4988787" y="1940092"/>
                  <a:pt x="4988787" y="1940092"/>
                </a:cubicBezTo>
                <a:cubicBezTo>
                  <a:pt x="4988787" y="1937743"/>
                  <a:pt x="4986438" y="1937743"/>
                  <a:pt x="4986438" y="1935394"/>
                </a:cubicBezTo>
                <a:lnTo>
                  <a:pt x="4993485" y="1935394"/>
                </a:lnTo>
                <a:lnTo>
                  <a:pt x="4993485" y="1928349"/>
                </a:lnTo>
                <a:cubicBezTo>
                  <a:pt x="5002880" y="1935394"/>
                  <a:pt x="5000531" y="1928349"/>
                  <a:pt x="4998182" y="1937743"/>
                </a:cubicBezTo>
                <a:lnTo>
                  <a:pt x="5007577" y="1949487"/>
                </a:lnTo>
                <a:cubicBezTo>
                  <a:pt x="5014623" y="1944789"/>
                  <a:pt x="5007577" y="1947138"/>
                  <a:pt x="5016972" y="1949487"/>
                </a:cubicBezTo>
                <a:cubicBezTo>
                  <a:pt x="5026367" y="1937743"/>
                  <a:pt x="5014623" y="1944789"/>
                  <a:pt x="5031065" y="1942441"/>
                </a:cubicBezTo>
                <a:lnTo>
                  <a:pt x="5031065" y="1949486"/>
                </a:lnTo>
                <a:lnTo>
                  <a:pt x="5036113" y="1946121"/>
                </a:lnTo>
                <a:lnTo>
                  <a:pt x="5033414" y="1942441"/>
                </a:lnTo>
                <a:lnTo>
                  <a:pt x="5042809" y="1937743"/>
                </a:lnTo>
                <a:lnTo>
                  <a:pt x="5049855" y="1937743"/>
                </a:lnTo>
                <a:lnTo>
                  <a:pt x="5051582" y="1937455"/>
                </a:lnTo>
                <a:close/>
                <a:moveTo>
                  <a:pt x="5399486" y="1905069"/>
                </a:moveTo>
                <a:lnTo>
                  <a:pt x="5400134" y="1905100"/>
                </a:lnTo>
                <a:lnTo>
                  <a:pt x="5399824" y="1905449"/>
                </a:lnTo>
                <a:close/>
                <a:moveTo>
                  <a:pt x="5387073" y="1902512"/>
                </a:moveTo>
                <a:lnTo>
                  <a:pt x="5391604" y="1902512"/>
                </a:lnTo>
                <a:lnTo>
                  <a:pt x="5388080" y="1904861"/>
                </a:lnTo>
                <a:close/>
                <a:moveTo>
                  <a:pt x="5395127" y="1900164"/>
                </a:moveTo>
                <a:lnTo>
                  <a:pt x="5399486" y="1905069"/>
                </a:lnTo>
                <a:lnTo>
                  <a:pt x="5395127" y="1904861"/>
                </a:lnTo>
                <a:lnTo>
                  <a:pt x="5395127" y="1902512"/>
                </a:lnTo>
                <a:lnTo>
                  <a:pt x="5391604" y="1902512"/>
                </a:lnTo>
                <a:close/>
                <a:moveTo>
                  <a:pt x="5140620" y="1898233"/>
                </a:moveTo>
                <a:lnTo>
                  <a:pt x="5127364" y="1904862"/>
                </a:lnTo>
                <a:cubicBezTo>
                  <a:pt x="5127364" y="1904862"/>
                  <a:pt x="5127364" y="1904862"/>
                  <a:pt x="5127364" y="1907210"/>
                </a:cubicBezTo>
                <a:cubicBezTo>
                  <a:pt x="5125016" y="1909558"/>
                  <a:pt x="5122667" y="1909558"/>
                  <a:pt x="5122667" y="1909558"/>
                </a:cubicBezTo>
                <a:lnTo>
                  <a:pt x="5135723" y="1914667"/>
                </a:lnTo>
                <a:lnTo>
                  <a:pt x="5142046" y="1911320"/>
                </a:lnTo>
                <a:cubicBezTo>
                  <a:pt x="5144394" y="1908384"/>
                  <a:pt x="5146156" y="1904861"/>
                  <a:pt x="5148505" y="1902512"/>
                </a:cubicBezTo>
                <a:lnTo>
                  <a:pt x="5139110" y="1902512"/>
                </a:lnTo>
                <a:close/>
                <a:moveTo>
                  <a:pt x="4901882" y="1897815"/>
                </a:moveTo>
                <a:cubicBezTo>
                  <a:pt x="4904230" y="1911907"/>
                  <a:pt x="4911277" y="1916605"/>
                  <a:pt x="4920672" y="1921302"/>
                </a:cubicBezTo>
                <a:cubicBezTo>
                  <a:pt x="4923021" y="1916605"/>
                  <a:pt x="4923021" y="1914256"/>
                  <a:pt x="4925370" y="1911907"/>
                </a:cubicBezTo>
                <a:cubicBezTo>
                  <a:pt x="4918323" y="1904862"/>
                  <a:pt x="4908928" y="1902513"/>
                  <a:pt x="4901882" y="1897815"/>
                </a:cubicBezTo>
                <a:close/>
                <a:moveTo>
                  <a:pt x="4972345" y="1895467"/>
                </a:moveTo>
                <a:cubicBezTo>
                  <a:pt x="4969996" y="1897815"/>
                  <a:pt x="4969996" y="1897815"/>
                  <a:pt x="4969996" y="1897815"/>
                </a:cubicBezTo>
                <a:cubicBezTo>
                  <a:pt x="4967647" y="1897815"/>
                  <a:pt x="4965299" y="1897815"/>
                  <a:pt x="4962950" y="1897815"/>
                </a:cubicBezTo>
                <a:cubicBezTo>
                  <a:pt x="4958252" y="1900164"/>
                  <a:pt x="4953555" y="1907210"/>
                  <a:pt x="4948857" y="1914256"/>
                </a:cubicBezTo>
                <a:cubicBezTo>
                  <a:pt x="4951206" y="1916605"/>
                  <a:pt x="4953555" y="1916605"/>
                  <a:pt x="4955903" y="1918953"/>
                </a:cubicBezTo>
                <a:cubicBezTo>
                  <a:pt x="4958252" y="1918953"/>
                  <a:pt x="4958252" y="1918953"/>
                  <a:pt x="4958252" y="1918953"/>
                </a:cubicBezTo>
                <a:cubicBezTo>
                  <a:pt x="4958252" y="1916605"/>
                  <a:pt x="4958252" y="1916605"/>
                  <a:pt x="4958252" y="1914256"/>
                </a:cubicBezTo>
                <a:cubicBezTo>
                  <a:pt x="4958252" y="1911907"/>
                  <a:pt x="4962950" y="1909558"/>
                  <a:pt x="4965299" y="1907210"/>
                </a:cubicBezTo>
                <a:cubicBezTo>
                  <a:pt x="4967647" y="1904862"/>
                  <a:pt x="4967647" y="1904862"/>
                  <a:pt x="4967647" y="1902513"/>
                </a:cubicBezTo>
                <a:cubicBezTo>
                  <a:pt x="4969996" y="1900164"/>
                  <a:pt x="4972345" y="1897815"/>
                  <a:pt x="4977043" y="1897815"/>
                </a:cubicBezTo>
                <a:cubicBezTo>
                  <a:pt x="4974694" y="1897815"/>
                  <a:pt x="4974694" y="1895467"/>
                  <a:pt x="4972345" y="1895467"/>
                </a:cubicBezTo>
                <a:close/>
                <a:moveTo>
                  <a:pt x="5093014" y="1891650"/>
                </a:moveTo>
                <a:lnTo>
                  <a:pt x="5106226" y="1893118"/>
                </a:lnTo>
                <a:cubicBezTo>
                  <a:pt x="5110923" y="1897815"/>
                  <a:pt x="5101528" y="1895467"/>
                  <a:pt x="5094482" y="1893118"/>
                </a:cubicBezTo>
                <a:close/>
                <a:moveTo>
                  <a:pt x="5092133" y="1890769"/>
                </a:moveTo>
                <a:lnTo>
                  <a:pt x="5093014" y="1891650"/>
                </a:lnTo>
                <a:lnTo>
                  <a:pt x="5092133" y="1891552"/>
                </a:lnTo>
                <a:close/>
                <a:moveTo>
                  <a:pt x="5327012" y="1888420"/>
                </a:moveTo>
                <a:lnTo>
                  <a:pt x="5327012" y="1888421"/>
                </a:lnTo>
                <a:lnTo>
                  <a:pt x="5329359" y="1888421"/>
                </a:lnTo>
                <a:lnTo>
                  <a:pt x="5329359" y="1888420"/>
                </a:lnTo>
                <a:close/>
                <a:moveTo>
                  <a:pt x="5021669" y="1888420"/>
                </a:moveTo>
                <a:cubicBezTo>
                  <a:pt x="5035762" y="1895467"/>
                  <a:pt x="5049855" y="1902513"/>
                  <a:pt x="5066296" y="1909558"/>
                </a:cubicBezTo>
                <a:lnTo>
                  <a:pt x="5070781" y="1906569"/>
                </a:lnTo>
                <a:lnTo>
                  <a:pt x="5068832" y="1900723"/>
                </a:lnTo>
                <a:close/>
                <a:moveTo>
                  <a:pt x="4995833" y="1888420"/>
                </a:moveTo>
                <a:cubicBezTo>
                  <a:pt x="4993484" y="1888420"/>
                  <a:pt x="4993484" y="1890769"/>
                  <a:pt x="4993484" y="1890769"/>
                </a:cubicBezTo>
                <a:cubicBezTo>
                  <a:pt x="5012274" y="1900164"/>
                  <a:pt x="5033413" y="1909558"/>
                  <a:pt x="5052204" y="1918953"/>
                </a:cubicBezTo>
                <a:cubicBezTo>
                  <a:pt x="5054552" y="1916605"/>
                  <a:pt x="5056901" y="1916605"/>
                  <a:pt x="5059250" y="1916605"/>
                </a:cubicBezTo>
                <a:cubicBezTo>
                  <a:pt x="5059250" y="1916605"/>
                  <a:pt x="5061599" y="1914256"/>
                  <a:pt x="5061599" y="1914256"/>
                </a:cubicBezTo>
                <a:cubicBezTo>
                  <a:pt x="5040460" y="1907210"/>
                  <a:pt x="5019321" y="1895467"/>
                  <a:pt x="4995833" y="1888420"/>
                </a:cubicBezTo>
                <a:close/>
                <a:moveTo>
                  <a:pt x="3321155" y="1883723"/>
                </a:moveTo>
                <a:cubicBezTo>
                  <a:pt x="3260085" y="1942441"/>
                  <a:pt x="3257737" y="2062226"/>
                  <a:pt x="3199017" y="2118599"/>
                </a:cubicBezTo>
                <a:cubicBezTo>
                  <a:pt x="3208412" y="2132696"/>
                  <a:pt x="3217807" y="2123298"/>
                  <a:pt x="3231901" y="2139749"/>
                </a:cubicBezTo>
                <a:cubicBezTo>
                  <a:pt x="3269481" y="2085713"/>
                  <a:pt x="3243644" y="2001159"/>
                  <a:pt x="3311758" y="1975323"/>
                </a:cubicBezTo>
                <a:cubicBezTo>
                  <a:pt x="3314107" y="1940091"/>
                  <a:pt x="3351688" y="1914256"/>
                  <a:pt x="3321155" y="1883723"/>
                </a:cubicBezTo>
                <a:close/>
                <a:moveTo>
                  <a:pt x="5270398" y="1883075"/>
                </a:moveTo>
                <a:lnTo>
                  <a:pt x="5268293" y="1897815"/>
                </a:lnTo>
                <a:lnTo>
                  <a:pt x="5265944" y="1907210"/>
                </a:lnTo>
                <a:cubicBezTo>
                  <a:pt x="5275339" y="1900164"/>
                  <a:pt x="5268293" y="1900164"/>
                  <a:pt x="5282385" y="1900164"/>
                </a:cubicBezTo>
                <a:lnTo>
                  <a:pt x="5282385" y="1893118"/>
                </a:lnTo>
                <a:lnTo>
                  <a:pt x="5282384" y="1893118"/>
                </a:lnTo>
                <a:cubicBezTo>
                  <a:pt x="5282384" y="1890769"/>
                  <a:pt x="5282384" y="1890769"/>
                  <a:pt x="5282384" y="1890769"/>
                </a:cubicBezTo>
                <a:cubicBezTo>
                  <a:pt x="5282384" y="1888420"/>
                  <a:pt x="5280035" y="1888420"/>
                  <a:pt x="5277686" y="1888420"/>
                </a:cubicBezTo>
                <a:cubicBezTo>
                  <a:pt x="5275338" y="1886071"/>
                  <a:pt x="5275338" y="1883723"/>
                  <a:pt x="5272989" y="1883723"/>
                </a:cubicBezTo>
                <a:close/>
                <a:moveTo>
                  <a:pt x="4262537" y="1881264"/>
                </a:moveTo>
                <a:cubicBezTo>
                  <a:pt x="4262867" y="1880053"/>
                  <a:pt x="4243049" y="1909559"/>
                  <a:pt x="4253619" y="1895467"/>
                </a:cubicBezTo>
                <a:cubicBezTo>
                  <a:pt x="4260078" y="1885485"/>
                  <a:pt x="4262427" y="1881668"/>
                  <a:pt x="4262537" y="1881264"/>
                </a:cubicBezTo>
                <a:close/>
                <a:moveTo>
                  <a:pt x="5237758" y="1874328"/>
                </a:moveTo>
                <a:lnTo>
                  <a:pt x="5230712" y="1881374"/>
                </a:lnTo>
                <a:lnTo>
                  <a:pt x="5242456" y="1881374"/>
                </a:lnTo>
                <a:close/>
                <a:moveTo>
                  <a:pt x="4892487" y="1871980"/>
                </a:moveTo>
                <a:cubicBezTo>
                  <a:pt x="4892487" y="1871980"/>
                  <a:pt x="4892487" y="1874329"/>
                  <a:pt x="4892487" y="1874329"/>
                </a:cubicBezTo>
                <a:cubicBezTo>
                  <a:pt x="4901882" y="1883723"/>
                  <a:pt x="4913626" y="1890769"/>
                  <a:pt x="4923021" y="1897815"/>
                </a:cubicBezTo>
                <a:cubicBezTo>
                  <a:pt x="4927718" y="1895467"/>
                  <a:pt x="4932416" y="1895467"/>
                  <a:pt x="4937114" y="1895467"/>
                </a:cubicBezTo>
                <a:cubicBezTo>
                  <a:pt x="4937114" y="1895467"/>
                  <a:pt x="4939462" y="1893118"/>
                  <a:pt x="4939462" y="1893118"/>
                </a:cubicBezTo>
                <a:cubicBezTo>
                  <a:pt x="4939462" y="1890769"/>
                  <a:pt x="4941811" y="1890769"/>
                  <a:pt x="4941811" y="1890769"/>
                </a:cubicBezTo>
                <a:cubicBezTo>
                  <a:pt x="4941811" y="1888420"/>
                  <a:pt x="4944160" y="1888420"/>
                  <a:pt x="4944160" y="1886071"/>
                </a:cubicBezTo>
                <a:cubicBezTo>
                  <a:pt x="4946509" y="1886071"/>
                  <a:pt x="4946509" y="1886071"/>
                  <a:pt x="4946509" y="1886071"/>
                </a:cubicBezTo>
                <a:cubicBezTo>
                  <a:pt x="4937114" y="1883723"/>
                  <a:pt x="4925370" y="1881374"/>
                  <a:pt x="4915974" y="1881374"/>
                </a:cubicBezTo>
                <a:cubicBezTo>
                  <a:pt x="4913626" y="1879026"/>
                  <a:pt x="4908928" y="1879026"/>
                  <a:pt x="4906579" y="1876676"/>
                </a:cubicBezTo>
                <a:cubicBezTo>
                  <a:pt x="4901882" y="1874329"/>
                  <a:pt x="4897184" y="1871980"/>
                  <a:pt x="4892487" y="1871980"/>
                </a:cubicBezTo>
                <a:close/>
                <a:moveTo>
                  <a:pt x="5251557" y="1869631"/>
                </a:moveTo>
                <a:lnTo>
                  <a:pt x="5258595" y="1873961"/>
                </a:lnTo>
                <a:lnTo>
                  <a:pt x="5258309" y="1871392"/>
                </a:lnTo>
                <a:cubicBezTo>
                  <a:pt x="5258309" y="1870218"/>
                  <a:pt x="5257722" y="1869631"/>
                  <a:pt x="5254199" y="1869631"/>
                </a:cubicBezTo>
                <a:close/>
                <a:moveTo>
                  <a:pt x="4131482" y="1869631"/>
                </a:moveTo>
                <a:cubicBezTo>
                  <a:pt x="4140877" y="1881374"/>
                  <a:pt x="4154970" y="1902513"/>
                  <a:pt x="4131482" y="1902513"/>
                </a:cubicBezTo>
                <a:cubicBezTo>
                  <a:pt x="4138529" y="1914256"/>
                  <a:pt x="4143226" y="1926000"/>
                  <a:pt x="4150273" y="1937743"/>
                </a:cubicBezTo>
                <a:cubicBezTo>
                  <a:pt x="4138529" y="1951835"/>
                  <a:pt x="4112693" y="1933046"/>
                  <a:pt x="4119738" y="1965928"/>
                </a:cubicBezTo>
                <a:cubicBezTo>
                  <a:pt x="4100948" y="1963579"/>
                  <a:pt x="4098599" y="1963579"/>
                  <a:pt x="4084507" y="1951835"/>
                </a:cubicBezTo>
                <a:cubicBezTo>
                  <a:pt x="4070414" y="1968277"/>
                  <a:pt x="4103297" y="1968277"/>
                  <a:pt x="4089204" y="1987067"/>
                </a:cubicBezTo>
                <a:cubicBezTo>
                  <a:pt x="4075111" y="1980021"/>
                  <a:pt x="4075111" y="1968277"/>
                  <a:pt x="4063368" y="1982369"/>
                </a:cubicBezTo>
                <a:cubicBezTo>
                  <a:pt x="4068066" y="1987067"/>
                  <a:pt x="4072763" y="1994112"/>
                  <a:pt x="4075111" y="2001159"/>
                </a:cubicBezTo>
                <a:cubicBezTo>
                  <a:pt x="4063368" y="2010553"/>
                  <a:pt x="4039880" y="1996461"/>
                  <a:pt x="4030485" y="2010553"/>
                </a:cubicBezTo>
                <a:cubicBezTo>
                  <a:pt x="4032834" y="2017598"/>
                  <a:pt x="4049275" y="2019944"/>
                  <a:pt x="4039880" y="2034040"/>
                </a:cubicBezTo>
                <a:cubicBezTo>
                  <a:pt x="4028136" y="2031688"/>
                  <a:pt x="4018741" y="2029341"/>
                  <a:pt x="4011695" y="2036390"/>
                </a:cubicBezTo>
                <a:cubicBezTo>
                  <a:pt x="4011695" y="2045787"/>
                  <a:pt x="4032834" y="2045787"/>
                  <a:pt x="4030485" y="2057527"/>
                </a:cubicBezTo>
                <a:cubicBezTo>
                  <a:pt x="4028136" y="2085713"/>
                  <a:pt x="4002300" y="2057527"/>
                  <a:pt x="3992904" y="2069276"/>
                </a:cubicBezTo>
                <a:cubicBezTo>
                  <a:pt x="3990556" y="2081017"/>
                  <a:pt x="4018741" y="2081017"/>
                  <a:pt x="4016392" y="2092760"/>
                </a:cubicBezTo>
                <a:cubicBezTo>
                  <a:pt x="4004648" y="2109202"/>
                  <a:pt x="4018741" y="2113904"/>
                  <a:pt x="4016392" y="2125650"/>
                </a:cubicBezTo>
                <a:cubicBezTo>
                  <a:pt x="3995253" y="2111552"/>
                  <a:pt x="3960021" y="2127997"/>
                  <a:pt x="3981160" y="2144444"/>
                </a:cubicBezTo>
                <a:cubicBezTo>
                  <a:pt x="3985858" y="2139749"/>
                  <a:pt x="3992904" y="2135051"/>
                  <a:pt x="3999951" y="2132696"/>
                </a:cubicBezTo>
                <a:cubicBezTo>
                  <a:pt x="4009347" y="2156193"/>
                  <a:pt x="4028136" y="2191392"/>
                  <a:pt x="4014043" y="2212534"/>
                </a:cubicBezTo>
                <a:cubicBezTo>
                  <a:pt x="4035183" y="2226630"/>
                  <a:pt x="4025787" y="2254816"/>
                  <a:pt x="4053974" y="2250114"/>
                </a:cubicBezTo>
                <a:cubicBezTo>
                  <a:pt x="4051624" y="2264209"/>
                  <a:pt x="4058670" y="2273606"/>
                  <a:pt x="4061019" y="2287702"/>
                </a:cubicBezTo>
                <a:cubicBezTo>
                  <a:pt x="4065716" y="2280654"/>
                  <a:pt x="4075111" y="2285352"/>
                  <a:pt x="4082158" y="2282998"/>
                </a:cubicBezTo>
                <a:cubicBezTo>
                  <a:pt x="4070414" y="2311189"/>
                  <a:pt x="4100948" y="2292396"/>
                  <a:pt x="4070414" y="2311189"/>
                </a:cubicBezTo>
                <a:cubicBezTo>
                  <a:pt x="4084507" y="2320594"/>
                  <a:pt x="4126785" y="2351110"/>
                  <a:pt x="4107995" y="2320594"/>
                </a:cubicBezTo>
                <a:cubicBezTo>
                  <a:pt x="4154970" y="2332320"/>
                  <a:pt x="4126785" y="2367555"/>
                  <a:pt x="4107995" y="2402786"/>
                </a:cubicBezTo>
                <a:cubicBezTo>
                  <a:pt x="4145575" y="2419225"/>
                  <a:pt x="4124437" y="2346420"/>
                  <a:pt x="4154970" y="2339369"/>
                </a:cubicBezTo>
                <a:cubicBezTo>
                  <a:pt x="4171412" y="2353458"/>
                  <a:pt x="4190202" y="2344071"/>
                  <a:pt x="4208992" y="2341718"/>
                </a:cubicBezTo>
                <a:cubicBezTo>
                  <a:pt x="4223085" y="2381650"/>
                  <a:pt x="4300594" y="2355809"/>
                  <a:pt x="4309989" y="2327617"/>
                </a:cubicBezTo>
                <a:cubicBezTo>
                  <a:pt x="4309989" y="2329971"/>
                  <a:pt x="4302943" y="2332320"/>
                  <a:pt x="4305292" y="2325277"/>
                </a:cubicBezTo>
                <a:cubicBezTo>
                  <a:pt x="4309989" y="2315886"/>
                  <a:pt x="4321733" y="2315886"/>
                  <a:pt x="4333477" y="2322938"/>
                </a:cubicBezTo>
                <a:cubicBezTo>
                  <a:pt x="4333477" y="2355809"/>
                  <a:pt x="4356965" y="2376947"/>
                  <a:pt x="4368709" y="2405140"/>
                </a:cubicBezTo>
                <a:cubicBezTo>
                  <a:pt x="4378104" y="2381650"/>
                  <a:pt x="4345221" y="2374600"/>
                  <a:pt x="4349919" y="2351110"/>
                </a:cubicBezTo>
                <a:cubicBezTo>
                  <a:pt x="4364011" y="2353458"/>
                  <a:pt x="4366360" y="2381650"/>
                  <a:pt x="4375755" y="2369902"/>
                </a:cubicBezTo>
                <a:cubicBezTo>
                  <a:pt x="4361663" y="2358160"/>
                  <a:pt x="4366360" y="2325277"/>
                  <a:pt x="4342872" y="2334671"/>
                </a:cubicBezTo>
                <a:cubicBezTo>
                  <a:pt x="4356965" y="2327617"/>
                  <a:pt x="4345221" y="2327617"/>
                  <a:pt x="4352267" y="2311189"/>
                </a:cubicBezTo>
                <a:cubicBezTo>
                  <a:pt x="4373407" y="2311189"/>
                  <a:pt x="4371058" y="2290047"/>
                  <a:pt x="4389848" y="2299442"/>
                </a:cubicBezTo>
                <a:cubicBezTo>
                  <a:pt x="4382802" y="2294748"/>
                  <a:pt x="4401592" y="2259511"/>
                  <a:pt x="4415684" y="2268908"/>
                </a:cubicBezTo>
                <a:cubicBezTo>
                  <a:pt x="4418033" y="2247765"/>
                  <a:pt x="4422731" y="2224282"/>
                  <a:pt x="4422731" y="2203143"/>
                </a:cubicBezTo>
                <a:cubicBezTo>
                  <a:pt x="4450916" y="2219581"/>
                  <a:pt x="4474404" y="2226630"/>
                  <a:pt x="4500241" y="2214885"/>
                </a:cubicBezTo>
                <a:cubicBezTo>
                  <a:pt x="4479102" y="2210186"/>
                  <a:pt x="4462660" y="2203143"/>
                  <a:pt x="4432126" y="2200795"/>
                </a:cubicBezTo>
                <a:cubicBezTo>
                  <a:pt x="4436824" y="2174939"/>
                  <a:pt x="4448567" y="2163216"/>
                  <a:pt x="4429777" y="2139749"/>
                </a:cubicBezTo>
                <a:cubicBezTo>
                  <a:pt x="4434475" y="2142092"/>
                  <a:pt x="4441521" y="2144444"/>
                  <a:pt x="4446219" y="2146800"/>
                </a:cubicBezTo>
                <a:cubicBezTo>
                  <a:pt x="4462660" y="2109202"/>
                  <a:pt x="4427428" y="2095111"/>
                  <a:pt x="4439172" y="2062226"/>
                </a:cubicBezTo>
                <a:cubicBezTo>
                  <a:pt x="4415684" y="2050485"/>
                  <a:pt x="4401592" y="2003507"/>
                  <a:pt x="4378104" y="1963579"/>
                </a:cubicBezTo>
                <a:cubicBezTo>
                  <a:pt x="4371058" y="1970625"/>
                  <a:pt x="4380453" y="1980021"/>
                  <a:pt x="4371058" y="1980021"/>
                </a:cubicBezTo>
                <a:cubicBezTo>
                  <a:pt x="4371058" y="1961230"/>
                  <a:pt x="4356965" y="1961230"/>
                  <a:pt x="4342872" y="1968277"/>
                </a:cubicBezTo>
                <a:cubicBezTo>
                  <a:pt x="4335826" y="1918953"/>
                  <a:pt x="4305292" y="1949486"/>
                  <a:pt x="4281804" y="1916605"/>
                </a:cubicBezTo>
                <a:cubicBezTo>
                  <a:pt x="4244224" y="1951835"/>
                  <a:pt x="4169063" y="1897815"/>
                  <a:pt x="4187853" y="1933046"/>
                </a:cubicBezTo>
                <a:cubicBezTo>
                  <a:pt x="4173760" y="1923651"/>
                  <a:pt x="4171412" y="1940091"/>
                  <a:pt x="4159668" y="1935395"/>
                </a:cubicBezTo>
                <a:cubicBezTo>
                  <a:pt x="4159668" y="1911907"/>
                  <a:pt x="4147924" y="1869631"/>
                  <a:pt x="4131482" y="1869631"/>
                </a:cubicBezTo>
                <a:close/>
                <a:moveTo>
                  <a:pt x="930123" y="1857936"/>
                </a:moveTo>
                <a:lnTo>
                  <a:pt x="1002929" y="1867330"/>
                </a:lnTo>
                <a:cubicBezTo>
                  <a:pt x="988836" y="1867330"/>
                  <a:pt x="965350" y="1864983"/>
                  <a:pt x="930123" y="1857936"/>
                </a:cubicBezTo>
                <a:close/>
                <a:moveTo>
                  <a:pt x="5186084" y="1850841"/>
                </a:moveTo>
                <a:cubicBezTo>
                  <a:pt x="5183735" y="1853189"/>
                  <a:pt x="5179037" y="1857887"/>
                  <a:pt x="5176689" y="1860236"/>
                </a:cubicBezTo>
                <a:cubicBezTo>
                  <a:pt x="5176689" y="1860236"/>
                  <a:pt x="5174340" y="1860236"/>
                  <a:pt x="5174340" y="1860236"/>
                </a:cubicBezTo>
                <a:cubicBezTo>
                  <a:pt x="5171991" y="1867282"/>
                  <a:pt x="5171991" y="1879026"/>
                  <a:pt x="5164945" y="1881374"/>
                </a:cubicBezTo>
                <a:cubicBezTo>
                  <a:pt x="5164945" y="1883723"/>
                  <a:pt x="5162596" y="1883723"/>
                  <a:pt x="5160248" y="1883723"/>
                </a:cubicBezTo>
                <a:cubicBezTo>
                  <a:pt x="5160248" y="1886071"/>
                  <a:pt x="5157899" y="1886071"/>
                  <a:pt x="5157899" y="1888420"/>
                </a:cubicBezTo>
                <a:cubicBezTo>
                  <a:pt x="5157899" y="1888420"/>
                  <a:pt x="5155550" y="1888420"/>
                  <a:pt x="5155550" y="1888420"/>
                </a:cubicBezTo>
                <a:lnTo>
                  <a:pt x="5155551" y="1888421"/>
                </a:lnTo>
                <a:cubicBezTo>
                  <a:pt x="5157900" y="1895466"/>
                  <a:pt x="5155551" y="1890769"/>
                  <a:pt x="5157900" y="1902512"/>
                </a:cubicBezTo>
                <a:lnTo>
                  <a:pt x="5150854" y="1902512"/>
                </a:lnTo>
                <a:lnTo>
                  <a:pt x="5150854" y="1911907"/>
                </a:lnTo>
                <a:lnTo>
                  <a:pt x="5160249" y="1904861"/>
                </a:lnTo>
                <a:lnTo>
                  <a:pt x="5160249" y="1914256"/>
                </a:lnTo>
                <a:lnTo>
                  <a:pt x="5150854" y="1914256"/>
                </a:lnTo>
                <a:lnTo>
                  <a:pt x="5150854" y="1920588"/>
                </a:lnTo>
                <a:lnTo>
                  <a:pt x="5153055" y="1921449"/>
                </a:lnTo>
                <a:lnTo>
                  <a:pt x="5157900" y="1916605"/>
                </a:lnTo>
                <a:lnTo>
                  <a:pt x="5164946" y="1918954"/>
                </a:lnTo>
                <a:lnTo>
                  <a:pt x="5169644" y="1909559"/>
                </a:lnTo>
                <a:lnTo>
                  <a:pt x="5164946" y="1900164"/>
                </a:lnTo>
                <a:lnTo>
                  <a:pt x="5179039" y="1904861"/>
                </a:lnTo>
                <a:lnTo>
                  <a:pt x="5174341" y="1895466"/>
                </a:lnTo>
                <a:lnTo>
                  <a:pt x="5186085" y="1886072"/>
                </a:lnTo>
                <a:cubicBezTo>
                  <a:pt x="5181388" y="1876677"/>
                  <a:pt x="5183737" y="1881374"/>
                  <a:pt x="5186085" y="1879026"/>
                </a:cubicBezTo>
                <a:cubicBezTo>
                  <a:pt x="5188434" y="1879026"/>
                  <a:pt x="5188434" y="1876677"/>
                  <a:pt x="5188434" y="1876677"/>
                </a:cubicBezTo>
                <a:cubicBezTo>
                  <a:pt x="5190783" y="1876677"/>
                  <a:pt x="5190783" y="1879026"/>
                  <a:pt x="5193132" y="1879026"/>
                </a:cubicBezTo>
                <a:lnTo>
                  <a:pt x="5193132" y="1869631"/>
                </a:lnTo>
                <a:lnTo>
                  <a:pt x="5202527" y="1876677"/>
                </a:lnTo>
                <a:lnTo>
                  <a:pt x="5207225" y="1869631"/>
                </a:lnTo>
                <a:lnTo>
                  <a:pt x="5211922" y="1871979"/>
                </a:lnTo>
                <a:lnTo>
                  <a:pt x="5218968" y="1867282"/>
                </a:lnTo>
                <a:lnTo>
                  <a:pt x="5228363" y="1876677"/>
                </a:lnTo>
                <a:lnTo>
                  <a:pt x="5240107" y="1862584"/>
                </a:lnTo>
                <a:lnTo>
                  <a:pt x="5246211" y="1866341"/>
                </a:lnTo>
                <a:lnTo>
                  <a:pt x="5242924" y="1863054"/>
                </a:lnTo>
                <a:lnTo>
                  <a:pt x="5240107" y="1862584"/>
                </a:lnTo>
                <a:lnTo>
                  <a:pt x="5235412" y="1855542"/>
                </a:lnTo>
                <a:lnTo>
                  <a:pt x="5235409" y="1855539"/>
                </a:lnTo>
                <a:lnTo>
                  <a:pt x="5228363" y="1860236"/>
                </a:lnTo>
                <a:cubicBezTo>
                  <a:pt x="5224840" y="1855538"/>
                  <a:pt x="5223078" y="1854364"/>
                  <a:pt x="5221904" y="1852896"/>
                </a:cubicBezTo>
                <a:lnTo>
                  <a:pt x="5221560" y="1851829"/>
                </a:lnTo>
                <a:lnTo>
                  <a:pt x="5216618" y="1850841"/>
                </a:lnTo>
                <a:cubicBezTo>
                  <a:pt x="5207223" y="1850841"/>
                  <a:pt x="5195479" y="1850841"/>
                  <a:pt x="5186084" y="1850841"/>
                </a:cubicBezTo>
                <a:close/>
                <a:moveTo>
                  <a:pt x="5277688" y="1848493"/>
                </a:moveTo>
                <a:lnTo>
                  <a:pt x="5268293" y="1860236"/>
                </a:lnTo>
                <a:lnTo>
                  <a:pt x="5261246" y="1855539"/>
                </a:lnTo>
                <a:cubicBezTo>
                  <a:pt x="5258898" y="1857888"/>
                  <a:pt x="5258898" y="1860236"/>
                  <a:pt x="5258898" y="1860236"/>
                </a:cubicBezTo>
                <a:lnTo>
                  <a:pt x="5258896" y="1860237"/>
                </a:lnTo>
                <a:lnTo>
                  <a:pt x="5258896" y="1862585"/>
                </a:lnTo>
                <a:cubicBezTo>
                  <a:pt x="5258896" y="1864933"/>
                  <a:pt x="5261245" y="1869631"/>
                  <a:pt x="5263594" y="1871980"/>
                </a:cubicBezTo>
                <a:cubicBezTo>
                  <a:pt x="5263594" y="1871980"/>
                  <a:pt x="5263594" y="1871980"/>
                  <a:pt x="5263594" y="1869631"/>
                </a:cubicBezTo>
                <a:cubicBezTo>
                  <a:pt x="5263594" y="1871980"/>
                  <a:pt x="5263594" y="1871980"/>
                  <a:pt x="5265943" y="1871980"/>
                </a:cubicBezTo>
                <a:cubicBezTo>
                  <a:pt x="5268291" y="1874329"/>
                  <a:pt x="5272989" y="1871980"/>
                  <a:pt x="5275338" y="1874329"/>
                </a:cubicBezTo>
                <a:cubicBezTo>
                  <a:pt x="5277686" y="1876676"/>
                  <a:pt x="5277686" y="1876676"/>
                  <a:pt x="5277686" y="1879026"/>
                </a:cubicBezTo>
                <a:cubicBezTo>
                  <a:pt x="5280035" y="1881374"/>
                  <a:pt x="5282384" y="1881374"/>
                  <a:pt x="5284732" y="1881374"/>
                </a:cubicBezTo>
                <a:lnTo>
                  <a:pt x="5286667" y="1885243"/>
                </a:lnTo>
                <a:lnTo>
                  <a:pt x="5290899" y="1883429"/>
                </a:lnTo>
                <a:cubicBezTo>
                  <a:pt x="5291193" y="1883723"/>
                  <a:pt x="5290606" y="1884897"/>
                  <a:pt x="5291780" y="1886072"/>
                </a:cubicBezTo>
                <a:lnTo>
                  <a:pt x="5294129" y="1888421"/>
                </a:lnTo>
                <a:lnTo>
                  <a:pt x="5296770" y="1890475"/>
                </a:lnTo>
                <a:lnTo>
                  <a:pt x="5299537" y="1890660"/>
                </a:lnTo>
                <a:lnTo>
                  <a:pt x="5296478" y="1886072"/>
                </a:lnTo>
                <a:lnTo>
                  <a:pt x="5305873" y="1886072"/>
                </a:lnTo>
                <a:cubicBezTo>
                  <a:pt x="5301176" y="1876677"/>
                  <a:pt x="5301176" y="1883723"/>
                  <a:pt x="5303524" y="1876677"/>
                </a:cubicBezTo>
                <a:lnTo>
                  <a:pt x="5301176" y="1869631"/>
                </a:lnTo>
                <a:lnTo>
                  <a:pt x="5291780" y="1871979"/>
                </a:lnTo>
                <a:lnTo>
                  <a:pt x="5282385" y="1869631"/>
                </a:lnTo>
                <a:lnTo>
                  <a:pt x="5277688" y="1860236"/>
                </a:lnTo>
                <a:cubicBezTo>
                  <a:pt x="5282385" y="1850841"/>
                  <a:pt x="5282385" y="1857888"/>
                  <a:pt x="5277688" y="1848493"/>
                </a:cubicBezTo>
                <a:close/>
                <a:moveTo>
                  <a:pt x="805634" y="1836793"/>
                </a:moveTo>
                <a:lnTo>
                  <a:pt x="862010" y="1860285"/>
                </a:lnTo>
                <a:lnTo>
                  <a:pt x="831469" y="1855586"/>
                </a:lnTo>
                <a:close/>
                <a:moveTo>
                  <a:pt x="5014623" y="1820308"/>
                </a:moveTo>
                <a:cubicBezTo>
                  <a:pt x="5007577" y="1825005"/>
                  <a:pt x="5005228" y="1820308"/>
                  <a:pt x="4998182" y="1825005"/>
                </a:cubicBezTo>
                <a:cubicBezTo>
                  <a:pt x="4998182" y="1827354"/>
                  <a:pt x="4988787" y="1834400"/>
                  <a:pt x="4988787" y="1836749"/>
                </a:cubicBezTo>
                <a:cubicBezTo>
                  <a:pt x="4986438" y="1839098"/>
                  <a:pt x="4986438" y="1843795"/>
                  <a:pt x="4986438" y="1848492"/>
                </a:cubicBezTo>
                <a:cubicBezTo>
                  <a:pt x="4991135" y="1850841"/>
                  <a:pt x="4998182" y="1853189"/>
                  <a:pt x="5002879" y="1855538"/>
                </a:cubicBezTo>
                <a:cubicBezTo>
                  <a:pt x="5002879" y="1855538"/>
                  <a:pt x="5002879" y="1855538"/>
                  <a:pt x="5002879" y="1853189"/>
                </a:cubicBezTo>
                <a:cubicBezTo>
                  <a:pt x="5002879" y="1850841"/>
                  <a:pt x="5005228" y="1848492"/>
                  <a:pt x="5007577" y="1846143"/>
                </a:cubicBezTo>
                <a:cubicBezTo>
                  <a:pt x="5012274" y="1839098"/>
                  <a:pt x="5016972" y="1829703"/>
                  <a:pt x="5019321" y="1820308"/>
                </a:cubicBezTo>
                <a:cubicBezTo>
                  <a:pt x="5016972" y="1820308"/>
                  <a:pt x="5016972" y="1820308"/>
                  <a:pt x="5014623" y="1820308"/>
                </a:cubicBezTo>
                <a:close/>
                <a:moveTo>
                  <a:pt x="5187688" y="1810340"/>
                </a:moveTo>
                <a:lnTo>
                  <a:pt x="5183735" y="1815611"/>
                </a:lnTo>
                <a:cubicBezTo>
                  <a:pt x="5183735" y="1817959"/>
                  <a:pt x="5183735" y="1817959"/>
                  <a:pt x="5183735" y="1820308"/>
                </a:cubicBezTo>
                <a:cubicBezTo>
                  <a:pt x="5181386" y="1822656"/>
                  <a:pt x="5179037" y="1825005"/>
                  <a:pt x="5179037" y="1827354"/>
                </a:cubicBezTo>
                <a:cubicBezTo>
                  <a:pt x="5179037" y="1827354"/>
                  <a:pt x="5179037" y="1829703"/>
                  <a:pt x="5179037" y="1832051"/>
                </a:cubicBezTo>
                <a:cubicBezTo>
                  <a:pt x="5179037" y="1834400"/>
                  <a:pt x="5174340" y="1836749"/>
                  <a:pt x="5174340" y="1841447"/>
                </a:cubicBezTo>
                <a:cubicBezTo>
                  <a:pt x="5176689" y="1841447"/>
                  <a:pt x="5181386" y="1841447"/>
                  <a:pt x="5183735" y="1841447"/>
                </a:cubicBezTo>
                <a:cubicBezTo>
                  <a:pt x="5183735" y="1841447"/>
                  <a:pt x="5183735" y="1839098"/>
                  <a:pt x="5186084" y="1839098"/>
                </a:cubicBezTo>
                <a:cubicBezTo>
                  <a:pt x="5186084" y="1839098"/>
                  <a:pt x="5190781" y="1841447"/>
                  <a:pt x="5193130" y="1839098"/>
                </a:cubicBezTo>
                <a:cubicBezTo>
                  <a:pt x="5194305" y="1839098"/>
                  <a:pt x="5197241" y="1836749"/>
                  <a:pt x="5200177" y="1834107"/>
                </a:cubicBezTo>
                <a:lnTo>
                  <a:pt x="5202527" y="1831855"/>
                </a:lnTo>
                <a:lnTo>
                  <a:pt x="5202527" y="1829702"/>
                </a:lnTo>
                <a:cubicBezTo>
                  <a:pt x="5200178" y="1832051"/>
                  <a:pt x="5195481" y="1836749"/>
                  <a:pt x="5193132" y="1836749"/>
                </a:cubicBezTo>
                <a:cubicBezTo>
                  <a:pt x="5183737" y="1836749"/>
                  <a:pt x="5186085" y="1834400"/>
                  <a:pt x="5183737" y="1827354"/>
                </a:cubicBezTo>
                <a:cubicBezTo>
                  <a:pt x="5197829" y="1822657"/>
                  <a:pt x="5186085" y="1822657"/>
                  <a:pt x="5202527" y="1820308"/>
                </a:cubicBezTo>
                <a:lnTo>
                  <a:pt x="5202527" y="1810913"/>
                </a:lnTo>
                <a:lnTo>
                  <a:pt x="5193132" y="1810913"/>
                </a:lnTo>
                <a:close/>
                <a:moveTo>
                  <a:pt x="4988787" y="1806216"/>
                </a:moveTo>
                <a:cubicBezTo>
                  <a:pt x="4962950" y="1808565"/>
                  <a:pt x="4934765" y="1808565"/>
                  <a:pt x="4913626" y="1815611"/>
                </a:cubicBezTo>
                <a:cubicBezTo>
                  <a:pt x="4918323" y="1825005"/>
                  <a:pt x="4946509" y="1815611"/>
                  <a:pt x="4955903" y="1822656"/>
                </a:cubicBezTo>
                <a:cubicBezTo>
                  <a:pt x="4946509" y="1827354"/>
                  <a:pt x="4925370" y="1822656"/>
                  <a:pt x="4908928" y="1825005"/>
                </a:cubicBezTo>
                <a:cubicBezTo>
                  <a:pt x="4920672" y="1839098"/>
                  <a:pt x="4941811" y="1832051"/>
                  <a:pt x="4960601" y="1839098"/>
                </a:cubicBezTo>
                <a:cubicBezTo>
                  <a:pt x="4965299" y="1839098"/>
                  <a:pt x="4967647" y="1841447"/>
                  <a:pt x="4972345" y="1843795"/>
                </a:cubicBezTo>
                <a:cubicBezTo>
                  <a:pt x="4974694" y="1839098"/>
                  <a:pt x="4977043" y="1834400"/>
                  <a:pt x="4979391" y="1829703"/>
                </a:cubicBezTo>
                <a:cubicBezTo>
                  <a:pt x="4979391" y="1825005"/>
                  <a:pt x="4979391" y="1822656"/>
                  <a:pt x="4981740" y="1820308"/>
                </a:cubicBezTo>
                <a:cubicBezTo>
                  <a:pt x="4981740" y="1815611"/>
                  <a:pt x="4986438" y="1810914"/>
                  <a:pt x="4988787" y="1806216"/>
                </a:cubicBezTo>
                <a:close/>
                <a:moveTo>
                  <a:pt x="2473246" y="1801518"/>
                </a:moveTo>
                <a:cubicBezTo>
                  <a:pt x="2475594" y="1815611"/>
                  <a:pt x="2447408" y="1813261"/>
                  <a:pt x="2463850" y="1825005"/>
                </a:cubicBezTo>
                <a:cubicBezTo>
                  <a:pt x="2466198" y="1822656"/>
                  <a:pt x="2487337" y="1808565"/>
                  <a:pt x="2473246" y="1801518"/>
                </a:cubicBezTo>
                <a:close/>
                <a:moveTo>
                  <a:pt x="5137053" y="1791243"/>
                </a:moveTo>
                <a:cubicBezTo>
                  <a:pt x="5133824" y="1791536"/>
                  <a:pt x="5130888" y="1792123"/>
                  <a:pt x="5129713" y="1792123"/>
                </a:cubicBezTo>
                <a:cubicBezTo>
                  <a:pt x="5122667" y="1794472"/>
                  <a:pt x="5108574" y="1789775"/>
                  <a:pt x="5101528" y="1792123"/>
                </a:cubicBezTo>
                <a:cubicBezTo>
                  <a:pt x="5099179" y="1794472"/>
                  <a:pt x="5096830" y="1796821"/>
                  <a:pt x="5092133" y="1796821"/>
                </a:cubicBezTo>
                <a:cubicBezTo>
                  <a:pt x="5092133" y="1796821"/>
                  <a:pt x="5092133" y="1794472"/>
                  <a:pt x="5092133" y="1794472"/>
                </a:cubicBezTo>
                <a:cubicBezTo>
                  <a:pt x="5089784" y="1794472"/>
                  <a:pt x="5089784" y="1794472"/>
                  <a:pt x="5089784" y="1794472"/>
                </a:cubicBezTo>
                <a:cubicBezTo>
                  <a:pt x="5087435" y="1792123"/>
                  <a:pt x="5073342" y="1792123"/>
                  <a:pt x="5073342" y="1792123"/>
                </a:cubicBezTo>
                <a:cubicBezTo>
                  <a:pt x="5066296" y="1796821"/>
                  <a:pt x="5059250" y="1803867"/>
                  <a:pt x="5054552" y="1810914"/>
                </a:cubicBezTo>
                <a:cubicBezTo>
                  <a:pt x="5054552" y="1815611"/>
                  <a:pt x="5054552" y="1817959"/>
                  <a:pt x="5049855" y="1820308"/>
                </a:cubicBezTo>
                <a:cubicBezTo>
                  <a:pt x="5049855" y="1820308"/>
                  <a:pt x="5049855" y="1820308"/>
                  <a:pt x="5047506" y="1820308"/>
                </a:cubicBezTo>
                <a:cubicBezTo>
                  <a:pt x="5047506" y="1822656"/>
                  <a:pt x="5047506" y="1822656"/>
                  <a:pt x="5047506" y="1825005"/>
                </a:cubicBezTo>
                <a:cubicBezTo>
                  <a:pt x="5028716" y="1834400"/>
                  <a:pt x="5021669" y="1855538"/>
                  <a:pt x="5014623" y="1876676"/>
                </a:cubicBezTo>
                <a:cubicBezTo>
                  <a:pt x="5021669" y="1876676"/>
                  <a:pt x="5026367" y="1879026"/>
                  <a:pt x="5033413" y="1879026"/>
                </a:cubicBezTo>
                <a:cubicBezTo>
                  <a:pt x="5052204" y="1880200"/>
                  <a:pt x="5073343" y="1877851"/>
                  <a:pt x="5094482" y="1875209"/>
                </a:cubicBezTo>
                <a:lnTo>
                  <a:pt x="5151557" y="1869996"/>
                </a:lnTo>
                <a:lnTo>
                  <a:pt x="5148586" y="1871926"/>
                </a:lnTo>
                <a:lnTo>
                  <a:pt x="5148425" y="1871980"/>
                </a:lnTo>
                <a:lnTo>
                  <a:pt x="5141457" y="1871980"/>
                </a:lnTo>
                <a:lnTo>
                  <a:pt x="5138780" y="1875159"/>
                </a:lnTo>
                <a:lnTo>
                  <a:pt x="5128832" y="1878438"/>
                </a:lnTo>
                <a:cubicBezTo>
                  <a:pt x="5117969" y="1880200"/>
                  <a:pt x="5106225" y="1880200"/>
                  <a:pt x="5096830" y="1876676"/>
                </a:cubicBezTo>
                <a:cubicBezTo>
                  <a:pt x="5087435" y="1879026"/>
                  <a:pt x="5087435" y="1893118"/>
                  <a:pt x="5078040" y="1886071"/>
                </a:cubicBezTo>
                <a:cubicBezTo>
                  <a:pt x="5080389" y="1889595"/>
                  <a:pt x="5085087" y="1890769"/>
                  <a:pt x="5090371" y="1891356"/>
                </a:cubicBezTo>
                <a:lnTo>
                  <a:pt x="5092133" y="1891552"/>
                </a:lnTo>
                <a:lnTo>
                  <a:pt x="5092133" y="1893118"/>
                </a:lnTo>
                <a:cubicBezTo>
                  <a:pt x="5089784" y="1893118"/>
                  <a:pt x="5089784" y="1893118"/>
                  <a:pt x="5087435" y="1893118"/>
                </a:cubicBezTo>
                <a:cubicBezTo>
                  <a:pt x="5089784" y="1893118"/>
                  <a:pt x="5089784" y="1895467"/>
                  <a:pt x="5092133" y="1895467"/>
                </a:cubicBezTo>
                <a:cubicBezTo>
                  <a:pt x="5085086" y="1907210"/>
                  <a:pt x="5087435" y="1918953"/>
                  <a:pt x="5094482" y="1928348"/>
                </a:cubicBezTo>
                <a:lnTo>
                  <a:pt x="5094482" y="1928349"/>
                </a:lnTo>
                <a:lnTo>
                  <a:pt x="5094483" y="1928349"/>
                </a:lnTo>
                <a:lnTo>
                  <a:pt x="5103878" y="1928349"/>
                </a:lnTo>
                <a:lnTo>
                  <a:pt x="5101530" y="1923651"/>
                </a:lnTo>
                <a:lnTo>
                  <a:pt x="5103595" y="1920552"/>
                </a:lnTo>
                <a:lnTo>
                  <a:pt x="5103044" y="1914482"/>
                </a:lnTo>
                <a:lnTo>
                  <a:pt x="5099181" y="1911907"/>
                </a:lnTo>
                <a:lnTo>
                  <a:pt x="5101530" y="1904861"/>
                </a:lnTo>
                <a:lnTo>
                  <a:pt x="5102210" y="1905315"/>
                </a:lnTo>
                <a:lnTo>
                  <a:pt x="5101528" y="1897815"/>
                </a:lnTo>
                <a:cubicBezTo>
                  <a:pt x="5101528" y="1897815"/>
                  <a:pt x="5103877" y="1900164"/>
                  <a:pt x="5103877" y="1900164"/>
                </a:cubicBezTo>
                <a:cubicBezTo>
                  <a:pt x="5106226" y="1897815"/>
                  <a:pt x="5106226" y="1897815"/>
                  <a:pt x="5106226" y="1897815"/>
                </a:cubicBezTo>
                <a:cubicBezTo>
                  <a:pt x="5108574" y="1897815"/>
                  <a:pt x="5108574" y="1897815"/>
                  <a:pt x="5110923" y="1897815"/>
                </a:cubicBezTo>
                <a:cubicBezTo>
                  <a:pt x="5110923" y="1895467"/>
                  <a:pt x="5113272" y="1895467"/>
                  <a:pt x="5113272" y="1893118"/>
                </a:cubicBezTo>
                <a:cubicBezTo>
                  <a:pt x="5115620" y="1890769"/>
                  <a:pt x="5120318" y="1890769"/>
                  <a:pt x="5125016" y="1888420"/>
                </a:cubicBezTo>
                <a:cubicBezTo>
                  <a:pt x="5125016" y="1886071"/>
                  <a:pt x="5127364" y="1886071"/>
                  <a:pt x="5127364" y="1883723"/>
                </a:cubicBezTo>
                <a:cubicBezTo>
                  <a:pt x="5127364" y="1881374"/>
                  <a:pt x="5129713" y="1881374"/>
                  <a:pt x="5132062" y="1881374"/>
                </a:cubicBezTo>
                <a:cubicBezTo>
                  <a:pt x="5133237" y="1881374"/>
                  <a:pt x="5134998" y="1879613"/>
                  <a:pt x="5136760" y="1877558"/>
                </a:cubicBezTo>
                <a:lnTo>
                  <a:pt x="5138780" y="1875159"/>
                </a:lnTo>
                <a:lnTo>
                  <a:pt x="5148425" y="1871980"/>
                </a:lnTo>
                <a:lnTo>
                  <a:pt x="5148504" y="1871980"/>
                </a:lnTo>
                <a:lnTo>
                  <a:pt x="5148586" y="1871926"/>
                </a:lnTo>
                <a:lnTo>
                  <a:pt x="5155550" y="1869631"/>
                </a:lnTo>
                <a:lnTo>
                  <a:pt x="5151557" y="1869996"/>
                </a:lnTo>
                <a:lnTo>
                  <a:pt x="5154376" y="1868163"/>
                </a:lnTo>
                <a:cubicBezTo>
                  <a:pt x="5157312" y="1866108"/>
                  <a:pt x="5160248" y="1863759"/>
                  <a:pt x="5160248" y="1862585"/>
                </a:cubicBezTo>
                <a:cubicBezTo>
                  <a:pt x="5162596" y="1857887"/>
                  <a:pt x="5171991" y="1829703"/>
                  <a:pt x="5169642" y="1825005"/>
                </a:cubicBezTo>
                <a:cubicBezTo>
                  <a:pt x="5167294" y="1817959"/>
                  <a:pt x="5162596" y="1813261"/>
                  <a:pt x="5160248" y="1808565"/>
                </a:cubicBezTo>
                <a:cubicBezTo>
                  <a:pt x="5155550" y="1808565"/>
                  <a:pt x="5155550" y="1808565"/>
                  <a:pt x="5155550" y="1803867"/>
                </a:cubicBezTo>
                <a:cubicBezTo>
                  <a:pt x="5153201" y="1803867"/>
                  <a:pt x="5153201" y="1801518"/>
                  <a:pt x="5150852" y="1801518"/>
                </a:cubicBezTo>
                <a:cubicBezTo>
                  <a:pt x="5148504" y="1796821"/>
                  <a:pt x="5148504" y="1794472"/>
                  <a:pt x="5146155" y="1792123"/>
                </a:cubicBezTo>
                <a:cubicBezTo>
                  <a:pt x="5143806" y="1790949"/>
                  <a:pt x="5140283" y="1790949"/>
                  <a:pt x="5137053" y="1791243"/>
                </a:cubicBezTo>
                <a:close/>
                <a:moveTo>
                  <a:pt x="4870210" y="1778472"/>
                </a:moveTo>
                <a:cubicBezTo>
                  <a:pt x="4848300" y="1779353"/>
                  <a:pt x="4826721" y="1786839"/>
                  <a:pt x="4798535" y="1785077"/>
                </a:cubicBezTo>
                <a:cubicBezTo>
                  <a:pt x="4819675" y="1796821"/>
                  <a:pt x="4857255" y="1787426"/>
                  <a:pt x="4892487" y="1785077"/>
                </a:cubicBezTo>
                <a:cubicBezTo>
                  <a:pt x="4892487" y="1785077"/>
                  <a:pt x="4892487" y="1782728"/>
                  <a:pt x="4892487" y="1782728"/>
                </a:cubicBezTo>
                <a:cubicBezTo>
                  <a:pt x="4892487" y="1782728"/>
                  <a:pt x="4892487" y="1782728"/>
                  <a:pt x="4892487" y="1780380"/>
                </a:cubicBezTo>
                <a:cubicBezTo>
                  <a:pt x="4884854" y="1778618"/>
                  <a:pt x="4877513" y="1778178"/>
                  <a:pt x="4870210" y="1778472"/>
                </a:cubicBezTo>
                <a:close/>
                <a:moveTo>
                  <a:pt x="5220646" y="1775850"/>
                </a:moveTo>
                <a:lnTo>
                  <a:pt x="5211921" y="1778032"/>
                </a:lnTo>
                <a:cubicBezTo>
                  <a:pt x="5211921" y="1780380"/>
                  <a:pt x="5211921" y="1782728"/>
                  <a:pt x="5209572" y="1782728"/>
                </a:cubicBezTo>
                <a:cubicBezTo>
                  <a:pt x="5207223" y="1782728"/>
                  <a:pt x="5204874" y="1782728"/>
                  <a:pt x="5204874" y="1782728"/>
                </a:cubicBezTo>
                <a:cubicBezTo>
                  <a:pt x="5204874" y="1785077"/>
                  <a:pt x="5207223" y="1785077"/>
                  <a:pt x="5204874" y="1787426"/>
                </a:cubicBezTo>
                <a:lnTo>
                  <a:pt x="5193371" y="1802764"/>
                </a:lnTo>
                <a:lnTo>
                  <a:pt x="5204876" y="1806215"/>
                </a:lnTo>
                <a:cubicBezTo>
                  <a:pt x="5207225" y="1801518"/>
                  <a:pt x="5207225" y="1803867"/>
                  <a:pt x="5207225" y="1796820"/>
                </a:cubicBezTo>
                <a:lnTo>
                  <a:pt x="5207225" y="1794472"/>
                </a:lnTo>
                <a:lnTo>
                  <a:pt x="5207225" y="1787426"/>
                </a:lnTo>
                <a:lnTo>
                  <a:pt x="5214271" y="1780380"/>
                </a:lnTo>
                <a:lnTo>
                  <a:pt x="5223666" y="1780380"/>
                </a:lnTo>
                <a:close/>
                <a:moveTo>
                  <a:pt x="5226013" y="1770985"/>
                </a:moveTo>
                <a:lnTo>
                  <a:pt x="5223665" y="1773333"/>
                </a:lnTo>
                <a:lnTo>
                  <a:pt x="5228363" y="1773333"/>
                </a:lnTo>
                <a:lnTo>
                  <a:pt x="5226797" y="1770985"/>
                </a:lnTo>
                <a:close/>
                <a:moveTo>
                  <a:pt x="1428054" y="1761637"/>
                </a:moveTo>
                <a:cubicBezTo>
                  <a:pt x="1475032" y="1771033"/>
                  <a:pt x="1526705" y="1780427"/>
                  <a:pt x="1571332" y="1787473"/>
                </a:cubicBezTo>
                <a:cubicBezTo>
                  <a:pt x="1583075" y="1803913"/>
                  <a:pt x="1526705" y="1785125"/>
                  <a:pt x="1428054" y="1761637"/>
                </a:cubicBezTo>
                <a:close/>
                <a:moveTo>
                  <a:pt x="2528699" y="1760746"/>
                </a:moveTo>
                <a:cubicBezTo>
                  <a:pt x="2528148" y="1760856"/>
                  <a:pt x="2490274" y="1785078"/>
                  <a:pt x="2513174" y="1770985"/>
                </a:cubicBezTo>
                <a:cubicBezTo>
                  <a:pt x="2524918" y="1763352"/>
                  <a:pt x="2528882" y="1760709"/>
                  <a:pt x="2528699" y="1760746"/>
                </a:cubicBezTo>
                <a:close/>
                <a:moveTo>
                  <a:pt x="5063947" y="1754544"/>
                </a:moveTo>
                <a:cubicBezTo>
                  <a:pt x="5049855" y="1763939"/>
                  <a:pt x="5035762" y="1773334"/>
                  <a:pt x="5021669" y="1782728"/>
                </a:cubicBezTo>
                <a:cubicBezTo>
                  <a:pt x="5019321" y="1787426"/>
                  <a:pt x="5016972" y="1789775"/>
                  <a:pt x="5016972" y="1792123"/>
                </a:cubicBezTo>
                <a:cubicBezTo>
                  <a:pt x="5021669" y="1794472"/>
                  <a:pt x="5028716" y="1789775"/>
                  <a:pt x="5031065" y="1789775"/>
                </a:cubicBezTo>
                <a:cubicBezTo>
                  <a:pt x="5026367" y="1794472"/>
                  <a:pt x="5019321" y="1794472"/>
                  <a:pt x="5014623" y="1796821"/>
                </a:cubicBezTo>
                <a:cubicBezTo>
                  <a:pt x="5014623" y="1799170"/>
                  <a:pt x="5012274" y="1799170"/>
                  <a:pt x="5012274" y="1801518"/>
                </a:cubicBezTo>
                <a:cubicBezTo>
                  <a:pt x="5009925" y="1806216"/>
                  <a:pt x="5005228" y="1808565"/>
                  <a:pt x="5002879" y="1813261"/>
                </a:cubicBezTo>
                <a:cubicBezTo>
                  <a:pt x="5005228" y="1813261"/>
                  <a:pt x="5009925" y="1813261"/>
                  <a:pt x="5012274" y="1813261"/>
                </a:cubicBezTo>
                <a:cubicBezTo>
                  <a:pt x="5012274" y="1810914"/>
                  <a:pt x="5012274" y="1810914"/>
                  <a:pt x="5014623" y="1810914"/>
                </a:cubicBezTo>
                <a:cubicBezTo>
                  <a:pt x="5016972" y="1808565"/>
                  <a:pt x="5026367" y="1808565"/>
                  <a:pt x="5031065" y="1808565"/>
                </a:cubicBezTo>
                <a:cubicBezTo>
                  <a:pt x="5033413" y="1803867"/>
                  <a:pt x="5038111" y="1801518"/>
                  <a:pt x="5042809" y="1796821"/>
                </a:cubicBezTo>
                <a:cubicBezTo>
                  <a:pt x="5045157" y="1796821"/>
                  <a:pt x="5045157" y="1794472"/>
                  <a:pt x="5045157" y="1794472"/>
                </a:cubicBezTo>
                <a:cubicBezTo>
                  <a:pt x="5047506" y="1792123"/>
                  <a:pt x="5049855" y="1794472"/>
                  <a:pt x="5049855" y="1792123"/>
                </a:cubicBezTo>
                <a:cubicBezTo>
                  <a:pt x="5052204" y="1789775"/>
                  <a:pt x="5054552" y="1782728"/>
                  <a:pt x="5056901" y="1780380"/>
                </a:cubicBezTo>
                <a:cubicBezTo>
                  <a:pt x="5059250" y="1778032"/>
                  <a:pt x="5059250" y="1778032"/>
                  <a:pt x="5061599" y="1778032"/>
                </a:cubicBezTo>
                <a:cubicBezTo>
                  <a:pt x="5061599" y="1778032"/>
                  <a:pt x="5063947" y="1775683"/>
                  <a:pt x="5063947" y="1773334"/>
                </a:cubicBezTo>
                <a:cubicBezTo>
                  <a:pt x="5066296" y="1773334"/>
                  <a:pt x="5066296" y="1773334"/>
                  <a:pt x="5068645" y="1773334"/>
                </a:cubicBezTo>
                <a:cubicBezTo>
                  <a:pt x="5068645" y="1770985"/>
                  <a:pt x="5068645" y="1768636"/>
                  <a:pt x="5068645" y="1768636"/>
                </a:cubicBezTo>
                <a:cubicBezTo>
                  <a:pt x="5070994" y="1768636"/>
                  <a:pt x="5068645" y="1768636"/>
                  <a:pt x="5070994" y="1768636"/>
                </a:cubicBezTo>
                <a:cubicBezTo>
                  <a:pt x="5068645" y="1766288"/>
                  <a:pt x="5066296" y="1766288"/>
                  <a:pt x="5066296" y="1761590"/>
                </a:cubicBezTo>
                <a:cubicBezTo>
                  <a:pt x="5066296" y="1759241"/>
                  <a:pt x="5063947" y="1756893"/>
                  <a:pt x="5063947" y="1754544"/>
                </a:cubicBezTo>
                <a:close/>
                <a:moveTo>
                  <a:pt x="5166064" y="1754096"/>
                </a:moveTo>
                <a:lnTo>
                  <a:pt x="5167294" y="1759241"/>
                </a:lnTo>
                <a:cubicBezTo>
                  <a:pt x="5169642" y="1759241"/>
                  <a:pt x="5169642" y="1759241"/>
                  <a:pt x="5171991" y="1759241"/>
                </a:cubicBezTo>
                <a:cubicBezTo>
                  <a:pt x="5171991" y="1759241"/>
                  <a:pt x="5176689" y="1763939"/>
                  <a:pt x="5176689" y="1763939"/>
                </a:cubicBezTo>
                <a:cubicBezTo>
                  <a:pt x="5176689" y="1763939"/>
                  <a:pt x="5174340" y="1766288"/>
                  <a:pt x="5176689" y="1766288"/>
                </a:cubicBezTo>
                <a:cubicBezTo>
                  <a:pt x="5176689" y="1766288"/>
                  <a:pt x="5179037" y="1766288"/>
                  <a:pt x="5179037" y="1768636"/>
                </a:cubicBezTo>
                <a:cubicBezTo>
                  <a:pt x="5181386" y="1773334"/>
                  <a:pt x="5179037" y="1778032"/>
                  <a:pt x="5183735" y="1782728"/>
                </a:cubicBezTo>
                <a:lnTo>
                  <a:pt x="5182561" y="1785077"/>
                </a:lnTo>
                <a:lnTo>
                  <a:pt x="5179037" y="1785077"/>
                </a:lnTo>
                <a:cubicBezTo>
                  <a:pt x="5179037" y="1775683"/>
                  <a:pt x="5169642" y="1773334"/>
                  <a:pt x="5167294" y="1763939"/>
                </a:cubicBezTo>
                <a:close/>
                <a:moveTo>
                  <a:pt x="4892487" y="1752196"/>
                </a:moveTo>
                <a:cubicBezTo>
                  <a:pt x="4878394" y="1754544"/>
                  <a:pt x="4864301" y="1759241"/>
                  <a:pt x="4852557" y="1761590"/>
                </a:cubicBezTo>
                <a:cubicBezTo>
                  <a:pt x="4866650" y="1766288"/>
                  <a:pt x="4878394" y="1773334"/>
                  <a:pt x="4894835" y="1773334"/>
                </a:cubicBezTo>
                <a:cubicBezTo>
                  <a:pt x="4894835" y="1768636"/>
                  <a:pt x="4894835" y="1766288"/>
                  <a:pt x="4894835" y="1761590"/>
                </a:cubicBezTo>
                <a:cubicBezTo>
                  <a:pt x="4894835" y="1759241"/>
                  <a:pt x="4892487" y="1754544"/>
                  <a:pt x="4892487" y="1754544"/>
                </a:cubicBezTo>
                <a:cubicBezTo>
                  <a:pt x="4892487" y="1754544"/>
                  <a:pt x="4892487" y="1752196"/>
                  <a:pt x="4892487" y="1752196"/>
                </a:cubicBezTo>
                <a:close/>
                <a:moveTo>
                  <a:pt x="5040460" y="1745150"/>
                </a:moveTo>
                <a:cubicBezTo>
                  <a:pt x="5035762" y="1749846"/>
                  <a:pt x="5031065" y="1754544"/>
                  <a:pt x="5028716" y="1761590"/>
                </a:cubicBezTo>
                <a:cubicBezTo>
                  <a:pt x="5028716" y="1763939"/>
                  <a:pt x="5028716" y="1768636"/>
                  <a:pt x="5028716" y="1770985"/>
                </a:cubicBezTo>
                <a:cubicBezTo>
                  <a:pt x="5038111" y="1763939"/>
                  <a:pt x="5047506" y="1759241"/>
                  <a:pt x="5059250" y="1754544"/>
                </a:cubicBezTo>
                <a:cubicBezTo>
                  <a:pt x="5059250" y="1752196"/>
                  <a:pt x="5059250" y="1752196"/>
                  <a:pt x="5059250" y="1749846"/>
                </a:cubicBezTo>
                <a:cubicBezTo>
                  <a:pt x="5052204" y="1747498"/>
                  <a:pt x="5054552" y="1747498"/>
                  <a:pt x="5052204" y="1745150"/>
                </a:cubicBezTo>
                <a:cubicBezTo>
                  <a:pt x="5047506" y="1745150"/>
                  <a:pt x="5045157" y="1747498"/>
                  <a:pt x="5040460" y="1745150"/>
                </a:cubicBezTo>
                <a:close/>
                <a:moveTo>
                  <a:pt x="4974694" y="1731057"/>
                </a:moveTo>
                <a:cubicBezTo>
                  <a:pt x="4972345" y="1731057"/>
                  <a:pt x="4967647" y="1733406"/>
                  <a:pt x="4967647" y="1735755"/>
                </a:cubicBezTo>
                <a:cubicBezTo>
                  <a:pt x="4972345" y="1740452"/>
                  <a:pt x="4984089" y="1738103"/>
                  <a:pt x="4988787" y="1742801"/>
                </a:cubicBezTo>
                <a:cubicBezTo>
                  <a:pt x="4962950" y="1742801"/>
                  <a:pt x="4934765" y="1747498"/>
                  <a:pt x="4906579" y="1752196"/>
                </a:cubicBezTo>
                <a:cubicBezTo>
                  <a:pt x="4908928" y="1759241"/>
                  <a:pt x="4908928" y="1766288"/>
                  <a:pt x="4908928" y="1775683"/>
                </a:cubicBezTo>
                <a:cubicBezTo>
                  <a:pt x="4908928" y="1778032"/>
                  <a:pt x="4908928" y="1782728"/>
                  <a:pt x="4908928" y="1787426"/>
                </a:cubicBezTo>
                <a:cubicBezTo>
                  <a:pt x="4937114" y="1789775"/>
                  <a:pt x="4965299" y="1794472"/>
                  <a:pt x="4991135" y="1796821"/>
                </a:cubicBezTo>
                <a:cubicBezTo>
                  <a:pt x="4993484" y="1794472"/>
                  <a:pt x="4995833" y="1794472"/>
                  <a:pt x="4998182" y="1792123"/>
                </a:cubicBezTo>
                <a:cubicBezTo>
                  <a:pt x="5002879" y="1789775"/>
                  <a:pt x="5005228" y="1785077"/>
                  <a:pt x="5007577" y="1780380"/>
                </a:cubicBezTo>
                <a:cubicBezTo>
                  <a:pt x="5009925" y="1775683"/>
                  <a:pt x="5009925" y="1770985"/>
                  <a:pt x="5012274" y="1763939"/>
                </a:cubicBezTo>
                <a:cubicBezTo>
                  <a:pt x="5014623" y="1759241"/>
                  <a:pt x="5016972" y="1754544"/>
                  <a:pt x="5019321" y="1749846"/>
                </a:cubicBezTo>
                <a:cubicBezTo>
                  <a:pt x="5019321" y="1747498"/>
                  <a:pt x="5024018" y="1749846"/>
                  <a:pt x="5024018" y="1747498"/>
                </a:cubicBezTo>
                <a:cubicBezTo>
                  <a:pt x="5024018" y="1745150"/>
                  <a:pt x="5024018" y="1745150"/>
                  <a:pt x="5024018" y="1742801"/>
                </a:cubicBezTo>
                <a:cubicBezTo>
                  <a:pt x="5026367" y="1738103"/>
                  <a:pt x="5028716" y="1733406"/>
                  <a:pt x="5031065" y="1731057"/>
                </a:cubicBezTo>
                <a:cubicBezTo>
                  <a:pt x="5024018" y="1733406"/>
                  <a:pt x="5014623" y="1733406"/>
                  <a:pt x="5007577" y="1733406"/>
                </a:cubicBezTo>
                <a:cubicBezTo>
                  <a:pt x="5005228" y="1733406"/>
                  <a:pt x="5002879" y="1735755"/>
                  <a:pt x="5002879" y="1735755"/>
                </a:cubicBezTo>
                <a:cubicBezTo>
                  <a:pt x="5000531" y="1735755"/>
                  <a:pt x="4979391" y="1738103"/>
                  <a:pt x="4977043" y="1735755"/>
                </a:cubicBezTo>
                <a:cubicBezTo>
                  <a:pt x="4977043" y="1735755"/>
                  <a:pt x="4974694" y="1733406"/>
                  <a:pt x="4974694" y="1731057"/>
                </a:cubicBezTo>
                <a:close/>
                <a:moveTo>
                  <a:pt x="5190781" y="1724011"/>
                </a:moveTo>
                <a:cubicBezTo>
                  <a:pt x="5193130" y="1726359"/>
                  <a:pt x="5193130" y="1726359"/>
                  <a:pt x="5195479" y="1728708"/>
                </a:cubicBezTo>
                <a:cubicBezTo>
                  <a:pt x="5195479" y="1728708"/>
                  <a:pt x="5195479" y="1728708"/>
                  <a:pt x="5195479" y="1731057"/>
                </a:cubicBezTo>
                <a:cubicBezTo>
                  <a:pt x="5193130" y="1731057"/>
                  <a:pt x="5193130" y="1733406"/>
                  <a:pt x="5190781" y="1735755"/>
                </a:cubicBezTo>
                <a:cubicBezTo>
                  <a:pt x="5188433" y="1735755"/>
                  <a:pt x="5188433" y="1735755"/>
                  <a:pt x="5186084" y="1735755"/>
                </a:cubicBezTo>
                <a:cubicBezTo>
                  <a:pt x="5183735" y="1735755"/>
                  <a:pt x="5183735" y="1738103"/>
                  <a:pt x="5181386" y="1740452"/>
                </a:cubicBezTo>
                <a:cubicBezTo>
                  <a:pt x="5179037" y="1740452"/>
                  <a:pt x="5179037" y="1740452"/>
                  <a:pt x="5176689" y="1740452"/>
                </a:cubicBezTo>
                <a:cubicBezTo>
                  <a:pt x="5174340" y="1740452"/>
                  <a:pt x="5174340" y="1742801"/>
                  <a:pt x="5174340" y="1742801"/>
                </a:cubicBezTo>
                <a:cubicBezTo>
                  <a:pt x="5171991" y="1745150"/>
                  <a:pt x="5167294" y="1742801"/>
                  <a:pt x="5164945" y="1745150"/>
                </a:cubicBezTo>
                <a:lnTo>
                  <a:pt x="5166064" y="1754096"/>
                </a:lnTo>
                <a:lnTo>
                  <a:pt x="5164064" y="1745737"/>
                </a:lnTo>
                <a:lnTo>
                  <a:pt x="5163204" y="1735755"/>
                </a:lnTo>
                <a:lnTo>
                  <a:pt x="5179037" y="1735755"/>
                </a:lnTo>
                <a:cubicBezTo>
                  <a:pt x="5181386" y="1731057"/>
                  <a:pt x="5188433" y="1728708"/>
                  <a:pt x="5190781" y="1724011"/>
                </a:cubicBezTo>
                <a:close/>
                <a:moveTo>
                  <a:pt x="5151347" y="1718572"/>
                </a:moveTo>
                <a:lnTo>
                  <a:pt x="5155550" y="1719313"/>
                </a:lnTo>
                <a:cubicBezTo>
                  <a:pt x="5157899" y="1719313"/>
                  <a:pt x="5157899" y="1726359"/>
                  <a:pt x="5157899" y="1728708"/>
                </a:cubicBezTo>
                <a:cubicBezTo>
                  <a:pt x="5160248" y="1728708"/>
                  <a:pt x="5160248" y="1728708"/>
                  <a:pt x="5162596" y="1728708"/>
                </a:cubicBezTo>
                <a:lnTo>
                  <a:pt x="5163204" y="1735755"/>
                </a:lnTo>
                <a:lnTo>
                  <a:pt x="5160248" y="1735755"/>
                </a:lnTo>
                <a:cubicBezTo>
                  <a:pt x="5155550" y="1733406"/>
                  <a:pt x="5153201" y="1726359"/>
                  <a:pt x="5153201" y="1721662"/>
                </a:cubicBezTo>
                <a:close/>
                <a:moveTo>
                  <a:pt x="4915974" y="1714616"/>
                </a:moveTo>
                <a:cubicBezTo>
                  <a:pt x="4913626" y="1719313"/>
                  <a:pt x="4911277" y="1721662"/>
                  <a:pt x="4908928" y="1726359"/>
                </a:cubicBezTo>
                <a:cubicBezTo>
                  <a:pt x="4927718" y="1726359"/>
                  <a:pt x="4946509" y="1728708"/>
                  <a:pt x="4965299" y="1726359"/>
                </a:cubicBezTo>
                <a:cubicBezTo>
                  <a:pt x="4962950" y="1724011"/>
                  <a:pt x="4960601" y="1719313"/>
                  <a:pt x="4960601" y="1721662"/>
                </a:cubicBezTo>
                <a:cubicBezTo>
                  <a:pt x="4958252" y="1719313"/>
                  <a:pt x="4958252" y="1721662"/>
                  <a:pt x="4955903" y="1716965"/>
                </a:cubicBezTo>
                <a:cubicBezTo>
                  <a:pt x="4948857" y="1714616"/>
                  <a:pt x="4941811" y="1714616"/>
                  <a:pt x="4934765" y="1716965"/>
                </a:cubicBezTo>
                <a:cubicBezTo>
                  <a:pt x="4930067" y="1714616"/>
                  <a:pt x="4923021" y="1714616"/>
                  <a:pt x="4915974" y="1714616"/>
                </a:cubicBezTo>
                <a:close/>
                <a:moveTo>
                  <a:pt x="4852557" y="1707570"/>
                </a:moveTo>
                <a:cubicBezTo>
                  <a:pt x="4852557" y="1709919"/>
                  <a:pt x="4847860" y="1712268"/>
                  <a:pt x="4845511" y="1712268"/>
                </a:cubicBezTo>
                <a:cubicBezTo>
                  <a:pt x="4859604" y="1714616"/>
                  <a:pt x="4876045" y="1719313"/>
                  <a:pt x="4892487" y="1721662"/>
                </a:cubicBezTo>
                <a:cubicBezTo>
                  <a:pt x="4894835" y="1719313"/>
                  <a:pt x="4897184" y="1716965"/>
                  <a:pt x="4897184" y="1709919"/>
                </a:cubicBezTo>
                <a:cubicBezTo>
                  <a:pt x="4897184" y="1709919"/>
                  <a:pt x="4897184" y="1707570"/>
                  <a:pt x="4897184" y="1707570"/>
                </a:cubicBezTo>
                <a:cubicBezTo>
                  <a:pt x="4883092" y="1707570"/>
                  <a:pt x="4868999" y="1707570"/>
                  <a:pt x="4852557" y="1707570"/>
                </a:cubicBezTo>
                <a:close/>
                <a:moveTo>
                  <a:pt x="5148034" y="1700994"/>
                </a:moveTo>
                <a:lnTo>
                  <a:pt x="5149091" y="1702285"/>
                </a:lnTo>
                <a:cubicBezTo>
                  <a:pt x="5150265" y="1705808"/>
                  <a:pt x="5150852" y="1709919"/>
                  <a:pt x="5150852" y="1712268"/>
                </a:cubicBezTo>
                <a:lnTo>
                  <a:pt x="5147565" y="1712268"/>
                </a:lnTo>
                <a:lnTo>
                  <a:pt x="5146155" y="1709919"/>
                </a:lnTo>
                <a:cubicBezTo>
                  <a:pt x="5146155" y="1707570"/>
                  <a:pt x="5146155" y="1707570"/>
                  <a:pt x="5146155" y="1707570"/>
                </a:cubicBezTo>
                <a:cubicBezTo>
                  <a:pt x="5146155" y="1705222"/>
                  <a:pt x="5146155" y="1705222"/>
                  <a:pt x="5146155" y="1702873"/>
                </a:cubicBezTo>
                <a:close/>
                <a:moveTo>
                  <a:pt x="923055" y="1693478"/>
                </a:moveTo>
                <a:cubicBezTo>
                  <a:pt x="911313" y="1700524"/>
                  <a:pt x="883127" y="1700524"/>
                  <a:pt x="904263" y="1719313"/>
                </a:cubicBezTo>
                <a:cubicBezTo>
                  <a:pt x="904263" y="1705222"/>
                  <a:pt x="934798" y="1702873"/>
                  <a:pt x="923055" y="1693478"/>
                </a:cubicBezTo>
                <a:close/>
                <a:moveTo>
                  <a:pt x="4915974" y="1669991"/>
                </a:moveTo>
                <a:cubicBezTo>
                  <a:pt x="4913626" y="1669991"/>
                  <a:pt x="4906579" y="1677037"/>
                  <a:pt x="4904230" y="1677037"/>
                </a:cubicBezTo>
                <a:cubicBezTo>
                  <a:pt x="4899533" y="1677037"/>
                  <a:pt x="4894835" y="1677037"/>
                  <a:pt x="4887789" y="1674688"/>
                </a:cubicBezTo>
                <a:cubicBezTo>
                  <a:pt x="4887789" y="1674688"/>
                  <a:pt x="4885440" y="1674688"/>
                  <a:pt x="4885440" y="1674688"/>
                </a:cubicBezTo>
                <a:cubicBezTo>
                  <a:pt x="4883092" y="1677037"/>
                  <a:pt x="4883092" y="1679386"/>
                  <a:pt x="4883092" y="1679386"/>
                </a:cubicBezTo>
                <a:cubicBezTo>
                  <a:pt x="4883092" y="1681735"/>
                  <a:pt x="4880743" y="1681735"/>
                  <a:pt x="4880743" y="1681735"/>
                </a:cubicBezTo>
                <a:cubicBezTo>
                  <a:pt x="4876045" y="1686431"/>
                  <a:pt x="4871348" y="1691129"/>
                  <a:pt x="4868999" y="1695826"/>
                </a:cubicBezTo>
                <a:cubicBezTo>
                  <a:pt x="4871348" y="1695826"/>
                  <a:pt x="4880743" y="1698175"/>
                  <a:pt x="4885440" y="1698175"/>
                </a:cubicBezTo>
                <a:cubicBezTo>
                  <a:pt x="4890138" y="1698175"/>
                  <a:pt x="4897184" y="1698175"/>
                  <a:pt x="4901882" y="1698175"/>
                </a:cubicBezTo>
                <a:cubicBezTo>
                  <a:pt x="4906579" y="1698175"/>
                  <a:pt x="4908928" y="1698175"/>
                  <a:pt x="4911277" y="1698175"/>
                </a:cubicBezTo>
                <a:cubicBezTo>
                  <a:pt x="4913626" y="1695826"/>
                  <a:pt x="4915974" y="1688781"/>
                  <a:pt x="4918323" y="1686431"/>
                </a:cubicBezTo>
                <a:cubicBezTo>
                  <a:pt x="4918323" y="1684083"/>
                  <a:pt x="4918323" y="1679386"/>
                  <a:pt x="4918323" y="1677037"/>
                </a:cubicBezTo>
                <a:cubicBezTo>
                  <a:pt x="4918323" y="1677037"/>
                  <a:pt x="4920672" y="1674688"/>
                  <a:pt x="4920672" y="1674688"/>
                </a:cubicBezTo>
                <a:cubicBezTo>
                  <a:pt x="4920672" y="1672340"/>
                  <a:pt x="4920672" y="1672340"/>
                  <a:pt x="4920672" y="1669991"/>
                </a:cubicBezTo>
                <a:cubicBezTo>
                  <a:pt x="4918323" y="1669991"/>
                  <a:pt x="4918323" y="1669991"/>
                  <a:pt x="4915974" y="1669991"/>
                </a:cubicBezTo>
                <a:close/>
                <a:moveTo>
                  <a:pt x="4493194" y="1665293"/>
                </a:moveTo>
                <a:cubicBezTo>
                  <a:pt x="4490846" y="1665293"/>
                  <a:pt x="4488497" y="1667642"/>
                  <a:pt x="4486148" y="1667642"/>
                </a:cubicBezTo>
                <a:cubicBezTo>
                  <a:pt x="4486148" y="1669991"/>
                  <a:pt x="4488497" y="1672340"/>
                  <a:pt x="4490846" y="1674688"/>
                </a:cubicBezTo>
                <a:cubicBezTo>
                  <a:pt x="4493194" y="1677037"/>
                  <a:pt x="4493194" y="1677037"/>
                  <a:pt x="4495543" y="1679386"/>
                </a:cubicBezTo>
                <a:cubicBezTo>
                  <a:pt x="4500241" y="1677037"/>
                  <a:pt x="4502589" y="1674688"/>
                  <a:pt x="4504938" y="1672340"/>
                </a:cubicBezTo>
                <a:cubicBezTo>
                  <a:pt x="4502589" y="1672340"/>
                  <a:pt x="4500241" y="1672340"/>
                  <a:pt x="4497892" y="1669991"/>
                </a:cubicBezTo>
                <a:cubicBezTo>
                  <a:pt x="4495543" y="1669991"/>
                  <a:pt x="4495543" y="1667642"/>
                  <a:pt x="4493194" y="1665293"/>
                </a:cubicBezTo>
                <a:close/>
                <a:moveTo>
                  <a:pt x="5141457" y="1655898"/>
                </a:moveTo>
                <a:lnTo>
                  <a:pt x="5141454" y="1656290"/>
                </a:lnTo>
                <a:lnTo>
                  <a:pt x="5141127" y="1655981"/>
                </a:lnTo>
                <a:close/>
                <a:moveTo>
                  <a:pt x="2722215" y="1653550"/>
                </a:moveTo>
                <a:cubicBezTo>
                  <a:pt x="2719866" y="1658247"/>
                  <a:pt x="2719866" y="1660596"/>
                  <a:pt x="2717518" y="1665293"/>
                </a:cubicBezTo>
                <a:cubicBezTo>
                  <a:pt x="2722215" y="1667642"/>
                  <a:pt x="2724564" y="1667642"/>
                  <a:pt x="2729262" y="1669991"/>
                </a:cubicBezTo>
                <a:cubicBezTo>
                  <a:pt x="2731610" y="1665293"/>
                  <a:pt x="2733959" y="1660596"/>
                  <a:pt x="2733959" y="1658247"/>
                </a:cubicBezTo>
                <a:cubicBezTo>
                  <a:pt x="2729262" y="1655898"/>
                  <a:pt x="2726913" y="1655898"/>
                  <a:pt x="2722215" y="1653550"/>
                </a:cubicBezTo>
                <a:close/>
                <a:moveTo>
                  <a:pt x="5162596" y="1648853"/>
                </a:moveTo>
                <a:cubicBezTo>
                  <a:pt x="5164945" y="1648853"/>
                  <a:pt x="5164945" y="1648853"/>
                  <a:pt x="5167294" y="1648853"/>
                </a:cubicBezTo>
                <a:lnTo>
                  <a:pt x="5160551" y="1659371"/>
                </a:lnTo>
                <a:lnTo>
                  <a:pt x="5153201" y="1660596"/>
                </a:lnTo>
                <a:cubicBezTo>
                  <a:pt x="5153201" y="1660596"/>
                  <a:pt x="5153201" y="1660596"/>
                  <a:pt x="5153201" y="1662944"/>
                </a:cubicBezTo>
                <a:lnTo>
                  <a:pt x="5151733" y="1662944"/>
                </a:lnTo>
                <a:lnTo>
                  <a:pt x="5153201" y="1651202"/>
                </a:lnTo>
                <a:cubicBezTo>
                  <a:pt x="5155550" y="1651202"/>
                  <a:pt x="5160248" y="1648853"/>
                  <a:pt x="5162596" y="1648853"/>
                </a:cubicBezTo>
                <a:close/>
                <a:moveTo>
                  <a:pt x="4927718" y="1648853"/>
                </a:moveTo>
                <a:cubicBezTo>
                  <a:pt x="4927718" y="1651202"/>
                  <a:pt x="4930067" y="1651202"/>
                  <a:pt x="4930067" y="1651202"/>
                </a:cubicBezTo>
                <a:cubicBezTo>
                  <a:pt x="4930067" y="1651202"/>
                  <a:pt x="4930067" y="1648853"/>
                  <a:pt x="4930067" y="1648853"/>
                </a:cubicBezTo>
                <a:cubicBezTo>
                  <a:pt x="4930067" y="1648853"/>
                  <a:pt x="4930067" y="1648853"/>
                  <a:pt x="4927718" y="1648853"/>
                </a:cubicBezTo>
                <a:close/>
                <a:moveTo>
                  <a:pt x="4915974" y="1637109"/>
                </a:moveTo>
                <a:cubicBezTo>
                  <a:pt x="4913626" y="1637109"/>
                  <a:pt x="4913626" y="1639458"/>
                  <a:pt x="4913626" y="1639458"/>
                </a:cubicBezTo>
                <a:cubicBezTo>
                  <a:pt x="4913626" y="1639458"/>
                  <a:pt x="4915974" y="1639458"/>
                  <a:pt x="4918323" y="1639458"/>
                </a:cubicBezTo>
                <a:cubicBezTo>
                  <a:pt x="4915974" y="1641806"/>
                  <a:pt x="4913626" y="1641806"/>
                  <a:pt x="4913626" y="1641806"/>
                </a:cubicBezTo>
                <a:cubicBezTo>
                  <a:pt x="4915974" y="1641806"/>
                  <a:pt x="4918323" y="1641806"/>
                  <a:pt x="4920672" y="1641806"/>
                </a:cubicBezTo>
                <a:cubicBezTo>
                  <a:pt x="4920672" y="1641806"/>
                  <a:pt x="4918323" y="1639458"/>
                  <a:pt x="4918323" y="1639458"/>
                </a:cubicBezTo>
                <a:cubicBezTo>
                  <a:pt x="4915974" y="1637109"/>
                  <a:pt x="4915974" y="1637109"/>
                  <a:pt x="4915974" y="1637109"/>
                </a:cubicBezTo>
                <a:close/>
                <a:moveTo>
                  <a:pt x="4923021" y="1634760"/>
                </a:moveTo>
                <a:cubicBezTo>
                  <a:pt x="4923021" y="1637109"/>
                  <a:pt x="4920672" y="1637109"/>
                  <a:pt x="4920672" y="1637109"/>
                </a:cubicBezTo>
                <a:cubicBezTo>
                  <a:pt x="4920672" y="1641806"/>
                  <a:pt x="4923021" y="1644155"/>
                  <a:pt x="4923021" y="1646504"/>
                </a:cubicBezTo>
                <a:cubicBezTo>
                  <a:pt x="4925370" y="1644155"/>
                  <a:pt x="4930067" y="1641806"/>
                  <a:pt x="4932416" y="1639458"/>
                </a:cubicBezTo>
                <a:cubicBezTo>
                  <a:pt x="4930067" y="1637109"/>
                  <a:pt x="4927718" y="1637109"/>
                  <a:pt x="4923021" y="1634760"/>
                </a:cubicBezTo>
                <a:close/>
                <a:moveTo>
                  <a:pt x="4939462" y="1630062"/>
                </a:moveTo>
                <a:cubicBezTo>
                  <a:pt x="4939462" y="1632411"/>
                  <a:pt x="4941811" y="1634760"/>
                  <a:pt x="4941811" y="1634760"/>
                </a:cubicBezTo>
                <a:cubicBezTo>
                  <a:pt x="4944160" y="1632411"/>
                  <a:pt x="4944160" y="1632411"/>
                  <a:pt x="4946509" y="1630062"/>
                </a:cubicBezTo>
                <a:cubicBezTo>
                  <a:pt x="4944160" y="1630062"/>
                  <a:pt x="4941811" y="1630062"/>
                  <a:pt x="4939462" y="1630062"/>
                </a:cubicBezTo>
                <a:close/>
                <a:moveTo>
                  <a:pt x="4908928" y="1630062"/>
                </a:moveTo>
                <a:cubicBezTo>
                  <a:pt x="4906579" y="1634760"/>
                  <a:pt x="4904230" y="1637109"/>
                  <a:pt x="4899533" y="1641806"/>
                </a:cubicBezTo>
                <a:cubicBezTo>
                  <a:pt x="4901882" y="1641806"/>
                  <a:pt x="4901882" y="1641806"/>
                  <a:pt x="4904230" y="1641806"/>
                </a:cubicBezTo>
                <a:cubicBezTo>
                  <a:pt x="4906579" y="1637109"/>
                  <a:pt x="4906579" y="1634760"/>
                  <a:pt x="4908928" y="1630062"/>
                </a:cubicBezTo>
                <a:close/>
                <a:moveTo>
                  <a:pt x="5207223" y="1623016"/>
                </a:moveTo>
                <a:cubicBezTo>
                  <a:pt x="5209572" y="1623016"/>
                  <a:pt x="5209572" y="1623016"/>
                  <a:pt x="5209572" y="1623016"/>
                </a:cubicBezTo>
                <a:cubicBezTo>
                  <a:pt x="5211921" y="1625366"/>
                  <a:pt x="5209572" y="1623016"/>
                  <a:pt x="5211921" y="1625366"/>
                </a:cubicBezTo>
                <a:cubicBezTo>
                  <a:pt x="5214269" y="1625366"/>
                  <a:pt x="5216618" y="1625366"/>
                  <a:pt x="5218967" y="1627714"/>
                </a:cubicBezTo>
                <a:cubicBezTo>
                  <a:pt x="5216618" y="1627714"/>
                  <a:pt x="5216618" y="1627714"/>
                  <a:pt x="5214269" y="1627714"/>
                </a:cubicBezTo>
                <a:cubicBezTo>
                  <a:pt x="5211921" y="1627714"/>
                  <a:pt x="5207223" y="1627714"/>
                  <a:pt x="5202525" y="1627714"/>
                </a:cubicBezTo>
                <a:cubicBezTo>
                  <a:pt x="5204874" y="1625366"/>
                  <a:pt x="5207223" y="1625366"/>
                  <a:pt x="5207223" y="1623016"/>
                </a:cubicBezTo>
                <a:close/>
                <a:moveTo>
                  <a:pt x="4533123" y="1620668"/>
                </a:moveTo>
                <a:cubicBezTo>
                  <a:pt x="4530775" y="1620668"/>
                  <a:pt x="4526077" y="1623016"/>
                  <a:pt x="4521379" y="1623016"/>
                </a:cubicBezTo>
                <a:cubicBezTo>
                  <a:pt x="4514333" y="1637109"/>
                  <a:pt x="4511984" y="1653550"/>
                  <a:pt x="4497892" y="1662944"/>
                </a:cubicBezTo>
                <a:cubicBezTo>
                  <a:pt x="4497892" y="1662944"/>
                  <a:pt x="4497892" y="1665293"/>
                  <a:pt x="4500241" y="1665293"/>
                </a:cubicBezTo>
                <a:cubicBezTo>
                  <a:pt x="4502589" y="1667642"/>
                  <a:pt x="4504938" y="1667642"/>
                  <a:pt x="4507287" y="1667642"/>
                </a:cubicBezTo>
                <a:cubicBezTo>
                  <a:pt x="4509635" y="1667642"/>
                  <a:pt x="4509635" y="1669991"/>
                  <a:pt x="4509635" y="1669991"/>
                </a:cubicBezTo>
                <a:cubicBezTo>
                  <a:pt x="4519031" y="1662944"/>
                  <a:pt x="4526077" y="1655898"/>
                  <a:pt x="4535472" y="1648853"/>
                </a:cubicBezTo>
                <a:cubicBezTo>
                  <a:pt x="4533123" y="1646504"/>
                  <a:pt x="4533123" y="1644155"/>
                  <a:pt x="4533123" y="1644155"/>
                </a:cubicBezTo>
                <a:cubicBezTo>
                  <a:pt x="4530775" y="1641806"/>
                  <a:pt x="4533123" y="1637109"/>
                  <a:pt x="4533123" y="1634760"/>
                </a:cubicBezTo>
                <a:cubicBezTo>
                  <a:pt x="4533123" y="1630062"/>
                  <a:pt x="4533123" y="1625366"/>
                  <a:pt x="4533123" y="1620668"/>
                </a:cubicBezTo>
                <a:close/>
                <a:moveTo>
                  <a:pt x="5132020" y="1618600"/>
                </a:moveTo>
                <a:lnTo>
                  <a:pt x="5133237" y="1627420"/>
                </a:lnTo>
                <a:cubicBezTo>
                  <a:pt x="5135585" y="1635934"/>
                  <a:pt x="5139109" y="1642980"/>
                  <a:pt x="5143806" y="1644155"/>
                </a:cubicBezTo>
                <a:cubicBezTo>
                  <a:pt x="5143806" y="1646504"/>
                  <a:pt x="5143806" y="1646504"/>
                  <a:pt x="5143806" y="1648853"/>
                </a:cubicBezTo>
                <a:cubicBezTo>
                  <a:pt x="5141457" y="1648853"/>
                  <a:pt x="5141457" y="1648853"/>
                  <a:pt x="5141457" y="1648853"/>
                </a:cubicBezTo>
                <a:lnTo>
                  <a:pt x="5138685" y="1650350"/>
                </a:lnTo>
                <a:lnTo>
                  <a:pt x="5134998" y="1640632"/>
                </a:lnTo>
                <a:cubicBezTo>
                  <a:pt x="5133530" y="1635054"/>
                  <a:pt x="5132503" y="1629182"/>
                  <a:pt x="5131989" y="1623971"/>
                </a:cubicBezTo>
                <a:close/>
                <a:moveTo>
                  <a:pt x="4497892" y="1613673"/>
                </a:moveTo>
                <a:cubicBezTo>
                  <a:pt x="4500241" y="1608976"/>
                  <a:pt x="4504938" y="1618370"/>
                  <a:pt x="4504938" y="1618370"/>
                </a:cubicBezTo>
                <a:cubicBezTo>
                  <a:pt x="4502590" y="1623068"/>
                  <a:pt x="4495543" y="1616022"/>
                  <a:pt x="4497892" y="1613673"/>
                </a:cubicBezTo>
                <a:close/>
                <a:moveTo>
                  <a:pt x="4962950" y="1613622"/>
                </a:moveTo>
                <a:cubicBezTo>
                  <a:pt x="4958252" y="1615971"/>
                  <a:pt x="4951206" y="1620668"/>
                  <a:pt x="4946509" y="1623016"/>
                </a:cubicBezTo>
                <a:cubicBezTo>
                  <a:pt x="4948857" y="1623016"/>
                  <a:pt x="4951206" y="1625366"/>
                  <a:pt x="4953555" y="1627714"/>
                </a:cubicBezTo>
                <a:cubicBezTo>
                  <a:pt x="4953555" y="1625366"/>
                  <a:pt x="4953555" y="1625366"/>
                  <a:pt x="4953555" y="1625366"/>
                </a:cubicBezTo>
                <a:cubicBezTo>
                  <a:pt x="4953555" y="1625366"/>
                  <a:pt x="4955903" y="1625366"/>
                  <a:pt x="4955903" y="1625366"/>
                </a:cubicBezTo>
                <a:cubicBezTo>
                  <a:pt x="4958252" y="1620668"/>
                  <a:pt x="4960601" y="1618320"/>
                  <a:pt x="4962950" y="1613622"/>
                </a:cubicBezTo>
                <a:close/>
                <a:moveTo>
                  <a:pt x="5128859" y="1597181"/>
                </a:moveTo>
                <a:lnTo>
                  <a:pt x="5129713" y="1597181"/>
                </a:lnTo>
                <a:cubicBezTo>
                  <a:pt x="5132062" y="1599529"/>
                  <a:pt x="5132062" y="1599529"/>
                  <a:pt x="5132062" y="1599529"/>
                </a:cubicBezTo>
                <a:cubicBezTo>
                  <a:pt x="5132062" y="1601878"/>
                  <a:pt x="5132062" y="1606576"/>
                  <a:pt x="5132062" y="1611273"/>
                </a:cubicBezTo>
                <a:lnTo>
                  <a:pt x="5132020" y="1618600"/>
                </a:lnTo>
                <a:lnTo>
                  <a:pt x="5129713" y="1601878"/>
                </a:lnTo>
                <a:close/>
                <a:moveTo>
                  <a:pt x="4493194" y="1594832"/>
                </a:moveTo>
                <a:cubicBezTo>
                  <a:pt x="4486148" y="1611273"/>
                  <a:pt x="4476753" y="1627714"/>
                  <a:pt x="4469706" y="1644155"/>
                </a:cubicBezTo>
                <a:cubicBezTo>
                  <a:pt x="4472055" y="1648853"/>
                  <a:pt x="4474404" y="1651202"/>
                  <a:pt x="4476753" y="1655898"/>
                </a:cubicBezTo>
                <a:cubicBezTo>
                  <a:pt x="4486148" y="1641806"/>
                  <a:pt x="4504938" y="1637109"/>
                  <a:pt x="4514333" y="1623016"/>
                </a:cubicBezTo>
                <a:cubicBezTo>
                  <a:pt x="4509635" y="1608924"/>
                  <a:pt x="4504938" y="1597181"/>
                  <a:pt x="4493194" y="1594832"/>
                </a:cubicBezTo>
                <a:close/>
                <a:moveTo>
                  <a:pt x="1623004" y="1590188"/>
                </a:moveTo>
                <a:cubicBezTo>
                  <a:pt x="1623004" y="1592537"/>
                  <a:pt x="1625353" y="1594885"/>
                  <a:pt x="1627703" y="1601931"/>
                </a:cubicBezTo>
                <a:cubicBezTo>
                  <a:pt x="1627703" y="1606628"/>
                  <a:pt x="1627703" y="1608976"/>
                  <a:pt x="1630051" y="1613674"/>
                </a:cubicBezTo>
                <a:cubicBezTo>
                  <a:pt x="1627703" y="1606628"/>
                  <a:pt x="1625353" y="1597234"/>
                  <a:pt x="1623004" y="1590188"/>
                </a:cubicBezTo>
                <a:close/>
                <a:moveTo>
                  <a:pt x="5127364" y="1588958"/>
                </a:moveTo>
                <a:lnTo>
                  <a:pt x="5128859" y="1597181"/>
                </a:lnTo>
                <a:lnTo>
                  <a:pt x="5127364" y="1597181"/>
                </a:lnTo>
                <a:close/>
                <a:moveTo>
                  <a:pt x="4972345" y="1587786"/>
                </a:moveTo>
                <a:cubicBezTo>
                  <a:pt x="4967647" y="1590135"/>
                  <a:pt x="4960601" y="1594832"/>
                  <a:pt x="4955903" y="1597181"/>
                </a:cubicBezTo>
                <a:cubicBezTo>
                  <a:pt x="4960601" y="1597181"/>
                  <a:pt x="4962950" y="1599529"/>
                  <a:pt x="4965299" y="1604227"/>
                </a:cubicBezTo>
                <a:cubicBezTo>
                  <a:pt x="4960601" y="1604227"/>
                  <a:pt x="4948857" y="1601878"/>
                  <a:pt x="4944160" y="1604227"/>
                </a:cubicBezTo>
                <a:cubicBezTo>
                  <a:pt x="4944160" y="1604227"/>
                  <a:pt x="4941811" y="1606576"/>
                  <a:pt x="4941811" y="1606576"/>
                </a:cubicBezTo>
                <a:cubicBezTo>
                  <a:pt x="4939462" y="1608924"/>
                  <a:pt x="4939462" y="1611273"/>
                  <a:pt x="4944160" y="1615971"/>
                </a:cubicBezTo>
                <a:cubicBezTo>
                  <a:pt x="4944160" y="1613622"/>
                  <a:pt x="4941811" y="1613622"/>
                  <a:pt x="4939462" y="1611273"/>
                </a:cubicBezTo>
                <a:cubicBezTo>
                  <a:pt x="4937114" y="1611273"/>
                  <a:pt x="4937114" y="1613622"/>
                  <a:pt x="4934765" y="1613622"/>
                </a:cubicBezTo>
                <a:cubicBezTo>
                  <a:pt x="4932416" y="1613622"/>
                  <a:pt x="4932416" y="1615971"/>
                  <a:pt x="4932416" y="1615971"/>
                </a:cubicBezTo>
                <a:cubicBezTo>
                  <a:pt x="4932416" y="1615971"/>
                  <a:pt x="4930067" y="1618320"/>
                  <a:pt x="4930067" y="1618320"/>
                </a:cubicBezTo>
                <a:cubicBezTo>
                  <a:pt x="4934765" y="1618320"/>
                  <a:pt x="4937114" y="1618320"/>
                  <a:pt x="4941811" y="1620668"/>
                </a:cubicBezTo>
                <a:cubicBezTo>
                  <a:pt x="4948857" y="1613622"/>
                  <a:pt x="4958252" y="1608924"/>
                  <a:pt x="4965299" y="1604227"/>
                </a:cubicBezTo>
                <a:cubicBezTo>
                  <a:pt x="4967647" y="1601878"/>
                  <a:pt x="4967647" y="1601878"/>
                  <a:pt x="4967647" y="1599529"/>
                </a:cubicBezTo>
                <a:cubicBezTo>
                  <a:pt x="4967647" y="1599529"/>
                  <a:pt x="4969996" y="1599529"/>
                  <a:pt x="4969996" y="1599529"/>
                </a:cubicBezTo>
                <a:cubicBezTo>
                  <a:pt x="4969996" y="1597181"/>
                  <a:pt x="4972345" y="1592483"/>
                  <a:pt x="4972345" y="1587786"/>
                </a:cubicBezTo>
                <a:close/>
                <a:moveTo>
                  <a:pt x="4998182" y="1571344"/>
                </a:moveTo>
                <a:cubicBezTo>
                  <a:pt x="4991135" y="1576042"/>
                  <a:pt x="4984089" y="1578390"/>
                  <a:pt x="4979391" y="1580739"/>
                </a:cubicBezTo>
                <a:cubicBezTo>
                  <a:pt x="4979391" y="1583088"/>
                  <a:pt x="4979391" y="1585437"/>
                  <a:pt x="4979391" y="1587786"/>
                </a:cubicBezTo>
                <a:cubicBezTo>
                  <a:pt x="4981740" y="1585437"/>
                  <a:pt x="4984089" y="1580739"/>
                  <a:pt x="4986438" y="1578390"/>
                </a:cubicBezTo>
                <a:cubicBezTo>
                  <a:pt x="4991135" y="1576042"/>
                  <a:pt x="4995833" y="1576042"/>
                  <a:pt x="4998182" y="1571344"/>
                </a:cubicBezTo>
                <a:close/>
                <a:moveTo>
                  <a:pt x="5066296" y="1543158"/>
                </a:moveTo>
                <a:cubicBezTo>
                  <a:pt x="5066296" y="1543158"/>
                  <a:pt x="5066296" y="1543158"/>
                  <a:pt x="5068645" y="1543158"/>
                </a:cubicBezTo>
                <a:lnTo>
                  <a:pt x="5043970" y="1557552"/>
                </a:lnTo>
                <a:lnTo>
                  <a:pt x="5058763" y="1547936"/>
                </a:lnTo>
                <a:lnTo>
                  <a:pt x="5059250" y="1547855"/>
                </a:lnTo>
                <a:cubicBezTo>
                  <a:pt x="5061599" y="1547855"/>
                  <a:pt x="5063947" y="1543158"/>
                  <a:pt x="5066296" y="1543158"/>
                </a:cubicBezTo>
                <a:close/>
                <a:moveTo>
                  <a:pt x="4441521" y="1538460"/>
                </a:moveTo>
                <a:cubicBezTo>
                  <a:pt x="4441521" y="1543158"/>
                  <a:pt x="4441521" y="1547855"/>
                  <a:pt x="4441521" y="1552553"/>
                </a:cubicBezTo>
                <a:cubicBezTo>
                  <a:pt x="4441521" y="1554902"/>
                  <a:pt x="4441521" y="1554902"/>
                  <a:pt x="4441521" y="1557251"/>
                </a:cubicBezTo>
                <a:cubicBezTo>
                  <a:pt x="4448567" y="1554902"/>
                  <a:pt x="4450916" y="1552553"/>
                  <a:pt x="4455614" y="1547855"/>
                </a:cubicBezTo>
                <a:cubicBezTo>
                  <a:pt x="4450916" y="1543158"/>
                  <a:pt x="4446219" y="1543158"/>
                  <a:pt x="4441521" y="1538460"/>
                </a:cubicBezTo>
                <a:close/>
                <a:moveTo>
                  <a:pt x="5087435" y="1531414"/>
                </a:moveTo>
                <a:cubicBezTo>
                  <a:pt x="5085086" y="1533763"/>
                  <a:pt x="5082738" y="1533763"/>
                  <a:pt x="5080389" y="1536111"/>
                </a:cubicBezTo>
                <a:lnTo>
                  <a:pt x="5080389" y="1534937"/>
                </a:lnTo>
                <a:lnTo>
                  <a:pt x="5080389" y="1533763"/>
                </a:lnTo>
                <a:cubicBezTo>
                  <a:pt x="5085086" y="1533763"/>
                  <a:pt x="5087435" y="1531414"/>
                  <a:pt x="5087435" y="1531414"/>
                </a:cubicBezTo>
                <a:close/>
                <a:moveTo>
                  <a:pt x="5096830" y="1526716"/>
                </a:moveTo>
                <a:cubicBezTo>
                  <a:pt x="5094482" y="1529065"/>
                  <a:pt x="5092133" y="1529065"/>
                  <a:pt x="5089784" y="1531414"/>
                </a:cubicBezTo>
                <a:cubicBezTo>
                  <a:pt x="5089784" y="1531414"/>
                  <a:pt x="5092133" y="1529065"/>
                  <a:pt x="5092133" y="1529065"/>
                </a:cubicBezTo>
                <a:cubicBezTo>
                  <a:pt x="5094482" y="1526716"/>
                  <a:pt x="5094482" y="1526716"/>
                  <a:pt x="5096830" y="1526716"/>
                </a:cubicBezTo>
                <a:close/>
                <a:moveTo>
                  <a:pt x="4695189" y="1524366"/>
                </a:moveTo>
                <a:cubicBezTo>
                  <a:pt x="4695189" y="1526716"/>
                  <a:pt x="4695189" y="1529065"/>
                  <a:pt x="4692840" y="1531414"/>
                </a:cubicBezTo>
                <a:cubicBezTo>
                  <a:pt x="4697538" y="1533763"/>
                  <a:pt x="4702236" y="1533763"/>
                  <a:pt x="4706933" y="1533763"/>
                </a:cubicBezTo>
                <a:cubicBezTo>
                  <a:pt x="4704584" y="1529065"/>
                  <a:pt x="4699887" y="1526716"/>
                  <a:pt x="4695189" y="1524366"/>
                </a:cubicBezTo>
                <a:close/>
                <a:moveTo>
                  <a:pt x="4514333" y="1519669"/>
                </a:moveTo>
                <a:lnTo>
                  <a:pt x="4504938" y="1522018"/>
                </a:lnTo>
                <a:cubicBezTo>
                  <a:pt x="4504938" y="1522018"/>
                  <a:pt x="4504938" y="1524366"/>
                  <a:pt x="4504938" y="1524366"/>
                </a:cubicBezTo>
                <a:cubicBezTo>
                  <a:pt x="4507287" y="1529065"/>
                  <a:pt x="4511984" y="1531414"/>
                  <a:pt x="4514333" y="1533763"/>
                </a:cubicBezTo>
                <a:cubicBezTo>
                  <a:pt x="4514333" y="1533763"/>
                  <a:pt x="4514333" y="1536111"/>
                  <a:pt x="4514333" y="1536111"/>
                </a:cubicBezTo>
                <a:cubicBezTo>
                  <a:pt x="4514333" y="1536111"/>
                  <a:pt x="4516682" y="1536111"/>
                  <a:pt x="4516682" y="1536111"/>
                </a:cubicBezTo>
                <a:cubicBezTo>
                  <a:pt x="4519031" y="1538460"/>
                  <a:pt x="4516682" y="1538460"/>
                  <a:pt x="4516682" y="1540809"/>
                </a:cubicBezTo>
                <a:cubicBezTo>
                  <a:pt x="4519031" y="1540809"/>
                  <a:pt x="4519031" y="1543158"/>
                  <a:pt x="4521379" y="1543158"/>
                </a:cubicBezTo>
                <a:cubicBezTo>
                  <a:pt x="4521379" y="1543158"/>
                  <a:pt x="4521379" y="1543158"/>
                  <a:pt x="4521379" y="1545506"/>
                </a:cubicBezTo>
                <a:cubicBezTo>
                  <a:pt x="4521379" y="1545506"/>
                  <a:pt x="4523728" y="1547855"/>
                  <a:pt x="4526077" y="1547855"/>
                </a:cubicBezTo>
                <a:cubicBezTo>
                  <a:pt x="4526077" y="1550204"/>
                  <a:pt x="4533123" y="1559599"/>
                  <a:pt x="4533123" y="1566647"/>
                </a:cubicBezTo>
                <a:cubicBezTo>
                  <a:pt x="4535472" y="1564298"/>
                  <a:pt x="4535472" y="1561949"/>
                  <a:pt x="4537821" y="1561949"/>
                </a:cubicBezTo>
                <a:cubicBezTo>
                  <a:pt x="4542519" y="1559599"/>
                  <a:pt x="4547216" y="1561949"/>
                  <a:pt x="4549565" y="1559599"/>
                </a:cubicBezTo>
                <a:cubicBezTo>
                  <a:pt x="4549565" y="1557251"/>
                  <a:pt x="4551914" y="1552553"/>
                  <a:pt x="4554263" y="1550204"/>
                </a:cubicBezTo>
                <a:cubicBezTo>
                  <a:pt x="4556611" y="1547855"/>
                  <a:pt x="4558960" y="1547855"/>
                  <a:pt x="4561309" y="1547855"/>
                </a:cubicBezTo>
                <a:cubicBezTo>
                  <a:pt x="4563658" y="1545506"/>
                  <a:pt x="4566006" y="1545506"/>
                  <a:pt x="4566006" y="1543158"/>
                </a:cubicBezTo>
                <a:cubicBezTo>
                  <a:pt x="4568355" y="1538460"/>
                  <a:pt x="4568355" y="1529065"/>
                  <a:pt x="4568355" y="1522018"/>
                </a:cubicBezTo>
                <a:cubicBezTo>
                  <a:pt x="4556611" y="1524366"/>
                  <a:pt x="4542519" y="1524366"/>
                  <a:pt x="4528426" y="1522018"/>
                </a:cubicBezTo>
                <a:cubicBezTo>
                  <a:pt x="4523728" y="1522018"/>
                  <a:pt x="4519031" y="1519669"/>
                  <a:pt x="4514333" y="1519669"/>
                </a:cubicBezTo>
                <a:close/>
                <a:moveTo>
                  <a:pt x="4789140" y="1517597"/>
                </a:moveTo>
                <a:lnTo>
                  <a:pt x="4789140" y="1519669"/>
                </a:lnTo>
                <a:lnTo>
                  <a:pt x="4785852" y="1522018"/>
                </a:lnTo>
                <a:lnTo>
                  <a:pt x="4779745" y="1522018"/>
                </a:lnTo>
                <a:close/>
                <a:moveTo>
                  <a:pt x="4605936" y="1517320"/>
                </a:moveTo>
                <a:cubicBezTo>
                  <a:pt x="4598889" y="1519669"/>
                  <a:pt x="4589494" y="1519669"/>
                  <a:pt x="4582448" y="1522018"/>
                </a:cubicBezTo>
                <a:cubicBezTo>
                  <a:pt x="4580099" y="1522018"/>
                  <a:pt x="4577750" y="1522018"/>
                  <a:pt x="4575401" y="1526716"/>
                </a:cubicBezTo>
                <a:cubicBezTo>
                  <a:pt x="4577750" y="1531414"/>
                  <a:pt x="4577750" y="1536111"/>
                  <a:pt x="4577750" y="1540809"/>
                </a:cubicBezTo>
                <a:cubicBezTo>
                  <a:pt x="4584797" y="1538460"/>
                  <a:pt x="4589494" y="1533763"/>
                  <a:pt x="4594192" y="1531414"/>
                </a:cubicBezTo>
                <a:cubicBezTo>
                  <a:pt x="4596541" y="1529065"/>
                  <a:pt x="4598889" y="1529065"/>
                  <a:pt x="4601238" y="1529065"/>
                </a:cubicBezTo>
                <a:cubicBezTo>
                  <a:pt x="4603587" y="1526716"/>
                  <a:pt x="4601238" y="1526716"/>
                  <a:pt x="4605936" y="1524366"/>
                </a:cubicBezTo>
                <a:cubicBezTo>
                  <a:pt x="4605936" y="1522018"/>
                  <a:pt x="4605936" y="1519669"/>
                  <a:pt x="4605936" y="1517320"/>
                </a:cubicBezTo>
                <a:close/>
                <a:moveTo>
                  <a:pt x="5106226" y="1510274"/>
                </a:moveTo>
                <a:cubicBezTo>
                  <a:pt x="5085086" y="1522018"/>
                  <a:pt x="5063947" y="1533763"/>
                  <a:pt x="5042809" y="1545506"/>
                </a:cubicBezTo>
                <a:cubicBezTo>
                  <a:pt x="5047506" y="1545506"/>
                  <a:pt x="5052204" y="1543158"/>
                  <a:pt x="5056901" y="1543158"/>
                </a:cubicBezTo>
                <a:cubicBezTo>
                  <a:pt x="5059250" y="1540809"/>
                  <a:pt x="5059250" y="1538460"/>
                  <a:pt x="5061599" y="1540809"/>
                </a:cubicBezTo>
                <a:cubicBezTo>
                  <a:pt x="5063947" y="1538460"/>
                  <a:pt x="5068645" y="1538460"/>
                  <a:pt x="5070994" y="1538460"/>
                </a:cubicBezTo>
                <a:cubicBezTo>
                  <a:pt x="5075691" y="1533763"/>
                  <a:pt x="5080389" y="1529065"/>
                  <a:pt x="5087435" y="1526716"/>
                </a:cubicBezTo>
                <a:cubicBezTo>
                  <a:pt x="5087435" y="1526716"/>
                  <a:pt x="5087435" y="1524366"/>
                  <a:pt x="5087435" y="1524366"/>
                </a:cubicBezTo>
                <a:cubicBezTo>
                  <a:pt x="5094482" y="1524366"/>
                  <a:pt x="5101528" y="1517320"/>
                  <a:pt x="5106226" y="1510274"/>
                </a:cubicBezTo>
                <a:close/>
                <a:moveTo>
                  <a:pt x="4457962" y="1507925"/>
                </a:moveTo>
                <a:cubicBezTo>
                  <a:pt x="4457962" y="1517320"/>
                  <a:pt x="4460311" y="1524366"/>
                  <a:pt x="4460311" y="1529065"/>
                </a:cubicBezTo>
                <a:cubicBezTo>
                  <a:pt x="4460311" y="1540809"/>
                  <a:pt x="4479102" y="1529065"/>
                  <a:pt x="4483799" y="1538460"/>
                </a:cubicBezTo>
                <a:cubicBezTo>
                  <a:pt x="4481450" y="1561949"/>
                  <a:pt x="4493194" y="1566647"/>
                  <a:pt x="4504938" y="1568995"/>
                </a:cubicBezTo>
                <a:cubicBezTo>
                  <a:pt x="4507287" y="1592483"/>
                  <a:pt x="4511984" y="1613622"/>
                  <a:pt x="4533123" y="1611273"/>
                </a:cubicBezTo>
                <a:cubicBezTo>
                  <a:pt x="4533123" y="1611273"/>
                  <a:pt x="4533123" y="1608924"/>
                  <a:pt x="4533123" y="1608924"/>
                </a:cubicBezTo>
                <a:cubicBezTo>
                  <a:pt x="4533123" y="1606576"/>
                  <a:pt x="4533123" y="1601878"/>
                  <a:pt x="4533123" y="1599529"/>
                </a:cubicBezTo>
                <a:cubicBezTo>
                  <a:pt x="4530775" y="1599529"/>
                  <a:pt x="4528426" y="1599529"/>
                  <a:pt x="4526077" y="1599529"/>
                </a:cubicBezTo>
                <a:cubicBezTo>
                  <a:pt x="4526077" y="1590135"/>
                  <a:pt x="4523728" y="1578390"/>
                  <a:pt x="4523728" y="1568995"/>
                </a:cubicBezTo>
                <a:cubicBezTo>
                  <a:pt x="4523728" y="1568995"/>
                  <a:pt x="4526077" y="1568995"/>
                  <a:pt x="4526077" y="1568995"/>
                </a:cubicBezTo>
                <a:cubicBezTo>
                  <a:pt x="4526077" y="1566647"/>
                  <a:pt x="4526077" y="1566647"/>
                  <a:pt x="4526077" y="1564298"/>
                </a:cubicBezTo>
                <a:cubicBezTo>
                  <a:pt x="4523728" y="1564298"/>
                  <a:pt x="4523728" y="1561949"/>
                  <a:pt x="4521379" y="1561949"/>
                </a:cubicBezTo>
                <a:cubicBezTo>
                  <a:pt x="4521379" y="1559599"/>
                  <a:pt x="4521379" y="1559599"/>
                  <a:pt x="4521379" y="1559599"/>
                </a:cubicBezTo>
                <a:cubicBezTo>
                  <a:pt x="4521379" y="1559599"/>
                  <a:pt x="4519031" y="1557251"/>
                  <a:pt x="4519031" y="1557251"/>
                </a:cubicBezTo>
                <a:cubicBezTo>
                  <a:pt x="4519031" y="1557251"/>
                  <a:pt x="4519031" y="1554902"/>
                  <a:pt x="4519031" y="1554902"/>
                </a:cubicBezTo>
                <a:cubicBezTo>
                  <a:pt x="4516682" y="1552553"/>
                  <a:pt x="4514333" y="1552553"/>
                  <a:pt x="4514333" y="1552553"/>
                </a:cubicBezTo>
                <a:cubicBezTo>
                  <a:pt x="4511984" y="1550204"/>
                  <a:pt x="4516682" y="1550204"/>
                  <a:pt x="4509635" y="1547855"/>
                </a:cubicBezTo>
                <a:cubicBezTo>
                  <a:pt x="4509635" y="1547855"/>
                  <a:pt x="4509635" y="1545506"/>
                  <a:pt x="4509635" y="1545506"/>
                </a:cubicBezTo>
                <a:cubicBezTo>
                  <a:pt x="4507287" y="1545506"/>
                  <a:pt x="4502589" y="1543158"/>
                  <a:pt x="4504938" y="1540809"/>
                </a:cubicBezTo>
                <a:cubicBezTo>
                  <a:pt x="4502589" y="1540809"/>
                  <a:pt x="4502589" y="1538460"/>
                  <a:pt x="4500241" y="1538460"/>
                </a:cubicBezTo>
                <a:cubicBezTo>
                  <a:pt x="4500241" y="1536111"/>
                  <a:pt x="4500241" y="1536111"/>
                  <a:pt x="4500241" y="1533763"/>
                </a:cubicBezTo>
                <a:cubicBezTo>
                  <a:pt x="4500241" y="1531414"/>
                  <a:pt x="4497892" y="1531414"/>
                  <a:pt x="4497892" y="1531414"/>
                </a:cubicBezTo>
                <a:cubicBezTo>
                  <a:pt x="4495543" y="1529065"/>
                  <a:pt x="4497892" y="1524366"/>
                  <a:pt x="4495543" y="1522018"/>
                </a:cubicBezTo>
                <a:cubicBezTo>
                  <a:pt x="4495543" y="1519669"/>
                  <a:pt x="4493194" y="1519669"/>
                  <a:pt x="4493194" y="1519669"/>
                </a:cubicBezTo>
                <a:cubicBezTo>
                  <a:pt x="4493194" y="1517320"/>
                  <a:pt x="4493194" y="1517320"/>
                  <a:pt x="4493194" y="1514971"/>
                </a:cubicBezTo>
                <a:cubicBezTo>
                  <a:pt x="4490846" y="1512623"/>
                  <a:pt x="4490846" y="1512623"/>
                  <a:pt x="4488497" y="1512623"/>
                </a:cubicBezTo>
                <a:cubicBezTo>
                  <a:pt x="4488497" y="1512623"/>
                  <a:pt x="4488497" y="1512623"/>
                  <a:pt x="4488497" y="1510274"/>
                </a:cubicBezTo>
                <a:cubicBezTo>
                  <a:pt x="4479102" y="1507925"/>
                  <a:pt x="4467358" y="1505576"/>
                  <a:pt x="4457962" y="1507925"/>
                </a:cubicBezTo>
                <a:close/>
                <a:moveTo>
                  <a:pt x="2161741" y="1505869"/>
                </a:moveTo>
                <a:cubicBezTo>
                  <a:pt x="2156163" y="1504988"/>
                  <a:pt x="2150291" y="1505576"/>
                  <a:pt x="2146768" y="1507925"/>
                </a:cubicBezTo>
                <a:cubicBezTo>
                  <a:pt x="2144419" y="1510274"/>
                  <a:pt x="2142069" y="1512623"/>
                  <a:pt x="2142069" y="1514971"/>
                </a:cubicBezTo>
                <a:cubicBezTo>
                  <a:pt x="2149117" y="1517320"/>
                  <a:pt x="2158511" y="1517320"/>
                  <a:pt x="2165560" y="1519669"/>
                </a:cubicBezTo>
                <a:cubicBezTo>
                  <a:pt x="2170255" y="1522018"/>
                  <a:pt x="2174953" y="1522018"/>
                  <a:pt x="2179653" y="1522018"/>
                </a:cubicBezTo>
                <a:cubicBezTo>
                  <a:pt x="2177302" y="1519669"/>
                  <a:pt x="2177302" y="1514971"/>
                  <a:pt x="2174953" y="1512623"/>
                </a:cubicBezTo>
                <a:cubicBezTo>
                  <a:pt x="2172604" y="1509099"/>
                  <a:pt x="2167321" y="1506750"/>
                  <a:pt x="2161741" y="1505869"/>
                </a:cubicBezTo>
                <a:close/>
                <a:moveTo>
                  <a:pt x="4650562" y="1503227"/>
                </a:moveTo>
                <a:cubicBezTo>
                  <a:pt x="4648214" y="1505576"/>
                  <a:pt x="4645865" y="1507925"/>
                  <a:pt x="4645865" y="1507925"/>
                </a:cubicBezTo>
                <a:cubicBezTo>
                  <a:pt x="4645865" y="1507925"/>
                  <a:pt x="4643516" y="1507925"/>
                  <a:pt x="4641167" y="1507925"/>
                </a:cubicBezTo>
                <a:cubicBezTo>
                  <a:pt x="4638818" y="1510274"/>
                  <a:pt x="4634121" y="1510274"/>
                  <a:pt x="4631772" y="1510274"/>
                </a:cubicBezTo>
                <a:cubicBezTo>
                  <a:pt x="4629423" y="1512623"/>
                  <a:pt x="4627075" y="1514971"/>
                  <a:pt x="4624726" y="1514971"/>
                </a:cubicBezTo>
                <a:cubicBezTo>
                  <a:pt x="4622377" y="1517320"/>
                  <a:pt x="4617680" y="1514971"/>
                  <a:pt x="4615331" y="1517320"/>
                </a:cubicBezTo>
                <a:cubicBezTo>
                  <a:pt x="4612982" y="1517320"/>
                  <a:pt x="4612982" y="1524366"/>
                  <a:pt x="4612982" y="1526716"/>
                </a:cubicBezTo>
                <a:cubicBezTo>
                  <a:pt x="4608285" y="1526716"/>
                  <a:pt x="4594192" y="1533763"/>
                  <a:pt x="4594192" y="1536111"/>
                </a:cubicBezTo>
                <a:cubicBezTo>
                  <a:pt x="4589494" y="1536111"/>
                  <a:pt x="4580099" y="1543158"/>
                  <a:pt x="4577750" y="1545506"/>
                </a:cubicBezTo>
                <a:cubicBezTo>
                  <a:pt x="4575401" y="1547855"/>
                  <a:pt x="4575401" y="1552553"/>
                  <a:pt x="4573053" y="1552553"/>
                </a:cubicBezTo>
                <a:cubicBezTo>
                  <a:pt x="4573053" y="1552553"/>
                  <a:pt x="4570704" y="1552553"/>
                  <a:pt x="4568355" y="1552553"/>
                </a:cubicBezTo>
                <a:cubicBezTo>
                  <a:pt x="4568355" y="1552553"/>
                  <a:pt x="4568355" y="1557251"/>
                  <a:pt x="4566006" y="1557251"/>
                </a:cubicBezTo>
                <a:cubicBezTo>
                  <a:pt x="4563658" y="1557251"/>
                  <a:pt x="4563658" y="1557251"/>
                  <a:pt x="4561309" y="1557251"/>
                </a:cubicBezTo>
                <a:cubicBezTo>
                  <a:pt x="4561309" y="1557251"/>
                  <a:pt x="4561309" y="1559599"/>
                  <a:pt x="4561309" y="1559599"/>
                </a:cubicBezTo>
                <a:cubicBezTo>
                  <a:pt x="4558960" y="1559599"/>
                  <a:pt x="4558960" y="1561949"/>
                  <a:pt x="4556611" y="1561949"/>
                </a:cubicBezTo>
                <a:cubicBezTo>
                  <a:pt x="4556611" y="1564298"/>
                  <a:pt x="4556611" y="1564298"/>
                  <a:pt x="4556611" y="1566647"/>
                </a:cubicBezTo>
                <a:cubicBezTo>
                  <a:pt x="4554263" y="1568995"/>
                  <a:pt x="4551914" y="1568995"/>
                  <a:pt x="4551914" y="1568995"/>
                </a:cubicBezTo>
                <a:cubicBezTo>
                  <a:pt x="4551914" y="1571344"/>
                  <a:pt x="4551914" y="1571344"/>
                  <a:pt x="4551914" y="1573693"/>
                </a:cubicBezTo>
                <a:cubicBezTo>
                  <a:pt x="4551914" y="1576042"/>
                  <a:pt x="4549565" y="1576042"/>
                  <a:pt x="4549565" y="1576042"/>
                </a:cubicBezTo>
                <a:cubicBezTo>
                  <a:pt x="4549565" y="1576042"/>
                  <a:pt x="4549565" y="1578390"/>
                  <a:pt x="4549565" y="1578390"/>
                </a:cubicBezTo>
                <a:cubicBezTo>
                  <a:pt x="4551914" y="1583088"/>
                  <a:pt x="4554263" y="1585437"/>
                  <a:pt x="4554263" y="1592483"/>
                </a:cubicBezTo>
                <a:cubicBezTo>
                  <a:pt x="4551914" y="1594832"/>
                  <a:pt x="4547216" y="1597181"/>
                  <a:pt x="4542519" y="1599529"/>
                </a:cubicBezTo>
                <a:cubicBezTo>
                  <a:pt x="4542519" y="1601878"/>
                  <a:pt x="4542519" y="1606576"/>
                  <a:pt x="4542519" y="1608924"/>
                </a:cubicBezTo>
                <a:cubicBezTo>
                  <a:pt x="4542519" y="1615971"/>
                  <a:pt x="4542519" y="1623016"/>
                  <a:pt x="4542519" y="1632411"/>
                </a:cubicBezTo>
                <a:cubicBezTo>
                  <a:pt x="4542519" y="1634760"/>
                  <a:pt x="4544867" y="1637109"/>
                  <a:pt x="4544867" y="1639458"/>
                </a:cubicBezTo>
                <a:cubicBezTo>
                  <a:pt x="4547216" y="1639458"/>
                  <a:pt x="4547216" y="1637109"/>
                  <a:pt x="4549565" y="1637109"/>
                </a:cubicBezTo>
                <a:cubicBezTo>
                  <a:pt x="4549565" y="1634760"/>
                  <a:pt x="4549565" y="1634760"/>
                  <a:pt x="4549565" y="1632411"/>
                </a:cubicBezTo>
                <a:cubicBezTo>
                  <a:pt x="4549565" y="1634760"/>
                  <a:pt x="4547216" y="1634760"/>
                  <a:pt x="4547216" y="1637109"/>
                </a:cubicBezTo>
                <a:cubicBezTo>
                  <a:pt x="4547216" y="1632411"/>
                  <a:pt x="4549565" y="1630062"/>
                  <a:pt x="4551914" y="1625366"/>
                </a:cubicBezTo>
                <a:cubicBezTo>
                  <a:pt x="4558960" y="1592483"/>
                  <a:pt x="4577750" y="1561949"/>
                  <a:pt x="4608285" y="1547855"/>
                </a:cubicBezTo>
                <a:cubicBezTo>
                  <a:pt x="4615331" y="1545506"/>
                  <a:pt x="4622377" y="1540809"/>
                  <a:pt x="4629423" y="1538460"/>
                </a:cubicBezTo>
                <a:cubicBezTo>
                  <a:pt x="4638818" y="1526716"/>
                  <a:pt x="4648214" y="1514971"/>
                  <a:pt x="4655260" y="1503227"/>
                </a:cubicBezTo>
                <a:cubicBezTo>
                  <a:pt x="4652911" y="1503227"/>
                  <a:pt x="4652911" y="1503227"/>
                  <a:pt x="4650562" y="1503227"/>
                </a:cubicBezTo>
                <a:close/>
                <a:moveTo>
                  <a:pt x="5151323" y="1502757"/>
                </a:moveTo>
                <a:lnTo>
                  <a:pt x="5153201" y="1503227"/>
                </a:lnTo>
                <a:lnTo>
                  <a:pt x="5147566" y="1506514"/>
                </a:lnTo>
                <a:close/>
                <a:moveTo>
                  <a:pt x="5136760" y="1493832"/>
                </a:moveTo>
                <a:cubicBezTo>
                  <a:pt x="5134411" y="1496180"/>
                  <a:pt x="5132062" y="1496180"/>
                  <a:pt x="5129713" y="1496180"/>
                </a:cubicBezTo>
                <a:cubicBezTo>
                  <a:pt x="5125016" y="1498530"/>
                  <a:pt x="5122667" y="1498530"/>
                  <a:pt x="5120318" y="1500879"/>
                </a:cubicBezTo>
                <a:cubicBezTo>
                  <a:pt x="5115620" y="1503227"/>
                  <a:pt x="5113272" y="1510274"/>
                  <a:pt x="5108574" y="1514971"/>
                </a:cubicBezTo>
                <a:cubicBezTo>
                  <a:pt x="5110923" y="1514971"/>
                  <a:pt x="5113272" y="1514971"/>
                  <a:pt x="5113272" y="1514971"/>
                </a:cubicBezTo>
                <a:cubicBezTo>
                  <a:pt x="5122667" y="1510274"/>
                  <a:pt x="5132062" y="1503227"/>
                  <a:pt x="5141457" y="1498530"/>
                </a:cubicBezTo>
                <a:cubicBezTo>
                  <a:pt x="5141457" y="1496180"/>
                  <a:pt x="5139108" y="1493832"/>
                  <a:pt x="5136760" y="1493832"/>
                </a:cubicBezTo>
                <a:close/>
                <a:moveTo>
                  <a:pt x="4664655" y="1489134"/>
                </a:moveTo>
                <a:cubicBezTo>
                  <a:pt x="4655260" y="1493832"/>
                  <a:pt x="4645865" y="1498530"/>
                  <a:pt x="4636470" y="1503227"/>
                </a:cubicBezTo>
                <a:cubicBezTo>
                  <a:pt x="4638818" y="1503227"/>
                  <a:pt x="4641167" y="1503227"/>
                  <a:pt x="4643516" y="1503227"/>
                </a:cubicBezTo>
                <a:cubicBezTo>
                  <a:pt x="4645865" y="1500879"/>
                  <a:pt x="4645865" y="1498530"/>
                  <a:pt x="4648214" y="1498530"/>
                </a:cubicBezTo>
                <a:cubicBezTo>
                  <a:pt x="4652911" y="1498530"/>
                  <a:pt x="4655260" y="1496180"/>
                  <a:pt x="4659958" y="1496180"/>
                </a:cubicBezTo>
                <a:cubicBezTo>
                  <a:pt x="4662306" y="1493832"/>
                  <a:pt x="4662306" y="1491483"/>
                  <a:pt x="4664655" y="1489134"/>
                </a:cubicBezTo>
                <a:close/>
                <a:moveTo>
                  <a:pt x="4681096" y="1482087"/>
                </a:moveTo>
                <a:cubicBezTo>
                  <a:pt x="4676399" y="1486785"/>
                  <a:pt x="4674050" y="1491483"/>
                  <a:pt x="4671702" y="1498530"/>
                </a:cubicBezTo>
                <a:cubicBezTo>
                  <a:pt x="4669353" y="1498530"/>
                  <a:pt x="4669353" y="1498530"/>
                  <a:pt x="4667004" y="1498530"/>
                </a:cubicBezTo>
                <a:cubicBezTo>
                  <a:pt x="4664655" y="1505576"/>
                  <a:pt x="4662306" y="1512623"/>
                  <a:pt x="4662306" y="1519669"/>
                </a:cubicBezTo>
                <a:cubicBezTo>
                  <a:pt x="4674050" y="1522018"/>
                  <a:pt x="4669353" y="1507925"/>
                  <a:pt x="4683445" y="1512623"/>
                </a:cubicBezTo>
                <a:cubicBezTo>
                  <a:pt x="4690492" y="1503227"/>
                  <a:pt x="4681096" y="1491483"/>
                  <a:pt x="4681096" y="1482087"/>
                </a:cubicBezTo>
                <a:close/>
                <a:moveTo>
                  <a:pt x="4725723" y="1477390"/>
                </a:moveTo>
                <a:cubicBezTo>
                  <a:pt x="4723375" y="1482087"/>
                  <a:pt x="4721026" y="1484436"/>
                  <a:pt x="4716328" y="1486785"/>
                </a:cubicBezTo>
                <a:cubicBezTo>
                  <a:pt x="4718677" y="1493832"/>
                  <a:pt x="4728072" y="1493832"/>
                  <a:pt x="4732770" y="1496180"/>
                </a:cubicBezTo>
                <a:cubicBezTo>
                  <a:pt x="4711631" y="1491483"/>
                  <a:pt x="4702236" y="1524366"/>
                  <a:pt x="4716328" y="1538460"/>
                </a:cubicBezTo>
                <a:cubicBezTo>
                  <a:pt x="4718677" y="1538460"/>
                  <a:pt x="4721026" y="1540809"/>
                  <a:pt x="4723375" y="1540809"/>
                </a:cubicBezTo>
                <a:cubicBezTo>
                  <a:pt x="4732770" y="1536111"/>
                  <a:pt x="4739816" y="1531414"/>
                  <a:pt x="4749211" y="1524366"/>
                </a:cubicBezTo>
                <a:cubicBezTo>
                  <a:pt x="4749211" y="1522018"/>
                  <a:pt x="4749211" y="1519669"/>
                  <a:pt x="4749211" y="1517320"/>
                </a:cubicBezTo>
                <a:cubicBezTo>
                  <a:pt x="4744513" y="1514971"/>
                  <a:pt x="4737467" y="1507925"/>
                  <a:pt x="4732770" y="1503227"/>
                </a:cubicBezTo>
                <a:cubicBezTo>
                  <a:pt x="4732770" y="1500879"/>
                  <a:pt x="4732770" y="1498530"/>
                  <a:pt x="4732770" y="1496180"/>
                </a:cubicBezTo>
                <a:cubicBezTo>
                  <a:pt x="4735118" y="1493832"/>
                  <a:pt x="4735118" y="1491483"/>
                  <a:pt x="4732770" y="1489134"/>
                </a:cubicBezTo>
                <a:cubicBezTo>
                  <a:pt x="4730421" y="1486785"/>
                  <a:pt x="4728072" y="1486785"/>
                  <a:pt x="4728072" y="1486785"/>
                </a:cubicBezTo>
                <a:cubicBezTo>
                  <a:pt x="4728072" y="1486785"/>
                  <a:pt x="4725723" y="1479739"/>
                  <a:pt x="4725723" y="1477390"/>
                </a:cubicBezTo>
                <a:close/>
                <a:moveTo>
                  <a:pt x="4876759" y="1472900"/>
                </a:moveTo>
                <a:lnTo>
                  <a:pt x="4808238" y="1515926"/>
                </a:lnTo>
                <a:lnTo>
                  <a:pt x="4814977" y="1505576"/>
                </a:lnTo>
                <a:cubicBezTo>
                  <a:pt x="4807931" y="1507925"/>
                  <a:pt x="4800884" y="1512623"/>
                  <a:pt x="4793838" y="1517320"/>
                </a:cubicBezTo>
                <a:lnTo>
                  <a:pt x="4793838" y="1515386"/>
                </a:lnTo>
                <a:lnTo>
                  <a:pt x="4819675" y="1503227"/>
                </a:lnTo>
                <a:close/>
                <a:moveTo>
                  <a:pt x="1634751" y="1463354"/>
                </a:moveTo>
                <a:cubicBezTo>
                  <a:pt x="1618308" y="1503283"/>
                  <a:pt x="1613609" y="1545561"/>
                  <a:pt x="1625353" y="1590188"/>
                </a:cubicBezTo>
                <a:cubicBezTo>
                  <a:pt x="1620659" y="1583142"/>
                  <a:pt x="1620659" y="1601932"/>
                  <a:pt x="1618308" y="1597234"/>
                </a:cubicBezTo>
                <a:cubicBezTo>
                  <a:pt x="1618308" y="1594886"/>
                  <a:pt x="1613609" y="1585490"/>
                  <a:pt x="1613609" y="1564353"/>
                </a:cubicBezTo>
                <a:cubicBezTo>
                  <a:pt x="1611260" y="1543213"/>
                  <a:pt x="1613609" y="1507982"/>
                  <a:pt x="1634751" y="1463354"/>
                </a:cubicBezTo>
                <a:close/>
                <a:moveTo>
                  <a:pt x="4909130" y="1456149"/>
                </a:moveTo>
                <a:lnTo>
                  <a:pt x="4899533" y="1460947"/>
                </a:lnTo>
                <a:lnTo>
                  <a:pt x="4894835" y="1463296"/>
                </a:lnTo>
                <a:lnTo>
                  <a:pt x="4876759" y="1472900"/>
                </a:lnTo>
                <a:lnTo>
                  <a:pt x="4899533" y="1458599"/>
                </a:lnTo>
                <a:close/>
                <a:moveTo>
                  <a:pt x="1998794" y="1451552"/>
                </a:moveTo>
                <a:cubicBezTo>
                  <a:pt x="2003492" y="1453901"/>
                  <a:pt x="2008192" y="1456250"/>
                  <a:pt x="2010542" y="1458599"/>
                </a:cubicBezTo>
                <a:cubicBezTo>
                  <a:pt x="2008192" y="1456250"/>
                  <a:pt x="2005841" y="1451552"/>
                  <a:pt x="2003492" y="1451552"/>
                </a:cubicBezTo>
                <a:cubicBezTo>
                  <a:pt x="2001143" y="1451552"/>
                  <a:pt x="2001143" y="1451552"/>
                  <a:pt x="1998794" y="1451552"/>
                </a:cubicBezTo>
                <a:close/>
                <a:moveTo>
                  <a:pt x="4704584" y="1446855"/>
                </a:moveTo>
                <a:cubicBezTo>
                  <a:pt x="4699887" y="1451552"/>
                  <a:pt x="4697538" y="1456250"/>
                  <a:pt x="4692840" y="1460947"/>
                </a:cubicBezTo>
                <a:cubicBezTo>
                  <a:pt x="4692840" y="1463296"/>
                  <a:pt x="4692840" y="1465646"/>
                  <a:pt x="4690492" y="1467995"/>
                </a:cubicBezTo>
                <a:cubicBezTo>
                  <a:pt x="4688143" y="1472692"/>
                  <a:pt x="4685794" y="1475041"/>
                  <a:pt x="4685794" y="1479739"/>
                </a:cubicBezTo>
                <a:cubicBezTo>
                  <a:pt x="4709282" y="1489134"/>
                  <a:pt x="4706933" y="1465646"/>
                  <a:pt x="4725723" y="1467995"/>
                </a:cubicBezTo>
                <a:cubicBezTo>
                  <a:pt x="4723375" y="1467995"/>
                  <a:pt x="4723375" y="1467995"/>
                  <a:pt x="4723375" y="1467995"/>
                </a:cubicBezTo>
                <a:cubicBezTo>
                  <a:pt x="4723375" y="1467995"/>
                  <a:pt x="4723375" y="1465646"/>
                  <a:pt x="4723375" y="1465646"/>
                </a:cubicBezTo>
                <a:cubicBezTo>
                  <a:pt x="4723375" y="1465646"/>
                  <a:pt x="4721026" y="1463296"/>
                  <a:pt x="4721026" y="1463296"/>
                </a:cubicBezTo>
                <a:cubicBezTo>
                  <a:pt x="4718677" y="1465646"/>
                  <a:pt x="4716328" y="1465646"/>
                  <a:pt x="4713980" y="1465646"/>
                </a:cubicBezTo>
                <a:cubicBezTo>
                  <a:pt x="4713980" y="1460947"/>
                  <a:pt x="4716328" y="1460947"/>
                  <a:pt x="4716328" y="1458599"/>
                </a:cubicBezTo>
                <a:cubicBezTo>
                  <a:pt x="4713980" y="1453901"/>
                  <a:pt x="4711631" y="1451552"/>
                  <a:pt x="4711631" y="1451552"/>
                </a:cubicBezTo>
                <a:cubicBezTo>
                  <a:pt x="4709282" y="1449204"/>
                  <a:pt x="4709282" y="1449204"/>
                  <a:pt x="4706933" y="1449204"/>
                </a:cubicBezTo>
                <a:cubicBezTo>
                  <a:pt x="4706933" y="1449204"/>
                  <a:pt x="4706933" y="1446855"/>
                  <a:pt x="4706933" y="1446855"/>
                </a:cubicBezTo>
                <a:cubicBezTo>
                  <a:pt x="4704584" y="1446855"/>
                  <a:pt x="4704584" y="1446855"/>
                  <a:pt x="4704584" y="1446855"/>
                </a:cubicBezTo>
                <a:close/>
                <a:moveTo>
                  <a:pt x="4775048" y="1442157"/>
                </a:moveTo>
                <a:cubicBezTo>
                  <a:pt x="4777397" y="1442157"/>
                  <a:pt x="4777397" y="1442157"/>
                  <a:pt x="4779745" y="1442157"/>
                </a:cubicBezTo>
                <a:cubicBezTo>
                  <a:pt x="4782094" y="1444506"/>
                  <a:pt x="4782094" y="1444506"/>
                  <a:pt x="4782094" y="1444506"/>
                </a:cubicBezTo>
                <a:cubicBezTo>
                  <a:pt x="4779745" y="1449204"/>
                  <a:pt x="4777397" y="1460947"/>
                  <a:pt x="4779745" y="1465646"/>
                </a:cubicBezTo>
                <a:cubicBezTo>
                  <a:pt x="4779745" y="1467995"/>
                  <a:pt x="4779745" y="1467995"/>
                  <a:pt x="4782094" y="1467995"/>
                </a:cubicBezTo>
                <a:cubicBezTo>
                  <a:pt x="4784443" y="1465646"/>
                  <a:pt x="4786792" y="1460947"/>
                  <a:pt x="4791489" y="1458599"/>
                </a:cubicBezTo>
                <a:cubicBezTo>
                  <a:pt x="4793838" y="1460947"/>
                  <a:pt x="4791489" y="1458599"/>
                  <a:pt x="4793838" y="1460947"/>
                </a:cubicBezTo>
                <a:cubicBezTo>
                  <a:pt x="4793838" y="1463296"/>
                  <a:pt x="4789140" y="1470344"/>
                  <a:pt x="4786792" y="1472692"/>
                </a:cubicBezTo>
                <a:cubicBezTo>
                  <a:pt x="4782094" y="1475041"/>
                  <a:pt x="4779745" y="1472692"/>
                  <a:pt x="4777397" y="1479739"/>
                </a:cubicBezTo>
                <a:cubicBezTo>
                  <a:pt x="4779745" y="1482087"/>
                  <a:pt x="4789140" y="1505576"/>
                  <a:pt x="4789140" y="1507925"/>
                </a:cubicBezTo>
                <a:cubicBezTo>
                  <a:pt x="4791489" y="1507925"/>
                  <a:pt x="4791489" y="1507925"/>
                  <a:pt x="4793838" y="1507925"/>
                </a:cubicBezTo>
                <a:cubicBezTo>
                  <a:pt x="4793838" y="1510274"/>
                  <a:pt x="4793838" y="1512623"/>
                  <a:pt x="4793838" y="1514971"/>
                </a:cubicBezTo>
                <a:lnTo>
                  <a:pt x="4793838" y="1515386"/>
                </a:lnTo>
                <a:lnTo>
                  <a:pt x="4789140" y="1517597"/>
                </a:lnTo>
                <a:lnTo>
                  <a:pt x="4789140" y="1510274"/>
                </a:lnTo>
                <a:cubicBezTo>
                  <a:pt x="4786792" y="1510274"/>
                  <a:pt x="4786792" y="1510274"/>
                  <a:pt x="4784443" y="1510274"/>
                </a:cubicBezTo>
                <a:cubicBezTo>
                  <a:pt x="4782094" y="1503227"/>
                  <a:pt x="4779745" y="1500879"/>
                  <a:pt x="4777397" y="1493832"/>
                </a:cubicBezTo>
                <a:cubicBezTo>
                  <a:pt x="4775048" y="1491483"/>
                  <a:pt x="4777397" y="1486785"/>
                  <a:pt x="4775048" y="1484436"/>
                </a:cubicBezTo>
                <a:cubicBezTo>
                  <a:pt x="4775048" y="1482087"/>
                  <a:pt x="4770350" y="1482087"/>
                  <a:pt x="4770350" y="1479739"/>
                </a:cubicBezTo>
                <a:cubicBezTo>
                  <a:pt x="4772699" y="1477390"/>
                  <a:pt x="4770350" y="1475041"/>
                  <a:pt x="4770350" y="1472692"/>
                </a:cubicBezTo>
                <a:cubicBezTo>
                  <a:pt x="4770350" y="1470344"/>
                  <a:pt x="4772699" y="1467995"/>
                  <a:pt x="4772699" y="1467995"/>
                </a:cubicBezTo>
                <a:cubicBezTo>
                  <a:pt x="4775048" y="1460947"/>
                  <a:pt x="4768001" y="1449204"/>
                  <a:pt x="4775048" y="1442157"/>
                </a:cubicBezTo>
                <a:close/>
                <a:moveTo>
                  <a:pt x="4721026" y="1435111"/>
                </a:moveTo>
                <a:cubicBezTo>
                  <a:pt x="4716328" y="1437460"/>
                  <a:pt x="4711631" y="1439808"/>
                  <a:pt x="4709282" y="1444506"/>
                </a:cubicBezTo>
                <a:cubicBezTo>
                  <a:pt x="4711631" y="1446855"/>
                  <a:pt x="4716328" y="1451552"/>
                  <a:pt x="4718677" y="1453901"/>
                </a:cubicBezTo>
                <a:cubicBezTo>
                  <a:pt x="4721026" y="1453901"/>
                  <a:pt x="4725723" y="1453901"/>
                  <a:pt x="4728072" y="1453901"/>
                </a:cubicBezTo>
                <a:cubicBezTo>
                  <a:pt x="4728072" y="1451552"/>
                  <a:pt x="4728072" y="1449204"/>
                  <a:pt x="4728072" y="1446855"/>
                </a:cubicBezTo>
                <a:cubicBezTo>
                  <a:pt x="4728072" y="1444506"/>
                  <a:pt x="4723375" y="1442157"/>
                  <a:pt x="4723375" y="1435111"/>
                </a:cubicBezTo>
                <a:cubicBezTo>
                  <a:pt x="4723375" y="1435111"/>
                  <a:pt x="4721026" y="1435111"/>
                  <a:pt x="4721026" y="1435111"/>
                </a:cubicBezTo>
                <a:close/>
                <a:moveTo>
                  <a:pt x="4716328" y="1423366"/>
                </a:moveTo>
                <a:cubicBezTo>
                  <a:pt x="4716328" y="1425715"/>
                  <a:pt x="4713980" y="1430412"/>
                  <a:pt x="4711631" y="1435111"/>
                </a:cubicBezTo>
                <a:cubicBezTo>
                  <a:pt x="4711631" y="1432761"/>
                  <a:pt x="4713980" y="1430412"/>
                  <a:pt x="4716328" y="1430412"/>
                </a:cubicBezTo>
                <a:cubicBezTo>
                  <a:pt x="4716328" y="1428064"/>
                  <a:pt x="4716328" y="1425715"/>
                  <a:pt x="4716328" y="1423366"/>
                </a:cubicBezTo>
                <a:close/>
                <a:moveTo>
                  <a:pt x="4993484" y="1413971"/>
                </a:moveTo>
                <a:cubicBezTo>
                  <a:pt x="4993484" y="1416320"/>
                  <a:pt x="4993484" y="1416320"/>
                  <a:pt x="4993484" y="1418668"/>
                </a:cubicBezTo>
                <a:cubicBezTo>
                  <a:pt x="4993484" y="1418668"/>
                  <a:pt x="4993484" y="1421017"/>
                  <a:pt x="4995833" y="1421017"/>
                </a:cubicBezTo>
                <a:cubicBezTo>
                  <a:pt x="4972345" y="1430412"/>
                  <a:pt x="4948857" y="1442157"/>
                  <a:pt x="4925370" y="1451552"/>
                </a:cubicBezTo>
                <a:cubicBezTo>
                  <a:pt x="4919498" y="1453901"/>
                  <a:pt x="4916562" y="1454488"/>
                  <a:pt x="4913333" y="1455076"/>
                </a:cubicBezTo>
                <a:lnTo>
                  <a:pt x="4909130" y="1456149"/>
                </a:lnTo>
                <a:close/>
                <a:moveTo>
                  <a:pt x="5008387" y="1413404"/>
                </a:moveTo>
                <a:lnTo>
                  <a:pt x="5009249" y="1420301"/>
                </a:lnTo>
                <a:lnTo>
                  <a:pt x="5007577" y="1421017"/>
                </a:lnTo>
                <a:cubicBezTo>
                  <a:pt x="5007577" y="1418668"/>
                  <a:pt x="5007577" y="1418668"/>
                  <a:pt x="5007577" y="1416320"/>
                </a:cubicBezTo>
                <a:lnTo>
                  <a:pt x="5007510" y="1414865"/>
                </a:lnTo>
                <a:close/>
                <a:moveTo>
                  <a:pt x="5007259" y="1409432"/>
                </a:moveTo>
                <a:lnTo>
                  <a:pt x="5007510" y="1414865"/>
                </a:lnTo>
                <a:lnTo>
                  <a:pt x="5005228" y="1418668"/>
                </a:lnTo>
                <a:cubicBezTo>
                  <a:pt x="5002879" y="1418668"/>
                  <a:pt x="5002879" y="1421017"/>
                  <a:pt x="5000531" y="1421017"/>
                </a:cubicBezTo>
                <a:cubicBezTo>
                  <a:pt x="4998182" y="1418668"/>
                  <a:pt x="4998182" y="1416320"/>
                  <a:pt x="4998182" y="1413971"/>
                </a:cubicBezTo>
                <a:close/>
                <a:moveTo>
                  <a:pt x="5012274" y="1406925"/>
                </a:moveTo>
                <a:lnTo>
                  <a:pt x="5008387" y="1413404"/>
                </a:lnTo>
                <a:lnTo>
                  <a:pt x="5007853" y="1409135"/>
                </a:lnTo>
                <a:close/>
                <a:moveTo>
                  <a:pt x="2750842" y="1406117"/>
                </a:moveTo>
                <a:cubicBezTo>
                  <a:pt x="2748640" y="1403695"/>
                  <a:pt x="2713408" y="1415145"/>
                  <a:pt x="2736308" y="1418668"/>
                </a:cubicBezTo>
                <a:cubicBezTo>
                  <a:pt x="2736308" y="1421017"/>
                  <a:pt x="2738657" y="1413971"/>
                  <a:pt x="2738657" y="1413971"/>
                </a:cubicBezTo>
                <a:cubicBezTo>
                  <a:pt x="2748640" y="1409273"/>
                  <a:pt x="2751576" y="1406924"/>
                  <a:pt x="2750842" y="1406117"/>
                </a:cubicBezTo>
                <a:close/>
                <a:moveTo>
                  <a:pt x="5016972" y="1404576"/>
                </a:moveTo>
                <a:cubicBezTo>
                  <a:pt x="5016972" y="1404576"/>
                  <a:pt x="5019321" y="1404576"/>
                  <a:pt x="5019321" y="1404576"/>
                </a:cubicBezTo>
                <a:cubicBezTo>
                  <a:pt x="5019321" y="1406925"/>
                  <a:pt x="5019321" y="1409273"/>
                  <a:pt x="5016972" y="1411622"/>
                </a:cubicBezTo>
                <a:cubicBezTo>
                  <a:pt x="5014623" y="1411622"/>
                  <a:pt x="5014623" y="1413971"/>
                  <a:pt x="5012274" y="1413971"/>
                </a:cubicBezTo>
                <a:cubicBezTo>
                  <a:pt x="5016972" y="1411622"/>
                  <a:pt x="5016972" y="1409273"/>
                  <a:pt x="5016972" y="1404576"/>
                </a:cubicBezTo>
                <a:close/>
                <a:moveTo>
                  <a:pt x="5029447" y="1399460"/>
                </a:moveTo>
                <a:lnTo>
                  <a:pt x="5028716" y="1404576"/>
                </a:lnTo>
                <a:lnTo>
                  <a:pt x="5028716" y="1399877"/>
                </a:lnTo>
                <a:close/>
                <a:moveTo>
                  <a:pt x="5045157" y="1390482"/>
                </a:moveTo>
                <a:cubicBezTo>
                  <a:pt x="5042809" y="1395180"/>
                  <a:pt x="5040460" y="1399877"/>
                  <a:pt x="5038111" y="1404576"/>
                </a:cubicBezTo>
                <a:lnTo>
                  <a:pt x="5031065" y="1408098"/>
                </a:lnTo>
                <a:lnTo>
                  <a:pt x="5031065" y="1402227"/>
                </a:lnTo>
                <a:cubicBezTo>
                  <a:pt x="5031065" y="1399877"/>
                  <a:pt x="5033413" y="1399877"/>
                  <a:pt x="5035762" y="1397528"/>
                </a:cubicBezTo>
                <a:lnTo>
                  <a:pt x="5035762" y="1395851"/>
                </a:lnTo>
                <a:close/>
                <a:moveTo>
                  <a:pt x="5060693" y="1384596"/>
                </a:moveTo>
                <a:lnTo>
                  <a:pt x="5052204" y="1399877"/>
                </a:lnTo>
                <a:lnTo>
                  <a:pt x="5047506" y="1401965"/>
                </a:lnTo>
                <a:lnTo>
                  <a:pt x="5047506" y="1395180"/>
                </a:lnTo>
                <a:cubicBezTo>
                  <a:pt x="5047506" y="1395180"/>
                  <a:pt x="5049855" y="1392831"/>
                  <a:pt x="5049855" y="1392831"/>
                </a:cubicBezTo>
                <a:cubicBezTo>
                  <a:pt x="5049855" y="1390482"/>
                  <a:pt x="5052204" y="1388133"/>
                  <a:pt x="5052204" y="1388133"/>
                </a:cubicBezTo>
                <a:close/>
                <a:moveTo>
                  <a:pt x="5007577" y="1378738"/>
                </a:moveTo>
                <a:cubicBezTo>
                  <a:pt x="5007577" y="1383436"/>
                  <a:pt x="5009925" y="1383436"/>
                  <a:pt x="5009925" y="1388133"/>
                </a:cubicBezTo>
                <a:cubicBezTo>
                  <a:pt x="5009925" y="1392831"/>
                  <a:pt x="5007577" y="1402227"/>
                  <a:pt x="5007577" y="1406925"/>
                </a:cubicBezTo>
                <a:lnTo>
                  <a:pt x="5007853" y="1409135"/>
                </a:lnTo>
                <a:lnTo>
                  <a:pt x="5007259" y="1409432"/>
                </a:lnTo>
                <a:lnTo>
                  <a:pt x="5006696" y="1397235"/>
                </a:lnTo>
                <a:lnTo>
                  <a:pt x="5007477" y="1378763"/>
                </a:lnTo>
                <a:close/>
                <a:moveTo>
                  <a:pt x="4283089" y="1372851"/>
                </a:moveTo>
                <a:cubicBezTo>
                  <a:pt x="4283713" y="1372190"/>
                  <a:pt x="4282978" y="1373511"/>
                  <a:pt x="4279455" y="1378796"/>
                </a:cubicBezTo>
                <a:cubicBezTo>
                  <a:pt x="4267125" y="1394651"/>
                  <a:pt x="4281217" y="1374832"/>
                  <a:pt x="4283089" y="1372851"/>
                </a:cubicBezTo>
                <a:close/>
                <a:moveTo>
                  <a:pt x="5059250" y="1371692"/>
                </a:moveTo>
                <a:cubicBezTo>
                  <a:pt x="5063947" y="1371692"/>
                  <a:pt x="5068645" y="1371692"/>
                  <a:pt x="5070994" y="1371692"/>
                </a:cubicBezTo>
                <a:lnTo>
                  <a:pt x="5068939" y="1375802"/>
                </a:lnTo>
                <a:lnTo>
                  <a:pt x="5061599" y="1378738"/>
                </a:lnTo>
                <a:cubicBezTo>
                  <a:pt x="5059250" y="1381087"/>
                  <a:pt x="5056901" y="1383436"/>
                  <a:pt x="5054552" y="1381087"/>
                </a:cubicBezTo>
                <a:cubicBezTo>
                  <a:pt x="5056901" y="1378738"/>
                  <a:pt x="5059250" y="1376389"/>
                  <a:pt x="5059250" y="1371692"/>
                </a:cubicBezTo>
                <a:close/>
                <a:moveTo>
                  <a:pt x="2088048" y="1369342"/>
                </a:moveTo>
                <a:cubicBezTo>
                  <a:pt x="2090397" y="1371692"/>
                  <a:pt x="2090397" y="1374041"/>
                  <a:pt x="2092747" y="1376389"/>
                </a:cubicBezTo>
                <a:cubicBezTo>
                  <a:pt x="2095097" y="1381087"/>
                  <a:pt x="2099792" y="1385785"/>
                  <a:pt x="2102140" y="1388133"/>
                </a:cubicBezTo>
                <a:lnTo>
                  <a:pt x="2105626" y="1392488"/>
                </a:lnTo>
                <a:lnTo>
                  <a:pt x="2106840" y="1397528"/>
                </a:lnTo>
                <a:cubicBezTo>
                  <a:pt x="2104489" y="1395180"/>
                  <a:pt x="2104489" y="1395180"/>
                  <a:pt x="2102140" y="1392831"/>
                </a:cubicBezTo>
                <a:lnTo>
                  <a:pt x="2083690" y="1369768"/>
                </a:lnTo>
                <a:close/>
                <a:moveTo>
                  <a:pt x="2083350" y="1369342"/>
                </a:moveTo>
                <a:lnTo>
                  <a:pt x="2083690" y="1369768"/>
                </a:lnTo>
                <a:lnTo>
                  <a:pt x="2076014" y="1370517"/>
                </a:lnTo>
                <a:cubicBezTo>
                  <a:pt x="2072194" y="1371104"/>
                  <a:pt x="2069258" y="1371692"/>
                  <a:pt x="2069258" y="1371692"/>
                </a:cubicBezTo>
                <a:cubicBezTo>
                  <a:pt x="2055165" y="1383436"/>
                  <a:pt x="2066912" y="1411622"/>
                  <a:pt x="2057514" y="1428064"/>
                </a:cubicBezTo>
                <a:cubicBezTo>
                  <a:pt x="2048119" y="1442157"/>
                  <a:pt x="2036377" y="1458599"/>
                  <a:pt x="2019934" y="1460947"/>
                </a:cubicBezTo>
                <a:cubicBezTo>
                  <a:pt x="2031677" y="1465646"/>
                  <a:pt x="2041077" y="1472692"/>
                  <a:pt x="2052819" y="1477390"/>
                </a:cubicBezTo>
                <a:cubicBezTo>
                  <a:pt x="2055165" y="1475041"/>
                  <a:pt x="2059862" y="1475041"/>
                  <a:pt x="2062212" y="1472692"/>
                </a:cubicBezTo>
                <a:cubicBezTo>
                  <a:pt x="2062212" y="1479739"/>
                  <a:pt x="2064562" y="1482087"/>
                  <a:pt x="2064562" y="1484436"/>
                </a:cubicBezTo>
                <a:cubicBezTo>
                  <a:pt x="2078654" y="1491483"/>
                  <a:pt x="2090397" y="1496180"/>
                  <a:pt x="2102140" y="1500879"/>
                </a:cubicBezTo>
                <a:cubicBezTo>
                  <a:pt x="2102140" y="1498530"/>
                  <a:pt x="2099792" y="1498530"/>
                  <a:pt x="2099792" y="1496180"/>
                </a:cubicBezTo>
                <a:cubicBezTo>
                  <a:pt x="2102140" y="1498530"/>
                  <a:pt x="2106840" y="1503227"/>
                  <a:pt x="2111536" y="1503227"/>
                </a:cubicBezTo>
                <a:cubicBezTo>
                  <a:pt x="2118582" y="1503227"/>
                  <a:pt x="2125633" y="1500879"/>
                  <a:pt x="2130325" y="1496180"/>
                </a:cubicBezTo>
                <a:cubicBezTo>
                  <a:pt x="2132675" y="1491483"/>
                  <a:pt x="2132675" y="1484436"/>
                  <a:pt x="2132675" y="1482087"/>
                </a:cubicBezTo>
                <a:cubicBezTo>
                  <a:pt x="2123282" y="1463296"/>
                  <a:pt x="2090397" y="1458599"/>
                  <a:pt x="2092747" y="1439808"/>
                </a:cubicBezTo>
                <a:cubicBezTo>
                  <a:pt x="2092747" y="1432761"/>
                  <a:pt x="2097443" y="1430412"/>
                  <a:pt x="2104489" y="1425715"/>
                </a:cubicBezTo>
                <a:cubicBezTo>
                  <a:pt x="2109190" y="1416320"/>
                  <a:pt x="2111536" y="1406925"/>
                  <a:pt x="2111536" y="1399877"/>
                </a:cubicBezTo>
                <a:lnTo>
                  <a:pt x="2105626" y="1392488"/>
                </a:lnTo>
                <a:lnTo>
                  <a:pt x="2103022" y="1381674"/>
                </a:lnTo>
                <a:cubicBezTo>
                  <a:pt x="2100379" y="1376976"/>
                  <a:pt x="2096269" y="1372865"/>
                  <a:pt x="2090397" y="1369342"/>
                </a:cubicBezTo>
                <a:lnTo>
                  <a:pt x="2088048" y="1369342"/>
                </a:lnTo>
                <a:close/>
                <a:moveTo>
                  <a:pt x="5111706" y="1367776"/>
                </a:moveTo>
                <a:lnTo>
                  <a:pt x="5110923" y="1369342"/>
                </a:lnTo>
                <a:cubicBezTo>
                  <a:pt x="5106226" y="1371692"/>
                  <a:pt x="5101528" y="1374041"/>
                  <a:pt x="5096830" y="1376389"/>
                </a:cubicBezTo>
                <a:cubicBezTo>
                  <a:pt x="5092133" y="1376389"/>
                  <a:pt x="5085086" y="1376389"/>
                  <a:pt x="5085086" y="1381087"/>
                </a:cubicBezTo>
                <a:lnTo>
                  <a:pt x="5080389" y="1381087"/>
                </a:lnTo>
                <a:lnTo>
                  <a:pt x="5074125" y="1378999"/>
                </a:lnTo>
                <a:lnTo>
                  <a:pt x="5080389" y="1376389"/>
                </a:lnTo>
                <a:cubicBezTo>
                  <a:pt x="5082738" y="1376389"/>
                  <a:pt x="5082738" y="1376389"/>
                  <a:pt x="5085086" y="1374041"/>
                </a:cubicBezTo>
                <a:cubicBezTo>
                  <a:pt x="5085086" y="1374041"/>
                  <a:pt x="5087435" y="1374041"/>
                  <a:pt x="5087435" y="1374041"/>
                </a:cubicBezTo>
                <a:cubicBezTo>
                  <a:pt x="5092133" y="1374041"/>
                  <a:pt x="5094482" y="1374041"/>
                  <a:pt x="5099179" y="1374041"/>
                </a:cubicBezTo>
                <a:close/>
                <a:moveTo>
                  <a:pt x="5113272" y="1364645"/>
                </a:moveTo>
                <a:lnTo>
                  <a:pt x="5114838" y="1364645"/>
                </a:lnTo>
                <a:lnTo>
                  <a:pt x="5113272" y="1366993"/>
                </a:lnTo>
                <a:lnTo>
                  <a:pt x="5111706" y="1367776"/>
                </a:lnTo>
                <a:close/>
                <a:moveTo>
                  <a:pt x="5031065" y="1364645"/>
                </a:moveTo>
                <a:lnTo>
                  <a:pt x="5031065" y="1371692"/>
                </a:lnTo>
                <a:cubicBezTo>
                  <a:pt x="5028716" y="1371692"/>
                  <a:pt x="5031065" y="1371692"/>
                  <a:pt x="5028716" y="1371692"/>
                </a:cubicBezTo>
                <a:lnTo>
                  <a:pt x="5029647" y="1365177"/>
                </a:lnTo>
                <a:close/>
                <a:moveTo>
                  <a:pt x="4263014" y="1364645"/>
                </a:moveTo>
                <a:cubicBezTo>
                  <a:pt x="4260665" y="1364645"/>
                  <a:pt x="4258316" y="1366993"/>
                  <a:pt x="4258316" y="1366993"/>
                </a:cubicBezTo>
                <a:cubicBezTo>
                  <a:pt x="4260665" y="1369342"/>
                  <a:pt x="4260665" y="1371692"/>
                  <a:pt x="4260665" y="1376389"/>
                </a:cubicBezTo>
                <a:cubicBezTo>
                  <a:pt x="4265363" y="1385785"/>
                  <a:pt x="4260665" y="1388133"/>
                  <a:pt x="4253619" y="1385785"/>
                </a:cubicBezTo>
                <a:cubicBezTo>
                  <a:pt x="4253619" y="1388133"/>
                  <a:pt x="4255968" y="1390482"/>
                  <a:pt x="4255968" y="1392831"/>
                </a:cubicBezTo>
                <a:cubicBezTo>
                  <a:pt x="4270060" y="1395180"/>
                  <a:pt x="4286502" y="1392831"/>
                  <a:pt x="4293548" y="1381087"/>
                </a:cubicBezTo>
                <a:cubicBezTo>
                  <a:pt x="4302943" y="1388133"/>
                  <a:pt x="4302943" y="1418668"/>
                  <a:pt x="4291199" y="1430412"/>
                </a:cubicBezTo>
                <a:lnTo>
                  <a:pt x="4300594" y="1435111"/>
                </a:lnTo>
                <a:cubicBezTo>
                  <a:pt x="4305292" y="1437460"/>
                  <a:pt x="4307641" y="1437460"/>
                  <a:pt x="4312338" y="1439808"/>
                </a:cubicBezTo>
                <a:cubicBezTo>
                  <a:pt x="4328780" y="1444506"/>
                  <a:pt x="4345221" y="1444506"/>
                  <a:pt x="4356965" y="1439808"/>
                </a:cubicBezTo>
                <a:cubicBezTo>
                  <a:pt x="4368709" y="1435111"/>
                  <a:pt x="4380453" y="1425715"/>
                  <a:pt x="4387499" y="1411622"/>
                </a:cubicBezTo>
                <a:cubicBezTo>
                  <a:pt x="4389848" y="1409273"/>
                  <a:pt x="4389848" y="1404576"/>
                  <a:pt x="4392197" y="1402227"/>
                </a:cubicBezTo>
                <a:cubicBezTo>
                  <a:pt x="4389848" y="1402227"/>
                  <a:pt x="4389848" y="1402227"/>
                  <a:pt x="4387499" y="1402227"/>
                </a:cubicBezTo>
                <a:cubicBezTo>
                  <a:pt x="4380453" y="1399877"/>
                  <a:pt x="4382802" y="1399877"/>
                  <a:pt x="4380453" y="1397528"/>
                </a:cubicBezTo>
                <a:cubicBezTo>
                  <a:pt x="4382802" y="1397528"/>
                  <a:pt x="4387499" y="1397528"/>
                  <a:pt x="4389848" y="1397528"/>
                </a:cubicBezTo>
                <a:cubicBezTo>
                  <a:pt x="4392197" y="1395180"/>
                  <a:pt x="4392197" y="1395180"/>
                  <a:pt x="4392197" y="1392831"/>
                </a:cubicBezTo>
                <a:cubicBezTo>
                  <a:pt x="4387499" y="1392831"/>
                  <a:pt x="4385151" y="1395180"/>
                  <a:pt x="4378104" y="1395180"/>
                </a:cubicBezTo>
                <a:cubicBezTo>
                  <a:pt x="4380453" y="1395180"/>
                  <a:pt x="4380453" y="1395180"/>
                  <a:pt x="4380453" y="1397528"/>
                </a:cubicBezTo>
                <a:cubicBezTo>
                  <a:pt x="4378104" y="1397528"/>
                  <a:pt x="4366360" y="1395180"/>
                  <a:pt x="4361663" y="1395180"/>
                </a:cubicBezTo>
                <a:cubicBezTo>
                  <a:pt x="4361663" y="1395180"/>
                  <a:pt x="4361663" y="1392831"/>
                  <a:pt x="4361663" y="1392831"/>
                </a:cubicBezTo>
                <a:cubicBezTo>
                  <a:pt x="4359314" y="1390482"/>
                  <a:pt x="4347570" y="1385785"/>
                  <a:pt x="4345221" y="1385785"/>
                </a:cubicBezTo>
                <a:cubicBezTo>
                  <a:pt x="4342872" y="1383436"/>
                  <a:pt x="4340523" y="1383436"/>
                  <a:pt x="4338175" y="1383436"/>
                </a:cubicBezTo>
                <a:cubicBezTo>
                  <a:pt x="4338175" y="1383436"/>
                  <a:pt x="4338175" y="1381087"/>
                  <a:pt x="4338175" y="1381087"/>
                </a:cubicBezTo>
                <a:cubicBezTo>
                  <a:pt x="4335826" y="1381087"/>
                  <a:pt x="4331129" y="1381087"/>
                  <a:pt x="4331129" y="1378738"/>
                </a:cubicBezTo>
                <a:cubicBezTo>
                  <a:pt x="4331129" y="1378738"/>
                  <a:pt x="4331129" y="1376389"/>
                  <a:pt x="4331129" y="1376389"/>
                </a:cubicBezTo>
                <a:lnTo>
                  <a:pt x="4321733" y="1371692"/>
                </a:lnTo>
                <a:cubicBezTo>
                  <a:pt x="4319385" y="1369342"/>
                  <a:pt x="4317036" y="1371692"/>
                  <a:pt x="4314687" y="1371692"/>
                </a:cubicBezTo>
                <a:cubicBezTo>
                  <a:pt x="4307641" y="1371692"/>
                  <a:pt x="4300594" y="1371692"/>
                  <a:pt x="4293548" y="1369342"/>
                </a:cubicBezTo>
                <a:cubicBezTo>
                  <a:pt x="4286502" y="1369342"/>
                  <a:pt x="4279455" y="1371692"/>
                  <a:pt x="4272409" y="1369342"/>
                </a:cubicBezTo>
                <a:cubicBezTo>
                  <a:pt x="4272409" y="1369342"/>
                  <a:pt x="4272409" y="1366993"/>
                  <a:pt x="4272409" y="1366993"/>
                </a:cubicBezTo>
                <a:cubicBezTo>
                  <a:pt x="4270060" y="1366993"/>
                  <a:pt x="4265363" y="1366993"/>
                  <a:pt x="4263014" y="1364645"/>
                </a:cubicBezTo>
                <a:close/>
                <a:moveTo>
                  <a:pt x="5117969" y="1359947"/>
                </a:moveTo>
                <a:cubicBezTo>
                  <a:pt x="5115620" y="1359947"/>
                  <a:pt x="5117969" y="1364645"/>
                  <a:pt x="5115620" y="1364645"/>
                </a:cubicBezTo>
                <a:lnTo>
                  <a:pt x="5114838" y="1364645"/>
                </a:lnTo>
                <a:close/>
                <a:moveTo>
                  <a:pt x="5122667" y="1358381"/>
                </a:moveTo>
                <a:lnTo>
                  <a:pt x="5122667" y="1359947"/>
                </a:lnTo>
                <a:cubicBezTo>
                  <a:pt x="5120318" y="1359947"/>
                  <a:pt x="5120318" y="1359947"/>
                  <a:pt x="5117969" y="1359947"/>
                </a:cubicBezTo>
                <a:close/>
                <a:moveTo>
                  <a:pt x="5031065" y="1357598"/>
                </a:moveTo>
                <a:cubicBezTo>
                  <a:pt x="5031065" y="1359947"/>
                  <a:pt x="5031065" y="1359947"/>
                  <a:pt x="5033413" y="1362296"/>
                </a:cubicBezTo>
                <a:cubicBezTo>
                  <a:pt x="5033413" y="1362296"/>
                  <a:pt x="5031065" y="1364645"/>
                  <a:pt x="5031065" y="1364645"/>
                </a:cubicBezTo>
                <a:close/>
                <a:moveTo>
                  <a:pt x="5031065" y="1355249"/>
                </a:moveTo>
                <a:lnTo>
                  <a:pt x="5031065" y="1357598"/>
                </a:lnTo>
                <a:lnTo>
                  <a:pt x="5030674" y="1357990"/>
                </a:lnTo>
                <a:close/>
                <a:moveTo>
                  <a:pt x="6219548" y="1343515"/>
                </a:moveTo>
                <a:cubicBezTo>
                  <a:pt x="6170224" y="1383445"/>
                  <a:pt x="6123248" y="1423375"/>
                  <a:pt x="6076272" y="1460957"/>
                </a:cubicBezTo>
                <a:cubicBezTo>
                  <a:pt x="6038692" y="1489143"/>
                  <a:pt x="6012855" y="1529074"/>
                  <a:pt x="6001110" y="1561957"/>
                </a:cubicBezTo>
                <a:cubicBezTo>
                  <a:pt x="5989366" y="1571353"/>
                  <a:pt x="5972925" y="1576050"/>
                  <a:pt x="5961181" y="1585446"/>
                </a:cubicBezTo>
                <a:cubicBezTo>
                  <a:pt x="6019902" y="1498538"/>
                  <a:pt x="6116201" y="1416329"/>
                  <a:pt x="6219548" y="1343515"/>
                </a:cubicBezTo>
                <a:close/>
                <a:moveTo>
                  <a:pt x="4923021" y="1341156"/>
                </a:moveTo>
                <a:cubicBezTo>
                  <a:pt x="4923021" y="1341156"/>
                  <a:pt x="4923021" y="1341156"/>
                  <a:pt x="4925370" y="1341156"/>
                </a:cubicBezTo>
                <a:cubicBezTo>
                  <a:pt x="4927718" y="1341156"/>
                  <a:pt x="4930067" y="1343506"/>
                  <a:pt x="4930067" y="1343506"/>
                </a:cubicBezTo>
                <a:cubicBezTo>
                  <a:pt x="4930067" y="1343506"/>
                  <a:pt x="4930067" y="1345854"/>
                  <a:pt x="4930067" y="1345854"/>
                </a:cubicBezTo>
                <a:cubicBezTo>
                  <a:pt x="4934765" y="1348203"/>
                  <a:pt x="4937114" y="1343506"/>
                  <a:pt x="4937114" y="1350552"/>
                </a:cubicBezTo>
                <a:cubicBezTo>
                  <a:pt x="4944160" y="1352901"/>
                  <a:pt x="4946509" y="1369342"/>
                  <a:pt x="4953555" y="1371692"/>
                </a:cubicBezTo>
                <a:cubicBezTo>
                  <a:pt x="4955903" y="1374041"/>
                  <a:pt x="4958252" y="1371692"/>
                  <a:pt x="4962950" y="1374041"/>
                </a:cubicBezTo>
                <a:cubicBezTo>
                  <a:pt x="4965299" y="1376389"/>
                  <a:pt x="4965299" y="1378738"/>
                  <a:pt x="4967647" y="1378738"/>
                </a:cubicBezTo>
                <a:cubicBezTo>
                  <a:pt x="4969996" y="1378738"/>
                  <a:pt x="4969996" y="1378738"/>
                  <a:pt x="4972345" y="1378738"/>
                </a:cubicBezTo>
                <a:cubicBezTo>
                  <a:pt x="4974694" y="1378738"/>
                  <a:pt x="4977043" y="1381087"/>
                  <a:pt x="4979391" y="1381087"/>
                </a:cubicBezTo>
                <a:cubicBezTo>
                  <a:pt x="4988787" y="1371692"/>
                  <a:pt x="4993484" y="1378738"/>
                  <a:pt x="5005228" y="1374041"/>
                </a:cubicBezTo>
                <a:cubicBezTo>
                  <a:pt x="5007577" y="1374041"/>
                  <a:pt x="5007577" y="1369342"/>
                  <a:pt x="5009925" y="1369342"/>
                </a:cubicBezTo>
                <a:cubicBezTo>
                  <a:pt x="5012274" y="1369342"/>
                  <a:pt x="5016972" y="1366993"/>
                  <a:pt x="5021669" y="1366993"/>
                </a:cubicBezTo>
                <a:lnTo>
                  <a:pt x="5030674" y="1357990"/>
                </a:lnTo>
                <a:lnTo>
                  <a:pt x="5029647" y="1365177"/>
                </a:lnTo>
                <a:lnTo>
                  <a:pt x="5012274" y="1371692"/>
                </a:lnTo>
                <a:cubicBezTo>
                  <a:pt x="5012274" y="1371692"/>
                  <a:pt x="5009925" y="1374041"/>
                  <a:pt x="5009925" y="1376389"/>
                </a:cubicBezTo>
                <a:cubicBezTo>
                  <a:pt x="5009925" y="1376389"/>
                  <a:pt x="5007577" y="1376389"/>
                  <a:pt x="5007577" y="1376389"/>
                </a:cubicBezTo>
                <a:lnTo>
                  <a:pt x="5007477" y="1378763"/>
                </a:lnTo>
                <a:lnTo>
                  <a:pt x="4988787" y="1383436"/>
                </a:lnTo>
                <a:cubicBezTo>
                  <a:pt x="4986438" y="1385785"/>
                  <a:pt x="4988787" y="1388133"/>
                  <a:pt x="4981740" y="1388133"/>
                </a:cubicBezTo>
                <a:cubicBezTo>
                  <a:pt x="4979391" y="1388133"/>
                  <a:pt x="4981740" y="1388133"/>
                  <a:pt x="4979391" y="1388133"/>
                </a:cubicBezTo>
                <a:cubicBezTo>
                  <a:pt x="4979391" y="1385785"/>
                  <a:pt x="4981740" y="1388133"/>
                  <a:pt x="4979391" y="1385785"/>
                </a:cubicBezTo>
                <a:cubicBezTo>
                  <a:pt x="4974694" y="1383436"/>
                  <a:pt x="4967647" y="1383436"/>
                  <a:pt x="4962950" y="1383436"/>
                </a:cubicBezTo>
                <a:cubicBezTo>
                  <a:pt x="4962950" y="1381087"/>
                  <a:pt x="4962950" y="1381087"/>
                  <a:pt x="4960601" y="1381087"/>
                </a:cubicBezTo>
                <a:cubicBezTo>
                  <a:pt x="4958252" y="1381087"/>
                  <a:pt x="4953555" y="1381087"/>
                  <a:pt x="4951206" y="1378738"/>
                </a:cubicBezTo>
                <a:cubicBezTo>
                  <a:pt x="4944160" y="1369342"/>
                  <a:pt x="4934765" y="1348203"/>
                  <a:pt x="4920672" y="1345854"/>
                </a:cubicBezTo>
                <a:cubicBezTo>
                  <a:pt x="4920672" y="1343506"/>
                  <a:pt x="4923021" y="1343506"/>
                  <a:pt x="4923021" y="1341156"/>
                </a:cubicBezTo>
                <a:close/>
                <a:moveTo>
                  <a:pt x="5049855" y="1338808"/>
                </a:moveTo>
                <a:cubicBezTo>
                  <a:pt x="5047506" y="1343506"/>
                  <a:pt x="5047506" y="1355249"/>
                  <a:pt x="5047506" y="1359947"/>
                </a:cubicBezTo>
                <a:cubicBezTo>
                  <a:pt x="5054552" y="1359947"/>
                  <a:pt x="5059250" y="1357598"/>
                  <a:pt x="5063947" y="1359947"/>
                </a:cubicBezTo>
                <a:cubicBezTo>
                  <a:pt x="5063947" y="1362296"/>
                  <a:pt x="5061599" y="1364645"/>
                  <a:pt x="5061599" y="1364645"/>
                </a:cubicBezTo>
                <a:cubicBezTo>
                  <a:pt x="5056901" y="1366993"/>
                  <a:pt x="5049855" y="1364645"/>
                  <a:pt x="5045157" y="1366993"/>
                </a:cubicBezTo>
                <a:cubicBezTo>
                  <a:pt x="5042809" y="1371692"/>
                  <a:pt x="5045157" y="1374041"/>
                  <a:pt x="5045157" y="1376389"/>
                </a:cubicBezTo>
                <a:cubicBezTo>
                  <a:pt x="5045157" y="1376389"/>
                  <a:pt x="5042809" y="1376389"/>
                  <a:pt x="5042809" y="1376389"/>
                </a:cubicBezTo>
                <a:cubicBezTo>
                  <a:pt x="5042809" y="1381087"/>
                  <a:pt x="5042809" y="1383436"/>
                  <a:pt x="5040460" y="1385785"/>
                </a:cubicBezTo>
                <a:cubicBezTo>
                  <a:pt x="5040460" y="1388133"/>
                  <a:pt x="5038111" y="1390482"/>
                  <a:pt x="5035762" y="1392831"/>
                </a:cubicBezTo>
                <a:lnTo>
                  <a:pt x="5035762" y="1395851"/>
                </a:lnTo>
                <a:lnTo>
                  <a:pt x="5029447" y="1399460"/>
                </a:lnTo>
                <a:lnTo>
                  <a:pt x="5031065" y="1388133"/>
                </a:lnTo>
                <a:lnTo>
                  <a:pt x="5031065" y="1376389"/>
                </a:lnTo>
                <a:lnTo>
                  <a:pt x="5031065" y="1371692"/>
                </a:lnTo>
                <a:cubicBezTo>
                  <a:pt x="5033413" y="1366993"/>
                  <a:pt x="5035762" y="1362296"/>
                  <a:pt x="5035762" y="1355249"/>
                </a:cubicBezTo>
                <a:cubicBezTo>
                  <a:pt x="5035762" y="1357598"/>
                  <a:pt x="5038111" y="1357598"/>
                  <a:pt x="5038111" y="1357598"/>
                </a:cubicBezTo>
                <a:cubicBezTo>
                  <a:pt x="5038111" y="1357598"/>
                  <a:pt x="5038111" y="1357598"/>
                  <a:pt x="5038111" y="1359947"/>
                </a:cubicBezTo>
                <a:cubicBezTo>
                  <a:pt x="5040460" y="1359947"/>
                  <a:pt x="5040460" y="1359947"/>
                  <a:pt x="5042809" y="1359947"/>
                </a:cubicBezTo>
                <a:cubicBezTo>
                  <a:pt x="5045157" y="1352901"/>
                  <a:pt x="5047506" y="1348203"/>
                  <a:pt x="5045157" y="1343506"/>
                </a:cubicBezTo>
                <a:cubicBezTo>
                  <a:pt x="5047506" y="1341156"/>
                  <a:pt x="5045157" y="1338808"/>
                  <a:pt x="5049855" y="1338808"/>
                </a:cubicBezTo>
                <a:close/>
                <a:moveTo>
                  <a:pt x="4362967" y="1330717"/>
                </a:moveTo>
                <a:lnTo>
                  <a:pt x="4363718" y="1330880"/>
                </a:lnTo>
                <a:lnTo>
                  <a:pt x="4365080" y="1331761"/>
                </a:lnTo>
                <a:lnTo>
                  <a:pt x="4364011" y="1331761"/>
                </a:lnTo>
                <a:close/>
                <a:moveTo>
                  <a:pt x="4201946" y="1324714"/>
                </a:moveTo>
                <a:cubicBezTo>
                  <a:pt x="4192550" y="1355249"/>
                  <a:pt x="4180806" y="1362296"/>
                  <a:pt x="4194899" y="1376389"/>
                </a:cubicBezTo>
                <a:cubicBezTo>
                  <a:pt x="4192550" y="1350552"/>
                  <a:pt x="4218387" y="1341156"/>
                  <a:pt x="4201946" y="1324714"/>
                </a:cubicBezTo>
                <a:close/>
                <a:moveTo>
                  <a:pt x="6907740" y="1298887"/>
                </a:moveTo>
                <a:cubicBezTo>
                  <a:pt x="6895996" y="1303585"/>
                  <a:pt x="6884251" y="1308282"/>
                  <a:pt x="6872507" y="1312980"/>
                </a:cubicBezTo>
                <a:cubicBezTo>
                  <a:pt x="6879553" y="1310631"/>
                  <a:pt x="6888950" y="1305933"/>
                  <a:pt x="6898345" y="1301236"/>
                </a:cubicBezTo>
                <a:close/>
                <a:moveTo>
                  <a:pt x="7330519" y="1294188"/>
                </a:moveTo>
                <a:cubicBezTo>
                  <a:pt x="7302333" y="1296537"/>
                  <a:pt x="7274149" y="1301235"/>
                  <a:pt x="7245963" y="1305933"/>
                </a:cubicBezTo>
                <a:cubicBezTo>
                  <a:pt x="7001690" y="1348212"/>
                  <a:pt x="6787951" y="1451561"/>
                  <a:pt x="6611793" y="1594841"/>
                </a:cubicBezTo>
                <a:cubicBezTo>
                  <a:pt x="6501401" y="1672347"/>
                  <a:pt x="6398054" y="1766295"/>
                  <a:pt x="6301754" y="1864940"/>
                </a:cubicBezTo>
                <a:cubicBezTo>
                  <a:pt x="6320544" y="1834407"/>
                  <a:pt x="6341683" y="1806223"/>
                  <a:pt x="6362822" y="1775690"/>
                </a:cubicBezTo>
                <a:cubicBezTo>
                  <a:pt x="6437983" y="1679393"/>
                  <a:pt x="6527236" y="1597188"/>
                  <a:pt x="6625885" y="1524375"/>
                </a:cubicBezTo>
                <a:cubicBezTo>
                  <a:pt x="6480261" y="1615979"/>
                  <a:pt x="6351078" y="1731064"/>
                  <a:pt x="6228942" y="1855545"/>
                </a:cubicBezTo>
                <a:cubicBezTo>
                  <a:pt x="6233639" y="1850849"/>
                  <a:pt x="6238337" y="1843802"/>
                  <a:pt x="6240686" y="1836756"/>
                </a:cubicBezTo>
                <a:cubicBezTo>
                  <a:pt x="6339334" y="1672347"/>
                  <a:pt x="6496703" y="1526724"/>
                  <a:pt x="6686954" y="1432770"/>
                </a:cubicBezTo>
                <a:cubicBezTo>
                  <a:pt x="6783254" y="1385793"/>
                  <a:pt x="6886600" y="1350561"/>
                  <a:pt x="6994644" y="1327073"/>
                </a:cubicBezTo>
                <a:cubicBezTo>
                  <a:pt x="7102687" y="1303584"/>
                  <a:pt x="7215429" y="1296537"/>
                  <a:pt x="7330519" y="1294188"/>
                </a:cubicBezTo>
                <a:close/>
                <a:moveTo>
                  <a:pt x="4389848" y="1282435"/>
                </a:moveTo>
                <a:cubicBezTo>
                  <a:pt x="4380453" y="1294179"/>
                  <a:pt x="4368709" y="1303574"/>
                  <a:pt x="4349919" y="1312970"/>
                </a:cubicBezTo>
                <a:cubicBezTo>
                  <a:pt x="4352267" y="1315319"/>
                  <a:pt x="4352267" y="1315319"/>
                  <a:pt x="4354616" y="1315319"/>
                </a:cubicBezTo>
                <a:cubicBezTo>
                  <a:pt x="4354616" y="1320016"/>
                  <a:pt x="4355791" y="1322953"/>
                  <a:pt x="4357552" y="1325301"/>
                </a:cubicBezTo>
                <a:lnTo>
                  <a:pt x="4362967" y="1330717"/>
                </a:lnTo>
                <a:lnTo>
                  <a:pt x="4356965" y="1329412"/>
                </a:lnTo>
                <a:cubicBezTo>
                  <a:pt x="4354616" y="1329412"/>
                  <a:pt x="4356965" y="1327063"/>
                  <a:pt x="4354616" y="1329412"/>
                </a:cubicBezTo>
                <a:cubicBezTo>
                  <a:pt x="4352267" y="1331761"/>
                  <a:pt x="4349919" y="1331761"/>
                  <a:pt x="4347570" y="1334109"/>
                </a:cubicBezTo>
                <a:cubicBezTo>
                  <a:pt x="4347570" y="1336458"/>
                  <a:pt x="4347570" y="1336458"/>
                  <a:pt x="4347570" y="1336458"/>
                </a:cubicBezTo>
                <a:cubicBezTo>
                  <a:pt x="4345221" y="1338808"/>
                  <a:pt x="4342872" y="1338808"/>
                  <a:pt x="4340523" y="1338808"/>
                </a:cubicBezTo>
                <a:cubicBezTo>
                  <a:pt x="4338175" y="1338808"/>
                  <a:pt x="4338175" y="1341156"/>
                  <a:pt x="4338175" y="1341156"/>
                </a:cubicBezTo>
                <a:cubicBezTo>
                  <a:pt x="4335826" y="1343506"/>
                  <a:pt x="4331129" y="1341156"/>
                  <a:pt x="4328780" y="1343506"/>
                </a:cubicBezTo>
                <a:cubicBezTo>
                  <a:pt x="4326431" y="1343506"/>
                  <a:pt x="4326431" y="1345854"/>
                  <a:pt x="4326431" y="1345854"/>
                </a:cubicBezTo>
                <a:cubicBezTo>
                  <a:pt x="4319385" y="1348203"/>
                  <a:pt x="4314687" y="1345854"/>
                  <a:pt x="4307641" y="1348203"/>
                </a:cubicBezTo>
                <a:cubicBezTo>
                  <a:pt x="4302943" y="1350552"/>
                  <a:pt x="4300594" y="1352901"/>
                  <a:pt x="4293548" y="1352901"/>
                </a:cubicBezTo>
                <a:cubicBezTo>
                  <a:pt x="4293548" y="1350552"/>
                  <a:pt x="4293548" y="1350552"/>
                  <a:pt x="4293548" y="1350552"/>
                </a:cubicBezTo>
                <a:cubicBezTo>
                  <a:pt x="4293548" y="1350552"/>
                  <a:pt x="4295897" y="1348203"/>
                  <a:pt x="4293548" y="1345854"/>
                </a:cubicBezTo>
                <a:cubicBezTo>
                  <a:pt x="4295897" y="1348203"/>
                  <a:pt x="4309989" y="1343506"/>
                  <a:pt x="4314687" y="1341156"/>
                </a:cubicBezTo>
                <a:cubicBezTo>
                  <a:pt x="4319385" y="1341156"/>
                  <a:pt x="4321733" y="1341156"/>
                  <a:pt x="4326431" y="1341156"/>
                </a:cubicBezTo>
                <a:cubicBezTo>
                  <a:pt x="4326431" y="1338808"/>
                  <a:pt x="4326431" y="1336458"/>
                  <a:pt x="4328780" y="1336458"/>
                </a:cubicBezTo>
                <a:cubicBezTo>
                  <a:pt x="4328780" y="1336458"/>
                  <a:pt x="4331129" y="1336458"/>
                  <a:pt x="4333477" y="1336458"/>
                </a:cubicBezTo>
                <a:cubicBezTo>
                  <a:pt x="4338175" y="1334109"/>
                  <a:pt x="4352267" y="1324714"/>
                  <a:pt x="4352267" y="1320017"/>
                </a:cubicBezTo>
                <a:cubicBezTo>
                  <a:pt x="4349919" y="1320017"/>
                  <a:pt x="4349919" y="1317668"/>
                  <a:pt x="4347570" y="1317668"/>
                </a:cubicBezTo>
                <a:cubicBezTo>
                  <a:pt x="4347570" y="1317668"/>
                  <a:pt x="4347570" y="1320017"/>
                  <a:pt x="4345221" y="1320017"/>
                </a:cubicBezTo>
                <a:cubicBezTo>
                  <a:pt x="4340523" y="1322366"/>
                  <a:pt x="4335826" y="1324714"/>
                  <a:pt x="4331129" y="1327063"/>
                </a:cubicBezTo>
                <a:cubicBezTo>
                  <a:pt x="4324082" y="1329412"/>
                  <a:pt x="4319385" y="1331761"/>
                  <a:pt x="4317036" y="1334109"/>
                </a:cubicBezTo>
                <a:cubicBezTo>
                  <a:pt x="4309989" y="1338808"/>
                  <a:pt x="4300594" y="1341156"/>
                  <a:pt x="4293548" y="1345854"/>
                </a:cubicBezTo>
                <a:cubicBezTo>
                  <a:pt x="4284153" y="1350552"/>
                  <a:pt x="4277107" y="1355249"/>
                  <a:pt x="4272409" y="1355249"/>
                </a:cubicBezTo>
                <a:cubicBezTo>
                  <a:pt x="4274758" y="1355249"/>
                  <a:pt x="4279455" y="1359947"/>
                  <a:pt x="4281804" y="1359947"/>
                </a:cubicBezTo>
                <a:cubicBezTo>
                  <a:pt x="4288850" y="1362296"/>
                  <a:pt x="4293548" y="1359947"/>
                  <a:pt x="4298245" y="1359947"/>
                </a:cubicBezTo>
                <a:cubicBezTo>
                  <a:pt x="4300594" y="1359947"/>
                  <a:pt x="4307641" y="1362296"/>
                  <a:pt x="4309989" y="1362296"/>
                </a:cubicBezTo>
                <a:cubicBezTo>
                  <a:pt x="4314687" y="1362296"/>
                  <a:pt x="4321733" y="1359947"/>
                  <a:pt x="4326431" y="1362296"/>
                </a:cubicBezTo>
                <a:cubicBezTo>
                  <a:pt x="4326431" y="1362296"/>
                  <a:pt x="4328780" y="1364645"/>
                  <a:pt x="4328780" y="1364645"/>
                </a:cubicBezTo>
                <a:cubicBezTo>
                  <a:pt x="4331129" y="1366993"/>
                  <a:pt x="4333477" y="1366993"/>
                  <a:pt x="4335826" y="1366993"/>
                </a:cubicBezTo>
                <a:cubicBezTo>
                  <a:pt x="4338175" y="1369342"/>
                  <a:pt x="4338175" y="1369342"/>
                  <a:pt x="4338175" y="1371692"/>
                </a:cubicBezTo>
                <a:lnTo>
                  <a:pt x="4345221" y="1378738"/>
                </a:lnTo>
                <a:cubicBezTo>
                  <a:pt x="4347570" y="1378738"/>
                  <a:pt x="4349919" y="1378738"/>
                  <a:pt x="4352267" y="1378738"/>
                </a:cubicBezTo>
                <a:cubicBezTo>
                  <a:pt x="4354616" y="1378738"/>
                  <a:pt x="4354616" y="1383436"/>
                  <a:pt x="4356965" y="1383436"/>
                </a:cubicBezTo>
                <a:cubicBezTo>
                  <a:pt x="4359314" y="1385785"/>
                  <a:pt x="4366360" y="1385785"/>
                  <a:pt x="4368709" y="1388133"/>
                </a:cubicBezTo>
                <a:cubicBezTo>
                  <a:pt x="4368709" y="1390482"/>
                  <a:pt x="4368709" y="1388133"/>
                  <a:pt x="4368709" y="1390482"/>
                </a:cubicBezTo>
                <a:cubicBezTo>
                  <a:pt x="4371058" y="1390482"/>
                  <a:pt x="4371058" y="1390482"/>
                  <a:pt x="4373407" y="1390482"/>
                </a:cubicBezTo>
                <a:cubicBezTo>
                  <a:pt x="4375755" y="1388133"/>
                  <a:pt x="4375755" y="1385785"/>
                  <a:pt x="4378104" y="1385785"/>
                </a:cubicBezTo>
                <a:cubicBezTo>
                  <a:pt x="4380453" y="1383436"/>
                  <a:pt x="4385151" y="1385785"/>
                  <a:pt x="4385151" y="1385785"/>
                </a:cubicBezTo>
                <a:cubicBezTo>
                  <a:pt x="4387499" y="1385785"/>
                  <a:pt x="4392197" y="1383436"/>
                  <a:pt x="4394545" y="1383436"/>
                </a:cubicBezTo>
                <a:cubicBezTo>
                  <a:pt x="4394545" y="1381087"/>
                  <a:pt x="4396894" y="1381087"/>
                  <a:pt x="4396894" y="1378738"/>
                </a:cubicBezTo>
                <a:cubicBezTo>
                  <a:pt x="4399243" y="1371692"/>
                  <a:pt x="4401592" y="1364645"/>
                  <a:pt x="4401592" y="1357598"/>
                </a:cubicBezTo>
                <a:cubicBezTo>
                  <a:pt x="4403940" y="1350552"/>
                  <a:pt x="4403940" y="1341156"/>
                  <a:pt x="4406289" y="1334109"/>
                </a:cubicBezTo>
                <a:cubicBezTo>
                  <a:pt x="4394545" y="1334109"/>
                  <a:pt x="4380453" y="1334109"/>
                  <a:pt x="4368709" y="1334109"/>
                </a:cubicBezTo>
                <a:lnTo>
                  <a:pt x="4365080" y="1331761"/>
                </a:lnTo>
                <a:lnTo>
                  <a:pt x="4401592" y="1331761"/>
                </a:lnTo>
                <a:cubicBezTo>
                  <a:pt x="4401592" y="1331761"/>
                  <a:pt x="4401592" y="1329412"/>
                  <a:pt x="4401592" y="1327063"/>
                </a:cubicBezTo>
                <a:cubicBezTo>
                  <a:pt x="4401592" y="1324714"/>
                  <a:pt x="4399243" y="1324714"/>
                  <a:pt x="4399243" y="1324714"/>
                </a:cubicBezTo>
                <a:cubicBezTo>
                  <a:pt x="4399243" y="1324714"/>
                  <a:pt x="4399243" y="1322366"/>
                  <a:pt x="4399243" y="1322366"/>
                </a:cubicBezTo>
                <a:cubicBezTo>
                  <a:pt x="4399243" y="1320017"/>
                  <a:pt x="4396894" y="1320017"/>
                  <a:pt x="4396894" y="1320017"/>
                </a:cubicBezTo>
                <a:cubicBezTo>
                  <a:pt x="4396894" y="1317668"/>
                  <a:pt x="4396894" y="1317668"/>
                  <a:pt x="4396894" y="1315319"/>
                </a:cubicBezTo>
                <a:cubicBezTo>
                  <a:pt x="4396894" y="1312970"/>
                  <a:pt x="4394545" y="1312970"/>
                  <a:pt x="4394545" y="1312970"/>
                </a:cubicBezTo>
                <a:cubicBezTo>
                  <a:pt x="4394545" y="1310622"/>
                  <a:pt x="4394545" y="1310622"/>
                  <a:pt x="4394545" y="1308272"/>
                </a:cubicBezTo>
                <a:cubicBezTo>
                  <a:pt x="4394545" y="1308272"/>
                  <a:pt x="4392197" y="1308272"/>
                  <a:pt x="4392197" y="1308272"/>
                </a:cubicBezTo>
                <a:cubicBezTo>
                  <a:pt x="4392197" y="1308272"/>
                  <a:pt x="4392197" y="1305923"/>
                  <a:pt x="4392197" y="1303574"/>
                </a:cubicBezTo>
                <a:cubicBezTo>
                  <a:pt x="4392197" y="1303574"/>
                  <a:pt x="4389848" y="1303574"/>
                  <a:pt x="4389848" y="1303574"/>
                </a:cubicBezTo>
                <a:cubicBezTo>
                  <a:pt x="4389848" y="1301225"/>
                  <a:pt x="4389848" y="1301225"/>
                  <a:pt x="4389848" y="1298877"/>
                </a:cubicBezTo>
                <a:cubicBezTo>
                  <a:pt x="4389848" y="1296528"/>
                  <a:pt x="4387499" y="1296528"/>
                  <a:pt x="4387499" y="1296528"/>
                </a:cubicBezTo>
                <a:cubicBezTo>
                  <a:pt x="4387499" y="1296528"/>
                  <a:pt x="4389848" y="1291830"/>
                  <a:pt x="4389848" y="1291830"/>
                </a:cubicBezTo>
                <a:cubicBezTo>
                  <a:pt x="4389848" y="1287133"/>
                  <a:pt x="4389848" y="1284784"/>
                  <a:pt x="4389848" y="1282435"/>
                </a:cubicBezTo>
                <a:close/>
                <a:moveTo>
                  <a:pt x="1954171" y="1282435"/>
                </a:moveTo>
                <a:lnTo>
                  <a:pt x="1958865" y="1301225"/>
                </a:lnTo>
                <a:lnTo>
                  <a:pt x="1977656" y="1298877"/>
                </a:lnTo>
                <a:lnTo>
                  <a:pt x="1987051" y="1310622"/>
                </a:lnTo>
                <a:cubicBezTo>
                  <a:pt x="1989399" y="1308272"/>
                  <a:pt x="1994099" y="1308272"/>
                  <a:pt x="1994099" y="1308272"/>
                </a:cubicBezTo>
                <a:lnTo>
                  <a:pt x="1998794" y="1294179"/>
                </a:lnTo>
                <a:lnTo>
                  <a:pt x="1980006" y="1294179"/>
                </a:lnTo>
                <a:lnTo>
                  <a:pt x="1968264" y="1284784"/>
                </a:lnTo>
                <a:close/>
                <a:moveTo>
                  <a:pt x="5164945" y="1280087"/>
                </a:moveTo>
                <a:cubicBezTo>
                  <a:pt x="5164945" y="1282435"/>
                  <a:pt x="5164945" y="1282435"/>
                  <a:pt x="5164945" y="1284784"/>
                </a:cubicBezTo>
                <a:cubicBezTo>
                  <a:pt x="5164945" y="1287133"/>
                  <a:pt x="5164945" y="1284784"/>
                  <a:pt x="5164945" y="1287133"/>
                </a:cubicBezTo>
                <a:cubicBezTo>
                  <a:pt x="5153201" y="1287133"/>
                  <a:pt x="5146155" y="1303574"/>
                  <a:pt x="5136760" y="1308272"/>
                </a:cubicBezTo>
                <a:cubicBezTo>
                  <a:pt x="5134411" y="1310622"/>
                  <a:pt x="5132062" y="1310622"/>
                  <a:pt x="5129713" y="1310622"/>
                </a:cubicBezTo>
                <a:cubicBezTo>
                  <a:pt x="5129713" y="1312970"/>
                  <a:pt x="5127364" y="1312970"/>
                  <a:pt x="5127364" y="1315319"/>
                </a:cubicBezTo>
                <a:cubicBezTo>
                  <a:pt x="5125016" y="1317668"/>
                  <a:pt x="5117969" y="1317668"/>
                  <a:pt x="5117969" y="1317668"/>
                </a:cubicBezTo>
                <a:cubicBezTo>
                  <a:pt x="5117969" y="1320017"/>
                  <a:pt x="5110923" y="1327063"/>
                  <a:pt x="5108574" y="1327063"/>
                </a:cubicBezTo>
                <a:cubicBezTo>
                  <a:pt x="5106226" y="1329412"/>
                  <a:pt x="5103877" y="1327063"/>
                  <a:pt x="5101528" y="1329412"/>
                </a:cubicBezTo>
                <a:cubicBezTo>
                  <a:pt x="5094482" y="1336458"/>
                  <a:pt x="5092133" y="1355249"/>
                  <a:pt x="5089784" y="1366993"/>
                </a:cubicBezTo>
                <a:cubicBezTo>
                  <a:pt x="5082738" y="1366993"/>
                  <a:pt x="5075691" y="1374041"/>
                  <a:pt x="5073342" y="1378738"/>
                </a:cubicBezTo>
                <a:lnTo>
                  <a:pt x="5074125" y="1378999"/>
                </a:lnTo>
                <a:lnTo>
                  <a:pt x="5060693" y="1384596"/>
                </a:lnTo>
                <a:lnTo>
                  <a:pt x="5063947" y="1378738"/>
                </a:lnTo>
                <a:cubicBezTo>
                  <a:pt x="5063947" y="1376389"/>
                  <a:pt x="5066296" y="1378738"/>
                  <a:pt x="5068645" y="1376389"/>
                </a:cubicBezTo>
                <a:lnTo>
                  <a:pt x="5068939" y="1375802"/>
                </a:lnTo>
                <a:lnTo>
                  <a:pt x="5073342" y="1374041"/>
                </a:lnTo>
                <a:cubicBezTo>
                  <a:pt x="5070994" y="1374041"/>
                  <a:pt x="5070994" y="1374041"/>
                  <a:pt x="5070994" y="1374041"/>
                </a:cubicBezTo>
                <a:cubicBezTo>
                  <a:pt x="5070994" y="1374041"/>
                  <a:pt x="5070994" y="1374041"/>
                  <a:pt x="5070994" y="1371692"/>
                </a:cubicBezTo>
                <a:cubicBezTo>
                  <a:pt x="5075691" y="1366993"/>
                  <a:pt x="5082738" y="1364645"/>
                  <a:pt x="5085086" y="1359947"/>
                </a:cubicBezTo>
                <a:cubicBezTo>
                  <a:pt x="5087435" y="1357598"/>
                  <a:pt x="5087435" y="1350552"/>
                  <a:pt x="5087435" y="1348203"/>
                </a:cubicBezTo>
                <a:cubicBezTo>
                  <a:pt x="5092133" y="1336458"/>
                  <a:pt x="5096830" y="1320017"/>
                  <a:pt x="5110923" y="1320017"/>
                </a:cubicBezTo>
                <a:cubicBezTo>
                  <a:pt x="5110923" y="1317668"/>
                  <a:pt x="5110923" y="1317668"/>
                  <a:pt x="5110923" y="1317668"/>
                </a:cubicBezTo>
                <a:cubicBezTo>
                  <a:pt x="5110923" y="1317668"/>
                  <a:pt x="5115620" y="1317668"/>
                  <a:pt x="5117969" y="1315319"/>
                </a:cubicBezTo>
                <a:cubicBezTo>
                  <a:pt x="5117969" y="1312970"/>
                  <a:pt x="5117969" y="1310622"/>
                  <a:pt x="5120318" y="1310622"/>
                </a:cubicBezTo>
                <a:cubicBezTo>
                  <a:pt x="5122667" y="1308272"/>
                  <a:pt x="5125016" y="1308272"/>
                  <a:pt x="5127364" y="1308272"/>
                </a:cubicBezTo>
                <a:cubicBezTo>
                  <a:pt x="5127364" y="1305923"/>
                  <a:pt x="5129713" y="1305923"/>
                  <a:pt x="5129713" y="1303574"/>
                </a:cubicBezTo>
                <a:cubicBezTo>
                  <a:pt x="5132062" y="1301225"/>
                  <a:pt x="5134411" y="1301225"/>
                  <a:pt x="5136760" y="1301225"/>
                </a:cubicBezTo>
                <a:cubicBezTo>
                  <a:pt x="5136760" y="1301225"/>
                  <a:pt x="5136760" y="1298877"/>
                  <a:pt x="5136760" y="1298877"/>
                </a:cubicBezTo>
                <a:cubicBezTo>
                  <a:pt x="5136760" y="1296528"/>
                  <a:pt x="5139108" y="1296528"/>
                  <a:pt x="5141457" y="1296528"/>
                </a:cubicBezTo>
                <a:cubicBezTo>
                  <a:pt x="5141457" y="1296528"/>
                  <a:pt x="5141457" y="1296528"/>
                  <a:pt x="5141457" y="1294179"/>
                </a:cubicBezTo>
                <a:cubicBezTo>
                  <a:pt x="5143806" y="1291830"/>
                  <a:pt x="5146155" y="1294179"/>
                  <a:pt x="5148504" y="1291830"/>
                </a:cubicBezTo>
                <a:cubicBezTo>
                  <a:pt x="5150852" y="1289482"/>
                  <a:pt x="5150852" y="1287133"/>
                  <a:pt x="5150852" y="1287133"/>
                </a:cubicBezTo>
                <a:cubicBezTo>
                  <a:pt x="5150852" y="1284784"/>
                  <a:pt x="5153201" y="1284784"/>
                  <a:pt x="5155550" y="1284784"/>
                </a:cubicBezTo>
                <a:cubicBezTo>
                  <a:pt x="5160248" y="1282435"/>
                  <a:pt x="5155550" y="1280087"/>
                  <a:pt x="5164945" y="1280087"/>
                </a:cubicBezTo>
                <a:close/>
                <a:moveTo>
                  <a:pt x="5033413" y="1265993"/>
                </a:moveTo>
                <a:cubicBezTo>
                  <a:pt x="5035762" y="1265993"/>
                  <a:pt x="5035762" y="1265993"/>
                  <a:pt x="5038111" y="1265993"/>
                </a:cubicBezTo>
                <a:cubicBezTo>
                  <a:pt x="5038111" y="1265993"/>
                  <a:pt x="5038111" y="1268342"/>
                  <a:pt x="5038111" y="1270690"/>
                </a:cubicBezTo>
                <a:cubicBezTo>
                  <a:pt x="5038111" y="1273039"/>
                  <a:pt x="5040460" y="1273039"/>
                  <a:pt x="5040460" y="1273039"/>
                </a:cubicBezTo>
                <a:cubicBezTo>
                  <a:pt x="5042809" y="1275389"/>
                  <a:pt x="5038111" y="1277737"/>
                  <a:pt x="5040460" y="1282435"/>
                </a:cubicBezTo>
                <a:cubicBezTo>
                  <a:pt x="5040460" y="1282435"/>
                  <a:pt x="5042809" y="1282435"/>
                  <a:pt x="5042809" y="1284784"/>
                </a:cubicBezTo>
                <a:cubicBezTo>
                  <a:pt x="5042809" y="1287133"/>
                  <a:pt x="5042809" y="1291830"/>
                  <a:pt x="5042809" y="1294179"/>
                </a:cubicBezTo>
                <a:cubicBezTo>
                  <a:pt x="5042809" y="1298877"/>
                  <a:pt x="5047506" y="1308272"/>
                  <a:pt x="5045157" y="1310622"/>
                </a:cubicBezTo>
                <a:cubicBezTo>
                  <a:pt x="5045157" y="1310622"/>
                  <a:pt x="5047506" y="1310622"/>
                  <a:pt x="5047506" y="1312970"/>
                </a:cubicBezTo>
                <a:cubicBezTo>
                  <a:pt x="5047506" y="1320017"/>
                  <a:pt x="5040460" y="1338808"/>
                  <a:pt x="5038111" y="1345854"/>
                </a:cubicBezTo>
                <a:cubicBezTo>
                  <a:pt x="5038111" y="1348203"/>
                  <a:pt x="5035762" y="1355249"/>
                  <a:pt x="5035762" y="1355249"/>
                </a:cubicBezTo>
                <a:cubicBezTo>
                  <a:pt x="5035762" y="1355249"/>
                  <a:pt x="5033413" y="1352901"/>
                  <a:pt x="5031065" y="1355249"/>
                </a:cubicBezTo>
                <a:cubicBezTo>
                  <a:pt x="5033413" y="1348203"/>
                  <a:pt x="5042809" y="1329412"/>
                  <a:pt x="5040460" y="1322366"/>
                </a:cubicBezTo>
                <a:cubicBezTo>
                  <a:pt x="5040460" y="1320017"/>
                  <a:pt x="5042809" y="1315319"/>
                  <a:pt x="5042809" y="1310622"/>
                </a:cubicBezTo>
                <a:cubicBezTo>
                  <a:pt x="5042809" y="1305923"/>
                  <a:pt x="5042809" y="1303574"/>
                  <a:pt x="5040460" y="1298877"/>
                </a:cubicBezTo>
                <a:cubicBezTo>
                  <a:pt x="5040460" y="1298877"/>
                  <a:pt x="5040460" y="1296528"/>
                  <a:pt x="5040460" y="1294179"/>
                </a:cubicBezTo>
                <a:cubicBezTo>
                  <a:pt x="5038111" y="1287133"/>
                  <a:pt x="5033413" y="1280087"/>
                  <a:pt x="5033413" y="1265993"/>
                </a:cubicBezTo>
                <a:close/>
                <a:moveTo>
                  <a:pt x="4051624" y="1256598"/>
                </a:moveTo>
                <a:cubicBezTo>
                  <a:pt x="4042230" y="1256598"/>
                  <a:pt x="4035183" y="1258946"/>
                  <a:pt x="4028136" y="1258946"/>
                </a:cubicBezTo>
                <a:cubicBezTo>
                  <a:pt x="4028136" y="1265993"/>
                  <a:pt x="4030485" y="1270690"/>
                  <a:pt x="4030485" y="1277737"/>
                </a:cubicBezTo>
                <a:cubicBezTo>
                  <a:pt x="4044578" y="1277737"/>
                  <a:pt x="4053974" y="1273039"/>
                  <a:pt x="4051624" y="1256598"/>
                </a:cubicBezTo>
                <a:close/>
                <a:moveTo>
                  <a:pt x="8241846" y="1249562"/>
                </a:moveTo>
                <a:cubicBezTo>
                  <a:pt x="8234800" y="1251911"/>
                  <a:pt x="8227754" y="1251911"/>
                  <a:pt x="8220707" y="1254260"/>
                </a:cubicBezTo>
                <a:cubicBezTo>
                  <a:pt x="8164336" y="1266004"/>
                  <a:pt x="8105617" y="1275400"/>
                  <a:pt x="8053943" y="1282446"/>
                </a:cubicBezTo>
                <a:cubicBezTo>
                  <a:pt x="8060990" y="1282446"/>
                  <a:pt x="8060990" y="1280097"/>
                  <a:pt x="8060990" y="1280097"/>
                </a:cubicBezTo>
                <a:cubicBezTo>
                  <a:pt x="8065687" y="1277748"/>
                  <a:pt x="8070385" y="1277748"/>
                  <a:pt x="8075083" y="1277748"/>
                </a:cubicBezTo>
                <a:cubicBezTo>
                  <a:pt x="8063339" y="1277748"/>
                  <a:pt x="8060990" y="1280097"/>
                  <a:pt x="8060990" y="1280097"/>
                </a:cubicBezTo>
                <a:cubicBezTo>
                  <a:pt x="7981131" y="1287144"/>
                  <a:pt x="7922411" y="1294191"/>
                  <a:pt x="7840204" y="1296540"/>
                </a:cubicBezTo>
                <a:cubicBezTo>
                  <a:pt x="7898924" y="1287144"/>
                  <a:pt x="7964689" y="1284796"/>
                  <a:pt x="8032804" y="1277748"/>
                </a:cubicBezTo>
                <a:cubicBezTo>
                  <a:pt x="8100919" y="1270702"/>
                  <a:pt x="8171382" y="1263656"/>
                  <a:pt x="8241846" y="1249562"/>
                </a:cubicBezTo>
                <a:close/>
                <a:moveTo>
                  <a:pt x="8267681" y="1244863"/>
                </a:moveTo>
                <a:cubicBezTo>
                  <a:pt x="8253588" y="1247212"/>
                  <a:pt x="8253588" y="1247212"/>
                  <a:pt x="8253588" y="1247212"/>
                </a:cubicBezTo>
                <a:cubicBezTo>
                  <a:pt x="8258286" y="1247212"/>
                  <a:pt x="8262984" y="1244863"/>
                  <a:pt x="8267681" y="1244863"/>
                </a:cubicBezTo>
                <a:close/>
                <a:moveTo>
                  <a:pt x="2571894" y="1209631"/>
                </a:moveTo>
                <a:lnTo>
                  <a:pt x="2585986" y="1211980"/>
                </a:lnTo>
                <a:lnTo>
                  <a:pt x="2590684" y="1233120"/>
                </a:lnTo>
                <a:cubicBezTo>
                  <a:pt x="2590684" y="1237817"/>
                  <a:pt x="2593033" y="1242515"/>
                  <a:pt x="2593033" y="1242515"/>
                </a:cubicBezTo>
                <a:lnTo>
                  <a:pt x="2581289" y="1249562"/>
                </a:lnTo>
                <a:lnTo>
                  <a:pt x="2571894" y="1235469"/>
                </a:lnTo>
                <a:lnTo>
                  <a:pt x="2569545" y="1226073"/>
                </a:lnTo>
                <a:close/>
                <a:moveTo>
                  <a:pt x="3172594" y="1205510"/>
                </a:moveTo>
                <a:cubicBezTo>
                  <a:pt x="3164960" y="1206685"/>
                  <a:pt x="3160262" y="1209621"/>
                  <a:pt x="3166134" y="1214318"/>
                </a:cubicBezTo>
                <a:cubicBezTo>
                  <a:pt x="3173181" y="1204923"/>
                  <a:pt x="3191971" y="1223714"/>
                  <a:pt x="3196668" y="1207271"/>
                </a:cubicBezTo>
                <a:cubicBezTo>
                  <a:pt x="3190797" y="1204922"/>
                  <a:pt x="3180227" y="1204336"/>
                  <a:pt x="3172594" y="1205510"/>
                </a:cubicBezTo>
                <a:close/>
                <a:moveTo>
                  <a:pt x="2785779" y="1194389"/>
                </a:moveTo>
                <a:cubicBezTo>
                  <a:pt x="2785192" y="1193472"/>
                  <a:pt x="2780935" y="1194353"/>
                  <a:pt x="2771540" y="1197876"/>
                </a:cubicBezTo>
                <a:cubicBezTo>
                  <a:pt x="2755098" y="1204923"/>
                  <a:pt x="2715170" y="1226063"/>
                  <a:pt x="2672891" y="1240155"/>
                </a:cubicBezTo>
                <a:cubicBezTo>
                  <a:pt x="2668193" y="1247203"/>
                  <a:pt x="2649403" y="1265993"/>
                  <a:pt x="2665845" y="1256598"/>
                </a:cubicBezTo>
                <a:cubicBezTo>
                  <a:pt x="2689332" y="1235458"/>
                  <a:pt x="2710471" y="1240155"/>
                  <a:pt x="2731610" y="1228411"/>
                </a:cubicBezTo>
                <a:cubicBezTo>
                  <a:pt x="2756273" y="1216080"/>
                  <a:pt x="2787541" y="1197142"/>
                  <a:pt x="2785779" y="1194389"/>
                </a:cubicBezTo>
                <a:close/>
                <a:moveTo>
                  <a:pt x="5606516" y="1174399"/>
                </a:moveTo>
                <a:cubicBezTo>
                  <a:pt x="5594773" y="1176748"/>
                  <a:pt x="5580680" y="1181445"/>
                  <a:pt x="5571285" y="1188492"/>
                </a:cubicBezTo>
                <a:cubicBezTo>
                  <a:pt x="5559541" y="1190841"/>
                  <a:pt x="5547797" y="1195538"/>
                  <a:pt x="5536053" y="1197887"/>
                </a:cubicBezTo>
                <a:lnTo>
                  <a:pt x="5557192" y="1188492"/>
                </a:lnTo>
                <a:cubicBezTo>
                  <a:pt x="5568936" y="1183794"/>
                  <a:pt x="5594773" y="1176748"/>
                  <a:pt x="5606516" y="1174399"/>
                </a:cubicBezTo>
                <a:close/>
                <a:moveTo>
                  <a:pt x="6026948" y="1172048"/>
                </a:moveTo>
                <a:cubicBezTo>
                  <a:pt x="6015204" y="1186141"/>
                  <a:pt x="6003460" y="1197886"/>
                  <a:pt x="5994065" y="1211978"/>
                </a:cubicBezTo>
                <a:cubicBezTo>
                  <a:pt x="5979972" y="1221374"/>
                  <a:pt x="5965880" y="1228421"/>
                  <a:pt x="5951787" y="1237816"/>
                </a:cubicBezTo>
                <a:cubicBezTo>
                  <a:pt x="5956485" y="1226072"/>
                  <a:pt x="5963531" y="1216677"/>
                  <a:pt x="5968228" y="1207281"/>
                </a:cubicBezTo>
                <a:cubicBezTo>
                  <a:pt x="5982321" y="1197886"/>
                  <a:pt x="6012855" y="1181443"/>
                  <a:pt x="6026948" y="1172048"/>
                </a:cubicBezTo>
                <a:close/>
                <a:moveTo>
                  <a:pt x="1867274" y="1169700"/>
                </a:moveTo>
                <a:lnTo>
                  <a:pt x="1874319" y="1181445"/>
                </a:lnTo>
                <a:lnTo>
                  <a:pt x="1857882" y="1183793"/>
                </a:lnTo>
                <a:lnTo>
                  <a:pt x="1855532" y="1172049"/>
                </a:lnTo>
                <a:close/>
                <a:moveTo>
                  <a:pt x="2426269" y="1160295"/>
                </a:moveTo>
                <a:lnTo>
                  <a:pt x="2414525" y="1167341"/>
                </a:lnTo>
                <a:lnTo>
                  <a:pt x="2416874" y="1176736"/>
                </a:lnTo>
                <a:lnTo>
                  <a:pt x="2430967" y="1179085"/>
                </a:lnTo>
                <a:close/>
                <a:moveTo>
                  <a:pt x="3591263" y="1143855"/>
                </a:moveTo>
                <a:cubicBezTo>
                  <a:pt x="3581868" y="1150899"/>
                  <a:pt x="3577171" y="1155598"/>
                  <a:pt x="3574822" y="1157947"/>
                </a:cubicBezTo>
                <a:cubicBezTo>
                  <a:pt x="3574822" y="1155598"/>
                  <a:pt x="3577171" y="1155598"/>
                  <a:pt x="3577171" y="1153249"/>
                </a:cubicBezTo>
                <a:cubicBezTo>
                  <a:pt x="3581868" y="1150899"/>
                  <a:pt x="3586566" y="1148553"/>
                  <a:pt x="3591263" y="1143855"/>
                </a:cubicBezTo>
                <a:close/>
                <a:moveTo>
                  <a:pt x="2193745" y="1143853"/>
                </a:moveTo>
                <a:lnTo>
                  <a:pt x="2189045" y="1146203"/>
                </a:lnTo>
                <a:lnTo>
                  <a:pt x="2196095" y="1146203"/>
                </a:lnTo>
                <a:close/>
                <a:moveTo>
                  <a:pt x="6530789" y="1143144"/>
                </a:moveTo>
                <a:lnTo>
                  <a:pt x="6488481" y="1155011"/>
                </a:lnTo>
                <a:cubicBezTo>
                  <a:pt x="6472627" y="1160883"/>
                  <a:pt x="6456773" y="1168516"/>
                  <a:pt x="6440331" y="1179086"/>
                </a:cubicBezTo>
                <a:lnTo>
                  <a:pt x="6402037" y="1205288"/>
                </a:lnTo>
                <a:lnTo>
                  <a:pt x="6463820" y="1174396"/>
                </a:lnTo>
                <a:close/>
                <a:moveTo>
                  <a:pt x="4126785" y="1127466"/>
                </a:moveTo>
                <a:cubicBezTo>
                  <a:pt x="4124437" y="1129814"/>
                  <a:pt x="4124437" y="1134514"/>
                  <a:pt x="4122087" y="1139212"/>
                </a:cubicBezTo>
                <a:cubicBezTo>
                  <a:pt x="4122087" y="1143909"/>
                  <a:pt x="4119739" y="1146258"/>
                  <a:pt x="4117390" y="1155652"/>
                </a:cubicBezTo>
                <a:cubicBezTo>
                  <a:pt x="4117390" y="1150954"/>
                  <a:pt x="4119739" y="1146258"/>
                  <a:pt x="4119739" y="1143909"/>
                </a:cubicBezTo>
                <a:cubicBezTo>
                  <a:pt x="4122087" y="1136863"/>
                  <a:pt x="4124437" y="1132163"/>
                  <a:pt x="4126785" y="1127466"/>
                </a:cubicBezTo>
                <a:close/>
                <a:moveTo>
                  <a:pt x="4133831" y="1118073"/>
                </a:moveTo>
                <a:cubicBezTo>
                  <a:pt x="4131482" y="1120419"/>
                  <a:pt x="4129134" y="1122768"/>
                  <a:pt x="4126785" y="1127466"/>
                </a:cubicBezTo>
                <a:cubicBezTo>
                  <a:pt x="4131482" y="1118073"/>
                  <a:pt x="4133831" y="1115723"/>
                  <a:pt x="4133831" y="1118073"/>
                </a:cubicBezTo>
                <a:close/>
                <a:moveTo>
                  <a:pt x="6708092" y="1103929"/>
                </a:moveTo>
                <a:lnTo>
                  <a:pt x="6693999" y="1115672"/>
                </a:lnTo>
                <a:cubicBezTo>
                  <a:pt x="6639978" y="1127414"/>
                  <a:pt x="6590653" y="1129761"/>
                  <a:pt x="6543678" y="1139159"/>
                </a:cubicBezTo>
                <a:cubicBezTo>
                  <a:pt x="6546027" y="1136809"/>
                  <a:pt x="6548375" y="1136809"/>
                  <a:pt x="6550724" y="1134460"/>
                </a:cubicBezTo>
                <a:lnTo>
                  <a:pt x="6541281" y="1139183"/>
                </a:lnTo>
                <a:lnTo>
                  <a:pt x="6541329" y="1139166"/>
                </a:lnTo>
                <a:cubicBezTo>
                  <a:pt x="6447378" y="1200233"/>
                  <a:pt x="6329939" y="1266002"/>
                  <a:pt x="6217198" y="1345864"/>
                </a:cubicBezTo>
                <a:lnTo>
                  <a:pt x="6385770" y="1215496"/>
                </a:lnTo>
                <a:lnTo>
                  <a:pt x="6265678" y="1286509"/>
                </a:lnTo>
                <a:cubicBezTo>
                  <a:pt x="6140276" y="1369636"/>
                  <a:pt x="6031057" y="1470931"/>
                  <a:pt x="5958832" y="1585437"/>
                </a:cubicBezTo>
                <a:cubicBezTo>
                  <a:pt x="5895415" y="1674688"/>
                  <a:pt x="5862532" y="1768636"/>
                  <a:pt x="5813207" y="1862584"/>
                </a:cubicBezTo>
                <a:cubicBezTo>
                  <a:pt x="5831998" y="1839098"/>
                  <a:pt x="5869578" y="1815611"/>
                  <a:pt x="5883671" y="1787426"/>
                </a:cubicBezTo>
                <a:cubicBezTo>
                  <a:pt x="5975273" y="1608924"/>
                  <a:pt x="6134990" y="1465646"/>
                  <a:pt x="6294707" y="1338808"/>
                </a:cubicBezTo>
                <a:cubicBezTo>
                  <a:pt x="6355775" y="1289481"/>
                  <a:pt x="6433285" y="1256597"/>
                  <a:pt x="6506097" y="1226062"/>
                </a:cubicBezTo>
                <a:cubicBezTo>
                  <a:pt x="6581258" y="1195527"/>
                  <a:pt x="6654070" y="1167342"/>
                  <a:pt x="6715138" y="1125065"/>
                </a:cubicBezTo>
                <a:close/>
                <a:moveTo>
                  <a:pt x="3654093" y="1099524"/>
                </a:moveTo>
                <a:cubicBezTo>
                  <a:pt x="3657617" y="1098642"/>
                  <a:pt x="3661727" y="1099230"/>
                  <a:pt x="3666424" y="1101580"/>
                </a:cubicBezTo>
                <a:cubicBezTo>
                  <a:pt x="3664075" y="1115670"/>
                  <a:pt x="3654680" y="1108624"/>
                  <a:pt x="3645285" y="1106282"/>
                </a:cubicBezTo>
                <a:cubicBezTo>
                  <a:pt x="3647634" y="1102753"/>
                  <a:pt x="3650570" y="1100406"/>
                  <a:pt x="3654093" y="1099524"/>
                </a:cubicBezTo>
                <a:close/>
                <a:moveTo>
                  <a:pt x="7351658" y="1080453"/>
                </a:moveTo>
                <a:lnTo>
                  <a:pt x="7358704" y="1080453"/>
                </a:lnTo>
                <a:cubicBezTo>
                  <a:pt x="7499632" y="1103939"/>
                  <a:pt x="7633512" y="1129769"/>
                  <a:pt x="7765043" y="1157956"/>
                </a:cubicBezTo>
                <a:cubicBezTo>
                  <a:pt x="7896575" y="1186142"/>
                  <a:pt x="8028107" y="1216677"/>
                  <a:pt x="8161987" y="1233120"/>
                </a:cubicBezTo>
                <a:cubicBezTo>
                  <a:pt x="8169034" y="1235468"/>
                  <a:pt x="8169034" y="1237817"/>
                  <a:pt x="8161987" y="1240166"/>
                </a:cubicBezTo>
                <a:cubicBezTo>
                  <a:pt x="8100918" y="1237817"/>
                  <a:pt x="8037502" y="1230771"/>
                  <a:pt x="7974084" y="1223724"/>
                </a:cubicBezTo>
                <a:cubicBezTo>
                  <a:pt x="7910668" y="1216677"/>
                  <a:pt x="7847251" y="1207282"/>
                  <a:pt x="7783833" y="1197886"/>
                </a:cubicBezTo>
                <a:cubicBezTo>
                  <a:pt x="7659348" y="1179095"/>
                  <a:pt x="7532514" y="1160304"/>
                  <a:pt x="7415075" y="1160304"/>
                </a:cubicBezTo>
                <a:cubicBezTo>
                  <a:pt x="7389239" y="1162653"/>
                  <a:pt x="7365750" y="1162653"/>
                  <a:pt x="7339914" y="1165002"/>
                </a:cubicBezTo>
                <a:cubicBezTo>
                  <a:pt x="7314078" y="1167351"/>
                  <a:pt x="7290590" y="1169700"/>
                  <a:pt x="7264753" y="1172048"/>
                </a:cubicBezTo>
                <a:cubicBezTo>
                  <a:pt x="7233044" y="1173222"/>
                  <a:pt x="7200748" y="1176159"/>
                  <a:pt x="7168746" y="1180269"/>
                </a:cubicBezTo>
                <a:lnTo>
                  <a:pt x="7074507" y="1195536"/>
                </a:lnTo>
                <a:lnTo>
                  <a:pt x="7102686" y="1195536"/>
                </a:lnTo>
                <a:cubicBezTo>
                  <a:pt x="7088594" y="1197885"/>
                  <a:pt x="7072153" y="1200235"/>
                  <a:pt x="7055711" y="1204932"/>
                </a:cubicBezTo>
                <a:cubicBezTo>
                  <a:pt x="7041619" y="1207281"/>
                  <a:pt x="7027526" y="1207281"/>
                  <a:pt x="7013433" y="1209630"/>
                </a:cubicBezTo>
                <a:lnTo>
                  <a:pt x="7070143" y="1196019"/>
                </a:lnTo>
                <a:lnTo>
                  <a:pt x="6920363" y="1212567"/>
                </a:lnTo>
                <a:cubicBezTo>
                  <a:pt x="6869571" y="1221375"/>
                  <a:pt x="6819659" y="1233119"/>
                  <a:pt x="6771509" y="1247212"/>
                </a:cubicBezTo>
                <a:cubicBezTo>
                  <a:pt x="6672860" y="1277748"/>
                  <a:pt x="6578909" y="1320028"/>
                  <a:pt x="6484958" y="1367005"/>
                </a:cubicBezTo>
                <a:cubicBezTo>
                  <a:pt x="6600048" y="1266004"/>
                  <a:pt x="6736278" y="1202584"/>
                  <a:pt x="6879553" y="1136819"/>
                </a:cubicBezTo>
                <a:cubicBezTo>
                  <a:pt x="6952365" y="1106292"/>
                  <a:pt x="7041619" y="1094545"/>
                  <a:pt x="7126174" y="1089847"/>
                </a:cubicBezTo>
                <a:cubicBezTo>
                  <a:pt x="7210730" y="1087499"/>
                  <a:pt x="7290590" y="1087499"/>
                  <a:pt x="7351658" y="1080453"/>
                </a:cubicBezTo>
                <a:close/>
                <a:moveTo>
                  <a:pt x="2059873" y="1078104"/>
                </a:moveTo>
                <a:lnTo>
                  <a:pt x="2071621" y="1087499"/>
                </a:lnTo>
                <a:lnTo>
                  <a:pt x="2076316" y="1099240"/>
                </a:lnTo>
                <a:lnTo>
                  <a:pt x="2066921" y="1110981"/>
                </a:lnTo>
                <a:cubicBezTo>
                  <a:pt x="2062223" y="1110981"/>
                  <a:pt x="2057528" y="1110981"/>
                  <a:pt x="2057528" y="1110981"/>
                </a:cubicBezTo>
                <a:lnTo>
                  <a:pt x="2048130" y="1094545"/>
                </a:lnTo>
                <a:lnTo>
                  <a:pt x="2048130" y="1080454"/>
                </a:lnTo>
                <a:close/>
                <a:moveTo>
                  <a:pt x="2940652" y="1077605"/>
                </a:moveTo>
                <a:lnTo>
                  <a:pt x="2941537" y="1079559"/>
                </a:lnTo>
                <a:lnTo>
                  <a:pt x="2940652" y="1080442"/>
                </a:lnTo>
                <a:close/>
                <a:moveTo>
                  <a:pt x="2191270" y="1055157"/>
                </a:moveTo>
                <a:lnTo>
                  <a:pt x="2207838" y="1059299"/>
                </a:lnTo>
                <a:lnTo>
                  <a:pt x="2208225" y="1060377"/>
                </a:lnTo>
                <a:lnTo>
                  <a:pt x="2203138" y="1061649"/>
                </a:lnTo>
                <a:close/>
                <a:moveTo>
                  <a:pt x="2024643" y="1054611"/>
                </a:moveTo>
                <a:lnTo>
                  <a:pt x="2031689" y="1071057"/>
                </a:lnTo>
                <a:cubicBezTo>
                  <a:pt x="2031689" y="1094545"/>
                  <a:pt x="2024643" y="1101591"/>
                  <a:pt x="2024643" y="1101591"/>
                </a:cubicBezTo>
                <a:lnTo>
                  <a:pt x="1991759" y="1108634"/>
                </a:lnTo>
                <a:cubicBezTo>
                  <a:pt x="1972973" y="1096889"/>
                  <a:pt x="1972973" y="1087500"/>
                  <a:pt x="1972973" y="1087500"/>
                </a:cubicBezTo>
                <a:close/>
                <a:moveTo>
                  <a:pt x="1972968" y="1054610"/>
                </a:moveTo>
                <a:lnTo>
                  <a:pt x="1954180" y="1094545"/>
                </a:lnTo>
                <a:cubicBezTo>
                  <a:pt x="1940087" y="1096889"/>
                  <a:pt x="1928345" y="1094545"/>
                  <a:pt x="1928345" y="1094545"/>
                </a:cubicBezTo>
                <a:cubicBezTo>
                  <a:pt x="1923645" y="1089847"/>
                  <a:pt x="1925995" y="1080454"/>
                  <a:pt x="1921295" y="1078104"/>
                </a:cubicBezTo>
                <a:cubicBezTo>
                  <a:pt x="1916597" y="1075755"/>
                  <a:pt x="1914248" y="1101591"/>
                  <a:pt x="1909552" y="1101591"/>
                </a:cubicBezTo>
                <a:lnTo>
                  <a:pt x="1886067" y="1120376"/>
                </a:lnTo>
                <a:lnTo>
                  <a:pt x="1879017" y="1120376"/>
                </a:lnTo>
                <a:lnTo>
                  <a:pt x="1876668" y="1115681"/>
                </a:lnTo>
                <a:lnTo>
                  <a:pt x="1904853" y="1080454"/>
                </a:lnTo>
                <a:lnTo>
                  <a:pt x="1961224" y="1064008"/>
                </a:lnTo>
                <a:cubicBezTo>
                  <a:pt x="1965923" y="1061658"/>
                  <a:pt x="1972968" y="1054610"/>
                  <a:pt x="1972968" y="1054610"/>
                </a:cubicBezTo>
                <a:close/>
                <a:moveTo>
                  <a:pt x="2158615" y="1051090"/>
                </a:moveTo>
                <a:lnTo>
                  <a:pt x="2152402" y="1064350"/>
                </a:lnTo>
                <a:lnTo>
                  <a:pt x="2153818" y="1054601"/>
                </a:lnTo>
                <a:cubicBezTo>
                  <a:pt x="2153818" y="1054601"/>
                  <a:pt x="2153818" y="1052839"/>
                  <a:pt x="2155869" y="1051371"/>
                </a:cubicBezTo>
                <a:close/>
                <a:moveTo>
                  <a:pt x="3288271" y="1045206"/>
                </a:moveTo>
                <a:cubicBezTo>
                  <a:pt x="3285922" y="1052253"/>
                  <a:pt x="3281225" y="1056953"/>
                  <a:pt x="3278876" y="1061652"/>
                </a:cubicBezTo>
                <a:cubicBezTo>
                  <a:pt x="3271829" y="1068700"/>
                  <a:pt x="3264783" y="1078097"/>
                  <a:pt x="3257737" y="1085142"/>
                </a:cubicBezTo>
                <a:cubicBezTo>
                  <a:pt x="3243644" y="1099232"/>
                  <a:pt x="3224854" y="1110975"/>
                  <a:pt x="3210761" y="1115673"/>
                </a:cubicBezTo>
                <a:cubicBezTo>
                  <a:pt x="3194321" y="1122719"/>
                  <a:pt x="3182576" y="1122719"/>
                  <a:pt x="3177878" y="1120367"/>
                </a:cubicBezTo>
                <a:cubicBezTo>
                  <a:pt x="3168483" y="1118023"/>
                  <a:pt x="3166134" y="1118023"/>
                  <a:pt x="3168483" y="1115673"/>
                </a:cubicBezTo>
                <a:cubicBezTo>
                  <a:pt x="3170832" y="1113324"/>
                  <a:pt x="3177878" y="1113324"/>
                  <a:pt x="3191971" y="1106284"/>
                </a:cubicBezTo>
                <a:cubicBezTo>
                  <a:pt x="3208412" y="1106284"/>
                  <a:pt x="3224854" y="1099232"/>
                  <a:pt x="3241295" y="1089838"/>
                </a:cubicBezTo>
                <a:cubicBezTo>
                  <a:pt x="3250692" y="1085142"/>
                  <a:pt x="3257737" y="1078097"/>
                  <a:pt x="3264783" y="1071049"/>
                </a:cubicBezTo>
                <a:cubicBezTo>
                  <a:pt x="3267132" y="1066350"/>
                  <a:pt x="3271829" y="1064001"/>
                  <a:pt x="3274178" y="1059302"/>
                </a:cubicBezTo>
                <a:cubicBezTo>
                  <a:pt x="3274178" y="1059302"/>
                  <a:pt x="3276528" y="1056953"/>
                  <a:pt x="3276528" y="1054603"/>
                </a:cubicBezTo>
                <a:cubicBezTo>
                  <a:pt x="3278876" y="1052253"/>
                  <a:pt x="3283573" y="1047555"/>
                  <a:pt x="3288271" y="1045206"/>
                </a:cubicBezTo>
                <a:close/>
                <a:moveTo>
                  <a:pt x="2165560" y="1035806"/>
                </a:moveTo>
                <a:cubicBezTo>
                  <a:pt x="2172604" y="1040505"/>
                  <a:pt x="2178475" y="1046378"/>
                  <a:pt x="2184348" y="1051371"/>
                </a:cubicBezTo>
                <a:lnTo>
                  <a:pt x="2191270" y="1055157"/>
                </a:lnTo>
                <a:lnTo>
                  <a:pt x="2170255" y="1049902"/>
                </a:lnTo>
                <a:lnTo>
                  <a:pt x="2158615" y="1051090"/>
                </a:lnTo>
                <a:lnTo>
                  <a:pt x="2160273" y="1047553"/>
                </a:lnTo>
                <a:cubicBezTo>
                  <a:pt x="2163210" y="1041092"/>
                  <a:pt x="2165560" y="1035806"/>
                  <a:pt x="2165560" y="1035806"/>
                </a:cubicBezTo>
                <a:close/>
                <a:moveTo>
                  <a:pt x="2926559" y="1026410"/>
                </a:moveTo>
                <a:cubicBezTo>
                  <a:pt x="2928908" y="1035806"/>
                  <a:pt x="2931256" y="1047553"/>
                  <a:pt x="2933605" y="1054601"/>
                </a:cubicBezTo>
                <a:cubicBezTo>
                  <a:pt x="2935954" y="1061649"/>
                  <a:pt x="2938303" y="1068697"/>
                  <a:pt x="2940652" y="1073396"/>
                </a:cubicBezTo>
                <a:lnTo>
                  <a:pt x="2940652" y="1077605"/>
                </a:lnTo>
                <a:lnTo>
                  <a:pt x="2935954" y="1067229"/>
                </a:lnTo>
                <a:cubicBezTo>
                  <a:pt x="2933606" y="1060474"/>
                  <a:pt x="2931257" y="1052252"/>
                  <a:pt x="2928908" y="1042854"/>
                </a:cubicBezTo>
                <a:cubicBezTo>
                  <a:pt x="2928908" y="1038155"/>
                  <a:pt x="2926559" y="1031108"/>
                  <a:pt x="2926559" y="1026410"/>
                </a:cubicBezTo>
                <a:close/>
                <a:moveTo>
                  <a:pt x="2280645" y="1000578"/>
                </a:moveTo>
                <a:lnTo>
                  <a:pt x="2261855" y="1005274"/>
                </a:lnTo>
                <a:lnTo>
                  <a:pt x="2271250" y="1017016"/>
                </a:lnTo>
                <a:lnTo>
                  <a:pt x="2285342" y="1026410"/>
                </a:lnTo>
                <a:cubicBezTo>
                  <a:pt x="2287691" y="1026410"/>
                  <a:pt x="2292389" y="1026410"/>
                  <a:pt x="2292389" y="1026410"/>
                </a:cubicBezTo>
                <a:lnTo>
                  <a:pt x="2301785" y="1014669"/>
                </a:lnTo>
                <a:lnTo>
                  <a:pt x="2299435" y="1002926"/>
                </a:lnTo>
                <a:lnTo>
                  <a:pt x="2282994" y="1000578"/>
                </a:lnTo>
                <a:cubicBezTo>
                  <a:pt x="2282994" y="1000578"/>
                  <a:pt x="2280645" y="1000578"/>
                  <a:pt x="2280645" y="1000578"/>
                </a:cubicBezTo>
                <a:close/>
                <a:moveTo>
                  <a:pt x="2034037" y="967708"/>
                </a:moveTo>
                <a:lnTo>
                  <a:pt x="2055178" y="981799"/>
                </a:lnTo>
                <a:lnTo>
                  <a:pt x="2048130" y="984147"/>
                </a:lnTo>
                <a:lnTo>
                  <a:pt x="2031689" y="984147"/>
                </a:lnTo>
                <a:close/>
                <a:moveTo>
                  <a:pt x="2449758" y="963012"/>
                </a:moveTo>
                <a:cubicBezTo>
                  <a:pt x="2452107" y="963012"/>
                  <a:pt x="2461502" y="963012"/>
                  <a:pt x="2461502" y="963012"/>
                </a:cubicBezTo>
                <a:cubicBezTo>
                  <a:pt x="2463851" y="965361"/>
                  <a:pt x="2463851" y="970057"/>
                  <a:pt x="2463851" y="972406"/>
                </a:cubicBezTo>
                <a:lnTo>
                  <a:pt x="2461502" y="988846"/>
                </a:lnTo>
                <a:lnTo>
                  <a:pt x="2449758" y="998240"/>
                </a:lnTo>
                <a:cubicBezTo>
                  <a:pt x="2445061" y="1000587"/>
                  <a:pt x="2438014" y="1002936"/>
                  <a:pt x="2438014" y="1002936"/>
                </a:cubicBezTo>
                <a:lnTo>
                  <a:pt x="2426271" y="995891"/>
                </a:lnTo>
                <a:lnTo>
                  <a:pt x="2421574" y="979452"/>
                </a:lnTo>
                <a:close/>
                <a:moveTo>
                  <a:pt x="2301561" y="953991"/>
                </a:moveTo>
                <a:lnTo>
                  <a:pt x="2303458" y="960638"/>
                </a:lnTo>
                <a:lnTo>
                  <a:pt x="2299435" y="963003"/>
                </a:lnTo>
                <a:close/>
                <a:moveTo>
                  <a:pt x="2346412" y="951249"/>
                </a:moveTo>
                <a:lnTo>
                  <a:pt x="2322923" y="955947"/>
                </a:lnTo>
                <a:cubicBezTo>
                  <a:pt x="2320574" y="960655"/>
                  <a:pt x="2313529" y="967700"/>
                  <a:pt x="2311179" y="967700"/>
                </a:cubicBezTo>
                <a:cubicBezTo>
                  <a:pt x="2311179" y="970049"/>
                  <a:pt x="2315877" y="970049"/>
                  <a:pt x="2315877" y="972396"/>
                </a:cubicBezTo>
                <a:cubicBezTo>
                  <a:pt x="2318225" y="981791"/>
                  <a:pt x="2315877" y="991184"/>
                  <a:pt x="2318225" y="998229"/>
                </a:cubicBezTo>
                <a:lnTo>
                  <a:pt x="2344062" y="1012320"/>
                </a:lnTo>
                <a:cubicBezTo>
                  <a:pt x="2346412" y="1009971"/>
                  <a:pt x="2353457" y="1009971"/>
                  <a:pt x="2353457" y="1009971"/>
                </a:cubicBezTo>
                <a:cubicBezTo>
                  <a:pt x="2353457" y="1007623"/>
                  <a:pt x="2353457" y="1002926"/>
                  <a:pt x="2351108" y="1000578"/>
                </a:cubicBezTo>
                <a:cubicBezTo>
                  <a:pt x="2348759" y="998229"/>
                  <a:pt x="2344062" y="995880"/>
                  <a:pt x="2339365" y="993532"/>
                </a:cubicBezTo>
                <a:close/>
                <a:moveTo>
                  <a:pt x="2191406" y="925421"/>
                </a:moveTo>
                <a:lnTo>
                  <a:pt x="2198454" y="941862"/>
                </a:lnTo>
                <a:cubicBezTo>
                  <a:pt x="2198454" y="944210"/>
                  <a:pt x="2198454" y="946560"/>
                  <a:pt x="2198454" y="946560"/>
                </a:cubicBezTo>
                <a:cubicBezTo>
                  <a:pt x="2196104" y="948908"/>
                  <a:pt x="2196104" y="948908"/>
                  <a:pt x="2193754" y="948908"/>
                </a:cubicBezTo>
                <a:lnTo>
                  <a:pt x="2179661" y="946560"/>
                </a:lnTo>
                <a:lnTo>
                  <a:pt x="2177312" y="934816"/>
                </a:lnTo>
                <a:close/>
                <a:moveTo>
                  <a:pt x="7321124" y="925420"/>
                </a:moveTo>
                <a:cubicBezTo>
                  <a:pt x="7368100" y="932465"/>
                  <a:pt x="7344612" y="941861"/>
                  <a:pt x="7321124" y="946558"/>
                </a:cubicBezTo>
                <a:cubicBezTo>
                  <a:pt x="7297636" y="951256"/>
                  <a:pt x="7274148" y="946558"/>
                  <a:pt x="7321124" y="925420"/>
                </a:cubicBezTo>
                <a:close/>
                <a:moveTo>
                  <a:pt x="3349926" y="924532"/>
                </a:moveTo>
                <a:cubicBezTo>
                  <a:pt x="3341118" y="927761"/>
                  <a:pt x="3323502" y="938331"/>
                  <a:pt x="3323502" y="946552"/>
                </a:cubicBezTo>
                <a:cubicBezTo>
                  <a:pt x="3358734" y="925413"/>
                  <a:pt x="3358734" y="921302"/>
                  <a:pt x="3349926" y="924532"/>
                </a:cubicBezTo>
                <a:close/>
                <a:moveTo>
                  <a:pt x="7123826" y="890188"/>
                </a:moveTo>
                <a:cubicBezTo>
                  <a:pt x="7206033" y="892537"/>
                  <a:pt x="7285892" y="897234"/>
                  <a:pt x="7358704" y="906630"/>
                </a:cubicBezTo>
                <a:cubicBezTo>
                  <a:pt x="7361052" y="906630"/>
                  <a:pt x="7365750" y="908978"/>
                  <a:pt x="7370448" y="908978"/>
                </a:cubicBezTo>
                <a:cubicBezTo>
                  <a:pt x="7349308" y="916025"/>
                  <a:pt x="7335216" y="920722"/>
                  <a:pt x="7323472" y="925420"/>
                </a:cubicBezTo>
                <a:cubicBezTo>
                  <a:pt x="7309379" y="923071"/>
                  <a:pt x="7292938" y="920722"/>
                  <a:pt x="7269450" y="920722"/>
                </a:cubicBezTo>
                <a:cubicBezTo>
                  <a:pt x="7245962" y="920722"/>
                  <a:pt x="7215428" y="920722"/>
                  <a:pt x="7177848" y="925420"/>
                </a:cubicBezTo>
                <a:cubicBezTo>
                  <a:pt x="7128523" y="918373"/>
                  <a:pt x="7079199" y="913676"/>
                  <a:pt x="7032223" y="908978"/>
                </a:cubicBezTo>
                <a:cubicBezTo>
                  <a:pt x="7058060" y="899583"/>
                  <a:pt x="7090943" y="894886"/>
                  <a:pt x="7123826" y="890188"/>
                </a:cubicBezTo>
                <a:close/>
                <a:moveTo>
                  <a:pt x="3822031" y="870070"/>
                </a:moveTo>
                <a:cubicBezTo>
                  <a:pt x="3796048" y="866547"/>
                  <a:pt x="3756853" y="911908"/>
                  <a:pt x="3795607" y="934808"/>
                </a:cubicBezTo>
                <a:cubicBezTo>
                  <a:pt x="3809700" y="920715"/>
                  <a:pt x="3833188" y="927762"/>
                  <a:pt x="3840234" y="892530"/>
                </a:cubicBezTo>
                <a:cubicBezTo>
                  <a:pt x="3837886" y="877851"/>
                  <a:pt x="3830692" y="871245"/>
                  <a:pt x="3822031" y="870070"/>
                </a:cubicBezTo>
                <a:close/>
                <a:moveTo>
                  <a:pt x="3802287" y="839169"/>
                </a:moveTo>
                <a:cubicBezTo>
                  <a:pt x="3791938" y="840711"/>
                  <a:pt x="3786214" y="850840"/>
                  <a:pt x="3779166" y="859647"/>
                </a:cubicBezTo>
                <a:cubicBezTo>
                  <a:pt x="3790909" y="869042"/>
                  <a:pt x="3800304" y="869042"/>
                  <a:pt x="3809700" y="866693"/>
                </a:cubicBezTo>
                <a:cubicBezTo>
                  <a:pt x="3814397" y="857298"/>
                  <a:pt x="3816746" y="847903"/>
                  <a:pt x="3814397" y="840858"/>
                </a:cubicBezTo>
                <a:cubicBezTo>
                  <a:pt x="3809700" y="839096"/>
                  <a:pt x="3805736" y="838656"/>
                  <a:pt x="3802287" y="839169"/>
                </a:cubicBezTo>
                <a:close/>
                <a:moveTo>
                  <a:pt x="6989946" y="815021"/>
                </a:moveTo>
                <a:cubicBezTo>
                  <a:pt x="7015782" y="815021"/>
                  <a:pt x="7041619" y="815021"/>
                  <a:pt x="7069804" y="817370"/>
                </a:cubicBezTo>
                <a:cubicBezTo>
                  <a:pt x="7095641" y="819719"/>
                  <a:pt x="7126174" y="822067"/>
                  <a:pt x="7152011" y="826765"/>
                </a:cubicBezTo>
                <a:cubicBezTo>
                  <a:pt x="7177848" y="831462"/>
                  <a:pt x="7206033" y="836160"/>
                  <a:pt x="7231869" y="840858"/>
                </a:cubicBezTo>
                <a:cubicBezTo>
                  <a:pt x="7257706" y="845555"/>
                  <a:pt x="7283543" y="852601"/>
                  <a:pt x="7307031" y="857299"/>
                </a:cubicBezTo>
                <a:cubicBezTo>
                  <a:pt x="7166104" y="840858"/>
                  <a:pt x="7004038" y="840858"/>
                  <a:pt x="6846670" y="866694"/>
                </a:cubicBezTo>
                <a:cubicBezTo>
                  <a:pt x="6689302" y="871392"/>
                  <a:pt x="6536632" y="904275"/>
                  <a:pt x="6435634" y="977094"/>
                </a:cubicBezTo>
                <a:cubicBezTo>
                  <a:pt x="6412146" y="993532"/>
                  <a:pt x="6388658" y="1007623"/>
                  <a:pt x="6365170" y="1024062"/>
                </a:cubicBezTo>
                <a:cubicBezTo>
                  <a:pt x="6515492" y="946553"/>
                  <a:pt x="6679906" y="894879"/>
                  <a:pt x="6846670" y="866694"/>
                </a:cubicBezTo>
                <a:cubicBezTo>
                  <a:pt x="6938272" y="864345"/>
                  <a:pt x="7034572" y="871392"/>
                  <a:pt x="7123826" y="880787"/>
                </a:cubicBezTo>
                <a:cubicBezTo>
                  <a:pt x="7123826" y="880787"/>
                  <a:pt x="7121477" y="880787"/>
                  <a:pt x="7119128" y="880787"/>
                </a:cubicBezTo>
                <a:cubicBezTo>
                  <a:pt x="7048665" y="883136"/>
                  <a:pt x="6975853" y="885484"/>
                  <a:pt x="6905389" y="897228"/>
                </a:cubicBezTo>
                <a:cubicBezTo>
                  <a:pt x="6769160" y="897228"/>
                  <a:pt x="6635280" y="920716"/>
                  <a:pt x="6536632" y="974746"/>
                </a:cubicBezTo>
                <a:cubicBezTo>
                  <a:pt x="6524888" y="981791"/>
                  <a:pt x="6513144" y="988836"/>
                  <a:pt x="6501400" y="995881"/>
                </a:cubicBezTo>
                <a:cubicBezTo>
                  <a:pt x="6477912" y="1009972"/>
                  <a:pt x="6454424" y="1026410"/>
                  <a:pt x="6430937" y="1040505"/>
                </a:cubicBezTo>
                <a:cubicBezTo>
                  <a:pt x="6522539" y="995881"/>
                  <a:pt x="6621187" y="960655"/>
                  <a:pt x="6719836" y="934809"/>
                </a:cubicBezTo>
                <a:lnTo>
                  <a:pt x="6766812" y="923065"/>
                </a:lnTo>
                <a:lnTo>
                  <a:pt x="6813787" y="913670"/>
                </a:lnTo>
                <a:cubicBezTo>
                  <a:pt x="6844321" y="906623"/>
                  <a:pt x="6877204" y="901926"/>
                  <a:pt x="6907738" y="897228"/>
                </a:cubicBezTo>
                <a:cubicBezTo>
                  <a:pt x="6947668" y="897228"/>
                  <a:pt x="6989946" y="899577"/>
                  <a:pt x="7029875" y="901926"/>
                </a:cubicBezTo>
                <a:cubicBezTo>
                  <a:pt x="7025177" y="904275"/>
                  <a:pt x="7022828" y="904275"/>
                  <a:pt x="7018131" y="906623"/>
                </a:cubicBezTo>
                <a:cubicBezTo>
                  <a:pt x="7001689" y="908972"/>
                  <a:pt x="6971156" y="927762"/>
                  <a:pt x="6952365" y="951250"/>
                </a:cubicBezTo>
                <a:cubicBezTo>
                  <a:pt x="6935924" y="972397"/>
                  <a:pt x="6928877" y="998230"/>
                  <a:pt x="6954714" y="1005275"/>
                </a:cubicBezTo>
                <a:cubicBezTo>
                  <a:pt x="6985248" y="1002926"/>
                  <a:pt x="7020479" y="1002926"/>
                  <a:pt x="7053363" y="1000578"/>
                </a:cubicBezTo>
                <a:cubicBezTo>
                  <a:pt x="7086246" y="1000578"/>
                  <a:pt x="7121477" y="998230"/>
                  <a:pt x="7154360" y="1000578"/>
                </a:cubicBezTo>
                <a:cubicBezTo>
                  <a:pt x="7220126" y="1002926"/>
                  <a:pt x="7285892" y="1007623"/>
                  <a:pt x="7342262" y="1014668"/>
                </a:cubicBezTo>
                <a:cubicBezTo>
                  <a:pt x="7370448" y="1019366"/>
                  <a:pt x="7396284" y="1021715"/>
                  <a:pt x="7419772" y="1026410"/>
                </a:cubicBezTo>
                <a:cubicBezTo>
                  <a:pt x="7443259" y="1028760"/>
                  <a:pt x="7464399" y="1033457"/>
                  <a:pt x="7480840" y="1035807"/>
                </a:cubicBezTo>
                <a:cubicBezTo>
                  <a:pt x="7497282" y="1040505"/>
                  <a:pt x="7511375" y="1042855"/>
                  <a:pt x="7520770" y="1045204"/>
                </a:cubicBezTo>
                <a:cubicBezTo>
                  <a:pt x="7530165" y="1047553"/>
                  <a:pt x="7534862" y="1049903"/>
                  <a:pt x="7534862" y="1049903"/>
                </a:cubicBezTo>
                <a:cubicBezTo>
                  <a:pt x="7541908" y="1061649"/>
                  <a:pt x="7447957" y="1047553"/>
                  <a:pt x="7351657" y="1042855"/>
                </a:cubicBezTo>
                <a:cubicBezTo>
                  <a:pt x="7302333" y="1040505"/>
                  <a:pt x="7253009" y="1040505"/>
                  <a:pt x="7217777" y="1040505"/>
                </a:cubicBezTo>
                <a:cubicBezTo>
                  <a:pt x="7180197" y="1042855"/>
                  <a:pt x="7156709" y="1042855"/>
                  <a:pt x="7161406" y="1045204"/>
                </a:cubicBezTo>
                <a:cubicBezTo>
                  <a:pt x="7184894" y="1049903"/>
                  <a:pt x="7208382" y="1052252"/>
                  <a:pt x="7231869" y="1056951"/>
                </a:cubicBezTo>
                <a:cubicBezTo>
                  <a:pt x="7208382" y="1061649"/>
                  <a:pt x="7187243" y="1063999"/>
                  <a:pt x="7168453" y="1068697"/>
                </a:cubicBezTo>
                <a:cubicBezTo>
                  <a:pt x="7147314" y="1068697"/>
                  <a:pt x="7119128" y="1071047"/>
                  <a:pt x="7093292" y="1071047"/>
                </a:cubicBezTo>
                <a:cubicBezTo>
                  <a:pt x="7067455" y="1071047"/>
                  <a:pt x="7043967" y="1073396"/>
                  <a:pt x="7029875" y="1080444"/>
                </a:cubicBezTo>
                <a:cubicBezTo>
                  <a:pt x="7004038" y="1092184"/>
                  <a:pt x="6975853" y="1099230"/>
                  <a:pt x="6947668" y="1108624"/>
                </a:cubicBezTo>
                <a:cubicBezTo>
                  <a:pt x="6919482" y="1118020"/>
                  <a:pt x="6888948" y="1125065"/>
                  <a:pt x="6860763" y="1132109"/>
                </a:cubicBezTo>
                <a:cubicBezTo>
                  <a:pt x="6844321" y="1136809"/>
                  <a:pt x="6830229" y="1139159"/>
                  <a:pt x="6816136" y="1143854"/>
                </a:cubicBezTo>
                <a:cubicBezTo>
                  <a:pt x="6799694" y="1148552"/>
                  <a:pt x="6785602" y="1153249"/>
                  <a:pt x="6771509" y="1157947"/>
                </a:cubicBezTo>
                <a:cubicBezTo>
                  <a:pt x="6743324" y="1167342"/>
                  <a:pt x="6715138" y="1179086"/>
                  <a:pt x="6686953" y="1195527"/>
                </a:cubicBezTo>
                <a:cubicBezTo>
                  <a:pt x="6621187" y="1240156"/>
                  <a:pt x="6548375" y="1298877"/>
                  <a:pt x="6484958" y="1366994"/>
                </a:cubicBezTo>
                <a:cubicBezTo>
                  <a:pt x="6492004" y="1381087"/>
                  <a:pt x="6449726" y="1395180"/>
                  <a:pt x="6470865" y="1402227"/>
                </a:cubicBezTo>
                <a:cubicBezTo>
                  <a:pt x="6435634" y="1421018"/>
                  <a:pt x="6398053" y="1444506"/>
                  <a:pt x="6367519" y="1467995"/>
                </a:cubicBezTo>
                <a:cubicBezTo>
                  <a:pt x="6339334" y="1493832"/>
                  <a:pt x="6318195" y="1519670"/>
                  <a:pt x="6318195" y="1550205"/>
                </a:cubicBezTo>
                <a:lnTo>
                  <a:pt x="6313498" y="1554902"/>
                </a:lnTo>
                <a:cubicBezTo>
                  <a:pt x="6308800" y="1559600"/>
                  <a:pt x="6304102" y="1566646"/>
                  <a:pt x="6299405" y="1573692"/>
                </a:cubicBezTo>
                <a:cubicBezTo>
                  <a:pt x="6189012" y="1644155"/>
                  <a:pt x="6146734" y="1742801"/>
                  <a:pt x="6088015" y="1848493"/>
                </a:cubicBezTo>
                <a:cubicBezTo>
                  <a:pt x="6062178" y="1881375"/>
                  <a:pt x="6036341" y="1911908"/>
                  <a:pt x="6008156" y="1942441"/>
                </a:cubicBezTo>
                <a:cubicBezTo>
                  <a:pt x="6026946" y="1923652"/>
                  <a:pt x="6059829" y="1900164"/>
                  <a:pt x="6073922" y="1874328"/>
                </a:cubicBezTo>
                <a:cubicBezTo>
                  <a:pt x="6078620" y="1867282"/>
                  <a:pt x="6083317" y="1857888"/>
                  <a:pt x="6088015" y="1850841"/>
                </a:cubicBezTo>
                <a:cubicBezTo>
                  <a:pt x="6153780" y="1768636"/>
                  <a:pt x="6212500" y="1686432"/>
                  <a:pt x="6282963" y="1611273"/>
                </a:cubicBezTo>
                <a:cubicBezTo>
                  <a:pt x="6285312" y="1601879"/>
                  <a:pt x="6292358" y="1587786"/>
                  <a:pt x="6299405" y="1576042"/>
                </a:cubicBezTo>
                <a:cubicBezTo>
                  <a:pt x="6306451" y="1571345"/>
                  <a:pt x="6311149" y="1568995"/>
                  <a:pt x="6318195" y="1564298"/>
                </a:cubicBezTo>
                <a:cubicBezTo>
                  <a:pt x="6318195" y="1559600"/>
                  <a:pt x="6318195" y="1557251"/>
                  <a:pt x="6318195" y="1552554"/>
                </a:cubicBezTo>
                <a:cubicBezTo>
                  <a:pt x="6383961" y="1477390"/>
                  <a:pt x="6475563" y="1413971"/>
                  <a:pt x="6543678" y="1357599"/>
                </a:cubicBezTo>
                <a:cubicBezTo>
                  <a:pt x="6611792" y="1310621"/>
                  <a:pt x="6689302" y="1277737"/>
                  <a:pt x="6769160" y="1254249"/>
                </a:cubicBezTo>
                <a:cubicBezTo>
                  <a:pt x="6851368" y="1233110"/>
                  <a:pt x="6933575" y="1219016"/>
                  <a:pt x="7015782" y="1209621"/>
                </a:cubicBezTo>
                <a:cubicBezTo>
                  <a:pt x="6935924" y="1233110"/>
                  <a:pt x="6860763" y="1261296"/>
                  <a:pt x="6790299" y="1296529"/>
                </a:cubicBezTo>
                <a:cubicBezTo>
                  <a:pt x="6879553" y="1256597"/>
                  <a:pt x="6968807" y="1228412"/>
                  <a:pt x="7058060" y="1207272"/>
                </a:cubicBezTo>
                <a:cubicBezTo>
                  <a:pt x="7072153" y="1207272"/>
                  <a:pt x="7086246" y="1204923"/>
                  <a:pt x="7100338" y="1204923"/>
                </a:cubicBezTo>
                <a:cubicBezTo>
                  <a:pt x="7128523" y="1202575"/>
                  <a:pt x="7159058" y="1200226"/>
                  <a:pt x="7187243" y="1200226"/>
                </a:cubicBezTo>
                <a:cubicBezTo>
                  <a:pt x="7159058" y="1197877"/>
                  <a:pt x="7130872" y="1197877"/>
                  <a:pt x="7105036" y="1197877"/>
                </a:cubicBezTo>
                <a:cubicBezTo>
                  <a:pt x="7119128" y="1195527"/>
                  <a:pt x="7130872" y="1193178"/>
                  <a:pt x="7144965" y="1190830"/>
                </a:cubicBezTo>
                <a:cubicBezTo>
                  <a:pt x="7159058" y="1188481"/>
                  <a:pt x="7170802" y="1186132"/>
                  <a:pt x="7184894" y="1183783"/>
                </a:cubicBezTo>
                <a:cubicBezTo>
                  <a:pt x="7210731" y="1179086"/>
                  <a:pt x="7238916" y="1176737"/>
                  <a:pt x="7264753" y="1174388"/>
                </a:cubicBezTo>
                <a:cubicBezTo>
                  <a:pt x="7412726" y="1167342"/>
                  <a:pt x="7560698" y="1181435"/>
                  <a:pt x="7706323" y="1200226"/>
                </a:cubicBezTo>
                <a:cubicBezTo>
                  <a:pt x="7851948" y="1219016"/>
                  <a:pt x="7997571" y="1242505"/>
                  <a:pt x="8143196" y="1247202"/>
                </a:cubicBezTo>
                <a:cubicBezTo>
                  <a:pt x="8138498" y="1247202"/>
                  <a:pt x="8131452" y="1249551"/>
                  <a:pt x="8124405" y="1249551"/>
                </a:cubicBezTo>
                <a:cubicBezTo>
                  <a:pt x="7983479" y="1247202"/>
                  <a:pt x="7844901" y="1228412"/>
                  <a:pt x="7727462" y="1233110"/>
                </a:cubicBezTo>
                <a:cubicBezTo>
                  <a:pt x="7809669" y="1240156"/>
                  <a:pt x="7866040" y="1242505"/>
                  <a:pt x="7943550" y="1247202"/>
                </a:cubicBezTo>
                <a:cubicBezTo>
                  <a:pt x="7943550" y="1247202"/>
                  <a:pt x="7943550" y="1249551"/>
                  <a:pt x="7936503" y="1249551"/>
                </a:cubicBezTo>
                <a:cubicBezTo>
                  <a:pt x="7988176" y="1249551"/>
                  <a:pt x="8046896" y="1251900"/>
                  <a:pt x="8103266" y="1251900"/>
                </a:cubicBezTo>
                <a:cubicBezTo>
                  <a:pt x="8084476" y="1256597"/>
                  <a:pt x="8065686" y="1258946"/>
                  <a:pt x="8044547" y="1263644"/>
                </a:cubicBezTo>
                <a:cubicBezTo>
                  <a:pt x="8016362" y="1265994"/>
                  <a:pt x="7971735" y="1265994"/>
                  <a:pt x="7934155" y="1254249"/>
                </a:cubicBezTo>
                <a:cubicBezTo>
                  <a:pt x="7840204" y="1256597"/>
                  <a:pt x="7748601" y="1251900"/>
                  <a:pt x="7656999" y="1247202"/>
                </a:cubicBezTo>
                <a:cubicBezTo>
                  <a:pt x="7565396" y="1244854"/>
                  <a:pt x="7476143" y="1240156"/>
                  <a:pt x="7384540" y="1244854"/>
                </a:cubicBezTo>
                <a:cubicBezTo>
                  <a:pt x="7304682" y="1242505"/>
                  <a:pt x="7224823" y="1242505"/>
                  <a:pt x="7144965" y="1249551"/>
                </a:cubicBezTo>
                <a:cubicBezTo>
                  <a:pt x="7065107" y="1254249"/>
                  <a:pt x="6987597" y="1268342"/>
                  <a:pt x="6912436" y="1287133"/>
                </a:cubicBezTo>
                <a:cubicBezTo>
                  <a:pt x="7058060" y="1230761"/>
                  <a:pt x="7206033" y="1204923"/>
                  <a:pt x="7349308" y="1193178"/>
                </a:cubicBezTo>
                <a:cubicBezTo>
                  <a:pt x="7269450" y="1195527"/>
                  <a:pt x="7191941" y="1204923"/>
                  <a:pt x="7116779" y="1221365"/>
                </a:cubicBezTo>
                <a:cubicBezTo>
                  <a:pt x="7079199" y="1228412"/>
                  <a:pt x="7041619" y="1240156"/>
                  <a:pt x="7006387" y="1249551"/>
                </a:cubicBezTo>
                <a:cubicBezTo>
                  <a:pt x="6971156" y="1261296"/>
                  <a:pt x="6935924" y="1273040"/>
                  <a:pt x="6903040" y="1289481"/>
                </a:cubicBezTo>
                <a:cubicBezTo>
                  <a:pt x="6621187" y="1364645"/>
                  <a:pt x="6379263" y="1533762"/>
                  <a:pt x="6240685" y="1749847"/>
                </a:cubicBezTo>
                <a:cubicBezTo>
                  <a:pt x="6203105" y="1813262"/>
                  <a:pt x="6146734" y="1886072"/>
                  <a:pt x="6092712" y="1963579"/>
                </a:cubicBezTo>
                <a:cubicBezTo>
                  <a:pt x="6102108" y="1963579"/>
                  <a:pt x="6109154" y="1965928"/>
                  <a:pt x="6118549" y="1965928"/>
                </a:cubicBezTo>
                <a:cubicBezTo>
                  <a:pt x="6158478" y="1923652"/>
                  <a:pt x="6196059" y="1883723"/>
                  <a:pt x="6235987" y="1843795"/>
                </a:cubicBezTo>
                <a:cubicBezTo>
                  <a:pt x="6212500" y="1881375"/>
                  <a:pt x="6184315" y="1923652"/>
                  <a:pt x="6153780" y="1968276"/>
                </a:cubicBezTo>
                <a:cubicBezTo>
                  <a:pt x="6163175" y="1968276"/>
                  <a:pt x="6170222" y="1970625"/>
                  <a:pt x="6179617" y="1970625"/>
                </a:cubicBezTo>
                <a:cubicBezTo>
                  <a:pt x="6184315" y="1970625"/>
                  <a:pt x="6189012" y="1972974"/>
                  <a:pt x="6193710" y="1972974"/>
                </a:cubicBezTo>
                <a:cubicBezTo>
                  <a:pt x="6231290" y="1930697"/>
                  <a:pt x="6268870" y="1890770"/>
                  <a:pt x="6306451" y="1850841"/>
                </a:cubicBezTo>
                <a:cubicBezTo>
                  <a:pt x="6278266" y="1893119"/>
                  <a:pt x="6252429" y="1935394"/>
                  <a:pt x="6226592" y="1977673"/>
                </a:cubicBezTo>
                <a:cubicBezTo>
                  <a:pt x="6226592" y="1980020"/>
                  <a:pt x="6224244" y="1980020"/>
                  <a:pt x="6224244" y="1982369"/>
                </a:cubicBezTo>
                <a:cubicBezTo>
                  <a:pt x="6240685" y="1984719"/>
                  <a:pt x="6259475" y="1987067"/>
                  <a:pt x="6275917" y="1989415"/>
                </a:cubicBezTo>
                <a:cubicBezTo>
                  <a:pt x="6278266" y="1991764"/>
                  <a:pt x="6282963" y="1991764"/>
                  <a:pt x="6285312" y="1991764"/>
                </a:cubicBezTo>
                <a:cubicBezTo>
                  <a:pt x="6268870" y="1989415"/>
                  <a:pt x="6257126" y="1989415"/>
                  <a:pt x="6247731" y="1989415"/>
                </a:cubicBezTo>
                <a:cubicBezTo>
                  <a:pt x="6240685" y="1989415"/>
                  <a:pt x="6231290" y="1989415"/>
                  <a:pt x="6219546" y="1987067"/>
                </a:cubicBezTo>
                <a:cubicBezTo>
                  <a:pt x="6217198" y="1991764"/>
                  <a:pt x="6214849" y="1994112"/>
                  <a:pt x="6212500" y="1998811"/>
                </a:cubicBezTo>
                <a:lnTo>
                  <a:pt x="6228080" y="2000936"/>
                </a:lnTo>
                <a:lnTo>
                  <a:pt x="6243036" y="2001169"/>
                </a:lnTo>
                <a:cubicBezTo>
                  <a:pt x="6268469" y="2004251"/>
                  <a:pt x="6269119" y="2005057"/>
                  <a:pt x="6261167" y="2004832"/>
                </a:cubicBezTo>
                <a:lnTo>
                  <a:pt x="6253963" y="2004465"/>
                </a:lnTo>
                <a:lnTo>
                  <a:pt x="6264173" y="2005860"/>
                </a:lnTo>
                <a:lnTo>
                  <a:pt x="6294316" y="2010163"/>
                </a:lnTo>
                <a:lnTo>
                  <a:pt x="6268870" y="2008212"/>
                </a:lnTo>
                <a:cubicBezTo>
                  <a:pt x="6247731" y="2005860"/>
                  <a:pt x="6226592" y="2003509"/>
                  <a:pt x="6207803" y="2001159"/>
                </a:cubicBezTo>
                <a:cubicBezTo>
                  <a:pt x="6207803" y="2003509"/>
                  <a:pt x="6205454" y="2003509"/>
                  <a:pt x="6205454" y="2005860"/>
                </a:cubicBezTo>
                <a:cubicBezTo>
                  <a:pt x="6228941" y="2008212"/>
                  <a:pt x="6252429" y="2010553"/>
                  <a:pt x="6271219" y="2012900"/>
                </a:cubicBezTo>
                <a:lnTo>
                  <a:pt x="6275917" y="2012900"/>
                </a:lnTo>
                <a:cubicBezTo>
                  <a:pt x="6395705" y="2031688"/>
                  <a:pt x="6513144" y="2059879"/>
                  <a:pt x="6623536" y="2104502"/>
                </a:cubicBezTo>
                <a:cubicBezTo>
                  <a:pt x="6678733" y="2127997"/>
                  <a:pt x="6732167" y="2155023"/>
                  <a:pt x="6783253" y="2185812"/>
                </a:cubicBezTo>
                <a:lnTo>
                  <a:pt x="6843634" y="2229036"/>
                </a:lnTo>
                <a:lnTo>
                  <a:pt x="6832714" y="2222483"/>
                </a:lnTo>
                <a:lnTo>
                  <a:pt x="6825531" y="2217233"/>
                </a:lnTo>
                <a:lnTo>
                  <a:pt x="6784813" y="2193739"/>
                </a:lnTo>
                <a:lnTo>
                  <a:pt x="6769158" y="2184346"/>
                </a:lnTo>
                <a:lnTo>
                  <a:pt x="6769160" y="2184346"/>
                </a:lnTo>
                <a:cubicBezTo>
                  <a:pt x="6757417" y="2177291"/>
                  <a:pt x="6745673" y="2170238"/>
                  <a:pt x="6733929" y="2163216"/>
                </a:cubicBezTo>
                <a:lnTo>
                  <a:pt x="6769158" y="2184346"/>
                </a:lnTo>
                <a:lnTo>
                  <a:pt x="6764463" y="2181994"/>
                </a:lnTo>
                <a:lnTo>
                  <a:pt x="6784813" y="2193739"/>
                </a:lnTo>
                <a:lnTo>
                  <a:pt x="6832714" y="2222483"/>
                </a:lnTo>
                <a:lnTo>
                  <a:pt x="6886599" y="2261861"/>
                </a:lnTo>
                <a:cubicBezTo>
                  <a:pt x="6874856" y="2252467"/>
                  <a:pt x="6858414" y="2243076"/>
                  <a:pt x="6844321" y="2233674"/>
                </a:cubicBezTo>
                <a:cubicBezTo>
                  <a:pt x="6825531" y="2217233"/>
                  <a:pt x="6790299" y="2200795"/>
                  <a:pt x="6757417" y="2181994"/>
                </a:cubicBezTo>
                <a:cubicBezTo>
                  <a:pt x="6721011" y="2162630"/>
                  <a:pt x="6684164" y="2145476"/>
                  <a:pt x="6646877" y="2130274"/>
                </a:cubicBezTo>
                <a:lnTo>
                  <a:pt x="6614219" y="2118772"/>
                </a:lnTo>
                <a:lnTo>
                  <a:pt x="6602397" y="2113904"/>
                </a:lnTo>
                <a:cubicBezTo>
                  <a:pt x="6588304" y="2109202"/>
                  <a:pt x="6576560" y="2104502"/>
                  <a:pt x="6562468" y="2099806"/>
                </a:cubicBezTo>
                <a:cubicBezTo>
                  <a:pt x="6548375" y="2095111"/>
                  <a:pt x="6536632" y="2090411"/>
                  <a:pt x="6522539" y="2085712"/>
                </a:cubicBezTo>
                <a:cubicBezTo>
                  <a:pt x="6508446" y="2081019"/>
                  <a:pt x="6496702" y="2078665"/>
                  <a:pt x="6482609" y="2073967"/>
                </a:cubicBezTo>
                <a:cubicBezTo>
                  <a:pt x="6456772" y="2069276"/>
                  <a:pt x="6430937" y="2059879"/>
                  <a:pt x="6405100" y="2055183"/>
                </a:cubicBezTo>
                <a:cubicBezTo>
                  <a:pt x="6379263" y="2050485"/>
                  <a:pt x="6353426" y="2045787"/>
                  <a:pt x="6327590" y="2041088"/>
                </a:cubicBezTo>
                <a:lnTo>
                  <a:pt x="6294707" y="2036390"/>
                </a:lnTo>
                <a:lnTo>
                  <a:pt x="6261824" y="2034040"/>
                </a:lnTo>
                <a:cubicBezTo>
                  <a:pt x="6261824" y="2034040"/>
                  <a:pt x="6259475" y="2034040"/>
                  <a:pt x="6264173" y="2036390"/>
                </a:cubicBezTo>
                <a:lnTo>
                  <a:pt x="6278408" y="2038855"/>
                </a:lnTo>
                <a:lnTo>
                  <a:pt x="6189012" y="2029341"/>
                </a:lnTo>
                <a:cubicBezTo>
                  <a:pt x="6189012" y="2031688"/>
                  <a:pt x="6186663" y="2031688"/>
                  <a:pt x="6186663" y="2034040"/>
                </a:cubicBezTo>
                <a:lnTo>
                  <a:pt x="6257126" y="2041088"/>
                </a:lnTo>
                <a:cubicBezTo>
                  <a:pt x="6233639" y="2041088"/>
                  <a:pt x="6210151" y="2038738"/>
                  <a:pt x="6186663" y="2036390"/>
                </a:cubicBezTo>
                <a:cubicBezTo>
                  <a:pt x="6156129" y="2088062"/>
                  <a:pt x="6123246" y="2142092"/>
                  <a:pt x="6090364" y="2198442"/>
                </a:cubicBezTo>
                <a:cubicBezTo>
                  <a:pt x="6062178" y="2240725"/>
                  <a:pt x="6036341" y="2282998"/>
                  <a:pt x="6010505" y="2327621"/>
                </a:cubicBezTo>
                <a:cubicBezTo>
                  <a:pt x="6033992" y="2238373"/>
                  <a:pt x="6052783" y="2144444"/>
                  <a:pt x="6109154" y="2064576"/>
                </a:cubicBezTo>
                <a:lnTo>
                  <a:pt x="6130684" y="2041088"/>
                </a:lnTo>
                <a:lnTo>
                  <a:pt x="6134990" y="2041088"/>
                </a:lnTo>
                <a:cubicBezTo>
                  <a:pt x="6137339" y="2041088"/>
                  <a:pt x="6137339" y="2038738"/>
                  <a:pt x="6139687" y="2036390"/>
                </a:cubicBezTo>
                <a:lnTo>
                  <a:pt x="6134990" y="2036390"/>
                </a:lnTo>
                <a:lnTo>
                  <a:pt x="6130684" y="2041088"/>
                </a:lnTo>
                <a:lnTo>
                  <a:pt x="6106805" y="2041088"/>
                </a:lnTo>
                <a:cubicBezTo>
                  <a:pt x="6109154" y="2038738"/>
                  <a:pt x="6109154" y="2036390"/>
                  <a:pt x="6111503" y="2036390"/>
                </a:cubicBezTo>
                <a:lnTo>
                  <a:pt x="6106805" y="2036390"/>
                </a:lnTo>
                <a:cubicBezTo>
                  <a:pt x="6071573" y="2088062"/>
                  <a:pt x="6036341" y="2144444"/>
                  <a:pt x="6003459" y="2203143"/>
                </a:cubicBezTo>
                <a:cubicBezTo>
                  <a:pt x="6011680" y="2174939"/>
                  <a:pt x="6019900" y="2146209"/>
                  <a:pt x="6029589" y="2118012"/>
                </a:cubicBezTo>
                <a:lnTo>
                  <a:pt x="6062516" y="2041088"/>
                </a:lnTo>
                <a:lnTo>
                  <a:pt x="6064527" y="2041088"/>
                </a:lnTo>
                <a:cubicBezTo>
                  <a:pt x="6066876" y="2038738"/>
                  <a:pt x="6066876" y="2038738"/>
                  <a:pt x="6069224" y="2036390"/>
                </a:cubicBezTo>
                <a:lnTo>
                  <a:pt x="6064527" y="2036390"/>
                </a:lnTo>
                <a:lnTo>
                  <a:pt x="6062516" y="2041088"/>
                </a:lnTo>
                <a:lnTo>
                  <a:pt x="6062178" y="2041088"/>
                </a:lnTo>
                <a:lnTo>
                  <a:pt x="6041039" y="2041088"/>
                </a:lnTo>
                <a:cubicBezTo>
                  <a:pt x="6043388" y="2038738"/>
                  <a:pt x="6043388" y="2036390"/>
                  <a:pt x="6045736" y="2036390"/>
                </a:cubicBezTo>
                <a:lnTo>
                  <a:pt x="6041039" y="2036390"/>
                </a:lnTo>
                <a:cubicBezTo>
                  <a:pt x="6029295" y="2052830"/>
                  <a:pt x="6019900" y="2069276"/>
                  <a:pt x="6008156" y="2088062"/>
                </a:cubicBezTo>
                <a:cubicBezTo>
                  <a:pt x="5958832" y="2165556"/>
                  <a:pt x="5916554" y="2250114"/>
                  <a:pt x="5890717" y="2334671"/>
                </a:cubicBezTo>
                <a:cubicBezTo>
                  <a:pt x="5878973" y="2163216"/>
                  <a:pt x="5871927" y="1970625"/>
                  <a:pt x="5749790" y="1843795"/>
                </a:cubicBezTo>
                <a:cubicBezTo>
                  <a:pt x="5669932" y="1900164"/>
                  <a:pt x="5599469" y="1839098"/>
                  <a:pt x="5510215" y="1815611"/>
                </a:cubicBezTo>
                <a:cubicBezTo>
                  <a:pt x="5557191" y="1759242"/>
                  <a:pt x="5604166" y="1702873"/>
                  <a:pt x="5632351" y="1639458"/>
                </a:cubicBezTo>
                <a:cubicBezTo>
                  <a:pt x="5625305" y="1632412"/>
                  <a:pt x="5658188" y="1597181"/>
                  <a:pt x="5634700" y="1597181"/>
                </a:cubicBezTo>
                <a:cubicBezTo>
                  <a:pt x="5698117" y="1522018"/>
                  <a:pt x="5782674" y="1446854"/>
                  <a:pt x="5850788" y="1371692"/>
                </a:cubicBezTo>
                <a:cubicBezTo>
                  <a:pt x="5866055" y="1355250"/>
                  <a:pt x="5880148" y="1338221"/>
                  <a:pt x="5893359" y="1320017"/>
                </a:cubicBezTo>
                <a:lnTo>
                  <a:pt x="5911403" y="1291601"/>
                </a:lnTo>
                <a:lnTo>
                  <a:pt x="5798602" y="1399841"/>
                </a:lnTo>
                <a:cubicBezTo>
                  <a:pt x="5674631" y="1528771"/>
                  <a:pt x="5567174" y="1670578"/>
                  <a:pt x="5470286" y="1820308"/>
                </a:cubicBezTo>
                <a:cubicBezTo>
                  <a:pt x="5465589" y="1820308"/>
                  <a:pt x="5458543" y="1820308"/>
                  <a:pt x="5453845" y="1820308"/>
                </a:cubicBezTo>
                <a:cubicBezTo>
                  <a:pt x="5474984" y="1787426"/>
                  <a:pt x="5498472" y="1756893"/>
                  <a:pt x="5521959" y="1726360"/>
                </a:cubicBezTo>
                <a:cubicBezTo>
                  <a:pt x="5531354" y="1714616"/>
                  <a:pt x="5540750" y="1695827"/>
                  <a:pt x="5547796" y="1674688"/>
                </a:cubicBezTo>
                <a:cubicBezTo>
                  <a:pt x="5554842" y="1655899"/>
                  <a:pt x="5564239" y="1634761"/>
                  <a:pt x="5571285" y="1620668"/>
                </a:cubicBezTo>
                <a:cubicBezTo>
                  <a:pt x="5590075" y="1580740"/>
                  <a:pt x="5613563" y="1545507"/>
                  <a:pt x="5639399" y="1510273"/>
                </a:cubicBezTo>
                <a:cubicBezTo>
                  <a:pt x="5667585" y="1475041"/>
                  <a:pt x="5695770" y="1442157"/>
                  <a:pt x="5728653" y="1409273"/>
                </a:cubicBezTo>
                <a:cubicBezTo>
                  <a:pt x="5759187" y="1376389"/>
                  <a:pt x="5796768" y="1345854"/>
                  <a:pt x="5831999" y="1317667"/>
                </a:cubicBezTo>
                <a:cubicBezTo>
                  <a:pt x="5869580" y="1289481"/>
                  <a:pt x="5909509" y="1263644"/>
                  <a:pt x="5951787" y="1237807"/>
                </a:cubicBezTo>
                <a:lnTo>
                  <a:pt x="5943164" y="1251604"/>
                </a:lnTo>
                <a:lnTo>
                  <a:pt x="6149083" y="1092184"/>
                </a:lnTo>
                <a:cubicBezTo>
                  <a:pt x="6226592" y="1040505"/>
                  <a:pt x="6311149" y="993532"/>
                  <a:pt x="6400402" y="953598"/>
                </a:cubicBezTo>
                <a:cubicBezTo>
                  <a:pt x="6576560" y="873741"/>
                  <a:pt x="6778555" y="819719"/>
                  <a:pt x="6989946" y="815021"/>
                </a:cubicBezTo>
                <a:close/>
                <a:moveTo>
                  <a:pt x="3320273" y="792671"/>
                </a:moveTo>
                <a:cubicBezTo>
                  <a:pt x="3319392" y="792855"/>
                  <a:pt x="3318218" y="793882"/>
                  <a:pt x="3316456" y="796231"/>
                </a:cubicBezTo>
                <a:cubicBezTo>
                  <a:pt x="3314107" y="800929"/>
                  <a:pt x="3323502" y="807975"/>
                  <a:pt x="3328200" y="800929"/>
                </a:cubicBezTo>
                <a:cubicBezTo>
                  <a:pt x="3322916" y="799167"/>
                  <a:pt x="3322916" y="792121"/>
                  <a:pt x="3320273" y="792671"/>
                </a:cubicBezTo>
                <a:close/>
                <a:moveTo>
                  <a:pt x="3431546" y="779790"/>
                </a:moveTo>
                <a:cubicBezTo>
                  <a:pt x="3368129" y="796231"/>
                  <a:pt x="3368129" y="819719"/>
                  <a:pt x="3431546" y="779790"/>
                </a:cubicBezTo>
                <a:close/>
                <a:moveTo>
                  <a:pt x="2012904" y="704672"/>
                </a:moveTo>
                <a:cubicBezTo>
                  <a:pt x="2010554" y="709370"/>
                  <a:pt x="2008209" y="711718"/>
                  <a:pt x="2005859" y="714067"/>
                </a:cubicBezTo>
                <a:cubicBezTo>
                  <a:pt x="2003508" y="714067"/>
                  <a:pt x="2010554" y="707021"/>
                  <a:pt x="2012904" y="704672"/>
                </a:cubicBezTo>
                <a:close/>
                <a:moveTo>
                  <a:pt x="2024651" y="697626"/>
                </a:moveTo>
                <a:cubicBezTo>
                  <a:pt x="2022301" y="699975"/>
                  <a:pt x="2019952" y="702324"/>
                  <a:pt x="2019952" y="704672"/>
                </a:cubicBezTo>
                <a:lnTo>
                  <a:pt x="2015252" y="709370"/>
                </a:lnTo>
                <a:close/>
                <a:moveTo>
                  <a:pt x="1984501" y="694786"/>
                </a:moveTo>
                <a:lnTo>
                  <a:pt x="1984522" y="695081"/>
                </a:lnTo>
                <a:lnTo>
                  <a:pt x="1982373" y="697626"/>
                </a:lnTo>
                <a:close/>
                <a:moveTo>
                  <a:pt x="2017601" y="690580"/>
                </a:moveTo>
                <a:lnTo>
                  <a:pt x="2017253" y="691103"/>
                </a:lnTo>
                <a:lnTo>
                  <a:pt x="2015268" y="692918"/>
                </a:lnTo>
                <a:close/>
                <a:moveTo>
                  <a:pt x="1989417" y="688231"/>
                </a:moveTo>
                <a:lnTo>
                  <a:pt x="1984501" y="694786"/>
                </a:lnTo>
                <a:lnTo>
                  <a:pt x="1984426" y="693809"/>
                </a:lnTo>
                <a:cubicBezTo>
                  <a:pt x="1985894" y="691754"/>
                  <a:pt x="1988245" y="689406"/>
                  <a:pt x="1989417" y="688231"/>
                </a:cubicBezTo>
                <a:close/>
                <a:moveTo>
                  <a:pt x="2022005" y="686763"/>
                </a:moveTo>
                <a:cubicBezTo>
                  <a:pt x="2023474" y="685882"/>
                  <a:pt x="2023474" y="687057"/>
                  <a:pt x="2019952" y="692928"/>
                </a:cubicBezTo>
                <a:cubicBezTo>
                  <a:pt x="2015252" y="697626"/>
                  <a:pt x="2010559" y="699975"/>
                  <a:pt x="2005859" y="707021"/>
                </a:cubicBezTo>
                <a:cubicBezTo>
                  <a:pt x="2012909" y="694690"/>
                  <a:pt x="2012024" y="698214"/>
                  <a:pt x="2014116" y="695791"/>
                </a:cubicBezTo>
                <a:lnTo>
                  <a:pt x="2017253" y="691103"/>
                </a:lnTo>
                <a:close/>
                <a:moveTo>
                  <a:pt x="1956531" y="683533"/>
                </a:moveTo>
                <a:cubicBezTo>
                  <a:pt x="1951838" y="688231"/>
                  <a:pt x="1954188" y="690579"/>
                  <a:pt x="1949488" y="690579"/>
                </a:cubicBezTo>
                <a:cubicBezTo>
                  <a:pt x="1951838" y="683533"/>
                  <a:pt x="1937746" y="699975"/>
                  <a:pt x="1940096" y="692928"/>
                </a:cubicBezTo>
                <a:cubicBezTo>
                  <a:pt x="1951838" y="683533"/>
                  <a:pt x="1951838" y="685882"/>
                  <a:pt x="1956531" y="683533"/>
                </a:cubicBezTo>
                <a:close/>
                <a:moveTo>
                  <a:pt x="1945933" y="668858"/>
                </a:moveTo>
                <a:lnTo>
                  <a:pt x="1946078" y="668928"/>
                </a:lnTo>
                <a:lnTo>
                  <a:pt x="1944790" y="669441"/>
                </a:lnTo>
                <a:close/>
                <a:moveTo>
                  <a:pt x="1945651" y="668723"/>
                </a:moveTo>
                <a:lnTo>
                  <a:pt x="1945805" y="668797"/>
                </a:lnTo>
                <a:lnTo>
                  <a:pt x="1944790" y="669441"/>
                </a:lnTo>
                <a:close/>
                <a:moveTo>
                  <a:pt x="1968277" y="660046"/>
                </a:moveTo>
                <a:lnTo>
                  <a:pt x="1958316" y="666272"/>
                </a:lnTo>
                <a:lnTo>
                  <a:pt x="1947140" y="669441"/>
                </a:lnTo>
                <a:lnTo>
                  <a:pt x="1946078" y="668928"/>
                </a:lnTo>
                <a:close/>
                <a:moveTo>
                  <a:pt x="1953013" y="658664"/>
                </a:moveTo>
                <a:lnTo>
                  <a:pt x="1952616" y="658894"/>
                </a:lnTo>
                <a:lnTo>
                  <a:pt x="1947140" y="660046"/>
                </a:lnTo>
                <a:close/>
                <a:moveTo>
                  <a:pt x="1959889" y="657362"/>
                </a:moveTo>
                <a:lnTo>
                  <a:pt x="1957342" y="659202"/>
                </a:lnTo>
                <a:cubicBezTo>
                  <a:pt x="1955505" y="660560"/>
                  <a:pt x="1954479" y="661367"/>
                  <a:pt x="1953599" y="662101"/>
                </a:cubicBezTo>
                <a:lnTo>
                  <a:pt x="1945651" y="668723"/>
                </a:lnTo>
                <a:lnTo>
                  <a:pt x="1938626" y="665330"/>
                </a:lnTo>
                <a:cubicBezTo>
                  <a:pt x="1937746" y="665330"/>
                  <a:pt x="1938917" y="665918"/>
                  <a:pt x="1942441" y="664743"/>
                </a:cubicBezTo>
                <a:lnTo>
                  <a:pt x="1952616" y="658894"/>
                </a:lnTo>
                <a:close/>
                <a:moveTo>
                  <a:pt x="1970625" y="655348"/>
                </a:moveTo>
                <a:cubicBezTo>
                  <a:pt x="1968277" y="656523"/>
                  <a:pt x="1962410" y="660046"/>
                  <a:pt x="1956829" y="663276"/>
                </a:cubicBezTo>
                <a:lnTo>
                  <a:pt x="1945933" y="668858"/>
                </a:lnTo>
                <a:lnTo>
                  <a:pt x="1945805" y="668797"/>
                </a:lnTo>
                <a:lnTo>
                  <a:pt x="1949821" y="666248"/>
                </a:lnTo>
                <a:cubicBezTo>
                  <a:pt x="1957414" y="661954"/>
                  <a:pt x="1970625" y="655348"/>
                  <a:pt x="1970625" y="655348"/>
                </a:cubicBezTo>
                <a:close/>
                <a:moveTo>
                  <a:pt x="1962649" y="654393"/>
                </a:moveTo>
                <a:lnTo>
                  <a:pt x="1963435" y="654761"/>
                </a:lnTo>
                <a:lnTo>
                  <a:pt x="1963504" y="654751"/>
                </a:lnTo>
                <a:lnTo>
                  <a:pt x="1960538" y="656894"/>
                </a:lnTo>
                <a:lnTo>
                  <a:pt x="1953013" y="658664"/>
                </a:lnTo>
                <a:lnTo>
                  <a:pt x="1954188" y="657991"/>
                </a:lnTo>
                <a:close/>
                <a:moveTo>
                  <a:pt x="2123295" y="615420"/>
                </a:moveTo>
                <a:cubicBezTo>
                  <a:pt x="2118599" y="622466"/>
                  <a:pt x="2130343" y="615420"/>
                  <a:pt x="2125642" y="620117"/>
                </a:cubicBezTo>
                <a:cubicBezTo>
                  <a:pt x="2125642" y="620117"/>
                  <a:pt x="2123295" y="620117"/>
                  <a:pt x="2123295" y="620117"/>
                </a:cubicBezTo>
                <a:cubicBezTo>
                  <a:pt x="2126816" y="616594"/>
                  <a:pt x="2117129" y="620998"/>
                  <a:pt x="2119001" y="618466"/>
                </a:cubicBezTo>
                <a:lnTo>
                  <a:pt x="2121705" y="616273"/>
                </a:lnTo>
                <a:close/>
                <a:moveTo>
                  <a:pt x="2100396" y="579895"/>
                </a:moveTo>
                <a:cubicBezTo>
                  <a:pt x="2101575" y="580188"/>
                  <a:pt x="2102158" y="581363"/>
                  <a:pt x="2099809" y="584887"/>
                </a:cubicBezTo>
                <a:cubicBezTo>
                  <a:pt x="2097464" y="587234"/>
                  <a:pt x="2095114" y="589584"/>
                  <a:pt x="2092764" y="591932"/>
                </a:cubicBezTo>
                <a:cubicBezTo>
                  <a:pt x="2099809" y="582538"/>
                  <a:pt x="2092764" y="589584"/>
                  <a:pt x="2088066" y="594281"/>
                </a:cubicBezTo>
                <a:cubicBezTo>
                  <a:pt x="2090414" y="589584"/>
                  <a:pt x="2092764" y="589584"/>
                  <a:pt x="2095114" y="587234"/>
                </a:cubicBezTo>
                <a:lnTo>
                  <a:pt x="2092091" y="589248"/>
                </a:lnTo>
                <a:lnTo>
                  <a:pt x="2097459" y="582541"/>
                </a:lnTo>
                <a:lnTo>
                  <a:pt x="2097464" y="582538"/>
                </a:lnTo>
                <a:lnTo>
                  <a:pt x="2097464" y="582537"/>
                </a:lnTo>
                <a:lnTo>
                  <a:pt x="2100071" y="579927"/>
                </a:lnTo>
                <a:close/>
                <a:moveTo>
                  <a:pt x="2027882" y="547306"/>
                </a:moveTo>
                <a:cubicBezTo>
                  <a:pt x="2028762" y="546132"/>
                  <a:pt x="2029347" y="546132"/>
                  <a:pt x="2029347" y="549655"/>
                </a:cubicBezTo>
                <a:lnTo>
                  <a:pt x="2028133" y="552412"/>
                </a:lnTo>
                <a:lnTo>
                  <a:pt x="2027882" y="552004"/>
                </a:lnTo>
                <a:lnTo>
                  <a:pt x="2025617" y="555293"/>
                </a:lnTo>
                <a:lnTo>
                  <a:pt x="2024651" y="552004"/>
                </a:lnTo>
                <a:cubicBezTo>
                  <a:pt x="2025823" y="550829"/>
                  <a:pt x="2026995" y="548481"/>
                  <a:pt x="2027882" y="547306"/>
                </a:cubicBezTo>
                <a:close/>
                <a:moveTo>
                  <a:pt x="2057532" y="542608"/>
                </a:moveTo>
                <a:lnTo>
                  <a:pt x="2059879" y="542608"/>
                </a:lnTo>
                <a:lnTo>
                  <a:pt x="2052837" y="554352"/>
                </a:lnTo>
                <a:close/>
                <a:moveTo>
                  <a:pt x="2085717" y="540259"/>
                </a:moveTo>
                <a:cubicBezTo>
                  <a:pt x="2088066" y="540259"/>
                  <a:pt x="2090414" y="540259"/>
                  <a:pt x="2090414" y="540259"/>
                </a:cubicBezTo>
                <a:cubicBezTo>
                  <a:pt x="2081022" y="554352"/>
                  <a:pt x="2090414" y="537910"/>
                  <a:pt x="2085717" y="540259"/>
                </a:cubicBezTo>
                <a:close/>
                <a:moveTo>
                  <a:pt x="2019952" y="519120"/>
                </a:moveTo>
                <a:lnTo>
                  <a:pt x="2022301" y="528515"/>
                </a:lnTo>
                <a:cubicBezTo>
                  <a:pt x="2019952" y="528515"/>
                  <a:pt x="2019952" y="528515"/>
                  <a:pt x="2019952" y="523818"/>
                </a:cubicBezTo>
                <a:close/>
                <a:moveTo>
                  <a:pt x="2029347" y="516772"/>
                </a:moveTo>
                <a:cubicBezTo>
                  <a:pt x="2034044" y="528516"/>
                  <a:pt x="2036394" y="521471"/>
                  <a:pt x="2036394" y="540260"/>
                </a:cubicBezTo>
                <a:lnTo>
                  <a:pt x="2031694" y="542609"/>
                </a:lnTo>
                <a:cubicBezTo>
                  <a:pt x="2034044" y="561399"/>
                  <a:pt x="2043440" y="523818"/>
                  <a:pt x="2038744" y="554352"/>
                </a:cubicBezTo>
                <a:cubicBezTo>
                  <a:pt x="2036394" y="552004"/>
                  <a:pt x="2031694" y="559050"/>
                  <a:pt x="2031694" y="568445"/>
                </a:cubicBezTo>
                <a:lnTo>
                  <a:pt x="2036394" y="561399"/>
                </a:lnTo>
                <a:cubicBezTo>
                  <a:pt x="2036394" y="566096"/>
                  <a:pt x="2034044" y="563748"/>
                  <a:pt x="2034044" y="568445"/>
                </a:cubicBezTo>
                <a:cubicBezTo>
                  <a:pt x="2034044" y="566096"/>
                  <a:pt x="2038744" y="559050"/>
                  <a:pt x="2041094" y="554352"/>
                </a:cubicBezTo>
                <a:lnTo>
                  <a:pt x="2048136" y="554352"/>
                </a:lnTo>
                <a:cubicBezTo>
                  <a:pt x="2048136" y="552004"/>
                  <a:pt x="2045788" y="559050"/>
                  <a:pt x="2045788" y="559050"/>
                </a:cubicBezTo>
                <a:lnTo>
                  <a:pt x="2052837" y="552004"/>
                </a:lnTo>
                <a:cubicBezTo>
                  <a:pt x="2050486" y="556701"/>
                  <a:pt x="2050486" y="561399"/>
                  <a:pt x="2050486" y="563748"/>
                </a:cubicBezTo>
                <a:cubicBezTo>
                  <a:pt x="2052247" y="567271"/>
                  <a:pt x="2060609" y="548333"/>
                  <a:pt x="2063699" y="545581"/>
                </a:cubicBezTo>
                <a:lnTo>
                  <a:pt x="2064536" y="549444"/>
                </a:lnTo>
                <a:lnTo>
                  <a:pt x="2064400" y="549655"/>
                </a:lnTo>
                <a:lnTo>
                  <a:pt x="2062229" y="549655"/>
                </a:lnTo>
                <a:lnTo>
                  <a:pt x="2059879" y="556701"/>
                </a:lnTo>
                <a:lnTo>
                  <a:pt x="2064400" y="549655"/>
                </a:lnTo>
                <a:lnTo>
                  <a:pt x="2064579" y="549655"/>
                </a:lnTo>
                <a:lnTo>
                  <a:pt x="2064536" y="549444"/>
                </a:lnTo>
                <a:lnTo>
                  <a:pt x="2067553" y="544737"/>
                </a:lnTo>
                <a:cubicBezTo>
                  <a:pt x="2072946" y="540113"/>
                  <a:pt x="2073390" y="552004"/>
                  <a:pt x="2085717" y="530865"/>
                </a:cubicBezTo>
                <a:cubicBezTo>
                  <a:pt x="2081022" y="544957"/>
                  <a:pt x="2081022" y="537911"/>
                  <a:pt x="2071625" y="549655"/>
                </a:cubicBezTo>
                <a:lnTo>
                  <a:pt x="2069279" y="559050"/>
                </a:lnTo>
                <a:cubicBezTo>
                  <a:pt x="2066929" y="559050"/>
                  <a:pt x="2066929" y="556701"/>
                  <a:pt x="2064579" y="559050"/>
                </a:cubicBezTo>
                <a:cubicBezTo>
                  <a:pt x="2062229" y="573143"/>
                  <a:pt x="2071625" y="561399"/>
                  <a:pt x="2078672" y="554352"/>
                </a:cubicBezTo>
                <a:cubicBezTo>
                  <a:pt x="2078672" y="559050"/>
                  <a:pt x="2066929" y="573143"/>
                  <a:pt x="2071625" y="570793"/>
                </a:cubicBezTo>
                <a:cubicBezTo>
                  <a:pt x="2078672" y="568445"/>
                  <a:pt x="2083372" y="552004"/>
                  <a:pt x="2088066" y="549655"/>
                </a:cubicBezTo>
                <a:lnTo>
                  <a:pt x="2081022" y="563748"/>
                </a:lnTo>
                <a:cubicBezTo>
                  <a:pt x="2090414" y="556701"/>
                  <a:pt x="2088066" y="568445"/>
                  <a:pt x="2088066" y="570793"/>
                </a:cubicBezTo>
                <a:cubicBezTo>
                  <a:pt x="2085717" y="577840"/>
                  <a:pt x="2104506" y="563748"/>
                  <a:pt x="2102158" y="568445"/>
                </a:cubicBezTo>
                <a:cubicBezTo>
                  <a:pt x="2099809" y="570793"/>
                  <a:pt x="2097464" y="577840"/>
                  <a:pt x="2095114" y="580188"/>
                </a:cubicBezTo>
                <a:lnTo>
                  <a:pt x="2104506" y="575492"/>
                </a:lnTo>
                <a:lnTo>
                  <a:pt x="2100071" y="579927"/>
                </a:lnTo>
                <a:lnTo>
                  <a:pt x="2097464" y="580188"/>
                </a:lnTo>
                <a:lnTo>
                  <a:pt x="2097464" y="582537"/>
                </a:lnTo>
                <a:lnTo>
                  <a:pt x="2097459" y="582541"/>
                </a:lnTo>
                <a:lnTo>
                  <a:pt x="2088066" y="591932"/>
                </a:lnTo>
                <a:lnTo>
                  <a:pt x="2092091" y="589248"/>
                </a:lnTo>
                <a:lnTo>
                  <a:pt x="2088066" y="594281"/>
                </a:lnTo>
                <a:cubicBezTo>
                  <a:pt x="2090414" y="594281"/>
                  <a:pt x="2088066" y="596630"/>
                  <a:pt x="2083372" y="601327"/>
                </a:cubicBezTo>
                <a:cubicBezTo>
                  <a:pt x="2085717" y="601327"/>
                  <a:pt x="2095114" y="594281"/>
                  <a:pt x="2099809" y="587234"/>
                </a:cubicBezTo>
                <a:cubicBezTo>
                  <a:pt x="2099809" y="591932"/>
                  <a:pt x="2097464" y="594281"/>
                  <a:pt x="2106857" y="589584"/>
                </a:cubicBezTo>
                <a:lnTo>
                  <a:pt x="2097464" y="598978"/>
                </a:lnTo>
                <a:lnTo>
                  <a:pt x="2102158" y="596630"/>
                </a:lnTo>
                <a:lnTo>
                  <a:pt x="2090414" y="606025"/>
                </a:lnTo>
                <a:cubicBezTo>
                  <a:pt x="2085717" y="615420"/>
                  <a:pt x="2106857" y="591932"/>
                  <a:pt x="2104506" y="598978"/>
                </a:cubicBezTo>
                <a:lnTo>
                  <a:pt x="2097464" y="606025"/>
                </a:lnTo>
                <a:cubicBezTo>
                  <a:pt x="2102158" y="603676"/>
                  <a:pt x="2116249" y="591932"/>
                  <a:pt x="2106857" y="601327"/>
                </a:cubicBezTo>
                <a:cubicBezTo>
                  <a:pt x="2113901" y="596630"/>
                  <a:pt x="2116249" y="587234"/>
                  <a:pt x="2120936" y="589584"/>
                </a:cubicBezTo>
                <a:cubicBezTo>
                  <a:pt x="2116249" y="594281"/>
                  <a:pt x="2113901" y="598978"/>
                  <a:pt x="2113901" y="601327"/>
                </a:cubicBezTo>
                <a:cubicBezTo>
                  <a:pt x="2118599" y="598978"/>
                  <a:pt x="2123295" y="591932"/>
                  <a:pt x="2120936" y="591932"/>
                </a:cubicBezTo>
                <a:cubicBezTo>
                  <a:pt x="2130343" y="591932"/>
                  <a:pt x="2095114" y="620117"/>
                  <a:pt x="2109207" y="613071"/>
                </a:cubicBezTo>
                <a:cubicBezTo>
                  <a:pt x="2113901" y="606025"/>
                  <a:pt x="2125642" y="598978"/>
                  <a:pt x="2123295" y="596630"/>
                </a:cubicBezTo>
                <a:cubicBezTo>
                  <a:pt x="2127993" y="594281"/>
                  <a:pt x="2111552" y="610722"/>
                  <a:pt x="2123295" y="603676"/>
                </a:cubicBezTo>
                <a:lnTo>
                  <a:pt x="2111552" y="613071"/>
                </a:lnTo>
                <a:cubicBezTo>
                  <a:pt x="2111552" y="615420"/>
                  <a:pt x="2116249" y="610722"/>
                  <a:pt x="2118599" y="610722"/>
                </a:cubicBezTo>
                <a:lnTo>
                  <a:pt x="2109207" y="617769"/>
                </a:lnTo>
                <a:cubicBezTo>
                  <a:pt x="2125642" y="608373"/>
                  <a:pt x="2104506" y="627164"/>
                  <a:pt x="2125642" y="613071"/>
                </a:cubicBezTo>
                <a:lnTo>
                  <a:pt x="2121705" y="616273"/>
                </a:lnTo>
                <a:lnTo>
                  <a:pt x="2118078" y="618209"/>
                </a:lnTo>
                <a:cubicBezTo>
                  <a:pt x="2115663" y="619090"/>
                  <a:pt x="2119184" y="616007"/>
                  <a:pt x="2106857" y="624815"/>
                </a:cubicBezTo>
                <a:lnTo>
                  <a:pt x="2107707" y="624815"/>
                </a:lnTo>
                <a:lnTo>
                  <a:pt x="2104506" y="627164"/>
                </a:lnTo>
                <a:cubicBezTo>
                  <a:pt x="2102158" y="629512"/>
                  <a:pt x="2099809" y="629512"/>
                  <a:pt x="2097464" y="631861"/>
                </a:cubicBezTo>
                <a:cubicBezTo>
                  <a:pt x="2097464" y="631861"/>
                  <a:pt x="2097464" y="629512"/>
                  <a:pt x="2097464" y="629512"/>
                </a:cubicBezTo>
                <a:cubicBezTo>
                  <a:pt x="2097464" y="629512"/>
                  <a:pt x="2097464" y="631861"/>
                  <a:pt x="2095114" y="631861"/>
                </a:cubicBezTo>
                <a:cubicBezTo>
                  <a:pt x="2095114" y="641256"/>
                  <a:pt x="2092764" y="641256"/>
                  <a:pt x="2095114" y="636559"/>
                </a:cubicBezTo>
                <a:cubicBezTo>
                  <a:pt x="2097464" y="634210"/>
                  <a:pt x="2102158" y="631861"/>
                  <a:pt x="2104506" y="629512"/>
                </a:cubicBezTo>
                <a:cubicBezTo>
                  <a:pt x="2109207" y="624815"/>
                  <a:pt x="2099809" y="629512"/>
                  <a:pt x="2104506" y="627164"/>
                </a:cubicBezTo>
                <a:cubicBezTo>
                  <a:pt x="2106857" y="627164"/>
                  <a:pt x="2109207" y="624815"/>
                  <a:pt x="2111552" y="624815"/>
                </a:cubicBezTo>
                <a:lnTo>
                  <a:pt x="2107707" y="624815"/>
                </a:lnTo>
                <a:lnTo>
                  <a:pt x="2111403" y="622099"/>
                </a:lnTo>
                <a:cubicBezTo>
                  <a:pt x="2115370" y="620118"/>
                  <a:pt x="2112728" y="625402"/>
                  <a:pt x="2123295" y="620117"/>
                </a:cubicBezTo>
                <a:cubicBezTo>
                  <a:pt x="2125642" y="620117"/>
                  <a:pt x="2111552" y="634210"/>
                  <a:pt x="2104506" y="638908"/>
                </a:cubicBezTo>
                <a:cubicBezTo>
                  <a:pt x="2102158" y="638908"/>
                  <a:pt x="2102158" y="641256"/>
                  <a:pt x="2102158" y="641256"/>
                </a:cubicBezTo>
                <a:cubicBezTo>
                  <a:pt x="2099809" y="643605"/>
                  <a:pt x="2109207" y="638908"/>
                  <a:pt x="2116249" y="634210"/>
                </a:cubicBezTo>
                <a:cubicBezTo>
                  <a:pt x="2120936" y="634210"/>
                  <a:pt x="2109207" y="634210"/>
                  <a:pt x="2130343" y="622466"/>
                </a:cubicBezTo>
                <a:cubicBezTo>
                  <a:pt x="2109207" y="638908"/>
                  <a:pt x="2142086" y="620117"/>
                  <a:pt x="2127993" y="634210"/>
                </a:cubicBezTo>
                <a:cubicBezTo>
                  <a:pt x="2118599" y="636559"/>
                  <a:pt x="2116249" y="643605"/>
                  <a:pt x="2109207" y="645954"/>
                </a:cubicBezTo>
                <a:cubicBezTo>
                  <a:pt x="2113901" y="645954"/>
                  <a:pt x="2116249" y="645954"/>
                  <a:pt x="2123295" y="641256"/>
                </a:cubicBezTo>
                <a:lnTo>
                  <a:pt x="2116249" y="645954"/>
                </a:lnTo>
                <a:cubicBezTo>
                  <a:pt x="2135042" y="636559"/>
                  <a:pt x="2130343" y="636559"/>
                  <a:pt x="2142086" y="634210"/>
                </a:cubicBezTo>
                <a:cubicBezTo>
                  <a:pt x="2135042" y="636559"/>
                  <a:pt x="2130343" y="641256"/>
                  <a:pt x="2125642" y="643605"/>
                </a:cubicBezTo>
                <a:cubicBezTo>
                  <a:pt x="2125642" y="645954"/>
                  <a:pt x="2127993" y="645954"/>
                  <a:pt x="2132692" y="643605"/>
                </a:cubicBezTo>
                <a:cubicBezTo>
                  <a:pt x="2137392" y="645954"/>
                  <a:pt x="2125642" y="653000"/>
                  <a:pt x="2135042" y="650651"/>
                </a:cubicBezTo>
                <a:lnTo>
                  <a:pt x="2139738" y="648302"/>
                </a:lnTo>
                <a:cubicBezTo>
                  <a:pt x="2153830" y="645954"/>
                  <a:pt x="2149134" y="657697"/>
                  <a:pt x="2158530" y="660046"/>
                </a:cubicBezTo>
                <a:lnTo>
                  <a:pt x="2160879" y="655348"/>
                </a:lnTo>
                <a:cubicBezTo>
                  <a:pt x="2158530" y="657697"/>
                  <a:pt x="2170273" y="657697"/>
                  <a:pt x="2163227" y="662394"/>
                </a:cubicBezTo>
                <a:cubicBezTo>
                  <a:pt x="2163227" y="662394"/>
                  <a:pt x="2160879" y="662394"/>
                  <a:pt x="2160879" y="662394"/>
                </a:cubicBezTo>
                <a:cubicBezTo>
                  <a:pt x="2156181" y="664743"/>
                  <a:pt x="2146785" y="669441"/>
                  <a:pt x="2146785" y="671789"/>
                </a:cubicBezTo>
                <a:lnTo>
                  <a:pt x="2156181" y="669441"/>
                </a:lnTo>
                <a:lnTo>
                  <a:pt x="2149134" y="671789"/>
                </a:lnTo>
                <a:cubicBezTo>
                  <a:pt x="2149134" y="674138"/>
                  <a:pt x="2160879" y="667092"/>
                  <a:pt x="2160879" y="669441"/>
                </a:cubicBezTo>
                <a:cubicBezTo>
                  <a:pt x="2149134" y="676487"/>
                  <a:pt x="2149134" y="678836"/>
                  <a:pt x="2149134" y="681185"/>
                </a:cubicBezTo>
                <a:cubicBezTo>
                  <a:pt x="2149134" y="683533"/>
                  <a:pt x="2151485" y="688231"/>
                  <a:pt x="2139738" y="690580"/>
                </a:cubicBezTo>
                <a:cubicBezTo>
                  <a:pt x="2158530" y="688231"/>
                  <a:pt x="2142086" y="685882"/>
                  <a:pt x="2158530" y="683533"/>
                </a:cubicBezTo>
                <a:cubicBezTo>
                  <a:pt x="2156181" y="685882"/>
                  <a:pt x="2151485" y="685882"/>
                  <a:pt x="2151485" y="688231"/>
                </a:cubicBezTo>
                <a:lnTo>
                  <a:pt x="2163227" y="685882"/>
                </a:lnTo>
                <a:cubicBezTo>
                  <a:pt x="2160879" y="690580"/>
                  <a:pt x="2158530" y="695277"/>
                  <a:pt x="2156181" y="699975"/>
                </a:cubicBezTo>
                <a:cubicBezTo>
                  <a:pt x="2156181" y="699975"/>
                  <a:pt x="2153830" y="704672"/>
                  <a:pt x="2153830" y="707021"/>
                </a:cubicBezTo>
                <a:cubicBezTo>
                  <a:pt x="2153830" y="709370"/>
                  <a:pt x="2153830" y="711719"/>
                  <a:pt x="2151485" y="718765"/>
                </a:cubicBezTo>
                <a:lnTo>
                  <a:pt x="2149134" y="716416"/>
                </a:lnTo>
                <a:cubicBezTo>
                  <a:pt x="2146785" y="718765"/>
                  <a:pt x="2144435" y="721114"/>
                  <a:pt x="2144435" y="723463"/>
                </a:cubicBezTo>
                <a:cubicBezTo>
                  <a:pt x="2144435" y="725811"/>
                  <a:pt x="2144435" y="730509"/>
                  <a:pt x="2146785" y="735206"/>
                </a:cubicBezTo>
                <a:cubicBezTo>
                  <a:pt x="2139738" y="732857"/>
                  <a:pt x="2144435" y="725811"/>
                  <a:pt x="2137392" y="725811"/>
                </a:cubicBezTo>
                <a:cubicBezTo>
                  <a:pt x="2142086" y="744601"/>
                  <a:pt x="2127993" y="746950"/>
                  <a:pt x="2118599" y="742253"/>
                </a:cubicBezTo>
                <a:cubicBezTo>
                  <a:pt x="2109207" y="737555"/>
                  <a:pt x="2109207" y="730509"/>
                  <a:pt x="2104506" y="739903"/>
                </a:cubicBezTo>
                <a:cubicBezTo>
                  <a:pt x="2104506" y="728160"/>
                  <a:pt x="2104506" y="718765"/>
                  <a:pt x="2104506" y="709370"/>
                </a:cubicBezTo>
                <a:cubicBezTo>
                  <a:pt x="2104506" y="709370"/>
                  <a:pt x="2104506" y="709370"/>
                  <a:pt x="2102158" y="709370"/>
                </a:cubicBezTo>
                <a:cubicBezTo>
                  <a:pt x="2095114" y="707021"/>
                  <a:pt x="2090414" y="704672"/>
                  <a:pt x="2083372" y="702324"/>
                </a:cubicBezTo>
                <a:cubicBezTo>
                  <a:pt x="2081022" y="702324"/>
                  <a:pt x="2081022" y="702324"/>
                  <a:pt x="2078672" y="702324"/>
                </a:cubicBezTo>
                <a:lnTo>
                  <a:pt x="2076322" y="702324"/>
                </a:lnTo>
                <a:cubicBezTo>
                  <a:pt x="2076322" y="702324"/>
                  <a:pt x="2076322" y="702324"/>
                  <a:pt x="2078672" y="699975"/>
                </a:cubicBezTo>
                <a:cubicBezTo>
                  <a:pt x="2076322" y="699975"/>
                  <a:pt x="2076322" y="699975"/>
                  <a:pt x="2076322" y="699975"/>
                </a:cubicBezTo>
                <a:cubicBezTo>
                  <a:pt x="2076322" y="699975"/>
                  <a:pt x="2073974" y="702324"/>
                  <a:pt x="2071625" y="702324"/>
                </a:cubicBezTo>
                <a:cubicBezTo>
                  <a:pt x="2083372" y="695277"/>
                  <a:pt x="2064579" y="704672"/>
                  <a:pt x="2062229" y="704672"/>
                </a:cubicBezTo>
                <a:lnTo>
                  <a:pt x="2067262" y="701653"/>
                </a:lnTo>
                <a:lnTo>
                  <a:pt x="2066929" y="702324"/>
                </a:lnTo>
                <a:cubicBezTo>
                  <a:pt x="2069279" y="702324"/>
                  <a:pt x="2071625" y="699975"/>
                  <a:pt x="2073974" y="697626"/>
                </a:cubicBezTo>
                <a:lnTo>
                  <a:pt x="2067262" y="701653"/>
                </a:lnTo>
                <a:lnTo>
                  <a:pt x="2069279" y="697626"/>
                </a:lnTo>
                <a:cubicBezTo>
                  <a:pt x="2066929" y="695277"/>
                  <a:pt x="2064579" y="695277"/>
                  <a:pt x="2062229" y="692928"/>
                </a:cubicBezTo>
                <a:cubicBezTo>
                  <a:pt x="2062229" y="692928"/>
                  <a:pt x="2059879" y="692928"/>
                  <a:pt x="2059879" y="692928"/>
                </a:cubicBezTo>
                <a:cubicBezTo>
                  <a:pt x="2059879" y="692928"/>
                  <a:pt x="2057530" y="692928"/>
                  <a:pt x="2057530" y="692928"/>
                </a:cubicBezTo>
                <a:cubicBezTo>
                  <a:pt x="2057530" y="692928"/>
                  <a:pt x="2055182" y="692928"/>
                  <a:pt x="2055182" y="692928"/>
                </a:cubicBezTo>
                <a:lnTo>
                  <a:pt x="2050486" y="697626"/>
                </a:lnTo>
                <a:cubicBezTo>
                  <a:pt x="2050486" y="695277"/>
                  <a:pt x="2052837" y="695277"/>
                  <a:pt x="2052837" y="692928"/>
                </a:cubicBezTo>
                <a:cubicBezTo>
                  <a:pt x="2050486" y="692928"/>
                  <a:pt x="2045788" y="690580"/>
                  <a:pt x="2043440" y="688231"/>
                </a:cubicBezTo>
                <a:cubicBezTo>
                  <a:pt x="2043440" y="690580"/>
                  <a:pt x="2041094" y="692928"/>
                  <a:pt x="2038744" y="695277"/>
                </a:cubicBezTo>
                <a:cubicBezTo>
                  <a:pt x="2038744" y="685882"/>
                  <a:pt x="2031694" y="688231"/>
                  <a:pt x="2034044" y="681185"/>
                </a:cubicBezTo>
                <a:cubicBezTo>
                  <a:pt x="2031694" y="678836"/>
                  <a:pt x="2029347" y="678836"/>
                  <a:pt x="2026995" y="676487"/>
                </a:cubicBezTo>
                <a:cubicBezTo>
                  <a:pt x="2022301" y="681185"/>
                  <a:pt x="2019952" y="688231"/>
                  <a:pt x="2015252" y="692928"/>
                </a:cubicBezTo>
                <a:lnTo>
                  <a:pt x="2015268" y="692918"/>
                </a:lnTo>
                <a:lnTo>
                  <a:pt x="2010559" y="697626"/>
                </a:lnTo>
                <a:cubicBezTo>
                  <a:pt x="2015252" y="690580"/>
                  <a:pt x="2015252" y="685882"/>
                  <a:pt x="2017601" y="683533"/>
                </a:cubicBezTo>
                <a:cubicBezTo>
                  <a:pt x="2015252" y="681185"/>
                  <a:pt x="2019952" y="674138"/>
                  <a:pt x="2017601" y="671789"/>
                </a:cubicBezTo>
                <a:cubicBezTo>
                  <a:pt x="2017601" y="669441"/>
                  <a:pt x="2017601" y="669441"/>
                  <a:pt x="2017601" y="669441"/>
                </a:cubicBezTo>
                <a:cubicBezTo>
                  <a:pt x="2015252" y="669441"/>
                  <a:pt x="2015252" y="669441"/>
                  <a:pt x="2015252" y="669441"/>
                </a:cubicBezTo>
                <a:cubicBezTo>
                  <a:pt x="2008209" y="676487"/>
                  <a:pt x="2001159" y="688231"/>
                  <a:pt x="1996461" y="692928"/>
                </a:cubicBezTo>
                <a:cubicBezTo>
                  <a:pt x="1994116" y="692928"/>
                  <a:pt x="1998811" y="685882"/>
                  <a:pt x="1994116" y="688231"/>
                </a:cubicBezTo>
                <a:cubicBezTo>
                  <a:pt x="1987068" y="699975"/>
                  <a:pt x="1994116" y="685882"/>
                  <a:pt x="1984718" y="697626"/>
                </a:cubicBezTo>
                <a:lnTo>
                  <a:pt x="1984522" y="695081"/>
                </a:lnTo>
                <a:lnTo>
                  <a:pt x="2008209" y="667092"/>
                </a:lnTo>
                <a:cubicBezTo>
                  <a:pt x="2005859" y="664743"/>
                  <a:pt x="2005859" y="664743"/>
                  <a:pt x="2005859" y="664743"/>
                </a:cubicBezTo>
                <a:cubicBezTo>
                  <a:pt x="2003508" y="662394"/>
                  <a:pt x="2003508" y="662394"/>
                  <a:pt x="2003508" y="662394"/>
                </a:cubicBezTo>
                <a:cubicBezTo>
                  <a:pt x="1989417" y="678836"/>
                  <a:pt x="1975324" y="697626"/>
                  <a:pt x="1968277" y="707021"/>
                </a:cubicBezTo>
                <a:cubicBezTo>
                  <a:pt x="1961230" y="714067"/>
                  <a:pt x="1972974" y="699975"/>
                  <a:pt x="1972974" y="697626"/>
                </a:cubicBezTo>
                <a:cubicBezTo>
                  <a:pt x="1980023" y="683533"/>
                  <a:pt x="1961230" y="704672"/>
                  <a:pt x="1963581" y="697626"/>
                </a:cubicBezTo>
                <a:lnTo>
                  <a:pt x="1970625" y="692928"/>
                </a:lnTo>
                <a:cubicBezTo>
                  <a:pt x="1972974" y="690580"/>
                  <a:pt x="1968277" y="690580"/>
                  <a:pt x="1963581" y="695277"/>
                </a:cubicBezTo>
                <a:cubicBezTo>
                  <a:pt x="1968277" y="692928"/>
                  <a:pt x="1982373" y="676487"/>
                  <a:pt x="1987068" y="671789"/>
                </a:cubicBezTo>
                <a:cubicBezTo>
                  <a:pt x="1987068" y="667092"/>
                  <a:pt x="1963581" y="685882"/>
                  <a:pt x="1951838" y="697626"/>
                </a:cubicBezTo>
                <a:cubicBezTo>
                  <a:pt x="1958883" y="695277"/>
                  <a:pt x="1963581" y="692928"/>
                  <a:pt x="1968277" y="690580"/>
                </a:cubicBezTo>
                <a:cubicBezTo>
                  <a:pt x="1958883" y="702324"/>
                  <a:pt x="1956531" y="697626"/>
                  <a:pt x="1944790" y="709370"/>
                </a:cubicBezTo>
                <a:lnTo>
                  <a:pt x="1944790" y="702324"/>
                </a:lnTo>
                <a:cubicBezTo>
                  <a:pt x="1944790" y="702324"/>
                  <a:pt x="1949488" y="699975"/>
                  <a:pt x="1954188" y="695277"/>
                </a:cubicBezTo>
                <a:cubicBezTo>
                  <a:pt x="1951838" y="695277"/>
                  <a:pt x="1956531" y="692928"/>
                  <a:pt x="1958883" y="688231"/>
                </a:cubicBezTo>
                <a:cubicBezTo>
                  <a:pt x="1965931" y="683533"/>
                  <a:pt x="1980023" y="671789"/>
                  <a:pt x="1994116" y="660046"/>
                </a:cubicBezTo>
                <a:cubicBezTo>
                  <a:pt x="1994116" y="660046"/>
                  <a:pt x="1991766" y="657697"/>
                  <a:pt x="1991766" y="657697"/>
                </a:cubicBezTo>
                <a:cubicBezTo>
                  <a:pt x="1977673" y="667092"/>
                  <a:pt x="1965931" y="678836"/>
                  <a:pt x="1958883" y="683533"/>
                </a:cubicBezTo>
                <a:cubicBezTo>
                  <a:pt x="1961230" y="678836"/>
                  <a:pt x="1982373" y="660046"/>
                  <a:pt x="1987068" y="657697"/>
                </a:cubicBezTo>
                <a:cubicBezTo>
                  <a:pt x="1987068" y="655348"/>
                  <a:pt x="1954188" y="681185"/>
                  <a:pt x="1954188" y="674138"/>
                </a:cubicBezTo>
                <a:lnTo>
                  <a:pt x="1949488" y="678836"/>
                </a:lnTo>
                <a:cubicBezTo>
                  <a:pt x="1947140" y="678836"/>
                  <a:pt x="1949488" y="674138"/>
                  <a:pt x="1944790" y="676487"/>
                </a:cubicBezTo>
                <a:cubicBezTo>
                  <a:pt x="1947140" y="674138"/>
                  <a:pt x="1951838" y="670615"/>
                  <a:pt x="1956531" y="667386"/>
                </a:cubicBezTo>
                <a:lnTo>
                  <a:pt x="1958316" y="666272"/>
                </a:lnTo>
                <a:lnTo>
                  <a:pt x="1966811" y="663863"/>
                </a:lnTo>
                <a:cubicBezTo>
                  <a:pt x="1974736" y="660634"/>
                  <a:pt x="1983545" y="656523"/>
                  <a:pt x="1991766" y="653000"/>
                </a:cubicBezTo>
                <a:cubicBezTo>
                  <a:pt x="1991766" y="650651"/>
                  <a:pt x="1991766" y="650651"/>
                  <a:pt x="1991766" y="650651"/>
                </a:cubicBezTo>
                <a:lnTo>
                  <a:pt x="1959889" y="657362"/>
                </a:lnTo>
                <a:lnTo>
                  <a:pt x="1960538" y="656894"/>
                </a:lnTo>
                <a:lnTo>
                  <a:pt x="1962112" y="656523"/>
                </a:lnTo>
                <a:cubicBezTo>
                  <a:pt x="1968277" y="654761"/>
                  <a:pt x="1974152" y="653000"/>
                  <a:pt x="1975324" y="653000"/>
                </a:cubicBezTo>
                <a:lnTo>
                  <a:pt x="1963504" y="654751"/>
                </a:lnTo>
                <a:lnTo>
                  <a:pt x="1965931" y="653000"/>
                </a:lnTo>
                <a:lnTo>
                  <a:pt x="1962649" y="654393"/>
                </a:lnTo>
                <a:lnTo>
                  <a:pt x="1957675" y="652053"/>
                </a:lnTo>
                <a:lnTo>
                  <a:pt x="1940096" y="660046"/>
                </a:lnTo>
                <a:cubicBezTo>
                  <a:pt x="1942441" y="657697"/>
                  <a:pt x="1942441" y="655347"/>
                  <a:pt x="1930696" y="657697"/>
                </a:cubicBezTo>
                <a:lnTo>
                  <a:pt x="1955908" y="650974"/>
                </a:lnTo>
                <a:lnTo>
                  <a:pt x="1954188" y="638908"/>
                </a:lnTo>
                <a:cubicBezTo>
                  <a:pt x="1958883" y="638908"/>
                  <a:pt x="1965931" y="634210"/>
                  <a:pt x="1958883" y="631861"/>
                </a:cubicBezTo>
                <a:cubicBezTo>
                  <a:pt x="1961230" y="631861"/>
                  <a:pt x="1961230" y="634210"/>
                  <a:pt x="1961230" y="634210"/>
                </a:cubicBezTo>
                <a:cubicBezTo>
                  <a:pt x="1968277" y="631861"/>
                  <a:pt x="1961230" y="629512"/>
                  <a:pt x="1954188" y="627164"/>
                </a:cubicBezTo>
                <a:cubicBezTo>
                  <a:pt x="1947140" y="624815"/>
                  <a:pt x="1940096" y="620117"/>
                  <a:pt x="1949488" y="620117"/>
                </a:cubicBezTo>
                <a:cubicBezTo>
                  <a:pt x="1944790" y="622466"/>
                  <a:pt x="1954188" y="624815"/>
                  <a:pt x="1961230" y="627164"/>
                </a:cubicBezTo>
                <a:cubicBezTo>
                  <a:pt x="1954188" y="622466"/>
                  <a:pt x="1965931" y="617769"/>
                  <a:pt x="1942441" y="610722"/>
                </a:cubicBezTo>
                <a:cubicBezTo>
                  <a:pt x="1947140" y="608373"/>
                  <a:pt x="1944790" y="606025"/>
                  <a:pt x="1956531" y="610722"/>
                </a:cubicBezTo>
                <a:cubicBezTo>
                  <a:pt x="1951838" y="606025"/>
                  <a:pt x="1949488" y="601327"/>
                  <a:pt x="1947140" y="596630"/>
                </a:cubicBezTo>
                <a:cubicBezTo>
                  <a:pt x="1947140" y="598978"/>
                  <a:pt x="1954188" y="601327"/>
                  <a:pt x="1956531" y="601327"/>
                </a:cubicBezTo>
                <a:cubicBezTo>
                  <a:pt x="1951838" y="603676"/>
                  <a:pt x="1968277" y="617769"/>
                  <a:pt x="1954188" y="613071"/>
                </a:cubicBezTo>
                <a:cubicBezTo>
                  <a:pt x="1968277" y="620117"/>
                  <a:pt x="1975324" y="622466"/>
                  <a:pt x="1987068" y="627164"/>
                </a:cubicBezTo>
                <a:cubicBezTo>
                  <a:pt x="1980023" y="620117"/>
                  <a:pt x="1961230" y="603676"/>
                  <a:pt x="1951838" y="589584"/>
                </a:cubicBezTo>
                <a:cubicBezTo>
                  <a:pt x="1954188" y="589584"/>
                  <a:pt x="1958883" y="589584"/>
                  <a:pt x="1963581" y="589584"/>
                </a:cubicBezTo>
                <a:lnTo>
                  <a:pt x="1958883" y="584887"/>
                </a:lnTo>
                <a:lnTo>
                  <a:pt x="1972974" y="594281"/>
                </a:lnTo>
                <a:cubicBezTo>
                  <a:pt x="1970625" y="591932"/>
                  <a:pt x="1968277" y="589584"/>
                  <a:pt x="1970625" y="589584"/>
                </a:cubicBezTo>
                <a:cubicBezTo>
                  <a:pt x="1972974" y="589584"/>
                  <a:pt x="1972974" y="591932"/>
                  <a:pt x="1975324" y="594281"/>
                </a:cubicBezTo>
                <a:lnTo>
                  <a:pt x="1974152" y="591932"/>
                </a:lnTo>
                <a:lnTo>
                  <a:pt x="1987360" y="607787"/>
                </a:lnTo>
                <a:lnTo>
                  <a:pt x="1984718" y="606025"/>
                </a:lnTo>
                <a:lnTo>
                  <a:pt x="1991760" y="613067"/>
                </a:lnTo>
                <a:lnTo>
                  <a:pt x="1989417" y="610722"/>
                </a:lnTo>
                <a:lnTo>
                  <a:pt x="1991766" y="613068"/>
                </a:lnTo>
                <a:lnTo>
                  <a:pt x="1991766" y="613071"/>
                </a:lnTo>
                <a:lnTo>
                  <a:pt x="1994116" y="615420"/>
                </a:lnTo>
                <a:lnTo>
                  <a:pt x="1991766" y="613068"/>
                </a:lnTo>
                <a:lnTo>
                  <a:pt x="1987360" y="607787"/>
                </a:lnTo>
                <a:lnTo>
                  <a:pt x="1991766" y="610722"/>
                </a:lnTo>
                <a:cubicBezTo>
                  <a:pt x="1984718" y="603676"/>
                  <a:pt x="1980023" y="596630"/>
                  <a:pt x="1972974" y="589584"/>
                </a:cubicBezTo>
                <a:lnTo>
                  <a:pt x="1974152" y="591932"/>
                </a:lnTo>
                <a:lnTo>
                  <a:pt x="1968277" y="584887"/>
                </a:lnTo>
                <a:cubicBezTo>
                  <a:pt x="1970625" y="584887"/>
                  <a:pt x="1975324" y="587234"/>
                  <a:pt x="1977673" y="589584"/>
                </a:cubicBezTo>
                <a:cubicBezTo>
                  <a:pt x="1970625" y="575492"/>
                  <a:pt x="1972974" y="577840"/>
                  <a:pt x="1970625" y="563748"/>
                </a:cubicBezTo>
                <a:cubicBezTo>
                  <a:pt x="1972974" y="568445"/>
                  <a:pt x="1975324" y="573143"/>
                  <a:pt x="1977673" y="575492"/>
                </a:cubicBezTo>
                <a:cubicBezTo>
                  <a:pt x="1975324" y="566096"/>
                  <a:pt x="1980023" y="568445"/>
                  <a:pt x="1984718" y="573143"/>
                </a:cubicBezTo>
                <a:cubicBezTo>
                  <a:pt x="1989417" y="577840"/>
                  <a:pt x="1991766" y="582538"/>
                  <a:pt x="1989417" y="575492"/>
                </a:cubicBezTo>
                <a:cubicBezTo>
                  <a:pt x="1991766" y="570793"/>
                  <a:pt x="1987068" y="561399"/>
                  <a:pt x="1987068" y="556701"/>
                </a:cubicBezTo>
                <a:cubicBezTo>
                  <a:pt x="1987068" y="556701"/>
                  <a:pt x="1989417" y="561399"/>
                  <a:pt x="1989417" y="561399"/>
                </a:cubicBezTo>
                <a:cubicBezTo>
                  <a:pt x="1989417" y="559050"/>
                  <a:pt x="1989417" y="554352"/>
                  <a:pt x="1989417" y="549655"/>
                </a:cubicBezTo>
                <a:cubicBezTo>
                  <a:pt x="1991766" y="552004"/>
                  <a:pt x="1989417" y="556701"/>
                  <a:pt x="1994116" y="561399"/>
                </a:cubicBezTo>
                <a:cubicBezTo>
                  <a:pt x="1996461" y="552004"/>
                  <a:pt x="2001159" y="544957"/>
                  <a:pt x="2005859" y="549655"/>
                </a:cubicBezTo>
                <a:cubicBezTo>
                  <a:pt x="2015252" y="547306"/>
                  <a:pt x="2001159" y="526167"/>
                  <a:pt x="2008209" y="528516"/>
                </a:cubicBezTo>
                <a:cubicBezTo>
                  <a:pt x="2010559" y="540260"/>
                  <a:pt x="2010559" y="549655"/>
                  <a:pt x="2015252" y="552004"/>
                </a:cubicBezTo>
                <a:cubicBezTo>
                  <a:pt x="2015252" y="544957"/>
                  <a:pt x="2015252" y="537911"/>
                  <a:pt x="2019952" y="533213"/>
                </a:cubicBezTo>
                <a:lnTo>
                  <a:pt x="2019952" y="547306"/>
                </a:lnTo>
                <a:cubicBezTo>
                  <a:pt x="2022301" y="547306"/>
                  <a:pt x="2024651" y="544957"/>
                  <a:pt x="2024651" y="556701"/>
                </a:cubicBezTo>
                <a:lnTo>
                  <a:pt x="2025617" y="555293"/>
                </a:lnTo>
                <a:lnTo>
                  <a:pt x="2026121" y="556995"/>
                </a:lnTo>
                <a:lnTo>
                  <a:pt x="2028133" y="552412"/>
                </a:lnTo>
                <a:lnTo>
                  <a:pt x="2029347" y="554352"/>
                </a:lnTo>
                <a:cubicBezTo>
                  <a:pt x="2031694" y="549655"/>
                  <a:pt x="2031694" y="542609"/>
                  <a:pt x="2031694" y="535562"/>
                </a:cubicBezTo>
                <a:cubicBezTo>
                  <a:pt x="2031694" y="526167"/>
                  <a:pt x="2029347" y="519121"/>
                  <a:pt x="2029347" y="516772"/>
                </a:cubicBezTo>
                <a:close/>
                <a:moveTo>
                  <a:pt x="3827463" y="351397"/>
                </a:moveTo>
                <a:cubicBezTo>
                  <a:pt x="3824527" y="349966"/>
                  <a:pt x="3820857" y="350553"/>
                  <a:pt x="3816746" y="354664"/>
                </a:cubicBezTo>
                <a:cubicBezTo>
                  <a:pt x="3830839" y="357011"/>
                  <a:pt x="3802653" y="378150"/>
                  <a:pt x="3826141" y="378150"/>
                </a:cubicBezTo>
                <a:cubicBezTo>
                  <a:pt x="3838473" y="378150"/>
                  <a:pt x="3836272" y="355690"/>
                  <a:pt x="3827463" y="351397"/>
                </a:cubicBezTo>
                <a:close/>
                <a:moveTo>
                  <a:pt x="2920789" y="42103"/>
                </a:moveTo>
                <a:lnTo>
                  <a:pt x="2925532" y="44039"/>
                </a:lnTo>
                <a:cubicBezTo>
                  <a:pt x="2929202" y="46094"/>
                  <a:pt x="2934193" y="49324"/>
                  <a:pt x="2940652" y="54021"/>
                </a:cubicBezTo>
                <a:close/>
                <a:moveTo>
                  <a:pt x="2871627" y="31228"/>
                </a:moveTo>
                <a:lnTo>
                  <a:pt x="2887218" y="42032"/>
                </a:lnTo>
                <a:cubicBezTo>
                  <a:pt x="2895439" y="48785"/>
                  <a:pt x="2900725" y="54070"/>
                  <a:pt x="2903072" y="56419"/>
                </a:cubicBezTo>
                <a:cubicBezTo>
                  <a:pt x="2905421" y="58767"/>
                  <a:pt x="2903072" y="58767"/>
                  <a:pt x="2898375" y="54070"/>
                </a:cubicBezTo>
                <a:cubicBezTo>
                  <a:pt x="2896026" y="51721"/>
                  <a:pt x="2892503" y="48198"/>
                  <a:pt x="2887511" y="43794"/>
                </a:cubicBezTo>
                <a:close/>
                <a:moveTo>
                  <a:pt x="2785633" y="25837"/>
                </a:moveTo>
                <a:lnTo>
                  <a:pt x="2790330" y="28900"/>
                </a:lnTo>
                <a:lnTo>
                  <a:pt x="2775836" y="32681"/>
                </a:lnTo>
                <a:close/>
                <a:moveTo>
                  <a:pt x="2804424" y="0"/>
                </a:moveTo>
                <a:cubicBezTo>
                  <a:pt x="2834957" y="0"/>
                  <a:pt x="2860793" y="9395"/>
                  <a:pt x="2881932" y="18790"/>
                </a:cubicBezTo>
                <a:lnTo>
                  <a:pt x="2920789" y="42103"/>
                </a:lnTo>
                <a:lnTo>
                  <a:pt x="2918339" y="41103"/>
                </a:lnTo>
                <a:cubicBezTo>
                  <a:pt x="2915990" y="41103"/>
                  <a:pt x="2918338" y="44626"/>
                  <a:pt x="2924210" y="49323"/>
                </a:cubicBezTo>
                <a:cubicBezTo>
                  <a:pt x="2935954" y="61067"/>
                  <a:pt x="2959442" y="84555"/>
                  <a:pt x="2978232" y="117438"/>
                </a:cubicBezTo>
                <a:cubicBezTo>
                  <a:pt x="2997022" y="150321"/>
                  <a:pt x="3011115" y="190250"/>
                  <a:pt x="3020510" y="225481"/>
                </a:cubicBezTo>
                <a:cubicBezTo>
                  <a:pt x="3029905" y="260713"/>
                  <a:pt x="3034604" y="293595"/>
                  <a:pt x="3036951" y="317083"/>
                </a:cubicBezTo>
                <a:cubicBezTo>
                  <a:pt x="3025208" y="270108"/>
                  <a:pt x="3013464" y="216086"/>
                  <a:pt x="2989977" y="155018"/>
                </a:cubicBezTo>
                <a:cubicBezTo>
                  <a:pt x="2978232" y="124484"/>
                  <a:pt x="2959442" y="93950"/>
                  <a:pt x="2935954" y="68114"/>
                </a:cubicBezTo>
                <a:cubicBezTo>
                  <a:pt x="2912466" y="42278"/>
                  <a:pt x="2881932" y="18790"/>
                  <a:pt x="2846700" y="9395"/>
                </a:cubicBezTo>
                <a:cubicBezTo>
                  <a:pt x="2830260" y="2349"/>
                  <a:pt x="2809120" y="0"/>
                  <a:pt x="2790330" y="2349"/>
                </a:cubicBezTo>
                <a:cubicBezTo>
                  <a:pt x="2771540" y="4698"/>
                  <a:pt x="2755098" y="9395"/>
                  <a:pt x="2738657" y="18790"/>
                </a:cubicBezTo>
                <a:cubicBezTo>
                  <a:pt x="2705774" y="35232"/>
                  <a:pt x="2689332" y="65765"/>
                  <a:pt x="2679937" y="91601"/>
                </a:cubicBezTo>
                <a:cubicBezTo>
                  <a:pt x="2672891" y="115089"/>
                  <a:pt x="2670543" y="136228"/>
                  <a:pt x="2672891" y="150321"/>
                </a:cubicBezTo>
                <a:cubicBezTo>
                  <a:pt x="2675240" y="164414"/>
                  <a:pt x="2677588" y="173809"/>
                  <a:pt x="2679937" y="176157"/>
                </a:cubicBezTo>
                <a:cubicBezTo>
                  <a:pt x="2679937" y="152670"/>
                  <a:pt x="2679937" y="126833"/>
                  <a:pt x="2686984" y="103345"/>
                </a:cubicBezTo>
                <a:cubicBezTo>
                  <a:pt x="2694030" y="77509"/>
                  <a:pt x="2708123" y="54021"/>
                  <a:pt x="2729262" y="37580"/>
                </a:cubicBezTo>
                <a:cubicBezTo>
                  <a:pt x="2750401" y="18790"/>
                  <a:pt x="2778586" y="11744"/>
                  <a:pt x="2804424" y="11744"/>
                </a:cubicBezTo>
                <a:cubicBezTo>
                  <a:pt x="2818516" y="11744"/>
                  <a:pt x="2831434" y="14092"/>
                  <a:pt x="2843472" y="17909"/>
                </a:cubicBezTo>
                <a:lnTo>
                  <a:pt x="2868290" y="28916"/>
                </a:lnTo>
                <a:lnTo>
                  <a:pt x="2853748" y="18838"/>
                </a:lnTo>
                <a:cubicBezTo>
                  <a:pt x="2858446" y="21187"/>
                  <a:pt x="2863143" y="25884"/>
                  <a:pt x="2867842" y="28233"/>
                </a:cubicBezTo>
                <a:lnTo>
                  <a:pt x="2869232" y="29333"/>
                </a:lnTo>
                <a:lnTo>
                  <a:pt x="2877235" y="32883"/>
                </a:lnTo>
                <a:lnTo>
                  <a:pt x="2871520" y="31143"/>
                </a:lnTo>
                <a:lnTo>
                  <a:pt x="2871627" y="31228"/>
                </a:lnTo>
                <a:lnTo>
                  <a:pt x="2871493" y="31135"/>
                </a:lnTo>
                <a:lnTo>
                  <a:pt x="2823213" y="16442"/>
                </a:lnTo>
                <a:cubicBezTo>
                  <a:pt x="2802074" y="14093"/>
                  <a:pt x="2780935" y="18790"/>
                  <a:pt x="2762144" y="25837"/>
                </a:cubicBezTo>
                <a:cubicBezTo>
                  <a:pt x="2745703" y="32883"/>
                  <a:pt x="2731610" y="44626"/>
                  <a:pt x="2722215" y="56370"/>
                </a:cubicBezTo>
                <a:cubicBezTo>
                  <a:pt x="2715170" y="68114"/>
                  <a:pt x="2710471" y="77509"/>
                  <a:pt x="2708123" y="84555"/>
                </a:cubicBezTo>
                <a:cubicBezTo>
                  <a:pt x="2717518" y="65765"/>
                  <a:pt x="2731610" y="49323"/>
                  <a:pt x="2748053" y="39928"/>
                </a:cubicBezTo>
                <a:lnTo>
                  <a:pt x="2775836" y="32681"/>
                </a:lnTo>
                <a:lnTo>
                  <a:pt x="2764201" y="40809"/>
                </a:lnTo>
                <a:cubicBezTo>
                  <a:pt x="2756860" y="46388"/>
                  <a:pt x="2749226" y="51672"/>
                  <a:pt x="2741006" y="54021"/>
                </a:cubicBezTo>
                <a:cubicBezTo>
                  <a:pt x="2766842" y="75160"/>
                  <a:pt x="2738657" y="105694"/>
                  <a:pt x="2795027" y="122136"/>
                </a:cubicBezTo>
                <a:cubicBezTo>
                  <a:pt x="2818515" y="112740"/>
                  <a:pt x="2809120" y="93950"/>
                  <a:pt x="2830260" y="89253"/>
                </a:cubicBezTo>
                <a:cubicBezTo>
                  <a:pt x="2884281" y="115089"/>
                  <a:pt x="2947698" y="115089"/>
                  <a:pt x="2872537" y="96299"/>
                </a:cubicBezTo>
                <a:cubicBezTo>
                  <a:pt x="2867840" y="93950"/>
                  <a:pt x="2856096" y="100997"/>
                  <a:pt x="2842003" y="89253"/>
                </a:cubicBezTo>
                <a:cubicBezTo>
                  <a:pt x="2827910" y="75160"/>
                  <a:pt x="2820864" y="58719"/>
                  <a:pt x="2820864" y="39928"/>
                </a:cubicBezTo>
                <a:cubicBezTo>
                  <a:pt x="2816167" y="42278"/>
                  <a:pt x="2811469" y="41690"/>
                  <a:pt x="2805891" y="39048"/>
                </a:cubicBezTo>
                <a:lnTo>
                  <a:pt x="2790330" y="28900"/>
                </a:lnTo>
                <a:lnTo>
                  <a:pt x="2802074" y="25837"/>
                </a:lnTo>
                <a:cubicBezTo>
                  <a:pt x="2839654" y="28185"/>
                  <a:pt x="2870188" y="42278"/>
                  <a:pt x="2893676" y="61067"/>
                </a:cubicBezTo>
                <a:cubicBezTo>
                  <a:pt x="2943000" y="100997"/>
                  <a:pt x="2966488" y="152670"/>
                  <a:pt x="2982930" y="199644"/>
                </a:cubicBezTo>
                <a:cubicBezTo>
                  <a:pt x="3013464" y="293595"/>
                  <a:pt x="3027557" y="375802"/>
                  <a:pt x="3039300" y="460358"/>
                </a:cubicBezTo>
                <a:cubicBezTo>
                  <a:pt x="3034604" y="411033"/>
                  <a:pt x="3027557" y="359360"/>
                  <a:pt x="3018161" y="310037"/>
                </a:cubicBezTo>
                <a:cubicBezTo>
                  <a:pt x="3008766" y="260713"/>
                  <a:pt x="2999371" y="209039"/>
                  <a:pt x="2978232" y="159716"/>
                </a:cubicBezTo>
                <a:cubicBezTo>
                  <a:pt x="2992325" y="166762"/>
                  <a:pt x="3004069" y="201993"/>
                  <a:pt x="3013464" y="244271"/>
                </a:cubicBezTo>
                <a:cubicBezTo>
                  <a:pt x="3025208" y="286549"/>
                  <a:pt x="3032254" y="333525"/>
                  <a:pt x="3043998" y="375802"/>
                </a:cubicBezTo>
                <a:cubicBezTo>
                  <a:pt x="3051044" y="526123"/>
                  <a:pt x="3072184" y="641213"/>
                  <a:pt x="3074532" y="763348"/>
                </a:cubicBezTo>
                <a:cubicBezTo>
                  <a:pt x="3072184" y="732814"/>
                  <a:pt x="3069835" y="730465"/>
                  <a:pt x="3067486" y="697582"/>
                </a:cubicBezTo>
                <a:cubicBezTo>
                  <a:pt x="3074532" y="803277"/>
                  <a:pt x="3076881" y="883135"/>
                  <a:pt x="3079231" y="946552"/>
                </a:cubicBezTo>
                <a:cubicBezTo>
                  <a:pt x="3079231" y="979442"/>
                  <a:pt x="3081578" y="1005274"/>
                  <a:pt x="3083927" y="1031108"/>
                </a:cubicBezTo>
                <a:cubicBezTo>
                  <a:pt x="3086276" y="1056951"/>
                  <a:pt x="3088625" y="1078094"/>
                  <a:pt x="3095671" y="1092184"/>
                </a:cubicBezTo>
                <a:cubicBezTo>
                  <a:pt x="3114461" y="1129761"/>
                  <a:pt x="3147344" y="1155597"/>
                  <a:pt x="3187274" y="1155597"/>
                </a:cubicBezTo>
                <a:cubicBezTo>
                  <a:pt x="3213110" y="1155597"/>
                  <a:pt x="3250690" y="1143853"/>
                  <a:pt x="3276528" y="1120367"/>
                </a:cubicBezTo>
                <a:cubicBezTo>
                  <a:pt x="3290620" y="1108624"/>
                  <a:pt x="3302364" y="1094535"/>
                  <a:pt x="3311758" y="1080442"/>
                </a:cubicBezTo>
                <a:cubicBezTo>
                  <a:pt x="3318805" y="1066348"/>
                  <a:pt x="3325851" y="1049902"/>
                  <a:pt x="3328200" y="1035806"/>
                </a:cubicBezTo>
                <a:cubicBezTo>
                  <a:pt x="3335246" y="1007623"/>
                  <a:pt x="3332898" y="984138"/>
                  <a:pt x="3330549" y="972396"/>
                </a:cubicBezTo>
                <a:cubicBezTo>
                  <a:pt x="3325851" y="960655"/>
                  <a:pt x="3325851" y="963003"/>
                  <a:pt x="3323502" y="981791"/>
                </a:cubicBezTo>
                <a:cubicBezTo>
                  <a:pt x="3321155" y="960655"/>
                  <a:pt x="3323502" y="972396"/>
                  <a:pt x="3321155" y="1000578"/>
                </a:cubicBezTo>
                <a:cubicBezTo>
                  <a:pt x="3321155" y="1014669"/>
                  <a:pt x="3316456" y="1033457"/>
                  <a:pt x="3309410" y="1049902"/>
                </a:cubicBezTo>
                <a:cubicBezTo>
                  <a:pt x="3309410" y="1047553"/>
                  <a:pt x="3309410" y="1047553"/>
                  <a:pt x="3307061" y="1045204"/>
                </a:cubicBezTo>
                <a:cubicBezTo>
                  <a:pt x="3307061" y="1047553"/>
                  <a:pt x="3307061" y="1047553"/>
                  <a:pt x="3304712" y="1049902"/>
                </a:cubicBezTo>
                <a:cubicBezTo>
                  <a:pt x="3318805" y="1017016"/>
                  <a:pt x="3321155" y="972396"/>
                  <a:pt x="3307061" y="930110"/>
                </a:cubicBezTo>
                <a:cubicBezTo>
                  <a:pt x="3297666" y="904274"/>
                  <a:pt x="3283573" y="876089"/>
                  <a:pt x="3271829" y="838509"/>
                </a:cubicBezTo>
                <a:cubicBezTo>
                  <a:pt x="3267132" y="819719"/>
                  <a:pt x="3260085" y="798580"/>
                  <a:pt x="3260085" y="775092"/>
                </a:cubicBezTo>
                <a:cubicBezTo>
                  <a:pt x="3260085" y="749255"/>
                  <a:pt x="3264783" y="723419"/>
                  <a:pt x="3274178" y="699931"/>
                </a:cubicBezTo>
                <a:cubicBezTo>
                  <a:pt x="3276528" y="695234"/>
                  <a:pt x="3278876" y="690537"/>
                  <a:pt x="3281225" y="685839"/>
                </a:cubicBezTo>
                <a:cubicBezTo>
                  <a:pt x="3316456" y="690537"/>
                  <a:pt x="3325851" y="662352"/>
                  <a:pt x="3321155" y="636515"/>
                </a:cubicBezTo>
                <a:cubicBezTo>
                  <a:pt x="3321155" y="634166"/>
                  <a:pt x="3323502" y="634166"/>
                  <a:pt x="3325851" y="631818"/>
                </a:cubicBezTo>
                <a:cubicBezTo>
                  <a:pt x="3351688" y="615376"/>
                  <a:pt x="3384571" y="605981"/>
                  <a:pt x="3417454" y="610679"/>
                </a:cubicBezTo>
                <a:cubicBezTo>
                  <a:pt x="3457383" y="617725"/>
                  <a:pt x="3494963" y="641213"/>
                  <a:pt x="3518452" y="674096"/>
                </a:cubicBezTo>
                <a:cubicBezTo>
                  <a:pt x="3516102" y="676444"/>
                  <a:pt x="3516102" y="678793"/>
                  <a:pt x="3513754" y="678793"/>
                </a:cubicBezTo>
                <a:cubicBezTo>
                  <a:pt x="3509056" y="674096"/>
                  <a:pt x="3506708" y="671747"/>
                  <a:pt x="3506708" y="671747"/>
                </a:cubicBezTo>
                <a:lnTo>
                  <a:pt x="3508176" y="676153"/>
                </a:lnTo>
                <a:lnTo>
                  <a:pt x="3509056" y="676446"/>
                </a:lnTo>
                <a:lnTo>
                  <a:pt x="3509056" y="678793"/>
                </a:lnTo>
                <a:lnTo>
                  <a:pt x="3509056" y="683492"/>
                </a:lnTo>
                <a:lnTo>
                  <a:pt x="3505594" y="678298"/>
                </a:lnTo>
                <a:lnTo>
                  <a:pt x="3494670" y="676738"/>
                </a:lnTo>
                <a:cubicBezTo>
                  <a:pt x="3490266" y="676444"/>
                  <a:pt x="3486743" y="677619"/>
                  <a:pt x="3485568" y="683491"/>
                </a:cubicBezTo>
                <a:cubicBezTo>
                  <a:pt x="3499661" y="692885"/>
                  <a:pt x="3504359" y="685839"/>
                  <a:pt x="3511405" y="683491"/>
                </a:cubicBezTo>
                <a:cubicBezTo>
                  <a:pt x="3516102" y="688188"/>
                  <a:pt x="3518452" y="695234"/>
                  <a:pt x="3520800" y="702280"/>
                </a:cubicBezTo>
                <a:cubicBezTo>
                  <a:pt x="3518452" y="704629"/>
                  <a:pt x="3513754" y="706977"/>
                  <a:pt x="3511405" y="706977"/>
                </a:cubicBezTo>
                <a:cubicBezTo>
                  <a:pt x="3471475" y="718721"/>
                  <a:pt x="3429198" y="718721"/>
                  <a:pt x="3391618" y="732814"/>
                </a:cubicBezTo>
                <a:cubicBezTo>
                  <a:pt x="3415105" y="737512"/>
                  <a:pt x="3450337" y="718721"/>
                  <a:pt x="3459732" y="732814"/>
                </a:cubicBezTo>
                <a:cubicBezTo>
                  <a:pt x="3450337" y="744558"/>
                  <a:pt x="3405710" y="732814"/>
                  <a:pt x="3417454" y="756302"/>
                </a:cubicBezTo>
                <a:cubicBezTo>
                  <a:pt x="3419802" y="751604"/>
                  <a:pt x="3443290" y="737512"/>
                  <a:pt x="3438593" y="751604"/>
                </a:cubicBezTo>
                <a:cubicBezTo>
                  <a:pt x="3433895" y="758651"/>
                  <a:pt x="3429198" y="763348"/>
                  <a:pt x="3424500" y="765697"/>
                </a:cubicBezTo>
                <a:cubicBezTo>
                  <a:pt x="3433895" y="770394"/>
                  <a:pt x="3443290" y="772743"/>
                  <a:pt x="3450337" y="770394"/>
                </a:cubicBezTo>
                <a:cubicBezTo>
                  <a:pt x="3473825" y="812672"/>
                  <a:pt x="3412756" y="847903"/>
                  <a:pt x="3410407" y="883135"/>
                </a:cubicBezTo>
                <a:cubicBezTo>
                  <a:pt x="3415105" y="876089"/>
                  <a:pt x="3419802" y="876089"/>
                  <a:pt x="3426849" y="876089"/>
                </a:cubicBezTo>
                <a:cubicBezTo>
                  <a:pt x="3419802" y="901925"/>
                  <a:pt x="3415105" y="920715"/>
                  <a:pt x="3398664" y="946552"/>
                </a:cubicBezTo>
                <a:cubicBezTo>
                  <a:pt x="3422151" y="1005274"/>
                  <a:pt x="3356385" y="1045204"/>
                  <a:pt x="3325851" y="1073396"/>
                </a:cubicBezTo>
                <a:cubicBezTo>
                  <a:pt x="3321155" y="1096878"/>
                  <a:pt x="3318805" y="1087490"/>
                  <a:pt x="3316456" y="1110971"/>
                </a:cubicBezTo>
                <a:cubicBezTo>
                  <a:pt x="3311758" y="1108624"/>
                  <a:pt x="3309410" y="1108624"/>
                  <a:pt x="3304712" y="1106282"/>
                </a:cubicBezTo>
                <a:cubicBezTo>
                  <a:pt x="3302364" y="1127413"/>
                  <a:pt x="3307061" y="1146203"/>
                  <a:pt x="3314107" y="1164992"/>
                </a:cubicBezTo>
                <a:cubicBezTo>
                  <a:pt x="3302364" y="1169690"/>
                  <a:pt x="3297666" y="1186132"/>
                  <a:pt x="3281225" y="1179085"/>
                </a:cubicBezTo>
                <a:cubicBezTo>
                  <a:pt x="3281225" y="1200225"/>
                  <a:pt x="3267132" y="1197876"/>
                  <a:pt x="3271829" y="1216667"/>
                </a:cubicBezTo>
                <a:cubicBezTo>
                  <a:pt x="3288271" y="1228411"/>
                  <a:pt x="3292969" y="1214318"/>
                  <a:pt x="3309410" y="1226063"/>
                </a:cubicBezTo>
                <a:cubicBezTo>
                  <a:pt x="3290620" y="1263644"/>
                  <a:pt x="3318805" y="1289482"/>
                  <a:pt x="3321155" y="1331761"/>
                </a:cubicBezTo>
                <a:cubicBezTo>
                  <a:pt x="3302364" y="1317668"/>
                  <a:pt x="3292969" y="1334109"/>
                  <a:pt x="3285922" y="1350552"/>
                </a:cubicBezTo>
                <a:cubicBezTo>
                  <a:pt x="3292969" y="1357598"/>
                  <a:pt x="3316456" y="1343506"/>
                  <a:pt x="3314107" y="1362296"/>
                </a:cubicBezTo>
                <a:cubicBezTo>
                  <a:pt x="3271829" y="1435111"/>
                  <a:pt x="3260085" y="1467995"/>
                  <a:pt x="3208412" y="1503227"/>
                </a:cubicBezTo>
                <a:cubicBezTo>
                  <a:pt x="3215459" y="1510274"/>
                  <a:pt x="3215459" y="1519669"/>
                  <a:pt x="3210761" y="1531414"/>
                </a:cubicBezTo>
                <a:cubicBezTo>
                  <a:pt x="3170832" y="1550204"/>
                  <a:pt x="3107415" y="1576042"/>
                  <a:pt x="3114461" y="1634760"/>
                </a:cubicBezTo>
                <a:cubicBezTo>
                  <a:pt x="3121508" y="1637109"/>
                  <a:pt x="3130903" y="1641806"/>
                  <a:pt x="3137949" y="1644155"/>
                </a:cubicBezTo>
                <a:cubicBezTo>
                  <a:pt x="3177878" y="1627714"/>
                  <a:pt x="3170832" y="1573693"/>
                  <a:pt x="3215459" y="1573693"/>
                </a:cubicBezTo>
                <a:cubicBezTo>
                  <a:pt x="3238948" y="1484436"/>
                  <a:pt x="3386920" y="1449204"/>
                  <a:pt x="3361083" y="1348203"/>
                </a:cubicBezTo>
                <a:cubicBezTo>
                  <a:pt x="3372827" y="1327063"/>
                  <a:pt x="3405710" y="1310622"/>
                  <a:pt x="3410407" y="1341156"/>
                </a:cubicBezTo>
                <a:cubicBezTo>
                  <a:pt x="3389268" y="1338808"/>
                  <a:pt x="3396315" y="1348203"/>
                  <a:pt x="3384571" y="1357598"/>
                </a:cubicBezTo>
                <a:cubicBezTo>
                  <a:pt x="3405710" y="1371692"/>
                  <a:pt x="3410407" y="1352901"/>
                  <a:pt x="3426849" y="1355249"/>
                </a:cubicBezTo>
                <a:cubicBezTo>
                  <a:pt x="3433895" y="1383436"/>
                  <a:pt x="3457383" y="1369342"/>
                  <a:pt x="3485568" y="1378738"/>
                </a:cubicBezTo>
                <a:cubicBezTo>
                  <a:pt x="3527846" y="1329412"/>
                  <a:pt x="3588915" y="1289482"/>
                  <a:pt x="3600658" y="1214318"/>
                </a:cubicBezTo>
                <a:cubicBezTo>
                  <a:pt x="3617100" y="1209620"/>
                  <a:pt x="3635890" y="1214318"/>
                  <a:pt x="3647634" y="1200225"/>
                </a:cubicBezTo>
                <a:cubicBezTo>
                  <a:pt x="3619449" y="1183783"/>
                  <a:pt x="3614751" y="1223714"/>
                  <a:pt x="3588915" y="1209620"/>
                </a:cubicBezTo>
                <a:cubicBezTo>
                  <a:pt x="3584217" y="1195527"/>
                  <a:pt x="3586566" y="1181434"/>
                  <a:pt x="3591263" y="1169690"/>
                </a:cubicBezTo>
                <a:cubicBezTo>
                  <a:pt x="3591263" y="1169690"/>
                  <a:pt x="3593612" y="1169690"/>
                  <a:pt x="3593612" y="1169690"/>
                </a:cubicBezTo>
                <a:cubicBezTo>
                  <a:pt x="3595962" y="1169690"/>
                  <a:pt x="3600658" y="1167341"/>
                  <a:pt x="3605356" y="1164992"/>
                </a:cubicBezTo>
                <a:cubicBezTo>
                  <a:pt x="3610054" y="1162644"/>
                  <a:pt x="3617100" y="1160295"/>
                  <a:pt x="3621798" y="1155597"/>
                </a:cubicBezTo>
                <a:cubicBezTo>
                  <a:pt x="3633542" y="1146203"/>
                  <a:pt x="3647634" y="1127413"/>
                  <a:pt x="3654680" y="1120367"/>
                </a:cubicBezTo>
                <a:cubicBezTo>
                  <a:pt x="3661727" y="1113321"/>
                  <a:pt x="3661727" y="1115670"/>
                  <a:pt x="3649983" y="1134460"/>
                </a:cubicBezTo>
                <a:cubicBezTo>
                  <a:pt x="3668773" y="1110971"/>
                  <a:pt x="3682866" y="1085140"/>
                  <a:pt x="3696958" y="1059299"/>
                </a:cubicBezTo>
                <a:cubicBezTo>
                  <a:pt x="3701656" y="1056951"/>
                  <a:pt x="3701656" y="1054601"/>
                  <a:pt x="3701656" y="1052252"/>
                </a:cubicBezTo>
                <a:cubicBezTo>
                  <a:pt x="3732190" y="993532"/>
                  <a:pt x="3750980" y="934808"/>
                  <a:pt x="3762724" y="885484"/>
                </a:cubicBezTo>
                <a:lnTo>
                  <a:pt x="3760375" y="899576"/>
                </a:lnTo>
                <a:cubicBezTo>
                  <a:pt x="3776817" y="838509"/>
                  <a:pt x="3786212" y="791534"/>
                  <a:pt x="3790909" y="749255"/>
                </a:cubicBezTo>
                <a:cubicBezTo>
                  <a:pt x="3793259" y="746907"/>
                  <a:pt x="3797956" y="744558"/>
                  <a:pt x="3802653" y="742209"/>
                </a:cubicBezTo>
                <a:cubicBezTo>
                  <a:pt x="3823792" y="742209"/>
                  <a:pt x="3800304" y="763348"/>
                  <a:pt x="3821444" y="763348"/>
                </a:cubicBezTo>
                <a:cubicBezTo>
                  <a:pt x="3835536" y="746907"/>
                  <a:pt x="3805002" y="751604"/>
                  <a:pt x="3819095" y="735163"/>
                </a:cubicBezTo>
                <a:cubicBezTo>
                  <a:pt x="3849629" y="744558"/>
                  <a:pt x="3856675" y="699931"/>
                  <a:pt x="3887209" y="735163"/>
                </a:cubicBezTo>
                <a:cubicBezTo>
                  <a:pt x="3901302" y="709326"/>
                  <a:pt x="3915395" y="723419"/>
                  <a:pt x="3910697" y="697582"/>
                </a:cubicBezTo>
                <a:cubicBezTo>
                  <a:pt x="3941231" y="709326"/>
                  <a:pt x="3948278" y="692885"/>
                  <a:pt x="3950626" y="681142"/>
                </a:cubicBezTo>
                <a:cubicBezTo>
                  <a:pt x="3962370" y="685839"/>
                  <a:pt x="3955324" y="699931"/>
                  <a:pt x="3967068" y="706977"/>
                </a:cubicBezTo>
                <a:cubicBezTo>
                  <a:pt x="3950626" y="662352"/>
                  <a:pt x="3971765" y="620074"/>
                  <a:pt x="3974114" y="587191"/>
                </a:cubicBezTo>
                <a:cubicBezTo>
                  <a:pt x="3941231" y="535518"/>
                  <a:pt x="3920093" y="509682"/>
                  <a:pt x="3866070" y="502636"/>
                </a:cubicBezTo>
                <a:cubicBezTo>
                  <a:pt x="3849629" y="500287"/>
                  <a:pt x="3837886" y="523775"/>
                  <a:pt x="3826141" y="500287"/>
                </a:cubicBezTo>
                <a:cubicBezTo>
                  <a:pt x="3814397" y="516728"/>
                  <a:pt x="3800304" y="521426"/>
                  <a:pt x="3779166" y="526123"/>
                </a:cubicBezTo>
                <a:cubicBezTo>
                  <a:pt x="3779166" y="523775"/>
                  <a:pt x="3779166" y="523775"/>
                  <a:pt x="3779166" y="523775"/>
                </a:cubicBezTo>
                <a:cubicBezTo>
                  <a:pt x="3776817" y="512031"/>
                  <a:pt x="3774468" y="502636"/>
                  <a:pt x="3772119" y="490892"/>
                </a:cubicBezTo>
                <a:cubicBezTo>
                  <a:pt x="3769770" y="479148"/>
                  <a:pt x="3769770" y="465055"/>
                  <a:pt x="3767423" y="450963"/>
                </a:cubicBezTo>
                <a:cubicBezTo>
                  <a:pt x="3765073" y="422777"/>
                  <a:pt x="3767423" y="385197"/>
                  <a:pt x="3790909" y="347617"/>
                </a:cubicBezTo>
                <a:cubicBezTo>
                  <a:pt x="3802653" y="328827"/>
                  <a:pt x="3819095" y="312386"/>
                  <a:pt x="3842583" y="300642"/>
                </a:cubicBezTo>
                <a:cubicBezTo>
                  <a:pt x="3866070" y="288898"/>
                  <a:pt x="3891907" y="281852"/>
                  <a:pt x="3917743" y="281852"/>
                </a:cubicBezTo>
                <a:cubicBezTo>
                  <a:pt x="3910697" y="279503"/>
                  <a:pt x="3903651" y="279503"/>
                  <a:pt x="3896605" y="279503"/>
                </a:cubicBezTo>
                <a:cubicBezTo>
                  <a:pt x="3887209" y="279503"/>
                  <a:pt x="3880163" y="281852"/>
                  <a:pt x="3873117" y="281852"/>
                </a:cubicBezTo>
                <a:cubicBezTo>
                  <a:pt x="3908349" y="272456"/>
                  <a:pt x="3945929" y="274805"/>
                  <a:pt x="3981160" y="284200"/>
                </a:cubicBezTo>
                <a:cubicBezTo>
                  <a:pt x="4016392" y="293595"/>
                  <a:pt x="4051624" y="310037"/>
                  <a:pt x="4079810" y="338222"/>
                </a:cubicBezTo>
                <a:cubicBezTo>
                  <a:pt x="4107995" y="366407"/>
                  <a:pt x="4129133" y="408685"/>
                  <a:pt x="4131482" y="450963"/>
                </a:cubicBezTo>
                <a:cubicBezTo>
                  <a:pt x="4133831" y="493241"/>
                  <a:pt x="4119738" y="533169"/>
                  <a:pt x="4100948" y="566052"/>
                </a:cubicBezTo>
                <a:lnTo>
                  <a:pt x="4086855" y="589540"/>
                </a:lnTo>
                <a:lnTo>
                  <a:pt x="4072763" y="610679"/>
                </a:lnTo>
                <a:cubicBezTo>
                  <a:pt x="4063368" y="624771"/>
                  <a:pt x="4053974" y="636515"/>
                  <a:pt x="4042230" y="650608"/>
                </a:cubicBezTo>
                <a:cubicBezTo>
                  <a:pt x="4021090" y="676444"/>
                  <a:pt x="3999951" y="702280"/>
                  <a:pt x="3978812" y="725768"/>
                </a:cubicBezTo>
                <a:cubicBezTo>
                  <a:pt x="3957673" y="749255"/>
                  <a:pt x="3938883" y="772743"/>
                  <a:pt x="3922441" y="796231"/>
                </a:cubicBezTo>
                <a:cubicBezTo>
                  <a:pt x="3915395" y="807975"/>
                  <a:pt x="3908349" y="822068"/>
                  <a:pt x="3901302" y="833812"/>
                </a:cubicBezTo>
                <a:cubicBezTo>
                  <a:pt x="3894256" y="847903"/>
                  <a:pt x="3889558" y="861996"/>
                  <a:pt x="3882513" y="876089"/>
                </a:cubicBezTo>
                <a:cubicBezTo>
                  <a:pt x="3856675" y="932459"/>
                  <a:pt x="3840234" y="993532"/>
                  <a:pt x="3826141" y="1054601"/>
                </a:cubicBezTo>
                <a:cubicBezTo>
                  <a:pt x="3821444" y="1085140"/>
                  <a:pt x="3814397" y="1115670"/>
                  <a:pt x="3812048" y="1146203"/>
                </a:cubicBezTo>
                <a:cubicBezTo>
                  <a:pt x="3807351" y="1179085"/>
                  <a:pt x="3807351" y="1197876"/>
                  <a:pt x="3816746" y="1219015"/>
                </a:cubicBezTo>
                <a:cubicBezTo>
                  <a:pt x="3830839" y="1258946"/>
                  <a:pt x="3875466" y="1291830"/>
                  <a:pt x="3927140" y="1310622"/>
                </a:cubicBezTo>
                <a:cubicBezTo>
                  <a:pt x="3943580" y="1317668"/>
                  <a:pt x="3957673" y="1320017"/>
                  <a:pt x="3974114" y="1324714"/>
                </a:cubicBezTo>
                <a:cubicBezTo>
                  <a:pt x="3974114" y="1322366"/>
                  <a:pt x="3976463" y="1322366"/>
                  <a:pt x="3976463" y="1320017"/>
                </a:cubicBezTo>
                <a:cubicBezTo>
                  <a:pt x="3988207" y="1296528"/>
                  <a:pt x="3999951" y="1270690"/>
                  <a:pt x="4016392" y="1249551"/>
                </a:cubicBezTo>
                <a:cubicBezTo>
                  <a:pt x="4053974" y="1242505"/>
                  <a:pt x="4065716" y="1249551"/>
                  <a:pt x="4096251" y="1237807"/>
                </a:cubicBezTo>
                <a:cubicBezTo>
                  <a:pt x="4098599" y="1211969"/>
                  <a:pt x="4098599" y="1216667"/>
                  <a:pt x="4091553" y="1193179"/>
                </a:cubicBezTo>
                <a:cubicBezTo>
                  <a:pt x="4096251" y="1183783"/>
                  <a:pt x="4110343" y="1181434"/>
                  <a:pt x="4124437" y="1181434"/>
                </a:cubicBezTo>
                <a:cubicBezTo>
                  <a:pt x="4127959" y="1188481"/>
                  <a:pt x="4124876" y="1203455"/>
                  <a:pt x="4128069" y="1209511"/>
                </a:cubicBezTo>
                <a:lnTo>
                  <a:pt x="4133526" y="1211839"/>
                </a:lnTo>
                <a:lnTo>
                  <a:pt x="4133562" y="1212560"/>
                </a:lnTo>
                <a:lnTo>
                  <a:pt x="4130492" y="1219273"/>
                </a:lnTo>
                <a:cubicBezTo>
                  <a:pt x="4125757" y="1220924"/>
                  <a:pt x="4117390" y="1209033"/>
                  <a:pt x="4110343" y="1214318"/>
                </a:cubicBezTo>
                <a:lnTo>
                  <a:pt x="4111721" y="1223411"/>
                </a:lnTo>
                <a:lnTo>
                  <a:pt x="4119262" y="1234303"/>
                </a:lnTo>
                <a:cubicBezTo>
                  <a:pt x="4119812" y="1237937"/>
                  <a:pt x="4118418" y="1240653"/>
                  <a:pt x="4116509" y="1241680"/>
                </a:cubicBezTo>
                <a:lnTo>
                  <a:pt x="4114334" y="1240654"/>
                </a:lnTo>
                <a:lnTo>
                  <a:pt x="4114747" y="1243385"/>
                </a:lnTo>
                <a:cubicBezTo>
                  <a:pt x="4113867" y="1254249"/>
                  <a:pt x="4111519" y="1265993"/>
                  <a:pt x="4110343" y="1277737"/>
                </a:cubicBezTo>
                <a:cubicBezTo>
                  <a:pt x="4122087" y="1289482"/>
                  <a:pt x="4124437" y="1265993"/>
                  <a:pt x="4143226" y="1265993"/>
                </a:cubicBezTo>
                <a:cubicBezTo>
                  <a:pt x="4150273" y="1298877"/>
                  <a:pt x="4131482" y="1308272"/>
                  <a:pt x="4105646" y="1310622"/>
                </a:cubicBezTo>
                <a:cubicBezTo>
                  <a:pt x="4105646" y="1315319"/>
                  <a:pt x="4105646" y="1317668"/>
                  <a:pt x="4105646" y="1322366"/>
                </a:cubicBezTo>
                <a:cubicBezTo>
                  <a:pt x="4122087" y="1317668"/>
                  <a:pt x="4138529" y="1312970"/>
                  <a:pt x="4145575" y="1308272"/>
                </a:cubicBezTo>
                <a:cubicBezTo>
                  <a:pt x="4147924" y="1305923"/>
                  <a:pt x="4147924" y="1303574"/>
                  <a:pt x="4150273" y="1303574"/>
                </a:cubicBezTo>
                <a:cubicBezTo>
                  <a:pt x="4152621" y="1301225"/>
                  <a:pt x="4152621" y="1301225"/>
                  <a:pt x="4152621" y="1301225"/>
                </a:cubicBezTo>
                <a:cubicBezTo>
                  <a:pt x="4152621" y="1301225"/>
                  <a:pt x="4152621" y="1301225"/>
                  <a:pt x="4152621" y="1298877"/>
                </a:cubicBezTo>
                <a:cubicBezTo>
                  <a:pt x="4154970" y="1291830"/>
                  <a:pt x="4150273" y="1275389"/>
                  <a:pt x="4143226" y="1254249"/>
                </a:cubicBezTo>
                <a:cubicBezTo>
                  <a:pt x="4140878" y="1243679"/>
                  <a:pt x="4136768" y="1231935"/>
                  <a:pt x="4133832" y="1218135"/>
                </a:cubicBezTo>
                <a:lnTo>
                  <a:pt x="4133562" y="1212560"/>
                </a:lnTo>
                <a:lnTo>
                  <a:pt x="4133831" y="1211969"/>
                </a:lnTo>
                <a:lnTo>
                  <a:pt x="4133526" y="1211839"/>
                </a:lnTo>
                <a:lnTo>
                  <a:pt x="4131482" y="1169690"/>
                </a:lnTo>
                <a:cubicBezTo>
                  <a:pt x="4129133" y="1200225"/>
                  <a:pt x="4138529" y="1228411"/>
                  <a:pt x="4145575" y="1247203"/>
                </a:cubicBezTo>
                <a:cubicBezTo>
                  <a:pt x="4154970" y="1268342"/>
                  <a:pt x="4159668" y="1282435"/>
                  <a:pt x="4159668" y="1289482"/>
                </a:cubicBezTo>
                <a:cubicBezTo>
                  <a:pt x="4164365" y="1287133"/>
                  <a:pt x="4166714" y="1277737"/>
                  <a:pt x="4159668" y="1249551"/>
                </a:cubicBezTo>
                <a:cubicBezTo>
                  <a:pt x="4157319" y="1235458"/>
                  <a:pt x="4150273" y="1216667"/>
                  <a:pt x="4147924" y="1183783"/>
                </a:cubicBezTo>
                <a:cubicBezTo>
                  <a:pt x="4150273" y="1179085"/>
                  <a:pt x="4150273" y="1174387"/>
                  <a:pt x="4150273" y="1169690"/>
                </a:cubicBezTo>
                <a:cubicBezTo>
                  <a:pt x="4150273" y="1167341"/>
                  <a:pt x="4150273" y="1160295"/>
                  <a:pt x="4152621" y="1155597"/>
                </a:cubicBezTo>
                <a:cubicBezTo>
                  <a:pt x="4154970" y="1150899"/>
                  <a:pt x="4157319" y="1143853"/>
                  <a:pt x="4159668" y="1139158"/>
                </a:cubicBezTo>
                <a:cubicBezTo>
                  <a:pt x="4162017" y="1134460"/>
                  <a:pt x="4164365" y="1129761"/>
                  <a:pt x="4169063" y="1125064"/>
                </a:cubicBezTo>
                <a:cubicBezTo>
                  <a:pt x="4171412" y="1120367"/>
                  <a:pt x="4176109" y="1115670"/>
                  <a:pt x="4180806" y="1113321"/>
                </a:cubicBezTo>
                <a:cubicBezTo>
                  <a:pt x="4185504" y="1110971"/>
                  <a:pt x="4190202" y="1106282"/>
                  <a:pt x="4194899" y="1103929"/>
                </a:cubicBezTo>
                <a:cubicBezTo>
                  <a:pt x="4204294" y="1099231"/>
                  <a:pt x="4216038" y="1094535"/>
                  <a:pt x="4225434" y="1092184"/>
                </a:cubicBezTo>
                <a:cubicBezTo>
                  <a:pt x="4237177" y="1087490"/>
                  <a:pt x="4246572" y="1082792"/>
                  <a:pt x="4258316" y="1082792"/>
                </a:cubicBezTo>
                <a:cubicBezTo>
                  <a:pt x="4270060" y="1082792"/>
                  <a:pt x="4279455" y="1082792"/>
                  <a:pt x="4291199" y="1082792"/>
                </a:cubicBezTo>
                <a:cubicBezTo>
                  <a:pt x="4312338" y="1089838"/>
                  <a:pt x="4328780" y="1099231"/>
                  <a:pt x="4347570" y="1113321"/>
                </a:cubicBezTo>
                <a:cubicBezTo>
                  <a:pt x="4373407" y="1129761"/>
                  <a:pt x="4387499" y="1148552"/>
                  <a:pt x="4396894" y="1160295"/>
                </a:cubicBezTo>
                <a:cubicBezTo>
                  <a:pt x="4403940" y="1172039"/>
                  <a:pt x="4408638" y="1179085"/>
                  <a:pt x="4410987" y="1183783"/>
                </a:cubicBezTo>
                <a:cubicBezTo>
                  <a:pt x="4413336" y="1193179"/>
                  <a:pt x="4413336" y="1183783"/>
                  <a:pt x="4410987" y="1174387"/>
                </a:cubicBezTo>
                <a:cubicBezTo>
                  <a:pt x="4408638" y="1167341"/>
                  <a:pt x="4406289" y="1157946"/>
                  <a:pt x="4410987" y="1164992"/>
                </a:cubicBezTo>
                <a:cubicBezTo>
                  <a:pt x="4413336" y="1169690"/>
                  <a:pt x="4420382" y="1176736"/>
                  <a:pt x="4425080" y="1193179"/>
                </a:cubicBezTo>
                <a:cubicBezTo>
                  <a:pt x="4429777" y="1204923"/>
                  <a:pt x="4434475" y="1221365"/>
                  <a:pt x="4432126" y="1240155"/>
                </a:cubicBezTo>
                <a:cubicBezTo>
                  <a:pt x="4434475" y="1240155"/>
                  <a:pt x="4434475" y="1240155"/>
                  <a:pt x="4434475" y="1240155"/>
                </a:cubicBezTo>
                <a:cubicBezTo>
                  <a:pt x="4434475" y="1244853"/>
                  <a:pt x="4434475" y="1244853"/>
                  <a:pt x="4434475" y="1249551"/>
                </a:cubicBezTo>
                <a:cubicBezTo>
                  <a:pt x="4434475" y="1249551"/>
                  <a:pt x="4432126" y="1249551"/>
                  <a:pt x="4432126" y="1249551"/>
                </a:cubicBezTo>
                <a:cubicBezTo>
                  <a:pt x="4429777" y="1254249"/>
                  <a:pt x="4429777" y="1258946"/>
                  <a:pt x="4427428" y="1265993"/>
                </a:cubicBezTo>
                <a:cubicBezTo>
                  <a:pt x="4425080" y="1270690"/>
                  <a:pt x="4422731" y="1277737"/>
                  <a:pt x="4418033" y="1282435"/>
                </a:cubicBezTo>
                <a:cubicBezTo>
                  <a:pt x="4418033" y="1284784"/>
                  <a:pt x="4418033" y="1287133"/>
                  <a:pt x="4418033" y="1287133"/>
                </a:cubicBezTo>
                <a:cubicBezTo>
                  <a:pt x="4418033" y="1287133"/>
                  <a:pt x="4415684" y="1289482"/>
                  <a:pt x="4415684" y="1289482"/>
                </a:cubicBezTo>
                <a:cubicBezTo>
                  <a:pt x="4415684" y="1294179"/>
                  <a:pt x="4415684" y="1310622"/>
                  <a:pt x="4418033" y="1312970"/>
                </a:cubicBezTo>
                <a:cubicBezTo>
                  <a:pt x="4418033" y="1312970"/>
                  <a:pt x="4420382" y="1312970"/>
                  <a:pt x="4420382" y="1312970"/>
                </a:cubicBezTo>
                <a:cubicBezTo>
                  <a:pt x="4420382" y="1312970"/>
                  <a:pt x="4422731" y="1322366"/>
                  <a:pt x="4422731" y="1322366"/>
                </a:cubicBezTo>
                <a:cubicBezTo>
                  <a:pt x="4425080" y="1324714"/>
                  <a:pt x="4427428" y="1324714"/>
                  <a:pt x="4427428" y="1324714"/>
                </a:cubicBezTo>
                <a:cubicBezTo>
                  <a:pt x="4429777" y="1312970"/>
                  <a:pt x="4434475" y="1301225"/>
                  <a:pt x="4441521" y="1289482"/>
                </a:cubicBezTo>
                <a:cubicBezTo>
                  <a:pt x="4448568" y="1276563"/>
                  <a:pt x="4457376" y="1264231"/>
                  <a:pt x="4467652" y="1253368"/>
                </a:cubicBezTo>
                <a:lnTo>
                  <a:pt x="4496236" y="1231028"/>
                </a:lnTo>
                <a:lnTo>
                  <a:pt x="4505232" y="1225475"/>
                </a:lnTo>
                <a:lnTo>
                  <a:pt x="4519448" y="1220608"/>
                </a:lnTo>
                <a:lnTo>
                  <a:pt x="4539057" y="1214264"/>
                </a:lnTo>
                <a:lnTo>
                  <a:pt x="4555672" y="1213531"/>
                </a:lnTo>
                <a:lnTo>
                  <a:pt x="4582448" y="1214318"/>
                </a:lnTo>
                <a:cubicBezTo>
                  <a:pt x="4608285" y="1216667"/>
                  <a:pt x="4629423" y="1228411"/>
                  <a:pt x="4645865" y="1240155"/>
                </a:cubicBezTo>
                <a:cubicBezTo>
                  <a:pt x="4678748" y="1263644"/>
                  <a:pt x="4695189" y="1291830"/>
                  <a:pt x="4702236" y="1312970"/>
                </a:cubicBezTo>
                <a:cubicBezTo>
                  <a:pt x="4713980" y="1327063"/>
                  <a:pt x="4716328" y="1334109"/>
                  <a:pt x="4718677" y="1331761"/>
                </a:cubicBezTo>
                <a:cubicBezTo>
                  <a:pt x="4719852" y="1330587"/>
                  <a:pt x="4719852" y="1327651"/>
                  <a:pt x="4718677" y="1323540"/>
                </a:cubicBezTo>
                <a:lnTo>
                  <a:pt x="4716328" y="1318450"/>
                </a:lnTo>
                <a:lnTo>
                  <a:pt x="4711631" y="1308272"/>
                </a:lnTo>
                <a:cubicBezTo>
                  <a:pt x="4699887" y="1284784"/>
                  <a:pt x="4669353" y="1242505"/>
                  <a:pt x="4617680" y="1221365"/>
                </a:cubicBezTo>
                <a:cubicBezTo>
                  <a:pt x="4604762" y="1216667"/>
                  <a:pt x="4591256" y="1213731"/>
                  <a:pt x="4577751" y="1212557"/>
                </a:cubicBezTo>
                <a:lnTo>
                  <a:pt x="4555672" y="1213531"/>
                </a:lnTo>
                <a:lnTo>
                  <a:pt x="4542519" y="1213144"/>
                </a:lnTo>
                <a:lnTo>
                  <a:pt x="4539057" y="1214264"/>
                </a:lnTo>
                <a:lnTo>
                  <a:pt x="4537821" y="1214318"/>
                </a:lnTo>
                <a:lnTo>
                  <a:pt x="4519448" y="1220608"/>
                </a:lnTo>
                <a:lnTo>
                  <a:pt x="4502589" y="1226063"/>
                </a:lnTo>
                <a:lnTo>
                  <a:pt x="4496236" y="1231028"/>
                </a:lnTo>
                <a:lnTo>
                  <a:pt x="4481450" y="1240155"/>
                </a:lnTo>
                <a:cubicBezTo>
                  <a:pt x="4469706" y="1249551"/>
                  <a:pt x="4462660" y="1256598"/>
                  <a:pt x="4462660" y="1254249"/>
                </a:cubicBezTo>
                <a:cubicBezTo>
                  <a:pt x="4462660" y="1254249"/>
                  <a:pt x="4465009" y="1251900"/>
                  <a:pt x="4467358" y="1247203"/>
                </a:cubicBezTo>
                <a:cubicBezTo>
                  <a:pt x="4472055" y="1242505"/>
                  <a:pt x="4476753" y="1235458"/>
                  <a:pt x="4486148" y="1228411"/>
                </a:cubicBezTo>
                <a:cubicBezTo>
                  <a:pt x="4521379" y="1207271"/>
                  <a:pt x="4551914" y="1202574"/>
                  <a:pt x="4589494" y="1209620"/>
                </a:cubicBezTo>
                <a:cubicBezTo>
                  <a:pt x="4627075" y="1216667"/>
                  <a:pt x="4671702" y="1240155"/>
                  <a:pt x="4709282" y="1298877"/>
                </a:cubicBezTo>
                <a:cubicBezTo>
                  <a:pt x="4706933" y="1289482"/>
                  <a:pt x="4704584" y="1282435"/>
                  <a:pt x="4699887" y="1275389"/>
                </a:cubicBezTo>
                <a:cubicBezTo>
                  <a:pt x="4697538" y="1265993"/>
                  <a:pt x="4692840" y="1258946"/>
                  <a:pt x="4688143" y="1251900"/>
                </a:cubicBezTo>
                <a:cubicBezTo>
                  <a:pt x="4702236" y="1265993"/>
                  <a:pt x="4711631" y="1280087"/>
                  <a:pt x="4721026" y="1294179"/>
                </a:cubicBezTo>
                <a:cubicBezTo>
                  <a:pt x="4721026" y="1291830"/>
                  <a:pt x="4721026" y="1291830"/>
                  <a:pt x="4723375" y="1291830"/>
                </a:cubicBezTo>
                <a:cubicBezTo>
                  <a:pt x="4723375" y="1294179"/>
                  <a:pt x="4723375" y="1296528"/>
                  <a:pt x="4723375" y="1296528"/>
                </a:cubicBezTo>
                <a:cubicBezTo>
                  <a:pt x="4725723" y="1298877"/>
                  <a:pt x="4728072" y="1298877"/>
                  <a:pt x="4728072" y="1298877"/>
                </a:cubicBezTo>
                <a:cubicBezTo>
                  <a:pt x="4728072" y="1301225"/>
                  <a:pt x="4728072" y="1301225"/>
                  <a:pt x="4728072" y="1303574"/>
                </a:cubicBezTo>
                <a:cubicBezTo>
                  <a:pt x="4728072" y="1305923"/>
                  <a:pt x="4730421" y="1305923"/>
                  <a:pt x="4730421" y="1305923"/>
                </a:cubicBezTo>
                <a:cubicBezTo>
                  <a:pt x="4730421" y="1308272"/>
                  <a:pt x="4730421" y="1312970"/>
                  <a:pt x="4732770" y="1315319"/>
                </a:cubicBezTo>
                <a:cubicBezTo>
                  <a:pt x="4732770" y="1315319"/>
                  <a:pt x="4735118" y="1315319"/>
                  <a:pt x="4735118" y="1315319"/>
                </a:cubicBezTo>
                <a:cubicBezTo>
                  <a:pt x="4735118" y="1317668"/>
                  <a:pt x="4735118" y="1317668"/>
                  <a:pt x="4735118" y="1320017"/>
                </a:cubicBezTo>
                <a:cubicBezTo>
                  <a:pt x="4735118" y="1322366"/>
                  <a:pt x="4737467" y="1322366"/>
                  <a:pt x="4737467" y="1322366"/>
                </a:cubicBezTo>
                <a:cubicBezTo>
                  <a:pt x="4737467" y="1322366"/>
                  <a:pt x="4737467" y="1324714"/>
                  <a:pt x="4737467" y="1324714"/>
                </a:cubicBezTo>
                <a:cubicBezTo>
                  <a:pt x="4737467" y="1327063"/>
                  <a:pt x="4739816" y="1327063"/>
                  <a:pt x="4739816" y="1327063"/>
                </a:cubicBezTo>
                <a:cubicBezTo>
                  <a:pt x="4739816" y="1329412"/>
                  <a:pt x="4739816" y="1329412"/>
                  <a:pt x="4739816" y="1331761"/>
                </a:cubicBezTo>
                <a:cubicBezTo>
                  <a:pt x="4742165" y="1331761"/>
                  <a:pt x="4742165" y="1331761"/>
                  <a:pt x="4742165" y="1331761"/>
                </a:cubicBezTo>
                <a:cubicBezTo>
                  <a:pt x="4742165" y="1334109"/>
                  <a:pt x="4742165" y="1336458"/>
                  <a:pt x="4742165" y="1338808"/>
                </a:cubicBezTo>
                <a:cubicBezTo>
                  <a:pt x="4744513" y="1345854"/>
                  <a:pt x="4744513" y="1355249"/>
                  <a:pt x="4744513" y="1364645"/>
                </a:cubicBezTo>
                <a:cubicBezTo>
                  <a:pt x="4746862" y="1378738"/>
                  <a:pt x="4746862" y="1390482"/>
                  <a:pt x="4744513" y="1404576"/>
                </a:cubicBezTo>
                <a:cubicBezTo>
                  <a:pt x="4744513" y="1406925"/>
                  <a:pt x="4744513" y="1406925"/>
                  <a:pt x="4744513" y="1406925"/>
                </a:cubicBezTo>
                <a:cubicBezTo>
                  <a:pt x="4744513" y="1404576"/>
                  <a:pt x="4744513" y="1404576"/>
                  <a:pt x="4746862" y="1402227"/>
                </a:cubicBezTo>
                <a:cubicBezTo>
                  <a:pt x="4746862" y="1402227"/>
                  <a:pt x="4746862" y="1402227"/>
                  <a:pt x="4749211" y="1402227"/>
                </a:cubicBezTo>
                <a:cubicBezTo>
                  <a:pt x="4751560" y="1404576"/>
                  <a:pt x="4751560" y="1404576"/>
                  <a:pt x="4751560" y="1404576"/>
                </a:cubicBezTo>
                <a:cubicBezTo>
                  <a:pt x="4749211" y="1411622"/>
                  <a:pt x="4746862" y="1416320"/>
                  <a:pt x="4744513" y="1423366"/>
                </a:cubicBezTo>
                <a:cubicBezTo>
                  <a:pt x="4742165" y="1428064"/>
                  <a:pt x="4746862" y="1435111"/>
                  <a:pt x="4746862" y="1437460"/>
                </a:cubicBezTo>
                <a:cubicBezTo>
                  <a:pt x="4746862" y="1439808"/>
                  <a:pt x="4744513" y="1442157"/>
                  <a:pt x="4746862" y="1446855"/>
                </a:cubicBezTo>
                <a:cubicBezTo>
                  <a:pt x="4746862" y="1449204"/>
                  <a:pt x="4751560" y="1451552"/>
                  <a:pt x="4751560" y="1453901"/>
                </a:cubicBezTo>
                <a:cubicBezTo>
                  <a:pt x="4751560" y="1456250"/>
                  <a:pt x="4751560" y="1460947"/>
                  <a:pt x="4751560" y="1463296"/>
                </a:cubicBezTo>
                <a:lnTo>
                  <a:pt x="4753909" y="1465646"/>
                </a:lnTo>
                <a:cubicBezTo>
                  <a:pt x="4753909" y="1465646"/>
                  <a:pt x="4753909" y="1467995"/>
                  <a:pt x="4753909" y="1467995"/>
                </a:cubicBezTo>
                <a:cubicBezTo>
                  <a:pt x="4756257" y="1470344"/>
                  <a:pt x="4758606" y="1470344"/>
                  <a:pt x="4763304" y="1470344"/>
                </a:cubicBezTo>
                <a:cubicBezTo>
                  <a:pt x="4756257" y="1472692"/>
                  <a:pt x="4753909" y="1475041"/>
                  <a:pt x="4751560" y="1477390"/>
                </a:cubicBezTo>
                <a:cubicBezTo>
                  <a:pt x="4751560" y="1479739"/>
                  <a:pt x="4751560" y="1484436"/>
                  <a:pt x="4751560" y="1486785"/>
                </a:cubicBezTo>
                <a:lnTo>
                  <a:pt x="4753909" y="1489134"/>
                </a:lnTo>
                <a:cubicBezTo>
                  <a:pt x="4753909" y="1491483"/>
                  <a:pt x="4753909" y="1491483"/>
                  <a:pt x="4753909" y="1493832"/>
                </a:cubicBezTo>
                <a:cubicBezTo>
                  <a:pt x="4753909" y="1496180"/>
                  <a:pt x="4756257" y="1496180"/>
                  <a:pt x="4756257" y="1496180"/>
                </a:cubicBezTo>
                <a:cubicBezTo>
                  <a:pt x="4758606" y="1496180"/>
                  <a:pt x="4756257" y="1498530"/>
                  <a:pt x="4756257" y="1500879"/>
                </a:cubicBezTo>
                <a:cubicBezTo>
                  <a:pt x="4756257" y="1500879"/>
                  <a:pt x="4758606" y="1503227"/>
                  <a:pt x="4758606" y="1505576"/>
                </a:cubicBezTo>
                <a:cubicBezTo>
                  <a:pt x="4758606" y="1507925"/>
                  <a:pt x="4758606" y="1512623"/>
                  <a:pt x="4758606" y="1514971"/>
                </a:cubicBezTo>
                <a:cubicBezTo>
                  <a:pt x="4758606" y="1514971"/>
                  <a:pt x="4760955" y="1514971"/>
                  <a:pt x="4760955" y="1514971"/>
                </a:cubicBezTo>
                <a:cubicBezTo>
                  <a:pt x="4763304" y="1517320"/>
                  <a:pt x="4763304" y="1517320"/>
                  <a:pt x="4763304" y="1519669"/>
                </a:cubicBezTo>
                <a:cubicBezTo>
                  <a:pt x="4768001" y="1524366"/>
                  <a:pt x="4772699" y="1524366"/>
                  <a:pt x="4772699" y="1531414"/>
                </a:cubicBezTo>
                <a:lnTo>
                  <a:pt x="4785852" y="1522018"/>
                </a:lnTo>
                <a:lnTo>
                  <a:pt x="4798535" y="1522018"/>
                </a:lnTo>
                <a:lnTo>
                  <a:pt x="4808238" y="1515926"/>
                </a:lnTo>
                <a:lnTo>
                  <a:pt x="4806756" y="1518201"/>
                </a:lnTo>
                <a:cubicBezTo>
                  <a:pt x="4802059" y="1522018"/>
                  <a:pt x="4796187" y="1525542"/>
                  <a:pt x="4791489" y="1529065"/>
                </a:cubicBezTo>
                <a:cubicBezTo>
                  <a:pt x="4791489" y="1531414"/>
                  <a:pt x="4789140" y="1533763"/>
                  <a:pt x="4789140" y="1536111"/>
                </a:cubicBezTo>
                <a:cubicBezTo>
                  <a:pt x="4786792" y="1538460"/>
                  <a:pt x="4786792" y="1538460"/>
                  <a:pt x="4786792" y="1540809"/>
                </a:cubicBezTo>
                <a:cubicBezTo>
                  <a:pt x="4789140" y="1540809"/>
                  <a:pt x="4791489" y="1540809"/>
                  <a:pt x="4793838" y="1540809"/>
                </a:cubicBezTo>
                <a:cubicBezTo>
                  <a:pt x="4864301" y="1498530"/>
                  <a:pt x="4934765" y="1460947"/>
                  <a:pt x="5009925" y="1425715"/>
                </a:cubicBezTo>
                <a:lnTo>
                  <a:pt x="5009249" y="1420301"/>
                </a:lnTo>
                <a:lnTo>
                  <a:pt x="5024018" y="1413971"/>
                </a:lnTo>
                <a:cubicBezTo>
                  <a:pt x="5024018" y="1411622"/>
                  <a:pt x="5026367" y="1406925"/>
                  <a:pt x="5028716" y="1404576"/>
                </a:cubicBezTo>
                <a:lnTo>
                  <a:pt x="5028716" y="1406925"/>
                </a:lnTo>
                <a:cubicBezTo>
                  <a:pt x="5028716" y="1409273"/>
                  <a:pt x="5028716" y="1409273"/>
                  <a:pt x="5028716" y="1409273"/>
                </a:cubicBezTo>
                <a:lnTo>
                  <a:pt x="5031065" y="1408098"/>
                </a:lnTo>
                <a:lnTo>
                  <a:pt x="5031065" y="1409273"/>
                </a:lnTo>
                <a:lnTo>
                  <a:pt x="5047506" y="1401965"/>
                </a:lnTo>
                <a:lnTo>
                  <a:pt x="5047506" y="1402227"/>
                </a:lnTo>
                <a:cubicBezTo>
                  <a:pt x="5075691" y="1390482"/>
                  <a:pt x="5103877" y="1376389"/>
                  <a:pt x="5129713" y="1364645"/>
                </a:cubicBezTo>
                <a:cubicBezTo>
                  <a:pt x="5129713" y="1362296"/>
                  <a:pt x="5127364" y="1359947"/>
                  <a:pt x="5125016" y="1357598"/>
                </a:cubicBezTo>
                <a:lnTo>
                  <a:pt x="5122667" y="1358381"/>
                </a:lnTo>
                <a:lnTo>
                  <a:pt x="5122667" y="1357598"/>
                </a:lnTo>
                <a:cubicBezTo>
                  <a:pt x="5122667" y="1355249"/>
                  <a:pt x="5125016" y="1355249"/>
                  <a:pt x="5127364" y="1355249"/>
                </a:cubicBezTo>
                <a:cubicBezTo>
                  <a:pt x="5129713" y="1355249"/>
                  <a:pt x="5129713" y="1352901"/>
                  <a:pt x="5132062" y="1350552"/>
                </a:cubicBezTo>
                <a:cubicBezTo>
                  <a:pt x="5132062" y="1343506"/>
                  <a:pt x="5127364" y="1329412"/>
                  <a:pt x="5132062" y="1324714"/>
                </a:cubicBezTo>
                <a:cubicBezTo>
                  <a:pt x="5132062" y="1324714"/>
                  <a:pt x="5132062" y="1324714"/>
                  <a:pt x="5134411" y="1324714"/>
                </a:cubicBezTo>
                <a:cubicBezTo>
                  <a:pt x="5136760" y="1324714"/>
                  <a:pt x="5134411" y="1324714"/>
                  <a:pt x="5136760" y="1324714"/>
                </a:cubicBezTo>
                <a:cubicBezTo>
                  <a:pt x="5136760" y="1327063"/>
                  <a:pt x="5136760" y="1327063"/>
                  <a:pt x="5136760" y="1329412"/>
                </a:cubicBezTo>
                <a:cubicBezTo>
                  <a:pt x="5134411" y="1331761"/>
                  <a:pt x="5136760" y="1343506"/>
                  <a:pt x="5136760" y="1348203"/>
                </a:cubicBezTo>
                <a:cubicBezTo>
                  <a:pt x="5136760" y="1348203"/>
                  <a:pt x="5139108" y="1348203"/>
                  <a:pt x="5139108" y="1348203"/>
                </a:cubicBezTo>
                <a:cubicBezTo>
                  <a:pt x="5143806" y="1343506"/>
                  <a:pt x="5143806" y="1343506"/>
                  <a:pt x="5148504" y="1341156"/>
                </a:cubicBezTo>
                <a:cubicBezTo>
                  <a:pt x="5150852" y="1338808"/>
                  <a:pt x="5153201" y="1334109"/>
                  <a:pt x="5155550" y="1331761"/>
                </a:cubicBezTo>
                <a:cubicBezTo>
                  <a:pt x="5157899" y="1329412"/>
                  <a:pt x="5157899" y="1329412"/>
                  <a:pt x="5157899" y="1327063"/>
                </a:cubicBezTo>
                <a:cubicBezTo>
                  <a:pt x="5160248" y="1327063"/>
                  <a:pt x="5162596" y="1324714"/>
                  <a:pt x="5164945" y="1324714"/>
                </a:cubicBezTo>
                <a:cubicBezTo>
                  <a:pt x="5164945" y="1324714"/>
                  <a:pt x="5164945" y="1320017"/>
                  <a:pt x="5167294" y="1320017"/>
                </a:cubicBezTo>
                <a:cubicBezTo>
                  <a:pt x="5167294" y="1320017"/>
                  <a:pt x="5169642" y="1320017"/>
                  <a:pt x="5171991" y="1320017"/>
                </a:cubicBezTo>
                <a:cubicBezTo>
                  <a:pt x="5174340" y="1320017"/>
                  <a:pt x="5174340" y="1317668"/>
                  <a:pt x="5174340" y="1317668"/>
                </a:cubicBezTo>
                <a:cubicBezTo>
                  <a:pt x="5176689" y="1317668"/>
                  <a:pt x="5176689" y="1317668"/>
                  <a:pt x="5179037" y="1317668"/>
                </a:cubicBezTo>
                <a:cubicBezTo>
                  <a:pt x="5181386" y="1315319"/>
                  <a:pt x="5186084" y="1308272"/>
                  <a:pt x="5190781" y="1310622"/>
                </a:cubicBezTo>
                <a:cubicBezTo>
                  <a:pt x="5190781" y="1310622"/>
                  <a:pt x="5193130" y="1310622"/>
                  <a:pt x="5193130" y="1310622"/>
                </a:cubicBezTo>
                <a:cubicBezTo>
                  <a:pt x="5190781" y="1312970"/>
                  <a:pt x="5190781" y="1312970"/>
                  <a:pt x="5190781" y="1315319"/>
                </a:cubicBezTo>
                <a:cubicBezTo>
                  <a:pt x="5188433" y="1315319"/>
                  <a:pt x="5186084" y="1317668"/>
                  <a:pt x="5183735" y="1317668"/>
                </a:cubicBezTo>
                <a:cubicBezTo>
                  <a:pt x="5181386" y="1317668"/>
                  <a:pt x="5181386" y="1320017"/>
                  <a:pt x="5181386" y="1320017"/>
                </a:cubicBezTo>
                <a:cubicBezTo>
                  <a:pt x="5179037" y="1322366"/>
                  <a:pt x="5174340" y="1320017"/>
                  <a:pt x="5171991" y="1322366"/>
                </a:cubicBezTo>
                <a:cubicBezTo>
                  <a:pt x="5169642" y="1322366"/>
                  <a:pt x="5169642" y="1324714"/>
                  <a:pt x="5169642" y="1324714"/>
                </a:cubicBezTo>
                <a:cubicBezTo>
                  <a:pt x="5167294" y="1327063"/>
                  <a:pt x="5164945" y="1324714"/>
                  <a:pt x="5162596" y="1327063"/>
                </a:cubicBezTo>
                <a:cubicBezTo>
                  <a:pt x="5162596" y="1327063"/>
                  <a:pt x="5162596" y="1331761"/>
                  <a:pt x="5160248" y="1331761"/>
                </a:cubicBezTo>
                <a:cubicBezTo>
                  <a:pt x="5160248" y="1331761"/>
                  <a:pt x="5157899" y="1331761"/>
                  <a:pt x="5157899" y="1331761"/>
                </a:cubicBezTo>
                <a:cubicBezTo>
                  <a:pt x="5157899" y="1334109"/>
                  <a:pt x="5157899" y="1334109"/>
                  <a:pt x="5157899" y="1336458"/>
                </a:cubicBezTo>
                <a:cubicBezTo>
                  <a:pt x="5155550" y="1338808"/>
                  <a:pt x="5150852" y="1341156"/>
                  <a:pt x="5148504" y="1343506"/>
                </a:cubicBezTo>
                <a:cubicBezTo>
                  <a:pt x="5148504" y="1343506"/>
                  <a:pt x="5148504" y="1345854"/>
                  <a:pt x="5148504" y="1345854"/>
                </a:cubicBezTo>
                <a:cubicBezTo>
                  <a:pt x="5141457" y="1350552"/>
                  <a:pt x="5136760" y="1352901"/>
                  <a:pt x="5132062" y="1359947"/>
                </a:cubicBezTo>
                <a:cubicBezTo>
                  <a:pt x="5134411" y="1357598"/>
                  <a:pt x="5139108" y="1357598"/>
                  <a:pt x="5141457" y="1355249"/>
                </a:cubicBezTo>
                <a:cubicBezTo>
                  <a:pt x="5153201" y="1350552"/>
                  <a:pt x="5164945" y="1343506"/>
                  <a:pt x="5176689" y="1338808"/>
                </a:cubicBezTo>
                <a:cubicBezTo>
                  <a:pt x="5181386" y="1341156"/>
                  <a:pt x="5186084" y="1341156"/>
                  <a:pt x="5188433" y="1343506"/>
                </a:cubicBezTo>
                <a:cubicBezTo>
                  <a:pt x="5167294" y="1350552"/>
                  <a:pt x="5148504" y="1357598"/>
                  <a:pt x="5129713" y="1366993"/>
                </a:cubicBezTo>
                <a:cubicBezTo>
                  <a:pt x="5129713" y="1369342"/>
                  <a:pt x="5132062" y="1371692"/>
                  <a:pt x="5132062" y="1376389"/>
                </a:cubicBezTo>
                <a:cubicBezTo>
                  <a:pt x="5141457" y="1374041"/>
                  <a:pt x="5150852" y="1369342"/>
                  <a:pt x="5157899" y="1364645"/>
                </a:cubicBezTo>
                <a:cubicBezTo>
                  <a:pt x="5160248" y="1357598"/>
                  <a:pt x="5162596" y="1352901"/>
                  <a:pt x="5167294" y="1352901"/>
                </a:cubicBezTo>
                <a:cubicBezTo>
                  <a:pt x="5167294" y="1352901"/>
                  <a:pt x="5169642" y="1352901"/>
                  <a:pt x="5169642" y="1352901"/>
                </a:cubicBezTo>
                <a:cubicBezTo>
                  <a:pt x="5169642" y="1355249"/>
                  <a:pt x="5169642" y="1355249"/>
                  <a:pt x="5169642" y="1355249"/>
                </a:cubicBezTo>
                <a:cubicBezTo>
                  <a:pt x="5169642" y="1355249"/>
                  <a:pt x="5167294" y="1357598"/>
                  <a:pt x="5167294" y="1357598"/>
                </a:cubicBezTo>
                <a:cubicBezTo>
                  <a:pt x="5176689" y="1352901"/>
                  <a:pt x="5190781" y="1348203"/>
                  <a:pt x="5181386" y="1348203"/>
                </a:cubicBezTo>
                <a:cubicBezTo>
                  <a:pt x="5183735" y="1345854"/>
                  <a:pt x="5188433" y="1345854"/>
                  <a:pt x="5190781" y="1343506"/>
                </a:cubicBezTo>
                <a:cubicBezTo>
                  <a:pt x="5214269" y="1362296"/>
                  <a:pt x="5181386" y="1392831"/>
                  <a:pt x="5155550" y="1411622"/>
                </a:cubicBezTo>
                <a:cubicBezTo>
                  <a:pt x="5155550" y="1418668"/>
                  <a:pt x="5160248" y="1421017"/>
                  <a:pt x="5167294" y="1423366"/>
                </a:cubicBezTo>
                <a:cubicBezTo>
                  <a:pt x="5167294" y="1425715"/>
                  <a:pt x="5164945" y="1425715"/>
                  <a:pt x="5164945" y="1425715"/>
                </a:cubicBezTo>
                <a:cubicBezTo>
                  <a:pt x="5167294" y="1423366"/>
                  <a:pt x="5167294" y="1423366"/>
                  <a:pt x="5169642" y="1423366"/>
                </a:cubicBezTo>
                <a:cubicBezTo>
                  <a:pt x="5176689" y="1425715"/>
                  <a:pt x="5188433" y="1430412"/>
                  <a:pt x="5186084" y="1437460"/>
                </a:cubicBezTo>
                <a:cubicBezTo>
                  <a:pt x="5195479" y="1456250"/>
                  <a:pt x="5164945" y="1446855"/>
                  <a:pt x="5174340" y="1465646"/>
                </a:cubicBezTo>
                <a:cubicBezTo>
                  <a:pt x="5155550" y="1453901"/>
                  <a:pt x="5129713" y="1465646"/>
                  <a:pt x="5134411" y="1482087"/>
                </a:cubicBezTo>
                <a:cubicBezTo>
                  <a:pt x="5153201" y="1479739"/>
                  <a:pt x="5167294" y="1482087"/>
                  <a:pt x="5174340" y="1489134"/>
                </a:cubicBezTo>
                <a:cubicBezTo>
                  <a:pt x="5167294" y="1491483"/>
                  <a:pt x="5160248" y="1493832"/>
                  <a:pt x="5153201" y="1498530"/>
                </a:cubicBezTo>
                <a:cubicBezTo>
                  <a:pt x="5153201" y="1498530"/>
                  <a:pt x="5153201" y="1500879"/>
                  <a:pt x="5153201" y="1500879"/>
                </a:cubicBezTo>
                <a:lnTo>
                  <a:pt x="5151323" y="1502757"/>
                </a:lnTo>
                <a:lnTo>
                  <a:pt x="5143806" y="1500879"/>
                </a:lnTo>
                <a:cubicBezTo>
                  <a:pt x="5134411" y="1505576"/>
                  <a:pt x="5125016" y="1510274"/>
                  <a:pt x="5115620" y="1514971"/>
                </a:cubicBezTo>
                <a:cubicBezTo>
                  <a:pt x="5117969" y="1514971"/>
                  <a:pt x="5117969" y="1514971"/>
                  <a:pt x="5117969" y="1514971"/>
                </a:cubicBezTo>
                <a:cubicBezTo>
                  <a:pt x="5117969" y="1517320"/>
                  <a:pt x="5117969" y="1517320"/>
                  <a:pt x="5120318" y="1517320"/>
                </a:cubicBezTo>
                <a:cubicBezTo>
                  <a:pt x="5120318" y="1519669"/>
                  <a:pt x="5122667" y="1519669"/>
                  <a:pt x="5125016" y="1519669"/>
                </a:cubicBezTo>
                <a:lnTo>
                  <a:pt x="5147566" y="1506514"/>
                </a:lnTo>
                <a:lnTo>
                  <a:pt x="5146155" y="1507925"/>
                </a:lnTo>
                <a:cubicBezTo>
                  <a:pt x="5146155" y="1507925"/>
                  <a:pt x="5148504" y="1510274"/>
                  <a:pt x="5148504" y="1510274"/>
                </a:cubicBezTo>
                <a:cubicBezTo>
                  <a:pt x="5157899" y="1505576"/>
                  <a:pt x="5169642" y="1498530"/>
                  <a:pt x="5179037" y="1493832"/>
                </a:cubicBezTo>
                <a:cubicBezTo>
                  <a:pt x="5179037" y="1493832"/>
                  <a:pt x="5181386" y="1496180"/>
                  <a:pt x="5181386" y="1498530"/>
                </a:cubicBezTo>
                <a:cubicBezTo>
                  <a:pt x="5171991" y="1503227"/>
                  <a:pt x="5162596" y="1507925"/>
                  <a:pt x="5153201" y="1512623"/>
                </a:cubicBezTo>
                <a:cubicBezTo>
                  <a:pt x="5155550" y="1514971"/>
                  <a:pt x="5157899" y="1514971"/>
                  <a:pt x="5160248" y="1514971"/>
                </a:cubicBezTo>
                <a:cubicBezTo>
                  <a:pt x="5167294" y="1510274"/>
                  <a:pt x="5174340" y="1507925"/>
                  <a:pt x="5181386" y="1503227"/>
                </a:cubicBezTo>
                <a:cubicBezTo>
                  <a:pt x="5181386" y="1505576"/>
                  <a:pt x="5181386" y="1510274"/>
                  <a:pt x="5181386" y="1514971"/>
                </a:cubicBezTo>
                <a:cubicBezTo>
                  <a:pt x="5179037" y="1514971"/>
                  <a:pt x="5179037" y="1517320"/>
                  <a:pt x="5176689" y="1517320"/>
                </a:cubicBezTo>
                <a:cubicBezTo>
                  <a:pt x="5176689" y="1517320"/>
                  <a:pt x="5176689" y="1517320"/>
                  <a:pt x="5179037" y="1517320"/>
                </a:cubicBezTo>
                <a:cubicBezTo>
                  <a:pt x="5179037" y="1519669"/>
                  <a:pt x="5179037" y="1522018"/>
                  <a:pt x="5179037" y="1524366"/>
                </a:cubicBezTo>
                <a:cubicBezTo>
                  <a:pt x="5179037" y="1524366"/>
                  <a:pt x="5176689" y="1524366"/>
                  <a:pt x="5176689" y="1524366"/>
                </a:cubicBezTo>
                <a:cubicBezTo>
                  <a:pt x="5171991" y="1522018"/>
                  <a:pt x="5169642" y="1524366"/>
                  <a:pt x="5164945" y="1524366"/>
                </a:cubicBezTo>
                <a:cubicBezTo>
                  <a:pt x="5153201" y="1531414"/>
                  <a:pt x="5143806" y="1536111"/>
                  <a:pt x="5134411" y="1540809"/>
                </a:cubicBezTo>
                <a:cubicBezTo>
                  <a:pt x="5134411" y="1543158"/>
                  <a:pt x="5132062" y="1543158"/>
                  <a:pt x="5132062" y="1543158"/>
                </a:cubicBezTo>
                <a:cubicBezTo>
                  <a:pt x="5134411" y="1543158"/>
                  <a:pt x="5136760" y="1543158"/>
                  <a:pt x="5139108" y="1543158"/>
                </a:cubicBezTo>
                <a:cubicBezTo>
                  <a:pt x="5139108" y="1545506"/>
                  <a:pt x="5143806" y="1545506"/>
                  <a:pt x="5146155" y="1545506"/>
                </a:cubicBezTo>
                <a:cubicBezTo>
                  <a:pt x="5146155" y="1547855"/>
                  <a:pt x="5146155" y="1552553"/>
                  <a:pt x="5148504" y="1554902"/>
                </a:cubicBezTo>
                <a:cubicBezTo>
                  <a:pt x="5148504" y="1554902"/>
                  <a:pt x="5153201" y="1554902"/>
                  <a:pt x="5153201" y="1557251"/>
                </a:cubicBezTo>
                <a:cubicBezTo>
                  <a:pt x="5153201" y="1557251"/>
                  <a:pt x="5153201" y="1559599"/>
                  <a:pt x="5153201" y="1559599"/>
                </a:cubicBezTo>
                <a:cubicBezTo>
                  <a:pt x="5155550" y="1561949"/>
                  <a:pt x="5157899" y="1561949"/>
                  <a:pt x="5157899" y="1561949"/>
                </a:cubicBezTo>
                <a:cubicBezTo>
                  <a:pt x="5160248" y="1564298"/>
                  <a:pt x="5160248" y="1568995"/>
                  <a:pt x="5164945" y="1571344"/>
                </a:cubicBezTo>
                <a:cubicBezTo>
                  <a:pt x="5167294" y="1573693"/>
                  <a:pt x="5169642" y="1573693"/>
                  <a:pt x="5171991" y="1573693"/>
                </a:cubicBezTo>
                <a:cubicBezTo>
                  <a:pt x="5171991" y="1573693"/>
                  <a:pt x="5171991" y="1576042"/>
                  <a:pt x="5171991" y="1576042"/>
                </a:cubicBezTo>
                <a:cubicBezTo>
                  <a:pt x="5174340" y="1576042"/>
                  <a:pt x="5174340" y="1576042"/>
                  <a:pt x="5176689" y="1576042"/>
                </a:cubicBezTo>
                <a:cubicBezTo>
                  <a:pt x="5181386" y="1580739"/>
                  <a:pt x="5186084" y="1583088"/>
                  <a:pt x="5188433" y="1587786"/>
                </a:cubicBezTo>
                <a:cubicBezTo>
                  <a:pt x="5181386" y="1587786"/>
                  <a:pt x="5176689" y="1587786"/>
                  <a:pt x="5169642" y="1587786"/>
                </a:cubicBezTo>
                <a:cubicBezTo>
                  <a:pt x="5167294" y="1585437"/>
                  <a:pt x="5167294" y="1583088"/>
                  <a:pt x="5164945" y="1583088"/>
                </a:cubicBezTo>
                <a:cubicBezTo>
                  <a:pt x="5164945" y="1583088"/>
                  <a:pt x="5164945" y="1583088"/>
                  <a:pt x="5162596" y="1583088"/>
                </a:cubicBezTo>
                <a:cubicBezTo>
                  <a:pt x="5162596" y="1583088"/>
                  <a:pt x="5162596" y="1580739"/>
                  <a:pt x="5162596" y="1580739"/>
                </a:cubicBezTo>
                <a:cubicBezTo>
                  <a:pt x="5155550" y="1578390"/>
                  <a:pt x="5157899" y="1576042"/>
                  <a:pt x="5155550" y="1573693"/>
                </a:cubicBezTo>
                <a:cubicBezTo>
                  <a:pt x="5153201" y="1571344"/>
                  <a:pt x="5150852" y="1571344"/>
                  <a:pt x="5150852" y="1571344"/>
                </a:cubicBezTo>
                <a:cubicBezTo>
                  <a:pt x="5150852" y="1571344"/>
                  <a:pt x="5150852" y="1568995"/>
                  <a:pt x="5150852" y="1568995"/>
                </a:cubicBezTo>
                <a:cubicBezTo>
                  <a:pt x="5148504" y="1566647"/>
                  <a:pt x="5143806" y="1564298"/>
                  <a:pt x="5141457" y="1561949"/>
                </a:cubicBezTo>
                <a:cubicBezTo>
                  <a:pt x="5141457" y="1559599"/>
                  <a:pt x="5141457" y="1559599"/>
                  <a:pt x="5141457" y="1557251"/>
                </a:cubicBezTo>
                <a:cubicBezTo>
                  <a:pt x="5141457" y="1554902"/>
                  <a:pt x="5139108" y="1557251"/>
                  <a:pt x="5136760" y="1552553"/>
                </a:cubicBezTo>
                <a:cubicBezTo>
                  <a:pt x="5134411" y="1552553"/>
                  <a:pt x="5134411" y="1552553"/>
                  <a:pt x="5132062" y="1552553"/>
                </a:cubicBezTo>
                <a:cubicBezTo>
                  <a:pt x="5129713" y="1559599"/>
                  <a:pt x="5129713" y="1566647"/>
                  <a:pt x="5127364" y="1571344"/>
                </a:cubicBezTo>
                <a:lnTo>
                  <a:pt x="5127364" y="1588958"/>
                </a:lnTo>
                <a:lnTo>
                  <a:pt x="5125016" y="1576042"/>
                </a:lnTo>
                <a:cubicBezTo>
                  <a:pt x="5122667" y="1566647"/>
                  <a:pt x="5127364" y="1540809"/>
                  <a:pt x="5132062" y="1526716"/>
                </a:cubicBezTo>
                <a:cubicBezTo>
                  <a:pt x="5129713" y="1526716"/>
                  <a:pt x="5129713" y="1526716"/>
                  <a:pt x="5127364" y="1526716"/>
                </a:cubicBezTo>
                <a:cubicBezTo>
                  <a:pt x="5087435" y="1547855"/>
                  <a:pt x="5047506" y="1568995"/>
                  <a:pt x="5009925" y="1592483"/>
                </a:cubicBezTo>
                <a:cubicBezTo>
                  <a:pt x="5045157" y="1568995"/>
                  <a:pt x="5080389" y="1545506"/>
                  <a:pt x="5117969" y="1522018"/>
                </a:cubicBezTo>
                <a:cubicBezTo>
                  <a:pt x="5113272" y="1522018"/>
                  <a:pt x="5108574" y="1522018"/>
                  <a:pt x="5103877" y="1522018"/>
                </a:cubicBezTo>
                <a:cubicBezTo>
                  <a:pt x="5096830" y="1524366"/>
                  <a:pt x="5092133" y="1526716"/>
                  <a:pt x="5085086" y="1531414"/>
                </a:cubicBezTo>
                <a:cubicBezTo>
                  <a:pt x="5085086" y="1531414"/>
                  <a:pt x="5082738" y="1531414"/>
                  <a:pt x="5082738" y="1531414"/>
                </a:cubicBezTo>
                <a:cubicBezTo>
                  <a:pt x="5080389" y="1533763"/>
                  <a:pt x="5080389" y="1533763"/>
                  <a:pt x="5078040" y="1533763"/>
                </a:cubicBezTo>
                <a:cubicBezTo>
                  <a:pt x="5078040" y="1536111"/>
                  <a:pt x="5078040" y="1536111"/>
                  <a:pt x="5078040" y="1536111"/>
                </a:cubicBezTo>
                <a:cubicBezTo>
                  <a:pt x="5075691" y="1536111"/>
                  <a:pt x="5075691" y="1538460"/>
                  <a:pt x="5075691" y="1538460"/>
                </a:cubicBezTo>
                <a:cubicBezTo>
                  <a:pt x="5075691" y="1538460"/>
                  <a:pt x="5073342" y="1538460"/>
                  <a:pt x="5073342" y="1538460"/>
                </a:cubicBezTo>
                <a:lnTo>
                  <a:pt x="5058763" y="1547936"/>
                </a:lnTo>
                <a:lnTo>
                  <a:pt x="5045157" y="1550204"/>
                </a:lnTo>
                <a:cubicBezTo>
                  <a:pt x="5042809" y="1552553"/>
                  <a:pt x="5042809" y="1554902"/>
                  <a:pt x="5040460" y="1554902"/>
                </a:cubicBezTo>
                <a:cubicBezTo>
                  <a:pt x="5038111" y="1554902"/>
                  <a:pt x="5038111" y="1554902"/>
                  <a:pt x="5035762" y="1554902"/>
                </a:cubicBezTo>
                <a:cubicBezTo>
                  <a:pt x="5035762" y="1557251"/>
                  <a:pt x="5033413" y="1557251"/>
                  <a:pt x="5033413" y="1559599"/>
                </a:cubicBezTo>
                <a:cubicBezTo>
                  <a:pt x="5028716" y="1559599"/>
                  <a:pt x="5026367" y="1559599"/>
                  <a:pt x="5021669" y="1557251"/>
                </a:cubicBezTo>
                <a:cubicBezTo>
                  <a:pt x="5016972" y="1559599"/>
                  <a:pt x="5009925" y="1564298"/>
                  <a:pt x="5005228" y="1566647"/>
                </a:cubicBezTo>
                <a:cubicBezTo>
                  <a:pt x="5005228" y="1571344"/>
                  <a:pt x="5005228" y="1573693"/>
                  <a:pt x="5002879" y="1576042"/>
                </a:cubicBezTo>
                <a:cubicBezTo>
                  <a:pt x="5000531" y="1578390"/>
                  <a:pt x="5000531" y="1576042"/>
                  <a:pt x="4998182" y="1576042"/>
                </a:cubicBezTo>
                <a:cubicBezTo>
                  <a:pt x="4995833" y="1578390"/>
                  <a:pt x="4995833" y="1580739"/>
                  <a:pt x="4995833" y="1580739"/>
                </a:cubicBezTo>
                <a:cubicBezTo>
                  <a:pt x="4995833" y="1583088"/>
                  <a:pt x="4993484" y="1583088"/>
                  <a:pt x="4991135" y="1583088"/>
                </a:cubicBezTo>
                <a:cubicBezTo>
                  <a:pt x="4988787" y="1585437"/>
                  <a:pt x="4988787" y="1587786"/>
                  <a:pt x="4988787" y="1587786"/>
                </a:cubicBezTo>
                <a:cubicBezTo>
                  <a:pt x="4988787" y="1587786"/>
                  <a:pt x="4986438" y="1587786"/>
                  <a:pt x="4986438" y="1587786"/>
                </a:cubicBezTo>
                <a:cubicBezTo>
                  <a:pt x="4984089" y="1587786"/>
                  <a:pt x="4984089" y="1590135"/>
                  <a:pt x="4984089" y="1592483"/>
                </a:cubicBezTo>
                <a:lnTo>
                  <a:pt x="5043970" y="1557552"/>
                </a:lnTo>
                <a:lnTo>
                  <a:pt x="4979391" y="1599529"/>
                </a:lnTo>
                <a:cubicBezTo>
                  <a:pt x="4979391" y="1601878"/>
                  <a:pt x="4979391" y="1601878"/>
                  <a:pt x="4979391" y="1601878"/>
                </a:cubicBezTo>
                <a:cubicBezTo>
                  <a:pt x="4977043" y="1606576"/>
                  <a:pt x="4974694" y="1611273"/>
                  <a:pt x="4974694" y="1615971"/>
                </a:cubicBezTo>
                <a:cubicBezTo>
                  <a:pt x="4986438" y="1608924"/>
                  <a:pt x="4998182" y="1601878"/>
                  <a:pt x="5009925" y="1594832"/>
                </a:cubicBezTo>
                <a:cubicBezTo>
                  <a:pt x="4998182" y="1601878"/>
                  <a:pt x="4986438" y="1611273"/>
                  <a:pt x="4974694" y="1618320"/>
                </a:cubicBezTo>
                <a:cubicBezTo>
                  <a:pt x="4974694" y="1623016"/>
                  <a:pt x="4972345" y="1627714"/>
                  <a:pt x="4969996" y="1630062"/>
                </a:cubicBezTo>
                <a:cubicBezTo>
                  <a:pt x="4967647" y="1632411"/>
                  <a:pt x="4967647" y="1632411"/>
                  <a:pt x="4965299" y="1632411"/>
                </a:cubicBezTo>
                <a:cubicBezTo>
                  <a:pt x="4962950" y="1634760"/>
                  <a:pt x="4962950" y="1637109"/>
                  <a:pt x="4962950" y="1637109"/>
                </a:cubicBezTo>
                <a:cubicBezTo>
                  <a:pt x="4962950" y="1639458"/>
                  <a:pt x="4958252" y="1641806"/>
                  <a:pt x="4955903" y="1644155"/>
                </a:cubicBezTo>
                <a:cubicBezTo>
                  <a:pt x="4955903" y="1644155"/>
                  <a:pt x="4955903" y="1646504"/>
                  <a:pt x="4955903" y="1646504"/>
                </a:cubicBezTo>
                <a:cubicBezTo>
                  <a:pt x="4953555" y="1646504"/>
                  <a:pt x="4953555" y="1648853"/>
                  <a:pt x="4951206" y="1648853"/>
                </a:cubicBezTo>
                <a:cubicBezTo>
                  <a:pt x="4951206" y="1648853"/>
                  <a:pt x="4951206" y="1651202"/>
                  <a:pt x="4951206" y="1651202"/>
                </a:cubicBezTo>
                <a:cubicBezTo>
                  <a:pt x="4951206" y="1653550"/>
                  <a:pt x="4948857" y="1653550"/>
                  <a:pt x="4946509" y="1655898"/>
                </a:cubicBezTo>
                <a:cubicBezTo>
                  <a:pt x="4962950" y="1660596"/>
                  <a:pt x="4986438" y="1660596"/>
                  <a:pt x="4995833" y="1672340"/>
                </a:cubicBezTo>
                <a:cubicBezTo>
                  <a:pt x="4974694" y="1669991"/>
                  <a:pt x="4955903" y="1665293"/>
                  <a:pt x="4937114" y="1665293"/>
                </a:cubicBezTo>
                <a:cubicBezTo>
                  <a:pt x="4937114" y="1669991"/>
                  <a:pt x="4937114" y="1674688"/>
                  <a:pt x="4934765" y="1679386"/>
                </a:cubicBezTo>
                <a:cubicBezTo>
                  <a:pt x="4934765" y="1684083"/>
                  <a:pt x="4925370" y="1698175"/>
                  <a:pt x="4927718" y="1700524"/>
                </a:cubicBezTo>
                <a:cubicBezTo>
                  <a:pt x="4934765" y="1707570"/>
                  <a:pt x="4951206" y="1705222"/>
                  <a:pt x="4965299" y="1705222"/>
                </a:cubicBezTo>
                <a:cubicBezTo>
                  <a:pt x="4972345" y="1695826"/>
                  <a:pt x="4998182" y="1674688"/>
                  <a:pt x="5009925" y="1669991"/>
                </a:cubicBezTo>
                <a:cubicBezTo>
                  <a:pt x="5002879" y="1684083"/>
                  <a:pt x="4972345" y="1691129"/>
                  <a:pt x="4972345" y="1709919"/>
                </a:cubicBezTo>
                <a:cubicBezTo>
                  <a:pt x="4972345" y="1712268"/>
                  <a:pt x="4972345" y="1712268"/>
                  <a:pt x="4972345" y="1714616"/>
                </a:cubicBezTo>
                <a:cubicBezTo>
                  <a:pt x="4977043" y="1714616"/>
                  <a:pt x="4979391" y="1714616"/>
                  <a:pt x="4984089" y="1714616"/>
                </a:cubicBezTo>
                <a:cubicBezTo>
                  <a:pt x="4986438" y="1716965"/>
                  <a:pt x="4986438" y="1716965"/>
                  <a:pt x="4986438" y="1719313"/>
                </a:cubicBezTo>
                <a:cubicBezTo>
                  <a:pt x="4988787" y="1719313"/>
                  <a:pt x="4991135" y="1719313"/>
                  <a:pt x="4993484" y="1719313"/>
                </a:cubicBezTo>
                <a:cubicBezTo>
                  <a:pt x="4995833" y="1719313"/>
                  <a:pt x="4998182" y="1719313"/>
                  <a:pt x="5000531" y="1719313"/>
                </a:cubicBezTo>
                <a:cubicBezTo>
                  <a:pt x="5000531" y="1721662"/>
                  <a:pt x="5000531" y="1721662"/>
                  <a:pt x="5000531" y="1721662"/>
                </a:cubicBezTo>
                <a:cubicBezTo>
                  <a:pt x="5009925" y="1724011"/>
                  <a:pt x="5021669" y="1721662"/>
                  <a:pt x="5031065" y="1721662"/>
                </a:cubicBezTo>
                <a:cubicBezTo>
                  <a:pt x="5031065" y="1719313"/>
                  <a:pt x="5028716" y="1719313"/>
                  <a:pt x="5033413" y="1719313"/>
                </a:cubicBezTo>
                <a:cubicBezTo>
                  <a:pt x="5038111" y="1716965"/>
                  <a:pt x="5047506" y="1719313"/>
                  <a:pt x="5052204" y="1716965"/>
                </a:cubicBezTo>
                <a:cubicBezTo>
                  <a:pt x="5061599" y="1707570"/>
                  <a:pt x="5052204" y="1702873"/>
                  <a:pt x="5052204" y="1691129"/>
                </a:cubicBezTo>
                <a:cubicBezTo>
                  <a:pt x="5059250" y="1688781"/>
                  <a:pt x="5073342" y="1672340"/>
                  <a:pt x="5070994" y="1660596"/>
                </a:cubicBezTo>
                <a:cubicBezTo>
                  <a:pt x="5070994" y="1658247"/>
                  <a:pt x="5066296" y="1653550"/>
                  <a:pt x="5068645" y="1648853"/>
                </a:cubicBezTo>
                <a:cubicBezTo>
                  <a:pt x="5068645" y="1646504"/>
                  <a:pt x="5070994" y="1641806"/>
                  <a:pt x="5070994" y="1639458"/>
                </a:cubicBezTo>
                <a:cubicBezTo>
                  <a:pt x="5070994" y="1639458"/>
                  <a:pt x="5070994" y="1634760"/>
                  <a:pt x="5070994" y="1632411"/>
                </a:cubicBezTo>
                <a:cubicBezTo>
                  <a:pt x="5073342" y="1627714"/>
                  <a:pt x="5080389" y="1620668"/>
                  <a:pt x="5082738" y="1615971"/>
                </a:cubicBezTo>
                <a:cubicBezTo>
                  <a:pt x="5085086" y="1613622"/>
                  <a:pt x="5085086" y="1608924"/>
                  <a:pt x="5089784" y="1606576"/>
                </a:cubicBezTo>
                <a:cubicBezTo>
                  <a:pt x="5089784" y="1606576"/>
                  <a:pt x="5089784" y="1606576"/>
                  <a:pt x="5092133" y="1606576"/>
                </a:cubicBezTo>
                <a:cubicBezTo>
                  <a:pt x="5092133" y="1606576"/>
                  <a:pt x="5092133" y="1608924"/>
                  <a:pt x="5092133" y="1611273"/>
                </a:cubicBezTo>
                <a:cubicBezTo>
                  <a:pt x="5087435" y="1615971"/>
                  <a:pt x="5087435" y="1620668"/>
                  <a:pt x="5085086" y="1625366"/>
                </a:cubicBezTo>
                <a:cubicBezTo>
                  <a:pt x="5082738" y="1630062"/>
                  <a:pt x="5080389" y="1632411"/>
                  <a:pt x="5078040" y="1637109"/>
                </a:cubicBezTo>
                <a:cubicBezTo>
                  <a:pt x="5075691" y="1646504"/>
                  <a:pt x="5078040" y="1658247"/>
                  <a:pt x="5078040" y="1665293"/>
                </a:cubicBezTo>
                <a:cubicBezTo>
                  <a:pt x="5078040" y="1667642"/>
                  <a:pt x="5078040" y="1672340"/>
                  <a:pt x="5078040" y="1674688"/>
                </a:cubicBezTo>
                <a:cubicBezTo>
                  <a:pt x="5075691" y="1679386"/>
                  <a:pt x="5073342" y="1684083"/>
                  <a:pt x="5070994" y="1688781"/>
                </a:cubicBezTo>
                <a:cubicBezTo>
                  <a:pt x="5068645" y="1693478"/>
                  <a:pt x="5063947" y="1693478"/>
                  <a:pt x="5061599" y="1698175"/>
                </a:cubicBezTo>
                <a:cubicBezTo>
                  <a:pt x="5059250" y="1700524"/>
                  <a:pt x="5063947" y="1712268"/>
                  <a:pt x="5068645" y="1712268"/>
                </a:cubicBezTo>
                <a:cubicBezTo>
                  <a:pt x="5070994" y="1709919"/>
                  <a:pt x="5070994" y="1709919"/>
                  <a:pt x="5073342" y="1707570"/>
                </a:cubicBezTo>
                <a:cubicBezTo>
                  <a:pt x="5073342" y="1705222"/>
                  <a:pt x="5075691" y="1707570"/>
                  <a:pt x="5078040" y="1705222"/>
                </a:cubicBezTo>
                <a:cubicBezTo>
                  <a:pt x="5080389" y="1702873"/>
                  <a:pt x="5080389" y="1700524"/>
                  <a:pt x="5080389" y="1700524"/>
                </a:cubicBezTo>
                <a:cubicBezTo>
                  <a:pt x="5082738" y="1698175"/>
                  <a:pt x="5082738" y="1698175"/>
                  <a:pt x="5085086" y="1698175"/>
                </a:cubicBezTo>
                <a:cubicBezTo>
                  <a:pt x="5085086" y="1698175"/>
                  <a:pt x="5085086" y="1695826"/>
                  <a:pt x="5085086" y="1695826"/>
                </a:cubicBezTo>
                <a:cubicBezTo>
                  <a:pt x="5085086" y="1693478"/>
                  <a:pt x="5087435" y="1693478"/>
                  <a:pt x="5089784" y="1691129"/>
                </a:cubicBezTo>
                <a:cubicBezTo>
                  <a:pt x="5089784" y="1691129"/>
                  <a:pt x="5089784" y="1688781"/>
                  <a:pt x="5089784" y="1688781"/>
                </a:cubicBezTo>
                <a:cubicBezTo>
                  <a:pt x="5089784" y="1686431"/>
                  <a:pt x="5092133" y="1686431"/>
                  <a:pt x="5094482" y="1686431"/>
                </a:cubicBezTo>
                <a:cubicBezTo>
                  <a:pt x="5094482" y="1684083"/>
                  <a:pt x="5096830" y="1684083"/>
                  <a:pt x="5096830" y="1681735"/>
                </a:cubicBezTo>
                <a:cubicBezTo>
                  <a:pt x="5096830" y="1679386"/>
                  <a:pt x="5099179" y="1681735"/>
                  <a:pt x="5101528" y="1679386"/>
                </a:cubicBezTo>
                <a:cubicBezTo>
                  <a:pt x="5103877" y="1679386"/>
                  <a:pt x="5103877" y="1677037"/>
                  <a:pt x="5103877" y="1677037"/>
                </a:cubicBezTo>
                <a:cubicBezTo>
                  <a:pt x="5108574" y="1674688"/>
                  <a:pt x="5113272" y="1672340"/>
                  <a:pt x="5115620" y="1669991"/>
                </a:cubicBezTo>
                <a:cubicBezTo>
                  <a:pt x="5119144" y="1666468"/>
                  <a:pt x="5122667" y="1661183"/>
                  <a:pt x="5126777" y="1656779"/>
                </a:cubicBezTo>
                <a:lnTo>
                  <a:pt x="5138685" y="1650350"/>
                </a:lnTo>
                <a:lnTo>
                  <a:pt x="5140650" y="1655532"/>
                </a:lnTo>
                <a:lnTo>
                  <a:pt x="5141127" y="1655981"/>
                </a:lnTo>
                <a:lnTo>
                  <a:pt x="5132062" y="1658247"/>
                </a:lnTo>
                <a:cubicBezTo>
                  <a:pt x="5132062" y="1660596"/>
                  <a:pt x="5127364" y="1665293"/>
                  <a:pt x="5125016" y="1667642"/>
                </a:cubicBezTo>
                <a:cubicBezTo>
                  <a:pt x="5122667" y="1669991"/>
                  <a:pt x="5122667" y="1669991"/>
                  <a:pt x="5120318" y="1669991"/>
                </a:cubicBezTo>
                <a:cubicBezTo>
                  <a:pt x="5117969" y="1672340"/>
                  <a:pt x="5117969" y="1674688"/>
                  <a:pt x="5117969" y="1674688"/>
                </a:cubicBezTo>
                <a:cubicBezTo>
                  <a:pt x="5117969" y="1674688"/>
                  <a:pt x="5115620" y="1674688"/>
                  <a:pt x="5115620" y="1674688"/>
                </a:cubicBezTo>
                <a:cubicBezTo>
                  <a:pt x="5113272" y="1677037"/>
                  <a:pt x="5113272" y="1677037"/>
                  <a:pt x="5113272" y="1679386"/>
                </a:cubicBezTo>
                <a:cubicBezTo>
                  <a:pt x="5113272" y="1681735"/>
                  <a:pt x="5110923" y="1679386"/>
                  <a:pt x="5108574" y="1681735"/>
                </a:cubicBezTo>
                <a:cubicBezTo>
                  <a:pt x="5106226" y="1681735"/>
                  <a:pt x="5106226" y="1684083"/>
                  <a:pt x="5106226" y="1684083"/>
                </a:cubicBezTo>
                <a:cubicBezTo>
                  <a:pt x="5106226" y="1686431"/>
                  <a:pt x="5103877" y="1686431"/>
                  <a:pt x="5101528" y="1686431"/>
                </a:cubicBezTo>
                <a:cubicBezTo>
                  <a:pt x="5101528" y="1686431"/>
                  <a:pt x="5101528" y="1691129"/>
                  <a:pt x="5099179" y="1691129"/>
                </a:cubicBezTo>
                <a:cubicBezTo>
                  <a:pt x="5099179" y="1693478"/>
                  <a:pt x="5096830" y="1691129"/>
                  <a:pt x="5094482" y="1693478"/>
                </a:cubicBezTo>
                <a:cubicBezTo>
                  <a:pt x="5092133" y="1695826"/>
                  <a:pt x="5089784" y="1700524"/>
                  <a:pt x="5087435" y="1702873"/>
                </a:cubicBezTo>
                <a:cubicBezTo>
                  <a:pt x="5085086" y="1705222"/>
                  <a:pt x="5082738" y="1702873"/>
                  <a:pt x="5082738" y="1705222"/>
                </a:cubicBezTo>
                <a:cubicBezTo>
                  <a:pt x="5080389" y="1707570"/>
                  <a:pt x="5080389" y="1709919"/>
                  <a:pt x="5080389" y="1709919"/>
                </a:cubicBezTo>
                <a:lnTo>
                  <a:pt x="5075470" y="1712870"/>
                </a:lnTo>
                <a:lnTo>
                  <a:pt x="5068645" y="1714616"/>
                </a:lnTo>
                <a:cubicBezTo>
                  <a:pt x="5070994" y="1716965"/>
                  <a:pt x="5070994" y="1716965"/>
                  <a:pt x="5068645" y="1716965"/>
                </a:cubicBezTo>
                <a:cubicBezTo>
                  <a:pt x="5066296" y="1719313"/>
                  <a:pt x="5066296" y="1721662"/>
                  <a:pt x="5063947" y="1721662"/>
                </a:cubicBezTo>
                <a:cubicBezTo>
                  <a:pt x="5061599" y="1724011"/>
                  <a:pt x="5054552" y="1724011"/>
                  <a:pt x="5052204" y="1724011"/>
                </a:cubicBezTo>
                <a:cubicBezTo>
                  <a:pt x="5049855" y="1728708"/>
                  <a:pt x="5045157" y="1733406"/>
                  <a:pt x="5047506" y="1738103"/>
                </a:cubicBezTo>
                <a:cubicBezTo>
                  <a:pt x="5049855" y="1738103"/>
                  <a:pt x="5054552" y="1738103"/>
                  <a:pt x="5056901" y="1738103"/>
                </a:cubicBezTo>
                <a:cubicBezTo>
                  <a:pt x="5061599" y="1745150"/>
                  <a:pt x="5063947" y="1747498"/>
                  <a:pt x="5066296" y="1752196"/>
                </a:cubicBezTo>
                <a:cubicBezTo>
                  <a:pt x="5068645" y="1752196"/>
                  <a:pt x="5070994" y="1749846"/>
                  <a:pt x="5073342" y="1749846"/>
                </a:cubicBezTo>
                <a:cubicBezTo>
                  <a:pt x="5070994" y="1752196"/>
                  <a:pt x="5068645" y="1752196"/>
                  <a:pt x="5066296" y="1754544"/>
                </a:cubicBezTo>
                <a:cubicBezTo>
                  <a:pt x="5066296" y="1756893"/>
                  <a:pt x="5066296" y="1756893"/>
                  <a:pt x="5066296" y="1756893"/>
                </a:cubicBezTo>
                <a:cubicBezTo>
                  <a:pt x="5068645" y="1756893"/>
                  <a:pt x="5075691" y="1756893"/>
                  <a:pt x="5078040" y="1759241"/>
                </a:cubicBezTo>
                <a:cubicBezTo>
                  <a:pt x="5080389" y="1756893"/>
                  <a:pt x="5082738" y="1756893"/>
                  <a:pt x="5080389" y="1754544"/>
                </a:cubicBezTo>
                <a:cubicBezTo>
                  <a:pt x="5082738" y="1752196"/>
                  <a:pt x="5082738" y="1747498"/>
                  <a:pt x="5085086" y="1745150"/>
                </a:cubicBezTo>
                <a:cubicBezTo>
                  <a:pt x="5087435" y="1745150"/>
                  <a:pt x="5087435" y="1745150"/>
                  <a:pt x="5089784" y="1745150"/>
                </a:cubicBezTo>
                <a:cubicBezTo>
                  <a:pt x="5094482" y="1745150"/>
                  <a:pt x="5096830" y="1738103"/>
                  <a:pt x="5099179" y="1735755"/>
                </a:cubicBezTo>
                <a:cubicBezTo>
                  <a:pt x="5099179" y="1733406"/>
                  <a:pt x="5101528" y="1733406"/>
                  <a:pt x="5101528" y="1733406"/>
                </a:cubicBezTo>
                <a:cubicBezTo>
                  <a:pt x="5106226" y="1728708"/>
                  <a:pt x="5108574" y="1719313"/>
                  <a:pt x="5113272" y="1716965"/>
                </a:cubicBezTo>
                <a:cubicBezTo>
                  <a:pt x="5113272" y="1716965"/>
                  <a:pt x="5113272" y="1714616"/>
                  <a:pt x="5110923" y="1714616"/>
                </a:cubicBezTo>
                <a:cubicBezTo>
                  <a:pt x="5108574" y="1712268"/>
                  <a:pt x="5103877" y="1714616"/>
                  <a:pt x="5099179" y="1714616"/>
                </a:cubicBezTo>
                <a:cubicBezTo>
                  <a:pt x="5099179" y="1714616"/>
                  <a:pt x="5092133" y="1716965"/>
                  <a:pt x="5089784" y="1716965"/>
                </a:cubicBezTo>
                <a:cubicBezTo>
                  <a:pt x="5082738" y="1716965"/>
                  <a:pt x="5075691" y="1716965"/>
                  <a:pt x="5068645" y="1716965"/>
                </a:cubicBezTo>
                <a:lnTo>
                  <a:pt x="5075470" y="1712870"/>
                </a:lnTo>
                <a:lnTo>
                  <a:pt x="5081270" y="1711387"/>
                </a:lnTo>
                <a:cubicBezTo>
                  <a:pt x="5087435" y="1711093"/>
                  <a:pt x="5094482" y="1711093"/>
                  <a:pt x="5099179" y="1709919"/>
                </a:cubicBezTo>
                <a:cubicBezTo>
                  <a:pt x="5101528" y="1709919"/>
                  <a:pt x="5103877" y="1707570"/>
                  <a:pt x="5106226" y="1707570"/>
                </a:cubicBezTo>
                <a:cubicBezTo>
                  <a:pt x="5106226" y="1707570"/>
                  <a:pt x="5108574" y="1707570"/>
                  <a:pt x="5108574" y="1707570"/>
                </a:cubicBezTo>
                <a:cubicBezTo>
                  <a:pt x="5110923" y="1705222"/>
                  <a:pt x="5115620" y="1705222"/>
                  <a:pt x="5120318" y="1705222"/>
                </a:cubicBezTo>
                <a:cubicBezTo>
                  <a:pt x="5125016" y="1693478"/>
                  <a:pt x="5134411" y="1688781"/>
                  <a:pt x="5139108" y="1681735"/>
                </a:cubicBezTo>
                <a:cubicBezTo>
                  <a:pt x="5140870" y="1681735"/>
                  <a:pt x="5141310" y="1667202"/>
                  <a:pt x="5141421" y="1659935"/>
                </a:cubicBezTo>
                <a:lnTo>
                  <a:pt x="5141454" y="1656290"/>
                </a:lnTo>
                <a:lnTo>
                  <a:pt x="5148504" y="1662944"/>
                </a:lnTo>
                <a:lnTo>
                  <a:pt x="5151733" y="1662944"/>
                </a:lnTo>
                <a:lnTo>
                  <a:pt x="5150852" y="1669991"/>
                </a:lnTo>
                <a:cubicBezTo>
                  <a:pt x="5153201" y="1666468"/>
                  <a:pt x="5156725" y="1663532"/>
                  <a:pt x="5159954" y="1660302"/>
                </a:cubicBezTo>
                <a:lnTo>
                  <a:pt x="5160551" y="1659371"/>
                </a:lnTo>
                <a:lnTo>
                  <a:pt x="5167294" y="1658247"/>
                </a:lnTo>
                <a:cubicBezTo>
                  <a:pt x="5167294" y="1655898"/>
                  <a:pt x="5167294" y="1653550"/>
                  <a:pt x="5169642" y="1653550"/>
                </a:cubicBezTo>
                <a:cubicBezTo>
                  <a:pt x="5171991" y="1651202"/>
                  <a:pt x="5174340" y="1651202"/>
                  <a:pt x="5176689" y="1651202"/>
                </a:cubicBezTo>
                <a:cubicBezTo>
                  <a:pt x="5179037" y="1651202"/>
                  <a:pt x="5179037" y="1648853"/>
                  <a:pt x="5179037" y="1648853"/>
                </a:cubicBezTo>
                <a:cubicBezTo>
                  <a:pt x="5179037" y="1646504"/>
                  <a:pt x="5183735" y="1648853"/>
                  <a:pt x="5183735" y="1648853"/>
                </a:cubicBezTo>
                <a:cubicBezTo>
                  <a:pt x="5188433" y="1648853"/>
                  <a:pt x="5190781" y="1639458"/>
                  <a:pt x="5195479" y="1637109"/>
                </a:cubicBezTo>
                <a:cubicBezTo>
                  <a:pt x="5195479" y="1637109"/>
                  <a:pt x="5197828" y="1637109"/>
                  <a:pt x="5197828" y="1637109"/>
                </a:cubicBezTo>
                <a:cubicBezTo>
                  <a:pt x="5207223" y="1644155"/>
                  <a:pt x="5218967" y="1651202"/>
                  <a:pt x="5223664" y="1660596"/>
                </a:cubicBezTo>
                <a:cubicBezTo>
                  <a:pt x="5223664" y="1660596"/>
                  <a:pt x="5223664" y="1660596"/>
                  <a:pt x="5221316" y="1660596"/>
                </a:cubicBezTo>
                <a:cubicBezTo>
                  <a:pt x="5214269" y="1665293"/>
                  <a:pt x="5202525" y="1660596"/>
                  <a:pt x="5193130" y="1660596"/>
                </a:cubicBezTo>
                <a:cubicBezTo>
                  <a:pt x="5188433" y="1662944"/>
                  <a:pt x="5181386" y="1662944"/>
                  <a:pt x="5176689" y="1665293"/>
                </a:cubicBezTo>
                <a:cubicBezTo>
                  <a:pt x="5176689" y="1667642"/>
                  <a:pt x="5176689" y="1667642"/>
                  <a:pt x="5176689" y="1669991"/>
                </a:cubicBezTo>
                <a:cubicBezTo>
                  <a:pt x="5174340" y="1669991"/>
                  <a:pt x="5174340" y="1669991"/>
                  <a:pt x="5171991" y="1669991"/>
                </a:cubicBezTo>
                <a:cubicBezTo>
                  <a:pt x="5169642" y="1669991"/>
                  <a:pt x="5171991" y="1672340"/>
                  <a:pt x="5169642" y="1674688"/>
                </a:cubicBezTo>
                <a:cubicBezTo>
                  <a:pt x="5169642" y="1674688"/>
                  <a:pt x="5167294" y="1674688"/>
                  <a:pt x="5167294" y="1674688"/>
                </a:cubicBezTo>
                <a:cubicBezTo>
                  <a:pt x="5160248" y="1681735"/>
                  <a:pt x="5157899" y="1691129"/>
                  <a:pt x="5150852" y="1698175"/>
                </a:cubicBezTo>
                <a:lnTo>
                  <a:pt x="5148034" y="1700994"/>
                </a:lnTo>
                <a:lnTo>
                  <a:pt x="5143806" y="1695826"/>
                </a:lnTo>
                <a:cubicBezTo>
                  <a:pt x="5141457" y="1698175"/>
                  <a:pt x="5136760" y="1702873"/>
                  <a:pt x="5134411" y="1707570"/>
                </a:cubicBezTo>
                <a:cubicBezTo>
                  <a:pt x="5136760" y="1707570"/>
                  <a:pt x="5136760" y="1707570"/>
                  <a:pt x="5136760" y="1707570"/>
                </a:cubicBezTo>
                <a:cubicBezTo>
                  <a:pt x="5136760" y="1709919"/>
                  <a:pt x="5141457" y="1709919"/>
                  <a:pt x="5143806" y="1709919"/>
                </a:cubicBezTo>
                <a:cubicBezTo>
                  <a:pt x="5143806" y="1712268"/>
                  <a:pt x="5141457" y="1712268"/>
                  <a:pt x="5146155" y="1712268"/>
                </a:cubicBezTo>
                <a:lnTo>
                  <a:pt x="5147565" y="1712268"/>
                </a:lnTo>
                <a:lnTo>
                  <a:pt x="5151347" y="1718572"/>
                </a:lnTo>
                <a:lnTo>
                  <a:pt x="5140576" y="1716671"/>
                </a:lnTo>
                <a:cubicBezTo>
                  <a:pt x="5134411" y="1715790"/>
                  <a:pt x="5128539" y="1714616"/>
                  <a:pt x="5127364" y="1712268"/>
                </a:cubicBezTo>
                <a:cubicBezTo>
                  <a:pt x="5127364" y="1716965"/>
                  <a:pt x="5120318" y="1724011"/>
                  <a:pt x="5115620" y="1728708"/>
                </a:cubicBezTo>
                <a:cubicBezTo>
                  <a:pt x="5113272" y="1731057"/>
                  <a:pt x="5113272" y="1731057"/>
                  <a:pt x="5113272" y="1733406"/>
                </a:cubicBezTo>
                <a:cubicBezTo>
                  <a:pt x="5103877" y="1740452"/>
                  <a:pt x="5096830" y="1745150"/>
                  <a:pt x="5092133" y="1754544"/>
                </a:cubicBezTo>
                <a:cubicBezTo>
                  <a:pt x="5089784" y="1756893"/>
                  <a:pt x="5085086" y="1759241"/>
                  <a:pt x="5082738" y="1761590"/>
                </a:cubicBezTo>
                <a:cubicBezTo>
                  <a:pt x="5087435" y="1761590"/>
                  <a:pt x="5087435" y="1761590"/>
                  <a:pt x="5089784" y="1761590"/>
                </a:cubicBezTo>
                <a:cubicBezTo>
                  <a:pt x="5089784" y="1761590"/>
                  <a:pt x="5089784" y="1763939"/>
                  <a:pt x="5089784" y="1763939"/>
                </a:cubicBezTo>
                <a:cubicBezTo>
                  <a:pt x="5089784" y="1763939"/>
                  <a:pt x="5092133" y="1763939"/>
                  <a:pt x="5094482" y="1763939"/>
                </a:cubicBezTo>
                <a:cubicBezTo>
                  <a:pt x="5096830" y="1763939"/>
                  <a:pt x="5099179" y="1763939"/>
                  <a:pt x="5103877" y="1763939"/>
                </a:cubicBezTo>
                <a:cubicBezTo>
                  <a:pt x="5106226" y="1759241"/>
                  <a:pt x="5115620" y="1761590"/>
                  <a:pt x="5122667" y="1761590"/>
                </a:cubicBezTo>
                <a:cubicBezTo>
                  <a:pt x="5122667" y="1763939"/>
                  <a:pt x="5125016" y="1763939"/>
                  <a:pt x="5125016" y="1763939"/>
                </a:cubicBezTo>
                <a:cubicBezTo>
                  <a:pt x="5125016" y="1766288"/>
                  <a:pt x="5125016" y="1766288"/>
                  <a:pt x="5127364" y="1766288"/>
                </a:cubicBezTo>
                <a:cubicBezTo>
                  <a:pt x="5132062" y="1763939"/>
                  <a:pt x="5139108" y="1763939"/>
                  <a:pt x="5148504" y="1763939"/>
                </a:cubicBezTo>
                <a:cubicBezTo>
                  <a:pt x="5148504" y="1766288"/>
                  <a:pt x="5148504" y="1766288"/>
                  <a:pt x="5148504" y="1766288"/>
                </a:cubicBezTo>
                <a:cubicBezTo>
                  <a:pt x="5150852" y="1768636"/>
                  <a:pt x="5150852" y="1768636"/>
                  <a:pt x="5153201" y="1768636"/>
                </a:cubicBezTo>
                <a:cubicBezTo>
                  <a:pt x="5155550" y="1768636"/>
                  <a:pt x="5153201" y="1770985"/>
                  <a:pt x="5155550" y="1773334"/>
                </a:cubicBezTo>
                <a:cubicBezTo>
                  <a:pt x="5155550" y="1775683"/>
                  <a:pt x="5160248" y="1773334"/>
                  <a:pt x="5160248" y="1778032"/>
                </a:cubicBezTo>
                <a:cubicBezTo>
                  <a:pt x="5164945" y="1778032"/>
                  <a:pt x="5167294" y="1778032"/>
                  <a:pt x="5169642" y="1780380"/>
                </a:cubicBezTo>
                <a:cubicBezTo>
                  <a:pt x="5171991" y="1782728"/>
                  <a:pt x="5174340" y="1787426"/>
                  <a:pt x="5176689" y="1789775"/>
                </a:cubicBezTo>
                <a:cubicBezTo>
                  <a:pt x="5179037" y="1787426"/>
                  <a:pt x="5179037" y="1787426"/>
                  <a:pt x="5181386" y="1787426"/>
                </a:cubicBezTo>
                <a:lnTo>
                  <a:pt x="5182561" y="1785077"/>
                </a:lnTo>
                <a:lnTo>
                  <a:pt x="5186084" y="1785077"/>
                </a:lnTo>
                <a:cubicBezTo>
                  <a:pt x="5190781" y="1780380"/>
                  <a:pt x="5197828" y="1773334"/>
                  <a:pt x="5204874" y="1770985"/>
                </a:cubicBezTo>
                <a:cubicBezTo>
                  <a:pt x="5207223" y="1768636"/>
                  <a:pt x="5214269" y="1770985"/>
                  <a:pt x="5216618" y="1768636"/>
                </a:cubicBezTo>
                <a:cubicBezTo>
                  <a:pt x="5216618" y="1768636"/>
                  <a:pt x="5216618" y="1766288"/>
                  <a:pt x="5216618" y="1766288"/>
                </a:cubicBezTo>
                <a:cubicBezTo>
                  <a:pt x="5216618" y="1766288"/>
                  <a:pt x="5218967" y="1766288"/>
                  <a:pt x="5218967" y="1766288"/>
                </a:cubicBezTo>
                <a:cubicBezTo>
                  <a:pt x="5218967" y="1763939"/>
                  <a:pt x="5230711" y="1747498"/>
                  <a:pt x="5230711" y="1745150"/>
                </a:cubicBezTo>
                <a:cubicBezTo>
                  <a:pt x="5230711" y="1745150"/>
                  <a:pt x="5230711" y="1726359"/>
                  <a:pt x="5230711" y="1726359"/>
                </a:cubicBezTo>
                <a:cubicBezTo>
                  <a:pt x="5230711" y="1726359"/>
                  <a:pt x="5228362" y="1724011"/>
                  <a:pt x="5228362" y="1721662"/>
                </a:cubicBezTo>
                <a:cubicBezTo>
                  <a:pt x="5230711" y="1716965"/>
                  <a:pt x="5230711" y="1709919"/>
                  <a:pt x="5230711" y="1705222"/>
                </a:cubicBezTo>
                <a:cubicBezTo>
                  <a:pt x="5228362" y="1702873"/>
                  <a:pt x="5228362" y="1700524"/>
                  <a:pt x="5228362" y="1698175"/>
                </a:cubicBezTo>
                <a:cubicBezTo>
                  <a:pt x="5233059" y="1702873"/>
                  <a:pt x="5233059" y="1707570"/>
                  <a:pt x="5237757" y="1712268"/>
                </a:cubicBezTo>
                <a:cubicBezTo>
                  <a:pt x="5235408" y="1716965"/>
                  <a:pt x="5235408" y="1719313"/>
                  <a:pt x="5235408" y="1721662"/>
                </a:cubicBezTo>
                <a:cubicBezTo>
                  <a:pt x="5235408" y="1724011"/>
                  <a:pt x="5237757" y="1726359"/>
                  <a:pt x="5237757" y="1728708"/>
                </a:cubicBezTo>
                <a:cubicBezTo>
                  <a:pt x="5237757" y="1731057"/>
                  <a:pt x="5240106" y="1745150"/>
                  <a:pt x="5237757" y="1747498"/>
                </a:cubicBezTo>
                <a:cubicBezTo>
                  <a:pt x="5235408" y="1749846"/>
                  <a:pt x="5233059" y="1752196"/>
                  <a:pt x="5230711" y="1756893"/>
                </a:cubicBezTo>
                <a:cubicBezTo>
                  <a:pt x="5233059" y="1756893"/>
                  <a:pt x="5237757" y="1756893"/>
                  <a:pt x="5240106" y="1756893"/>
                </a:cubicBezTo>
                <a:cubicBezTo>
                  <a:pt x="5242455" y="1756893"/>
                  <a:pt x="5240106" y="1756893"/>
                  <a:pt x="5242455" y="1756893"/>
                </a:cubicBezTo>
                <a:cubicBezTo>
                  <a:pt x="5242455" y="1756893"/>
                  <a:pt x="5242455" y="1756893"/>
                  <a:pt x="5242455" y="1754544"/>
                </a:cubicBezTo>
                <a:cubicBezTo>
                  <a:pt x="5247152" y="1754544"/>
                  <a:pt x="5251850" y="1752196"/>
                  <a:pt x="5256547" y="1752196"/>
                </a:cubicBezTo>
                <a:lnTo>
                  <a:pt x="5262267" y="1762203"/>
                </a:lnTo>
                <a:lnTo>
                  <a:pt x="5263595" y="1761590"/>
                </a:lnTo>
                <a:lnTo>
                  <a:pt x="5270641" y="1770985"/>
                </a:lnTo>
                <a:cubicBezTo>
                  <a:pt x="5277688" y="1768636"/>
                  <a:pt x="5277688" y="1768636"/>
                  <a:pt x="5289432" y="1770985"/>
                </a:cubicBezTo>
                <a:lnTo>
                  <a:pt x="5289432" y="1763940"/>
                </a:lnTo>
                <a:cubicBezTo>
                  <a:pt x="5291780" y="1766287"/>
                  <a:pt x="5296478" y="1766287"/>
                  <a:pt x="5296478" y="1770985"/>
                </a:cubicBezTo>
                <a:cubicBezTo>
                  <a:pt x="5296478" y="1780380"/>
                  <a:pt x="5294129" y="1778031"/>
                  <a:pt x="5291780" y="1785077"/>
                </a:cubicBezTo>
                <a:lnTo>
                  <a:pt x="5298827" y="1792124"/>
                </a:lnTo>
                <a:cubicBezTo>
                  <a:pt x="5294129" y="1799169"/>
                  <a:pt x="5296478" y="1792124"/>
                  <a:pt x="5298827" y="1801518"/>
                </a:cubicBezTo>
                <a:lnTo>
                  <a:pt x="5289432" y="1801518"/>
                </a:lnTo>
                <a:lnTo>
                  <a:pt x="5294890" y="1808340"/>
                </a:lnTo>
                <a:lnTo>
                  <a:pt x="5303523" y="1808565"/>
                </a:lnTo>
                <a:cubicBezTo>
                  <a:pt x="5305872" y="1813261"/>
                  <a:pt x="5308220" y="1817959"/>
                  <a:pt x="5310569" y="1822656"/>
                </a:cubicBezTo>
                <a:cubicBezTo>
                  <a:pt x="5310569" y="1822656"/>
                  <a:pt x="5308220" y="1822656"/>
                  <a:pt x="5308220" y="1822656"/>
                </a:cubicBezTo>
                <a:cubicBezTo>
                  <a:pt x="5307046" y="1819133"/>
                  <a:pt x="5304110" y="1819133"/>
                  <a:pt x="5300881" y="1819427"/>
                </a:cubicBezTo>
                <a:lnTo>
                  <a:pt x="5292658" y="1818101"/>
                </a:lnTo>
                <a:lnTo>
                  <a:pt x="5294129" y="1820308"/>
                </a:lnTo>
                <a:lnTo>
                  <a:pt x="5284734" y="1820308"/>
                </a:lnTo>
                <a:lnTo>
                  <a:pt x="5289432" y="1827354"/>
                </a:lnTo>
                <a:cubicBezTo>
                  <a:pt x="5287083" y="1834400"/>
                  <a:pt x="5287083" y="1827354"/>
                  <a:pt x="5287083" y="1841446"/>
                </a:cubicBezTo>
                <a:cubicBezTo>
                  <a:pt x="5329361" y="1850841"/>
                  <a:pt x="5287083" y="1864933"/>
                  <a:pt x="5317617" y="1864933"/>
                </a:cubicBezTo>
                <a:lnTo>
                  <a:pt x="5317617" y="1867282"/>
                </a:lnTo>
                <a:lnTo>
                  <a:pt x="5308222" y="1867282"/>
                </a:lnTo>
                <a:lnTo>
                  <a:pt x="5315268" y="1874328"/>
                </a:lnTo>
                <a:lnTo>
                  <a:pt x="5312920" y="1879026"/>
                </a:lnTo>
                <a:lnTo>
                  <a:pt x="5315268" y="1881374"/>
                </a:lnTo>
                <a:lnTo>
                  <a:pt x="5327915" y="1879567"/>
                </a:lnTo>
                <a:lnTo>
                  <a:pt x="5334058" y="1867282"/>
                </a:lnTo>
                <a:lnTo>
                  <a:pt x="5329361" y="1860236"/>
                </a:lnTo>
                <a:lnTo>
                  <a:pt x="5338756" y="1860236"/>
                </a:lnTo>
                <a:lnTo>
                  <a:pt x="5338756" y="1869631"/>
                </a:lnTo>
                <a:lnTo>
                  <a:pt x="5345802" y="1876677"/>
                </a:lnTo>
                <a:lnTo>
                  <a:pt x="5355197" y="1869631"/>
                </a:lnTo>
                <a:lnTo>
                  <a:pt x="5364593" y="1881374"/>
                </a:lnTo>
                <a:lnTo>
                  <a:pt x="5381034" y="1879026"/>
                </a:lnTo>
                <a:cubicBezTo>
                  <a:pt x="5376337" y="1897815"/>
                  <a:pt x="5383383" y="1871979"/>
                  <a:pt x="5371639" y="1888421"/>
                </a:cubicBezTo>
                <a:cubicBezTo>
                  <a:pt x="5378685" y="1893118"/>
                  <a:pt x="5371639" y="1890769"/>
                  <a:pt x="5381034" y="1888421"/>
                </a:cubicBezTo>
                <a:lnTo>
                  <a:pt x="5387073" y="1902512"/>
                </a:lnTo>
                <a:lnTo>
                  <a:pt x="5385731" y="1902512"/>
                </a:lnTo>
                <a:lnTo>
                  <a:pt x="5385731" y="1904861"/>
                </a:lnTo>
                <a:lnTo>
                  <a:pt x="5395127" y="1909559"/>
                </a:lnTo>
                <a:lnTo>
                  <a:pt x="5388080" y="1914256"/>
                </a:lnTo>
                <a:lnTo>
                  <a:pt x="5395127" y="1918954"/>
                </a:lnTo>
                <a:lnTo>
                  <a:pt x="5399824" y="1916605"/>
                </a:lnTo>
                <a:lnTo>
                  <a:pt x="5395127" y="1909559"/>
                </a:lnTo>
                <a:lnTo>
                  <a:pt x="5411568" y="1909559"/>
                </a:lnTo>
                <a:lnTo>
                  <a:pt x="5411568" y="1902512"/>
                </a:lnTo>
                <a:lnTo>
                  <a:pt x="5402173" y="1907210"/>
                </a:lnTo>
                <a:cubicBezTo>
                  <a:pt x="5399824" y="1906036"/>
                  <a:pt x="5400998" y="1905448"/>
                  <a:pt x="5401292" y="1905155"/>
                </a:cubicBezTo>
                <a:lnTo>
                  <a:pt x="5400134" y="1905100"/>
                </a:lnTo>
                <a:lnTo>
                  <a:pt x="5404522" y="1900164"/>
                </a:lnTo>
                <a:lnTo>
                  <a:pt x="5430359" y="1900164"/>
                </a:lnTo>
                <a:lnTo>
                  <a:pt x="5428010" y="1890769"/>
                </a:lnTo>
                <a:lnTo>
                  <a:pt x="5430359" y="1888421"/>
                </a:lnTo>
                <a:lnTo>
                  <a:pt x="5444451" y="1890769"/>
                </a:lnTo>
                <a:cubicBezTo>
                  <a:pt x="5442102" y="1895466"/>
                  <a:pt x="5435056" y="1902512"/>
                  <a:pt x="5435056" y="1904861"/>
                </a:cubicBezTo>
                <a:cubicBezTo>
                  <a:pt x="5435056" y="1914256"/>
                  <a:pt x="5437405" y="1909559"/>
                  <a:pt x="5442102" y="1914256"/>
                </a:cubicBezTo>
                <a:lnTo>
                  <a:pt x="5437405" y="1904861"/>
                </a:lnTo>
                <a:cubicBezTo>
                  <a:pt x="5449148" y="1907210"/>
                  <a:pt x="5444451" y="1907210"/>
                  <a:pt x="5451497" y="1904861"/>
                </a:cubicBezTo>
                <a:lnTo>
                  <a:pt x="5451497" y="1914256"/>
                </a:lnTo>
                <a:cubicBezTo>
                  <a:pt x="5463241" y="1914256"/>
                  <a:pt x="5460892" y="1911907"/>
                  <a:pt x="5465590" y="1923651"/>
                </a:cubicBezTo>
                <a:lnTo>
                  <a:pt x="5467939" y="1916605"/>
                </a:lnTo>
                <a:lnTo>
                  <a:pt x="5484380" y="1916605"/>
                </a:lnTo>
                <a:lnTo>
                  <a:pt x="5482032" y="1907210"/>
                </a:lnTo>
                <a:lnTo>
                  <a:pt x="5474985" y="1907210"/>
                </a:lnTo>
                <a:lnTo>
                  <a:pt x="5477334" y="1900164"/>
                </a:lnTo>
                <a:lnTo>
                  <a:pt x="5491427" y="1902512"/>
                </a:lnTo>
                <a:lnTo>
                  <a:pt x="5489078" y="1907210"/>
                </a:lnTo>
                <a:lnTo>
                  <a:pt x="5496124" y="1914256"/>
                </a:lnTo>
                <a:lnTo>
                  <a:pt x="5484380" y="1925999"/>
                </a:lnTo>
                <a:lnTo>
                  <a:pt x="5486729" y="1930697"/>
                </a:lnTo>
                <a:lnTo>
                  <a:pt x="5496124" y="1918954"/>
                </a:lnTo>
                <a:lnTo>
                  <a:pt x="5503170" y="1921303"/>
                </a:lnTo>
                <a:lnTo>
                  <a:pt x="5512566" y="1918954"/>
                </a:lnTo>
                <a:lnTo>
                  <a:pt x="5519612" y="1921303"/>
                </a:lnTo>
                <a:lnTo>
                  <a:pt x="5512566" y="1923651"/>
                </a:lnTo>
                <a:lnTo>
                  <a:pt x="5514914" y="1928349"/>
                </a:lnTo>
                <a:lnTo>
                  <a:pt x="5505519" y="1940092"/>
                </a:lnTo>
                <a:lnTo>
                  <a:pt x="5519612" y="1935394"/>
                </a:lnTo>
                <a:lnTo>
                  <a:pt x="5529007" y="1944789"/>
                </a:lnTo>
                <a:lnTo>
                  <a:pt x="5529007" y="1935394"/>
                </a:lnTo>
                <a:lnTo>
                  <a:pt x="5519612" y="1935394"/>
                </a:lnTo>
                <a:cubicBezTo>
                  <a:pt x="5529007" y="1923651"/>
                  <a:pt x="5517263" y="1930697"/>
                  <a:pt x="5533705" y="1928349"/>
                </a:cubicBezTo>
                <a:cubicBezTo>
                  <a:pt x="5536054" y="1925999"/>
                  <a:pt x="5538402" y="1918954"/>
                  <a:pt x="5543100" y="1918954"/>
                </a:cubicBezTo>
                <a:cubicBezTo>
                  <a:pt x="5550146" y="1918954"/>
                  <a:pt x="5550146" y="1921303"/>
                  <a:pt x="5554843" y="1925999"/>
                </a:cubicBezTo>
                <a:lnTo>
                  <a:pt x="5557192" y="1961230"/>
                </a:lnTo>
                <a:cubicBezTo>
                  <a:pt x="5571285" y="1951836"/>
                  <a:pt x="5559541" y="1961230"/>
                  <a:pt x="5564239" y="1947138"/>
                </a:cubicBezTo>
                <a:cubicBezTo>
                  <a:pt x="5571285" y="1954185"/>
                  <a:pt x="5571285" y="1947138"/>
                  <a:pt x="5566587" y="1956533"/>
                </a:cubicBezTo>
                <a:lnTo>
                  <a:pt x="5573634" y="1961230"/>
                </a:lnTo>
                <a:lnTo>
                  <a:pt x="5566587" y="1970625"/>
                </a:lnTo>
                <a:lnTo>
                  <a:pt x="5568936" y="1975323"/>
                </a:lnTo>
                <a:lnTo>
                  <a:pt x="5585378" y="1961230"/>
                </a:lnTo>
                <a:lnTo>
                  <a:pt x="5590075" y="1963579"/>
                </a:lnTo>
                <a:lnTo>
                  <a:pt x="5583029" y="1972974"/>
                </a:lnTo>
                <a:cubicBezTo>
                  <a:pt x="5592424" y="1975323"/>
                  <a:pt x="5585378" y="1975323"/>
                  <a:pt x="5592424" y="1972974"/>
                </a:cubicBezTo>
                <a:lnTo>
                  <a:pt x="5597709" y="1978259"/>
                </a:lnTo>
                <a:lnTo>
                  <a:pt x="5597122" y="1980020"/>
                </a:lnTo>
                <a:lnTo>
                  <a:pt x="5599831" y="1982188"/>
                </a:lnTo>
                <a:lnTo>
                  <a:pt x="5601574" y="1992646"/>
                </a:lnTo>
                <a:lnTo>
                  <a:pt x="5599470" y="1991764"/>
                </a:lnTo>
                <a:lnTo>
                  <a:pt x="5594773" y="2001159"/>
                </a:lnTo>
                <a:cubicBezTo>
                  <a:pt x="5608865" y="2003509"/>
                  <a:pt x="5601819" y="2001159"/>
                  <a:pt x="5611214" y="2008212"/>
                </a:cubicBezTo>
                <a:lnTo>
                  <a:pt x="5618261" y="1998810"/>
                </a:lnTo>
                <a:cubicBezTo>
                  <a:pt x="5605929" y="1997049"/>
                  <a:pt x="5609452" y="1996607"/>
                  <a:pt x="5606039" y="1994516"/>
                </a:cubicBezTo>
                <a:lnTo>
                  <a:pt x="5603076" y="1993275"/>
                </a:lnTo>
                <a:lnTo>
                  <a:pt x="5608865" y="1989415"/>
                </a:lnTo>
                <a:lnTo>
                  <a:pt x="5599831" y="1982188"/>
                </a:lnTo>
                <a:lnTo>
                  <a:pt x="5599470" y="1980020"/>
                </a:lnTo>
                <a:lnTo>
                  <a:pt x="5597709" y="1978259"/>
                </a:lnTo>
                <a:lnTo>
                  <a:pt x="5599470" y="1972974"/>
                </a:lnTo>
                <a:lnTo>
                  <a:pt x="5606517" y="1977673"/>
                </a:lnTo>
                <a:cubicBezTo>
                  <a:pt x="5608865" y="1968276"/>
                  <a:pt x="5601819" y="1975323"/>
                  <a:pt x="5615912" y="1968276"/>
                </a:cubicBezTo>
                <a:cubicBezTo>
                  <a:pt x="5618261" y="1972974"/>
                  <a:pt x="5618261" y="1984719"/>
                  <a:pt x="5625307" y="1984719"/>
                </a:cubicBezTo>
                <a:cubicBezTo>
                  <a:pt x="5637051" y="1984719"/>
                  <a:pt x="5625307" y="1984719"/>
                  <a:pt x="5634702" y="1980020"/>
                </a:cubicBezTo>
                <a:lnTo>
                  <a:pt x="5630005" y="1970625"/>
                </a:lnTo>
                <a:lnTo>
                  <a:pt x="5639400" y="1972974"/>
                </a:lnTo>
                <a:lnTo>
                  <a:pt x="5648795" y="1970625"/>
                </a:lnTo>
                <a:lnTo>
                  <a:pt x="5653492" y="1963579"/>
                </a:lnTo>
                <a:lnTo>
                  <a:pt x="5660538" y="1965927"/>
                </a:lnTo>
                <a:lnTo>
                  <a:pt x="5667585" y="1963579"/>
                </a:lnTo>
                <a:lnTo>
                  <a:pt x="5676980" y="1970625"/>
                </a:lnTo>
                <a:cubicBezTo>
                  <a:pt x="5674631" y="1977673"/>
                  <a:pt x="5674631" y="1980020"/>
                  <a:pt x="5676980" y="1987067"/>
                </a:cubicBezTo>
                <a:lnTo>
                  <a:pt x="5667585" y="1998810"/>
                </a:lnTo>
                <a:lnTo>
                  <a:pt x="5658190" y="1998810"/>
                </a:lnTo>
                <a:cubicBezTo>
                  <a:pt x="5660538" y="2012900"/>
                  <a:pt x="5658190" y="2005860"/>
                  <a:pt x="5665236" y="2015249"/>
                </a:cubicBezTo>
                <a:cubicBezTo>
                  <a:pt x="5658190" y="2019944"/>
                  <a:pt x="5665236" y="2017598"/>
                  <a:pt x="5655841" y="2015249"/>
                </a:cubicBezTo>
                <a:lnTo>
                  <a:pt x="5655841" y="2026995"/>
                </a:lnTo>
                <a:lnTo>
                  <a:pt x="5667585" y="2024644"/>
                </a:lnTo>
                <a:lnTo>
                  <a:pt x="5684026" y="2043438"/>
                </a:lnTo>
                <a:lnTo>
                  <a:pt x="5672282" y="2043438"/>
                </a:lnTo>
                <a:lnTo>
                  <a:pt x="5679329" y="2048132"/>
                </a:lnTo>
                <a:lnTo>
                  <a:pt x="5676980" y="2062226"/>
                </a:lnTo>
                <a:lnTo>
                  <a:pt x="5684026" y="2059879"/>
                </a:lnTo>
                <a:lnTo>
                  <a:pt x="5679329" y="2071617"/>
                </a:lnTo>
                <a:lnTo>
                  <a:pt x="5686375" y="2073967"/>
                </a:lnTo>
                <a:lnTo>
                  <a:pt x="5691073" y="2071617"/>
                </a:lnTo>
                <a:lnTo>
                  <a:pt x="5686375" y="2059879"/>
                </a:lnTo>
                <a:lnTo>
                  <a:pt x="5698119" y="2050483"/>
                </a:lnTo>
                <a:lnTo>
                  <a:pt x="5698119" y="2059879"/>
                </a:lnTo>
                <a:lnTo>
                  <a:pt x="5707514" y="2057527"/>
                </a:lnTo>
                <a:cubicBezTo>
                  <a:pt x="5719258" y="2062226"/>
                  <a:pt x="5716909" y="2055183"/>
                  <a:pt x="5723956" y="2066928"/>
                </a:cubicBezTo>
                <a:lnTo>
                  <a:pt x="5714560" y="2066928"/>
                </a:lnTo>
                <a:cubicBezTo>
                  <a:pt x="5716909" y="2069276"/>
                  <a:pt x="5719258" y="2071617"/>
                  <a:pt x="5719258" y="2071617"/>
                </a:cubicBezTo>
                <a:cubicBezTo>
                  <a:pt x="5719258" y="2073967"/>
                  <a:pt x="5719258" y="2073967"/>
                  <a:pt x="5721607" y="2078665"/>
                </a:cubicBezTo>
                <a:lnTo>
                  <a:pt x="5728653" y="2073967"/>
                </a:lnTo>
                <a:lnTo>
                  <a:pt x="5723956" y="2066928"/>
                </a:lnTo>
                <a:lnTo>
                  <a:pt x="5726304" y="2057527"/>
                </a:lnTo>
                <a:lnTo>
                  <a:pt x="5733351" y="2057527"/>
                </a:lnTo>
                <a:lnTo>
                  <a:pt x="5738048" y="2066928"/>
                </a:lnTo>
                <a:lnTo>
                  <a:pt x="5733351" y="2076317"/>
                </a:lnTo>
                <a:lnTo>
                  <a:pt x="5740397" y="2081019"/>
                </a:lnTo>
                <a:lnTo>
                  <a:pt x="5733351" y="2090411"/>
                </a:lnTo>
                <a:lnTo>
                  <a:pt x="5742746" y="2102160"/>
                </a:lnTo>
                <a:cubicBezTo>
                  <a:pt x="5752141" y="2097458"/>
                  <a:pt x="5745095" y="2097458"/>
                  <a:pt x="5752141" y="2099806"/>
                </a:cubicBezTo>
                <a:lnTo>
                  <a:pt x="5761536" y="2097458"/>
                </a:lnTo>
                <a:lnTo>
                  <a:pt x="5759187" y="2104502"/>
                </a:lnTo>
                <a:lnTo>
                  <a:pt x="5761536" y="2113903"/>
                </a:lnTo>
                <a:cubicBezTo>
                  <a:pt x="5770931" y="2120948"/>
                  <a:pt x="5763885" y="2116252"/>
                  <a:pt x="5770931" y="2127997"/>
                </a:cubicBezTo>
                <a:cubicBezTo>
                  <a:pt x="5768582" y="2135051"/>
                  <a:pt x="5768582" y="2127997"/>
                  <a:pt x="5770931" y="2137391"/>
                </a:cubicBezTo>
                <a:lnTo>
                  <a:pt x="5768582" y="2146800"/>
                </a:lnTo>
                <a:lnTo>
                  <a:pt x="5777977" y="2144444"/>
                </a:lnTo>
                <a:lnTo>
                  <a:pt x="5782675" y="2153852"/>
                </a:lnTo>
                <a:lnTo>
                  <a:pt x="5775629" y="2158534"/>
                </a:lnTo>
                <a:lnTo>
                  <a:pt x="5777977" y="2163216"/>
                </a:lnTo>
                <a:lnTo>
                  <a:pt x="5770931" y="2170238"/>
                </a:lnTo>
                <a:lnTo>
                  <a:pt x="5780326" y="2170238"/>
                </a:lnTo>
                <a:lnTo>
                  <a:pt x="5787373" y="2170238"/>
                </a:lnTo>
                <a:lnTo>
                  <a:pt x="5794419" y="2179641"/>
                </a:lnTo>
                <a:cubicBezTo>
                  <a:pt x="5780326" y="2179641"/>
                  <a:pt x="5782675" y="2177291"/>
                  <a:pt x="5780326" y="2189045"/>
                </a:cubicBezTo>
                <a:lnTo>
                  <a:pt x="5787373" y="2189045"/>
                </a:lnTo>
                <a:lnTo>
                  <a:pt x="5782675" y="2196093"/>
                </a:lnTo>
                <a:lnTo>
                  <a:pt x="5792070" y="2196093"/>
                </a:lnTo>
                <a:cubicBezTo>
                  <a:pt x="5787373" y="2186696"/>
                  <a:pt x="5785024" y="2193745"/>
                  <a:pt x="5794419" y="2186696"/>
                </a:cubicBezTo>
                <a:lnTo>
                  <a:pt x="5794419" y="2193745"/>
                </a:lnTo>
                <a:lnTo>
                  <a:pt x="5801465" y="2193745"/>
                </a:lnTo>
                <a:cubicBezTo>
                  <a:pt x="5794419" y="2203143"/>
                  <a:pt x="5796768" y="2196093"/>
                  <a:pt x="5794419" y="2210186"/>
                </a:cubicBezTo>
                <a:cubicBezTo>
                  <a:pt x="5803814" y="2205490"/>
                  <a:pt x="5799117" y="2207839"/>
                  <a:pt x="5801465" y="2210186"/>
                </a:cubicBezTo>
                <a:cubicBezTo>
                  <a:pt x="5801465" y="2212534"/>
                  <a:pt x="5803814" y="2212534"/>
                  <a:pt x="5803814" y="2212534"/>
                </a:cubicBezTo>
                <a:cubicBezTo>
                  <a:pt x="5803814" y="2214885"/>
                  <a:pt x="5801465" y="2214885"/>
                  <a:pt x="5801465" y="2217233"/>
                </a:cubicBezTo>
                <a:lnTo>
                  <a:pt x="5808512" y="2221931"/>
                </a:lnTo>
                <a:lnTo>
                  <a:pt x="5810861" y="2228978"/>
                </a:lnTo>
                <a:lnTo>
                  <a:pt x="5801465" y="2228978"/>
                </a:lnTo>
                <a:lnTo>
                  <a:pt x="5803814" y="2243076"/>
                </a:lnTo>
                <a:lnTo>
                  <a:pt x="5806163" y="2243076"/>
                </a:lnTo>
                <a:lnTo>
                  <a:pt x="5806163" y="2231320"/>
                </a:lnTo>
                <a:lnTo>
                  <a:pt x="5815558" y="2240724"/>
                </a:lnTo>
                <a:lnTo>
                  <a:pt x="5806163" y="2250114"/>
                </a:lnTo>
                <a:lnTo>
                  <a:pt x="5808512" y="2252465"/>
                </a:lnTo>
                <a:lnTo>
                  <a:pt x="5824953" y="2250114"/>
                </a:lnTo>
                <a:cubicBezTo>
                  <a:pt x="5827302" y="2238373"/>
                  <a:pt x="5827302" y="2243076"/>
                  <a:pt x="5834348" y="2238373"/>
                </a:cubicBezTo>
                <a:lnTo>
                  <a:pt x="5839046" y="2240724"/>
                </a:lnTo>
                <a:lnTo>
                  <a:pt x="5824953" y="2257163"/>
                </a:lnTo>
                <a:lnTo>
                  <a:pt x="5808512" y="2264209"/>
                </a:lnTo>
                <a:lnTo>
                  <a:pt x="5815558" y="2271258"/>
                </a:lnTo>
                <a:lnTo>
                  <a:pt x="5808512" y="2280654"/>
                </a:lnTo>
                <a:lnTo>
                  <a:pt x="5810861" y="2285352"/>
                </a:lnTo>
                <a:lnTo>
                  <a:pt x="5820256" y="2278306"/>
                </a:lnTo>
                <a:lnTo>
                  <a:pt x="5824953" y="2280654"/>
                </a:lnTo>
                <a:lnTo>
                  <a:pt x="5817907" y="2290048"/>
                </a:lnTo>
                <a:cubicBezTo>
                  <a:pt x="5820256" y="2292397"/>
                  <a:pt x="5822604" y="2292397"/>
                  <a:pt x="5822604" y="2292397"/>
                </a:cubicBezTo>
                <a:cubicBezTo>
                  <a:pt x="5822604" y="2292397"/>
                  <a:pt x="5824953" y="2294748"/>
                  <a:pt x="5827302" y="2297102"/>
                </a:cubicBezTo>
                <a:cubicBezTo>
                  <a:pt x="5822604" y="2311192"/>
                  <a:pt x="5829651" y="2297102"/>
                  <a:pt x="5824953" y="2311192"/>
                </a:cubicBezTo>
                <a:lnTo>
                  <a:pt x="5834348" y="2311192"/>
                </a:lnTo>
                <a:lnTo>
                  <a:pt x="5831999" y="2306488"/>
                </a:lnTo>
                <a:lnTo>
                  <a:pt x="5841395" y="2294748"/>
                </a:lnTo>
                <a:lnTo>
                  <a:pt x="5850790" y="2301787"/>
                </a:lnTo>
                <a:lnTo>
                  <a:pt x="5843743" y="2308840"/>
                </a:lnTo>
                <a:cubicBezTo>
                  <a:pt x="5846092" y="2318240"/>
                  <a:pt x="5846092" y="2311192"/>
                  <a:pt x="5843743" y="2318240"/>
                </a:cubicBezTo>
                <a:lnTo>
                  <a:pt x="5853139" y="2325277"/>
                </a:lnTo>
                <a:lnTo>
                  <a:pt x="5850790" y="2334671"/>
                </a:lnTo>
                <a:lnTo>
                  <a:pt x="5845505" y="2334671"/>
                </a:lnTo>
                <a:lnTo>
                  <a:pt x="5843743" y="2332323"/>
                </a:lnTo>
                <a:lnTo>
                  <a:pt x="5842334" y="2332794"/>
                </a:lnTo>
                <a:lnTo>
                  <a:pt x="5836697" y="2325277"/>
                </a:lnTo>
                <a:lnTo>
                  <a:pt x="5843743" y="2322938"/>
                </a:lnTo>
                <a:lnTo>
                  <a:pt x="5836697" y="2318240"/>
                </a:lnTo>
                <a:cubicBezTo>
                  <a:pt x="5822604" y="2322938"/>
                  <a:pt x="5836697" y="2315889"/>
                  <a:pt x="5822604" y="2320594"/>
                </a:cubicBezTo>
                <a:lnTo>
                  <a:pt x="5829651" y="2337017"/>
                </a:lnTo>
                <a:lnTo>
                  <a:pt x="5842334" y="2332794"/>
                </a:lnTo>
                <a:lnTo>
                  <a:pt x="5843743" y="2334671"/>
                </a:lnTo>
                <a:lnTo>
                  <a:pt x="5845505" y="2334671"/>
                </a:lnTo>
                <a:lnTo>
                  <a:pt x="5850790" y="2341718"/>
                </a:lnTo>
                <a:cubicBezTo>
                  <a:pt x="5860185" y="2337017"/>
                  <a:pt x="5855487" y="2334671"/>
                  <a:pt x="5857836" y="2344071"/>
                </a:cubicBezTo>
                <a:lnTo>
                  <a:pt x="5839046" y="2351110"/>
                </a:lnTo>
                <a:lnTo>
                  <a:pt x="5831999" y="2346420"/>
                </a:lnTo>
                <a:lnTo>
                  <a:pt x="5827302" y="2358160"/>
                </a:lnTo>
                <a:lnTo>
                  <a:pt x="5843743" y="2362860"/>
                </a:lnTo>
                <a:lnTo>
                  <a:pt x="5843743" y="2369902"/>
                </a:lnTo>
                <a:lnTo>
                  <a:pt x="5836697" y="2372252"/>
                </a:lnTo>
                <a:lnTo>
                  <a:pt x="5829651" y="2367559"/>
                </a:lnTo>
                <a:lnTo>
                  <a:pt x="5824953" y="2374601"/>
                </a:lnTo>
                <a:lnTo>
                  <a:pt x="5841395" y="2381650"/>
                </a:lnTo>
                <a:lnTo>
                  <a:pt x="5831999" y="2383999"/>
                </a:lnTo>
                <a:lnTo>
                  <a:pt x="5834348" y="2388703"/>
                </a:lnTo>
                <a:lnTo>
                  <a:pt x="5829651" y="2395739"/>
                </a:lnTo>
                <a:lnTo>
                  <a:pt x="5839046" y="2391043"/>
                </a:lnTo>
                <a:lnTo>
                  <a:pt x="5846092" y="2393386"/>
                </a:lnTo>
                <a:lnTo>
                  <a:pt x="5850790" y="2386351"/>
                </a:lnTo>
                <a:lnTo>
                  <a:pt x="5857836" y="2391043"/>
                </a:lnTo>
                <a:cubicBezTo>
                  <a:pt x="5848441" y="2402786"/>
                  <a:pt x="5860185" y="2395739"/>
                  <a:pt x="5843743" y="2398089"/>
                </a:cubicBezTo>
                <a:cubicBezTo>
                  <a:pt x="5834348" y="2409830"/>
                  <a:pt x="5846092" y="2402786"/>
                  <a:pt x="5829651" y="2405140"/>
                </a:cubicBezTo>
                <a:lnTo>
                  <a:pt x="5829651" y="2398089"/>
                </a:lnTo>
                <a:lnTo>
                  <a:pt x="5810861" y="2398089"/>
                </a:lnTo>
                <a:lnTo>
                  <a:pt x="5810861" y="2395739"/>
                </a:lnTo>
                <a:lnTo>
                  <a:pt x="5820256" y="2395739"/>
                </a:lnTo>
                <a:cubicBezTo>
                  <a:pt x="5817907" y="2388703"/>
                  <a:pt x="5817907" y="2386351"/>
                  <a:pt x="5820256" y="2379300"/>
                </a:cubicBezTo>
                <a:lnTo>
                  <a:pt x="5810861" y="2379300"/>
                </a:lnTo>
                <a:lnTo>
                  <a:pt x="5813209" y="2386351"/>
                </a:lnTo>
                <a:lnTo>
                  <a:pt x="5803814" y="2393386"/>
                </a:lnTo>
                <a:lnTo>
                  <a:pt x="5806163" y="2402786"/>
                </a:lnTo>
                <a:lnTo>
                  <a:pt x="5820256" y="2402786"/>
                </a:lnTo>
                <a:lnTo>
                  <a:pt x="5813209" y="2419226"/>
                </a:lnTo>
                <a:lnTo>
                  <a:pt x="5815558" y="2423923"/>
                </a:lnTo>
                <a:lnTo>
                  <a:pt x="5824953" y="2414530"/>
                </a:lnTo>
                <a:lnTo>
                  <a:pt x="5841395" y="2416881"/>
                </a:lnTo>
                <a:lnTo>
                  <a:pt x="5834348" y="2423923"/>
                </a:lnTo>
                <a:lnTo>
                  <a:pt x="5827302" y="2419226"/>
                </a:lnTo>
                <a:lnTo>
                  <a:pt x="5827302" y="2426276"/>
                </a:lnTo>
                <a:lnTo>
                  <a:pt x="5813209" y="2426276"/>
                </a:lnTo>
                <a:lnTo>
                  <a:pt x="5813209" y="2440367"/>
                </a:lnTo>
                <a:lnTo>
                  <a:pt x="5820256" y="2440367"/>
                </a:lnTo>
                <a:lnTo>
                  <a:pt x="5820256" y="2433321"/>
                </a:lnTo>
                <a:cubicBezTo>
                  <a:pt x="5829651" y="2435668"/>
                  <a:pt x="5822604" y="2430974"/>
                  <a:pt x="5829651" y="2435668"/>
                </a:cubicBezTo>
                <a:cubicBezTo>
                  <a:pt x="5829651" y="2438019"/>
                  <a:pt x="5831999" y="2438019"/>
                  <a:pt x="5831999" y="2438019"/>
                </a:cubicBezTo>
                <a:cubicBezTo>
                  <a:pt x="5831999" y="2438019"/>
                  <a:pt x="5829651" y="2438019"/>
                  <a:pt x="5829651" y="2440367"/>
                </a:cubicBezTo>
                <a:lnTo>
                  <a:pt x="5834348" y="2447413"/>
                </a:lnTo>
                <a:lnTo>
                  <a:pt x="5848441" y="2445068"/>
                </a:lnTo>
                <a:cubicBezTo>
                  <a:pt x="5853139" y="2456808"/>
                  <a:pt x="5850790" y="2449762"/>
                  <a:pt x="5862534" y="2454459"/>
                </a:cubicBezTo>
                <a:cubicBezTo>
                  <a:pt x="5876626" y="2461507"/>
                  <a:pt x="5864883" y="2456808"/>
                  <a:pt x="5869580" y="2468554"/>
                </a:cubicBezTo>
                <a:lnTo>
                  <a:pt x="5862534" y="2468554"/>
                </a:lnTo>
                <a:lnTo>
                  <a:pt x="5864883" y="2477949"/>
                </a:lnTo>
                <a:lnTo>
                  <a:pt x="5855487" y="2477949"/>
                </a:lnTo>
                <a:lnTo>
                  <a:pt x="5855487" y="2468554"/>
                </a:lnTo>
                <a:lnTo>
                  <a:pt x="5846092" y="2468554"/>
                </a:lnTo>
                <a:lnTo>
                  <a:pt x="5834348" y="2459158"/>
                </a:lnTo>
                <a:cubicBezTo>
                  <a:pt x="5829651" y="2466205"/>
                  <a:pt x="5831999" y="2459158"/>
                  <a:pt x="5834348" y="2468554"/>
                </a:cubicBezTo>
                <a:lnTo>
                  <a:pt x="5824953" y="2468554"/>
                </a:lnTo>
                <a:lnTo>
                  <a:pt x="5815558" y="2482648"/>
                </a:lnTo>
                <a:lnTo>
                  <a:pt x="5827302" y="2477949"/>
                </a:lnTo>
                <a:lnTo>
                  <a:pt x="5824953" y="2492044"/>
                </a:lnTo>
                <a:lnTo>
                  <a:pt x="5839046" y="2494393"/>
                </a:lnTo>
                <a:lnTo>
                  <a:pt x="5836697" y="2501440"/>
                </a:lnTo>
                <a:lnTo>
                  <a:pt x="5839046" y="2510836"/>
                </a:lnTo>
                <a:lnTo>
                  <a:pt x="5834348" y="2508487"/>
                </a:lnTo>
                <a:lnTo>
                  <a:pt x="5827302" y="2515535"/>
                </a:lnTo>
                <a:lnTo>
                  <a:pt x="5829651" y="2522581"/>
                </a:lnTo>
                <a:lnTo>
                  <a:pt x="5827302" y="2531977"/>
                </a:lnTo>
                <a:lnTo>
                  <a:pt x="5824953" y="2531977"/>
                </a:lnTo>
                <a:lnTo>
                  <a:pt x="5820256" y="2522581"/>
                </a:lnTo>
                <a:cubicBezTo>
                  <a:pt x="5824953" y="2513185"/>
                  <a:pt x="5824953" y="2520231"/>
                  <a:pt x="5820256" y="2510836"/>
                </a:cubicBezTo>
                <a:lnTo>
                  <a:pt x="5810861" y="2520231"/>
                </a:lnTo>
                <a:lnTo>
                  <a:pt x="5820256" y="2527279"/>
                </a:lnTo>
                <a:lnTo>
                  <a:pt x="5817907" y="2531977"/>
                </a:lnTo>
                <a:lnTo>
                  <a:pt x="5822604" y="2539024"/>
                </a:lnTo>
                <a:lnTo>
                  <a:pt x="5820256" y="2543722"/>
                </a:lnTo>
                <a:lnTo>
                  <a:pt x="5810861" y="2541373"/>
                </a:lnTo>
                <a:cubicBezTo>
                  <a:pt x="5801465" y="2546071"/>
                  <a:pt x="5799117" y="2546071"/>
                  <a:pt x="5796768" y="2557817"/>
                </a:cubicBezTo>
                <a:lnTo>
                  <a:pt x="5803814" y="2557817"/>
                </a:lnTo>
                <a:lnTo>
                  <a:pt x="5801465" y="2562514"/>
                </a:lnTo>
                <a:lnTo>
                  <a:pt x="5808512" y="2569561"/>
                </a:lnTo>
                <a:lnTo>
                  <a:pt x="5822604" y="2574259"/>
                </a:lnTo>
                <a:cubicBezTo>
                  <a:pt x="5817907" y="2583655"/>
                  <a:pt x="5817907" y="2578958"/>
                  <a:pt x="5815558" y="2588353"/>
                </a:cubicBezTo>
                <a:cubicBezTo>
                  <a:pt x="5806163" y="2586004"/>
                  <a:pt x="5810861" y="2590702"/>
                  <a:pt x="5813209" y="2581305"/>
                </a:cubicBezTo>
                <a:lnTo>
                  <a:pt x="5799117" y="2586004"/>
                </a:lnTo>
                <a:lnTo>
                  <a:pt x="5789721" y="2583655"/>
                </a:lnTo>
                <a:lnTo>
                  <a:pt x="5780326" y="2586004"/>
                </a:lnTo>
                <a:lnTo>
                  <a:pt x="5773280" y="2593051"/>
                </a:lnTo>
                <a:lnTo>
                  <a:pt x="5773280" y="2586004"/>
                </a:lnTo>
                <a:lnTo>
                  <a:pt x="5766234" y="2586004"/>
                </a:lnTo>
                <a:lnTo>
                  <a:pt x="5773280" y="2593051"/>
                </a:lnTo>
                <a:lnTo>
                  <a:pt x="5763885" y="2607145"/>
                </a:lnTo>
                <a:cubicBezTo>
                  <a:pt x="5782675" y="2604796"/>
                  <a:pt x="5768582" y="2602446"/>
                  <a:pt x="5787373" y="2600098"/>
                </a:cubicBezTo>
                <a:lnTo>
                  <a:pt x="5782675" y="2609494"/>
                </a:lnTo>
                <a:lnTo>
                  <a:pt x="5785024" y="2614192"/>
                </a:lnTo>
                <a:lnTo>
                  <a:pt x="5775629" y="2623587"/>
                </a:lnTo>
                <a:lnTo>
                  <a:pt x="5777977" y="2628286"/>
                </a:lnTo>
                <a:lnTo>
                  <a:pt x="5796768" y="2611843"/>
                </a:lnTo>
                <a:lnTo>
                  <a:pt x="5794419" y="2607145"/>
                </a:lnTo>
                <a:lnTo>
                  <a:pt x="5806163" y="2604796"/>
                </a:lnTo>
                <a:lnTo>
                  <a:pt x="5815558" y="2609494"/>
                </a:lnTo>
                <a:lnTo>
                  <a:pt x="5822604" y="2604796"/>
                </a:lnTo>
                <a:cubicBezTo>
                  <a:pt x="5822604" y="2618890"/>
                  <a:pt x="5820256" y="2621239"/>
                  <a:pt x="5806163" y="2621239"/>
                </a:cubicBezTo>
                <a:cubicBezTo>
                  <a:pt x="5810861" y="2611843"/>
                  <a:pt x="5808512" y="2621239"/>
                  <a:pt x="5806163" y="2611843"/>
                </a:cubicBezTo>
                <a:lnTo>
                  <a:pt x="5796768" y="2614192"/>
                </a:lnTo>
                <a:lnTo>
                  <a:pt x="5794419" y="2623587"/>
                </a:lnTo>
                <a:lnTo>
                  <a:pt x="5803814" y="2632985"/>
                </a:lnTo>
                <a:lnTo>
                  <a:pt x="5796768" y="2640031"/>
                </a:lnTo>
                <a:lnTo>
                  <a:pt x="5787373" y="2640031"/>
                </a:lnTo>
                <a:lnTo>
                  <a:pt x="5792070" y="2647078"/>
                </a:lnTo>
                <a:lnTo>
                  <a:pt x="5782675" y="2647078"/>
                </a:lnTo>
                <a:lnTo>
                  <a:pt x="5785024" y="2640031"/>
                </a:lnTo>
                <a:lnTo>
                  <a:pt x="5777977" y="2635333"/>
                </a:lnTo>
                <a:lnTo>
                  <a:pt x="5770931" y="2628286"/>
                </a:lnTo>
                <a:lnTo>
                  <a:pt x="5770931" y="2635333"/>
                </a:lnTo>
                <a:lnTo>
                  <a:pt x="5777977" y="2635333"/>
                </a:lnTo>
                <a:lnTo>
                  <a:pt x="5780326" y="2644730"/>
                </a:lnTo>
                <a:lnTo>
                  <a:pt x="5782675" y="2651776"/>
                </a:lnTo>
                <a:lnTo>
                  <a:pt x="5796768" y="2649427"/>
                </a:lnTo>
                <a:cubicBezTo>
                  <a:pt x="5792070" y="2640031"/>
                  <a:pt x="5789721" y="2644730"/>
                  <a:pt x="5799117" y="2642380"/>
                </a:cubicBezTo>
                <a:lnTo>
                  <a:pt x="5799117" y="2649427"/>
                </a:lnTo>
                <a:lnTo>
                  <a:pt x="5806163" y="2644730"/>
                </a:lnTo>
                <a:cubicBezTo>
                  <a:pt x="5806163" y="2656474"/>
                  <a:pt x="5810861" y="2661172"/>
                  <a:pt x="5815558" y="2670568"/>
                </a:cubicBezTo>
                <a:lnTo>
                  <a:pt x="5801465" y="2672918"/>
                </a:lnTo>
                <a:cubicBezTo>
                  <a:pt x="5803814" y="2670568"/>
                  <a:pt x="5806163" y="2668219"/>
                  <a:pt x="5806163" y="2668219"/>
                </a:cubicBezTo>
                <a:cubicBezTo>
                  <a:pt x="5806163" y="2665870"/>
                  <a:pt x="5806163" y="2665870"/>
                  <a:pt x="5808512" y="2661172"/>
                </a:cubicBezTo>
                <a:lnTo>
                  <a:pt x="5803814" y="2663521"/>
                </a:lnTo>
                <a:lnTo>
                  <a:pt x="5796768" y="2658823"/>
                </a:lnTo>
                <a:lnTo>
                  <a:pt x="5792070" y="2661172"/>
                </a:lnTo>
                <a:lnTo>
                  <a:pt x="5799117" y="2668219"/>
                </a:lnTo>
                <a:lnTo>
                  <a:pt x="5792070" y="2677615"/>
                </a:lnTo>
                <a:lnTo>
                  <a:pt x="5808512" y="2677615"/>
                </a:lnTo>
                <a:lnTo>
                  <a:pt x="5808512" y="2687011"/>
                </a:lnTo>
                <a:cubicBezTo>
                  <a:pt x="5792070" y="2684663"/>
                  <a:pt x="5801465" y="2691709"/>
                  <a:pt x="5794419" y="2679964"/>
                </a:cubicBezTo>
                <a:lnTo>
                  <a:pt x="5785024" y="2687011"/>
                </a:lnTo>
                <a:lnTo>
                  <a:pt x="5785024" y="2677615"/>
                </a:lnTo>
                <a:lnTo>
                  <a:pt x="5782675" y="2677615"/>
                </a:lnTo>
                <a:lnTo>
                  <a:pt x="5780326" y="2689360"/>
                </a:lnTo>
                <a:lnTo>
                  <a:pt x="5787373" y="2696408"/>
                </a:lnTo>
                <a:cubicBezTo>
                  <a:pt x="5796768" y="2691709"/>
                  <a:pt x="5792070" y="2694058"/>
                  <a:pt x="5794419" y="2696408"/>
                </a:cubicBezTo>
                <a:cubicBezTo>
                  <a:pt x="5794419" y="2698756"/>
                  <a:pt x="5796768" y="2698756"/>
                  <a:pt x="5796768" y="2698756"/>
                </a:cubicBezTo>
                <a:cubicBezTo>
                  <a:pt x="5796768" y="2701105"/>
                  <a:pt x="5794419" y="2701105"/>
                  <a:pt x="5794419" y="2703454"/>
                </a:cubicBezTo>
                <a:lnTo>
                  <a:pt x="5796768" y="2708152"/>
                </a:lnTo>
                <a:lnTo>
                  <a:pt x="5787373" y="2708152"/>
                </a:lnTo>
                <a:lnTo>
                  <a:pt x="5789721" y="2712850"/>
                </a:lnTo>
                <a:lnTo>
                  <a:pt x="5780326" y="2724594"/>
                </a:lnTo>
                <a:lnTo>
                  <a:pt x="5782675" y="2724594"/>
                </a:lnTo>
                <a:lnTo>
                  <a:pt x="5782675" y="2733988"/>
                </a:lnTo>
                <a:lnTo>
                  <a:pt x="5766234" y="2731636"/>
                </a:lnTo>
                <a:lnTo>
                  <a:pt x="5766234" y="2741036"/>
                </a:lnTo>
                <a:lnTo>
                  <a:pt x="5759187" y="2741036"/>
                </a:lnTo>
                <a:lnTo>
                  <a:pt x="5761536" y="2729290"/>
                </a:lnTo>
                <a:lnTo>
                  <a:pt x="5768582" y="2722246"/>
                </a:lnTo>
                <a:lnTo>
                  <a:pt x="5752141" y="2715199"/>
                </a:lnTo>
                <a:lnTo>
                  <a:pt x="5747444" y="2715199"/>
                </a:lnTo>
                <a:lnTo>
                  <a:pt x="5745431" y="2714193"/>
                </a:lnTo>
                <a:lnTo>
                  <a:pt x="5747444" y="2708152"/>
                </a:lnTo>
                <a:lnTo>
                  <a:pt x="5745095" y="2703454"/>
                </a:lnTo>
                <a:lnTo>
                  <a:pt x="5728653" y="2710501"/>
                </a:lnTo>
                <a:lnTo>
                  <a:pt x="5719258" y="2708152"/>
                </a:lnTo>
                <a:lnTo>
                  <a:pt x="5723956" y="2715199"/>
                </a:lnTo>
                <a:lnTo>
                  <a:pt x="5731002" y="2710501"/>
                </a:lnTo>
                <a:lnTo>
                  <a:pt x="5738048" y="2717549"/>
                </a:lnTo>
                <a:lnTo>
                  <a:pt x="5738048" y="2710501"/>
                </a:lnTo>
                <a:lnTo>
                  <a:pt x="5745431" y="2714193"/>
                </a:lnTo>
                <a:lnTo>
                  <a:pt x="5745095" y="2715199"/>
                </a:lnTo>
                <a:lnTo>
                  <a:pt x="5747444" y="2715199"/>
                </a:lnTo>
                <a:cubicBezTo>
                  <a:pt x="5752141" y="2722246"/>
                  <a:pt x="5754490" y="2722246"/>
                  <a:pt x="5754490" y="2729290"/>
                </a:cubicBezTo>
                <a:lnTo>
                  <a:pt x="5754490" y="2731636"/>
                </a:lnTo>
                <a:cubicBezTo>
                  <a:pt x="5754490" y="2741036"/>
                  <a:pt x="5754490" y="2736337"/>
                  <a:pt x="5747444" y="2741036"/>
                </a:cubicBezTo>
                <a:lnTo>
                  <a:pt x="5752141" y="2729290"/>
                </a:lnTo>
                <a:lnTo>
                  <a:pt x="5742746" y="2722246"/>
                </a:lnTo>
                <a:cubicBezTo>
                  <a:pt x="5738048" y="2729290"/>
                  <a:pt x="5740397" y="2722246"/>
                  <a:pt x="5742746" y="2731636"/>
                </a:cubicBezTo>
                <a:cubicBezTo>
                  <a:pt x="5731002" y="2741036"/>
                  <a:pt x="5738048" y="2729290"/>
                  <a:pt x="5735700" y="2745734"/>
                </a:cubicBezTo>
                <a:lnTo>
                  <a:pt x="5742746" y="2745734"/>
                </a:lnTo>
                <a:lnTo>
                  <a:pt x="5742746" y="2750429"/>
                </a:lnTo>
                <a:lnTo>
                  <a:pt x="5739224" y="2750429"/>
                </a:lnTo>
                <a:lnTo>
                  <a:pt x="5735700" y="2748077"/>
                </a:lnTo>
                <a:lnTo>
                  <a:pt x="5726304" y="2750429"/>
                </a:lnTo>
                <a:lnTo>
                  <a:pt x="5719258" y="2745734"/>
                </a:lnTo>
                <a:lnTo>
                  <a:pt x="5714560" y="2748077"/>
                </a:lnTo>
                <a:lnTo>
                  <a:pt x="5721607" y="2757477"/>
                </a:lnTo>
                <a:lnTo>
                  <a:pt x="5716574" y="2763763"/>
                </a:lnTo>
                <a:lnTo>
                  <a:pt x="5717697" y="2764079"/>
                </a:lnTo>
                <a:lnTo>
                  <a:pt x="5718377" y="2763638"/>
                </a:lnTo>
                <a:cubicBezTo>
                  <a:pt x="5720433" y="2761586"/>
                  <a:pt x="5722781" y="2759827"/>
                  <a:pt x="5728653" y="2759827"/>
                </a:cubicBezTo>
                <a:cubicBezTo>
                  <a:pt x="5731002" y="2759827"/>
                  <a:pt x="5735700" y="2764512"/>
                  <a:pt x="5738048" y="2766863"/>
                </a:cubicBezTo>
                <a:lnTo>
                  <a:pt x="5742746" y="2764512"/>
                </a:lnTo>
                <a:lnTo>
                  <a:pt x="5738048" y="2757477"/>
                </a:lnTo>
                <a:lnTo>
                  <a:pt x="5738048" y="2750429"/>
                </a:lnTo>
                <a:lnTo>
                  <a:pt x="5739224" y="2750429"/>
                </a:lnTo>
                <a:lnTo>
                  <a:pt x="5742746" y="2752777"/>
                </a:lnTo>
                <a:lnTo>
                  <a:pt x="5742746" y="2750429"/>
                </a:lnTo>
                <a:lnTo>
                  <a:pt x="5745095" y="2750429"/>
                </a:lnTo>
                <a:lnTo>
                  <a:pt x="5749792" y="2757477"/>
                </a:lnTo>
                <a:lnTo>
                  <a:pt x="5747444" y="2764512"/>
                </a:lnTo>
                <a:lnTo>
                  <a:pt x="5751150" y="2775637"/>
                </a:lnTo>
                <a:lnTo>
                  <a:pt x="5754095" y="2776675"/>
                </a:lnTo>
                <a:lnTo>
                  <a:pt x="5757719" y="2773073"/>
                </a:lnTo>
                <a:cubicBezTo>
                  <a:pt x="5758160" y="2770097"/>
                  <a:pt x="5748031" y="2772742"/>
                  <a:pt x="5770931" y="2762172"/>
                </a:cubicBezTo>
                <a:lnTo>
                  <a:pt x="5777977" y="2766863"/>
                </a:lnTo>
                <a:lnTo>
                  <a:pt x="5785024" y="2759827"/>
                </a:lnTo>
                <a:lnTo>
                  <a:pt x="5780326" y="2752777"/>
                </a:lnTo>
                <a:cubicBezTo>
                  <a:pt x="5789721" y="2745734"/>
                  <a:pt x="5785024" y="2745734"/>
                  <a:pt x="5799117" y="2743385"/>
                </a:cubicBezTo>
                <a:lnTo>
                  <a:pt x="5799117" y="2752777"/>
                </a:lnTo>
                <a:cubicBezTo>
                  <a:pt x="5789721" y="2748077"/>
                  <a:pt x="5796768" y="2745734"/>
                  <a:pt x="5789721" y="2755126"/>
                </a:cubicBezTo>
                <a:lnTo>
                  <a:pt x="5799117" y="2755126"/>
                </a:lnTo>
                <a:lnTo>
                  <a:pt x="5813209" y="2771564"/>
                </a:lnTo>
                <a:lnTo>
                  <a:pt x="5799117" y="2771564"/>
                </a:lnTo>
                <a:lnTo>
                  <a:pt x="5799117" y="2774694"/>
                </a:lnTo>
                <a:lnTo>
                  <a:pt x="5787373" y="2778610"/>
                </a:lnTo>
                <a:lnTo>
                  <a:pt x="5792070" y="2785659"/>
                </a:lnTo>
                <a:lnTo>
                  <a:pt x="5789721" y="2785659"/>
                </a:lnTo>
                <a:lnTo>
                  <a:pt x="5785024" y="2785659"/>
                </a:lnTo>
                <a:lnTo>
                  <a:pt x="5785024" y="2788266"/>
                </a:lnTo>
                <a:lnTo>
                  <a:pt x="5787271" y="2789337"/>
                </a:lnTo>
                <a:lnTo>
                  <a:pt x="5789721" y="2785659"/>
                </a:lnTo>
                <a:lnTo>
                  <a:pt x="5796768" y="2788011"/>
                </a:lnTo>
                <a:lnTo>
                  <a:pt x="5799945" y="2778473"/>
                </a:lnTo>
                <a:lnTo>
                  <a:pt x="5813209" y="2776265"/>
                </a:lnTo>
                <a:lnTo>
                  <a:pt x="5808512" y="2783310"/>
                </a:lnTo>
                <a:cubicBezTo>
                  <a:pt x="5822604" y="2780963"/>
                  <a:pt x="5824953" y="2776265"/>
                  <a:pt x="5831999" y="2766863"/>
                </a:cubicBezTo>
                <a:lnTo>
                  <a:pt x="5841395" y="2769215"/>
                </a:lnTo>
                <a:cubicBezTo>
                  <a:pt x="5839046" y="2780963"/>
                  <a:pt x="5839046" y="2776265"/>
                  <a:pt x="5834348" y="2783310"/>
                </a:cubicBezTo>
                <a:lnTo>
                  <a:pt x="5824953" y="2780963"/>
                </a:lnTo>
                <a:lnTo>
                  <a:pt x="5824953" y="2788011"/>
                </a:lnTo>
                <a:lnTo>
                  <a:pt x="5815558" y="2788011"/>
                </a:lnTo>
                <a:lnTo>
                  <a:pt x="5820256" y="2795055"/>
                </a:lnTo>
                <a:lnTo>
                  <a:pt x="5813209" y="2797406"/>
                </a:lnTo>
                <a:lnTo>
                  <a:pt x="5820256" y="2799755"/>
                </a:lnTo>
                <a:lnTo>
                  <a:pt x="5819438" y="2804663"/>
                </a:lnTo>
                <a:lnTo>
                  <a:pt x="5832512" y="2810891"/>
                </a:lnTo>
                <a:lnTo>
                  <a:pt x="5836102" y="2813242"/>
                </a:lnTo>
                <a:lnTo>
                  <a:pt x="5827302" y="2804448"/>
                </a:lnTo>
                <a:lnTo>
                  <a:pt x="5829651" y="2795055"/>
                </a:lnTo>
                <a:lnTo>
                  <a:pt x="5839046" y="2790357"/>
                </a:lnTo>
                <a:cubicBezTo>
                  <a:pt x="5841395" y="2799755"/>
                  <a:pt x="5836697" y="2792709"/>
                  <a:pt x="5841395" y="2799755"/>
                </a:cubicBezTo>
                <a:cubicBezTo>
                  <a:pt x="5846092" y="2802108"/>
                  <a:pt x="5846092" y="2802108"/>
                  <a:pt x="5855487" y="2799755"/>
                </a:cubicBezTo>
                <a:lnTo>
                  <a:pt x="5853139" y="2811491"/>
                </a:lnTo>
                <a:lnTo>
                  <a:pt x="5857836" y="2818536"/>
                </a:lnTo>
                <a:lnTo>
                  <a:pt x="5855487" y="2823237"/>
                </a:lnTo>
                <a:lnTo>
                  <a:pt x="5846092" y="2816187"/>
                </a:lnTo>
                <a:lnTo>
                  <a:pt x="5844276" y="2818607"/>
                </a:lnTo>
                <a:lnTo>
                  <a:pt x="5855487" y="2825967"/>
                </a:lnTo>
                <a:lnTo>
                  <a:pt x="5855487" y="2825585"/>
                </a:lnTo>
                <a:lnTo>
                  <a:pt x="5864883" y="2827934"/>
                </a:lnTo>
                <a:lnTo>
                  <a:pt x="5872605" y="2837201"/>
                </a:lnTo>
                <a:lnTo>
                  <a:pt x="5877641" y="2840510"/>
                </a:lnTo>
                <a:lnTo>
                  <a:pt x="5881324" y="2834980"/>
                </a:lnTo>
                <a:lnTo>
                  <a:pt x="5883672" y="2844369"/>
                </a:lnTo>
                <a:lnTo>
                  <a:pt x="5883653" y="2844442"/>
                </a:lnTo>
                <a:lnTo>
                  <a:pt x="5883671" y="2844454"/>
                </a:lnTo>
                <a:lnTo>
                  <a:pt x="5883653" y="2844445"/>
                </a:lnTo>
                <a:lnTo>
                  <a:pt x="5881324" y="2853769"/>
                </a:lnTo>
                <a:cubicBezTo>
                  <a:pt x="5874278" y="2849069"/>
                  <a:pt x="5881324" y="2849069"/>
                  <a:pt x="5871929" y="2853769"/>
                </a:cubicBezTo>
                <a:lnTo>
                  <a:pt x="5883672" y="2867859"/>
                </a:lnTo>
                <a:lnTo>
                  <a:pt x="5890719" y="2865511"/>
                </a:lnTo>
                <a:lnTo>
                  <a:pt x="5895416" y="2874908"/>
                </a:lnTo>
                <a:lnTo>
                  <a:pt x="5895416" y="2877259"/>
                </a:lnTo>
                <a:lnTo>
                  <a:pt x="5878975" y="2884302"/>
                </a:lnTo>
                <a:lnTo>
                  <a:pt x="5883672" y="2891350"/>
                </a:lnTo>
                <a:lnTo>
                  <a:pt x="5890719" y="2884302"/>
                </a:lnTo>
                <a:lnTo>
                  <a:pt x="5897765" y="2889000"/>
                </a:lnTo>
                <a:lnTo>
                  <a:pt x="5904812" y="2893699"/>
                </a:lnTo>
                <a:lnTo>
                  <a:pt x="5897765" y="2896048"/>
                </a:lnTo>
                <a:lnTo>
                  <a:pt x="5895416" y="2900746"/>
                </a:lnTo>
                <a:lnTo>
                  <a:pt x="5909509" y="2898397"/>
                </a:lnTo>
                <a:lnTo>
                  <a:pt x="5914207" y="2891350"/>
                </a:lnTo>
                <a:cubicBezTo>
                  <a:pt x="5921253" y="2896048"/>
                  <a:pt x="5914207" y="2893699"/>
                  <a:pt x="5923602" y="2891350"/>
                </a:cubicBezTo>
                <a:lnTo>
                  <a:pt x="5923602" y="2898397"/>
                </a:lnTo>
                <a:lnTo>
                  <a:pt x="5930648" y="2898397"/>
                </a:lnTo>
                <a:lnTo>
                  <a:pt x="5928299" y="2905444"/>
                </a:lnTo>
                <a:lnTo>
                  <a:pt x="5930648" y="2912491"/>
                </a:lnTo>
                <a:cubicBezTo>
                  <a:pt x="5935346" y="2907794"/>
                  <a:pt x="5935346" y="2905444"/>
                  <a:pt x="5944741" y="2905444"/>
                </a:cubicBezTo>
                <a:lnTo>
                  <a:pt x="5942392" y="2912491"/>
                </a:lnTo>
                <a:lnTo>
                  <a:pt x="5951787" y="2919539"/>
                </a:lnTo>
                <a:lnTo>
                  <a:pt x="5948355" y="2926407"/>
                </a:lnTo>
                <a:lnTo>
                  <a:pt x="5935346" y="2924238"/>
                </a:lnTo>
                <a:lnTo>
                  <a:pt x="5935346" y="2931285"/>
                </a:lnTo>
                <a:lnTo>
                  <a:pt x="5942392" y="2931285"/>
                </a:lnTo>
                <a:cubicBezTo>
                  <a:pt x="5940043" y="2947729"/>
                  <a:pt x="5932997" y="2945379"/>
                  <a:pt x="5925951" y="2957126"/>
                </a:cubicBezTo>
                <a:cubicBezTo>
                  <a:pt x="5932997" y="2964172"/>
                  <a:pt x="5935346" y="2964172"/>
                  <a:pt x="5942392" y="2971219"/>
                </a:cubicBezTo>
                <a:lnTo>
                  <a:pt x="5940043" y="2957126"/>
                </a:lnTo>
                <a:lnTo>
                  <a:pt x="5947090" y="2957126"/>
                </a:lnTo>
                <a:lnTo>
                  <a:pt x="5940043" y="2952428"/>
                </a:lnTo>
                <a:cubicBezTo>
                  <a:pt x="5944741" y="2945379"/>
                  <a:pt x="5940043" y="2945379"/>
                  <a:pt x="5949438" y="2950079"/>
                </a:cubicBezTo>
                <a:lnTo>
                  <a:pt x="5956485" y="2940682"/>
                </a:lnTo>
                <a:lnTo>
                  <a:pt x="5947090" y="2940682"/>
                </a:lnTo>
                <a:cubicBezTo>
                  <a:pt x="5950613" y="2930110"/>
                  <a:pt x="5947530" y="2935396"/>
                  <a:pt x="5947750" y="2932753"/>
                </a:cubicBezTo>
                <a:lnTo>
                  <a:pt x="5948339" y="2930602"/>
                </a:lnTo>
                <a:lnTo>
                  <a:pt x="5954136" y="2938332"/>
                </a:lnTo>
                <a:lnTo>
                  <a:pt x="5963531" y="2938332"/>
                </a:lnTo>
                <a:cubicBezTo>
                  <a:pt x="5972926" y="2950079"/>
                  <a:pt x="5961182" y="2943031"/>
                  <a:pt x="5977624" y="2945379"/>
                </a:cubicBezTo>
                <a:lnTo>
                  <a:pt x="5977624" y="2935984"/>
                </a:lnTo>
                <a:lnTo>
                  <a:pt x="5987019" y="2938332"/>
                </a:lnTo>
                <a:lnTo>
                  <a:pt x="5989629" y="2934417"/>
                </a:lnTo>
                <a:lnTo>
                  <a:pt x="5991716" y="2940682"/>
                </a:lnTo>
                <a:lnTo>
                  <a:pt x="5989838" y="2946319"/>
                </a:lnTo>
                <a:lnTo>
                  <a:pt x="5982321" y="2950079"/>
                </a:lnTo>
                <a:cubicBezTo>
                  <a:pt x="5984670" y="2959475"/>
                  <a:pt x="5984670" y="2954777"/>
                  <a:pt x="5982321" y="2961825"/>
                </a:cubicBezTo>
                <a:lnTo>
                  <a:pt x="5984670" y="2964172"/>
                </a:lnTo>
                <a:lnTo>
                  <a:pt x="5977624" y="2968869"/>
                </a:lnTo>
                <a:lnTo>
                  <a:pt x="5977624" y="2961825"/>
                </a:lnTo>
                <a:cubicBezTo>
                  <a:pt x="5968229" y="2964172"/>
                  <a:pt x="5972926" y="2959475"/>
                  <a:pt x="5968229" y="2966520"/>
                </a:cubicBezTo>
                <a:lnTo>
                  <a:pt x="5984670" y="2973562"/>
                </a:lnTo>
                <a:lnTo>
                  <a:pt x="5984670" y="2975908"/>
                </a:lnTo>
                <a:lnTo>
                  <a:pt x="5988193" y="2975908"/>
                </a:lnTo>
                <a:lnTo>
                  <a:pt x="5991716" y="2978262"/>
                </a:lnTo>
                <a:lnTo>
                  <a:pt x="5987019" y="2987657"/>
                </a:lnTo>
                <a:cubicBezTo>
                  <a:pt x="5996414" y="2985306"/>
                  <a:pt x="5989368" y="2990010"/>
                  <a:pt x="5996414" y="2985306"/>
                </a:cubicBezTo>
                <a:cubicBezTo>
                  <a:pt x="5998763" y="2980609"/>
                  <a:pt x="5998763" y="2973562"/>
                  <a:pt x="5996414" y="2966520"/>
                </a:cubicBezTo>
                <a:cubicBezTo>
                  <a:pt x="5989368" y="2971219"/>
                  <a:pt x="5989368" y="2966520"/>
                  <a:pt x="5994065" y="2975908"/>
                </a:cubicBezTo>
                <a:lnTo>
                  <a:pt x="5988193" y="2975908"/>
                </a:lnTo>
                <a:lnTo>
                  <a:pt x="5984670" y="2973562"/>
                </a:lnTo>
                <a:lnTo>
                  <a:pt x="5984670" y="2966520"/>
                </a:lnTo>
                <a:cubicBezTo>
                  <a:pt x="5987019" y="2964173"/>
                  <a:pt x="5989368" y="2962998"/>
                  <a:pt x="5991129" y="2961237"/>
                </a:cubicBezTo>
                <a:lnTo>
                  <a:pt x="5992500" y="2957126"/>
                </a:lnTo>
                <a:lnTo>
                  <a:pt x="5998763" y="2957126"/>
                </a:lnTo>
                <a:lnTo>
                  <a:pt x="5994065" y="2945379"/>
                </a:lnTo>
                <a:lnTo>
                  <a:pt x="6001111" y="2940682"/>
                </a:lnTo>
                <a:cubicBezTo>
                  <a:pt x="6008158" y="2943031"/>
                  <a:pt x="6001111" y="2943031"/>
                  <a:pt x="6015204" y="2943031"/>
                </a:cubicBezTo>
                <a:cubicBezTo>
                  <a:pt x="6010507" y="2961825"/>
                  <a:pt x="6017553" y="2935984"/>
                  <a:pt x="6005809" y="2952428"/>
                </a:cubicBezTo>
                <a:cubicBezTo>
                  <a:pt x="6012855" y="2957126"/>
                  <a:pt x="6005809" y="2954777"/>
                  <a:pt x="6015204" y="2952428"/>
                </a:cubicBezTo>
                <a:lnTo>
                  <a:pt x="6015204" y="2961825"/>
                </a:lnTo>
                <a:cubicBezTo>
                  <a:pt x="6008158" y="2959475"/>
                  <a:pt x="6003460" y="2957126"/>
                  <a:pt x="5998763" y="2964172"/>
                </a:cubicBezTo>
                <a:lnTo>
                  <a:pt x="6012855" y="2968869"/>
                </a:lnTo>
                <a:lnTo>
                  <a:pt x="6001111" y="2978262"/>
                </a:lnTo>
                <a:lnTo>
                  <a:pt x="6008158" y="2987657"/>
                </a:lnTo>
                <a:cubicBezTo>
                  <a:pt x="6017553" y="2982957"/>
                  <a:pt x="6010507" y="2985306"/>
                  <a:pt x="6017553" y="2987657"/>
                </a:cubicBezTo>
                <a:lnTo>
                  <a:pt x="6015204" y="3001746"/>
                </a:lnTo>
                <a:lnTo>
                  <a:pt x="6024599" y="3001746"/>
                </a:lnTo>
                <a:lnTo>
                  <a:pt x="6024599" y="3004097"/>
                </a:lnTo>
                <a:lnTo>
                  <a:pt x="6015204" y="3004097"/>
                </a:lnTo>
                <a:cubicBezTo>
                  <a:pt x="6019902" y="3011144"/>
                  <a:pt x="6017553" y="3004097"/>
                  <a:pt x="6015204" y="3013494"/>
                </a:cubicBezTo>
                <a:lnTo>
                  <a:pt x="6022250" y="3013494"/>
                </a:lnTo>
                <a:lnTo>
                  <a:pt x="6022250" y="3020539"/>
                </a:lnTo>
                <a:lnTo>
                  <a:pt x="6015204" y="3025237"/>
                </a:lnTo>
                <a:lnTo>
                  <a:pt x="6001111" y="3008793"/>
                </a:lnTo>
                <a:lnTo>
                  <a:pt x="6005809" y="2999398"/>
                </a:lnTo>
                <a:cubicBezTo>
                  <a:pt x="5998763" y="2994701"/>
                  <a:pt x="5996414" y="2990010"/>
                  <a:pt x="5989368" y="2990010"/>
                </a:cubicBezTo>
                <a:cubicBezTo>
                  <a:pt x="5984670" y="2990010"/>
                  <a:pt x="5982321" y="2997047"/>
                  <a:pt x="5979973" y="2999398"/>
                </a:cubicBezTo>
                <a:cubicBezTo>
                  <a:pt x="5968229" y="2990010"/>
                  <a:pt x="5975275" y="3001746"/>
                  <a:pt x="5972926" y="2985306"/>
                </a:cubicBezTo>
                <a:lnTo>
                  <a:pt x="5963531" y="2985306"/>
                </a:lnTo>
                <a:lnTo>
                  <a:pt x="5968229" y="2999398"/>
                </a:lnTo>
                <a:lnTo>
                  <a:pt x="5977624" y="3006446"/>
                </a:lnTo>
                <a:lnTo>
                  <a:pt x="5982321" y="2999398"/>
                </a:lnTo>
                <a:cubicBezTo>
                  <a:pt x="5989368" y="3001746"/>
                  <a:pt x="5979973" y="3001746"/>
                  <a:pt x="5991716" y="3001746"/>
                </a:cubicBezTo>
                <a:lnTo>
                  <a:pt x="6001111" y="3001746"/>
                </a:lnTo>
                <a:cubicBezTo>
                  <a:pt x="5998763" y="3008793"/>
                  <a:pt x="5996414" y="3001746"/>
                  <a:pt x="6001111" y="3011144"/>
                </a:cubicBezTo>
                <a:lnTo>
                  <a:pt x="5994065" y="3018191"/>
                </a:lnTo>
                <a:cubicBezTo>
                  <a:pt x="6005809" y="3025237"/>
                  <a:pt x="6012855" y="3020539"/>
                  <a:pt x="6008158" y="3032284"/>
                </a:cubicBezTo>
                <a:lnTo>
                  <a:pt x="6026948" y="3036982"/>
                </a:lnTo>
                <a:cubicBezTo>
                  <a:pt x="6024599" y="3029934"/>
                  <a:pt x="6022250" y="3036982"/>
                  <a:pt x="6026948" y="3027587"/>
                </a:cubicBezTo>
                <a:lnTo>
                  <a:pt x="6024599" y="3025237"/>
                </a:lnTo>
                <a:lnTo>
                  <a:pt x="6031646" y="3025237"/>
                </a:lnTo>
                <a:cubicBezTo>
                  <a:pt x="6036343" y="3018191"/>
                  <a:pt x="6031646" y="3020539"/>
                  <a:pt x="6041041" y="3018191"/>
                </a:cubicBezTo>
                <a:lnTo>
                  <a:pt x="6036343" y="3025237"/>
                </a:lnTo>
                <a:cubicBezTo>
                  <a:pt x="6052785" y="3027587"/>
                  <a:pt x="6043390" y="3022888"/>
                  <a:pt x="6050436" y="3032284"/>
                </a:cubicBezTo>
                <a:lnTo>
                  <a:pt x="6043390" y="3034632"/>
                </a:lnTo>
                <a:lnTo>
                  <a:pt x="6045738" y="3039329"/>
                </a:lnTo>
                <a:lnTo>
                  <a:pt x="6033994" y="3048727"/>
                </a:lnTo>
                <a:cubicBezTo>
                  <a:pt x="6029297" y="3044030"/>
                  <a:pt x="6029297" y="3039329"/>
                  <a:pt x="6019902" y="3039329"/>
                </a:cubicBezTo>
                <a:cubicBezTo>
                  <a:pt x="6012855" y="3039329"/>
                  <a:pt x="6003460" y="3055774"/>
                  <a:pt x="6012855" y="3055774"/>
                </a:cubicBezTo>
                <a:lnTo>
                  <a:pt x="6003460" y="3069867"/>
                </a:lnTo>
                <a:lnTo>
                  <a:pt x="6012855" y="3069867"/>
                </a:lnTo>
                <a:cubicBezTo>
                  <a:pt x="6010507" y="3072214"/>
                  <a:pt x="6010507" y="3076910"/>
                  <a:pt x="6005809" y="3076910"/>
                </a:cubicBezTo>
                <a:cubicBezTo>
                  <a:pt x="5994065" y="3076910"/>
                  <a:pt x="5996414" y="3072214"/>
                  <a:pt x="5998763" y="3067516"/>
                </a:cubicBezTo>
                <a:lnTo>
                  <a:pt x="5996414" y="3062824"/>
                </a:lnTo>
                <a:lnTo>
                  <a:pt x="6003460" y="3055774"/>
                </a:lnTo>
                <a:cubicBezTo>
                  <a:pt x="5998763" y="3053423"/>
                  <a:pt x="5996414" y="3053423"/>
                  <a:pt x="5996414" y="3053423"/>
                </a:cubicBezTo>
                <a:cubicBezTo>
                  <a:pt x="5996414" y="3053423"/>
                  <a:pt x="5994065" y="3051076"/>
                  <a:pt x="5991716" y="3048727"/>
                </a:cubicBezTo>
                <a:lnTo>
                  <a:pt x="5994065" y="3062824"/>
                </a:lnTo>
                <a:lnTo>
                  <a:pt x="5987019" y="3065167"/>
                </a:lnTo>
                <a:lnTo>
                  <a:pt x="5991716" y="3072214"/>
                </a:lnTo>
                <a:lnTo>
                  <a:pt x="5982321" y="3072214"/>
                </a:lnTo>
                <a:lnTo>
                  <a:pt x="5987019" y="3079258"/>
                </a:lnTo>
                <a:lnTo>
                  <a:pt x="5977624" y="3081608"/>
                </a:lnTo>
                <a:lnTo>
                  <a:pt x="5984670" y="3083956"/>
                </a:lnTo>
                <a:cubicBezTo>
                  <a:pt x="5982321" y="3095704"/>
                  <a:pt x="5979973" y="3091006"/>
                  <a:pt x="5984670" y="3098053"/>
                </a:cubicBezTo>
                <a:lnTo>
                  <a:pt x="5977624" y="3107447"/>
                </a:lnTo>
                <a:cubicBezTo>
                  <a:pt x="5982321" y="3116843"/>
                  <a:pt x="5984670" y="3112143"/>
                  <a:pt x="5975275" y="3114494"/>
                </a:cubicBezTo>
                <a:cubicBezTo>
                  <a:pt x="5970578" y="3102750"/>
                  <a:pt x="5970578" y="3102750"/>
                  <a:pt x="5961182" y="3098053"/>
                </a:cubicBezTo>
                <a:lnTo>
                  <a:pt x="5960660" y="3097269"/>
                </a:lnTo>
                <a:lnTo>
                  <a:pt x="5961182" y="3095704"/>
                </a:lnTo>
                <a:lnTo>
                  <a:pt x="5959616" y="3095704"/>
                </a:lnTo>
                <a:lnTo>
                  <a:pt x="5956485" y="3091006"/>
                </a:lnTo>
                <a:lnTo>
                  <a:pt x="5949438" y="3095704"/>
                </a:lnTo>
                <a:lnTo>
                  <a:pt x="5959616" y="3095704"/>
                </a:lnTo>
                <a:lnTo>
                  <a:pt x="5960660" y="3097269"/>
                </a:lnTo>
                <a:lnTo>
                  <a:pt x="5958834" y="3102750"/>
                </a:lnTo>
                <a:lnTo>
                  <a:pt x="5972926" y="3114494"/>
                </a:lnTo>
                <a:lnTo>
                  <a:pt x="5967290" y="3122005"/>
                </a:lnTo>
                <a:lnTo>
                  <a:pt x="5968229" y="3119192"/>
                </a:lnTo>
                <a:cubicBezTo>
                  <a:pt x="5965880" y="3121535"/>
                  <a:pt x="5963531" y="3123887"/>
                  <a:pt x="5963531" y="3123887"/>
                </a:cubicBezTo>
                <a:cubicBezTo>
                  <a:pt x="5963531" y="3123887"/>
                  <a:pt x="5961182" y="3123887"/>
                  <a:pt x="5956485" y="3126238"/>
                </a:cubicBezTo>
                <a:lnTo>
                  <a:pt x="5963531" y="3133284"/>
                </a:lnTo>
                <a:lnTo>
                  <a:pt x="5966761" y="3123594"/>
                </a:lnTo>
                <a:lnTo>
                  <a:pt x="5979973" y="3119192"/>
                </a:lnTo>
                <a:cubicBezTo>
                  <a:pt x="5982321" y="3126238"/>
                  <a:pt x="5982321" y="3128585"/>
                  <a:pt x="5979973" y="3135632"/>
                </a:cubicBezTo>
                <a:lnTo>
                  <a:pt x="5970578" y="3128585"/>
                </a:lnTo>
                <a:cubicBezTo>
                  <a:pt x="5972926" y="3147378"/>
                  <a:pt x="5975275" y="3133284"/>
                  <a:pt x="5977624" y="3152079"/>
                </a:cubicBezTo>
                <a:lnTo>
                  <a:pt x="5984670" y="3147378"/>
                </a:lnTo>
                <a:lnTo>
                  <a:pt x="5984670" y="3156772"/>
                </a:lnTo>
                <a:cubicBezTo>
                  <a:pt x="5975275" y="3154423"/>
                  <a:pt x="5979973" y="3154423"/>
                  <a:pt x="5970578" y="3156772"/>
                </a:cubicBezTo>
                <a:lnTo>
                  <a:pt x="5970578" y="3142680"/>
                </a:lnTo>
                <a:cubicBezTo>
                  <a:pt x="5961182" y="3152079"/>
                  <a:pt x="5965880" y="3142680"/>
                  <a:pt x="5968229" y="3159123"/>
                </a:cubicBezTo>
                <a:lnTo>
                  <a:pt x="5975275" y="3166171"/>
                </a:lnTo>
                <a:lnTo>
                  <a:pt x="5984670" y="3166171"/>
                </a:lnTo>
                <a:lnTo>
                  <a:pt x="5984670" y="3175561"/>
                </a:lnTo>
                <a:lnTo>
                  <a:pt x="5994065" y="3175561"/>
                </a:lnTo>
                <a:lnTo>
                  <a:pt x="6012855" y="3192007"/>
                </a:lnTo>
                <a:lnTo>
                  <a:pt x="6001111" y="3201403"/>
                </a:lnTo>
                <a:lnTo>
                  <a:pt x="6008158" y="3210801"/>
                </a:lnTo>
                <a:lnTo>
                  <a:pt x="5996414" y="3224895"/>
                </a:lnTo>
                <a:lnTo>
                  <a:pt x="5998112" y="3224794"/>
                </a:lnTo>
                <a:lnTo>
                  <a:pt x="5993804" y="3228028"/>
                </a:lnTo>
                <a:lnTo>
                  <a:pt x="5989368" y="3227241"/>
                </a:lnTo>
                <a:lnTo>
                  <a:pt x="5989368" y="3220192"/>
                </a:lnTo>
                <a:lnTo>
                  <a:pt x="5984670" y="3222545"/>
                </a:lnTo>
                <a:lnTo>
                  <a:pt x="5979973" y="3224895"/>
                </a:lnTo>
                <a:lnTo>
                  <a:pt x="5982556" y="3227478"/>
                </a:lnTo>
                <a:lnTo>
                  <a:pt x="5984670" y="3231943"/>
                </a:lnTo>
                <a:lnTo>
                  <a:pt x="5975275" y="3231943"/>
                </a:lnTo>
                <a:cubicBezTo>
                  <a:pt x="5969403" y="3231943"/>
                  <a:pt x="5968816" y="3231356"/>
                  <a:pt x="5968816" y="3231356"/>
                </a:cubicBezTo>
                <a:lnTo>
                  <a:pt x="5968230" y="3231943"/>
                </a:lnTo>
                <a:lnTo>
                  <a:pt x="5974395" y="3221076"/>
                </a:lnTo>
                <a:cubicBezTo>
                  <a:pt x="5973514" y="3217848"/>
                  <a:pt x="5969403" y="3215498"/>
                  <a:pt x="5961182" y="3215498"/>
                </a:cubicBezTo>
                <a:lnTo>
                  <a:pt x="5968229" y="3222545"/>
                </a:lnTo>
                <a:cubicBezTo>
                  <a:pt x="5967055" y="3226073"/>
                  <a:pt x="5965880" y="3226073"/>
                  <a:pt x="5965587" y="3226361"/>
                </a:cubicBezTo>
                <a:lnTo>
                  <a:pt x="5968229" y="3231943"/>
                </a:lnTo>
                <a:lnTo>
                  <a:pt x="5965880" y="3234291"/>
                </a:lnTo>
                <a:lnTo>
                  <a:pt x="5954136" y="3224895"/>
                </a:lnTo>
                <a:cubicBezTo>
                  <a:pt x="5949438" y="3238992"/>
                  <a:pt x="5956485" y="3224895"/>
                  <a:pt x="5951787" y="3238992"/>
                </a:cubicBezTo>
                <a:lnTo>
                  <a:pt x="5961182" y="3238992"/>
                </a:lnTo>
                <a:cubicBezTo>
                  <a:pt x="5954136" y="3253091"/>
                  <a:pt x="5968229" y="3243691"/>
                  <a:pt x="5954136" y="3253091"/>
                </a:cubicBezTo>
                <a:cubicBezTo>
                  <a:pt x="5949438" y="3246041"/>
                  <a:pt x="5951787" y="3253091"/>
                  <a:pt x="5954136" y="3243691"/>
                </a:cubicBezTo>
                <a:lnTo>
                  <a:pt x="5944741" y="3243691"/>
                </a:lnTo>
                <a:cubicBezTo>
                  <a:pt x="5949438" y="3234291"/>
                  <a:pt x="5951787" y="3241337"/>
                  <a:pt x="5942392" y="3234291"/>
                </a:cubicBezTo>
                <a:lnTo>
                  <a:pt x="5942392" y="3243691"/>
                </a:lnTo>
                <a:lnTo>
                  <a:pt x="5932997" y="3236643"/>
                </a:lnTo>
                <a:cubicBezTo>
                  <a:pt x="5928299" y="3246041"/>
                  <a:pt x="5928299" y="3248386"/>
                  <a:pt x="5916556" y="3250742"/>
                </a:cubicBezTo>
                <a:lnTo>
                  <a:pt x="5916556" y="3247346"/>
                </a:lnTo>
                <a:lnTo>
                  <a:pt x="5912316" y="3258198"/>
                </a:lnTo>
                <a:lnTo>
                  <a:pt x="5912335" y="3258195"/>
                </a:lnTo>
                <a:cubicBezTo>
                  <a:pt x="5918611" y="3256326"/>
                  <a:pt x="5915969" y="3255436"/>
                  <a:pt x="5921253" y="3262492"/>
                </a:cubicBezTo>
                <a:lnTo>
                  <a:pt x="5911858" y="3262492"/>
                </a:lnTo>
                <a:cubicBezTo>
                  <a:pt x="5918904" y="3274248"/>
                  <a:pt x="5909509" y="3260142"/>
                  <a:pt x="5914207" y="3274248"/>
                </a:cubicBezTo>
                <a:lnTo>
                  <a:pt x="5911858" y="3281270"/>
                </a:lnTo>
                <a:lnTo>
                  <a:pt x="5904693" y="3277705"/>
                </a:lnTo>
                <a:lnTo>
                  <a:pt x="5903636" y="3280393"/>
                </a:lnTo>
                <a:lnTo>
                  <a:pt x="5903092" y="3292763"/>
                </a:lnTo>
                <a:lnTo>
                  <a:pt x="5904812" y="3295314"/>
                </a:lnTo>
                <a:lnTo>
                  <a:pt x="5902894" y="3297235"/>
                </a:lnTo>
                <a:lnTo>
                  <a:pt x="5902462" y="3307040"/>
                </a:lnTo>
                <a:cubicBezTo>
                  <a:pt x="5902462" y="3307040"/>
                  <a:pt x="5902462" y="3307040"/>
                  <a:pt x="5900114" y="3307040"/>
                </a:cubicBezTo>
                <a:cubicBezTo>
                  <a:pt x="5902462" y="3309405"/>
                  <a:pt x="5902462" y="3309405"/>
                  <a:pt x="5904811" y="3311755"/>
                </a:cubicBezTo>
                <a:cubicBezTo>
                  <a:pt x="5909509" y="3328206"/>
                  <a:pt x="5914206" y="3344658"/>
                  <a:pt x="5907160" y="3377503"/>
                </a:cubicBezTo>
                <a:cubicBezTo>
                  <a:pt x="5914206" y="3370456"/>
                  <a:pt x="5914206" y="3344658"/>
                  <a:pt x="5925950" y="3351666"/>
                </a:cubicBezTo>
                <a:cubicBezTo>
                  <a:pt x="5932997" y="3363410"/>
                  <a:pt x="5930648" y="3391595"/>
                  <a:pt x="5935346" y="3403339"/>
                </a:cubicBezTo>
                <a:cubicBezTo>
                  <a:pt x="5923602" y="3396293"/>
                  <a:pt x="5911858" y="3386898"/>
                  <a:pt x="5900114" y="3379851"/>
                </a:cubicBezTo>
                <a:cubicBezTo>
                  <a:pt x="5893067" y="3375154"/>
                  <a:pt x="5886021" y="3370456"/>
                  <a:pt x="5876626" y="3365759"/>
                </a:cubicBezTo>
                <a:cubicBezTo>
                  <a:pt x="5881324" y="3349336"/>
                  <a:pt x="5888370" y="3330562"/>
                  <a:pt x="5888370" y="3309405"/>
                </a:cubicBezTo>
                <a:lnTo>
                  <a:pt x="5889161" y="3300774"/>
                </a:lnTo>
                <a:lnTo>
                  <a:pt x="5886021" y="3302342"/>
                </a:lnTo>
                <a:lnTo>
                  <a:pt x="5871929" y="3295314"/>
                </a:lnTo>
                <a:lnTo>
                  <a:pt x="5874278" y="3288292"/>
                </a:lnTo>
                <a:lnTo>
                  <a:pt x="5860547" y="3281463"/>
                </a:lnTo>
                <a:lnTo>
                  <a:pt x="5860633" y="3280941"/>
                </a:lnTo>
                <a:lnTo>
                  <a:pt x="5869580" y="3274248"/>
                </a:lnTo>
                <a:lnTo>
                  <a:pt x="5869580" y="3281270"/>
                </a:lnTo>
                <a:lnTo>
                  <a:pt x="5876626" y="3281270"/>
                </a:lnTo>
                <a:lnTo>
                  <a:pt x="5871929" y="3271915"/>
                </a:lnTo>
                <a:lnTo>
                  <a:pt x="5865950" y="3270405"/>
                </a:lnTo>
                <a:lnTo>
                  <a:pt x="5864883" y="3267196"/>
                </a:lnTo>
                <a:lnTo>
                  <a:pt x="5859850" y="3270566"/>
                </a:lnTo>
                <a:lnTo>
                  <a:pt x="5857836" y="3269551"/>
                </a:lnTo>
                <a:lnTo>
                  <a:pt x="5857836" y="3264856"/>
                </a:lnTo>
                <a:lnTo>
                  <a:pt x="5848441" y="3264856"/>
                </a:lnTo>
                <a:lnTo>
                  <a:pt x="5848441" y="3257792"/>
                </a:lnTo>
                <a:lnTo>
                  <a:pt x="5841395" y="3262492"/>
                </a:lnTo>
                <a:lnTo>
                  <a:pt x="5834348" y="3255438"/>
                </a:lnTo>
                <a:cubicBezTo>
                  <a:pt x="5834348" y="3267196"/>
                  <a:pt x="5834348" y="3269551"/>
                  <a:pt x="5843743" y="3264856"/>
                </a:cubicBezTo>
                <a:lnTo>
                  <a:pt x="5846092" y="3274248"/>
                </a:lnTo>
                <a:cubicBezTo>
                  <a:pt x="5843743" y="3283629"/>
                  <a:pt x="5841395" y="3276607"/>
                  <a:pt x="5850790" y="3283629"/>
                </a:cubicBezTo>
                <a:cubicBezTo>
                  <a:pt x="5853139" y="3267196"/>
                  <a:pt x="5848441" y="3276607"/>
                  <a:pt x="5857836" y="3269551"/>
                </a:cubicBezTo>
                <a:lnTo>
                  <a:pt x="5857836" y="3271915"/>
                </a:lnTo>
                <a:lnTo>
                  <a:pt x="5859850" y="3270566"/>
                </a:lnTo>
                <a:lnTo>
                  <a:pt x="5862173" y="3271722"/>
                </a:lnTo>
                <a:lnTo>
                  <a:pt x="5860633" y="3280941"/>
                </a:lnTo>
                <a:lnTo>
                  <a:pt x="5860185" y="3281270"/>
                </a:lnTo>
                <a:lnTo>
                  <a:pt x="5860547" y="3281463"/>
                </a:lnTo>
                <a:lnTo>
                  <a:pt x="5860185" y="3283629"/>
                </a:lnTo>
                <a:lnTo>
                  <a:pt x="5853139" y="3283629"/>
                </a:lnTo>
                <a:lnTo>
                  <a:pt x="5850007" y="3288292"/>
                </a:lnTo>
                <a:lnTo>
                  <a:pt x="5846092" y="3288292"/>
                </a:lnTo>
                <a:lnTo>
                  <a:pt x="5846603" y="3290350"/>
                </a:lnTo>
                <a:lnTo>
                  <a:pt x="5834348" y="3288292"/>
                </a:lnTo>
                <a:cubicBezTo>
                  <a:pt x="5839046" y="3281270"/>
                  <a:pt x="5836697" y="3288292"/>
                  <a:pt x="5834348" y="3278939"/>
                </a:cubicBezTo>
                <a:cubicBezTo>
                  <a:pt x="5820256" y="3288292"/>
                  <a:pt x="5834348" y="3276607"/>
                  <a:pt x="5827302" y="3288292"/>
                </a:cubicBezTo>
                <a:cubicBezTo>
                  <a:pt x="5824953" y="3288292"/>
                  <a:pt x="5824953" y="3290651"/>
                  <a:pt x="5824953" y="3290651"/>
                </a:cubicBezTo>
                <a:cubicBezTo>
                  <a:pt x="5824953" y="3290651"/>
                  <a:pt x="5824953" y="3288292"/>
                  <a:pt x="5822604" y="3288292"/>
                </a:cubicBezTo>
                <a:lnTo>
                  <a:pt x="5815558" y="3292983"/>
                </a:lnTo>
                <a:lnTo>
                  <a:pt x="5810861" y="3285961"/>
                </a:lnTo>
                <a:lnTo>
                  <a:pt x="5822604" y="3276607"/>
                </a:lnTo>
                <a:lnTo>
                  <a:pt x="5811853" y="3272300"/>
                </a:lnTo>
                <a:lnTo>
                  <a:pt x="5811959" y="3271915"/>
                </a:lnTo>
                <a:lnTo>
                  <a:pt x="5817907" y="3271915"/>
                </a:lnTo>
                <a:lnTo>
                  <a:pt x="5820256" y="3262492"/>
                </a:lnTo>
                <a:lnTo>
                  <a:pt x="5815558" y="3260142"/>
                </a:lnTo>
                <a:cubicBezTo>
                  <a:pt x="5812035" y="3262494"/>
                  <a:pt x="5810274" y="3262494"/>
                  <a:pt x="5809980" y="3263084"/>
                </a:cubicBezTo>
                <a:lnTo>
                  <a:pt x="5812427" y="3267986"/>
                </a:lnTo>
                <a:lnTo>
                  <a:pt x="5807729" y="3272685"/>
                </a:lnTo>
                <a:lnTo>
                  <a:pt x="5801465" y="3274248"/>
                </a:lnTo>
                <a:lnTo>
                  <a:pt x="5794419" y="3271915"/>
                </a:lnTo>
                <a:lnTo>
                  <a:pt x="5787373" y="3271915"/>
                </a:lnTo>
                <a:cubicBezTo>
                  <a:pt x="5775629" y="3271915"/>
                  <a:pt x="5782675" y="3269551"/>
                  <a:pt x="5780326" y="3274248"/>
                </a:cubicBezTo>
                <a:lnTo>
                  <a:pt x="5773280" y="3269551"/>
                </a:lnTo>
                <a:lnTo>
                  <a:pt x="5771140" y="3273837"/>
                </a:lnTo>
                <a:lnTo>
                  <a:pt x="5770931" y="3271915"/>
                </a:lnTo>
                <a:lnTo>
                  <a:pt x="5769650" y="3272327"/>
                </a:lnTo>
                <a:lnTo>
                  <a:pt x="5766234" y="3267196"/>
                </a:lnTo>
                <a:lnTo>
                  <a:pt x="5766234" y="3260142"/>
                </a:lnTo>
                <a:lnTo>
                  <a:pt x="5759187" y="3267196"/>
                </a:lnTo>
                <a:lnTo>
                  <a:pt x="5762711" y="3269552"/>
                </a:lnTo>
                <a:lnTo>
                  <a:pt x="5759187" y="3271915"/>
                </a:lnTo>
                <a:lnTo>
                  <a:pt x="5763885" y="3274248"/>
                </a:lnTo>
                <a:lnTo>
                  <a:pt x="5769650" y="3272327"/>
                </a:lnTo>
                <a:lnTo>
                  <a:pt x="5770931" y="3274248"/>
                </a:lnTo>
                <a:lnTo>
                  <a:pt x="5771140" y="3273837"/>
                </a:lnTo>
                <a:lnTo>
                  <a:pt x="5772106" y="3282751"/>
                </a:lnTo>
                <a:cubicBezTo>
                  <a:pt x="5773280" y="3284205"/>
                  <a:pt x="5775629" y="3283629"/>
                  <a:pt x="5780326" y="3281270"/>
                </a:cubicBezTo>
                <a:lnTo>
                  <a:pt x="5789721" y="3285961"/>
                </a:lnTo>
                <a:lnTo>
                  <a:pt x="5782675" y="3276607"/>
                </a:lnTo>
                <a:lnTo>
                  <a:pt x="5787373" y="3274248"/>
                </a:lnTo>
                <a:lnTo>
                  <a:pt x="5794419" y="3278939"/>
                </a:lnTo>
                <a:cubicBezTo>
                  <a:pt x="5806163" y="3274248"/>
                  <a:pt x="5792070" y="3281270"/>
                  <a:pt x="5806163" y="3276607"/>
                </a:cubicBezTo>
                <a:lnTo>
                  <a:pt x="5808512" y="3283629"/>
                </a:lnTo>
                <a:lnTo>
                  <a:pt x="5801465" y="3283629"/>
                </a:lnTo>
                <a:cubicBezTo>
                  <a:pt x="5796768" y="3290651"/>
                  <a:pt x="5801465" y="3288292"/>
                  <a:pt x="5792070" y="3290651"/>
                </a:cubicBezTo>
                <a:lnTo>
                  <a:pt x="5792070" y="3292983"/>
                </a:lnTo>
                <a:lnTo>
                  <a:pt x="5792070" y="3300006"/>
                </a:lnTo>
                <a:lnTo>
                  <a:pt x="5782675" y="3292983"/>
                </a:lnTo>
                <a:lnTo>
                  <a:pt x="5777977" y="3295314"/>
                </a:lnTo>
                <a:lnTo>
                  <a:pt x="5785024" y="3302342"/>
                </a:lnTo>
                <a:lnTo>
                  <a:pt x="5782675" y="3307040"/>
                </a:lnTo>
                <a:lnTo>
                  <a:pt x="5787373" y="3314106"/>
                </a:lnTo>
                <a:lnTo>
                  <a:pt x="5785024" y="3318807"/>
                </a:lnTo>
                <a:lnTo>
                  <a:pt x="5777977" y="3311755"/>
                </a:lnTo>
                <a:lnTo>
                  <a:pt x="5770931" y="3316463"/>
                </a:lnTo>
                <a:cubicBezTo>
                  <a:pt x="5763885" y="3307040"/>
                  <a:pt x="5763885" y="3314106"/>
                  <a:pt x="5763885" y="3300006"/>
                </a:cubicBezTo>
                <a:lnTo>
                  <a:pt x="5770931" y="3304700"/>
                </a:lnTo>
                <a:cubicBezTo>
                  <a:pt x="5770931" y="3297674"/>
                  <a:pt x="5768582" y="3288292"/>
                  <a:pt x="5761536" y="3288292"/>
                </a:cubicBezTo>
                <a:cubicBezTo>
                  <a:pt x="5749792" y="3288292"/>
                  <a:pt x="5761536" y="3288292"/>
                  <a:pt x="5752141" y="3292983"/>
                </a:cubicBezTo>
                <a:lnTo>
                  <a:pt x="5761536" y="3304700"/>
                </a:lnTo>
                <a:lnTo>
                  <a:pt x="5759187" y="3309406"/>
                </a:lnTo>
                <a:cubicBezTo>
                  <a:pt x="5754490" y="3304700"/>
                  <a:pt x="5749792" y="3304700"/>
                  <a:pt x="5749792" y="3295314"/>
                </a:cubicBezTo>
                <a:lnTo>
                  <a:pt x="5749792" y="3288292"/>
                </a:lnTo>
                <a:lnTo>
                  <a:pt x="5754490" y="3281270"/>
                </a:lnTo>
                <a:lnTo>
                  <a:pt x="5754490" y="3267196"/>
                </a:lnTo>
                <a:lnTo>
                  <a:pt x="5751903" y="3268974"/>
                </a:lnTo>
                <a:lnTo>
                  <a:pt x="5754490" y="3262492"/>
                </a:lnTo>
                <a:lnTo>
                  <a:pt x="5742746" y="3264856"/>
                </a:lnTo>
                <a:cubicBezTo>
                  <a:pt x="5747444" y="3274248"/>
                  <a:pt x="5738048" y="3264856"/>
                  <a:pt x="5749792" y="3274248"/>
                </a:cubicBezTo>
                <a:lnTo>
                  <a:pt x="5750196" y="3273253"/>
                </a:lnTo>
                <a:lnTo>
                  <a:pt x="5752141" y="3276607"/>
                </a:lnTo>
                <a:lnTo>
                  <a:pt x="5745095" y="3281270"/>
                </a:lnTo>
                <a:cubicBezTo>
                  <a:pt x="5749792" y="3290651"/>
                  <a:pt x="5749792" y="3283629"/>
                  <a:pt x="5745095" y="3292983"/>
                </a:cubicBezTo>
                <a:lnTo>
                  <a:pt x="5735700" y="3281270"/>
                </a:lnTo>
                <a:lnTo>
                  <a:pt x="5742746" y="3281270"/>
                </a:lnTo>
                <a:lnTo>
                  <a:pt x="5740397" y="3271915"/>
                </a:lnTo>
                <a:lnTo>
                  <a:pt x="5733351" y="3276607"/>
                </a:lnTo>
                <a:lnTo>
                  <a:pt x="5735700" y="3283629"/>
                </a:lnTo>
                <a:lnTo>
                  <a:pt x="5728653" y="3285961"/>
                </a:lnTo>
                <a:cubicBezTo>
                  <a:pt x="5731002" y="3295314"/>
                  <a:pt x="5731002" y="3288292"/>
                  <a:pt x="5728653" y="3295314"/>
                </a:cubicBezTo>
                <a:lnTo>
                  <a:pt x="5735700" y="3302342"/>
                </a:lnTo>
                <a:cubicBezTo>
                  <a:pt x="5728653" y="3304700"/>
                  <a:pt x="5726304" y="3304700"/>
                  <a:pt x="5719258" y="3302342"/>
                </a:cubicBezTo>
                <a:lnTo>
                  <a:pt x="5726304" y="3292983"/>
                </a:lnTo>
                <a:lnTo>
                  <a:pt x="5716909" y="3292983"/>
                </a:lnTo>
                <a:lnTo>
                  <a:pt x="5723956" y="3283629"/>
                </a:lnTo>
                <a:cubicBezTo>
                  <a:pt x="5721607" y="3281270"/>
                  <a:pt x="5721607" y="3281270"/>
                  <a:pt x="5714560" y="3281270"/>
                </a:cubicBezTo>
                <a:lnTo>
                  <a:pt x="5712212" y="3281270"/>
                </a:lnTo>
                <a:cubicBezTo>
                  <a:pt x="5705166" y="3281270"/>
                  <a:pt x="5704579" y="3280695"/>
                  <a:pt x="5705166" y="3280695"/>
                </a:cubicBezTo>
                <a:lnTo>
                  <a:pt x="5705166" y="3283602"/>
                </a:lnTo>
                <a:lnTo>
                  <a:pt x="5705166" y="3283629"/>
                </a:lnTo>
                <a:lnTo>
                  <a:pt x="5695770" y="3281270"/>
                </a:lnTo>
                <a:lnTo>
                  <a:pt x="5695770" y="3288292"/>
                </a:lnTo>
                <a:lnTo>
                  <a:pt x="5688724" y="3288292"/>
                </a:lnTo>
                <a:cubicBezTo>
                  <a:pt x="5691073" y="3278939"/>
                  <a:pt x="5688724" y="3283629"/>
                  <a:pt x="5695770" y="3278939"/>
                </a:cubicBezTo>
                <a:lnTo>
                  <a:pt x="5691073" y="3271915"/>
                </a:lnTo>
                <a:lnTo>
                  <a:pt x="5700468" y="3271915"/>
                </a:lnTo>
                <a:cubicBezTo>
                  <a:pt x="5714560" y="3271915"/>
                  <a:pt x="5702817" y="3269551"/>
                  <a:pt x="5712212" y="3274248"/>
                </a:cubicBezTo>
                <a:lnTo>
                  <a:pt x="5711273" y="3262015"/>
                </a:lnTo>
                <a:lnTo>
                  <a:pt x="5716909" y="3260142"/>
                </a:lnTo>
                <a:lnTo>
                  <a:pt x="5723956" y="3267196"/>
                </a:lnTo>
                <a:cubicBezTo>
                  <a:pt x="5728653" y="3260142"/>
                  <a:pt x="5728653" y="3264856"/>
                  <a:pt x="5731002" y="3255438"/>
                </a:cubicBezTo>
                <a:lnTo>
                  <a:pt x="5714560" y="3257792"/>
                </a:lnTo>
                <a:lnTo>
                  <a:pt x="5710947" y="3257792"/>
                </a:lnTo>
                <a:lnTo>
                  <a:pt x="5709863" y="3243691"/>
                </a:lnTo>
                <a:cubicBezTo>
                  <a:pt x="5702817" y="3248386"/>
                  <a:pt x="5702817" y="3243691"/>
                  <a:pt x="5707514" y="3253091"/>
                </a:cubicBezTo>
                <a:lnTo>
                  <a:pt x="5700468" y="3253091"/>
                </a:lnTo>
                <a:lnTo>
                  <a:pt x="5702348" y="3257792"/>
                </a:lnTo>
                <a:lnTo>
                  <a:pt x="5700468" y="3257792"/>
                </a:lnTo>
                <a:lnTo>
                  <a:pt x="5700468" y="3260142"/>
                </a:lnTo>
                <a:lnTo>
                  <a:pt x="5703600" y="3260927"/>
                </a:lnTo>
                <a:lnTo>
                  <a:pt x="5705166" y="3264856"/>
                </a:lnTo>
                <a:lnTo>
                  <a:pt x="5688724" y="3262492"/>
                </a:lnTo>
                <a:lnTo>
                  <a:pt x="5688724" y="3271915"/>
                </a:lnTo>
                <a:cubicBezTo>
                  <a:pt x="5679329" y="3269551"/>
                  <a:pt x="5684026" y="3271915"/>
                  <a:pt x="5686375" y="3264856"/>
                </a:cubicBezTo>
                <a:lnTo>
                  <a:pt x="5679329" y="3264856"/>
                </a:lnTo>
                <a:lnTo>
                  <a:pt x="5681678" y="3257792"/>
                </a:lnTo>
                <a:lnTo>
                  <a:pt x="5667585" y="3262492"/>
                </a:lnTo>
                <a:lnTo>
                  <a:pt x="5674631" y="3248386"/>
                </a:lnTo>
                <a:lnTo>
                  <a:pt x="5669934" y="3241337"/>
                </a:lnTo>
                <a:lnTo>
                  <a:pt x="5679329" y="3241337"/>
                </a:lnTo>
                <a:lnTo>
                  <a:pt x="5672282" y="3234291"/>
                </a:lnTo>
                <a:lnTo>
                  <a:pt x="5672282" y="3224895"/>
                </a:lnTo>
                <a:lnTo>
                  <a:pt x="5665236" y="3227241"/>
                </a:lnTo>
                <a:lnTo>
                  <a:pt x="5660538" y="3220192"/>
                </a:lnTo>
                <a:lnTo>
                  <a:pt x="5653492" y="3224895"/>
                </a:lnTo>
                <a:lnTo>
                  <a:pt x="5653492" y="3215498"/>
                </a:lnTo>
                <a:cubicBezTo>
                  <a:pt x="5646446" y="3220192"/>
                  <a:pt x="5646446" y="3215498"/>
                  <a:pt x="5651144" y="3224895"/>
                </a:cubicBezTo>
                <a:lnTo>
                  <a:pt x="5644097" y="3224895"/>
                </a:lnTo>
                <a:lnTo>
                  <a:pt x="5644097" y="3231943"/>
                </a:lnTo>
                <a:lnTo>
                  <a:pt x="5640328" y="3227228"/>
                </a:lnTo>
                <a:lnTo>
                  <a:pt x="5637050" y="3227228"/>
                </a:lnTo>
                <a:lnTo>
                  <a:pt x="5634702" y="3227228"/>
                </a:lnTo>
                <a:lnTo>
                  <a:pt x="5634702" y="3220192"/>
                </a:lnTo>
                <a:cubicBezTo>
                  <a:pt x="5625307" y="3227241"/>
                  <a:pt x="5627656" y="3231943"/>
                  <a:pt x="5615912" y="3234291"/>
                </a:cubicBezTo>
                <a:lnTo>
                  <a:pt x="5615912" y="3241337"/>
                </a:lnTo>
                <a:lnTo>
                  <a:pt x="5608865" y="3238992"/>
                </a:lnTo>
                <a:lnTo>
                  <a:pt x="5613563" y="3231943"/>
                </a:lnTo>
                <a:lnTo>
                  <a:pt x="5620609" y="3224895"/>
                </a:lnTo>
                <a:lnTo>
                  <a:pt x="5613563" y="3224895"/>
                </a:lnTo>
                <a:lnTo>
                  <a:pt x="5613563" y="3231943"/>
                </a:lnTo>
                <a:lnTo>
                  <a:pt x="5604168" y="3231943"/>
                </a:lnTo>
                <a:lnTo>
                  <a:pt x="5597122" y="3222545"/>
                </a:lnTo>
                <a:lnTo>
                  <a:pt x="5598213" y="3222763"/>
                </a:lnTo>
                <a:lnTo>
                  <a:pt x="5601819" y="3224895"/>
                </a:lnTo>
                <a:lnTo>
                  <a:pt x="5602574" y="3223635"/>
                </a:lnTo>
                <a:lnTo>
                  <a:pt x="5608865" y="3224895"/>
                </a:lnTo>
                <a:lnTo>
                  <a:pt x="5615912" y="3222545"/>
                </a:lnTo>
                <a:lnTo>
                  <a:pt x="5615912" y="3215498"/>
                </a:lnTo>
                <a:lnTo>
                  <a:pt x="5622958" y="3208446"/>
                </a:lnTo>
                <a:lnTo>
                  <a:pt x="5608865" y="3203752"/>
                </a:lnTo>
                <a:lnTo>
                  <a:pt x="5613829" y="3196307"/>
                </a:lnTo>
                <a:lnTo>
                  <a:pt x="5615324" y="3198760"/>
                </a:lnTo>
                <a:cubicBezTo>
                  <a:pt x="5617086" y="3202285"/>
                  <a:pt x="5613562" y="3197879"/>
                  <a:pt x="5620609" y="3201403"/>
                </a:cubicBezTo>
                <a:cubicBezTo>
                  <a:pt x="5619435" y="3196705"/>
                  <a:pt x="5619435" y="3194948"/>
                  <a:pt x="5618554" y="3194064"/>
                </a:cubicBezTo>
                <a:lnTo>
                  <a:pt x="5615832" y="3193302"/>
                </a:lnTo>
                <a:lnTo>
                  <a:pt x="5618261" y="3189661"/>
                </a:lnTo>
                <a:lnTo>
                  <a:pt x="5601819" y="3189661"/>
                </a:lnTo>
                <a:cubicBezTo>
                  <a:pt x="5608865" y="3180267"/>
                  <a:pt x="5608865" y="3184961"/>
                  <a:pt x="5611214" y="3170868"/>
                </a:cubicBezTo>
                <a:cubicBezTo>
                  <a:pt x="5601819" y="3175561"/>
                  <a:pt x="5601819" y="3175561"/>
                  <a:pt x="5601819" y="3161471"/>
                </a:cubicBezTo>
                <a:cubicBezTo>
                  <a:pt x="5590075" y="3170868"/>
                  <a:pt x="5601819" y="3159123"/>
                  <a:pt x="5597122" y="3173221"/>
                </a:cubicBezTo>
                <a:lnTo>
                  <a:pt x="5599470" y="3180267"/>
                </a:lnTo>
                <a:lnTo>
                  <a:pt x="5592424" y="3189661"/>
                </a:lnTo>
                <a:lnTo>
                  <a:pt x="5583029" y="3177912"/>
                </a:lnTo>
                <a:lnTo>
                  <a:pt x="5591250" y="3177912"/>
                </a:lnTo>
                <a:lnTo>
                  <a:pt x="5594773" y="3180267"/>
                </a:lnTo>
                <a:lnTo>
                  <a:pt x="5594773" y="3168520"/>
                </a:lnTo>
                <a:lnTo>
                  <a:pt x="5589994" y="3173301"/>
                </a:lnTo>
                <a:lnTo>
                  <a:pt x="5589488" y="3172338"/>
                </a:lnTo>
                <a:cubicBezTo>
                  <a:pt x="5588901" y="3172043"/>
                  <a:pt x="5587726" y="3173219"/>
                  <a:pt x="5583029" y="3175561"/>
                </a:cubicBezTo>
                <a:cubicBezTo>
                  <a:pt x="5580680" y="3161471"/>
                  <a:pt x="5583029" y="3168520"/>
                  <a:pt x="5575983" y="3159123"/>
                </a:cubicBezTo>
                <a:lnTo>
                  <a:pt x="5578331" y="3154423"/>
                </a:lnTo>
                <a:lnTo>
                  <a:pt x="5587727" y="3161471"/>
                </a:lnTo>
                <a:lnTo>
                  <a:pt x="5592424" y="3154423"/>
                </a:lnTo>
                <a:lnTo>
                  <a:pt x="5559541" y="3147378"/>
                </a:lnTo>
                <a:lnTo>
                  <a:pt x="5558257" y="3142669"/>
                </a:lnTo>
                <a:lnTo>
                  <a:pt x="5557192" y="3142669"/>
                </a:lnTo>
                <a:lnTo>
                  <a:pt x="5555754" y="3139793"/>
                </a:lnTo>
                <a:lnTo>
                  <a:pt x="5555507" y="3139657"/>
                </a:lnTo>
                <a:lnTo>
                  <a:pt x="5554843" y="3140321"/>
                </a:lnTo>
                <a:lnTo>
                  <a:pt x="5554128" y="3138890"/>
                </a:lnTo>
                <a:lnTo>
                  <a:pt x="5552495" y="3137982"/>
                </a:lnTo>
                <a:lnTo>
                  <a:pt x="5552862" y="3137431"/>
                </a:lnTo>
                <a:lnTo>
                  <a:pt x="5551614" y="3137090"/>
                </a:lnTo>
                <a:cubicBezTo>
                  <a:pt x="5551320" y="3136209"/>
                  <a:pt x="5551320" y="3134446"/>
                  <a:pt x="5550146" y="3130923"/>
                </a:cubicBezTo>
                <a:lnTo>
                  <a:pt x="5552495" y="3130923"/>
                </a:lnTo>
                <a:cubicBezTo>
                  <a:pt x="5552495" y="3135621"/>
                  <a:pt x="5554843" y="3130923"/>
                  <a:pt x="5552495" y="3135621"/>
                </a:cubicBezTo>
                <a:lnTo>
                  <a:pt x="5553169" y="3136970"/>
                </a:lnTo>
                <a:lnTo>
                  <a:pt x="5557192" y="3130934"/>
                </a:lnTo>
                <a:lnTo>
                  <a:pt x="5564239" y="3133284"/>
                </a:lnTo>
                <a:lnTo>
                  <a:pt x="5564239" y="3142680"/>
                </a:lnTo>
                <a:lnTo>
                  <a:pt x="5568936" y="3142680"/>
                </a:lnTo>
                <a:lnTo>
                  <a:pt x="5573634" y="3142680"/>
                </a:lnTo>
                <a:lnTo>
                  <a:pt x="5571285" y="3140332"/>
                </a:lnTo>
                <a:lnTo>
                  <a:pt x="5575983" y="3135632"/>
                </a:lnTo>
                <a:lnTo>
                  <a:pt x="5568936" y="3135632"/>
                </a:lnTo>
                <a:lnTo>
                  <a:pt x="5568936" y="3137982"/>
                </a:lnTo>
                <a:lnTo>
                  <a:pt x="5564239" y="3133284"/>
                </a:lnTo>
                <a:lnTo>
                  <a:pt x="5573634" y="3121535"/>
                </a:lnTo>
                <a:lnTo>
                  <a:pt x="5565581" y="3117517"/>
                </a:lnTo>
                <a:lnTo>
                  <a:pt x="5565804" y="3116843"/>
                </a:lnTo>
                <a:lnTo>
                  <a:pt x="5571285" y="3116843"/>
                </a:lnTo>
                <a:lnTo>
                  <a:pt x="5575425" y="3114081"/>
                </a:lnTo>
                <a:lnTo>
                  <a:pt x="5578221" y="3113062"/>
                </a:lnTo>
                <a:lnTo>
                  <a:pt x="5578763" y="3113010"/>
                </a:lnTo>
                <a:lnTo>
                  <a:pt x="5580680" y="3116843"/>
                </a:lnTo>
                <a:lnTo>
                  <a:pt x="5578331" y="3121535"/>
                </a:lnTo>
                <a:lnTo>
                  <a:pt x="5580680" y="3128585"/>
                </a:lnTo>
                <a:cubicBezTo>
                  <a:pt x="5575983" y="3137982"/>
                  <a:pt x="5575983" y="3133284"/>
                  <a:pt x="5580680" y="3142680"/>
                </a:cubicBezTo>
                <a:cubicBezTo>
                  <a:pt x="5587727" y="3137982"/>
                  <a:pt x="5587727" y="3142680"/>
                  <a:pt x="5583029" y="3133284"/>
                </a:cubicBezTo>
                <a:lnTo>
                  <a:pt x="5587727" y="3123887"/>
                </a:lnTo>
                <a:lnTo>
                  <a:pt x="5594773" y="3119192"/>
                </a:lnTo>
                <a:lnTo>
                  <a:pt x="5583029" y="3119192"/>
                </a:lnTo>
                <a:lnTo>
                  <a:pt x="5587727" y="3123887"/>
                </a:lnTo>
                <a:lnTo>
                  <a:pt x="5580680" y="3121535"/>
                </a:lnTo>
                <a:lnTo>
                  <a:pt x="5587727" y="3112143"/>
                </a:lnTo>
                <a:lnTo>
                  <a:pt x="5578763" y="3113010"/>
                </a:lnTo>
                <a:lnTo>
                  <a:pt x="5578331" y="3112143"/>
                </a:lnTo>
                <a:lnTo>
                  <a:pt x="5575425" y="3114081"/>
                </a:lnTo>
                <a:lnTo>
                  <a:pt x="5575101" y="3114200"/>
                </a:lnTo>
                <a:cubicBezTo>
                  <a:pt x="5574221" y="3114494"/>
                  <a:pt x="5574808" y="3113319"/>
                  <a:pt x="5571285" y="3107447"/>
                </a:cubicBezTo>
                <a:lnTo>
                  <a:pt x="5580680" y="3107447"/>
                </a:lnTo>
                <a:cubicBezTo>
                  <a:pt x="5578331" y="3100401"/>
                  <a:pt x="5575983" y="3107447"/>
                  <a:pt x="5580680" y="3098053"/>
                </a:cubicBezTo>
                <a:lnTo>
                  <a:pt x="5571285" y="3098053"/>
                </a:lnTo>
                <a:lnTo>
                  <a:pt x="5566587" y="3093357"/>
                </a:lnTo>
                <a:lnTo>
                  <a:pt x="5566587" y="3091006"/>
                </a:lnTo>
                <a:lnTo>
                  <a:pt x="5565413" y="3092179"/>
                </a:lnTo>
                <a:lnTo>
                  <a:pt x="5564239" y="3091006"/>
                </a:lnTo>
                <a:cubicBezTo>
                  <a:pt x="5566587" y="3081608"/>
                  <a:pt x="5568936" y="3086305"/>
                  <a:pt x="5559541" y="3083956"/>
                </a:cubicBezTo>
                <a:lnTo>
                  <a:pt x="5557192" y="3091006"/>
                </a:lnTo>
                <a:cubicBezTo>
                  <a:pt x="5559541" y="3098053"/>
                  <a:pt x="5559541" y="3088658"/>
                  <a:pt x="5559541" y="3100401"/>
                </a:cubicBezTo>
                <a:cubicBezTo>
                  <a:pt x="5559541" y="3100401"/>
                  <a:pt x="5557192" y="3107447"/>
                  <a:pt x="5557192" y="3107447"/>
                </a:cubicBezTo>
                <a:lnTo>
                  <a:pt x="5566587" y="3114494"/>
                </a:lnTo>
                <a:lnTo>
                  <a:pt x="5565804" y="3116843"/>
                </a:lnTo>
                <a:lnTo>
                  <a:pt x="5564239" y="3116843"/>
                </a:lnTo>
                <a:lnTo>
                  <a:pt x="5565581" y="3117517"/>
                </a:lnTo>
                <a:lnTo>
                  <a:pt x="5564239" y="3121535"/>
                </a:lnTo>
                <a:lnTo>
                  <a:pt x="5559541" y="3119192"/>
                </a:lnTo>
                <a:lnTo>
                  <a:pt x="5552495" y="3121535"/>
                </a:lnTo>
                <a:lnTo>
                  <a:pt x="5545448" y="3114494"/>
                </a:lnTo>
                <a:lnTo>
                  <a:pt x="5547797" y="3128585"/>
                </a:lnTo>
                <a:cubicBezTo>
                  <a:pt x="5550146" y="3135632"/>
                  <a:pt x="5547797" y="3142680"/>
                  <a:pt x="5552495" y="3142680"/>
                </a:cubicBezTo>
                <a:lnTo>
                  <a:pt x="5547797" y="3145031"/>
                </a:lnTo>
                <a:lnTo>
                  <a:pt x="5552495" y="3152079"/>
                </a:lnTo>
                <a:cubicBezTo>
                  <a:pt x="5551320" y="3152079"/>
                  <a:pt x="5550733" y="3151491"/>
                  <a:pt x="5550439" y="3151490"/>
                </a:cubicBezTo>
                <a:lnTo>
                  <a:pt x="5550151" y="3154373"/>
                </a:lnTo>
                <a:lnTo>
                  <a:pt x="5552495" y="3156717"/>
                </a:lnTo>
                <a:lnTo>
                  <a:pt x="5550146" y="3156717"/>
                </a:lnTo>
                <a:lnTo>
                  <a:pt x="5550146" y="3154423"/>
                </a:lnTo>
                <a:cubicBezTo>
                  <a:pt x="5550146" y="3166171"/>
                  <a:pt x="5547797" y="3154423"/>
                  <a:pt x="5552495" y="3163818"/>
                </a:cubicBezTo>
                <a:lnTo>
                  <a:pt x="5543100" y="3163818"/>
                </a:lnTo>
                <a:cubicBezTo>
                  <a:pt x="5547797" y="3149728"/>
                  <a:pt x="5540751" y="3163818"/>
                  <a:pt x="5545448" y="3149728"/>
                </a:cubicBezTo>
                <a:lnTo>
                  <a:pt x="5531356" y="3154423"/>
                </a:lnTo>
                <a:lnTo>
                  <a:pt x="5531356" y="3147378"/>
                </a:lnTo>
                <a:lnTo>
                  <a:pt x="5538402" y="3147378"/>
                </a:lnTo>
                <a:lnTo>
                  <a:pt x="5526658" y="3137982"/>
                </a:lnTo>
                <a:lnTo>
                  <a:pt x="5533705" y="3128585"/>
                </a:lnTo>
                <a:lnTo>
                  <a:pt x="5519612" y="3126238"/>
                </a:lnTo>
                <a:lnTo>
                  <a:pt x="5521961" y="3121535"/>
                </a:lnTo>
                <a:lnTo>
                  <a:pt x="5512566" y="3109794"/>
                </a:lnTo>
                <a:lnTo>
                  <a:pt x="5505519" y="3114494"/>
                </a:lnTo>
                <a:lnTo>
                  <a:pt x="5505519" y="3105096"/>
                </a:lnTo>
                <a:lnTo>
                  <a:pt x="5514914" y="3105096"/>
                </a:lnTo>
                <a:lnTo>
                  <a:pt x="5510217" y="3098053"/>
                </a:lnTo>
                <a:lnTo>
                  <a:pt x="5519612" y="3098053"/>
                </a:lnTo>
                <a:lnTo>
                  <a:pt x="5526658" y="3091006"/>
                </a:lnTo>
                <a:lnTo>
                  <a:pt x="5524310" y="3083956"/>
                </a:lnTo>
                <a:lnTo>
                  <a:pt x="5526658" y="3072214"/>
                </a:lnTo>
                <a:lnTo>
                  <a:pt x="5540751" y="3083956"/>
                </a:lnTo>
                <a:lnTo>
                  <a:pt x="5536054" y="3091006"/>
                </a:lnTo>
                <a:lnTo>
                  <a:pt x="5545448" y="3091006"/>
                </a:lnTo>
                <a:lnTo>
                  <a:pt x="5540751" y="3083956"/>
                </a:lnTo>
                <a:lnTo>
                  <a:pt x="5550146" y="3083956"/>
                </a:lnTo>
                <a:cubicBezTo>
                  <a:pt x="5552495" y="3067516"/>
                  <a:pt x="5547797" y="3076910"/>
                  <a:pt x="5557192" y="3069867"/>
                </a:cubicBezTo>
                <a:cubicBezTo>
                  <a:pt x="5557192" y="3069867"/>
                  <a:pt x="5554843" y="3076910"/>
                  <a:pt x="5554843" y="3076910"/>
                </a:cubicBezTo>
                <a:lnTo>
                  <a:pt x="5559541" y="3079258"/>
                </a:lnTo>
                <a:lnTo>
                  <a:pt x="5566587" y="3074565"/>
                </a:lnTo>
                <a:lnTo>
                  <a:pt x="5578331" y="3076910"/>
                </a:lnTo>
                <a:cubicBezTo>
                  <a:pt x="5575983" y="3067516"/>
                  <a:pt x="5575983" y="3074565"/>
                  <a:pt x="5578331" y="3067516"/>
                </a:cubicBezTo>
                <a:lnTo>
                  <a:pt x="5568936" y="3060470"/>
                </a:lnTo>
                <a:lnTo>
                  <a:pt x="5566587" y="3067516"/>
                </a:lnTo>
                <a:lnTo>
                  <a:pt x="5565451" y="3060701"/>
                </a:lnTo>
                <a:lnTo>
                  <a:pt x="5567762" y="3056654"/>
                </a:lnTo>
                <a:cubicBezTo>
                  <a:pt x="5568349" y="3056360"/>
                  <a:pt x="5570110" y="3056947"/>
                  <a:pt x="5578331" y="3055774"/>
                </a:cubicBezTo>
                <a:lnTo>
                  <a:pt x="5573634" y="3048727"/>
                </a:lnTo>
                <a:lnTo>
                  <a:pt x="5587727" y="3034632"/>
                </a:lnTo>
                <a:lnTo>
                  <a:pt x="5594773" y="3034632"/>
                </a:lnTo>
                <a:lnTo>
                  <a:pt x="5604168" y="3039329"/>
                </a:lnTo>
                <a:cubicBezTo>
                  <a:pt x="5601819" y="3027587"/>
                  <a:pt x="5601819" y="3032284"/>
                  <a:pt x="5604168" y="3025237"/>
                </a:cubicBezTo>
                <a:cubicBezTo>
                  <a:pt x="5590075" y="3025237"/>
                  <a:pt x="5592424" y="3025237"/>
                  <a:pt x="5587727" y="3034632"/>
                </a:cubicBezTo>
                <a:lnTo>
                  <a:pt x="5580680" y="3029934"/>
                </a:lnTo>
                <a:lnTo>
                  <a:pt x="5585377" y="3025237"/>
                </a:lnTo>
                <a:lnTo>
                  <a:pt x="5585378" y="3025237"/>
                </a:lnTo>
                <a:lnTo>
                  <a:pt x="5590075" y="3022888"/>
                </a:lnTo>
                <a:lnTo>
                  <a:pt x="5594773" y="3022888"/>
                </a:lnTo>
                <a:cubicBezTo>
                  <a:pt x="5597122" y="3011144"/>
                  <a:pt x="5594773" y="3013494"/>
                  <a:pt x="5604168" y="3008793"/>
                </a:cubicBezTo>
                <a:lnTo>
                  <a:pt x="5601819" y="3022888"/>
                </a:lnTo>
                <a:lnTo>
                  <a:pt x="5613563" y="3020539"/>
                </a:lnTo>
                <a:lnTo>
                  <a:pt x="5604168" y="3011144"/>
                </a:lnTo>
                <a:lnTo>
                  <a:pt x="5611214" y="3001746"/>
                </a:lnTo>
                <a:lnTo>
                  <a:pt x="5597122" y="2999398"/>
                </a:lnTo>
                <a:cubicBezTo>
                  <a:pt x="5594773" y="3006446"/>
                  <a:pt x="5592424" y="2999398"/>
                  <a:pt x="5597122" y="3008793"/>
                </a:cubicBezTo>
                <a:lnTo>
                  <a:pt x="5587727" y="3015844"/>
                </a:lnTo>
                <a:lnTo>
                  <a:pt x="5590075" y="3022888"/>
                </a:lnTo>
                <a:lnTo>
                  <a:pt x="5587727" y="3022888"/>
                </a:lnTo>
                <a:lnTo>
                  <a:pt x="5585377" y="3025237"/>
                </a:lnTo>
                <a:lnTo>
                  <a:pt x="5580680" y="3023671"/>
                </a:lnTo>
                <a:lnTo>
                  <a:pt x="5580680" y="3020539"/>
                </a:lnTo>
                <a:lnTo>
                  <a:pt x="5578801" y="3021478"/>
                </a:lnTo>
                <a:lnTo>
                  <a:pt x="5580680" y="3015844"/>
                </a:lnTo>
                <a:lnTo>
                  <a:pt x="5571285" y="3015844"/>
                </a:lnTo>
                <a:cubicBezTo>
                  <a:pt x="5580680" y="3001746"/>
                  <a:pt x="5571285" y="3015844"/>
                  <a:pt x="5585378" y="3008793"/>
                </a:cubicBezTo>
                <a:lnTo>
                  <a:pt x="5578331" y="2999398"/>
                </a:lnTo>
                <a:cubicBezTo>
                  <a:pt x="5568936" y="3001746"/>
                  <a:pt x="5575983" y="3001746"/>
                  <a:pt x="5568936" y="2999398"/>
                </a:cubicBezTo>
                <a:lnTo>
                  <a:pt x="5557192" y="3008793"/>
                </a:lnTo>
                <a:lnTo>
                  <a:pt x="5559541" y="3015844"/>
                </a:lnTo>
                <a:lnTo>
                  <a:pt x="5545448" y="3011144"/>
                </a:lnTo>
                <a:lnTo>
                  <a:pt x="5547797" y="3004097"/>
                </a:lnTo>
                <a:lnTo>
                  <a:pt x="5540665" y="3002691"/>
                </a:lnTo>
                <a:lnTo>
                  <a:pt x="5540457" y="3004975"/>
                </a:lnTo>
                <a:cubicBezTo>
                  <a:pt x="5540751" y="3005268"/>
                  <a:pt x="5540751" y="3005268"/>
                  <a:pt x="5538402" y="3006440"/>
                </a:cubicBezTo>
                <a:lnTo>
                  <a:pt x="5536799" y="3003351"/>
                </a:lnTo>
                <a:lnTo>
                  <a:pt x="5533705" y="3006446"/>
                </a:lnTo>
                <a:lnTo>
                  <a:pt x="5533705" y="2999398"/>
                </a:lnTo>
                <a:lnTo>
                  <a:pt x="5534751" y="2999398"/>
                </a:lnTo>
                <a:lnTo>
                  <a:pt x="5534291" y="2998510"/>
                </a:lnTo>
                <a:lnTo>
                  <a:pt x="5528909" y="2994166"/>
                </a:lnTo>
                <a:lnTo>
                  <a:pt x="5526658" y="2994701"/>
                </a:lnTo>
                <a:lnTo>
                  <a:pt x="5519612" y="3001746"/>
                </a:lnTo>
                <a:lnTo>
                  <a:pt x="5521961" y="3008793"/>
                </a:lnTo>
                <a:lnTo>
                  <a:pt x="5520349" y="3015242"/>
                </a:lnTo>
                <a:lnTo>
                  <a:pt x="5520492" y="3015216"/>
                </a:lnTo>
                <a:cubicBezTo>
                  <a:pt x="5520786" y="3015216"/>
                  <a:pt x="5520786" y="3015804"/>
                  <a:pt x="5521960" y="3018152"/>
                </a:cubicBezTo>
                <a:lnTo>
                  <a:pt x="5519673" y="3017944"/>
                </a:lnTo>
                <a:lnTo>
                  <a:pt x="5519612" y="3018191"/>
                </a:lnTo>
                <a:lnTo>
                  <a:pt x="5529007" y="3018191"/>
                </a:lnTo>
                <a:lnTo>
                  <a:pt x="5529007" y="3027570"/>
                </a:lnTo>
                <a:lnTo>
                  <a:pt x="5529007" y="3034632"/>
                </a:lnTo>
                <a:lnTo>
                  <a:pt x="5517263" y="3032284"/>
                </a:lnTo>
                <a:lnTo>
                  <a:pt x="5516121" y="3033140"/>
                </a:lnTo>
                <a:lnTo>
                  <a:pt x="5516970" y="3033748"/>
                </a:lnTo>
                <a:cubicBezTo>
                  <a:pt x="5517263" y="3034041"/>
                  <a:pt x="5517263" y="3034627"/>
                  <a:pt x="5517263" y="3036975"/>
                </a:cubicBezTo>
                <a:cubicBezTo>
                  <a:pt x="5521960" y="3036975"/>
                  <a:pt x="5519611" y="3036975"/>
                  <a:pt x="5521960" y="3039324"/>
                </a:cubicBezTo>
                <a:cubicBezTo>
                  <a:pt x="5517263" y="3041674"/>
                  <a:pt x="5524309" y="3036975"/>
                  <a:pt x="5519611" y="3041674"/>
                </a:cubicBezTo>
                <a:lnTo>
                  <a:pt x="5519611" y="3046370"/>
                </a:lnTo>
                <a:cubicBezTo>
                  <a:pt x="5521960" y="3048720"/>
                  <a:pt x="5521960" y="3046370"/>
                  <a:pt x="5521960" y="3051070"/>
                </a:cubicBezTo>
                <a:lnTo>
                  <a:pt x="5512565" y="3051070"/>
                </a:lnTo>
                <a:lnTo>
                  <a:pt x="5510216" y="3048720"/>
                </a:lnTo>
                <a:lnTo>
                  <a:pt x="5510216" y="3046370"/>
                </a:lnTo>
                <a:lnTo>
                  <a:pt x="5505519" y="3046370"/>
                </a:lnTo>
                <a:lnTo>
                  <a:pt x="5507867" y="3044024"/>
                </a:lnTo>
                <a:lnTo>
                  <a:pt x="5503170" y="3044024"/>
                </a:lnTo>
                <a:lnTo>
                  <a:pt x="5505519" y="3039324"/>
                </a:lnTo>
                <a:lnTo>
                  <a:pt x="5503170" y="3039324"/>
                </a:lnTo>
                <a:lnTo>
                  <a:pt x="5500821" y="3041674"/>
                </a:lnTo>
                <a:cubicBezTo>
                  <a:pt x="5498472" y="3041674"/>
                  <a:pt x="5500821" y="3041674"/>
                  <a:pt x="5498472" y="3041674"/>
                </a:cubicBezTo>
                <a:lnTo>
                  <a:pt x="5496123" y="3039324"/>
                </a:lnTo>
                <a:lnTo>
                  <a:pt x="5496123" y="3036975"/>
                </a:lnTo>
                <a:lnTo>
                  <a:pt x="5491426" y="3034626"/>
                </a:lnTo>
                <a:cubicBezTo>
                  <a:pt x="5493775" y="3032279"/>
                  <a:pt x="5491426" y="3034626"/>
                  <a:pt x="5491426" y="3032279"/>
                </a:cubicBezTo>
                <a:cubicBezTo>
                  <a:pt x="5491426" y="3029930"/>
                  <a:pt x="5491426" y="3034626"/>
                  <a:pt x="5491426" y="3029930"/>
                </a:cubicBezTo>
                <a:lnTo>
                  <a:pt x="5491426" y="3027580"/>
                </a:lnTo>
                <a:cubicBezTo>
                  <a:pt x="5491426" y="3025230"/>
                  <a:pt x="5493775" y="3027580"/>
                  <a:pt x="5491426" y="3025230"/>
                </a:cubicBezTo>
                <a:lnTo>
                  <a:pt x="5493775" y="3022882"/>
                </a:lnTo>
                <a:lnTo>
                  <a:pt x="5493775" y="3020533"/>
                </a:lnTo>
                <a:lnTo>
                  <a:pt x="5496123" y="3018191"/>
                </a:lnTo>
                <a:lnTo>
                  <a:pt x="5496123" y="3015837"/>
                </a:lnTo>
                <a:lnTo>
                  <a:pt x="5496123" y="3013488"/>
                </a:lnTo>
                <a:lnTo>
                  <a:pt x="5493775" y="3011139"/>
                </a:lnTo>
                <a:cubicBezTo>
                  <a:pt x="5496123" y="3008788"/>
                  <a:pt x="5493775" y="3011139"/>
                  <a:pt x="5493775" y="3008788"/>
                </a:cubicBezTo>
                <a:lnTo>
                  <a:pt x="5498472" y="3008788"/>
                </a:lnTo>
                <a:cubicBezTo>
                  <a:pt x="5498472" y="3013488"/>
                  <a:pt x="5498472" y="3011139"/>
                  <a:pt x="5500821" y="3013488"/>
                </a:cubicBezTo>
                <a:lnTo>
                  <a:pt x="5502757" y="3013488"/>
                </a:lnTo>
                <a:lnTo>
                  <a:pt x="5502877" y="3012903"/>
                </a:lnTo>
                <a:cubicBezTo>
                  <a:pt x="5503758" y="3011730"/>
                  <a:pt x="5505519" y="3012316"/>
                  <a:pt x="5510217" y="3013494"/>
                </a:cubicBezTo>
                <a:lnTo>
                  <a:pt x="5517263" y="3006446"/>
                </a:lnTo>
                <a:cubicBezTo>
                  <a:pt x="5514914" y="2999398"/>
                  <a:pt x="5514914" y="3006446"/>
                  <a:pt x="5517263" y="2997047"/>
                </a:cubicBezTo>
                <a:lnTo>
                  <a:pt x="5507868" y="2999398"/>
                </a:lnTo>
                <a:lnTo>
                  <a:pt x="5500822" y="2997047"/>
                </a:lnTo>
                <a:cubicBezTo>
                  <a:pt x="5505519" y="2987657"/>
                  <a:pt x="5498473" y="2990010"/>
                  <a:pt x="5503170" y="2978262"/>
                </a:cubicBezTo>
                <a:lnTo>
                  <a:pt x="5507867" y="2980276"/>
                </a:lnTo>
                <a:lnTo>
                  <a:pt x="5507867" y="2975897"/>
                </a:lnTo>
                <a:lnTo>
                  <a:pt x="5503170" y="2971207"/>
                </a:lnTo>
                <a:cubicBezTo>
                  <a:pt x="5507867" y="2968857"/>
                  <a:pt x="5503170" y="2971207"/>
                  <a:pt x="5507867" y="2968857"/>
                </a:cubicBezTo>
                <a:cubicBezTo>
                  <a:pt x="5510216" y="2973551"/>
                  <a:pt x="5507867" y="2973551"/>
                  <a:pt x="5510216" y="2975897"/>
                </a:cubicBezTo>
                <a:cubicBezTo>
                  <a:pt x="5509042" y="2978251"/>
                  <a:pt x="5509629" y="2978837"/>
                  <a:pt x="5509923" y="2979131"/>
                </a:cubicBezTo>
                <a:lnTo>
                  <a:pt x="5508150" y="2980398"/>
                </a:lnTo>
                <a:lnTo>
                  <a:pt x="5519582" y="2985294"/>
                </a:lnTo>
                <a:lnTo>
                  <a:pt x="5519611" y="2985303"/>
                </a:lnTo>
                <a:lnTo>
                  <a:pt x="5519611" y="2980606"/>
                </a:lnTo>
                <a:cubicBezTo>
                  <a:pt x="5521960" y="2980606"/>
                  <a:pt x="5521960" y="2980606"/>
                  <a:pt x="5521960" y="2980606"/>
                </a:cubicBezTo>
                <a:lnTo>
                  <a:pt x="5522747" y="2980606"/>
                </a:lnTo>
                <a:lnTo>
                  <a:pt x="5524310" y="2978262"/>
                </a:lnTo>
                <a:lnTo>
                  <a:pt x="5533705" y="2973562"/>
                </a:lnTo>
                <a:lnTo>
                  <a:pt x="5533166" y="2976798"/>
                </a:lnTo>
                <a:lnTo>
                  <a:pt x="5536053" y="2978239"/>
                </a:lnTo>
                <a:lnTo>
                  <a:pt x="5532641" y="2979946"/>
                </a:lnTo>
                <a:lnTo>
                  <a:pt x="5531356" y="2987657"/>
                </a:lnTo>
                <a:lnTo>
                  <a:pt x="5547797" y="2990010"/>
                </a:lnTo>
                <a:lnTo>
                  <a:pt x="5547797" y="2985306"/>
                </a:lnTo>
                <a:lnTo>
                  <a:pt x="5540751" y="2985306"/>
                </a:lnTo>
                <a:lnTo>
                  <a:pt x="5546387" y="2979673"/>
                </a:lnTo>
                <a:lnTo>
                  <a:pt x="5547797" y="2980609"/>
                </a:lnTo>
                <a:lnTo>
                  <a:pt x="5549441" y="2978262"/>
                </a:lnTo>
                <a:lnTo>
                  <a:pt x="5554843" y="2978262"/>
                </a:lnTo>
                <a:lnTo>
                  <a:pt x="5554843" y="2978214"/>
                </a:lnTo>
                <a:lnTo>
                  <a:pt x="5556586" y="2978214"/>
                </a:lnTo>
                <a:lnTo>
                  <a:pt x="5549852" y="2977676"/>
                </a:lnTo>
                <a:lnTo>
                  <a:pt x="5549441" y="2978262"/>
                </a:lnTo>
                <a:lnTo>
                  <a:pt x="5547797" y="2978262"/>
                </a:lnTo>
                <a:lnTo>
                  <a:pt x="5546387" y="2979673"/>
                </a:lnTo>
                <a:lnTo>
                  <a:pt x="5540751" y="2975908"/>
                </a:lnTo>
                <a:lnTo>
                  <a:pt x="5539517" y="2977557"/>
                </a:lnTo>
                <a:lnTo>
                  <a:pt x="5538989" y="2975319"/>
                </a:lnTo>
                <a:cubicBezTo>
                  <a:pt x="5538402" y="2974145"/>
                  <a:pt x="5537228" y="2973560"/>
                  <a:pt x="5533705" y="2968869"/>
                </a:cubicBezTo>
                <a:lnTo>
                  <a:pt x="5538067" y="2964508"/>
                </a:lnTo>
                <a:lnTo>
                  <a:pt x="5540751" y="2966520"/>
                </a:lnTo>
                <a:lnTo>
                  <a:pt x="5545448" y="2957126"/>
                </a:lnTo>
                <a:cubicBezTo>
                  <a:pt x="5540751" y="2943031"/>
                  <a:pt x="5547797" y="2957126"/>
                  <a:pt x="5540751" y="2943031"/>
                </a:cubicBezTo>
                <a:lnTo>
                  <a:pt x="5554843" y="2945379"/>
                </a:lnTo>
                <a:lnTo>
                  <a:pt x="5557192" y="2943031"/>
                </a:lnTo>
                <a:lnTo>
                  <a:pt x="5550146" y="2933634"/>
                </a:lnTo>
                <a:lnTo>
                  <a:pt x="5543100" y="2938332"/>
                </a:lnTo>
                <a:lnTo>
                  <a:pt x="5538402" y="2935984"/>
                </a:lnTo>
                <a:lnTo>
                  <a:pt x="5538402" y="2945379"/>
                </a:lnTo>
                <a:cubicBezTo>
                  <a:pt x="5538402" y="2950078"/>
                  <a:pt x="5537815" y="2951841"/>
                  <a:pt x="5536640" y="2953308"/>
                </a:cubicBezTo>
                <a:lnTo>
                  <a:pt x="5534608" y="2955681"/>
                </a:lnTo>
                <a:lnTo>
                  <a:pt x="5524831" y="2945902"/>
                </a:lnTo>
                <a:lnTo>
                  <a:pt x="5531650" y="2941563"/>
                </a:lnTo>
                <a:cubicBezTo>
                  <a:pt x="5531943" y="2938332"/>
                  <a:pt x="5530181" y="2934808"/>
                  <a:pt x="5529007" y="2933634"/>
                </a:cubicBezTo>
                <a:lnTo>
                  <a:pt x="5531356" y="2928937"/>
                </a:lnTo>
                <a:lnTo>
                  <a:pt x="5538402" y="2931285"/>
                </a:lnTo>
                <a:lnTo>
                  <a:pt x="5538402" y="2921889"/>
                </a:lnTo>
                <a:lnTo>
                  <a:pt x="5531356" y="2928937"/>
                </a:lnTo>
                <a:lnTo>
                  <a:pt x="5524310" y="2928937"/>
                </a:lnTo>
                <a:lnTo>
                  <a:pt x="5522964" y="2933109"/>
                </a:lnTo>
                <a:lnTo>
                  <a:pt x="5521961" y="2933634"/>
                </a:lnTo>
                <a:lnTo>
                  <a:pt x="5514914" y="2924238"/>
                </a:lnTo>
                <a:lnTo>
                  <a:pt x="5524310" y="2917191"/>
                </a:lnTo>
                <a:lnTo>
                  <a:pt x="5526658" y="2917191"/>
                </a:lnTo>
                <a:lnTo>
                  <a:pt x="5521961" y="2910142"/>
                </a:lnTo>
                <a:lnTo>
                  <a:pt x="5520134" y="2911969"/>
                </a:lnTo>
                <a:lnTo>
                  <a:pt x="5517002" y="2908054"/>
                </a:lnTo>
                <a:lnTo>
                  <a:pt x="5521961" y="2903095"/>
                </a:lnTo>
                <a:lnTo>
                  <a:pt x="5514914" y="2893699"/>
                </a:lnTo>
                <a:lnTo>
                  <a:pt x="5517263" y="2891350"/>
                </a:lnTo>
                <a:lnTo>
                  <a:pt x="5531356" y="2893699"/>
                </a:lnTo>
                <a:cubicBezTo>
                  <a:pt x="5529007" y="2884302"/>
                  <a:pt x="5529007" y="2891350"/>
                  <a:pt x="5531356" y="2884302"/>
                </a:cubicBezTo>
                <a:lnTo>
                  <a:pt x="5529007" y="2879605"/>
                </a:lnTo>
                <a:lnTo>
                  <a:pt x="5529007" y="2872559"/>
                </a:lnTo>
                <a:lnTo>
                  <a:pt x="5531356" y="2877259"/>
                </a:lnTo>
                <a:lnTo>
                  <a:pt x="5538402" y="2872559"/>
                </a:lnTo>
                <a:lnTo>
                  <a:pt x="5543100" y="2879605"/>
                </a:lnTo>
                <a:lnTo>
                  <a:pt x="5547797" y="2872559"/>
                </a:lnTo>
                <a:lnTo>
                  <a:pt x="5545448" y="2867859"/>
                </a:lnTo>
                <a:lnTo>
                  <a:pt x="5538402" y="2872559"/>
                </a:lnTo>
                <a:cubicBezTo>
                  <a:pt x="5533705" y="2865511"/>
                  <a:pt x="5533705" y="2865511"/>
                  <a:pt x="5529007" y="2872559"/>
                </a:cubicBezTo>
                <a:lnTo>
                  <a:pt x="5521961" y="2874908"/>
                </a:lnTo>
                <a:cubicBezTo>
                  <a:pt x="5526658" y="2884302"/>
                  <a:pt x="5524310" y="2879605"/>
                  <a:pt x="5521961" y="2881957"/>
                </a:cubicBezTo>
                <a:cubicBezTo>
                  <a:pt x="5519612" y="2881957"/>
                  <a:pt x="5519612" y="2884302"/>
                  <a:pt x="5519612" y="2884302"/>
                </a:cubicBezTo>
                <a:cubicBezTo>
                  <a:pt x="5517263" y="2884302"/>
                  <a:pt x="5517263" y="2881957"/>
                  <a:pt x="5514914" y="2881957"/>
                </a:cubicBezTo>
                <a:lnTo>
                  <a:pt x="5514914" y="2891350"/>
                </a:lnTo>
                <a:lnTo>
                  <a:pt x="5512566" y="2891350"/>
                </a:lnTo>
                <a:lnTo>
                  <a:pt x="5507150" y="2885934"/>
                </a:lnTo>
                <a:lnTo>
                  <a:pt x="5507868" y="2884302"/>
                </a:lnTo>
                <a:lnTo>
                  <a:pt x="5505519" y="2884302"/>
                </a:lnTo>
                <a:lnTo>
                  <a:pt x="5498473" y="2884302"/>
                </a:lnTo>
                <a:lnTo>
                  <a:pt x="5503170" y="2891350"/>
                </a:lnTo>
                <a:lnTo>
                  <a:pt x="5493775" y="2891350"/>
                </a:lnTo>
                <a:lnTo>
                  <a:pt x="5496124" y="2884302"/>
                </a:lnTo>
                <a:lnTo>
                  <a:pt x="5489078" y="2881957"/>
                </a:lnTo>
                <a:lnTo>
                  <a:pt x="5493775" y="2891350"/>
                </a:lnTo>
                <a:lnTo>
                  <a:pt x="5498473" y="2898397"/>
                </a:lnTo>
                <a:cubicBezTo>
                  <a:pt x="5484380" y="2898397"/>
                  <a:pt x="5486729" y="2896048"/>
                  <a:pt x="5484380" y="2907794"/>
                </a:cubicBezTo>
                <a:cubicBezTo>
                  <a:pt x="5496124" y="2903095"/>
                  <a:pt x="5489078" y="2903095"/>
                  <a:pt x="5500822" y="2900746"/>
                </a:cubicBezTo>
                <a:lnTo>
                  <a:pt x="5503170" y="2907794"/>
                </a:lnTo>
                <a:cubicBezTo>
                  <a:pt x="5503170" y="2914842"/>
                  <a:pt x="5500822" y="2907794"/>
                  <a:pt x="5505519" y="2917191"/>
                </a:cubicBezTo>
                <a:lnTo>
                  <a:pt x="5498473" y="2919539"/>
                </a:lnTo>
                <a:lnTo>
                  <a:pt x="5493775" y="2912491"/>
                </a:lnTo>
                <a:lnTo>
                  <a:pt x="5482032" y="2921889"/>
                </a:lnTo>
                <a:lnTo>
                  <a:pt x="5474985" y="2921889"/>
                </a:lnTo>
                <a:lnTo>
                  <a:pt x="5482032" y="2914842"/>
                </a:lnTo>
                <a:cubicBezTo>
                  <a:pt x="5470288" y="2912491"/>
                  <a:pt x="5467939" y="2905444"/>
                  <a:pt x="5463241" y="2898397"/>
                </a:cubicBezTo>
                <a:lnTo>
                  <a:pt x="5458544" y="2907794"/>
                </a:lnTo>
                <a:lnTo>
                  <a:pt x="5467939" y="2912491"/>
                </a:lnTo>
                <a:lnTo>
                  <a:pt x="5460892" y="2917191"/>
                </a:lnTo>
                <a:lnTo>
                  <a:pt x="5474985" y="2921889"/>
                </a:lnTo>
                <a:lnTo>
                  <a:pt x="5477334" y="2928937"/>
                </a:lnTo>
                <a:lnTo>
                  <a:pt x="5491427" y="2926587"/>
                </a:lnTo>
                <a:lnTo>
                  <a:pt x="5491427" y="2919539"/>
                </a:lnTo>
                <a:lnTo>
                  <a:pt x="5498473" y="2919539"/>
                </a:lnTo>
                <a:lnTo>
                  <a:pt x="5493775" y="2926587"/>
                </a:lnTo>
                <a:cubicBezTo>
                  <a:pt x="5498472" y="2930110"/>
                  <a:pt x="5501408" y="2931285"/>
                  <a:pt x="5503464" y="2932753"/>
                </a:cubicBezTo>
                <a:lnTo>
                  <a:pt x="5507835" y="2940623"/>
                </a:lnTo>
                <a:lnTo>
                  <a:pt x="5507867" y="2940655"/>
                </a:lnTo>
                <a:lnTo>
                  <a:pt x="5507856" y="2940661"/>
                </a:lnTo>
                <a:lnTo>
                  <a:pt x="5507868" y="2940682"/>
                </a:lnTo>
                <a:cubicBezTo>
                  <a:pt x="5514914" y="2938332"/>
                  <a:pt x="5507868" y="2935984"/>
                  <a:pt x="5517263" y="2940682"/>
                </a:cubicBezTo>
                <a:lnTo>
                  <a:pt x="5507607" y="2952271"/>
                </a:lnTo>
                <a:lnTo>
                  <a:pt x="5507867" y="2952401"/>
                </a:lnTo>
                <a:lnTo>
                  <a:pt x="5507234" y="2952717"/>
                </a:lnTo>
                <a:lnTo>
                  <a:pt x="5505519" y="2954777"/>
                </a:lnTo>
                <a:lnTo>
                  <a:pt x="5507868" y="2959475"/>
                </a:lnTo>
                <a:lnTo>
                  <a:pt x="5507868" y="2966520"/>
                </a:lnTo>
                <a:lnTo>
                  <a:pt x="5498473" y="2973562"/>
                </a:lnTo>
                <a:lnTo>
                  <a:pt x="5493775" y="2966520"/>
                </a:lnTo>
                <a:lnTo>
                  <a:pt x="5496190" y="2966520"/>
                </a:lnTo>
                <a:lnTo>
                  <a:pt x="5496124" y="2966487"/>
                </a:lnTo>
                <a:lnTo>
                  <a:pt x="5498473" y="2964138"/>
                </a:lnTo>
                <a:lnTo>
                  <a:pt x="5499664" y="2966520"/>
                </a:lnTo>
                <a:lnTo>
                  <a:pt x="5500822" y="2966520"/>
                </a:lnTo>
                <a:cubicBezTo>
                  <a:pt x="5498473" y="2957126"/>
                  <a:pt x="5498473" y="2961825"/>
                  <a:pt x="5493775" y="2954777"/>
                </a:cubicBezTo>
                <a:lnTo>
                  <a:pt x="5503170" y="2947729"/>
                </a:lnTo>
                <a:cubicBezTo>
                  <a:pt x="5498473" y="2940682"/>
                  <a:pt x="5500822" y="2947729"/>
                  <a:pt x="5503170" y="2938332"/>
                </a:cubicBezTo>
                <a:lnTo>
                  <a:pt x="5479683" y="2938332"/>
                </a:lnTo>
                <a:lnTo>
                  <a:pt x="5479683" y="2940682"/>
                </a:lnTo>
                <a:lnTo>
                  <a:pt x="5489078" y="2940682"/>
                </a:lnTo>
                <a:lnTo>
                  <a:pt x="5482032" y="2950079"/>
                </a:lnTo>
                <a:lnTo>
                  <a:pt x="5472636" y="2943031"/>
                </a:lnTo>
                <a:lnTo>
                  <a:pt x="5477334" y="2935984"/>
                </a:lnTo>
                <a:cubicBezTo>
                  <a:pt x="5460892" y="2938332"/>
                  <a:pt x="5470288" y="2933634"/>
                  <a:pt x="5463241" y="2943031"/>
                </a:cubicBezTo>
                <a:lnTo>
                  <a:pt x="5456195" y="2940682"/>
                </a:lnTo>
                <a:cubicBezTo>
                  <a:pt x="5460892" y="2933634"/>
                  <a:pt x="5460892" y="2928937"/>
                  <a:pt x="5453846" y="2924238"/>
                </a:cubicBezTo>
                <a:lnTo>
                  <a:pt x="5449148" y="2931285"/>
                </a:lnTo>
                <a:lnTo>
                  <a:pt x="5453846" y="2938332"/>
                </a:lnTo>
                <a:lnTo>
                  <a:pt x="5449148" y="2940682"/>
                </a:lnTo>
                <a:lnTo>
                  <a:pt x="5442102" y="2931285"/>
                </a:lnTo>
                <a:lnTo>
                  <a:pt x="5425661" y="2938332"/>
                </a:lnTo>
                <a:lnTo>
                  <a:pt x="5425661" y="2931285"/>
                </a:lnTo>
                <a:lnTo>
                  <a:pt x="5418615" y="2931285"/>
                </a:lnTo>
                <a:cubicBezTo>
                  <a:pt x="5423312" y="2924238"/>
                  <a:pt x="5418615" y="2924238"/>
                  <a:pt x="5428010" y="2928937"/>
                </a:cubicBezTo>
                <a:lnTo>
                  <a:pt x="5428010" y="2921889"/>
                </a:lnTo>
                <a:lnTo>
                  <a:pt x="5430359" y="2924238"/>
                </a:lnTo>
                <a:lnTo>
                  <a:pt x="5437405" y="2910142"/>
                </a:lnTo>
                <a:lnTo>
                  <a:pt x="5435056" y="2903095"/>
                </a:lnTo>
                <a:lnTo>
                  <a:pt x="5437405" y="2898397"/>
                </a:lnTo>
                <a:lnTo>
                  <a:pt x="5437405" y="2896048"/>
                </a:lnTo>
                <a:lnTo>
                  <a:pt x="5438579" y="2896048"/>
                </a:lnTo>
                <a:lnTo>
                  <a:pt x="5439753" y="2900746"/>
                </a:lnTo>
                <a:cubicBezTo>
                  <a:pt x="5451497" y="2893699"/>
                  <a:pt x="5444451" y="2903095"/>
                  <a:pt x="5446800" y="2889000"/>
                </a:cubicBezTo>
                <a:lnTo>
                  <a:pt x="5439753" y="2896048"/>
                </a:lnTo>
                <a:lnTo>
                  <a:pt x="5438579" y="2896048"/>
                </a:lnTo>
                <a:lnTo>
                  <a:pt x="5437405" y="2891350"/>
                </a:lnTo>
                <a:lnTo>
                  <a:pt x="5437405" y="2896048"/>
                </a:lnTo>
                <a:lnTo>
                  <a:pt x="5432707" y="2896048"/>
                </a:lnTo>
                <a:cubicBezTo>
                  <a:pt x="5430359" y="2905444"/>
                  <a:pt x="5432707" y="2900746"/>
                  <a:pt x="5425661" y="2905444"/>
                </a:cubicBezTo>
                <a:lnTo>
                  <a:pt x="5425661" y="2898397"/>
                </a:lnTo>
                <a:cubicBezTo>
                  <a:pt x="5419789" y="2899571"/>
                  <a:pt x="5418027" y="2900158"/>
                  <a:pt x="5416853" y="2900158"/>
                </a:cubicBezTo>
                <a:lnTo>
                  <a:pt x="5414700" y="2899440"/>
                </a:lnTo>
                <a:lnTo>
                  <a:pt x="5417440" y="2894873"/>
                </a:lnTo>
                <a:cubicBezTo>
                  <a:pt x="5417440" y="2894286"/>
                  <a:pt x="5416266" y="2893698"/>
                  <a:pt x="5413917" y="2889000"/>
                </a:cubicBezTo>
                <a:lnTo>
                  <a:pt x="5404522" y="2900746"/>
                </a:lnTo>
                <a:lnTo>
                  <a:pt x="5397475" y="2893699"/>
                </a:lnTo>
                <a:lnTo>
                  <a:pt x="5390429" y="2896048"/>
                </a:lnTo>
                <a:lnTo>
                  <a:pt x="5383383" y="2886652"/>
                </a:lnTo>
                <a:lnTo>
                  <a:pt x="5376337" y="2891350"/>
                </a:lnTo>
                <a:lnTo>
                  <a:pt x="5376337" y="2879605"/>
                </a:lnTo>
                <a:lnTo>
                  <a:pt x="5385731" y="2879605"/>
                </a:lnTo>
                <a:lnTo>
                  <a:pt x="5383383" y="2884302"/>
                </a:lnTo>
                <a:lnTo>
                  <a:pt x="5390429" y="2891350"/>
                </a:lnTo>
                <a:lnTo>
                  <a:pt x="5397475" y="2889000"/>
                </a:lnTo>
                <a:lnTo>
                  <a:pt x="5406871" y="2893699"/>
                </a:lnTo>
                <a:lnTo>
                  <a:pt x="5390429" y="2874908"/>
                </a:lnTo>
                <a:lnTo>
                  <a:pt x="5376337" y="2877259"/>
                </a:lnTo>
                <a:lnTo>
                  <a:pt x="5373596" y="2877259"/>
                </a:lnTo>
                <a:lnTo>
                  <a:pt x="5371639" y="2865511"/>
                </a:lnTo>
                <a:lnTo>
                  <a:pt x="5364593" y="2865511"/>
                </a:lnTo>
                <a:lnTo>
                  <a:pt x="5364973" y="2870209"/>
                </a:lnTo>
                <a:lnTo>
                  <a:pt x="5362244" y="2870209"/>
                </a:lnTo>
                <a:lnTo>
                  <a:pt x="5362244" y="2877259"/>
                </a:lnTo>
                <a:lnTo>
                  <a:pt x="5345802" y="2874908"/>
                </a:lnTo>
                <a:cubicBezTo>
                  <a:pt x="5348151" y="2884302"/>
                  <a:pt x="5348151" y="2877259"/>
                  <a:pt x="5345802" y="2884302"/>
                </a:cubicBezTo>
                <a:lnTo>
                  <a:pt x="5357546" y="2898397"/>
                </a:lnTo>
                <a:lnTo>
                  <a:pt x="5350542" y="2898397"/>
                </a:lnTo>
                <a:lnTo>
                  <a:pt x="5355197" y="2900724"/>
                </a:lnTo>
                <a:lnTo>
                  <a:pt x="5352848" y="2903074"/>
                </a:lnTo>
                <a:lnTo>
                  <a:pt x="5348151" y="2900724"/>
                </a:lnTo>
                <a:lnTo>
                  <a:pt x="5350478" y="2898397"/>
                </a:lnTo>
                <a:lnTo>
                  <a:pt x="5348151" y="2898397"/>
                </a:lnTo>
                <a:cubicBezTo>
                  <a:pt x="5343453" y="2910142"/>
                  <a:pt x="5348151" y="2898397"/>
                  <a:pt x="5338756" y="2910142"/>
                </a:cubicBezTo>
                <a:lnTo>
                  <a:pt x="5327012" y="2914842"/>
                </a:lnTo>
                <a:lnTo>
                  <a:pt x="5322315" y="2907794"/>
                </a:lnTo>
                <a:cubicBezTo>
                  <a:pt x="5331710" y="2900746"/>
                  <a:pt x="5324663" y="2903095"/>
                  <a:pt x="5338756" y="2900746"/>
                </a:cubicBezTo>
                <a:cubicBezTo>
                  <a:pt x="5331710" y="2891350"/>
                  <a:pt x="5341105" y="2896048"/>
                  <a:pt x="5322315" y="2898397"/>
                </a:cubicBezTo>
                <a:lnTo>
                  <a:pt x="5322315" y="2907794"/>
                </a:lnTo>
                <a:lnTo>
                  <a:pt x="5315268" y="2905444"/>
                </a:lnTo>
                <a:lnTo>
                  <a:pt x="5310593" y="2910120"/>
                </a:lnTo>
                <a:lnTo>
                  <a:pt x="5312919" y="2912446"/>
                </a:lnTo>
                <a:lnTo>
                  <a:pt x="5310570" y="2912446"/>
                </a:lnTo>
                <a:lnTo>
                  <a:pt x="5310570" y="2910143"/>
                </a:lnTo>
                <a:lnTo>
                  <a:pt x="5308222" y="2912491"/>
                </a:lnTo>
                <a:cubicBezTo>
                  <a:pt x="5301176" y="2912491"/>
                  <a:pt x="5301176" y="2910142"/>
                  <a:pt x="5294129" y="2905444"/>
                </a:cubicBezTo>
                <a:lnTo>
                  <a:pt x="5305873" y="2896048"/>
                </a:lnTo>
                <a:lnTo>
                  <a:pt x="5301176" y="2889000"/>
                </a:lnTo>
                <a:lnTo>
                  <a:pt x="5308222" y="2889000"/>
                </a:lnTo>
                <a:lnTo>
                  <a:pt x="5308222" y="2879605"/>
                </a:lnTo>
                <a:lnTo>
                  <a:pt x="5301176" y="2879605"/>
                </a:lnTo>
                <a:lnTo>
                  <a:pt x="5301176" y="2889000"/>
                </a:lnTo>
                <a:lnTo>
                  <a:pt x="5294129" y="2889000"/>
                </a:lnTo>
                <a:cubicBezTo>
                  <a:pt x="5291780" y="2877259"/>
                  <a:pt x="5291780" y="2881957"/>
                  <a:pt x="5287083" y="2874908"/>
                </a:cubicBezTo>
                <a:lnTo>
                  <a:pt x="5296478" y="2874908"/>
                </a:lnTo>
                <a:lnTo>
                  <a:pt x="5289432" y="2870209"/>
                </a:lnTo>
                <a:lnTo>
                  <a:pt x="5284734" y="2877259"/>
                </a:lnTo>
                <a:lnTo>
                  <a:pt x="5280036" y="2879605"/>
                </a:lnTo>
                <a:lnTo>
                  <a:pt x="5277688" y="2884302"/>
                </a:lnTo>
                <a:lnTo>
                  <a:pt x="5270641" y="2881957"/>
                </a:lnTo>
                <a:lnTo>
                  <a:pt x="5275339" y="2900746"/>
                </a:lnTo>
                <a:cubicBezTo>
                  <a:pt x="5265944" y="2896048"/>
                  <a:pt x="5270641" y="2896048"/>
                  <a:pt x="5261246" y="2893699"/>
                </a:cubicBezTo>
                <a:lnTo>
                  <a:pt x="5261246" y="2900746"/>
                </a:lnTo>
                <a:lnTo>
                  <a:pt x="5244805" y="2886652"/>
                </a:lnTo>
                <a:lnTo>
                  <a:pt x="5244805" y="2877259"/>
                </a:lnTo>
                <a:lnTo>
                  <a:pt x="5230712" y="2881957"/>
                </a:lnTo>
                <a:cubicBezTo>
                  <a:pt x="5235410" y="2872559"/>
                  <a:pt x="5233061" y="2881957"/>
                  <a:pt x="5230712" y="2872559"/>
                </a:cubicBezTo>
                <a:lnTo>
                  <a:pt x="5214271" y="2879605"/>
                </a:lnTo>
                <a:lnTo>
                  <a:pt x="5207225" y="2874908"/>
                </a:lnTo>
                <a:lnTo>
                  <a:pt x="5200177" y="2880195"/>
                </a:lnTo>
                <a:lnTo>
                  <a:pt x="5200177" y="2881943"/>
                </a:lnTo>
                <a:lnTo>
                  <a:pt x="5200177" y="2886638"/>
                </a:lnTo>
                <a:lnTo>
                  <a:pt x="5198459" y="2881482"/>
                </a:lnTo>
                <a:lnTo>
                  <a:pt x="5197829" y="2881957"/>
                </a:lnTo>
                <a:lnTo>
                  <a:pt x="5193132" y="2879605"/>
                </a:lnTo>
                <a:lnTo>
                  <a:pt x="5195481" y="2870209"/>
                </a:lnTo>
                <a:cubicBezTo>
                  <a:pt x="5200178" y="2869034"/>
                  <a:pt x="5201352" y="2869034"/>
                  <a:pt x="5201940" y="2868447"/>
                </a:cubicBezTo>
                <a:lnTo>
                  <a:pt x="5202369" y="2867673"/>
                </a:lnTo>
                <a:lnTo>
                  <a:pt x="5200178" y="2865481"/>
                </a:lnTo>
                <a:lnTo>
                  <a:pt x="5202496" y="2863162"/>
                </a:lnTo>
                <a:lnTo>
                  <a:pt x="5195481" y="2863162"/>
                </a:lnTo>
                <a:lnTo>
                  <a:pt x="5197829" y="2856119"/>
                </a:lnTo>
                <a:lnTo>
                  <a:pt x="5186085" y="2858471"/>
                </a:lnTo>
                <a:lnTo>
                  <a:pt x="5179039" y="2853769"/>
                </a:lnTo>
                <a:lnTo>
                  <a:pt x="5174341" y="2856119"/>
                </a:lnTo>
                <a:lnTo>
                  <a:pt x="5183737" y="2867859"/>
                </a:lnTo>
                <a:lnTo>
                  <a:pt x="5169644" y="2872559"/>
                </a:lnTo>
                <a:cubicBezTo>
                  <a:pt x="5167295" y="2858471"/>
                  <a:pt x="5164946" y="2860812"/>
                  <a:pt x="5162598" y="2849069"/>
                </a:cubicBezTo>
                <a:lnTo>
                  <a:pt x="5146156" y="2849069"/>
                </a:lnTo>
                <a:lnTo>
                  <a:pt x="5164946" y="2881957"/>
                </a:lnTo>
                <a:cubicBezTo>
                  <a:pt x="5160249" y="2889000"/>
                  <a:pt x="5162598" y="2881957"/>
                  <a:pt x="5164946" y="2891350"/>
                </a:cubicBezTo>
                <a:lnTo>
                  <a:pt x="5155551" y="2891350"/>
                </a:lnTo>
                <a:cubicBezTo>
                  <a:pt x="5149679" y="2891350"/>
                  <a:pt x="5149679" y="2890762"/>
                  <a:pt x="5149972" y="2890762"/>
                </a:cubicBezTo>
                <a:lnTo>
                  <a:pt x="5147222" y="2892878"/>
                </a:lnTo>
                <a:lnTo>
                  <a:pt x="5155550" y="2917189"/>
                </a:lnTo>
                <a:cubicBezTo>
                  <a:pt x="5186084" y="2914841"/>
                  <a:pt x="5171991" y="2947729"/>
                  <a:pt x="5200177" y="2957125"/>
                </a:cubicBezTo>
                <a:cubicBezTo>
                  <a:pt x="5204874" y="2950078"/>
                  <a:pt x="5207223" y="2943031"/>
                  <a:pt x="5216618" y="2950078"/>
                </a:cubicBezTo>
                <a:cubicBezTo>
                  <a:pt x="5202525" y="2957125"/>
                  <a:pt x="5214269" y="2957125"/>
                  <a:pt x="5207223" y="2973560"/>
                </a:cubicBezTo>
                <a:cubicBezTo>
                  <a:pt x="5235408" y="3001746"/>
                  <a:pt x="5223664" y="3001746"/>
                  <a:pt x="5254199" y="2992354"/>
                </a:cubicBezTo>
                <a:cubicBezTo>
                  <a:pt x="5240106" y="3020536"/>
                  <a:pt x="5204874" y="3065164"/>
                  <a:pt x="5218967" y="3093357"/>
                </a:cubicBezTo>
                <a:cubicBezTo>
                  <a:pt x="5204874" y="3093357"/>
                  <a:pt x="5197828" y="3105095"/>
                  <a:pt x="5186084" y="3107447"/>
                </a:cubicBezTo>
                <a:lnTo>
                  <a:pt x="5181597" y="3126160"/>
                </a:lnTo>
                <a:lnTo>
                  <a:pt x="5184324" y="3125616"/>
                </a:lnTo>
                <a:cubicBezTo>
                  <a:pt x="5184324" y="3125616"/>
                  <a:pt x="5183737" y="3126204"/>
                  <a:pt x="5183737" y="3128553"/>
                </a:cubicBezTo>
                <a:cubicBezTo>
                  <a:pt x="5183737" y="3130901"/>
                  <a:pt x="5186085" y="3128553"/>
                  <a:pt x="5181388" y="3130901"/>
                </a:cubicBezTo>
                <a:lnTo>
                  <a:pt x="5181388" y="3127033"/>
                </a:lnTo>
                <a:lnTo>
                  <a:pt x="5177717" y="3142348"/>
                </a:lnTo>
                <a:cubicBezTo>
                  <a:pt x="5173019" y="3154789"/>
                  <a:pt x="5166707" y="3167784"/>
                  <a:pt x="5159660" y="3180556"/>
                </a:cubicBezTo>
                <a:lnTo>
                  <a:pt x="5156100" y="3186401"/>
                </a:lnTo>
                <a:lnTo>
                  <a:pt x="5157900" y="3187304"/>
                </a:lnTo>
                <a:cubicBezTo>
                  <a:pt x="5155551" y="3189651"/>
                  <a:pt x="5155551" y="3189651"/>
                  <a:pt x="5153202" y="3192003"/>
                </a:cubicBezTo>
                <a:lnTo>
                  <a:pt x="5152691" y="3192003"/>
                </a:lnTo>
                <a:lnTo>
                  <a:pt x="5137200" y="3217440"/>
                </a:lnTo>
                <a:cubicBezTo>
                  <a:pt x="5129566" y="3229001"/>
                  <a:pt x="5122079" y="3239575"/>
                  <a:pt x="5115620" y="3248384"/>
                </a:cubicBezTo>
                <a:cubicBezTo>
                  <a:pt x="5134411" y="3262494"/>
                  <a:pt x="5108574" y="3281270"/>
                  <a:pt x="5101528" y="3297674"/>
                </a:cubicBezTo>
                <a:cubicBezTo>
                  <a:pt x="5113272" y="3309399"/>
                  <a:pt x="5096830" y="3339957"/>
                  <a:pt x="5117969" y="3358712"/>
                </a:cubicBezTo>
                <a:cubicBezTo>
                  <a:pt x="5106226" y="3347004"/>
                  <a:pt x="5103877" y="3365758"/>
                  <a:pt x="5094482" y="3368107"/>
                </a:cubicBezTo>
                <a:cubicBezTo>
                  <a:pt x="5110923" y="3370456"/>
                  <a:pt x="5110923" y="3405687"/>
                  <a:pt x="5125016" y="3393943"/>
                </a:cubicBezTo>
                <a:cubicBezTo>
                  <a:pt x="5117969" y="3386897"/>
                  <a:pt x="5117969" y="3377502"/>
                  <a:pt x="5122667" y="3365758"/>
                </a:cubicBezTo>
                <a:cubicBezTo>
                  <a:pt x="5132062" y="3372804"/>
                  <a:pt x="5134411" y="3405687"/>
                  <a:pt x="5153201" y="3391595"/>
                </a:cubicBezTo>
                <a:cubicBezTo>
                  <a:pt x="5146155" y="3379851"/>
                  <a:pt x="5190781" y="3391595"/>
                  <a:pt x="5200177" y="3377502"/>
                </a:cubicBezTo>
                <a:cubicBezTo>
                  <a:pt x="5197828" y="3361061"/>
                  <a:pt x="5207223" y="3337610"/>
                  <a:pt x="5221316" y="3325857"/>
                </a:cubicBezTo>
                <a:cubicBezTo>
                  <a:pt x="5230711" y="3337610"/>
                  <a:pt x="5235408" y="3351665"/>
                  <a:pt x="5237757" y="3365758"/>
                </a:cubicBezTo>
                <a:cubicBezTo>
                  <a:pt x="5181386" y="3476151"/>
                  <a:pt x="5331708" y="3525475"/>
                  <a:pt x="5277686" y="3619426"/>
                </a:cubicBezTo>
                <a:cubicBezTo>
                  <a:pt x="5296476" y="3633519"/>
                  <a:pt x="5280035" y="3664053"/>
                  <a:pt x="5277686" y="3687541"/>
                </a:cubicBezTo>
                <a:cubicBezTo>
                  <a:pt x="5294128" y="3696936"/>
                  <a:pt x="5303523" y="3708680"/>
                  <a:pt x="5303523" y="3725121"/>
                </a:cubicBezTo>
                <a:cubicBezTo>
                  <a:pt x="5289430" y="3715726"/>
                  <a:pt x="5294128" y="3758004"/>
                  <a:pt x="5280035" y="3748609"/>
                </a:cubicBezTo>
                <a:cubicBezTo>
                  <a:pt x="5282384" y="3741563"/>
                  <a:pt x="5289430" y="3734516"/>
                  <a:pt x="5282384" y="3729819"/>
                </a:cubicBezTo>
                <a:cubicBezTo>
                  <a:pt x="5268291" y="3746260"/>
                  <a:pt x="5282384" y="3783841"/>
                  <a:pt x="5244803" y="3788538"/>
                </a:cubicBezTo>
                <a:cubicBezTo>
                  <a:pt x="5249501" y="3781492"/>
                  <a:pt x="5249501" y="3776794"/>
                  <a:pt x="5247152" y="3769748"/>
                </a:cubicBezTo>
                <a:cubicBezTo>
                  <a:pt x="5249501" y="3753307"/>
                  <a:pt x="5270640" y="3774445"/>
                  <a:pt x="5272989" y="3753307"/>
                </a:cubicBezTo>
                <a:cubicBezTo>
                  <a:pt x="5263594" y="3729819"/>
                  <a:pt x="5258896" y="3767399"/>
                  <a:pt x="5240106" y="3753307"/>
                </a:cubicBezTo>
                <a:cubicBezTo>
                  <a:pt x="5242455" y="3746260"/>
                  <a:pt x="5249501" y="3739214"/>
                  <a:pt x="5242455" y="3734516"/>
                </a:cubicBezTo>
                <a:cubicBezTo>
                  <a:pt x="5223664" y="3760353"/>
                  <a:pt x="5249501" y="3790887"/>
                  <a:pt x="5228362" y="3802631"/>
                </a:cubicBezTo>
                <a:cubicBezTo>
                  <a:pt x="5235408" y="3788538"/>
                  <a:pt x="5226013" y="3779143"/>
                  <a:pt x="5223664" y="3767399"/>
                </a:cubicBezTo>
                <a:cubicBezTo>
                  <a:pt x="5202525" y="3788538"/>
                  <a:pt x="5207223" y="3790887"/>
                  <a:pt x="5186084" y="3779143"/>
                </a:cubicBezTo>
                <a:cubicBezTo>
                  <a:pt x="5197828" y="3807328"/>
                  <a:pt x="5202525" y="3837863"/>
                  <a:pt x="5204874" y="3868397"/>
                </a:cubicBezTo>
                <a:cubicBezTo>
                  <a:pt x="5174340" y="3856653"/>
                  <a:pt x="5176689" y="3861350"/>
                  <a:pt x="5157899" y="3849607"/>
                </a:cubicBezTo>
                <a:cubicBezTo>
                  <a:pt x="5160248" y="3842560"/>
                  <a:pt x="5169642" y="3847258"/>
                  <a:pt x="5174340" y="3842560"/>
                </a:cubicBezTo>
                <a:cubicBezTo>
                  <a:pt x="5167294" y="3835514"/>
                  <a:pt x="5167294" y="3826119"/>
                  <a:pt x="5171991" y="3814375"/>
                </a:cubicBezTo>
                <a:cubicBezTo>
                  <a:pt x="5146155" y="3809677"/>
                  <a:pt x="5148504" y="3802631"/>
                  <a:pt x="5132062" y="3812026"/>
                </a:cubicBezTo>
                <a:cubicBezTo>
                  <a:pt x="5132062" y="3788538"/>
                  <a:pt x="5136760" y="3776794"/>
                  <a:pt x="5139108" y="3760353"/>
                </a:cubicBezTo>
                <a:cubicBezTo>
                  <a:pt x="5122667" y="3741563"/>
                  <a:pt x="5099179" y="3760353"/>
                  <a:pt x="5087435" y="3753307"/>
                </a:cubicBezTo>
                <a:cubicBezTo>
                  <a:pt x="5089784" y="3767399"/>
                  <a:pt x="5080389" y="3769748"/>
                  <a:pt x="5075691" y="3795585"/>
                </a:cubicBezTo>
                <a:cubicBezTo>
                  <a:pt x="5063947" y="3790887"/>
                  <a:pt x="5073342" y="3776794"/>
                  <a:pt x="5056901" y="3774445"/>
                </a:cubicBezTo>
                <a:cubicBezTo>
                  <a:pt x="5056901" y="3793236"/>
                  <a:pt x="5028716" y="3795585"/>
                  <a:pt x="5042809" y="3809677"/>
                </a:cubicBezTo>
                <a:cubicBezTo>
                  <a:pt x="5047506" y="3804980"/>
                  <a:pt x="5049855" y="3793236"/>
                  <a:pt x="5056901" y="3795585"/>
                </a:cubicBezTo>
                <a:cubicBezTo>
                  <a:pt x="5063947" y="3821421"/>
                  <a:pt x="5005228" y="3837863"/>
                  <a:pt x="5028716" y="3866048"/>
                </a:cubicBezTo>
                <a:cubicBezTo>
                  <a:pt x="5042809" y="3840211"/>
                  <a:pt x="5047506" y="3875443"/>
                  <a:pt x="5049855" y="3882489"/>
                </a:cubicBezTo>
                <a:cubicBezTo>
                  <a:pt x="5054552" y="3877792"/>
                  <a:pt x="5056901" y="3866048"/>
                  <a:pt x="5063947" y="3868397"/>
                </a:cubicBezTo>
                <a:cubicBezTo>
                  <a:pt x="5073342" y="3882489"/>
                  <a:pt x="5068645" y="3903628"/>
                  <a:pt x="5075691" y="3920070"/>
                </a:cubicBezTo>
                <a:cubicBezTo>
                  <a:pt x="5080389" y="3913024"/>
                  <a:pt x="5089784" y="3917721"/>
                  <a:pt x="5096830" y="3915372"/>
                </a:cubicBezTo>
                <a:cubicBezTo>
                  <a:pt x="5089784" y="3952953"/>
                  <a:pt x="5115620" y="3985835"/>
                  <a:pt x="5094482" y="4002277"/>
                </a:cubicBezTo>
                <a:cubicBezTo>
                  <a:pt x="5106226" y="3985835"/>
                  <a:pt x="5106226" y="3997579"/>
                  <a:pt x="5110923" y="4009323"/>
                </a:cubicBezTo>
                <a:cubicBezTo>
                  <a:pt x="5125016" y="3983487"/>
                  <a:pt x="5094482" y="3952953"/>
                  <a:pt x="5120318" y="3938860"/>
                </a:cubicBezTo>
                <a:cubicBezTo>
                  <a:pt x="5122667" y="3957650"/>
                  <a:pt x="5127364" y="3978789"/>
                  <a:pt x="5129713" y="3997579"/>
                </a:cubicBezTo>
                <a:cubicBezTo>
                  <a:pt x="5134411" y="3990533"/>
                  <a:pt x="5139108" y="3990533"/>
                  <a:pt x="5146155" y="3990533"/>
                </a:cubicBezTo>
                <a:cubicBezTo>
                  <a:pt x="5132062" y="4037509"/>
                  <a:pt x="5202525" y="4053950"/>
                  <a:pt x="5153201" y="4075089"/>
                </a:cubicBezTo>
                <a:cubicBezTo>
                  <a:pt x="5167294" y="4070392"/>
                  <a:pt x="5134411" y="4060997"/>
                  <a:pt x="5136760" y="4082136"/>
                </a:cubicBezTo>
                <a:cubicBezTo>
                  <a:pt x="5122667" y="4068043"/>
                  <a:pt x="5153201" y="4035160"/>
                  <a:pt x="5139108" y="4042206"/>
                </a:cubicBezTo>
                <a:cubicBezTo>
                  <a:pt x="5120318" y="4070392"/>
                  <a:pt x="5108574" y="4044555"/>
                  <a:pt x="5085086" y="4060997"/>
                </a:cubicBezTo>
                <a:cubicBezTo>
                  <a:pt x="5085086" y="4053950"/>
                  <a:pt x="5085086" y="4046904"/>
                  <a:pt x="5080389" y="4039857"/>
                </a:cubicBezTo>
                <a:cubicBezTo>
                  <a:pt x="5063947" y="4051601"/>
                  <a:pt x="5080389" y="4079787"/>
                  <a:pt x="5101528" y="4068043"/>
                </a:cubicBezTo>
                <a:cubicBezTo>
                  <a:pt x="5110923" y="4103274"/>
                  <a:pt x="5073342" y="4100926"/>
                  <a:pt x="5096830" y="4126762"/>
                </a:cubicBezTo>
                <a:lnTo>
                  <a:pt x="5103556" y="4112572"/>
                </a:lnTo>
                <a:lnTo>
                  <a:pt x="5108574" y="4117367"/>
                </a:lnTo>
                <a:cubicBezTo>
                  <a:pt x="5108574" y="4115018"/>
                  <a:pt x="5110923" y="4112670"/>
                  <a:pt x="5115620" y="4115018"/>
                </a:cubicBezTo>
                <a:cubicBezTo>
                  <a:pt x="5117969" y="4110321"/>
                  <a:pt x="5117969" y="4107972"/>
                  <a:pt x="5120318" y="4103274"/>
                </a:cubicBezTo>
                <a:cubicBezTo>
                  <a:pt x="5117382" y="4099163"/>
                  <a:pt x="5114299" y="4097842"/>
                  <a:pt x="5111547" y="4098209"/>
                </a:cubicBezTo>
                <a:lnTo>
                  <a:pt x="5108268" y="4100655"/>
                </a:lnTo>
                <a:lnTo>
                  <a:pt x="5111217" y="4088888"/>
                </a:lnTo>
                <a:cubicBezTo>
                  <a:pt x="5112098" y="4079199"/>
                  <a:pt x="5109749" y="4070391"/>
                  <a:pt x="5106226" y="4056299"/>
                </a:cubicBezTo>
                <a:cubicBezTo>
                  <a:pt x="5113272" y="4065694"/>
                  <a:pt x="5117969" y="4068043"/>
                  <a:pt x="5129713" y="4065694"/>
                </a:cubicBezTo>
                <a:cubicBezTo>
                  <a:pt x="5127364" y="4084484"/>
                  <a:pt x="5136760" y="4100926"/>
                  <a:pt x="5141457" y="4117367"/>
                </a:cubicBezTo>
                <a:cubicBezTo>
                  <a:pt x="5127364" y="4129111"/>
                  <a:pt x="5139108" y="4131460"/>
                  <a:pt x="5120318" y="4136157"/>
                </a:cubicBezTo>
                <a:cubicBezTo>
                  <a:pt x="5148504" y="4150250"/>
                  <a:pt x="5125016" y="4157296"/>
                  <a:pt x="5153201" y="4157296"/>
                </a:cubicBezTo>
                <a:cubicBezTo>
                  <a:pt x="5153201" y="4178436"/>
                  <a:pt x="5164945" y="4201923"/>
                  <a:pt x="5141457" y="4220713"/>
                </a:cubicBezTo>
                <a:cubicBezTo>
                  <a:pt x="5146155" y="4230109"/>
                  <a:pt x="5155550" y="4237155"/>
                  <a:pt x="5148504" y="4251248"/>
                </a:cubicBezTo>
                <a:cubicBezTo>
                  <a:pt x="5115620" y="4312316"/>
                  <a:pt x="5157899" y="4389826"/>
                  <a:pt x="5122667" y="4450894"/>
                </a:cubicBezTo>
                <a:cubicBezTo>
                  <a:pt x="5155550" y="4540147"/>
                  <a:pt x="5115620" y="4659935"/>
                  <a:pt x="5167294" y="4760933"/>
                </a:cubicBezTo>
                <a:cubicBezTo>
                  <a:pt x="5223664" y="4777374"/>
                  <a:pt x="5233059" y="4847838"/>
                  <a:pt x="5200177" y="4861930"/>
                </a:cubicBezTo>
                <a:cubicBezTo>
                  <a:pt x="5221316" y="4854884"/>
                  <a:pt x="5223664" y="4883069"/>
                  <a:pt x="5235408" y="4876023"/>
                </a:cubicBezTo>
                <a:cubicBezTo>
                  <a:pt x="5223664" y="4857233"/>
                  <a:pt x="5251850" y="4876023"/>
                  <a:pt x="5251850" y="4868976"/>
                </a:cubicBezTo>
                <a:cubicBezTo>
                  <a:pt x="5249501" y="4847838"/>
                  <a:pt x="5218967" y="4868976"/>
                  <a:pt x="5218967" y="4847838"/>
                </a:cubicBezTo>
                <a:cubicBezTo>
                  <a:pt x="5261245" y="4847838"/>
                  <a:pt x="5226013" y="4824350"/>
                  <a:pt x="5277686" y="4817303"/>
                </a:cubicBezTo>
                <a:cubicBezTo>
                  <a:pt x="5277686" y="4824350"/>
                  <a:pt x="5291779" y="4847838"/>
                  <a:pt x="5298825" y="4833745"/>
                </a:cubicBezTo>
                <a:cubicBezTo>
                  <a:pt x="5287081" y="4824350"/>
                  <a:pt x="5310569" y="4807908"/>
                  <a:pt x="5317616" y="4807908"/>
                </a:cubicBezTo>
                <a:cubicBezTo>
                  <a:pt x="5315267" y="4814955"/>
                  <a:pt x="5308220" y="4822001"/>
                  <a:pt x="5315267" y="4826698"/>
                </a:cubicBezTo>
                <a:cubicBezTo>
                  <a:pt x="5354903" y="4822294"/>
                  <a:pt x="5397291" y="4833488"/>
                  <a:pt x="5422361" y="4819565"/>
                </a:cubicBezTo>
                <a:lnTo>
                  <a:pt x="5424462" y="4817646"/>
                </a:lnTo>
                <a:lnTo>
                  <a:pt x="5426908" y="4818771"/>
                </a:lnTo>
                <a:cubicBezTo>
                  <a:pt x="5433293" y="4818330"/>
                  <a:pt x="5435055" y="4807321"/>
                  <a:pt x="5442101" y="4805560"/>
                </a:cubicBezTo>
                <a:lnTo>
                  <a:pt x="5436932" y="4803344"/>
                </a:lnTo>
                <a:lnTo>
                  <a:pt x="5442848" y="4788196"/>
                </a:lnTo>
                <a:cubicBezTo>
                  <a:pt x="5444449" y="4780090"/>
                  <a:pt x="5445036" y="4770328"/>
                  <a:pt x="5444449" y="4758584"/>
                </a:cubicBezTo>
                <a:cubicBezTo>
                  <a:pt x="5463240" y="4769153"/>
                  <a:pt x="5462653" y="4777961"/>
                  <a:pt x="5459130" y="4786182"/>
                </a:cubicBezTo>
                <a:lnTo>
                  <a:pt x="5454506" y="4796428"/>
                </a:lnTo>
                <a:lnTo>
                  <a:pt x="5453845" y="4796164"/>
                </a:lnTo>
                <a:cubicBezTo>
                  <a:pt x="5453845" y="4800862"/>
                  <a:pt x="5451496" y="4803211"/>
                  <a:pt x="5449147" y="4807908"/>
                </a:cubicBezTo>
                <a:cubicBezTo>
                  <a:pt x="5453845" y="4810257"/>
                  <a:pt x="5456193" y="4810257"/>
                  <a:pt x="5460891" y="4812606"/>
                </a:cubicBezTo>
                <a:cubicBezTo>
                  <a:pt x="5463240" y="4807908"/>
                  <a:pt x="5463240" y="4805560"/>
                  <a:pt x="5465589" y="4800862"/>
                </a:cubicBezTo>
                <a:lnTo>
                  <a:pt x="5463310" y="4799950"/>
                </a:lnTo>
                <a:lnTo>
                  <a:pt x="5467901" y="4793301"/>
                </a:lnTo>
                <a:cubicBezTo>
                  <a:pt x="5473076" y="4776787"/>
                  <a:pt x="5462066" y="4760933"/>
                  <a:pt x="5465589" y="4739794"/>
                </a:cubicBezTo>
                <a:cubicBezTo>
                  <a:pt x="5472048" y="4739207"/>
                  <a:pt x="5477920" y="4736270"/>
                  <a:pt x="5483388" y="4732307"/>
                </a:cubicBezTo>
                <a:lnTo>
                  <a:pt x="5485653" y="4730296"/>
                </a:lnTo>
                <a:lnTo>
                  <a:pt x="5481150" y="4736857"/>
                </a:lnTo>
                <a:cubicBezTo>
                  <a:pt x="5478507" y="4741555"/>
                  <a:pt x="5478507" y="4745665"/>
                  <a:pt x="5484379" y="4753886"/>
                </a:cubicBezTo>
                <a:cubicBezTo>
                  <a:pt x="5489076" y="4742143"/>
                  <a:pt x="5496123" y="4735096"/>
                  <a:pt x="5505518" y="4735096"/>
                </a:cubicBezTo>
                <a:cubicBezTo>
                  <a:pt x="5479681" y="4753886"/>
                  <a:pt x="5510215" y="4782072"/>
                  <a:pt x="5496123" y="4791467"/>
                </a:cubicBezTo>
                <a:cubicBezTo>
                  <a:pt x="5484379" y="4786769"/>
                  <a:pt x="5493774" y="4772676"/>
                  <a:pt x="5477333" y="4770328"/>
                </a:cubicBezTo>
                <a:cubicBezTo>
                  <a:pt x="5467937" y="4803211"/>
                  <a:pt x="5493774" y="4793816"/>
                  <a:pt x="5503169" y="4807908"/>
                </a:cubicBezTo>
                <a:cubicBezTo>
                  <a:pt x="5519610" y="4763281"/>
                  <a:pt x="5524308" y="4829047"/>
                  <a:pt x="5543098" y="4810257"/>
                </a:cubicBezTo>
                <a:cubicBezTo>
                  <a:pt x="5517262" y="4798513"/>
                  <a:pt x="5557191" y="4772676"/>
                  <a:pt x="5529006" y="4777374"/>
                </a:cubicBezTo>
                <a:cubicBezTo>
                  <a:pt x="5531354" y="4746840"/>
                  <a:pt x="5543098" y="4758584"/>
                  <a:pt x="5554842" y="4732747"/>
                </a:cubicBezTo>
                <a:cubicBezTo>
                  <a:pt x="5536052" y="4725701"/>
                  <a:pt x="5533703" y="4758584"/>
                  <a:pt x="5510215" y="4742143"/>
                </a:cubicBezTo>
                <a:cubicBezTo>
                  <a:pt x="5512564" y="4737445"/>
                  <a:pt x="5514913" y="4730399"/>
                  <a:pt x="5517262" y="4725701"/>
                </a:cubicBezTo>
                <a:cubicBezTo>
                  <a:pt x="5504931" y="4720416"/>
                  <a:pt x="5501848" y="4725701"/>
                  <a:pt x="5498105" y="4722728"/>
                </a:cubicBezTo>
                <a:lnTo>
                  <a:pt x="5496634" y="4720547"/>
                </a:lnTo>
                <a:lnTo>
                  <a:pt x="5498765" y="4718655"/>
                </a:lnTo>
                <a:cubicBezTo>
                  <a:pt x="5508454" y="4709260"/>
                  <a:pt x="5517262" y="4701039"/>
                  <a:pt x="5526657" y="4704562"/>
                </a:cubicBezTo>
                <a:cubicBezTo>
                  <a:pt x="5536052" y="4688121"/>
                  <a:pt x="5526657" y="4662284"/>
                  <a:pt x="5543098" y="4683423"/>
                </a:cubicBezTo>
                <a:cubicBezTo>
                  <a:pt x="5545447" y="4631750"/>
                  <a:pt x="5575981" y="4615308"/>
                  <a:pt x="5599469" y="4594169"/>
                </a:cubicBezTo>
                <a:cubicBezTo>
                  <a:pt x="5665235" y="4605913"/>
                  <a:pt x="5726303" y="4620006"/>
                  <a:pt x="5785022" y="4638796"/>
                </a:cubicBezTo>
                <a:cubicBezTo>
                  <a:pt x="5782674" y="4643494"/>
                  <a:pt x="5780325" y="4648191"/>
                  <a:pt x="5787371" y="4655237"/>
                </a:cubicBezTo>
                <a:cubicBezTo>
                  <a:pt x="5792069" y="4655237"/>
                  <a:pt x="5796766" y="4650540"/>
                  <a:pt x="5801464" y="4645843"/>
                </a:cubicBezTo>
                <a:cubicBezTo>
                  <a:pt x="5840219" y="4658761"/>
                  <a:pt x="5877799" y="4673441"/>
                  <a:pt x="5914206" y="4689295"/>
                </a:cubicBezTo>
                <a:lnTo>
                  <a:pt x="5999451" y="4730023"/>
                </a:lnTo>
                <a:lnTo>
                  <a:pt x="5998761" y="4730399"/>
                </a:lnTo>
                <a:cubicBezTo>
                  <a:pt x="6010505" y="4732747"/>
                  <a:pt x="6005808" y="4742143"/>
                  <a:pt x="6010505" y="4749189"/>
                </a:cubicBezTo>
                <a:lnTo>
                  <a:pt x="6010739" y="4735416"/>
                </a:lnTo>
                <a:lnTo>
                  <a:pt x="6019901" y="4739794"/>
                </a:lnTo>
                <a:cubicBezTo>
                  <a:pt x="6026947" y="4732747"/>
                  <a:pt x="6048085" y="4735096"/>
                  <a:pt x="6052783" y="4744491"/>
                </a:cubicBezTo>
                <a:cubicBezTo>
                  <a:pt x="6045737" y="4749189"/>
                  <a:pt x="6041039" y="4739794"/>
                  <a:pt x="6029296" y="4742143"/>
                </a:cubicBezTo>
                <a:cubicBezTo>
                  <a:pt x="6041039" y="4758584"/>
                  <a:pt x="6059829" y="4753886"/>
                  <a:pt x="6071573" y="4772676"/>
                </a:cubicBezTo>
                <a:cubicBezTo>
                  <a:pt x="6083317" y="4775025"/>
                  <a:pt x="6085666" y="4770328"/>
                  <a:pt x="6090364" y="4765630"/>
                </a:cubicBezTo>
                <a:cubicBezTo>
                  <a:pt x="6088015" y="4770328"/>
                  <a:pt x="6085666" y="4786769"/>
                  <a:pt x="6088015" y="4800862"/>
                </a:cubicBezTo>
                <a:cubicBezTo>
                  <a:pt x="6080968" y="4814955"/>
                  <a:pt x="6076271" y="4826698"/>
                  <a:pt x="6088015" y="4833745"/>
                </a:cubicBezTo>
                <a:cubicBezTo>
                  <a:pt x="6090364" y="4826698"/>
                  <a:pt x="6095061" y="4819652"/>
                  <a:pt x="6095061" y="4814955"/>
                </a:cubicBezTo>
                <a:cubicBezTo>
                  <a:pt x="6097410" y="4814955"/>
                  <a:pt x="6097410" y="4817303"/>
                  <a:pt x="6097410" y="4817303"/>
                </a:cubicBezTo>
                <a:cubicBezTo>
                  <a:pt x="6104456" y="4807908"/>
                  <a:pt x="6092712" y="4793816"/>
                  <a:pt x="6092712" y="4782072"/>
                </a:cubicBezTo>
                <a:cubicBezTo>
                  <a:pt x="6103282" y="4790880"/>
                  <a:pt x="6107246" y="4775906"/>
                  <a:pt x="6112530" y="4770841"/>
                </a:cubicBezTo>
                <a:lnTo>
                  <a:pt x="6116160" y="4770532"/>
                </a:lnTo>
                <a:lnTo>
                  <a:pt x="6113852" y="4782072"/>
                </a:lnTo>
                <a:cubicBezTo>
                  <a:pt x="6111503" y="4784420"/>
                  <a:pt x="6106805" y="4786769"/>
                  <a:pt x="6104456" y="4789118"/>
                </a:cubicBezTo>
                <a:cubicBezTo>
                  <a:pt x="6102108" y="4798513"/>
                  <a:pt x="6104456" y="4803211"/>
                  <a:pt x="6106805" y="4810257"/>
                </a:cubicBezTo>
                <a:cubicBezTo>
                  <a:pt x="6113852" y="4810257"/>
                  <a:pt x="6113852" y="4805560"/>
                  <a:pt x="6113852" y="4803211"/>
                </a:cubicBezTo>
                <a:cubicBezTo>
                  <a:pt x="6113852" y="4807908"/>
                  <a:pt x="6118549" y="4814955"/>
                  <a:pt x="6123247" y="4819652"/>
                </a:cubicBezTo>
                <a:cubicBezTo>
                  <a:pt x="6120898" y="4812606"/>
                  <a:pt x="6123247" y="4803211"/>
                  <a:pt x="6123247" y="4793816"/>
                </a:cubicBezTo>
                <a:cubicBezTo>
                  <a:pt x="6123247" y="4793816"/>
                  <a:pt x="6125596" y="4793816"/>
                  <a:pt x="6127944" y="4793816"/>
                </a:cubicBezTo>
                <a:cubicBezTo>
                  <a:pt x="6132642" y="4822001"/>
                  <a:pt x="6146734" y="4836094"/>
                  <a:pt x="6149083" y="4864279"/>
                </a:cubicBezTo>
                <a:cubicBezTo>
                  <a:pt x="6144386" y="4861930"/>
                  <a:pt x="6146734" y="4850186"/>
                  <a:pt x="6139688" y="4850186"/>
                </a:cubicBezTo>
                <a:cubicBezTo>
                  <a:pt x="6137339" y="4861930"/>
                  <a:pt x="6146734" y="4864279"/>
                  <a:pt x="6144386" y="4873674"/>
                </a:cubicBezTo>
                <a:cubicBezTo>
                  <a:pt x="6149083" y="4876023"/>
                  <a:pt x="6149083" y="4868976"/>
                  <a:pt x="6156129" y="4871325"/>
                </a:cubicBezTo>
                <a:cubicBezTo>
                  <a:pt x="6139688" y="4892464"/>
                  <a:pt x="6165524" y="4930045"/>
                  <a:pt x="6156129" y="4953533"/>
                </a:cubicBezTo>
                <a:cubicBezTo>
                  <a:pt x="6134991" y="4932393"/>
                  <a:pt x="6137339" y="4887767"/>
                  <a:pt x="6125596" y="4857233"/>
                </a:cubicBezTo>
                <a:cubicBezTo>
                  <a:pt x="6111503" y="4866628"/>
                  <a:pt x="6125596" y="4894813"/>
                  <a:pt x="6127944" y="4918301"/>
                </a:cubicBezTo>
                <a:cubicBezTo>
                  <a:pt x="6127944" y="4932393"/>
                  <a:pt x="6125596" y="4946486"/>
                  <a:pt x="6130293" y="4958230"/>
                </a:cubicBezTo>
                <a:cubicBezTo>
                  <a:pt x="6118549" y="4967625"/>
                  <a:pt x="6118549" y="4991113"/>
                  <a:pt x="6111503" y="5005206"/>
                </a:cubicBezTo>
                <a:cubicBezTo>
                  <a:pt x="6102108" y="4998159"/>
                  <a:pt x="6102108" y="4988764"/>
                  <a:pt x="6095061" y="4981718"/>
                </a:cubicBezTo>
                <a:cubicBezTo>
                  <a:pt x="6073922" y="4993462"/>
                  <a:pt x="6090364" y="5042786"/>
                  <a:pt x="6104456" y="5052181"/>
                </a:cubicBezTo>
                <a:cubicBezTo>
                  <a:pt x="6104456" y="5056879"/>
                  <a:pt x="6102108" y="5052181"/>
                  <a:pt x="6097410" y="5052181"/>
                </a:cubicBezTo>
                <a:cubicBezTo>
                  <a:pt x="6097410" y="5063925"/>
                  <a:pt x="6102108" y="5073320"/>
                  <a:pt x="6104456" y="5085064"/>
                </a:cubicBezTo>
                <a:cubicBezTo>
                  <a:pt x="6095061" y="5073320"/>
                  <a:pt x="6090364" y="5056879"/>
                  <a:pt x="6088015" y="5040437"/>
                </a:cubicBezTo>
                <a:cubicBezTo>
                  <a:pt x="6078620" y="5038088"/>
                  <a:pt x="6088015" y="5061576"/>
                  <a:pt x="6076271" y="5049832"/>
                </a:cubicBezTo>
                <a:cubicBezTo>
                  <a:pt x="6076271" y="5063925"/>
                  <a:pt x="6083317" y="5070972"/>
                  <a:pt x="6085666" y="5082715"/>
                </a:cubicBezTo>
                <a:cubicBezTo>
                  <a:pt x="6069224" y="5075669"/>
                  <a:pt x="6062178" y="5061576"/>
                  <a:pt x="6062178" y="5045135"/>
                </a:cubicBezTo>
                <a:cubicBezTo>
                  <a:pt x="6048085" y="5042786"/>
                  <a:pt x="6069224" y="5059228"/>
                  <a:pt x="6055132" y="5056879"/>
                </a:cubicBezTo>
                <a:cubicBezTo>
                  <a:pt x="6055132" y="5040437"/>
                  <a:pt x="6045737" y="5033391"/>
                  <a:pt x="6033993" y="5026345"/>
                </a:cubicBezTo>
                <a:cubicBezTo>
                  <a:pt x="6031644" y="5038088"/>
                  <a:pt x="6045737" y="5054530"/>
                  <a:pt x="6045737" y="5073320"/>
                </a:cubicBezTo>
                <a:cubicBezTo>
                  <a:pt x="6036342" y="5056879"/>
                  <a:pt x="6029296" y="5038088"/>
                  <a:pt x="6019901" y="5019298"/>
                </a:cubicBezTo>
                <a:cubicBezTo>
                  <a:pt x="6010505" y="5026345"/>
                  <a:pt x="6008156" y="5059228"/>
                  <a:pt x="6019901" y="5066274"/>
                </a:cubicBezTo>
                <a:cubicBezTo>
                  <a:pt x="6010505" y="5082715"/>
                  <a:pt x="6017552" y="5122645"/>
                  <a:pt x="6029296" y="5136737"/>
                </a:cubicBezTo>
                <a:cubicBezTo>
                  <a:pt x="6022249" y="5134389"/>
                  <a:pt x="6017552" y="5148481"/>
                  <a:pt x="6019901" y="5162574"/>
                </a:cubicBezTo>
                <a:cubicBezTo>
                  <a:pt x="6015203" y="5146132"/>
                  <a:pt x="6012854" y="5106203"/>
                  <a:pt x="6001110" y="5092110"/>
                </a:cubicBezTo>
                <a:cubicBezTo>
                  <a:pt x="5994064" y="5101505"/>
                  <a:pt x="6003459" y="5115598"/>
                  <a:pt x="6001110" y="5129691"/>
                </a:cubicBezTo>
                <a:cubicBezTo>
                  <a:pt x="5989366" y="5068623"/>
                  <a:pt x="5963530" y="5023996"/>
                  <a:pt x="5940042" y="4974672"/>
                </a:cubicBezTo>
                <a:cubicBezTo>
                  <a:pt x="5937693" y="4995810"/>
                  <a:pt x="5954134" y="5021647"/>
                  <a:pt x="5958832" y="5045135"/>
                </a:cubicBezTo>
                <a:cubicBezTo>
                  <a:pt x="5932995" y="5005206"/>
                  <a:pt x="5923600" y="4948835"/>
                  <a:pt x="5893066" y="4913603"/>
                </a:cubicBezTo>
                <a:cubicBezTo>
                  <a:pt x="5900113" y="4911255"/>
                  <a:pt x="5893066" y="4920650"/>
                  <a:pt x="5902461" y="4918301"/>
                </a:cubicBezTo>
                <a:cubicBezTo>
                  <a:pt x="5878973" y="4873674"/>
                  <a:pt x="5829649" y="4833745"/>
                  <a:pt x="5789720" y="4796164"/>
                </a:cubicBezTo>
                <a:cubicBezTo>
                  <a:pt x="5810859" y="4838442"/>
                  <a:pt x="5864881" y="4866628"/>
                  <a:pt x="5890717" y="4913603"/>
                </a:cubicBezTo>
                <a:cubicBezTo>
                  <a:pt x="5878973" y="4913603"/>
                  <a:pt x="5876625" y="4899511"/>
                  <a:pt x="5867230" y="4897162"/>
                </a:cubicBezTo>
                <a:cubicBezTo>
                  <a:pt x="5883671" y="4930045"/>
                  <a:pt x="5904810" y="4960579"/>
                  <a:pt x="5921252" y="4993462"/>
                </a:cubicBezTo>
                <a:cubicBezTo>
                  <a:pt x="5897764" y="4955881"/>
                  <a:pt x="5869579" y="4913603"/>
                  <a:pt x="5836695" y="4876023"/>
                </a:cubicBezTo>
                <a:cubicBezTo>
                  <a:pt x="5839044" y="4873674"/>
                  <a:pt x="5839044" y="4864279"/>
                  <a:pt x="5829649" y="4854884"/>
                </a:cubicBezTo>
                <a:cubicBezTo>
                  <a:pt x="5827300" y="4859582"/>
                  <a:pt x="5827300" y="4864279"/>
                  <a:pt x="5827300" y="4866628"/>
                </a:cubicBezTo>
                <a:cubicBezTo>
                  <a:pt x="5803813" y="4843140"/>
                  <a:pt x="5777976" y="4822001"/>
                  <a:pt x="5747442" y="4805560"/>
                </a:cubicBezTo>
                <a:cubicBezTo>
                  <a:pt x="5792069" y="4857233"/>
                  <a:pt x="5846091" y="4913603"/>
                  <a:pt x="5890717" y="4969974"/>
                </a:cubicBezTo>
                <a:cubicBezTo>
                  <a:pt x="5893066" y="4977020"/>
                  <a:pt x="5904810" y="4986415"/>
                  <a:pt x="5900113" y="4993462"/>
                </a:cubicBezTo>
                <a:cubicBezTo>
                  <a:pt x="5869579" y="4955881"/>
                  <a:pt x="5836695" y="4922998"/>
                  <a:pt x="5803813" y="4892464"/>
                </a:cubicBezTo>
                <a:cubicBezTo>
                  <a:pt x="5808510" y="4885418"/>
                  <a:pt x="5815557" y="4871325"/>
                  <a:pt x="5803813" y="4892464"/>
                </a:cubicBezTo>
                <a:cubicBezTo>
                  <a:pt x="5799115" y="4887767"/>
                  <a:pt x="5794418" y="4883069"/>
                  <a:pt x="5789720" y="4878371"/>
                </a:cubicBezTo>
                <a:cubicBezTo>
                  <a:pt x="5770930" y="4861930"/>
                  <a:pt x="5754488" y="4845489"/>
                  <a:pt x="5738047" y="4829047"/>
                </a:cubicBezTo>
                <a:cubicBezTo>
                  <a:pt x="5749791" y="4845489"/>
                  <a:pt x="5761535" y="4861930"/>
                  <a:pt x="5775627" y="4876023"/>
                </a:cubicBezTo>
                <a:cubicBezTo>
                  <a:pt x="5770930" y="4873674"/>
                  <a:pt x="5763883" y="4873674"/>
                  <a:pt x="5759186" y="4876023"/>
                </a:cubicBezTo>
                <a:cubicBezTo>
                  <a:pt x="5754488" y="4871325"/>
                  <a:pt x="5749791" y="4866628"/>
                  <a:pt x="5745093" y="4861930"/>
                </a:cubicBezTo>
                <a:cubicBezTo>
                  <a:pt x="5740396" y="4847838"/>
                  <a:pt x="5731000" y="4833745"/>
                  <a:pt x="5716908" y="4819652"/>
                </a:cubicBezTo>
                <a:cubicBezTo>
                  <a:pt x="5714559" y="4822001"/>
                  <a:pt x="5712210" y="4826698"/>
                  <a:pt x="5712210" y="4829047"/>
                </a:cubicBezTo>
                <a:cubicBezTo>
                  <a:pt x="5705164" y="4822001"/>
                  <a:pt x="5698118" y="4814955"/>
                  <a:pt x="5691071" y="4807908"/>
                </a:cubicBezTo>
                <a:cubicBezTo>
                  <a:pt x="5688723" y="4803211"/>
                  <a:pt x="5686374" y="4800862"/>
                  <a:pt x="5684025" y="4798513"/>
                </a:cubicBezTo>
                <a:cubicBezTo>
                  <a:pt x="5684025" y="4798513"/>
                  <a:pt x="5684025" y="4800862"/>
                  <a:pt x="5684025" y="4800862"/>
                </a:cubicBezTo>
                <a:cubicBezTo>
                  <a:pt x="5684025" y="4800862"/>
                  <a:pt x="5681676" y="4798513"/>
                  <a:pt x="5679327" y="4796164"/>
                </a:cubicBezTo>
                <a:cubicBezTo>
                  <a:pt x="5684025" y="4791467"/>
                  <a:pt x="5688723" y="4789118"/>
                  <a:pt x="5688723" y="4786769"/>
                </a:cubicBezTo>
                <a:cubicBezTo>
                  <a:pt x="5684025" y="4789118"/>
                  <a:pt x="5679327" y="4789118"/>
                  <a:pt x="5672281" y="4789118"/>
                </a:cubicBezTo>
                <a:cubicBezTo>
                  <a:pt x="5672281" y="4789118"/>
                  <a:pt x="5669932" y="4786769"/>
                  <a:pt x="5669932" y="4786769"/>
                </a:cubicBezTo>
                <a:cubicBezTo>
                  <a:pt x="5660537" y="4777374"/>
                  <a:pt x="5653491" y="4767979"/>
                  <a:pt x="5644096" y="4758584"/>
                </a:cubicBezTo>
                <a:cubicBezTo>
                  <a:pt x="5639398" y="4760933"/>
                  <a:pt x="5634701" y="4760933"/>
                  <a:pt x="5630003" y="4763281"/>
                </a:cubicBezTo>
                <a:cubicBezTo>
                  <a:pt x="5606515" y="4767979"/>
                  <a:pt x="5585376" y="4782072"/>
                  <a:pt x="5594772" y="4817303"/>
                </a:cubicBezTo>
                <a:cubicBezTo>
                  <a:pt x="5601818" y="4805560"/>
                  <a:pt x="5594772" y="4800862"/>
                  <a:pt x="5599469" y="4791467"/>
                </a:cubicBezTo>
                <a:cubicBezTo>
                  <a:pt x="5608864" y="4814955"/>
                  <a:pt x="5618259" y="4777374"/>
                  <a:pt x="5632352" y="4777374"/>
                </a:cubicBezTo>
                <a:cubicBezTo>
                  <a:pt x="5641747" y="4793816"/>
                  <a:pt x="5651142" y="4803211"/>
                  <a:pt x="5662886" y="4810257"/>
                </a:cubicBezTo>
                <a:cubicBezTo>
                  <a:pt x="5662886" y="4810257"/>
                  <a:pt x="5665235" y="4812606"/>
                  <a:pt x="5665235" y="4812606"/>
                </a:cubicBezTo>
                <a:cubicBezTo>
                  <a:pt x="5653491" y="4817303"/>
                  <a:pt x="5653491" y="4833745"/>
                  <a:pt x="5660537" y="4843140"/>
                </a:cubicBezTo>
                <a:cubicBezTo>
                  <a:pt x="5665235" y="4831396"/>
                  <a:pt x="5672281" y="4857233"/>
                  <a:pt x="5681676" y="4838442"/>
                </a:cubicBezTo>
                <a:cubicBezTo>
                  <a:pt x="5660537" y="4829047"/>
                  <a:pt x="5667583" y="4824350"/>
                  <a:pt x="5674630" y="4824350"/>
                </a:cubicBezTo>
                <a:cubicBezTo>
                  <a:pt x="5681676" y="4833745"/>
                  <a:pt x="5688723" y="4843140"/>
                  <a:pt x="5695769" y="4852535"/>
                </a:cubicBezTo>
                <a:cubicBezTo>
                  <a:pt x="5700467" y="4868976"/>
                  <a:pt x="5702815" y="4880720"/>
                  <a:pt x="5705164" y="4883069"/>
                </a:cubicBezTo>
                <a:cubicBezTo>
                  <a:pt x="5707513" y="4878371"/>
                  <a:pt x="5707513" y="4873674"/>
                  <a:pt x="5709862" y="4871325"/>
                </a:cubicBezTo>
                <a:lnTo>
                  <a:pt x="5725156" y="4890989"/>
                </a:lnTo>
                <a:lnTo>
                  <a:pt x="5728651" y="4890115"/>
                </a:lnTo>
                <a:cubicBezTo>
                  <a:pt x="5728651" y="4894813"/>
                  <a:pt x="5728651" y="4899510"/>
                  <a:pt x="5728651" y="4904208"/>
                </a:cubicBezTo>
                <a:lnTo>
                  <a:pt x="5721270" y="4894981"/>
                </a:lnTo>
                <a:lnTo>
                  <a:pt x="5716908" y="4897162"/>
                </a:lnTo>
                <a:cubicBezTo>
                  <a:pt x="5707513" y="4887767"/>
                  <a:pt x="5700467" y="4878371"/>
                  <a:pt x="5691071" y="4871325"/>
                </a:cubicBezTo>
                <a:cubicBezTo>
                  <a:pt x="5695769" y="4880720"/>
                  <a:pt x="5700467" y="4890115"/>
                  <a:pt x="5705164" y="4899511"/>
                </a:cubicBezTo>
                <a:cubicBezTo>
                  <a:pt x="5702815" y="4899511"/>
                  <a:pt x="5702815" y="4901859"/>
                  <a:pt x="5700467" y="4904208"/>
                </a:cubicBezTo>
                <a:cubicBezTo>
                  <a:pt x="5702815" y="4908906"/>
                  <a:pt x="5707513" y="4908906"/>
                  <a:pt x="5709862" y="4908906"/>
                </a:cubicBezTo>
                <a:cubicBezTo>
                  <a:pt x="5726303" y="4937091"/>
                  <a:pt x="5742744" y="4962928"/>
                  <a:pt x="5759186" y="4991113"/>
                </a:cubicBezTo>
                <a:cubicBezTo>
                  <a:pt x="5733349" y="4955881"/>
                  <a:pt x="5702815" y="4915952"/>
                  <a:pt x="5672281" y="4876023"/>
                </a:cubicBezTo>
                <a:cubicBezTo>
                  <a:pt x="5669932" y="4866628"/>
                  <a:pt x="5681676" y="4852535"/>
                  <a:pt x="5667583" y="4850186"/>
                </a:cubicBezTo>
                <a:cubicBezTo>
                  <a:pt x="5665235" y="4854884"/>
                  <a:pt x="5665235" y="4859582"/>
                  <a:pt x="5665235" y="4866628"/>
                </a:cubicBezTo>
                <a:cubicBezTo>
                  <a:pt x="5648793" y="4847838"/>
                  <a:pt x="5634701" y="4831396"/>
                  <a:pt x="5618259" y="4814955"/>
                </a:cubicBezTo>
                <a:cubicBezTo>
                  <a:pt x="5667583" y="4878371"/>
                  <a:pt x="5712210" y="4941789"/>
                  <a:pt x="5756837" y="5007554"/>
                </a:cubicBezTo>
                <a:cubicBezTo>
                  <a:pt x="5716908" y="4981718"/>
                  <a:pt x="5684025" y="4930045"/>
                  <a:pt x="5644096" y="4890115"/>
                </a:cubicBezTo>
                <a:cubicBezTo>
                  <a:pt x="5674630" y="4930045"/>
                  <a:pt x="5691071" y="4981718"/>
                  <a:pt x="5738047" y="5007554"/>
                </a:cubicBezTo>
                <a:cubicBezTo>
                  <a:pt x="5745093" y="5028694"/>
                  <a:pt x="5761535" y="5042786"/>
                  <a:pt x="5777976" y="5056879"/>
                </a:cubicBezTo>
                <a:cubicBezTo>
                  <a:pt x="5756837" y="5059228"/>
                  <a:pt x="5745093" y="5028694"/>
                  <a:pt x="5731000" y="5014601"/>
                </a:cubicBezTo>
                <a:cubicBezTo>
                  <a:pt x="5733349" y="5026345"/>
                  <a:pt x="5747442" y="5045135"/>
                  <a:pt x="5756837" y="5059228"/>
                </a:cubicBezTo>
                <a:cubicBezTo>
                  <a:pt x="5733349" y="5040437"/>
                  <a:pt x="5721605" y="5005206"/>
                  <a:pt x="5700467" y="4981718"/>
                </a:cubicBezTo>
                <a:cubicBezTo>
                  <a:pt x="5686374" y="4967625"/>
                  <a:pt x="5667583" y="4958230"/>
                  <a:pt x="5653491" y="4944137"/>
                </a:cubicBezTo>
                <a:cubicBezTo>
                  <a:pt x="5630003" y="4925347"/>
                  <a:pt x="5606515" y="4899511"/>
                  <a:pt x="5585376" y="4873674"/>
                </a:cubicBezTo>
                <a:cubicBezTo>
                  <a:pt x="5580679" y="4876023"/>
                  <a:pt x="5573632" y="4878371"/>
                  <a:pt x="5566586" y="4873674"/>
                </a:cubicBezTo>
                <a:cubicBezTo>
                  <a:pt x="5566586" y="4866628"/>
                  <a:pt x="5568935" y="4861930"/>
                  <a:pt x="5573632" y="4859582"/>
                </a:cubicBezTo>
                <a:cubicBezTo>
                  <a:pt x="5568935" y="4854884"/>
                  <a:pt x="5564237" y="4850186"/>
                  <a:pt x="5559540" y="4845489"/>
                </a:cubicBezTo>
                <a:cubicBezTo>
                  <a:pt x="5557191" y="4847838"/>
                  <a:pt x="5552493" y="4847838"/>
                  <a:pt x="5550145" y="4850186"/>
                </a:cubicBezTo>
                <a:cubicBezTo>
                  <a:pt x="5568935" y="4883069"/>
                  <a:pt x="5590074" y="4922998"/>
                  <a:pt x="5608864" y="4958230"/>
                </a:cubicBezTo>
                <a:cubicBezTo>
                  <a:pt x="5608864" y="4958230"/>
                  <a:pt x="5611213" y="4958230"/>
                  <a:pt x="5611213" y="4958230"/>
                </a:cubicBezTo>
                <a:cubicBezTo>
                  <a:pt x="5611213" y="4958230"/>
                  <a:pt x="5611213" y="4960579"/>
                  <a:pt x="5611213" y="4960579"/>
                </a:cubicBezTo>
                <a:cubicBezTo>
                  <a:pt x="5620608" y="4979369"/>
                  <a:pt x="5630003" y="4995810"/>
                  <a:pt x="5641747" y="5012252"/>
                </a:cubicBezTo>
                <a:cubicBezTo>
                  <a:pt x="5630003" y="4998159"/>
                  <a:pt x="5618259" y="4984067"/>
                  <a:pt x="5606515" y="4967625"/>
                </a:cubicBezTo>
                <a:cubicBezTo>
                  <a:pt x="5599469" y="4969974"/>
                  <a:pt x="5590074" y="4962928"/>
                  <a:pt x="5583028" y="4960579"/>
                </a:cubicBezTo>
                <a:cubicBezTo>
                  <a:pt x="5580679" y="4960579"/>
                  <a:pt x="5580679" y="4960579"/>
                  <a:pt x="5580679" y="4960579"/>
                </a:cubicBezTo>
                <a:cubicBezTo>
                  <a:pt x="5594772" y="4986415"/>
                  <a:pt x="5608864" y="5014601"/>
                  <a:pt x="5620608" y="5042786"/>
                </a:cubicBezTo>
                <a:cubicBezTo>
                  <a:pt x="5608864" y="5028694"/>
                  <a:pt x="5599469" y="5014601"/>
                  <a:pt x="5585376" y="5000508"/>
                </a:cubicBezTo>
                <a:cubicBezTo>
                  <a:pt x="5580679" y="5000508"/>
                  <a:pt x="5580679" y="5005206"/>
                  <a:pt x="5580679" y="5009903"/>
                </a:cubicBezTo>
                <a:cubicBezTo>
                  <a:pt x="5575981" y="4995810"/>
                  <a:pt x="5571284" y="4984067"/>
                  <a:pt x="5564237" y="4972323"/>
                </a:cubicBezTo>
                <a:cubicBezTo>
                  <a:pt x="5561888" y="4974672"/>
                  <a:pt x="5557191" y="4974672"/>
                  <a:pt x="5554842" y="4974672"/>
                </a:cubicBezTo>
                <a:cubicBezTo>
                  <a:pt x="5557191" y="4977020"/>
                  <a:pt x="5559540" y="4981718"/>
                  <a:pt x="5561888" y="4986415"/>
                </a:cubicBezTo>
                <a:cubicBezTo>
                  <a:pt x="5568935" y="4991113"/>
                  <a:pt x="5578330" y="4991113"/>
                  <a:pt x="5575981" y="5009903"/>
                </a:cubicBezTo>
                <a:cubicBezTo>
                  <a:pt x="5568935" y="5009903"/>
                  <a:pt x="5566586" y="5012252"/>
                  <a:pt x="5561888" y="5014601"/>
                </a:cubicBezTo>
                <a:cubicBezTo>
                  <a:pt x="5568935" y="5026345"/>
                  <a:pt x="5578330" y="5038088"/>
                  <a:pt x="5578330" y="5049832"/>
                </a:cubicBezTo>
                <a:cubicBezTo>
                  <a:pt x="5568935" y="5042786"/>
                  <a:pt x="5564237" y="5031042"/>
                  <a:pt x="5557191" y="5019298"/>
                </a:cubicBezTo>
                <a:cubicBezTo>
                  <a:pt x="5552493" y="5023996"/>
                  <a:pt x="5550145" y="5028694"/>
                  <a:pt x="5545447" y="5031042"/>
                </a:cubicBezTo>
                <a:cubicBezTo>
                  <a:pt x="5543098" y="5031042"/>
                  <a:pt x="5540750" y="5033391"/>
                  <a:pt x="5538401" y="5033391"/>
                </a:cubicBezTo>
                <a:cubicBezTo>
                  <a:pt x="5529006" y="5038088"/>
                  <a:pt x="5524308" y="5035740"/>
                  <a:pt x="5519610" y="5031042"/>
                </a:cubicBezTo>
                <a:cubicBezTo>
                  <a:pt x="5521959" y="5033391"/>
                  <a:pt x="5521959" y="5038088"/>
                  <a:pt x="5524308" y="5040437"/>
                </a:cubicBezTo>
                <a:cubicBezTo>
                  <a:pt x="5529006" y="5042786"/>
                  <a:pt x="5531354" y="5045135"/>
                  <a:pt x="5531354" y="5054530"/>
                </a:cubicBezTo>
                <a:cubicBezTo>
                  <a:pt x="5533703" y="5059228"/>
                  <a:pt x="5536052" y="5063925"/>
                  <a:pt x="5538401" y="5068623"/>
                </a:cubicBezTo>
                <a:cubicBezTo>
                  <a:pt x="5533703" y="5068623"/>
                  <a:pt x="5533703" y="5063925"/>
                  <a:pt x="5531354" y="5059228"/>
                </a:cubicBezTo>
                <a:cubicBezTo>
                  <a:pt x="5529006" y="5059228"/>
                  <a:pt x="5526657" y="5059228"/>
                  <a:pt x="5524308" y="5059228"/>
                </a:cubicBezTo>
                <a:cubicBezTo>
                  <a:pt x="5524308" y="5066274"/>
                  <a:pt x="5529006" y="5073320"/>
                  <a:pt x="5526657" y="5080367"/>
                </a:cubicBezTo>
                <a:cubicBezTo>
                  <a:pt x="5524308" y="5073320"/>
                  <a:pt x="5521959" y="5066274"/>
                  <a:pt x="5519610" y="5059228"/>
                </a:cubicBezTo>
                <a:cubicBezTo>
                  <a:pt x="5512564" y="5059228"/>
                  <a:pt x="5505518" y="5061576"/>
                  <a:pt x="5498471" y="5061576"/>
                </a:cubicBezTo>
                <a:cubicBezTo>
                  <a:pt x="5496123" y="5068623"/>
                  <a:pt x="5491425" y="5073320"/>
                  <a:pt x="5484379" y="5078018"/>
                </a:cubicBezTo>
                <a:cubicBezTo>
                  <a:pt x="5503169" y="5099157"/>
                  <a:pt x="5524308" y="5117947"/>
                  <a:pt x="5543098" y="5136737"/>
                </a:cubicBezTo>
                <a:cubicBezTo>
                  <a:pt x="5559540" y="5153179"/>
                  <a:pt x="5573632" y="5169620"/>
                  <a:pt x="5590074" y="5186062"/>
                </a:cubicBezTo>
                <a:cubicBezTo>
                  <a:pt x="5585376" y="5188411"/>
                  <a:pt x="5578330" y="5193108"/>
                  <a:pt x="5585376" y="5197806"/>
                </a:cubicBezTo>
                <a:cubicBezTo>
                  <a:pt x="5597120" y="5200154"/>
                  <a:pt x="5585376" y="5251827"/>
                  <a:pt x="5597120" y="5270618"/>
                </a:cubicBezTo>
                <a:cubicBezTo>
                  <a:pt x="5608864" y="5247130"/>
                  <a:pt x="5590074" y="5235386"/>
                  <a:pt x="5601818" y="5211898"/>
                </a:cubicBezTo>
                <a:cubicBezTo>
                  <a:pt x="5608864" y="5216596"/>
                  <a:pt x="5606515" y="5223642"/>
                  <a:pt x="5615910" y="5225991"/>
                </a:cubicBezTo>
                <a:cubicBezTo>
                  <a:pt x="5618259" y="5221293"/>
                  <a:pt x="5618259" y="5218944"/>
                  <a:pt x="5620608" y="5214247"/>
                </a:cubicBezTo>
                <a:cubicBezTo>
                  <a:pt x="5632352" y="5218944"/>
                  <a:pt x="5641747" y="5228340"/>
                  <a:pt x="5651142" y="5235386"/>
                </a:cubicBezTo>
                <a:cubicBezTo>
                  <a:pt x="5651142" y="5244781"/>
                  <a:pt x="5651142" y="5254176"/>
                  <a:pt x="5655840" y="5261222"/>
                </a:cubicBezTo>
                <a:cubicBezTo>
                  <a:pt x="5658188" y="5254176"/>
                  <a:pt x="5658188" y="5249479"/>
                  <a:pt x="5660537" y="5242432"/>
                </a:cubicBezTo>
                <a:cubicBezTo>
                  <a:pt x="5665235" y="5247130"/>
                  <a:pt x="5669932" y="5249479"/>
                  <a:pt x="5674630" y="5251827"/>
                </a:cubicBezTo>
                <a:cubicBezTo>
                  <a:pt x="5702815" y="5247130"/>
                  <a:pt x="5728652" y="5256525"/>
                  <a:pt x="5728652" y="5275315"/>
                </a:cubicBezTo>
                <a:cubicBezTo>
                  <a:pt x="5754488" y="5280013"/>
                  <a:pt x="5801464" y="5268269"/>
                  <a:pt x="5827300" y="5280013"/>
                </a:cubicBezTo>
                <a:cubicBezTo>
                  <a:pt x="5839044" y="5301152"/>
                  <a:pt x="5862532" y="5310547"/>
                  <a:pt x="5878973" y="5326988"/>
                </a:cubicBezTo>
                <a:cubicBezTo>
                  <a:pt x="5902461" y="5331686"/>
                  <a:pt x="5925949" y="5324639"/>
                  <a:pt x="5944739" y="5329337"/>
                </a:cubicBezTo>
                <a:cubicBezTo>
                  <a:pt x="5965878" y="5334035"/>
                  <a:pt x="5979971" y="5352825"/>
                  <a:pt x="5998761" y="5357523"/>
                </a:cubicBezTo>
                <a:cubicBezTo>
                  <a:pt x="6026947" y="5364569"/>
                  <a:pt x="6050434" y="5341081"/>
                  <a:pt x="6092712" y="5348127"/>
                </a:cubicBezTo>
                <a:cubicBezTo>
                  <a:pt x="6125596" y="5383359"/>
                  <a:pt x="6153780" y="5420939"/>
                  <a:pt x="6179617" y="5460869"/>
                </a:cubicBezTo>
                <a:cubicBezTo>
                  <a:pt x="6257127" y="5463218"/>
                  <a:pt x="6320544" y="5484356"/>
                  <a:pt x="6383961" y="5500798"/>
                </a:cubicBezTo>
                <a:cubicBezTo>
                  <a:pt x="6322893" y="5493752"/>
                  <a:pt x="6259476" y="5467915"/>
                  <a:pt x="6189012" y="5472613"/>
                </a:cubicBezTo>
                <a:cubicBezTo>
                  <a:pt x="6247732" y="5510193"/>
                  <a:pt x="6336986" y="5517240"/>
                  <a:pt x="6398053" y="5550122"/>
                </a:cubicBezTo>
                <a:cubicBezTo>
                  <a:pt x="6367519" y="5545425"/>
                  <a:pt x="6327590" y="5526635"/>
                  <a:pt x="6292358" y="5519588"/>
                </a:cubicBezTo>
                <a:cubicBezTo>
                  <a:pt x="6315846" y="5543076"/>
                  <a:pt x="6355776" y="5552471"/>
                  <a:pt x="6386309" y="5568913"/>
                </a:cubicBezTo>
                <a:cubicBezTo>
                  <a:pt x="6381612" y="5573610"/>
                  <a:pt x="6367519" y="5566564"/>
                  <a:pt x="6362822" y="5561866"/>
                </a:cubicBezTo>
                <a:cubicBezTo>
                  <a:pt x="6362822" y="5568913"/>
                  <a:pt x="6379263" y="5580657"/>
                  <a:pt x="6391007" y="5585354"/>
                </a:cubicBezTo>
                <a:cubicBezTo>
                  <a:pt x="6376914" y="5583005"/>
                  <a:pt x="6365171" y="5571261"/>
                  <a:pt x="6351078" y="5564215"/>
                </a:cubicBezTo>
                <a:cubicBezTo>
                  <a:pt x="6311149" y="5540727"/>
                  <a:pt x="6264173" y="5517240"/>
                  <a:pt x="6212500" y="5503147"/>
                </a:cubicBezTo>
                <a:cubicBezTo>
                  <a:pt x="6210151" y="5503147"/>
                  <a:pt x="6210151" y="5507844"/>
                  <a:pt x="6212500" y="5507844"/>
                </a:cubicBezTo>
                <a:cubicBezTo>
                  <a:pt x="6207803" y="5512542"/>
                  <a:pt x="6200756" y="5496100"/>
                  <a:pt x="6189012" y="5498449"/>
                </a:cubicBezTo>
                <a:cubicBezTo>
                  <a:pt x="6189012" y="5507844"/>
                  <a:pt x="6196059" y="5512542"/>
                  <a:pt x="6200756" y="5519588"/>
                </a:cubicBezTo>
                <a:cubicBezTo>
                  <a:pt x="6207803" y="5519588"/>
                  <a:pt x="6210151" y="5524286"/>
                  <a:pt x="6219547" y="5521937"/>
                </a:cubicBezTo>
                <a:cubicBezTo>
                  <a:pt x="6243034" y="5536029"/>
                  <a:pt x="6266522" y="5545425"/>
                  <a:pt x="6292358" y="5559517"/>
                </a:cubicBezTo>
                <a:cubicBezTo>
                  <a:pt x="6315846" y="5571261"/>
                  <a:pt x="6334637" y="5590051"/>
                  <a:pt x="6358124" y="5601795"/>
                </a:cubicBezTo>
                <a:cubicBezTo>
                  <a:pt x="6407449" y="5627632"/>
                  <a:pt x="6459122" y="5644073"/>
                  <a:pt x="6508446" y="5672259"/>
                </a:cubicBezTo>
                <a:cubicBezTo>
                  <a:pt x="6470866" y="5665212"/>
                  <a:pt x="6430937" y="5634678"/>
                  <a:pt x="6388658" y="5622935"/>
                </a:cubicBezTo>
                <a:cubicBezTo>
                  <a:pt x="6388658" y="5627632"/>
                  <a:pt x="6391007" y="5629981"/>
                  <a:pt x="6393356" y="5629981"/>
                </a:cubicBezTo>
                <a:cubicBezTo>
                  <a:pt x="6365171" y="5611191"/>
                  <a:pt x="6311149" y="5594749"/>
                  <a:pt x="6264173" y="5585354"/>
                </a:cubicBezTo>
                <a:cubicBezTo>
                  <a:pt x="6285312" y="5599447"/>
                  <a:pt x="6313498" y="5611191"/>
                  <a:pt x="6336986" y="5622935"/>
                </a:cubicBezTo>
                <a:cubicBezTo>
                  <a:pt x="6383961" y="5646422"/>
                  <a:pt x="6428588" y="5676956"/>
                  <a:pt x="6466168" y="5709839"/>
                </a:cubicBezTo>
                <a:cubicBezTo>
                  <a:pt x="6430937" y="5691049"/>
                  <a:pt x="6405100" y="5660515"/>
                  <a:pt x="6367519" y="5644073"/>
                </a:cubicBezTo>
                <a:cubicBezTo>
                  <a:pt x="6430937" y="5702793"/>
                  <a:pt x="6522539" y="5754466"/>
                  <a:pt x="6609443" y="5801442"/>
                </a:cubicBezTo>
                <a:cubicBezTo>
                  <a:pt x="6543678" y="5780303"/>
                  <a:pt x="6484958" y="5730978"/>
                  <a:pt x="6405100" y="5714537"/>
                </a:cubicBezTo>
                <a:cubicBezTo>
                  <a:pt x="6459122" y="5756815"/>
                  <a:pt x="6538980" y="5773256"/>
                  <a:pt x="6583607" y="5824929"/>
                </a:cubicBezTo>
                <a:cubicBezTo>
                  <a:pt x="6543678" y="5799093"/>
                  <a:pt x="6503748" y="5773256"/>
                  <a:pt x="6456773" y="5754466"/>
                </a:cubicBezTo>
                <a:cubicBezTo>
                  <a:pt x="6499051" y="5801442"/>
                  <a:pt x="6576561" y="5813185"/>
                  <a:pt x="6625885" y="5853115"/>
                </a:cubicBezTo>
                <a:cubicBezTo>
                  <a:pt x="6585956" y="5846069"/>
                  <a:pt x="6548376" y="5813185"/>
                  <a:pt x="6506097" y="5799093"/>
                </a:cubicBezTo>
                <a:cubicBezTo>
                  <a:pt x="6517841" y="5820232"/>
                  <a:pt x="6536632" y="5834325"/>
                  <a:pt x="6555422" y="5848417"/>
                </a:cubicBezTo>
                <a:cubicBezTo>
                  <a:pt x="6524888" y="5836673"/>
                  <a:pt x="6499051" y="5801442"/>
                  <a:pt x="6468517" y="5785000"/>
                </a:cubicBezTo>
                <a:cubicBezTo>
                  <a:pt x="6463820" y="5794395"/>
                  <a:pt x="6437983" y="5766210"/>
                  <a:pt x="6414495" y="5768559"/>
                </a:cubicBezTo>
                <a:cubicBezTo>
                  <a:pt x="6428588" y="5796744"/>
                  <a:pt x="6466168" y="5822581"/>
                  <a:pt x="6506097" y="5834325"/>
                </a:cubicBezTo>
                <a:cubicBezTo>
                  <a:pt x="6543678" y="5871905"/>
                  <a:pt x="6588304" y="5902439"/>
                  <a:pt x="6625885" y="5940020"/>
                </a:cubicBezTo>
                <a:cubicBezTo>
                  <a:pt x="6590653" y="5921229"/>
                  <a:pt x="6553073" y="5881300"/>
                  <a:pt x="6513144" y="5857812"/>
                </a:cubicBezTo>
                <a:cubicBezTo>
                  <a:pt x="6546027" y="5897742"/>
                  <a:pt x="6590653" y="5928276"/>
                  <a:pt x="6621187" y="5968205"/>
                </a:cubicBezTo>
                <a:cubicBezTo>
                  <a:pt x="6665815" y="5982297"/>
                  <a:pt x="6708092" y="5996390"/>
                  <a:pt x="6745673" y="6019878"/>
                </a:cubicBezTo>
                <a:cubicBezTo>
                  <a:pt x="6719836" y="6012832"/>
                  <a:pt x="6684605" y="5996390"/>
                  <a:pt x="6651722" y="5989344"/>
                </a:cubicBezTo>
                <a:cubicBezTo>
                  <a:pt x="6663466" y="6010483"/>
                  <a:pt x="6696348" y="6029273"/>
                  <a:pt x="6712790" y="6052761"/>
                </a:cubicBezTo>
                <a:cubicBezTo>
                  <a:pt x="6686953" y="6038668"/>
                  <a:pt x="6663466" y="6029273"/>
                  <a:pt x="6635280" y="6019878"/>
                </a:cubicBezTo>
                <a:cubicBezTo>
                  <a:pt x="6656419" y="6052761"/>
                  <a:pt x="6694000" y="6092690"/>
                  <a:pt x="6731580" y="6116178"/>
                </a:cubicBezTo>
                <a:cubicBezTo>
                  <a:pt x="6672861" y="6087992"/>
                  <a:pt x="6611792" y="6041017"/>
                  <a:pt x="6543678" y="6012832"/>
                </a:cubicBezTo>
                <a:cubicBezTo>
                  <a:pt x="6614141" y="6071551"/>
                  <a:pt x="6712790" y="6104434"/>
                  <a:pt x="6717487" y="6179595"/>
                </a:cubicBezTo>
                <a:cubicBezTo>
                  <a:pt x="6699284" y="6160218"/>
                  <a:pt x="6679760" y="6142308"/>
                  <a:pt x="6659025" y="6125683"/>
                </a:cubicBezTo>
                <a:lnTo>
                  <a:pt x="6630938" y="6105940"/>
                </a:lnTo>
                <a:lnTo>
                  <a:pt x="6617664" y="6097387"/>
                </a:lnTo>
                <a:lnTo>
                  <a:pt x="6518193" y="6042732"/>
                </a:lnTo>
                <a:lnTo>
                  <a:pt x="6510809" y="6039119"/>
                </a:lnTo>
                <a:lnTo>
                  <a:pt x="6511969" y="6076835"/>
                </a:lnTo>
                <a:cubicBezTo>
                  <a:pt x="6514318" y="6090341"/>
                  <a:pt x="6517841" y="6104434"/>
                  <a:pt x="6520190" y="6118526"/>
                </a:cubicBezTo>
                <a:cubicBezTo>
                  <a:pt x="6534283" y="6203082"/>
                  <a:pt x="6543678" y="6299382"/>
                  <a:pt x="6571863" y="6369845"/>
                </a:cubicBezTo>
                <a:cubicBezTo>
                  <a:pt x="6548375" y="6324044"/>
                  <a:pt x="6531934" y="6267086"/>
                  <a:pt x="6519896" y="6206606"/>
                </a:cubicBezTo>
                <a:lnTo>
                  <a:pt x="6495667" y="6031710"/>
                </a:lnTo>
                <a:lnTo>
                  <a:pt x="6442681" y="6005785"/>
                </a:lnTo>
                <a:cubicBezTo>
                  <a:pt x="6447378" y="6095039"/>
                  <a:pt x="6463820" y="6203082"/>
                  <a:pt x="6473214" y="6287639"/>
                </a:cubicBezTo>
                <a:cubicBezTo>
                  <a:pt x="6447378" y="6205431"/>
                  <a:pt x="6430937" y="6095039"/>
                  <a:pt x="6433285" y="5991693"/>
                </a:cubicBezTo>
                <a:cubicBezTo>
                  <a:pt x="6440332" y="5994041"/>
                  <a:pt x="6452076" y="5994041"/>
                  <a:pt x="6456773" y="5998739"/>
                </a:cubicBezTo>
                <a:cubicBezTo>
                  <a:pt x="6449727" y="5984647"/>
                  <a:pt x="6437396" y="5987730"/>
                  <a:pt x="6428698" y="5984206"/>
                </a:cubicBezTo>
                <a:lnTo>
                  <a:pt x="6428588" y="5984105"/>
                </a:lnTo>
                <a:lnTo>
                  <a:pt x="6428588" y="5944717"/>
                </a:lnTo>
                <a:cubicBezTo>
                  <a:pt x="6426239" y="5944717"/>
                  <a:pt x="6426239" y="5942368"/>
                  <a:pt x="6421541" y="5942368"/>
                </a:cubicBezTo>
                <a:cubicBezTo>
                  <a:pt x="6414495" y="6033971"/>
                  <a:pt x="6414495" y="6132619"/>
                  <a:pt x="6435634" y="6207780"/>
                </a:cubicBezTo>
                <a:lnTo>
                  <a:pt x="6431244" y="6125825"/>
                </a:lnTo>
                <a:lnTo>
                  <a:pt x="6432111" y="6139079"/>
                </a:lnTo>
                <a:cubicBezTo>
                  <a:pt x="6435635" y="6191926"/>
                  <a:pt x="6440332" y="6244187"/>
                  <a:pt x="6449727" y="6297034"/>
                </a:cubicBezTo>
                <a:cubicBezTo>
                  <a:pt x="6414495" y="6214826"/>
                  <a:pt x="6409797" y="6066854"/>
                  <a:pt x="6414495" y="5970554"/>
                </a:cubicBezTo>
                <a:cubicBezTo>
                  <a:pt x="6412146" y="5965856"/>
                  <a:pt x="6409797" y="5958810"/>
                  <a:pt x="6402751" y="5956461"/>
                </a:cubicBezTo>
                <a:cubicBezTo>
                  <a:pt x="6409797" y="6041017"/>
                  <a:pt x="6407449" y="6132619"/>
                  <a:pt x="6412146" y="6210129"/>
                </a:cubicBezTo>
                <a:cubicBezTo>
                  <a:pt x="6414495" y="6252407"/>
                  <a:pt x="6423890" y="6282942"/>
                  <a:pt x="6445029" y="6311126"/>
                </a:cubicBezTo>
                <a:cubicBezTo>
                  <a:pt x="6433285" y="6313475"/>
                  <a:pt x="6428588" y="6287639"/>
                  <a:pt x="6421541" y="6278244"/>
                </a:cubicBezTo>
                <a:cubicBezTo>
                  <a:pt x="6414495" y="6297034"/>
                  <a:pt x="6428588" y="6318173"/>
                  <a:pt x="6428588" y="6336963"/>
                </a:cubicBezTo>
                <a:cubicBezTo>
                  <a:pt x="6407449" y="6264151"/>
                  <a:pt x="6383961" y="6191339"/>
                  <a:pt x="6369868" y="6109131"/>
                </a:cubicBezTo>
                <a:cubicBezTo>
                  <a:pt x="6362822" y="6156107"/>
                  <a:pt x="6369868" y="6214826"/>
                  <a:pt x="6374566" y="6261802"/>
                </a:cubicBezTo>
                <a:cubicBezTo>
                  <a:pt x="6348730" y="6179595"/>
                  <a:pt x="6346381" y="6059808"/>
                  <a:pt x="6351078" y="5958810"/>
                </a:cubicBezTo>
                <a:cubicBezTo>
                  <a:pt x="6353427" y="5937671"/>
                  <a:pt x="6358124" y="5914183"/>
                  <a:pt x="6346381" y="5895393"/>
                </a:cubicBezTo>
                <a:cubicBezTo>
                  <a:pt x="6351078" y="6017529"/>
                  <a:pt x="6325242" y="6177247"/>
                  <a:pt x="6348730" y="6278244"/>
                </a:cubicBezTo>
                <a:cubicBezTo>
                  <a:pt x="6315846" y="6200734"/>
                  <a:pt x="6327590" y="6076249"/>
                  <a:pt x="6325242" y="5965856"/>
                </a:cubicBezTo>
                <a:cubicBezTo>
                  <a:pt x="6315846" y="6057459"/>
                  <a:pt x="6306451" y="6165503"/>
                  <a:pt x="6315846" y="6257105"/>
                </a:cubicBezTo>
                <a:cubicBezTo>
                  <a:pt x="6304102" y="6235966"/>
                  <a:pt x="6306451" y="6191339"/>
                  <a:pt x="6304102" y="6153759"/>
                </a:cubicBezTo>
                <a:cubicBezTo>
                  <a:pt x="6301754" y="6112655"/>
                  <a:pt x="6300579" y="6066267"/>
                  <a:pt x="6301167" y="6021640"/>
                </a:cubicBezTo>
                <a:lnTo>
                  <a:pt x="6303111" y="5966312"/>
                </a:lnTo>
                <a:lnTo>
                  <a:pt x="6304323" y="5955948"/>
                </a:lnTo>
                <a:lnTo>
                  <a:pt x="6304295" y="5947854"/>
                </a:lnTo>
                <a:lnTo>
                  <a:pt x="6308800" y="5900090"/>
                </a:lnTo>
                <a:cubicBezTo>
                  <a:pt x="6311149" y="5883649"/>
                  <a:pt x="6322893" y="5869556"/>
                  <a:pt x="6311149" y="5855464"/>
                </a:cubicBezTo>
                <a:lnTo>
                  <a:pt x="6304160" y="5907650"/>
                </a:lnTo>
                <a:lnTo>
                  <a:pt x="6304102" y="5890695"/>
                </a:lnTo>
                <a:lnTo>
                  <a:pt x="6294797" y="5973674"/>
                </a:lnTo>
                <a:lnTo>
                  <a:pt x="6282964" y="6048357"/>
                </a:lnTo>
                <a:lnTo>
                  <a:pt x="6281826" y="6085234"/>
                </a:lnTo>
                <a:lnTo>
                  <a:pt x="6275917" y="6134968"/>
                </a:lnTo>
                <a:lnTo>
                  <a:pt x="6281192" y="6105813"/>
                </a:lnTo>
                <a:lnTo>
                  <a:pt x="6280101" y="6141171"/>
                </a:lnTo>
                <a:cubicBezTo>
                  <a:pt x="6282817" y="6171374"/>
                  <a:pt x="6290010" y="6200734"/>
                  <a:pt x="6304102" y="6228919"/>
                </a:cubicBezTo>
                <a:cubicBezTo>
                  <a:pt x="6287661" y="6208955"/>
                  <a:pt x="6277091" y="6180182"/>
                  <a:pt x="6271807" y="6147593"/>
                </a:cubicBezTo>
                <a:lnTo>
                  <a:pt x="6271368" y="6069830"/>
                </a:lnTo>
                <a:lnTo>
                  <a:pt x="6279440" y="5973196"/>
                </a:lnTo>
                <a:cubicBezTo>
                  <a:pt x="6282376" y="5931212"/>
                  <a:pt x="6285312" y="5890696"/>
                  <a:pt x="6290010" y="5855464"/>
                </a:cubicBezTo>
                <a:cubicBezTo>
                  <a:pt x="6292358" y="5836673"/>
                  <a:pt x="6311149" y="5813185"/>
                  <a:pt x="6290010" y="5801442"/>
                </a:cubicBezTo>
                <a:cubicBezTo>
                  <a:pt x="6295295" y="5880713"/>
                  <a:pt x="6260944" y="5956021"/>
                  <a:pt x="6258301" y="6028356"/>
                </a:cubicBezTo>
                <a:lnTo>
                  <a:pt x="6264150" y="6067859"/>
                </a:lnTo>
                <a:lnTo>
                  <a:pt x="6250374" y="6115591"/>
                </a:lnTo>
                <a:cubicBezTo>
                  <a:pt x="6244796" y="6139079"/>
                  <a:pt x="6244209" y="6160805"/>
                  <a:pt x="6259476" y="6177247"/>
                </a:cubicBezTo>
                <a:cubicBezTo>
                  <a:pt x="6250081" y="6186641"/>
                  <a:pt x="6247732" y="6165503"/>
                  <a:pt x="6243034" y="6163154"/>
                </a:cubicBezTo>
                <a:cubicBezTo>
                  <a:pt x="6228942" y="6184293"/>
                  <a:pt x="6240686" y="6214826"/>
                  <a:pt x="6238337" y="6245361"/>
                </a:cubicBezTo>
                <a:cubicBezTo>
                  <a:pt x="6221895" y="6193688"/>
                  <a:pt x="6231291" y="6120875"/>
                  <a:pt x="6212500" y="6071551"/>
                </a:cubicBezTo>
                <a:cubicBezTo>
                  <a:pt x="6196059" y="6109131"/>
                  <a:pt x="6207803" y="6165503"/>
                  <a:pt x="6212500" y="6205431"/>
                </a:cubicBezTo>
                <a:cubicBezTo>
                  <a:pt x="6198407" y="6184293"/>
                  <a:pt x="6203105" y="6144363"/>
                  <a:pt x="6191361" y="6118527"/>
                </a:cubicBezTo>
                <a:cubicBezTo>
                  <a:pt x="6189012" y="6106783"/>
                  <a:pt x="6196059" y="6120875"/>
                  <a:pt x="6196059" y="6113829"/>
                </a:cubicBezTo>
                <a:cubicBezTo>
                  <a:pt x="6200756" y="6012832"/>
                  <a:pt x="6221895" y="5876602"/>
                  <a:pt x="6217198" y="5787349"/>
                </a:cubicBezTo>
                <a:cubicBezTo>
                  <a:pt x="6217198" y="5782652"/>
                  <a:pt x="6218960" y="5777367"/>
                  <a:pt x="6219253" y="5772669"/>
                </a:cubicBezTo>
                <a:lnTo>
                  <a:pt x="6215701" y="5766800"/>
                </a:lnTo>
                <a:lnTo>
                  <a:pt x="6217198" y="5758283"/>
                </a:lnTo>
                <a:cubicBezTo>
                  <a:pt x="6217785" y="5748594"/>
                  <a:pt x="6218372" y="5739199"/>
                  <a:pt x="6221895" y="5733327"/>
                </a:cubicBezTo>
                <a:cubicBezTo>
                  <a:pt x="6221895" y="5728630"/>
                  <a:pt x="6214849" y="5726281"/>
                  <a:pt x="6210151" y="5723932"/>
                </a:cubicBezTo>
                <a:cubicBezTo>
                  <a:pt x="6208977" y="5735676"/>
                  <a:pt x="6209565" y="5748007"/>
                  <a:pt x="6210445" y="5758870"/>
                </a:cubicBezTo>
                <a:lnTo>
                  <a:pt x="6211296" y="5769686"/>
                </a:lnTo>
                <a:lnTo>
                  <a:pt x="6187838" y="5928863"/>
                </a:lnTo>
                <a:cubicBezTo>
                  <a:pt x="6181966" y="5986995"/>
                  <a:pt x="6180792" y="6046889"/>
                  <a:pt x="6191361" y="6106783"/>
                </a:cubicBezTo>
                <a:cubicBezTo>
                  <a:pt x="6156129" y="6017529"/>
                  <a:pt x="6186663" y="5893044"/>
                  <a:pt x="6196059" y="5796744"/>
                </a:cubicBezTo>
                <a:cubicBezTo>
                  <a:pt x="6197233" y="5788524"/>
                  <a:pt x="6198408" y="5777954"/>
                  <a:pt x="6198114" y="5767972"/>
                </a:cubicBezTo>
                <a:lnTo>
                  <a:pt x="6193584" y="5751033"/>
                </a:lnTo>
                <a:lnTo>
                  <a:pt x="6196059" y="5726281"/>
                </a:lnTo>
                <a:cubicBezTo>
                  <a:pt x="6196059" y="5719234"/>
                  <a:pt x="6205454" y="5716886"/>
                  <a:pt x="6198407" y="5707490"/>
                </a:cubicBezTo>
                <a:cubicBezTo>
                  <a:pt x="6198407" y="5705142"/>
                  <a:pt x="6196059" y="5705142"/>
                  <a:pt x="6193710" y="5705142"/>
                </a:cubicBezTo>
                <a:cubicBezTo>
                  <a:pt x="6195472" y="5719235"/>
                  <a:pt x="6194738" y="5732447"/>
                  <a:pt x="6192793" y="5744961"/>
                </a:cubicBezTo>
                <a:lnTo>
                  <a:pt x="6192408" y="5746636"/>
                </a:lnTo>
                <a:lnTo>
                  <a:pt x="6191361" y="5742722"/>
                </a:lnTo>
                <a:lnTo>
                  <a:pt x="6190033" y="5756977"/>
                </a:lnTo>
                <a:lnTo>
                  <a:pt x="6184608" y="5780596"/>
                </a:lnTo>
                <a:cubicBezTo>
                  <a:pt x="6178443" y="5803203"/>
                  <a:pt x="6172571" y="5823755"/>
                  <a:pt x="6177268" y="5843720"/>
                </a:cubicBezTo>
                <a:cubicBezTo>
                  <a:pt x="6168460" y="5849005"/>
                  <a:pt x="6166258" y="5867501"/>
                  <a:pt x="6171653" y="5877410"/>
                </a:cubicBezTo>
                <a:lnTo>
                  <a:pt x="6173645" y="5878971"/>
                </a:lnTo>
                <a:lnTo>
                  <a:pt x="6173452" y="5880126"/>
                </a:lnTo>
                <a:lnTo>
                  <a:pt x="6172426" y="5887391"/>
                </a:lnTo>
                <a:lnTo>
                  <a:pt x="6167873" y="5883649"/>
                </a:lnTo>
                <a:cubicBezTo>
                  <a:pt x="6166699" y="5891870"/>
                  <a:pt x="6165524" y="5900091"/>
                  <a:pt x="6165231" y="5907724"/>
                </a:cubicBezTo>
                <a:lnTo>
                  <a:pt x="6167292" y="5923755"/>
                </a:lnTo>
                <a:lnTo>
                  <a:pt x="6166056" y="5932508"/>
                </a:lnTo>
                <a:lnTo>
                  <a:pt x="6163175" y="5930624"/>
                </a:lnTo>
                <a:cubicBezTo>
                  <a:pt x="6163175" y="5932973"/>
                  <a:pt x="6163175" y="5935322"/>
                  <a:pt x="6163175" y="5937671"/>
                </a:cubicBezTo>
                <a:lnTo>
                  <a:pt x="6164203" y="5945635"/>
                </a:lnTo>
                <a:lnTo>
                  <a:pt x="6163286" y="5952130"/>
                </a:lnTo>
                <a:cubicBezTo>
                  <a:pt x="6160827" y="5977160"/>
                  <a:pt x="6159653" y="6003437"/>
                  <a:pt x="6160827" y="6031622"/>
                </a:cubicBezTo>
                <a:cubicBezTo>
                  <a:pt x="6163175" y="6085644"/>
                  <a:pt x="6179617" y="6132619"/>
                  <a:pt x="6184315" y="6184293"/>
                </a:cubicBezTo>
                <a:cubicBezTo>
                  <a:pt x="6174919" y="6156107"/>
                  <a:pt x="6163175" y="6132619"/>
                  <a:pt x="6156129" y="6102085"/>
                </a:cubicBezTo>
                <a:cubicBezTo>
                  <a:pt x="6160827" y="6109131"/>
                  <a:pt x="6163175" y="6123224"/>
                  <a:pt x="6167873" y="6132619"/>
                </a:cubicBezTo>
                <a:cubicBezTo>
                  <a:pt x="6149083" y="6048064"/>
                  <a:pt x="6151432" y="5944717"/>
                  <a:pt x="6160827" y="5860161"/>
                </a:cubicBezTo>
                <a:lnTo>
                  <a:pt x="6152261" y="5920124"/>
                </a:lnTo>
                <a:lnTo>
                  <a:pt x="6150551" y="5912715"/>
                </a:lnTo>
                <a:cubicBezTo>
                  <a:pt x="6147909" y="5904788"/>
                  <a:pt x="6145560" y="5900091"/>
                  <a:pt x="6151432" y="5902439"/>
                </a:cubicBezTo>
                <a:cubicBezTo>
                  <a:pt x="6153780" y="5881300"/>
                  <a:pt x="6142037" y="5871905"/>
                  <a:pt x="6134991" y="5860161"/>
                </a:cubicBezTo>
                <a:cubicBezTo>
                  <a:pt x="6138514" y="5879539"/>
                  <a:pt x="6131468" y="5908165"/>
                  <a:pt x="6138624" y="5927212"/>
                </a:cubicBezTo>
                <a:lnTo>
                  <a:pt x="6149423" y="5939990"/>
                </a:lnTo>
                <a:lnTo>
                  <a:pt x="6146746" y="5958727"/>
                </a:lnTo>
                <a:lnTo>
                  <a:pt x="6139688" y="5942368"/>
                </a:lnTo>
                <a:cubicBezTo>
                  <a:pt x="6142037" y="5975251"/>
                  <a:pt x="6137339" y="6015180"/>
                  <a:pt x="6146734" y="6041017"/>
                </a:cubicBezTo>
                <a:lnTo>
                  <a:pt x="6148045" y="6015239"/>
                </a:lnTo>
                <a:lnTo>
                  <a:pt x="6151432" y="6080946"/>
                </a:lnTo>
                <a:cubicBezTo>
                  <a:pt x="6144386" y="6071551"/>
                  <a:pt x="6144386" y="6055110"/>
                  <a:pt x="6139688" y="6041017"/>
                </a:cubicBezTo>
                <a:cubicBezTo>
                  <a:pt x="6132642" y="6052761"/>
                  <a:pt x="6146734" y="6087992"/>
                  <a:pt x="6149083" y="6106783"/>
                </a:cubicBezTo>
                <a:cubicBezTo>
                  <a:pt x="6149083" y="6113829"/>
                  <a:pt x="6149083" y="6142015"/>
                  <a:pt x="6146734" y="6118527"/>
                </a:cubicBezTo>
                <a:cubicBezTo>
                  <a:pt x="6134991" y="6076249"/>
                  <a:pt x="6132642" y="6022227"/>
                  <a:pt x="6118549" y="5984646"/>
                </a:cubicBezTo>
                <a:cubicBezTo>
                  <a:pt x="6106805" y="6029273"/>
                  <a:pt x="6109154" y="6090341"/>
                  <a:pt x="6125596" y="6130271"/>
                </a:cubicBezTo>
                <a:cubicBezTo>
                  <a:pt x="6109154" y="6109131"/>
                  <a:pt x="6102108" y="6071551"/>
                  <a:pt x="6095061" y="6038668"/>
                </a:cubicBezTo>
                <a:cubicBezTo>
                  <a:pt x="6088015" y="6010483"/>
                  <a:pt x="6076271" y="5977600"/>
                  <a:pt x="6071573" y="5947066"/>
                </a:cubicBezTo>
                <a:cubicBezTo>
                  <a:pt x="6069225" y="5931799"/>
                  <a:pt x="6069225" y="5916532"/>
                  <a:pt x="6069225" y="5902733"/>
                </a:cubicBezTo>
                <a:lnTo>
                  <a:pt x="6067177" y="5871757"/>
                </a:lnTo>
                <a:lnTo>
                  <a:pt x="6069224" y="5876602"/>
                </a:lnTo>
                <a:cubicBezTo>
                  <a:pt x="6071573" y="5839022"/>
                  <a:pt x="6076271" y="5803790"/>
                  <a:pt x="6048085" y="5789698"/>
                </a:cubicBezTo>
                <a:cubicBezTo>
                  <a:pt x="6046911" y="5807314"/>
                  <a:pt x="6048086" y="5821407"/>
                  <a:pt x="6051609" y="5834912"/>
                </a:cubicBezTo>
                <a:lnTo>
                  <a:pt x="6059081" y="5852596"/>
                </a:lnTo>
                <a:lnTo>
                  <a:pt x="6055132" y="5846068"/>
                </a:lnTo>
                <a:cubicBezTo>
                  <a:pt x="6050434" y="5839022"/>
                  <a:pt x="6046911" y="5835499"/>
                  <a:pt x="6050434" y="5846069"/>
                </a:cubicBezTo>
                <a:cubicBezTo>
                  <a:pt x="6041039" y="5848417"/>
                  <a:pt x="6048085" y="5834325"/>
                  <a:pt x="6041039" y="5836673"/>
                </a:cubicBezTo>
                <a:cubicBezTo>
                  <a:pt x="6036342" y="5848417"/>
                  <a:pt x="6036342" y="5867207"/>
                  <a:pt x="6036342" y="5890695"/>
                </a:cubicBezTo>
                <a:cubicBezTo>
                  <a:pt x="6041039" y="5897742"/>
                  <a:pt x="6048085" y="5897742"/>
                  <a:pt x="6055132" y="5902439"/>
                </a:cubicBezTo>
                <a:cubicBezTo>
                  <a:pt x="6050434" y="5909486"/>
                  <a:pt x="6045737" y="5900090"/>
                  <a:pt x="6038690" y="5902439"/>
                </a:cubicBezTo>
                <a:cubicBezTo>
                  <a:pt x="6038690" y="5909486"/>
                  <a:pt x="6048085" y="5918880"/>
                  <a:pt x="6045737" y="5930624"/>
                </a:cubicBezTo>
                <a:cubicBezTo>
                  <a:pt x="6043388" y="5930624"/>
                  <a:pt x="6038690" y="5930624"/>
                  <a:pt x="6036342" y="5930624"/>
                </a:cubicBezTo>
                <a:cubicBezTo>
                  <a:pt x="6038690" y="5984646"/>
                  <a:pt x="6045737" y="6031622"/>
                  <a:pt x="6055132" y="6078598"/>
                </a:cubicBezTo>
                <a:cubicBezTo>
                  <a:pt x="6050434" y="6076249"/>
                  <a:pt x="6045737" y="6062156"/>
                  <a:pt x="6045737" y="6057459"/>
                </a:cubicBezTo>
                <a:cubicBezTo>
                  <a:pt x="6036342" y="6012832"/>
                  <a:pt x="6031644" y="5937671"/>
                  <a:pt x="6026947" y="5897742"/>
                </a:cubicBezTo>
                <a:cubicBezTo>
                  <a:pt x="6024011" y="5897742"/>
                  <a:pt x="6021516" y="5896274"/>
                  <a:pt x="6019277" y="5893962"/>
                </a:cubicBezTo>
                <a:lnTo>
                  <a:pt x="6018513" y="5892860"/>
                </a:lnTo>
                <a:lnTo>
                  <a:pt x="6017405" y="5872676"/>
                </a:lnTo>
                <a:cubicBezTo>
                  <a:pt x="6014469" y="5862217"/>
                  <a:pt x="6008743" y="5853116"/>
                  <a:pt x="5998761" y="5846069"/>
                </a:cubicBezTo>
                <a:cubicBezTo>
                  <a:pt x="5997587" y="5869557"/>
                  <a:pt x="5996412" y="5895393"/>
                  <a:pt x="5997293" y="5919762"/>
                </a:cubicBezTo>
                <a:lnTo>
                  <a:pt x="5998895" y="5937721"/>
                </a:lnTo>
                <a:lnTo>
                  <a:pt x="5997550" y="5949158"/>
                </a:lnTo>
                <a:cubicBezTo>
                  <a:pt x="5995679" y="5984060"/>
                  <a:pt x="5998761" y="6029861"/>
                  <a:pt x="6005808" y="6059808"/>
                </a:cubicBezTo>
                <a:cubicBezTo>
                  <a:pt x="5989366" y="6019878"/>
                  <a:pt x="5989366" y="5963507"/>
                  <a:pt x="5989366" y="5907137"/>
                </a:cubicBezTo>
                <a:cubicBezTo>
                  <a:pt x="5968227" y="5940020"/>
                  <a:pt x="5970576" y="6003436"/>
                  <a:pt x="5972925" y="6050412"/>
                </a:cubicBezTo>
                <a:cubicBezTo>
                  <a:pt x="5951786" y="5986995"/>
                  <a:pt x="5947088" y="5902439"/>
                  <a:pt x="5942390" y="5836673"/>
                </a:cubicBezTo>
                <a:cubicBezTo>
                  <a:pt x="5935344" y="5846069"/>
                  <a:pt x="5937693" y="5860161"/>
                  <a:pt x="5942390" y="5871905"/>
                </a:cubicBezTo>
                <a:cubicBezTo>
                  <a:pt x="5928298" y="5900090"/>
                  <a:pt x="5947088" y="5958810"/>
                  <a:pt x="5942390" y="5977600"/>
                </a:cubicBezTo>
                <a:cubicBezTo>
                  <a:pt x="5925949" y="5940020"/>
                  <a:pt x="5940042" y="5874254"/>
                  <a:pt x="5923600" y="5839022"/>
                </a:cubicBezTo>
                <a:cubicBezTo>
                  <a:pt x="5916554" y="5883649"/>
                  <a:pt x="5923600" y="5932973"/>
                  <a:pt x="5925949" y="5975251"/>
                </a:cubicBezTo>
                <a:cubicBezTo>
                  <a:pt x="5902461" y="5911834"/>
                  <a:pt x="5930647" y="5813185"/>
                  <a:pt x="5893066" y="5766210"/>
                </a:cubicBezTo>
                <a:cubicBezTo>
                  <a:pt x="5893066" y="5789698"/>
                  <a:pt x="5902461" y="5810837"/>
                  <a:pt x="5904810" y="5839022"/>
                </a:cubicBezTo>
                <a:cubicBezTo>
                  <a:pt x="5900113" y="5829627"/>
                  <a:pt x="5895415" y="5819645"/>
                  <a:pt x="5889543" y="5810250"/>
                </a:cubicBezTo>
                <a:lnTo>
                  <a:pt x="5876073" y="5795006"/>
                </a:lnTo>
                <a:lnTo>
                  <a:pt x="5878680" y="5783239"/>
                </a:lnTo>
                <a:cubicBezTo>
                  <a:pt x="5881323" y="5762099"/>
                  <a:pt x="5878974" y="5741548"/>
                  <a:pt x="5864881" y="5730978"/>
                </a:cubicBezTo>
                <a:lnTo>
                  <a:pt x="5863322" y="5802687"/>
                </a:lnTo>
                <a:lnTo>
                  <a:pt x="5854348" y="5836894"/>
                </a:lnTo>
                <a:cubicBezTo>
                  <a:pt x="5848293" y="5878071"/>
                  <a:pt x="5853138" y="5921230"/>
                  <a:pt x="5846091" y="5956461"/>
                </a:cubicBezTo>
                <a:cubicBezTo>
                  <a:pt x="5834347" y="5890695"/>
                  <a:pt x="5855486" y="5824929"/>
                  <a:pt x="5850788" y="5775605"/>
                </a:cubicBezTo>
                <a:lnTo>
                  <a:pt x="5836679" y="5808338"/>
                </a:lnTo>
                <a:lnTo>
                  <a:pt x="5837870" y="5799974"/>
                </a:lnTo>
                <a:cubicBezTo>
                  <a:pt x="5843742" y="5760338"/>
                  <a:pt x="5848440" y="5722758"/>
                  <a:pt x="5843742" y="5688700"/>
                </a:cubicBezTo>
                <a:cubicBezTo>
                  <a:pt x="5834347" y="5681654"/>
                  <a:pt x="5831998" y="5686352"/>
                  <a:pt x="5822603" y="5672259"/>
                </a:cubicBezTo>
                <a:cubicBezTo>
                  <a:pt x="5810272" y="5725106"/>
                  <a:pt x="5805868" y="5801736"/>
                  <a:pt x="5813355" y="5865483"/>
                </a:cubicBezTo>
                <a:lnTo>
                  <a:pt x="5820008" y="5898810"/>
                </a:lnTo>
                <a:lnTo>
                  <a:pt x="5814089" y="5924459"/>
                </a:lnTo>
                <a:cubicBezTo>
                  <a:pt x="5813208" y="5934735"/>
                  <a:pt x="5813208" y="5945892"/>
                  <a:pt x="5813208" y="5956461"/>
                </a:cubicBezTo>
                <a:cubicBezTo>
                  <a:pt x="5813208" y="5972902"/>
                  <a:pt x="5808510" y="5956461"/>
                  <a:pt x="5810859" y="5949415"/>
                </a:cubicBezTo>
                <a:lnTo>
                  <a:pt x="5812932" y="5894505"/>
                </a:lnTo>
                <a:lnTo>
                  <a:pt x="5813208" y="5895393"/>
                </a:lnTo>
                <a:lnTo>
                  <a:pt x="5812973" y="5893411"/>
                </a:lnTo>
                <a:lnTo>
                  <a:pt x="5813796" y="5871612"/>
                </a:lnTo>
                <a:cubicBezTo>
                  <a:pt x="5813209" y="5845482"/>
                  <a:pt x="5810860" y="5819058"/>
                  <a:pt x="5806162" y="5792047"/>
                </a:cubicBezTo>
                <a:lnTo>
                  <a:pt x="5804101" y="5799379"/>
                </a:lnTo>
                <a:lnTo>
                  <a:pt x="5803813" y="5795276"/>
                </a:lnTo>
                <a:cubicBezTo>
                  <a:pt x="5800877" y="5761512"/>
                  <a:pt x="5795592" y="5729804"/>
                  <a:pt x="5780325" y="5707490"/>
                </a:cubicBezTo>
                <a:cubicBezTo>
                  <a:pt x="5774453" y="5740373"/>
                  <a:pt x="5777977" y="5773843"/>
                  <a:pt x="5785316" y="5805846"/>
                </a:cubicBezTo>
                <a:lnTo>
                  <a:pt x="5794234" y="5834476"/>
                </a:lnTo>
                <a:lnTo>
                  <a:pt x="5792326" y="5841261"/>
                </a:lnTo>
                <a:cubicBezTo>
                  <a:pt x="5782087" y="5893338"/>
                  <a:pt x="5782087" y="5952351"/>
                  <a:pt x="5787371" y="6003436"/>
                </a:cubicBezTo>
                <a:cubicBezTo>
                  <a:pt x="5775627" y="5998739"/>
                  <a:pt x="5782674" y="5982297"/>
                  <a:pt x="5780325" y="5970554"/>
                </a:cubicBezTo>
                <a:cubicBezTo>
                  <a:pt x="5770930" y="5907137"/>
                  <a:pt x="5735698" y="5836673"/>
                  <a:pt x="5726303" y="5768559"/>
                </a:cubicBezTo>
                <a:cubicBezTo>
                  <a:pt x="5716908" y="5817883"/>
                  <a:pt x="5721605" y="5878951"/>
                  <a:pt x="5726303" y="5925927"/>
                </a:cubicBezTo>
                <a:cubicBezTo>
                  <a:pt x="5705164" y="5860161"/>
                  <a:pt x="5731000" y="5752117"/>
                  <a:pt x="5714559" y="5679305"/>
                </a:cubicBezTo>
                <a:cubicBezTo>
                  <a:pt x="5700467" y="5742722"/>
                  <a:pt x="5695769" y="5824929"/>
                  <a:pt x="5705164" y="5897742"/>
                </a:cubicBezTo>
                <a:cubicBezTo>
                  <a:pt x="5688723" y="5853115"/>
                  <a:pt x="5698118" y="5803790"/>
                  <a:pt x="5700467" y="5752117"/>
                </a:cubicBezTo>
                <a:cubicBezTo>
                  <a:pt x="5702815" y="5716886"/>
                  <a:pt x="5712210" y="5676956"/>
                  <a:pt x="5705164" y="5644073"/>
                </a:cubicBezTo>
                <a:cubicBezTo>
                  <a:pt x="5700467" y="5620586"/>
                  <a:pt x="5672281" y="5601795"/>
                  <a:pt x="5674630" y="5573610"/>
                </a:cubicBezTo>
                <a:lnTo>
                  <a:pt x="5672443" y="5585100"/>
                </a:lnTo>
                <a:lnTo>
                  <a:pt x="5675511" y="5535736"/>
                </a:lnTo>
                <a:cubicBezTo>
                  <a:pt x="5677566" y="5519001"/>
                  <a:pt x="5678153" y="5504321"/>
                  <a:pt x="5669932" y="5496100"/>
                </a:cubicBezTo>
                <a:cubicBezTo>
                  <a:pt x="5669932" y="5520763"/>
                  <a:pt x="5663326" y="5545425"/>
                  <a:pt x="5665969" y="5567114"/>
                </a:cubicBezTo>
                <a:lnTo>
                  <a:pt x="5672075" y="5587032"/>
                </a:lnTo>
                <a:lnTo>
                  <a:pt x="5657088" y="5665763"/>
                </a:lnTo>
                <a:cubicBezTo>
                  <a:pt x="5648940" y="5766944"/>
                  <a:pt x="5665235" y="5888934"/>
                  <a:pt x="5672281" y="5975251"/>
                </a:cubicBezTo>
                <a:cubicBezTo>
                  <a:pt x="5672281" y="5977600"/>
                  <a:pt x="5674630" y="5994041"/>
                  <a:pt x="5672281" y="5977600"/>
                </a:cubicBezTo>
                <a:cubicBezTo>
                  <a:pt x="5658188" y="5911834"/>
                  <a:pt x="5641747" y="5822581"/>
                  <a:pt x="5646445" y="5740374"/>
                </a:cubicBezTo>
                <a:cubicBezTo>
                  <a:pt x="5648793" y="5714537"/>
                  <a:pt x="5653491" y="5686352"/>
                  <a:pt x="5641747" y="5667561"/>
                </a:cubicBezTo>
                <a:cubicBezTo>
                  <a:pt x="5646445" y="5667561"/>
                  <a:pt x="5644096" y="5676956"/>
                  <a:pt x="5651142" y="5676956"/>
                </a:cubicBezTo>
                <a:cubicBezTo>
                  <a:pt x="5648793" y="5625283"/>
                  <a:pt x="5667583" y="5564215"/>
                  <a:pt x="5651142" y="5521937"/>
                </a:cubicBezTo>
                <a:cubicBezTo>
                  <a:pt x="5644096" y="5571261"/>
                  <a:pt x="5641747" y="5611191"/>
                  <a:pt x="5639398" y="5658166"/>
                </a:cubicBezTo>
                <a:lnTo>
                  <a:pt x="5636986" y="5666411"/>
                </a:lnTo>
                <a:lnTo>
                  <a:pt x="5640499" y="5614494"/>
                </a:lnTo>
                <a:cubicBezTo>
                  <a:pt x="5641307" y="5592254"/>
                  <a:pt x="5641160" y="5570674"/>
                  <a:pt x="5639398" y="5550122"/>
                </a:cubicBezTo>
                <a:cubicBezTo>
                  <a:pt x="5639398" y="5547773"/>
                  <a:pt x="5637049" y="5547773"/>
                  <a:pt x="5634701" y="5547773"/>
                </a:cubicBezTo>
                <a:cubicBezTo>
                  <a:pt x="5626480" y="5585354"/>
                  <a:pt x="5622957" y="5631743"/>
                  <a:pt x="5622076" y="5679893"/>
                </a:cubicBezTo>
                <a:lnTo>
                  <a:pt x="5622377" y="5734131"/>
                </a:lnTo>
                <a:lnTo>
                  <a:pt x="5619433" y="5761219"/>
                </a:lnTo>
                <a:cubicBezTo>
                  <a:pt x="5617085" y="5799680"/>
                  <a:pt x="5617085" y="5840196"/>
                  <a:pt x="5613561" y="5876602"/>
                </a:cubicBezTo>
                <a:cubicBezTo>
                  <a:pt x="5613561" y="5885998"/>
                  <a:pt x="5615910" y="5916532"/>
                  <a:pt x="5611213" y="5914183"/>
                </a:cubicBezTo>
                <a:cubicBezTo>
                  <a:pt x="5597120" y="5808488"/>
                  <a:pt x="5634701" y="5707490"/>
                  <a:pt x="5615910" y="5613539"/>
                </a:cubicBezTo>
                <a:cubicBezTo>
                  <a:pt x="5590074" y="5698095"/>
                  <a:pt x="5585376" y="5810837"/>
                  <a:pt x="5592423" y="5914183"/>
                </a:cubicBezTo>
                <a:cubicBezTo>
                  <a:pt x="5585376" y="5900090"/>
                  <a:pt x="5585376" y="5876602"/>
                  <a:pt x="5585376" y="5855464"/>
                </a:cubicBezTo>
                <a:cubicBezTo>
                  <a:pt x="5571284" y="5864859"/>
                  <a:pt x="5587725" y="5890695"/>
                  <a:pt x="5583028" y="5909486"/>
                </a:cubicBezTo>
                <a:cubicBezTo>
                  <a:pt x="5585376" y="5921229"/>
                  <a:pt x="5578330" y="5925927"/>
                  <a:pt x="5580679" y="5911834"/>
                </a:cubicBezTo>
                <a:cubicBezTo>
                  <a:pt x="5578330" y="5827278"/>
                  <a:pt x="5566586" y="5730978"/>
                  <a:pt x="5571284" y="5644073"/>
                </a:cubicBezTo>
                <a:cubicBezTo>
                  <a:pt x="5573632" y="5594749"/>
                  <a:pt x="5594772" y="5531332"/>
                  <a:pt x="5566586" y="5496100"/>
                </a:cubicBezTo>
                <a:cubicBezTo>
                  <a:pt x="5547796" y="5543076"/>
                  <a:pt x="5559540" y="5594749"/>
                  <a:pt x="5568935" y="5634678"/>
                </a:cubicBezTo>
                <a:cubicBezTo>
                  <a:pt x="5561888" y="5620586"/>
                  <a:pt x="5557191" y="5601795"/>
                  <a:pt x="5552493" y="5585354"/>
                </a:cubicBezTo>
                <a:cubicBezTo>
                  <a:pt x="5521959" y="5665212"/>
                  <a:pt x="5545447" y="5777954"/>
                  <a:pt x="5552493" y="5867207"/>
                </a:cubicBezTo>
                <a:cubicBezTo>
                  <a:pt x="5531354" y="5817883"/>
                  <a:pt x="5536052" y="5747420"/>
                  <a:pt x="5531354" y="5684003"/>
                </a:cubicBezTo>
                <a:lnTo>
                  <a:pt x="5515184" y="5797198"/>
                </a:lnTo>
                <a:lnTo>
                  <a:pt x="5516674" y="5807900"/>
                </a:lnTo>
                <a:cubicBezTo>
                  <a:pt x="5517848" y="5824342"/>
                  <a:pt x="5518436" y="5841371"/>
                  <a:pt x="5519610" y="5857812"/>
                </a:cubicBezTo>
                <a:lnTo>
                  <a:pt x="5513139" y="5816915"/>
                </a:lnTo>
                <a:lnTo>
                  <a:pt x="5507866" y="5947066"/>
                </a:lnTo>
                <a:cubicBezTo>
                  <a:pt x="5491425" y="5909486"/>
                  <a:pt x="5510215" y="5867207"/>
                  <a:pt x="5505518" y="5839022"/>
                </a:cubicBezTo>
                <a:cubicBezTo>
                  <a:pt x="5500820" y="5810837"/>
                  <a:pt x="5470286" y="5780303"/>
                  <a:pt x="5470286" y="5740374"/>
                </a:cubicBezTo>
                <a:cubicBezTo>
                  <a:pt x="5484379" y="5766210"/>
                  <a:pt x="5489076" y="5801442"/>
                  <a:pt x="5503169" y="5827278"/>
                </a:cubicBezTo>
                <a:lnTo>
                  <a:pt x="5510913" y="5778452"/>
                </a:lnTo>
                <a:lnTo>
                  <a:pt x="5510215" y="5761512"/>
                </a:lnTo>
                <a:lnTo>
                  <a:pt x="5511797" y="5772875"/>
                </a:lnTo>
                <a:lnTo>
                  <a:pt x="5517959" y="5734025"/>
                </a:lnTo>
                <a:cubicBezTo>
                  <a:pt x="5528455" y="5668185"/>
                  <a:pt x="5538217" y="5596915"/>
                  <a:pt x="5535208" y="5531663"/>
                </a:cubicBezTo>
                <a:lnTo>
                  <a:pt x="5532739" y="5517111"/>
                </a:lnTo>
                <a:lnTo>
                  <a:pt x="5534841" y="5498192"/>
                </a:lnTo>
                <a:cubicBezTo>
                  <a:pt x="5534731" y="5489348"/>
                  <a:pt x="5533116" y="5481420"/>
                  <a:pt x="5529006" y="5474961"/>
                </a:cubicBezTo>
                <a:lnTo>
                  <a:pt x="5527802" y="5488010"/>
                </a:lnTo>
                <a:lnTo>
                  <a:pt x="5519610" y="5439730"/>
                </a:lnTo>
                <a:lnTo>
                  <a:pt x="5517045" y="5453724"/>
                </a:lnTo>
                <a:lnTo>
                  <a:pt x="5507866" y="5439730"/>
                </a:lnTo>
                <a:cubicBezTo>
                  <a:pt x="5507866" y="5458520"/>
                  <a:pt x="5500820" y="5482008"/>
                  <a:pt x="5507866" y="5500798"/>
                </a:cubicBezTo>
                <a:cubicBezTo>
                  <a:pt x="5507866" y="5500798"/>
                  <a:pt x="5505518" y="5500798"/>
                  <a:pt x="5503169" y="5500798"/>
                </a:cubicBezTo>
                <a:cubicBezTo>
                  <a:pt x="5493774" y="5519588"/>
                  <a:pt x="5500820" y="5540727"/>
                  <a:pt x="5493774" y="5559517"/>
                </a:cubicBezTo>
                <a:cubicBezTo>
                  <a:pt x="5493774" y="5559517"/>
                  <a:pt x="5486728" y="5561866"/>
                  <a:pt x="5486728" y="5561866"/>
                </a:cubicBezTo>
                <a:cubicBezTo>
                  <a:pt x="5476159" y="5578308"/>
                  <a:pt x="5477920" y="5591226"/>
                  <a:pt x="5482911" y="5604144"/>
                </a:cubicBezTo>
                <a:lnTo>
                  <a:pt x="5483463" y="5605644"/>
                </a:lnTo>
                <a:lnTo>
                  <a:pt x="5481402" y="5615697"/>
                </a:lnTo>
                <a:lnTo>
                  <a:pt x="5474984" y="5604144"/>
                </a:lnTo>
                <a:lnTo>
                  <a:pt x="5480249" y="5621319"/>
                </a:lnTo>
                <a:lnTo>
                  <a:pt x="5472378" y="5659708"/>
                </a:lnTo>
                <a:cubicBezTo>
                  <a:pt x="5469112" y="5683710"/>
                  <a:pt x="5467938" y="5708078"/>
                  <a:pt x="5470286" y="5733327"/>
                </a:cubicBezTo>
                <a:cubicBezTo>
                  <a:pt x="5453845" y="5759163"/>
                  <a:pt x="5453845" y="5801442"/>
                  <a:pt x="5453845" y="5841371"/>
                </a:cubicBezTo>
                <a:cubicBezTo>
                  <a:pt x="5437403" y="5796744"/>
                  <a:pt x="5463240" y="5747420"/>
                  <a:pt x="5458542" y="5705142"/>
                </a:cubicBezTo>
                <a:lnTo>
                  <a:pt x="5454820" y="5693086"/>
                </a:lnTo>
                <a:lnTo>
                  <a:pt x="5451496" y="5707490"/>
                </a:lnTo>
                <a:lnTo>
                  <a:pt x="5454149" y="5690911"/>
                </a:lnTo>
                <a:lnTo>
                  <a:pt x="5445037" y="5661396"/>
                </a:lnTo>
                <a:cubicBezTo>
                  <a:pt x="5438578" y="5648184"/>
                  <a:pt x="5431532" y="5635853"/>
                  <a:pt x="5428008" y="5622935"/>
                </a:cubicBezTo>
                <a:cubicBezTo>
                  <a:pt x="5425659" y="5629981"/>
                  <a:pt x="5423311" y="5634678"/>
                  <a:pt x="5420962" y="5641725"/>
                </a:cubicBezTo>
                <a:cubicBezTo>
                  <a:pt x="5418613" y="5641725"/>
                  <a:pt x="5416264" y="5641725"/>
                  <a:pt x="5413915" y="5641725"/>
                </a:cubicBezTo>
                <a:cubicBezTo>
                  <a:pt x="5417439" y="5613540"/>
                  <a:pt x="5419641" y="5584033"/>
                  <a:pt x="5409622" y="5559150"/>
                </a:cubicBezTo>
                <a:lnTo>
                  <a:pt x="5408084" y="5556698"/>
                </a:lnTo>
                <a:lnTo>
                  <a:pt x="5413291" y="5545939"/>
                </a:lnTo>
                <a:cubicBezTo>
                  <a:pt x="5425512" y="5520176"/>
                  <a:pt x="5437403" y="5488468"/>
                  <a:pt x="5416264" y="5472613"/>
                </a:cubicBezTo>
                <a:cubicBezTo>
                  <a:pt x="5413915" y="5474961"/>
                  <a:pt x="5411567" y="5479659"/>
                  <a:pt x="5409218" y="5484356"/>
                </a:cubicBezTo>
                <a:cubicBezTo>
                  <a:pt x="5406869" y="5484356"/>
                  <a:pt x="5406869" y="5482008"/>
                  <a:pt x="5406869" y="5482008"/>
                </a:cubicBezTo>
                <a:cubicBezTo>
                  <a:pt x="5402171" y="5491403"/>
                  <a:pt x="5399823" y="5496100"/>
                  <a:pt x="5399823" y="5503147"/>
                </a:cubicBezTo>
                <a:cubicBezTo>
                  <a:pt x="5396300" y="5513717"/>
                  <a:pt x="5393951" y="5524286"/>
                  <a:pt x="5393951" y="5535149"/>
                </a:cubicBezTo>
                <a:lnTo>
                  <a:pt x="5394500" y="5537405"/>
                </a:lnTo>
                <a:lnTo>
                  <a:pt x="5378978" y="5571555"/>
                </a:lnTo>
                <a:cubicBezTo>
                  <a:pt x="5374574" y="5584180"/>
                  <a:pt x="5370463" y="5597098"/>
                  <a:pt x="5364591" y="5608842"/>
                </a:cubicBezTo>
                <a:cubicBezTo>
                  <a:pt x="5369289" y="5622935"/>
                  <a:pt x="5373986" y="5637027"/>
                  <a:pt x="5378684" y="5653468"/>
                </a:cubicBezTo>
                <a:cubicBezTo>
                  <a:pt x="5378684" y="5653468"/>
                  <a:pt x="5376335" y="5655817"/>
                  <a:pt x="5376335" y="5655817"/>
                </a:cubicBezTo>
                <a:cubicBezTo>
                  <a:pt x="5371638" y="5644073"/>
                  <a:pt x="5366940" y="5632330"/>
                  <a:pt x="5362242" y="5620586"/>
                </a:cubicBezTo>
                <a:cubicBezTo>
                  <a:pt x="5345801" y="5634678"/>
                  <a:pt x="5348150" y="5653468"/>
                  <a:pt x="5355196" y="5672259"/>
                </a:cubicBezTo>
                <a:cubicBezTo>
                  <a:pt x="5350498" y="5676956"/>
                  <a:pt x="5348150" y="5681654"/>
                  <a:pt x="5348150" y="5686352"/>
                </a:cubicBezTo>
                <a:cubicBezTo>
                  <a:pt x="5345801" y="5679305"/>
                  <a:pt x="5343452" y="5672259"/>
                  <a:pt x="5341103" y="5665212"/>
                </a:cubicBezTo>
                <a:cubicBezTo>
                  <a:pt x="5334057" y="5672259"/>
                  <a:pt x="5331708" y="5681654"/>
                  <a:pt x="5327011" y="5691049"/>
                </a:cubicBezTo>
                <a:cubicBezTo>
                  <a:pt x="5327011" y="5672259"/>
                  <a:pt x="5324662" y="5653468"/>
                  <a:pt x="5343452" y="5651120"/>
                </a:cubicBezTo>
                <a:cubicBezTo>
                  <a:pt x="5341103" y="5651120"/>
                  <a:pt x="5338754" y="5648771"/>
                  <a:pt x="5341103" y="5644073"/>
                </a:cubicBezTo>
                <a:cubicBezTo>
                  <a:pt x="5343452" y="5641725"/>
                  <a:pt x="5343452" y="5637027"/>
                  <a:pt x="5338754" y="5637027"/>
                </a:cubicBezTo>
                <a:lnTo>
                  <a:pt x="5341103" y="5637027"/>
                </a:lnTo>
                <a:lnTo>
                  <a:pt x="5340494" y="5630938"/>
                </a:lnTo>
                <a:lnTo>
                  <a:pt x="5343452" y="5620586"/>
                </a:lnTo>
                <a:cubicBezTo>
                  <a:pt x="5355196" y="5604144"/>
                  <a:pt x="5357545" y="5578308"/>
                  <a:pt x="5343452" y="5564215"/>
                </a:cubicBezTo>
                <a:cubicBezTo>
                  <a:pt x="5338754" y="5580657"/>
                  <a:pt x="5331708" y="5599447"/>
                  <a:pt x="5338754" y="5613539"/>
                </a:cubicBezTo>
                <a:lnTo>
                  <a:pt x="5340494" y="5630938"/>
                </a:lnTo>
                <a:lnTo>
                  <a:pt x="5338754" y="5637027"/>
                </a:lnTo>
                <a:lnTo>
                  <a:pt x="5334057" y="5637027"/>
                </a:lnTo>
                <a:cubicBezTo>
                  <a:pt x="5327011" y="5615888"/>
                  <a:pt x="5322313" y="5594749"/>
                  <a:pt x="5319964" y="5571261"/>
                </a:cubicBezTo>
                <a:cubicBezTo>
                  <a:pt x="5315267" y="5575959"/>
                  <a:pt x="5312918" y="5580657"/>
                  <a:pt x="5310569" y="5585354"/>
                </a:cubicBezTo>
                <a:cubicBezTo>
                  <a:pt x="5305872" y="5585354"/>
                  <a:pt x="5303523" y="5587703"/>
                  <a:pt x="5301174" y="5587703"/>
                </a:cubicBezTo>
                <a:cubicBezTo>
                  <a:pt x="5312918" y="5566564"/>
                  <a:pt x="5319964" y="5543076"/>
                  <a:pt x="5305872" y="5519588"/>
                </a:cubicBezTo>
                <a:cubicBezTo>
                  <a:pt x="5291779" y="5554820"/>
                  <a:pt x="5280035" y="5590051"/>
                  <a:pt x="5275338" y="5634678"/>
                </a:cubicBezTo>
                <a:cubicBezTo>
                  <a:pt x="5280035" y="5622935"/>
                  <a:pt x="5291779" y="5606493"/>
                  <a:pt x="5298825" y="5592400"/>
                </a:cubicBezTo>
                <a:cubicBezTo>
                  <a:pt x="5298825" y="5592400"/>
                  <a:pt x="5301174" y="5594749"/>
                  <a:pt x="5303523" y="5594749"/>
                </a:cubicBezTo>
                <a:cubicBezTo>
                  <a:pt x="5301174" y="5597098"/>
                  <a:pt x="5301174" y="5599447"/>
                  <a:pt x="5298825" y="5601795"/>
                </a:cubicBezTo>
                <a:cubicBezTo>
                  <a:pt x="5296476" y="5601795"/>
                  <a:pt x="5296476" y="5601795"/>
                  <a:pt x="5296476" y="5601795"/>
                </a:cubicBezTo>
                <a:cubicBezTo>
                  <a:pt x="5289430" y="5613539"/>
                  <a:pt x="5284732" y="5622935"/>
                  <a:pt x="5282384" y="5634678"/>
                </a:cubicBezTo>
                <a:cubicBezTo>
                  <a:pt x="5275338" y="5651120"/>
                  <a:pt x="5270640" y="5669910"/>
                  <a:pt x="5272989" y="5693398"/>
                </a:cubicBezTo>
                <a:cubicBezTo>
                  <a:pt x="5263594" y="5693398"/>
                  <a:pt x="5270640" y="5679305"/>
                  <a:pt x="5268291" y="5672259"/>
                </a:cubicBezTo>
                <a:cubicBezTo>
                  <a:pt x="5254199" y="5681654"/>
                  <a:pt x="5251850" y="5698095"/>
                  <a:pt x="5244803" y="5712188"/>
                </a:cubicBezTo>
                <a:cubicBezTo>
                  <a:pt x="5244803" y="5712188"/>
                  <a:pt x="5242455" y="5709839"/>
                  <a:pt x="5240106" y="5709839"/>
                </a:cubicBezTo>
                <a:cubicBezTo>
                  <a:pt x="5247152" y="5693398"/>
                  <a:pt x="5263594" y="5676956"/>
                  <a:pt x="5265943" y="5658166"/>
                </a:cubicBezTo>
                <a:cubicBezTo>
                  <a:pt x="5268291" y="5637027"/>
                  <a:pt x="5263594" y="5618237"/>
                  <a:pt x="5265943" y="5599447"/>
                </a:cubicBezTo>
                <a:cubicBezTo>
                  <a:pt x="5270640" y="5557169"/>
                  <a:pt x="5289430" y="5524286"/>
                  <a:pt x="5301174" y="5489054"/>
                </a:cubicBezTo>
                <a:cubicBezTo>
                  <a:pt x="5296477" y="5472613"/>
                  <a:pt x="5292954" y="5454410"/>
                  <a:pt x="5289724" y="5435913"/>
                </a:cubicBezTo>
                <a:lnTo>
                  <a:pt x="5282219" y="5393383"/>
                </a:lnTo>
                <a:lnTo>
                  <a:pt x="5293885" y="5367184"/>
                </a:lnTo>
                <a:cubicBezTo>
                  <a:pt x="5299119" y="5358000"/>
                  <a:pt x="5305285" y="5349889"/>
                  <a:pt x="5312918" y="5343430"/>
                </a:cubicBezTo>
                <a:cubicBezTo>
                  <a:pt x="5312918" y="5345779"/>
                  <a:pt x="5310569" y="5350476"/>
                  <a:pt x="5310569" y="5352825"/>
                </a:cubicBezTo>
                <a:cubicBezTo>
                  <a:pt x="5315267" y="5352825"/>
                  <a:pt x="5319964" y="5352825"/>
                  <a:pt x="5324662" y="5352825"/>
                </a:cubicBezTo>
                <a:cubicBezTo>
                  <a:pt x="5324662" y="5348127"/>
                  <a:pt x="5322313" y="5343430"/>
                  <a:pt x="5319964" y="5338732"/>
                </a:cubicBezTo>
                <a:cubicBezTo>
                  <a:pt x="5324662" y="5336383"/>
                  <a:pt x="5327011" y="5336383"/>
                  <a:pt x="5329359" y="5334035"/>
                </a:cubicBezTo>
                <a:cubicBezTo>
                  <a:pt x="5338754" y="5338732"/>
                  <a:pt x="5348150" y="5343430"/>
                  <a:pt x="5350498" y="5350476"/>
                </a:cubicBezTo>
                <a:cubicBezTo>
                  <a:pt x="5381033" y="5326988"/>
                  <a:pt x="5383381" y="5284710"/>
                  <a:pt x="5381033" y="5240084"/>
                </a:cubicBezTo>
                <a:cubicBezTo>
                  <a:pt x="5402171" y="5244781"/>
                  <a:pt x="5418613" y="5195457"/>
                  <a:pt x="5395125" y="5190759"/>
                </a:cubicBezTo>
                <a:cubicBezTo>
                  <a:pt x="5385730" y="5204852"/>
                  <a:pt x="5406869" y="5228340"/>
                  <a:pt x="5383381" y="5233037"/>
                </a:cubicBezTo>
                <a:cubicBezTo>
                  <a:pt x="5378684" y="5186062"/>
                  <a:pt x="5411567" y="5101505"/>
                  <a:pt x="5390428" y="5066274"/>
                </a:cubicBezTo>
                <a:cubicBezTo>
                  <a:pt x="5409218" y="5031042"/>
                  <a:pt x="5402171" y="5014601"/>
                  <a:pt x="5418613" y="4962928"/>
                </a:cubicBezTo>
                <a:cubicBezTo>
                  <a:pt x="5406869" y="4969974"/>
                  <a:pt x="5383381" y="4965277"/>
                  <a:pt x="5359894" y="4972323"/>
                </a:cubicBezTo>
                <a:cubicBezTo>
                  <a:pt x="5357545" y="4960579"/>
                  <a:pt x="5369289" y="4941789"/>
                  <a:pt x="5362242" y="4932393"/>
                </a:cubicBezTo>
                <a:cubicBezTo>
                  <a:pt x="5348150" y="4953533"/>
                  <a:pt x="5324662" y="4953533"/>
                  <a:pt x="5303523" y="4962928"/>
                </a:cubicBezTo>
                <a:cubicBezTo>
                  <a:pt x="5343452" y="4944137"/>
                  <a:pt x="5296476" y="4934742"/>
                  <a:pt x="5289430" y="4915952"/>
                </a:cubicBezTo>
                <a:cubicBezTo>
                  <a:pt x="5291779" y="4911255"/>
                  <a:pt x="5301174" y="4913603"/>
                  <a:pt x="5308220" y="4918301"/>
                </a:cubicBezTo>
                <a:cubicBezTo>
                  <a:pt x="5305872" y="4901859"/>
                  <a:pt x="5308220" y="4885418"/>
                  <a:pt x="5298825" y="4873674"/>
                </a:cubicBezTo>
                <a:cubicBezTo>
                  <a:pt x="5287081" y="4887767"/>
                  <a:pt x="5282384" y="4894813"/>
                  <a:pt x="5282384" y="4913603"/>
                </a:cubicBezTo>
                <a:cubicBezTo>
                  <a:pt x="5258896" y="4894813"/>
                  <a:pt x="5223664" y="4883069"/>
                  <a:pt x="5176689" y="4890115"/>
                </a:cubicBezTo>
                <a:cubicBezTo>
                  <a:pt x="5120318" y="5016950"/>
                  <a:pt x="5110923" y="5162574"/>
                  <a:pt x="5117969" y="5303501"/>
                </a:cubicBezTo>
                <a:cubicBezTo>
                  <a:pt x="5113272" y="5324639"/>
                  <a:pt x="5108574" y="5343430"/>
                  <a:pt x="5103877" y="5362220"/>
                </a:cubicBezTo>
                <a:cubicBezTo>
                  <a:pt x="5108574" y="5362220"/>
                  <a:pt x="5115620" y="5359871"/>
                  <a:pt x="5120318" y="5359871"/>
                </a:cubicBezTo>
                <a:cubicBezTo>
                  <a:pt x="5125016" y="5413893"/>
                  <a:pt x="5129713" y="5467915"/>
                  <a:pt x="5136760" y="5519588"/>
                </a:cubicBezTo>
                <a:cubicBezTo>
                  <a:pt x="5155257" y="5523699"/>
                  <a:pt x="5170927" y="5524836"/>
                  <a:pt x="5184309" y="5523579"/>
                </a:cubicBezTo>
                <a:lnTo>
                  <a:pt x="5204836" y="5517280"/>
                </a:lnTo>
                <a:lnTo>
                  <a:pt x="5188727" y="5565096"/>
                </a:lnTo>
                <a:cubicBezTo>
                  <a:pt x="5179625" y="5580069"/>
                  <a:pt x="5167294" y="5590051"/>
                  <a:pt x="5150852" y="5590051"/>
                </a:cubicBezTo>
                <a:cubicBezTo>
                  <a:pt x="5148504" y="5604144"/>
                  <a:pt x="5146155" y="5615888"/>
                  <a:pt x="5141457" y="5625283"/>
                </a:cubicBezTo>
                <a:cubicBezTo>
                  <a:pt x="5141457" y="5615888"/>
                  <a:pt x="5143806" y="5606493"/>
                  <a:pt x="5143806" y="5594749"/>
                </a:cubicBezTo>
                <a:cubicBezTo>
                  <a:pt x="5136760" y="5606493"/>
                  <a:pt x="5127364" y="5613539"/>
                  <a:pt x="5120318" y="5625283"/>
                </a:cubicBezTo>
                <a:cubicBezTo>
                  <a:pt x="5122667" y="5625283"/>
                  <a:pt x="5122667" y="5625283"/>
                  <a:pt x="5125016" y="5625283"/>
                </a:cubicBezTo>
                <a:cubicBezTo>
                  <a:pt x="5122667" y="5627632"/>
                  <a:pt x="5122667" y="5632330"/>
                  <a:pt x="5120318" y="5634678"/>
                </a:cubicBezTo>
                <a:cubicBezTo>
                  <a:pt x="5117969" y="5632330"/>
                  <a:pt x="5117969" y="5632330"/>
                  <a:pt x="5115620" y="5632330"/>
                </a:cubicBezTo>
                <a:cubicBezTo>
                  <a:pt x="5106226" y="5634678"/>
                  <a:pt x="5103877" y="5629981"/>
                  <a:pt x="5096830" y="5627632"/>
                </a:cubicBezTo>
                <a:cubicBezTo>
                  <a:pt x="5094482" y="5627632"/>
                  <a:pt x="5092133" y="5627632"/>
                  <a:pt x="5087435" y="5629981"/>
                </a:cubicBezTo>
                <a:cubicBezTo>
                  <a:pt x="5085086" y="5632330"/>
                  <a:pt x="5078040" y="5637027"/>
                  <a:pt x="5073342" y="5639376"/>
                </a:cubicBezTo>
                <a:cubicBezTo>
                  <a:pt x="5087435" y="5641725"/>
                  <a:pt x="5103877" y="5641725"/>
                  <a:pt x="5117969" y="5644073"/>
                </a:cubicBezTo>
                <a:cubicBezTo>
                  <a:pt x="5117969" y="5648771"/>
                  <a:pt x="5115620" y="5653468"/>
                  <a:pt x="5113272" y="5658166"/>
                </a:cubicBezTo>
                <a:cubicBezTo>
                  <a:pt x="5110923" y="5658166"/>
                  <a:pt x="5108574" y="5660515"/>
                  <a:pt x="5106226" y="5660515"/>
                </a:cubicBezTo>
                <a:cubicBezTo>
                  <a:pt x="5108574" y="5660515"/>
                  <a:pt x="5110923" y="5660515"/>
                  <a:pt x="5113272" y="5660515"/>
                </a:cubicBezTo>
                <a:cubicBezTo>
                  <a:pt x="5110923" y="5662864"/>
                  <a:pt x="5110923" y="5662864"/>
                  <a:pt x="5110923" y="5665212"/>
                </a:cubicBezTo>
                <a:cubicBezTo>
                  <a:pt x="5092133" y="5660515"/>
                  <a:pt x="5070994" y="5648771"/>
                  <a:pt x="5052204" y="5648771"/>
                </a:cubicBezTo>
                <a:cubicBezTo>
                  <a:pt x="5049855" y="5648771"/>
                  <a:pt x="5045157" y="5651120"/>
                  <a:pt x="5040460" y="5651120"/>
                </a:cubicBezTo>
                <a:cubicBezTo>
                  <a:pt x="5063947" y="5655817"/>
                  <a:pt x="5087435" y="5665212"/>
                  <a:pt x="5110923" y="5667561"/>
                </a:cubicBezTo>
                <a:lnTo>
                  <a:pt x="5105003" y="5685322"/>
                </a:lnTo>
                <a:lnTo>
                  <a:pt x="5087435" y="5676956"/>
                </a:lnTo>
                <a:cubicBezTo>
                  <a:pt x="5056901" y="5693398"/>
                  <a:pt x="5007577" y="5693398"/>
                  <a:pt x="4972345" y="5705142"/>
                </a:cubicBezTo>
                <a:cubicBezTo>
                  <a:pt x="4981740" y="5716886"/>
                  <a:pt x="4991135" y="5705142"/>
                  <a:pt x="5005228" y="5702793"/>
                </a:cubicBezTo>
                <a:cubicBezTo>
                  <a:pt x="5024019" y="5700444"/>
                  <a:pt x="5048094" y="5701619"/>
                  <a:pt x="5071875" y="5702499"/>
                </a:cubicBezTo>
                <a:lnTo>
                  <a:pt x="5088742" y="5701965"/>
                </a:lnTo>
                <a:lnTo>
                  <a:pt x="5099179" y="5707490"/>
                </a:lnTo>
                <a:lnTo>
                  <a:pt x="5099083" y="5709215"/>
                </a:lnTo>
                <a:lnTo>
                  <a:pt x="5070407" y="5707785"/>
                </a:lnTo>
                <a:cubicBezTo>
                  <a:pt x="5049855" y="5708078"/>
                  <a:pt x="5029891" y="5711014"/>
                  <a:pt x="5019321" y="5716886"/>
                </a:cubicBezTo>
                <a:cubicBezTo>
                  <a:pt x="5035763" y="5715712"/>
                  <a:pt x="5056314" y="5714537"/>
                  <a:pt x="5075692" y="5713950"/>
                </a:cubicBezTo>
                <a:lnTo>
                  <a:pt x="5098838" y="5713641"/>
                </a:lnTo>
                <a:lnTo>
                  <a:pt x="5098043" y="5727940"/>
                </a:lnTo>
                <a:lnTo>
                  <a:pt x="5090371" y="5727456"/>
                </a:lnTo>
                <a:cubicBezTo>
                  <a:pt x="5070994" y="5728043"/>
                  <a:pt x="5052204" y="5730979"/>
                  <a:pt x="5038111" y="5738025"/>
                </a:cubicBezTo>
                <a:lnTo>
                  <a:pt x="5097699" y="5734139"/>
                </a:lnTo>
                <a:lnTo>
                  <a:pt x="5096830" y="5749768"/>
                </a:lnTo>
                <a:cubicBezTo>
                  <a:pt x="5063947" y="5754466"/>
                  <a:pt x="5033413" y="5761512"/>
                  <a:pt x="4993484" y="5761512"/>
                </a:cubicBezTo>
                <a:cubicBezTo>
                  <a:pt x="4998182" y="5775605"/>
                  <a:pt x="5009925" y="5763861"/>
                  <a:pt x="5019321" y="5763861"/>
                </a:cubicBezTo>
                <a:cubicBezTo>
                  <a:pt x="5042809" y="5761512"/>
                  <a:pt x="5070994" y="5759163"/>
                  <a:pt x="5096830" y="5756815"/>
                </a:cubicBezTo>
                <a:cubicBezTo>
                  <a:pt x="5096830" y="5759163"/>
                  <a:pt x="5096830" y="5761512"/>
                  <a:pt x="5096830" y="5763861"/>
                </a:cubicBezTo>
                <a:cubicBezTo>
                  <a:pt x="5068645" y="5768559"/>
                  <a:pt x="5040460" y="5773256"/>
                  <a:pt x="5012274" y="5770907"/>
                </a:cubicBezTo>
                <a:cubicBezTo>
                  <a:pt x="5012274" y="5785000"/>
                  <a:pt x="5026367" y="5775605"/>
                  <a:pt x="5033413" y="5775605"/>
                </a:cubicBezTo>
                <a:cubicBezTo>
                  <a:pt x="5054552" y="5775605"/>
                  <a:pt x="5078040" y="5773256"/>
                  <a:pt x="5099179" y="5768559"/>
                </a:cubicBezTo>
                <a:cubicBezTo>
                  <a:pt x="5099179" y="5768559"/>
                  <a:pt x="5099179" y="5770907"/>
                  <a:pt x="5099179" y="5773256"/>
                </a:cubicBezTo>
                <a:cubicBezTo>
                  <a:pt x="5078040" y="5777954"/>
                  <a:pt x="5054552" y="5780303"/>
                  <a:pt x="5031065" y="5782651"/>
                </a:cubicBezTo>
                <a:cubicBezTo>
                  <a:pt x="5038111" y="5799093"/>
                  <a:pt x="5049855" y="5787349"/>
                  <a:pt x="5061599" y="5785000"/>
                </a:cubicBezTo>
                <a:cubicBezTo>
                  <a:pt x="5073342" y="5782651"/>
                  <a:pt x="5085086" y="5780303"/>
                  <a:pt x="5099179" y="5780303"/>
                </a:cubicBezTo>
                <a:cubicBezTo>
                  <a:pt x="5103877" y="5817883"/>
                  <a:pt x="5110923" y="5853115"/>
                  <a:pt x="5110923" y="5885998"/>
                </a:cubicBezTo>
                <a:cubicBezTo>
                  <a:pt x="5094482" y="5871905"/>
                  <a:pt x="5078040" y="5853115"/>
                  <a:pt x="5063947" y="5836673"/>
                </a:cubicBezTo>
                <a:cubicBezTo>
                  <a:pt x="5061599" y="5853115"/>
                  <a:pt x="5080389" y="5860161"/>
                  <a:pt x="5089784" y="5869556"/>
                </a:cubicBezTo>
                <a:cubicBezTo>
                  <a:pt x="5096830" y="5876602"/>
                  <a:pt x="5103877" y="5885998"/>
                  <a:pt x="5110923" y="5895393"/>
                </a:cubicBezTo>
                <a:cubicBezTo>
                  <a:pt x="5110923" y="5897742"/>
                  <a:pt x="5110923" y="5902439"/>
                  <a:pt x="5110923" y="5904788"/>
                </a:cubicBezTo>
                <a:cubicBezTo>
                  <a:pt x="5089784" y="5885998"/>
                  <a:pt x="5070994" y="5864859"/>
                  <a:pt x="5056901" y="5839022"/>
                </a:cubicBezTo>
                <a:cubicBezTo>
                  <a:pt x="5045157" y="5841371"/>
                  <a:pt x="5045157" y="5831976"/>
                  <a:pt x="5033413" y="5834325"/>
                </a:cubicBezTo>
                <a:cubicBezTo>
                  <a:pt x="5031065" y="5843720"/>
                  <a:pt x="5040460" y="5841371"/>
                  <a:pt x="5045157" y="5846069"/>
                </a:cubicBezTo>
                <a:cubicBezTo>
                  <a:pt x="5038111" y="5857812"/>
                  <a:pt x="5024018" y="5839022"/>
                  <a:pt x="5016972" y="5834325"/>
                </a:cubicBezTo>
                <a:cubicBezTo>
                  <a:pt x="4993484" y="5834325"/>
                  <a:pt x="4974694" y="5827278"/>
                  <a:pt x="4955903" y="5820232"/>
                </a:cubicBezTo>
                <a:cubicBezTo>
                  <a:pt x="4955903" y="5815534"/>
                  <a:pt x="4955903" y="5813185"/>
                  <a:pt x="4953555" y="5810837"/>
                </a:cubicBezTo>
                <a:cubicBezTo>
                  <a:pt x="4953555" y="5813185"/>
                  <a:pt x="4951206" y="5813185"/>
                  <a:pt x="4948857" y="5815534"/>
                </a:cubicBezTo>
                <a:cubicBezTo>
                  <a:pt x="4951206" y="5839022"/>
                  <a:pt x="4967647" y="5841371"/>
                  <a:pt x="4981740" y="5850766"/>
                </a:cubicBezTo>
                <a:cubicBezTo>
                  <a:pt x="4979391" y="5874254"/>
                  <a:pt x="4939462" y="5864859"/>
                  <a:pt x="4918323" y="5871905"/>
                </a:cubicBezTo>
                <a:cubicBezTo>
                  <a:pt x="4880743" y="5871905"/>
                  <a:pt x="4861952" y="5850766"/>
                  <a:pt x="4822023" y="5857812"/>
                </a:cubicBezTo>
                <a:lnTo>
                  <a:pt x="4817249" y="5840678"/>
                </a:lnTo>
                <a:lnTo>
                  <a:pt x="4816372" y="5832857"/>
                </a:lnTo>
                <a:cubicBezTo>
                  <a:pt x="4813069" y="5827572"/>
                  <a:pt x="4803820" y="5830215"/>
                  <a:pt x="4798535" y="5824929"/>
                </a:cubicBezTo>
                <a:cubicBezTo>
                  <a:pt x="4793838" y="5801442"/>
                  <a:pt x="4838465" y="5820232"/>
                  <a:pt x="4824372" y="5789698"/>
                </a:cubicBezTo>
                <a:cubicBezTo>
                  <a:pt x="4861952" y="5792047"/>
                  <a:pt x="4876045" y="5824929"/>
                  <a:pt x="4920672" y="5813185"/>
                </a:cubicBezTo>
                <a:cubicBezTo>
                  <a:pt x="4923021" y="5789698"/>
                  <a:pt x="4899533" y="5801442"/>
                  <a:pt x="4890138" y="5792047"/>
                </a:cubicBezTo>
                <a:cubicBezTo>
                  <a:pt x="4880743" y="5766210"/>
                  <a:pt x="4904230" y="5766210"/>
                  <a:pt x="4897184" y="5738025"/>
                </a:cubicBezTo>
                <a:cubicBezTo>
                  <a:pt x="4876045" y="5719234"/>
                  <a:pt x="4857255" y="5698095"/>
                  <a:pt x="4838465" y="5674608"/>
                </a:cubicBezTo>
                <a:cubicBezTo>
                  <a:pt x="4838465" y="5674608"/>
                  <a:pt x="4838465" y="5676956"/>
                  <a:pt x="4838465" y="5676956"/>
                </a:cubicBezTo>
                <a:cubicBezTo>
                  <a:pt x="4807931" y="5681654"/>
                  <a:pt x="4784443" y="5679305"/>
                  <a:pt x="4760955" y="5674608"/>
                </a:cubicBezTo>
                <a:cubicBezTo>
                  <a:pt x="4756257" y="5700444"/>
                  <a:pt x="4789140" y="5672259"/>
                  <a:pt x="4782094" y="5698095"/>
                </a:cubicBezTo>
                <a:cubicBezTo>
                  <a:pt x="4789140" y="5719234"/>
                  <a:pt x="4772699" y="5709839"/>
                  <a:pt x="4765653" y="5707490"/>
                </a:cubicBezTo>
                <a:cubicBezTo>
                  <a:pt x="4763304" y="5719234"/>
                  <a:pt x="4772699" y="5719234"/>
                  <a:pt x="4772699" y="5726281"/>
                </a:cubicBezTo>
                <a:cubicBezTo>
                  <a:pt x="4777397" y="5735676"/>
                  <a:pt x="4784443" y="5726281"/>
                  <a:pt x="4784443" y="5719234"/>
                </a:cubicBezTo>
                <a:cubicBezTo>
                  <a:pt x="4798535" y="5735676"/>
                  <a:pt x="4833767" y="5721583"/>
                  <a:pt x="4840813" y="5749768"/>
                </a:cubicBezTo>
                <a:cubicBezTo>
                  <a:pt x="4822023" y="5763861"/>
                  <a:pt x="4819675" y="5745071"/>
                  <a:pt x="4793838" y="5749768"/>
                </a:cubicBezTo>
                <a:cubicBezTo>
                  <a:pt x="4789140" y="5752117"/>
                  <a:pt x="4791489" y="5775605"/>
                  <a:pt x="4796187" y="5775605"/>
                </a:cubicBezTo>
                <a:cubicBezTo>
                  <a:pt x="4796187" y="5789698"/>
                  <a:pt x="4770350" y="5782651"/>
                  <a:pt x="4760955" y="5787349"/>
                </a:cubicBezTo>
                <a:cubicBezTo>
                  <a:pt x="4744513" y="5794395"/>
                  <a:pt x="4775048" y="5794395"/>
                  <a:pt x="4770350" y="5810837"/>
                </a:cubicBezTo>
                <a:cubicBezTo>
                  <a:pt x="4744513" y="5817883"/>
                  <a:pt x="4751560" y="5782651"/>
                  <a:pt x="4746862" y="5761512"/>
                </a:cubicBezTo>
                <a:cubicBezTo>
                  <a:pt x="4760955" y="5763861"/>
                  <a:pt x="4758606" y="5749768"/>
                  <a:pt x="4775048" y="5752117"/>
                </a:cubicBezTo>
                <a:cubicBezTo>
                  <a:pt x="4770350" y="5733327"/>
                  <a:pt x="4739816" y="5747420"/>
                  <a:pt x="4721026" y="5747420"/>
                </a:cubicBezTo>
                <a:cubicBezTo>
                  <a:pt x="4704584" y="5754466"/>
                  <a:pt x="4713980" y="5756815"/>
                  <a:pt x="4716328" y="5773256"/>
                </a:cubicBezTo>
                <a:cubicBezTo>
                  <a:pt x="4713980" y="5773256"/>
                  <a:pt x="4713980" y="5773256"/>
                  <a:pt x="4713980" y="5773256"/>
                </a:cubicBezTo>
                <a:cubicBezTo>
                  <a:pt x="4716328" y="5775605"/>
                  <a:pt x="4716328" y="5775605"/>
                  <a:pt x="4718677" y="5777954"/>
                </a:cubicBezTo>
                <a:cubicBezTo>
                  <a:pt x="4716328" y="5782651"/>
                  <a:pt x="4713980" y="5777954"/>
                  <a:pt x="4711631" y="5777954"/>
                </a:cubicBezTo>
                <a:cubicBezTo>
                  <a:pt x="4725723" y="5799093"/>
                  <a:pt x="4746862" y="5813185"/>
                  <a:pt x="4763304" y="5831976"/>
                </a:cubicBezTo>
                <a:cubicBezTo>
                  <a:pt x="4763304" y="5834325"/>
                  <a:pt x="4763304" y="5834325"/>
                  <a:pt x="4763304" y="5836673"/>
                </a:cubicBezTo>
                <a:cubicBezTo>
                  <a:pt x="4775048" y="5834325"/>
                  <a:pt x="4765653" y="5841371"/>
                  <a:pt x="4765653" y="5850766"/>
                </a:cubicBezTo>
                <a:cubicBezTo>
                  <a:pt x="4765653" y="5853115"/>
                  <a:pt x="4768001" y="5853115"/>
                  <a:pt x="4768001" y="5855464"/>
                </a:cubicBezTo>
                <a:lnTo>
                  <a:pt x="4780580" y="5857290"/>
                </a:lnTo>
                <a:lnTo>
                  <a:pt x="4772699" y="5883649"/>
                </a:lnTo>
                <a:cubicBezTo>
                  <a:pt x="4751560" y="5878951"/>
                  <a:pt x="4744513" y="5897742"/>
                  <a:pt x="4732770" y="5888346"/>
                </a:cubicBezTo>
                <a:cubicBezTo>
                  <a:pt x="4725723" y="5902439"/>
                  <a:pt x="4711631" y="5876602"/>
                  <a:pt x="4716328" y="5902439"/>
                </a:cubicBezTo>
                <a:cubicBezTo>
                  <a:pt x="4704584" y="5900090"/>
                  <a:pt x="4699887" y="5890695"/>
                  <a:pt x="4681096" y="5895393"/>
                </a:cubicBezTo>
                <a:cubicBezTo>
                  <a:pt x="4683445" y="5890695"/>
                  <a:pt x="4685794" y="5888346"/>
                  <a:pt x="4688143" y="5885998"/>
                </a:cubicBezTo>
                <a:cubicBezTo>
                  <a:pt x="4676399" y="5874254"/>
                  <a:pt x="4664655" y="5862510"/>
                  <a:pt x="4650562" y="5850766"/>
                </a:cubicBezTo>
                <a:cubicBezTo>
                  <a:pt x="4650562" y="5862510"/>
                  <a:pt x="4664655" y="5874254"/>
                  <a:pt x="4652911" y="5885998"/>
                </a:cubicBezTo>
                <a:cubicBezTo>
                  <a:pt x="4662306" y="5900090"/>
                  <a:pt x="4678748" y="5904788"/>
                  <a:pt x="4690492" y="5918880"/>
                </a:cubicBezTo>
                <a:cubicBezTo>
                  <a:pt x="4697538" y="5937671"/>
                  <a:pt x="4671702" y="5930624"/>
                  <a:pt x="4676399" y="5947066"/>
                </a:cubicBezTo>
                <a:cubicBezTo>
                  <a:pt x="4683445" y="5958810"/>
                  <a:pt x="4706933" y="5935322"/>
                  <a:pt x="4728072" y="5940020"/>
                </a:cubicBezTo>
                <a:cubicBezTo>
                  <a:pt x="4749211" y="5954112"/>
                  <a:pt x="4716328" y="5965856"/>
                  <a:pt x="4732770" y="5977600"/>
                </a:cubicBezTo>
                <a:cubicBezTo>
                  <a:pt x="4763304" y="5968205"/>
                  <a:pt x="4756257" y="5923578"/>
                  <a:pt x="4798535" y="5923578"/>
                </a:cubicBezTo>
                <a:cubicBezTo>
                  <a:pt x="4798535" y="5918880"/>
                  <a:pt x="4796187" y="5918880"/>
                  <a:pt x="4791489" y="5918880"/>
                </a:cubicBezTo>
                <a:cubicBezTo>
                  <a:pt x="4814977" y="5904788"/>
                  <a:pt x="4847860" y="5940020"/>
                  <a:pt x="4871348" y="5947066"/>
                </a:cubicBezTo>
                <a:cubicBezTo>
                  <a:pt x="4866650" y="5968205"/>
                  <a:pt x="4845511" y="5940020"/>
                  <a:pt x="4838465" y="5958810"/>
                </a:cubicBezTo>
                <a:cubicBezTo>
                  <a:pt x="4831419" y="5968205"/>
                  <a:pt x="4831419" y="5986995"/>
                  <a:pt x="4819675" y="5994041"/>
                </a:cubicBezTo>
                <a:cubicBezTo>
                  <a:pt x="4763304" y="6003436"/>
                  <a:pt x="4756257" y="5994041"/>
                  <a:pt x="4702236" y="6003436"/>
                </a:cubicBezTo>
                <a:cubicBezTo>
                  <a:pt x="4702236" y="6001088"/>
                  <a:pt x="4699887" y="5996390"/>
                  <a:pt x="4697538" y="5994041"/>
                </a:cubicBezTo>
                <a:cubicBezTo>
                  <a:pt x="4704584" y="6005785"/>
                  <a:pt x="4709282" y="6019878"/>
                  <a:pt x="4713980" y="6033971"/>
                </a:cubicBezTo>
                <a:cubicBezTo>
                  <a:pt x="4709282" y="6031622"/>
                  <a:pt x="4706933" y="6022227"/>
                  <a:pt x="4702236" y="6019878"/>
                </a:cubicBezTo>
                <a:cubicBezTo>
                  <a:pt x="4706933" y="6080946"/>
                  <a:pt x="4756257" y="6127922"/>
                  <a:pt x="4791489" y="6174898"/>
                </a:cubicBezTo>
                <a:cubicBezTo>
                  <a:pt x="4777397" y="6165503"/>
                  <a:pt x="4765653" y="6149061"/>
                  <a:pt x="4753909" y="6134968"/>
                </a:cubicBezTo>
                <a:cubicBezTo>
                  <a:pt x="4758606" y="6170200"/>
                  <a:pt x="4805582" y="6181944"/>
                  <a:pt x="4817326" y="6212478"/>
                </a:cubicBezTo>
                <a:cubicBezTo>
                  <a:pt x="4803233" y="6198385"/>
                  <a:pt x="4786792" y="6184293"/>
                  <a:pt x="4770350" y="6174898"/>
                </a:cubicBezTo>
                <a:cubicBezTo>
                  <a:pt x="4768001" y="6174898"/>
                  <a:pt x="4768001" y="6179595"/>
                  <a:pt x="4770350" y="6179595"/>
                </a:cubicBezTo>
                <a:cubicBezTo>
                  <a:pt x="4760955" y="6179595"/>
                  <a:pt x="4753909" y="6160805"/>
                  <a:pt x="4742165" y="6158456"/>
                </a:cubicBezTo>
                <a:cubicBezTo>
                  <a:pt x="4723375" y="6125573"/>
                  <a:pt x="4699887" y="6099736"/>
                  <a:pt x="4676399" y="6076249"/>
                </a:cubicBezTo>
                <a:cubicBezTo>
                  <a:pt x="4674050" y="6076249"/>
                  <a:pt x="4669353" y="6078598"/>
                  <a:pt x="4667004" y="6078598"/>
                </a:cubicBezTo>
                <a:cubicBezTo>
                  <a:pt x="4683445" y="6095039"/>
                  <a:pt x="4699887" y="6109131"/>
                  <a:pt x="4706933" y="6123224"/>
                </a:cubicBezTo>
                <a:cubicBezTo>
                  <a:pt x="4699887" y="6109131"/>
                  <a:pt x="4683445" y="6095039"/>
                  <a:pt x="4664655" y="6080946"/>
                </a:cubicBezTo>
                <a:cubicBezTo>
                  <a:pt x="4657609" y="6083295"/>
                  <a:pt x="4652911" y="6087992"/>
                  <a:pt x="4650562" y="6095039"/>
                </a:cubicBezTo>
                <a:cubicBezTo>
                  <a:pt x="4674050" y="6116178"/>
                  <a:pt x="4695189" y="6153759"/>
                  <a:pt x="4721026" y="6177247"/>
                </a:cubicBezTo>
                <a:lnTo>
                  <a:pt x="4684723" y="6145265"/>
                </a:lnTo>
                <a:lnTo>
                  <a:pt x="4685795" y="6146601"/>
                </a:lnTo>
                <a:cubicBezTo>
                  <a:pt x="4715302" y="6184586"/>
                  <a:pt x="4747450" y="6229506"/>
                  <a:pt x="4770351" y="6266499"/>
                </a:cubicBezTo>
                <a:cubicBezTo>
                  <a:pt x="4772700" y="6266499"/>
                  <a:pt x="4770351" y="6261801"/>
                  <a:pt x="4770351" y="6259453"/>
                </a:cubicBezTo>
                <a:cubicBezTo>
                  <a:pt x="4789142" y="6275894"/>
                  <a:pt x="4803234" y="6311125"/>
                  <a:pt x="4819676" y="6332264"/>
                </a:cubicBezTo>
                <a:cubicBezTo>
                  <a:pt x="4793839" y="6313474"/>
                  <a:pt x="4768003" y="6271196"/>
                  <a:pt x="4737469" y="6247709"/>
                </a:cubicBezTo>
                <a:cubicBezTo>
                  <a:pt x="4716330" y="6193686"/>
                  <a:pt x="4688144" y="6158455"/>
                  <a:pt x="4657609" y="6111479"/>
                </a:cubicBezTo>
                <a:lnTo>
                  <a:pt x="4681409" y="6141135"/>
                </a:lnTo>
                <a:lnTo>
                  <a:pt x="4650562" y="6099736"/>
                </a:lnTo>
                <a:cubicBezTo>
                  <a:pt x="4650562" y="6102085"/>
                  <a:pt x="4650562" y="6106783"/>
                  <a:pt x="4652911" y="6111480"/>
                </a:cubicBezTo>
                <a:cubicBezTo>
                  <a:pt x="4638818" y="6118527"/>
                  <a:pt x="4636470" y="6109131"/>
                  <a:pt x="4627075" y="6109131"/>
                </a:cubicBezTo>
                <a:cubicBezTo>
                  <a:pt x="4629423" y="6111480"/>
                  <a:pt x="4631772" y="6116178"/>
                  <a:pt x="4634121" y="6118527"/>
                </a:cubicBezTo>
                <a:cubicBezTo>
                  <a:pt x="4629423" y="6116178"/>
                  <a:pt x="4627075" y="6113829"/>
                  <a:pt x="4622377" y="6109131"/>
                </a:cubicBezTo>
                <a:cubicBezTo>
                  <a:pt x="4617680" y="6111480"/>
                  <a:pt x="4615331" y="6116178"/>
                  <a:pt x="4612982" y="6123224"/>
                </a:cubicBezTo>
                <a:cubicBezTo>
                  <a:pt x="4612982" y="6123224"/>
                  <a:pt x="4615331" y="6125573"/>
                  <a:pt x="4615331" y="6125573"/>
                </a:cubicBezTo>
                <a:cubicBezTo>
                  <a:pt x="4615331" y="6127922"/>
                  <a:pt x="4615331" y="6127922"/>
                  <a:pt x="4612982" y="6125573"/>
                </a:cubicBezTo>
                <a:cubicBezTo>
                  <a:pt x="4612982" y="6127922"/>
                  <a:pt x="4612982" y="6132619"/>
                  <a:pt x="4610633" y="6134968"/>
                </a:cubicBezTo>
                <a:cubicBezTo>
                  <a:pt x="4610633" y="6137317"/>
                  <a:pt x="4612982" y="6137317"/>
                  <a:pt x="4612982" y="6139666"/>
                </a:cubicBezTo>
                <a:cubicBezTo>
                  <a:pt x="4620028" y="6149061"/>
                  <a:pt x="4631772" y="6151410"/>
                  <a:pt x="4641167" y="6158456"/>
                </a:cubicBezTo>
                <a:cubicBezTo>
                  <a:pt x="4643516" y="6170200"/>
                  <a:pt x="4638818" y="6174898"/>
                  <a:pt x="4631772" y="6179595"/>
                </a:cubicBezTo>
                <a:cubicBezTo>
                  <a:pt x="4634121" y="6196036"/>
                  <a:pt x="4655260" y="6181944"/>
                  <a:pt x="4652911" y="6203082"/>
                </a:cubicBezTo>
                <a:cubicBezTo>
                  <a:pt x="4655260" y="6210129"/>
                  <a:pt x="4652911" y="6212478"/>
                  <a:pt x="4650562" y="6214826"/>
                </a:cubicBezTo>
                <a:cubicBezTo>
                  <a:pt x="4648214" y="6217175"/>
                  <a:pt x="4645865" y="6219524"/>
                  <a:pt x="4643516" y="6219524"/>
                </a:cubicBezTo>
                <a:cubicBezTo>
                  <a:pt x="4655260" y="6247710"/>
                  <a:pt x="4676399" y="6273546"/>
                  <a:pt x="4690492" y="6301731"/>
                </a:cubicBezTo>
                <a:cubicBezTo>
                  <a:pt x="4706933" y="6334614"/>
                  <a:pt x="4730421" y="6374544"/>
                  <a:pt x="4737467" y="6405078"/>
                </a:cubicBezTo>
                <a:cubicBezTo>
                  <a:pt x="4725723" y="6390985"/>
                  <a:pt x="4725723" y="6365149"/>
                  <a:pt x="4709282" y="6355753"/>
                </a:cubicBezTo>
                <a:cubicBezTo>
                  <a:pt x="4709282" y="6360451"/>
                  <a:pt x="4711631" y="6362800"/>
                  <a:pt x="4713980" y="6367497"/>
                </a:cubicBezTo>
                <a:cubicBezTo>
                  <a:pt x="4690492" y="6344009"/>
                  <a:pt x="4676399" y="6297034"/>
                  <a:pt x="4655260" y="6268849"/>
                </a:cubicBezTo>
                <a:cubicBezTo>
                  <a:pt x="4676399" y="6318173"/>
                  <a:pt x="4695189" y="6367497"/>
                  <a:pt x="4721026" y="6409775"/>
                </a:cubicBezTo>
                <a:cubicBezTo>
                  <a:pt x="4697538" y="6386288"/>
                  <a:pt x="4688143" y="6351056"/>
                  <a:pt x="4669353" y="6322870"/>
                </a:cubicBezTo>
                <a:cubicBezTo>
                  <a:pt x="4676399" y="6367497"/>
                  <a:pt x="4709282" y="6407427"/>
                  <a:pt x="4721026" y="6454402"/>
                </a:cubicBezTo>
                <a:cubicBezTo>
                  <a:pt x="4709282" y="6447356"/>
                  <a:pt x="4706933" y="6409775"/>
                  <a:pt x="4697538" y="6419170"/>
                </a:cubicBezTo>
                <a:cubicBezTo>
                  <a:pt x="4699887" y="6402729"/>
                  <a:pt x="4688143" y="6402729"/>
                  <a:pt x="4685794" y="6386288"/>
                </a:cubicBezTo>
                <a:cubicBezTo>
                  <a:pt x="4683445" y="6409775"/>
                  <a:pt x="4699887" y="6433263"/>
                  <a:pt x="4702236" y="6461448"/>
                </a:cubicBezTo>
                <a:cubicBezTo>
                  <a:pt x="4697538" y="6456751"/>
                  <a:pt x="4699887" y="6433263"/>
                  <a:pt x="4690492" y="6440309"/>
                </a:cubicBezTo>
                <a:cubicBezTo>
                  <a:pt x="4690492" y="6430914"/>
                  <a:pt x="4690492" y="6402729"/>
                  <a:pt x="4678748" y="6393334"/>
                </a:cubicBezTo>
                <a:cubicBezTo>
                  <a:pt x="4671702" y="6402729"/>
                  <a:pt x="4683445" y="6414473"/>
                  <a:pt x="4683445" y="6423868"/>
                </a:cubicBezTo>
                <a:cubicBezTo>
                  <a:pt x="4678748" y="6419170"/>
                  <a:pt x="4678748" y="6421519"/>
                  <a:pt x="4678748" y="6428565"/>
                </a:cubicBezTo>
                <a:cubicBezTo>
                  <a:pt x="4671702" y="6412124"/>
                  <a:pt x="4671702" y="6386288"/>
                  <a:pt x="4662306" y="6367497"/>
                </a:cubicBezTo>
                <a:lnTo>
                  <a:pt x="4660902" y="6379855"/>
                </a:lnTo>
                <a:lnTo>
                  <a:pt x="4643810" y="6318467"/>
                </a:lnTo>
                <a:cubicBezTo>
                  <a:pt x="4638819" y="6292924"/>
                  <a:pt x="4635295" y="6266500"/>
                  <a:pt x="4631772" y="6238314"/>
                </a:cubicBezTo>
                <a:cubicBezTo>
                  <a:pt x="4631772" y="6238314"/>
                  <a:pt x="4629423" y="6238314"/>
                  <a:pt x="4627075" y="6238314"/>
                </a:cubicBezTo>
                <a:cubicBezTo>
                  <a:pt x="4629423" y="6289988"/>
                  <a:pt x="4638818" y="6339312"/>
                  <a:pt x="4650562" y="6388637"/>
                </a:cubicBezTo>
                <a:cubicBezTo>
                  <a:pt x="4629423" y="6344009"/>
                  <a:pt x="4624726" y="6297034"/>
                  <a:pt x="4620028" y="6240663"/>
                </a:cubicBezTo>
                <a:cubicBezTo>
                  <a:pt x="4617680" y="6275895"/>
                  <a:pt x="4615331" y="6315824"/>
                  <a:pt x="4610633" y="6344009"/>
                </a:cubicBezTo>
                <a:cubicBezTo>
                  <a:pt x="4610633" y="6344009"/>
                  <a:pt x="4610633" y="6381590"/>
                  <a:pt x="4608285" y="6355753"/>
                </a:cubicBezTo>
                <a:cubicBezTo>
                  <a:pt x="4601238" y="6318173"/>
                  <a:pt x="4603587" y="6278244"/>
                  <a:pt x="4603587" y="6235966"/>
                </a:cubicBezTo>
                <a:lnTo>
                  <a:pt x="4594220" y="6237839"/>
                </a:lnTo>
                <a:lnTo>
                  <a:pt x="4598889" y="6158456"/>
                </a:lnTo>
                <a:cubicBezTo>
                  <a:pt x="4594192" y="6158456"/>
                  <a:pt x="4591843" y="6158456"/>
                  <a:pt x="4589494" y="6156107"/>
                </a:cubicBezTo>
                <a:cubicBezTo>
                  <a:pt x="4589494" y="6170200"/>
                  <a:pt x="4589494" y="6184293"/>
                  <a:pt x="4589494" y="6198385"/>
                </a:cubicBezTo>
                <a:cubicBezTo>
                  <a:pt x="4589494" y="6200734"/>
                  <a:pt x="4591843" y="6200734"/>
                  <a:pt x="4591843" y="6203082"/>
                </a:cubicBezTo>
                <a:cubicBezTo>
                  <a:pt x="4591843" y="6205431"/>
                  <a:pt x="4591843" y="6205431"/>
                  <a:pt x="4589494" y="6207780"/>
                </a:cubicBezTo>
                <a:lnTo>
                  <a:pt x="4594122" y="6237859"/>
                </a:lnTo>
                <a:lnTo>
                  <a:pt x="4591892" y="6238305"/>
                </a:lnTo>
                <a:lnTo>
                  <a:pt x="4591843" y="6235966"/>
                </a:lnTo>
                <a:cubicBezTo>
                  <a:pt x="4591843" y="6235966"/>
                  <a:pt x="4591843" y="6235966"/>
                  <a:pt x="4591843" y="6238314"/>
                </a:cubicBezTo>
                <a:lnTo>
                  <a:pt x="4591892" y="6238305"/>
                </a:lnTo>
                <a:lnTo>
                  <a:pt x="4593018" y="6292924"/>
                </a:lnTo>
                <a:cubicBezTo>
                  <a:pt x="4592430" y="6312301"/>
                  <a:pt x="4590669" y="6332266"/>
                  <a:pt x="4587145" y="6353405"/>
                </a:cubicBezTo>
                <a:cubicBezTo>
                  <a:pt x="4580099" y="6332265"/>
                  <a:pt x="4582448" y="6301731"/>
                  <a:pt x="4575401" y="6289988"/>
                </a:cubicBezTo>
                <a:cubicBezTo>
                  <a:pt x="4573053" y="6297034"/>
                  <a:pt x="4570704" y="6304080"/>
                  <a:pt x="4570704" y="6313475"/>
                </a:cubicBezTo>
                <a:cubicBezTo>
                  <a:pt x="4563658" y="6313475"/>
                  <a:pt x="4566006" y="6304080"/>
                  <a:pt x="4566006" y="6297034"/>
                </a:cubicBezTo>
                <a:cubicBezTo>
                  <a:pt x="4556611" y="6306429"/>
                  <a:pt x="4561309" y="6294685"/>
                  <a:pt x="4556611" y="6297034"/>
                </a:cubicBezTo>
                <a:cubicBezTo>
                  <a:pt x="4547216" y="6266500"/>
                  <a:pt x="4549565" y="6245361"/>
                  <a:pt x="4542519" y="6217175"/>
                </a:cubicBezTo>
                <a:cubicBezTo>
                  <a:pt x="4540170" y="6214826"/>
                  <a:pt x="4537821" y="6214826"/>
                  <a:pt x="4535472" y="6212478"/>
                </a:cubicBezTo>
                <a:cubicBezTo>
                  <a:pt x="4535472" y="6221873"/>
                  <a:pt x="4540170" y="6235966"/>
                  <a:pt x="4535472" y="6243012"/>
                </a:cubicBezTo>
                <a:cubicBezTo>
                  <a:pt x="4530775" y="6233617"/>
                  <a:pt x="4533123" y="6217175"/>
                  <a:pt x="4530775" y="6203082"/>
                </a:cubicBezTo>
                <a:cubicBezTo>
                  <a:pt x="4530775" y="6203082"/>
                  <a:pt x="4530775" y="6200734"/>
                  <a:pt x="4530775" y="6200734"/>
                </a:cubicBezTo>
                <a:cubicBezTo>
                  <a:pt x="4530775" y="6193688"/>
                  <a:pt x="4528426" y="6186641"/>
                  <a:pt x="4526077" y="6181944"/>
                </a:cubicBezTo>
                <a:cubicBezTo>
                  <a:pt x="4519031" y="6191339"/>
                  <a:pt x="4521379" y="6217175"/>
                  <a:pt x="4523728" y="6231268"/>
                </a:cubicBezTo>
                <a:cubicBezTo>
                  <a:pt x="4509635" y="6212478"/>
                  <a:pt x="4519031" y="6172549"/>
                  <a:pt x="4514333" y="6142015"/>
                </a:cubicBezTo>
                <a:cubicBezTo>
                  <a:pt x="4511984" y="6139666"/>
                  <a:pt x="4509635" y="6139666"/>
                  <a:pt x="4507287" y="6137317"/>
                </a:cubicBezTo>
                <a:cubicBezTo>
                  <a:pt x="4504938" y="6134968"/>
                  <a:pt x="4504938" y="6130271"/>
                  <a:pt x="4504938" y="6127922"/>
                </a:cubicBezTo>
                <a:cubicBezTo>
                  <a:pt x="4502589" y="6137317"/>
                  <a:pt x="4507287" y="6153759"/>
                  <a:pt x="4509635" y="6163154"/>
                </a:cubicBezTo>
                <a:cubicBezTo>
                  <a:pt x="4490846" y="6125573"/>
                  <a:pt x="4493194" y="6078598"/>
                  <a:pt x="4488497" y="6033971"/>
                </a:cubicBezTo>
                <a:cubicBezTo>
                  <a:pt x="4479102" y="6033971"/>
                  <a:pt x="4467358" y="6038668"/>
                  <a:pt x="4460311" y="6033971"/>
                </a:cubicBezTo>
                <a:cubicBezTo>
                  <a:pt x="4453265" y="6010483"/>
                  <a:pt x="4462660" y="6003436"/>
                  <a:pt x="4460311" y="5982297"/>
                </a:cubicBezTo>
                <a:cubicBezTo>
                  <a:pt x="4465009" y="5979949"/>
                  <a:pt x="4469706" y="5977600"/>
                  <a:pt x="4474404" y="5977600"/>
                </a:cubicBezTo>
                <a:cubicBezTo>
                  <a:pt x="4469706" y="5963507"/>
                  <a:pt x="4465009" y="5947066"/>
                  <a:pt x="4457962" y="5930624"/>
                </a:cubicBezTo>
                <a:cubicBezTo>
                  <a:pt x="4436824" y="5928276"/>
                  <a:pt x="4413336" y="5930624"/>
                  <a:pt x="4387499" y="5935322"/>
                </a:cubicBezTo>
                <a:cubicBezTo>
                  <a:pt x="4371058" y="5916532"/>
                  <a:pt x="4354616" y="5902439"/>
                  <a:pt x="4335826" y="5890695"/>
                </a:cubicBezTo>
                <a:cubicBezTo>
                  <a:pt x="4335826" y="5831976"/>
                  <a:pt x="4298245" y="5806139"/>
                  <a:pt x="4309989" y="5752117"/>
                </a:cubicBezTo>
                <a:cubicBezTo>
                  <a:pt x="4345221" y="5749768"/>
                  <a:pt x="4317036" y="5789698"/>
                  <a:pt x="4328780" y="5820232"/>
                </a:cubicBezTo>
                <a:cubicBezTo>
                  <a:pt x="4349919" y="5874254"/>
                  <a:pt x="4403940" y="5883649"/>
                  <a:pt x="4448567" y="5907137"/>
                </a:cubicBezTo>
                <a:cubicBezTo>
                  <a:pt x="4448567" y="5904788"/>
                  <a:pt x="4448567" y="5904788"/>
                  <a:pt x="4448567" y="5904788"/>
                </a:cubicBezTo>
                <a:cubicBezTo>
                  <a:pt x="4443870" y="5893044"/>
                  <a:pt x="4439172" y="5881300"/>
                  <a:pt x="4434475" y="5869556"/>
                </a:cubicBezTo>
                <a:cubicBezTo>
                  <a:pt x="4415684" y="5864859"/>
                  <a:pt x="4392197" y="5864859"/>
                  <a:pt x="4387499" y="5839022"/>
                </a:cubicBezTo>
                <a:cubicBezTo>
                  <a:pt x="4380453" y="5822581"/>
                  <a:pt x="4394545" y="5820232"/>
                  <a:pt x="4389848" y="5806139"/>
                </a:cubicBezTo>
                <a:cubicBezTo>
                  <a:pt x="4392197" y="5785000"/>
                  <a:pt x="4373407" y="5796744"/>
                  <a:pt x="4375755" y="5775605"/>
                </a:cubicBezTo>
                <a:cubicBezTo>
                  <a:pt x="4371058" y="5756815"/>
                  <a:pt x="4389848" y="5756815"/>
                  <a:pt x="4389848" y="5742722"/>
                </a:cubicBezTo>
                <a:cubicBezTo>
                  <a:pt x="4389848" y="5735676"/>
                  <a:pt x="4382802" y="5738025"/>
                  <a:pt x="4378104" y="5738025"/>
                </a:cubicBezTo>
                <a:cubicBezTo>
                  <a:pt x="4380453" y="5733327"/>
                  <a:pt x="4380453" y="5728630"/>
                  <a:pt x="4380453" y="5723932"/>
                </a:cubicBezTo>
                <a:cubicBezTo>
                  <a:pt x="4378104" y="5719234"/>
                  <a:pt x="4375755" y="5714537"/>
                  <a:pt x="4373407" y="5709839"/>
                </a:cubicBezTo>
                <a:cubicBezTo>
                  <a:pt x="4371058" y="5709839"/>
                  <a:pt x="4366360" y="5709839"/>
                  <a:pt x="4364011" y="5707490"/>
                </a:cubicBezTo>
                <a:cubicBezTo>
                  <a:pt x="4364011" y="5712188"/>
                  <a:pt x="4364011" y="5714537"/>
                  <a:pt x="4366360" y="5719234"/>
                </a:cubicBezTo>
                <a:cubicBezTo>
                  <a:pt x="4352267" y="5721583"/>
                  <a:pt x="4347570" y="5712188"/>
                  <a:pt x="4335826" y="5709839"/>
                </a:cubicBezTo>
                <a:cubicBezTo>
                  <a:pt x="4333477" y="5684003"/>
                  <a:pt x="4321733" y="5669910"/>
                  <a:pt x="4312338" y="5655817"/>
                </a:cubicBezTo>
                <a:cubicBezTo>
                  <a:pt x="4312338" y="5653468"/>
                  <a:pt x="4314687" y="5648771"/>
                  <a:pt x="4314687" y="5644073"/>
                </a:cubicBezTo>
                <a:cubicBezTo>
                  <a:pt x="4307641" y="5634678"/>
                  <a:pt x="4298245" y="5629981"/>
                  <a:pt x="4286502" y="5625283"/>
                </a:cubicBezTo>
                <a:cubicBezTo>
                  <a:pt x="4281804" y="5707490"/>
                  <a:pt x="4291199" y="5770907"/>
                  <a:pt x="4293548" y="5860161"/>
                </a:cubicBezTo>
                <a:cubicBezTo>
                  <a:pt x="4288850" y="5862510"/>
                  <a:pt x="4286502" y="5857812"/>
                  <a:pt x="4284153" y="5857812"/>
                </a:cubicBezTo>
                <a:cubicBezTo>
                  <a:pt x="4300594" y="6005785"/>
                  <a:pt x="4312338" y="6153759"/>
                  <a:pt x="4326431" y="6301731"/>
                </a:cubicBezTo>
                <a:cubicBezTo>
                  <a:pt x="4331129" y="6285290"/>
                  <a:pt x="4338175" y="6268849"/>
                  <a:pt x="4338175" y="6254756"/>
                </a:cubicBezTo>
                <a:cubicBezTo>
                  <a:pt x="4342872" y="6266500"/>
                  <a:pt x="4361663" y="6266500"/>
                  <a:pt x="4364011" y="6282942"/>
                </a:cubicBezTo>
                <a:cubicBezTo>
                  <a:pt x="4356965" y="6304080"/>
                  <a:pt x="4347570" y="6325219"/>
                  <a:pt x="4333477" y="6339312"/>
                </a:cubicBezTo>
                <a:cubicBezTo>
                  <a:pt x="4331129" y="6334614"/>
                  <a:pt x="4331129" y="6332265"/>
                  <a:pt x="4328780" y="6329917"/>
                </a:cubicBezTo>
                <a:cubicBezTo>
                  <a:pt x="4331129" y="6344009"/>
                  <a:pt x="4331129" y="6355753"/>
                  <a:pt x="4333477" y="6367497"/>
                </a:cubicBezTo>
                <a:cubicBezTo>
                  <a:pt x="4338175" y="6365149"/>
                  <a:pt x="4345221" y="6362800"/>
                  <a:pt x="4354616" y="6362800"/>
                </a:cubicBezTo>
                <a:cubicBezTo>
                  <a:pt x="4352267" y="6358102"/>
                  <a:pt x="4340523" y="6341661"/>
                  <a:pt x="4359314" y="6344009"/>
                </a:cubicBezTo>
                <a:cubicBezTo>
                  <a:pt x="4359314" y="6372195"/>
                  <a:pt x="4366360" y="6386288"/>
                  <a:pt x="4371058" y="6407427"/>
                </a:cubicBezTo>
                <a:cubicBezTo>
                  <a:pt x="4354616" y="6412124"/>
                  <a:pt x="4342872" y="6407427"/>
                  <a:pt x="4335826" y="6400380"/>
                </a:cubicBezTo>
                <a:cubicBezTo>
                  <a:pt x="4347570" y="6501378"/>
                  <a:pt x="4359314" y="6600027"/>
                  <a:pt x="4375755" y="6698675"/>
                </a:cubicBezTo>
                <a:lnTo>
                  <a:pt x="4168027" y="6376580"/>
                </a:lnTo>
                <a:lnTo>
                  <a:pt x="4169063" y="6381589"/>
                </a:lnTo>
                <a:lnTo>
                  <a:pt x="4166014" y="6378744"/>
                </a:lnTo>
                <a:lnTo>
                  <a:pt x="4164365" y="6388637"/>
                </a:lnTo>
                <a:cubicBezTo>
                  <a:pt x="4150273" y="6386288"/>
                  <a:pt x="4147924" y="6372195"/>
                  <a:pt x="4154970" y="6362800"/>
                </a:cubicBezTo>
                <a:cubicBezTo>
                  <a:pt x="4157319" y="6362800"/>
                  <a:pt x="4159668" y="6362800"/>
                  <a:pt x="4162017" y="6365149"/>
                </a:cubicBezTo>
                <a:lnTo>
                  <a:pt x="4138529" y="6329917"/>
                </a:lnTo>
                <a:cubicBezTo>
                  <a:pt x="4131482" y="6325219"/>
                  <a:pt x="4122087" y="6320521"/>
                  <a:pt x="4115041" y="6315824"/>
                </a:cubicBezTo>
                <a:cubicBezTo>
                  <a:pt x="4112693" y="6308778"/>
                  <a:pt x="4119738" y="6308778"/>
                  <a:pt x="4124437" y="6308778"/>
                </a:cubicBezTo>
                <a:lnTo>
                  <a:pt x="4112693" y="6292337"/>
                </a:lnTo>
                <a:cubicBezTo>
                  <a:pt x="4093902" y="6294685"/>
                  <a:pt x="4075111" y="6322870"/>
                  <a:pt x="4061019" y="6311126"/>
                </a:cubicBezTo>
                <a:cubicBezTo>
                  <a:pt x="4056322" y="6287639"/>
                  <a:pt x="4075111" y="6285290"/>
                  <a:pt x="4068066" y="6259454"/>
                </a:cubicBezTo>
                <a:cubicBezTo>
                  <a:pt x="4068066" y="6247710"/>
                  <a:pt x="4061019" y="6247710"/>
                  <a:pt x="4053974" y="6247710"/>
                </a:cubicBezTo>
                <a:cubicBezTo>
                  <a:pt x="4055148" y="6245361"/>
                  <a:pt x="4058084" y="6238902"/>
                  <a:pt x="4058964" y="6233030"/>
                </a:cubicBezTo>
                <a:lnTo>
                  <a:pt x="4058537" y="6228266"/>
                </a:lnTo>
                <a:lnTo>
                  <a:pt x="4053972" y="6228918"/>
                </a:lnTo>
                <a:lnTo>
                  <a:pt x="4054752" y="6223463"/>
                </a:lnTo>
                <a:lnTo>
                  <a:pt x="4051624" y="6221873"/>
                </a:lnTo>
                <a:lnTo>
                  <a:pt x="4057636" y="6212856"/>
                </a:lnTo>
                <a:lnTo>
                  <a:pt x="4058670" y="6210128"/>
                </a:lnTo>
                <a:lnTo>
                  <a:pt x="4059258" y="6210422"/>
                </a:lnTo>
                <a:lnTo>
                  <a:pt x="4061019" y="6207780"/>
                </a:lnTo>
                <a:lnTo>
                  <a:pt x="4025787" y="6151410"/>
                </a:lnTo>
                <a:cubicBezTo>
                  <a:pt x="4021090" y="6153759"/>
                  <a:pt x="4014043" y="6158456"/>
                  <a:pt x="4006997" y="6163154"/>
                </a:cubicBezTo>
                <a:cubicBezTo>
                  <a:pt x="4009347" y="6170200"/>
                  <a:pt x="4021090" y="6165503"/>
                  <a:pt x="4030485" y="6165503"/>
                </a:cubicBezTo>
                <a:cubicBezTo>
                  <a:pt x="4032834" y="6198385"/>
                  <a:pt x="4009347" y="6203082"/>
                  <a:pt x="3999951" y="6221873"/>
                </a:cubicBezTo>
                <a:cubicBezTo>
                  <a:pt x="3988207" y="6226570"/>
                  <a:pt x="3988207" y="6214826"/>
                  <a:pt x="3985858" y="6205431"/>
                </a:cubicBezTo>
                <a:cubicBezTo>
                  <a:pt x="3976463" y="6207780"/>
                  <a:pt x="3962370" y="6205431"/>
                  <a:pt x="3962370" y="6214826"/>
                </a:cubicBezTo>
                <a:cubicBezTo>
                  <a:pt x="3945929" y="6200734"/>
                  <a:pt x="3988207" y="6172549"/>
                  <a:pt x="4006997" y="6188990"/>
                </a:cubicBezTo>
                <a:cubicBezTo>
                  <a:pt x="4014043" y="6165503"/>
                  <a:pt x="3988207" y="6188990"/>
                  <a:pt x="3988207" y="6172549"/>
                </a:cubicBezTo>
                <a:cubicBezTo>
                  <a:pt x="3992904" y="6156107"/>
                  <a:pt x="3999951" y="6142015"/>
                  <a:pt x="4006997" y="6125573"/>
                </a:cubicBezTo>
                <a:lnTo>
                  <a:pt x="3999951" y="6116178"/>
                </a:lnTo>
                <a:cubicBezTo>
                  <a:pt x="3990556" y="6127922"/>
                  <a:pt x="3981160" y="6153759"/>
                  <a:pt x="3974114" y="6163154"/>
                </a:cubicBezTo>
                <a:lnTo>
                  <a:pt x="3956288" y="6156469"/>
                </a:lnTo>
                <a:lnTo>
                  <a:pt x="3957379" y="6155814"/>
                </a:lnTo>
                <a:cubicBezTo>
                  <a:pt x="3957673" y="6154346"/>
                  <a:pt x="3956498" y="6152585"/>
                  <a:pt x="3952976" y="6151410"/>
                </a:cubicBezTo>
                <a:lnTo>
                  <a:pt x="3949728" y="6154009"/>
                </a:lnTo>
                <a:lnTo>
                  <a:pt x="3936534" y="6149061"/>
                </a:lnTo>
                <a:cubicBezTo>
                  <a:pt x="3934185" y="6167851"/>
                  <a:pt x="3945929" y="6163154"/>
                  <a:pt x="3945929" y="6179595"/>
                </a:cubicBezTo>
                <a:cubicBezTo>
                  <a:pt x="3931836" y="6165503"/>
                  <a:pt x="3924790" y="6191339"/>
                  <a:pt x="3910697" y="6177247"/>
                </a:cubicBezTo>
                <a:cubicBezTo>
                  <a:pt x="3905999" y="6134968"/>
                  <a:pt x="3924790" y="6116178"/>
                  <a:pt x="3943580" y="6095039"/>
                </a:cubicBezTo>
                <a:cubicBezTo>
                  <a:pt x="3929487" y="6078598"/>
                  <a:pt x="3945929" y="6066854"/>
                  <a:pt x="3934185" y="6050412"/>
                </a:cubicBezTo>
                <a:cubicBezTo>
                  <a:pt x="3927140" y="6057459"/>
                  <a:pt x="3924790" y="6066854"/>
                  <a:pt x="3927140" y="6083295"/>
                </a:cubicBezTo>
                <a:cubicBezTo>
                  <a:pt x="3910697" y="6083295"/>
                  <a:pt x="3905999" y="6066854"/>
                  <a:pt x="3889558" y="6069203"/>
                </a:cubicBezTo>
                <a:cubicBezTo>
                  <a:pt x="3880163" y="6083295"/>
                  <a:pt x="3891907" y="6113829"/>
                  <a:pt x="3877814" y="6123224"/>
                </a:cubicBezTo>
                <a:cubicBezTo>
                  <a:pt x="3856675" y="6127922"/>
                  <a:pt x="3849629" y="6113829"/>
                  <a:pt x="3826141" y="6123224"/>
                </a:cubicBezTo>
                <a:cubicBezTo>
                  <a:pt x="3819095" y="6111480"/>
                  <a:pt x="3814397" y="6099736"/>
                  <a:pt x="3809700" y="6085644"/>
                </a:cubicBezTo>
                <a:cubicBezTo>
                  <a:pt x="3828490" y="6092690"/>
                  <a:pt x="3863722" y="6078598"/>
                  <a:pt x="3875466" y="6095039"/>
                </a:cubicBezTo>
                <a:cubicBezTo>
                  <a:pt x="3873117" y="6064505"/>
                  <a:pt x="3835536" y="6069203"/>
                  <a:pt x="3821444" y="6076249"/>
                </a:cubicBezTo>
                <a:cubicBezTo>
                  <a:pt x="3814397" y="6064505"/>
                  <a:pt x="3793259" y="6069203"/>
                  <a:pt x="3783863" y="6062156"/>
                </a:cubicBezTo>
                <a:cubicBezTo>
                  <a:pt x="3781514" y="6036320"/>
                  <a:pt x="3802653" y="6029273"/>
                  <a:pt x="3814397" y="6012832"/>
                </a:cubicBezTo>
                <a:cubicBezTo>
                  <a:pt x="3786212" y="5998739"/>
                  <a:pt x="3769770" y="6019878"/>
                  <a:pt x="3753329" y="6036320"/>
                </a:cubicBezTo>
                <a:cubicBezTo>
                  <a:pt x="3736888" y="6031622"/>
                  <a:pt x="3750980" y="6010483"/>
                  <a:pt x="3736888" y="6003436"/>
                </a:cubicBezTo>
                <a:cubicBezTo>
                  <a:pt x="3720446" y="6022227"/>
                  <a:pt x="3746282" y="6031622"/>
                  <a:pt x="3729841" y="6038668"/>
                </a:cubicBezTo>
                <a:cubicBezTo>
                  <a:pt x="3727493" y="6038668"/>
                  <a:pt x="3725144" y="6038668"/>
                  <a:pt x="3722796" y="6038668"/>
                </a:cubicBezTo>
                <a:cubicBezTo>
                  <a:pt x="3720446" y="6019878"/>
                  <a:pt x="3720446" y="6003436"/>
                  <a:pt x="3718097" y="5986995"/>
                </a:cubicBezTo>
                <a:cubicBezTo>
                  <a:pt x="3713400" y="5961159"/>
                  <a:pt x="3699307" y="5996390"/>
                  <a:pt x="3699307" y="5970554"/>
                </a:cubicBezTo>
                <a:cubicBezTo>
                  <a:pt x="3678169" y="5975251"/>
                  <a:pt x="3682866" y="5979949"/>
                  <a:pt x="3664075" y="5975251"/>
                </a:cubicBezTo>
                <a:cubicBezTo>
                  <a:pt x="3654680" y="5982297"/>
                  <a:pt x="3654680" y="5996390"/>
                  <a:pt x="3657029" y="6015180"/>
                </a:cubicBezTo>
                <a:cubicBezTo>
                  <a:pt x="3640587" y="6019878"/>
                  <a:pt x="3633542" y="5994041"/>
                  <a:pt x="3628844" y="6019878"/>
                </a:cubicBezTo>
                <a:cubicBezTo>
                  <a:pt x="3607706" y="6010483"/>
                  <a:pt x="3645285" y="6005785"/>
                  <a:pt x="3631192" y="5986995"/>
                </a:cubicBezTo>
                <a:cubicBezTo>
                  <a:pt x="3642936" y="5986995"/>
                  <a:pt x="3642936" y="5977600"/>
                  <a:pt x="3654680" y="5977600"/>
                </a:cubicBezTo>
                <a:cubicBezTo>
                  <a:pt x="3648808" y="5965856"/>
                  <a:pt x="3645873" y="5961159"/>
                  <a:pt x="3645285" y="5956168"/>
                </a:cubicBezTo>
                <a:lnTo>
                  <a:pt x="3645774" y="5950950"/>
                </a:lnTo>
                <a:lnTo>
                  <a:pt x="3645286" y="5951762"/>
                </a:lnTo>
                <a:cubicBezTo>
                  <a:pt x="3638239" y="5951762"/>
                  <a:pt x="3642937" y="5944716"/>
                  <a:pt x="3645286" y="5944716"/>
                </a:cubicBezTo>
                <a:lnTo>
                  <a:pt x="3646519" y="5945949"/>
                </a:lnTo>
                <a:lnTo>
                  <a:pt x="3649983" y="5932973"/>
                </a:lnTo>
                <a:cubicBezTo>
                  <a:pt x="3638239" y="5923578"/>
                  <a:pt x="3617100" y="5928276"/>
                  <a:pt x="3607706" y="5918880"/>
                </a:cubicBezTo>
                <a:cubicBezTo>
                  <a:pt x="3598310" y="5928276"/>
                  <a:pt x="3607706" y="5954112"/>
                  <a:pt x="3581868" y="5949415"/>
                </a:cubicBezTo>
                <a:cubicBezTo>
                  <a:pt x="3586566" y="5965856"/>
                  <a:pt x="3598310" y="5970554"/>
                  <a:pt x="3619449" y="5963507"/>
                </a:cubicBezTo>
                <a:lnTo>
                  <a:pt x="3614849" y="5975088"/>
                </a:lnTo>
                <a:lnTo>
                  <a:pt x="3612402" y="5975251"/>
                </a:lnTo>
                <a:lnTo>
                  <a:pt x="3613763" y="5977821"/>
                </a:lnTo>
                <a:lnTo>
                  <a:pt x="3610936" y="5984940"/>
                </a:lnTo>
                <a:cubicBezTo>
                  <a:pt x="3604769" y="5989344"/>
                  <a:pt x="3595962" y="5991693"/>
                  <a:pt x="3586566" y="5994041"/>
                </a:cubicBezTo>
                <a:cubicBezTo>
                  <a:pt x="3588915" y="6003436"/>
                  <a:pt x="3593612" y="6017529"/>
                  <a:pt x="3584217" y="6019878"/>
                </a:cubicBezTo>
                <a:cubicBezTo>
                  <a:pt x="3574822" y="6019878"/>
                  <a:pt x="3570124" y="6026924"/>
                  <a:pt x="3567776" y="6033971"/>
                </a:cubicBezTo>
                <a:cubicBezTo>
                  <a:pt x="3558380" y="6031622"/>
                  <a:pt x="3563079" y="6019878"/>
                  <a:pt x="3572473" y="6019878"/>
                </a:cubicBezTo>
                <a:cubicBezTo>
                  <a:pt x="3556032" y="6015180"/>
                  <a:pt x="3546636" y="5998739"/>
                  <a:pt x="3539590" y="5979949"/>
                </a:cubicBezTo>
                <a:lnTo>
                  <a:pt x="3540269" y="5974047"/>
                </a:lnTo>
                <a:lnTo>
                  <a:pt x="3530783" y="5973195"/>
                </a:lnTo>
                <a:cubicBezTo>
                  <a:pt x="3524912" y="5973489"/>
                  <a:pt x="3520801" y="5975251"/>
                  <a:pt x="3518452" y="5979949"/>
                </a:cubicBezTo>
                <a:cubicBezTo>
                  <a:pt x="3511406" y="5979949"/>
                  <a:pt x="3513755" y="5968205"/>
                  <a:pt x="3509057" y="5961158"/>
                </a:cubicBezTo>
                <a:cubicBezTo>
                  <a:pt x="3523149" y="5962332"/>
                  <a:pt x="3530196" y="5957635"/>
                  <a:pt x="3536655" y="5952644"/>
                </a:cubicBezTo>
                <a:lnTo>
                  <a:pt x="3545038" y="5946800"/>
                </a:lnTo>
                <a:lnTo>
                  <a:pt x="3551335" y="5928863"/>
                </a:lnTo>
                <a:cubicBezTo>
                  <a:pt x="3558968" y="5914183"/>
                  <a:pt x="3570126" y="5904788"/>
                  <a:pt x="3584217" y="5909486"/>
                </a:cubicBezTo>
                <a:cubicBezTo>
                  <a:pt x="3581868" y="5885998"/>
                  <a:pt x="3567776" y="5878951"/>
                  <a:pt x="3551335" y="5874254"/>
                </a:cubicBezTo>
                <a:cubicBezTo>
                  <a:pt x="3546636" y="5914183"/>
                  <a:pt x="3502010" y="5911834"/>
                  <a:pt x="3478522" y="5909486"/>
                </a:cubicBezTo>
                <a:cubicBezTo>
                  <a:pt x="3473825" y="5895393"/>
                  <a:pt x="3487917" y="5897742"/>
                  <a:pt x="3487917" y="5888346"/>
                </a:cubicBezTo>
                <a:cubicBezTo>
                  <a:pt x="3466778" y="5888346"/>
                  <a:pt x="3476173" y="5911834"/>
                  <a:pt x="3455034" y="5911834"/>
                </a:cubicBezTo>
                <a:cubicBezTo>
                  <a:pt x="3438593" y="5902439"/>
                  <a:pt x="3436245" y="5874254"/>
                  <a:pt x="3405710" y="5885998"/>
                </a:cubicBezTo>
                <a:cubicBezTo>
                  <a:pt x="3410407" y="5876602"/>
                  <a:pt x="3410407" y="5871905"/>
                  <a:pt x="3398664" y="5874254"/>
                </a:cubicBezTo>
                <a:cubicBezTo>
                  <a:pt x="3405710" y="5867207"/>
                  <a:pt x="3396315" y="5848417"/>
                  <a:pt x="3408059" y="5846069"/>
                </a:cubicBezTo>
                <a:cubicBezTo>
                  <a:pt x="3403361" y="5841371"/>
                  <a:pt x="3393966" y="5841371"/>
                  <a:pt x="3393966" y="5829627"/>
                </a:cubicBezTo>
                <a:cubicBezTo>
                  <a:pt x="3382222" y="5829627"/>
                  <a:pt x="3372827" y="5834325"/>
                  <a:pt x="3372827" y="5846069"/>
                </a:cubicBezTo>
                <a:cubicBezTo>
                  <a:pt x="3363432" y="5846069"/>
                  <a:pt x="3368129" y="5824929"/>
                  <a:pt x="3354037" y="5829627"/>
                </a:cubicBezTo>
                <a:cubicBezTo>
                  <a:pt x="3356385" y="5815534"/>
                  <a:pt x="3328200" y="5836673"/>
                  <a:pt x="3335246" y="5813185"/>
                </a:cubicBezTo>
                <a:cubicBezTo>
                  <a:pt x="3361083" y="5803790"/>
                  <a:pt x="3375176" y="5785000"/>
                  <a:pt x="3396315" y="5773256"/>
                </a:cubicBezTo>
                <a:cubicBezTo>
                  <a:pt x="3384571" y="5759163"/>
                  <a:pt x="3358734" y="5777954"/>
                  <a:pt x="3356385" y="5792047"/>
                </a:cubicBezTo>
                <a:cubicBezTo>
                  <a:pt x="3335246" y="5796744"/>
                  <a:pt x="3323502" y="5808488"/>
                  <a:pt x="3307061" y="5817883"/>
                </a:cubicBezTo>
                <a:cubicBezTo>
                  <a:pt x="3292969" y="5817883"/>
                  <a:pt x="3302364" y="5796744"/>
                  <a:pt x="3304712" y="5792047"/>
                </a:cubicBezTo>
                <a:cubicBezTo>
                  <a:pt x="3297666" y="5782651"/>
                  <a:pt x="3283573" y="5785000"/>
                  <a:pt x="3274178" y="5782651"/>
                </a:cubicBezTo>
                <a:cubicBezTo>
                  <a:pt x="3271829" y="5761512"/>
                  <a:pt x="3245993" y="5770907"/>
                  <a:pt x="3245993" y="5747420"/>
                </a:cubicBezTo>
                <a:cubicBezTo>
                  <a:pt x="3238948" y="5740374"/>
                  <a:pt x="3231901" y="5733327"/>
                  <a:pt x="3222505" y="5728630"/>
                </a:cubicBezTo>
                <a:cubicBezTo>
                  <a:pt x="3222505" y="5740374"/>
                  <a:pt x="3222505" y="5752117"/>
                  <a:pt x="3220156" y="5763861"/>
                </a:cubicBezTo>
                <a:cubicBezTo>
                  <a:pt x="3220156" y="5749768"/>
                  <a:pt x="3220156" y="5738025"/>
                  <a:pt x="3220156" y="5726281"/>
                </a:cubicBezTo>
                <a:lnTo>
                  <a:pt x="3216392" y="5724775"/>
                </a:lnTo>
                <a:lnTo>
                  <a:pt x="3215459" y="5712188"/>
                </a:lnTo>
                <a:cubicBezTo>
                  <a:pt x="3213110" y="5712188"/>
                  <a:pt x="3210761" y="5709839"/>
                  <a:pt x="3208412" y="5709839"/>
                </a:cubicBezTo>
                <a:lnTo>
                  <a:pt x="3209171" y="5721887"/>
                </a:lnTo>
                <a:lnTo>
                  <a:pt x="3208412" y="5721583"/>
                </a:lnTo>
                <a:lnTo>
                  <a:pt x="3209850" y="5732662"/>
                </a:lnTo>
                <a:lnTo>
                  <a:pt x="3210761" y="5747126"/>
                </a:lnTo>
                <a:lnTo>
                  <a:pt x="3212353" y="5751953"/>
                </a:lnTo>
                <a:lnTo>
                  <a:pt x="3218395" y="5798506"/>
                </a:lnTo>
                <a:cubicBezTo>
                  <a:pt x="3223092" y="5825517"/>
                  <a:pt x="3227203" y="5853115"/>
                  <a:pt x="3224854" y="5878951"/>
                </a:cubicBezTo>
                <a:cubicBezTo>
                  <a:pt x="3213110" y="5855464"/>
                  <a:pt x="3217807" y="5815534"/>
                  <a:pt x="3206063" y="5794395"/>
                </a:cubicBezTo>
                <a:cubicBezTo>
                  <a:pt x="3194321" y="5824929"/>
                  <a:pt x="3208412" y="5864859"/>
                  <a:pt x="3208412" y="5897742"/>
                </a:cubicBezTo>
                <a:cubicBezTo>
                  <a:pt x="3196668" y="5878951"/>
                  <a:pt x="3206063" y="5850766"/>
                  <a:pt x="3196668" y="5834325"/>
                </a:cubicBezTo>
                <a:lnTo>
                  <a:pt x="3196668" y="5845342"/>
                </a:lnTo>
                <a:lnTo>
                  <a:pt x="3192265" y="5802323"/>
                </a:lnTo>
                <a:cubicBezTo>
                  <a:pt x="3186687" y="5763274"/>
                  <a:pt x="3179053" y="5723932"/>
                  <a:pt x="3168483" y="5688700"/>
                </a:cubicBezTo>
                <a:cubicBezTo>
                  <a:pt x="3166134" y="5686352"/>
                  <a:pt x="3166134" y="5686352"/>
                  <a:pt x="3163786" y="5686352"/>
                </a:cubicBezTo>
                <a:cubicBezTo>
                  <a:pt x="3169658" y="5726281"/>
                  <a:pt x="3174943" y="5764449"/>
                  <a:pt x="3181109" y="5802029"/>
                </a:cubicBezTo>
                <a:lnTo>
                  <a:pt x="3196669" y="5879223"/>
                </a:lnTo>
                <a:lnTo>
                  <a:pt x="3196669" y="5913596"/>
                </a:lnTo>
                <a:cubicBezTo>
                  <a:pt x="3197843" y="5938846"/>
                  <a:pt x="3200192" y="5963508"/>
                  <a:pt x="3203715" y="5989344"/>
                </a:cubicBezTo>
                <a:cubicBezTo>
                  <a:pt x="3199017" y="5991693"/>
                  <a:pt x="3194321" y="5986995"/>
                  <a:pt x="3196668" y="5998739"/>
                </a:cubicBezTo>
                <a:cubicBezTo>
                  <a:pt x="3194321" y="5996390"/>
                  <a:pt x="3194321" y="5994041"/>
                  <a:pt x="3191971" y="5991693"/>
                </a:cubicBezTo>
                <a:cubicBezTo>
                  <a:pt x="3182576" y="6001088"/>
                  <a:pt x="3199017" y="6017529"/>
                  <a:pt x="3187274" y="6024576"/>
                </a:cubicBezTo>
                <a:cubicBezTo>
                  <a:pt x="3182576" y="6015180"/>
                  <a:pt x="3180227" y="6003436"/>
                  <a:pt x="3177878" y="5989344"/>
                </a:cubicBezTo>
                <a:cubicBezTo>
                  <a:pt x="3168483" y="6015180"/>
                  <a:pt x="3177878" y="6050412"/>
                  <a:pt x="3177878" y="6097387"/>
                </a:cubicBezTo>
                <a:lnTo>
                  <a:pt x="3169092" y="6061851"/>
                </a:lnTo>
                <a:lnTo>
                  <a:pt x="3175531" y="6127921"/>
                </a:lnTo>
                <a:cubicBezTo>
                  <a:pt x="3170833" y="6116177"/>
                  <a:pt x="3163787" y="6095038"/>
                  <a:pt x="3168485" y="6083294"/>
                </a:cubicBezTo>
                <a:cubicBezTo>
                  <a:pt x="3168485" y="6078596"/>
                  <a:pt x="3161438" y="6078596"/>
                  <a:pt x="3159089" y="6073898"/>
                </a:cubicBezTo>
                <a:cubicBezTo>
                  <a:pt x="3149694" y="6022226"/>
                  <a:pt x="3140299" y="5968204"/>
                  <a:pt x="3130904" y="5914182"/>
                </a:cubicBezTo>
                <a:cubicBezTo>
                  <a:pt x="3133253" y="6008133"/>
                  <a:pt x="3142649" y="6087991"/>
                  <a:pt x="3130904" y="6172547"/>
                </a:cubicBezTo>
                <a:cubicBezTo>
                  <a:pt x="3121509" y="6132618"/>
                  <a:pt x="3133253" y="6083294"/>
                  <a:pt x="3130904" y="6041016"/>
                </a:cubicBezTo>
                <a:cubicBezTo>
                  <a:pt x="3128555" y="5961157"/>
                  <a:pt x="3112114" y="5876601"/>
                  <a:pt x="3107416" y="5806138"/>
                </a:cubicBezTo>
                <a:cubicBezTo>
                  <a:pt x="3114463" y="5947065"/>
                  <a:pt x="3123858" y="6069201"/>
                  <a:pt x="3114463" y="6172547"/>
                </a:cubicBezTo>
                <a:cubicBezTo>
                  <a:pt x="3112114" y="6203081"/>
                  <a:pt x="3112114" y="6153758"/>
                  <a:pt x="3112114" y="6142014"/>
                </a:cubicBezTo>
                <a:cubicBezTo>
                  <a:pt x="3100370" y="6156106"/>
                  <a:pt x="3105069" y="6191337"/>
                  <a:pt x="3105069" y="6217174"/>
                </a:cubicBezTo>
                <a:cubicBezTo>
                  <a:pt x="3105069" y="6226569"/>
                  <a:pt x="3112114" y="6240662"/>
                  <a:pt x="3100370" y="6243011"/>
                </a:cubicBezTo>
                <a:cubicBezTo>
                  <a:pt x="3095672" y="6226569"/>
                  <a:pt x="3107416" y="6203081"/>
                  <a:pt x="3100370" y="6188989"/>
                </a:cubicBezTo>
                <a:cubicBezTo>
                  <a:pt x="3086277" y="6210128"/>
                  <a:pt x="3090975" y="6261801"/>
                  <a:pt x="3098022" y="6292335"/>
                </a:cubicBezTo>
                <a:cubicBezTo>
                  <a:pt x="3090975" y="6289986"/>
                  <a:pt x="3098022" y="6273545"/>
                  <a:pt x="3090975" y="6271196"/>
                </a:cubicBezTo>
                <a:cubicBezTo>
                  <a:pt x="3086277" y="6282940"/>
                  <a:pt x="3088626" y="6297032"/>
                  <a:pt x="3086277" y="6304079"/>
                </a:cubicBezTo>
                <a:cubicBezTo>
                  <a:pt x="3088626" y="6311125"/>
                  <a:pt x="3083928" y="6322869"/>
                  <a:pt x="3083928" y="6308776"/>
                </a:cubicBezTo>
                <a:cubicBezTo>
                  <a:pt x="3086277" y="6261801"/>
                  <a:pt x="3086277" y="6224221"/>
                  <a:pt x="3088626" y="6181942"/>
                </a:cubicBezTo>
                <a:cubicBezTo>
                  <a:pt x="3082754" y="6185466"/>
                  <a:pt x="3082754" y="6191925"/>
                  <a:pt x="3083341" y="6198384"/>
                </a:cubicBezTo>
                <a:lnTo>
                  <a:pt x="3082403" y="6207139"/>
                </a:lnTo>
                <a:lnTo>
                  <a:pt x="3079231" y="6205430"/>
                </a:lnTo>
                <a:cubicBezTo>
                  <a:pt x="3067487" y="6226569"/>
                  <a:pt x="3083928" y="6228918"/>
                  <a:pt x="3079231" y="6252406"/>
                </a:cubicBezTo>
                <a:cubicBezTo>
                  <a:pt x="3072186" y="6257104"/>
                  <a:pt x="3081580" y="6231267"/>
                  <a:pt x="3076882" y="6231267"/>
                </a:cubicBezTo>
                <a:cubicBezTo>
                  <a:pt x="3062790" y="6254755"/>
                  <a:pt x="3067487" y="6280591"/>
                  <a:pt x="3060442" y="6308776"/>
                </a:cubicBezTo>
                <a:cubicBezTo>
                  <a:pt x="3060442" y="6226569"/>
                  <a:pt x="3086277" y="6163153"/>
                  <a:pt x="3088626" y="6071550"/>
                </a:cubicBezTo>
                <a:cubicBezTo>
                  <a:pt x="3072186" y="6118526"/>
                  <a:pt x="3069836" y="6181942"/>
                  <a:pt x="3051046" y="6233616"/>
                </a:cubicBezTo>
                <a:cubicBezTo>
                  <a:pt x="3065138" y="6153758"/>
                  <a:pt x="3079231" y="6069201"/>
                  <a:pt x="3090975" y="5979948"/>
                </a:cubicBezTo>
                <a:cubicBezTo>
                  <a:pt x="3074533" y="6048062"/>
                  <a:pt x="3067487" y="6104433"/>
                  <a:pt x="3048697" y="6170199"/>
                </a:cubicBezTo>
                <a:cubicBezTo>
                  <a:pt x="3041649" y="6163153"/>
                  <a:pt x="3053395" y="6151409"/>
                  <a:pt x="3048697" y="6139665"/>
                </a:cubicBezTo>
                <a:cubicBezTo>
                  <a:pt x="3034604" y="6163153"/>
                  <a:pt x="3034604" y="6203081"/>
                  <a:pt x="3029905" y="6228918"/>
                </a:cubicBezTo>
                <a:cubicBezTo>
                  <a:pt x="3020510" y="6200733"/>
                  <a:pt x="3032254" y="6170199"/>
                  <a:pt x="3039301" y="6139665"/>
                </a:cubicBezTo>
                <a:cubicBezTo>
                  <a:pt x="3051046" y="6080945"/>
                  <a:pt x="3060442" y="6017528"/>
                  <a:pt x="3074533" y="5956460"/>
                </a:cubicBezTo>
                <a:cubicBezTo>
                  <a:pt x="3083928" y="5911833"/>
                  <a:pt x="3102719" y="5874253"/>
                  <a:pt x="3102719" y="5829626"/>
                </a:cubicBezTo>
                <a:cubicBezTo>
                  <a:pt x="3105069" y="5824928"/>
                  <a:pt x="3098022" y="5827277"/>
                  <a:pt x="3098022" y="5822580"/>
                </a:cubicBezTo>
                <a:cubicBezTo>
                  <a:pt x="3100370" y="5808487"/>
                  <a:pt x="3107416" y="5796743"/>
                  <a:pt x="3105069" y="5775604"/>
                </a:cubicBezTo>
                <a:cubicBezTo>
                  <a:pt x="3109765" y="5782650"/>
                  <a:pt x="3109765" y="5794394"/>
                  <a:pt x="3112114" y="5806138"/>
                </a:cubicBezTo>
                <a:cubicBezTo>
                  <a:pt x="3121509" y="5796743"/>
                  <a:pt x="3112114" y="5773255"/>
                  <a:pt x="3112114" y="5754465"/>
                </a:cubicBezTo>
                <a:cubicBezTo>
                  <a:pt x="3100370" y="5749767"/>
                  <a:pt x="3114463" y="5773255"/>
                  <a:pt x="3102719" y="5768558"/>
                </a:cubicBezTo>
                <a:cubicBezTo>
                  <a:pt x="3105069" y="5754465"/>
                  <a:pt x="3116813" y="5721582"/>
                  <a:pt x="3102719" y="5721582"/>
                </a:cubicBezTo>
                <a:cubicBezTo>
                  <a:pt x="3109765" y="5705141"/>
                  <a:pt x="3114463" y="5700443"/>
                  <a:pt x="3112114" y="5676955"/>
                </a:cubicBezTo>
                <a:cubicBezTo>
                  <a:pt x="3102719" y="5676955"/>
                  <a:pt x="3105069" y="5693397"/>
                  <a:pt x="3100370" y="5698094"/>
                </a:cubicBezTo>
                <a:cubicBezTo>
                  <a:pt x="3099195" y="5698094"/>
                  <a:pt x="3100957" y="5689874"/>
                  <a:pt x="3104187" y="5680772"/>
                </a:cubicBezTo>
                <a:lnTo>
                  <a:pt x="3108636" y="5670428"/>
                </a:lnTo>
                <a:lnTo>
                  <a:pt x="3107415" y="5672259"/>
                </a:lnTo>
                <a:cubicBezTo>
                  <a:pt x="3102717" y="5660515"/>
                  <a:pt x="3100368" y="5648771"/>
                  <a:pt x="3098020" y="5637027"/>
                </a:cubicBezTo>
                <a:cubicBezTo>
                  <a:pt x="3098020" y="5637027"/>
                  <a:pt x="3098020" y="5637027"/>
                  <a:pt x="3098020" y="5634678"/>
                </a:cubicBezTo>
                <a:cubicBezTo>
                  <a:pt x="3095671" y="5625283"/>
                  <a:pt x="3093322" y="5618237"/>
                  <a:pt x="3090973" y="5608842"/>
                </a:cubicBezTo>
                <a:cubicBezTo>
                  <a:pt x="3093322" y="5632330"/>
                  <a:pt x="3098020" y="5655817"/>
                  <a:pt x="3102717" y="5679305"/>
                </a:cubicBezTo>
                <a:cubicBezTo>
                  <a:pt x="3100368" y="5681654"/>
                  <a:pt x="3100368" y="5684003"/>
                  <a:pt x="3098020" y="5686352"/>
                </a:cubicBezTo>
                <a:cubicBezTo>
                  <a:pt x="3093322" y="5674608"/>
                  <a:pt x="3090973" y="5660515"/>
                  <a:pt x="3086276" y="5648771"/>
                </a:cubicBezTo>
                <a:cubicBezTo>
                  <a:pt x="3086276" y="5639376"/>
                  <a:pt x="3086276" y="5632330"/>
                  <a:pt x="3086276" y="5625283"/>
                </a:cubicBezTo>
                <a:cubicBezTo>
                  <a:pt x="3069835" y="5653468"/>
                  <a:pt x="3062788" y="5691049"/>
                  <a:pt x="3048695" y="5723932"/>
                </a:cubicBezTo>
                <a:cubicBezTo>
                  <a:pt x="3051044" y="5721583"/>
                  <a:pt x="3036951" y="5754466"/>
                  <a:pt x="3041649" y="5733327"/>
                </a:cubicBezTo>
                <a:cubicBezTo>
                  <a:pt x="3051044" y="5693398"/>
                  <a:pt x="3069835" y="5651120"/>
                  <a:pt x="3088625" y="5608842"/>
                </a:cubicBezTo>
                <a:cubicBezTo>
                  <a:pt x="3081578" y="5611191"/>
                  <a:pt x="3076881" y="5615888"/>
                  <a:pt x="3069835" y="5615888"/>
                </a:cubicBezTo>
                <a:cubicBezTo>
                  <a:pt x="3067486" y="5620586"/>
                  <a:pt x="3065137" y="5625283"/>
                  <a:pt x="3065137" y="5629981"/>
                </a:cubicBezTo>
                <a:cubicBezTo>
                  <a:pt x="3065137" y="5625283"/>
                  <a:pt x="3067486" y="5620586"/>
                  <a:pt x="3067486" y="5615888"/>
                </a:cubicBezTo>
                <a:cubicBezTo>
                  <a:pt x="3062788" y="5615888"/>
                  <a:pt x="3058091" y="5615888"/>
                  <a:pt x="3051044" y="5613539"/>
                </a:cubicBezTo>
                <a:cubicBezTo>
                  <a:pt x="3051044" y="5597098"/>
                  <a:pt x="3062788" y="5592400"/>
                  <a:pt x="3074532" y="5587703"/>
                </a:cubicBezTo>
                <a:cubicBezTo>
                  <a:pt x="3076881" y="5580657"/>
                  <a:pt x="3079231" y="5571261"/>
                  <a:pt x="3083927" y="5564215"/>
                </a:cubicBezTo>
                <a:cubicBezTo>
                  <a:pt x="3072184" y="5571261"/>
                  <a:pt x="3060440" y="5575959"/>
                  <a:pt x="3046347" y="5580657"/>
                </a:cubicBezTo>
                <a:lnTo>
                  <a:pt x="3038333" y="5566633"/>
                </a:lnTo>
                <a:lnTo>
                  <a:pt x="3048695" y="5540727"/>
                </a:lnTo>
                <a:cubicBezTo>
                  <a:pt x="3046347" y="5540727"/>
                  <a:pt x="3043998" y="5540727"/>
                  <a:pt x="3041649" y="5540727"/>
                </a:cubicBezTo>
                <a:lnTo>
                  <a:pt x="3032254" y="5566566"/>
                </a:lnTo>
                <a:lnTo>
                  <a:pt x="3034604" y="5559517"/>
                </a:lnTo>
                <a:cubicBezTo>
                  <a:pt x="3032254" y="5559517"/>
                  <a:pt x="3027557" y="5557169"/>
                  <a:pt x="3025208" y="5554820"/>
                </a:cubicBezTo>
                <a:cubicBezTo>
                  <a:pt x="2989977" y="5639376"/>
                  <a:pt x="2950047" y="5721583"/>
                  <a:pt x="2917164" y="5808488"/>
                </a:cubicBezTo>
                <a:cubicBezTo>
                  <a:pt x="2917164" y="5839022"/>
                  <a:pt x="2898374" y="5850766"/>
                  <a:pt x="2891327" y="5874254"/>
                </a:cubicBezTo>
                <a:cubicBezTo>
                  <a:pt x="2884281" y="5874254"/>
                  <a:pt x="2896025" y="5864859"/>
                  <a:pt x="2888979" y="5860161"/>
                </a:cubicBezTo>
                <a:cubicBezTo>
                  <a:pt x="2867840" y="5881300"/>
                  <a:pt x="2856096" y="5911834"/>
                  <a:pt x="2839654" y="5937671"/>
                </a:cubicBezTo>
                <a:cubicBezTo>
                  <a:pt x="2842003" y="5923578"/>
                  <a:pt x="2846700" y="5909486"/>
                  <a:pt x="2849049" y="5890695"/>
                </a:cubicBezTo>
                <a:cubicBezTo>
                  <a:pt x="2853747" y="5914183"/>
                  <a:pt x="2874887" y="5869556"/>
                  <a:pt x="2881932" y="5850766"/>
                </a:cubicBezTo>
                <a:cubicBezTo>
                  <a:pt x="2893676" y="5824929"/>
                  <a:pt x="2900723" y="5801442"/>
                  <a:pt x="2903071" y="5787349"/>
                </a:cubicBezTo>
                <a:cubicBezTo>
                  <a:pt x="2884281" y="5808488"/>
                  <a:pt x="2884281" y="5846069"/>
                  <a:pt x="2863142" y="5867207"/>
                </a:cubicBezTo>
                <a:cubicBezTo>
                  <a:pt x="2872537" y="5810837"/>
                  <a:pt x="2917164" y="5752117"/>
                  <a:pt x="2926559" y="5691049"/>
                </a:cubicBezTo>
                <a:cubicBezTo>
                  <a:pt x="2931256" y="5653468"/>
                  <a:pt x="2926559" y="5615888"/>
                  <a:pt x="2931256" y="5578308"/>
                </a:cubicBezTo>
                <a:cubicBezTo>
                  <a:pt x="2926559" y="5585354"/>
                  <a:pt x="2924210" y="5599447"/>
                  <a:pt x="2921861" y="5611191"/>
                </a:cubicBezTo>
                <a:cubicBezTo>
                  <a:pt x="2917164" y="5585354"/>
                  <a:pt x="2921861" y="5559517"/>
                  <a:pt x="2928908" y="5531332"/>
                </a:cubicBezTo>
                <a:cubicBezTo>
                  <a:pt x="2933605" y="5528983"/>
                  <a:pt x="2931256" y="5517240"/>
                  <a:pt x="2940652" y="5512542"/>
                </a:cubicBezTo>
                <a:cubicBezTo>
                  <a:pt x="2938303" y="5512542"/>
                  <a:pt x="2935954" y="5510193"/>
                  <a:pt x="2933605" y="5510193"/>
                </a:cubicBezTo>
                <a:cubicBezTo>
                  <a:pt x="2935954" y="5498449"/>
                  <a:pt x="2940652" y="5489054"/>
                  <a:pt x="2943000" y="5477310"/>
                </a:cubicBezTo>
                <a:cubicBezTo>
                  <a:pt x="2931256" y="5477310"/>
                  <a:pt x="2921861" y="5479659"/>
                  <a:pt x="2912466" y="5479659"/>
                </a:cubicBezTo>
                <a:cubicBezTo>
                  <a:pt x="2912466" y="5465566"/>
                  <a:pt x="2905420" y="5463218"/>
                  <a:pt x="2903071" y="5453822"/>
                </a:cubicBezTo>
                <a:cubicBezTo>
                  <a:pt x="2903071" y="5430334"/>
                  <a:pt x="2917164" y="5444427"/>
                  <a:pt x="2905420" y="5420939"/>
                </a:cubicBezTo>
                <a:cubicBezTo>
                  <a:pt x="2917164" y="5416242"/>
                  <a:pt x="2914815" y="5402149"/>
                  <a:pt x="2933605" y="5404498"/>
                </a:cubicBezTo>
                <a:cubicBezTo>
                  <a:pt x="2926559" y="5383359"/>
                  <a:pt x="2900723" y="5383359"/>
                  <a:pt x="2872537" y="5388057"/>
                </a:cubicBezTo>
                <a:cubicBezTo>
                  <a:pt x="2867840" y="5378661"/>
                  <a:pt x="2874887" y="5376313"/>
                  <a:pt x="2881932" y="5373964"/>
                </a:cubicBezTo>
                <a:cubicBezTo>
                  <a:pt x="2881932" y="5371615"/>
                  <a:pt x="2884281" y="5371615"/>
                  <a:pt x="2884281" y="5369266"/>
                </a:cubicBezTo>
                <a:lnTo>
                  <a:pt x="2896025" y="5334034"/>
                </a:lnTo>
                <a:lnTo>
                  <a:pt x="2896025" y="5326989"/>
                </a:lnTo>
                <a:lnTo>
                  <a:pt x="2896025" y="5326987"/>
                </a:lnTo>
                <a:lnTo>
                  <a:pt x="2897798" y="5303944"/>
                </a:lnTo>
                <a:lnTo>
                  <a:pt x="2896025" y="5303501"/>
                </a:lnTo>
                <a:lnTo>
                  <a:pt x="2898711" y="5294773"/>
                </a:lnTo>
                <a:lnTo>
                  <a:pt x="2900493" y="5285862"/>
                </a:lnTo>
                <a:lnTo>
                  <a:pt x="2900232" y="5289828"/>
                </a:lnTo>
                <a:lnTo>
                  <a:pt x="2905420" y="5272966"/>
                </a:lnTo>
                <a:cubicBezTo>
                  <a:pt x="2919514" y="5296454"/>
                  <a:pt x="2910118" y="5282362"/>
                  <a:pt x="2924210" y="5277664"/>
                </a:cubicBezTo>
                <a:cubicBezTo>
                  <a:pt x="2921861" y="5282362"/>
                  <a:pt x="2919514" y="5287059"/>
                  <a:pt x="2917164" y="5291757"/>
                </a:cubicBezTo>
                <a:lnTo>
                  <a:pt x="2917482" y="5292075"/>
                </a:lnTo>
                <a:lnTo>
                  <a:pt x="2926559" y="5287060"/>
                </a:lnTo>
                <a:lnTo>
                  <a:pt x="2920296" y="5294889"/>
                </a:lnTo>
                <a:lnTo>
                  <a:pt x="2921861" y="5296454"/>
                </a:lnTo>
                <a:cubicBezTo>
                  <a:pt x="2919514" y="5301152"/>
                  <a:pt x="2917164" y="5301152"/>
                  <a:pt x="2914815" y="5303501"/>
                </a:cubicBezTo>
                <a:cubicBezTo>
                  <a:pt x="2905420" y="5322291"/>
                  <a:pt x="2898374" y="5343430"/>
                  <a:pt x="2891327" y="5362220"/>
                </a:cubicBezTo>
                <a:cubicBezTo>
                  <a:pt x="2896025" y="5355174"/>
                  <a:pt x="2900723" y="5352825"/>
                  <a:pt x="2905420" y="5348127"/>
                </a:cubicBezTo>
                <a:cubicBezTo>
                  <a:pt x="2910118" y="5334035"/>
                  <a:pt x="2914815" y="5322291"/>
                  <a:pt x="2921861" y="5308198"/>
                </a:cubicBezTo>
                <a:cubicBezTo>
                  <a:pt x="2921861" y="5312896"/>
                  <a:pt x="2921861" y="5315244"/>
                  <a:pt x="2924210" y="5319942"/>
                </a:cubicBezTo>
                <a:cubicBezTo>
                  <a:pt x="2921861" y="5326988"/>
                  <a:pt x="2917164" y="5334035"/>
                  <a:pt x="2914815" y="5341081"/>
                </a:cubicBezTo>
                <a:cubicBezTo>
                  <a:pt x="2919514" y="5336383"/>
                  <a:pt x="2924210" y="5334035"/>
                  <a:pt x="2928908" y="5329337"/>
                </a:cubicBezTo>
                <a:cubicBezTo>
                  <a:pt x="2931256" y="5341081"/>
                  <a:pt x="2931256" y="5355174"/>
                  <a:pt x="2919514" y="5373964"/>
                </a:cubicBezTo>
                <a:cubicBezTo>
                  <a:pt x="2966488" y="5385708"/>
                  <a:pt x="2914815" y="5406847"/>
                  <a:pt x="2938303" y="5427986"/>
                </a:cubicBezTo>
                <a:cubicBezTo>
                  <a:pt x="2950047" y="5413893"/>
                  <a:pt x="2950047" y="5378661"/>
                  <a:pt x="2966488" y="5378661"/>
                </a:cubicBezTo>
                <a:cubicBezTo>
                  <a:pt x="2966488" y="5392754"/>
                  <a:pt x="2966488" y="5406847"/>
                  <a:pt x="2968837" y="5420939"/>
                </a:cubicBezTo>
                <a:cubicBezTo>
                  <a:pt x="2982930" y="5406847"/>
                  <a:pt x="2989977" y="5381010"/>
                  <a:pt x="3006417" y="5378661"/>
                </a:cubicBezTo>
                <a:cubicBezTo>
                  <a:pt x="3006417" y="5381010"/>
                  <a:pt x="3006417" y="5385708"/>
                  <a:pt x="3006417" y="5388057"/>
                </a:cubicBezTo>
                <a:cubicBezTo>
                  <a:pt x="3008766" y="5385708"/>
                  <a:pt x="3008766" y="5381010"/>
                  <a:pt x="3011115" y="5378661"/>
                </a:cubicBezTo>
                <a:cubicBezTo>
                  <a:pt x="3015813" y="5378661"/>
                  <a:pt x="3020510" y="5378661"/>
                  <a:pt x="3025208" y="5383359"/>
                </a:cubicBezTo>
                <a:cubicBezTo>
                  <a:pt x="3029905" y="5411545"/>
                  <a:pt x="3001720" y="5425637"/>
                  <a:pt x="3034604" y="5442078"/>
                </a:cubicBezTo>
                <a:cubicBezTo>
                  <a:pt x="3039300" y="5423288"/>
                  <a:pt x="3022859" y="5411545"/>
                  <a:pt x="3048695" y="5406847"/>
                </a:cubicBezTo>
                <a:cubicBezTo>
                  <a:pt x="3058091" y="5442078"/>
                  <a:pt x="3046347" y="5470264"/>
                  <a:pt x="3048695" y="5498449"/>
                </a:cubicBezTo>
                <a:cubicBezTo>
                  <a:pt x="3046347" y="5503147"/>
                  <a:pt x="3043998" y="5510193"/>
                  <a:pt x="3041649" y="5514891"/>
                </a:cubicBezTo>
                <a:cubicBezTo>
                  <a:pt x="3043998" y="5514891"/>
                  <a:pt x="3046347" y="5517240"/>
                  <a:pt x="3048695" y="5517240"/>
                </a:cubicBezTo>
                <a:cubicBezTo>
                  <a:pt x="3051044" y="5514891"/>
                  <a:pt x="3051044" y="5514891"/>
                  <a:pt x="3051044" y="5512542"/>
                </a:cubicBezTo>
                <a:cubicBezTo>
                  <a:pt x="3053393" y="5521937"/>
                  <a:pt x="3055742" y="5531332"/>
                  <a:pt x="3062788" y="5540727"/>
                </a:cubicBezTo>
                <a:cubicBezTo>
                  <a:pt x="3072184" y="5540727"/>
                  <a:pt x="3074532" y="5524286"/>
                  <a:pt x="3090973" y="5538378"/>
                </a:cubicBezTo>
                <a:cubicBezTo>
                  <a:pt x="3102717" y="5510193"/>
                  <a:pt x="3102717" y="5524286"/>
                  <a:pt x="3119159" y="5528983"/>
                </a:cubicBezTo>
                <a:cubicBezTo>
                  <a:pt x="3119159" y="5528983"/>
                  <a:pt x="3121508" y="5528983"/>
                  <a:pt x="3121508" y="5528983"/>
                </a:cubicBezTo>
                <a:cubicBezTo>
                  <a:pt x="3121508" y="5528983"/>
                  <a:pt x="3119159" y="5526635"/>
                  <a:pt x="3119159" y="5524286"/>
                </a:cubicBezTo>
                <a:cubicBezTo>
                  <a:pt x="3119159" y="5524286"/>
                  <a:pt x="3119159" y="5521937"/>
                  <a:pt x="3119159" y="5521937"/>
                </a:cubicBezTo>
                <a:cubicBezTo>
                  <a:pt x="3119159" y="5519588"/>
                  <a:pt x="3116811" y="5514891"/>
                  <a:pt x="3116811" y="5512542"/>
                </a:cubicBezTo>
                <a:cubicBezTo>
                  <a:pt x="3116811" y="5512542"/>
                  <a:pt x="3119159" y="5514891"/>
                  <a:pt x="3119159" y="5514891"/>
                </a:cubicBezTo>
                <a:cubicBezTo>
                  <a:pt x="3119159" y="5512542"/>
                  <a:pt x="3119159" y="5510193"/>
                  <a:pt x="3119159" y="5507844"/>
                </a:cubicBezTo>
                <a:cubicBezTo>
                  <a:pt x="3119159" y="5507844"/>
                  <a:pt x="3116811" y="5507844"/>
                  <a:pt x="3116811" y="5507844"/>
                </a:cubicBezTo>
                <a:cubicBezTo>
                  <a:pt x="3114461" y="5489054"/>
                  <a:pt x="3119159" y="5467915"/>
                  <a:pt x="3107415" y="5453822"/>
                </a:cubicBezTo>
                <a:cubicBezTo>
                  <a:pt x="3107415" y="5453822"/>
                  <a:pt x="3105067" y="5453822"/>
                  <a:pt x="3105067" y="5453822"/>
                </a:cubicBezTo>
                <a:cubicBezTo>
                  <a:pt x="3105067" y="5453822"/>
                  <a:pt x="3107415" y="5453822"/>
                  <a:pt x="3107415" y="5451474"/>
                </a:cubicBezTo>
                <a:cubicBezTo>
                  <a:pt x="3105067" y="5449125"/>
                  <a:pt x="3105067" y="5446776"/>
                  <a:pt x="3102717" y="5444427"/>
                </a:cubicBezTo>
                <a:cubicBezTo>
                  <a:pt x="3102717" y="5449125"/>
                  <a:pt x="3102717" y="5451474"/>
                  <a:pt x="3102717" y="5456171"/>
                </a:cubicBezTo>
                <a:cubicBezTo>
                  <a:pt x="3086276" y="5463218"/>
                  <a:pt x="3083927" y="5411545"/>
                  <a:pt x="3058091" y="5437381"/>
                </a:cubicBezTo>
                <a:cubicBezTo>
                  <a:pt x="3055742" y="5423288"/>
                  <a:pt x="3065137" y="5423288"/>
                  <a:pt x="3058091" y="5404498"/>
                </a:cubicBezTo>
                <a:cubicBezTo>
                  <a:pt x="3083927" y="5420939"/>
                  <a:pt x="3090973" y="5397452"/>
                  <a:pt x="3105067" y="5390405"/>
                </a:cubicBezTo>
                <a:cubicBezTo>
                  <a:pt x="3100368" y="5397452"/>
                  <a:pt x="3105067" y="5404498"/>
                  <a:pt x="3114461" y="5406847"/>
                </a:cubicBezTo>
                <a:cubicBezTo>
                  <a:pt x="3114461" y="5409196"/>
                  <a:pt x="3114461" y="5409196"/>
                  <a:pt x="3114461" y="5411545"/>
                </a:cubicBezTo>
                <a:cubicBezTo>
                  <a:pt x="3119159" y="5411545"/>
                  <a:pt x="3119159" y="5409196"/>
                  <a:pt x="3121508" y="5399801"/>
                </a:cubicBezTo>
                <a:cubicBezTo>
                  <a:pt x="3133252" y="5373964"/>
                  <a:pt x="3184925" y="5383359"/>
                  <a:pt x="3175530" y="5355174"/>
                </a:cubicBezTo>
                <a:cubicBezTo>
                  <a:pt x="3196668" y="5359871"/>
                  <a:pt x="3191971" y="5378661"/>
                  <a:pt x="3191971" y="5395103"/>
                </a:cubicBezTo>
                <a:cubicBezTo>
                  <a:pt x="3224854" y="5423288"/>
                  <a:pt x="3236598" y="5411545"/>
                  <a:pt x="3267132" y="5392754"/>
                </a:cubicBezTo>
                <a:cubicBezTo>
                  <a:pt x="3311758" y="5409196"/>
                  <a:pt x="3241295" y="5474961"/>
                  <a:pt x="3262434" y="5486705"/>
                </a:cubicBezTo>
                <a:cubicBezTo>
                  <a:pt x="3276528" y="5451474"/>
                  <a:pt x="3295317" y="5498449"/>
                  <a:pt x="3302364" y="5503147"/>
                </a:cubicBezTo>
                <a:cubicBezTo>
                  <a:pt x="3305300" y="5500211"/>
                  <a:pt x="3308383" y="5498890"/>
                  <a:pt x="3311539" y="5498670"/>
                </a:cubicBezTo>
                <a:lnTo>
                  <a:pt x="3315910" y="5499637"/>
                </a:lnTo>
                <a:lnTo>
                  <a:pt x="3309703" y="5513129"/>
                </a:lnTo>
                <a:cubicBezTo>
                  <a:pt x="3308235" y="5517827"/>
                  <a:pt x="3308235" y="5521937"/>
                  <a:pt x="3311758" y="5524286"/>
                </a:cubicBezTo>
                <a:cubicBezTo>
                  <a:pt x="3316456" y="5521937"/>
                  <a:pt x="3320568" y="5517240"/>
                  <a:pt x="3322035" y="5512249"/>
                </a:cubicBezTo>
                <a:lnTo>
                  <a:pt x="3317038" y="5499887"/>
                </a:lnTo>
                <a:lnTo>
                  <a:pt x="3321155" y="5500798"/>
                </a:lnTo>
                <a:cubicBezTo>
                  <a:pt x="3327613" y="5503734"/>
                  <a:pt x="3334073" y="5509019"/>
                  <a:pt x="3339944" y="5512542"/>
                </a:cubicBezTo>
                <a:cubicBezTo>
                  <a:pt x="3379873" y="5484356"/>
                  <a:pt x="3391618" y="5449125"/>
                  <a:pt x="3389268" y="5409196"/>
                </a:cubicBezTo>
                <a:cubicBezTo>
                  <a:pt x="3370478" y="5402149"/>
                  <a:pt x="3349339" y="5392754"/>
                  <a:pt x="3330549" y="5385708"/>
                </a:cubicBezTo>
                <a:cubicBezTo>
                  <a:pt x="3321155" y="5402149"/>
                  <a:pt x="3302364" y="5399801"/>
                  <a:pt x="3288271" y="5409196"/>
                </a:cubicBezTo>
                <a:cubicBezTo>
                  <a:pt x="3292969" y="5362220"/>
                  <a:pt x="3328200" y="5326988"/>
                  <a:pt x="3349339" y="5291757"/>
                </a:cubicBezTo>
                <a:cubicBezTo>
                  <a:pt x="3344642" y="5301152"/>
                  <a:pt x="3346991" y="5308198"/>
                  <a:pt x="3354037" y="5312896"/>
                </a:cubicBezTo>
                <a:cubicBezTo>
                  <a:pt x="3363432" y="5298803"/>
                  <a:pt x="3382222" y="5303501"/>
                  <a:pt x="3391618" y="5287059"/>
                </a:cubicBezTo>
                <a:cubicBezTo>
                  <a:pt x="3384571" y="5280013"/>
                  <a:pt x="3375176" y="5289408"/>
                  <a:pt x="3375176" y="5280013"/>
                </a:cubicBezTo>
                <a:cubicBezTo>
                  <a:pt x="3396315" y="5282362"/>
                  <a:pt x="3379873" y="5251827"/>
                  <a:pt x="3401012" y="5263571"/>
                </a:cubicBezTo>
                <a:cubicBezTo>
                  <a:pt x="3412756" y="5233037"/>
                  <a:pt x="3401012" y="5228340"/>
                  <a:pt x="3417454" y="5188411"/>
                </a:cubicBezTo>
                <a:cubicBezTo>
                  <a:pt x="3396315" y="5176667"/>
                  <a:pt x="3384571" y="5162574"/>
                  <a:pt x="3375176" y="5157876"/>
                </a:cubicBezTo>
                <a:cubicBezTo>
                  <a:pt x="3393966" y="5143784"/>
                  <a:pt x="3391618" y="5110901"/>
                  <a:pt x="3422151" y="5108552"/>
                </a:cubicBezTo>
                <a:cubicBezTo>
                  <a:pt x="3412756" y="5117947"/>
                  <a:pt x="3412756" y="5146132"/>
                  <a:pt x="3426849" y="5129691"/>
                </a:cubicBezTo>
                <a:cubicBezTo>
                  <a:pt x="3424500" y="5103854"/>
                  <a:pt x="3424500" y="5075669"/>
                  <a:pt x="3410407" y="5054530"/>
                </a:cubicBezTo>
                <a:cubicBezTo>
                  <a:pt x="3431546" y="5061576"/>
                  <a:pt x="3422151" y="5082715"/>
                  <a:pt x="3436245" y="5092110"/>
                </a:cubicBezTo>
                <a:cubicBezTo>
                  <a:pt x="3436245" y="5049832"/>
                  <a:pt x="3408059" y="5023996"/>
                  <a:pt x="3440941" y="4979369"/>
                </a:cubicBezTo>
                <a:cubicBezTo>
                  <a:pt x="3408059" y="4948835"/>
                  <a:pt x="3464429" y="4918301"/>
                  <a:pt x="3471475" y="4890115"/>
                </a:cubicBezTo>
                <a:cubicBezTo>
                  <a:pt x="3462081" y="4817303"/>
                  <a:pt x="3433895" y="4772676"/>
                  <a:pt x="3361083" y="4744491"/>
                </a:cubicBezTo>
                <a:cubicBezTo>
                  <a:pt x="3346991" y="4775025"/>
                  <a:pt x="3314107" y="4760933"/>
                  <a:pt x="3290620" y="4770328"/>
                </a:cubicBezTo>
                <a:cubicBezTo>
                  <a:pt x="3297666" y="4775025"/>
                  <a:pt x="3309410" y="4777374"/>
                  <a:pt x="3302364" y="4789118"/>
                </a:cubicBezTo>
                <a:cubicBezTo>
                  <a:pt x="3278876" y="4791467"/>
                  <a:pt x="3248342" y="4775025"/>
                  <a:pt x="3224854" y="4777374"/>
                </a:cubicBezTo>
                <a:cubicBezTo>
                  <a:pt x="3250690" y="4800862"/>
                  <a:pt x="3269481" y="4791467"/>
                  <a:pt x="3283573" y="4800862"/>
                </a:cubicBezTo>
                <a:cubicBezTo>
                  <a:pt x="3234249" y="4800862"/>
                  <a:pt x="3184925" y="4800862"/>
                  <a:pt x="3142647" y="4812606"/>
                </a:cubicBezTo>
                <a:cubicBezTo>
                  <a:pt x="3154390" y="4817303"/>
                  <a:pt x="3161438" y="4824350"/>
                  <a:pt x="3161438" y="4833745"/>
                </a:cubicBezTo>
                <a:cubicBezTo>
                  <a:pt x="3137949" y="4852535"/>
                  <a:pt x="3119159" y="4843140"/>
                  <a:pt x="3109764" y="4859582"/>
                </a:cubicBezTo>
                <a:cubicBezTo>
                  <a:pt x="3105067" y="4851361"/>
                  <a:pt x="3099929" y="4846223"/>
                  <a:pt x="3094497" y="4843397"/>
                </a:cubicBezTo>
                <a:lnTo>
                  <a:pt x="3086325" y="4842287"/>
                </a:lnTo>
                <a:lnTo>
                  <a:pt x="3110351" y="4833744"/>
                </a:lnTo>
                <a:cubicBezTo>
                  <a:pt x="3118572" y="4830808"/>
                  <a:pt x="3126206" y="4829047"/>
                  <a:pt x="3133252" y="4831396"/>
                </a:cubicBezTo>
                <a:cubicBezTo>
                  <a:pt x="3133252" y="4826698"/>
                  <a:pt x="3135600" y="4824350"/>
                  <a:pt x="3140298" y="4822001"/>
                </a:cubicBezTo>
                <a:cubicBezTo>
                  <a:pt x="3133252" y="4812606"/>
                  <a:pt x="3112112" y="4822001"/>
                  <a:pt x="3098020" y="4822001"/>
                </a:cubicBezTo>
                <a:cubicBezTo>
                  <a:pt x="3095671" y="4822001"/>
                  <a:pt x="3093322" y="4822001"/>
                  <a:pt x="3090973" y="4824350"/>
                </a:cubicBezTo>
                <a:lnTo>
                  <a:pt x="3084348" y="4842019"/>
                </a:lnTo>
                <a:lnTo>
                  <a:pt x="3080239" y="4841461"/>
                </a:lnTo>
                <a:lnTo>
                  <a:pt x="3081578" y="4840791"/>
                </a:lnTo>
                <a:cubicBezTo>
                  <a:pt x="3083927" y="4836094"/>
                  <a:pt x="3086276" y="4829047"/>
                  <a:pt x="3088625" y="4824350"/>
                </a:cubicBezTo>
                <a:cubicBezTo>
                  <a:pt x="3086276" y="4826698"/>
                  <a:pt x="3086276" y="4829047"/>
                  <a:pt x="3081578" y="4829047"/>
                </a:cubicBezTo>
                <a:cubicBezTo>
                  <a:pt x="3072184" y="4829047"/>
                  <a:pt x="3067486" y="4826698"/>
                  <a:pt x="3060440" y="4824350"/>
                </a:cubicBezTo>
                <a:cubicBezTo>
                  <a:pt x="3055742" y="4829047"/>
                  <a:pt x="3053393" y="4831396"/>
                  <a:pt x="3051044" y="4836094"/>
                </a:cubicBezTo>
                <a:lnTo>
                  <a:pt x="3074112" y="4842384"/>
                </a:lnTo>
                <a:lnTo>
                  <a:pt x="3059559" y="4848021"/>
                </a:lnTo>
                <a:cubicBezTo>
                  <a:pt x="3053540" y="4851361"/>
                  <a:pt x="3047522" y="4855471"/>
                  <a:pt x="3041649" y="4859582"/>
                </a:cubicBezTo>
                <a:cubicBezTo>
                  <a:pt x="3048695" y="4866628"/>
                  <a:pt x="3041649" y="4880720"/>
                  <a:pt x="3041649" y="4892464"/>
                </a:cubicBezTo>
                <a:lnTo>
                  <a:pt x="3030193" y="4893782"/>
                </a:lnTo>
                <a:lnTo>
                  <a:pt x="3023373" y="4890372"/>
                </a:lnTo>
                <a:cubicBezTo>
                  <a:pt x="3020070" y="4890189"/>
                  <a:pt x="3016694" y="4891143"/>
                  <a:pt x="3014051" y="4892758"/>
                </a:cubicBezTo>
                <a:lnTo>
                  <a:pt x="3011601" y="4895921"/>
                </a:lnTo>
                <a:lnTo>
                  <a:pt x="3008473" y="4896281"/>
                </a:lnTo>
                <a:cubicBezTo>
                  <a:pt x="2998784" y="4900098"/>
                  <a:pt x="2989977" y="4905382"/>
                  <a:pt x="2980581" y="4908906"/>
                </a:cubicBezTo>
                <a:lnTo>
                  <a:pt x="2982353" y="4912449"/>
                </a:lnTo>
                <a:lnTo>
                  <a:pt x="2940652" y="4932393"/>
                </a:lnTo>
                <a:lnTo>
                  <a:pt x="2943000" y="4939440"/>
                </a:lnTo>
                <a:cubicBezTo>
                  <a:pt x="2952396" y="4935916"/>
                  <a:pt x="2965901" y="4934742"/>
                  <a:pt x="2976764" y="4930925"/>
                </a:cubicBezTo>
                <a:lnTo>
                  <a:pt x="2988718" y="4923532"/>
                </a:lnTo>
                <a:lnTo>
                  <a:pt x="3004033" y="4924539"/>
                </a:lnTo>
                <a:cubicBezTo>
                  <a:pt x="3020657" y="4926961"/>
                  <a:pt x="3021099" y="4930044"/>
                  <a:pt x="3043998" y="4915952"/>
                </a:cubicBezTo>
                <a:cubicBezTo>
                  <a:pt x="3041649" y="4922998"/>
                  <a:pt x="3048695" y="4922998"/>
                  <a:pt x="3055742" y="4920650"/>
                </a:cubicBezTo>
                <a:cubicBezTo>
                  <a:pt x="3048695" y="4932393"/>
                  <a:pt x="3055742" y="4937091"/>
                  <a:pt x="3051044" y="4946486"/>
                </a:cubicBezTo>
                <a:cubicBezTo>
                  <a:pt x="3025208" y="4941789"/>
                  <a:pt x="3022859" y="4932393"/>
                  <a:pt x="2997022" y="4930045"/>
                </a:cubicBezTo>
                <a:cubicBezTo>
                  <a:pt x="2973535" y="4946486"/>
                  <a:pt x="2950047" y="4955881"/>
                  <a:pt x="2928908" y="4962928"/>
                </a:cubicBezTo>
                <a:cubicBezTo>
                  <a:pt x="2924210" y="4960579"/>
                  <a:pt x="2919514" y="4960579"/>
                  <a:pt x="2914815" y="4958230"/>
                </a:cubicBezTo>
                <a:cubicBezTo>
                  <a:pt x="2919514" y="4953533"/>
                  <a:pt x="2921861" y="4951184"/>
                  <a:pt x="2924210" y="4941789"/>
                </a:cubicBezTo>
                <a:cubicBezTo>
                  <a:pt x="2919514" y="4937091"/>
                  <a:pt x="2915403" y="4937678"/>
                  <a:pt x="2912173" y="4940614"/>
                </a:cubicBezTo>
                <a:lnTo>
                  <a:pt x="2907083" y="4950353"/>
                </a:lnTo>
                <a:lnTo>
                  <a:pt x="2904078" y="4951855"/>
                </a:lnTo>
                <a:lnTo>
                  <a:pt x="2896025" y="4941789"/>
                </a:lnTo>
                <a:lnTo>
                  <a:pt x="2891327" y="4941789"/>
                </a:lnTo>
                <a:lnTo>
                  <a:pt x="2888979" y="4934742"/>
                </a:lnTo>
                <a:lnTo>
                  <a:pt x="2891327" y="4932393"/>
                </a:lnTo>
                <a:cubicBezTo>
                  <a:pt x="2888979" y="4934742"/>
                  <a:pt x="2886630" y="4934742"/>
                  <a:pt x="2884281" y="4937091"/>
                </a:cubicBezTo>
                <a:cubicBezTo>
                  <a:pt x="2881932" y="4944137"/>
                  <a:pt x="2881932" y="4951184"/>
                  <a:pt x="2879583" y="4958230"/>
                </a:cubicBezTo>
                <a:lnTo>
                  <a:pt x="2878279" y="4964754"/>
                </a:lnTo>
                <a:lnTo>
                  <a:pt x="2867840" y="4969974"/>
                </a:lnTo>
                <a:cubicBezTo>
                  <a:pt x="2863142" y="4972323"/>
                  <a:pt x="2860793" y="4972323"/>
                  <a:pt x="2858444" y="4974672"/>
                </a:cubicBezTo>
                <a:cubicBezTo>
                  <a:pt x="2846700" y="4972323"/>
                  <a:pt x="2830260" y="4955881"/>
                  <a:pt x="2830260" y="4977020"/>
                </a:cubicBezTo>
                <a:cubicBezTo>
                  <a:pt x="2834957" y="4979369"/>
                  <a:pt x="2839654" y="4979369"/>
                  <a:pt x="2844352" y="4981718"/>
                </a:cubicBezTo>
                <a:cubicBezTo>
                  <a:pt x="2837305" y="4984067"/>
                  <a:pt x="2830260" y="4986415"/>
                  <a:pt x="2823213" y="4988764"/>
                </a:cubicBezTo>
                <a:cubicBezTo>
                  <a:pt x="2823213" y="4995810"/>
                  <a:pt x="2816166" y="4998159"/>
                  <a:pt x="2818515" y="5007554"/>
                </a:cubicBezTo>
                <a:cubicBezTo>
                  <a:pt x="2813818" y="5002857"/>
                  <a:pt x="2809120" y="5000508"/>
                  <a:pt x="2802074" y="4998159"/>
                </a:cubicBezTo>
                <a:cubicBezTo>
                  <a:pt x="2790330" y="5014601"/>
                  <a:pt x="2806771" y="5021647"/>
                  <a:pt x="2823213" y="5026345"/>
                </a:cubicBezTo>
                <a:cubicBezTo>
                  <a:pt x="2827910" y="5019298"/>
                  <a:pt x="2823213" y="5012252"/>
                  <a:pt x="2818515" y="5007554"/>
                </a:cubicBezTo>
                <a:cubicBezTo>
                  <a:pt x="2834957" y="5002856"/>
                  <a:pt x="2847875" y="4995810"/>
                  <a:pt x="2861381" y="4989351"/>
                </a:cubicBezTo>
                <a:lnTo>
                  <a:pt x="2900531" y="4976962"/>
                </a:lnTo>
                <a:lnTo>
                  <a:pt x="2900723" y="4977020"/>
                </a:lnTo>
                <a:cubicBezTo>
                  <a:pt x="2888979" y="4981718"/>
                  <a:pt x="2877235" y="4988764"/>
                  <a:pt x="2867840" y="5000508"/>
                </a:cubicBezTo>
                <a:cubicBezTo>
                  <a:pt x="2877235" y="5021647"/>
                  <a:pt x="2818515" y="5040437"/>
                  <a:pt x="2792680" y="5061576"/>
                </a:cubicBezTo>
                <a:cubicBezTo>
                  <a:pt x="2792680" y="5059228"/>
                  <a:pt x="2790330" y="5054530"/>
                  <a:pt x="2795027" y="5045135"/>
                </a:cubicBezTo>
                <a:lnTo>
                  <a:pt x="2785633" y="5045135"/>
                </a:lnTo>
                <a:lnTo>
                  <a:pt x="2783015" y="5044612"/>
                </a:lnTo>
                <a:lnTo>
                  <a:pt x="2773008" y="5025170"/>
                </a:lnTo>
                <a:cubicBezTo>
                  <a:pt x="2768017" y="5020473"/>
                  <a:pt x="2762145" y="5016949"/>
                  <a:pt x="2757447" y="5012252"/>
                </a:cubicBezTo>
                <a:cubicBezTo>
                  <a:pt x="2752749" y="5016950"/>
                  <a:pt x="2748053" y="5021647"/>
                  <a:pt x="2741006" y="5026345"/>
                </a:cubicBezTo>
                <a:cubicBezTo>
                  <a:pt x="2741006" y="5028694"/>
                  <a:pt x="2738657" y="5033391"/>
                  <a:pt x="2738657" y="5035740"/>
                </a:cubicBezTo>
                <a:lnTo>
                  <a:pt x="2783015" y="5044612"/>
                </a:lnTo>
                <a:lnTo>
                  <a:pt x="2783284" y="5045135"/>
                </a:lnTo>
                <a:lnTo>
                  <a:pt x="2785633" y="5045135"/>
                </a:lnTo>
                <a:cubicBezTo>
                  <a:pt x="2764493" y="5047484"/>
                  <a:pt x="2748053" y="5061576"/>
                  <a:pt x="2731610" y="5075669"/>
                </a:cubicBezTo>
                <a:cubicBezTo>
                  <a:pt x="2729262" y="5073320"/>
                  <a:pt x="2729262" y="5073320"/>
                  <a:pt x="2726913" y="5073320"/>
                </a:cubicBezTo>
                <a:cubicBezTo>
                  <a:pt x="2726913" y="5075669"/>
                  <a:pt x="2724564" y="5078018"/>
                  <a:pt x="2724564" y="5080367"/>
                </a:cubicBezTo>
                <a:cubicBezTo>
                  <a:pt x="2715170" y="5087413"/>
                  <a:pt x="2705774" y="5094459"/>
                  <a:pt x="2694030" y="5099157"/>
                </a:cubicBezTo>
                <a:cubicBezTo>
                  <a:pt x="2696379" y="5089762"/>
                  <a:pt x="2703426" y="5080367"/>
                  <a:pt x="2689332" y="5078018"/>
                </a:cubicBezTo>
                <a:cubicBezTo>
                  <a:pt x="2686984" y="5108552"/>
                  <a:pt x="2682286" y="5096808"/>
                  <a:pt x="2663496" y="5108552"/>
                </a:cubicBezTo>
                <a:cubicBezTo>
                  <a:pt x="2677588" y="5120296"/>
                  <a:pt x="2675240" y="5122645"/>
                  <a:pt x="2682286" y="5129691"/>
                </a:cubicBezTo>
                <a:cubicBezTo>
                  <a:pt x="2663496" y="5136737"/>
                  <a:pt x="2618869" y="5139086"/>
                  <a:pt x="2625916" y="5167271"/>
                </a:cubicBezTo>
                <a:cubicBezTo>
                  <a:pt x="2654101" y="5157876"/>
                  <a:pt x="2679937" y="5146132"/>
                  <a:pt x="2703426" y="5132040"/>
                </a:cubicBezTo>
                <a:cubicBezTo>
                  <a:pt x="2682286" y="5169620"/>
                  <a:pt x="2661147" y="5207200"/>
                  <a:pt x="2635310" y="5240084"/>
                </a:cubicBezTo>
                <a:cubicBezTo>
                  <a:pt x="2604776" y="5254176"/>
                  <a:pt x="2597730" y="5291757"/>
                  <a:pt x="2578940" y="5317593"/>
                </a:cubicBezTo>
                <a:cubicBezTo>
                  <a:pt x="2569545" y="5322291"/>
                  <a:pt x="2578940" y="5310547"/>
                  <a:pt x="2571893" y="5310547"/>
                </a:cubicBezTo>
                <a:cubicBezTo>
                  <a:pt x="2567196" y="5362220"/>
                  <a:pt x="2489686" y="5364569"/>
                  <a:pt x="2475594" y="5416242"/>
                </a:cubicBezTo>
                <a:cubicBezTo>
                  <a:pt x="2461501" y="5404498"/>
                  <a:pt x="2484989" y="5399801"/>
                  <a:pt x="2482640" y="5383359"/>
                </a:cubicBezTo>
                <a:cubicBezTo>
                  <a:pt x="2468547" y="5381010"/>
                  <a:pt x="2468547" y="5395103"/>
                  <a:pt x="2456803" y="5397452"/>
                </a:cubicBezTo>
                <a:cubicBezTo>
                  <a:pt x="2435664" y="5470264"/>
                  <a:pt x="2402781" y="5531332"/>
                  <a:pt x="2376945" y="5590051"/>
                </a:cubicBezTo>
                <a:cubicBezTo>
                  <a:pt x="2381642" y="5550122"/>
                  <a:pt x="2402781" y="5507844"/>
                  <a:pt x="2421572" y="5467915"/>
                </a:cubicBezTo>
                <a:cubicBezTo>
                  <a:pt x="2421572" y="5467915"/>
                  <a:pt x="2423920" y="5465566"/>
                  <a:pt x="2426269" y="5465566"/>
                </a:cubicBezTo>
                <a:cubicBezTo>
                  <a:pt x="2426269" y="5465566"/>
                  <a:pt x="2423920" y="5463218"/>
                  <a:pt x="2423920" y="5463218"/>
                </a:cubicBezTo>
                <a:cubicBezTo>
                  <a:pt x="2433315" y="5442078"/>
                  <a:pt x="2440362" y="5420939"/>
                  <a:pt x="2445059" y="5399801"/>
                </a:cubicBezTo>
                <a:cubicBezTo>
                  <a:pt x="2428619" y="5416242"/>
                  <a:pt x="2426269" y="5439730"/>
                  <a:pt x="2419223" y="5460869"/>
                </a:cubicBezTo>
                <a:cubicBezTo>
                  <a:pt x="2415113" y="5459107"/>
                  <a:pt x="2411149" y="5459401"/>
                  <a:pt x="2407222" y="5460832"/>
                </a:cubicBezTo>
                <a:lnTo>
                  <a:pt x="2398415" y="5465909"/>
                </a:lnTo>
                <a:lnTo>
                  <a:pt x="2398084" y="5460869"/>
                </a:lnTo>
                <a:lnTo>
                  <a:pt x="2396645" y="5466928"/>
                </a:lnTo>
                <a:lnTo>
                  <a:pt x="2395442" y="5467622"/>
                </a:lnTo>
                <a:cubicBezTo>
                  <a:pt x="2387515" y="5473200"/>
                  <a:pt x="2379294" y="5479659"/>
                  <a:pt x="2369898" y="5479659"/>
                </a:cubicBezTo>
                <a:cubicBezTo>
                  <a:pt x="2375770" y="5487880"/>
                  <a:pt x="2382817" y="5489641"/>
                  <a:pt x="2390450" y="5488173"/>
                </a:cubicBezTo>
                <a:lnTo>
                  <a:pt x="2391735" y="5487593"/>
                </a:lnTo>
                <a:lnTo>
                  <a:pt x="2385459" y="5514010"/>
                </a:lnTo>
                <a:lnTo>
                  <a:pt x="2379118" y="5541946"/>
                </a:lnTo>
                <a:lnTo>
                  <a:pt x="2374596" y="5543076"/>
                </a:lnTo>
                <a:cubicBezTo>
                  <a:pt x="2369898" y="5557169"/>
                  <a:pt x="2360503" y="5566564"/>
                  <a:pt x="2358156" y="5580657"/>
                </a:cubicBezTo>
                <a:cubicBezTo>
                  <a:pt x="2353457" y="5580657"/>
                  <a:pt x="2358156" y="5573610"/>
                  <a:pt x="2353457" y="5571261"/>
                </a:cubicBezTo>
                <a:cubicBezTo>
                  <a:pt x="2348759" y="5575959"/>
                  <a:pt x="2346412" y="5583005"/>
                  <a:pt x="2346412" y="5592400"/>
                </a:cubicBezTo>
                <a:cubicBezTo>
                  <a:pt x="2337016" y="5587703"/>
                  <a:pt x="2348759" y="5573610"/>
                  <a:pt x="2341713" y="5564215"/>
                </a:cubicBezTo>
                <a:cubicBezTo>
                  <a:pt x="2322923" y="5597098"/>
                  <a:pt x="2313529" y="5637027"/>
                  <a:pt x="2294738" y="5667561"/>
                </a:cubicBezTo>
                <a:cubicBezTo>
                  <a:pt x="2308830" y="5613539"/>
                  <a:pt x="2346412" y="5550122"/>
                  <a:pt x="2348759" y="5484356"/>
                </a:cubicBezTo>
                <a:cubicBezTo>
                  <a:pt x="2325272" y="5528983"/>
                  <a:pt x="2315877" y="5585354"/>
                  <a:pt x="2285342" y="5620586"/>
                </a:cubicBezTo>
                <a:cubicBezTo>
                  <a:pt x="2287691" y="5599447"/>
                  <a:pt x="2304133" y="5578308"/>
                  <a:pt x="2313529" y="5554820"/>
                </a:cubicBezTo>
                <a:cubicBezTo>
                  <a:pt x="2313529" y="5554820"/>
                  <a:pt x="2315877" y="5554820"/>
                  <a:pt x="2315877" y="5554820"/>
                </a:cubicBezTo>
                <a:cubicBezTo>
                  <a:pt x="2318225" y="5550122"/>
                  <a:pt x="2318225" y="5547773"/>
                  <a:pt x="2320574" y="5543076"/>
                </a:cubicBezTo>
                <a:cubicBezTo>
                  <a:pt x="2320574" y="5540727"/>
                  <a:pt x="2318225" y="5540727"/>
                  <a:pt x="2318225" y="5540727"/>
                </a:cubicBezTo>
                <a:cubicBezTo>
                  <a:pt x="2320574" y="5538378"/>
                  <a:pt x="2320574" y="5536029"/>
                  <a:pt x="2320574" y="5533681"/>
                </a:cubicBezTo>
                <a:cubicBezTo>
                  <a:pt x="2318225" y="5533681"/>
                  <a:pt x="2318225" y="5536029"/>
                  <a:pt x="2315877" y="5538378"/>
                </a:cubicBezTo>
                <a:cubicBezTo>
                  <a:pt x="2311179" y="5536029"/>
                  <a:pt x="2308830" y="5536029"/>
                  <a:pt x="2304133" y="5533681"/>
                </a:cubicBezTo>
                <a:cubicBezTo>
                  <a:pt x="2301785" y="5538378"/>
                  <a:pt x="2301785" y="5540727"/>
                  <a:pt x="2299435" y="5545425"/>
                </a:cubicBezTo>
                <a:cubicBezTo>
                  <a:pt x="2301785" y="5547773"/>
                  <a:pt x="2306481" y="5547773"/>
                  <a:pt x="2308830" y="5550122"/>
                </a:cubicBezTo>
                <a:cubicBezTo>
                  <a:pt x="2287691" y="5585354"/>
                  <a:pt x="2273598" y="5627632"/>
                  <a:pt x="2238373" y="5651120"/>
                </a:cubicBezTo>
                <a:cubicBezTo>
                  <a:pt x="2232502" y="5658166"/>
                  <a:pt x="2229562" y="5667561"/>
                  <a:pt x="2225451" y="5675782"/>
                </a:cubicBezTo>
                <a:lnTo>
                  <a:pt x="2221931" y="5678889"/>
                </a:lnTo>
                <a:lnTo>
                  <a:pt x="2221931" y="5679305"/>
                </a:lnTo>
                <a:lnTo>
                  <a:pt x="2220695" y="5679978"/>
                </a:lnTo>
                <a:lnTo>
                  <a:pt x="2205488" y="5693398"/>
                </a:lnTo>
                <a:lnTo>
                  <a:pt x="2208662" y="5687343"/>
                </a:lnTo>
                <a:lnTo>
                  <a:pt x="2200796" y="5693398"/>
                </a:lnTo>
                <a:cubicBezTo>
                  <a:pt x="2207838" y="5674607"/>
                  <a:pt x="2207838" y="5674607"/>
                  <a:pt x="2212538" y="5655817"/>
                </a:cubicBezTo>
                <a:cubicBezTo>
                  <a:pt x="2214888" y="5658166"/>
                  <a:pt x="2214888" y="5662863"/>
                  <a:pt x="2217234" y="5667561"/>
                </a:cubicBezTo>
                <a:cubicBezTo>
                  <a:pt x="2214888" y="5669910"/>
                  <a:pt x="2212538" y="5672258"/>
                  <a:pt x="2212538" y="5674607"/>
                </a:cubicBezTo>
                <a:lnTo>
                  <a:pt x="2214376" y="5676447"/>
                </a:lnTo>
                <a:lnTo>
                  <a:pt x="2218112" y="5669323"/>
                </a:lnTo>
                <a:cubicBezTo>
                  <a:pt x="2223103" y="5661689"/>
                  <a:pt x="2227802" y="5653469"/>
                  <a:pt x="2228975" y="5641725"/>
                </a:cubicBezTo>
                <a:cubicBezTo>
                  <a:pt x="2219580" y="5646422"/>
                  <a:pt x="2212533" y="5651120"/>
                  <a:pt x="2207838" y="5658166"/>
                </a:cubicBezTo>
                <a:cubicBezTo>
                  <a:pt x="2207838" y="5651120"/>
                  <a:pt x="2210188" y="5644073"/>
                  <a:pt x="2210188" y="5637027"/>
                </a:cubicBezTo>
                <a:cubicBezTo>
                  <a:pt x="2219580" y="5632330"/>
                  <a:pt x="2226626" y="5629981"/>
                  <a:pt x="2226626" y="5618237"/>
                </a:cubicBezTo>
                <a:cubicBezTo>
                  <a:pt x="2224281" y="5611191"/>
                  <a:pt x="2219580" y="5622935"/>
                  <a:pt x="2212533" y="5622935"/>
                </a:cubicBezTo>
                <a:cubicBezTo>
                  <a:pt x="2219580" y="5615888"/>
                  <a:pt x="2231324" y="5601795"/>
                  <a:pt x="2238373" y="5611191"/>
                </a:cubicBezTo>
                <a:cubicBezTo>
                  <a:pt x="2247762" y="5606493"/>
                  <a:pt x="2243064" y="5601795"/>
                  <a:pt x="2243064" y="5590051"/>
                </a:cubicBezTo>
                <a:cubicBezTo>
                  <a:pt x="2250111" y="5594749"/>
                  <a:pt x="2264203" y="5587703"/>
                  <a:pt x="2266552" y="5580657"/>
                </a:cubicBezTo>
                <a:cubicBezTo>
                  <a:pt x="2259506" y="5571261"/>
                  <a:pt x="2250111" y="5592400"/>
                  <a:pt x="2240723" y="5583005"/>
                </a:cubicBezTo>
                <a:cubicBezTo>
                  <a:pt x="2250111" y="5571261"/>
                  <a:pt x="2266552" y="5566564"/>
                  <a:pt x="2282994" y="5561866"/>
                </a:cubicBezTo>
                <a:cubicBezTo>
                  <a:pt x="2282994" y="5566564"/>
                  <a:pt x="2278296" y="5566564"/>
                  <a:pt x="2278296" y="5573610"/>
                </a:cubicBezTo>
                <a:cubicBezTo>
                  <a:pt x="2284168" y="5568913"/>
                  <a:pt x="2285930" y="5563628"/>
                  <a:pt x="2287398" y="5558343"/>
                </a:cubicBezTo>
                <a:lnTo>
                  <a:pt x="2289359" y="5554263"/>
                </a:lnTo>
                <a:lnTo>
                  <a:pt x="2280645" y="5557167"/>
                </a:lnTo>
                <a:lnTo>
                  <a:pt x="2288474" y="5545425"/>
                </a:lnTo>
                <a:lnTo>
                  <a:pt x="2275947" y="5550122"/>
                </a:lnTo>
                <a:cubicBezTo>
                  <a:pt x="2280645" y="5545425"/>
                  <a:pt x="2282994" y="5543076"/>
                  <a:pt x="2285342" y="5538378"/>
                </a:cubicBezTo>
                <a:cubicBezTo>
                  <a:pt x="2297086" y="5536029"/>
                  <a:pt x="2308830" y="5531332"/>
                  <a:pt x="2315877" y="5519588"/>
                </a:cubicBezTo>
                <a:cubicBezTo>
                  <a:pt x="2311179" y="5519588"/>
                  <a:pt x="2301785" y="5521937"/>
                  <a:pt x="2294738" y="5521937"/>
                </a:cubicBezTo>
                <a:cubicBezTo>
                  <a:pt x="2297086" y="5517240"/>
                  <a:pt x="2299435" y="5512542"/>
                  <a:pt x="2301785" y="5507844"/>
                </a:cubicBezTo>
                <a:cubicBezTo>
                  <a:pt x="2308830" y="5507844"/>
                  <a:pt x="2318225" y="5505496"/>
                  <a:pt x="2325272" y="5507844"/>
                </a:cubicBezTo>
                <a:cubicBezTo>
                  <a:pt x="2329969" y="5505496"/>
                  <a:pt x="2334667" y="5500798"/>
                  <a:pt x="2337016" y="5493752"/>
                </a:cubicBezTo>
                <a:cubicBezTo>
                  <a:pt x="2327620" y="5493752"/>
                  <a:pt x="2315877" y="5496100"/>
                  <a:pt x="2306481" y="5496100"/>
                </a:cubicBezTo>
                <a:cubicBezTo>
                  <a:pt x="2308830" y="5486705"/>
                  <a:pt x="2311179" y="5479659"/>
                  <a:pt x="2313529" y="5472613"/>
                </a:cubicBezTo>
                <a:cubicBezTo>
                  <a:pt x="2325272" y="5470264"/>
                  <a:pt x="2334667" y="5465566"/>
                  <a:pt x="2344062" y="5460869"/>
                </a:cubicBezTo>
                <a:cubicBezTo>
                  <a:pt x="2339365" y="5451474"/>
                  <a:pt x="2332318" y="5460869"/>
                  <a:pt x="2320574" y="5458520"/>
                </a:cubicBezTo>
                <a:cubicBezTo>
                  <a:pt x="2322923" y="5456171"/>
                  <a:pt x="2320574" y="5449125"/>
                  <a:pt x="2318225" y="5449125"/>
                </a:cubicBezTo>
                <a:cubicBezTo>
                  <a:pt x="2318225" y="5449125"/>
                  <a:pt x="2318225" y="5446776"/>
                  <a:pt x="2318225" y="5446776"/>
                </a:cubicBezTo>
                <a:cubicBezTo>
                  <a:pt x="2329969" y="5439730"/>
                  <a:pt x="2369898" y="5446776"/>
                  <a:pt x="2379293" y="5435032"/>
                </a:cubicBezTo>
                <a:cubicBezTo>
                  <a:pt x="2362852" y="5437381"/>
                  <a:pt x="2341713" y="5437381"/>
                  <a:pt x="2320574" y="5437381"/>
                </a:cubicBezTo>
                <a:cubicBezTo>
                  <a:pt x="2320574" y="5430334"/>
                  <a:pt x="2320574" y="5423288"/>
                  <a:pt x="2320574" y="5416242"/>
                </a:cubicBezTo>
                <a:cubicBezTo>
                  <a:pt x="2325272" y="5413893"/>
                  <a:pt x="2329969" y="5413893"/>
                  <a:pt x="2332318" y="5413893"/>
                </a:cubicBezTo>
                <a:cubicBezTo>
                  <a:pt x="2327620" y="5413893"/>
                  <a:pt x="2325272" y="5411545"/>
                  <a:pt x="2320574" y="5411545"/>
                </a:cubicBezTo>
                <a:cubicBezTo>
                  <a:pt x="2320574" y="5406847"/>
                  <a:pt x="2318225" y="5402149"/>
                  <a:pt x="2318225" y="5397452"/>
                </a:cubicBezTo>
                <a:cubicBezTo>
                  <a:pt x="2334667" y="5397452"/>
                  <a:pt x="2348759" y="5397452"/>
                  <a:pt x="2358156" y="5392754"/>
                </a:cubicBezTo>
                <a:cubicBezTo>
                  <a:pt x="2348759" y="5392754"/>
                  <a:pt x="2332318" y="5392754"/>
                  <a:pt x="2318225" y="5392754"/>
                </a:cubicBezTo>
                <a:cubicBezTo>
                  <a:pt x="2315877" y="5388057"/>
                  <a:pt x="2313529" y="5381010"/>
                  <a:pt x="2311179" y="5373964"/>
                </a:cubicBezTo>
                <a:cubicBezTo>
                  <a:pt x="2337016" y="5371615"/>
                  <a:pt x="2365201" y="5369266"/>
                  <a:pt x="2395735" y="5369266"/>
                </a:cubicBezTo>
                <a:cubicBezTo>
                  <a:pt x="2372247" y="5359871"/>
                  <a:pt x="2339365" y="5359871"/>
                  <a:pt x="2304133" y="5362220"/>
                </a:cubicBezTo>
                <a:cubicBezTo>
                  <a:pt x="2299435" y="5355174"/>
                  <a:pt x="2294738" y="5350476"/>
                  <a:pt x="2290040" y="5343430"/>
                </a:cubicBezTo>
                <a:cubicBezTo>
                  <a:pt x="2346412" y="5341081"/>
                  <a:pt x="2405130" y="5317593"/>
                  <a:pt x="2468547" y="5324639"/>
                </a:cubicBezTo>
                <a:cubicBezTo>
                  <a:pt x="2470896" y="5319942"/>
                  <a:pt x="2475594" y="5317593"/>
                  <a:pt x="2477942" y="5310547"/>
                </a:cubicBezTo>
                <a:cubicBezTo>
                  <a:pt x="2419223" y="5322291"/>
                  <a:pt x="2325272" y="5303501"/>
                  <a:pt x="2280645" y="5334035"/>
                </a:cubicBezTo>
                <a:cubicBezTo>
                  <a:pt x="2280645" y="5334035"/>
                  <a:pt x="2278296" y="5331686"/>
                  <a:pt x="2278296" y="5331686"/>
                </a:cubicBezTo>
                <a:cubicBezTo>
                  <a:pt x="2268902" y="5348127"/>
                  <a:pt x="2252460" y="5343430"/>
                  <a:pt x="2236023" y="5338732"/>
                </a:cubicBezTo>
                <a:cubicBezTo>
                  <a:pt x="2247762" y="5324639"/>
                  <a:pt x="2266552" y="5308198"/>
                  <a:pt x="2292389" y="5310547"/>
                </a:cubicBezTo>
                <a:cubicBezTo>
                  <a:pt x="2282994" y="5291757"/>
                  <a:pt x="2259506" y="5312896"/>
                  <a:pt x="2243064" y="5315244"/>
                </a:cubicBezTo>
                <a:cubicBezTo>
                  <a:pt x="2245413" y="5312896"/>
                  <a:pt x="2247762" y="5312896"/>
                  <a:pt x="2250111" y="5310547"/>
                </a:cubicBezTo>
                <a:cubicBezTo>
                  <a:pt x="2245413" y="5303501"/>
                  <a:pt x="2240723" y="5308198"/>
                  <a:pt x="2231324" y="5308198"/>
                </a:cubicBezTo>
                <a:cubicBezTo>
                  <a:pt x="2259506" y="5296454"/>
                  <a:pt x="2297086" y="5284710"/>
                  <a:pt x="2315877" y="5272966"/>
                </a:cubicBezTo>
                <a:cubicBezTo>
                  <a:pt x="2264203" y="5272966"/>
                  <a:pt x="2217231" y="5298803"/>
                  <a:pt x="2179653" y="5319942"/>
                </a:cubicBezTo>
                <a:cubicBezTo>
                  <a:pt x="2170255" y="5315244"/>
                  <a:pt x="2186697" y="5315244"/>
                  <a:pt x="2186697" y="5310547"/>
                </a:cubicBezTo>
                <a:cubicBezTo>
                  <a:pt x="2177302" y="5305849"/>
                  <a:pt x="2172604" y="5310547"/>
                  <a:pt x="2163210" y="5310547"/>
                </a:cubicBezTo>
                <a:cubicBezTo>
                  <a:pt x="2165560" y="5298803"/>
                  <a:pt x="2186697" y="5303501"/>
                  <a:pt x="2196095" y="5296454"/>
                </a:cubicBezTo>
                <a:cubicBezTo>
                  <a:pt x="2198441" y="5289408"/>
                  <a:pt x="2191395" y="5289408"/>
                  <a:pt x="2186697" y="5289408"/>
                </a:cubicBezTo>
                <a:cubicBezTo>
                  <a:pt x="2273598" y="5268269"/>
                  <a:pt x="2362852" y="5225991"/>
                  <a:pt x="2414525" y="5157876"/>
                </a:cubicBezTo>
                <a:cubicBezTo>
                  <a:pt x="2400433" y="5157876"/>
                  <a:pt x="2383992" y="5162574"/>
                  <a:pt x="2369898" y="5167271"/>
                </a:cubicBezTo>
                <a:cubicBezTo>
                  <a:pt x="2374596" y="5153179"/>
                  <a:pt x="2376945" y="5141435"/>
                  <a:pt x="2360503" y="5136737"/>
                </a:cubicBezTo>
                <a:cubicBezTo>
                  <a:pt x="2351108" y="5141435"/>
                  <a:pt x="2346412" y="5148481"/>
                  <a:pt x="2341713" y="5162574"/>
                </a:cubicBezTo>
                <a:cubicBezTo>
                  <a:pt x="2346412" y="5164923"/>
                  <a:pt x="2353457" y="5167271"/>
                  <a:pt x="2358156" y="5169620"/>
                </a:cubicBezTo>
                <a:cubicBezTo>
                  <a:pt x="2334667" y="5179015"/>
                  <a:pt x="2313529" y="5195457"/>
                  <a:pt x="2301785" y="5214247"/>
                </a:cubicBezTo>
                <a:cubicBezTo>
                  <a:pt x="2292389" y="5204852"/>
                  <a:pt x="2322923" y="5195457"/>
                  <a:pt x="2322923" y="5181364"/>
                </a:cubicBezTo>
                <a:cubicBezTo>
                  <a:pt x="2285342" y="5188411"/>
                  <a:pt x="2245413" y="5214247"/>
                  <a:pt x="2203138" y="5225991"/>
                </a:cubicBezTo>
                <a:cubicBezTo>
                  <a:pt x="2231324" y="5202503"/>
                  <a:pt x="2273598" y="5195457"/>
                  <a:pt x="2301785" y="5169620"/>
                </a:cubicBezTo>
                <a:lnTo>
                  <a:pt x="2307916" y="5171153"/>
                </a:lnTo>
                <a:lnTo>
                  <a:pt x="2314217" y="5167187"/>
                </a:lnTo>
                <a:lnTo>
                  <a:pt x="2322923" y="5153472"/>
                </a:lnTo>
                <a:cubicBezTo>
                  <a:pt x="2325859" y="5147894"/>
                  <a:pt x="2327620" y="5142609"/>
                  <a:pt x="2327620" y="5136737"/>
                </a:cubicBezTo>
                <a:cubicBezTo>
                  <a:pt x="2334667" y="5132040"/>
                  <a:pt x="2341713" y="5127342"/>
                  <a:pt x="2346412" y="5120296"/>
                </a:cubicBezTo>
                <a:cubicBezTo>
                  <a:pt x="2339365" y="5122645"/>
                  <a:pt x="2332318" y="5124993"/>
                  <a:pt x="2325272" y="5127342"/>
                </a:cubicBezTo>
                <a:lnTo>
                  <a:pt x="2322588" y="5120631"/>
                </a:lnTo>
                <a:lnTo>
                  <a:pt x="2320574" y="5122644"/>
                </a:lnTo>
                <a:cubicBezTo>
                  <a:pt x="2297087" y="5132039"/>
                  <a:pt x="2278297" y="5146132"/>
                  <a:pt x="2252460" y="5153179"/>
                </a:cubicBezTo>
                <a:lnTo>
                  <a:pt x="2317716" y="5116925"/>
                </a:lnTo>
                <a:lnTo>
                  <a:pt x="2312354" y="5119415"/>
                </a:lnTo>
                <a:cubicBezTo>
                  <a:pt x="2309418" y="5117947"/>
                  <a:pt x="2306482" y="5114424"/>
                  <a:pt x="2304133" y="5110901"/>
                </a:cubicBezTo>
                <a:cubicBezTo>
                  <a:pt x="2337016" y="5096808"/>
                  <a:pt x="2372247" y="5085064"/>
                  <a:pt x="2405130" y="5070972"/>
                </a:cubicBezTo>
                <a:cubicBezTo>
                  <a:pt x="2423920" y="5080367"/>
                  <a:pt x="2438013" y="5068623"/>
                  <a:pt x="2438013" y="5054530"/>
                </a:cubicBezTo>
                <a:cubicBezTo>
                  <a:pt x="2459152" y="5042786"/>
                  <a:pt x="2477942" y="5028694"/>
                  <a:pt x="2501430" y="5016950"/>
                </a:cubicBezTo>
                <a:cubicBezTo>
                  <a:pt x="2516697" y="5009903"/>
                  <a:pt x="2532552" y="5005205"/>
                  <a:pt x="2548112" y="5000214"/>
                </a:cubicBezTo>
                <a:lnTo>
                  <a:pt x="2591574" y="4982318"/>
                </a:lnTo>
                <a:lnTo>
                  <a:pt x="2592950" y="4982101"/>
                </a:lnTo>
                <a:lnTo>
                  <a:pt x="2590097" y="4995223"/>
                </a:lnTo>
                <a:lnTo>
                  <a:pt x="2595467" y="5002246"/>
                </a:lnTo>
                <a:lnTo>
                  <a:pt x="2592739" y="5002563"/>
                </a:lnTo>
                <a:cubicBezTo>
                  <a:pt x="2581289" y="5005205"/>
                  <a:pt x="2571894" y="5009903"/>
                  <a:pt x="2567196" y="5019298"/>
                </a:cubicBezTo>
                <a:cubicBezTo>
                  <a:pt x="2588336" y="5012252"/>
                  <a:pt x="2616520" y="5012252"/>
                  <a:pt x="2630613" y="4998159"/>
                </a:cubicBezTo>
                <a:lnTo>
                  <a:pt x="2602485" y="5001430"/>
                </a:lnTo>
                <a:lnTo>
                  <a:pt x="2607714" y="4997278"/>
                </a:lnTo>
                <a:cubicBezTo>
                  <a:pt x="2610649" y="4994636"/>
                  <a:pt x="2612998" y="4991113"/>
                  <a:pt x="2614172" y="4984067"/>
                </a:cubicBezTo>
                <a:cubicBezTo>
                  <a:pt x="2609474" y="4981718"/>
                  <a:pt x="2602427" y="4979369"/>
                  <a:pt x="2597730" y="4977020"/>
                </a:cubicBezTo>
                <a:cubicBezTo>
                  <a:pt x="2595381" y="4979369"/>
                  <a:pt x="2595381" y="4979369"/>
                  <a:pt x="2595381" y="4981718"/>
                </a:cubicBezTo>
                <a:lnTo>
                  <a:pt x="2592950" y="4982101"/>
                </a:lnTo>
                <a:lnTo>
                  <a:pt x="2593033" y="4981718"/>
                </a:lnTo>
                <a:lnTo>
                  <a:pt x="2591574" y="4982318"/>
                </a:lnTo>
                <a:lnTo>
                  <a:pt x="2554682" y="4988140"/>
                </a:lnTo>
                <a:cubicBezTo>
                  <a:pt x="2515377" y="4998600"/>
                  <a:pt x="2479704" y="5019298"/>
                  <a:pt x="2442711" y="5033391"/>
                </a:cubicBezTo>
                <a:cubicBezTo>
                  <a:pt x="2376945" y="5056879"/>
                  <a:pt x="2315877" y="5085064"/>
                  <a:pt x="2264203" y="5120296"/>
                </a:cubicBezTo>
                <a:cubicBezTo>
                  <a:pt x="2259506" y="5108552"/>
                  <a:pt x="2287691" y="5108552"/>
                  <a:pt x="2290040" y="5096808"/>
                </a:cubicBezTo>
                <a:cubicBezTo>
                  <a:pt x="2273598" y="5096808"/>
                  <a:pt x="2264203" y="5103854"/>
                  <a:pt x="2250111" y="5106203"/>
                </a:cubicBezTo>
                <a:cubicBezTo>
                  <a:pt x="2275947" y="5087413"/>
                  <a:pt x="2311179" y="5078018"/>
                  <a:pt x="2339365" y="5061576"/>
                </a:cubicBezTo>
                <a:cubicBezTo>
                  <a:pt x="2379293" y="5031042"/>
                  <a:pt x="2433315" y="5007554"/>
                  <a:pt x="2492035" y="4986415"/>
                </a:cubicBezTo>
                <a:lnTo>
                  <a:pt x="2494384" y="4977020"/>
                </a:lnTo>
                <a:lnTo>
                  <a:pt x="2503779" y="4977020"/>
                </a:lnTo>
                <a:cubicBezTo>
                  <a:pt x="2503779" y="4977020"/>
                  <a:pt x="2506128" y="4977020"/>
                  <a:pt x="2508476" y="4979369"/>
                </a:cubicBezTo>
                <a:cubicBezTo>
                  <a:pt x="2520220" y="4974672"/>
                  <a:pt x="2534313" y="4969974"/>
                  <a:pt x="2546057" y="4965277"/>
                </a:cubicBezTo>
                <a:lnTo>
                  <a:pt x="2543709" y="4962928"/>
                </a:lnTo>
                <a:lnTo>
                  <a:pt x="2539011" y="4953533"/>
                </a:lnTo>
                <a:lnTo>
                  <a:pt x="2546057" y="4948835"/>
                </a:lnTo>
                <a:lnTo>
                  <a:pt x="2550754" y="4953533"/>
                </a:lnTo>
                <a:lnTo>
                  <a:pt x="2550754" y="4962928"/>
                </a:lnTo>
                <a:lnTo>
                  <a:pt x="2548406" y="4965277"/>
                </a:lnTo>
                <a:cubicBezTo>
                  <a:pt x="2567196" y="4958230"/>
                  <a:pt x="2583637" y="4953533"/>
                  <a:pt x="2602427" y="4946486"/>
                </a:cubicBezTo>
                <a:cubicBezTo>
                  <a:pt x="2597730" y="4939440"/>
                  <a:pt x="2595381" y="4932393"/>
                  <a:pt x="2593033" y="4925347"/>
                </a:cubicBezTo>
                <a:cubicBezTo>
                  <a:pt x="2578940" y="4927696"/>
                  <a:pt x="2562498" y="4930045"/>
                  <a:pt x="2548406" y="4934742"/>
                </a:cubicBezTo>
                <a:cubicBezTo>
                  <a:pt x="2520220" y="4941789"/>
                  <a:pt x="2489686" y="4948835"/>
                  <a:pt x="2463850" y="4958230"/>
                </a:cubicBezTo>
                <a:cubicBezTo>
                  <a:pt x="2456803" y="4960579"/>
                  <a:pt x="2447408" y="4965277"/>
                  <a:pt x="2438013" y="4969974"/>
                </a:cubicBezTo>
                <a:cubicBezTo>
                  <a:pt x="2449757" y="4958230"/>
                  <a:pt x="2459152" y="4946486"/>
                  <a:pt x="2461501" y="4932393"/>
                </a:cubicBezTo>
                <a:cubicBezTo>
                  <a:pt x="2468547" y="4927696"/>
                  <a:pt x="2473246" y="4922998"/>
                  <a:pt x="2480291" y="4915952"/>
                </a:cubicBezTo>
                <a:lnTo>
                  <a:pt x="2477942" y="4911255"/>
                </a:lnTo>
                <a:cubicBezTo>
                  <a:pt x="2473246" y="4913603"/>
                  <a:pt x="2466198" y="4915952"/>
                  <a:pt x="2461501" y="4920650"/>
                </a:cubicBezTo>
                <a:cubicBezTo>
                  <a:pt x="2461501" y="4918301"/>
                  <a:pt x="2461501" y="4918301"/>
                  <a:pt x="2461501" y="4915952"/>
                </a:cubicBezTo>
                <a:cubicBezTo>
                  <a:pt x="2454455" y="4918301"/>
                  <a:pt x="2449757" y="4915952"/>
                  <a:pt x="2445059" y="4913603"/>
                </a:cubicBezTo>
                <a:cubicBezTo>
                  <a:pt x="2466198" y="4897162"/>
                  <a:pt x="2487337" y="4880720"/>
                  <a:pt x="2506128" y="4861930"/>
                </a:cubicBezTo>
                <a:lnTo>
                  <a:pt x="2496732" y="4854884"/>
                </a:lnTo>
                <a:cubicBezTo>
                  <a:pt x="2496732" y="4854884"/>
                  <a:pt x="2496732" y="4852535"/>
                  <a:pt x="2496732" y="4852535"/>
                </a:cubicBezTo>
                <a:cubicBezTo>
                  <a:pt x="2470896" y="4866628"/>
                  <a:pt x="2447408" y="4885418"/>
                  <a:pt x="2426269" y="4906557"/>
                </a:cubicBezTo>
                <a:cubicBezTo>
                  <a:pt x="2423920" y="4906557"/>
                  <a:pt x="2421572" y="4906557"/>
                  <a:pt x="2419223" y="4906557"/>
                </a:cubicBezTo>
                <a:cubicBezTo>
                  <a:pt x="2416874" y="4906557"/>
                  <a:pt x="2414525" y="4908906"/>
                  <a:pt x="2412176" y="4911255"/>
                </a:cubicBezTo>
                <a:cubicBezTo>
                  <a:pt x="2433315" y="4892464"/>
                  <a:pt x="2456803" y="4873674"/>
                  <a:pt x="2480291" y="4852535"/>
                </a:cubicBezTo>
                <a:cubicBezTo>
                  <a:pt x="2496732" y="4838442"/>
                  <a:pt x="2510825" y="4826698"/>
                  <a:pt x="2524918" y="4814955"/>
                </a:cubicBezTo>
                <a:lnTo>
                  <a:pt x="2520220" y="4814955"/>
                </a:lnTo>
                <a:lnTo>
                  <a:pt x="2517871" y="4812606"/>
                </a:lnTo>
                <a:lnTo>
                  <a:pt x="2520220" y="4807908"/>
                </a:lnTo>
                <a:lnTo>
                  <a:pt x="2529615" y="4807908"/>
                </a:lnTo>
                <a:lnTo>
                  <a:pt x="2531964" y="4810257"/>
                </a:lnTo>
                <a:cubicBezTo>
                  <a:pt x="2548406" y="4798513"/>
                  <a:pt x="2564847" y="4789118"/>
                  <a:pt x="2583637" y="4782072"/>
                </a:cubicBezTo>
                <a:cubicBezTo>
                  <a:pt x="2581289" y="4782072"/>
                  <a:pt x="2581289" y="4779723"/>
                  <a:pt x="2581289" y="4779723"/>
                </a:cubicBezTo>
                <a:cubicBezTo>
                  <a:pt x="2492035" y="4777374"/>
                  <a:pt x="2447408" y="4861930"/>
                  <a:pt x="2393386" y="4908906"/>
                </a:cubicBezTo>
                <a:cubicBezTo>
                  <a:pt x="2405130" y="4880720"/>
                  <a:pt x="2433315" y="4857233"/>
                  <a:pt x="2459152" y="4833745"/>
                </a:cubicBezTo>
                <a:lnTo>
                  <a:pt x="2499314" y="4796396"/>
                </a:lnTo>
                <a:lnTo>
                  <a:pt x="2494384" y="4791466"/>
                </a:lnTo>
                <a:lnTo>
                  <a:pt x="2501430" y="4786768"/>
                </a:lnTo>
                <a:lnTo>
                  <a:pt x="2505417" y="4790755"/>
                </a:lnTo>
                <a:lnTo>
                  <a:pt x="2531489" y="4771649"/>
                </a:lnTo>
                <a:cubicBezTo>
                  <a:pt x="2540626" y="4766071"/>
                  <a:pt x="2550169" y="4761520"/>
                  <a:pt x="2560150" y="4758584"/>
                </a:cubicBezTo>
                <a:cubicBezTo>
                  <a:pt x="2562498" y="4758584"/>
                  <a:pt x="2564847" y="4756235"/>
                  <a:pt x="2567196" y="4756235"/>
                </a:cubicBezTo>
                <a:cubicBezTo>
                  <a:pt x="2567196" y="4749189"/>
                  <a:pt x="2569545" y="4742143"/>
                  <a:pt x="2569545" y="4732747"/>
                </a:cubicBezTo>
                <a:cubicBezTo>
                  <a:pt x="2557801" y="4735096"/>
                  <a:pt x="2543709" y="4737445"/>
                  <a:pt x="2531964" y="4739794"/>
                </a:cubicBezTo>
                <a:cubicBezTo>
                  <a:pt x="2482640" y="4751538"/>
                  <a:pt x="2445059" y="4779723"/>
                  <a:pt x="2402781" y="4791467"/>
                </a:cubicBezTo>
                <a:cubicBezTo>
                  <a:pt x="2407479" y="4765630"/>
                  <a:pt x="2445059" y="4760933"/>
                  <a:pt x="2475594" y="4751538"/>
                </a:cubicBezTo>
                <a:cubicBezTo>
                  <a:pt x="2506128" y="4742143"/>
                  <a:pt x="2536662" y="4732747"/>
                  <a:pt x="2569545" y="4723352"/>
                </a:cubicBezTo>
                <a:cubicBezTo>
                  <a:pt x="2567196" y="4721003"/>
                  <a:pt x="2567196" y="4716306"/>
                  <a:pt x="2567196" y="4713957"/>
                </a:cubicBezTo>
                <a:cubicBezTo>
                  <a:pt x="2571893" y="4713957"/>
                  <a:pt x="2578940" y="4711608"/>
                  <a:pt x="2583637" y="4711608"/>
                </a:cubicBezTo>
                <a:cubicBezTo>
                  <a:pt x="2583637" y="4706911"/>
                  <a:pt x="2583637" y="4702213"/>
                  <a:pt x="2581289" y="4699865"/>
                </a:cubicBezTo>
                <a:lnTo>
                  <a:pt x="2512121" y="4721047"/>
                </a:lnTo>
                <a:lnTo>
                  <a:pt x="2597730" y="4688121"/>
                </a:lnTo>
                <a:cubicBezTo>
                  <a:pt x="2597730" y="4683423"/>
                  <a:pt x="2595381" y="4681074"/>
                  <a:pt x="2593033" y="4678725"/>
                </a:cubicBezTo>
                <a:cubicBezTo>
                  <a:pt x="2597730" y="4676377"/>
                  <a:pt x="2597730" y="4674028"/>
                  <a:pt x="2600079" y="4669330"/>
                </a:cubicBezTo>
                <a:cubicBezTo>
                  <a:pt x="2571894" y="4678138"/>
                  <a:pt x="2547672" y="4685624"/>
                  <a:pt x="2526423" y="4702690"/>
                </a:cubicBezTo>
                <a:lnTo>
                  <a:pt x="2506788" y="4722680"/>
                </a:lnTo>
                <a:lnTo>
                  <a:pt x="2487338" y="4728637"/>
                </a:lnTo>
                <a:cubicBezTo>
                  <a:pt x="2457391" y="4738619"/>
                  <a:pt x="2429793" y="4750363"/>
                  <a:pt x="2407479" y="4767979"/>
                </a:cubicBezTo>
                <a:cubicBezTo>
                  <a:pt x="2405130" y="4765630"/>
                  <a:pt x="2409828" y="4763281"/>
                  <a:pt x="2402781" y="4760933"/>
                </a:cubicBezTo>
                <a:cubicBezTo>
                  <a:pt x="2391037" y="4763281"/>
                  <a:pt x="2381642" y="4770328"/>
                  <a:pt x="2372247" y="4775025"/>
                </a:cubicBezTo>
                <a:lnTo>
                  <a:pt x="2369898" y="4779723"/>
                </a:lnTo>
                <a:lnTo>
                  <a:pt x="2365201" y="4784420"/>
                </a:lnTo>
                <a:lnTo>
                  <a:pt x="2360503" y="4782072"/>
                </a:lnTo>
                <a:cubicBezTo>
                  <a:pt x="2355806" y="4784420"/>
                  <a:pt x="2348759" y="4786769"/>
                  <a:pt x="2341713" y="4786769"/>
                </a:cubicBezTo>
                <a:cubicBezTo>
                  <a:pt x="2348759" y="4784420"/>
                  <a:pt x="2353457" y="4779723"/>
                  <a:pt x="2360503" y="4777374"/>
                </a:cubicBezTo>
                <a:lnTo>
                  <a:pt x="2362852" y="4772676"/>
                </a:lnTo>
                <a:lnTo>
                  <a:pt x="2367550" y="4767979"/>
                </a:lnTo>
                <a:lnTo>
                  <a:pt x="2372247" y="4770328"/>
                </a:lnTo>
                <a:cubicBezTo>
                  <a:pt x="2466198" y="4716306"/>
                  <a:pt x="2529615" y="4627052"/>
                  <a:pt x="2649403" y="4598867"/>
                </a:cubicBezTo>
                <a:cubicBezTo>
                  <a:pt x="2649403" y="4596518"/>
                  <a:pt x="2649403" y="4596518"/>
                  <a:pt x="2649403" y="4594169"/>
                </a:cubicBezTo>
                <a:cubicBezTo>
                  <a:pt x="2616520" y="4591820"/>
                  <a:pt x="2578940" y="4591820"/>
                  <a:pt x="2542240" y="4595931"/>
                </a:cubicBezTo>
                <a:lnTo>
                  <a:pt x="2489091" y="4605304"/>
                </a:lnTo>
                <a:lnTo>
                  <a:pt x="2483521" y="4604151"/>
                </a:lnTo>
                <a:cubicBezTo>
                  <a:pt x="2480291" y="4605326"/>
                  <a:pt x="2476768" y="4607087"/>
                  <a:pt x="2473246" y="4605913"/>
                </a:cubicBezTo>
                <a:cubicBezTo>
                  <a:pt x="2508476" y="4589472"/>
                  <a:pt x="2541359" y="4573030"/>
                  <a:pt x="2557801" y="4544845"/>
                </a:cubicBezTo>
                <a:cubicBezTo>
                  <a:pt x="2539011" y="4544845"/>
                  <a:pt x="2520220" y="4547194"/>
                  <a:pt x="2499082" y="4554240"/>
                </a:cubicBezTo>
                <a:cubicBezTo>
                  <a:pt x="2499082" y="4556589"/>
                  <a:pt x="2499082" y="4556589"/>
                  <a:pt x="2499082" y="4556589"/>
                </a:cubicBezTo>
                <a:cubicBezTo>
                  <a:pt x="2503779" y="4556589"/>
                  <a:pt x="2506128" y="4554240"/>
                  <a:pt x="2508476" y="4554240"/>
                </a:cubicBezTo>
                <a:cubicBezTo>
                  <a:pt x="2510825" y="4554240"/>
                  <a:pt x="2513174" y="4554240"/>
                  <a:pt x="2513174" y="4556589"/>
                </a:cubicBezTo>
                <a:cubicBezTo>
                  <a:pt x="2515523" y="4565984"/>
                  <a:pt x="2510825" y="4573030"/>
                  <a:pt x="2508476" y="4582426"/>
                </a:cubicBezTo>
                <a:cubicBezTo>
                  <a:pt x="2503779" y="4577728"/>
                  <a:pt x="2499082" y="4573030"/>
                  <a:pt x="2492035" y="4573030"/>
                </a:cubicBezTo>
                <a:cubicBezTo>
                  <a:pt x="2492035" y="4573030"/>
                  <a:pt x="2484989" y="4575379"/>
                  <a:pt x="2480291" y="4580077"/>
                </a:cubicBezTo>
                <a:lnTo>
                  <a:pt x="2473246" y="4596518"/>
                </a:lnTo>
                <a:lnTo>
                  <a:pt x="2473246" y="4605913"/>
                </a:lnTo>
                <a:lnTo>
                  <a:pt x="2473246" y="4610784"/>
                </a:lnTo>
                <a:lnTo>
                  <a:pt x="2440362" y="4622355"/>
                </a:lnTo>
                <a:lnTo>
                  <a:pt x="2435664" y="4688121"/>
                </a:lnTo>
                <a:cubicBezTo>
                  <a:pt x="2419223" y="4688121"/>
                  <a:pt x="2400433" y="4685772"/>
                  <a:pt x="2383992" y="4685772"/>
                </a:cubicBezTo>
                <a:cubicBezTo>
                  <a:pt x="2386340" y="4676377"/>
                  <a:pt x="2388689" y="4669330"/>
                  <a:pt x="2388689" y="4659935"/>
                </a:cubicBezTo>
                <a:cubicBezTo>
                  <a:pt x="2386340" y="4634099"/>
                  <a:pt x="2379293" y="4610611"/>
                  <a:pt x="2376945" y="4587123"/>
                </a:cubicBezTo>
                <a:cubicBezTo>
                  <a:pt x="2367550" y="4589472"/>
                  <a:pt x="2362852" y="4589472"/>
                  <a:pt x="2360503" y="4603564"/>
                </a:cubicBezTo>
                <a:cubicBezTo>
                  <a:pt x="2360503" y="4612960"/>
                  <a:pt x="2369898" y="4620006"/>
                  <a:pt x="2372247" y="4624704"/>
                </a:cubicBezTo>
                <a:cubicBezTo>
                  <a:pt x="2372247" y="4624704"/>
                  <a:pt x="2362852" y="4629401"/>
                  <a:pt x="2344062" y="4641145"/>
                </a:cubicBezTo>
                <a:lnTo>
                  <a:pt x="2327620" y="4603564"/>
                </a:lnTo>
                <a:cubicBezTo>
                  <a:pt x="2306481" y="4542496"/>
                  <a:pt x="2282994" y="4408616"/>
                  <a:pt x="2285342" y="4394523"/>
                </a:cubicBezTo>
                <a:cubicBezTo>
                  <a:pt x="2287691" y="4385128"/>
                  <a:pt x="2304133" y="4387477"/>
                  <a:pt x="2306481" y="4378082"/>
                </a:cubicBezTo>
                <a:cubicBezTo>
                  <a:pt x="2306481" y="4375733"/>
                  <a:pt x="2299435" y="4366338"/>
                  <a:pt x="2299435" y="4366338"/>
                </a:cubicBezTo>
                <a:cubicBezTo>
                  <a:pt x="2294738" y="4366338"/>
                  <a:pt x="2292389" y="4371035"/>
                  <a:pt x="2290040" y="4371035"/>
                </a:cubicBezTo>
                <a:cubicBezTo>
                  <a:pt x="2282994" y="4371035"/>
                  <a:pt x="2250111" y="4331106"/>
                  <a:pt x="2254808" y="4309967"/>
                </a:cubicBezTo>
                <a:cubicBezTo>
                  <a:pt x="2254808" y="4309967"/>
                  <a:pt x="2268902" y="4284131"/>
                  <a:pt x="2273598" y="4270038"/>
                </a:cubicBezTo>
                <a:lnTo>
                  <a:pt x="2287691" y="4309967"/>
                </a:lnTo>
                <a:cubicBezTo>
                  <a:pt x="2292389" y="4324060"/>
                  <a:pt x="2294738" y="4338152"/>
                  <a:pt x="2299435" y="4352245"/>
                </a:cubicBezTo>
                <a:cubicBezTo>
                  <a:pt x="2306481" y="4307619"/>
                  <a:pt x="2313529" y="4260643"/>
                  <a:pt x="2311179" y="4216016"/>
                </a:cubicBezTo>
                <a:cubicBezTo>
                  <a:pt x="2313529" y="4216016"/>
                  <a:pt x="2315877" y="4218365"/>
                  <a:pt x="2318225" y="4218365"/>
                </a:cubicBezTo>
                <a:cubicBezTo>
                  <a:pt x="2322923" y="4218365"/>
                  <a:pt x="2329969" y="4218365"/>
                  <a:pt x="2334667" y="4216016"/>
                </a:cubicBezTo>
                <a:cubicBezTo>
                  <a:pt x="2341713" y="4225411"/>
                  <a:pt x="2348759" y="4230109"/>
                  <a:pt x="2358156" y="4237155"/>
                </a:cubicBezTo>
                <a:cubicBezTo>
                  <a:pt x="2339365" y="4255945"/>
                  <a:pt x="2341713" y="4258294"/>
                  <a:pt x="2322923" y="4274735"/>
                </a:cubicBezTo>
                <a:cubicBezTo>
                  <a:pt x="2351108" y="4274735"/>
                  <a:pt x="2337016" y="4291177"/>
                  <a:pt x="2369898" y="4293526"/>
                </a:cubicBezTo>
                <a:cubicBezTo>
                  <a:pt x="2372247" y="4288828"/>
                  <a:pt x="2374596" y="4281782"/>
                  <a:pt x="2379293" y="4284131"/>
                </a:cubicBezTo>
                <a:cubicBezTo>
                  <a:pt x="2379293" y="4281782"/>
                  <a:pt x="2381642" y="4281782"/>
                  <a:pt x="2381642" y="4279433"/>
                </a:cubicBezTo>
                <a:cubicBezTo>
                  <a:pt x="2381642" y="4281782"/>
                  <a:pt x="2381642" y="4284131"/>
                  <a:pt x="2381642" y="4286479"/>
                </a:cubicBezTo>
                <a:cubicBezTo>
                  <a:pt x="2381642" y="4286479"/>
                  <a:pt x="2381642" y="4293526"/>
                  <a:pt x="2381642" y="4295875"/>
                </a:cubicBezTo>
                <a:lnTo>
                  <a:pt x="2383992" y="4298223"/>
                </a:lnTo>
                <a:lnTo>
                  <a:pt x="2393386" y="4298223"/>
                </a:lnTo>
                <a:lnTo>
                  <a:pt x="2393386" y="4260643"/>
                </a:lnTo>
                <a:cubicBezTo>
                  <a:pt x="2402781" y="4265340"/>
                  <a:pt x="2412176" y="4270038"/>
                  <a:pt x="2423920" y="4274735"/>
                </a:cubicBezTo>
                <a:cubicBezTo>
                  <a:pt x="2433315" y="4298223"/>
                  <a:pt x="2447408" y="4312316"/>
                  <a:pt x="2452106" y="4312316"/>
                </a:cubicBezTo>
                <a:cubicBezTo>
                  <a:pt x="2456803" y="4312316"/>
                  <a:pt x="2463850" y="4307619"/>
                  <a:pt x="2468547" y="4307619"/>
                </a:cubicBezTo>
                <a:cubicBezTo>
                  <a:pt x="2468547" y="4307619"/>
                  <a:pt x="2468547" y="4295875"/>
                  <a:pt x="2468547" y="4288828"/>
                </a:cubicBezTo>
                <a:lnTo>
                  <a:pt x="2473246" y="4288828"/>
                </a:lnTo>
                <a:cubicBezTo>
                  <a:pt x="2475594" y="4286479"/>
                  <a:pt x="2475594" y="4284131"/>
                  <a:pt x="2477942" y="4281782"/>
                </a:cubicBezTo>
                <a:cubicBezTo>
                  <a:pt x="2480291" y="4284131"/>
                  <a:pt x="2482640" y="4286479"/>
                  <a:pt x="2482640" y="4288828"/>
                </a:cubicBezTo>
                <a:cubicBezTo>
                  <a:pt x="2487337" y="4288828"/>
                  <a:pt x="2489686" y="4288828"/>
                  <a:pt x="2494384" y="4288828"/>
                </a:cubicBezTo>
                <a:cubicBezTo>
                  <a:pt x="2499082" y="4272387"/>
                  <a:pt x="2499082" y="4251248"/>
                  <a:pt x="2510825" y="4239504"/>
                </a:cubicBezTo>
                <a:cubicBezTo>
                  <a:pt x="2513174" y="4258294"/>
                  <a:pt x="2508476" y="4274735"/>
                  <a:pt x="2501430" y="4288828"/>
                </a:cubicBezTo>
                <a:cubicBezTo>
                  <a:pt x="2508476" y="4288828"/>
                  <a:pt x="2513174" y="4288828"/>
                  <a:pt x="2520220" y="4288828"/>
                </a:cubicBezTo>
                <a:lnTo>
                  <a:pt x="2529615" y="4305270"/>
                </a:lnTo>
                <a:lnTo>
                  <a:pt x="2531964" y="4302921"/>
                </a:lnTo>
                <a:lnTo>
                  <a:pt x="2534313" y="4300572"/>
                </a:lnTo>
                <a:cubicBezTo>
                  <a:pt x="2534313" y="4302921"/>
                  <a:pt x="2531964" y="4307619"/>
                  <a:pt x="2531964" y="4309967"/>
                </a:cubicBezTo>
                <a:lnTo>
                  <a:pt x="2534313" y="4312316"/>
                </a:lnTo>
                <a:cubicBezTo>
                  <a:pt x="2534313" y="4324060"/>
                  <a:pt x="2534313" y="4324060"/>
                  <a:pt x="2546057" y="4324060"/>
                </a:cubicBezTo>
                <a:cubicBezTo>
                  <a:pt x="2548406" y="4324060"/>
                  <a:pt x="2550754" y="4321711"/>
                  <a:pt x="2553103" y="4321711"/>
                </a:cubicBezTo>
                <a:cubicBezTo>
                  <a:pt x="2550754" y="4317014"/>
                  <a:pt x="2548406" y="4314665"/>
                  <a:pt x="2546057" y="4312316"/>
                </a:cubicBezTo>
                <a:cubicBezTo>
                  <a:pt x="2546057" y="4312316"/>
                  <a:pt x="2548406" y="4309967"/>
                  <a:pt x="2548406" y="4307619"/>
                </a:cubicBezTo>
                <a:cubicBezTo>
                  <a:pt x="2543709" y="4307619"/>
                  <a:pt x="2539011" y="4309967"/>
                  <a:pt x="2534313" y="4309967"/>
                </a:cubicBezTo>
                <a:cubicBezTo>
                  <a:pt x="2539011" y="4305270"/>
                  <a:pt x="2543709" y="4298223"/>
                  <a:pt x="2548406" y="4293526"/>
                </a:cubicBezTo>
                <a:lnTo>
                  <a:pt x="2546057" y="4286479"/>
                </a:lnTo>
                <a:cubicBezTo>
                  <a:pt x="2548406" y="4286479"/>
                  <a:pt x="2553103" y="4284131"/>
                  <a:pt x="2555452" y="4284131"/>
                </a:cubicBezTo>
                <a:cubicBezTo>
                  <a:pt x="2564847" y="4274735"/>
                  <a:pt x="2571893" y="4262992"/>
                  <a:pt x="2578940" y="4251248"/>
                </a:cubicBezTo>
                <a:cubicBezTo>
                  <a:pt x="2576591" y="4262992"/>
                  <a:pt x="2567196" y="4272387"/>
                  <a:pt x="2560150" y="4284131"/>
                </a:cubicBezTo>
                <a:cubicBezTo>
                  <a:pt x="2567196" y="4281782"/>
                  <a:pt x="2576591" y="4279433"/>
                  <a:pt x="2585986" y="4277084"/>
                </a:cubicBezTo>
                <a:cubicBezTo>
                  <a:pt x="2585986" y="4279433"/>
                  <a:pt x="2588336" y="4279433"/>
                  <a:pt x="2588336" y="4281782"/>
                </a:cubicBezTo>
                <a:cubicBezTo>
                  <a:pt x="2593033" y="4277084"/>
                  <a:pt x="2600079" y="4274735"/>
                  <a:pt x="2604776" y="4270038"/>
                </a:cubicBezTo>
                <a:cubicBezTo>
                  <a:pt x="2614172" y="4277084"/>
                  <a:pt x="2611823" y="4274735"/>
                  <a:pt x="2614172" y="4277084"/>
                </a:cubicBezTo>
                <a:cubicBezTo>
                  <a:pt x="2618869" y="4260643"/>
                  <a:pt x="2618869" y="4260643"/>
                  <a:pt x="2623567" y="4260643"/>
                </a:cubicBezTo>
                <a:cubicBezTo>
                  <a:pt x="2628264" y="4260643"/>
                  <a:pt x="2630613" y="4260643"/>
                  <a:pt x="2632963" y="4262992"/>
                </a:cubicBezTo>
                <a:cubicBezTo>
                  <a:pt x="2635310" y="4265340"/>
                  <a:pt x="2632963" y="4270038"/>
                  <a:pt x="2632963" y="4272387"/>
                </a:cubicBezTo>
                <a:cubicBezTo>
                  <a:pt x="2651752" y="4267689"/>
                  <a:pt x="2668193" y="4260643"/>
                  <a:pt x="2686984" y="4258294"/>
                </a:cubicBezTo>
                <a:cubicBezTo>
                  <a:pt x="2686984" y="4251248"/>
                  <a:pt x="2689332" y="4244201"/>
                  <a:pt x="2684635" y="4239504"/>
                </a:cubicBezTo>
                <a:cubicBezTo>
                  <a:pt x="2682286" y="4237155"/>
                  <a:pt x="2675240" y="4237155"/>
                  <a:pt x="2670543" y="4234806"/>
                </a:cubicBezTo>
                <a:cubicBezTo>
                  <a:pt x="2684635" y="4234806"/>
                  <a:pt x="2696379" y="4234806"/>
                  <a:pt x="2710471" y="4234806"/>
                </a:cubicBezTo>
                <a:cubicBezTo>
                  <a:pt x="2710471" y="4239504"/>
                  <a:pt x="2712820" y="4241853"/>
                  <a:pt x="2712820" y="4244201"/>
                </a:cubicBezTo>
                <a:cubicBezTo>
                  <a:pt x="2722215" y="4237155"/>
                  <a:pt x="2729262" y="4230109"/>
                  <a:pt x="2736308" y="4220713"/>
                </a:cubicBezTo>
                <a:cubicBezTo>
                  <a:pt x="2698728" y="4211318"/>
                  <a:pt x="2651752" y="4216016"/>
                  <a:pt x="2604776" y="4223062"/>
                </a:cubicBezTo>
                <a:cubicBezTo>
                  <a:pt x="2600079" y="4223062"/>
                  <a:pt x="2600079" y="4230109"/>
                  <a:pt x="2597730" y="4232457"/>
                </a:cubicBezTo>
                <a:cubicBezTo>
                  <a:pt x="2588336" y="4218365"/>
                  <a:pt x="2569545" y="4230109"/>
                  <a:pt x="2548406" y="4227760"/>
                </a:cubicBezTo>
                <a:cubicBezTo>
                  <a:pt x="2544883" y="4238329"/>
                  <a:pt x="2542534" y="4250660"/>
                  <a:pt x="2540185" y="4263579"/>
                </a:cubicBezTo>
                <a:lnTo>
                  <a:pt x="2531964" y="4302921"/>
                </a:lnTo>
                <a:lnTo>
                  <a:pt x="2533139" y="4248018"/>
                </a:lnTo>
                <a:cubicBezTo>
                  <a:pt x="2533726" y="4229521"/>
                  <a:pt x="2536662" y="4212492"/>
                  <a:pt x="2548406" y="4201923"/>
                </a:cubicBezTo>
                <a:cubicBezTo>
                  <a:pt x="2555452" y="4208970"/>
                  <a:pt x="2543709" y="4218365"/>
                  <a:pt x="2553103" y="4223062"/>
                </a:cubicBezTo>
                <a:cubicBezTo>
                  <a:pt x="2574242" y="4225411"/>
                  <a:pt x="2583637" y="4218365"/>
                  <a:pt x="2600079" y="4218365"/>
                </a:cubicBezTo>
                <a:cubicBezTo>
                  <a:pt x="2609474" y="4208970"/>
                  <a:pt x="2614172" y="4199575"/>
                  <a:pt x="2618869" y="4185482"/>
                </a:cubicBezTo>
                <a:cubicBezTo>
                  <a:pt x="2609474" y="4183133"/>
                  <a:pt x="2597730" y="4187831"/>
                  <a:pt x="2585986" y="4180784"/>
                </a:cubicBezTo>
                <a:cubicBezTo>
                  <a:pt x="2583637" y="4171389"/>
                  <a:pt x="2609474" y="4183133"/>
                  <a:pt x="2602427" y="4173738"/>
                </a:cubicBezTo>
                <a:cubicBezTo>
                  <a:pt x="2607125" y="4173738"/>
                  <a:pt x="2616520" y="4178436"/>
                  <a:pt x="2625916" y="4178436"/>
                </a:cubicBezTo>
                <a:cubicBezTo>
                  <a:pt x="2640008" y="4169040"/>
                  <a:pt x="2644706" y="4150250"/>
                  <a:pt x="2649403" y="4129111"/>
                </a:cubicBezTo>
                <a:cubicBezTo>
                  <a:pt x="2661147" y="4129111"/>
                  <a:pt x="2649403" y="4133809"/>
                  <a:pt x="2651752" y="4140855"/>
                </a:cubicBezTo>
                <a:cubicBezTo>
                  <a:pt x="2672891" y="4115018"/>
                  <a:pt x="2696379" y="4093879"/>
                  <a:pt x="2712820" y="4075089"/>
                </a:cubicBezTo>
                <a:cubicBezTo>
                  <a:pt x="2719866" y="4077438"/>
                  <a:pt x="2710471" y="4084484"/>
                  <a:pt x="2712820" y="4091530"/>
                </a:cubicBezTo>
                <a:cubicBezTo>
                  <a:pt x="2726913" y="4093879"/>
                  <a:pt x="2733959" y="4084484"/>
                  <a:pt x="2745703" y="4084484"/>
                </a:cubicBezTo>
                <a:cubicBezTo>
                  <a:pt x="2741006" y="4077438"/>
                  <a:pt x="2748053" y="4063345"/>
                  <a:pt x="2738657" y="4070392"/>
                </a:cubicBezTo>
                <a:cubicBezTo>
                  <a:pt x="2738657" y="4058648"/>
                  <a:pt x="2743354" y="4049253"/>
                  <a:pt x="2750401" y="4039857"/>
                </a:cubicBezTo>
                <a:cubicBezTo>
                  <a:pt x="2750401" y="4039857"/>
                  <a:pt x="2748053" y="4042206"/>
                  <a:pt x="2748053" y="4042206"/>
                </a:cubicBezTo>
                <a:lnTo>
                  <a:pt x="2736308" y="4042206"/>
                </a:lnTo>
                <a:cubicBezTo>
                  <a:pt x="2736308" y="4032811"/>
                  <a:pt x="2733959" y="4023416"/>
                  <a:pt x="2731610" y="4014021"/>
                </a:cubicBezTo>
                <a:cubicBezTo>
                  <a:pt x="2731610" y="4016370"/>
                  <a:pt x="2731610" y="4021067"/>
                  <a:pt x="2731610" y="4025765"/>
                </a:cubicBezTo>
                <a:cubicBezTo>
                  <a:pt x="2724564" y="4021067"/>
                  <a:pt x="2724564" y="4009323"/>
                  <a:pt x="2726913" y="3995231"/>
                </a:cubicBezTo>
                <a:cubicBezTo>
                  <a:pt x="2726913" y="3992882"/>
                  <a:pt x="2726913" y="3992882"/>
                  <a:pt x="2726913" y="3992882"/>
                </a:cubicBezTo>
                <a:cubicBezTo>
                  <a:pt x="2724564" y="3997579"/>
                  <a:pt x="2722215" y="4002277"/>
                  <a:pt x="2719866" y="4009323"/>
                </a:cubicBezTo>
                <a:cubicBezTo>
                  <a:pt x="2717518" y="4021067"/>
                  <a:pt x="2715170" y="4035160"/>
                  <a:pt x="2717518" y="4049253"/>
                </a:cubicBezTo>
                <a:cubicBezTo>
                  <a:pt x="2712820" y="4044555"/>
                  <a:pt x="2708123" y="4016370"/>
                  <a:pt x="2717518" y="3990533"/>
                </a:cubicBezTo>
                <a:cubicBezTo>
                  <a:pt x="2719866" y="3985835"/>
                  <a:pt x="2719866" y="3983487"/>
                  <a:pt x="2722215" y="3978789"/>
                </a:cubicBezTo>
                <a:cubicBezTo>
                  <a:pt x="2722215" y="3978789"/>
                  <a:pt x="2722215" y="3976440"/>
                  <a:pt x="2722215" y="3976440"/>
                </a:cubicBezTo>
                <a:lnTo>
                  <a:pt x="2724564" y="3976440"/>
                </a:lnTo>
                <a:cubicBezTo>
                  <a:pt x="2724564" y="3976440"/>
                  <a:pt x="2724564" y="3974092"/>
                  <a:pt x="2724564" y="3974092"/>
                </a:cubicBezTo>
                <a:lnTo>
                  <a:pt x="2722215" y="3967046"/>
                </a:lnTo>
                <a:lnTo>
                  <a:pt x="2715170" y="3967046"/>
                </a:lnTo>
                <a:cubicBezTo>
                  <a:pt x="2715170" y="3967046"/>
                  <a:pt x="2715170" y="3964697"/>
                  <a:pt x="2715170" y="3964697"/>
                </a:cubicBezTo>
                <a:cubicBezTo>
                  <a:pt x="2712820" y="3976440"/>
                  <a:pt x="2712820" y="3988184"/>
                  <a:pt x="2712820" y="4002277"/>
                </a:cubicBezTo>
                <a:cubicBezTo>
                  <a:pt x="2705774" y="3992882"/>
                  <a:pt x="2698728" y="3981138"/>
                  <a:pt x="2705774" y="3967046"/>
                </a:cubicBezTo>
                <a:cubicBezTo>
                  <a:pt x="2703426" y="3957650"/>
                  <a:pt x="2701076" y="3971743"/>
                  <a:pt x="2694030" y="3969394"/>
                </a:cubicBezTo>
                <a:cubicBezTo>
                  <a:pt x="2696379" y="3952953"/>
                  <a:pt x="2698728" y="3941209"/>
                  <a:pt x="2701076" y="3931814"/>
                </a:cubicBezTo>
                <a:cubicBezTo>
                  <a:pt x="2698728" y="3927116"/>
                  <a:pt x="2696379" y="3924767"/>
                  <a:pt x="2694030" y="3920070"/>
                </a:cubicBezTo>
                <a:cubicBezTo>
                  <a:pt x="2691681" y="3929465"/>
                  <a:pt x="2691681" y="3938860"/>
                  <a:pt x="2694030" y="3945906"/>
                </a:cubicBezTo>
                <a:cubicBezTo>
                  <a:pt x="2686984" y="3938860"/>
                  <a:pt x="2684635" y="3945906"/>
                  <a:pt x="2684635" y="3952953"/>
                </a:cubicBezTo>
                <a:cubicBezTo>
                  <a:pt x="2696379" y="3976440"/>
                  <a:pt x="2705774" y="3999928"/>
                  <a:pt x="2710471" y="4025765"/>
                </a:cubicBezTo>
                <a:lnTo>
                  <a:pt x="2696379" y="4016370"/>
                </a:lnTo>
                <a:cubicBezTo>
                  <a:pt x="2696379" y="4016370"/>
                  <a:pt x="2694030" y="4014021"/>
                  <a:pt x="2694030" y="4014021"/>
                </a:cubicBezTo>
                <a:cubicBezTo>
                  <a:pt x="2675240" y="4044555"/>
                  <a:pt x="2672891" y="4042206"/>
                  <a:pt x="2668193" y="4039857"/>
                </a:cubicBezTo>
                <a:cubicBezTo>
                  <a:pt x="2668193" y="4039857"/>
                  <a:pt x="2661147" y="4030462"/>
                  <a:pt x="2656449" y="4025765"/>
                </a:cubicBezTo>
                <a:lnTo>
                  <a:pt x="2649403" y="4023416"/>
                </a:lnTo>
                <a:cubicBezTo>
                  <a:pt x="2649403" y="4028114"/>
                  <a:pt x="2647054" y="4030462"/>
                  <a:pt x="2647054" y="4035160"/>
                </a:cubicBezTo>
                <a:cubicBezTo>
                  <a:pt x="2647054" y="4030462"/>
                  <a:pt x="2647054" y="4028114"/>
                  <a:pt x="2647054" y="4023416"/>
                </a:cubicBezTo>
                <a:lnTo>
                  <a:pt x="2644706" y="4023416"/>
                </a:lnTo>
                <a:lnTo>
                  <a:pt x="2637659" y="4025765"/>
                </a:lnTo>
                <a:cubicBezTo>
                  <a:pt x="2637659" y="4030462"/>
                  <a:pt x="2635310" y="4035160"/>
                  <a:pt x="2635310" y="4039857"/>
                </a:cubicBezTo>
                <a:cubicBezTo>
                  <a:pt x="2635310" y="4035160"/>
                  <a:pt x="2635310" y="4030462"/>
                  <a:pt x="2635310" y="4025765"/>
                </a:cubicBezTo>
                <a:lnTo>
                  <a:pt x="2614172" y="4030462"/>
                </a:lnTo>
                <a:lnTo>
                  <a:pt x="2614172" y="4032811"/>
                </a:lnTo>
                <a:lnTo>
                  <a:pt x="2583637" y="4039857"/>
                </a:lnTo>
                <a:cubicBezTo>
                  <a:pt x="2583637" y="4046904"/>
                  <a:pt x="2585986" y="4056299"/>
                  <a:pt x="2588336" y="4063345"/>
                </a:cubicBezTo>
                <a:cubicBezTo>
                  <a:pt x="2585986" y="4056299"/>
                  <a:pt x="2583637" y="4046904"/>
                  <a:pt x="2581289" y="4039857"/>
                </a:cubicBezTo>
                <a:lnTo>
                  <a:pt x="2578940" y="4039857"/>
                </a:lnTo>
                <a:cubicBezTo>
                  <a:pt x="2569545" y="4044555"/>
                  <a:pt x="2564847" y="4056299"/>
                  <a:pt x="2553103" y="4058648"/>
                </a:cubicBezTo>
                <a:cubicBezTo>
                  <a:pt x="2548406" y="4058648"/>
                  <a:pt x="2543709" y="4051601"/>
                  <a:pt x="2536662" y="4051601"/>
                </a:cubicBezTo>
                <a:cubicBezTo>
                  <a:pt x="2527267" y="4051601"/>
                  <a:pt x="2517871" y="4051601"/>
                  <a:pt x="2513174" y="4058648"/>
                </a:cubicBezTo>
                <a:cubicBezTo>
                  <a:pt x="2508476" y="4065694"/>
                  <a:pt x="2520220" y="4075089"/>
                  <a:pt x="2520220" y="4084484"/>
                </a:cubicBezTo>
                <a:cubicBezTo>
                  <a:pt x="2520220" y="4084484"/>
                  <a:pt x="2513174" y="4100926"/>
                  <a:pt x="2510825" y="4110321"/>
                </a:cubicBezTo>
                <a:lnTo>
                  <a:pt x="2506128" y="4117367"/>
                </a:lnTo>
                <a:lnTo>
                  <a:pt x="2442711" y="4145552"/>
                </a:lnTo>
                <a:cubicBezTo>
                  <a:pt x="2442711" y="4152599"/>
                  <a:pt x="2438013" y="4159645"/>
                  <a:pt x="2440362" y="4166692"/>
                </a:cubicBezTo>
                <a:cubicBezTo>
                  <a:pt x="2445059" y="4180784"/>
                  <a:pt x="2454455" y="4190180"/>
                  <a:pt x="2459152" y="4201923"/>
                </a:cubicBezTo>
                <a:cubicBezTo>
                  <a:pt x="2454455" y="4199575"/>
                  <a:pt x="2452106" y="4201923"/>
                  <a:pt x="2449757" y="4199575"/>
                </a:cubicBezTo>
                <a:cubicBezTo>
                  <a:pt x="2445059" y="4197226"/>
                  <a:pt x="2445059" y="4190180"/>
                  <a:pt x="2440362" y="4187831"/>
                </a:cubicBezTo>
                <a:cubicBezTo>
                  <a:pt x="2430967" y="4183133"/>
                  <a:pt x="2426269" y="4194877"/>
                  <a:pt x="2426269" y="4199575"/>
                </a:cubicBezTo>
                <a:cubicBezTo>
                  <a:pt x="2426269" y="4208970"/>
                  <a:pt x="2438013" y="4213667"/>
                  <a:pt x="2440362" y="4223062"/>
                </a:cubicBezTo>
                <a:cubicBezTo>
                  <a:pt x="2440362" y="4225411"/>
                  <a:pt x="2440362" y="4227760"/>
                  <a:pt x="2440362" y="4230109"/>
                </a:cubicBezTo>
                <a:cubicBezTo>
                  <a:pt x="2428619" y="4223062"/>
                  <a:pt x="2421572" y="4213667"/>
                  <a:pt x="2416874" y="4206621"/>
                </a:cubicBezTo>
                <a:cubicBezTo>
                  <a:pt x="2412176" y="4201923"/>
                  <a:pt x="2409828" y="4197226"/>
                  <a:pt x="2407479" y="4192528"/>
                </a:cubicBezTo>
                <a:lnTo>
                  <a:pt x="2412176" y="4150250"/>
                </a:lnTo>
                <a:lnTo>
                  <a:pt x="2407479" y="4145552"/>
                </a:lnTo>
                <a:cubicBezTo>
                  <a:pt x="2407479" y="4145552"/>
                  <a:pt x="2400433" y="4152599"/>
                  <a:pt x="2393386" y="4159645"/>
                </a:cubicBezTo>
                <a:cubicBezTo>
                  <a:pt x="2386340" y="4138506"/>
                  <a:pt x="2386340" y="4119716"/>
                  <a:pt x="2388689" y="4105623"/>
                </a:cubicBezTo>
                <a:cubicBezTo>
                  <a:pt x="2393386" y="4084484"/>
                  <a:pt x="2405130" y="4072741"/>
                  <a:pt x="2421572" y="4058648"/>
                </a:cubicBezTo>
                <a:cubicBezTo>
                  <a:pt x="2456803" y="4032811"/>
                  <a:pt x="2501430" y="4016370"/>
                  <a:pt x="2543709" y="3995231"/>
                </a:cubicBezTo>
                <a:cubicBezTo>
                  <a:pt x="2520220" y="3981138"/>
                  <a:pt x="2492035" y="3967046"/>
                  <a:pt x="2456803" y="3964697"/>
                </a:cubicBezTo>
                <a:cubicBezTo>
                  <a:pt x="2456803" y="3967046"/>
                  <a:pt x="2456803" y="3969394"/>
                  <a:pt x="2456803" y="3971743"/>
                </a:cubicBezTo>
                <a:cubicBezTo>
                  <a:pt x="2454455" y="3969394"/>
                  <a:pt x="2452106" y="3967046"/>
                  <a:pt x="2452106" y="3964697"/>
                </a:cubicBezTo>
                <a:cubicBezTo>
                  <a:pt x="2430967" y="3964697"/>
                  <a:pt x="2407479" y="3967046"/>
                  <a:pt x="2379293" y="3976440"/>
                </a:cubicBezTo>
                <a:cubicBezTo>
                  <a:pt x="2341713" y="3990533"/>
                  <a:pt x="2294738" y="4032811"/>
                  <a:pt x="2292389" y="4096228"/>
                </a:cubicBezTo>
                <a:cubicBezTo>
                  <a:pt x="2292389" y="4098577"/>
                  <a:pt x="2292389" y="4098577"/>
                  <a:pt x="2292389" y="4100926"/>
                </a:cubicBezTo>
                <a:cubicBezTo>
                  <a:pt x="2285342" y="4077438"/>
                  <a:pt x="2290040" y="4086833"/>
                  <a:pt x="2266552" y="4065694"/>
                </a:cubicBezTo>
                <a:cubicBezTo>
                  <a:pt x="2266552" y="4075089"/>
                  <a:pt x="2264203" y="4086833"/>
                  <a:pt x="2261855" y="4098577"/>
                </a:cubicBezTo>
                <a:cubicBezTo>
                  <a:pt x="2259506" y="4110321"/>
                  <a:pt x="2264203" y="4124414"/>
                  <a:pt x="2254808" y="4133809"/>
                </a:cubicBezTo>
                <a:cubicBezTo>
                  <a:pt x="2252460" y="4136157"/>
                  <a:pt x="2247762" y="4136157"/>
                  <a:pt x="2245413" y="4136157"/>
                </a:cubicBezTo>
                <a:cubicBezTo>
                  <a:pt x="2245413" y="4136157"/>
                  <a:pt x="2228975" y="4133809"/>
                  <a:pt x="2219580" y="4133809"/>
                </a:cubicBezTo>
                <a:lnTo>
                  <a:pt x="2212533" y="4140855"/>
                </a:lnTo>
                <a:lnTo>
                  <a:pt x="2151467" y="4145552"/>
                </a:lnTo>
                <a:cubicBezTo>
                  <a:pt x="2153818" y="4131460"/>
                  <a:pt x="2156163" y="4117367"/>
                  <a:pt x="2158511" y="4103274"/>
                </a:cubicBezTo>
                <a:lnTo>
                  <a:pt x="2160860" y="4105623"/>
                </a:lnTo>
                <a:lnTo>
                  <a:pt x="2170255" y="4103274"/>
                </a:lnTo>
                <a:lnTo>
                  <a:pt x="2179653" y="4100926"/>
                </a:lnTo>
                <a:cubicBezTo>
                  <a:pt x="2179653" y="4100926"/>
                  <a:pt x="2182003" y="4098577"/>
                  <a:pt x="2184348" y="4096228"/>
                </a:cubicBezTo>
                <a:lnTo>
                  <a:pt x="2179653" y="4089182"/>
                </a:lnTo>
                <a:lnTo>
                  <a:pt x="2160860" y="4093879"/>
                </a:lnTo>
                <a:cubicBezTo>
                  <a:pt x="2179653" y="4011672"/>
                  <a:pt x="2231324" y="3927116"/>
                  <a:pt x="2320574" y="3882489"/>
                </a:cubicBezTo>
                <a:cubicBezTo>
                  <a:pt x="2346412" y="3870745"/>
                  <a:pt x="2372247" y="3859002"/>
                  <a:pt x="2400433" y="3851955"/>
                </a:cubicBezTo>
                <a:cubicBezTo>
                  <a:pt x="2398084" y="3844909"/>
                  <a:pt x="2395735" y="3840211"/>
                  <a:pt x="2391037" y="3835514"/>
                </a:cubicBezTo>
                <a:cubicBezTo>
                  <a:pt x="2391037" y="3830816"/>
                  <a:pt x="2393386" y="3823770"/>
                  <a:pt x="2393386" y="3819072"/>
                </a:cubicBezTo>
                <a:cubicBezTo>
                  <a:pt x="2360503" y="3826119"/>
                  <a:pt x="2327620" y="3837863"/>
                  <a:pt x="2297086" y="3851955"/>
                </a:cubicBezTo>
                <a:cubicBezTo>
                  <a:pt x="2224281" y="3884838"/>
                  <a:pt x="2172604" y="3943558"/>
                  <a:pt x="2137375" y="4006975"/>
                </a:cubicBezTo>
                <a:cubicBezTo>
                  <a:pt x="2139725" y="4009323"/>
                  <a:pt x="2142069" y="4011672"/>
                  <a:pt x="2144419" y="4016370"/>
                </a:cubicBezTo>
                <a:cubicBezTo>
                  <a:pt x="2144419" y="4009323"/>
                  <a:pt x="2137375" y="3997579"/>
                  <a:pt x="2149117" y="4004626"/>
                </a:cubicBezTo>
                <a:cubicBezTo>
                  <a:pt x="2153818" y="4011672"/>
                  <a:pt x="2151467" y="4021067"/>
                  <a:pt x="2156163" y="4028114"/>
                </a:cubicBezTo>
                <a:cubicBezTo>
                  <a:pt x="2142069" y="4018719"/>
                  <a:pt x="2158511" y="4018719"/>
                  <a:pt x="2144419" y="4011672"/>
                </a:cubicBezTo>
                <a:cubicBezTo>
                  <a:pt x="2142069" y="4014021"/>
                  <a:pt x="2146768" y="4018719"/>
                  <a:pt x="2146768" y="4023416"/>
                </a:cubicBezTo>
                <a:cubicBezTo>
                  <a:pt x="2144419" y="4016370"/>
                  <a:pt x="2139725" y="4014021"/>
                  <a:pt x="2137375" y="4011672"/>
                </a:cubicBezTo>
                <a:cubicBezTo>
                  <a:pt x="2132675" y="4018719"/>
                  <a:pt x="2127977" y="4028114"/>
                  <a:pt x="2125633" y="4035160"/>
                </a:cubicBezTo>
                <a:cubicBezTo>
                  <a:pt x="2125633" y="4042206"/>
                  <a:pt x="2125633" y="4046904"/>
                  <a:pt x="2125633" y="4051601"/>
                </a:cubicBezTo>
                <a:cubicBezTo>
                  <a:pt x="2120932" y="4056299"/>
                  <a:pt x="2120932" y="4044555"/>
                  <a:pt x="2118582" y="4053950"/>
                </a:cubicBezTo>
                <a:cubicBezTo>
                  <a:pt x="2120932" y="4070392"/>
                  <a:pt x="2118582" y="4049253"/>
                  <a:pt x="2116233" y="4072741"/>
                </a:cubicBezTo>
                <a:cubicBezTo>
                  <a:pt x="2115061" y="4075089"/>
                  <a:pt x="2115061" y="4072740"/>
                  <a:pt x="2115352" y="4069217"/>
                </a:cubicBezTo>
                <a:lnTo>
                  <a:pt x="2115565" y="4066700"/>
                </a:lnTo>
                <a:lnTo>
                  <a:pt x="2116233" y="4063345"/>
                </a:lnTo>
                <a:lnTo>
                  <a:pt x="2115685" y="4065278"/>
                </a:lnTo>
                <a:lnTo>
                  <a:pt x="2116233" y="4058648"/>
                </a:lnTo>
                <a:lnTo>
                  <a:pt x="2114891" y="4068039"/>
                </a:lnTo>
                <a:lnTo>
                  <a:pt x="2106840" y="4096228"/>
                </a:lnTo>
                <a:cubicBezTo>
                  <a:pt x="2083350" y="4194877"/>
                  <a:pt x="2090397" y="4286479"/>
                  <a:pt x="2106840" y="4366338"/>
                </a:cubicBezTo>
                <a:cubicBezTo>
                  <a:pt x="2111536" y="4389826"/>
                  <a:pt x="2118582" y="4410965"/>
                  <a:pt x="2125633" y="4432104"/>
                </a:cubicBezTo>
                <a:lnTo>
                  <a:pt x="2123282" y="4434452"/>
                </a:lnTo>
                <a:cubicBezTo>
                  <a:pt x="2123282" y="4434452"/>
                  <a:pt x="2125633" y="4436801"/>
                  <a:pt x="2125633" y="4436801"/>
                </a:cubicBezTo>
                <a:cubicBezTo>
                  <a:pt x="2125633" y="4436801"/>
                  <a:pt x="2127977" y="4439150"/>
                  <a:pt x="2127977" y="4441499"/>
                </a:cubicBezTo>
                <a:cubicBezTo>
                  <a:pt x="2130325" y="4446196"/>
                  <a:pt x="2130325" y="4450894"/>
                  <a:pt x="2132675" y="4455591"/>
                </a:cubicBezTo>
                <a:lnTo>
                  <a:pt x="2127977" y="4511962"/>
                </a:lnTo>
                <a:cubicBezTo>
                  <a:pt x="2130325" y="4514311"/>
                  <a:pt x="2130325" y="4516660"/>
                  <a:pt x="2132675" y="4519009"/>
                </a:cubicBezTo>
                <a:cubicBezTo>
                  <a:pt x="2132675" y="4519009"/>
                  <a:pt x="2135025" y="4521357"/>
                  <a:pt x="2135025" y="4521357"/>
                </a:cubicBezTo>
                <a:lnTo>
                  <a:pt x="2137375" y="4622355"/>
                </a:lnTo>
                <a:cubicBezTo>
                  <a:pt x="2135025" y="4683423"/>
                  <a:pt x="2127977" y="4721003"/>
                  <a:pt x="2118582" y="4746840"/>
                </a:cubicBezTo>
                <a:cubicBezTo>
                  <a:pt x="2092747" y="4716306"/>
                  <a:pt x="2055165" y="4697516"/>
                  <a:pt x="2029329" y="4709259"/>
                </a:cubicBezTo>
                <a:cubicBezTo>
                  <a:pt x="2010542" y="4716306"/>
                  <a:pt x="2026980" y="4735096"/>
                  <a:pt x="2015236" y="4744491"/>
                </a:cubicBezTo>
                <a:cubicBezTo>
                  <a:pt x="2008192" y="4751538"/>
                  <a:pt x="1991749" y="4744491"/>
                  <a:pt x="1982356" y="4758584"/>
                </a:cubicBezTo>
                <a:cubicBezTo>
                  <a:pt x="1944772" y="4812606"/>
                  <a:pt x="1958865" y="4843140"/>
                  <a:pt x="1947121" y="4913603"/>
                </a:cubicBezTo>
                <a:cubicBezTo>
                  <a:pt x="1928331" y="4922998"/>
                  <a:pt x="1916587" y="4934742"/>
                  <a:pt x="1904843" y="4946486"/>
                </a:cubicBezTo>
                <a:cubicBezTo>
                  <a:pt x="1904843" y="4913603"/>
                  <a:pt x="1904843" y="4880720"/>
                  <a:pt x="1900146" y="4847838"/>
                </a:cubicBezTo>
                <a:cubicBezTo>
                  <a:pt x="1886053" y="4763281"/>
                  <a:pt x="1876658" y="4758584"/>
                  <a:pt x="1860216" y="4737445"/>
                </a:cubicBezTo>
                <a:cubicBezTo>
                  <a:pt x="1857868" y="4739794"/>
                  <a:pt x="1853173" y="4739794"/>
                  <a:pt x="1853173" y="4744491"/>
                </a:cubicBezTo>
                <a:cubicBezTo>
                  <a:pt x="1850823" y="4758584"/>
                  <a:pt x="1862565" y="4772676"/>
                  <a:pt x="1857868" y="4786769"/>
                </a:cubicBezTo>
                <a:cubicBezTo>
                  <a:pt x="1857868" y="4786769"/>
                  <a:pt x="1850823" y="4793816"/>
                  <a:pt x="1848473" y="4796164"/>
                </a:cubicBezTo>
                <a:lnTo>
                  <a:pt x="1846124" y="4864279"/>
                </a:lnTo>
                <a:cubicBezTo>
                  <a:pt x="1834380" y="4885418"/>
                  <a:pt x="1822638" y="4913603"/>
                  <a:pt x="1806195" y="4937091"/>
                </a:cubicBezTo>
                <a:cubicBezTo>
                  <a:pt x="1796803" y="4922998"/>
                  <a:pt x="1794453" y="4904208"/>
                  <a:pt x="1787404" y="4887767"/>
                </a:cubicBezTo>
                <a:cubicBezTo>
                  <a:pt x="1787404" y="4887767"/>
                  <a:pt x="1780360" y="4876023"/>
                  <a:pt x="1775660" y="4871325"/>
                </a:cubicBezTo>
                <a:lnTo>
                  <a:pt x="1773312" y="4861930"/>
                </a:lnTo>
                <a:cubicBezTo>
                  <a:pt x="1761568" y="4861930"/>
                  <a:pt x="1747475" y="4854884"/>
                  <a:pt x="1738082" y="4861930"/>
                </a:cubicBezTo>
                <a:cubicBezTo>
                  <a:pt x="1731034" y="4866628"/>
                  <a:pt x="1738082" y="4883069"/>
                  <a:pt x="1731034" y="4887767"/>
                </a:cubicBezTo>
                <a:cubicBezTo>
                  <a:pt x="1728684" y="4890115"/>
                  <a:pt x="1723990" y="4890115"/>
                  <a:pt x="1721640" y="4890115"/>
                </a:cubicBezTo>
                <a:cubicBezTo>
                  <a:pt x="1721640" y="4890115"/>
                  <a:pt x="1700499" y="4887767"/>
                  <a:pt x="1691104" y="4885418"/>
                </a:cubicBezTo>
                <a:lnTo>
                  <a:pt x="1674663" y="4850186"/>
                </a:lnTo>
                <a:cubicBezTo>
                  <a:pt x="1669965" y="4850186"/>
                  <a:pt x="1665269" y="4845489"/>
                  <a:pt x="1660569" y="4847838"/>
                </a:cubicBezTo>
                <a:cubicBezTo>
                  <a:pt x="1660569" y="4847838"/>
                  <a:pt x="1651177" y="4859582"/>
                  <a:pt x="1644128" y="4864279"/>
                </a:cubicBezTo>
                <a:lnTo>
                  <a:pt x="1642913" y="4863975"/>
                </a:lnTo>
                <a:lnTo>
                  <a:pt x="1637093" y="4873673"/>
                </a:lnTo>
                <a:lnTo>
                  <a:pt x="1630051" y="4871325"/>
                </a:lnTo>
                <a:lnTo>
                  <a:pt x="1630051" y="4861930"/>
                </a:lnTo>
                <a:lnTo>
                  <a:pt x="1635272" y="4858448"/>
                </a:lnTo>
                <a:lnTo>
                  <a:pt x="1644128" y="4800862"/>
                </a:lnTo>
                <a:cubicBezTo>
                  <a:pt x="1630035" y="4777374"/>
                  <a:pt x="1630035" y="4772676"/>
                  <a:pt x="1627686" y="4772676"/>
                </a:cubicBezTo>
                <a:cubicBezTo>
                  <a:pt x="1622992" y="4772676"/>
                  <a:pt x="1618291" y="4779723"/>
                  <a:pt x="1611249" y="4791467"/>
                </a:cubicBezTo>
                <a:cubicBezTo>
                  <a:pt x="1611249" y="4786769"/>
                  <a:pt x="1608899" y="4784420"/>
                  <a:pt x="1606549" y="4782072"/>
                </a:cubicBezTo>
                <a:cubicBezTo>
                  <a:pt x="1608899" y="4777374"/>
                  <a:pt x="1613595" y="4777374"/>
                  <a:pt x="1615942" y="4772676"/>
                </a:cubicBezTo>
                <a:cubicBezTo>
                  <a:pt x="1622992" y="4758584"/>
                  <a:pt x="1604199" y="4744491"/>
                  <a:pt x="1604199" y="4730399"/>
                </a:cubicBezTo>
                <a:cubicBezTo>
                  <a:pt x="1604199" y="4721003"/>
                  <a:pt x="1613595" y="4716306"/>
                  <a:pt x="1613595" y="4709259"/>
                </a:cubicBezTo>
                <a:cubicBezTo>
                  <a:pt x="1613595" y="4690469"/>
                  <a:pt x="1592456" y="4678725"/>
                  <a:pt x="1580714" y="4662284"/>
                </a:cubicBezTo>
                <a:cubicBezTo>
                  <a:pt x="1583064" y="4657586"/>
                  <a:pt x="1587757" y="4655237"/>
                  <a:pt x="1592456" y="4652889"/>
                </a:cubicBezTo>
                <a:cubicBezTo>
                  <a:pt x="1599502" y="4657586"/>
                  <a:pt x="1604199" y="4659935"/>
                  <a:pt x="1606549" y="4659935"/>
                </a:cubicBezTo>
                <a:cubicBezTo>
                  <a:pt x="1606549" y="4659935"/>
                  <a:pt x="1613595" y="4657586"/>
                  <a:pt x="1615942" y="4657586"/>
                </a:cubicBezTo>
                <a:lnTo>
                  <a:pt x="1620641" y="4652889"/>
                </a:lnTo>
                <a:cubicBezTo>
                  <a:pt x="1613595" y="4643494"/>
                  <a:pt x="1599502" y="4638796"/>
                  <a:pt x="1597157" y="4627052"/>
                </a:cubicBezTo>
                <a:cubicBezTo>
                  <a:pt x="1597157" y="4627052"/>
                  <a:pt x="1597006" y="4625731"/>
                  <a:pt x="1597302" y="4623712"/>
                </a:cubicBezTo>
                <a:lnTo>
                  <a:pt x="1597926" y="4622031"/>
                </a:lnTo>
                <a:lnTo>
                  <a:pt x="1597459" y="4622354"/>
                </a:lnTo>
                <a:cubicBezTo>
                  <a:pt x="1594816" y="4623529"/>
                  <a:pt x="1592467" y="4624703"/>
                  <a:pt x="1592467" y="4627052"/>
                </a:cubicBezTo>
                <a:cubicBezTo>
                  <a:pt x="1592467" y="4629401"/>
                  <a:pt x="1597165" y="4631749"/>
                  <a:pt x="1597165" y="4634098"/>
                </a:cubicBezTo>
                <a:cubicBezTo>
                  <a:pt x="1597165" y="4638796"/>
                  <a:pt x="1597165" y="4641145"/>
                  <a:pt x="1594816" y="4643493"/>
                </a:cubicBezTo>
                <a:cubicBezTo>
                  <a:pt x="1587773" y="4648191"/>
                  <a:pt x="1578373" y="4643493"/>
                  <a:pt x="1568980" y="4643493"/>
                </a:cubicBezTo>
                <a:cubicBezTo>
                  <a:pt x="1568980" y="4638796"/>
                  <a:pt x="1573676" y="4636447"/>
                  <a:pt x="1573676" y="4634098"/>
                </a:cubicBezTo>
                <a:lnTo>
                  <a:pt x="1570425" y="4631930"/>
                </a:lnTo>
                <a:lnTo>
                  <a:pt x="1573676" y="4627052"/>
                </a:lnTo>
                <a:lnTo>
                  <a:pt x="1571330" y="4620006"/>
                </a:lnTo>
                <a:lnTo>
                  <a:pt x="1564282" y="4627052"/>
                </a:lnTo>
                <a:lnTo>
                  <a:pt x="1565848" y="4629401"/>
                </a:lnTo>
                <a:lnTo>
                  <a:pt x="1557238" y="4629401"/>
                </a:lnTo>
                <a:cubicBezTo>
                  <a:pt x="1547841" y="4631749"/>
                  <a:pt x="1540795" y="4636447"/>
                  <a:pt x="1533749" y="4641145"/>
                </a:cubicBezTo>
                <a:cubicBezTo>
                  <a:pt x="1540795" y="4645842"/>
                  <a:pt x="1547841" y="4650540"/>
                  <a:pt x="1554887" y="4655237"/>
                </a:cubicBezTo>
                <a:cubicBezTo>
                  <a:pt x="1559588" y="4657586"/>
                  <a:pt x="1561932" y="4662284"/>
                  <a:pt x="1559588" y="4666981"/>
                </a:cubicBezTo>
                <a:cubicBezTo>
                  <a:pt x="1559588" y="4669330"/>
                  <a:pt x="1557238" y="4671679"/>
                  <a:pt x="1554887" y="4671679"/>
                </a:cubicBezTo>
                <a:cubicBezTo>
                  <a:pt x="1550190" y="4671679"/>
                  <a:pt x="1547841" y="4671679"/>
                  <a:pt x="1545495" y="4666981"/>
                </a:cubicBezTo>
                <a:cubicBezTo>
                  <a:pt x="1531403" y="4650540"/>
                  <a:pt x="1540795" y="4652889"/>
                  <a:pt x="1496167" y="4645842"/>
                </a:cubicBezTo>
                <a:cubicBezTo>
                  <a:pt x="1503213" y="4636447"/>
                  <a:pt x="1512610" y="4629401"/>
                  <a:pt x="1519655" y="4622354"/>
                </a:cubicBezTo>
                <a:cubicBezTo>
                  <a:pt x="1512610" y="4617657"/>
                  <a:pt x="1507910" y="4615308"/>
                  <a:pt x="1505561" y="4615308"/>
                </a:cubicBezTo>
                <a:cubicBezTo>
                  <a:pt x="1505561" y="4615308"/>
                  <a:pt x="1500867" y="4624703"/>
                  <a:pt x="1489120" y="4627052"/>
                </a:cubicBezTo>
                <a:cubicBezTo>
                  <a:pt x="1486775" y="4624703"/>
                  <a:pt x="1486775" y="4620006"/>
                  <a:pt x="1486775" y="4615308"/>
                </a:cubicBezTo>
                <a:cubicBezTo>
                  <a:pt x="1493818" y="4610611"/>
                  <a:pt x="1503213" y="4605913"/>
                  <a:pt x="1505561" y="4598867"/>
                </a:cubicBezTo>
                <a:cubicBezTo>
                  <a:pt x="1505561" y="4594169"/>
                  <a:pt x="1503213" y="4591820"/>
                  <a:pt x="1503213" y="4589472"/>
                </a:cubicBezTo>
                <a:cubicBezTo>
                  <a:pt x="1505561" y="4577728"/>
                  <a:pt x="1524352" y="4568332"/>
                  <a:pt x="1522004" y="4556589"/>
                </a:cubicBezTo>
                <a:cubicBezTo>
                  <a:pt x="1522004" y="4554240"/>
                  <a:pt x="1519655" y="4549542"/>
                  <a:pt x="1514960" y="4549542"/>
                </a:cubicBezTo>
                <a:cubicBezTo>
                  <a:pt x="1514960" y="4549542"/>
                  <a:pt x="1507910" y="4551891"/>
                  <a:pt x="1505561" y="4554240"/>
                </a:cubicBezTo>
                <a:lnTo>
                  <a:pt x="1496167" y="4554240"/>
                </a:lnTo>
                <a:lnTo>
                  <a:pt x="1479726" y="4504915"/>
                </a:lnTo>
                <a:cubicBezTo>
                  <a:pt x="1467982" y="4507264"/>
                  <a:pt x="1465632" y="4507264"/>
                  <a:pt x="1463283" y="4511962"/>
                </a:cubicBezTo>
                <a:cubicBezTo>
                  <a:pt x="1463283" y="4511962"/>
                  <a:pt x="1465632" y="4519008"/>
                  <a:pt x="1465632" y="4521357"/>
                </a:cubicBezTo>
                <a:lnTo>
                  <a:pt x="1463283" y="4526054"/>
                </a:lnTo>
                <a:lnTo>
                  <a:pt x="1421006" y="4511962"/>
                </a:lnTo>
                <a:cubicBezTo>
                  <a:pt x="1425704" y="4504915"/>
                  <a:pt x="1435098" y="4497869"/>
                  <a:pt x="1437447" y="4488474"/>
                </a:cubicBezTo>
                <a:cubicBezTo>
                  <a:pt x="1437447" y="4488474"/>
                  <a:pt x="1435098" y="4481428"/>
                  <a:pt x="1435098" y="4479079"/>
                </a:cubicBezTo>
                <a:lnTo>
                  <a:pt x="1430400" y="4469684"/>
                </a:lnTo>
                <a:lnTo>
                  <a:pt x="1456239" y="4446196"/>
                </a:lnTo>
                <a:lnTo>
                  <a:pt x="1463283" y="4453242"/>
                </a:lnTo>
                <a:lnTo>
                  <a:pt x="1453889" y="4467335"/>
                </a:lnTo>
                <a:lnTo>
                  <a:pt x="1496167" y="4476730"/>
                </a:lnTo>
                <a:cubicBezTo>
                  <a:pt x="1496167" y="4481428"/>
                  <a:pt x="1496167" y="4483777"/>
                  <a:pt x="1496167" y="4486125"/>
                </a:cubicBezTo>
                <a:cubicBezTo>
                  <a:pt x="1496167" y="4490823"/>
                  <a:pt x="1491470" y="4497869"/>
                  <a:pt x="1493818" y="4502567"/>
                </a:cubicBezTo>
                <a:cubicBezTo>
                  <a:pt x="1496167" y="4504915"/>
                  <a:pt x="1498517" y="4509613"/>
                  <a:pt x="1500867" y="4509613"/>
                </a:cubicBezTo>
                <a:cubicBezTo>
                  <a:pt x="1505561" y="4509613"/>
                  <a:pt x="1507910" y="4507264"/>
                  <a:pt x="1510260" y="4507264"/>
                </a:cubicBezTo>
                <a:cubicBezTo>
                  <a:pt x="1510260" y="4507264"/>
                  <a:pt x="1514960" y="4516659"/>
                  <a:pt x="1519655" y="4521357"/>
                </a:cubicBezTo>
                <a:lnTo>
                  <a:pt x="1526702" y="4521357"/>
                </a:lnTo>
                <a:lnTo>
                  <a:pt x="1547841" y="4464986"/>
                </a:lnTo>
                <a:cubicBezTo>
                  <a:pt x="1550190" y="4462637"/>
                  <a:pt x="1552538" y="4462637"/>
                  <a:pt x="1552538" y="4460289"/>
                </a:cubicBezTo>
                <a:cubicBezTo>
                  <a:pt x="1554887" y="4457940"/>
                  <a:pt x="1552538" y="4455591"/>
                  <a:pt x="1550190" y="4453242"/>
                </a:cubicBezTo>
                <a:cubicBezTo>
                  <a:pt x="1547841" y="4453242"/>
                  <a:pt x="1543145" y="4455591"/>
                  <a:pt x="1540795" y="4455591"/>
                </a:cubicBezTo>
                <a:cubicBezTo>
                  <a:pt x="1536096" y="4455591"/>
                  <a:pt x="1533749" y="4453242"/>
                  <a:pt x="1531403" y="4453242"/>
                </a:cubicBezTo>
                <a:cubicBezTo>
                  <a:pt x="1531403" y="4453242"/>
                  <a:pt x="1514960" y="4467335"/>
                  <a:pt x="1514960" y="4479079"/>
                </a:cubicBezTo>
                <a:lnTo>
                  <a:pt x="1505561" y="4446196"/>
                </a:lnTo>
                <a:lnTo>
                  <a:pt x="1536096" y="4415661"/>
                </a:lnTo>
                <a:cubicBezTo>
                  <a:pt x="1559588" y="4406266"/>
                  <a:pt x="1550190" y="4410963"/>
                  <a:pt x="1578373" y="4399219"/>
                </a:cubicBezTo>
                <a:cubicBezTo>
                  <a:pt x="1592467" y="4394522"/>
                  <a:pt x="1599515" y="4401568"/>
                  <a:pt x="1606560" y="4413312"/>
                </a:cubicBezTo>
                <a:cubicBezTo>
                  <a:pt x="1606560" y="4415661"/>
                  <a:pt x="1604210" y="4415661"/>
                  <a:pt x="1604210" y="4415661"/>
                </a:cubicBezTo>
                <a:cubicBezTo>
                  <a:pt x="1594816" y="4418010"/>
                  <a:pt x="1583073" y="4415661"/>
                  <a:pt x="1578373" y="4422707"/>
                </a:cubicBezTo>
                <a:cubicBezTo>
                  <a:pt x="1573676" y="4427405"/>
                  <a:pt x="1585423" y="4432102"/>
                  <a:pt x="1585423" y="4436800"/>
                </a:cubicBezTo>
                <a:cubicBezTo>
                  <a:pt x="1585423" y="4446196"/>
                  <a:pt x="1568980" y="4448545"/>
                  <a:pt x="1568980" y="4455591"/>
                </a:cubicBezTo>
                <a:cubicBezTo>
                  <a:pt x="1568980" y="4460289"/>
                  <a:pt x="1573676" y="4462637"/>
                  <a:pt x="1573676" y="4464986"/>
                </a:cubicBezTo>
                <a:cubicBezTo>
                  <a:pt x="1573676" y="4469684"/>
                  <a:pt x="1568980" y="4474381"/>
                  <a:pt x="1566630" y="4479079"/>
                </a:cubicBezTo>
                <a:cubicBezTo>
                  <a:pt x="1564282" y="4483777"/>
                  <a:pt x="1571330" y="4493172"/>
                  <a:pt x="1568980" y="4497869"/>
                </a:cubicBezTo>
                <a:cubicBezTo>
                  <a:pt x="1566630" y="4502567"/>
                  <a:pt x="1554887" y="4500218"/>
                  <a:pt x="1550190" y="4504915"/>
                </a:cubicBezTo>
                <a:cubicBezTo>
                  <a:pt x="1545495" y="4511962"/>
                  <a:pt x="1550190" y="4521357"/>
                  <a:pt x="1550190" y="4528403"/>
                </a:cubicBezTo>
                <a:cubicBezTo>
                  <a:pt x="1554887" y="4528403"/>
                  <a:pt x="1557238" y="4528403"/>
                  <a:pt x="1559588" y="4528403"/>
                </a:cubicBezTo>
                <a:cubicBezTo>
                  <a:pt x="1564282" y="4528403"/>
                  <a:pt x="1566630" y="4528403"/>
                  <a:pt x="1568980" y="4528403"/>
                </a:cubicBezTo>
                <a:lnTo>
                  <a:pt x="1580238" y="4538638"/>
                </a:lnTo>
                <a:lnTo>
                  <a:pt x="1592456" y="4523706"/>
                </a:lnTo>
                <a:cubicBezTo>
                  <a:pt x="1590107" y="4523706"/>
                  <a:pt x="1590107" y="4523706"/>
                  <a:pt x="1590107" y="4523706"/>
                </a:cubicBezTo>
                <a:cubicBezTo>
                  <a:pt x="1590107" y="4523706"/>
                  <a:pt x="1578364" y="4526055"/>
                  <a:pt x="1573665" y="4526055"/>
                </a:cubicBezTo>
                <a:lnTo>
                  <a:pt x="1566621" y="4516660"/>
                </a:lnTo>
                <a:lnTo>
                  <a:pt x="1622992" y="4483777"/>
                </a:lnTo>
                <a:cubicBezTo>
                  <a:pt x="1620641" y="4472033"/>
                  <a:pt x="1618291" y="4467335"/>
                  <a:pt x="1618291" y="4467335"/>
                </a:cubicBezTo>
                <a:cubicBezTo>
                  <a:pt x="1615942" y="4467335"/>
                  <a:pt x="1611249" y="4469684"/>
                  <a:pt x="1608899" y="4469684"/>
                </a:cubicBezTo>
                <a:cubicBezTo>
                  <a:pt x="1606549" y="4469684"/>
                  <a:pt x="1594806" y="4462638"/>
                  <a:pt x="1592456" y="4460289"/>
                </a:cubicBezTo>
                <a:cubicBezTo>
                  <a:pt x="1590107" y="4455591"/>
                  <a:pt x="1592456" y="4453243"/>
                  <a:pt x="1592456" y="4448545"/>
                </a:cubicBezTo>
                <a:cubicBezTo>
                  <a:pt x="1594806" y="4453243"/>
                  <a:pt x="1597157" y="4457940"/>
                  <a:pt x="1599502" y="4462638"/>
                </a:cubicBezTo>
                <a:cubicBezTo>
                  <a:pt x="1604199" y="4462638"/>
                  <a:pt x="1606549" y="4460289"/>
                  <a:pt x="1608899" y="4457940"/>
                </a:cubicBezTo>
                <a:cubicBezTo>
                  <a:pt x="1620641" y="4462638"/>
                  <a:pt x="1632384" y="4460289"/>
                  <a:pt x="1639434" y="4467335"/>
                </a:cubicBezTo>
                <a:cubicBezTo>
                  <a:pt x="1641779" y="4469684"/>
                  <a:pt x="1641779" y="4474382"/>
                  <a:pt x="1641779" y="4476731"/>
                </a:cubicBezTo>
                <a:cubicBezTo>
                  <a:pt x="1639434" y="4486125"/>
                  <a:pt x="1622992" y="4483777"/>
                  <a:pt x="1618291" y="4493172"/>
                </a:cubicBezTo>
                <a:cubicBezTo>
                  <a:pt x="1618291" y="4495521"/>
                  <a:pt x="1620641" y="4500218"/>
                  <a:pt x="1620641" y="4502567"/>
                </a:cubicBezTo>
                <a:cubicBezTo>
                  <a:pt x="1620641" y="4511962"/>
                  <a:pt x="1618291" y="4521357"/>
                  <a:pt x="1618291" y="4530753"/>
                </a:cubicBezTo>
                <a:cubicBezTo>
                  <a:pt x="1625342" y="4533101"/>
                  <a:pt x="1634734" y="4533101"/>
                  <a:pt x="1641779" y="4535450"/>
                </a:cubicBezTo>
                <a:cubicBezTo>
                  <a:pt x="1641779" y="4530753"/>
                  <a:pt x="1639434" y="4528404"/>
                  <a:pt x="1639434" y="4526055"/>
                </a:cubicBezTo>
                <a:cubicBezTo>
                  <a:pt x="1639434" y="4523706"/>
                  <a:pt x="1641779" y="4521357"/>
                  <a:pt x="1644128" y="4521357"/>
                </a:cubicBezTo>
                <a:cubicBezTo>
                  <a:pt x="1651177" y="4519009"/>
                  <a:pt x="1660569" y="4533101"/>
                  <a:pt x="1660569" y="4533101"/>
                </a:cubicBezTo>
                <a:cubicBezTo>
                  <a:pt x="1655873" y="4537799"/>
                  <a:pt x="1651177" y="4540147"/>
                  <a:pt x="1646477" y="4542496"/>
                </a:cubicBezTo>
                <a:cubicBezTo>
                  <a:pt x="1653527" y="4547194"/>
                  <a:pt x="1648827" y="4544845"/>
                  <a:pt x="1660569" y="4549542"/>
                </a:cubicBezTo>
                <a:cubicBezTo>
                  <a:pt x="1667619" y="4540147"/>
                  <a:pt x="1669965" y="4535450"/>
                  <a:pt x="1669965" y="4533101"/>
                </a:cubicBezTo>
                <a:cubicBezTo>
                  <a:pt x="1669965" y="4530753"/>
                  <a:pt x="1660569" y="4511962"/>
                  <a:pt x="1658221" y="4509613"/>
                </a:cubicBezTo>
                <a:cubicBezTo>
                  <a:pt x="1662919" y="4507265"/>
                  <a:pt x="1665269" y="4507265"/>
                  <a:pt x="1669965" y="4504916"/>
                </a:cubicBezTo>
                <a:cubicBezTo>
                  <a:pt x="1669965" y="4521357"/>
                  <a:pt x="1672313" y="4526055"/>
                  <a:pt x="1677012" y="4526055"/>
                </a:cubicBezTo>
                <a:cubicBezTo>
                  <a:pt x="1681712" y="4526055"/>
                  <a:pt x="1684058" y="4521357"/>
                  <a:pt x="1686406" y="4521357"/>
                </a:cubicBezTo>
                <a:cubicBezTo>
                  <a:pt x="1691104" y="4521357"/>
                  <a:pt x="1698150" y="4521357"/>
                  <a:pt x="1702848" y="4526055"/>
                </a:cubicBezTo>
                <a:cubicBezTo>
                  <a:pt x="1705197" y="4530753"/>
                  <a:pt x="1705197" y="4535450"/>
                  <a:pt x="1702848" y="4537799"/>
                </a:cubicBezTo>
                <a:cubicBezTo>
                  <a:pt x="1700499" y="4540147"/>
                  <a:pt x="1695805" y="4540147"/>
                  <a:pt x="1693454" y="4542496"/>
                </a:cubicBezTo>
                <a:cubicBezTo>
                  <a:pt x="1691104" y="4542496"/>
                  <a:pt x="1691104" y="4544845"/>
                  <a:pt x="1691104" y="4544845"/>
                </a:cubicBezTo>
                <a:cubicBezTo>
                  <a:pt x="1691104" y="4544845"/>
                  <a:pt x="1693454" y="4551891"/>
                  <a:pt x="1693454" y="4556589"/>
                </a:cubicBezTo>
                <a:lnTo>
                  <a:pt x="1702848" y="4558938"/>
                </a:lnTo>
                <a:cubicBezTo>
                  <a:pt x="1707547" y="4570682"/>
                  <a:pt x="1716941" y="4580077"/>
                  <a:pt x="1719290" y="4594169"/>
                </a:cubicBezTo>
                <a:cubicBezTo>
                  <a:pt x="1721640" y="4605913"/>
                  <a:pt x="1709897" y="4615308"/>
                  <a:pt x="1712247" y="4627052"/>
                </a:cubicBezTo>
                <a:cubicBezTo>
                  <a:pt x="1712247" y="4627052"/>
                  <a:pt x="1714591" y="4634099"/>
                  <a:pt x="1716941" y="4636448"/>
                </a:cubicBezTo>
                <a:lnTo>
                  <a:pt x="1735732" y="4638796"/>
                </a:lnTo>
                <a:lnTo>
                  <a:pt x="1735732" y="4596518"/>
                </a:lnTo>
                <a:cubicBezTo>
                  <a:pt x="1740433" y="4589472"/>
                  <a:pt x="1745126" y="4584774"/>
                  <a:pt x="1745126" y="4577728"/>
                </a:cubicBezTo>
                <a:cubicBezTo>
                  <a:pt x="1745126" y="4577728"/>
                  <a:pt x="1740433" y="4573030"/>
                  <a:pt x="1738082" y="4570682"/>
                </a:cubicBezTo>
                <a:lnTo>
                  <a:pt x="1749825" y="4554240"/>
                </a:lnTo>
                <a:lnTo>
                  <a:pt x="1738082" y="4476731"/>
                </a:lnTo>
                <a:cubicBezTo>
                  <a:pt x="1733382" y="4474382"/>
                  <a:pt x="1726335" y="4472033"/>
                  <a:pt x="1721640" y="4469684"/>
                </a:cubicBezTo>
                <a:cubicBezTo>
                  <a:pt x="1733382" y="4453243"/>
                  <a:pt x="1733382" y="4453243"/>
                  <a:pt x="1733382" y="4450894"/>
                </a:cubicBezTo>
                <a:cubicBezTo>
                  <a:pt x="1733382" y="4446196"/>
                  <a:pt x="1726335" y="4443847"/>
                  <a:pt x="1721640" y="4441499"/>
                </a:cubicBezTo>
                <a:cubicBezTo>
                  <a:pt x="1712247" y="4434452"/>
                  <a:pt x="1714591" y="4418011"/>
                  <a:pt x="1705197" y="4413314"/>
                </a:cubicBezTo>
                <a:cubicBezTo>
                  <a:pt x="1702848" y="4413314"/>
                  <a:pt x="1698150" y="4413314"/>
                  <a:pt x="1695805" y="4413314"/>
                </a:cubicBezTo>
                <a:cubicBezTo>
                  <a:pt x="1679362" y="4418011"/>
                  <a:pt x="1686406" y="4446196"/>
                  <a:pt x="1674663" y="4457940"/>
                </a:cubicBezTo>
                <a:cubicBezTo>
                  <a:pt x="1667619" y="4464987"/>
                  <a:pt x="1653527" y="4467335"/>
                  <a:pt x="1644128" y="4462638"/>
                </a:cubicBezTo>
                <a:cubicBezTo>
                  <a:pt x="1639434" y="4460289"/>
                  <a:pt x="1639434" y="4453243"/>
                  <a:pt x="1639434" y="4448545"/>
                </a:cubicBezTo>
                <a:cubicBezTo>
                  <a:pt x="1639434" y="4441499"/>
                  <a:pt x="1637084" y="4441499"/>
                  <a:pt x="1665269" y="4432104"/>
                </a:cubicBezTo>
                <a:cubicBezTo>
                  <a:pt x="1662919" y="4429755"/>
                  <a:pt x="1659983" y="4429167"/>
                  <a:pt x="1657340" y="4428580"/>
                </a:cubicBezTo>
                <a:lnTo>
                  <a:pt x="1651818" y="4425422"/>
                </a:lnTo>
                <a:lnTo>
                  <a:pt x="1641794" y="4432103"/>
                </a:lnTo>
                <a:lnTo>
                  <a:pt x="1639445" y="4432103"/>
                </a:lnTo>
                <a:lnTo>
                  <a:pt x="1637096" y="4422708"/>
                </a:lnTo>
                <a:lnTo>
                  <a:pt x="1651188" y="4413313"/>
                </a:lnTo>
                <a:lnTo>
                  <a:pt x="1655322" y="4421579"/>
                </a:lnTo>
                <a:lnTo>
                  <a:pt x="1661159" y="4423295"/>
                </a:lnTo>
                <a:cubicBezTo>
                  <a:pt x="1662332" y="4423883"/>
                  <a:pt x="1662919" y="4425057"/>
                  <a:pt x="1667619" y="4429755"/>
                </a:cubicBezTo>
                <a:cubicBezTo>
                  <a:pt x="1667619" y="4427406"/>
                  <a:pt x="1669965" y="4425057"/>
                  <a:pt x="1672313" y="4422709"/>
                </a:cubicBezTo>
                <a:cubicBezTo>
                  <a:pt x="1667619" y="4418011"/>
                  <a:pt x="1660569" y="4418011"/>
                  <a:pt x="1660569" y="4413314"/>
                </a:cubicBezTo>
                <a:cubicBezTo>
                  <a:pt x="1660569" y="4408616"/>
                  <a:pt x="1665269" y="4406267"/>
                  <a:pt x="1665269" y="4403918"/>
                </a:cubicBezTo>
                <a:cubicBezTo>
                  <a:pt x="1665269" y="4396872"/>
                  <a:pt x="1653527" y="4394523"/>
                  <a:pt x="1651177" y="4387477"/>
                </a:cubicBezTo>
                <a:cubicBezTo>
                  <a:pt x="1651177" y="4382779"/>
                  <a:pt x="1655873" y="4378082"/>
                  <a:pt x="1658221" y="4378082"/>
                </a:cubicBezTo>
                <a:cubicBezTo>
                  <a:pt x="1658221" y="4378082"/>
                  <a:pt x="1674663" y="4385128"/>
                  <a:pt x="1684058" y="4389826"/>
                </a:cubicBezTo>
                <a:lnTo>
                  <a:pt x="1688755" y="4356943"/>
                </a:lnTo>
                <a:cubicBezTo>
                  <a:pt x="1695805" y="4317014"/>
                  <a:pt x="1716941" y="4309967"/>
                  <a:pt x="1712247" y="4298223"/>
                </a:cubicBezTo>
                <a:cubicBezTo>
                  <a:pt x="1702848" y="4270038"/>
                  <a:pt x="1667619" y="4258294"/>
                  <a:pt x="1644128" y="4241853"/>
                </a:cubicBezTo>
                <a:cubicBezTo>
                  <a:pt x="1639434" y="4239504"/>
                  <a:pt x="1632384" y="4234806"/>
                  <a:pt x="1632384" y="4230109"/>
                </a:cubicBezTo>
                <a:cubicBezTo>
                  <a:pt x="1632384" y="4230109"/>
                  <a:pt x="1632384" y="4227760"/>
                  <a:pt x="1637084" y="4220713"/>
                </a:cubicBezTo>
                <a:cubicBezTo>
                  <a:pt x="1630035" y="4213667"/>
                  <a:pt x="1630035" y="4213667"/>
                  <a:pt x="1627686" y="4211318"/>
                </a:cubicBezTo>
                <a:cubicBezTo>
                  <a:pt x="1627686" y="4208970"/>
                  <a:pt x="1627686" y="4208970"/>
                  <a:pt x="1627686" y="4208970"/>
                </a:cubicBezTo>
                <a:cubicBezTo>
                  <a:pt x="1625342" y="4206621"/>
                  <a:pt x="1620641" y="4204272"/>
                  <a:pt x="1611249" y="4194877"/>
                </a:cubicBezTo>
                <a:cubicBezTo>
                  <a:pt x="1611249" y="4194877"/>
                  <a:pt x="1611249" y="4178436"/>
                  <a:pt x="1611249" y="4169040"/>
                </a:cubicBezTo>
                <a:lnTo>
                  <a:pt x="1597157" y="4107972"/>
                </a:lnTo>
                <a:cubicBezTo>
                  <a:pt x="1599502" y="4110321"/>
                  <a:pt x="1599502" y="4110321"/>
                  <a:pt x="1601851" y="4110321"/>
                </a:cubicBezTo>
                <a:cubicBezTo>
                  <a:pt x="1613595" y="4086833"/>
                  <a:pt x="1637084" y="4077438"/>
                  <a:pt x="1646477" y="4053950"/>
                </a:cubicBezTo>
                <a:cubicBezTo>
                  <a:pt x="1620641" y="4044555"/>
                  <a:pt x="1618291" y="4093879"/>
                  <a:pt x="1597157" y="4093879"/>
                </a:cubicBezTo>
                <a:lnTo>
                  <a:pt x="1601851" y="4021067"/>
                </a:lnTo>
                <a:cubicBezTo>
                  <a:pt x="1613595" y="4016370"/>
                  <a:pt x="1625342" y="4011672"/>
                  <a:pt x="1634734" y="4002277"/>
                </a:cubicBezTo>
                <a:cubicBezTo>
                  <a:pt x="1620641" y="3999928"/>
                  <a:pt x="1611249" y="3997579"/>
                  <a:pt x="1604199" y="3992882"/>
                </a:cubicBezTo>
                <a:lnTo>
                  <a:pt x="1608899" y="3929465"/>
                </a:lnTo>
                <a:cubicBezTo>
                  <a:pt x="1618291" y="3929465"/>
                  <a:pt x="1625342" y="3927116"/>
                  <a:pt x="1634734" y="3924767"/>
                </a:cubicBezTo>
                <a:cubicBezTo>
                  <a:pt x="1646477" y="3927116"/>
                  <a:pt x="1660569" y="3929465"/>
                  <a:pt x="1672313" y="3931814"/>
                </a:cubicBezTo>
                <a:cubicBezTo>
                  <a:pt x="1665269" y="3936511"/>
                  <a:pt x="1658221" y="3931814"/>
                  <a:pt x="1653527" y="3941209"/>
                </a:cubicBezTo>
                <a:cubicBezTo>
                  <a:pt x="1662919" y="3948255"/>
                  <a:pt x="1667619" y="3938860"/>
                  <a:pt x="1674663" y="3936511"/>
                </a:cubicBezTo>
                <a:cubicBezTo>
                  <a:pt x="1680534" y="3946493"/>
                  <a:pt x="1684058" y="3956769"/>
                  <a:pt x="1685489" y="3967008"/>
                </a:cubicBezTo>
                <a:lnTo>
                  <a:pt x="1685472" y="3967362"/>
                </a:lnTo>
                <a:lnTo>
                  <a:pt x="1681712" y="3959999"/>
                </a:lnTo>
                <a:cubicBezTo>
                  <a:pt x="1677012" y="3974092"/>
                  <a:pt x="1665269" y="3974092"/>
                  <a:pt x="1658221" y="3983487"/>
                </a:cubicBezTo>
                <a:cubicBezTo>
                  <a:pt x="1665269" y="3985835"/>
                  <a:pt x="1674663" y="3988184"/>
                  <a:pt x="1681712" y="3992882"/>
                </a:cubicBezTo>
                <a:lnTo>
                  <a:pt x="1684438" y="3985496"/>
                </a:lnTo>
                <a:lnTo>
                  <a:pt x="1683764" y="3997285"/>
                </a:lnTo>
                <a:cubicBezTo>
                  <a:pt x="1678773" y="4016956"/>
                  <a:pt x="1666441" y="4035160"/>
                  <a:pt x="1648827" y="4049253"/>
                </a:cubicBezTo>
                <a:cubicBezTo>
                  <a:pt x="1669965" y="4063345"/>
                  <a:pt x="1669965" y="4028114"/>
                  <a:pt x="1684058" y="4030462"/>
                </a:cubicBezTo>
                <a:cubicBezTo>
                  <a:pt x="1691104" y="4044555"/>
                  <a:pt x="1677012" y="4051601"/>
                  <a:pt x="1702848" y="4051601"/>
                </a:cubicBezTo>
                <a:cubicBezTo>
                  <a:pt x="1679362" y="4103274"/>
                  <a:pt x="1770962" y="4176087"/>
                  <a:pt x="1754520" y="4255945"/>
                </a:cubicBezTo>
                <a:cubicBezTo>
                  <a:pt x="1773312" y="4270038"/>
                  <a:pt x="1780360" y="4272387"/>
                  <a:pt x="1794453" y="4293526"/>
                </a:cubicBezTo>
                <a:cubicBezTo>
                  <a:pt x="1799148" y="4291177"/>
                  <a:pt x="1806195" y="4291177"/>
                  <a:pt x="1813241" y="4291177"/>
                </a:cubicBezTo>
                <a:cubicBezTo>
                  <a:pt x="1808545" y="4312316"/>
                  <a:pt x="1803846" y="4333455"/>
                  <a:pt x="1808545" y="4354594"/>
                </a:cubicBezTo>
                <a:cubicBezTo>
                  <a:pt x="1808545" y="4354594"/>
                  <a:pt x="1834380" y="4371035"/>
                  <a:pt x="1843775" y="4453243"/>
                </a:cubicBezTo>
                <a:lnTo>
                  <a:pt x="1824988" y="4507265"/>
                </a:lnTo>
                <a:cubicBezTo>
                  <a:pt x="1822638" y="4509613"/>
                  <a:pt x="1820288" y="4511962"/>
                  <a:pt x="1817939" y="4516660"/>
                </a:cubicBezTo>
                <a:cubicBezTo>
                  <a:pt x="1815590" y="4521357"/>
                  <a:pt x="1817939" y="4523706"/>
                  <a:pt x="1817939" y="4528404"/>
                </a:cubicBezTo>
                <a:cubicBezTo>
                  <a:pt x="1820288" y="4533101"/>
                  <a:pt x="1827334" y="4537799"/>
                  <a:pt x="1827334" y="4542496"/>
                </a:cubicBezTo>
                <a:cubicBezTo>
                  <a:pt x="1829682" y="4554240"/>
                  <a:pt x="1817939" y="4563635"/>
                  <a:pt x="1817939" y="4575379"/>
                </a:cubicBezTo>
                <a:cubicBezTo>
                  <a:pt x="1817939" y="4575379"/>
                  <a:pt x="1853173" y="4683423"/>
                  <a:pt x="1869616" y="4695167"/>
                </a:cubicBezTo>
                <a:lnTo>
                  <a:pt x="1876658" y="4699865"/>
                </a:lnTo>
                <a:cubicBezTo>
                  <a:pt x="1900146" y="4664633"/>
                  <a:pt x="1900146" y="4662284"/>
                  <a:pt x="1902495" y="4643494"/>
                </a:cubicBezTo>
                <a:cubicBezTo>
                  <a:pt x="1904843" y="4615308"/>
                  <a:pt x="1897797" y="4587123"/>
                  <a:pt x="1900146" y="4558938"/>
                </a:cubicBezTo>
                <a:cubicBezTo>
                  <a:pt x="1900146" y="4554240"/>
                  <a:pt x="1902495" y="4551891"/>
                  <a:pt x="1902495" y="4549542"/>
                </a:cubicBezTo>
                <a:cubicBezTo>
                  <a:pt x="1902495" y="4549542"/>
                  <a:pt x="1900146" y="4542496"/>
                  <a:pt x="1900146" y="4540147"/>
                </a:cubicBezTo>
                <a:lnTo>
                  <a:pt x="1893101" y="4530753"/>
                </a:lnTo>
                <a:cubicBezTo>
                  <a:pt x="1895451" y="4521357"/>
                  <a:pt x="1900146" y="4511962"/>
                  <a:pt x="1904843" y="4502567"/>
                </a:cubicBezTo>
                <a:cubicBezTo>
                  <a:pt x="1909543" y="4495521"/>
                  <a:pt x="1911894" y="4490823"/>
                  <a:pt x="1914238" y="4490823"/>
                </a:cubicBezTo>
                <a:cubicBezTo>
                  <a:pt x="1921286" y="4488474"/>
                  <a:pt x="1935378" y="4495521"/>
                  <a:pt x="1940079" y="4488474"/>
                </a:cubicBezTo>
                <a:cubicBezTo>
                  <a:pt x="1942424" y="4486125"/>
                  <a:pt x="1940079" y="4481428"/>
                  <a:pt x="1940079" y="4479079"/>
                </a:cubicBezTo>
                <a:cubicBezTo>
                  <a:pt x="1940079" y="4476731"/>
                  <a:pt x="1951821" y="4469684"/>
                  <a:pt x="1961214" y="4448545"/>
                </a:cubicBezTo>
                <a:cubicBezTo>
                  <a:pt x="1963563" y="4462638"/>
                  <a:pt x="1975307" y="4476731"/>
                  <a:pt x="1996449" y="4479079"/>
                </a:cubicBezTo>
                <a:cubicBezTo>
                  <a:pt x="2005841" y="4479079"/>
                  <a:pt x="2012887" y="4479079"/>
                  <a:pt x="2019934" y="4476731"/>
                </a:cubicBezTo>
                <a:cubicBezTo>
                  <a:pt x="2019934" y="4481428"/>
                  <a:pt x="2019934" y="4483777"/>
                  <a:pt x="2019934" y="4488474"/>
                </a:cubicBezTo>
                <a:cubicBezTo>
                  <a:pt x="2024634" y="4549542"/>
                  <a:pt x="2034027" y="4561286"/>
                  <a:pt x="2048119" y="4565984"/>
                </a:cubicBezTo>
                <a:cubicBezTo>
                  <a:pt x="2057514" y="4568333"/>
                  <a:pt x="2109190" y="4561286"/>
                  <a:pt x="2109190" y="4549542"/>
                </a:cubicBezTo>
                <a:cubicBezTo>
                  <a:pt x="2109190" y="4549542"/>
                  <a:pt x="2106840" y="4547194"/>
                  <a:pt x="2106840" y="4547194"/>
                </a:cubicBezTo>
                <a:lnTo>
                  <a:pt x="2095097" y="4540147"/>
                </a:lnTo>
                <a:cubicBezTo>
                  <a:pt x="2095097" y="4526055"/>
                  <a:pt x="2097443" y="4511962"/>
                  <a:pt x="2097443" y="4497869"/>
                </a:cubicBezTo>
                <a:cubicBezTo>
                  <a:pt x="2097443" y="4472033"/>
                  <a:pt x="2109190" y="4446196"/>
                  <a:pt x="2106840" y="4420360"/>
                </a:cubicBezTo>
                <a:cubicBezTo>
                  <a:pt x="2104489" y="4415662"/>
                  <a:pt x="2099792" y="4410965"/>
                  <a:pt x="2099792" y="4406267"/>
                </a:cubicBezTo>
                <a:cubicBezTo>
                  <a:pt x="2099792" y="4406267"/>
                  <a:pt x="2104489" y="4389826"/>
                  <a:pt x="2106840" y="4380430"/>
                </a:cubicBezTo>
                <a:lnTo>
                  <a:pt x="2090397" y="4331106"/>
                </a:lnTo>
                <a:cubicBezTo>
                  <a:pt x="2090397" y="4331106"/>
                  <a:pt x="2073955" y="4302921"/>
                  <a:pt x="2066912" y="4288828"/>
                </a:cubicBezTo>
                <a:lnTo>
                  <a:pt x="2048119" y="4286479"/>
                </a:lnTo>
                <a:lnTo>
                  <a:pt x="2026980" y="4321711"/>
                </a:lnTo>
                <a:lnTo>
                  <a:pt x="2022284" y="4326408"/>
                </a:lnTo>
                <a:cubicBezTo>
                  <a:pt x="2019934" y="4345199"/>
                  <a:pt x="2012887" y="4363989"/>
                  <a:pt x="2008192" y="4382779"/>
                </a:cubicBezTo>
                <a:cubicBezTo>
                  <a:pt x="1994099" y="4380430"/>
                  <a:pt x="1982356" y="4387477"/>
                  <a:pt x="1972958" y="4399221"/>
                </a:cubicBezTo>
                <a:cubicBezTo>
                  <a:pt x="1975307" y="4378082"/>
                  <a:pt x="1975307" y="4352245"/>
                  <a:pt x="1972958" y="4319362"/>
                </a:cubicBezTo>
                <a:cubicBezTo>
                  <a:pt x="1972958" y="4312316"/>
                  <a:pt x="1970609" y="4305270"/>
                  <a:pt x="1970609" y="4298223"/>
                </a:cubicBezTo>
                <a:cubicBezTo>
                  <a:pt x="2005841" y="4293526"/>
                  <a:pt x="2029329" y="4274735"/>
                  <a:pt x="2026980" y="4223062"/>
                </a:cubicBezTo>
                <a:cubicBezTo>
                  <a:pt x="2026980" y="4206621"/>
                  <a:pt x="1998794" y="4201923"/>
                  <a:pt x="2003492" y="4166692"/>
                </a:cubicBezTo>
                <a:cubicBezTo>
                  <a:pt x="2010542" y="4169040"/>
                  <a:pt x="2012887" y="4166692"/>
                  <a:pt x="2017585" y="4166692"/>
                </a:cubicBezTo>
                <a:cubicBezTo>
                  <a:pt x="2024634" y="4187831"/>
                  <a:pt x="2024634" y="4211318"/>
                  <a:pt x="2038727" y="4230109"/>
                </a:cubicBezTo>
                <a:cubicBezTo>
                  <a:pt x="2043421" y="4225411"/>
                  <a:pt x="2045770" y="4218365"/>
                  <a:pt x="2050469" y="4220713"/>
                </a:cubicBezTo>
                <a:cubicBezTo>
                  <a:pt x="2057514" y="4232457"/>
                  <a:pt x="2052819" y="4270038"/>
                  <a:pt x="2076304" y="4258294"/>
                </a:cubicBezTo>
                <a:cubicBezTo>
                  <a:pt x="2073955" y="4239504"/>
                  <a:pt x="2052819" y="4227760"/>
                  <a:pt x="2057514" y="4204272"/>
                </a:cubicBezTo>
                <a:cubicBezTo>
                  <a:pt x="2048119" y="4197226"/>
                  <a:pt x="2043421" y="4206621"/>
                  <a:pt x="2036377" y="4208970"/>
                </a:cubicBezTo>
                <a:cubicBezTo>
                  <a:pt x="2019934" y="4159645"/>
                  <a:pt x="2031677" y="4093879"/>
                  <a:pt x="2038727" y="4068043"/>
                </a:cubicBezTo>
                <a:cubicBezTo>
                  <a:pt x="2019934" y="4077438"/>
                  <a:pt x="2012887" y="4039857"/>
                  <a:pt x="2036377" y="4039857"/>
                </a:cubicBezTo>
                <a:cubicBezTo>
                  <a:pt x="2008192" y="4035160"/>
                  <a:pt x="2012887" y="4014021"/>
                  <a:pt x="2022284" y="3992882"/>
                </a:cubicBezTo>
                <a:cubicBezTo>
                  <a:pt x="2026980" y="3995231"/>
                  <a:pt x="2034027" y="3997579"/>
                  <a:pt x="2038727" y="3999928"/>
                </a:cubicBezTo>
                <a:cubicBezTo>
                  <a:pt x="2057514" y="3969394"/>
                  <a:pt x="2022284" y="3957650"/>
                  <a:pt x="2050469" y="3936511"/>
                </a:cubicBezTo>
                <a:cubicBezTo>
                  <a:pt x="2045770" y="3927116"/>
                  <a:pt x="2029329" y="3920070"/>
                  <a:pt x="2029329" y="3908326"/>
                </a:cubicBezTo>
                <a:cubicBezTo>
                  <a:pt x="2038727" y="3894233"/>
                  <a:pt x="2034027" y="3880140"/>
                  <a:pt x="2024634" y="3866048"/>
                </a:cubicBezTo>
                <a:cubicBezTo>
                  <a:pt x="2102140" y="3826119"/>
                  <a:pt x="2170255" y="3776794"/>
                  <a:pt x="2245413" y="3736865"/>
                </a:cubicBezTo>
                <a:cubicBezTo>
                  <a:pt x="2282994" y="3715726"/>
                  <a:pt x="2320574" y="3694587"/>
                  <a:pt x="2360503" y="3675797"/>
                </a:cubicBezTo>
                <a:cubicBezTo>
                  <a:pt x="2344062" y="3664053"/>
                  <a:pt x="2327620" y="3649960"/>
                  <a:pt x="2311179" y="3635868"/>
                </a:cubicBezTo>
                <a:cubicBezTo>
                  <a:pt x="2278296" y="3654658"/>
                  <a:pt x="2243064" y="3675797"/>
                  <a:pt x="2210188" y="3694587"/>
                </a:cubicBezTo>
                <a:cubicBezTo>
                  <a:pt x="2135025" y="3739214"/>
                  <a:pt x="2064562" y="3788538"/>
                  <a:pt x="1991749" y="3826119"/>
                </a:cubicBezTo>
                <a:cubicBezTo>
                  <a:pt x="1980006" y="3809677"/>
                  <a:pt x="1970609" y="3797933"/>
                  <a:pt x="1972958" y="3783841"/>
                </a:cubicBezTo>
                <a:cubicBezTo>
                  <a:pt x="1940079" y="3788538"/>
                  <a:pt x="1935378" y="3774445"/>
                  <a:pt x="1909543" y="3758004"/>
                </a:cubicBezTo>
                <a:cubicBezTo>
                  <a:pt x="1886053" y="3781492"/>
                  <a:pt x="1867266" y="3755655"/>
                  <a:pt x="1841426" y="3758004"/>
                </a:cubicBezTo>
                <a:cubicBezTo>
                  <a:pt x="1829682" y="3779143"/>
                  <a:pt x="1766267" y="3772097"/>
                  <a:pt x="1735732" y="3783841"/>
                </a:cubicBezTo>
                <a:cubicBezTo>
                  <a:pt x="1752175" y="3790887"/>
                  <a:pt x="1742778" y="3807328"/>
                  <a:pt x="1749825" y="3816723"/>
                </a:cubicBezTo>
                <a:cubicBezTo>
                  <a:pt x="1709897" y="3816723"/>
                  <a:pt x="1684058" y="3790887"/>
                  <a:pt x="1660569" y="3821421"/>
                </a:cubicBezTo>
                <a:cubicBezTo>
                  <a:pt x="1684058" y="3833165"/>
                  <a:pt x="1728684" y="3807328"/>
                  <a:pt x="1733382" y="3844909"/>
                </a:cubicBezTo>
                <a:cubicBezTo>
                  <a:pt x="1707547" y="3847258"/>
                  <a:pt x="1688755" y="3868397"/>
                  <a:pt x="1662919" y="3870745"/>
                </a:cubicBezTo>
                <a:cubicBezTo>
                  <a:pt x="1679362" y="3880140"/>
                  <a:pt x="1700499" y="3859002"/>
                  <a:pt x="1698150" y="3884838"/>
                </a:cubicBezTo>
                <a:cubicBezTo>
                  <a:pt x="1698150" y="3884838"/>
                  <a:pt x="1698150" y="3887187"/>
                  <a:pt x="1695805" y="3887187"/>
                </a:cubicBezTo>
                <a:cubicBezTo>
                  <a:pt x="1672313" y="3884838"/>
                  <a:pt x="1651177" y="3880140"/>
                  <a:pt x="1630035" y="3875443"/>
                </a:cubicBezTo>
                <a:cubicBezTo>
                  <a:pt x="1627686" y="3854304"/>
                  <a:pt x="1622992" y="3849607"/>
                  <a:pt x="1599502" y="3837863"/>
                </a:cubicBezTo>
                <a:cubicBezTo>
                  <a:pt x="1590107" y="3833165"/>
                  <a:pt x="1580714" y="3833165"/>
                  <a:pt x="1573665" y="3826119"/>
                </a:cubicBezTo>
                <a:cubicBezTo>
                  <a:pt x="1573665" y="3826119"/>
                  <a:pt x="1550179" y="3767399"/>
                  <a:pt x="1547828" y="3765050"/>
                </a:cubicBezTo>
                <a:lnTo>
                  <a:pt x="1540786" y="3772097"/>
                </a:lnTo>
                <a:lnTo>
                  <a:pt x="1540786" y="3776794"/>
                </a:lnTo>
                <a:lnTo>
                  <a:pt x="1538436" y="3816723"/>
                </a:lnTo>
                <a:cubicBezTo>
                  <a:pt x="1524344" y="3814375"/>
                  <a:pt x="1517295" y="3814375"/>
                  <a:pt x="1507901" y="3814375"/>
                </a:cubicBezTo>
                <a:cubicBezTo>
                  <a:pt x="1505551" y="3812026"/>
                  <a:pt x="1500853" y="3809677"/>
                  <a:pt x="1498509" y="3807328"/>
                </a:cubicBezTo>
                <a:cubicBezTo>
                  <a:pt x="1493808" y="3807328"/>
                  <a:pt x="1491458" y="3809677"/>
                  <a:pt x="1489110" y="3812026"/>
                </a:cubicBezTo>
                <a:cubicBezTo>
                  <a:pt x="1489110" y="3812026"/>
                  <a:pt x="1486761" y="3812026"/>
                  <a:pt x="1484412" y="3812026"/>
                </a:cubicBezTo>
                <a:lnTo>
                  <a:pt x="1496158" y="3804980"/>
                </a:lnTo>
                <a:cubicBezTo>
                  <a:pt x="1496158" y="3804980"/>
                  <a:pt x="1493808" y="3802631"/>
                  <a:pt x="1493808" y="3802631"/>
                </a:cubicBezTo>
                <a:cubicBezTo>
                  <a:pt x="1491458" y="3807328"/>
                  <a:pt x="1486761" y="3809677"/>
                  <a:pt x="1482066" y="3812026"/>
                </a:cubicBezTo>
                <a:cubicBezTo>
                  <a:pt x="1477366" y="3809677"/>
                  <a:pt x="1472668" y="3809677"/>
                  <a:pt x="1467973" y="3807328"/>
                </a:cubicBezTo>
                <a:cubicBezTo>
                  <a:pt x="1467973" y="3814375"/>
                  <a:pt x="1465623" y="3819072"/>
                  <a:pt x="1463273" y="3823770"/>
                </a:cubicBezTo>
                <a:cubicBezTo>
                  <a:pt x="1460923" y="3828467"/>
                  <a:pt x="1460923" y="3830816"/>
                  <a:pt x="1460923" y="3833165"/>
                </a:cubicBezTo>
                <a:cubicBezTo>
                  <a:pt x="1458574" y="3835514"/>
                  <a:pt x="1453881" y="3837863"/>
                  <a:pt x="1451531" y="3840211"/>
                </a:cubicBezTo>
                <a:cubicBezTo>
                  <a:pt x="1458574" y="3847258"/>
                  <a:pt x="1465623" y="3854304"/>
                  <a:pt x="1475017" y="3861350"/>
                </a:cubicBezTo>
                <a:cubicBezTo>
                  <a:pt x="1475017" y="3863699"/>
                  <a:pt x="1472668" y="3863699"/>
                  <a:pt x="1472668" y="3866048"/>
                </a:cubicBezTo>
                <a:cubicBezTo>
                  <a:pt x="1463273" y="3889536"/>
                  <a:pt x="1460923" y="3889536"/>
                  <a:pt x="1456226" y="3889536"/>
                </a:cubicBezTo>
                <a:cubicBezTo>
                  <a:pt x="1451531" y="3889536"/>
                  <a:pt x="1449180" y="3889536"/>
                  <a:pt x="1446832" y="3887187"/>
                </a:cubicBezTo>
                <a:cubicBezTo>
                  <a:pt x="1439788" y="3882489"/>
                  <a:pt x="1442133" y="3870745"/>
                  <a:pt x="1435088" y="3866048"/>
                </a:cubicBezTo>
                <a:cubicBezTo>
                  <a:pt x="1430390" y="3863699"/>
                  <a:pt x="1425696" y="3861350"/>
                  <a:pt x="1420995" y="3861350"/>
                </a:cubicBezTo>
                <a:cubicBezTo>
                  <a:pt x="1411603" y="3861350"/>
                  <a:pt x="1418645" y="3882489"/>
                  <a:pt x="1411603" y="3887187"/>
                </a:cubicBezTo>
                <a:cubicBezTo>
                  <a:pt x="1404552" y="3891884"/>
                  <a:pt x="1395160" y="3882489"/>
                  <a:pt x="1385763" y="3884838"/>
                </a:cubicBezTo>
                <a:cubicBezTo>
                  <a:pt x="1376368" y="3887187"/>
                  <a:pt x="1371671" y="3903628"/>
                  <a:pt x="1359927" y="3903628"/>
                </a:cubicBezTo>
                <a:cubicBezTo>
                  <a:pt x="1359927" y="3903628"/>
                  <a:pt x="1357578" y="3901280"/>
                  <a:pt x="1357578" y="3901280"/>
                </a:cubicBezTo>
                <a:cubicBezTo>
                  <a:pt x="1355228" y="3903628"/>
                  <a:pt x="1350532" y="3905977"/>
                  <a:pt x="1348182" y="3908326"/>
                </a:cubicBezTo>
                <a:cubicBezTo>
                  <a:pt x="1350532" y="3917721"/>
                  <a:pt x="1359927" y="3924767"/>
                  <a:pt x="1357578" y="3931814"/>
                </a:cubicBezTo>
                <a:cubicBezTo>
                  <a:pt x="1355228" y="3941209"/>
                  <a:pt x="1338790" y="3938860"/>
                  <a:pt x="1336440" y="3948255"/>
                </a:cubicBezTo>
                <a:cubicBezTo>
                  <a:pt x="1334090" y="3952953"/>
                  <a:pt x="1341135" y="3959999"/>
                  <a:pt x="1338790" y="3964697"/>
                </a:cubicBezTo>
                <a:cubicBezTo>
                  <a:pt x="1336440" y="3971743"/>
                  <a:pt x="1329393" y="3976440"/>
                  <a:pt x="1322347" y="3981138"/>
                </a:cubicBezTo>
                <a:cubicBezTo>
                  <a:pt x="1317649" y="3983487"/>
                  <a:pt x="1315299" y="3981138"/>
                  <a:pt x="1310605" y="3981138"/>
                </a:cubicBezTo>
                <a:cubicBezTo>
                  <a:pt x="1315299" y="3969394"/>
                  <a:pt x="1315299" y="3969394"/>
                  <a:pt x="1317649" y="3969394"/>
                </a:cubicBezTo>
                <a:cubicBezTo>
                  <a:pt x="1322347" y="3969394"/>
                  <a:pt x="1324697" y="3971743"/>
                  <a:pt x="1327043" y="3971743"/>
                </a:cubicBezTo>
                <a:cubicBezTo>
                  <a:pt x="1329393" y="3971743"/>
                  <a:pt x="1329393" y="3967046"/>
                  <a:pt x="1331741" y="3964697"/>
                </a:cubicBezTo>
                <a:cubicBezTo>
                  <a:pt x="1322347" y="3962348"/>
                  <a:pt x="1315299" y="3952953"/>
                  <a:pt x="1305905" y="3948255"/>
                </a:cubicBezTo>
                <a:cubicBezTo>
                  <a:pt x="1303555" y="3945906"/>
                  <a:pt x="1298858" y="3945906"/>
                  <a:pt x="1296512" y="3945906"/>
                </a:cubicBezTo>
                <a:cubicBezTo>
                  <a:pt x="1284765" y="3955302"/>
                  <a:pt x="1280070" y="3959999"/>
                  <a:pt x="1284765" y="3957650"/>
                </a:cubicBezTo>
                <a:cubicBezTo>
                  <a:pt x="1284765" y="3957650"/>
                  <a:pt x="1282420" y="3959999"/>
                  <a:pt x="1280070" y="3959999"/>
                </a:cubicBezTo>
                <a:cubicBezTo>
                  <a:pt x="1277719" y="3967046"/>
                  <a:pt x="1275370" y="3974092"/>
                  <a:pt x="1277719" y="3981138"/>
                </a:cubicBezTo>
                <a:cubicBezTo>
                  <a:pt x="1277719" y="3985835"/>
                  <a:pt x="1282420" y="3988184"/>
                  <a:pt x="1284765" y="3990533"/>
                </a:cubicBezTo>
                <a:cubicBezTo>
                  <a:pt x="1275370" y="3992882"/>
                  <a:pt x="1263627" y="3997579"/>
                  <a:pt x="1254235" y="4002277"/>
                </a:cubicBezTo>
                <a:cubicBezTo>
                  <a:pt x="1251884" y="4004626"/>
                  <a:pt x="1249534" y="4004626"/>
                  <a:pt x="1247184" y="4006975"/>
                </a:cubicBezTo>
                <a:cubicBezTo>
                  <a:pt x="1254235" y="4016370"/>
                  <a:pt x="1258928" y="4023416"/>
                  <a:pt x="1265977" y="4032811"/>
                </a:cubicBezTo>
                <a:cubicBezTo>
                  <a:pt x="1258928" y="4037509"/>
                  <a:pt x="1254235" y="4044555"/>
                  <a:pt x="1247184" y="4044555"/>
                </a:cubicBezTo>
                <a:cubicBezTo>
                  <a:pt x="1242488" y="4044555"/>
                  <a:pt x="1240142" y="4039857"/>
                  <a:pt x="1237792" y="4039857"/>
                </a:cubicBezTo>
                <a:cubicBezTo>
                  <a:pt x="1230743" y="4037509"/>
                  <a:pt x="1223699" y="4068043"/>
                  <a:pt x="1195514" y="4070392"/>
                </a:cubicBezTo>
                <a:cubicBezTo>
                  <a:pt x="1195514" y="4063345"/>
                  <a:pt x="1200209" y="4056299"/>
                  <a:pt x="1195514" y="4051601"/>
                </a:cubicBezTo>
                <a:cubicBezTo>
                  <a:pt x="1193164" y="4049253"/>
                  <a:pt x="1188465" y="4049253"/>
                  <a:pt x="1186117" y="4049253"/>
                </a:cubicBezTo>
                <a:cubicBezTo>
                  <a:pt x="1181422" y="4049253"/>
                  <a:pt x="1174373" y="4056299"/>
                  <a:pt x="1169679" y="4053950"/>
                </a:cubicBezTo>
                <a:cubicBezTo>
                  <a:pt x="1167329" y="4051601"/>
                  <a:pt x="1162629" y="4049253"/>
                  <a:pt x="1160280" y="4044555"/>
                </a:cubicBezTo>
                <a:cubicBezTo>
                  <a:pt x="1160280" y="4042206"/>
                  <a:pt x="1160280" y="4037509"/>
                  <a:pt x="1160280" y="4035160"/>
                </a:cubicBezTo>
                <a:cubicBezTo>
                  <a:pt x="1160280" y="4032811"/>
                  <a:pt x="1157931" y="4030462"/>
                  <a:pt x="1155587" y="4028114"/>
                </a:cubicBezTo>
                <a:cubicBezTo>
                  <a:pt x="1143839" y="4049253"/>
                  <a:pt x="1146188" y="4044555"/>
                  <a:pt x="1139144" y="4046904"/>
                </a:cubicBezTo>
                <a:cubicBezTo>
                  <a:pt x="1139144" y="4046904"/>
                  <a:pt x="1136794" y="4046904"/>
                  <a:pt x="1134444" y="4046904"/>
                </a:cubicBezTo>
                <a:cubicBezTo>
                  <a:pt x="1132095" y="4051601"/>
                  <a:pt x="1127401" y="4053950"/>
                  <a:pt x="1125051" y="4056299"/>
                </a:cubicBezTo>
                <a:lnTo>
                  <a:pt x="1127401" y="4058648"/>
                </a:lnTo>
                <a:lnTo>
                  <a:pt x="1127401" y="4066483"/>
                </a:lnTo>
                <a:lnTo>
                  <a:pt x="1132110" y="4063344"/>
                </a:lnTo>
                <a:lnTo>
                  <a:pt x="1132110" y="4077437"/>
                </a:lnTo>
                <a:lnTo>
                  <a:pt x="1129760" y="4077437"/>
                </a:lnTo>
                <a:lnTo>
                  <a:pt x="1125839" y="4069601"/>
                </a:lnTo>
                <a:lnTo>
                  <a:pt x="1122701" y="4072741"/>
                </a:lnTo>
                <a:lnTo>
                  <a:pt x="1118002" y="4068043"/>
                </a:lnTo>
                <a:lnTo>
                  <a:pt x="1115654" y="4065694"/>
                </a:lnTo>
                <a:cubicBezTo>
                  <a:pt x="1087468" y="4093879"/>
                  <a:pt x="1059282" y="4124414"/>
                  <a:pt x="1040496" y="4157296"/>
                </a:cubicBezTo>
                <a:cubicBezTo>
                  <a:pt x="1061632" y="4126762"/>
                  <a:pt x="1028748" y="4131460"/>
                  <a:pt x="1035796" y="4115018"/>
                </a:cubicBezTo>
                <a:cubicBezTo>
                  <a:pt x="1007610" y="4147901"/>
                  <a:pt x="993518" y="4180784"/>
                  <a:pt x="984126" y="4206621"/>
                </a:cubicBezTo>
                <a:lnTo>
                  <a:pt x="986470" y="4206621"/>
                </a:lnTo>
                <a:lnTo>
                  <a:pt x="991168" y="4211318"/>
                </a:lnTo>
                <a:lnTo>
                  <a:pt x="986470" y="4220713"/>
                </a:lnTo>
                <a:cubicBezTo>
                  <a:pt x="986470" y="4223062"/>
                  <a:pt x="984126" y="4223062"/>
                  <a:pt x="984126" y="4223062"/>
                </a:cubicBezTo>
                <a:cubicBezTo>
                  <a:pt x="984126" y="4223062"/>
                  <a:pt x="981775" y="4220713"/>
                  <a:pt x="981775" y="4220713"/>
                </a:cubicBezTo>
                <a:lnTo>
                  <a:pt x="979425" y="4218365"/>
                </a:lnTo>
                <a:cubicBezTo>
                  <a:pt x="977076" y="4223062"/>
                  <a:pt x="974727" y="4227760"/>
                  <a:pt x="974727" y="4232457"/>
                </a:cubicBezTo>
                <a:cubicBezTo>
                  <a:pt x="967683" y="4258294"/>
                  <a:pt x="972378" y="4265340"/>
                  <a:pt x="986470" y="4244201"/>
                </a:cubicBezTo>
                <a:cubicBezTo>
                  <a:pt x="977076" y="4255945"/>
                  <a:pt x="967683" y="4270038"/>
                  <a:pt x="958286" y="4281782"/>
                </a:cubicBezTo>
                <a:cubicBezTo>
                  <a:pt x="958286" y="4284131"/>
                  <a:pt x="955940" y="4286479"/>
                  <a:pt x="958286" y="4288828"/>
                </a:cubicBezTo>
                <a:cubicBezTo>
                  <a:pt x="962983" y="4291177"/>
                  <a:pt x="970028" y="4293526"/>
                  <a:pt x="974727" y="4291177"/>
                </a:cubicBezTo>
                <a:cubicBezTo>
                  <a:pt x="977076" y="4291177"/>
                  <a:pt x="979425" y="4281782"/>
                  <a:pt x="984126" y="4272387"/>
                </a:cubicBezTo>
                <a:cubicBezTo>
                  <a:pt x="986470" y="4274735"/>
                  <a:pt x="988819" y="4277084"/>
                  <a:pt x="991168" y="4279433"/>
                </a:cubicBezTo>
                <a:cubicBezTo>
                  <a:pt x="991168" y="4314665"/>
                  <a:pt x="993518" y="4298223"/>
                  <a:pt x="984126" y="4319362"/>
                </a:cubicBezTo>
                <a:cubicBezTo>
                  <a:pt x="984126" y="4321711"/>
                  <a:pt x="984126" y="4324060"/>
                  <a:pt x="984126" y="4326408"/>
                </a:cubicBezTo>
                <a:cubicBezTo>
                  <a:pt x="988819" y="4321711"/>
                  <a:pt x="993518" y="4314665"/>
                  <a:pt x="1000564" y="4314665"/>
                </a:cubicBezTo>
                <a:cubicBezTo>
                  <a:pt x="1002912" y="4314665"/>
                  <a:pt x="1007610" y="4319362"/>
                  <a:pt x="1007610" y="4321711"/>
                </a:cubicBezTo>
                <a:cubicBezTo>
                  <a:pt x="1007610" y="4321711"/>
                  <a:pt x="993518" y="4338152"/>
                  <a:pt x="993518" y="4347548"/>
                </a:cubicBezTo>
                <a:lnTo>
                  <a:pt x="995868" y="4356943"/>
                </a:lnTo>
                <a:lnTo>
                  <a:pt x="955940" y="4389826"/>
                </a:lnTo>
                <a:cubicBezTo>
                  <a:pt x="953590" y="4392174"/>
                  <a:pt x="953590" y="4396872"/>
                  <a:pt x="948890" y="4396872"/>
                </a:cubicBezTo>
                <a:cubicBezTo>
                  <a:pt x="946541" y="4396872"/>
                  <a:pt x="941843" y="4392174"/>
                  <a:pt x="941843" y="4389826"/>
                </a:cubicBezTo>
                <a:cubicBezTo>
                  <a:pt x="941843" y="4385128"/>
                  <a:pt x="948890" y="4366338"/>
                  <a:pt x="974727" y="4356943"/>
                </a:cubicBezTo>
                <a:cubicBezTo>
                  <a:pt x="962983" y="4349896"/>
                  <a:pt x="972378" y="4352245"/>
                  <a:pt x="948890" y="4347548"/>
                </a:cubicBezTo>
                <a:cubicBezTo>
                  <a:pt x="955940" y="4342850"/>
                  <a:pt x="962983" y="4340501"/>
                  <a:pt x="967683" y="4335804"/>
                </a:cubicBezTo>
                <a:cubicBezTo>
                  <a:pt x="970028" y="4333455"/>
                  <a:pt x="970028" y="4333455"/>
                  <a:pt x="972378" y="4331106"/>
                </a:cubicBezTo>
                <a:cubicBezTo>
                  <a:pt x="951240" y="4319362"/>
                  <a:pt x="948890" y="4314665"/>
                  <a:pt x="951240" y="4295875"/>
                </a:cubicBezTo>
                <a:cubicBezTo>
                  <a:pt x="951240" y="4291177"/>
                  <a:pt x="953590" y="4288828"/>
                  <a:pt x="955940" y="4286479"/>
                </a:cubicBezTo>
                <a:cubicBezTo>
                  <a:pt x="953590" y="4286479"/>
                  <a:pt x="953590" y="4286479"/>
                  <a:pt x="953590" y="4286479"/>
                </a:cubicBezTo>
                <a:cubicBezTo>
                  <a:pt x="948890" y="4291177"/>
                  <a:pt x="946541" y="4293526"/>
                  <a:pt x="941843" y="4298223"/>
                </a:cubicBezTo>
                <a:cubicBezTo>
                  <a:pt x="937148" y="4302921"/>
                  <a:pt x="932448" y="4307619"/>
                  <a:pt x="927750" y="4309967"/>
                </a:cubicBezTo>
                <a:lnTo>
                  <a:pt x="930100" y="4312316"/>
                </a:lnTo>
                <a:lnTo>
                  <a:pt x="923055" y="4317014"/>
                </a:lnTo>
                <a:lnTo>
                  <a:pt x="920705" y="4314665"/>
                </a:lnTo>
                <a:cubicBezTo>
                  <a:pt x="918355" y="4317014"/>
                  <a:pt x="916007" y="4317014"/>
                  <a:pt x="913658" y="4319362"/>
                </a:cubicBezTo>
                <a:cubicBezTo>
                  <a:pt x="904263" y="4326408"/>
                  <a:pt x="897220" y="4331106"/>
                  <a:pt x="887821" y="4333455"/>
                </a:cubicBezTo>
                <a:cubicBezTo>
                  <a:pt x="873728" y="4340501"/>
                  <a:pt x="861985" y="4342850"/>
                  <a:pt x="852592" y="4345199"/>
                </a:cubicBezTo>
                <a:lnTo>
                  <a:pt x="857287" y="4354594"/>
                </a:lnTo>
                <a:lnTo>
                  <a:pt x="838500" y="4373384"/>
                </a:lnTo>
                <a:lnTo>
                  <a:pt x="836149" y="4349896"/>
                </a:lnTo>
                <a:lnTo>
                  <a:pt x="815220" y="4351799"/>
                </a:lnTo>
                <a:lnTo>
                  <a:pt x="822077" y="4356941"/>
                </a:lnTo>
                <a:cubicBezTo>
                  <a:pt x="822077" y="4356941"/>
                  <a:pt x="824424" y="4359290"/>
                  <a:pt x="824424" y="4359290"/>
                </a:cubicBezTo>
                <a:lnTo>
                  <a:pt x="822077" y="4368685"/>
                </a:lnTo>
                <a:lnTo>
                  <a:pt x="812682" y="4371034"/>
                </a:lnTo>
                <a:lnTo>
                  <a:pt x="807982" y="4366337"/>
                </a:lnTo>
                <a:lnTo>
                  <a:pt x="805634" y="4356941"/>
                </a:lnTo>
                <a:lnTo>
                  <a:pt x="810331" y="4352243"/>
                </a:lnTo>
                <a:lnTo>
                  <a:pt x="810314" y="4352245"/>
                </a:lnTo>
                <a:lnTo>
                  <a:pt x="792128" y="4352245"/>
                </a:lnTo>
                <a:lnTo>
                  <a:pt x="793889" y="4359291"/>
                </a:lnTo>
                <a:lnTo>
                  <a:pt x="789190" y="4361640"/>
                </a:lnTo>
                <a:lnTo>
                  <a:pt x="779790" y="4359291"/>
                </a:lnTo>
                <a:lnTo>
                  <a:pt x="785430" y="4352245"/>
                </a:lnTo>
                <a:lnTo>
                  <a:pt x="777429" y="4352245"/>
                </a:lnTo>
                <a:cubicBezTo>
                  <a:pt x="765686" y="4354594"/>
                  <a:pt x="753944" y="4349896"/>
                  <a:pt x="739852" y="4347548"/>
                </a:cubicBezTo>
                <a:cubicBezTo>
                  <a:pt x="732802" y="4347548"/>
                  <a:pt x="725755" y="4342850"/>
                  <a:pt x="718709" y="4340501"/>
                </a:cubicBezTo>
                <a:cubicBezTo>
                  <a:pt x="711666" y="4335804"/>
                  <a:pt x="702269" y="4335804"/>
                  <a:pt x="695224" y="4328757"/>
                </a:cubicBezTo>
                <a:cubicBezTo>
                  <a:pt x="678781" y="4317014"/>
                  <a:pt x="659991" y="4305270"/>
                  <a:pt x="645898" y="4281782"/>
                </a:cubicBezTo>
                <a:cubicBezTo>
                  <a:pt x="641204" y="4277084"/>
                  <a:pt x="638853" y="4274735"/>
                  <a:pt x="636503" y="4272387"/>
                </a:cubicBezTo>
                <a:cubicBezTo>
                  <a:pt x="634153" y="4270038"/>
                  <a:pt x="634153" y="4267689"/>
                  <a:pt x="631806" y="4265340"/>
                </a:cubicBezTo>
                <a:cubicBezTo>
                  <a:pt x="629456" y="4260643"/>
                  <a:pt x="627111" y="4258294"/>
                  <a:pt x="624761" y="4258294"/>
                </a:cubicBezTo>
                <a:cubicBezTo>
                  <a:pt x="622411" y="4258294"/>
                  <a:pt x="622411" y="4265340"/>
                  <a:pt x="624761" y="4274735"/>
                </a:cubicBezTo>
                <a:cubicBezTo>
                  <a:pt x="624761" y="4279433"/>
                  <a:pt x="629456" y="4284131"/>
                  <a:pt x="631806" y="4291177"/>
                </a:cubicBezTo>
                <a:cubicBezTo>
                  <a:pt x="634153" y="4298223"/>
                  <a:pt x="638853" y="4305270"/>
                  <a:pt x="643548" y="4312316"/>
                </a:cubicBezTo>
                <a:lnTo>
                  <a:pt x="655997" y="4324764"/>
                </a:lnTo>
                <a:lnTo>
                  <a:pt x="626231" y="4302627"/>
                </a:lnTo>
                <a:cubicBezTo>
                  <a:pt x="610668" y="4285304"/>
                  <a:pt x="598926" y="4265340"/>
                  <a:pt x="591875" y="4244201"/>
                </a:cubicBezTo>
                <a:cubicBezTo>
                  <a:pt x="580133" y="4201923"/>
                  <a:pt x="582483" y="4161994"/>
                  <a:pt x="594225" y="4131460"/>
                </a:cubicBezTo>
                <a:cubicBezTo>
                  <a:pt x="605970" y="4100926"/>
                  <a:pt x="620060" y="4077438"/>
                  <a:pt x="636503" y="4058648"/>
                </a:cubicBezTo>
                <a:cubicBezTo>
                  <a:pt x="643548" y="4049253"/>
                  <a:pt x="652946" y="4039857"/>
                  <a:pt x="659991" y="4032811"/>
                </a:cubicBezTo>
                <a:cubicBezTo>
                  <a:pt x="667039" y="4025765"/>
                  <a:pt x="676431" y="4016370"/>
                  <a:pt x="683477" y="4011672"/>
                </a:cubicBezTo>
                <a:cubicBezTo>
                  <a:pt x="631806" y="4060997"/>
                  <a:pt x="617713" y="4105623"/>
                  <a:pt x="613018" y="4126762"/>
                </a:cubicBezTo>
                <a:cubicBezTo>
                  <a:pt x="610668" y="4150250"/>
                  <a:pt x="617713" y="4152599"/>
                  <a:pt x="624761" y="4150250"/>
                </a:cubicBezTo>
                <a:cubicBezTo>
                  <a:pt x="629456" y="4147901"/>
                  <a:pt x="636503" y="4143204"/>
                  <a:pt x="643548" y="4138506"/>
                </a:cubicBezTo>
                <a:cubicBezTo>
                  <a:pt x="659991" y="4100926"/>
                  <a:pt x="690524" y="4058648"/>
                  <a:pt x="744547" y="4021067"/>
                </a:cubicBezTo>
                <a:cubicBezTo>
                  <a:pt x="746895" y="4021067"/>
                  <a:pt x="746895" y="4021067"/>
                  <a:pt x="749244" y="4018719"/>
                </a:cubicBezTo>
                <a:cubicBezTo>
                  <a:pt x="749244" y="4018719"/>
                  <a:pt x="749244" y="4016370"/>
                  <a:pt x="749244" y="4016370"/>
                </a:cubicBezTo>
                <a:cubicBezTo>
                  <a:pt x="749244" y="4014021"/>
                  <a:pt x="742197" y="4006975"/>
                  <a:pt x="739852" y="4006975"/>
                </a:cubicBezTo>
                <a:cubicBezTo>
                  <a:pt x="728104" y="4004626"/>
                  <a:pt x="718709" y="4009323"/>
                  <a:pt x="714012" y="4014021"/>
                </a:cubicBezTo>
                <a:cubicBezTo>
                  <a:pt x="716360" y="4018719"/>
                  <a:pt x="721059" y="4021067"/>
                  <a:pt x="725755" y="4023416"/>
                </a:cubicBezTo>
                <a:cubicBezTo>
                  <a:pt x="721059" y="4025765"/>
                  <a:pt x="718709" y="4028114"/>
                  <a:pt x="716360" y="4030462"/>
                </a:cubicBezTo>
                <a:cubicBezTo>
                  <a:pt x="716360" y="4028114"/>
                  <a:pt x="714012" y="4025765"/>
                  <a:pt x="714012" y="4023416"/>
                </a:cubicBezTo>
                <a:cubicBezTo>
                  <a:pt x="714012" y="4023416"/>
                  <a:pt x="695224" y="4016370"/>
                  <a:pt x="685826" y="4014021"/>
                </a:cubicBezTo>
                <a:lnTo>
                  <a:pt x="687706" y="4006504"/>
                </a:lnTo>
                <a:lnTo>
                  <a:pt x="690524" y="4004626"/>
                </a:lnTo>
                <a:lnTo>
                  <a:pt x="695224" y="3981138"/>
                </a:lnTo>
                <a:cubicBezTo>
                  <a:pt x="699919" y="3978789"/>
                  <a:pt x="702269" y="3976440"/>
                  <a:pt x="704616" y="3976440"/>
                </a:cubicBezTo>
                <a:cubicBezTo>
                  <a:pt x="706966" y="3976440"/>
                  <a:pt x="711666" y="3978789"/>
                  <a:pt x="711666" y="3981138"/>
                </a:cubicBezTo>
                <a:cubicBezTo>
                  <a:pt x="711666" y="3981138"/>
                  <a:pt x="711666" y="3988184"/>
                  <a:pt x="711666" y="3990533"/>
                </a:cubicBezTo>
                <a:lnTo>
                  <a:pt x="718709" y="3985835"/>
                </a:lnTo>
                <a:cubicBezTo>
                  <a:pt x="721059" y="3985835"/>
                  <a:pt x="721059" y="3985835"/>
                  <a:pt x="721059" y="3985835"/>
                </a:cubicBezTo>
                <a:cubicBezTo>
                  <a:pt x="730454" y="3981138"/>
                  <a:pt x="739852" y="3974092"/>
                  <a:pt x="749244" y="3969394"/>
                </a:cubicBezTo>
                <a:cubicBezTo>
                  <a:pt x="770382" y="3957650"/>
                  <a:pt x="793872" y="3950604"/>
                  <a:pt x="819707" y="3948255"/>
                </a:cubicBezTo>
                <a:cubicBezTo>
                  <a:pt x="829102" y="3948255"/>
                  <a:pt x="836149" y="3948255"/>
                  <a:pt x="845543" y="3948255"/>
                </a:cubicBezTo>
                <a:cubicBezTo>
                  <a:pt x="847892" y="3943558"/>
                  <a:pt x="845543" y="3938860"/>
                  <a:pt x="838500" y="3936511"/>
                </a:cubicBezTo>
                <a:cubicBezTo>
                  <a:pt x="836149" y="3936511"/>
                  <a:pt x="836149" y="3938860"/>
                  <a:pt x="833800" y="3938860"/>
                </a:cubicBezTo>
                <a:cubicBezTo>
                  <a:pt x="833800" y="3938860"/>
                  <a:pt x="826757" y="3936511"/>
                  <a:pt x="822057" y="3934162"/>
                </a:cubicBezTo>
                <a:lnTo>
                  <a:pt x="817359" y="3927116"/>
                </a:lnTo>
                <a:cubicBezTo>
                  <a:pt x="824407" y="3915372"/>
                  <a:pt x="831452" y="3903628"/>
                  <a:pt x="838500" y="3891884"/>
                </a:cubicBezTo>
                <a:cubicBezTo>
                  <a:pt x="824407" y="3891884"/>
                  <a:pt x="810314" y="3903628"/>
                  <a:pt x="793872" y="3903628"/>
                </a:cubicBezTo>
                <a:cubicBezTo>
                  <a:pt x="786824" y="3903628"/>
                  <a:pt x="786824" y="3894233"/>
                  <a:pt x="784479" y="3889536"/>
                </a:cubicBezTo>
                <a:cubicBezTo>
                  <a:pt x="779779" y="3884838"/>
                  <a:pt x="775080" y="3882489"/>
                  <a:pt x="770382" y="3880140"/>
                </a:cubicBezTo>
                <a:cubicBezTo>
                  <a:pt x="777429" y="3877792"/>
                  <a:pt x="779779" y="3875443"/>
                  <a:pt x="779779" y="3870745"/>
                </a:cubicBezTo>
                <a:cubicBezTo>
                  <a:pt x="779779" y="3866048"/>
                  <a:pt x="772731" y="3863699"/>
                  <a:pt x="772731" y="3861350"/>
                </a:cubicBezTo>
                <a:cubicBezTo>
                  <a:pt x="772731" y="3861350"/>
                  <a:pt x="772731" y="3854304"/>
                  <a:pt x="772731" y="3851955"/>
                </a:cubicBezTo>
                <a:lnTo>
                  <a:pt x="784479" y="3842560"/>
                </a:lnTo>
                <a:lnTo>
                  <a:pt x="800917" y="3873094"/>
                </a:lnTo>
                <a:cubicBezTo>
                  <a:pt x="812665" y="3868397"/>
                  <a:pt x="815010" y="3868397"/>
                  <a:pt x="815010" y="3861350"/>
                </a:cubicBezTo>
                <a:cubicBezTo>
                  <a:pt x="817359" y="3842560"/>
                  <a:pt x="817359" y="3844909"/>
                  <a:pt x="800917" y="3840211"/>
                </a:cubicBezTo>
                <a:cubicBezTo>
                  <a:pt x="793872" y="3835514"/>
                  <a:pt x="789174" y="3828467"/>
                  <a:pt x="793872" y="3821421"/>
                </a:cubicBezTo>
                <a:cubicBezTo>
                  <a:pt x="796222" y="3819072"/>
                  <a:pt x="800917" y="3819072"/>
                  <a:pt x="803265" y="3819072"/>
                </a:cubicBezTo>
                <a:cubicBezTo>
                  <a:pt x="836149" y="3830816"/>
                  <a:pt x="845543" y="3837863"/>
                  <a:pt x="845543" y="3844909"/>
                </a:cubicBezTo>
                <a:cubicBezTo>
                  <a:pt x="845543" y="3851955"/>
                  <a:pt x="838500" y="3854304"/>
                  <a:pt x="836149" y="3861350"/>
                </a:cubicBezTo>
                <a:cubicBezTo>
                  <a:pt x="836149" y="3861350"/>
                  <a:pt x="831452" y="3870745"/>
                  <a:pt x="845543" y="3870745"/>
                </a:cubicBezTo>
                <a:lnTo>
                  <a:pt x="871380" y="3854304"/>
                </a:lnTo>
                <a:cubicBezTo>
                  <a:pt x="864334" y="3842560"/>
                  <a:pt x="857287" y="3830816"/>
                  <a:pt x="850242" y="3819072"/>
                </a:cubicBezTo>
                <a:cubicBezTo>
                  <a:pt x="854942" y="3814375"/>
                  <a:pt x="861985" y="3812026"/>
                  <a:pt x="866685" y="3809677"/>
                </a:cubicBezTo>
                <a:cubicBezTo>
                  <a:pt x="873728" y="3816723"/>
                  <a:pt x="880777" y="3823770"/>
                  <a:pt x="887821" y="3830816"/>
                </a:cubicBezTo>
                <a:lnTo>
                  <a:pt x="883127" y="3833165"/>
                </a:lnTo>
                <a:lnTo>
                  <a:pt x="878427" y="3877792"/>
                </a:lnTo>
                <a:lnTo>
                  <a:pt x="918355" y="3901280"/>
                </a:lnTo>
                <a:cubicBezTo>
                  <a:pt x="916007" y="3905977"/>
                  <a:pt x="916007" y="3908326"/>
                  <a:pt x="913658" y="3910675"/>
                </a:cubicBezTo>
                <a:cubicBezTo>
                  <a:pt x="906612" y="3915372"/>
                  <a:pt x="894870" y="3905977"/>
                  <a:pt x="885472" y="3910675"/>
                </a:cubicBezTo>
                <a:cubicBezTo>
                  <a:pt x="883127" y="3913024"/>
                  <a:pt x="878427" y="3915372"/>
                  <a:pt x="878427" y="3920070"/>
                </a:cubicBezTo>
                <a:cubicBezTo>
                  <a:pt x="876077" y="3927116"/>
                  <a:pt x="878427" y="3931814"/>
                  <a:pt x="887821" y="3936511"/>
                </a:cubicBezTo>
                <a:cubicBezTo>
                  <a:pt x="906612" y="3936511"/>
                  <a:pt x="923055" y="3936511"/>
                  <a:pt x="941843" y="3931814"/>
                </a:cubicBezTo>
                <a:cubicBezTo>
                  <a:pt x="930100" y="3936511"/>
                  <a:pt x="916007" y="3941209"/>
                  <a:pt x="901914" y="3943558"/>
                </a:cubicBezTo>
                <a:cubicBezTo>
                  <a:pt x="904263" y="3943558"/>
                  <a:pt x="906612" y="3945906"/>
                  <a:pt x="908962" y="3945906"/>
                </a:cubicBezTo>
                <a:cubicBezTo>
                  <a:pt x="906612" y="3948255"/>
                  <a:pt x="906612" y="3950604"/>
                  <a:pt x="904263" y="3952953"/>
                </a:cubicBezTo>
                <a:cubicBezTo>
                  <a:pt x="894870" y="3952953"/>
                  <a:pt x="887821" y="3955302"/>
                  <a:pt x="878427" y="3955302"/>
                </a:cubicBezTo>
                <a:cubicBezTo>
                  <a:pt x="887821" y="3959999"/>
                  <a:pt x="892520" y="3964697"/>
                  <a:pt x="892520" y="3969394"/>
                </a:cubicBezTo>
                <a:cubicBezTo>
                  <a:pt x="899565" y="3967046"/>
                  <a:pt x="908962" y="3967046"/>
                  <a:pt x="916007" y="3967046"/>
                </a:cubicBezTo>
                <a:lnTo>
                  <a:pt x="946380" y="3962186"/>
                </a:lnTo>
                <a:lnTo>
                  <a:pt x="946541" y="3962348"/>
                </a:lnTo>
                <a:lnTo>
                  <a:pt x="947429" y="3962018"/>
                </a:lnTo>
                <a:lnTo>
                  <a:pt x="974727" y="3957650"/>
                </a:lnTo>
                <a:cubicBezTo>
                  <a:pt x="972378" y="3955302"/>
                  <a:pt x="967683" y="3950604"/>
                  <a:pt x="962983" y="3952953"/>
                </a:cubicBezTo>
                <a:cubicBezTo>
                  <a:pt x="962983" y="3952953"/>
                  <a:pt x="961812" y="3955301"/>
                  <a:pt x="959166" y="3957650"/>
                </a:cubicBezTo>
                <a:lnTo>
                  <a:pt x="947429" y="3962018"/>
                </a:lnTo>
                <a:lnTo>
                  <a:pt x="946380" y="3962186"/>
                </a:lnTo>
                <a:lnTo>
                  <a:pt x="937148" y="3952953"/>
                </a:lnTo>
                <a:lnTo>
                  <a:pt x="951240" y="3905977"/>
                </a:lnTo>
                <a:cubicBezTo>
                  <a:pt x="948890" y="3905977"/>
                  <a:pt x="948890" y="3905977"/>
                  <a:pt x="946541" y="3905977"/>
                </a:cubicBezTo>
                <a:cubicBezTo>
                  <a:pt x="939498" y="3905977"/>
                  <a:pt x="932448" y="3905977"/>
                  <a:pt x="925405" y="3905977"/>
                </a:cubicBezTo>
                <a:cubicBezTo>
                  <a:pt x="923055" y="3901280"/>
                  <a:pt x="918355" y="3901280"/>
                  <a:pt x="918355" y="3896582"/>
                </a:cubicBezTo>
                <a:cubicBezTo>
                  <a:pt x="916007" y="3887187"/>
                  <a:pt x="937148" y="3889536"/>
                  <a:pt x="941843" y="3880140"/>
                </a:cubicBezTo>
                <a:cubicBezTo>
                  <a:pt x="948890" y="3868397"/>
                  <a:pt x="937148" y="3856653"/>
                  <a:pt x="930100" y="3856653"/>
                </a:cubicBezTo>
                <a:cubicBezTo>
                  <a:pt x="927750" y="3856653"/>
                  <a:pt x="923055" y="3859002"/>
                  <a:pt x="923055" y="3861350"/>
                </a:cubicBezTo>
                <a:cubicBezTo>
                  <a:pt x="920705" y="3866048"/>
                  <a:pt x="925405" y="3868397"/>
                  <a:pt x="927750" y="3870745"/>
                </a:cubicBezTo>
                <a:cubicBezTo>
                  <a:pt x="925405" y="3870745"/>
                  <a:pt x="923055" y="3873094"/>
                  <a:pt x="920705" y="3873094"/>
                </a:cubicBezTo>
                <a:cubicBezTo>
                  <a:pt x="916007" y="3875443"/>
                  <a:pt x="913658" y="3877792"/>
                  <a:pt x="911313" y="3877792"/>
                </a:cubicBezTo>
                <a:cubicBezTo>
                  <a:pt x="904263" y="3880140"/>
                  <a:pt x="899565" y="3875443"/>
                  <a:pt x="899565" y="3870745"/>
                </a:cubicBezTo>
                <a:cubicBezTo>
                  <a:pt x="899565" y="3866048"/>
                  <a:pt x="904263" y="3863699"/>
                  <a:pt x="906612" y="3861350"/>
                </a:cubicBezTo>
                <a:cubicBezTo>
                  <a:pt x="908962" y="3856653"/>
                  <a:pt x="911313" y="3854304"/>
                  <a:pt x="911313" y="3851955"/>
                </a:cubicBezTo>
                <a:cubicBezTo>
                  <a:pt x="911313" y="3851955"/>
                  <a:pt x="904263" y="3835514"/>
                  <a:pt x="887821" y="3830816"/>
                </a:cubicBezTo>
                <a:cubicBezTo>
                  <a:pt x="892520" y="3823770"/>
                  <a:pt x="899565" y="3819072"/>
                  <a:pt x="904263" y="3812026"/>
                </a:cubicBezTo>
                <a:cubicBezTo>
                  <a:pt x="916007" y="3826119"/>
                  <a:pt x="916007" y="3826119"/>
                  <a:pt x="920705" y="3823770"/>
                </a:cubicBezTo>
                <a:cubicBezTo>
                  <a:pt x="925405" y="3821421"/>
                  <a:pt x="925405" y="3814375"/>
                  <a:pt x="930100" y="3812026"/>
                </a:cubicBezTo>
                <a:cubicBezTo>
                  <a:pt x="932448" y="3809677"/>
                  <a:pt x="951240" y="3812026"/>
                  <a:pt x="948890" y="3826119"/>
                </a:cubicBezTo>
                <a:cubicBezTo>
                  <a:pt x="948890" y="3833165"/>
                  <a:pt x="941843" y="3837863"/>
                  <a:pt x="937148" y="3844909"/>
                </a:cubicBezTo>
                <a:cubicBezTo>
                  <a:pt x="953590" y="3840211"/>
                  <a:pt x="946541" y="3844909"/>
                  <a:pt x="962983" y="3830816"/>
                </a:cubicBezTo>
                <a:cubicBezTo>
                  <a:pt x="962983" y="3830816"/>
                  <a:pt x="967683" y="3847258"/>
                  <a:pt x="970028" y="3854304"/>
                </a:cubicBezTo>
                <a:lnTo>
                  <a:pt x="974727" y="3859002"/>
                </a:lnTo>
                <a:lnTo>
                  <a:pt x="960634" y="3910675"/>
                </a:lnTo>
                <a:cubicBezTo>
                  <a:pt x="962983" y="3913024"/>
                  <a:pt x="965333" y="3917721"/>
                  <a:pt x="967683" y="3917721"/>
                </a:cubicBezTo>
                <a:cubicBezTo>
                  <a:pt x="972378" y="3920070"/>
                  <a:pt x="979425" y="3913024"/>
                  <a:pt x="984126" y="3915372"/>
                </a:cubicBezTo>
                <a:cubicBezTo>
                  <a:pt x="986470" y="3915372"/>
                  <a:pt x="986470" y="3917721"/>
                  <a:pt x="986470" y="3920070"/>
                </a:cubicBezTo>
                <a:cubicBezTo>
                  <a:pt x="984126" y="3924767"/>
                  <a:pt x="977076" y="3924767"/>
                  <a:pt x="974727" y="3929465"/>
                </a:cubicBezTo>
                <a:cubicBezTo>
                  <a:pt x="972378" y="3934162"/>
                  <a:pt x="981775" y="3952953"/>
                  <a:pt x="1002912" y="3952953"/>
                </a:cubicBezTo>
                <a:cubicBezTo>
                  <a:pt x="1005260" y="3952953"/>
                  <a:pt x="1009961" y="3950604"/>
                  <a:pt x="1014655" y="3948255"/>
                </a:cubicBezTo>
                <a:cubicBezTo>
                  <a:pt x="1017005" y="3945906"/>
                  <a:pt x="1019354" y="3941209"/>
                  <a:pt x="1024053" y="3941209"/>
                </a:cubicBezTo>
                <a:cubicBezTo>
                  <a:pt x="1026403" y="3941209"/>
                  <a:pt x="1026403" y="3941209"/>
                  <a:pt x="1028748" y="3941209"/>
                </a:cubicBezTo>
                <a:cubicBezTo>
                  <a:pt x="1035796" y="3938860"/>
                  <a:pt x="1040496" y="3934162"/>
                  <a:pt x="1047539" y="3931814"/>
                </a:cubicBezTo>
                <a:cubicBezTo>
                  <a:pt x="1047539" y="3927116"/>
                  <a:pt x="1047539" y="3924767"/>
                  <a:pt x="1047539" y="3922418"/>
                </a:cubicBezTo>
                <a:cubicBezTo>
                  <a:pt x="1045190" y="3920070"/>
                  <a:pt x="1042841" y="3917721"/>
                  <a:pt x="1040496" y="3917721"/>
                </a:cubicBezTo>
                <a:cubicBezTo>
                  <a:pt x="1035796" y="3917721"/>
                  <a:pt x="1035796" y="3927116"/>
                  <a:pt x="1031098" y="3929465"/>
                </a:cubicBezTo>
                <a:cubicBezTo>
                  <a:pt x="1028748" y="3931814"/>
                  <a:pt x="1024053" y="3931814"/>
                  <a:pt x="1021703" y="3931814"/>
                </a:cubicBezTo>
                <a:cubicBezTo>
                  <a:pt x="1012306" y="3929465"/>
                  <a:pt x="1009961" y="3922418"/>
                  <a:pt x="1007610" y="3889536"/>
                </a:cubicBezTo>
                <a:cubicBezTo>
                  <a:pt x="1002912" y="3894233"/>
                  <a:pt x="995868" y="3903628"/>
                  <a:pt x="988819" y="3903628"/>
                </a:cubicBezTo>
                <a:cubicBezTo>
                  <a:pt x="984126" y="3903628"/>
                  <a:pt x="979425" y="3898931"/>
                  <a:pt x="979425" y="3894233"/>
                </a:cubicBezTo>
                <a:cubicBezTo>
                  <a:pt x="974727" y="3870745"/>
                  <a:pt x="991168" y="3856653"/>
                  <a:pt x="1005260" y="3856653"/>
                </a:cubicBezTo>
                <a:cubicBezTo>
                  <a:pt x="1009961" y="3856653"/>
                  <a:pt x="1012306" y="3859002"/>
                  <a:pt x="1014655" y="3859002"/>
                </a:cubicBezTo>
                <a:cubicBezTo>
                  <a:pt x="1024053" y="3859002"/>
                  <a:pt x="1031098" y="3856653"/>
                  <a:pt x="1028748" y="3835514"/>
                </a:cubicBezTo>
                <a:cubicBezTo>
                  <a:pt x="1026403" y="3830816"/>
                  <a:pt x="1019354" y="3826119"/>
                  <a:pt x="1019354" y="3819072"/>
                </a:cubicBezTo>
                <a:cubicBezTo>
                  <a:pt x="1019354" y="3814375"/>
                  <a:pt x="1021703" y="3812026"/>
                  <a:pt x="1024053" y="3809677"/>
                </a:cubicBezTo>
                <a:cubicBezTo>
                  <a:pt x="1028748" y="3807328"/>
                  <a:pt x="1035796" y="3809677"/>
                  <a:pt x="1040496" y="3809677"/>
                </a:cubicBezTo>
                <a:cubicBezTo>
                  <a:pt x="1047539" y="3809677"/>
                  <a:pt x="1052238" y="3814375"/>
                  <a:pt x="1059282" y="3816723"/>
                </a:cubicBezTo>
                <a:cubicBezTo>
                  <a:pt x="1056934" y="3823770"/>
                  <a:pt x="1049888" y="3828467"/>
                  <a:pt x="1049888" y="3835514"/>
                </a:cubicBezTo>
                <a:cubicBezTo>
                  <a:pt x="1049888" y="3840211"/>
                  <a:pt x="1052238" y="3842560"/>
                  <a:pt x="1080423" y="3851955"/>
                </a:cubicBezTo>
                <a:cubicBezTo>
                  <a:pt x="1082774" y="3844909"/>
                  <a:pt x="1085119" y="3840211"/>
                  <a:pt x="1085119" y="3833165"/>
                </a:cubicBezTo>
                <a:cubicBezTo>
                  <a:pt x="1082774" y="3826119"/>
                  <a:pt x="1078073" y="3821421"/>
                  <a:pt x="1075724" y="3816723"/>
                </a:cubicBezTo>
                <a:cubicBezTo>
                  <a:pt x="1080423" y="3816723"/>
                  <a:pt x="1087468" y="3816723"/>
                  <a:pt x="1092166" y="3816723"/>
                </a:cubicBezTo>
                <a:cubicBezTo>
                  <a:pt x="1103909" y="3814375"/>
                  <a:pt x="1106259" y="3793236"/>
                  <a:pt x="1118002" y="3790887"/>
                </a:cubicBezTo>
                <a:cubicBezTo>
                  <a:pt x="1125051" y="3790887"/>
                  <a:pt x="1129746" y="3800282"/>
                  <a:pt x="1136794" y="3800282"/>
                </a:cubicBezTo>
                <a:cubicBezTo>
                  <a:pt x="1153236" y="3797933"/>
                  <a:pt x="1157931" y="3774445"/>
                  <a:pt x="1169679" y="3762701"/>
                </a:cubicBezTo>
                <a:cubicBezTo>
                  <a:pt x="1172024" y="3760353"/>
                  <a:pt x="1176721" y="3758004"/>
                  <a:pt x="1179071" y="3758004"/>
                </a:cubicBezTo>
                <a:cubicBezTo>
                  <a:pt x="1183772" y="3758004"/>
                  <a:pt x="1188465" y="3772097"/>
                  <a:pt x="1195514" y="3781492"/>
                </a:cubicBezTo>
                <a:cubicBezTo>
                  <a:pt x="1195514" y="3781492"/>
                  <a:pt x="1200209" y="3776794"/>
                  <a:pt x="1202558" y="3774445"/>
                </a:cubicBezTo>
                <a:lnTo>
                  <a:pt x="1218999" y="3767399"/>
                </a:lnTo>
                <a:cubicBezTo>
                  <a:pt x="1209607" y="3727470"/>
                  <a:pt x="1221349" y="3739214"/>
                  <a:pt x="1179071" y="3729819"/>
                </a:cubicBezTo>
                <a:cubicBezTo>
                  <a:pt x="1183772" y="3718075"/>
                  <a:pt x="1181422" y="3720424"/>
                  <a:pt x="1186117" y="3718075"/>
                </a:cubicBezTo>
                <a:cubicBezTo>
                  <a:pt x="1190814" y="3715726"/>
                  <a:pt x="1197864" y="3713377"/>
                  <a:pt x="1202558" y="3711028"/>
                </a:cubicBezTo>
                <a:cubicBezTo>
                  <a:pt x="1209607" y="3706331"/>
                  <a:pt x="1216650" y="3703982"/>
                  <a:pt x="1216650" y="3696936"/>
                </a:cubicBezTo>
                <a:cubicBezTo>
                  <a:pt x="1216650" y="3685192"/>
                  <a:pt x="1190814" y="3692238"/>
                  <a:pt x="1186117" y="3680494"/>
                </a:cubicBezTo>
                <a:cubicBezTo>
                  <a:pt x="1186117" y="3680494"/>
                  <a:pt x="1188465" y="3671099"/>
                  <a:pt x="1204906" y="3668750"/>
                </a:cubicBezTo>
                <a:cubicBezTo>
                  <a:pt x="1209607" y="3666402"/>
                  <a:pt x="1211957" y="3668750"/>
                  <a:pt x="1214301" y="3668750"/>
                </a:cubicBezTo>
                <a:cubicBezTo>
                  <a:pt x="1214301" y="3668750"/>
                  <a:pt x="1221349" y="3673448"/>
                  <a:pt x="1223699" y="3647611"/>
                </a:cubicBezTo>
                <a:lnTo>
                  <a:pt x="1188465" y="3640565"/>
                </a:lnTo>
                <a:lnTo>
                  <a:pt x="1195514" y="3598287"/>
                </a:lnTo>
                <a:cubicBezTo>
                  <a:pt x="1197864" y="3593589"/>
                  <a:pt x="1202558" y="3591241"/>
                  <a:pt x="1202558" y="3588892"/>
                </a:cubicBezTo>
                <a:cubicBezTo>
                  <a:pt x="1202558" y="3588892"/>
                  <a:pt x="1197864" y="3581846"/>
                  <a:pt x="1195514" y="3579497"/>
                </a:cubicBezTo>
                <a:lnTo>
                  <a:pt x="1186117" y="3560707"/>
                </a:lnTo>
                <a:cubicBezTo>
                  <a:pt x="1186117" y="3560707"/>
                  <a:pt x="1169679" y="3570102"/>
                  <a:pt x="1160280" y="3574799"/>
                </a:cubicBezTo>
                <a:lnTo>
                  <a:pt x="1134444" y="3530173"/>
                </a:lnTo>
                <a:cubicBezTo>
                  <a:pt x="1129746" y="3527824"/>
                  <a:pt x="1127401" y="3525475"/>
                  <a:pt x="1125051" y="3525475"/>
                </a:cubicBezTo>
                <a:cubicBezTo>
                  <a:pt x="1118002" y="3527824"/>
                  <a:pt x="1113305" y="3534870"/>
                  <a:pt x="1113305" y="3541916"/>
                </a:cubicBezTo>
                <a:cubicBezTo>
                  <a:pt x="1113305" y="3546614"/>
                  <a:pt x="1120351" y="3546614"/>
                  <a:pt x="1122701" y="3551311"/>
                </a:cubicBezTo>
                <a:cubicBezTo>
                  <a:pt x="1125051" y="3558358"/>
                  <a:pt x="1122701" y="3570102"/>
                  <a:pt x="1115654" y="3574799"/>
                </a:cubicBezTo>
                <a:cubicBezTo>
                  <a:pt x="1113305" y="3577148"/>
                  <a:pt x="1110959" y="3577148"/>
                  <a:pt x="1103909" y="3567753"/>
                </a:cubicBezTo>
                <a:cubicBezTo>
                  <a:pt x="1101561" y="3563055"/>
                  <a:pt x="1099211" y="3553660"/>
                  <a:pt x="1092166" y="3553660"/>
                </a:cubicBezTo>
                <a:cubicBezTo>
                  <a:pt x="1082774" y="3553660"/>
                  <a:pt x="1085119" y="3570102"/>
                  <a:pt x="1075724" y="3574799"/>
                </a:cubicBezTo>
                <a:cubicBezTo>
                  <a:pt x="1066331" y="3577148"/>
                  <a:pt x="1059282" y="3567753"/>
                  <a:pt x="1049888" y="3570102"/>
                </a:cubicBezTo>
                <a:cubicBezTo>
                  <a:pt x="1038146" y="3572451"/>
                  <a:pt x="1024053" y="3607682"/>
                  <a:pt x="1024053" y="3607682"/>
                </a:cubicBezTo>
                <a:cubicBezTo>
                  <a:pt x="1021703" y="3600636"/>
                  <a:pt x="1019354" y="3591241"/>
                  <a:pt x="1017005" y="3584195"/>
                </a:cubicBezTo>
                <a:cubicBezTo>
                  <a:pt x="1017005" y="3584195"/>
                  <a:pt x="1000564" y="3598287"/>
                  <a:pt x="991168" y="3605333"/>
                </a:cubicBezTo>
                <a:lnTo>
                  <a:pt x="984905" y="3600636"/>
                </a:lnTo>
                <a:lnTo>
                  <a:pt x="986470" y="3600636"/>
                </a:lnTo>
                <a:lnTo>
                  <a:pt x="988819" y="3591241"/>
                </a:lnTo>
                <a:cubicBezTo>
                  <a:pt x="988819" y="3591241"/>
                  <a:pt x="986470" y="3591241"/>
                  <a:pt x="986470" y="3591241"/>
                </a:cubicBezTo>
                <a:lnTo>
                  <a:pt x="977076" y="3588892"/>
                </a:lnTo>
                <a:cubicBezTo>
                  <a:pt x="977076" y="3588892"/>
                  <a:pt x="974727" y="3591241"/>
                  <a:pt x="974727" y="3591241"/>
                </a:cubicBezTo>
                <a:lnTo>
                  <a:pt x="974727" y="3600636"/>
                </a:lnTo>
                <a:cubicBezTo>
                  <a:pt x="974727" y="3600636"/>
                  <a:pt x="977076" y="3600636"/>
                  <a:pt x="977076" y="3600636"/>
                </a:cubicBezTo>
                <a:lnTo>
                  <a:pt x="981265" y="3600636"/>
                </a:lnTo>
                <a:lnTo>
                  <a:pt x="962983" y="3685192"/>
                </a:lnTo>
                <a:cubicBezTo>
                  <a:pt x="953590" y="3682843"/>
                  <a:pt x="941843" y="3624124"/>
                  <a:pt x="930100" y="3628821"/>
                </a:cubicBezTo>
                <a:cubicBezTo>
                  <a:pt x="928926" y="3628821"/>
                  <a:pt x="928338" y="3631757"/>
                  <a:pt x="925696" y="3636748"/>
                </a:cubicBezTo>
                <a:lnTo>
                  <a:pt x="922160" y="3641028"/>
                </a:lnTo>
                <a:lnTo>
                  <a:pt x="908962" y="3642914"/>
                </a:lnTo>
                <a:lnTo>
                  <a:pt x="920602" y="3642914"/>
                </a:lnTo>
                <a:lnTo>
                  <a:pt x="908962" y="3657006"/>
                </a:lnTo>
                <a:cubicBezTo>
                  <a:pt x="911313" y="3659355"/>
                  <a:pt x="911313" y="3659355"/>
                  <a:pt x="913658" y="3661704"/>
                </a:cubicBezTo>
                <a:cubicBezTo>
                  <a:pt x="913658" y="3666402"/>
                  <a:pt x="913658" y="3671099"/>
                  <a:pt x="913658" y="3675797"/>
                </a:cubicBezTo>
                <a:cubicBezTo>
                  <a:pt x="911313" y="3673448"/>
                  <a:pt x="911313" y="3668750"/>
                  <a:pt x="908962" y="3666402"/>
                </a:cubicBezTo>
                <a:cubicBezTo>
                  <a:pt x="908962" y="3666402"/>
                  <a:pt x="901914" y="3666402"/>
                  <a:pt x="897220" y="3666402"/>
                </a:cubicBezTo>
                <a:lnTo>
                  <a:pt x="887821" y="3692238"/>
                </a:lnTo>
                <a:cubicBezTo>
                  <a:pt x="890170" y="3694587"/>
                  <a:pt x="890170" y="3694587"/>
                  <a:pt x="890170" y="3694587"/>
                </a:cubicBezTo>
                <a:cubicBezTo>
                  <a:pt x="894870" y="3696936"/>
                  <a:pt x="897220" y="3696936"/>
                  <a:pt x="899565" y="3699285"/>
                </a:cubicBezTo>
                <a:cubicBezTo>
                  <a:pt x="871380" y="3711028"/>
                  <a:pt x="871380" y="3713377"/>
                  <a:pt x="869035" y="3725121"/>
                </a:cubicBezTo>
                <a:cubicBezTo>
                  <a:pt x="869035" y="3725121"/>
                  <a:pt x="871380" y="3732168"/>
                  <a:pt x="871380" y="3734516"/>
                </a:cubicBezTo>
                <a:lnTo>
                  <a:pt x="871380" y="3743912"/>
                </a:lnTo>
                <a:lnTo>
                  <a:pt x="765686" y="3739214"/>
                </a:lnTo>
                <a:cubicBezTo>
                  <a:pt x="765686" y="3739214"/>
                  <a:pt x="763336" y="3741563"/>
                  <a:pt x="763336" y="3741563"/>
                </a:cubicBezTo>
                <a:cubicBezTo>
                  <a:pt x="763336" y="3741563"/>
                  <a:pt x="765686" y="3748609"/>
                  <a:pt x="765686" y="3750958"/>
                </a:cubicBezTo>
                <a:lnTo>
                  <a:pt x="758638" y="3755655"/>
                </a:lnTo>
                <a:cubicBezTo>
                  <a:pt x="749244" y="3748609"/>
                  <a:pt x="744547" y="3734516"/>
                  <a:pt x="732802" y="3734516"/>
                </a:cubicBezTo>
                <a:cubicBezTo>
                  <a:pt x="728104" y="3734516"/>
                  <a:pt x="725755" y="3741563"/>
                  <a:pt x="721059" y="3743912"/>
                </a:cubicBezTo>
                <a:cubicBezTo>
                  <a:pt x="721059" y="3739214"/>
                  <a:pt x="723409" y="3736865"/>
                  <a:pt x="721059" y="3734516"/>
                </a:cubicBezTo>
                <a:cubicBezTo>
                  <a:pt x="718709" y="3734516"/>
                  <a:pt x="716360" y="3732168"/>
                  <a:pt x="714012" y="3732168"/>
                </a:cubicBezTo>
                <a:cubicBezTo>
                  <a:pt x="704616" y="3729819"/>
                  <a:pt x="692874" y="3746260"/>
                  <a:pt x="681131" y="3741563"/>
                </a:cubicBezTo>
                <a:cubicBezTo>
                  <a:pt x="678781" y="3741563"/>
                  <a:pt x="676431" y="3736865"/>
                  <a:pt x="676431" y="3734516"/>
                </a:cubicBezTo>
                <a:cubicBezTo>
                  <a:pt x="676431" y="3725121"/>
                  <a:pt x="690524" y="3718075"/>
                  <a:pt x="688176" y="3708680"/>
                </a:cubicBezTo>
                <a:cubicBezTo>
                  <a:pt x="685826" y="3703982"/>
                  <a:pt x="683477" y="3703982"/>
                  <a:pt x="681131" y="3701633"/>
                </a:cubicBezTo>
                <a:cubicBezTo>
                  <a:pt x="676431" y="3706331"/>
                  <a:pt x="674083" y="3711028"/>
                  <a:pt x="671734" y="3715726"/>
                </a:cubicBezTo>
                <a:cubicBezTo>
                  <a:pt x="662338" y="3713377"/>
                  <a:pt x="655296" y="3713377"/>
                  <a:pt x="645898" y="3713377"/>
                </a:cubicBezTo>
                <a:cubicBezTo>
                  <a:pt x="645898" y="3713377"/>
                  <a:pt x="645898" y="3715726"/>
                  <a:pt x="645898" y="3715726"/>
                </a:cubicBezTo>
                <a:cubicBezTo>
                  <a:pt x="648246" y="3722772"/>
                  <a:pt x="650596" y="3727470"/>
                  <a:pt x="650596" y="3732168"/>
                </a:cubicBezTo>
                <a:cubicBezTo>
                  <a:pt x="650596" y="3739214"/>
                  <a:pt x="652946" y="3748609"/>
                  <a:pt x="645898" y="3753307"/>
                </a:cubicBezTo>
                <a:cubicBezTo>
                  <a:pt x="641204" y="3755655"/>
                  <a:pt x="634153" y="3750958"/>
                  <a:pt x="629456" y="3748609"/>
                </a:cubicBezTo>
                <a:cubicBezTo>
                  <a:pt x="629456" y="3746260"/>
                  <a:pt x="631806" y="3743912"/>
                  <a:pt x="631806" y="3741563"/>
                </a:cubicBezTo>
                <a:cubicBezTo>
                  <a:pt x="627111" y="3736865"/>
                  <a:pt x="620060" y="3729819"/>
                  <a:pt x="615363" y="3725121"/>
                </a:cubicBezTo>
                <a:cubicBezTo>
                  <a:pt x="620060" y="3720424"/>
                  <a:pt x="624761" y="3720424"/>
                  <a:pt x="624761" y="3715726"/>
                </a:cubicBezTo>
                <a:cubicBezTo>
                  <a:pt x="624761" y="3713377"/>
                  <a:pt x="624761" y="3713377"/>
                  <a:pt x="613018" y="3689890"/>
                </a:cubicBezTo>
                <a:cubicBezTo>
                  <a:pt x="613018" y="3696936"/>
                  <a:pt x="613018" y="3703982"/>
                  <a:pt x="613018" y="3711028"/>
                </a:cubicBezTo>
                <a:cubicBezTo>
                  <a:pt x="613018" y="3713377"/>
                  <a:pt x="615363" y="3713377"/>
                  <a:pt x="617713" y="3715726"/>
                </a:cubicBezTo>
                <a:cubicBezTo>
                  <a:pt x="617713" y="3718075"/>
                  <a:pt x="615363" y="3720424"/>
                  <a:pt x="613018" y="3720424"/>
                </a:cubicBezTo>
                <a:cubicBezTo>
                  <a:pt x="605970" y="3722772"/>
                  <a:pt x="596576" y="3722772"/>
                  <a:pt x="589527" y="3722772"/>
                </a:cubicBezTo>
                <a:lnTo>
                  <a:pt x="591875" y="3718075"/>
                </a:lnTo>
                <a:cubicBezTo>
                  <a:pt x="584833" y="3708680"/>
                  <a:pt x="568391" y="3703982"/>
                  <a:pt x="568391" y="3692238"/>
                </a:cubicBezTo>
                <a:cubicBezTo>
                  <a:pt x="568391" y="3687541"/>
                  <a:pt x="568391" y="3682843"/>
                  <a:pt x="568391" y="3678146"/>
                </a:cubicBezTo>
                <a:lnTo>
                  <a:pt x="566040" y="3675797"/>
                </a:lnTo>
                <a:lnTo>
                  <a:pt x="566040" y="3652309"/>
                </a:lnTo>
                <a:lnTo>
                  <a:pt x="575435" y="3659355"/>
                </a:lnTo>
                <a:cubicBezTo>
                  <a:pt x="580133" y="3652309"/>
                  <a:pt x="584833" y="3647611"/>
                  <a:pt x="591875" y="3647611"/>
                </a:cubicBezTo>
                <a:cubicBezTo>
                  <a:pt x="596576" y="3647611"/>
                  <a:pt x="598926" y="3654658"/>
                  <a:pt x="601270" y="3654658"/>
                </a:cubicBezTo>
                <a:cubicBezTo>
                  <a:pt x="603620" y="3654658"/>
                  <a:pt x="608318" y="3652309"/>
                  <a:pt x="608318" y="3645263"/>
                </a:cubicBezTo>
                <a:cubicBezTo>
                  <a:pt x="608318" y="3640565"/>
                  <a:pt x="603620" y="3633519"/>
                  <a:pt x="601270" y="3633519"/>
                </a:cubicBezTo>
                <a:cubicBezTo>
                  <a:pt x="594225" y="3633519"/>
                  <a:pt x="591875" y="3645263"/>
                  <a:pt x="584833" y="3645263"/>
                </a:cubicBezTo>
                <a:cubicBezTo>
                  <a:pt x="575435" y="3645263"/>
                  <a:pt x="566040" y="3638216"/>
                  <a:pt x="563691" y="3628821"/>
                </a:cubicBezTo>
                <a:cubicBezTo>
                  <a:pt x="563691" y="3624124"/>
                  <a:pt x="566040" y="3621775"/>
                  <a:pt x="566040" y="3619426"/>
                </a:cubicBezTo>
                <a:cubicBezTo>
                  <a:pt x="566040" y="3617077"/>
                  <a:pt x="563691" y="3617077"/>
                  <a:pt x="561342" y="3614729"/>
                </a:cubicBezTo>
                <a:cubicBezTo>
                  <a:pt x="556648" y="3619426"/>
                  <a:pt x="551948" y="3624124"/>
                  <a:pt x="547249" y="3628821"/>
                </a:cubicBezTo>
                <a:cubicBezTo>
                  <a:pt x="544901" y="3631170"/>
                  <a:pt x="544901" y="3631170"/>
                  <a:pt x="542556" y="3633519"/>
                </a:cubicBezTo>
                <a:cubicBezTo>
                  <a:pt x="537855" y="3626473"/>
                  <a:pt x="542556" y="3628821"/>
                  <a:pt x="526113" y="3626473"/>
                </a:cubicBezTo>
                <a:cubicBezTo>
                  <a:pt x="530808" y="3633519"/>
                  <a:pt x="537855" y="3640565"/>
                  <a:pt x="542556" y="3649960"/>
                </a:cubicBezTo>
                <a:cubicBezTo>
                  <a:pt x="547249" y="3666402"/>
                  <a:pt x="558992" y="3685192"/>
                  <a:pt x="549598" y="3699285"/>
                </a:cubicBezTo>
                <a:cubicBezTo>
                  <a:pt x="549598" y="3699285"/>
                  <a:pt x="533157" y="3706331"/>
                  <a:pt x="523763" y="3708680"/>
                </a:cubicBezTo>
                <a:lnTo>
                  <a:pt x="530808" y="3664053"/>
                </a:lnTo>
                <a:cubicBezTo>
                  <a:pt x="528459" y="3661704"/>
                  <a:pt x="526113" y="3659355"/>
                  <a:pt x="523763" y="3659355"/>
                </a:cubicBezTo>
                <a:cubicBezTo>
                  <a:pt x="523763" y="3659355"/>
                  <a:pt x="504971" y="3692238"/>
                  <a:pt x="488530" y="3699285"/>
                </a:cubicBezTo>
                <a:lnTo>
                  <a:pt x="472088" y="3694587"/>
                </a:lnTo>
                <a:lnTo>
                  <a:pt x="469743" y="3652309"/>
                </a:lnTo>
                <a:cubicBezTo>
                  <a:pt x="465042" y="3645263"/>
                  <a:pt x="460344" y="3640565"/>
                  <a:pt x="455650" y="3635868"/>
                </a:cubicBezTo>
                <a:cubicBezTo>
                  <a:pt x="462693" y="3633519"/>
                  <a:pt x="472088" y="3633519"/>
                  <a:pt x="476786" y="3626473"/>
                </a:cubicBezTo>
                <a:cubicBezTo>
                  <a:pt x="479135" y="3624124"/>
                  <a:pt x="474437" y="3619426"/>
                  <a:pt x="476786" y="3617077"/>
                </a:cubicBezTo>
                <a:cubicBezTo>
                  <a:pt x="479135" y="3610031"/>
                  <a:pt x="488530" y="3612380"/>
                  <a:pt x="490879" y="3607682"/>
                </a:cubicBezTo>
                <a:cubicBezTo>
                  <a:pt x="493227" y="3605333"/>
                  <a:pt x="493227" y="3605333"/>
                  <a:pt x="483835" y="3579497"/>
                </a:cubicBezTo>
                <a:cubicBezTo>
                  <a:pt x="481485" y="3586543"/>
                  <a:pt x="479135" y="3591241"/>
                  <a:pt x="476786" y="3598287"/>
                </a:cubicBezTo>
                <a:cubicBezTo>
                  <a:pt x="458000" y="3586543"/>
                  <a:pt x="458000" y="3584195"/>
                  <a:pt x="462693" y="3572451"/>
                </a:cubicBezTo>
                <a:cubicBezTo>
                  <a:pt x="465042" y="3567753"/>
                  <a:pt x="474437" y="3567753"/>
                  <a:pt x="476786" y="3563055"/>
                </a:cubicBezTo>
                <a:cubicBezTo>
                  <a:pt x="479135" y="3560707"/>
                  <a:pt x="481485" y="3558358"/>
                  <a:pt x="481485" y="3556009"/>
                </a:cubicBezTo>
                <a:cubicBezTo>
                  <a:pt x="481485" y="3551311"/>
                  <a:pt x="481485" y="3548963"/>
                  <a:pt x="479135" y="3546614"/>
                </a:cubicBezTo>
                <a:cubicBezTo>
                  <a:pt x="474437" y="3544265"/>
                  <a:pt x="469743" y="3546614"/>
                  <a:pt x="465042" y="3546614"/>
                </a:cubicBezTo>
                <a:cubicBezTo>
                  <a:pt x="462693" y="3548963"/>
                  <a:pt x="460344" y="3551311"/>
                  <a:pt x="458000" y="3551311"/>
                </a:cubicBezTo>
                <a:cubicBezTo>
                  <a:pt x="450950" y="3553660"/>
                  <a:pt x="439207" y="3546614"/>
                  <a:pt x="436857" y="3539567"/>
                </a:cubicBezTo>
                <a:cubicBezTo>
                  <a:pt x="432159" y="3525475"/>
                  <a:pt x="465042" y="3518429"/>
                  <a:pt x="476786" y="3523126"/>
                </a:cubicBezTo>
                <a:cubicBezTo>
                  <a:pt x="479135" y="3525475"/>
                  <a:pt x="481485" y="3530173"/>
                  <a:pt x="483835" y="3532521"/>
                </a:cubicBezTo>
                <a:cubicBezTo>
                  <a:pt x="495577" y="3520778"/>
                  <a:pt x="488530" y="3530173"/>
                  <a:pt x="500278" y="3527824"/>
                </a:cubicBezTo>
                <a:cubicBezTo>
                  <a:pt x="500278" y="3527824"/>
                  <a:pt x="502623" y="3525475"/>
                  <a:pt x="502623" y="3525475"/>
                </a:cubicBezTo>
                <a:cubicBezTo>
                  <a:pt x="502623" y="3525475"/>
                  <a:pt x="500278" y="3523126"/>
                  <a:pt x="500278" y="3523126"/>
                </a:cubicBezTo>
                <a:lnTo>
                  <a:pt x="490879" y="3525475"/>
                </a:lnTo>
                <a:lnTo>
                  <a:pt x="465042" y="3499638"/>
                </a:lnTo>
                <a:cubicBezTo>
                  <a:pt x="462693" y="3511382"/>
                  <a:pt x="462693" y="3513731"/>
                  <a:pt x="458000" y="3516080"/>
                </a:cubicBezTo>
                <a:cubicBezTo>
                  <a:pt x="453300" y="3518429"/>
                  <a:pt x="446251" y="3511382"/>
                  <a:pt x="441557" y="3511382"/>
                </a:cubicBezTo>
                <a:lnTo>
                  <a:pt x="439216" y="3512942"/>
                </a:lnTo>
                <a:lnTo>
                  <a:pt x="443917" y="3516079"/>
                </a:lnTo>
                <a:lnTo>
                  <a:pt x="439220" y="3525474"/>
                </a:lnTo>
                <a:lnTo>
                  <a:pt x="436874" y="3527822"/>
                </a:lnTo>
                <a:lnTo>
                  <a:pt x="432174" y="3525474"/>
                </a:lnTo>
                <a:lnTo>
                  <a:pt x="432174" y="3520747"/>
                </a:lnTo>
                <a:lnTo>
                  <a:pt x="432159" y="3520778"/>
                </a:lnTo>
                <a:lnTo>
                  <a:pt x="401625" y="3497290"/>
                </a:lnTo>
                <a:lnTo>
                  <a:pt x="407561" y="3485702"/>
                </a:lnTo>
                <a:lnTo>
                  <a:pt x="399291" y="3492592"/>
                </a:lnTo>
                <a:cubicBezTo>
                  <a:pt x="387548" y="3497290"/>
                  <a:pt x="385199" y="3469104"/>
                  <a:pt x="373456" y="3466756"/>
                </a:cubicBezTo>
                <a:cubicBezTo>
                  <a:pt x="368761" y="3466756"/>
                  <a:pt x="366411" y="3469104"/>
                  <a:pt x="364062" y="3471453"/>
                </a:cubicBezTo>
                <a:cubicBezTo>
                  <a:pt x="361714" y="3476150"/>
                  <a:pt x="364062" y="3483197"/>
                  <a:pt x="361714" y="3487894"/>
                </a:cubicBezTo>
                <a:cubicBezTo>
                  <a:pt x="361714" y="3492592"/>
                  <a:pt x="359363" y="3494941"/>
                  <a:pt x="359363" y="3497290"/>
                </a:cubicBezTo>
                <a:cubicBezTo>
                  <a:pt x="366411" y="3499638"/>
                  <a:pt x="371112" y="3511382"/>
                  <a:pt x="380504" y="3513731"/>
                </a:cubicBezTo>
                <a:cubicBezTo>
                  <a:pt x="387548" y="3516080"/>
                  <a:pt x="394596" y="3501987"/>
                  <a:pt x="403989" y="3501987"/>
                </a:cubicBezTo>
                <a:cubicBezTo>
                  <a:pt x="406339" y="3501987"/>
                  <a:pt x="411039" y="3504336"/>
                  <a:pt x="411039" y="3506685"/>
                </a:cubicBezTo>
                <a:cubicBezTo>
                  <a:pt x="411039" y="3511382"/>
                  <a:pt x="406339" y="3513731"/>
                  <a:pt x="406339" y="3516080"/>
                </a:cubicBezTo>
                <a:cubicBezTo>
                  <a:pt x="406339" y="3518429"/>
                  <a:pt x="408689" y="3520777"/>
                  <a:pt x="411039" y="3523126"/>
                </a:cubicBezTo>
                <a:cubicBezTo>
                  <a:pt x="413389" y="3525475"/>
                  <a:pt x="418084" y="3520777"/>
                  <a:pt x="420431" y="3523126"/>
                </a:cubicBezTo>
                <a:cubicBezTo>
                  <a:pt x="429826" y="3534870"/>
                  <a:pt x="422782" y="3556009"/>
                  <a:pt x="434525" y="3567753"/>
                </a:cubicBezTo>
                <a:cubicBezTo>
                  <a:pt x="439224" y="3572451"/>
                  <a:pt x="446267" y="3574799"/>
                  <a:pt x="450967" y="3577148"/>
                </a:cubicBezTo>
                <a:cubicBezTo>
                  <a:pt x="443918" y="3586543"/>
                  <a:pt x="441569" y="3588892"/>
                  <a:pt x="422782" y="3586543"/>
                </a:cubicBezTo>
                <a:cubicBezTo>
                  <a:pt x="418084" y="3586543"/>
                  <a:pt x="415734" y="3584194"/>
                  <a:pt x="413389" y="3584194"/>
                </a:cubicBezTo>
                <a:cubicBezTo>
                  <a:pt x="406339" y="3586543"/>
                  <a:pt x="403989" y="3595938"/>
                  <a:pt x="396941" y="3595938"/>
                </a:cubicBezTo>
                <a:cubicBezTo>
                  <a:pt x="385199" y="3595938"/>
                  <a:pt x="380504" y="3581846"/>
                  <a:pt x="371112" y="3579497"/>
                </a:cubicBezTo>
                <a:cubicBezTo>
                  <a:pt x="366411" y="3579497"/>
                  <a:pt x="364062" y="3581846"/>
                  <a:pt x="361714" y="3581846"/>
                </a:cubicBezTo>
                <a:cubicBezTo>
                  <a:pt x="361714" y="3560707"/>
                  <a:pt x="359363" y="3560707"/>
                  <a:pt x="354669" y="3560707"/>
                </a:cubicBezTo>
                <a:cubicBezTo>
                  <a:pt x="352319" y="3560707"/>
                  <a:pt x="349970" y="3563055"/>
                  <a:pt x="349970" y="3565404"/>
                </a:cubicBezTo>
                <a:cubicBezTo>
                  <a:pt x="345271" y="3572451"/>
                  <a:pt x="347620" y="3581846"/>
                  <a:pt x="345271" y="3588892"/>
                </a:cubicBezTo>
                <a:cubicBezTo>
                  <a:pt x="340576" y="3586543"/>
                  <a:pt x="338226" y="3586543"/>
                  <a:pt x="335876" y="3584194"/>
                </a:cubicBezTo>
                <a:cubicBezTo>
                  <a:pt x="335876" y="3584194"/>
                  <a:pt x="338226" y="3572451"/>
                  <a:pt x="340576" y="3565404"/>
                </a:cubicBezTo>
                <a:lnTo>
                  <a:pt x="314736" y="3539567"/>
                </a:lnTo>
                <a:cubicBezTo>
                  <a:pt x="314736" y="3534870"/>
                  <a:pt x="319434" y="3530172"/>
                  <a:pt x="319434" y="3525475"/>
                </a:cubicBezTo>
                <a:cubicBezTo>
                  <a:pt x="319434" y="3518429"/>
                  <a:pt x="307691" y="3513731"/>
                  <a:pt x="302992" y="3516080"/>
                </a:cubicBezTo>
                <a:cubicBezTo>
                  <a:pt x="293598" y="3518429"/>
                  <a:pt x="281856" y="3520777"/>
                  <a:pt x="279506" y="3530172"/>
                </a:cubicBezTo>
                <a:cubicBezTo>
                  <a:pt x="279506" y="3534870"/>
                  <a:pt x="284200" y="3537219"/>
                  <a:pt x="284200" y="3539567"/>
                </a:cubicBezTo>
                <a:cubicBezTo>
                  <a:pt x="284200" y="3544265"/>
                  <a:pt x="267758" y="3553660"/>
                  <a:pt x="258365" y="3546614"/>
                </a:cubicBezTo>
                <a:cubicBezTo>
                  <a:pt x="256016" y="3544265"/>
                  <a:pt x="256016" y="3539567"/>
                  <a:pt x="256016" y="3537219"/>
                </a:cubicBezTo>
                <a:cubicBezTo>
                  <a:pt x="258365" y="3525475"/>
                  <a:pt x="265413" y="3518429"/>
                  <a:pt x="295948" y="3506685"/>
                </a:cubicBezTo>
                <a:cubicBezTo>
                  <a:pt x="300644" y="3509034"/>
                  <a:pt x="302992" y="3509034"/>
                  <a:pt x="305341" y="3511382"/>
                </a:cubicBezTo>
                <a:cubicBezTo>
                  <a:pt x="307691" y="3504336"/>
                  <a:pt x="312391" y="3494941"/>
                  <a:pt x="312391" y="3487894"/>
                </a:cubicBezTo>
                <a:cubicBezTo>
                  <a:pt x="312391" y="3473802"/>
                  <a:pt x="293598" y="3466756"/>
                  <a:pt x="293598" y="3452663"/>
                </a:cubicBezTo>
                <a:cubicBezTo>
                  <a:pt x="293598" y="3452663"/>
                  <a:pt x="295948" y="3447965"/>
                  <a:pt x="305341" y="3436221"/>
                </a:cubicBezTo>
                <a:cubicBezTo>
                  <a:pt x="302992" y="3433872"/>
                  <a:pt x="300644" y="3431524"/>
                  <a:pt x="298299" y="3431524"/>
                </a:cubicBezTo>
                <a:cubicBezTo>
                  <a:pt x="293598" y="3431524"/>
                  <a:pt x="291248" y="3433872"/>
                  <a:pt x="288900" y="3433872"/>
                </a:cubicBezTo>
                <a:cubicBezTo>
                  <a:pt x="284200" y="3433872"/>
                  <a:pt x="281856" y="3429175"/>
                  <a:pt x="281856" y="3426826"/>
                </a:cubicBezTo>
                <a:cubicBezTo>
                  <a:pt x="281856" y="3410385"/>
                  <a:pt x="298299" y="3403339"/>
                  <a:pt x="305341" y="3405687"/>
                </a:cubicBezTo>
                <a:cubicBezTo>
                  <a:pt x="310041" y="3408036"/>
                  <a:pt x="312391" y="3410385"/>
                  <a:pt x="314736" y="3410385"/>
                </a:cubicBezTo>
                <a:cubicBezTo>
                  <a:pt x="317085" y="3410385"/>
                  <a:pt x="319434" y="3405687"/>
                  <a:pt x="319434" y="3403339"/>
                </a:cubicBezTo>
                <a:cubicBezTo>
                  <a:pt x="319434" y="3398641"/>
                  <a:pt x="312391" y="3393943"/>
                  <a:pt x="307691" y="3393943"/>
                </a:cubicBezTo>
                <a:cubicBezTo>
                  <a:pt x="300644" y="3393943"/>
                  <a:pt x="270108" y="3415082"/>
                  <a:pt x="253671" y="3455012"/>
                </a:cubicBezTo>
                <a:cubicBezTo>
                  <a:pt x="253671" y="3450314"/>
                  <a:pt x="253671" y="3447965"/>
                  <a:pt x="253671" y="3443268"/>
                </a:cubicBezTo>
                <a:cubicBezTo>
                  <a:pt x="253671" y="3443268"/>
                  <a:pt x="241928" y="3443268"/>
                  <a:pt x="237228" y="3443268"/>
                </a:cubicBezTo>
                <a:lnTo>
                  <a:pt x="230182" y="3436221"/>
                </a:lnTo>
                <a:cubicBezTo>
                  <a:pt x="234879" y="3426826"/>
                  <a:pt x="246622" y="3415082"/>
                  <a:pt x="244279" y="3403339"/>
                </a:cubicBezTo>
                <a:cubicBezTo>
                  <a:pt x="244279" y="3396292"/>
                  <a:pt x="237228" y="3391595"/>
                  <a:pt x="232530" y="3386897"/>
                </a:cubicBezTo>
                <a:cubicBezTo>
                  <a:pt x="237228" y="3384548"/>
                  <a:pt x="241928" y="3382199"/>
                  <a:pt x="246622" y="3379851"/>
                </a:cubicBezTo>
                <a:lnTo>
                  <a:pt x="246622" y="3372804"/>
                </a:lnTo>
                <a:lnTo>
                  <a:pt x="197296" y="3328206"/>
                </a:lnTo>
                <a:cubicBezTo>
                  <a:pt x="194950" y="3330561"/>
                  <a:pt x="190250" y="3332907"/>
                  <a:pt x="190250" y="3335256"/>
                </a:cubicBezTo>
                <a:cubicBezTo>
                  <a:pt x="190250" y="3337610"/>
                  <a:pt x="190250" y="3344658"/>
                  <a:pt x="211388" y="3370455"/>
                </a:cubicBezTo>
                <a:cubicBezTo>
                  <a:pt x="204342" y="3372804"/>
                  <a:pt x="197296" y="3372804"/>
                  <a:pt x="192600" y="3377502"/>
                </a:cubicBezTo>
                <a:cubicBezTo>
                  <a:pt x="190250" y="3379851"/>
                  <a:pt x="183208" y="3386897"/>
                  <a:pt x="183208" y="3386897"/>
                </a:cubicBezTo>
                <a:cubicBezTo>
                  <a:pt x="183208" y="3391595"/>
                  <a:pt x="190250" y="3398641"/>
                  <a:pt x="187901" y="3403339"/>
                </a:cubicBezTo>
                <a:cubicBezTo>
                  <a:pt x="187901" y="3405687"/>
                  <a:pt x="183208" y="3405687"/>
                  <a:pt x="180858" y="3408036"/>
                </a:cubicBezTo>
                <a:cubicBezTo>
                  <a:pt x="180858" y="3408036"/>
                  <a:pt x="176157" y="3398641"/>
                  <a:pt x="173809" y="3393943"/>
                </a:cubicBezTo>
                <a:lnTo>
                  <a:pt x="178507" y="3384548"/>
                </a:lnTo>
                <a:lnTo>
                  <a:pt x="140934" y="3361060"/>
                </a:lnTo>
                <a:cubicBezTo>
                  <a:pt x="145623" y="3356363"/>
                  <a:pt x="147972" y="3351665"/>
                  <a:pt x="150322" y="3347004"/>
                </a:cubicBezTo>
                <a:cubicBezTo>
                  <a:pt x="155017" y="3349336"/>
                  <a:pt x="157367" y="3354014"/>
                  <a:pt x="159715" y="3354014"/>
                </a:cubicBezTo>
                <a:cubicBezTo>
                  <a:pt x="164415" y="3354014"/>
                  <a:pt x="169111" y="3347004"/>
                  <a:pt x="173809" y="3342306"/>
                </a:cubicBezTo>
                <a:cubicBezTo>
                  <a:pt x="169111" y="3337610"/>
                  <a:pt x="164415" y="3335256"/>
                  <a:pt x="159715" y="3330561"/>
                </a:cubicBezTo>
                <a:cubicBezTo>
                  <a:pt x="159715" y="3328206"/>
                  <a:pt x="157367" y="3325857"/>
                  <a:pt x="157367" y="3323513"/>
                </a:cubicBezTo>
                <a:cubicBezTo>
                  <a:pt x="157367" y="3316463"/>
                  <a:pt x="164415" y="3311755"/>
                  <a:pt x="169111" y="3309400"/>
                </a:cubicBezTo>
                <a:cubicBezTo>
                  <a:pt x="171460" y="3307040"/>
                  <a:pt x="176157" y="3309400"/>
                  <a:pt x="178507" y="3309400"/>
                </a:cubicBezTo>
                <a:cubicBezTo>
                  <a:pt x="178507" y="3309400"/>
                  <a:pt x="180858" y="3307040"/>
                  <a:pt x="180858" y="3307040"/>
                </a:cubicBezTo>
                <a:cubicBezTo>
                  <a:pt x="173809" y="3302341"/>
                  <a:pt x="164415" y="3297674"/>
                  <a:pt x="162065" y="3290651"/>
                </a:cubicBezTo>
                <a:cubicBezTo>
                  <a:pt x="159715" y="3285961"/>
                  <a:pt x="162065" y="3278939"/>
                  <a:pt x="173809" y="3274273"/>
                </a:cubicBezTo>
                <a:cubicBezTo>
                  <a:pt x="171460" y="3271915"/>
                  <a:pt x="171460" y="3269574"/>
                  <a:pt x="169111" y="3267198"/>
                </a:cubicBezTo>
                <a:cubicBezTo>
                  <a:pt x="166765" y="3264857"/>
                  <a:pt x="166765" y="3260144"/>
                  <a:pt x="164415" y="3257798"/>
                </a:cubicBezTo>
                <a:cubicBezTo>
                  <a:pt x="159715" y="3255452"/>
                  <a:pt x="155017" y="3260144"/>
                  <a:pt x="150322" y="3257798"/>
                </a:cubicBezTo>
                <a:cubicBezTo>
                  <a:pt x="145623" y="3255452"/>
                  <a:pt x="126850" y="3236645"/>
                  <a:pt x="119808" y="3215498"/>
                </a:cubicBezTo>
                <a:lnTo>
                  <a:pt x="122150" y="3208452"/>
                </a:lnTo>
                <a:lnTo>
                  <a:pt x="115108" y="3175574"/>
                </a:lnTo>
                <a:cubicBezTo>
                  <a:pt x="110408" y="3175574"/>
                  <a:pt x="108049" y="3177926"/>
                  <a:pt x="105707" y="3177926"/>
                </a:cubicBezTo>
                <a:cubicBezTo>
                  <a:pt x="105707" y="3177926"/>
                  <a:pt x="101007" y="3175574"/>
                  <a:pt x="98665" y="3173228"/>
                </a:cubicBezTo>
                <a:lnTo>
                  <a:pt x="84564" y="3163835"/>
                </a:lnTo>
                <a:lnTo>
                  <a:pt x="91606" y="3130952"/>
                </a:lnTo>
                <a:cubicBezTo>
                  <a:pt x="96307" y="3130952"/>
                  <a:pt x="101007" y="3130952"/>
                  <a:pt x="103349" y="3130952"/>
                </a:cubicBezTo>
                <a:cubicBezTo>
                  <a:pt x="110408" y="3133303"/>
                  <a:pt x="117450" y="3133303"/>
                  <a:pt x="122150" y="3140349"/>
                </a:cubicBezTo>
                <a:cubicBezTo>
                  <a:pt x="122150" y="3140349"/>
                  <a:pt x="122150" y="3156790"/>
                  <a:pt x="122150" y="3163835"/>
                </a:cubicBezTo>
                <a:lnTo>
                  <a:pt x="157367" y="3194364"/>
                </a:lnTo>
                <a:cubicBezTo>
                  <a:pt x="162065" y="3196710"/>
                  <a:pt x="164415" y="3194364"/>
                  <a:pt x="166765" y="3196710"/>
                </a:cubicBezTo>
                <a:cubicBezTo>
                  <a:pt x="169111" y="3201406"/>
                  <a:pt x="166765" y="3206106"/>
                  <a:pt x="157367" y="3217848"/>
                </a:cubicBezTo>
                <a:cubicBezTo>
                  <a:pt x="162065" y="3217848"/>
                  <a:pt x="164415" y="3220195"/>
                  <a:pt x="169111" y="3217848"/>
                </a:cubicBezTo>
                <a:cubicBezTo>
                  <a:pt x="171460" y="3217848"/>
                  <a:pt x="171460" y="3213150"/>
                  <a:pt x="173809" y="3213150"/>
                </a:cubicBezTo>
                <a:cubicBezTo>
                  <a:pt x="180858" y="3213150"/>
                  <a:pt x="185558" y="3217848"/>
                  <a:pt x="190250" y="3222544"/>
                </a:cubicBezTo>
                <a:cubicBezTo>
                  <a:pt x="192600" y="3220195"/>
                  <a:pt x="192600" y="3220195"/>
                  <a:pt x="194950" y="3217848"/>
                </a:cubicBezTo>
                <a:cubicBezTo>
                  <a:pt x="192600" y="3213150"/>
                  <a:pt x="190250" y="3210801"/>
                  <a:pt x="187901" y="3208452"/>
                </a:cubicBezTo>
                <a:cubicBezTo>
                  <a:pt x="192600" y="3203754"/>
                  <a:pt x="199645" y="3201406"/>
                  <a:pt x="204342" y="3199057"/>
                </a:cubicBezTo>
                <a:cubicBezTo>
                  <a:pt x="204342" y="3194364"/>
                  <a:pt x="201995" y="3192015"/>
                  <a:pt x="199645" y="3189668"/>
                </a:cubicBezTo>
                <a:cubicBezTo>
                  <a:pt x="204342" y="3187318"/>
                  <a:pt x="206693" y="3187318"/>
                  <a:pt x="209043" y="3184971"/>
                </a:cubicBezTo>
                <a:cubicBezTo>
                  <a:pt x="209043" y="3184971"/>
                  <a:pt x="211388" y="3187318"/>
                  <a:pt x="213738" y="3189668"/>
                </a:cubicBezTo>
                <a:lnTo>
                  <a:pt x="213738" y="3199057"/>
                </a:lnTo>
                <a:cubicBezTo>
                  <a:pt x="230182" y="3196710"/>
                  <a:pt x="246622" y="3196710"/>
                  <a:pt x="260714" y="3192015"/>
                </a:cubicBezTo>
                <a:lnTo>
                  <a:pt x="265413" y="3182622"/>
                </a:lnTo>
                <a:cubicBezTo>
                  <a:pt x="251321" y="3180274"/>
                  <a:pt x="230182" y="3184971"/>
                  <a:pt x="223135" y="3173228"/>
                </a:cubicBezTo>
                <a:cubicBezTo>
                  <a:pt x="218435" y="3166181"/>
                  <a:pt x="230182" y="3156790"/>
                  <a:pt x="227836" y="3147393"/>
                </a:cubicBezTo>
                <a:cubicBezTo>
                  <a:pt x="225486" y="3145047"/>
                  <a:pt x="220785" y="3142698"/>
                  <a:pt x="220785" y="3140349"/>
                </a:cubicBezTo>
                <a:lnTo>
                  <a:pt x="223990" y="3135866"/>
                </a:lnTo>
                <a:lnTo>
                  <a:pt x="220786" y="3137999"/>
                </a:lnTo>
                <a:lnTo>
                  <a:pt x="218436" y="3133303"/>
                </a:lnTo>
                <a:lnTo>
                  <a:pt x="223135" y="3130952"/>
                </a:lnTo>
                <a:lnTo>
                  <a:pt x="226350" y="3132560"/>
                </a:lnTo>
                <a:lnTo>
                  <a:pt x="226658" y="3132129"/>
                </a:lnTo>
                <a:cubicBezTo>
                  <a:pt x="229596" y="3129778"/>
                  <a:pt x="232530" y="3127430"/>
                  <a:pt x="232530" y="3123908"/>
                </a:cubicBezTo>
                <a:cubicBezTo>
                  <a:pt x="232530" y="3121558"/>
                  <a:pt x="227836" y="3114518"/>
                  <a:pt x="227836" y="3114518"/>
                </a:cubicBezTo>
                <a:cubicBezTo>
                  <a:pt x="220785" y="3114518"/>
                  <a:pt x="218435" y="3126260"/>
                  <a:pt x="211388" y="3130952"/>
                </a:cubicBezTo>
                <a:cubicBezTo>
                  <a:pt x="209043" y="3130952"/>
                  <a:pt x="204342" y="3130952"/>
                  <a:pt x="201995" y="3130952"/>
                </a:cubicBezTo>
                <a:cubicBezTo>
                  <a:pt x="183208" y="3128603"/>
                  <a:pt x="176157" y="3109818"/>
                  <a:pt x="180858" y="3098078"/>
                </a:cubicBezTo>
                <a:cubicBezTo>
                  <a:pt x="180858" y="3095732"/>
                  <a:pt x="183208" y="3093383"/>
                  <a:pt x="185558" y="3093383"/>
                </a:cubicBezTo>
                <a:cubicBezTo>
                  <a:pt x="187901" y="3093383"/>
                  <a:pt x="194950" y="3098078"/>
                  <a:pt x="201995" y="3105123"/>
                </a:cubicBezTo>
                <a:cubicBezTo>
                  <a:pt x="206693" y="3102775"/>
                  <a:pt x="213738" y="3098078"/>
                  <a:pt x="218435" y="3093383"/>
                </a:cubicBezTo>
                <a:cubicBezTo>
                  <a:pt x="209043" y="3081640"/>
                  <a:pt x="213738" y="3088687"/>
                  <a:pt x="204342" y="3076942"/>
                </a:cubicBezTo>
                <a:cubicBezTo>
                  <a:pt x="211388" y="3067552"/>
                  <a:pt x="209043" y="3069899"/>
                  <a:pt x="213738" y="3067552"/>
                </a:cubicBezTo>
                <a:cubicBezTo>
                  <a:pt x="209043" y="3062857"/>
                  <a:pt x="206693" y="3055809"/>
                  <a:pt x="201995" y="3051114"/>
                </a:cubicBezTo>
                <a:cubicBezTo>
                  <a:pt x="201995" y="3051114"/>
                  <a:pt x="209043" y="3041717"/>
                  <a:pt x="211388" y="3037020"/>
                </a:cubicBezTo>
                <a:lnTo>
                  <a:pt x="220785" y="3032323"/>
                </a:lnTo>
                <a:lnTo>
                  <a:pt x="246622" y="3076942"/>
                </a:lnTo>
                <a:cubicBezTo>
                  <a:pt x="251321" y="3079289"/>
                  <a:pt x="253671" y="3081640"/>
                  <a:pt x="256016" y="3081640"/>
                </a:cubicBezTo>
                <a:cubicBezTo>
                  <a:pt x="263063" y="3081640"/>
                  <a:pt x="270108" y="3076942"/>
                  <a:pt x="277156" y="3074593"/>
                </a:cubicBezTo>
                <a:cubicBezTo>
                  <a:pt x="270108" y="3055809"/>
                  <a:pt x="265413" y="3034673"/>
                  <a:pt x="248972" y="3022930"/>
                </a:cubicBezTo>
                <a:cubicBezTo>
                  <a:pt x="248972" y="3022930"/>
                  <a:pt x="241928" y="3022930"/>
                  <a:pt x="239578" y="3022930"/>
                </a:cubicBezTo>
                <a:lnTo>
                  <a:pt x="232530" y="3013540"/>
                </a:lnTo>
                <a:lnTo>
                  <a:pt x="265413" y="2983012"/>
                </a:lnTo>
                <a:cubicBezTo>
                  <a:pt x="267758" y="2985358"/>
                  <a:pt x="270108" y="2987711"/>
                  <a:pt x="272457" y="2990058"/>
                </a:cubicBezTo>
                <a:cubicBezTo>
                  <a:pt x="274807" y="2994752"/>
                  <a:pt x="267758" y="3004146"/>
                  <a:pt x="270108" y="3008841"/>
                </a:cubicBezTo>
                <a:cubicBezTo>
                  <a:pt x="272457" y="3013540"/>
                  <a:pt x="281856" y="3013540"/>
                  <a:pt x="284200" y="3018240"/>
                </a:cubicBezTo>
                <a:cubicBezTo>
                  <a:pt x="284200" y="3022930"/>
                  <a:pt x="274807" y="3027627"/>
                  <a:pt x="274807" y="3034673"/>
                </a:cubicBezTo>
                <a:cubicBezTo>
                  <a:pt x="274807" y="3041717"/>
                  <a:pt x="279506" y="3048764"/>
                  <a:pt x="284200" y="3051114"/>
                </a:cubicBezTo>
                <a:cubicBezTo>
                  <a:pt x="286550" y="3053460"/>
                  <a:pt x="293598" y="3053460"/>
                  <a:pt x="295948" y="3051114"/>
                </a:cubicBezTo>
                <a:cubicBezTo>
                  <a:pt x="295948" y="3051114"/>
                  <a:pt x="317085" y="3025279"/>
                  <a:pt x="328829" y="3013540"/>
                </a:cubicBezTo>
                <a:lnTo>
                  <a:pt x="338226" y="3020583"/>
                </a:lnTo>
                <a:cubicBezTo>
                  <a:pt x="338226" y="3020583"/>
                  <a:pt x="340576" y="3020583"/>
                  <a:pt x="340576" y="3018240"/>
                </a:cubicBezTo>
                <a:cubicBezTo>
                  <a:pt x="342922" y="3011191"/>
                  <a:pt x="335876" y="3004146"/>
                  <a:pt x="338226" y="2997098"/>
                </a:cubicBezTo>
                <a:cubicBezTo>
                  <a:pt x="342922" y="2983012"/>
                  <a:pt x="364062" y="2945440"/>
                  <a:pt x="366411" y="2943091"/>
                </a:cubicBezTo>
                <a:cubicBezTo>
                  <a:pt x="366411" y="2943091"/>
                  <a:pt x="342922" y="2943091"/>
                  <a:pt x="331178" y="2943091"/>
                </a:cubicBezTo>
                <a:lnTo>
                  <a:pt x="312391" y="2980661"/>
                </a:lnTo>
                <a:cubicBezTo>
                  <a:pt x="300644" y="2975965"/>
                  <a:pt x="288900" y="2971274"/>
                  <a:pt x="288900" y="2950138"/>
                </a:cubicBezTo>
                <a:cubicBezTo>
                  <a:pt x="288900" y="2938394"/>
                  <a:pt x="300644" y="2929000"/>
                  <a:pt x="305341" y="2919605"/>
                </a:cubicBezTo>
                <a:cubicBezTo>
                  <a:pt x="305341" y="2919605"/>
                  <a:pt x="317085" y="2931349"/>
                  <a:pt x="321784" y="2938394"/>
                </a:cubicBezTo>
                <a:lnTo>
                  <a:pt x="328829" y="2933697"/>
                </a:lnTo>
                <a:cubicBezTo>
                  <a:pt x="326484" y="2924304"/>
                  <a:pt x="328829" y="2914908"/>
                  <a:pt x="321784" y="2910210"/>
                </a:cubicBezTo>
                <a:cubicBezTo>
                  <a:pt x="317085" y="2905513"/>
                  <a:pt x="310041" y="2912560"/>
                  <a:pt x="305341" y="2912560"/>
                </a:cubicBezTo>
                <a:cubicBezTo>
                  <a:pt x="298299" y="2910210"/>
                  <a:pt x="288900" y="2900817"/>
                  <a:pt x="288900" y="2896118"/>
                </a:cubicBezTo>
                <a:cubicBezTo>
                  <a:pt x="288900" y="2889074"/>
                  <a:pt x="295948" y="2893770"/>
                  <a:pt x="293598" y="2884375"/>
                </a:cubicBezTo>
                <a:cubicBezTo>
                  <a:pt x="291248" y="2879680"/>
                  <a:pt x="284200" y="2872634"/>
                  <a:pt x="279506" y="2872634"/>
                </a:cubicBezTo>
                <a:cubicBezTo>
                  <a:pt x="279506" y="2872634"/>
                  <a:pt x="272457" y="2877334"/>
                  <a:pt x="270108" y="2882031"/>
                </a:cubicBezTo>
                <a:lnTo>
                  <a:pt x="253671" y="2856199"/>
                </a:lnTo>
                <a:cubicBezTo>
                  <a:pt x="251321" y="2858551"/>
                  <a:pt x="248972" y="2860890"/>
                  <a:pt x="248972" y="2863240"/>
                </a:cubicBezTo>
                <a:cubicBezTo>
                  <a:pt x="239578" y="2903165"/>
                  <a:pt x="284200" y="2912560"/>
                  <a:pt x="284200" y="2914908"/>
                </a:cubicBezTo>
                <a:cubicBezTo>
                  <a:pt x="284200" y="2914908"/>
                  <a:pt x="277156" y="2926650"/>
                  <a:pt x="274807" y="2931349"/>
                </a:cubicBezTo>
                <a:lnTo>
                  <a:pt x="258365" y="2959531"/>
                </a:lnTo>
                <a:cubicBezTo>
                  <a:pt x="258365" y="2945440"/>
                  <a:pt x="265413" y="2926650"/>
                  <a:pt x="258365" y="2912560"/>
                </a:cubicBezTo>
                <a:cubicBezTo>
                  <a:pt x="253671" y="2903165"/>
                  <a:pt x="237228" y="2900817"/>
                  <a:pt x="234879" y="2889074"/>
                </a:cubicBezTo>
                <a:cubicBezTo>
                  <a:pt x="232530" y="2872634"/>
                  <a:pt x="253671" y="2858551"/>
                  <a:pt x="258365" y="2839768"/>
                </a:cubicBezTo>
                <a:cubicBezTo>
                  <a:pt x="258365" y="2839768"/>
                  <a:pt x="256016" y="2832720"/>
                  <a:pt x="256016" y="2830368"/>
                </a:cubicBezTo>
                <a:lnTo>
                  <a:pt x="230182" y="2820972"/>
                </a:lnTo>
                <a:lnTo>
                  <a:pt x="225486" y="2898467"/>
                </a:lnTo>
                <a:lnTo>
                  <a:pt x="213738" y="2896118"/>
                </a:lnTo>
                <a:lnTo>
                  <a:pt x="213738" y="2823324"/>
                </a:lnTo>
                <a:cubicBezTo>
                  <a:pt x="211388" y="2804541"/>
                  <a:pt x="201995" y="2785754"/>
                  <a:pt x="206693" y="2766962"/>
                </a:cubicBezTo>
                <a:cubicBezTo>
                  <a:pt x="206693" y="2766962"/>
                  <a:pt x="218435" y="2748183"/>
                  <a:pt x="223135" y="2738792"/>
                </a:cubicBezTo>
                <a:lnTo>
                  <a:pt x="227836" y="2741142"/>
                </a:lnTo>
                <a:cubicBezTo>
                  <a:pt x="232530" y="2788103"/>
                  <a:pt x="234879" y="2795149"/>
                  <a:pt x="253671" y="2799850"/>
                </a:cubicBezTo>
                <a:cubicBezTo>
                  <a:pt x="263063" y="2802198"/>
                  <a:pt x="270108" y="2795149"/>
                  <a:pt x="277156" y="2792802"/>
                </a:cubicBezTo>
                <a:cubicBezTo>
                  <a:pt x="274807" y="2788103"/>
                  <a:pt x="272457" y="2785754"/>
                  <a:pt x="270108" y="2783408"/>
                </a:cubicBezTo>
                <a:cubicBezTo>
                  <a:pt x="265413" y="2776361"/>
                  <a:pt x="260714" y="2766962"/>
                  <a:pt x="260714" y="2757578"/>
                </a:cubicBezTo>
                <a:cubicBezTo>
                  <a:pt x="260714" y="2752881"/>
                  <a:pt x="265413" y="2748183"/>
                  <a:pt x="265413" y="2748183"/>
                </a:cubicBezTo>
                <a:cubicBezTo>
                  <a:pt x="277156" y="2743490"/>
                  <a:pt x="279506" y="2766962"/>
                  <a:pt x="291248" y="2771664"/>
                </a:cubicBezTo>
                <a:cubicBezTo>
                  <a:pt x="305341" y="2778709"/>
                  <a:pt x="305341" y="2741142"/>
                  <a:pt x="317085" y="2734090"/>
                </a:cubicBezTo>
                <a:cubicBezTo>
                  <a:pt x="321784" y="2731739"/>
                  <a:pt x="326484" y="2731739"/>
                  <a:pt x="331178" y="2734090"/>
                </a:cubicBezTo>
                <a:cubicBezTo>
                  <a:pt x="331178" y="2734090"/>
                  <a:pt x="333528" y="2741142"/>
                  <a:pt x="333528" y="2743490"/>
                </a:cubicBezTo>
                <a:lnTo>
                  <a:pt x="347620" y="2752881"/>
                </a:lnTo>
                <a:cubicBezTo>
                  <a:pt x="342922" y="2762275"/>
                  <a:pt x="340576" y="2774014"/>
                  <a:pt x="338226" y="2785754"/>
                </a:cubicBezTo>
                <a:cubicBezTo>
                  <a:pt x="338226" y="2790452"/>
                  <a:pt x="335876" y="2792802"/>
                  <a:pt x="335876" y="2795149"/>
                </a:cubicBezTo>
                <a:cubicBezTo>
                  <a:pt x="338226" y="2797500"/>
                  <a:pt x="340576" y="2799850"/>
                  <a:pt x="342922" y="2802198"/>
                </a:cubicBezTo>
                <a:cubicBezTo>
                  <a:pt x="347620" y="2795149"/>
                  <a:pt x="349970" y="2783408"/>
                  <a:pt x="357014" y="2778709"/>
                </a:cubicBezTo>
                <a:cubicBezTo>
                  <a:pt x="361714" y="2776361"/>
                  <a:pt x="368761" y="2776361"/>
                  <a:pt x="371112" y="2778709"/>
                </a:cubicBezTo>
                <a:cubicBezTo>
                  <a:pt x="373456" y="2781055"/>
                  <a:pt x="371112" y="2785754"/>
                  <a:pt x="371112" y="2788103"/>
                </a:cubicBezTo>
                <a:cubicBezTo>
                  <a:pt x="368761" y="2797500"/>
                  <a:pt x="366411" y="2799850"/>
                  <a:pt x="349970" y="2804541"/>
                </a:cubicBezTo>
                <a:cubicBezTo>
                  <a:pt x="349970" y="2804541"/>
                  <a:pt x="357014" y="2811583"/>
                  <a:pt x="361714" y="2816277"/>
                </a:cubicBezTo>
                <a:lnTo>
                  <a:pt x="382854" y="2788103"/>
                </a:lnTo>
                <a:lnTo>
                  <a:pt x="396941" y="2788103"/>
                </a:lnTo>
                <a:cubicBezTo>
                  <a:pt x="396941" y="2788103"/>
                  <a:pt x="394596" y="2790452"/>
                  <a:pt x="394596" y="2792802"/>
                </a:cubicBezTo>
                <a:lnTo>
                  <a:pt x="394596" y="2804541"/>
                </a:lnTo>
                <a:lnTo>
                  <a:pt x="436874" y="2748183"/>
                </a:lnTo>
                <a:lnTo>
                  <a:pt x="450967" y="2757578"/>
                </a:lnTo>
                <a:lnTo>
                  <a:pt x="415734" y="2825671"/>
                </a:lnTo>
                <a:lnTo>
                  <a:pt x="425132" y="2825671"/>
                </a:lnTo>
                <a:cubicBezTo>
                  <a:pt x="462709" y="2781055"/>
                  <a:pt x="486198" y="2757578"/>
                  <a:pt x="497945" y="2757578"/>
                </a:cubicBezTo>
                <a:cubicBezTo>
                  <a:pt x="502645" y="2757578"/>
                  <a:pt x="507337" y="2762275"/>
                  <a:pt x="507337" y="2766962"/>
                </a:cubicBezTo>
                <a:cubicBezTo>
                  <a:pt x="507337" y="2766962"/>
                  <a:pt x="467409" y="2839768"/>
                  <a:pt x="462709" y="2865594"/>
                </a:cubicBezTo>
                <a:cubicBezTo>
                  <a:pt x="486198" y="2830368"/>
                  <a:pt x="561359" y="2712939"/>
                  <a:pt x="561359" y="2708237"/>
                </a:cubicBezTo>
                <a:cubicBezTo>
                  <a:pt x="561359" y="2703536"/>
                  <a:pt x="559011" y="2701186"/>
                  <a:pt x="559011" y="2698837"/>
                </a:cubicBezTo>
                <a:cubicBezTo>
                  <a:pt x="559011" y="2687084"/>
                  <a:pt x="580151" y="2684734"/>
                  <a:pt x="584850" y="2672983"/>
                </a:cubicBezTo>
                <a:cubicBezTo>
                  <a:pt x="584850" y="2668282"/>
                  <a:pt x="582500" y="2665930"/>
                  <a:pt x="582500" y="2663581"/>
                </a:cubicBezTo>
                <a:cubicBezTo>
                  <a:pt x="587201" y="2651830"/>
                  <a:pt x="601293" y="2642428"/>
                  <a:pt x="608338" y="2633028"/>
                </a:cubicBezTo>
                <a:cubicBezTo>
                  <a:pt x="608338" y="2633028"/>
                  <a:pt x="613036" y="2637729"/>
                  <a:pt x="615386" y="2640079"/>
                </a:cubicBezTo>
                <a:lnTo>
                  <a:pt x="613036" y="2665930"/>
                </a:lnTo>
                <a:lnTo>
                  <a:pt x="704633" y="2717641"/>
                </a:lnTo>
                <a:cubicBezTo>
                  <a:pt x="706983" y="2722341"/>
                  <a:pt x="709328" y="2727041"/>
                  <a:pt x="711676" y="2734090"/>
                </a:cubicBezTo>
                <a:cubicBezTo>
                  <a:pt x="702283" y="2745836"/>
                  <a:pt x="695234" y="2759929"/>
                  <a:pt x="688190" y="2774014"/>
                </a:cubicBezTo>
                <a:lnTo>
                  <a:pt x="683493" y="2776361"/>
                </a:lnTo>
                <a:lnTo>
                  <a:pt x="685840" y="2778709"/>
                </a:lnTo>
                <a:cubicBezTo>
                  <a:pt x="624778" y="2900817"/>
                  <a:pt x="629478" y="3060507"/>
                  <a:pt x="706983" y="3184971"/>
                </a:cubicBezTo>
                <a:cubicBezTo>
                  <a:pt x="706983" y="3187318"/>
                  <a:pt x="706983" y="3187318"/>
                  <a:pt x="706983" y="3187318"/>
                </a:cubicBezTo>
                <a:cubicBezTo>
                  <a:pt x="711676" y="3194364"/>
                  <a:pt x="714026" y="3201406"/>
                  <a:pt x="718726" y="3206106"/>
                </a:cubicBezTo>
                <a:cubicBezTo>
                  <a:pt x="711676" y="3210801"/>
                  <a:pt x="706983" y="3215498"/>
                  <a:pt x="699934" y="3215498"/>
                </a:cubicBezTo>
                <a:cubicBezTo>
                  <a:pt x="683493" y="3213150"/>
                  <a:pt x="674098" y="3201406"/>
                  <a:pt x="667050" y="3184971"/>
                </a:cubicBezTo>
                <a:cubicBezTo>
                  <a:pt x="662355" y="3187318"/>
                  <a:pt x="655307" y="3189668"/>
                  <a:pt x="650613" y="3192015"/>
                </a:cubicBezTo>
                <a:cubicBezTo>
                  <a:pt x="652963" y="3194364"/>
                  <a:pt x="652963" y="3196710"/>
                  <a:pt x="655307" y="3199057"/>
                </a:cubicBezTo>
                <a:cubicBezTo>
                  <a:pt x="648265" y="3199057"/>
                  <a:pt x="641221" y="3203754"/>
                  <a:pt x="636520" y="3199057"/>
                </a:cubicBezTo>
                <a:cubicBezTo>
                  <a:pt x="636520" y="3199057"/>
                  <a:pt x="636520" y="3184971"/>
                  <a:pt x="631828" y="3180274"/>
                </a:cubicBezTo>
                <a:lnTo>
                  <a:pt x="622428" y="3173228"/>
                </a:lnTo>
                <a:lnTo>
                  <a:pt x="547267" y="3168532"/>
                </a:lnTo>
                <a:lnTo>
                  <a:pt x="521430" y="3156790"/>
                </a:lnTo>
                <a:lnTo>
                  <a:pt x="469760" y="3168532"/>
                </a:lnTo>
                <a:cubicBezTo>
                  <a:pt x="467409" y="3166181"/>
                  <a:pt x="467409" y="3163835"/>
                  <a:pt x="465059" y="3161485"/>
                </a:cubicBezTo>
                <a:cubicBezTo>
                  <a:pt x="481502" y="3149744"/>
                  <a:pt x="490896" y="3149744"/>
                  <a:pt x="490896" y="3145047"/>
                </a:cubicBezTo>
                <a:cubicBezTo>
                  <a:pt x="493245" y="3140349"/>
                  <a:pt x="488547" y="3138001"/>
                  <a:pt x="488547" y="3135652"/>
                </a:cubicBezTo>
                <a:cubicBezTo>
                  <a:pt x="488547" y="3130952"/>
                  <a:pt x="493245" y="3130952"/>
                  <a:pt x="495595" y="3128603"/>
                </a:cubicBezTo>
                <a:cubicBezTo>
                  <a:pt x="495595" y="3128603"/>
                  <a:pt x="500295" y="3138001"/>
                  <a:pt x="512037" y="3140349"/>
                </a:cubicBezTo>
                <a:lnTo>
                  <a:pt x="514388" y="3135652"/>
                </a:lnTo>
                <a:cubicBezTo>
                  <a:pt x="507337" y="3130952"/>
                  <a:pt x="497945" y="3126260"/>
                  <a:pt x="497945" y="3119216"/>
                </a:cubicBezTo>
                <a:cubicBezTo>
                  <a:pt x="497945" y="3114518"/>
                  <a:pt x="504987" y="3114518"/>
                  <a:pt x="504987" y="3109818"/>
                </a:cubicBezTo>
                <a:cubicBezTo>
                  <a:pt x="504987" y="3107472"/>
                  <a:pt x="502645" y="3105123"/>
                  <a:pt x="502645" y="3102775"/>
                </a:cubicBezTo>
                <a:cubicBezTo>
                  <a:pt x="500295" y="3105123"/>
                  <a:pt x="500295" y="3107472"/>
                  <a:pt x="497945" y="3109818"/>
                </a:cubicBezTo>
                <a:cubicBezTo>
                  <a:pt x="495595" y="3114518"/>
                  <a:pt x="493245" y="3121558"/>
                  <a:pt x="486198" y="3123908"/>
                </a:cubicBezTo>
                <a:cubicBezTo>
                  <a:pt x="486198" y="3123908"/>
                  <a:pt x="479153" y="3121558"/>
                  <a:pt x="476803" y="3119216"/>
                </a:cubicBezTo>
                <a:lnTo>
                  <a:pt x="476803" y="3109818"/>
                </a:lnTo>
                <a:cubicBezTo>
                  <a:pt x="465059" y="3112168"/>
                  <a:pt x="455667" y="3116866"/>
                  <a:pt x="443918" y="3119216"/>
                </a:cubicBezTo>
                <a:cubicBezTo>
                  <a:pt x="443918" y="3119216"/>
                  <a:pt x="450967" y="3128603"/>
                  <a:pt x="450967" y="3145047"/>
                </a:cubicBezTo>
                <a:lnTo>
                  <a:pt x="425132" y="3138001"/>
                </a:lnTo>
                <a:lnTo>
                  <a:pt x="399291" y="3187318"/>
                </a:lnTo>
                <a:cubicBezTo>
                  <a:pt x="394596" y="3192015"/>
                  <a:pt x="389897" y="3199057"/>
                  <a:pt x="382854" y="3199057"/>
                </a:cubicBezTo>
                <a:cubicBezTo>
                  <a:pt x="372282" y="3199057"/>
                  <a:pt x="368317" y="3199057"/>
                  <a:pt x="363036" y="3185191"/>
                </a:cubicBezTo>
                <a:lnTo>
                  <a:pt x="358031" y="3169393"/>
                </a:lnTo>
                <a:lnTo>
                  <a:pt x="365235" y="3158844"/>
                </a:lnTo>
                <a:cubicBezTo>
                  <a:pt x="368172" y="3157374"/>
                  <a:pt x="371112" y="3157964"/>
                  <a:pt x="373456" y="3159135"/>
                </a:cubicBezTo>
                <a:cubicBezTo>
                  <a:pt x="375805" y="3159135"/>
                  <a:pt x="378154" y="3161485"/>
                  <a:pt x="378154" y="3163835"/>
                </a:cubicBezTo>
                <a:cubicBezTo>
                  <a:pt x="380504" y="3168532"/>
                  <a:pt x="378154" y="3170882"/>
                  <a:pt x="378154" y="3173228"/>
                </a:cubicBezTo>
                <a:cubicBezTo>
                  <a:pt x="382854" y="3184971"/>
                  <a:pt x="399291" y="3175574"/>
                  <a:pt x="403989" y="3166181"/>
                </a:cubicBezTo>
                <a:cubicBezTo>
                  <a:pt x="406339" y="3161485"/>
                  <a:pt x="399291" y="3154437"/>
                  <a:pt x="401641" y="3149744"/>
                </a:cubicBezTo>
                <a:cubicBezTo>
                  <a:pt x="403989" y="3145047"/>
                  <a:pt x="415734" y="3147393"/>
                  <a:pt x="420431" y="3142698"/>
                </a:cubicBezTo>
                <a:cubicBezTo>
                  <a:pt x="422782" y="3140349"/>
                  <a:pt x="418084" y="3135652"/>
                  <a:pt x="420431" y="3133303"/>
                </a:cubicBezTo>
                <a:cubicBezTo>
                  <a:pt x="425132" y="3128603"/>
                  <a:pt x="432174" y="3128603"/>
                  <a:pt x="434525" y="3123908"/>
                </a:cubicBezTo>
                <a:cubicBezTo>
                  <a:pt x="434525" y="3121558"/>
                  <a:pt x="434525" y="3116866"/>
                  <a:pt x="434525" y="3114518"/>
                </a:cubicBezTo>
                <a:cubicBezTo>
                  <a:pt x="436874" y="3107472"/>
                  <a:pt x="448616" y="3086336"/>
                  <a:pt x="462709" y="3088687"/>
                </a:cubicBezTo>
                <a:cubicBezTo>
                  <a:pt x="469760" y="3088687"/>
                  <a:pt x="472110" y="3098078"/>
                  <a:pt x="479153" y="3102775"/>
                </a:cubicBezTo>
                <a:cubicBezTo>
                  <a:pt x="479153" y="3100425"/>
                  <a:pt x="481502" y="3098078"/>
                  <a:pt x="481502" y="3095732"/>
                </a:cubicBezTo>
                <a:cubicBezTo>
                  <a:pt x="481502" y="3091033"/>
                  <a:pt x="479153" y="3088687"/>
                  <a:pt x="481502" y="3086336"/>
                </a:cubicBezTo>
                <a:cubicBezTo>
                  <a:pt x="483852" y="3081640"/>
                  <a:pt x="488547" y="3081640"/>
                  <a:pt x="490896" y="3076942"/>
                </a:cubicBezTo>
                <a:cubicBezTo>
                  <a:pt x="490896" y="3072247"/>
                  <a:pt x="490896" y="3069899"/>
                  <a:pt x="490896" y="3067552"/>
                </a:cubicBezTo>
                <a:cubicBezTo>
                  <a:pt x="490896" y="3065200"/>
                  <a:pt x="476803" y="3053460"/>
                  <a:pt x="469760" y="3051114"/>
                </a:cubicBezTo>
                <a:cubicBezTo>
                  <a:pt x="465059" y="3051114"/>
                  <a:pt x="462709" y="3051114"/>
                  <a:pt x="465059" y="3053460"/>
                </a:cubicBezTo>
                <a:cubicBezTo>
                  <a:pt x="467409" y="3055809"/>
                  <a:pt x="469760" y="3058159"/>
                  <a:pt x="469760" y="3060507"/>
                </a:cubicBezTo>
                <a:cubicBezTo>
                  <a:pt x="469760" y="3062857"/>
                  <a:pt x="467409" y="3067552"/>
                  <a:pt x="465059" y="3067552"/>
                </a:cubicBezTo>
                <a:cubicBezTo>
                  <a:pt x="448616" y="3072247"/>
                  <a:pt x="441569" y="3065200"/>
                  <a:pt x="432174" y="3051114"/>
                </a:cubicBezTo>
                <a:cubicBezTo>
                  <a:pt x="432174" y="3051114"/>
                  <a:pt x="429826" y="3048764"/>
                  <a:pt x="429826" y="3048764"/>
                </a:cubicBezTo>
                <a:cubicBezTo>
                  <a:pt x="429826" y="3048764"/>
                  <a:pt x="408689" y="3051114"/>
                  <a:pt x="399291" y="3051114"/>
                </a:cubicBezTo>
                <a:lnTo>
                  <a:pt x="399291" y="3060507"/>
                </a:lnTo>
                <a:cubicBezTo>
                  <a:pt x="371112" y="3060507"/>
                  <a:pt x="357014" y="3074593"/>
                  <a:pt x="364062" y="3093383"/>
                </a:cubicBezTo>
                <a:cubicBezTo>
                  <a:pt x="366411" y="3095732"/>
                  <a:pt x="368761" y="3098078"/>
                  <a:pt x="371112" y="3098078"/>
                </a:cubicBezTo>
                <a:cubicBezTo>
                  <a:pt x="375805" y="3098078"/>
                  <a:pt x="378154" y="3098078"/>
                  <a:pt x="408689" y="3069899"/>
                </a:cubicBezTo>
                <a:cubicBezTo>
                  <a:pt x="413389" y="3065200"/>
                  <a:pt x="415734" y="3062857"/>
                  <a:pt x="420431" y="3065200"/>
                </a:cubicBezTo>
                <a:cubicBezTo>
                  <a:pt x="429826" y="3067552"/>
                  <a:pt x="434525" y="3074593"/>
                  <a:pt x="441569" y="3079289"/>
                </a:cubicBezTo>
                <a:cubicBezTo>
                  <a:pt x="434525" y="3086336"/>
                  <a:pt x="429826" y="3095732"/>
                  <a:pt x="420431" y="3098078"/>
                </a:cubicBezTo>
                <a:cubicBezTo>
                  <a:pt x="413389" y="3098078"/>
                  <a:pt x="406339" y="3095732"/>
                  <a:pt x="403989" y="3093383"/>
                </a:cubicBezTo>
                <a:cubicBezTo>
                  <a:pt x="403989" y="3093383"/>
                  <a:pt x="413389" y="3116866"/>
                  <a:pt x="418084" y="3128603"/>
                </a:cubicBezTo>
                <a:lnTo>
                  <a:pt x="385199" y="3145047"/>
                </a:lnTo>
                <a:cubicBezTo>
                  <a:pt x="380504" y="3140349"/>
                  <a:pt x="378154" y="3138001"/>
                  <a:pt x="375805" y="3133303"/>
                </a:cubicBezTo>
                <a:cubicBezTo>
                  <a:pt x="371112" y="3138001"/>
                  <a:pt x="371112" y="3142698"/>
                  <a:pt x="366411" y="3142698"/>
                </a:cubicBezTo>
                <a:cubicBezTo>
                  <a:pt x="354669" y="3142698"/>
                  <a:pt x="352319" y="3119216"/>
                  <a:pt x="340576" y="3116866"/>
                </a:cubicBezTo>
                <a:cubicBezTo>
                  <a:pt x="333528" y="3116866"/>
                  <a:pt x="331178" y="3142698"/>
                  <a:pt x="331178" y="3145047"/>
                </a:cubicBezTo>
                <a:cubicBezTo>
                  <a:pt x="335876" y="3152091"/>
                  <a:pt x="347620" y="3149744"/>
                  <a:pt x="352319" y="3154437"/>
                </a:cubicBezTo>
                <a:cubicBezTo>
                  <a:pt x="354669" y="3156788"/>
                  <a:pt x="355253" y="3159722"/>
                  <a:pt x="355549" y="3162658"/>
                </a:cubicBezTo>
                <a:lnTo>
                  <a:pt x="356344" y="3167101"/>
                </a:lnTo>
                <a:lnTo>
                  <a:pt x="349678" y="3176159"/>
                </a:lnTo>
                <a:cubicBezTo>
                  <a:pt x="347032" y="3179688"/>
                  <a:pt x="344097" y="3182622"/>
                  <a:pt x="340576" y="3182622"/>
                </a:cubicBezTo>
                <a:cubicBezTo>
                  <a:pt x="333528" y="3182622"/>
                  <a:pt x="328829" y="3173228"/>
                  <a:pt x="324134" y="3173228"/>
                </a:cubicBezTo>
                <a:cubicBezTo>
                  <a:pt x="312391" y="3170882"/>
                  <a:pt x="302992" y="3177926"/>
                  <a:pt x="291248" y="3180274"/>
                </a:cubicBezTo>
                <a:cubicBezTo>
                  <a:pt x="291248" y="3180274"/>
                  <a:pt x="312391" y="3180274"/>
                  <a:pt x="321784" y="3189668"/>
                </a:cubicBezTo>
                <a:lnTo>
                  <a:pt x="319434" y="3199057"/>
                </a:lnTo>
                <a:lnTo>
                  <a:pt x="347620" y="3201406"/>
                </a:lnTo>
                <a:cubicBezTo>
                  <a:pt x="352319" y="3201406"/>
                  <a:pt x="354669" y="3201406"/>
                  <a:pt x="357014" y="3201406"/>
                </a:cubicBezTo>
                <a:cubicBezTo>
                  <a:pt x="368761" y="3210801"/>
                  <a:pt x="373456" y="3215498"/>
                  <a:pt x="373456" y="3217848"/>
                </a:cubicBezTo>
                <a:cubicBezTo>
                  <a:pt x="375805" y="3222544"/>
                  <a:pt x="368761" y="3229594"/>
                  <a:pt x="371112" y="3234296"/>
                </a:cubicBezTo>
                <a:cubicBezTo>
                  <a:pt x="373456" y="3238995"/>
                  <a:pt x="378154" y="3238995"/>
                  <a:pt x="382854" y="3241348"/>
                </a:cubicBezTo>
                <a:cubicBezTo>
                  <a:pt x="387548" y="3234296"/>
                  <a:pt x="392247" y="3229594"/>
                  <a:pt x="396941" y="3224895"/>
                </a:cubicBezTo>
                <a:cubicBezTo>
                  <a:pt x="399291" y="3222544"/>
                  <a:pt x="399291" y="3222544"/>
                  <a:pt x="401641" y="3220195"/>
                </a:cubicBezTo>
                <a:cubicBezTo>
                  <a:pt x="406339" y="3227243"/>
                  <a:pt x="413389" y="3234296"/>
                  <a:pt x="415734" y="3241348"/>
                </a:cubicBezTo>
                <a:cubicBezTo>
                  <a:pt x="415734" y="3248400"/>
                  <a:pt x="415734" y="3248400"/>
                  <a:pt x="408689" y="3253094"/>
                </a:cubicBezTo>
                <a:cubicBezTo>
                  <a:pt x="403989" y="3255452"/>
                  <a:pt x="401641" y="3255452"/>
                  <a:pt x="399291" y="3257798"/>
                </a:cubicBezTo>
                <a:cubicBezTo>
                  <a:pt x="396941" y="3255452"/>
                  <a:pt x="389897" y="3260144"/>
                  <a:pt x="387548" y="3257798"/>
                </a:cubicBezTo>
                <a:cubicBezTo>
                  <a:pt x="392247" y="3264857"/>
                  <a:pt x="406339" y="3264857"/>
                  <a:pt x="406339" y="3274273"/>
                </a:cubicBezTo>
                <a:cubicBezTo>
                  <a:pt x="406339" y="3278939"/>
                  <a:pt x="401641" y="3285961"/>
                  <a:pt x="401641" y="3290651"/>
                </a:cubicBezTo>
                <a:cubicBezTo>
                  <a:pt x="401641" y="3290651"/>
                  <a:pt x="418084" y="3288292"/>
                  <a:pt x="425132" y="3285961"/>
                </a:cubicBezTo>
                <a:lnTo>
                  <a:pt x="425132" y="3304700"/>
                </a:lnTo>
                <a:lnTo>
                  <a:pt x="382854" y="3304700"/>
                </a:lnTo>
                <a:cubicBezTo>
                  <a:pt x="375805" y="3309400"/>
                  <a:pt x="366411" y="3316463"/>
                  <a:pt x="357014" y="3316463"/>
                </a:cubicBezTo>
                <a:cubicBezTo>
                  <a:pt x="354669" y="3316463"/>
                  <a:pt x="352319" y="3311755"/>
                  <a:pt x="349970" y="3311755"/>
                </a:cubicBezTo>
                <a:cubicBezTo>
                  <a:pt x="347620" y="3311755"/>
                  <a:pt x="345271" y="3314106"/>
                  <a:pt x="342922" y="3316463"/>
                </a:cubicBezTo>
                <a:cubicBezTo>
                  <a:pt x="340576" y="3321157"/>
                  <a:pt x="345271" y="3323513"/>
                  <a:pt x="345271" y="3325857"/>
                </a:cubicBezTo>
                <a:cubicBezTo>
                  <a:pt x="338226" y="3325857"/>
                  <a:pt x="331178" y="3328206"/>
                  <a:pt x="324134" y="3325857"/>
                </a:cubicBezTo>
                <a:cubicBezTo>
                  <a:pt x="324134" y="3325857"/>
                  <a:pt x="312391" y="3318807"/>
                  <a:pt x="307691" y="3311755"/>
                </a:cubicBezTo>
                <a:lnTo>
                  <a:pt x="300644" y="3316463"/>
                </a:lnTo>
                <a:lnTo>
                  <a:pt x="314736" y="3347004"/>
                </a:lnTo>
                <a:cubicBezTo>
                  <a:pt x="314736" y="3351665"/>
                  <a:pt x="317085" y="3356363"/>
                  <a:pt x="314736" y="3361060"/>
                </a:cubicBezTo>
                <a:cubicBezTo>
                  <a:pt x="312391" y="3363409"/>
                  <a:pt x="312391" y="3365758"/>
                  <a:pt x="310041" y="3368107"/>
                </a:cubicBezTo>
                <a:cubicBezTo>
                  <a:pt x="317085" y="3365758"/>
                  <a:pt x="324134" y="3361060"/>
                  <a:pt x="331178" y="3361060"/>
                </a:cubicBezTo>
                <a:cubicBezTo>
                  <a:pt x="335876" y="3361060"/>
                  <a:pt x="345271" y="3368107"/>
                  <a:pt x="345271" y="3370455"/>
                </a:cubicBezTo>
                <a:cubicBezTo>
                  <a:pt x="347620" y="3377502"/>
                  <a:pt x="333528" y="3379851"/>
                  <a:pt x="331178" y="3386897"/>
                </a:cubicBezTo>
                <a:cubicBezTo>
                  <a:pt x="331178" y="3391595"/>
                  <a:pt x="338226" y="3396292"/>
                  <a:pt x="338226" y="3403339"/>
                </a:cubicBezTo>
                <a:cubicBezTo>
                  <a:pt x="335876" y="3405687"/>
                  <a:pt x="331178" y="3408036"/>
                  <a:pt x="331178" y="3410385"/>
                </a:cubicBezTo>
                <a:cubicBezTo>
                  <a:pt x="331178" y="3410385"/>
                  <a:pt x="331178" y="3422129"/>
                  <a:pt x="331178" y="3429175"/>
                </a:cubicBezTo>
                <a:lnTo>
                  <a:pt x="340576" y="3429175"/>
                </a:lnTo>
                <a:lnTo>
                  <a:pt x="345271" y="3462058"/>
                </a:lnTo>
                <a:cubicBezTo>
                  <a:pt x="345271" y="3462058"/>
                  <a:pt x="347620" y="3464407"/>
                  <a:pt x="347620" y="3464407"/>
                </a:cubicBezTo>
                <a:cubicBezTo>
                  <a:pt x="359363" y="3450314"/>
                  <a:pt x="354669" y="3455012"/>
                  <a:pt x="361714" y="3445616"/>
                </a:cubicBezTo>
                <a:cubicBezTo>
                  <a:pt x="361714" y="3445616"/>
                  <a:pt x="359363" y="3438570"/>
                  <a:pt x="359363" y="3436221"/>
                </a:cubicBezTo>
                <a:lnTo>
                  <a:pt x="359363" y="3426826"/>
                </a:lnTo>
                <a:lnTo>
                  <a:pt x="392247" y="3410385"/>
                </a:lnTo>
                <a:cubicBezTo>
                  <a:pt x="392247" y="3410385"/>
                  <a:pt x="394596" y="3417431"/>
                  <a:pt x="418084" y="3419780"/>
                </a:cubicBezTo>
                <a:lnTo>
                  <a:pt x="425132" y="3429175"/>
                </a:lnTo>
                <a:lnTo>
                  <a:pt x="399291" y="3445616"/>
                </a:lnTo>
                <a:cubicBezTo>
                  <a:pt x="396941" y="3445616"/>
                  <a:pt x="394596" y="3445616"/>
                  <a:pt x="392247" y="3447965"/>
                </a:cubicBezTo>
                <a:cubicBezTo>
                  <a:pt x="389897" y="3450314"/>
                  <a:pt x="389897" y="3455012"/>
                  <a:pt x="392247" y="3457360"/>
                </a:cubicBezTo>
                <a:cubicBezTo>
                  <a:pt x="396941" y="3466756"/>
                  <a:pt x="408689" y="3464407"/>
                  <a:pt x="413389" y="3471453"/>
                </a:cubicBezTo>
                <a:cubicBezTo>
                  <a:pt x="415734" y="3473802"/>
                  <a:pt x="413389" y="3478499"/>
                  <a:pt x="413389" y="3480848"/>
                </a:cubicBezTo>
                <a:lnTo>
                  <a:pt x="408091" y="3485263"/>
                </a:lnTo>
                <a:lnTo>
                  <a:pt x="415718" y="3485546"/>
                </a:lnTo>
                <a:cubicBezTo>
                  <a:pt x="418067" y="3485546"/>
                  <a:pt x="418067" y="3487894"/>
                  <a:pt x="420415" y="3490243"/>
                </a:cubicBezTo>
                <a:cubicBezTo>
                  <a:pt x="422764" y="3490243"/>
                  <a:pt x="422764" y="3492592"/>
                  <a:pt x="425115" y="3492592"/>
                </a:cubicBezTo>
                <a:cubicBezTo>
                  <a:pt x="427465" y="3494941"/>
                  <a:pt x="432159" y="3492592"/>
                  <a:pt x="434508" y="3490243"/>
                </a:cubicBezTo>
                <a:cubicBezTo>
                  <a:pt x="436857" y="3487894"/>
                  <a:pt x="434508" y="3483197"/>
                  <a:pt x="436857" y="3480848"/>
                </a:cubicBezTo>
                <a:cubicBezTo>
                  <a:pt x="439207" y="3478499"/>
                  <a:pt x="448601" y="3469104"/>
                  <a:pt x="472088" y="3464407"/>
                </a:cubicBezTo>
                <a:cubicBezTo>
                  <a:pt x="476786" y="3462058"/>
                  <a:pt x="483835" y="3462058"/>
                  <a:pt x="488530" y="3464407"/>
                </a:cubicBezTo>
                <a:cubicBezTo>
                  <a:pt x="493227" y="3466756"/>
                  <a:pt x="493227" y="3476151"/>
                  <a:pt x="500278" y="3478499"/>
                </a:cubicBezTo>
                <a:cubicBezTo>
                  <a:pt x="504971" y="3478499"/>
                  <a:pt x="507320" y="3476151"/>
                  <a:pt x="509670" y="3476151"/>
                </a:cubicBezTo>
                <a:cubicBezTo>
                  <a:pt x="514366" y="3476151"/>
                  <a:pt x="516715" y="3476151"/>
                  <a:pt x="519064" y="3478499"/>
                </a:cubicBezTo>
                <a:cubicBezTo>
                  <a:pt x="521413" y="3480848"/>
                  <a:pt x="521413" y="3485546"/>
                  <a:pt x="519064" y="3487894"/>
                </a:cubicBezTo>
                <a:cubicBezTo>
                  <a:pt x="519064" y="3487894"/>
                  <a:pt x="514366" y="3492592"/>
                  <a:pt x="512020" y="3494941"/>
                </a:cubicBezTo>
                <a:lnTo>
                  <a:pt x="516715" y="3504336"/>
                </a:lnTo>
                <a:lnTo>
                  <a:pt x="587183" y="3509034"/>
                </a:lnTo>
                <a:cubicBezTo>
                  <a:pt x="605970" y="3509034"/>
                  <a:pt x="622411" y="3501987"/>
                  <a:pt x="638853" y="3501987"/>
                </a:cubicBezTo>
                <a:cubicBezTo>
                  <a:pt x="648246" y="3501987"/>
                  <a:pt x="655296" y="3509034"/>
                  <a:pt x="664688" y="3506685"/>
                </a:cubicBezTo>
                <a:cubicBezTo>
                  <a:pt x="669389" y="3504336"/>
                  <a:pt x="671734" y="3499638"/>
                  <a:pt x="674083" y="3499638"/>
                </a:cubicBezTo>
                <a:cubicBezTo>
                  <a:pt x="721059" y="3494941"/>
                  <a:pt x="765686" y="3516080"/>
                  <a:pt x="810314" y="3511382"/>
                </a:cubicBezTo>
                <a:cubicBezTo>
                  <a:pt x="833800" y="3511382"/>
                  <a:pt x="854942" y="3504336"/>
                  <a:pt x="878427" y="3499638"/>
                </a:cubicBezTo>
                <a:cubicBezTo>
                  <a:pt x="859637" y="3497290"/>
                  <a:pt x="840850" y="3490243"/>
                  <a:pt x="819707" y="3490243"/>
                </a:cubicBezTo>
                <a:cubicBezTo>
                  <a:pt x="800917" y="3490243"/>
                  <a:pt x="784479" y="3497290"/>
                  <a:pt x="768037" y="3494941"/>
                </a:cubicBezTo>
                <a:cubicBezTo>
                  <a:pt x="758638" y="3494941"/>
                  <a:pt x="751594" y="3487894"/>
                  <a:pt x="742197" y="3487894"/>
                </a:cubicBezTo>
                <a:cubicBezTo>
                  <a:pt x="718709" y="3485546"/>
                  <a:pt x="692874" y="3492592"/>
                  <a:pt x="667039" y="3492592"/>
                </a:cubicBezTo>
                <a:cubicBezTo>
                  <a:pt x="624761" y="3490243"/>
                  <a:pt x="577783" y="3513731"/>
                  <a:pt x="544901" y="3487894"/>
                </a:cubicBezTo>
                <a:cubicBezTo>
                  <a:pt x="540205" y="3485546"/>
                  <a:pt x="540205" y="3478499"/>
                  <a:pt x="540205" y="3471453"/>
                </a:cubicBezTo>
                <a:cubicBezTo>
                  <a:pt x="540205" y="3466756"/>
                  <a:pt x="547249" y="3457360"/>
                  <a:pt x="549598" y="3457360"/>
                </a:cubicBezTo>
                <a:cubicBezTo>
                  <a:pt x="558992" y="3455012"/>
                  <a:pt x="566040" y="3459709"/>
                  <a:pt x="575435" y="3459709"/>
                </a:cubicBezTo>
                <a:cubicBezTo>
                  <a:pt x="580133" y="3459709"/>
                  <a:pt x="582483" y="3457360"/>
                  <a:pt x="584833" y="3457360"/>
                </a:cubicBezTo>
                <a:cubicBezTo>
                  <a:pt x="596576" y="3459709"/>
                  <a:pt x="601270" y="3473802"/>
                  <a:pt x="610668" y="3476151"/>
                </a:cubicBezTo>
                <a:cubicBezTo>
                  <a:pt x="610668" y="3476151"/>
                  <a:pt x="617713" y="3473802"/>
                  <a:pt x="620060" y="3471453"/>
                </a:cubicBezTo>
                <a:lnTo>
                  <a:pt x="624761" y="3462058"/>
                </a:lnTo>
                <a:cubicBezTo>
                  <a:pt x="725755" y="3459709"/>
                  <a:pt x="826757" y="3466756"/>
                  <a:pt x="925405" y="3457360"/>
                </a:cubicBezTo>
                <a:cubicBezTo>
                  <a:pt x="925405" y="3457360"/>
                  <a:pt x="927750" y="3457360"/>
                  <a:pt x="927750" y="3457360"/>
                </a:cubicBezTo>
                <a:lnTo>
                  <a:pt x="934798" y="3447965"/>
                </a:lnTo>
                <a:lnTo>
                  <a:pt x="887821" y="3438570"/>
                </a:lnTo>
                <a:cubicBezTo>
                  <a:pt x="883127" y="3440919"/>
                  <a:pt x="878427" y="3443268"/>
                  <a:pt x="873728" y="3443268"/>
                </a:cubicBezTo>
                <a:cubicBezTo>
                  <a:pt x="873728" y="3443268"/>
                  <a:pt x="829102" y="3443268"/>
                  <a:pt x="768037" y="3429175"/>
                </a:cubicBezTo>
                <a:lnTo>
                  <a:pt x="678781" y="3433872"/>
                </a:lnTo>
                <a:cubicBezTo>
                  <a:pt x="676431" y="3433872"/>
                  <a:pt x="676431" y="3436221"/>
                  <a:pt x="674083" y="3436221"/>
                </a:cubicBezTo>
                <a:cubicBezTo>
                  <a:pt x="669389" y="3438570"/>
                  <a:pt x="662338" y="3436221"/>
                  <a:pt x="657641" y="3436221"/>
                </a:cubicBezTo>
                <a:cubicBezTo>
                  <a:pt x="650596" y="3433872"/>
                  <a:pt x="643548" y="3426826"/>
                  <a:pt x="636503" y="3426826"/>
                </a:cubicBezTo>
                <a:cubicBezTo>
                  <a:pt x="627111" y="3424477"/>
                  <a:pt x="620060" y="3431524"/>
                  <a:pt x="610668" y="3431524"/>
                </a:cubicBezTo>
                <a:cubicBezTo>
                  <a:pt x="594225" y="3431524"/>
                  <a:pt x="566040" y="3415083"/>
                  <a:pt x="563691" y="3408036"/>
                </a:cubicBezTo>
                <a:cubicBezTo>
                  <a:pt x="563691" y="3403339"/>
                  <a:pt x="566040" y="3400990"/>
                  <a:pt x="568391" y="3398641"/>
                </a:cubicBezTo>
                <a:cubicBezTo>
                  <a:pt x="575435" y="3396292"/>
                  <a:pt x="584833" y="3403339"/>
                  <a:pt x="594225" y="3403339"/>
                </a:cubicBezTo>
                <a:cubicBezTo>
                  <a:pt x="622411" y="3403339"/>
                  <a:pt x="624761" y="3398641"/>
                  <a:pt x="636503" y="3391595"/>
                </a:cubicBezTo>
                <a:cubicBezTo>
                  <a:pt x="634153" y="3389246"/>
                  <a:pt x="631806" y="3389246"/>
                  <a:pt x="629456" y="3386897"/>
                </a:cubicBezTo>
                <a:cubicBezTo>
                  <a:pt x="627111" y="3384548"/>
                  <a:pt x="624761" y="3384548"/>
                  <a:pt x="622411" y="3382199"/>
                </a:cubicBezTo>
                <a:cubicBezTo>
                  <a:pt x="627111" y="3379851"/>
                  <a:pt x="634153" y="3375153"/>
                  <a:pt x="638853" y="3375153"/>
                </a:cubicBezTo>
                <a:cubicBezTo>
                  <a:pt x="643548" y="3375153"/>
                  <a:pt x="645898" y="3375153"/>
                  <a:pt x="648246" y="3375153"/>
                </a:cubicBezTo>
                <a:cubicBezTo>
                  <a:pt x="648246" y="3375153"/>
                  <a:pt x="648246" y="3365758"/>
                  <a:pt x="648246" y="3361061"/>
                </a:cubicBezTo>
                <a:lnTo>
                  <a:pt x="613018" y="3356363"/>
                </a:lnTo>
                <a:cubicBezTo>
                  <a:pt x="615363" y="3344658"/>
                  <a:pt x="617713" y="3342305"/>
                  <a:pt x="622411" y="3342305"/>
                </a:cubicBezTo>
                <a:cubicBezTo>
                  <a:pt x="622411" y="3342305"/>
                  <a:pt x="634153" y="3349336"/>
                  <a:pt x="638853" y="3354014"/>
                </a:cubicBezTo>
                <a:lnTo>
                  <a:pt x="655296" y="3349336"/>
                </a:lnTo>
                <a:lnTo>
                  <a:pt x="798572" y="3354014"/>
                </a:lnTo>
                <a:cubicBezTo>
                  <a:pt x="803265" y="3351665"/>
                  <a:pt x="807964" y="3349336"/>
                  <a:pt x="815010" y="3349336"/>
                </a:cubicBezTo>
                <a:cubicBezTo>
                  <a:pt x="819707" y="3347004"/>
                  <a:pt x="822057" y="3349336"/>
                  <a:pt x="824407" y="3349336"/>
                </a:cubicBezTo>
                <a:cubicBezTo>
                  <a:pt x="826757" y="3349336"/>
                  <a:pt x="827928" y="3347588"/>
                  <a:pt x="829102" y="3345827"/>
                </a:cubicBezTo>
                <a:lnTo>
                  <a:pt x="832133" y="3343559"/>
                </a:lnTo>
                <a:lnTo>
                  <a:pt x="810323" y="3337608"/>
                </a:lnTo>
                <a:lnTo>
                  <a:pt x="803277" y="3335256"/>
                </a:lnTo>
                <a:cubicBezTo>
                  <a:pt x="803277" y="3335256"/>
                  <a:pt x="807974" y="3332910"/>
                  <a:pt x="810323" y="3330561"/>
                </a:cubicBezTo>
                <a:lnTo>
                  <a:pt x="836160" y="3328206"/>
                </a:lnTo>
                <a:cubicBezTo>
                  <a:pt x="847904" y="3330561"/>
                  <a:pt x="843208" y="3328206"/>
                  <a:pt x="852601" y="3335256"/>
                </a:cubicBezTo>
                <a:cubicBezTo>
                  <a:pt x="852601" y="3335256"/>
                  <a:pt x="851430" y="3335844"/>
                  <a:pt x="848784" y="3337315"/>
                </a:cubicBezTo>
                <a:lnTo>
                  <a:pt x="839067" y="3342966"/>
                </a:lnTo>
                <a:lnTo>
                  <a:pt x="854942" y="3344947"/>
                </a:lnTo>
                <a:cubicBezTo>
                  <a:pt x="861985" y="3347004"/>
                  <a:pt x="869035" y="3349336"/>
                  <a:pt x="876077" y="3349336"/>
                </a:cubicBezTo>
                <a:cubicBezTo>
                  <a:pt x="890170" y="3349336"/>
                  <a:pt x="906612" y="3356363"/>
                  <a:pt x="918355" y="3349336"/>
                </a:cubicBezTo>
                <a:cubicBezTo>
                  <a:pt x="920705" y="3349336"/>
                  <a:pt x="923055" y="3347004"/>
                  <a:pt x="923055" y="3344658"/>
                </a:cubicBezTo>
                <a:cubicBezTo>
                  <a:pt x="920705" y="3344658"/>
                  <a:pt x="920705" y="3342305"/>
                  <a:pt x="918355" y="3342305"/>
                </a:cubicBezTo>
                <a:cubicBezTo>
                  <a:pt x="916007" y="3342305"/>
                  <a:pt x="916007" y="3339957"/>
                  <a:pt x="913658" y="3339957"/>
                </a:cubicBezTo>
                <a:cubicBezTo>
                  <a:pt x="951240" y="3351665"/>
                  <a:pt x="991168" y="3356363"/>
                  <a:pt x="1028748" y="3361061"/>
                </a:cubicBezTo>
                <a:cubicBezTo>
                  <a:pt x="1068681" y="3363409"/>
                  <a:pt x="1108609" y="3361061"/>
                  <a:pt x="1148537" y="3356363"/>
                </a:cubicBezTo>
                <a:lnTo>
                  <a:pt x="1155587" y="3356363"/>
                </a:lnTo>
                <a:lnTo>
                  <a:pt x="1157931" y="3354014"/>
                </a:lnTo>
                <a:cubicBezTo>
                  <a:pt x="1167329" y="3354014"/>
                  <a:pt x="1176721" y="3351665"/>
                  <a:pt x="1186117" y="3349336"/>
                </a:cubicBezTo>
                <a:lnTo>
                  <a:pt x="1188465" y="3354014"/>
                </a:lnTo>
                <a:lnTo>
                  <a:pt x="1197864" y="3356363"/>
                </a:lnTo>
                <a:lnTo>
                  <a:pt x="1207257" y="3356363"/>
                </a:lnTo>
                <a:lnTo>
                  <a:pt x="1209607" y="3349336"/>
                </a:lnTo>
                <a:cubicBezTo>
                  <a:pt x="1209607" y="3349336"/>
                  <a:pt x="1207257" y="3347004"/>
                  <a:pt x="1207257" y="3347004"/>
                </a:cubicBezTo>
                <a:lnTo>
                  <a:pt x="1204906" y="3347004"/>
                </a:lnTo>
                <a:cubicBezTo>
                  <a:pt x="1223699" y="3339957"/>
                  <a:pt x="1242488" y="3335256"/>
                  <a:pt x="1261277" y="3328206"/>
                </a:cubicBezTo>
                <a:lnTo>
                  <a:pt x="1327043" y="3330561"/>
                </a:lnTo>
                <a:cubicBezTo>
                  <a:pt x="1329393" y="3328206"/>
                  <a:pt x="1331741" y="3328206"/>
                  <a:pt x="1331741" y="3325857"/>
                </a:cubicBezTo>
                <a:cubicBezTo>
                  <a:pt x="1331741" y="3321157"/>
                  <a:pt x="1327043" y="3318807"/>
                  <a:pt x="1317649" y="3318807"/>
                </a:cubicBezTo>
                <a:cubicBezTo>
                  <a:pt x="1317649" y="3318807"/>
                  <a:pt x="1305905" y="3318807"/>
                  <a:pt x="1301206" y="3318807"/>
                </a:cubicBezTo>
                <a:lnTo>
                  <a:pt x="1284765" y="3318807"/>
                </a:lnTo>
                <a:cubicBezTo>
                  <a:pt x="1308255" y="3309399"/>
                  <a:pt x="1331741" y="3297674"/>
                  <a:pt x="1352883" y="3283629"/>
                </a:cubicBezTo>
                <a:cubicBezTo>
                  <a:pt x="1428041" y="3236641"/>
                  <a:pt x="1484412" y="3170868"/>
                  <a:pt x="1524344" y="3100401"/>
                </a:cubicBezTo>
                <a:lnTo>
                  <a:pt x="1529038" y="3095704"/>
                </a:lnTo>
                <a:cubicBezTo>
                  <a:pt x="1517295" y="3095704"/>
                  <a:pt x="1505551" y="3095704"/>
                  <a:pt x="1493808" y="3093357"/>
                </a:cubicBezTo>
                <a:cubicBezTo>
                  <a:pt x="1470319" y="3098049"/>
                  <a:pt x="1449180" y="3095704"/>
                  <a:pt x="1432739" y="3091003"/>
                </a:cubicBezTo>
                <a:cubicBezTo>
                  <a:pt x="1402205" y="3145031"/>
                  <a:pt x="1359927" y="3192009"/>
                  <a:pt x="1303555" y="3229593"/>
                </a:cubicBezTo>
                <a:cubicBezTo>
                  <a:pt x="1277719" y="3246041"/>
                  <a:pt x="1251884" y="3260142"/>
                  <a:pt x="1223699" y="3271915"/>
                </a:cubicBezTo>
                <a:lnTo>
                  <a:pt x="1209607" y="3271915"/>
                </a:lnTo>
                <a:lnTo>
                  <a:pt x="1188465" y="3278939"/>
                </a:lnTo>
                <a:lnTo>
                  <a:pt x="1186117" y="3285961"/>
                </a:lnTo>
                <a:cubicBezTo>
                  <a:pt x="1129746" y="3302341"/>
                  <a:pt x="1073376" y="3309399"/>
                  <a:pt x="1014655" y="3304700"/>
                </a:cubicBezTo>
                <a:cubicBezTo>
                  <a:pt x="970028" y="3302341"/>
                  <a:pt x="927750" y="3295314"/>
                  <a:pt x="887821" y="3281270"/>
                </a:cubicBezTo>
                <a:lnTo>
                  <a:pt x="892520" y="3271915"/>
                </a:lnTo>
                <a:lnTo>
                  <a:pt x="883127" y="3269552"/>
                </a:lnTo>
                <a:lnTo>
                  <a:pt x="873728" y="3271915"/>
                </a:lnTo>
                <a:lnTo>
                  <a:pt x="866685" y="3274248"/>
                </a:lnTo>
                <a:lnTo>
                  <a:pt x="869035" y="3276607"/>
                </a:lnTo>
                <a:cubicBezTo>
                  <a:pt x="838500" y="3264850"/>
                  <a:pt x="810314" y="3248384"/>
                  <a:pt x="784479" y="3227241"/>
                </a:cubicBezTo>
                <a:lnTo>
                  <a:pt x="789174" y="3224895"/>
                </a:lnTo>
                <a:lnTo>
                  <a:pt x="791521" y="3220195"/>
                </a:lnTo>
                <a:lnTo>
                  <a:pt x="775080" y="3217847"/>
                </a:lnTo>
                <a:cubicBezTo>
                  <a:pt x="765686" y="3208446"/>
                  <a:pt x="756290" y="3199053"/>
                  <a:pt x="749244" y="3189660"/>
                </a:cubicBezTo>
                <a:cubicBezTo>
                  <a:pt x="746895" y="3189660"/>
                  <a:pt x="746895" y="3187311"/>
                  <a:pt x="744547" y="3184961"/>
                </a:cubicBezTo>
                <a:cubicBezTo>
                  <a:pt x="744547" y="3184961"/>
                  <a:pt x="746895" y="3182612"/>
                  <a:pt x="746895" y="3182612"/>
                </a:cubicBezTo>
                <a:cubicBezTo>
                  <a:pt x="746895" y="3182612"/>
                  <a:pt x="749244" y="3180267"/>
                  <a:pt x="751594" y="3177914"/>
                </a:cubicBezTo>
                <a:lnTo>
                  <a:pt x="746895" y="3170868"/>
                </a:lnTo>
                <a:lnTo>
                  <a:pt x="735152" y="3170868"/>
                </a:lnTo>
                <a:cubicBezTo>
                  <a:pt x="643548" y="3041678"/>
                  <a:pt x="652946" y="2851420"/>
                  <a:pt x="742197" y="2743386"/>
                </a:cubicBezTo>
                <a:cubicBezTo>
                  <a:pt x="742197" y="2743386"/>
                  <a:pt x="744547" y="2743386"/>
                  <a:pt x="744547" y="2743386"/>
                </a:cubicBezTo>
                <a:cubicBezTo>
                  <a:pt x="758638" y="2741036"/>
                  <a:pt x="772731" y="2729290"/>
                  <a:pt x="770382" y="2717548"/>
                </a:cubicBezTo>
                <a:cubicBezTo>
                  <a:pt x="770382" y="2717548"/>
                  <a:pt x="770382" y="2717548"/>
                  <a:pt x="768037" y="2715199"/>
                </a:cubicBezTo>
                <a:cubicBezTo>
                  <a:pt x="772731" y="2708153"/>
                  <a:pt x="779779" y="2703455"/>
                  <a:pt x="786824" y="2698757"/>
                </a:cubicBezTo>
                <a:cubicBezTo>
                  <a:pt x="786824" y="2698757"/>
                  <a:pt x="786824" y="2701106"/>
                  <a:pt x="786824" y="2701106"/>
                </a:cubicBezTo>
                <a:cubicBezTo>
                  <a:pt x="786824" y="2705803"/>
                  <a:pt x="784479" y="2712850"/>
                  <a:pt x="786824" y="2717548"/>
                </a:cubicBezTo>
                <a:cubicBezTo>
                  <a:pt x="791521" y="2726944"/>
                  <a:pt x="798572" y="2731642"/>
                  <a:pt x="805614" y="2738688"/>
                </a:cubicBezTo>
                <a:cubicBezTo>
                  <a:pt x="807964" y="2731642"/>
                  <a:pt x="807964" y="2724594"/>
                  <a:pt x="812665" y="2717548"/>
                </a:cubicBezTo>
                <a:cubicBezTo>
                  <a:pt x="812665" y="2715199"/>
                  <a:pt x="819707" y="2708153"/>
                  <a:pt x="822057" y="2708153"/>
                </a:cubicBezTo>
                <a:cubicBezTo>
                  <a:pt x="824407" y="2708153"/>
                  <a:pt x="829102" y="2708153"/>
                  <a:pt x="831452" y="2708153"/>
                </a:cubicBezTo>
                <a:cubicBezTo>
                  <a:pt x="847892" y="2712850"/>
                  <a:pt x="857287" y="2733988"/>
                  <a:pt x="873728" y="2731642"/>
                </a:cubicBezTo>
                <a:cubicBezTo>
                  <a:pt x="878427" y="2731642"/>
                  <a:pt x="878427" y="2731642"/>
                  <a:pt x="883127" y="2708153"/>
                </a:cubicBezTo>
                <a:cubicBezTo>
                  <a:pt x="887821" y="2708153"/>
                  <a:pt x="890170" y="2710502"/>
                  <a:pt x="892520" y="2710502"/>
                </a:cubicBezTo>
                <a:cubicBezTo>
                  <a:pt x="897220" y="2710502"/>
                  <a:pt x="899565" y="2710502"/>
                  <a:pt x="901914" y="2710502"/>
                </a:cubicBezTo>
                <a:cubicBezTo>
                  <a:pt x="904263" y="2710502"/>
                  <a:pt x="906612" y="2715199"/>
                  <a:pt x="908962" y="2717548"/>
                </a:cubicBezTo>
                <a:cubicBezTo>
                  <a:pt x="908962" y="2717548"/>
                  <a:pt x="901914" y="2724594"/>
                  <a:pt x="897220" y="2726944"/>
                </a:cubicBezTo>
                <a:lnTo>
                  <a:pt x="894870" y="2736337"/>
                </a:lnTo>
                <a:lnTo>
                  <a:pt x="916007" y="2748077"/>
                </a:lnTo>
                <a:cubicBezTo>
                  <a:pt x="906612" y="2750429"/>
                  <a:pt x="897220" y="2752777"/>
                  <a:pt x="887821" y="2755127"/>
                </a:cubicBezTo>
                <a:cubicBezTo>
                  <a:pt x="887821" y="2755127"/>
                  <a:pt x="887821" y="2752777"/>
                  <a:pt x="887821" y="2752777"/>
                </a:cubicBezTo>
                <a:cubicBezTo>
                  <a:pt x="887821" y="2752777"/>
                  <a:pt x="887821" y="2750429"/>
                  <a:pt x="876077" y="2743386"/>
                </a:cubicBezTo>
                <a:lnTo>
                  <a:pt x="833800" y="2738688"/>
                </a:lnTo>
                <a:lnTo>
                  <a:pt x="829102" y="2741036"/>
                </a:lnTo>
                <a:lnTo>
                  <a:pt x="854942" y="2757477"/>
                </a:lnTo>
                <a:lnTo>
                  <a:pt x="871380" y="2757477"/>
                </a:lnTo>
                <a:cubicBezTo>
                  <a:pt x="869035" y="2759827"/>
                  <a:pt x="869035" y="2759827"/>
                  <a:pt x="866685" y="2759827"/>
                </a:cubicBezTo>
                <a:cubicBezTo>
                  <a:pt x="859637" y="2762175"/>
                  <a:pt x="850242" y="2766863"/>
                  <a:pt x="843195" y="2773917"/>
                </a:cubicBezTo>
                <a:cubicBezTo>
                  <a:pt x="836149" y="2766863"/>
                  <a:pt x="831452" y="2755127"/>
                  <a:pt x="824407" y="2750429"/>
                </a:cubicBezTo>
                <a:cubicBezTo>
                  <a:pt x="822057" y="2748077"/>
                  <a:pt x="817359" y="2752777"/>
                  <a:pt x="812665" y="2750429"/>
                </a:cubicBezTo>
                <a:cubicBezTo>
                  <a:pt x="812665" y="2750429"/>
                  <a:pt x="805614" y="2743386"/>
                  <a:pt x="796222" y="2733988"/>
                </a:cubicBezTo>
                <a:cubicBezTo>
                  <a:pt x="775080" y="2769215"/>
                  <a:pt x="782129" y="2762175"/>
                  <a:pt x="760987" y="2766863"/>
                </a:cubicBezTo>
                <a:cubicBezTo>
                  <a:pt x="751594" y="2769215"/>
                  <a:pt x="744547" y="2766863"/>
                  <a:pt x="735152" y="2766863"/>
                </a:cubicBezTo>
                <a:cubicBezTo>
                  <a:pt x="749244" y="2783310"/>
                  <a:pt x="749244" y="2783310"/>
                  <a:pt x="763336" y="2783310"/>
                </a:cubicBezTo>
                <a:cubicBezTo>
                  <a:pt x="770382" y="2783310"/>
                  <a:pt x="775080" y="2778610"/>
                  <a:pt x="779779" y="2776265"/>
                </a:cubicBezTo>
                <a:cubicBezTo>
                  <a:pt x="784479" y="2773917"/>
                  <a:pt x="791521" y="2771565"/>
                  <a:pt x="796222" y="2773917"/>
                </a:cubicBezTo>
                <a:cubicBezTo>
                  <a:pt x="803265" y="2776265"/>
                  <a:pt x="819707" y="2792709"/>
                  <a:pt x="819707" y="2792709"/>
                </a:cubicBezTo>
                <a:cubicBezTo>
                  <a:pt x="819707" y="2797406"/>
                  <a:pt x="812665" y="2797406"/>
                  <a:pt x="812665" y="2802108"/>
                </a:cubicBezTo>
                <a:cubicBezTo>
                  <a:pt x="812665" y="2802108"/>
                  <a:pt x="812665" y="2804448"/>
                  <a:pt x="812665" y="2804448"/>
                </a:cubicBezTo>
                <a:cubicBezTo>
                  <a:pt x="796222" y="2823237"/>
                  <a:pt x="782129" y="2846719"/>
                  <a:pt x="777429" y="2865511"/>
                </a:cubicBezTo>
                <a:cubicBezTo>
                  <a:pt x="775080" y="2870211"/>
                  <a:pt x="775080" y="2874908"/>
                  <a:pt x="772731" y="2879603"/>
                </a:cubicBezTo>
                <a:cubicBezTo>
                  <a:pt x="746895" y="2900746"/>
                  <a:pt x="718709" y="2924238"/>
                  <a:pt x="690524" y="2940682"/>
                </a:cubicBezTo>
                <a:cubicBezTo>
                  <a:pt x="714012" y="2933635"/>
                  <a:pt x="744547" y="2917189"/>
                  <a:pt x="768037" y="2898397"/>
                </a:cubicBezTo>
                <a:cubicBezTo>
                  <a:pt x="760987" y="2931285"/>
                  <a:pt x="758638" y="2973560"/>
                  <a:pt x="772731" y="3013491"/>
                </a:cubicBezTo>
                <a:cubicBezTo>
                  <a:pt x="789174" y="3067516"/>
                  <a:pt x="831452" y="3114494"/>
                  <a:pt x="880777" y="3145031"/>
                </a:cubicBezTo>
                <a:cubicBezTo>
                  <a:pt x="932448" y="3173219"/>
                  <a:pt x="993518" y="3189660"/>
                  <a:pt x="1056934" y="3180267"/>
                </a:cubicBezTo>
                <a:cubicBezTo>
                  <a:pt x="1120351" y="3173219"/>
                  <a:pt x="1190814" y="3135632"/>
                  <a:pt x="1228395" y="3074565"/>
                </a:cubicBezTo>
                <a:cubicBezTo>
                  <a:pt x="1247184" y="3046376"/>
                  <a:pt x="1265977" y="2999397"/>
                  <a:pt x="1273021" y="2943031"/>
                </a:cubicBezTo>
                <a:cubicBezTo>
                  <a:pt x="1273021" y="2938332"/>
                  <a:pt x="1270672" y="2933635"/>
                  <a:pt x="1270672" y="2928935"/>
                </a:cubicBezTo>
                <a:cubicBezTo>
                  <a:pt x="1270672" y="2921888"/>
                  <a:pt x="1270672" y="2917189"/>
                  <a:pt x="1270672" y="2910142"/>
                </a:cubicBezTo>
                <a:lnTo>
                  <a:pt x="1270672" y="2908969"/>
                </a:lnTo>
                <a:cubicBezTo>
                  <a:pt x="1271260" y="2919539"/>
                  <a:pt x="1273021" y="2930111"/>
                  <a:pt x="1275370" y="2940682"/>
                </a:cubicBezTo>
                <a:cubicBezTo>
                  <a:pt x="1277719" y="2917189"/>
                  <a:pt x="1277719" y="2893698"/>
                  <a:pt x="1275370" y="2870211"/>
                </a:cubicBezTo>
                <a:cubicBezTo>
                  <a:pt x="1273021" y="2832635"/>
                  <a:pt x="1261277" y="2792709"/>
                  <a:pt x="1240142" y="2752777"/>
                </a:cubicBezTo>
                <a:cubicBezTo>
                  <a:pt x="1193164" y="2661172"/>
                  <a:pt x="1078073" y="2597748"/>
                  <a:pt x="955940" y="2597748"/>
                </a:cubicBezTo>
                <a:cubicBezTo>
                  <a:pt x="944193" y="2567212"/>
                  <a:pt x="932448" y="2508487"/>
                  <a:pt x="932448" y="2482647"/>
                </a:cubicBezTo>
                <a:cubicBezTo>
                  <a:pt x="932448" y="2473251"/>
                  <a:pt x="934798" y="2466204"/>
                  <a:pt x="934798" y="2459156"/>
                </a:cubicBezTo>
                <a:cubicBezTo>
                  <a:pt x="948890" y="2466204"/>
                  <a:pt x="951240" y="2499091"/>
                  <a:pt x="967683" y="2499091"/>
                </a:cubicBezTo>
                <a:cubicBezTo>
                  <a:pt x="967683" y="2499091"/>
                  <a:pt x="977076" y="2492043"/>
                  <a:pt x="977076" y="2489695"/>
                </a:cubicBezTo>
                <a:cubicBezTo>
                  <a:pt x="984126" y="2477949"/>
                  <a:pt x="972378" y="2461506"/>
                  <a:pt x="972378" y="2447413"/>
                </a:cubicBezTo>
                <a:cubicBezTo>
                  <a:pt x="972378" y="2428622"/>
                  <a:pt x="974727" y="2409828"/>
                  <a:pt x="979425" y="2393386"/>
                </a:cubicBezTo>
                <a:lnTo>
                  <a:pt x="972378" y="2388703"/>
                </a:lnTo>
                <a:lnTo>
                  <a:pt x="979425" y="2381650"/>
                </a:lnTo>
                <a:lnTo>
                  <a:pt x="981775" y="2383997"/>
                </a:lnTo>
                <a:cubicBezTo>
                  <a:pt x="995868" y="2337017"/>
                  <a:pt x="1019354" y="2308840"/>
                  <a:pt x="1031098" y="2306488"/>
                </a:cubicBezTo>
                <a:cubicBezTo>
                  <a:pt x="1035796" y="2304141"/>
                  <a:pt x="1040496" y="2313539"/>
                  <a:pt x="1047539" y="2313539"/>
                </a:cubicBezTo>
                <a:cubicBezTo>
                  <a:pt x="1049888" y="2313539"/>
                  <a:pt x="1054584" y="2311189"/>
                  <a:pt x="1059282" y="2311189"/>
                </a:cubicBezTo>
                <a:cubicBezTo>
                  <a:pt x="1056934" y="2306488"/>
                  <a:pt x="1056934" y="2304141"/>
                  <a:pt x="1054584" y="2301787"/>
                </a:cubicBezTo>
                <a:cubicBezTo>
                  <a:pt x="1054584" y="2301787"/>
                  <a:pt x="1061632" y="2294748"/>
                  <a:pt x="1063981" y="2292396"/>
                </a:cubicBezTo>
                <a:lnTo>
                  <a:pt x="1089817" y="2301787"/>
                </a:lnTo>
                <a:cubicBezTo>
                  <a:pt x="1094516" y="2304141"/>
                  <a:pt x="1099211" y="2304141"/>
                  <a:pt x="1106259" y="2304141"/>
                </a:cubicBezTo>
                <a:cubicBezTo>
                  <a:pt x="1110959" y="2304141"/>
                  <a:pt x="1113305" y="2301787"/>
                  <a:pt x="1115654" y="2304141"/>
                </a:cubicBezTo>
                <a:cubicBezTo>
                  <a:pt x="1118002" y="2304141"/>
                  <a:pt x="1120351" y="2308840"/>
                  <a:pt x="1120351" y="2311189"/>
                </a:cubicBezTo>
                <a:cubicBezTo>
                  <a:pt x="1120351" y="2315886"/>
                  <a:pt x="1118002" y="2318240"/>
                  <a:pt x="1115654" y="2320594"/>
                </a:cubicBezTo>
                <a:cubicBezTo>
                  <a:pt x="1115654" y="2325277"/>
                  <a:pt x="1118002" y="2332320"/>
                  <a:pt x="1118002" y="2337017"/>
                </a:cubicBezTo>
                <a:cubicBezTo>
                  <a:pt x="1125051" y="2334671"/>
                  <a:pt x="1132095" y="2332320"/>
                  <a:pt x="1136794" y="2329971"/>
                </a:cubicBezTo>
                <a:cubicBezTo>
                  <a:pt x="1139144" y="2327617"/>
                  <a:pt x="1141494" y="2322938"/>
                  <a:pt x="1143839" y="2322938"/>
                </a:cubicBezTo>
                <a:cubicBezTo>
                  <a:pt x="1148537" y="2322938"/>
                  <a:pt x="1150886" y="2325277"/>
                  <a:pt x="1153236" y="2325277"/>
                </a:cubicBezTo>
                <a:cubicBezTo>
                  <a:pt x="1157931" y="2325277"/>
                  <a:pt x="1164979" y="2318240"/>
                  <a:pt x="1169679" y="2320594"/>
                </a:cubicBezTo>
                <a:cubicBezTo>
                  <a:pt x="1172024" y="2320594"/>
                  <a:pt x="1174373" y="2325277"/>
                  <a:pt x="1174373" y="2327617"/>
                </a:cubicBezTo>
                <a:cubicBezTo>
                  <a:pt x="1174373" y="2332320"/>
                  <a:pt x="1172024" y="2337017"/>
                  <a:pt x="1169679" y="2341718"/>
                </a:cubicBezTo>
                <a:cubicBezTo>
                  <a:pt x="1160280" y="2351110"/>
                  <a:pt x="1141494" y="2355809"/>
                  <a:pt x="1139144" y="2369902"/>
                </a:cubicBezTo>
                <a:cubicBezTo>
                  <a:pt x="1136794" y="2379300"/>
                  <a:pt x="1141494" y="2381650"/>
                  <a:pt x="1153236" y="2386351"/>
                </a:cubicBezTo>
                <a:cubicBezTo>
                  <a:pt x="1153236" y="2381650"/>
                  <a:pt x="1150886" y="2374600"/>
                  <a:pt x="1153236" y="2369902"/>
                </a:cubicBezTo>
                <a:cubicBezTo>
                  <a:pt x="1155587" y="2367555"/>
                  <a:pt x="1160280" y="2367555"/>
                  <a:pt x="1162629" y="2367555"/>
                </a:cubicBezTo>
                <a:cubicBezTo>
                  <a:pt x="1167329" y="2369902"/>
                  <a:pt x="1169679" y="2374600"/>
                  <a:pt x="1172024" y="2376947"/>
                </a:cubicBezTo>
                <a:cubicBezTo>
                  <a:pt x="1174373" y="2374600"/>
                  <a:pt x="1174373" y="2374600"/>
                  <a:pt x="1176721" y="2372252"/>
                </a:cubicBezTo>
                <a:cubicBezTo>
                  <a:pt x="1174373" y="2367555"/>
                  <a:pt x="1174373" y="2365199"/>
                  <a:pt x="1172024" y="2362860"/>
                </a:cubicBezTo>
                <a:cubicBezTo>
                  <a:pt x="1179071" y="2362860"/>
                  <a:pt x="1183772" y="2360508"/>
                  <a:pt x="1188465" y="2362860"/>
                </a:cubicBezTo>
                <a:cubicBezTo>
                  <a:pt x="1188465" y="2362860"/>
                  <a:pt x="1197864" y="2367555"/>
                  <a:pt x="1197864" y="2369902"/>
                </a:cubicBezTo>
                <a:cubicBezTo>
                  <a:pt x="1197864" y="2383997"/>
                  <a:pt x="1181422" y="2398089"/>
                  <a:pt x="1183772" y="2412180"/>
                </a:cubicBezTo>
                <a:cubicBezTo>
                  <a:pt x="1183772" y="2416879"/>
                  <a:pt x="1186117" y="2419225"/>
                  <a:pt x="1186117" y="2421576"/>
                </a:cubicBezTo>
                <a:cubicBezTo>
                  <a:pt x="1186117" y="2423923"/>
                  <a:pt x="1181422" y="2423923"/>
                  <a:pt x="1179071" y="2426276"/>
                </a:cubicBezTo>
                <a:cubicBezTo>
                  <a:pt x="1174373" y="2421576"/>
                  <a:pt x="1172024" y="2416879"/>
                  <a:pt x="1169679" y="2414529"/>
                </a:cubicBezTo>
                <a:cubicBezTo>
                  <a:pt x="1164979" y="2409828"/>
                  <a:pt x="1164979" y="2405140"/>
                  <a:pt x="1160280" y="2405140"/>
                </a:cubicBezTo>
                <a:cubicBezTo>
                  <a:pt x="1155587" y="2405140"/>
                  <a:pt x="1150886" y="2409828"/>
                  <a:pt x="1150886" y="2409828"/>
                </a:cubicBezTo>
                <a:cubicBezTo>
                  <a:pt x="1150886" y="2416879"/>
                  <a:pt x="1162629" y="2421576"/>
                  <a:pt x="1169679" y="2426276"/>
                </a:cubicBezTo>
                <a:cubicBezTo>
                  <a:pt x="1174373" y="2428622"/>
                  <a:pt x="1172024" y="2438019"/>
                  <a:pt x="1176721" y="2442714"/>
                </a:cubicBezTo>
                <a:cubicBezTo>
                  <a:pt x="1179071" y="2447413"/>
                  <a:pt x="1188465" y="2447413"/>
                  <a:pt x="1188465" y="2452110"/>
                </a:cubicBezTo>
                <a:cubicBezTo>
                  <a:pt x="1188465" y="2452110"/>
                  <a:pt x="1183772" y="2468554"/>
                  <a:pt x="1181422" y="2477949"/>
                </a:cubicBezTo>
                <a:lnTo>
                  <a:pt x="1186117" y="2484996"/>
                </a:lnTo>
                <a:lnTo>
                  <a:pt x="1221349" y="2447413"/>
                </a:lnTo>
                <a:lnTo>
                  <a:pt x="1221349" y="2433321"/>
                </a:lnTo>
                <a:cubicBezTo>
                  <a:pt x="1216650" y="2435668"/>
                  <a:pt x="1209607" y="2438019"/>
                  <a:pt x="1204906" y="2435668"/>
                </a:cubicBezTo>
                <a:cubicBezTo>
                  <a:pt x="1202558" y="2433321"/>
                  <a:pt x="1200209" y="2428622"/>
                  <a:pt x="1200209" y="2426276"/>
                </a:cubicBezTo>
                <a:cubicBezTo>
                  <a:pt x="1200209" y="2421576"/>
                  <a:pt x="1200209" y="2421576"/>
                  <a:pt x="1214301" y="2407487"/>
                </a:cubicBezTo>
                <a:cubicBezTo>
                  <a:pt x="1214301" y="2407487"/>
                  <a:pt x="1216650" y="2409828"/>
                  <a:pt x="1216650" y="2409828"/>
                </a:cubicBezTo>
                <a:cubicBezTo>
                  <a:pt x="1218999" y="2414529"/>
                  <a:pt x="1221349" y="2419225"/>
                  <a:pt x="1223699" y="2423923"/>
                </a:cubicBezTo>
                <a:cubicBezTo>
                  <a:pt x="1226045" y="2421576"/>
                  <a:pt x="1228395" y="2419225"/>
                  <a:pt x="1230743" y="2419225"/>
                </a:cubicBezTo>
                <a:cubicBezTo>
                  <a:pt x="1235442" y="2419225"/>
                  <a:pt x="1242488" y="2423923"/>
                  <a:pt x="1244836" y="2428622"/>
                </a:cubicBezTo>
                <a:cubicBezTo>
                  <a:pt x="1247184" y="2433321"/>
                  <a:pt x="1240142" y="2440367"/>
                  <a:pt x="1242488" y="2445068"/>
                </a:cubicBezTo>
                <a:cubicBezTo>
                  <a:pt x="1244836" y="2449762"/>
                  <a:pt x="1251884" y="2452110"/>
                  <a:pt x="1256579" y="2452110"/>
                </a:cubicBezTo>
                <a:cubicBezTo>
                  <a:pt x="1256579" y="2452110"/>
                  <a:pt x="1263627" y="2449762"/>
                  <a:pt x="1265977" y="2449762"/>
                </a:cubicBezTo>
                <a:lnTo>
                  <a:pt x="1270672" y="2445068"/>
                </a:lnTo>
                <a:cubicBezTo>
                  <a:pt x="1270672" y="2445068"/>
                  <a:pt x="1273021" y="2426276"/>
                  <a:pt x="1233092" y="2402786"/>
                </a:cubicBezTo>
                <a:lnTo>
                  <a:pt x="1237792" y="2393386"/>
                </a:lnTo>
                <a:lnTo>
                  <a:pt x="1317649" y="2398089"/>
                </a:lnTo>
                <a:cubicBezTo>
                  <a:pt x="1319997" y="2400440"/>
                  <a:pt x="1319997" y="2400440"/>
                  <a:pt x="1322347" y="2402786"/>
                </a:cubicBezTo>
                <a:cubicBezTo>
                  <a:pt x="1303555" y="2414529"/>
                  <a:pt x="1305905" y="2412180"/>
                  <a:pt x="1305905" y="2419225"/>
                </a:cubicBezTo>
                <a:cubicBezTo>
                  <a:pt x="1305905" y="2423923"/>
                  <a:pt x="1308255" y="2426276"/>
                  <a:pt x="1308255" y="2428622"/>
                </a:cubicBezTo>
                <a:cubicBezTo>
                  <a:pt x="1305905" y="2435668"/>
                  <a:pt x="1296512" y="2435668"/>
                  <a:pt x="1291812" y="2438019"/>
                </a:cubicBezTo>
                <a:cubicBezTo>
                  <a:pt x="1291812" y="2438019"/>
                  <a:pt x="1296512" y="2445068"/>
                  <a:pt x="1298858" y="2447413"/>
                </a:cubicBezTo>
                <a:lnTo>
                  <a:pt x="1310605" y="2449762"/>
                </a:lnTo>
                <a:cubicBezTo>
                  <a:pt x="1312950" y="2466204"/>
                  <a:pt x="1312950" y="2482647"/>
                  <a:pt x="1317649" y="2496742"/>
                </a:cubicBezTo>
                <a:cubicBezTo>
                  <a:pt x="1317649" y="2496742"/>
                  <a:pt x="1317649" y="2499091"/>
                  <a:pt x="1317649" y="2499091"/>
                </a:cubicBezTo>
                <a:cubicBezTo>
                  <a:pt x="1319997" y="2501439"/>
                  <a:pt x="1322347" y="2506137"/>
                  <a:pt x="1324697" y="2506137"/>
                </a:cubicBezTo>
                <a:cubicBezTo>
                  <a:pt x="1329393" y="2508487"/>
                  <a:pt x="1331741" y="2503789"/>
                  <a:pt x="1334090" y="2501439"/>
                </a:cubicBezTo>
                <a:cubicBezTo>
                  <a:pt x="1336440" y="2492043"/>
                  <a:pt x="1327043" y="2484996"/>
                  <a:pt x="1329393" y="2475601"/>
                </a:cubicBezTo>
                <a:cubicBezTo>
                  <a:pt x="1329393" y="2473251"/>
                  <a:pt x="1331741" y="2470902"/>
                  <a:pt x="1334090" y="2470902"/>
                </a:cubicBezTo>
                <a:cubicBezTo>
                  <a:pt x="1334090" y="2470902"/>
                  <a:pt x="1338790" y="2470902"/>
                  <a:pt x="1350532" y="2482647"/>
                </a:cubicBezTo>
                <a:lnTo>
                  <a:pt x="1355228" y="2475601"/>
                </a:lnTo>
                <a:lnTo>
                  <a:pt x="1336440" y="2433321"/>
                </a:lnTo>
                <a:cubicBezTo>
                  <a:pt x="1336440" y="2428622"/>
                  <a:pt x="1341135" y="2426276"/>
                  <a:pt x="1341135" y="2421576"/>
                </a:cubicBezTo>
                <a:cubicBezTo>
                  <a:pt x="1345833" y="2426276"/>
                  <a:pt x="1350532" y="2430970"/>
                  <a:pt x="1355228" y="2435668"/>
                </a:cubicBezTo>
                <a:lnTo>
                  <a:pt x="1362275" y="2459156"/>
                </a:lnTo>
                <a:cubicBezTo>
                  <a:pt x="1364625" y="2470902"/>
                  <a:pt x="1371671" y="2480298"/>
                  <a:pt x="1374019" y="2492043"/>
                </a:cubicBezTo>
                <a:cubicBezTo>
                  <a:pt x="1374019" y="2496742"/>
                  <a:pt x="1371671" y="2499091"/>
                  <a:pt x="1371671" y="2501439"/>
                </a:cubicBezTo>
                <a:cubicBezTo>
                  <a:pt x="1369325" y="2517883"/>
                  <a:pt x="1371671" y="2515534"/>
                  <a:pt x="1381068" y="2517883"/>
                </a:cubicBezTo>
                <a:cubicBezTo>
                  <a:pt x="1378718" y="2513184"/>
                  <a:pt x="1378718" y="2506137"/>
                  <a:pt x="1376368" y="2501439"/>
                </a:cubicBezTo>
                <a:cubicBezTo>
                  <a:pt x="1376368" y="2496742"/>
                  <a:pt x="1374019" y="2494392"/>
                  <a:pt x="1374019" y="2492043"/>
                </a:cubicBezTo>
                <a:cubicBezTo>
                  <a:pt x="1374019" y="2487345"/>
                  <a:pt x="1381068" y="2487345"/>
                  <a:pt x="1381068" y="2482647"/>
                </a:cubicBezTo>
                <a:cubicBezTo>
                  <a:pt x="1383414" y="2477949"/>
                  <a:pt x="1374019" y="2470902"/>
                  <a:pt x="1376368" y="2466204"/>
                </a:cubicBezTo>
                <a:cubicBezTo>
                  <a:pt x="1376368" y="2466204"/>
                  <a:pt x="1378718" y="2463855"/>
                  <a:pt x="1378718" y="2463855"/>
                </a:cubicBezTo>
                <a:lnTo>
                  <a:pt x="1407885" y="2510837"/>
                </a:lnTo>
                <a:lnTo>
                  <a:pt x="1399856" y="2510837"/>
                </a:lnTo>
                <a:lnTo>
                  <a:pt x="1395160" y="2515534"/>
                </a:lnTo>
                <a:lnTo>
                  <a:pt x="1399856" y="2522580"/>
                </a:lnTo>
                <a:cubicBezTo>
                  <a:pt x="1399856" y="2522580"/>
                  <a:pt x="1402205" y="2524930"/>
                  <a:pt x="1402205" y="2524930"/>
                </a:cubicBezTo>
                <a:lnTo>
                  <a:pt x="1406903" y="2522580"/>
                </a:lnTo>
                <a:cubicBezTo>
                  <a:pt x="1406903" y="2522580"/>
                  <a:pt x="1409253" y="2520232"/>
                  <a:pt x="1409253" y="2520232"/>
                </a:cubicBezTo>
                <a:lnTo>
                  <a:pt x="1410811" y="2515551"/>
                </a:lnTo>
                <a:lnTo>
                  <a:pt x="1445070" y="2570735"/>
                </a:lnTo>
                <a:cubicBezTo>
                  <a:pt x="1463273" y="2610081"/>
                  <a:pt x="1477366" y="2652951"/>
                  <a:pt x="1486761" y="2698757"/>
                </a:cubicBezTo>
                <a:cubicBezTo>
                  <a:pt x="1486761" y="2696407"/>
                  <a:pt x="1489110" y="2696407"/>
                  <a:pt x="1491458" y="2696407"/>
                </a:cubicBezTo>
                <a:cubicBezTo>
                  <a:pt x="1505551" y="2694058"/>
                  <a:pt x="1519643" y="2694058"/>
                  <a:pt x="1531386" y="2691710"/>
                </a:cubicBezTo>
                <a:cubicBezTo>
                  <a:pt x="1554874" y="2687012"/>
                  <a:pt x="1576014" y="2689360"/>
                  <a:pt x="1594806" y="2689360"/>
                </a:cubicBezTo>
                <a:cubicBezTo>
                  <a:pt x="1592456" y="2682313"/>
                  <a:pt x="1592456" y="2672918"/>
                  <a:pt x="1590107" y="2663521"/>
                </a:cubicBezTo>
                <a:cubicBezTo>
                  <a:pt x="1571316" y="2670569"/>
                  <a:pt x="1554874" y="2675266"/>
                  <a:pt x="1540786" y="2684662"/>
                </a:cubicBezTo>
                <a:cubicBezTo>
                  <a:pt x="1540786" y="2663521"/>
                  <a:pt x="1566621" y="2661172"/>
                  <a:pt x="1587757" y="2654125"/>
                </a:cubicBezTo>
                <a:cubicBezTo>
                  <a:pt x="1585409" y="2628285"/>
                  <a:pt x="1578364" y="2604796"/>
                  <a:pt x="1571316" y="2581307"/>
                </a:cubicBezTo>
                <a:cubicBezTo>
                  <a:pt x="1568972" y="2586004"/>
                  <a:pt x="1557223" y="2588353"/>
                  <a:pt x="1559573" y="2604796"/>
                </a:cubicBezTo>
                <a:cubicBezTo>
                  <a:pt x="1557223" y="2590702"/>
                  <a:pt x="1564271" y="2553119"/>
                  <a:pt x="1547828" y="2539024"/>
                </a:cubicBezTo>
                <a:cubicBezTo>
                  <a:pt x="1543131" y="2543721"/>
                  <a:pt x="1547828" y="2557816"/>
                  <a:pt x="1545479" y="2564863"/>
                </a:cubicBezTo>
                <a:cubicBezTo>
                  <a:pt x="1543131" y="2564863"/>
                  <a:pt x="1536086" y="2536675"/>
                  <a:pt x="1521993" y="2548420"/>
                </a:cubicBezTo>
                <a:cubicBezTo>
                  <a:pt x="1533736" y="2555466"/>
                  <a:pt x="1526694" y="2586004"/>
                  <a:pt x="1529038" y="2609494"/>
                </a:cubicBezTo>
                <a:cubicBezTo>
                  <a:pt x="1521993" y="2600098"/>
                  <a:pt x="1526694" y="2574260"/>
                  <a:pt x="1521993" y="2560165"/>
                </a:cubicBezTo>
                <a:cubicBezTo>
                  <a:pt x="1503201" y="2576607"/>
                  <a:pt x="1496158" y="2602447"/>
                  <a:pt x="1484412" y="2623588"/>
                </a:cubicBezTo>
                <a:cubicBezTo>
                  <a:pt x="1477366" y="2609494"/>
                  <a:pt x="1493808" y="2595401"/>
                  <a:pt x="1493808" y="2576607"/>
                </a:cubicBezTo>
                <a:cubicBezTo>
                  <a:pt x="1477366" y="2576607"/>
                  <a:pt x="1479716" y="2597748"/>
                  <a:pt x="1465623" y="2597748"/>
                </a:cubicBezTo>
                <a:cubicBezTo>
                  <a:pt x="1477366" y="2588353"/>
                  <a:pt x="1475017" y="2569561"/>
                  <a:pt x="1496158" y="2569561"/>
                </a:cubicBezTo>
                <a:cubicBezTo>
                  <a:pt x="1514946" y="2546071"/>
                  <a:pt x="1519643" y="2506137"/>
                  <a:pt x="1529038" y="2470902"/>
                </a:cubicBezTo>
                <a:cubicBezTo>
                  <a:pt x="1529038" y="2470902"/>
                  <a:pt x="1526694" y="2470902"/>
                  <a:pt x="1526694" y="2470902"/>
                </a:cubicBezTo>
                <a:cubicBezTo>
                  <a:pt x="1524344" y="2470902"/>
                  <a:pt x="1524344" y="2473251"/>
                  <a:pt x="1524344" y="2473251"/>
                </a:cubicBezTo>
                <a:cubicBezTo>
                  <a:pt x="1524344" y="2473251"/>
                  <a:pt x="1524344" y="2470902"/>
                  <a:pt x="1524344" y="2470902"/>
                </a:cubicBezTo>
                <a:cubicBezTo>
                  <a:pt x="1521993" y="2470902"/>
                  <a:pt x="1519643" y="2470902"/>
                  <a:pt x="1517295" y="2470902"/>
                </a:cubicBezTo>
                <a:cubicBezTo>
                  <a:pt x="1507901" y="2470902"/>
                  <a:pt x="1498509" y="2473251"/>
                  <a:pt x="1482066" y="2470902"/>
                </a:cubicBezTo>
                <a:cubicBezTo>
                  <a:pt x="1475017" y="2470902"/>
                  <a:pt x="1465623" y="2468554"/>
                  <a:pt x="1456226" y="2466204"/>
                </a:cubicBezTo>
                <a:cubicBezTo>
                  <a:pt x="1446832" y="2463855"/>
                  <a:pt x="1435088" y="2459156"/>
                  <a:pt x="1423345" y="2454459"/>
                </a:cubicBezTo>
                <a:cubicBezTo>
                  <a:pt x="1411603" y="2445068"/>
                  <a:pt x="1397510" y="2435668"/>
                  <a:pt x="1388112" y="2423923"/>
                </a:cubicBezTo>
                <a:cubicBezTo>
                  <a:pt x="1383414" y="2416879"/>
                  <a:pt x="1378718" y="2412180"/>
                  <a:pt x="1371671" y="2405140"/>
                </a:cubicBezTo>
                <a:cubicBezTo>
                  <a:pt x="1364625" y="2398089"/>
                  <a:pt x="1359927" y="2391043"/>
                  <a:pt x="1352883" y="2381650"/>
                </a:cubicBezTo>
                <a:cubicBezTo>
                  <a:pt x="1338790" y="2365199"/>
                  <a:pt x="1327043" y="2339369"/>
                  <a:pt x="1315299" y="2306488"/>
                </a:cubicBezTo>
                <a:cubicBezTo>
                  <a:pt x="1312950" y="2297103"/>
                  <a:pt x="1310605" y="2287702"/>
                  <a:pt x="1308255" y="2278306"/>
                </a:cubicBezTo>
                <a:cubicBezTo>
                  <a:pt x="1305905" y="2268908"/>
                  <a:pt x="1305905" y="2259511"/>
                  <a:pt x="1305905" y="2247765"/>
                </a:cubicBezTo>
                <a:cubicBezTo>
                  <a:pt x="1305905" y="2243076"/>
                  <a:pt x="1305905" y="2240725"/>
                  <a:pt x="1305905" y="2236029"/>
                </a:cubicBezTo>
                <a:cubicBezTo>
                  <a:pt x="1296512" y="2228978"/>
                  <a:pt x="1287115" y="2221931"/>
                  <a:pt x="1275370" y="2217233"/>
                </a:cubicBezTo>
                <a:cubicBezTo>
                  <a:pt x="1284765" y="2207839"/>
                  <a:pt x="1287115" y="2207839"/>
                  <a:pt x="1294162" y="2205490"/>
                </a:cubicBezTo>
                <a:cubicBezTo>
                  <a:pt x="1298858" y="2205490"/>
                  <a:pt x="1308255" y="2207839"/>
                  <a:pt x="1310605" y="2214885"/>
                </a:cubicBezTo>
                <a:cubicBezTo>
                  <a:pt x="1310605" y="2214885"/>
                  <a:pt x="1310605" y="2212534"/>
                  <a:pt x="1310605" y="2212534"/>
                </a:cubicBezTo>
                <a:cubicBezTo>
                  <a:pt x="1312950" y="2205490"/>
                  <a:pt x="1312950" y="2200795"/>
                  <a:pt x="1315299" y="2193745"/>
                </a:cubicBezTo>
                <a:lnTo>
                  <a:pt x="1312950" y="2196093"/>
                </a:lnTo>
                <a:lnTo>
                  <a:pt x="1308255" y="2191392"/>
                </a:lnTo>
                <a:lnTo>
                  <a:pt x="1310605" y="2186696"/>
                </a:lnTo>
                <a:lnTo>
                  <a:pt x="1315299" y="2191392"/>
                </a:lnTo>
                <a:cubicBezTo>
                  <a:pt x="1317649" y="2184346"/>
                  <a:pt x="1317649" y="2179641"/>
                  <a:pt x="1319997" y="2172581"/>
                </a:cubicBezTo>
                <a:cubicBezTo>
                  <a:pt x="1327043" y="2158534"/>
                  <a:pt x="1331741" y="2144444"/>
                  <a:pt x="1338790" y="2135051"/>
                </a:cubicBezTo>
                <a:cubicBezTo>
                  <a:pt x="1343485" y="2130345"/>
                  <a:pt x="1345833" y="2127997"/>
                  <a:pt x="1348182" y="2123298"/>
                </a:cubicBezTo>
                <a:lnTo>
                  <a:pt x="1341135" y="2116253"/>
                </a:lnTo>
                <a:lnTo>
                  <a:pt x="1343485" y="2102159"/>
                </a:lnTo>
                <a:lnTo>
                  <a:pt x="1352883" y="2106854"/>
                </a:lnTo>
                <a:cubicBezTo>
                  <a:pt x="1352883" y="2104502"/>
                  <a:pt x="1352883" y="2102159"/>
                  <a:pt x="1355228" y="2102159"/>
                </a:cubicBezTo>
                <a:cubicBezTo>
                  <a:pt x="1362275" y="2095111"/>
                  <a:pt x="1369325" y="2088061"/>
                  <a:pt x="1376368" y="2083361"/>
                </a:cubicBezTo>
                <a:cubicBezTo>
                  <a:pt x="1383414" y="2076312"/>
                  <a:pt x="1390461" y="2071617"/>
                  <a:pt x="1399856" y="2066928"/>
                </a:cubicBezTo>
                <a:cubicBezTo>
                  <a:pt x="1399856" y="2066928"/>
                  <a:pt x="1402205" y="2066928"/>
                  <a:pt x="1402205" y="2066928"/>
                </a:cubicBezTo>
                <a:lnTo>
                  <a:pt x="1402205" y="2057527"/>
                </a:lnTo>
                <a:cubicBezTo>
                  <a:pt x="1406903" y="2059879"/>
                  <a:pt x="1409253" y="2059879"/>
                  <a:pt x="1411603" y="2059879"/>
                </a:cubicBezTo>
                <a:cubicBezTo>
                  <a:pt x="1411603" y="2059879"/>
                  <a:pt x="1413948" y="2059879"/>
                  <a:pt x="1413948" y="2062226"/>
                </a:cubicBezTo>
                <a:cubicBezTo>
                  <a:pt x="1423345" y="2057527"/>
                  <a:pt x="1435088" y="2052831"/>
                  <a:pt x="1446832" y="2050485"/>
                </a:cubicBezTo>
                <a:cubicBezTo>
                  <a:pt x="1446832" y="2050485"/>
                  <a:pt x="1449180" y="2043438"/>
                  <a:pt x="1449180" y="2041086"/>
                </a:cubicBezTo>
                <a:lnTo>
                  <a:pt x="1472668" y="2038738"/>
                </a:lnTo>
                <a:cubicBezTo>
                  <a:pt x="1484412" y="2034040"/>
                  <a:pt x="1475017" y="2038738"/>
                  <a:pt x="1489110" y="2031688"/>
                </a:cubicBezTo>
                <a:cubicBezTo>
                  <a:pt x="1489110" y="2031688"/>
                  <a:pt x="1491458" y="2034040"/>
                  <a:pt x="1493808" y="2034040"/>
                </a:cubicBezTo>
                <a:lnTo>
                  <a:pt x="1498509" y="2043438"/>
                </a:lnTo>
                <a:lnTo>
                  <a:pt x="1486761" y="2048132"/>
                </a:lnTo>
                <a:cubicBezTo>
                  <a:pt x="1498509" y="2048132"/>
                  <a:pt x="1507901" y="2050485"/>
                  <a:pt x="1521993" y="2050485"/>
                </a:cubicBezTo>
                <a:cubicBezTo>
                  <a:pt x="1531386" y="2050485"/>
                  <a:pt x="1540786" y="2052831"/>
                  <a:pt x="1550179" y="2055183"/>
                </a:cubicBezTo>
                <a:cubicBezTo>
                  <a:pt x="1554874" y="2057527"/>
                  <a:pt x="1559573" y="2057527"/>
                  <a:pt x="1564271" y="2059879"/>
                </a:cubicBezTo>
                <a:cubicBezTo>
                  <a:pt x="1566621" y="2059879"/>
                  <a:pt x="1568972" y="2062226"/>
                  <a:pt x="1571316" y="2062226"/>
                </a:cubicBezTo>
                <a:lnTo>
                  <a:pt x="1578364" y="2064576"/>
                </a:lnTo>
                <a:cubicBezTo>
                  <a:pt x="1573665" y="2069276"/>
                  <a:pt x="1568972" y="2071617"/>
                  <a:pt x="1564271" y="2076312"/>
                </a:cubicBezTo>
                <a:cubicBezTo>
                  <a:pt x="1571316" y="2078665"/>
                  <a:pt x="1580714" y="2081017"/>
                  <a:pt x="1587757" y="2083361"/>
                </a:cubicBezTo>
                <a:lnTo>
                  <a:pt x="1615942" y="2081017"/>
                </a:lnTo>
                <a:cubicBezTo>
                  <a:pt x="1618291" y="2083361"/>
                  <a:pt x="1622992" y="2088061"/>
                  <a:pt x="1625342" y="2092760"/>
                </a:cubicBezTo>
                <a:cubicBezTo>
                  <a:pt x="1625342" y="2092760"/>
                  <a:pt x="1630035" y="2090409"/>
                  <a:pt x="1634734" y="2083361"/>
                </a:cubicBezTo>
                <a:lnTo>
                  <a:pt x="1667619" y="2088061"/>
                </a:lnTo>
                <a:cubicBezTo>
                  <a:pt x="1665269" y="2088061"/>
                  <a:pt x="1665269" y="2085713"/>
                  <a:pt x="1662919" y="2085713"/>
                </a:cubicBezTo>
                <a:lnTo>
                  <a:pt x="1674663" y="2085713"/>
                </a:lnTo>
                <a:cubicBezTo>
                  <a:pt x="1684058" y="2090409"/>
                  <a:pt x="1693454" y="2095111"/>
                  <a:pt x="1702848" y="2099806"/>
                </a:cubicBezTo>
                <a:cubicBezTo>
                  <a:pt x="1705197" y="2099806"/>
                  <a:pt x="1709897" y="2099806"/>
                  <a:pt x="1712247" y="2099806"/>
                </a:cubicBezTo>
                <a:cubicBezTo>
                  <a:pt x="1721640" y="2102159"/>
                  <a:pt x="1728684" y="2109202"/>
                  <a:pt x="1738082" y="2116253"/>
                </a:cubicBezTo>
                <a:cubicBezTo>
                  <a:pt x="1747475" y="2120948"/>
                  <a:pt x="1759219" y="2125650"/>
                  <a:pt x="1768613" y="2130345"/>
                </a:cubicBezTo>
                <a:cubicBezTo>
                  <a:pt x="1763917" y="2130345"/>
                  <a:pt x="1759219" y="2127997"/>
                  <a:pt x="1754520" y="2125650"/>
                </a:cubicBezTo>
                <a:cubicBezTo>
                  <a:pt x="1749825" y="2130345"/>
                  <a:pt x="1742778" y="2132696"/>
                  <a:pt x="1738082" y="2137393"/>
                </a:cubicBezTo>
                <a:cubicBezTo>
                  <a:pt x="1770962" y="2151512"/>
                  <a:pt x="1787404" y="2158534"/>
                  <a:pt x="1787404" y="2163216"/>
                </a:cubicBezTo>
                <a:cubicBezTo>
                  <a:pt x="1836730" y="2174939"/>
                  <a:pt x="1874309" y="2177291"/>
                  <a:pt x="1907193" y="2174939"/>
                </a:cubicBezTo>
                <a:cubicBezTo>
                  <a:pt x="1944772" y="2172581"/>
                  <a:pt x="1958865" y="2167897"/>
                  <a:pt x="1975307" y="2158534"/>
                </a:cubicBezTo>
                <a:lnTo>
                  <a:pt x="1986573" y="2147360"/>
                </a:lnTo>
                <a:lnTo>
                  <a:pt x="1977656" y="2158534"/>
                </a:lnTo>
                <a:cubicBezTo>
                  <a:pt x="1998794" y="2142092"/>
                  <a:pt x="2015236" y="2120948"/>
                  <a:pt x="2022284" y="2099806"/>
                </a:cubicBezTo>
                <a:cubicBezTo>
                  <a:pt x="2026980" y="2090409"/>
                  <a:pt x="2029329" y="2078665"/>
                  <a:pt x="2029329" y="2069276"/>
                </a:cubicBezTo>
                <a:cubicBezTo>
                  <a:pt x="2029329" y="2064576"/>
                  <a:pt x="2029329" y="2062226"/>
                  <a:pt x="2031677" y="2055183"/>
                </a:cubicBezTo>
                <a:cubicBezTo>
                  <a:pt x="2029329" y="2052831"/>
                  <a:pt x="2029329" y="2050485"/>
                  <a:pt x="2026980" y="2048132"/>
                </a:cubicBezTo>
                <a:cubicBezTo>
                  <a:pt x="2024634" y="2052831"/>
                  <a:pt x="2024634" y="2057527"/>
                  <a:pt x="2022284" y="2064576"/>
                </a:cubicBezTo>
                <a:cubicBezTo>
                  <a:pt x="2019934" y="2073968"/>
                  <a:pt x="2017585" y="2088061"/>
                  <a:pt x="2012887" y="2099806"/>
                </a:cubicBezTo>
                <a:cubicBezTo>
                  <a:pt x="2008192" y="2112727"/>
                  <a:pt x="2002320" y="2125062"/>
                  <a:pt x="1996152" y="2135344"/>
                </a:cubicBezTo>
                <a:lnTo>
                  <a:pt x="1992664" y="2139718"/>
                </a:lnTo>
                <a:lnTo>
                  <a:pt x="1997329" y="2132110"/>
                </a:lnTo>
                <a:cubicBezTo>
                  <a:pt x="1999970" y="2125650"/>
                  <a:pt x="1998795" y="2122123"/>
                  <a:pt x="1996449" y="2123298"/>
                </a:cubicBezTo>
                <a:cubicBezTo>
                  <a:pt x="1994099" y="2125650"/>
                  <a:pt x="1980006" y="2137393"/>
                  <a:pt x="1963563" y="2144444"/>
                </a:cubicBezTo>
                <a:cubicBezTo>
                  <a:pt x="1956516" y="2146800"/>
                  <a:pt x="1947121" y="2149152"/>
                  <a:pt x="1937729" y="2149152"/>
                </a:cubicBezTo>
                <a:cubicBezTo>
                  <a:pt x="1933029" y="2149152"/>
                  <a:pt x="1923636" y="2149152"/>
                  <a:pt x="1916587" y="2149152"/>
                </a:cubicBezTo>
                <a:cubicBezTo>
                  <a:pt x="1909543" y="2149152"/>
                  <a:pt x="1902495" y="2149152"/>
                  <a:pt x="1895451" y="2149152"/>
                </a:cubicBezTo>
                <a:cubicBezTo>
                  <a:pt x="1867266" y="2146800"/>
                  <a:pt x="1846124" y="2139749"/>
                  <a:pt x="1836730" y="2137393"/>
                </a:cubicBezTo>
                <a:cubicBezTo>
                  <a:pt x="1855519" y="2142092"/>
                  <a:pt x="1871960" y="2146800"/>
                  <a:pt x="1888402" y="2146800"/>
                </a:cubicBezTo>
                <a:cubicBezTo>
                  <a:pt x="1897797" y="2146800"/>
                  <a:pt x="1904843" y="2146800"/>
                  <a:pt x="1914238" y="2146800"/>
                </a:cubicBezTo>
                <a:cubicBezTo>
                  <a:pt x="1916587" y="2146800"/>
                  <a:pt x="1921286" y="2146800"/>
                  <a:pt x="1925982" y="2146800"/>
                </a:cubicBezTo>
                <a:cubicBezTo>
                  <a:pt x="1928331" y="2144444"/>
                  <a:pt x="1933029" y="2144444"/>
                  <a:pt x="1935378" y="2144444"/>
                </a:cubicBezTo>
                <a:cubicBezTo>
                  <a:pt x="1954171" y="2142092"/>
                  <a:pt x="1968264" y="2135051"/>
                  <a:pt x="1980006" y="2116253"/>
                </a:cubicBezTo>
                <a:cubicBezTo>
                  <a:pt x="1987051" y="2109202"/>
                  <a:pt x="1991749" y="2097458"/>
                  <a:pt x="1996449" y="2088061"/>
                </a:cubicBezTo>
                <a:cubicBezTo>
                  <a:pt x="1998794" y="2083361"/>
                  <a:pt x="1998794" y="2076312"/>
                  <a:pt x="2001143" y="2071617"/>
                </a:cubicBezTo>
                <a:cubicBezTo>
                  <a:pt x="2001143" y="2066928"/>
                  <a:pt x="2003492" y="2059879"/>
                  <a:pt x="2003492" y="2059879"/>
                </a:cubicBezTo>
                <a:cubicBezTo>
                  <a:pt x="2005841" y="2055183"/>
                  <a:pt x="2010542" y="2045787"/>
                  <a:pt x="2005841" y="2038738"/>
                </a:cubicBezTo>
                <a:cubicBezTo>
                  <a:pt x="2015236" y="2041086"/>
                  <a:pt x="2015236" y="2050485"/>
                  <a:pt x="2015236" y="2059879"/>
                </a:cubicBezTo>
                <a:cubicBezTo>
                  <a:pt x="2015236" y="2062226"/>
                  <a:pt x="2012887" y="2066928"/>
                  <a:pt x="2012887" y="2071617"/>
                </a:cubicBezTo>
                <a:cubicBezTo>
                  <a:pt x="2012887" y="2078665"/>
                  <a:pt x="2010542" y="2083361"/>
                  <a:pt x="2010542" y="2088061"/>
                </a:cubicBezTo>
                <a:cubicBezTo>
                  <a:pt x="2005841" y="2099806"/>
                  <a:pt x="2003492" y="2109202"/>
                  <a:pt x="1998794" y="2118599"/>
                </a:cubicBezTo>
                <a:cubicBezTo>
                  <a:pt x="2005841" y="2106854"/>
                  <a:pt x="2012887" y="2095111"/>
                  <a:pt x="2015236" y="2083361"/>
                </a:cubicBezTo>
                <a:cubicBezTo>
                  <a:pt x="2017585" y="2078665"/>
                  <a:pt x="2017585" y="2071617"/>
                  <a:pt x="2019934" y="2066928"/>
                </a:cubicBezTo>
                <a:cubicBezTo>
                  <a:pt x="2022284" y="2062226"/>
                  <a:pt x="2022284" y="2059879"/>
                  <a:pt x="2022284" y="2057527"/>
                </a:cubicBezTo>
                <a:cubicBezTo>
                  <a:pt x="2024634" y="2050485"/>
                  <a:pt x="2024634" y="2045787"/>
                  <a:pt x="2022284" y="2041086"/>
                </a:cubicBezTo>
                <a:cubicBezTo>
                  <a:pt x="2022284" y="2036390"/>
                  <a:pt x="2019934" y="2029341"/>
                  <a:pt x="2015236" y="2029341"/>
                </a:cubicBezTo>
                <a:cubicBezTo>
                  <a:pt x="2010542" y="2029341"/>
                  <a:pt x="2005841" y="2026993"/>
                  <a:pt x="2001143" y="2026993"/>
                </a:cubicBezTo>
                <a:cubicBezTo>
                  <a:pt x="1994099" y="2024642"/>
                  <a:pt x="1987051" y="2024642"/>
                  <a:pt x="1980006" y="2022296"/>
                </a:cubicBezTo>
                <a:cubicBezTo>
                  <a:pt x="1961214" y="2019944"/>
                  <a:pt x="1942424" y="2017598"/>
                  <a:pt x="1928331" y="2015247"/>
                </a:cubicBezTo>
                <a:cubicBezTo>
                  <a:pt x="1897797" y="2010553"/>
                  <a:pt x="1874309" y="2008212"/>
                  <a:pt x="1850823" y="2005860"/>
                </a:cubicBezTo>
                <a:cubicBezTo>
                  <a:pt x="1803846" y="1998811"/>
                  <a:pt x="1766267" y="1991764"/>
                  <a:pt x="1700499" y="1968277"/>
                </a:cubicBezTo>
                <a:cubicBezTo>
                  <a:pt x="1824988" y="1989415"/>
                  <a:pt x="1977656" y="2008212"/>
                  <a:pt x="1904843" y="1987067"/>
                </a:cubicBezTo>
                <a:cubicBezTo>
                  <a:pt x="1843775" y="1977673"/>
                  <a:pt x="1782710" y="1970625"/>
                  <a:pt x="1721640" y="1963579"/>
                </a:cubicBezTo>
                <a:cubicBezTo>
                  <a:pt x="1700499" y="1956533"/>
                  <a:pt x="1824988" y="1977673"/>
                  <a:pt x="1742778" y="1958881"/>
                </a:cubicBezTo>
                <a:cubicBezTo>
                  <a:pt x="1688755" y="1954184"/>
                  <a:pt x="1580714" y="1944789"/>
                  <a:pt x="1533736" y="1942441"/>
                </a:cubicBezTo>
                <a:lnTo>
                  <a:pt x="1536086" y="1942441"/>
                </a:lnTo>
                <a:lnTo>
                  <a:pt x="1233092" y="1897815"/>
                </a:lnTo>
                <a:cubicBezTo>
                  <a:pt x="1270672" y="1902513"/>
                  <a:pt x="1273021" y="1900164"/>
                  <a:pt x="1221349" y="1890769"/>
                </a:cubicBezTo>
                <a:lnTo>
                  <a:pt x="1002912" y="1864933"/>
                </a:lnTo>
                <a:cubicBezTo>
                  <a:pt x="1071027" y="1871980"/>
                  <a:pt x="1002912" y="1857887"/>
                  <a:pt x="906612" y="1839098"/>
                </a:cubicBezTo>
                <a:cubicBezTo>
                  <a:pt x="836149" y="1827354"/>
                  <a:pt x="786824" y="1820308"/>
                  <a:pt x="749244" y="1815611"/>
                </a:cubicBezTo>
                <a:cubicBezTo>
                  <a:pt x="711666" y="1813261"/>
                  <a:pt x="685826" y="1810914"/>
                  <a:pt x="659991" y="1810914"/>
                </a:cubicBezTo>
                <a:cubicBezTo>
                  <a:pt x="634153" y="1810914"/>
                  <a:pt x="610668" y="1808565"/>
                  <a:pt x="573086" y="1799170"/>
                </a:cubicBezTo>
                <a:cubicBezTo>
                  <a:pt x="568391" y="1799170"/>
                  <a:pt x="561342" y="1796821"/>
                  <a:pt x="556648" y="1794472"/>
                </a:cubicBezTo>
                <a:cubicBezTo>
                  <a:pt x="551948" y="1792123"/>
                  <a:pt x="547249" y="1792123"/>
                  <a:pt x="540205" y="1787426"/>
                </a:cubicBezTo>
                <a:cubicBezTo>
                  <a:pt x="528459" y="1780380"/>
                  <a:pt x="514366" y="1770985"/>
                  <a:pt x="502623" y="1759241"/>
                </a:cubicBezTo>
                <a:cubicBezTo>
                  <a:pt x="490879" y="1747498"/>
                  <a:pt x="481485" y="1731057"/>
                  <a:pt x="474437" y="1712268"/>
                </a:cubicBezTo>
                <a:cubicBezTo>
                  <a:pt x="467392" y="1693478"/>
                  <a:pt x="465042" y="1674688"/>
                  <a:pt x="462693" y="1658247"/>
                </a:cubicBezTo>
                <a:cubicBezTo>
                  <a:pt x="465042" y="1677037"/>
                  <a:pt x="469743" y="1691129"/>
                  <a:pt x="474437" y="1705222"/>
                </a:cubicBezTo>
                <a:cubicBezTo>
                  <a:pt x="481485" y="1719313"/>
                  <a:pt x="486181" y="1733406"/>
                  <a:pt x="504971" y="1754544"/>
                </a:cubicBezTo>
                <a:cubicBezTo>
                  <a:pt x="483835" y="1731057"/>
                  <a:pt x="472088" y="1698175"/>
                  <a:pt x="469743" y="1672340"/>
                </a:cubicBezTo>
                <a:lnTo>
                  <a:pt x="467392" y="1653550"/>
                </a:lnTo>
                <a:cubicBezTo>
                  <a:pt x="467392" y="1646504"/>
                  <a:pt x="467392" y="1639458"/>
                  <a:pt x="467392" y="1632411"/>
                </a:cubicBezTo>
                <a:cubicBezTo>
                  <a:pt x="467392" y="1625366"/>
                  <a:pt x="467392" y="1618320"/>
                  <a:pt x="469743" y="1611273"/>
                </a:cubicBezTo>
                <a:cubicBezTo>
                  <a:pt x="472088" y="1604227"/>
                  <a:pt x="472088" y="1597181"/>
                  <a:pt x="476786" y="1587786"/>
                </a:cubicBezTo>
                <a:cubicBezTo>
                  <a:pt x="474437" y="1583088"/>
                  <a:pt x="476786" y="1561949"/>
                  <a:pt x="493227" y="1533763"/>
                </a:cubicBezTo>
                <a:cubicBezTo>
                  <a:pt x="509670" y="1505576"/>
                  <a:pt x="544901" y="1475041"/>
                  <a:pt x="591875" y="1460947"/>
                </a:cubicBezTo>
                <a:cubicBezTo>
                  <a:pt x="636503" y="1446855"/>
                  <a:pt x="688176" y="1449204"/>
                  <a:pt x="735152" y="1460947"/>
                </a:cubicBezTo>
                <a:cubicBezTo>
                  <a:pt x="782129" y="1475041"/>
                  <a:pt x="826757" y="1493832"/>
                  <a:pt x="866685" y="1519669"/>
                </a:cubicBezTo>
                <a:cubicBezTo>
                  <a:pt x="887821" y="1531414"/>
                  <a:pt x="904263" y="1543158"/>
                  <a:pt x="923055" y="1557251"/>
                </a:cubicBezTo>
                <a:cubicBezTo>
                  <a:pt x="939498" y="1568995"/>
                  <a:pt x="955940" y="1580739"/>
                  <a:pt x="970028" y="1590135"/>
                </a:cubicBezTo>
                <a:cubicBezTo>
                  <a:pt x="984126" y="1599529"/>
                  <a:pt x="1000564" y="1606576"/>
                  <a:pt x="1014655" y="1615971"/>
                </a:cubicBezTo>
                <a:cubicBezTo>
                  <a:pt x="1028748" y="1623016"/>
                  <a:pt x="1042841" y="1630062"/>
                  <a:pt x="1056934" y="1637109"/>
                </a:cubicBezTo>
                <a:cubicBezTo>
                  <a:pt x="1082774" y="1651202"/>
                  <a:pt x="1106259" y="1660596"/>
                  <a:pt x="1125051" y="1665293"/>
                </a:cubicBezTo>
                <a:cubicBezTo>
                  <a:pt x="1143839" y="1669991"/>
                  <a:pt x="1155587" y="1672340"/>
                  <a:pt x="1160280" y="1669991"/>
                </a:cubicBezTo>
                <a:cubicBezTo>
                  <a:pt x="1228395" y="1702873"/>
                  <a:pt x="1230743" y="1705222"/>
                  <a:pt x="1190814" y="1693478"/>
                </a:cubicBezTo>
                <a:cubicBezTo>
                  <a:pt x="1150886" y="1681735"/>
                  <a:pt x="1071027" y="1653550"/>
                  <a:pt x="986470" y="1608924"/>
                </a:cubicBezTo>
                <a:cubicBezTo>
                  <a:pt x="1028748" y="1639458"/>
                  <a:pt x="1075724" y="1667642"/>
                  <a:pt x="1125051" y="1691129"/>
                </a:cubicBezTo>
                <a:cubicBezTo>
                  <a:pt x="1063981" y="1667642"/>
                  <a:pt x="1014655" y="1639458"/>
                  <a:pt x="955940" y="1604227"/>
                </a:cubicBezTo>
                <a:cubicBezTo>
                  <a:pt x="1040496" y="1667642"/>
                  <a:pt x="1139144" y="1709919"/>
                  <a:pt x="1228395" y="1735755"/>
                </a:cubicBezTo>
                <a:cubicBezTo>
                  <a:pt x="1317649" y="1763939"/>
                  <a:pt x="1397510" y="1775683"/>
                  <a:pt x="1456226" y="1785077"/>
                </a:cubicBezTo>
                <a:cubicBezTo>
                  <a:pt x="1498509" y="1796821"/>
                  <a:pt x="1479716" y="1799170"/>
                  <a:pt x="1482066" y="1803867"/>
                </a:cubicBezTo>
                <a:cubicBezTo>
                  <a:pt x="1482066" y="1806216"/>
                  <a:pt x="1486761" y="1810914"/>
                  <a:pt x="1507901" y="1815611"/>
                </a:cubicBezTo>
                <a:cubicBezTo>
                  <a:pt x="1526694" y="1820308"/>
                  <a:pt x="1561921" y="1827354"/>
                  <a:pt x="1620641" y="1834400"/>
                </a:cubicBezTo>
                <a:cubicBezTo>
                  <a:pt x="1660569" y="1836749"/>
                  <a:pt x="1693454" y="1836749"/>
                  <a:pt x="1714591" y="1836749"/>
                </a:cubicBezTo>
                <a:cubicBezTo>
                  <a:pt x="1738082" y="1836749"/>
                  <a:pt x="1749825" y="1834400"/>
                  <a:pt x="1756869" y="1834400"/>
                </a:cubicBezTo>
                <a:cubicBezTo>
                  <a:pt x="1768613" y="1832051"/>
                  <a:pt x="1756869" y="1827354"/>
                  <a:pt x="1740433" y="1825005"/>
                </a:cubicBezTo>
                <a:cubicBezTo>
                  <a:pt x="1707547" y="1817959"/>
                  <a:pt x="1658221" y="1810914"/>
                  <a:pt x="1759219" y="1813261"/>
                </a:cubicBezTo>
                <a:cubicBezTo>
                  <a:pt x="1806195" y="1820308"/>
                  <a:pt x="1855519" y="1827354"/>
                  <a:pt x="1904843" y="1832051"/>
                </a:cubicBezTo>
                <a:cubicBezTo>
                  <a:pt x="1921286" y="1832051"/>
                  <a:pt x="1935378" y="1829703"/>
                  <a:pt x="1951821" y="1829703"/>
                </a:cubicBezTo>
                <a:cubicBezTo>
                  <a:pt x="1958865" y="1829703"/>
                  <a:pt x="1965914" y="1827354"/>
                  <a:pt x="1972958" y="1827354"/>
                </a:cubicBezTo>
                <a:lnTo>
                  <a:pt x="1980006" y="1825005"/>
                </a:lnTo>
                <a:cubicBezTo>
                  <a:pt x="1989399" y="1825005"/>
                  <a:pt x="1996449" y="1822656"/>
                  <a:pt x="2003492" y="1820308"/>
                </a:cubicBezTo>
                <a:cubicBezTo>
                  <a:pt x="2005841" y="1820308"/>
                  <a:pt x="2010542" y="1817959"/>
                  <a:pt x="2010542" y="1813261"/>
                </a:cubicBezTo>
                <a:cubicBezTo>
                  <a:pt x="2012887" y="1808565"/>
                  <a:pt x="2010542" y="1803867"/>
                  <a:pt x="2008192" y="1801518"/>
                </a:cubicBezTo>
                <a:cubicBezTo>
                  <a:pt x="2005841" y="1794472"/>
                  <a:pt x="1998794" y="1789775"/>
                  <a:pt x="1994099" y="1785077"/>
                </a:cubicBezTo>
                <a:cubicBezTo>
                  <a:pt x="1991749" y="1782728"/>
                  <a:pt x="1989399" y="1780380"/>
                  <a:pt x="1984702" y="1778032"/>
                </a:cubicBezTo>
                <a:cubicBezTo>
                  <a:pt x="1975307" y="1773334"/>
                  <a:pt x="1963563" y="1766288"/>
                  <a:pt x="1954171" y="1761590"/>
                </a:cubicBezTo>
                <a:cubicBezTo>
                  <a:pt x="1935378" y="1749846"/>
                  <a:pt x="1911894" y="1742801"/>
                  <a:pt x="1890751" y="1735755"/>
                </a:cubicBezTo>
                <a:cubicBezTo>
                  <a:pt x="1867266" y="1728708"/>
                  <a:pt x="1846124" y="1726359"/>
                  <a:pt x="1822638" y="1724011"/>
                </a:cubicBezTo>
                <a:cubicBezTo>
                  <a:pt x="1806195" y="1724011"/>
                  <a:pt x="1792102" y="1721662"/>
                  <a:pt x="1778010" y="1721662"/>
                </a:cubicBezTo>
                <a:cubicBezTo>
                  <a:pt x="1759219" y="1716965"/>
                  <a:pt x="1740433" y="1714616"/>
                  <a:pt x="1719290" y="1705222"/>
                </a:cubicBezTo>
                <a:cubicBezTo>
                  <a:pt x="1681712" y="1691129"/>
                  <a:pt x="1658221" y="1662944"/>
                  <a:pt x="1646477" y="1644155"/>
                </a:cubicBezTo>
                <a:cubicBezTo>
                  <a:pt x="1634734" y="1623016"/>
                  <a:pt x="1630035" y="1608924"/>
                  <a:pt x="1627686" y="1599529"/>
                </a:cubicBezTo>
                <a:cubicBezTo>
                  <a:pt x="1618291" y="1552553"/>
                  <a:pt x="1625342" y="1510274"/>
                  <a:pt x="1644128" y="1470344"/>
                </a:cubicBezTo>
                <a:cubicBezTo>
                  <a:pt x="1662919" y="1432761"/>
                  <a:pt x="1695805" y="1395180"/>
                  <a:pt x="1742778" y="1376389"/>
                </a:cubicBezTo>
                <a:cubicBezTo>
                  <a:pt x="1766267" y="1369342"/>
                  <a:pt x="1792102" y="1364645"/>
                  <a:pt x="1815590" y="1366993"/>
                </a:cubicBezTo>
                <a:cubicBezTo>
                  <a:pt x="1839081" y="1371692"/>
                  <a:pt x="1862565" y="1376389"/>
                  <a:pt x="1881358" y="1385785"/>
                </a:cubicBezTo>
                <a:cubicBezTo>
                  <a:pt x="1893101" y="1390482"/>
                  <a:pt x="1900146" y="1395180"/>
                  <a:pt x="1909543" y="1399877"/>
                </a:cubicBezTo>
                <a:lnTo>
                  <a:pt x="1928331" y="1411622"/>
                </a:lnTo>
                <a:cubicBezTo>
                  <a:pt x="1933029" y="1413971"/>
                  <a:pt x="1937729" y="1416320"/>
                  <a:pt x="1942424" y="1418668"/>
                </a:cubicBezTo>
                <a:cubicBezTo>
                  <a:pt x="1933029" y="1399877"/>
                  <a:pt x="1928331" y="1392831"/>
                  <a:pt x="1923636" y="1388133"/>
                </a:cubicBezTo>
                <a:cubicBezTo>
                  <a:pt x="1911894" y="1378738"/>
                  <a:pt x="1897797" y="1374041"/>
                  <a:pt x="1883704" y="1366993"/>
                </a:cubicBezTo>
                <a:cubicBezTo>
                  <a:pt x="1923636" y="1331761"/>
                  <a:pt x="1930680" y="1334109"/>
                  <a:pt x="1942424" y="1345854"/>
                </a:cubicBezTo>
                <a:cubicBezTo>
                  <a:pt x="1947121" y="1352901"/>
                  <a:pt x="1947121" y="1362296"/>
                  <a:pt x="1949471" y="1371692"/>
                </a:cubicBezTo>
                <a:cubicBezTo>
                  <a:pt x="1956516" y="1395180"/>
                  <a:pt x="1961214" y="1409273"/>
                  <a:pt x="1991749" y="1416320"/>
                </a:cubicBezTo>
                <a:cubicBezTo>
                  <a:pt x="2001143" y="1418668"/>
                  <a:pt x="2010542" y="1413971"/>
                  <a:pt x="2019934" y="1411622"/>
                </a:cubicBezTo>
                <a:cubicBezTo>
                  <a:pt x="2005841" y="1381087"/>
                  <a:pt x="2008192" y="1390482"/>
                  <a:pt x="2005841" y="1366993"/>
                </a:cubicBezTo>
                <a:cubicBezTo>
                  <a:pt x="2050469" y="1366993"/>
                  <a:pt x="2066912" y="1362296"/>
                  <a:pt x="2069258" y="1336458"/>
                </a:cubicBezTo>
                <a:cubicBezTo>
                  <a:pt x="2069258" y="1329412"/>
                  <a:pt x="2059862" y="1322366"/>
                  <a:pt x="2062212" y="1315319"/>
                </a:cubicBezTo>
                <a:cubicBezTo>
                  <a:pt x="2062212" y="1315319"/>
                  <a:pt x="2064562" y="1312970"/>
                  <a:pt x="2066912" y="1312970"/>
                </a:cubicBezTo>
                <a:cubicBezTo>
                  <a:pt x="2066912" y="1312970"/>
                  <a:pt x="2066912" y="1310622"/>
                  <a:pt x="2066912" y="1310622"/>
                </a:cubicBezTo>
                <a:cubicBezTo>
                  <a:pt x="2064562" y="1301225"/>
                  <a:pt x="2064562" y="1289482"/>
                  <a:pt x="2062212" y="1280087"/>
                </a:cubicBezTo>
                <a:cubicBezTo>
                  <a:pt x="2059862" y="1268342"/>
                  <a:pt x="2062212" y="1254249"/>
                  <a:pt x="2064562" y="1242505"/>
                </a:cubicBezTo>
                <a:cubicBezTo>
                  <a:pt x="2064562" y="1242505"/>
                  <a:pt x="2064562" y="1240155"/>
                  <a:pt x="2064562" y="1240155"/>
                </a:cubicBezTo>
                <a:cubicBezTo>
                  <a:pt x="2052819" y="1263644"/>
                  <a:pt x="2064562" y="1301225"/>
                  <a:pt x="2043421" y="1320017"/>
                </a:cubicBezTo>
                <a:cubicBezTo>
                  <a:pt x="2029329" y="1334109"/>
                  <a:pt x="2008192" y="1322366"/>
                  <a:pt x="1989399" y="1322366"/>
                </a:cubicBezTo>
                <a:lnTo>
                  <a:pt x="2008192" y="1334109"/>
                </a:lnTo>
                <a:cubicBezTo>
                  <a:pt x="2015236" y="1348203"/>
                  <a:pt x="2008192" y="1359947"/>
                  <a:pt x="2008192" y="1359947"/>
                </a:cubicBezTo>
                <a:cubicBezTo>
                  <a:pt x="2003492" y="1364645"/>
                  <a:pt x="1994099" y="1364645"/>
                  <a:pt x="1989399" y="1362296"/>
                </a:cubicBezTo>
                <a:cubicBezTo>
                  <a:pt x="1963563" y="1352901"/>
                  <a:pt x="1949471" y="1324714"/>
                  <a:pt x="1937729" y="1301225"/>
                </a:cubicBezTo>
                <a:cubicBezTo>
                  <a:pt x="1935378" y="1296528"/>
                  <a:pt x="1935378" y="1289482"/>
                  <a:pt x="1933029" y="1284784"/>
                </a:cubicBezTo>
                <a:cubicBezTo>
                  <a:pt x="1928331" y="1287133"/>
                  <a:pt x="1921286" y="1284784"/>
                  <a:pt x="1918936" y="1289482"/>
                </a:cubicBezTo>
                <a:cubicBezTo>
                  <a:pt x="1911894" y="1298877"/>
                  <a:pt x="1930680" y="1315319"/>
                  <a:pt x="1921286" y="1324714"/>
                </a:cubicBezTo>
                <a:cubicBezTo>
                  <a:pt x="1916587" y="1329412"/>
                  <a:pt x="1911894" y="1329412"/>
                  <a:pt x="1907193" y="1327063"/>
                </a:cubicBezTo>
                <a:cubicBezTo>
                  <a:pt x="1902495" y="1324714"/>
                  <a:pt x="1902495" y="1315319"/>
                  <a:pt x="1897797" y="1315319"/>
                </a:cubicBezTo>
                <a:cubicBezTo>
                  <a:pt x="1888402" y="1312970"/>
                  <a:pt x="1881358" y="1322366"/>
                  <a:pt x="1874309" y="1324714"/>
                </a:cubicBezTo>
                <a:cubicBezTo>
                  <a:pt x="1874309" y="1315319"/>
                  <a:pt x="1871960" y="1305923"/>
                  <a:pt x="1871960" y="1296528"/>
                </a:cubicBezTo>
                <a:cubicBezTo>
                  <a:pt x="1881358" y="1301225"/>
                  <a:pt x="1890751" y="1308272"/>
                  <a:pt x="1902495" y="1308272"/>
                </a:cubicBezTo>
                <a:cubicBezTo>
                  <a:pt x="1904843" y="1310622"/>
                  <a:pt x="1909543" y="1308272"/>
                  <a:pt x="1911894" y="1305923"/>
                </a:cubicBezTo>
                <a:cubicBezTo>
                  <a:pt x="1890751" y="1287133"/>
                  <a:pt x="1879008" y="1275389"/>
                  <a:pt x="1916587" y="1240155"/>
                </a:cubicBezTo>
                <a:cubicBezTo>
                  <a:pt x="1928331" y="1230760"/>
                  <a:pt x="1928331" y="1230760"/>
                  <a:pt x="1947121" y="1237807"/>
                </a:cubicBezTo>
                <a:cubicBezTo>
                  <a:pt x="1944772" y="1219015"/>
                  <a:pt x="1944772" y="1202574"/>
                  <a:pt x="1944772" y="1183783"/>
                </a:cubicBezTo>
                <a:cubicBezTo>
                  <a:pt x="1937729" y="1188481"/>
                  <a:pt x="1933029" y="1190830"/>
                  <a:pt x="1925982" y="1195527"/>
                </a:cubicBezTo>
                <a:cubicBezTo>
                  <a:pt x="1925982" y="1207271"/>
                  <a:pt x="1928331" y="1219015"/>
                  <a:pt x="1928331" y="1230760"/>
                </a:cubicBezTo>
                <a:lnTo>
                  <a:pt x="1881358" y="1228411"/>
                </a:lnTo>
                <a:cubicBezTo>
                  <a:pt x="1876658" y="1226063"/>
                  <a:pt x="1874309" y="1214318"/>
                  <a:pt x="1874309" y="1214318"/>
                </a:cubicBezTo>
                <a:cubicBezTo>
                  <a:pt x="1881358" y="1183783"/>
                  <a:pt x="1914238" y="1167341"/>
                  <a:pt x="1940079" y="1150899"/>
                </a:cubicBezTo>
                <a:cubicBezTo>
                  <a:pt x="1958865" y="1136809"/>
                  <a:pt x="1989399" y="1148552"/>
                  <a:pt x="1994099" y="1155597"/>
                </a:cubicBezTo>
                <a:cubicBezTo>
                  <a:pt x="1998794" y="1160295"/>
                  <a:pt x="1998794" y="1160295"/>
                  <a:pt x="2001143" y="1200225"/>
                </a:cubicBezTo>
                <a:cubicBezTo>
                  <a:pt x="2012887" y="1197876"/>
                  <a:pt x="2026980" y="1197876"/>
                  <a:pt x="2038727" y="1195527"/>
                </a:cubicBezTo>
                <a:cubicBezTo>
                  <a:pt x="2045770" y="1207271"/>
                  <a:pt x="2052819" y="1216667"/>
                  <a:pt x="2059862" y="1226063"/>
                </a:cubicBezTo>
                <a:cubicBezTo>
                  <a:pt x="2069258" y="1214318"/>
                  <a:pt x="2076304" y="1200225"/>
                  <a:pt x="2083350" y="1188481"/>
                </a:cubicBezTo>
                <a:cubicBezTo>
                  <a:pt x="2064562" y="1181434"/>
                  <a:pt x="2038727" y="1204923"/>
                  <a:pt x="2024634" y="1190830"/>
                </a:cubicBezTo>
                <a:cubicBezTo>
                  <a:pt x="1996449" y="1162644"/>
                  <a:pt x="1998794" y="1136809"/>
                  <a:pt x="2008192" y="1127413"/>
                </a:cubicBezTo>
                <a:cubicBezTo>
                  <a:pt x="2010542" y="1125064"/>
                  <a:pt x="2010542" y="1125064"/>
                  <a:pt x="2012887" y="1125064"/>
                </a:cubicBezTo>
                <a:cubicBezTo>
                  <a:pt x="2017585" y="1122715"/>
                  <a:pt x="2024634" y="1125064"/>
                  <a:pt x="2029329" y="1125064"/>
                </a:cubicBezTo>
                <a:lnTo>
                  <a:pt x="2073955" y="1150899"/>
                </a:lnTo>
                <a:cubicBezTo>
                  <a:pt x="2090397" y="1139158"/>
                  <a:pt x="2092747" y="1136809"/>
                  <a:pt x="2092747" y="1136809"/>
                </a:cubicBezTo>
                <a:cubicBezTo>
                  <a:pt x="2099792" y="1127413"/>
                  <a:pt x="2099792" y="1115670"/>
                  <a:pt x="2109190" y="1110971"/>
                </a:cubicBezTo>
                <a:cubicBezTo>
                  <a:pt x="2116233" y="1108624"/>
                  <a:pt x="2120932" y="1110971"/>
                  <a:pt x="2142069" y="1132108"/>
                </a:cubicBezTo>
                <a:cubicBezTo>
                  <a:pt x="2149117" y="1139158"/>
                  <a:pt x="2144419" y="1148552"/>
                  <a:pt x="2144419" y="1157946"/>
                </a:cubicBezTo>
                <a:cubicBezTo>
                  <a:pt x="2153818" y="1150899"/>
                  <a:pt x="2174953" y="1146203"/>
                  <a:pt x="2177302" y="1132108"/>
                </a:cubicBezTo>
                <a:cubicBezTo>
                  <a:pt x="2182003" y="1110971"/>
                  <a:pt x="2146768" y="1106282"/>
                  <a:pt x="2135025" y="1087490"/>
                </a:cubicBezTo>
                <a:lnTo>
                  <a:pt x="2151467" y="1066348"/>
                </a:lnTo>
                <a:lnTo>
                  <a:pt x="2152402" y="1064350"/>
                </a:lnTo>
                <a:lnTo>
                  <a:pt x="2150878" y="1074864"/>
                </a:lnTo>
                <a:cubicBezTo>
                  <a:pt x="2150878" y="1081618"/>
                  <a:pt x="2152640" y="1087490"/>
                  <a:pt x="2158511" y="1089838"/>
                </a:cubicBezTo>
                <a:cubicBezTo>
                  <a:pt x="2170255" y="1094535"/>
                  <a:pt x="2179653" y="1092184"/>
                  <a:pt x="2191395" y="1094535"/>
                </a:cubicBezTo>
                <a:lnTo>
                  <a:pt x="2254808" y="1120367"/>
                </a:lnTo>
                <a:lnTo>
                  <a:pt x="2259506" y="1106282"/>
                </a:lnTo>
                <a:cubicBezTo>
                  <a:pt x="2264203" y="1103929"/>
                  <a:pt x="2271250" y="1096878"/>
                  <a:pt x="2271250" y="1096878"/>
                </a:cubicBezTo>
                <a:cubicBezTo>
                  <a:pt x="2278296" y="1085140"/>
                  <a:pt x="2278296" y="1078094"/>
                  <a:pt x="2273598" y="1073396"/>
                </a:cubicBezTo>
                <a:cubicBezTo>
                  <a:pt x="2268902" y="1068697"/>
                  <a:pt x="2266552" y="1068697"/>
                  <a:pt x="2252460" y="1080442"/>
                </a:cubicBezTo>
                <a:cubicBezTo>
                  <a:pt x="2250111" y="1082792"/>
                  <a:pt x="2243064" y="1087490"/>
                  <a:pt x="2233673" y="1082792"/>
                </a:cubicBezTo>
                <a:cubicBezTo>
                  <a:pt x="2223103" y="1079268"/>
                  <a:pt x="2217820" y="1082352"/>
                  <a:pt x="2212863" y="1073212"/>
                </a:cubicBezTo>
                <a:lnTo>
                  <a:pt x="2208225" y="1060377"/>
                </a:lnTo>
                <a:lnTo>
                  <a:pt x="2221930" y="1056951"/>
                </a:lnTo>
                <a:cubicBezTo>
                  <a:pt x="2226626" y="1052252"/>
                  <a:pt x="2224281" y="1045204"/>
                  <a:pt x="2221930" y="1040505"/>
                </a:cubicBezTo>
                <a:cubicBezTo>
                  <a:pt x="2219580" y="1028759"/>
                  <a:pt x="2198441" y="1024062"/>
                  <a:pt x="2200789" y="1012320"/>
                </a:cubicBezTo>
                <a:cubicBezTo>
                  <a:pt x="2200789" y="998229"/>
                  <a:pt x="2224281" y="998229"/>
                  <a:pt x="2233673" y="986487"/>
                </a:cubicBezTo>
                <a:cubicBezTo>
                  <a:pt x="2240723" y="979442"/>
                  <a:pt x="2245413" y="972396"/>
                  <a:pt x="2247762" y="963003"/>
                </a:cubicBezTo>
                <a:cubicBezTo>
                  <a:pt x="2250111" y="953598"/>
                  <a:pt x="2243064" y="941854"/>
                  <a:pt x="2240723" y="932459"/>
                </a:cubicBezTo>
                <a:cubicBezTo>
                  <a:pt x="2252460" y="934808"/>
                  <a:pt x="2264203" y="934808"/>
                  <a:pt x="2275947" y="937157"/>
                </a:cubicBezTo>
                <a:cubicBezTo>
                  <a:pt x="2282994" y="927762"/>
                  <a:pt x="2290040" y="918367"/>
                  <a:pt x="2297086" y="908971"/>
                </a:cubicBezTo>
                <a:cubicBezTo>
                  <a:pt x="2299435" y="913669"/>
                  <a:pt x="2304133" y="916018"/>
                  <a:pt x="2304133" y="920715"/>
                </a:cubicBezTo>
                <a:cubicBezTo>
                  <a:pt x="2306482" y="927761"/>
                  <a:pt x="2305895" y="934808"/>
                  <a:pt x="2304428" y="941854"/>
                </a:cubicBezTo>
                <a:lnTo>
                  <a:pt x="2301561" y="953991"/>
                </a:lnTo>
                <a:lnTo>
                  <a:pt x="2299435" y="946552"/>
                </a:lnTo>
                <a:lnTo>
                  <a:pt x="2282994" y="948901"/>
                </a:lnTo>
                <a:lnTo>
                  <a:pt x="2273598" y="960655"/>
                </a:lnTo>
                <a:lnTo>
                  <a:pt x="2280645" y="974745"/>
                </a:lnTo>
                <a:lnTo>
                  <a:pt x="2292389" y="972396"/>
                </a:lnTo>
                <a:lnTo>
                  <a:pt x="2304133" y="963003"/>
                </a:lnTo>
                <a:lnTo>
                  <a:pt x="2303458" y="960638"/>
                </a:lnTo>
                <a:lnTo>
                  <a:pt x="2337897" y="940386"/>
                </a:lnTo>
                <a:cubicBezTo>
                  <a:pt x="2348760" y="935982"/>
                  <a:pt x="2358156" y="934808"/>
                  <a:pt x="2367550" y="937157"/>
                </a:cubicBezTo>
                <a:cubicBezTo>
                  <a:pt x="2379293" y="941854"/>
                  <a:pt x="2388689" y="958306"/>
                  <a:pt x="2388689" y="972396"/>
                </a:cubicBezTo>
                <a:cubicBezTo>
                  <a:pt x="2388689" y="977093"/>
                  <a:pt x="2379293" y="979442"/>
                  <a:pt x="2379293" y="984138"/>
                </a:cubicBezTo>
                <a:cubicBezTo>
                  <a:pt x="2379293" y="988835"/>
                  <a:pt x="2383992" y="991184"/>
                  <a:pt x="2386340" y="993532"/>
                </a:cubicBezTo>
                <a:cubicBezTo>
                  <a:pt x="2395735" y="1000578"/>
                  <a:pt x="2416874" y="991184"/>
                  <a:pt x="2423920" y="991184"/>
                </a:cubicBezTo>
                <a:cubicBezTo>
                  <a:pt x="2419223" y="1012320"/>
                  <a:pt x="2419223" y="1033457"/>
                  <a:pt x="2409828" y="1054601"/>
                </a:cubicBezTo>
                <a:cubicBezTo>
                  <a:pt x="2407479" y="1059299"/>
                  <a:pt x="2402781" y="1061649"/>
                  <a:pt x="2400433" y="1066348"/>
                </a:cubicBezTo>
                <a:cubicBezTo>
                  <a:pt x="2398084" y="1078094"/>
                  <a:pt x="2402781" y="1094535"/>
                  <a:pt x="2402781" y="1108624"/>
                </a:cubicBezTo>
                <a:lnTo>
                  <a:pt x="2407479" y="1157946"/>
                </a:lnTo>
                <a:cubicBezTo>
                  <a:pt x="2412176" y="1155597"/>
                  <a:pt x="2421572" y="1148552"/>
                  <a:pt x="2421572" y="1148552"/>
                </a:cubicBezTo>
                <a:cubicBezTo>
                  <a:pt x="2438013" y="1127413"/>
                  <a:pt x="2435664" y="1108624"/>
                  <a:pt x="2426269" y="1082792"/>
                </a:cubicBezTo>
                <a:lnTo>
                  <a:pt x="2480291" y="1040505"/>
                </a:lnTo>
                <a:lnTo>
                  <a:pt x="2494384" y="1045204"/>
                </a:lnTo>
                <a:cubicBezTo>
                  <a:pt x="2501430" y="1082792"/>
                  <a:pt x="2494384" y="1087490"/>
                  <a:pt x="2494384" y="1087490"/>
                </a:cubicBezTo>
                <a:cubicBezTo>
                  <a:pt x="2484989" y="1096878"/>
                  <a:pt x="2468547" y="1094535"/>
                  <a:pt x="2454455" y="1096878"/>
                </a:cubicBezTo>
                <a:lnTo>
                  <a:pt x="2466198" y="1139158"/>
                </a:lnTo>
                <a:cubicBezTo>
                  <a:pt x="2468547" y="1141506"/>
                  <a:pt x="2468547" y="1146203"/>
                  <a:pt x="2468547" y="1146203"/>
                </a:cubicBezTo>
                <a:cubicBezTo>
                  <a:pt x="2473246" y="1153248"/>
                  <a:pt x="2480291" y="1160295"/>
                  <a:pt x="2487337" y="1167341"/>
                </a:cubicBezTo>
                <a:cubicBezTo>
                  <a:pt x="2461501" y="1183783"/>
                  <a:pt x="2468547" y="1181434"/>
                  <a:pt x="2449757" y="1179085"/>
                </a:cubicBezTo>
                <a:cubicBezTo>
                  <a:pt x="2452106" y="1183783"/>
                  <a:pt x="2452106" y="1190830"/>
                  <a:pt x="2454455" y="1195527"/>
                </a:cubicBezTo>
                <a:cubicBezTo>
                  <a:pt x="2459152" y="1193179"/>
                  <a:pt x="2466198" y="1193179"/>
                  <a:pt x="2470896" y="1190830"/>
                </a:cubicBezTo>
                <a:cubicBezTo>
                  <a:pt x="2477942" y="1226063"/>
                  <a:pt x="2480291" y="1226063"/>
                  <a:pt x="2487337" y="1228411"/>
                </a:cubicBezTo>
                <a:cubicBezTo>
                  <a:pt x="2503779" y="1235458"/>
                  <a:pt x="2524918" y="1219015"/>
                  <a:pt x="2539011" y="1228411"/>
                </a:cubicBezTo>
                <a:cubicBezTo>
                  <a:pt x="2541359" y="1230760"/>
                  <a:pt x="2541359" y="1233109"/>
                  <a:pt x="2543709" y="1235458"/>
                </a:cubicBezTo>
                <a:cubicBezTo>
                  <a:pt x="2534313" y="1240155"/>
                  <a:pt x="2524918" y="1247203"/>
                  <a:pt x="2513174" y="1251900"/>
                </a:cubicBezTo>
                <a:cubicBezTo>
                  <a:pt x="2496732" y="1256598"/>
                  <a:pt x="2480291" y="1251900"/>
                  <a:pt x="2466198" y="1258946"/>
                </a:cubicBezTo>
                <a:cubicBezTo>
                  <a:pt x="2461501" y="1261295"/>
                  <a:pt x="2459152" y="1265993"/>
                  <a:pt x="2456803" y="1270690"/>
                </a:cubicBezTo>
                <a:cubicBezTo>
                  <a:pt x="2463850" y="1270690"/>
                  <a:pt x="2470896" y="1273039"/>
                  <a:pt x="2477942" y="1273039"/>
                </a:cubicBezTo>
                <a:cubicBezTo>
                  <a:pt x="2482640" y="1289482"/>
                  <a:pt x="2477942" y="1277737"/>
                  <a:pt x="2489686" y="1308272"/>
                </a:cubicBezTo>
                <a:cubicBezTo>
                  <a:pt x="2508476" y="1298877"/>
                  <a:pt x="2508476" y="1298877"/>
                  <a:pt x="2510825" y="1301225"/>
                </a:cubicBezTo>
                <a:cubicBezTo>
                  <a:pt x="2517871" y="1303574"/>
                  <a:pt x="2517871" y="1303574"/>
                  <a:pt x="2510825" y="1329412"/>
                </a:cubicBezTo>
                <a:cubicBezTo>
                  <a:pt x="2517871" y="1324714"/>
                  <a:pt x="2524918" y="1320017"/>
                  <a:pt x="2531964" y="1322366"/>
                </a:cubicBezTo>
                <a:cubicBezTo>
                  <a:pt x="2543709" y="1327063"/>
                  <a:pt x="2546057" y="1336458"/>
                  <a:pt x="2541359" y="1341156"/>
                </a:cubicBezTo>
                <a:cubicBezTo>
                  <a:pt x="2539011" y="1341156"/>
                  <a:pt x="2513174" y="1336458"/>
                  <a:pt x="2482640" y="1345854"/>
                </a:cubicBezTo>
                <a:cubicBezTo>
                  <a:pt x="2480291" y="1338808"/>
                  <a:pt x="2480291" y="1331761"/>
                  <a:pt x="2477942" y="1324714"/>
                </a:cubicBezTo>
                <a:cubicBezTo>
                  <a:pt x="2473246" y="1327063"/>
                  <a:pt x="2468547" y="1324714"/>
                  <a:pt x="2466198" y="1329412"/>
                </a:cubicBezTo>
                <a:cubicBezTo>
                  <a:pt x="2463850" y="1336458"/>
                  <a:pt x="2468547" y="1343506"/>
                  <a:pt x="2473246" y="1350552"/>
                </a:cubicBezTo>
                <a:cubicBezTo>
                  <a:pt x="2475594" y="1352901"/>
                  <a:pt x="2475594" y="1355249"/>
                  <a:pt x="2477942" y="1357598"/>
                </a:cubicBezTo>
                <a:cubicBezTo>
                  <a:pt x="2484989" y="1355249"/>
                  <a:pt x="2489686" y="1355249"/>
                  <a:pt x="2494384" y="1355249"/>
                </a:cubicBezTo>
                <a:cubicBezTo>
                  <a:pt x="2492035" y="1355249"/>
                  <a:pt x="2484989" y="1357598"/>
                  <a:pt x="2480291" y="1359947"/>
                </a:cubicBezTo>
                <a:cubicBezTo>
                  <a:pt x="2482640" y="1366993"/>
                  <a:pt x="2487337" y="1374041"/>
                  <a:pt x="2492035" y="1378738"/>
                </a:cubicBezTo>
                <a:cubicBezTo>
                  <a:pt x="2494384" y="1376389"/>
                  <a:pt x="2496732" y="1376389"/>
                  <a:pt x="2499082" y="1376389"/>
                </a:cubicBezTo>
                <a:cubicBezTo>
                  <a:pt x="2508476" y="1374041"/>
                  <a:pt x="2517871" y="1369342"/>
                  <a:pt x="2524918" y="1366993"/>
                </a:cubicBezTo>
                <a:cubicBezTo>
                  <a:pt x="2524918" y="1364645"/>
                  <a:pt x="2522569" y="1362296"/>
                  <a:pt x="2520220" y="1359947"/>
                </a:cubicBezTo>
                <a:cubicBezTo>
                  <a:pt x="2527267" y="1357598"/>
                  <a:pt x="2531964" y="1357598"/>
                  <a:pt x="2534313" y="1362296"/>
                </a:cubicBezTo>
                <a:cubicBezTo>
                  <a:pt x="2539011" y="1357598"/>
                  <a:pt x="2543709" y="1355249"/>
                  <a:pt x="2548406" y="1352901"/>
                </a:cubicBezTo>
                <a:cubicBezTo>
                  <a:pt x="2560150" y="1345854"/>
                  <a:pt x="2560150" y="1341156"/>
                  <a:pt x="2560150" y="1338808"/>
                </a:cubicBezTo>
                <a:cubicBezTo>
                  <a:pt x="2560150" y="1336458"/>
                  <a:pt x="2557801" y="1336458"/>
                  <a:pt x="2553103" y="1336458"/>
                </a:cubicBezTo>
                <a:cubicBezTo>
                  <a:pt x="2555452" y="1336458"/>
                  <a:pt x="2557801" y="1334109"/>
                  <a:pt x="2560150" y="1331761"/>
                </a:cubicBezTo>
                <a:cubicBezTo>
                  <a:pt x="2564847" y="1327063"/>
                  <a:pt x="2567196" y="1324714"/>
                  <a:pt x="2571893" y="1320017"/>
                </a:cubicBezTo>
                <a:cubicBezTo>
                  <a:pt x="2581289" y="1312970"/>
                  <a:pt x="2588336" y="1305923"/>
                  <a:pt x="2595381" y="1298877"/>
                </a:cubicBezTo>
                <a:cubicBezTo>
                  <a:pt x="2609474" y="1284784"/>
                  <a:pt x="2623567" y="1273039"/>
                  <a:pt x="2635310" y="1261295"/>
                </a:cubicBezTo>
                <a:cubicBezTo>
                  <a:pt x="2661147" y="1237807"/>
                  <a:pt x="2679937" y="1216667"/>
                  <a:pt x="2698728" y="1193179"/>
                </a:cubicBezTo>
                <a:cubicBezTo>
                  <a:pt x="2715170" y="1169690"/>
                  <a:pt x="2733959" y="1146203"/>
                  <a:pt x="2745703" y="1120367"/>
                </a:cubicBezTo>
                <a:cubicBezTo>
                  <a:pt x="2748053" y="1113321"/>
                  <a:pt x="2750401" y="1108624"/>
                  <a:pt x="2752749" y="1101580"/>
                </a:cubicBezTo>
                <a:cubicBezTo>
                  <a:pt x="2755098" y="1096878"/>
                  <a:pt x="2755098" y="1094535"/>
                  <a:pt x="2755098" y="1089838"/>
                </a:cubicBezTo>
                <a:cubicBezTo>
                  <a:pt x="2755098" y="1082792"/>
                  <a:pt x="2752749" y="1073396"/>
                  <a:pt x="2745703" y="1068697"/>
                </a:cubicBezTo>
                <a:cubicBezTo>
                  <a:pt x="2752749" y="1068697"/>
                  <a:pt x="2759797" y="1071046"/>
                  <a:pt x="2764493" y="1075745"/>
                </a:cubicBezTo>
                <a:cubicBezTo>
                  <a:pt x="2762144" y="1061649"/>
                  <a:pt x="2750401" y="1054601"/>
                  <a:pt x="2736308" y="1049902"/>
                </a:cubicBezTo>
                <a:cubicBezTo>
                  <a:pt x="2729262" y="1047553"/>
                  <a:pt x="2717518" y="1045204"/>
                  <a:pt x="2698728" y="1040505"/>
                </a:cubicBezTo>
                <a:cubicBezTo>
                  <a:pt x="2682286" y="1035806"/>
                  <a:pt x="2665845" y="1033457"/>
                  <a:pt x="2649403" y="1024062"/>
                </a:cubicBezTo>
                <a:lnTo>
                  <a:pt x="2670543" y="1031108"/>
                </a:lnTo>
                <a:lnTo>
                  <a:pt x="2691681" y="1035806"/>
                </a:lnTo>
                <a:cubicBezTo>
                  <a:pt x="2705774" y="1038155"/>
                  <a:pt x="2722215" y="1042854"/>
                  <a:pt x="2729262" y="1042854"/>
                </a:cubicBezTo>
                <a:lnTo>
                  <a:pt x="2736308" y="1042854"/>
                </a:lnTo>
                <a:lnTo>
                  <a:pt x="2741006" y="1042854"/>
                </a:lnTo>
                <a:cubicBezTo>
                  <a:pt x="2743354" y="1042854"/>
                  <a:pt x="2748053" y="1045204"/>
                  <a:pt x="2750401" y="1045204"/>
                </a:cubicBezTo>
                <a:cubicBezTo>
                  <a:pt x="2757447" y="1047553"/>
                  <a:pt x="2762144" y="1049902"/>
                  <a:pt x="2769191" y="1054601"/>
                </a:cubicBezTo>
                <a:cubicBezTo>
                  <a:pt x="2762144" y="1045204"/>
                  <a:pt x="2750401" y="1040505"/>
                  <a:pt x="2741006" y="1035806"/>
                </a:cubicBezTo>
                <a:cubicBezTo>
                  <a:pt x="2736308" y="1033457"/>
                  <a:pt x="2726913" y="1033457"/>
                  <a:pt x="2722215" y="1031108"/>
                </a:cubicBezTo>
                <a:cubicBezTo>
                  <a:pt x="2715170" y="1028759"/>
                  <a:pt x="2708123" y="1026410"/>
                  <a:pt x="2701076" y="1024062"/>
                </a:cubicBezTo>
                <a:cubicBezTo>
                  <a:pt x="2672891" y="1017016"/>
                  <a:pt x="2654101" y="1007623"/>
                  <a:pt x="2640008" y="1000578"/>
                </a:cubicBezTo>
                <a:cubicBezTo>
                  <a:pt x="2625916" y="993532"/>
                  <a:pt x="2616520" y="988835"/>
                  <a:pt x="2609474" y="984138"/>
                </a:cubicBezTo>
                <a:cubicBezTo>
                  <a:pt x="2600079" y="981791"/>
                  <a:pt x="2595381" y="979442"/>
                  <a:pt x="2590684" y="974745"/>
                </a:cubicBezTo>
                <a:cubicBezTo>
                  <a:pt x="2585986" y="972396"/>
                  <a:pt x="2578940" y="967700"/>
                  <a:pt x="2571893" y="960655"/>
                </a:cubicBezTo>
                <a:cubicBezTo>
                  <a:pt x="2564847" y="953598"/>
                  <a:pt x="2555452" y="941854"/>
                  <a:pt x="2543709" y="923064"/>
                </a:cubicBezTo>
                <a:cubicBezTo>
                  <a:pt x="2539011" y="913669"/>
                  <a:pt x="2534313" y="901925"/>
                  <a:pt x="2529615" y="887832"/>
                </a:cubicBezTo>
                <a:cubicBezTo>
                  <a:pt x="2527267" y="873740"/>
                  <a:pt x="2522569" y="857298"/>
                  <a:pt x="2522569" y="838509"/>
                </a:cubicBezTo>
                <a:cubicBezTo>
                  <a:pt x="2522569" y="800929"/>
                  <a:pt x="2529615" y="753953"/>
                  <a:pt x="2562498" y="704629"/>
                </a:cubicBezTo>
                <a:lnTo>
                  <a:pt x="2571893" y="709326"/>
                </a:lnTo>
                <a:cubicBezTo>
                  <a:pt x="2595381" y="671747"/>
                  <a:pt x="2625916" y="645910"/>
                  <a:pt x="2656449" y="629469"/>
                </a:cubicBezTo>
                <a:cubicBezTo>
                  <a:pt x="2663496" y="627120"/>
                  <a:pt x="2672891" y="622422"/>
                  <a:pt x="2679937" y="620074"/>
                </a:cubicBezTo>
                <a:cubicBezTo>
                  <a:pt x="2686984" y="617725"/>
                  <a:pt x="2696379" y="617725"/>
                  <a:pt x="2705774" y="615376"/>
                </a:cubicBezTo>
                <a:cubicBezTo>
                  <a:pt x="2712820" y="613027"/>
                  <a:pt x="2722215" y="615376"/>
                  <a:pt x="2731610" y="615376"/>
                </a:cubicBezTo>
                <a:lnTo>
                  <a:pt x="2745703" y="615376"/>
                </a:lnTo>
                <a:lnTo>
                  <a:pt x="2757447" y="617725"/>
                </a:lnTo>
                <a:cubicBezTo>
                  <a:pt x="2773888" y="622422"/>
                  <a:pt x="2787981" y="631818"/>
                  <a:pt x="2802074" y="641213"/>
                </a:cubicBezTo>
                <a:cubicBezTo>
                  <a:pt x="2809120" y="648259"/>
                  <a:pt x="2813818" y="652957"/>
                  <a:pt x="2820864" y="660003"/>
                </a:cubicBezTo>
                <a:cubicBezTo>
                  <a:pt x="2825561" y="667049"/>
                  <a:pt x="2830260" y="671747"/>
                  <a:pt x="2834957" y="678793"/>
                </a:cubicBezTo>
                <a:cubicBezTo>
                  <a:pt x="2851398" y="704629"/>
                  <a:pt x="2860793" y="732814"/>
                  <a:pt x="2867840" y="763348"/>
                </a:cubicBezTo>
                <a:cubicBezTo>
                  <a:pt x="2879583" y="798580"/>
                  <a:pt x="2879583" y="800929"/>
                  <a:pt x="2879583" y="789185"/>
                </a:cubicBezTo>
                <a:cubicBezTo>
                  <a:pt x="2879583" y="777441"/>
                  <a:pt x="2872537" y="751604"/>
                  <a:pt x="2867840" y="730465"/>
                </a:cubicBezTo>
                <a:cubicBezTo>
                  <a:pt x="2860793" y="709326"/>
                  <a:pt x="2856096" y="695234"/>
                  <a:pt x="2863142" y="709326"/>
                </a:cubicBezTo>
                <a:cubicBezTo>
                  <a:pt x="2872537" y="723419"/>
                  <a:pt x="2891327" y="768046"/>
                  <a:pt x="2905420" y="852602"/>
                </a:cubicBezTo>
                <a:cubicBezTo>
                  <a:pt x="2907769" y="869042"/>
                  <a:pt x="2907769" y="887832"/>
                  <a:pt x="2910118" y="906623"/>
                </a:cubicBezTo>
                <a:cubicBezTo>
                  <a:pt x="2914815" y="934808"/>
                  <a:pt x="2914815" y="958306"/>
                  <a:pt x="2914815" y="981791"/>
                </a:cubicBezTo>
                <a:cubicBezTo>
                  <a:pt x="2914815" y="993532"/>
                  <a:pt x="2917164" y="1002926"/>
                  <a:pt x="2917164" y="1014669"/>
                </a:cubicBezTo>
                <a:cubicBezTo>
                  <a:pt x="2910118" y="1017016"/>
                  <a:pt x="2905420" y="1026410"/>
                  <a:pt x="2900723" y="1033457"/>
                </a:cubicBezTo>
                <a:cubicBezTo>
                  <a:pt x="2910118" y="1040505"/>
                  <a:pt x="2914815" y="1038155"/>
                  <a:pt x="2919514" y="1033457"/>
                </a:cubicBezTo>
                <a:cubicBezTo>
                  <a:pt x="2919514" y="1038155"/>
                  <a:pt x="2921861" y="1042854"/>
                  <a:pt x="2921861" y="1047553"/>
                </a:cubicBezTo>
                <a:cubicBezTo>
                  <a:pt x="2926559" y="1066348"/>
                  <a:pt x="2933605" y="1080442"/>
                  <a:pt x="2940652" y="1089838"/>
                </a:cubicBezTo>
                <a:cubicBezTo>
                  <a:pt x="2943000" y="1092184"/>
                  <a:pt x="2945350" y="1092184"/>
                  <a:pt x="2947698" y="1094535"/>
                </a:cubicBezTo>
                <a:cubicBezTo>
                  <a:pt x="2950047" y="1096878"/>
                  <a:pt x="2952395" y="1096878"/>
                  <a:pt x="2952395" y="1096878"/>
                </a:cubicBezTo>
                <a:cubicBezTo>
                  <a:pt x="2954744" y="1099231"/>
                  <a:pt x="2954744" y="1096878"/>
                  <a:pt x="2954744" y="1096878"/>
                </a:cubicBezTo>
                <a:cubicBezTo>
                  <a:pt x="2954744" y="1096878"/>
                  <a:pt x="2952395" y="1094535"/>
                  <a:pt x="2950047" y="1092184"/>
                </a:cubicBezTo>
                <a:cubicBezTo>
                  <a:pt x="2947698" y="1089838"/>
                  <a:pt x="2945350" y="1087490"/>
                  <a:pt x="2943000" y="1082792"/>
                </a:cubicBezTo>
                <a:lnTo>
                  <a:pt x="2941537" y="1079559"/>
                </a:lnTo>
                <a:lnTo>
                  <a:pt x="2943000" y="1078094"/>
                </a:lnTo>
                <a:cubicBezTo>
                  <a:pt x="2945350" y="1080442"/>
                  <a:pt x="2947698" y="1082792"/>
                  <a:pt x="2950047" y="1085140"/>
                </a:cubicBezTo>
                <a:cubicBezTo>
                  <a:pt x="2957093" y="1089838"/>
                  <a:pt x="2961791" y="1094535"/>
                  <a:pt x="2971186" y="1096878"/>
                </a:cubicBezTo>
                <a:cubicBezTo>
                  <a:pt x="2971186" y="1092184"/>
                  <a:pt x="2973535" y="1089838"/>
                  <a:pt x="2973535" y="1085140"/>
                </a:cubicBezTo>
                <a:cubicBezTo>
                  <a:pt x="2978232" y="1071046"/>
                  <a:pt x="2978232" y="1054601"/>
                  <a:pt x="2980581" y="1038155"/>
                </a:cubicBezTo>
                <a:cubicBezTo>
                  <a:pt x="2982930" y="1007623"/>
                  <a:pt x="2982930" y="974745"/>
                  <a:pt x="2973535" y="925413"/>
                </a:cubicBezTo>
                <a:cubicBezTo>
                  <a:pt x="2964139" y="876089"/>
                  <a:pt x="2947698" y="807975"/>
                  <a:pt x="2905420" y="709326"/>
                </a:cubicBezTo>
                <a:cubicBezTo>
                  <a:pt x="2926559" y="779790"/>
                  <a:pt x="2912466" y="753953"/>
                  <a:pt x="2905420" y="749255"/>
                </a:cubicBezTo>
                <a:cubicBezTo>
                  <a:pt x="2903071" y="746907"/>
                  <a:pt x="2903071" y="749255"/>
                  <a:pt x="2910118" y="775092"/>
                </a:cubicBezTo>
                <a:cubicBezTo>
                  <a:pt x="2917164" y="798580"/>
                  <a:pt x="2933605" y="845555"/>
                  <a:pt x="2952395" y="927762"/>
                </a:cubicBezTo>
                <a:cubicBezTo>
                  <a:pt x="2910118" y="772743"/>
                  <a:pt x="2870188" y="610679"/>
                  <a:pt x="2776237" y="465055"/>
                </a:cubicBezTo>
                <a:cubicBezTo>
                  <a:pt x="2797376" y="495589"/>
                  <a:pt x="2818515" y="526123"/>
                  <a:pt x="2839654" y="559005"/>
                </a:cubicBezTo>
                <a:cubicBezTo>
                  <a:pt x="2813818" y="502636"/>
                  <a:pt x="2773888" y="443916"/>
                  <a:pt x="2755098" y="415731"/>
                </a:cubicBezTo>
                <a:lnTo>
                  <a:pt x="2771540" y="422777"/>
                </a:lnTo>
                <a:cubicBezTo>
                  <a:pt x="2764493" y="411033"/>
                  <a:pt x="2755098" y="401638"/>
                  <a:pt x="2748053" y="389894"/>
                </a:cubicBezTo>
                <a:cubicBezTo>
                  <a:pt x="2741006" y="378150"/>
                  <a:pt x="2731610" y="366407"/>
                  <a:pt x="2724564" y="354664"/>
                </a:cubicBezTo>
                <a:cubicBezTo>
                  <a:pt x="2710471" y="331176"/>
                  <a:pt x="2696379" y="305339"/>
                  <a:pt x="2686984" y="279503"/>
                </a:cubicBezTo>
                <a:cubicBezTo>
                  <a:pt x="2675240" y="253666"/>
                  <a:pt x="2668193" y="225481"/>
                  <a:pt x="2663496" y="197296"/>
                </a:cubicBezTo>
                <a:cubicBezTo>
                  <a:pt x="2658799" y="169111"/>
                  <a:pt x="2658799" y="140926"/>
                  <a:pt x="2665845" y="110392"/>
                </a:cubicBezTo>
                <a:cubicBezTo>
                  <a:pt x="2672891" y="79858"/>
                  <a:pt x="2691681" y="46975"/>
                  <a:pt x="2717518" y="28185"/>
                </a:cubicBezTo>
                <a:cubicBezTo>
                  <a:pt x="2743354" y="7046"/>
                  <a:pt x="2773888" y="0"/>
                  <a:pt x="2804424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rtlCol="0" anchor="ctr">
            <a:noAutofit/>
          </a:bodyPr>
          <a:lstStyle>
            <a:lvl1pPr marL="0" indent="0" algn="ctr">
              <a:buNone/>
              <a:defRPr sz="12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rtl="0"/>
            <a:r>
              <a:rPr lang="pt-BR" noProof="0"/>
              <a:t>Insira ou Arraste e Solte sua foto</a:t>
            </a:r>
          </a:p>
        </p:txBody>
      </p:sp>
    </p:spTree>
    <p:extLst>
      <p:ext uri="{BB962C8B-B14F-4D97-AF65-F5344CB8AC3E}">
        <p14:creationId xmlns:p14="http://schemas.microsoft.com/office/powerpoint/2010/main" val="39833637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de Tex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A22238F2-C6EC-476F-8371-119AECBA562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32000" y="1656000"/>
            <a:ext cx="5472000" cy="4464000"/>
          </a:xfrm>
        </p:spPr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 rtl="0"/>
            <a:r>
              <a:rPr lang="pt-BR" noProof="0"/>
              <a:t>Editar estilos de texto Mestre</a:t>
            </a:r>
          </a:p>
          <a:p>
            <a:pPr lvl="1" rtl="0"/>
            <a:r>
              <a:rPr lang="pt-BR" noProof="0"/>
              <a:t>Segundo nível</a:t>
            </a:r>
          </a:p>
          <a:p>
            <a:pPr lvl="2" rtl="0"/>
            <a:r>
              <a:rPr lang="pt-BR" noProof="0"/>
              <a:t>Terceiro nível</a:t>
            </a:r>
          </a:p>
          <a:p>
            <a:pPr lvl="3" rtl="0"/>
            <a:r>
              <a:rPr lang="pt-BR" noProof="0"/>
              <a:t>Quarto nível</a:t>
            </a:r>
          </a:p>
          <a:p>
            <a:pPr lvl="4" rtl="0"/>
            <a:r>
              <a:rPr lang="pt-BR" noProof="0"/>
              <a:t>Quinto nível</a:t>
            </a:r>
          </a:p>
        </p:txBody>
      </p:sp>
      <p:sp>
        <p:nvSpPr>
          <p:cNvPr id="9" name="Espaço Reservado para o Número do Slide 8">
            <a:extLst>
              <a:ext uri="{FF2B5EF4-FFF2-40B4-BE49-F238E27FC236}">
                <a16:creationId xmlns:a16="http://schemas.microsoft.com/office/drawing/2014/main" id="{0A29F8B3-4723-4928-83E5-76C29D05F2F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fld id="{19B51A1E-902D-48AF-9020-955120F399B6}" type="slidenum">
              <a:rPr lang="pt-BR" noProof="0" smtClean="0"/>
              <a:pPr rtl="0"/>
              <a:t>‹nº›</a:t>
            </a:fld>
            <a:endParaRPr lang="pt-BR" noProof="0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57847F90-9DB6-4832-9EB7-393AADAE8B7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 rtlCol="0"/>
          <a:lstStyle/>
          <a:p>
            <a:pPr rtl="0"/>
            <a:r>
              <a:rPr lang="pt-BR" noProof="0"/>
              <a:t>Adicionar um rodapé</a:t>
            </a:r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BB6AC7B6-CDA5-4A4F-AD50-E3C16C6A00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835" y="432000"/>
            <a:ext cx="5387166" cy="695740"/>
          </a:xfrm>
        </p:spPr>
        <p:txBody>
          <a:bodyPr rtlCol="0"/>
          <a:lstStyle/>
          <a:p>
            <a:pPr rtl="0"/>
            <a:r>
              <a:rPr lang="pt-BR" noProof="0"/>
              <a:t>Clique para editar o estilo de título Mestre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1CF27CC2-C21A-430D-B705-FB9C912CA32A}"/>
              </a:ext>
            </a:extLst>
          </p:cNvPr>
          <p:cNvSpPr/>
          <p:nvPr userDrawn="1"/>
        </p:nvSpPr>
        <p:spPr>
          <a:xfrm>
            <a:off x="432000" y="432000"/>
            <a:ext cx="84835" cy="6957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 noProof="0"/>
          </a:p>
        </p:txBody>
      </p:sp>
      <p:sp>
        <p:nvSpPr>
          <p:cNvPr id="12" name="Subtítulo 2">
            <a:extLst>
              <a:ext uri="{FF2B5EF4-FFF2-40B4-BE49-F238E27FC236}">
                <a16:creationId xmlns:a16="http://schemas.microsoft.com/office/drawing/2014/main" id="{9E0033C9-5861-4239-BD0E-9A6A58D38E5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1800" y="1260000"/>
            <a:ext cx="5472001" cy="252000"/>
          </a:xfrm>
        </p:spPr>
        <p:txBody>
          <a:bodyPr rtlCol="0"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 rtl="0"/>
            <a:r>
              <a:rPr lang="pt-BR" noProof="0"/>
              <a:t>Subtítulo</a:t>
            </a:r>
          </a:p>
        </p:txBody>
      </p:sp>
      <p:sp>
        <p:nvSpPr>
          <p:cNvPr id="13" name="Espaço Reservado para Imagem 12">
            <a:extLst>
              <a:ext uri="{FF2B5EF4-FFF2-40B4-BE49-F238E27FC236}">
                <a16:creationId xmlns:a16="http://schemas.microsoft.com/office/drawing/2014/main" id="{3B040E07-EADA-4100-BE19-E7313AC7372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687459" y="144592"/>
            <a:ext cx="4610101" cy="6557032"/>
          </a:xfrm>
          <a:custGeom>
            <a:avLst/>
            <a:gdLst>
              <a:gd name="connsiteX0" fmla="*/ 1206279 w 4610101"/>
              <a:gd name="connsiteY0" fmla="*/ 6465923 h 6557032"/>
              <a:gd name="connsiteX1" fmla="*/ 1228145 w 4610101"/>
              <a:gd name="connsiteY1" fmla="*/ 6467746 h 6557032"/>
              <a:gd name="connsiteX2" fmla="*/ 1244545 w 4610101"/>
              <a:gd name="connsiteY2" fmla="*/ 6482323 h 6557032"/>
              <a:gd name="connsiteX3" fmla="*/ 1235434 w 4610101"/>
              <a:gd name="connsiteY3" fmla="*/ 6495078 h 6557032"/>
              <a:gd name="connsiteX4" fmla="*/ 1251833 w 4610101"/>
              <a:gd name="connsiteY4" fmla="*/ 6526055 h 6557032"/>
              <a:gd name="connsiteX5" fmla="*/ 1237256 w 4610101"/>
              <a:gd name="connsiteY5" fmla="*/ 6547921 h 6557032"/>
              <a:gd name="connsiteX6" fmla="*/ 1222679 w 4610101"/>
              <a:gd name="connsiteY6" fmla="*/ 6557032 h 6557032"/>
              <a:gd name="connsiteX7" fmla="*/ 1200814 w 4610101"/>
              <a:gd name="connsiteY7" fmla="*/ 6555210 h 6557032"/>
              <a:gd name="connsiteX8" fmla="*/ 1177124 w 4610101"/>
              <a:gd name="connsiteY8" fmla="*/ 6533343 h 6557032"/>
              <a:gd name="connsiteX9" fmla="*/ 1191703 w 4610101"/>
              <a:gd name="connsiteY9" fmla="*/ 6502367 h 6557032"/>
              <a:gd name="connsiteX10" fmla="*/ 1191703 w 4610101"/>
              <a:gd name="connsiteY10" fmla="*/ 6495078 h 6557032"/>
              <a:gd name="connsiteX11" fmla="*/ 1193525 w 4610101"/>
              <a:gd name="connsiteY11" fmla="*/ 6482323 h 6557032"/>
              <a:gd name="connsiteX12" fmla="*/ 2674951 w 4610101"/>
              <a:gd name="connsiteY12" fmla="*/ 6438590 h 6557032"/>
              <a:gd name="connsiteX13" fmla="*/ 2684062 w 4610101"/>
              <a:gd name="connsiteY13" fmla="*/ 6467745 h 6557032"/>
              <a:gd name="connsiteX14" fmla="*/ 2676773 w 4610101"/>
              <a:gd name="connsiteY14" fmla="*/ 6506010 h 6557032"/>
              <a:gd name="connsiteX15" fmla="*/ 2645796 w 4610101"/>
              <a:gd name="connsiteY15" fmla="*/ 6520588 h 6557032"/>
              <a:gd name="connsiteX16" fmla="*/ 2623930 w 4610101"/>
              <a:gd name="connsiteY16" fmla="*/ 6489611 h 6557032"/>
              <a:gd name="connsiteX17" fmla="*/ 2623930 w 4610101"/>
              <a:gd name="connsiteY17" fmla="*/ 6467745 h 6557032"/>
              <a:gd name="connsiteX18" fmla="*/ 2674951 w 4610101"/>
              <a:gd name="connsiteY18" fmla="*/ 6438590 h 6557032"/>
              <a:gd name="connsiteX19" fmla="*/ 2556511 w 4610101"/>
              <a:gd name="connsiteY19" fmla="*/ 6391214 h 6557032"/>
              <a:gd name="connsiteX20" fmla="*/ 2549222 w 4610101"/>
              <a:gd name="connsiteY20" fmla="*/ 6422191 h 6557032"/>
              <a:gd name="connsiteX21" fmla="*/ 2525534 w 4610101"/>
              <a:gd name="connsiteY21" fmla="*/ 6398503 h 6557032"/>
              <a:gd name="connsiteX22" fmla="*/ 2436248 w 4610101"/>
              <a:gd name="connsiteY22" fmla="*/ 6383925 h 6557032"/>
              <a:gd name="connsiteX23" fmla="*/ 2459936 w 4610101"/>
              <a:gd name="connsiteY23" fmla="*/ 6414902 h 6557032"/>
              <a:gd name="connsiteX24" fmla="*/ 2459936 w 4610101"/>
              <a:gd name="connsiteY24" fmla="*/ 6422191 h 6557032"/>
              <a:gd name="connsiteX25" fmla="*/ 2428959 w 4610101"/>
              <a:gd name="connsiteY25" fmla="*/ 6444057 h 6557032"/>
              <a:gd name="connsiteX26" fmla="*/ 2421670 w 4610101"/>
              <a:gd name="connsiteY26" fmla="*/ 6422191 h 6557032"/>
              <a:gd name="connsiteX27" fmla="*/ 2436248 w 4610101"/>
              <a:gd name="connsiteY27" fmla="*/ 6383925 h 6557032"/>
              <a:gd name="connsiteX28" fmla="*/ 1869551 w 4610101"/>
              <a:gd name="connsiteY28" fmla="*/ 6331082 h 6557032"/>
              <a:gd name="connsiteX29" fmla="*/ 1867729 w 4610101"/>
              <a:gd name="connsiteY29" fmla="*/ 6347482 h 6557032"/>
              <a:gd name="connsiteX30" fmla="*/ 1853151 w 4610101"/>
              <a:gd name="connsiteY30" fmla="*/ 6332904 h 6557032"/>
              <a:gd name="connsiteX31" fmla="*/ 1166191 w 4610101"/>
              <a:gd name="connsiteY31" fmla="*/ 6329260 h 6557032"/>
              <a:gd name="connsiteX32" fmla="*/ 1160725 w 4610101"/>
              <a:gd name="connsiteY32" fmla="*/ 6362059 h 6557032"/>
              <a:gd name="connsiteX33" fmla="*/ 1144325 w 4610101"/>
              <a:gd name="connsiteY33" fmla="*/ 6352948 h 6557032"/>
              <a:gd name="connsiteX34" fmla="*/ 2208475 w 4610101"/>
              <a:gd name="connsiteY34" fmla="*/ 6301927 h 6557032"/>
              <a:gd name="connsiteX35" fmla="*/ 2230341 w 4610101"/>
              <a:gd name="connsiteY35" fmla="*/ 6316504 h 6557032"/>
              <a:gd name="connsiteX36" fmla="*/ 2208475 w 4610101"/>
              <a:gd name="connsiteY36" fmla="*/ 6301927 h 6557032"/>
              <a:gd name="connsiteX37" fmla="*/ 1002195 w 4610101"/>
              <a:gd name="connsiteY37" fmla="*/ 6301927 h 6557032"/>
              <a:gd name="connsiteX38" fmla="*/ 1033173 w 4610101"/>
              <a:gd name="connsiteY38" fmla="*/ 6316504 h 6557032"/>
              <a:gd name="connsiteX39" fmla="*/ 1033173 w 4610101"/>
              <a:gd name="connsiteY39" fmla="*/ 6340193 h 6557032"/>
              <a:gd name="connsiteX40" fmla="*/ 1011306 w 4610101"/>
              <a:gd name="connsiteY40" fmla="*/ 6362059 h 6557032"/>
              <a:gd name="connsiteX41" fmla="*/ 980330 w 4610101"/>
              <a:gd name="connsiteY41" fmla="*/ 6340193 h 6557032"/>
              <a:gd name="connsiteX42" fmla="*/ 980330 w 4610101"/>
              <a:gd name="connsiteY42" fmla="*/ 6332904 h 6557032"/>
              <a:gd name="connsiteX43" fmla="*/ 1002195 w 4610101"/>
              <a:gd name="connsiteY43" fmla="*/ 6301927 h 6557032"/>
              <a:gd name="connsiteX44" fmla="*/ 1747465 w 4610101"/>
              <a:gd name="connsiteY44" fmla="*/ 6292816 h 6557032"/>
              <a:gd name="connsiteX45" fmla="*/ 1749287 w 4610101"/>
              <a:gd name="connsiteY45" fmla="*/ 6309216 h 6557032"/>
              <a:gd name="connsiteX46" fmla="*/ 1732887 w 4610101"/>
              <a:gd name="connsiteY46" fmla="*/ 6307393 h 6557032"/>
              <a:gd name="connsiteX47" fmla="*/ 2479980 w 4610101"/>
              <a:gd name="connsiteY47" fmla="*/ 6287349 h 6557032"/>
              <a:gd name="connsiteX48" fmla="*/ 2496379 w 4610101"/>
              <a:gd name="connsiteY48" fmla="*/ 6301927 h 6557032"/>
              <a:gd name="connsiteX49" fmla="*/ 2489091 w 4610101"/>
              <a:gd name="connsiteY49" fmla="*/ 6354770 h 6557032"/>
              <a:gd name="connsiteX50" fmla="*/ 2467224 w 4610101"/>
              <a:gd name="connsiteY50" fmla="*/ 6360236 h 6557032"/>
              <a:gd name="connsiteX51" fmla="*/ 2443536 w 4610101"/>
              <a:gd name="connsiteY51" fmla="*/ 6338370 h 6557032"/>
              <a:gd name="connsiteX52" fmla="*/ 2443536 w 4610101"/>
              <a:gd name="connsiteY52" fmla="*/ 6316504 h 6557032"/>
              <a:gd name="connsiteX53" fmla="*/ 2479980 w 4610101"/>
              <a:gd name="connsiteY53" fmla="*/ 6287349 h 6557032"/>
              <a:gd name="connsiteX54" fmla="*/ 2654907 w 4610101"/>
              <a:gd name="connsiteY54" fmla="*/ 6254551 h 6557032"/>
              <a:gd name="connsiteX55" fmla="*/ 2669485 w 4610101"/>
              <a:gd name="connsiteY55" fmla="*/ 6270951 h 6557032"/>
              <a:gd name="connsiteX56" fmla="*/ 2654907 w 4610101"/>
              <a:gd name="connsiteY56" fmla="*/ 6280062 h 6557032"/>
              <a:gd name="connsiteX57" fmla="*/ 2895435 w 4610101"/>
              <a:gd name="connsiteY57" fmla="*/ 6250906 h 6557032"/>
              <a:gd name="connsiteX58" fmla="*/ 2919123 w 4610101"/>
              <a:gd name="connsiteY58" fmla="*/ 6254551 h 6557032"/>
              <a:gd name="connsiteX59" fmla="*/ 2919123 w 4610101"/>
              <a:gd name="connsiteY59" fmla="*/ 6292817 h 6557032"/>
              <a:gd name="connsiteX60" fmla="*/ 2897257 w 4610101"/>
              <a:gd name="connsiteY60" fmla="*/ 6323793 h 6557032"/>
              <a:gd name="connsiteX61" fmla="*/ 2866281 w 4610101"/>
              <a:gd name="connsiteY61" fmla="*/ 6309216 h 6557032"/>
              <a:gd name="connsiteX62" fmla="*/ 2873569 w 4610101"/>
              <a:gd name="connsiteY62" fmla="*/ 6294639 h 6557032"/>
              <a:gd name="connsiteX63" fmla="*/ 2866281 w 4610101"/>
              <a:gd name="connsiteY63" fmla="*/ 6287350 h 6557032"/>
              <a:gd name="connsiteX64" fmla="*/ 2873569 w 4610101"/>
              <a:gd name="connsiteY64" fmla="*/ 6270950 h 6557032"/>
              <a:gd name="connsiteX65" fmla="*/ 2864458 w 4610101"/>
              <a:gd name="connsiteY65" fmla="*/ 6256373 h 6557032"/>
              <a:gd name="connsiteX66" fmla="*/ 949353 w 4610101"/>
              <a:gd name="connsiteY66" fmla="*/ 6249084 h 6557032"/>
              <a:gd name="connsiteX67" fmla="*/ 965752 w 4610101"/>
              <a:gd name="connsiteY67" fmla="*/ 6249084 h 6557032"/>
              <a:gd name="connsiteX68" fmla="*/ 973041 w 4610101"/>
              <a:gd name="connsiteY68" fmla="*/ 6278239 h 6557032"/>
              <a:gd name="connsiteX69" fmla="*/ 985796 w 4610101"/>
              <a:gd name="connsiteY69" fmla="*/ 6287349 h 6557032"/>
              <a:gd name="connsiteX70" fmla="*/ 954819 w 4610101"/>
              <a:gd name="connsiteY70" fmla="*/ 6342015 h 6557032"/>
              <a:gd name="connsiteX71" fmla="*/ 918376 w 4610101"/>
              <a:gd name="connsiteY71" fmla="*/ 6309216 h 6557032"/>
              <a:gd name="connsiteX72" fmla="*/ 925666 w 4610101"/>
              <a:gd name="connsiteY72" fmla="*/ 6294639 h 6557032"/>
              <a:gd name="connsiteX73" fmla="*/ 911087 w 4610101"/>
              <a:gd name="connsiteY73" fmla="*/ 6294639 h 6557032"/>
              <a:gd name="connsiteX74" fmla="*/ 949353 w 4610101"/>
              <a:gd name="connsiteY74" fmla="*/ 6249084 h 6557032"/>
              <a:gd name="connsiteX75" fmla="*/ 1007663 w 4610101"/>
              <a:gd name="connsiteY75" fmla="*/ 6232685 h 6557032"/>
              <a:gd name="connsiteX76" fmla="*/ 1016774 w 4610101"/>
              <a:gd name="connsiteY76" fmla="*/ 6247263 h 6557032"/>
              <a:gd name="connsiteX77" fmla="*/ 1004018 w 4610101"/>
              <a:gd name="connsiteY77" fmla="*/ 6254552 h 6557032"/>
              <a:gd name="connsiteX78" fmla="*/ 993085 w 4610101"/>
              <a:gd name="connsiteY78" fmla="*/ 6247263 h 6557032"/>
              <a:gd name="connsiteX79" fmla="*/ 2057235 w 4610101"/>
              <a:gd name="connsiteY79" fmla="*/ 6232684 h 6557032"/>
              <a:gd name="connsiteX80" fmla="*/ 2088211 w 4610101"/>
              <a:gd name="connsiteY80" fmla="*/ 6239973 h 6557032"/>
              <a:gd name="connsiteX81" fmla="*/ 2084568 w 4610101"/>
              <a:gd name="connsiteY81" fmla="*/ 6254551 h 6557032"/>
              <a:gd name="connsiteX82" fmla="*/ 2088211 w 4610101"/>
              <a:gd name="connsiteY82" fmla="*/ 6278240 h 6557032"/>
              <a:gd name="connsiteX83" fmla="*/ 2111899 w 4610101"/>
              <a:gd name="connsiteY83" fmla="*/ 6314683 h 6557032"/>
              <a:gd name="connsiteX84" fmla="*/ 2124654 w 4610101"/>
              <a:gd name="connsiteY84" fmla="*/ 6323794 h 6557032"/>
              <a:gd name="connsiteX85" fmla="*/ 2131943 w 4610101"/>
              <a:gd name="connsiteY85" fmla="*/ 6343838 h 6557032"/>
              <a:gd name="connsiteX86" fmla="*/ 2128299 w 4610101"/>
              <a:gd name="connsiteY86" fmla="*/ 6365704 h 6557032"/>
              <a:gd name="connsiteX87" fmla="*/ 2122832 w 4610101"/>
              <a:gd name="connsiteY87" fmla="*/ 6387570 h 6557032"/>
              <a:gd name="connsiteX88" fmla="*/ 2110077 w 4610101"/>
              <a:gd name="connsiteY88" fmla="*/ 6403970 h 6557032"/>
              <a:gd name="connsiteX89" fmla="*/ 2088211 w 4610101"/>
              <a:gd name="connsiteY89" fmla="*/ 6403970 h 6557032"/>
              <a:gd name="connsiteX90" fmla="*/ 2066346 w 4610101"/>
              <a:gd name="connsiteY90" fmla="*/ 6365704 h 6557032"/>
              <a:gd name="connsiteX91" fmla="*/ 2066346 w 4610101"/>
              <a:gd name="connsiteY91" fmla="*/ 6358416 h 6557032"/>
              <a:gd name="connsiteX92" fmla="*/ 2073634 w 4610101"/>
              <a:gd name="connsiteY92" fmla="*/ 6343838 h 6557032"/>
              <a:gd name="connsiteX93" fmla="*/ 2066346 w 4610101"/>
              <a:gd name="connsiteY93" fmla="*/ 6329261 h 6557032"/>
              <a:gd name="connsiteX94" fmla="*/ 2088211 w 4610101"/>
              <a:gd name="connsiteY94" fmla="*/ 6307394 h 6557032"/>
              <a:gd name="connsiteX95" fmla="*/ 2080922 w 4610101"/>
              <a:gd name="connsiteY95" fmla="*/ 6285529 h 6557032"/>
              <a:gd name="connsiteX96" fmla="*/ 2059056 w 4610101"/>
              <a:gd name="connsiteY96" fmla="*/ 6292817 h 6557032"/>
              <a:gd name="connsiteX97" fmla="*/ 2049945 w 4610101"/>
              <a:gd name="connsiteY97" fmla="*/ 6278240 h 6557032"/>
              <a:gd name="connsiteX98" fmla="*/ 2057235 w 4610101"/>
              <a:gd name="connsiteY98" fmla="*/ 6232684 h 6557032"/>
              <a:gd name="connsiteX99" fmla="*/ 1213568 w 4610101"/>
              <a:gd name="connsiteY99" fmla="*/ 6232684 h 6557032"/>
              <a:gd name="connsiteX100" fmla="*/ 1259122 w 4610101"/>
              <a:gd name="connsiteY100" fmla="*/ 6278239 h 6557032"/>
              <a:gd name="connsiteX101" fmla="*/ 1259122 w 4610101"/>
              <a:gd name="connsiteY101" fmla="*/ 6292817 h 6557032"/>
              <a:gd name="connsiteX102" fmla="*/ 1246367 w 4610101"/>
              <a:gd name="connsiteY102" fmla="*/ 6316505 h 6557032"/>
              <a:gd name="connsiteX103" fmla="*/ 1239078 w 4610101"/>
              <a:gd name="connsiteY103" fmla="*/ 6345660 h 6557032"/>
              <a:gd name="connsiteX104" fmla="*/ 1275524 w 4610101"/>
              <a:gd name="connsiteY104" fmla="*/ 6378459 h 6557032"/>
              <a:gd name="connsiteX105" fmla="*/ 1268234 w 4610101"/>
              <a:gd name="connsiteY105" fmla="*/ 6391215 h 6557032"/>
              <a:gd name="connsiteX106" fmla="*/ 1280989 w 4610101"/>
              <a:gd name="connsiteY106" fmla="*/ 6407614 h 6557032"/>
              <a:gd name="connsiteX107" fmla="*/ 1266413 w 4610101"/>
              <a:gd name="connsiteY107" fmla="*/ 6424013 h 6557032"/>
              <a:gd name="connsiteX108" fmla="*/ 1275524 w 4610101"/>
              <a:gd name="connsiteY108" fmla="*/ 6438591 h 6557032"/>
              <a:gd name="connsiteX109" fmla="*/ 1268234 w 4610101"/>
              <a:gd name="connsiteY109" fmla="*/ 6453168 h 6557032"/>
              <a:gd name="connsiteX110" fmla="*/ 1275524 w 4610101"/>
              <a:gd name="connsiteY110" fmla="*/ 6475035 h 6557032"/>
              <a:gd name="connsiteX111" fmla="*/ 1253656 w 4610101"/>
              <a:gd name="connsiteY111" fmla="*/ 6475035 h 6557032"/>
              <a:gd name="connsiteX112" fmla="*/ 1253656 w 4610101"/>
              <a:gd name="connsiteY112" fmla="*/ 6460457 h 6557032"/>
              <a:gd name="connsiteX113" fmla="*/ 1248189 w 4610101"/>
              <a:gd name="connsiteY113" fmla="*/ 6454991 h 6557032"/>
              <a:gd name="connsiteX114" fmla="*/ 1239078 w 4610101"/>
              <a:gd name="connsiteY114" fmla="*/ 6460457 h 6557032"/>
              <a:gd name="connsiteX115" fmla="*/ 1239078 w 4610101"/>
              <a:gd name="connsiteY115" fmla="*/ 6445880 h 6557032"/>
              <a:gd name="connsiteX116" fmla="*/ 1208101 w 4610101"/>
              <a:gd name="connsiteY116" fmla="*/ 6445880 h 6557032"/>
              <a:gd name="connsiteX117" fmla="*/ 1215390 w 4610101"/>
              <a:gd name="connsiteY117" fmla="*/ 6431303 h 6557032"/>
              <a:gd name="connsiteX118" fmla="*/ 1208101 w 4610101"/>
              <a:gd name="connsiteY118" fmla="*/ 6416725 h 6557032"/>
              <a:gd name="connsiteX119" fmla="*/ 1208101 w 4610101"/>
              <a:gd name="connsiteY119" fmla="*/ 6378459 h 6557032"/>
              <a:gd name="connsiteX120" fmla="*/ 1229967 w 4610101"/>
              <a:gd name="connsiteY120" fmla="*/ 6340194 h 6557032"/>
              <a:gd name="connsiteX121" fmla="*/ 1182592 w 4610101"/>
              <a:gd name="connsiteY121" fmla="*/ 6369348 h 6557032"/>
              <a:gd name="connsiteX122" fmla="*/ 1198990 w 4610101"/>
              <a:gd name="connsiteY122" fmla="*/ 6325616 h 6557032"/>
              <a:gd name="connsiteX123" fmla="*/ 1177124 w 4610101"/>
              <a:gd name="connsiteY123" fmla="*/ 6309217 h 6557032"/>
              <a:gd name="connsiteX124" fmla="*/ 1177124 w 4610101"/>
              <a:gd name="connsiteY124" fmla="*/ 6287350 h 6557032"/>
              <a:gd name="connsiteX125" fmla="*/ 1191703 w 4610101"/>
              <a:gd name="connsiteY125" fmla="*/ 6278239 h 6557032"/>
              <a:gd name="connsiteX126" fmla="*/ 1182592 w 4610101"/>
              <a:gd name="connsiteY126" fmla="*/ 6263661 h 6557032"/>
              <a:gd name="connsiteX127" fmla="*/ 2261319 w 4610101"/>
              <a:gd name="connsiteY127" fmla="*/ 6225395 h 6557032"/>
              <a:gd name="connsiteX128" fmla="*/ 2285007 w 4610101"/>
              <a:gd name="connsiteY128" fmla="*/ 6234506 h 6557032"/>
              <a:gd name="connsiteX129" fmla="*/ 2299585 w 4610101"/>
              <a:gd name="connsiteY129" fmla="*/ 6227218 h 6557032"/>
              <a:gd name="connsiteX130" fmla="*/ 2306873 w 4610101"/>
              <a:gd name="connsiteY130" fmla="*/ 6265484 h 6557032"/>
              <a:gd name="connsiteX131" fmla="*/ 2306873 w 4610101"/>
              <a:gd name="connsiteY131" fmla="*/ 6280061 h 6557032"/>
              <a:gd name="connsiteX132" fmla="*/ 2290474 w 4610101"/>
              <a:gd name="connsiteY132" fmla="*/ 6318327 h 6557032"/>
              <a:gd name="connsiteX133" fmla="*/ 2268608 w 4610101"/>
              <a:gd name="connsiteY133" fmla="*/ 6301928 h 6557032"/>
              <a:gd name="connsiteX134" fmla="*/ 2268608 w 4610101"/>
              <a:gd name="connsiteY134" fmla="*/ 6323793 h 6557032"/>
              <a:gd name="connsiteX135" fmla="*/ 2261319 w 4610101"/>
              <a:gd name="connsiteY135" fmla="*/ 6301928 h 6557032"/>
              <a:gd name="connsiteX136" fmla="*/ 2254030 w 4610101"/>
              <a:gd name="connsiteY136" fmla="*/ 6287350 h 6557032"/>
              <a:gd name="connsiteX137" fmla="*/ 2254030 w 4610101"/>
              <a:gd name="connsiteY137" fmla="*/ 6249085 h 6557032"/>
              <a:gd name="connsiteX138" fmla="*/ 1833107 w 4610101"/>
              <a:gd name="connsiteY138" fmla="*/ 6174375 h 6557032"/>
              <a:gd name="connsiteX139" fmla="*/ 1854975 w 4610101"/>
              <a:gd name="connsiteY139" fmla="*/ 6181664 h 6557032"/>
              <a:gd name="connsiteX140" fmla="*/ 1864084 w 4610101"/>
              <a:gd name="connsiteY140" fmla="*/ 6196241 h 6557032"/>
              <a:gd name="connsiteX141" fmla="*/ 1856796 w 4610101"/>
              <a:gd name="connsiteY141" fmla="*/ 6208996 h 6557032"/>
              <a:gd name="connsiteX142" fmla="*/ 1871374 w 4610101"/>
              <a:gd name="connsiteY142" fmla="*/ 6227218 h 6557032"/>
              <a:gd name="connsiteX143" fmla="*/ 1851329 w 4610101"/>
              <a:gd name="connsiteY143" fmla="*/ 6241795 h 6557032"/>
              <a:gd name="connsiteX144" fmla="*/ 1825820 w 4610101"/>
              <a:gd name="connsiteY144" fmla="*/ 6219930 h 6557032"/>
              <a:gd name="connsiteX145" fmla="*/ 1833107 w 4610101"/>
              <a:gd name="connsiteY145" fmla="*/ 6205352 h 6557032"/>
              <a:gd name="connsiteX146" fmla="*/ 1833107 w 4610101"/>
              <a:gd name="connsiteY146" fmla="*/ 6174375 h 6557032"/>
              <a:gd name="connsiteX147" fmla="*/ 2955567 w 4610101"/>
              <a:gd name="connsiteY147" fmla="*/ 6150686 h 6557032"/>
              <a:gd name="connsiteX148" fmla="*/ 2977433 w 4610101"/>
              <a:gd name="connsiteY148" fmla="*/ 6152509 h 6557032"/>
              <a:gd name="connsiteX149" fmla="*/ 2993832 w 4610101"/>
              <a:gd name="connsiteY149" fmla="*/ 6165264 h 6557032"/>
              <a:gd name="connsiteX150" fmla="*/ 2993832 w 4610101"/>
              <a:gd name="connsiteY150" fmla="*/ 6203530 h 6557032"/>
              <a:gd name="connsiteX151" fmla="*/ 2971966 w 4610101"/>
              <a:gd name="connsiteY151" fmla="*/ 6225395 h 6557032"/>
              <a:gd name="connsiteX152" fmla="*/ 2940989 w 4610101"/>
              <a:gd name="connsiteY152" fmla="*/ 6203530 h 6557032"/>
              <a:gd name="connsiteX153" fmla="*/ 2940989 w 4610101"/>
              <a:gd name="connsiteY153" fmla="*/ 6165264 h 6557032"/>
              <a:gd name="connsiteX154" fmla="*/ 2352428 w 4610101"/>
              <a:gd name="connsiteY154" fmla="*/ 6143399 h 6557032"/>
              <a:gd name="connsiteX155" fmla="*/ 2357894 w 4610101"/>
              <a:gd name="connsiteY155" fmla="*/ 6156155 h 6557032"/>
              <a:gd name="connsiteX156" fmla="*/ 2350606 w 4610101"/>
              <a:gd name="connsiteY156" fmla="*/ 6167088 h 6557032"/>
              <a:gd name="connsiteX157" fmla="*/ 2336028 w 4610101"/>
              <a:gd name="connsiteY157" fmla="*/ 6152510 h 6557032"/>
              <a:gd name="connsiteX158" fmla="*/ 2674952 w 4610101"/>
              <a:gd name="connsiteY158" fmla="*/ 6136109 h 6557032"/>
              <a:gd name="connsiteX159" fmla="*/ 2698640 w 4610101"/>
              <a:gd name="connsiteY159" fmla="*/ 6163443 h 6557032"/>
              <a:gd name="connsiteX160" fmla="*/ 2689529 w 4610101"/>
              <a:gd name="connsiteY160" fmla="*/ 6178020 h 6557032"/>
              <a:gd name="connsiteX161" fmla="*/ 2698640 w 4610101"/>
              <a:gd name="connsiteY161" fmla="*/ 6192598 h 6557032"/>
              <a:gd name="connsiteX162" fmla="*/ 2689529 w 4610101"/>
              <a:gd name="connsiteY162" fmla="*/ 6218108 h 6557032"/>
              <a:gd name="connsiteX163" fmla="*/ 2658552 w 4610101"/>
              <a:gd name="connsiteY163" fmla="*/ 6208997 h 6557032"/>
              <a:gd name="connsiteX164" fmla="*/ 2653085 w 4610101"/>
              <a:gd name="connsiteY164" fmla="*/ 6239974 h 6557032"/>
              <a:gd name="connsiteX165" fmla="*/ 2645797 w 4610101"/>
              <a:gd name="connsiteY165" fmla="*/ 6201709 h 6557032"/>
              <a:gd name="connsiteX166" fmla="*/ 2645797 w 4610101"/>
              <a:gd name="connsiteY166" fmla="*/ 6179842 h 6557032"/>
              <a:gd name="connsiteX167" fmla="*/ 2645797 w 4610101"/>
              <a:gd name="connsiteY167" fmla="*/ 6172554 h 6557032"/>
              <a:gd name="connsiteX168" fmla="*/ 2674952 w 4610101"/>
              <a:gd name="connsiteY168" fmla="*/ 6136109 h 6557032"/>
              <a:gd name="connsiteX169" fmla="*/ 1619913 w 4610101"/>
              <a:gd name="connsiteY169" fmla="*/ 6103311 h 6557032"/>
              <a:gd name="connsiteX170" fmla="*/ 1627202 w 4610101"/>
              <a:gd name="connsiteY170" fmla="*/ 6119711 h 6557032"/>
              <a:gd name="connsiteX171" fmla="*/ 1619913 w 4610101"/>
              <a:gd name="connsiteY171" fmla="*/ 6128822 h 6557032"/>
              <a:gd name="connsiteX172" fmla="*/ 1603513 w 4610101"/>
              <a:gd name="connsiteY172" fmla="*/ 6119711 h 6557032"/>
              <a:gd name="connsiteX173" fmla="*/ 721581 w 4610101"/>
              <a:gd name="connsiteY173" fmla="*/ 6096021 h 6557032"/>
              <a:gd name="connsiteX174" fmla="*/ 730691 w 4610101"/>
              <a:gd name="connsiteY174" fmla="*/ 6112421 h 6557032"/>
              <a:gd name="connsiteX175" fmla="*/ 707003 w 4610101"/>
              <a:gd name="connsiteY175" fmla="*/ 6110599 h 6557032"/>
              <a:gd name="connsiteX176" fmla="*/ 920198 w 4610101"/>
              <a:gd name="connsiteY176" fmla="*/ 6068688 h 6557032"/>
              <a:gd name="connsiteX177" fmla="*/ 942064 w 4610101"/>
              <a:gd name="connsiteY177" fmla="*/ 6106954 h 6557032"/>
              <a:gd name="connsiteX178" fmla="*/ 942064 w 4610101"/>
              <a:gd name="connsiteY178" fmla="*/ 6128820 h 6557032"/>
              <a:gd name="connsiteX179" fmla="*/ 943886 w 4610101"/>
              <a:gd name="connsiteY179" fmla="*/ 6145220 h 6557032"/>
              <a:gd name="connsiteX180" fmla="*/ 905621 w 4610101"/>
              <a:gd name="connsiteY180" fmla="*/ 6159797 h 6557032"/>
              <a:gd name="connsiteX181" fmla="*/ 883755 w 4610101"/>
              <a:gd name="connsiteY181" fmla="*/ 6145220 h 6557032"/>
              <a:gd name="connsiteX182" fmla="*/ 869177 w 4610101"/>
              <a:gd name="connsiteY182" fmla="*/ 6114243 h 6557032"/>
              <a:gd name="connsiteX183" fmla="*/ 891043 w 4610101"/>
              <a:gd name="connsiteY183" fmla="*/ 6099665 h 6557032"/>
              <a:gd name="connsiteX184" fmla="*/ 891043 w 4610101"/>
              <a:gd name="connsiteY184" fmla="*/ 6077799 h 6557032"/>
              <a:gd name="connsiteX185" fmla="*/ 1073262 w 4610101"/>
              <a:gd name="connsiteY185" fmla="*/ 6066868 h 6557032"/>
              <a:gd name="connsiteX186" fmla="*/ 1058683 w 4610101"/>
              <a:gd name="connsiteY186" fmla="*/ 6097845 h 6557032"/>
              <a:gd name="connsiteX187" fmla="*/ 1049572 w 4610101"/>
              <a:gd name="connsiteY187" fmla="*/ 6117889 h 6557032"/>
              <a:gd name="connsiteX188" fmla="*/ 1040461 w 4610101"/>
              <a:gd name="connsiteY188" fmla="*/ 6112423 h 6557032"/>
              <a:gd name="connsiteX189" fmla="*/ 1073262 w 4610101"/>
              <a:gd name="connsiteY189" fmla="*/ 6066868 h 6557032"/>
              <a:gd name="connsiteX190" fmla="*/ 1184414 w 4610101"/>
              <a:gd name="connsiteY190" fmla="*/ 6046823 h 6557032"/>
              <a:gd name="connsiteX191" fmla="*/ 1198991 w 4610101"/>
              <a:gd name="connsiteY191" fmla="*/ 6068690 h 6557032"/>
              <a:gd name="connsiteX192" fmla="*/ 1198991 w 4610101"/>
              <a:gd name="connsiteY192" fmla="*/ 6092379 h 6557032"/>
              <a:gd name="connsiteX193" fmla="*/ 1189880 w 4610101"/>
              <a:gd name="connsiteY193" fmla="*/ 6106956 h 6557032"/>
              <a:gd name="connsiteX194" fmla="*/ 1198991 w 4610101"/>
              <a:gd name="connsiteY194" fmla="*/ 6137933 h 6557032"/>
              <a:gd name="connsiteX195" fmla="*/ 1182592 w 4610101"/>
              <a:gd name="connsiteY195" fmla="*/ 6159799 h 6557032"/>
              <a:gd name="connsiteX196" fmla="*/ 1162547 w 4610101"/>
              <a:gd name="connsiteY196" fmla="*/ 6145221 h 6557032"/>
              <a:gd name="connsiteX197" fmla="*/ 1169835 w 4610101"/>
              <a:gd name="connsiteY197" fmla="*/ 6114244 h 6557032"/>
              <a:gd name="connsiteX198" fmla="*/ 1146148 w 4610101"/>
              <a:gd name="connsiteY198" fmla="*/ 6114244 h 6557032"/>
              <a:gd name="connsiteX199" fmla="*/ 1151614 w 4610101"/>
              <a:gd name="connsiteY199" fmla="*/ 6101489 h 6557032"/>
              <a:gd name="connsiteX200" fmla="*/ 1146148 w 4610101"/>
              <a:gd name="connsiteY200" fmla="*/ 6085090 h 6557032"/>
              <a:gd name="connsiteX201" fmla="*/ 2835303 w 4610101"/>
              <a:gd name="connsiteY201" fmla="*/ 6045000 h 6557032"/>
              <a:gd name="connsiteX202" fmla="*/ 2858991 w 4610101"/>
              <a:gd name="connsiteY202" fmla="*/ 6046823 h 6557032"/>
              <a:gd name="connsiteX203" fmla="*/ 2842592 w 4610101"/>
              <a:gd name="connsiteY203" fmla="*/ 6059577 h 6557032"/>
              <a:gd name="connsiteX204" fmla="*/ 1749287 w 4610101"/>
              <a:gd name="connsiteY204" fmla="*/ 6045000 h 6557032"/>
              <a:gd name="connsiteX205" fmla="*/ 1772975 w 4610101"/>
              <a:gd name="connsiteY205" fmla="*/ 6045000 h 6557032"/>
              <a:gd name="connsiteX206" fmla="*/ 1785730 w 4610101"/>
              <a:gd name="connsiteY206" fmla="*/ 6046823 h 6557032"/>
              <a:gd name="connsiteX207" fmla="*/ 1800308 w 4610101"/>
              <a:gd name="connsiteY207" fmla="*/ 6059578 h 6557032"/>
              <a:gd name="connsiteX208" fmla="*/ 1800308 w 4610101"/>
              <a:gd name="connsiteY208" fmla="*/ 6097844 h 6557032"/>
              <a:gd name="connsiteX209" fmla="*/ 1778442 w 4610101"/>
              <a:gd name="connsiteY209" fmla="*/ 6128821 h 6557032"/>
              <a:gd name="connsiteX210" fmla="*/ 1771154 w 4610101"/>
              <a:gd name="connsiteY210" fmla="*/ 6150687 h 6557032"/>
              <a:gd name="connsiteX211" fmla="*/ 1771154 w 4610101"/>
              <a:gd name="connsiteY211" fmla="*/ 6128821 h 6557032"/>
              <a:gd name="connsiteX212" fmla="*/ 1741998 w 4610101"/>
              <a:gd name="connsiteY212" fmla="*/ 6119710 h 6557032"/>
              <a:gd name="connsiteX213" fmla="*/ 1741998 w 4610101"/>
              <a:gd name="connsiteY213" fmla="*/ 6105133 h 6557032"/>
              <a:gd name="connsiteX214" fmla="*/ 1741998 w 4610101"/>
              <a:gd name="connsiteY214" fmla="*/ 6083267 h 6557032"/>
              <a:gd name="connsiteX215" fmla="*/ 1758398 w 4610101"/>
              <a:gd name="connsiteY215" fmla="*/ 6059578 h 6557032"/>
              <a:gd name="connsiteX216" fmla="*/ 2638508 w 4610101"/>
              <a:gd name="connsiteY216" fmla="*/ 6030424 h 6557032"/>
              <a:gd name="connsiteX217" fmla="*/ 2653086 w 4610101"/>
              <a:gd name="connsiteY217" fmla="*/ 6052290 h 6557032"/>
              <a:gd name="connsiteX218" fmla="*/ 2638508 w 4610101"/>
              <a:gd name="connsiteY218" fmla="*/ 6052290 h 6557032"/>
              <a:gd name="connsiteX219" fmla="*/ 827267 w 4610101"/>
              <a:gd name="connsiteY219" fmla="*/ 6023135 h 6557032"/>
              <a:gd name="connsiteX220" fmla="*/ 836378 w 4610101"/>
              <a:gd name="connsiteY220" fmla="*/ 6030424 h 6557032"/>
              <a:gd name="connsiteX221" fmla="*/ 827267 w 4610101"/>
              <a:gd name="connsiteY221" fmla="*/ 6052290 h 6557032"/>
              <a:gd name="connsiteX222" fmla="*/ 803578 w 4610101"/>
              <a:gd name="connsiteY222" fmla="*/ 6043179 h 6557032"/>
              <a:gd name="connsiteX223" fmla="*/ 2328738 w 4610101"/>
              <a:gd name="connsiteY223" fmla="*/ 6023134 h 6557032"/>
              <a:gd name="connsiteX224" fmla="*/ 2343316 w 4610101"/>
              <a:gd name="connsiteY224" fmla="*/ 6030423 h 6557032"/>
              <a:gd name="connsiteX225" fmla="*/ 2365182 w 4610101"/>
              <a:gd name="connsiteY225" fmla="*/ 6024957 h 6557032"/>
              <a:gd name="connsiteX226" fmla="*/ 2388870 w 4610101"/>
              <a:gd name="connsiteY226" fmla="*/ 6046824 h 6557032"/>
              <a:gd name="connsiteX227" fmla="*/ 2388870 w 4610101"/>
              <a:gd name="connsiteY227" fmla="*/ 6085090 h 6557032"/>
              <a:gd name="connsiteX228" fmla="*/ 2379759 w 4610101"/>
              <a:gd name="connsiteY228" fmla="*/ 6106955 h 6557032"/>
              <a:gd name="connsiteX229" fmla="*/ 2367004 w 4610101"/>
              <a:gd name="connsiteY229" fmla="*/ 6121533 h 6557032"/>
              <a:gd name="connsiteX230" fmla="*/ 2336027 w 4610101"/>
              <a:gd name="connsiteY230" fmla="*/ 6116066 h 6557032"/>
              <a:gd name="connsiteX231" fmla="*/ 2336027 w 4610101"/>
              <a:gd name="connsiteY231" fmla="*/ 6092378 h 6557032"/>
              <a:gd name="connsiteX232" fmla="*/ 2321449 w 4610101"/>
              <a:gd name="connsiteY232" fmla="*/ 6099667 h 6557032"/>
              <a:gd name="connsiteX233" fmla="*/ 2299583 w 4610101"/>
              <a:gd name="connsiteY233" fmla="*/ 6061401 h 6557032"/>
              <a:gd name="connsiteX234" fmla="*/ 2306872 w 4610101"/>
              <a:gd name="connsiteY234" fmla="*/ 6032245 h 6557032"/>
              <a:gd name="connsiteX235" fmla="*/ 2124655 w 4610101"/>
              <a:gd name="connsiteY235" fmla="*/ 5990336 h 6557032"/>
              <a:gd name="connsiteX236" fmla="*/ 2126477 w 4610101"/>
              <a:gd name="connsiteY236" fmla="*/ 6015847 h 6557032"/>
              <a:gd name="connsiteX237" fmla="*/ 2110077 w 4610101"/>
              <a:gd name="connsiteY237" fmla="*/ 6006736 h 6557032"/>
              <a:gd name="connsiteX238" fmla="*/ 1552492 w 4610101"/>
              <a:gd name="connsiteY238" fmla="*/ 5963002 h 6557032"/>
              <a:gd name="connsiteX239" fmla="*/ 1576181 w 4610101"/>
              <a:gd name="connsiteY239" fmla="*/ 5984870 h 6557032"/>
              <a:gd name="connsiteX240" fmla="*/ 1568892 w 4610101"/>
              <a:gd name="connsiteY240" fmla="*/ 6014024 h 6557032"/>
              <a:gd name="connsiteX241" fmla="*/ 1583469 w 4610101"/>
              <a:gd name="connsiteY241" fmla="*/ 6026779 h 6557032"/>
              <a:gd name="connsiteX242" fmla="*/ 1541559 w 4610101"/>
              <a:gd name="connsiteY242" fmla="*/ 6065045 h 6557032"/>
              <a:gd name="connsiteX243" fmla="*/ 1516049 w 4610101"/>
              <a:gd name="connsiteY243" fmla="*/ 6043179 h 6557032"/>
              <a:gd name="connsiteX244" fmla="*/ 1523339 w 4610101"/>
              <a:gd name="connsiteY244" fmla="*/ 6028602 h 6557032"/>
              <a:gd name="connsiteX245" fmla="*/ 1508760 w 4610101"/>
              <a:gd name="connsiteY245" fmla="*/ 6021313 h 6557032"/>
              <a:gd name="connsiteX246" fmla="*/ 1512405 w 4610101"/>
              <a:gd name="connsiteY246" fmla="*/ 5999447 h 6557032"/>
              <a:gd name="connsiteX247" fmla="*/ 1525160 w 4610101"/>
              <a:gd name="connsiteY247" fmla="*/ 5970291 h 6557032"/>
              <a:gd name="connsiteX248" fmla="*/ 1876839 w 4610101"/>
              <a:gd name="connsiteY248" fmla="*/ 5955714 h 6557032"/>
              <a:gd name="connsiteX249" fmla="*/ 1907816 w 4610101"/>
              <a:gd name="connsiteY249" fmla="*/ 5970292 h 6557032"/>
              <a:gd name="connsiteX250" fmla="*/ 1909639 w 4610101"/>
              <a:gd name="connsiteY250" fmla="*/ 5990336 h 6557032"/>
              <a:gd name="connsiteX251" fmla="*/ 1931505 w 4610101"/>
              <a:gd name="connsiteY251" fmla="*/ 6015847 h 6557032"/>
              <a:gd name="connsiteX252" fmla="*/ 1909639 w 4610101"/>
              <a:gd name="connsiteY252" fmla="*/ 6023135 h 6557032"/>
              <a:gd name="connsiteX253" fmla="*/ 1878662 w 4610101"/>
              <a:gd name="connsiteY253" fmla="*/ 6054112 h 6557032"/>
              <a:gd name="connsiteX254" fmla="*/ 1878662 w 4610101"/>
              <a:gd name="connsiteY254" fmla="*/ 6039535 h 6557032"/>
              <a:gd name="connsiteX255" fmla="*/ 1854973 w 4610101"/>
              <a:gd name="connsiteY255" fmla="*/ 6039535 h 6557032"/>
              <a:gd name="connsiteX256" fmla="*/ 1862262 w 4610101"/>
              <a:gd name="connsiteY256" fmla="*/ 6024958 h 6557032"/>
              <a:gd name="connsiteX257" fmla="*/ 1862262 w 4610101"/>
              <a:gd name="connsiteY257" fmla="*/ 5986692 h 6557032"/>
              <a:gd name="connsiteX258" fmla="*/ 1853151 w 4610101"/>
              <a:gd name="connsiteY258" fmla="*/ 5972115 h 6557032"/>
              <a:gd name="connsiteX259" fmla="*/ 1876839 w 4610101"/>
              <a:gd name="connsiteY259" fmla="*/ 5955714 h 6557032"/>
              <a:gd name="connsiteX260" fmla="*/ 2172033 w 4610101"/>
              <a:gd name="connsiteY260" fmla="*/ 5946604 h 6557032"/>
              <a:gd name="connsiteX261" fmla="*/ 2179321 w 4610101"/>
              <a:gd name="connsiteY261" fmla="*/ 5977581 h 6557032"/>
              <a:gd name="connsiteX262" fmla="*/ 2157455 w 4610101"/>
              <a:gd name="connsiteY262" fmla="*/ 5977581 h 6557032"/>
              <a:gd name="connsiteX263" fmla="*/ 2159277 w 4610101"/>
              <a:gd name="connsiteY263" fmla="*/ 5959359 h 6557032"/>
              <a:gd name="connsiteX264" fmla="*/ 2172033 w 4610101"/>
              <a:gd name="connsiteY264" fmla="*/ 5946604 h 6557032"/>
              <a:gd name="connsiteX265" fmla="*/ 858244 w 4610101"/>
              <a:gd name="connsiteY265" fmla="*/ 5930204 h 6557032"/>
              <a:gd name="connsiteX266" fmla="*/ 858244 w 4610101"/>
              <a:gd name="connsiteY266" fmla="*/ 5946604 h 6557032"/>
              <a:gd name="connsiteX267" fmla="*/ 841844 w 4610101"/>
              <a:gd name="connsiteY267" fmla="*/ 5944781 h 6557032"/>
              <a:gd name="connsiteX268" fmla="*/ 1115170 w 4610101"/>
              <a:gd name="connsiteY268" fmla="*/ 5908337 h 6557032"/>
              <a:gd name="connsiteX269" fmla="*/ 1155259 w 4610101"/>
              <a:gd name="connsiteY269" fmla="*/ 5924738 h 6557032"/>
              <a:gd name="connsiteX270" fmla="*/ 1146148 w 4610101"/>
              <a:gd name="connsiteY270" fmla="*/ 5953893 h 6557032"/>
              <a:gd name="connsiteX271" fmla="*/ 1160725 w 4610101"/>
              <a:gd name="connsiteY271" fmla="*/ 5953893 h 6557032"/>
              <a:gd name="connsiteX272" fmla="*/ 1144325 w 4610101"/>
              <a:gd name="connsiteY272" fmla="*/ 5977581 h 6557032"/>
              <a:gd name="connsiteX273" fmla="*/ 1149791 w 4610101"/>
              <a:gd name="connsiteY273" fmla="*/ 5988514 h 6557032"/>
              <a:gd name="connsiteX274" fmla="*/ 1142503 w 4610101"/>
              <a:gd name="connsiteY274" fmla="*/ 6006735 h 6557032"/>
              <a:gd name="connsiteX275" fmla="*/ 1137037 w 4610101"/>
              <a:gd name="connsiteY275" fmla="*/ 5988514 h 6557032"/>
              <a:gd name="connsiteX276" fmla="*/ 1116992 w 4610101"/>
              <a:gd name="connsiteY276" fmla="*/ 6012202 h 6557032"/>
              <a:gd name="connsiteX277" fmla="*/ 1084193 w 4610101"/>
              <a:gd name="connsiteY277" fmla="*/ 6004913 h 6557032"/>
              <a:gd name="connsiteX278" fmla="*/ 1093304 w 4610101"/>
              <a:gd name="connsiteY278" fmla="*/ 5975759 h 6557032"/>
              <a:gd name="connsiteX279" fmla="*/ 1086015 w 4610101"/>
              <a:gd name="connsiteY279" fmla="*/ 5968470 h 6557032"/>
              <a:gd name="connsiteX280" fmla="*/ 1091482 w 4610101"/>
              <a:gd name="connsiteY280" fmla="*/ 5953893 h 6557032"/>
              <a:gd name="connsiteX281" fmla="*/ 1084193 w 4610101"/>
              <a:gd name="connsiteY281" fmla="*/ 5924738 h 6557032"/>
              <a:gd name="connsiteX282" fmla="*/ 1115170 w 4610101"/>
              <a:gd name="connsiteY282" fmla="*/ 5908337 h 6557032"/>
              <a:gd name="connsiteX283" fmla="*/ 2707752 w 4610101"/>
              <a:gd name="connsiteY283" fmla="*/ 5893761 h 6557032"/>
              <a:gd name="connsiteX284" fmla="*/ 2705930 w 4610101"/>
              <a:gd name="connsiteY284" fmla="*/ 5919272 h 6557032"/>
              <a:gd name="connsiteX285" fmla="*/ 2682241 w 4610101"/>
              <a:gd name="connsiteY285" fmla="*/ 5895583 h 6557032"/>
              <a:gd name="connsiteX286" fmla="*/ 1328364 w 4610101"/>
              <a:gd name="connsiteY286" fmla="*/ 5891939 h 6557032"/>
              <a:gd name="connsiteX287" fmla="*/ 1341120 w 4610101"/>
              <a:gd name="connsiteY287" fmla="*/ 5908339 h 6557032"/>
              <a:gd name="connsiteX288" fmla="*/ 1326542 w 4610101"/>
              <a:gd name="connsiteY288" fmla="*/ 5917450 h 6557032"/>
              <a:gd name="connsiteX289" fmla="*/ 963930 w 4610101"/>
              <a:gd name="connsiteY289" fmla="*/ 5890116 h 6557032"/>
              <a:gd name="connsiteX290" fmla="*/ 978507 w 4610101"/>
              <a:gd name="connsiteY290" fmla="*/ 5895583 h 6557032"/>
              <a:gd name="connsiteX291" fmla="*/ 994906 w 4610101"/>
              <a:gd name="connsiteY291" fmla="*/ 5941137 h 6557032"/>
              <a:gd name="connsiteX292" fmla="*/ 956641 w 4610101"/>
              <a:gd name="connsiteY292" fmla="*/ 5963003 h 6557032"/>
              <a:gd name="connsiteX293" fmla="*/ 949352 w 4610101"/>
              <a:gd name="connsiteY293" fmla="*/ 5963003 h 6557032"/>
              <a:gd name="connsiteX294" fmla="*/ 918375 w 4610101"/>
              <a:gd name="connsiteY294" fmla="*/ 5946604 h 6557032"/>
              <a:gd name="connsiteX295" fmla="*/ 918375 w 4610101"/>
              <a:gd name="connsiteY295" fmla="*/ 5908338 h 6557032"/>
              <a:gd name="connsiteX296" fmla="*/ 934775 w 4610101"/>
              <a:gd name="connsiteY296" fmla="*/ 5895583 h 6557032"/>
              <a:gd name="connsiteX297" fmla="*/ 1297388 w 4610101"/>
              <a:gd name="connsiteY297" fmla="*/ 5864606 h 6557032"/>
              <a:gd name="connsiteX298" fmla="*/ 1319254 w 4610101"/>
              <a:gd name="connsiteY298" fmla="*/ 5864606 h 6557032"/>
              <a:gd name="connsiteX299" fmla="*/ 1319254 w 4610101"/>
              <a:gd name="connsiteY299" fmla="*/ 5886472 h 6557032"/>
              <a:gd name="connsiteX300" fmla="*/ 1304677 w 4610101"/>
              <a:gd name="connsiteY300" fmla="*/ 5886472 h 6557032"/>
              <a:gd name="connsiteX301" fmla="*/ 2305051 w 4610101"/>
              <a:gd name="connsiteY301" fmla="*/ 5855495 h 6557032"/>
              <a:gd name="connsiteX302" fmla="*/ 2321451 w 4610101"/>
              <a:gd name="connsiteY302" fmla="*/ 5877361 h 6557032"/>
              <a:gd name="connsiteX303" fmla="*/ 2294118 w 4610101"/>
              <a:gd name="connsiteY303" fmla="*/ 5884650 h 6557032"/>
              <a:gd name="connsiteX304" fmla="*/ 2283185 w 4610101"/>
              <a:gd name="connsiteY304" fmla="*/ 5877361 h 6557032"/>
              <a:gd name="connsiteX305" fmla="*/ 2795214 w 4610101"/>
              <a:gd name="connsiteY305" fmla="*/ 5848207 h 6557032"/>
              <a:gd name="connsiteX306" fmla="*/ 2797037 w 4610101"/>
              <a:gd name="connsiteY306" fmla="*/ 5871895 h 6557032"/>
              <a:gd name="connsiteX307" fmla="*/ 2780637 w 4610101"/>
              <a:gd name="connsiteY307" fmla="*/ 5862784 h 6557032"/>
              <a:gd name="connsiteX308" fmla="*/ 2080923 w 4610101"/>
              <a:gd name="connsiteY308" fmla="*/ 5848207 h 6557032"/>
              <a:gd name="connsiteX309" fmla="*/ 2102790 w 4610101"/>
              <a:gd name="connsiteY309" fmla="*/ 5848207 h 6557032"/>
              <a:gd name="connsiteX310" fmla="*/ 2095501 w 4610101"/>
              <a:gd name="connsiteY310" fmla="*/ 5879184 h 6557032"/>
              <a:gd name="connsiteX311" fmla="*/ 2080923 w 4610101"/>
              <a:gd name="connsiteY311" fmla="*/ 5848207 h 6557032"/>
              <a:gd name="connsiteX312" fmla="*/ 2518244 w 4610101"/>
              <a:gd name="connsiteY312" fmla="*/ 5848206 h 6557032"/>
              <a:gd name="connsiteX313" fmla="*/ 2541933 w 4610101"/>
              <a:gd name="connsiteY313" fmla="*/ 5848206 h 6557032"/>
              <a:gd name="connsiteX314" fmla="*/ 2554688 w 4610101"/>
              <a:gd name="connsiteY314" fmla="*/ 5850028 h 6557032"/>
              <a:gd name="connsiteX315" fmla="*/ 2571088 w 4610101"/>
              <a:gd name="connsiteY315" fmla="*/ 5862783 h 6557032"/>
              <a:gd name="connsiteX316" fmla="*/ 2571088 w 4610101"/>
              <a:gd name="connsiteY316" fmla="*/ 5884650 h 6557032"/>
              <a:gd name="connsiteX317" fmla="*/ 2549221 w 4610101"/>
              <a:gd name="connsiteY317" fmla="*/ 5937493 h 6557032"/>
              <a:gd name="connsiteX318" fmla="*/ 2527355 w 4610101"/>
              <a:gd name="connsiteY318" fmla="*/ 5930204 h 6557032"/>
              <a:gd name="connsiteX319" fmla="*/ 2505489 w 4610101"/>
              <a:gd name="connsiteY319" fmla="*/ 5901049 h 6557032"/>
              <a:gd name="connsiteX320" fmla="*/ 2512778 w 4610101"/>
              <a:gd name="connsiteY320" fmla="*/ 5871894 h 6557032"/>
              <a:gd name="connsiteX321" fmla="*/ 2527355 w 4610101"/>
              <a:gd name="connsiteY321" fmla="*/ 5862783 h 6557032"/>
              <a:gd name="connsiteX322" fmla="*/ 2760595 w 4610101"/>
              <a:gd name="connsiteY322" fmla="*/ 5824518 h 6557032"/>
              <a:gd name="connsiteX323" fmla="*/ 2766061 w 4610101"/>
              <a:gd name="connsiteY323" fmla="*/ 5855495 h 6557032"/>
              <a:gd name="connsiteX324" fmla="*/ 2744195 w 4610101"/>
              <a:gd name="connsiteY324" fmla="*/ 5840918 h 6557032"/>
              <a:gd name="connsiteX325" fmla="*/ 2760595 w 4610101"/>
              <a:gd name="connsiteY325" fmla="*/ 5824518 h 6557032"/>
              <a:gd name="connsiteX326" fmla="*/ 2292296 w 4610101"/>
              <a:gd name="connsiteY326" fmla="*/ 5811762 h 6557032"/>
              <a:gd name="connsiteX327" fmla="*/ 2283185 w 4610101"/>
              <a:gd name="connsiteY327" fmla="*/ 5828162 h 6557032"/>
              <a:gd name="connsiteX328" fmla="*/ 2268607 w 4610101"/>
              <a:gd name="connsiteY328" fmla="*/ 5813584 h 6557032"/>
              <a:gd name="connsiteX329" fmla="*/ 2004392 w 4610101"/>
              <a:gd name="connsiteY329" fmla="*/ 5795363 h 6557032"/>
              <a:gd name="connsiteX330" fmla="*/ 2011682 w 4610101"/>
              <a:gd name="connsiteY330" fmla="*/ 5809941 h 6557032"/>
              <a:gd name="connsiteX331" fmla="*/ 2004392 w 4610101"/>
              <a:gd name="connsiteY331" fmla="*/ 5819052 h 6557032"/>
              <a:gd name="connsiteX332" fmla="*/ 1989814 w 4610101"/>
              <a:gd name="connsiteY332" fmla="*/ 5809941 h 6557032"/>
              <a:gd name="connsiteX333" fmla="*/ 572162 w 4610101"/>
              <a:gd name="connsiteY333" fmla="*/ 5780785 h 6557032"/>
              <a:gd name="connsiteX334" fmla="*/ 588562 w 4610101"/>
              <a:gd name="connsiteY334" fmla="*/ 5782608 h 6557032"/>
              <a:gd name="connsiteX335" fmla="*/ 573984 w 4610101"/>
              <a:gd name="connsiteY335" fmla="*/ 5797185 h 6557032"/>
              <a:gd name="connsiteX336" fmla="*/ 2268608 w 4610101"/>
              <a:gd name="connsiteY336" fmla="*/ 5771675 h 6557032"/>
              <a:gd name="connsiteX337" fmla="*/ 2268608 w 4610101"/>
              <a:gd name="connsiteY337" fmla="*/ 5795363 h 6557032"/>
              <a:gd name="connsiteX338" fmla="*/ 2244919 w 4610101"/>
              <a:gd name="connsiteY338" fmla="*/ 5795363 h 6557032"/>
              <a:gd name="connsiteX339" fmla="*/ 1944260 w 4610101"/>
              <a:gd name="connsiteY339" fmla="*/ 5758920 h 6557032"/>
              <a:gd name="connsiteX340" fmla="*/ 1966126 w 4610101"/>
              <a:gd name="connsiteY340" fmla="*/ 5782609 h 6557032"/>
              <a:gd name="connsiteX341" fmla="*/ 1958837 w 4610101"/>
              <a:gd name="connsiteY341" fmla="*/ 5804475 h 6557032"/>
              <a:gd name="connsiteX342" fmla="*/ 1947904 w 4610101"/>
              <a:gd name="connsiteY342" fmla="*/ 5782609 h 6557032"/>
              <a:gd name="connsiteX343" fmla="*/ 1741999 w 4610101"/>
              <a:gd name="connsiteY343" fmla="*/ 5758919 h 6557032"/>
              <a:gd name="connsiteX344" fmla="*/ 1732888 w 4610101"/>
              <a:gd name="connsiteY344" fmla="*/ 5775319 h 6557032"/>
              <a:gd name="connsiteX345" fmla="*/ 1716488 w 4610101"/>
              <a:gd name="connsiteY345" fmla="*/ 5760742 h 6557032"/>
              <a:gd name="connsiteX346" fmla="*/ 1712844 w 4610101"/>
              <a:gd name="connsiteY346" fmla="*/ 5758919 h 6557032"/>
              <a:gd name="connsiteX347" fmla="*/ 1701911 w 4610101"/>
              <a:gd name="connsiteY347" fmla="*/ 5775319 h 6557032"/>
              <a:gd name="connsiteX348" fmla="*/ 1687333 w 4610101"/>
              <a:gd name="connsiteY348" fmla="*/ 5760742 h 6557032"/>
              <a:gd name="connsiteX349" fmla="*/ 2503667 w 4610101"/>
              <a:gd name="connsiteY349" fmla="*/ 5751630 h 6557032"/>
              <a:gd name="connsiteX350" fmla="*/ 2520067 w 4610101"/>
              <a:gd name="connsiteY350" fmla="*/ 5751630 h 6557032"/>
              <a:gd name="connsiteX351" fmla="*/ 2505490 w 4610101"/>
              <a:gd name="connsiteY351" fmla="*/ 5768030 h 6557032"/>
              <a:gd name="connsiteX352" fmla="*/ 2818904 w 4610101"/>
              <a:gd name="connsiteY352" fmla="*/ 5704255 h 6557032"/>
              <a:gd name="connsiteX353" fmla="*/ 2826193 w 4610101"/>
              <a:gd name="connsiteY353" fmla="*/ 5718833 h 6557032"/>
              <a:gd name="connsiteX354" fmla="*/ 2818904 w 4610101"/>
              <a:gd name="connsiteY354" fmla="*/ 5729766 h 6557032"/>
              <a:gd name="connsiteX355" fmla="*/ 2804326 w 4610101"/>
              <a:gd name="connsiteY355" fmla="*/ 5718833 h 6557032"/>
              <a:gd name="connsiteX356" fmla="*/ 1674579 w 4610101"/>
              <a:gd name="connsiteY356" fmla="*/ 5693321 h 6557032"/>
              <a:gd name="connsiteX357" fmla="*/ 1681868 w 4610101"/>
              <a:gd name="connsiteY357" fmla="*/ 5715187 h 6557032"/>
              <a:gd name="connsiteX358" fmla="*/ 1681868 w 4610101"/>
              <a:gd name="connsiteY358" fmla="*/ 5722476 h 6557032"/>
              <a:gd name="connsiteX359" fmla="*/ 1665467 w 4610101"/>
              <a:gd name="connsiteY359" fmla="*/ 5753453 h 6557032"/>
              <a:gd name="connsiteX360" fmla="*/ 1643602 w 4610101"/>
              <a:gd name="connsiteY360" fmla="*/ 5737053 h 6557032"/>
              <a:gd name="connsiteX361" fmla="*/ 1643602 w 4610101"/>
              <a:gd name="connsiteY361" fmla="*/ 5698788 h 6557032"/>
              <a:gd name="connsiteX362" fmla="*/ 1975236 w 4610101"/>
              <a:gd name="connsiteY362" fmla="*/ 5689677 h 6557032"/>
              <a:gd name="connsiteX363" fmla="*/ 1989814 w 4610101"/>
              <a:gd name="connsiteY363" fmla="*/ 5724298 h 6557032"/>
              <a:gd name="connsiteX364" fmla="*/ 1967948 w 4610101"/>
              <a:gd name="connsiteY364" fmla="*/ 5720654 h 6557032"/>
              <a:gd name="connsiteX365" fmla="*/ 1975236 w 4610101"/>
              <a:gd name="connsiteY365" fmla="*/ 5689677 h 6557032"/>
              <a:gd name="connsiteX366" fmla="*/ 1055040 w 4610101"/>
              <a:gd name="connsiteY366" fmla="*/ 5689676 h 6557032"/>
              <a:gd name="connsiteX367" fmla="*/ 1069616 w 4610101"/>
              <a:gd name="connsiteY367" fmla="*/ 5689676 h 6557032"/>
              <a:gd name="connsiteX368" fmla="*/ 1084194 w 4610101"/>
              <a:gd name="connsiteY368" fmla="*/ 5689676 h 6557032"/>
              <a:gd name="connsiteX369" fmla="*/ 1106061 w 4610101"/>
              <a:gd name="connsiteY369" fmla="*/ 5726121 h 6557032"/>
              <a:gd name="connsiteX370" fmla="*/ 1098772 w 4610101"/>
              <a:gd name="connsiteY370" fmla="*/ 5755276 h 6557032"/>
              <a:gd name="connsiteX371" fmla="*/ 1062327 w 4610101"/>
              <a:gd name="connsiteY371" fmla="*/ 5795363 h 6557032"/>
              <a:gd name="connsiteX372" fmla="*/ 1047750 w 4610101"/>
              <a:gd name="connsiteY372" fmla="*/ 5795363 h 6557032"/>
              <a:gd name="connsiteX373" fmla="*/ 1044106 w 4610101"/>
              <a:gd name="connsiteY373" fmla="*/ 5809941 h 6557032"/>
              <a:gd name="connsiteX374" fmla="*/ 1033173 w 4610101"/>
              <a:gd name="connsiteY374" fmla="*/ 5817229 h 6557032"/>
              <a:gd name="connsiteX375" fmla="*/ 1024062 w 4610101"/>
              <a:gd name="connsiteY375" fmla="*/ 5811763 h 6557032"/>
              <a:gd name="connsiteX376" fmla="*/ 1031350 w 4610101"/>
              <a:gd name="connsiteY376" fmla="*/ 5797185 h 6557032"/>
              <a:gd name="connsiteX377" fmla="*/ 1024062 w 4610101"/>
              <a:gd name="connsiteY377" fmla="*/ 5780786 h 6557032"/>
              <a:gd name="connsiteX378" fmla="*/ 1031350 w 4610101"/>
              <a:gd name="connsiteY378" fmla="*/ 5766209 h 6557032"/>
              <a:gd name="connsiteX379" fmla="*/ 1007663 w 4610101"/>
              <a:gd name="connsiteY379" fmla="*/ 5764386 h 6557032"/>
              <a:gd name="connsiteX380" fmla="*/ 1024062 w 4610101"/>
              <a:gd name="connsiteY380" fmla="*/ 5751631 h 6557032"/>
              <a:gd name="connsiteX381" fmla="*/ 1016774 w 4610101"/>
              <a:gd name="connsiteY381" fmla="*/ 5720654 h 6557032"/>
              <a:gd name="connsiteX382" fmla="*/ 1033173 w 4610101"/>
              <a:gd name="connsiteY382" fmla="*/ 5698787 h 6557032"/>
              <a:gd name="connsiteX383" fmla="*/ 1198991 w 4610101"/>
              <a:gd name="connsiteY383" fmla="*/ 5684211 h 6557032"/>
              <a:gd name="connsiteX384" fmla="*/ 1198991 w 4610101"/>
              <a:gd name="connsiteY384" fmla="*/ 5706077 h 6557032"/>
              <a:gd name="connsiteX385" fmla="*/ 1168013 w 4610101"/>
              <a:gd name="connsiteY385" fmla="*/ 5698788 h 6557032"/>
              <a:gd name="connsiteX386" fmla="*/ 1198991 w 4610101"/>
              <a:gd name="connsiteY386" fmla="*/ 5684211 h 6557032"/>
              <a:gd name="connsiteX387" fmla="*/ 2849881 w 4610101"/>
              <a:gd name="connsiteY387" fmla="*/ 5667810 h 6557032"/>
              <a:gd name="connsiteX388" fmla="*/ 2875392 w 4610101"/>
              <a:gd name="connsiteY388" fmla="*/ 5669633 h 6557032"/>
              <a:gd name="connsiteX389" fmla="*/ 2858992 w 4610101"/>
              <a:gd name="connsiteY389" fmla="*/ 5682388 h 6557032"/>
              <a:gd name="connsiteX390" fmla="*/ 1771154 w 4610101"/>
              <a:gd name="connsiteY390" fmla="*/ 5645945 h 6557032"/>
              <a:gd name="connsiteX391" fmla="*/ 1772975 w 4610101"/>
              <a:gd name="connsiteY391" fmla="*/ 5675100 h 6557032"/>
              <a:gd name="connsiteX392" fmla="*/ 1763864 w 4610101"/>
              <a:gd name="connsiteY392" fmla="*/ 5653234 h 6557032"/>
              <a:gd name="connsiteX393" fmla="*/ 2888145 w 4610101"/>
              <a:gd name="connsiteY393" fmla="*/ 5645944 h 6557032"/>
              <a:gd name="connsiteX394" fmla="*/ 2902723 w 4610101"/>
              <a:gd name="connsiteY394" fmla="*/ 5660521 h 6557032"/>
              <a:gd name="connsiteX395" fmla="*/ 2888145 w 4610101"/>
              <a:gd name="connsiteY395" fmla="*/ 5660521 h 6557032"/>
              <a:gd name="connsiteX396" fmla="*/ 2215765 w 4610101"/>
              <a:gd name="connsiteY396" fmla="*/ 5640478 h 6557032"/>
              <a:gd name="connsiteX397" fmla="*/ 2235808 w 4610101"/>
              <a:gd name="connsiteY397" fmla="*/ 5640478 h 6557032"/>
              <a:gd name="connsiteX398" fmla="*/ 2254030 w 4610101"/>
              <a:gd name="connsiteY398" fmla="*/ 5669634 h 6557032"/>
              <a:gd name="connsiteX399" fmla="*/ 2246742 w 4610101"/>
              <a:gd name="connsiteY399" fmla="*/ 5682390 h 6557032"/>
              <a:gd name="connsiteX400" fmla="*/ 2268608 w 4610101"/>
              <a:gd name="connsiteY400" fmla="*/ 5698789 h 6557032"/>
              <a:gd name="connsiteX401" fmla="*/ 2268608 w 4610101"/>
              <a:gd name="connsiteY401" fmla="*/ 5720655 h 6557032"/>
              <a:gd name="connsiteX402" fmla="*/ 2261319 w 4610101"/>
              <a:gd name="connsiteY402" fmla="*/ 5727944 h 6557032"/>
              <a:gd name="connsiteX403" fmla="*/ 2264963 w 4610101"/>
              <a:gd name="connsiteY403" fmla="*/ 5749810 h 6557032"/>
              <a:gd name="connsiteX404" fmla="*/ 2261319 w 4610101"/>
              <a:gd name="connsiteY404" fmla="*/ 5766210 h 6557032"/>
              <a:gd name="connsiteX405" fmla="*/ 2237631 w 4610101"/>
              <a:gd name="connsiteY405" fmla="*/ 5784431 h 6557032"/>
              <a:gd name="connsiteX406" fmla="*/ 2221231 w 4610101"/>
              <a:gd name="connsiteY406" fmla="*/ 5813586 h 6557032"/>
              <a:gd name="connsiteX407" fmla="*/ 2213942 w 4610101"/>
              <a:gd name="connsiteY407" fmla="*/ 5824519 h 6557032"/>
              <a:gd name="connsiteX408" fmla="*/ 2199365 w 4610101"/>
              <a:gd name="connsiteY408" fmla="*/ 5808119 h 6557032"/>
              <a:gd name="connsiteX409" fmla="*/ 2184788 w 4610101"/>
              <a:gd name="connsiteY409" fmla="*/ 5815408 h 6557032"/>
              <a:gd name="connsiteX410" fmla="*/ 2177498 w 4610101"/>
              <a:gd name="connsiteY410" fmla="*/ 5784431 h 6557032"/>
              <a:gd name="connsiteX411" fmla="*/ 2177498 w 4610101"/>
              <a:gd name="connsiteY411" fmla="*/ 5768031 h 6557032"/>
              <a:gd name="connsiteX412" fmla="*/ 2186610 w 4610101"/>
              <a:gd name="connsiteY412" fmla="*/ 5751632 h 6557032"/>
              <a:gd name="connsiteX413" fmla="*/ 2170209 w 4610101"/>
              <a:gd name="connsiteY413" fmla="*/ 5738877 h 6557032"/>
              <a:gd name="connsiteX414" fmla="*/ 2192076 w 4610101"/>
              <a:gd name="connsiteY414" fmla="*/ 5686034 h 6557032"/>
              <a:gd name="connsiteX415" fmla="*/ 2184788 w 4610101"/>
              <a:gd name="connsiteY415" fmla="*/ 5671456 h 6557032"/>
              <a:gd name="connsiteX416" fmla="*/ 2208476 w 4610101"/>
              <a:gd name="connsiteY416" fmla="*/ 5671456 h 6557032"/>
              <a:gd name="connsiteX417" fmla="*/ 2199365 w 4610101"/>
              <a:gd name="connsiteY417" fmla="*/ 5656878 h 6557032"/>
              <a:gd name="connsiteX418" fmla="*/ 1966125 w 4610101"/>
              <a:gd name="connsiteY418" fmla="*/ 5624079 h 6557032"/>
              <a:gd name="connsiteX419" fmla="*/ 1991636 w 4610101"/>
              <a:gd name="connsiteY419" fmla="*/ 5631368 h 6557032"/>
              <a:gd name="connsiteX420" fmla="*/ 1975236 w 4610101"/>
              <a:gd name="connsiteY420" fmla="*/ 5645946 h 6557032"/>
              <a:gd name="connsiteX421" fmla="*/ 2474513 w 4610101"/>
              <a:gd name="connsiteY421" fmla="*/ 5607680 h 6557032"/>
              <a:gd name="connsiteX422" fmla="*/ 2481802 w 4610101"/>
              <a:gd name="connsiteY422" fmla="*/ 5629547 h 6557032"/>
              <a:gd name="connsiteX423" fmla="*/ 2443536 w 4610101"/>
              <a:gd name="connsiteY423" fmla="*/ 5629547 h 6557032"/>
              <a:gd name="connsiteX424" fmla="*/ 2474513 w 4610101"/>
              <a:gd name="connsiteY424" fmla="*/ 5607680 h 6557032"/>
              <a:gd name="connsiteX425" fmla="*/ 1636313 w 4610101"/>
              <a:gd name="connsiteY425" fmla="*/ 5607680 h 6557032"/>
              <a:gd name="connsiteX426" fmla="*/ 1643602 w 4610101"/>
              <a:gd name="connsiteY426" fmla="*/ 5638657 h 6557032"/>
              <a:gd name="connsiteX427" fmla="*/ 1621735 w 4610101"/>
              <a:gd name="connsiteY427" fmla="*/ 5638657 h 6557032"/>
              <a:gd name="connsiteX428" fmla="*/ 1636313 w 4610101"/>
              <a:gd name="connsiteY428" fmla="*/ 5607680 h 6557032"/>
              <a:gd name="connsiteX429" fmla="*/ 1062329 w 4610101"/>
              <a:gd name="connsiteY429" fmla="*/ 5605857 h 6557032"/>
              <a:gd name="connsiteX430" fmla="*/ 1062329 w 4610101"/>
              <a:gd name="connsiteY430" fmla="*/ 5644123 h 6557032"/>
              <a:gd name="connsiteX431" fmla="*/ 1040462 w 4610101"/>
              <a:gd name="connsiteY431" fmla="*/ 5656878 h 6557032"/>
              <a:gd name="connsiteX432" fmla="*/ 1024062 w 4610101"/>
              <a:gd name="connsiteY432" fmla="*/ 5644123 h 6557032"/>
              <a:gd name="connsiteX433" fmla="*/ 1024062 w 4610101"/>
              <a:gd name="connsiteY433" fmla="*/ 5622257 h 6557032"/>
              <a:gd name="connsiteX434" fmla="*/ 1062329 w 4610101"/>
              <a:gd name="connsiteY434" fmla="*/ 5605857 h 6557032"/>
              <a:gd name="connsiteX435" fmla="*/ 2376115 w 4610101"/>
              <a:gd name="connsiteY435" fmla="*/ 5554836 h 6557032"/>
              <a:gd name="connsiteX436" fmla="*/ 2407092 w 4610101"/>
              <a:gd name="connsiteY436" fmla="*/ 5562125 h 6557032"/>
              <a:gd name="connsiteX437" fmla="*/ 2397981 w 4610101"/>
              <a:gd name="connsiteY437" fmla="*/ 5576703 h 6557032"/>
              <a:gd name="connsiteX438" fmla="*/ 2421669 w 4610101"/>
              <a:gd name="connsiteY438" fmla="*/ 5593103 h 6557032"/>
              <a:gd name="connsiteX439" fmla="*/ 2399803 w 4610101"/>
              <a:gd name="connsiteY439" fmla="*/ 5660523 h 6557032"/>
              <a:gd name="connsiteX440" fmla="*/ 2354249 w 4610101"/>
              <a:gd name="connsiteY440" fmla="*/ 5629546 h 6557032"/>
              <a:gd name="connsiteX441" fmla="*/ 2361538 w 4610101"/>
              <a:gd name="connsiteY441" fmla="*/ 5614969 h 6557032"/>
              <a:gd name="connsiteX442" fmla="*/ 2346960 w 4610101"/>
              <a:gd name="connsiteY442" fmla="*/ 5614969 h 6557032"/>
              <a:gd name="connsiteX443" fmla="*/ 2346960 w 4610101"/>
              <a:gd name="connsiteY443" fmla="*/ 5583992 h 6557032"/>
              <a:gd name="connsiteX444" fmla="*/ 2361538 w 4610101"/>
              <a:gd name="connsiteY444" fmla="*/ 5562125 h 6557032"/>
              <a:gd name="connsiteX445" fmla="*/ 2999300 w 4610101"/>
              <a:gd name="connsiteY445" fmla="*/ 5532970 h 6557032"/>
              <a:gd name="connsiteX446" fmla="*/ 3008410 w 4610101"/>
              <a:gd name="connsiteY446" fmla="*/ 5547548 h 6557032"/>
              <a:gd name="connsiteX447" fmla="*/ 3008410 w 4610101"/>
              <a:gd name="connsiteY447" fmla="*/ 5569414 h 6557032"/>
              <a:gd name="connsiteX448" fmla="*/ 2977433 w 4610101"/>
              <a:gd name="connsiteY448" fmla="*/ 5554837 h 6557032"/>
              <a:gd name="connsiteX449" fmla="*/ 2999300 w 4610101"/>
              <a:gd name="connsiteY449" fmla="*/ 5532970 h 6557032"/>
              <a:gd name="connsiteX450" fmla="*/ 2321450 w 4610101"/>
              <a:gd name="connsiteY450" fmla="*/ 5532970 h 6557032"/>
              <a:gd name="connsiteX451" fmla="*/ 2343316 w 4610101"/>
              <a:gd name="connsiteY451" fmla="*/ 5532970 h 6557032"/>
              <a:gd name="connsiteX452" fmla="*/ 2343316 w 4610101"/>
              <a:gd name="connsiteY452" fmla="*/ 5554837 h 6557032"/>
              <a:gd name="connsiteX453" fmla="*/ 2321450 w 4610101"/>
              <a:gd name="connsiteY453" fmla="*/ 5554837 h 6557032"/>
              <a:gd name="connsiteX454" fmla="*/ 1984347 w 4610101"/>
              <a:gd name="connsiteY454" fmla="*/ 5532970 h 6557032"/>
              <a:gd name="connsiteX455" fmla="*/ 2006214 w 4610101"/>
              <a:gd name="connsiteY455" fmla="*/ 5532970 h 6557032"/>
              <a:gd name="connsiteX456" fmla="*/ 2006214 w 4610101"/>
              <a:gd name="connsiteY456" fmla="*/ 5554837 h 6557032"/>
              <a:gd name="connsiteX457" fmla="*/ 1984347 w 4610101"/>
              <a:gd name="connsiteY457" fmla="*/ 5532970 h 6557032"/>
              <a:gd name="connsiteX458" fmla="*/ 3099518 w 4610101"/>
              <a:gd name="connsiteY458" fmla="*/ 5509281 h 6557032"/>
              <a:gd name="connsiteX459" fmla="*/ 3114095 w 4610101"/>
              <a:gd name="connsiteY459" fmla="*/ 5523858 h 6557032"/>
              <a:gd name="connsiteX460" fmla="*/ 3099518 w 4610101"/>
              <a:gd name="connsiteY460" fmla="*/ 5523858 h 6557032"/>
              <a:gd name="connsiteX461" fmla="*/ 2835303 w 4610101"/>
              <a:gd name="connsiteY461" fmla="*/ 5509281 h 6557032"/>
              <a:gd name="connsiteX462" fmla="*/ 2866280 w 4610101"/>
              <a:gd name="connsiteY462" fmla="*/ 5525681 h 6557032"/>
              <a:gd name="connsiteX463" fmla="*/ 2849880 w 4610101"/>
              <a:gd name="connsiteY463" fmla="*/ 5540258 h 6557032"/>
              <a:gd name="connsiteX464" fmla="*/ 2857169 w 4610101"/>
              <a:gd name="connsiteY464" fmla="*/ 5554836 h 6557032"/>
              <a:gd name="connsiteX465" fmla="*/ 2835303 w 4610101"/>
              <a:gd name="connsiteY465" fmla="*/ 5554836 h 6557032"/>
              <a:gd name="connsiteX466" fmla="*/ 2842592 w 4610101"/>
              <a:gd name="connsiteY466" fmla="*/ 5583990 h 6557032"/>
              <a:gd name="connsiteX467" fmla="*/ 2818903 w 4610101"/>
              <a:gd name="connsiteY467" fmla="*/ 5602212 h 6557032"/>
              <a:gd name="connsiteX468" fmla="*/ 2797037 w 4610101"/>
              <a:gd name="connsiteY468" fmla="*/ 5571235 h 6557032"/>
              <a:gd name="connsiteX469" fmla="*/ 2820726 w 4610101"/>
              <a:gd name="connsiteY469" fmla="*/ 5540258 h 6557032"/>
              <a:gd name="connsiteX470" fmla="*/ 2811615 w 4610101"/>
              <a:gd name="connsiteY470" fmla="*/ 5525681 h 6557032"/>
              <a:gd name="connsiteX471" fmla="*/ 2835303 w 4610101"/>
              <a:gd name="connsiteY471" fmla="*/ 5509281 h 6557032"/>
              <a:gd name="connsiteX472" fmla="*/ 1984348 w 4610101"/>
              <a:gd name="connsiteY472" fmla="*/ 5501993 h 6557032"/>
              <a:gd name="connsiteX473" fmla="*/ 1973416 w 4610101"/>
              <a:gd name="connsiteY473" fmla="*/ 5518393 h 6557032"/>
              <a:gd name="connsiteX474" fmla="*/ 1958837 w 4610101"/>
              <a:gd name="connsiteY474" fmla="*/ 5503815 h 6557032"/>
              <a:gd name="connsiteX475" fmla="*/ 1588935 w 4610101"/>
              <a:gd name="connsiteY475" fmla="*/ 5494704 h 6557032"/>
              <a:gd name="connsiteX476" fmla="*/ 1619912 w 4610101"/>
              <a:gd name="connsiteY476" fmla="*/ 5501993 h 6557032"/>
              <a:gd name="connsiteX477" fmla="*/ 1610801 w 4610101"/>
              <a:gd name="connsiteY477" fmla="*/ 5516572 h 6557032"/>
              <a:gd name="connsiteX478" fmla="*/ 1627201 w 4610101"/>
              <a:gd name="connsiteY478" fmla="*/ 5516572 h 6557032"/>
              <a:gd name="connsiteX479" fmla="*/ 1627201 w 4610101"/>
              <a:gd name="connsiteY479" fmla="*/ 5547549 h 6557032"/>
              <a:gd name="connsiteX480" fmla="*/ 1634489 w 4610101"/>
              <a:gd name="connsiteY480" fmla="*/ 5569414 h 6557032"/>
              <a:gd name="connsiteX481" fmla="*/ 1619912 w 4610101"/>
              <a:gd name="connsiteY481" fmla="*/ 5569414 h 6557032"/>
              <a:gd name="connsiteX482" fmla="*/ 1618090 w 4610101"/>
              <a:gd name="connsiteY482" fmla="*/ 5580348 h 6557032"/>
              <a:gd name="connsiteX483" fmla="*/ 1596225 w 4610101"/>
              <a:gd name="connsiteY483" fmla="*/ 5589458 h 6557032"/>
              <a:gd name="connsiteX484" fmla="*/ 1557958 w 4610101"/>
              <a:gd name="connsiteY484" fmla="*/ 5574881 h 6557032"/>
              <a:gd name="connsiteX485" fmla="*/ 1557958 w 4610101"/>
              <a:gd name="connsiteY485" fmla="*/ 5560304 h 6557032"/>
              <a:gd name="connsiteX486" fmla="*/ 1557958 w 4610101"/>
              <a:gd name="connsiteY486" fmla="*/ 5553015 h 6557032"/>
              <a:gd name="connsiteX487" fmla="*/ 1559781 w 4610101"/>
              <a:gd name="connsiteY487" fmla="*/ 5531149 h 6557032"/>
              <a:gd name="connsiteX488" fmla="*/ 1567069 w 4610101"/>
              <a:gd name="connsiteY488" fmla="*/ 5501993 h 6557032"/>
              <a:gd name="connsiteX489" fmla="*/ 1490539 w 4610101"/>
              <a:gd name="connsiteY489" fmla="*/ 5492882 h 6557032"/>
              <a:gd name="connsiteX490" fmla="*/ 1499650 w 4610101"/>
              <a:gd name="connsiteY490" fmla="*/ 5509282 h 6557032"/>
              <a:gd name="connsiteX491" fmla="*/ 1475961 w 4610101"/>
              <a:gd name="connsiteY491" fmla="*/ 5507459 h 6557032"/>
              <a:gd name="connsiteX492" fmla="*/ 2465401 w 4610101"/>
              <a:gd name="connsiteY492" fmla="*/ 5487415 h 6557032"/>
              <a:gd name="connsiteX493" fmla="*/ 2481801 w 4610101"/>
              <a:gd name="connsiteY493" fmla="*/ 5489238 h 6557032"/>
              <a:gd name="connsiteX494" fmla="*/ 2467223 w 4610101"/>
              <a:gd name="connsiteY494" fmla="*/ 5503815 h 6557032"/>
              <a:gd name="connsiteX495" fmla="*/ 1011307 w 4610101"/>
              <a:gd name="connsiteY495" fmla="*/ 5487415 h 6557032"/>
              <a:gd name="connsiteX496" fmla="*/ 1033173 w 4610101"/>
              <a:gd name="connsiteY496" fmla="*/ 5487415 h 6557032"/>
              <a:gd name="connsiteX497" fmla="*/ 1064151 w 4610101"/>
              <a:gd name="connsiteY497" fmla="*/ 5518393 h 6557032"/>
              <a:gd name="connsiteX498" fmla="*/ 1064151 w 4610101"/>
              <a:gd name="connsiteY498" fmla="*/ 5540259 h 6557032"/>
              <a:gd name="connsiteX499" fmla="*/ 1049572 w 4610101"/>
              <a:gd name="connsiteY499" fmla="*/ 5549370 h 6557032"/>
              <a:gd name="connsiteX500" fmla="*/ 1058683 w 4610101"/>
              <a:gd name="connsiteY500" fmla="*/ 5563948 h 6557032"/>
              <a:gd name="connsiteX501" fmla="*/ 1036818 w 4610101"/>
              <a:gd name="connsiteY501" fmla="*/ 5571236 h 6557032"/>
              <a:gd name="connsiteX502" fmla="*/ 1027707 w 4610101"/>
              <a:gd name="connsiteY502" fmla="*/ 5585813 h 6557032"/>
              <a:gd name="connsiteX503" fmla="*/ 1034995 w 4610101"/>
              <a:gd name="connsiteY503" fmla="*/ 5600391 h 6557032"/>
              <a:gd name="connsiteX504" fmla="*/ 1011307 w 4610101"/>
              <a:gd name="connsiteY504" fmla="*/ 5600391 h 6557032"/>
              <a:gd name="connsiteX505" fmla="*/ 1018596 w 4610101"/>
              <a:gd name="connsiteY505" fmla="*/ 5585813 h 6557032"/>
              <a:gd name="connsiteX506" fmla="*/ 996729 w 4610101"/>
              <a:gd name="connsiteY506" fmla="*/ 5583992 h 6557032"/>
              <a:gd name="connsiteX507" fmla="*/ 983974 w 4610101"/>
              <a:gd name="connsiteY507" fmla="*/ 5571236 h 6557032"/>
              <a:gd name="connsiteX508" fmla="*/ 983974 w 4610101"/>
              <a:gd name="connsiteY508" fmla="*/ 5518393 h 6557032"/>
              <a:gd name="connsiteX509" fmla="*/ 2804327 w 4610101"/>
              <a:gd name="connsiteY509" fmla="*/ 5463728 h 6557032"/>
              <a:gd name="connsiteX510" fmla="*/ 2811616 w 4610101"/>
              <a:gd name="connsiteY510" fmla="*/ 5478305 h 6557032"/>
              <a:gd name="connsiteX511" fmla="*/ 2804327 w 4610101"/>
              <a:gd name="connsiteY511" fmla="*/ 5487416 h 6557032"/>
              <a:gd name="connsiteX512" fmla="*/ 2787927 w 4610101"/>
              <a:gd name="connsiteY512" fmla="*/ 5478305 h 6557032"/>
              <a:gd name="connsiteX513" fmla="*/ 1530626 w 4610101"/>
              <a:gd name="connsiteY513" fmla="*/ 5449149 h 6557032"/>
              <a:gd name="connsiteX514" fmla="*/ 1545204 w 4610101"/>
              <a:gd name="connsiteY514" fmla="*/ 5463727 h 6557032"/>
              <a:gd name="connsiteX515" fmla="*/ 1530626 w 4610101"/>
              <a:gd name="connsiteY515" fmla="*/ 5463727 h 6557032"/>
              <a:gd name="connsiteX516" fmla="*/ 2804326 w 4610101"/>
              <a:gd name="connsiteY516" fmla="*/ 5432750 h 6557032"/>
              <a:gd name="connsiteX517" fmla="*/ 2804326 w 4610101"/>
              <a:gd name="connsiteY517" fmla="*/ 5449150 h 6557032"/>
              <a:gd name="connsiteX518" fmla="*/ 2787926 w 4610101"/>
              <a:gd name="connsiteY518" fmla="*/ 5447328 h 6557032"/>
              <a:gd name="connsiteX519" fmla="*/ 971219 w 4610101"/>
              <a:gd name="connsiteY519" fmla="*/ 5412707 h 6557032"/>
              <a:gd name="connsiteX520" fmla="*/ 971219 w 4610101"/>
              <a:gd name="connsiteY520" fmla="*/ 5434574 h 6557032"/>
              <a:gd name="connsiteX521" fmla="*/ 1175302 w 4610101"/>
              <a:gd name="connsiteY521" fmla="*/ 5410884 h 6557032"/>
              <a:gd name="connsiteX522" fmla="*/ 1191703 w 4610101"/>
              <a:gd name="connsiteY522" fmla="*/ 5427284 h 6557032"/>
              <a:gd name="connsiteX523" fmla="*/ 1175302 w 4610101"/>
              <a:gd name="connsiteY523" fmla="*/ 5427284 h 6557032"/>
              <a:gd name="connsiteX524" fmla="*/ 3287202 w 4610101"/>
              <a:gd name="connsiteY524" fmla="*/ 5396306 h 6557032"/>
              <a:gd name="connsiteX525" fmla="*/ 3287202 w 4610101"/>
              <a:gd name="connsiteY525" fmla="*/ 5412706 h 6557032"/>
              <a:gd name="connsiteX526" fmla="*/ 3270802 w 4610101"/>
              <a:gd name="connsiteY526" fmla="*/ 5398129 h 6557032"/>
              <a:gd name="connsiteX527" fmla="*/ 2332383 w 4610101"/>
              <a:gd name="connsiteY527" fmla="*/ 5387197 h 6557032"/>
              <a:gd name="connsiteX528" fmla="*/ 2350605 w 4610101"/>
              <a:gd name="connsiteY528" fmla="*/ 5410886 h 6557032"/>
              <a:gd name="connsiteX529" fmla="*/ 2343316 w 4610101"/>
              <a:gd name="connsiteY529" fmla="*/ 5419997 h 6557032"/>
              <a:gd name="connsiteX530" fmla="*/ 2321450 w 4610101"/>
              <a:gd name="connsiteY530" fmla="*/ 5398130 h 6557032"/>
              <a:gd name="connsiteX531" fmla="*/ 752558 w 4610101"/>
              <a:gd name="connsiteY531" fmla="*/ 5381730 h 6557032"/>
              <a:gd name="connsiteX532" fmla="*/ 767136 w 4610101"/>
              <a:gd name="connsiteY532" fmla="*/ 5381730 h 6557032"/>
              <a:gd name="connsiteX533" fmla="*/ 776246 w 4610101"/>
              <a:gd name="connsiteY533" fmla="*/ 5403596 h 6557032"/>
              <a:gd name="connsiteX534" fmla="*/ 759848 w 4610101"/>
              <a:gd name="connsiteY534" fmla="*/ 5412707 h 6557032"/>
              <a:gd name="connsiteX535" fmla="*/ 2292295 w 4610101"/>
              <a:gd name="connsiteY535" fmla="*/ 5374442 h 6557032"/>
              <a:gd name="connsiteX536" fmla="*/ 2297761 w 4610101"/>
              <a:gd name="connsiteY536" fmla="*/ 5387197 h 6557032"/>
              <a:gd name="connsiteX537" fmla="*/ 2290472 w 4610101"/>
              <a:gd name="connsiteY537" fmla="*/ 5398130 h 6557032"/>
              <a:gd name="connsiteX538" fmla="*/ 2277717 w 4610101"/>
              <a:gd name="connsiteY538" fmla="*/ 5381731 h 6557032"/>
              <a:gd name="connsiteX539" fmla="*/ 2653086 w 4610101"/>
              <a:gd name="connsiteY539" fmla="*/ 5352575 h 6557032"/>
              <a:gd name="connsiteX540" fmla="*/ 2684063 w 4610101"/>
              <a:gd name="connsiteY540" fmla="*/ 5374442 h 6557032"/>
              <a:gd name="connsiteX541" fmla="*/ 2653086 w 4610101"/>
              <a:gd name="connsiteY541" fmla="*/ 5352575 h 6557032"/>
              <a:gd name="connsiteX542" fmla="*/ 2301406 w 4610101"/>
              <a:gd name="connsiteY542" fmla="*/ 5350753 h 6557032"/>
              <a:gd name="connsiteX543" fmla="*/ 2292295 w 4610101"/>
              <a:gd name="connsiteY543" fmla="*/ 5374442 h 6557032"/>
              <a:gd name="connsiteX544" fmla="*/ 2285006 w 4610101"/>
              <a:gd name="connsiteY544" fmla="*/ 5359864 h 6557032"/>
              <a:gd name="connsiteX545" fmla="*/ 3077652 w 4610101"/>
              <a:gd name="connsiteY545" fmla="*/ 5337998 h 6557032"/>
              <a:gd name="connsiteX546" fmla="*/ 3066719 w 4610101"/>
              <a:gd name="connsiteY546" fmla="*/ 5376263 h 6557032"/>
              <a:gd name="connsiteX547" fmla="*/ 3044853 w 4610101"/>
              <a:gd name="connsiteY547" fmla="*/ 5354398 h 6557032"/>
              <a:gd name="connsiteX548" fmla="*/ 3077652 w 4610101"/>
              <a:gd name="connsiteY548" fmla="*/ 5337998 h 6557032"/>
              <a:gd name="connsiteX549" fmla="*/ 2592955 w 4610101"/>
              <a:gd name="connsiteY549" fmla="*/ 5336175 h 6557032"/>
              <a:gd name="connsiteX550" fmla="*/ 2603887 w 4610101"/>
              <a:gd name="connsiteY550" fmla="*/ 5358041 h 6557032"/>
              <a:gd name="connsiteX551" fmla="*/ 2594777 w 4610101"/>
              <a:gd name="connsiteY551" fmla="*/ 5372619 h 6557032"/>
              <a:gd name="connsiteX552" fmla="*/ 2587488 w 4610101"/>
              <a:gd name="connsiteY552" fmla="*/ 5394484 h 6557032"/>
              <a:gd name="connsiteX553" fmla="*/ 2549222 w 4610101"/>
              <a:gd name="connsiteY553" fmla="*/ 5372619 h 6557032"/>
              <a:gd name="connsiteX554" fmla="*/ 2549222 w 4610101"/>
              <a:gd name="connsiteY554" fmla="*/ 5350752 h 6557032"/>
              <a:gd name="connsiteX555" fmla="*/ 2592955 w 4610101"/>
              <a:gd name="connsiteY555" fmla="*/ 5336175 h 6557032"/>
              <a:gd name="connsiteX556" fmla="*/ 2993833 w 4610101"/>
              <a:gd name="connsiteY556" fmla="*/ 5319776 h 6557032"/>
              <a:gd name="connsiteX557" fmla="*/ 3024810 w 4610101"/>
              <a:gd name="connsiteY557" fmla="*/ 5334353 h 6557032"/>
              <a:gd name="connsiteX558" fmla="*/ 3010233 w 4610101"/>
              <a:gd name="connsiteY558" fmla="*/ 5372619 h 6557032"/>
              <a:gd name="connsiteX559" fmla="*/ 2971967 w 4610101"/>
              <a:gd name="connsiteY559" fmla="*/ 5358041 h 6557032"/>
              <a:gd name="connsiteX560" fmla="*/ 2971967 w 4610101"/>
              <a:gd name="connsiteY560" fmla="*/ 5336176 h 6557032"/>
              <a:gd name="connsiteX561" fmla="*/ 2993833 w 4610101"/>
              <a:gd name="connsiteY561" fmla="*/ 5319776 h 6557032"/>
              <a:gd name="connsiteX562" fmla="*/ 819978 w 4610101"/>
              <a:gd name="connsiteY562" fmla="*/ 5307020 h 6557032"/>
              <a:gd name="connsiteX563" fmla="*/ 858244 w 4610101"/>
              <a:gd name="connsiteY563" fmla="*/ 5307020 h 6557032"/>
              <a:gd name="connsiteX564" fmla="*/ 881932 w 4610101"/>
              <a:gd name="connsiteY564" fmla="*/ 5337997 h 6557032"/>
              <a:gd name="connsiteX565" fmla="*/ 867355 w 4610101"/>
              <a:gd name="connsiteY565" fmla="*/ 5352575 h 6557032"/>
              <a:gd name="connsiteX566" fmla="*/ 872821 w 4610101"/>
              <a:gd name="connsiteY566" fmla="*/ 5365330 h 6557032"/>
              <a:gd name="connsiteX567" fmla="*/ 834556 w 4610101"/>
              <a:gd name="connsiteY567" fmla="*/ 5396307 h 6557032"/>
              <a:gd name="connsiteX568" fmla="*/ 819978 w 4610101"/>
              <a:gd name="connsiteY568" fmla="*/ 5374441 h 6557032"/>
              <a:gd name="connsiteX569" fmla="*/ 798112 w 4610101"/>
              <a:gd name="connsiteY569" fmla="*/ 5352575 h 6557032"/>
              <a:gd name="connsiteX570" fmla="*/ 819978 w 4610101"/>
              <a:gd name="connsiteY570" fmla="*/ 5307020 h 6557032"/>
              <a:gd name="connsiteX571" fmla="*/ 2795214 w 4610101"/>
              <a:gd name="connsiteY571" fmla="*/ 5305199 h 6557032"/>
              <a:gd name="connsiteX572" fmla="*/ 2797037 w 4610101"/>
              <a:gd name="connsiteY572" fmla="*/ 5328888 h 6557032"/>
              <a:gd name="connsiteX573" fmla="*/ 2780637 w 4610101"/>
              <a:gd name="connsiteY573" fmla="*/ 5319777 h 6557032"/>
              <a:gd name="connsiteX574" fmla="*/ 2292295 w 4610101"/>
              <a:gd name="connsiteY574" fmla="*/ 5290622 h 6557032"/>
              <a:gd name="connsiteX575" fmla="*/ 2299584 w 4610101"/>
              <a:gd name="connsiteY575" fmla="*/ 5290622 h 6557032"/>
              <a:gd name="connsiteX576" fmla="*/ 2299584 w 4610101"/>
              <a:gd name="connsiteY576" fmla="*/ 5328888 h 6557032"/>
              <a:gd name="connsiteX577" fmla="*/ 2292295 w 4610101"/>
              <a:gd name="connsiteY577" fmla="*/ 5290622 h 6557032"/>
              <a:gd name="connsiteX578" fmla="*/ 2350605 w 4610101"/>
              <a:gd name="connsiteY578" fmla="*/ 5261466 h 6557032"/>
              <a:gd name="connsiteX579" fmla="*/ 2376116 w 4610101"/>
              <a:gd name="connsiteY579" fmla="*/ 5261466 h 6557032"/>
              <a:gd name="connsiteX580" fmla="*/ 2367005 w 4610101"/>
              <a:gd name="connsiteY580" fmla="*/ 5277866 h 6557032"/>
              <a:gd name="connsiteX581" fmla="*/ 1357521 w 4610101"/>
              <a:gd name="connsiteY581" fmla="*/ 5259644 h 6557032"/>
              <a:gd name="connsiteX582" fmla="*/ 1372097 w 4610101"/>
              <a:gd name="connsiteY582" fmla="*/ 5276044 h 6557032"/>
              <a:gd name="connsiteX583" fmla="*/ 1350231 w 4610101"/>
              <a:gd name="connsiteY583" fmla="*/ 5285155 h 6557032"/>
              <a:gd name="connsiteX584" fmla="*/ 2857169 w 4610101"/>
              <a:gd name="connsiteY584" fmla="*/ 5246888 h 6557032"/>
              <a:gd name="connsiteX585" fmla="*/ 2888146 w 4610101"/>
              <a:gd name="connsiteY585" fmla="*/ 5261465 h 6557032"/>
              <a:gd name="connsiteX586" fmla="*/ 2886324 w 4610101"/>
              <a:gd name="connsiteY586" fmla="*/ 5285153 h 6557032"/>
              <a:gd name="connsiteX587" fmla="*/ 2879036 w 4610101"/>
              <a:gd name="connsiteY587" fmla="*/ 5297909 h 6557032"/>
              <a:gd name="connsiteX588" fmla="*/ 2857169 w 4610101"/>
              <a:gd name="connsiteY588" fmla="*/ 5307020 h 6557032"/>
              <a:gd name="connsiteX589" fmla="*/ 2857169 w 4610101"/>
              <a:gd name="connsiteY589" fmla="*/ 5246888 h 6557032"/>
              <a:gd name="connsiteX590" fmla="*/ 2556510 w 4610101"/>
              <a:gd name="connsiteY590" fmla="*/ 5245066 h 6557032"/>
              <a:gd name="connsiteX591" fmla="*/ 2572910 w 4610101"/>
              <a:gd name="connsiteY591" fmla="*/ 5246889 h 6557032"/>
              <a:gd name="connsiteX592" fmla="*/ 2558332 w 4610101"/>
              <a:gd name="connsiteY592" fmla="*/ 5261466 h 6557032"/>
              <a:gd name="connsiteX593" fmla="*/ 963930 w 4610101"/>
              <a:gd name="connsiteY593" fmla="*/ 5230488 h 6557032"/>
              <a:gd name="connsiteX594" fmla="*/ 985796 w 4610101"/>
              <a:gd name="connsiteY594" fmla="*/ 5232311 h 6557032"/>
              <a:gd name="connsiteX595" fmla="*/ 1018596 w 4610101"/>
              <a:gd name="connsiteY595" fmla="*/ 5261465 h 6557032"/>
              <a:gd name="connsiteX596" fmla="*/ 1011307 w 4610101"/>
              <a:gd name="connsiteY596" fmla="*/ 5274221 h 6557032"/>
              <a:gd name="connsiteX597" fmla="*/ 1022240 w 4610101"/>
              <a:gd name="connsiteY597" fmla="*/ 5288798 h 6557032"/>
              <a:gd name="connsiteX598" fmla="*/ 1007663 w 4610101"/>
              <a:gd name="connsiteY598" fmla="*/ 5305197 h 6557032"/>
              <a:gd name="connsiteX599" fmla="*/ 1016774 w 4610101"/>
              <a:gd name="connsiteY599" fmla="*/ 5327064 h 6557032"/>
              <a:gd name="connsiteX600" fmla="*/ 1007663 w 4610101"/>
              <a:gd name="connsiteY600" fmla="*/ 5337997 h 6557032"/>
              <a:gd name="connsiteX601" fmla="*/ 993085 w 4610101"/>
              <a:gd name="connsiteY601" fmla="*/ 5341641 h 6557032"/>
              <a:gd name="connsiteX602" fmla="*/ 996729 w 4610101"/>
              <a:gd name="connsiteY602" fmla="*/ 5356219 h 6557032"/>
              <a:gd name="connsiteX603" fmla="*/ 993085 w 4610101"/>
              <a:gd name="connsiteY603" fmla="*/ 5379907 h 6557032"/>
              <a:gd name="connsiteX604" fmla="*/ 976685 w 4610101"/>
              <a:gd name="connsiteY604" fmla="*/ 5350752 h 6557032"/>
              <a:gd name="connsiteX605" fmla="*/ 940242 w 4610101"/>
              <a:gd name="connsiteY605" fmla="*/ 5319775 h 6557032"/>
              <a:gd name="connsiteX606" fmla="*/ 940242 w 4610101"/>
              <a:gd name="connsiteY606" fmla="*/ 5305197 h 6557032"/>
              <a:gd name="connsiteX607" fmla="*/ 940242 w 4610101"/>
              <a:gd name="connsiteY607" fmla="*/ 5297909 h 6557032"/>
              <a:gd name="connsiteX608" fmla="*/ 932953 w 4610101"/>
              <a:gd name="connsiteY608" fmla="*/ 5283332 h 6557032"/>
              <a:gd name="connsiteX609" fmla="*/ 932953 w 4610101"/>
              <a:gd name="connsiteY609" fmla="*/ 5261465 h 6557032"/>
              <a:gd name="connsiteX610" fmla="*/ 1275522 w 4610101"/>
              <a:gd name="connsiteY610" fmla="*/ 5168536 h 6557032"/>
              <a:gd name="connsiteX611" fmla="*/ 1290100 w 4610101"/>
              <a:gd name="connsiteY611" fmla="*/ 5199513 h 6557032"/>
              <a:gd name="connsiteX612" fmla="*/ 1290100 w 4610101"/>
              <a:gd name="connsiteY612" fmla="*/ 5221379 h 6557032"/>
              <a:gd name="connsiteX613" fmla="*/ 1251833 w 4610101"/>
              <a:gd name="connsiteY613" fmla="*/ 5206802 h 6557032"/>
              <a:gd name="connsiteX614" fmla="*/ 1251833 w 4610101"/>
              <a:gd name="connsiteY614" fmla="*/ 5184936 h 6557032"/>
              <a:gd name="connsiteX615" fmla="*/ 2097323 w 4610101"/>
              <a:gd name="connsiteY615" fmla="*/ 5148492 h 6557032"/>
              <a:gd name="connsiteX616" fmla="*/ 2086390 w 4610101"/>
              <a:gd name="connsiteY616" fmla="*/ 5179469 h 6557032"/>
              <a:gd name="connsiteX617" fmla="*/ 2064524 w 4610101"/>
              <a:gd name="connsiteY617" fmla="*/ 5157603 h 6557032"/>
              <a:gd name="connsiteX618" fmla="*/ 1386674 w 4610101"/>
              <a:gd name="connsiteY618" fmla="*/ 5139380 h 6557032"/>
              <a:gd name="connsiteX619" fmla="*/ 1401252 w 4610101"/>
              <a:gd name="connsiteY619" fmla="*/ 5155780 h 6557032"/>
              <a:gd name="connsiteX620" fmla="*/ 1386674 w 4610101"/>
              <a:gd name="connsiteY620" fmla="*/ 5155780 h 6557032"/>
              <a:gd name="connsiteX621" fmla="*/ 819978 w 4610101"/>
              <a:gd name="connsiteY621" fmla="*/ 5117515 h 6557032"/>
              <a:gd name="connsiteX622" fmla="*/ 843667 w 4610101"/>
              <a:gd name="connsiteY622" fmla="*/ 5139381 h 6557032"/>
              <a:gd name="connsiteX623" fmla="*/ 827267 w 4610101"/>
              <a:gd name="connsiteY623" fmla="*/ 5148492 h 6557032"/>
              <a:gd name="connsiteX624" fmla="*/ 1884128 w 4610101"/>
              <a:gd name="connsiteY624" fmla="*/ 5115693 h 6557032"/>
              <a:gd name="connsiteX625" fmla="*/ 1891417 w 4610101"/>
              <a:gd name="connsiteY625" fmla="*/ 5132093 h 6557032"/>
              <a:gd name="connsiteX626" fmla="*/ 1878661 w 4610101"/>
              <a:gd name="connsiteY626" fmla="*/ 5139381 h 6557032"/>
              <a:gd name="connsiteX627" fmla="*/ 1867728 w 4610101"/>
              <a:gd name="connsiteY627" fmla="*/ 5130270 h 6557032"/>
              <a:gd name="connsiteX628" fmla="*/ 3022986 w 4610101"/>
              <a:gd name="connsiteY628" fmla="*/ 5086537 h 6557032"/>
              <a:gd name="connsiteX629" fmla="*/ 3046674 w 4610101"/>
              <a:gd name="connsiteY629" fmla="*/ 5092004 h 6557032"/>
              <a:gd name="connsiteX630" fmla="*/ 3068540 w 4610101"/>
              <a:gd name="connsiteY630" fmla="*/ 5095648 h 6557032"/>
              <a:gd name="connsiteX631" fmla="*/ 3077651 w 4610101"/>
              <a:gd name="connsiteY631" fmla="*/ 5124804 h 6557032"/>
              <a:gd name="connsiteX632" fmla="*/ 3077651 w 4610101"/>
              <a:gd name="connsiteY632" fmla="*/ 5141203 h 6557032"/>
              <a:gd name="connsiteX633" fmla="*/ 3077651 w 4610101"/>
              <a:gd name="connsiteY633" fmla="*/ 5155781 h 6557032"/>
              <a:gd name="connsiteX634" fmla="*/ 3061252 w 4610101"/>
              <a:gd name="connsiteY634" fmla="*/ 5186758 h 6557032"/>
              <a:gd name="connsiteX635" fmla="*/ 3015697 w 4610101"/>
              <a:gd name="connsiteY635" fmla="*/ 5177647 h 6557032"/>
              <a:gd name="connsiteX636" fmla="*/ 3022986 w 4610101"/>
              <a:gd name="connsiteY636" fmla="*/ 5163070 h 6557032"/>
              <a:gd name="connsiteX637" fmla="*/ 3010231 w 4610101"/>
              <a:gd name="connsiteY637" fmla="*/ 5153959 h 6557032"/>
              <a:gd name="connsiteX638" fmla="*/ 3002942 w 4610101"/>
              <a:gd name="connsiteY638" fmla="*/ 5132093 h 6557032"/>
              <a:gd name="connsiteX639" fmla="*/ 3010231 w 4610101"/>
              <a:gd name="connsiteY639" fmla="*/ 5102938 h 6557032"/>
              <a:gd name="connsiteX640" fmla="*/ 2472690 w 4610101"/>
              <a:gd name="connsiteY640" fmla="*/ 5079249 h 6557032"/>
              <a:gd name="connsiteX641" fmla="*/ 2489090 w 4610101"/>
              <a:gd name="connsiteY641" fmla="*/ 5088360 h 6557032"/>
              <a:gd name="connsiteX642" fmla="*/ 2474513 w 4610101"/>
              <a:gd name="connsiteY642" fmla="*/ 5104760 h 6557032"/>
              <a:gd name="connsiteX643" fmla="*/ 1740176 w 4610101"/>
              <a:gd name="connsiteY643" fmla="*/ 5073782 h 6557032"/>
              <a:gd name="connsiteX644" fmla="*/ 1793020 w 4610101"/>
              <a:gd name="connsiteY644" fmla="*/ 5126625 h 6557032"/>
              <a:gd name="connsiteX645" fmla="*/ 1814886 w 4610101"/>
              <a:gd name="connsiteY645" fmla="*/ 5128447 h 6557032"/>
              <a:gd name="connsiteX646" fmla="*/ 1838575 w 4610101"/>
              <a:gd name="connsiteY646" fmla="*/ 5150313 h 6557032"/>
              <a:gd name="connsiteX647" fmla="*/ 1838575 w 4610101"/>
              <a:gd name="connsiteY647" fmla="*/ 5172179 h 6557032"/>
              <a:gd name="connsiteX648" fmla="*/ 1862263 w 4610101"/>
              <a:gd name="connsiteY648" fmla="*/ 5203157 h 6557032"/>
              <a:gd name="connsiteX649" fmla="*/ 1856796 w 4610101"/>
              <a:gd name="connsiteY649" fmla="*/ 5215913 h 6557032"/>
              <a:gd name="connsiteX650" fmla="*/ 1862263 w 4610101"/>
              <a:gd name="connsiteY650" fmla="*/ 5232312 h 6557032"/>
              <a:gd name="connsiteX651" fmla="*/ 1854975 w 4610101"/>
              <a:gd name="connsiteY651" fmla="*/ 5246890 h 6557032"/>
              <a:gd name="connsiteX652" fmla="*/ 1854975 w 4610101"/>
              <a:gd name="connsiteY652" fmla="*/ 5261467 h 6557032"/>
              <a:gd name="connsiteX653" fmla="*/ 1862263 w 4610101"/>
              <a:gd name="connsiteY653" fmla="*/ 5283333 h 6557032"/>
              <a:gd name="connsiteX654" fmla="*/ 1847685 w 4610101"/>
              <a:gd name="connsiteY654" fmla="*/ 5305199 h 6557032"/>
              <a:gd name="connsiteX655" fmla="*/ 1845864 w 4610101"/>
              <a:gd name="connsiteY655" fmla="*/ 5305199 h 6557032"/>
              <a:gd name="connsiteX656" fmla="*/ 1845864 w 4610101"/>
              <a:gd name="connsiteY656" fmla="*/ 5323421 h 6557032"/>
              <a:gd name="connsiteX657" fmla="*/ 1785731 w 4610101"/>
              <a:gd name="connsiteY657" fmla="*/ 5376264 h 6557032"/>
              <a:gd name="connsiteX658" fmla="*/ 1763865 w 4610101"/>
              <a:gd name="connsiteY658" fmla="*/ 5405419 h 6557032"/>
              <a:gd name="connsiteX659" fmla="*/ 1778443 w 4610101"/>
              <a:gd name="connsiteY659" fmla="*/ 5443684 h 6557032"/>
              <a:gd name="connsiteX660" fmla="*/ 1769332 w 4610101"/>
              <a:gd name="connsiteY660" fmla="*/ 5458261 h 6557032"/>
              <a:gd name="connsiteX661" fmla="*/ 1769332 w 4610101"/>
              <a:gd name="connsiteY661" fmla="*/ 5472839 h 6557032"/>
              <a:gd name="connsiteX662" fmla="*/ 1769332 w 4610101"/>
              <a:gd name="connsiteY662" fmla="*/ 5494705 h 6557032"/>
              <a:gd name="connsiteX663" fmla="*/ 1769332 w 4610101"/>
              <a:gd name="connsiteY663" fmla="*/ 5509283 h 6557032"/>
              <a:gd name="connsiteX664" fmla="*/ 1740176 w 4610101"/>
              <a:gd name="connsiteY664" fmla="*/ 5523860 h 6557032"/>
              <a:gd name="connsiteX665" fmla="*/ 1709199 w 4610101"/>
              <a:gd name="connsiteY665" fmla="*/ 5485594 h 6557032"/>
              <a:gd name="connsiteX666" fmla="*/ 1723777 w 4610101"/>
              <a:gd name="connsiteY666" fmla="*/ 5432751 h 6557032"/>
              <a:gd name="connsiteX667" fmla="*/ 1692800 w 4610101"/>
              <a:gd name="connsiteY667" fmla="*/ 5440040 h 6557032"/>
              <a:gd name="connsiteX668" fmla="*/ 1684599 w 4610101"/>
              <a:gd name="connsiteY668" fmla="*/ 5433206 h 6557032"/>
              <a:gd name="connsiteX669" fmla="*/ 1681867 w 4610101"/>
              <a:gd name="connsiteY669" fmla="*/ 5430929 h 6557032"/>
              <a:gd name="connsiteX670" fmla="*/ 1678222 w 4610101"/>
              <a:gd name="connsiteY670" fmla="*/ 5418174 h 6557032"/>
              <a:gd name="connsiteX671" fmla="*/ 1632669 w 4610101"/>
              <a:gd name="connsiteY671" fmla="*/ 5403596 h 6557032"/>
              <a:gd name="connsiteX672" fmla="*/ 1625380 w 4610101"/>
              <a:gd name="connsiteY672" fmla="*/ 5403596 h 6557032"/>
              <a:gd name="connsiteX673" fmla="*/ 1610802 w 4610101"/>
              <a:gd name="connsiteY673" fmla="*/ 5401774 h 6557032"/>
              <a:gd name="connsiteX674" fmla="*/ 1587114 w 4610101"/>
              <a:gd name="connsiteY674" fmla="*/ 5372620 h 6557032"/>
              <a:gd name="connsiteX675" fmla="*/ 1565247 w 4610101"/>
              <a:gd name="connsiteY675" fmla="*/ 5372620 h 6557032"/>
              <a:gd name="connsiteX676" fmla="*/ 1548848 w 4610101"/>
              <a:gd name="connsiteY676" fmla="*/ 5350753 h 6557032"/>
              <a:gd name="connsiteX677" fmla="*/ 1526982 w 4610101"/>
              <a:gd name="connsiteY677" fmla="*/ 5343465 h 6557032"/>
              <a:gd name="connsiteX678" fmla="*/ 1534270 w 4610101"/>
              <a:gd name="connsiteY678" fmla="*/ 5321598 h 6557032"/>
              <a:gd name="connsiteX679" fmla="*/ 1526982 w 4610101"/>
              <a:gd name="connsiteY679" fmla="*/ 5299733 h 6557032"/>
              <a:gd name="connsiteX680" fmla="*/ 1488716 w 4610101"/>
              <a:gd name="connsiteY680" fmla="*/ 5314310 h 6557032"/>
              <a:gd name="connsiteX681" fmla="*/ 1474139 w 4610101"/>
              <a:gd name="connsiteY681" fmla="*/ 5314310 h 6557032"/>
              <a:gd name="connsiteX682" fmla="*/ 1443162 w 4610101"/>
              <a:gd name="connsiteY682" fmla="*/ 5290622 h 6557032"/>
              <a:gd name="connsiteX683" fmla="*/ 1450451 w 4610101"/>
              <a:gd name="connsiteY683" fmla="*/ 5270578 h 6557032"/>
              <a:gd name="connsiteX684" fmla="*/ 1443162 w 4610101"/>
              <a:gd name="connsiteY684" fmla="*/ 5261467 h 6557032"/>
              <a:gd name="connsiteX685" fmla="*/ 1421296 w 4610101"/>
              <a:gd name="connsiteY685" fmla="*/ 5277866 h 6557032"/>
              <a:gd name="connsiteX686" fmla="*/ 1406718 w 4610101"/>
              <a:gd name="connsiteY686" fmla="*/ 5246890 h 6557032"/>
              <a:gd name="connsiteX687" fmla="*/ 1421296 w 4610101"/>
              <a:gd name="connsiteY687" fmla="*/ 5215913 h 6557032"/>
              <a:gd name="connsiteX688" fmla="*/ 1414007 w 4610101"/>
              <a:gd name="connsiteY688" fmla="*/ 5201335 h 6557032"/>
              <a:gd name="connsiteX689" fmla="*/ 1423118 w 4610101"/>
              <a:gd name="connsiteY689" fmla="*/ 5190402 h 6557032"/>
              <a:gd name="connsiteX690" fmla="*/ 1437695 w 4610101"/>
              <a:gd name="connsiteY690" fmla="*/ 5186758 h 6557032"/>
              <a:gd name="connsiteX691" fmla="*/ 1428584 w 4610101"/>
              <a:gd name="connsiteY691" fmla="*/ 5172179 h 6557032"/>
              <a:gd name="connsiteX692" fmla="*/ 1452273 w 4610101"/>
              <a:gd name="connsiteY692" fmla="*/ 5164891 h 6557032"/>
              <a:gd name="connsiteX693" fmla="*/ 1481427 w 4610101"/>
              <a:gd name="connsiteY693" fmla="*/ 5172179 h 6557032"/>
              <a:gd name="connsiteX694" fmla="*/ 1497827 w 4610101"/>
              <a:gd name="connsiteY694" fmla="*/ 5184935 h 6557032"/>
              <a:gd name="connsiteX695" fmla="*/ 1497827 w 4610101"/>
              <a:gd name="connsiteY695" fmla="*/ 5199513 h 6557032"/>
              <a:gd name="connsiteX696" fmla="*/ 1497827 w 4610101"/>
              <a:gd name="connsiteY696" fmla="*/ 5206802 h 6557032"/>
              <a:gd name="connsiteX697" fmla="*/ 1497827 w 4610101"/>
              <a:gd name="connsiteY697" fmla="*/ 5223201 h 6557032"/>
              <a:gd name="connsiteX698" fmla="*/ 1506938 w 4610101"/>
              <a:gd name="connsiteY698" fmla="*/ 5239601 h 6557032"/>
              <a:gd name="connsiteX699" fmla="*/ 1492360 w 4610101"/>
              <a:gd name="connsiteY699" fmla="*/ 5259645 h 6557032"/>
              <a:gd name="connsiteX700" fmla="*/ 1499649 w 4610101"/>
              <a:gd name="connsiteY700" fmla="*/ 5270578 h 6557032"/>
              <a:gd name="connsiteX701" fmla="*/ 1536093 w 4610101"/>
              <a:gd name="connsiteY701" fmla="*/ 5230490 h 6557032"/>
              <a:gd name="connsiteX702" fmla="*/ 1528804 w 4610101"/>
              <a:gd name="connsiteY702" fmla="*/ 5208624 h 6557032"/>
              <a:gd name="connsiteX703" fmla="*/ 1588936 w 4610101"/>
              <a:gd name="connsiteY703" fmla="*/ 5117514 h 6557032"/>
              <a:gd name="connsiteX704" fmla="*/ 1603513 w 4610101"/>
              <a:gd name="connsiteY704" fmla="*/ 5124803 h 6557032"/>
              <a:gd name="connsiteX705" fmla="*/ 1610802 w 4610101"/>
              <a:gd name="connsiteY705" fmla="*/ 5110226 h 6557032"/>
              <a:gd name="connsiteX706" fmla="*/ 1632669 w 4610101"/>
              <a:gd name="connsiteY706" fmla="*/ 5110226 h 6557032"/>
              <a:gd name="connsiteX707" fmla="*/ 1641780 w 4610101"/>
              <a:gd name="connsiteY707" fmla="*/ 5097470 h 6557032"/>
              <a:gd name="connsiteX708" fmla="*/ 1663645 w 4610101"/>
              <a:gd name="connsiteY708" fmla="*/ 5088359 h 6557032"/>
              <a:gd name="connsiteX709" fmla="*/ 1709199 w 4610101"/>
              <a:gd name="connsiteY709" fmla="*/ 5095648 h 6557032"/>
              <a:gd name="connsiteX710" fmla="*/ 1740176 w 4610101"/>
              <a:gd name="connsiteY710" fmla="*/ 5073782 h 6557032"/>
              <a:gd name="connsiteX711" fmla="*/ 956641 w 4610101"/>
              <a:gd name="connsiteY711" fmla="*/ 5064671 h 6557032"/>
              <a:gd name="connsiteX712" fmla="*/ 994907 w 4610101"/>
              <a:gd name="connsiteY712" fmla="*/ 5095648 h 6557032"/>
              <a:gd name="connsiteX713" fmla="*/ 1002196 w 4610101"/>
              <a:gd name="connsiteY713" fmla="*/ 5110226 h 6557032"/>
              <a:gd name="connsiteX714" fmla="*/ 1002196 w 4610101"/>
              <a:gd name="connsiteY714" fmla="*/ 5117514 h 6557032"/>
              <a:gd name="connsiteX715" fmla="*/ 1007663 w 4610101"/>
              <a:gd name="connsiteY715" fmla="*/ 5139380 h 6557032"/>
              <a:gd name="connsiteX716" fmla="*/ 971219 w 4610101"/>
              <a:gd name="connsiteY716" fmla="*/ 5170357 h 6557032"/>
              <a:gd name="connsiteX717" fmla="*/ 971219 w 4610101"/>
              <a:gd name="connsiteY717" fmla="*/ 5194045 h 6557032"/>
              <a:gd name="connsiteX718" fmla="*/ 942063 w 4610101"/>
              <a:gd name="connsiteY718" fmla="*/ 5184934 h 6557032"/>
              <a:gd name="connsiteX719" fmla="*/ 934775 w 4610101"/>
              <a:gd name="connsiteY719" fmla="*/ 5199512 h 6557032"/>
              <a:gd name="connsiteX720" fmla="*/ 909264 w 4610101"/>
              <a:gd name="connsiteY720" fmla="*/ 5197690 h 6557032"/>
              <a:gd name="connsiteX721" fmla="*/ 918375 w 4610101"/>
              <a:gd name="connsiteY721" fmla="*/ 5161246 h 6557032"/>
              <a:gd name="connsiteX722" fmla="*/ 887398 w 4610101"/>
              <a:gd name="connsiteY722" fmla="*/ 5159424 h 6557032"/>
              <a:gd name="connsiteX723" fmla="*/ 911086 w 4610101"/>
              <a:gd name="connsiteY723" fmla="*/ 5137558 h 6557032"/>
              <a:gd name="connsiteX724" fmla="*/ 907442 w 4610101"/>
              <a:gd name="connsiteY724" fmla="*/ 5108403 h 6557032"/>
              <a:gd name="connsiteX725" fmla="*/ 912909 w 4610101"/>
              <a:gd name="connsiteY725" fmla="*/ 5086537 h 6557032"/>
              <a:gd name="connsiteX726" fmla="*/ 927486 w 4610101"/>
              <a:gd name="connsiteY726" fmla="*/ 5070138 h 6557032"/>
              <a:gd name="connsiteX727" fmla="*/ 940241 w 4610101"/>
              <a:gd name="connsiteY727" fmla="*/ 5077426 h 6557032"/>
              <a:gd name="connsiteX728" fmla="*/ 2292295 w 4610101"/>
              <a:gd name="connsiteY728" fmla="*/ 5050093 h 6557032"/>
              <a:gd name="connsiteX729" fmla="*/ 2306873 w 4610101"/>
              <a:gd name="connsiteY729" fmla="*/ 5064671 h 6557032"/>
              <a:gd name="connsiteX730" fmla="*/ 2292295 w 4610101"/>
              <a:gd name="connsiteY730" fmla="*/ 5064671 h 6557032"/>
              <a:gd name="connsiteX731" fmla="*/ 1129748 w 4610101"/>
              <a:gd name="connsiteY731" fmla="*/ 5042806 h 6557032"/>
              <a:gd name="connsiteX732" fmla="*/ 1115170 w 4610101"/>
              <a:gd name="connsiteY732" fmla="*/ 5073783 h 6557032"/>
              <a:gd name="connsiteX733" fmla="*/ 1129748 w 4610101"/>
              <a:gd name="connsiteY733" fmla="*/ 5042806 h 6557032"/>
              <a:gd name="connsiteX734" fmla="*/ 1800308 w 4610101"/>
              <a:gd name="connsiteY734" fmla="*/ 5017295 h 6557032"/>
              <a:gd name="connsiteX735" fmla="*/ 1802130 w 4610101"/>
              <a:gd name="connsiteY735" fmla="*/ 5042806 h 6557032"/>
              <a:gd name="connsiteX736" fmla="*/ 1785730 w 4610101"/>
              <a:gd name="connsiteY736" fmla="*/ 5033695 h 6557032"/>
              <a:gd name="connsiteX737" fmla="*/ 807223 w 4610101"/>
              <a:gd name="connsiteY737" fmla="*/ 5011829 h 6557032"/>
              <a:gd name="connsiteX738" fmla="*/ 823623 w 4610101"/>
              <a:gd name="connsiteY738" fmla="*/ 5020940 h 6557032"/>
              <a:gd name="connsiteX739" fmla="*/ 798114 w 4610101"/>
              <a:gd name="connsiteY739" fmla="*/ 5042806 h 6557032"/>
              <a:gd name="connsiteX740" fmla="*/ 796290 w 4610101"/>
              <a:gd name="connsiteY740" fmla="*/ 5066494 h 6557032"/>
              <a:gd name="connsiteX741" fmla="*/ 783535 w 4610101"/>
              <a:gd name="connsiteY741" fmla="*/ 5050095 h 6557032"/>
              <a:gd name="connsiteX742" fmla="*/ 798112 w 4610101"/>
              <a:gd name="connsiteY742" fmla="*/ 5042806 h 6557032"/>
              <a:gd name="connsiteX743" fmla="*/ 2368827 w 4610101"/>
              <a:gd name="connsiteY743" fmla="*/ 5004540 h 6557032"/>
              <a:gd name="connsiteX744" fmla="*/ 2383405 w 4610101"/>
              <a:gd name="connsiteY744" fmla="*/ 5013651 h 6557032"/>
              <a:gd name="connsiteX745" fmla="*/ 2368827 w 4610101"/>
              <a:gd name="connsiteY745" fmla="*/ 5026407 h 6557032"/>
              <a:gd name="connsiteX746" fmla="*/ 2359716 w 4610101"/>
              <a:gd name="connsiteY746" fmla="*/ 5019118 h 6557032"/>
              <a:gd name="connsiteX747" fmla="*/ 1506938 w 4610101"/>
              <a:gd name="connsiteY747" fmla="*/ 5002718 h 6557032"/>
              <a:gd name="connsiteX748" fmla="*/ 1537915 w 4610101"/>
              <a:gd name="connsiteY748" fmla="*/ 5002718 h 6557032"/>
              <a:gd name="connsiteX749" fmla="*/ 1552494 w 4610101"/>
              <a:gd name="connsiteY749" fmla="*/ 5031873 h 6557032"/>
              <a:gd name="connsiteX750" fmla="*/ 1537915 w 4610101"/>
              <a:gd name="connsiteY750" fmla="*/ 5040984 h 6557032"/>
              <a:gd name="connsiteX751" fmla="*/ 1530627 w 4610101"/>
              <a:gd name="connsiteY751" fmla="*/ 5019118 h 6557032"/>
              <a:gd name="connsiteX752" fmla="*/ 1506938 w 4610101"/>
              <a:gd name="connsiteY752" fmla="*/ 5002718 h 6557032"/>
              <a:gd name="connsiteX753" fmla="*/ 1033173 w 4610101"/>
              <a:gd name="connsiteY753" fmla="*/ 4975385 h 6557032"/>
              <a:gd name="connsiteX754" fmla="*/ 1053217 w 4610101"/>
              <a:gd name="connsiteY754" fmla="*/ 4975385 h 6557032"/>
              <a:gd name="connsiteX755" fmla="*/ 1060507 w 4610101"/>
              <a:gd name="connsiteY755" fmla="*/ 4995429 h 6557032"/>
              <a:gd name="connsiteX756" fmla="*/ 1045929 w 4610101"/>
              <a:gd name="connsiteY756" fmla="*/ 5013651 h 6557032"/>
              <a:gd name="connsiteX757" fmla="*/ 1025884 w 4610101"/>
              <a:gd name="connsiteY757" fmla="*/ 4997252 h 6557032"/>
              <a:gd name="connsiteX758" fmla="*/ 2926412 w 4610101"/>
              <a:gd name="connsiteY758" fmla="*/ 4973563 h 6557032"/>
              <a:gd name="connsiteX759" fmla="*/ 2948278 w 4610101"/>
              <a:gd name="connsiteY759" fmla="*/ 4973563 h 6557032"/>
              <a:gd name="connsiteX760" fmla="*/ 2948278 w 4610101"/>
              <a:gd name="connsiteY760" fmla="*/ 5011828 h 6557032"/>
              <a:gd name="connsiteX761" fmla="*/ 2926412 w 4610101"/>
              <a:gd name="connsiteY761" fmla="*/ 4973563 h 6557032"/>
              <a:gd name="connsiteX762" fmla="*/ 1144326 w 4610101"/>
              <a:gd name="connsiteY762" fmla="*/ 4949875 h 6557032"/>
              <a:gd name="connsiteX763" fmla="*/ 1151614 w 4610101"/>
              <a:gd name="connsiteY763" fmla="*/ 4964453 h 6557032"/>
              <a:gd name="connsiteX764" fmla="*/ 1144326 w 4610101"/>
              <a:gd name="connsiteY764" fmla="*/ 4975386 h 6557032"/>
              <a:gd name="connsiteX765" fmla="*/ 1129748 w 4610101"/>
              <a:gd name="connsiteY765" fmla="*/ 4964453 h 6557032"/>
              <a:gd name="connsiteX766" fmla="*/ 3332756 w 4610101"/>
              <a:gd name="connsiteY766" fmla="*/ 4942586 h 6557032"/>
              <a:gd name="connsiteX767" fmla="*/ 3349156 w 4610101"/>
              <a:gd name="connsiteY767" fmla="*/ 4953519 h 6557032"/>
              <a:gd name="connsiteX768" fmla="*/ 3334579 w 4610101"/>
              <a:gd name="connsiteY768" fmla="*/ 4968097 h 6557032"/>
              <a:gd name="connsiteX769" fmla="*/ 1649067 w 4610101"/>
              <a:gd name="connsiteY769" fmla="*/ 4929831 h 6557032"/>
              <a:gd name="connsiteX770" fmla="*/ 1667290 w 4610101"/>
              <a:gd name="connsiteY770" fmla="*/ 4944409 h 6557032"/>
              <a:gd name="connsiteX771" fmla="*/ 1658179 w 4610101"/>
              <a:gd name="connsiteY771" fmla="*/ 4958986 h 6557032"/>
              <a:gd name="connsiteX772" fmla="*/ 1681867 w 4610101"/>
              <a:gd name="connsiteY772" fmla="*/ 4958986 h 6557032"/>
              <a:gd name="connsiteX773" fmla="*/ 1703733 w 4610101"/>
              <a:gd name="connsiteY773" fmla="*/ 4937119 h 6557032"/>
              <a:gd name="connsiteX774" fmla="*/ 1734710 w 4610101"/>
              <a:gd name="connsiteY774" fmla="*/ 4958986 h 6557032"/>
              <a:gd name="connsiteX775" fmla="*/ 1747465 w 4610101"/>
              <a:gd name="connsiteY775" fmla="*/ 4988141 h 6557032"/>
              <a:gd name="connsiteX776" fmla="*/ 1725599 w 4610101"/>
              <a:gd name="connsiteY776" fmla="*/ 5013651 h 6557032"/>
              <a:gd name="connsiteX777" fmla="*/ 1725599 w 4610101"/>
              <a:gd name="connsiteY777" fmla="*/ 5026406 h 6557032"/>
              <a:gd name="connsiteX778" fmla="*/ 1741998 w 4610101"/>
              <a:gd name="connsiteY778" fmla="*/ 5042805 h 6557032"/>
              <a:gd name="connsiteX779" fmla="*/ 1725599 w 4610101"/>
              <a:gd name="connsiteY779" fmla="*/ 5042805 h 6557032"/>
              <a:gd name="connsiteX780" fmla="*/ 1725599 w 4610101"/>
              <a:gd name="connsiteY780" fmla="*/ 5028230 h 6557032"/>
              <a:gd name="connsiteX781" fmla="*/ 1718310 w 4610101"/>
              <a:gd name="connsiteY781" fmla="*/ 5035517 h 6557032"/>
              <a:gd name="connsiteX782" fmla="*/ 1696444 w 4610101"/>
              <a:gd name="connsiteY782" fmla="*/ 5031873 h 6557032"/>
              <a:gd name="connsiteX783" fmla="*/ 1680044 w 4610101"/>
              <a:gd name="connsiteY783" fmla="*/ 5028229 h 6557032"/>
              <a:gd name="connsiteX784" fmla="*/ 1658178 w 4610101"/>
              <a:gd name="connsiteY784" fmla="*/ 4997252 h 6557032"/>
              <a:gd name="connsiteX785" fmla="*/ 1663645 w 4610101"/>
              <a:gd name="connsiteY785" fmla="*/ 4968097 h 6557032"/>
              <a:gd name="connsiteX786" fmla="*/ 1658178 w 4610101"/>
              <a:gd name="connsiteY786" fmla="*/ 4958987 h 6557032"/>
              <a:gd name="connsiteX787" fmla="*/ 1645423 w 4610101"/>
              <a:gd name="connsiteY787" fmla="*/ 4966275 h 6557032"/>
              <a:gd name="connsiteX788" fmla="*/ 1629023 w 4610101"/>
              <a:gd name="connsiteY788" fmla="*/ 4944409 h 6557032"/>
              <a:gd name="connsiteX789" fmla="*/ 3287202 w 4610101"/>
              <a:gd name="connsiteY789" fmla="*/ 4929830 h 6557032"/>
              <a:gd name="connsiteX790" fmla="*/ 3310891 w 4610101"/>
              <a:gd name="connsiteY790" fmla="*/ 4929830 h 6557032"/>
              <a:gd name="connsiteX791" fmla="*/ 3301780 w 4610101"/>
              <a:gd name="connsiteY791" fmla="*/ 4946230 h 6557032"/>
              <a:gd name="connsiteX792" fmla="*/ 2751484 w 4610101"/>
              <a:gd name="connsiteY792" fmla="*/ 4928009 h 6557032"/>
              <a:gd name="connsiteX793" fmla="*/ 2758772 w 4610101"/>
              <a:gd name="connsiteY793" fmla="*/ 4942586 h 6557032"/>
              <a:gd name="connsiteX794" fmla="*/ 2751484 w 4610101"/>
              <a:gd name="connsiteY794" fmla="*/ 4951697 h 6557032"/>
              <a:gd name="connsiteX795" fmla="*/ 2735084 w 4610101"/>
              <a:gd name="connsiteY795" fmla="*/ 4942586 h 6557032"/>
              <a:gd name="connsiteX796" fmla="*/ 1098771 w 4610101"/>
              <a:gd name="connsiteY796" fmla="*/ 4928009 h 6557032"/>
              <a:gd name="connsiteX797" fmla="*/ 1129749 w 4610101"/>
              <a:gd name="connsiteY797" fmla="*/ 4928009 h 6557032"/>
              <a:gd name="connsiteX798" fmla="*/ 1106060 w 4610101"/>
              <a:gd name="connsiteY798" fmla="*/ 4957164 h 6557032"/>
              <a:gd name="connsiteX799" fmla="*/ 2102790 w 4610101"/>
              <a:gd name="connsiteY799" fmla="*/ 4922542 h 6557032"/>
              <a:gd name="connsiteX800" fmla="*/ 2126478 w 4610101"/>
              <a:gd name="connsiteY800" fmla="*/ 4929831 h 6557032"/>
              <a:gd name="connsiteX801" fmla="*/ 2104612 w 4610101"/>
              <a:gd name="connsiteY801" fmla="*/ 4951697 h 6557032"/>
              <a:gd name="connsiteX802" fmla="*/ 2095501 w 4610101"/>
              <a:gd name="connsiteY802" fmla="*/ 4929831 h 6557032"/>
              <a:gd name="connsiteX803" fmla="*/ 2787927 w 4610101"/>
              <a:gd name="connsiteY803" fmla="*/ 4920719 h 6557032"/>
              <a:gd name="connsiteX804" fmla="*/ 2797038 w 4610101"/>
              <a:gd name="connsiteY804" fmla="*/ 4937119 h 6557032"/>
              <a:gd name="connsiteX805" fmla="*/ 2773349 w 4610101"/>
              <a:gd name="connsiteY805" fmla="*/ 4935297 h 6557032"/>
              <a:gd name="connsiteX806" fmla="*/ 1885950 w 4610101"/>
              <a:gd name="connsiteY806" fmla="*/ 4915253 h 6557032"/>
              <a:gd name="connsiteX807" fmla="*/ 1907816 w 4610101"/>
              <a:gd name="connsiteY807" fmla="*/ 4915253 h 6557032"/>
              <a:gd name="connsiteX808" fmla="*/ 1898705 w 4610101"/>
              <a:gd name="connsiteY808" fmla="*/ 4928009 h 6557032"/>
              <a:gd name="connsiteX809" fmla="*/ 1885950 w 4610101"/>
              <a:gd name="connsiteY809" fmla="*/ 4929830 h 6557032"/>
              <a:gd name="connsiteX810" fmla="*/ 2653086 w 4610101"/>
              <a:gd name="connsiteY810" fmla="*/ 4904320 h 6557032"/>
              <a:gd name="connsiteX811" fmla="*/ 2653086 w 4610101"/>
              <a:gd name="connsiteY811" fmla="*/ 4929831 h 6557032"/>
              <a:gd name="connsiteX812" fmla="*/ 2638508 w 4610101"/>
              <a:gd name="connsiteY812" fmla="*/ 4920720 h 6557032"/>
              <a:gd name="connsiteX813" fmla="*/ 3205203 w 4610101"/>
              <a:gd name="connsiteY813" fmla="*/ 4898854 h 6557032"/>
              <a:gd name="connsiteX814" fmla="*/ 3205203 w 4610101"/>
              <a:gd name="connsiteY814" fmla="*/ 4920720 h 6557032"/>
              <a:gd name="connsiteX815" fmla="*/ 3190626 w 4610101"/>
              <a:gd name="connsiteY815" fmla="*/ 4920720 h 6557032"/>
              <a:gd name="connsiteX816" fmla="*/ 3205203 w 4610101"/>
              <a:gd name="connsiteY816" fmla="*/ 4898854 h 6557032"/>
              <a:gd name="connsiteX817" fmla="*/ 1067794 w 4610101"/>
              <a:gd name="connsiteY817" fmla="*/ 4889742 h 6557032"/>
              <a:gd name="connsiteX818" fmla="*/ 1076904 w 4610101"/>
              <a:gd name="connsiteY818" fmla="*/ 4906142 h 6557032"/>
              <a:gd name="connsiteX819" fmla="*/ 1053216 w 4610101"/>
              <a:gd name="connsiteY819" fmla="*/ 4904319 h 6557032"/>
              <a:gd name="connsiteX820" fmla="*/ 1694622 w 4610101"/>
              <a:gd name="connsiteY820" fmla="*/ 4869699 h 6557032"/>
              <a:gd name="connsiteX821" fmla="*/ 1701911 w 4610101"/>
              <a:gd name="connsiteY821" fmla="*/ 4875166 h 6557032"/>
              <a:gd name="connsiteX822" fmla="*/ 1694622 w 4610101"/>
              <a:gd name="connsiteY822" fmla="*/ 4906143 h 6557032"/>
              <a:gd name="connsiteX823" fmla="*/ 1681867 w 4610101"/>
              <a:gd name="connsiteY823" fmla="*/ 4906143 h 6557032"/>
              <a:gd name="connsiteX824" fmla="*/ 1674578 w 4610101"/>
              <a:gd name="connsiteY824" fmla="*/ 4884276 h 6557032"/>
              <a:gd name="connsiteX825" fmla="*/ 2893613 w 4610101"/>
              <a:gd name="connsiteY825" fmla="*/ 4869698 h 6557032"/>
              <a:gd name="connsiteX826" fmla="*/ 2919124 w 4610101"/>
              <a:gd name="connsiteY826" fmla="*/ 4869698 h 6557032"/>
              <a:gd name="connsiteX827" fmla="*/ 2910013 w 4610101"/>
              <a:gd name="connsiteY827" fmla="*/ 4886098 h 6557032"/>
              <a:gd name="connsiteX828" fmla="*/ 329813 w 4610101"/>
              <a:gd name="connsiteY828" fmla="*/ 4869698 h 6557032"/>
              <a:gd name="connsiteX829" fmla="*/ 353501 w 4610101"/>
              <a:gd name="connsiteY829" fmla="*/ 4869698 h 6557032"/>
              <a:gd name="connsiteX830" fmla="*/ 344391 w 4610101"/>
              <a:gd name="connsiteY830" fmla="*/ 4886098 h 6557032"/>
              <a:gd name="connsiteX831" fmla="*/ 1497827 w 4610101"/>
              <a:gd name="connsiteY831" fmla="*/ 4838722 h 6557032"/>
              <a:gd name="connsiteX832" fmla="*/ 1523339 w 4610101"/>
              <a:gd name="connsiteY832" fmla="*/ 4847833 h 6557032"/>
              <a:gd name="connsiteX833" fmla="*/ 1506938 w 4610101"/>
              <a:gd name="connsiteY833" fmla="*/ 4860589 h 6557032"/>
              <a:gd name="connsiteX834" fmla="*/ 1854973 w 4610101"/>
              <a:gd name="connsiteY834" fmla="*/ 4838721 h 6557032"/>
              <a:gd name="connsiteX835" fmla="*/ 1876840 w 4610101"/>
              <a:gd name="connsiteY835" fmla="*/ 4869698 h 6557032"/>
              <a:gd name="connsiteX836" fmla="*/ 1876840 w 4610101"/>
              <a:gd name="connsiteY836" fmla="*/ 4884276 h 6557032"/>
              <a:gd name="connsiteX837" fmla="*/ 1869551 w 4610101"/>
              <a:gd name="connsiteY837" fmla="*/ 4906142 h 6557032"/>
              <a:gd name="connsiteX838" fmla="*/ 1840395 w 4610101"/>
              <a:gd name="connsiteY838" fmla="*/ 4860588 h 6557032"/>
              <a:gd name="connsiteX839" fmla="*/ 843667 w 4610101"/>
              <a:gd name="connsiteY839" fmla="*/ 4838721 h 6557032"/>
              <a:gd name="connsiteX840" fmla="*/ 889222 w 4610101"/>
              <a:gd name="connsiteY840" fmla="*/ 4860588 h 6557032"/>
              <a:gd name="connsiteX841" fmla="*/ 889222 w 4610101"/>
              <a:gd name="connsiteY841" fmla="*/ 4867876 h 6557032"/>
              <a:gd name="connsiteX842" fmla="*/ 874643 w 4610101"/>
              <a:gd name="connsiteY842" fmla="*/ 4898853 h 6557032"/>
              <a:gd name="connsiteX843" fmla="*/ 889222 w 4610101"/>
              <a:gd name="connsiteY843" fmla="*/ 4907964 h 6557032"/>
              <a:gd name="connsiteX844" fmla="*/ 874643 w 4610101"/>
              <a:gd name="connsiteY844" fmla="*/ 4907964 h 6557032"/>
              <a:gd name="connsiteX845" fmla="*/ 874643 w 4610101"/>
              <a:gd name="connsiteY845" fmla="*/ 4929830 h 6557032"/>
              <a:gd name="connsiteX846" fmla="*/ 821800 w 4610101"/>
              <a:gd name="connsiteY846" fmla="*/ 4891565 h 6557032"/>
              <a:gd name="connsiteX847" fmla="*/ 830911 w 4610101"/>
              <a:gd name="connsiteY847" fmla="*/ 4855121 h 6557032"/>
              <a:gd name="connsiteX848" fmla="*/ 1401251 w 4610101"/>
              <a:gd name="connsiteY848" fmla="*/ 4831434 h 6557032"/>
              <a:gd name="connsiteX849" fmla="*/ 1401251 w 4610101"/>
              <a:gd name="connsiteY849" fmla="*/ 4853301 h 6557032"/>
              <a:gd name="connsiteX850" fmla="*/ 1379385 w 4610101"/>
              <a:gd name="connsiteY850" fmla="*/ 4838723 h 6557032"/>
              <a:gd name="connsiteX851" fmla="*/ 1650890 w 4610101"/>
              <a:gd name="connsiteY851" fmla="*/ 4829611 h 6557032"/>
              <a:gd name="connsiteX852" fmla="*/ 1658179 w 4610101"/>
              <a:gd name="connsiteY852" fmla="*/ 4829611 h 6557032"/>
              <a:gd name="connsiteX853" fmla="*/ 1658179 w 4610101"/>
              <a:gd name="connsiteY853" fmla="*/ 4867877 h 6557032"/>
              <a:gd name="connsiteX854" fmla="*/ 1650890 w 4610101"/>
              <a:gd name="connsiteY854" fmla="*/ 4829611 h 6557032"/>
              <a:gd name="connsiteX855" fmla="*/ 3529551 w 4610101"/>
              <a:gd name="connsiteY855" fmla="*/ 4829610 h 6557032"/>
              <a:gd name="connsiteX856" fmla="*/ 3553239 w 4610101"/>
              <a:gd name="connsiteY856" fmla="*/ 4846010 h 6557032"/>
              <a:gd name="connsiteX857" fmla="*/ 3567816 w 4610101"/>
              <a:gd name="connsiteY857" fmla="*/ 4838721 h 6557032"/>
              <a:gd name="connsiteX858" fmla="*/ 3582394 w 4610101"/>
              <a:gd name="connsiteY858" fmla="*/ 4869698 h 6557032"/>
              <a:gd name="connsiteX859" fmla="*/ 3582394 w 4610101"/>
              <a:gd name="connsiteY859" fmla="*/ 4891565 h 6557032"/>
              <a:gd name="connsiteX860" fmla="*/ 3560528 w 4610101"/>
              <a:gd name="connsiteY860" fmla="*/ 4906142 h 6557032"/>
              <a:gd name="connsiteX861" fmla="*/ 3514973 w 4610101"/>
              <a:gd name="connsiteY861" fmla="*/ 4875165 h 6557032"/>
              <a:gd name="connsiteX862" fmla="*/ 3529551 w 4610101"/>
              <a:gd name="connsiteY862" fmla="*/ 4829610 h 6557032"/>
              <a:gd name="connsiteX863" fmla="*/ 1144326 w 4610101"/>
              <a:gd name="connsiteY863" fmla="*/ 4815033 h 6557032"/>
              <a:gd name="connsiteX864" fmla="*/ 1146148 w 4610101"/>
              <a:gd name="connsiteY864" fmla="*/ 4831433 h 6557032"/>
              <a:gd name="connsiteX865" fmla="*/ 1129748 w 4610101"/>
              <a:gd name="connsiteY865" fmla="*/ 4829610 h 6557032"/>
              <a:gd name="connsiteX866" fmla="*/ 2797038 w 4610101"/>
              <a:gd name="connsiteY866" fmla="*/ 4807746 h 6557032"/>
              <a:gd name="connsiteX867" fmla="*/ 2795215 w 4610101"/>
              <a:gd name="connsiteY867" fmla="*/ 4833257 h 6557032"/>
              <a:gd name="connsiteX868" fmla="*/ 2773349 w 4610101"/>
              <a:gd name="connsiteY868" fmla="*/ 4809569 h 6557032"/>
              <a:gd name="connsiteX869" fmla="*/ 2472690 w 4610101"/>
              <a:gd name="connsiteY869" fmla="*/ 4807745 h 6557032"/>
              <a:gd name="connsiteX870" fmla="*/ 2489090 w 4610101"/>
              <a:gd name="connsiteY870" fmla="*/ 4807745 h 6557032"/>
              <a:gd name="connsiteX871" fmla="*/ 2489090 w 4610101"/>
              <a:gd name="connsiteY871" fmla="*/ 4824144 h 6557032"/>
              <a:gd name="connsiteX872" fmla="*/ 2503666 w 4610101"/>
              <a:gd name="connsiteY872" fmla="*/ 4824144 h 6557032"/>
              <a:gd name="connsiteX873" fmla="*/ 2501844 w 4610101"/>
              <a:gd name="connsiteY873" fmla="*/ 4840544 h 6557032"/>
              <a:gd name="connsiteX874" fmla="*/ 2489090 w 4610101"/>
              <a:gd name="connsiteY874" fmla="*/ 4824145 h 6557032"/>
              <a:gd name="connsiteX875" fmla="*/ 2479979 w 4610101"/>
              <a:gd name="connsiteY875" fmla="*/ 4816856 h 6557032"/>
              <a:gd name="connsiteX876" fmla="*/ 3678970 w 4610101"/>
              <a:gd name="connsiteY876" fmla="*/ 4798635 h 6557032"/>
              <a:gd name="connsiteX877" fmla="*/ 3686259 w 4610101"/>
              <a:gd name="connsiteY877" fmla="*/ 4815035 h 6557032"/>
              <a:gd name="connsiteX878" fmla="*/ 3678970 w 4610101"/>
              <a:gd name="connsiteY878" fmla="*/ 4824146 h 6557032"/>
              <a:gd name="connsiteX879" fmla="*/ 3664393 w 4610101"/>
              <a:gd name="connsiteY879" fmla="*/ 4815035 h 6557032"/>
              <a:gd name="connsiteX880" fmla="*/ 1732888 w 4610101"/>
              <a:gd name="connsiteY880" fmla="*/ 4798635 h 6557032"/>
              <a:gd name="connsiteX881" fmla="*/ 1740177 w 4610101"/>
              <a:gd name="connsiteY881" fmla="*/ 4815035 h 6557032"/>
              <a:gd name="connsiteX882" fmla="*/ 1732888 w 4610101"/>
              <a:gd name="connsiteY882" fmla="*/ 4824146 h 6557032"/>
              <a:gd name="connsiteX883" fmla="*/ 1716488 w 4610101"/>
              <a:gd name="connsiteY883" fmla="*/ 4815035 h 6557032"/>
              <a:gd name="connsiteX884" fmla="*/ 2472691 w 4610101"/>
              <a:gd name="connsiteY884" fmla="*/ 4787700 h 6557032"/>
              <a:gd name="connsiteX885" fmla="*/ 2481802 w 4610101"/>
              <a:gd name="connsiteY885" fmla="*/ 4793167 h 6557032"/>
              <a:gd name="connsiteX886" fmla="*/ 2472691 w 4610101"/>
              <a:gd name="connsiteY886" fmla="*/ 4807744 h 6557032"/>
              <a:gd name="connsiteX887" fmla="*/ 2456291 w 4610101"/>
              <a:gd name="connsiteY887" fmla="*/ 4798633 h 6557032"/>
              <a:gd name="connsiteX888" fmla="*/ 3301780 w 4610101"/>
              <a:gd name="connsiteY888" fmla="*/ 4769479 h 6557032"/>
              <a:gd name="connsiteX889" fmla="*/ 3310891 w 4610101"/>
              <a:gd name="connsiteY889" fmla="*/ 4785879 h 6557032"/>
              <a:gd name="connsiteX890" fmla="*/ 3287202 w 4610101"/>
              <a:gd name="connsiteY890" fmla="*/ 4784056 h 6557032"/>
              <a:gd name="connsiteX891" fmla="*/ 193151 w 4610101"/>
              <a:gd name="connsiteY891" fmla="*/ 4769479 h 6557032"/>
              <a:gd name="connsiteX892" fmla="*/ 202263 w 4610101"/>
              <a:gd name="connsiteY892" fmla="*/ 4785879 h 6557032"/>
              <a:gd name="connsiteX893" fmla="*/ 178573 w 4610101"/>
              <a:gd name="connsiteY893" fmla="*/ 4784056 h 6557032"/>
              <a:gd name="connsiteX894" fmla="*/ 1794841 w 4610101"/>
              <a:gd name="connsiteY894" fmla="*/ 4749435 h 6557032"/>
              <a:gd name="connsiteX895" fmla="*/ 1847684 w 4610101"/>
              <a:gd name="connsiteY895" fmla="*/ 4749435 h 6557032"/>
              <a:gd name="connsiteX896" fmla="*/ 1840395 w 4610101"/>
              <a:gd name="connsiteY896" fmla="*/ 4778590 h 6557032"/>
              <a:gd name="connsiteX897" fmla="*/ 1856795 w 4610101"/>
              <a:gd name="connsiteY897" fmla="*/ 4787701 h 6557032"/>
              <a:gd name="connsiteX898" fmla="*/ 1840395 w 4610101"/>
              <a:gd name="connsiteY898" fmla="*/ 4800456 h 6557032"/>
              <a:gd name="connsiteX899" fmla="*/ 1847684 w 4610101"/>
              <a:gd name="connsiteY899" fmla="*/ 4831433 h 6557032"/>
              <a:gd name="connsiteX900" fmla="*/ 1778441 w 4610101"/>
              <a:gd name="connsiteY900" fmla="*/ 4785879 h 6557032"/>
              <a:gd name="connsiteX901" fmla="*/ 1803952 w 4610101"/>
              <a:gd name="connsiteY901" fmla="*/ 4764013 h 6557032"/>
              <a:gd name="connsiteX902" fmla="*/ 1505115 w 4610101"/>
              <a:gd name="connsiteY902" fmla="*/ 4747613 h 6557032"/>
              <a:gd name="connsiteX903" fmla="*/ 1543382 w 4610101"/>
              <a:gd name="connsiteY903" fmla="*/ 4747613 h 6557032"/>
              <a:gd name="connsiteX904" fmla="*/ 1536093 w 4610101"/>
              <a:gd name="connsiteY904" fmla="*/ 4785879 h 6557032"/>
              <a:gd name="connsiteX905" fmla="*/ 1514226 w 4610101"/>
              <a:gd name="connsiteY905" fmla="*/ 4785879 h 6557032"/>
              <a:gd name="connsiteX906" fmla="*/ 1507794 w 4610101"/>
              <a:gd name="connsiteY906" fmla="*/ 4781056 h 6557032"/>
              <a:gd name="connsiteX907" fmla="*/ 1506937 w 4610101"/>
              <a:gd name="connsiteY907" fmla="*/ 4780413 h 6557032"/>
              <a:gd name="connsiteX908" fmla="*/ 1510582 w 4610101"/>
              <a:gd name="connsiteY908" fmla="*/ 4771302 h 6557032"/>
              <a:gd name="connsiteX909" fmla="*/ 2578376 w 4610101"/>
              <a:gd name="connsiteY909" fmla="*/ 4747612 h 6557032"/>
              <a:gd name="connsiteX910" fmla="*/ 2576553 w 4610101"/>
              <a:gd name="connsiteY910" fmla="*/ 4764012 h 6557032"/>
              <a:gd name="connsiteX911" fmla="*/ 2561976 w 4610101"/>
              <a:gd name="connsiteY911" fmla="*/ 4749435 h 6557032"/>
              <a:gd name="connsiteX912" fmla="*/ 2780639 w 4610101"/>
              <a:gd name="connsiteY912" fmla="*/ 4745792 h 6557032"/>
              <a:gd name="connsiteX913" fmla="*/ 2789750 w 4610101"/>
              <a:gd name="connsiteY913" fmla="*/ 4762192 h 6557032"/>
              <a:gd name="connsiteX914" fmla="*/ 2776994 w 4610101"/>
              <a:gd name="connsiteY914" fmla="*/ 4769480 h 6557032"/>
              <a:gd name="connsiteX915" fmla="*/ 2766061 w 4610101"/>
              <a:gd name="connsiteY915" fmla="*/ 4762192 h 6557032"/>
              <a:gd name="connsiteX916" fmla="*/ 4065270 w 4610101"/>
              <a:gd name="connsiteY916" fmla="*/ 4740324 h 6557032"/>
              <a:gd name="connsiteX917" fmla="*/ 4079847 w 4610101"/>
              <a:gd name="connsiteY917" fmla="*/ 4754902 h 6557032"/>
              <a:gd name="connsiteX918" fmla="*/ 4065270 w 4610101"/>
              <a:gd name="connsiteY918" fmla="*/ 4754902 h 6557032"/>
              <a:gd name="connsiteX919" fmla="*/ 2006213 w 4610101"/>
              <a:gd name="connsiteY919" fmla="*/ 4733035 h 6557032"/>
              <a:gd name="connsiteX920" fmla="*/ 2020791 w 4610101"/>
              <a:gd name="connsiteY920" fmla="*/ 4747612 h 6557032"/>
              <a:gd name="connsiteX921" fmla="*/ 2006213 w 4610101"/>
              <a:gd name="connsiteY921" fmla="*/ 4747612 h 6557032"/>
              <a:gd name="connsiteX922" fmla="*/ 1875017 w 4610101"/>
              <a:gd name="connsiteY922" fmla="*/ 4731214 h 6557032"/>
              <a:gd name="connsiteX923" fmla="*/ 1876839 w 4610101"/>
              <a:gd name="connsiteY923" fmla="*/ 4756725 h 6557032"/>
              <a:gd name="connsiteX924" fmla="*/ 1860439 w 4610101"/>
              <a:gd name="connsiteY924" fmla="*/ 4745792 h 6557032"/>
              <a:gd name="connsiteX925" fmla="*/ 1138859 w 4610101"/>
              <a:gd name="connsiteY925" fmla="*/ 4718459 h 6557032"/>
              <a:gd name="connsiteX926" fmla="*/ 1129747 w 4610101"/>
              <a:gd name="connsiteY926" fmla="*/ 4754903 h 6557032"/>
              <a:gd name="connsiteX927" fmla="*/ 1107881 w 4610101"/>
              <a:gd name="connsiteY927" fmla="*/ 4740325 h 6557032"/>
              <a:gd name="connsiteX928" fmla="*/ 1138859 w 4610101"/>
              <a:gd name="connsiteY928" fmla="*/ 4718459 h 6557032"/>
              <a:gd name="connsiteX929" fmla="*/ 850955 w 4610101"/>
              <a:gd name="connsiteY929" fmla="*/ 4716637 h 6557032"/>
              <a:gd name="connsiteX930" fmla="*/ 850955 w 4610101"/>
              <a:gd name="connsiteY930" fmla="*/ 4754903 h 6557032"/>
              <a:gd name="connsiteX931" fmla="*/ 829089 w 4610101"/>
              <a:gd name="connsiteY931" fmla="*/ 4754903 h 6557032"/>
              <a:gd name="connsiteX932" fmla="*/ 850955 w 4610101"/>
              <a:gd name="connsiteY932" fmla="*/ 4716637 h 6557032"/>
              <a:gd name="connsiteX933" fmla="*/ 3844788 w 4610101"/>
              <a:gd name="connsiteY933" fmla="*/ 4709348 h 6557032"/>
              <a:gd name="connsiteX934" fmla="*/ 3852076 w 4610101"/>
              <a:gd name="connsiteY934" fmla="*/ 4723925 h 6557032"/>
              <a:gd name="connsiteX935" fmla="*/ 3846610 w 4610101"/>
              <a:gd name="connsiteY935" fmla="*/ 4733036 h 6557032"/>
              <a:gd name="connsiteX936" fmla="*/ 3830210 w 4610101"/>
              <a:gd name="connsiteY936" fmla="*/ 4723925 h 6557032"/>
              <a:gd name="connsiteX937" fmla="*/ 2999299 w 4610101"/>
              <a:gd name="connsiteY937" fmla="*/ 4709347 h 6557032"/>
              <a:gd name="connsiteX938" fmla="*/ 3001121 w 4610101"/>
              <a:gd name="connsiteY938" fmla="*/ 4725747 h 6557032"/>
              <a:gd name="connsiteX939" fmla="*/ 2984721 w 4610101"/>
              <a:gd name="connsiteY939" fmla="*/ 4723924 h 6557032"/>
              <a:gd name="connsiteX940" fmla="*/ 2028080 w 4610101"/>
              <a:gd name="connsiteY940" fmla="*/ 4694771 h 6557032"/>
              <a:gd name="connsiteX941" fmla="*/ 2049946 w 4610101"/>
              <a:gd name="connsiteY941" fmla="*/ 4694771 h 6557032"/>
              <a:gd name="connsiteX942" fmla="*/ 2049946 w 4610101"/>
              <a:gd name="connsiteY942" fmla="*/ 4716638 h 6557032"/>
              <a:gd name="connsiteX943" fmla="*/ 2028080 w 4610101"/>
              <a:gd name="connsiteY943" fmla="*/ 4694771 h 6557032"/>
              <a:gd name="connsiteX944" fmla="*/ 2902724 w 4610101"/>
              <a:gd name="connsiteY944" fmla="*/ 4687482 h 6557032"/>
              <a:gd name="connsiteX945" fmla="*/ 2893613 w 4610101"/>
              <a:gd name="connsiteY945" fmla="*/ 4711170 h 6557032"/>
              <a:gd name="connsiteX946" fmla="*/ 2871747 w 4610101"/>
              <a:gd name="connsiteY946" fmla="*/ 4694771 h 6557032"/>
              <a:gd name="connsiteX947" fmla="*/ 2481802 w 4610101"/>
              <a:gd name="connsiteY947" fmla="*/ 4687481 h 6557032"/>
              <a:gd name="connsiteX948" fmla="*/ 2470869 w 4610101"/>
              <a:gd name="connsiteY948" fmla="*/ 4703881 h 6557032"/>
              <a:gd name="connsiteX949" fmla="*/ 2456291 w 4610101"/>
              <a:gd name="connsiteY949" fmla="*/ 4689304 h 6557032"/>
              <a:gd name="connsiteX950" fmla="*/ 3075830 w 4610101"/>
              <a:gd name="connsiteY950" fmla="*/ 4672904 h 6557032"/>
              <a:gd name="connsiteX951" fmla="*/ 3075830 w 4610101"/>
              <a:gd name="connsiteY951" fmla="*/ 4689304 h 6557032"/>
              <a:gd name="connsiteX952" fmla="*/ 3059430 w 4610101"/>
              <a:gd name="connsiteY952" fmla="*/ 4674726 h 6557032"/>
              <a:gd name="connsiteX953" fmla="*/ 1009485 w 4610101"/>
              <a:gd name="connsiteY953" fmla="*/ 4672904 h 6557032"/>
              <a:gd name="connsiteX954" fmla="*/ 1024062 w 4610101"/>
              <a:gd name="connsiteY954" fmla="*/ 4687481 h 6557032"/>
              <a:gd name="connsiteX955" fmla="*/ 1009485 w 4610101"/>
              <a:gd name="connsiteY955" fmla="*/ 4687481 h 6557032"/>
              <a:gd name="connsiteX956" fmla="*/ 3234359 w 4610101"/>
              <a:gd name="connsiteY956" fmla="*/ 4671082 h 6557032"/>
              <a:gd name="connsiteX957" fmla="*/ 3234359 w 4610101"/>
              <a:gd name="connsiteY957" fmla="*/ 4696593 h 6557032"/>
              <a:gd name="connsiteX958" fmla="*/ 3217959 w 4610101"/>
              <a:gd name="connsiteY958" fmla="*/ 4685659 h 6557032"/>
              <a:gd name="connsiteX959" fmla="*/ 2684064 w 4610101"/>
              <a:gd name="connsiteY959" fmla="*/ 4658326 h 6557032"/>
              <a:gd name="connsiteX960" fmla="*/ 2722329 w 4610101"/>
              <a:gd name="connsiteY960" fmla="*/ 4672904 h 6557032"/>
              <a:gd name="connsiteX961" fmla="*/ 2722329 w 4610101"/>
              <a:gd name="connsiteY961" fmla="*/ 4696592 h 6557032"/>
              <a:gd name="connsiteX962" fmla="*/ 2698641 w 4610101"/>
              <a:gd name="connsiteY962" fmla="*/ 4720280 h 6557032"/>
              <a:gd name="connsiteX963" fmla="*/ 2669486 w 4610101"/>
              <a:gd name="connsiteY963" fmla="*/ 4696592 h 6557032"/>
              <a:gd name="connsiteX964" fmla="*/ 2837124 w 4610101"/>
              <a:gd name="connsiteY964" fmla="*/ 4640105 h 6557032"/>
              <a:gd name="connsiteX965" fmla="*/ 2849879 w 4610101"/>
              <a:gd name="connsiteY965" fmla="*/ 4656505 h 6557032"/>
              <a:gd name="connsiteX966" fmla="*/ 2835302 w 4610101"/>
              <a:gd name="connsiteY966" fmla="*/ 4665616 h 6557032"/>
              <a:gd name="connsiteX967" fmla="*/ 2893614 w 4610101"/>
              <a:gd name="connsiteY967" fmla="*/ 4632816 h 6557032"/>
              <a:gd name="connsiteX968" fmla="*/ 2902725 w 4610101"/>
              <a:gd name="connsiteY968" fmla="*/ 4649216 h 6557032"/>
              <a:gd name="connsiteX969" fmla="*/ 2879036 w 4610101"/>
              <a:gd name="connsiteY969" fmla="*/ 4649216 h 6557032"/>
              <a:gd name="connsiteX970" fmla="*/ 2775171 w 4610101"/>
              <a:gd name="connsiteY970" fmla="*/ 4627349 h 6557032"/>
              <a:gd name="connsiteX971" fmla="*/ 2789749 w 4610101"/>
              <a:gd name="connsiteY971" fmla="*/ 4641927 h 6557032"/>
              <a:gd name="connsiteX972" fmla="*/ 2775171 w 4610101"/>
              <a:gd name="connsiteY972" fmla="*/ 4641927 h 6557032"/>
              <a:gd name="connsiteX973" fmla="*/ 3258048 w 4610101"/>
              <a:gd name="connsiteY973" fmla="*/ 4612773 h 6557032"/>
              <a:gd name="connsiteX974" fmla="*/ 3270803 w 4610101"/>
              <a:gd name="connsiteY974" fmla="*/ 4625529 h 6557032"/>
              <a:gd name="connsiteX975" fmla="*/ 3265337 w 4610101"/>
              <a:gd name="connsiteY975" fmla="*/ 4634640 h 6557032"/>
              <a:gd name="connsiteX976" fmla="*/ 3248937 w 4610101"/>
              <a:gd name="connsiteY976" fmla="*/ 4627351 h 6557032"/>
              <a:gd name="connsiteX977" fmla="*/ 3777366 w 4610101"/>
              <a:gd name="connsiteY977" fmla="*/ 4605483 h 6557032"/>
              <a:gd name="connsiteX978" fmla="*/ 3793766 w 4610101"/>
              <a:gd name="connsiteY978" fmla="*/ 4605483 h 6557032"/>
              <a:gd name="connsiteX979" fmla="*/ 3791944 w 4610101"/>
              <a:gd name="connsiteY979" fmla="*/ 4621883 h 6557032"/>
              <a:gd name="connsiteX980" fmla="*/ 3453020 w 4610101"/>
              <a:gd name="connsiteY980" fmla="*/ 4603661 h 6557032"/>
              <a:gd name="connsiteX981" fmla="*/ 3453020 w 4610101"/>
              <a:gd name="connsiteY981" fmla="*/ 4620061 h 6557032"/>
              <a:gd name="connsiteX982" fmla="*/ 3436620 w 4610101"/>
              <a:gd name="connsiteY982" fmla="*/ 4618239 h 6557032"/>
              <a:gd name="connsiteX983" fmla="*/ 1619913 w 4610101"/>
              <a:gd name="connsiteY983" fmla="*/ 4598196 h 6557032"/>
              <a:gd name="connsiteX984" fmla="*/ 1650891 w 4610101"/>
              <a:gd name="connsiteY984" fmla="*/ 4612773 h 6557032"/>
              <a:gd name="connsiteX985" fmla="*/ 1629024 w 4610101"/>
              <a:gd name="connsiteY985" fmla="*/ 4634640 h 6557032"/>
              <a:gd name="connsiteX986" fmla="*/ 1605336 w 4610101"/>
              <a:gd name="connsiteY986" fmla="*/ 4620062 h 6557032"/>
              <a:gd name="connsiteX987" fmla="*/ 1619913 w 4610101"/>
              <a:gd name="connsiteY987" fmla="*/ 4598196 h 6557032"/>
              <a:gd name="connsiteX988" fmla="*/ 2212119 w 4610101"/>
              <a:gd name="connsiteY988" fmla="*/ 4598195 h 6557032"/>
              <a:gd name="connsiteX989" fmla="*/ 2233985 w 4610101"/>
              <a:gd name="connsiteY989" fmla="*/ 4612772 h 6557032"/>
              <a:gd name="connsiteX990" fmla="*/ 2255851 w 4610101"/>
              <a:gd name="connsiteY990" fmla="*/ 4612772 h 6557032"/>
              <a:gd name="connsiteX991" fmla="*/ 2270428 w 4610101"/>
              <a:gd name="connsiteY991" fmla="*/ 4620061 h 6557032"/>
              <a:gd name="connsiteX992" fmla="*/ 2285006 w 4610101"/>
              <a:gd name="connsiteY992" fmla="*/ 4612772 h 6557032"/>
              <a:gd name="connsiteX993" fmla="*/ 2285006 w 4610101"/>
              <a:gd name="connsiteY993" fmla="*/ 4627350 h 6557032"/>
              <a:gd name="connsiteX994" fmla="*/ 2314161 w 4610101"/>
              <a:gd name="connsiteY994" fmla="*/ 4627350 h 6557032"/>
              <a:gd name="connsiteX995" fmla="*/ 2330560 w 4610101"/>
              <a:gd name="connsiteY995" fmla="*/ 4651038 h 6557032"/>
              <a:gd name="connsiteX996" fmla="*/ 2350604 w 4610101"/>
              <a:gd name="connsiteY996" fmla="*/ 4636461 h 6557032"/>
              <a:gd name="connsiteX997" fmla="*/ 2407092 w 4610101"/>
              <a:gd name="connsiteY997" fmla="*/ 4689305 h 6557032"/>
              <a:gd name="connsiteX998" fmla="*/ 2390692 w 4610101"/>
              <a:gd name="connsiteY998" fmla="*/ 4709349 h 6557032"/>
              <a:gd name="connsiteX999" fmla="*/ 2428958 w 4610101"/>
              <a:gd name="connsiteY999" fmla="*/ 4756725 h 6557032"/>
              <a:gd name="connsiteX1000" fmla="*/ 2407092 w 4610101"/>
              <a:gd name="connsiteY1000" fmla="*/ 4747614 h 6557032"/>
              <a:gd name="connsiteX1001" fmla="*/ 2397981 w 4610101"/>
              <a:gd name="connsiteY1001" fmla="*/ 4764014 h 6557032"/>
              <a:gd name="connsiteX1002" fmla="*/ 2374292 w 4610101"/>
              <a:gd name="connsiteY1002" fmla="*/ 4747614 h 6557032"/>
              <a:gd name="connsiteX1003" fmla="*/ 2383403 w 4610101"/>
              <a:gd name="connsiteY1003" fmla="*/ 4776769 h 6557032"/>
              <a:gd name="connsiteX1004" fmla="*/ 2368826 w 4610101"/>
              <a:gd name="connsiteY1004" fmla="*/ 4785880 h 6557032"/>
              <a:gd name="connsiteX1005" fmla="*/ 2376114 w 4610101"/>
              <a:gd name="connsiteY1005" fmla="*/ 4800458 h 6557032"/>
              <a:gd name="connsiteX1006" fmla="*/ 2368826 w 4610101"/>
              <a:gd name="connsiteY1006" fmla="*/ 4831434 h 6557032"/>
              <a:gd name="connsiteX1007" fmla="*/ 2352426 w 4610101"/>
              <a:gd name="connsiteY1007" fmla="*/ 4831434 h 6557032"/>
              <a:gd name="connsiteX1008" fmla="*/ 2359715 w 4610101"/>
              <a:gd name="connsiteY1008" fmla="*/ 4846012 h 6557032"/>
              <a:gd name="connsiteX1009" fmla="*/ 2346960 w 4610101"/>
              <a:gd name="connsiteY1009" fmla="*/ 4849656 h 6557032"/>
              <a:gd name="connsiteX1010" fmla="*/ 2337849 w 4610101"/>
              <a:gd name="connsiteY1010" fmla="*/ 4860589 h 6557032"/>
              <a:gd name="connsiteX1011" fmla="*/ 2350604 w 4610101"/>
              <a:gd name="connsiteY1011" fmla="*/ 4897033 h 6557032"/>
              <a:gd name="connsiteX1012" fmla="*/ 2345137 w 4610101"/>
              <a:gd name="connsiteY1012" fmla="*/ 4906143 h 6557032"/>
              <a:gd name="connsiteX1013" fmla="*/ 2323271 w 4610101"/>
              <a:gd name="connsiteY1013" fmla="*/ 4891566 h 6557032"/>
              <a:gd name="connsiteX1014" fmla="*/ 2285006 w 4610101"/>
              <a:gd name="connsiteY1014" fmla="*/ 4913432 h 6557032"/>
              <a:gd name="connsiteX1015" fmla="*/ 2283184 w 4610101"/>
              <a:gd name="connsiteY1015" fmla="*/ 4937121 h 6557032"/>
              <a:gd name="connsiteX1016" fmla="*/ 2268606 w 4610101"/>
              <a:gd name="connsiteY1016" fmla="*/ 4920721 h 6557032"/>
              <a:gd name="connsiteX1017" fmla="*/ 2255851 w 4610101"/>
              <a:gd name="connsiteY1017" fmla="*/ 4928010 h 6557032"/>
              <a:gd name="connsiteX1018" fmla="*/ 2239451 w 4610101"/>
              <a:gd name="connsiteY1018" fmla="*/ 4906143 h 6557032"/>
              <a:gd name="connsiteX1019" fmla="*/ 2217585 w 4610101"/>
              <a:gd name="connsiteY1019" fmla="*/ 4911610 h 6557032"/>
              <a:gd name="connsiteX1020" fmla="*/ 2186608 w 4610101"/>
              <a:gd name="connsiteY1020" fmla="*/ 4906143 h 6557032"/>
              <a:gd name="connsiteX1021" fmla="*/ 2186608 w 4610101"/>
              <a:gd name="connsiteY1021" fmla="*/ 4942587 h 6557032"/>
              <a:gd name="connsiteX1022" fmla="*/ 2201186 w 4610101"/>
              <a:gd name="connsiteY1022" fmla="*/ 4951698 h 6557032"/>
              <a:gd name="connsiteX1023" fmla="*/ 2199364 w 4610101"/>
              <a:gd name="connsiteY1023" fmla="*/ 4973564 h 6557032"/>
              <a:gd name="connsiteX1024" fmla="*/ 2179320 w 4610101"/>
              <a:gd name="connsiteY1024" fmla="*/ 4988141 h 6557032"/>
              <a:gd name="connsiteX1025" fmla="*/ 2157454 w 4610101"/>
              <a:gd name="connsiteY1025" fmla="*/ 4966275 h 6557032"/>
              <a:gd name="connsiteX1026" fmla="*/ 2153809 w 4610101"/>
              <a:gd name="connsiteY1026" fmla="*/ 4940765 h 6557032"/>
              <a:gd name="connsiteX1027" fmla="*/ 2177498 w 4610101"/>
              <a:gd name="connsiteY1027" fmla="*/ 4922543 h 6557032"/>
              <a:gd name="connsiteX1028" fmla="*/ 2122832 w 4610101"/>
              <a:gd name="connsiteY1028" fmla="*/ 4864234 h 6557032"/>
              <a:gd name="connsiteX1029" fmla="*/ 2084568 w 4610101"/>
              <a:gd name="connsiteY1029" fmla="*/ 4833257 h 6557032"/>
              <a:gd name="connsiteX1030" fmla="*/ 2091855 w 4610101"/>
              <a:gd name="connsiteY1030" fmla="*/ 4818679 h 6557032"/>
              <a:gd name="connsiteX1031" fmla="*/ 2077278 w 4610101"/>
              <a:gd name="connsiteY1031" fmla="*/ 4809568 h 6557032"/>
              <a:gd name="connsiteX1032" fmla="*/ 2084568 w 4610101"/>
              <a:gd name="connsiteY1032" fmla="*/ 4794991 h 6557032"/>
              <a:gd name="connsiteX1033" fmla="*/ 2073634 w 4610101"/>
              <a:gd name="connsiteY1033" fmla="*/ 4787702 h 6557032"/>
              <a:gd name="connsiteX1034" fmla="*/ 2069989 w 4610101"/>
              <a:gd name="connsiteY1034" fmla="*/ 4734859 h 6557032"/>
              <a:gd name="connsiteX1035" fmla="*/ 2084568 w 4610101"/>
              <a:gd name="connsiteY1035" fmla="*/ 4725748 h 6557032"/>
              <a:gd name="connsiteX1036" fmla="*/ 2077278 w 4610101"/>
              <a:gd name="connsiteY1036" fmla="*/ 4711171 h 6557032"/>
              <a:gd name="connsiteX1037" fmla="*/ 2091855 w 4610101"/>
              <a:gd name="connsiteY1037" fmla="*/ 4703882 h 6557032"/>
              <a:gd name="connsiteX1038" fmla="*/ 2093679 w 4610101"/>
              <a:gd name="connsiteY1038" fmla="*/ 4682015 h 6557032"/>
              <a:gd name="connsiteX1039" fmla="*/ 2130121 w 4610101"/>
              <a:gd name="connsiteY1039" fmla="*/ 4651038 h 6557032"/>
              <a:gd name="connsiteX1040" fmla="*/ 2131943 w 4610101"/>
              <a:gd name="connsiteY1040" fmla="*/ 4629172 h 6557032"/>
              <a:gd name="connsiteX1041" fmla="*/ 2151987 w 4610101"/>
              <a:gd name="connsiteY1041" fmla="*/ 4605484 h 6557032"/>
              <a:gd name="connsiteX1042" fmla="*/ 2173853 w 4610101"/>
              <a:gd name="connsiteY1042" fmla="*/ 4612772 h 6557032"/>
              <a:gd name="connsiteX1043" fmla="*/ 2715040 w 4610101"/>
              <a:gd name="connsiteY1043" fmla="*/ 4596373 h 6557032"/>
              <a:gd name="connsiteX1044" fmla="*/ 2736906 w 4610101"/>
              <a:gd name="connsiteY1044" fmla="*/ 4620062 h 6557032"/>
              <a:gd name="connsiteX1045" fmla="*/ 2715040 w 4610101"/>
              <a:gd name="connsiteY1045" fmla="*/ 4596373 h 6557032"/>
              <a:gd name="connsiteX1046" fmla="*/ 2953744 w 4610101"/>
              <a:gd name="connsiteY1046" fmla="*/ 4596372 h 6557032"/>
              <a:gd name="connsiteX1047" fmla="*/ 2984721 w 4610101"/>
              <a:gd name="connsiteY1047" fmla="*/ 4641927 h 6557032"/>
              <a:gd name="connsiteX1048" fmla="*/ 2962855 w 4610101"/>
              <a:gd name="connsiteY1048" fmla="*/ 4641927 h 6557032"/>
              <a:gd name="connsiteX1049" fmla="*/ 2962855 w 4610101"/>
              <a:gd name="connsiteY1049" fmla="*/ 4678370 h 6557032"/>
              <a:gd name="connsiteX1050" fmla="*/ 2924589 w 4610101"/>
              <a:gd name="connsiteY1050" fmla="*/ 4678370 h 6557032"/>
              <a:gd name="connsiteX1051" fmla="*/ 2924589 w 4610101"/>
              <a:gd name="connsiteY1051" fmla="*/ 4640104 h 6557032"/>
              <a:gd name="connsiteX1052" fmla="*/ 2946455 w 4610101"/>
              <a:gd name="connsiteY1052" fmla="*/ 4640104 h 6557032"/>
              <a:gd name="connsiteX1053" fmla="*/ 2946455 w 4610101"/>
              <a:gd name="connsiteY1053" fmla="*/ 4618238 h 6557032"/>
              <a:gd name="connsiteX1054" fmla="*/ 2953744 w 4610101"/>
              <a:gd name="connsiteY1054" fmla="*/ 4596372 h 6557032"/>
              <a:gd name="connsiteX1055" fmla="*/ 783535 w 4610101"/>
              <a:gd name="connsiteY1055" fmla="*/ 4590907 h 6557032"/>
              <a:gd name="connsiteX1056" fmla="*/ 790823 w 4610101"/>
              <a:gd name="connsiteY1056" fmla="*/ 4605485 h 6557032"/>
              <a:gd name="connsiteX1057" fmla="*/ 776246 w 4610101"/>
              <a:gd name="connsiteY1057" fmla="*/ 4627351 h 6557032"/>
              <a:gd name="connsiteX1058" fmla="*/ 768957 w 4610101"/>
              <a:gd name="connsiteY1058" fmla="*/ 4612773 h 6557032"/>
              <a:gd name="connsiteX1059" fmla="*/ 783535 w 4610101"/>
              <a:gd name="connsiteY1059" fmla="*/ 4590907 h 6557032"/>
              <a:gd name="connsiteX1060" fmla="*/ 3392888 w 4610101"/>
              <a:gd name="connsiteY1060" fmla="*/ 4587261 h 6557032"/>
              <a:gd name="connsiteX1061" fmla="*/ 3392888 w 4610101"/>
              <a:gd name="connsiteY1061" fmla="*/ 4605483 h 6557032"/>
              <a:gd name="connsiteX1062" fmla="*/ 3376488 w 4610101"/>
              <a:gd name="connsiteY1062" fmla="*/ 4603661 h 6557032"/>
              <a:gd name="connsiteX1063" fmla="*/ 3152361 w 4610101"/>
              <a:gd name="connsiteY1063" fmla="*/ 4581795 h 6557032"/>
              <a:gd name="connsiteX1064" fmla="*/ 3150538 w 4610101"/>
              <a:gd name="connsiteY1064" fmla="*/ 4598195 h 6557032"/>
              <a:gd name="connsiteX1065" fmla="*/ 3135961 w 4610101"/>
              <a:gd name="connsiteY1065" fmla="*/ 4583618 h 6557032"/>
              <a:gd name="connsiteX1066" fmla="*/ 3890343 w 4610101"/>
              <a:gd name="connsiteY1066" fmla="*/ 4572685 h 6557032"/>
              <a:gd name="connsiteX1067" fmla="*/ 3892165 w 4610101"/>
              <a:gd name="connsiteY1067" fmla="*/ 4596374 h 6557032"/>
              <a:gd name="connsiteX1068" fmla="*/ 3866654 w 4610101"/>
              <a:gd name="connsiteY1068" fmla="*/ 4594551 h 6557032"/>
              <a:gd name="connsiteX1069" fmla="*/ 2924590 w 4610101"/>
              <a:gd name="connsiteY1069" fmla="*/ 4572684 h 6557032"/>
              <a:gd name="connsiteX1070" fmla="*/ 2933701 w 4610101"/>
              <a:gd name="connsiteY1070" fmla="*/ 4589084 h 6557032"/>
              <a:gd name="connsiteX1071" fmla="*/ 2910012 w 4610101"/>
              <a:gd name="connsiteY1071" fmla="*/ 4587262 h 6557032"/>
              <a:gd name="connsiteX1072" fmla="*/ 819978 w 4610101"/>
              <a:gd name="connsiteY1072" fmla="*/ 4565396 h 6557032"/>
              <a:gd name="connsiteX1073" fmla="*/ 821801 w 4610101"/>
              <a:gd name="connsiteY1073" fmla="*/ 4589085 h 6557032"/>
              <a:gd name="connsiteX1074" fmla="*/ 796290 w 4610101"/>
              <a:gd name="connsiteY1074" fmla="*/ 4587262 h 6557032"/>
              <a:gd name="connsiteX1075" fmla="*/ 1656356 w 4610101"/>
              <a:gd name="connsiteY1075" fmla="*/ 4558108 h 6557032"/>
              <a:gd name="connsiteX1076" fmla="*/ 1658178 w 4610101"/>
              <a:gd name="connsiteY1076" fmla="*/ 4581797 h 6557032"/>
              <a:gd name="connsiteX1077" fmla="*/ 1641778 w 4610101"/>
              <a:gd name="connsiteY1077" fmla="*/ 4572686 h 6557032"/>
              <a:gd name="connsiteX1078" fmla="*/ 947531 w 4610101"/>
              <a:gd name="connsiteY1078" fmla="*/ 4558108 h 6557032"/>
              <a:gd name="connsiteX1079" fmla="*/ 956641 w 4610101"/>
              <a:gd name="connsiteY1079" fmla="*/ 4574508 h 6557032"/>
              <a:gd name="connsiteX1080" fmla="*/ 943886 w 4610101"/>
              <a:gd name="connsiteY1080" fmla="*/ 4579975 h 6557032"/>
              <a:gd name="connsiteX1081" fmla="*/ 932953 w 4610101"/>
              <a:gd name="connsiteY1081" fmla="*/ 4572686 h 6557032"/>
              <a:gd name="connsiteX1082" fmla="*/ 3287202 w 4610101"/>
              <a:gd name="connsiteY1082" fmla="*/ 4558107 h 6557032"/>
              <a:gd name="connsiteX1083" fmla="*/ 3296313 w 4610101"/>
              <a:gd name="connsiteY1083" fmla="*/ 4574507 h 6557032"/>
              <a:gd name="connsiteX1084" fmla="*/ 3263514 w 4610101"/>
              <a:gd name="connsiteY1084" fmla="*/ 4572685 h 6557032"/>
              <a:gd name="connsiteX1085" fmla="*/ 1341120 w 4610101"/>
              <a:gd name="connsiteY1085" fmla="*/ 4552641 h 6557032"/>
              <a:gd name="connsiteX1086" fmla="*/ 1355698 w 4610101"/>
              <a:gd name="connsiteY1086" fmla="*/ 4583618 h 6557032"/>
              <a:gd name="connsiteX1087" fmla="*/ 1341120 w 4610101"/>
              <a:gd name="connsiteY1087" fmla="*/ 4552641 h 6557032"/>
              <a:gd name="connsiteX1088" fmla="*/ 1180769 w 4610101"/>
              <a:gd name="connsiteY1088" fmla="*/ 4552640 h 6557032"/>
              <a:gd name="connsiteX1089" fmla="*/ 1213569 w 4610101"/>
              <a:gd name="connsiteY1089" fmla="*/ 4581796 h 6557032"/>
              <a:gd name="connsiteX1090" fmla="*/ 1204458 w 4610101"/>
              <a:gd name="connsiteY1090" fmla="*/ 4596373 h 6557032"/>
              <a:gd name="connsiteX1091" fmla="*/ 1220858 w 4610101"/>
              <a:gd name="connsiteY1091" fmla="*/ 4627350 h 6557032"/>
              <a:gd name="connsiteX1092" fmla="*/ 1197168 w 4610101"/>
              <a:gd name="connsiteY1092" fmla="*/ 4625528 h 6557032"/>
              <a:gd name="connsiteX1093" fmla="*/ 1197168 w 4610101"/>
              <a:gd name="connsiteY1093" fmla="*/ 4649216 h 6557032"/>
              <a:gd name="connsiteX1094" fmla="*/ 1175302 w 4610101"/>
              <a:gd name="connsiteY1094" fmla="*/ 4632817 h 6557032"/>
              <a:gd name="connsiteX1095" fmla="*/ 1175302 w 4610101"/>
              <a:gd name="connsiteY1095" fmla="*/ 4647394 h 6557032"/>
              <a:gd name="connsiteX1096" fmla="*/ 1137037 w 4610101"/>
              <a:gd name="connsiteY1096" fmla="*/ 4625528 h 6557032"/>
              <a:gd name="connsiteX1097" fmla="*/ 1137037 w 4610101"/>
              <a:gd name="connsiteY1097" fmla="*/ 4603662 h 6557032"/>
              <a:gd name="connsiteX1098" fmla="*/ 1115170 w 4610101"/>
              <a:gd name="connsiteY1098" fmla="*/ 4603662 h 6557032"/>
              <a:gd name="connsiteX1099" fmla="*/ 1144325 w 4610101"/>
              <a:gd name="connsiteY1099" fmla="*/ 4579974 h 6557032"/>
              <a:gd name="connsiteX1100" fmla="*/ 1153436 w 4610101"/>
              <a:gd name="connsiteY1100" fmla="*/ 4559929 h 6557032"/>
              <a:gd name="connsiteX1101" fmla="*/ 978507 w 4610101"/>
              <a:gd name="connsiteY1101" fmla="*/ 4552640 h 6557032"/>
              <a:gd name="connsiteX1102" fmla="*/ 994907 w 4610101"/>
              <a:gd name="connsiteY1102" fmla="*/ 4559929 h 6557032"/>
              <a:gd name="connsiteX1103" fmla="*/ 987618 w 4610101"/>
              <a:gd name="connsiteY1103" fmla="*/ 4572684 h 6557032"/>
              <a:gd name="connsiteX1104" fmla="*/ 1018596 w 4610101"/>
              <a:gd name="connsiteY1104" fmla="*/ 4583617 h 6557032"/>
              <a:gd name="connsiteX1105" fmla="*/ 993085 w 4610101"/>
              <a:gd name="connsiteY1105" fmla="*/ 4605483 h 6557032"/>
              <a:gd name="connsiteX1106" fmla="*/ 1000374 w 4610101"/>
              <a:gd name="connsiteY1106" fmla="*/ 4618238 h 6557032"/>
              <a:gd name="connsiteX1107" fmla="*/ 978507 w 4610101"/>
              <a:gd name="connsiteY1107" fmla="*/ 4634638 h 6557032"/>
              <a:gd name="connsiteX1108" fmla="*/ 985796 w 4610101"/>
              <a:gd name="connsiteY1108" fmla="*/ 4649215 h 6557032"/>
              <a:gd name="connsiteX1109" fmla="*/ 962108 w 4610101"/>
              <a:gd name="connsiteY1109" fmla="*/ 4651037 h 6557032"/>
              <a:gd name="connsiteX1110" fmla="*/ 1002196 w 4610101"/>
              <a:gd name="connsiteY1110" fmla="*/ 4687481 h 6557032"/>
              <a:gd name="connsiteX1111" fmla="*/ 1002196 w 4610101"/>
              <a:gd name="connsiteY1111" fmla="*/ 4705703 h 6557032"/>
              <a:gd name="connsiteX1112" fmla="*/ 1002196 w 4610101"/>
              <a:gd name="connsiteY1112" fmla="*/ 4712991 h 6557032"/>
              <a:gd name="connsiteX1113" fmla="*/ 1004018 w 4610101"/>
              <a:gd name="connsiteY1113" fmla="*/ 4725747 h 6557032"/>
              <a:gd name="connsiteX1114" fmla="*/ 1018596 w 4610101"/>
              <a:gd name="connsiteY1114" fmla="*/ 4742146 h 6557032"/>
              <a:gd name="connsiteX1115" fmla="*/ 1031350 w 4610101"/>
              <a:gd name="connsiteY1115" fmla="*/ 4734858 h 6557032"/>
              <a:gd name="connsiteX1116" fmla="*/ 1055040 w 4610101"/>
              <a:gd name="connsiteY1116" fmla="*/ 4753079 h 6557032"/>
              <a:gd name="connsiteX1117" fmla="*/ 1053216 w 4610101"/>
              <a:gd name="connsiteY1117" fmla="*/ 4774945 h 6557032"/>
              <a:gd name="connsiteX1118" fmla="*/ 1040461 w 4610101"/>
              <a:gd name="connsiteY1118" fmla="*/ 4791345 h 6557032"/>
              <a:gd name="connsiteX1119" fmla="*/ 1002196 w 4610101"/>
              <a:gd name="connsiteY1119" fmla="*/ 4791345 h 6557032"/>
              <a:gd name="connsiteX1120" fmla="*/ 1002196 w 4610101"/>
              <a:gd name="connsiteY1120" fmla="*/ 4753079 h 6557032"/>
              <a:gd name="connsiteX1121" fmla="*/ 978507 w 4610101"/>
              <a:gd name="connsiteY1121" fmla="*/ 4753079 h 6557032"/>
              <a:gd name="connsiteX1122" fmla="*/ 978507 w 4610101"/>
              <a:gd name="connsiteY1122" fmla="*/ 4791345 h 6557032"/>
              <a:gd name="connsiteX1123" fmla="*/ 1009485 w 4610101"/>
              <a:gd name="connsiteY1123" fmla="*/ 4836899 h 6557032"/>
              <a:gd name="connsiteX1124" fmla="*/ 978507 w 4610101"/>
              <a:gd name="connsiteY1124" fmla="*/ 4860587 h 6557032"/>
              <a:gd name="connsiteX1125" fmla="*/ 982152 w 4610101"/>
              <a:gd name="connsiteY1125" fmla="*/ 4875165 h 6557032"/>
              <a:gd name="connsiteX1126" fmla="*/ 978507 w 4610101"/>
              <a:gd name="connsiteY1126" fmla="*/ 4898853 h 6557032"/>
              <a:gd name="connsiteX1127" fmla="*/ 956641 w 4610101"/>
              <a:gd name="connsiteY1127" fmla="*/ 4882454 h 6557032"/>
              <a:gd name="connsiteX1128" fmla="*/ 956641 w 4610101"/>
              <a:gd name="connsiteY1128" fmla="*/ 4904320 h 6557032"/>
              <a:gd name="connsiteX1129" fmla="*/ 949352 w 4610101"/>
              <a:gd name="connsiteY1129" fmla="*/ 4918897 h 6557032"/>
              <a:gd name="connsiteX1130" fmla="*/ 949352 w 4610101"/>
              <a:gd name="connsiteY1130" fmla="*/ 4957162 h 6557032"/>
              <a:gd name="connsiteX1131" fmla="*/ 934775 w 4610101"/>
              <a:gd name="connsiteY1131" fmla="*/ 4911608 h 6557032"/>
              <a:gd name="connsiteX1132" fmla="*/ 942064 w 4610101"/>
              <a:gd name="connsiteY1132" fmla="*/ 4897031 h 6557032"/>
              <a:gd name="connsiteX1133" fmla="*/ 942064 w 4610101"/>
              <a:gd name="connsiteY1133" fmla="*/ 4875165 h 6557032"/>
              <a:gd name="connsiteX1134" fmla="*/ 920198 w 4610101"/>
              <a:gd name="connsiteY1134" fmla="*/ 4875165 h 6557032"/>
              <a:gd name="connsiteX1135" fmla="*/ 905620 w 4610101"/>
              <a:gd name="connsiteY1135" fmla="*/ 4824144 h 6557032"/>
              <a:gd name="connsiteX1136" fmla="*/ 927486 w 4610101"/>
              <a:gd name="connsiteY1136" fmla="*/ 4807745 h 6557032"/>
              <a:gd name="connsiteX1137" fmla="*/ 920198 w 4610101"/>
              <a:gd name="connsiteY1137" fmla="*/ 4794989 h 6557032"/>
              <a:gd name="connsiteX1138" fmla="*/ 925664 w 4610101"/>
              <a:gd name="connsiteY1138" fmla="*/ 4785878 h 6557032"/>
              <a:gd name="connsiteX1139" fmla="*/ 940242 w 4610101"/>
              <a:gd name="connsiteY1139" fmla="*/ 4793167 h 6557032"/>
              <a:gd name="connsiteX1140" fmla="*/ 956641 w 4610101"/>
              <a:gd name="connsiteY1140" fmla="*/ 4771301 h 6557032"/>
              <a:gd name="connsiteX1141" fmla="*/ 925664 w 4610101"/>
              <a:gd name="connsiteY1141" fmla="*/ 4785878 h 6557032"/>
              <a:gd name="connsiteX1142" fmla="*/ 901976 w 4610101"/>
              <a:gd name="connsiteY1142" fmla="*/ 4754902 h 6557032"/>
              <a:gd name="connsiteX1143" fmla="*/ 907442 w 4610101"/>
              <a:gd name="connsiteY1143" fmla="*/ 4742146 h 6557032"/>
              <a:gd name="connsiteX1144" fmla="*/ 894687 w 4610101"/>
              <a:gd name="connsiteY1144" fmla="*/ 4711169 h 6557032"/>
              <a:gd name="connsiteX1145" fmla="*/ 925664 w 4610101"/>
              <a:gd name="connsiteY1145" fmla="*/ 4687481 h 6557032"/>
              <a:gd name="connsiteX1146" fmla="*/ 918376 w 4610101"/>
              <a:gd name="connsiteY1146" fmla="*/ 4672904 h 6557032"/>
              <a:gd name="connsiteX1147" fmla="*/ 932953 w 4610101"/>
              <a:gd name="connsiteY1147" fmla="*/ 4672904 h 6557032"/>
              <a:gd name="connsiteX1148" fmla="*/ 932953 w 4610101"/>
              <a:gd name="connsiteY1148" fmla="*/ 4658326 h 6557032"/>
              <a:gd name="connsiteX1149" fmla="*/ 947530 w 4610101"/>
              <a:gd name="connsiteY1149" fmla="*/ 4658326 h 6557032"/>
              <a:gd name="connsiteX1150" fmla="*/ 954819 w 4610101"/>
              <a:gd name="connsiteY1150" fmla="*/ 4636460 h 6557032"/>
              <a:gd name="connsiteX1151" fmla="*/ 947530 w 4610101"/>
              <a:gd name="connsiteY1151" fmla="*/ 4629171 h 6557032"/>
              <a:gd name="connsiteX1152" fmla="*/ 954819 w 4610101"/>
              <a:gd name="connsiteY1152" fmla="*/ 4614594 h 6557032"/>
              <a:gd name="connsiteX1153" fmla="*/ 947530 w 4610101"/>
              <a:gd name="connsiteY1153" fmla="*/ 4598195 h 6557032"/>
              <a:gd name="connsiteX1154" fmla="*/ 976685 w 4610101"/>
              <a:gd name="connsiteY1154" fmla="*/ 4605483 h 6557032"/>
              <a:gd name="connsiteX1155" fmla="*/ 985796 w 4610101"/>
              <a:gd name="connsiteY1155" fmla="*/ 4598195 h 6557032"/>
              <a:gd name="connsiteX1156" fmla="*/ 978507 w 4610101"/>
              <a:gd name="connsiteY1156" fmla="*/ 4583617 h 6557032"/>
              <a:gd name="connsiteX1157" fmla="*/ 1523337 w 4610101"/>
              <a:gd name="connsiteY1157" fmla="*/ 4550819 h 6557032"/>
              <a:gd name="connsiteX1158" fmla="*/ 1547026 w 4610101"/>
              <a:gd name="connsiteY1158" fmla="*/ 4550819 h 6557032"/>
              <a:gd name="connsiteX1159" fmla="*/ 1543381 w 4610101"/>
              <a:gd name="connsiteY1159" fmla="*/ 4570863 h 6557032"/>
              <a:gd name="connsiteX1160" fmla="*/ 1542096 w 4610101"/>
              <a:gd name="connsiteY1160" fmla="*/ 4571077 h 6557032"/>
              <a:gd name="connsiteX1161" fmla="*/ 1532448 w 4610101"/>
              <a:gd name="connsiteY1161" fmla="*/ 4572685 h 6557032"/>
              <a:gd name="connsiteX1162" fmla="*/ 3361911 w 4610101"/>
              <a:gd name="connsiteY1162" fmla="*/ 4543529 h 6557032"/>
              <a:gd name="connsiteX1163" fmla="*/ 3363733 w 4610101"/>
              <a:gd name="connsiteY1163" fmla="*/ 4559929 h 6557032"/>
              <a:gd name="connsiteX1164" fmla="*/ 3347333 w 4610101"/>
              <a:gd name="connsiteY1164" fmla="*/ 4558106 h 6557032"/>
              <a:gd name="connsiteX1165" fmla="*/ 2864458 w 4610101"/>
              <a:gd name="connsiteY1165" fmla="*/ 4536240 h 6557032"/>
              <a:gd name="connsiteX1166" fmla="*/ 2889969 w 4610101"/>
              <a:gd name="connsiteY1166" fmla="*/ 4538063 h 6557032"/>
              <a:gd name="connsiteX1167" fmla="*/ 2873569 w 4610101"/>
              <a:gd name="connsiteY1167" fmla="*/ 4550818 h 6557032"/>
              <a:gd name="connsiteX1168" fmla="*/ 276971 w 4610101"/>
              <a:gd name="connsiteY1168" fmla="*/ 4534419 h 6557032"/>
              <a:gd name="connsiteX1169" fmla="*/ 286082 w 4610101"/>
              <a:gd name="connsiteY1169" fmla="*/ 4550819 h 6557032"/>
              <a:gd name="connsiteX1170" fmla="*/ 271504 w 4610101"/>
              <a:gd name="connsiteY1170" fmla="*/ 4558107 h 6557032"/>
              <a:gd name="connsiteX1171" fmla="*/ 262393 w 4610101"/>
              <a:gd name="connsiteY1171" fmla="*/ 4550819 h 6557032"/>
              <a:gd name="connsiteX1172" fmla="*/ 2059057 w 4610101"/>
              <a:gd name="connsiteY1172" fmla="*/ 4527131 h 6557032"/>
              <a:gd name="connsiteX1173" fmla="*/ 2080923 w 4610101"/>
              <a:gd name="connsiteY1173" fmla="*/ 4530776 h 6557032"/>
              <a:gd name="connsiteX1174" fmla="*/ 2095501 w 4610101"/>
              <a:gd name="connsiteY1174" fmla="*/ 4536242 h 6557032"/>
              <a:gd name="connsiteX1175" fmla="*/ 2104612 w 4610101"/>
              <a:gd name="connsiteY1175" fmla="*/ 4548997 h 6557032"/>
              <a:gd name="connsiteX1176" fmla="*/ 2097323 w 4610101"/>
              <a:gd name="connsiteY1176" fmla="*/ 4579974 h 6557032"/>
              <a:gd name="connsiteX1177" fmla="*/ 2059057 w 4610101"/>
              <a:gd name="connsiteY1177" fmla="*/ 4527131 h 6557032"/>
              <a:gd name="connsiteX1178" fmla="*/ 1838574 w 4610101"/>
              <a:gd name="connsiteY1178" fmla="*/ 4527130 h 6557032"/>
              <a:gd name="connsiteX1179" fmla="*/ 1840396 w 4610101"/>
              <a:gd name="connsiteY1179" fmla="*/ 4543530 h 6557032"/>
              <a:gd name="connsiteX1180" fmla="*/ 1822174 w 4610101"/>
              <a:gd name="connsiteY1180" fmla="*/ 4543530 h 6557032"/>
              <a:gd name="connsiteX1181" fmla="*/ 3414755 w 4610101"/>
              <a:gd name="connsiteY1181" fmla="*/ 4521664 h 6557032"/>
              <a:gd name="connsiteX1182" fmla="*/ 3440266 w 4610101"/>
              <a:gd name="connsiteY1182" fmla="*/ 4530775 h 6557032"/>
              <a:gd name="connsiteX1183" fmla="*/ 3423866 w 4610101"/>
              <a:gd name="connsiteY1183" fmla="*/ 4543531 h 6557032"/>
              <a:gd name="connsiteX1184" fmla="*/ 2993833 w 4610101"/>
              <a:gd name="connsiteY1184" fmla="*/ 4521664 h 6557032"/>
              <a:gd name="connsiteX1185" fmla="*/ 2993833 w 4610101"/>
              <a:gd name="connsiteY1185" fmla="*/ 4536242 h 6557032"/>
              <a:gd name="connsiteX1186" fmla="*/ 3010232 w 4610101"/>
              <a:gd name="connsiteY1186" fmla="*/ 4536242 h 6557032"/>
              <a:gd name="connsiteX1187" fmla="*/ 2999300 w 4610101"/>
              <a:gd name="connsiteY1187" fmla="*/ 4552641 h 6557032"/>
              <a:gd name="connsiteX1188" fmla="*/ 2977433 w 4610101"/>
              <a:gd name="connsiteY1188" fmla="*/ 4530775 h 6557032"/>
              <a:gd name="connsiteX1189" fmla="*/ 2811616 w 4610101"/>
              <a:gd name="connsiteY1189" fmla="*/ 4521664 h 6557032"/>
              <a:gd name="connsiteX1190" fmla="*/ 2818904 w 4610101"/>
              <a:gd name="connsiteY1190" fmla="*/ 4550819 h 6557032"/>
              <a:gd name="connsiteX1191" fmla="*/ 2804327 w 4610101"/>
              <a:gd name="connsiteY1191" fmla="*/ 4559930 h 6557032"/>
              <a:gd name="connsiteX1192" fmla="*/ 2797038 w 4610101"/>
              <a:gd name="connsiteY1192" fmla="*/ 4528953 h 6557032"/>
              <a:gd name="connsiteX1193" fmla="*/ 2654907 w 4610101"/>
              <a:gd name="connsiteY1193" fmla="*/ 4521664 h 6557032"/>
              <a:gd name="connsiteX1194" fmla="*/ 2671307 w 4610101"/>
              <a:gd name="connsiteY1194" fmla="*/ 4530775 h 6557032"/>
              <a:gd name="connsiteX1195" fmla="*/ 2654907 w 4610101"/>
              <a:gd name="connsiteY1195" fmla="*/ 4543531 h 6557032"/>
              <a:gd name="connsiteX1196" fmla="*/ 2518245 w 4610101"/>
              <a:gd name="connsiteY1196" fmla="*/ 4521664 h 6557032"/>
              <a:gd name="connsiteX1197" fmla="*/ 2540111 w 4610101"/>
              <a:gd name="connsiteY1197" fmla="*/ 4543531 h 6557032"/>
              <a:gd name="connsiteX1198" fmla="*/ 2518245 w 4610101"/>
              <a:gd name="connsiteY1198" fmla="*/ 4543531 h 6557032"/>
              <a:gd name="connsiteX1199" fmla="*/ 3077651 w 4610101"/>
              <a:gd name="connsiteY1199" fmla="*/ 4521663 h 6557032"/>
              <a:gd name="connsiteX1200" fmla="*/ 3099518 w 4610101"/>
              <a:gd name="connsiteY1200" fmla="*/ 4521663 h 6557032"/>
              <a:gd name="connsiteX1201" fmla="*/ 3106806 w 4610101"/>
              <a:gd name="connsiteY1201" fmla="*/ 4536242 h 6557032"/>
              <a:gd name="connsiteX1202" fmla="*/ 3137783 w 4610101"/>
              <a:gd name="connsiteY1202" fmla="*/ 4528952 h 6557032"/>
              <a:gd name="connsiteX1203" fmla="*/ 3137783 w 4610101"/>
              <a:gd name="connsiteY1203" fmla="*/ 4543531 h 6557032"/>
              <a:gd name="connsiteX1204" fmla="*/ 3121384 w 4610101"/>
              <a:gd name="connsiteY1204" fmla="*/ 4543531 h 6557032"/>
              <a:gd name="connsiteX1205" fmla="*/ 3130494 w 4610101"/>
              <a:gd name="connsiteY1205" fmla="*/ 4558108 h 6557032"/>
              <a:gd name="connsiteX1206" fmla="*/ 3106806 w 4610101"/>
              <a:gd name="connsiteY1206" fmla="*/ 4603662 h 6557032"/>
              <a:gd name="connsiteX1207" fmla="*/ 3114095 w 4610101"/>
              <a:gd name="connsiteY1207" fmla="*/ 4620062 h 6557032"/>
              <a:gd name="connsiteX1208" fmla="*/ 3092229 w 4610101"/>
              <a:gd name="connsiteY1208" fmla="*/ 4610951 h 6557032"/>
              <a:gd name="connsiteX1209" fmla="*/ 3077651 w 4610101"/>
              <a:gd name="connsiteY1209" fmla="*/ 4618239 h 6557032"/>
              <a:gd name="connsiteX1210" fmla="*/ 3053963 w 4610101"/>
              <a:gd name="connsiteY1210" fmla="*/ 4572685 h 6557032"/>
              <a:gd name="connsiteX1211" fmla="*/ 3063074 w 4610101"/>
              <a:gd name="connsiteY1211" fmla="*/ 4558108 h 6557032"/>
              <a:gd name="connsiteX1212" fmla="*/ 3055785 w 4610101"/>
              <a:gd name="connsiteY1212" fmla="*/ 4536242 h 6557032"/>
              <a:gd name="connsiteX1213" fmla="*/ 3077651 w 4610101"/>
              <a:gd name="connsiteY1213" fmla="*/ 4521663 h 6557032"/>
              <a:gd name="connsiteX1214" fmla="*/ 3447553 w 4610101"/>
              <a:gd name="connsiteY1214" fmla="*/ 4519842 h 6557032"/>
              <a:gd name="connsiteX1215" fmla="*/ 3462131 w 4610101"/>
              <a:gd name="connsiteY1215" fmla="*/ 4528952 h 6557032"/>
              <a:gd name="connsiteX1216" fmla="*/ 3474886 w 4610101"/>
              <a:gd name="connsiteY1216" fmla="*/ 4523485 h 6557032"/>
              <a:gd name="connsiteX1217" fmla="*/ 3485820 w 4610101"/>
              <a:gd name="connsiteY1217" fmla="*/ 4530774 h 6557032"/>
              <a:gd name="connsiteX1218" fmla="*/ 3469420 w 4610101"/>
              <a:gd name="connsiteY1218" fmla="*/ 4543529 h 6557032"/>
              <a:gd name="connsiteX1219" fmla="*/ 3462131 w 4610101"/>
              <a:gd name="connsiteY1219" fmla="*/ 4528953 h 6557032"/>
              <a:gd name="connsiteX1220" fmla="*/ 3445731 w 4610101"/>
              <a:gd name="connsiteY1220" fmla="*/ 4543531 h 6557032"/>
              <a:gd name="connsiteX1221" fmla="*/ 3575106 w 4610101"/>
              <a:gd name="connsiteY1221" fmla="*/ 4518020 h 6557032"/>
              <a:gd name="connsiteX1222" fmla="*/ 3595150 w 4610101"/>
              <a:gd name="connsiteY1222" fmla="*/ 4541709 h 6557032"/>
              <a:gd name="connsiteX1223" fmla="*/ 3575106 w 4610101"/>
              <a:gd name="connsiteY1223" fmla="*/ 4559930 h 6557032"/>
              <a:gd name="connsiteX1224" fmla="*/ 3575106 w 4610101"/>
              <a:gd name="connsiteY1224" fmla="*/ 4518020 h 6557032"/>
              <a:gd name="connsiteX1225" fmla="*/ 3959584 w 4610101"/>
              <a:gd name="connsiteY1225" fmla="*/ 4512552 h 6557032"/>
              <a:gd name="connsiteX1226" fmla="*/ 3979628 w 4610101"/>
              <a:gd name="connsiteY1226" fmla="*/ 4528952 h 6557032"/>
              <a:gd name="connsiteX1227" fmla="*/ 3990561 w 4610101"/>
              <a:gd name="connsiteY1227" fmla="*/ 4559929 h 6557032"/>
              <a:gd name="connsiteX1228" fmla="*/ 3981450 w 4610101"/>
              <a:gd name="connsiteY1228" fmla="*/ 4570862 h 6557032"/>
              <a:gd name="connsiteX1229" fmla="*/ 3979831 w 4610101"/>
              <a:gd name="connsiteY1229" fmla="*/ 4571267 h 6557032"/>
              <a:gd name="connsiteX1230" fmla="*/ 3966873 w 4610101"/>
              <a:gd name="connsiteY1230" fmla="*/ 4574506 h 6557032"/>
              <a:gd name="connsiteX1231" fmla="*/ 3974161 w 4610101"/>
              <a:gd name="connsiteY1231" fmla="*/ 4589084 h 6557032"/>
              <a:gd name="connsiteX1232" fmla="*/ 3921318 w 4610101"/>
              <a:gd name="connsiteY1232" fmla="*/ 4558107 h 6557032"/>
              <a:gd name="connsiteX1233" fmla="*/ 3921318 w 4610101"/>
              <a:gd name="connsiteY1233" fmla="*/ 4536241 h 6557032"/>
              <a:gd name="connsiteX1234" fmla="*/ 3937718 w 4610101"/>
              <a:gd name="connsiteY1234" fmla="*/ 4534419 h 6557032"/>
              <a:gd name="connsiteX1235" fmla="*/ 3919496 w 4610101"/>
              <a:gd name="connsiteY1235" fmla="*/ 4523485 h 6557032"/>
              <a:gd name="connsiteX1236" fmla="*/ 3536841 w 4610101"/>
              <a:gd name="connsiteY1236" fmla="*/ 4507087 h 6557032"/>
              <a:gd name="connsiteX1237" fmla="*/ 3536841 w 4610101"/>
              <a:gd name="connsiteY1237" fmla="*/ 4514376 h 6557032"/>
              <a:gd name="connsiteX1238" fmla="*/ 3498575 w 4610101"/>
              <a:gd name="connsiteY1238" fmla="*/ 4528953 h 6557032"/>
              <a:gd name="connsiteX1239" fmla="*/ 3491286 w 4610101"/>
              <a:gd name="connsiteY1239" fmla="*/ 4514376 h 6557032"/>
              <a:gd name="connsiteX1240" fmla="*/ 2638508 w 4610101"/>
              <a:gd name="connsiteY1240" fmla="*/ 4507086 h 6557032"/>
              <a:gd name="connsiteX1241" fmla="*/ 2654908 w 4610101"/>
              <a:gd name="connsiteY1241" fmla="*/ 4507086 h 6557032"/>
              <a:gd name="connsiteX1242" fmla="*/ 2654908 w 4610101"/>
              <a:gd name="connsiteY1242" fmla="*/ 4521663 h 6557032"/>
              <a:gd name="connsiteX1243" fmla="*/ 3332757 w 4610101"/>
              <a:gd name="connsiteY1243" fmla="*/ 4505265 h 6557032"/>
              <a:gd name="connsiteX1244" fmla="*/ 3310891 w 4610101"/>
              <a:gd name="connsiteY1244" fmla="*/ 4536242 h 6557032"/>
              <a:gd name="connsiteX1245" fmla="*/ 3303602 w 4610101"/>
              <a:gd name="connsiteY1245" fmla="*/ 4528954 h 6557032"/>
              <a:gd name="connsiteX1246" fmla="*/ 3332757 w 4610101"/>
              <a:gd name="connsiteY1246" fmla="*/ 4505265 h 6557032"/>
              <a:gd name="connsiteX1247" fmla="*/ 2858992 w 4610101"/>
              <a:gd name="connsiteY1247" fmla="*/ 4501620 h 6557032"/>
              <a:gd name="connsiteX1248" fmla="*/ 2889969 w 4610101"/>
              <a:gd name="connsiteY1248" fmla="*/ 4507087 h 6557032"/>
              <a:gd name="connsiteX1249" fmla="*/ 2889969 w 4610101"/>
              <a:gd name="connsiteY1249" fmla="*/ 4514375 h 6557032"/>
              <a:gd name="connsiteX1250" fmla="*/ 2851703 w 4610101"/>
              <a:gd name="connsiteY1250" fmla="*/ 4528953 h 6557032"/>
              <a:gd name="connsiteX1251" fmla="*/ 2842592 w 4610101"/>
              <a:gd name="connsiteY1251" fmla="*/ 4519842 h 6557032"/>
              <a:gd name="connsiteX1252" fmla="*/ 2095500 w 4610101"/>
              <a:gd name="connsiteY1252" fmla="*/ 4499797 h 6557032"/>
              <a:gd name="connsiteX1253" fmla="*/ 2095500 w 4610101"/>
              <a:gd name="connsiteY1253" fmla="*/ 4514375 h 6557032"/>
              <a:gd name="connsiteX1254" fmla="*/ 2079100 w 4610101"/>
              <a:gd name="connsiteY1254" fmla="*/ 4512552 h 6557032"/>
              <a:gd name="connsiteX1255" fmla="*/ 3361911 w 4610101"/>
              <a:gd name="connsiteY1255" fmla="*/ 4497976 h 6557032"/>
              <a:gd name="connsiteX1256" fmla="*/ 3363733 w 4610101"/>
              <a:gd name="connsiteY1256" fmla="*/ 4521664 h 6557032"/>
              <a:gd name="connsiteX1257" fmla="*/ 3347333 w 4610101"/>
              <a:gd name="connsiteY1257" fmla="*/ 4512553 h 6557032"/>
              <a:gd name="connsiteX1258" fmla="*/ 3145073 w 4610101"/>
              <a:gd name="connsiteY1258" fmla="*/ 4497976 h 6557032"/>
              <a:gd name="connsiteX1259" fmla="*/ 3166938 w 4610101"/>
              <a:gd name="connsiteY1259" fmla="*/ 4514375 h 6557032"/>
              <a:gd name="connsiteX1260" fmla="*/ 3181516 w 4610101"/>
              <a:gd name="connsiteY1260" fmla="*/ 4507086 h 6557032"/>
              <a:gd name="connsiteX1261" fmla="*/ 3181516 w 4610101"/>
              <a:gd name="connsiteY1261" fmla="*/ 4521663 h 6557032"/>
              <a:gd name="connsiteX1262" fmla="*/ 3166939 w 4610101"/>
              <a:gd name="connsiteY1262" fmla="*/ 4514376 h 6557032"/>
              <a:gd name="connsiteX1263" fmla="*/ 3159650 w 4610101"/>
              <a:gd name="connsiteY1263" fmla="*/ 4521664 h 6557032"/>
              <a:gd name="connsiteX1264" fmla="*/ 3152362 w 4610101"/>
              <a:gd name="connsiteY1264" fmla="*/ 4543531 h 6557032"/>
              <a:gd name="connsiteX1265" fmla="*/ 3137784 w 4610101"/>
              <a:gd name="connsiteY1265" fmla="*/ 4507087 h 6557032"/>
              <a:gd name="connsiteX1266" fmla="*/ 41910 w 4610101"/>
              <a:gd name="connsiteY1266" fmla="*/ 4497976 h 6557032"/>
              <a:gd name="connsiteX1267" fmla="*/ 51021 w 4610101"/>
              <a:gd name="connsiteY1267" fmla="*/ 4512553 h 6557032"/>
              <a:gd name="connsiteX1268" fmla="*/ 38265 w 4610101"/>
              <a:gd name="connsiteY1268" fmla="*/ 4519842 h 6557032"/>
              <a:gd name="connsiteX1269" fmla="*/ 27332 w 4610101"/>
              <a:gd name="connsiteY1269" fmla="*/ 4512553 h 6557032"/>
              <a:gd name="connsiteX1270" fmla="*/ 3414753 w 4610101"/>
              <a:gd name="connsiteY1270" fmla="*/ 4490687 h 6557032"/>
              <a:gd name="connsiteX1271" fmla="*/ 3416576 w 4610101"/>
              <a:gd name="connsiteY1271" fmla="*/ 4514376 h 6557032"/>
              <a:gd name="connsiteX1272" fmla="*/ 3400176 w 4610101"/>
              <a:gd name="connsiteY1272" fmla="*/ 4505265 h 6557032"/>
              <a:gd name="connsiteX1273" fmla="*/ 3473064 w 4610101"/>
              <a:gd name="connsiteY1273" fmla="*/ 4488865 h 6557032"/>
              <a:gd name="connsiteX1274" fmla="*/ 3470029 w 4610101"/>
              <a:gd name="connsiteY1274" fmla="*/ 4490686 h 6557032"/>
              <a:gd name="connsiteX1275" fmla="*/ 3476251 w 4610101"/>
              <a:gd name="connsiteY1275" fmla="*/ 4490686 h 6557032"/>
              <a:gd name="connsiteX1276" fmla="*/ 3441827 w 4610101"/>
              <a:gd name="connsiteY1276" fmla="*/ 4483919 h 6557032"/>
              <a:gd name="connsiteX1277" fmla="*/ 3438443 w 4610101"/>
              <a:gd name="connsiteY1277" fmla="*/ 4490686 h 6557032"/>
              <a:gd name="connsiteX1278" fmla="*/ 3456207 w 4610101"/>
              <a:gd name="connsiteY1278" fmla="*/ 4490686 h 6557032"/>
              <a:gd name="connsiteX1279" fmla="*/ 3892164 w 4610101"/>
              <a:gd name="connsiteY1279" fmla="*/ 4483399 h 6557032"/>
              <a:gd name="connsiteX1280" fmla="*/ 3883054 w 4610101"/>
              <a:gd name="connsiteY1280" fmla="*/ 4507087 h 6557032"/>
              <a:gd name="connsiteX1281" fmla="*/ 3855721 w 4610101"/>
              <a:gd name="connsiteY1281" fmla="*/ 4536242 h 6557032"/>
              <a:gd name="connsiteX1282" fmla="*/ 3846610 w 4610101"/>
              <a:gd name="connsiteY1282" fmla="*/ 4507087 h 6557032"/>
              <a:gd name="connsiteX1283" fmla="*/ 3883053 w 4610101"/>
              <a:gd name="connsiteY1283" fmla="*/ 4507087 h 6557032"/>
              <a:gd name="connsiteX1284" fmla="*/ 3875764 w 4610101"/>
              <a:gd name="connsiteY1284" fmla="*/ 4492510 h 6557032"/>
              <a:gd name="connsiteX1285" fmla="*/ 2104612 w 4610101"/>
              <a:gd name="connsiteY1285" fmla="*/ 4481575 h 6557032"/>
              <a:gd name="connsiteX1286" fmla="*/ 2119190 w 4610101"/>
              <a:gd name="connsiteY1286" fmla="*/ 4499797 h 6557032"/>
              <a:gd name="connsiteX1287" fmla="*/ 2095501 w 4610101"/>
              <a:gd name="connsiteY1287" fmla="*/ 4499797 h 6557032"/>
              <a:gd name="connsiteX1288" fmla="*/ 3327291 w 4610101"/>
              <a:gd name="connsiteY1288" fmla="*/ 4474288 h 6557032"/>
              <a:gd name="connsiteX1289" fmla="*/ 3356446 w 4610101"/>
              <a:gd name="connsiteY1289" fmla="*/ 4490688 h 6557032"/>
              <a:gd name="connsiteX1290" fmla="*/ 3318180 w 4610101"/>
              <a:gd name="connsiteY1290" fmla="*/ 4499799 h 6557032"/>
              <a:gd name="connsiteX1291" fmla="*/ 2791570 w 4610101"/>
              <a:gd name="connsiteY1291" fmla="*/ 4468820 h 6557032"/>
              <a:gd name="connsiteX1292" fmla="*/ 2782459 w 4610101"/>
              <a:gd name="connsiteY1292" fmla="*/ 4497975 h 6557032"/>
              <a:gd name="connsiteX1293" fmla="*/ 2798859 w 4610101"/>
              <a:gd name="connsiteY1293" fmla="*/ 4508908 h 6557032"/>
              <a:gd name="connsiteX1294" fmla="*/ 2791570 w 4610101"/>
              <a:gd name="connsiteY1294" fmla="*/ 4521663 h 6557032"/>
              <a:gd name="connsiteX1295" fmla="*/ 2797037 w 4610101"/>
              <a:gd name="connsiteY1295" fmla="*/ 4530774 h 6557032"/>
              <a:gd name="connsiteX1296" fmla="*/ 2775171 w 4610101"/>
              <a:gd name="connsiteY1296" fmla="*/ 4552640 h 6557032"/>
              <a:gd name="connsiteX1297" fmla="*/ 2753305 w 4610101"/>
              <a:gd name="connsiteY1297" fmla="*/ 4548996 h 6557032"/>
              <a:gd name="connsiteX1298" fmla="*/ 2736905 w 4610101"/>
              <a:gd name="connsiteY1298" fmla="*/ 4545351 h 6557032"/>
              <a:gd name="connsiteX1299" fmla="*/ 2729616 w 4610101"/>
              <a:gd name="connsiteY1299" fmla="*/ 4514375 h 6557032"/>
              <a:gd name="connsiteX1300" fmla="*/ 2729616 w 4610101"/>
              <a:gd name="connsiteY1300" fmla="*/ 4492509 h 6557032"/>
              <a:gd name="connsiteX1301" fmla="*/ 2910011 w 4610101"/>
              <a:gd name="connsiteY1301" fmla="*/ 4461533 h 6557032"/>
              <a:gd name="connsiteX1302" fmla="*/ 2926411 w 4610101"/>
              <a:gd name="connsiteY1302" fmla="*/ 4468822 h 6557032"/>
              <a:gd name="connsiteX1303" fmla="*/ 2926411 w 4610101"/>
              <a:gd name="connsiteY1303" fmla="*/ 4483398 h 6557032"/>
              <a:gd name="connsiteX1304" fmla="*/ 2942811 w 4610101"/>
              <a:gd name="connsiteY1304" fmla="*/ 4485220 h 6557032"/>
              <a:gd name="connsiteX1305" fmla="*/ 2926411 w 4610101"/>
              <a:gd name="connsiteY1305" fmla="*/ 4499798 h 6557032"/>
              <a:gd name="connsiteX1306" fmla="*/ 2926411 w 4610101"/>
              <a:gd name="connsiteY1306" fmla="*/ 4483399 h 6557032"/>
              <a:gd name="connsiteX1307" fmla="*/ 2910011 w 4610101"/>
              <a:gd name="connsiteY1307" fmla="*/ 4483399 h 6557032"/>
              <a:gd name="connsiteX1308" fmla="*/ 3039387 w 4610101"/>
              <a:gd name="connsiteY1308" fmla="*/ 4454244 h 6557032"/>
              <a:gd name="connsiteX1309" fmla="*/ 3053965 w 4610101"/>
              <a:gd name="connsiteY1309" fmla="*/ 4468822 h 6557032"/>
              <a:gd name="connsiteX1310" fmla="*/ 3075831 w 4610101"/>
              <a:gd name="connsiteY1310" fmla="*/ 4461533 h 6557032"/>
              <a:gd name="connsiteX1311" fmla="*/ 3075831 w 4610101"/>
              <a:gd name="connsiteY1311" fmla="*/ 4483399 h 6557032"/>
              <a:gd name="connsiteX1312" fmla="*/ 3039387 w 4610101"/>
              <a:gd name="connsiteY1312" fmla="*/ 4483399 h 6557032"/>
              <a:gd name="connsiteX1313" fmla="*/ 3030276 w 4610101"/>
              <a:gd name="connsiteY1313" fmla="*/ 4468822 h 6557032"/>
              <a:gd name="connsiteX1314" fmla="*/ 1093305 w 4610101"/>
              <a:gd name="connsiteY1314" fmla="*/ 4454243 h 6557032"/>
              <a:gd name="connsiteX1315" fmla="*/ 1091484 w 4610101"/>
              <a:gd name="connsiteY1315" fmla="*/ 4470643 h 6557032"/>
              <a:gd name="connsiteX1316" fmla="*/ 1076905 w 4610101"/>
              <a:gd name="connsiteY1316" fmla="*/ 4456066 h 6557032"/>
              <a:gd name="connsiteX1317" fmla="*/ 3491017 w 4610101"/>
              <a:gd name="connsiteY1317" fmla="*/ 4452421 h 6557032"/>
              <a:gd name="connsiteX1318" fmla="*/ 3491286 w 4610101"/>
              <a:gd name="connsiteY1318" fmla="*/ 4452421 h 6557032"/>
              <a:gd name="connsiteX1319" fmla="*/ 3491230 w 4610101"/>
              <a:gd name="connsiteY1319" fmla="*/ 4452605 h 6557032"/>
              <a:gd name="connsiteX1320" fmla="*/ 2902724 w 4610101"/>
              <a:gd name="connsiteY1320" fmla="*/ 4446955 h 6557032"/>
              <a:gd name="connsiteX1321" fmla="*/ 2910013 w 4610101"/>
              <a:gd name="connsiteY1321" fmla="*/ 4461533 h 6557032"/>
              <a:gd name="connsiteX1322" fmla="*/ 2910011 w 4610101"/>
              <a:gd name="connsiteY1322" fmla="*/ 4461533 h 6557032"/>
              <a:gd name="connsiteX1323" fmla="*/ 2895435 w 4610101"/>
              <a:gd name="connsiteY1323" fmla="*/ 4461533 h 6557032"/>
              <a:gd name="connsiteX1324" fmla="*/ 2893613 w 4610101"/>
              <a:gd name="connsiteY1324" fmla="*/ 4485221 h 6557032"/>
              <a:gd name="connsiteX1325" fmla="*/ 2880858 w 4610101"/>
              <a:gd name="connsiteY1325" fmla="*/ 4461533 h 6557032"/>
              <a:gd name="connsiteX1326" fmla="*/ 2971967 w 4610101"/>
              <a:gd name="connsiteY1326" fmla="*/ 4439666 h 6557032"/>
              <a:gd name="connsiteX1327" fmla="*/ 2977433 w 4610101"/>
              <a:gd name="connsiteY1327" fmla="*/ 4470643 h 6557032"/>
              <a:gd name="connsiteX1328" fmla="*/ 2964678 w 4610101"/>
              <a:gd name="connsiteY1328" fmla="*/ 4463355 h 6557032"/>
              <a:gd name="connsiteX1329" fmla="*/ 2950100 w 4610101"/>
              <a:gd name="connsiteY1329" fmla="*/ 4477932 h 6557032"/>
              <a:gd name="connsiteX1330" fmla="*/ 2971967 w 4610101"/>
              <a:gd name="connsiteY1330" fmla="*/ 4439666 h 6557032"/>
              <a:gd name="connsiteX1331" fmla="*/ 2350605 w 4610101"/>
              <a:gd name="connsiteY1331" fmla="*/ 4439666 h 6557032"/>
              <a:gd name="connsiteX1332" fmla="*/ 2357894 w 4610101"/>
              <a:gd name="connsiteY1332" fmla="*/ 4445133 h 6557032"/>
              <a:gd name="connsiteX1333" fmla="*/ 2350605 w 4610101"/>
              <a:gd name="connsiteY1333" fmla="*/ 4476110 h 6557032"/>
              <a:gd name="connsiteX1334" fmla="*/ 2330561 w 4610101"/>
              <a:gd name="connsiteY1334" fmla="*/ 4446955 h 6557032"/>
              <a:gd name="connsiteX1335" fmla="*/ 3762789 w 4610101"/>
              <a:gd name="connsiteY1335" fmla="*/ 4437843 h 6557032"/>
              <a:gd name="connsiteX1336" fmla="*/ 3777367 w 4610101"/>
              <a:gd name="connsiteY1336" fmla="*/ 4454243 h 6557032"/>
              <a:gd name="connsiteX1337" fmla="*/ 3762789 w 4610101"/>
              <a:gd name="connsiteY1337" fmla="*/ 4454243 h 6557032"/>
              <a:gd name="connsiteX1338" fmla="*/ 2465401 w 4610101"/>
              <a:gd name="connsiteY1338" fmla="*/ 4437843 h 6557032"/>
              <a:gd name="connsiteX1339" fmla="*/ 2479979 w 4610101"/>
              <a:gd name="connsiteY1339" fmla="*/ 4454243 h 6557032"/>
              <a:gd name="connsiteX1340" fmla="*/ 2465401 w 4610101"/>
              <a:gd name="connsiteY1340" fmla="*/ 4454243 h 6557032"/>
              <a:gd name="connsiteX1341" fmla="*/ 3671682 w 4610101"/>
              <a:gd name="connsiteY1341" fmla="*/ 4431972 h 6557032"/>
              <a:gd name="connsiteX1342" fmla="*/ 3671682 w 4610101"/>
              <a:gd name="connsiteY1342" fmla="*/ 4445133 h 6557032"/>
              <a:gd name="connsiteX1343" fmla="*/ 3688081 w 4610101"/>
              <a:gd name="connsiteY1343" fmla="*/ 4445133 h 6557032"/>
              <a:gd name="connsiteX1344" fmla="*/ 3680793 w 4610101"/>
              <a:gd name="connsiteY1344" fmla="*/ 4457888 h 6557032"/>
              <a:gd name="connsiteX1345" fmla="*/ 3649816 w 4610101"/>
              <a:gd name="connsiteY1345" fmla="*/ 4452422 h 6557032"/>
              <a:gd name="connsiteX1346" fmla="*/ 3649816 w 4610101"/>
              <a:gd name="connsiteY1346" fmla="*/ 4466999 h 6557032"/>
              <a:gd name="connsiteX1347" fmla="*/ 3635238 w 4610101"/>
              <a:gd name="connsiteY1347" fmla="*/ 4466999 h 6557032"/>
              <a:gd name="connsiteX1348" fmla="*/ 3657104 w 4610101"/>
              <a:gd name="connsiteY1348" fmla="*/ 4443311 h 6557032"/>
              <a:gd name="connsiteX1349" fmla="*/ 3671682 w 4610101"/>
              <a:gd name="connsiteY1349" fmla="*/ 4430555 h 6557032"/>
              <a:gd name="connsiteX1350" fmla="*/ 3673504 w 4610101"/>
              <a:gd name="connsiteY1350" fmla="*/ 4430555 h 6557032"/>
              <a:gd name="connsiteX1351" fmla="*/ 3671682 w 4610101"/>
              <a:gd name="connsiteY1351" fmla="*/ 4431972 h 6557032"/>
              <a:gd name="connsiteX1352" fmla="*/ 1069617 w 4610101"/>
              <a:gd name="connsiteY1352" fmla="*/ 4430555 h 6557032"/>
              <a:gd name="connsiteX1353" fmla="*/ 1038639 w 4610101"/>
              <a:gd name="connsiteY1353" fmla="*/ 4452422 h 6557032"/>
              <a:gd name="connsiteX1354" fmla="*/ 1069617 w 4610101"/>
              <a:gd name="connsiteY1354" fmla="*/ 4430555 h 6557032"/>
              <a:gd name="connsiteX1355" fmla="*/ 2753306 w 4610101"/>
              <a:gd name="connsiteY1355" fmla="*/ 4425089 h 6557032"/>
              <a:gd name="connsiteX1356" fmla="*/ 2775172 w 4610101"/>
              <a:gd name="connsiteY1356" fmla="*/ 4446955 h 6557032"/>
              <a:gd name="connsiteX1357" fmla="*/ 2753306 w 4610101"/>
              <a:gd name="connsiteY1357" fmla="*/ 4425089 h 6557032"/>
              <a:gd name="connsiteX1358" fmla="*/ 2654908 w 4610101"/>
              <a:gd name="connsiteY1358" fmla="*/ 4423267 h 6557032"/>
              <a:gd name="connsiteX1359" fmla="*/ 2676774 w 4610101"/>
              <a:gd name="connsiteY1359" fmla="*/ 4454244 h 6557032"/>
              <a:gd name="connsiteX1360" fmla="*/ 2654908 w 4610101"/>
              <a:gd name="connsiteY1360" fmla="*/ 4454244 h 6557032"/>
              <a:gd name="connsiteX1361" fmla="*/ 3808344 w 4610101"/>
              <a:gd name="connsiteY1361" fmla="*/ 4423266 h 6557032"/>
              <a:gd name="connsiteX1362" fmla="*/ 3846610 w 4610101"/>
              <a:gd name="connsiteY1362" fmla="*/ 4423266 h 6557032"/>
              <a:gd name="connsiteX1363" fmla="*/ 3846610 w 4610101"/>
              <a:gd name="connsiteY1363" fmla="*/ 4428733 h 6557032"/>
              <a:gd name="connsiteX1364" fmla="*/ 3808344 w 4610101"/>
              <a:gd name="connsiteY1364" fmla="*/ 4439666 h 6557032"/>
              <a:gd name="connsiteX1365" fmla="*/ 3740923 w 4610101"/>
              <a:gd name="connsiteY1365" fmla="*/ 4423266 h 6557032"/>
              <a:gd name="connsiteX1366" fmla="*/ 3757323 w 4610101"/>
              <a:gd name="connsiteY1366" fmla="*/ 4425089 h 6557032"/>
              <a:gd name="connsiteX1367" fmla="*/ 3742745 w 4610101"/>
              <a:gd name="connsiteY1367" fmla="*/ 4439666 h 6557032"/>
              <a:gd name="connsiteX1368" fmla="*/ 1000374 w 4610101"/>
              <a:gd name="connsiteY1368" fmla="*/ 4421444 h 6557032"/>
              <a:gd name="connsiteX1369" fmla="*/ 978507 w 4610101"/>
              <a:gd name="connsiteY1369" fmla="*/ 4443310 h 6557032"/>
              <a:gd name="connsiteX1370" fmla="*/ 1002196 w 4610101"/>
              <a:gd name="connsiteY1370" fmla="*/ 4445132 h 6557032"/>
              <a:gd name="connsiteX1371" fmla="*/ 3582395 w 4610101"/>
              <a:gd name="connsiteY1371" fmla="*/ 4415977 h 6557032"/>
              <a:gd name="connsiteX1372" fmla="*/ 3573284 w 4610101"/>
              <a:gd name="connsiteY1372" fmla="*/ 4432377 h 6557032"/>
              <a:gd name="connsiteX1373" fmla="*/ 3560528 w 4610101"/>
              <a:gd name="connsiteY1373" fmla="*/ 4424405 h 6557032"/>
              <a:gd name="connsiteX1374" fmla="*/ 3560528 w 4610101"/>
              <a:gd name="connsiteY1374" fmla="*/ 4445133 h 6557032"/>
              <a:gd name="connsiteX1375" fmla="*/ 3575106 w 4610101"/>
              <a:gd name="connsiteY1375" fmla="*/ 4454244 h 6557032"/>
              <a:gd name="connsiteX1376" fmla="*/ 3536840 w 4610101"/>
              <a:gd name="connsiteY1376" fmla="*/ 4454244 h 6557032"/>
              <a:gd name="connsiteX1377" fmla="*/ 3549396 w 4610101"/>
              <a:gd name="connsiteY1377" fmla="*/ 4429644 h 6557032"/>
              <a:gd name="connsiteX1378" fmla="*/ 3559578 w 4610101"/>
              <a:gd name="connsiteY1378" fmla="*/ 4423811 h 6557032"/>
              <a:gd name="connsiteX1379" fmla="*/ 3558706 w 4610101"/>
              <a:gd name="connsiteY1379" fmla="*/ 4423266 h 6557032"/>
              <a:gd name="connsiteX1380" fmla="*/ 3518429 w 4610101"/>
              <a:gd name="connsiteY1380" fmla="*/ 4413275 h 6557032"/>
              <a:gd name="connsiteX1381" fmla="*/ 3520440 w 4610101"/>
              <a:gd name="connsiteY1381" fmla="*/ 4417800 h 6557032"/>
              <a:gd name="connsiteX1382" fmla="*/ 3518481 w 4610101"/>
              <a:gd name="connsiteY1382" fmla="*/ 4416984 h 6557032"/>
              <a:gd name="connsiteX1383" fmla="*/ 3517821 w 4610101"/>
              <a:gd name="connsiteY1383" fmla="*/ 4413643 h 6557032"/>
              <a:gd name="connsiteX1384" fmla="*/ 4116290 w 4610101"/>
              <a:gd name="connsiteY1384" fmla="*/ 4406866 h 6557032"/>
              <a:gd name="connsiteX1385" fmla="*/ 4118113 w 4610101"/>
              <a:gd name="connsiteY1385" fmla="*/ 4423266 h 6557032"/>
              <a:gd name="connsiteX1386" fmla="*/ 4101713 w 4610101"/>
              <a:gd name="connsiteY1386" fmla="*/ 4421443 h 6557032"/>
              <a:gd name="connsiteX1387" fmla="*/ 1463205 w 4610101"/>
              <a:gd name="connsiteY1387" fmla="*/ 4403223 h 6557032"/>
              <a:gd name="connsiteX1388" fmla="*/ 1489172 w 4610101"/>
              <a:gd name="connsiteY1388" fmla="*/ 4407323 h 6557032"/>
              <a:gd name="connsiteX1389" fmla="*/ 1500560 w 4610101"/>
              <a:gd name="connsiteY1389" fmla="*/ 4423773 h 6557032"/>
              <a:gd name="connsiteX1390" fmla="*/ 1516049 w 4610101"/>
              <a:gd name="connsiteY1390" fmla="*/ 4432378 h 6557032"/>
              <a:gd name="connsiteX1391" fmla="*/ 1499649 w 4610101"/>
              <a:gd name="connsiteY1391" fmla="*/ 4446956 h 6557032"/>
              <a:gd name="connsiteX1392" fmla="*/ 1499649 w 4610101"/>
              <a:gd name="connsiteY1392" fmla="*/ 4426153 h 6557032"/>
              <a:gd name="connsiteX1393" fmla="*/ 1479605 w 4610101"/>
              <a:gd name="connsiteY1393" fmla="*/ 4437845 h 6557032"/>
              <a:gd name="connsiteX1394" fmla="*/ 1463205 w 4610101"/>
              <a:gd name="connsiteY1394" fmla="*/ 4425090 h 6557032"/>
              <a:gd name="connsiteX1395" fmla="*/ 1463205 w 4610101"/>
              <a:gd name="connsiteY1395" fmla="*/ 4403223 h 6557032"/>
              <a:gd name="connsiteX1396" fmla="*/ 3392888 w 4610101"/>
              <a:gd name="connsiteY1396" fmla="*/ 4401400 h 6557032"/>
              <a:gd name="connsiteX1397" fmla="*/ 3371022 w 4610101"/>
              <a:gd name="connsiteY1397" fmla="*/ 4423266 h 6557032"/>
              <a:gd name="connsiteX1398" fmla="*/ 3392888 w 4610101"/>
              <a:gd name="connsiteY1398" fmla="*/ 4401400 h 6557032"/>
              <a:gd name="connsiteX1399" fmla="*/ 2904546 w 4610101"/>
              <a:gd name="connsiteY1399" fmla="*/ 4392290 h 6557032"/>
              <a:gd name="connsiteX1400" fmla="*/ 2926413 w 4610101"/>
              <a:gd name="connsiteY1400" fmla="*/ 4392290 h 6557032"/>
              <a:gd name="connsiteX1401" fmla="*/ 2904546 w 4610101"/>
              <a:gd name="connsiteY1401" fmla="*/ 4408690 h 6557032"/>
              <a:gd name="connsiteX1402" fmla="*/ 2893613 w 4610101"/>
              <a:gd name="connsiteY1402" fmla="*/ 4432378 h 6557032"/>
              <a:gd name="connsiteX1403" fmla="*/ 2880858 w 4610101"/>
              <a:gd name="connsiteY1403" fmla="*/ 4415979 h 6557032"/>
              <a:gd name="connsiteX1404" fmla="*/ 2904546 w 4610101"/>
              <a:gd name="connsiteY1404" fmla="*/ 4392290 h 6557032"/>
              <a:gd name="connsiteX1405" fmla="*/ 3259869 w 4610101"/>
              <a:gd name="connsiteY1405" fmla="*/ 4386823 h 6557032"/>
              <a:gd name="connsiteX1406" fmla="*/ 3236181 w 4610101"/>
              <a:gd name="connsiteY1406" fmla="*/ 4394111 h 6557032"/>
              <a:gd name="connsiteX1407" fmla="*/ 3250759 w 4610101"/>
              <a:gd name="connsiteY1407" fmla="*/ 4415978 h 6557032"/>
              <a:gd name="connsiteX1408" fmla="*/ 3558706 w 4610101"/>
              <a:gd name="connsiteY1408" fmla="*/ 4386822 h 6557032"/>
              <a:gd name="connsiteX1409" fmla="*/ 3582395 w 4610101"/>
              <a:gd name="connsiteY1409" fmla="*/ 4386822 h 6557032"/>
              <a:gd name="connsiteX1410" fmla="*/ 3573284 w 4610101"/>
              <a:gd name="connsiteY1410" fmla="*/ 4403222 h 6557032"/>
              <a:gd name="connsiteX1411" fmla="*/ 1946083 w 4610101"/>
              <a:gd name="connsiteY1411" fmla="*/ 4385001 h 6557032"/>
              <a:gd name="connsiteX1412" fmla="*/ 1967948 w 4610101"/>
              <a:gd name="connsiteY1412" fmla="*/ 4385001 h 6557032"/>
              <a:gd name="connsiteX1413" fmla="*/ 1967948 w 4610101"/>
              <a:gd name="connsiteY1413" fmla="*/ 4406868 h 6557032"/>
              <a:gd name="connsiteX1414" fmla="*/ 1946083 w 4610101"/>
              <a:gd name="connsiteY1414" fmla="*/ 4406868 h 6557032"/>
              <a:gd name="connsiteX1415" fmla="*/ 3285380 w 4610101"/>
              <a:gd name="connsiteY1415" fmla="*/ 4385000 h 6557032"/>
              <a:gd name="connsiteX1416" fmla="*/ 3270803 w 4610101"/>
              <a:gd name="connsiteY1416" fmla="*/ 4399578 h 6557032"/>
              <a:gd name="connsiteX1417" fmla="*/ 3287202 w 4610101"/>
              <a:gd name="connsiteY1417" fmla="*/ 4410511 h 6557032"/>
              <a:gd name="connsiteX1418" fmla="*/ 2880857 w 4610101"/>
              <a:gd name="connsiteY1418" fmla="*/ 4385000 h 6557032"/>
              <a:gd name="connsiteX1419" fmla="*/ 2879035 w 4610101"/>
              <a:gd name="connsiteY1419" fmla="*/ 4403222 h 6557032"/>
              <a:gd name="connsiteX1420" fmla="*/ 2864457 w 4610101"/>
              <a:gd name="connsiteY1420" fmla="*/ 4386823 h 6557032"/>
              <a:gd name="connsiteX1421" fmla="*/ 1191703 w 4610101"/>
              <a:gd name="connsiteY1421" fmla="*/ 4385000 h 6557032"/>
              <a:gd name="connsiteX1422" fmla="*/ 1189880 w 4610101"/>
              <a:gd name="connsiteY1422" fmla="*/ 4403222 h 6557032"/>
              <a:gd name="connsiteX1423" fmla="*/ 1173481 w 4610101"/>
              <a:gd name="connsiteY1423" fmla="*/ 4386823 h 6557032"/>
              <a:gd name="connsiteX1424" fmla="*/ 3873943 w 4610101"/>
              <a:gd name="connsiteY1424" fmla="*/ 4377712 h 6557032"/>
              <a:gd name="connsiteX1425" fmla="*/ 3883054 w 4610101"/>
              <a:gd name="connsiteY1425" fmla="*/ 4392290 h 6557032"/>
              <a:gd name="connsiteX1426" fmla="*/ 3870298 w 4610101"/>
              <a:gd name="connsiteY1426" fmla="*/ 4399578 h 6557032"/>
              <a:gd name="connsiteX1427" fmla="*/ 3859365 w 4610101"/>
              <a:gd name="connsiteY1427" fmla="*/ 4392290 h 6557032"/>
              <a:gd name="connsiteX1428" fmla="*/ 2379761 w 4610101"/>
              <a:gd name="connsiteY1428" fmla="*/ 4372245 h 6557032"/>
              <a:gd name="connsiteX1429" fmla="*/ 2401627 w 4610101"/>
              <a:gd name="connsiteY1429" fmla="*/ 4374068 h 6557032"/>
              <a:gd name="connsiteX1430" fmla="*/ 2418026 w 4610101"/>
              <a:gd name="connsiteY1430" fmla="*/ 4386823 h 6557032"/>
              <a:gd name="connsiteX1431" fmla="*/ 2410738 w 4610101"/>
              <a:gd name="connsiteY1431" fmla="*/ 4401400 h 6557032"/>
              <a:gd name="connsiteX1432" fmla="*/ 2416204 w 4610101"/>
              <a:gd name="connsiteY1432" fmla="*/ 4423266 h 6557032"/>
              <a:gd name="connsiteX1433" fmla="*/ 2403449 w 4610101"/>
              <a:gd name="connsiteY1433" fmla="*/ 4439666 h 6557032"/>
              <a:gd name="connsiteX1434" fmla="*/ 2381583 w 4610101"/>
              <a:gd name="connsiteY1434" fmla="*/ 4439666 h 6557032"/>
              <a:gd name="connsiteX1435" fmla="*/ 2367005 w 4610101"/>
              <a:gd name="connsiteY1435" fmla="*/ 4408689 h 6557032"/>
              <a:gd name="connsiteX1436" fmla="*/ 2365183 w 4610101"/>
              <a:gd name="connsiteY1436" fmla="*/ 4408689 h 6557032"/>
              <a:gd name="connsiteX1437" fmla="*/ 2365183 w 4610101"/>
              <a:gd name="connsiteY1437" fmla="*/ 4403222 h 6557032"/>
              <a:gd name="connsiteX1438" fmla="*/ 2379761 w 4610101"/>
              <a:gd name="connsiteY1438" fmla="*/ 4372245 h 6557032"/>
              <a:gd name="connsiteX1439" fmla="*/ 1734710 w 4610101"/>
              <a:gd name="connsiteY1439" fmla="*/ 4370424 h 6557032"/>
              <a:gd name="connsiteX1440" fmla="*/ 1756575 w 4610101"/>
              <a:gd name="connsiteY1440" fmla="*/ 4379535 h 6557032"/>
              <a:gd name="connsiteX1441" fmla="*/ 1772976 w 4610101"/>
              <a:gd name="connsiteY1441" fmla="*/ 4370424 h 6557032"/>
              <a:gd name="connsiteX1442" fmla="*/ 1762043 w 4610101"/>
              <a:gd name="connsiteY1442" fmla="*/ 4403223 h 6557032"/>
              <a:gd name="connsiteX1443" fmla="*/ 1749287 w 4610101"/>
              <a:gd name="connsiteY1443" fmla="*/ 4385001 h 6557032"/>
              <a:gd name="connsiteX1444" fmla="*/ 1734710 w 4610101"/>
              <a:gd name="connsiteY1444" fmla="*/ 4394112 h 6557032"/>
              <a:gd name="connsiteX1445" fmla="*/ 406345 w 4610101"/>
              <a:gd name="connsiteY1445" fmla="*/ 4370424 h 6557032"/>
              <a:gd name="connsiteX1446" fmla="*/ 428211 w 4610101"/>
              <a:gd name="connsiteY1446" fmla="*/ 4370424 h 6557032"/>
              <a:gd name="connsiteX1447" fmla="*/ 428211 w 4610101"/>
              <a:gd name="connsiteY1447" fmla="*/ 4392290 h 6557032"/>
              <a:gd name="connsiteX1448" fmla="*/ 406345 w 4610101"/>
              <a:gd name="connsiteY1448" fmla="*/ 4392290 h 6557032"/>
              <a:gd name="connsiteX1449" fmla="*/ 406345 w 4610101"/>
              <a:gd name="connsiteY1449" fmla="*/ 4370424 h 6557032"/>
              <a:gd name="connsiteX1450" fmla="*/ 3203382 w 4610101"/>
              <a:gd name="connsiteY1450" fmla="*/ 4370423 h 6557032"/>
              <a:gd name="connsiteX1451" fmla="*/ 3165116 w 4610101"/>
              <a:gd name="connsiteY1451" fmla="*/ 4375890 h 6557032"/>
              <a:gd name="connsiteX1452" fmla="*/ 3135962 w 4610101"/>
              <a:gd name="connsiteY1452" fmla="*/ 4377712 h 6557032"/>
              <a:gd name="connsiteX1453" fmla="*/ 3135962 w 4610101"/>
              <a:gd name="connsiteY1453" fmla="*/ 4386823 h 6557032"/>
              <a:gd name="connsiteX1454" fmla="*/ 3159650 w 4610101"/>
              <a:gd name="connsiteY1454" fmla="*/ 4390467 h 6557032"/>
              <a:gd name="connsiteX1455" fmla="*/ 3174227 w 4610101"/>
              <a:gd name="connsiteY1455" fmla="*/ 4386823 h 6557032"/>
              <a:gd name="connsiteX1456" fmla="*/ 3188805 w 4610101"/>
              <a:gd name="connsiteY1456" fmla="*/ 4403222 h 6557032"/>
              <a:gd name="connsiteX1457" fmla="*/ 3203382 w 4610101"/>
              <a:gd name="connsiteY1457" fmla="*/ 4370423 h 6557032"/>
              <a:gd name="connsiteX1458" fmla="*/ 1634491 w 4610101"/>
              <a:gd name="connsiteY1458" fmla="*/ 4368602 h 6557032"/>
              <a:gd name="connsiteX1459" fmla="*/ 1636312 w 4610101"/>
              <a:gd name="connsiteY1459" fmla="*/ 4394113 h 6557032"/>
              <a:gd name="connsiteX1460" fmla="*/ 1619912 w 4610101"/>
              <a:gd name="connsiteY1460" fmla="*/ 4385002 h 6557032"/>
              <a:gd name="connsiteX1461" fmla="*/ 2563799 w 4610101"/>
              <a:gd name="connsiteY1461" fmla="*/ 4363135 h 6557032"/>
              <a:gd name="connsiteX1462" fmla="*/ 2561977 w 4610101"/>
              <a:gd name="connsiteY1462" fmla="*/ 4386824 h 6557032"/>
              <a:gd name="connsiteX1463" fmla="*/ 2547399 w 4610101"/>
              <a:gd name="connsiteY1463" fmla="*/ 4372246 h 6557032"/>
              <a:gd name="connsiteX1464" fmla="*/ 1703733 w 4610101"/>
              <a:gd name="connsiteY1464" fmla="*/ 4355845 h 6557032"/>
              <a:gd name="connsiteX1465" fmla="*/ 1701911 w 4610101"/>
              <a:gd name="connsiteY1465" fmla="*/ 4372245 h 6557032"/>
              <a:gd name="connsiteX1466" fmla="*/ 1687333 w 4610101"/>
              <a:gd name="connsiteY1466" fmla="*/ 4357667 h 6557032"/>
              <a:gd name="connsiteX1467" fmla="*/ 2505490 w 4610101"/>
              <a:gd name="connsiteY1467" fmla="*/ 4350380 h 6557032"/>
              <a:gd name="connsiteX1468" fmla="*/ 2481802 w 4610101"/>
              <a:gd name="connsiteY1468" fmla="*/ 4372246 h 6557032"/>
              <a:gd name="connsiteX1469" fmla="*/ 2472691 w 4610101"/>
              <a:gd name="connsiteY1469" fmla="*/ 4354025 h 6557032"/>
              <a:gd name="connsiteX1470" fmla="*/ 2882679 w 4610101"/>
              <a:gd name="connsiteY1470" fmla="*/ 4348558 h 6557032"/>
              <a:gd name="connsiteX1471" fmla="*/ 2886323 w 4610101"/>
              <a:gd name="connsiteY1471" fmla="*/ 4379535 h 6557032"/>
              <a:gd name="connsiteX1472" fmla="*/ 2866279 w 4610101"/>
              <a:gd name="connsiteY1472" fmla="*/ 4355847 h 6557032"/>
              <a:gd name="connsiteX1473" fmla="*/ 3695369 w 4610101"/>
              <a:gd name="connsiteY1473" fmla="*/ 4348557 h 6557032"/>
              <a:gd name="connsiteX1474" fmla="*/ 3695369 w 4610101"/>
              <a:gd name="connsiteY1474" fmla="*/ 4363135 h 6557032"/>
              <a:gd name="connsiteX1475" fmla="*/ 3678969 w 4610101"/>
              <a:gd name="connsiteY1475" fmla="*/ 4361313 h 6557032"/>
              <a:gd name="connsiteX1476" fmla="*/ 2789749 w 4610101"/>
              <a:gd name="connsiteY1476" fmla="*/ 4348557 h 6557032"/>
              <a:gd name="connsiteX1477" fmla="*/ 2758772 w 4610101"/>
              <a:gd name="connsiteY1477" fmla="*/ 4363135 h 6557032"/>
              <a:gd name="connsiteX1478" fmla="*/ 2789749 w 4610101"/>
              <a:gd name="connsiteY1478" fmla="*/ 4348557 h 6557032"/>
              <a:gd name="connsiteX1479" fmla="*/ 2835304 w 4610101"/>
              <a:gd name="connsiteY1479" fmla="*/ 4341269 h 6557032"/>
              <a:gd name="connsiteX1480" fmla="*/ 2835304 w 4610101"/>
              <a:gd name="connsiteY1480" fmla="*/ 4363135 h 6557032"/>
              <a:gd name="connsiteX1481" fmla="*/ 2835304 w 4610101"/>
              <a:gd name="connsiteY1481" fmla="*/ 4341269 h 6557032"/>
              <a:gd name="connsiteX1482" fmla="*/ 2419848 w 4610101"/>
              <a:gd name="connsiteY1482" fmla="*/ 4341269 h 6557032"/>
              <a:gd name="connsiteX1483" fmla="*/ 2450825 w 4610101"/>
              <a:gd name="connsiteY1483" fmla="*/ 4341269 h 6557032"/>
              <a:gd name="connsiteX1484" fmla="*/ 2441714 w 4610101"/>
              <a:gd name="connsiteY1484" fmla="*/ 4355847 h 6557032"/>
              <a:gd name="connsiteX1485" fmla="*/ 2458114 w 4610101"/>
              <a:gd name="connsiteY1485" fmla="*/ 4370424 h 6557032"/>
              <a:gd name="connsiteX1486" fmla="*/ 2436248 w 4610101"/>
              <a:gd name="connsiteY1486" fmla="*/ 4385001 h 6557032"/>
              <a:gd name="connsiteX1487" fmla="*/ 2412559 w 4610101"/>
              <a:gd name="connsiteY1487" fmla="*/ 4363135 h 6557032"/>
              <a:gd name="connsiteX1488" fmla="*/ 2381582 w 4610101"/>
              <a:gd name="connsiteY1488" fmla="*/ 4341268 h 6557032"/>
              <a:gd name="connsiteX1489" fmla="*/ 2405271 w 4610101"/>
              <a:gd name="connsiteY1489" fmla="*/ 4341268 h 6557032"/>
              <a:gd name="connsiteX1490" fmla="*/ 2396160 w 4610101"/>
              <a:gd name="connsiteY1490" fmla="*/ 4357668 h 6557032"/>
              <a:gd name="connsiteX1491" fmla="*/ 2911834 w 4610101"/>
              <a:gd name="connsiteY1491" fmla="*/ 4339447 h 6557032"/>
              <a:gd name="connsiteX1492" fmla="*/ 2933700 w 4610101"/>
              <a:gd name="connsiteY1492" fmla="*/ 4339447 h 6557032"/>
              <a:gd name="connsiteX1493" fmla="*/ 2964677 w 4610101"/>
              <a:gd name="connsiteY1493" fmla="*/ 4370424 h 6557032"/>
              <a:gd name="connsiteX1494" fmla="*/ 2961033 w 4610101"/>
              <a:gd name="connsiteY1494" fmla="*/ 4394112 h 6557032"/>
              <a:gd name="connsiteX1495" fmla="*/ 2957388 w 4610101"/>
              <a:gd name="connsiteY1495" fmla="*/ 4375891 h 6557032"/>
              <a:gd name="connsiteX1496" fmla="*/ 2926411 w 4610101"/>
              <a:gd name="connsiteY1496" fmla="*/ 4390468 h 6557032"/>
              <a:gd name="connsiteX1497" fmla="*/ 2895434 w 4610101"/>
              <a:gd name="connsiteY1497" fmla="*/ 4375891 h 6557032"/>
              <a:gd name="connsiteX1498" fmla="*/ 2895434 w 4610101"/>
              <a:gd name="connsiteY1498" fmla="*/ 4368602 h 6557032"/>
              <a:gd name="connsiteX1499" fmla="*/ 2919123 w 4610101"/>
              <a:gd name="connsiteY1499" fmla="*/ 4368602 h 6557032"/>
              <a:gd name="connsiteX1500" fmla="*/ 2911834 w 4610101"/>
              <a:gd name="connsiteY1500" fmla="*/ 4354025 h 6557032"/>
              <a:gd name="connsiteX1501" fmla="*/ 2928233 w 4610101"/>
              <a:gd name="connsiteY1501" fmla="*/ 4352203 h 6557032"/>
              <a:gd name="connsiteX1502" fmla="*/ 965752 w 4610101"/>
              <a:gd name="connsiteY1502" fmla="*/ 4339446 h 6557032"/>
              <a:gd name="connsiteX1503" fmla="*/ 987618 w 4610101"/>
              <a:gd name="connsiteY1503" fmla="*/ 4341269 h 6557032"/>
              <a:gd name="connsiteX1504" fmla="*/ 1018596 w 4610101"/>
              <a:gd name="connsiteY1504" fmla="*/ 4370423 h 6557032"/>
              <a:gd name="connsiteX1505" fmla="*/ 1011307 w 4610101"/>
              <a:gd name="connsiteY1505" fmla="*/ 4392289 h 6557032"/>
              <a:gd name="connsiteX1506" fmla="*/ 1033174 w 4610101"/>
              <a:gd name="connsiteY1506" fmla="*/ 4401400 h 6557032"/>
              <a:gd name="connsiteX1507" fmla="*/ 1025885 w 4610101"/>
              <a:gd name="connsiteY1507" fmla="*/ 4415978 h 6557032"/>
              <a:gd name="connsiteX1508" fmla="*/ 1033174 w 4610101"/>
              <a:gd name="connsiteY1508" fmla="*/ 4430555 h 6557032"/>
              <a:gd name="connsiteX1509" fmla="*/ 1033174 w 4610101"/>
              <a:gd name="connsiteY1509" fmla="*/ 4452421 h 6557032"/>
              <a:gd name="connsiteX1510" fmla="*/ 1000374 w 4610101"/>
              <a:gd name="connsiteY1510" fmla="*/ 4452421 h 6557032"/>
              <a:gd name="connsiteX1511" fmla="*/ 1011307 w 4610101"/>
              <a:gd name="connsiteY1511" fmla="*/ 4499798 h 6557032"/>
              <a:gd name="connsiteX1512" fmla="*/ 978507 w 4610101"/>
              <a:gd name="connsiteY1512" fmla="*/ 4528952 h 6557032"/>
              <a:gd name="connsiteX1513" fmla="*/ 989441 w 4610101"/>
              <a:gd name="connsiteY1513" fmla="*/ 4539885 h 6557032"/>
              <a:gd name="connsiteX1514" fmla="*/ 983974 w 4610101"/>
              <a:gd name="connsiteY1514" fmla="*/ 4548996 h 6557032"/>
              <a:gd name="connsiteX1515" fmla="*/ 952997 w 4610101"/>
              <a:gd name="connsiteY1515" fmla="*/ 4541708 h 6557032"/>
              <a:gd name="connsiteX1516" fmla="*/ 960286 w 4610101"/>
              <a:gd name="connsiteY1516" fmla="*/ 4527130 h 6557032"/>
              <a:gd name="connsiteX1517" fmla="*/ 938419 w 4610101"/>
              <a:gd name="connsiteY1517" fmla="*/ 4525308 h 6557032"/>
              <a:gd name="connsiteX1518" fmla="*/ 922020 w 4610101"/>
              <a:gd name="connsiteY1518" fmla="*/ 4510731 h 6557032"/>
              <a:gd name="connsiteX1519" fmla="*/ 929309 w 4610101"/>
              <a:gd name="connsiteY1519" fmla="*/ 4496153 h 6557032"/>
              <a:gd name="connsiteX1520" fmla="*/ 922020 w 4610101"/>
              <a:gd name="connsiteY1520" fmla="*/ 4488865 h 6557032"/>
              <a:gd name="connsiteX1521" fmla="*/ 929309 w 4610101"/>
              <a:gd name="connsiteY1521" fmla="*/ 4474287 h 6557032"/>
              <a:gd name="connsiteX1522" fmla="*/ 929309 w 4610101"/>
              <a:gd name="connsiteY1522" fmla="*/ 4452421 h 6557032"/>
              <a:gd name="connsiteX1523" fmla="*/ 914731 w 4610101"/>
              <a:gd name="connsiteY1523" fmla="*/ 4445132 h 6557032"/>
              <a:gd name="connsiteX1524" fmla="*/ 922020 w 4610101"/>
              <a:gd name="connsiteY1524" fmla="*/ 4430555 h 6557032"/>
              <a:gd name="connsiteX1525" fmla="*/ 922020 w 4610101"/>
              <a:gd name="connsiteY1525" fmla="*/ 4415978 h 6557032"/>
              <a:gd name="connsiteX1526" fmla="*/ 918376 w 4610101"/>
              <a:gd name="connsiteY1526" fmla="*/ 4408689 h 6557032"/>
              <a:gd name="connsiteX1527" fmla="*/ 922020 w 4610101"/>
              <a:gd name="connsiteY1527" fmla="*/ 4385001 h 6557032"/>
              <a:gd name="connsiteX1528" fmla="*/ 943886 w 4610101"/>
              <a:gd name="connsiteY1528" fmla="*/ 4354024 h 6557032"/>
              <a:gd name="connsiteX1529" fmla="*/ 965752 w 4610101"/>
              <a:gd name="connsiteY1529" fmla="*/ 4339446 h 6557032"/>
              <a:gd name="connsiteX1530" fmla="*/ 3469419 w 4610101"/>
              <a:gd name="connsiteY1530" fmla="*/ 4333980 h 6557032"/>
              <a:gd name="connsiteX1531" fmla="*/ 3476708 w 4610101"/>
              <a:gd name="connsiteY1531" fmla="*/ 4348557 h 6557032"/>
              <a:gd name="connsiteX1532" fmla="*/ 3454842 w 4610101"/>
              <a:gd name="connsiteY1532" fmla="*/ 4348557 h 6557032"/>
              <a:gd name="connsiteX1533" fmla="*/ 3467597 w 4610101"/>
              <a:gd name="connsiteY1533" fmla="*/ 4364957 h 6557032"/>
              <a:gd name="connsiteX1534" fmla="*/ 3476708 w 4610101"/>
              <a:gd name="connsiteY1534" fmla="*/ 4348557 h 6557032"/>
              <a:gd name="connsiteX1535" fmla="*/ 3493108 w 4610101"/>
              <a:gd name="connsiteY1535" fmla="*/ 4335802 h 6557032"/>
              <a:gd name="connsiteX1536" fmla="*/ 2662197 w 4610101"/>
              <a:gd name="connsiteY1536" fmla="*/ 4333980 h 6557032"/>
              <a:gd name="connsiteX1537" fmla="*/ 2685885 w 4610101"/>
              <a:gd name="connsiteY1537" fmla="*/ 4341269 h 6557032"/>
              <a:gd name="connsiteX1538" fmla="*/ 2674952 w 4610101"/>
              <a:gd name="connsiteY1538" fmla="*/ 4364957 h 6557032"/>
              <a:gd name="connsiteX1539" fmla="*/ 2653086 w 4610101"/>
              <a:gd name="connsiteY1539" fmla="*/ 4343091 h 6557032"/>
              <a:gd name="connsiteX1540" fmla="*/ 3801055 w 4610101"/>
              <a:gd name="connsiteY1540" fmla="*/ 4333979 h 6557032"/>
              <a:gd name="connsiteX1541" fmla="*/ 3817455 w 4610101"/>
              <a:gd name="connsiteY1541" fmla="*/ 4333979 h 6557032"/>
              <a:gd name="connsiteX1542" fmla="*/ 3802877 w 4610101"/>
              <a:gd name="connsiteY1542" fmla="*/ 4350379 h 6557032"/>
              <a:gd name="connsiteX1543" fmla="*/ 3718251 w 4610101"/>
              <a:gd name="connsiteY1543" fmla="*/ 4329275 h 6557032"/>
              <a:gd name="connsiteX1544" fmla="*/ 3709948 w 4610101"/>
              <a:gd name="connsiteY1544" fmla="*/ 4355847 h 6557032"/>
              <a:gd name="connsiteX1545" fmla="*/ 3723841 w 4610101"/>
              <a:gd name="connsiteY1545" fmla="*/ 4369740 h 6557032"/>
              <a:gd name="connsiteX1546" fmla="*/ 3739101 w 4610101"/>
              <a:gd name="connsiteY1546" fmla="*/ 4344913 h 6557032"/>
              <a:gd name="connsiteX1547" fmla="*/ 3853899 w 4610101"/>
              <a:gd name="connsiteY1547" fmla="*/ 4317581 h 6557032"/>
              <a:gd name="connsiteX1548" fmla="*/ 3875765 w 4610101"/>
              <a:gd name="connsiteY1548" fmla="*/ 4317581 h 6557032"/>
              <a:gd name="connsiteX1549" fmla="*/ 3848432 w 4610101"/>
              <a:gd name="connsiteY1549" fmla="*/ 4348558 h 6557032"/>
              <a:gd name="connsiteX1550" fmla="*/ 770779 w 4610101"/>
              <a:gd name="connsiteY1550" fmla="*/ 4308470 h 6557032"/>
              <a:gd name="connsiteX1551" fmla="*/ 783535 w 4610101"/>
              <a:gd name="connsiteY1551" fmla="*/ 4324870 h 6557032"/>
              <a:gd name="connsiteX1552" fmla="*/ 768957 w 4610101"/>
              <a:gd name="connsiteY1552" fmla="*/ 4333981 h 6557032"/>
              <a:gd name="connsiteX1553" fmla="*/ 3564173 w 4610101"/>
              <a:gd name="connsiteY1553" fmla="*/ 4301181 h 6557032"/>
              <a:gd name="connsiteX1554" fmla="*/ 3542306 w 4610101"/>
              <a:gd name="connsiteY1554" fmla="*/ 4323047 h 6557032"/>
              <a:gd name="connsiteX1555" fmla="*/ 3565995 w 4610101"/>
              <a:gd name="connsiteY1555" fmla="*/ 4333980 h 6557032"/>
              <a:gd name="connsiteX1556" fmla="*/ 1055038 w 4610101"/>
              <a:gd name="connsiteY1556" fmla="*/ 4295715 h 6557032"/>
              <a:gd name="connsiteX1557" fmla="*/ 1069616 w 4610101"/>
              <a:gd name="connsiteY1557" fmla="*/ 4295715 h 6557032"/>
              <a:gd name="connsiteX1558" fmla="*/ 1076904 w 4610101"/>
              <a:gd name="connsiteY1558" fmla="*/ 4317581 h 6557032"/>
              <a:gd name="connsiteX1559" fmla="*/ 1055038 w 4610101"/>
              <a:gd name="connsiteY1559" fmla="*/ 4317581 h 6557032"/>
              <a:gd name="connsiteX1560" fmla="*/ 2186609 w 4610101"/>
              <a:gd name="connsiteY1560" fmla="*/ 4288426 h 6557032"/>
              <a:gd name="connsiteX1561" fmla="*/ 2193898 w 4610101"/>
              <a:gd name="connsiteY1561" fmla="*/ 4319403 h 6557032"/>
              <a:gd name="connsiteX1562" fmla="*/ 2164743 w 4610101"/>
              <a:gd name="connsiteY1562" fmla="*/ 4310292 h 6557032"/>
              <a:gd name="connsiteX1563" fmla="*/ 2155633 w 4610101"/>
              <a:gd name="connsiteY1563" fmla="*/ 4326691 h 6557032"/>
              <a:gd name="connsiteX1564" fmla="*/ 2141055 w 4610101"/>
              <a:gd name="connsiteY1564" fmla="*/ 4310291 h 6557032"/>
              <a:gd name="connsiteX1565" fmla="*/ 2164743 w 4610101"/>
              <a:gd name="connsiteY1565" fmla="*/ 4310291 h 6557032"/>
              <a:gd name="connsiteX1566" fmla="*/ 1807596 w 4610101"/>
              <a:gd name="connsiteY1566" fmla="*/ 4288426 h 6557032"/>
              <a:gd name="connsiteX1567" fmla="*/ 1814886 w 4610101"/>
              <a:gd name="connsiteY1567" fmla="*/ 4295715 h 6557032"/>
              <a:gd name="connsiteX1568" fmla="*/ 1807596 w 4610101"/>
              <a:gd name="connsiteY1568" fmla="*/ 4324870 h 6557032"/>
              <a:gd name="connsiteX1569" fmla="*/ 1785730 w 4610101"/>
              <a:gd name="connsiteY1569" fmla="*/ 4308470 h 6557032"/>
              <a:gd name="connsiteX1570" fmla="*/ 903798 w 4610101"/>
              <a:gd name="connsiteY1570" fmla="*/ 4288426 h 6557032"/>
              <a:gd name="connsiteX1571" fmla="*/ 911088 w 4610101"/>
              <a:gd name="connsiteY1571" fmla="*/ 4303003 h 6557032"/>
              <a:gd name="connsiteX1572" fmla="*/ 903798 w 4610101"/>
              <a:gd name="connsiteY1572" fmla="*/ 4324870 h 6557032"/>
              <a:gd name="connsiteX1573" fmla="*/ 881932 w 4610101"/>
              <a:gd name="connsiteY1573" fmla="*/ 4295715 h 6557032"/>
              <a:gd name="connsiteX1574" fmla="*/ 2787927 w 4610101"/>
              <a:gd name="connsiteY1574" fmla="*/ 4286603 h 6557032"/>
              <a:gd name="connsiteX1575" fmla="*/ 2797038 w 4610101"/>
              <a:gd name="connsiteY1575" fmla="*/ 4303003 h 6557032"/>
              <a:gd name="connsiteX1576" fmla="*/ 2773349 w 4610101"/>
              <a:gd name="connsiteY1576" fmla="*/ 4301181 h 6557032"/>
              <a:gd name="connsiteX1577" fmla="*/ 3731813 w 4610101"/>
              <a:gd name="connsiteY1577" fmla="*/ 4281137 h 6557032"/>
              <a:gd name="connsiteX1578" fmla="*/ 3746390 w 4610101"/>
              <a:gd name="connsiteY1578" fmla="*/ 4295714 h 6557032"/>
              <a:gd name="connsiteX1579" fmla="*/ 3748212 w 4610101"/>
              <a:gd name="connsiteY1579" fmla="*/ 4317580 h 6557032"/>
              <a:gd name="connsiteX1580" fmla="*/ 3731813 w 4610101"/>
              <a:gd name="connsiteY1580" fmla="*/ 4281137 h 6557032"/>
              <a:gd name="connsiteX1581" fmla="*/ 3596972 w 4610101"/>
              <a:gd name="connsiteY1581" fmla="*/ 4281137 h 6557032"/>
              <a:gd name="connsiteX1582" fmla="*/ 3573284 w 4610101"/>
              <a:gd name="connsiteY1582" fmla="*/ 4293892 h 6557032"/>
              <a:gd name="connsiteX1583" fmla="*/ 3596972 w 4610101"/>
              <a:gd name="connsiteY1583" fmla="*/ 4297536 h 6557032"/>
              <a:gd name="connsiteX1584" fmla="*/ 1018596 w 4610101"/>
              <a:gd name="connsiteY1584" fmla="*/ 4281137 h 6557032"/>
              <a:gd name="connsiteX1585" fmla="*/ 1033174 w 4610101"/>
              <a:gd name="connsiteY1585" fmla="*/ 4303003 h 6557032"/>
              <a:gd name="connsiteX1586" fmla="*/ 1016774 w 4610101"/>
              <a:gd name="connsiteY1586" fmla="*/ 4333980 h 6557032"/>
              <a:gd name="connsiteX1587" fmla="*/ 996729 w 4610101"/>
              <a:gd name="connsiteY1587" fmla="*/ 4317581 h 6557032"/>
              <a:gd name="connsiteX1588" fmla="*/ 996729 w 4610101"/>
              <a:gd name="connsiteY1588" fmla="*/ 4295715 h 6557032"/>
              <a:gd name="connsiteX1589" fmla="*/ 2487267 w 4610101"/>
              <a:gd name="connsiteY1589" fmla="*/ 4281136 h 6557032"/>
              <a:gd name="connsiteX1590" fmla="*/ 2503667 w 4610101"/>
              <a:gd name="connsiteY1590" fmla="*/ 4281136 h 6557032"/>
              <a:gd name="connsiteX1591" fmla="*/ 2501845 w 4610101"/>
              <a:gd name="connsiteY1591" fmla="*/ 4297536 h 6557032"/>
              <a:gd name="connsiteX1592" fmla="*/ 2999299 w 4610101"/>
              <a:gd name="connsiteY1592" fmla="*/ 4279315 h 6557032"/>
              <a:gd name="connsiteX1593" fmla="*/ 2984721 w 4610101"/>
              <a:gd name="connsiteY1593" fmla="*/ 4293892 h 6557032"/>
              <a:gd name="connsiteX1594" fmla="*/ 3008410 w 4610101"/>
              <a:gd name="connsiteY1594" fmla="*/ 4295714 h 6557032"/>
              <a:gd name="connsiteX1595" fmla="*/ 2179321 w 4610101"/>
              <a:gd name="connsiteY1595" fmla="*/ 4264737 h 6557032"/>
              <a:gd name="connsiteX1596" fmla="*/ 2201187 w 4610101"/>
              <a:gd name="connsiteY1596" fmla="*/ 4279315 h 6557032"/>
              <a:gd name="connsiteX1597" fmla="*/ 2179321 w 4610101"/>
              <a:gd name="connsiteY1597" fmla="*/ 4264737 h 6557032"/>
              <a:gd name="connsiteX1598" fmla="*/ 2919123 w 4610101"/>
              <a:gd name="connsiteY1598" fmla="*/ 4259271 h 6557032"/>
              <a:gd name="connsiteX1599" fmla="*/ 2900901 w 4610101"/>
              <a:gd name="connsiteY1599" fmla="*/ 4272026 h 6557032"/>
              <a:gd name="connsiteX1600" fmla="*/ 2888146 w 4610101"/>
              <a:gd name="connsiteY1600" fmla="*/ 4266559 h 6557032"/>
              <a:gd name="connsiteX1601" fmla="*/ 2888146 w 4610101"/>
              <a:gd name="connsiteY1601" fmla="*/ 4281137 h 6557032"/>
              <a:gd name="connsiteX1602" fmla="*/ 2902724 w 4610101"/>
              <a:gd name="connsiteY1602" fmla="*/ 4281137 h 6557032"/>
              <a:gd name="connsiteX1603" fmla="*/ 2910012 w 4610101"/>
              <a:gd name="connsiteY1603" fmla="*/ 4303003 h 6557032"/>
              <a:gd name="connsiteX1604" fmla="*/ 2910012 w 4610101"/>
              <a:gd name="connsiteY1604" fmla="*/ 4281137 h 6557032"/>
              <a:gd name="connsiteX1605" fmla="*/ 2268608 w 4610101"/>
              <a:gd name="connsiteY1605" fmla="*/ 4257449 h 6557032"/>
              <a:gd name="connsiteX1606" fmla="*/ 2286830 w 4610101"/>
              <a:gd name="connsiteY1606" fmla="*/ 4266560 h 6557032"/>
              <a:gd name="connsiteX1607" fmla="*/ 2270430 w 4610101"/>
              <a:gd name="connsiteY1607" fmla="*/ 4279316 h 6557032"/>
              <a:gd name="connsiteX1608" fmla="*/ 2261319 w 4610101"/>
              <a:gd name="connsiteY1608" fmla="*/ 4272027 h 6557032"/>
              <a:gd name="connsiteX1609" fmla="*/ 3822921 w 4610101"/>
              <a:gd name="connsiteY1609" fmla="*/ 4257448 h 6557032"/>
              <a:gd name="connsiteX1610" fmla="*/ 3821046 w 4610101"/>
              <a:gd name="connsiteY1610" fmla="*/ 4271725 h 6557032"/>
              <a:gd name="connsiteX1611" fmla="*/ 3818105 w 4610101"/>
              <a:gd name="connsiteY1611" fmla="*/ 4267682 h 6557032"/>
              <a:gd name="connsiteX1612" fmla="*/ 3689903 w 4610101"/>
              <a:gd name="connsiteY1612" fmla="*/ 4257448 h 6557032"/>
              <a:gd name="connsiteX1613" fmla="*/ 3664392 w 4610101"/>
              <a:gd name="connsiteY1613" fmla="*/ 4259271 h 6557032"/>
              <a:gd name="connsiteX1614" fmla="*/ 3678969 w 4610101"/>
              <a:gd name="connsiteY1614" fmla="*/ 4273848 h 6557032"/>
              <a:gd name="connsiteX1615" fmla="*/ 3821019 w 4610101"/>
              <a:gd name="connsiteY1615" fmla="*/ 4251530 h 6557032"/>
              <a:gd name="connsiteX1616" fmla="*/ 3821099 w 4610101"/>
              <a:gd name="connsiteY1616" fmla="*/ 4251982 h 6557032"/>
              <a:gd name="connsiteX1617" fmla="*/ 3820783 w 4610101"/>
              <a:gd name="connsiteY1617" fmla="*/ 4251733 h 6557032"/>
              <a:gd name="connsiteX1618" fmla="*/ 3884875 w 4610101"/>
              <a:gd name="connsiteY1618" fmla="*/ 4250160 h 6557032"/>
              <a:gd name="connsiteX1619" fmla="*/ 3892164 w 4610101"/>
              <a:gd name="connsiteY1619" fmla="*/ 4264738 h 6557032"/>
              <a:gd name="connsiteX1620" fmla="*/ 3928608 w 4610101"/>
              <a:gd name="connsiteY1620" fmla="*/ 4272026 h 6557032"/>
              <a:gd name="connsiteX1621" fmla="*/ 3899453 w 4610101"/>
              <a:gd name="connsiteY1621" fmla="*/ 4281137 h 6557032"/>
              <a:gd name="connsiteX1622" fmla="*/ 3884875 w 4610101"/>
              <a:gd name="connsiteY1622" fmla="*/ 4250160 h 6557032"/>
              <a:gd name="connsiteX1623" fmla="*/ 3642526 w 4610101"/>
              <a:gd name="connsiteY1623" fmla="*/ 4250160 h 6557032"/>
              <a:gd name="connsiteX1624" fmla="*/ 3642526 w 4610101"/>
              <a:gd name="connsiteY1624" fmla="*/ 4264737 h 6557032"/>
              <a:gd name="connsiteX1625" fmla="*/ 3657103 w 4610101"/>
              <a:gd name="connsiteY1625" fmla="*/ 4264737 h 6557032"/>
              <a:gd name="connsiteX1626" fmla="*/ 3578750 w 4610101"/>
              <a:gd name="connsiteY1626" fmla="*/ 4250160 h 6557032"/>
              <a:gd name="connsiteX1627" fmla="*/ 3609727 w 4610101"/>
              <a:gd name="connsiteY1627" fmla="*/ 4281137 h 6557032"/>
              <a:gd name="connsiteX1628" fmla="*/ 3617016 w 4610101"/>
              <a:gd name="connsiteY1628" fmla="*/ 4270204 h 6557032"/>
              <a:gd name="connsiteX1629" fmla="*/ 3578750 w 4610101"/>
              <a:gd name="connsiteY1629" fmla="*/ 4250160 h 6557032"/>
              <a:gd name="connsiteX1630" fmla="*/ 2828014 w 4610101"/>
              <a:gd name="connsiteY1630" fmla="*/ 4250159 h 6557032"/>
              <a:gd name="connsiteX1631" fmla="*/ 2844414 w 4610101"/>
              <a:gd name="connsiteY1631" fmla="*/ 4251982 h 6557032"/>
              <a:gd name="connsiteX1632" fmla="*/ 2829837 w 4610101"/>
              <a:gd name="connsiteY1632" fmla="*/ 4266559 h 6557032"/>
              <a:gd name="connsiteX1633" fmla="*/ 2494557 w 4610101"/>
              <a:gd name="connsiteY1633" fmla="*/ 4248338 h 6557032"/>
              <a:gd name="connsiteX1634" fmla="*/ 2496380 w 4610101"/>
              <a:gd name="connsiteY1634" fmla="*/ 4272027 h 6557032"/>
              <a:gd name="connsiteX1635" fmla="*/ 2470869 w 4610101"/>
              <a:gd name="connsiteY1635" fmla="*/ 4270205 h 6557032"/>
              <a:gd name="connsiteX1636" fmla="*/ 1388496 w 4610101"/>
              <a:gd name="connsiteY1636" fmla="*/ 4248338 h 6557032"/>
              <a:gd name="connsiteX1637" fmla="*/ 1401252 w 4610101"/>
              <a:gd name="connsiteY1637" fmla="*/ 4264738 h 6557032"/>
              <a:gd name="connsiteX1638" fmla="*/ 1386674 w 4610101"/>
              <a:gd name="connsiteY1638" fmla="*/ 4273849 h 6557032"/>
              <a:gd name="connsiteX1639" fmla="*/ 1076904 w 4610101"/>
              <a:gd name="connsiteY1639" fmla="*/ 4248338 h 6557032"/>
              <a:gd name="connsiteX1640" fmla="*/ 1091484 w 4610101"/>
              <a:gd name="connsiteY1640" fmla="*/ 4272027 h 6557032"/>
              <a:gd name="connsiteX1641" fmla="*/ 1076904 w 4610101"/>
              <a:gd name="connsiteY1641" fmla="*/ 4288426 h 6557032"/>
              <a:gd name="connsiteX1642" fmla="*/ 1053216 w 4610101"/>
              <a:gd name="connsiteY1642" fmla="*/ 4270205 h 6557032"/>
              <a:gd name="connsiteX1643" fmla="*/ 1295566 w 4610101"/>
              <a:gd name="connsiteY1643" fmla="*/ 4242872 h 6557032"/>
              <a:gd name="connsiteX1644" fmla="*/ 1319255 w 4610101"/>
              <a:gd name="connsiteY1644" fmla="*/ 4266560 h 6557032"/>
              <a:gd name="connsiteX1645" fmla="*/ 1319255 w 4610101"/>
              <a:gd name="connsiteY1645" fmla="*/ 4288427 h 6557032"/>
              <a:gd name="connsiteX1646" fmla="*/ 1297388 w 4610101"/>
              <a:gd name="connsiteY1646" fmla="*/ 4286604 h 6557032"/>
              <a:gd name="connsiteX1647" fmla="*/ 1280988 w 4610101"/>
              <a:gd name="connsiteY1647" fmla="*/ 4273849 h 6557032"/>
              <a:gd name="connsiteX1648" fmla="*/ 1295566 w 4610101"/>
              <a:gd name="connsiteY1648" fmla="*/ 4242872 h 6557032"/>
              <a:gd name="connsiteX1649" fmla="*/ 4163667 w 4610101"/>
              <a:gd name="connsiteY1649" fmla="*/ 4235582 h 6557032"/>
              <a:gd name="connsiteX1650" fmla="*/ 4178245 w 4610101"/>
              <a:gd name="connsiteY1650" fmla="*/ 4250160 h 6557032"/>
              <a:gd name="connsiteX1651" fmla="*/ 4163667 w 4610101"/>
              <a:gd name="connsiteY1651" fmla="*/ 4250160 h 6557032"/>
              <a:gd name="connsiteX1652" fmla="*/ 2685885 w 4610101"/>
              <a:gd name="connsiteY1652" fmla="*/ 4235582 h 6557032"/>
              <a:gd name="connsiteX1653" fmla="*/ 2707752 w 4610101"/>
              <a:gd name="connsiteY1653" fmla="*/ 4235582 h 6557032"/>
              <a:gd name="connsiteX1654" fmla="*/ 2707752 w 4610101"/>
              <a:gd name="connsiteY1654" fmla="*/ 4250160 h 6557032"/>
              <a:gd name="connsiteX1655" fmla="*/ 2685885 w 4610101"/>
              <a:gd name="connsiteY1655" fmla="*/ 4235582 h 6557032"/>
              <a:gd name="connsiteX1656" fmla="*/ 2933700 w 4610101"/>
              <a:gd name="connsiteY1656" fmla="*/ 4228294 h 6557032"/>
              <a:gd name="connsiteX1657" fmla="*/ 2955566 w 4610101"/>
              <a:gd name="connsiteY1657" fmla="*/ 4250160 h 6557032"/>
              <a:gd name="connsiteX1658" fmla="*/ 2933700 w 4610101"/>
              <a:gd name="connsiteY1658" fmla="*/ 4228294 h 6557032"/>
              <a:gd name="connsiteX1659" fmla="*/ 2276579 w 4610101"/>
              <a:gd name="connsiteY1659" fmla="*/ 4227838 h 6557032"/>
              <a:gd name="connsiteX1660" fmla="*/ 2285007 w 4610101"/>
              <a:gd name="connsiteY1660" fmla="*/ 4235583 h 6557032"/>
              <a:gd name="connsiteX1661" fmla="*/ 2268607 w 4610101"/>
              <a:gd name="connsiteY1661" fmla="*/ 4257449 h 6557032"/>
              <a:gd name="connsiteX1662" fmla="*/ 2246741 w 4610101"/>
              <a:gd name="connsiteY1662" fmla="*/ 4235583 h 6557032"/>
              <a:gd name="connsiteX1663" fmla="*/ 2261319 w 4610101"/>
              <a:gd name="connsiteY1663" fmla="*/ 4228294 h 6557032"/>
              <a:gd name="connsiteX1664" fmla="*/ 2276579 w 4610101"/>
              <a:gd name="connsiteY1664" fmla="*/ 4227838 h 6557032"/>
              <a:gd name="connsiteX1665" fmla="*/ 1590758 w 4610101"/>
              <a:gd name="connsiteY1665" fmla="*/ 4226472 h 6557032"/>
              <a:gd name="connsiteX1666" fmla="*/ 1621736 w 4610101"/>
              <a:gd name="connsiteY1666" fmla="*/ 4237405 h 6557032"/>
              <a:gd name="connsiteX1667" fmla="*/ 1599869 w 4610101"/>
              <a:gd name="connsiteY1667" fmla="*/ 4259271 h 6557032"/>
              <a:gd name="connsiteX1668" fmla="*/ 224128 w 4610101"/>
              <a:gd name="connsiteY1668" fmla="*/ 4226471 h 6557032"/>
              <a:gd name="connsiteX1669" fmla="*/ 233239 w 4610101"/>
              <a:gd name="connsiteY1669" fmla="*/ 4242871 h 6557032"/>
              <a:gd name="connsiteX1670" fmla="*/ 209550 w 4610101"/>
              <a:gd name="connsiteY1670" fmla="*/ 4241049 h 6557032"/>
              <a:gd name="connsiteX1671" fmla="*/ 3567817 w 4610101"/>
              <a:gd name="connsiteY1671" fmla="*/ 4221005 h 6557032"/>
              <a:gd name="connsiteX1672" fmla="*/ 3551417 w 4610101"/>
              <a:gd name="connsiteY1672" fmla="*/ 4222827 h 6557032"/>
              <a:gd name="connsiteX1673" fmla="*/ 3565995 w 4610101"/>
              <a:gd name="connsiteY1673" fmla="*/ 4237404 h 6557032"/>
              <a:gd name="connsiteX1674" fmla="*/ 646872 w 4610101"/>
              <a:gd name="connsiteY1674" fmla="*/ 4219183 h 6557032"/>
              <a:gd name="connsiteX1675" fmla="*/ 670560 w 4610101"/>
              <a:gd name="connsiteY1675" fmla="*/ 4242872 h 6557032"/>
              <a:gd name="connsiteX1676" fmla="*/ 646872 w 4610101"/>
              <a:gd name="connsiteY1676" fmla="*/ 4242872 h 6557032"/>
              <a:gd name="connsiteX1677" fmla="*/ 3950474 w 4610101"/>
              <a:gd name="connsiteY1677" fmla="*/ 4213717 h 6557032"/>
              <a:gd name="connsiteX1678" fmla="*/ 3957762 w 4610101"/>
              <a:gd name="connsiteY1678" fmla="*/ 4226472 h 6557032"/>
              <a:gd name="connsiteX1679" fmla="*/ 3950474 w 4610101"/>
              <a:gd name="connsiteY1679" fmla="*/ 4237406 h 6557032"/>
              <a:gd name="connsiteX1680" fmla="*/ 3935896 w 4610101"/>
              <a:gd name="connsiteY1680" fmla="*/ 4221006 h 6557032"/>
              <a:gd name="connsiteX1681" fmla="*/ 2405270 w 4610101"/>
              <a:gd name="connsiteY1681" fmla="*/ 4213717 h 6557032"/>
              <a:gd name="connsiteX1682" fmla="*/ 2428959 w 4610101"/>
              <a:gd name="connsiteY1682" fmla="*/ 4213717 h 6557032"/>
              <a:gd name="connsiteX1683" fmla="*/ 2419848 w 4610101"/>
              <a:gd name="connsiteY1683" fmla="*/ 4242872 h 6557032"/>
              <a:gd name="connsiteX1684" fmla="*/ 2405270 w 4610101"/>
              <a:gd name="connsiteY1684" fmla="*/ 4213717 h 6557032"/>
              <a:gd name="connsiteX1685" fmla="*/ 2676775 w 4610101"/>
              <a:gd name="connsiteY1685" fmla="*/ 4206428 h 6557032"/>
              <a:gd name="connsiteX1686" fmla="*/ 2654909 w 4610101"/>
              <a:gd name="connsiteY1686" fmla="*/ 4228294 h 6557032"/>
              <a:gd name="connsiteX1687" fmla="*/ 2660375 w 4610101"/>
              <a:gd name="connsiteY1687" fmla="*/ 4241049 h 6557032"/>
              <a:gd name="connsiteX1688" fmla="*/ 2638509 w 4610101"/>
              <a:gd name="connsiteY1688" fmla="*/ 4241049 h 6557032"/>
              <a:gd name="connsiteX1689" fmla="*/ 2638509 w 4610101"/>
              <a:gd name="connsiteY1689" fmla="*/ 4219183 h 6557032"/>
              <a:gd name="connsiteX1690" fmla="*/ 2676775 w 4610101"/>
              <a:gd name="connsiteY1690" fmla="*/ 4206428 h 6557032"/>
              <a:gd name="connsiteX1691" fmla="*/ 1598046 w 4610101"/>
              <a:gd name="connsiteY1691" fmla="*/ 4204605 h 6557032"/>
              <a:gd name="connsiteX1692" fmla="*/ 1621735 w 4610101"/>
              <a:gd name="connsiteY1692" fmla="*/ 4206428 h 6557032"/>
              <a:gd name="connsiteX1693" fmla="*/ 1607158 w 4610101"/>
              <a:gd name="connsiteY1693" fmla="*/ 4219183 h 6557032"/>
              <a:gd name="connsiteX1694" fmla="*/ 2015325 w 4610101"/>
              <a:gd name="connsiteY1694" fmla="*/ 4199138 h 6557032"/>
              <a:gd name="connsiteX1695" fmla="*/ 2037191 w 4610101"/>
              <a:gd name="connsiteY1695" fmla="*/ 4206427 h 6557032"/>
              <a:gd name="connsiteX1696" fmla="*/ 2059057 w 4610101"/>
              <a:gd name="connsiteY1696" fmla="*/ 4206427 h 6557032"/>
              <a:gd name="connsiteX1697" fmla="*/ 2059057 w 4610101"/>
              <a:gd name="connsiteY1697" fmla="*/ 4228293 h 6557032"/>
              <a:gd name="connsiteX1698" fmla="*/ 2051768 w 4610101"/>
              <a:gd name="connsiteY1698" fmla="*/ 4242871 h 6557032"/>
              <a:gd name="connsiteX1699" fmla="*/ 2059057 w 4610101"/>
              <a:gd name="connsiteY1699" fmla="*/ 4257448 h 6557032"/>
              <a:gd name="connsiteX1700" fmla="*/ 2028080 w 4610101"/>
              <a:gd name="connsiteY1700" fmla="*/ 4272025 h 6557032"/>
              <a:gd name="connsiteX1701" fmla="*/ 2009858 w 4610101"/>
              <a:gd name="connsiteY1701" fmla="*/ 4273847 h 6557032"/>
              <a:gd name="connsiteX1702" fmla="*/ 2000747 w 4610101"/>
              <a:gd name="connsiteY1702" fmla="*/ 4221004 h 6557032"/>
              <a:gd name="connsiteX1703" fmla="*/ 2015325 w 4610101"/>
              <a:gd name="connsiteY1703" fmla="*/ 4221004 h 6557032"/>
              <a:gd name="connsiteX1704" fmla="*/ 2015325 w 4610101"/>
              <a:gd name="connsiteY1704" fmla="*/ 4199138 h 6557032"/>
              <a:gd name="connsiteX1705" fmla="*/ 3596972 w 4610101"/>
              <a:gd name="connsiteY1705" fmla="*/ 4197317 h 6557032"/>
              <a:gd name="connsiteX1706" fmla="*/ 3575106 w 4610101"/>
              <a:gd name="connsiteY1706" fmla="*/ 4235582 h 6557032"/>
              <a:gd name="connsiteX1707" fmla="*/ 3596972 w 4610101"/>
              <a:gd name="connsiteY1707" fmla="*/ 4197317 h 6557032"/>
              <a:gd name="connsiteX1708" fmla="*/ 1778441 w 4610101"/>
              <a:gd name="connsiteY1708" fmla="*/ 4190028 h 6557032"/>
              <a:gd name="connsiteX1709" fmla="*/ 1800307 w 4610101"/>
              <a:gd name="connsiteY1709" fmla="*/ 4190028 h 6557032"/>
              <a:gd name="connsiteX1710" fmla="*/ 1778441 w 4610101"/>
              <a:gd name="connsiteY1710" fmla="*/ 4228294 h 6557032"/>
              <a:gd name="connsiteX1711" fmla="*/ 1062328 w 4610101"/>
              <a:gd name="connsiteY1711" fmla="*/ 4190028 h 6557032"/>
              <a:gd name="connsiteX1712" fmla="*/ 1062328 w 4610101"/>
              <a:gd name="connsiteY1712" fmla="*/ 4211894 h 6557032"/>
              <a:gd name="connsiteX1713" fmla="*/ 1031350 w 4610101"/>
              <a:gd name="connsiteY1713" fmla="*/ 4195495 h 6557032"/>
              <a:gd name="connsiteX1714" fmla="*/ 3914029 w 4610101"/>
              <a:gd name="connsiteY1714" fmla="*/ 4182739 h 6557032"/>
              <a:gd name="connsiteX1715" fmla="*/ 3928607 w 4610101"/>
              <a:gd name="connsiteY1715" fmla="*/ 4197317 h 6557032"/>
              <a:gd name="connsiteX1716" fmla="*/ 3914029 w 4610101"/>
              <a:gd name="connsiteY1716" fmla="*/ 4197317 h 6557032"/>
              <a:gd name="connsiteX1717" fmla="*/ 2357893 w 4610101"/>
              <a:gd name="connsiteY1717" fmla="*/ 4173629 h 6557032"/>
              <a:gd name="connsiteX1718" fmla="*/ 2359716 w 4610101"/>
              <a:gd name="connsiteY1718" fmla="*/ 4197318 h 6557032"/>
              <a:gd name="connsiteX1719" fmla="*/ 2343316 w 4610101"/>
              <a:gd name="connsiteY1719" fmla="*/ 4188207 h 6557032"/>
              <a:gd name="connsiteX1720" fmla="*/ 2893613 w 4610101"/>
              <a:gd name="connsiteY1720" fmla="*/ 4173628 h 6557032"/>
              <a:gd name="connsiteX1721" fmla="*/ 2879035 w 4610101"/>
              <a:gd name="connsiteY1721" fmla="*/ 4188206 h 6557032"/>
              <a:gd name="connsiteX1722" fmla="*/ 2895435 w 4610101"/>
              <a:gd name="connsiteY1722" fmla="*/ 4199139 h 6557032"/>
              <a:gd name="connsiteX1723" fmla="*/ 3859366 w 4610101"/>
              <a:gd name="connsiteY1723" fmla="*/ 4166339 h 6557032"/>
              <a:gd name="connsiteX1724" fmla="*/ 3868477 w 4610101"/>
              <a:gd name="connsiteY1724" fmla="*/ 4182739 h 6557032"/>
              <a:gd name="connsiteX1725" fmla="*/ 3844788 w 4610101"/>
              <a:gd name="connsiteY1725" fmla="*/ 4180917 h 6557032"/>
              <a:gd name="connsiteX1726" fmla="*/ 2647619 w 4610101"/>
              <a:gd name="connsiteY1726" fmla="*/ 4159052 h 6557032"/>
              <a:gd name="connsiteX1727" fmla="*/ 2656730 w 4610101"/>
              <a:gd name="connsiteY1727" fmla="*/ 4173630 h 6557032"/>
              <a:gd name="connsiteX1728" fmla="*/ 2678596 w 4610101"/>
              <a:gd name="connsiteY1728" fmla="*/ 4173630 h 6557032"/>
              <a:gd name="connsiteX1729" fmla="*/ 2625753 w 4610101"/>
              <a:gd name="connsiteY1729" fmla="*/ 4195496 h 6557032"/>
              <a:gd name="connsiteX1730" fmla="*/ 2647619 w 4610101"/>
              <a:gd name="connsiteY1730" fmla="*/ 4173630 h 6557032"/>
              <a:gd name="connsiteX1731" fmla="*/ 1122459 w 4610101"/>
              <a:gd name="connsiteY1731" fmla="*/ 4151762 h 6557032"/>
              <a:gd name="connsiteX1732" fmla="*/ 1144325 w 4610101"/>
              <a:gd name="connsiteY1732" fmla="*/ 4155407 h 6557032"/>
              <a:gd name="connsiteX1733" fmla="*/ 1168013 w 4610101"/>
              <a:gd name="connsiteY1733" fmla="*/ 4159051 h 6557032"/>
              <a:gd name="connsiteX1734" fmla="*/ 1168013 w 4610101"/>
              <a:gd name="connsiteY1734" fmla="*/ 4204606 h 6557032"/>
              <a:gd name="connsiteX1735" fmla="*/ 1160724 w 4610101"/>
              <a:gd name="connsiteY1735" fmla="*/ 4242872 h 6557032"/>
              <a:gd name="connsiteX1736" fmla="*/ 1138858 w 4610101"/>
              <a:gd name="connsiteY1736" fmla="*/ 4228294 h 6557032"/>
              <a:gd name="connsiteX1737" fmla="*/ 1106059 w 4610101"/>
              <a:gd name="connsiteY1737" fmla="*/ 4241050 h 6557032"/>
              <a:gd name="connsiteX1738" fmla="*/ 1091482 w 4610101"/>
              <a:gd name="connsiteY1738" fmla="*/ 4255627 h 6557032"/>
              <a:gd name="connsiteX1739" fmla="*/ 1091482 w 4610101"/>
              <a:gd name="connsiteY1739" fmla="*/ 4226472 h 6557032"/>
              <a:gd name="connsiteX1740" fmla="*/ 1075082 w 4610101"/>
              <a:gd name="connsiteY1740" fmla="*/ 4217361 h 6557032"/>
              <a:gd name="connsiteX1741" fmla="*/ 1089660 w 4610101"/>
              <a:gd name="connsiteY1741" fmla="*/ 4204606 h 6557032"/>
              <a:gd name="connsiteX1742" fmla="*/ 1084193 w 4610101"/>
              <a:gd name="connsiteY1742" fmla="*/ 4173629 h 6557032"/>
              <a:gd name="connsiteX1743" fmla="*/ 1107881 w 4610101"/>
              <a:gd name="connsiteY1743" fmla="*/ 4173629 h 6557032"/>
              <a:gd name="connsiteX1744" fmla="*/ 1098770 w 4610101"/>
              <a:gd name="connsiteY1744" fmla="*/ 4159051 h 6557032"/>
              <a:gd name="connsiteX1745" fmla="*/ 4067092 w 4610101"/>
              <a:gd name="connsiteY1745" fmla="*/ 4149941 h 6557032"/>
              <a:gd name="connsiteX1746" fmla="*/ 4079847 w 4610101"/>
              <a:gd name="connsiteY1746" fmla="*/ 4166341 h 6557032"/>
              <a:gd name="connsiteX1747" fmla="*/ 4065270 w 4610101"/>
              <a:gd name="connsiteY1747" fmla="*/ 4175452 h 6557032"/>
              <a:gd name="connsiteX1748" fmla="*/ 3919498 w 4610101"/>
              <a:gd name="connsiteY1748" fmla="*/ 4149941 h 6557032"/>
              <a:gd name="connsiteX1749" fmla="*/ 3928609 w 4610101"/>
              <a:gd name="connsiteY1749" fmla="*/ 4166341 h 6557032"/>
              <a:gd name="connsiteX1750" fmla="*/ 3915853 w 4610101"/>
              <a:gd name="connsiteY1750" fmla="*/ 4173630 h 6557032"/>
              <a:gd name="connsiteX1751" fmla="*/ 3904920 w 4610101"/>
              <a:gd name="connsiteY1751" fmla="*/ 4166341 h 6557032"/>
              <a:gd name="connsiteX1752" fmla="*/ 2501846 w 4610101"/>
              <a:gd name="connsiteY1752" fmla="*/ 4149941 h 6557032"/>
              <a:gd name="connsiteX1753" fmla="*/ 2510957 w 4610101"/>
              <a:gd name="connsiteY1753" fmla="*/ 4166341 h 6557032"/>
              <a:gd name="connsiteX1754" fmla="*/ 2496379 w 4610101"/>
              <a:gd name="connsiteY1754" fmla="*/ 4173630 h 6557032"/>
              <a:gd name="connsiteX1755" fmla="*/ 2487268 w 4610101"/>
              <a:gd name="connsiteY1755" fmla="*/ 4166341 h 6557032"/>
              <a:gd name="connsiteX1756" fmla="*/ 918376 w 4610101"/>
              <a:gd name="connsiteY1756" fmla="*/ 4149941 h 6557032"/>
              <a:gd name="connsiteX1757" fmla="*/ 918376 w 4610101"/>
              <a:gd name="connsiteY1757" fmla="*/ 4175452 h 6557032"/>
              <a:gd name="connsiteX1758" fmla="*/ 901976 w 4610101"/>
              <a:gd name="connsiteY1758" fmla="*/ 4166341 h 6557032"/>
              <a:gd name="connsiteX1759" fmla="*/ 701537 w 4610101"/>
              <a:gd name="connsiteY1759" fmla="*/ 4146296 h 6557032"/>
              <a:gd name="connsiteX1760" fmla="*/ 690604 w 4610101"/>
              <a:gd name="connsiteY1760" fmla="*/ 4177273 h 6557032"/>
              <a:gd name="connsiteX1761" fmla="*/ 676026 w 4610101"/>
              <a:gd name="connsiteY1761" fmla="*/ 4162696 h 6557032"/>
              <a:gd name="connsiteX1762" fmla="*/ 692426 w 4610101"/>
              <a:gd name="connsiteY1762" fmla="*/ 4157229 h 6557032"/>
              <a:gd name="connsiteX1763" fmla="*/ 701537 w 4610101"/>
              <a:gd name="connsiteY1763" fmla="*/ 4146296 h 6557032"/>
              <a:gd name="connsiteX1764" fmla="*/ 3476708 w 4610101"/>
              <a:gd name="connsiteY1764" fmla="*/ 4144473 h 6557032"/>
              <a:gd name="connsiteX1765" fmla="*/ 3476708 w 4610101"/>
              <a:gd name="connsiteY1765" fmla="*/ 4159051 h 6557032"/>
              <a:gd name="connsiteX1766" fmla="*/ 3491286 w 4610101"/>
              <a:gd name="connsiteY1766" fmla="*/ 4159051 h 6557032"/>
              <a:gd name="connsiteX1767" fmla="*/ 3671681 w 4610101"/>
              <a:gd name="connsiteY1767" fmla="*/ 4142651 h 6557032"/>
              <a:gd name="connsiteX1768" fmla="*/ 3649815 w 4610101"/>
              <a:gd name="connsiteY1768" fmla="*/ 4171806 h 6557032"/>
              <a:gd name="connsiteX1769" fmla="*/ 3664392 w 4610101"/>
              <a:gd name="connsiteY1769" fmla="*/ 4193672 h 6557032"/>
              <a:gd name="connsiteX1770" fmla="*/ 3640704 w 4610101"/>
              <a:gd name="connsiteY1770" fmla="*/ 4215538 h 6557032"/>
              <a:gd name="connsiteX1771" fmla="*/ 3627949 w 4610101"/>
              <a:gd name="connsiteY1771" fmla="*/ 4217360 h 6557032"/>
              <a:gd name="connsiteX1772" fmla="*/ 3606082 w 4610101"/>
              <a:gd name="connsiteY1772" fmla="*/ 4217360 h 6557032"/>
              <a:gd name="connsiteX1773" fmla="*/ 3606082 w 4610101"/>
              <a:gd name="connsiteY1773" fmla="*/ 4224649 h 6557032"/>
              <a:gd name="connsiteX1774" fmla="*/ 3627949 w 4610101"/>
              <a:gd name="connsiteY1774" fmla="*/ 4224649 h 6557032"/>
              <a:gd name="connsiteX1775" fmla="*/ 3627949 w 4610101"/>
              <a:gd name="connsiteY1775" fmla="*/ 4239226 h 6557032"/>
              <a:gd name="connsiteX1776" fmla="*/ 3649815 w 4610101"/>
              <a:gd name="connsiteY1776" fmla="*/ 4231938 h 6557032"/>
              <a:gd name="connsiteX1777" fmla="*/ 3671681 w 4610101"/>
              <a:gd name="connsiteY1777" fmla="*/ 4239226 h 6557032"/>
              <a:gd name="connsiteX1778" fmla="*/ 3664392 w 4610101"/>
              <a:gd name="connsiteY1778" fmla="*/ 4222827 h 6557032"/>
              <a:gd name="connsiteX1779" fmla="*/ 3688080 w 4610101"/>
              <a:gd name="connsiteY1779" fmla="*/ 4222827 h 6557032"/>
              <a:gd name="connsiteX1780" fmla="*/ 3666214 w 4610101"/>
              <a:gd name="connsiteY1780" fmla="*/ 4191850 h 6557032"/>
              <a:gd name="connsiteX1781" fmla="*/ 3680792 w 4610101"/>
              <a:gd name="connsiteY1781" fmla="*/ 4182739 h 6557032"/>
              <a:gd name="connsiteX1782" fmla="*/ 3704480 w 4610101"/>
              <a:gd name="connsiteY1782" fmla="*/ 4211894 h 6557032"/>
              <a:gd name="connsiteX1783" fmla="*/ 3733635 w 4610101"/>
              <a:gd name="connsiteY1783" fmla="*/ 4204605 h 6557032"/>
              <a:gd name="connsiteX1784" fmla="*/ 3733635 w 4610101"/>
              <a:gd name="connsiteY1784" fmla="*/ 4199139 h 6557032"/>
              <a:gd name="connsiteX1785" fmla="*/ 3702658 w 4610101"/>
              <a:gd name="connsiteY1785" fmla="*/ 4193672 h 6557032"/>
              <a:gd name="connsiteX1786" fmla="*/ 3709947 w 4610101"/>
              <a:gd name="connsiteY1786" fmla="*/ 4177273 h 6557032"/>
              <a:gd name="connsiteX1787" fmla="*/ 3724524 w 4610101"/>
              <a:gd name="connsiteY1787" fmla="*/ 4186384 h 6557032"/>
              <a:gd name="connsiteX1788" fmla="*/ 3731813 w 4610101"/>
              <a:gd name="connsiteY1788" fmla="*/ 4155407 h 6557032"/>
              <a:gd name="connsiteX1789" fmla="*/ 3709947 w 4610101"/>
              <a:gd name="connsiteY1789" fmla="*/ 4155407 h 6557032"/>
              <a:gd name="connsiteX1790" fmla="*/ 3717235 w 4610101"/>
              <a:gd name="connsiteY1790" fmla="*/ 4169984 h 6557032"/>
              <a:gd name="connsiteX1791" fmla="*/ 3709947 w 4610101"/>
              <a:gd name="connsiteY1791" fmla="*/ 4177273 h 6557032"/>
              <a:gd name="connsiteX1792" fmla="*/ 3693547 w 4610101"/>
              <a:gd name="connsiteY1792" fmla="*/ 4164517 h 6557032"/>
              <a:gd name="connsiteX1793" fmla="*/ 3673503 w 4610101"/>
              <a:gd name="connsiteY1793" fmla="*/ 4179095 h 6557032"/>
              <a:gd name="connsiteX1794" fmla="*/ 3666214 w 4610101"/>
              <a:gd name="connsiteY1794" fmla="*/ 4169984 h 6557032"/>
              <a:gd name="connsiteX1795" fmla="*/ 3680792 w 4610101"/>
              <a:gd name="connsiteY1795" fmla="*/ 4149940 h 6557032"/>
              <a:gd name="connsiteX1796" fmla="*/ 2820726 w 4610101"/>
              <a:gd name="connsiteY1796" fmla="*/ 4137185 h 6557032"/>
              <a:gd name="connsiteX1797" fmla="*/ 2820726 w 4610101"/>
              <a:gd name="connsiteY1797" fmla="*/ 4159051 h 6557032"/>
              <a:gd name="connsiteX1798" fmla="*/ 2835303 w 4610101"/>
              <a:gd name="connsiteY1798" fmla="*/ 4137185 h 6557032"/>
              <a:gd name="connsiteX1799" fmla="*/ 2585666 w 4610101"/>
              <a:gd name="connsiteY1799" fmla="*/ 4129897 h 6557032"/>
              <a:gd name="connsiteX1800" fmla="*/ 2558333 w 4610101"/>
              <a:gd name="connsiteY1800" fmla="*/ 4166341 h 6557032"/>
              <a:gd name="connsiteX1801" fmla="*/ 2549222 w 4610101"/>
              <a:gd name="connsiteY1801" fmla="*/ 4144475 h 6557032"/>
              <a:gd name="connsiteX1802" fmla="*/ 1251833 w 4610101"/>
              <a:gd name="connsiteY1802" fmla="*/ 4129897 h 6557032"/>
              <a:gd name="connsiteX1803" fmla="*/ 1295566 w 4610101"/>
              <a:gd name="connsiteY1803" fmla="*/ 4129897 h 6557032"/>
              <a:gd name="connsiteX1804" fmla="*/ 1304677 w 4610101"/>
              <a:gd name="connsiteY1804" fmla="*/ 4153586 h 6557032"/>
              <a:gd name="connsiteX1805" fmla="*/ 1295566 w 4610101"/>
              <a:gd name="connsiteY1805" fmla="*/ 4168163 h 6557032"/>
              <a:gd name="connsiteX1806" fmla="*/ 1302855 w 4610101"/>
              <a:gd name="connsiteY1806" fmla="*/ 4182740 h 6557032"/>
              <a:gd name="connsiteX1807" fmla="*/ 1280988 w 4610101"/>
              <a:gd name="connsiteY1807" fmla="*/ 4182740 h 6557032"/>
              <a:gd name="connsiteX1808" fmla="*/ 1268233 w 4610101"/>
              <a:gd name="connsiteY1808" fmla="*/ 4180918 h 6557032"/>
              <a:gd name="connsiteX1809" fmla="*/ 1251833 w 4610101"/>
              <a:gd name="connsiteY1809" fmla="*/ 4168163 h 6557032"/>
              <a:gd name="connsiteX1810" fmla="*/ 1251833 w 4610101"/>
              <a:gd name="connsiteY1810" fmla="*/ 4129897 h 6557032"/>
              <a:gd name="connsiteX1811" fmla="*/ 3635237 w 4610101"/>
              <a:gd name="connsiteY1811" fmla="*/ 4129896 h 6557032"/>
              <a:gd name="connsiteX1812" fmla="*/ 3622482 w 4610101"/>
              <a:gd name="connsiteY1812" fmla="*/ 4142651 h 6557032"/>
              <a:gd name="connsiteX1813" fmla="*/ 3620660 w 4610101"/>
              <a:gd name="connsiteY1813" fmla="*/ 4160873 h 6557032"/>
              <a:gd name="connsiteX1814" fmla="*/ 3642526 w 4610101"/>
              <a:gd name="connsiteY1814" fmla="*/ 4160873 h 6557032"/>
              <a:gd name="connsiteX1815" fmla="*/ 3635237 w 4610101"/>
              <a:gd name="connsiteY1815" fmla="*/ 4129896 h 6557032"/>
              <a:gd name="connsiteX1816" fmla="*/ 1619913 w 4610101"/>
              <a:gd name="connsiteY1816" fmla="*/ 4129896 h 6557032"/>
              <a:gd name="connsiteX1817" fmla="*/ 1636312 w 4610101"/>
              <a:gd name="connsiteY1817" fmla="*/ 4169985 h 6557032"/>
              <a:gd name="connsiteX1818" fmla="*/ 1658178 w 4610101"/>
              <a:gd name="connsiteY1818" fmla="*/ 4146297 h 6557032"/>
              <a:gd name="connsiteX1819" fmla="*/ 1678222 w 4610101"/>
              <a:gd name="connsiteY1819" fmla="*/ 4137185 h 6557032"/>
              <a:gd name="connsiteX1820" fmla="*/ 1709199 w 4610101"/>
              <a:gd name="connsiteY1820" fmla="*/ 4151764 h 6557032"/>
              <a:gd name="connsiteX1821" fmla="*/ 1723776 w 4610101"/>
              <a:gd name="connsiteY1821" fmla="*/ 4144474 h 6557032"/>
              <a:gd name="connsiteX1822" fmla="*/ 1738354 w 4610101"/>
              <a:gd name="connsiteY1822" fmla="*/ 4175452 h 6557032"/>
              <a:gd name="connsiteX1823" fmla="*/ 1734710 w 4610101"/>
              <a:gd name="connsiteY1823" fmla="*/ 4197318 h 6557032"/>
              <a:gd name="connsiteX1824" fmla="*/ 1729243 w 4610101"/>
              <a:gd name="connsiteY1824" fmla="*/ 4219184 h 6557032"/>
              <a:gd name="connsiteX1825" fmla="*/ 1700088 w 4610101"/>
              <a:gd name="connsiteY1825" fmla="*/ 4244694 h 6557032"/>
              <a:gd name="connsiteX1826" fmla="*/ 1685511 w 4610101"/>
              <a:gd name="connsiteY1826" fmla="*/ 4235583 h 6557032"/>
              <a:gd name="connsiteX1827" fmla="*/ 1670933 w 4610101"/>
              <a:gd name="connsiteY1827" fmla="*/ 4242872 h 6557032"/>
              <a:gd name="connsiteX1828" fmla="*/ 1632669 w 4610101"/>
              <a:gd name="connsiteY1828" fmla="*/ 4211895 h 6557032"/>
              <a:gd name="connsiteX1829" fmla="*/ 1639956 w 4610101"/>
              <a:gd name="connsiteY1829" fmla="*/ 4191851 h 6557032"/>
              <a:gd name="connsiteX1830" fmla="*/ 1625380 w 4610101"/>
              <a:gd name="connsiteY1830" fmla="*/ 4175452 h 6557032"/>
              <a:gd name="connsiteX1831" fmla="*/ 1610802 w 4610101"/>
              <a:gd name="connsiteY1831" fmla="*/ 4182740 h 6557032"/>
              <a:gd name="connsiteX1832" fmla="*/ 1596225 w 4610101"/>
              <a:gd name="connsiteY1832" fmla="*/ 4160874 h 6557032"/>
              <a:gd name="connsiteX1833" fmla="*/ 1619913 w 4610101"/>
              <a:gd name="connsiteY1833" fmla="*/ 4129896 h 6557032"/>
              <a:gd name="connsiteX1834" fmla="*/ 2381582 w 4610101"/>
              <a:gd name="connsiteY1834" fmla="*/ 4115319 h 6557032"/>
              <a:gd name="connsiteX1835" fmla="*/ 2407093 w 4610101"/>
              <a:gd name="connsiteY1835" fmla="*/ 4115319 h 6557032"/>
              <a:gd name="connsiteX1836" fmla="*/ 2390693 w 4610101"/>
              <a:gd name="connsiteY1836" fmla="*/ 4129896 h 6557032"/>
              <a:gd name="connsiteX1837" fmla="*/ 3799233 w 4610101"/>
              <a:gd name="connsiteY1837" fmla="*/ 4113497 h 6557032"/>
              <a:gd name="connsiteX1838" fmla="*/ 3822922 w 4610101"/>
              <a:gd name="connsiteY1838" fmla="*/ 4113497 h 6557032"/>
              <a:gd name="connsiteX1839" fmla="*/ 3852076 w 4610101"/>
              <a:gd name="connsiteY1839" fmla="*/ 4135363 h 6557032"/>
              <a:gd name="connsiteX1840" fmla="*/ 3830210 w 4610101"/>
              <a:gd name="connsiteY1840" fmla="*/ 4144474 h 6557032"/>
              <a:gd name="connsiteX1841" fmla="*/ 3808344 w 4610101"/>
              <a:gd name="connsiteY1841" fmla="*/ 4142652 h 6557032"/>
              <a:gd name="connsiteX1842" fmla="*/ 2631220 w 4610101"/>
              <a:gd name="connsiteY1842" fmla="*/ 4113497 h 6557032"/>
              <a:gd name="connsiteX1843" fmla="*/ 2609354 w 4610101"/>
              <a:gd name="connsiteY1843" fmla="*/ 4151763 h 6557032"/>
              <a:gd name="connsiteX1844" fmla="*/ 2602065 w 4610101"/>
              <a:gd name="connsiteY1844" fmla="*/ 4129897 h 6557032"/>
              <a:gd name="connsiteX1845" fmla="*/ 2631220 w 4610101"/>
              <a:gd name="connsiteY1845" fmla="*/ 4113497 h 6557032"/>
              <a:gd name="connsiteX1846" fmla="*/ 1689155 w 4610101"/>
              <a:gd name="connsiteY1846" fmla="*/ 4113497 h 6557032"/>
              <a:gd name="connsiteX1847" fmla="*/ 1711021 w 4610101"/>
              <a:gd name="connsiteY1847" fmla="*/ 4113497 h 6557032"/>
              <a:gd name="connsiteX1848" fmla="*/ 1709199 w 4610101"/>
              <a:gd name="connsiteY1848" fmla="*/ 4139008 h 6557032"/>
              <a:gd name="connsiteX1849" fmla="*/ 752558 w 4610101"/>
              <a:gd name="connsiteY1849" fmla="*/ 4106209 h 6557032"/>
              <a:gd name="connsiteX1850" fmla="*/ 759846 w 4610101"/>
              <a:gd name="connsiteY1850" fmla="*/ 4120786 h 6557032"/>
              <a:gd name="connsiteX1851" fmla="*/ 747091 w 4610101"/>
              <a:gd name="connsiteY1851" fmla="*/ 4128075 h 6557032"/>
              <a:gd name="connsiteX1852" fmla="*/ 736158 w 4610101"/>
              <a:gd name="connsiteY1852" fmla="*/ 4120786 h 6557032"/>
              <a:gd name="connsiteX1853" fmla="*/ 2835303 w 4610101"/>
              <a:gd name="connsiteY1853" fmla="*/ 4098919 h 6557032"/>
              <a:gd name="connsiteX1854" fmla="*/ 2837125 w 4610101"/>
              <a:gd name="connsiteY1854" fmla="*/ 4115319 h 6557032"/>
              <a:gd name="connsiteX1855" fmla="*/ 2851703 w 4610101"/>
              <a:gd name="connsiteY1855" fmla="*/ 4100741 h 6557032"/>
              <a:gd name="connsiteX1856" fmla="*/ 3899452 w 4610101"/>
              <a:gd name="connsiteY1856" fmla="*/ 4091630 h 6557032"/>
              <a:gd name="connsiteX1857" fmla="*/ 3914030 w 4610101"/>
              <a:gd name="connsiteY1857" fmla="*/ 4106208 h 6557032"/>
              <a:gd name="connsiteX1858" fmla="*/ 3899452 w 4610101"/>
              <a:gd name="connsiteY1858" fmla="*/ 4106208 h 6557032"/>
              <a:gd name="connsiteX1859" fmla="*/ 3813811 w 4610101"/>
              <a:gd name="connsiteY1859" fmla="*/ 4089808 h 6557032"/>
              <a:gd name="connsiteX1860" fmla="*/ 3822922 w 4610101"/>
              <a:gd name="connsiteY1860" fmla="*/ 4106208 h 6557032"/>
              <a:gd name="connsiteX1861" fmla="*/ 3799233 w 4610101"/>
              <a:gd name="connsiteY1861" fmla="*/ 4106208 h 6557032"/>
              <a:gd name="connsiteX1862" fmla="*/ 2396160 w 4610101"/>
              <a:gd name="connsiteY1862" fmla="*/ 4089808 h 6557032"/>
              <a:gd name="connsiteX1863" fmla="*/ 2405271 w 4610101"/>
              <a:gd name="connsiteY1863" fmla="*/ 4106208 h 6557032"/>
              <a:gd name="connsiteX1864" fmla="*/ 2381582 w 4610101"/>
              <a:gd name="connsiteY1864" fmla="*/ 4106208 h 6557032"/>
              <a:gd name="connsiteX1865" fmla="*/ 1146148 w 4610101"/>
              <a:gd name="connsiteY1865" fmla="*/ 4084342 h 6557032"/>
              <a:gd name="connsiteX1866" fmla="*/ 1198991 w 4610101"/>
              <a:gd name="connsiteY1866" fmla="*/ 4084342 h 6557032"/>
              <a:gd name="connsiteX1867" fmla="*/ 1198991 w 4610101"/>
              <a:gd name="connsiteY1867" fmla="*/ 4129897 h 6557032"/>
              <a:gd name="connsiteX1868" fmla="*/ 1168013 w 4610101"/>
              <a:gd name="connsiteY1868" fmla="*/ 4137185 h 6557032"/>
              <a:gd name="connsiteX1869" fmla="*/ 1146148 w 4610101"/>
              <a:gd name="connsiteY1869" fmla="*/ 4129897 h 6557032"/>
              <a:gd name="connsiteX1870" fmla="*/ 1146148 w 4610101"/>
              <a:gd name="connsiteY1870" fmla="*/ 4084342 h 6557032"/>
              <a:gd name="connsiteX1871" fmla="*/ 1703732 w 4610101"/>
              <a:gd name="connsiteY1871" fmla="*/ 4082520 h 6557032"/>
              <a:gd name="connsiteX1872" fmla="*/ 1734710 w 4610101"/>
              <a:gd name="connsiteY1872" fmla="*/ 4093453 h 6557032"/>
              <a:gd name="connsiteX1873" fmla="*/ 1711021 w 4610101"/>
              <a:gd name="connsiteY1873" fmla="*/ 4113497 h 6557032"/>
              <a:gd name="connsiteX1874" fmla="*/ 819978 w 4610101"/>
              <a:gd name="connsiteY1874" fmla="*/ 4082520 h 6557032"/>
              <a:gd name="connsiteX1875" fmla="*/ 829090 w 4610101"/>
              <a:gd name="connsiteY1875" fmla="*/ 4113497 h 6557032"/>
              <a:gd name="connsiteX1876" fmla="*/ 796290 w 4610101"/>
              <a:gd name="connsiteY1876" fmla="*/ 4104386 h 6557032"/>
              <a:gd name="connsiteX1877" fmla="*/ 1415830 w 4610101"/>
              <a:gd name="connsiteY1877" fmla="*/ 4075231 h 6557032"/>
              <a:gd name="connsiteX1878" fmla="*/ 1417652 w 4610101"/>
              <a:gd name="connsiteY1878" fmla="*/ 4091631 h 6557032"/>
              <a:gd name="connsiteX1879" fmla="*/ 1401252 w 4610101"/>
              <a:gd name="connsiteY1879" fmla="*/ 4089809 h 6557032"/>
              <a:gd name="connsiteX1880" fmla="*/ 2525535 w 4610101"/>
              <a:gd name="connsiteY1880" fmla="*/ 4069765 h 6557032"/>
              <a:gd name="connsiteX1881" fmla="*/ 2525535 w 4610101"/>
              <a:gd name="connsiteY1881" fmla="*/ 4091631 h 6557032"/>
              <a:gd name="connsiteX1882" fmla="*/ 2503668 w 4610101"/>
              <a:gd name="connsiteY1882" fmla="*/ 4091631 h 6557032"/>
              <a:gd name="connsiteX1883" fmla="*/ 2525535 w 4610101"/>
              <a:gd name="connsiteY1883" fmla="*/ 4069765 h 6557032"/>
              <a:gd name="connsiteX1884" fmla="*/ 1437696 w 4610101"/>
              <a:gd name="connsiteY1884" fmla="*/ 4067943 h 6557032"/>
              <a:gd name="connsiteX1885" fmla="*/ 1439518 w 4610101"/>
              <a:gd name="connsiteY1885" fmla="*/ 4091632 h 6557032"/>
              <a:gd name="connsiteX1886" fmla="*/ 1423118 w 4610101"/>
              <a:gd name="connsiteY1886" fmla="*/ 4082521 h 6557032"/>
              <a:gd name="connsiteX1887" fmla="*/ 3748430 w 4610101"/>
              <a:gd name="connsiteY1887" fmla="*/ 4067021 h 6557032"/>
              <a:gd name="connsiteX1888" fmla="*/ 3745878 w 4610101"/>
              <a:gd name="connsiteY1888" fmla="*/ 4074253 h 6557032"/>
              <a:gd name="connsiteX1889" fmla="*/ 3742746 w 4610101"/>
              <a:gd name="connsiteY1889" fmla="*/ 4075231 h 6557032"/>
              <a:gd name="connsiteX1890" fmla="*/ 2864458 w 4610101"/>
              <a:gd name="connsiteY1890" fmla="*/ 4062476 h 6557032"/>
              <a:gd name="connsiteX1891" fmla="*/ 2873569 w 4610101"/>
              <a:gd name="connsiteY1891" fmla="*/ 4077053 h 6557032"/>
              <a:gd name="connsiteX1892" fmla="*/ 2889968 w 4610101"/>
              <a:gd name="connsiteY1892" fmla="*/ 4064298 h 6557032"/>
              <a:gd name="connsiteX1893" fmla="*/ 3666214 w 4610101"/>
              <a:gd name="connsiteY1893" fmla="*/ 4060654 h 6557032"/>
              <a:gd name="connsiteX1894" fmla="*/ 3673503 w 4610101"/>
              <a:gd name="connsiteY1894" fmla="*/ 4091630 h 6557032"/>
              <a:gd name="connsiteX1895" fmla="*/ 3688080 w 4610101"/>
              <a:gd name="connsiteY1895" fmla="*/ 4060654 h 6557032"/>
              <a:gd name="connsiteX1896" fmla="*/ 1809420 w 4610101"/>
              <a:gd name="connsiteY1896" fmla="*/ 4055188 h 6557032"/>
              <a:gd name="connsiteX1897" fmla="*/ 1840397 w 4610101"/>
              <a:gd name="connsiteY1897" fmla="*/ 4069766 h 6557032"/>
              <a:gd name="connsiteX1898" fmla="*/ 1831285 w 4610101"/>
              <a:gd name="connsiteY1898" fmla="*/ 4106209 h 6557032"/>
              <a:gd name="connsiteX1899" fmla="*/ 1802130 w 4610101"/>
              <a:gd name="connsiteY1899" fmla="*/ 4106209 h 6557032"/>
              <a:gd name="connsiteX1900" fmla="*/ 1793019 w 4610101"/>
              <a:gd name="connsiteY1900" fmla="*/ 4069766 h 6557032"/>
              <a:gd name="connsiteX1901" fmla="*/ 1809420 w 4610101"/>
              <a:gd name="connsiteY1901" fmla="*/ 4069766 h 6557032"/>
              <a:gd name="connsiteX1902" fmla="*/ 2518245 w 4610101"/>
              <a:gd name="connsiteY1902" fmla="*/ 4053364 h 6557032"/>
              <a:gd name="connsiteX1903" fmla="*/ 2541934 w 4610101"/>
              <a:gd name="connsiteY1903" fmla="*/ 4055187 h 6557032"/>
              <a:gd name="connsiteX1904" fmla="*/ 2525534 w 4610101"/>
              <a:gd name="connsiteY1904" fmla="*/ 4069764 h 6557032"/>
              <a:gd name="connsiteX1905" fmla="*/ 4313087 w 4610101"/>
              <a:gd name="connsiteY1905" fmla="*/ 4031498 h 6557032"/>
              <a:gd name="connsiteX1906" fmla="*/ 4320376 w 4610101"/>
              <a:gd name="connsiteY1906" fmla="*/ 4046077 h 6557032"/>
              <a:gd name="connsiteX1907" fmla="*/ 4313087 w 4610101"/>
              <a:gd name="connsiteY1907" fmla="*/ 4055188 h 6557032"/>
              <a:gd name="connsiteX1908" fmla="*/ 4296687 w 4610101"/>
              <a:gd name="connsiteY1908" fmla="*/ 4040610 h 6557032"/>
              <a:gd name="connsiteX1909" fmla="*/ 2443536 w 4610101"/>
              <a:gd name="connsiteY1909" fmla="*/ 4024210 h 6557032"/>
              <a:gd name="connsiteX1910" fmla="*/ 2465402 w 4610101"/>
              <a:gd name="connsiteY1910" fmla="*/ 4046077 h 6557032"/>
              <a:gd name="connsiteX1911" fmla="*/ 2443536 w 4610101"/>
              <a:gd name="connsiteY1911" fmla="*/ 4046077 h 6557032"/>
              <a:gd name="connsiteX1912" fmla="*/ 1379386 w 4610101"/>
              <a:gd name="connsiteY1912" fmla="*/ 4022388 h 6557032"/>
              <a:gd name="connsiteX1913" fmla="*/ 1362987 w 4610101"/>
              <a:gd name="connsiteY1913" fmla="*/ 4062477 h 6557032"/>
              <a:gd name="connsiteX1914" fmla="*/ 1339299 w 4610101"/>
              <a:gd name="connsiteY1914" fmla="*/ 4038789 h 6557032"/>
              <a:gd name="connsiteX1915" fmla="*/ 1379386 w 4610101"/>
              <a:gd name="connsiteY1915" fmla="*/ 4022388 h 6557032"/>
              <a:gd name="connsiteX1916" fmla="*/ 3813810 w 4610101"/>
              <a:gd name="connsiteY1916" fmla="*/ 4015555 h 6557032"/>
              <a:gd name="connsiteX1917" fmla="*/ 3832032 w 4610101"/>
              <a:gd name="connsiteY1917" fmla="*/ 4024211 h 6557032"/>
              <a:gd name="connsiteX1918" fmla="*/ 3853898 w 4610101"/>
              <a:gd name="connsiteY1918" fmla="*/ 4024211 h 6557032"/>
              <a:gd name="connsiteX1919" fmla="*/ 3853898 w 4610101"/>
              <a:gd name="connsiteY1919" fmla="*/ 4038788 h 6557032"/>
              <a:gd name="connsiteX1920" fmla="*/ 3883053 w 4610101"/>
              <a:gd name="connsiteY1920" fmla="*/ 4046077 h 6557032"/>
              <a:gd name="connsiteX1921" fmla="*/ 3846610 w 4610101"/>
              <a:gd name="connsiteY1921" fmla="*/ 4060655 h 6557032"/>
              <a:gd name="connsiteX1922" fmla="*/ 3837499 w 4610101"/>
              <a:gd name="connsiteY1922" fmla="*/ 4031500 h 6557032"/>
              <a:gd name="connsiteX1923" fmla="*/ 3822921 w 4610101"/>
              <a:gd name="connsiteY1923" fmla="*/ 4031500 h 6557032"/>
              <a:gd name="connsiteX1924" fmla="*/ 3801055 w 4610101"/>
              <a:gd name="connsiteY1924" fmla="*/ 4031500 h 6557032"/>
              <a:gd name="connsiteX1925" fmla="*/ 3813810 w 4610101"/>
              <a:gd name="connsiteY1925" fmla="*/ 4015555 h 6557032"/>
              <a:gd name="connsiteX1926" fmla="*/ 3935895 w 4610101"/>
              <a:gd name="connsiteY1926" fmla="*/ 4009632 h 6557032"/>
              <a:gd name="connsiteX1927" fmla="*/ 3952295 w 4610101"/>
              <a:gd name="connsiteY1927" fmla="*/ 4009632 h 6557032"/>
              <a:gd name="connsiteX1928" fmla="*/ 3935895 w 4610101"/>
              <a:gd name="connsiteY1928" fmla="*/ 4031499 h 6557032"/>
              <a:gd name="connsiteX1929" fmla="*/ 2547400 w 4610101"/>
              <a:gd name="connsiteY1929" fmla="*/ 4009632 h 6557032"/>
              <a:gd name="connsiteX1930" fmla="*/ 2571089 w 4610101"/>
              <a:gd name="connsiteY1930" fmla="*/ 4009632 h 6557032"/>
              <a:gd name="connsiteX1931" fmla="*/ 2561978 w 4610101"/>
              <a:gd name="connsiteY1931" fmla="*/ 4026032 h 6557032"/>
              <a:gd name="connsiteX1932" fmla="*/ 956641 w 4610101"/>
              <a:gd name="connsiteY1932" fmla="*/ 4007810 h 6557032"/>
              <a:gd name="connsiteX1933" fmla="*/ 994907 w 4610101"/>
              <a:gd name="connsiteY1933" fmla="*/ 4022388 h 6557032"/>
              <a:gd name="connsiteX1934" fmla="*/ 985796 w 4610101"/>
              <a:gd name="connsiteY1934" fmla="*/ 4007810 h 6557032"/>
              <a:gd name="connsiteX1935" fmla="*/ 1038640 w 4610101"/>
              <a:gd name="connsiteY1935" fmla="*/ 4036965 h 6557032"/>
              <a:gd name="connsiteX1936" fmla="*/ 1038640 w 4610101"/>
              <a:gd name="connsiteY1936" fmla="*/ 4051543 h 6557032"/>
              <a:gd name="connsiteX1937" fmla="*/ 1038640 w 4610101"/>
              <a:gd name="connsiteY1937" fmla="*/ 4066120 h 6557032"/>
              <a:gd name="connsiteX1938" fmla="*/ 1047751 w 4610101"/>
              <a:gd name="connsiteY1938" fmla="*/ 4080697 h 6557032"/>
              <a:gd name="connsiteX1939" fmla="*/ 1038640 w 4610101"/>
              <a:gd name="connsiteY1939" fmla="*/ 4102563 h 6557032"/>
              <a:gd name="connsiteX1940" fmla="*/ 1053217 w 4610101"/>
              <a:gd name="connsiteY1940" fmla="*/ 4111674 h 6557032"/>
              <a:gd name="connsiteX1941" fmla="*/ 1044106 w 4610101"/>
              <a:gd name="connsiteY1941" fmla="*/ 4126252 h 6557032"/>
              <a:gd name="connsiteX1942" fmla="*/ 1073262 w 4610101"/>
              <a:gd name="connsiteY1942" fmla="*/ 4162695 h 6557032"/>
              <a:gd name="connsiteX1943" fmla="*/ 1058684 w 4610101"/>
              <a:gd name="connsiteY1943" fmla="*/ 4171806 h 6557032"/>
              <a:gd name="connsiteX1944" fmla="*/ 1044106 w 4610101"/>
              <a:gd name="connsiteY1944" fmla="*/ 4164517 h 6557032"/>
              <a:gd name="connsiteX1945" fmla="*/ 1034995 w 4610101"/>
              <a:gd name="connsiteY1945" fmla="*/ 4179095 h 6557032"/>
              <a:gd name="connsiteX1946" fmla="*/ 1005840 w 4610101"/>
              <a:gd name="connsiteY1946" fmla="*/ 4173628 h 6557032"/>
              <a:gd name="connsiteX1947" fmla="*/ 980330 w 4610101"/>
              <a:gd name="connsiteY1947" fmla="*/ 4195494 h 6557032"/>
              <a:gd name="connsiteX1948" fmla="*/ 983974 w 4610101"/>
              <a:gd name="connsiteY1948" fmla="*/ 4210072 h 6557032"/>
              <a:gd name="connsiteX1949" fmla="*/ 980330 w 4610101"/>
              <a:gd name="connsiteY1949" fmla="*/ 4233760 h 6557032"/>
              <a:gd name="connsiteX1950" fmla="*/ 982152 w 4610101"/>
              <a:gd name="connsiteY1950" fmla="*/ 4179095 h 6557032"/>
              <a:gd name="connsiteX1951" fmla="*/ 965752 w 4610101"/>
              <a:gd name="connsiteY1951" fmla="*/ 4166339 h 6557032"/>
              <a:gd name="connsiteX1952" fmla="*/ 943886 w 4610101"/>
              <a:gd name="connsiteY1952" fmla="*/ 4139007 h 6557032"/>
              <a:gd name="connsiteX1953" fmla="*/ 920197 w 4610101"/>
              <a:gd name="connsiteY1953" fmla="*/ 4135362 h 6557032"/>
              <a:gd name="connsiteX1954" fmla="*/ 920197 w 4610101"/>
              <a:gd name="connsiteY1954" fmla="*/ 4113496 h 6557032"/>
              <a:gd name="connsiteX1955" fmla="*/ 942064 w 4610101"/>
              <a:gd name="connsiteY1955" fmla="*/ 4113496 h 6557032"/>
              <a:gd name="connsiteX1956" fmla="*/ 934775 w 4610101"/>
              <a:gd name="connsiteY1956" fmla="*/ 4084341 h 6557032"/>
              <a:gd name="connsiteX1957" fmla="*/ 896509 w 4610101"/>
              <a:gd name="connsiteY1957" fmla="*/ 4098919 h 6557032"/>
              <a:gd name="connsiteX1958" fmla="*/ 949352 w 4610101"/>
              <a:gd name="connsiteY1958" fmla="*/ 4051543 h 6557032"/>
              <a:gd name="connsiteX1959" fmla="*/ 942064 w 4610101"/>
              <a:gd name="connsiteY1959" fmla="*/ 4036965 h 6557032"/>
              <a:gd name="connsiteX1960" fmla="*/ 958463 w 4610101"/>
              <a:gd name="connsiteY1960" fmla="*/ 4036965 h 6557032"/>
              <a:gd name="connsiteX1961" fmla="*/ 951174 w 4610101"/>
              <a:gd name="connsiteY1961" fmla="*/ 4016921 h 6557032"/>
              <a:gd name="connsiteX1962" fmla="*/ 2292295 w 4610101"/>
              <a:gd name="connsiteY1962" fmla="*/ 4002344 h 6557032"/>
              <a:gd name="connsiteX1963" fmla="*/ 2299584 w 4610101"/>
              <a:gd name="connsiteY1963" fmla="*/ 4016922 h 6557032"/>
              <a:gd name="connsiteX1964" fmla="*/ 2319628 w 4610101"/>
              <a:gd name="connsiteY1964" fmla="*/ 4018744 h 6557032"/>
              <a:gd name="connsiteX1965" fmla="*/ 2312339 w 4610101"/>
              <a:gd name="connsiteY1965" fmla="*/ 4033322 h 6557032"/>
              <a:gd name="connsiteX1966" fmla="*/ 2319628 w 4610101"/>
              <a:gd name="connsiteY1966" fmla="*/ 4055188 h 6557032"/>
              <a:gd name="connsiteX1967" fmla="*/ 2286828 w 4610101"/>
              <a:gd name="connsiteY1967" fmla="*/ 4084343 h 6557032"/>
              <a:gd name="connsiteX1968" fmla="*/ 2283184 w 4610101"/>
              <a:gd name="connsiteY1968" fmla="*/ 4100743 h 6557032"/>
              <a:gd name="connsiteX1969" fmla="*/ 2268607 w 4610101"/>
              <a:gd name="connsiteY1969" fmla="*/ 4078877 h 6557032"/>
              <a:gd name="connsiteX1970" fmla="*/ 2254029 w 4610101"/>
              <a:gd name="connsiteY1970" fmla="*/ 4071588 h 6557032"/>
              <a:gd name="connsiteX1971" fmla="*/ 2254029 w 4610101"/>
              <a:gd name="connsiteY1971" fmla="*/ 4033322 h 6557032"/>
              <a:gd name="connsiteX1972" fmla="*/ 2270429 w 4610101"/>
              <a:gd name="connsiteY1972" fmla="*/ 4011455 h 6557032"/>
              <a:gd name="connsiteX1973" fmla="*/ 3979627 w 4610101"/>
              <a:gd name="connsiteY1973" fmla="*/ 4000522 h 6557032"/>
              <a:gd name="connsiteX1974" fmla="*/ 3981450 w 4610101"/>
              <a:gd name="connsiteY1974" fmla="*/ 4016922 h 6557032"/>
              <a:gd name="connsiteX1975" fmla="*/ 3965050 w 4610101"/>
              <a:gd name="connsiteY1975" fmla="*/ 4015100 h 6557032"/>
              <a:gd name="connsiteX1976" fmla="*/ 2826192 w 4610101"/>
              <a:gd name="connsiteY1976" fmla="*/ 4000522 h 6557032"/>
              <a:gd name="connsiteX1977" fmla="*/ 2811615 w 4610101"/>
              <a:gd name="connsiteY1977" fmla="*/ 4015099 h 6557032"/>
              <a:gd name="connsiteX1978" fmla="*/ 2828014 w 4610101"/>
              <a:gd name="connsiteY1978" fmla="*/ 4026032 h 6557032"/>
              <a:gd name="connsiteX1979" fmla="*/ 3830210 w 4610101"/>
              <a:gd name="connsiteY1979" fmla="*/ 3995055 h 6557032"/>
              <a:gd name="connsiteX1980" fmla="*/ 3868476 w 4610101"/>
              <a:gd name="connsiteY1980" fmla="*/ 3995055 h 6557032"/>
              <a:gd name="connsiteX1981" fmla="*/ 3830210 w 4610101"/>
              <a:gd name="connsiteY1981" fmla="*/ 4016922 h 6557032"/>
              <a:gd name="connsiteX1982" fmla="*/ 2208476 w 4610101"/>
              <a:gd name="connsiteY1982" fmla="*/ 3993233 h 6557032"/>
              <a:gd name="connsiteX1983" fmla="*/ 2237631 w 4610101"/>
              <a:gd name="connsiteY1983" fmla="*/ 4029678 h 6557032"/>
              <a:gd name="connsiteX1984" fmla="*/ 2208476 w 4610101"/>
              <a:gd name="connsiteY1984" fmla="*/ 4038789 h 6557032"/>
              <a:gd name="connsiteX1985" fmla="*/ 2206654 w 4610101"/>
              <a:gd name="connsiteY1985" fmla="*/ 4016923 h 6557032"/>
              <a:gd name="connsiteX1986" fmla="*/ 2192076 w 4610101"/>
              <a:gd name="connsiteY1986" fmla="*/ 4002345 h 6557032"/>
              <a:gd name="connsiteX1987" fmla="*/ 2797037 w 4610101"/>
              <a:gd name="connsiteY1987" fmla="*/ 3985944 h 6557032"/>
              <a:gd name="connsiteX1988" fmla="*/ 2773349 w 4610101"/>
              <a:gd name="connsiteY1988" fmla="*/ 3987767 h 6557032"/>
              <a:gd name="connsiteX1989" fmla="*/ 2795215 w 4610101"/>
              <a:gd name="connsiteY1989" fmla="*/ 4009633 h 6557032"/>
              <a:gd name="connsiteX1990" fmla="*/ 1536092 w 4610101"/>
              <a:gd name="connsiteY1990" fmla="*/ 3985944 h 6557032"/>
              <a:gd name="connsiteX1991" fmla="*/ 1537915 w 4610101"/>
              <a:gd name="connsiteY1991" fmla="*/ 4007811 h 6557032"/>
              <a:gd name="connsiteX1992" fmla="*/ 1550672 w 4610101"/>
              <a:gd name="connsiteY1992" fmla="*/ 4022389 h 6557032"/>
              <a:gd name="connsiteX1993" fmla="*/ 1543381 w 4610101"/>
              <a:gd name="connsiteY1993" fmla="*/ 4033322 h 6557032"/>
              <a:gd name="connsiteX1994" fmla="*/ 1503293 w 4610101"/>
              <a:gd name="connsiteY1994" fmla="*/ 3995056 h 6557032"/>
              <a:gd name="connsiteX1995" fmla="*/ 3647993 w 4610101"/>
              <a:gd name="connsiteY1995" fmla="*/ 3980478 h 6557032"/>
              <a:gd name="connsiteX1996" fmla="*/ 3657103 w 4610101"/>
              <a:gd name="connsiteY1996" fmla="*/ 4002344 h 6557032"/>
              <a:gd name="connsiteX1997" fmla="*/ 3673503 w 4610101"/>
              <a:gd name="connsiteY1997" fmla="*/ 3987767 h 6557032"/>
              <a:gd name="connsiteX1998" fmla="*/ 3859365 w 4610101"/>
              <a:gd name="connsiteY1998" fmla="*/ 3969545 h 6557032"/>
              <a:gd name="connsiteX1999" fmla="*/ 3861187 w 4610101"/>
              <a:gd name="connsiteY1999" fmla="*/ 3985945 h 6557032"/>
              <a:gd name="connsiteX2000" fmla="*/ 3844787 w 4610101"/>
              <a:gd name="connsiteY2000" fmla="*/ 3984122 h 6557032"/>
              <a:gd name="connsiteX2001" fmla="*/ 3682614 w 4610101"/>
              <a:gd name="connsiteY2001" fmla="*/ 3969545 h 6557032"/>
              <a:gd name="connsiteX2002" fmla="*/ 3680792 w 4610101"/>
              <a:gd name="connsiteY2002" fmla="*/ 3995055 h 6557032"/>
              <a:gd name="connsiteX2003" fmla="*/ 3695369 w 4610101"/>
              <a:gd name="connsiteY2003" fmla="*/ 3985944 h 6557032"/>
              <a:gd name="connsiteX2004" fmla="*/ 2561978 w 4610101"/>
              <a:gd name="connsiteY2004" fmla="*/ 3969545 h 6557032"/>
              <a:gd name="connsiteX2005" fmla="*/ 2571089 w 4610101"/>
              <a:gd name="connsiteY2005" fmla="*/ 3985945 h 6557032"/>
              <a:gd name="connsiteX2006" fmla="*/ 2547400 w 4610101"/>
              <a:gd name="connsiteY2006" fmla="*/ 3984122 h 6557032"/>
              <a:gd name="connsiteX2007" fmla="*/ 3647993 w 4610101"/>
              <a:gd name="connsiteY2007" fmla="*/ 3954967 h 6557032"/>
              <a:gd name="connsiteX2008" fmla="*/ 3657103 w 4610101"/>
              <a:gd name="connsiteY2008" fmla="*/ 3969545 h 6557032"/>
              <a:gd name="connsiteX2009" fmla="*/ 3673503 w 4610101"/>
              <a:gd name="connsiteY2009" fmla="*/ 3956789 h 6557032"/>
              <a:gd name="connsiteX2010" fmla="*/ 2489091 w 4610101"/>
              <a:gd name="connsiteY2010" fmla="*/ 3954967 h 6557032"/>
              <a:gd name="connsiteX2011" fmla="*/ 2494557 w 4610101"/>
              <a:gd name="connsiteY2011" fmla="*/ 3987767 h 6557032"/>
              <a:gd name="connsiteX2012" fmla="*/ 2470869 w 4610101"/>
              <a:gd name="connsiteY2012" fmla="*/ 3965901 h 6557032"/>
              <a:gd name="connsiteX2013" fmla="*/ 973041 w 4610101"/>
              <a:gd name="connsiteY2013" fmla="*/ 3947678 h 6557032"/>
              <a:gd name="connsiteX2014" fmla="*/ 996729 w 4610101"/>
              <a:gd name="connsiteY2014" fmla="*/ 3956790 h 6557032"/>
              <a:gd name="connsiteX2015" fmla="*/ 973041 w 4610101"/>
              <a:gd name="connsiteY2015" fmla="*/ 3980478 h 6557032"/>
              <a:gd name="connsiteX2016" fmla="*/ 2155632 w 4610101"/>
              <a:gd name="connsiteY2016" fmla="*/ 3938567 h 6557032"/>
              <a:gd name="connsiteX2017" fmla="*/ 2155632 w 4610101"/>
              <a:gd name="connsiteY2017" fmla="*/ 3964079 h 6557032"/>
              <a:gd name="connsiteX2018" fmla="*/ 2139232 w 4610101"/>
              <a:gd name="connsiteY2018" fmla="*/ 3954968 h 6557032"/>
              <a:gd name="connsiteX2019" fmla="*/ 4088959 w 4610101"/>
              <a:gd name="connsiteY2019" fmla="*/ 3934923 h 6557032"/>
              <a:gd name="connsiteX2020" fmla="*/ 4057982 w 4610101"/>
              <a:gd name="connsiteY2020" fmla="*/ 3956790 h 6557032"/>
              <a:gd name="connsiteX2021" fmla="*/ 4088959 w 4610101"/>
              <a:gd name="connsiteY2021" fmla="*/ 3934923 h 6557032"/>
              <a:gd name="connsiteX2022" fmla="*/ 2684062 w 4610101"/>
              <a:gd name="connsiteY2022" fmla="*/ 3933101 h 6557032"/>
              <a:gd name="connsiteX2023" fmla="*/ 2700462 w 4610101"/>
              <a:gd name="connsiteY2023" fmla="*/ 3940391 h 6557032"/>
              <a:gd name="connsiteX2024" fmla="*/ 2692319 w 4610101"/>
              <a:gd name="connsiteY2024" fmla="*/ 3955048 h 6557032"/>
              <a:gd name="connsiteX2025" fmla="*/ 2713218 w 4610101"/>
              <a:gd name="connsiteY2025" fmla="*/ 3956790 h 6557032"/>
              <a:gd name="connsiteX2026" fmla="*/ 2729618 w 4610101"/>
              <a:gd name="connsiteY2026" fmla="*/ 3976834 h 6557032"/>
              <a:gd name="connsiteX2027" fmla="*/ 2705930 w 4610101"/>
              <a:gd name="connsiteY2027" fmla="*/ 3985945 h 6557032"/>
              <a:gd name="connsiteX2028" fmla="*/ 2698242 w 4610101"/>
              <a:gd name="connsiteY2028" fmla="*/ 3964164 h 6557032"/>
              <a:gd name="connsiteX2029" fmla="*/ 2691933 w 4610101"/>
              <a:gd name="connsiteY2029" fmla="*/ 3955743 h 6557032"/>
              <a:gd name="connsiteX2030" fmla="*/ 2691351 w 4610101"/>
              <a:gd name="connsiteY2030" fmla="*/ 3956790 h 6557032"/>
              <a:gd name="connsiteX2031" fmla="*/ 2064524 w 4610101"/>
              <a:gd name="connsiteY2031" fmla="*/ 3933101 h 6557032"/>
              <a:gd name="connsiteX2032" fmla="*/ 2088212 w 4610101"/>
              <a:gd name="connsiteY2032" fmla="*/ 3933101 h 6557032"/>
              <a:gd name="connsiteX2033" fmla="*/ 2086390 w 4610101"/>
              <a:gd name="connsiteY2033" fmla="*/ 3954968 h 6557032"/>
              <a:gd name="connsiteX2034" fmla="*/ 2064524 w 4610101"/>
              <a:gd name="connsiteY2034" fmla="*/ 3971368 h 6557032"/>
              <a:gd name="connsiteX2035" fmla="*/ 2057235 w 4610101"/>
              <a:gd name="connsiteY2035" fmla="*/ 3947679 h 6557032"/>
              <a:gd name="connsiteX2036" fmla="*/ 2073635 w 4610101"/>
              <a:gd name="connsiteY2036" fmla="*/ 3947679 h 6557032"/>
              <a:gd name="connsiteX2037" fmla="*/ 1652713 w 4610101"/>
              <a:gd name="connsiteY2037" fmla="*/ 3933101 h 6557032"/>
              <a:gd name="connsiteX2038" fmla="*/ 1641778 w 4610101"/>
              <a:gd name="connsiteY2038" fmla="*/ 3965901 h 6557032"/>
              <a:gd name="connsiteX2039" fmla="*/ 1619912 w 4610101"/>
              <a:gd name="connsiteY2039" fmla="*/ 3942213 h 6557032"/>
              <a:gd name="connsiteX2040" fmla="*/ 1281662 w 4610101"/>
              <a:gd name="connsiteY2040" fmla="*/ 3926210 h 6557032"/>
              <a:gd name="connsiteX2041" fmla="*/ 1281672 w 4610101"/>
              <a:gd name="connsiteY2041" fmla="*/ 3926268 h 6557032"/>
              <a:gd name="connsiteX2042" fmla="*/ 1281643 w 4610101"/>
              <a:gd name="connsiteY2042" fmla="*/ 3926211 h 6557032"/>
              <a:gd name="connsiteX2043" fmla="*/ 3629771 w 4610101"/>
              <a:gd name="connsiteY2043" fmla="*/ 3925813 h 6557032"/>
              <a:gd name="connsiteX2044" fmla="*/ 3596972 w 4610101"/>
              <a:gd name="connsiteY2044" fmla="*/ 3931279 h 6557032"/>
              <a:gd name="connsiteX2045" fmla="*/ 3606082 w 4610101"/>
              <a:gd name="connsiteY2045" fmla="*/ 3949501 h 6557032"/>
              <a:gd name="connsiteX2046" fmla="*/ 694249 w 4610101"/>
              <a:gd name="connsiteY2046" fmla="*/ 3925812 h 6557032"/>
              <a:gd name="connsiteX2047" fmla="*/ 683316 w 4610101"/>
              <a:gd name="connsiteY2047" fmla="*/ 3942212 h 6557032"/>
              <a:gd name="connsiteX2048" fmla="*/ 668738 w 4610101"/>
              <a:gd name="connsiteY2048" fmla="*/ 3927635 h 6557032"/>
              <a:gd name="connsiteX2049" fmla="*/ 2033547 w 4610101"/>
              <a:gd name="connsiteY2049" fmla="*/ 3923990 h 6557032"/>
              <a:gd name="connsiteX2050" fmla="*/ 2035369 w 4610101"/>
              <a:gd name="connsiteY2050" fmla="*/ 3940390 h 6557032"/>
              <a:gd name="connsiteX2051" fmla="*/ 2018969 w 4610101"/>
              <a:gd name="connsiteY2051" fmla="*/ 3938567 h 6557032"/>
              <a:gd name="connsiteX2052" fmla="*/ 1876839 w 4610101"/>
              <a:gd name="connsiteY2052" fmla="*/ 3918524 h 6557032"/>
              <a:gd name="connsiteX2053" fmla="*/ 1907817 w 4610101"/>
              <a:gd name="connsiteY2053" fmla="*/ 3949501 h 6557032"/>
              <a:gd name="connsiteX2054" fmla="*/ 1907817 w 4610101"/>
              <a:gd name="connsiteY2054" fmla="*/ 3987767 h 6557032"/>
              <a:gd name="connsiteX2055" fmla="*/ 1885950 w 4610101"/>
              <a:gd name="connsiteY2055" fmla="*/ 3987767 h 6557032"/>
              <a:gd name="connsiteX2056" fmla="*/ 1871373 w 4610101"/>
              <a:gd name="connsiteY2056" fmla="*/ 3985945 h 6557032"/>
              <a:gd name="connsiteX2057" fmla="*/ 1854973 w 4610101"/>
              <a:gd name="connsiteY2057" fmla="*/ 3964079 h 6557032"/>
              <a:gd name="connsiteX2058" fmla="*/ 1876839 w 4610101"/>
              <a:gd name="connsiteY2058" fmla="*/ 3918524 h 6557032"/>
              <a:gd name="connsiteX2059" fmla="*/ 1379385 w 4610101"/>
              <a:gd name="connsiteY2059" fmla="*/ 3918524 h 6557032"/>
              <a:gd name="connsiteX2060" fmla="*/ 1401251 w 4610101"/>
              <a:gd name="connsiteY2060" fmla="*/ 3940391 h 6557032"/>
              <a:gd name="connsiteX2061" fmla="*/ 1379385 w 4610101"/>
              <a:gd name="connsiteY2061" fmla="*/ 3918524 h 6557032"/>
              <a:gd name="connsiteX2062" fmla="*/ 2826192 w 4610101"/>
              <a:gd name="connsiteY2062" fmla="*/ 3914880 h 6557032"/>
              <a:gd name="connsiteX2063" fmla="*/ 2804326 w 4610101"/>
              <a:gd name="connsiteY2063" fmla="*/ 3929457 h 6557032"/>
              <a:gd name="connsiteX2064" fmla="*/ 2811615 w 4610101"/>
              <a:gd name="connsiteY2064" fmla="*/ 3951323 h 6557032"/>
              <a:gd name="connsiteX2065" fmla="*/ 2804326 w 4610101"/>
              <a:gd name="connsiteY2065" fmla="*/ 3965900 h 6557032"/>
              <a:gd name="connsiteX2066" fmla="*/ 2813437 w 4610101"/>
              <a:gd name="connsiteY2066" fmla="*/ 3971367 h 6557032"/>
              <a:gd name="connsiteX2067" fmla="*/ 2828014 w 4610101"/>
              <a:gd name="connsiteY2067" fmla="*/ 3958612 h 6557032"/>
              <a:gd name="connsiteX2068" fmla="*/ 2857169 w 4610101"/>
              <a:gd name="connsiteY2068" fmla="*/ 3965900 h 6557032"/>
              <a:gd name="connsiteX2069" fmla="*/ 2857169 w 4610101"/>
              <a:gd name="connsiteY2069" fmla="*/ 3944034 h 6557032"/>
              <a:gd name="connsiteX2070" fmla="*/ 2835303 w 4610101"/>
              <a:gd name="connsiteY2070" fmla="*/ 3927635 h 6557032"/>
              <a:gd name="connsiteX2071" fmla="*/ 2829837 w 4610101"/>
              <a:gd name="connsiteY2071" fmla="*/ 3945857 h 6557032"/>
              <a:gd name="connsiteX2072" fmla="*/ 3801055 w 4610101"/>
              <a:gd name="connsiteY2072" fmla="*/ 3911235 h 6557032"/>
              <a:gd name="connsiteX2073" fmla="*/ 3784656 w 4610101"/>
              <a:gd name="connsiteY2073" fmla="*/ 3913057 h 6557032"/>
              <a:gd name="connsiteX2074" fmla="*/ 3799233 w 4610101"/>
              <a:gd name="connsiteY2074" fmla="*/ 3927635 h 6557032"/>
              <a:gd name="connsiteX2075" fmla="*/ 2886324 w 4610101"/>
              <a:gd name="connsiteY2075" fmla="*/ 3909413 h 6557032"/>
              <a:gd name="connsiteX2076" fmla="*/ 2864458 w 4610101"/>
              <a:gd name="connsiteY2076" fmla="*/ 3931279 h 6557032"/>
              <a:gd name="connsiteX2077" fmla="*/ 2888146 w 4610101"/>
              <a:gd name="connsiteY2077" fmla="*/ 3933101 h 6557032"/>
              <a:gd name="connsiteX2078" fmla="*/ 2503668 w 4610101"/>
              <a:gd name="connsiteY2078" fmla="*/ 3903946 h 6557032"/>
              <a:gd name="connsiteX2079" fmla="*/ 2516424 w 4610101"/>
              <a:gd name="connsiteY2079" fmla="*/ 3903946 h 6557032"/>
              <a:gd name="connsiteX2080" fmla="*/ 2525535 w 4610101"/>
              <a:gd name="connsiteY2080" fmla="*/ 3925813 h 6557032"/>
              <a:gd name="connsiteX2081" fmla="*/ 2503668 w 4610101"/>
              <a:gd name="connsiteY2081" fmla="*/ 3925813 h 6557032"/>
              <a:gd name="connsiteX2082" fmla="*/ 1439518 w 4610101"/>
              <a:gd name="connsiteY2082" fmla="*/ 3903946 h 6557032"/>
              <a:gd name="connsiteX2083" fmla="*/ 1439518 w 4610101"/>
              <a:gd name="connsiteY2083" fmla="*/ 3927635 h 6557032"/>
              <a:gd name="connsiteX2084" fmla="*/ 1441340 w 4610101"/>
              <a:gd name="connsiteY2084" fmla="*/ 3940391 h 6557032"/>
              <a:gd name="connsiteX2085" fmla="*/ 1463206 w 4610101"/>
              <a:gd name="connsiteY2085" fmla="*/ 3965901 h 6557032"/>
              <a:gd name="connsiteX2086" fmla="*/ 1454095 w 4610101"/>
              <a:gd name="connsiteY2086" fmla="*/ 3980478 h 6557032"/>
              <a:gd name="connsiteX2087" fmla="*/ 1461384 w 4610101"/>
              <a:gd name="connsiteY2087" fmla="*/ 3993234 h 6557032"/>
              <a:gd name="connsiteX2088" fmla="*/ 1432229 w 4610101"/>
              <a:gd name="connsiteY2088" fmla="*/ 4016922 h 6557032"/>
              <a:gd name="connsiteX2089" fmla="*/ 1401252 w 4610101"/>
              <a:gd name="connsiteY2089" fmla="*/ 3964079 h 6557032"/>
              <a:gd name="connsiteX2090" fmla="*/ 1410363 w 4610101"/>
              <a:gd name="connsiteY2090" fmla="*/ 3953146 h 6557032"/>
              <a:gd name="connsiteX2091" fmla="*/ 1424940 w 4610101"/>
              <a:gd name="connsiteY2091" fmla="*/ 3949502 h 6557032"/>
              <a:gd name="connsiteX2092" fmla="*/ 1417652 w 4610101"/>
              <a:gd name="connsiteY2092" fmla="*/ 3934923 h 6557032"/>
              <a:gd name="connsiteX2093" fmla="*/ 1432229 w 4610101"/>
              <a:gd name="connsiteY2093" fmla="*/ 3934923 h 6557032"/>
              <a:gd name="connsiteX2094" fmla="*/ 1439518 w 4610101"/>
              <a:gd name="connsiteY2094" fmla="*/ 3903946 h 6557032"/>
              <a:gd name="connsiteX2095" fmla="*/ 4214688 w 4610101"/>
              <a:gd name="connsiteY2095" fmla="*/ 3902124 h 6557032"/>
              <a:gd name="connsiteX2096" fmla="*/ 4214688 w 4610101"/>
              <a:gd name="connsiteY2096" fmla="*/ 3925814 h 6557032"/>
              <a:gd name="connsiteX2097" fmla="*/ 4198288 w 4610101"/>
              <a:gd name="connsiteY2097" fmla="*/ 3916703 h 6557032"/>
              <a:gd name="connsiteX2098" fmla="*/ 2044480 w 4610101"/>
              <a:gd name="connsiteY2098" fmla="*/ 3896658 h 6557032"/>
              <a:gd name="connsiteX2099" fmla="*/ 2066346 w 4610101"/>
              <a:gd name="connsiteY2099" fmla="*/ 3896658 h 6557032"/>
              <a:gd name="connsiteX2100" fmla="*/ 2066346 w 4610101"/>
              <a:gd name="connsiteY2100" fmla="*/ 3911235 h 6557032"/>
              <a:gd name="connsiteX2101" fmla="*/ 2044480 w 4610101"/>
              <a:gd name="connsiteY2101" fmla="*/ 3896658 h 6557032"/>
              <a:gd name="connsiteX2102" fmla="*/ 2487269 w 4610101"/>
              <a:gd name="connsiteY2102" fmla="*/ 3894835 h 6557032"/>
              <a:gd name="connsiteX2103" fmla="*/ 2496380 w 4610101"/>
              <a:gd name="connsiteY2103" fmla="*/ 3911235 h 6557032"/>
              <a:gd name="connsiteX2104" fmla="*/ 2470869 w 4610101"/>
              <a:gd name="connsiteY2104" fmla="*/ 3909413 h 6557032"/>
              <a:gd name="connsiteX2105" fmla="*/ 1310144 w 4610101"/>
              <a:gd name="connsiteY2105" fmla="*/ 3894835 h 6557032"/>
              <a:gd name="connsiteX2106" fmla="*/ 1288277 w 4610101"/>
              <a:gd name="connsiteY2106" fmla="*/ 3925813 h 6557032"/>
              <a:gd name="connsiteX2107" fmla="*/ 1281662 w 4610101"/>
              <a:gd name="connsiteY2107" fmla="*/ 3926210 h 6557032"/>
              <a:gd name="connsiteX2108" fmla="*/ 1281358 w 4610101"/>
              <a:gd name="connsiteY2108" fmla="*/ 3924276 h 6557032"/>
              <a:gd name="connsiteX2109" fmla="*/ 1273699 w 4610101"/>
              <a:gd name="connsiteY2109" fmla="*/ 3918525 h 6557032"/>
              <a:gd name="connsiteX2110" fmla="*/ 1310144 w 4610101"/>
              <a:gd name="connsiteY2110" fmla="*/ 3894835 h 6557032"/>
              <a:gd name="connsiteX2111" fmla="*/ 3784656 w 4610101"/>
              <a:gd name="connsiteY2111" fmla="*/ 3887547 h 6557032"/>
              <a:gd name="connsiteX2112" fmla="*/ 3770078 w 4610101"/>
              <a:gd name="connsiteY2112" fmla="*/ 3902124 h 6557032"/>
              <a:gd name="connsiteX2113" fmla="*/ 3793766 w 4610101"/>
              <a:gd name="connsiteY2113" fmla="*/ 3903947 h 6557032"/>
              <a:gd name="connsiteX2114" fmla="*/ 2427136 w 4610101"/>
              <a:gd name="connsiteY2114" fmla="*/ 3887547 h 6557032"/>
              <a:gd name="connsiteX2115" fmla="*/ 2458113 w 4610101"/>
              <a:gd name="connsiteY2115" fmla="*/ 3894837 h 6557032"/>
              <a:gd name="connsiteX2116" fmla="*/ 2427136 w 4610101"/>
              <a:gd name="connsiteY2116" fmla="*/ 3909414 h 6557032"/>
              <a:gd name="connsiteX2117" fmla="*/ 2427136 w 4610101"/>
              <a:gd name="connsiteY2117" fmla="*/ 3887547 h 6557032"/>
              <a:gd name="connsiteX2118" fmla="*/ 1475961 w 4610101"/>
              <a:gd name="connsiteY2118" fmla="*/ 3887547 h 6557032"/>
              <a:gd name="connsiteX2119" fmla="*/ 1501471 w 4610101"/>
              <a:gd name="connsiteY2119" fmla="*/ 3887547 h 6557032"/>
              <a:gd name="connsiteX2120" fmla="*/ 1494182 w 4610101"/>
              <a:gd name="connsiteY2120" fmla="*/ 3900302 h 6557032"/>
              <a:gd name="connsiteX2121" fmla="*/ 1516049 w 4610101"/>
              <a:gd name="connsiteY2121" fmla="*/ 3916702 h 6557032"/>
              <a:gd name="connsiteX2122" fmla="*/ 1516049 w 4610101"/>
              <a:gd name="connsiteY2122" fmla="*/ 3938568 h 6557032"/>
              <a:gd name="connsiteX2123" fmla="*/ 1494182 w 4610101"/>
              <a:gd name="connsiteY2123" fmla="*/ 3954968 h 6557032"/>
              <a:gd name="connsiteX2124" fmla="*/ 1501471 w 4610101"/>
              <a:gd name="connsiteY2124" fmla="*/ 3969545 h 6557032"/>
              <a:gd name="connsiteX2125" fmla="*/ 1477784 w 4610101"/>
              <a:gd name="connsiteY2125" fmla="*/ 3969545 h 6557032"/>
              <a:gd name="connsiteX2126" fmla="*/ 1485072 w 4610101"/>
              <a:gd name="connsiteY2126" fmla="*/ 3954968 h 6557032"/>
              <a:gd name="connsiteX2127" fmla="*/ 1475961 w 4610101"/>
              <a:gd name="connsiteY2127" fmla="*/ 3944034 h 6557032"/>
              <a:gd name="connsiteX2128" fmla="*/ 1463206 w 4610101"/>
              <a:gd name="connsiteY2128" fmla="*/ 3940390 h 6557032"/>
              <a:gd name="connsiteX2129" fmla="*/ 1461383 w 4610101"/>
              <a:gd name="connsiteY2129" fmla="*/ 3902124 h 6557032"/>
              <a:gd name="connsiteX2130" fmla="*/ 1485072 w 4610101"/>
              <a:gd name="connsiteY2130" fmla="*/ 3902124 h 6557032"/>
              <a:gd name="connsiteX2131" fmla="*/ 4014250 w 4610101"/>
              <a:gd name="connsiteY2131" fmla="*/ 3885725 h 6557032"/>
              <a:gd name="connsiteX2132" fmla="*/ 4027005 w 4610101"/>
              <a:gd name="connsiteY2132" fmla="*/ 3902126 h 6557032"/>
              <a:gd name="connsiteX2133" fmla="*/ 4012427 w 4610101"/>
              <a:gd name="connsiteY2133" fmla="*/ 3911237 h 6557032"/>
              <a:gd name="connsiteX2134" fmla="*/ 1915105 w 4610101"/>
              <a:gd name="connsiteY2134" fmla="*/ 3874791 h 6557032"/>
              <a:gd name="connsiteX2135" fmla="*/ 1969771 w 4610101"/>
              <a:gd name="connsiteY2135" fmla="*/ 3874791 h 6557032"/>
              <a:gd name="connsiteX2136" fmla="*/ 1960661 w 4610101"/>
              <a:gd name="connsiteY2136" fmla="*/ 3903947 h 6557032"/>
              <a:gd name="connsiteX2137" fmla="*/ 1915105 w 4610101"/>
              <a:gd name="connsiteY2137" fmla="*/ 3874791 h 6557032"/>
              <a:gd name="connsiteX2138" fmla="*/ 2397981 w 4610101"/>
              <a:gd name="connsiteY2138" fmla="*/ 3872969 h 6557032"/>
              <a:gd name="connsiteX2139" fmla="*/ 2396159 w 4610101"/>
              <a:gd name="connsiteY2139" fmla="*/ 3889369 h 6557032"/>
              <a:gd name="connsiteX2140" fmla="*/ 2381581 w 4610101"/>
              <a:gd name="connsiteY2140" fmla="*/ 3874791 h 6557032"/>
              <a:gd name="connsiteX2141" fmla="*/ 1802131 w 4610101"/>
              <a:gd name="connsiteY2141" fmla="*/ 3872969 h 6557032"/>
              <a:gd name="connsiteX2142" fmla="*/ 1800309 w 4610101"/>
              <a:gd name="connsiteY2142" fmla="*/ 3896659 h 6557032"/>
              <a:gd name="connsiteX2143" fmla="*/ 1771154 w 4610101"/>
              <a:gd name="connsiteY2143" fmla="*/ 3887548 h 6557032"/>
              <a:gd name="connsiteX2144" fmla="*/ 1802131 w 4610101"/>
              <a:gd name="connsiteY2144" fmla="*/ 3872969 h 6557032"/>
              <a:gd name="connsiteX2145" fmla="*/ 1213568 w 4610101"/>
              <a:gd name="connsiteY2145" fmla="*/ 3872969 h 6557032"/>
              <a:gd name="connsiteX2146" fmla="*/ 1235435 w 4610101"/>
              <a:gd name="connsiteY2146" fmla="*/ 3887548 h 6557032"/>
              <a:gd name="connsiteX2147" fmla="*/ 1229969 w 4610101"/>
              <a:gd name="connsiteY2147" fmla="*/ 3923991 h 6557032"/>
              <a:gd name="connsiteX2148" fmla="*/ 1191703 w 4610101"/>
              <a:gd name="connsiteY2148" fmla="*/ 3909414 h 6557032"/>
              <a:gd name="connsiteX2149" fmla="*/ 1191703 w 4610101"/>
              <a:gd name="connsiteY2149" fmla="*/ 3887548 h 6557032"/>
              <a:gd name="connsiteX2150" fmla="*/ 1213568 w 4610101"/>
              <a:gd name="connsiteY2150" fmla="*/ 3872969 h 6557032"/>
              <a:gd name="connsiteX2151" fmla="*/ 2715040 w 4610101"/>
              <a:gd name="connsiteY2151" fmla="*/ 3865681 h 6557032"/>
              <a:gd name="connsiteX2152" fmla="*/ 2736906 w 4610101"/>
              <a:gd name="connsiteY2152" fmla="*/ 3880259 h 6557032"/>
              <a:gd name="connsiteX2153" fmla="*/ 2715040 w 4610101"/>
              <a:gd name="connsiteY2153" fmla="*/ 3880259 h 6557032"/>
              <a:gd name="connsiteX2154" fmla="*/ 798112 w 4610101"/>
              <a:gd name="connsiteY2154" fmla="*/ 3865681 h 6557032"/>
              <a:gd name="connsiteX2155" fmla="*/ 814512 w 4610101"/>
              <a:gd name="connsiteY2155" fmla="*/ 3867504 h 6557032"/>
              <a:gd name="connsiteX2156" fmla="*/ 799934 w 4610101"/>
              <a:gd name="connsiteY2156" fmla="*/ 3882081 h 6557032"/>
              <a:gd name="connsiteX2157" fmla="*/ 4065270 w 4610101"/>
              <a:gd name="connsiteY2157" fmla="*/ 3858392 h 6557032"/>
              <a:gd name="connsiteX2158" fmla="*/ 4081670 w 4610101"/>
              <a:gd name="connsiteY2158" fmla="*/ 3860215 h 6557032"/>
              <a:gd name="connsiteX2159" fmla="*/ 4067092 w 4610101"/>
              <a:gd name="connsiteY2159" fmla="*/ 3874792 h 6557032"/>
              <a:gd name="connsiteX2160" fmla="*/ 3952296 w 4610101"/>
              <a:gd name="connsiteY2160" fmla="*/ 3858392 h 6557032"/>
              <a:gd name="connsiteX2161" fmla="*/ 3974163 w 4610101"/>
              <a:gd name="connsiteY2161" fmla="*/ 3858392 h 6557032"/>
              <a:gd name="connsiteX2162" fmla="*/ 3957763 w 4610101"/>
              <a:gd name="connsiteY2162" fmla="*/ 3889370 h 6557032"/>
              <a:gd name="connsiteX2163" fmla="*/ 3815632 w 4610101"/>
              <a:gd name="connsiteY2163" fmla="*/ 3858392 h 6557032"/>
              <a:gd name="connsiteX2164" fmla="*/ 3808344 w 4610101"/>
              <a:gd name="connsiteY2164" fmla="*/ 3880258 h 6557032"/>
              <a:gd name="connsiteX2165" fmla="*/ 3799233 w 4610101"/>
              <a:gd name="connsiteY2165" fmla="*/ 3902124 h 6557032"/>
              <a:gd name="connsiteX2166" fmla="*/ 3822921 w 4610101"/>
              <a:gd name="connsiteY2166" fmla="*/ 3887547 h 6557032"/>
              <a:gd name="connsiteX2167" fmla="*/ 2479980 w 4610101"/>
              <a:gd name="connsiteY2167" fmla="*/ 3858392 h 6557032"/>
              <a:gd name="connsiteX2168" fmla="*/ 2523712 w 4610101"/>
              <a:gd name="connsiteY2168" fmla="*/ 3882082 h 6557032"/>
              <a:gd name="connsiteX2169" fmla="*/ 2501846 w 4610101"/>
              <a:gd name="connsiteY2169" fmla="*/ 3889370 h 6557032"/>
              <a:gd name="connsiteX2170" fmla="*/ 2501846 w 4610101"/>
              <a:gd name="connsiteY2170" fmla="*/ 3874793 h 6557032"/>
              <a:gd name="connsiteX2171" fmla="*/ 2472691 w 4610101"/>
              <a:gd name="connsiteY2171" fmla="*/ 3882082 h 6557032"/>
              <a:gd name="connsiteX2172" fmla="*/ 4025183 w 4610101"/>
              <a:gd name="connsiteY2172" fmla="*/ 3843815 h 6557032"/>
              <a:gd name="connsiteX2173" fmla="*/ 4050694 w 4610101"/>
              <a:gd name="connsiteY2173" fmla="*/ 3843815 h 6557032"/>
              <a:gd name="connsiteX2174" fmla="*/ 4041583 w 4610101"/>
              <a:gd name="connsiteY2174" fmla="*/ 3860215 h 6557032"/>
              <a:gd name="connsiteX2175" fmla="*/ 2230342 w 4610101"/>
              <a:gd name="connsiteY2175" fmla="*/ 3843815 h 6557032"/>
              <a:gd name="connsiteX2176" fmla="*/ 2255853 w 4610101"/>
              <a:gd name="connsiteY2176" fmla="*/ 3843815 h 6557032"/>
              <a:gd name="connsiteX2177" fmla="*/ 2244920 w 4610101"/>
              <a:gd name="connsiteY2177" fmla="*/ 3860215 h 6557032"/>
              <a:gd name="connsiteX2178" fmla="*/ 2337963 w 4610101"/>
              <a:gd name="connsiteY2178" fmla="*/ 3843132 h 6557032"/>
              <a:gd name="connsiteX2179" fmla="*/ 2346504 w 4610101"/>
              <a:gd name="connsiteY2179" fmla="*/ 3843360 h 6557032"/>
              <a:gd name="connsiteX2180" fmla="*/ 2345138 w 4610101"/>
              <a:gd name="connsiteY2180" fmla="*/ 3865681 h 6557032"/>
              <a:gd name="connsiteX2181" fmla="*/ 2359715 w 4610101"/>
              <a:gd name="connsiteY2181" fmla="*/ 3872970 h 6557032"/>
              <a:gd name="connsiteX2182" fmla="*/ 2357893 w 4610101"/>
              <a:gd name="connsiteY2182" fmla="*/ 3894836 h 6557032"/>
              <a:gd name="connsiteX2183" fmla="*/ 2345138 w 4610101"/>
              <a:gd name="connsiteY2183" fmla="*/ 3911235 h 6557032"/>
              <a:gd name="connsiteX2184" fmla="*/ 2330560 w 4610101"/>
              <a:gd name="connsiteY2184" fmla="*/ 3911235 h 6557032"/>
              <a:gd name="connsiteX2185" fmla="*/ 2323272 w 4610101"/>
              <a:gd name="connsiteY2185" fmla="*/ 3911235 h 6557032"/>
              <a:gd name="connsiteX2186" fmla="*/ 2308694 w 4610101"/>
              <a:gd name="connsiteY2186" fmla="*/ 3911235 h 6557032"/>
              <a:gd name="connsiteX2187" fmla="*/ 2301406 w 4610101"/>
              <a:gd name="connsiteY2187" fmla="*/ 3914880 h 6557032"/>
              <a:gd name="connsiteX2188" fmla="*/ 2277717 w 4610101"/>
              <a:gd name="connsiteY2188" fmla="*/ 3911235 h 6557032"/>
              <a:gd name="connsiteX2189" fmla="*/ 2277717 w 4610101"/>
              <a:gd name="connsiteY2189" fmla="*/ 3872970 h 6557032"/>
              <a:gd name="connsiteX2190" fmla="*/ 2301406 w 4610101"/>
              <a:gd name="connsiteY2190" fmla="*/ 3872970 h 6557032"/>
              <a:gd name="connsiteX2191" fmla="*/ 2323272 w 4610101"/>
              <a:gd name="connsiteY2191" fmla="*/ 3851104 h 6557032"/>
              <a:gd name="connsiteX2192" fmla="*/ 2337963 w 4610101"/>
              <a:gd name="connsiteY2192" fmla="*/ 3843132 h 6557032"/>
              <a:gd name="connsiteX2193" fmla="*/ 1302855 w 4610101"/>
              <a:gd name="connsiteY2193" fmla="*/ 3841993 h 6557032"/>
              <a:gd name="connsiteX2194" fmla="*/ 1295566 w 4610101"/>
              <a:gd name="connsiteY2194" fmla="*/ 3872971 h 6557032"/>
              <a:gd name="connsiteX2195" fmla="*/ 1279166 w 4610101"/>
              <a:gd name="connsiteY2195" fmla="*/ 3863860 h 6557032"/>
              <a:gd name="connsiteX2196" fmla="*/ 2547400 w 4610101"/>
              <a:gd name="connsiteY2196" fmla="*/ 3836526 h 6557032"/>
              <a:gd name="connsiteX2197" fmla="*/ 2563799 w 4610101"/>
              <a:gd name="connsiteY2197" fmla="*/ 3849282 h 6557032"/>
              <a:gd name="connsiteX2198" fmla="*/ 2556511 w 4610101"/>
              <a:gd name="connsiteY2198" fmla="*/ 3863860 h 6557032"/>
              <a:gd name="connsiteX2199" fmla="*/ 2520067 w 4610101"/>
              <a:gd name="connsiteY2199" fmla="*/ 3843816 h 6557032"/>
              <a:gd name="connsiteX2200" fmla="*/ 1583469 w 4610101"/>
              <a:gd name="connsiteY2200" fmla="*/ 3836526 h 6557032"/>
              <a:gd name="connsiteX2201" fmla="*/ 1598047 w 4610101"/>
              <a:gd name="connsiteY2201" fmla="*/ 3851105 h 6557032"/>
              <a:gd name="connsiteX2202" fmla="*/ 1588935 w 4610101"/>
              <a:gd name="connsiteY2202" fmla="*/ 3867504 h 6557032"/>
              <a:gd name="connsiteX2203" fmla="*/ 1567069 w 4610101"/>
              <a:gd name="connsiteY2203" fmla="*/ 3845638 h 6557032"/>
              <a:gd name="connsiteX2204" fmla="*/ 1583469 w 4610101"/>
              <a:gd name="connsiteY2204" fmla="*/ 3836526 h 6557032"/>
              <a:gd name="connsiteX2205" fmla="*/ 2722327 w 4610101"/>
              <a:gd name="connsiteY2205" fmla="*/ 3827415 h 6557032"/>
              <a:gd name="connsiteX2206" fmla="*/ 2736905 w 4610101"/>
              <a:gd name="connsiteY2206" fmla="*/ 3827415 h 6557032"/>
              <a:gd name="connsiteX2207" fmla="*/ 2722327 w 4610101"/>
              <a:gd name="connsiteY2207" fmla="*/ 3841993 h 6557032"/>
              <a:gd name="connsiteX2208" fmla="*/ 4012428 w 4610101"/>
              <a:gd name="connsiteY2208" fmla="*/ 3820126 h 6557032"/>
              <a:gd name="connsiteX2209" fmla="*/ 4019716 w 4610101"/>
              <a:gd name="connsiteY2209" fmla="*/ 3841994 h 6557032"/>
              <a:gd name="connsiteX2210" fmla="*/ 4012428 w 4610101"/>
              <a:gd name="connsiteY2210" fmla="*/ 3872970 h 6557032"/>
              <a:gd name="connsiteX2211" fmla="*/ 4012428 w 4610101"/>
              <a:gd name="connsiteY2211" fmla="*/ 3820126 h 6557032"/>
              <a:gd name="connsiteX2212" fmla="*/ 3793766 w 4610101"/>
              <a:gd name="connsiteY2212" fmla="*/ 3820126 h 6557032"/>
              <a:gd name="connsiteX2213" fmla="*/ 3770078 w 4610101"/>
              <a:gd name="connsiteY2213" fmla="*/ 3821949 h 6557032"/>
              <a:gd name="connsiteX2214" fmla="*/ 3784656 w 4610101"/>
              <a:gd name="connsiteY2214" fmla="*/ 3836526 h 6557032"/>
              <a:gd name="connsiteX2215" fmla="*/ 3760967 w 4610101"/>
              <a:gd name="connsiteY2215" fmla="*/ 3820126 h 6557032"/>
              <a:gd name="connsiteX2216" fmla="*/ 3739101 w 4610101"/>
              <a:gd name="connsiteY2216" fmla="*/ 3841993 h 6557032"/>
              <a:gd name="connsiteX2217" fmla="*/ 3762790 w 4610101"/>
              <a:gd name="connsiteY2217" fmla="*/ 3843815 h 6557032"/>
              <a:gd name="connsiteX2218" fmla="*/ 2388871 w 4610101"/>
              <a:gd name="connsiteY2218" fmla="*/ 3812838 h 6557032"/>
              <a:gd name="connsiteX2219" fmla="*/ 2396159 w 4610101"/>
              <a:gd name="connsiteY2219" fmla="*/ 3825594 h 6557032"/>
              <a:gd name="connsiteX2220" fmla="*/ 2388871 w 4610101"/>
              <a:gd name="connsiteY2220" fmla="*/ 3836528 h 6557032"/>
              <a:gd name="connsiteX2221" fmla="*/ 2374293 w 4610101"/>
              <a:gd name="connsiteY2221" fmla="*/ 3821950 h 6557032"/>
              <a:gd name="connsiteX2222" fmla="*/ 1862262 w 4610101"/>
              <a:gd name="connsiteY2222" fmla="*/ 3812838 h 6557032"/>
              <a:gd name="connsiteX2223" fmla="*/ 1853151 w 4610101"/>
              <a:gd name="connsiteY2223" fmla="*/ 3829238 h 6557032"/>
              <a:gd name="connsiteX2224" fmla="*/ 1838573 w 4610101"/>
              <a:gd name="connsiteY2224" fmla="*/ 3814661 h 6557032"/>
              <a:gd name="connsiteX2225" fmla="*/ 1754753 w 4610101"/>
              <a:gd name="connsiteY2225" fmla="*/ 3811015 h 6557032"/>
              <a:gd name="connsiteX2226" fmla="*/ 1771154 w 4610101"/>
              <a:gd name="connsiteY2226" fmla="*/ 3834705 h 6557032"/>
              <a:gd name="connsiteX2227" fmla="*/ 1732887 w 4610101"/>
              <a:gd name="connsiteY2227" fmla="*/ 3832883 h 6557032"/>
              <a:gd name="connsiteX2228" fmla="*/ 4087138 w 4610101"/>
              <a:gd name="connsiteY2228" fmla="*/ 3803727 h 6557032"/>
              <a:gd name="connsiteX2229" fmla="*/ 4094426 w 4610101"/>
              <a:gd name="connsiteY2229" fmla="*/ 3820127 h 6557032"/>
              <a:gd name="connsiteX2230" fmla="*/ 4063449 w 4610101"/>
              <a:gd name="connsiteY2230" fmla="*/ 3818305 h 6557032"/>
              <a:gd name="connsiteX2231" fmla="*/ 2345139 w 4610101"/>
              <a:gd name="connsiteY2231" fmla="*/ 3798260 h 6557032"/>
              <a:gd name="connsiteX2232" fmla="*/ 2343317 w 4610101"/>
              <a:gd name="connsiteY2232" fmla="*/ 3836527 h 6557032"/>
              <a:gd name="connsiteX2233" fmla="*/ 2305051 w 4610101"/>
              <a:gd name="connsiteY2233" fmla="*/ 3800084 h 6557032"/>
              <a:gd name="connsiteX2234" fmla="*/ 2751483 w 4610101"/>
              <a:gd name="connsiteY2234" fmla="*/ 3790972 h 6557032"/>
              <a:gd name="connsiteX2235" fmla="*/ 2753305 w 4610101"/>
              <a:gd name="connsiteY2235" fmla="*/ 3807371 h 6557032"/>
              <a:gd name="connsiteX2236" fmla="*/ 2767882 w 4610101"/>
              <a:gd name="connsiteY2236" fmla="*/ 3792794 h 6557032"/>
              <a:gd name="connsiteX2237" fmla="*/ 4010605 w 4610101"/>
              <a:gd name="connsiteY2237" fmla="*/ 3789149 h 6557032"/>
              <a:gd name="connsiteX2238" fmla="*/ 4012427 w 4610101"/>
              <a:gd name="connsiteY2238" fmla="*/ 3812839 h 6557032"/>
              <a:gd name="connsiteX2239" fmla="*/ 3996027 w 4610101"/>
              <a:gd name="connsiteY2239" fmla="*/ 3803728 h 6557032"/>
              <a:gd name="connsiteX2240" fmla="*/ 1552492 w 4610101"/>
              <a:gd name="connsiteY2240" fmla="*/ 3789149 h 6557032"/>
              <a:gd name="connsiteX2241" fmla="*/ 1559781 w 4610101"/>
              <a:gd name="connsiteY2241" fmla="*/ 3820127 h 6557032"/>
              <a:gd name="connsiteX2242" fmla="*/ 1536092 w 4610101"/>
              <a:gd name="connsiteY2242" fmla="*/ 3820127 h 6557032"/>
              <a:gd name="connsiteX2243" fmla="*/ 1541331 w 4610101"/>
              <a:gd name="connsiteY2243" fmla="*/ 3804182 h 6557032"/>
              <a:gd name="connsiteX2244" fmla="*/ 1540487 w 4610101"/>
              <a:gd name="connsiteY2244" fmla="*/ 3802976 h 6557032"/>
              <a:gd name="connsiteX2245" fmla="*/ 1539737 w 4610101"/>
              <a:gd name="connsiteY2245" fmla="*/ 3801905 h 6557032"/>
              <a:gd name="connsiteX2246" fmla="*/ 1552492 w 4610101"/>
              <a:gd name="connsiteY2246" fmla="*/ 3789149 h 6557032"/>
              <a:gd name="connsiteX2247" fmla="*/ 4161846 w 4610101"/>
              <a:gd name="connsiteY2247" fmla="*/ 3783683 h 6557032"/>
              <a:gd name="connsiteX2248" fmla="*/ 4185535 w 4610101"/>
              <a:gd name="connsiteY2248" fmla="*/ 3783683 h 6557032"/>
              <a:gd name="connsiteX2249" fmla="*/ 4176424 w 4610101"/>
              <a:gd name="connsiteY2249" fmla="*/ 3798261 h 6557032"/>
              <a:gd name="connsiteX2250" fmla="*/ 1357519 w 4610101"/>
              <a:gd name="connsiteY2250" fmla="*/ 3781861 h 6557032"/>
              <a:gd name="connsiteX2251" fmla="*/ 1379385 w 4610101"/>
              <a:gd name="connsiteY2251" fmla="*/ 3781861 h 6557032"/>
              <a:gd name="connsiteX2252" fmla="*/ 1379385 w 4610101"/>
              <a:gd name="connsiteY2252" fmla="*/ 3803728 h 6557032"/>
              <a:gd name="connsiteX2253" fmla="*/ 1357519 w 4610101"/>
              <a:gd name="connsiteY2253" fmla="*/ 3803728 h 6557032"/>
              <a:gd name="connsiteX2254" fmla="*/ 2623931 w 4610101"/>
              <a:gd name="connsiteY2254" fmla="*/ 3778216 h 6557032"/>
              <a:gd name="connsiteX2255" fmla="*/ 2602064 w 4610101"/>
              <a:gd name="connsiteY2255" fmla="*/ 3800082 h 6557032"/>
              <a:gd name="connsiteX2256" fmla="*/ 2607531 w 4610101"/>
              <a:gd name="connsiteY2256" fmla="*/ 3831059 h 6557032"/>
              <a:gd name="connsiteX2257" fmla="*/ 2583843 w 4610101"/>
              <a:gd name="connsiteY2257" fmla="*/ 3831059 h 6557032"/>
              <a:gd name="connsiteX2258" fmla="*/ 2591131 w 4610101"/>
              <a:gd name="connsiteY2258" fmla="*/ 3858393 h 6557032"/>
              <a:gd name="connsiteX2259" fmla="*/ 2578376 w 4610101"/>
              <a:gd name="connsiteY2259" fmla="*/ 3872970 h 6557032"/>
              <a:gd name="connsiteX2260" fmla="*/ 2585665 w 4610101"/>
              <a:gd name="connsiteY2260" fmla="*/ 3883903 h 6557032"/>
              <a:gd name="connsiteX2261" fmla="*/ 2607531 w 4610101"/>
              <a:gd name="connsiteY2261" fmla="*/ 3860215 h 6557032"/>
              <a:gd name="connsiteX2262" fmla="*/ 2645797 w 4610101"/>
              <a:gd name="connsiteY2262" fmla="*/ 3874792 h 6557032"/>
              <a:gd name="connsiteX2263" fmla="*/ 2638508 w 4610101"/>
              <a:gd name="connsiteY2263" fmla="*/ 3887548 h 6557032"/>
              <a:gd name="connsiteX2264" fmla="*/ 2667663 w 4610101"/>
              <a:gd name="connsiteY2264" fmla="*/ 3913058 h 6557032"/>
              <a:gd name="connsiteX2265" fmla="*/ 2691351 w 4610101"/>
              <a:gd name="connsiteY2265" fmla="*/ 3903947 h 6557032"/>
              <a:gd name="connsiteX2266" fmla="*/ 2682240 w 4610101"/>
              <a:gd name="connsiteY2266" fmla="*/ 3933102 h 6557032"/>
              <a:gd name="connsiteX2267" fmla="*/ 2676773 w 4610101"/>
              <a:gd name="connsiteY2267" fmla="*/ 3933102 h 6557032"/>
              <a:gd name="connsiteX2268" fmla="*/ 2669486 w 4610101"/>
              <a:gd name="connsiteY2268" fmla="*/ 3940391 h 6557032"/>
              <a:gd name="connsiteX2269" fmla="*/ 2664019 w 4610101"/>
              <a:gd name="connsiteY2269" fmla="*/ 3954968 h 6557032"/>
              <a:gd name="connsiteX2270" fmla="*/ 2654908 w 4610101"/>
              <a:gd name="connsiteY2270" fmla="*/ 3933101 h 6557032"/>
              <a:gd name="connsiteX2271" fmla="*/ 2674951 w 4610101"/>
              <a:gd name="connsiteY2271" fmla="*/ 3933101 h 6557032"/>
              <a:gd name="connsiteX2272" fmla="*/ 2667663 w 4610101"/>
              <a:gd name="connsiteY2272" fmla="*/ 3918525 h 6557032"/>
              <a:gd name="connsiteX2273" fmla="*/ 2645797 w 4610101"/>
              <a:gd name="connsiteY2273" fmla="*/ 3925813 h 6557032"/>
              <a:gd name="connsiteX2274" fmla="*/ 2600242 w 4610101"/>
              <a:gd name="connsiteY2274" fmla="*/ 3956790 h 6557032"/>
              <a:gd name="connsiteX2275" fmla="*/ 2547399 w 4610101"/>
              <a:gd name="connsiteY2275" fmla="*/ 3887548 h 6557032"/>
              <a:gd name="connsiteX2276" fmla="*/ 2525533 w 4610101"/>
              <a:gd name="connsiteY2276" fmla="*/ 3903947 h 6557032"/>
              <a:gd name="connsiteX2277" fmla="*/ 2534644 w 4610101"/>
              <a:gd name="connsiteY2277" fmla="*/ 3872970 h 6557032"/>
              <a:gd name="connsiteX2278" fmla="*/ 2549221 w 4610101"/>
              <a:gd name="connsiteY2278" fmla="*/ 3880259 h 6557032"/>
              <a:gd name="connsiteX2279" fmla="*/ 2556510 w 4610101"/>
              <a:gd name="connsiteY2279" fmla="*/ 3865681 h 6557032"/>
              <a:gd name="connsiteX2280" fmla="*/ 2572910 w 4610101"/>
              <a:gd name="connsiteY2280" fmla="*/ 3872970 h 6557032"/>
              <a:gd name="connsiteX2281" fmla="*/ 2561977 w 4610101"/>
              <a:gd name="connsiteY2281" fmla="*/ 3854748 h 6557032"/>
              <a:gd name="connsiteX2282" fmla="*/ 2571088 w 4610101"/>
              <a:gd name="connsiteY2282" fmla="*/ 3831059 h 6557032"/>
              <a:gd name="connsiteX2283" fmla="*/ 2547399 w 4610101"/>
              <a:gd name="connsiteY2283" fmla="*/ 3801904 h 6557032"/>
              <a:gd name="connsiteX2284" fmla="*/ 2569265 w 4610101"/>
              <a:gd name="connsiteY2284" fmla="*/ 3798260 h 6557032"/>
              <a:gd name="connsiteX2285" fmla="*/ 2456291 w 4610101"/>
              <a:gd name="connsiteY2285" fmla="*/ 3772750 h 6557032"/>
              <a:gd name="connsiteX2286" fmla="*/ 2458113 w 4610101"/>
              <a:gd name="connsiteY2286" fmla="*/ 3798262 h 6557032"/>
              <a:gd name="connsiteX2287" fmla="*/ 2441713 w 4610101"/>
              <a:gd name="connsiteY2287" fmla="*/ 3789151 h 6557032"/>
              <a:gd name="connsiteX2288" fmla="*/ 2767882 w 4610101"/>
              <a:gd name="connsiteY2288" fmla="*/ 3767284 h 6557032"/>
              <a:gd name="connsiteX2289" fmla="*/ 2767882 w 4610101"/>
              <a:gd name="connsiteY2289" fmla="*/ 3781861 h 6557032"/>
              <a:gd name="connsiteX2290" fmla="*/ 2782460 w 4610101"/>
              <a:gd name="connsiteY2290" fmla="*/ 3781861 h 6557032"/>
              <a:gd name="connsiteX2291" fmla="*/ 3974163 w 4610101"/>
              <a:gd name="connsiteY2291" fmla="*/ 3767283 h 6557032"/>
              <a:gd name="connsiteX2292" fmla="*/ 3965052 w 4610101"/>
              <a:gd name="connsiteY2292" fmla="*/ 3783683 h 6557032"/>
              <a:gd name="connsiteX2293" fmla="*/ 3950474 w 4610101"/>
              <a:gd name="connsiteY2293" fmla="*/ 3769106 h 6557032"/>
              <a:gd name="connsiteX2294" fmla="*/ 1129748 w 4610101"/>
              <a:gd name="connsiteY2294" fmla="*/ 3767283 h 6557032"/>
              <a:gd name="connsiteX2295" fmla="*/ 1166194 w 4610101"/>
              <a:gd name="connsiteY2295" fmla="*/ 3790973 h 6557032"/>
              <a:gd name="connsiteX2296" fmla="*/ 1151614 w 4610101"/>
              <a:gd name="connsiteY2296" fmla="*/ 3790973 h 6557032"/>
              <a:gd name="connsiteX2297" fmla="*/ 1151614 w 4610101"/>
              <a:gd name="connsiteY2297" fmla="*/ 3805550 h 6557032"/>
              <a:gd name="connsiteX2298" fmla="*/ 1129748 w 4610101"/>
              <a:gd name="connsiteY2298" fmla="*/ 3767283 h 6557032"/>
              <a:gd name="connsiteX2299" fmla="*/ 2656730 w 4610101"/>
              <a:gd name="connsiteY2299" fmla="*/ 3758173 h 6557032"/>
              <a:gd name="connsiteX2300" fmla="*/ 2654908 w 4610101"/>
              <a:gd name="connsiteY2300" fmla="*/ 3783683 h 6557032"/>
              <a:gd name="connsiteX2301" fmla="*/ 2669485 w 4610101"/>
              <a:gd name="connsiteY2301" fmla="*/ 3774572 h 6557032"/>
              <a:gd name="connsiteX2302" fmla="*/ 2578377 w 4610101"/>
              <a:gd name="connsiteY2302" fmla="*/ 3752706 h 6557032"/>
              <a:gd name="connsiteX2303" fmla="*/ 2633042 w 4610101"/>
              <a:gd name="connsiteY2303" fmla="*/ 3752706 h 6557032"/>
              <a:gd name="connsiteX2304" fmla="*/ 2623932 w 4610101"/>
              <a:gd name="connsiteY2304" fmla="*/ 3774573 h 6557032"/>
              <a:gd name="connsiteX2305" fmla="*/ 2623932 w 4610101"/>
              <a:gd name="connsiteY2305" fmla="*/ 3759996 h 6557032"/>
              <a:gd name="connsiteX2306" fmla="*/ 2592955 w 4610101"/>
              <a:gd name="connsiteY2306" fmla="*/ 3774573 h 6557032"/>
              <a:gd name="connsiteX2307" fmla="*/ 2589310 w 4610101"/>
              <a:gd name="connsiteY2307" fmla="*/ 3761818 h 6557032"/>
              <a:gd name="connsiteX2308" fmla="*/ 2578377 w 4610101"/>
              <a:gd name="connsiteY2308" fmla="*/ 3752706 h 6557032"/>
              <a:gd name="connsiteX2309" fmla="*/ 1328365 w 4610101"/>
              <a:gd name="connsiteY2309" fmla="*/ 3752706 h 6557032"/>
              <a:gd name="connsiteX2310" fmla="*/ 1317431 w 4610101"/>
              <a:gd name="connsiteY2310" fmla="*/ 3776396 h 6557032"/>
              <a:gd name="connsiteX2311" fmla="*/ 1295565 w 4610101"/>
              <a:gd name="connsiteY2311" fmla="*/ 3754530 h 6557032"/>
              <a:gd name="connsiteX2312" fmla="*/ 2297762 w 4610101"/>
              <a:gd name="connsiteY2312" fmla="*/ 3750884 h 6557032"/>
              <a:gd name="connsiteX2313" fmla="*/ 2299584 w 4610101"/>
              <a:gd name="connsiteY2313" fmla="*/ 3776396 h 6557032"/>
              <a:gd name="connsiteX2314" fmla="*/ 2283184 w 4610101"/>
              <a:gd name="connsiteY2314" fmla="*/ 3765462 h 6557032"/>
              <a:gd name="connsiteX2315" fmla="*/ 940241 w 4610101"/>
              <a:gd name="connsiteY2315" fmla="*/ 3745417 h 6557032"/>
              <a:gd name="connsiteX2316" fmla="*/ 994906 w 4610101"/>
              <a:gd name="connsiteY2316" fmla="*/ 3772750 h 6557032"/>
              <a:gd name="connsiteX2317" fmla="*/ 1025883 w 4610101"/>
              <a:gd name="connsiteY2317" fmla="*/ 3767283 h 6557032"/>
              <a:gd name="connsiteX2318" fmla="*/ 1025883 w 4610101"/>
              <a:gd name="connsiteY2318" fmla="*/ 3783683 h 6557032"/>
              <a:gd name="connsiteX2319" fmla="*/ 1038639 w 4610101"/>
              <a:gd name="connsiteY2319" fmla="*/ 3776394 h 6557032"/>
              <a:gd name="connsiteX2320" fmla="*/ 1067793 w 4610101"/>
              <a:gd name="connsiteY2320" fmla="*/ 3807371 h 6557032"/>
              <a:gd name="connsiteX2321" fmla="*/ 1076904 w 4610101"/>
              <a:gd name="connsiteY2321" fmla="*/ 3831060 h 6557032"/>
              <a:gd name="connsiteX2322" fmla="*/ 1071438 w 4610101"/>
              <a:gd name="connsiteY2322" fmla="*/ 3843815 h 6557032"/>
              <a:gd name="connsiteX2323" fmla="*/ 1084193 w 4610101"/>
              <a:gd name="connsiteY2323" fmla="*/ 3867504 h 6557032"/>
              <a:gd name="connsiteX2324" fmla="*/ 1080549 w 4610101"/>
              <a:gd name="connsiteY2324" fmla="*/ 3882081 h 6557032"/>
              <a:gd name="connsiteX2325" fmla="*/ 1082371 w 4610101"/>
              <a:gd name="connsiteY2325" fmla="*/ 3907592 h 6557032"/>
              <a:gd name="connsiteX2326" fmla="*/ 1060505 w 4610101"/>
              <a:gd name="connsiteY2326" fmla="*/ 3882081 h 6557032"/>
              <a:gd name="connsiteX2327" fmla="*/ 1036818 w 4610101"/>
              <a:gd name="connsiteY2327" fmla="*/ 3898481 h 6557032"/>
              <a:gd name="connsiteX2328" fmla="*/ 1053216 w 4610101"/>
              <a:gd name="connsiteY2328" fmla="*/ 3920347 h 6557032"/>
              <a:gd name="connsiteX2329" fmla="*/ 1038639 w 4610101"/>
              <a:gd name="connsiteY2329" fmla="*/ 3927636 h 6557032"/>
              <a:gd name="connsiteX2330" fmla="*/ 1038639 w 4610101"/>
              <a:gd name="connsiteY2330" fmla="*/ 3949502 h 6557032"/>
              <a:gd name="connsiteX2331" fmla="*/ 1045927 w 4610101"/>
              <a:gd name="connsiteY2331" fmla="*/ 3956790 h 6557032"/>
              <a:gd name="connsiteX2332" fmla="*/ 1038639 w 4610101"/>
              <a:gd name="connsiteY2332" fmla="*/ 3971368 h 6557032"/>
              <a:gd name="connsiteX2333" fmla="*/ 1031350 w 4610101"/>
              <a:gd name="connsiteY2333" fmla="*/ 3985945 h 6557032"/>
              <a:gd name="connsiteX2334" fmla="*/ 1024061 w 4610101"/>
              <a:gd name="connsiteY2334" fmla="*/ 3954968 h 6557032"/>
              <a:gd name="connsiteX2335" fmla="*/ 1031350 w 4610101"/>
              <a:gd name="connsiteY2335" fmla="*/ 3925813 h 6557032"/>
              <a:gd name="connsiteX2336" fmla="*/ 1000374 w 4610101"/>
              <a:gd name="connsiteY2336" fmla="*/ 3914880 h 6557032"/>
              <a:gd name="connsiteX2337" fmla="*/ 985796 w 4610101"/>
              <a:gd name="connsiteY2337" fmla="*/ 3923991 h 6557032"/>
              <a:gd name="connsiteX2338" fmla="*/ 971219 w 4610101"/>
              <a:gd name="connsiteY2338" fmla="*/ 3923991 h 6557032"/>
              <a:gd name="connsiteX2339" fmla="*/ 965752 w 4610101"/>
              <a:gd name="connsiteY2339" fmla="*/ 3929458 h 6557032"/>
              <a:gd name="connsiteX2340" fmla="*/ 969396 w 4610101"/>
              <a:gd name="connsiteY2340" fmla="*/ 3938568 h 6557032"/>
              <a:gd name="connsiteX2341" fmla="*/ 949352 w 4610101"/>
              <a:gd name="connsiteY2341" fmla="*/ 3953146 h 6557032"/>
              <a:gd name="connsiteX2342" fmla="*/ 932953 w 4610101"/>
              <a:gd name="connsiteY2342" fmla="*/ 3940391 h 6557032"/>
              <a:gd name="connsiteX2343" fmla="*/ 932953 w 4610101"/>
              <a:gd name="connsiteY2343" fmla="*/ 3918525 h 6557032"/>
              <a:gd name="connsiteX2344" fmla="*/ 949352 w 4610101"/>
              <a:gd name="connsiteY2344" fmla="*/ 3909414 h 6557032"/>
              <a:gd name="connsiteX2345" fmla="*/ 932953 w 4610101"/>
              <a:gd name="connsiteY2345" fmla="*/ 3894836 h 6557032"/>
              <a:gd name="connsiteX2346" fmla="*/ 940241 w 4610101"/>
              <a:gd name="connsiteY2346" fmla="*/ 3882081 h 6557032"/>
              <a:gd name="connsiteX2347" fmla="*/ 918375 w 4610101"/>
              <a:gd name="connsiteY2347" fmla="*/ 3865682 h 6557032"/>
              <a:gd name="connsiteX2348" fmla="*/ 942063 w 4610101"/>
              <a:gd name="connsiteY2348" fmla="*/ 3843815 h 6557032"/>
              <a:gd name="connsiteX2349" fmla="*/ 934775 w 4610101"/>
              <a:gd name="connsiteY2349" fmla="*/ 3812838 h 6557032"/>
              <a:gd name="connsiteX2350" fmla="*/ 971219 w 4610101"/>
              <a:gd name="connsiteY2350" fmla="*/ 3776394 h 6557032"/>
              <a:gd name="connsiteX2351" fmla="*/ 2503667 w 4610101"/>
              <a:gd name="connsiteY2351" fmla="*/ 3738130 h 6557032"/>
              <a:gd name="connsiteX2352" fmla="*/ 2489092 w 4610101"/>
              <a:gd name="connsiteY2352" fmla="*/ 3745418 h 6557032"/>
              <a:gd name="connsiteX2353" fmla="*/ 2510956 w 4610101"/>
              <a:gd name="connsiteY2353" fmla="*/ 3752706 h 6557032"/>
              <a:gd name="connsiteX2354" fmla="*/ 1854973 w 4610101"/>
              <a:gd name="connsiteY2354" fmla="*/ 3738128 h 6557032"/>
              <a:gd name="connsiteX2355" fmla="*/ 1898706 w 4610101"/>
              <a:gd name="connsiteY2355" fmla="*/ 3745418 h 6557032"/>
              <a:gd name="connsiteX2356" fmla="*/ 1876839 w 4610101"/>
              <a:gd name="connsiteY2356" fmla="*/ 3776395 h 6557032"/>
              <a:gd name="connsiteX2357" fmla="*/ 1854973 w 4610101"/>
              <a:gd name="connsiteY2357" fmla="*/ 3738128 h 6557032"/>
              <a:gd name="connsiteX2358" fmla="*/ 2794532 w 4610101"/>
              <a:gd name="connsiteY2358" fmla="*/ 3729701 h 6557032"/>
              <a:gd name="connsiteX2359" fmla="*/ 2789749 w 4610101"/>
              <a:gd name="connsiteY2359" fmla="*/ 3738129 h 6557032"/>
              <a:gd name="connsiteX2360" fmla="*/ 2775171 w 4610101"/>
              <a:gd name="connsiteY2360" fmla="*/ 3730840 h 6557032"/>
              <a:gd name="connsiteX2361" fmla="*/ 2758772 w 4610101"/>
              <a:gd name="connsiteY2361" fmla="*/ 3752706 h 6557032"/>
              <a:gd name="connsiteX2362" fmla="*/ 2767882 w 4610101"/>
              <a:gd name="connsiteY2362" fmla="*/ 3759995 h 6557032"/>
              <a:gd name="connsiteX2363" fmla="*/ 2789749 w 4610101"/>
              <a:gd name="connsiteY2363" fmla="*/ 3738129 h 6557032"/>
              <a:gd name="connsiteX2364" fmla="*/ 2811615 w 4610101"/>
              <a:gd name="connsiteY2364" fmla="*/ 3738129 h 6557032"/>
              <a:gd name="connsiteX2365" fmla="*/ 2804326 w 4610101"/>
              <a:gd name="connsiteY2365" fmla="*/ 3752706 h 6557032"/>
              <a:gd name="connsiteX2366" fmla="*/ 2820384 w 4610101"/>
              <a:gd name="connsiteY2366" fmla="*/ 3759843 h 6557032"/>
              <a:gd name="connsiteX2367" fmla="*/ 2818903 w 4610101"/>
              <a:gd name="connsiteY2367" fmla="*/ 3761817 h 6557032"/>
              <a:gd name="connsiteX2368" fmla="*/ 2821637 w 4610101"/>
              <a:gd name="connsiteY2368" fmla="*/ 3761817 h 6557032"/>
              <a:gd name="connsiteX2369" fmla="*/ 2828014 w 4610101"/>
              <a:gd name="connsiteY2369" fmla="*/ 3774572 h 6557032"/>
              <a:gd name="connsiteX2370" fmla="*/ 2804326 w 4610101"/>
              <a:gd name="connsiteY2370" fmla="*/ 3774572 h 6557032"/>
              <a:gd name="connsiteX2371" fmla="*/ 2804326 w 4610101"/>
              <a:gd name="connsiteY2371" fmla="*/ 3781861 h 6557032"/>
              <a:gd name="connsiteX2372" fmla="*/ 2835303 w 4610101"/>
              <a:gd name="connsiteY2372" fmla="*/ 3781861 h 6557032"/>
              <a:gd name="connsiteX2373" fmla="*/ 2835303 w 4610101"/>
              <a:gd name="connsiteY2373" fmla="*/ 3761817 h 6557032"/>
              <a:gd name="connsiteX2374" fmla="*/ 2821637 w 4610101"/>
              <a:gd name="connsiteY2374" fmla="*/ 3761817 h 6557032"/>
              <a:gd name="connsiteX2375" fmla="*/ 2820726 w 4610101"/>
              <a:gd name="connsiteY2375" fmla="*/ 3759995 h 6557032"/>
              <a:gd name="connsiteX2376" fmla="*/ 2820384 w 4610101"/>
              <a:gd name="connsiteY2376" fmla="*/ 3759843 h 6557032"/>
              <a:gd name="connsiteX2377" fmla="*/ 2835303 w 4610101"/>
              <a:gd name="connsiteY2377" fmla="*/ 3739951 h 6557032"/>
              <a:gd name="connsiteX2378" fmla="*/ 2811615 w 4610101"/>
              <a:gd name="connsiteY2378" fmla="*/ 3730840 h 6557032"/>
              <a:gd name="connsiteX2379" fmla="*/ 2794532 w 4610101"/>
              <a:gd name="connsiteY2379" fmla="*/ 3729701 h 6557032"/>
              <a:gd name="connsiteX2380" fmla="*/ 3770078 w 4610101"/>
              <a:gd name="connsiteY2380" fmla="*/ 3729018 h 6557032"/>
              <a:gd name="connsiteX2381" fmla="*/ 3746390 w 4610101"/>
              <a:gd name="connsiteY2381" fmla="*/ 3736307 h 6557032"/>
              <a:gd name="connsiteX2382" fmla="*/ 3760967 w 4610101"/>
              <a:gd name="connsiteY2382" fmla="*/ 3750884 h 6557032"/>
              <a:gd name="connsiteX2383" fmla="*/ 2609353 w 4610101"/>
              <a:gd name="connsiteY2383" fmla="*/ 3721729 h 6557032"/>
              <a:gd name="connsiteX2384" fmla="*/ 2607531 w 4610101"/>
              <a:gd name="connsiteY2384" fmla="*/ 3738129 h 6557032"/>
              <a:gd name="connsiteX2385" fmla="*/ 2592953 w 4610101"/>
              <a:gd name="connsiteY2385" fmla="*/ 3723552 h 6557032"/>
              <a:gd name="connsiteX2386" fmla="*/ 2095501 w 4610101"/>
              <a:gd name="connsiteY2386" fmla="*/ 3721729 h 6557032"/>
              <a:gd name="connsiteX2387" fmla="*/ 2119190 w 4610101"/>
              <a:gd name="connsiteY2387" fmla="*/ 3721729 h 6557032"/>
              <a:gd name="connsiteX2388" fmla="*/ 2119190 w 4610101"/>
              <a:gd name="connsiteY2388" fmla="*/ 3738129 h 6557032"/>
              <a:gd name="connsiteX2389" fmla="*/ 2095501 w 4610101"/>
              <a:gd name="connsiteY2389" fmla="*/ 3721729 h 6557032"/>
              <a:gd name="connsiteX2390" fmla="*/ 1936972 w 4610101"/>
              <a:gd name="connsiteY2390" fmla="*/ 3721729 h 6557032"/>
              <a:gd name="connsiteX2391" fmla="*/ 1953371 w 4610101"/>
              <a:gd name="connsiteY2391" fmla="*/ 3723552 h 6557032"/>
              <a:gd name="connsiteX2392" fmla="*/ 1938793 w 4610101"/>
              <a:gd name="connsiteY2392" fmla="*/ 3738129 h 6557032"/>
              <a:gd name="connsiteX2393" fmla="*/ 1893238 w 4610101"/>
              <a:gd name="connsiteY2393" fmla="*/ 3721729 h 6557032"/>
              <a:gd name="connsiteX2394" fmla="*/ 1909639 w 4610101"/>
              <a:gd name="connsiteY2394" fmla="*/ 3723552 h 6557032"/>
              <a:gd name="connsiteX2395" fmla="*/ 1893238 w 4610101"/>
              <a:gd name="connsiteY2395" fmla="*/ 3738129 h 6557032"/>
              <a:gd name="connsiteX2396" fmla="*/ 1712843 w 4610101"/>
              <a:gd name="connsiteY2396" fmla="*/ 3721729 h 6557032"/>
              <a:gd name="connsiteX2397" fmla="*/ 1718310 w 4610101"/>
              <a:gd name="connsiteY2397" fmla="*/ 3756350 h 6557032"/>
              <a:gd name="connsiteX2398" fmla="*/ 1740176 w 4610101"/>
              <a:gd name="connsiteY2398" fmla="*/ 3756350 h 6557032"/>
              <a:gd name="connsiteX2399" fmla="*/ 1718310 w 4610101"/>
              <a:gd name="connsiteY2399" fmla="*/ 3780040 h 6557032"/>
              <a:gd name="connsiteX2400" fmla="*/ 1692799 w 4610101"/>
              <a:gd name="connsiteY2400" fmla="*/ 3801906 h 6557032"/>
              <a:gd name="connsiteX2401" fmla="*/ 1709199 w 4610101"/>
              <a:gd name="connsiteY2401" fmla="*/ 3814661 h 6557032"/>
              <a:gd name="connsiteX2402" fmla="*/ 1709199 w 4610101"/>
              <a:gd name="connsiteY2402" fmla="*/ 3851105 h 6557032"/>
              <a:gd name="connsiteX2403" fmla="*/ 1696444 w 4610101"/>
              <a:gd name="connsiteY2403" fmla="*/ 3858393 h 6557032"/>
              <a:gd name="connsiteX2404" fmla="*/ 1701910 w 4610101"/>
              <a:gd name="connsiteY2404" fmla="*/ 3889370 h 6557032"/>
              <a:gd name="connsiteX2405" fmla="*/ 1680044 w 4610101"/>
              <a:gd name="connsiteY2405" fmla="*/ 3889370 h 6557032"/>
              <a:gd name="connsiteX2406" fmla="*/ 1649067 w 4610101"/>
              <a:gd name="connsiteY2406" fmla="*/ 3858393 h 6557032"/>
              <a:gd name="connsiteX2407" fmla="*/ 1649067 w 4610101"/>
              <a:gd name="connsiteY2407" fmla="*/ 3836527 h 6557032"/>
              <a:gd name="connsiteX2408" fmla="*/ 1680044 w 4610101"/>
              <a:gd name="connsiteY2408" fmla="*/ 3798261 h 6557032"/>
              <a:gd name="connsiteX2409" fmla="*/ 1680044 w 4610101"/>
              <a:gd name="connsiteY2409" fmla="*/ 3776394 h 6557032"/>
              <a:gd name="connsiteX2410" fmla="*/ 1656356 w 4610101"/>
              <a:gd name="connsiteY2410" fmla="*/ 3758173 h 6557032"/>
              <a:gd name="connsiteX2411" fmla="*/ 1681866 w 4610101"/>
              <a:gd name="connsiteY2411" fmla="*/ 3730840 h 6557032"/>
              <a:gd name="connsiteX2412" fmla="*/ 1109704 w 4610101"/>
              <a:gd name="connsiteY2412" fmla="*/ 3712618 h 6557032"/>
              <a:gd name="connsiteX2413" fmla="*/ 1122459 w 4610101"/>
              <a:gd name="connsiteY2413" fmla="*/ 3729019 h 6557032"/>
              <a:gd name="connsiteX2414" fmla="*/ 1100593 w 4610101"/>
              <a:gd name="connsiteY2414" fmla="*/ 3743596 h 6557032"/>
              <a:gd name="connsiteX2415" fmla="*/ 3733635 w 4610101"/>
              <a:gd name="connsiteY2415" fmla="*/ 3699863 h 6557032"/>
              <a:gd name="connsiteX2416" fmla="*/ 3709947 w 4610101"/>
              <a:gd name="connsiteY2416" fmla="*/ 3701685 h 6557032"/>
              <a:gd name="connsiteX2417" fmla="*/ 3731813 w 4610101"/>
              <a:gd name="connsiteY2417" fmla="*/ 3723551 h 6557032"/>
              <a:gd name="connsiteX2418" fmla="*/ 2186610 w 4610101"/>
              <a:gd name="connsiteY2418" fmla="*/ 3699863 h 6557032"/>
              <a:gd name="connsiteX2419" fmla="*/ 2195721 w 4610101"/>
              <a:gd name="connsiteY2419" fmla="*/ 3723552 h 6557032"/>
              <a:gd name="connsiteX2420" fmla="*/ 2188432 w 4610101"/>
              <a:gd name="connsiteY2420" fmla="*/ 3738129 h 6557032"/>
              <a:gd name="connsiteX2421" fmla="*/ 2223053 w 4610101"/>
              <a:gd name="connsiteY2421" fmla="*/ 3769106 h 6557032"/>
              <a:gd name="connsiteX2422" fmla="*/ 2224876 w 4610101"/>
              <a:gd name="connsiteY2422" fmla="*/ 3820127 h 6557032"/>
              <a:gd name="connsiteX2423" fmla="*/ 2203010 w 4610101"/>
              <a:gd name="connsiteY2423" fmla="*/ 3836526 h 6557032"/>
              <a:gd name="connsiteX2424" fmla="*/ 2210298 w 4610101"/>
              <a:gd name="connsiteY2424" fmla="*/ 3851104 h 6557032"/>
              <a:gd name="connsiteX2425" fmla="*/ 2188432 w 4610101"/>
              <a:gd name="connsiteY2425" fmla="*/ 3851104 h 6557032"/>
              <a:gd name="connsiteX2426" fmla="*/ 2173855 w 4610101"/>
              <a:gd name="connsiteY2426" fmla="*/ 3843815 h 6557032"/>
              <a:gd name="connsiteX2427" fmla="*/ 2159277 w 4610101"/>
              <a:gd name="connsiteY2427" fmla="*/ 3851104 h 6557032"/>
              <a:gd name="connsiteX2428" fmla="*/ 2150166 w 4610101"/>
              <a:gd name="connsiteY2428" fmla="*/ 3836526 h 6557032"/>
              <a:gd name="connsiteX2429" fmla="*/ 2137411 w 4610101"/>
              <a:gd name="connsiteY2429" fmla="*/ 3843815 h 6557032"/>
              <a:gd name="connsiteX2430" fmla="*/ 2111901 w 4610101"/>
              <a:gd name="connsiteY2430" fmla="*/ 3821949 h 6557032"/>
              <a:gd name="connsiteX2431" fmla="*/ 2119190 w 4610101"/>
              <a:gd name="connsiteY2431" fmla="*/ 3807371 h 6557032"/>
              <a:gd name="connsiteX2432" fmla="*/ 2088213 w 4610101"/>
              <a:gd name="connsiteY2432" fmla="*/ 3790972 h 6557032"/>
              <a:gd name="connsiteX2433" fmla="*/ 2073635 w 4610101"/>
              <a:gd name="connsiteY2433" fmla="*/ 3800083 h 6557032"/>
              <a:gd name="connsiteX2434" fmla="*/ 2059058 w 4610101"/>
              <a:gd name="connsiteY2434" fmla="*/ 3792794 h 6557032"/>
              <a:gd name="connsiteX2435" fmla="*/ 2035369 w 4610101"/>
              <a:gd name="connsiteY2435" fmla="*/ 3792794 h 6557032"/>
              <a:gd name="connsiteX2436" fmla="*/ 2042658 w 4610101"/>
              <a:gd name="connsiteY2436" fmla="*/ 3805549 h 6557032"/>
              <a:gd name="connsiteX2437" fmla="*/ 2018971 w 4610101"/>
              <a:gd name="connsiteY2437" fmla="*/ 3814660 h 6557032"/>
              <a:gd name="connsiteX2438" fmla="*/ 2004392 w 4610101"/>
              <a:gd name="connsiteY2438" fmla="*/ 3807371 h 6557032"/>
              <a:gd name="connsiteX2439" fmla="*/ 2004392 w 4610101"/>
              <a:gd name="connsiteY2439" fmla="*/ 3821949 h 6557032"/>
              <a:gd name="connsiteX2440" fmla="*/ 1989814 w 4610101"/>
              <a:gd name="connsiteY2440" fmla="*/ 3821949 h 6557032"/>
              <a:gd name="connsiteX2441" fmla="*/ 1997103 w 4610101"/>
              <a:gd name="connsiteY2441" fmla="*/ 3790972 h 6557032"/>
              <a:gd name="connsiteX2442" fmla="*/ 1969770 w 4610101"/>
              <a:gd name="connsiteY2442" fmla="*/ 3754528 h 6557032"/>
              <a:gd name="connsiteX2443" fmla="*/ 2015325 w 4610101"/>
              <a:gd name="connsiteY2443" fmla="*/ 3701685 h 6557032"/>
              <a:gd name="connsiteX2444" fmla="*/ 2037193 w 4610101"/>
              <a:gd name="connsiteY2444" fmla="*/ 3705330 h 6557032"/>
              <a:gd name="connsiteX2445" fmla="*/ 2066348 w 4610101"/>
              <a:gd name="connsiteY2445" fmla="*/ 3716263 h 6557032"/>
              <a:gd name="connsiteX2446" fmla="*/ 2080924 w 4610101"/>
              <a:gd name="connsiteY2446" fmla="*/ 3703508 h 6557032"/>
              <a:gd name="connsiteX2447" fmla="*/ 2091857 w 4610101"/>
              <a:gd name="connsiteY2447" fmla="*/ 3710796 h 6557032"/>
              <a:gd name="connsiteX2448" fmla="*/ 2069991 w 4610101"/>
              <a:gd name="connsiteY2448" fmla="*/ 3732662 h 6557032"/>
              <a:gd name="connsiteX2449" fmla="*/ 2097323 w 4610101"/>
              <a:gd name="connsiteY2449" fmla="*/ 3761817 h 6557032"/>
              <a:gd name="connsiteX2450" fmla="*/ 2090035 w 4610101"/>
              <a:gd name="connsiteY2450" fmla="*/ 3783683 h 6557032"/>
              <a:gd name="connsiteX2451" fmla="*/ 2111901 w 4610101"/>
              <a:gd name="connsiteY2451" fmla="*/ 3792794 h 6557032"/>
              <a:gd name="connsiteX2452" fmla="*/ 2115545 w 4610101"/>
              <a:gd name="connsiteY2452" fmla="*/ 3770928 h 6557032"/>
              <a:gd name="connsiteX2453" fmla="*/ 2128300 w 4610101"/>
              <a:gd name="connsiteY2453" fmla="*/ 3739951 h 6557032"/>
              <a:gd name="connsiteX2454" fmla="*/ 2150166 w 4610101"/>
              <a:gd name="connsiteY2454" fmla="*/ 3730840 h 6557032"/>
              <a:gd name="connsiteX2455" fmla="*/ 2173855 w 4610101"/>
              <a:gd name="connsiteY2455" fmla="*/ 3729018 h 6557032"/>
              <a:gd name="connsiteX2456" fmla="*/ 2157455 w 4610101"/>
              <a:gd name="connsiteY2456" fmla="*/ 3707152 h 6557032"/>
              <a:gd name="connsiteX2457" fmla="*/ 2186610 w 4610101"/>
              <a:gd name="connsiteY2457" fmla="*/ 3699863 h 6557032"/>
              <a:gd name="connsiteX2458" fmla="*/ 2864458 w 4610101"/>
              <a:gd name="connsiteY2458" fmla="*/ 3698041 h 6557032"/>
              <a:gd name="connsiteX2459" fmla="*/ 2858991 w 4610101"/>
              <a:gd name="connsiteY2459" fmla="*/ 3730840 h 6557032"/>
              <a:gd name="connsiteX2460" fmla="*/ 2880857 w 4610101"/>
              <a:gd name="connsiteY2460" fmla="*/ 3707152 h 6557032"/>
              <a:gd name="connsiteX2461" fmla="*/ 2561977 w 4610101"/>
              <a:gd name="connsiteY2461" fmla="*/ 3698041 h 6557032"/>
              <a:gd name="connsiteX2462" fmla="*/ 2563799 w 4610101"/>
              <a:gd name="connsiteY2462" fmla="*/ 3714441 h 6557032"/>
              <a:gd name="connsiteX2463" fmla="*/ 2547399 w 4610101"/>
              <a:gd name="connsiteY2463" fmla="*/ 3712619 h 6557032"/>
              <a:gd name="connsiteX2464" fmla="*/ 2481801 w 4610101"/>
              <a:gd name="connsiteY2464" fmla="*/ 3698041 h 6557032"/>
              <a:gd name="connsiteX2465" fmla="*/ 2510956 w 4610101"/>
              <a:gd name="connsiteY2465" fmla="*/ 3718086 h 6557032"/>
              <a:gd name="connsiteX2466" fmla="*/ 2543755 w 4610101"/>
              <a:gd name="connsiteY2466" fmla="*/ 3723553 h 6557032"/>
              <a:gd name="connsiteX2467" fmla="*/ 2510957 w 4610101"/>
              <a:gd name="connsiteY2467" fmla="*/ 3752707 h 6557032"/>
              <a:gd name="connsiteX2468" fmla="*/ 2481802 w 4610101"/>
              <a:gd name="connsiteY2468" fmla="*/ 3767284 h 6557032"/>
              <a:gd name="connsiteX2469" fmla="*/ 2472691 w 4610101"/>
              <a:gd name="connsiteY2469" fmla="*/ 3752707 h 6557032"/>
              <a:gd name="connsiteX2470" fmla="*/ 2489089 w 4610101"/>
              <a:gd name="connsiteY2470" fmla="*/ 3745418 h 6557032"/>
              <a:gd name="connsiteX2471" fmla="*/ 2472690 w 4610101"/>
              <a:gd name="connsiteY2471" fmla="*/ 3729019 h 6557032"/>
              <a:gd name="connsiteX2472" fmla="*/ 2481801 w 4610101"/>
              <a:gd name="connsiteY2472" fmla="*/ 3698041 h 6557032"/>
              <a:gd name="connsiteX2473" fmla="*/ 2244919 w 4610101"/>
              <a:gd name="connsiteY2473" fmla="*/ 3698041 h 6557032"/>
              <a:gd name="connsiteX2474" fmla="*/ 2246741 w 4610101"/>
              <a:gd name="connsiteY2474" fmla="*/ 3714441 h 6557032"/>
              <a:gd name="connsiteX2475" fmla="*/ 2230341 w 4610101"/>
              <a:gd name="connsiteY2475" fmla="*/ 3712619 h 6557032"/>
              <a:gd name="connsiteX2476" fmla="*/ 4147269 w 4610101"/>
              <a:gd name="connsiteY2476" fmla="*/ 3692574 h 6557032"/>
              <a:gd name="connsiteX2477" fmla="*/ 4172780 w 4610101"/>
              <a:gd name="connsiteY2477" fmla="*/ 3694397 h 6557032"/>
              <a:gd name="connsiteX2478" fmla="*/ 4156380 w 4610101"/>
              <a:gd name="connsiteY2478" fmla="*/ 3707152 h 6557032"/>
              <a:gd name="connsiteX2479" fmla="*/ 3884874 w 4610101"/>
              <a:gd name="connsiteY2479" fmla="*/ 3692574 h 6557032"/>
              <a:gd name="connsiteX2480" fmla="*/ 3899452 w 4610101"/>
              <a:gd name="connsiteY2480" fmla="*/ 3692574 h 6557032"/>
              <a:gd name="connsiteX2481" fmla="*/ 3899452 w 4610101"/>
              <a:gd name="connsiteY2481" fmla="*/ 3714442 h 6557032"/>
              <a:gd name="connsiteX2482" fmla="*/ 3884874 w 4610101"/>
              <a:gd name="connsiteY2482" fmla="*/ 3692574 h 6557032"/>
              <a:gd name="connsiteX2483" fmla="*/ 2503668 w 4610101"/>
              <a:gd name="connsiteY2483" fmla="*/ 3692574 h 6557032"/>
              <a:gd name="connsiteX2484" fmla="*/ 2527357 w 4610101"/>
              <a:gd name="connsiteY2484" fmla="*/ 3694397 h 6557032"/>
              <a:gd name="connsiteX2485" fmla="*/ 2510957 w 4610101"/>
              <a:gd name="connsiteY2485" fmla="*/ 3707152 h 6557032"/>
              <a:gd name="connsiteX2486" fmla="*/ 2261319 w 4610101"/>
              <a:gd name="connsiteY2486" fmla="*/ 3692574 h 6557032"/>
              <a:gd name="connsiteX2487" fmla="*/ 2299585 w 4610101"/>
              <a:gd name="connsiteY2487" fmla="*/ 3692574 h 6557032"/>
              <a:gd name="connsiteX2488" fmla="*/ 2261319 w 4610101"/>
              <a:gd name="connsiteY2488" fmla="*/ 3714442 h 6557032"/>
              <a:gd name="connsiteX2489" fmla="*/ 1823996 w 4610101"/>
              <a:gd name="connsiteY2489" fmla="*/ 3692574 h 6557032"/>
              <a:gd name="connsiteX2490" fmla="*/ 1849507 w 4610101"/>
              <a:gd name="connsiteY2490" fmla="*/ 3694397 h 6557032"/>
              <a:gd name="connsiteX2491" fmla="*/ 1833107 w 4610101"/>
              <a:gd name="connsiteY2491" fmla="*/ 3707152 h 6557032"/>
              <a:gd name="connsiteX2492" fmla="*/ 2685884 w 4610101"/>
              <a:gd name="connsiteY2492" fmla="*/ 3690752 h 6557032"/>
              <a:gd name="connsiteX2493" fmla="*/ 2700461 w 4610101"/>
              <a:gd name="connsiteY2493" fmla="*/ 3690752 h 6557032"/>
              <a:gd name="connsiteX2494" fmla="*/ 2715039 w 4610101"/>
              <a:gd name="connsiteY2494" fmla="*/ 3721730 h 6557032"/>
              <a:gd name="connsiteX2495" fmla="*/ 2694995 w 4610101"/>
              <a:gd name="connsiteY2495" fmla="*/ 3721730 h 6557032"/>
              <a:gd name="connsiteX2496" fmla="*/ 2694995 w 4610101"/>
              <a:gd name="connsiteY2496" fmla="*/ 3741774 h 6557032"/>
              <a:gd name="connsiteX2497" fmla="*/ 2673129 w 4610101"/>
              <a:gd name="connsiteY2497" fmla="*/ 3741774 h 6557032"/>
              <a:gd name="connsiteX2498" fmla="*/ 2656729 w 4610101"/>
              <a:gd name="connsiteY2498" fmla="*/ 3719908 h 6557032"/>
              <a:gd name="connsiteX2499" fmla="*/ 2664018 w 4610101"/>
              <a:gd name="connsiteY2499" fmla="*/ 3712619 h 6557032"/>
              <a:gd name="connsiteX2500" fmla="*/ 2685884 w 4610101"/>
              <a:gd name="connsiteY2500" fmla="*/ 3690752 h 6557032"/>
              <a:gd name="connsiteX2501" fmla="*/ 1905994 w 4610101"/>
              <a:gd name="connsiteY2501" fmla="*/ 3690752 h 6557032"/>
              <a:gd name="connsiteX2502" fmla="*/ 1913282 w 4610101"/>
              <a:gd name="connsiteY2502" fmla="*/ 3705331 h 6557032"/>
              <a:gd name="connsiteX2503" fmla="*/ 1907816 w 4610101"/>
              <a:gd name="connsiteY2503" fmla="*/ 3714442 h 6557032"/>
              <a:gd name="connsiteX2504" fmla="*/ 1891417 w 4610101"/>
              <a:gd name="connsiteY2504" fmla="*/ 3705331 h 6557032"/>
              <a:gd name="connsiteX2505" fmla="*/ 2110079 w 4610101"/>
              <a:gd name="connsiteY2505" fmla="*/ 3683463 h 6557032"/>
              <a:gd name="connsiteX2506" fmla="*/ 2119190 w 4610101"/>
              <a:gd name="connsiteY2506" fmla="*/ 3699863 h 6557032"/>
              <a:gd name="connsiteX2507" fmla="*/ 2093679 w 4610101"/>
              <a:gd name="connsiteY2507" fmla="*/ 3698041 h 6557032"/>
              <a:gd name="connsiteX2508" fmla="*/ 954819 w 4610101"/>
              <a:gd name="connsiteY2508" fmla="*/ 3679819 h 6557032"/>
              <a:gd name="connsiteX2509" fmla="*/ 971221 w 4610101"/>
              <a:gd name="connsiteY2509" fmla="*/ 3692575 h 6557032"/>
              <a:gd name="connsiteX2510" fmla="*/ 963932 w 4610101"/>
              <a:gd name="connsiteY2510" fmla="*/ 3723553 h 6557032"/>
              <a:gd name="connsiteX2511" fmla="*/ 932953 w 4610101"/>
              <a:gd name="connsiteY2511" fmla="*/ 3714442 h 6557032"/>
              <a:gd name="connsiteX2512" fmla="*/ 932953 w 4610101"/>
              <a:gd name="connsiteY2512" fmla="*/ 3692575 h 6557032"/>
              <a:gd name="connsiteX2513" fmla="*/ 4356819 w 4610101"/>
              <a:gd name="connsiteY2513" fmla="*/ 3677997 h 6557032"/>
              <a:gd name="connsiteX2514" fmla="*/ 4382330 w 4610101"/>
              <a:gd name="connsiteY2514" fmla="*/ 3677997 h 6557032"/>
              <a:gd name="connsiteX2515" fmla="*/ 4373219 w 4610101"/>
              <a:gd name="connsiteY2515" fmla="*/ 3694397 h 6557032"/>
              <a:gd name="connsiteX2516" fmla="*/ 1741999 w 4610101"/>
              <a:gd name="connsiteY2516" fmla="*/ 3676175 h 6557032"/>
              <a:gd name="connsiteX2517" fmla="*/ 1734710 w 4610101"/>
              <a:gd name="connsiteY2517" fmla="*/ 3707153 h 6557032"/>
              <a:gd name="connsiteX2518" fmla="*/ 1711021 w 4610101"/>
              <a:gd name="connsiteY2518" fmla="*/ 3698042 h 6557032"/>
              <a:gd name="connsiteX2519" fmla="*/ 1448628 w 4610101"/>
              <a:gd name="connsiteY2519" fmla="*/ 3676175 h 6557032"/>
              <a:gd name="connsiteX2520" fmla="*/ 1470495 w 4610101"/>
              <a:gd name="connsiteY2520" fmla="*/ 3676175 h 6557032"/>
              <a:gd name="connsiteX2521" fmla="*/ 1470495 w 4610101"/>
              <a:gd name="connsiteY2521" fmla="*/ 3759995 h 6557032"/>
              <a:gd name="connsiteX2522" fmla="*/ 1417651 w 4610101"/>
              <a:gd name="connsiteY2522" fmla="*/ 3712619 h 6557032"/>
              <a:gd name="connsiteX2523" fmla="*/ 1417651 w 4610101"/>
              <a:gd name="connsiteY2523" fmla="*/ 3690753 h 6557032"/>
              <a:gd name="connsiteX2524" fmla="*/ 1448628 w 4610101"/>
              <a:gd name="connsiteY2524" fmla="*/ 3676175 h 6557032"/>
              <a:gd name="connsiteX2525" fmla="*/ 2556511 w 4610101"/>
              <a:gd name="connsiteY2525" fmla="*/ 3668886 h 6557032"/>
              <a:gd name="connsiteX2526" fmla="*/ 2571089 w 4610101"/>
              <a:gd name="connsiteY2526" fmla="*/ 3685286 h 6557032"/>
              <a:gd name="connsiteX2527" fmla="*/ 2547400 w 4610101"/>
              <a:gd name="connsiteY2527" fmla="*/ 3683463 h 6557032"/>
              <a:gd name="connsiteX2528" fmla="*/ 3799233 w 4610101"/>
              <a:gd name="connsiteY2528" fmla="*/ 3663420 h 6557032"/>
              <a:gd name="connsiteX2529" fmla="*/ 3777367 w 4610101"/>
              <a:gd name="connsiteY2529" fmla="*/ 3672531 h 6557032"/>
              <a:gd name="connsiteX2530" fmla="*/ 3777367 w 4610101"/>
              <a:gd name="connsiteY2530" fmla="*/ 3701685 h 6557032"/>
              <a:gd name="connsiteX2531" fmla="*/ 3784656 w 4610101"/>
              <a:gd name="connsiteY2531" fmla="*/ 3708974 h 6557032"/>
              <a:gd name="connsiteX2532" fmla="*/ 3770078 w 4610101"/>
              <a:gd name="connsiteY2532" fmla="*/ 3716263 h 6557032"/>
              <a:gd name="connsiteX2533" fmla="*/ 3770078 w 4610101"/>
              <a:gd name="connsiteY2533" fmla="*/ 3699863 h 6557032"/>
              <a:gd name="connsiteX2534" fmla="*/ 3746390 w 4610101"/>
              <a:gd name="connsiteY2534" fmla="*/ 3718085 h 6557032"/>
              <a:gd name="connsiteX2535" fmla="*/ 3784656 w 4610101"/>
              <a:gd name="connsiteY2535" fmla="*/ 3732662 h 6557032"/>
              <a:gd name="connsiteX2536" fmla="*/ 3799233 w 4610101"/>
              <a:gd name="connsiteY2536" fmla="*/ 3741773 h 6557032"/>
              <a:gd name="connsiteX2537" fmla="*/ 3790122 w 4610101"/>
              <a:gd name="connsiteY2537" fmla="*/ 3761817 h 6557032"/>
              <a:gd name="connsiteX2538" fmla="*/ 3813810 w 4610101"/>
              <a:gd name="connsiteY2538" fmla="*/ 3754528 h 6557032"/>
              <a:gd name="connsiteX2539" fmla="*/ 3813810 w 4610101"/>
              <a:gd name="connsiteY2539" fmla="*/ 3708974 h 6557032"/>
              <a:gd name="connsiteX2540" fmla="*/ 3806522 w 4610101"/>
              <a:gd name="connsiteY2540" fmla="*/ 3730840 h 6557032"/>
              <a:gd name="connsiteX2541" fmla="*/ 3784656 w 4610101"/>
              <a:gd name="connsiteY2541" fmla="*/ 3730840 h 6557032"/>
              <a:gd name="connsiteX2542" fmla="*/ 3784656 w 4610101"/>
              <a:gd name="connsiteY2542" fmla="*/ 3708974 h 6557032"/>
              <a:gd name="connsiteX2543" fmla="*/ 3806522 w 4610101"/>
              <a:gd name="connsiteY2543" fmla="*/ 3677997 h 6557032"/>
              <a:gd name="connsiteX2544" fmla="*/ 3799233 w 4610101"/>
              <a:gd name="connsiteY2544" fmla="*/ 3663420 h 6557032"/>
              <a:gd name="connsiteX2545" fmla="*/ 1357519 w 4610101"/>
              <a:gd name="connsiteY2545" fmla="*/ 3663419 h 6557032"/>
              <a:gd name="connsiteX2546" fmla="*/ 1357519 w 4610101"/>
              <a:gd name="connsiteY2546" fmla="*/ 3685286 h 6557032"/>
              <a:gd name="connsiteX2547" fmla="*/ 1335653 w 4610101"/>
              <a:gd name="connsiteY2547" fmla="*/ 3670709 h 6557032"/>
              <a:gd name="connsiteX2548" fmla="*/ 2525534 w 4610101"/>
              <a:gd name="connsiteY2548" fmla="*/ 3661597 h 6557032"/>
              <a:gd name="connsiteX2549" fmla="*/ 2532822 w 4610101"/>
              <a:gd name="connsiteY2549" fmla="*/ 3676176 h 6557032"/>
              <a:gd name="connsiteX2550" fmla="*/ 2523711 w 4610101"/>
              <a:gd name="connsiteY2550" fmla="*/ 3685287 h 6557032"/>
              <a:gd name="connsiteX2551" fmla="*/ 2510956 w 4610101"/>
              <a:gd name="connsiteY2551" fmla="*/ 3670709 h 6557032"/>
              <a:gd name="connsiteX2552" fmla="*/ 1922393 w 4610101"/>
              <a:gd name="connsiteY2552" fmla="*/ 3661597 h 6557032"/>
              <a:gd name="connsiteX2553" fmla="*/ 1936972 w 4610101"/>
              <a:gd name="connsiteY2553" fmla="*/ 3661597 h 6557032"/>
              <a:gd name="connsiteX2554" fmla="*/ 1935148 w 4610101"/>
              <a:gd name="connsiteY2554" fmla="*/ 3685287 h 6557032"/>
              <a:gd name="connsiteX2555" fmla="*/ 3476708 w 4610101"/>
              <a:gd name="connsiteY2555" fmla="*/ 3654309 h 6557032"/>
              <a:gd name="connsiteX2556" fmla="*/ 3476708 w 4610101"/>
              <a:gd name="connsiteY2556" fmla="*/ 3668886 h 6557032"/>
              <a:gd name="connsiteX2557" fmla="*/ 3491286 w 4610101"/>
              <a:gd name="connsiteY2557" fmla="*/ 3654309 h 6557032"/>
              <a:gd name="connsiteX2558" fmla="*/ 2828014 w 4610101"/>
              <a:gd name="connsiteY2558" fmla="*/ 3654309 h 6557032"/>
              <a:gd name="connsiteX2559" fmla="*/ 2828014 w 4610101"/>
              <a:gd name="connsiteY2559" fmla="*/ 3685286 h 6557032"/>
              <a:gd name="connsiteX2560" fmla="*/ 2828014 w 4610101"/>
              <a:gd name="connsiteY2560" fmla="*/ 3654309 h 6557032"/>
              <a:gd name="connsiteX2561" fmla="*/ 2472691 w 4610101"/>
              <a:gd name="connsiteY2561" fmla="*/ 3654309 h 6557032"/>
              <a:gd name="connsiteX2562" fmla="*/ 2479980 w 4610101"/>
              <a:gd name="connsiteY2562" fmla="*/ 3668888 h 6557032"/>
              <a:gd name="connsiteX2563" fmla="*/ 2470869 w 4610101"/>
              <a:gd name="connsiteY2563" fmla="*/ 3677999 h 6557032"/>
              <a:gd name="connsiteX2564" fmla="*/ 2458113 w 4610101"/>
              <a:gd name="connsiteY2564" fmla="*/ 3661599 h 6557032"/>
              <a:gd name="connsiteX2565" fmla="*/ 4154556 w 4610101"/>
              <a:gd name="connsiteY2565" fmla="*/ 3647020 h 6557032"/>
              <a:gd name="connsiteX2566" fmla="*/ 4172778 w 4610101"/>
              <a:gd name="connsiteY2566" fmla="*/ 3648843 h 6557032"/>
              <a:gd name="connsiteX2567" fmla="*/ 4156379 w 4610101"/>
              <a:gd name="connsiteY2567" fmla="*/ 3663420 h 6557032"/>
              <a:gd name="connsiteX2568" fmla="*/ 2261318 w 4610101"/>
              <a:gd name="connsiteY2568" fmla="*/ 3647020 h 6557032"/>
              <a:gd name="connsiteX2569" fmla="*/ 2261318 w 4610101"/>
              <a:gd name="connsiteY2569" fmla="*/ 3663420 h 6557032"/>
              <a:gd name="connsiteX2570" fmla="*/ 2244918 w 4610101"/>
              <a:gd name="connsiteY2570" fmla="*/ 3648843 h 6557032"/>
              <a:gd name="connsiteX2571" fmla="*/ 2142877 w 4610101"/>
              <a:gd name="connsiteY2571" fmla="*/ 3647020 h 6557032"/>
              <a:gd name="connsiteX2572" fmla="*/ 2164743 w 4610101"/>
              <a:gd name="connsiteY2572" fmla="*/ 3647020 h 6557032"/>
              <a:gd name="connsiteX2573" fmla="*/ 2160188 w 4610101"/>
              <a:gd name="connsiteY2573" fmla="*/ 3661143 h 6557032"/>
              <a:gd name="connsiteX2574" fmla="*/ 2161099 w 4610101"/>
              <a:gd name="connsiteY2574" fmla="*/ 3667064 h 6557032"/>
              <a:gd name="connsiteX2575" fmla="*/ 2161099 w 4610101"/>
              <a:gd name="connsiteY2575" fmla="*/ 3667065 h 6557032"/>
              <a:gd name="connsiteX2576" fmla="*/ 2150166 w 4610101"/>
              <a:gd name="connsiteY2576" fmla="*/ 3668888 h 6557032"/>
              <a:gd name="connsiteX2577" fmla="*/ 1900528 w 4610101"/>
              <a:gd name="connsiteY2577" fmla="*/ 3647020 h 6557032"/>
              <a:gd name="connsiteX2578" fmla="*/ 1898706 w 4610101"/>
              <a:gd name="connsiteY2578" fmla="*/ 3663420 h 6557032"/>
              <a:gd name="connsiteX2579" fmla="*/ 1884128 w 4610101"/>
              <a:gd name="connsiteY2579" fmla="*/ 3648843 h 6557032"/>
              <a:gd name="connsiteX2580" fmla="*/ 1499649 w 4610101"/>
              <a:gd name="connsiteY2580" fmla="*/ 3647020 h 6557032"/>
              <a:gd name="connsiteX2581" fmla="*/ 1516049 w 4610101"/>
              <a:gd name="connsiteY2581" fmla="*/ 3648843 h 6557032"/>
              <a:gd name="connsiteX2582" fmla="*/ 1501471 w 4610101"/>
              <a:gd name="connsiteY2582" fmla="*/ 3663420 h 6557032"/>
              <a:gd name="connsiteX2583" fmla="*/ 2893613 w 4610101"/>
              <a:gd name="connsiteY2583" fmla="*/ 3645198 h 6557032"/>
              <a:gd name="connsiteX2584" fmla="*/ 2879035 w 4610101"/>
              <a:gd name="connsiteY2584" fmla="*/ 3659775 h 6557032"/>
              <a:gd name="connsiteX2585" fmla="*/ 2895435 w 4610101"/>
              <a:gd name="connsiteY2585" fmla="*/ 3661597 h 6557032"/>
              <a:gd name="connsiteX2586" fmla="*/ 3649815 w 4610101"/>
              <a:gd name="connsiteY2586" fmla="*/ 3639731 h 6557032"/>
              <a:gd name="connsiteX2587" fmla="*/ 3649815 w 4610101"/>
              <a:gd name="connsiteY2587" fmla="*/ 3661597 h 6557032"/>
              <a:gd name="connsiteX2588" fmla="*/ 3666214 w 4610101"/>
              <a:gd name="connsiteY2588" fmla="*/ 3652487 h 6557032"/>
              <a:gd name="connsiteX2589" fmla="*/ 2795215 w 4610101"/>
              <a:gd name="connsiteY2589" fmla="*/ 3639731 h 6557032"/>
              <a:gd name="connsiteX2590" fmla="*/ 2778816 w 4610101"/>
              <a:gd name="connsiteY2590" fmla="*/ 3652487 h 6557032"/>
              <a:gd name="connsiteX2591" fmla="*/ 2766060 w 4610101"/>
              <a:gd name="connsiteY2591" fmla="*/ 3645198 h 6557032"/>
              <a:gd name="connsiteX2592" fmla="*/ 2766060 w 4610101"/>
              <a:gd name="connsiteY2592" fmla="*/ 3668886 h 6557032"/>
              <a:gd name="connsiteX2593" fmla="*/ 2751483 w 4610101"/>
              <a:gd name="connsiteY2593" fmla="*/ 3699863 h 6557032"/>
              <a:gd name="connsiteX2594" fmla="*/ 2773349 w 4610101"/>
              <a:gd name="connsiteY2594" fmla="*/ 3716263 h 6557032"/>
              <a:gd name="connsiteX2595" fmla="*/ 2782460 w 4610101"/>
              <a:gd name="connsiteY2595" fmla="*/ 3692574 h 6557032"/>
              <a:gd name="connsiteX2596" fmla="*/ 2773349 w 4610101"/>
              <a:gd name="connsiteY2596" fmla="*/ 3661597 h 6557032"/>
              <a:gd name="connsiteX2597" fmla="*/ 2804326 w 4610101"/>
              <a:gd name="connsiteY2597" fmla="*/ 3667064 h 6557032"/>
              <a:gd name="connsiteX2598" fmla="*/ 2809793 w 4610101"/>
              <a:gd name="connsiteY2598" fmla="*/ 3659775 h 6557032"/>
              <a:gd name="connsiteX2599" fmla="*/ 2352428 w 4610101"/>
              <a:gd name="connsiteY2599" fmla="*/ 3639731 h 6557032"/>
              <a:gd name="connsiteX2600" fmla="*/ 2357894 w 4610101"/>
              <a:gd name="connsiteY2600" fmla="*/ 3652487 h 6557032"/>
              <a:gd name="connsiteX2601" fmla="*/ 2350606 w 4610101"/>
              <a:gd name="connsiteY2601" fmla="*/ 3663421 h 6557032"/>
              <a:gd name="connsiteX2602" fmla="*/ 2336028 w 4610101"/>
              <a:gd name="connsiteY2602" fmla="*/ 3648843 h 6557032"/>
              <a:gd name="connsiteX2603" fmla="*/ 3855721 w 4610101"/>
              <a:gd name="connsiteY2603" fmla="*/ 3637909 h 6557032"/>
              <a:gd name="connsiteX2604" fmla="*/ 3868476 w 4610101"/>
              <a:gd name="connsiteY2604" fmla="*/ 3654309 h 6557032"/>
              <a:gd name="connsiteX2605" fmla="*/ 3846610 w 4610101"/>
              <a:gd name="connsiteY2605" fmla="*/ 3654309 h 6557032"/>
              <a:gd name="connsiteX2606" fmla="*/ 2321450 w 4610101"/>
              <a:gd name="connsiteY2606" fmla="*/ 3637909 h 6557032"/>
              <a:gd name="connsiteX2607" fmla="*/ 2321450 w 4610101"/>
              <a:gd name="connsiteY2607" fmla="*/ 3654309 h 6557032"/>
              <a:gd name="connsiteX2608" fmla="*/ 2305050 w 4610101"/>
              <a:gd name="connsiteY2608" fmla="*/ 3652487 h 6557032"/>
              <a:gd name="connsiteX2609" fmla="*/ 1250011 w 4610101"/>
              <a:gd name="connsiteY2609" fmla="*/ 3637909 h 6557032"/>
              <a:gd name="connsiteX2610" fmla="*/ 1288277 w 4610101"/>
              <a:gd name="connsiteY2610" fmla="*/ 3676175 h 6557032"/>
              <a:gd name="connsiteX2611" fmla="*/ 1280988 w 4610101"/>
              <a:gd name="connsiteY2611" fmla="*/ 3699863 h 6557032"/>
              <a:gd name="connsiteX2612" fmla="*/ 1288277 w 4610101"/>
              <a:gd name="connsiteY2612" fmla="*/ 3714441 h 6557032"/>
              <a:gd name="connsiteX2613" fmla="*/ 1286455 w 4610101"/>
              <a:gd name="connsiteY2613" fmla="*/ 3714441 h 6557032"/>
              <a:gd name="connsiteX2614" fmla="*/ 1286455 w 4610101"/>
              <a:gd name="connsiteY2614" fmla="*/ 3730840 h 6557032"/>
              <a:gd name="connsiteX2615" fmla="*/ 1279166 w 4610101"/>
              <a:gd name="connsiteY2615" fmla="*/ 3745418 h 6557032"/>
              <a:gd name="connsiteX2616" fmla="*/ 1255478 w 4610101"/>
              <a:gd name="connsiteY2616" fmla="*/ 3769106 h 6557032"/>
              <a:gd name="connsiteX2617" fmla="*/ 1271877 w 4610101"/>
              <a:gd name="connsiteY2617" fmla="*/ 3790972 h 6557032"/>
              <a:gd name="connsiteX2618" fmla="*/ 1262766 w 4610101"/>
              <a:gd name="connsiteY2618" fmla="*/ 3805549 h 6557032"/>
              <a:gd name="connsiteX2619" fmla="*/ 1268233 w 4610101"/>
              <a:gd name="connsiteY2619" fmla="*/ 3818305 h 6557032"/>
              <a:gd name="connsiteX2620" fmla="*/ 1264589 w 4610101"/>
              <a:gd name="connsiteY2620" fmla="*/ 3834704 h 6557032"/>
              <a:gd name="connsiteX2621" fmla="*/ 1233611 w 4610101"/>
              <a:gd name="connsiteY2621" fmla="*/ 3834704 h 6557032"/>
              <a:gd name="connsiteX2622" fmla="*/ 1202636 w 4610101"/>
              <a:gd name="connsiteY2622" fmla="*/ 3847459 h 6557032"/>
              <a:gd name="connsiteX2623" fmla="*/ 1219034 w 4610101"/>
              <a:gd name="connsiteY2623" fmla="*/ 3832882 h 6557032"/>
              <a:gd name="connsiteX2624" fmla="*/ 1213568 w 4610101"/>
              <a:gd name="connsiteY2624" fmla="*/ 3820127 h 6557032"/>
              <a:gd name="connsiteX2625" fmla="*/ 1226323 w 4610101"/>
              <a:gd name="connsiteY2625" fmla="*/ 3796439 h 6557032"/>
              <a:gd name="connsiteX2626" fmla="*/ 1220856 w 4610101"/>
              <a:gd name="connsiteY2626" fmla="*/ 3783683 h 6557032"/>
              <a:gd name="connsiteX2627" fmla="*/ 1233611 w 4610101"/>
              <a:gd name="connsiteY2627" fmla="*/ 3752706 h 6557032"/>
              <a:gd name="connsiteX2628" fmla="*/ 1202636 w 4610101"/>
              <a:gd name="connsiteY2628" fmla="*/ 3752706 h 6557032"/>
              <a:gd name="connsiteX2629" fmla="*/ 1188057 w 4610101"/>
              <a:gd name="connsiteY2629" fmla="*/ 3745418 h 6557032"/>
              <a:gd name="connsiteX2630" fmla="*/ 1157080 w 4610101"/>
              <a:gd name="connsiteY2630" fmla="*/ 3758173 h 6557032"/>
              <a:gd name="connsiteX2631" fmla="*/ 1180769 w 4610101"/>
              <a:gd name="connsiteY2631" fmla="*/ 3736307 h 6557032"/>
              <a:gd name="connsiteX2632" fmla="*/ 1180769 w 4610101"/>
              <a:gd name="connsiteY2632" fmla="*/ 3714441 h 6557032"/>
              <a:gd name="connsiteX2633" fmla="*/ 1158902 w 4610101"/>
              <a:gd name="connsiteY2633" fmla="*/ 3714441 h 6557032"/>
              <a:gd name="connsiteX2634" fmla="*/ 1188057 w 4610101"/>
              <a:gd name="connsiteY2634" fmla="*/ 3690752 h 6557032"/>
              <a:gd name="connsiteX2635" fmla="*/ 1197168 w 4610101"/>
              <a:gd name="connsiteY2635" fmla="*/ 3668886 h 6557032"/>
              <a:gd name="connsiteX2636" fmla="*/ 1197168 w 4610101"/>
              <a:gd name="connsiteY2636" fmla="*/ 3654309 h 6557032"/>
              <a:gd name="connsiteX2637" fmla="*/ 1211745 w 4610101"/>
              <a:gd name="connsiteY2637" fmla="*/ 3661598 h 6557032"/>
              <a:gd name="connsiteX2638" fmla="*/ 1220856 w 4610101"/>
              <a:gd name="connsiteY2638" fmla="*/ 3648842 h 6557032"/>
              <a:gd name="connsiteX2639" fmla="*/ 3926785 w 4610101"/>
              <a:gd name="connsiteY2639" fmla="*/ 3634265 h 6557032"/>
              <a:gd name="connsiteX2640" fmla="*/ 3935896 w 4610101"/>
              <a:gd name="connsiteY2640" fmla="*/ 3641554 h 6557032"/>
              <a:gd name="connsiteX2641" fmla="*/ 3919497 w 4610101"/>
              <a:gd name="connsiteY2641" fmla="*/ 3661598 h 6557032"/>
              <a:gd name="connsiteX2642" fmla="*/ 3935896 w 4610101"/>
              <a:gd name="connsiteY2642" fmla="*/ 3663420 h 6557032"/>
              <a:gd name="connsiteX2643" fmla="*/ 3935896 w 4610101"/>
              <a:gd name="connsiteY2643" fmla="*/ 3677998 h 6557032"/>
              <a:gd name="connsiteX2644" fmla="*/ 3972340 w 4610101"/>
              <a:gd name="connsiteY2644" fmla="*/ 3663420 h 6557032"/>
              <a:gd name="connsiteX2645" fmla="*/ 3981450 w 4610101"/>
              <a:gd name="connsiteY2645" fmla="*/ 3668887 h 6557032"/>
              <a:gd name="connsiteX2646" fmla="*/ 3974162 w 4610101"/>
              <a:gd name="connsiteY2646" fmla="*/ 3692575 h 6557032"/>
              <a:gd name="connsiteX2647" fmla="*/ 3935896 w 4610101"/>
              <a:gd name="connsiteY2647" fmla="*/ 3685286 h 6557032"/>
              <a:gd name="connsiteX2648" fmla="*/ 3945007 w 4610101"/>
              <a:gd name="connsiteY2648" fmla="*/ 3699864 h 6557032"/>
              <a:gd name="connsiteX2649" fmla="*/ 3921319 w 4610101"/>
              <a:gd name="connsiteY2649" fmla="*/ 3699864 h 6557032"/>
              <a:gd name="connsiteX2650" fmla="*/ 3928608 w 4610101"/>
              <a:gd name="connsiteY2650" fmla="*/ 3687108 h 6557032"/>
              <a:gd name="connsiteX2651" fmla="*/ 3906741 w 4610101"/>
              <a:gd name="connsiteY2651" fmla="*/ 3670709 h 6557032"/>
              <a:gd name="connsiteX2652" fmla="*/ 3906741 w 4610101"/>
              <a:gd name="connsiteY2652" fmla="*/ 3648843 h 6557032"/>
              <a:gd name="connsiteX2653" fmla="*/ 2858991 w 4610101"/>
              <a:gd name="connsiteY2653" fmla="*/ 3632443 h 6557032"/>
              <a:gd name="connsiteX2654" fmla="*/ 2851703 w 4610101"/>
              <a:gd name="connsiteY2654" fmla="*/ 3661597 h 6557032"/>
              <a:gd name="connsiteX2655" fmla="*/ 2871747 w 4610101"/>
              <a:gd name="connsiteY2655" fmla="*/ 3639731 h 6557032"/>
              <a:gd name="connsiteX2656" fmla="*/ 2186610 w 4610101"/>
              <a:gd name="connsiteY2656" fmla="*/ 3623332 h 6557032"/>
              <a:gd name="connsiteX2657" fmla="*/ 2179321 w 4610101"/>
              <a:gd name="connsiteY2657" fmla="*/ 3654310 h 6557032"/>
              <a:gd name="connsiteX2658" fmla="*/ 2170211 w 4610101"/>
              <a:gd name="connsiteY2658" fmla="*/ 3643377 h 6557032"/>
              <a:gd name="connsiteX2659" fmla="*/ 2155633 w 4610101"/>
              <a:gd name="connsiteY2659" fmla="*/ 3637910 h 6557032"/>
              <a:gd name="connsiteX2660" fmla="*/ 2186610 w 4610101"/>
              <a:gd name="connsiteY2660" fmla="*/ 3623332 h 6557032"/>
              <a:gd name="connsiteX2661" fmla="*/ 3673503 w 4610101"/>
              <a:gd name="connsiteY2661" fmla="*/ 3617865 h 6557032"/>
              <a:gd name="connsiteX2662" fmla="*/ 3673503 w 4610101"/>
              <a:gd name="connsiteY2662" fmla="*/ 3632443 h 6557032"/>
              <a:gd name="connsiteX2663" fmla="*/ 3688080 w 4610101"/>
              <a:gd name="connsiteY2663" fmla="*/ 3632443 h 6557032"/>
              <a:gd name="connsiteX2664" fmla="*/ 3649815 w 4610101"/>
              <a:gd name="connsiteY2664" fmla="*/ 3694397 h 6557032"/>
              <a:gd name="connsiteX2665" fmla="*/ 3688080 w 4610101"/>
              <a:gd name="connsiteY2665" fmla="*/ 3725373 h 6557032"/>
              <a:gd name="connsiteX2666" fmla="*/ 3682614 w 4610101"/>
              <a:gd name="connsiteY2666" fmla="*/ 3694397 h 6557032"/>
              <a:gd name="connsiteX2667" fmla="*/ 3697191 w 4610101"/>
              <a:gd name="connsiteY2667" fmla="*/ 3694397 h 6557032"/>
              <a:gd name="connsiteX2668" fmla="*/ 3682614 w 4610101"/>
              <a:gd name="connsiteY2668" fmla="*/ 3685286 h 6557032"/>
              <a:gd name="connsiteX2669" fmla="*/ 3704480 w 4610101"/>
              <a:gd name="connsiteY2669" fmla="*/ 3677997 h 6557032"/>
              <a:gd name="connsiteX2670" fmla="*/ 3720880 w 4610101"/>
              <a:gd name="connsiteY2670" fmla="*/ 3656131 h 6557032"/>
              <a:gd name="connsiteX2671" fmla="*/ 3697191 w 4610101"/>
              <a:gd name="connsiteY2671" fmla="*/ 3656131 h 6557032"/>
              <a:gd name="connsiteX2672" fmla="*/ 3704480 w 4610101"/>
              <a:gd name="connsiteY2672" fmla="*/ 3625154 h 6557032"/>
              <a:gd name="connsiteX2673" fmla="*/ 2208476 w 4610101"/>
              <a:gd name="connsiteY2673" fmla="*/ 3608754 h 6557032"/>
              <a:gd name="connsiteX2674" fmla="*/ 2239453 w 4610101"/>
              <a:gd name="connsiteY2674" fmla="*/ 3623333 h 6557032"/>
              <a:gd name="connsiteX2675" fmla="*/ 2246741 w 4610101"/>
              <a:gd name="connsiteY2675" fmla="*/ 3639732 h 6557032"/>
              <a:gd name="connsiteX2676" fmla="*/ 2230341 w 4610101"/>
              <a:gd name="connsiteY2676" fmla="*/ 3637909 h 6557032"/>
              <a:gd name="connsiteX2677" fmla="*/ 2239452 w 4610101"/>
              <a:gd name="connsiteY2677" fmla="*/ 3623333 h 6557032"/>
              <a:gd name="connsiteX2678" fmla="*/ 2223053 w 4610101"/>
              <a:gd name="connsiteY2678" fmla="*/ 3623333 h 6557032"/>
              <a:gd name="connsiteX2679" fmla="*/ 2210298 w 4610101"/>
              <a:gd name="connsiteY2679" fmla="*/ 3630621 h 6557032"/>
              <a:gd name="connsiteX2680" fmla="*/ 2201187 w 4610101"/>
              <a:gd name="connsiteY2680" fmla="*/ 3623333 h 6557032"/>
              <a:gd name="connsiteX2681" fmla="*/ 3919498 w 4610101"/>
              <a:gd name="connsiteY2681" fmla="*/ 3606932 h 6557032"/>
              <a:gd name="connsiteX2682" fmla="*/ 3928609 w 4610101"/>
              <a:gd name="connsiteY2682" fmla="*/ 3623332 h 6557032"/>
              <a:gd name="connsiteX2683" fmla="*/ 3904920 w 4610101"/>
              <a:gd name="connsiteY2683" fmla="*/ 3623332 h 6557032"/>
              <a:gd name="connsiteX2684" fmla="*/ 2764238 w 4610101"/>
              <a:gd name="connsiteY2684" fmla="*/ 3606932 h 6557032"/>
              <a:gd name="connsiteX2685" fmla="*/ 2751483 w 4610101"/>
              <a:gd name="connsiteY2685" fmla="*/ 3623332 h 6557032"/>
              <a:gd name="connsiteX2686" fmla="*/ 2736906 w 4610101"/>
              <a:gd name="connsiteY2686" fmla="*/ 3623332 h 6557032"/>
              <a:gd name="connsiteX2687" fmla="*/ 2715040 w 4610101"/>
              <a:gd name="connsiteY2687" fmla="*/ 3661597 h 6557032"/>
              <a:gd name="connsiteX2688" fmla="*/ 2729617 w 4610101"/>
              <a:gd name="connsiteY2688" fmla="*/ 3668886 h 6557032"/>
              <a:gd name="connsiteX2689" fmla="*/ 2746016 w 4610101"/>
              <a:gd name="connsiteY2689" fmla="*/ 3632443 h 6557032"/>
              <a:gd name="connsiteX2690" fmla="*/ 2751483 w 4610101"/>
              <a:gd name="connsiteY2690" fmla="*/ 3623332 h 6557032"/>
              <a:gd name="connsiteX2691" fmla="*/ 2766060 w 4610101"/>
              <a:gd name="connsiteY2691" fmla="*/ 3630620 h 6557032"/>
              <a:gd name="connsiteX2692" fmla="*/ 2315984 w 4610101"/>
              <a:gd name="connsiteY2692" fmla="*/ 3606932 h 6557032"/>
              <a:gd name="connsiteX2693" fmla="*/ 2330561 w 4610101"/>
              <a:gd name="connsiteY2693" fmla="*/ 3625155 h 6557032"/>
              <a:gd name="connsiteX2694" fmla="*/ 2308695 w 4610101"/>
              <a:gd name="connsiteY2694" fmla="*/ 3632444 h 6557032"/>
              <a:gd name="connsiteX2695" fmla="*/ 1973416 w 4610101"/>
              <a:gd name="connsiteY2695" fmla="*/ 3606932 h 6557032"/>
              <a:gd name="connsiteX2696" fmla="*/ 1975237 w 4610101"/>
              <a:gd name="connsiteY2696" fmla="*/ 3623332 h 6557032"/>
              <a:gd name="connsiteX2697" fmla="*/ 1958837 w 4610101"/>
              <a:gd name="connsiteY2697" fmla="*/ 3623332 h 6557032"/>
              <a:gd name="connsiteX2698" fmla="*/ 4072560 w 4610101"/>
              <a:gd name="connsiteY2698" fmla="*/ 3601465 h 6557032"/>
              <a:gd name="connsiteX2699" fmla="*/ 4087137 w 4610101"/>
              <a:gd name="connsiteY2699" fmla="*/ 3608754 h 6557032"/>
              <a:gd name="connsiteX2700" fmla="*/ 4103536 w 4610101"/>
              <a:gd name="connsiteY2700" fmla="*/ 3601465 h 6557032"/>
              <a:gd name="connsiteX2701" fmla="*/ 4101714 w 4610101"/>
              <a:gd name="connsiteY2701" fmla="*/ 3617865 h 6557032"/>
              <a:gd name="connsiteX2702" fmla="*/ 4087138 w 4610101"/>
              <a:gd name="connsiteY2702" fmla="*/ 3608755 h 6557032"/>
              <a:gd name="connsiteX2703" fmla="*/ 4082155 w 4610101"/>
              <a:gd name="connsiteY2703" fmla="*/ 3617182 h 6557032"/>
              <a:gd name="connsiteX2704" fmla="*/ 4063449 w 4610101"/>
              <a:gd name="connsiteY2704" fmla="*/ 3623333 h 6557032"/>
              <a:gd name="connsiteX2705" fmla="*/ 2676774 w 4610101"/>
              <a:gd name="connsiteY2705" fmla="*/ 3601465 h 6557032"/>
              <a:gd name="connsiteX2706" fmla="*/ 2667663 w 4610101"/>
              <a:gd name="connsiteY2706" fmla="*/ 3617865 h 6557032"/>
              <a:gd name="connsiteX2707" fmla="*/ 2653086 w 4610101"/>
              <a:gd name="connsiteY2707" fmla="*/ 3603288 h 6557032"/>
              <a:gd name="connsiteX2708" fmla="*/ 2080923 w 4610101"/>
              <a:gd name="connsiteY2708" fmla="*/ 3601465 h 6557032"/>
              <a:gd name="connsiteX2709" fmla="*/ 2111900 w 4610101"/>
              <a:gd name="connsiteY2709" fmla="*/ 3617865 h 6557032"/>
              <a:gd name="connsiteX2710" fmla="*/ 2124655 w 4610101"/>
              <a:gd name="connsiteY2710" fmla="*/ 3606932 h 6557032"/>
              <a:gd name="connsiteX2711" fmla="*/ 2102790 w 4610101"/>
              <a:gd name="connsiteY2711" fmla="*/ 3659775 h 6557032"/>
              <a:gd name="connsiteX2712" fmla="*/ 2066346 w 4610101"/>
              <a:gd name="connsiteY2712" fmla="*/ 3614221 h 6557032"/>
              <a:gd name="connsiteX2713" fmla="*/ 2080923 w 4610101"/>
              <a:gd name="connsiteY2713" fmla="*/ 3623332 h 6557032"/>
              <a:gd name="connsiteX2714" fmla="*/ 1816707 w 4610101"/>
              <a:gd name="connsiteY2714" fmla="*/ 3601465 h 6557032"/>
              <a:gd name="connsiteX2715" fmla="*/ 1849507 w 4610101"/>
              <a:gd name="connsiteY2715" fmla="*/ 3603289 h 6557032"/>
              <a:gd name="connsiteX2716" fmla="*/ 1825818 w 4610101"/>
              <a:gd name="connsiteY2716" fmla="*/ 3625155 h 6557032"/>
              <a:gd name="connsiteX2717" fmla="*/ 1771154 w 4610101"/>
              <a:gd name="connsiteY2717" fmla="*/ 3601465 h 6557032"/>
              <a:gd name="connsiteX2718" fmla="*/ 1778441 w 4610101"/>
              <a:gd name="connsiteY2718" fmla="*/ 3623333 h 6557032"/>
              <a:gd name="connsiteX2719" fmla="*/ 1756575 w 4610101"/>
              <a:gd name="connsiteY2719" fmla="*/ 3623333 h 6557032"/>
              <a:gd name="connsiteX2720" fmla="*/ 1771154 w 4610101"/>
              <a:gd name="connsiteY2720" fmla="*/ 3601465 h 6557032"/>
              <a:gd name="connsiteX2721" fmla="*/ 1712844 w 4610101"/>
              <a:gd name="connsiteY2721" fmla="*/ 3601465 h 6557032"/>
              <a:gd name="connsiteX2722" fmla="*/ 1701911 w 4610101"/>
              <a:gd name="connsiteY2722" fmla="*/ 3617865 h 6557032"/>
              <a:gd name="connsiteX2723" fmla="*/ 1687333 w 4610101"/>
              <a:gd name="connsiteY2723" fmla="*/ 3603288 h 6557032"/>
              <a:gd name="connsiteX2724" fmla="*/ 3642526 w 4610101"/>
              <a:gd name="connsiteY2724" fmla="*/ 3594177 h 6557032"/>
              <a:gd name="connsiteX2725" fmla="*/ 3618838 w 4610101"/>
              <a:gd name="connsiteY2725" fmla="*/ 3595999 h 6557032"/>
              <a:gd name="connsiteX2726" fmla="*/ 3633415 w 4610101"/>
              <a:gd name="connsiteY2726" fmla="*/ 3610576 h 6557032"/>
              <a:gd name="connsiteX2727" fmla="*/ 2014414 w 4610101"/>
              <a:gd name="connsiteY2727" fmla="*/ 3594177 h 6557032"/>
              <a:gd name="connsiteX2728" fmla="*/ 2028080 w 4610101"/>
              <a:gd name="connsiteY2728" fmla="*/ 3601465 h 6557032"/>
              <a:gd name="connsiteX2729" fmla="*/ 2049946 w 4610101"/>
              <a:gd name="connsiteY2729" fmla="*/ 3594177 h 6557032"/>
              <a:gd name="connsiteX2730" fmla="*/ 2059057 w 4610101"/>
              <a:gd name="connsiteY2730" fmla="*/ 3617866 h 6557032"/>
              <a:gd name="connsiteX2731" fmla="*/ 2059057 w 4610101"/>
              <a:gd name="connsiteY2731" fmla="*/ 3625154 h 6557032"/>
              <a:gd name="connsiteX2732" fmla="*/ 2051769 w 4610101"/>
              <a:gd name="connsiteY2732" fmla="*/ 3647021 h 6557032"/>
              <a:gd name="connsiteX2733" fmla="*/ 2028080 w 4610101"/>
              <a:gd name="connsiteY2733" fmla="*/ 3639732 h 6557032"/>
              <a:gd name="connsiteX2734" fmla="*/ 2006214 w 4610101"/>
              <a:gd name="connsiteY2734" fmla="*/ 3608755 h 6557032"/>
              <a:gd name="connsiteX2735" fmla="*/ 2014414 w 4610101"/>
              <a:gd name="connsiteY2735" fmla="*/ 3594177 h 6557032"/>
              <a:gd name="connsiteX2736" fmla="*/ 3595150 w 4610101"/>
              <a:gd name="connsiteY2736" fmla="*/ 3592355 h 6557032"/>
              <a:gd name="connsiteX2737" fmla="*/ 3580572 w 4610101"/>
              <a:gd name="connsiteY2737" fmla="*/ 3606932 h 6557032"/>
              <a:gd name="connsiteX2738" fmla="*/ 3596972 w 4610101"/>
              <a:gd name="connsiteY2738" fmla="*/ 3616043 h 6557032"/>
              <a:gd name="connsiteX2739" fmla="*/ 2727795 w 4610101"/>
              <a:gd name="connsiteY2739" fmla="*/ 3585066 h 6557032"/>
              <a:gd name="connsiteX2740" fmla="*/ 2711395 w 4610101"/>
              <a:gd name="connsiteY2740" fmla="*/ 3599644 h 6557032"/>
              <a:gd name="connsiteX2741" fmla="*/ 2736906 w 4610101"/>
              <a:gd name="connsiteY2741" fmla="*/ 3601466 h 6557032"/>
              <a:gd name="connsiteX2742" fmla="*/ 2148343 w 4610101"/>
              <a:gd name="connsiteY2742" fmla="*/ 3579599 h 6557032"/>
              <a:gd name="connsiteX2743" fmla="*/ 2164743 w 4610101"/>
              <a:gd name="connsiteY2743" fmla="*/ 3594177 h 6557032"/>
              <a:gd name="connsiteX2744" fmla="*/ 2148343 w 4610101"/>
              <a:gd name="connsiteY2744" fmla="*/ 3594177 h 6557032"/>
              <a:gd name="connsiteX2745" fmla="*/ 3535018 w 4610101"/>
              <a:gd name="connsiteY2745" fmla="*/ 3577778 h 6557032"/>
              <a:gd name="connsiteX2746" fmla="*/ 3520440 w 4610101"/>
              <a:gd name="connsiteY2746" fmla="*/ 3592355 h 6557032"/>
              <a:gd name="connsiteX2747" fmla="*/ 3535018 w 4610101"/>
              <a:gd name="connsiteY2747" fmla="*/ 3599644 h 6557032"/>
              <a:gd name="connsiteX2748" fmla="*/ 3544129 w 4610101"/>
              <a:gd name="connsiteY2748" fmla="*/ 3594177 h 6557032"/>
              <a:gd name="connsiteX2749" fmla="*/ 1793019 w 4610101"/>
              <a:gd name="connsiteY2749" fmla="*/ 3577777 h 6557032"/>
              <a:gd name="connsiteX2750" fmla="*/ 1800307 w 4610101"/>
              <a:gd name="connsiteY2750" fmla="*/ 3592355 h 6557032"/>
              <a:gd name="connsiteX2751" fmla="*/ 1793019 w 4610101"/>
              <a:gd name="connsiteY2751" fmla="*/ 3601466 h 6557032"/>
              <a:gd name="connsiteX2752" fmla="*/ 1778441 w 4610101"/>
              <a:gd name="connsiteY2752" fmla="*/ 3592355 h 6557032"/>
              <a:gd name="connsiteX2753" fmla="*/ 630473 w 4610101"/>
              <a:gd name="connsiteY2753" fmla="*/ 3577777 h 6557032"/>
              <a:gd name="connsiteX2754" fmla="*/ 639583 w 4610101"/>
              <a:gd name="connsiteY2754" fmla="*/ 3592355 h 6557032"/>
              <a:gd name="connsiteX2755" fmla="*/ 632296 w 4610101"/>
              <a:gd name="connsiteY2755" fmla="*/ 3601466 h 6557032"/>
              <a:gd name="connsiteX2756" fmla="*/ 615895 w 4610101"/>
              <a:gd name="connsiteY2756" fmla="*/ 3592355 h 6557032"/>
              <a:gd name="connsiteX2757" fmla="*/ 2352427 w 4610101"/>
              <a:gd name="connsiteY2757" fmla="*/ 3570488 h 6557032"/>
              <a:gd name="connsiteX2758" fmla="*/ 2390693 w 4610101"/>
              <a:gd name="connsiteY2758" fmla="*/ 3570488 h 6557032"/>
              <a:gd name="connsiteX2759" fmla="*/ 2390693 w 4610101"/>
              <a:gd name="connsiteY2759" fmla="*/ 3592355 h 6557032"/>
              <a:gd name="connsiteX2760" fmla="*/ 2352427 w 4610101"/>
              <a:gd name="connsiteY2760" fmla="*/ 3570488 h 6557032"/>
              <a:gd name="connsiteX2761" fmla="*/ 1953827 w 4610101"/>
              <a:gd name="connsiteY2761" fmla="*/ 3570034 h 6557032"/>
              <a:gd name="connsiteX2762" fmla="*/ 1967948 w 4610101"/>
              <a:gd name="connsiteY2762" fmla="*/ 3579600 h 6557032"/>
              <a:gd name="connsiteX2763" fmla="*/ 1967948 w 4610101"/>
              <a:gd name="connsiteY2763" fmla="*/ 3579599 h 6557032"/>
              <a:gd name="connsiteX2764" fmla="*/ 1982527 w 4610101"/>
              <a:gd name="connsiteY2764" fmla="*/ 3594177 h 6557032"/>
              <a:gd name="connsiteX2765" fmla="*/ 1967948 w 4610101"/>
              <a:gd name="connsiteY2765" fmla="*/ 3594177 h 6557032"/>
              <a:gd name="connsiteX2766" fmla="*/ 1967948 w 4610101"/>
              <a:gd name="connsiteY2766" fmla="*/ 3579603 h 6557032"/>
              <a:gd name="connsiteX2767" fmla="*/ 1960659 w 4610101"/>
              <a:gd name="connsiteY2767" fmla="*/ 3601467 h 6557032"/>
              <a:gd name="connsiteX2768" fmla="*/ 1946083 w 4610101"/>
              <a:gd name="connsiteY2768" fmla="*/ 3601467 h 6557032"/>
              <a:gd name="connsiteX2769" fmla="*/ 1936972 w 4610101"/>
              <a:gd name="connsiteY2769" fmla="*/ 3579601 h 6557032"/>
              <a:gd name="connsiteX2770" fmla="*/ 1953827 w 4610101"/>
              <a:gd name="connsiteY2770" fmla="*/ 3570034 h 6557032"/>
              <a:gd name="connsiteX2771" fmla="*/ 3416577 w 4610101"/>
              <a:gd name="connsiteY2771" fmla="*/ 3563200 h 6557032"/>
              <a:gd name="connsiteX2772" fmla="*/ 3392888 w 4610101"/>
              <a:gd name="connsiteY2772" fmla="*/ 3565022 h 6557032"/>
              <a:gd name="connsiteX2773" fmla="*/ 3407466 w 4610101"/>
              <a:gd name="connsiteY2773" fmla="*/ 3579600 h 6557032"/>
              <a:gd name="connsiteX2774" fmla="*/ 2330560 w 4610101"/>
              <a:gd name="connsiteY2774" fmla="*/ 3563200 h 6557032"/>
              <a:gd name="connsiteX2775" fmla="*/ 2337849 w 4610101"/>
              <a:gd name="connsiteY2775" fmla="*/ 3586890 h 6557032"/>
              <a:gd name="connsiteX2776" fmla="*/ 2321449 w 4610101"/>
              <a:gd name="connsiteY2776" fmla="*/ 3577779 h 6557032"/>
              <a:gd name="connsiteX2777" fmla="*/ 4132691 w 4610101"/>
              <a:gd name="connsiteY2777" fmla="*/ 3557733 h 6557032"/>
              <a:gd name="connsiteX2778" fmla="*/ 4154557 w 4610101"/>
              <a:gd name="connsiteY2778" fmla="*/ 3557733 h 6557032"/>
              <a:gd name="connsiteX2779" fmla="*/ 4154557 w 4610101"/>
              <a:gd name="connsiteY2779" fmla="*/ 3579600 h 6557032"/>
              <a:gd name="connsiteX2780" fmla="*/ 4132691 w 4610101"/>
              <a:gd name="connsiteY2780" fmla="*/ 3579600 h 6557032"/>
              <a:gd name="connsiteX2781" fmla="*/ 4132691 w 4610101"/>
              <a:gd name="connsiteY2781" fmla="*/ 3557733 h 6557032"/>
              <a:gd name="connsiteX2782" fmla="*/ 3724523 w 4610101"/>
              <a:gd name="connsiteY2782" fmla="*/ 3557733 h 6557032"/>
              <a:gd name="connsiteX2783" fmla="*/ 3746390 w 4610101"/>
              <a:gd name="connsiteY2783" fmla="*/ 3557733 h 6557032"/>
              <a:gd name="connsiteX2784" fmla="*/ 3764611 w 4610101"/>
              <a:gd name="connsiteY2784" fmla="*/ 3579599 h 6557032"/>
              <a:gd name="connsiteX2785" fmla="*/ 3757322 w 4610101"/>
              <a:gd name="connsiteY2785" fmla="*/ 3599643 h 6557032"/>
              <a:gd name="connsiteX2786" fmla="*/ 3784655 w 4610101"/>
              <a:gd name="connsiteY2786" fmla="*/ 3632442 h 6557032"/>
              <a:gd name="connsiteX2787" fmla="*/ 3757750 w 4610101"/>
              <a:gd name="connsiteY2787" fmla="*/ 3626805 h 6557032"/>
              <a:gd name="connsiteX2788" fmla="*/ 3746954 w 4610101"/>
              <a:gd name="connsiteY2788" fmla="*/ 3618309 h 6557032"/>
              <a:gd name="connsiteX2789" fmla="*/ 3739102 w 4610101"/>
              <a:gd name="connsiteY2789" fmla="*/ 3632443 h 6557032"/>
              <a:gd name="connsiteX2790" fmla="*/ 3724524 w 4610101"/>
              <a:gd name="connsiteY2790" fmla="*/ 3616043 h 6557032"/>
              <a:gd name="connsiteX2791" fmla="*/ 3744113 w 4610101"/>
              <a:gd name="connsiteY2791" fmla="*/ 3616043 h 6557032"/>
              <a:gd name="connsiteX2792" fmla="*/ 3737279 w 4610101"/>
              <a:gd name="connsiteY2792" fmla="*/ 3610576 h 6557032"/>
              <a:gd name="connsiteX2793" fmla="*/ 3746390 w 4610101"/>
              <a:gd name="connsiteY2793" fmla="*/ 3595999 h 6557032"/>
              <a:gd name="connsiteX2794" fmla="*/ 3724523 w 4610101"/>
              <a:gd name="connsiteY2794" fmla="*/ 3557733 h 6557032"/>
              <a:gd name="connsiteX2795" fmla="*/ 4019717 w 4610101"/>
              <a:gd name="connsiteY2795" fmla="*/ 3555911 h 6557032"/>
              <a:gd name="connsiteX2796" fmla="*/ 4010606 w 4610101"/>
              <a:gd name="connsiteY2796" fmla="*/ 3572311 h 6557032"/>
              <a:gd name="connsiteX2797" fmla="*/ 3996028 w 4610101"/>
              <a:gd name="connsiteY2797" fmla="*/ 3557734 h 6557032"/>
              <a:gd name="connsiteX2798" fmla="*/ 1499649 w 4610101"/>
              <a:gd name="connsiteY2798" fmla="*/ 3555911 h 6557032"/>
              <a:gd name="connsiteX2799" fmla="*/ 1521516 w 4610101"/>
              <a:gd name="connsiteY2799" fmla="*/ 3572312 h 6557032"/>
              <a:gd name="connsiteX2800" fmla="*/ 1492360 w 4610101"/>
              <a:gd name="connsiteY2800" fmla="*/ 3579601 h 6557032"/>
              <a:gd name="connsiteX2801" fmla="*/ 1060505 w 4610101"/>
              <a:gd name="connsiteY2801" fmla="*/ 3550445 h 6557032"/>
              <a:gd name="connsiteX2802" fmla="*/ 1091484 w 4610101"/>
              <a:gd name="connsiteY2802" fmla="*/ 3555912 h 6557032"/>
              <a:gd name="connsiteX2803" fmla="*/ 1091484 w 4610101"/>
              <a:gd name="connsiteY2803" fmla="*/ 3577778 h 6557032"/>
              <a:gd name="connsiteX2804" fmla="*/ 1084195 w 4610101"/>
              <a:gd name="connsiteY2804" fmla="*/ 3594177 h 6557032"/>
              <a:gd name="connsiteX2805" fmla="*/ 1091484 w 4610101"/>
              <a:gd name="connsiteY2805" fmla="*/ 3606932 h 6557032"/>
              <a:gd name="connsiteX2806" fmla="*/ 1064151 w 4610101"/>
              <a:gd name="connsiteY2806" fmla="*/ 3614221 h 6557032"/>
              <a:gd name="connsiteX2807" fmla="*/ 1038639 w 4610101"/>
              <a:gd name="connsiteY2807" fmla="*/ 3594177 h 6557032"/>
              <a:gd name="connsiteX2808" fmla="*/ 1038639 w 4610101"/>
              <a:gd name="connsiteY2808" fmla="*/ 3572311 h 6557032"/>
              <a:gd name="connsiteX2809" fmla="*/ 3203382 w 4610101"/>
              <a:gd name="connsiteY2809" fmla="*/ 3546800 h 6557032"/>
              <a:gd name="connsiteX2810" fmla="*/ 3188805 w 4610101"/>
              <a:gd name="connsiteY2810" fmla="*/ 3561378 h 6557032"/>
              <a:gd name="connsiteX2811" fmla="*/ 3205204 w 4610101"/>
              <a:gd name="connsiteY2811" fmla="*/ 3570489 h 6557032"/>
              <a:gd name="connsiteX2812" fmla="*/ 3830209 w 4610101"/>
              <a:gd name="connsiteY2812" fmla="*/ 3541334 h 6557032"/>
              <a:gd name="connsiteX2813" fmla="*/ 3839320 w 4610101"/>
              <a:gd name="connsiteY2813" fmla="*/ 3546802 h 6557032"/>
              <a:gd name="connsiteX2814" fmla="*/ 3846609 w 4610101"/>
              <a:gd name="connsiteY2814" fmla="*/ 3555912 h 6557032"/>
              <a:gd name="connsiteX2815" fmla="*/ 3830209 w 4610101"/>
              <a:gd name="connsiteY2815" fmla="*/ 3563201 h 6557032"/>
              <a:gd name="connsiteX2816" fmla="*/ 3527729 w 4610101"/>
              <a:gd name="connsiteY2816" fmla="*/ 3541334 h 6557032"/>
              <a:gd name="connsiteX2817" fmla="*/ 3505863 w 4610101"/>
              <a:gd name="connsiteY2817" fmla="*/ 3555911 h 6557032"/>
              <a:gd name="connsiteX2818" fmla="*/ 3513152 w 4610101"/>
              <a:gd name="connsiteY2818" fmla="*/ 3572311 h 6557032"/>
              <a:gd name="connsiteX2819" fmla="*/ 3527729 w 4610101"/>
              <a:gd name="connsiteY2819" fmla="*/ 3541334 h 6557032"/>
              <a:gd name="connsiteX2820" fmla="*/ 1989814 w 4610101"/>
              <a:gd name="connsiteY2820" fmla="*/ 3541334 h 6557032"/>
              <a:gd name="connsiteX2821" fmla="*/ 2006214 w 4610101"/>
              <a:gd name="connsiteY2821" fmla="*/ 3541334 h 6557032"/>
              <a:gd name="connsiteX2822" fmla="*/ 1989814 w 4610101"/>
              <a:gd name="connsiteY2822" fmla="*/ 3563201 h 6557032"/>
              <a:gd name="connsiteX2823" fmla="*/ 1809420 w 4610101"/>
              <a:gd name="connsiteY2823" fmla="*/ 3541334 h 6557032"/>
              <a:gd name="connsiteX2824" fmla="*/ 1825818 w 4610101"/>
              <a:gd name="connsiteY2824" fmla="*/ 3548624 h 6557032"/>
              <a:gd name="connsiteX2825" fmla="*/ 1811241 w 4610101"/>
              <a:gd name="connsiteY2825" fmla="*/ 3570490 h 6557032"/>
              <a:gd name="connsiteX2826" fmla="*/ 1802130 w 4610101"/>
              <a:gd name="connsiteY2826" fmla="*/ 3548624 h 6557032"/>
              <a:gd name="connsiteX2827" fmla="*/ 3770079 w 4610101"/>
              <a:gd name="connsiteY2827" fmla="*/ 3534045 h 6557032"/>
              <a:gd name="connsiteX2828" fmla="*/ 3806522 w 4610101"/>
              <a:gd name="connsiteY2828" fmla="*/ 3565023 h 6557032"/>
              <a:gd name="connsiteX2829" fmla="*/ 3753679 w 4610101"/>
              <a:gd name="connsiteY2829" fmla="*/ 3546801 h 6557032"/>
              <a:gd name="connsiteX2830" fmla="*/ 3152361 w 4610101"/>
              <a:gd name="connsiteY2830" fmla="*/ 3534045 h 6557032"/>
              <a:gd name="connsiteX2831" fmla="*/ 3152361 w 4610101"/>
              <a:gd name="connsiteY2831" fmla="*/ 3555911 h 6557032"/>
              <a:gd name="connsiteX2832" fmla="*/ 3166939 w 4610101"/>
              <a:gd name="connsiteY2832" fmla="*/ 3555911 h 6557032"/>
              <a:gd name="connsiteX2833" fmla="*/ 3152361 w 4610101"/>
              <a:gd name="connsiteY2833" fmla="*/ 3534045 h 6557032"/>
              <a:gd name="connsiteX2834" fmla="*/ 3001121 w 4610101"/>
              <a:gd name="connsiteY2834" fmla="*/ 3534045 h 6557032"/>
              <a:gd name="connsiteX2835" fmla="*/ 2984721 w 4610101"/>
              <a:gd name="connsiteY2835" fmla="*/ 3535868 h 6557032"/>
              <a:gd name="connsiteX2836" fmla="*/ 2999299 w 4610101"/>
              <a:gd name="connsiteY2836" fmla="*/ 3550445 h 6557032"/>
              <a:gd name="connsiteX2837" fmla="*/ 3739102 w 4610101"/>
              <a:gd name="connsiteY2837" fmla="*/ 3532223 h 6557032"/>
              <a:gd name="connsiteX2838" fmla="*/ 3748213 w 4610101"/>
              <a:gd name="connsiteY2838" fmla="*/ 3548623 h 6557032"/>
              <a:gd name="connsiteX2839" fmla="*/ 3724524 w 4610101"/>
              <a:gd name="connsiteY2839" fmla="*/ 3546800 h 6557032"/>
              <a:gd name="connsiteX2840" fmla="*/ 2806148 w 4610101"/>
              <a:gd name="connsiteY2840" fmla="*/ 3532223 h 6557032"/>
              <a:gd name="connsiteX2841" fmla="*/ 2811615 w 4610101"/>
              <a:gd name="connsiteY2841" fmla="*/ 3563200 h 6557032"/>
              <a:gd name="connsiteX2842" fmla="*/ 2797037 w 4610101"/>
              <a:gd name="connsiteY2842" fmla="*/ 3555911 h 6557032"/>
              <a:gd name="connsiteX2843" fmla="*/ 2798860 w 4610101"/>
              <a:gd name="connsiteY2843" fmla="*/ 3579600 h 6557032"/>
              <a:gd name="connsiteX2844" fmla="*/ 2813437 w 4610101"/>
              <a:gd name="connsiteY2844" fmla="*/ 3563200 h 6557032"/>
              <a:gd name="connsiteX2845" fmla="*/ 2828014 w 4610101"/>
              <a:gd name="connsiteY2845" fmla="*/ 3532223 h 6557032"/>
              <a:gd name="connsiteX2846" fmla="*/ 1567070 w 4610101"/>
              <a:gd name="connsiteY2846" fmla="*/ 3532223 h 6557032"/>
              <a:gd name="connsiteX2847" fmla="*/ 1576181 w 4610101"/>
              <a:gd name="connsiteY2847" fmla="*/ 3548623 h 6557032"/>
              <a:gd name="connsiteX2848" fmla="*/ 1550670 w 4610101"/>
              <a:gd name="connsiteY2848" fmla="*/ 3546800 h 6557032"/>
              <a:gd name="connsiteX2849" fmla="*/ 2006214 w 4610101"/>
              <a:gd name="connsiteY2849" fmla="*/ 3526756 h 6557032"/>
              <a:gd name="connsiteX2850" fmla="*/ 2018741 w 4610101"/>
              <a:gd name="connsiteY2850" fmla="*/ 3529945 h 6557032"/>
              <a:gd name="connsiteX2851" fmla="*/ 2024435 w 4610101"/>
              <a:gd name="connsiteY2851" fmla="*/ 3530401 h 6557032"/>
              <a:gd name="connsiteX2852" fmla="*/ 2024436 w 4610101"/>
              <a:gd name="connsiteY2852" fmla="*/ 3530401 h 6557032"/>
              <a:gd name="connsiteX2853" fmla="*/ 2028080 w 4610101"/>
              <a:gd name="connsiteY2853" fmla="*/ 3541334 h 6557032"/>
              <a:gd name="connsiteX2854" fmla="*/ 2006214 w 4610101"/>
              <a:gd name="connsiteY2854" fmla="*/ 3541334 h 6557032"/>
              <a:gd name="connsiteX2855" fmla="*/ 1681866 w 4610101"/>
              <a:gd name="connsiteY2855" fmla="*/ 3526756 h 6557032"/>
              <a:gd name="connsiteX2856" fmla="*/ 1696444 w 4610101"/>
              <a:gd name="connsiteY2856" fmla="*/ 3526756 h 6557032"/>
              <a:gd name="connsiteX2857" fmla="*/ 1696444 w 4610101"/>
              <a:gd name="connsiteY2857" fmla="*/ 3526756 h 6557032"/>
              <a:gd name="connsiteX2858" fmla="*/ 1681866 w 4610101"/>
              <a:gd name="connsiteY2858" fmla="*/ 3541334 h 6557032"/>
              <a:gd name="connsiteX2859" fmla="*/ 3467597 w 4610101"/>
              <a:gd name="connsiteY2859" fmla="*/ 3524934 h 6557032"/>
              <a:gd name="connsiteX2860" fmla="*/ 3453020 w 4610101"/>
              <a:gd name="connsiteY2860" fmla="*/ 3539512 h 6557032"/>
              <a:gd name="connsiteX2861" fmla="*/ 3467597 w 4610101"/>
              <a:gd name="connsiteY2861" fmla="*/ 3546800 h 6557032"/>
              <a:gd name="connsiteX2862" fmla="*/ 3476708 w 4610101"/>
              <a:gd name="connsiteY2862" fmla="*/ 3541334 h 6557032"/>
              <a:gd name="connsiteX2863" fmla="*/ 2549222 w 4610101"/>
              <a:gd name="connsiteY2863" fmla="*/ 3524934 h 6557032"/>
              <a:gd name="connsiteX2864" fmla="*/ 2536466 w 4610101"/>
              <a:gd name="connsiteY2864" fmla="*/ 3541334 h 6557032"/>
              <a:gd name="connsiteX2865" fmla="*/ 2534644 w 4610101"/>
              <a:gd name="connsiteY2865" fmla="*/ 3541334 h 6557032"/>
              <a:gd name="connsiteX2866" fmla="*/ 2521889 w 4610101"/>
              <a:gd name="connsiteY2866" fmla="*/ 3541334 h 6557032"/>
              <a:gd name="connsiteX2867" fmla="*/ 2507312 w 4610101"/>
              <a:gd name="connsiteY2867" fmla="*/ 3563200 h 6557032"/>
              <a:gd name="connsiteX2868" fmla="*/ 2507312 w 4610101"/>
              <a:gd name="connsiteY2868" fmla="*/ 3548623 h 6557032"/>
              <a:gd name="connsiteX2869" fmla="*/ 2476335 w 4610101"/>
              <a:gd name="connsiteY2869" fmla="*/ 3548623 h 6557032"/>
              <a:gd name="connsiteX2870" fmla="*/ 2476335 w 4610101"/>
              <a:gd name="connsiteY2870" fmla="*/ 3570489 h 6557032"/>
              <a:gd name="connsiteX2871" fmla="*/ 2492734 w 4610101"/>
              <a:gd name="connsiteY2871" fmla="*/ 3570489 h 6557032"/>
              <a:gd name="connsiteX2872" fmla="*/ 2483624 w 4610101"/>
              <a:gd name="connsiteY2872" fmla="*/ 3592355 h 6557032"/>
              <a:gd name="connsiteX2873" fmla="*/ 2505490 w 4610101"/>
              <a:gd name="connsiteY2873" fmla="*/ 3594177 h 6557032"/>
              <a:gd name="connsiteX2874" fmla="*/ 2521889 w 4610101"/>
              <a:gd name="connsiteY2874" fmla="*/ 3608754 h 6557032"/>
              <a:gd name="connsiteX2875" fmla="*/ 2536466 w 4610101"/>
              <a:gd name="connsiteY2875" fmla="*/ 3577778 h 6557032"/>
              <a:gd name="connsiteX2876" fmla="*/ 2529178 w 4610101"/>
              <a:gd name="connsiteY2876" fmla="*/ 3565022 h 6557032"/>
              <a:gd name="connsiteX2877" fmla="*/ 2534644 w 4610101"/>
              <a:gd name="connsiteY2877" fmla="*/ 3555911 h 6557032"/>
              <a:gd name="connsiteX2878" fmla="*/ 2534644 w 4610101"/>
              <a:gd name="connsiteY2878" fmla="*/ 3541334 h 6557032"/>
              <a:gd name="connsiteX2879" fmla="*/ 2541933 w 4610101"/>
              <a:gd name="connsiteY2879" fmla="*/ 3563200 h 6557032"/>
              <a:gd name="connsiteX2880" fmla="*/ 2549222 w 4610101"/>
              <a:gd name="connsiteY2880" fmla="*/ 3524934 h 6557032"/>
              <a:gd name="connsiteX2881" fmla="*/ 2873569 w 4610101"/>
              <a:gd name="connsiteY2881" fmla="*/ 3519468 h 6557032"/>
              <a:gd name="connsiteX2882" fmla="*/ 2873569 w 4610101"/>
              <a:gd name="connsiteY2882" fmla="*/ 3541334 h 6557032"/>
              <a:gd name="connsiteX2883" fmla="*/ 2888146 w 4610101"/>
              <a:gd name="connsiteY2883" fmla="*/ 3541334 h 6557032"/>
              <a:gd name="connsiteX2884" fmla="*/ 2888146 w 4610101"/>
              <a:gd name="connsiteY2884" fmla="*/ 3519468 h 6557032"/>
              <a:gd name="connsiteX2885" fmla="*/ 1189880 w 4610101"/>
              <a:gd name="connsiteY2885" fmla="*/ 3519468 h 6557032"/>
              <a:gd name="connsiteX2886" fmla="*/ 1220858 w 4610101"/>
              <a:gd name="connsiteY2886" fmla="*/ 3586889 h 6557032"/>
              <a:gd name="connsiteX2887" fmla="*/ 1198991 w 4610101"/>
              <a:gd name="connsiteY2887" fmla="*/ 3594177 h 6557032"/>
              <a:gd name="connsiteX2888" fmla="*/ 1191703 w 4610101"/>
              <a:gd name="connsiteY2888" fmla="*/ 3643376 h 6557032"/>
              <a:gd name="connsiteX2889" fmla="*/ 1197169 w 4610101"/>
              <a:gd name="connsiteY2889" fmla="*/ 3652487 h 6557032"/>
              <a:gd name="connsiteX2890" fmla="*/ 1166191 w 4610101"/>
              <a:gd name="connsiteY2890" fmla="*/ 3683464 h 6557032"/>
              <a:gd name="connsiteX2891" fmla="*/ 1120637 w 4610101"/>
              <a:gd name="connsiteY2891" fmla="*/ 3683464 h 6557032"/>
              <a:gd name="connsiteX2892" fmla="*/ 1129748 w 4610101"/>
              <a:gd name="connsiteY2892" fmla="*/ 3654309 h 6557032"/>
              <a:gd name="connsiteX2893" fmla="*/ 1113348 w 4610101"/>
              <a:gd name="connsiteY2893" fmla="*/ 3654309 h 6557032"/>
              <a:gd name="connsiteX2894" fmla="*/ 1124281 w 4610101"/>
              <a:gd name="connsiteY2894" fmla="*/ 3610577 h 6557032"/>
              <a:gd name="connsiteX2895" fmla="*/ 1138859 w 4610101"/>
              <a:gd name="connsiteY2895" fmla="*/ 3594177 h 6557032"/>
              <a:gd name="connsiteX2896" fmla="*/ 1129748 w 4610101"/>
              <a:gd name="connsiteY2896" fmla="*/ 3579600 h 6557032"/>
              <a:gd name="connsiteX2897" fmla="*/ 1131570 w 4610101"/>
              <a:gd name="connsiteY2897" fmla="*/ 3559556 h 6557032"/>
              <a:gd name="connsiteX2898" fmla="*/ 1160725 w 4610101"/>
              <a:gd name="connsiteY2898" fmla="*/ 3528579 h 6557032"/>
              <a:gd name="connsiteX2899" fmla="*/ 2962855 w 4610101"/>
              <a:gd name="connsiteY2899" fmla="*/ 3517646 h 6557032"/>
              <a:gd name="connsiteX2900" fmla="*/ 2948278 w 4610101"/>
              <a:gd name="connsiteY2900" fmla="*/ 3548623 h 6557032"/>
              <a:gd name="connsiteX2901" fmla="*/ 2971966 w 4610101"/>
              <a:gd name="connsiteY2901" fmla="*/ 3546800 h 6557032"/>
              <a:gd name="connsiteX2902" fmla="*/ 2280013 w 4610101"/>
              <a:gd name="connsiteY2902" fmla="*/ 3517646 h 6557032"/>
              <a:gd name="connsiteX2903" fmla="*/ 2285007 w 4610101"/>
              <a:gd name="connsiteY2903" fmla="*/ 3517646 h 6557032"/>
              <a:gd name="connsiteX2904" fmla="*/ 2276123 w 4610101"/>
              <a:gd name="connsiteY2904" fmla="*/ 3528011 h 6557032"/>
              <a:gd name="connsiteX2905" fmla="*/ 2279199 w 4610101"/>
              <a:gd name="connsiteY2905" fmla="*/ 3520294 h 6557032"/>
              <a:gd name="connsiteX2906" fmla="*/ 2280451 w 4610101"/>
              <a:gd name="connsiteY2906" fmla="*/ 3518329 h 6557032"/>
              <a:gd name="connsiteX2907" fmla="*/ 1922394 w 4610101"/>
              <a:gd name="connsiteY2907" fmla="*/ 3517646 h 6557032"/>
              <a:gd name="connsiteX2908" fmla="*/ 1946083 w 4610101"/>
              <a:gd name="connsiteY2908" fmla="*/ 3534047 h 6557032"/>
              <a:gd name="connsiteX2909" fmla="*/ 1922394 w 4610101"/>
              <a:gd name="connsiteY2909" fmla="*/ 3555913 h 6557032"/>
              <a:gd name="connsiteX2910" fmla="*/ 1922394 w 4610101"/>
              <a:gd name="connsiteY2910" fmla="*/ 3517646 h 6557032"/>
              <a:gd name="connsiteX2911" fmla="*/ 1884129 w 4610101"/>
              <a:gd name="connsiteY2911" fmla="*/ 3517646 h 6557032"/>
              <a:gd name="connsiteX2912" fmla="*/ 1862262 w 4610101"/>
              <a:gd name="connsiteY2912" fmla="*/ 3555913 h 6557032"/>
              <a:gd name="connsiteX2913" fmla="*/ 1853151 w 4610101"/>
              <a:gd name="connsiteY2913" fmla="*/ 3523114 h 6557032"/>
              <a:gd name="connsiteX2914" fmla="*/ 1807598 w 4610101"/>
              <a:gd name="connsiteY2914" fmla="*/ 3517646 h 6557032"/>
              <a:gd name="connsiteX2915" fmla="*/ 1816707 w 4610101"/>
              <a:gd name="connsiteY2915" fmla="*/ 3534046 h 6557032"/>
              <a:gd name="connsiteX2916" fmla="*/ 1793019 w 4610101"/>
              <a:gd name="connsiteY2916" fmla="*/ 3532224 h 6557032"/>
              <a:gd name="connsiteX2917" fmla="*/ 2181143 w 4610101"/>
              <a:gd name="connsiteY2917" fmla="*/ 3515824 h 6557032"/>
              <a:gd name="connsiteX2918" fmla="*/ 2181143 w 4610101"/>
              <a:gd name="connsiteY2918" fmla="*/ 3537690 h 6557032"/>
              <a:gd name="connsiteX2919" fmla="*/ 2171812 w 4610101"/>
              <a:gd name="connsiteY2919" fmla="*/ 3537690 h 6557032"/>
              <a:gd name="connsiteX2920" fmla="*/ 2173399 w 4610101"/>
              <a:gd name="connsiteY2920" fmla="*/ 3539056 h 6557032"/>
              <a:gd name="connsiteX2921" fmla="*/ 2176132 w 4610101"/>
              <a:gd name="connsiteY2921" fmla="*/ 3547769 h 6557032"/>
              <a:gd name="connsiteX2922" fmla="*/ 2177248 w 4610101"/>
              <a:gd name="connsiteY2922" fmla="*/ 3561853 h 6557032"/>
              <a:gd name="connsiteX2923" fmla="*/ 2188431 w 4610101"/>
              <a:gd name="connsiteY2923" fmla="*/ 3552267 h 6557032"/>
              <a:gd name="connsiteX2924" fmla="*/ 2181143 w 4610101"/>
              <a:gd name="connsiteY2924" fmla="*/ 3537690 h 6557032"/>
              <a:gd name="connsiteX2925" fmla="*/ 2195720 w 4610101"/>
              <a:gd name="connsiteY2925" fmla="*/ 3537690 h 6557032"/>
              <a:gd name="connsiteX2926" fmla="*/ 2195720 w 4610101"/>
              <a:gd name="connsiteY2926" fmla="*/ 3515824 h 6557032"/>
              <a:gd name="connsiteX2927" fmla="*/ 2121011 w 4610101"/>
              <a:gd name="connsiteY2927" fmla="*/ 3514001 h 6557032"/>
              <a:gd name="connsiteX2928" fmla="*/ 2122273 w 4610101"/>
              <a:gd name="connsiteY2928" fmla="*/ 3514562 h 6557032"/>
              <a:gd name="connsiteX2929" fmla="*/ 2121315 w 4610101"/>
              <a:gd name="connsiteY2929" fmla="*/ 3515520 h 6557032"/>
              <a:gd name="connsiteX2930" fmla="*/ 3649815 w 4610101"/>
              <a:gd name="connsiteY2930" fmla="*/ 3510357 h 6557032"/>
              <a:gd name="connsiteX2931" fmla="*/ 3673504 w 4610101"/>
              <a:gd name="connsiteY2931" fmla="*/ 3510357 h 6557032"/>
              <a:gd name="connsiteX2932" fmla="*/ 3649815 w 4610101"/>
              <a:gd name="connsiteY2932" fmla="*/ 3534047 h 6557032"/>
              <a:gd name="connsiteX2933" fmla="*/ 3589683 w 4610101"/>
              <a:gd name="connsiteY2933" fmla="*/ 3510357 h 6557032"/>
              <a:gd name="connsiteX2934" fmla="*/ 3611549 w 4610101"/>
              <a:gd name="connsiteY2934" fmla="*/ 3510357 h 6557032"/>
              <a:gd name="connsiteX2935" fmla="*/ 3611549 w 4610101"/>
              <a:gd name="connsiteY2935" fmla="*/ 3532224 h 6557032"/>
              <a:gd name="connsiteX2936" fmla="*/ 3589683 w 4610101"/>
              <a:gd name="connsiteY2936" fmla="*/ 3532224 h 6557032"/>
              <a:gd name="connsiteX2937" fmla="*/ 3046675 w 4610101"/>
              <a:gd name="connsiteY2937" fmla="*/ 3510357 h 6557032"/>
              <a:gd name="connsiteX2938" fmla="*/ 3022987 w 4610101"/>
              <a:gd name="connsiteY2938" fmla="*/ 3512179 h 6557032"/>
              <a:gd name="connsiteX2939" fmla="*/ 3037564 w 4610101"/>
              <a:gd name="connsiteY2939" fmla="*/ 3526757 h 6557032"/>
              <a:gd name="connsiteX2940" fmla="*/ 1689155 w 4610101"/>
              <a:gd name="connsiteY2940" fmla="*/ 3510357 h 6557032"/>
              <a:gd name="connsiteX2941" fmla="*/ 1712844 w 4610101"/>
              <a:gd name="connsiteY2941" fmla="*/ 3512180 h 6557032"/>
              <a:gd name="connsiteX2942" fmla="*/ 1696444 w 4610101"/>
              <a:gd name="connsiteY2942" fmla="*/ 3526757 h 6557032"/>
              <a:gd name="connsiteX2943" fmla="*/ 1696444 w 4610101"/>
              <a:gd name="connsiteY2943" fmla="*/ 3526756 h 6557032"/>
              <a:gd name="connsiteX2944" fmla="*/ 1696444 w 4610101"/>
              <a:gd name="connsiteY2944" fmla="*/ 3526756 h 6557032"/>
              <a:gd name="connsiteX2945" fmla="*/ 1696444 w 4610101"/>
              <a:gd name="connsiteY2945" fmla="*/ 3526756 h 6557032"/>
              <a:gd name="connsiteX2946" fmla="*/ 1439518 w 4610101"/>
              <a:gd name="connsiteY2946" fmla="*/ 3510357 h 6557032"/>
              <a:gd name="connsiteX2947" fmla="*/ 1455917 w 4610101"/>
              <a:gd name="connsiteY2947" fmla="*/ 3512180 h 6557032"/>
              <a:gd name="connsiteX2948" fmla="*/ 1441340 w 4610101"/>
              <a:gd name="connsiteY2948" fmla="*/ 3526757 h 6557032"/>
              <a:gd name="connsiteX2949" fmla="*/ 2151988 w 4610101"/>
              <a:gd name="connsiteY2949" fmla="*/ 3506713 h 6557032"/>
              <a:gd name="connsiteX2950" fmla="*/ 2154719 w 4610101"/>
              <a:gd name="connsiteY2950" fmla="*/ 3510357 h 6557032"/>
              <a:gd name="connsiteX2951" fmla="*/ 2145914 w 4610101"/>
              <a:gd name="connsiteY2951" fmla="*/ 3510357 h 6557032"/>
              <a:gd name="connsiteX2952" fmla="*/ 3883052 w 4610101"/>
              <a:gd name="connsiteY2952" fmla="*/ 3503068 h 6557032"/>
              <a:gd name="connsiteX2953" fmla="*/ 3897629 w 4610101"/>
              <a:gd name="connsiteY2953" fmla="*/ 3534046 h 6557032"/>
              <a:gd name="connsiteX2954" fmla="*/ 3883052 w 4610101"/>
              <a:gd name="connsiteY2954" fmla="*/ 3503068 h 6557032"/>
              <a:gd name="connsiteX2955" fmla="*/ 1280988 w 4610101"/>
              <a:gd name="connsiteY2955" fmla="*/ 3503068 h 6557032"/>
              <a:gd name="connsiteX2956" fmla="*/ 1288278 w 4610101"/>
              <a:gd name="connsiteY2956" fmla="*/ 3534046 h 6557032"/>
              <a:gd name="connsiteX2957" fmla="*/ 1259122 w 4610101"/>
              <a:gd name="connsiteY2957" fmla="*/ 3512180 h 6557032"/>
              <a:gd name="connsiteX2958" fmla="*/ 2155632 w 4610101"/>
              <a:gd name="connsiteY2958" fmla="*/ 3499425 h 6557032"/>
              <a:gd name="connsiteX2959" fmla="*/ 2155632 w 4610101"/>
              <a:gd name="connsiteY2959" fmla="*/ 3506433 h 6557032"/>
              <a:gd name="connsiteX2960" fmla="*/ 2151988 w 4610101"/>
              <a:gd name="connsiteY2960" fmla="*/ 3506713 h 6557032"/>
              <a:gd name="connsiteX2961" fmla="*/ 2427136 w 4610101"/>
              <a:gd name="connsiteY2961" fmla="*/ 3499424 h 6557032"/>
              <a:gd name="connsiteX2962" fmla="*/ 2396159 w 4610101"/>
              <a:gd name="connsiteY2962" fmla="*/ 3506713 h 6557032"/>
              <a:gd name="connsiteX2963" fmla="*/ 2396159 w 4610101"/>
              <a:gd name="connsiteY2963" fmla="*/ 3512179 h 6557032"/>
              <a:gd name="connsiteX2964" fmla="*/ 2419847 w 4610101"/>
              <a:gd name="connsiteY2964" fmla="*/ 3512179 h 6557032"/>
              <a:gd name="connsiteX2965" fmla="*/ 2412559 w 4610101"/>
              <a:gd name="connsiteY2965" fmla="*/ 3524934 h 6557032"/>
              <a:gd name="connsiteX2966" fmla="*/ 2427136 w 4610101"/>
              <a:gd name="connsiteY2966" fmla="*/ 3541334 h 6557032"/>
              <a:gd name="connsiteX2967" fmla="*/ 2441713 w 4610101"/>
              <a:gd name="connsiteY2967" fmla="*/ 3537690 h 6557032"/>
              <a:gd name="connsiteX2968" fmla="*/ 2465402 w 4610101"/>
              <a:gd name="connsiteY2968" fmla="*/ 3541334 h 6557032"/>
              <a:gd name="connsiteX2969" fmla="*/ 3935895 w 4610101"/>
              <a:gd name="connsiteY2969" fmla="*/ 3495780 h 6557032"/>
              <a:gd name="connsiteX2970" fmla="*/ 3954117 w 4610101"/>
              <a:gd name="connsiteY2970" fmla="*/ 3497602 h 6557032"/>
              <a:gd name="connsiteX2971" fmla="*/ 3935895 w 4610101"/>
              <a:gd name="connsiteY2971" fmla="*/ 3510357 h 6557032"/>
              <a:gd name="connsiteX2972" fmla="*/ 3664393 w 4610101"/>
              <a:gd name="connsiteY2972" fmla="*/ 3495780 h 6557032"/>
              <a:gd name="connsiteX2973" fmla="*/ 3689904 w 4610101"/>
              <a:gd name="connsiteY2973" fmla="*/ 3497602 h 6557032"/>
              <a:gd name="connsiteX2974" fmla="*/ 3673504 w 4610101"/>
              <a:gd name="connsiteY2974" fmla="*/ 3510357 h 6557032"/>
              <a:gd name="connsiteX2975" fmla="*/ 1115170 w 4610101"/>
              <a:gd name="connsiteY2975" fmla="*/ 3495780 h 6557032"/>
              <a:gd name="connsiteX2976" fmla="*/ 1138860 w 4610101"/>
              <a:gd name="connsiteY2976" fmla="*/ 3495780 h 6557032"/>
              <a:gd name="connsiteX2977" fmla="*/ 1129748 w 4610101"/>
              <a:gd name="connsiteY2977" fmla="*/ 3548624 h 6557032"/>
              <a:gd name="connsiteX2978" fmla="*/ 1093304 w 4610101"/>
              <a:gd name="connsiteY2978" fmla="*/ 3517647 h 6557032"/>
              <a:gd name="connsiteX2979" fmla="*/ 1115170 w 4610101"/>
              <a:gd name="connsiteY2979" fmla="*/ 3495780 h 6557032"/>
              <a:gd name="connsiteX2980" fmla="*/ 3695370 w 4610101"/>
              <a:gd name="connsiteY2980" fmla="*/ 3493957 h 6557032"/>
              <a:gd name="connsiteX2981" fmla="*/ 3717236 w 4610101"/>
              <a:gd name="connsiteY2981" fmla="*/ 3510357 h 6557032"/>
              <a:gd name="connsiteX2982" fmla="*/ 3708125 w 4610101"/>
              <a:gd name="connsiteY2982" fmla="*/ 3523112 h 6557032"/>
              <a:gd name="connsiteX2983" fmla="*/ 3713592 w 4610101"/>
              <a:gd name="connsiteY2983" fmla="*/ 3544978 h 6557032"/>
              <a:gd name="connsiteX2984" fmla="*/ 3700837 w 4610101"/>
              <a:gd name="connsiteY2984" fmla="*/ 3561378 h 6557032"/>
              <a:gd name="connsiteX2985" fmla="*/ 3664393 w 4610101"/>
              <a:gd name="connsiteY2985" fmla="*/ 3546800 h 6557032"/>
              <a:gd name="connsiteX2986" fmla="*/ 3671682 w 4610101"/>
              <a:gd name="connsiteY2986" fmla="*/ 3524934 h 6557032"/>
              <a:gd name="connsiteX2987" fmla="*/ 3686259 w 4610101"/>
              <a:gd name="connsiteY2987" fmla="*/ 3524934 h 6557032"/>
              <a:gd name="connsiteX2988" fmla="*/ 3678970 w 4610101"/>
              <a:gd name="connsiteY2988" fmla="*/ 3539512 h 6557032"/>
              <a:gd name="connsiteX2989" fmla="*/ 3702659 w 4610101"/>
              <a:gd name="connsiteY2989" fmla="*/ 3537689 h 6557032"/>
              <a:gd name="connsiteX2990" fmla="*/ 3686259 w 4610101"/>
              <a:gd name="connsiteY2990" fmla="*/ 3524934 h 6557032"/>
              <a:gd name="connsiteX2991" fmla="*/ 2713217 w 4610101"/>
              <a:gd name="connsiteY2991" fmla="*/ 3493957 h 6557032"/>
              <a:gd name="connsiteX2992" fmla="*/ 2698640 w 4610101"/>
              <a:gd name="connsiteY2992" fmla="*/ 3508535 h 6557032"/>
              <a:gd name="connsiteX2993" fmla="*/ 2715040 w 4610101"/>
              <a:gd name="connsiteY2993" fmla="*/ 3510357 h 6557032"/>
              <a:gd name="connsiteX2994" fmla="*/ 1494183 w 4610101"/>
              <a:gd name="connsiteY2994" fmla="*/ 3493957 h 6557032"/>
              <a:gd name="connsiteX2995" fmla="*/ 1514228 w 4610101"/>
              <a:gd name="connsiteY2995" fmla="*/ 3517647 h 6557032"/>
              <a:gd name="connsiteX2996" fmla="*/ 1497827 w 4610101"/>
              <a:gd name="connsiteY2996" fmla="*/ 3535868 h 6557032"/>
              <a:gd name="connsiteX2997" fmla="*/ 1475961 w 4610101"/>
              <a:gd name="connsiteY2997" fmla="*/ 3512180 h 6557032"/>
              <a:gd name="connsiteX2998" fmla="*/ 1492361 w 4610101"/>
              <a:gd name="connsiteY2998" fmla="*/ 3510358 h 6557032"/>
              <a:gd name="connsiteX2999" fmla="*/ 1598047 w 4610101"/>
              <a:gd name="connsiteY2999" fmla="*/ 3488491 h 6557032"/>
              <a:gd name="connsiteX3000" fmla="*/ 1598047 w 4610101"/>
              <a:gd name="connsiteY3000" fmla="*/ 3488492 h 6557032"/>
              <a:gd name="connsiteX3001" fmla="*/ 1598047 w 4610101"/>
              <a:gd name="connsiteY3001" fmla="*/ 3510357 h 6557032"/>
              <a:gd name="connsiteX3002" fmla="*/ 1621735 w 4610101"/>
              <a:gd name="connsiteY3002" fmla="*/ 3512180 h 6557032"/>
              <a:gd name="connsiteX3003" fmla="*/ 1607158 w 4610101"/>
              <a:gd name="connsiteY3003" fmla="*/ 3524935 h 6557032"/>
              <a:gd name="connsiteX3004" fmla="*/ 1598047 w 4610101"/>
              <a:gd name="connsiteY3004" fmla="*/ 3510358 h 6557032"/>
              <a:gd name="connsiteX3005" fmla="*/ 1581647 w 4610101"/>
              <a:gd name="connsiteY3005" fmla="*/ 3501247 h 6557032"/>
              <a:gd name="connsiteX3006" fmla="*/ 3731812 w 4610101"/>
              <a:gd name="connsiteY3006" fmla="*/ 3488491 h 6557032"/>
              <a:gd name="connsiteX3007" fmla="*/ 3739100 w 4610101"/>
              <a:gd name="connsiteY3007" fmla="*/ 3510358 h 6557032"/>
              <a:gd name="connsiteX3008" fmla="*/ 3762789 w 4610101"/>
              <a:gd name="connsiteY3008" fmla="*/ 3510358 h 6557032"/>
              <a:gd name="connsiteX3009" fmla="*/ 3755500 w 4610101"/>
              <a:gd name="connsiteY3009" fmla="*/ 3495780 h 6557032"/>
              <a:gd name="connsiteX3010" fmla="*/ 3793766 w 4610101"/>
              <a:gd name="connsiteY3010" fmla="*/ 3534047 h 6557032"/>
              <a:gd name="connsiteX3011" fmla="*/ 3771900 w 4610101"/>
              <a:gd name="connsiteY3011" fmla="*/ 3534047 h 6557032"/>
              <a:gd name="connsiteX3012" fmla="*/ 3771900 w 4610101"/>
              <a:gd name="connsiteY3012" fmla="*/ 3519469 h 6557032"/>
              <a:gd name="connsiteX3013" fmla="*/ 3740923 w 4610101"/>
              <a:gd name="connsiteY3013" fmla="*/ 3526758 h 6557032"/>
              <a:gd name="connsiteX3014" fmla="*/ 3726345 w 4610101"/>
              <a:gd name="connsiteY3014" fmla="*/ 3519469 h 6557032"/>
              <a:gd name="connsiteX3015" fmla="*/ 3498574 w 4610101"/>
              <a:gd name="connsiteY3015" fmla="*/ 3488491 h 6557032"/>
              <a:gd name="connsiteX3016" fmla="*/ 3498574 w 4610101"/>
              <a:gd name="connsiteY3016" fmla="*/ 3510357 h 6557032"/>
              <a:gd name="connsiteX3017" fmla="*/ 3520440 w 4610101"/>
              <a:gd name="connsiteY3017" fmla="*/ 3488491 h 6557032"/>
              <a:gd name="connsiteX3018" fmla="*/ 2753305 w 4610101"/>
              <a:gd name="connsiteY3018" fmla="*/ 3488491 h 6557032"/>
              <a:gd name="connsiteX3019" fmla="*/ 2742372 w 4610101"/>
              <a:gd name="connsiteY3019" fmla="*/ 3499424 h 6557032"/>
              <a:gd name="connsiteX3020" fmla="*/ 2727795 w 4610101"/>
              <a:gd name="connsiteY3020" fmla="*/ 3506713 h 6557032"/>
              <a:gd name="connsiteX3021" fmla="*/ 2727795 w 4610101"/>
              <a:gd name="connsiteY3021" fmla="*/ 3521290 h 6557032"/>
              <a:gd name="connsiteX3022" fmla="*/ 2722328 w 4610101"/>
              <a:gd name="connsiteY3022" fmla="*/ 3526757 h 6557032"/>
              <a:gd name="connsiteX3023" fmla="*/ 2713217 w 4610101"/>
              <a:gd name="connsiteY3023" fmla="*/ 3521290 h 6557032"/>
              <a:gd name="connsiteX3024" fmla="*/ 2713217 w 4610101"/>
              <a:gd name="connsiteY3024" fmla="*/ 3543156 h 6557032"/>
              <a:gd name="connsiteX3025" fmla="*/ 2705929 w 4610101"/>
              <a:gd name="connsiteY3025" fmla="*/ 3543156 h 6557032"/>
              <a:gd name="connsiteX3026" fmla="*/ 2691351 w 4610101"/>
              <a:gd name="connsiteY3026" fmla="*/ 3528579 h 6557032"/>
              <a:gd name="connsiteX3027" fmla="*/ 2691351 w 4610101"/>
              <a:gd name="connsiteY3027" fmla="*/ 3543156 h 6557032"/>
              <a:gd name="connsiteX3028" fmla="*/ 2705929 w 4610101"/>
              <a:gd name="connsiteY3028" fmla="*/ 3543156 h 6557032"/>
              <a:gd name="connsiteX3029" fmla="*/ 2684063 w 4610101"/>
              <a:gd name="connsiteY3029" fmla="*/ 3550445 h 6557032"/>
              <a:gd name="connsiteX3030" fmla="*/ 2684063 w 4610101"/>
              <a:gd name="connsiteY3030" fmla="*/ 3570489 h 6557032"/>
              <a:gd name="connsiteX3031" fmla="*/ 2709573 w 4610101"/>
              <a:gd name="connsiteY3031" fmla="*/ 3581422 h 6557032"/>
              <a:gd name="connsiteX3032" fmla="*/ 2727795 w 4610101"/>
              <a:gd name="connsiteY3032" fmla="*/ 3566844 h 6557032"/>
              <a:gd name="connsiteX3033" fmla="*/ 2711395 w 4610101"/>
              <a:gd name="connsiteY3033" fmla="*/ 3544978 h 6557032"/>
              <a:gd name="connsiteX3034" fmla="*/ 2718684 w 4610101"/>
              <a:gd name="connsiteY3034" fmla="*/ 3539512 h 6557032"/>
              <a:gd name="connsiteX3035" fmla="*/ 2749661 w 4610101"/>
              <a:gd name="connsiteY3035" fmla="*/ 3544978 h 6557032"/>
              <a:gd name="connsiteX3036" fmla="*/ 2747839 w 4610101"/>
              <a:gd name="connsiteY3036" fmla="*/ 3523112 h 6557032"/>
              <a:gd name="connsiteX3037" fmla="*/ 2742372 w 4610101"/>
              <a:gd name="connsiteY3037" fmla="*/ 3514001 h 6557032"/>
              <a:gd name="connsiteX3038" fmla="*/ 2742372 w 4610101"/>
              <a:gd name="connsiteY3038" fmla="*/ 3499424 h 6557032"/>
              <a:gd name="connsiteX3039" fmla="*/ 2749661 w 4610101"/>
              <a:gd name="connsiteY3039" fmla="*/ 3506713 h 6557032"/>
              <a:gd name="connsiteX3040" fmla="*/ 2764238 w 4610101"/>
              <a:gd name="connsiteY3040" fmla="*/ 3499424 h 6557032"/>
              <a:gd name="connsiteX3041" fmla="*/ 2773349 w 4610101"/>
              <a:gd name="connsiteY3041" fmla="*/ 3515824 h 6557032"/>
              <a:gd name="connsiteX3042" fmla="*/ 2786104 w 4610101"/>
              <a:gd name="connsiteY3042" fmla="*/ 3501246 h 6557032"/>
              <a:gd name="connsiteX3043" fmla="*/ 2778816 w 4610101"/>
              <a:gd name="connsiteY3043" fmla="*/ 3492135 h 6557032"/>
              <a:gd name="connsiteX3044" fmla="*/ 2764238 w 4610101"/>
              <a:gd name="connsiteY3044" fmla="*/ 3499424 h 6557032"/>
              <a:gd name="connsiteX3045" fmla="*/ 2753305 w 4610101"/>
              <a:gd name="connsiteY3045" fmla="*/ 3488491 h 6557032"/>
              <a:gd name="connsiteX3046" fmla="*/ 2594776 w 4610101"/>
              <a:gd name="connsiteY3046" fmla="*/ 3488491 h 6557032"/>
              <a:gd name="connsiteX3047" fmla="*/ 2594776 w 4610101"/>
              <a:gd name="connsiteY3047" fmla="*/ 3510357 h 6557032"/>
              <a:gd name="connsiteX3048" fmla="*/ 2583843 w 4610101"/>
              <a:gd name="connsiteY3048" fmla="*/ 3515824 h 6557032"/>
              <a:gd name="connsiteX3049" fmla="*/ 2578377 w 4610101"/>
              <a:gd name="connsiteY3049" fmla="*/ 3524934 h 6557032"/>
              <a:gd name="connsiteX3050" fmla="*/ 2563799 w 4610101"/>
              <a:gd name="connsiteY3050" fmla="*/ 3539512 h 6557032"/>
              <a:gd name="connsiteX3051" fmla="*/ 2587487 w 4610101"/>
              <a:gd name="connsiteY3051" fmla="*/ 3539512 h 6557032"/>
              <a:gd name="connsiteX3052" fmla="*/ 2580199 w 4610101"/>
              <a:gd name="connsiteY3052" fmla="*/ 3524934 h 6557032"/>
              <a:gd name="connsiteX3053" fmla="*/ 2594776 w 4610101"/>
              <a:gd name="connsiteY3053" fmla="*/ 3524934 h 6557032"/>
              <a:gd name="connsiteX3054" fmla="*/ 2594776 w 4610101"/>
              <a:gd name="connsiteY3054" fmla="*/ 3510357 h 6557032"/>
              <a:gd name="connsiteX3055" fmla="*/ 2640330 w 4610101"/>
              <a:gd name="connsiteY3055" fmla="*/ 3503068 h 6557032"/>
              <a:gd name="connsiteX3056" fmla="*/ 2618464 w 4610101"/>
              <a:gd name="connsiteY3056" fmla="*/ 3488491 h 6557032"/>
              <a:gd name="connsiteX3057" fmla="*/ 2616642 w 4610101"/>
              <a:gd name="connsiteY3057" fmla="*/ 3504891 h 6557032"/>
              <a:gd name="connsiteX3058" fmla="*/ 2314161 w 4610101"/>
              <a:gd name="connsiteY3058" fmla="*/ 3488491 h 6557032"/>
              <a:gd name="connsiteX3059" fmla="*/ 2290473 w 4610101"/>
              <a:gd name="connsiteY3059" fmla="*/ 3490313 h 6557032"/>
              <a:gd name="connsiteX3060" fmla="*/ 2305050 w 4610101"/>
              <a:gd name="connsiteY3060" fmla="*/ 3504891 h 6557032"/>
              <a:gd name="connsiteX3061" fmla="*/ 1756576 w 4610101"/>
              <a:gd name="connsiteY3061" fmla="*/ 3488491 h 6557032"/>
              <a:gd name="connsiteX3062" fmla="*/ 1771154 w 4610101"/>
              <a:gd name="connsiteY3062" fmla="*/ 3503069 h 6557032"/>
              <a:gd name="connsiteX3063" fmla="*/ 1749287 w 4610101"/>
              <a:gd name="connsiteY3063" fmla="*/ 3503069 h 6557032"/>
              <a:gd name="connsiteX3064" fmla="*/ 1636312 w 4610101"/>
              <a:gd name="connsiteY3064" fmla="*/ 3488491 h 6557032"/>
              <a:gd name="connsiteX3065" fmla="*/ 1650889 w 4610101"/>
              <a:gd name="connsiteY3065" fmla="*/ 3497603 h 6557032"/>
              <a:gd name="connsiteX3066" fmla="*/ 1665468 w 4610101"/>
              <a:gd name="connsiteY3066" fmla="*/ 3497603 h 6557032"/>
              <a:gd name="connsiteX3067" fmla="*/ 1659056 w 4610101"/>
              <a:gd name="connsiteY3067" fmla="*/ 3510425 h 6557032"/>
              <a:gd name="connsiteX3068" fmla="*/ 1681867 w 4610101"/>
              <a:gd name="connsiteY3068" fmla="*/ 3512180 h 6557032"/>
              <a:gd name="connsiteX3069" fmla="*/ 1667289 w 4610101"/>
              <a:gd name="connsiteY3069" fmla="*/ 3524935 h 6557032"/>
              <a:gd name="connsiteX3070" fmla="*/ 1658685 w 4610101"/>
              <a:gd name="connsiteY3070" fmla="*/ 3511168 h 6557032"/>
              <a:gd name="connsiteX3071" fmla="*/ 1658178 w 4610101"/>
              <a:gd name="connsiteY3071" fmla="*/ 3512181 h 6557032"/>
              <a:gd name="connsiteX3072" fmla="*/ 1643602 w 4610101"/>
              <a:gd name="connsiteY3072" fmla="*/ 3512181 h 6557032"/>
              <a:gd name="connsiteX3073" fmla="*/ 1643602 w 4610101"/>
              <a:gd name="connsiteY3073" fmla="*/ 3526758 h 6557032"/>
              <a:gd name="connsiteX3074" fmla="*/ 1636312 w 4610101"/>
              <a:gd name="connsiteY3074" fmla="*/ 3488491 h 6557032"/>
              <a:gd name="connsiteX3075" fmla="*/ 3799233 w 4610101"/>
              <a:gd name="connsiteY3075" fmla="*/ 3483024 h 6557032"/>
              <a:gd name="connsiteX3076" fmla="*/ 3839321 w 4610101"/>
              <a:gd name="connsiteY3076" fmla="*/ 3483024 h 6557032"/>
              <a:gd name="connsiteX3077" fmla="*/ 3832032 w 4610101"/>
              <a:gd name="connsiteY3077" fmla="*/ 3510357 h 6557032"/>
              <a:gd name="connsiteX3078" fmla="*/ 3842965 w 4610101"/>
              <a:gd name="connsiteY3078" fmla="*/ 3524934 h 6557032"/>
              <a:gd name="connsiteX3079" fmla="*/ 3830210 w 4610101"/>
              <a:gd name="connsiteY3079" fmla="*/ 3541334 h 6557032"/>
              <a:gd name="connsiteX3080" fmla="*/ 3813811 w 4610101"/>
              <a:gd name="connsiteY3080" fmla="*/ 3534045 h 6557032"/>
              <a:gd name="connsiteX3081" fmla="*/ 3821099 w 4610101"/>
              <a:gd name="connsiteY3081" fmla="*/ 3521290 h 6557032"/>
              <a:gd name="connsiteX3082" fmla="*/ 3799233 w 4610101"/>
              <a:gd name="connsiteY3082" fmla="*/ 3504891 h 6557032"/>
              <a:gd name="connsiteX3083" fmla="*/ 3799233 w 4610101"/>
              <a:gd name="connsiteY3083" fmla="*/ 3483024 h 6557032"/>
              <a:gd name="connsiteX3084" fmla="*/ 3921318 w 4610101"/>
              <a:gd name="connsiteY3084" fmla="*/ 3481202 h 6557032"/>
              <a:gd name="connsiteX3085" fmla="*/ 3935896 w 4610101"/>
              <a:gd name="connsiteY3085" fmla="*/ 3481202 h 6557032"/>
              <a:gd name="connsiteX3086" fmla="*/ 3935896 w 4610101"/>
              <a:gd name="connsiteY3086" fmla="*/ 3495780 h 6557032"/>
              <a:gd name="connsiteX3087" fmla="*/ 2857169 w 4610101"/>
              <a:gd name="connsiteY3087" fmla="*/ 3481202 h 6557032"/>
              <a:gd name="connsiteX3088" fmla="*/ 2871747 w 4610101"/>
              <a:gd name="connsiteY3088" fmla="*/ 3512179 h 6557032"/>
              <a:gd name="connsiteX3089" fmla="*/ 2857169 w 4610101"/>
              <a:gd name="connsiteY3089" fmla="*/ 3481202 h 6557032"/>
              <a:gd name="connsiteX3090" fmla="*/ 3651636 w 4610101"/>
              <a:gd name="connsiteY3090" fmla="*/ 3479380 h 6557032"/>
              <a:gd name="connsiteX3091" fmla="*/ 3664392 w 4610101"/>
              <a:gd name="connsiteY3091" fmla="*/ 3495781 h 6557032"/>
              <a:gd name="connsiteX3092" fmla="*/ 3649814 w 4610101"/>
              <a:gd name="connsiteY3092" fmla="*/ 3503070 h 6557032"/>
              <a:gd name="connsiteX3093" fmla="*/ 2368827 w 4610101"/>
              <a:gd name="connsiteY3093" fmla="*/ 3479380 h 6557032"/>
              <a:gd name="connsiteX3094" fmla="*/ 2383404 w 4610101"/>
              <a:gd name="connsiteY3094" fmla="*/ 3517646 h 6557032"/>
              <a:gd name="connsiteX3095" fmla="*/ 2388871 w 4610101"/>
              <a:gd name="connsiteY3095" fmla="*/ 3510357 h 6557032"/>
              <a:gd name="connsiteX3096" fmla="*/ 2383404 w 4610101"/>
              <a:gd name="connsiteY3096" fmla="*/ 3479380 h 6557032"/>
              <a:gd name="connsiteX3097" fmla="*/ 3906742 w 4610101"/>
              <a:gd name="connsiteY3097" fmla="*/ 3473913 h 6557032"/>
              <a:gd name="connsiteX3098" fmla="*/ 3912209 w 4610101"/>
              <a:gd name="connsiteY3098" fmla="*/ 3486669 h 6557032"/>
              <a:gd name="connsiteX3099" fmla="*/ 3906742 w 4610101"/>
              <a:gd name="connsiteY3099" fmla="*/ 3493957 h 6557032"/>
              <a:gd name="connsiteX3100" fmla="*/ 3875765 w 4610101"/>
              <a:gd name="connsiteY3100" fmla="*/ 3488491 h 6557032"/>
              <a:gd name="connsiteX3101" fmla="*/ 3875765 w 4610101"/>
              <a:gd name="connsiteY3101" fmla="*/ 3481202 h 6557032"/>
              <a:gd name="connsiteX3102" fmla="*/ 3476708 w 4610101"/>
              <a:gd name="connsiteY3102" fmla="*/ 3473913 h 6557032"/>
              <a:gd name="connsiteX3103" fmla="*/ 3476708 w 4610101"/>
              <a:gd name="connsiteY3103" fmla="*/ 3488491 h 6557032"/>
              <a:gd name="connsiteX3104" fmla="*/ 3454842 w 4610101"/>
              <a:gd name="connsiteY3104" fmla="*/ 3488491 h 6557032"/>
              <a:gd name="connsiteX3105" fmla="*/ 3462131 w 4610101"/>
              <a:gd name="connsiteY3105" fmla="*/ 3519468 h 6557032"/>
              <a:gd name="connsiteX3106" fmla="*/ 3471242 w 4610101"/>
              <a:gd name="connsiteY3106" fmla="*/ 3497602 h 6557032"/>
              <a:gd name="connsiteX3107" fmla="*/ 3476708 w 4610101"/>
              <a:gd name="connsiteY3107" fmla="*/ 3488491 h 6557032"/>
              <a:gd name="connsiteX3108" fmla="*/ 3491286 w 4610101"/>
              <a:gd name="connsiteY3108" fmla="*/ 3473913 h 6557032"/>
              <a:gd name="connsiteX3109" fmla="*/ 2246741 w 4610101"/>
              <a:gd name="connsiteY3109" fmla="*/ 3472091 h 6557032"/>
              <a:gd name="connsiteX3110" fmla="*/ 2230341 w 4610101"/>
              <a:gd name="connsiteY3110" fmla="*/ 3473913 h 6557032"/>
              <a:gd name="connsiteX3111" fmla="*/ 2244919 w 4610101"/>
              <a:gd name="connsiteY3111" fmla="*/ 3488491 h 6557032"/>
              <a:gd name="connsiteX3112" fmla="*/ 1794841 w 4610101"/>
              <a:gd name="connsiteY3112" fmla="*/ 3466625 h 6557032"/>
              <a:gd name="connsiteX3113" fmla="*/ 1816707 w 4610101"/>
              <a:gd name="connsiteY3113" fmla="*/ 3466625 h 6557032"/>
              <a:gd name="connsiteX3114" fmla="*/ 1794841 w 4610101"/>
              <a:gd name="connsiteY3114" fmla="*/ 3481203 h 6557032"/>
              <a:gd name="connsiteX3115" fmla="*/ 3059430 w 4610101"/>
              <a:gd name="connsiteY3115" fmla="*/ 3464803 h 6557032"/>
              <a:gd name="connsiteX3116" fmla="*/ 3044853 w 4610101"/>
              <a:gd name="connsiteY3116" fmla="*/ 3479380 h 6557032"/>
              <a:gd name="connsiteX3117" fmla="*/ 3068541 w 4610101"/>
              <a:gd name="connsiteY3117" fmla="*/ 3481202 h 6557032"/>
              <a:gd name="connsiteX3118" fmla="*/ 2924590 w 4610101"/>
              <a:gd name="connsiteY3118" fmla="*/ 3464803 h 6557032"/>
              <a:gd name="connsiteX3119" fmla="*/ 2910012 w 4610101"/>
              <a:gd name="connsiteY3119" fmla="*/ 3479380 h 6557032"/>
              <a:gd name="connsiteX3120" fmla="*/ 2924590 w 4610101"/>
              <a:gd name="connsiteY3120" fmla="*/ 3486669 h 6557032"/>
              <a:gd name="connsiteX3121" fmla="*/ 2933700 w 4610101"/>
              <a:gd name="connsiteY3121" fmla="*/ 3481202 h 6557032"/>
              <a:gd name="connsiteX3122" fmla="*/ 2893613 w 4610101"/>
              <a:gd name="connsiteY3122" fmla="*/ 3464803 h 6557032"/>
              <a:gd name="connsiteX3123" fmla="*/ 2879035 w 4610101"/>
              <a:gd name="connsiteY3123" fmla="*/ 3479380 h 6557032"/>
              <a:gd name="connsiteX3124" fmla="*/ 2895435 w 4610101"/>
              <a:gd name="connsiteY3124" fmla="*/ 3488491 h 6557032"/>
              <a:gd name="connsiteX3125" fmla="*/ 2532822 w 4610101"/>
              <a:gd name="connsiteY3125" fmla="*/ 3464803 h 6557032"/>
              <a:gd name="connsiteX3126" fmla="*/ 2516423 w 4610101"/>
              <a:gd name="connsiteY3126" fmla="*/ 3479380 h 6557032"/>
              <a:gd name="connsiteX3127" fmla="*/ 2541933 w 4610101"/>
              <a:gd name="connsiteY3127" fmla="*/ 3481202 h 6557032"/>
              <a:gd name="connsiteX3128" fmla="*/ 2350605 w 4610101"/>
              <a:gd name="connsiteY3128" fmla="*/ 3464803 h 6557032"/>
              <a:gd name="connsiteX3129" fmla="*/ 2336027 w 4610101"/>
              <a:gd name="connsiteY3129" fmla="*/ 3479380 h 6557032"/>
              <a:gd name="connsiteX3130" fmla="*/ 2359716 w 4610101"/>
              <a:gd name="connsiteY3130" fmla="*/ 3481202 h 6557032"/>
              <a:gd name="connsiteX3131" fmla="*/ 3997850 w 4610101"/>
              <a:gd name="connsiteY3131" fmla="*/ 3462980 h 6557032"/>
              <a:gd name="connsiteX3132" fmla="*/ 4019716 w 4610101"/>
              <a:gd name="connsiteY3132" fmla="*/ 3479381 h 6557032"/>
              <a:gd name="connsiteX3133" fmla="*/ 4005139 w 4610101"/>
              <a:gd name="connsiteY3133" fmla="*/ 3510358 h 6557032"/>
              <a:gd name="connsiteX3134" fmla="*/ 4003317 w 4610101"/>
              <a:gd name="connsiteY3134" fmla="*/ 3488492 h 6557032"/>
              <a:gd name="connsiteX3135" fmla="*/ 3988739 w 4610101"/>
              <a:gd name="connsiteY3135" fmla="*/ 3473914 h 6557032"/>
              <a:gd name="connsiteX3136" fmla="*/ 1703734 w 4610101"/>
              <a:gd name="connsiteY3136" fmla="*/ 3459336 h 6557032"/>
              <a:gd name="connsiteX3137" fmla="*/ 1703734 w 4610101"/>
              <a:gd name="connsiteY3137" fmla="*/ 3497603 h 6557032"/>
              <a:gd name="connsiteX3138" fmla="*/ 1681867 w 4610101"/>
              <a:gd name="connsiteY3138" fmla="*/ 3483025 h 6557032"/>
              <a:gd name="connsiteX3139" fmla="*/ 1665467 w 4610101"/>
              <a:gd name="connsiteY3139" fmla="*/ 3495781 h 6557032"/>
              <a:gd name="connsiteX3140" fmla="*/ 1658178 w 4610101"/>
              <a:gd name="connsiteY3140" fmla="*/ 3479381 h 6557032"/>
              <a:gd name="connsiteX3141" fmla="*/ 1687333 w 4610101"/>
              <a:gd name="connsiteY3141" fmla="*/ 3472092 h 6557032"/>
              <a:gd name="connsiteX3142" fmla="*/ 3620661 w 4610101"/>
              <a:gd name="connsiteY3142" fmla="*/ 3457515 h 6557032"/>
              <a:gd name="connsiteX3143" fmla="*/ 3620661 w 4610101"/>
              <a:gd name="connsiteY3143" fmla="*/ 3479381 h 6557032"/>
              <a:gd name="connsiteX3144" fmla="*/ 3637060 w 4610101"/>
              <a:gd name="connsiteY3144" fmla="*/ 3470271 h 6557032"/>
              <a:gd name="connsiteX3145" fmla="*/ 2993832 w 4610101"/>
              <a:gd name="connsiteY3145" fmla="*/ 3457514 h 6557032"/>
              <a:gd name="connsiteX3146" fmla="*/ 2970144 w 4610101"/>
              <a:gd name="connsiteY3146" fmla="*/ 3459336 h 6557032"/>
              <a:gd name="connsiteX3147" fmla="*/ 2984721 w 4610101"/>
              <a:gd name="connsiteY3147" fmla="*/ 3473913 h 6557032"/>
              <a:gd name="connsiteX3148" fmla="*/ 2775171 w 4610101"/>
              <a:gd name="connsiteY3148" fmla="*/ 3457514 h 6557032"/>
              <a:gd name="connsiteX3149" fmla="*/ 2775171 w 4610101"/>
              <a:gd name="connsiteY3149" fmla="*/ 3481202 h 6557032"/>
              <a:gd name="connsiteX3150" fmla="*/ 2798860 w 4610101"/>
              <a:gd name="connsiteY3150" fmla="*/ 3479380 h 6557032"/>
              <a:gd name="connsiteX3151" fmla="*/ 2751483 w 4610101"/>
              <a:gd name="connsiteY3151" fmla="*/ 3457514 h 6557032"/>
              <a:gd name="connsiteX3152" fmla="*/ 2713217 w 4610101"/>
              <a:gd name="connsiteY3152" fmla="*/ 3479380 h 6557032"/>
              <a:gd name="connsiteX3153" fmla="*/ 2751483 w 4610101"/>
              <a:gd name="connsiteY3153" fmla="*/ 3457514 h 6557032"/>
              <a:gd name="connsiteX3154" fmla="*/ 2418025 w 4610101"/>
              <a:gd name="connsiteY3154" fmla="*/ 3457514 h 6557032"/>
              <a:gd name="connsiteX3155" fmla="*/ 2403448 w 4610101"/>
              <a:gd name="connsiteY3155" fmla="*/ 3472091 h 6557032"/>
              <a:gd name="connsiteX3156" fmla="*/ 2419847 w 4610101"/>
              <a:gd name="connsiteY3156" fmla="*/ 3481202 h 6557032"/>
              <a:gd name="connsiteX3157" fmla="*/ 1612624 w 4610101"/>
              <a:gd name="connsiteY3157" fmla="*/ 3457514 h 6557032"/>
              <a:gd name="connsiteX3158" fmla="*/ 1619914 w 4610101"/>
              <a:gd name="connsiteY3158" fmla="*/ 3488492 h 6557032"/>
              <a:gd name="connsiteX3159" fmla="*/ 1598047 w 4610101"/>
              <a:gd name="connsiteY3159" fmla="*/ 3488492 h 6557032"/>
              <a:gd name="connsiteX3160" fmla="*/ 1598047 w 4610101"/>
              <a:gd name="connsiteY3160" fmla="*/ 3488491 h 6557032"/>
              <a:gd name="connsiteX3161" fmla="*/ 1598047 w 4610101"/>
              <a:gd name="connsiteY3161" fmla="*/ 3488491 h 6557032"/>
              <a:gd name="connsiteX3162" fmla="*/ 1590758 w 4610101"/>
              <a:gd name="connsiteY3162" fmla="*/ 3473915 h 6557032"/>
              <a:gd name="connsiteX3163" fmla="*/ 1576181 w 4610101"/>
              <a:gd name="connsiteY3163" fmla="*/ 3450225 h 6557032"/>
              <a:gd name="connsiteX3164" fmla="*/ 1567070 w 4610101"/>
              <a:gd name="connsiteY3164" fmla="*/ 3466625 h 6557032"/>
              <a:gd name="connsiteX3165" fmla="*/ 1550670 w 4610101"/>
              <a:gd name="connsiteY3165" fmla="*/ 3452047 h 6557032"/>
              <a:gd name="connsiteX3166" fmla="*/ 1501472 w 4610101"/>
              <a:gd name="connsiteY3166" fmla="*/ 3450225 h 6557032"/>
              <a:gd name="connsiteX3167" fmla="*/ 1490539 w 4610101"/>
              <a:gd name="connsiteY3167" fmla="*/ 3466625 h 6557032"/>
              <a:gd name="connsiteX3168" fmla="*/ 1475961 w 4610101"/>
              <a:gd name="connsiteY3168" fmla="*/ 3452047 h 6557032"/>
              <a:gd name="connsiteX3169" fmla="*/ 1146148 w 4610101"/>
              <a:gd name="connsiteY3169" fmla="*/ 3450225 h 6557032"/>
              <a:gd name="connsiteX3170" fmla="*/ 1168013 w 4610101"/>
              <a:gd name="connsiteY3170" fmla="*/ 3450225 h 6557032"/>
              <a:gd name="connsiteX3171" fmla="*/ 1168013 w 4610101"/>
              <a:gd name="connsiteY3171" fmla="*/ 3481203 h 6557032"/>
              <a:gd name="connsiteX3172" fmla="*/ 1155259 w 4610101"/>
              <a:gd name="connsiteY3172" fmla="*/ 3481203 h 6557032"/>
              <a:gd name="connsiteX3173" fmla="*/ 3815633 w 4610101"/>
              <a:gd name="connsiteY3173" fmla="*/ 3446581 h 6557032"/>
              <a:gd name="connsiteX3174" fmla="*/ 3839322 w 4610101"/>
              <a:gd name="connsiteY3174" fmla="*/ 3450227 h 6557032"/>
              <a:gd name="connsiteX3175" fmla="*/ 3835677 w 4610101"/>
              <a:gd name="connsiteY3175" fmla="*/ 3473915 h 6557032"/>
              <a:gd name="connsiteX3176" fmla="*/ 3832033 w 4610101"/>
              <a:gd name="connsiteY3176" fmla="*/ 3457515 h 6557032"/>
              <a:gd name="connsiteX3177" fmla="*/ 3801056 w 4610101"/>
              <a:gd name="connsiteY3177" fmla="*/ 3472093 h 6557032"/>
              <a:gd name="connsiteX3178" fmla="*/ 3793767 w 4610101"/>
              <a:gd name="connsiteY3178" fmla="*/ 3450227 h 6557032"/>
              <a:gd name="connsiteX3179" fmla="*/ 2532822 w 4610101"/>
              <a:gd name="connsiteY3179" fmla="*/ 3442937 h 6557032"/>
              <a:gd name="connsiteX3180" fmla="*/ 2556510 w 4610101"/>
              <a:gd name="connsiteY3180" fmla="*/ 3472091 h 6557032"/>
              <a:gd name="connsiteX3181" fmla="*/ 2571088 w 4610101"/>
              <a:gd name="connsiteY3181" fmla="*/ 3464803 h 6557032"/>
              <a:gd name="connsiteX3182" fmla="*/ 2532822 w 4610101"/>
              <a:gd name="connsiteY3182" fmla="*/ 3442937 h 6557032"/>
              <a:gd name="connsiteX3183" fmla="*/ 3770078 w 4610101"/>
              <a:gd name="connsiteY3183" fmla="*/ 3435648 h 6557032"/>
              <a:gd name="connsiteX3184" fmla="*/ 3793766 w 4610101"/>
              <a:gd name="connsiteY3184" fmla="*/ 3435648 h 6557032"/>
              <a:gd name="connsiteX3185" fmla="*/ 3793767 w 4610101"/>
              <a:gd name="connsiteY3185" fmla="*/ 3435648 h 6557032"/>
              <a:gd name="connsiteX3186" fmla="*/ 3793767 w 4610101"/>
              <a:gd name="connsiteY3186" fmla="*/ 3450226 h 6557032"/>
              <a:gd name="connsiteX3187" fmla="*/ 3779189 w 4610101"/>
              <a:gd name="connsiteY3187" fmla="*/ 3450226 h 6557032"/>
              <a:gd name="connsiteX3188" fmla="*/ 3514974 w 4610101"/>
              <a:gd name="connsiteY3188" fmla="*/ 3435648 h 6557032"/>
              <a:gd name="connsiteX3189" fmla="*/ 3502219 w 4610101"/>
              <a:gd name="connsiteY3189" fmla="*/ 3442937 h 6557032"/>
              <a:gd name="connsiteX3190" fmla="*/ 3516796 w 4610101"/>
              <a:gd name="connsiteY3190" fmla="*/ 3466625 h 6557032"/>
              <a:gd name="connsiteX3191" fmla="*/ 3545951 w 4610101"/>
              <a:gd name="connsiteY3191" fmla="*/ 3442937 h 6557032"/>
              <a:gd name="connsiteX3192" fmla="*/ 3514974 w 4610101"/>
              <a:gd name="connsiteY3192" fmla="*/ 3435648 h 6557032"/>
              <a:gd name="connsiteX3193" fmla="*/ 2993832 w 4610101"/>
              <a:gd name="connsiteY3193" fmla="*/ 3435648 h 6557032"/>
              <a:gd name="connsiteX3194" fmla="*/ 2993832 w 4610101"/>
              <a:gd name="connsiteY3194" fmla="*/ 3450225 h 6557032"/>
              <a:gd name="connsiteX3195" fmla="*/ 3010232 w 4610101"/>
              <a:gd name="connsiteY3195" fmla="*/ 3448403 h 6557032"/>
              <a:gd name="connsiteX3196" fmla="*/ 2390693 w 4610101"/>
              <a:gd name="connsiteY3196" fmla="*/ 3435648 h 6557032"/>
              <a:gd name="connsiteX3197" fmla="*/ 2381582 w 4610101"/>
              <a:gd name="connsiteY3197" fmla="*/ 3450225 h 6557032"/>
              <a:gd name="connsiteX3198" fmla="*/ 2407092 w 4610101"/>
              <a:gd name="connsiteY3198" fmla="*/ 3448403 h 6557032"/>
              <a:gd name="connsiteX3199" fmla="*/ 2818903 w 4610101"/>
              <a:gd name="connsiteY3199" fmla="*/ 3433826 h 6557032"/>
              <a:gd name="connsiteX3200" fmla="*/ 2802504 w 4610101"/>
              <a:gd name="connsiteY3200" fmla="*/ 3448403 h 6557032"/>
              <a:gd name="connsiteX3201" fmla="*/ 2828014 w 4610101"/>
              <a:gd name="connsiteY3201" fmla="*/ 3450225 h 6557032"/>
              <a:gd name="connsiteX3202" fmla="*/ 830911 w 4610101"/>
              <a:gd name="connsiteY3202" fmla="*/ 3433825 h 6557032"/>
              <a:gd name="connsiteX3203" fmla="*/ 843667 w 4610101"/>
              <a:gd name="connsiteY3203" fmla="*/ 3450226 h 6557032"/>
              <a:gd name="connsiteX3204" fmla="*/ 829089 w 4610101"/>
              <a:gd name="connsiteY3204" fmla="*/ 3459337 h 6557032"/>
              <a:gd name="connsiteX3205" fmla="*/ 3318179 w 4610101"/>
              <a:gd name="connsiteY3205" fmla="*/ 3428359 h 6557032"/>
              <a:gd name="connsiteX3206" fmla="*/ 3318179 w 4610101"/>
              <a:gd name="connsiteY3206" fmla="*/ 3450225 h 6557032"/>
              <a:gd name="connsiteX3207" fmla="*/ 3332756 w 4610101"/>
              <a:gd name="connsiteY3207" fmla="*/ 3450225 h 6557032"/>
              <a:gd name="connsiteX3208" fmla="*/ 3332756 w 4610101"/>
              <a:gd name="connsiteY3208" fmla="*/ 3493957 h 6557032"/>
              <a:gd name="connsiteX3209" fmla="*/ 3354623 w 4610101"/>
              <a:gd name="connsiteY3209" fmla="*/ 3493957 h 6557032"/>
              <a:gd name="connsiteX3210" fmla="*/ 3354623 w 4610101"/>
              <a:gd name="connsiteY3210" fmla="*/ 3457514 h 6557032"/>
              <a:gd name="connsiteX3211" fmla="*/ 3340045 w 4610101"/>
              <a:gd name="connsiteY3211" fmla="*/ 3450225 h 6557032"/>
              <a:gd name="connsiteX3212" fmla="*/ 3318179 w 4610101"/>
              <a:gd name="connsiteY3212" fmla="*/ 3428359 h 6557032"/>
              <a:gd name="connsiteX3213" fmla="*/ 3258047 w 4610101"/>
              <a:gd name="connsiteY3213" fmla="*/ 3428359 h 6557032"/>
              <a:gd name="connsiteX3214" fmla="*/ 3241648 w 4610101"/>
              <a:gd name="connsiteY3214" fmla="*/ 3430181 h 6557032"/>
              <a:gd name="connsiteX3215" fmla="*/ 3256225 w 4610101"/>
              <a:gd name="connsiteY3215" fmla="*/ 3444759 h 6557032"/>
              <a:gd name="connsiteX3216" fmla="*/ 2691351 w 4610101"/>
              <a:gd name="connsiteY3216" fmla="*/ 3428359 h 6557032"/>
              <a:gd name="connsiteX3217" fmla="*/ 2676774 w 4610101"/>
              <a:gd name="connsiteY3217" fmla="*/ 3450225 h 6557032"/>
              <a:gd name="connsiteX3218" fmla="*/ 2691351 w 4610101"/>
              <a:gd name="connsiteY3218" fmla="*/ 3450225 h 6557032"/>
              <a:gd name="connsiteX3219" fmla="*/ 2510956 w 4610101"/>
              <a:gd name="connsiteY3219" fmla="*/ 3428359 h 6557032"/>
              <a:gd name="connsiteX3220" fmla="*/ 2510956 w 4610101"/>
              <a:gd name="connsiteY3220" fmla="*/ 3442937 h 6557032"/>
              <a:gd name="connsiteX3221" fmla="*/ 2525534 w 4610101"/>
              <a:gd name="connsiteY3221" fmla="*/ 3428359 h 6557032"/>
              <a:gd name="connsiteX3222" fmla="*/ 3708125 w 4610101"/>
              <a:gd name="connsiteY3222" fmla="*/ 3426537 h 6557032"/>
              <a:gd name="connsiteX3223" fmla="*/ 3702659 w 4610101"/>
              <a:gd name="connsiteY3223" fmla="*/ 3459337 h 6557032"/>
              <a:gd name="connsiteX3224" fmla="*/ 3686259 w 4610101"/>
              <a:gd name="connsiteY3224" fmla="*/ 3448404 h 6557032"/>
              <a:gd name="connsiteX3225" fmla="*/ 1346587 w 4610101"/>
              <a:gd name="connsiteY3225" fmla="*/ 3422210 h 6557032"/>
              <a:gd name="connsiteX3226" fmla="*/ 1370276 w 4610101"/>
              <a:gd name="connsiteY3226" fmla="*/ 3428360 h 6557032"/>
              <a:gd name="connsiteX3227" fmla="*/ 1348410 w 4610101"/>
              <a:gd name="connsiteY3227" fmla="*/ 3435649 h 6557032"/>
              <a:gd name="connsiteX3228" fmla="*/ 1348410 w 4610101"/>
              <a:gd name="connsiteY3228" fmla="*/ 3450226 h 6557032"/>
              <a:gd name="connsiteX3229" fmla="*/ 1333831 w 4610101"/>
              <a:gd name="connsiteY3229" fmla="*/ 3450226 h 6557032"/>
              <a:gd name="connsiteX3230" fmla="*/ 1346587 w 4610101"/>
              <a:gd name="connsiteY3230" fmla="*/ 3422210 h 6557032"/>
              <a:gd name="connsiteX3231" fmla="*/ 3952297 w 4610101"/>
              <a:gd name="connsiteY3231" fmla="*/ 3421070 h 6557032"/>
              <a:gd name="connsiteX3232" fmla="*/ 3943186 w 4610101"/>
              <a:gd name="connsiteY3232" fmla="*/ 3444760 h 6557032"/>
              <a:gd name="connsiteX3233" fmla="*/ 3926786 w 4610101"/>
              <a:gd name="connsiteY3233" fmla="*/ 3430182 h 6557032"/>
              <a:gd name="connsiteX3234" fmla="*/ 3793766 w 4610101"/>
              <a:gd name="connsiteY3234" fmla="*/ 3421070 h 6557032"/>
              <a:gd name="connsiteX3235" fmla="*/ 3810166 w 4610101"/>
              <a:gd name="connsiteY3235" fmla="*/ 3422893 h 6557032"/>
              <a:gd name="connsiteX3236" fmla="*/ 3793766 w 4610101"/>
              <a:gd name="connsiteY3236" fmla="*/ 3435648 h 6557032"/>
              <a:gd name="connsiteX3237" fmla="*/ 3770078 w 4610101"/>
              <a:gd name="connsiteY3237" fmla="*/ 3421070 h 6557032"/>
              <a:gd name="connsiteX3238" fmla="*/ 3770078 w 4610101"/>
              <a:gd name="connsiteY3238" fmla="*/ 3435648 h 6557032"/>
              <a:gd name="connsiteX3239" fmla="*/ 3770078 w 4610101"/>
              <a:gd name="connsiteY3239" fmla="*/ 3435649 h 6557032"/>
              <a:gd name="connsiteX3240" fmla="*/ 3755501 w 4610101"/>
              <a:gd name="connsiteY3240" fmla="*/ 3442937 h 6557032"/>
              <a:gd name="connsiteX3241" fmla="*/ 3748212 w 4610101"/>
              <a:gd name="connsiteY3241" fmla="*/ 3428360 h 6557032"/>
              <a:gd name="connsiteX3242" fmla="*/ 594028 w 4610101"/>
              <a:gd name="connsiteY3242" fmla="*/ 3421070 h 6557032"/>
              <a:gd name="connsiteX3243" fmla="*/ 612250 w 4610101"/>
              <a:gd name="connsiteY3243" fmla="*/ 3422893 h 6557032"/>
              <a:gd name="connsiteX3244" fmla="*/ 595850 w 4610101"/>
              <a:gd name="connsiteY3244" fmla="*/ 3437470 h 6557032"/>
              <a:gd name="connsiteX3245" fmla="*/ 2645797 w 4610101"/>
              <a:gd name="connsiteY3245" fmla="*/ 3417426 h 6557032"/>
              <a:gd name="connsiteX3246" fmla="*/ 2623931 w 4610101"/>
              <a:gd name="connsiteY3246" fmla="*/ 3426537 h 6557032"/>
              <a:gd name="connsiteX3247" fmla="*/ 2640330 w 4610101"/>
              <a:gd name="connsiteY3247" fmla="*/ 3442937 h 6557032"/>
              <a:gd name="connsiteX3248" fmla="*/ 3296313 w 4610101"/>
              <a:gd name="connsiteY3248" fmla="*/ 3413782 h 6557032"/>
              <a:gd name="connsiteX3249" fmla="*/ 3296313 w 4610101"/>
              <a:gd name="connsiteY3249" fmla="*/ 3428359 h 6557032"/>
              <a:gd name="connsiteX3250" fmla="*/ 3310890 w 4610101"/>
              <a:gd name="connsiteY3250" fmla="*/ 3413782 h 6557032"/>
              <a:gd name="connsiteX3251" fmla="*/ 3219782 w 4610101"/>
              <a:gd name="connsiteY3251" fmla="*/ 3413782 h 6557032"/>
              <a:gd name="connsiteX3252" fmla="*/ 3219782 w 4610101"/>
              <a:gd name="connsiteY3252" fmla="*/ 3428359 h 6557032"/>
              <a:gd name="connsiteX3253" fmla="*/ 3234359 w 4610101"/>
              <a:gd name="connsiteY3253" fmla="*/ 3413782 h 6557032"/>
              <a:gd name="connsiteX3254" fmla="*/ 2080923 w 4610101"/>
              <a:gd name="connsiteY3254" fmla="*/ 3406493 h 6557032"/>
              <a:gd name="connsiteX3255" fmla="*/ 2042657 w 4610101"/>
              <a:gd name="connsiteY3255" fmla="*/ 3428359 h 6557032"/>
              <a:gd name="connsiteX3256" fmla="*/ 2028080 w 4610101"/>
              <a:gd name="connsiteY3256" fmla="*/ 3432004 h 6557032"/>
              <a:gd name="connsiteX3257" fmla="*/ 2004392 w 4610101"/>
              <a:gd name="connsiteY3257" fmla="*/ 3430181 h 6557032"/>
              <a:gd name="connsiteX3258" fmla="*/ 2020791 w 4610101"/>
              <a:gd name="connsiteY3258" fmla="*/ 3452047 h 6557032"/>
              <a:gd name="connsiteX3259" fmla="*/ 2033546 w 4610101"/>
              <a:gd name="connsiteY3259" fmla="*/ 3446581 h 6557032"/>
              <a:gd name="connsiteX3260" fmla="*/ 2049946 w 4610101"/>
              <a:gd name="connsiteY3260" fmla="*/ 3450225 h 6557032"/>
              <a:gd name="connsiteX3261" fmla="*/ 2088212 w 4610101"/>
              <a:gd name="connsiteY3261" fmla="*/ 3457514 h 6557032"/>
              <a:gd name="connsiteX3262" fmla="*/ 2064524 w 4610101"/>
              <a:gd name="connsiteY3262" fmla="*/ 3466625 h 6557032"/>
              <a:gd name="connsiteX3263" fmla="*/ 2049946 w 4610101"/>
              <a:gd name="connsiteY3263" fmla="*/ 3459336 h 6557032"/>
              <a:gd name="connsiteX3264" fmla="*/ 2018969 w 4610101"/>
              <a:gd name="connsiteY3264" fmla="*/ 3473913 h 6557032"/>
              <a:gd name="connsiteX3265" fmla="*/ 2049946 w 4610101"/>
              <a:gd name="connsiteY3265" fmla="*/ 3481202 h 6557032"/>
              <a:gd name="connsiteX3266" fmla="*/ 2071812 w 4610101"/>
              <a:gd name="connsiteY3266" fmla="*/ 3495780 h 6557032"/>
              <a:gd name="connsiteX3267" fmla="*/ 2102790 w 4610101"/>
              <a:gd name="connsiteY3267" fmla="*/ 3481202 h 6557032"/>
              <a:gd name="connsiteX3268" fmla="*/ 2097323 w 4610101"/>
              <a:gd name="connsiteY3268" fmla="*/ 3452047 h 6557032"/>
              <a:gd name="connsiteX3269" fmla="*/ 2111900 w 4610101"/>
              <a:gd name="connsiteY3269" fmla="*/ 3433826 h 6557032"/>
              <a:gd name="connsiteX3270" fmla="*/ 2080923 w 4610101"/>
              <a:gd name="connsiteY3270" fmla="*/ 3428359 h 6557032"/>
              <a:gd name="connsiteX3271" fmla="*/ 2080923 w 4610101"/>
              <a:gd name="connsiteY3271" fmla="*/ 3406493 h 6557032"/>
              <a:gd name="connsiteX3272" fmla="*/ 2006214 w 4610101"/>
              <a:gd name="connsiteY3272" fmla="*/ 3406493 h 6557032"/>
              <a:gd name="connsiteX3273" fmla="*/ 1975237 w 4610101"/>
              <a:gd name="connsiteY3273" fmla="*/ 3421071 h 6557032"/>
              <a:gd name="connsiteX3274" fmla="*/ 2006214 w 4610101"/>
              <a:gd name="connsiteY3274" fmla="*/ 3406493 h 6557032"/>
              <a:gd name="connsiteX3275" fmla="*/ 1665467 w 4610101"/>
              <a:gd name="connsiteY3275" fmla="*/ 3406493 h 6557032"/>
              <a:gd name="connsiteX3276" fmla="*/ 1665467 w 4610101"/>
              <a:gd name="connsiteY3276" fmla="*/ 3421071 h 6557032"/>
              <a:gd name="connsiteX3277" fmla="*/ 1681867 w 4610101"/>
              <a:gd name="connsiteY3277" fmla="*/ 3419248 h 6557032"/>
              <a:gd name="connsiteX3278" fmla="*/ 1536092 w 4610101"/>
              <a:gd name="connsiteY3278" fmla="*/ 3406493 h 6557032"/>
              <a:gd name="connsiteX3279" fmla="*/ 1559781 w 4610101"/>
              <a:gd name="connsiteY3279" fmla="*/ 3426538 h 6557032"/>
              <a:gd name="connsiteX3280" fmla="*/ 1543381 w 4610101"/>
              <a:gd name="connsiteY3280" fmla="*/ 3435649 h 6557032"/>
              <a:gd name="connsiteX3281" fmla="*/ 3445731 w 4610101"/>
              <a:gd name="connsiteY3281" fmla="*/ 3404671 h 6557032"/>
              <a:gd name="connsiteX3282" fmla="*/ 3445731 w 4610101"/>
              <a:gd name="connsiteY3282" fmla="*/ 3419248 h 6557032"/>
              <a:gd name="connsiteX3283" fmla="*/ 3467597 w 4610101"/>
              <a:gd name="connsiteY3283" fmla="*/ 3426537 h 6557032"/>
              <a:gd name="connsiteX3284" fmla="*/ 3476708 w 4610101"/>
              <a:gd name="connsiteY3284" fmla="*/ 3410137 h 6557032"/>
              <a:gd name="connsiteX3285" fmla="*/ 1920572 w 4610101"/>
              <a:gd name="connsiteY3285" fmla="*/ 3404671 h 6557032"/>
              <a:gd name="connsiteX3286" fmla="*/ 1927861 w 4610101"/>
              <a:gd name="connsiteY3286" fmla="*/ 3435648 h 6557032"/>
              <a:gd name="connsiteX3287" fmla="*/ 1946083 w 4610101"/>
              <a:gd name="connsiteY3287" fmla="*/ 3424715 h 6557032"/>
              <a:gd name="connsiteX3288" fmla="*/ 1583469 w 4610101"/>
              <a:gd name="connsiteY3288" fmla="*/ 3404671 h 6557032"/>
              <a:gd name="connsiteX3289" fmla="*/ 1605336 w 4610101"/>
              <a:gd name="connsiteY3289" fmla="*/ 3428360 h 6557032"/>
              <a:gd name="connsiteX3290" fmla="*/ 1574358 w 4610101"/>
              <a:gd name="connsiteY3290" fmla="*/ 3419249 h 6557032"/>
              <a:gd name="connsiteX3291" fmla="*/ 2937345 w 4610101"/>
              <a:gd name="connsiteY3291" fmla="*/ 3402849 h 6557032"/>
              <a:gd name="connsiteX3292" fmla="*/ 2922767 w 4610101"/>
              <a:gd name="connsiteY3292" fmla="*/ 3417426 h 6557032"/>
              <a:gd name="connsiteX3293" fmla="*/ 2948278 w 4610101"/>
              <a:gd name="connsiteY3293" fmla="*/ 3419248 h 6557032"/>
              <a:gd name="connsiteX3294" fmla="*/ 3394710 w 4610101"/>
              <a:gd name="connsiteY3294" fmla="*/ 3399205 h 6557032"/>
              <a:gd name="connsiteX3295" fmla="*/ 3363734 w 4610101"/>
              <a:gd name="connsiteY3295" fmla="*/ 3421071 h 6557032"/>
              <a:gd name="connsiteX3296" fmla="*/ 3372844 w 4610101"/>
              <a:gd name="connsiteY3296" fmla="*/ 3430181 h 6557032"/>
              <a:gd name="connsiteX3297" fmla="*/ 3394710 w 4610101"/>
              <a:gd name="connsiteY3297" fmla="*/ 3399205 h 6557032"/>
              <a:gd name="connsiteX3298" fmla="*/ 2751483 w 4610101"/>
              <a:gd name="connsiteY3298" fmla="*/ 3397382 h 6557032"/>
              <a:gd name="connsiteX3299" fmla="*/ 2698640 w 4610101"/>
              <a:gd name="connsiteY3299" fmla="*/ 3435648 h 6557032"/>
              <a:gd name="connsiteX3300" fmla="*/ 2707751 w 4610101"/>
              <a:gd name="connsiteY3300" fmla="*/ 3444759 h 6557032"/>
              <a:gd name="connsiteX3301" fmla="*/ 2720506 w 4610101"/>
              <a:gd name="connsiteY3301" fmla="*/ 3428359 h 6557032"/>
              <a:gd name="connsiteX3302" fmla="*/ 2751483 w 4610101"/>
              <a:gd name="connsiteY3302" fmla="*/ 3397382 h 6557032"/>
              <a:gd name="connsiteX3303" fmla="*/ 2133766 w 4610101"/>
              <a:gd name="connsiteY3303" fmla="*/ 3397382 h 6557032"/>
              <a:gd name="connsiteX3304" fmla="*/ 2110078 w 4610101"/>
              <a:gd name="connsiteY3304" fmla="*/ 3399205 h 6557032"/>
              <a:gd name="connsiteX3305" fmla="*/ 2124655 w 4610101"/>
              <a:gd name="connsiteY3305" fmla="*/ 3413782 h 6557032"/>
              <a:gd name="connsiteX3306" fmla="*/ 3837498 w 4610101"/>
              <a:gd name="connsiteY3306" fmla="*/ 3388271 h 6557032"/>
              <a:gd name="connsiteX3307" fmla="*/ 3837498 w 4610101"/>
              <a:gd name="connsiteY3307" fmla="*/ 3413783 h 6557032"/>
              <a:gd name="connsiteX3308" fmla="*/ 3821098 w 4610101"/>
              <a:gd name="connsiteY3308" fmla="*/ 3404672 h 6557032"/>
              <a:gd name="connsiteX3309" fmla="*/ 3671681 w 4610101"/>
              <a:gd name="connsiteY3309" fmla="*/ 3388271 h 6557032"/>
              <a:gd name="connsiteX3310" fmla="*/ 3671681 w 4610101"/>
              <a:gd name="connsiteY3310" fmla="*/ 3413783 h 6557032"/>
              <a:gd name="connsiteX3311" fmla="*/ 3655281 w 4610101"/>
              <a:gd name="connsiteY3311" fmla="*/ 3404672 h 6557032"/>
              <a:gd name="connsiteX3312" fmla="*/ 3852076 w 4610101"/>
              <a:gd name="connsiteY3312" fmla="*/ 3384627 h 6557032"/>
              <a:gd name="connsiteX3313" fmla="*/ 3883053 w 4610101"/>
              <a:gd name="connsiteY3313" fmla="*/ 3390095 h 6557032"/>
              <a:gd name="connsiteX3314" fmla="*/ 3852076 w 4610101"/>
              <a:gd name="connsiteY3314" fmla="*/ 3406494 h 6557032"/>
              <a:gd name="connsiteX3315" fmla="*/ 3791945 w 4610101"/>
              <a:gd name="connsiteY3315" fmla="*/ 3382805 h 6557032"/>
              <a:gd name="connsiteX3316" fmla="*/ 3815633 w 4610101"/>
              <a:gd name="connsiteY3316" fmla="*/ 3390095 h 6557032"/>
              <a:gd name="connsiteX3317" fmla="*/ 3799234 w 4610101"/>
              <a:gd name="connsiteY3317" fmla="*/ 3413783 h 6557032"/>
              <a:gd name="connsiteX3318" fmla="*/ 3551417 w 4610101"/>
              <a:gd name="connsiteY3318" fmla="*/ 3382805 h 6557032"/>
              <a:gd name="connsiteX3319" fmla="*/ 3567816 w 4610101"/>
              <a:gd name="connsiteY3319" fmla="*/ 3390095 h 6557032"/>
              <a:gd name="connsiteX3320" fmla="*/ 3567816 w 4610101"/>
              <a:gd name="connsiteY3320" fmla="*/ 3413783 h 6557032"/>
              <a:gd name="connsiteX3321" fmla="*/ 3565995 w 4610101"/>
              <a:gd name="connsiteY3321" fmla="*/ 3413783 h 6557032"/>
              <a:gd name="connsiteX3322" fmla="*/ 3551417 w 4610101"/>
              <a:gd name="connsiteY3322" fmla="*/ 3413783 h 6557032"/>
              <a:gd name="connsiteX3323" fmla="*/ 3547772 w 4610101"/>
              <a:gd name="connsiteY3323" fmla="*/ 3397384 h 6557032"/>
              <a:gd name="connsiteX3324" fmla="*/ 3099518 w 4610101"/>
              <a:gd name="connsiteY3324" fmla="*/ 3382805 h 6557032"/>
              <a:gd name="connsiteX3325" fmla="*/ 3099518 w 4610101"/>
              <a:gd name="connsiteY3325" fmla="*/ 3397382 h 6557032"/>
              <a:gd name="connsiteX3326" fmla="*/ 3114096 w 4610101"/>
              <a:gd name="connsiteY3326" fmla="*/ 3382805 h 6557032"/>
              <a:gd name="connsiteX3327" fmla="*/ 2888146 w 4610101"/>
              <a:gd name="connsiteY3327" fmla="*/ 3382805 h 6557032"/>
              <a:gd name="connsiteX3328" fmla="*/ 2864458 w 4610101"/>
              <a:gd name="connsiteY3328" fmla="*/ 3384627 h 6557032"/>
              <a:gd name="connsiteX3329" fmla="*/ 2879035 w 4610101"/>
              <a:gd name="connsiteY3329" fmla="*/ 3399205 h 6557032"/>
              <a:gd name="connsiteX3330" fmla="*/ 1093304 w 4610101"/>
              <a:gd name="connsiteY3330" fmla="*/ 3382805 h 6557032"/>
              <a:gd name="connsiteX3331" fmla="*/ 1107882 w 4610101"/>
              <a:gd name="connsiteY3331" fmla="*/ 3397383 h 6557032"/>
              <a:gd name="connsiteX3332" fmla="*/ 1093304 w 4610101"/>
              <a:gd name="connsiteY3332" fmla="*/ 3397383 h 6557032"/>
              <a:gd name="connsiteX3333" fmla="*/ 2961830 w 4610101"/>
              <a:gd name="connsiteY3333" fmla="*/ 3382122 h 6557032"/>
              <a:gd name="connsiteX3334" fmla="*/ 2942811 w 4610101"/>
              <a:gd name="connsiteY3334" fmla="*/ 3382805 h 6557032"/>
              <a:gd name="connsiteX3335" fmla="*/ 2964677 w 4610101"/>
              <a:gd name="connsiteY3335" fmla="*/ 3390094 h 6557032"/>
              <a:gd name="connsiteX3336" fmla="*/ 2979255 w 4610101"/>
              <a:gd name="connsiteY3336" fmla="*/ 3404671 h 6557032"/>
              <a:gd name="connsiteX3337" fmla="*/ 2961830 w 4610101"/>
              <a:gd name="connsiteY3337" fmla="*/ 3382122 h 6557032"/>
              <a:gd name="connsiteX3338" fmla="*/ 2496379 w 4610101"/>
              <a:gd name="connsiteY3338" fmla="*/ 3375516 h 6557032"/>
              <a:gd name="connsiteX3339" fmla="*/ 2496379 w 4610101"/>
              <a:gd name="connsiteY3339" fmla="*/ 3390094 h 6557032"/>
              <a:gd name="connsiteX3340" fmla="*/ 2512778 w 4610101"/>
              <a:gd name="connsiteY3340" fmla="*/ 3388271 h 6557032"/>
              <a:gd name="connsiteX3341" fmla="*/ 1900528 w 4610101"/>
              <a:gd name="connsiteY3341" fmla="*/ 3370050 h 6557032"/>
              <a:gd name="connsiteX3342" fmla="*/ 1893239 w 4610101"/>
              <a:gd name="connsiteY3342" fmla="*/ 3377338 h 6557032"/>
              <a:gd name="connsiteX3343" fmla="*/ 1913283 w 4610101"/>
              <a:gd name="connsiteY3343" fmla="*/ 3388271 h 6557032"/>
              <a:gd name="connsiteX3344" fmla="*/ 1936972 w 4610101"/>
              <a:gd name="connsiteY3344" fmla="*/ 3391916 h 6557032"/>
              <a:gd name="connsiteX3345" fmla="*/ 1900528 w 4610101"/>
              <a:gd name="connsiteY3345" fmla="*/ 3370050 h 6557032"/>
              <a:gd name="connsiteX3346" fmla="*/ 3974162 w 4610101"/>
              <a:gd name="connsiteY3346" fmla="*/ 3360969 h 6557032"/>
              <a:gd name="connsiteX3347" fmla="*/ 3996028 w 4610101"/>
              <a:gd name="connsiteY3347" fmla="*/ 3375517 h 6557032"/>
              <a:gd name="connsiteX3348" fmla="*/ 3974162 w 4610101"/>
              <a:gd name="connsiteY3348" fmla="*/ 3375517 h 6557032"/>
              <a:gd name="connsiteX3349" fmla="*/ 3733635 w 4610101"/>
              <a:gd name="connsiteY3349" fmla="*/ 3359154 h 6557032"/>
              <a:gd name="connsiteX3350" fmla="*/ 3726347 w 4610101"/>
              <a:gd name="connsiteY3350" fmla="*/ 3373732 h 6557032"/>
              <a:gd name="connsiteX3351" fmla="*/ 3748213 w 4610101"/>
              <a:gd name="connsiteY3351" fmla="*/ 3373732 h 6557032"/>
              <a:gd name="connsiteX3352" fmla="*/ 3740924 w 4610101"/>
              <a:gd name="connsiteY3352" fmla="*/ 3404672 h 6557032"/>
              <a:gd name="connsiteX3353" fmla="*/ 3733635 w 4610101"/>
              <a:gd name="connsiteY3353" fmla="*/ 3382805 h 6557032"/>
              <a:gd name="connsiteX3354" fmla="*/ 3719058 w 4610101"/>
              <a:gd name="connsiteY3354" fmla="*/ 3377339 h 6557032"/>
              <a:gd name="connsiteX3355" fmla="*/ 3709947 w 4610101"/>
              <a:gd name="connsiteY3355" fmla="*/ 3366441 h 6557032"/>
              <a:gd name="connsiteX3356" fmla="*/ 1332010 w 4610101"/>
              <a:gd name="connsiteY3356" fmla="*/ 3359140 h 6557032"/>
              <a:gd name="connsiteX3357" fmla="*/ 1333832 w 4610101"/>
              <a:gd name="connsiteY3357" fmla="*/ 3382805 h 6557032"/>
              <a:gd name="connsiteX3358" fmla="*/ 1317432 w 4610101"/>
              <a:gd name="connsiteY3358" fmla="*/ 3373719 h 6557032"/>
              <a:gd name="connsiteX3359" fmla="*/ 1747465 w 4610101"/>
              <a:gd name="connsiteY3359" fmla="*/ 3359117 h 6557032"/>
              <a:gd name="connsiteX3360" fmla="*/ 1734710 w 4610101"/>
              <a:gd name="connsiteY3360" fmla="*/ 3375516 h 6557032"/>
              <a:gd name="connsiteX3361" fmla="*/ 1756576 w 4610101"/>
              <a:gd name="connsiteY3361" fmla="*/ 3375516 h 6557032"/>
              <a:gd name="connsiteX3362" fmla="*/ 1749287 w 4610101"/>
              <a:gd name="connsiteY3362" fmla="*/ 3390094 h 6557032"/>
              <a:gd name="connsiteX3363" fmla="*/ 1772976 w 4610101"/>
              <a:gd name="connsiteY3363" fmla="*/ 3428359 h 6557032"/>
              <a:gd name="connsiteX3364" fmla="*/ 1787553 w 4610101"/>
              <a:gd name="connsiteY3364" fmla="*/ 3421071 h 6557032"/>
              <a:gd name="connsiteX3365" fmla="*/ 1802130 w 4610101"/>
              <a:gd name="connsiteY3365" fmla="*/ 3437470 h 6557032"/>
              <a:gd name="connsiteX3366" fmla="*/ 1802130 w 4610101"/>
              <a:gd name="connsiteY3366" fmla="*/ 3413782 h 6557032"/>
              <a:gd name="connsiteX3367" fmla="*/ 1787553 w 4610101"/>
              <a:gd name="connsiteY3367" fmla="*/ 3421071 h 6557032"/>
              <a:gd name="connsiteX3368" fmla="*/ 1780265 w 4610101"/>
              <a:gd name="connsiteY3368" fmla="*/ 3390094 h 6557032"/>
              <a:gd name="connsiteX3369" fmla="*/ 1802130 w 4610101"/>
              <a:gd name="connsiteY3369" fmla="*/ 3390094 h 6557032"/>
              <a:gd name="connsiteX3370" fmla="*/ 1765687 w 4610101"/>
              <a:gd name="connsiteY3370" fmla="*/ 3380983 h 6557032"/>
              <a:gd name="connsiteX3371" fmla="*/ 1756576 w 4610101"/>
              <a:gd name="connsiteY3371" fmla="*/ 3375516 h 6557032"/>
              <a:gd name="connsiteX3372" fmla="*/ 2676774 w 4610101"/>
              <a:gd name="connsiteY3372" fmla="*/ 3353650 h 6557032"/>
              <a:gd name="connsiteX3373" fmla="*/ 2653086 w 4610101"/>
              <a:gd name="connsiteY3373" fmla="*/ 3355472 h 6557032"/>
              <a:gd name="connsiteX3374" fmla="*/ 2667663 w 4610101"/>
              <a:gd name="connsiteY3374" fmla="*/ 3370050 h 6557032"/>
              <a:gd name="connsiteX3375" fmla="*/ 2806148 w 4610101"/>
              <a:gd name="connsiteY3375" fmla="*/ 3351828 h 6557032"/>
              <a:gd name="connsiteX3376" fmla="*/ 2828014 w 4610101"/>
              <a:gd name="connsiteY3376" fmla="*/ 3366405 h 6557032"/>
              <a:gd name="connsiteX3377" fmla="*/ 2828014 w 4610101"/>
              <a:gd name="connsiteY3377" fmla="*/ 3351828 h 6557032"/>
              <a:gd name="connsiteX3378" fmla="*/ 1982527 w 4610101"/>
              <a:gd name="connsiteY3378" fmla="*/ 3351828 h 6557032"/>
              <a:gd name="connsiteX3379" fmla="*/ 1958837 w 4610101"/>
              <a:gd name="connsiteY3379" fmla="*/ 3353650 h 6557032"/>
              <a:gd name="connsiteX3380" fmla="*/ 1973416 w 4610101"/>
              <a:gd name="connsiteY3380" fmla="*/ 3368228 h 6557032"/>
              <a:gd name="connsiteX3381" fmla="*/ 3181516 w 4610101"/>
              <a:gd name="connsiteY3381" fmla="*/ 3344539 h 6557032"/>
              <a:gd name="connsiteX3382" fmla="*/ 3172405 w 4610101"/>
              <a:gd name="connsiteY3382" fmla="*/ 3368228 h 6557032"/>
              <a:gd name="connsiteX3383" fmla="*/ 3165116 w 4610101"/>
              <a:gd name="connsiteY3383" fmla="*/ 3390094 h 6557032"/>
              <a:gd name="connsiteX3384" fmla="*/ 3186982 w 4610101"/>
              <a:gd name="connsiteY3384" fmla="*/ 3353650 h 6557032"/>
              <a:gd name="connsiteX3385" fmla="*/ 1822174 w 4610101"/>
              <a:gd name="connsiteY3385" fmla="*/ 3342717 h 6557032"/>
              <a:gd name="connsiteX3386" fmla="*/ 1807598 w 4610101"/>
              <a:gd name="connsiteY3386" fmla="*/ 3357294 h 6557032"/>
              <a:gd name="connsiteX3387" fmla="*/ 1823996 w 4610101"/>
              <a:gd name="connsiteY3387" fmla="*/ 3359117 h 6557032"/>
              <a:gd name="connsiteX3388" fmla="*/ 1732888 w 4610101"/>
              <a:gd name="connsiteY3388" fmla="*/ 3342717 h 6557032"/>
              <a:gd name="connsiteX3389" fmla="*/ 1718310 w 4610101"/>
              <a:gd name="connsiteY3389" fmla="*/ 3357294 h 6557032"/>
              <a:gd name="connsiteX3390" fmla="*/ 1734710 w 4610101"/>
              <a:gd name="connsiteY3390" fmla="*/ 3359117 h 6557032"/>
              <a:gd name="connsiteX3391" fmla="*/ 3618838 w 4610101"/>
              <a:gd name="connsiteY3391" fmla="*/ 3339103 h 6557032"/>
              <a:gd name="connsiteX3392" fmla="*/ 3633415 w 4610101"/>
              <a:gd name="connsiteY3392" fmla="*/ 3339103 h 6557032"/>
              <a:gd name="connsiteX3393" fmla="*/ 3664392 w 4610101"/>
              <a:gd name="connsiteY3393" fmla="*/ 3370092 h 6557032"/>
              <a:gd name="connsiteX3394" fmla="*/ 3695369 w 4610101"/>
              <a:gd name="connsiteY3394" fmla="*/ 3360983 h 6557032"/>
              <a:gd name="connsiteX3395" fmla="*/ 3709946 w 4610101"/>
              <a:gd name="connsiteY3395" fmla="*/ 3368271 h 6557032"/>
              <a:gd name="connsiteX3396" fmla="*/ 3702657 w 4610101"/>
              <a:gd name="connsiteY3396" fmla="*/ 3390094 h 6557032"/>
              <a:gd name="connsiteX3397" fmla="*/ 3717235 w 4610101"/>
              <a:gd name="connsiteY3397" fmla="*/ 3390094 h 6557032"/>
              <a:gd name="connsiteX3398" fmla="*/ 3702657 w 4610101"/>
              <a:gd name="connsiteY3398" fmla="*/ 3404672 h 6557032"/>
              <a:gd name="connsiteX3399" fmla="*/ 3688080 w 4610101"/>
              <a:gd name="connsiteY3399" fmla="*/ 3382805 h 6557032"/>
              <a:gd name="connsiteX3400" fmla="*/ 3664392 w 4610101"/>
              <a:gd name="connsiteY3400" fmla="*/ 3373738 h 6557032"/>
              <a:gd name="connsiteX3401" fmla="*/ 3647992 w 4610101"/>
              <a:gd name="connsiteY3401" fmla="*/ 3382805 h 6557032"/>
              <a:gd name="connsiteX3402" fmla="*/ 3635238 w 4610101"/>
              <a:gd name="connsiteY3402" fmla="*/ 3382805 h 6557032"/>
              <a:gd name="connsiteX3403" fmla="*/ 3635238 w 4610101"/>
              <a:gd name="connsiteY3403" fmla="*/ 3402850 h 6557032"/>
              <a:gd name="connsiteX3404" fmla="*/ 3678970 w 4610101"/>
              <a:gd name="connsiteY3404" fmla="*/ 3424716 h 6557032"/>
              <a:gd name="connsiteX3405" fmla="*/ 3673504 w 4610101"/>
              <a:gd name="connsiteY3405" fmla="*/ 3455693 h 6557032"/>
              <a:gd name="connsiteX3406" fmla="*/ 3635238 w 4610101"/>
              <a:gd name="connsiteY3406" fmla="*/ 3486670 h 6557032"/>
              <a:gd name="connsiteX3407" fmla="*/ 3633416 w 4610101"/>
              <a:gd name="connsiteY3407" fmla="*/ 3510358 h 6557032"/>
              <a:gd name="connsiteX3408" fmla="*/ 3618839 w 4610101"/>
              <a:gd name="connsiteY3408" fmla="*/ 3493959 h 6557032"/>
              <a:gd name="connsiteX3409" fmla="*/ 3604261 w 4610101"/>
              <a:gd name="connsiteY3409" fmla="*/ 3503070 h 6557032"/>
              <a:gd name="connsiteX3410" fmla="*/ 3589684 w 4610101"/>
              <a:gd name="connsiteY3410" fmla="*/ 3503070 h 6557032"/>
              <a:gd name="connsiteX3411" fmla="*/ 3604261 w 4610101"/>
              <a:gd name="connsiteY3411" fmla="*/ 3483026 h 6557032"/>
              <a:gd name="connsiteX3412" fmla="*/ 3575105 w 4610101"/>
              <a:gd name="connsiteY3412" fmla="*/ 3450227 h 6557032"/>
              <a:gd name="connsiteX3413" fmla="*/ 3596972 w 4610101"/>
              <a:gd name="connsiteY3413" fmla="*/ 3450227 h 6557032"/>
              <a:gd name="connsiteX3414" fmla="*/ 3595150 w 4610101"/>
              <a:gd name="connsiteY3414" fmla="*/ 3442938 h 6557032"/>
              <a:gd name="connsiteX3415" fmla="*/ 3573283 w 4610101"/>
              <a:gd name="connsiteY3415" fmla="*/ 3433827 h 6557032"/>
              <a:gd name="connsiteX3416" fmla="*/ 3596972 w 4610101"/>
              <a:gd name="connsiteY3416" fmla="*/ 3432005 h 6557032"/>
              <a:gd name="connsiteX3417" fmla="*/ 3580572 w 4610101"/>
              <a:gd name="connsiteY3417" fmla="*/ 3417428 h 6557032"/>
              <a:gd name="connsiteX3418" fmla="*/ 3587861 w 4610101"/>
              <a:gd name="connsiteY3418" fmla="*/ 3404673 h 6557032"/>
              <a:gd name="connsiteX3419" fmla="*/ 3575105 w 4610101"/>
              <a:gd name="connsiteY3419" fmla="*/ 3386451 h 6557032"/>
              <a:gd name="connsiteX3420" fmla="*/ 3596972 w 4610101"/>
              <a:gd name="connsiteY3420" fmla="*/ 3395562 h 6557032"/>
              <a:gd name="connsiteX3421" fmla="*/ 3618839 w 4610101"/>
              <a:gd name="connsiteY3421" fmla="*/ 3393739 h 6557032"/>
              <a:gd name="connsiteX3422" fmla="*/ 3633319 w 4610101"/>
              <a:gd name="connsiteY3422" fmla="*/ 3382476 h 6557032"/>
              <a:gd name="connsiteX3423" fmla="*/ 3624304 w 4610101"/>
              <a:gd name="connsiteY3423" fmla="*/ 3351865 h 6557032"/>
              <a:gd name="connsiteX3424" fmla="*/ 3611549 w 4610101"/>
              <a:gd name="connsiteY3424" fmla="*/ 3368271 h 6557032"/>
              <a:gd name="connsiteX3425" fmla="*/ 3575105 w 4610101"/>
              <a:gd name="connsiteY3425" fmla="*/ 3344579 h 6557032"/>
              <a:gd name="connsiteX3426" fmla="*/ 3602438 w 4610101"/>
              <a:gd name="connsiteY3426" fmla="*/ 3351865 h 6557032"/>
              <a:gd name="connsiteX3427" fmla="*/ 1684600 w 4610101"/>
              <a:gd name="connsiteY3427" fmla="*/ 3337934 h 6557032"/>
              <a:gd name="connsiteX3428" fmla="*/ 1660001 w 4610101"/>
              <a:gd name="connsiteY3428" fmla="*/ 3339073 h 6557032"/>
              <a:gd name="connsiteX3429" fmla="*/ 1681867 w 4610101"/>
              <a:gd name="connsiteY3429" fmla="*/ 3346361 h 6557032"/>
              <a:gd name="connsiteX3430" fmla="*/ 1696444 w 4610101"/>
              <a:gd name="connsiteY3430" fmla="*/ 3346361 h 6557032"/>
              <a:gd name="connsiteX3431" fmla="*/ 1689157 w 4610101"/>
              <a:gd name="connsiteY3431" fmla="*/ 3353650 h 6557032"/>
              <a:gd name="connsiteX3432" fmla="*/ 1696444 w 4610101"/>
              <a:gd name="connsiteY3432" fmla="*/ 3382805 h 6557032"/>
              <a:gd name="connsiteX3433" fmla="*/ 1721955 w 4610101"/>
              <a:gd name="connsiteY3433" fmla="*/ 3371872 h 6557032"/>
              <a:gd name="connsiteX3434" fmla="*/ 1705555 w 4610101"/>
              <a:gd name="connsiteY3434" fmla="*/ 3368228 h 6557032"/>
              <a:gd name="connsiteX3435" fmla="*/ 1712844 w 4610101"/>
              <a:gd name="connsiteY3435" fmla="*/ 3353650 h 6557032"/>
              <a:gd name="connsiteX3436" fmla="*/ 1698266 w 4610101"/>
              <a:gd name="connsiteY3436" fmla="*/ 3346361 h 6557032"/>
              <a:gd name="connsiteX3437" fmla="*/ 1684600 w 4610101"/>
              <a:gd name="connsiteY3437" fmla="*/ 3337934 h 6557032"/>
              <a:gd name="connsiteX3438" fmla="*/ 4125401 w 4610101"/>
              <a:gd name="connsiteY3438" fmla="*/ 3337265 h 6557032"/>
              <a:gd name="connsiteX3439" fmla="*/ 4139979 w 4610101"/>
              <a:gd name="connsiteY3439" fmla="*/ 3351845 h 6557032"/>
              <a:gd name="connsiteX3440" fmla="*/ 4125401 w 4610101"/>
              <a:gd name="connsiteY3440" fmla="*/ 3351845 h 6557032"/>
              <a:gd name="connsiteX3441" fmla="*/ 3008410 w 4610101"/>
              <a:gd name="connsiteY3441" fmla="*/ 3337250 h 6557032"/>
              <a:gd name="connsiteX3442" fmla="*/ 2984721 w 4610101"/>
              <a:gd name="connsiteY3442" fmla="*/ 3339073 h 6557032"/>
              <a:gd name="connsiteX3443" fmla="*/ 2999299 w 4610101"/>
              <a:gd name="connsiteY3443" fmla="*/ 3353650 h 6557032"/>
              <a:gd name="connsiteX3444" fmla="*/ 3538663 w 4610101"/>
              <a:gd name="connsiteY3444" fmla="*/ 3335459 h 6557032"/>
              <a:gd name="connsiteX3445" fmla="*/ 3567818 w 4610101"/>
              <a:gd name="connsiteY3445" fmla="*/ 3368271 h 6557032"/>
              <a:gd name="connsiteX3446" fmla="*/ 3544129 w 4610101"/>
              <a:gd name="connsiteY3446" fmla="*/ 3368271 h 6557032"/>
              <a:gd name="connsiteX3447" fmla="*/ 3551418 w 4610101"/>
              <a:gd name="connsiteY3447" fmla="*/ 3382805 h 6557032"/>
              <a:gd name="connsiteX3448" fmla="*/ 3551417 w 4610101"/>
              <a:gd name="connsiteY3448" fmla="*/ 3382805 h 6557032"/>
              <a:gd name="connsiteX3449" fmla="*/ 3536841 w 4610101"/>
              <a:gd name="connsiteY3449" fmla="*/ 3382805 h 6557032"/>
              <a:gd name="connsiteX3450" fmla="*/ 3529552 w 4610101"/>
              <a:gd name="connsiteY3450" fmla="*/ 3397382 h 6557032"/>
              <a:gd name="connsiteX3451" fmla="*/ 3522263 w 4610101"/>
              <a:gd name="connsiteY3451" fmla="*/ 3382805 h 6557032"/>
              <a:gd name="connsiteX3452" fmla="*/ 3536841 w 4610101"/>
              <a:gd name="connsiteY3452" fmla="*/ 3375516 h 6557032"/>
              <a:gd name="connsiteX3453" fmla="*/ 3529552 w 4610101"/>
              <a:gd name="connsiteY3453" fmla="*/ 3360983 h 6557032"/>
              <a:gd name="connsiteX3454" fmla="*/ 3544129 w 4610101"/>
              <a:gd name="connsiteY3454" fmla="*/ 3360983 h 6557032"/>
              <a:gd name="connsiteX3455" fmla="*/ 3859365 w 4610101"/>
              <a:gd name="connsiteY3455" fmla="*/ 3331811 h 6557032"/>
              <a:gd name="connsiteX3456" fmla="*/ 3892164 w 4610101"/>
              <a:gd name="connsiteY3456" fmla="*/ 3337277 h 6557032"/>
              <a:gd name="connsiteX3457" fmla="*/ 3883054 w 4610101"/>
              <a:gd name="connsiteY3457" fmla="*/ 3353680 h 6557032"/>
              <a:gd name="connsiteX3458" fmla="*/ 1997103 w 4610101"/>
              <a:gd name="connsiteY3458" fmla="*/ 3322673 h 6557032"/>
              <a:gd name="connsiteX3459" fmla="*/ 1973416 w 4610101"/>
              <a:gd name="connsiteY3459" fmla="*/ 3324495 h 6557032"/>
              <a:gd name="connsiteX3460" fmla="*/ 1987992 w 4610101"/>
              <a:gd name="connsiteY3460" fmla="*/ 3339073 h 6557032"/>
              <a:gd name="connsiteX3461" fmla="*/ 3979628 w 4610101"/>
              <a:gd name="connsiteY3461" fmla="*/ 3320881 h 6557032"/>
              <a:gd name="connsiteX3462" fmla="*/ 3988739 w 4610101"/>
              <a:gd name="connsiteY3462" fmla="*/ 3335459 h 6557032"/>
              <a:gd name="connsiteX3463" fmla="*/ 3981451 w 4610101"/>
              <a:gd name="connsiteY3463" fmla="*/ 3346389 h 6557032"/>
              <a:gd name="connsiteX3464" fmla="*/ 3965051 w 4610101"/>
              <a:gd name="connsiteY3464" fmla="*/ 3335459 h 6557032"/>
              <a:gd name="connsiteX3465" fmla="*/ 3644349 w 4610101"/>
              <a:gd name="connsiteY3465" fmla="*/ 3320874 h 6557032"/>
              <a:gd name="connsiteX3466" fmla="*/ 3657104 w 4610101"/>
              <a:gd name="connsiteY3466" fmla="*/ 3337270 h 6557032"/>
              <a:gd name="connsiteX3467" fmla="*/ 3635238 w 4610101"/>
              <a:gd name="connsiteY3467" fmla="*/ 3337270 h 6557032"/>
              <a:gd name="connsiteX3468" fmla="*/ 3602438 w 4610101"/>
              <a:gd name="connsiteY3468" fmla="*/ 3320868 h 6557032"/>
              <a:gd name="connsiteX3469" fmla="*/ 3604260 w 4610101"/>
              <a:gd name="connsiteY3469" fmla="*/ 3337265 h 6557032"/>
              <a:gd name="connsiteX3470" fmla="*/ 3587860 w 4610101"/>
              <a:gd name="connsiteY3470" fmla="*/ 3335443 h 6557032"/>
              <a:gd name="connsiteX3471" fmla="*/ 3097696 w 4610101"/>
              <a:gd name="connsiteY3471" fmla="*/ 3320851 h 6557032"/>
              <a:gd name="connsiteX3472" fmla="*/ 3083119 w 4610101"/>
              <a:gd name="connsiteY3472" fmla="*/ 3335428 h 6557032"/>
              <a:gd name="connsiteX3473" fmla="*/ 3097696 w 4610101"/>
              <a:gd name="connsiteY3473" fmla="*/ 3344539 h 6557032"/>
              <a:gd name="connsiteX3474" fmla="*/ 3106807 w 4610101"/>
              <a:gd name="connsiteY3474" fmla="*/ 3337250 h 6557032"/>
              <a:gd name="connsiteX3475" fmla="*/ 3544129 w 4610101"/>
              <a:gd name="connsiteY3475" fmla="*/ 3313590 h 6557032"/>
              <a:gd name="connsiteX3476" fmla="*/ 3575106 w 4610101"/>
              <a:gd name="connsiteY3476" fmla="*/ 3322704 h 6557032"/>
              <a:gd name="connsiteX3477" fmla="*/ 3565995 w 4610101"/>
              <a:gd name="connsiteY3477" fmla="*/ 3339096 h 6557032"/>
              <a:gd name="connsiteX3478" fmla="*/ 2924590 w 4610101"/>
              <a:gd name="connsiteY3478" fmla="*/ 3313562 h 6557032"/>
              <a:gd name="connsiteX3479" fmla="*/ 2910012 w 4610101"/>
              <a:gd name="connsiteY3479" fmla="*/ 3328140 h 6557032"/>
              <a:gd name="connsiteX3480" fmla="*/ 2926412 w 4610101"/>
              <a:gd name="connsiteY3480" fmla="*/ 3329962 h 6557032"/>
              <a:gd name="connsiteX3481" fmla="*/ 3717236 w 4610101"/>
              <a:gd name="connsiteY3481" fmla="*/ 3299008 h 6557032"/>
              <a:gd name="connsiteX3482" fmla="*/ 3715413 w 4610101"/>
              <a:gd name="connsiteY3482" fmla="*/ 3324526 h 6557032"/>
              <a:gd name="connsiteX3483" fmla="*/ 3693547 w 4610101"/>
              <a:gd name="connsiteY3483" fmla="*/ 3300834 h 6557032"/>
              <a:gd name="connsiteX3484" fmla="*/ 3575106 w 4610101"/>
              <a:gd name="connsiteY3484" fmla="*/ 3299008 h 6557032"/>
              <a:gd name="connsiteX3485" fmla="*/ 3598795 w 4610101"/>
              <a:gd name="connsiteY3485" fmla="*/ 3300832 h 6557032"/>
              <a:gd name="connsiteX3486" fmla="*/ 3575106 w 4610101"/>
              <a:gd name="connsiteY3486" fmla="*/ 3322704 h 6557032"/>
              <a:gd name="connsiteX3487" fmla="*/ 3225248 w 4610101"/>
              <a:gd name="connsiteY3487" fmla="*/ 3298985 h 6557032"/>
              <a:gd name="connsiteX3488" fmla="*/ 3210671 w 4610101"/>
              <a:gd name="connsiteY3488" fmla="*/ 3313562 h 6557032"/>
              <a:gd name="connsiteX3489" fmla="*/ 3227071 w 4610101"/>
              <a:gd name="connsiteY3489" fmla="*/ 3315384 h 6557032"/>
              <a:gd name="connsiteX3490" fmla="*/ 3520441 w 4610101"/>
              <a:gd name="connsiteY3490" fmla="*/ 3284446 h 6557032"/>
              <a:gd name="connsiteX3491" fmla="*/ 3536841 w 4610101"/>
              <a:gd name="connsiteY3491" fmla="*/ 3300842 h 6557032"/>
              <a:gd name="connsiteX3492" fmla="*/ 3529552 w 4610101"/>
              <a:gd name="connsiteY3492" fmla="*/ 3322713 h 6557032"/>
              <a:gd name="connsiteX3493" fmla="*/ 3522264 w 4610101"/>
              <a:gd name="connsiteY3493" fmla="*/ 3308130 h 6557032"/>
              <a:gd name="connsiteX3494" fmla="*/ 3498575 w 4610101"/>
              <a:gd name="connsiteY3494" fmla="*/ 3306308 h 6557032"/>
              <a:gd name="connsiteX3495" fmla="*/ 3912208 w 4610101"/>
              <a:gd name="connsiteY3495" fmla="*/ 3277154 h 6557032"/>
              <a:gd name="connsiteX3496" fmla="*/ 3945007 w 4610101"/>
              <a:gd name="connsiteY3496" fmla="*/ 3286265 h 6557032"/>
              <a:gd name="connsiteX3497" fmla="*/ 3923141 w 4610101"/>
              <a:gd name="connsiteY3497" fmla="*/ 3306306 h 6557032"/>
              <a:gd name="connsiteX3498" fmla="*/ 3536839 w 4610101"/>
              <a:gd name="connsiteY3498" fmla="*/ 3277136 h 6557032"/>
              <a:gd name="connsiteX3499" fmla="*/ 3551416 w 4610101"/>
              <a:gd name="connsiteY3499" fmla="*/ 3291716 h 6557032"/>
              <a:gd name="connsiteX3500" fmla="*/ 3536839 w 4610101"/>
              <a:gd name="connsiteY3500" fmla="*/ 3291716 h 6557032"/>
              <a:gd name="connsiteX3501" fmla="*/ 3227071 w 4610101"/>
              <a:gd name="connsiteY3501" fmla="*/ 3269831 h 6557032"/>
              <a:gd name="connsiteX3502" fmla="*/ 3203382 w 4610101"/>
              <a:gd name="connsiteY3502" fmla="*/ 3271653 h 6557032"/>
              <a:gd name="connsiteX3503" fmla="*/ 3217960 w 4610101"/>
              <a:gd name="connsiteY3503" fmla="*/ 3286230 h 6557032"/>
              <a:gd name="connsiteX3504" fmla="*/ 3024809 w 4610101"/>
              <a:gd name="connsiteY3504" fmla="*/ 3269831 h 6557032"/>
              <a:gd name="connsiteX3505" fmla="*/ 3024809 w 4610101"/>
              <a:gd name="connsiteY3505" fmla="*/ 3291696 h 6557032"/>
              <a:gd name="connsiteX3506" fmla="*/ 3046675 w 4610101"/>
              <a:gd name="connsiteY3506" fmla="*/ 3269831 h 6557032"/>
              <a:gd name="connsiteX3507" fmla="*/ 3363734 w 4610101"/>
              <a:gd name="connsiteY3507" fmla="*/ 3268009 h 6557032"/>
              <a:gd name="connsiteX3508" fmla="*/ 3332756 w 4610101"/>
              <a:gd name="connsiteY3508" fmla="*/ 3277119 h 6557032"/>
              <a:gd name="connsiteX3509" fmla="*/ 3340045 w 4610101"/>
              <a:gd name="connsiteY3509" fmla="*/ 3291696 h 6557032"/>
              <a:gd name="connsiteX3510" fmla="*/ 3325468 w 4610101"/>
              <a:gd name="connsiteY3510" fmla="*/ 3291696 h 6557032"/>
              <a:gd name="connsiteX3511" fmla="*/ 3325468 w 4610101"/>
              <a:gd name="connsiteY3511" fmla="*/ 3306274 h 6557032"/>
              <a:gd name="connsiteX3512" fmla="*/ 3303602 w 4610101"/>
              <a:gd name="connsiteY3512" fmla="*/ 3306274 h 6557032"/>
              <a:gd name="connsiteX3513" fmla="*/ 3287202 w 4610101"/>
              <a:gd name="connsiteY3513" fmla="*/ 3328140 h 6557032"/>
              <a:gd name="connsiteX3514" fmla="*/ 3256225 w 4610101"/>
              <a:gd name="connsiteY3514" fmla="*/ 3320851 h 6557032"/>
              <a:gd name="connsiteX3515" fmla="*/ 3263514 w 4610101"/>
              <a:gd name="connsiteY3515" fmla="*/ 3308096 h 6557032"/>
              <a:gd name="connsiteX3516" fmla="*/ 3241648 w 4610101"/>
              <a:gd name="connsiteY3516" fmla="*/ 3291696 h 6557032"/>
              <a:gd name="connsiteX3517" fmla="*/ 3250759 w 4610101"/>
              <a:gd name="connsiteY3517" fmla="*/ 3313562 h 6557032"/>
              <a:gd name="connsiteX3518" fmla="*/ 3243470 w 4610101"/>
              <a:gd name="connsiteY3518" fmla="*/ 3328140 h 6557032"/>
              <a:gd name="connsiteX3519" fmla="*/ 3267158 w 4610101"/>
              <a:gd name="connsiteY3519" fmla="*/ 3328140 h 6557032"/>
              <a:gd name="connsiteX3520" fmla="*/ 3258047 w 4610101"/>
              <a:gd name="connsiteY3520" fmla="*/ 3342717 h 6557032"/>
              <a:gd name="connsiteX3521" fmla="*/ 3227071 w 4610101"/>
              <a:gd name="connsiteY3521" fmla="*/ 3350006 h 6557032"/>
              <a:gd name="connsiteX3522" fmla="*/ 3236181 w 4610101"/>
              <a:gd name="connsiteY3522" fmla="*/ 3366405 h 6557032"/>
              <a:gd name="connsiteX3523" fmla="*/ 3258047 w 4610101"/>
              <a:gd name="connsiteY3523" fmla="*/ 3342717 h 6557032"/>
              <a:gd name="connsiteX3524" fmla="*/ 3272625 w 4610101"/>
              <a:gd name="connsiteY3524" fmla="*/ 3350006 h 6557032"/>
              <a:gd name="connsiteX3525" fmla="*/ 3273367 w 4610101"/>
              <a:gd name="connsiteY3525" fmla="*/ 3350748 h 6557032"/>
              <a:gd name="connsiteX3526" fmla="*/ 3287202 w 4610101"/>
              <a:gd name="connsiteY3526" fmla="*/ 3329989 h 6557032"/>
              <a:gd name="connsiteX3527" fmla="*/ 3296313 w 4610101"/>
              <a:gd name="connsiteY3527" fmla="*/ 3335459 h 6557032"/>
              <a:gd name="connsiteX3528" fmla="*/ 3303602 w 4610101"/>
              <a:gd name="connsiteY3528" fmla="*/ 3344569 h 6557032"/>
              <a:gd name="connsiteX3529" fmla="*/ 3289025 w 4610101"/>
              <a:gd name="connsiteY3529" fmla="*/ 3353683 h 6557032"/>
              <a:gd name="connsiteX3530" fmla="*/ 3274713 w 4610101"/>
              <a:gd name="connsiteY3530" fmla="*/ 3352094 h 6557032"/>
              <a:gd name="connsiteX3531" fmla="*/ 3287202 w 4610101"/>
              <a:gd name="connsiteY3531" fmla="*/ 3364583 h 6557032"/>
              <a:gd name="connsiteX3532" fmla="*/ 3294491 w 4610101"/>
              <a:gd name="connsiteY3532" fmla="*/ 3402849 h 6557032"/>
              <a:gd name="connsiteX3533" fmla="*/ 3294491 w 4610101"/>
              <a:gd name="connsiteY3533" fmla="*/ 3388271 h 6557032"/>
              <a:gd name="connsiteX3534" fmla="*/ 3325468 w 4610101"/>
              <a:gd name="connsiteY3534" fmla="*/ 3388271 h 6557032"/>
              <a:gd name="connsiteX3535" fmla="*/ 3356445 w 4610101"/>
              <a:gd name="connsiteY3535" fmla="*/ 3380983 h 6557032"/>
              <a:gd name="connsiteX3536" fmla="*/ 3332756 w 4610101"/>
              <a:gd name="connsiteY3536" fmla="*/ 3380983 h 6557032"/>
              <a:gd name="connsiteX3537" fmla="*/ 3340045 w 4610101"/>
              <a:gd name="connsiteY3537" fmla="*/ 3368228 h 6557032"/>
              <a:gd name="connsiteX3538" fmla="*/ 3336401 w 4610101"/>
              <a:gd name="connsiteY3538" fmla="*/ 3353650 h 6557032"/>
              <a:gd name="connsiteX3539" fmla="*/ 3336401 w 4610101"/>
              <a:gd name="connsiteY3539" fmla="*/ 3341841 h 6557032"/>
              <a:gd name="connsiteX3540" fmla="*/ 3334579 w 4610101"/>
              <a:gd name="connsiteY3540" fmla="*/ 3344574 h 6557032"/>
              <a:gd name="connsiteX3541" fmla="*/ 3303602 w 4610101"/>
              <a:gd name="connsiteY3541" fmla="*/ 3344574 h 6557032"/>
              <a:gd name="connsiteX3542" fmla="*/ 3334579 w 4610101"/>
              <a:gd name="connsiteY3542" fmla="*/ 3322713 h 6557032"/>
              <a:gd name="connsiteX3543" fmla="*/ 3349157 w 4610101"/>
              <a:gd name="connsiteY3543" fmla="*/ 3322713 h 6557032"/>
              <a:gd name="connsiteX3544" fmla="*/ 3338247 w 4610101"/>
              <a:gd name="connsiteY3544" fmla="*/ 3339073 h 6557032"/>
              <a:gd name="connsiteX3545" fmla="*/ 3350978 w 4610101"/>
              <a:gd name="connsiteY3545" fmla="*/ 3339073 h 6557032"/>
              <a:gd name="connsiteX3546" fmla="*/ 3387422 w 4610101"/>
              <a:gd name="connsiteY3546" fmla="*/ 3326318 h 6557032"/>
              <a:gd name="connsiteX3547" fmla="*/ 3394710 w 4610101"/>
              <a:gd name="connsiteY3547" fmla="*/ 3330691 h 6557032"/>
              <a:gd name="connsiteX3548" fmla="*/ 3394710 w 4610101"/>
              <a:gd name="connsiteY3548" fmla="*/ 3333606 h 6557032"/>
              <a:gd name="connsiteX3549" fmla="*/ 3395166 w 4610101"/>
              <a:gd name="connsiteY3549" fmla="*/ 3333834 h 6557032"/>
              <a:gd name="connsiteX3550" fmla="*/ 3381955 w 4610101"/>
              <a:gd name="connsiteY3550" fmla="*/ 3353650 h 6557032"/>
              <a:gd name="connsiteX3551" fmla="*/ 3389244 w 4610101"/>
              <a:gd name="connsiteY3551" fmla="*/ 3364583 h 6557032"/>
              <a:gd name="connsiteX3552" fmla="*/ 3409288 w 4610101"/>
              <a:gd name="connsiteY3552" fmla="*/ 3340895 h 6557032"/>
              <a:gd name="connsiteX3553" fmla="*/ 3395166 w 4610101"/>
              <a:gd name="connsiteY3553" fmla="*/ 3333834 h 6557032"/>
              <a:gd name="connsiteX3554" fmla="*/ 3396532 w 4610101"/>
              <a:gd name="connsiteY3554" fmla="*/ 3331784 h 6557032"/>
              <a:gd name="connsiteX3555" fmla="*/ 3394710 w 4610101"/>
              <a:gd name="connsiteY3555" fmla="*/ 3330691 h 6557032"/>
              <a:gd name="connsiteX3556" fmla="*/ 3394710 w 4610101"/>
              <a:gd name="connsiteY3556" fmla="*/ 3319029 h 6557032"/>
              <a:gd name="connsiteX3557" fmla="*/ 3401999 w 4610101"/>
              <a:gd name="connsiteY3557" fmla="*/ 3306274 h 6557032"/>
              <a:gd name="connsiteX3558" fmla="*/ 3396532 w 4610101"/>
              <a:gd name="connsiteY3558" fmla="*/ 3298985 h 6557032"/>
              <a:gd name="connsiteX3559" fmla="*/ 3365556 w 4610101"/>
              <a:gd name="connsiteY3559" fmla="*/ 3306274 h 6557032"/>
              <a:gd name="connsiteX3560" fmla="*/ 3372844 w 4610101"/>
              <a:gd name="connsiteY3560" fmla="*/ 3320851 h 6557032"/>
              <a:gd name="connsiteX3561" fmla="*/ 3350978 w 4610101"/>
              <a:gd name="connsiteY3561" fmla="*/ 3320851 h 6557032"/>
              <a:gd name="connsiteX3562" fmla="*/ 3334579 w 4610101"/>
              <a:gd name="connsiteY3562" fmla="*/ 3306274 h 6557032"/>
              <a:gd name="connsiteX3563" fmla="*/ 3341867 w 4610101"/>
              <a:gd name="connsiteY3563" fmla="*/ 3291696 h 6557032"/>
              <a:gd name="connsiteX3564" fmla="*/ 3354623 w 4610101"/>
              <a:gd name="connsiteY3564" fmla="*/ 3298985 h 6557032"/>
              <a:gd name="connsiteX3565" fmla="*/ 1501471 w 4610101"/>
              <a:gd name="connsiteY3565" fmla="*/ 3264368 h 6557032"/>
              <a:gd name="connsiteX3566" fmla="*/ 1516049 w 4610101"/>
              <a:gd name="connsiteY3566" fmla="*/ 3273480 h 6557032"/>
              <a:gd name="connsiteX3567" fmla="*/ 1503293 w 4610101"/>
              <a:gd name="connsiteY3567" fmla="*/ 3275302 h 6557032"/>
              <a:gd name="connsiteX3568" fmla="*/ 1501471 w 4610101"/>
              <a:gd name="connsiteY3568" fmla="*/ 3271656 h 6557032"/>
              <a:gd name="connsiteX3569" fmla="*/ 1503293 w 4610101"/>
              <a:gd name="connsiteY3569" fmla="*/ 3269836 h 6557032"/>
              <a:gd name="connsiteX3570" fmla="*/ 1501471 w 4610101"/>
              <a:gd name="connsiteY3570" fmla="*/ 3264368 h 6557032"/>
              <a:gd name="connsiteX3571" fmla="*/ 3671682 w 4610101"/>
              <a:gd name="connsiteY3571" fmla="*/ 3262569 h 6557032"/>
              <a:gd name="connsiteX3572" fmla="*/ 3702659 w 4610101"/>
              <a:gd name="connsiteY3572" fmla="*/ 3269861 h 6557032"/>
              <a:gd name="connsiteX3573" fmla="*/ 3677148 w 4610101"/>
              <a:gd name="connsiteY3573" fmla="*/ 3277158 h 6557032"/>
              <a:gd name="connsiteX3574" fmla="*/ 3684437 w 4610101"/>
              <a:gd name="connsiteY3574" fmla="*/ 3306309 h 6557032"/>
              <a:gd name="connsiteX3575" fmla="*/ 3678970 w 4610101"/>
              <a:gd name="connsiteY3575" fmla="*/ 3315421 h 6557032"/>
              <a:gd name="connsiteX3576" fmla="*/ 3671682 w 4610101"/>
              <a:gd name="connsiteY3576" fmla="*/ 3262569 h 6557032"/>
              <a:gd name="connsiteX3577" fmla="*/ 3544129 w 4610101"/>
              <a:gd name="connsiteY3577" fmla="*/ 3231590 h 6557032"/>
              <a:gd name="connsiteX3578" fmla="*/ 3551418 w 4610101"/>
              <a:gd name="connsiteY3578" fmla="*/ 3260747 h 6557032"/>
              <a:gd name="connsiteX3579" fmla="*/ 3522263 w 4610101"/>
              <a:gd name="connsiteY3579" fmla="*/ 3268044 h 6557032"/>
              <a:gd name="connsiteX3580" fmla="*/ 3513153 w 4610101"/>
              <a:gd name="connsiteY3580" fmla="*/ 3262569 h 6557032"/>
              <a:gd name="connsiteX3581" fmla="*/ 3506320 w 4610101"/>
              <a:gd name="connsiteY3581" fmla="*/ 3273759 h 6557032"/>
              <a:gd name="connsiteX3582" fmla="*/ 3469420 w 4610101"/>
              <a:gd name="connsiteY3582" fmla="*/ 3240696 h 6557032"/>
              <a:gd name="connsiteX3583" fmla="*/ 3476709 w 4610101"/>
              <a:gd name="connsiteY3583" fmla="*/ 3231592 h 6557032"/>
              <a:gd name="connsiteX3584" fmla="*/ 3513152 w 4610101"/>
              <a:gd name="connsiteY3584" fmla="*/ 3262569 h 6557032"/>
              <a:gd name="connsiteX3585" fmla="*/ 3693548 w 4610101"/>
              <a:gd name="connsiteY3585" fmla="*/ 3231586 h 6557032"/>
              <a:gd name="connsiteX3586" fmla="*/ 3700837 w 4610101"/>
              <a:gd name="connsiteY3586" fmla="*/ 3264385 h 6557032"/>
              <a:gd name="connsiteX3587" fmla="*/ 3678970 w 4610101"/>
              <a:gd name="connsiteY3587" fmla="*/ 3240693 h 6557032"/>
              <a:gd name="connsiteX3588" fmla="*/ 3618839 w 4610101"/>
              <a:gd name="connsiteY3588" fmla="*/ 3229758 h 6557032"/>
              <a:gd name="connsiteX3589" fmla="*/ 3627950 w 4610101"/>
              <a:gd name="connsiteY3589" fmla="*/ 3246159 h 6557032"/>
              <a:gd name="connsiteX3590" fmla="*/ 3602439 w 4610101"/>
              <a:gd name="connsiteY3590" fmla="*/ 3246159 h 6557032"/>
              <a:gd name="connsiteX3591" fmla="*/ 1694622 w 4610101"/>
              <a:gd name="connsiteY3591" fmla="*/ 3229745 h 6557032"/>
              <a:gd name="connsiteX3592" fmla="*/ 1698266 w 4610101"/>
              <a:gd name="connsiteY3592" fmla="*/ 3240677 h 6557032"/>
              <a:gd name="connsiteX3593" fmla="*/ 1694622 w 4610101"/>
              <a:gd name="connsiteY3593" fmla="*/ 3246146 h 6557032"/>
              <a:gd name="connsiteX3594" fmla="*/ 1690978 w 4610101"/>
              <a:gd name="connsiteY3594" fmla="*/ 3240677 h 6557032"/>
              <a:gd name="connsiteX3595" fmla="*/ 1692800 w 4610101"/>
              <a:gd name="connsiteY3595" fmla="*/ 3237034 h 6557032"/>
              <a:gd name="connsiteX3596" fmla="*/ 1689155 w 4610101"/>
              <a:gd name="connsiteY3596" fmla="*/ 3235212 h 6557032"/>
              <a:gd name="connsiteX3597" fmla="*/ 1694622 w 4610101"/>
              <a:gd name="connsiteY3597" fmla="*/ 3229745 h 6557032"/>
              <a:gd name="connsiteX3598" fmla="*/ 1175302 w 4610101"/>
              <a:gd name="connsiteY3598" fmla="*/ 3224283 h 6557032"/>
              <a:gd name="connsiteX3599" fmla="*/ 1173481 w 4610101"/>
              <a:gd name="connsiteY3599" fmla="*/ 3240687 h 6557032"/>
              <a:gd name="connsiteX3600" fmla="*/ 1158902 w 4610101"/>
              <a:gd name="connsiteY3600" fmla="*/ 3226109 h 6557032"/>
              <a:gd name="connsiteX3601" fmla="*/ 1182592 w 4610101"/>
              <a:gd name="connsiteY3601" fmla="*/ 3215177 h 6557032"/>
              <a:gd name="connsiteX3602" fmla="*/ 1213567 w 4610101"/>
              <a:gd name="connsiteY3602" fmla="*/ 3231592 h 6557032"/>
              <a:gd name="connsiteX3603" fmla="*/ 1228145 w 4610101"/>
              <a:gd name="connsiteY3603" fmla="*/ 3224292 h 6557032"/>
              <a:gd name="connsiteX3604" fmla="*/ 1228145 w 4610101"/>
              <a:gd name="connsiteY3604" fmla="*/ 3238878 h 6557032"/>
              <a:gd name="connsiteX3605" fmla="*/ 1244544 w 4610101"/>
              <a:gd name="connsiteY3605" fmla="*/ 3238878 h 6557032"/>
              <a:gd name="connsiteX3606" fmla="*/ 1237256 w 4610101"/>
              <a:gd name="connsiteY3606" fmla="*/ 3253460 h 6557032"/>
              <a:gd name="connsiteX3607" fmla="*/ 1253655 w 4610101"/>
              <a:gd name="connsiteY3607" fmla="*/ 3275329 h 6557032"/>
              <a:gd name="connsiteX3608" fmla="*/ 1275522 w 4610101"/>
              <a:gd name="connsiteY3608" fmla="*/ 3284446 h 6557032"/>
              <a:gd name="connsiteX3609" fmla="*/ 1244544 w 4610101"/>
              <a:gd name="connsiteY3609" fmla="*/ 3306311 h 6557032"/>
              <a:gd name="connsiteX3610" fmla="*/ 1198990 w 4610101"/>
              <a:gd name="connsiteY3610" fmla="*/ 3351865 h 6557032"/>
              <a:gd name="connsiteX3611" fmla="*/ 1198990 w 4610101"/>
              <a:gd name="connsiteY3611" fmla="*/ 3337283 h 6557032"/>
              <a:gd name="connsiteX3612" fmla="*/ 1158902 w 4610101"/>
              <a:gd name="connsiteY3612" fmla="*/ 3306311 h 6557032"/>
              <a:gd name="connsiteX3613" fmla="*/ 1160724 w 4610101"/>
              <a:gd name="connsiteY3613" fmla="*/ 3269861 h 6557032"/>
              <a:gd name="connsiteX3614" fmla="*/ 1175302 w 4610101"/>
              <a:gd name="connsiteY3614" fmla="*/ 3255282 h 6557032"/>
              <a:gd name="connsiteX3615" fmla="*/ 1206279 w 4610101"/>
              <a:gd name="connsiteY3615" fmla="*/ 3244341 h 6557032"/>
              <a:gd name="connsiteX3616" fmla="*/ 1144326 w 4610101"/>
              <a:gd name="connsiteY3616" fmla="*/ 3215171 h 6557032"/>
              <a:gd name="connsiteX3617" fmla="*/ 1146148 w 4610101"/>
              <a:gd name="connsiteY3617" fmla="*/ 3231581 h 6557032"/>
              <a:gd name="connsiteX3618" fmla="*/ 1129748 w 4610101"/>
              <a:gd name="connsiteY3618" fmla="*/ 3229758 h 6557032"/>
              <a:gd name="connsiteX3619" fmla="*/ 1392141 w 4610101"/>
              <a:gd name="connsiteY3619" fmla="*/ 3215167 h 6557032"/>
              <a:gd name="connsiteX3620" fmla="*/ 1490540 w 4610101"/>
              <a:gd name="connsiteY3620" fmla="*/ 3222457 h 6557032"/>
              <a:gd name="connsiteX3621" fmla="*/ 1490540 w 4610101"/>
              <a:gd name="connsiteY3621" fmla="*/ 3231568 h 6557032"/>
              <a:gd name="connsiteX3622" fmla="*/ 1492362 w 4610101"/>
              <a:gd name="connsiteY3622" fmla="*/ 3231568 h 6557032"/>
              <a:gd name="connsiteX3623" fmla="*/ 1492362 w 4610101"/>
              <a:gd name="connsiteY3623" fmla="*/ 3237035 h 6557032"/>
              <a:gd name="connsiteX3624" fmla="*/ 1486895 w 4610101"/>
              <a:gd name="connsiteY3624" fmla="*/ 3235213 h 6557032"/>
              <a:gd name="connsiteX3625" fmla="*/ 1488717 w 4610101"/>
              <a:gd name="connsiteY3625" fmla="*/ 3238856 h 6557032"/>
              <a:gd name="connsiteX3626" fmla="*/ 1477784 w 4610101"/>
              <a:gd name="connsiteY3626" fmla="*/ 3242502 h 6557032"/>
              <a:gd name="connsiteX3627" fmla="*/ 1465028 w 4610101"/>
              <a:gd name="connsiteY3627" fmla="*/ 3233390 h 6557032"/>
              <a:gd name="connsiteX3628" fmla="*/ 1439518 w 4610101"/>
              <a:gd name="connsiteY3628" fmla="*/ 3233390 h 6557032"/>
              <a:gd name="connsiteX3629" fmla="*/ 1452273 w 4610101"/>
              <a:gd name="connsiteY3629" fmla="*/ 3247968 h 6557032"/>
              <a:gd name="connsiteX3630" fmla="*/ 1434051 w 4610101"/>
              <a:gd name="connsiteY3630" fmla="*/ 3262548 h 6557032"/>
              <a:gd name="connsiteX3631" fmla="*/ 1430407 w 4610101"/>
              <a:gd name="connsiteY3631" fmla="*/ 3269834 h 6557032"/>
              <a:gd name="connsiteX3632" fmla="*/ 1468673 w 4610101"/>
              <a:gd name="connsiteY3632" fmla="*/ 3253434 h 6557032"/>
              <a:gd name="connsiteX3633" fmla="*/ 1481428 w 4610101"/>
              <a:gd name="connsiteY3633" fmla="*/ 3249790 h 6557032"/>
              <a:gd name="connsiteX3634" fmla="*/ 1484460 w 4610101"/>
              <a:gd name="connsiteY3634" fmla="*/ 3250397 h 6557032"/>
              <a:gd name="connsiteX3635" fmla="*/ 1479605 w 4610101"/>
              <a:gd name="connsiteY3635" fmla="*/ 3247968 h 6557032"/>
              <a:gd name="connsiteX3636" fmla="*/ 1486895 w 4610101"/>
              <a:gd name="connsiteY3636" fmla="*/ 3244322 h 6557032"/>
              <a:gd name="connsiteX3637" fmla="*/ 1488716 w 4610101"/>
              <a:gd name="connsiteY3637" fmla="*/ 3246146 h 6557032"/>
              <a:gd name="connsiteX3638" fmla="*/ 1490537 w 4610101"/>
              <a:gd name="connsiteY3638" fmla="*/ 3251612 h 6557032"/>
              <a:gd name="connsiteX3639" fmla="*/ 1490539 w 4610101"/>
              <a:gd name="connsiteY3639" fmla="*/ 3251612 h 6557032"/>
              <a:gd name="connsiteX3640" fmla="*/ 1490538 w 4610101"/>
              <a:gd name="connsiteY3640" fmla="*/ 3251614 h 6557032"/>
              <a:gd name="connsiteX3641" fmla="*/ 1490538 w 4610101"/>
              <a:gd name="connsiteY3641" fmla="*/ 3253434 h 6557032"/>
              <a:gd name="connsiteX3642" fmla="*/ 1489810 w 4610101"/>
              <a:gd name="connsiteY3642" fmla="*/ 3253072 h 6557032"/>
              <a:gd name="connsiteX3643" fmla="*/ 1486895 w 4610101"/>
              <a:gd name="connsiteY3643" fmla="*/ 3258902 h 6557032"/>
              <a:gd name="connsiteX3644" fmla="*/ 1494183 w 4610101"/>
              <a:gd name="connsiteY3644" fmla="*/ 3258902 h 6557032"/>
              <a:gd name="connsiteX3645" fmla="*/ 1494183 w 4610101"/>
              <a:gd name="connsiteY3645" fmla="*/ 3262546 h 6557032"/>
              <a:gd name="connsiteX3646" fmla="*/ 1488717 w 4610101"/>
              <a:gd name="connsiteY3646" fmla="*/ 3266190 h 6557032"/>
              <a:gd name="connsiteX3647" fmla="*/ 1492361 w 4610101"/>
              <a:gd name="connsiteY3647" fmla="*/ 3269834 h 6557032"/>
              <a:gd name="connsiteX3648" fmla="*/ 1472316 w 4610101"/>
              <a:gd name="connsiteY3648" fmla="*/ 3268012 h 6557032"/>
              <a:gd name="connsiteX3649" fmla="*/ 1466850 w 4610101"/>
              <a:gd name="connsiteY3649" fmla="*/ 3269834 h 6557032"/>
              <a:gd name="connsiteX3650" fmla="*/ 1479606 w 4610101"/>
              <a:gd name="connsiteY3650" fmla="*/ 3278946 h 6557032"/>
              <a:gd name="connsiteX3651" fmla="*/ 1454095 w 4610101"/>
              <a:gd name="connsiteY3651" fmla="*/ 3315384 h 6557032"/>
              <a:gd name="connsiteX3652" fmla="*/ 1463206 w 4610101"/>
              <a:gd name="connsiteY3652" fmla="*/ 3313562 h 6557032"/>
              <a:gd name="connsiteX3653" fmla="*/ 1486895 w 4610101"/>
              <a:gd name="connsiteY3653" fmla="*/ 3288057 h 6557032"/>
              <a:gd name="connsiteX3654" fmla="*/ 1488717 w 4610101"/>
              <a:gd name="connsiteY3654" fmla="*/ 3277124 h 6557032"/>
              <a:gd name="connsiteX3655" fmla="*/ 1492361 w 4610101"/>
              <a:gd name="connsiteY3655" fmla="*/ 3271656 h 6557032"/>
              <a:gd name="connsiteX3656" fmla="*/ 1494183 w 4610101"/>
              <a:gd name="connsiteY3656" fmla="*/ 3278946 h 6557032"/>
              <a:gd name="connsiteX3657" fmla="*/ 1483250 w 4610101"/>
              <a:gd name="connsiteY3657" fmla="*/ 3308095 h 6557032"/>
              <a:gd name="connsiteX3658" fmla="*/ 1496006 w 4610101"/>
              <a:gd name="connsiteY3658" fmla="*/ 3286234 h 6557032"/>
              <a:gd name="connsiteX3659" fmla="*/ 1497828 w 4610101"/>
              <a:gd name="connsiteY3659" fmla="*/ 3302629 h 6557032"/>
              <a:gd name="connsiteX3660" fmla="*/ 1514228 w 4610101"/>
              <a:gd name="connsiteY3660" fmla="*/ 3329961 h 6557032"/>
              <a:gd name="connsiteX3661" fmla="*/ 1496006 w 4610101"/>
              <a:gd name="connsiteY3661" fmla="*/ 3331784 h 6557032"/>
              <a:gd name="connsiteX3662" fmla="*/ 1490539 w 4610101"/>
              <a:gd name="connsiteY3662" fmla="*/ 3328139 h 6557032"/>
              <a:gd name="connsiteX3663" fmla="*/ 1488717 w 4610101"/>
              <a:gd name="connsiteY3663" fmla="*/ 3331784 h 6557032"/>
              <a:gd name="connsiteX3664" fmla="*/ 1450451 w 4610101"/>
              <a:gd name="connsiteY3664" fmla="*/ 3344539 h 6557032"/>
              <a:gd name="connsiteX3665" fmla="*/ 1432229 w 4610101"/>
              <a:gd name="connsiteY3665" fmla="*/ 3348183 h 6557032"/>
              <a:gd name="connsiteX3666" fmla="*/ 1424940 w 4610101"/>
              <a:gd name="connsiteY3666" fmla="*/ 3351827 h 6557032"/>
              <a:gd name="connsiteX3667" fmla="*/ 1403074 w 4610101"/>
              <a:gd name="connsiteY3667" fmla="*/ 3351827 h 6557032"/>
              <a:gd name="connsiteX3668" fmla="*/ 1410362 w 4610101"/>
              <a:gd name="connsiteY3668" fmla="*/ 3308095 h 6557032"/>
              <a:gd name="connsiteX3669" fmla="*/ 1386674 w 4610101"/>
              <a:gd name="connsiteY3669" fmla="*/ 3291701 h 6557032"/>
              <a:gd name="connsiteX3670" fmla="*/ 1381208 w 4610101"/>
              <a:gd name="connsiteY3670" fmla="*/ 3322673 h 6557032"/>
              <a:gd name="connsiteX3671" fmla="*/ 1342942 w 4610101"/>
              <a:gd name="connsiteY3671" fmla="*/ 3306273 h 6557032"/>
              <a:gd name="connsiteX3672" fmla="*/ 1359342 w 4610101"/>
              <a:gd name="connsiteY3672" fmla="*/ 3284413 h 6557032"/>
              <a:gd name="connsiteX3673" fmla="*/ 1381208 w 4610101"/>
              <a:gd name="connsiteY3673" fmla="*/ 3277124 h 6557032"/>
              <a:gd name="connsiteX3674" fmla="*/ 1352053 w 4610101"/>
              <a:gd name="connsiteY3674" fmla="*/ 3258902 h 6557032"/>
              <a:gd name="connsiteX3675" fmla="*/ 1328365 w 4610101"/>
              <a:gd name="connsiteY3675" fmla="*/ 3262546 h 6557032"/>
              <a:gd name="connsiteX3676" fmla="*/ 1328365 w 4610101"/>
              <a:gd name="connsiteY3676" fmla="*/ 3247968 h 6557032"/>
              <a:gd name="connsiteX3677" fmla="*/ 1324720 w 4610101"/>
              <a:gd name="connsiteY3677" fmla="*/ 3247968 h 6557032"/>
              <a:gd name="connsiteX3678" fmla="*/ 1335653 w 4610101"/>
              <a:gd name="connsiteY3678" fmla="*/ 3240678 h 6557032"/>
              <a:gd name="connsiteX3679" fmla="*/ 1339299 w 4610101"/>
              <a:gd name="connsiteY3679" fmla="*/ 3237032 h 6557032"/>
              <a:gd name="connsiteX3680" fmla="*/ 1353875 w 4610101"/>
              <a:gd name="connsiteY3680" fmla="*/ 3240678 h 6557032"/>
              <a:gd name="connsiteX3681" fmla="*/ 1344764 w 4610101"/>
              <a:gd name="connsiteY3681" fmla="*/ 3233388 h 6557032"/>
              <a:gd name="connsiteX3682" fmla="*/ 1383030 w 4610101"/>
              <a:gd name="connsiteY3682" fmla="*/ 3218811 h 6557032"/>
              <a:gd name="connsiteX3683" fmla="*/ 1393963 w 4610101"/>
              <a:gd name="connsiteY3683" fmla="*/ 3222455 h 6557032"/>
              <a:gd name="connsiteX3684" fmla="*/ 1415829 w 4610101"/>
              <a:gd name="connsiteY3684" fmla="*/ 3249790 h 6557032"/>
              <a:gd name="connsiteX3685" fmla="*/ 1434037 w 4610101"/>
              <a:gd name="connsiteY3685" fmla="*/ 3262535 h 6557032"/>
              <a:gd name="connsiteX3686" fmla="*/ 1411047 w 4610101"/>
              <a:gd name="connsiteY3686" fmla="*/ 3242957 h 6557032"/>
              <a:gd name="connsiteX3687" fmla="*/ 1392141 w 4610101"/>
              <a:gd name="connsiteY3687" fmla="*/ 3215167 h 6557032"/>
              <a:gd name="connsiteX3688" fmla="*/ 1220856 w 4610101"/>
              <a:gd name="connsiteY3688" fmla="*/ 3209701 h 6557032"/>
              <a:gd name="connsiteX3689" fmla="*/ 1244545 w 4610101"/>
              <a:gd name="connsiteY3689" fmla="*/ 3211525 h 6557032"/>
              <a:gd name="connsiteX3690" fmla="*/ 1228145 w 4610101"/>
              <a:gd name="connsiteY3690" fmla="*/ 3224289 h 6557032"/>
              <a:gd name="connsiteX3691" fmla="*/ 3830209 w 4610101"/>
              <a:gd name="connsiteY3691" fmla="*/ 3209699 h 6557032"/>
              <a:gd name="connsiteX3692" fmla="*/ 3846609 w 4610101"/>
              <a:gd name="connsiteY3692" fmla="*/ 3224283 h 6557032"/>
              <a:gd name="connsiteX3693" fmla="*/ 3830209 w 4610101"/>
              <a:gd name="connsiteY3693" fmla="*/ 3224283 h 6557032"/>
              <a:gd name="connsiteX3694" fmla="*/ 1324721 w 4610101"/>
              <a:gd name="connsiteY3694" fmla="*/ 3207877 h 6557032"/>
              <a:gd name="connsiteX3695" fmla="*/ 1364809 w 4610101"/>
              <a:gd name="connsiteY3695" fmla="*/ 3213345 h 6557032"/>
              <a:gd name="connsiteX3696" fmla="*/ 1348410 w 4610101"/>
              <a:gd name="connsiteY3696" fmla="*/ 3224279 h 6557032"/>
              <a:gd name="connsiteX3697" fmla="*/ 1326543 w 4610101"/>
              <a:gd name="connsiteY3697" fmla="*/ 3240677 h 6557032"/>
              <a:gd name="connsiteX3698" fmla="*/ 1324721 w 4610101"/>
              <a:gd name="connsiteY3698" fmla="*/ 3238855 h 6557032"/>
              <a:gd name="connsiteX3699" fmla="*/ 1319254 w 4610101"/>
              <a:gd name="connsiteY3699" fmla="*/ 3244322 h 6557032"/>
              <a:gd name="connsiteX3700" fmla="*/ 1315610 w 4610101"/>
              <a:gd name="connsiteY3700" fmla="*/ 3242500 h 6557032"/>
              <a:gd name="connsiteX3701" fmla="*/ 1311966 w 4610101"/>
              <a:gd name="connsiteY3701" fmla="*/ 3233388 h 6557032"/>
              <a:gd name="connsiteX3702" fmla="*/ 1306499 w 4610101"/>
              <a:gd name="connsiteY3702" fmla="*/ 3227922 h 6557032"/>
              <a:gd name="connsiteX3703" fmla="*/ 1297388 w 4610101"/>
              <a:gd name="connsiteY3703" fmla="*/ 3233388 h 6557032"/>
              <a:gd name="connsiteX3704" fmla="*/ 1297388 w 4610101"/>
              <a:gd name="connsiteY3704" fmla="*/ 3231567 h 6557032"/>
              <a:gd name="connsiteX3705" fmla="*/ 1310144 w 4610101"/>
              <a:gd name="connsiteY3705" fmla="*/ 3215167 h 6557032"/>
              <a:gd name="connsiteX3706" fmla="*/ 1324721 w 4610101"/>
              <a:gd name="connsiteY3706" fmla="*/ 3222455 h 6557032"/>
              <a:gd name="connsiteX3707" fmla="*/ 1324721 w 4610101"/>
              <a:gd name="connsiteY3707" fmla="*/ 3207877 h 6557032"/>
              <a:gd name="connsiteX3708" fmla="*/ 1665240 w 4610101"/>
              <a:gd name="connsiteY3708" fmla="*/ 3206967 h 6557032"/>
              <a:gd name="connsiteX3709" fmla="*/ 1681868 w 4610101"/>
              <a:gd name="connsiteY3709" fmla="*/ 3226101 h 6557032"/>
              <a:gd name="connsiteX3710" fmla="*/ 1683690 w 4610101"/>
              <a:gd name="connsiteY3710" fmla="*/ 3229745 h 6557032"/>
              <a:gd name="connsiteX3711" fmla="*/ 1683690 w 4610101"/>
              <a:gd name="connsiteY3711" fmla="*/ 3237034 h 6557032"/>
              <a:gd name="connsiteX3712" fmla="*/ 1645424 w 4610101"/>
              <a:gd name="connsiteY3712" fmla="*/ 3260724 h 6557032"/>
              <a:gd name="connsiteX3713" fmla="*/ 1621735 w 4610101"/>
              <a:gd name="connsiteY3713" fmla="*/ 3273480 h 6557032"/>
              <a:gd name="connsiteX3714" fmla="*/ 1590758 w 4610101"/>
              <a:gd name="connsiteY3714" fmla="*/ 3293525 h 6557032"/>
              <a:gd name="connsiteX3715" fmla="*/ 1570714 w 4610101"/>
              <a:gd name="connsiteY3715" fmla="*/ 3306275 h 6557032"/>
              <a:gd name="connsiteX3716" fmla="*/ 1548848 w 4610101"/>
              <a:gd name="connsiteY3716" fmla="*/ 3317208 h 6557032"/>
              <a:gd name="connsiteX3717" fmla="*/ 1526982 w 4610101"/>
              <a:gd name="connsiteY3717" fmla="*/ 3328141 h 6557032"/>
              <a:gd name="connsiteX3718" fmla="*/ 1525159 w 4610101"/>
              <a:gd name="connsiteY3718" fmla="*/ 3324497 h 6557032"/>
              <a:gd name="connsiteX3719" fmla="*/ 1532448 w 4610101"/>
              <a:gd name="connsiteY3719" fmla="*/ 3324497 h 6557032"/>
              <a:gd name="connsiteX3720" fmla="*/ 1532448 w 4610101"/>
              <a:gd name="connsiteY3720" fmla="*/ 3322675 h 6557032"/>
              <a:gd name="connsiteX3721" fmla="*/ 1526982 w 4610101"/>
              <a:gd name="connsiteY3721" fmla="*/ 3320852 h 6557032"/>
              <a:gd name="connsiteX3722" fmla="*/ 1530626 w 4610101"/>
              <a:gd name="connsiteY3722" fmla="*/ 3315386 h 6557032"/>
              <a:gd name="connsiteX3723" fmla="*/ 1523337 w 4610101"/>
              <a:gd name="connsiteY3723" fmla="*/ 3309919 h 6557032"/>
              <a:gd name="connsiteX3724" fmla="*/ 1506938 w 4610101"/>
              <a:gd name="connsiteY3724" fmla="*/ 3284414 h 6557032"/>
              <a:gd name="connsiteX3725" fmla="*/ 1523337 w 4610101"/>
              <a:gd name="connsiteY3725" fmla="*/ 3282592 h 6557032"/>
              <a:gd name="connsiteX3726" fmla="*/ 1530626 w 4610101"/>
              <a:gd name="connsiteY3726" fmla="*/ 3284414 h 6557032"/>
              <a:gd name="connsiteX3727" fmla="*/ 1557959 w 4610101"/>
              <a:gd name="connsiteY3727" fmla="*/ 3280769 h 6557032"/>
              <a:gd name="connsiteX3728" fmla="*/ 1541559 w 4610101"/>
              <a:gd name="connsiteY3728" fmla="*/ 3268014 h 6557032"/>
              <a:gd name="connsiteX3729" fmla="*/ 1521515 w 4610101"/>
              <a:gd name="connsiteY3729" fmla="*/ 3262548 h 6557032"/>
              <a:gd name="connsiteX3730" fmla="*/ 1505117 w 4610101"/>
              <a:gd name="connsiteY3730" fmla="*/ 3262548 h 6557032"/>
              <a:gd name="connsiteX3731" fmla="*/ 1510582 w 4610101"/>
              <a:gd name="connsiteY3731" fmla="*/ 3246146 h 6557032"/>
              <a:gd name="connsiteX3732" fmla="*/ 1514226 w 4610101"/>
              <a:gd name="connsiteY3732" fmla="*/ 3244324 h 6557032"/>
              <a:gd name="connsiteX3733" fmla="*/ 1508760 w 4610101"/>
              <a:gd name="connsiteY3733" fmla="*/ 3235213 h 6557032"/>
              <a:gd name="connsiteX3734" fmla="*/ 1503293 w 4610101"/>
              <a:gd name="connsiteY3734" fmla="*/ 3233390 h 6557032"/>
              <a:gd name="connsiteX3735" fmla="*/ 1505117 w 4610101"/>
              <a:gd name="connsiteY3735" fmla="*/ 3233390 h 6557032"/>
              <a:gd name="connsiteX3736" fmla="*/ 1505117 w 4610101"/>
              <a:gd name="connsiteY3736" fmla="*/ 3224279 h 6557032"/>
              <a:gd name="connsiteX3737" fmla="*/ 1539737 w 4610101"/>
              <a:gd name="connsiteY3737" fmla="*/ 3220635 h 6557032"/>
              <a:gd name="connsiteX3738" fmla="*/ 1539737 w 4610101"/>
              <a:gd name="connsiteY3738" fmla="*/ 3224279 h 6557032"/>
              <a:gd name="connsiteX3739" fmla="*/ 1554314 w 4610101"/>
              <a:gd name="connsiteY3739" fmla="*/ 3220635 h 6557032"/>
              <a:gd name="connsiteX3740" fmla="*/ 1576180 w 4610101"/>
              <a:gd name="connsiteY3740" fmla="*/ 3216989 h 6557032"/>
              <a:gd name="connsiteX3741" fmla="*/ 1570714 w 4610101"/>
              <a:gd name="connsiteY3741" fmla="*/ 3247968 h 6557032"/>
              <a:gd name="connsiteX3742" fmla="*/ 1590758 w 4610101"/>
              <a:gd name="connsiteY3742" fmla="*/ 3215167 h 6557032"/>
              <a:gd name="connsiteX3743" fmla="*/ 1614447 w 4610101"/>
              <a:gd name="connsiteY3743" fmla="*/ 3213345 h 6557032"/>
              <a:gd name="connsiteX3744" fmla="*/ 1636312 w 4610101"/>
              <a:gd name="connsiteY3744" fmla="*/ 3215167 h 6557032"/>
              <a:gd name="connsiteX3745" fmla="*/ 1636312 w 4610101"/>
              <a:gd name="connsiteY3745" fmla="*/ 3209701 h 6557032"/>
              <a:gd name="connsiteX3746" fmla="*/ 1665240 w 4610101"/>
              <a:gd name="connsiteY3746" fmla="*/ 3206967 h 6557032"/>
              <a:gd name="connsiteX3747" fmla="*/ 3853898 w 4610101"/>
              <a:gd name="connsiteY3747" fmla="*/ 3202411 h 6557032"/>
              <a:gd name="connsiteX3748" fmla="*/ 3868476 w 4610101"/>
              <a:gd name="connsiteY3748" fmla="*/ 3216995 h 6557032"/>
              <a:gd name="connsiteX3749" fmla="*/ 3853898 w 4610101"/>
              <a:gd name="connsiteY3749" fmla="*/ 3216995 h 6557032"/>
              <a:gd name="connsiteX3750" fmla="*/ 1288277 w 4610101"/>
              <a:gd name="connsiteY3750" fmla="*/ 3202411 h 6557032"/>
              <a:gd name="connsiteX3751" fmla="*/ 1297388 w 4610101"/>
              <a:gd name="connsiteY3751" fmla="*/ 3204233 h 6557032"/>
              <a:gd name="connsiteX3752" fmla="*/ 1306499 w 4610101"/>
              <a:gd name="connsiteY3752" fmla="*/ 3213343 h 6557032"/>
              <a:gd name="connsiteX3753" fmla="*/ 1295566 w 4610101"/>
              <a:gd name="connsiteY3753" fmla="*/ 3224276 h 6557032"/>
              <a:gd name="connsiteX3754" fmla="*/ 1295566 w 4610101"/>
              <a:gd name="connsiteY3754" fmla="*/ 3216989 h 6557032"/>
              <a:gd name="connsiteX3755" fmla="*/ 1280988 w 4610101"/>
              <a:gd name="connsiteY3755" fmla="*/ 3216989 h 6557032"/>
              <a:gd name="connsiteX3756" fmla="*/ 1288277 w 4610101"/>
              <a:gd name="connsiteY3756" fmla="*/ 3202411 h 6557032"/>
              <a:gd name="connsiteX3757" fmla="*/ 1574358 w 4610101"/>
              <a:gd name="connsiteY3757" fmla="*/ 3200587 h 6557032"/>
              <a:gd name="connsiteX3758" fmla="*/ 1578003 w 4610101"/>
              <a:gd name="connsiteY3758" fmla="*/ 3200587 h 6557032"/>
              <a:gd name="connsiteX3759" fmla="*/ 1574358 w 4610101"/>
              <a:gd name="connsiteY3759" fmla="*/ 3202411 h 6557032"/>
              <a:gd name="connsiteX3760" fmla="*/ 1574358 w 4610101"/>
              <a:gd name="connsiteY3760" fmla="*/ 3200587 h 6557032"/>
              <a:gd name="connsiteX3761" fmla="*/ 1873195 w 4610101"/>
              <a:gd name="connsiteY3761" fmla="*/ 3198768 h 6557032"/>
              <a:gd name="connsiteX3762" fmla="*/ 1875017 w 4610101"/>
              <a:gd name="connsiteY3762" fmla="*/ 3200589 h 6557032"/>
              <a:gd name="connsiteX3763" fmla="*/ 1871372 w 4610101"/>
              <a:gd name="connsiteY3763" fmla="*/ 3200589 h 6557032"/>
              <a:gd name="connsiteX3764" fmla="*/ 1873195 w 4610101"/>
              <a:gd name="connsiteY3764" fmla="*/ 3198768 h 6557032"/>
              <a:gd name="connsiteX3765" fmla="*/ 1712845 w 4610101"/>
              <a:gd name="connsiteY3765" fmla="*/ 3198767 h 6557032"/>
              <a:gd name="connsiteX3766" fmla="*/ 1694622 w 4610101"/>
              <a:gd name="connsiteY3766" fmla="*/ 3213345 h 6557032"/>
              <a:gd name="connsiteX3767" fmla="*/ 1681867 w 4610101"/>
              <a:gd name="connsiteY3767" fmla="*/ 3207877 h 6557032"/>
              <a:gd name="connsiteX3768" fmla="*/ 1681867 w 4610101"/>
              <a:gd name="connsiteY3768" fmla="*/ 3204233 h 6557032"/>
              <a:gd name="connsiteX3769" fmla="*/ 1712845 w 4610101"/>
              <a:gd name="connsiteY3769" fmla="*/ 3198767 h 6557032"/>
              <a:gd name="connsiteX3770" fmla="*/ 1596225 w 4610101"/>
              <a:gd name="connsiteY3770" fmla="*/ 3198767 h 6557032"/>
              <a:gd name="connsiteX3771" fmla="*/ 1599869 w 4610101"/>
              <a:gd name="connsiteY3771" fmla="*/ 3200587 h 6557032"/>
              <a:gd name="connsiteX3772" fmla="*/ 1592580 w 4610101"/>
              <a:gd name="connsiteY3772" fmla="*/ 3202411 h 6557032"/>
              <a:gd name="connsiteX3773" fmla="*/ 1596225 w 4610101"/>
              <a:gd name="connsiteY3773" fmla="*/ 3198767 h 6557032"/>
              <a:gd name="connsiteX3774" fmla="*/ 3649815 w 4610101"/>
              <a:gd name="connsiteY3774" fmla="*/ 3195125 h 6557032"/>
              <a:gd name="connsiteX3775" fmla="*/ 3671681 w 4610101"/>
              <a:gd name="connsiteY3775" fmla="*/ 3218820 h 6557032"/>
              <a:gd name="connsiteX3776" fmla="*/ 3642526 w 4610101"/>
              <a:gd name="connsiteY3776" fmla="*/ 3209701 h 6557032"/>
              <a:gd name="connsiteX3777" fmla="*/ 1716488 w 4610101"/>
              <a:gd name="connsiteY3777" fmla="*/ 3195123 h 6557032"/>
              <a:gd name="connsiteX3778" fmla="*/ 1758397 w 4610101"/>
              <a:gd name="connsiteY3778" fmla="*/ 3196945 h 6557032"/>
              <a:gd name="connsiteX3779" fmla="*/ 1705554 w 4610101"/>
              <a:gd name="connsiteY3779" fmla="*/ 3222457 h 6557032"/>
              <a:gd name="connsiteX3780" fmla="*/ 1701910 w 4610101"/>
              <a:gd name="connsiteY3780" fmla="*/ 3220635 h 6557032"/>
              <a:gd name="connsiteX3781" fmla="*/ 1698266 w 4610101"/>
              <a:gd name="connsiteY3781" fmla="*/ 3222457 h 6557032"/>
              <a:gd name="connsiteX3782" fmla="*/ 1692799 w 4610101"/>
              <a:gd name="connsiteY3782" fmla="*/ 3218811 h 6557032"/>
              <a:gd name="connsiteX3783" fmla="*/ 1696444 w 4610101"/>
              <a:gd name="connsiteY3783" fmla="*/ 3218811 h 6557032"/>
              <a:gd name="connsiteX3784" fmla="*/ 1692799 w 4610101"/>
              <a:gd name="connsiteY3784" fmla="*/ 3215169 h 6557032"/>
              <a:gd name="connsiteX3785" fmla="*/ 1716488 w 4610101"/>
              <a:gd name="connsiteY3785" fmla="*/ 3195123 h 6557032"/>
              <a:gd name="connsiteX3786" fmla="*/ 3565995 w 4610101"/>
              <a:gd name="connsiteY3786" fmla="*/ 3193304 h 6557032"/>
              <a:gd name="connsiteX3787" fmla="*/ 3565995 w 4610101"/>
              <a:gd name="connsiteY3787" fmla="*/ 3216998 h 6557032"/>
              <a:gd name="connsiteX3788" fmla="*/ 3549595 w 4610101"/>
              <a:gd name="connsiteY3788" fmla="*/ 3207879 h 6557032"/>
              <a:gd name="connsiteX3789" fmla="*/ 3325468 w 4610101"/>
              <a:gd name="connsiteY3789" fmla="*/ 3193304 h 6557032"/>
              <a:gd name="connsiteX3790" fmla="*/ 3323645 w 4610101"/>
              <a:gd name="connsiteY3790" fmla="*/ 3218820 h 6557032"/>
              <a:gd name="connsiteX3791" fmla="*/ 3309068 w 4610101"/>
              <a:gd name="connsiteY3791" fmla="*/ 3202413 h 6557032"/>
              <a:gd name="connsiteX3792" fmla="*/ 3436621 w 4610101"/>
              <a:gd name="connsiteY3792" fmla="*/ 3187840 h 6557032"/>
              <a:gd name="connsiteX3793" fmla="*/ 3445732 w 4610101"/>
              <a:gd name="connsiteY3793" fmla="*/ 3193306 h 6557032"/>
              <a:gd name="connsiteX3794" fmla="*/ 3400177 w 4610101"/>
              <a:gd name="connsiteY3794" fmla="*/ 3224292 h 6557032"/>
              <a:gd name="connsiteX3795" fmla="*/ 3678970 w 4610101"/>
              <a:gd name="connsiteY3795" fmla="*/ 3187838 h 6557032"/>
              <a:gd name="connsiteX3796" fmla="*/ 3704481 w 4610101"/>
              <a:gd name="connsiteY3796" fmla="*/ 3195125 h 6557032"/>
              <a:gd name="connsiteX3797" fmla="*/ 3688081 w 4610101"/>
              <a:gd name="connsiteY3797" fmla="*/ 3209703 h 6557032"/>
              <a:gd name="connsiteX3798" fmla="*/ 1450453 w 4610101"/>
              <a:gd name="connsiteY3798" fmla="*/ 3182367 h 6557032"/>
              <a:gd name="connsiteX3799" fmla="*/ 1444985 w 4610101"/>
              <a:gd name="connsiteY3799" fmla="*/ 3200589 h 6557032"/>
              <a:gd name="connsiteX3800" fmla="*/ 1393963 w 4610101"/>
              <a:gd name="connsiteY3800" fmla="*/ 3204233 h 6557032"/>
              <a:gd name="connsiteX3801" fmla="*/ 1412185 w 4610101"/>
              <a:gd name="connsiteY3801" fmla="*/ 3202411 h 6557032"/>
              <a:gd name="connsiteX3802" fmla="*/ 1415829 w 4610101"/>
              <a:gd name="connsiteY3802" fmla="*/ 3200589 h 6557032"/>
              <a:gd name="connsiteX3803" fmla="*/ 1412185 w 4610101"/>
              <a:gd name="connsiteY3803" fmla="*/ 3198767 h 6557032"/>
              <a:gd name="connsiteX3804" fmla="*/ 1450453 w 4610101"/>
              <a:gd name="connsiteY3804" fmla="*/ 3182367 h 6557032"/>
              <a:gd name="connsiteX3805" fmla="*/ 3239826 w 4610101"/>
              <a:gd name="connsiteY3805" fmla="*/ 3180543 h 6557032"/>
              <a:gd name="connsiteX3806" fmla="*/ 3227071 w 4610101"/>
              <a:gd name="connsiteY3806" fmla="*/ 3209699 h 6557032"/>
              <a:gd name="connsiteX3807" fmla="*/ 3241648 w 4610101"/>
              <a:gd name="connsiteY3807" fmla="*/ 3209699 h 6557032"/>
              <a:gd name="connsiteX3808" fmla="*/ 3241648 w 4610101"/>
              <a:gd name="connsiteY3808" fmla="*/ 3213343 h 6557032"/>
              <a:gd name="connsiteX3809" fmla="*/ 3161471 w 4610101"/>
              <a:gd name="connsiteY3809" fmla="*/ 3198765 h 6557032"/>
              <a:gd name="connsiteX3810" fmla="*/ 3239826 w 4610101"/>
              <a:gd name="connsiteY3810" fmla="*/ 3180543 h 6557032"/>
              <a:gd name="connsiteX3811" fmla="*/ 1887772 w 4610101"/>
              <a:gd name="connsiteY3811" fmla="*/ 3178724 h 6557032"/>
              <a:gd name="connsiteX3812" fmla="*/ 1882306 w 4610101"/>
              <a:gd name="connsiteY3812" fmla="*/ 3187833 h 6557032"/>
              <a:gd name="connsiteX3813" fmla="*/ 1882306 w 4610101"/>
              <a:gd name="connsiteY3813" fmla="*/ 3182367 h 6557032"/>
              <a:gd name="connsiteX3814" fmla="*/ 1887772 w 4610101"/>
              <a:gd name="connsiteY3814" fmla="*/ 3178724 h 6557032"/>
              <a:gd name="connsiteX3815" fmla="*/ 2979255 w 4610101"/>
              <a:gd name="connsiteY3815" fmla="*/ 3178721 h 6557032"/>
              <a:gd name="connsiteX3816" fmla="*/ 2979255 w 4610101"/>
              <a:gd name="connsiteY3816" fmla="*/ 3200587 h 6557032"/>
              <a:gd name="connsiteX3817" fmla="*/ 3010232 w 4610101"/>
              <a:gd name="connsiteY3817" fmla="*/ 3193299 h 6557032"/>
              <a:gd name="connsiteX3818" fmla="*/ 2979255 w 4610101"/>
              <a:gd name="connsiteY3818" fmla="*/ 3178721 h 6557032"/>
              <a:gd name="connsiteX3819" fmla="*/ 3015698 w 4610101"/>
              <a:gd name="connsiteY3819" fmla="*/ 3171434 h 6557032"/>
              <a:gd name="connsiteX3820" fmla="*/ 3019343 w 4610101"/>
              <a:gd name="connsiteY3820" fmla="*/ 3195121 h 6557032"/>
              <a:gd name="connsiteX3821" fmla="*/ 3030276 w 4610101"/>
              <a:gd name="connsiteY3821" fmla="*/ 3207877 h 6557032"/>
              <a:gd name="connsiteX3822" fmla="*/ 3039387 w 4610101"/>
              <a:gd name="connsiteY3822" fmla="*/ 3186011 h 6557032"/>
              <a:gd name="connsiteX3823" fmla="*/ 3024809 w 4610101"/>
              <a:gd name="connsiteY3823" fmla="*/ 3182367 h 6557032"/>
              <a:gd name="connsiteX3824" fmla="*/ 3015698 w 4610101"/>
              <a:gd name="connsiteY3824" fmla="*/ 3171434 h 6557032"/>
              <a:gd name="connsiteX3825" fmla="*/ 1605336 w 4610101"/>
              <a:gd name="connsiteY3825" fmla="*/ 3169614 h 6557032"/>
              <a:gd name="connsiteX3826" fmla="*/ 1607158 w 4610101"/>
              <a:gd name="connsiteY3826" fmla="*/ 3176902 h 6557032"/>
              <a:gd name="connsiteX3827" fmla="*/ 1601691 w 4610101"/>
              <a:gd name="connsiteY3827" fmla="*/ 3176902 h 6557032"/>
              <a:gd name="connsiteX3828" fmla="*/ 1603514 w 4610101"/>
              <a:gd name="connsiteY3828" fmla="*/ 3175082 h 6557032"/>
              <a:gd name="connsiteX3829" fmla="*/ 1599869 w 4610101"/>
              <a:gd name="connsiteY3829" fmla="*/ 3173258 h 6557032"/>
              <a:gd name="connsiteX3830" fmla="*/ 1605336 w 4610101"/>
              <a:gd name="connsiteY3830" fmla="*/ 3169614 h 6557032"/>
              <a:gd name="connsiteX3831" fmla="*/ 3270802 w 4610101"/>
              <a:gd name="connsiteY3831" fmla="*/ 3167790 h 6557032"/>
              <a:gd name="connsiteX3832" fmla="*/ 3270802 w 4610101"/>
              <a:gd name="connsiteY3832" fmla="*/ 3173256 h 6557032"/>
              <a:gd name="connsiteX3833" fmla="*/ 3270802 w 4610101"/>
              <a:gd name="connsiteY3833" fmla="*/ 3180543 h 6557032"/>
              <a:gd name="connsiteX3834" fmla="*/ 3254402 w 4610101"/>
              <a:gd name="connsiteY3834" fmla="*/ 3202411 h 6557032"/>
              <a:gd name="connsiteX3835" fmla="*/ 3263513 w 4610101"/>
              <a:gd name="connsiteY3835" fmla="*/ 3173256 h 6557032"/>
              <a:gd name="connsiteX3836" fmla="*/ 3270802 w 4610101"/>
              <a:gd name="connsiteY3836" fmla="*/ 3167790 h 6557032"/>
              <a:gd name="connsiteX3837" fmla="*/ 1297388 w 4610101"/>
              <a:gd name="connsiteY3837" fmla="*/ 3164146 h 6557032"/>
              <a:gd name="connsiteX3838" fmla="*/ 1310144 w 4610101"/>
              <a:gd name="connsiteY3838" fmla="*/ 3171434 h 6557032"/>
              <a:gd name="connsiteX3839" fmla="*/ 1311966 w 4610101"/>
              <a:gd name="connsiteY3839" fmla="*/ 3169614 h 6557032"/>
              <a:gd name="connsiteX3840" fmla="*/ 1335655 w 4610101"/>
              <a:gd name="connsiteY3840" fmla="*/ 3171434 h 6557032"/>
              <a:gd name="connsiteX3841" fmla="*/ 1321077 w 4610101"/>
              <a:gd name="connsiteY3841" fmla="*/ 3191479 h 6557032"/>
              <a:gd name="connsiteX3842" fmla="*/ 1319254 w 4610101"/>
              <a:gd name="connsiteY3842" fmla="*/ 3196945 h 6557032"/>
              <a:gd name="connsiteX3843" fmla="*/ 1311966 w 4610101"/>
              <a:gd name="connsiteY3843" fmla="*/ 3195123 h 6557032"/>
              <a:gd name="connsiteX3844" fmla="*/ 1301033 w 4610101"/>
              <a:gd name="connsiteY3844" fmla="*/ 3187835 h 6557032"/>
              <a:gd name="connsiteX3845" fmla="*/ 3334579 w 4610101"/>
              <a:gd name="connsiteY3845" fmla="*/ 3164144 h 6557032"/>
              <a:gd name="connsiteX3846" fmla="*/ 3341868 w 4610101"/>
              <a:gd name="connsiteY3846" fmla="*/ 3164144 h 6557032"/>
              <a:gd name="connsiteX3847" fmla="*/ 3341868 w 4610101"/>
              <a:gd name="connsiteY3847" fmla="*/ 3167790 h 6557032"/>
              <a:gd name="connsiteX3848" fmla="*/ 3325468 w 4610101"/>
              <a:gd name="connsiteY3848" fmla="*/ 3175078 h 6557032"/>
              <a:gd name="connsiteX3849" fmla="*/ 3334579 w 4610101"/>
              <a:gd name="connsiteY3849" fmla="*/ 3184189 h 6557032"/>
              <a:gd name="connsiteX3850" fmla="*/ 3343690 w 4610101"/>
              <a:gd name="connsiteY3850" fmla="*/ 3180544 h 6557032"/>
              <a:gd name="connsiteX3851" fmla="*/ 3343690 w 4610101"/>
              <a:gd name="connsiteY3851" fmla="*/ 3186012 h 6557032"/>
              <a:gd name="connsiteX3852" fmla="*/ 3305424 w 4610101"/>
              <a:gd name="connsiteY3852" fmla="*/ 3180544 h 6557032"/>
              <a:gd name="connsiteX3853" fmla="*/ 3305424 w 4610101"/>
              <a:gd name="connsiteY3853" fmla="*/ 3202411 h 6557032"/>
              <a:gd name="connsiteX3854" fmla="*/ 3290846 w 4610101"/>
              <a:gd name="connsiteY3854" fmla="*/ 3202411 h 6557032"/>
              <a:gd name="connsiteX3855" fmla="*/ 3298136 w 4610101"/>
              <a:gd name="connsiteY3855" fmla="*/ 3173256 h 6557032"/>
              <a:gd name="connsiteX3856" fmla="*/ 3299958 w 4610101"/>
              <a:gd name="connsiteY3856" fmla="*/ 3169612 h 6557032"/>
              <a:gd name="connsiteX3857" fmla="*/ 3305424 w 4610101"/>
              <a:gd name="connsiteY3857" fmla="*/ 3175078 h 6557032"/>
              <a:gd name="connsiteX3858" fmla="*/ 3334579 w 4610101"/>
              <a:gd name="connsiteY3858" fmla="*/ 3164144 h 6557032"/>
              <a:gd name="connsiteX3859" fmla="*/ 3852076 w 4610101"/>
              <a:gd name="connsiteY3859" fmla="*/ 3158695 h 6557032"/>
              <a:gd name="connsiteX3860" fmla="*/ 3892164 w 4610101"/>
              <a:gd name="connsiteY3860" fmla="*/ 3171447 h 6557032"/>
              <a:gd name="connsiteX3861" fmla="*/ 3883053 w 4610101"/>
              <a:gd name="connsiteY3861" fmla="*/ 3187840 h 6557032"/>
              <a:gd name="connsiteX3862" fmla="*/ 3613372 w 4610101"/>
              <a:gd name="connsiteY3862" fmla="*/ 3156871 h 6557032"/>
              <a:gd name="connsiteX3863" fmla="*/ 3635238 w 4610101"/>
              <a:gd name="connsiteY3863" fmla="*/ 3156871 h 6557032"/>
              <a:gd name="connsiteX3864" fmla="*/ 3635238 w 4610101"/>
              <a:gd name="connsiteY3864" fmla="*/ 3171444 h 6557032"/>
              <a:gd name="connsiteX3865" fmla="*/ 3613372 w 4610101"/>
              <a:gd name="connsiteY3865" fmla="*/ 3156871 h 6557032"/>
              <a:gd name="connsiteX3866" fmla="*/ 1718310 w 4610101"/>
              <a:gd name="connsiteY3866" fmla="*/ 3156858 h 6557032"/>
              <a:gd name="connsiteX3867" fmla="*/ 1723777 w 4610101"/>
              <a:gd name="connsiteY3867" fmla="*/ 3162325 h 6557032"/>
              <a:gd name="connsiteX3868" fmla="*/ 1718310 w 4610101"/>
              <a:gd name="connsiteY3868" fmla="*/ 3156858 h 6557032"/>
              <a:gd name="connsiteX3869" fmla="*/ 3106807 w 4610101"/>
              <a:gd name="connsiteY3869" fmla="*/ 3156856 h 6557032"/>
              <a:gd name="connsiteX3870" fmla="*/ 3106807 w 4610101"/>
              <a:gd name="connsiteY3870" fmla="*/ 3178721 h 6557032"/>
              <a:gd name="connsiteX3871" fmla="*/ 3128673 w 4610101"/>
              <a:gd name="connsiteY3871" fmla="*/ 3178721 h 6557032"/>
              <a:gd name="connsiteX3872" fmla="*/ 3128673 w 4610101"/>
              <a:gd name="connsiteY3872" fmla="*/ 3156856 h 6557032"/>
              <a:gd name="connsiteX3873" fmla="*/ 1144326 w 4610101"/>
              <a:gd name="connsiteY3873" fmla="*/ 3155051 h 6557032"/>
              <a:gd name="connsiteX3874" fmla="*/ 1151614 w 4610101"/>
              <a:gd name="connsiteY3874" fmla="*/ 3169625 h 6557032"/>
              <a:gd name="connsiteX3875" fmla="*/ 1144326 w 4610101"/>
              <a:gd name="connsiteY3875" fmla="*/ 3180554 h 6557032"/>
              <a:gd name="connsiteX3876" fmla="*/ 1129748 w 4610101"/>
              <a:gd name="connsiteY3876" fmla="*/ 3169625 h 6557032"/>
              <a:gd name="connsiteX3877" fmla="*/ 1729243 w 4610101"/>
              <a:gd name="connsiteY3877" fmla="*/ 3151395 h 6557032"/>
              <a:gd name="connsiteX3878" fmla="*/ 1741998 w 4610101"/>
              <a:gd name="connsiteY3878" fmla="*/ 3153217 h 6557032"/>
              <a:gd name="connsiteX3879" fmla="*/ 1738354 w 4610101"/>
              <a:gd name="connsiteY3879" fmla="*/ 3158682 h 6557032"/>
              <a:gd name="connsiteX3880" fmla="*/ 1734710 w 4610101"/>
              <a:gd name="connsiteY3880" fmla="*/ 3153217 h 6557032"/>
              <a:gd name="connsiteX3881" fmla="*/ 1729243 w 4610101"/>
              <a:gd name="connsiteY3881" fmla="*/ 3156862 h 6557032"/>
              <a:gd name="connsiteX3882" fmla="*/ 1729243 w 4610101"/>
              <a:gd name="connsiteY3882" fmla="*/ 3151395 h 6557032"/>
              <a:gd name="connsiteX3883" fmla="*/ 3197916 w 4610101"/>
              <a:gd name="connsiteY3883" fmla="*/ 3151390 h 6557032"/>
              <a:gd name="connsiteX3884" fmla="*/ 3166939 w 4610101"/>
              <a:gd name="connsiteY3884" fmla="*/ 3158678 h 6557032"/>
              <a:gd name="connsiteX3885" fmla="*/ 3166939 w 4610101"/>
              <a:gd name="connsiteY3885" fmla="*/ 3180544 h 6557032"/>
              <a:gd name="connsiteX3886" fmla="*/ 3197916 w 4610101"/>
              <a:gd name="connsiteY3886" fmla="*/ 3165966 h 6557032"/>
              <a:gd name="connsiteX3887" fmla="*/ 3212493 w 4610101"/>
              <a:gd name="connsiteY3887" fmla="*/ 3158678 h 6557032"/>
              <a:gd name="connsiteX3888" fmla="*/ 3385601 w 4610101"/>
              <a:gd name="connsiteY3888" fmla="*/ 3149590 h 6557032"/>
              <a:gd name="connsiteX3889" fmla="*/ 3385601 w 4610101"/>
              <a:gd name="connsiteY3889" fmla="*/ 3164161 h 6557032"/>
              <a:gd name="connsiteX3890" fmla="*/ 3407467 w 4610101"/>
              <a:gd name="connsiteY3890" fmla="*/ 3164161 h 6557032"/>
              <a:gd name="connsiteX3891" fmla="*/ 3392889 w 4610101"/>
              <a:gd name="connsiteY3891" fmla="*/ 3186020 h 6557032"/>
              <a:gd name="connsiteX3892" fmla="*/ 3371023 w 4610101"/>
              <a:gd name="connsiteY3892" fmla="*/ 3156875 h 6557032"/>
              <a:gd name="connsiteX3893" fmla="*/ 4305797 w 4610101"/>
              <a:gd name="connsiteY3893" fmla="*/ 3149581 h 6557032"/>
              <a:gd name="connsiteX3894" fmla="*/ 4322197 w 4610101"/>
              <a:gd name="connsiteY3894" fmla="*/ 3149581 h 6557032"/>
              <a:gd name="connsiteX3895" fmla="*/ 4307619 w 4610101"/>
              <a:gd name="connsiteY3895" fmla="*/ 3165976 h 6557032"/>
              <a:gd name="connsiteX3896" fmla="*/ 1226323 w 4610101"/>
              <a:gd name="connsiteY3896" fmla="*/ 3147762 h 6557032"/>
              <a:gd name="connsiteX3897" fmla="*/ 1228145 w 4610101"/>
              <a:gd name="connsiteY3897" fmla="*/ 3171444 h 6557032"/>
              <a:gd name="connsiteX3898" fmla="*/ 1211745 w 4610101"/>
              <a:gd name="connsiteY3898" fmla="*/ 3162337 h 6557032"/>
              <a:gd name="connsiteX3899" fmla="*/ 3336401 w 4610101"/>
              <a:gd name="connsiteY3899" fmla="*/ 3136811 h 6557032"/>
              <a:gd name="connsiteX3900" fmla="*/ 3338223 w 4610101"/>
              <a:gd name="connsiteY3900" fmla="*/ 3138635 h 6557032"/>
              <a:gd name="connsiteX3901" fmla="*/ 3332756 w 4610101"/>
              <a:gd name="connsiteY3901" fmla="*/ 3145922 h 6557032"/>
              <a:gd name="connsiteX3902" fmla="*/ 3305424 w 4610101"/>
              <a:gd name="connsiteY3902" fmla="*/ 3162322 h 6557032"/>
              <a:gd name="connsiteX3903" fmla="*/ 3310890 w 4610101"/>
              <a:gd name="connsiteY3903" fmla="*/ 3156856 h 6557032"/>
              <a:gd name="connsiteX3904" fmla="*/ 3301779 w 4610101"/>
              <a:gd name="connsiteY3904" fmla="*/ 3151389 h 6557032"/>
              <a:gd name="connsiteX3905" fmla="*/ 3336401 w 4610101"/>
              <a:gd name="connsiteY3905" fmla="*/ 3136811 h 6557032"/>
              <a:gd name="connsiteX3906" fmla="*/ 1251834 w 4610101"/>
              <a:gd name="connsiteY3906" fmla="*/ 3133196 h 6557032"/>
              <a:gd name="connsiteX3907" fmla="*/ 1259122 w 4610101"/>
              <a:gd name="connsiteY3907" fmla="*/ 3149590 h 6557032"/>
              <a:gd name="connsiteX3908" fmla="*/ 1275524 w 4610101"/>
              <a:gd name="connsiteY3908" fmla="*/ 3151412 h 6557032"/>
              <a:gd name="connsiteX3909" fmla="*/ 1259122 w 4610101"/>
              <a:gd name="connsiteY3909" fmla="*/ 3164163 h 6557032"/>
              <a:gd name="connsiteX3910" fmla="*/ 1251834 w 4610101"/>
              <a:gd name="connsiteY3910" fmla="*/ 3186020 h 6557032"/>
              <a:gd name="connsiteX3911" fmla="*/ 1237256 w 4610101"/>
              <a:gd name="connsiteY3911" fmla="*/ 3147770 h 6557032"/>
              <a:gd name="connsiteX3912" fmla="*/ 1251834 w 4610101"/>
              <a:gd name="connsiteY3912" fmla="*/ 3147770 h 6557032"/>
              <a:gd name="connsiteX3913" fmla="*/ 1295565 w 4610101"/>
              <a:gd name="connsiteY3913" fmla="*/ 3133192 h 6557032"/>
              <a:gd name="connsiteX3914" fmla="*/ 1326543 w 4610101"/>
              <a:gd name="connsiteY3914" fmla="*/ 3133192 h 6557032"/>
              <a:gd name="connsiteX3915" fmla="*/ 1326543 w 4610101"/>
              <a:gd name="connsiteY3915" fmla="*/ 3149569 h 6557032"/>
              <a:gd name="connsiteX3916" fmla="*/ 1333831 w 4610101"/>
              <a:gd name="connsiteY3916" fmla="*/ 3142281 h 6557032"/>
              <a:gd name="connsiteX3917" fmla="*/ 1346586 w 4610101"/>
              <a:gd name="connsiteY3917" fmla="*/ 3145925 h 6557032"/>
              <a:gd name="connsiteX3918" fmla="*/ 1341120 w 4610101"/>
              <a:gd name="connsiteY3918" fmla="*/ 3158681 h 6557032"/>
              <a:gd name="connsiteX3919" fmla="*/ 1326542 w 4610101"/>
              <a:gd name="connsiteY3919" fmla="*/ 3151390 h 6557032"/>
              <a:gd name="connsiteX3920" fmla="*/ 1326542 w 4610101"/>
              <a:gd name="connsiteY3920" fmla="*/ 3149588 h 6557032"/>
              <a:gd name="connsiteX3921" fmla="*/ 1295565 w 4610101"/>
              <a:gd name="connsiteY3921" fmla="*/ 3142300 h 6557032"/>
              <a:gd name="connsiteX3922" fmla="*/ 3152361 w 4610101"/>
              <a:gd name="connsiteY3922" fmla="*/ 3133169 h 6557032"/>
              <a:gd name="connsiteX3923" fmla="*/ 3141428 w 4610101"/>
              <a:gd name="connsiteY3923" fmla="*/ 3158678 h 6557032"/>
              <a:gd name="connsiteX3924" fmla="*/ 3152361 w 4610101"/>
              <a:gd name="connsiteY3924" fmla="*/ 3178721 h 6557032"/>
              <a:gd name="connsiteX3925" fmla="*/ 1160725 w 4610101"/>
              <a:gd name="connsiteY3925" fmla="*/ 3125911 h 6557032"/>
              <a:gd name="connsiteX3926" fmla="*/ 1178946 w 4610101"/>
              <a:gd name="connsiteY3926" fmla="*/ 3145946 h 6557032"/>
              <a:gd name="connsiteX3927" fmla="*/ 1206280 w 4610101"/>
              <a:gd name="connsiteY3927" fmla="*/ 3178734 h 6557032"/>
              <a:gd name="connsiteX3928" fmla="*/ 1182592 w 4610101"/>
              <a:gd name="connsiteY3928" fmla="*/ 3155054 h 6557032"/>
              <a:gd name="connsiteX3929" fmla="*/ 1162547 w 4610101"/>
              <a:gd name="connsiteY3929" fmla="*/ 3171447 h 6557032"/>
              <a:gd name="connsiteX3930" fmla="*/ 1157080 w 4610101"/>
              <a:gd name="connsiteY3930" fmla="*/ 3142306 h 6557032"/>
              <a:gd name="connsiteX3931" fmla="*/ 3378312 w 4610101"/>
              <a:gd name="connsiteY3931" fmla="*/ 3125907 h 6557032"/>
              <a:gd name="connsiteX3932" fmla="*/ 3402000 w 4610101"/>
              <a:gd name="connsiteY3932" fmla="*/ 3135014 h 6557032"/>
              <a:gd name="connsiteX3933" fmla="*/ 3385601 w 4610101"/>
              <a:gd name="connsiteY3933" fmla="*/ 3149588 h 6557032"/>
              <a:gd name="connsiteX3934" fmla="*/ 3380134 w 4610101"/>
              <a:gd name="connsiteY3934" fmla="*/ 3140478 h 6557032"/>
              <a:gd name="connsiteX3935" fmla="*/ 3371023 w 4610101"/>
              <a:gd name="connsiteY3935" fmla="*/ 3133192 h 6557032"/>
              <a:gd name="connsiteX3936" fmla="*/ 3356445 w 4610101"/>
              <a:gd name="connsiteY3936" fmla="*/ 3125898 h 6557032"/>
              <a:gd name="connsiteX3937" fmla="*/ 3371023 w 4610101"/>
              <a:gd name="connsiteY3937" fmla="*/ 3133186 h 6557032"/>
              <a:gd name="connsiteX3938" fmla="*/ 3347334 w 4610101"/>
              <a:gd name="connsiteY3938" fmla="*/ 3140473 h 6557032"/>
              <a:gd name="connsiteX3939" fmla="*/ 3416576 w 4610101"/>
              <a:gd name="connsiteY3939" fmla="*/ 3098588 h 6557032"/>
              <a:gd name="connsiteX3940" fmla="*/ 3431154 w 4610101"/>
              <a:gd name="connsiteY3940" fmla="*/ 3107696 h 6557032"/>
              <a:gd name="connsiteX3941" fmla="*/ 3425687 w 4610101"/>
              <a:gd name="connsiteY3941" fmla="*/ 3111340 h 6557032"/>
              <a:gd name="connsiteX3942" fmla="*/ 3416576 w 4610101"/>
              <a:gd name="connsiteY3942" fmla="*/ 3098588 h 6557032"/>
              <a:gd name="connsiteX3943" fmla="*/ 1326543 w 4610101"/>
              <a:gd name="connsiteY3943" fmla="*/ 3096753 h 6557032"/>
              <a:gd name="connsiteX3944" fmla="*/ 1333831 w 4610101"/>
              <a:gd name="connsiteY3944" fmla="*/ 3111327 h 6557032"/>
              <a:gd name="connsiteX3945" fmla="*/ 1310143 w 4610101"/>
              <a:gd name="connsiteY3945" fmla="*/ 3109503 h 6557032"/>
              <a:gd name="connsiteX3946" fmla="*/ 1204457 w 4610101"/>
              <a:gd name="connsiteY3946" fmla="*/ 3094934 h 6557032"/>
              <a:gd name="connsiteX3947" fmla="*/ 1206279 w 4610101"/>
              <a:gd name="connsiteY3947" fmla="*/ 3118614 h 6557032"/>
              <a:gd name="connsiteX3948" fmla="*/ 1189879 w 4610101"/>
              <a:gd name="connsiteY3948" fmla="*/ 3109505 h 6557032"/>
              <a:gd name="connsiteX3949" fmla="*/ 1115170 w 4610101"/>
              <a:gd name="connsiteY3949" fmla="*/ 3089474 h 6557032"/>
              <a:gd name="connsiteX3950" fmla="*/ 1138858 w 4610101"/>
              <a:gd name="connsiteY3950" fmla="*/ 3089474 h 6557032"/>
              <a:gd name="connsiteX3951" fmla="*/ 1116992 w 4610101"/>
              <a:gd name="connsiteY3951" fmla="*/ 3113157 h 6557032"/>
              <a:gd name="connsiteX3952" fmla="*/ 3536839 w 4610101"/>
              <a:gd name="connsiteY3952" fmla="*/ 3089463 h 6557032"/>
              <a:gd name="connsiteX3953" fmla="*/ 3553239 w 4610101"/>
              <a:gd name="connsiteY3953" fmla="*/ 3089463 h 6557032"/>
              <a:gd name="connsiteX3954" fmla="*/ 3538661 w 4610101"/>
              <a:gd name="connsiteY3954" fmla="*/ 3105859 h 6557032"/>
              <a:gd name="connsiteX3955" fmla="*/ 3753679 w 4610101"/>
              <a:gd name="connsiteY3955" fmla="*/ 3087659 h 6557032"/>
              <a:gd name="connsiteX3956" fmla="*/ 3793767 w 4610101"/>
              <a:gd name="connsiteY3956" fmla="*/ 3104052 h 6557032"/>
              <a:gd name="connsiteX3957" fmla="*/ 3777367 w 4610101"/>
              <a:gd name="connsiteY3957" fmla="*/ 3125911 h 6557032"/>
              <a:gd name="connsiteX3958" fmla="*/ 3746390 w 4610101"/>
              <a:gd name="connsiteY3958" fmla="*/ 3105874 h 6557032"/>
              <a:gd name="connsiteX3959" fmla="*/ 3762790 w 4610101"/>
              <a:gd name="connsiteY3959" fmla="*/ 3102230 h 6557032"/>
              <a:gd name="connsiteX3960" fmla="*/ 1381208 w 4610101"/>
              <a:gd name="connsiteY3960" fmla="*/ 3087625 h 6557032"/>
              <a:gd name="connsiteX3961" fmla="*/ 1384854 w 4610101"/>
              <a:gd name="connsiteY3961" fmla="*/ 3093090 h 6557032"/>
              <a:gd name="connsiteX3962" fmla="*/ 1383030 w 4610101"/>
              <a:gd name="connsiteY3962" fmla="*/ 3091268 h 6557032"/>
              <a:gd name="connsiteX3963" fmla="*/ 1381208 w 4610101"/>
              <a:gd name="connsiteY3963" fmla="*/ 3087625 h 6557032"/>
              <a:gd name="connsiteX3964" fmla="*/ 4056161 w 4610101"/>
              <a:gd name="connsiteY3964" fmla="*/ 3080367 h 6557032"/>
              <a:gd name="connsiteX3965" fmla="*/ 4065272 w 4610101"/>
              <a:gd name="connsiteY3965" fmla="*/ 3089476 h 6557032"/>
              <a:gd name="connsiteX3966" fmla="*/ 4056161 w 4610101"/>
              <a:gd name="connsiteY3966" fmla="*/ 3104048 h 6557032"/>
              <a:gd name="connsiteX3967" fmla="*/ 4041583 w 4610101"/>
              <a:gd name="connsiteY3967" fmla="*/ 3094940 h 6557032"/>
              <a:gd name="connsiteX3968" fmla="*/ 1235434 w 4610101"/>
              <a:gd name="connsiteY3968" fmla="*/ 3080358 h 6557032"/>
              <a:gd name="connsiteX3969" fmla="*/ 1242722 w 4610101"/>
              <a:gd name="connsiteY3969" fmla="*/ 3096755 h 6557032"/>
              <a:gd name="connsiteX3970" fmla="*/ 1219034 w 4610101"/>
              <a:gd name="connsiteY3970" fmla="*/ 3094934 h 6557032"/>
              <a:gd name="connsiteX3971" fmla="*/ 1280988 w 4610101"/>
              <a:gd name="connsiteY3971" fmla="*/ 3074909 h 6557032"/>
              <a:gd name="connsiteX3972" fmla="*/ 1304676 w 4610101"/>
              <a:gd name="connsiteY3972" fmla="*/ 3074909 h 6557032"/>
              <a:gd name="connsiteX3973" fmla="*/ 1297388 w 4610101"/>
              <a:gd name="connsiteY3973" fmla="*/ 3089481 h 6557032"/>
              <a:gd name="connsiteX3974" fmla="*/ 1290099 w 4610101"/>
              <a:gd name="connsiteY3974" fmla="*/ 3118623 h 6557032"/>
              <a:gd name="connsiteX3975" fmla="*/ 1280988 w 4610101"/>
              <a:gd name="connsiteY3975" fmla="*/ 3096766 h 6557032"/>
              <a:gd name="connsiteX3976" fmla="*/ 1280988 w 4610101"/>
              <a:gd name="connsiteY3976" fmla="*/ 3074909 h 6557032"/>
              <a:gd name="connsiteX3977" fmla="*/ 4522635 w 4610101"/>
              <a:gd name="connsiteY3977" fmla="*/ 3074896 h 6557032"/>
              <a:gd name="connsiteX3978" fmla="*/ 4548147 w 4610101"/>
              <a:gd name="connsiteY3978" fmla="*/ 3074896 h 6557032"/>
              <a:gd name="connsiteX3979" fmla="*/ 4539036 w 4610101"/>
              <a:gd name="connsiteY3979" fmla="*/ 3089470 h 6557032"/>
              <a:gd name="connsiteX3980" fmla="*/ 4200112 w 4610101"/>
              <a:gd name="connsiteY3980" fmla="*/ 3073083 h 6557032"/>
              <a:gd name="connsiteX3981" fmla="*/ 4207400 w 4610101"/>
              <a:gd name="connsiteY3981" fmla="*/ 3094940 h 6557032"/>
              <a:gd name="connsiteX3982" fmla="*/ 4185534 w 4610101"/>
              <a:gd name="connsiteY3982" fmla="*/ 3094940 h 6557032"/>
              <a:gd name="connsiteX3983" fmla="*/ 4200112 w 4610101"/>
              <a:gd name="connsiteY3983" fmla="*/ 3073083 h 6557032"/>
              <a:gd name="connsiteX3984" fmla="*/ 3394711 w 4610101"/>
              <a:gd name="connsiteY3984" fmla="*/ 3073083 h 6557032"/>
              <a:gd name="connsiteX3985" fmla="*/ 3416577 w 4610101"/>
              <a:gd name="connsiteY3985" fmla="*/ 3073083 h 6557032"/>
              <a:gd name="connsiteX3986" fmla="*/ 3416577 w 4610101"/>
              <a:gd name="connsiteY3986" fmla="*/ 3104050 h 6557032"/>
              <a:gd name="connsiteX3987" fmla="*/ 3394711 w 4610101"/>
              <a:gd name="connsiteY3987" fmla="*/ 3073083 h 6557032"/>
              <a:gd name="connsiteX3988" fmla="*/ 3443909 w 4610101"/>
              <a:gd name="connsiteY3988" fmla="*/ 3071253 h 6557032"/>
              <a:gd name="connsiteX3989" fmla="*/ 3445731 w 4610101"/>
              <a:gd name="connsiteY3989" fmla="*/ 3096756 h 6557032"/>
              <a:gd name="connsiteX3990" fmla="*/ 3429331 w 4610101"/>
              <a:gd name="connsiteY3990" fmla="*/ 3087648 h 6557032"/>
              <a:gd name="connsiteX3991" fmla="*/ 3356444 w 4610101"/>
              <a:gd name="connsiteY3991" fmla="*/ 3065746 h 6557032"/>
              <a:gd name="connsiteX3992" fmla="*/ 3381955 w 4610101"/>
              <a:gd name="connsiteY3992" fmla="*/ 3080324 h 6557032"/>
              <a:gd name="connsiteX3993" fmla="*/ 3374666 w 4610101"/>
              <a:gd name="connsiteY3993" fmla="*/ 3080324 h 6557032"/>
              <a:gd name="connsiteX3994" fmla="*/ 3361911 w 4610101"/>
              <a:gd name="connsiteY3994" fmla="*/ 3073036 h 6557032"/>
              <a:gd name="connsiteX3995" fmla="*/ 3356444 w 4610101"/>
              <a:gd name="connsiteY3995" fmla="*/ 3065746 h 6557032"/>
              <a:gd name="connsiteX3996" fmla="*/ 1069616 w 4610101"/>
              <a:gd name="connsiteY3996" fmla="*/ 3058503 h 6557032"/>
              <a:gd name="connsiteX3997" fmla="*/ 1076904 w 4610101"/>
              <a:gd name="connsiteY3997" fmla="*/ 3080364 h 6557032"/>
              <a:gd name="connsiteX3998" fmla="*/ 1055038 w 4610101"/>
              <a:gd name="connsiteY3998" fmla="*/ 3080364 h 6557032"/>
              <a:gd name="connsiteX3999" fmla="*/ 1060505 w 4610101"/>
              <a:gd name="connsiteY3999" fmla="*/ 3063969 h 6557032"/>
              <a:gd name="connsiteX4000" fmla="*/ 1069616 w 4610101"/>
              <a:gd name="connsiteY4000" fmla="*/ 3058503 h 6557032"/>
              <a:gd name="connsiteX4001" fmla="*/ 993085 w 4610101"/>
              <a:gd name="connsiteY4001" fmla="*/ 3056696 h 6557032"/>
              <a:gd name="connsiteX4002" fmla="*/ 1002196 w 4610101"/>
              <a:gd name="connsiteY4002" fmla="*/ 3071270 h 6557032"/>
              <a:gd name="connsiteX4003" fmla="*/ 1014951 w 4610101"/>
              <a:gd name="connsiteY4003" fmla="*/ 3063982 h 6557032"/>
              <a:gd name="connsiteX4004" fmla="*/ 1038639 w 4610101"/>
              <a:gd name="connsiteY4004" fmla="*/ 3093127 h 6557032"/>
              <a:gd name="connsiteX4005" fmla="*/ 1069616 w 4610101"/>
              <a:gd name="connsiteY4005" fmla="*/ 3093127 h 6557032"/>
              <a:gd name="connsiteX4006" fmla="*/ 1107882 w 4610101"/>
              <a:gd name="connsiteY4006" fmla="*/ 3138662 h 6557032"/>
              <a:gd name="connsiteX4007" fmla="*/ 1100593 w 4610101"/>
              <a:gd name="connsiteY4007" fmla="*/ 3153233 h 6557032"/>
              <a:gd name="connsiteX4008" fmla="*/ 1122459 w 4610101"/>
              <a:gd name="connsiteY4008" fmla="*/ 3153233 h 6557032"/>
              <a:gd name="connsiteX4009" fmla="*/ 1115171 w 4610101"/>
              <a:gd name="connsiteY4009" fmla="*/ 3176914 h 6557032"/>
              <a:gd name="connsiteX4010" fmla="*/ 1124282 w 4610101"/>
              <a:gd name="connsiteY4010" fmla="*/ 3191484 h 6557032"/>
              <a:gd name="connsiteX4011" fmla="*/ 1115171 w 4610101"/>
              <a:gd name="connsiteY4011" fmla="*/ 3206057 h 6557032"/>
              <a:gd name="connsiteX4012" fmla="*/ 1122459 w 4610101"/>
              <a:gd name="connsiteY4012" fmla="*/ 3220647 h 6557032"/>
              <a:gd name="connsiteX4013" fmla="*/ 1115171 w 4610101"/>
              <a:gd name="connsiteY4013" fmla="*/ 3227940 h 6557032"/>
              <a:gd name="connsiteX4014" fmla="*/ 1122459 w 4610101"/>
              <a:gd name="connsiteY4014" fmla="*/ 3242520 h 6557032"/>
              <a:gd name="connsiteX4015" fmla="*/ 1122459 w 4610101"/>
              <a:gd name="connsiteY4015" fmla="*/ 3264395 h 6557032"/>
              <a:gd name="connsiteX4016" fmla="*/ 1100593 w 4610101"/>
              <a:gd name="connsiteY4016" fmla="*/ 3280798 h 6557032"/>
              <a:gd name="connsiteX4017" fmla="*/ 1106060 w 4610101"/>
              <a:gd name="connsiteY4017" fmla="*/ 3293563 h 6557032"/>
              <a:gd name="connsiteX4018" fmla="*/ 1102946 w 4610101"/>
              <a:gd name="connsiteY4018" fmla="*/ 3307573 h 6557032"/>
              <a:gd name="connsiteX4019" fmla="*/ 1138860 w 4610101"/>
              <a:gd name="connsiteY4019" fmla="*/ 3299017 h 6557032"/>
              <a:gd name="connsiteX4020" fmla="*/ 1137039 w 4610101"/>
              <a:gd name="connsiteY4020" fmla="*/ 3329996 h 6557032"/>
              <a:gd name="connsiteX4021" fmla="*/ 1100593 w 4610101"/>
              <a:gd name="connsiteY4021" fmla="*/ 3322715 h 6557032"/>
              <a:gd name="connsiteX4022" fmla="*/ 1100593 w 4610101"/>
              <a:gd name="connsiteY4022" fmla="*/ 3310184 h 6557032"/>
              <a:gd name="connsiteX4023" fmla="*/ 1087838 w 4610101"/>
              <a:gd name="connsiteY4023" fmla="*/ 3311780 h 6557032"/>
              <a:gd name="connsiteX4024" fmla="*/ 1064151 w 4610101"/>
              <a:gd name="connsiteY4024" fmla="*/ 3340928 h 6557032"/>
              <a:gd name="connsiteX4025" fmla="*/ 1040462 w 4610101"/>
              <a:gd name="connsiteY4025" fmla="*/ 3340928 h 6557032"/>
              <a:gd name="connsiteX4026" fmla="*/ 1047750 w 4610101"/>
              <a:gd name="connsiteY4026" fmla="*/ 3355517 h 6557032"/>
              <a:gd name="connsiteX4027" fmla="*/ 1002196 w 4610101"/>
              <a:gd name="connsiteY4027" fmla="*/ 3370095 h 6557032"/>
              <a:gd name="connsiteX4028" fmla="*/ 991263 w 4610101"/>
              <a:gd name="connsiteY4028" fmla="*/ 3370095 h 6557032"/>
              <a:gd name="connsiteX4029" fmla="*/ 976686 w 4610101"/>
              <a:gd name="connsiteY4029" fmla="*/ 3377342 h 6557032"/>
              <a:gd name="connsiteX4030" fmla="*/ 954819 w 4610101"/>
              <a:gd name="connsiteY4030" fmla="*/ 3377342 h 6557032"/>
              <a:gd name="connsiteX4031" fmla="*/ 901976 w 4610101"/>
              <a:gd name="connsiteY4031" fmla="*/ 3346398 h 6557032"/>
              <a:gd name="connsiteX4032" fmla="*/ 887399 w 4610101"/>
              <a:gd name="connsiteY4032" fmla="*/ 3353696 h 6557032"/>
              <a:gd name="connsiteX4033" fmla="*/ 856422 w 4610101"/>
              <a:gd name="connsiteY4033" fmla="*/ 3339103 h 6557032"/>
              <a:gd name="connsiteX4034" fmla="*/ 856422 w 4610101"/>
              <a:gd name="connsiteY4034" fmla="*/ 3324535 h 6557032"/>
              <a:gd name="connsiteX4035" fmla="*/ 841845 w 4610101"/>
              <a:gd name="connsiteY4035" fmla="*/ 3324535 h 6557032"/>
              <a:gd name="connsiteX4036" fmla="*/ 840022 w 4610101"/>
              <a:gd name="connsiteY4036" fmla="*/ 3302667 h 6557032"/>
              <a:gd name="connsiteX4037" fmla="*/ 827267 w 4610101"/>
              <a:gd name="connsiteY4037" fmla="*/ 3286268 h 6557032"/>
              <a:gd name="connsiteX4038" fmla="*/ 805401 w 4610101"/>
              <a:gd name="connsiteY4038" fmla="*/ 3293563 h 6557032"/>
              <a:gd name="connsiteX4039" fmla="*/ 798112 w 4610101"/>
              <a:gd name="connsiteY4039" fmla="*/ 3293563 h 6557032"/>
              <a:gd name="connsiteX4040" fmla="*/ 774424 w 4610101"/>
              <a:gd name="connsiteY4040" fmla="*/ 3284446 h 6557032"/>
              <a:gd name="connsiteX4041" fmla="*/ 798112 w 4610101"/>
              <a:gd name="connsiteY4041" fmla="*/ 3255282 h 6557032"/>
              <a:gd name="connsiteX4042" fmla="*/ 819979 w 4610101"/>
              <a:gd name="connsiteY4042" fmla="*/ 3255282 h 6557032"/>
              <a:gd name="connsiteX4043" fmla="*/ 819979 w 4610101"/>
              <a:gd name="connsiteY4043" fmla="*/ 3233414 h 6557032"/>
              <a:gd name="connsiteX4044" fmla="*/ 807223 w 4610101"/>
              <a:gd name="connsiteY4044" fmla="*/ 3227940 h 6557032"/>
              <a:gd name="connsiteX4045" fmla="*/ 807223 w 4610101"/>
              <a:gd name="connsiteY4045" fmla="*/ 3191484 h 6557032"/>
              <a:gd name="connsiteX4046" fmla="*/ 821801 w 4610101"/>
              <a:gd name="connsiteY4046" fmla="*/ 3182376 h 6557032"/>
              <a:gd name="connsiteX4047" fmla="*/ 814512 w 4610101"/>
              <a:gd name="connsiteY4047" fmla="*/ 3167807 h 6557032"/>
              <a:gd name="connsiteX4048" fmla="*/ 823623 w 4610101"/>
              <a:gd name="connsiteY4048" fmla="*/ 3156877 h 6557032"/>
              <a:gd name="connsiteX4049" fmla="*/ 838200 w 4610101"/>
              <a:gd name="connsiteY4049" fmla="*/ 3153233 h 6557032"/>
              <a:gd name="connsiteX4050" fmla="*/ 830912 w 4610101"/>
              <a:gd name="connsiteY4050" fmla="*/ 3140482 h 6557032"/>
              <a:gd name="connsiteX4051" fmla="*/ 889222 w 4610101"/>
              <a:gd name="connsiteY4051" fmla="*/ 3078555 h 6557032"/>
              <a:gd name="connsiteX4052" fmla="*/ 942064 w 4610101"/>
              <a:gd name="connsiteY4052" fmla="*/ 3063982 h 6557032"/>
              <a:gd name="connsiteX4053" fmla="*/ 956642 w 4610101"/>
              <a:gd name="connsiteY4053" fmla="*/ 3063982 h 6557032"/>
              <a:gd name="connsiteX4054" fmla="*/ 971219 w 4610101"/>
              <a:gd name="connsiteY4054" fmla="*/ 3063982 h 6557032"/>
              <a:gd name="connsiteX4055" fmla="*/ 993085 w 4610101"/>
              <a:gd name="connsiteY4055" fmla="*/ 3056696 h 6557032"/>
              <a:gd name="connsiteX4056" fmla="*/ 1059993 w 4610101"/>
              <a:gd name="connsiteY4056" fmla="*/ 3056283 h 6557032"/>
              <a:gd name="connsiteX4057" fmla="*/ 1060506 w 4610101"/>
              <a:gd name="connsiteY4057" fmla="*/ 3063967 h 6557032"/>
              <a:gd name="connsiteX4058" fmla="*/ 1059993 w 4610101"/>
              <a:gd name="connsiteY4058" fmla="*/ 3056283 h 6557032"/>
              <a:gd name="connsiteX4059" fmla="*/ 1220856 w 4610101"/>
              <a:gd name="connsiteY4059" fmla="*/ 3053046 h 6557032"/>
              <a:gd name="connsiteX4060" fmla="*/ 1229969 w 4610101"/>
              <a:gd name="connsiteY4060" fmla="*/ 3058512 h 6557032"/>
              <a:gd name="connsiteX4061" fmla="*/ 1198990 w 4610101"/>
              <a:gd name="connsiteY4061" fmla="*/ 3080369 h 6557032"/>
              <a:gd name="connsiteX4062" fmla="*/ 1220856 w 4610101"/>
              <a:gd name="connsiteY4062" fmla="*/ 3053046 h 6557032"/>
              <a:gd name="connsiteX4063" fmla="*/ 3303601 w 4610101"/>
              <a:gd name="connsiteY4063" fmla="*/ 3045703 h 6557032"/>
              <a:gd name="connsiteX4064" fmla="*/ 3316357 w 4610101"/>
              <a:gd name="connsiteY4064" fmla="*/ 3054815 h 6557032"/>
              <a:gd name="connsiteX4065" fmla="*/ 3285380 w 4610101"/>
              <a:gd name="connsiteY4065" fmla="*/ 3058459 h 6557032"/>
              <a:gd name="connsiteX4066" fmla="*/ 3248936 w 4610101"/>
              <a:gd name="connsiteY4066" fmla="*/ 3074858 h 6557032"/>
              <a:gd name="connsiteX4067" fmla="*/ 3258047 w 4610101"/>
              <a:gd name="connsiteY4067" fmla="*/ 3076680 h 6557032"/>
              <a:gd name="connsiteX4068" fmla="*/ 3292668 w 4610101"/>
              <a:gd name="connsiteY4068" fmla="*/ 3063924 h 6557032"/>
              <a:gd name="connsiteX4069" fmla="*/ 3305423 w 4610101"/>
              <a:gd name="connsiteY4069" fmla="*/ 3062102 h 6557032"/>
              <a:gd name="connsiteX4070" fmla="*/ 3259869 w 4610101"/>
              <a:gd name="connsiteY4070" fmla="*/ 3085792 h 6557032"/>
              <a:gd name="connsiteX4071" fmla="*/ 3263514 w 4610101"/>
              <a:gd name="connsiteY4071" fmla="*/ 3096724 h 6557032"/>
              <a:gd name="connsiteX4072" fmla="*/ 3310890 w 4610101"/>
              <a:gd name="connsiteY4072" fmla="*/ 3089436 h 6557032"/>
              <a:gd name="connsiteX4073" fmla="*/ 3321823 w 4610101"/>
              <a:gd name="connsiteY4073" fmla="*/ 3087614 h 6557032"/>
              <a:gd name="connsiteX4074" fmla="*/ 3325467 w 4610101"/>
              <a:gd name="connsiteY4074" fmla="*/ 3093080 h 6557032"/>
              <a:gd name="connsiteX4075" fmla="*/ 3294491 w 4610101"/>
              <a:gd name="connsiteY4075" fmla="*/ 3100370 h 6557032"/>
              <a:gd name="connsiteX4076" fmla="*/ 3289024 w 4610101"/>
              <a:gd name="connsiteY4076" fmla="*/ 3094902 h 6557032"/>
              <a:gd name="connsiteX4077" fmla="*/ 3283557 w 4610101"/>
              <a:gd name="connsiteY4077" fmla="*/ 3104013 h 6557032"/>
              <a:gd name="connsiteX4078" fmla="*/ 3278091 w 4610101"/>
              <a:gd name="connsiteY4078" fmla="*/ 3105835 h 6557032"/>
              <a:gd name="connsiteX4079" fmla="*/ 3281735 w 4610101"/>
              <a:gd name="connsiteY4079" fmla="*/ 3114945 h 6557032"/>
              <a:gd name="connsiteX4080" fmla="*/ 3292668 w 4610101"/>
              <a:gd name="connsiteY4080" fmla="*/ 3113123 h 6557032"/>
              <a:gd name="connsiteX4081" fmla="*/ 3294491 w 4610101"/>
              <a:gd name="connsiteY4081" fmla="*/ 3114945 h 6557032"/>
              <a:gd name="connsiteX4082" fmla="*/ 3296313 w 4610101"/>
              <a:gd name="connsiteY4082" fmla="*/ 3113123 h 6557032"/>
              <a:gd name="connsiteX4083" fmla="*/ 3336401 w 4610101"/>
              <a:gd name="connsiteY4083" fmla="*/ 3109479 h 6557032"/>
              <a:gd name="connsiteX4084" fmla="*/ 3352800 w 4610101"/>
              <a:gd name="connsiteY4084" fmla="*/ 3109479 h 6557032"/>
              <a:gd name="connsiteX4085" fmla="*/ 3350978 w 4610101"/>
              <a:gd name="connsiteY4085" fmla="*/ 3111301 h 6557032"/>
              <a:gd name="connsiteX4086" fmla="*/ 3299957 w 4610101"/>
              <a:gd name="connsiteY4086" fmla="*/ 3124057 h 6557032"/>
              <a:gd name="connsiteX4087" fmla="*/ 3307246 w 4610101"/>
              <a:gd name="connsiteY4087" fmla="*/ 3129523 h 6557032"/>
              <a:gd name="connsiteX4088" fmla="*/ 3336401 w 4610101"/>
              <a:gd name="connsiteY4088" fmla="*/ 3124057 h 6557032"/>
              <a:gd name="connsiteX4089" fmla="*/ 3332756 w 4610101"/>
              <a:gd name="connsiteY4089" fmla="*/ 3125879 h 6557032"/>
              <a:gd name="connsiteX4090" fmla="*/ 3299957 w 4610101"/>
              <a:gd name="connsiteY4090" fmla="*/ 3138635 h 6557032"/>
              <a:gd name="connsiteX4091" fmla="*/ 3261691 w 4610101"/>
              <a:gd name="connsiteY4091" fmla="*/ 3133169 h 6557032"/>
              <a:gd name="connsiteX4092" fmla="*/ 3265336 w 4610101"/>
              <a:gd name="connsiteY4092" fmla="*/ 3125879 h 6557032"/>
              <a:gd name="connsiteX4093" fmla="*/ 3259869 w 4610101"/>
              <a:gd name="connsiteY4093" fmla="*/ 3116767 h 6557032"/>
              <a:gd name="connsiteX4094" fmla="*/ 3236181 w 4610101"/>
              <a:gd name="connsiteY4094" fmla="*/ 3125879 h 6557032"/>
              <a:gd name="connsiteX4095" fmla="*/ 3197915 w 4610101"/>
              <a:gd name="connsiteY4095" fmla="*/ 3111301 h 6557032"/>
              <a:gd name="connsiteX4096" fmla="*/ 3208848 w 4610101"/>
              <a:gd name="connsiteY4096" fmla="*/ 3100370 h 6557032"/>
              <a:gd name="connsiteX4097" fmla="*/ 3214315 w 4610101"/>
              <a:gd name="connsiteY4097" fmla="*/ 3100370 h 6557032"/>
              <a:gd name="connsiteX4098" fmla="*/ 3214315 w 4610101"/>
              <a:gd name="connsiteY4098" fmla="*/ 3094902 h 6557032"/>
              <a:gd name="connsiteX4099" fmla="*/ 3303601 w 4610101"/>
              <a:gd name="connsiteY4099" fmla="*/ 3045703 h 6557032"/>
              <a:gd name="connsiteX4100" fmla="*/ 3360431 w 4610101"/>
              <a:gd name="connsiteY4100" fmla="*/ 3044680 h 6557032"/>
              <a:gd name="connsiteX4101" fmla="*/ 3349157 w 4610101"/>
              <a:gd name="connsiteY4101" fmla="*/ 3058458 h 6557032"/>
              <a:gd name="connsiteX4102" fmla="*/ 3367377 w 4610101"/>
              <a:gd name="connsiteY4102" fmla="*/ 3058458 h 6557032"/>
              <a:gd name="connsiteX4103" fmla="*/ 3367377 w 4610101"/>
              <a:gd name="connsiteY4103" fmla="*/ 3053055 h 6557032"/>
              <a:gd name="connsiteX4104" fmla="*/ 3360088 w 4610101"/>
              <a:gd name="connsiteY4104" fmla="*/ 3047589 h 6557032"/>
              <a:gd name="connsiteX4105" fmla="*/ 3489863 w 4610101"/>
              <a:gd name="connsiteY4105" fmla="*/ 3043804 h 6557032"/>
              <a:gd name="connsiteX4106" fmla="*/ 3498575 w 4610101"/>
              <a:gd name="connsiteY4106" fmla="*/ 3051233 h 6557032"/>
              <a:gd name="connsiteX4107" fmla="*/ 3491287 w 4610101"/>
              <a:gd name="connsiteY4107" fmla="*/ 3082197 h 6557032"/>
              <a:gd name="connsiteX4108" fmla="*/ 3478531 w 4610101"/>
              <a:gd name="connsiteY4108" fmla="*/ 3074912 h 6557032"/>
              <a:gd name="connsiteX4109" fmla="*/ 3469426 w 4610101"/>
              <a:gd name="connsiteY4109" fmla="*/ 3080371 h 6557032"/>
              <a:gd name="connsiteX4110" fmla="*/ 3476709 w 4610101"/>
              <a:gd name="connsiteY4110" fmla="*/ 3096753 h 6557032"/>
              <a:gd name="connsiteX4111" fmla="*/ 3453020 w 4610101"/>
              <a:gd name="connsiteY4111" fmla="*/ 3094931 h 6557032"/>
              <a:gd name="connsiteX4112" fmla="*/ 3469409 w 4610101"/>
              <a:gd name="connsiteY4112" fmla="*/ 3080367 h 6557032"/>
              <a:gd name="connsiteX4113" fmla="*/ 3460310 w 4610101"/>
              <a:gd name="connsiteY4113" fmla="*/ 3073089 h 6557032"/>
              <a:gd name="connsiteX4114" fmla="*/ 3467598 w 4610101"/>
              <a:gd name="connsiteY4114" fmla="*/ 3060338 h 6557032"/>
              <a:gd name="connsiteX4115" fmla="*/ 3454843 w 4610101"/>
              <a:gd name="connsiteY4115" fmla="*/ 3043945 h 6557032"/>
              <a:gd name="connsiteX4116" fmla="*/ 3476709 w 4610101"/>
              <a:gd name="connsiteY4116" fmla="*/ 3043945 h 6557032"/>
              <a:gd name="connsiteX4117" fmla="*/ 3489863 w 4610101"/>
              <a:gd name="connsiteY4117" fmla="*/ 3043804 h 6557032"/>
              <a:gd name="connsiteX4118" fmla="*/ 4493481 w 4610101"/>
              <a:gd name="connsiteY4118" fmla="*/ 3029350 h 6557032"/>
              <a:gd name="connsiteX4119" fmla="*/ 4518993 w 4610101"/>
              <a:gd name="connsiteY4119" fmla="*/ 3029350 h 6557032"/>
              <a:gd name="connsiteX4120" fmla="*/ 4502592 w 4610101"/>
              <a:gd name="connsiteY4120" fmla="*/ 3043924 h 6557032"/>
              <a:gd name="connsiteX4121" fmla="*/ 3611550 w 4610101"/>
              <a:gd name="connsiteY4121" fmla="*/ 3022084 h 6557032"/>
              <a:gd name="connsiteX4122" fmla="*/ 3644349 w 4610101"/>
              <a:gd name="connsiteY4122" fmla="*/ 3029369 h 6557032"/>
              <a:gd name="connsiteX4123" fmla="*/ 3626128 w 4610101"/>
              <a:gd name="connsiteY4123" fmla="*/ 3053048 h 6557032"/>
              <a:gd name="connsiteX4124" fmla="*/ 3602439 w 4610101"/>
              <a:gd name="connsiteY4124" fmla="*/ 3029369 h 6557032"/>
              <a:gd name="connsiteX4125" fmla="*/ 1220858 w 4610101"/>
              <a:gd name="connsiteY4125" fmla="*/ 3020262 h 6557032"/>
              <a:gd name="connsiteX4126" fmla="*/ 1250013 w 4610101"/>
              <a:gd name="connsiteY4126" fmla="*/ 3042121 h 6557032"/>
              <a:gd name="connsiteX4127" fmla="*/ 1235434 w 4610101"/>
              <a:gd name="connsiteY4127" fmla="*/ 3049406 h 6557032"/>
              <a:gd name="connsiteX4128" fmla="*/ 1235434 w 4610101"/>
              <a:gd name="connsiteY4128" fmla="*/ 3033015 h 6557032"/>
              <a:gd name="connsiteX4129" fmla="*/ 1213568 w 4610101"/>
              <a:gd name="connsiteY4129" fmla="*/ 3042121 h 6557032"/>
              <a:gd name="connsiteX4130" fmla="*/ 1204457 w 4610101"/>
              <a:gd name="connsiteY4130" fmla="*/ 3027550 h 6557032"/>
              <a:gd name="connsiteX4131" fmla="*/ 1220858 w 4610101"/>
              <a:gd name="connsiteY4131" fmla="*/ 3020262 h 6557032"/>
              <a:gd name="connsiteX4132" fmla="*/ 3558707 w 4610101"/>
              <a:gd name="connsiteY4132" fmla="*/ 3020251 h 6557032"/>
              <a:gd name="connsiteX4133" fmla="*/ 3565996 w 4610101"/>
              <a:gd name="connsiteY4133" fmla="*/ 3034827 h 6557032"/>
              <a:gd name="connsiteX4134" fmla="*/ 3558707 w 4610101"/>
              <a:gd name="connsiteY4134" fmla="*/ 3043934 h 6557032"/>
              <a:gd name="connsiteX4135" fmla="*/ 3542307 w 4610101"/>
              <a:gd name="connsiteY4135" fmla="*/ 3034827 h 6557032"/>
              <a:gd name="connsiteX4136" fmla="*/ 1047750 w 4610101"/>
              <a:gd name="connsiteY4136" fmla="*/ 3020234 h 6557032"/>
              <a:gd name="connsiteX4137" fmla="*/ 1062328 w 4610101"/>
              <a:gd name="connsiteY4137" fmla="*/ 3036629 h 6557032"/>
              <a:gd name="connsiteX4138" fmla="*/ 1047750 w 4610101"/>
              <a:gd name="connsiteY4138" fmla="*/ 3036629 h 6557032"/>
              <a:gd name="connsiteX4139" fmla="*/ 3285379 w 4610101"/>
              <a:gd name="connsiteY4139" fmla="*/ 3020194 h 6557032"/>
              <a:gd name="connsiteX4140" fmla="*/ 3343690 w 4610101"/>
              <a:gd name="connsiteY4140" fmla="*/ 3058461 h 6557032"/>
              <a:gd name="connsiteX4141" fmla="*/ 3354623 w 4610101"/>
              <a:gd name="connsiteY4141" fmla="*/ 3065751 h 6557032"/>
              <a:gd name="connsiteX4142" fmla="*/ 3350978 w 4610101"/>
              <a:gd name="connsiteY4142" fmla="*/ 3067570 h 6557032"/>
              <a:gd name="connsiteX4143" fmla="*/ 3349156 w 4610101"/>
              <a:gd name="connsiteY4143" fmla="*/ 3065751 h 6557032"/>
              <a:gd name="connsiteX4144" fmla="*/ 3285379 w 4610101"/>
              <a:gd name="connsiteY4144" fmla="*/ 3020194 h 6557032"/>
              <a:gd name="connsiteX4145" fmla="*/ 3243470 w 4610101"/>
              <a:gd name="connsiteY4145" fmla="*/ 3020194 h 6557032"/>
              <a:gd name="connsiteX4146" fmla="*/ 3243470 w 4610101"/>
              <a:gd name="connsiteY4146" fmla="*/ 3042059 h 6557032"/>
              <a:gd name="connsiteX4147" fmla="*/ 3259869 w 4610101"/>
              <a:gd name="connsiteY4147" fmla="*/ 3032949 h 6557032"/>
              <a:gd name="connsiteX4148" fmla="*/ 1144326 w 4610101"/>
              <a:gd name="connsiteY4148" fmla="*/ 3005686 h 6557032"/>
              <a:gd name="connsiteX4149" fmla="*/ 1151614 w 4610101"/>
              <a:gd name="connsiteY4149" fmla="*/ 3036655 h 6557032"/>
              <a:gd name="connsiteX4150" fmla="*/ 1129748 w 4610101"/>
              <a:gd name="connsiteY4150" fmla="*/ 3036655 h 6557032"/>
              <a:gd name="connsiteX4151" fmla="*/ 1144326 w 4610101"/>
              <a:gd name="connsiteY4151" fmla="*/ 3005686 h 6557032"/>
              <a:gd name="connsiteX4152" fmla="*/ 1153436 w 4610101"/>
              <a:gd name="connsiteY4152" fmla="*/ 3005657 h 6557032"/>
              <a:gd name="connsiteX4153" fmla="*/ 1168014 w 4610101"/>
              <a:gd name="connsiteY4153" fmla="*/ 3020236 h 6557032"/>
              <a:gd name="connsiteX4154" fmla="*/ 1153436 w 4610101"/>
              <a:gd name="connsiteY4154" fmla="*/ 3020236 h 6557032"/>
              <a:gd name="connsiteX4155" fmla="*/ 1322899 w 4610101"/>
              <a:gd name="connsiteY4155" fmla="*/ 3001972 h 6557032"/>
              <a:gd name="connsiteX4156" fmla="*/ 1319254 w 4610101"/>
              <a:gd name="connsiteY4156" fmla="*/ 3012906 h 6557032"/>
              <a:gd name="connsiteX4157" fmla="*/ 1330188 w 4610101"/>
              <a:gd name="connsiteY4157" fmla="*/ 3016550 h 6557032"/>
              <a:gd name="connsiteX4158" fmla="*/ 1326543 w 4610101"/>
              <a:gd name="connsiteY4158" fmla="*/ 3011084 h 6557032"/>
              <a:gd name="connsiteX4159" fmla="*/ 1322899 w 4610101"/>
              <a:gd name="connsiteY4159" fmla="*/ 3001972 h 6557032"/>
              <a:gd name="connsiteX4160" fmla="*/ 3651636 w 4610101"/>
              <a:gd name="connsiteY4160" fmla="*/ 3000223 h 6557032"/>
              <a:gd name="connsiteX4161" fmla="*/ 3653459 w 4610101"/>
              <a:gd name="connsiteY4161" fmla="*/ 3009337 h 6557032"/>
              <a:gd name="connsiteX4162" fmla="*/ 3662569 w 4610101"/>
              <a:gd name="connsiteY4162" fmla="*/ 3020266 h 6557032"/>
              <a:gd name="connsiteX4163" fmla="*/ 3660747 w 4610101"/>
              <a:gd name="connsiteY4163" fmla="*/ 3022090 h 6557032"/>
              <a:gd name="connsiteX4164" fmla="*/ 3649814 w 4610101"/>
              <a:gd name="connsiteY4164" fmla="*/ 3020266 h 6557032"/>
              <a:gd name="connsiteX4165" fmla="*/ 3651636 w 4610101"/>
              <a:gd name="connsiteY4165" fmla="*/ 3016624 h 6557032"/>
              <a:gd name="connsiteX4166" fmla="*/ 3649814 w 4610101"/>
              <a:gd name="connsiteY4166" fmla="*/ 3011159 h 6557032"/>
              <a:gd name="connsiteX4167" fmla="*/ 3257052 w 4610101"/>
              <a:gd name="connsiteY4167" fmla="*/ 2995652 h 6557032"/>
              <a:gd name="connsiteX4168" fmla="*/ 3268253 w 4610101"/>
              <a:gd name="connsiteY4168" fmla="*/ 2997372 h 6557032"/>
              <a:gd name="connsiteX4169" fmla="*/ 3261009 w 4610101"/>
              <a:gd name="connsiteY4169" fmla="*/ 2996506 h 6557032"/>
              <a:gd name="connsiteX4170" fmla="*/ 3250758 w 4610101"/>
              <a:gd name="connsiteY4170" fmla="*/ 2994684 h 6557032"/>
              <a:gd name="connsiteX4171" fmla="*/ 3252581 w 4610101"/>
              <a:gd name="connsiteY4171" fmla="*/ 2994684 h 6557032"/>
              <a:gd name="connsiteX4172" fmla="*/ 3257052 w 4610101"/>
              <a:gd name="connsiteY4172" fmla="*/ 2995652 h 6557032"/>
              <a:gd name="connsiteX4173" fmla="*/ 1042283 w 4610101"/>
              <a:gd name="connsiteY4173" fmla="*/ 2985592 h 6557032"/>
              <a:gd name="connsiteX4174" fmla="*/ 1042283 w 4610101"/>
              <a:gd name="connsiteY4174" fmla="*/ 2992882 h 6557032"/>
              <a:gd name="connsiteX4175" fmla="*/ 1040461 w 4610101"/>
              <a:gd name="connsiteY4175" fmla="*/ 2991060 h 6557032"/>
              <a:gd name="connsiteX4176" fmla="*/ 1042283 w 4610101"/>
              <a:gd name="connsiteY4176" fmla="*/ 2985592 h 6557032"/>
              <a:gd name="connsiteX4177" fmla="*/ 3635237 w 4610101"/>
              <a:gd name="connsiteY4177" fmla="*/ 2978366 h 6557032"/>
              <a:gd name="connsiteX4178" fmla="*/ 3637059 w 4610101"/>
              <a:gd name="connsiteY4178" fmla="*/ 2980185 h 6557032"/>
              <a:gd name="connsiteX4179" fmla="*/ 3635237 w 4610101"/>
              <a:gd name="connsiteY4179" fmla="*/ 2987476 h 6557032"/>
              <a:gd name="connsiteX4180" fmla="*/ 3637059 w 4610101"/>
              <a:gd name="connsiteY4180" fmla="*/ 2992941 h 6557032"/>
              <a:gd name="connsiteX4181" fmla="*/ 3635237 w 4610101"/>
              <a:gd name="connsiteY4181" fmla="*/ 2998405 h 6557032"/>
              <a:gd name="connsiteX4182" fmla="*/ 3637059 w 4610101"/>
              <a:gd name="connsiteY4182" fmla="*/ 3009337 h 6557032"/>
              <a:gd name="connsiteX4183" fmla="*/ 3629770 w 4610101"/>
              <a:gd name="connsiteY4183" fmla="*/ 3016624 h 6557032"/>
              <a:gd name="connsiteX4184" fmla="*/ 3624304 w 4610101"/>
              <a:gd name="connsiteY4184" fmla="*/ 3007515 h 6557032"/>
              <a:gd name="connsiteX4185" fmla="*/ 3629770 w 4610101"/>
              <a:gd name="connsiteY4185" fmla="*/ 3002051 h 6557032"/>
              <a:gd name="connsiteX4186" fmla="*/ 3624304 w 4610101"/>
              <a:gd name="connsiteY4186" fmla="*/ 2994763 h 6557032"/>
              <a:gd name="connsiteX4187" fmla="*/ 3624304 w 4610101"/>
              <a:gd name="connsiteY4187" fmla="*/ 2987476 h 6557032"/>
              <a:gd name="connsiteX4188" fmla="*/ 3279913 w 4610101"/>
              <a:gd name="connsiteY4188" fmla="*/ 2978366 h 6557032"/>
              <a:gd name="connsiteX4189" fmla="*/ 3281735 w 4610101"/>
              <a:gd name="connsiteY4189" fmla="*/ 2983832 h 6557032"/>
              <a:gd name="connsiteX4190" fmla="*/ 3272624 w 4610101"/>
              <a:gd name="connsiteY4190" fmla="*/ 2982010 h 6557032"/>
              <a:gd name="connsiteX4191" fmla="*/ 3314535 w 4610101"/>
              <a:gd name="connsiteY4191" fmla="*/ 2976463 h 6557032"/>
              <a:gd name="connsiteX4192" fmla="*/ 3321824 w 4610101"/>
              <a:gd name="connsiteY4192" fmla="*/ 2989216 h 6557032"/>
              <a:gd name="connsiteX4193" fmla="*/ 3332757 w 4610101"/>
              <a:gd name="connsiteY4193" fmla="*/ 2987397 h 6557032"/>
              <a:gd name="connsiteX4194" fmla="*/ 3336402 w 4610101"/>
              <a:gd name="connsiteY4194" fmla="*/ 2987397 h 6557032"/>
              <a:gd name="connsiteX4195" fmla="*/ 3341868 w 4610101"/>
              <a:gd name="connsiteY4195" fmla="*/ 2985575 h 6557032"/>
              <a:gd name="connsiteX4196" fmla="*/ 3352801 w 4610101"/>
              <a:gd name="connsiteY4196" fmla="*/ 2983751 h 6557032"/>
              <a:gd name="connsiteX4197" fmla="*/ 3352801 w 4610101"/>
              <a:gd name="connsiteY4197" fmla="*/ 2981931 h 6557032"/>
              <a:gd name="connsiteX4198" fmla="*/ 3361912 w 4610101"/>
              <a:gd name="connsiteY4198" fmla="*/ 2980107 h 6557032"/>
              <a:gd name="connsiteX4199" fmla="*/ 3361912 w 4610101"/>
              <a:gd name="connsiteY4199" fmla="*/ 2983751 h 6557032"/>
              <a:gd name="connsiteX4200" fmla="*/ 3372845 w 4610101"/>
              <a:gd name="connsiteY4200" fmla="*/ 2978285 h 6557032"/>
              <a:gd name="connsiteX4201" fmla="*/ 3378311 w 4610101"/>
              <a:gd name="connsiteY4201" fmla="*/ 2978285 h 6557032"/>
              <a:gd name="connsiteX4202" fmla="*/ 3378311 w 4610101"/>
              <a:gd name="connsiteY4202" fmla="*/ 2981931 h 6557032"/>
              <a:gd name="connsiteX4203" fmla="*/ 3347335 w 4610101"/>
              <a:gd name="connsiteY4203" fmla="*/ 2992863 h 6557032"/>
              <a:gd name="connsiteX4204" fmla="*/ 3356445 w 4610101"/>
              <a:gd name="connsiteY4204" fmla="*/ 2994684 h 6557032"/>
              <a:gd name="connsiteX4205" fmla="*/ 3380134 w 4610101"/>
              <a:gd name="connsiteY4205" fmla="*/ 2989216 h 6557032"/>
              <a:gd name="connsiteX4206" fmla="*/ 3318179 w 4610101"/>
              <a:gd name="connsiteY4206" fmla="*/ 3004764 h 6557032"/>
              <a:gd name="connsiteX4207" fmla="*/ 3318179 w 4610101"/>
              <a:gd name="connsiteY4207" fmla="*/ 3007515 h 6557032"/>
              <a:gd name="connsiteX4208" fmla="*/ 3325468 w 4610101"/>
              <a:gd name="connsiteY4208" fmla="*/ 3011161 h 6557032"/>
              <a:gd name="connsiteX4209" fmla="*/ 3329112 w 4610101"/>
              <a:gd name="connsiteY4209" fmla="*/ 3009337 h 6557032"/>
              <a:gd name="connsiteX4210" fmla="*/ 3334578 w 4610101"/>
              <a:gd name="connsiteY4210" fmla="*/ 3012980 h 6557032"/>
              <a:gd name="connsiteX4211" fmla="*/ 3334311 w 4610101"/>
              <a:gd name="connsiteY4211" fmla="*/ 3016550 h 6557032"/>
              <a:gd name="connsiteX4212" fmla="*/ 3335489 w 4610101"/>
              <a:gd name="connsiteY4212" fmla="*/ 3016550 h 6557032"/>
              <a:gd name="connsiteX4213" fmla="*/ 3385599 w 4610101"/>
              <a:gd name="connsiteY4213" fmla="*/ 3005616 h 6557032"/>
              <a:gd name="connsiteX4214" fmla="*/ 3401998 w 4610101"/>
              <a:gd name="connsiteY4214" fmla="*/ 3040239 h 6557032"/>
              <a:gd name="connsiteX4215" fmla="*/ 3371021 w 4610101"/>
              <a:gd name="connsiteY4215" fmla="*/ 3045705 h 6557032"/>
              <a:gd name="connsiteX4216" fmla="*/ 3381955 w 4610101"/>
              <a:gd name="connsiteY4216" fmla="*/ 3036593 h 6557032"/>
              <a:gd name="connsiteX4217" fmla="*/ 3385599 w 4610101"/>
              <a:gd name="connsiteY4217" fmla="*/ 3022016 h 6557032"/>
              <a:gd name="connsiteX4218" fmla="*/ 3372844 w 4610101"/>
              <a:gd name="connsiteY4218" fmla="*/ 3029306 h 6557032"/>
              <a:gd name="connsiteX4219" fmla="*/ 3358266 w 4610101"/>
              <a:gd name="connsiteY4219" fmla="*/ 3016550 h 6557032"/>
              <a:gd name="connsiteX4220" fmla="*/ 3349157 w 4610101"/>
              <a:gd name="connsiteY4220" fmla="*/ 3022623 h 6557032"/>
              <a:gd name="connsiteX4221" fmla="*/ 3349157 w 4610101"/>
              <a:gd name="connsiteY4221" fmla="*/ 3023908 h 6557032"/>
              <a:gd name="connsiteX4222" fmla="*/ 3347420 w 4610101"/>
              <a:gd name="connsiteY4222" fmla="*/ 3023908 h 6557032"/>
              <a:gd name="connsiteX4223" fmla="*/ 3361806 w 4610101"/>
              <a:gd name="connsiteY4223" fmla="*/ 3035417 h 6557032"/>
              <a:gd name="connsiteX4224" fmla="*/ 3361911 w 4610101"/>
              <a:gd name="connsiteY4224" fmla="*/ 3034837 h 6557032"/>
              <a:gd name="connsiteX4225" fmla="*/ 3369199 w 4610101"/>
              <a:gd name="connsiteY4225" fmla="*/ 3033018 h 6557032"/>
              <a:gd name="connsiteX4226" fmla="*/ 3371021 w 4610101"/>
              <a:gd name="connsiteY4226" fmla="*/ 3033018 h 6557032"/>
              <a:gd name="connsiteX4227" fmla="*/ 3371021 w 4610101"/>
              <a:gd name="connsiteY4227" fmla="*/ 3040303 h 6557032"/>
              <a:gd name="connsiteX4228" fmla="*/ 3372844 w 4610101"/>
              <a:gd name="connsiteY4228" fmla="*/ 3045767 h 6557032"/>
              <a:gd name="connsiteX4229" fmla="*/ 3371477 w 4610101"/>
              <a:gd name="connsiteY4229" fmla="*/ 3054417 h 6557032"/>
              <a:gd name="connsiteX4230" fmla="*/ 3368679 w 4610101"/>
              <a:gd name="connsiteY4230" fmla="*/ 3058458 h 6557032"/>
              <a:gd name="connsiteX4231" fmla="*/ 3385599 w 4610101"/>
              <a:gd name="connsiteY4231" fmla="*/ 3058458 h 6557032"/>
              <a:gd name="connsiteX4232" fmla="*/ 3385599 w 4610101"/>
              <a:gd name="connsiteY4232" fmla="*/ 3078502 h 6557032"/>
              <a:gd name="connsiteX4233" fmla="*/ 3358266 w 4610101"/>
              <a:gd name="connsiteY4233" fmla="*/ 3063925 h 6557032"/>
              <a:gd name="connsiteX4234" fmla="*/ 3349157 w 4610101"/>
              <a:gd name="connsiteY4234" fmla="*/ 3058459 h 6557032"/>
              <a:gd name="connsiteX4235" fmla="*/ 3349155 w 4610101"/>
              <a:gd name="connsiteY4235" fmla="*/ 3058461 h 6557032"/>
              <a:gd name="connsiteX4236" fmla="*/ 3292668 w 4610101"/>
              <a:gd name="connsiteY4236" fmla="*/ 3022016 h 6557032"/>
              <a:gd name="connsiteX4237" fmla="*/ 3285379 w 4610101"/>
              <a:gd name="connsiteY4237" fmla="*/ 3016550 h 6557032"/>
              <a:gd name="connsiteX4238" fmla="*/ 3323063 w 4610101"/>
              <a:gd name="connsiteY4238" fmla="*/ 3016550 h 6557032"/>
              <a:gd name="connsiteX4239" fmla="*/ 3323645 w 4610101"/>
              <a:gd name="connsiteY4239" fmla="*/ 3014802 h 6557032"/>
              <a:gd name="connsiteX4240" fmla="*/ 3314762 w 4610101"/>
              <a:gd name="connsiteY4240" fmla="*/ 3012068 h 6557032"/>
              <a:gd name="connsiteX4241" fmla="*/ 3312797 w 4610101"/>
              <a:gd name="connsiteY4241" fmla="*/ 3004212 h 6557032"/>
              <a:gd name="connsiteX4242" fmla="*/ 3312042 w 4610101"/>
              <a:gd name="connsiteY4242" fmla="*/ 3004097 h 6557032"/>
              <a:gd name="connsiteX4243" fmla="*/ 3307246 w 4610101"/>
              <a:gd name="connsiteY4243" fmla="*/ 3005695 h 6557032"/>
              <a:gd name="connsiteX4244" fmla="*/ 3305116 w 4610101"/>
              <a:gd name="connsiteY4244" fmla="*/ 3003033 h 6557032"/>
              <a:gd name="connsiteX4245" fmla="*/ 3268253 w 4610101"/>
              <a:gd name="connsiteY4245" fmla="*/ 2997372 h 6557032"/>
              <a:gd name="connsiteX4246" fmla="*/ 3276270 w 4610101"/>
              <a:gd name="connsiteY4246" fmla="*/ 2998328 h 6557032"/>
              <a:gd name="connsiteX4247" fmla="*/ 3270802 w 4610101"/>
              <a:gd name="connsiteY4247" fmla="*/ 2989216 h 6557032"/>
              <a:gd name="connsiteX4248" fmla="*/ 3314535 w 4610101"/>
              <a:gd name="connsiteY4248" fmla="*/ 2976463 h 6557032"/>
              <a:gd name="connsiteX4249" fmla="*/ 3243470 w 4610101"/>
              <a:gd name="connsiteY4249" fmla="*/ 2974643 h 6557032"/>
              <a:gd name="connsiteX4250" fmla="*/ 3246888 w 4610101"/>
              <a:gd name="connsiteY4250" fmla="*/ 2979427 h 6557032"/>
              <a:gd name="connsiteX4251" fmla="*/ 3249933 w 4610101"/>
              <a:gd name="connsiteY4251" fmla="*/ 2979702 h 6557032"/>
              <a:gd name="connsiteX4252" fmla="*/ 3248936 w 4610101"/>
              <a:gd name="connsiteY4252" fmla="*/ 2974722 h 6557032"/>
              <a:gd name="connsiteX4253" fmla="*/ 3248976 w 4610101"/>
              <a:gd name="connsiteY4253" fmla="*/ 2974643 h 6557032"/>
              <a:gd name="connsiteX4254" fmla="*/ 3338223 w 4610101"/>
              <a:gd name="connsiteY4254" fmla="*/ 2969175 h 6557032"/>
              <a:gd name="connsiteX4255" fmla="*/ 3340045 w 4610101"/>
              <a:gd name="connsiteY4255" fmla="*/ 2972821 h 6557032"/>
              <a:gd name="connsiteX4256" fmla="*/ 3338223 w 4610101"/>
              <a:gd name="connsiteY4256" fmla="*/ 2974641 h 6557032"/>
              <a:gd name="connsiteX4257" fmla="*/ 3321823 w 4610101"/>
              <a:gd name="connsiteY4257" fmla="*/ 2974641 h 6557032"/>
              <a:gd name="connsiteX4258" fmla="*/ 3338223 w 4610101"/>
              <a:gd name="connsiteY4258" fmla="*/ 2969175 h 6557032"/>
              <a:gd name="connsiteX4259" fmla="*/ 1290100 w 4610101"/>
              <a:gd name="connsiteY4259" fmla="*/ 2969173 h 6557032"/>
              <a:gd name="connsiteX4260" fmla="*/ 1299210 w 4610101"/>
              <a:gd name="connsiteY4260" fmla="*/ 2998328 h 6557032"/>
              <a:gd name="connsiteX4261" fmla="*/ 1311966 w 4610101"/>
              <a:gd name="connsiteY4261" fmla="*/ 2998328 h 6557032"/>
              <a:gd name="connsiteX4262" fmla="*/ 1315610 w 4610101"/>
              <a:gd name="connsiteY4262" fmla="*/ 2989216 h 6557032"/>
              <a:gd name="connsiteX4263" fmla="*/ 1313788 w 4610101"/>
              <a:gd name="connsiteY4263" fmla="*/ 2983751 h 6557032"/>
              <a:gd name="connsiteX4264" fmla="*/ 1315610 w 4610101"/>
              <a:gd name="connsiteY4264" fmla="*/ 2985572 h 6557032"/>
              <a:gd name="connsiteX4265" fmla="*/ 1321077 w 4610101"/>
              <a:gd name="connsiteY4265" fmla="*/ 2978285 h 6557032"/>
              <a:gd name="connsiteX4266" fmla="*/ 3643437 w 4610101"/>
              <a:gd name="connsiteY4266" fmla="*/ 2968802 h 6557032"/>
              <a:gd name="connsiteX4267" fmla="*/ 3646170 w 4610101"/>
              <a:gd name="connsiteY4267" fmla="*/ 2971085 h 6557032"/>
              <a:gd name="connsiteX4268" fmla="*/ 3642526 w 4610101"/>
              <a:gd name="connsiteY4268" fmla="*/ 2976544 h 6557032"/>
              <a:gd name="connsiteX4269" fmla="*/ 3635237 w 4610101"/>
              <a:gd name="connsiteY4269" fmla="*/ 2974722 h 6557032"/>
              <a:gd name="connsiteX4270" fmla="*/ 3640704 w 4610101"/>
              <a:gd name="connsiteY4270" fmla="*/ 2969256 h 6557032"/>
              <a:gd name="connsiteX4271" fmla="*/ 3643437 w 4610101"/>
              <a:gd name="connsiteY4271" fmla="*/ 2968802 h 6557032"/>
              <a:gd name="connsiteX4272" fmla="*/ 1076905 w 4610101"/>
              <a:gd name="connsiteY4272" fmla="*/ 2967360 h 6557032"/>
              <a:gd name="connsiteX4273" fmla="*/ 1076905 w 4610101"/>
              <a:gd name="connsiteY4273" fmla="*/ 3005627 h 6557032"/>
              <a:gd name="connsiteX4274" fmla="*/ 1051394 w 4610101"/>
              <a:gd name="connsiteY4274" fmla="*/ 2998337 h 6557032"/>
              <a:gd name="connsiteX4275" fmla="*/ 1060505 w 4610101"/>
              <a:gd name="connsiteY4275" fmla="*/ 2991049 h 6557032"/>
              <a:gd name="connsiteX4276" fmla="*/ 1062327 w 4610101"/>
              <a:gd name="connsiteY4276" fmla="*/ 2985581 h 6557032"/>
              <a:gd name="connsiteX4277" fmla="*/ 1069616 w 4610101"/>
              <a:gd name="connsiteY4277" fmla="*/ 2978293 h 6557032"/>
              <a:gd name="connsiteX4278" fmla="*/ 1076905 w 4610101"/>
              <a:gd name="connsiteY4278" fmla="*/ 2967360 h 6557032"/>
              <a:gd name="connsiteX4279" fmla="*/ 3538662 w 4610101"/>
              <a:gd name="connsiteY4279" fmla="*/ 2956515 h 6557032"/>
              <a:gd name="connsiteX4280" fmla="*/ 3544129 w 4610101"/>
              <a:gd name="connsiteY4280" fmla="*/ 2956515 h 6557032"/>
              <a:gd name="connsiteX4281" fmla="*/ 3538662 w 4610101"/>
              <a:gd name="connsiteY4281" fmla="*/ 2963788 h 6557032"/>
              <a:gd name="connsiteX4282" fmla="*/ 3262751 w 4610101"/>
              <a:gd name="connsiteY4282" fmla="*/ 2954320 h 6557032"/>
              <a:gd name="connsiteX4283" fmla="*/ 3261692 w 4610101"/>
              <a:gd name="connsiteY4283" fmla="*/ 2954600 h 6557032"/>
              <a:gd name="connsiteX4284" fmla="*/ 3261676 w 4610101"/>
              <a:gd name="connsiteY4284" fmla="*/ 2954655 h 6557032"/>
              <a:gd name="connsiteX4285" fmla="*/ 3261691 w 4610101"/>
              <a:gd name="connsiteY4285" fmla="*/ 2954676 h 6557032"/>
              <a:gd name="connsiteX4286" fmla="*/ 3567818 w 4610101"/>
              <a:gd name="connsiteY4286" fmla="*/ 2952835 h 6557032"/>
              <a:gd name="connsiteX4287" fmla="*/ 3565996 w 4610101"/>
              <a:gd name="connsiteY4287" fmla="*/ 2976529 h 6557032"/>
              <a:gd name="connsiteX4288" fmla="*/ 3542307 w 4610101"/>
              <a:gd name="connsiteY4288" fmla="*/ 2954664 h 6557032"/>
              <a:gd name="connsiteX4289" fmla="*/ 1235434 w 4610101"/>
              <a:gd name="connsiteY4289" fmla="*/ 2952773 h 6557032"/>
              <a:gd name="connsiteX4290" fmla="*/ 1235434 w 4610101"/>
              <a:gd name="connsiteY4290" fmla="*/ 2967351 h 6557032"/>
              <a:gd name="connsiteX4291" fmla="*/ 1250012 w 4610101"/>
              <a:gd name="connsiteY4291" fmla="*/ 2952773 h 6557032"/>
              <a:gd name="connsiteX4292" fmla="*/ 3813982 w 4610101"/>
              <a:gd name="connsiteY4292" fmla="*/ 2945413 h 6557032"/>
              <a:gd name="connsiteX4293" fmla="*/ 3824744 w 4610101"/>
              <a:gd name="connsiteY4293" fmla="*/ 2952844 h 6557032"/>
              <a:gd name="connsiteX4294" fmla="*/ 3806522 w 4610101"/>
              <a:gd name="connsiteY4294" fmla="*/ 2976540 h 6557032"/>
              <a:gd name="connsiteX4295" fmla="*/ 3784656 w 4610101"/>
              <a:gd name="connsiteY4295" fmla="*/ 2954674 h 6557032"/>
              <a:gd name="connsiteX4296" fmla="*/ 3801056 w 4610101"/>
              <a:gd name="connsiteY4296" fmla="*/ 2945565 h 6557032"/>
              <a:gd name="connsiteX4297" fmla="*/ 3813982 w 4610101"/>
              <a:gd name="connsiteY4297" fmla="*/ 2945413 h 6557032"/>
              <a:gd name="connsiteX4298" fmla="*/ 3724524 w 4610101"/>
              <a:gd name="connsiteY4298" fmla="*/ 2941935 h 6557032"/>
              <a:gd name="connsiteX4299" fmla="*/ 3729990 w 4610101"/>
              <a:gd name="connsiteY4299" fmla="*/ 2943766 h 6557032"/>
              <a:gd name="connsiteX4300" fmla="*/ 3724524 w 4610101"/>
              <a:gd name="connsiteY4300" fmla="*/ 2947397 h 6557032"/>
              <a:gd name="connsiteX4301" fmla="*/ 3720879 w 4610101"/>
              <a:gd name="connsiteY4301" fmla="*/ 2945571 h 6557032"/>
              <a:gd name="connsiteX4302" fmla="*/ 3505862 w 4610101"/>
              <a:gd name="connsiteY4302" fmla="*/ 2938251 h 6557032"/>
              <a:gd name="connsiteX4303" fmla="*/ 3524084 w 4610101"/>
              <a:gd name="connsiteY4303" fmla="*/ 2940080 h 6557032"/>
              <a:gd name="connsiteX4304" fmla="*/ 3507685 w 4610101"/>
              <a:gd name="connsiteY4304" fmla="*/ 2954647 h 6557032"/>
              <a:gd name="connsiteX4305" fmla="*/ 3443909 w 4610101"/>
              <a:gd name="connsiteY4305" fmla="*/ 2936431 h 6557032"/>
              <a:gd name="connsiteX4306" fmla="*/ 3445731 w 4610101"/>
              <a:gd name="connsiteY4306" fmla="*/ 2952823 h 6557032"/>
              <a:gd name="connsiteX4307" fmla="*/ 3429331 w 4610101"/>
              <a:gd name="connsiteY4307" fmla="*/ 2951009 h 6557032"/>
              <a:gd name="connsiteX4308" fmla="*/ 4056160 w 4610101"/>
              <a:gd name="connsiteY4308" fmla="*/ 2923684 h 6557032"/>
              <a:gd name="connsiteX4309" fmla="*/ 4081671 w 4610101"/>
              <a:gd name="connsiteY4309" fmla="*/ 2923684 h 6557032"/>
              <a:gd name="connsiteX4310" fmla="*/ 4065271 w 4610101"/>
              <a:gd name="connsiteY4310" fmla="*/ 2938260 h 6557032"/>
              <a:gd name="connsiteX4311" fmla="*/ 3146895 w 4610101"/>
              <a:gd name="connsiteY4311" fmla="*/ 2923625 h 6557032"/>
              <a:gd name="connsiteX4312" fmla="*/ 3137784 w 4610101"/>
              <a:gd name="connsiteY4312" fmla="*/ 2938200 h 6557032"/>
              <a:gd name="connsiteX4313" fmla="*/ 3146895 w 4610101"/>
              <a:gd name="connsiteY4313" fmla="*/ 2947312 h 6557032"/>
              <a:gd name="connsiteX4314" fmla="*/ 3161473 w 4610101"/>
              <a:gd name="connsiteY4314" fmla="*/ 2930912 h 6557032"/>
              <a:gd name="connsiteX4315" fmla="*/ 3422043 w 4610101"/>
              <a:gd name="connsiteY4315" fmla="*/ 2920068 h 6557032"/>
              <a:gd name="connsiteX4316" fmla="*/ 3425512 w 4610101"/>
              <a:gd name="connsiteY4316" fmla="*/ 2923865 h 6557032"/>
              <a:gd name="connsiteX4317" fmla="*/ 3425688 w 4610101"/>
              <a:gd name="connsiteY4317" fmla="*/ 2923710 h 6557032"/>
              <a:gd name="connsiteX4318" fmla="*/ 3425622 w 4610101"/>
              <a:gd name="connsiteY4318" fmla="*/ 2923987 h 6557032"/>
              <a:gd name="connsiteX4319" fmla="*/ 3426827 w 4610101"/>
              <a:gd name="connsiteY4319" fmla="*/ 2925312 h 6557032"/>
              <a:gd name="connsiteX4320" fmla="*/ 3424946 w 4610101"/>
              <a:gd name="connsiteY4320" fmla="*/ 2926838 h 6557032"/>
              <a:gd name="connsiteX4321" fmla="*/ 3416577 w 4610101"/>
              <a:gd name="connsiteY4321" fmla="*/ 2961970 h 6557032"/>
              <a:gd name="connsiteX4322" fmla="*/ 3416577 w 4610101"/>
              <a:gd name="connsiteY4322" fmla="*/ 2974722 h 6557032"/>
              <a:gd name="connsiteX4323" fmla="*/ 3447554 w 4610101"/>
              <a:gd name="connsiteY4323" fmla="*/ 3012980 h 6557032"/>
              <a:gd name="connsiteX4324" fmla="*/ 3409288 w 4610101"/>
              <a:gd name="connsiteY4324" fmla="*/ 2989297 h 6557032"/>
              <a:gd name="connsiteX4325" fmla="*/ 3415916 w 4610101"/>
              <a:gd name="connsiteY4325" fmla="*/ 2976041 h 6557032"/>
              <a:gd name="connsiteX4326" fmla="*/ 3399494 w 4610101"/>
              <a:gd name="connsiteY4326" fmla="*/ 2963554 h 6557032"/>
              <a:gd name="connsiteX4327" fmla="*/ 3394711 w 4610101"/>
              <a:gd name="connsiteY4327" fmla="*/ 2938292 h 6557032"/>
              <a:gd name="connsiteX4328" fmla="*/ 3413616 w 4610101"/>
              <a:gd name="connsiteY4328" fmla="*/ 2934416 h 6557032"/>
              <a:gd name="connsiteX4329" fmla="*/ 3422043 w 4610101"/>
              <a:gd name="connsiteY4329" fmla="*/ 2926957 h 6557032"/>
              <a:gd name="connsiteX4330" fmla="*/ 3095874 w 4610101"/>
              <a:gd name="connsiteY4330" fmla="*/ 2919981 h 6557032"/>
              <a:gd name="connsiteX4331" fmla="*/ 3094052 w 4610101"/>
              <a:gd name="connsiteY4331" fmla="*/ 2927266 h 6557032"/>
              <a:gd name="connsiteX4332" fmla="*/ 3097696 w 4610101"/>
              <a:gd name="connsiteY4332" fmla="*/ 2919981 h 6557032"/>
              <a:gd name="connsiteX4333" fmla="*/ 3095874 w 4610101"/>
              <a:gd name="connsiteY4333" fmla="*/ 2919981 h 6557032"/>
              <a:gd name="connsiteX4334" fmla="*/ 3115918 w 4610101"/>
              <a:gd name="connsiteY4334" fmla="*/ 2914513 h 6557032"/>
              <a:gd name="connsiteX4335" fmla="*/ 3114096 w 4610101"/>
              <a:gd name="connsiteY4335" fmla="*/ 2921801 h 6557032"/>
              <a:gd name="connsiteX4336" fmla="*/ 3117741 w 4610101"/>
              <a:gd name="connsiteY4336" fmla="*/ 2914513 h 6557032"/>
              <a:gd name="connsiteX4337" fmla="*/ 3115918 w 4610101"/>
              <a:gd name="connsiteY4337" fmla="*/ 2914513 h 6557032"/>
              <a:gd name="connsiteX4338" fmla="*/ 1295566 w 4610101"/>
              <a:gd name="connsiteY4338" fmla="*/ 2914509 h 6557032"/>
              <a:gd name="connsiteX4339" fmla="*/ 1266411 w 4610101"/>
              <a:gd name="connsiteY4339" fmla="*/ 2923620 h 6557032"/>
              <a:gd name="connsiteX4340" fmla="*/ 1288277 w 4610101"/>
              <a:gd name="connsiteY4340" fmla="*/ 2952773 h 6557032"/>
              <a:gd name="connsiteX4341" fmla="*/ 1288277 w 4610101"/>
              <a:gd name="connsiteY4341" fmla="*/ 2938198 h 6557032"/>
              <a:gd name="connsiteX4342" fmla="*/ 1301033 w 4610101"/>
              <a:gd name="connsiteY4342" fmla="*/ 2938198 h 6557032"/>
              <a:gd name="connsiteX4343" fmla="*/ 1297388 w 4610101"/>
              <a:gd name="connsiteY4343" fmla="*/ 2918154 h 6557032"/>
              <a:gd name="connsiteX4344" fmla="*/ 776246 w 4610101"/>
              <a:gd name="connsiteY4344" fmla="*/ 2909134 h 6557032"/>
              <a:gd name="connsiteX4345" fmla="*/ 783536 w 4610101"/>
              <a:gd name="connsiteY4345" fmla="*/ 2923706 h 6557032"/>
              <a:gd name="connsiteX4346" fmla="*/ 776246 w 4610101"/>
              <a:gd name="connsiteY4346" fmla="*/ 2945565 h 6557032"/>
              <a:gd name="connsiteX4347" fmla="*/ 754380 w 4610101"/>
              <a:gd name="connsiteY4347" fmla="*/ 2916422 h 6557032"/>
              <a:gd name="connsiteX4348" fmla="*/ 3892164 w 4610101"/>
              <a:gd name="connsiteY4348" fmla="*/ 2909115 h 6557032"/>
              <a:gd name="connsiteX4349" fmla="*/ 3914030 w 4610101"/>
              <a:gd name="connsiteY4349" fmla="*/ 2909115 h 6557032"/>
              <a:gd name="connsiteX4350" fmla="*/ 3904919 w 4610101"/>
              <a:gd name="connsiteY4350" fmla="*/ 2921869 h 6557032"/>
              <a:gd name="connsiteX4351" fmla="*/ 3892164 w 4610101"/>
              <a:gd name="connsiteY4351" fmla="*/ 2923690 h 6557032"/>
              <a:gd name="connsiteX4352" fmla="*/ 1591663 w 4610101"/>
              <a:gd name="connsiteY4352" fmla="*/ 2904945 h 6557032"/>
              <a:gd name="connsiteX4353" fmla="*/ 1590758 w 4610101"/>
              <a:gd name="connsiteY4353" fmla="*/ 2905399 h 6557032"/>
              <a:gd name="connsiteX4354" fmla="*/ 1592240 w 4610101"/>
              <a:gd name="connsiteY4354" fmla="*/ 2906385 h 6557032"/>
              <a:gd name="connsiteX4355" fmla="*/ 3132318 w 4610101"/>
              <a:gd name="connsiteY4355" fmla="*/ 2896291 h 6557032"/>
              <a:gd name="connsiteX4356" fmla="*/ 3134140 w 4610101"/>
              <a:gd name="connsiteY4356" fmla="*/ 2901757 h 6557032"/>
              <a:gd name="connsiteX4357" fmla="*/ 3135962 w 4610101"/>
              <a:gd name="connsiteY4357" fmla="*/ 2901757 h 6557032"/>
              <a:gd name="connsiteX4358" fmla="*/ 3132318 w 4610101"/>
              <a:gd name="connsiteY4358" fmla="*/ 2896291 h 6557032"/>
              <a:gd name="connsiteX4359" fmla="*/ 958464 w 4610101"/>
              <a:gd name="connsiteY4359" fmla="*/ 2892726 h 6557032"/>
              <a:gd name="connsiteX4360" fmla="*/ 947531 w 4610101"/>
              <a:gd name="connsiteY4360" fmla="*/ 2909115 h 6557032"/>
              <a:gd name="connsiteX4361" fmla="*/ 932953 w 4610101"/>
              <a:gd name="connsiteY4361" fmla="*/ 2894546 h 6557032"/>
              <a:gd name="connsiteX4362" fmla="*/ 1129748 w 4610101"/>
              <a:gd name="connsiteY4362" fmla="*/ 2892671 h 6557032"/>
              <a:gd name="connsiteX4363" fmla="*/ 1137037 w 4610101"/>
              <a:gd name="connsiteY4363" fmla="*/ 2892671 h 6557032"/>
              <a:gd name="connsiteX4364" fmla="*/ 1131570 w 4610101"/>
              <a:gd name="connsiteY4364" fmla="*/ 2896315 h 6557032"/>
              <a:gd name="connsiteX4365" fmla="*/ 3491286 w 4610101"/>
              <a:gd name="connsiteY4365" fmla="*/ 2885423 h 6557032"/>
              <a:gd name="connsiteX4366" fmla="*/ 3514974 w 4610101"/>
              <a:gd name="connsiteY4366" fmla="*/ 2887247 h 6557032"/>
              <a:gd name="connsiteX4367" fmla="*/ 3500397 w 4610101"/>
              <a:gd name="connsiteY4367" fmla="*/ 2900001 h 6557032"/>
              <a:gd name="connsiteX4368" fmla="*/ 1280989 w 4610101"/>
              <a:gd name="connsiteY4368" fmla="*/ 2885355 h 6557032"/>
              <a:gd name="connsiteX4369" fmla="*/ 1290100 w 4610101"/>
              <a:gd name="connsiteY4369" fmla="*/ 2894465 h 6557032"/>
              <a:gd name="connsiteX4370" fmla="*/ 1286455 w 4610101"/>
              <a:gd name="connsiteY4370" fmla="*/ 2887177 h 6557032"/>
              <a:gd name="connsiteX4371" fmla="*/ 1288277 w 4610101"/>
              <a:gd name="connsiteY4371" fmla="*/ 2885355 h 6557032"/>
              <a:gd name="connsiteX4372" fmla="*/ 661450 w 4610101"/>
              <a:gd name="connsiteY4372" fmla="*/ 2883644 h 6557032"/>
              <a:gd name="connsiteX4373" fmla="*/ 692428 w 4610101"/>
              <a:gd name="connsiteY4373" fmla="*/ 2890941 h 6557032"/>
              <a:gd name="connsiteX4374" fmla="*/ 677849 w 4610101"/>
              <a:gd name="connsiteY4374" fmla="*/ 2929178 h 6557032"/>
              <a:gd name="connsiteX4375" fmla="*/ 646872 w 4610101"/>
              <a:gd name="connsiteY4375" fmla="*/ 2907316 h 6557032"/>
              <a:gd name="connsiteX4376" fmla="*/ 661450 w 4610101"/>
              <a:gd name="connsiteY4376" fmla="*/ 2883644 h 6557032"/>
              <a:gd name="connsiteX4377" fmla="*/ 3553240 w 4610101"/>
              <a:gd name="connsiteY4377" fmla="*/ 2883633 h 6557032"/>
              <a:gd name="connsiteX4378" fmla="*/ 3580573 w 4610101"/>
              <a:gd name="connsiteY4378" fmla="*/ 2914600 h 6557032"/>
              <a:gd name="connsiteX4379" fmla="*/ 3573284 w 4610101"/>
              <a:gd name="connsiteY4379" fmla="*/ 2923706 h 6557032"/>
              <a:gd name="connsiteX4380" fmla="*/ 3542307 w 4610101"/>
              <a:gd name="connsiteY4380" fmla="*/ 2894567 h 6557032"/>
              <a:gd name="connsiteX4381" fmla="*/ 3416576 w 4610101"/>
              <a:gd name="connsiteY4381" fmla="*/ 2872702 h 6557032"/>
              <a:gd name="connsiteX4382" fmla="*/ 3423864 w 4610101"/>
              <a:gd name="connsiteY4382" fmla="*/ 2887286 h 6557032"/>
              <a:gd name="connsiteX4383" fmla="*/ 3412931 w 4610101"/>
              <a:gd name="connsiteY4383" fmla="*/ 2879996 h 6557032"/>
              <a:gd name="connsiteX4384" fmla="*/ 3374667 w 4610101"/>
              <a:gd name="connsiteY4384" fmla="*/ 2872604 h 6557032"/>
              <a:gd name="connsiteX4385" fmla="*/ 3389244 w 4610101"/>
              <a:gd name="connsiteY4385" fmla="*/ 2878072 h 6557032"/>
              <a:gd name="connsiteX4386" fmla="*/ 3401999 w 4610101"/>
              <a:gd name="connsiteY4386" fmla="*/ 2885359 h 6557032"/>
              <a:gd name="connsiteX4387" fmla="*/ 3405644 w 4610101"/>
              <a:gd name="connsiteY4387" fmla="*/ 2883538 h 6557032"/>
              <a:gd name="connsiteX4388" fmla="*/ 3414754 w 4610101"/>
              <a:gd name="connsiteY4388" fmla="*/ 2885359 h 6557032"/>
              <a:gd name="connsiteX4389" fmla="*/ 3412932 w 4610101"/>
              <a:gd name="connsiteY4389" fmla="*/ 2898113 h 6557032"/>
              <a:gd name="connsiteX4390" fmla="*/ 3349155 w 4610101"/>
              <a:gd name="connsiteY4390" fmla="*/ 2878072 h 6557032"/>
              <a:gd name="connsiteX4391" fmla="*/ 3025716 w 4610101"/>
              <a:gd name="connsiteY4391" fmla="*/ 2870322 h 6557032"/>
              <a:gd name="connsiteX4392" fmla="*/ 3066720 w 4610101"/>
              <a:gd name="connsiteY4392" fmla="*/ 2872599 h 6557032"/>
              <a:gd name="connsiteX4393" fmla="*/ 3066720 w 4610101"/>
              <a:gd name="connsiteY4393" fmla="*/ 2874422 h 6557032"/>
              <a:gd name="connsiteX4394" fmla="*/ 3299957 w 4610101"/>
              <a:gd name="connsiteY4394" fmla="*/ 2868954 h 6557032"/>
              <a:gd name="connsiteX4395" fmla="*/ 3320001 w 4610101"/>
              <a:gd name="connsiteY4395" fmla="*/ 2878066 h 6557032"/>
              <a:gd name="connsiteX4396" fmla="*/ 3320001 w 4610101"/>
              <a:gd name="connsiteY4396" fmla="*/ 2879887 h 6557032"/>
              <a:gd name="connsiteX4397" fmla="*/ 3312712 w 4610101"/>
              <a:gd name="connsiteY4397" fmla="*/ 2878066 h 6557032"/>
              <a:gd name="connsiteX4398" fmla="*/ 3292668 w 4610101"/>
              <a:gd name="connsiteY4398" fmla="*/ 2872599 h 6557032"/>
              <a:gd name="connsiteX4399" fmla="*/ 3299957 w 4610101"/>
              <a:gd name="connsiteY4399" fmla="*/ 2868954 h 6557032"/>
              <a:gd name="connsiteX4400" fmla="*/ 3000041 w 4610101"/>
              <a:gd name="connsiteY4400" fmla="*/ 2867754 h 6557032"/>
              <a:gd name="connsiteX4401" fmla="*/ 3025716 w 4610101"/>
              <a:gd name="connsiteY4401" fmla="*/ 2870322 h 6557032"/>
              <a:gd name="connsiteX4402" fmla="*/ 3001122 w 4610101"/>
              <a:gd name="connsiteY4402" fmla="*/ 2868956 h 6557032"/>
              <a:gd name="connsiteX4403" fmla="*/ 3447553 w 4610101"/>
              <a:gd name="connsiteY4403" fmla="*/ 2865388 h 6557032"/>
              <a:gd name="connsiteX4404" fmla="*/ 3446870 w 4610101"/>
              <a:gd name="connsiteY4404" fmla="*/ 2868806 h 6557032"/>
              <a:gd name="connsiteX4405" fmla="*/ 3445247 w 4610101"/>
              <a:gd name="connsiteY4405" fmla="*/ 2866671 h 6557032"/>
              <a:gd name="connsiteX4406" fmla="*/ 3496752 w 4610101"/>
              <a:gd name="connsiteY4406" fmla="*/ 2863562 h 6557032"/>
              <a:gd name="connsiteX4407" fmla="*/ 3522263 w 4610101"/>
              <a:gd name="connsiteY4407" fmla="*/ 2863562 h 6557032"/>
              <a:gd name="connsiteX4408" fmla="*/ 3513152 w 4610101"/>
              <a:gd name="connsiteY4408" fmla="*/ 2879968 h 6557032"/>
              <a:gd name="connsiteX4409" fmla="*/ 3323646 w 4610101"/>
              <a:gd name="connsiteY4409" fmla="*/ 2863494 h 6557032"/>
              <a:gd name="connsiteX4410" fmla="*/ 3327291 w 4610101"/>
              <a:gd name="connsiteY4410" fmla="*/ 2863494 h 6557032"/>
              <a:gd name="connsiteX4411" fmla="*/ 3325469 w 4610101"/>
              <a:gd name="connsiteY4411" fmla="*/ 2865318 h 6557032"/>
              <a:gd name="connsiteX4412" fmla="*/ 3323646 w 4610101"/>
              <a:gd name="connsiteY4412" fmla="*/ 2863494 h 6557032"/>
              <a:gd name="connsiteX4413" fmla="*/ 3230032 w 4610101"/>
              <a:gd name="connsiteY4413" fmla="*/ 2856888 h 6557032"/>
              <a:gd name="connsiteX4414" fmla="*/ 3290847 w 4610101"/>
              <a:gd name="connsiteY4414" fmla="*/ 2861670 h 6557032"/>
              <a:gd name="connsiteX4415" fmla="*/ 3285380 w 4610101"/>
              <a:gd name="connsiteY4415" fmla="*/ 2868958 h 6557032"/>
              <a:gd name="connsiteX4416" fmla="*/ 3256226 w 4610101"/>
              <a:gd name="connsiteY4416" fmla="*/ 2867138 h 6557032"/>
              <a:gd name="connsiteX4417" fmla="*/ 3225249 w 4610101"/>
              <a:gd name="connsiteY4417" fmla="*/ 2867138 h 6557032"/>
              <a:gd name="connsiteX4418" fmla="*/ 3225249 w 4610101"/>
              <a:gd name="connsiteY4418" fmla="*/ 2865314 h 6557032"/>
              <a:gd name="connsiteX4419" fmla="*/ 3219782 w 4610101"/>
              <a:gd name="connsiteY4419" fmla="*/ 2867138 h 6557032"/>
              <a:gd name="connsiteX4420" fmla="*/ 3192449 w 4610101"/>
              <a:gd name="connsiteY4420" fmla="*/ 2872602 h 6557032"/>
              <a:gd name="connsiteX4421" fmla="*/ 3185161 w 4610101"/>
              <a:gd name="connsiteY4421" fmla="*/ 2870782 h 6557032"/>
              <a:gd name="connsiteX4422" fmla="*/ 3185161 w 4610101"/>
              <a:gd name="connsiteY4422" fmla="*/ 2872602 h 6557032"/>
              <a:gd name="connsiteX4423" fmla="*/ 3185161 w 4610101"/>
              <a:gd name="connsiteY4423" fmla="*/ 2876248 h 6557032"/>
              <a:gd name="connsiteX4424" fmla="*/ 3179694 w 4610101"/>
              <a:gd name="connsiteY4424" fmla="*/ 2878070 h 6557032"/>
              <a:gd name="connsiteX4425" fmla="*/ 3177872 w 4610101"/>
              <a:gd name="connsiteY4425" fmla="*/ 2874424 h 6557032"/>
              <a:gd name="connsiteX4426" fmla="*/ 3176050 w 4610101"/>
              <a:gd name="connsiteY4426" fmla="*/ 2879891 h 6557032"/>
              <a:gd name="connsiteX4427" fmla="*/ 3156006 w 4610101"/>
              <a:gd name="connsiteY4427" fmla="*/ 2890823 h 6557032"/>
              <a:gd name="connsiteX4428" fmla="*/ 3154184 w 4610101"/>
              <a:gd name="connsiteY4428" fmla="*/ 2887179 h 6557032"/>
              <a:gd name="connsiteX4429" fmla="*/ 3148717 w 4610101"/>
              <a:gd name="connsiteY4429" fmla="*/ 2889003 h 6557032"/>
              <a:gd name="connsiteX4430" fmla="*/ 3150539 w 4610101"/>
              <a:gd name="connsiteY4430" fmla="*/ 2894469 h 6557032"/>
              <a:gd name="connsiteX4431" fmla="*/ 3146895 w 4610101"/>
              <a:gd name="connsiteY4431" fmla="*/ 2898113 h 6557032"/>
              <a:gd name="connsiteX4432" fmla="*/ 3150539 w 4610101"/>
              <a:gd name="connsiteY4432" fmla="*/ 2907223 h 6557032"/>
              <a:gd name="connsiteX4433" fmla="*/ 3259870 w 4610101"/>
              <a:gd name="connsiteY4433" fmla="*/ 2889003 h 6557032"/>
              <a:gd name="connsiteX4434" fmla="*/ 3310891 w 4610101"/>
              <a:gd name="connsiteY4434" fmla="*/ 2896291 h 6557032"/>
              <a:gd name="connsiteX4435" fmla="*/ 3245293 w 4610101"/>
              <a:gd name="connsiteY4435" fmla="*/ 2898113 h 6557032"/>
              <a:gd name="connsiteX4436" fmla="*/ 3156006 w 4610101"/>
              <a:gd name="connsiteY4436" fmla="*/ 2918157 h 6557032"/>
              <a:gd name="connsiteX4437" fmla="*/ 3163295 w 4610101"/>
              <a:gd name="connsiteY4437" fmla="*/ 2925444 h 6557032"/>
              <a:gd name="connsiteX4438" fmla="*/ 3265336 w 4610101"/>
              <a:gd name="connsiteY4438" fmla="*/ 2914513 h 6557032"/>
              <a:gd name="connsiteX4439" fmla="*/ 3318180 w 4610101"/>
              <a:gd name="connsiteY4439" fmla="*/ 2914513 h 6557032"/>
              <a:gd name="connsiteX4440" fmla="*/ 3312713 w 4610101"/>
              <a:gd name="connsiteY4440" fmla="*/ 2919981 h 6557032"/>
              <a:gd name="connsiteX4441" fmla="*/ 3216138 w 4610101"/>
              <a:gd name="connsiteY4441" fmla="*/ 2934554 h 6557032"/>
              <a:gd name="connsiteX4442" fmla="*/ 3221604 w 4610101"/>
              <a:gd name="connsiteY4442" fmla="*/ 2938200 h 6557032"/>
              <a:gd name="connsiteX4443" fmla="*/ 3298136 w 4610101"/>
              <a:gd name="connsiteY4443" fmla="*/ 2929090 h 6557032"/>
              <a:gd name="connsiteX4444" fmla="*/ 3312713 w 4610101"/>
              <a:gd name="connsiteY4444" fmla="*/ 2929090 h 6557032"/>
              <a:gd name="connsiteX4445" fmla="*/ 3274447 w 4610101"/>
              <a:gd name="connsiteY4445" fmla="*/ 2932734 h 6557032"/>
              <a:gd name="connsiteX4446" fmla="*/ 3228893 w 4610101"/>
              <a:gd name="connsiteY4446" fmla="*/ 2945490 h 6557032"/>
              <a:gd name="connsiteX4447" fmla="*/ 3234360 w 4610101"/>
              <a:gd name="connsiteY4447" fmla="*/ 2952778 h 6557032"/>
              <a:gd name="connsiteX4448" fmla="*/ 3236398 w 4610101"/>
              <a:gd name="connsiteY4448" fmla="*/ 2952449 h 6557032"/>
              <a:gd name="connsiteX4449" fmla="*/ 3239827 w 4610101"/>
              <a:gd name="connsiteY4449" fmla="*/ 2947397 h 6557032"/>
              <a:gd name="connsiteX4450" fmla="*/ 3239827 w 4610101"/>
              <a:gd name="connsiteY4450" fmla="*/ 2951904 h 6557032"/>
              <a:gd name="connsiteX4451" fmla="*/ 3256224 w 4610101"/>
              <a:gd name="connsiteY4451" fmla="*/ 2949279 h 6557032"/>
              <a:gd name="connsiteX4452" fmla="*/ 3256224 w 4610101"/>
              <a:gd name="connsiteY4452" fmla="*/ 2947397 h 6557032"/>
              <a:gd name="connsiteX4453" fmla="*/ 3257486 w 4610101"/>
              <a:gd name="connsiteY4453" fmla="*/ 2949076 h 6557032"/>
              <a:gd name="connsiteX4454" fmla="*/ 3279914 w 4610101"/>
              <a:gd name="connsiteY4454" fmla="*/ 2945490 h 6557032"/>
              <a:gd name="connsiteX4455" fmla="*/ 3296313 w 4610101"/>
              <a:gd name="connsiteY4455" fmla="*/ 2945490 h 6557032"/>
              <a:gd name="connsiteX4456" fmla="*/ 3267157 w 4610101"/>
              <a:gd name="connsiteY4456" fmla="*/ 2953161 h 6557032"/>
              <a:gd name="connsiteX4457" fmla="*/ 3267157 w 4610101"/>
              <a:gd name="connsiteY4457" fmla="*/ 2960138 h 6557032"/>
              <a:gd name="connsiteX4458" fmla="*/ 3267973 w 4610101"/>
              <a:gd name="connsiteY4458" fmla="*/ 2961500 h 6557032"/>
              <a:gd name="connsiteX4459" fmla="*/ 3314535 w 4610101"/>
              <a:gd name="connsiteY4459" fmla="*/ 2954600 h 6557032"/>
              <a:gd name="connsiteX4460" fmla="*/ 3314975 w 4610101"/>
              <a:gd name="connsiteY4460" fmla="*/ 2956356 h 6557032"/>
              <a:gd name="connsiteX4461" fmla="*/ 3327290 w 4610101"/>
              <a:gd name="connsiteY4461" fmla="*/ 2954595 h 6557032"/>
              <a:gd name="connsiteX4462" fmla="*/ 3341867 w 4610101"/>
              <a:gd name="connsiteY4462" fmla="*/ 2952773 h 6557032"/>
              <a:gd name="connsiteX4463" fmla="*/ 3321823 w 4610101"/>
              <a:gd name="connsiteY4463" fmla="*/ 2960063 h 6557032"/>
              <a:gd name="connsiteX4464" fmla="*/ 3315055 w 4610101"/>
              <a:gd name="connsiteY4464" fmla="*/ 2956679 h 6557032"/>
              <a:gd name="connsiteX4465" fmla="*/ 3316357 w 4610101"/>
              <a:gd name="connsiteY4465" fmla="*/ 2961887 h 6557032"/>
              <a:gd name="connsiteX4466" fmla="*/ 3305424 w 4610101"/>
              <a:gd name="connsiteY4466" fmla="*/ 2965531 h 6557032"/>
              <a:gd name="connsiteX4467" fmla="*/ 3276270 w 4610101"/>
              <a:gd name="connsiteY4467" fmla="*/ 2974643 h 6557032"/>
              <a:gd name="connsiteX4468" fmla="*/ 3255514 w 4610101"/>
              <a:gd name="connsiteY4468" fmla="*/ 2974643 h 6557032"/>
              <a:gd name="connsiteX4469" fmla="*/ 3258047 w 4610101"/>
              <a:gd name="connsiteY4469" fmla="*/ 2976540 h 6557032"/>
              <a:gd name="connsiteX4470" fmla="*/ 3258047 w 4610101"/>
              <a:gd name="connsiteY4470" fmla="*/ 2983829 h 6557032"/>
              <a:gd name="connsiteX4471" fmla="*/ 3250758 w 4610101"/>
              <a:gd name="connsiteY4471" fmla="*/ 2983829 h 6557032"/>
              <a:gd name="connsiteX4472" fmla="*/ 3250194 w 4610101"/>
              <a:gd name="connsiteY4472" fmla="*/ 2981010 h 6557032"/>
              <a:gd name="connsiteX4473" fmla="*/ 3202244 w 4610101"/>
              <a:gd name="connsiteY4473" fmla="*/ 2991271 h 6557032"/>
              <a:gd name="connsiteX4474" fmla="*/ 3148717 w 4610101"/>
              <a:gd name="connsiteY4474" fmla="*/ 2992864 h 6557032"/>
              <a:gd name="connsiteX4475" fmla="*/ 3101912 w 4610101"/>
              <a:gd name="connsiteY4475" fmla="*/ 2978387 h 6557032"/>
              <a:gd name="connsiteX4476" fmla="*/ 3102744 w 4610101"/>
              <a:gd name="connsiteY4476" fmla="*/ 2981074 h 6557032"/>
              <a:gd name="connsiteX4477" fmla="*/ 3102109 w 4610101"/>
              <a:gd name="connsiteY4477" fmla="*/ 2980642 h 6557032"/>
              <a:gd name="connsiteX4478" fmla="*/ 3102963 w 4610101"/>
              <a:gd name="connsiteY4478" fmla="*/ 2981782 h 6557032"/>
              <a:gd name="connsiteX4479" fmla="*/ 3102744 w 4610101"/>
              <a:gd name="connsiteY4479" fmla="*/ 2981074 h 6557032"/>
              <a:gd name="connsiteX4480" fmla="*/ 3106807 w 4610101"/>
              <a:gd name="connsiteY4480" fmla="*/ 2983832 h 6557032"/>
              <a:gd name="connsiteX4481" fmla="*/ 3099518 w 4610101"/>
              <a:gd name="connsiteY4481" fmla="*/ 2983832 h 6557032"/>
              <a:gd name="connsiteX4482" fmla="*/ 3092229 w 4610101"/>
              <a:gd name="connsiteY4482" fmla="*/ 2976540 h 6557032"/>
              <a:gd name="connsiteX4483" fmla="*/ 3095941 w 4610101"/>
              <a:gd name="connsiteY4483" fmla="*/ 2976540 h 6557032"/>
              <a:gd name="connsiteX4484" fmla="*/ 3094963 w 4610101"/>
              <a:gd name="connsiteY4484" fmla="*/ 2976237 h 6557032"/>
              <a:gd name="connsiteX4485" fmla="*/ 3046675 w 4610101"/>
              <a:gd name="connsiteY4485" fmla="*/ 2947312 h 6557032"/>
              <a:gd name="connsiteX4486" fmla="*/ 2970143 w 4610101"/>
              <a:gd name="connsiteY4486" fmla="*/ 2905401 h 6557032"/>
              <a:gd name="connsiteX4487" fmla="*/ 3159650 w 4610101"/>
              <a:gd name="connsiteY4487" fmla="*/ 2870782 h 6557032"/>
              <a:gd name="connsiteX4488" fmla="*/ 3168761 w 4610101"/>
              <a:gd name="connsiteY4488" fmla="*/ 2867138 h 6557032"/>
              <a:gd name="connsiteX4489" fmla="*/ 3170583 w 4610101"/>
              <a:gd name="connsiteY4489" fmla="*/ 2867138 h 6557032"/>
              <a:gd name="connsiteX4490" fmla="*/ 3230032 w 4610101"/>
              <a:gd name="connsiteY4490" fmla="*/ 2856888 h 6557032"/>
              <a:gd name="connsiteX4491" fmla="*/ 3453021 w 4610101"/>
              <a:gd name="connsiteY4491" fmla="*/ 2847171 h 6557032"/>
              <a:gd name="connsiteX4492" fmla="*/ 3460309 w 4610101"/>
              <a:gd name="connsiteY4492" fmla="*/ 2869035 h 6557032"/>
              <a:gd name="connsiteX4493" fmla="*/ 3447554 w 4610101"/>
              <a:gd name="connsiteY4493" fmla="*/ 2865388 h 6557032"/>
              <a:gd name="connsiteX4494" fmla="*/ 3447553 w 4610101"/>
              <a:gd name="connsiteY4494" fmla="*/ 2865388 h 6557032"/>
              <a:gd name="connsiteX4495" fmla="*/ 3438443 w 4610101"/>
              <a:gd name="connsiteY4495" fmla="*/ 2854461 h 6557032"/>
              <a:gd name="connsiteX4496" fmla="*/ 3400178 w 4610101"/>
              <a:gd name="connsiteY4496" fmla="*/ 2841729 h 6557032"/>
              <a:gd name="connsiteX4497" fmla="*/ 3438444 w 4610101"/>
              <a:gd name="connsiteY4497" fmla="*/ 2856306 h 6557032"/>
              <a:gd name="connsiteX4498" fmla="*/ 3431162 w 4610101"/>
              <a:gd name="connsiteY4498" fmla="*/ 2870863 h 6557032"/>
              <a:gd name="connsiteX4499" fmla="*/ 3447554 w 4610101"/>
              <a:gd name="connsiteY4499" fmla="*/ 2879975 h 6557032"/>
              <a:gd name="connsiteX4500" fmla="*/ 3432976 w 4610101"/>
              <a:gd name="connsiteY4500" fmla="*/ 2890919 h 6557032"/>
              <a:gd name="connsiteX4501" fmla="*/ 3423865 w 4610101"/>
              <a:gd name="connsiteY4501" fmla="*/ 2885439 h 6557032"/>
              <a:gd name="connsiteX4502" fmla="*/ 3431144 w 4610101"/>
              <a:gd name="connsiteY4502" fmla="*/ 2870878 h 6557032"/>
              <a:gd name="connsiteX4503" fmla="*/ 3392889 w 4610101"/>
              <a:gd name="connsiteY4503" fmla="*/ 2870878 h 6557032"/>
              <a:gd name="connsiteX4504" fmla="*/ 3400178 w 4610101"/>
              <a:gd name="connsiteY4504" fmla="*/ 2841729 h 6557032"/>
              <a:gd name="connsiteX4505" fmla="*/ 1095127 w 4610101"/>
              <a:gd name="connsiteY4505" fmla="*/ 2830725 h 6557032"/>
              <a:gd name="connsiteX4506" fmla="*/ 1109704 w 4610101"/>
              <a:gd name="connsiteY4506" fmla="*/ 2836190 h 6557032"/>
              <a:gd name="connsiteX4507" fmla="*/ 1116993 w 4610101"/>
              <a:gd name="connsiteY4507" fmla="*/ 2843476 h 6557032"/>
              <a:gd name="connsiteX4508" fmla="*/ 1111526 w 4610101"/>
              <a:gd name="connsiteY4508" fmla="*/ 2861698 h 6557032"/>
              <a:gd name="connsiteX4509" fmla="*/ 1127928 w 4610101"/>
              <a:gd name="connsiteY4509" fmla="*/ 2838010 h 6557032"/>
              <a:gd name="connsiteX4510" fmla="*/ 1129749 w 4610101"/>
              <a:gd name="connsiteY4510" fmla="*/ 2838010 h 6557032"/>
              <a:gd name="connsiteX4511" fmla="*/ 1133393 w 4610101"/>
              <a:gd name="connsiteY4511" fmla="*/ 2847122 h 6557032"/>
              <a:gd name="connsiteX4512" fmla="*/ 1147971 w 4610101"/>
              <a:gd name="connsiteY4512" fmla="*/ 2858054 h 6557032"/>
              <a:gd name="connsiteX4513" fmla="*/ 1138860 w 4610101"/>
              <a:gd name="connsiteY4513" fmla="*/ 2879917 h 6557032"/>
              <a:gd name="connsiteX4514" fmla="*/ 1133393 w 4610101"/>
              <a:gd name="connsiteY4514" fmla="*/ 2889027 h 6557032"/>
              <a:gd name="connsiteX4515" fmla="*/ 1095127 w 4610101"/>
              <a:gd name="connsiteY4515" fmla="*/ 2918180 h 6557032"/>
              <a:gd name="connsiteX4516" fmla="*/ 1071438 w 4610101"/>
              <a:gd name="connsiteY4516" fmla="*/ 2910890 h 6557032"/>
              <a:gd name="connsiteX4517" fmla="*/ 1078727 w 4610101"/>
              <a:gd name="connsiteY4517" fmla="*/ 2941865 h 6557032"/>
              <a:gd name="connsiteX4518" fmla="*/ 1071438 w 4610101"/>
              <a:gd name="connsiteY4518" fmla="*/ 2949155 h 6557032"/>
              <a:gd name="connsiteX4519" fmla="*/ 1075083 w 4610101"/>
              <a:gd name="connsiteY4519" fmla="*/ 2961906 h 6557032"/>
              <a:gd name="connsiteX4520" fmla="*/ 1060505 w 4610101"/>
              <a:gd name="connsiteY4520" fmla="*/ 2981948 h 6557032"/>
              <a:gd name="connsiteX4521" fmla="*/ 1056861 w 4610101"/>
              <a:gd name="connsiteY4521" fmla="*/ 2983770 h 6557032"/>
              <a:gd name="connsiteX4522" fmla="*/ 1049572 w 4610101"/>
              <a:gd name="connsiteY4522" fmla="*/ 2994704 h 6557032"/>
              <a:gd name="connsiteX4523" fmla="*/ 1044106 w 4610101"/>
              <a:gd name="connsiteY4523" fmla="*/ 2991060 h 6557032"/>
              <a:gd name="connsiteX4524" fmla="*/ 1055040 w 4610101"/>
              <a:gd name="connsiteY4524" fmla="*/ 2980126 h 6557032"/>
              <a:gd name="connsiteX4525" fmla="*/ 1053217 w 4610101"/>
              <a:gd name="connsiteY4525" fmla="*/ 2978306 h 6557032"/>
              <a:gd name="connsiteX4526" fmla="*/ 1056861 w 4610101"/>
              <a:gd name="connsiteY4526" fmla="*/ 2976482 h 6557032"/>
              <a:gd name="connsiteX4527" fmla="*/ 1053217 w 4610101"/>
              <a:gd name="connsiteY4527" fmla="*/ 2974660 h 6557032"/>
              <a:gd name="connsiteX4528" fmla="*/ 1053217 w 4610101"/>
              <a:gd name="connsiteY4528" fmla="*/ 2969194 h 6557032"/>
              <a:gd name="connsiteX4529" fmla="*/ 1049572 w 4610101"/>
              <a:gd name="connsiteY4529" fmla="*/ 2969194 h 6557032"/>
              <a:gd name="connsiteX4530" fmla="*/ 1047750 w 4610101"/>
              <a:gd name="connsiteY4530" fmla="*/ 2974660 h 6557032"/>
              <a:gd name="connsiteX4531" fmla="*/ 1042284 w 4610101"/>
              <a:gd name="connsiteY4531" fmla="*/ 2963731 h 6557032"/>
              <a:gd name="connsiteX4532" fmla="*/ 1051394 w 4610101"/>
              <a:gd name="connsiteY4532" fmla="*/ 2952797 h 6557032"/>
              <a:gd name="connsiteX4533" fmla="*/ 1065972 w 4610101"/>
              <a:gd name="connsiteY4533" fmla="*/ 2949155 h 6557032"/>
              <a:gd name="connsiteX4534" fmla="*/ 1060505 w 4610101"/>
              <a:gd name="connsiteY4534" fmla="*/ 2936399 h 6557032"/>
              <a:gd name="connsiteX4535" fmla="*/ 1065972 w 4610101"/>
              <a:gd name="connsiteY4535" fmla="*/ 2918180 h 6557032"/>
              <a:gd name="connsiteX4536" fmla="*/ 1042284 w 4610101"/>
              <a:gd name="connsiteY4536" fmla="*/ 2898139 h 6557032"/>
              <a:gd name="connsiteX4537" fmla="*/ 1034995 w 4610101"/>
              <a:gd name="connsiteY4537" fmla="*/ 2912714 h 6557032"/>
              <a:gd name="connsiteX4538" fmla="*/ 1027707 w 4610101"/>
              <a:gd name="connsiteY4538" fmla="*/ 2892671 h 6557032"/>
              <a:gd name="connsiteX4539" fmla="*/ 1040461 w 4610101"/>
              <a:gd name="connsiteY4539" fmla="*/ 2868988 h 6557032"/>
              <a:gd name="connsiteX4540" fmla="*/ 1036818 w 4610101"/>
              <a:gd name="connsiteY4540" fmla="*/ 2867164 h 6557032"/>
              <a:gd name="connsiteX4541" fmla="*/ 1040461 w 4610101"/>
              <a:gd name="connsiteY4541" fmla="*/ 2867164 h 6557032"/>
              <a:gd name="connsiteX4542" fmla="*/ 1042284 w 4610101"/>
              <a:gd name="connsiteY4542" fmla="*/ 2859876 h 6557032"/>
              <a:gd name="connsiteX4543" fmla="*/ 1073262 w 4610101"/>
              <a:gd name="connsiteY4543" fmla="*/ 2841654 h 6557032"/>
              <a:gd name="connsiteX4544" fmla="*/ 1095127 w 4610101"/>
              <a:gd name="connsiteY4544" fmla="*/ 2830725 h 6557032"/>
              <a:gd name="connsiteX4545" fmla="*/ 3547318 w 4610101"/>
              <a:gd name="connsiteY4545" fmla="*/ 2819180 h 6557032"/>
              <a:gd name="connsiteX4546" fmla="*/ 3560529 w 4610101"/>
              <a:gd name="connsiteY4546" fmla="*/ 2847193 h 6557032"/>
              <a:gd name="connsiteX4547" fmla="*/ 3575106 w 4610101"/>
              <a:gd name="connsiteY4547" fmla="*/ 2847193 h 6557032"/>
              <a:gd name="connsiteX4548" fmla="*/ 3558707 w 4610101"/>
              <a:gd name="connsiteY4548" fmla="*/ 2878176 h 6557032"/>
              <a:gd name="connsiteX4549" fmla="*/ 3527730 w 4610101"/>
              <a:gd name="connsiteY4549" fmla="*/ 2852652 h 6557032"/>
              <a:gd name="connsiteX4550" fmla="*/ 3535019 w 4610101"/>
              <a:gd name="connsiteY4550" fmla="*/ 2839907 h 6557032"/>
              <a:gd name="connsiteX4551" fmla="*/ 3520441 w 4610101"/>
              <a:gd name="connsiteY4551" fmla="*/ 2825321 h 6557032"/>
              <a:gd name="connsiteX4552" fmla="*/ 3547318 w 4610101"/>
              <a:gd name="connsiteY4552" fmla="*/ 2819180 h 6557032"/>
              <a:gd name="connsiteX4553" fmla="*/ 896509 w 4610101"/>
              <a:gd name="connsiteY4553" fmla="*/ 2818020 h 6557032"/>
              <a:gd name="connsiteX4554" fmla="*/ 911087 w 4610101"/>
              <a:gd name="connsiteY4554" fmla="*/ 2818020 h 6557032"/>
              <a:gd name="connsiteX4555" fmla="*/ 911087 w 4610101"/>
              <a:gd name="connsiteY4555" fmla="*/ 2832579 h 6557032"/>
              <a:gd name="connsiteX4556" fmla="*/ 896509 w 4610101"/>
              <a:gd name="connsiteY4556" fmla="*/ 2832579 h 6557032"/>
              <a:gd name="connsiteX4557" fmla="*/ 3476709 w 4610101"/>
              <a:gd name="connsiteY4557" fmla="*/ 2818009 h 6557032"/>
              <a:gd name="connsiteX4558" fmla="*/ 3454843 w 4610101"/>
              <a:gd name="connsiteY4558" fmla="*/ 2839875 h 6557032"/>
              <a:gd name="connsiteX4559" fmla="*/ 1120637 w 4610101"/>
              <a:gd name="connsiteY4559" fmla="*/ 2814304 h 6557032"/>
              <a:gd name="connsiteX4560" fmla="*/ 1115170 w 4610101"/>
              <a:gd name="connsiteY4560" fmla="*/ 2828880 h 6557032"/>
              <a:gd name="connsiteX4561" fmla="*/ 1109704 w 4610101"/>
              <a:gd name="connsiteY4561" fmla="*/ 2830701 h 6557032"/>
              <a:gd name="connsiteX4562" fmla="*/ 1102415 w 4610101"/>
              <a:gd name="connsiteY4562" fmla="*/ 2827057 h 6557032"/>
              <a:gd name="connsiteX4563" fmla="*/ 1120637 w 4610101"/>
              <a:gd name="connsiteY4563" fmla="*/ 2814304 h 6557032"/>
              <a:gd name="connsiteX4564" fmla="*/ 3436621 w 4610101"/>
              <a:gd name="connsiteY4564" fmla="*/ 2808893 h 6557032"/>
              <a:gd name="connsiteX4565" fmla="*/ 3445732 w 4610101"/>
              <a:gd name="connsiteY4565" fmla="*/ 2825295 h 6557032"/>
              <a:gd name="connsiteX4566" fmla="*/ 3422043 w 4610101"/>
              <a:gd name="connsiteY4566" fmla="*/ 2823475 h 6557032"/>
              <a:gd name="connsiteX4567" fmla="*/ 1060505 w 4610101"/>
              <a:gd name="connsiteY4567" fmla="*/ 2808861 h 6557032"/>
              <a:gd name="connsiteX4568" fmla="*/ 1045929 w 4610101"/>
              <a:gd name="connsiteY4568" fmla="*/ 2823437 h 6557032"/>
              <a:gd name="connsiteX4569" fmla="*/ 1071438 w 4610101"/>
              <a:gd name="connsiteY4569" fmla="*/ 2832546 h 6557032"/>
              <a:gd name="connsiteX4570" fmla="*/ 3076300 w 4610101"/>
              <a:gd name="connsiteY4570" fmla="*/ 2802989 h 6557032"/>
              <a:gd name="connsiteX4571" fmla="*/ 3046676 w 4610101"/>
              <a:gd name="connsiteY4571" fmla="*/ 2812469 h 6557032"/>
              <a:gd name="connsiteX4572" fmla="*/ 3053965 w 4610101"/>
              <a:gd name="connsiteY4572" fmla="*/ 2816113 h 6557032"/>
              <a:gd name="connsiteX4573" fmla="*/ 3073957 w 4610101"/>
              <a:gd name="connsiteY4573" fmla="*/ 2811314 h 6557032"/>
              <a:gd name="connsiteX4574" fmla="*/ 3070363 w 4610101"/>
              <a:gd name="connsiteY4574" fmla="*/ 2808913 h 6557032"/>
              <a:gd name="connsiteX4575" fmla="*/ 3143251 w 4610101"/>
              <a:gd name="connsiteY4575" fmla="*/ 2792425 h 6557032"/>
              <a:gd name="connsiteX4576" fmla="*/ 3146895 w 4610101"/>
              <a:gd name="connsiteY4576" fmla="*/ 2796069 h 6557032"/>
              <a:gd name="connsiteX4577" fmla="*/ 3132318 w 4610101"/>
              <a:gd name="connsiteY4577" fmla="*/ 2805179 h 6557032"/>
              <a:gd name="connsiteX4578" fmla="*/ 3135962 w 4610101"/>
              <a:gd name="connsiteY4578" fmla="*/ 2816113 h 6557032"/>
              <a:gd name="connsiteX4579" fmla="*/ 3185161 w 4610101"/>
              <a:gd name="connsiteY4579" fmla="*/ 2807001 h 6557032"/>
              <a:gd name="connsiteX4580" fmla="*/ 3210671 w 4610101"/>
              <a:gd name="connsiteY4580" fmla="*/ 2803357 h 6557032"/>
              <a:gd name="connsiteX4581" fmla="*/ 3212494 w 4610101"/>
              <a:gd name="connsiteY4581" fmla="*/ 2805179 h 6557032"/>
              <a:gd name="connsiteX4582" fmla="*/ 3172406 w 4610101"/>
              <a:gd name="connsiteY4582" fmla="*/ 2814291 h 6557032"/>
              <a:gd name="connsiteX4583" fmla="*/ 3181517 w 4610101"/>
              <a:gd name="connsiteY4583" fmla="*/ 2816113 h 6557032"/>
              <a:gd name="connsiteX4584" fmla="*/ 3212494 w 4610101"/>
              <a:gd name="connsiteY4584" fmla="*/ 2812469 h 6557032"/>
              <a:gd name="connsiteX4585" fmla="*/ 3214316 w 4610101"/>
              <a:gd name="connsiteY4585" fmla="*/ 2812469 h 6557032"/>
              <a:gd name="connsiteX4586" fmla="*/ 3148717 w 4610101"/>
              <a:gd name="connsiteY4586" fmla="*/ 2827047 h 6557032"/>
              <a:gd name="connsiteX4587" fmla="*/ 3159650 w 4610101"/>
              <a:gd name="connsiteY4587" fmla="*/ 2830691 h 6557032"/>
              <a:gd name="connsiteX4588" fmla="*/ 3207027 w 4610101"/>
              <a:gd name="connsiteY4588" fmla="*/ 2825223 h 6557032"/>
              <a:gd name="connsiteX4589" fmla="*/ 3205205 w 4610101"/>
              <a:gd name="connsiteY4589" fmla="*/ 2827047 h 6557032"/>
              <a:gd name="connsiteX4590" fmla="*/ 3183339 w 4610101"/>
              <a:gd name="connsiteY4590" fmla="*/ 2834335 h 6557032"/>
              <a:gd name="connsiteX4591" fmla="*/ 3188805 w 4610101"/>
              <a:gd name="connsiteY4591" fmla="*/ 2845268 h 6557032"/>
              <a:gd name="connsiteX4592" fmla="*/ 3201560 w 4610101"/>
              <a:gd name="connsiteY4592" fmla="*/ 2847090 h 6557032"/>
              <a:gd name="connsiteX4593" fmla="*/ 3179694 w 4610101"/>
              <a:gd name="connsiteY4593" fmla="*/ 2850734 h 6557032"/>
              <a:gd name="connsiteX4594" fmla="*/ 3156006 w 4610101"/>
              <a:gd name="connsiteY4594" fmla="*/ 2856200 h 6557032"/>
              <a:gd name="connsiteX4595" fmla="*/ 3064896 w 4610101"/>
              <a:gd name="connsiteY4595" fmla="*/ 2834335 h 6557032"/>
              <a:gd name="connsiteX4596" fmla="*/ 3098644 w 4610101"/>
              <a:gd name="connsiteY4596" fmla="*/ 2816283 h 6557032"/>
              <a:gd name="connsiteX4597" fmla="*/ 3097696 w 4610101"/>
              <a:gd name="connsiteY4597" fmla="*/ 2814385 h 6557032"/>
              <a:gd name="connsiteX4598" fmla="*/ 3101341 w 4610101"/>
              <a:gd name="connsiteY4598" fmla="*/ 2810743 h 6557032"/>
              <a:gd name="connsiteX4599" fmla="*/ 3103352 w 4610101"/>
              <a:gd name="connsiteY4599" fmla="*/ 2813767 h 6557032"/>
              <a:gd name="connsiteX4600" fmla="*/ 1056861 w 4610101"/>
              <a:gd name="connsiteY4600" fmla="*/ 2779708 h 6557032"/>
              <a:gd name="connsiteX4601" fmla="*/ 1086016 w 4610101"/>
              <a:gd name="connsiteY4601" fmla="*/ 2801571 h 6557032"/>
              <a:gd name="connsiteX4602" fmla="*/ 1087838 w 4610101"/>
              <a:gd name="connsiteY4602" fmla="*/ 2803395 h 6557032"/>
              <a:gd name="connsiteX4603" fmla="*/ 1095126 w 4610101"/>
              <a:gd name="connsiteY4603" fmla="*/ 2797928 h 6557032"/>
              <a:gd name="connsiteX4604" fmla="*/ 1100593 w 4610101"/>
              <a:gd name="connsiteY4604" fmla="*/ 2812505 h 6557032"/>
              <a:gd name="connsiteX4605" fmla="*/ 1107883 w 4610101"/>
              <a:gd name="connsiteY4605" fmla="*/ 2801571 h 6557032"/>
              <a:gd name="connsiteX4606" fmla="*/ 1109706 w 4610101"/>
              <a:gd name="connsiteY4606" fmla="*/ 2794286 h 6557032"/>
              <a:gd name="connsiteX4607" fmla="*/ 1118817 w 4610101"/>
              <a:gd name="connsiteY4607" fmla="*/ 2801571 h 6557032"/>
              <a:gd name="connsiteX4608" fmla="*/ 1115171 w 4610101"/>
              <a:gd name="connsiteY4608" fmla="*/ 2812505 h 6557032"/>
              <a:gd name="connsiteX4609" fmla="*/ 1073260 w 4610101"/>
              <a:gd name="connsiteY4609" fmla="*/ 2839834 h 6557032"/>
              <a:gd name="connsiteX4610" fmla="*/ 1073260 w 4610101"/>
              <a:gd name="connsiteY4610" fmla="*/ 2836190 h 6557032"/>
              <a:gd name="connsiteX4611" fmla="*/ 1067794 w 4610101"/>
              <a:gd name="connsiteY4611" fmla="*/ 2839834 h 6557032"/>
              <a:gd name="connsiteX4612" fmla="*/ 1029528 w 4610101"/>
              <a:gd name="connsiteY4612" fmla="*/ 2867166 h 6557032"/>
              <a:gd name="connsiteX4613" fmla="*/ 1022240 w 4610101"/>
              <a:gd name="connsiteY4613" fmla="*/ 2863520 h 6557032"/>
              <a:gd name="connsiteX4614" fmla="*/ 1018596 w 4610101"/>
              <a:gd name="connsiteY4614" fmla="*/ 2812505 h 6557032"/>
              <a:gd name="connsiteX4615" fmla="*/ 1036818 w 4610101"/>
              <a:gd name="connsiteY4615" fmla="*/ 2807039 h 6557032"/>
              <a:gd name="connsiteX4616" fmla="*/ 1045929 w 4610101"/>
              <a:gd name="connsiteY4616" fmla="*/ 2812505 h 6557032"/>
              <a:gd name="connsiteX4617" fmla="*/ 1044106 w 4610101"/>
              <a:gd name="connsiteY4617" fmla="*/ 2805215 h 6557032"/>
              <a:gd name="connsiteX4618" fmla="*/ 1047750 w 4610101"/>
              <a:gd name="connsiteY4618" fmla="*/ 2805215 h 6557032"/>
              <a:gd name="connsiteX4619" fmla="*/ 1045929 w 4610101"/>
              <a:gd name="connsiteY4619" fmla="*/ 2803395 h 6557032"/>
              <a:gd name="connsiteX4620" fmla="*/ 1056861 w 4610101"/>
              <a:gd name="connsiteY4620" fmla="*/ 2803395 h 6557032"/>
              <a:gd name="connsiteX4621" fmla="*/ 1058683 w 4610101"/>
              <a:gd name="connsiteY4621" fmla="*/ 2801571 h 6557032"/>
              <a:gd name="connsiteX4622" fmla="*/ 1047750 w 4610101"/>
              <a:gd name="connsiteY4622" fmla="*/ 2786996 h 6557032"/>
              <a:gd name="connsiteX4623" fmla="*/ 1064151 w 4610101"/>
              <a:gd name="connsiteY4623" fmla="*/ 2794286 h 6557032"/>
              <a:gd name="connsiteX4624" fmla="*/ 1056861 w 4610101"/>
              <a:gd name="connsiteY4624" fmla="*/ 2779708 h 6557032"/>
              <a:gd name="connsiteX4625" fmla="*/ 1095127 w 4610101"/>
              <a:gd name="connsiteY4625" fmla="*/ 2774234 h 6557032"/>
              <a:gd name="connsiteX4626" fmla="*/ 1096949 w 4610101"/>
              <a:gd name="connsiteY4626" fmla="*/ 2785165 h 6557032"/>
              <a:gd name="connsiteX4627" fmla="*/ 1091482 w 4610101"/>
              <a:gd name="connsiteY4627" fmla="*/ 2776055 h 6557032"/>
              <a:gd name="connsiteX4628" fmla="*/ 1095127 w 4610101"/>
              <a:gd name="connsiteY4628" fmla="*/ 2774234 h 6557032"/>
              <a:gd name="connsiteX4629" fmla="*/ 1104237 w 4610101"/>
              <a:gd name="connsiteY4629" fmla="*/ 2774232 h 6557032"/>
              <a:gd name="connsiteX4630" fmla="*/ 1111526 w 4610101"/>
              <a:gd name="connsiteY4630" fmla="*/ 2776055 h 6557032"/>
              <a:gd name="connsiteX4631" fmla="*/ 1104237 w 4610101"/>
              <a:gd name="connsiteY4631" fmla="*/ 2779699 h 6557032"/>
              <a:gd name="connsiteX4632" fmla="*/ 1106059 w 4610101"/>
              <a:gd name="connsiteY4632" fmla="*/ 2777876 h 6557032"/>
              <a:gd name="connsiteX4633" fmla="*/ 1104237 w 4610101"/>
              <a:gd name="connsiteY4633" fmla="*/ 2774232 h 6557032"/>
              <a:gd name="connsiteX4634" fmla="*/ 3042857 w 4610101"/>
              <a:gd name="connsiteY4634" fmla="*/ 2772855 h 6557032"/>
              <a:gd name="connsiteX4635" fmla="*/ 3025494 w 4610101"/>
              <a:gd name="connsiteY4635" fmla="*/ 2778530 h 6557032"/>
              <a:gd name="connsiteX4636" fmla="*/ 2982900 w 4610101"/>
              <a:gd name="connsiteY4636" fmla="*/ 2797892 h 6557032"/>
              <a:gd name="connsiteX4637" fmla="*/ 2990189 w 4610101"/>
              <a:gd name="connsiteY4637" fmla="*/ 2803357 h 6557032"/>
              <a:gd name="connsiteX4638" fmla="*/ 3048532 w 4610101"/>
              <a:gd name="connsiteY4638" fmla="*/ 2784933 h 6557032"/>
              <a:gd name="connsiteX4639" fmla="*/ 3041208 w 4610101"/>
              <a:gd name="connsiteY4639" fmla="*/ 2776156 h 6557032"/>
              <a:gd name="connsiteX4640" fmla="*/ 1051395 w 4610101"/>
              <a:gd name="connsiteY4640" fmla="*/ 2770577 h 6557032"/>
              <a:gd name="connsiteX4641" fmla="*/ 1047750 w 4610101"/>
              <a:gd name="connsiteY4641" fmla="*/ 2774221 h 6557032"/>
              <a:gd name="connsiteX4642" fmla="*/ 1051395 w 4610101"/>
              <a:gd name="connsiteY4642" fmla="*/ 2770577 h 6557032"/>
              <a:gd name="connsiteX4643" fmla="*/ 3356446 w 4610101"/>
              <a:gd name="connsiteY4643" fmla="*/ 2766923 h 6557032"/>
              <a:gd name="connsiteX4644" fmla="*/ 3354624 w 4610101"/>
              <a:gd name="connsiteY4644" fmla="*/ 2772390 h 6557032"/>
              <a:gd name="connsiteX4645" fmla="*/ 3371023 w 4610101"/>
              <a:gd name="connsiteY4645" fmla="*/ 2772390 h 6557032"/>
              <a:gd name="connsiteX4646" fmla="*/ 3363734 w 4610101"/>
              <a:gd name="connsiteY4646" fmla="*/ 2785146 h 6557032"/>
              <a:gd name="connsiteX4647" fmla="*/ 3378312 w 4610101"/>
              <a:gd name="connsiteY4647" fmla="*/ 2799722 h 6557032"/>
              <a:gd name="connsiteX4648" fmla="*/ 3407467 w 4610101"/>
              <a:gd name="connsiteY4648" fmla="*/ 2808834 h 6557032"/>
              <a:gd name="connsiteX4649" fmla="*/ 3403822 w 4610101"/>
              <a:gd name="connsiteY4649" fmla="*/ 2814300 h 6557032"/>
              <a:gd name="connsiteX4650" fmla="*/ 3332756 w 4610101"/>
              <a:gd name="connsiteY4650" fmla="*/ 2785146 h 6557032"/>
              <a:gd name="connsiteX4651" fmla="*/ 3356446 w 4610101"/>
              <a:gd name="connsiteY4651" fmla="*/ 2766923 h 6557032"/>
              <a:gd name="connsiteX4652" fmla="*/ 1089660 w 4610101"/>
              <a:gd name="connsiteY4652" fmla="*/ 2765122 h 6557032"/>
              <a:gd name="connsiteX4653" fmla="*/ 1095127 w 4610101"/>
              <a:gd name="connsiteY4653" fmla="*/ 2766945 h 6557032"/>
              <a:gd name="connsiteX4654" fmla="*/ 1095127 w 4610101"/>
              <a:gd name="connsiteY4654" fmla="*/ 2770590 h 6557032"/>
              <a:gd name="connsiteX4655" fmla="*/ 1087838 w 4610101"/>
              <a:gd name="connsiteY4655" fmla="*/ 2770590 h 6557032"/>
              <a:gd name="connsiteX4656" fmla="*/ 1089660 w 4610101"/>
              <a:gd name="connsiteY4656" fmla="*/ 2765122 h 6557032"/>
              <a:gd name="connsiteX4657" fmla="*/ 3573284 w 4610101"/>
              <a:gd name="connsiteY4657" fmla="*/ 2763390 h 6557032"/>
              <a:gd name="connsiteX4658" fmla="*/ 3580572 w 4610101"/>
              <a:gd name="connsiteY4658" fmla="*/ 2777950 h 6557032"/>
              <a:gd name="connsiteX4659" fmla="*/ 3573284 w 4610101"/>
              <a:gd name="connsiteY4659" fmla="*/ 2787056 h 6557032"/>
              <a:gd name="connsiteX4660" fmla="*/ 3558706 w 4610101"/>
              <a:gd name="connsiteY4660" fmla="*/ 2777950 h 6557032"/>
              <a:gd name="connsiteX4661" fmla="*/ 1105149 w 4610101"/>
              <a:gd name="connsiteY4661" fmla="*/ 2759198 h 6557032"/>
              <a:gd name="connsiteX4662" fmla="*/ 1111526 w 4610101"/>
              <a:gd name="connsiteY4662" fmla="*/ 2761476 h 6557032"/>
              <a:gd name="connsiteX4663" fmla="*/ 1106060 w 4610101"/>
              <a:gd name="connsiteY4663" fmla="*/ 2772410 h 6557032"/>
              <a:gd name="connsiteX4664" fmla="*/ 1104238 w 4610101"/>
              <a:gd name="connsiteY4664" fmla="*/ 2763298 h 6557032"/>
              <a:gd name="connsiteX4665" fmla="*/ 1098771 w 4610101"/>
              <a:gd name="connsiteY4665" fmla="*/ 2759654 h 6557032"/>
              <a:gd name="connsiteX4666" fmla="*/ 1105149 w 4610101"/>
              <a:gd name="connsiteY4666" fmla="*/ 2759198 h 6557032"/>
              <a:gd name="connsiteX4667" fmla="*/ 3513152 w 4610101"/>
              <a:gd name="connsiteY4667" fmla="*/ 2757898 h 6557032"/>
              <a:gd name="connsiteX4668" fmla="*/ 3536841 w 4610101"/>
              <a:gd name="connsiteY4668" fmla="*/ 2757898 h 6557032"/>
              <a:gd name="connsiteX4669" fmla="*/ 3527730 w 4610101"/>
              <a:gd name="connsiteY4669" fmla="*/ 2774294 h 6557032"/>
              <a:gd name="connsiteX4670" fmla="*/ 1051394 w 4610101"/>
              <a:gd name="connsiteY4670" fmla="*/ 2757823 h 6557032"/>
              <a:gd name="connsiteX4671" fmla="*/ 1056861 w 4610101"/>
              <a:gd name="connsiteY4671" fmla="*/ 2757823 h 6557032"/>
              <a:gd name="connsiteX4672" fmla="*/ 1049572 w 4610101"/>
              <a:gd name="connsiteY4672" fmla="*/ 2759643 h 6557032"/>
              <a:gd name="connsiteX4673" fmla="*/ 1051394 w 4610101"/>
              <a:gd name="connsiteY4673" fmla="*/ 2757823 h 6557032"/>
              <a:gd name="connsiteX4674" fmla="*/ 4214688 w 4610101"/>
              <a:gd name="connsiteY4674" fmla="*/ 2756080 h 6557032"/>
              <a:gd name="connsiteX4675" fmla="*/ 4214688 w 4610101"/>
              <a:gd name="connsiteY4675" fmla="*/ 2779761 h 6557032"/>
              <a:gd name="connsiteX4676" fmla="*/ 4198288 w 4610101"/>
              <a:gd name="connsiteY4676" fmla="*/ 2770656 h 6557032"/>
              <a:gd name="connsiteX4677" fmla="*/ 3453020 w 4610101"/>
              <a:gd name="connsiteY4677" fmla="*/ 2756068 h 6557032"/>
              <a:gd name="connsiteX4678" fmla="*/ 3478531 w 4610101"/>
              <a:gd name="connsiteY4678" fmla="*/ 2757887 h 6557032"/>
              <a:gd name="connsiteX4679" fmla="*/ 3462131 w 4610101"/>
              <a:gd name="connsiteY4679" fmla="*/ 2772467 h 6557032"/>
              <a:gd name="connsiteX4680" fmla="*/ 1110615 w 4610101"/>
              <a:gd name="connsiteY4680" fmla="*/ 2755555 h 6557032"/>
              <a:gd name="connsiteX4681" fmla="*/ 1115170 w 4610101"/>
              <a:gd name="connsiteY4681" fmla="*/ 2756010 h 6557032"/>
              <a:gd name="connsiteX4682" fmla="*/ 1106059 w 4610101"/>
              <a:gd name="connsiteY4682" fmla="*/ 2757832 h 6557032"/>
              <a:gd name="connsiteX4683" fmla="*/ 1110615 w 4610101"/>
              <a:gd name="connsiteY4683" fmla="*/ 2755555 h 6557032"/>
              <a:gd name="connsiteX4684" fmla="*/ 3409287 w 4610101"/>
              <a:gd name="connsiteY4684" fmla="*/ 2748817 h 6557032"/>
              <a:gd name="connsiteX4685" fmla="*/ 3412932 w 4610101"/>
              <a:gd name="connsiteY4685" fmla="*/ 2770682 h 6557032"/>
              <a:gd name="connsiteX4686" fmla="*/ 3418398 w 4610101"/>
              <a:gd name="connsiteY4686" fmla="*/ 2788888 h 6557032"/>
              <a:gd name="connsiteX4687" fmla="*/ 3438442 w 4610101"/>
              <a:gd name="connsiteY4687" fmla="*/ 2781622 h 6557032"/>
              <a:gd name="connsiteX4688" fmla="*/ 3447553 w 4610101"/>
              <a:gd name="connsiteY4688" fmla="*/ 2787075 h 6557032"/>
              <a:gd name="connsiteX4689" fmla="*/ 3416576 w 4610101"/>
              <a:gd name="connsiteY4689" fmla="*/ 2801642 h 6557032"/>
              <a:gd name="connsiteX4690" fmla="*/ 3378310 w 4610101"/>
              <a:gd name="connsiteY4690" fmla="*/ 2777974 h 6557032"/>
              <a:gd name="connsiteX4691" fmla="*/ 3378310 w 4610101"/>
              <a:gd name="connsiteY4691" fmla="*/ 2756114 h 6557032"/>
              <a:gd name="connsiteX4692" fmla="*/ 3059430 w 4610101"/>
              <a:gd name="connsiteY4692" fmla="*/ 2746997 h 6557032"/>
              <a:gd name="connsiteX4693" fmla="*/ 3066719 w 4610101"/>
              <a:gd name="connsiteY4693" fmla="*/ 2746997 h 6557032"/>
              <a:gd name="connsiteX4694" fmla="*/ 3064897 w 4610101"/>
              <a:gd name="connsiteY4694" fmla="*/ 2756114 h 6557032"/>
              <a:gd name="connsiteX4695" fmla="*/ 3074008 w 4610101"/>
              <a:gd name="connsiteY4695" fmla="*/ 2757927 h 6557032"/>
              <a:gd name="connsiteX4696" fmla="*/ 3079474 w 4610101"/>
              <a:gd name="connsiteY4696" fmla="*/ 2756114 h 6557032"/>
              <a:gd name="connsiteX4697" fmla="*/ 3088585 w 4610101"/>
              <a:gd name="connsiteY4697" fmla="*/ 2774330 h 6557032"/>
              <a:gd name="connsiteX4698" fmla="*/ 3083119 w 4610101"/>
              <a:gd name="connsiteY4698" fmla="*/ 2774330 h 6557032"/>
              <a:gd name="connsiteX4699" fmla="*/ 3083119 w 4610101"/>
              <a:gd name="connsiteY4699" fmla="*/ 2768864 h 6557032"/>
              <a:gd name="connsiteX4700" fmla="*/ 3077652 w 4610101"/>
              <a:gd name="connsiteY4700" fmla="*/ 2770682 h 6557032"/>
              <a:gd name="connsiteX4701" fmla="*/ 3072186 w 4610101"/>
              <a:gd name="connsiteY4701" fmla="*/ 2761578 h 6557032"/>
              <a:gd name="connsiteX4702" fmla="*/ 3059430 w 4610101"/>
              <a:gd name="connsiteY4702" fmla="*/ 2746997 h 6557032"/>
              <a:gd name="connsiteX4703" fmla="*/ 1038639 w 4610101"/>
              <a:gd name="connsiteY4703" fmla="*/ 2745066 h 6557032"/>
              <a:gd name="connsiteX4704" fmla="*/ 1042284 w 4610101"/>
              <a:gd name="connsiteY4704" fmla="*/ 2745066 h 6557032"/>
              <a:gd name="connsiteX4705" fmla="*/ 1040461 w 4610101"/>
              <a:gd name="connsiteY4705" fmla="*/ 2748711 h 6557032"/>
              <a:gd name="connsiteX4706" fmla="*/ 1038639 w 4610101"/>
              <a:gd name="connsiteY4706" fmla="*/ 2745066 h 6557032"/>
              <a:gd name="connsiteX4707" fmla="*/ 3438442 w 4610101"/>
              <a:gd name="connsiteY4707" fmla="*/ 2741477 h 6557032"/>
              <a:gd name="connsiteX4708" fmla="*/ 3453020 w 4610101"/>
              <a:gd name="connsiteY4708" fmla="*/ 2741477 h 6557032"/>
              <a:gd name="connsiteX4709" fmla="*/ 3453020 w 4610101"/>
              <a:gd name="connsiteY4709" fmla="*/ 2756059 h 6557032"/>
              <a:gd name="connsiteX4710" fmla="*/ 2997478 w 4610101"/>
              <a:gd name="connsiteY4710" fmla="*/ 2741402 h 6557032"/>
              <a:gd name="connsiteX4711" fmla="*/ 2930057 w 4610101"/>
              <a:gd name="connsiteY4711" fmla="*/ 2770558 h 6557032"/>
              <a:gd name="connsiteX4712" fmla="*/ 2935524 w 4610101"/>
              <a:gd name="connsiteY4712" fmla="*/ 2776024 h 6557032"/>
              <a:gd name="connsiteX4713" fmla="*/ 2975611 w 4610101"/>
              <a:gd name="connsiteY4713" fmla="*/ 2759624 h 6557032"/>
              <a:gd name="connsiteX4714" fmla="*/ 3002944 w 4610101"/>
              <a:gd name="connsiteY4714" fmla="*/ 2750514 h 6557032"/>
              <a:gd name="connsiteX4715" fmla="*/ 2970145 w 4610101"/>
              <a:gd name="connsiteY4715" fmla="*/ 2765092 h 6557032"/>
              <a:gd name="connsiteX4716" fmla="*/ 2973789 w 4610101"/>
              <a:gd name="connsiteY4716" fmla="*/ 2774202 h 6557032"/>
              <a:gd name="connsiteX4717" fmla="*/ 3012055 w 4610101"/>
              <a:gd name="connsiteY4717" fmla="*/ 2763268 h 6557032"/>
              <a:gd name="connsiteX4718" fmla="*/ 3019344 w 4610101"/>
              <a:gd name="connsiteY4718" fmla="*/ 2763268 h 6557032"/>
              <a:gd name="connsiteX4719" fmla="*/ 2977433 w 4610101"/>
              <a:gd name="connsiteY4719" fmla="*/ 2785136 h 6557032"/>
              <a:gd name="connsiteX4720" fmla="*/ 2982900 w 4610101"/>
              <a:gd name="connsiteY4720" fmla="*/ 2790602 h 6557032"/>
              <a:gd name="connsiteX4721" fmla="*/ 3068542 w 4610101"/>
              <a:gd name="connsiteY4721" fmla="*/ 2763268 h 6557032"/>
              <a:gd name="connsiteX4722" fmla="*/ 3070364 w 4610101"/>
              <a:gd name="connsiteY4722" fmla="*/ 2763268 h 6557032"/>
              <a:gd name="connsiteX4723" fmla="*/ 3072187 w 4610101"/>
              <a:gd name="connsiteY4723" fmla="*/ 2763268 h 6557032"/>
              <a:gd name="connsiteX4724" fmla="*/ 3043251 w 4610101"/>
              <a:gd name="connsiteY4724" fmla="*/ 2772727 h 6557032"/>
              <a:gd name="connsiteX4725" fmla="*/ 3053804 w 4610101"/>
              <a:gd name="connsiteY4725" fmla="*/ 2783267 h 6557032"/>
              <a:gd name="connsiteX4726" fmla="*/ 3059431 w 4610101"/>
              <a:gd name="connsiteY4726" fmla="*/ 2781490 h 6557032"/>
              <a:gd name="connsiteX4727" fmla="*/ 3115919 w 4610101"/>
              <a:gd name="connsiteY4727" fmla="*/ 2772380 h 6557032"/>
              <a:gd name="connsiteX4728" fmla="*/ 3137785 w 4610101"/>
              <a:gd name="connsiteY4728" fmla="*/ 2774202 h 6557032"/>
              <a:gd name="connsiteX4729" fmla="*/ 3135963 w 4610101"/>
              <a:gd name="connsiteY4729" fmla="*/ 2776024 h 6557032"/>
              <a:gd name="connsiteX4730" fmla="*/ 3064442 w 4610101"/>
              <a:gd name="connsiteY4730" fmla="*/ 2789236 h 6557032"/>
              <a:gd name="connsiteX4731" fmla="*/ 3060109 w 4610101"/>
              <a:gd name="connsiteY4731" fmla="*/ 2790584 h 6557032"/>
              <a:gd name="connsiteX4732" fmla="*/ 3063075 w 4610101"/>
              <a:gd name="connsiteY4732" fmla="*/ 2798004 h 6557032"/>
              <a:gd name="connsiteX4733" fmla="*/ 3049181 w 4610101"/>
              <a:gd name="connsiteY4733" fmla="*/ 2796638 h 6557032"/>
              <a:gd name="connsiteX4734" fmla="*/ 3049509 w 4610101"/>
              <a:gd name="connsiteY4734" fmla="*/ 2793883 h 6557032"/>
              <a:gd name="connsiteX4735" fmla="*/ 2995655 w 4610101"/>
              <a:gd name="connsiteY4735" fmla="*/ 2810647 h 6557032"/>
              <a:gd name="connsiteX4736" fmla="*/ 3001122 w 4610101"/>
              <a:gd name="connsiteY4736" fmla="*/ 2812469 h 6557032"/>
              <a:gd name="connsiteX4737" fmla="*/ 3063075 w 4610101"/>
              <a:gd name="connsiteY4737" fmla="*/ 2798171 h 6557032"/>
              <a:gd name="connsiteX4738" fmla="*/ 3063075 w 4610101"/>
              <a:gd name="connsiteY4738" fmla="*/ 2798008 h 6557032"/>
              <a:gd name="connsiteX4739" fmla="*/ 3063208 w 4610101"/>
              <a:gd name="connsiteY4739" fmla="*/ 2798141 h 6557032"/>
              <a:gd name="connsiteX4740" fmla="*/ 3119563 w 4610101"/>
              <a:gd name="connsiteY4740" fmla="*/ 2785136 h 6557032"/>
              <a:gd name="connsiteX4741" fmla="*/ 3092230 w 4610101"/>
              <a:gd name="connsiteY4741" fmla="*/ 2797892 h 6557032"/>
              <a:gd name="connsiteX4742" fmla="*/ 3081296 w 4610101"/>
              <a:gd name="connsiteY4742" fmla="*/ 2801390 h 6557032"/>
              <a:gd name="connsiteX4743" fmla="*/ 3081296 w 4610101"/>
              <a:gd name="connsiteY4743" fmla="*/ 2809554 h 6557032"/>
              <a:gd name="connsiteX4744" fmla="*/ 3099519 w 4610101"/>
              <a:gd name="connsiteY4744" fmla="*/ 2805179 h 6557032"/>
              <a:gd name="connsiteX4745" fmla="*/ 3081296 w 4610101"/>
              <a:gd name="connsiteY4745" fmla="*/ 2813279 h 6557032"/>
              <a:gd name="connsiteX4746" fmla="*/ 3081296 w 4610101"/>
              <a:gd name="connsiteY4746" fmla="*/ 2816222 h 6557032"/>
              <a:gd name="connsiteX4747" fmla="*/ 3078652 w 4610101"/>
              <a:gd name="connsiteY4747" fmla="*/ 2814453 h 6557032"/>
              <a:gd name="connsiteX4748" fmla="*/ 3033921 w 4610101"/>
              <a:gd name="connsiteY4748" fmla="*/ 2834335 h 6557032"/>
              <a:gd name="connsiteX4749" fmla="*/ 3035743 w 4610101"/>
              <a:gd name="connsiteY4749" fmla="*/ 2847090 h 6557032"/>
              <a:gd name="connsiteX4750" fmla="*/ 3057609 w 4610101"/>
              <a:gd name="connsiteY4750" fmla="*/ 2848912 h 6557032"/>
              <a:gd name="connsiteX4751" fmla="*/ 2999300 w 4610101"/>
              <a:gd name="connsiteY4751" fmla="*/ 2850734 h 6557032"/>
              <a:gd name="connsiteX4752" fmla="*/ 2999300 w 4610101"/>
              <a:gd name="connsiteY4752" fmla="*/ 2854378 h 6557032"/>
              <a:gd name="connsiteX4753" fmla="*/ 3061254 w 4610101"/>
              <a:gd name="connsiteY4753" fmla="*/ 2854378 h 6557032"/>
              <a:gd name="connsiteX4754" fmla="*/ 3031188 w 4610101"/>
              <a:gd name="connsiteY4754" fmla="*/ 2855746 h 6557032"/>
              <a:gd name="connsiteX4755" fmla="*/ 3010109 w 4610101"/>
              <a:gd name="connsiteY4755" fmla="*/ 2858619 h 6557032"/>
              <a:gd name="connsiteX4756" fmla="*/ 3010004 w 4610101"/>
              <a:gd name="connsiteY4756" fmla="*/ 2860630 h 6557032"/>
              <a:gd name="connsiteX4757" fmla="*/ 3008409 w 4610101"/>
              <a:gd name="connsiteY4757" fmla="*/ 2863586 h 6557032"/>
              <a:gd name="connsiteX4758" fmla="*/ 3001120 w 4610101"/>
              <a:gd name="connsiteY4758" fmla="*/ 2865410 h 6557032"/>
              <a:gd name="connsiteX4759" fmla="*/ 3000031 w 4610101"/>
              <a:gd name="connsiteY4759" fmla="*/ 2861057 h 6557032"/>
              <a:gd name="connsiteX4760" fmla="*/ 2997021 w 4610101"/>
              <a:gd name="connsiteY4760" fmla="*/ 2864400 h 6557032"/>
              <a:gd name="connsiteX4761" fmla="*/ 3000041 w 4610101"/>
              <a:gd name="connsiteY4761" fmla="*/ 2867754 h 6557032"/>
              <a:gd name="connsiteX4762" fmla="*/ 2952834 w 4610101"/>
              <a:gd name="connsiteY4762" fmla="*/ 2863034 h 6557032"/>
              <a:gd name="connsiteX4763" fmla="*/ 2849880 w 4610101"/>
              <a:gd name="connsiteY4763" fmla="*/ 2816113 h 6557032"/>
              <a:gd name="connsiteX4764" fmla="*/ 2973789 w 4610101"/>
              <a:gd name="connsiteY4764" fmla="*/ 2746870 h 6557032"/>
              <a:gd name="connsiteX4765" fmla="*/ 2997478 w 4610101"/>
              <a:gd name="connsiteY4765" fmla="*/ 2741402 h 6557032"/>
              <a:gd name="connsiteX4766" fmla="*/ 194974 w 4610101"/>
              <a:gd name="connsiteY4766" fmla="*/ 2737878 h 6557032"/>
              <a:gd name="connsiteX4767" fmla="*/ 216840 w 4610101"/>
              <a:gd name="connsiteY4767" fmla="*/ 2743341 h 6557032"/>
              <a:gd name="connsiteX4768" fmla="*/ 233240 w 4610101"/>
              <a:gd name="connsiteY4768" fmla="*/ 2757927 h 6557032"/>
              <a:gd name="connsiteX4769" fmla="*/ 225951 w 4610101"/>
              <a:gd name="connsiteY4769" fmla="*/ 2770682 h 6557032"/>
              <a:gd name="connsiteX4770" fmla="*/ 231417 w 4610101"/>
              <a:gd name="connsiteY4770" fmla="*/ 2788888 h 6557032"/>
              <a:gd name="connsiteX4771" fmla="*/ 193152 w 4610101"/>
              <a:gd name="connsiteY4771" fmla="*/ 2832600 h 6557032"/>
              <a:gd name="connsiteX4772" fmla="*/ 156707 w 4610101"/>
              <a:gd name="connsiteY4772" fmla="*/ 2821677 h 6557032"/>
              <a:gd name="connsiteX4773" fmla="*/ 140308 w 4610101"/>
              <a:gd name="connsiteY4773" fmla="*/ 2825321 h 6557032"/>
              <a:gd name="connsiteX4774" fmla="*/ 111153 w 4610101"/>
              <a:gd name="connsiteY4774" fmla="*/ 2861760 h 6557032"/>
              <a:gd name="connsiteX4775" fmla="*/ 103864 w 4610101"/>
              <a:gd name="connsiteY4775" fmla="*/ 2847199 h 6557032"/>
              <a:gd name="connsiteX4776" fmla="*/ 151241 w 4610101"/>
              <a:gd name="connsiteY4776" fmla="*/ 2816222 h 6557032"/>
              <a:gd name="connsiteX4777" fmla="*/ 142130 w 4610101"/>
              <a:gd name="connsiteY4777" fmla="*/ 2777974 h 6557032"/>
              <a:gd name="connsiteX4778" fmla="*/ 142130 w 4610101"/>
              <a:gd name="connsiteY4778" fmla="*/ 2763410 h 6557032"/>
              <a:gd name="connsiteX4779" fmla="*/ 134841 w 4610101"/>
              <a:gd name="connsiteY4779" fmla="*/ 2741524 h 6557032"/>
              <a:gd name="connsiteX4780" fmla="*/ 173107 w 4610101"/>
              <a:gd name="connsiteY4780" fmla="*/ 2741524 h 6557032"/>
              <a:gd name="connsiteX4781" fmla="*/ 187685 w 4610101"/>
              <a:gd name="connsiteY4781" fmla="*/ 2741524 h 6557032"/>
              <a:gd name="connsiteX4782" fmla="*/ 194974 w 4610101"/>
              <a:gd name="connsiteY4782" fmla="*/ 2737878 h 6557032"/>
              <a:gd name="connsiteX4783" fmla="*/ 3354167 w 4610101"/>
              <a:gd name="connsiteY4783" fmla="*/ 2732523 h 6557032"/>
              <a:gd name="connsiteX4784" fmla="*/ 3349156 w 4610101"/>
              <a:gd name="connsiteY4784" fmla="*/ 2734117 h 6557032"/>
              <a:gd name="connsiteX4785" fmla="*/ 3349156 w 4610101"/>
              <a:gd name="connsiteY4785" fmla="*/ 2735940 h 6557032"/>
              <a:gd name="connsiteX4786" fmla="*/ 3356444 w 4610101"/>
              <a:gd name="connsiteY4786" fmla="*/ 2737763 h 6557032"/>
              <a:gd name="connsiteX4787" fmla="*/ 3354167 w 4610101"/>
              <a:gd name="connsiteY4787" fmla="*/ 2732523 h 6557032"/>
              <a:gd name="connsiteX4788" fmla="*/ 3104986 w 4610101"/>
              <a:gd name="connsiteY4788" fmla="*/ 2732292 h 6557032"/>
              <a:gd name="connsiteX4789" fmla="*/ 3099519 w 4610101"/>
              <a:gd name="connsiteY4789" fmla="*/ 2734115 h 6557032"/>
              <a:gd name="connsiteX4790" fmla="*/ 3104986 w 4610101"/>
              <a:gd name="connsiteY4790" fmla="*/ 2737761 h 6557032"/>
              <a:gd name="connsiteX4791" fmla="*/ 3104986 w 4610101"/>
              <a:gd name="connsiteY4791" fmla="*/ 2732292 h 6557032"/>
              <a:gd name="connsiteX4792" fmla="*/ 1246185 w 4610101"/>
              <a:gd name="connsiteY4792" fmla="*/ 2731767 h 6557032"/>
              <a:gd name="connsiteX4793" fmla="*/ 1246139 w 4610101"/>
              <a:gd name="connsiteY4793" fmla="*/ 2732088 h 6557032"/>
              <a:gd name="connsiteX4794" fmla="*/ 1244545 w 4610101"/>
              <a:gd name="connsiteY4794" fmla="*/ 2732314 h 6557032"/>
              <a:gd name="connsiteX4795" fmla="*/ 3017522 w 4610101"/>
              <a:gd name="connsiteY4795" fmla="*/ 2728802 h 6557032"/>
              <a:gd name="connsiteX4796" fmla="*/ 3022988 w 4610101"/>
              <a:gd name="connsiteY4796" fmla="*/ 2734253 h 6557032"/>
              <a:gd name="connsiteX4797" fmla="*/ 3015699 w 4610101"/>
              <a:gd name="connsiteY4797" fmla="*/ 2734253 h 6557032"/>
              <a:gd name="connsiteX4798" fmla="*/ 3657104 w 4610101"/>
              <a:gd name="connsiteY4798" fmla="*/ 2728782 h 6557032"/>
              <a:gd name="connsiteX4799" fmla="*/ 3666214 w 4610101"/>
              <a:gd name="connsiteY4799" fmla="*/ 2736052 h 6557032"/>
              <a:gd name="connsiteX4800" fmla="*/ 3644348 w 4610101"/>
              <a:gd name="connsiteY4800" fmla="*/ 2757919 h 6557032"/>
              <a:gd name="connsiteX4801" fmla="*/ 3633415 w 4610101"/>
              <a:gd name="connsiteY4801" fmla="*/ 2746979 h 6557032"/>
              <a:gd name="connsiteX4802" fmla="*/ 1253656 w 4610101"/>
              <a:gd name="connsiteY4802" fmla="*/ 2728670 h 6557032"/>
              <a:gd name="connsiteX4803" fmla="*/ 1250012 w 4610101"/>
              <a:gd name="connsiteY4803" fmla="*/ 2732314 h 6557032"/>
              <a:gd name="connsiteX4804" fmla="*/ 1250012 w 4610101"/>
              <a:gd name="connsiteY4804" fmla="*/ 2730491 h 6557032"/>
              <a:gd name="connsiteX4805" fmla="*/ 1246185 w 4610101"/>
              <a:gd name="connsiteY4805" fmla="*/ 2731767 h 6557032"/>
              <a:gd name="connsiteX4806" fmla="*/ 1246367 w 4610101"/>
              <a:gd name="connsiteY4806" fmla="*/ 2730491 h 6557032"/>
              <a:gd name="connsiteX4807" fmla="*/ 1253656 w 4610101"/>
              <a:gd name="connsiteY4807" fmla="*/ 2728670 h 6557032"/>
              <a:gd name="connsiteX4808" fmla="*/ 3469420 w 4610101"/>
              <a:gd name="connsiteY4808" fmla="*/ 2726955 h 6557032"/>
              <a:gd name="connsiteX4809" fmla="*/ 3500397 w 4610101"/>
              <a:gd name="connsiteY4809" fmla="*/ 2734228 h 6557032"/>
              <a:gd name="connsiteX4810" fmla="*/ 3489464 w 4610101"/>
              <a:gd name="connsiteY4810" fmla="*/ 2750621 h 6557032"/>
              <a:gd name="connsiteX4811" fmla="*/ 1264589 w 4610101"/>
              <a:gd name="connsiteY4811" fmla="*/ 2726848 h 6557032"/>
              <a:gd name="connsiteX4812" fmla="*/ 1257300 w 4610101"/>
              <a:gd name="connsiteY4812" fmla="*/ 2730494 h 6557032"/>
              <a:gd name="connsiteX4813" fmla="*/ 1255478 w 4610101"/>
              <a:gd name="connsiteY4813" fmla="*/ 2728671 h 6557032"/>
              <a:gd name="connsiteX4814" fmla="*/ 1264589 w 4610101"/>
              <a:gd name="connsiteY4814" fmla="*/ 2726848 h 6557032"/>
              <a:gd name="connsiteX4815" fmla="*/ 3092231 w 4610101"/>
              <a:gd name="connsiteY4815" fmla="*/ 2726825 h 6557032"/>
              <a:gd name="connsiteX4816" fmla="*/ 3090409 w 4610101"/>
              <a:gd name="connsiteY4816" fmla="*/ 2732292 h 6557032"/>
              <a:gd name="connsiteX4817" fmla="*/ 3095875 w 4610101"/>
              <a:gd name="connsiteY4817" fmla="*/ 2732292 h 6557032"/>
              <a:gd name="connsiteX4818" fmla="*/ 3092231 w 4610101"/>
              <a:gd name="connsiteY4818" fmla="*/ 2726825 h 6557032"/>
              <a:gd name="connsiteX4819" fmla="*/ 1226323 w 4610101"/>
              <a:gd name="connsiteY4819" fmla="*/ 2721381 h 6557032"/>
              <a:gd name="connsiteX4820" fmla="*/ 1235434 w 4610101"/>
              <a:gd name="connsiteY4820" fmla="*/ 2726848 h 6557032"/>
              <a:gd name="connsiteX4821" fmla="*/ 1226323 w 4610101"/>
              <a:gd name="connsiteY4821" fmla="*/ 2721381 h 6557032"/>
              <a:gd name="connsiteX4822" fmla="*/ 3405643 w 4610101"/>
              <a:gd name="connsiteY4822" fmla="*/ 2721370 h 6557032"/>
              <a:gd name="connsiteX4823" fmla="*/ 3414754 w 4610101"/>
              <a:gd name="connsiteY4823" fmla="*/ 2732303 h 6557032"/>
              <a:gd name="connsiteX4824" fmla="*/ 3409287 w 4610101"/>
              <a:gd name="connsiteY4824" fmla="*/ 2741413 h 6557032"/>
              <a:gd name="connsiteX4825" fmla="*/ 3389243 w 4610101"/>
              <a:gd name="connsiteY4825" fmla="*/ 2734125 h 6557032"/>
              <a:gd name="connsiteX4826" fmla="*/ 3405643 w 4610101"/>
              <a:gd name="connsiteY4826" fmla="*/ 2721370 h 6557032"/>
              <a:gd name="connsiteX4827" fmla="*/ 3369199 w 4610101"/>
              <a:gd name="connsiteY4827" fmla="*/ 2719541 h 6557032"/>
              <a:gd name="connsiteX4828" fmla="*/ 3363733 w 4610101"/>
              <a:gd name="connsiteY4828" fmla="*/ 2721363 h 6557032"/>
              <a:gd name="connsiteX4829" fmla="*/ 3369199 w 4610101"/>
              <a:gd name="connsiteY4829" fmla="*/ 2725007 h 6557032"/>
              <a:gd name="connsiteX4830" fmla="*/ 3369199 w 4610101"/>
              <a:gd name="connsiteY4830" fmla="*/ 2719541 h 6557032"/>
              <a:gd name="connsiteX4831" fmla="*/ 3303601 w 4610101"/>
              <a:gd name="connsiteY4831" fmla="*/ 2719541 h 6557032"/>
              <a:gd name="connsiteX4832" fmla="*/ 3303601 w 4610101"/>
              <a:gd name="connsiteY4832" fmla="*/ 2741407 h 6557032"/>
              <a:gd name="connsiteX4833" fmla="*/ 3310890 w 4610101"/>
              <a:gd name="connsiteY4833" fmla="*/ 2763274 h 6557032"/>
              <a:gd name="connsiteX4834" fmla="*/ 3341867 w 4610101"/>
              <a:gd name="connsiteY4834" fmla="*/ 2741407 h 6557032"/>
              <a:gd name="connsiteX4835" fmla="*/ 3303601 w 4610101"/>
              <a:gd name="connsiteY4835" fmla="*/ 2719541 h 6557032"/>
              <a:gd name="connsiteX4836" fmla="*/ 3527730 w 4610101"/>
              <a:gd name="connsiteY4836" fmla="*/ 2717851 h 6557032"/>
              <a:gd name="connsiteX4837" fmla="*/ 3535018 w 4610101"/>
              <a:gd name="connsiteY4837" fmla="*/ 2732412 h 6557032"/>
              <a:gd name="connsiteX4838" fmla="*/ 3529552 w 4610101"/>
              <a:gd name="connsiteY4838" fmla="*/ 2743321 h 6557032"/>
              <a:gd name="connsiteX4839" fmla="*/ 3513152 w 4610101"/>
              <a:gd name="connsiteY4839" fmla="*/ 2732412 h 6557032"/>
              <a:gd name="connsiteX4840" fmla="*/ 1209923 w 4610101"/>
              <a:gd name="connsiteY4840" fmla="*/ 2715913 h 6557032"/>
              <a:gd name="connsiteX4841" fmla="*/ 1217212 w 4610101"/>
              <a:gd name="connsiteY4841" fmla="*/ 2715913 h 6557032"/>
              <a:gd name="connsiteX4842" fmla="*/ 1215390 w 4610101"/>
              <a:gd name="connsiteY4842" fmla="*/ 2719558 h 6557032"/>
              <a:gd name="connsiteX4843" fmla="*/ 1209923 w 4610101"/>
              <a:gd name="connsiteY4843" fmla="*/ 2715913 h 6557032"/>
              <a:gd name="connsiteX4844" fmla="*/ 1271877 w 4610101"/>
              <a:gd name="connsiteY4844" fmla="*/ 2715912 h 6557032"/>
              <a:gd name="connsiteX4845" fmla="*/ 1277343 w 4610101"/>
              <a:gd name="connsiteY4845" fmla="*/ 2719558 h 6557032"/>
              <a:gd name="connsiteX4846" fmla="*/ 1264588 w 4610101"/>
              <a:gd name="connsiteY4846" fmla="*/ 2721381 h 6557032"/>
              <a:gd name="connsiteX4847" fmla="*/ 1271877 w 4610101"/>
              <a:gd name="connsiteY4847" fmla="*/ 2715912 h 6557032"/>
              <a:gd name="connsiteX4848" fmla="*/ 3061254 w 4610101"/>
              <a:gd name="connsiteY4848" fmla="*/ 2714070 h 6557032"/>
              <a:gd name="connsiteX4849" fmla="*/ 3057609 w 4610101"/>
              <a:gd name="connsiteY4849" fmla="*/ 2721359 h 6557032"/>
              <a:gd name="connsiteX4850" fmla="*/ 3059431 w 4610101"/>
              <a:gd name="connsiteY4850" fmla="*/ 2721359 h 6557032"/>
              <a:gd name="connsiteX4851" fmla="*/ 3061254 w 4610101"/>
              <a:gd name="connsiteY4851" fmla="*/ 2714070 h 6557032"/>
              <a:gd name="connsiteX4852" fmla="*/ 3626128 w 4610101"/>
              <a:gd name="connsiteY4852" fmla="*/ 2712388 h 6557032"/>
              <a:gd name="connsiteX4853" fmla="*/ 3637061 w 4610101"/>
              <a:gd name="connsiteY4853" fmla="*/ 2721506 h 6557032"/>
              <a:gd name="connsiteX4854" fmla="*/ 3613372 w 4610101"/>
              <a:gd name="connsiteY4854" fmla="*/ 2743335 h 6557032"/>
              <a:gd name="connsiteX4855" fmla="*/ 3602439 w 4610101"/>
              <a:gd name="connsiteY4855" fmla="*/ 2732421 h 6557032"/>
              <a:gd name="connsiteX4856" fmla="*/ 3445732 w 4610101"/>
              <a:gd name="connsiteY4856" fmla="*/ 2712382 h 6557032"/>
              <a:gd name="connsiteX4857" fmla="*/ 3460309 w 4610101"/>
              <a:gd name="connsiteY4857" fmla="*/ 2712382 h 6557032"/>
              <a:gd name="connsiteX4858" fmla="*/ 3469420 w 4610101"/>
              <a:gd name="connsiteY4858" fmla="*/ 2726955 h 6557032"/>
              <a:gd name="connsiteX4859" fmla="*/ 3453021 w 4610101"/>
              <a:gd name="connsiteY4859" fmla="*/ 2734232 h 6557032"/>
              <a:gd name="connsiteX4860" fmla="*/ 1106059 w 4610101"/>
              <a:gd name="connsiteY4860" fmla="*/ 2710455 h 6557032"/>
              <a:gd name="connsiteX4861" fmla="*/ 1109704 w 4610101"/>
              <a:gd name="connsiteY4861" fmla="*/ 2712277 h 6557032"/>
              <a:gd name="connsiteX4862" fmla="*/ 1096948 w 4610101"/>
              <a:gd name="connsiteY4862" fmla="*/ 2715924 h 6557032"/>
              <a:gd name="connsiteX4863" fmla="*/ 1100593 w 4610101"/>
              <a:gd name="connsiteY4863" fmla="*/ 2712277 h 6557032"/>
              <a:gd name="connsiteX4864" fmla="*/ 1102415 w 4610101"/>
              <a:gd name="connsiteY4864" fmla="*/ 2714099 h 6557032"/>
              <a:gd name="connsiteX4865" fmla="*/ 1106059 w 4610101"/>
              <a:gd name="connsiteY4865" fmla="*/ 2710455 h 6557032"/>
              <a:gd name="connsiteX4866" fmla="*/ 3423866 w 4610101"/>
              <a:gd name="connsiteY4866" fmla="*/ 2710436 h 6557032"/>
              <a:gd name="connsiteX4867" fmla="*/ 3423866 w 4610101"/>
              <a:gd name="connsiteY4867" fmla="*/ 2712258 h 6557032"/>
              <a:gd name="connsiteX4868" fmla="*/ 3420221 w 4610101"/>
              <a:gd name="connsiteY4868" fmla="*/ 2712258 h 6557032"/>
              <a:gd name="connsiteX4869" fmla="*/ 3423866 w 4610101"/>
              <a:gd name="connsiteY4869" fmla="*/ 2710436 h 6557032"/>
              <a:gd name="connsiteX4870" fmla="*/ 3381955 w 4610101"/>
              <a:gd name="connsiteY4870" fmla="*/ 2710428 h 6557032"/>
              <a:gd name="connsiteX4871" fmla="*/ 3378310 w 4610101"/>
              <a:gd name="connsiteY4871" fmla="*/ 2712252 h 6557032"/>
              <a:gd name="connsiteX4872" fmla="*/ 3374666 w 4610101"/>
              <a:gd name="connsiteY4872" fmla="*/ 2714073 h 6557032"/>
              <a:gd name="connsiteX4873" fmla="*/ 3376488 w 4610101"/>
              <a:gd name="connsiteY4873" fmla="*/ 2717719 h 6557032"/>
              <a:gd name="connsiteX4874" fmla="*/ 3380132 w 4610101"/>
              <a:gd name="connsiteY4874" fmla="*/ 2719541 h 6557032"/>
              <a:gd name="connsiteX4875" fmla="*/ 3385599 w 4610101"/>
              <a:gd name="connsiteY4875" fmla="*/ 2715896 h 6557032"/>
              <a:gd name="connsiteX4876" fmla="*/ 3381955 w 4610101"/>
              <a:gd name="connsiteY4876" fmla="*/ 2710428 h 6557032"/>
              <a:gd name="connsiteX4877" fmla="*/ 3047359 w 4610101"/>
              <a:gd name="connsiteY4877" fmla="*/ 2708604 h 6557032"/>
              <a:gd name="connsiteX4878" fmla="*/ 3043032 w 4610101"/>
              <a:gd name="connsiteY4878" fmla="*/ 2710426 h 6557032"/>
              <a:gd name="connsiteX4879" fmla="*/ 3050320 w 4610101"/>
              <a:gd name="connsiteY4879" fmla="*/ 2714070 h 6557032"/>
              <a:gd name="connsiteX4880" fmla="*/ 3050320 w 4610101"/>
              <a:gd name="connsiteY4880" fmla="*/ 2712249 h 6557032"/>
              <a:gd name="connsiteX4881" fmla="*/ 3047359 w 4610101"/>
              <a:gd name="connsiteY4881" fmla="*/ 2708604 h 6557032"/>
              <a:gd name="connsiteX4882" fmla="*/ 1311966 w 4610101"/>
              <a:gd name="connsiteY4882" fmla="*/ 2706782 h 6557032"/>
              <a:gd name="connsiteX4883" fmla="*/ 1319254 w 4610101"/>
              <a:gd name="connsiteY4883" fmla="*/ 2706782 h 6557032"/>
              <a:gd name="connsiteX4884" fmla="*/ 1311966 w 4610101"/>
              <a:gd name="connsiteY4884" fmla="*/ 2706782 h 6557032"/>
              <a:gd name="connsiteX4885" fmla="*/ 1326728 w 4610101"/>
              <a:gd name="connsiteY4885" fmla="*/ 2706228 h 6557032"/>
              <a:gd name="connsiteX4886" fmla="*/ 1326543 w 4610101"/>
              <a:gd name="connsiteY4886" fmla="*/ 2706782 h 6557032"/>
              <a:gd name="connsiteX4887" fmla="*/ 1319254 w 4610101"/>
              <a:gd name="connsiteY4887" fmla="*/ 2706782 h 6557032"/>
              <a:gd name="connsiteX4888" fmla="*/ 3389243 w 4610101"/>
              <a:gd name="connsiteY4888" fmla="*/ 2703142 h 6557032"/>
              <a:gd name="connsiteX4889" fmla="*/ 3391066 w 4610101"/>
              <a:gd name="connsiteY4889" fmla="*/ 2708607 h 6557032"/>
              <a:gd name="connsiteX4890" fmla="*/ 3392888 w 4610101"/>
              <a:gd name="connsiteY4890" fmla="*/ 2708607 h 6557032"/>
              <a:gd name="connsiteX4891" fmla="*/ 3389243 w 4610101"/>
              <a:gd name="connsiteY4891" fmla="*/ 2703142 h 6557032"/>
              <a:gd name="connsiteX4892" fmla="*/ 3445731 w 4610101"/>
              <a:gd name="connsiteY4892" fmla="*/ 2695931 h 6557032"/>
              <a:gd name="connsiteX4893" fmla="*/ 3445731 w 4610101"/>
              <a:gd name="connsiteY4893" fmla="*/ 2712338 h 6557032"/>
              <a:gd name="connsiteX4894" fmla="*/ 3429331 w 4610101"/>
              <a:gd name="connsiteY4894" fmla="*/ 2710517 h 6557032"/>
              <a:gd name="connsiteX4895" fmla="*/ 3347333 w 4610101"/>
              <a:gd name="connsiteY4895" fmla="*/ 2695853 h 6557032"/>
              <a:gd name="connsiteX4896" fmla="*/ 3332756 w 4610101"/>
              <a:gd name="connsiteY4896" fmla="*/ 2712252 h 6557032"/>
              <a:gd name="connsiteX4897" fmla="*/ 3347333 w 4610101"/>
              <a:gd name="connsiteY4897" fmla="*/ 2719541 h 6557032"/>
              <a:gd name="connsiteX4898" fmla="*/ 3356444 w 4610101"/>
              <a:gd name="connsiteY4898" fmla="*/ 2712252 h 6557032"/>
              <a:gd name="connsiteX4899" fmla="*/ 1024061 w 4610101"/>
              <a:gd name="connsiteY4899" fmla="*/ 2690511 h 6557032"/>
              <a:gd name="connsiteX4900" fmla="*/ 1033173 w 4610101"/>
              <a:gd name="connsiteY4900" fmla="*/ 2695984 h 6557032"/>
              <a:gd name="connsiteX4901" fmla="*/ 1002195 w 4610101"/>
              <a:gd name="connsiteY4901" fmla="*/ 2719683 h 6557032"/>
              <a:gd name="connsiteX4902" fmla="*/ 1002195 w 4610101"/>
              <a:gd name="connsiteY4902" fmla="*/ 2705108 h 6557032"/>
              <a:gd name="connsiteX4903" fmla="*/ 1065972 w 4610101"/>
              <a:gd name="connsiteY4903" fmla="*/ 2690399 h 6557032"/>
              <a:gd name="connsiteX4904" fmla="*/ 1075083 w 4610101"/>
              <a:gd name="connsiteY4904" fmla="*/ 2695866 h 6557032"/>
              <a:gd name="connsiteX4905" fmla="*/ 1065972 w 4610101"/>
              <a:gd name="connsiteY4905" fmla="*/ 2704977 h 6557032"/>
              <a:gd name="connsiteX4906" fmla="*/ 1058683 w 4610101"/>
              <a:gd name="connsiteY4906" fmla="*/ 2692222 h 6557032"/>
              <a:gd name="connsiteX4907" fmla="*/ 1065972 w 4610101"/>
              <a:gd name="connsiteY4907" fmla="*/ 2690399 h 6557032"/>
              <a:gd name="connsiteX4908" fmla="*/ 994907 w 4610101"/>
              <a:gd name="connsiteY4908" fmla="*/ 2688670 h 6557032"/>
              <a:gd name="connsiteX4909" fmla="*/ 1002195 w 4610101"/>
              <a:gd name="connsiteY4909" fmla="*/ 2703262 h 6557032"/>
              <a:gd name="connsiteX4910" fmla="*/ 987618 w 4610101"/>
              <a:gd name="connsiteY4910" fmla="*/ 2710543 h 6557032"/>
              <a:gd name="connsiteX4911" fmla="*/ 978507 w 4610101"/>
              <a:gd name="connsiteY4911" fmla="*/ 2703262 h 6557032"/>
              <a:gd name="connsiteX4912" fmla="*/ 1096948 w 4610101"/>
              <a:gd name="connsiteY4912" fmla="*/ 2677658 h 6557032"/>
              <a:gd name="connsiteX4913" fmla="*/ 1096948 w 4610101"/>
              <a:gd name="connsiteY4913" fmla="*/ 2679482 h 6557032"/>
              <a:gd name="connsiteX4914" fmla="*/ 1087837 w 4610101"/>
              <a:gd name="connsiteY4914" fmla="*/ 2688592 h 6557032"/>
              <a:gd name="connsiteX4915" fmla="*/ 1089660 w 4610101"/>
              <a:gd name="connsiteY4915" fmla="*/ 2681305 h 6557032"/>
              <a:gd name="connsiteX4916" fmla="*/ 1096948 w 4610101"/>
              <a:gd name="connsiteY4916" fmla="*/ 2677658 h 6557032"/>
              <a:gd name="connsiteX4917" fmla="*/ 3422043 w 4610101"/>
              <a:gd name="connsiteY4917" fmla="*/ 2675811 h 6557032"/>
              <a:gd name="connsiteX4918" fmla="*/ 3425687 w 4610101"/>
              <a:gd name="connsiteY4918" fmla="*/ 2686743 h 6557032"/>
              <a:gd name="connsiteX4919" fmla="*/ 3422043 w 4610101"/>
              <a:gd name="connsiteY4919" fmla="*/ 2690387 h 6557032"/>
              <a:gd name="connsiteX4920" fmla="*/ 3422043 w 4610101"/>
              <a:gd name="connsiteY4920" fmla="*/ 2695854 h 6557032"/>
              <a:gd name="connsiteX4921" fmla="*/ 3411110 w 4610101"/>
              <a:gd name="connsiteY4921" fmla="*/ 2703144 h 6557032"/>
              <a:gd name="connsiteX4922" fmla="*/ 3411110 w 4610101"/>
              <a:gd name="connsiteY4922" fmla="*/ 2701321 h 6557032"/>
              <a:gd name="connsiteX4923" fmla="*/ 3414754 w 4610101"/>
              <a:gd name="connsiteY4923" fmla="*/ 2697676 h 6557032"/>
              <a:gd name="connsiteX4924" fmla="*/ 3409288 w 4610101"/>
              <a:gd name="connsiteY4924" fmla="*/ 2694032 h 6557032"/>
              <a:gd name="connsiteX4925" fmla="*/ 3407465 w 4610101"/>
              <a:gd name="connsiteY4925" fmla="*/ 2688566 h 6557032"/>
              <a:gd name="connsiteX4926" fmla="*/ 3411110 w 4610101"/>
              <a:gd name="connsiteY4926" fmla="*/ 2679455 h 6557032"/>
              <a:gd name="connsiteX4927" fmla="*/ 3422043 w 4610101"/>
              <a:gd name="connsiteY4927" fmla="*/ 2675811 h 6557032"/>
              <a:gd name="connsiteX4928" fmla="*/ 1086015 w 4610101"/>
              <a:gd name="connsiteY4928" fmla="*/ 2670366 h 6557032"/>
              <a:gd name="connsiteX4929" fmla="*/ 1091482 w 4610101"/>
              <a:gd name="connsiteY4929" fmla="*/ 2670366 h 6557032"/>
              <a:gd name="connsiteX4930" fmla="*/ 1087837 w 4610101"/>
              <a:gd name="connsiteY4930" fmla="*/ 2674013 h 6557032"/>
              <a:gd name="connsiteX4931" fmla="*/ 1086015 w 4610101"/>
              <a:gd name="connsiteY4931" fmla="*/ 2670366 h 6557032"/>
              <a:gd name="connsiteX4932" fmla="*/ 1062327 w 4610101"/>
              <a:gd name="connsiteY4932" fmla="*/ 2657608 h 6557032"/>
              <a:gd name="connsiteX4933" fmla="*/ 1080549 w 4610101"/>
              <a:gd name="connsiteY4933" fmla="*/ 2657608 h 6557032"/>
              <a:gd name="connsiteX4934" fmla="*/ 1082373 w 4610101"/>
              <a:gd name="connsiteY4934" fmla="*/ 2659430 h 6557032"/>
              <a:gd name="connsiteX4935" fmla="*/ 1078727 w 4610101"/>
              <a:gd name="connsiteY4935" fmla="*/ 2672189 h 6557032"/>
              <a:gd name="connsiteX4936" fmla="*/ 1060505 w 4610101"/>
              <a:gd name="connsiteY4936" fmla="*/ 2684948 h 6557032"/>
              <a:gd name="connsiteX4937" fmla="*/ 1065972 w 4610101"/>
              <a:gd name="connsiteY4937" fmla="*/ 2672189 h 6557032"/>
              <a:gd name="connsiteX4938" fmla="*/ 1049572 w 4610101"/>
              <a:gd name="connsiteY4938" fmla="*/ 2686771 h 6557032"/>
              <a:gd name="connsiteX4939" fmla="*/ 1049572 w 4610101"/>
              <a:gd name="connsiteY4939" fmla="*/ 2690414 h 6557032"/>
              <a:gd name="connsiteX4940" fmla="*/ 1047750 w 4610101"/>
              <a:gd name="connsiteY4940" fmla="*/ 2690414 h 6557032"/>
              <a:gd name="connsiteX4941" fmla="*/ 1040479 w 4610101"/>
              <a:gd name="connsiteY4941" fmla="*/ 2681323 h 6557032"/>
              <a:gd name="connsiteX4942" fmla="*/ 1040462 w 4610101"/>
              <a:gd name="connsiteY4942" fmla="*/ 2681356 h 6557032"/>
              <a:gd name="connsiteX4943" fmla="*/ 1024062 w 4610101"/>
              <a:gd name="connsiteY4943" fmla="*/ 2666767 h 6557032"/>
              <a:gd name="connsiteX4944" fmla="*/ 1047750 w 4610101"/>
              <a:gd name="connsiteY4944" fmla="*/ 2666767 h 6557032"/>
              <a:gd name="connsiteX4945" fmla="*/ 1040490 w 4610101"/>
              <a:gd name="connsiteY4945" fmla="*/ 2681303 h 6557032"/>
              <a:gd name="connsiteX4946" fmla="*/ 1053216 w 4610101"/>
              <a:gd name="connsiteY4946" fmla="*/ 2681303 h 6557032"/>
              <a:gd name="connsiteX4947" fmla="*/ 1111526 w 4610101"/>
              <a:gd name="connsiteY4947" fmla="*/ 2657603 h 6557032"/>
              <a:gd name="connsiteX4948" fmla="*/ 1107882 w 4610101"/>
              <a:gd name="connsiteY4948" fmla="*/ 2663072 h 6557032"/>
              <a:gd name="connsiteX4949" fmla="*/ 1107882 w 4610101"/>
              <a:gd name="connsiteY4949" fmla="*/ 2659426 h 6557032"/>
              <a:gd name="connsiteX4950" fmla="*/ 1111526 w 4610101"/>
              <a:gd name="connsiteY4950" fmla="*/ 2657603 h 6557032"/>
              <a:gd name="connsiteX4951" fmla="*/ 1095126 w 4610101"/>
              <a:gd name="connsiteY4951" fmla="*/ 2653958 h 6557032"/>
              <a:gd name="connsiteX4952" fmla="*/ 1100593 w 4610101"/>
              <a:gd name="connsiteY4952" fmla="*/ 2653958 h 6557032"/>
              <a:gd name="connsiteX4953" fmla="*/ 1100593 w 4610101"/>
              <a:gd name="connsiteY4953" fmla="*/ 2657603 h 6557032"/>
              <a:gd name="connsiteX4954" fmla="*/ 1096949 w 4610101"/>
              <a:gd name="connsiteY4954" fmla="*/ 2659424 h 6557032"/>
              <a:gd name="connsiteX4955" fmla="*/ 1093304 w 4610101"/>
              <a:gd name="connsiteY4955" fmla="*/ 2657603 h 6557032"/>
              <a:gd name="connsiteX4956" fmla="*/ 1095126 w 4610101"/>
              <a:gd name="connsiteY4956" fmla="*/ 2653958 h 6557032"/>
              <a:gd name="connsiteX4957" fmla="*/ 3387421 w 4610101"/>
              <a:gd name="connsiteY4957" fmla="*/ 2648475 h 6557032"/>
              <a:gd name="connsiteX4958" fmla="*/ 3372844 w 4610101"/>
              <a:gd name="connsiteY4958" fmla="*/ 2663052 h 6557032"/>
              <a:gd name="connsiteX4959" fmla="*/ 3376488 w 4610101"/>
              <a:gd name="connsiteY4959" fmla="*/ 2663052 h 6557032"/>
              <a:gd name="connsiteX4960" fmla="*/ 3356444 w 4610101"/>
              <a:gd name="connsiteY4960" fmla="*/ 2675808 h 6557032"/>
              <a:gd name="connsiteX4961" fmla="*/ 3363733 w 4610101"/>
              <a:gd name="connsiteY4961" fmla="*/ 2681274 h 6557032"/>
              <a:gd name="connsiteX4962" fmla="*/ 3447553 w 4610101"/>
              <a:gd name="connsiteY4962" fmla="*/ 2653942 h 6557032"/>
              <a:gd name="connsiteX4963" fmla="*/ 3451197 w 4610101"/>
              <a:gd name="connsiteY4963" fmla="*/ 2664873 h 6557032"/>
              <a:gd name="connsiteX4964" fmla="*/ 3438442 w 4610101"/>
              <a:gd name="connsiteY4964" fmla="*/ 2657586 h 6557032"/>
              <a:gd name="connsiteX4965" fmla="*/ 3422042 w 4610101"/>
              <a:gd name="connsiteY4965" fmla="*/ 2670341 h 6557032"/>
              <a:gd name="connsiteX4966" fmla="*/ 3412932 w 4610101"/>
              <a:gd name="connsiteY4966" fmla="*/ 2673985 h 6557032"/>
              <a:gd name="connsiteX4967" fmla="*/ 3405643 w 4610101"/>
              <a:gd name="connsiteY4967" fmla="*/ 2661229 h 6557032"/>
              <a:gd name="connsiteX4968" fmla="*/ 3385599 w 4610101"/>
              <a:gd name="connsiteY4968" fmla="*/ 2684920 h 6557032"/>
              <a:gd name="connsiteX4969" fmla="*/ 3407465 w 4610101"/>
              <a:gd name="connsiteY4969" fmla="*/ 2701318 h 6557032"/>
              <a:gd name="connsiteX4970" fmla="*/ 3314534 w 4610101"/>
              <a:gd name="connsiteY4970" fmla="*/ 2779672 h 6557032"/>
              <a:gd name="connsiteX4971" fmla="*/ 3316356 w 4610101"/>
              <a:gd name="connsiteY4971" fmla="*/ 2792429 h 6557032"/>
              <a:gd name="connsiteX4972" fmla="*/ 3396532 w 4610101"/>
              <a:gd name="connsiteY4972" fmla="*/ 2825227 h 6557032"/>
              <a:gd name="connsiteX4973" fmla="*/ 3392888 w 4610101"/>
              <a:gd name="connsiteY4973" fmla="*/ 2837983 h 6557032"/>
              <a:gd name="connsiteX4974" fmla="*/ 3385599 w 4610101"/>
              <a:gd name="connsiteY4974" fmla="*/ 2821583 h 6557032"/>
              <a:gd name="connsiteX4975" fmla="*/ 3354622 w 4610101"/>
              <a:gd name="connsiteY4975" fmla="*/ 2832515 h 6557032"/>
              <a:gd name="connsiteX4976" fmla="*/ 3332756 w 4610101"/>
              <a:gd name="connsiteY4976" fmla="*/ 2827049 h 6557032"/>
              <a:gd name="connsiteX4977" fmla="*/ 3310890 w 4610101"/>
              <a:gd name="connsiteY4977" fmla="*/ 2832515 h 6557032"/>
              <a:gd name="connsiteX4978" fmla="*/ 3298135 w 4610101"/>
              <a:gd name="connsiteY4978" fmla="*/ 2843448 h 6557032"/>
              <a:gd name="connsiteX4979" fmla="*/ 3294490 w 4610101"/>
              <a:gd name="connsiteY4979" fmla="*/ 2839807 h 6557032"/>
              <a:gd name="connsiteX4980" fmla="*/ 3294490 w 4610101"/>
              <a:gd name="connsiteY4980" fmla="*/ 2832515 h 6557032"/>
              <a:gd name="connsiteX4981" fmla="*/ 3287201 w 4610101"/>
              <a:gd name="connsiteY4981" fmla="*/ 2832515 h 6557032"/>
              <a:gd name="connsiteX4982" fmla="*/ 3267158 w 4610101"/>
              <a:gd name="connsiteY4982" fmla="*/ 2807005 h 6557032"/>
              <a:gd name="connsiteX4983" fmla="*/ 3201559 w 4610101"/>
              <a:gd name="connsiteY4983" fmla="*/ 2748697 h 6557032"/>
              <a:gd name="connsiteX4984" fmla="*/ 3256225 w 4610101"/>
              <a:gd name="connsiteY4984" fmla="*/ 2717719 h 6557032"/>
              <a:gd name="connsiteX4985" fmla="*/ 3305423 w 4610101"/>
              <a:gd name="connsiteY4985" fmla="*/ 2684920 h 6557032"/>
              <a:gd name="connsiteX4986" fmla="*/ 3292668 w 4610101"/>
              <a:gd name="connsiteY4986" fmla="*/ 2695853 h 6557032"/>
              <a:gd name="connsiteX4987" fmla="*/ 3296312 w 4610101"/>
              <a:gd name="connsiteY4987" fmla="*/ 2704963 h 6557032"/>
              <a:gd name="connsiteX4988" fmla="*/ 3332756 w 4610101"/>
              <a:gd name="connsiteY4988" fmla="*/ 2679452 h 6557032"/>
              <a:gd name="connsiteX4989" fmla="*/ 3341867 w 4610101"/>
              <a:gd name="connsiteY4989" fmla="*/ 2688562 h 6557032"/>
              <a:gd name="connsiteX4990" fmla="*/ 3343689 w 4610101"/>
              <a:gd name="connsiteY4990" fmla="*/ 2672163 h 6557032"/>
              <a:gd name="connsiteX4991" fmla="*/ 3383777 w 4610101"/>
              <a:gd name="connsiteY4991" fmla="*/ 2650295 h 6557032"/>
              <a:gd name="connsiteX4992" fmla="*/ 3387421 w 4610101"/>
              <a:gd name="connsiteY4992" fmla="*/ 2648475 h 6557032"/>
              <a:gd name="connsiteX4993" fmla="*/ 3414754 w 4610101"/>
              <a:gd name="connsiteY4993" fmla="*/ 2643011 h 6557032"/>
              <a:gd name="connsiteX4994" fmla="*/ 3447554 w 4610101"/>
              <a:gd name="connsiteY4994" fmla="*/ 2643011 h 6557032"/>
              <a:gd name="connsiteX4995" fmla="*/ 3447554 w 4610101"/>
              <a:gd name="connsiteY4995" fmla="*/ 2644832 h 6557032"/>
              <a:gd name="connsiteX4996" fmla="*/ 3392887 w 4610101"/>
              <a:gd name="connsiteY4996" fmla="*/ 2657589 h 6557032"/>
              <a:gd name="connsiteX4997" fmla="*/ 3392887 w 4610101"/>
              <a:gd name="connsiteY4997" fmla="*/ 2648476 h 6557032"/>
              <a:gd name="connsiteX4998" fmla="*/ 3414754 w 4610101"/>
              <a:gd name="connsiteY4998" fmla="*/ 2643011 h 6557032"/>
              <a:gd name="connsiteX4999" fmla="*/ 3150540 w 4610101"/>
              <a:gd name="connsiteY4999" fmla="*/ 2639359 h 6557032"/>
              <a:gd name="connsiteX5000" fmla="*/ 3152362 w 4610101"/>
              <a:gd name="connsiteY5000" fmla="*/ 2639359 h 6557032"/>
              <a:gd name="connsiteX5001" fmla="*/ 3159651 w 4610101"/>
              <a:gd name="connsiteY5001" fmla="*/ 2639359 h 6557032"/>
              <a:gd name="connsiteX5002" fmla="*/ 3074009 w 4610101"/>
              <a:gd name="connsiteY5002" fmla="*/ 2672159 h 6557032"/>
              <a:gd name="connsiteX5003" fmla="*/ 3077653 w 4610101"/>
              <a:gd name="connsiteY5003" fmla="*/ 2679448 h 6557032"/>
              <a:gd name="connsiteX5004" fmla="*/ 3212494 w 4610101"/>
              <a:gd name="connsiteY5004" fmla="*/ 2650293 h 6557032"/>
              <a:gd name="connsiteX5005" fmla="*/ 3283559 w 4610101"/>
              <a:gd name="connsiteY5005" fmla="*/ 2644827 h 6557032"/>
              <a:gd name="connsiteX5006" fmla="*/ 3234360 w 4610101"/>
              <a:gd name="connsiteY5006" fmla="*/ 2655761 h 6557032"/>
              <a:gd name="connsiteX5007" fmla="*/ 3108630 w 4610101"/>
              <a:gd name="connsiteY5007" fmla="*/ 2688560 h 6557032"/>
              <a:gd name="connsiteX5008" fmla="*/ 3110452 w 4610101"/>
              <a:gd name="connsiteY5008" fmla="*/ 2697671 h 6557032"/>
              <a:gd name="connsiteX5009" fmla="*/ 3230716 w 4610101"/>
              <a:gd name="connsiteY5009" fmla="*/ 2673982 h 6557032"/>
              <a:gd name="connsiteX5010" fmla="*/ 3292670 w 4610101"/>
              <a:gd name="connsiteY5010" fmla="*/ 2663048 h 6557032"/>
              <a:gd name="connsiteX5011" fmla="*/ 3276270 w 4610101"/>
              <a:gd name="connsiteY5011" fmla="*/ 2668515 h 6557032"/>
              <a:gd name="connsiteX5012" fmla="*/ 3221605 w 4610101"/>
              <a:gd name="connsiteY5012" fmla="*/ 2679448 h 6557032"/>
              <a:gd name="connsiteX5013" fmla="*/ 3130496 w 4610101"/>
              <a:gd name="connsiteY5013" fmla="*/ 2699492 h 6557032"/>
              <a:gd name="connsiteX5014" fmla="*/ 3134141 w 4610101"/>
              <a:gd name="connsiteY5014" fmla="*/ 2708604 h 6557032"/>
              <a:gd name="connsiteX5015" fmla="*/ 3145074 w 4610101"/>
              <a:gd name="connsiteY5015" fmla="*/ 2708604 h 6557032"/>
              <a:gd name="connsiteX5016" fmla="*/ 3126852 w 4610101"/>
              <a:gd name="connsiteY5016" fmla="*/ 2712249 h 6557032"/>
              <a:gd name="connsiteX5017" fmla="*/ 3134141 w 4610101"/>
              <a:gd name="connsiteY5017" fmla="*/ 2717715 h 6557032"/>
              <a:gd name="connsiteX5018" fmla="*/ 3186984 w 4610101"/>
              <a:gd name="connsiteY5018" fmla="*/ 2712249 h 6557032"/>
              <a:gd name="connsiteX5019" fmla="*/ 3234360 w 4610101"/>
              <a:gd name="connsiteY5019" fmla="*/ 2703136 h 6557032"/>
              <a:gd name="connsiteX5020" fmla="*/ 3248938 w 4610101"/>
              <a:gd name="connsiteY5020" fmla="*/ 2699492 h 6557032"/>
              <a:gd name="connsiteX5021" fmla="*/ 3228894 w 4610101"/>
              <a:gd name="connsiteY5021" fmla="*/ 2712249 h 6557032"/>
              <a:gd name="connsiteX5022" fmla="*/ 3186984 w 4610101"/>
              <a:gd name="connsiteY5022" fmla="*/ 2719537 h 6557032"/>
              <a:gd name="connsiteX5023" fmla="*/ 3135963 w 4610101"/>
              <a:gd name="connsiteY5023" fmla="*/ 2725003 h 6557032"/>
              <a:gd name="connsiteX5024" fmla="*/ 3135963 w 4610101"/>
              <a:gd name="connsiteY5024" fmla="*/ 2734115 h 6557032"/>
              <a:gd name="connsiteX5025" fmla="*/ 3181517 w 4610101"/>
              <a:gd name="connsiteY5025" fmla="*/ 2734115 h 6557032"/>
              <a:gd name="connsiteX5026" fmla="*/ 3186984 w 4610101"/>
              <a:gd name="connsiteY5026" fmla="*/ 2734115 h 6557032"/>
              <a:gd name="connsiteX5027" fmla="*/ 3183339 w 4610101"/>
              <a:gd name="connsiteY5027" fmla="*/ 2735937 h 6557032"/>
              <a:gd name="connsiteX5028" fmla="*/ 3181517 w 4610101"/>
              <a:gd name="connsiteY5028" fmla="*/ 2735937 h 6557032"/>
              <a:gd name="connsiteX5029" fmla="*/ 3174228 w 4610101"/>
              <a:gd name="connsiteY5029" fmla="*/ 2737761 h 6557032"/>
              <a:gd name="connsiteX5030" fmla="*/ 3172406 w 4610101"/>
              <a:gd name="connsiteY5030" fmla="*/ 2735937 h 6557032"/>
              <a:gd name="connsiteX5031" fmla="*/ 3170584 w 4610101"/>
              <a:gd name="connsiteY5031" fmla="*/ 2735937 h 6557032"/>
              <a:gd name="connsiteX5032" fmla="*/ 3168762 w 4610101"/>
              <a:gd name="connsiteY5032" fmla="*/ 2743226 h 6557032"/>
              <a:gd name="connsiteX5033" fmla="*/ 3170584 w 4610101"/>
              <a:gd name="connsiteY5033" fmla="*/ 2743226 h 6557032"/>
              <a:gd name="connsiteX5034" fmla="*/ 3172406 w 4610101"/>
              <a:gd name="connsiteY5034" fmla="*/ 2743226 h 6557032"/>
              <a:gd name="connsiteX5035" fmla="*/ 3148718 w 4610101"/>
              <a:gd name="connsiteY5035" fmla="*/ 2745047 h 6557032"/>
              <a:gd name="connsiteX5036" fmla="*/ 3145074 w 4610101"/>
              <a:gd name="connsiteY5036" fmla="*/ 2741405 h 6557032"/>
              <a:gd name="connsiteX5037" fmla="*/ 3141429 w 4610101"/>
              <a:gd name="connsiteY5037" fmla="*/ 2743226 h 6557032"/>
              <a:gd name="connsiteX5038" fmla="*/ 3141429 w 4610101"/>
              <a:gd name="connsiteY5038" fmla="*/ 2745047 h 6557032"/>
              <a:gd name="connsiteX5039" fmla="*/ 3130496 w 4610101"/>
              <a:gd name="connsiteY5039" fmla="*/ 2745047 h 6557032"/>
              <a:gd name="connsiteX5040" fmla="*/ 3128674 w 4610101"/>
              <a:gd name="connsiteY5040" fmla="*/ 2745047 h 6557032"/>
              <a:gd name="connsiteX5041" fmla="*/ 3126852 w 4610101"/>
              <a:gd name="connsiteY5041" fmla="*/ 2741405 h 6557032"/>
              <a:gd name="connsiteX5042" fmla="*/ 3125030 w 4610101"/>
              <a:gd name="connsiteY5042" fmla="*/ 2741405 h 6557032"/>
              <a:gd name="connsiteX5043" fmla="*/ 3121385 w 4610101"/>
              <a:gd name="connsiteY5043" fmla="*/ 2743226 h 6557032"/>
              <a:gd name="connsiteX5044" fmla="*/ 3115919 w 4610101"/>
              <a:gd name="connsiteY5044" fmla="*/ 2741405 h 6557032"/>
              <a:gd name="connsiteX5045" fmla="*/ 3114097 w 4610101"/>
              <a:gd name="connsiteY5045" fmla="*/ 2735937 h 6557032"/>
              <a:gd name="connsiteX5046" fmla="*/ 3112275 w 4610101"/>
              <a:gd name="connsiteY5046" fmla="*/ 2735937 h 6557032"/>
              <a:gd name="connsiteX5047" fmla="*/ 3108630 w 4610101"/>
              <a:gd name="connsiteY5047" fmla="*/ 2741405 h 6557032"/>
              <a:gd name="connsiteX5048" fmla="*/ 3106808 w 4610101"/>
              <a:gd name="connsiteY5048" fmla="*/ 2748693 h 6557032"/>
              <a:gd name="connsiteX5049" fmla="*/ 3115919 w 4610101"/>
              <a:gd name="connsiteY5049" fmla="*/ 2757804 h 6557032"/>
              <a:gd name="connsiteX5050" fmla="*/ 3042461 w 4610101"/>
              <a:gd name="connsiteY5050" fmla="*/ 2740041 h 6557032"/>
              <a:gd name="connsiteX5051" fmla="*/ 3032097 w 4610101"/>
              <a:gd name="connsiteY5051" fmla="*/ 2741524 h 6557032"/>
              <a:gd name="connsiteX5052" fmla="*/ 3032097 w 4610101"/>
              <a:gd name="connsiteY5052" fmla="*/ 2736065 h 6557032"/>
              <a:gd name="connsiteX5053" fmla="*/ 3033305 w 4610101"/>
              <a:gd name="connsiteY5053" fmla="*/ 2736065 h 6557032"/>
              <a:gd name="connsiteX5054" fmla="*/ 2970144 w 4610101"/>
              <a:gd name="connsiteY5054" fmla="*/ 2703136 h 6557032"/>
              <a:gd name="connsiteX5055" fmla="*/ 2920945 w 4610101"/>
              <a:gd name="connsiteY5055" fmla="*/ 2664871 h 6557032"/>
              <a:gd name="connsiteX5056" fmla="*/ 2933700 w 4610101"/>
              <a:gd name="connsiteY5056" fmla="*/ 2668515 h 6557032"/>
              <a:gd name="connsiteX5057" fmla="*/ 3104986 w 4610101"/>
              <a:gd name="connsiteY5057" fmla="*/ 2644827 h 6557032"/>
              <a:gd name="connsiteX5058" fmla="*/ 3128674 w 4610101"/>
              <a:gd name="connsiteY5058" fmla="*/ 2641183 h 6557032"/>
              <a:gd name="connsiteX5059" fmla="*/ 3150540 w 4610101"/>
              <a:gd name="connsiteY5059" fmla="*/ 2639359 h 6557032"/>
              <a:gd name="connsiteX5060" fmla="*/ 1109704 w 4610101"/>
              <a:gd name="connsiteY5060" fmla="*/ 2637556 h 6557032"/>
              <a:gd name="connsiteX5061" fmla="*/ 1107882 w 4610101"/>
              <a:gd name="connsiteY5061" fmla="*/ 2646668 h 6557032"/>
              <a:gd name="connsiteX5062" fmla="*/ 1102415 w 4610101"/>
              <a:gd name="connsiteY5062" fmla="*/ 2644845 h 6557032"/>
              <a:gd name="connsiteX5063" fmla="*/ 1109704 w 4610101"/>
              <a:gd name="connsiteY5063" fmla="*/ 2637556 h 6557032"/>
              <a:gd name="connsiteX5064" fmla="*/ 2875390 w 4610101"/>
              <a:gd name="connsiteY5064" fmla="*/ 2632072 h 6557032"/>
              <a:gd name="connsiteX5065" fmla="*/ 2873568 w 4610101"/>
              <a:gd name="connsiteY5065" fmla="*/ 2639359 h 6557032"/>
              <a:gd name="connsiteX5066" fmla="*/ 2875390 w 4610101"/>
              <a:gd name="connsiteY5066" fmla="*/ 2639359 h 6557032"/>
              <a:gd name="connsiteX5067" fmla="*/ 2875390 w 4610101"/>
              <a:gd name="connsiteY5067" fmla="*/ 2632072 h 6557032"/>
              <a:gd name="connsiteX5068" fmla="*/ 987618 w 4610101"/>
              <a:gd name="connsiteY5068" fmla="*/ 2630333 h 6557032"/>
              <a:gd name="connsiteX5069" fmla="*/ 1002196 w 4610101"/>
              <a:gd name="connsiteY5069" fmla="*/ 2637631 h 6557032"/>
              <a:gd name="connsiteX5070" fmla="*/ 971219 w 4610101"/>
              <a:gd name="connsiteY5070" fmla="*/ 2659490 h 6557032"/>
              <a:gd name="connsiteX5071" fmla="*/ 1014951 w 4610101"/>
              <a:gd name="connsiteY5071" fmla="*/ 2628445 h 6557032"/>
              <a:gd name="connsiteX5072" fmla="*/ 1017913 w 4610101"/>
              <a:gd name="connsiteY5072" fmla="*/ 2635053 h 6557032"/>
              <a:gd name="connsiteX5073" fmla="*/ 1018303 w 4610101"/>
              <a:gd name="connsiteY5073" fmla="*/ 2636265 h 6557032"/>
              <a:gd name="connsiteX5074" fmla="*/ 1091484 w 4610101"/>
              <a:gd name="connsiteY5074" fmla="*/ 2624798 h 6557032"/>
              <a:gd name="connsiteX5075" fmla="*/ 1096949 w 4610101"/>
              <a:gd name="connsiteY5075" fmla="*/ 2639379 h 6557032"/>
              <a:gd name="connsiteX5076" fmla="*/ 1089660 w 4610101"/>
              <a:gd name="connsiteY5076" fmla="*/ 2650312 h 6557032"/>
              <a:gd name="connsiteX5077" fmla="*/ 1087838 w 4610101"/>
              <a:gd name="connsiteY5077" fmla="*/ 2630266 h 6557032"/>
              <a:gd name="connsiteX5078" fmla="*/ 1091484 w 4610101"/>
              <a:gd name="connsiteY5078" fmla="*/ 2628449 h 6557032"/>
              <a:gd name="connsiteX5079" fmla="*/ 1091484 w 4610101"/>
              <a:gd name="connsiteY5079" fmla="*/ 2624798 h 6557032"/>
              <a:gd name="connsiteX5080" fmla="*/ 2862635 w 4610101"/>
              <a:gd name="connsiteY5080" fmla="*/ 2624783 h 6557032"/>
              <a:gd name="connsiteX5081" fmla="*/ 2862635 w 4610101"/>
              <a:gd name="connsiteY5081" fmla="*/ 2632072 h 6557032"/>
              <a:gd name="connsiteX5082" fmla="*/ 2868101 w 4610101"/>
              <a:gd name="connsiteY5082" fmla="*/ 2628427 h 6557032"/>
              <a:gd name="connsiteX5083" fmla="*/ 2862635 w 4610101"/>
              <a:gd name="connsiteY5083" fmla="*/ 2624783 h 6557032"/>
              <a:gd name="connsiteX5084" fmla="*/ 3784656 w 4610101"/>
              <a:gd name="connsiteY5084" fmla="*/ 2621247 h 6557032"/>
              <a:gd name="connsiteX5085" fmla="*/ 3822921 w 4610101"/>
              <a:gd name="connsiteY5085" fmla="*/ 2621247 h 6557032"/>
              <a:gd name="connsiteX5086" fmla="*/ 3859365 w 4610101"/>
              <a:gd name="connsiteY5086" fmla="*/ 2644914 h 6557032"/>
              <a:gd name="connsiteX5087" fmla="*/ 3864832 w 4610101"/>
              <a:gd name="connsiteY5087" fmla="*/ 2674099 h 6557032"/>
              <a:gd name="connsiteX5088" fmla="*/ 3859365 w 4610101"/>
              <a:gd name="connsiteY5088" fmla="*/ 2695996 h 6557032"/>
              <a:gd name="connsiteX5089" fmla="*/ 3844787 w 4610101"/>
              <a:gd name="connsiteY5089" fmla="*/ 2710582 h 6557032"/>
              <a:gd name="connsiteX5090" fmla="*/ 3815633 w 4610101"/>
              <a:gd name="connsiteY5090" fmla="*/ 2719703 h 6557032"/>
              <a:gd name="connsiteX5091" fmla="*/ 3770077 w 4610101"/>
              <a:gd name="connsiteY5091" fmla="*/ 2674099 h 6557032"/>
              <a:gd name="connsiteX5092" fmla="*/ 3777366 w 4610101"/>
              <a:gd name="connsiteY5092" fmla="*/ 2659501 h 6557032"/>
              <a:gd name="connsiteX5093" fmla="*/ 3770077 w 4610101"/>
              <a:gd name="connsiteY5093" fmla="*/ 2635822 h 6557032"/>
              <a:gd name="connsiteX5094" fmla="*/ 3784656 w 4610101"/>
              <a:gd name="connsiteY5094" fmla="*/ 2635822 h 6557032"/>
              <a:gd name="connsiteX5095" fmla="*/ 1069616 w 4610101"/>
              <a:gd name="connsiteY5095" fmla="*/ 2619335 h 6557032"/>
              <a:gd name="connsiteX5096" fmla="*/ 1076905 w 4610101"/>
              <a:gd name="connsiteY5096" fmla="*/ 2643022 h 6557032"/>
              <a:gd name="connsiteX5097" fmla="*/ 1075083 w 4610101"/>
              <a:gd name="connsiteY5097" fmla="*/ 2643022 h 6557032"/>
              <a:gd name="connsiteX5098" fmla="*/ 1045929 w 4610101"/>
              <a:gd name="connsiteY5098" fmla="*/ 2624798 h 6557032"/>
              <a:gd name="connsiteX5099" fmla="*/ 1067794 w 4610101"/>
              <a:gd name="connsiteY5099" fmla="*/ 2643022 h 6557032"/>
              <a:gd name="connsiteX5100" fmla="*/ 1065972 w 4610101"/>
              <a:gd name="connsiteY5100" fmla="*/ 2643022 h 6557032"/>
              <a:gd name="connsiteX5101" fmla="*/ 1071439 w 4610101"/>
              <a:gd name="connsiteY5101" fmla="*/ 2648491 h 6557032"/>
              <a:gd name="connsiteX5102" fmla="*/ 1047750 w 4610101"/>
              <a:gd name="connsiteY5102" fmla="*/ 2644845 h 6557032"/>
              <a:gd name="connsiteX5103" fmla="*/ 1056861 w 4610101"/>
              <a:gd name="connsiteY5103" fmla="*/ 2653958 h 6557032"/>
              <a:gd name="connsiteX5104" fmla="*/ 1022240 w 4610101"/>
              <a:gd name="connsiteY5104" fmla="*/ 2648491 h 6557032"/>
              <a:gd name="connsiteX5105" fmla="*/ 1018303 w 4610101"/>
              <a:gd name="connsiteY5105" fmla="*/ 2636265 h 6557032"/>
              <a:gd name="connsiteX5106" fmla="*/ 1020418 w 4610101"/>
              <a:gd name="connsiteY5106" fmla="*/ 2641200 h 6557032"/>
              <a:gd name="connsiteX5107" fmla="*/ 1020418 w 4610101"/>
              <a:gd name="connsiteY5107" fmla="*/ 2632087 h 6557032"/>
              <a:gd name="connsiteX5108" fmla="*/ 1027707 w 4610101"/>
              <a:gd name="connsiteY5108" fmla="*/ 2641200 h 6557032"/>
              <a:gd name="connsiteX5109" fmla="*/ 1027707 w 4610101"/>
              <a:gd name="connsiteY5109" fmla="*/ 2633914 h 6557032"/>
              <a:gd name="connsiteX5110" fmla="*/ 1034995 w 4610101"/>
              <a:gd name="connsiteY5110" fmla="*/ 2641200 h 6557032"/>
              <a:gd name="connsiteX5111" fmla="*/ 1033173 w 4610101"/>
              <a:gd name="connsiteY5111" fmla="*/ 2635734 h 6557032"/>
              <a:gd name="connsiteX5112" fmla="*/ 1036818 w 4610101"/>
              <a:gd name="connsiteY5112" fmla="*/ 2637556 h 6557032"/>
              <a:gd name="connsiteX5113" fmla="*/ 1036818 w 4610101"/>
              <a:gd name="connsiteY5113" fmla="*/ 2632087 h 6557032"/>
              <a:gd name="connsiteX5114" fmla="*/ 1040462 w 4610101"/>
              <a:gd name="connsiteY5114" fmla="*/ 2628445 h 6557032"/>
              <a:gd name="connsiteX5115" fmla="*/ 1020418 w 4610101"/>
              <a:gd name="connsiteY5115" fmla="*/ 2626627 h 6557032"/>
              <a:gd name="connsiteX5116" fmla="*/ 1022240 w 4610101"/>
              <a:gd name="connsiteY5116" fmla="*/ 2624798 h 6557032"/>
              <a:gd name="connsiteX5117" fmla="*/ 1016774 w 4610101"/>
              <a:gd name="connsiteY5117" fmla="*/ 2622977 h 6557032"/>
              <a:gd name="connsiteX5118" fmla="*/ 1055040 w 4610101"/>
              <a:gd name="connsiteY5118" fmla="*/ 2621158 h 6557032"/>
              <a:gd name="connsiteX5119" fmla="*/ 1060506 w 4610101"/>
              <a:gd name="connsiteY5119" fmla="*/ 2624798 h 6557032"/>
              <a:gd name="connsiteX5120" fmla="*/ 1058683 w 4610101"/>
              <a:gd name="connsiteY5120" fmla="*/ 2621158 h 6557032"/>
              <a:gd name="connsiteX5121" fmla="*/ 1069616 w 4610101"/>
              <a:gd name="connsiteY5121" fmla="*/ 2619335 h 6557032"/>
              <a:gd name="connsiteX5122" fmla="*/ 1142503 w 4610101"/>
              <a:gd name="connsiteY5122" fmla="*/ 2619333 h 6557032"/>
              <a:gd name="connsiteX5123" fmla="*/ 1144325 w 4610101"/>
              <a:gd name="connsiteY5123" fmla="*/ 2619333 h 6557032"/>
              <a:gd name="connsiteX5124" fmla="*/ 1142505 w 4610101"/>
              <a:gd name="connsiteY5124" fmla="*/ 2621153 h 6557032"/>
              <a:gd name="connsiteX5125" fmla="*/ 1153436 w 4610101"/>
              <a:gd name="connsiteY5125" fmla="*/ 2626622 h 6557032"/>
              <a:gd name="connsiteX5126" fmla="*/ 1140681 w 4610101"/>
              <a:gd name="connsiteY5126" fmla="*/ 2635729 h 6557032"/>
              <a:gd name="connsiteX5127" fmla="*/ 1142503 w 4610101"/>
              <a:gd name="connsiteY5127" fmla="*/ 2621153 h 6557032"/>
              <a:gd name="connsiteX5128" fmla="*/ 1162547 w 4610101"/>
              <a:gd name="connsiteY5128" fmla="*/ 2615685 h 6557032"/>
              <a:gd name="connsiteX5129" fmla="*/ 1160724 w 4610101"/>
              <a:gd name="connsiteY5129" fmla="*/ 2619335 h 6557032"/>
              <a:gd name="connsiteX5130" fmla="*/ 1158902 w 4610101"/>
              <a:gd name="connsiteY5130" fmla="*/ 2617512 h 6557032"/>
              <a:gd name="connsiteX5131" fmla="*/ 1162547 w 4610101"/>
              <a:gd name="connsiteY5131" fmla="*/ 2615685 h 6557032"/>
              <a:gd name="connsiteX5132" fmla="*/ 1130432 w 4610101"/>
              <a:gd name="connsiteY5132" fmla="*/ 2614554 h 6557032"/>
              <a:gd name="connsiteX5133" fmla="*/ 1138860 w 4610101"/>
              <a:gd name="connsiteY5133" fmla="*/ 2615691 h 6557032"/>
              <a:gd name="connsiteX5134" fmla="*/ 1131571 w 4610101"/>
              <a:gd name="connsiteY5134" fmla="*/ 2641200 h 6557032"/>
              <a:gd name="connsiteX5135" fmla="*/ 1124281 w 4610101"/>
              <a:gd name="connsiteY5135" fmla="*/ 2641200 h 6557032"/>
              <a:gd name="connsiteX5136" fmla="*/ 1122459 w 4610101"/>
              <a:gd name="connsiteY5136" fmla="*/ 2643022 h 6557032"/>
              <a:gd name="connsiteX5137" fmla="*/ 1126104 w 4610101"/>
              <a:gd name="connsiteY5137" fmla="*/ 2646668 h 6557032"/>
              <a:gd name="connsiteX5138" fmla="*/ 1126104 w 4610101"/>
              <a:gd name="connsiteY5138" fmla="*/ 2650312 h 6557032"/>
              <a:gd name="connsiteX5139" fmla="*/ 1124281 w 4610101"/>
              <a:gd name="connsiteY5139" fmla="*/ 2646668 h 6557032"/>
              <a:gd name="connsiteX5140" fmla="*/ 1120637 w 4610101"/>
              <a:gd name="connsiteY5140" fmla="*/ 2653958 h 6557032"/>
              <a:gd name="connsiteX5141" fmla="*/ 1116993 w 4610101"/>
              <a:gd name="connsiteY5141" fmla="*/ 2653958 h 6557032"/>
              <a:gd name="connsiteX5142" fmla="*/ 1120637 w 4610101"/>
              <a:gd name="connsiteY5142" fmla="*/ 2641200 h 6557032"/>
              <a:gd name="connsiteX5143" fmla="*/ 1115171 w 4610101"/>
              <a:gd name="connsiteY5143" fmla="*/ 2641200 h 6557032"/>
              <a:gd name="connsiteX5144" fmla="*/ 1115171 w 4610101"/>
              <a:gd name="connsiteY5144" fmla="*/ 2635734 h 6557032"/>
              <a:gd name="connsiteX5145" fmla="*/ 1111526 w 4610101"/>
              <a:gd name="connsiteY5145" fmla="*/ 2637556 h 6557032"/>
              <a:gd name="connsiteX5146" fmla="*/ 1111526 w 4610101"/>
              <a:gd name="connsiteY5146" fmla="*/ 2632087 h 6557032"/>
              <a:gd name="connsiteX5147" fmla="*/ 1100593 w 4610101"/>
              <a:gd name="connsiteY5147" fmla="*/ 2637556 h 6557032"/>
              <a:gd name="connsiteX5148" fmla="*/ 1102415 w 4610101"/>
              <a:gd name="connsiteY5148" fmla="*/ 2621158 h 6557032"/>
              <a:gd name="connsiteX5149" fmla="*/ 1109704 w 4610101"/>
              <a:gd name="connsiteY5149" fmla="*/ 2624798 h 6557032"/>
              <a:gd name="connsiteX5150" fmla="*/ 1104238 w 4610101"/>
              <a:gd name="connsiteY5150" fmla="*/ 2617521 h 6557032"/>
              <a:gd name="connsiteX5151" fmla="*/ 1118815 w 4610101"/>
              <a:gd name="connsiteY5151" fmla="*/ 2617521 h 6557032"/>
              <a:gd name="connsiteX5152" fmla="*/ 1120637 w 4610101"/>
              <a:gd name="connsiteY5152" fmla="*/ 2624798 h 6557032"/>
              <a:gd name="connsiteX5153" fmla="*/ 1122459 w 4610101"/>
              <a:gd name="connsiteY5153" fmla="*/ 2622977 h 6557032"/>
              <a:gd name="connsiteX5154" fmla="*/ 1120637 w 4610101"/>
              <a:gd name="connsiteY5154" fmla="*/ 2617521 h 6557032"/>
              <a:gd name="connsiteX5155" fmla="*/ 1130432 w 4610101"/>
              <a:gd name="connsiteY5155" fmla="*/ 2614554 h 6557032"/>
              <a:gd name="connsiteX5156" fmla="*/ 1301032 w 4610101"/>
              <a:gd name="connsiteY5156" fmla="*/ 2613868 h 6557032"/>
              <a:gd name="connsiteX5157" fmla="*/ 1304677 w 4610101"/>
              <a:gd name="connsiteY5157" fmla="*/ 2613868 h 6557032"/>
              <a:gd name="connsiteX5158" fmla="*/ 1301032 w 4610101"/>
              <a:gd name="connsiteY5158" fmla="*/ 2617517 h 6557032"/>
              <a:gd name="connsiteX5159" fmla="*/ 1301032 w 4610101"/>
              <a:gd name="connsiteY5159" fmla="*/ 2613868 h 6557032"/>
              <a:gd name="connsiteX5160" fmla="*/ 1155259 w 4610101"/>
              <a:gd name="connsiteY5160" fmla="*/ 2612047 h 6557032"/>
              <a:gd name="connsiteX5161" fmla="*/ 1157080 w 4610101"/>
              <a:gd name="connsiteY5161" fmla="*/ 2619335 h 6557032"/>
              <a:gd name="connsiteX5162" fmla="*/ 1151614 w 4610101"/>
              <a:gd name="connsiteY5162" fmla="*/ 2617517 h 6557032"/>
              <a:gd name="connsiteX5163" fmla="*/ 1151614 w 4610101"/>
              <a:gd name="connsiteY5163" fmla="*/ 2613868 h 6557032"/>
              <a:gd name="connsiteX5164" fmla="*/ 1147969 w 4610101"/>
              <a:gd name="connsiteY5164" fmla="*/ 2613868 h 6557032"/>
              <a:gd name="connsiteX5165" fmla="*/ 1155259 w 4610101"/>
              <a:gd name="connsiteY5165" fmla="*/ 2612047 h 6557032"/>
              <a:gd name="connsiteX5166" fmla="*/ 3589683 w 4610101"/>
              <a:gd name="connsiteY5166" fmla="*/ 2606677 h 6557032"/>
              <a:gd name="connsiteX5167" fmla="*/ 3620660 w 4610101"/>
              <a:gd name="connsiteY5167" fmla="*/ 2621238 h 6557032"/>
              <a:gd name="connsiteX5168" fmla="*/ 3604261 w 4610101"/>
              <a:gd name="connsiteY5168" fmla="*/ 2644906 h 6557032"/>
              <a:gd name="connsiteX5169" fmla="*/ 3589683 w 4610101"/>
              <a:gd name="connsiteY5169" fmla="*/ 2606677 h 6557032"/>
              <a:gd name="connsiteX5170" fmla="*/ 3536839 w 4610101"/>
              <a:gd name="connsiteY5170" fmla="*/ 2606634 h 6557032"/>
              <a:gd name="connsiteX5171" fmla="*/ 3553239 w 4610101"/>
              <a:gd name="connsiteY5171" fmla="*/ 2608461 h 6557032"/>
              <a:gd name="connsiteX5172" fmla="*/ 3538661 w 4610101"/>
              <a:gd name="connsiteY5172" fmla="*/ 2623023 h 6557032"/>
              <a:gd name="connsiteX5173" fmla="*/ 2848286 w 4610101"/>
              <a:gd name="connsiteY5173" fmla="*/ 2603373 h 6557032"/>
              <a:gd name="connsiteX5174" fmla="*/ 2842591 w 4610101"/>
              <a:gd name="connsiteY5174" fmla="*/ 2606561 h 6557032"/>
              <a:gd name="connsiteX5175" fmla="*/ 2849880 w 4610101"/>
              <a:gd name="connsiteY5175" fmla="*/ 2608382 h 6557032"/>
              <a:gd name="connsiteX5176" fmla="*/ 2848286 w 4610101"/>
              <a:gd name="connsiteY5176" fmla="*/ 2603373 h 6557032"/>
              <a:gd name="connsiteX5177" fmla="*/ 951175 w 4610101"/>
              <a:gd name="connsiteY5177" fmla="*/ 2599381 h 6557032"/>
              <a:gd name="connsiteX5178" fmla="*/ 940242 w 4610101"/>
              <a:gd name="connsiteY5178" fmla="*/ 2628516 h 6557032"/>
              <a:gd name="connsiteX5179" fmla="*/ 925664 w 4610101"/>
              <a:gd name="connsiteY5179" fmla="*/ 2619406 h 6557032"/>
              <a:gd name="connsiteX5180" fmla="*/ 3329113 w 4610101"/>
              <a:gd name="connsiteY5180" fmla="*/ 2599273 h 6557032"/>
              <a:gd name="connsiteX5181" fmla="*/ 3325468 w 4610101"/>
              <a:gd name="connsiteY5181" fmla="*/ 2601096 h 6557032"/>
              <a:gd name="connsiteX5182" fmla="*/ 3325468 w 4610101"/>
              <a:gd name="connsiteY5182" fmla="*/ 2604739 h 6557032"/>
              <a:gd name="connsiteX5183" fmla="*/ 3329113 w 4610101"/>
              <a:gd name="connsiteY5183" fmla="*/ 2606563 h 6557032"/>
              <a:gd name="connsiteX5184" fmla="*/ 3330935 w 4610101"/>
              <a:gd name="connsiteY5184" fmla="*/ 2606563 h 6557032"/>
              <a:gd name="connsiteX5185" fmla="*/ 3329113 w 4610101"/>
              <a:gd name="connsiteY5185" fmla="*/ 2599273 h 6557032"/>
              <a:gd name="connsiteX5186" fmla="*/ 3312713 w 4610101"/>
              <a:gd name="connsiteY5186" fmla="*/ 2599273 h 6557032"/>
              <a:gd name="connsiteX5187" fmla="*/ 3310891 w 4610101"/>
              <a:gd name="connsiteY5187" fmla="*/ 2606563 h 6557032"/>
              <a:gd name="connsiteX5188" fmla="*/ 3312713 w 4610101"/>
              <a:gd name="connsiteY5188" fmla="*/ 2599273 h 6557032"/>
              <a:gd name="connsiteX5189" fmla="*/ 3409288 w 4610101"/>
              <a:gd name="connsiteY5189" fmla="*/ 2597455 h 6557032"/>
              <a:gd name="connsiteX5190" fmla="*/ 3411110 w 4610101"/>
              <a:gd name="connsiteY5190" fmla="*/ 2599278 h 6557032"/>
              <a:gd name="connsiteX5191" fmla="*/ 3414754 w 4610101"/>
              <a:gd name="connsiteY5191" fmla="*/ 2601100 h 6557032"/>
              <a:gd name="connsiteX5192" fmla="*/ 3405643 w 4610101"/>
              <a:gd name="connsiteY5192" fmla="*/ 2599278 h 6557032"/>
              <a:gd name="connsiteX5193" fmla="*/ 3367378 w 4610101"/>
              <a:gd name="connsiteY5193" fmla="*/ 2597453 h 6557032"/>
              <a:gd name="connsiteX5194" fmla="*/ 3363734 w 4610101"/>
              <a:gd name="connsiteY5194" fmla="*/ 2604739 h 6557032"/>
              <a:gd name="connsiteX5195" fmla="*/ 3365556 w 4610101"/>
              <a:gd name="connsiteY5195" fmla="*/ 2604739 h 6557032"/>
              <a:gd name="connsiteX5196" fmla="*/ 3367378 w 4610101"/>
              <a:gd name="connsiteY5196" fmla="*/ 2597453 h 6557032"/>
              <a:gd name="connsiteX5197" fmla="*/ 3266931 w 4610101"/>
              <a:gd name="connsiteY5197" fmla="*/ 2597224 h 6557032"/>
              <a:gd name="connsiteX5198" fmla="*/ 3263514 w 4610101"/>
              <a:gd name="connsiteY5198" fmla="*/ 2599273 h 6557032"/>
              <a:gd name="connsiteX5199" fmla="*/ 3267159 w 4610101"/>
              <a:gd name="connsiteY5199" fmla="*/ 2604739 h 6557032"/>
              <a:gd name="connsiteX5200" fmla="*/ 3268981 w 4610101"/>
              <a:gd name="connsiteY5200" fmla="*/ 2599273 h 6557032"/>
              <a:gd name="connsiteX5201" fmla="*/ 3266931 w 4610101"/>
              <a:gd name="connsiteY5201" fmla="*/ 2597224 h 6557032"/>
              <a:gd name="connsiteX5202" fmla="*/ 1379385 w 4610101"/>
              <a:gd name="connsiteY5202" fmla="*/ 2595648 h 6557032"/>
              <a:gd name="connsiteX5203" fmla="*/ 1386674 w 4610101"/>
              <a:gd name="connsiteY5203" fmla="*/ 2599293 h 6557032"/>
              <a:gd name="connsiteX5204" fmla="*/ 1390319 w 4610101"/>
              <a:gd name="connsiteY5204" fmla="*/ 2604758 h 6557032"/>
              <a:gd name="connsiteX5205" fmla="*/ 1377563 w 4610101"/>
              <a:gd name="connsiteY5205" fmla="*/ 2599293 h 6557032"/>
              <a:gd name="connsiteX5206" fmla="*/ 1379385 w 4610101"/>
              <a:gd name="connsiteY5206" fmla="*/ 2595648 h 6557032"/>
              <a:gd name="connsiteX5207" fmla="*/ 3298136 w 4610101"/>
              <a:gd name="connsiteY5207" fmla="*/ 2593809 h 6557032"/>
              <a:gd name="connsiteX5208" fmla="*/ 3294491 w 4610101"/>
              <a:gd name="connsiteY5208" fmla="*/ 2601096 h 6557032"/>
              <a:gd name="connsiteX5209" fmla="*/ 3296313 w 4610101"/>
              <a:gd name="connsiteY5209" fmla="*/ 2601096 h 6557032"/>
              <a:gd name="connsiteX5210" fmla="*/ 3298136 w 4610101"/>
              <a:gd name="connsiteY5210" fmla="*/ 2593809 h 6557032"/>
              <a:gd name="connsiteX5211" fmla="*/ 3254404 w 4610101"/>
              <a:gd name="connsiteY5211" fmla="*/ 2591986 h 6557032"/>
              <a:gd name="connsiteX5212" fmla="*/ 3252581 w 4610101"/>
              <a:gd name="connsiteY5212" fmla="*/ 2599273 h 6557032"/>
              <a:gd name="connsiteX5213" fmla="*/ 3256226 w 4610101"/>
              <a:gd name="connsiteY5213" fmla="*/ 2591986 h 6557032"/>
              <a:gd name="connsiteX5214" fmla="*/ 3254404 w 4610101"/>
              <a:gd name="connsiteY5214" fmla="*/ 2591986 h 6557032"/>
              <a:gd name="connsiteX5215" fmla="*/ 3429332 w 4610101"/>
              <a:gd name="connsiteY5215" fmla="*/ 2590168 h 6557032"/>
              <a:gd name="connsiteX5216" fmla="*/ 3429332 w 4610101"/>
              <a:gd name="connsiteY5216" fmla="*/ 2591990 h 6557032"/>
              <a:gd name="connsiteX5217" fmla="*/ 3423865 w 4610101"/>
              <a:gd name="connsiteY5217" fmla="*/ 2591990 h 6557032"/>
              <a:gd name="connsiteX5218" fmla="*/ 3283330 w 4610101"/>
              <a:gd name="connsiteY5218" fmla="*/ 2588114 h 6557032"/>
              <a:gd name="connsiteX5219" fmla="*/ 3279914 w 4610101"/>
              <a:gd name="connsiteY5219" fmla="*/ 2590165 h 6557032"/>
              <a:gd name="connsiteX5220" fmla="*/ 3283558 w 4610101"/>
              <a:gd name="connsiteY5220" fmla="*/ 2595629 h 6557032"/>
              <a:gd name="connsiteX5221" fmla="*/ 3285380 w 4610101"/>
              <a:gd name="connsiteY5221" fmla="*/ 2590165 h 6557032"/>
              <a:gd name="connsiteX5222" fmla="*/ 3283330 w 4610101"/>
              <a:gd name="connsiteY5222" fmla="*/ 2588114 h 6557032"/>
              <a:gd name="connsiteX5223" fmla="*/ 3270803 w 4610101"/>
              <a:gd name="connsiteY5223" fmla="*/ 2586519 h 6557032"/>
              <a:gd name="connsiteX5224" fmla="*/ 3268981 w 4610101"/>
              <a:gd name="connsiteY5224" fmla="*/ 2593809 h 6557032"/>
              <a:gd name="connsiteX5225" fmla="*/ 3272625 w 4610101"/>
              <a:gd name="connsiteY5225" fmla="*/ 2586519 h 6557032"/>
              <a:gd name="connsiteX5226" fmla="*/ 3270803 w 4610101"/>
              <a:gd name="connsiteY5226" fmla="*/ 2586519 h 6557032"/>
              <a:gd name="connsiteX5227" fmla="*/ 3241420 w 4610101"/>
              <a:gd name="connsiteY5227" fmla="*/ 2586292 h 6557032"/>
              <a:gd name="connsiteX5228" fmla="*/ 3238004 w 4610101"/>
              <a:gd name="connsiteY5228" fmla="*/ 2588342 h 6557032"/>
              <a:gd name="connsiteX5229" fmla="*/ 3241648 w 4610101"/>
              <a:gd name="connsiteY5229" fmla="*/ 2593809 h 6557032"/>
              <a:gd name="connsiteX5230" fmla="*/ 3243470 w 4610101"/>
              <a:gd name="connsiteY5230" fmla="*/ 2588342 h 6557032"/>
              <a:gd name="connsiteX5231" fmla="*/ 3241420 w 4610101"/>
              <a:gd name="connsiteY5231" fmla="*/ 2586292 h 6557032"/>
              <a:gd name="connsiteX5232" fmla="*/ 1007663 w 4610101"/>
              <a:gd name="connsiteY5232" fmla="*/ 2581144 h 6557032"/>
              <a:gd name="connsiteX5233" fmla="*/ 1016774 w 4610101"/>
              <a:gd name="connsiteY5233" fmla="*/ 2599366 h 6557032"/>
              <a:gd name="connsiteX5234" fmla="*/ 993085 w 4610101"/>
              <a:gd name="connsiteY5234" fmla="*/ 2597541 h 6557032"/>
              <a:gd name="connsiteX5235" fmla="*/ 1304676 w 4610101"/>
              <a:gd name="connsiteY5235" fmla="*/ 2581069 h 6557032"/>
              <a:gd name="connsiteX5236" fmla="*/ 1304676 w 4610101"/>
              <a:gd name="connsiteY5236" fmla="*/ 2595650 h 6557032"/>
              <a:gd name="connsiteX5237" fmla="*/ 1293744 w 4610101"/>
              <a:gd name="connsiteY5237" fmla="*/ 2590180 h 6557032"/>
              <a:gd name="connsiteX5238" fmla="*/ 1299210 w 4610101"/>
              <a:gd name="connsiteY5238" fmla="*/ 2582893 h 6557032"/>
              <a:gd name="connsiteX5239" fmla="*/ 1301032 w 4610101"/>
              <a:gd name="connsiteY5239" fmla="*/ 2584715 h 6557032"/>
              <a:gd name="connsiteX5240" fmla="*/ 1304676 w 4610101"/>
              <a:gd name="connsiteY5240" fmla="*/ 2581069 h 6557032"/>
              <a:gd name="connsiteX5241" fmla="*/ 3493107 w 4610101"/>
              <a:gd name="connsiteY5241" fmla="*/ 2581055 h 6557032"/>
              <a:gd name="connsiteX5242" fmla="*/ 3502218 w 4610101"/>
              <a:gd name="connsiteY5242" fmla="*/ 2590165 h 6557032"/>
              <a:gd name="connsiteX5243" fmla="*/ 3496752 w 4610101"/>
              <a:gd name="connsiteY5243" fmla="*/ 2590165 h 6557032"/>
              <a:gd name="connsiteX5244" fmla="*/ 3493107 w 4610101"/>
              <a:gd name="connsiteY5244" fmla="*/ 2581055 h 6557032"/>
              <a:gd name="connsiteX5245" fmla="*/ 2957389 w 4610101"/>
              <a:gd name="connsiteY5245" fmla="*/ 2579376 h 6557032"/>
              <a:gd name="connsiteX5246" fmla="*/ 2962856 w 4610101"/>
              <a:gd name="connsiteY5246" fmla="*/ 2579376 h 6557032"/>
              <a:gd name="connsiteX5247" fmla="*/ 2962856 w 4610101"/>
              <a:gd name="connsiteY5247" fmla="*/ 2584844 h 6557032"/>
              <a:gd name="connsiteX5248" fmla="*/ 3254404 w 4610101"/>
              <a:gd name="connsiteY5248" fmla="*/ 2579230 h 6557032"/>
              <a:gd name="connsiteX5249" fmla="*/ 3252581 w 4610101"/>
              <a:gd name="connsiteY5249" fmla="*/ 2586519 h 6557032"/>
              <a:gd name="connsiteX5250" fmla="*/ 3256226 w 4610101"/>
              <a:gd name="connsiteY5250" fmla="*/ 2579230 h 6557032"/>
              <a:gd name="connsiteX5251" fmla="*/ 3254404 w 4610101"/>
              <a:gd name="connsiteY5251" fmla="*/ 2579230 h 6557032"/>
              <a:gd name="connsiteX5252" fmla="*/ 3395522 w 4610101"/>
              <a:gd name="connsiteY5252" fmla="*/ 2575959 h 6557032"/>
              <a:gd name="connsiteX5253" fmla="*/ 3414754 w 4610101"/>
              <a:gd name="connsiteY5253" fmla="*/ 2584702 h 6557032"/>
              <a:gd name="connsiteX5254" fmla="*/ 3403821 w 4610101"/>
              <a:gd name="connsiteY5254" fmla="*/ 2597458 h 6557032"/>
              <a:gd name="connsiteX5255" fmla="*/ 3389243 w 4610101"/>
              <a:gd name="connsiteY5255" fmla="*/ 2588346 h 6557032"/>
              <a:gd name="connsiteX5256" fmla="*/ 3398354 w 4610101"/>
              <a:gd name="connsiteY5256" fmla="*/ 2581058 h 6557032"/>
              <a:gd name="connsiteX5257" fmla="*/ 783535 w 4610101"/>
              <a:gd name="connsiteY5257" fmla="*/ 2575691 h 6557032"/>
              <a:gd name="connsiteX5258" fmla="*/ 805401 w 4610101"/>
              <a:gd name="connsiteY5258" fmla="*/ 2599376 h 6557032"/>
              <a:gd name="connsiteX5259" fmla="*/ 783535 w 4610101"/>
              <a:gd name="connsiteY5259" fmla="*/ 2599376 h 6557032"/>
              <a:gd name="connsiteX5260" fmla="*/ 1290099 w 4610101"/>
              <a:gd name="connsiteY5260" fmla="*/ 2573783 h 6557032"/>
              <a:gd name="connsiteX5261" fmla="*/ 1297388 w 4610101"/>
              <a:gd name="connsiteY5261" fmla="*/ 2575603 h 6557032"/>
              <a:gd name="connsiteX5262" fmla="*/ 1295566 w 4610101"/>
              <a:gd name="connsiteY5262" fmla="*/ 2582893 h 6557032"/>
              <a:gd name="connsiteX5263" fmla="*/ 1293744 w 4610101"/>
              <a:gd name="connsiteY5263" fmla="*/ 2579248 h 6557032"/>
              <a:gd name="connsiteX5264" fmla="*/ 1291921 w 4610101"/>
              <a:gd name="connsiteY5264" fmla="*/ 2581069 h 6557032"/>
              <a:gd name="connsiteX5265" fmla="*/ 1290099 w 4610101"/>
              <a:gd name="connsiteY5265" fmla="*/ 2573783 h 6557032"/>
              <a:gd name="connsiteX5266" fmla="*/ 3214316 w 4610101"/>
              <a:gd name="connsiteY5266" fmla="*/ 2573764 h 6557032"/>
              <a:gd name="connsiteX5267" fmla="*/ 3212494 w 4610101"/>
              <a:gd name="connsiteY5267" fmla="*/ 2581052 h 6557032"/>
              <a:gd name="connsiteX5268" fmla="*/ 3216138 w 4610101"/>
              <a:gd name="connsiteY5268" fmla="*/ 2573764 h 6557032"/>
              <a:gd name="connsiteX5269" fmla="*/ 3214316 w 4610101"/>
              <a:gd name="connsiteY5269" fmla="*/ 2573764 h 6557032"/>
              <a:gd name="connsiteX5270" fmla="*/ 3890341 w 4610101"/>
              <a:gd name="connsiteY5270" fmla="*/ 2570254 h 6557032"/>
              <a:gd name="connsiteX5271" fmla="*/ 3919496 w 4610101"/>
              <a:gd name="connsiteY5271" fmla="*/ 2577539 h 6557032"/>
              <a:gd name="connsiteX5272" fmla="*/ 3928607 w 4610101"/>
              <a:gd name="connsiteY5272" fmla="*/ 2615784 h 6557032"/>
              <a:gd name="connsiteX5273" fmla="*/ 3906741 w 4610101"/>
              <a:gd name="connsiteY5273" fmla="*/ 2630343 h 6557032"/>
              <a:gd name="connsiteX5274" fmla="*/ 3877586 w 4610101"/>
              <a:gd name="connsiteY5274" fmla="*/ 2613966 h 6557032"/>
              <a:gd name="connsiteX5275" fmla="*/ 3870297 w 4610101"/>
              <a:gd name="connsiteY5275" fmla="*/ 2583012 h 6557032"/>
              <a:gd name="connsiteX5276" fmla="*/ 3890341 w 4610101"/>
              <a:gd name="connsiteY5276" fmla="*/ 2570254 h 6557032"/>
              <a:gd name="connsiteX5277" fmla="*/ 3392305 w 4610101"/>
              <a:gd name="connsiteY5277" fmla="*/ 2570169 h 6557032"/>
              <a:gd name="connsiteX5278" fmla="*/ 3395522 w 4610101"/>
              <a:gd name="connsiteY5278" fmla="*/ 2575959 h 6557032"/>
              <a:gd name="connsiteX5279" fmla="*/ 3394710 w 4610101"/>
              <a:gd name="connsiteY5279" fmla="*/ 2575590 h 6557032"/>
              <a:gd name="connsiteX5280" fmla="*/ 3391749 w 4610101"/>
              <a:gd name="connsiteY5280" fmla="*/ 2571946 h 6557032"/>
              <a:gd name="connsiteX5281" fmla="*/ 971219 w 4610101"/>
              <a:gd name="connsiteY5281" fmla="*/ 2561150 h 6557032"/>
              <a:gd name="connsiteX5282" fmla="*/ 971219 w 4610101"/>
              <a:gd name="connsiteY5282" fmla="*/ 2599389 h 6557032"/>
              <a:gd name="connsiteX5283" fmla="*/ 962108 w 4610101"/>
              <a:gd name="connsiteY5283" fmla="*/ 2577520 h 6557032"/>
              <a:gd name="connsiteX5284" fmla="*/ 956641 w 4610101"/>
              <a:gd name="connsiteY5284" fmla="*/ 2568423 h 6557032"/>
              <a:gd name="connsiteX5285" fmla="*/ 934775 w 4610101"/>
              <a:gd name="connsiteY5285" fmla="*/ 2559273 h 6557032"/>
              <a:gd name="connsiteX5286" fmla="*/ 956641 w 4610101"/>
              <a:gd name="connsiteY5286" fmla="*/ 2568388 h 6557032"/>
              <a:gd name="connsiteX5287" fmla="*/ 942064 w 4610101"/>
              <a:gd name="connsiteY5287" fmla="*/ 2575669 h 6557032"/>
              <a:gd name="connsiteX5288" fmla="*/ 3480624 w 4610101"/>
              <a:gd name="connsiteY5288" fmla="*/ 2558950 h 6557032"/>
              <a:gd name="connsiteX5289" fmla="*/ 3480775 w 4610101"/>
              <a:gd name="connsiteY5289" fmla="*/ 2559222 h 6557032"/>
              <a:gd name="connsiteX5290" fmla="*/ 3480353 w 4610101"/>
              <a:gd name="connsiteY5290" fmla="*/ 2559191 h 6557032"/>
              <a:gd name="connsiteX5291" fmla="*/ 3418398 w 4610101"/>
              <a:gd name="connsiteY5291" fmla="*/ 2551900 h 6557032"/>
              <a:gd name="connsiteX5292" fmla="*/ 3440264 w 4610101"/>
              <a:gd name="connsiteY5292" fmla="*/ 2557365 h 6557032"/>
              <a:gd name="connsiteX5293" fmla="*/ 3442086 w 4610101"/>
              <a:gd name="connsiteY5293" fmla="*/ 2561010 h 6557032"/>
              <a:gd name="connsiteX5294" fmla="*/ 3414753 w 4610101"/>
              <a:gd name="connsiteY5294" fmla="*/ 2555544 h 6557032"/>
              <a:gd name="connsiteX5295" fmla="*/ 3418398 w 4610101"/>
              <a:gd name="connsiteY5295" fmla="*/ 2551900 h 6557032"/>
              <a:gd name="connsiteX5296" fmla="*/ 3228893 w 4610101"/>
              <a:gd name="connsiteY5296" fmla="*/ 2550076 h 6557032"/>
              <a:gd name="connsiteX5297" fmla="*/ 3227071 w 4610101"/>
              <a:gd name="connsiteY5297" fmla="*/ 2557364 h 6557032"/>
              <a:gd name="connsiteX5298" fmla="*/ 3230715 w 4610101"/>
              <a:gd name="connsiteY5298" fmla="*/ 2550076 h 6557032"/>
              <a:gd name="connsiteX5299" fmla="*/ 3228893 w 4610101"/>
              <a:gd name="connsiteY5299" fmla="*/ 2550076 h 6557032"/>
              <a:gd name="connsiteX5300" fmla="*/ 3287202 w 4610101"/>
              <a:gd name="connsiteY5300" fmla="*/ 2544609 h 6557032"/>
              <a:gd name="connsiteX5301" fmla="*/ 3270803 w 4610101"/>
              <a:gd name="connsiteY5301" fmla="*/ 2559186 h 6557032"/>
              <a:gd name="connsiteX5302" fmla="*/ 3296313 w 4610101"/>
              <a:gd name="connsiteY5302" fmla="*/ 2561008 h 6557032"/>
              <a:gd name="connsiteX5303" fmla="*/ 2949980 w 4610101"/>
              <a:gd name="connsiteY5303" fmla="*/ 2537717 h 6557032"/>
              <a:gd name="connsiteX5304" fmla="*/ 2949656 w 4610101"/>
              <a:gd name="connsiteY5304" fmla="*/ 2538364 h 6557032"/>
              <a:gd name="connsiteX5305" fmla="*/ 2950100 w 4610101"/>
              <a:gd name="connsiteY5305" fmla="*/ 2538003 h 6557032"/>
              <a:gd name="connsiteX5306" fmla="*/ 3538663 w 4610101"/>
              <a:gd name="connsiteY5306" fmla="*/ 2537438 h 6557032"/>
              <a:gd name="connsiteX5307" fmla="*/ 3551418 w 4610101"/>
              <a:gd name="connsiteY5307" fmla="*/ 2553840 h 6557032"/>
              <a:gd name="connsiteX5308" fmla="*/ 3529552 w 4610101"/>
              <a:gd name="connsiteY5308" fmla="*/ 2562947 h 6557032"/>
              <a:gd name="connsiteX5309" fmla="*/ 3312713 w 4610101"/>
              <a:gd name="connsiteY5309" fmla="*/ 2533820 h 6557032"/>
              <a:gd name="connsiteX5310" fmla="*/ 3318179 w 4610101"/>
              <a:gd name="connsiteY5310" fmla="*/ 2537477 h 6557032"/>
              <a:gd name="connsiteX5311" fmla="*/ 3314535 w 4610101"/>
              <a:gd name="connsiteY5311" fmla="*/ 2542943 h 6557032"/>
              <a:gd name="connsiteX5312" fmla="*/ 3309068 w 4610101"/>
              <a:gd name="connsiteY5312" fmla="*/ 2537477 h 6557032"/>
              <a:gd name="connsiteX5313" fmla="*/ 2915478 w 4610101"/>
              <a:gd name="connsiteY5313" fmla="*/ 2530188 h 6557032"/>
              <a:gd name="connsiteX5314" fmla="*/ 2919122 w 4610101"/>
              <a:gd name="connsiteY5314" fmla="*/ 2532005 h 6557032"/>
              <a:gd name="connsiteX5315" fmla="*/ 2915947 w 4610101"/>
              <a:gd name="connsiteY5315" fmla="*/ 2535183 h 6557032"/>
              <a:gd name="connsiteX5316" fmla="*/ 2920945 w 4610101"/>
              <a:gd name="connsiteY5316" fmla="*/ 2535496 h 6557032"/>
              <a:gd name="connsiteX5317" fmla="*/ 2922767 w 4610101"/>
              <a:gd name="connsiteY5317" fmla="*/ 2535496 h 6557032"/>
              <a:gd name="connsiteX5318" fmla="*/ 2940988 w 4610101"/>
              <a:gd name="connsiteY5318" fmla="*/ 2550074 h 6557032"/>
              <a:gd name="connsiteX5319" fmla="*/ 2937344 w 4610101"/>
              <a:gd name="connsiteY5319" fmla="*/ 2550074 h 6557032"/>
              <a:gd name="connsiteX5320" fmla="*/ 2902951 w 4610101"/>
              <a:gd name="connsiteY5320" fmla="*/ 2545518 h 6557032"/>
              <a:gd name="connsiteX5321" fmla="*/ 2876641 w 4610101"/>
              <a:gd name="connsiteY5321" fmla="*/ 2550598 h 6557032"/>
              <a:gd name="connsiteX5322" fmla="*/ 2877212 w 4610101"/>
              <a:gd name="connsiteY5322" fmla="*/ 2553886 h 6557032"/>
              <a:gd name="connsiteX5323" fmla="*/ 2871290 w 4610101"/>
              <a:gd name="connsiteY5323" fmla="*/ 2553202 h 6557032"/>
              <a:gd name="connsiteX5324" fmla="*/ 2870366 w 4610101"/>
              <a:gd name="connsiteY5324" fmla="*/ 2551810 h 6557032"/>
              <a:gd name="connsiteX5325" fmla="*/ 2869924 w 4610101"/>
              <a:gd name="connsiteY5325" fmla="*/ 2551896 h 6557032"/>
              <a:gd name="connsiteX5326" fmla="*/ 2873568 w 4610101"/>
              <a:gd name="connsiteY5326" fmla="*/ 2559185 h 6557032"/>
              <a:gd name="connsiteX5327" fmla="*/ 2909720 w 4610101"/>
              <a:gd name="connsiteY5327" fmla="*/ 2559184 h 6557032"/>
              <a:gd name="connsiteX5328" fmla="*/ 2910012 w 4610101"/>
              <a:gd name="connsiteY5328" fmla="*/ 2557530 h 6557032"/>
              <a:gd name="connsiteX5329" fmla="*/ 2912221 w 4610101"/>
              <a:gd name="connsiteY5329" fmla="*/ 2559184 h 6557032"/>
              <a:gd name="connsiteX5330" fmla="*/ 2915934 w 4610101"/>
              <a:gd name="connsiteY5330" fmla="*/ 2559184 h 6557032"/>
              <a:gd name="connsiteX5331" fmla="*/ 2928814 w 4610101"/>
              <a:gd name="connsiteY5331" fmla="*/ 2562738 h 6557032"/>
              <a:gd name="connsiteX5332" fmla="*/ 2930056 w 4610101"/>
              <a:gd name="connsiteY5332" fmla="*/ 2555700 h 6557032"/>
              <a:gd name="connsiteX5333" fmla="*/ 2937344 w 4610101"/>
              <a:gd name="connsiteY5333" fmla="*/ 2561172 h 6557032"/>
              <a:gd name="connsiteX5334" fmla="*/ 2936349 w 4610101"/>
              <a:gd name="connsiteY5334" fmla="*/ 2564816 h 6557032"/>
              <a:gd name="connsiteX5335" fmla="*/ 2955566 w 4610101"/>
              <a:gd name="connsiteY5335" fmla="*/ 2570118 h 6557032"/>
              <a:gd name="connsiteX5336" fmla="*/ 2936035 w 4610101"/>
              <a:gd name="connsiteY5336" fmla="*/ 2566267 h 6557032"/>
              <a:gd name="connsiteX5337" fmla="*/ 2937344 w 4610101"/>
              <a:gd name="connsiteY5337" fmla="*/ 2568442 h 6557032"/>
              <a:gd name="connsiteX5338" fmla="*/ 2928234 w 4610101"/>
              <a:gd name="connsiteY5338" fmla="*/ 2570259 h 6557032"/>
              <a:gd name="connsiteX5339" fmla="*/ 2924589 w 4610101"/>
              <a:gd name="connsiteY5339" fmla="*/ 2568442 h 6557032"/>
              <a:gd name="connsiteX5340" fmla="*/ 2927718 w 4610101"/>
              <a:gd name="connsiteY5340" fmla="*/ 2564626 h 6557032"/>
              <a:gd name="connsiteX5341" fmla="*/ 2923223 w 4610101"/>
              <a:gd name="connsiteY5341" fmla="*/ 2563740 h 6557032"/>
              <a:gd name="connsiteX5342" fmla="*/ 2917217 w 4610101"/>
              <a:gd name="connsiteY5342" fmla="*/ 2564663 h 6557032"/>
              <a:gd name="connsiteX5343" fmla="*/ 2917073 w 4610101"/>
              <a:gd name="connsiteY5343" fmla="*/ 2567537 h 6557032"/>
              <a:gd name="connsiteX5344" fmla="*/ 2915478 w 4610101"/>
              <a:gd name="connsiteY5344" fmla="*/ 2572086 h 6557032"/>
              <a:gd name="connsiteX5345" fmla="*/ 2904545 w 4610101"/>
              <a:gd name="connsiteY5345" fmla="*/ 2570254 h 6557032"/>
              <a:gd name="connsiteX5346" fmla="*/ 2907966 w 4610101"/>
              <a:gd name="connsiteY5346" fmla="*/ 2566086 h 6557032"/>
              <a:gd name="connsiteX5347" fmla="*/ 2893612 w 4610101"/>
              <a:gd name="connsiteY5347" fmla="*/ 2568295 h 6557032"/>
              <a:gd name="connsiteX5348" fmla="*/ 2899079 w 4610101"/>
              <a:gd name="connsiteY5348" fmla="*/ 2577406 h 6557032"/>
              <a:gd name="connsiteX5349" fmla="*/ 2921323 w 4610101"/>
              <a:gd name="connsiteY5349" fmla="*/ 2579054 h 6557032"/>
              <a:gd name="connsiteX5350" fmla="*/ 2920945 w 4610101"/>
              <a:gd name="connsiteY5350" fmla="*/ 2577539 h 6557032"/>
              <a:gd name="connsiteX5351" fmla="*/ 2928917 w 4610101"/>
              <a:gd name="connsiteY5351" fmla="*/ 2578677 h 6557032"/>
              <a:gd name="connsiteX5352" fmla="*/ 2929053 w 4610101"/>
              <a:gd name="connsiteY5352" fmla="*/ 2579626 h 6557032"/>
              <a:gd name="connsiteX5353" fmla="*/ 2948277 w 4610101"/>
              <a:gd name="connsiteY5353" fmla="*/ 2581050 h 6557032"/>
              <a:gd name="connsiteX5354" fmla="*/ 2990187 w 4610101"/>
              <a:gd name="connsiteY5354" fmla="*/ 2595628 h 6557032"/>
              <a:gd name="connsiteX5355" fmla="*/ 2992009 w 4610101"/>
              <a:gd name="connsiteY5355" fmla="*/ 2599271 h 6557032"/>
              <a:gd name="connsiteX5356" fmla="*/ 2931878 w 4610101"/>
              <a:gd name="connsiteY5356" fmla="*/ 2591984 h 6557032"/>
              <a:gd name="connsiteX5357" fmla="*/ 2939166 w 4610101"/>
              <a:gd name="connsiteY5357" fmla="*/ 2599271 h 6557032"/>
              <a:gd name="connsiteX5358" fmla="*/ 2995654 w 4610101"/>
              <a:gd name="connsiteY5358" fmla="*/ 2608382 h 6557032"/>
              <a:gd name="connsiteX5359" fmla="*/ 2995654 w 4610101"/>
              <a:gd name="connsiteY5359" fmla="*/ 2615672 h 6557032"/>
              <a:gd name="connsiteX5360" fmla="*/ 2935522 w 4610101"/>
              <a:gd name="connsiteY5360" fmla="*/ 2608382 h 6557032"/>
              <a:gd name="connsiteX5361" fmla="*/ 2937344 w 4610101"/>
              <a:gd name="connsiteY5361" fmla="*/ 2615672 h 6557032"/>
              <a:gd name="connsiteX5362" fmla="*/ 2958483 w 4610101"/>
              <a:gd name="connsiteY5362" fmla="*/ 2620444 h 6557032"/>
              <a:gd name="connsiteX5363" fmla="*/ 2961032 w 4610101"/>
              <a:gd name="connsiteY5363" fmla="*/ 2619426 h 6557032"/>
              <a:gd name="connsiteX5364" fmla="*/ 2961607 w 4610101"/>
              <a:gd name="connsiteY5364" fmla="*/ 2621150 h 6557032"/>
              <a:gd name="connsiteX5365" fmla="*/ 2982314 w 4610101"/>
              <a:gd name="connsiteY5365" fmla="*/ 2625826 h 6557032"/>
              <a:gd name="connsiteX5366" fmla="*/ 2981076 w 4610101"/>
              <a:gd name="connsiteY5366" fmla="*/ 2621247 h 6557032"/>
              <a:gd name="connsiteX5367" fmla="*/ 2992009 w 4610101"/>
              <a:gd name="connsiteY5367" fmla="*/ 2621247 h 6557032"/>
              <a:gd name="connsiteX5368" fmla="*/ 2987312 w 4610101"/>
              <a:gd name="connsiteY5368" fmla="*/ 2624513 h 6557032"/>
              <a:gd name="connsiteX5369" fmla="*/ 2987397 w 4610101"/>
              <a:gd name="connsiteY5369" fmla="*/ 2624061 h 6557032"/>
              <a:gd name="connsiteX5370" fmla="*/ 2987055 w 4610101"/>
              <a:gd name="connsiteY5370" fmla="*/ 2624687 h 6557032"/>
              <a:gd name="connsiteX5371" fmla="*/ 2987312 w 4610101"/>
              <a:gd name="connsiteY5371" fmla="*/ 2624513 h 6557032"/>
              <a:gd name="connsiteX5372" fmla="*/ 2986864 w 4610101"/>
              <a:gd name="connsiteY5372" fmla="*/ 2626853 h 6557032"/>
              <a:gd name="connsiteX5373" fmla="*/ 2993832 w 4610101"/>
              <a:gd name="connsiteY5373" fmla="*/ 2628427 h 6557032"/>
              <a:gd name="connsiteX5374" fmla="*/ 2992009 w 4610101"/>
              <a:gd name="connsiteY5374" fmla="*/ 2639359 h 6557032"/>
              <a:gd name="connsiteX5375" fmla="*/ 2942325 w 4610101"/>
              <a:gd name="connsiteY5375" fmla="*/ 2633515 h 6557032"/>
              <a:gd name="connsiteX5376" fmla="*/ 2948277 w 4610101"/>
              <a:gd name="connsiteY5376" fmla="*/ 2639467 h 6557032"/>
              <a:gd name="connsiteX5377" fmla="*/ 2937344 w 4610101"/>
              <a:gd name="connsiteY5377" fmla="*/ 2635825 h 6557032"/>
              <a:gd name="connsiteX5378" fmla="*/ 2939935 w 4610101"/>
              <a:gd name="connsiteY5378" fmla="*/ 2633234 h 6557032"/>
              <a:gd name="connsiteX5379" fmla="*/ 2930056 w 4610101"/>
              <a:gd name="connsiteY5379" fmla="*/ 2632072 h 6557032"/>
              <a:gd name="connsiteX5380" fmla="*/ 2937344 w 4610101"/>
              <a:gd name="connsiteY5380" fmla="*/ 2637537 h 6557032"/>
              <a:gd name="connsiteX5381" fmla="*/ 2953744 w 4610101"/>
              <a:gd name="connsiteY5381" fmla="*/ 2641182 h 6557032"/>
              <a:gd name="connsiteX5382" fmla="*/ 2926411 w 4610101"/>
              <a:gd name="connsiteY5382" fmla="*/ 2641182 h 6557032"/>
              <a:gd name="connsiteX5383" fmla="*/ 2922767 w 4610101"/>
              <a:gd name="connsiteY5383" fmla="*/ 2641182 h 6557032"/>
              <a:gd name="connsiteX5384" fmla="*/ 2917300 w 4610101"/>
              <a:gd name="connsiteY5384" fmla="*/ 2648470 h 6557032"/>
              <a:gd name="connsiteX5385" fmla="*/ 2926411 w 4610101"/>
              <a:gd name="connsiteY5385" fmla="*/ 2653938 h 6557032"/>
              <a:gd name="connsiteX5386" fmla="*/ 2897256 w 4610101"/>
              <a:gd name="connsiteY5386" fmla="*/ 2639359 h 6557032"/>
              <a:gd name="connsiteX5387" fmla="*/ 2886323 w 4610101"/>
              <a:gd name="connsiteY5387" fmla="*/ 2646649 h 6557032"/>
              <a:gd name="connsiteX5388" fmla="*/ 2888146 w 4610101"/>
              <a:gd name="connsiteY5388" fmla="*/ 2648470 h 6557032"/>
              <a:gd name="connsiteX5389" fmla="*/ 2889968 w 4610101"/>
              <a:gd name="connsiteY5389" fmla="*/ 2652116 h 6557032"/>
              <a:gd name="connsiteX5390" fmla="*/ 2957388 w 4610101"/>
              <a:gd name="connsiteY5390" fmla="*/ 2714069 h 6557032"/>
              <a:gd name="connsiteX5391" fmla="*/ 2740549 w 4610101"/>
              <a:gd name="connsiteY5391" fmla="*/ 2577406 h 6557032"/>
              <a:gd name="connsiteX5392" fmla="*/ 2812070 w 4610101"/>
              <a:gd name="connsiteY5392" fmla="*/ 2550757 h 6557032"/>
              <a:gd name="connsiteX5393" fmla="*/ 2869120 w 4610101"/>
              <a:gd name="connsiteY5393" fmla="*/ 2538532 h 6557032"/>
              <a:gd name="connsiteX5394" fmla="*/ 2869924 w 4610101"/>
              <a:gd name="connsiteY5394" fmla="*/ 2535665 h 6557032"/>
              <a:gd name="connsiteX5395" fmla="*/ 2874856 w 4610101"/>
              <a:gd name="connsiteY5395" fmla="*/ 2537303 h 6557032"/>
              <a:gd name="connsiteX5396" fmla="*/ 2891790 w 4610101"/>
              <a:gd name="connsiteY5396" fmla="*/ 2533674 h 6557032"/>
              <a:gd name="connsiteX5397" fmla="*/ 2911963 w 4610101"/>
              <a:gd name="connsiteY5397" fmla="*/ 2534934 h 6557032"/>
              <a:gd name="connsiteX5398" fmla="*/ 2910011 w 4610101"/>
              <a:gd name="connsiteY5398" fmla="*/ 2532005 h 6557032"/>
              <a:gd name="connsiteX5399" fmla="*/ 4019716 w 4610101"/>
              <a:gd name="connsiteY5399" fmla="*/ 2530118 h 6557032"/>
              <a:gd name="connsiteX5400" fmla="*/ 4036116 w 4610101"/>
              <a:gd name="connsiteY5400" fmla="*/ 2531938 h 6557032"/>
              <a:gd name="connsiteX5401" fmla="*/ 4021538 w 4610101"/>
              <a:gd name="connsiteY5401" fmla="*/ 2546518 h 6557032"/>
              <a:gd name="connsiteX5402" fmla="*/ 2935523 w 4610101"/>
              <a:gd name="connsiteY5402" fmla="*/ 2526386 h 6557032"/>
              <a:gd name="connsiteX5403" fmla="*/ 2935073 w 4610101"/>
              <a:gd name="connsiteY5403" fmla="*/ 2526552 h 6557032"/>
              <a:gd name="connsiteX5404" fmla="*/ 2937345 w 4610101"/>
              <a:gd name="connsiteY5404" fmla="*/ 2526552 h 6557032"/>
              <a:gd name="connsiteX5405" fmla="*/ 2937289 w 4610101"/>
              <a:gd name="connsiteY5405" fmla="*/ 2526386 h 6557032"/>
              <a:gd name="connsiteX5406" fmla="*/ 2931374 w 4610101"/>
              <a:gd name="connsiteY5406" fmla="*/ 2518762 h 6557032"/>
              <a:gd name="connsiteX5407" fmla="*/ 2930739 w 4610101"/>
              <a:gd name="connsiteY5407" fmla="*/ 2519515 h 6557032"/>
              <a:gd name="connsiteX5408" fmla="*/ 2930341 w 4610101"/>
              <a:gd name="connsiteY5408" fmla="*/ 2523615 h 6557032"/>
              <a:gd name="connsiteX5409" fmla="*/ 2930512 w 4610101"/>
              <a:gd name="connsiteY5409" fmla="*/ 2523653 h 6557032"/>
              <a:gd name="connsiteX5410" fmla="*/ 2931879 w 4610101"/>
              <a:gd name="connsiteY5410" fmla="*/ 2519097 h 6557032"/>
              <a:gd name="connsiteX5411" fmla="*/ 942064 w 4610101"/>
              <a:gd name="connsiteY5411" fmla="*/ 2515564 h 6557032"/>
              <a:gd name="connsiteX5412" fmla="*/ 958464 w 4610101"/>
              <a:gd name="connsiteY5412" fmla="*/ 2517380 h 6557032"/>
              <a:gd name="connsiteX5413" fmla="*/ 943886 w 4610101"/>
              <a:gd name="connsiteY5413" fmla="*/ 2531938 h 6557032"/>
              <a:gd name="connsiteX5414" fmla="*/ 3478531 w 4610101"/>
              <a:gd name="connsiteY5414" fmla="*/ 2515458 h 6557032"/>
              <a:gd name="connsiteX5415" fmla="*/ 3507686 w 4610101"/>
              <a:gd name="connsiteY5415" fmla="*/ 2539148 h 6557032"/>
              <a:gd name="connsiteX5416" fmla="*/ 3522263 w 4610101"/>
              <a:gd name="connsiteY5416" fmla="*/ 2568304 h 6557032"/>
              <a:gd name="connsiteX5417" fmla="*/ 3507686 w 4610101"/>
              <a:gd name="connsiteY5417" fmla="*/ 2568304 h 6557032"/>
              <a:gd name="connsiteX5418" fmla="*/ 3514974 w 4610101"/>
              <a:gd name="connsiteY5418" fmla="*/ 2591993 h 6557032"/>
              <a:gd name="connsiteX5419" fmla="*/ 3507686 w 4610101"/>
              <a:gd name="connsiteY5419" fmla="*/ 2591993 h 6557032"/>
              <a:gd name="connsiteX5420" fmla="*/ 3493108 w 4610101"/>
              <a:gd name="connsiteY5420" fmla="*/ 2575594 h 6557032"/>
              <a:gd name="connsiteX5421" fmla="*/ 3493108 w 4610101"/>
              <a:gd name="connsiteY5421" fmla="*/ 2568304 h 6557032"/>
              <a:gd name="connsiteX5422" fmla="*/ 3485820 w 4610101"/>
              <a:gd name="connsiteY5422" fmla="*/ 2568304 h 6557032"/>
              <a:gd name="connsiteX5423" fmla="*/ 3480775 w 4610101"/>
              <a:gd name="connsiteY5423" fmla="*/ 2559222 h 6557032"/>
              <a:gd name="connsiteX5424" fmla="*/ 3505864 w 4610101"/>
              <a:gd name="connsiteY5424" fmla="*/ 2561014 h 6557032"/>
              <a:gd name="connsiteX5425" fmla="*/ 3496753 w 4610101"/>
              <a:gd name="connsiteY5425" fmla="*/ 2544614 h 6557032"/>
              <a:gd name="connsiteX5426" fmla="*/ 3480624 w 4610101"/>
              <a:gd name="connsiteY5426" fmla="*/ 2558950 h 6557032"/>
              <a:gd name="connsiteX5427" fmla="*/ 3476709 w 4610101"/>
              <a:gd name="connsiteY5427" fmla="*/ 2551904 h 6557032"/>
              <a:gd name="connsiteX5428" fmla="*/ 3451197 w 4610101"/>
              <a:gd name="connsiteY5428" fmla="*/ 2520925 h 6557032"/>
              <a:gd name="connsiteX5429" fmla="*/ 2926412 w 4610101"/>
              <a:gd name="connsiteY5429" fmla="*/ 2515453 h 6557032"/>
              <a:gd name="connsiteX5430" fmla="*/ 2924590 w 4610101"/>
              <a:gd name="connsiteY5430" fmla="*/ 2522742 h 6557032"/>
              <a:gd name="connsiteX5431" fmla="*/ 2926412 w 4610101"/>
              <a:gd name="connsiteY5431" fmla="*/ 2522742 h 6557032"/>
              <a:gd name="connsiteX5432" fmla="*/ 2927467 w 4610101"/>
              <a:gd name="connsiteY5432" fmla="*/ 2522977 h 6557032"/>
              <a:gd name="connsiteX5433" fmla="*/ 2926411 w 4610101"/>
              <a:gd name="connsiteY5433" fmla="*/ 2521106 h 6557032"/>
              <a:gd name="connsiteX5434" fmla="*/ 2928006 w 4610101"/>
              <a:gd name="connsiteY5434" fmla="*/ 2520422 h 6557032"/>
              <a:gd name="connsiteX5435" fmla="*/ 2928186 w 4610101"/>
              <a:gd name="connsiteY5435" fmla="*/ 2516636 h 6557032"/>
              <a:gd name="connsiteX5436" fmla="*/ 2888147 w 4610101"/>
              <a:gd name="connsiteY5436" fmla="*/ 2501084 h 6557032"/>
              <a:gd name="connsiteX5437" fmla="*/ 2888147 w 4610101"/>
              <a:gd name="connsiteY5437" fmla="*/ 2513836 h 6557032"/>
              <a:gd name="connsiteX5438" fmla="*/ 2888147 w 4610101"/>
              <a:gd name="connsiteY5438" fmla="*/ 2501084 h 6557032"/>
              <a:gd name="connsiteX5439" fmla="*/ 2919123 w 4610101"/>
              <a:gd name="connsiteY5439" fmla="*/ 2500876 h 6557032"/>
              <a:gd name="connsiteX5440" fmla="*/ 2911835 w 4610101"/>
              <a:gd name="connsiteY5440" fmla="*/ 2502697 h 6557032"/>
              <a:gd name="connsiteX5441" fmla="*/ 2917301 w 4610101"/>
              <a:gd name="connsiteY5441" fmla="*/ 2508164 h 6557032"/>
              <a:gd name="connsiteX5442" fmla="*/ 2919123 w 4610101"/>
              <a:gd name="connsiteY5442" fmla="*/ 2500876 h 6557032"/>
              <a:gd name="connsiteX5443" fmla="*/ 1064151 w 4610101"/>
              <a:gd name="connsiteY5443" fmla="*/ 2500875 h 6557032"/>
              <a:gd name="connsiteX5444" fmla="*/ 1055040 w 4610101"/>
              <a:gd name="connsiteY5444" fmla="*/ 2515452 h 6557032"/>
              <a:gd name="connsiteX5445" fmla="*/ 1080549 w 4610101"/>
              <a:gd name="connsiteY5445" fmla="*/ 2513631 h 6557032"/>
              <a:gd name="connsiteX5446" fmla="*/ 4509882 w 4610101"/>
              <a:gd name="connsiteY5446" fmla="*/ 2493741 h 6557032"/>
              <a:gd name="connsiteX5447" fmla="*/ 4515348 w 4610101"/>
              <a:gd name="connsiteY5447" fmla="*/ 2506486 h 6557032"/>
              <a:gd name="connsiteX5448" fmla="*/ 4508059 w 4610101"/>
              <a:gd name="connsiteY5448" fmla="*/ 2517421 h 6557032"/>
              <a:gd name="connsiteX5449" fmla="*/ 4493481 w 4610101"/>
              <a:gd name="connsiteY5449" fmla="*/ 2502836 h 6557032"/>
              <a:gd name="connsiteX5450" fmla="*/ 3272626 w 4610101"/>
              <a:gd name="connsiteY5450" fmla="*/ 2484663 h 6557032"/>
              <a:gd name="connsiteX5451" fmla="*/ 3276270 w 4610101"/>
              <a:gd name="connsiteY5451" fmla="*/ 2490144 h 6557032"/>
              <a:gd name="connsiteX5452" fmla="*/ 3272626 w 4610101"/>
              <a:gd name="connsiteY5452" fmla="*/ 2491968 h 6557032"/>
              <a:gd name="connsiteX5453" fmla="*/ 3268981 w 4610101"/>
              <a:gd name="connsiteY5453" fmla="*/ 2490144 h 6557032"/>
              <a:gd name="connsiteX5454" fmla="*/ 2852342 w 4610101"/>
              <a:gd name="connsiteY5454" fmla="*/ 2480205 h 6557032"/>
              <a:gd name="connsiteX5455" fmla="*/ 2857168 w 4610101"/>
              <a:gd name="connsiteY5455" fmla="*/ 2485179 h 6557032"/>
              <a:gd name="connsiteX5456" fmla="*/ 2857168 w 4610101"/>
              <a:gd name="connsiteY5456" fmla="*/ 2481005 h 6557032"/>
              <a:gd name="connsiteX5457" fmla="*/ 3988739 w 4610101"/>
              <a:gd name="connsiteY5457" fmla="*/ 2479131 h 6557032"/>
              <a:gd name="connsiteX5458" fmla="*/ 4012428 w 4610101"/>
              <a:gd name="connsiteY5458" fmla="*/ 2479131 h 6557032"/>
              <a:gd name="connsiteX5459" fmla="*/ 4003317 w 4610101"/>
              <a:gd name="connsiteY5459" fmla="*/ 2493728 h 6557032"/>
              <a:gd name="connsiteX5460" fmla="*/ 599922 w 4610101"/>
              <a:gd name="connsiteY5460" fmla="*/ 2477221 h 6557032"/>
              <a:gd name="connsiteX5461" fmla="*/ 610429 w 4610101"/>
              <a:gd name="connsiteY5461" fmla="*/ 2484663 h 6557032"/>
              <a:gd name="connsiteX5462" fmla="*/ 603140 w 4610101"/>
              <a:gd name="connsiteY5462" fmla="*/ 2506523 h 6557032"/>
              <a:gd name="connsiteX5463" fmla="*/ 581273 w 4610101"/>
              <a:gd name="connsiteY5463" fmla="*/ 2506523 h 6557032"/>
              <a:gd name="connsiteX5464" fmla="*/ 572162 w 4610101"/>
              <a:gd name="connsiteY5464" fmla="*/ 2484663 h 6557032"/>
              <a:gd name="connsiteX5465" fmla="*/ 586741 w 4610101"/>
              <a:gd name="connsiteY5465" fmla="*/ 2477361 h 6557032"/>
              <a:gd name="connsiteX5466" fmla="*/ 599922 w 4610101"/>
              <a:gd name="connsiteY5466" fmla="*/ 2477221 h 6557032"/>
              <a:gd name="connsiteX5467" fmla="*/ 978508 w 4610101"/>
              <a:gd name="connsiteY5467" fmla="*/ 2475459 h 6557032"/>
              <a:gd name="connsiteX5468" fmla="*/ 980330 w 4610101"/>
              <a:gd name="connsiteY5468" fmla="*/ 2493694 h 6557032"/>
              <a:gd name="connsiteX5469" fmla="*/ 963930 w 4610101"/>
              <a:gd name="connsiteY5469" fmla="*/ 2491874 h 6557032"/>
              <a:gd name="connsiteX5470" fmla="*/ 1038639 w 4610101"/>
              <a:gd name="connsiteY5470" fmla="*/ 2469898 h 6557032"/>
              <a:gd name="connsiteX5471" fmla="*/ 1024062 w 4610101"/>
              <a:gd name="connsiteY5471" fmla="*/ 2484476 h 6557032"/>
              <a:gd name="connsiteX5472" fmla="*/ 1040462 w 4610101"/>
              <a:gd name="connsiteY5472" fmla="*/ 2486297 h 6557032"/>
              <a:gd name="connsiteX5473" fmla="*/ 3620659 w 4610101"/>
              <a:gd name="connsiteY5473" fmla="*/ 2455446 h 6557032"/>
              <a:gd name="connsiteX5474" fmla="*/ 3635237 w 4610101"/>
              <a:gd name="connsiteY5474" fmla="*/ 2455446 h 6557032"/>
              <a:gd name="connsiteX5475" fmla="*/ 3635237 w 4610101"/>
              <a:gd name="connsiteY5475" fmla="*/ 2477331 h 6557032"/>
              <a:gd name="connsiteX5476" fmla="*/ 3620659 w 4610101"/>
              <a:gd name="connsiteY5476" fmla="*/ 2477331 h 6557032"/>
              <a:gd name="connsiteX5477" fmla="*/ 974864 w 4610101"/>
              <a:gd name="connsiteY5477" fmla="*/ 2455446 h 6557032"/>
              <a:gd name="connsiteX5478" fmla="*/ 943886 w 4610101"/>
              <a:gd name="connsiteY5478" fmla="*/ 2486460 h 6557032"/>
              <a:gd name="connsiteX5479" fmla="*/ 974864 w 4610101"/>
              <a:gd name="connsiteY5479" fmla="*/ 2455446 h 6557032"/>
              <a:gd name="connsiteX5480" fmla="*/ 3416576 w 4610101"/>
              <a:gd name="connsiteY5480" fmla="*/ 2449861 h 6557032"/>
              <a:gd name="connsiteX5481" fmla="*/ 3423864 w 4610101"/>
              <a:gd name="connsiteY5481" fmla="*/ 2451685 h 6557032"/>
              <a:gd name="connsiteX5482" fmla="*/ 3411109 w 4610101"/>
              <a:gd name="connsiteY5482" fmla="*/ 2457151 h 6557032"/>
              <a:gd name="connsiteX5483" fmla="*/ 3709948 w 4610101"/>
              <a:gd name="connsiteY5483" fmla="*/ 2440843 h 6557032"/>
              <a:gd name="connsiteX5484" fmla="*/ 3717236 w 4610101"/>
              <a:gd name="connsiteY5484" fmla="*/ 2462719 h 6557032"/>
              <a:gd name="connsiteX5485" fmla="*/ 3695370 w 4610101"/>
              <a:gd name="connsiteY5485" fmla="*/ 2462719 h 6557032"/>
              <a:gd name="connsiteX5486" fmla="*/ 3700837 w 4610101"/>
              <a:gd name="connsiteY5486" fmla="*/ 2446308 h 6557032"/>
              <a:gd name="connsiteX5487" fmla="*/ 3709948 w 4610101"/>
              <a:gd name="connsiteY5487" fmla="*/ 2440843 h 6557032"/>
              <a:gd name="connsiteX5488" fmla="*/ 3700324 w 4610101"/>
              <a:gd name="connsiteY5488" fmla="*/ 2438364 h 6557032"/>
              <a:gd name="connsiteX5489" fmla="*/ 3700836 w 4610101"/>
              <a:gd name="connsiteY5489" fmla="*/ 2446308 h 6557032"/>
              <a:gd name="connsiteX5490" fmla="*/ 3700324 w 4610101"/>
              <a:gd name="connsiteY5490" fmla="*/ 2438364 h 6557032"/>
              <a:gd name="connsiteX5491" fmla="*/ 3403821 w 4610101"/>
              <a:gd name="connsiteY5491" fmla="*/ 2427993 h 6557032"/>
              <a:gd name="connsiteX5492" fmla="*/ 3401998 w 4610101"/>
              <a:gd name="connsiteY5492" fmla="*/ 2435282 h 6557032"/>
              <a:gd name="connsiteX5493" fmla="*/ 3378310 w 4610101"/>
              <a:gd name="connsiteY5493" fmla="*/ 2448037 h 6557032"/>
              <a:gd name="connsiteX5494" fmla="*/ 3385599 w 4610101"/>
              <a:gd name="connsiteY5494" fmla="*/ 2458970 h 6557032"/>
              <a:gd name="connsiteX5495" fmla="*/ 3394710 w 4610101"/>
              <a:gd name="connsiteY5495" fmla="*/ 2457148 h 6557032"/>
              <a:gd name="connsiteX5496" fmla="*/ 3392888 w 4610101"/>
              <a:gd name="connsiteY5496" fmla="*/ 2460793 h 6557032"/>
              <a:gd name="connsiteX5497" fmla="*/ 3400176 w 4610101"/>
              <a:gd name="connsiteY5497" fmla="*/ 2471725 h 6557032"/>
              <a:gd name="connsiteX5498" fmla="*/ 3401998 w 4610101"/>
              <a:gd name="connsiteY5498" fmla="*/ 2471725 h 6557032"/>
              <a:gd name="connsiteX5499" fmla="*/ 3428029 w 4610101"/>
              <a:gd name="connsiteY5499" fmla="*/ 2464785 h 6557032"/>
              <a:gd name="connsiteX5500" fmla="*/ 3427509 w 4610101"/>
              <a:gd name="connsiteY5500" fmla="*/ 2464438 h 6557032"/>
              <a:gd name="connsiteX5501" fmla="*/ 3453020 w 4610101"/>
              <a:gd name="connsiteY5501" fmla="*/ 2458971 h 6557032"/>
              <a:gd name="connsiteX5502" fmla="*/ 3438442 w 4610101"/>
              <a:gd name="connsiteY5502" fmla="*/ 2471726 h 6557032"/>
              <a:gd name="connsiteX5503" fmla="*/ 3429331 w 4610101"/>
              <a:gd name="connsiteY5503" fmla="*/ 2465653 h 6557032"/>
              <a:gd name="connsiteX5504" fmla="*/ 3429331 w 4610101"/>
              <a:gd name="connsiteY5504" fmla="*/ 2480836 h 6557032"/>
              <a:gd name="connsiteX5505" fmla="*/ 3398354 w 4610101"/>
              <a:gd name="connsiteY5505" fmla="*/ 2480836 h 6557032"/>
              <a:gd name="connsiteX5506" fmla="*/ 3398354 w 4610101"/>
              <a:gd name="connsiteY5506" fmla="*/ 2502704 h 6557032"/>
              <a:gd name="connsiteX5507" fmla="*/ 3412932 w 4610101"/>
              <a:gd name="connsiteY5507" fmla="*/ 2502704 h 6557032"/>
              <a:gd name="connsiteX5508" fmla="*/ 3412932 w 4610101"/>
              <a:gd name="connsiteY5508" fmla="*/ 2488126 h 6557032"/>
              <a:gd name="connsiteX5509" fmla="*/ 3416576 w 4610101"/>
              <a:gd name="connsiteY5509" fmla="*/ 2489947 h 6557032"/>
              <a:gd name="connsiteX5510" fmla="*/ 3414754 w 4610101"/>
              <a:gd name="connsiteY5510" fmla="*/ 2489947 h 6557032"/>
              <a:gd name="connsiteX5511" fmla="*/ 3422043 w 4610101"/>
              <a:gd name="connsiteY5511" fmla="*/ 2497236 h 6557032"/>
              <a:gd name="connsiteX5512" fmla="*/ 3431153 w 4610101"/>
              <a:gd name="connsiteY5512" fmla="*/ 2493592 h 6557032"/>
              <a:gd name="connsiteX5513" fmla="*/ 3434798 w 4610101"/>
              <a:gd name="connsiteY5513" fmla="*/ 2495413 h 6557032"/>
              <a:gd name="connsiteX5514" fmla="*/ 3436620 w 4610101"/>
              <a:gd name="connsiteY5514" fmla="*/ 2499059 h 6557032"/>
              <a:gd name="connsiteX5515" fmla="*/ 3414754 w 4610101"/>
              <a:gd name="connsiteY5515" fmla="*/ 2511814 h 6557032"/>
              <a:gd name="connsiteX5516" fmla="*/ 3422043 w 4610101"/>
              <a:gd name="connsiteY5516" fmla="*/ 2517281 h 6557032"/>
              <a:gd name="connsiteX5517" fmla="*/ 3432975 w 4610101"/>
              <a:gd name="connsiteY5517" fmla="*/ 2511814 h 6557032"/>
              <a:gd name="connsiteX5518" fmla="*/ 3431153 w 4610101"/>
              <a:gd name="connsiteY5518" fmla="*/ 2520924 h 6557032"/>
              <a:gd name="connsiteX5519" fmla="*/ 3436620 w 4610101"/>
              <a:gd name="connsiteY5519" fmla="*/ 2528215 h 6557032"/>
              <a:gd name="connsiteX5520" fmla="*/ 3411109 w 4610101"/>
              <a:gd name="connsiteY5520" fmla="*/ 2531859 h 6557032"/>
              <a:gd name="connsiteX5521" fmla="*/ 3416576 w 4610101"/>
              <a:gd name="connsiteY5521" fmla="*/ 2539148 h 6557032"/>
              <a:gd name="connsiteX5522" fmla="*/ 3432975 w 4610101"/>
              <a:gd name="connsiteY5522" fmla="*/ 2539148 h 6557032"/>
              <a:gd name="connsiteX5523" fmla="*/ 3447553 w 4610101"/>
              <a:gd name="connsiteY5523" fmla="*/ 2540969 h 6557032"/>
              <a:gd name="connsiteX5524" fmla="*/ 3454842 w 4610101"/>
              <a:gd name="connsiteY5524" fmla="*/ 2550081 h 6557032"/>
              <a:gd name="connsiteX5525" fmla="*/ 3449375 w 4610101"/>
              <a:gd name="connsiteY5525" fmla="*/ 2550081 h 6557032"/>
              <a:gd name="connsiteX5526" fmla="*/ 3447553 w 4610101"/>
              <a:gd name="connsiteY5526" fmla="*/ 2548259 h 6557032"/>
              <a:gd name="connsiteX5527" fmla="*/ 3447553 w 4610101"/>
              <a:gd name="connsiteY5527" fmla="*/ 2550081 h 6557032"/>
              <a:gd name="connsiteX5528" fmla="*/ 3438442 w 4610101"/>
              <a:gd name="connsiteY5528" fmla="*/ 2548259 h 6557032"/>
              <a:gd name="connsiteX5529" fmla="*/ 3416576 w 4610101"/>
              <a:gd name="connsiteY5529" fmla="*/ 2544614 h 6557032"/>
              <a:gd name="connsiteX5530" fmla="*/ 3418398 w 4610101"/>
              <a:gd name="connsiteY5530" fmla="*/ 2548259 h 6557032"/>
              <a:gd name="connsiteX5531" fmla="*/ 3398354 w 4610101"/>
              <a:gd name="connsiteY5531" fmla="*/ 2553725 h 6557032"/>
              <a:gd name="connsiteX5532" fmla="*/ 3394710 w 4610101"/>
              <a:gd name="connsiteY5532" fmla="*/ 2553725 h 6557032"/>
              <a:gd name="connsiteX5533" fmla="*/ 3394710 w 4610101"/>
              <a:gd name="connsiteY5533" fmla="*/ 2539148 h 6557032"/>
              <a:gd name="connsiteX5534" fmla="*/ 3380132 w 4610101"/>
              <a:gd name="connsiteY5534" fmla="*/ 2548259 h 6557032"/>
              <a:gd name="connsiteX5535" fmla="*/ 3372844 w 4610101"/>
              <a:gd name="connsiteY5535" fmla="*/ 2548259 h 6557032"/>
              <a:gd name="connsiteX5536" fmla="*/ 3350978 w 4610101"/>
              <a:gd name="connsiteY5536" fmla="*/ 2533680 h 6557032"/>
              <a:gd name="connsiteX5537" fmla="*/ 3350978 w 4610101"/>
              <a:gd name="connsiteY5537" fmla="*/ 2548259 h 6557032"/>
              <a:gd name="connsiteX5538" fmla="*/ 3372844 w 4610101"/>
              <a:gd name="connsiteY5538" fmla="*/ 2548259 h 6557032"/>
              <a:gd name="connsiteX5539" fmla="*/ 3365555 w 4610101"/>
              <a:gd name="connsiteY5539" fmla="*/ 2562835 h 6557032"/>
              <a:gd name="connsiteX5540" fmla="*/ 3380132 w 4610101"/>
              <a:gd name="connsiteY5540" fmla="*/ 2562835 h 6557032"/>
              <a:gd name="connsiteX5541" fmla="*/ 3380132 w 4610101"/>
              <a:gd name="connsiteY5541" fmla="*/ 2548259 h 6557032"/>
              <a:gd name="connsiteX5542" fmla="*/ 3392888 w 4610101"/>
              <a:gd name="connsiteY5542" fmla="*/ 2553725 h 6557032"/>
              <a:gd name="connsiteX5543" fmla="*/ 3394710 w 4610101"/>
              <a:gd name="connsiteY5543" fmla="*/ 2555546 h 6557032"/>
              <a:gd name="connsiteX5544" fmla="*/ 3409287 w 4610101"/>
              <a:gd name="connsiteY5544" fmla="*/ 2561014 h 6557032"/>
              <a:gd name="connsiteX5545" fmla="*/ 3438442 w 4610101"/>
              <a:gd name="connsiteY5545" fmla="*/ 2570125 h 6557032"/>
              <a:gd name="connsiteX5546" fmla="*/ 3425687 w 4610101"/>
              <a:gd name="connsiteY5546" fmla="*/ 2570125 h 6557032"/>
              <a:gd name="connsiteX5547" fmla="*/ 3422043 w 4610101"/>
              <a:gd name="connsiteY5547" fmla="*/ 2573768 h 6557032"/>
              <a:gd name="connsiteX5548" fmla="*/ 3392888 w 4610101"/>
              <a:gd name="connsiteY5548" fmla="*/ 2568302 h 6557032"/>
              <a:gd name="connsiteX5549" fmla="*/ 3392305 w 4610101"/>
              <a:gd name="connsiteY5549" fmla="*/ 2570169 h 6557032"/>
              <a:gd name="connsiteX5550" fmla="*/ 3389243 w 4610101"/>
              <a:gd name="connsiteY5550" fmla="*/ 2564656 h 6557032"/>
              <a:gd name="connsiteX5551" fmla="*/ 3374666 w 4610101"/>
              <a:gd name="connsiteY5551" fmla="*/ 2579236 h 6557032"/>
              <a:gd name="connsiteX5552" fmla="*/ 3340045 w 4610101"/>
              <a:gd name="connsiteY5552" fmla="*/ 2550081 h 6557032"/>
              <a:gd name="connsiteX5553" fmla="*/ 3333025 w 4610101"/>
              <a:gd name="connsiteY5553" fmla="*/ 2540969 h 6557032"/>
              <a:gd name="connsiteX5554" fmla="*/ 3332757 w 4610101"/>
              <a:gd name="connsiteY5554" fmla="*/ 2541118 h 6557032"/>
              <a:gd name="connsiteX5555" fmla="*/ 3332757 w 4610101"/>
              <a:gd name="connsiteY5555" fmla="*/ 2540621 h 6557032"/>
              <a:gd name="connsiteX5556" fmla="*/ 3318634 w 4610101"/>
              <a:gd name="connsiteY5556" fmla="*/ 2522291 h 6557032"/>
              <a:gd name="connsiteX5557" fmla="*/ 3316463 w 4610101"/>
              <a:gd name="connsiteY5557" fmla="*/ 2520039 h 6557032"/>
              <a:gd name="connsiteX5558" fmla="*/ 3314535 w 4610101"/>
              <a:gd name="connsiteY5558" fmla="*/ 2522923 h 6557032"/>
              <a:gd name="connsiteX5559" fmla="*/ 3309068 w 4610101"/>
              <a:gd name="connsiteY5559" fmla="*/ 2517470 h 6557032"/>
              <a:gd name="connsiteX5560" fmla="*/ 3312795 w 4610101"/>
              <a:gd name="connsiteY5560" fmla="*/ 2516231 h 6557032"/>
              <a:gd name="connsiteX5561" fmla="*/ 3294490 w 4610101"/>
              <a:gd name="connsiteY5561" fmla="*/ 2497236 h 6557032"/>
              <a:gd name="connsiteX5562" fmla="*/ 3272624 w 4610101"/>
              <a:gd name="connsiteY5562" fmla="*/ 2482660 h 6557032"/>
              <a:gd name="connsiteX5563" fmla="*/ 3361911 w 4610101"/>
              <a:gd name="connsiteY5563" fmla="*/ 2442570 h 6557032"/>
              <a:gd name="connsiteX5564" fmla="*/ 3352800 w 4610101"/>
              <a:gd name="connsiteY5564" fmla="*/ 2451682 h 6557032"/>
              <a:gd name="connsiteX5565" fmla="*/ 3369199 w 4610101"/>
              <a:gd name="connsiteY5565" fmla="*/ 2460793 h 6557032"/>
              <a:gd name="connsiteX5566" fmla="*/ 3367377 w 4610101"/>
              <a:gd name="connsiteY5566" fmla="*/ 2440748 h 6557032"/>
              <a:gd name="connsiteX5567" fmla="*/ 3403821 w 4610101"/>
              <a:gd name="connsiteY5567" fmla="*/ 2427993 h 6557032"/>
              <a:gd name="connsiteX5568" fmla="*/ 3467597 w 4610101"/>
              <a:gd name="connsiteY5568" fmla="*/ 2424435 h 6557032"/>
              <a:gd name="connsiteX5569" fmla="*/ 3483997 w 4610101"/>
              <a:gd name="connsiteY5569" fmla="*/ 2424435 h 6557032"/>
              <a:gd name="connsiteX5570" fmla="*/ 3482175 w 4610101"/>
              <a:gd name="connsiteY5570" fmla="*/ 2448122 h 6557032"/>
              <a:gd name="connsiteX5571" fmla="*/ 1024062 w 4610101"/>
              <a:gd name="connsiteY5571" fmla="*/ 2417055 h 6557032"/>
              <a:gd name="connsiteX5572" fmla="*/ 1033173 w 4610101"/>
              <a:gd name="connsiteY5572" fmla="*/ 2431632 h 6557032"/>
              <a:gd name="connsiteX5573" fmla="*/ 1007663 w 4610101"/>
              <a:gd name="connsiteY5573" fmla="*/ 2433454 h 6557032"/>
              <a:gd name="connsiteX5574" fmla="*/ 1033173 w 4610101"/>
              <a:gd name="connsiteY5574" fmla="*/ 2455321 h 6557032"/>
              <a:gd name="connsiteX5575" fmla="*/ 1047750 w 4610101"/>
              <a:gd name="connsiteY5575" fmla="*/ 2417055 h 6557032"/>
              <a:gd name="connsiteX5576" fmla="*/ 3454841 w 4610101"/>
              <a:gd name="connsiteY5576" fmla="*/ 2415238 h 6557032"/>
              <a:gd name="connsiteX5577" fmla="*/ 3458486 w 4610101"/>
              <a:gd name="connsiteY5577" fmla="*/ 2415238 h 6557032"/>
              <a:gd name="connsiteX5578" fmla="*/ 3460308 w 4610101"/>
              <a:gd name="connsiteY5578" fmla="*/ 2417060 h 6557032"/>
              <a:gd name="connsiteX5579" fmla="*/ 3454841 w 4610101"/>
              <a:gd name="connsiteY5579" fmla="*/ 2417060 h 6557032"/>
              <a:gd name="connsiteX5580" fmla="*/ 3451197 w 4610101"/>
              <a:gd name="connsiteY5580" fmla="*/ 2422527 h 6557032"/>
              <a:gd name="connsiteX5581" fmla="*/ 3427509 w 4610101"/>
              <a:gd name="connsiteY5581" fmla="*/ 2426171 h 6557032"/>
              <a:gd name="connsiteX5582" fmla="*/ 3423864 w 4610101"/>
              <a:gd name="connsiteY5582" fmla="*/ 2427993 h 6557032"/>
              <a:gd name="connsiteX5583" fmla="*/ 3423864 w 4610101"/>
              <a:gd name="connsiteY5583" fmla="*/ 2420705 h 6557032"/>
              <a:gd name="connsiteX5584" fmla="*/ 3454841 w 4610101"/>
              <a:gd name="connsiteY5584" fmla="*/ 2415238 h 6557032"/>
              <a:gd name="connsiteX5585" fmla="*/ 973043 w 4610101"/>
              <a:gd name="connsiteY5585" fmla="*/ 2409914 h 6557032"/>
              <a:gd name="connsiteX5586" fmla="*/ 973043 w 4610101"/>
              <a:gd name="connsiteY5586" fmla="*/ 2446336 h 6557032"/>
              <a:gd name="connsiteX5587" fmla="*/ 942064 w 4610101"/>
              <a:gd name="connsiteY5587" fmla="*/ 2431761 h 6557032"/>
              <a:gd name="connsiteX5588" fmla="*/ 958464 w 4610101"/>
              <a:gd name="connsiteY5588" fmla="*/ 2424480 h 6557032"/>
              <a:gd name="connsiteX5589" fmla="*/ 3378310 w 4610101"/>
              <a:gd name="connsiteY5589" fmla="*/ 2409773 h 6557032"/>
              <a:gd name="connsiteX5590" fmla="*/ 3394710 w 4610101"/>
              <a:gd name="connsiteY5590" fmla="*/ 2409773 h 6557032"/>
              <a:gd name="connsiteX5591" fmla="*/ 3378310 w 4610101"/>
              <a:gd name="connsiteY5591" fmla="*/ 2415239 h 6557032"/>
              <a:gd name="connsiteX5592" fmla="*/ 3398354 w 4610101"/>
              <a:gd name="connsiteY5592" fmla="*/ 2400661 h 6557032"/>
              <a:gd name="connsiteX5593" fmla="*/ 3407465 w 4610101"/>
              <a:gd name="connsiteY5593" fmla="*/ 2406130 h 6557032"/>
              <a:gd name="connsiteX5594" fmla="*/ 3400177 w 4610101"/>
              <a:gd name="connsiteY5594" fmla="*/ 2407952 h 6557032"/>
              <a:gd name="connsiteX5595" fmla="*/ 3398354 w 4610101"/>
              <a:gd name="connsiteY5595" fmla="*/ 2400661 h 6557032"/>
              <a:gd name="connsiteX5596" fmla="*/ 4610101 w 4610101"/>
              <a:gd name="connsiteY5596" fmla="*/ 2397152 h 6557032"/>
              <a:gd name="connsiteX5597" fmla="*/ 4586412 w 4610101"/>
              <a:gd name="connsiteY5597" fmla="*/ 2419001 h 6557032"/>
              <a:gd name="connsiteX5598" fmla="*/ 4577301 w 4610101"/>
              <a:gd name="connsiteY5598" fmla="*/ 2400794 h 6557032"/>
              <a:gd name="connsiteX5599" fmla="*/ 3802877 w 4610101"/>
              <a:gd name="connsiteY5599" fmla="*/ 2393469 h 6557032"/>
              <a:gd name="connsiteX5600" fmla="*/ 3815632 w 4610101"/>
              <a:gd name="connsiteY5600" fmla="*/ 2409862 h 6557032"/>
              <a:gd name="connsiteX5601" fmla="*/ 3801055 w 4610101"/>
              <a:gd name="connsiteY5601" fmla="*/ 2418968 h 6557032"/>
              <a:gd name="connsiteX5602" fmla="*/ 3469419 w 4610101"/>
              <a:gd name="connsiteY5602" fmla="*/ 2393369 h 6557032"/>
              <a:gd name="connsiteX5603" fmla="*/ 3483996 w 4610101"/>
              <a:gd name="connsiteY5603" fmla="*/ 2402481 h 6557032"/>
              <a:gd name="connsiteX5604" fmla="*/ 3476707 w 4610101"/>
              <a:gd name="connsiteY5604" fmla="*/ 2413414 h 6557032"/>
              <a:gd name="connsiteX5605" fmla="*/ 3463952 w 4610101"/>
              <a:gd name="connsiteY5605" fmla="*/ 2402481 h 6557032"/>
              <a:gd name="connsiteX5606" fmla="*/ 3163294 w 4610101"/>
              <a:gd name="connsiteY5606" fmla="*/ 2389901 h 6557032"/>
              <a:gd name="connsiteX5607" fmla="*/ 3172404 w 4610101"/>
              <a:gd name="connsiteY5607" fmla="*/ 2404465 h 6557032"/>
              <a:gd name="connsiteX5608" fmla="*/ 3161471 w 4610101"/>
              <a:gd name="connsiteY5608" fmla="*/ 2399004 h 6557032"/>
              <a:gd name="connsiteX5609" fmla="*/ 3163294 w 4610101"/>
              <a:gd name="connsiteY5609" fmla="*/ 2389901 h 6557032"/>
              <a:gd name="connsiteX5610" fmla="*/ 3553240 w 4610101"/>
              <a:gd name="connsiteY5610" fmla="*/ 2386260 h 6557032"/>
              <a:gd name="connsiteX5611" fmla="*/ 3565995 w 4610101"/>
              <a:gd name="connsiteY5611" fmla="*/ 2402644 h 6557032"/>
              <a:gd name="connsiteX5612" fmla="*/ 3544129 w 4610101"/>
              <a:gd name="connsiteY5612" fmla="*/ 2402644 h 6557032"/>
              <a:gd name="connsiteX5613" fmla="*/ 3513152 w 4610101"/>
              <a:gd name="connsiteY5613" fmla="*/ 2426311 h 6557032"/>
              <a:gd name="connsiteX5614" fmla="*/ 3553240 w 4610101"/>
              <a:gd name="connsiteY5614" fmla="*/ 2386260 h 6557032"/>
              <a:gd name="connsiteX5615" fmla="*/ 3493108 w 4610101"/>
              <a:gd name="connsiteY5615" fmla="*/ 2386190 h 6557032"/>
              <a:gd name="connsiteX5616" fmla="*/ 3505863 w 4610101"/>
              <a:gd name="connsiteY5616" fmla="*/ 2402580 h 6557032"/>
              <a:gd name="connsiteX5617" fmla="*/ 3483997 w 4610101"/>
              <a:gd name="connsiteY5617" fmla="*/ 2402580 h 6557032"/>
              <a:gd name="connsiteX5618" fmla="*/ 2993832 w 4610101"/>
              <a:gd name="connsiteY5618" fmla="*/ 2373324 h 6557032"/>
              <a:gd name="connsiteX5619" fmla="*/ 2992010 w 4610101"/>
              <a:gd name="connsiteY5619" fmla="*/ 2380613 h 6557032"/>
              <a:gd name="connsiteX5620" fmla="*/ 2993832 w 4610101"/>
              <a:gd name="connsiteY5620" fmla="*/ 2373324 h 6557032"/>
              <a:gd name="connsiteX5621" fmla="*/ 3005449 w 4610101"/>
              <a:gd name="connsiteY5621" fmla="*/ 2367859 h 6557032"/>
              <a:gd name="connsiteX5622" fmla="*/ 3001121 w 4610101"/>
              <a:gd name="connsiteY5622" fmla="*/ 2369681 h 6557032"/>
              <a:gd name="connsiteX5623" fmla="*/ 3008410 w 4610101"/>
              <a:gd name="connsiteY5623" fmla="*/ 2371502 h 6557032"/>
              <a:gd name="connsiteX5624" fmla="*/ 3005449 w 4610101"/>
              <a:gd name="connsiteY5624" fmla="*/ 2367859 h 6557032"/>
              <a:gd name="connsiteX5625" fmla="*/ 3844788 w 4610101"/>
              <a:gd name="connsiteY5625" fmla="*/ 2364404 h 6557032"/>
              <a:gd name="connsiteX5626" fmla="*/ 3890343 w 4610101"/>
              <a:gd name="connsiteY5626" fmla="*/ 2378978 h 6557032"/>
              <a:gd name="connsiteX5627" fmla="*/ 3875765 w 4610101"/>
              <a:gd name="connsiteY5627" fmla="*/ 2424492 h 6557032"/>
              <a:gd name="connsiteX5628" fmla="*/ 3853899 w 4610101"/>
              <a:gd name="connsiteY5628" fmla="*/ 2417208 h 6557032"/>
              <a:gd name="connsiteX5629" fmla="*/ 3848433 w 4610101"/>
              <a:gd name="connsiteY5629" fmla="*/ 2411748 h 6557032"/>
              <a:gd name="connsiteX5630" fmla="*/ 3853899 w 4610101"/>
              <a:gd name="connsiteY5630" fmla="*/ 2402644 h 6557032"/>
              <a:gd name="connsiteX5631" fmla="*/ 3846611 w 4610101"/>
              <a:gd name="connsiteY5631" fmla="*/ 2395365 h 6557032"/>
              <a:gd name="connsiteX5632" fmla="*/ 3853899 w 4610101"/>
              <a:gd name="connsiteY5632" fmla="*/ 2378978 h 6557032"/>
              <a:gd name="connsiteX5633" fmla="*/ 3620659 w 4610101"/>
              <a:gd name="connsiteY5633" fmla="*/ 2364349 h 6557032"/>
              <a:gd name="connsiteX5634" fmla="*/ 3635237 w 4610101"/>
              <a:gd name="connsiteY5634" fmla="*/ 2364349 h 6557032"/>
              <a:gd name="connsiteX5635" fmla="*/ 3620659 w 4610101"/>
              <a:gd name="connsiteY5635" fmla="*/ 2386211 h 6557032"/>
              <a:gd name="connsiteX5636" fmla="*/ 918376 w 4610101"/>
              <a:gd name="connsiteY5636" fmla="*/ 2364313 h 6557032"/>
              <a:gd name="connsiteX5637" fmla="*/ 918376 w 4610101"/>
              <a:gd name="connsiteY5637" fmla="*/ 2380712 h 6557032"/>
              <a:gd name="connsiteX5638" fmla="*/ 901976 w 4610101"/>
              <a:gd name="connsiteY5638" fmla="*/ 2366133 h 6557032"/>
              <a:gd name="connsiteX5639" fmla="*/ 3793766 w 4610101"/>
              <a:gd name="connsiteY5639" fmla="*/ 2364306 h 6557032"/>
              <a:gd name="connsiteX5640" fmla="*/ 3810166 w 4610101"/>
              <a:gd name="connsiteY5640" fmla="*/ 2366124 h 6557032"/>
              <a:gd name="connsiteX5641" fmla="*/ 3795589 w 4610101"/>
              <a:gd name="connsiteY5641" fmla="*/ 2380703 h 6557032"/>
              <a:gd name="connsiteX5642" fmla="*/ 976687 w 4610101"/>
              <a:gd name="connsiteY5642" fmla="*/ 2364220 h 6557032"/>
              <a:gd name="connsiteX5643" fmla="*/ 978509 w 4610101"/>
              <a:gd name="connsiteY5643" fmla="*/ 2371509 h 6557032"/>
              <a:gd name="connsiteX5644" fmla="*/ 971219 w 4610101"/>
              <a:gd name="connsiteY5644" fmla="*/ 2369687 h 6557032"/>
              <a:gd name="connsiteX5645" fmla="*/ 942064 w 4610101"/>
              <a:gd name="connsiteY5645" fmla="*/ 2406131 h 6557032"/>
              <a:gd name="connsiteX5646" fmla="*/ 931131 w 4610101"/>
              <a:gd name="connsiteY5646" fmla="*/ 2398841 h 6557032"/>
              <a:gd name="connsiteX5647" fmla="*/ 938420 w 4610101"/>
              <a:gd name="connsiteY5647" fmla="*/ 2391553 h 6557032"/>
              <a:gd name="connsiteX5648" fmla="*/ 942064 w 4610101"/>
              <a:gd name="connsiteY5648" fmla="*/ 2391553 h 6557032"/>
              <a:gd name="connsiteX5649" fmla="*/ 942064 w 4610101"/>
              <a:gd name="connsiteY5649" fmla="*/ 2387909 h 6557032"/>
              <a:gd name="connsiteX5650" fmla="*/ 951175 w 4610101"/>
              <a:gd name="connsiteY5650" fmla="*/ 2378798 h 6557032"/>
              <a:gd name="connsiteX5651" fmla="*/ 960286 w 4610101"/>
              <a:gd name="connsiteY5651" fmla="*/ 2369687 h 6557032"/>
              <a:gd name="connsiteX5652" fmla="*/ 976687 w 4610101"/>
              <a:gd name="connsiteY5652" fmla="*/ 2364220 h 6557032"/>
              <a:gd name="connsiteX5653" fmla="*/ 3015698 w 4610101"/>
              <a:gd name="connsiteY5653" fmla="*/ 2364213 h 6557032"/>
              <a:gd name="connsiteX5654" fmla="*/ 3013876 w 4610101"/>
              <a:gd name="connsiteY5654" fmla="*/ 2371502 h 6557032"/>
              <a:gd name="connsiteX5655" fmla="*/ 3015698 w 4610101"/>
              <a:gd name="connsiteY5655" fmla="*/ 2364213 h 6557032"/>
              <a:gd name="connsiteX5656" fmla="*/ 974863 w 4610101"/>
              <a:gd name="connsiteY5656" fmla="*/ 2360586 h 6557032"/>
              <a:gd name="connsiteX5657" fmla="*/ 971219 w 4610101"/>
              <a:gd name="connsiteY5657" fmla="*/ 2362408 h 6557032"/>
              <a:gd name="connsiteX5658" fmla="*/ 971194 w 4610101"/>
              <a:gd name="connsiteY5658" fmla="*/ 2362332 h 6557032"/>
              <a:gd name="connsiteX5659" fmla="*/ 3021165 w 4610101"/>
              <a:gd name="connsiteY5659" fmla="*/ 2360569 h 6557032"/>
              <a:gd name="connsiteX5660" fmla="*/ 3022987 w 4610101"/>
              <a:gd name="connsiteY5660" fmla="*/ 2366036 h 6557032"/>
              <a:gd name="connsiteX5661" fmla="*/ 3024809 w 4610101"/>
              <a:gd name="connsiteY5661" fmla="*/ 2366036 h 6557032"/>
              <a:gd name="connsiteX5662" fmla="*/ 3021165 w 4610101"/>
              <a:gd name="connsiteY5662" fmla="*/ 2360569 h 6557032"/>
              <a:gd name="connsiteX5663" fmla="*/ 3354623 w 4610101"/>
              <a:gd name="connsiteY5663" fmla="*/ 2360568 h 6557032"/>
              <a:gd name="connsiteX5664" fmla="*/ 3327291 w 4610101"/>
              <a:gd name="connsiteY5664" fmla="*/ 2366035 h 6557032"/>
              <a:gd name="connsiteX5665" fmla="*/ 3236182 w 4610101"/>
              <a:gd name="connsiteY5665" fmla="*/ 2402478 h 6557032"/>
              <a:gd name="connsiteX5666" fmla="*/ 3243470 w 4610101"/>
              <a:gd name="connsiteY5666" fmla="*/ 2407945 h 6557032"/>
              <a:gd name="connsiteX5667" fmla="*/ 3327291 w 4610101"/>
              <a:gd name="connsiteY5667" fmla="*/ 2380612 h 6557032"/>
              <a:gd name="connsiteX5668" fmla="*/ 3402000 w 4610101"/>
              <a:gd name="connsiteY5668" fmla="*/ 2373323 h 6557032"/>
              <a:gd name="connsiteX5669" fmla="*/ 3396533 w 4610101"/>
              <a:gd name="connsiteY5669" fmla="*/ 2375146 h 6557032"/>
              <a:gd name="connsiteX5670" fmla="*/ 3372845 w 4610101"/>
              <a:gd name="connsiteY5670" fmla="*/ 2375146 h 6557032"/>
              <a:gd name="connsiteX5671" fmla="*/ 3374667 w 4610101"/>
              <a:gd name="connsiteY5671" fmla="*/ 2378791 h 6557032"/>
              <a:gd name="connsiteX5672" fmla="*/ 3345512 w 4610101"/>
              <a:gd name="connsiteY5672" fmla="*/ 2386079 h 6557032"/>
              <a:gd name="connsiteX5673" fmla="*/ 3341868 w 4610101"/>
              <a:gd name="connsiteY5673" fmla="*/ 2380612 h 6557032"/>
              <a:gd name="connsiteX5674" fmla="*/ 3332757 w 4610101"/>
              <a:gd name="connsiteY5674" fmla="*/ 2389723 h 6557032"/>
              <a:gd name="connsiteX5675" fmla="*/ 3290847 w 4610101"/>
              <a:gd name="connsiteY5675" fmla="*/ 2402478 h 6557032"/>
              <a:gd name="connsiteX5676" fmla="*/ 3294491 w 4610101"/>
              <a:gd name="connsiteY5676" fmla="*/ 2407945 h 6557032"/>
              <a:gd name="connsiteX5677" fmla="*/ 3347334 w 4610101"/>
              <a:gd name="connsiteY5677" fmla="*/ 2395190 h 6557032"/>
              <a:gd name="connsiteX5678" fmla="*/ 3352801 w 4610101"/>
              <a:gd name="connsiteY5678" fmla="*/ 2395190 h 6557032"/>
              <a:gd name="connsiteX5679" fmla="*/ 3352801 w 4610101"/>
              <a:gd name="connsiteY5679" fmla="*/ 2393367 h 6557032"/>
              <a:gd name="connsiteX5680" fmla="*/ 3369200 w 4610101"/>
              <a:gd name="connsiteY5680" fmla="*/ 2389723 h 6557032"/>
              <a:gd name="connsiteX5681" fmla="*/ 3380133 w 4610101"/>
              <a:gd name="connsiteY5681" fmla="*/ 2387901 h 6557032"/>
              <a:gd name="connsiteX5682" fmla="*/ 3371023 w 4610101"/>
              <a:gd name="connsiteY5682" fmla="*/ 2393367 h 6557032"/>
              <a:gd name="connsiteX5683" fmla="*/ 3312713 w 4610101"/>
              <a:gd name="connsiteY5683" fmla="*/ 2417056 h 6557032"/>
              <a:gd name="connsiteX5684" fmla="*/ 3318180 w 4610101"/>
              <a:gd name="connsiteY5684" fmla="*/ 2426166 h 6557032"/>
              <a:gd name="connsiteX5685" fmla="*/ 3361912 w 4610101"/>
              <a:gd name="connsiteY5685" fmla="*/ 2409767 h 6557032"/>
              <a:gd name="connsiteX5686" fmla="*/ 3363734 w 4610101"/>
              <a:gd name="connsiteY5686" fmla="*/ 2417056 h 6557032"/>
              <a:gd name="connsiteX5687" fmla="*/ 3329113 w 4610101"/>
              <a:gd name="connsiteY5687" fmla="*/ 2431634 h 6557032"/>
              <a:gd name="connsiteX5688" fmla="*/ 3332757 w 4610101"/>
              <a:gd name="connsiteY5688" fmla="*/ 2437101 h 6557032"/>
              <a:gd name="connsiteX5689" fmla="*/ 3245293 w 4610101"/>
              <a:gd name="connsiteY5689" fmla="*/ 2477188 h 6557032"/>
              <a:gd name="connsiteX5690" fmla="*/ 3247115 w 4610101"/>
              <a:gd name="connsiteY5690" fmla="*/ 2489943 h 6557032"/>
              <a:gd name="connsiteX5691" fmla="*/ 3292669 w 4610101"/>
              <a:gd name="connsiteY5691" fmla="*/ 2519098 h 6557032"/>
              <a:gd name="connsiteX5692" fmla="*/ 3292829 w 4610101"/>
              <a:gd name="connsiteY5692" fmla="*/ 2519284 h 6557032"/>
              <a:gd name="connsiteX5693" fmla="*/ 3294491 w 4610101"/>
              <a:gd name="connsiteY5693" fmla="*/ 2519284 h 6557032"/>
              <a:gd name="connsiteX5694" fmla="*/ 3294491 w 4610101"/>
              <a:gd name="connsiteY5694" fmla="*/ 2521207 h 6557032"/>
              <a:gd name="connsiteX5695" fmla="*/ 3317269 w 4610101"/>
              <a:gd name="connsiteY5695" fmla="*/ 2547569 h 6557032"/>
              <a:gd name="connsiteX5696" fmla="*/ 3326428 w 4610101"/>
              <a:gd name="connsiteY5696" fmla="*/ 2558679 h 6557032"/>
              <a:gd name="connsiteX5697" fmla="*/ 3327290 w 4610101"/>
              <a:gd name="connsiteY5697" fmla="*/ 2557530 h 6557032"/>
              <a:gd name="connsiteX5698" fmla="*/ 3334578 w 4610101"/>
              <a:gd name="connsiteY5698" fmla="*/ 2566624 h 6557032"/>
              <a:gd name="connsiteX5699" fmla="*/ 3334578 w 4610101"/>
              <a:gd name="connsiteY5699" fmla="*/ 2568442 h 6557032"/>
              <a:gd name="connsiteX5700" fmla="*/ 3334569 w 4610101"/>
              <a:gd name="connsiteY5700" fmla="*/ 2568554 h 6557032"/>
              <a:gd name="connsiteX5701" fmla="*/ 3341868 w 4610101"/>
              <a:gd name="connsiteY5701" fmla="*/ 2577408 h 6557032"/>
              <a:gd name="connsiteX5702" fmla="*/ 3374667 w 4610101"/>
              <a:gd name="connsiteY5702" fmla="*/ 2599273 h 6557032"/>
              <a:gd name="connsiteX5703" fmla="*/ 3376489 w 4610101"/>
              <a:gd name="connsiteY5703" fmla="*/ 2602919 h 6557032"/>
              <a:gd name="connsiteX5704" fmla="*/ 3378311 w 4610101"/>
              <a:gd name="connsiteY5704" fmla="*/ 2602919 h 6557032"/>
              <a:gd name="connsiteX5705" fmla="*/ 3381956 w 4610101"/>
              <a:gd name="connsiteY5705" fmla="*/ 2602919 h 6557032"/>
              <a:gd name="connsiteX5706" fmla="*/ 3347334 w 4610101"/>
              <a:gd name="connsiteY5706" fmla="*/ 2608386 h 6557032"/>
              <a:gd name="connsiteX5707" fmla="*/ 3343690 w 4610101"/>
              <a:gd name="connsiteY5707" fmla="*/ 2602919 h 6557032"/>
              <a:gd name="connsiteX5708" fmla="*/ 3343690 w 4610101"/>
              <a:gd name="connsiteY5708" fmla="*/ 2599273 h 6557032"/>
              <a:gd name="connsiteX5709" fmla="*/ 3338223 w 4610101"/>
              <a:gd name="connsiteY5709" fmla="*/ 2599273 h 6557032"/>
              <a:gd name="connsiteX5710" fmla="*/ 3341868 w 4610101"/>
              <a:gd name="connsiteY5710" fmla="*/ 2604739 h 6557032"/>
              <a:gd name="connsiteX5711" fmla="*/ 3343690 w 4610101"/>
              <a:gd name="connsiteY5711" fmla="*/ 2604739 h 6557032"/>
              <a:gd name="connsiteX5712" fmla="*/ 3338223 w 4610101"/>
              <a:gd name="connsiteY5712" fmla="*/ 2610207 h 6557032"/>
              <a:gd name="connsiteX5713" fmla="*/ 3316357 w 4610101"/>
              <a:gd name="connsiteY5713" fmla="*/ 2610207 h 6557032"/>
              <a:gd name="connsiteX5714" fmla="*/ 3290847 w 4610101"/>
              <a:gd name="connsiteY5714" fmla="*/ 2608386 h 6557032"/>
              <a:gd name="connsiteX5715" fmla="*/ 3279914 w 4610101"/>
              <a:gd name="connsiteY5715" fmla="*/ 2613850 h 6557032"/>
              <a:gd name="connsiteX5716" fmla="*/ 3279914 w 4610101"/>
              <a:gd name="connsiteY5716" fmla="*/ 2615674 h 6557032"/>
              <a:gd name="connsiteX5717" fmla="*/ 3221604 w 4610101"/>
              <a:gd name="connsiteY5717" fmla="*/ 2599273 h 6557032"/>
              <a:gd name="connsiteX5718" fmla="*/ 3221604 w 4610101"/>
              <a:gd name="connsiteY5718" fmla="*/ 2591986 h 6557032"/>
              <a:gd name="connsiteX5719" fmla="*/ 3219782 w 4610101"/>
              <a:gd name="connsiteY5719" fmla="*/ 2591986 h 6557032"/>
              <a:gd name="connsiteX5720" fmla="*/ 3217960 w 4610101"/>
              <a:gd name="connsiteY5720" fmla="*/ 2597453 h 6557032"/>
              <a:gd name="connsiteX5721" fmla="*/ 3163295 w 4610101"/>
              <a:gd name="connsiteY5721" fmla="*/ 2559186 h 6557032"/>
              <a:gd name="connsiteX5722" fmla="*/ 3126454 w 4610101"/>
              <a:gd name="connsiteY5722" fmla="*/ 2513829 h 6557032"/>
              <a:gd name="connsiteX5723" fmla="*/ 3101845 w 4610101"/>
              <a:gd name="connsiteY5723" fmla="*/ 2474077 h 6557032"/>
              <a:gd name="connsiteX5724" fmla="*/ 3086762 w 4610101"/>
              <a:gd name="connsiteY5724" fmla="*/ 2448033 h 6557032"/>
              <a:gd name="connsiteX5725" fmla="*/ 3092229 w 4610101"/>
              <a:gd name="connsiteY5725" fmla="*/ 2453500 h 6557032"/>
              <a:gd name="connsiteX5726" fmla="*/ 3156006 w 4610101"/>
              <a:gd name="connsiteY5726" fmla="*/ 2497231 h 6557032"/>
              <a:gd name="connsiteX5727" fmla="*/ 3161473 w 4610101"/>
              <a:gd name="connsiteY5727" fmla="*/ 2497231 h 6557032"/>
              <a:gd name="connsiteX5728" fmla="*/ 3108629 w 4610101"/>
              <a:gd name="connsiteY5728" fmla="*/ 2462611 h 6557032"/>
              <a:gd name="connsiteX5729" fmla="*/ 3086762 w 4610101"/>
              <a:gd name="connsiteY5729" fmla="*/ 2435278 h 6557032"/>
              <a:gd name="connsiteX5730" fmla="*/ 3125028 w 4610101"/>
              <a:gd name="connsiteY5730" fmla="*/ 2464432 h 6557032"/>
              <a:gd name="connsiteX5731" fmla="*/ 3126850 w 4610101"/>
              <a:gd name="connsiteY5731" fmla="*/ 2458967 h 6557032"/>
              <a:gd name="connsiteX5732" fmla="*/ 3088585 w 4610101"/>
              <a:gd name="connsiteY5732" fmla="*/ 2427989 h 6557032"/>
              <a:gd name="connsiteX5733" fmla="*/ 3066719 w 4610101"/>
              <a:gd name="connsiteY5733" fmla="*/ 2398835 h 6557032"/>
              <a:gd name="connsiteX5734" fmla="*/ 3063074 w 4610101"/>
              <a:gd name="connsiteY5734" fmla="*/ 2393367 h 6557032"/>
              <a:gd name="connsiteX5735" fmla="*/ 3074521 w 4610101"/>
              <a:gd name="connsiteY5735" fmla="*/ 2397183 h 6557032"/>
              <a:gd name="connsiteX5736" fmla="*/ 3077653 w 4610101"/>
              <a:gd name="connsiteY5736" fmla="*/ 2397183 h 6557032"/>
              <a:gd name="connsiteX5737" fmla="*/ 3076870 w 4610101"/>
              <a:gd name="connsiteY5737" fmla="*/ 2397966 h 6557032"/>
              <a:gd name="connsiteX5738" fmla="*/ 3112273 w 4610101"/>
              <a:gd name="connsiteY5738" fmla="*/ 2409767 h 6557032"/>
              <a:gd name="connsiteX5739" fmla="*/ 3232537 w 4610101"/>
              <a:gd name="connsiteY5739" fmla="*/ 2380612 h 6557032"/>
              <a:gd name="connsiteX5740" fmla="*/ 3239826 w 4610101"/>
              <a:gd name="connsiteY5740" fmla="*/ 2386079 h 6557032"/>
              <a:gd name="connsiteX5741" fmla="*/ 3329113 w 4610101"/>
              <a:gd name="connsiteY5741" fmla="*/ 2362389 h 6557032"/>
              <a:gd name="connsiteX5742" fmla="*/ 3354623 w 4610101"/>
              <a:gd name="connsiteY5742" fmla="*/ 2360568 h 6557032"/>
              <a:gd name="connsiteX5743" fmla="*/ 4074382 w 4610101"/>
              <a:gd name="connsiteY5743" fmla="*/ 2357021 h 6557032"/>
              <a:gd name="connsiteX5744" fmla="*/ 4078026 w 4610101"/>
              <a:gd name="connsiteY5744" fmla="*/ 2389868 h 6557032"/>
              <a:gd name="connsiteX5745" fmla="*/ 4056160 w 4610101"/>
              <a:gd name="connsiteY5745" fmla="*/ 2366177 h 6557032"/>
              <a:gd name="connsiteX5746" fmla="*/ 969397 w 4610101"/>
              <a:gd name="connsiteY5746" fmla="*/ 2356940 h 6557032"/>
              <a:gd name="connsiteX5747" fmla="*/ 971194 w 4610101"/>
              <a:gd name="connsiteY5747" fmla="*/ 2362332 h 6557032"/>
              <a:gd name="connsiteX5748" fmla="*/ 970080 w 4610101"/>
              <a:gd name="connsiteY5748" fmla="*/ 2362862 h 6557032"/>
              <a:gd name="connsiteX5749" fmla="*/ 963930 w 4610101"/>
              <a:gd name="connsiteY5749" fmla="*/ 2362408 h 6557032"/>
              <a:gd name="connsiteX5750" fmla="*/ 963930 w 4610101"/>
              <a:gd name="connsiteY5750" fmla="*/ 2360586 h 6557032"/>
              <a:gd name="connsiteX5751" fmla="*/ 969397 w 4610101"/>
              <a:gd name="connsiteY5751" fmla="*/ 2356940 h 6557032"/>
              <a:gd name="connsiteX5752" fmla="*/ 3035742 w 4610101"/>
              <a:gd name="connsiteY5752" fmla="*/ 2356925 h 6557032"/>
              <a:gd name="connsiteX5753" fmla="*/ 3033920 w 4610101"/>
              <a:gd name="connsiteY5753" fmla="*/ 2364213 h 6557032"/>
              <a:gd name="connsiteX5754" fmla="*/ 3035742 w 4610101"/>
              <a:gd name="connsiteY5754" fmla="*/ 2356925 h 6557032"/>
              <a:gd name="connsiteX5755" fmla="*/ 3041209 w 4610101"/>
              <a:gd name="connsiteY5755" fmla="*/ 2355103 h 6557032"/>
              <a:gd name="connsiteX5756" fmla="*/ 3043031 w 4610101"/>
              <a:gd name="connsiteY5756" fmla="*/ 2360569 h 6557032"/>
              <a:gd name="connsiteX5757" fmla="*/ 3044853 w 4610101"/>
              <a:gd name="connsiteY5757" fmla="*/ 2360569 h 6557032"/>
              <a:gd name="connsiteX5758" fmla="*/ 3041209 w 4610101"/>
              <a:gd name="connsiteY5758" fmla="*/ 2355103 h 6557032"/>
              <a:gd name="connsiteX5759" fmla="*/ 962108 w 4610101"/>
              <a:gd name="connsiteY5759" fmla="*/ 2353284 h 6557032"/>
              <a:gd name="connsiteX5760" fmla="*/ 965753 w 4610101"/>
              <a:gd name="connsiteY5760" fmla="*/ 2353284 h 6557032"/>
              <a:gd name="connsiteX5761" fmla="*/ 965753 w 4610101"/>
              <a:gd name="connsiteY5761" fmla="*/ 2355107 h 6557032"/>
              <a:gd name="connsiteX5762" fmla="*/ 963930 w 4610101"/>
              <a:gd name="connsiteY5762" fmla="*/ 2356929 h 6557032"/>
              <a:gd name="connsiteX5763" fmla="*/ 952086 w 4610101"/>
              <a:gd name="connsiteY5763" fmla="*/ 2350557 h 6557032"/>
              <a:gd name="connsiteX5764" fmla="*/ 962108 w 4610101"/>
              <a:gd name="connsiteY5764" fmla="*/ 2356936 h 6557032"/>
              <a:gd name="connsiteX5765" fmla="*/ 956641 w 4610101"/>
              <a:gd name="connsiteY5765" fmla="*/ 2360581 h 6557032"/>
              <a:gd name="connsiteX5766" fmla="*/ 949352 w 4610101"/>
              <a:gd name="connsiteY5766" fmla="*/ 2356936 h 6557032"/>
              <a:gd name="connsiteX5767" fmla="*/ 949352 w 4610101"/>
              <a:gd name="connsiteY5767" fmla="*/ 2364225 h 6557032"/>
              <a:gd name="connsiteX5768" fmla="*/ 945708 w 4610101"/>
              <a:gd name="connsiteY5768" fmla="*/ 2366047 h 6557032"/>
              <a:gd name="connsiteX5769" fmla="*/ 940242 w 4610101"/>
              <a:gd name="connsiteY5769" fmla="*/ 2360581 h 6557032"/>
              <a:gd name="connsiteX5770" fmla="*/ 936597 w 4610101"/>
              <a:gd name="connsiteY5770" fmla="*/ 2355113 h 6557032"/>
              <a:gd name="connsiteX5771" fmla="*/ 952086 w 4610101"/>
              <a:gd name="connsiteY5771" fmla="*/ 2350557 h 6557032"/>
              <a:gd name="connsiteX5772" fmla="*/ 3733634 w 4610101"/>
              <a:gd name="connsiteY5772" fmla="*/ 2344323 h 6557032"/>
              <a:gd name="connsiteX5773" fmla="*/ 3755500 w 4610101"/>
              <a:gd name="connsiteY5773" fmla="*/ 2351624 h 6557032"/>
              <a:gd name="connsiteX5774" fmla="*/ 3760967 w 4610101"/>
              <a:gd name="connsiteY5774" fmla="*/ 2357050 h 6557032"/>
              <a:gd name="connsiteX5775" fmla="*/ 3755500 w 4610101"/>
              <a:gd name="connsiteY5775" fmla="*/ 2366219 h 6557032"/>
              <a:gd name="connsiteX5776" fmla="*/ 3770077 w 4610101"/>
              <a:gd name="connsiteY5776" fmla="*/ 2380795 h 6557032"/>
              <a:gd name="connsiteX5777" fmla="*/ 3724523 w 4610101"/>
              <a:gd name="connsiteY5777" fmla="*/ 2402644 h 6557032"/>
              <a:gd name="connsiteX5778" fmla="*/ 3693546 w 4610101"/>
              <a:gd name="connsiteY5778" fmla="*/ 2371692 h 6557032"/>
              <a:gd name="connsiteX5779" fmla="*/ 3711768 w 4610101"/>
              <a:gd name="connsiteY5779" fmla="*/ 2353432 h 6557032"/>
              <a:gd name="connsiteX5780" fmla="*/ 3507686 w 4610101"/>
              <a:gd name="connsiteY5780" fmla="*/ 2342448 h 6557032"/>
              <a:gd name="connsiteX5781" fmla="*/ 3529552 w 4610101"/>
              <a:gd name="connsiteY5781" fmla="*/ 2366167 h 6557032"/>
              <a:gd name="connsiteX5782" fmla="*/ 3498575 w 4610101"/>
              <a:gd name="connsiteY5782" fmla="*/ 2357021 h 6557032"/>
              <a:gd name="connsiteX5783" fmla="*/ 978508 w 4610101"/>
              <a:gd name="connsiteY5783" fmla="*/ 2338717 h 6557032"/>
              <a:gd name="connsiteX5784" fmla="*/ 978508 w 4610101"/>
              <a:gd name="connsiteY5784" fmla="*/ 2344184 h 6557032"/>
              <a:gd name="connsiteX5785" fmla="*/ 967575 w 4610101"/>
              <a:gd name="connsiteY5785" fmla="*/ 2351472 h 6557032"/>
              <a:gd name="connsiteX5786" fmla="*/ 963930 w 4610101"/>
              <a:gd name="connsiteY5786" fmla="*/ 2349651 h 6557032"/>
              <a:gd name="connsiteX5787" fmla="*/ 978508 w 4610101"/>
              <a:gd name="connsiteY5787" fmla="*/ 2338717 h 6557032"/>
              <a:gd name="connsiteX5788" fmla="*/ 3134139 w 4610101"/>
              <a:gd name="connsiteY5788" fmla="*/ 2337014 h 6557032"/>
              <a:gd name="connsiteX5789" fmla="*/ 3146895 w 4610101"/>
              <a:gd name="connsiteY5789" fmla="*/ 2342029 h 6557032"/>
              <a:gd name="connsiteX5790" fmla="*/ 3147063 w 4610101"/>
              <a:gd name="connsiteY5790" fmla="*/ 2343251 h 6557032"/>
              <a:gd name="connsiteX5791" fmla="*/ 3217960 w 4610101"/>
              <a:gd name="connsiteY5791" fmla="*/ 2340525 h 6557032"/>
              <a:gd name="connsiteX5792" fmla="*/ 3163750 w 4610101"/>
              <a:gd name="connsiteY5792" fmla="*/ 2348269 h 6557032"/>
              <a:gd name="connsiteX5793" fmla="*/ 3148410 w 4610101"/>
              <a:gd name="connsiteY5793" fmla="*/ 2353020 h 6557032"/>
              <a:gd name="connsiteX5794" fmla="*/ 3148717 w 4610101"/>
              <a:gd name="connsiteY5794" fmla="*/ 2355251 h 6557032"/>
              <a:gd name="connsiteX5795" fmla="*/ 3146537 w 4610101"/>
              <a:gd name="connsiteY5795" fmla="*/ 2353600 h 6557032"/>
              <a:gd name="connsiteX5796" fmla="*/ 3112274 w 4610101"/>
              <a:gd name="connsiteY5796" fmla="*/ 2364213 h 6557032"/>
              <a:gd name="connsiteX5797" fmla="*/ 3117740 w 4610101"/>
              <a:gd name="connsiteY5797" fmla="*/ 2367859 h 6557032"/>
              <a:gd name="connsiteX5798" fmla="*/ 3127662 w 4610101"/>
              <a:gd name="connsiteY5798" fmla="*/ 2365922 h 6557032"/>
              <a:gd name="connsiteX5799" fmla="*/ 3128674 w 4610101"/>
              <a:gd name="connsiteY5799" fmla="*/ 2364404 h 6557032"/>
              <a:gd name="connsiteX5800" fmla="*/ 3128989 w 4610101"/>
              <a:gd name="connsiteY5800" fmla="*/ 2365664 h 6557032"/>
              <a:gd name="connsiteX5801" fmla="*/ 3192449 w 4610101"/>
              <a:gd name="connsiteY5801" fmla="*/ 2353279 h 6557032"/>
              <a:gd name="connsiteX5802" fmla="*/ 3210671 w 4610101"/>
              <a:gd name="connsiteY5802" fmla="*/ 2351458 h 6557032"/>
              <a:gd name="connsiteX5803" fmla="*/ 3119562 w 4610101"/>
              <a:gd name="connsiteY5803" fmla="*/ 2376969 h 6557032"/>
              <a:gd name="connsiteX5804" fmla="*/ 3125029 w 4610101"/>
              <a:gd name="connsiteY5804" fmla="*/ 2380613 h 6557032"/>
              <a:gd name="connsiteX5805" fmla="*/ 3230715 w 4610101"/>
              <a:gd name="connsiteY5805" fmla="*/ 2355103 h 6557032"/>
              <a:gd name="connsiteX5806" fmla="*/ 3223426 w 4610101"/>
              <a:gd name="connsiteY5806" fmla="*/ 2358747 h 6557032"/>
              <a:gd name="connsiteX5807" fmla="*/ 3159650 w 4610101"/>
              <a:gd name="connsiteY5807" fmla="*/ 2380613 h 6557032"/>
              <a:gd name="connsiteX5808" fmla="*/ 3165117 w 4610101"/>
              <a:gd name="connsiteY5808" fmla="*/ 2386080 h 6557032"/>
              <a:gd name="connsiteX5809" fmla="*/ 3194271 w 4610101"/>
              <a:gd name="connsiteY5809" fmla="*/ 2378791 h 6557032"/>
              <a:gd name="connsiteX5810" fmla="*/ 3194271 w 4610101"/>
              <a:gd name="connsiteY5810" fmla="*/ 2377147 h 6557032"/>
              <a:gd name="connsiteX5811" fmla="*/ 3200852 w 4610101"/>
              <a:gd name="connsiteY5811" fmla="*/ 2377147 h 6557032"/>
              <a:gd name="connsiteX5812" fmla="*/ 3201508 w 4610101"/>
              <a:gd name="connsiteY5812" fmla="*/ 2376981 h 6557032"/>
              <a:gd name="connsiteX5813" fmla="*/ 3200194 w 4610101"/>
              <a:gd name="connsiteY5813" fmla="*/ 2372828 h 6557032"/>
              <a:gd name="connsiteX5814" fmla="*/ 3201560 w 4610101"/>
              <a:gd name="connsiteY5814" fmla="*/ 2369872 h 6557032"/>
              <a:gd name="connsiteX5815" fmla="*/ 3197916 w 4610101"/>
              <a:gd name="connsiteY5815" fmla="*/ 2369872 h 6557032"/>
              <a:gd name="connsiteX5816" fmla="*/ 3205204 w 4610101"/>
              <a:gd name="connsiteY5816" fmla="*/ 2368032 h 6557032"/>
              <a:gd name="connsiteX5817" fmla="*/ 3205204 w 4610101"/>
              <a:gd name="connsiteY5817" fmla="*/ 2376058 h 6557032"/>
              <a:gd name="connsiteX5818" fmla="*/ 3208849 w 4610101"/>
              <a:gd name="connsiteY5818" fmla="*/ 2375147 h 6557032"/>
              <a:gd name="connsiteX5819" fmla="*/ 3205204 w 4610101"/>
              <a:gd name="connsiteY5819" fmla="*/ 2376559 h 6557032"/>
              <a:gd name="connsiteX5820" fmla="*/ 3205204 w 4610101"/>
              <a:gd name="connsiteY5820" fmla="*/ 2391723 h 6557032"/>
              <a:gd name="connsiteX5821" fmla="*/ 3194271 w 4610101"/>
              <a:gd name="connsiteY5821" fmla="*/ 2389901 h 6557032"/>
              <a:gd name="connsiteX5822" fmla="*/ 3194271 w 4610101"/>
              <a:gd name="connsiteY5822" fmla="*/ 2380794 h 6557032"/>
              <a:gd name="connsiteX5823" fmla="*/ 3176506 w 4610101"/>
              <a:gd name="connsiteY5823" fmla="*/ 2387674 h 6557032"/>
              <a:gd name="connsiteX5824" fmla="*/ 3142922 w 4610101"/>
              <a:gd name="connsiteY5824" fmla="*/ 2393125 h 6557032"/>
              <a:gd name="connsiteX5825" fmla="*/ 3141428 w 4610101"/>
              <a:gd name="connsiteY5825" fmla="*/ 2395365 h 6557032"/>
              <a:gd name="connsiteX5826" fmla="*/ 3139062 w 4610101"/>
              <a:gd name="connsiteY5826" fmla="*/ 2393001 h 6557032"/>
              <a:gd name="connsiteX5827" fmla="*/ 3097468 w 4610101"/>
              <a:gd name="connsiteY5827" fmla="*/ 2386535 h 6557032"/>
              <a:gd name="connsiteX5828" fmla="*/ 3057608 w 4610101"/>
              <a:gd name="connsiteY5828" fmla="*/ 2366036 h 6557032"/>
              <a:gd name="connsiteX5829" fmla="*/ 3048497 w 4610101"/>
              <a:gd name="connsiteY5829" fmla="*/ 2375147 h 6557032"/>
              <a:gd name="connsiteX5830" fmla="*/ 3064897 w 4610101"/>
              <a:gd name="connsiteY5830" fmla="*/ 2415235 h 6557032"/>
              <a:gd name="connsiteX5831" fmla="*/ 2997776 w 4610101"/>
              <a:gd name="connsiteY5831" fmla="*/ 2415235 h 6557032"/>
              <a:gd name="connsiteX5832" fmla="*/ 2998615 w 4610101"/>
              <a:gd name="connsiteY5832" fmla="*/ 2416753 h 6557032"/>
              <a:gd name="connsiteX5833" fmla="*/ 3004765 w 4610101"/>
              <a:gd name="connsiteY5833" fmla="*/ 2422669 h 6557032"/>
              <a:gd name="connsiteX5834" fmla="*/ 3003298 w 4610101"/>
              <a:gd name="connsiteY5834" fmla="*/ 2427066 h 6557032"/>
              <a:gd name="connsiteX5835" fmla="*/ 3068542 w 4610101"/>
              <a:gd name="connsiteY5835" fmla="*/ 2427989 h 6557032"/>
              <a:gd name="connsiteX5836" fmla="*/ 3072186 w 4610101"/>
              <a:gd name="connsiteY5836" fmla="*/ 2426165 h 6557032"/>
              <a:gd name="connsiteX5837" fmla="*/ 3101845 w 4610101"/>
              <a:gd name="connsiteY5837" fmla="*/ 2474077 h 6557032"/>
              <a:gd name="connsiteX5838" fmla="*/ 3120928 w 4610101"/>
              <a:gd name="connsiteY5838" fmla="*/ 2507026 h 6557032"/>
              <a:gd name="connsiteX5839" fmla="*/ 3126454 w 4610101"/>
              <a:gd name="connsiteY5839" fmla="*/ 2513829 h 6557032"/>
              <a:gd name="connsiteX5840" fmla="*/ 3143251 w 4610101"/>
              <a:gd name="connsiteY5840" fmla="*/ 2540963 h 6557032"/>
              <a:gd name="connsiteX5841" fmla="*/ 3086763 w 4610101"/>
              <a:gd name="connsiteY5841" fmla="*/ 2499053 h 6557032"/>
              <a:gd name="connsiteX5842" fmla="*/ 3083119 w 4610101"/>
              <a:gd name="connsiteY5842" fmla="*/ 2500876 h 6557032"/>
              <a:gd name="connsiteX5843" fmla="*/ 3157828 w 4610101"/>
              <a:gd name="connsiteY5843" fmla="*/ 2557363 h 6557032"/>
              <a:gd name="connsiteX5844" fmla="*/ 3057609 w 4610101"/>
              <a:gd name="connsiteY5844" fmla="*/ 2509987 h 6557032"/>
              <a:gd name="connsiteX5845" fmla="*/ 3052142 w 4610101"/>
              <a:gd name="connsiteY5845" fmla="*/ 2515453 h 6557032"/>
              <a:gd name="connsiteX5846" fmla="*/ 3128673 w 4610101"/>
              <a:gd name="connsiteY5846" fmla="*/ 2561006 h 6557032"/>
              <a:gd name="connsiteX5847" fmla="*/ 3117741 w 4610101"/>
              <a:gd name="connsiteY5847" fmla="*/ 2557363 h 6557032"/>
              <a:gd name="connsiteX5848" fmla="*/ 3039387 w 4610101"/>
              <a:gd name="connsiteY5848" fmla="*/ 2526386 h 6557032"/>
              <a:gd name="connsiteX5849" fmla="*/ 3033920 w 4610101"/>
              <a:gd name="connsiteY5849" fmla="*/ 2533676 h 6557032"/>
              <a:gd name="connsiteX5850" fmla="*/ 3110452 w 4610101"/>
              <a:gd name="connsiteY5850" fmla="*/ 2570118 h 6557032"/>
              <a:gd name="connsiteX5851" fmla="*/ 3156006 w 4610101"/>
              <a:gd name="connsiteY5851" fmla="*/ 2586518 h 6557032"/>
              <a:gd name="connsiteX5852" fmla="*/ 3159650 w 4610101"/>
              <a:gd name="connsiteY5852" fmla="*/ 2588341 h 6557032"/>
              <a:gd name="connsiteX5853" fmla="*/ 3159650 w 4610101"/>
              <a:gd name="connsiteY5853" fmla="*/ 2590163 h 6557032"/>
              <a:gd name="connsiteX5854" fmla="*/ 3121385 w 4610101"/>
              <a:gd name="connsiteY5854" fmla="*/ 2581052 h 6557032"/>
              <a:gd name="connsiteX5855" fmla="*/ 3043031 w 4610101"/>
              <a:gd name="connsiteY5855" fmla="*/ 2557363 h 6557032"/>
              <a:gd name="connsiteX5856" fmla="*/ 3039387 w 4610101"/>
              <a:gd name="connsiteY5856" fmla="*/ 2562830 h 6557032"/>
              <a:gd name="connsiteX5857" fmla="*/ 3125029 w 4610101"/>
              <a:gd name="connsiteY5857" fmla="*/ 2593808 h 6557032"/>
              <a:gd name="connsiteX5858" fmla="*/ 3043031 w 4610101"/>
              <a:gd name="connsiteY5858" fmla="*/ 2573763 h 6557032"/>
              <a:gd name="connsiteX5859" fmla="*/ 3043031 w 4610101"/>
              <a:gd name="connsiteY5859" fmla="*/ 2582874 h 6557032"/>
              <a:gd name="connsiteX5860" fmla="*/ 3081297 w 4610101"/>
              <a:gd name="connsiteY5860" fmla="*/ 2597452 h 6557032"/>
              <a:gd name="connsiteX5861" fmla="*/ 3053964 w 4610101"/>
              <a:gd name="connsiteY5861" fmla="*/ 2595629 h 6557032"/>
              <a:gd name="connsiteX5862" fmla="*/ 3053964 w 4610101"/>
              <a:gd name="connsiteY5862" fmla="*/ 2602917 h 6557032"/>
              <a:gd name="connsiteX5863" fmla="*/ 3119563 w 4610101"/>
              <a:gd name="connsiteY5863" fmla="*/ 2619317 h 6557032"/>
              <a:gd name="connsiteX5864" fmla="*/ 3084941 w 4610101"/>
              <a:gd name="connsiteY5864" fmla="*/ 2617495 h 6557032"/>
              <a:gd name="connsiteX5865" fmla="*/ 2982900 w 4610101"/>
              <a:gd name="connsiteY5865" fmla="*/ 2570118 h 6557032"/>
              <a:gd name="connsiteX5866" fmla="*/ 2982900 w 4610101"/>
              <a:gd name="connsiteY5866" fmla="*/ 2566475 h 6557032"/>
              <a:gd name="connsiteX5867" fmla="*/ 2982900 w 4610101"/>
              <a:gd name="connsiteY5867" fmla="*/ 2564809 h 6557032"/>
              <a:gd name="connsiteX5868" fmla="*/ 2978970 w 4610101"/>
              <a:gd name="connsiteY5868" fmla="*/ 2564809 h 6557032"/>
              <a:gd name="connsiteX5869" fmla="*/ 2977433 w 4610101"/>
              <a:gd name="connsiteY5869" fmla="*/ 2566475 h 6557032"/>
              <a:gd name="connsiteX5870" fmla="*/ 2956786 w 4610101"/>
              <a:gd name="connsiteY5870" fmla="*/ 2552180 h 6557032"/>
              <a:gd name="connsiteX5871" fmla="*/ 2955567 w 4610101"/>
              <a:gd name="connsiteY5871" fmla="*/ 2552060 h 6557032"/>
              <a:gd name="connsiteX5872" fmla="*/ 2956610 w 4610101"/>
              <a:gd name="connsiteY5872" fmla="*/ 2552060 h 6557032"/>
              <a:gd name="connsiteX5873" fmla="*/ 2955834 w 4610101"/>
              <a:gd name="connsiteY5873" fmla="*/ 2551522 h 6557032"/>
              <a:gd name="connsiteX5874" fmla="*/ 2955567 w 4610101"/>
              <a:gd name="connsiteY5874" fmla="*/ 2552060 h 6557032"/>
              <a:gd name="connsiteX5875" fmla="*/ 2950100 w 4610101"/>
              <a:gd name="connsiteY5875" fmla="*/ 2548405 h 6557032"/>
              <a:gd name="connsiteX5876" fmla="*/ 2950539 w 4610101"/>
              <a:gd name="connsiteY5876" fmla="*/ 2547856 h 6557032"/>
              <a:gd name="connsiteX5877" fmla="*/ 2945726 w 4610101"/>
              <a:gd name="connsiteY5877" fmla="*/ 2544523 h 6557032"/>
              <a:gd name="connsiteX5878" fmla="*/ 2942128 w 4610101"/>
              <a:gd name="connsiteY5878" fmla="*/ 2543395 h 6557032"/>
              <a:gd name="connsiteX5879" fmla="*/ 2939167 w 4610101"/>
              <a:gd name="connsiteY5879" fmla="*/ 2544752 h 6557032"/>
              <a:gd name="connsiteX5880" fmla="*/ 2933700 w 4610101"/>
              <a:gd name="connsiteY5880" fmla="*/ 2539295 h 6557032"/>
              <a:gd name="connsiteX5881" fmla="*/ 2934854 w 4610101"/>
              <a:gd name="connsiteY5881" fmla="*/ 2536997 h 6557032"/>
              <a:gd name="connsiteX5882" fmla="*/ 2930057 w 4610101"/>
              <a:gd name="connsiteY5882" fmla="*/ 2533676 h 6557032"/>
              <a:gd name="connsiteX5883" fmla="*/ 2928234 w 4610101"/>
              <a:gd name="connsiteY5883" fmla="*/ 2530031 h 6557032"/>
              <a:gd name="connsiteX5884" fmla="*/ 2920946 w 4610101"/>
              <a:gd name="connsiteY5884" fmla="*/ 2524564 h 6557032"/>
              <a:gd name="connsiteX5885" fmla="*/ 2911652 w 4610101"/>
              <a:gd name="connsiteY5885" fmla="*/ 2515730 h 6557032"/>
              <a:gd name="connsiteX5886" fmla="*/ 2908191 w 4610101"/>
              <a:gd name="connsiteY5886" fmla="*/ 2521106 h 6557032"/>
              <a:gd name="connsiteX5887" fmla="*/ 2906369 w 4610101"/>
              <a:gd name="connsiteY5887" fmla="*/ 2515653 h 6557032"/>
              <a:gd name="connsiteX5888" fmla="*/ 2905914 w 4610101"/>
              <a:gd name="connsiteY5888" fmla="*/ 2511317 h 6557032"/>
              <a:gd name="connsiteX5889" fmla="*/ 2906374 w 4610101"/>
              <a:gd name="connsiteY5889" fmla="*/ 2510713 h 6557032"/>
              <a:gd name="connsiteX5890" fmla="*/ 2861041 w 4610101"/>
              <a:gd name="connsiteY5890" fmla="*/ 2467621 h 6557032"/>
              <a:gd name="connsiteX5891" fmla="*/ 2853483 w 4610101"/>
              <a:gd name="connsiteY5891" fmla="*/ 2457279 h 6557032"/>
              <a:gd name="connsiteX5892" fmla="*/ 2842591 w 4610101"/>
              <a:gd name="connsiteY5892" fmla="*/ 2457279 h 6557032"/>
              <a:gd name="connsiteX5893" fmla="*/ 2843958 w 4610101"/>
              <a:gd name="connsiteY5893" fmla="*/ 2448621 h 6557032"/>
              <a:gd name="connsiteX5894" fmla="*/ 2845514 w 4610101"/>
              <a:gd name="connsiteY5894" fmla="*/ 2446373 h 6557032"/>
              <a:gd name="connsiteX5895" fmla="*/ 2813436 w 4610101"/>
              <a:gd name="connsiteY5895" fmla="*/ 2402477 h 6557032"/>
              <a:gd name="connsiteX5896" fmla="*/ 2841498 w 4610101"/>
              <a:gd name="connsiteY5896" fmla="*/ 2407746 h 6557032"/>
              <a:gd name="connsiteX5897" fmla="*/ 2842593 w 4610101"/>
              <a:gd name="connsiteY5897" fmla="*/ 2404465 h 6557032"/>
              <a:gd name="connsiteX5898" fmla="*/ 2846888 w 4610101"/>
              <a:gd name="connsiteY5898" fmla="*/ 2408757 h 6557032"/>
              <a:gd name="connsiteX5899" fmla="*/ 2939623 w 4610101"/>
              <a:gd name="connsiteY5899" fmla="*/ 2426166 h 6557032"/>
              <a:gd name="connsiteX5900" fmla="*/ 3001998 w 4610101"/>
              <a:gd name="connsiteY5900" fmla="*/ 2427049 h 6557032"/>
              <a:gd name="connsiteX5901" fmla="*/ 3001121 w 4610101"/>
              <a:gd name="connsiteY5901" fmla="*/ 2426311 h 6557032"/>
              <a:gd name="connsiteX5902" fmla="*/ 3002943 w 4610101"/>
              <a:gd name="connsiteY5902" fmla="*/ 2422669 h 6557032"/>
              <a:gd name="connsiteX5903" fmla="*/ 2997477 w 4610101"/>
              <a:gd name="connsiteY5903" fmla="*/ 2417208 h 6557032"/>
              <a:gd name="connsiteX5904" fmla="*/ 2988366 w 4610101"/>
              <a:gd name="connsiteY5904" fmla="*/ 2415389 h 6557032"/>
              <a:gd name="connsiteX5905" fmla="*/ 2981076 w 4610101"/>
              <a:gd name="connsiteY5905" fmla="*/ 2422669 h 6557032"/>
              <a:gd name="connsiteX5906" fmla="*/ 2981076 w 4610101"/>
              <a:gd name="connsiteY5906" fmla="*/ 2415389 h 6557032"/>
              <a:gd name="connsiteX5907" fmla="*/ 2982119 w 4610101"/>
              <a:gd name="connsiteY5907" fmla="*/ 2410924 h 6557032"/>
              <a:gd name="connsiteX5908" fmla="*/ 2920945 w 4610101"/>
              <a:gd name="connsiteY5908" fmla="*/ 2384257 h 6557032"/>
              <a:gd name="connsiteX5909" fmla="*/ 3008410 w 4610101"/>
              <a:gd name="connsiteY5909" fmla="*/ 2360569 h 6557032"/>
              <a:gd name="connsiteX5910" fmla="*/ 3012054 w 4610101"/>
              <a:gd name="connsiteY5910" fmla="*/ 2355103 h 6557032"/>
              <a:gd name="connsiteX5911" fmla="*/ 3030276 w 4610101"/>
              <a:gd name="connsiteY5911" fmla="*/ 2353133 h 6557032"/>
              <a:gd name="connsiteX5912" fmla="*/ 3030276 w 4610101"/>
              <a:gd name="connsiteY5912" fmla="*/ 2347967 h 6557032"/>
              <a:gd name="connsiteX5913" fmla="*/ 3034941 w 4610101"/>
              <a:gd name="connsiteY5913" fmla="*/ 2352628 h 6557032"/>
              <a:gd name="connsiteX5914" fmla="*/ 3079474 w 4610101"/>
              <a:gd name="connsiteY5914" fmla="*/ 2347813 h 6557032"/>
              <a:gd name="connsiteX5915" fmla="*/ 3079474 w 4610101"/>
              <a:gd name="connsiteY5915" fmla="*/ 2349635 h 6557032"/>
              <a:gd name="connsiteX5916" fmla="*/ 3084941 w 4610101"/>
              <a:gd name="connsiteY5916" fmla="*/ 2353279 h 6557032"/>
              <a:gd name="connsiteX5917" fmla="*/ 3086763 w 4610101"/>
              <a:gd name="connsiteY5917" fmla="*/ 2351458 h 6557032"/>
              <a:gd name="connsiteX5918" fmla="*/ 3086763 w 4610101"/>
              <a:gd name="connsiteY5918" fmla="*/ 2347813 h 6557032"/>
              <a:gd name="connsiteX5919" fmla="*/ 3123206 w 4610101"/>
              <a:gd name="connsiteY5919" fmla="*/ 2344168 h 6557032"/>
              <a:gd name="connsiteX5920" fmla="*/ 3137242 w 4610101"/>
              <a:gd name="connsiteY5920" fmla="*/ 2343629 h 6557032"/>
              <a:gd name="connsiteX5921" fmla="*/ 3493108 w 4610101"/>
              <a:gd name="connsiteY5921" fmla="*/ 2337004 h 6557032"/>
              <a:gd name="connsiteX5922" fmla="*/ 3453020 w 4610101"/>
              <a:gd name="connsiteY5922" fmla="*/ 2371678 h 6557032"/>
              <a:gd name="connsiteX5923" fmla="*/ 3453020 w 4610101"/>
              <a:gd name="connsiteY5923" fmla="*/ 2349782 h 6557032"/>
              <a:gd name="connsiteX5924" fmla="*/ 3493108 w 4610101"/>
              <a:gd name="connsiteY5924" fmla="*/ 2337004 h 6557032"/>
              <a:gd name="connsiteX5925" fmla="*/ 1023534 w 4610101"/>
              <a:gd name="connsiteY5925" fmla="*/ 2336535 h 6557032"/>
              <a:gd name="connsiteX5926" fmla="*/ 1024062 w 4610101"/>
              <a:gd name="connsiteY5926" fmla="*/ 2336886 h 6557032"/>
              <a:gd name="connsiteX5927" fmla="*/ 1022688 w 4610101"/>
              <a:gd name="connsiteY5927" fmla="*/ 2336748 h 6557032"/>
              <a:gd name="connsiteX5928" fmla="*/ 4478903 w 4610101"/>
              <a:gd name="connsiteY5928" fmla="*/ 2335172 h 6557032"/>
              <a:gd name="connsiteX5929" fmla="*/ 4504415 w 4610101"/>
              <a:gd name="connsiteY5929" fmla="*/ 2336987 h 6557032"/>
              <a:gd name="connsiteX5930" fmla="*/ 4480725 w 4610101"/>
              <a:gd name="connsiteY5930" fmla="*/ 2358888 h 6557032"/>
              <a:gd name="connsiteX5931" fmla="*/ 2838948 w 4610101"/>
              <a:gd name="connsiteY5931" fmla="*/ 2335060 h 6557032"/>
              <a:gd name="connsiteX5932" fmla="*/ 2837126 w 4610101"/>
              <a:gd name="connsiteY5932" fmla="*/ 2342348 h 6557032"/>
              <a:gd name="connsiteX5933" fmla="*/ 2838948 w 4610101"/>
              <a:gd name="connsiteY5933" fmla="*/ 2335060 h 6557032"/>
              <a:gd name="connsiteX5934" fmla="*/ 1034490 w 4610101"/>
              <a:gd name="connsiteY5934" fmla="*/ 2333063 h 6557032"/>
              <a:gd name="connsiteX5935" fmla="*/ 1032034 w 4610101"/>
              <a:gd name="connsiteY5935" fmla="*/ 2334381 h 6557032"/>
              <a:gd name="connsiteX5936" fmla="*/ 1023534 w 4610101"/>
              <a:gd name="connsiteY5936" fmla="*/ 2336535 h 6557032"/>
              <a:gd name="connsiteX5937" fmla="*/ 1023145 w 4610101"/>
              <a:gd name="connsiteY5937" fmla="*/ 2336275 h 6557032"/>
              <a:gd name="connsiteX5938" fmla="*/ 1022468 w 4610101"/>
              <a:gd name="connsiteY5938" fmla="*/ 2336726 h 6557032"/>
              <a:gd name="connsiteX5939" fmla="*/ 1022688 w 4610101"/>
              <a:gd name="connsiteY5939" fmla="*/ 2336748 h 6557032"/>
              <a:gd name="connsiteX5940" fmla="*/ 1022280 w 4610101"/>
              <a:gd name="connsiteY5940" fmla="*/ 2336852 h 6557032"/>
              <a:gd name="connsiteX5941" fmla="*/ 1022240 w 4610101"/>
              <a:gd name="connsiteY5941" fmla="*/ 2336878 h 6557032"/>
              <a:gd name="connsiteX5942" fmla="*/ 1022227 w 4610101"/>
              <a:gd name="connsiteY5942" fmla="*/ 2336865 h 6557032"/>
              <a:gd name="connsiteX5943" fmla="*/ 1014951 w 4610101"/>
              <a:gd name="connsiteY5943" fmla="*/ 2338708 h 6557032"/>
              <a:gd name="connsiteX5944" fmla="*/ 1013129 w 4610101"/>
              <a:gd name="connsiteY5944" fmla="*/ 2342353 h 6557032"/>
              <a:gd name="connsiteX5945" fmla="*/ 1012986 w 4610101"/>
              <a:gd name="connsiteY5945" fmla="*/ 2342425 h 6557032"/>
              <a:gd name="connsiteX5946" fmla="*/ 1014040 w 4610101"/>
              <a:gd name="connsiteY5946" fmla="*/ 2342801 h 6557032"/>
              <a:gd name="connsiteX5947" fmla="*/ 1020418 w 4610101"/>
              <a:gd name="connsiteY5947" fmla="*/ 2342345 h 6557032"/>
              <a:gd name="connsiteX5948" fmla="*/ 1014951 w 4610101"/>
              <a:gd name="connsiteY5948" fmla="*/ 2340523 h 6557032"/>
              <a:gd name="connsiteX5949" fmla="*/ 1020418 w 4610101"/>
              <a:gd name="connsiteY5949" fmla="*/ 2338701 h 6557032"/>
              <a:gd name="connsiteX5950" fmla="*/ 1056861 w 4610101"/>
              <a:gd name="connsiteY5950" fmla="*/ 2360567 h 6557032"/>
              <a:gd name="connsiteX5951" fmla="*/ 1038412 w 4610101"/>
              <a:gd name="connsiteY5951" fmla="*/ 2343400 h 6557032"/>
              <a:gd name="connsiteX5952" fmla="*/ 1005840 w 4610101"/>
              <a:gd name="connsiteY5952" fmla="*/ 2331427 h 6557032"/>
              <a:gd name="connsiteX5953" fmla="*/ 993084 w 4610101"/>
              <a:gd name="connsiteY5953" fmla="*/ 2338718 h 6557032"/>
              <a:gd name="connsiteX5954" fmla="*/ 991263 w 4610101"/>
              <a:gd name="connsiteY5954" fmla="*/ 2336894 h 6557032"/>
              <a:gd name="connsiteX5955" fmla="*/ 1005840 w 4610101"/>
              <a:gd name="connsiteY5955" fmla="*/ 2331427 h 6557032"/>
              <a:gd name="connsiteX5956" fmla="*/ 3514973 w 4610101"/>
              <a:gd name="connsiteY5956" fmla="*/ 2318747 h 6557032"/>
              <a:gd name="connsiteX5957" fmla="*/ 3531373 w 4610101"/>
              <a:gd name="connsiteY5957" fmla="*/ 2333306 h 6557032"/>
              <a:gd name="connsiteX5958" fmla="*/ 3514973 w 4610101"/>
              <a:gd name="connsiteY5958" fmla="*/ 2335126 h 6557032"/>
              <a:gd name="connsiteX5959" fmla="*/ 1053317 w 4610101"/>
              <a:gd name="connsiteY5959" fmla="*/ 2317135 h 6557032"/>
              <a:gd name="connsiteX5960" fmla="*/ 1052534 w 4610101"/>
              <a:gd name="connsiteY5960" fmla="*/ 2317305 h 6557032"/>
              <a:gd name="connsiteX5961" fmla="*/ 1051664 w 4610101"/>
              <a:gd name="connsiteY5961" fmla="*/ 2317373 h 6557032"/>
              <a:gd name="connsiteX5962" fmla="*/ 1056861 w 4610101"/>
              <a:gd name="connsiteY5962" fmla="*/ 2327768 h 6557032"/>
              <a:gd name="connsiteX5963" fmla="*/ 3978035 w 4610101"/>
              <a:gd name="connsiteY5963" fmla="*/ 2313857 h 6557032"/>
              <a:gd name="connsiteX5964" fmla="*/ 3988740 w 4610101"/>
              <a:gd name="connsiteY5964" fmla="*/ 2342482 h 6557032"/>
              <a:gd name="connsiteX5965" fmla="*/ 3957763 w 4610101"/>
              <a:gd name="connsiteY5965" fmla="*/ 2349787 h 6557032"/>
              <a:gd name="connsiteX5966" fmla="*/ 3957763 w 4610101"/>
              <a:gd name="connsiteY5966" fmla="*/ 2320669 h 6557032"/>
              <a:gd name="connsiteX5967" fmla="*/ 3978035 w 4610101"/>
              <a:gd name="connsiteY5967" fmla="*/ 2313857 h 6557032"/>
              <a:gd name="connsiteX5968" fmla="*/ 1115918 w 4610101"/>
              <a:gd name="connsiteY5968" fmla="*/ 2310952 h 6557032"/>
              <a:gd name="connsiteX5969" fmla="*/ 1115171 w 4610101"/>
              <a:gd name="connsiteY5969" fmla="*/ 2311076 h 6557032"/>
              <a:gd name="connsiteX5970" fmla="*/ 1115171 w 4610101"/>
              <a:gd name="connsiteY5970" fmla="*/ 2313191 h 6557032"/>
              <a:gd name="connsiteX5971" fmla="*/ 4282109 w 4610101"/>
              <a:gd name="connsiteY5971" fmla="*/ 2309661 h 6557032"/>
              <a:gd name="connsiteX5972" fmla="*/ 4283931 w 4610101"/>
              <a:gd name="connsiteY5972" fmla="*/ 2327857 h 6557032"/>
              <a:gd name="connsiteX5973" fmla="*/ 4267531 w 4610101"/>
              <a:gd name="connsiteY5973" fmla="*/ 2326039 h 6557032"/>
              <a:gd name="connsiteX5974" fmla="*/ 1135864 w 4610101"/>
              <a:gd name="connsiteY5974" fmla="*/ 2306316 h 6557032"/>
              <a:gd name="connsiteX5975" fmla="*/ 1126103 w 4610101"/>
              <a:gd name="connsiteY5975" fmla="*/ 2307737 h 6557032"/>
              <a:gd name="connsiteX5976" fmla="*/ 1124281 w 4610101"/>
              <a:gd name="connsiteY5976" fmla="*/ 2309557 h 6557032"/>
              <a:gd name="connsiteX5977" fmla="*/ 1122590 w 4610101"/>
              <a:gd name="connsiteY5977" fmla="*/ 2309840 h 6557032"/>
              <a:gd name="connsiteX5978" fmla="*/ 1125420 w 4610101"/>
              <a:gd name="connsiteY5978" fmla="*/ 2316152 h 6557032"/>
              <a:gd name="connsiteX5979" fmla="*/ 1129748 w 4610101"/>
              <a:gd name="connsiteY5979" fmla="*/ 2318656 h 6557032"/>
              <a:gd name="connsiteX5980" fmla="*/ 1138859 w 4610101"/>
              <a:gd name="connsiteY5980" fmla="*/ 2324124 h 6557032"/>
              <a:gd name="connsiteX5981" fmla="*/ 1133393 w 4610101"/>
              <a:gd name="connsiteY5981" fmla="*/ 2311368 h 6557032"/>
              <a:gd name="connsiteX5982" fmla="*/ 1142503 w 4610101"/>
              <a:gd name="connsiteY5982" fmla="*/ 2309547 h 6557032"/>
              <a:gd name="connsiteX5983" fmla="*/ 3620660 w 4610101"/>
              <a:gd name="connsiteY5983" fmla="*/ 2304308 h 6557032"/>
              <a:gd name="connsiteX5984" fmla="*/ 3635238 w 4610101"/>
              <a:gd name="connsiteY5984" fmla="*/ 2304308 h 6557032"/>
              <a:gd name="connsiteX5985" fmla="*/ 3649815 w 4610101"/>
              <a:gd name="connsiteY5985" fmla="*/ 2304308 h 6557032"/>
              <a:gd name="connsiteX5986" fmla="*/ 3664393 w 4610101"/>
              <a:gd name="connsiteY5986" fmla="*/ 2311567 h 6557032"/>
              <a:gd name="connsiteX5987" fmla="*/ 3664393 w 4610101"/>
              <a:gd name="connsiteY5987" fmla="*/ 2311574 h 6557032"/>
              <a:gd name="connsiteX5988" fmla="*/ 3664393 w 4610101"/>
              <a:gd name="connsiteY5988" fmla="*/ 2326122 h 6557032"/>
              <a:gd name="connsiteX5989" fmla="*/ 3649815 w 4610101"/>
              <a:gd name="connsiteY5989" fmla="*/ 2326122 h 6557032"/>
              <a:gd name="connsiteX5990" fmla="*/ 3655282 w 4610101"/>
              <a:gd name="connsiteY5990" fmla="*/ 2335202 h 6557032"/>
              <a:gd name="connsiteX5991" fmla="*/ 3649815 w 4610101"/>
              <a:gd name="connsiteY5991" fmla="*/ 2340652 h 6557032"/>
              <a:gd name="connsiteX5992" fmla="*/ 3627949 w 4610101"/>
              <a:gd name="connsiteY5992" fmla="*/ 2344323 h 6557032"/>
              <a:gd name="connsiteX5993" fmla="*/ 3627949 w 4610101"/>
              <a:gd name="connsiteY5993" fmla="*/ 2326122 h 6557032"/>
              <a:gd name="connsiteX5994" fmla="*/ 3431153 w 4610101"/>
              <a:gd name="connsiteY5994" fmla="*/ 2302260 h 6557032"/>
              <a:gd name="connsiteX5995" fmla="*/ 3447553 w 4610101"/>
              <a:gd name="connsiteY5995" fmla="*/ 2305906 h 6557032"/>
              <a:gd name="connsiteX5996" fmla="*/ 3440264 w 4610101"/>
              <a:gd name="connsiteY5996" fmla="*/ 2309550 h 6557032"/>
              <a:gd name="connsiteX5997" fmla="*/ 1002196 w 4610101"/>
              <a:gd name="connsiteY5997" fmla="*/ 2294980 h 6557032"/>
              <a:gd name="connsiteX5998" fmla="*/ 987619 w 4610101"/>
              <a:gd name="connsiteY5998" fmla="*/ 2304091 h 6557032"/>
              <a:gd name="connsiteX5999" fmla="*/ 1002196 w 4610101"/>
              <a:gd name="connsiteY5999" fmla="*/ 2318669 h 6557032"/>
              <a:gd name="connsiteX6000" fmla="*/ 1146148 w 4610101"/>
              <a:gd name="connsiteY6000" fmla="*/ 2291335 h 6557032"/>
              <a:gd name="connsiteX6001" fmla="*/ 1145721 w 4610101"/>
              <a:gd name="connsiteY6001" fmla="*/ 2293359 h 6557032"/>
              <a:gd name="connsiteX6002" fmla="*/ 1149769 w 4610101"/>
              <a:gd name="connsiteY6002" fmla="*/ 2291335 h 6557032"/>
              <a:gd name="connsiteX6003" fmla="*/ 951175 w 4610101"/>
              <a:gd name="connsiteY6003" fmla="*/ 2289652 h 6557032"/>
              <a:gd name="connsiteX6004" fmla="*/ 965752 w 4610101"/>
              <a:gd name="connsiteY6004" fmla="*/ 2302422 h 6557032"/>
              <a:gd name="connsiteX6005" fmla="*/ 942064 w 4610101"/>
              <a:gd name="connsiteY6005" fmla="*/ 2311509 h 6557032"/>
              <a:gd name="connsiteX6006" fmla="*/ 2875391 w 4610101"/>
              <a:gd name="connsiteY6006" fmla="*/ 2287682 h 6557032"/>
              <a:gd name="connsiteX6007" fmla="*/ 2876512 w 4610101"/>
              <a:gd name="connsiteY6007" fmla="*/ 2288804 h 6557032"/>
              <a:gd name="connsiteX6008" fmla="*/ 2875391 w 4610101"/>
              <a:gd name="connsiteY6008" fmla="*/ 2289504 h 6557032"/>
              <a:gd name="connsiteX6009" fmla="*/ 2874410 w 4610101"/>
              <a:gd name="connsiteY6009" fmla="*/ 2288172 h 6557032"/>
              <a:gd name="connsiteX6010" fmla="*/ 2857170 w 4610101"/>
              <a:gd name="connsiteY6010" fmla="*/ 2287682 h 6557032"/>
              <a:gd name="connsiteX6011" fmla="*/ 2858992 w 4610101"/>
              <a:gd name="connsiteY6011" fmla="*/ 2293148 h 6557032"/>
              <a:gd name="connsiteX6012" fmla="*/ 2860814 w 4610101"/>
              <a:gd name="connsiteY6012" fmla="*/ 2293148 h 6557032"/>
              <a:gd name="connsiteX6013" fmla="*/ 2857170 w 4610101"/>
              <a:gd name="connsiteY6013" fmla="*/ 2287682 h 6557032"/>
              <a:gd name="connsiteX6014" fmla="*/ 3476708 w 4610101"/>
              <a:gd name="connsiteY6014" fmla="*/ 2285860 h 6557032"/>
              <a:gd name="connsiteX6015" fmla="*/ 3482174 w 4610101"/>
              <a:gd name="connsiteY6015" fmla="*/ 2287683 h 6557032"/>
              <a:gd name="connsiteX6016" fmla="*/ 3473063 w 4610101"/>
              <a:gd name="connsiteY6016" fmla="*/ 2287683 h 6557032"/>
              <a:gd name="connsiteX6017" fmla="*/ 3476708 w 4610101"/>
              <a:gd name="connsiteY6017" fmla="*/ 2285860 h 6557032"/>
              <a:gd name="connsiteX6018" fmla="*/ 3620660 w 4610101"/>
              <a:gd name="connsiteY6018" fmla="*/ 2282340 h 6557032"/>
              <a:gd name="connsiteX6019" fmla="*/ 3620660 w 4610101"/>
              <a:gd name="connsiteY6019" fmla="*/ 2304202 h 6557032"/>
              <a:gd name="connsiteX6020" fmla="*/ 3604260 w 4610101"/>
              <a:gd name="connsiteY6020" fmla="*/ 2296882 h 6557032"/>
              <a:gd name="connsiteX6021" fmla="*/ 2842592 w 4610101"/>
              <a:gd name="connsiteY6021" fmla="*/ 2282215 h 6557032"/>
              <a:gd name="connsiteX6022" fmla="*/ 2840770 w 4610101"/>
              <a:gd name="connsiteY6022" fmla="*/ 2289504 h 6557032"/>
              <a:gd name="connsiteX6023" fmla="*/ 2842592 w 4610101"/>
              <a:gd name="connsiteY6023" fmla="*/ 2282215 h 6557032"/>
              <a:gd name="connsiteX6024" fmla="*/ 3708124 w 4610101"/>
              <a:gd name="connsiteY6024" fmla="*/ 2280500 h 6557032"/>
              <a:gd name="connsiteX6025" fmla="*/ 3709946 w 4610101"/>
              <a:gd name="connsiteY6025" fmla="*/ 2296882 h 6557032"/>
              <a:gd name="connsiteX6026" fmla="*/ 3693546 w 4610101"/>
              <a:gd name="connsiteY6026" fmla="*/ 2295052 h 6557032"/>
              <a:gd name="connsiteX6027" fmla="*/ 1153436 w 4610101"/>
              <a:gd name="connsiteY6027" fmla="*/ 2278579 h 6557032"/>
              <a:gd name="connsiteX6028" fmla="*/ 1149791 w 4610101"/>
              <a:gd name="connsiteY6028" fmla="*/ 2280402 h 6557032"/>
              <a:gd name="connsiteX6029" fmla="*/ 1149791 w 4610101"/>
              <a:gd name="connsiteY6029" fmla="*/ 2291325 h 6557032"/>
              <a:gd name="connsiteX6030" fmla="*/ 1149792 w 4610101"/>
              <a:gd name="connsiteY6030" fmla="*/ 2291324 h 6557032"/>
              <a:gd name="connsiteX6031" fmla="*/ 1153436 w 4610101"/>
              <a:gd name="connsiteY6031" fmla="*/ 2294968 h 6557032"/>
              <a:gd name="connsiteX6032" fmla="*/ 1157081 w 4610101"/>
              <a:gd name="connsiteY6032" fmla="*/ 2287680 h 6557032"/>
              <a:gd name="connsiteX6033" fmla="*/ 1158902 w 4610101"/>
              <a:gd name="connsiteY6033" fmla="*/ 2286840 h 6557032"/>
              <a:gd name="connsiteX6034" fmla="*/ 1158902 w 4610101"/>
              <a:gd name="connsiteY6034" fmla="*/ 2285868 h 6557032"/>
              <a:gd name="connsiteX6035" fmla="*/ 1155259 w 4610101"/>
              <a:gd name="connsiteY6035" fmla="*/ 2285868 h 6557032"/>
              <a:gd name="connsiteX6036" fmla="*/ 1153436 w 4610101"/>
              <a:gd name="connsiteY6036" fmla="*/ 2278579 h 6557032"/>
              <a:gd name="connsiteX6037" fmla="*/ 1185480 w 4610101"/>
              <a:gd name="connsiteY6037" fmla="*/ 2276955 h 6557032"/>
              <a:gd name="connsiteX6038" fmla="*/ 1182136 w 4610101"/>
              <a:gd name="connsiteY6038" fmla="*/ 2277212 h 6557032"/>
              <a:gd name="connsiteX6039" fmla="*/ 1181098 w 4610101"/>
              <a:gd name="connsiteY6039" fmla="*/ 2278250 h 6557032"/>
              <a:gd name="connsiteX6040" fmla="*/ 1181452 w 4610101"/>
              <a:gd name="connsiteY6040" fmla="*/ 2278796 h 6557032"/>
              <a:gd name="connsiteX6041" fmla="*/ 1182592 w 4610101"/>
              <a:gd name="connsiteY6041" fmla="*/ 2284035 h 6557032"/>
              <a:gd name="connsiteX6042" fmla="*/ 1188058 w 4610101"/>
              <a:gd name="connsiteY6042" fmla="*/ 2280391 h 6557032"/>
              <a:gd name="connsiteX6043" fmla="*/ 3544128 w 4610101"/>
              <a:gd name="connsiteY6043" fmla="*/ 2275060 h 6557032"/>
              <a:gd name="connsiteX6044" fmla="*/ 3560528 w 4610101"/>
              <a:gd name="connsiteY6044" fmla="*/ 2287815 h 6557032"/>
              <a:gd name="connsiteX6045" fmla="*/ 3544128 w 4610101"/>
              <a:gd name="connsiteY6045" fmla="*/ 2296882 h 6557032"/>
              <a:gd name="connsiteX6046" fmla="*/ 3799232 w 4610101"/>
              <a:gd name="connsiteY6046" fmla="*/ 2275043 h 6557032"/>
              <a:gd name="connsiteX6047" fmla="*/ 3815632 w 4610101"/>
              <a:gd name="connsiteY6047" fmla="*/ 2275043 h 6557032"/>
              <a:gd name="connsiteX6048" fmla="*/ 3813810 w 4610101"/>
              <a:gd name="connsiteY6048" fmla="*/ 2291431 h 6557032"/>
              <a:gd name="connsiteX6049" fmla="*/ 4411483 w 4610101"/>
              <a:gd name="connsiteY6049" fmla="*/ 2275025 h 6557032"/>
              <a:gd name="connsiteX6050" fmla="*/ 4426060 w 4610101"/>
              <a:gd name="connsiteY6050" fmla="*/ 2275025 h 6557032"/>
              <a:gd name="connsiteX6051" fmla="*/ 4411483 w 4610101"/>
              <a:gd name="connsiteY6051" fmla="*/ 2289596 h 6557032"/>
              <a:gd name="connsiteX6052" fmla="*/ 3649815 w 4610101"/>
              <a:gd name="connsiteY6052" fmla="*/ 2273325 h 6557032"/>
              <a:gd name="connsiteX6053" fmla="*/ 3678970 w 4610101"/>
              <a:gd name="connsiteY6053" fmla="*/ 2296959 h 6557032"/>
              <a:gd name="connsiteX6054" fmla="*/ 3674414 w 4610101"/>
              <a:gd name="connsiteY6054" fmla="*/ 2306341 h 6557032"/>
              <a:gd name="connsiteX6055" fmla="*/ 3664393 w 4610101"/>
              <a:gd name="connsiteY6055" fmla="*/ 2311567 h 6557032"/>
              <a:gd name="connsiteX6056" fmla="*/ 925664 w 4610101"/>
              <a:gd name="connsiteY6056" fmla="*/ 2273286 h 6557032"/>
              <a:gd name="connsiteX6057" fmla="*/ 934777 w 4610101"/>
              <a:gd name="connsiteY6057" fmla="*/ 2289675 h 6557032"/>
              <a:gd name="connsiteX6058" fmla="*/ 901976 w 4610101"/>
              <a:gd name="connsiteY6058" fmla="*/ 2295092 h 6557032"/>
              <a:gd name="connsiteX6059" fmla="*/ 952997 w 4610101"/>
              <a:gd name="connsiteY6059" fmla="*/ 2273108 h 6557032"/>
              <a:gd name="connsiteX6060" fmla="*/ 951175 w 4610101"/>
              <a:gd name="connsiteY6060" fmla="*/ 2274931 h 6557032"/>
              <a:gd name="connsiteX6061" fmla="*/ 945708 w 4610101"/>
              <a:gd name="connsiteY6061" fmla="*/ 2274931 h 6557032"/>
              <a:gd name="connsiteX6062" fmla="*/ 952997 w 4610101"/>
              <a:gd name="connsiteY6062" fmla="*/ 2273108 h 6557032"/>
              <a:gd name="connsiteX6063" fmla="*/ 1177124 w 4610101"/>
              <a:gd name="connsiteY6063" fmla="*/ 2271290 h 6557032"/>
              <a:gd name="connsiteX6064" fmla="*/ 1175302 w 4610101"/>
              <a:gd name="connsiteY6064" fmla="*/ 2278579 h 6557032"/>
              <a:gd name="connsiteX6065" fmla="*/ 1166191 w 4610101"/>
              <a:gd name="connsiteY6065" fmla="*/ 2280402 h 6557032"/>
              <a:gd name="connsiteX6066" fmla="*/ 1164684 w 4610101"/>
              <a:gd name="connsiteY6066" fmla="*/ 2284171 h 6557032"/>
              <a:gd name="connsiteX6067" fmla="*/ 1165964 w 4610101"/>
              <a:gd name="connsiteY6067" fmla="*/ 2283580 h 6557032"/>
              <a:gd name="connsiteX6068" fmla="*/ 1173481 w 4610101"/>
              <a:gd name="connsiteY6068" fmla="*/ 2282213 h 6557032"/>
              <a:gd name="connsiteX6069" fmla="*/ 1173481 w 4610101"/>
              <a:gd name="connsiteY6069" fmla="*/ 2287680 h 6557032"/>
              <a:gd name="connsiteX6070" fmla="*/ 1175303 w 4610101"/>
              <a:gd name="connsiteY6070" fmla="*/ 2289502 h 6557032"/>
              <a:gd name="connsiteX6071" fmla="*/ 1178385 w 4610101"/>
              <a:gd name="connsiteY6071" fmla="*/ 2277173 h 6557032"/>
              <a:gd name="connsiteX6072" fmla="*/ 1178035 w 4610101"/>
              <a:gd name="connsiteY6072" fmla="*/ 2275163 h 6557032"/>
              <a:gd name="connsiteX6073" fmla="*/ 1177124 w 4610101"/>
              <a:gd name="connsiteY6073" fmla="*/ 2271290 h 6557032"/>
              <a:gd name="connsiteX6074" fmla="*/ 1062328 w 4610101"/>
              <a:gd name="connsiteY6074" fmla="*/ 2267646 h 6557032"/>
              <a:gd name="connsiteX6075" fmla="*/ 1038639 w 4610101"/>
              <a:gd name="connsiteY6075" fmla="*/ 2269468 h 6557032"/>
              <a:gd name="connsiteX6076" fmla="*/ 1060506 w 4610101"/>
              <a:gd name="connsiteY6076" fmla="*/ 2291335 h 6557032"/>
              <a:gd name="connsiteX6077" fmla="*/ 3633414 w 4610101"/>
              <a:gd name="connsiteY6077" fmla="*/ 2265913 h 6557032"/>
              <a:gd name="connsiteX6078" fmla="*/ 3635237 w 4610101"/>
              <a:gd name="connsiteY6078" fmla="*/ 2282317 h 6557032"/>
              <a:gd name="connsiteX6079" fmla="*/ 3620659 w 4610101"/>
              <a:gd name="connsiteY6079" fmla="*/ 2282317 h 6557032"/>
              <a:gd name="connsiteX6080" fmla="*/ 934775 w 4610101"/>
              <a:gd name="connsiteY6080" fmla="*/ 2265819 h 6557032"/>
              <a:gd name="connsiteX6081" fmla="*/ 940242 w 4610101"/>
              <a:gd name="connsiteY6081" fmla="*/ 2265819 h 6557032"/>
              <a:gd name="connsiteX6082" fmla="*/ 940242 w 4610101"/>
              <a:gd name="connsiteY6082" fmla="*/ 2269464 h 6557032"/>
              <a:gd name="connsiteX6083" fmla="*/ 934775 w 4610101"/>
              <a:gd name="connsiteY6083" fmla="*/ 2265819 h 6557032"/>
              <a:gd name="connsiteX6084" fmla="*/ 943886 w 4610101"/>
              <a:gd name="connsiteY6084" fmla="*/ 2254886 h 6557032"/>
              <a:gd name="connsiteX6085" fmla="*/ 943886 w 4610101"/>
              <a:gd name="connsiteY6085" fmla="*/ 2258531 h 6557032"/>
              <a:gd name="connsiteX6086" fmla="*/ 940241 w 4610101"/>
              <a:gd name="connsiteY6086" fmla="*/ 2258531 h 6557032"/>
              <a:gd name="connsiteX6087" fmla="*/ 943886 w 4610101"/>
              <a:gd name="connsiteY6087" fmla="*/ 2254886 h 6557032"/>
              <a:gd name="connsiteX6088" fmla="*/ 3447553 w 4610101"/>
              <a:gd name="connsiteY6088" fmla="*/ 2254882 h 6557032"/>
              <a:gd name="connsiteX6089" fmla="*/ 3471242 w 4610101"/>
              <a:gd name="connsiteY6089" fmla="*/ 2258527 h 6557032"/>
              <a:gd name="connsiteX6090" fmla="*/ 3469419 w 4610101"/>
              <a:gd name="connsiteY6090" fmla="*/ 2262171 h 6557032"/>
              <a:gd name="connsiteX6091" fmla="*/ 3454842 w 4610101"/>
              <a:gd name="connsiteY6091" fmla="*/ 2263993 h 6557032"/>
              <a:gd name="connsiteX6092" fmla="*/ 2880402 w 4610101"/>
              <a:gd name="connsiteY6092" fmla="*/ 2253288 h 6557032"/>
              <a:gd name="connsiteX6093" fmla="*/ 2879036 w 4610101"/>
              <a:gd name="connsiteY6093" fmla="*/ 2258527 h 6557032"/>
              <a:gd name="connsiteX6094" fmla="*/ 2880858 w 4610101"/>
              <a:gd name="connsiteY6094" fmla="*/ 2260349 h 6557032"/>
              <a:gd name="connsiteX6095" fmla="*/ 2884502 w 4610101"/>
              <a:gd name="connsiteY6095" fmla="*/ 2254883 h 6557032"/>
              <a:gd name="connsiteX6096" fmla="*/ 2880402 w 4610101"/>
              <a:gd name="connsiteY6096" fmla="*/ 2253288 h 6557032"/>
              <a:gd name="connsiteX6097" fmla="*/ 962108 w 4610101"/>
              <a:gd name="connsiteY6097" fmla="*/ 2251246 h 6557032"/>
              <a:gd name="connsiteX6098" fmla="*/ 973041 w 4610101"/>
              <a:gd name="connsiteY6098" fmla="*/ 2258536 h 6557032"/>
              <a:gd name="connsiteX6099" fmla="*/ 971219 w 4610101"/>
              <a:gd name="connsiteY6099" fmla="*/ 2262180 h 6557032"/>
              <a:gd name="connsiteX6100" fmla="*/ 954819 w 4610101"/>
              <a:gd name="connsiteY6100" fmla="*/ 2271291 h 6557032"/>
              <a:gd name="connsiteX6101" fmla="*/ 952997 w 4610101"/>
              <a:gd name="connsiteY6101" fmla="*/ 2269469 h 6557032"/>
              <a:gd name="connsiteX6102" fmla="*/ 945708 w 4610101"/>
              <a:gd name="connsiteY6102" fmla="*/ 2271291 h 6557032"/>
              <a:gd name="connsiteX6103" fmla="*/ 951175 w 4610101"/>
              <a:gd name="connsiteY6103" fmla="*/ 2256713 h 6557032"/>
              <a:gd name="connsiteX6104" fmla="*/ 963930 w 4610101"/>
              <a:gd name="connsiteY6104" fmla="*/ 2256713 h 6557032"/>
              <a:gd name="connsiteX6105" fmla="*/ 958463 w 4610101"/>
              <a:gd name="connsiteY6105" fmla="*/ 2253069 h 6557032"/>
              <a:gd name="connsiteX6106" fmla="*/ 962108 w 4610101"/>
              <a:gd name="connsiteY6106" fmla="*/ 2251246 h 6557032"/>
              <a:gd name="connsiteX6107" fmla="*/ 993085 w 4610101"/>
              <a:gd name="connsiteY6107" fmla="*/ 2251241 h 6557032"/>
              <a:gd name="connsiteX6108" fmla="*/ 996729 w 4610101"/>
              <a:gd name="connsiteY6108" fmla="*/ 2254886 h 6557032"/>
              <a:gd name="connsiteX6109" fmla="*/ 985796 w 4610101"/>
              <a:gd name="connsiteY6109" fmla="*/ 2256708 h 6557032"/>
              <a:gd name="connsiteX6110" fmla="*/ 993085 w 4610101"/>
              <a:gd name="connsiteY6110" fmla="*/ 2251241 h 6557032"/>
              <a:gd name="connsiteX6111" fmla="*/ 3361910 w 4610101"/>
              <a:gd name="connsiteY6111" fmla="*/ 2251238 h 6557032"/>
              <a:gd name="connsiteX6112" fmla="*/ 3349155 w 4610101"/>
              <a:gd name="connsiteY6112" fmla="*/ 2274927 h 6557032"/>
              <a:gd name="connsiteX6113" fmla="*/ 3363733 w 4610101"/>
              <a:gd name="connsiteY6113" fmla="*/ 2274927 h 6557032"/>
              <a:gd name="connsiteX6114" fmla="*/ 3365555 w 4610101"/>
              <a:gd name="connsiteY6114" fmla="*/ 2291327 h 6557032"/>
              <a:gd name="connsiteX6115" fmla="*/ 3378310 w 4610101"/>
              <a:gd name="connsiteY6115" fmla="*/ 2274927 h 6557032"/>
              <a:gd name="connsiteX6116" fmla="*/ 3363733 w 4610101"/>
              <a:gd name="connsiteY6116" fmla="*/ 2274927 h 6557032"/>
              <a:gd name="connsiteX6117" fmla="*/ 949352 w 4610101"/>
              <a:gd name="connsiteY6117" fmla="*/ 2249418 h 6557032"/>
              <a:gd name="connsiteX6118" fmla="*/ 952997 w 4610101"/>
              <a:gd name="connsiteY6118" fmla="*/ 2249418 h 6557032"/>
              <a:gd name="connsiteX6119" fmla="*/ 951174 w 4610101"/>
              <a:gd name="connsiteY6119" fmla="*/ 2253063 h 6557032"/>
              <a:gd name="connsiteX6120" fmla="*/ 949352 w 4610101"/>
              <a:gd name="connsiteY6120" fmla="*/ 2249418 h 6557032"/>
              <a:gd name="connsiteX6121" fmla="*/ 2879036 w 4610101"/>
              <a:gd name="connsiteY6121" fmla="*/ 2245772 h 6557032"/>
              <a:gd name="connsiteX6122" fmla="*/ 2875391 w 4610101"/>
              <a:gd name="connsiteY6122" fmla="*/ 2253061 h 6557032"/>
              <a:gd name="connsiteX6123" fmla="*/ 2877213 w 4610101"/>
              <a:gd name="connsiteY6123" fmla="*/ 2253061 h 6557032"/>
              <a:gd name="connsiteX6124" fmla="*/ 2879036 w 4610101"/>
              <a:gd name="connsiteY6124" fmla="*/ 2245772 h 6557032"/>
              <a:gd name="connsiteX6125" fmla="*/ 1005840 w 4610101"/>
              <a:gd name="connsiteY6125" fmla="*/ 2243957 h 6557032"/>
              <a:gd name="connsiteX6126" fmla="*/ 996729 w 4610101"/>
              <a:gd name="connsiteY6126" fmla="*/ 2247602 h 6557032"/>
              <a:gd name="connsiteX6127" fmla="*/ 1005840 w 4610101"/>
              <a:gd name="connsiteY6127" fmla="*/ 2243957 h 6557032"/>
              <a:gd name="connsiteX6128" fmla="*/ 3442087 w 4610101"/>
              <a:gd name="connsiteY6128" fmla="*/ 2243951 h 6557032"/>
              <a:gd name="connsiteX6129" fmla="*/ 3460308 w 4610101"/>
              <a:gd name="connsiteY6129" fmla="*/ 2245772 h 6557032"/>
              <a:gd name="connsiteX6130" fmla="*/ 3474886 w 4610101"/>
              <a:gd name="connsiteY6130" fmla="*/ 2249418 h 6557032"/>
              <a:gd name="connsiteX6131" fmla="*/ 3465775 w 4610101"/>
              <a:gd name="connsiteY6131" fmla="*/ 2249418 h 6557032"/>
              <a:gd name="connsiteX6132" fmla="*/ 3440265 w 4610101"/>
              <a:gd name="connsiteY6132" fmla="*/ 2247596 h 6557032"/>
              <a:gd name="connsiteX6133" fmla="*/ 3438442 w 4610101"/>
              <a:gd name="connsiteY6133" fmla="*/ 2245772 h 6557032"/>
              <a:gd name="connsiteX6134" fmla="*/ 4334952 w 4610101"/>
              <a:gd name="connsiteY6134" fmla="*/ 2242277 h 6557032"/>
              <a:gd name="connsiteX6135" fmla="*/ 4336775 w 4610101"/>
              <a:gd name="connsiteY6135" fmla="*/ 2265987 h 6557032"/>
              <a:gd name="connsiteX6136" fmla="*/ 4313086 w 4610101"/>
              <a:gd name="connsiteY6136" fmla="*/ 2265987 h 6557032"/>
              <a:gd name="connsiteX6137" fmla="*/ 982152 w 4610101"/>
              <a:gd name="connsiteY6137" fmla="*/ 2242130 h 6557032"/>
              <a:gd name="connsiteX6138" fmla="*/ 993085 w 4610101"/>
              <a:gd name="connsiteY6138" fmla="*/ 2249420 h 6557032"/>
              <a:gd name="connsiteX6139" fmla="*/ 980330 w 4610101"/>
              <a:gd name="connsiteY6139" fmla="*/ 2258531 h 6557032"/>
              <a:gd name="connsiteX6140" fmla="*/ 974863 w 4610101"/>
              <a:gd name="connsiteY6140" fmla="*/ 2260354 h 6557032"/>
              <a:gd name="connsiteX6141" fmla="*/ 967574 w 4610101"/>
              <a:gd name="connsiteY6141" fmla="*/ 2247598 h 6557032"/>
              <a:gd name="connsiteX6142" fmla="*/ 974863 w 4610101"/>
              <a:gd name="connsiteY6142" fmla="*/ 2243953 h 6557032"/>
              <a:gd name="connsiteX6143" fmla="*/ 982152 w 4610101"/>
              <a:gd name="connsiteY6143" fmla="*/ 2242130 h 6557032"/>
              <a:gd name="connsiteX6144" fmla="*/ 1157081 w 4610101"/>
              <a:gd name="connsiteY6144" fmla="*/ 2240312 h 6557032"/>
              <a:gd name="connsiteX6145" fmla="*/ 1153436 w 4610101"/>
              <a:gd name="connsiteY6145" fmla="*/ 2242134 h 6557032"/>
              <a:gd name="connsiteX6146" fmla="*/ 1151614 w 4610101"/>
              <a:gd name="connsiteY6146" fmla="*/ 2254890 h 6557032"/>
              <a:gd name="connsiteX6147" fmla="*/ 1138859 w 4610101"/>
              <a:gd name="connsiteY6147" fmla="*/ 2265823 h 6557032"/>
              <a:gd name="connsiteX6148" fmla="*/ 1115171 w 4610101"/>
              <a:gd name="connsiteY6148" fmla="*/ 2278579 h 6557032"/>
              <a:gd name="connsiteX6149" fmla="*/ 1111526 w 4610101"/>
              <a:gd name="connsiteY6149" fmla="*/ 2282225 h 6557032"/>
              <a:gd name="connsiteX6150" fmla="*/ 1113348 w 4610101"/>
              <a:gd name="connsiteY6150" fmla="*/ 2287691 h 6557032"/>
              <a:gd name="connsiteX6151" fmla="*/ 1107881 w 4610101"/>
              <a:gd name="connsiteY6151" fmla="*/ 2285870 h 6557032"/>
              <a:gd name="connsiteX6152" fmla="*/ 1107881 w 4610101"/>
              <a:gd name="connsiteY6152" fmla="*/ 2294981 h 6557032"/>
              <a:gd name="connsiteX6153" fmla="*/ 1085213 w 4610101"/>
              <a:gd name="connsiteY6153" fmla="*/ 2307575 h 6557032"/>
              <a:gd name="connsiteX6154" fmla="*/ 1094166 w 4610101"/>
              <a:gd name="connsiteY6154" fmla="*/ 2307662 h 6557032"/>
              <a:gd name="connsiteX6155" fmla="*/ 1100593 w 4610101"/>
              <a:gd name="connsiteY6155" fmla="*/ 2304091 h 6557032"/>
              <a:gd name="connsiteX6156" fmla="*/ 1113348 w 4610101"/>
              <a:gd name="connsiteY6156" fmla="*/ 2298624 h 6557032"/>
              <a:gd name="connsiteX6157" fmla="*/ 1116992 w 4610101"/>
              <a:gd name="connsiteY6157" fmla="*/ 2294980 h 6557032"/>
              <a:gd name="connsiteX6158" fmla="*/ 1126103 w 4610101"/>
              <a:gd name="connsiteY6158" fmla="*/ 2298624 h 6557032"/>
              <a:gd name="connsiteX6159" fmla="*/ 1124281 w 4610101"/>
              <a:gd name="connsiteY6159" fmla="*/ 2293157 h 6557032"/>
              <a:gd name="connsiteX6160" fmla="*/ 1129748 w 4610101"/>
              <a:gd name="connsiteY6160" fmla="*/ 2289513 h 6557032"/>
              <a:gd name="connsiteX6161" fmla="*/ 1127926 w 4610101"/>
              <a:gd name="connsiteY6161" fmla="*/ 2287691 h 6557032"/>
              <a:gd name="connsiteX6162" fmla="*/ 1151614 w 4610101"/>
              <a:gd name="connsiteY6162" fmla="*/ 2269468 h 6557032"/>
              <a:gd name="connsiteX6163" fmla="*/ 1157080 w 4610101"/>
              <a:gd name="connsiteY6163" fmla="*/ 2264783 h 6557032"/>
              <a:gd name="connsiteX6164" fmla="*/ 1135215 w 4610101"/>
              <a:gd name="connsiteY6164" fmla="*/ 2280402 h 6557032"/>
              <a:gd name="connsiteX6165" fmla="*/ 1116993 w 4610101"/>
              <a:gd name="connsiteY6165" fmla="*/ 2289513 h 6557032"/>
              <a:gd name="connsiteX6166" fmla="*/ 1120637 w 4610101"/>
              <a:gd name="connsiteY6166" fmla="*/ 2282224 h 6557032"/>
              <a:gd name="connsiteX6167" fmla="*/ 1124282 w 4610101"/>
              <a:gd name="connsiteY6167" fmla="*/ 2276757 h 6557032"/>
              <a:gd name="connsiteX6168" fmla="*/ 1142503 w 4610101"/>
              <a:gd name="connsiteY6168" fmla="*/ 2267646 h 6557032"/>
              <a:gd name="connsiteX6169" fmla="*/ 1147970 w 4610101"/>
              <a:gd name="connsiteY6169" fmla="*/ 2264001 h 6557032"/>
              <a:gd name="connsiteX6170" fmla="*/ 1146148 w 4610101"/>
              <a:gd name="connsiteY6170" fmla="*/ 2264001 h 6557032"/>
              <a:gd name="connsiteX6171" fmla="*/ 1151614 w 4610101"/>
              <a:gd name="connsiteY6171" fmla="*/ 2258535 h 6557032"/>
              <a:gd name="connsiteX6172" fmla="*/ 1153436 w 4610101"/>
              <a:gd name="connsiteY6172" fmla="*/ 2262179 h 6557032"/>
              <a:gd name="connsiteX6173" fmla="*/ 1151614 w 4610101"/>
              <a:gd name="connsiteY6173" fmla="*/ 2256712 h 6557032"/>
              <a:gd name="connsiteX6174" fmla="*/ 1158903 w 4610101"/>
              <a:gd name="connsiteY6174" fmla="*/ 2258535 h 6557032"/>
              <a:gd name="connsiteX6175" fmla="*/ 1157081 w 4610101"/>
              <a:gd name="connsiteY6175" fmla="*/ 2254890 h 6557032"/>
              <a:gd name="connsiteX6176" fmla="*/ 1162547 w 4610101"/>
              <a:gd name="connsiteY6176" fmla="*/ 2253067 h 6557032"/>
              <a:gd name="connsiteX6177" fmla="*/ 1158903 w 4610101"/>
              <a:gd name="connsiteY6177" fmla="*/ 2251245 h 6557032"/>
              <a:gd name="connsiteX6178" fmla="*/ 1162547 w 4610101"/>
              <a:gd name="connsiteY6178" fmla="*/ 2243956 h 6557032"/>
              <a:gd name="connsiteX6179" fmla="*/ 1158903 w 4610101"/>
              <a:gd name="connsiteY6179" fmla="*/ 2245778 h 6557032"/>
              <a:gd name="connsiteX6180" fmla="*/ 1157081 w 4610101"/>
              <a:gd name="connsiteY6180" fmla="*/ 2240312 h 6557032"/>
              <a:gd name="connsiteX6181" fmla="*/ 2869925 w 4610101"/>
              <a:gd name="connsiteY6181" fmla="*/ 2236661 h 6557032"/>
              <a:gd name="connsiteX6182" fmla="*/ 2868103 w 4610101"/>
              <a:gd name="connsiteY6182" fmla="*/ 2243950 h 6557032"/>
              <a:gd name="connsiteX6183" fmla="*/ 2869925 w 4610101"/>
              <a:gd name="connsiteY6183" fmla="*/ 2243950 h 6557032"/>
              <a:gd name="connsiteX6184" fmla="*/ 2871747 w 4610101"/>
              <a:gd name="connsiteY6184" fmla="*/ 2236661 h 6557032"/>
              <a:gd name="connsiteX6185" fmla="*/ 2869925 w 4610101"/>
              <a:gd name="connsiteY6185" fmla="*/ 2236661 h 6557032"/>
              <a:gd name="connsiteX6186" fmla="*/ 3363734 w 4610101"/>
              <a:gd name="connsiteY6186" fmla="*/ 2233017 h 6557032"/>
              <a:gd name="connsiteX6187" fmla="*/ 3369201 w 4610101"/>
              <a:gd name="connsiteY6187" fmla="*/ 2233017 h 6557032"/>
              <a:gd name="connsiteX6188" fmla="*/ 3363734 w 4610101"/>
              <a:gd name="connsiteY6188" fmla="*/ 2233017 h 6557032"/>
              <a:gd name="connsiteX6189" fmla="*/ 3387421 w 4610101"/>
              <a:gd name="connsiteY6189" fmla="*/ 2231194 h 6557032"/>
              <a:gd name="connsiteX6190" fmla="*/ 3416576 w 4610101"/>
              <a:gd name="connsiteY6190" fmla="*/ 2231194 h 6557032"/>
              <a:gd name="connsiteX6191" fmla="*/ 3403820 w 4610101"/>
              <a:gd name="connsiteY6191" fmla="*/ 2236661 h 6557032"/>
              <a:gd name="connsiteX6192" fmla="*/ 3409287 w 4610101"/>
              <a:gd name="connsiteY6192" fmla="*/ 2249416 h 6557032"/>
              <a:gd name="connsiteX6193" fmla="*/ 3400176 w 4610101"/>
              <a:gd name="connsiteY6193" fmla="*/ 2251238 h 6557032"/>
              <a:gd name="connsiteX6194" fmla="*/ 3401998 w 4610101"/>
              <a:gd name="connsiteY6194" fmla="*/ 2260350 h 6557032"/>
              <a:gd name="connsiteX6195" fmla="*/ 3412931 w 4610101"/>
              <a:gd name="connsiteY6195" fmla="*/ 2258527 h 6557032"/>
              <a:gd name="connsiteX6196" fmla="*/ 3420220 w 4610101"/>
              <a:gd name="connsiteY6196" fmla="*/ 2276750 h 6557032"/>
              <a:gd name="connsiteX6197" fmla="*/ 3422042 w 4610101"/>
              <a:gd name="connsiteY6197" fmla="*/ 2276750 h 6557032"/>
              <a:gd name="connsiteX6198" fmla="*/ 3423864 w 4610101"/>
              <a:gd name="connsiteY6198" fmla="*/ 2278572 h 6557032"/>
              <a:gd name="connsiteX6199" fmla="*/ 3451197 w 4610101"/>
              <a:gd name="connsiteY6199" fmla="*/ 2282216 h 6557032"/>
              <a:gd name="connsiteX6200" fmla="*/ 3460308 w 4610101"/>
              <a:gd name="connsiteY6200" fmla="*/ 2284038 h 6557032"/>
              <a:gd name="connsiteX6201" fmla="*/ 3463952 w 4610101"/>
              <a:gd name="connsiteY6201" fmla="*/ 2287683 h 6557032"/>
              <a:gd name="connsiteX6202" fmla="*/ 3396532 w 4610101"/>
              <a:gd name="connsiteY6202" fmla="*/ 2282216 h 6557032"/>
              <a:gd name="connsiteX6203" fmla="*/ 3396532 w 4610101"/>
              <a:gd name="connsiteY6203" fmla="*/ 2291327 h 6557032"/>
              <a:gd name="connsiteX6204" fmla="*/ 3422042 w 4610101"/>
              <a:gd name="connsiteY6204" fmla="*/ 2302260 h 6557032"/>
              <a:gd name="connsiteX6205" fmla="*/ 3420220 w 4610101"/>
              <a:gd name="connsiteY6205" fmla="*/ 2309550 h 6557032"/>
              <a:gd name="connsiteX6206" fmla="*/ 3407465 w 4610101"/>
              <a:gd name="connsiteY6206" fmla="*/ 2309550 h 6557032"/>
              <a:gd name="connsiteX6207" fmla="*/ 3407465 w 4610101"/>
              <a:gd name="connsiteY6207" fmla="*/ 2315015 h 6557032"/>
              <a:gd name="connsiteX6208" fmla="*/ 3418398 w 4610101"/>
              <a:gd name="connsiteY6208" fmla="*/ 2320482 h 6557032"/>
              <a:gd name="connsiteX6209" fmla="*/ 3416576 w 4610101"/>
              <a:gd name="connsiteY6209" fmla="*/ 2324126 h 6557032"/>
              <a:gd name="connsiteX6210" fmla="*/ 3411109 w 4610101"/>
              <a:gd name="connsiteY6210" fmla="*/ 2324126 h 6557032"/>
              <a:gd name="connsiteX6211" fmla="*/ 3403820 w 4610101"/>
              <a:gd name="connsiteY6211" fmla="*/ 2331416 h 6557032"/>
              <a:gd name="connsiteX6212" fmla="*/ 3403820 w 4610101"/>
              <a:gd name="connsiteY6212" fmla="*/ 2333238 h 6557032"/>
              <a:gd name="connsiteX6213" fmla="*/ 3411109 w 4610101"/>
              <a:gd name="connsiteY6213" fmla="*/ 2340526 h 6557032"/>
              <a:gd name="connsiteX6214" fmla="*/ 3387421 w 4610101"/>
              <a:gd name="connsiteY6214" fmla="*/ 2331416 h 6557032"/>
              <a:gd name="connsiteX6215" fmla="*/ 3392887 w 4610101"/>
              <a:gd name="connsiteY6215" fmla="*/ 2309550 h 6557032"/>
              <a:gd name="connsiteX6216" fmla="*/ 3371021 w 4610101"/>
              <a:gd name="connsiteY6216" fmla="*/ 2318660 h 6557032"/>
              <a:gd name="connsiteX6217" fmla="*/ 3378310 w 4610101"/>
              <a:gd name="connsiteY6217" fmla="*/ 2331416 h 6557032"/>
              <a:gd name="connsiteX6218" fmla="*/ 3278090 w 4610101"/>
              <a:gd name="connsiteY6218" fmla="*/ 2247594 h 6557032"/>
              <a:gd name="connsiteX6219" fmla="*/ 3350977 w 4610101"/>
              <a:gd name="connsiteY6219" fmla="*/ 2234839 h 6557032"/>
              <a:gd name="connsiteX6220" fmla="*/ 3343689 w 4610101"/>
              <a:gd name="connsiteY6220" fmla="*/ 2243950 h 6557032"/>
              <a:gd name="connsiteX6221" fmla="*/ 3365555 w 4610101"/>
              <a:gd name="connsiteY6221" fmla="*/ 2243950 h 6557032"/>
              <a:gd name="connsiteX6222" fmla="*/ 3387421 w 4610101"/>
              <a:gd name="connsiteY6222" fmla="*/ 2231194 h 6557032"/>
              <a:gd name="connsiteX6223" fmla="*/ 1208102 w 4610101"/>
              <a:gd name="connsiteY6223" fmla="*/ 2227556 h 6557032"/>
              <a:gd name="connsiteX6224" fmla="*/ 1209925 w 4610101"/>
              <a:gd name="connsiteY6224" fmla="*/ 2236668 h 6557032"/>
              <a:gd name="connsiteX6225" fmla="*/ 1206279 w 4610101"/>
              <a:gd name="connsiteY6225" fmla="*/ 2233024 h 6557032"/>
              <a:gd name="connsiteX6226" fmla="*/ 1208102 w 4610101"/>
              <a:gd name="connsiteY6226" fmla="*/ 2243957 h 6557032"/>
              <a:gd name="connsiteX6227" fmla="*/ 1204457 w 4610101"/>
              <a:gd name="connsiteY6227" fmla="*/ 2245780 h 6557032"/>
              <a:gd name="connsiteX6228" fmla="*/ 1204457 w 4610101"/>
              <a:gd name="connsiteY6228" fmla="*/ 2229378 h 6557032"/>
              <a:gd name="connsiteX6229" fmla="*/ 1208102 w 4610101"/>
              <a:gd name="connsiteY6229" fmla="*/ 2227556 h 6557032"/>
              <a:gd name="connsiteX6230" fmla="*/ 1009485 w 4610101"/>
              <a:gd name="connsiteY6230" fmla="*/ 2227556 h 6557032"/>
              <a:gd name="connsiteX6231" fmla="*/ 1009485 w 4610101"/>
              <a:gd name="connsiteY6231" fmla="*/ 2238489 h 6557032"/>
              <a:gd name="connsiteX6232" fmla="*/ 994907 w 4610101"/>
              <a:gd name="connsiteY6232" fmla="*/ 2247601 h 6557032"/>
              <a:gd name="connsiteX6233" fmla="*/ 985796 w 4610101"/>
              <a:gd name="connsiteY6233" fmla="*/ 2236668 h 6557032"/>
              <a:gd name="connsiteX6234" fmla="*/ 989441 w 4610101"/>
              <a:gd name="connsiteY6234" fmla="*/ 2234845 h 6557032"/>
              <a:gd name="connsiteX6235" fmla="*/ 993085 w 4610101"/>
              <a:gd name="connsiteY6235" fmla="*/ 2238489 h 6557032"/>
              <a:gd name="connsiteX6236" fmla="*/ 996729 w 4610101"/>
              <a:gd name="connsiteY6236" fmla="*/ 2233024 h 6557032"/>
              <a:gd name="connsiteX6237" fmla="*/ 1009485 w 4610101"/>
              <a:gd name="connsiteY6237" fmla="*/ 2227556 h 6557032"/>
              <a:gd name="connsiteX6238" fmla="*/ 1023378 w 4610101"/>
              <a:gd name="connsiteY6238" fmla="*/ 2227326 h 6557032"/>
              <a:gd name="connsiteX6239" fmla="*/ 1027707 w 4610101"/>
              <a:gd name="connsiteY6239" fmla="*/ 2227552 h 6557032"/>
              <a:gd name="connsiteX6240" fmla="*/ 1020417 w 4610101"/>
              <a:gd name="connsiteY6240" fmla="*/ 2231196 h 6557032"/>
              <a:gd name="connsiteX6241" fmla="*/ 1023378 w 4610101"/>
              <a:gd name="connsiteY6241" fmla="*/ 2227326 h 6557032"/>
              <a:gd name="connsiteX6242" fmla="*/ 2993832 w 4610101"/>
              <a:gd name="connsiteY6242" fmla="*/ 2220260 h 6557032"/>
              <a:gd name="connsiteX6243" fmla="*/ 2994288 w 4610101"/>
              <a:gd name="connsiteY6243" fmla="*/ 2220260 h 6557032"/>
              <a:gd name="connsiteX6244" fmla="*/ 2996565 w 4610101"/>
              <a:gd name="connsiteY6244" fmla="*/ 2220260 h 6557032"/>
              <a:gd name="connsiteX6245" fmla="*/ 2995447 w 4610101"/>
              <a:gd name="connsiteY6245" fmla="*/ 2221006 h 6557032"/>
              <a:gd name="connsiteX6246" fmla="*/ 1058684 w 4610101"/>
              <a:gd name="connsiteY6246" fmla="*/ 2216618 h 6557032"/>
              <a:gd name="connsiteX6247" fmla="*/ 1031351 w 4610101"/>
              <a:gd name="connsiteY6247" fmla="*/ 2225729 h 6557032"/>
              <a:gd name="connsiteX6248" fmla="*/ 1027707 w 4610101"/>
              <a:gd name="connsiteY6248" fmla="*/ 2222085 h 6557032"/>
              <a:gd name="connsiteX6249" fmla="*/ 1058684 w 4610101"/>
              <a:gd name="connsiteY6249" fmla="*/ 2216618 h 6557032"/>
              <a:gd name="connsiteX6250" fmla="*/ 2603887 w 4610101"/>
              <a:gd name="connsiteY6250" fmla="*/ 2214952 h 6557032"/>
              <a:gd name="connsiteX6251" fmla="*/ 2612997 w 4610101"/>
              <a:gd name="connsiteY6251" fmla="*/ 2216779 h 6557032"/>
              <a:gd name="connsiteX6252" fmla="*/ 2612997 w 4610101"/>
              <a:gd name="connsiteY6252" fmla="*/ 2222253 h 6557032"/>
              <a:gd name="connsiteX6253" fmla="*/ 2605709 w 4610101"/>
              <a:gd name="connsiteY6253" fmla="*/ 2224075 h 6557032"/>
              <a:gd name="connsiteX6254" fmla="*/ 2600242 w 4610101"/>
              <a:gd name="connsiteY6254" fmla="*/ 2218603 h 6557032"/>
              <a:gd name="connsiteX6255" fmla="*/ 4433349 w 4610101"/>
              <a:gd name="connsiteY6255" fmla="*/ 2214920 h 6557032"/>
              <a:gd name="connsiteX6256" fmla="*/ 4458861 w 4610101"/>
              <a:gd name="connsiteY6256" fmla="*/ 2234983 h 6557032"/>
              <a:gd name="connsiteX6257" fmla="*/ 4440638 w 4610101"/>
              <a:gd name="connsiteY6257" fmla="*/ 2244105 h 6557032"/>
              <a:gd name="connsiteX6258" fmla="*/ 1217214 w 4610101"/>
              <a:gd name="connsiteY6258" fmla="*/ 2214800 h 6557032"/>
              <a:gd name="connsiteX6259" fmla="*/ 1215391 w 4610101"/>
              <a:gd name="connsiteY6259" fmla="*/ 2222089 h 6557032"/>
              <a:gd name="connsiteX6260" fmla="*/ 1213239 w 4610101"/>
              <a:gd name="connsiteY6260" fmla="*/ 2224076 h 6557032"/>
              <a:gd name="connsiteX6261" fmla="*/ 1213568 w 4610101"/>
              <a:gd name="connsiteY6261" fmla="*/ 2223911 h 6557032"/>
              <a:gd name="connsiteX6262" fmla="*/ 1213568 w 4610101"/>
              <a:gd name="connsiteY6262" fmla="*/ 2234844 h 6557032"/>
              <a:gd name="connsiteX6263" fmla="*/ 1211745 w 4610101"/>
              <a:gd name="connsiteY6263" fmla="*/ 2230973 h 6557032"/>
              <a:gd name="connsiteX6264" fmla="*/ 1210115 w 4610101"/>
              <a:gd name="connsiteY6264" fmla="*/ 2226285 h 6557032"/>
              <a:gd name="connsiteX6265" fmla="*/ 1208103 w 4610101"/>
              <a:gd name="connsiteY6265" fmla="*/ 2227556 h 6557032"/>
              <a:gd name="connsiteX6266" fmla="*/ 1206280 w 4610101"/>
              <a:gd name="connsiteY6266" fmla="*/ 2225734 h 6557032"/>
              <a:gd name="connsiteX6267" fmla="*/ 1202636 w 4610101"/>
              <a:gd name="connsiteY6267" fmla="*/ 2231200 h 6557032"/>
              <a:gd name="connsiteX6268" fmla="*/ 1197170 w 4610101"/>
              <a:gd name="connsiteY6268" fmla="*/ 2222089 h 6557032"/>
              <a:gd name="connsiteX6269" fmla="*/ 1195347 w 4610101"/>
              <a:gd name="connsiteY6269" fmla="*/ 2234844 h 6557032"/>
              <a:gd name="connsiteX6270" fmla="*/ 1169836 w 4610101"/>
              <a:gd name="connsiteY6270" fmla="*/ 2254890 h 6557032"/>
              <a:gd name="connsiteX6271" fmla="*/ 1166192 w 4610101"/>
              <a:gd name="connsiteY6271" fmla="*/ 2256712 h 6557032"/>
              <a:gd name="connsiteX6272" fmla="*/ 1164370 w 4610101"/>
              <a:gd name="connsiteY6272" fmla="*/ 2258534 h 6557032"/>
              <a:gd name="connsiteX6273" fmla="*/ 1171658 w 4610101"/>
              <a:gd name="connsiteY6273" fmla="*/ 2256712 h 6557032"/>
              <a:gd name="connsiteX6274" fmla="*/ 1175302 w 4610101"/>
              <a:gd name="connsiteY6274" fmla="*/ 2251245 h 6557032"/>
              <a:gd name="connsiteX6275" fmla="*/ 1193525 w 4610101"/>
              <a:gd name="connsiteY6275" fmla="*/ 2242134 h 6557032"/>
              <a:gd name="connsiteX6276" fmla="*/ 1191703 w 4610101"/>
              <a:gd name="connsiteY6276" fmla="*/ 2240312 h 6557032"/>
              <a:gd name="connsiteX6277" fmla="*/ 1198991 w 4610101"/>
              <a:gd name="connsiteY6277" fmla="*/ 2234844 h 6557032"/>
              <a:gd name="connsiteX6278" fmla="*/ 1204458 w 4610101"/>
              <a:gd name="connsiteY6278" fmla="*/ 2253067 h 6557032"/>
              <a:gd name="connsiteX6279" fmla="*/ 1198991 w 4610101"/>
              <a:gd name="connsiteY6279" fmla="*/ 2249423 h 6557032"/>
              <a:gd name="connsiteX6280" fmla="*/ 1182592 w 4610101"/>
              <a:gd name="connsiteY6280" fmla="*/ 2253067 h 6557032"/>
              <a:gd name="connsiteX6281" fmla="*/ 1200814 w 4610101"/>
              <a:gd name="connsiteY6281" fmla="*/ 2253067 h 6557032"/>
              <a:gd name="connsiteX6282" fmla="*/ 1198991 w 4610101"/>
              <a:gd name="connsiteY6282" fmla="*/ 2256712 h 6557032"/>
              <a:gd name="connsiteX6283" fmla="*/ 1200814 w 4610101"/>
              <a:gd name="connsiteY6283" fmla="*/ 2258534 h 6557032"/>
              <a:gd name="connsiteX6284" fmla="*/ 1198229 w 4610101"/>
              <a:gd name="connsiteY6284" fmla="*/ 2262225 h 6557032"/>
              <a:gd name="connsiteX6285" fmla="*/ 1208102 w 4610101"/>
              <a:gd name="connsiteY6285" fmla="*/ 2256703 h 6557032"/>
              <a:gd name="connsiteX6286" fmla="*/ 1208951 w 4610101"/>
              <a:gd name="connsiteY6286" fmla="*/ 2258402 h 6557032"/>
              <a:gd name="connsiteX6287" fmla="*/ 1213568 w 4610101"/>
              <a:gd name="connsiteY6287" fmla="*/ 2256713 h 6557032"/>
              <a:gd name="connsiteX6288" fmla="*/ 1213568 w 4610101"/>
              <a:gd name="connsiteY6288" fmla="*/ 2258536 h 6557032"/>
              <a:gd name="connsiteX6289" fmla="*/ 1210101 w 4610101"/>
              <a:gd name="connsiteY6289" fmla="*/ 2260702 h 6557032"/>
              <a:gd name="connsiteX6290" fmla="*/ 1211747 w 4610101"/>
              <a:gd name="connsiteY6290" fmla="*/ 2263991 h 6557032"/>
              <a:gd name="connsiteX6291" fmla="*/ 1197169 w 4610101"/>
              <a:gd name="connsiteY6291" fmla="*/ 2273102 h 6557032"/>
              <a:gd name="connsiteX6292" fmla="*/ 1215390 w 4610101"/>
              <a:gd name="connsiteY6292" fmla="*/ 2263991 h 6557032"/>
              <a:gd name="connsiteX6293" fmla="*/ 1219036 w 4610101"/>
              <a:gd name="connsiteY6293" fmla="*/ 2269459 h 6557032"/>
              <a:gd name="connsiteX6294" fmla="*/ 1211747 w 4610101"/>
              <a:gd name="connsiteY6294" fmla="*/ 2280391 h 6557032"/>
              <a:gd name="connsiteX6295" fmla="*/ 1219036 w 4610101"/>
              <a:gd name="connsiteY6295" fmla="*/ 2271280 h 6557032"/>
              <a:gd name="connsiteX6296" fmla="*/ 1219036 w 4610101"/>
              <a:gd name="connsiteY6296" fmla="*/ 2280391 h 6557032"/>
              <a:gd name="connsiteX6297" fmla="*/ 1220856 w 4610101"/>
              <a:gd name="connsiteY6297" fmla="*/ 2282212 h 6557032"/>
              <a:gd name="connsiteX6298" fmla="*/ 1220856 w 4610101"/>
              <a:gd name="connsiteY6298" fmla="*/ 2278573 h 6557032"/>
              <a:gd name="connsiteX6299" fmla="*/ 1224501 w 4610101"/>
              <a:gd name="connsiteY6299" fmla="*/ 2282218 h 6557032"/>
              <a:gd name="connsiteX6300" fmla="*/ 1220862 w 4610101"/>
              <a:gd name="connsiteY6300" fmla="*/ 2282218 h 6557032"/>
              <a:gd name="connsiteX6301" fmla="*/ 1228146 w 4610101"/>
              <a:gd name="connsiteY6301" fmla="*/ 2289502 h 6557032"/>
              <a:gd name="connsiteX6302" fmla="*/ 1228146 w 4610101"/>
              <a:gd name="connsiteY6302" fmla="*/ 2276746 h 6557032"/>
              <a:gd name="connsiteX6303" fmla="*/ 1235434 w 4610101"/>
              <a:gd name="connsiteY6303" fmla="*/ 2280391 h 6557032"/>
              <a:gd name="connsiteX6304" fmla="*/ 1240901 w 4610101"/>
              <a:gd name="connsiteY6304" fmla="*/ 2276746 h 6557032"/>
              <a:gd name="connsiteX6305" fmla="*/ 1231790 w 4610101"/>
              <a:gd name="connsiteY6305" fmla="*/ 2265813 h 6557032"/>
              <a:gd name="connsiteX6306" fmla="*/ 1235434 w 4610101"/>
              <a:gd name="connsiteY6306" fmla="*/ 2262169 h 6557032"/>
              <a:gd name="connsiteX6307" fmla="*/ 1224501 w 4610101"/>
              <a:gd name="connsiteY6307" fmla="*/ 2263991 h 6557032"/>
              <a:gd name="connsiteX6308" fmla="*/ 1224501 w 4610101"/>
              <a:gd name="connsiteY6308" fmla="*/ 2262169 h 6557032"/>
              <a:gd name="connsiteX6309" fmla="*/ 1220858 w 4610101"/>
              <a:gd name="connsiteY6309" fmla="*/ 2262169 h 6557032"/>
              <a:gd name="connsiteX6310" fmla="*/ 1220858 w 4610101"/>
              <a:gd name="connsiteY6310" fmla="*/ 2258525 h 6557032"/>
              <a:gd name="connsiteX6311" fmla="*/ 1224623 w 4610101"/>
              <a:gd name="connsiteY6311" fmla="*/ 2255857 h 6557032"/>
              <a:gd name="connsiteX6312" fmla="*/ 1220630 w 4610101"/>
              <a:gd name="connsiteY6312" fmla="*/ 2254890 h 6557032"/>
              <a:gd name="connsiteX6313" fmla="*/ 1212201 w 4610101"/>
              <a:gd name="connsiteY6313" fmla="*/ 2253161 h 6557032"/>
              <a:gd name="connsiteX6314" fmla="*/ 1206279 w 4610101"/>
              <a:gd name="connsiteY6314" fmla="*/ 2256713 h 6557032"/>
              <a:gd name="connsiteX6315" fmla="*/ 1211747 w 4610101"/>
              <a:gd name="connsiteY6315" fmla="*/ 2249424 h 6557032"/>
              <a:gd name="connsiteX6316" fmla="*/ 1212037 w 4610101"/>
              <a:gd name="connsiteY6316" fmla="*/ 2249570 h 6557032"/>
              <a:gd name="connsiteX6317" fmla="*/ 1213569 w 4610101"/>
              <a:gd name="connsiteY6317" fmla="*/ 2247601 h 6557032"/>
              <a:gd name="connsiteX6318" fmla="*/ 1231791 w 4610101"/>
              <a:gd name="connsiteY6318" fmla="*/ 2247601 h 6557032"/>
              <a:gd name="connsiteX6319" fmla="*/ 1220858 w 4610101"/>
              <a:gd name="connsiteY6319" fmla="*/ 2243956 h 6557032"/>
              <a:gd name="connsiteX6320" fmla="*/ 1222680 w 4610101"/>
              <a:gd name="connsiteY6320" fmla="*/ 2242134 h 6557032"/>
              <a:gd name="connsiteX6321" fmla="*/ 1219036 w 4610101"/>
              <a:gd name="connsiteY6321" fmla="*/ 2240312 h 6557032"/>
              <a:gd name="connsiteX6322" fmla="*/ 1226324 w 4610101"/>
              <a:gd name="connsiteY6322" fmla="*/ 2229378 h 6557032"/>
              <a:gd name="connsiteX6323" fmla="*/ 1231791 w 4610101"/>
              <a:gd name="connsiteY6323" fmla="*/ 2229378 h 6557032"/>
              <a:gd name="connsiteX6324" fmla="*/ 1224502 w 4610101"/>
              <a:gd name="connsiteY6324" fmla="*/ 2223910 h 6557032"/>
              <a:gd name="connsiteX6325" fmla="*/ 1226324 w 4610101"/>
              <a:gd name="connsiteY6325" fmla="*/ 2220267 h 6557032"/>
              <a:gd name="connsiteX6326" fmla="*/ 1217214 w 4610101"/>
              <a:gd name="connsiteY6326" fmla="*/ 2223910 h 6557032"/>
              <a:gd name="connsiteX6327" fmla="*/ 1217214 w 4610101"/>
              <a:gd name="connsiteY6327" fmla="*/ 2214800 h 6557032"/>
              <a:gd name="connsiteX6328" fmla="*/ 3317953 w 4610101"/>
              <a:gd name="connsiteY6328" fmla="*/ 2213653 h 6557032"/>
              <a:gd name="connsiteX6329" fmla="*/ 3314536 w 4610101"/>
              <a:gd name="connsiteY6329" fmla="*/ 2214792 h 6557032"/>
              <a:gd name="connsiteX6330" fmla="*/ 3314536 w 4610101"/>
              <a:gd name="connsiteY6330" fmla="*/ 2218437 h 6557032"/>
              <a:gd name="connsiteX6331" fmla="*/ 3320002 w 4610101"/>
              <a:gd name="connsiteY6331" fmla="*/ 2216614 h 6557032"/>
              <a:gd name="connsiteX6332" fmla="*/ 3317953 w 4610101"/>
              <a:gd name="connsiteY6332" fmla="*/ 2213653 h 6557032"/>
              <a:gd name="connsiteX6333" fmla="*/ 993903 w 4610101"/>
              <a:gd name="connsiteY6333" fmla="*/ 2213487 h 6557032"/>
              <a:gd name="connsiteX6334" fmla="*/ 993084 w 4610101"/>
              <a:gd name="connsiteY6334" fmla="*/ 2214798 h 6557032"/>
              <a:gd name="connsiteX6335" fmla="*/ 1013129 w 4610101"/>
              <a:gd name="connsiteY6335" fmla="*/ 2214798 h 6557032"/>
              <a:gd name="connsiteX6336" fmla="*/ 1005840 w 4610101"/>
              <a:gd name="connsiteY6336" fmla="*/ 2220265 h 6557032"/>
              <a:gd name="connsiteX6337" fmla="*/ 1004017 w 4610101"/>
              <a:gd name="connsiteY6337" fmla="*/ 2222087 h 6557032"/>
              <a:gd name="connsiteX6338" fmla="*/ 1000374 w 4610101"/>
              <a:gd name="connsiteY6338" fmla="*/ 2223910 h 6557032"/>
              <a:gd name="connsiteX6339" fmla="*/ 1000374 w 4610101"/>
              <a:gd name="connsiteY6339" fmla="*/ 2222087 h 6557032"/>
              <a:gd name="connsiteX6340" fmla="*/ 976685 w 4610101"/>
              <a:gd name="connsiteY6340" fmla="*/ 2223910 h 6557032"/>
              <a:gd name="connsiteX6341" fmla="*/ 983974 w 4610101"/>
              <a:gd name="connsiteY6341" fmla="*/ 2231200 h 6557032"/>
              <a:gd name="connsiteX6342" fmla="*/ 971219 w 4610101"/>
              <a:gd name="connsiteY6342" fmla="*/ 2234843 h 6557032"/>
              <a:gd name="connsiteX6343" fmla="*/ 969396 w 4610101"/>
              <a:gd name="connsiteY6343" fmla="*/ 2231200 h 6557032"/>
              <a:gd name="connsiteX6344" fmla="*/ 969396 w 4610101"/>
              <a:gd name="connsiteY6344" fmla="*/ 2223910 h 6557032"/>
              <a:gd name="connsiteX6345" fmla="*/ 982835 w 4610101"/>
              <a:gd name="connsiteY6345" fmla="*/ 2219126 h 6557032"/>
              <a:gd name="connsiteX6346" fmla="*/ 994223 w 4610101"/>
              <a:gd name="connsiteY6346" fmla="*/ 2212975 h 6557032"/>
              <a:gd name="connsiteX6347" fmla="*/ 994907 w 4610101"/>
              <a:gd name="connsiteY6347" fmla="*/ 2212975 h 6557032"/>
              <a:gd name="connsiteX6348" fmla="*/ 993903 w 4610101"/>
              <a:gd name="connsiteY6348" fmla="*/ 2213487 h 6557032"/>
              <a:gd name="connsiteX6349" fmla="*/ 3272626 w 4610101"/>
              <a:gd name="connsiteY6349" fmla="*/ 2212970 h 6557032"/>
              <a:gd name="connsiteX6350" fmla="*/ 3268981 w 4610101"/>
              <a:gd name="connsiteY6350" fmla="*/ 2214792 h 6557032"/>
              <a:gd name="connsiteX6351" fmla="*/ 3272626 w 4610101"/>
              <a:gd name="connsiteY6351" fmla="*/ 2216614 h 6557032"/>
              <a:gd name="connsiteX6352" fmla="*/ 3272626 w 4610101"/>
              <a:gd name="connsiteY6352" fmla="*/ 2212970 h 6557032"/>
              <a:gd name="connsiteX6353" fmla="*/ 2984721 w 4610101"/>
              <a:gd name="connsiteY6353" fmla="*/ 2211149 h 6557032"/>
              <a:gd name="connsiteX6354" fmla="*/ 2982899 w 4610101"/>
              <a:gd name="connsiteY6354" fmla="*/ 2218438 h 6557032"/>
              <a:gd name="connsiteX6355" fmla="*/ 2988366 w 4610101"/>
              <a:gd name="connsiteY6355" fmla="*/ 2218438 h 6557032"/>
              <a:gd name="connsiteX6356" fmla="*/ 2990188 w 4610101"/>
              <a:gd name="connsiteY6356" fmla="*/ 2212972 h 6557032"/>
              <a:gd name="connsiteX6357" fmla="*/ 2984721 w 4610101"/>
              <a:gd name="connsiteY6357" fmla="*/ 2211149 h 6557032"/>
              <a:gd name="connsiteX6358" fmla="*/ 3392887 w 4610101"/>
              <a:gd name="connsiteY6358" fmla="*/ 2209329 h 6557032"/>
              <a:gd name="connsiteX6359" fmla="*/ 3409288 w 4610101"/>
              <a:gd name="connsiteY6359" fmla="*/ 2209329 h 6557032"/>
              <a:gd name="connsiteX6360" fmla="*/ 3407466 w 4610101"/>
              <a:gd name="connsiteY6360" fmla="*/ 2212974 h 6557032"/>
              <a:gd name="connsiteX6361" fmla="*/ 3429332 w 4610101"/>
              <a:gd name="connsiteY6361" fmla="*/ 2212974 h 6557032"/>
              <a:gd name="connsiteX6362" fmla="*/ 3451198 w 4610101"/>
              <a:gd name="connsiteY6362" fmla="*/ 2218440 h 6557032"/>
              <a:gd name="connsiteX6363" fmla="*/ 3392887 w 4610101"/>
              <a:gd name="connsiteY6363" fmla="*/ 2216618 h 6557032"/>
              <a:gd name="connsiteX6364" fmla="*/ 3392887 w 4610101"/>
              <a:gd name="connsiteY6364" fmla="*/ 2212974 h 6557032"/>
              <a:gd name="connsiteX6365" fmla="*/ 3392887 w 4610101"/>
              <a:gd name="connsiteY6365" fmla="*/ 2209329 h 6557032"/>
              <a:gd name="connsiteX6366" fmla="*/ 3334580 w 4610101"/>
              <a:gd name="connsiteY6366" fmla="*/ 2207504 h 6557032"/>
              <a:gd name="connsiteX6367" fmla="*/ 3329113 w 4610101"/>
              <a:gd name="connsiteY6367" fmla="*/ 2209326 h 6557032"/>
              <a:gd name="connsiteX6368" fmla="*/ 3330935 w 4610101"/>
              <a:gd name="connsiteY6368" fmla="*/ 2212970 h 6557032"/>
              <a:gd name="connsiteX6369" fmla="*/ 3336402 w 4610101"/>
              <a:gd name="connsiteY6369" fmla="*/ 2211148 h 6557032"/>
              <a:gd name="connsiteX6370" fmla="*/ 3334580 w 4610101"/>
              <a:gd name="connsiteY6370" fmla="*/ 2207504 h 6557032"/>
              <a:gd name="connsiteX6371" fmla="*/ 2971966 w 4610101"/>
              <a:gd name="connsiteY6371" fmla="*/ 2205683 h 6557032"/>
              <a:gd name="connsiteX6372" fmla="*/ 2970144 w 4610101"/>
              <a:gd name="connsiteY6372" fmla="*/ 2212972 h 6557032"/>
              <a:gd name="connsiteX6373" fmla="*/ 2971966 w 4610101"/>
              <a:gd name="connsiteY6373" fmla="*/ 2205683 h 6557032"/>
              <a:gd name="connsiteX6374" fmla="*/ 3292670 w 4610101"/>
              <a:gd name="connsiteY6374" fmla="*/ 2203859 h 6557032"/>
              <a:gd name="connsiteX6375" fmla="*/ 3281737 w 4610101"/>
              <a:gd name="connsiteY6375" fmla="*/ 2207504 h 6557032"/>
              <a:gd name="connsiteX6376" fmla="*/ 3279915 w 4610101"/>
              <a:gd name="connsiteY6376" fmla="*/ 2207504 h 6557032"/>
              <a:gd name="connsiteX6377" fmla="*/ 3283559 w 4610101"/>
              <a:gd name="connsiteY6377" fmla="*/ 2209326 h 6557032"/>
              <a:gd name="connsiteX6378" fmla="*/ 3285381 w 4610101"/>
              <a:gd name="connsiteY6378" fmla="*/ 2209326 h 6557032"/>
              <a:gd name="connsiteX6379" fmla="*/ 3292670 w 4610101"/>
              <a:gd name="connsiteY6379" fmla="*/ 2207504 h 6557032"/>
              <a:gd name="connsiteX6380" fmla="*/ 3292670 w 4610101"/>
              <a:gd name="connsiteY6380" fmla="*/ 2203859 h 6557032"/>
              <a:gd name="connsiteX6381" fmla="*/ 3234360 w 4610101"/>
              <a:gd name="connsiteY6381" fmla="*/ 2203859 h 6557032"/>
              <a:gd name="connsiteX6382" fmla="*/ 3234360 w 4610101"/>
              <a:gd name="connsiteY6382" fmla="*/ 2209326 h 6557032"/>
              <a:gd name="connsiteX6383" fmla="*/ 3236182 w 4610101"/>
              <a:gd name="connsiteY6383" fmla="*/ 2203859 h 6557032"/>
              <a:gd name="connsiteX6384" fmla="*/ 3234360 w 4610101"/>
              <a:gd name="connsiteY6384" fmla="*/ 2203859 h 6557032"/>
              <a:gd name="connsiteX6385" fmla="*/ 3305211 w 4610101"/>
              <a:gd name="connsiteY6385" fmla="*/ 2198715 h 6557032"/>
              <a:gd name="connsiteX6386" fmla="*/ 3305425 w 4610101"/>
              <a:gd name="connsiteY6386" fmla="*/ 2200215 h 6557032"/>
              <a:gd name="connsiteX6387" fmla="*/ 3301326 w 4610101"/>
              <a:gd name="connsiteY6387" fmla="*/ 2202947 h 6557032"/>
              <a:gd name="connsiteX6388" fmla="*/ 3299959 w 4610101"/>
              <a:gd name="connsiteY6388" fmla="*/ 2200215 h 6557032"/>
              <a:gd name="connsiteX6389" fmla="*/ 4012428 w 4610101"/>
              <a:gd name="connsiteY6389" fmla="*/ 2198487 h 6557032"/>
              <a:gd name="connsiteX6390" fmla="*/ 4034294 w 4610101"/>
              <a:gd name="connsiteY6390" fmla="*/ 2198487 h 6557032"/>
              <a:gd name="connsiteX6391" fmla="*/ 4012428 w 4610101"/>
              <a:gd name="connsiteY6391" fmla="*/ 2213080 h 6557032"/>
              <a:gd name="connsiteX6392" fmla="*/ 1044105 w 4610101"/>
              <a:gd name="connsiteY6392" fmla="*/ 2194751 h 6557032"/>
              <a:gd name="connsiteX6393" fmla="*/ 1056860 w 4610101"/>
              <a:gd name="connsiteY6393" fmla="*/ 2207507 h 6557032"/>
              <a:gd name="connsiteX6394" fmla="*/ 1033172 w 4610101"/>
              <a:gd name="connsiteY6394" fmla="*/ 2211151 h 6557032"/>
              <a:gd name="connsiteX6395" fmla="*/ 1031350 w 4610101"/>
              <a:gd name="connsiteY6395" fmla="*/ 2209330 h 6557032"/>
              <a:gd name="connsiteX6396" fmla="*/ 1033172 w 4610101"/>
              <a:gd name="connsiteY6396" fmla="*/ 2207507 h 6557032"/>
              <a:gd name="connsiteX6397" fmla="*/ 1029528 w 4610101"/>
              <a:gd name="connsiteY6397" fmla="*/ 2205684 h 6557032"/>
              <a:gd name="connsiteX6398" fmla="*/ 1033172 w 4610101"/>
              <a:gd name="connsiteY6398" fmla="*/ 2203863 h 6557032"/>
              <a:gd name="connsiteX6399" fmla="*/ 1033172 w 4610101"/>
              <a:gd name="connsiteY6399" fmla="*/ 2198396 h 6557032"/>
              <a:gd name="connsiteX6400" fmla="*/ 1044105 w 4610101"/>
              <a:gd name="connsiteY6400" fmla="*/ 2194751 h 6557032"/>
              <a:gd name="connsiteX6401" fmla="*/ 3247115 w 4610101"/>
              <a:gd name="connsiteY6401" fmla="*/ 2194748 h 6557032"/>
              <a:gd name="connsiteX6402" fmla="*/ 3247115 w 4610101"/>
              <a:gd name="connsiteY6402" fmla="*/ 2200215 h 6557032"/>
              <a:gd name="connsiteX6403" fmla="*/ 3247115 w 4610101"/>
              <a:gd name="connsiteY6403" fmla="*/ 2194748 h 6557032"/>
              <a:gd name="connsiteX6404" fmla="*/ 3203383 w 4610101"/>
              <a:gd name="connsiteY6404" fmla="*/ 2194748 h 6557032"/>
              <a:gd name="connsiteX6405" fmla="*/ 3203383 w 4610101"/>
              <a:gd name="connsiteY6405" fmla="*/ 2198393 h 6557032"/>
              <a:gd name="connsiteX6406" fmla="*/ 3207028 w 4610101"/>
              <a:gd name="connsiteY6406" fmla="*/ 2196571 h 6557032"/>
              <a:gd name="connsiteX6407" fmla="*/ 3203383 w 4610101"/>
              <a:gd name="connsiteY6407" fmla="*/ 2194748 h 6557032"/>
              <a:gd name="connsiteX6408" fmla="*/ 927487 w 4610101"/>
              <a:gd name="connsiteY6408" fmla="*/ 2193014 h 6557032"/>
              <a:gd name="connsiteX6409" fmla="*/ 943886 w 4610101"/>
              <a:gd name="connsiteY6409" fmla="*/ 2203956 h 6557032"/>
              <a:gd name="connsiteX6410" fmla="*/ 932953 w 4610101"/>
              <a:gd name="connsiteY6410" fmla="*/ 2213074 h 6557032"/>
              <a:gd name="connsiteX6411" fmla="*/ 920198 w 4610101"/>
              <a:gd name="connsiteY6411" fmla="*/ 2200309 h 6557032"/>
              <a:gd name="connsiteX6412" fmla="*/ 993084 w 4610101"/>
              <a:gd name="connsiteY6412" fmla="*/ 2192930 h 6557032"/>
              <a:gd name="connsiteX6413" fmla="*/ 1002195 w 4610101"/>
              <a:gd name="connsiteY6413" fmla="*/ 2200220 h 6557032"/>
              <a:gd name="connsiteX6414" fmla="*/ 994223 w 4610101"/>
              <a:gd name="connsiteY6414" fmla="*/ 2212975 h 6557032"/>
              <a:gd name="connsiteX6415" fmla="*/ 985796 w 4610101"/>
              <a:gd name="connsiteY6415" fmla="*/ 2212975 h 6557032"/>
              <a:gd name="connsiteX6416" fmla="*/ 991263 w 4610101"/>
              <a:gd name="connsiteY6416" fmla="*/ 2202042 h 6557032"/>
              <a:gd name="connsiteX6417" fmla="*/ 985796 w 4610101"/>
              <a:gd name="connsiteY6417" fmla="*/ 2200220 h 6557032"/>
              <a:gd name="connsiteX6418" fmla="*/ 3258048 w 4610101"/>
              <a:gd name="connsiteY6418" fmla="*/ 2191104 h 6557032"/>
              <a:gd name="connsiteX6419" fmla="*/ 3258048 w 4610101"/>
              <a:gd name="connsiteY6419" fmla="*/ 2194748 h 6557032"/>
              <a:gd name="connsiteX6420" fmla="*/ 3261693 w 4610101"/>
              <a:gd name="connsiteY6420" fmla="*/ 2192926 h 6557032"/>
              <a:gd name="connsiteX6421" fmla="*/ 3258048 w 4610101"/>
              <a:gd name="connsiteY6421" fmla="*/ 2191104 h 6557032"/>
              <a:gd name="connsiteX6422" fmla="*/ 3498574 w 4610101"/>
              <a:gd name="connsiteY6422" fmla="*/ 2185763 h 6557032"/>
              <a:gd name="connsiteX6423" fmla="*/ 3513151 w 4610101"/>
              <a:gd name="connsiteY6423" fmla="*/ 2185763 h 6557032"/>
              <a:gd name="connsiteX6424" fmla="*/ 3513151 w 4610101"/>
              <a:gd name="connsiteY6424" fmla="*/ 2200359 h 6557032"/>
              <a:gd name="connsiteX6425" fmla="*/ 3527729 w 4610101"/>
              <a:gd name="connsiteY6425" fmla="*/ 2193061 h 6557032"/>
              <a:gd name="connsiteX6426" fmla="*/ 3535017 w 4610101"/>
              <a:gd name="connsiteY6426" fmla="*/ 2207656 h 6557032"/>
              <a:gd name="connsiteX6427" fmla="*/ 3556883 w 4610101"/>
              <a:gd name="connsiteY6427" fmla="*/ 2191239 h 6557032"/>
              <a:gd name="connsiteX6428" fmla="*/ 3558705 w 4610101"/>
              <a:gd name="connsiteY6428" fmla="*/ 2214954 h 6557032"/>
              <a:gd name="connsiteX6429" fmla="*/ 3573283 w 4610101"/>
              <a:gd name="connsiteY6429" fmla="*/ 2207656 h 6557032"/>
              <a:gd name="connsiteX6430" fmla="*/ 3573283 w 4610101"/>
              <a:gd name="connsiteY6430" fmla="*/ 2229548 h 6557032"/>
              <a:gd name="connsiteX6431" fmla="*/ 3551417 w 4610101"/>
              <a:gd name="connsiteY6431" fmla="*/ 2229548 h 6557032"/>
              <a:gd name="connsiteX6432" fmla="*/ 3536839 w 4610101"/>
              <a:gd name="connsiteY6432" fmla="*/ 2222256 h 6557032"/>
              <a:gd name="connsiteX6433" fmla="*/ 3529551 w 4610101"/>
              <a:gd name="connsiteY6433" fmla="*/ 2222256 h 6557032"/>
              <a:gd name="connsiteX6434" fmla="*/ 3508596 w 4610101"/>
              <a:gd name="connsiteY6434" fmla="*/ 2229096 h 6557032"/>
              <a:gd name="connsiteX6435" fmla="*/ 3498601 w 4610101"/>
              <a:gd name="connsiteY6435" fmla="*/ 2244106 h 6557032"/>
              <a:gd name="connsiteX6436" fmla="*/ 3514975 w 4610101"/>
              <a:gd name="connsiteY6436" fmla="*/ 2244106 h 6557032"/>
              <a:gd name="connsiteX6437" fmla="*/ 3520441 w 4610101"/>
              <a:gd name="connsiteY6437" fmla="*/ 2267820 h 6557032"/>
              <a:gd name="connsiteX6438" fmla="*/ 3498575 w 4610101"/>
              <a:gd name="connsiteY6438" fmla="*/ 2265995 h 6557032"/>
              <a:gd name="connsiteX6439" fmla="*/ 3507686 w 4610101"/>
              <a:gd name="connsiteY6439" fmla="*/ 2251403 h 6557032"/>
              <a:gd name="connsiteX6440" fmla="*/ 3498592 w 4610101"/>
              <a:gd name="connsiteY6440" fmla="*/ 2244120 h 6557032"/>
              <a:gd name="connsiteX6441" fmla="*/ 3498574 w 4610101"/>
              <a:gd name="connsiteY6441" fmla="*/ 2244146 h 6557032"/>
              <a:gd name="connsiteX6442" fmla="*/ 3483996 w 4610101"/>
              <a:gd name="connsiteY6442" fmla="*/ 2238672 h 6557032"/>
              <a:gd name="connsiteX6443" fmla="*/ 3496751 w 4610101"/>
              <a:gd name="connsiteY6443" fmla="*/ 2222256 h 6557032"/>
              <a:gd name="connsiteX6444" fmla="*/ 3482174 w 4610101"/>
              <a:gd name="connsiteY6444" fmla="*/ 2202181 h 6557032"/>
              <a:gd name="connsiteX6445" fmla="*/ 3498574 w 4610101"/>
              <a:gd name="connsiteY6445" fmla="*/ 2200359 h 6557032"/>
              <a:gd name="connsiteX6446" fmla="*/ 3414754 w 4610101"/>
              <a:gd name="connsiteY6446" fmla="*/ 2185640 h 6557032"/>
              <a:gd name="connsiteX6447" fmla="*/ 3396532 w 4610101"/>
              <a:gd name="connsiteY6447" fmla="*/ 2189285 h 6557032"/>
              <a:gd name="connsiteX6448" fmla="*/ 3385599 w 4610101"/>
              <a:gd name="connsiteY6448" fmla="*/ 2187462 h 6557032"/>
              <a:gd name="connsiteX6449" fmla="*/ 3414754 w 4610101"/>
              <a:gd name="connsiteY6449" fmla="*/ 2185640 h 6557032"/>
              <a:gd name="connsiteX6450" fmla="*/ 3277664 w 4610101"/>
              <a:gd name="connsiteY6450" fmla="*/ 2182207 h 6557032"/>
              <a:gd name="connsiteX6451" fmla="*/ 3279231 w 4610101"/>
              <a:gd name="connsiteY6451" fmla="*/ 2182448 h 6557032"/>
              <a:gd name="connsiteX6452" fmla="*/ 3278092 w 4610101"/>
              <a:gd name="connsiteY6452" fmla="*/ 2185637 h 6557032"/>
              <a:gd name="connsiteX6453" fmla="*/ 3275378 w 4610101"/>
              <a:gd name="connsiteY6453" fmla="*/ 2187266 h 6557032"/>
              <a:gd name="connsiteX6454" fmla="*/ 3273765 w 4610101"/>
              <a:gd name="connsiteY6454" fmla="*/ 2186548 h 6557032"/>
              <a:gd name="connsiteX6455" fmla="*/ 3274448 w 4610101"/>
              <a:gd name="connsiteY6455" fmla="*/ 2183814 h 6557032"/>
              <a:gd name="connsiteX6456" fmla="*/ 3228894 w 4610101"/>
              <a:gd name="connsiteY6456" fmla="*/ 2176527 h 6557032"/>
              <a:gd name="connsiteX6457" fmla="*/ 3228894 w 4610101"/>
              <a:gd name="connsiteY6457" fmla="*/ 2181993 h 6557032"/>
              <a:gd name="connsiteX6458" fmla="*/ 3230716 w 4610101"/>
              <a:gd name="connsiteY6458" fmla="*/ 2176527 h 6557032"/>
              <a:gd name="connsiteX6459" fmla="*/ 3228894 w 4610101"/>
              <a:gd name="connsiteY6459" fmla="*/ 2176527 h 6557032"/>
              <a:gd name="connsiteX6460" fmla="*/ 3241649 w 4610101"/>
              <a:gd name="connsiteY6460" fmla="*/ 2171060 h 6557032"/>
              <a:gd name="connsiteX6461" fmla="*/ 3238004 w 4610101"/>
              <a:gd name="connsiteY6461" fmla="*/ 2174704 h 6557032"/>
              <a:gd name="connsiteX6462" fmla="*/ 3241649 w 4610101"/>
              <a:gd name="connsiteY6462" fmla="*/ 2176527 h 6557032"/>
              <a:gd name="connsiteX6463" fmla="*/ 3243471 w 4610101"/>
              <a:gd name="connsiteY6463" fmla="*/ 2174704 h 6557032"/>
              <a:gd name="connsiteX6464" fmla="*/ 3241649 w 4610101"/>
              <a:gd name="connsiteY6464" fmla="*/ 2171060 h 6557032"/>
              <a:gd name="connsiteX6465" fmla="*/ 4238376 w 4610101"/>
              <a:gd name="connsiteY6465" fmla="*/ 2169283 h 6557032"/>
              <a:gd name="connsiteX6466" fmla="*/ 4254776 w 4610101"/>
              <a:gd name="connsiteY6466" fmla="*/ 2182044 h 6557032"/>
              <a:gd name="connsiteX6467" fmla="*/ 4238376 w 4610101"/>
              <a:gd name="connsiteY6467" fmla="*/ 2183869 h 6557032"/>
              <a:gd name="connsiteX6468" fmla="*/ 3640704 w 4610101"/>
              <a:gd name="connsiteY6468" fmla="*/ 2167510 h 6557032"/>
              <a:gd name="connsiteX6469" fmla="*/ 3658926 w 4610101"/>
              <a:gd name="connsiteY6469" fmla="*/ 2191227 h 6557032"/>
              <a:gd name="connsiteX6470" fmla="*/ 3626127 w 4610101"/>
              <a:gd name="connsiteY6470" fmla="*/ 2196699 h 6557032"/>
              <a:gd name="connsiteX6471" fmla="*/ 3620660 w 4610101"/>
              <a:gd name="connsiteY6471" fmla="*/ 2183930 h 6557032"/>
              <a:gd name="connsiteX6472" fmla="*/ 3536840 w 4610101"/>
              <a:gd name="connsiteY6472" fmla="*/ 2167468 h 6557032"/>
              <a:gd name="connsiteX6473" fmla="*/ 3529551 w 4610101"/>
              <a:gd name="connsiteY6473" fmla="*/ 2191172 h 6557032"/>
              <a:gd name="connsiteX6474" fmla="*/ 3520440 w 4610101"/>
              <a:gd name="connsiteY6474" fmla="*/ 2176586 h 6557032"/>
              <a:gd name="connsiteX6475" fmla="*/ 2931878 w 4610101"/>
              <a:gd name="connsiteY6475" fmla="*/ 2167416 h 6557032"/>
              <a:gd name="connsiteX6476" fmla="*/ 2930056 w 4610101"/>
              <a:gd name="connsiteY6476" fmla="*/ 2174705 h 6557032"/>
              <a:gd name="connsiteX6477" fmla="*/ 2931878 w 4610101"/>
              <a:gd name="connsiteY6477" fmla="*/ 2174705 h 6557032"/>
              <a:gd name="connsiteX6478" fmla="*/ 2931878 w 4610101"/>
              <a:gd name="connsiteY6478" fmla="*/ 2167416 h 6557032"/>
              <a:gd name="connsiteX6479" fmla="*/ 3252582 w 4610101"/>
              <a:gd name="connsiteY6479" fmla="*/ 2165594 h 6557032"/>
              <a:gd name="connsiteX6480" fmla="*/ 3248938 w 4610101"/>
              <a:gd name="connsiteY6480" fmla="*/ 2167416 h 6557032"/>
              <a:gd name="connsiteX6481" fmla="*/ 3252582 w 4610101"/>
              <a:gd name="connsiteY6481" fmla="*/ 2169238 h 6557032"/>
              <a:gd name="connsiteX6482" fmla="*/ 3252582 w 4610101"/>
              <a:gd name="connsiteY6482" fmla="*/ 2165594 h 6557032"/>
              <a:gd name="connsiteX6483" fmla="*/ 3381955 w 4610101"/>
              <a:gd name="connsiteY6483" fmla="*/ 2160129 h 6557032"/>
              <a:gd name="connsiteX6484" fmla="*/ 3389244 w 4610101"/>
              <a:gd name="connsiteY6484" fmla="*/ 2160129 h 6557032"/>
              <a:gd name="connsiteX6485" fmla="*/ 3372844 w 4610101"/>
              <a:gd name="connsiteY6485" fmla="*/ 2165596 h 6557032"/>
              <a:gd name="connsiteX6486" fmla="*/ 3372844 w 4610101"/>
              <a:gd name="connsiteY6486" fmla="*/ 2161951 h 6557032"/>
              <a:gd name="connsiteX6487" fmla="*/ 3381955 w 4610101"/>
              <a:gd name="connsiteY6487" fmla="*/ 2160129 h 6557032"/>
              <a:gd name="connsiteX6488" fmla="*/ 752558 w 4610101"/>
              <a:gd name="connsiteY6488" fmla="*/ 2152894 h 6557032"/>
              <a:gd name="connsiteX6489" fmla="*/ 767136 w 4610101"/>
              <a:gd name="connsiteY6489" fmla="*/ 2152894 h 6557032"/>
              <a:gd name="connsiteX6490" fmla="*/ 752558 w 4610101"/>
              <a:gd name="connsiteY6490" fmla="*/ 2174779 h 6557032"/>
              <a:gd name="connsiteX6491" fmla="*/ 3611549 w 4610101"/>
              <a:gd name="connsiteY6491" fmla="*/ 2151099 h 6557032"/>
              <a:gd name="connsiteX6492" fmla="*/ 3604260 w 4610101"/>
              <a:gd name="connsiteY6492" fmla="*/ 2167520 h 6557032"/>
              <a:gd name="connsiteX6493" fmla="*/ 3620659 w 4610101"/>
              <a:gd name="connsiteY6493" fmla="*/ 2169342 h 6557032"/>
              <a:gd name="connsiteX6494" fmla="*/ 3620659 w 4610101"/>
              <a:gd name="connsiteY6494" fmla="*/ 2183938 h 6557032"/>
              <a:gd name="connsiteX6495" fmla="*/ 3589683 w 4610101"/>
              <a:gd name="connsiteY6495" fmla="*/ 2193061 h 6557032"/>
              <a:gd name="connsiteX6496" fmla="*/ 3575105 w 4610101"/>
              <a:gd name="connsiteY6496" fmla="*/ 2205831 h 6557032"/>
              <a:gd name="connsiteX6497" fmla="*/ 3580572 w 4610101"/>
              <a:gd name="connsiteY6497" fmla="*/ 2176641 h 6557032"/>
              <a:gd name="connsiteX6498" fmla="*/ 3544128 w 4610101"/>
              <a:gd name="connsiteY6498" fmla="*/ 2176641 h 6557032"/>
              <a:gd name="connsiteX6499" fmla="*/ 3558706 w 4610101"/>
              <a:gd name="connsiteY6499" fmla="*/ 2152924 h 6557032"/>
              <a:gd name="connsiteX6500" fmla="*/ 3573283 w 4610101"/>
              <a:gd name="connsiteY6500" fmla="*/ 2162047 h 6557032"/>
              <a:gd name="connsiteX6501" fmla="*/ 2982823 w 4610101"/>
              <a:gd name="connsiteY6501" fmla="*/ 2147257 h 6557032"/>
              <a:gd name="connsiteX6502" fmla="*/ 2984721 w 4610101"/>
              <a:gd name="connsiteY6502" fmla="*/ 2147372 h 6557032"/>
              <a:gd name="connsiteX6503" fmla="*/ 2982899 w 4610101"/>
              <a:gd name="connsiteY6503" fmla="*/ 2147372 h 6557032"/>
              <a:gd name="connsiteX6504" fmla="*/ 3392888 w 4610101"/>
              <a:gd name="connsiteY6504" fmla="*/ 2145551 h 6557032"/>
              <a:gd name="connsiteX6505" fmla="*/ 3407465 w 4610101"/>
              <a:gd name="connsiteY6505" fmla="*/ 2145551 h 6557032"/>
              <a:gd name="connsiteX6506" fmla="*/ 3387421 w 4610101"/>
              <a:gd name="connsiteY6506" fmla="*/ 2149196 h 6557032"/>
              <a:gd name="connsiteX6507" fmla="*/ 736159 w 4610101"/>
              <a:gd name="connsiteY6507" fmla="*/ 2143771 h 6557032"/>
              <a:gd name="connsiteX6508" fmla="*/ 737981 w 4610101"/>
              <a:gd name="connsiteY6508" fmla="*/ 2169301 h 6557032"/>
              <a:gd name="connsiteX6509" fmla="*/ 721581 w 4610101"/>
              <a:gd name="connsiteY6509" fmla="*/ 2160182 h 6557032"/>
              <a:gd name="connsiteX6510" fmla="*/ 2560154 w 4610101"/>
              <a:gd name="connsiteY6510" fmla="*/ 2143728 h 6557032"/>
              <a:gd name="connsiteX6511" fmla="*/ 2660374 w 4610101"/>
              <a:gd name="connsiteY6511" fmla="*/ 2154662 h 6557032"/>
              <a:gd name="connsiteX6512" fmla="*/ 2817082 w 4610101"/>
              <a:gd name="connsiteY6512" fmla="*/ 2160129 h 6557032"/>
              <a:gd name="connsiteX6513" fmla="*/ 2917302 w 4610101"/>
              <a:gd name="connsiteY6513" fmla="*/ 2214794 h 6557032"/>
              <a:gd name="connsiteX6514" fmla="*/ 2933701 w 4610101"/>
              <a:gd name="connsiteY6514" fmla="*/ 2229371 h 6557032"/>
              <a:gd name="connsiteX6515" fmla="*/ 2997477 w 4610101"/>
              <a:gd name="connsiteY6515" fmla="*/ 2267637 h 6557032"/>
              <a:gd name="connsiteX6516" fmla="*/ 3002944 w 4610101"/>
              <a:gd name="connsiteY6516" fmla="*/ 2271282 h 6557032"/>
              <a:gd name="connsiteX6517" fmla="*/ 2888147 w 4610101"/>
              <a:gd name="connsiteY6517" fmla="*/ 2258527 h 6557032"/>
              <a:gd name="connsiteX6518" fmla="*/ 2888147 w 4610101"/>
              <a:gd name="connsiteY6518" fmla="*/ 2265816 h 6557032"/>
              <a:gd name="connsiteX6519" fmla="*/ 2966500 w 4610101"/>
              <a:gd name="connsiteY6519" fmla="*/ 2285861 h 6557032"/>
              <a:gd name="connsiteX6520" fmla="*/ 2979255 w 4610101"/>
              <a:gd name="connsiteY6520" fmla="*/ 2287682 h 6557032"/>
              <a:gd name="connsiteX6521" fmla="*/ 2879036 w 4610101"/>
              <a:gd name="connsiteY6521" fmla="*/ 2287682 h 6557032"/>
              <a:gd name="connsiteX6522" fmla="*/ 2877213 w 4610101"/>
              <a:gd name="connsiteY6522" fmla="*/ 2289504 h 6557032"/>
              <a:gd name="connsiteX6523" fmla="*/ 2876512 w 4610101"/>
              <a:gd name="connsiteY6523" fmla="*/ 2288804 h 6557032"/>
              <a:gd name="connsiteX6524" fmla="*/ 2879035 w 4610101"/>
              <a:gd name="connsiteY6524" fmla="*/ 2287227 h 6557032"/>
              <a:gd name="connsiteX6525" fmla="*/ 2877213 w 4610101"/>
              <a:gd name="connsiteY6525" fmla="*/ 2282215 h 6557032"/>
              <a:gd name="connsiteX6526" fmla="*/ 2872202 w 4610101"/>
              <a:gd name="connsiteY6526" fmla="*/ 2285176 h 6557032"/>
              <a:gd name="connsiteX6527" fmla="*/ 2874410 w 4610101"/>
              <a:gd name="connsiteY6527" fmla="*/ 2288172 h 6557032"/>
              <a:gd name="connsiteX6528" fmla="*/ 2871747 w 4610101"/>
              <a:gd name="connsiteY6528" fmla="*/ 2289504 h 6557032"/>
              <a:gd name="connsiteX6529" fmla="*/ 2869925 w 4610101"/>
              <a:gd name="connsiteY6529" fmla="*/ 2287682 h 6557032"/>
              <a:gd name="connsiteX6530" fmla="*/ 2868103 w 4610101"/>
              <a:gd name="connsiteY6530" fmla="*/ 2287682 h 6557032"/>
              <a:gd name="connsiteX6531" fmla="*/ 2866281 w 4610101"/>
              <a:gd name="connsiteY6531" fmla="*/ 2294971 h 6557032"/>
              <a:gd name="connsiteX6532" fmla="*/ 2868103 w 4610101"/>
              <a:gd name="connsiteY6532" fmla="*/ 2294971 h 6557032"/>
              <a:gd name="connsiteX6533" fmla="*/ 2871747 w 4610101"/>
              <a:gd name="connsiteY6533" fmla="*/ 2293148 h 6557032"/>
              <a:gd name="connsiteX6534" fmla="*/ 2873569 w 4610101"/>
              <a:gd name="connsiteY6534" fmla="*/ 2294971 h 6557032"/>
              <a:gd name="connsiteX6535" fmla="*/ 2877213 w 4610101"/>
              <a:gd name="connsiteY6535" fmla="*/ 2293148 h 6557032"/>
              <a:gd name="connsiteX6536" fmla="*/ 2880858 w 4610101"/>
              <a:gd name="connsiteY6536" fmla="*/ 2298615 h 6557032"/>
              <a:gd name="connsiteX6537" fmla="*/ 2954769 w 4610101"/>
              <a:gd name="connsiteY6537" fmla="*/ 2308064 h 6557032"/>
              <a:gd name="connsiteX6538" fmla="*/ 2955566 w 4610101"/>
              <a:gd name="connsiteY6538" fmla="*/ 2302497 h 6557032"/>
              <a:gd name="connsiteX6539" fmla="*/ 2961969 w 4610101"/>
              <a:gd name="connsiteY6539" fmla="*/ 2308873 h 6557032"/>
              <a:gd name="connsiteX6540" fmla="*/ 3041209 w 4610101"/>
              <a:gd name="connsiteY6540" fmla="*/ 2309549 h 6557032"/>
              <a:gd name="connsiteX6541" fmla="*/ 3090408 w 4610101"/>
              <a:gd name="connsiteY6541" fmla="*/ 2313192 h 6557032"/>
              <a:gd name="connsiteX6542" fmla="*/ 3050320 w 4610101"/>
              <a:gd name="connsiteY6542" fmla="*/ 2316838 h 6557032"/>
              <a:gd name="connsiteX6543" fmla="*/ 2955567 w 4610101"/>
              <a:gd name="connsiteY6543" fmla="*/ 2318660 h 6557032"/>
              <a:gd name="connsiteX6544" fmla="*/ 2871747 w 4610101"/>
              <a:gd name="connsiteY6544" fmla="*/ 2322304 h 6557032"/>
              <a:gd name="connsiteX6545" fmla="*/ 2873569 w 4610101"/>
              <a:gd name="connsiteY6545" fmla="*/ 2327771 h 6557032"/>
              <a:gd name="connsiteX6546" fmla="*/ 2912821 w 4610101"/>
              <a:gd name="connsiteY6546" fmla="*/ 2327876 h 6557032"/>
              <a:gd name="connsiteX6547" fmla="*/ 2911834 w 4610101"/>
              <a:gd name="connsiteY6547" fmla="*/ 2326119 h 6557032"/>
              <a:gd name="connsiteX6548" fmla="*/ 2913656 w 4610101"/>
              <a:gd name="connsiteY6548" fmla="*/ 2324304 h 6557032"/>
              <a:gd name="connsiteX6549" fmla="*/ 2918314 w 4610101"/>
              <a:gd name="connsiteY6549" fmla="*/ 2327891 h 6557032"/>
              <a:gd name="connsiteX6550" fmla="*/ 2958300 w 4610101"/>
              <a:gd name="connsiteY6550" fmla="*/ 2327998 h 6557032"/>
              <a:gd name="connsiteX6551" fmla="*/ 3043031 w 4610101"/>
              <a:gd name="connsiteY6551" fmla="*/ 2329593 h 6557032"/>
              <a:gd name="connsiteX6552" fmla="*/ 3099518 w 4610101"/>
              <a:gd name="connsiteY6552" fmla="*/ 2326768 h 6557032"/>
              <a:gd name="connsiteX6553" fmla="*/ 3099518 w 4610101"/>
              <a:gd name="connsiteY6553" fmla="*/ 2322489 h 6557032"/>
              <a:gd name="connsiteX6554" fmla="*/ 3106352 w 4610101"/>
              <a:gd name="connsiteY6554" fmla="*/ 2322489 h 6557032"/>
              <a:gd name="connsiteX6555" fmla="*/ 3109208 w 4610101"/>
              <a:gd name="connsiteY6555" fmla="*/ 2326285 h 6557032"/>
              <a:gd name="connsiteX6556" fmla="*/ 3115918 w 4610101"/>
              <a:gd name="connsiteY6556" fmla="*/ 2325948 h 6557032"/>
              <a:gd name="connsiteX6557" fmla="*/ 3109554 w 4610101"/>
              <a:gd name="connsiteY6557" fmla="*/ 2326745 h 6557032"/>
              <a:gd name="connsiteX6558" fmla="*/ 3110451 w 4610101"/>
              <a:gd name="connsiteY6558" fmla="*/ 2327937 h 6557032"/>
              <a:gd name="connsiteX6559" fmla="*/ 3099518 w 4610101"/>
              <a:gd name="connsiteY6559" fmla="*/ 2329754 h 6557032"/>
              <a:gd name="connsiteX6560" fmla="*/ 3099518 w 4610101"/>
              <a:gd name="connsiteY6560" fmla="*/ 2327999 h 6557032"/>
              <a:gd name="connsiteX6561" fmla="*/ 3043031 w 4610101"/>
              <a:gd name="connsiteY6561" fmla="*/ 2335060 h 6557032"/>
              <a:gd name="connsiteX6562" fmla="*/ 2971967 w 4610101"/>
              <a:gd name="connsiteY6562" fmla="*/ 2335515 h 6557032"/>
              <a:gd name="connsiteX6563" fmla="*/ 2959755 w 4610101"/>
              <a:gd name="connsiteY6563" fmla="*/ 2336063 h 6557032"/>
              <a:gd name="connsiteX6564" fmla="*/ 2962855 w 4610101"/>
              <a:gd name="connsiteY6564" fmla="*/ 2337014 h 6557032"/>
              <a:gd name="connsiteX6565" fmla="*/ 2962855 w 4610101"/>
              <a:gd name="connsiteY6565" fmla="*/ 2340650 h 6557032"/>
              <a:gd name="connsiteX6566" fmla="*/ 2953744 w 4610101"/>
              <a:gd name="connsiteY6566" fmla="*/ 2340650 h 6557032"/>
              <a:gd name="connsiteX6567" fmla="*/ 2953744 w 4610101"/>
              <a:gd name="connsiteY6567" fmla="*/ 2336333 h 6557032"/>
              <a:gd name="connsiteX6568" fmla="*/ 2900902 w 4610101"/>
              <a:gd name="connsiteY6568" fmla="*/ 2338704 h 6557032"/>
              <a:gd name="connsiteX6569" fmla="*/ 2910013 w 4610101"/>
              <a:gd name="connsiteY6569" fmla="*/ 2344170 h 6557032"/>
              <a:gd name="connsiteX6570" fmla="*/ 2946456 w 4610101"/>
              <a:gd name="connsiteY6570" fmla="*/ 2344170 h 6557032"/>
              <a:gd name="connsiteX6571" fmla="*/ 2946456 w 4610101"/>
              <a:gd name="connsiteY6571" fmla="*/ 2342482 h 6557032"/>
              <a:gd name="connsiteX6572" fmla="*/ 2948145 w 4610101"/>
              <a:gd name="connsiteY6572" fmla="*/ 2344170 h 6557032"/>
              <a:gd name="connsiteX6573" fmla="*/ 2984722 w 4610101"/>
              <a:gd name="connsiteY6573" fmla="*/ 2344170 h 6557032"/>
              <a:gd name="connsiteX6574" fmla="*/ 2949341 w 4610101"/>
              <a:gd name="connsiteY6574" fmla="*/ 2346892 h 6557032"/>
              <a:gd name="connsiteX6575" fmla="*/ 2946456 w 4610101"/>
              <a:gd name="connsiteY6575" fmla="*/ 2349797 h 6557032"/>
              <a:gd name="connsiteX6576" fmla="*/ 2946456 w 4610101"/>
              <a:gd name="connsiteY6576" fmla="*/ 2347114 h 6557032"/>
              <a:gd name="connsiteX6577" fmla="*/ 2913657 w 4610101"/>
              <a:gd name="connsiteY6577" fmla="*/ 2349637 h 6557032"/>
              <a:gd name="connsiteX6578" fmla="*/ 2839175 w 4610101"/>
              <a:gd name="connsiteY6578" fmla="*/ 2348270 h 6557032"/>
              <a:gd name="connsiteX6579" fmla="*/ 2816979 w 4610101"/>
              <a:gd name="connsiteY6579" fmla="*/ 2343707 h 6557032"/>
              <a:gd name="connsiteX6580" fmla="*/ 2815259 w 4610101"/>
              <a:gd name="connsiteY6580" fmla="*/ 2347967 h 6557032"/>
              <a:gd name="connsiteX6581" fmla="*/ 2813842 w 4610101"/>
              <a:gd name="connsiteY6581" fmla="*/ 2343061 h 6557032"/>
              <a:gd name="connsiteX6582" fmla="*/ 2766061 w 4610101"/>
              <a:gd name="connsiteY6582" fmla="*/ 2333237 h 6557032"/>
              <a:gd name="connsiteX6583" fmla="*/ 2660374 w 4610101"/>
              <a:gd name="connsiteY6583" fmla="*/ 2265816 h 6557032"/>
              <a:gd name="connsiteX6584" fmla="*/ 2560154 w 4610101"/>
              <a:gd name="connsiteY6584" fmla="*/ 2143728 h 6557032"/>
              <a:gd name="connsiteX6585" fmla="*/ 3294492 w 4610101"/>
              <a:gd name="connsiteY6585" fmla="*/ 2140082 h 6557032"/>
              <a:gd name="connsiteX6586" fmla="*/ 3294492 w 4610101"/>
              <a:gd name="connsiteY6586" fmla="*/ 2147371 h 6557032"/>
              <a:gd name="connsiteX6587" fmla="*/ 3327291 w 4610101"/>
              <a:gd name="connsiteY6587" fmla="*/ 2143727 h 6557032"/>
              <a:gd name="connsiteX6588" fmla="*/ 3259871 w 4610101"/>
              <a:gd name="connsiteY6588" fmla="*/ 2167416 h 6557032"/>
              <a:gd name="connsiteX6589" fmla="*/ 3263515 w 4610101"/>
              <a:gd name="connsiteY6589" fmla="*/ 2176527 h 6557032"/>
              <a:gd name="connsiteX6590" fmla="*/ 3354624 w 4610101"/>
              <a:gd name="connsiteY6590" fmla="*/ 2154660 h 6557032"/>
              <a:gd name="connsiteX6591" fmla="*/ 3360090 w 4610101"/>
              <a:gd name="connsiteY6591" fmla="*/ 2154660 h 6557032"/>
              <a:gd name="connsiteX6592" fmla="*/ 3363735 w 4610101"/>
              <a:gd name="connsiteY6592" fmla="*/ 2158304 h 6557032"/>
              <a:gd name="connsiteX6593" fmla="*/ 3283559 w 4610101"/>
              <a:gd name="connsiteY6593" fmla="*/ 2180171 h 6557032"/>
              <a:gd name="connsiteX6594" fmla="*/ 3281737 w 4610101"/>
              <a:gd name="connsiteY6594" fmla="*/ 2180171 h 6557032"/>
              <a:gd name="connsiteX6595" fmla="*/ 3277664 w 4610101"/>
              <a:gd name="connsiteY6595" fmla="*/ 2182207 h 6557032"/>
              <a:gd name="connsiteX6596" fmla="*/ 3276270 w 4610101"/>
              <a:gd name="connsiteY6596" fmla="*/ 2181993 h 6557032"/>
              <a:gd name="connsiteX6597" fmla="*/ 3265337 w 4610101"/>
              <a:gd name="connsiteY6597" fmla="*/ 2187460 h 6557032"/>
              <a:gd name="connsiteX6598" fmla="*/ 3268981 w 4610101"/>
              <a:gd name="connsiteY6598" fmla="*/ 2191104 h 6557032"/>
              <a:gd name="connsiteX6599" fmla="*/ 3275378 w 4610101"/>
              <a:gd name="connsiteY6599" fmla="*/ 2187266 h 6557032"/>
              <a:gd name="connsiteX6600" fmla="*/ 3279915 w 4610101"/>
              <a:gd name="connsiteY6600" fmla="*/ 2189282 h 6557032"/>
              <a:gd name="connsiteX6601" fmla="*/ 3354624 w 4610101"/>
              <a:gd name="connsiteY6601" fmla="*/ 2171060 h 6557032"/>
              <a:gd name="connsiteX6602" fmla="*/ 3345513 w 4610101"/>
              <a:gd name="connsiteY6602" fmla="*/ 2180171 h 6557032"/>
              <a:gd name="connsiteX6603" fmla="*/ 3341868 w 4610101"/>
              <a:gd name="connsiteY6603" fmla="*/ 2181993 h 6557032"/>
              <a:gd name="connsiteX6604" fmla="*/ 3312714 w 4610101"/>
              <a:gd name="connsiteY6604" fmla="*/ 2192926 h 6557032"/>
              <a:gd name="connsiteX6605" fmla="*/ 3312714 w 4610101"/>
              <a:gd name="connsiteY6605" fmla="*/ 2196571 h 6557032"/>
              <a:gd name="connsiteX6606" fmla="*/ 3305211 w 4610101"/>
              <a:gd name="connsiteY6606" fmla="*/ 2198715 h 6557032"/>
              <a:gd name="connsiteX6607" fmla="*/ 3304970 w 4610101"/>
              <a:gd name="connsiteY6607" fmla="*/ 2197026 h 6557032"/>
              <a:gd name="connsiteX6608" fmla="*/ 3301781 w 4610101"/>
              <a:gd name="connsiteY6608" fmla="*/ 2196571 h 6557032"/>
              <a:gd name="connsiteX6609" fmla="*/ 3298136 w 4610101"/>
              <a:gd name="connsiteY6609" fmla="*/ 2200215 h 6557032"/>
              <a:gd name="connsiteX6610" fmla="*/ 3299959 w 4610101"/>
              <a:gd name="connsiteY6610" fmla="*/ 2203859 h 6557032"/>
              <a:gd name="connsiteX6611" fmla="*/ 3301326 w 4610101"/>
              <a:gd name="connsiteY6611" fmla="*/ 2202947 h 6557032"/>
              <a:gd name="connsiteX6612" fmla="*/ 3301781 w 4610101"/>
              <a:gd name="connsiteY6612" fmla="*/ 2203859 h 6557032"/>
              <a:gd name="connsiteX6613" fmla="*/ 3316358 w 4610101"/>
              <a:gd name="connsiteY6613" fmla="*/ 2200215 h 6557032"/>
              <a:gd name="connsiteX6614" fmla="*/ 3318180 w 4610101"/>
              <a:gd name="connsiteY6614" fmla="*/ 2202037 h 6557032"/>
              <a:gd name="connsiteX6615" fmla="*/ 3360090 w 4610101"/>
              <a:gd name="connsiteY6615" fmla="*/ 2194748 h 6557032"/>
              <a:gd name="connsiteX6616" fmla="*/ 3369201 w 4610101"/>
              <a:gd name="connsiteY6616" fmla="*/ 2196571 h 6557032"/>
              <a:gd name="connsiteX6617" fmla="*/ 3363735 w 4610101"/>
              <a:gd name="connsiteY6617" fmla="*/ 2207504 h 6557032"/>
              <a:gd name="connsiteX6618" fmla="*/ 3352801 w 4610101"/>
              <a:gd name="connsiteY6618" fmla="*/ 2207504 h 6557032"/>
              <a:gd name="connsiteX6619" fmla="*/ 3352801 w 4610101"/>
              <a:gd name="connsiteY6619" fmla="*/ 2211148 h 6557032"/>
              <a:gd name="connsiteX6620" fmla="*/ 3345513 w 4610101"/>
              <a:gd name="connsiteY6620" fmla="*/ 2211148 h 6557032"/>
              <a:gd name="connsiteX6621" fmla="*/ 3343691 w 4610101"/>
              <a:gd name="connsiteY6621" fmla="*/ 2209326 h 6557032"/>
              <a:gd name="connsiteX6622" fmla="*/ 3340046 w 4610101"/>
              <a:gd name="connsiteY6622" fmla="*/ 2211148 h 6557032"/>
              <a:gd name="connsiteX6623" fmla="*/ 3341868 w 4610101"/>
              <a:gd name="connsiteY6623" fmla="*/ 2212970 h 6557032"/>
              <a:gd name="connsiteX6624" fmla="*/ 3341868 w 4610101"/>
              <a:gd name="connsiteY6624" fmla="*/ 2216614 h 6557032"/>
              <a:gd name="connsiteX6625" fmla="*/ 3365557 w 4610101"/>
              <a:gd name="connsiteY6625" fmla="*/ 2223903 h 6557032"/>
              <a:gd name="connsiteX6626" fmla="*/ 3263515 w 4610101"/>
              <a:gd name="connsiteY6626" fmla="*/ 2240303 h 6557032"/>
              <a:gd name="connsiteX6627" fmla="*/ 3259871 w 4610101"/>
              <a:gd name="connsiteY6627" fmla="*/ 2249413 h 6557032"/>
              <a:gd name="connsiteX6628" fmla="*/ 3325469 w 4610101"/>
              <a:gd name="connsiteY6628" fmla="*/ 2318656 h 6557032"/>
              <a:gd name="connsiteX6629" fmla="*/ 3259871 w 4610101"/>
              <a:gd name="connsiteY6629" fmla="*/ 2276746 h 6557032"/>
              <a:gd name="connsiteX6630" fmla="*/ 3261693 w 4610101"/>
              <a:gd name="connsiteY6630" fmla="*/ 2285857 h 6557032"/>
              <a:gd name="connsiteX6631" fmla="*/ 3305425 w 4610101"/>
              <a:gd name="connsiteY6631" fmla="*/ 2320479 h 6557032"/>
              <a:gd name="connsiteX6632" fmla="*/ 3268981 w 4610101"/>
              <a:gd name="connsiteY6632" fmla="*/ 2300434 h 6557032"/>
              <a:gd name="connsiteX6633" fmla="*/ 3261693 w 4610101"/>
              <a:gd name="connsiteY6633" fmla="*/ 2305902 h 6557032"/>
              <a:gd name="connsiteX6634" fmla="*/ 3303603 w 4610101"/>
              <a:gd name="connsiteY6634" fmla="*/ 2336879 h 6557032"/>
              <a:gd name="connsiteX6635" fmla="*/ 3320002 w 4610101"/>
              <a:gd name="connsiteY6635" fmla="*/ 2344167 h 6557032"/>
              <a:gd name="connsiteX6636" fmla="*/ 3312714 w 4610101"/>
              <a:gd name="connsiteY6636" fmla="*/ 2345990 h 6557032"/>
              <a:gd name="connsiteX6637" fmla="*/ 3294492 w 4610101"/>
              <a:gd name="connsiteY6637" fmla="*/ 2338701 h 6557032"/>
              <a:gd name="connsiteX6638" fmla="*/ 3265337 w 4610101"/>
              <a:gd name="connsiteY6638" fmla="*/ 2316835 h 6557032"/>
              <a:gd name="connsiteX6639" fmla="*/ 3256226 w 4610101"/>
              <a:gd name="connsiteY6639" fmla="*/ 2316835 h 6557032"/>
              <a:gd name="connsiteX6640" fmla="*/ 3272626 w 4610101"/>
              <a:gd name="connsiteY6640" fmla="*/ 2338701 h 6557032"/>
              <a:gd name="connsiteX6641" fmla="*/ 3181517 w 4610101"/>
              <a:gd name="connsiteY6641" fmla="*/ 2287679 h 6557032"/>
              <a:gd name="connsiteX6642" fmla="*/ 3121385 w 4610101"/>
              <a:gd name="connsiteY6642" fmla="*/ 2233014 h 6557032"/>
              <a:gd name="connsiteX6643" fmla="*/ 3119563 w 4610101"/>
              <a:gd name="connsiteY6643" fmla="*/ 2229370 h 6557032"/>
              <a:gd name="connsiteX6644" fmla="*/ 3106808 w 4610101"/>
              <a:gd name="connsiteY6644" fmla="*/ 2220259 h 6557032"/>
              <a:gd name="connsiteX6645" fmla="*/ 3015698 w 4610101"/>
              <a:gd name="connsiteY6645" fmla="*/ 2154660 h 6557032"/>
              <a:gd name="connsiteX6646" fmla="*/ 3221605 w 4610101"/>
              <a:gd name="connsiteY6646" fmla="*/ 2158304 h 6557032"/>
              <a:gd name="connsiteX6647" fmla="*/ 3294492 w 4610101"/>
              <a:gd name="connsiteY6647" fmla="*/ 2140082 h 6557032"/>
              <a:gd name="connsiteX6648" fmla="*/ 858244 w 4610101"/>
              <a:gd name="connsiteY6648" fmla="*/ 2138326 h 6557032"/>
              <a:gd name="connsiteX6649" fmla="*/ 891044 w 4610101"/>
              <a:gd name="connsiteY6649" fmla="*/ 2167520 h 6557032"/>
              <a:gd name="connsiteX6650" fmla="*/ 880111 w 4610101"/>
              <a:gd name="connsiteY6650" fmla="*/ 2191239 h 6557032"/>
              <a:gd name="connsiteX6651" fmla="*/ 836378 w 4610101"/>
              <a:gd name="connsiteY6651" fmla="*/ 2176641 h 6557032"/>
              <a:gd name="connsiteX6652" fmla="*/ 858244 w 4610101"/>
              <a:gd name="connsiteY6652" fmla="*/ 2138326 h 6557032"/>
              <a:gd name="connsiteX6653" fmla="*/ 3558706 w 4610101"/>
              <a:gd name="connsiteY6653" fmla="*/ 2129179 h 6557032"/>
              <a:gd name="connsiteX6654" fmla="*/ 3558706 w 4610101"/>
              <a:gd name="connsiteY6654" fmla="*/ 2152884 h 6557032"/>
              <a:gd name="connsiteX6655" fmla="*/ 3544128 w 4610101"/>
              <a:gd name="connsiteY6655" fmla="*/ 2145587 h 6557032"/>
              <a:gd name="connsiteX6656" fmla="*/ 2879035 w 4610101"/>
              <a:gd name="connsiteY6656" fmla="*/ 2117534 h 6557032"/>
              <a:gd name="connsiteX6657" fmla="*/ 2939167 w 4610101"/>
              <a:gd name="connsiteY6657" fmla="*/ 2118217 h 6557032"/>
              <a:gd name="connsiteX6658" fmla="*/ 2919123 w 4610101"/>
              <a:gd name="connsiteY6658" fmla="*/ 2120039 h 6557032"/>
              <a:gd name="connsiteX6659" fmla="*/ 2922767 w 4610101"/>
              <a:gd name="connsiteY6659" fmla="*/ 2125506 h 6557032"/>
              <a:gd name="connsiteX6660" fmla="*/ 3012054 w 4610101"/>
              <a:gd name="connsiteY6660" fmla="*/ 2136438 h 6557032"/>
              <a:gd name="connsiteX6661" fmla="*/ 2902723 w 4610101"/>
              <a:gd name="connsiteY6661" fmla="*/ 2132795 h 6557032"/>
              <a:gd name="connsiteX6662" fmla="*/ 2906368 w 4610101"/>
              <a:gd name="connsiteY6662" fmla="*/ 2140082 h 6557032"/>
              <a:gd name="connsiteX6663" fmla="*/ 2966500 w 4610101"/>
              <a:gd name="connsiteY6663" fmla="*/ 2140082 h 6557032"/>
              <a:gd name="connsiteX6664" fmla="*/ 2979255 w 4610101"/>
              <a:gd name="connsiteY6664" fmla="*/ 2141906 h 6557032"/>
              <a:gd name="connsiteX6665" fmla="*/ 2982823 w 4610101"/>
              <a:gd name="connsiteY6665" fmla="*/ 2147257 h 6557032"/>
              <a:gd name="connsiteX6666" fmla="*/ 2924589 w 4610101"/>
              <a:gd name="connsiteY6666" fmla="*/ 2143728 h 6557032"/>
              <a:gd name="connsiteX6667" fmla="*/ 2926412 w 4610101"/>
              <a:gd name="connsiteY6667" fmla="*/ 2152839 h 6557032"/>
              <a:gd name="connsiteX6668" fmla="*/ 3032098 w 4610101"/>
              <a:gd name="connsiteY6668" fmla="*/ 2183816 h 6557032"/>
              <a:gd name="connsiteX6669" fmla="*/ 3052142 w 4610101"/>
              <a:gd name="connsiteY6669" fmla="*/ 2198394 h 6557032"/>
              <a:gd name="connsiteX6670" fmla="*/ 3033920 w 4610101"/>
              <a:gd name="connsiteY6670" fmla="*/ 2191105 h 6557032"/>
              <a:gd name="connsiteX6671" fmla="*/ 2964677 w 4610101"/>
              <a:gd name="connsiteY6671" fmla="*/ 2172883 h 6557032"/>
              <a:gd name="connsiteX6672" fmla="*/ 2966500 w 4610101"/>
              <a:gd name="connsiteY6672" fmla="*/ 2176528 h 6557032"/>
              <a:gd name="connsiteX6673" fmla="*/ 2964677 w 4610101"/>
              <a:gd name="connsiteY6673" fmla="*/ 2176528 h 6557032"/>
              <a:gd name="connsiteX6674" fmla="*/ 2962855 w 4610101"/>
              <a:gd name="connsiteY6674" fmla="*/ 2174705 h 6557032"/>
              <a:gd name="connsiteX6675" fmla="*/ 2955566 w 4610101"/>
              <a:gd name="connsiteY6675" fmla="*/ 2172883 h 6557032"/>
              <a:gd name="connsiteX6676" fmla="*/ 2953744 w 4610101"/>
              <a:gd name="connsiteY6676" fmla="*/ 2172883 h 6557032"/>
              <a:gd name="connsiteX6677" fmla="*/ 2951922 w 4610101"/>
              <a:gd name="connsiteY6677" fmla="*/ 2171061 h 6557032"/>
              <a:gd name="connsiteX6678" fmla="*/ 2950100 w 4610101"/>
              <a:gd name="connsiteY6678" fmla="*/ 2178349 h 6557032"/>
              <a:gd name="connsiteX6679" fmla="*/ 2953744 w 4610101"/>
              <a:gd name="connsiteY6679" fmla="*/ 2176528 h 6557032"/>
              <a:gd name="connsiteX6680" fmla="*/ 2959211 w 4610101"/>
              <a:gd name="connsiteY6680" fmla="*/ 2178349 h 6557032"/>
              <a:gd name="connsiteX6681" fmla="*/ 2962855 w 4610101"/>
              <a:gd name="connsiteY6681" fmla="*/ 2178349 h 6557032"/>
              <a:gd name="connsiteX6682" fmla="*/ 2966500 w 4610101"/>
              <a:gd name="connsiteY6682" fmla="*/ 2178349 h 6557032"/>
              <a:gd name="connsiteX6683" fmla="*/ 2968322 w 4610101"/>
              <a:gd name="connsiteY6683" fmla="*/ 2180172 h 6557032"/>
              <a:gd name="connsiteX6684" fmla="*/ 2971966 w 4610101"/>
              <a:gd name="connsiteY6684" fmla="*/ 2178349 h 6557032"/>
              <a:gd name="connsiteX6685" fmla="*/ 3050319 w 4610101"/>
              <a:gd name="connsiteY6685" fmla="*/ 2202038 h 6557032"/>
              <a:gd name="connsiteX6686" fmla="*/ 3086763 w 4610101"/>
              <a:gd name="connsiteY6686" fmla="*/ 2218438 h 6557032"/>
              <a:gd name="connsiteX6687" fmla="*/ 3104985 w 4610101"/>
              <a:gd name="connsiteY6687" fmla="*/ 2231193 h 6557032"/>
              <a:gd name="connsiteX6688" fmla="*/ 3063075 w 4610101"/>
              <a:gd name="connsiteY6688" fmla="*/ 2214792 h 6557032"/>
              <a:gd name="connsiteX6689" fmla="*/ 3001121 w 4610101"/>
              <a:gd name="connsiteY6689" fmla="*/ 2196571 h 6557032"/>
              <a:gd name="connsiteX6690" fmla="*/ 3002943 w 4610101"/>
              <a:gd name="connsiteY6690" fmla="*/ 2207505 h 6557032"/>
              <a:gd name="connsiteX6691" fmla="*/ 3072186 w 4610101"/>
              <a:gd name="connsiteY6691" fmla="*/ 2234837 h 6557032"/>
              <a:gd name="connsiteX6692" fmla="*/ 3083119 w 4610101"/>
              <a:gd name="connsiteY6692" fmla="*/ 2240304 h 6557032"/>
              <a:gd name="connsiteX6693" fmla="*/ 3035742 w 4610101"/>
              <a:gd name="connsiteY6693" fmla="*/ 2223904 h 6557032"/>
              <a:gd name="connsiteX6694" fmla="*/ 3028453 w 4610101"/>
              <a:gd name="connsiteY6694" fmla="*/ 2229371 h 6557032"/>
              <a:gd name="connsiteX6695" fmla="*/ 3050319 w 4610101"/>
              <a:gd name="connsiteY6695" fmla="*/ 2240304 h 6557032"/>
              <a:gd name="connsiteX6696" fmla="*/ 3004765 w 4610101"/>
              <a:gd name="connsiteY6696" fmla="*/ 2222081 h 6557032"/>
              <a:gd name="connsiteX6697" fmla="*/ 3002943 w 4610101"/>
              <a:gd name="connsiteY6697" fmla="*/ 2216616 h 6557032"/>
              <a:gd name="connsiteX6698" fmla="*/ 2997476 w 4610101"/>
              <a:gd name="connsiteY6698" fmla="*/ 2220260 h 6557032"/>
              <a:gd name="connsiteX6699" fmla="*/ 2996565 w 4610101"/>
              <a:gd name="connsiteY6699" fmla="*/ 2220260 h 6557032"/>
              <a:gd name="connsiteX6700" fmla="*/ 2997249 w 4610101"/>
              <a:gd name="connsiteY6700" fmla="*/ 2219805 h 6557032"/>
              <a:gd name="connsiteX6701" fmla="*/ 2993832 w 4610101"/>
              <a:gd name="connsiteY6701" fmla="*/ 2214792 h 6557032"/>
              <a:gd name="connsiteX6702" fmla="*/ 2992010 w 4610101"/>
              <a:gd name="connsiteY6702" fmla="*/ 2222081 h 6557032"/>
              <a:gd name="connsiteX6703" fmla="*/ 2993832 w 4610101"/>
              <a:gd name="connsiteY6703" fmla="*/ 2222081 h 6557032"/>
              <a:gd name="connsiteX6704" fmla="*/ 2995447 w 4610101"/>
              <a:gd name="connsiteY6704" fmla="*/ 2221006 h 6557032"/>
              <a:gd name="connsiteX6705" fmla="*/ 3064897 w 4610101"/>
              <a:gd name="connsiteY6705" fmla="*/ 2253059 h 6557032"/>
              <a:gd name="connsiteX6706" fmla="*/ 3002943 w 4610101"/>
              <a:gd name="connsiteY6706" fmla="*/ 2236661 h 6557032"/>
              <a:gd name="connsiteX6707" fmla="*/ 2993832 w 4610101"/>
              <a:gd name="connsiteY6707" fmla="*/ 2240304 h 6557032"/>
              <a:gd name="connsiteX6708" fmla="*/ 3072186 w 4610101"/>
              <a:gd name="connsiteY6708" fmla="*/ 2271282 h 6557032"/>
              <a:gd name="connsiteX6709" fmla="*/ 3154183 w 4610101"/>
              <a:gd name="connsiteY6709" fmla="*/ 2294970 h 6557032"/>
              <a:gd name="connsiteX6710" fmla="*/ 3002943 w 4610101"/>
              <a:gd name="connsiteY6710" fmla="*/ 2253059 h 6557032"/>
              <a:gd name="connsiteX6711" fmla="*/ 2995654 w 4610101"/>
              <a:gd name="connsiteY6711" fmla="*/ 2247594 h 6557032"/>
              <a:gd name="connsiteX6712" fmla="*/ 2933700 w 4610101"/>
              <a:gd name="connsiteY6712" fmla="*/ 2207505 h 6557032"/>
              <a:gd name="connsiteX6713" fmla="*/ 2884502 w 4610101"/>
              <a:gd name="connsiteY6713" fmla="*/ 2160128 h 6557032"/>
              <a:gd name="connsiteX6714" fmla="*/ 2818903 w 4610101"/>
              <a:gd name="connsiteY6714" fmla="*/ 2123684 h 6557032"/>
              <a:gd name="connsiteX6715" fmla="*/ 2879035 w 4610101"/>
              <a:gd name="connsiteY6715" fmla="*/ 2117534 h 6557032"/>
              <a:gd name="connsiteX6716" fmla="*/ 4200111 w 4610101"/>
              <a:gd name="connsiteY6716" fmla="*/ 2116411 h 6557032"/>
              <a:gd name="connsiteX6717" fmla="*/ 4216511 w 4610101"/>
              <a:gd name="connsiteY6717" fmla="*/ 2129173 h 6557032"/>
              <a:gd name="connsiteX6718" fmla="*/ 4200111 w 4610101"/>
              <a:gd name="connsiteY6718" fmla="*/ 2130995 h 6557032"/>
              <a:gd name="connsiteX6719" fmla="*/ 3008410 w 4610101"/>
              <a:gd name="connsiteY6719" fmla="*/ 2103640 h 6557032"/>
              <a:gd name="connsiteX6720" fmla="*/ 3006588 w 4610101"/>
              <a:gd name="connsiteY6720" fmla="*/ 2110929 h 6557032"/>
              <a:gd name="connsiteX6721" fmla="*/ 3008410 w 4610101"/>
              <a:gd name="connsiteY6721" fmla="*/ 2103640 h 6557032"/>
              <a:gd name="connsiteX6722" fmla="*/ 2993833 w 4610101"/>
              <a:gd name="connsiteY6722" fmla="*/ 2098173 h 6557032"/>
              <a:gd name="connsiteX6723" fmla="*/ 2990189 w 4610101"/>
              <a:gd name="connsiteY6723" fmla="*/ 2101817 h 6557032"/>
              <a:gd name="connsiteX6724" fmla="*/ 2993833 w 4610101"/>
              <a:gd name="connsiteY6724" fmla="*/ 2105463 h 6557032"/>
              <a:gd name="connsiteX6725" fmla="*/ 2993833 w 4610101"/>
              <a:gd name="connsiteY6725" fmla="*/ 2098173 h 6557032"/>
              <a:gd name="connsiteX6726" fmla="*/ 3409288 w 4610101"/>
              <a:gd name="connsiteY6726" fmla="*/ 2092716 h 6557032"/>
              <a:gd name="connsiteX6727" fmla="*/ 3423865 w 4610101"/>
              <a:gd name="connsiteY6727" fmla="*/ 2092716 h 6557032"/>
              <a:gd name="connsiteX6728" fmla="*/ 3447553 w 4610101"/>
              <a:gd name="connsiteY6728" fmla="*/ 2114607 h 6557032"/>
              <a:gd name="connsiteX6729" fmla="*/ 3467597 w 4610101"/>
              <a:gd name="connsiteY6729" fmla="*/ 2107312 h 6557032"/>
              <a:gd name="connsiteX6730" fmla="*/ 3476708 w 4610101"/>
              <a:gd name="connsiteY6730" fmla="*/ 2131030 h 6557032"/>
              <a:gd name="connsiteX6731" fmla="*/ 3445731 w 4610101"/>
              <a:gd name="connsiteY6731" fmla="*/ 2136502 h 6557032"/>
              <a:gd name="connsiteX6732" fmla="*/ 3445731 w 4610101"/>
              <a:gd name="connsiteY6732" fmla="*/ 2176641 h 6557032"/>
              <a:gd name="connsiteX6733" fmla="*/ 3416577 w 4610101"/>
              <a:gd name="connsiteY6733" fmla="*/ 2176641 h 6557032"/>
              <a:gd name="connsiteX6734" fmla="*/ 3416577 w 4610101"/>
              <a:gd name="connsiteY6734" fmla="*/ 2131030 h 6557032"/>
              <a:gd name="connsiteX6735" fmla="*/ 3392888 w 4610101"/>
              <a:gd name="connsiteY6735" fmla="*/ 2131030 h 6557032"/>
              <a:gd name="connsiteX6736" fmla="*/ 3392888 w 4610101"/>
              <a:gd name="connsiteY6736" fmla="*/ 2123729 h 6557032"/>
              <a:gd name="connsiteX6737" fmla="*/ 3418399 w 4610101"/>
              <a:gd name="connsiteY6737" fmla="*/ 2123729 h 6557032"/>
              <a:gd name="connsiteX6738" fmla="*/ 3330934 w 4610101"/>
              <a:gd name="connsiteY6738" fmla="*/ 2083598 h 6557032"/>
              <a:gd name="connsiteX6739" fmla="*/ 3345512 w 4610101"/>
              <a:gd name="connsiteY6739" fmla="*/ 2099996 h 6557032"/>
              <a:gd name="connsiteX6740" fmla="*/ 3330934 w 4610101"/>
              <a:gd name="connsiteY6740" fmla="*/ 2087241 h 6557032"/>
              <a:gd name="connsiteX6741" fmla="*/ 3364243 w 4610101"/>
              <a:gd name="connsiteY6741" fmla="*/ 2080023 h 6557032"/>
              <a:gd name="connsiteX6742" fmla="*/ 3366181 w 4610101"/>
              <a:gd name="connsiteY6742" fmla="*/ 2081704 h 6557032"/>
              <a:gd name="connsiteX6743" fmla="*/ 3365555 w 4610101"/>
              <a:gd name="connsiteY6743" fmla="*/ 2081774 h 6557032"/>
              <a:gd name="connsiteX6744" fmla="*/ 3381955 w 4610101"/>
              <a:gd name="connsiteY6744" fmla="*/ 2079951 h 6557032"/>
              <a:gd name="connsiteX6745" fmla="*/ 3396532 w 4610101"/>
              <a:gd name="connsiteY6745" fmla="*/ 2094528 h 6557032"/>
              <a:gd name="connsiteX6746" fmla="*/ 3387421 w 4610101"/>
              <a:gd name="connsiteY6746" fmla="*/ 2098173 h 6557032"/>
              <a:gd name="connsiteX6747" fmla="*/ 3374666 w 4610101"/>
              <a:gd name="connsiteY6747" fmla="*/ 2089062 h 6557032"/>
              <a:gd name="connsiteX6748" fmla="*/ 3366181 w 4610101"/>
              <a:gd name="connsiteY6748" fmla="*/ 2081704 h 6557032"/>
              <a:gd name="connsiteX6749" fmla="*/ 3405643 w 4610101"/>
              <a:gd name="connsiteY6749" fmla="*/ 2078130 h 6557032"/>
              <a:gd name="connsiteX6750" fmla="*/ 3412932 w 4610101"/>
              <a:gd name="connsiteY6750" fmla="*/ 2089062 h 6557032"/>
              <a:gd name="connsiteX6751" fmla="*/ 3409288 w 4610101"/>
              <a:gd name="connsiteY6751" fmla="*/ 2092707 h 6557032"/>
              <a:gd name="connsiteX6752" fmla="*/ 3396532 w 4610101"/>
              <a:gd name="connsiteY6752" fmla="*/ 2079950 h 6557032"/>
              <a:gd name="connsiteX6753" fmla="*/ 776246 w 4610101"/>
              <a:gd name="connsiteY6753" fmla="*/ 2070892 h 6557032"/>
              <a:gd name="connsiteX6754" fmla="*/ 792646 w 4610101"/>
              <a:gd name="connsiteY6754" fmla="*/ 2085434 h 6557032"/>
              <a:gd name="connsiteX6755" fmla="*/ 761668 w 4610101"/>
              <a:gd name="connsiteY6755" fmla="*/ 2092712 h 6557032"/>
              <a:gd name="connsiteX6756" fmla="*/ 776246 w 4610101"/>
              <a:gd name="connsiteY6756" fmla="*/ 2070892 h 6557032"/>
              <a:gd name="connsiteX6757" fmla="*/ 3516795 w 4610101"/>
              <a:gd name="connsiteY6757" fmla="*/ 2067262 h 6557032"/>
              <a:gd name="connsiteX6758" fmla="*/ 3522262 w 4610101"/>
              <a:gd name="connsiteY6758" fmla="*/ 2076361 h 6557032"/>
              <a:gd name="connsiteX6759" fmla="*/ 3507685 w 4610101"/>
              <a:gd name="connsiteY6759" fmla="*/ 2105484 h 6557032"/>
              <a:gd name="connsiteX6760" fmla="*/ 3514973 w 4610101"/>
              <a:gd name="connsiteY6760" fmla="*/ 2129205 h 6557032"/>
              <a:gd name="connsiteX6761" fmla="*/ 3500396 w 4610101"/>
              <a:gd name="connsiteY6761" fmla="*/ 2129205 h 6557032"/>
              <a:gd name="connsiteX6762" fmla="*/ 3531373 w 4610101"/>
              <a:gd name="connsiteY6762" fmla="*/ 2143802 h 6557032"/>
              <a:gd name="connsiteX6763" fmla="*/ 3493107 w 4610101"/>
              <a:gd name="connsiteY6763" fmla="*/ 2174816 h 6557032"/>
              <a:gd name="connsiteX6764" fmla="*/ 3462130 w 4610101"/>
              <a:gd name="connsiteY6764" fmla="*/ 2152924 h 6557032"/>
              <a:gd name="connsiteX6765" fmla="*/ 3487641 w 4610101"/>
              <a:gd name="connsiteY6765" fmla="*/ 2103662 h 6557032"/>
              <a:gd name="connsiteX6766" fmla="*/ 3509507 w 4610101"/>
              <a:gd name="connsiteY6766" fmla="*/ 2089068 h 6557032"/>
              <a:gd name="connsiteX6767" fmla="*/ 3516795 w 4610101"/>
              <a:gd name="connsiteY6767" fmla="*/ 2067262 h 6557032"/>
              <a:gd name="connsiteX6768" fmla="*/ 3587860 w 4610101"/>
              <a:gd name="connsiteY6768" fmla="*/ 2063589 h 6557032"/>
              <a:gd name="connsiteX6769" fmla="*/ 3604260 w 4610101"/>
              <a:gd name="connsiteY6769" fmla="*/ 2063589 h 6557032"/>
              <a:gd name="connsiteX6770" fmla="*/ 3602438 w 4610101"/>
              <a:gd name="connsiteY6770" fmla="*/ 2079974 h 6557032"/>
              <a:gd name="connsiteX6771" fmla="*/ 3412932 w 4610101"/>
              <a:gd name="connsiteY6771" fmla="*/ 2061730 h 6557032"/>
              <a:gd name="connsiteX6772" fmla="*/ 3423864 w 4610101"/>
              <a:gd name="connsiteY6772" fmla="*/ 2076309 h 6557032"/>
              <a:gd name="connsiteX6773" fmla="*/ 3418398 w 4610101"/>
              <a:gd name="connsiteY6773" fmla="*/ 2081774 h 6557032"/>
              <a:gd name="connsiteX6774" fmla="*/ 3409287 w 4610101"/>
              <a:gd name="connsiteY6774" fmla="*/ 2072663 h 6557032"/>
              <a:gd name="connsiteX6775" fmla="*/ 3412932 w 4610101"/>
              <a:gd name="connsiteY6775" fmla="*/ 2061730 h 6557032"/>
              <a:gd name="connsiteX6776" fmla="*/ 3330934 w 4610101"/>
              <a:gd name="connsiteY6776" fmla="*/ 2061729 h 6557032"/>
              <a:gd name="connsiteX6777" fmla="*/ 3338224 w 4610101"/>
              <a:gd name="connsiteY6777" fmla="*/ 2061729 h 6557032"/>
              <a:gd name="connsiteX6778" fmla="*/ 3380134 w 4610101"/>
              <a:gd name="connsiteY6778" fmla="*/ 2105462 h 6557032"/>
              <a:gd name="connsiteX6779" fmla="*/ 3376490 w 4610101"/>
              <a:gd name="connsiteY6779" fmla="*/ 2107285 h 6557032"/>
              <a:gd name="connsiteX6780" fmla="*/ 3360090 w 4610101"/>
              <a:gd name="connsiteY6780" fmla="*/ 2096352 h 6557032"/>
              <a:gd name="connsiteX6781" fmla="*/ 3330934 w 4610101"/>
              <a:gd name="connsiteY6781" fmla="*/ 2061729 h 6557032"/>
              <a:gd name="connsiteX6782" fmla="*/ 3431153 w 4610101"/>
              <a:gd name="connsiteY6782" fmla="*/ 2048975 h 6557032"/>
              <a:gd name="connsiteX6783" fmla="*/ 3440264 w 4610101"/>
              <a:gd name="connsiteY6783" fmla="*/ 2058086 h 6557032"/>
              <a:gd name="connsiteX6784" fmla="*/ 3429331 w 4610101"/>
              <a:gd name="connsiteY6784" fmla="*/ 2069019 h 6557032"/>
              <a:gd name="connsiteX6785" fmla="*/ 3418398 w 4610101"/>
              <a:gd name="connsiteY6785" fmla="*/ 2056264 h 6557032"/>
              <a:gd name="connsiteX6786" fmla="*/ 3431153 w 4610101"/>
              <a:gd name="connsiteY6786" fmla="*/ 2048975 h 6557032"/>
              <a:gd name="connsiteX6787" fmla="*/ 3575105 w 4610101"/>
              <a:gd name="connsiteY6787" fmla="*/ 2032621 h 6557032"/>
              <a:gd name="connsiteX6788" fmla="*/ 3573283 w 4610101"/>
              <a:gd name="connsiteY6788" fmla="*/ 2049032 h 6557032"/>
              <a:gd name="connsiteX6789" fmla="*/ 3558705 w 4610101"/>
              <a:gd name="connsiteY6789" fmla="*/ 2034445 h 6557032"/>
              <a:gd name="connsiteX6790" fmla="*/ 3363733 w 4610101"/>
              <a:gd name="connsiteY6790" fmla="*/ 2030754 h 6557032"/>
              <a:gd name="connsiteX6791" fmla="*/ 3383777 w 4610101"/>
              <a:gd name="connsiteY6791" fmla="*/ 2052620 h 6557032"/>
              <a:gd name="connsiteX6792" fmla="*/ 3378310 w 4610101"/>
              <a:gd name="connsiteY6792" fmla="*/ 2059910 h 6557032"/>
              <a:gd name="connsiteX6793" fmla="*/ 3365555 w 4610101"/>
              <a:gd name="connsiteY6793" fmla="*/ 2045333 h 6557032"/>
              <a:gd name="connsiteX6794" fmla="*/ 3363733 w 4610101"/>
              <a:gd name="connsiteY6794" fmla="*/ 2043511 h 6557032"/>
              <a:gd name="connsiteX6795" fmla="*/ 1002195 w 4610101"/>
              <a:gd name="connsiteY6795" fmla="*/ 2029023 h 6557032"/>
              <a:gd name="connsiteX6796" fmla="*/ 1009485 w 4610101"/>
              <a:gd name="connsiteY6796" fmla="*/ 2032670 h 6557032"/>
              <a:gd name="connsiteX6797" fmla="*/ 1024062 w 4610101"/>
              <a:gd name="connsiteY6797" fmla="*/ 2032670 h 6557032"/>
              <a:gd name="connsiteX6798" fmla="*/ 1045929 w 4610101"/>
              <a:gd name="connsiteY6798" fmla="*/ 2032670 h 6557032"/>
              <a:gd name="connsiteX6799" fmla="*/ 1045929 w 4610101"/>
              <a:gd name="connsiteY6799" fmla="*/ 2039962 h 6557032"/>
              <a:gd name="connsiteX6800" fmla="*/ 1014951 w 4610101"/>
              <a:gd name="connsiteY6800" fmla="*/ 2054536 h 6557032"/>
              <a:gd name="connsiteX6801" fmla="*/ 993085 w 4610101"/>
              <a:gd name="connsiteY6801" fmla="*/ 2054536 h 6557032"/>
              <a:gd name="connsiteX6802" fmla="*/ 978507 w 4610101"/>
              <a:gd name="connsiteY6802" fmla="*/ 2032670 h 6557032"/>
              <a:gd name="connsiteX6803" fmla="*/ 949352 w 4610101"/>
              <a:gd name="connsiteY6803" fmla="*/ 2018058 h 6557032"/>
              <a:gd name="connsiteX6804" fmla="*/ 973041 w 4610101"/>
              <a:gd name="connsiteY6804" fmla="*/ 2038116 h 6557032"/>
              <a:gd name="connsiteX6805" fmla="*/ 949352 w 4610101"/>
              <a:gd name="connsiteY6805" fmla="*/ 2039939 h 6557032"/>
              <a:gd name="connsiteX6806" fmla="*/ 2780752 w 4610101"/>
              <a:gd name="connsiteY6806" fmla="*/ 2015635 h 6557032"/>
              <a:gd name="connsiteX6807" fmla="*/ 2968322 w 4610101"/>
              <a:gd name="connsiteY6807" fmla="*/ 2063553 h 6557032"/>
              <a:gd name="connsiteX6808" fmla="*/ 2970145 w 4610101"/>
              <a:gd name="connsiteY6808" fmla="*/ 2063553 h 6557032"/>
              <a:gd name="connsiteX6809" fmla="*/ 3017521 w 4610101"/>
              <a:gd name="connsiteY6809" fmla="*/ 2099995 h 6557032"/>
              <a:gd name="connsiteX6810" fmla="*/ 3135963 w 4610101"/>
              <a:gd name="connsiteY6810" fmla="*/ 2147373 h 6557032"/>
              <a:gd name="connsiteX6811" fmla="*/ 3106808 w 4610101"/>
              <a:gd name="connsiteY6811" fmla="*/ 2147373 h 6557032"/>
              <a:gd name="connsiteX6812" fmla="*/ 3106808 w 4610101"/>
              <a:gd name="connsiteY6812" fmla="*/ 2141906 h 6557032"/>
              <a:gd name="connsiteX6813" fmla="*/ 3101341 w 4610101"/>
              <a:gd name="connsiteY6813" fmla="*/ 2145551 h 6557032"/>
              <a:gd name="connsiteX6814" fmla="*/ 3103163 w 4610101"/>
              <a:gd name="connsiteY6814" fmla="*/ 2149195 h 6557032"/>
              <a:gd name="connsiteX6815" fmla="*/ 3092230 w 4610101"/>
              <a:gd name="connsiteY6815" fmla="*/ 2149195 h 6557032"/>
              <a:gd name="connsiteX6816" fmla="*/ 3090408 w 4610101"/>
              <a:gd name="connsiteY6816" fmla="*/ 2143728 h 6557032"/>
              <a:gd name="connsiteX6817" fmla="*/ 3086764 w 4610101"/>
              <a:gd name="connsiteY6817" fmla="*/ 2149195 h 6557032"/>
              <a:gd name="connsiteX6818" fmla="*/ 3081297 w 4610101"/>
              <a:gd name="connsiteY6818" fmla="*/ 2149195 h 6557032"/>
              <a:gd name="connsiteX6819" fmla="*/ 3079475 w 4610101"/>
              <a:gd name="connsiteY6819" fmla="*/ 2143728 h 6557032"/>
              <a:gd name="connsiteX6820" fmla="*/ 3075831 w 4610101"/>
              <a:gd name="connsiteY6820" fmla="*/ 2149195 h 6557032"/>
              <a:gd name="connsiteX6821" fmla="*/ 3063076 w 4610101"/>
              <a:gd name="connsiteY6821" fmla="*/ 2140084 h 6557032"/>
              <a:gd name="connsiteX6822" fmla="*/ 3064898 w 4610101"/>
              <a:gd name="connsiteY6822" fmla="*/ 2136440 h 6557032"/>
              <a:gd name="connsiteX6823" fmla="*/ 3061253 w 4610101"/>
              <a:gd name="connsiteY6823" fmla="*/ 2132795 h 6557032"/>
              <a:gd name="connsiteX6824" fmla="*/ 3057609 w 4610101"/>
              <a:gd name="connsiteY6824" fmla="*/ 2136440 h 6557032"/>
              <a:gd name="connsiteX6825" fmla="*/ 3030276 w 4610101"/>
              <a:gd name="connsiteY6825" fmla="*/ 2123685 h 6557032"/>
              <a:gd name="connsiteX6826" fmla="*/ 3033921 w 4610101"/>
              <a:gd name="connsiteY6826" fmla="*/ 2121862 h 6557032"/>
              <a:gd name="connsiteX6827" fmla="*/ 3030276 w 4610101"/>
              <a:gd name="connsiteY6827" fmla="*/ 2116395 h 6557032"/>
              <a:gd name="connsiteX6828" fmla="*/ 3026632 w 4610101"/>
              <a:gd name="connsiteY6828" fmla="*/ 2121862 h 6557032"/>
              <a:gd name="connsiteX6829" fmla="*/ 3026632 w 4610101"/>
              <a:gd name="connsiteY6829" fmla="*/ 2123685 h 6557032"/>
              <a:gd name="connsiteX6830" fmla="*/ 3010232 w 4610101"/>
              <a:gd name="connsiteY6830" fmla="*/ 2118217 h 6557032"/>
              <a:gd name="connsiteX6831" fmla="*/ 2838948 w 4610101"/>
              <a:gd name="connsiteY6831" fmla="*/ 2107284 h 6557032"/>
              <a:gd name="connsiteX6832" fmla="*/ 2715039 w 4610101"/>
              <a:gd name="connsiteY6832" fmla="*/ 2019821 h 6557032"/>
              <a:gd name="connsiteX6833" fmla="*/ 2780752 w 4610101"/>
              <a:gd name="connsiteY6833" fmla="*/ 2015635 h 6557032"/>
              <a:gd name="connsiteX6834" fmla="*/ 3453019 w 4610101"/>
              <a:gd name="connsiteY6834" fmla="*/ 2010742 h 6557032"/>
              <a:gd name="connsiteX6835" fmla="*/ 3469419 w 4610101"/>
              <a:gd name="connsiteY6835" fmla="*/ 2010742 h 6557032"/>
              <a:gd name="connsiteX6836" fmla="*/ 3453019 w 4610101"/>
              <a:gd name="connsiteY6836" fmla="*/ 2025327 h 6557032"/>
              <a:gd name="connsiteX6837" fmla="*/ 3371023 w 4610101"/>
              <a:gd name="connsiteY6837" fmla="*/ 1996184 h 6557032"/>
              <a:gd name="connsiteX6838" fmla="*/ 3392889 w 4610101"/>
              <a:gd name="connsiteY6838" fmla="*/ 2003478 h 6557032"/>
              <a:gd name="connsiteX6839" fmla="*/ 3400178 w 4610101"/>
              <a:gd name="connsiteY6839" fmla="*/ 2025368 h 6557032"/>
              <a:gd name="connsiteX6840" fmla="*/ 3378311 w 4610101"/>
              <a:gd name="connsiteY6840" fmla="*/ 2025368 h 6557032"/>
              <a:gd name="connsiteX6841" fmla="*/ 3387422 w 4610101"/>
              <a:gd name="connsiteY6841" fmla="*/ 2010778 h 6557032"/>
              <a:gd name="connsiteX6842" fmla="*/ 3363734 w 4610101"/>
              <a:gd name="connsiteY6842" fmla="*/ 2010778 h 6557032"/>
              <a:gd name="connsiteX6843" fmla="*/ 3431154 w 4610101"/>
              <a:gd name="connsiteY6843" fmla="*/ 1994361 h 6557032"/>
              <a:gd name="connsiteX6844" fmla="*/ 3445731 w 4610101"/>
              <a:gd name="connsiteY6844" fmla="*/ 2003467 h 6557032"/>
              <a:gd name="connsiteX6845" fmla="*/ 3432976 w 4610101"/>
              <a:gd name="connsiteY6845" fmla="*/ 2019880 h 6557032"/>
              <a:gd name="connsiteX6846" fmla="*/ 3425687 w 4610101"/>
              <a:gd name="connsiteY6846" fmla="*/ 2008937 h 6557032"/>
              <a:gd name="connsiteX6847" fmla="*/ 980330 w 4610101"/>
              <a:gd name="connsiteY6847" fmla="*/ 1987062 h 6557032"/>
              <a:gd name="connsiteX6848" fmla="*/ 980330 w 4610101"/>
              <a:gd name="connsiteY6848" fmla="*/ 2000561 h 6557032"/>
              <a:gd name="connsiteX6849" fmla="*/ 987618 w 4610101"/>
              <a:gd name="connsiteY6849" fmla="*/ 1996186 h 6557032"/>
              <a:gd name="connsiteX6850" fmla="*/ 1002195 w 4610101"/>
              <a:gd name="connsiteY6850" fmla="*/ 2003478 h 6557032"/>
              <a:gd name="connsiteX6851" fmla="*/ 1016774 w 4610101"/>
              <a:gd name="connsiteY6851" fmla="*/ 1987095 h 6557032"/>
              <a:gd name="connsiteX6852" fmla="*/ 1024063 w 4610101"/>
              <a:gd name="connsiteY6852" fmla="*/ 2001655 h 6557032"/>
              <a:gd name="connsiteX6853" fmla="*/ 1000374 w 4610101"/>
              <a:gd name="connsiteY6853" fmla="*/ 2008949 h 6557032"/>
              <a:gd name="connsiteX6854" fmla="*/ 983291 w 4610101"/>
              <a:gd name="connsiteY6854" fmla="*/ 2010092 h 6557032"/>
              <a:gd name="connsiteX6855" fmla="*/ 978710 w 4610101"/>
              <a:gd name="connsiteY6855" fmla="*/ 2002012 h 6557032"/>
              <a:gd name="connsiteX6856" fmla="*/ 963930 w 4610101"/>
              <a:gd name="connsiteY6856" fmla="*/ 1988882 h 6557032"/>
              <a:gd name="connsiteX6857" fmla="*/ 1084194 w 4610101"/>
              <a:gd name="connsiteY6857" fmla="*/ 1987022 h 6557032"/>
              <a:gd name="connsiteX6858" fmla="*/ 1069616 w 4610101"/>
              <a:gd name="connsiteY6858" fmla="*/ 2001598 h 6557032"/>
              <a:gd name="connsiteX6859" fmla="*/ 1084194 w 4610101"/>
              <a:gd name="connsiteY6859" fmla="*/ 2008887 h 6557032"/>
              <a:gd name="connsiteX6860" fmla="*/ 1093305 w 4610101"/>
              <a:gd name="connsiteY6860" fmla="*/ 2003420 h 6557032"/>
              <a:gd name="connsiteX6861" fmla="*/ 1115171 w 4610101"/>
              <a:gd name="connsiteY6861" fmla="*/ 1979733 h 6557032"/>
              <a:gd name="connsiteX6862" fmla="*/ 1098771 w 4610101"/>
              <a:gd name="connsiteY6862" fmla="*/ 1981554 h 6557032"/>
              <a:gd name="connsiteX6863" fmla="*/ 1113349 w 4610101"/>
              <a:gd name="connsiteY6863" fmla="*/ 1996132 h 6557032"/>
              <a:gd name="connsiteX6864" fmla="*/ 3422043 w 4610101"/>
              <a:gd name="connsiteY6864" fmla="*/ 1977967 h 6557032"/>
              <a:gd name="connsiteX6865" fmla="*/ 3431154 w 4610101"/>
              <a:gd name="connsiteY6865" fmla="*/ 1994352 h 6557032"/>
              <a:gd name="connsiteX6866" fmla="*/ 3409288 w 4610101"/>
              <a:gd name="connsiteY6866" fmla="*/ 1994352 h 6557032"/>
              <a:gd name="connsiteX6867" fmla="*/ 3363734 w 4610101"/>
              <a:gd name="connsiteY6867" fmla="*/ 1957951 h 6557032"/>
              <a:gd name="connsiteX6868" fmla="*/ 3380134 w 4610101"/>
              <a:gd name="connsiteY6868" fmla="*/ 1970690 h 6557032"/>
              <a:gd name="connsiteX6869" fmla="*/ 3354623 w 4610101"/>
              <a:gd name="connsiteY6869" fmla="*/ 1979811 h 6557032"/>
              <a:gd name="connsiteX6870" fmla="*/ 1078727 w 4610101"/>
              <a:gd name="connsiteY6870" fmla="*/ 1957866 h 6557032"/>
              <a:gd name="connsiteX6871" fmla="*/ 1069616 w 4610101"/>
              <a:gd name="connsiteY6871" fmla="*/ 1979733 h 6557032"/>
              <a:gd name="connsiteX6872" fmla="*/ 1095127 w 4610101"/>
              <a:gd name="connsiteY6872" fmla="*/ 1972444 h 6557032"/>
              <a:gd name="connsiteX6873" fmla="*/ 2817081 w 4610101"/>
              <a:gd name="connsiteY6873" fmla="*/ 1956045 h 6557032"/>
              <a:gd name="connsiteX6874" fmla="*/ 2880857 w 4610101"/>
              <a:gd name="connsiteY6874" fmla="*/ 1963334 h 6557032"/>
              <a:gd name="connsiteX6875" fmla="*/ 3072187 w 4610101"/>
              <a:gd name="connsiteY6875" fmla="*/ 1981557 h 6557032"/>
              <a:gd name="connsiteX6876" fmla="*/ 3289025 w 4610101"/>
              <a:gd name="connsiteY6876" fmla="*/ 2059908 h 6557032"/>
              <a:gd name="connsiteX6877" fmla="*/ 3290848 w 4610101"/>
              <a:gd name="connsiteY6877" fmla="*/ 2061729 h 6557032"/>
              <a:gd name="connsiteX6878" fmla="*/ 3068542 w 4610101"/>
              <a:gd name="connsiteY6878" fmla="*/ 2019821 h 6557032"/>
              <a:gd name="connsiteX6879" fmla="*/ 3074009 w 4610101"/>
              <a:gd name="connsiteY6879" fmla="*/ 2027109 h 6557032"/>
              <a:gd name="connsiteX6880" fmla="*/ 3132318 w 4610101"/>
              <a:gd name="connsiteY6880" fmla="*/ 2032577 h 6557032"/>
              <a:gd name="connsiteX6881" fmla="*/ 3199739 w 4610101"/>
              <a:gd name="connsiteY6881" fmla="*/ 2048975 h 6557032"/>
              <a:gd name="connsiteX6882" fmla="*/ 3289025 w 4610101"/>
              <a:gd name="connsiteY6882" fmla="*/ 2076308 h 6557032"/>
              <a:gd name="connsiteX6883" fmla="*/ 3221605 w 4610101"/>
              <a:gd name="connsiteY6883" fmla="*/ 2070841 h 6557032"/>
              <a:gd name="connsiteX6884" fmla="*/ 3099519 w 4610101"/>
              <a:gd name="connsiteY6884" fmla="*/ 2039865 h 6557032"/>
              <a:gd name="connsiteX6885" fmla="*/ 3094053 w 4610101"/>
              <a:gd name="connsiteY6885" fmla="*/ 2043510 h 6557032"/>
              <a:gd name="connsiteX6886" fmla="*/ 3199739 w 4610101"/>
              <a:gd name="connsiteY6886" fmla="*/ 2076308 h 6557032"/>
              <a:gd name="connsiteX6887" fmla="*/ 3310891 w 4610101"/>
              <a:gd name="connsiteY6887" fmla="*/ 2089064 h 6557032"/>
              <a:gd name="connsiteX6888" fmla="*/ 3228893 w 4610101"/>
              <a:gd name="connsiteY6888" fmla="*/ 2098175 h 6557032"/>
              <a:gd name="connsiteX6889" fmla="*/ 3137785 w 4610101"/>
              <a:gd name="connsiteY6889" fmla="*/ 2070841 h 6557032"/>
              <a:gd name="connsiteX6890" fmla="*/ 3130496 w 4610101"/>
              <a:gd name="connsiteY6890" fmla="*/ 2074486 h 6557032"/>
              <a:gd name="connsiteX6891" fmla="*/ 3299958 w 4610101"/>
              <a:gd name="connsiteY6891" fmla="*/ 2105463 h 6557032"/>
              <a:gd name="connsiteX6892" fmla="*/ 3259870 w 4610101"/>
              <a:gd name="connsiteY6892" fmla="*/ 2114572 h 6557032"/>
              <a:gd name="connsiteX6893" fmla="*/ 3247115 w 4610101"/>
              <a:gd name="connsiteY6893" fmla="*/ 2114572 h 6557032"/>
              <a:gd name="connsiteX6894" fmla="*/ 3145074 w 4610101"/>
              <a:gd name="connsiteY6894" fmla="*/ 2101817 h 6557032"/>
              <a:gd name="connsiteX6895" fmla="*/ 3143251 w 4610101"/>
              <a:gd name="connsiteY6895" fmla="*/ 2110929 h 6557032"/>
              <a:gd name="connsiteX6896" fmla="*/ 3221605 w 4610101"/>
              <a:gd name="connsiteY6896" fmla="*/ 2134618 h 6557032"/>
              <a:gd name="connsiteX6897" fmla="*/ 3179695 w 4610101"/>
              <a:gd name="connsiteY6897" fmla="*/ 2134618 h 6557032"/>
              <a:gd name="connsiteX6898" fmla="*/ 3083120 w 4610101"/>
              <a:gd name="connsiteY6898" fmla="*/ 2103640 h 6557032"/>
              <a:gd name="connsiteX6899" fmla="*/ 3086764 w 4610101"/>
              <a:gd name="connsiteY6899" fmla="*/ 2112752 h 6557032"/>
              <a:gd name="connsiteX6900" fmla="*/ 3156007 w 4610101"/>
              <a:gd name="connsiteY6900" fmla="*/ 2141906 h 6557032"/>
              <a:gd name="connsiteX6901" fmla="*/ 3019343 w 4610101"/>
              <a:gd name="connsiteY6901" fmla="*/ 2089064 h 6557032"/>
              <a:gd name="connsiteX6902" fmla="*/ 2982900 w 4610101"/>
              <a:gd name="connsiteY6902" fmla="*/ 2059908 h 6557032"/>
              <a:gd name="connsiteX6903" fmla="*/ 2981078 w 4610101"/>
              <a:gd name="connsiteY6903" fmla="*/ 2058087 h 6557032"/>
              <a:gd name="connsiteX6904" fmla="*/ 2935524 w 4610101"/>
              <a:gd name="connsiteY6904" fmla="*/ 2021644 h 6557032"/>
              <a:gd name="connsiteX6905" fmla="*/ 2817081 w 4610101"/>
              <a:gd name="connsiteY6905" fmla="*/ 1956045 h 6557032"/>
              <a:gd name="connsiteX6906" fmla="*/ 3385599 w 4610101"/>
              <a:gd name="connsiteY6906" fmla="*/ 1941539 h 6557032"/>
              <a:gd name="connsiteX6907" fmla="*/ 3400177 w 4610101"/>
              <a:gd name="connsiteY6907" fmla="*/ 1963392 h 6557032"/>
              <a:gd name="connsiteX6908" fmla="*/ 3385599 w 4610101"/>
              <a:gd name="connsiteY6908" fmla="*/ 1941539 h 6557032"/>
              <a:gd name="connsiteX6909" fmla="*/ 1053217 w 4610101"/>
              <a:gd name="connsiteY6909" fmla="*/ 1941468 h 6557032"/>
              <a:gd name="connsiteX6910" fmla="*/ 1040462 w 4610101"/>
              <a:gd name="connsiteY6910" fmla="*/ 1957866 h 6557032"/>
              <a:gd name="connsiteX6911" fmla="*/ 1055040 w 4610101"/>
              <a:gd name="connsiteY6911" fmla="*/ 1957866 h 6557032"/>
              <a:gd name="connsiteX6912" fmla="*/ 1055040 w 4610101"/>
              <a:gd name="connsiteY6912" fmla="*/ 1972444 h 6557032"/>
              <a:gd name="connsiteX6913" fmla="*/ 1038639 w 4610101"/>
              <a:gd name="connsiteY6913" fmla="*/ 1981554 h 6557032"/>
              <a:gd name="connsiteX6914" fmla="*/ 1055040 w 4610101"/>
              <a:gd name="connsiteY6914" fmla="*/ 1994309 h 6557032"/>
              <a:gd name="connsiteX6915" fmla="*/ 1055040 w 4610101"/>
              <a:gd name="connsiteY6915" fmla="*/ 1972444 h 6557032"/>
              <a:gd name="connsiteX6916" fmla="*/ 1053217 w 4610101"/>
              <a:gd name="connsiteY6916" fmla="*/ 1941468 h 6557032"/>
              <a:gd name="connsiteX6917" fmla="*/ 3693548 w 4610101"/>
              <a:gd name="connsiteY6917" fmla="*/ 1932443 h 6557032"/>
              <a:gd name="connsiteX6918" fmla="*/ 3702659 w 4610101"/>
              <a:gd name="connsiteY6918" fmla="*/ 1948841 h 6557032"/>
              <a:gd name="connsiteX6919" fmla="*/ 3678970 w 4610101"/>
              <a:gd name="connsiteY6919" fmla="*/ 1948841 h 6557032"/>
              <a:gd name="connsiteX6920" fmla="*/ 969397 w 4610101"/>
              <a:gd name="connsiteY6920" fmla="*/ 1927075 h 6557032"/>
              <a:gd name="connsiteX6921" fmla="*/ 969397 w 4610101"/>
              <a:gd name="connsiteY6921" fmla="*/ 1934298 h 6557032"/>
              <a:gd name="connsiteX6922" fmla="*/ 932953 w 4610101"/>
              <a:gd name="connsiteY6922" fmla="*/ 1948871 h 6557032"/>
              <a:gd name="connsiteX6923" fmla="*/ 916553 w 4610101"/>
              <a:gd name="connsiteY6923" fmla="*/ 1928838 h 6557032"/>
              <a:gd name="connsiteX6924" fmla="*/ 969397 w 4610101"/>
              <a:gd name="connsiteY6924" fmla="*/ 1927014 h 6557032"/>
              <a:gd name="connsiteX6925" fmla="*/ 971219 w 4610101"/>
              <a:gd name="connsiteY6925" fmla="*/ 1927014 h 6557032"/>
              <a:gd name="connsiteX6926" fmla="*/ 969397 w 4610101"/>
              <a:gd name="connsiteY6926" fmla="*/ 1927075 h 6557032"/>
              <a:gd name="connsiteX6927" fmla="*/ 1007663 w 4610101"/>
              <a:gd name="connsiteY6927" fmla="*/ 1903276 h 6557032"/>
              <a:gd name="connsiteX6928" fmla="*/ 1018596 w 4610101"/>
              <a:gd name="connsiteY6928" fmla="*/ 1919682 h 6557032"/>
              <a:gd name="connsiteX6929" fmla="*/ 993085 w 4610101"/>
              <a:gd name="connsiteY6929" fmla="*/ 1917864 h 6557032"/>
              <a:gd name="connsiteX6930" fmla="*/ 3309068 w 4610101"/>
              <a:gd name="connsiteY6930" fmla="*/ 1903200 h 6557032"/>
              <a:gd name="connsiteX6931" fmla="*/ 3307246 w 4610101"/>
              <a:gd name="connsiteY6931" fmla="*/ 1910489 h 6557032"/>
              <a:gd name="connsiteX6932" fmla="*/ 3309068 w 4610101"/>
              <a:gd name="connsiteY6932" fmla="*/ 1903200 h 6557032"/>
              <a:gd name="connsiteX6933" fmla="*/ 3305424 w 4610101"/>
              <a:gd name="connsiteY6933" fmla="*/ 1887293 h 6557032"/>
              <a:gd name="connsiteX6934" fmla="*/ 3305424 w 4610101"/>
              <a:gd name="connsiteY6934" fmla="*/ 1888727 h 6557032"/>
              <a:gd name="connsiteX6935" fmla="*/ 3303602 w 4610101"/>
              <a:gd name="connsiteY6935" fmla="*/ 1888727 h 6557032"/>
              <a:gd name="connsiteX6936" fmla="*/ 3064896 w 4610101"/>
              <a:gd name="connsiteY6936" fmla="*/ 1877690 h 6557032"/>
              <a:gd name="connsiteX6937" fmla="*/ 3258048 w 4610101"/>
              <a:gd name="connsiteY6937" fmla="*/ 1957866 h 6557032"/>
              <a:gd name="connsiteX6938" fmla="*/ 3281736 w 4610101"/>
              <a:gd name="connsiteY6938" fmla="*/ 2010709 h 6557032"/>
              <a:gd name="connsiteX6939" fmla="*/ 3285380 w 4610101"/>
              <a:gd name="connsiteY6939" fmla="*/ 2023465 h 6557032"/>
              <a:gd name="connsiteX6940" fmla="*/ 3274447 w 4610101"/>
              <a:gd name="connsiteY6940" fmla="*/ 2003420 h 6557032"/>
              <a:gd name="connsiteX6941" fmla="*/ 3250759 w 4610101"/>
              <a:gd name="connsiteY6941" fmla="*/ 1963332 h 6557032"/>
              <a:gd name="connsiteX6942" fmla="*/ 3250759 w 4610101"/>
              <a:gd name="connsiteY6942" fmla="*/ 1970621 h 6557032"/>
              <a:gd name="connsiteX6943" fmla="*/ 3276270 w 4610101"/>
              <a:gd name="connsiteY6943" fmla="*/ 2016176 h 6557032"/>
              <a:gd name="connsiteX6944" fmla="*/ 3279914 w 4610101"/>
              <a:gd name="connsiteY6944" fmla="*/ 2023465 h 6557032"/>
              <a:gd name="connsiteX6945" fmla="*/ 3272625 w 4610101"/>
              <a:gd name="connsiteY6945" fmla="*/ 2016176 h 6557032"/>
              <a:gd name="connsiteX6946" fmla="*/ 3228893 w 4610101"/>
              <a:gd name="connsiteY6946" fmla="*/ 1965155 h 6557032"/>
              <a:gd name="connsiteX6947" fmla="*/ 3221604 w 4610101"/>
              <a:gd name="connsiteY6947" fmla="*/ 1968799 h 6557032"/>
              <a:gd name="connsiteX6948" fmla="*/ 3259870 w 4610101"/>
              <a:gd name="connsiteY6948" fmla="*/ 2019821 h 6557032"/>
              <a:gd name="connsiteX6949" fmla="*/ 3245293 w 4610101"/>
              <a:gd name="connsiteY6949" fmla="*/ 2003420 h 6557032"/>
              <a:gd name="connsiteX6950" fmla="*/ 3190627 w 4610101"/>
              <a:gd name="connsiteY6950" fmla="*/ 1956044 h 6557032"/>
              <a:gd name="connsiteX6951" fmla="*/ 3185161 w 4610101"/>
              <a:gd name="connsiteY6951" fmla="*/ 1963332 h 6557032"/>
              <a:gd name="connsiteX6952" fmla="*/ 3216138 w 4610101"/>
              <a:gd name="connsiteY6952" fmla="*/ 1994309 h 6557032"/>
              <a:gd name="connsiteX6953" fmla="*/ 3208849 w 4610101"/>
              <a:gd name="connsiteY6953" fmla="*/ 1988843 h 6557032"/>
              <a:gd name="connsiteX6954" fmla="*/ 3146895 w 4610101"/>
              <a:gd name="connsiteY6954" fmla="*/ 1948755 h 6557032"/>
              <a:gd name="connsiteX6955" fmla="*/ 3141429 w 4610101"/>
              <a:gd name="connsiteY6955" fmla="*/ 1954222 h 6557032"/>
              <a:gd name="connsiteX6956" fmla="*/ 3199738 w 4610101"/>
              <a:gd name="connsiteY6956" fmla="*/ 1997954 h 6557032"/>
              <a:gd name="connsiteX6957" fmla="*/ 3212494 w 4610101"/>
              <a:gd name="connsiteY6957" fmla="*/ 2012532 h 6557032"/>
              <a:gd name="connsiteX6958" fmla="*/ 3159650 w 4610101"/>
              <a:gd name="connsiteY6958" fmla="*/ 1992487 h 6557032"/>
              <a:gd name="connsiteX6959" fmla="*/ 3064896 w 4610101"/>
              <a:gd name="connsiteY6959" fmla="*/ 1877690 h 6557032"/>
              <a:gd name="connsiteX6960" fmla="*/ 645051 w 4610101"/>
              <a:gd name="connsiteY6960" fmla="*/ 1870439 h 6557032"/>
              <a:gd name="connsiteX6961" fmla="*/ 637761 w 4610101"/>
              <a:gd name="connsiteY6961" fmla="*/ 1903240 h 6557032"/>
              <a:gd name="connsiteX6962" fmla="*/ 635939 w 4610101"/>
              <a:gd name="connsiteY6962" fmla="*/ 1894126 h 6557032"/>
              <a:gd name="connsiteX6963" fmla="*/ 615895 w 4610101"/>
              <a:gd name="connsiteY6963" fmla="*/ 1903240 h 6557032"/>
              <a:gd name="connsiteX6964" fmla="*/ 645051 w 4610101"/>
              <a:gd name="connsiteY6964" fmla="*/ 1870439 h 6557032"/>
              <a:gd name="connsiteX6965" fmla="*/ 3651638 w 4610101"/>
              <a:gd name="connsiteY6965" fmla="*/ 1866874 h 6557032"/>
              <a:gd name="connsiteX6966" fmla="*/ 3682615 w 4610101"/>
              <a:gd name="connsiteY6966" fmla="*/ 1896020 h 6557032"/>
              <a:gd name="connsiteX6967" fmla="*/ 3671682 w 4610101"/>
              <a:gd name="connsiteY6967" fmla="*/ 1919725 h 6557032"/>
              <a:gd name="connsiteX6968" fmla="*/ 3642527 w 4610101"/>
              <a:gd name="connsiteY6968" fmla="*/ 1919725 h 6557032"/>
              <a:gd name="connsiteX6969" fmla="*/ 3635238 w 4610101"/>
              <a:gd name="connsiteY6969" fmla="*/ 1888739 h 6557032"/>
              <a:gd name="connsiteX6970" fmla="*/ 3651638 w 4610101"/>
              <a:gd name="connsiteY6970" fmla="*/ 1866874 h 6557032"/>
              <a:gd name="connsiteX6971" fmla="*/ 1033173 w 4610101"/>
              <a:gd name="connsiteY6971" fmla="*/ 1866825 h 6557032"/>
              <a:gd name="connsiteX6972" fmla="*/ 1024062 w 4610101"/>
              <a:gd name="connsiteY6972" fmla="*/ 1881403 h 6557032"/>
              <a:gd name="connsiteX6973" fmla="*/ 1007663 w 4610101"/>
              <a:gd name="connsiteY6973" fmla="*/ 1868648 h 6557032"/>
              <a:gd name="connsiteX6974" fmla="*/ 1093305 w 4610101"/>
              <a:gd name="connsiteY6974" fmla="*/ 1866758 h 6557032"/>
              <a:gd name="connsiteX6975" fmla="*/ 1084194 w 4610101"/>
              <a:gd name="connsiteY6975" fmla="*/ 1881336 h 6557032"/>
              <a:gd name="connsiteX6976" fmla="*/ 1100593 w 4610101"/>
              <a:gd name="connsiteY6976" fmla="*/ 1881336 h 6557032"/>
              <a:gd name="connsiteX6977" fmla="*/ 1100593 w 4610101"/>
              <a:gd name="connsiteY6977" fmla="*/ 1897735 h 6557032"/>
              <a:gd name="connsiteX6978" fmla="*/ 1116993 w 4610101"/>
              <a:gd name="connsiteY6978" fmla="*/ 1886802 h 6557032"/>
              <a:gd name="connsiteX6979" fmla="*/ 3228892 w 4610101"/>
              <a:gd name="connsiteY6979" fmla="*/ 1864934 h 6557032"/>
              <a:gd name="connsiteX6980" fmla="*/ 3278091 w 4610101"/>
              <a:gd name="connsiteY6980" fmla="*/ 1883156 h 6557032"/>
              <a:gd name="connsiteX6981" fmla="*/ 3276269 w 4610101"/>
              <a:gd name="connsiteY6981" fmla="*/ 1888623 h 6557032"/>
              <a:gd name="connsiteX6982" fmla="*/ 3283558 w 4610101"/>
              <a:gd name="connsiteY6982" fmla="*/ 1890445 h 6557032"/>
              <a:gd name="connsiteX6983" fmla="*/ 3283558 w 4610101"/>
              <a:gd name="connsiteY6983" fmla="*/ 1884978 h 6557032"/>
              <a:gd name="connsiteX6984" fmla="*/ 3287202 w 4610101"/>
              <a:gd name="connsiteY6984" fmla="*/ 1886800 h 6557032"/>
              <a:gd name="connsiteX6985" fmla="*/ 3274447 w 4610101"/>
              <a:gd name="connsiteY6985" fmla="*/ 1892267 h 6557032"/>
              <a:gd name="connsiteX6986" fmla="*/ 3272625 w 4610101"/>
              <a:gd name="connsiteY6986" fmla="*/ 1890445 h 6557032"/>
              <a:gd name="connsiteX6987" fmla="*/ 3268980 w 4610101"/>
              <a:gd name="connsiteY6987" fmla="*/ 1895911 h 6557032"/>
              <a:gd name="connsiteX6988" fmla="*/ 3290846 w 4610101"/>
              <a:gd name="connsiteY6988" fmla="*/ 1895911 h 6557032"/>
              <a:gd name="connsiteX6989" fmla="*/ 3305424 w 4610101"/>
              <a:gd name="connsiteY6989" fmla="*/ 1895911 h 6557032"/>
              <a:gd name="connsiteX6990" fmla="*/ 3321823 w 4610101"/>
              <a:gd name="connsiteY6990" fmla="*/ 1917777 h 6557032"/>
              <a:gd name="connsiteX6991" fmla="*/ 3320001 w 4610101"/>
              <a:gd name="connsiteY6991" fmla="*/ 1917777 h 6557032"/>
              <a:gd name="connsiteX6992" fmla="*/ 3292668 w 4610101"/>
              <a:gd name="connsiteY6992" fmla="*/ 1939643 h 6557032"/>
              <a:gd name="connsiteX6993" fmla="*/ 3309068 w 4610101"/>
              <a:gd name="connsiteY6993" fmla="*/ 1939643 h 6557032"/>
              <a:gd name="connsiteX6994" fmla="*/ 3301779 w 4610101"/>
              <a:gd name="connsiteY6994" fmla="*/ 1954221 h 6557032"/>
              <a:gd name="connsiteX6995" fmla="*/ 3323645 w 4610101"/>
              <a:gd name="connsiteY6995" fmla="*/ 1954221 h 6557032"/>
              <a:gd name="connsiteX6996" fmla="*/ 3330934 w 4610101"/>
              <a:gd name="connsiteY6996" fmla="*/ 1932355 h 6557032"/>
              <a:gd name="connsiteX6997" fmla="*/ 3330934 w 4610101"/>
              <a:gd name="connsiteY6997" fmla="*/ 1946932 h 6557032"/>
              <a:gd name="connsiteX6998" fmla="*/ 3345512 w 4610101"/>
              <a:gd name="connsiteY6998" fmla="*/ 1946932 h 6557032"/>
              <a:gd name="connsiteX6999" fmla="*/ 3330934 w 4610101"/>
              <a:gd name="connsiteY6999" fmla="*/ 1985198 h 6557032"/>
              <a:gd name="connsiteX7000" fmla="*/ 3345512 w 4610101"/>
              <a:gd name="connsiteY7000" fmla="*/ 1985198 h 6557032"/>
              <a:gd name="connsiteX7001" fmla="*/ 3350978 w 4610101"/>
              <a:gd name="connsiteY7001" fmla="*/ 1990664 h 6557032"/>
              <a:gd name="connsiteX7002" fmla="*/ 3345512 w 4610101"/>
              <a:gd name="connsiteY7002" fmla="*/ 1999775 h 6557032"/>
              <a:gd name="connsiteX7003" fmla="*/ 3360089 w 4610101"/>
              <a:gd name="connsiteY7003" fmla="*/ 2007064 h 6557032"/>
              <a:gd name="connsiteX7004" fmla="*/ 3367378 w 4610101"/>
              <a:gd name="connsiteY7004" fmla="*/ 2021641 h 6557032"/>
              <a:gd name="connsiteX7005" fmla="*/ 3345512 w 4610101"/>
              <a:gd name="connsiteY7005" fmla="*/ 2021641 h 6557032"/>
              <a:gd name="connsiteX7006" fmla="*/ 3350978 w 4610101"/>
              <a:gd name="connsiteY7006" fmla="*/ 2052619 h 6557032"/>
              <a:gd name="connsiteX7007" fmla="*/ 3358267 w 4610101"/>
              <a:gd name="connsiteY7007" fmla="*/ 2052619 h 6557032"/>
              <a:gd name="connsiteX7008" fmla="*/ 3358267 w 4610101"/>
              <a:gd name="connsiteY7008" fmla="*/ 2048975 h 6557032"/>
              <a:gd name="connsiteX7009" fmla="*/ 3369200 w 4610101"/>
              <a:gd name="connsiteY7009" fmla="*/ 2063551 h 6557032"/>
              <a:gd name="connsiteX7010" fmla="*/ 3360089 w 4610101"/>
              <a:gd name="connsiteY7010" fmla="*/ 2074484 h 6557032"/>
              <a:gd name="connsiteX7011" fmla="*/ 3364243 w 4610101"/>
              <a:gd name="connsiteY7011" fmla="*/ 2080023 h 6557032"/>
              <a:gd name="connsiteX7012" fmla="*/ 3345511 w 4610101"/>
              <a:gd name="connsiteY7012" fmla="*/ 2063779 h 6557032"/>
              <a:gd name="connsiteX7013" fmla="*/ 3321823 w 4610101"/>
              <a:gd name="connsiteY7013" fmla="*/ 2034397 h 6557032"/>
              <a:gd name="connsiteX7014" fmla="*/ 3336401 w 4610101"/>
              <a:gd name="connsiteY7014" fmla="*/ 2030752 h 6557032"/>
              <a:gd name="connsiteX7015" fmla="*/ 3336401 w 4610101"/>
              <a:gd name="connsiteY7015" fmla="*/ 2023463 h 6557032"/>
              <a:gd name="connsiteX7016" fmla="*/ 3312712 w 4610101"/>
              <a:gd name="connsiteY7016" fmla="*/ 2023463 h 6557032"/>
              <a:gd name="connsiteX7017" fmla="*/ 3321823 w 4610101"/>
              <a:gd name="connsiteY7017" fmla="*/ 2008886 h 6557032"/>
              <a:gd name="connsiteX7018" fmla="*/ 3299957 w 4610101"/>
              <a:gd name="connsiteY7018" fmla="*/ 2008886 h 6557032"/>
              <a:gd name="connsiteX7019" fmla="*/ 3307246 w 4610101"/>
              <a:gd name="connsiteY7019" fmla="*/ 2039863 h 6557032"/>
              <a:gd name="connsiteX7020" fmla="*/ 3321823 w 4610101"/>
              <a:gd name="connsiteY7020" fmla="*/ 2036219 h 6557032"/>
              <a:gd name="connsiteX7021" fmla="*/ 3321823 w 4610101"/>
              <a:gd name="connsiteY7021" fmla="*/ 2043507 h 6557032"/>
              <a:gd name="connsiteX7022" fmla="*/ 3325468 w 4610101"/>
              <a:gd name="connsiteY7022" fmla="*/ 2048975 h 6557032"/>
              <a:gd name="connsiteX7023" fmla="*/ 3321823 w 4610101"/>
              <a:gd name="connsiteY7023" fmla="*/ 2052619 h 6557032"/>
              <a:gd name="connsiteX7024" fmla="*/ 3314534 w 4610101"/>
              <a:gd name="connsiteY7024" fmla="*/ 2041685 h 6557032"/>
              <a:gd name="connsiteX7025" fmla="*/ 3307246 w 4610101"/>
              <a:gd name="connsiteY7025" fmla="*/ 2043507 h 6557032"/>
              <a:gd name="connsiteX7026" fmla="*/ 3314534 w 4610101"/>
              <a:gd name="connsiteY7026" fmla="*/ 2059907 h 6557032"/>
              <a:gd name="connsiteX7027" fmla="*/ 3316357 w 4610101"/>
              <a:gd name="connsiteY7027" fmla="*/ 2059907 h 6557032"/>
              <a:gd name="connsiteX7028" fmla="*/ 3327290 w 4610101"/>
              <a:gd name="connsiteY7028" fmla="*/ 2078129 h 6557032"/>
              <a:gd name="connsiteX7029" fmla="*/ 3325468 w 4610101"/>
              <a:gd name="connsiteY7029" fmla="*/ 2079951 h 6557032"/>
              <a:gd name="connsiteX7030" fmla="*/ 3314534 w 4610101"/>
              <a:gd name="connsiteY7030" fmla="*/ 2065373 h 6557032"/>
              <a:gd name="connsiteX7031" fmla="*/ 3287202 w 4610101"/>
              <a:gd name="connsiteY7031" fmla="*/ 1994309 h 6557032"/>
              <a:gd name="connsiteX7032" fmla="*/ 3268980 w 4610101"/>
              <a:gd name="connsiteY7032" fmla="*/ 1954221 h 6557032"/>
              <a:gd name="connsiteX7033" fmla="*/ 3267158 w 4610101"/>
              <a:gd name="connsiteY7033" fmla="*/ 1950577 h 6557032"/>
              <a:gd name="connsiteX7034" fmla="*/ 3243470 w 4610101"/>
              <a:gd name="connsiteY7034" fmla="*/ 1905022 h 6557032"/>
              <a:gd name="connsiteX7035" fmla="*/ 3228892 w 4610101"/>
              <a:gd name="connsiteY7035" fmla="*/ 1864934 h 6557032"/>
              <a:gd name="connsiteX7036" fmla="*/ 3327291 w 4610101"/>
              <a:gd name="connsiteY7036" fmla="*/ 1859576 h 6557032"/>
              <a:gd name="connsiteX7037" fmla="*/ 3343690 w 4610101"/>
              <a:gd name="connsiteY7037" fmla="*/ 1872331 h 6557032"/>
              <a:gd name="connsiteX7038" fmla="*/ 3314991 w 4610101"/>
              <a:gd name="connsiteY7038" fmla="*/ 1879761 h 6557032"/>
              <a:gd name="connsiteX7039" fmla="*/ 3305424 w 4610101"/>
              <a:gd name="connsiteY7039" fmla="*/ 1887293 h 6557032"/>
              <a:gd name="connsiteX7040" fmla="*/ 3305424 w 4610101"/>
              <a:gd name="connsiteY7040" fmla="*/ 1866865 h 6557032"/>
              <a:gd name="connsiteX7041" fmla="*/ 3748211 w 4610101"/>
              <a:gd name="connsiteY7041" fmla="*/ 1857741 h 6557032"/>
              <a:gd name="connsiteX7042" fmla="*/ 3762789 w 4610101"/>
              <a:gd name="connsiteY7042" fmla="*/ 1888714 h 6557032"/>
              <a:gd name="connsiteX7043" fmla="*/ 3748211 w 4610101"/>
              <a:gd name="connsiteY7043" fmla="*/ 1857741 h 6557032"/>
              <a:gd name="connsiteX7044" fmla="*/ 4404194 w 4610101"/>
              <a:gd name="connsiteY7044" fmla="*/ 1852254 h 6557032"/>
              <a:gd name="connsiteX7045" fmla="*/ 4420594 w 4610101"/>
              <a:gd name="connsiteY7045" fmla="*/ 1865009 h 6557032"/>
              <a:gd name="connsiteX7046" fmla="*/ 4404194 w 4610101"/>
              <a:gd name="connsiteY7046" fmla="*/ 1874122 h 6557032"/>
              <a:gd name="connsiteX7047" fmla="*/ 3283558 w 4610101"/>
              <a:gd name="connsiteY7047" fmla="*/ 1837604 h 6557032"/>
              <a:gd name="connsiteX7048" fmla="*/ 3284718 w 4610101"/>
              <a:gd name="connsiteY7048" fmla="*/ 1838432 h 6557032"/>
              <a:gd name="connsiteX7049" fmla="*/ 3283987 w 4610101"/>
              <a:gd name="connsiteY7049" fmla="*/ 1838675 h 6557032"/>
              <a:gd name="connsiteX7050" fmla="*/ 1098771 w 4610101"/>
              <a:gd name="connsiteY7050" fmla="*/ 1835781 h 6557032"/>
              <a:gd name="connsiteX7051" fmla="*/ 1084194 w 4610101"/>
              <a:gd name="connsiteY7051" fmla="*/ 1852181 h 6557032"/>
              <a:gd name="connsiteX7052" fmla="*/ 1098771 w 4610101"/>
              <a:gd name="connsiteY7052" fmla="*/ 1859470 h 6557032"/>
              <a:gd name="connsiteX7053" fmla="*/ 1107882 w 4610101"/>
              <a:gd name="connsiteY7053" fmla="*/ 1852181 h 6557032"/>
              <a:gd name="connsiteX7054" fmla="*/ 1129748 w 4610101"/>
              <a:gd name="connsiteY7054" fmla="*/ 1830315 h 6557032"/>
              <a:gd name="connsiteX7055" fmla="*/ 1113349 w 4610101"/>
              <a:gd name="connsiteY7055" fmla="*/ 1832137 h 6557032"/>
              <a:gd name="connsiteX7056" fmla="*/ 1129748 w 4610101"/>
              <a:gd name="connsiteY7056" fmla="*/ 1844892 h 6557032"/>
              <a:gd name="connsiteX7057" fmla="*/ 1138859 w 4610101"/>
              <a:gd name="connsiteY7057" fmla="*/ 1861292 h 6557032"/>
              <a:gd name="connsiteX7058" fmla="*/ 1151614 w 4610101"/>
              <a:gd name="connsiteY7058" fmla="*/ 1844892 h 6557032"/>
              <a:gd name="connsiteX7059" fmla="*/ 1129748 w 4610101"/>
              <a:gd name="connsiteY7059" fmla="*/ 1844892 h 6557032"/>
              <a:gd name="connsiteX7060" fmla="*/ 3294491 w 4610101"/>
              <a:gd name="connsiteY7060" fmla="*/ 1823143 h 6557032"/>
              <a:gd name="connsiteX7061" fmla="*/ 3332757 w 4610101"/>
              <a:gd name="connsiteY7061" fmla="*/ 1830430 h 6557032"/>
              <a:gd name="connsiteX7062" fmla="*/ 3325468 w 4610101"/>
              <a:gd name="connsiteY7062" fmla="*/ 1845007 h 6557032"/>
              <a:gd name="connsiteX7063" fmla="*/ 3325468 w 4610101"/>
              <a:gd name="connsiteY7063" fmla="*/ 1859583 h 6557032"/>
              <a:gd name="connsiteX7064" fmla="*/ 3294491 w 4610101"/>
              <a:gd name="connsiteY7064" fmla="*/ 1823143 h 6557032"/>
              <a:gd name="connsiteX7065" fmla="*/ 1025884 w 4610101"/>
              <a:gd name="connsiteY7065" fmla="*/ 1804912 h 6557032"/>
              <a:gd name="connsiteX7066" fmla="*/ 1049573 w 4610101"/>
              <a:gd name="connsiteY7066" fmla="*/ 1826775 h 6557032"/>
              <a:gd name="connsiteX7067" fmla="*/ 1018596 w 4610101"/>
              <a:gd name="connsiteY7067" fmla="*/ 1835885 h 6557032"/>
              <a:gd name="connsiteX7068" fmla="*/ 1025884 w 4610101"/>
              <a:gd name="connsiteY7068" fmla="*/ 1804912 h 6557032"/>
              <a:gd name="connsiteX7069" fmla="*/ 3239826 w 4610101"/>
              <a:gd name="connsiteY7069" fmla="*/ 1804805 h 6557032"/>
              <a:gd name="connsiteX7070" fmla="*/ 3225248 w 4610101"/>
              <a:gd name="connsiteY7070" fmla="*/ 1819382 h 6557032"/>
              <a:gd name="connsiteX7071" fmla="*/ 3250759 w 4610101"/>
              <a:gd name="connsiteY7071" fmla="*/ 1821204 h 6557032"/>
              <a:gd name="connsiteX7072" fmla="*/ 3281737 w 4610101"/>
              <a:gd name="connsiteY7072" fmla="*/ 1791915 h 6557032"/>
              <a:gd name="connsiteX7073" fmla="*/ 3281737 w 4610101"/>
              <a:gd name="connsiteY7073" fmla="*/ 1792168 h 6557032"/>
              <a:gd name="connsiteX7074" fmla="*/ 3279914 w 4610101"/>
              <a:gd name="connsiteY7074" fmla="*/ 1792168 h 6557032"/>
              <a:gd name="connsiteX7075" fmla="*/ 3168761 w 4610101"/>
              <a:gd name="connsiteY7075" fmla="*/ 1786583 h 6557032"/>
              <a:gd name="connsiteX7076" fmla="*/ 3181516 w 4610101"/>
              <a:gd name="connsiteY7076" fmla="*/ 1799338 h 6557032"/>
              <a:gd name="connsiteX7077" fmla="*/ 3183338 w 4610101"/>
              <a:gd name="connsiteY7077" fmla="*/ 1795694 h 6557032"/>
              <a:gd name="connsiteX7078" fmla="*/ 3168761 w 4610101"/>
              <a:gd name="connsiteY7078" fmla="*/ 1786583 h 6557032"/>
              <a:gd name="connsiteX7079" fmla="*/ 3210671 w 4610101"/>
              <a:gd name="connsiteY7079" fmla="*/ 1784761 h 6557032"/>
              <a:gd name="connsiteX7080" fmla="*/ 3219782 w 4610101"/>
              <a:gd name="connsiteY7080" fmla="*/ 1799338 h 6557032"/>
              <a:gd name="connsiteX7081" fmla="*/ 3230715 w 4610101"/>
              <a:gd name="connsiteY7081" fmla="*/ 1788405 h 6557032"/>
              <a:gd name="connsiteX7082" fmla="*/ 3230715 w 4610101"/>
              <a:gd name="connsiteY7082" fmla="*/ 1784761 h 6557032"/>
              <a:gd name="connsiteX7083" fmla="*/ 603140 w 4610101"/>
              <a:gd name="connsiteY7083" fmla="*/ 1784761 h 6557032"/>
              <a:gd name="connsiteX7084" fmla="*/ 575808 w 4610101"/>
              <a:gd name="connsiteY7084" fmla="*/ 1839426 h 6557032"/>
              <a:gd name="connsiteX7085" fmla="*/ 603140 w 4610101"/>
              <a:gd name="connsiteY7085" fmla="*/ 1784761 h 6557032"/>
              <a:gd name="connsiteX7086" fmla="*/ 554983 w 4610101"/>
              <a:gd name="connsiteY7086" fmla="*/ 1784592 h 6557032"/>
              <a:gd name="connsiteX7087" fmla="*/ 539592 w 4610101"/>
              <a:gd name="connsiteY7087" fmla="*/ 1796832 h 6557032"/>
              <a:gd name="connsiteX7088" fmla="*/ 517498 w 4610101"/>
              <a:gd name="connsiteY7088" fmla="*/ 1826671 h 6557032"/>
              <a:gd name="connsiteX7089" fmla="*/ 517498 w 4610101"/>
              <a:gd name="connsiteY7089" fmla="*/ 1823026 h 6557032"/>
              <a:gd name="connsiteX7090" fmla="*/ 513853 w 4610101"/>
              <a:gd name="connsiteY7090" fmla="*/ 1824848 h 6557032"/>
              <a:gd name="connsiteX7091" fmla="*/ 532075 w 4610101"/>
              <a:gd name="connsiteY7091" fmla="*/ 1801160 h 6557032"/>
              <a:gd name="connsiteX7092" fmla="*/ 493809 w 4610101"/>
              <a:gd name="connsiteY7092" fmla="*/ 1819382 h 6557032"/>
              <a:gd name="connsiteX7093" fmla="*/ 543008 w 4610101"/>
              <a:gd name="connsiteY7093" fmla="*/ 1790227 h 6557032"/>
              <a:gd name="connsiteX7094" fmla="*/ 535719 w 4610101"/>
              <a:gd name="connsiteY7094" fmla="*/ 1788405 h 6557032"/>
              <a:gd name="connsiteX7095" fmla="*/ 559180 w 4610101"/>
              <a:gd name="connsiteY7095" fmla="*/ 1781255 h 6557032"/>
              <a:gd name="connsiteX7096" fmla="*/ 557586 w 4610101"/>
              <a:gd name="connsiteY7096" fmla="*/ 1784077 h 6557032"/>
              <a:gd name="connsiteX7097" fmla="*/ 554983 w 4610101"/>
              <a:gd name="connsiteY7097" fmla="*/ 1784592 h 6557032"/>
              <a:gd name="connsiteX7098" fmla="*/ 594030 w 4610101"/>
              <a:gd name="connsiteY7098" fmla="*/ 1772005 h 6557032"/>
              <a:gd name="connsiteX7099" fmla="*/ 590385 w 4610101"/>
              <a:gd name="connsiteY7099" fmla="*/ 1775042 h 6557032"/>
              <a:gd name="connsiteX7100" fmla="*/ 590385 w 4610101"/>
              <a:gd name="connsiteY7100" fmla="*/ 1773827 h 6557032"/>
              <a:gd name="connsiteX7101" fmla="*/ 583096 w 4610101"/>
              <a:gd name="connsiteY7101" fmla="*/ 1781116 h 6557032"/>
              <a:gd name="connsiteX7102" fmla="*/ 590385 w 4610101"/>
              <a:gd name="connsiteY7102" fmla="*/ 1775042 h 6557032"/>
              <a:gd name="connsiteX7103" fmla="*/ 590385 w 4610101"/>
              <a:gd name="connsiteY7103" fmla="*/ 1777472 h 6557032"/>
              <a:gd name="connsiteX7104" fmla="*/ 594030 w 4610101"/>
              <a:gd name="connsiteY7104" fmla="*/ 1772005 h 6557032"/>
              <a:gd name="connsiteX7105" fmla="*/ 1151614 w 4610101"/>
              <a:gd name="connsiteY7105" fmla="*/ 1770183 h 6557032"/>
              <a:gd name="connsiteX7106" fmla="*/ 1151614 w 4610101"/>
              <a:gd name="connsiteY7106" fmla="*/ 1784761 h 6557032"/>
              <a:gd name="connsiteX7107" fmla="*/ 1129748 w 4610101"/>
              <a:gd name="connsiteY7107" fmla="*/ 1784761 h 6557032"/>
              <a:gd name="connsiteX7108" fmla="*/ 1129748 w 4610101"/>
              <a:gd name="connsiteY7108" fmla="*/ 1792049 h 6557032"/>
              <a:gd name="connsiteX7109" fmla="*/ 1153436 w 4610101"/>
              <a:gd name="connsiteY7109" fmla="*/ 1792049 h 6557032"/>
              <a:gd name="connsiteX7110" fmla="*/ 1173481 w 4610101"/>
              <a:gd name="connsiteY7110" fmla="*/ 1784761 h 6557032"/>
              <a:gd name="connsiteX7111" fmla="*/ 1151614 w 4610101"/>
              <a:gd name="connsiteY7111" fmla="*/ 1770183 h 6557032"/>
              <a:gd name="connsiteX7112" fmla="*/ 3170583 w 4610101"/>
              <a:gd name="connsiteY7112" fmla="*/ 1768361 h 6557032"/>
              <a:gd name="connsiteX7113" fmla="*/ 3177872 w 4610101"/>
              <a:gd name="connsiteY7113" fmla="*/ 1775650 h 6557032"/>
              <a:gd name="connsiteX7114" fmla="*/ 3183338 w 4610101"/>
              <a:gd name="connsiteY7114" fmla="*/ 1768361 h 6557032"/>
              <a:gd name="connsiteX7115" fmla="*/ 3305425 w 4610101"/>
              <a:gd name="connsiteY7115" fmla="*/ 1763015 h 6557032"/>
              <a:gd name="connsiteX7116" fmla="*/ 3325469 w 4610101"/>
              <a:gd name="connsiteY7116" fmla="*/ 1770302 h 6557032"/>
              <a:gd name="connsiteX7117" fmla="*/ 3297025 w 4610101"/>
              <a:gd name="connsiteY7117" fmla="*/ 1789775 h 6557032"/>
              <a:gd name="connsiteX7118" fmla="*/ 3281737 w 4610101"/>
              <a:gd name="connsiteY7118" fmla="*/ 1791915 h 6557032"/>
              <a:gd name="connsiteX7119" fmla="*/ 3281737 w 4610101"/>
              <a:gd name="connsiteY7119" fmla="*/ 1775763 h 6557032"/>
              <a:gd name="connsiteX7120" fmla="*/ 3296314 w 4610101"/>
              <a:gd name="connsiteY7120" fmla="*/ 1768481 h 6557032"/>
              <a:gd name="connsiteX7121" fmla="*/ 3363735 w 4610101"/>
              <a:gd name="connsiteY7121" fmla="*/ 1761180 h 6557032"/>
              <a:gd name="connsiteX7122" fmla="*/ 3371023 w 4610101"/>
              <a:gd name="connsiteY7122" fmla="*/ 1784865 h 6557032"/>
              <a:gd name="connsiteX7123" fmla="*/ 3361912 w 4610101"/>
              <a:gd name="connsiteY7123" fmla="*/ 1790333 h 6557032"/>
              <a:gd name="connsiteX7124" fmla="*/ 3341868 w 4610101"/>
              <a:gd name="connsiteY7124" fmla="*/ 1770289 h 6557032"/>
              <a:gd name="connsiteX7125" fmla="*/ 610429 w 4610101"/>
              <a:gd name="connsiteY7125" fmla="*/ 1755606 h 6557032"/>
              <a:gd name="connsiteX7126" fmla="*/ 599496 w 4610101"/>
              <a:gd name="connsiteY7126" fmla="*/ 1770183 h 6557032"/>
              <a:gd name="connsiteX7127" fmla="*/ 610429 w 4610101"/>
              <a:gd name="connsiteY7127" fmla="*/ 1755606 h 6557032"/>
              <a:gd name="connsiteX7128" fmla="*/ 3296314 w 4610101"/>
              <a:gd name="connsiteY7128" fmla="*/ 1746591 h 6557032"/>
              <a:gd name="connsiteX7129" fmla="*/ 3296314 w 4610101"/>
              <a:gd name="connsiteY7129" fmla="*/ 1768456 h 6557032"/>
              <a:gd name="connsiteX7130" fmla="*/ 3270803 w 4610101"/>
              <a:gd name="connsiteY7130" fmla="*/ 1748413 h 6557032"/>
              <a:gd name="connsiteX7131" fmla="*/ 1175303 w 4610101"/>
              <a:gd name="connsiteY7131" fmla="*/ 1739206 h 6557032"/>
              <a:gd name="connsiteX7132" fmla="*/ 1175303 w 4610101"/>
              <a:gd name="connsiteY7132" fmla="*/ 1761072 h 6557032"/>
              <a:gd name="connsiteX7133" fmla="*/ 1197169 w 4610101"/>
              <a:gd name="connsiteY7133" fmla="*/ 1739206 h 6557032"/>
              <a:gd name="connsiteX7134" fmla="*/ 626828 w 4610101"/>
              <a:gd name="connsiteY7134" fmla="*/ 1737417 h 6557032"/>
              <a:gd name="connsiteX7135" fmla="*/ 626828 w 4610101"/>
              <a:gd name="connsiteY7135" fmla="*/ 1739238 h 6557032"/>
              <a:gd name="connsiteX7136" fmla="*/ 623183 w 4610101"/>
              <a:gd name="connsiteY7136" fmla="*/ 1742883 h 6557032"/>
              <a:gd name="connsiteX7137" fmla="*/ 626828 w 4610101"/>
              <a:gd name="connsiteY7137" fmla="*/ 1737417 h 6557032"/>
              <a:gd name="connsiteX7138" fmla="*/ 3241648 w 4610101"/>
              <a:gd name="connsiteY7138" fmla="*/ 1722807 h 6557032"/>
              <a:gd name="connsiteX7139" fmla="*/ 3241648 w 4610101"/>
              <a:gd name="connsiteY7139" fmla="*/ 1731918 h 6557032"/>
              <a:gd name="connsiteX7140" fmla="*/ 3245292 w 4610101"/>
              <a:gd name="connsiteY7140" fmla="*/ 1731918 h 6557032"/>
              <a:gd name="connsiteX7141" fmla="*/ 3241648 w 4610101"/>
              <a:gd name="connsiteY7141" fmla="*/ 1722807 h 6557032"/>
              <a:gd name="connsiteX7142" fmla="*/ 1169836 w 4610101"/>
              <a:gd name="connsiteY7142" fmla="*/ 1719162 h 6557032"/>
              <a:gd name="connsiteX7143" fmla="*/ 1169836 w 4610101"/>
              <a:gd name="connsiteY7143" fmla="*/ 1722807 h 6557032"/>
              <a:gd name="connsiteX7144" fmla="*/ 1175303 w 4610101"/>
              <a:gd name="connsiteY7144" fmla="*/ 1720984 h 6557032"/>
              <a:gd name="connsiteX7145" fmla="*/ 1169836 w 4610101"/>
              <a:gd name="connsiteY7145" fmla="*/ 1719162 h 6557032"/>
              <a:gd name="connsiteX7146" fmla="*/ 899857 w 4610101"/>
              <a:gd name="connsiteY7146" fmla="*/ 1714248 h 6557032"/>
              <a:gd name="connsiteX7147" fmla="*/ 895371 w 4610101"/>
              <a:gd name="connsiteY7147" fmla="*/ 1717568 h 6557032"/>
              <a:gd name="connsiteX7148" fmla="*/ 876466 w 4610101"/>
              <a:gd name="connsiteY7148" fmla="*/ 1726451 h 6557032"/>
              <a:gd name="connsiteX7149" fmla="*/ 3225248 w 4610101"/>
              <a:gd name="connsiteY7149" fmla="*/ 1713696 h 6557032"/>
              <a:gd name="connsiteX7150" fmla="*/ 3232537 w 4610101"/>
              <a:gd name="connsiteY7150" fmla="*/ 1722807 h 6557032"/>
              <a:gd name="connsiteX7151" fmla="*/ 3227071 w 4610101"/>
              <a:gd name="connsiteY7151" fmla="*/ 1720984 h 6557032"/>
              <a:gd name="connsiteX7152" fmla="*/ 3230715 w 4610101"/>
              <a:gd name="connsiteY7152" fmla="*/ 1733740 h 6557032"/>
              <a:gd name="connsiteX7153" fmla="*/ 3234359 w 4610101"/>
              <a:gd name="connsiteY7153" fmla="*/ 1733740 h 6557032"/>
              <a:gd name="connsiteX7154" fmla="*/ 3234359 w 4610101"/>
              <a:gd name="connsiteY7154" fmla="*/ 1724629 h 6557032"/>
              <a:gd name="connsiteX7155" fmla="*/ 3225248 w 4610101"/>
              <a:gd name="connsiteY7155" fmla="*/ 1713696 h 6557032"/>
              <a:gd name="connsiteX7156" fmla="*/ 1166192 w 4610101"/>
              <a:gd name="connsiteY7156" fmla="*/ 1713696 h 6557032"/>
              <a:gd name="connsiteX7157" fmla="*/ 1166192 w 4610101"/>
              <a:gd name="connsiteY7157" fmla="*/ 1715518 h 6557032"/>
              <a:gd name="connsiteX7158" fmla="*/ 1171658 w 4610101"/>
              <a:gd name="connsiteY7158" fmla="*/ 1717340 h 6557032"/>
              <a:gd name="connsiteX7159" fmla="*/ 1166192 w 4610101"/>
              <a:gd name="connsiteY7159" fmla="*/ 1713696 h 6557032"/>
              <a:gd name="connsiteX7160" fmla="*/ 3238003 w 4610101"/>
              <a:gd name="connsiteY7160" fmla="*/ 1710051 h 6557032"/>
              <a:gd name="connsiteX7161" fmla="*/ 3243470 w 4610101"/>
              <a:gd name="connsiteY7161" fmla="*/ 1715518 h 6557032"/>
              <a:gd name="connsiteX7162" fmla="*/ 3239691 w 4610101"/>
              <a:gd name="connsiteY7162" fmla="*/ 1714573 h 6557032"/>
              <a:gd name="connsiteX7163" fmla="*/ 3237761 w 4610101"/>
              <a:gd name="connsiteY7163" fmla="*/ 1710536 h 6557032"/>
              <a:gd name="connsiteX7164" fmla="*/ 1019618 w 4610101"/>
              <a:gd name="connsiteY7164" fmla="*/ 1709184 h 6557032"/>
              <a:gd name="connsiteX7165" fmla="*/ 1014951 w 4610101"/>
              <a:gd name="connsiteY7165" fmla="*/ 1712101 h 6557032"/>
              <a:gd name="connsiteX7166" fmla="*/ 1005840 w 4610101"/>
              <a:gd name="connsiteY7166" fmla="*/ 1713696 h 6557032"/>
              <a:gd name="connsiteX7167" fmla="*/ 772603 w 4610101"/>
              <a:gd name="connsiteY7167" fmla="*/ 1708264 h 6557032"/>
              <a:gd name="connsiteX7168" fmla="*/ 737981 w 4610101"/>
              <a:gd name="connsiteY7168" fmla="*/ 1722843 h 6557032"/>
              <a:gd name="connsiteX7169" fmla="*/ 734336 w 4610101"/>
              <a:gd name="connsiteY7169" fmla="*/ 1717377 h 6557032"/>
              <a:gd name="connsiteX7170" fmla="*/ 772603 w 4610101"/>
              <a:gd name="connsiteY7170" fmla="*/ 1708264 h 6557032"/>
              <a:gd name="connsiteX7171" fmla="*/ 464655 w 4610101"/>
              <a:gd name="connsiteY7171" fmla="*/ 1708229 h 6557032"/>
              <a:gd name="connsiteX7172" fmla="*/ 459188 w 4610101"/>
              <a:gd name="connsiteY7172" fmla="*/ 1710051 h 6557032"/>
              <a:gd name="connsiteX7173" fmla="*/ 464655 w 4610101"/>
              <a:gd name="connsiteY7173" fmla="*/ 1708229 h 6557032"/>
              <a:gd name="connsiteX7174" fmla="*/ 464914 w 4610101"/>
              <a:gd name="connsiteY7174" fmla="*/ 1706719 h 6557032"/>
              <a:gd name="connsiteX7175" fmla="*/ 455544 w 4610101"/>
              <a:gd name="connsiteY7175" fmla="*/ 1710051 h 6557032"/>
              <a:gd name="connsiteX7176" fmla="*/ 456923 w 4610101"/>
              <a:gd name="connsiteY7176" fmla="*/ 1708317 h 6557032"/>
              <a:gd name="connsiteX7177" fmla="*/ 465861 w 4610101"/>
              <a:gd name="connsiteY7177" fmla="*/ 1706306 h 6557032"/>
              <a:gd name="connsiteX7178" fmla="*/ 466478 w 4610101"/>
              <a:gd name="connsiteY7178" fmla="*/ 1706407 h 6557032"/>
              <a:gd name="connsiteX7179" fmla="*/ 464914 w 4610101"/>
              <a:gd name="connsiteY7179" fmla="*/ 1706719 h 6557032"/>
              <a:gd name="connsiteX7180" fmla="*/ 465794 w 4610101"/>
              <a:gd name="connsiteY7180" fmla="*/ 1706407 h 6557032"/>
              <a:gd name="connsiteX7181" fmla="*/ 461751 w 4610101"/>
              <a:gd name="connsiteY7181" fmla="*/ 1705638 h 6557032"/>
              <a:gd name="connsiteX7182" fmla="*/ 462804 w 4610101"/>
              <a:gd name="connsiteY7182" fmla="*/ 1705809 h 6557032"/>
              <a:gd name="connsiteX7183" fmla="*/ 461010 w 4610101"/>
              <a:gd name="connsiteY7183" fmla="*/ 1706407 h 6557032"/>
              <a:gd name="connsiteX7184" fmla="*/ 1138859 w 4610101"/>
              <a:gd name="connsiteY7184" fmla="*/ 1705496 h 6557032"/>
              <a:gd name="connsiteX7185" fmla="*/ 1141045 w 4610101"/>
              <a:gd name="connsiteY7185" fmla="*/ 1707955 h 6557032"/>
              <a:gd name="connsiteX7186" fmla="*/ 1140681 w 4610101"/>
              <a:gd name="connsiteY7186" fmla="*/ 1708229 h 6557032"/>
              <a:gd name="connsiteX7187" fmla="*/ 1138859 w 4610101"/>
              <a:gd name="connsiteY7187" fmla="*/ 1708229 h 6557032"/>
              <a:gd name="connsiteX7188" fmla="*/ 452986 w 4610101"/>
              <a:gd name="connsiteY7188" fmla="*/ 1704966 h 6557032"/>
              <a:gd name="connsiteX7189" fmla="*/ 450077 w 4610101"/>
              <a:gd name="connsiteY7189" fmla="*/ 1708229 h 6557032"/>
              <a:gd name="connsiteX7190" fmla="*/ 449775 w 4610101"/>
              <a:gd name="connsiteY7190" fmla="*/ 1707730 h 6557032"/>
              <a:gd name="connsiteX7191" fmla="*/ 456683 w 4610101"/>
              <a:gd name="connsiteY7191" fmla="*/ 1704813 h 6557032"/>
              <a:gd name="connsiteX7192" fmla="*/ 459364 w 4610101"/>
              <a:gd name="connsiteY7192" fmla="*/ 1705249 h 6557032"/>
              <a:gd name="connsiteX7193" fmla="*/ 456923 w 4610101"/>
              <a:gd name="connsiteY7193" fmla="*/ 1708317 h 6557032"/>
              <a:gd name="connsiteX7194" fmla="*/ 448256 w 4610101"/>
              <a:gd name="connsiteY7194" fmla="*/ 1710051 h 6557032"/>
              <a:gd name="connsiteX7195" fmla="*/ 456683 w 4610101"/>
              <a:gd name="connsiteY7195" fmla="*/ 1704813 h 6557032"/>
              <a:gd name="connsiteX7196" fmla="*/ 830912 w 4610101"/>
              <a:gd name="connsiteY7196" fmla="*/ 1704619 h 6557032"/>
              <a:gd name="connsiteX7197" fmla="*/ 823623 w 4610101"/>
              <a:gd name="connsiteY7197" fmla="*/ 1710087 h 6557032"/>
              <a:gd name="connsiteX7198" fmla="*/ 819978 w 4610101"/>
              <a:gd name="connsiteY7198" fmla="*/ 1710087 h 6557032"/>
              <a:gd name="connsiteX7199" fmla="*/ 819978 w 4610101"/>
              <a:gd name="connsiteY7199" fmla="*/ 1713732 h 6557032"/>
              <a:gd name="connsiteX7200" fmla="*/ 787179 w 4610101"/>
              <a:gd name="connsiteY7200" fmla="*/ 1719198 h 6557032"/>
              <a:gd name="connsiteX7201" fmla="*/ 801757 w 4610101"/>
              <a:gd name="connsiteY7201" fmla="*/ 1713732 h 6557032"/>
              <a:gd name="connsiteX7202" fmla="*/ 830912 w 4610101"/>
              <a:gd name="connsiteY7202" fmla="*/ 1704619 h 6557032"/>
              <a:gd name="connsiteX7203" fmla="*/ 1116651 w 4610101"/>
              <a:gd name="connsiteY7203" fmla="*/ 1704471 h 6557032"/>
              <a:gd name="connsiteX7204" fmla="*/ 1118815 w 4610101"/>
              <a:gd name="connsiteY7204" fmla="*/ 1704585 h 6557032"/>
              <a:gd name="connsiteX7205" fmla="*/ 1116993 w 4610101"/>
              <a:gd name="connsiteY7205" fmla="*/ 1704585 h 6557032"/>
              <a:gd name="connsiteX7206" fmla="*/ 467182 w 4610101"/>
              <a:gd name="connsiteY7206" fmla="*/ 1704350 h 6557032"/>
              <a:gd name="connsiteX7207" fmla="*/ 465861 w 4610101"/>
              <a:gd name="connsiteY7207" fmla="*/ 1706306 h 6557032"/>
              <a:gd name="connsiteX7208" fmla="*/ 462804 w 4610101"/>
              <a:gd name="connsiteY7208" fmla="*/ 1705809 h 6557032"/>
              <a:gd name="connsiteX7209" fmla="*/ 1111526 w 4610101"/>
              <a:gd name="connsiteY7209" fmla="*/ 1702763 h 6557032"/>
              <a:gd name="connsiteX7210" fmla="*/ 1116651 w 4610101"/>
              <a:gd name="connsiteY7210" fmla="*/ 1704471 h 6557032"/>
              <a:gd name="connsiteX7211" fmla="*/ 1114487 w 4610101"/>
              <a:gd name="connsiteY7211" fmla="*/ 1704357 h 6557032"/>
              <a:gd name="connsiteX7212" fmla="*/ 1111526 w 4610101"/>
              <a:gd name="connsiteY7212" fmla="*/ 1702763 h 6557032"/>
              <a:gd name="connsiteX7213" fmla="*/ 455162 w 4610101"/>
              <a:gd name="connsiteY7213" fmla="*/ 1702524 h 6557032"/>
              <a:gd name="connsiteX7214" fmla="*/ 455544 w 4610101"/>
              <a:gd name="connsiteY7214" fmla="*/ 1702763 h 6557032"/>
              <a:gd name="connsiteX7215" fmla="*/ 452986 w 4610101"/>
              <a:gd name="connsiteY7215" fmla="*/ 1704966 h 6557032"/>
              <a:gd name="connsiteX7216" fmla="*/ 1089266 w 4610101"/>
              <a:gd name="connsiteY7216" fmla="*/ 1702319 h 6557032"/>
              <a:gd name="connsiteX7217" fmla="*/ 1091484 w 4610101"/>
              <a:gd name="connsiteY7217" fmla="*/ 1702763 h 6557032"/>
              <a:gd name="connsiteX7218" fmla="*/ 1088893 w 4610101"/>
              <a:gd name="connsiteY7218" fmla="*/ 1703626 h 6557032"/>
              <a:gd name="connsiteX7219" fmla="*/ 469536 w 4610101"/>
              <a:gd name="connsiteY7219" fmla="*/ 1701949 h 6557032"/>
              <a:gd name="connsiteX7220" fmla="*/ 468526 w 4610101"/>
              <a:gd name="connsiteY7220" fmla="*/ 1703901 h 6557032"/>
              <a:gd name="connsiteX7221" fmla="*/ 467182 w 4610101"/>
              <a:gd name="connsiteY7221" fmla="*/ 1704350 h 6557032"/>
              <a:gd name="connsiteX7222" fmla="*/ 468709 w 4610101"/>
              <a:gd name="connsiteY7222" fmla="*/ 1702087 h 6557032"/>
              <a:gd name="connsiteX7223" fmla="*/ 445768 w 4610101"/>
              <a:gd name="connsiteY7223" fmla="*/ 1701106 h 6557032"/>
              <a:gd name="connsiteX7224" fmla="*/ 449775 w 4610101"/>
              <a:gd name="connsiteY7224" fmla="*/ 1707730 h 6557032"/>
              <a:gd name="connsiteX7225" fmla="*/ 447344 w 4610101"/>
              <a:gd name="connsiteY7225" fmla="*/ 1709824 h 6557032"/>
              <a:gd name="connsiteX7226" fmla="*/ 439145 w 4610101"/>
              <a:gd name="connsiteY7226" fmla="*/ 1715518 h 6557032"/>
              <a:gd name="connsiteX7227" fmla="*/ 440551 w 4610101"/>
              <a:gd name="connsiteY7227" fmla="*/ 1707075 h 6557032"/>
              <a:gd name="connsiteX7228" fmla="*/ 442788 w 4610101"/>
              <a:gd name="connsiteY7228" fmla="*/ 1702990 h 6557032"/>
              <a:gd name="connsiteX7229" fmla="*/ 443551 w 4610101"/>
              <a:gd name="connsiteY7229" fmla="*/ 1702130 h 6557032"/>
              <a:gd name="connsiteX7230" fmla="*/ 3272626 w 4610101"/>
              <a:gd name="connsiteY7230" fmla="*/ 1701035 h 6557032"/>
              <a:gd name="connsiteX7231" fmla="*/ 3279914 w 4610101"/>
              <a:gd name="connsiteY7231" fmla="*/ 1722904 h 6557032"/>
              <a:gd name="connsiteX7232" fmla="*/ 3258048 w 4610101"/>
              <a:gd name="connsiteY7232" fmla="*/ 1722904 h 6557032"/>
              <a:gd name="connsiteX7233" fmla="*/ 3259870 w 4610101"/>
              <a:gd name="connsiteY7233" fmla="*/ 1704678 h 6557032"/>
              <a:gd name="connsiteX7234" fmla="*/ 3272626 w 4610101"/>
              <a:gd name="connsiteY7234" fmla="*/ 1701035 h 6557032"/>
              <a:gd name="connsiteX7235" fmla="*/ 1089660 w 4610101"/>
              <a:gd name="connsiteY7235" fmla="*/ 1700941 h 6557032"/>
              <a:gd name="connsiteX7236" fmla="*/ 1093305 w 4610101"/>
              <a:gd name="connsiteY7236" fmla="*/ 1702763 h 6557032"/>
              <a:gd name="connsiteX7237" fmla="*/ 1089329 w 4610101"/>
              <a:gd name="connsiteY7237" fmla="*/ 1702100 h 6557032"/>
              <a:gd name="connsiteX7238" fmla="*/ 1082373 w 4610101"/>
              <a:gd name="connsiteY7238" fmla="*/ 1700941 h 6557032"/>
              <a:gd name="connsiteX7239" fmla="*/ 1089329 w 4610101"/>
              <a:gd name="connsiteY7239" fmla="*/ 1702100 h 6557032"/>
              <a:gd name="connsiteX7240" fmla="*/ 1089266 w 4610101"/>
              <a:gd name="connsiteY7240" fmla="*/ 1702319 h 6557032"/>
              <a:gd name="connsiteX7241" fmla="*/ 470541 w 4610101"/>
              <a:gd name="connsiteY7241" fmla="*/ 1700006 h 6557032"/>
              <a:gd name="connsiteX7242" fmla="*/ 475589 w 4610101"/>
              <a:gd name="connsiteY7242" fmla="*/ 1700941 h 6557032"/>
              <a:gd name="connsiteX7243" fmla="*/ 469536 w 4610101"/>
              <a:gd name="connsiteY7243" fmla="*/ 1701949 h 6557032"/>
              <a:gd name="connsiteX7244" fmla="*/ 1093305 w 4610101"/>
              <a:gd name="connsiteY7244" fmla="*/ 1699899 h 6557032"/>
              <a:gd name="connsiteX7245" fmla="*/ 1093305 w 4610101"/>
              <a:gd name="connsiteY7245" fmla="*/ 1700941 h 6557032"/>
              <a:gd name="connsiteX7246" fmla="*/ 1089660 w 4610101"/>
              <a:gd name="connsiteY7246" fmla="*/ 1700941 h 6557032"/>
              <a:gd name="connsiteX7247" fmla="*/ 469438 w 4610101"/>
              <a:gd name="connsiteY7247" fmla="*/ 1699802 h 6557032"/>
              <a:gd name="connsiteX7248" fmla="*/ 470162 w 4610101"/>
              <a:gd name="connsiteY7248" fmla="*/ 1699936 h 6557032"/>
              <a:gd name="connsiteX7249" fmla="*/ 468709 w 4610101"/>
              <a:gd name="connsiteY7249" fmla="*/ 1702087 h 6557032"/>
              <a:gd name="connsiteX7250" fmla="*/ 464655 w 4610101"/>
              <a:gd name="connsiteY7250" fmla="*/ 1702763 h 6557032"/>
              <a:gd name="connsiteX7251" fmla="*/ 469438 w 4610101"/>
              <a:gd name="connsiteY7251" fmla="*/ 1699802 h 6557032"/>
              <a:gd name="connsiteX7252" fmla="*/ 3194271 w 4610101"/>
              <a:gd name="connsiteY7252" fmla="*/ 1699118 h 6557032"/>
              <a:gd name="connsiteX7253" fmla="*/ 3183338 w 4610101"/>
              <a:gd name="connsiteY7253" fmla="*/ 1713696 h 6557032"/>
              <a:gd name="connsiteX7254" fmla="*/ 3188805 w 4610101"/>
              <a:gd name="connsiteY7254" fmla="*/ 1720984 h 6557032"/>
              <a:gd name="connsiteX7255" fmla="*/ 3190627 w 4610101"/>
              <a:gd name="connsiteY7255" fmla="*/ 1720984 h 6557032"/>
              <a:gd name="connsiteX7256" fmla="*/ 3203382 w 4610101"/>
              <a:gd name="connsiteY7256" fmla="*/ 1735562 h 6557032"/>
              <a:gd name="connsiteX7257" fmla="*/ 3190627 w 4610101"/>
              <a:gd name="connsiteY7257" fmla="*/ 1720984 h 6557032"/>
              <a:gd name="connsiteX7258" fmla="*/ 3197916 w 4610101"/>
              <a:gd name="connsiteY7258" fmla="*/ 1720984 h 6557032"/>
              <a:gd name="connsiteX7259" fmla="*/ 3194271 w 4610101"/>
              <a:gd name="connsiteY7259" fmla="*/ 1699118 h 6557032"/>
              <a:gd name="connsiteX7260" fmla="*/ 1164370 w 4610101"/>
              <a:gd name="connsiteY7260" fmla="*/ 1699118 h 6557032"/>
              <a:gd name="connsiteX7261" fmla="*/ 1171658 w 4610101"/>
              <a:gd name="connsiteY7261" fmla="*/ 1704585 h 6557032"/>
              <a:gd name="connsiteX7262" fmla="*/ 1171658 w 4610101"/>
              <a:gd name="connsiteY7262" fmla="*/ 1700941 h 6557032"/>
              <a:gd name="connsiteX7263" fmla="*/ 1178947 w 4610101"/>
              <a:gd name="connsiteY7263" fmla="*/ 1708229 h 6557032"/>
              <a:gd name="connsiteX7264" fmla="*/ 1180769 w 4610101"/>
              <a:gd name="connsiteY7264" fmla="*/ 1700941 h 6557032"/>
              <a:gd name="connsiteX7265" fmla="*/ 1164370 w 4610101"/>
              <a:gd name="connsiteY7265" fmla="*/ 1699118 h 6557032"/>
              <a:gd name="connsiteX7266" fmla="*/ 1120637 w 4610101"/>
              <a:gd name="connsiteY7266" fmla="*/ 1699118 h 6557032"/>
              <a:gd name="connsiteX7267" fmla="*/ 1129748 w 4610101"/>
              <a:gd name="connsiteY7267" fmla="*/ 1700941 h 6557032"/>
              <a:gd name="connsiteX7268" fmla="*/ 1122459 w 4610101"/>
              <a:gd name="connsiteY7268" fmla="*/ 1700941 h 6557032"/>
              <a:gd name="connsiteX7269" fmla="*/ 1120637 w 4610101"/>
              <a:gd name="connsiteY7269" fmla="*/ 1699118 h 6557032"/>
              <a:gd name="connsiteX7270" fmla="*/ 1048598 w 4610101"/>
              <a:gd name="connsiteY7270" fmla="*/ 1699118 h 6557032"/>
              <a:gd name="connsiteX7271" fmla="*/ 1055040 w 4610101"/>
              <a:gd name="connsiteY7271" fmla="*/ 1699118 h 6557032"/>
              <a:gd name="connsiteX7272" fmla="*/ 1049572 w 4610101"/>
              <a:gd name="connsiteY7272" fmla="*/ 1700485 h 6557032"/>
              <a:gd name="connsiteX7273" fmla="*/ 1046761 w 4610101"/>
              <a:gd name="connsiteY7273" fmla="*/ 1699782 h 6557032"/>
              <a:gd name="connsiteX7274" fmla="*/ 471681 w 4610101"/>
              <a:gd name="connsiteY7274" fmla="*/ 1697686 h 6557032"/>
              <a:gd name="connsiteX7275" fmla="*/ 471734 w 4610101"/>
              <a:gd name="connsiteY7275" fmla="*/ 1697699 h 6557032"/>
              <a:gd name="connsiteX7276" fmla="*/ 470541 w 4610101"/>
              <a:gd name="connsiteY7276" fmla="*/ 1700006 h 6557032"/>
              <a:gd name="connsiteX7277" fmla="*/ 470162 w 4610101"/>
              <a:gd name="connsiteY7277" fmla="*/ 1699936 h 6557032"/>
              <a:gd name="connsiteX7278" fmla="*/ 1114314 w 4610101"/>
              <a:gd name="connsiteY7278" fmla="*/ 1697510 h 6557032"/>
              <a:gd name="connsiteX7279" fmla="*/ 1115692 w 4610101"/>
              <a:gd name="connsiteY7279" fmla="*/ 1697816 h 6557032"/>
              <a:gd name="connsiteX7280" fmla="*/ 1120637 w 4610101"/>
              <a:gd name="connsiteY7280" fmla="*/ 1702763 h 6557032"/>
              <a:gd name="connsiteX7281" fmla="*/ 1115171 w 4610101"/>
              <a:gd name="connsiteY7281" fmla="*/ 1700941 h 6557032"/>
              <a:gd name="connsiteX7282" fmla="*/ 1107882 w 4610101"/>
              <a:gd name="connsiteY7282" fmla="*/ 1699118 h 6557032"/>
              <a:gd name="connsiteX7283" fmla="*/ 1138859 w 4610101"/>
              <a:gd name="connsiteY7283" fmla="*/ 1697296 h 6557032"/>
              <a:gd name="connsiteX7284" fmla="*/ 1138859 w 4610101"/>
              <a:gd name="connsiteY7284" fmla="*/ 1699118 h 6557032"/>
              <a:gd name="connsiteX7285" fmla="*/ 1142503 w 4610101"/>
              <a:gd name="connsiteY7285" fmla="*/ 1699118 h 6557032"/>
              <a:gd name="connsiteX7286" fmla="*/ 1138859 w 4610101"/>
              <a:gd name="connsiteY7286" fmla="*/ 1697296 h 6557032"/>
              <a:gd name="connsiteX7287" fmla="*/ 1129748 w 4610101"/>
              <a:gd name="connsiteY7287" fmla="*/ 1697296 h 6557032"/>
              <a:gd name="connsiteX7288" fmla="*/ 1130659 w 4610101"/>
              <a:gd name="connsiteY7288" fmla="*/ 1697296 h 6557032"/>
              <a:gd name="connsiteX7289" fmla="*/ 1129748 w 4610101"/>
              <a:gd name="connsiteY7289" fmla="*/ 1699118 h 6557032"/>
              <a:gd name="connsiteX7290" fmla="*/ 1119162 w 4610101"/>
              <a:gd name="connsiteY7290" fmla="*/ 1696094 h 6557032"/>
              <a:gd name="connsiteX7291" fmla="*/ 1129748 w 4610101"/>
              <a:gd name="connsiteY7291" fmla="*/ 1699118 h 6557032"/>
              <a:gd name="connsiteX7292" fmla="*/ 1129748 w 4610101"/>
              <a:gd name="connsiteY7292" fmla="*/ 1700941 h 6557032"/>
              <a:gd name="connsiteX7293" fmla="*/ 1115692 w 4610101"/>
              <a:gd name="connsiteY7293" fmla="*/ 1697816 h 6557032"/>
              <a:gd name="connsiteX7294" fmla="*/ 1115171 w 4610101"/>
              <a:gd name="connsiteY7294" fmla="*/ 1697296 h 6557032"/>
              <a:gd name="connsiteX7295" fmla="*/ 1114314 w 4610101"/>
              <a:gd name="connsiteY7295" fmla="*/ 1697510 h 6557032"/>
              <a:gd name="connsiteX7296" fmla="*/ 1113349 w 4610101"/>
              <a:gd name="connsiteY7296" fmla="*/ 1697296 h 6557032"/>
              <a:gd name="connsiteX7297" fmla="*/ 1116993 w 4610101"/>
              <a:gd name="connsiteY7297" fmla="*/ 1695474 h 6557032"/>
              <a:gd name="connsiteX7298" fmla="*/ 1123370 w 4610101"/>
              <a:gd name="connsiteY7298" fmla="*/ 1695474 h 6557032"/>
              <a:gd name="connsiteX7299" fmla="*/ 1127926 w 4610101"/>
              <a:gd name="connsiteY7299" fmla="*/ 1697296 h 6557032"/>
              <a:gd name="connsiteX7300" fmla="*/ 1119955 w 4610101"/>
              <a:gd name="connsiteY7300" fmla="*/ 1695930 h 6557032"/>
              <a:gd name="connsiteX7301" fmla="*/ 1119162 w 4610101"/>
              <a:gd name="connsiteY7301" fmla="*/ 1696094 h 6557032"/>
              <a:gd name="connsiteX7302" fmla="*/ 3214487 w 4610101"/>
              <a:gd name="connsiteY7302" fmla="*/ 1695347 h 6557032"/>
              <a:gd name="connsiteX7303" fmla="*/ 3215454 w 4610101"/>
              <a:gd name="connsiteY7303" fmla="*/ 1695474 h 6557032"/>
              <a:gd name="connsiteX7304" fmla="*/ 3216542 w 4610101"/>
              <a:gd name="connsiteY7304" fmla="*/ 1696284 h 6557032"/>
              <a:gd name="connsiteX7305" fmla="*/ 3214543 w 4610101"/>
              <a:gd name="connsiteY7305" fmla="*/ 1695474 h 6557032"/>
              <a:gd name="connsiteX7306" fmla="*/ 680005 w 4610101"/>
              <a:gd name="connsiteY7306" fmla="*/ 1693940 h 6557032"/>
              <a:gd name="connsiteX7307" fmla="*/ 681038 w 4610101"/>
              <a:gd name="connsiteY7307" fmla="*/ 1709368 h 6557032"/>
              <a:gd name="connsiteX7308" fmla="*/ 686960 w 4610101"/>
              <a:gd name="connsiteY7308" fmla="*/ 1748317 h 6557032"/>
              <a:gd name="connsiteX7309" fmla="*/ 668738 w 4610101"/>
              <a:gd name="connsiteY7309" fmla="*/ 1713696 h 6557032"/>
              <a:gd name="connsiteX7310" fmla="*/ 677877 w 4610101"/>
              <a:gd name="connsiteY7310" fmla="*/ 1704015 h 6557032"/>
              <a:gd name="connsiteX7311" fmla="*/ 3152361 w 4610101"/>
              <a:gd name="connsiteY7311" fmla="*/ 1693652 h 6557032"/>
              <a:gd name="connsiteX7312" fmla="*/ 3152361 w 4610101"/>
              <a:gd name="connsiteY7312" fmla="*/ 1715518 h 6557032"/>
              <a:gd name="connsiteX7313" fmla="*/ 3125029 w 4610101"/>
              <a:gd name="connsiteY7313" fmla="*/ 1728273 h 6557032"/>
              <a:gd name="connsiteX7314" fmla="*/ 3126851 w 4610101"/>
              <a:gd name="connsiteY7314" fmla="*/ 1730095 h 6557032"/>
              <a:gd name="connsiteX7315" fmla="*/ 3145073 w 4610101"/>
              <a:gd name="connsiteY7315" fmla="*/ 1722807 h 6557032"/>
              <a:gd name="connsiteX7316" fmla="*/ 3159650 w 4610101"/>
              <a:gd name="connsiteY7316" fmla="*/ 1731918 h 6557032"/>
              <a:gd name="connsiteX7317" fmla="*/ 3174227 w 4610101"/>
              <a:gd name="connsiteY7317" fmla="*/ 1693652 h 6557032"/>
              <a:gd name="connsiteX7318" fmla="*/ 3106807 w 4610101"/>
              <a:gd name="connsiteY7318" fmla="*/ 1693652 h 6557032"/>
              <a:gd name="connsiteX7319" fmla="*/ 3106807 w 4610101"/>
              <a:gd name="connsiteY7319" fmla="*/ 1708229 h 6557032"/>
              <a:gd name="connsiteX7320" fmla="*/ 3123206 w 4610101"/>
              <a:gd name="connsiteY7320" fmla="*/ 1706407 h 6557032"/>
              <a:gd name="connsiteX7321" fmla="*/ 1080549 w 4610101"/>
              <a:gd name="connsiteY7321" fmla="*/ 1693652 h 6557032"/>
              <a:gd name="connsiteX7322" fmla="*/ 1084194 w 4610101"/>
              <a:gd name="connsiteY7322" fmla="*/ 1695474 h 6557032"/>
              <a:gd name="connsiteX7323" fmla="*/ 1091484 w 4610101"/>
              <a:gd name="connsiteY7323" fmla="*/ 1693652 h 6557032"/>
              <a:gd name="connsiteX7324" fmla="*/ 1080549 w 4610101"/>
              <a:gd name="connsiteY7324" fmla="*/ 1693652 h 6557032"/>
              <a:gd name="connsiteX7325" fmla="*/ 502920 w 4610101"/>
              <a:gd name="connsiteY7325" fmla="*/ 1691865 h 6557032"/>
              <a:gd name="connsiteX7326" fmla="*/ 506565 w 4610101"/>
              <a:gd name="connsiteY7326" fmla="*/ 1691865 h 6557032"/>
              <a:gd name="connsiteX7327" fmla="*/ 508387 w 4610101"/>
              <a:gd name="connsiteY7327" fmla="*/ 1706442 h 6557032"/>
              <a:gd name="connsiteX7328" fmla="*/ 502920 w 4610101"/>
              <a:gd name="connsiteY7328" fmla="*/ 1700975 h 6557032"/>
              <a:gd name="connsiteX7329" fmla="*/ 491987 w 4610101"/>
              <a:gd name="connsiteY7329" fmla="*/ 1719198 h 6557032"/>
              <a:gd name="connsiteX7330" fmla="*/ 502920 w 4610101"/>
              <a:gd name="connsiteY7330" fmla="*/ 1691865 h 6557032"/>
              <a:gd name="connsiteX7331" fmla="*/ 657805 w 4610101"/>
              <a:gd name="connsiteY7331" fmla="*/ 1691830 h 6557032"/>
              <a:gd name="connsiteX7332" fmla="*/ 657611 w 4610101"/>
              <a:gd name="connsiteY7332" fmla="*/ 1693268 h 6557032"/>
              <a:gd name="connsiteX7333" fmla="*/ 655755 w 4610101"/>
              <a:gd name="connsiteY7333" fmla="*/ 1695474 h 6557032"/>
              <a:gd name="connsiteX7334" fmla="*/ 650425 w 4610101"/>
              <a:gd name="connsiteY7334" fmla="*/ 1700467 h 6557032"/>
              <a:gd name="connsiteX7335" fmla="*/ 1046256 w 4610101"/>
              <a:gd name="connsiteY7335" fmla="*/ 1691083 h 6557032"/>
              <a:gd name="connsiteX7336" fmla="*/ 1047750 w 4610101"/>
              <a:gd name="connsiteY7336" fmla="*/ 1691830 h 6557032"/>
              <a:gd name="connsiteX7337" fmla="*/ 1011307 w 4610101"/>
              <a:gd name="connsiteY7337" fmla="*/ 1697296 h 6557032"/>
              <a:gd name="connsiteX7338" fmla="*/ 1034767 w 4610101"/>
              <a:gd name="connsiteY7338" fmla="*/ 1692740 h 6557032"/>
              <a:gd name="connsiteX7339" fmla="*/ 1042253 w 4610101"/>
              <a:gd name="connsiteY7339" fmla="*/ 1691197 h 6557032"/>
              <a:gd name="connsiteX7340" fmla="*/ 1043878 w 4610101"/>
              <a:gd name="connsiteY7340" fmla="*/ 1691374 h 6557032"/>
              <a:gd name="connsiteX7341" fmla="*/ 1104237 w 4610101"/>
              <a:gd name="connsiteY7341" fmla="*/ 1690918 h 6557032"/>
              <a:gd name="connsiteX7342" fmla="*/ 1105521 w 4610101"/>
              <a:gd name="connsiteY7342" fmla="*/ 1691303 h 6557032"/>
              <a:gd name="connsiteX7343" fmla="*/ 1106060 w 4610101"/>
              <a:gd name="connsiteY7343" fmla="*/ 1691830 h 6557032"/>
              <a:gd name="connsiteX7344" fmla="*/ 1102268 w 4610101"/>
              <a:gd name="connsiteY7344" fmla="*/ 1691509 h 6557032"/>
              <a:gd name="connsiteX7345" fmla="*/ 1091484 w 4610101"/>
              <a:gd name="connsiteY7345" fmla="*/ 1690008 h 6557032"/>
              <a:gd name="connsiteX7346" fmla="*/ 1093853 w 4610101"/>
              <a:gd name="connsiteY7346" fmla="*/ 1690798 h 6557032"/>
              <a:gd name="connsiteX7347" fmla="*/ 1092271 w 4610101"/>
              <a:gd name="connsiteY7347" fmla="*/ 1690664 h 6557032"/>
              <a:gd name="connsiteX7348" fmla="*/ 478730 w 4610101"/>
              <a:gd name="connsiteY7348" fmla="*/ 1689189 h 6557032"/>
              <a:gd name="connsiteX7349" fmla="*/ 475589 w 4610101"/>
              <a:gd name="connsiteY7349" fmla="*/ 1695474 h 6557032"/>
              <a:gd name="connsiteX7350" fmla="*/ 479232 w 4610101"/>
              <a:gd name="connsiteY7350" fmla="*/ 1695474 h 6557032"/>
              <a:gd name="connsiteX7351" fmla="*/ 474677 w 4610101"/>
              <a:gd name="connsiteY7351" fmla="*/ 1698435 h 6557032"/>
              <a:gd name="connsiteX7352" fmla="*/ 471734 w 4610101"/>
              <a:gd name="connsiteY7352" fmla="*/ 1697699 h 6557032"/>
              <a:gd name="connsiteX7353" fmla="*/ 471943 w 4610101"/>
              <a:gd name="connsiteY7353" fmla="*/ 1697296 h 6557032"/>
              <a:gd name="connsiteX7354" fmla="*/ 471681 w 4610101"/>
              <a:gd name="connsiteY7354" fmla="*/ 1697686 h 6557032"/>
              <a:gd name="connsiteX7355" fmla="*/ 470121 w 4610101"/>
              <a:gd name="connsiteY7355" fmla="*/ 1697296 h 6557032"/>
              <a:gd name="connsiteX7356" fmla="*/ 475589 w 4610101"/>
              <a:gd name="connsiteY7356" fmla="*/ 1691830 h 6557032"/>
              <a:gd name="connsiteX7357" fmla="*/ 475564 w 4610101"/>
              <a:gd name="connsiteY7357" fmla="*/ 1691818 h 6557032"/>
              <a:gd name="connsiteX7358" fmla="*/ 981688 w 4610101"/>
              <a:gd name="connsiteY7358" fmla="*/ 1689007 h 6557032"/>
              <a:gd name="connsiteX7359" fmla="*/ 981688 w 4610101"/>
              <a:gd name="connsiteY7359" fmla="*/ 1689007 h 6557032"/>
              <a:gd name="connsiteX7360" fmla="*/ 976686 w 4610101"/>
              <a:gd name="connsiteY7360" fmla="*/ 1690008 h 6557032"/>
              <a:gd name="connsiteX7361" fmla="*/ 982440 w 4610101"/>
              <a:gd name="connsiteY7361" fmla="*/ 1688857 h 6557032"/>
              <a:gd name="connsiteX7362" fmla="*/ 980330 w 4610101"/>
              <a:gd name="connsiteY7362" fmla="*/ 1690008 h 6557032"/>
              <a:gd name="connsiteX7363" fmla="*/ 981688 w 4610101"/>
              <a:gd name="connsiteY7363" fmla="*/ 1689007 h 6557032"/>
              <a:gd name="connsiteX7364" fmla="*/ 680240 w 4610101"/>
              <a:gd name="connsiteY7364" fmla="*/ 1688233 h 6557032"/>
              <a:gd name="connsiteX7365" fmla="*/ 680354 w 4610101"/>
              <a:gd name="connsiteY7365" fmla="*/ 1692285 h 6557032"/>
              <a:gd name="connsiteX7366" fmla="*/ 680005 w 4610101"/>
              <a:gd name="connsiteY7366" fmla="*/ 1693940 h 6557032"/>
              <a:gd name="connsiteX7367" fmla="*/ 679785 w 4610101"/>
              <a:gd name="connsiteY7367" fmla="*/ 1690662 h 6557032"/>
              <a:gd name="connsiteX7368" fmla="*/ 985796 w 4610101"/>
              <a:gd name="connsiteY7368" fmla="*/ 1688185 h 6557032"/>
              <a:gd name="connsiteX7369" fmla="*/ 982440 w 4610101"/>
              <a:gd name="connsiteY7369" fmla="*/ 1688857 h 6557032"/>
              <a:gd name="connsiteX7370" fmla="*/ 982441 w 4610101"/>
              <a:gd name="connsiteY7370" fmla="*/ 1688856 h 6557032"/>
              <a:gd name="connsiteX7371" fmla="*/ 485245 w 4610101"/>
              <a:gd name="connsiteY7371" fmla="*/ 1687824 h 6557032"/>
              <a:gd name="connsiteX7372" fmla="*/ 484986 w 4610101"/>
              <a:gd name="connsiteY7372" fmla="*/ 1689720 h 6557032"/>
              <a:gd name="connsiteX7373" fmla="*/ 484700 w 4610101"/>
              <a:gd name="connsiteY7373" fmla="*/ 1690008 h 6557032"/>
              <a:gd name="connsiteX7374" fmla="*/ 485511 w 4610101"/>
              <a:gd name="connsiteY7374" fmla="*/ 1686757 h 6557032"/>
              <a:gd name="connsiteX7375" fmla="*/ 485245 w 4610101"/>
              <a:gd name="connsiteY7375" fmla="*/ 1687824 h 6557032"/>
              <a:gd name="connsiteX7376" fmla="*/ 485382 w 4610101"/>
              <a:gd name="connsiteY7376" fmla="*/ 1686818 h 6557032"/>
              <a:gd name="connsiteX7377" fmla="*/ 1138859 w 4610101"/>
              <a:gd name="connsiteY7377" fmla="*/ 1686363 h 6557032"/>
              <a:gd name="connsiteX7378" fmla="*/ 1138859 w 4610101"/>
              <a:gd name="connsiteY7378" fmla="*/ 1688185 h 6557032"/>
              <a:gd name="connsiteX7379" fmla="*/ 1142503 w 4610101"/>
              <a:gd name="connsiteY7379" fmla="*/ 1688185 h 6557032"/>
              <a:gd name="connsiteX7380" fmla="*/ 1138859 w 4610101"/>
              <a:gd name="connsiteY7380" fmla="*/ 1686363 h 6557032"/>
              <a:gd name="connsiteX7381" fmla="*/ 1126104 w 4610101"/>
              <a:gd name="connsiteY7381" fmla="*/ 1686363 h 6557032"/>
              <a:gd name="connsiteX7382" fmla="*/ 1113349 w 4610101"/>
              <a:gd name="connsiteY7382" fmla="*/ 1688185 h 6557032"/>
              <a:gd name="connsiteX7383" fmla="*/ 1127926 w 4610101"/>
              <a:gd name="connsiteY7383" fmla="*/ 1688185 h 6557032"/>
              <a:gd name="connsiteX7384" fmla="*/ 1126104 w 4610101"/>
              <a:gd name="connsiteY7384" fmla="*/ 1686363 h 6557032"/>
              <a:gd name="connsiteX7385" fmla="*/ 991263 w 4610101"/>
              <a:gd name="connsiteY7385" fmla="*/ 1686363 h 6557032"/>
              <a:gd name="connsiteX7386" fmla="*/ 985796 w 4610101"/>
              <a:gd name="connsiteY7386" fmla="*/ 1691830 h 6557032"/>
              <a:gd name="connsiteX7387" fmla="*/ 991263 w 4610101"/>
              <a:gd name="connsiteY7387" fmla="*/ 1686363 h 6557032"/>
              <a:gd name="connsiteX7388" fmla="*/ 1075570 w 4610101"/>
              <a:gd name="connsiteY7388" fmla="*/ 1685465 h 6557032"/>
              <a:gd name="connsiteX7389" fmla="*/ 1082373 w 4610101"/>
              <a:gd name="connsiteY7389" fmla="*/ 1688185 h 6557032"/>
              <a:gd name="connsiteX7390" fmla="*/ 1081749 w 4610101"/>
              <a:gd name="connsiteY7390" fmla="*/ 1688209 h 6557032"/>
              <a:gd name="connsiteX7391" fmla="*/ 1075083 w 4610101"/>
              <a:gd name="connsiteY7391" fmla="*/ 1686363 h 6557032"/>
              <a:gd name="connsiteX7392" fmla="*/ 973375 w 4610101"/>
              <a:gd name="connsiteY7392" fmla="*/ 1685314 h 6557032"/>
              <a:gd name="connsiteX7393" fmla="*/ 951630 w 4610101"/>
              <a:gd name="connsiteY7393" fmla="*/ 1692058 h 6557032"/>
              <a:gd name="connsiteX7394" fmla="*/ 918376 w 4610101"/>
              <a:gd name="connsiteY7394" fmla="*/ 1704585 h 6557032"/>
              <a:gd name="connsiteX7395" fmla="*/ 899857 w 4610101"/>
              <a:gd name="connsiteY7395" fmla="*/ 1714248 h 6557032"/>
              <a:gd name="connsiteX7396" fmla="*/ 912909 w 4610101"/>
              <a:gd name="connsiteY7396" fmla="*/ 1704585 h 6557032"/>
              <a:gd name="connsiteX7397" fmla="*/ 865533 w 4610101"/>
              <a:gd name="connsiteY7397" fmla="*/ 1710051 h 6557032"/>
              <a:gd name="connsiteX7398" fmla="*/ 881933 w 4610101"/>
              <a:gd name="connsiteY7398" fmla="*/ 1704585 h 6557032"/>
              <a:gd name="connsiteX7399" fmla="*/ 872822 w 4610101"/>
              <a:gd name="connsiteY7399" fmla="*/ 1704585 h 6557032"/>
              <a:gd name="connsiteX7400" fmla="*/ 874644 w 4610101"/>
              <a:gd name="connsiteY7400" fmla="*/ 1702763 h 6557032"/>
              <a:gd name="connsiteX7401" fmla="*/ 885577 w 4610101"/>
              <a:gd name="connsiteY7401" fmla="*/ 1702763 h 6557032"/>
              <a:gd name="connsiteX7402" fmla="*/ 912909 w 4610101"/>
              <a:gd name="connsiteY7402" fmla="*/ 1700941 h 6557032"/>
              <a:gd name="connsiteX7403" fmla="*/ 889222 w 4610101"/>
              <a:gd name="connsiteY7403" fmla="*/ 1688185 h 6557032"/>
              <a:gd name="connsiteX7404" fmla="*/ 912909 w 4610101"/>
              <a:gd name="connsiteY7404" fmla="*/ 1693652 h 6557032"/>
              <a:gd name="connsiteX7405" fmla="*/ 905621 w 4610101"/>
              <a:gd name="connsiteY7405" fmla="*/ 1693652 h 6557032"/>
              <a:gd name="connsiteX7406" fmla="*/ 916555 w 4610101"/>
              <a:gd name="connsiteY7406" fmla="*/ 1695474 h 6557032"/>
              <a:gd name="connsiteX7407" fmla="*/ 912909 w 4610101"/>
              <a:gd name="connsiteY7407" fmla="*/ 1699118 h 6557032"/>
              <a:gd name="connsiteX7408" fmla="*/ 938420 w 4610101"/>
              <a:gd name="connsiteY7408" fmla="*/ 1693652 h 6557032"/>
              <a:gd name="connsiteX7409" fmla="*/ 916555 w 4610101"/>
              <a:gd name="connsiteY7409" fmla="*/ 1695474 h 6557032"/>
              <a:gd name="connsiteX7410" fmla="*/ 920198 w 4610101"/>
              <a:gd name="connsiteY7410" fmla="*/ 1693652 h 6557032"/>
              <a:gd name="connsiteX7411" fmla="*/ 914732 w 4610101"/>
              <a:gd name="connsiteY7411" fmla="*/ 1693652 h 6557032"/>
              <a:gd name="connsiteX7412" fmla="*/ 945482 w 4610101"/>
              <a:gd name="connsiteY7412" fmla="*/ 1690691 h 6557032"/>
              <a:gd name="connsiteX7413" fmla="*/ 958315 w 4610101"/>
              <a:gd name="connsiteY7413" fmla="*/ 1686413 h 6557032"/>
              <a:gd name="connsiteX7414" fmla="*/ 1043188 w 4610101"/>
              <a:gd name="connsiteY7414" fmla="*/ 1684957 h 6557032"/>
              <a:gd name="connsiteX7415" fmla="*/ 1055087 w 4610101"/>
              <a:gd name="connsiteY7415" fmla="*/ 1687766 h 6557032"/>
              <a:gd name="connsiteX7416" fmla="*/ 1053130 w 4610101"/>
              <a:gd name="connsiteY7416" fmla="*/ 1688954 h 6557032"/>
              <a:gd name="connsiteX7417" fmla="*/ 1048021 w 4610101"/>
              <a:gd name="connsiteY7417" fmla="*/ 1690008 h 6557032"/>
              <a:gd name="connsiteX7418" fmla="*/ 1044106 w 4610101"/>
              <a:gd name="connsiteY7418" fmla="*/ 1690008 h 6557032"/>
              <a:gd name="connsiteX7419" fmla="*/ 1045249 w 4610101"/>
              <a:gd name="connsiteY7419" fmla="*/ 1690579 h 6557032"/>
              <a:gd name="connsiteX7420" fmla="*/ 1042253 w 4610101"/>
              <a:gd name="connsiteY7420" fmla="*/ 1691197 h 6557032"/>
              <a:gd name="connsiteX7421" fmla="*/ 1031351 w 4610101"/>
              <a:gd name="connsiteY7421" fmla="*/ 1690008 h 6557032"/>
              <a:gd name="connsiteX7422" fmla="*/ 1073885 w 4610101"/>
              <a:gd name="connsiteY7422" fmla="*/ 1684791 h 6557032"/>
              <a:gd name="connsiteX7423" fmla="*/ 1074273 w 4610101"/>
              <a:gd name="connsiteY7423" fmla="*/ 1684946 h 6557032"/>
              <a:gd name="connsiteX7424" fmla="*/ 1073792 w 4610101"/>
              <a:gd name="connsiteY7424" fmla="*/ 1685186 h 6557032"/>
              <a:gd name="connsiteX7425" fmla="*/ 1073528 w 4610101"/>
              <a:gd name="connsiteY7425" fmla="*/ 1684865 h 6557032"/>
              <a:gd name="connsiteX7426" fmla="*/ 490165 w 4610101"/>
              <a:gd name="connsiteY7426" fmla="*/ 1684541 h 6557032"/>
              <a:gd name="connsiteX7427" fmla="*/ 484700 w 4610101"/>
              <a:gd name="connsiteY7427" fmla="*/ 1691830 h 6557032"/>
              <a:gd name="connsiteX7428" fmla="*/ 484986 w 4610101"/>
              <a:gd name="connsiteY7428" fmla="*/ 1689720 h 6557032"/>
              <a:gd name="connsiteX7429" fmla="*/ 479051 w 4610101"/>
              <a:gd name="connsiteY7429" fmla="*/ 1684085 h 6557032"/>
              <a:gd name="connsiteX7430" fmla="*/ 475589 w 4610101"/>
              <a:gd name="connsiteY7430" fmla="*/ 1688185 h 6557032"/>
              <a:gd name="connsiteX7431" fmla="*/ 475879 w 4610101"/>
              <a:gd name="connsiteY7431" fmla="*/ 1686727 h 6557032"/>
              <a:gd name="connsiteX7432" fmla="*/ 3208849 w 4610101"/>
              <a:gd name="connsiteY7432" fmla="*/ 1682719 h 6557032"/>
              <a:gd name="connsiteX7433" fmla="*/ 3209305 w 4610101"/>
              <a:gd name="connsiteY7433" fmla="*/ 1683175 h 6557032"/>
              <a:gd name="connsiteX7434" fmla="*/ 3209262 w 4610101"/>
              <a:gd name="connsiteY7434" fmla="*/ 1683644 h 6557032"/>
              <a:gd name="connsiteX7435" fmla="*/ 984944 w 4610101"/>
              <a:gd name="connsiteY7435" fmla="*/ 1681726 h 6557032"/>
              <a:gd name="connsiteX7436" fmla="*/ 984885 w 4610101"/>
              <a:gd name="connsiteY7436" fmla="*/ 1682035 h 6557032"/>
              <a:gd name="connsiteX7437" fmla="*/ 983974 w 4610101"/>
              <a:gd name="connsiteY7437" fmla="*/ 1682719 h 6557032"/>
              <a:gd name="connsiteX7438" fmla="*/ 983974 w 4610101"/>
              <a:gd name="connsiteY7438" fmla="*/ 1684541 h 6557032"/>
              <a:gd name="connsiteX7439" fmla="*/ 973375 w 4610101"/>
              <a:gd name="connsiteY7439" fmla="*/ 1685314 h 6557032"/>
              <a:gd name="connsiteX7440" fmla="*/ 1168014 w 4610101"/>
              <a:gd name="connsiteY7440" fmla="*/ 1680897 h 6557032"/>
              <a:gd name="connsiteX7441" fmla="*/ 1149792 w 4610101"/>
              <a:gd name="connsiteY7441" fmla="*/ 1686363 h 6557032"/>
              <a:gd name="connsiteX7442" fmla="*/ 1158903 w 4610101"/>
              <a:gd name="connsiteY7442" fmla="*/ 1695474 h 6557032"/>
              <a:gd name="connsiteX7443" fmla="*/ 1162547 w 4610101"/>
              <a:gd name="connsiteY7443" fmla="*/ 1693652 h 6557032"/>
              <a:gd name="connsiteX7444" fmla="*/ 1162547 w 4610101"/>
              <a:gd name="connsiteY7444" fmla="*/ 1697296 h 6557032"/>
              <a:gd name="connsiteX7445" fmla="*/ 1180769 w 4610101"/>
              <a:gd name="connsiteY7445" fmla="*/ 1699118 h 6557032"/>
              <a:gd name="connsiteX7446" fmla="*/ 1180769 w 4610101"/>
              <a:gd name="connsiteY7446" fmla="*/ 1695474 h 6557032"/>
              <a:gd name="connsiteX7447" fmla="*/ 904254 w 4610101"/>
              <a:gd name="connsiteY7447" fmla="*/ 1680213 h 6557032"/>
              <a:gd name="connsiteX7448" fmla="*/ 958464 w 4610101"/>
              <a:gd name="connsiteY7448" fmla="*/ 1686363 h 6557032"/>
              <a:gd name="connsiteX7449" fmla="*/ 974863 w 4610101"/>
              <a:gd name="connsiteY7449" fmla="*/ 1680897 h 6557032"/>
              <a:gd name="connsiteX7450" fmla="*/ 958315 w 4610101"/>
              <a:gd name="connsiteY7450" fmla="*/ 1686413 h 6557032"/>
              <a:gd name="connsiteX7451" fmla="*/ 930903 w 4610101"/>
              <a:gd name="connsiteY7451" fmla="*/ 1688413 h 6557032"/>
              <a:gd name="connsiteX7452" fmla="*/ 880099 w 4610101"/>
              <a:gd name="connsiteY7452" fmla="*/ 1683099 h 6557032"/>
              <a:gd name="connsiteX7453" fmla="*/ 1135215 w 4610101"/>
              <a:gd name="connsiteY7453" fmla="*/ 1679075 h 6557032"/>
              <a:gd name="connsiteX7454" fmla="*/ 1135215 w 4610101"/>
              <a:gd name="connsiteY7454" fmla="*/ 1682719 h 6557032"/>
              <a:gd name="connsiteX7455" fmla="*/ 1138859 w 4610101"/>
              <a:gd name="connsiteY7455" fmla="*/ 1684541 h 6557032"/>
              <a:gd name="connsiteX7456" fmla="*/ 1135215 w 4610101"/>
              <a:gd name="connsiteY7456" fmla="*/ 1679075 h 6557032"/>
              <a:gd name="connsiteX7457" fmla="*/ 492837 w 4610101"/>
              <a:gd name="connsiteY7457" fmla="*/ 1679075 h 6557032"/>
              <a:gd name="connsiteX7458" fmla="*/ 495479 w 4610101"/>
              <a:gd name="connsiteY7458" fmla="*/ 1679075 h 6557032"/>
              <a:gd name="connsiteX7459" fmla="*/ 491987 w 4610101"/>
              <a:gd name="connsiteY7459" fmla="*/ 1680897 h 6557032"/>
              <a:gd name="connsiteX7460" fmla="*/ 1073262 w 4610101"/>
              <a:gd name="connsiteY7460" fmla="*/ 1677936 h 6557032"/>
              <a:gd name="connsiteX7461" fmla="*/ 1069616 w 4610101"/>
              <a:gd name="connsiteY7461" fmla="*/ 1680897 h 6557032"/>
              <a:gd name="connsiteX7462" fmla="*/ 1076905 w 4610101"/>
              <a:gd name="connsiteY7462" fmla="*/ 1679075 h 6557032"/>
              <a:gd name="connsiteX7463" fmla="*/ 1073262 w 4610101"/>
              <a:gd name="connsiteY7463" fmla="*/ 1677936 h 6557032"/>
              <a:gd name="connsiteX7464" fmla="*/ 493583 w 4610101"/>
              <a:gd name="connsiteY7464" fmla="*/ 1677479 h 6557032"/>
              <a:gd name="connsiteX7465" fmla="*/ 492837 w 4610101"/>
              <a:gd name="connsiteY7465" fmla="*/ 1679075 h 6557032"/>
              <a:gd name="connsiteX7466" fmla="*/ 491987 w 4610101"/>
              <a:gd name="connsiteY7466" fmla="*/ 1679075 h 6557032"/>
              <a:gd name="connsiteX7467" fmla="*/ 493809 w 4610101"/>
              <a:gd name="connsiteY7467" fmla="*/ 1677252 h 6557032"/>
              <a:gd name="connsiteX7468" fmla="*/ 493583 w 4610101"/>
              <a:gd name="connsiteY7468" fmla="*/ 1677479 h 6557032"/>
              <a:gd name="connsiteX7469" fmla="*/ 493678 w 4610101"/>
              <a:gd name="connsiteY7469" fmla="*/ 1677274 h 6557032"/>
              <a:gd name="connsiteX7470" fmla="*/ 499456 w 4610101"/>
              <a:gd name="connsiteY7470" fmla="*/ 1676590 h 6557032"/>
              <a:gd name="connsiteX7471" fmla="*/ 497771 w 4610101"/>
              <a:gd name="connsiteY7471" fmla="*/ 1679289 h 6557032"/>
              <a:gd name="connsiteX7472" fmla="*/ 496761 w 4610101"/>
              <a:gd name="connsiteY7472" fmla="*/ 1680461 h 6557032"/>
              <a:gd name="connsiteX7473" fmla="*/ 497454 w 4610101"/>
              <a:gd name="connsiteY7473" fmla="*/ 1679075 h 6557032"/>
              <a:gd name="connsiteX7474" fmla="*/ 495479 w 4610101"/>
              <a:gd name="connsiteY7474" fmla="*/ 1679075 h 6557032"/>
              <a:gd name="connsiteX7475" fmla="*/ 497226 w 4610101"/>
              <a:gd name="connsiteY7475" fmla="*/ 1678163 h 6557032"/>
              <a:gd name="connsiteX7476" fmla="*/ 1011898 w 4610101"/>
              <a:gd name="connsiteY7476" fmla="*/ 1675370 h 6557032"/>
              <a:gd name="connsiteX7477" fmla="*/ 1013129 w 4610101"/>
              <a:gd name="connsiteY7477" fmla="*/ 1675430 h 6557032"/>
              <a:gd name="connsiteX7478" fmla="*/ 994907 w 4610101"/>
              <a:gd name="connsiteY7478" fmla="*/ 1682056 h 6557032"/>
              <a:gd name="connsiteX7479" fmla="*/ 997868 w 4610101"/>
              <a:gd name="connsiteY7479" fmla="*/ 1680441 h 6557032"/>
              <a:gd name="connsiteX7480" fmla="*/ 698517 w 4610101"/>
              <a:gd name="connsiteY7480" fmla="*/ 1674223 h 6557032"/>
              <a:gd name="connsiteX7481" fmla="*/ 706172 w 4610101"/>
              <a:gd name="connsiteY7481" fmla="*/ 1675325 h 6557032"/>
              <a:gd name="connsiteX7482" fmla="*/ 710648 w 4610101"/>
              <a:gd name="connsiteY7482" fmla="*/ 1679075 h 6557032"/>
              <a:gd name="connsiteX7483" fmla="*/ 3799233 w 4610101"/>
              <a:gd name="connsiteY7483" fmla="*/ 1673717 h 6557032"/>
              <a:gd name="connsiteX7484" fmla="*/ 3839321 w 4610101"/>
              <a:gd name="connsiteY7484" fmla="*/ 1693763 h 6557032"/>
              <a:gd name="connsiteX7485" fmla="*/ 3830210 w 4610101"/>
              <a:gd name="connsiteY7485" fmla="*/ 1704686 h 6557032"/>
              <a:gd name="connsiteX7486" fmla="*/ 3186982 w 4610101"/>
              <a:gd name="connsiteY7486" fmla="*/ 1673608 h 6557032"/>
              <a:gd name="connsiteX7487" fmla="*/ 3181516 w 4610101"/>
              <a:gd name="connsiteY7487" fmla="*/ 1686363 h 6557032"/>
              <a:gd name="connsiteX7488" fmla="*/ 3192449 w 4610101"/>
              <a:gd name="connsiteY7488" fmla="*/ 1691830 h 6557032"/>
              <a:gd name="connsiteX7489" fmla="*/ 3186982 w 4610101"/>
              <a:gd name="connsiteY7489" fmla="*/ 1673608 h 6557032"/>
              <a:gd name="connsiteX7490" fmla="*/ 553941 w 4610101"/>
              <a:gd name="connsiteY7490" fmla="*/ 1673608 h 6557032"/>
              <a:gd name="connsiteX7491" fmla="*/ 546653 w 4610101"/>
              <a:gd name="connsiteY7491" fmla="*/ 1697296 h 6557032"/>
              <a:gd name="connsiteX7492" fmla="*/ 544830 w 4610101"/>
              <a:gd name="connsiteY7492" fmla="*/ 1693652 h 6557032"/>
              <a:gd name="connsiteX7493" fmla="*/ 539364 w 4610101"/>
              <a:gd name="connsiteY7493" fmla="*/ 1711874 h 6557032"/>
              <a:gd name="connsiteX7494" fmla="*/ 539364 w 4610101"/>
              <a:gd name="connsiteY7494" fmla="*/ 1708229 h 6557032"/>
              <a:gd name="connsiteX7495" fmla="*/ 530253 w 4610101"/>
              <a:gd name="connsiteY7495" fmla="*/ 1715518 h 6557032"/>
              <a:gd name="connsiteX7496" fmla="*/ 532075 w 4610101"/>
              <a:gd name="connsiteY7496" fmla="*/ 1715518 h 6557032"/>
              <a:gd name="connsiteX7497" fmla="*/ 524786 w 4610101"/>
              <a:gd name="connsiteY7497" fmla="*/ 1711874 h 6557032"/>
              <a:gd name="connsiteX7498" fmla="*/ 532075 w 4610101"/>
              <a:gd name="connsiteY7498" fmla="*/ 1713696 h 6557032"/>
              <a:gd name="connsiteX7499" fmla="*/ 543919 w 4610101"/>
              <a:gd name="connsiteY7499" fmla="*/ 1695018 h 6557032"/>
              <a:gd name="connsiteX7500" fmla="*/ 544210 w 4610101"/>
              <a:gd name="connsiteY7500" fmla="*/ 1688206 h 6557032"/>
              <a:gd name="connsiteX7501" fmla="*/ 544830 w 4610101"/>
              <a:gd name="connsiteY7501" fmla="*/ 1673608 h 6557032"/>
              <a:gd name="connsiteX7502" fmla="*/ 544210 w 4610101"/>
              <a:gd name="connsiteY7502" fmla="*/ 1688206 h 6557032"/>
              <a:gd name="connsiteX7503" fmla="*/ 543008 w 4610101"/>
              <a:gd name="connsiteY7503" fmla="*/ 1690008 h 6557032"/>
              <a:gd name="connsiteX7504" fmla="*/ 542639 w 4610101"/>
              <a:gd name="connsiteY7504" fmla="*/ 1676708 h 6557032"/>
              <a:gd name="connsiteX7505" fmla="*/ 1100367 w 4610101"/>
              <a:gd name="connsiteY7505" fmla="*/ 1672697 h 6557032"/>
              <a:gd name="connsiteX7506" fmla="*/ 1100894 w 4610101"/>
              <a:gd name="connsiteY7506" fmla="*/ 1672950 h 6557032"/>
              <a:gd name="connsiteX7507" fmla="*/ 1098816 w 4610101"/>
              <a:gd name="connsiteY7507" fmla="*/ 1673297 h 6557032"/>
              <a:gd name="connsiteX7508" fmla="*/ 1042739 w 4610101"/>
              <a:gd name="connsiteY7508" fmla="*/ 1672241 h 6557032"/>
              <a:gd name="connsiteX7509" fmla="*/ 1044106 w 4610101"/>
              <a:gd name="connsiteY7509" fmla="*/ 1673608 h 6557032"/>
              <a:gd name="connsiteX7510" fmla="*/ 1038639 w 4610101"/>
              <a:gd name="connsiteY7510" fmla="*/ 1673608 h 6557032"/>
              <a:gd name="connsiteX7511" fmla="*/ 1042739 w 4610101"/>
              <a:gd name="connsiteY7511" fmla="*/ 1672241 h 6557032"/>
              <a:gd name="connsiteX7512" fmla="*/ 1082373 w 4610101"/>
              <a:gd name="connsiteY7512" fmla="*/ 1671786 h 6557032"/>
              <a:gd name="connsiteX7513" fmla="*/ 1079410 w 4610101"/>
              <a:gd name="connsiteY7513" fmla="*/ 1678391 h 6557032"/>
              <a:gd name="connsiteX7514" fmla="*/ 1075570 w 4610101"/>
              <a:gd name="connsiteY7514" fmla="*/ 1685465 h 6557032"/>
              <a:gd name="connsiteX7515" fmla="*/ 1074273 w 4610101"/>
              <a:gd name="connsiteY7515" fmla="*/ 1684946 h 6557032"/>
              <a:gd name="connsiteX7516" fmla="*/ 1075083 w 4610101"/>
              <a:gd name="connsiteY7516" fmla="*/ 1684541 h 6557032"/>
              <a:gd name="connsiteX7517" fmla="*/ 1073885 w 4610101"/>
              <a:gd name="connsiteY7517" fmla="*/ 1684791 h 6557032"/>
              <a:gd name="connsiteX7518" fmla="*/ 1073262 w 4610101"/>
              <a:gd name="connsiteY7518" fmla="*/ 1684541 h 6557032"/>
              <a:gd name="connsiteX7519" fmla="*/ 1073528 w 4610101"/>
              <a:gd name="connsiteY7519" fmla="*/ 1684865 h 6557032"/>
              <a:gd name="connsiteX7520" fmla="*/ 1064150 w 4610101"/>
              <a:gd name="connsiteY7520" fmla="*/ 1686819 h 6557032"/>
              <a:gd name="connsiteX7521" fmla="*/ 1058683 w 4610101"/>
              <a:gd name="connsiteY7521" fmla="*/ 1691830 h 6557032"/>
              <a:gd name="connsiteX7522" fmla="*/ 1065972 w 4610101"/>
              <a:gd name="connsiteY7522" fmla="*/ 1691830 h 6557032"/>
              <a:gd name="connsiteX7523" fmla="*/ 1069616 w 4610101"/>
              <a:gd name="connsiteY7523" fmla="*/ 1688185 h 6557032"/>
              <a:gd name="connsiteX7524" fmla="*/ 1064151 w 4610101"/>
              <a:gd name="connsiteY7524" fmla="*/ 1688185 h 6557032"/>
              <a:gd name="connsiteX7525" fmla="*/ 1071439 w 4610101"/>
              <a:gd name="connsiteY7525" fmla="*/ 1686363 h 6557032"/>
              <a:gd name="connsiteX7526" fmla="*/ 1073792 w 4610101"/>
              <a:gd name="connsiteY7526" fmla="*/ 1685186 h 6557032"/>
              <a:gd name="connsiteX7527" fmla="*/ 1076449 w 4610101"/>
              <a:gd name="connsiteY7527" fmla="*/ 1688413 h 6557032"/>
              <a:gd name="connsiteX7528" fmla="*/ 1081749 w 4610101"/>
              <a:gd name="connsiteY7528" fmla="*/ 1688209 h 6557032"/>
              <a:gd name="connsiteX7529" fmla="*/ 1089888 w 4610101"/>
              <a:gd name="connsiteY7529" fmla="*/ 1690463 h 6557032"/>
              <a:gd name="connsiteX7530" fmla="*/ 1092271 w 4610101"/>
              <a:gd name="connsiteY7530" fmla="*/ 1690664 h 6557032"/>
              <a:gd name="connsiteX7531" fmla="*/ 1094216 w 4610101"/>
              <a:gd name="connsiteY7531" fmla="*/ 1692285 h 6557032"/>
              <a:gd name="connsiteX7532" fmla="*/ 1096949 w 4610101"/>
              <a:gd name="connsiteY7532" fmla="*/ 1691830 h 6557032"/>
              <a:gd name="connsiteX7533" fmla="*/ 1093853 w 4610101"/>
              <a:gd name="connsiteY7533" fmla="*/ 1690798 h 6557032"/>
              <a:gd name="connsiteX7534" fmla="*/ 1102268 w 4610101"/>
              <a:gd name="connsiteY7534" fmla="*/ 1691509 h 6557032"/>
              <a:gd name="connsiteX7535" fmla="*/ 1095127 w 4610101"/>
              <a:gd name="connsiteY7535" fmla="*/ 1693652 h 6557032"/>
              <a:gd name="connsiteX7536" fmla="*/ 1104238 w 4610101"/>
              <a:gd name="connsiteY7536" fmla="*/ 1697296 h 6557032"/>
              <a:gd name="connsiteX7537" fmla="*/ 1113349 w 4610101"/>
              <a:gd name="connsiteY7537" fmla="*/ 1693652 h 6557032"/>
              <a:gd name="connsiteX7538" fmla="*/ 1105521 w 4610101"/>
              <a:gd name="connsiteY7538" fmla="*/ 1691303 h 6557032"/>
              <a:gd name="connsiteX7539" fmla="*/ 1096494 w 4610101"/>
              <a:gd name="connsiteY7539" fmla="*/ 1682491 h 6557032"/>
              <a:gd name="connsiteX7540" fmla="*/ 1084194 w 4610101"/>
              <a:gd name="connsiteY7540" fmla="*/ 1677252 h 6557032"/>
              <a:gd name="connsiteX7541" fmla="*/ 1084194 w 4610101"/>
              <a:gd name="connsiteY7541" fmla="*/ 1671786 h 6557032"/>
              <a:gd name="connsiteX7542" fmla="*/ 1082373 w 4610101"/>
              <a:gd name="connsiteY7542" fmla="*/ 1671786 h 6557032"/>
              <a:gd name="connsiteX7543" fmla="*/ 403612 w 4610101"/>
              <a:gd name="connsiteY7543" fmla="*/ 1670419 h 6557032"/>
              <a:gd name="connsiteX7544" fmla="*/ 399056 w 4610101"/>
              <a:gd name="connsiteY7544" fmla="*/ 1671786 h 6557032"/>
              <a:gd name="connsiteX7545" fmla="*/ 408167 w 4610101"/>
              <a:gd name="connsiteY7545" fmla="*/ 1671786 h 6557032"/>
              <a:gd name="connsiteX7546" fmla="*/ 403612 w 4610101"/>
              <a:gd name="connsiteY7546" fmla="*/ 1670419 h 6557032"/>
              <a:gd name="connsiteX7547" fmla="*/ 3217960 w 4610101"/>
              <a:gd name="connsiteY7547" fmla="*/ 1669964 h 6557032"/>
              <a:gd name="connsiteX7548" fmla="*/ 3222287 w 4610101"/>
              <a:gd name="connsiteY7548" fmla="*/ 1673608 h 6557032"/>
              <a:gd name="connsiteX7549" fmla="*/ 3221225 w 4610101"/>
              <a:gd name="connsiteY7549" fmla="*/ 1675153 h 6557032"/>
              <a:gd name="connsiteX7550" fmla="*/ 3219782 w 4610101"/>
              <a:gd name="connsiteY7550" fmla="*/ 1671786 h 6557032"/>
              <a:gd name="connsiteX7551" fmla="*/ 3218416 w 4610101"/>
              <a:gd name="connsiteY7551" fmla="*/ 1671786 h 6557032"/>
              <a:gd name="connsiteX7552" fmla="*/ 3201560 w 4610101"/>
              <a:gd name="connsiteY7552" fmla="*/ 1669964 h 6557032"/>
              <a:gd name="connsiteX7553" fmla="*/ 3205204 w 4610101"/>
              <a:gd name="connsiteY7553" fmla="*/ 1679075 h 6557032"/>
              <a:gd name="connsiteX7554" fmla="*/ 3207027 w 4610101"/>
              <a:gd name="connsiteY7554" fmla="*/ 1669964 h 6557032"/>
              <a:gd name="connsiteX7555" fmla="*/ 3201560 w 4610101"/>
              <a:gd name="connsiteY7555" fmla="*/ 1669964 h 6557032"/>
              <a:gd name="connsiteX7556" fmla="*/ 440966 w 4610101"/>
              <a:gd name="connsiteY7556" fmla="*/ 1669964 h 6557032"/>
              <a:gd name="connsiteX7557" fmla="*/ 393590 w 4610101"/>
              <a:gd name="connsiteY7557" fmla="*/ 1690008 h 6557032"/>
              <a:gd name="connsiteX7558" fmla="*/ 440966 w 4610101"/>
              <a:gd name="connsiteY7558" fmla="*/ 1669964 h 6557032"/>
              <a:gd name="connsiteX7559" fmla="*/ 433678 w 4610101"/>
              <a:gd name="connsiteY7559" fmla="*/ 1669964 h 6557032"/>
              <a:gd name="connsiteX7560" fmla="*/ 406345 w 4610101"/>
              <a:gd name="connsiteY7560" fmla="*/ 1679075 h 6557032"/>
              <a:gd name="connsiteX7561" fmla="*/ 433678 w 4610101"/>
              <a:gd name="connsiteY7561" fmla="*/ 1669964 h 6557032"/>
              <a:gd name="connsiteX7562" fmla="*/ 1059512 w 4610101"/>
              <a:gd name="connsiteY7562" fmla="*/ 1669301 h 6557032"/>
              <a:gd name="connsiteX7563" fmla="*/ 1060506 w 4610101"/>
              <a:gd name="connsiteY7563" fmla="*/ 1669964 h 6557032"/>
              <a:gd name="connsiteX7564" fmla="*/ 1055278 w 4610101"/>
              <a:gd name="connsiteY7564" fmla="*/ 1672001 h 6557032"/>
              <a:gd name="connsiteX7565" fmla="*/ 1055040 w 4610101"/>
              <a:gd name="connsiteY7565" fmla="*/ 1671786 h 6557032"/>
              <a:gd name="connsiteX7566" fmla="*/ 1052078 w 4610101"/>
              <a:gd name="connsiteY7566" fmla="*/ 1668597 h 6557032"/>
              <a:gd name="connsiteX7567" fmla="*/ 1055040 w 4610101"/>
              <a:gd name="connsiteY7567" fmla="*/ 1669964 h 6557032"/>
              <a:gd name="connsiteX7568" fmla="*/ 1047750 w 4610101"/>
              <a:gd name="connsiteY7568" fmla="*/ 1669964 h 6557032"/>
              <a:gd name="connsiteX7569" fmla="*/ 1052078 w 4610101"/>
              <a:gd name="connsiteY7569" fmla="*/ 1668597 h 6557032"/>
              <a:gd name="connsiteX7570" fmla="*/ 1062067 w 4610101"/>
              <a:gd name="connsiteY7570" fmla="*/ 1667881 h 6557032"/>
              <a:gd name="connsiteX7571" fmla="*/ 1062328 w 4610101"/>
              <a:gd name="connsiteY7571" fmla="*/ 1668142 h 6557032"/>
              <a:gd name="connsiteX7572" fmla="*/ 1061825 w 4610101"/>
              <a:gd name="connsiteY7572" fmla="*/ 1668016 h 6557032"/>
              <a:gd name="connsiteX7573" fmla="*/ 1055040 w 4610101"/>
              <a:gd name="connsiteY7573" fmla="*/ 1666319 h 6557032"/>
              <a:gd name="connsiteX7574" fmla="*/ 1061825 w 4610101"/>
              <a:gd name="connsiteY7574" fmla="*/ 1668016 h 6557032"/>
              <a:gd name="connsiteX7575" fmla="*/ 1059512 w 4610101"/>
              <a:gd name="connsiteY7575" fmla="*/ 1669301 h 6557032"/>
              <a:gd name="connsiteX7576" fmla="*/ 431856 w 4610101"/>
              <a:gd name="connsiteY7576" fmla="*/ 1666319 h 6557032"/>
              <a:gd name="connsiteX7577" fmla="*/ 421464 w 4610101"/>
              <a:gd name="connsiteY7577" fmla="*/ 1668480 h 6557032"/>
              <a:gd name="connsiteX7578" fmla="*/ 422289 w 4610101"/>
              <a:gd name="connsiteY7578" fmla="*/ 1667913 h 6557032"/>
              <a:gd name="connsiteX7579" fmla="*/ 423862 w 4610101"/>
              <a:gd name="connsiteY7579" fmla="*/ 1666623 h 6557032"/>
              <a:gd name="connsiteX7580" fmla="*/ 1095127 w 4610101"/>
              <a:gd name="connsiteY7580" fmla="*/ 1664497 h 6557032"/>
              <a:gd name="connsiteX7581" fmla="*/ 1086016 w 4610101"/>
              <a:gd name="connsiteY7581" fmla="*/ 1669964 h 6557032"/>
              <a:gd name="connsiteX7582" fmla="*/ 1096949 w 4610101"/>
              <a:gd name="connsiteY7582" fmla="*/ 1673608 h 6557032"/>
              <a:gd name="connsiteX7583" fmla="*/ 1098816 w 4610101"/>
              <a:gd name="connsiteY7583" fmla="*/ 1673297 h 6557032"/>
              <a:gd name="connsiteX7584" fmla="*/ 1093305 w 4610101"/>
              <a:gd name="connsiteY7584" fmla="*/ 1675430 h 6557032"/>
              <a:gd name="connsiteX7585" fmla="*/ 1109704 w 4610101"/>
              <a:gd name="connsiteY7585" fmla="*/ 1688185 h 6557032"/>
              <a:gd name="connsiteX7586" fmla="*/ 1124282 w 4610101"/>
              <a:gd name="connsiteY7586" fmla="*/ 1684541 h 6557032"/>
              <a:gd name="connsiteX7587" fmla="*/ 1106060 w 4610101"/>
              <a:gd name="connsiteY7587" fmla="*/ 1675430 h 6557032"/>
              <a:gd name="connsiteX7588" fmla="*/ 1100894 w 4610101"/>
              <a:gd name="connsiteY7588" fmla="*/ 1672950 h 6557032"/>
              <a:gd name="connsiteX7589" fmla="*/ 1107882 w 4610101"/>
              <a:gd name="connsiteY7589" fmla="*/ 1671786 h 6557032"/>
              <a:gd name="connsiteX7590" fmla="*/ 1098771 w 4610101"/>
              <a:gd name="connsiteY7590" fmla="*/ 1669964 h 6557032"/>
              <a:gd name="connsiteX7591" fmla="*/ 1095127 w 4610101"/>
              <a:gd name="connsiteY7591" fmla="*/ 1664497 h 6557032"/>
              <a:gd name="connsiteX7592" fmla="*/ 688782 w 4610101"/>
              <a:gd name="connsiteY7592" fmla="*/ 1664497 h 6557032"/>
              <a:gd name="connsiteX7593" fmla="*/ 694249 w 4610101"/>
              <a:gd name="connsiteY7593" fmla="*/ 1668142 h 6557032"/>
              <a:gd name="connsiteX7594" fmla="*/ 688782 w 4610101"/>
              <a:gd name="connsiteY7594" fmla="*/ 1664497 h 6557032"/>
              <a:gd name="connsiteX7595" fmla="*/ 794200 w 4610101"/>
              <a:gd name="connsiteY7595" fmla="*/ 1664470 h 6557032"/>
              <a:gd name="connsiteX7596" fmla="*/ 794468 w 4610101"/>
              <a:gd name="connsiteY7596" fmla="*/ 1664497 h 6557032"/>
              <a:gd name="connsiteX7597" fmla="*/ 723488 w 4610101"/>
              <a:gd name="connsiteY7597" fmla="*/ 1679103 h 6557032"/>
              <a:gd name="connsiteX7598" fmla="*/ 719344 w 4610101"/>
              <a:gd name="connsiteY7598" fmla="*/ 1677222 h 6557032"/>
              <a:gd name="connsiteX7599" fmla="*/ 722720 w 4610101"/>
              <a:gd name="connsiteY7599" fmla="*/ 1677708 h 6557032"/>
              <a:gd name="connsiteX7600" fmla="*/ 752558 w 4610101"/>
              <a:gd name="connsiteY7600" fmla="*/ 1673608 h 6557032"/>
              <a:gd name="connsiteX7601" fmla="*/ 602679 w 4610101"/>
              <a:gd name="connsiteY7601" fmla="*/ 1663598 h 6557032"/>
              <a:gd name="connsiteX7602" fmla="*/ 597773 w 4610101"/>
              <a:gd name="connsiteY7602" fmla="*/ 1667644 h 6557032"/>
              <a:gd name="connsiteX7603" fmla="*/ 619539 w 4610101"/>
              <a:gd name="connsiteY7603" fmla="*/ 1664535 h 6557032"/>
              <a:gd name="connsiteX7604" fmla="*/ 610428 w 4610101"/>
              <a:gd name="connsiteY7604" fmla="*/ 1670002 h 6557032"/>
              <a:gd name="connsiteX7605" fmla="*/ 614072 w 4610101"/>
              <a:gd name="connsiteY7605" fmla="*/ 1668179 h 6557032"/>
              <a:gd name="connsiteX7606" fmla="*/ 597673 w 4610101"/>
              <a:gd name="connsiteY7606" fmla="*/ 1670002 h 6557032"/>
              <a:gd name="connsiteX7607" fmla="*/ 597672 w 4610101"/>
              <a:gd name="connsiteY7607" fmla="*/ 1670001 h 6557032"/>
              <a:gd name="connsiteX7608" fmla="*/ 596283 w 4610101"/>
              <a:gd name="connsiteY7608" fmla="*/ 1669307 h 6557032"/>
              <a:gd name="connsiteX7609" fmla="*/ 584919 w 4610101"/>
              <a:gd name="connsiteY7609" fmla="*/ 1690008 h 6557032"/>
              <a:gd name="connsiteX7610" fmla="*/ 573985 w 4610101"/>
              <a:gd name="connsiteY7610" fmla="*/ 1691830 h 6557032"/>
              <a:gd name="connsiteX7611" fmla="*/ 586741 w 4610101"/>
              <a:gd name="connsiteY7611" fmla="*/ 1680897 h 6557032"/>
              <a:gd name="connsiteX7612" fmla="*/ 583096 w 4610101"/>
              <a:gd name="connsiteY7612" fmla="*/ 1677252 h 6557032"/>
              <a:gd name="connsiteX7613" fmla="*/ 595730 w 4610101"/>
              <a:gd name="connsiteY7613" fmla="*/ 1669030 h 6557032"/>
              <a:gd name="connsiteX7614" fmla="*/ 594753 w 4610101"/>
              <a:gd name="connsiteY7614" fmla="*/ 1668542 h 6557032"/>
              <a:gd name="connsiteX7615" fmla="*/ 594028 w 4610101"/>
              <a:gd name="connsiteY7615" fmla="*/ 1668179 h 6557032"/>
              <a:gd name="connsiteX7616" fmla="*/ 597147 w 4610101"/>
              <a:gd name="connsiteY7616" fmla="*/ 1667733 h 6557032"/>
              <a:gd name="connsiteX7617" fmla="*/ 597673 w 4610101"/>
              <a:gd name="connsiteY7617" fmla="*/ 1666775 h 6557032"/>
              <a:gd name="connsiteX7618" fmla="*/ 552639 w 4610101"/>
              <a:gd name="connsiteY7618" fmla="*/ 1663456 h 6557032"/>
              <a:gd name="connsiteX7619" fmla="*/ 553240 w 4610101"/>
              <a:gd name="connsiteY7619" fmla="*/ 1664357 h 6557032"/>
              <a:gd name="connsiteX7620" fmla="*/ 552802 w 4610101"/>
              <a:gd name="connsiteY7620" fmla="*/ 1666547 h 6557032"/>
              <a:gd name="connsiteX7621" fmla="*/ 550297 w 4610101"/>
              <a:gd name="connsiteY7621" fmla="*/ 1668142 h 6557032"/>
              <a:gd name="connsiteX7622" fmla="*/ 3208849 w 4610101"/>
              <a:gd name="connsiteY7622" fmla="*/ 1662675 h 6557032"/>
              <a:gd name="connsiteX7623" fmla="*/ 3203382 w 4610101"/>
              <a:gd name="connsiteY7623" fmla="*/ 1666319 h 6557032"/>
              <a:gd name="connsiteX7624" fmla="*/ 3210671 w 4610101"/>
              <a:gd name="connsiteY7624" fmla="*/ 1668142 h 6557032"/>
              <a:gd name="connsiteX7625" fmla="*/ 3208849 w 4610101"/>
              <a:gd name="connsiteY7625" fmla="*/ 1662675 h 6557032"/>
              <a:gd name="connsiteX7626" fmla="*/ 1104238 w 4610101"/>
              <a:gd name="connsiteY7626" fmla="*/ 1662675 h 6557032"/>
              <a:gd name="connsiteX7627" fmla="*/ 1126104 w 4610101"/>
              <a:gd name="connsiteY7627" fmla="*/ 1675430 h 6557032"/>
              <a:gd name="connsiteX7628" fmla="*/ 1126104 w 4610101"/>
              <a:gd name="connsiteY7628" fmla="*/ 1679075 h 6557032"/>
              <a:gd name="connsiteX7629" fmla="*/ 1131570 w 4610101"/>
              <a:gd name="connsiteY7629" fmla="*/ 1680897 h 6557032"/>
              <a:gd name="connsiteX7630" fmla="*/ 1127926 w 4610101"/>
              <a:gd name="connsiteY7630" fmla="*/ 1677252 h 6557032"/>
              <a:gd name="connsiteX7631" fmla="*/ 1126104 w 4610101"/>
              <a:gd name="connsiteY7631" fmla="*/ 1675430 h 6557032"/>
              <a:gd name="connsiteX7632" fmla="*/ 1104238 w 4610101"/>
              <a:gd name="connsiteY7632" fmla="*/ 1662675 h 6557032"/>
              <a:gd name="connsiteX7633" fmla="*/ 1056861 w 4610101"/>
              <a:gd name="connsiteY7633" fmla="*/ 1662675 h 6557032"/>
              <a:gd name="connsiteX7634" fmla="*/ 1057497 w 4610101"/>
              <a:gd name="connsiteY7634" fmla="*/ 1663311 h 6557032"/>
              <a:gd name="connsiteX7635" fmla="*/ 1050256 w 4610101"/>
              <a:gd name="connsiteY7635" fmla="*/ 1666320 h 6557032"/>
              <a:gd name="connsiteX7636" fmla="*/ 1043278 w 4610101"/>
              <a:gd name="connsiteY7636" fmla="*/ 1666992 h 6557032"/>
              <a:gd name="connsiteX7637" fmla="*/ 1147970 w 4610101"/>
              <a:gd name="connsiteY7637" fmla="*/ 1660853 h 6557032"/>
              <a:gd name="connsiteX7638" fmla="*/ 1153436 w 4610101"/>
              <a:gd name="connsiteY7638" fmla="*/ 1664497 h 6557032"/>
              <a:gd name="connsiteX7639" fmla="*/ 1149792 w 4610101"/>
              <a:gd name="connsiteY7639" fmla="*/ 1660853 h 6557032"/>
              <a:gd name="connsiteX7640" fmla="*/ 1147970 w 4610101"/>
              <a:gd name="connsiteY7640" fmla="*/ 1660853 h 6557032"/>
              <a:gd name="connsiteX7641" fmla="*/ 1135215 w 4610101"/>
              <a:gd name="connsiteY7641" fmla="*/ 1659031 h 6557032"/>
              <a:gd name="connsiteX7642" fmla="*/ 1135215 w 4610101"/>
              <a:gd name="connsiteY7642" fmla="*/ 1675430 h 6557032"/>
              <a:gd name="connsiteX7643" fmla="*/ 1151614 w 4610101"/>
              <a:gd name="connsiteY7643" fmla="*/ 1680897 h 6557032"/>
              <a:gd name="connsiteX7644" fmla="*/ 1162547 w 4610101"/>
              <a:gd name="connsiteY7644" fmla="*/ 1677252 h 6557032"/>
              <a:gd name="connsiteX7645" fmla="*/ 1153436 w 4610101"/>
              <a:gd name="connsiteY7645" fmla="*/ 1666319 h 6557032"/>
              <a:gd name="connsiteX7646" fmla="*/ 1146148 w 4610101"/>
              <a:gd name="connsiteY7646" fmla="*/ 1666319 h 6557032"/>
              <a:gd name="connsiteX7647" fmla="*/ 1135215 w 4610101"/>
              <a:gd name="connsiteY7647" fmla="*/ 1659031 h 6557032"/>
              <a:gd name="connsiteX7648" fmla="*/ 1129748 w 4610101"/>
              <a:gd name="connsiteY7648" fmla="*/ 1659031 h 6557032"/>
              <a:gd name="connsiteX7649" fmla="*/ 1129748 w 4610101"/>
              <a:gd name="connsiteY7649" fmla="*/ 1666319 h 6557032"/>
              <a:gd name="connsiteX7650" fmla="*/ 1133393 w 4610101"/>
              <a:gd name="connsiteY7650" fmla="*/ 1673608 h 6557032"/>
              <a:gd name="connsiteX7651" fmla="*/ 1131570 w 4610101"/>
              <a:gd name="connsiteY7651" fmla="*/ 1659031 h 6557032"/>
              <a:gd name="connsiteX7652" fmla="*/ 1129748 w 4610101"/>
              <a:gd name="connsiteY7652" fmla="*/ 1659031 h 6557032"/>
              <a:gd name="connsiteX7653" fmla="*/ 1084194 w 4610101"/>
              <a:gd name="connsiteY7653" fmla="*/ 1659031 h 6557032"/>
              <a:gd name="connsiteX7654" fmla="*/ 1084194 w 4610101"/>
              <a:gd name="connsiteY7654" fmla="*/ 1668142 h 6557032"/>
              <a:gd name="connsiteX7655" fmla="*/ 1095127 w 4610101"/>
              <a:gd name="connsiteY7655" fmla="*/ 1662675 h 6557032"/>
              <a:gd name="connsiteX7656" fmla="*/ 1084194 w 4610101"/>
              <a:gd name="connsiteY7656" fmla="*/ 1659031 h 6557032"/>
              <a:gd name="connsiteX7657" fmla="*/ 787179 w 4610101"/>
              <a:gd name="connsiteY7657" fmla="*/ 1659031 h 6557032"/>
              <a:gd name="connsiteX7658" fmla="*/ 807223 w 4610101"/>
              <a:gd name="connsiteY7658" fmla="*/ 1659031 h 6557032"/>
              <a:gd name="connsiteX7659" fmla="*/ 787179 w 4610101"/>
              <a:gd name="connsiteY7659" fmla="*/ 1659031 h 6557032"/>
              <a:gd name="connsiteX7660" fmla="*/ 643228 w 4610101"/>
              <a:gd name="connsiteY7660" fmla="*/ 1659031 h 6557032"/>
              <a:gd name="connsiteX7661" fmla="*/ 639583 w 4610101"/>
              <a:gd name="connsiteY7661" fmla="*/ 1662675 h 6557032"/>
              <a:gd name="connsiteX7662" fmla="*/ 643228 w 4610101"/>
              <a:gd name="connsiteY7662" fmla="*/ 1659031 h 6557032"/>
              <a:gd name="connsiteX7663" fmla="*/ 494957 w 4610101"/>
              <a:gd name="connsiteY7663" fmla="*/ 1658422 h 6557032"/>
              <a:gd name="connsiteX7664" fmla="*/ 492899 w 4610101"/>
              <a:gd name="connsiteY7664" fmla="*/ 1667686 h 6557032"/>
              <a:gd name="connsiteX7665" fmla="*/ 490036 w 4610101"/>
              <a:gd name="connsiteY7665" fmla="*/ 1671075 h 6557032"/>
              <a:gd name="connsiteX7666" fmla="*/ 832270 w 4610101"/>
              <a:gd name="connsiteY7666" fmla="*/ 1656898 h 6557032"/>
              <a:gd name="connsiteX7667" fmla="*/ 832734 w 4610101"/>
              <a:gd name="connsiteY7667" fmla="*/ 1657208 h 6557032"/>
              <a:gd name="connsiteX7668" fmla="*/ 829416 w 4610101"/>
              <a:gd name="connsiteY7668" fmla="*/ 1657208 h 6557032"/>
              <a:gd name="connsiteX7669" fmla="*/ 768959 w 4610101"/>
              <a:gd name="connsiteY7669" fmla="*/ 1655386 h 6557032"/>
              <a:gd name="connsiteX7670" fmla="*/ 763491 w 4610101"/>
              <a:gd name="connsiteY7670" fmla="*/ 1659031 h 6557032"/>
              <a:gd name="connsiteX7671" fmla="*/ 774424 w 4610101"/>
              <a:gd name="connsiteY7671" fmla="*/ 1659031 h 6557032"/>
              <a:gd name="connsiteX7672" fmla="*/ 768959 w 4610101"/>
              <a:gd name="connsiteY7672" fmla="*/ 1655386 h 6557032"/>
              <a:gd name="connsiteX7673" fmla="*/ 559408 w 4610101"/>
              <a:gd name="connsiteY7673" fmla="*/ 1655386 h 6557032"/>
              <a:gd name="connsiteX7674" fmla="*/ 553941 w 4610101"/>
              <a:gd name="connsiteY7674" fmla="*/ 1679075 h 6557032"/>
              <a:gd name="connsiteX7675" fmla="*/ 554624 w 4610101"/>
              <a:gd name="connsiteY7675" fmla="*/ 1666547 h 6557032"/>
              <a:gd name="connsiteX7676" fmla="*/ 554654 w 4610101"/>
              <a:gd name="connsiteY7676" fmla="*/ 1666478 h 6557032"/>
              <a:gd name="connsiteX7677" fmla="*/ 555763 w 4610101"/>
              <a:gd name="connsiteY7677" fmla="*/ 1668142 h 6557032"/>
              <a:gd name="connsiteX7678" fmla="*/ 556004 w 4610101"/>
              <a:gd name="connsiteY7678" fmla="*/ 1663329 h 6557032"/>
              <a:gd name="connsiteX7679" fmla="*/ 419100 w 4610101"/>
              <a:gd name="connsiteY7679" fmla="*/ 1655386 h 6557032"/>
              <a:gd name="connsiteX7680" fmla="*/ 428439 w 4610101"/>
              <a:gd name="connsiteY7680" fmla="*/ 1661763 h 6557032"/>
              <a:gd name="connsiteX7681" fmla="*/ 431228 w 4610101"/>
              <a:gd name="connsiteY7681" fmla="*/ 1660577 h 6557032"/>
              <a:gd name="connsiteX7682" fmla="*/ 423862 w 4610101"/>
              <a:gd name="connsiteY7682" fmla="*/ 1666623 h 6557032"/>
              <a:gd name="connsiteX7683" fmla="*/ 413861 w 4610101"/>
              <a:gd name="connsiteY7683" fmla="*/ 1667002 h 6557032"/>
              <a:gd name="connsiteX7684" fmla="*/ 397234 w 4610101"/>
              <a:gd name="connsiteY7684" fmla="*/ 1660853 h 6557032"/>
              <a:gd name="connsiteX7685" fmla="*/ 422745 w 4610101"/>
              <a:gd name="connsiteY7685" fmla="*/ 1662675 h 6557032"/>
              <a:gd name="connsiteX7686" fmla="*/ 419100 w 4610101"/>
              <a:gd name="connsiteY7686" fmla="*/ 1655386 h 6557032"/>
              <a:gd name="connsiteX7687" fmla="*/ 1177125 w 4610101"/>
              <a:gd name="connsiteY7687" fmla="*/ 1653564 h 6557032"/>
              <a:gd name="connsiteX7688" fmla="*/ 1180769 w 4610101"/>
              <a:gd name="connsiteY7688" fmla="*/ 1657208 h 6557032"/>
              <a:gd name="connsiteX7689" fmla="*/ 1180769 w 4610101"/>
              <a:gd name="connsiteY7689" fmla="*/ 1655386 h 6557032"/>
              <a:gd name="connsiteX7690" fmla="*/ 1177125 w 4610101"/>
              <a:gd name="connsiteY7690" fmla="*/ 1653564 h 6557032"/>
              <a:gd name="connsiteX7691" fmla="*/ 875578 w 4610101"/>
              <a:gd name="connsiteY7691" fmla="*/ 1652194 h 6557032"/>
              <a:gd name="connsiteX7692" fmla="*/ 856422 w 4610101"/>
              <a:gd name="connsiteY7692" fmla="*/ 1655386 h 6557032"/>
              <a:gd name="connsiteX7693" fmla="*/ 850630 w 4610101"/>
              <a:gd name="connsiteY7693" fmla="*/ 1654904 h 6557032"/>
              <a:gd name="connsiteX7694" fmla="*/ 3188155 w 4610101"/>
              <a:gd name="connsiteY7694" fmla="*/ 1651742 h 6557032"/>
              <a:gd name="connsiteX7695" fmla="*/ 3188805 w 4610101"/>
              <a:gd name="connsiteY7695" fmla="*/ 1651742 h 6557032"/>
              <a:gd name="connsiteX7696" fmla="*/ 3189518 w 4610101"/>
              <a:gd name="connsiteY7696" fmla="*/ 1652329 h 6557032"/>
              <a:gd name="connsiteX7697" fmla="*/ 1162547 w 4610101"/>
              <a:gd name="connsiteY7697" fmla="*/ 1651742 h 6557032"/>
              <a:gd name="connsiteX7698" fmla="*/ 1168014 w 4610101"/>
              <a:gd name="connsiteY7698" fmla="*/ 1657208 h 6557032"/>
              <a:gd name="connsiteX7699" fmla="*/ 1168014 w 4610101"/>
              <a:gd name="connsiteY7699" fmla="*/ 1653564 h 6557032"/>
              <a:gd name="connsiteX7700" fmla="*/ 1162547 w 4610101"/>
              <a:gd name="connsiteY7700" fmla="*/ 1651742 h 6557032"/>
              <a:gd name="connsiteX7701" fmla="*/ 1118815 w 4610101"/>
              <a:gd name="connsiteY7701" fmla="*/ 1651742 h 6557032"/>
              <a:gd name="connsiteX7702" fmla="*/ 1129748 w 4610101"/>
              <a:gd name="connsiteY7702" fmla="*/ 1655386 h 6557032"/>
              <a:gd name="connsiteX7703" fmla="*/ 1118815 w 4610101"/>
              <a:gd name="connsiteY7703" fmla="*/ 1651742 h 6557032"/>
              <a:gd name="connsiteX7704" fmla="*/ 654161 w 4610101"/>
              <a:gd name="connsiteY7704" fmla="*/ 1651742 h 6557032"/>
              <a:gd name="connsiteX7705" fmla="*/ 650516 w 4610101"/>
              <a:gd name="connsiteY7705" fmla="*/ 1664497 h 6557032"/>
              <a:gd name="connsiteX7706" fmla="*/ 655983 w 4610101"/>
              <a:gd name="connsiteY7706" fmla="*/ 1660853 h 6557032"/>
              <a:gd name="connsiteX7707" fmla="*/ 652339 w 4610101"/>
              <a:gd name="connsiteY7707" fmla="*/ 1660853 h 6557032"/>
              <a:gd name="connsiteX7708" fmla="*/ 654161 w 4610101"/>
              <a:gd name="connsiteY7708" fmla="*/ 1651742 h 6557032"/>
              <a:gd name="connsiteX7709" fmla="*/ 443244 w 4610101"/>
              <a:gd name="connsiteY7709" fmla="*/ 1651514 h 6557032"/>
              <a:gd name="connsiteX7710" fmla="*/ 446433 w 4610101"/>
              <a:gd name="connsiteY7710" fmla="*/ 1655386 h 6557032"/>
              <a:gd name="connsiteX7711" fmla="*/ 451899 w 4610101"/>
              <a:gd name="connsiteY7711" fmla="*/ 1655386 h 6557032"/>
              <a:gd name="connsiteX7712" fmla="*/ 437322 w 4610101"/>
              <a:gd name="connsiteY7712" fmla="*/ 1660853 h 6557032"/>
              <a:gd name="connsiteX7713" fmla="*/ 439145 w 4610101"/>
              <a:gd name="connsiteY7713" fmla="*/ 1657208 h 6557032"/>
              <a:gd name="connsiteX7714" fmla="*/ 431228 w 4610101"/>
              <a:gd name="connsiteY7714" fmla="*/ 1660577 h 6557032"/>
              <a:gd name="connsiteX7715" fmla="*/ 442221 w 4610101"/>
              <a:gd name="connsiteY7715" fmla="*/ 1651554 h 6557032"/>
              <a:gd name="connsiteX7716" fmla="*/ 528666 w 4610101"/>
              <a:gd name="connsiteY7716" fmla="*/ 1651271 h 6557032"/>
              <a:gd name="connsiteX7717" fmla="*/ 528203 w 4610101"/>
              <a:gd name="connsiteY7717" fmla="*/ 1652197 h 6557032"/>
              <a:gd name="connsiteX7718" fmla="*/ 526539 w 4610101"/>
              <a:gd name="connsiteY7718" fmla="*/ 1652863 h 6557032"/>
              <a:gd name="connsiteX7719" fmla="*/ 527146 w 4610101"/>
              <a:gd name="connsiteY7719" fmla="*/ 1652170 h 6557032"/>
              <a:gd name="connsiteX7720" fmla="*/ 532075 w 4610101"/>
              <a:gd name="connsiteY7720" fmla="*/ 1650648 h 6557032"/>
              <a:gd name="connsiteX7721" fmla="*/ 532075 w 4610101"/>
              <a:gd name="connsiteY7721" fmla="*/ 1651969 h 6557032"/>
              <a:gd name="connsiteX7722" fmla="*/ 526609 w 4610101"/>
              <a:gd name="connsiteY7722" fmla="*/ 1655386 h 6557032"/>
              <a:gd name="connsiteX7723" fmla="*/ 528203 w 4610101"/>
              <a:gd name="connsiteY7723" fmla="*/ 1652197 h 6557032"/>
              <a:gd name="connsiteX7724" fmla="*/ 1144435 w 4610101"/>
              <a:gd name="connsiteY7724" fmla="*/ 1649985 h 6557032"/>
              <a:gd name="connsiteX7725" fmla="*/ 1146027 w 4610101"/>
              <a:gd name="connsiteY7725" fmla="*/ 1650941 h 6557032"/>
              <a:gd name="connsiteX7726" fmla="*/ 1145009 w 4610101"/>
              <a:gd name="connsiteY7726" fmla="*/ 1650831 h 6557032"/>
              <a:gd name="connsiteX7727" fmla="*/ 3077652 w 4610101"/>
              <a:gd name="connsiteY7727" fmla="*/ 1649920 h 6557032"/>
              <a:gd name="connsiteX7728" fmla="*/ 3068541 w 4610101"/>
              <a:gd name="connsiteY7728" fmla="*/ 1651742 h 6557032"/>
              <a:gd name="connsiteX7729" fmla="*/ 3066719 w 4610101"/>
              <a:gd name="connsiteY7729" fmla="*/ 1659031 h 6557032"/>
              <a:gd name="connsiteX7730" fmla="*/ 3063075 w 4610101"/>
              <a:gd name="connsiteY7730" fmla="*/ 1669964 h 6557032"/>
              <a:gd name="connsiteX7731" fmla="*/ 3075830 w 4610101"/>
              <a:gd name="connsiteY7731" fmla="*/ 1677252 h 6557032"/>
              <a:gd name="connsiteX7732" fmla="*/ 3084941 w 4610101"/>
              <a:gd name="connsiteY7732" fmla="*/ 1671786 h 6557032"/>
              <a:gd name="connsiteX7733" fmla="*/ 444863 w 4610101"/>
              <a:gd name="connsiteY7733" fmla="*/ 1649385 h 6557032"/>
              <a:gd name="connsiteX7734" fmla="*/ 442221 w 4610101"/>
              <a:gd name="connsiteY7734" fmla="*/ 1651554 h 6557032"/>
              <a:gd name="connsiteX7735" fmla="*/ 437322 w 4610101"/>
              <a:gd name="connsiteY7735" fmla="*/ 1651742 h 6557032"/>
              <a:gd name="connsiteX7736" fmla="*/ 895926 w 4610101"/>
              <a:gd name="connsiteY7736" fmla="*/ 1648752 h 6557032"/>
              <a:gd name="connsiteX7737" fmla="*/ 896510 w 4610101"/>
              <a:gd name="connsiteY7737" fmla="*/ 1649920 h 6557032"/>
              <a:gd name="connsiteX7738" fmla="*/ 875578 w 4610101"/>
              <a:gd name="connsiteY7738" fmla="*/ 1652194 h 6557032"/>
              <a:gd name="connsiteX7739" fmla="*/ 878288 w 4610101"/>
              <a:gd name="connsiteY7739" fmla="*/ 1651742 h 6557032"/>
              <a:gd name="connsiteX7740" fmla="*/ 1091484 w 4610101"/>
              <a:gd name="connsiteY7740" fmla="*/ 1648097 h 6557032"/>
              <a:gd name="connsiteX7741" fmla="*/ 1095127 w 4610101"/>
              <a:gd name="connsiteY7741" fmla="*/ 1651742 h 6557032"/>
              <a:gd name="connsiteX7742" fmla="*/ 1091484 w 4610101"/>
              <a:gd name="connsiteY7742" fmla="*/ 1648097 h 6557032"/>
              <a:gd name="connsiteX7743" fmla="*/ 449583 w 4610101"/>
              <a:gd name="connsiteY7743" fmla="*/ 1647827 h 6557032"/>
              <a:gd name="connsiteX7744" fmla="*/ 448256 w 4610101"/>
              <a:gd name="connsiteY7744" fmla="*/ 1648325 h 6557032"/>
              <a:gd name="connsiteX7745" fmla="*/ 444863 w 4610101"/>
              <a:gd name="connsiteY7745" fmla="*/ 1649385 h 6557032"/>
              <a:gd name="connsiteX7746" fmla="*/ 446433 w 4610101"/>
              <a:gd name="connsiteY7746" fmla="*/ 1648097 h 6557032"/>
              <a:gd name="connsiteX7747" fmla="*/ 532075 w 4610101"/>
              <a:gd name="connsiteY7747" fmla="*/ 1646535 h 6557032"/>
              <a:gd name="connsiteX7748" fmla="*/ 532075 w 4610101"/>
              <a:gd name="connsiteY7748" fmla="*/ 1649257 h 6557032"/>
              <a:gd name="connsiteX7749" fmla="*/ 528666 w 4610101"/>
              <a:gd name="connsiteY7749" fmla="*/ 1651271 h 6557032"/>
              <a:gd name="connsiteX7750" fmla="*/ 529342 w 4610101"/>
              <a:gd name="connsiteY7750" fmla="*/ 1649919 h 6557032"/>
              <a:gd name="connsiteX7751" fmla="*/ 529646 w 4610101"/>
              <a:gd name="connsiteY7751" fmla="*/ 1649312 h 6557032"/>
              <a:gd name="connsiteX7752" fmla="*/ 1131570 w 4610101"/>
              <a:gd name="connsiteY7752" fmla="*/ 1646275 h 6557032"/>
              <a:gd name="connsiteX7753" fmla="*/ 1140681 w 4610101"/>
              <a:gd name="connsiteY7753" fmla="*/ 1649920 h 6557032"/>
              <a:gd name="connsiteX7754" fmla="*/ 1131570 w 4610101"/>
              <a:gd name="connsiteY7754" fmla="*/ 1646275 h 6557032"/>
              <a:gd name="connsiteX7755" fmla="*/ 524995 w 4610101"/>
              <a:gd name="connsiteY7755" fmla="*/ 1645598 h 6557032"/>
              <a:gd name="connsiteX7756" fmla="*/ 520914 w 4610101"/>
              <a:gd name="connsiteY7756" fmla="*/ 1651286 h 6557032"/>
              <a:gd name="connsiteX7757" fmla="*/ 519829 w 4610101"/>
              <a:gd name="connsiteY7757" fmla="*/ 1655483 h 6557032"/>
              <a:gd name="connsiteX7758" fmla="*/ 510209 w 4610101"/>
              <a:gd name="connsiteY7758" fmla="*/ 1660853 h 6557032"/>
              <a:gd name="connsiteX7759" fmla="*/ 515676 w 4610101"/>
              <a:gd name="connsiteY7759" fmla="*/ 1660853 h 6557032"/>
              <a:gd name="connsiteX7760" fmla="*/ 513853 w 4610101"/>
              <a:gd name="connsiteY7760" fmla="*/ 1668142 h 6557032"/>
              <a:gd name="connsiteX7761" fmla="*/ 516131 w 4610101"/>
              <a:gd name="connsiteY7761" fmla="*/ 1663358 h 6557032"/>
              <a:gd name="connsiteX7762" fmla="*/ 517853 w 4610101"/>
              <a:gd name="connsiteY7762" fmla="*/ 1663123 h 6557032"/>
              <a:gd name="connsiteX7763" fmla="*/ 517498 w 4610101"/>
              <a:gd name="connsiteY7763" fmla="*/ 1664497 h 6557032"/>
              <a:gd name="connsiteX7764" fmla="*/ 518687 w 4610101"/>
              <a:gd name="connsiteY7764" fmla="*/ 1663010 h 6557032"/>
              <a:gd name="connsiteX7765" fmla="*/ 521142 w 4610101"/>
              <a:gd name="connsiteY7765" fmla="*/ 1662675 h 6557032"/>
              <a:gd name="connsiteX7766" fmla="*/ 493809 w 4610101"/>
              <a:gd name="connsiteY7766" fmla="*/ 1684541 h 6557032"/>
              <a:gd name="connsiteX7767" fmla="*/ 495404 w 4610101"/>
              <a:gd name="connsiteY7767" fmla="*/ 1682035 h 6557032"/>
              <a:gd name="connsiteX7768" fmla="*/ 496761 w 4610101"/>
              <a:gd name="connsiteY7768" fmla="*/ 1680461 h 6557032"/>
              <a:gd name="connsiteX7769" fmla="*/ 495632 w 4610101"/>
              <a:gd name="connsiteY7769" fmla="*/ 1682719 h 6557032"/>
              <a:gd name="connsiteX7770" fmla="*/ 497771 w 4610101"/>
              <a:gd name="connsiteY7770" fmla="*/ 1679289 h 6557032"/>
              <a:gd name="connsiteX7771" fmla="*/ 501098 w 4610101"/>
              <a:gd name="connsiteY7771" fmla="*/ 1675430 h 6557032"/>
              <a:gd name="connsiteX7772" fmla="*/ 499456 w 4610101"/>
              <a:gd name="connsiteY7772" fmla="*/ 1676590 h 6557032"/>
              <a:gd name="connsiteX7773" fmla="*/ 506604 w 4610101"/>
              <a:gd name="connsiteY7773" fmla="*/ 1665128 h 6557032"/>
              <a:gd name="connsiteX7774" fmla="*/ 504743 w 4610101"/>
              <a:gd name="connsiteY7774" fmla="*/ 1673608 h 6557032"/>
              <a:gd name="connsiteX7775" fmla="*/ 508415 w 4610101"/>
              <a:gd name="connsiteY7775" fmla="*/ 1665152 h 6557032"/>
              <a:gd name="connsiteX7776" fmla="*/ 508333 w 4610101"/>
              <a:gd name="connsiteY7776" fmla="*/ 1662358 h 6557032"/>
              <a:gd name="connsiteX7777" fmla="*/ 509981 w 4610101"/>
              <a:gd name="connsiteY7777" fmla="*/ 1659714 h 6557032"/>
              <a:gd name="connsiteX7778" fmla="*/ 523160 w 4610101"/>
              <a:gd name="connsiteY7778" fmla="*/ 1646209 h 6557032"/>
              <a:gd name="connsiteX7779" fmla="*/ 801528 w 4610101"/>
              <a:gd name="connsiteY7779" fmla="*/ 1645395 h 6557032"/>
              <a:gd name="connsiteX7780" fmla="*/ 810867 w 4610101"/>
              <a:gd name="connsiteY7780" fmla="*/ 1648128 h 6557032"/>
              <a:gd name="connsiteX7781" fmla="*/ 790823 w 4610101"/>
              <a:gd name="connsiteY7781" fmla="*/ 1648128 h 6557032"/>
              <a:gd name="connsiteX7782" fmla="*/ 801528 w 4610101"/>
              <a:gd name="connsiteY7782" fmla="*/ 1645395 h 6557032"/>
              <a:gd name="connsiteX7783" fmla="*/ 452507 w 4610101"/>
              <a:gd name="connsiteY7783" fmla="*/ 1645060 h 6557032"/>
              <a:gd name="connsiteX7784" fmla="*/ 453441 w 4610101"/>
              <a:gd name="connsiteY7784" fmla="*/ 1645994 h 6557032"/>
              <a:gd name="connsiteX7785" fmla="*/ 452642 w 4610101"/>
              <a:gd name="connsiteY7785" fmla="*/ 1646680 h 6557032"/>
              <a:gd name="connsiteX7786" fmla="*/ 452396 w 4610101"/>
              <a:gd name="connsiteY7786" fmla="*/ 1646772 h 6557032"/>
              <a:gd name="connsiteX7787" fmla="*/ 446433 w 4610101"/>
              <a:gd name="connsiteY7787" fmla="*/ 1648097 h 6557032"/>
              <a:gd name="connsiteX7788" fmla="*/ 515675 w 4610101"/>
              <a:gd name="connsiteY7788" fmla="*/ 1644485 h 6557032"/>
              <a:gd name="connsiteX7789" fmla="*/ 512031 w 4610101"/>
              <a:gd name="connsiteY7789" fmla="*/ 1651773 h 6557032"/>
              <a:gd name="connsiteX7790" fmla="*/ 515675 w 4610101"/>
              <a:gd name="connsiteY7790" fmla="*/ 1644485 h 6557032"/>
              <a:gd name="connsiteX7791" fmla="*/ 1140681 w 4610101"/>
              <a:gd name="connsiteY7791" fmla="*/ 1644453 h 6557032"/>
              <a:gd name="connsiteX7792" fmla="*/ 1144435 w 4610101"/>
              <a:gd name="connsiteY7792" fmla="*/ 1649985 h 6557032"/>
              <a:gd name="connsiteX7793" fmla="*/ 1144326 w 4610101"/>
              <a:gd name="connsiteY7793" fmla="*/ 1649920 h 6557032"/>
              <a:gd name="connsiteX7794" fmla="*/ 1153436 w 4610101"/>
              <a:gd name="connsiteY7794" fmla="*/ 1655386 h 6557032"/>
              <a:gd name="connsiteX7795" fmla="*/ 1146027 w 4610101"/>
              <a:gd name="connsiteY7795" fmla="*/ 1650941 h 6557032"/>
              <a:gd name="connsiteX7796" fmla="*/ 1153436 w 4610101"/>
              <a:gd name="connsiteY7796" fmla="*/ 1651742 h 6557032"/>
              <a:gd name="connsiteX7797" fmla="*/ 1160725 w 4610101"/>
              <a:gd name="connsiteY7797" fmla="*/ 1655386 h 6557032"/>
              <a:gd name="connsiteX7798" fmla="*/ 1164370 w 4610101"/>
              <a:gd name="connsiteY7798" fmla="*/ 1655386 h 6557032"/>
              <a:gd name="connsiteX7799" fmla="*/ 1153436 w 4610101"/>
              <a:gd name="connsiteY7799" fmla="*/ 1648097 h 6557032"/>
              <a:gd name="connsiteX7800" fmla="*/ 1151614 w 4610101"/>
              <a:gd name="connsiteY7800" fmla="*/ 1649920 h 6557032"/>
              <a:gd name="connsiteX7801" fmla="*/ 1140681 w 4610101"/>
              <a:gd name="connsiteY7801" fmla="*/ 1644453 h 6557032"/>
              <a:gd name="connsiteX7802" fmla="*/ 1098771 w 4610101"/>
              <a:gd name="connsiteY7802" fmla="*/ 1644453 h 6557032"/>
              <a:gd name="connsiteX7803" fmla="*/ 1118815 w 4610101"/>
              <a:gd name="connsiteY7803" fmla="*/ 1649920 h 6557032"/>
              <a:gd name="connsiteX7804" fmla="*/ 1098771 w 4610101"/>
              <a:gd name="connsiteY7804" fmla="*/ 1644453 h 6557032"/>
              <a:gd name="connsiteX7805" fmla="*/ 482193 w 4610101"/>
              <a:gd name="connsiteY7805" fmla="*/ 1642631 h 6557032"/>
              <a:gd name="connsiteX7806" fmla="*/ 479232 w 4610101"/>
              <a:gd name="connsiteY7806" fmla="*/ 1646275 h 6557032"/>
              <a:gd name="connsiteX7807" fmla="*/ 486521 w 4610101"/>
              <a:gd name="connsiteY7807" fmla="*/ 1644453 h 6557032"/>
              <a:gd name="connsiteX7808" fmla="*/ 482193 w 4610101"/>
              <a:gd name="connsiteY7808" fmla="*/ 1642631 h 6557032"/>
              <a:gd name="connsiteX7809" fmla="*/ 521662 w 4610101"/>
              <a:gd name="connsiteY7809" fmla="*/ 1642371 h 6557032"/>
              <a:gd name="connsiteX7810" fmla="*/ 522054 w 4610101"/>
              <a:gd name="connsiteY7810" fmla="*/ 1643542 h 6557032"/>
              <a:gd name="connsiteX7811" fmla="*/ 521142 w 4610101"/>
              <a:gd name="connsiteY7811" fmla="*/ 1642631 h 6557032"/>
              <a:gd name="connsiteX7812" fmla="*/ 1096949 w 4610101"/>
              <a:gd name="connsiteY7812" fmla="*/ 1640809 h 6557032"/>
              <a:gd name="connsiteX7813" fmla="*/ 1131570 w 4610101"/>
              <a:gd name="connsiteY7813" fmla="*/ 1648097 h 6557032"/>
              <a:gd name="connsiteX7814" fmla="*/ 1096949 w 4610101"/>
              <a:gd name="connsiteY7814" fmla="*/ 1640809 h 6557032"/>
              <a:gd name="connsiteX7815" fmla="*/ 871000 w 4610101"/>
              <a:gd name="connsiteY7815" fmla="*/ 1640809 h 6557032"/>
              <a:gd name="connsiteX7816" fmla="*/ 838200 w 4610101"/>
              <a:gd name="connsiteY7816" fmla="*/ 1649920 h 6557032"/>
              <a:gd name="connsiteX7817" fmla="*/ 838200 w 4610101"/>
              <a:gd name="connsiteY7817" fmla="*/ 1651742 h 6557032"/>
              <a:gd name="connsiteX7818" fmla="*/ 871000 w 4610101"/>
              <a:gd name="connsiteY7818" fmla="*/ 1640809 h 6557032"/>
              <a:gd name="connsiteX7819" fmla="*/ 650516 w 4610101"/>
              <a:gd name="connsiteY7819" fmla="*/ 1640809 h 6557032"/>
              <a:gd name="connsiteX7820" fmla="*/ 634117 w 4610101"/>
              <a:gd name="connsiteY7820" fmla="*/ 1659031 h 6557032"/>
              <a:gd name="connsiteX7821" fmla="*/ 652339 w 4610101"/>
              <a:gd name="connsiteY7821" fmla="*/ 1640809 h 6557032"/>
              <a:gd name="connsiteX7822" fmla="*/ 650516 w 4610101"/>
              <a:gd name="connsiteY7822" fmla="*/ 1640809 h 6557032"/>
              <a:gd name="connsiteX7823" fmla="*/ 559408 w 4610101"/>
              <a:gd name="connsiteY7823" fmla="*/ 1640809 h 6557032"/>
              <a:gd name="connsiteX7824" fmla="*/ 557586 w 4610101"/>
              <a:gd name="connsiteY7824" fmla="*/ 1649920 h 6557032"/>
              <a:gd name="connsiteX7825" fmla="*/ 559408 w 4610101"/>
              <a:gd name="connsiteY7825" fmla="*/ 1640809 h 6557032"/>
              <a:gd name="connsiteX7826" fmla="*/ 528431 w 4610101"/>
              <a:gd name="connsiteY7826" fmla="*/ 1640809 h 6557032"/>
              <a:gd name="connsiteX7827" fmla="*/ 526761 w 4610101"/>
              <a:gd name="connsiteY7827" fmla="*/ 1643136 h 6557032"/>
              <a:gd name="connsiteX7828" fmla="*/ 525040 w 4610101"/>
              <a:gd name="connsiteY7828" fmla="*/ 1644283 h 6557032"/>
              <a:gd name="connsiteX7829" fmla="*/ 471943 w 4610101"/>
              <a:gd name="connsiteY7829" fmla="*/ 1638987 h 6557032"/>
              <a:gd name="connsiteX7830" fmla="*/ 466478 w 4610101"/>
              <a:gd name="connsiteY7830" fmla="*/ 1642631 h 6557032"/>
              <a:gd name="connsiteX7831" fmla="*/ 471943 w 4610101"/>
              <a:gd name="connsiteY7831" fmla="*/ 1638987 h 6557032"/>
              <a:gd name="connsiteX7832" fmla="*/ 3133229 w 4610101"/>
              <a:gd name="connsiteY7832" fmla="*/ 1638075 h 6557032"/>
              <a:gd name="connsiteX7833" fmla="*/ 3099518 w 4610101"/>
              <a:gd name="connsiteY7833" fmla="*/ 1644453 h 6557032"/>
              <a:gd name="connsiteX7834" fmla="*/ 3099518 w 4610101"/>
              <a:gd name="connsiteY7834" fmla="*/ 1648097 h 6557032"/>
              <a:gd name="connsiteX7835" fmla="*/ 3121384 w 4610101"/>
              <a:gd name="connsiteY7835" fmla="*/ 1640809 h 6557032"/>
              <a:gd name="connsiteX7836" fmla="*/ 3159650 w 4610101"/>
              <a:gd name="connsiteY7836" fmla="*/ 1662675 h 6557032"/>
              <a:gd name="connsiteX7837" fmla="*/ 3137784 w 4610101"/>
              <a:gd name="connsiteY7837" fmla="*/ 1662675 h 6557032"/>
              <a:gd name="connsiteX7838" fmla="*/ 3148717 w 4610101"/>
              <a:gd name="connsiteY7838" fmla="*/ 1671786 h 6557032"/>
              <a:gd name="connsiteX7839" fmla="*/ 3152361 w 4610101"/>
              <a:gd name="connsiteY7839" fmla="*/ 1686363 h 6557032"/>
              <a:gd name="connsiteX7840" fmla="*/ 3166939 w 4610101"/>
              <a:gd name="connsiteY7840" fmla="*/ 1677252 h 6557032"/>
              <a:gd name="connsiteX7841" fmla="*/ 3159650 w 4610101"/>
              <a:gd name="connsiteY7841" fmla="*/ 1662675 h 6557032"/>
              <a:gd name="connsiteX7842" fmla="*/ 3166939 w 4610101"/>
              <a:gd name="connsiteY7842" fmla="*/ 1642631 h 6557032"/>
              <a:gd name="connsiteX7843" fmla="*/ 3133229 w 4610101"/>
              <a:gd name="connsiteY7843" fmla="*/ 1638075 h 6557032"/>
              <a:gd name="connsiteX7844" fmla="*/ 1115170 w 4610101"/>
              <a:gd name="connsiteY7844" fmla="*/ 1637221 h 6557032"/>
              <a:gd name="connsiteX7845" fmla="*/ 1133392 w 4610101"/>
              <a:gd name="connsiteY7845" fmla="*/ 1639043 h 6557032"/>
              <a:gd name="connsiteX7846" fmla="*/ 1115170 w 4610101"/>
              <a:gd name="connsiteY7846" fmla="*/ 1637221 h 6557032"/>
              <a:gd name="connsiteX7847" fmla="*/ 3081297 w 4610101"/>
              <a:gd name="connsiteY7847" fmla="*/ 1637164 h 6557032"/>
              <a:gd name="connsiteX7848" fmla="*/ 3079474 w 4610101"/>
              <a:gd name="connsiteY7848" fmla="*/ 1642631 h 6557032"/>
              <a:gd name="connsiteX7849" fmla="*/ 3086763 w 4610101"/>
              <a:gd name="connsiteY7849" fmla="*/ 1637164 h 6557032"/>
              <a:gd name="connsiteX7850" fmla="*/ 3081297 w 4610101"/>
              <a:gd name="connsiteY7850" fmla="*/ 1637164 h 6557032"/>
              <a:gd name="connsiteX7851" fmla="*/ 1087838 w 4610101"/>
              <a:gd name="connsiteY7851" fmla="*/ 1637164 h 6557032"/>
              <a:gd name="connsiteX7852" fmla="*/ 1095127 w 4610101"/>
              <a:gd name="connsiteY7852" fmla="*/ 1638987 h 6557032"/>
              <a:gd name="connsiteX7853" fmla="*/ 1087838 w 4610101"/>
              <a:gd name="connsiteY7853" fmla="*/ 1637164 h 6557032"/>
              <a:gd name="connsiteX7854" fmla="*/ 1036818 w 4610101"/>
              <a:gd name="connsiteY7854" fmla="*/ 1637164 h 6557032"/>
              <a:gd name="connsiteX7855" fmla="*/ 1051395 w 4610101"/>
              <a:gd name="connsiteY7855" fmla="*/ 1642631 h 6557032"/>
              <a:gd name="connsiteX7856" fmla="*/ 1045929 w 4610101"/>
              <a:gd name="connsiteY7856" fmla="*/ 1644453 h 6557032"/>
              <a:gd name="connsiteX7857" fmla="*/ 1080549 w 4610101"/>
              <a:gd name="connsiteY7857" fmla="*/ 1653564 h 6557032"/>
              <a:gd name="connsiteX7858" fmla="*/ 1053217 w 4610101"/>
              <a:gd name="connsiteY7858" fmla="*/ 1644453 h 6557032"/>
              <a:gd name="connsiteX7859" fmla="*/ 1055040 w 4610101"/>
              <a:gd name="connsiteY7859" fmla="*/ 1642631 h 6557032"/>
              <a:gd name="connsiteX7860" fmla="*/ 1036818 w 4610101"/>
              <a:gd name="connsiteY7860" fmla="*/ 1637164 h 6557032"/>
              <a:gd name="connsiteX7861" fmla="*/ 692426 w 4610101"/>
              <a:gd name="connsiteY7861" fmla="*/ 1637164 h 6557032"/>
              <a:gd name="connsiteX7862" fmla="*/ 688782 w 4610101"/>
              <a:gd name="connsiteY7862" fmla="*/ 1642631 h 6557032"/>
              <a:gd name="connsiteX7863" fmla="*/ 692426 w 4610101"/>
              <a:gd name="connsiteY7863" fmla="*/ 1637164 h 6557032"/>
              <a:gd name="connsiteX7864" fmla="*/ 502920 w 4610101"/>
              <a:gd name="connsiteY7864" fmla="*/ 1637164 h 6557032"/>
              <a:gd name="connsiteX7865" fmla="*/ 502920 w 4610101"/>
              <a:gd name="connsiteY7865" fmla="*/ 1640809 h 6557032"/>
              <a:gd name="connsiteX7866" fmla="*/ 502920 w 4610101"/>
              <a:gd name="connsiteY7866" fmla="*/ 1637164 h 6557032"/>
              <a:gd name="connsiteX7867" fmla="*/ 402701 w 4610101"/>
              <a:gd name="connsiteY7867" fmla="*/ 1637164 h 6557032"/>
              <a:gd name="connsiteX7868" fmla="*/ 408167 w 4610101"/>
              <a:gd name="connsiteY7868" fmla="*/ 1644453 h 6557032"/>
              <a:gd name="connsiteX7869" fmla="*/ 402701 w 4610101"/>
              <a:gd name="connsiteY7869" fmla="*/ 1637164 h 6557032"/>
              <a:gd name="connsiteX7870" fmla="*/ 524786 w 4610101"/>
              <a:gd name="connsiteY7870" fmla="*/ 1635342 h 6557032"/>
              <a:gd name="connsiteX7871" fmla="*/ 521142 w 4610101"/>
              <a:gd name="connsiteY7871" fmla="*/ 1638987 h 6557032"/>
              <a:gd name="connsiteX7872" fmla="*/ 524786 w 4610101"/>
              <a:gd name="connsiteY7872" fmla="*/ 1635342 h 6557032"/>
              <a:gd name="connsiteX7873" fmla="*/ 520651 w 4610101"/>
              <a:gd name="connsiteY7873" fmla="*/ 1632188 h 6557032"/>
              <a:gd name="connsiteX7874" fmla="*/ 520458 w 4610101"/>
              <a:gd name="connsiteY7874" fmla="*/ 1632837 h 6557032"/>
              <a:gd name="connsiteX7875" fmla="*/ 519443 w 4610101"/>
              <a:gd name="connsiteY7875" fmla="*/ 1633502 h 6557032"/>
              <a:gd name="connsiteX7876" fmla="*/ 519320 w 4610101"/>
              <a:gd name="connsiteY7876" fmla="*/ 1633520 h 6557032"/>
              <a:gd name="connsiteX7877" fmla="*/ 1014951 w 4610101"/>
              <a:gd name="connsiteY7877" fmla="*/ 1631698 h 6557032"/>
              <a:gd name="connsiteX7878" fmla="*/ 1036818 w 4610101"/>
              <a:gd name="connsiteY7878" fmla="*/ 1640809 h 6557032"/>
              <a:gd name="connsiteX7879" fmla="*/ 1014951 w 4610101"/>
              <a:gd name="connsiteY7879" fmla="*/ 1631698 h 6557032"/>
              <a:gd name="connsiteX7880" fmla="*/ 546653 w 4610101"/>
              <a:gd name="connsiteY7880" fmla="*/ 1631698 h 6557032"/>
              <a:gd name="connsiteX7881" fmla="*/ 546841 w 4610101"/>
              <a:gd name="connsiteY7881" fmla="*/ 1632223 h 6557032"/>
              <a:gd name="connsiteX7882" fmla="*/ 544968 w 4610101"/>
              <a:gd name="connsiteY7882" fmla="*/ 1635066 h 6557032"/>
              <a:gd name="connsiteX7883" fmla="*/ 435500 w 4610101"/>
              <a:gd name="connsiteY7883" fmla="*/ 1631698 h 6557032"/>
              <a:gd name="connsiteX7884" fmla="*/ 430034 w 4610101"/>
              <a:gd name="connsiteY7884" fmla="*/ 1637164 h 6557032"/>
              <a:gd name="connsiteX7885" fmla="*/ 431856 w 4610101"/>
              <a:gd name="connsiteY7885" fmla="*/ 1633520 h 6557032"/>
              <a:gd name="connsiteX7886" fmla="*/ 422745 w 4610101"/>
              <a:gd name="connsiteY7886" fmla="*/ 1635342 h 6557032"/>
              <a:gd name="connsiteX7887" fmla="*/ 424567 w 4610101"/>
              <a:gd name="connsiteY7887" fmla="*/ 1640809 h 6557032"/>
              <a:gd name="connsiteX7888" fmla="*/ 440966 w 4610101"/>
              <a:gd name="connsiteY7888" fmla="*/ 1637164 h 6557032"/>
              <a:gd name="connsiteX7889" fmla="*/ 435500 w 4610101"/>
              <a:gd name="connsiteY7889" fmla="*/ 1631698 h 6557032"/>
              <a:gd name="connsiteX7890" fmla="*/ 1042284 w 4610101"/>
              <a:gd name="connsiteY7890" fmla="*/ 1629876 h 6557032"/>
              <a:gd name="connsiteX7891" fmla="*/ 1045929 w 4610101"/>
              <a:gd name="connsiteY7891" fmla="*/ 1633520 h 6557032"/>
              <a:gd name="connsiteX7892" fmla="*/ 1042284 w 4610101"/>
              <a:gd name="connsiteY7892" fmla="*/ 1629876 h 6557032"/>
              <a:gd name="connsiteX7893" fmla="*/ 451899 w 4610101"/>
              <a:gd name="connsiteY7893" fmla="*/ 1629876 h 6557032"/>
              <a:gd name="connsiteX7894" fmla="*/ 446433 w 4610101"/>
              <a:gd name="connsiteY7894" fmla="*/ 1633520 h 6557032"/>
              <a:gd name="connsiteX7895" fmla="*/ 451899 w 4610101"/>
              <a:gd name="connsiteY7895" fmla="*/ 1629876 h 6557032"/>
              <a:gd name="connsiteX7896" fmla="*/ 442789 w 4610101"/>
              <a:gd name="connsiteY7896" fmla="*/ 1629876 h 6557032"/>
              <a:gd name="connsiteX7897" fmla="*/ 437322 w 4610101"/>
              <a:gd name="connsiteY7897" fmla="*/ 1631698 h 6557032"/>
              <a:gd name="connsiteX7898" fmla="*/ 446433 w 4610101"/>
              <a:gd name="connsiteY7898" fmla="*/ 1637164 h 6557032"/>
              <a:gd name="connsiteX7899" fmla="*/ 442789 w 4610101"/>
              <a:gd name="connsiteY7899" fmla="*/ 1629876 h 6557032"/>
              <a:gd name="connsiteX7900" fmla="*/ 503148 w 4610101"/>
              <a:gd name="connsiteY7900" fmla="*/ 1629648 h 6557032"/>
              <a:gd name="connsiteX7901" fmla="*/ 501098 w 4610101"/>
              <a:gd name="connsiteY7901" fmla="*/ 1633520 h 6557032"/>
              <a:gd name="connsiteX7902" fmla="*/ 504743 w 4610101"/>
              <a:gd name="connsiteY7902" fmla="*/ 1637164 h 6557032"/>
              <a:gd name="connsiteX7903" fmla="*/ 506565 w 4610101"/>
              <a:gd name="connsiteY7903" fmla="*/ 1629876 h 6557032"/>
              <a:gd name="connsiteX7904" fmla="*/ 503148 w 4610101"/>
              <a:gd name="connsiteY7904" fmla="*/ 1629648 h 6557032"/>
              <a:gd name="connsiteX7905" fmla="*/ 976714 w 4610101"/>
              <a:gd name="connsiteY7905" fmla="*/ 1628840 h 6557032"/>
              <a:gd name="connsiteX7906" fmla="*/ 966679 w 4610101"/>
              <a:gd name="connsiteY7906" fmla="*/ 1633238 h 6557032"/>
              <a:gd name="connsiteX7907" fmla="*/ 932042 w 4610101"/>
              <a:gd name="connsiteY7907" fmla="*/ 1642631 h 6557032"/>
              <a:gd name="connsiteX7908" fmla="*/ 895926 w 4610101"/>
              <a:gd name="connsiteY7908" fmla="*/ 1648752 h 6557032"/>
              <a:gd name="connsiteX7909" fmla="*/ 894688 w 4610101"/>
              <a:gd name="connsiteY7909" fmla="*/ 1646275 h 6557032"/>
              <a:gd name="connsiteX7910" fmla="*/ 911087 w 4610101"/>
              <a:gd name="connsiteY7910" fmla="*/ 1644453 h 6557032"/>
              <a:gd name="connsiteX7911" fmla="*/ 974481 w 4610101"/>
              <a:gd name="connsiteY7911" fmla="*/ 1629033 h 6557032"/>
              <a:gd name="connsiteX7912" fmla="*/ 572163 w 4610101"/>
              <a:gd name="connsiteY7912" fmla="*/ 1626231 h 6557032"/>
              <a:gd name="connsiteX7913" fmla="*/ 573985 w 4610101"/>
              <a:gd name="connsiteY7913" fmla="*/ 1633520 h 6557032"/>
              <a:gd name="connsiteX7914" fmla="*/ 561230 w 4610101"/>
              <a:gd name="connsiteY7914" fmla="*/ 1668142 h 6557032"/>
              <a:gd name="connsiteX7915" fmla="*/ 572163 w 4610101"/>
              <a:gd name="connsiteY7915" fmla="*/ 1626231 h 6557032"/>
              <a:gd name="connsiteX7916" fmla="*/ 517498 w 4610101"/>
              <a:gd name="connsiteY7916" fmla="*/ 1626231 h 6557032"/>
              <a:gd name="connsiteX7917" fmla="*/ 508387 w 4610101"/>
              <a:gd name="connsiteY7917" fmla="*/ 1633520 h 6557032"/>
              <a:gd name="connsiteX7918" fmla="*/ 517498 w 4610101"/>
              <a:gd name="connsiteY7918" fmla="*/ 1626231 h 6557032"/>
              <a:gd name="connsiteX7919" fmla="*/ 1158903 w 4610101"/>
              <a:gd name="connsiteY7919" fmla="*/ 1624409 h 6557032"/>
              <a:gd name="connsiteX7920" fmla="*/ 1168014 w 4610101"/>
              <a:gd name="connsiteY7920" fmla="*/ 1628054 h 6557032"/>
              <a:gd name="connsiteX7921" fmla="*/ 1168014 w 4610101"/>
              <a:gd name="connsiteY7921" fmla="*/ 1626231 h 6557032"/>
              <a:gd name="connsiteX7922" fmla="*/ 1158903 w 4610101"/>
              <a:gd name="connsiteY7922" fmla="*/ 1624409 h 6557032"/>
              <a:gd name="connsiteX7923" fmla="*/ 1009485 w 4610101"/>
              <a:gd name="connsiteY7923" fmla="*/ 1624409 h 6557032"/>
              <a:gd name="connsiteX7924" fmla="*/ 1018596 w 4610101"/>
              <a:gd name="connsiteY7924" fmla="*/ 1629876 h 6557032"/>
              <a:gd name="connsiteX7925" fmla="*/ 1009485 w 4610101"/>
              <a:gd name="connsiteY7925" fmla="*/ 1624409 h 6557032"/>
              <a:gd name="connsiteX7926" fmla="*/ 699715 w 4610101"/>
              <a:gd name="connsiteY7926" fmla="*/ 1624409 h 6557032"/>
              <a:gd name="connsiteX7927" fmla="*/ 692426 w 4610101"/>
              <a:gd name="connsiteY7927" fmla="*/ 1635342 h 6557032"/>
              <a:gd name="connsiteX7928" fmla="*/ 699715 w 4610101"/>
              <a:gd name="connsiteY7928" fmla="*/ 1624409 h 6557032"/>
              <a:gd name="connsiteX7929" fmla="*/ 1018596 w 4610101"/>
              <a:gd name="connsiteY7929" fmla="*/ 1622587 h 6557032"/>
              <a:gd name="connsiteX7930" fmla="*/ 1040462 w 4610101"/>
              <a:gd name="connsiteY7930" fmla="*/ 1631698 h 6557032"/>
              <a:gd name="connsiteX7931" fmla="*/ 1018596 w 4610101"/>
              <a:gd name="connsiteY7931" fmla="*/ 1622587 h 6557032"/>
              <a:gd name="connsiteX7932" fmla="*/ 488343 w 4610101"/>
              <a:gd name="connsiteY7932" fmla="*/ 1622587 h 6557032"/>
              <a:gd name="connsiteX7933" fmla="*/ 486521 w 4610101"/>
              <a:gd name="connsiteY7933" fmla="*/ 1626231 h 6557032"/>
              <a:gd name="connsiteX7934" fmla="*/ 491987 w 4610101"/>
              <a:gd name="connsiteY7934" fmla="*/ 1626231 h 6557032"/>
              <a:gd name="connsiteX7935" fmla="*/ 488343 w 4610101"/>
              <a:gd name="connsiteY7935" fmla="*/ 1622587 h 6557032"/>
              <a:gd name="connsiteX7936" fmla="*/ 461010 w 4610101"/>
              <a:gd name="connsiteY7936" fmla="*/ 1622587 h 6557032"/>
              <a:gd name="connsiteX7937" fmla="*/ 453722 w 4610101"/>
              <a:gd name="connsiteY7937" fmla="*/ 1629876 h 6557032"/>
              <a:gd name="connsiteX7938" fmla="*/ 461010 w 4610101"/>
              <a:gd name="connsiteY7938" fmla="*/ 1622587 h 6557032"/>
              <a:gd name="connsiteX7939" fmla="*/ 661449 w 4610101"/>
              <a:gd name="connsiteY7939" fmla="*/ 1620765 h 6557032"/>
              <a:gd name="connsiteX7940" fmla="*/ 655983 w 4610101"/>
              <a:gd name="connsiteY7940" fmla="*/ 1638987 h 6557032"/>
              <a:gd name="connsiteX7941" fmla="*/ 661449 w 4610101"/>
              <a:gd name="connsiteY7941" fmla="*/ 1620765 h 6557032"/>
              <a:gd name="connsiteX7942" fmla="*/ 535719 w 4610101"/>
              <a:gd name="connsiteY7942" fmla="*/ 1620765 h 6557032"/>
              <a:gd name="connsiteX7943" fmla="*/ 532075 w 4610101"/>
              <a:gd name="connsiteY7943" fmla="*/ 1628054 h 6557032"/>
              <a:gd name="connsiteX7944" fmla="*/ 535719 w 4610101"/>
              <a:gd name="connsiteY7944" fmla="*/ 1620765 h 6557032"/>
              <a:gd name="connsiteX7945" fmla="*/ 481054 w 4610101"/>
              <a:gd name="connsiteY7945" fmla="*/ 1620765 h 6557032"/>
              <a:gd name="connsiteX7946" fmla="*/ 477410 w 4610101"/>
              <a:gd name="connsiteY7946" fmla="*/ 1622587 h 6557032"/>
              <a:gd name="connsiteX7947" fmla="*/ 481054 w 4610101"/>
              <a:gd name="connsiteY7947" fmla="*/ 1620765 h 6557032"/>
              <a:gd name="connsiteX7948" fmla="*/ 566697 w 4610101"/>
              <a:gd name="connsiteY7948" fmla="*/ 1618944 h 6557032"/>
              <a:gd name="connsiteX7949" fmla="*/ 567607 w 4610101"/>
              <a:gd name="connsiteY7949" fmla="*/ 1627142 h 6557032"/>
              <a:gd name="connsiteX7950" fmla="*/ 563621 w 4610101"/>
              <a:gd name="connsiteY7950" fmla="*/ 1634317 h 6557032"/>
              <a:gd name="connsiteX7951" fmla="*/ 3084941 w 4610101"/>
              <a:gd name="connsiteY7951" fmla="*/ 1618943 h 6557032"/>
              <a:gd name="connsiteX7952" fmla="*/ 3088585 w 4610101"/>
              <a:gd name="connsiteY7952" fmla="*/ 1626231 h 6557032"/>
              <a:gd name="connsiteX7953" fmla="*/ 3084941 w 4610101"/>
              <a:gd name="connsiteY7953" fmla="*/ 1618943 h 6557032"/>
              <a:gd name="connsiteX7954" fmla="*/ 557586 w 4610101"/>
              <a:gd name="connsiteY7954" fmla="*/ 1618943 h 6557032"/>
              <a:gd name="connsiteX7955" fmla="*/ 550297 w 4610101"/>
              <a:gd name="connsiteY7955" fmla="*/ 1631698 h 6557032"/>
              <a:gd name="connsiteX7956" fmla="*/ 557586 w 4610101"/>
              <a:gd name="connsiteY7956" fmla="*/ 1618943 h 6557032"/>
              <a:gd name="connsiteX7957" fmla="*/ 994907 w 4610101"/>
              <a:gd name="connsiteY7957" fmla="*/ 1617121 h 6557032"/>
              <a:gd name="connsiteX7958" fmla="*/ 980330 w 4610101"/>
              <a:gd name="connsiteY7958" fmla="*/ 1620765 h 6557032"/>
              <a:gd name="connsiteX7959" fmla="*/ 1000374 w 4610101"/>
              <a:gd name="connsiteY7959" fmla="*/ 1622587 h 6557032"/>
              <a:gd name="connsiteX7960" fmla="*/ 994907 w 4610101"/>
              <a:gd name="connsiteY7960" fmla="*/ 1617121 h 6557032"/>
              <a:gd name="connsiteX7961" fmla="*/ 563052 w 4610101"/>
              <a:gd name="connsiteY7961" fmla="*/ 1617121 h 6557032"/>
              <a:gd name="connsiteX7962" fmla="*/ 561230 w 4610101"/>
              <a:gd name="connsiteY7962" fmla="*/ 1622587 h 6557032"/>
              <a:gd name="connsiteX7963" fmla="*/ 563052 w 4610101"/>
              <a:gd name="connsiteY7963" fmla="*/ 1617121 h 6557032"/>
              <a:gd name="connsiteX7964" fmla="*/ 446433 w 4610101"/>
              <a:gd name="connsiteY7964" fmla="*/ 1617121 h 6557032"/>
              <a:gd name="connsiteX7965" fmla="*/ 440966 w 4610101"/>
              <a:gd name="connsiteY7965" fmla="*/ 1628054 h 6557032"/>
              <a:gd name="connsiteX7966" fmla="*/ 446433 w 4610101"/>
              <a:gd name="connsiteY7966" fmla="*/ 1626231 h 6557032"/>
              <a:gd name="connsiteX7967" fmla="*/ 448566 w 4610101"/>
              <a:gd name="connsiteY7967" fmla="*/ 1625816 h 6557032"/>
              <a:gd name="connsiteX7968" fmla="*/ 448256 w 4610101"/>
              <a:gd name="connsiteY7968" fmla="*/ 1626231 h 6557032"/>
              <a:gd name="connsiteX7969" fmla="*/ 448841 w 4610101"/>
              <a:gd name="connsiteY7969" fmla="*/ 1625763 h 6557032"/>
              <a:gd name="connsiteX7970" fmla="*/ 454632 w 4610101"/>
              <a:gd name="connsiteY7970" fmla="*/ 1624637 h 6557032"/>
              <a:gd name="connsiteX7971" fmla="*/ 457367 w 4610101"/>
              <a:gd name="connsiteY7971" fmla="*/ 1618943 h 6557032"/>
              <a:gd name="connsiteX7972" fmla="*/ 448841 w 4610101"/>
              <a:gd name="connsiteY7972" fmla="*/ 1625763 h 6557032"/>
              <a:gd name="connsiteX7973" fmla="*/ 448566 w 4610101"/>
              <a:gd name="connsiteY7973" fmla="*/ 1625816 h 6557032"/>
              <a:gd name="connsiteX7974" fmla="*/ 453722 w 4610101"/>
              <a:gd name="connsiteY7974" fmla="*/ 1618943 h 6557032"/>
              <a:gd name="connsiteX7975" fmla="*/ 446433 w 4610101"/>
              <a:gd name="connsiteY7975" fmla="*/ 1617121 h 6557032"/>
              <a:gd name="connsiteX7976" fmla="*/ 1007663 w 4610101"/>
              <a:gd name="connsiteY7976" fmla="*/ 1615298 h 6557032"/>
              <a:gd name="connsiteX7977" fmla="*/ 1018596 w 4610101"/>
              <a:gd name="connsiteY7977" fmla="*/ 1617121 h 6557032"/>
              <a:gd name="connsiteX7978" fmla="*/ 1007663 w 4610101"/>
              <a:gd name="connsiteY7978" fmla="*/ 1615298 h 6557032"/>
              <a:gd name="connsiteX7979" fmla="*/ 513853 w 4610101"/>
              <a:gd name="connsiteY7979" fmla="*/ 1615298 h 6557032"/>
              <a:gd name="connsiteX7980" fmla="*/ 512031 w 4610101"/>
              <a:gd name="connsiteY7980" fmla="*/ 1620765 h 6557032"/>
              <a:gd name="connsiteX7981" fmla="*/ 517498 w 4610101"/>
              <a:gd name="connsiteY7981" fmla="*/ 1617121 h 6557032"/>
              <a:gd name="connsiteX7982" fmla="*/ 513853 w 4610101"/>
              <a:gd name="connsiteY7982" fmla="*/ 1615298 h 6557032"/>
              <a:gd name="connsiteX7983" fmla="*/ 508387 w 4610101"/>
              <a:gd name="connsiteY7983" fmla="*/ 1613476 h 6557032"/>
              <a:gd name="connsiteX7984" fmla="*/ 501098 w 4610101"/>
              <a:gd name="connsiteY7984" fmla="*/ 1624409 h 6557032"/>
              <a:gd name="connsiteX7985" fmla="*/ 508387 w 4610101"/>
              <a:gd name="connsiteY7985" fmla="*/ 1613476 h 6557032"/>
              <a:gd name="connsiteX7986" fmla="*/ 940242 w 4610101"/>
              <a:gd name="connsiteY7986" fmla="*/ 1611654 h 6557032"/>
              <a:gd name="connsiteX7987" fmla="*/ 951403 w 4610101"/>
              <a:gd name="connsiteY7987" fmla="*/ 1612565 h 6557032"/>
              <a:gd name="connsiteX7988" fmla="*/ 963039 w 4610101"/>
              <a:gd name="connsiteY7988" fmla="*/ 1618489 h 6557032"/>
              <a:gd name="connsiteX7989" fmla="*/ 958692 w 4610101"/>
              <a:gd name="connsiteY7989" fmla="*/ 1618715 h 6557032"/>
              <a:gd name="connsiteX7990" fmla="*/ 939756 w 4610101"/>
              <a:gd name="connsiteY7990" fmla="*/ 1611816 h 6557032"/>
              <a:gd name="connsiteX7991" fmla="*/ 522964 w 4610101"/>
              <a:gd name="connsiteY7991" fmla="*/ 1611654 h 6557032"/>
              <a:gd name="connsiteX7992" fmla="*/ 519320 w 4610101"/>
              <a:gd name="connsiteY7992" fmla="*/ 1615298 h 6557032"/>
              <a:gd name="connsiteX7993" fmla="*/ 526609 w 4610101"/>
              <a:gd name="connsiteY7993" fmla="*/ 1613476 h 6557032"/>
              <a:gd name="connsiteX7994" fmla="*/ 522964 w 4610101"/>
              <a:gd name="connsiteY7994" fmla="*/ 1611654 h 6557032"/>
              <a:gd name="connsiteX7995" fmla="*/ 502920 w 4610101"/>
              <a:gd name="connsiteY7995" fmla="*/ 1611654 h 6557032"/>
              <a:gd name="connsiteX7996" fmla="*/ 499276 w 4610101"/>
              <a:gd name="connsiteY7996" fmla="*/ 1613476 h 6557032"/>
              <a:gd name="connsiteX7997" fmla="*/ 501098 w 4610101"/>
              <a:gd name="connsiteY7997" fmla="*/ 1618943 h 6557032"/>
              <a:gd name="connsiteX7998" fmla="*/ 502920 w 4610101"/>
              <a:gd name="connsiteY7998" fmla="*/ 1611654 h 6557032"/>
              <a:gd name="connsiteX7999" fmla="*/ 471943 w 4610101"/>
              <a:gd name="connsiteY7999" fmla="*/ 1611654 h 6557032"/>
              <a:gd name="connsiteX8000" fmla="*/ 468299 w 4610101"/>
              <a:gd name="connsiteY8000" fmla="*/ 1624409 h 6557032"/>
              <a:gd name="connsiteX8001" fmla="*/ 464655 w 4610101"/>
              <a:gd name="connsiteY8001" fmla="*/ 1622587 h 6557032"/>
              <a:gd name="connsiteX8002" fmla="*/ 453722 w 4610101"/>
              <a:gd name="connsiteY8002" fmla="*/ 1638987 h 6557032"/>
              <a:gd name="connsiteX8003" fmla="*/ 475589 w 4610101"/>
              <a:gd name="connsiteY8003" fmla="*/ 1626231 h 6557032"/>
              <a:gd name="connsiteX8004" fmla="*/ 468299 w 4610101"/>
              <a:gd name="connsiteY8004" fmla="*/ 1624409 h 6557032"/>
              <a:gd name="connsiteX8005" fmla="*/ 473766 w 4610101"/>
              <a:gd name="connsiteY8005" fmla="*/ 1620765 h 6557032"/>
              <a:gd name="connsiteX8006" fmla="*/ 471943 w 4610101"/>
              <a:gd name="connsiteY8006" fmla="*/ 1618943 h 6557032"/>
              <a:gd name="connsiteX8007" fmla="*/ 482876 w 4610101"/>
              <a:gd name="connsiteY8007" fmla="*/ 1618943 h 6557032"/>
              <a:gd name="connsiteX8008" fmla="*/ 471943 w 4610101"/>
              <a:gd name="connsiteY8008" fmla="*/ 1611654 h 6557032"/>
              <a:gd name="connsiteX8009" fmla="*/ 462832 w 4610101"/>
              <a:gd name="connsiteY8009" fmla="*/ 1611654 h 6557032"/>
              <a:gd name="connsiteX8010" fmla="*/ 459188 w 4610101"/>
              <a:gd name="connsiteY8010" fmla="*/ 1617121 h 6557032"/>
              <a:gd name="connsiteX8011" fmla="*/ 462832 w 4610101"/>
              <a:gd name="connsiteY8011" fmla="*/ 1611654 h 6557032"/>
              <a:gd name="connsiteX8012" fmla="*/ 1012901 w 4610101"/>
              <a:gd name="connsiteY8012" fmla="*/ 1610743 h 6557032"/>
              <a:gd name="connsiteX8013" fmla="*/ 1005840 w 4610101"/>
              <a:gd name="connsiteY8013" fmla="*/ 1611654 h 6557032"/>
              <a:gd name="connsiteX8014" fmla="*/ 1018596 w 4610101"/>
              <a:gd name="connsiteY8014" fmla="*/ 1615298 h 6557032"/>
              <a:gd name="connsiteX8015" fmla="*/ 1012901 w 4610101"/>
              <a:gd name="connsiteY8015" fmla="*/ 1610743 h 6557032"/>
              <a:gd name="connsiteX8016" fmla="*/ 935850 w 4610101"/>
              <a:gd name="connsiteY8016" fmla="*/ 1610393 h 6557032"/>
              <a:gd name="connsiteX8017" fmla="*/ 939756 w 4610101"/>
              <a:gd name="connsiteY8017" fmla="*/ 1611816 h 6557032"/>
              <a:gd name="connsiteX8018" fmla="*/ 929309 w 4610101"/>
              <a:gd name="connsiteY8018" fmla="*/ 1615298 h 6557032"/>
              <a:gd name="connsiteX8019" fmla="*/ 3088585 w 4610101"/>
              <a:gd name="connsiteY8019" fmla="*/ 1609832 h 6557032"/>
              <a:gd name="connsiteX8020" fmla="*/ 3092230 w 4610101"/>
              <a:gd name="connsiteY8020" fmla="*/ 1622587 h 6557032"/>
              <a:gd name="connsiteX8021" fmla="*/ 3088585 w 4610101"/>
              <a:gd name="connsiteY8021" fmla="*/ 1609832 h 6557032"/>
              <a:gd name="connsiteX8022" fmla="*/ 3075830 w 4610101"/>
              <a:gd name="connsiteY8022" fmla="*/ 1609832 h 6557032"/>
              <a:gd name="connsiteX8023" fmla="*/ 3077652 w 4610101"/>
              <a:gd name="connsiteY8023" fmla="*/ 1631698 h 6557032"/>
              <a:gd name="connsiteX8024" fmla="*/ 3070363 w 4610101"/>
              <a:gd name="connsiteY8024" fmla="*/ 1628054 h 6557032"/>
              <a:gd name="connsiteX8025" fmla="*/ 3070363 w 4610101"/>
              <a:gd name="connsiteY8025" fmla="*/ 1637164 h 6557032"/>
              <a:gd name="connsiteX8026" fmla="*/ 3055786 w 4610101"/>
              <a:gd name="connsiteY8026" fmla="*/ 1633520 h 6557032"/>
              <a:gd name="connsiteX8027" fmla="*/ 3053964 w 4610101"/>
              <a:gd name="connsiteY8027" fmla="*/ 1648097 h 6557032"/>
              <a:gd name="connsiteX8028" fmla="*/ 3068541 w 4610101"/>
              <a:gd name="connsiteY8028" fmla="*/ 1640809 h 6557032"/>
              <a:gd name="connsiteX8029" fmla="*/ 3070363 w 4610101"/>
              <a:gd name="connsiteY8029" fmla="*/ 1637164 h 6557032"/>
              <a:gd name="connsiteX8030" fmla="*/ 3083119 w 4610101"/>
              <a:gd name="connsiteY8030" fmla="*/ 1628054 h 6557032"/>
              <a:gd name="connsiteX8031" fmla="*/ 3075830 w 4610101"/>
              <a:gd name="connsiteY8031" fmla="*/ 1609832 h 6557032"/>
              <a:gd name="connsiteX8032" fmla="*/ 1004018 w 4610101"/>
              <a:gd name="connsiteY8032" fmla="*/ 1609832 h 6557032"/>
              <a:gd name="connsiteX8033" fmla="*/ 1000374 w 4610101"/>
              <a:gd name="connsiteY8033" fmla="*/ 1613476 h 6557032"/>
              <a:gd name="connsiteX8034" fmla="*/ 1004018 w 4610101"/>
              <a:gd name="connsiteY8034" fmla="*/ 1609832 h 6557032"/>
              <a:gd name="connsiteX8035" fmla="*/ 705182 w 4610101"/>
              <a:gd name="connsiteY8035" fmla="*/ 1609832 h 6557032"/>
              <a:gd name="connsiteX8036" fmla="*/ 703359 w 4610101"/>
              <a:gd name="connsiteY8036" fmla="*/ 1613476 h 6557032"/>
              <a:gd name="connsiteX8037" fmla="*/ 705182 w 4610101"/>
              <a:gd name="connsiteY8037" fmla="*/ 1609832 h 6557032"/>
              <a:gd name="connsiteX8038" fmla="*/ 468299 w 4610101"/>
              <a:gd name="connsiteY8038" fmla="*/ 1609832 h 6557032"/>
              <a:gd name="connsiteX8039" fmla="*/ 461010 w 4610101"/>
              <a:gd name="connsiteY8039" fmla="*/ 1618943 h 6557032"/>
              <a:gd name="connsiteX8040" fmla="*/ 468299 w 4610101"/>
              <a:gd name="connsiteY8040" fmla="*/ 1609832 h 6557032"/>
              <a:gd name="connsiteX8041" fmla="*/ 388123 w 4610101"/>
              <a:gd name="connsiteY8041" fmla="*/ 1608693 h 6557032"/>
              <a:gd name="connsiteX8042" fmla="*/ 391207 w 4610101"/>
              <a:gd name="connsiteY8042" fmla="*/ 1610427 h 6557032"/>
              <a:gd name="connsiteX8043" fmla="*/ 388998 w 4610101"/>
              <a:gd name="connsiteY8043" fmla="*/ 1610980 h 6557032"/>
              <a:gd name="connsiteX8044" fmla="*/ 386301 w 4610101"/>
              <a:gd name="connsiteY8044" fmla="*/ 1609832 h 6557032"/>
              <a:gd name="connsiteX8045" fmla="*/ 387759 w 4610101"/>
              <a:gd name="connsiteY8045" fmla="*/ 1611290 h 6557032"/>
              <a:gd name="connsiteX8046" fmla="*/ 380107 w 4610101"/>
              <a:gd name="connsiteY8046" fmla="*/ 1613202 h 6557032"/>
              <a:gd name="connsiteX8047" fmla="*/ 3063075 w 4610101"/>
              <a:gd name="connsiteY8047" fmla="*/ 1608010 h 6557032"/>
              <a:gd name="connsiteX8048" fmla="*/ 3068541 w 4610101"/>
              <a:gd name="connsiteY8048" fmla="*/ 1620765 h 6557032"/>
              <a:gd name="connsiteX8049" fmla="*/ 3063075 w 4610101"/>
              <a:gd name="connsiteY8049" fmla="*/ 1608010 h 6557032"/>
              <a:gd name="connsiteX8050" fmla="*/ 493809 w 4610101"/>
              <a:gd name="connsiteY8050" fmla="*/ 1608010 h 6557032"/>
              <a:gd name="connsiteX8051" fmla="*/ 495632 w 4610101"/>
              <a:gd name="connsiteY8051" fmla="*/ 1613476 h 6557032"/>
              <a:gd name="connsiteX8052" fmla="*/ 490165 w 4610101"/>
              <a:gd name="connsiteY8052" fmla="*/ 1617121 h 6557032"/>
              <a:gd name="connsiteX8053" fmla="*/ 495632 w 4610101"/>
              <a:gd name="connsiteY8053" fmla="*/ 1620765 h 6557032"/>
              <a:gd name="connsiteX8054" fmla="*/ 495632 w 4610101"/>
              <a:gd name="connsiteY8054" fmla="*/ 1613476 h 6557032"/>
              <a:gd name="connsiteX8055" fmla="*/ 493809 w 4610101"/>
              <a:gd name="connsiteY8055" fmla="*/ 1608010 h 6557032"/>
              <a:gd name="connsiteX8056" fmla="*/ 404523 w 4610101"/>
              <a:gd name="connsiteY8056" fmla="*/ 1608010 h 6557032"/>
              <a:gd name="connsiteX8057" fmla="*/ 400879 w 4610101"/>
              <a:gd name="connsiteY8057" fmla="*/ 1609832 h 6557032"/>
              <a:gd name="connsiteX8058" fmla="*/ 408167 w 4610101"/>
              <a:gd name="connsiteY8058" fmla="*/ 1611654 h 6557032"/>
              <a:gd name="connsiteX8059" fmla="*/ 404523 w 4610101"/>
              <a:gd name="connsiteY8059" fmla="*/ 1608010 h 6557032"/>
              <a:gd name="connsiteX8060" fmla="*/ 710902 w 4610101"/>
              <a:gd name="connsiteY8060" fmla="*/ 1607558 h 6557032"/>
              <a:gd name="connsiteX8061" fmla="*/ 710648 w 4610101"/>
              <a:gd name="connsiteY8061" fmla="*/ 1608010 h 6557032"/>
              <a:gd name="connsiteX8062" fmla="*/ 710819 w 4610101"/>
              <a:gd name="connsiteY8062" fmla="*/ 1607649 h 6557032"/>
              <a:gd name="connsiteX8063" fmla="*/ 930254 w 4610101"/>
              <a:gd name="connsiteY8063" fmla="*/ 1606592 h 6557032"/>
              <a:gd name="connsiteX8064" fmla="*/ 936598 w 4610101"/>
              <a:gd name="connsiteY8064" fmla="*/ 1609832 h 6557032"/>
              <a:gd name="connsiteX8065" fmla="*/ 935850 w 4610101"/>
              <a:gd name="connsiteY8065" fmla="*/ 1610393 h 6557032"/>
              <a:gd name="connsiteX8066" fmla="*/ 929309 w 4610101"/>
              <a:gd name="connsiteY8066" fmla="*/ 1608010 h 6557032"/>
              <a:gd name="connsiteX8067" fmla="*/ 579452 w 4610101"/>
              <a:gd name="connsiteY8067" fmla="*/ 1606188 h 6557032"/>
              <a:gd name="connsiteX8068" fmla="*/ 568519 w 4610101"/>
              <a:gd name="connsiteY8068" fmla="*/ 1622587 h 6557032"/>
              <a:gd name="connsiteX8069" fmla="*/ 567101 w 4610101"/>
              <a:gd name="connsiteY8069" fmla="*/ 1616919 h 6557032"/>
              <a:gd name="connsiteX8070" fmla="*/ 567381 w 4610101"/>
              <a:gd name="connsiteY8070" fmla="*/ 1615526 h 6557032"/>
              <a:gd name="connsiteX8071" fmla="*/ 573076 w 4610101"/>
              <a:gd name="connsiteY8071" fmla="*/ 1607216 h 6557032"/>
              <a:gd name="connsiteX8072" fmla="*/ 3340045 w 4610101"/>
              <a:gd name="connsiteY8072" fmla="*/ 1605692 h 6557032"/>
              <a:gd name="connsiteX8073" fmla="*/ 3340045 w 4610101"/>
              <a:gd name="connsiteY8073" fmla="*/ 1610289 h 6557032"/>
              <a:gd name="connsiteX8074" fmla="*/ 3338222 w 4610101"/>
              <a:gd name="connsiteY8074" fmla="*/ 1609833 h 6557032"/>
              <a:gd name="connsiteX8075" fmla="*/ 3339362 w 4610101"/>
              <a:gd name="connsiteY8075" fmla="*/ 1606873 h 6557032"/>
              <a:gd name="connsiteX8076" fmla="*/ 592170 w 4610101"/>
              <a:gd name="connsiteY8076" fmla="*/ 1604436 h 6557032"/>
              <a:gd name="connsiteX8077" fmla="*/ 592197 w 4610101"/>
              <a:gd name="connsiteY8077" fmla="*/ 1604552 h 6557032"/>
              <a:gd name="connsiteX8078" fmla="*/ 591979 w 4610101"/>
              <a:gd name="connsiteY8078" fmla="*/ 1608693 h 6557032"/>
              <a:gd name="connsiteX8079" fmla="*/ 590385 w 4610101"/>
              <a:gd name="connsiteY8079" fmla="*/ 1611654 h 6557032"/>
              <a:gd name="connsiteX8080" fmla="*/ 590612 w 4610101"/>
              <a:gd name="connsiteY8080" fmla="*/ 1607326 h 6557032"/>
              <a:gd name="connsiteX8081" fmla="*/ 3044853 w 4610101"/>
              <a:gd name="connsiteY8081" fmla="*/ 1604365 h 6557032"/>
              <a:gd name="connsiteX8082" fmla="*/ 3048497 w 4610101"/>
              <a:gd name="connsiteY8082" fmla="*/ 1608010 h 6557032"/>
              <a:gd name="connsiteX8083" fmla="*/ 3052142 w 4610101"/>
              <a:gd name="connsiteY8083" fmla="*/ 1604365 h 6557032"/>
              <a:gd name="connsiteX8084" fmla="*/ 931795 w 4610101"/>
              <a:gd name="connsiteY8084" fmla="*/ 1604279 h 6557032"/>
              <a:gd name="connsiteX8085" fmla="*/ 930254 w 4610101"/>
              <a:gd name="connsiteY8085" fmla="*/ 1606592 h 6557032"/>
              <a:gd name="connsiteX8086" fmla="*/ 927317 w 4610101"/>
              <a:gd name="connsiteY8086" fmla="*/ 1605093 h 6557032"/>
              <a:gd name="connsiteX8087" fmla="*/ 929030 w 4610101"/>
              <a:gd name="connsiteY8087" fmla="*/ 1604318 h 6557032"/>
              <a:gd name="connsiteX8088" fmla="*/ 584479 w 4610101"/>
              <a:gd name="connsiteY8088" fmla="*/ 1603099 h 6557032"/>
              <a:gd name="connsiteX8089" fmla="*/ 584919 w 4610101"/>
              <a:gd name="connsiteY8089" fmla="*/ 1611654 h 6557032"/>
              <a:gd name="connsiteX8090" fmla="*/ 585393 w 4610101"/>
              <a:gd name="connsiteY8090" fmla="*/ 1610387 h 6557032"/>
              <a:gd name="connsiteX8091" fmla="*/ 584919 w 4610101"/>
              <a:gd name="connsiteY8091" fmla="*/ 1615298 h 6557032"/>
              <a:gd name="connsiteX8092" fmla="*/ 573985 w 4610101"/>
              <a:gd name="connsiteY8092" fmla="*/ 1629876 h 6557032"/>
              <a:gd name="connsiteX8093" fmla="*/ 574668 w 4610101"/>
              <a:gd name="connsiteY8093" fmla="*/ 1615526 h 6557032"/>
              <a:gd name="connsiteX8094" fmla="*/ 454860 w 4610101"/>
              <a:gd name="connsiteY8094" fmla="*/ 1602771 h 6557032"/>
              <a:gd name="connsiteX8095" fmla="*/ 450077 w 4610101"/>
              <a:gd name="connsiteY8095" fmla="*/ 1608010 h 6557032"/>
              <a:gd name="connsiteX8096" fmla="*/ 461010 w 4610101"/>
              <a:gd name="connsiteY8096" fmla="*/ 1604365 h 6557032"/>
              <a:gd name="connsiteX8097" fmla="*/ 454860 w 4610101"/>
              <a:gd name="connsiteY8097" fmla="*/ 1602771 h 6557032"/>
              <a:gd name="connsiteX8098" fmla="*/ 524786 w 4610101"/>
              <a:gd name="connsiteY8098" fmla="*/ 1602543 h 6557032"/>
              <a:gd name="connsiteX8099" fmla="*/ 515676 w 4610101"/>
              <a:gd name="connsiteY8099" fmla="*/ 1606188 h 6557032"/>
              <a:gd name="connsiteX8100" fmla="*/ 517498 w 4610101"/>
              <a:gd name="connsiteY8100" fmla="*/ 1613476 h 6557032"/>
              <a:gd name="connsiteX8101" fmla="*/ 524786 w 4610101"/>
              <a:gd name="connsiteY8101" fmla="*/ 1602543 h 6557032"/>
              <a:gd name="connsiteX8102" fmla="*/ 437322 w 4610101"/>
              <a:gd name="connsiteY8102" fmla="*/ 1602543 h 6557032"/>
              <a:gd name="connsiteX8103" fmla="*/ 448256 w 4610101"/>
              <a:gd name="connsiteY8103" fmla="*/ 1602543 h 6557032"/>
              <a:gd name="connsiteX8104" fmla="*/ 437322 w 4610101"/>
              <a:gd name="connsiteY8104" fmla="*/ 1602543 h 6557032"/>
              <a:gd name="connsiteX8105" fmla="*/ 419100 w 4610101"/>
              <a:gd name="connsiteY8105" fmla="*/ 1602543 h 6557032"/>
              <a:gd name="connsiteX8106" fmla="*/ 406345 w 4610101"/>
              <a:gd name="connsiteY8106" fmla="*/ 1606188 h 6557032"/>
              <a:gd name="connsiteX8107" fmla="*/ 417278 w 4610101"/>
              <a:gd name="connsiteY8107" fmla="*/ 1618943 h 6557032"/>
              <a:gd name="connsiteX8108" fmla="*/ 427804 w 4610101"/>
              <a:gd name="connsiteY8108" fmla="*/ 1625522 h 6557032"/>
              <a:gd name="connsiteX8109" fmla="*/ 424567 w 4610101"/>
              <a:gd name="connsiteY8109" fmla="*/ 1624409 h 6557032"/>
              <a:gd name="connsiteX8110" fmla="*/ 431856 w 4610101"/>
              <a:gd name="connsiteY8110" fmla="*/ 1628054 h 6557032"/>
              <a:gd name="connsiteX8111" fmla="*/ 427804 w 4610101"/>
              <a:gd name="connsiteY8111" fmla="*/ 1625522 h 6557032"/>
              <a:gd name="connsiteX8112" fmla="*/ 431855 w 4610101"/>
              <a:gd name="connsiteY8112" fmla="*/ 1626914 h 6557032"/>
              <a:gd name="connsiteX8113" fmla="*/ 439145 w 4610101"/>
              <a:gd name="connsiteY8113" fmla="*/ 1622587 h 6557032"/>
              <a:gd name="connsiteX8114" fmla="*/ 435500 w 4610101"/>
              <a:gd name="connsiteY8114" fmla="*/ 1620765 h 6557032"/>
              <a:gd name="connsiteX8115" fmla="*/ 444611 w 4610101"/>
              <a:gd name="connsiteY8115" fmla="*/ 1615298 h 6557032"/>
              <a:gd name="connsiteX8116" fmla="*/ 435500 w 4610101"/>
              <a:gd name="connsiteY8116" fmla="*/ 1617121 h 6557032"/>
              <a:gd name="connsiteX8117" fmla="*/ 440966 w 4610101"/>
              <a:gd name="connsiteY8117" fmla="*/ 1609832 h 6557032"/>
              <a:gd name="connsiteX8118" fmla="*/ 431856 w 4610101"/>
              <a:gd name="connsiteY8118" fmla="*/ 1608010 h 6557032"/>
              <a:gd name="connsiteX8119" fmla="*/ 424567 w 4610101"/>
              <a:gd name="connsiteY8119" fmla="*/ 1608010 h 6557032"/>
              <a:gd name="connsiteX8120" fmla="*/ 426389 w 4610101"/>
              <a:gd name="connsiteY8120" fmla="*/ 1606188 h 6557032"/>
              <a:gd name="connsiteX8121" fmla="*/ 411812 w 4610101"/>
              <a:gd name="connsiteY8121" fmla="*/ 1606188 h 6557032"/>
              <a:gd name="connsiteX8122" fmla="*/ 419100 w 4610101"/>
              <a:gd name="connsiteY8122" fmla="*/ 1602543 h 6557032"/>
              <a:gd name="connsiteX8123" fmla="*/ 583734 w 4610101"/>
              <a:gd name="connsiteY8123" fmla="*/ 1601054 h 6557032"/>
              <a:gd name="connsiteX8124" fmla="*/ 583926 w 4610101"/>
              <a:gd name="connsiteY8124" fmla="*/ 1601506 h 6557032"/>
              <a:gd name="connsiteX8125" fmla="*/ 583096 w 4610101"/>
              <a:gd name="connsiteY8125" fmla="*/ 1602543 h 6557032"/>
              <a:gd name="connsiteX8126" fmla="*/ 3150538 w 4610101"/>
              <a:gd name="connsiteY8126" fmla="*/ 1600787 h 6557032"/>
              <a:gd name="connsiteX8127" fmla="*/ 3152361 w 4610101"/>
              <a:gd name="connsiteY8127" fmla="*/ 1617184 h 6557032"/>
              <a:gd name="connsiteX8128" fmla="*/ 3135961 w 4610101"/>
              <a:gd name="connsiteY8128" fmla="*/ 1617184 h 6557032"/>
              <a:gd name="connsiteX8129" fmla="*/ 962108 w 4610101"/>
              <a:gd name="connsiteY8129" fmla="*/ 1600721 h 6557032"/>
              <a:gd name="connsiteX8130" fmla="*/ 1004018 w 4610101"/>
              <a:gd name="connsiteY8130" fmla="*/ 1608010 h 6557032"/>
              <a:gd name="connsiteX8131" fmla="*/ 962108 w 4610101"/>
              <a:gd name="connsiteY8131" fmla="*/ 1600721 h 6557032"/>
              <a:gd name="connsiteX8132" fmla="*/ 470121 w 4610101"/>
              <a:gd name="connsiteY8132" fmla="*/ 1600721 h 6557032"/>
              <a:gd name="connsiteX8133" fmla="*/ 466478 w 4610101"/>
              <a:gd name="connsiteY8133" fmla="*/ 1606188 h 6557032"/>
              <a:gd name="connsiteX8134" fmla="*/ 470121 w 4610101"/>
              <a:gd name="connsiteY8134" fmla="*/ 1600721 h 6557032"/>
              <a:gd name="connsiteX8135" fmla="*/ 429578 w 4610101"/>
              <a:gd name="connsiteY8135" fmla="*/ 1600493 h 6557032"/>
              <a:gd name="connsiteX8136" fmla="*/ 426389 w 4610101"/>
              <a:gd name="connsiteY8136" fmla="*/ 1602543 h 6557032"/>
              <a:gd name="connsiteX8137" fmla="*/ 430034 w 4610101"/>
              <a:gd name="connsiteY8137" fmla="*/ 1602543 h 6557032"/>
              <a:gd name="connsiteX8138" fmla="*/ 429578 w 4610101"/>
              <a:gd name="connsiteY8138" fmla="*/ 1600493 h 6557032"/>
              <a:gd name="connsiteX8139" fmla="*/ 669906 w 4610101"/>
              <a:gd name="connsiteY8139" fmla="*/ 1600209 h 6557032"/>
              <a:gd name="connsiteX8140" fmla="*/ 661449 w 4610101"/>
              <a:gd name="connsiteY8140" fmla="*/ 1617121 h 6557032"/>
              <a:gd name="connsiteX8141" fmla="*/ 665094 w 4610101"/>
              <a:gd name="connsiteY8141" fmla="*/ 1617121 h 6557032"/>
              <a:gd name="connsiteX8142" fmla="*/ 676027 w 4610101"/>
              <a:gd name="connsiteY8142" fmla="*/ 1600721 h 6557032"/>
              <a:gd name="connsiteX8143" fmla="*/ 669906 w 4610101"/>
              <a:gd name="connsiteY8143" fmla="*/ 1600209 h 6557032"/>
              <a:gd name="connsiteX8144" fmla="*/ 917617 w 4610101"/>
              <a:gd name="connsiteY8144" fmla="*/ 1600140 h 6557032"/>
              <a:gd name="connsiteX8145" fmla="*/ 925763 w 4610101"/>
              <a:gd name="connsiteY8145" fmla="*/ 1604299 h 6557032"/>
              <a:gd name="connsiteX8146" fmla="*/ 925666 w 4610101"/>
              <a:gd name="connsiteY8146" fmla="*/ 1604365 h 6557032"/>
              <a:gd name="connsiteX8147" fmla="*/ 925886 w 4610101"/>
              <a:gd name="connsiteY8147" fmla="*/ 1604362 h 6557032"/>
              <a:gd name="connsiteX8148" fmla="*/ 927317 w 4610101"/>
              <a:gd name="connsiteY8148" fmla="*/ 1605093 h 6557032"/>
              <a:gd name="connsiteX8149" fmla="*/ 923387 w 4610101"/>
              <a:gd name="connsiteY8149" fmla="*/ 1606871 h 6557032"/>
              <a:gd name="connsiteX8150" fmla="*/ 581274 w 4610101"/>
              <a:gd name="connsiteY8150" fmla="*/ 1598899 h 6557032"/>
              <a:gd name="connsiteX8151" fmla="*/ 577630 w 4610101"/>
              <a:gd name="connsiteY8151" fmla="*/ 1602543 h 6557032"/>
              <a:gd name="connsiteX8152" fmla="*/ 581274 w 4610101"/>
              <a:gd name="connsiteY8152" fmla="*/ 1598899 h 6557032"/>
              <a:gd name="connsiteX8153" fmla="*/ 488343 w 4610101"/>
              <a:gd name="connsiteY8153" fmla="*/ 1598899 h 6557032"/>
              <a:gd name="connsiteX8154" fmla="*/ 481054 w 4610101"/>
              <a:gd name="connsiteY8154" fmla="*/ 1600721 h 6557032"/>
              <a:gd name="connsiteX8155" fmla="*/ 471943 w 4610101"/>
              <a:gd name="connsiteY8155" fmla="*/ 1609832 h 6557032"/>
              <a:gd name="connsiteX8156" fmla="*/ 484700 w 4610101"/>
              <a:gd name="connsiteY8156" fmla="*/ 1617121 h 6557032"/>
              <a:gd name="connsiteX8157" fmla="*/ 488343 w 4610101"/>
              <a:gd name="connsiteY8157" fmla="*/ 1598899 h 6557032"/>
              <a:gd name="connsiteX8158" fmla="*/ 355324 w 4610101"/>
              <a:gd name="connsiteY8158" fmla="*/ 1598899 h 6557032"/>
              <a:gd name="connsiteX8159" fmla="*/ 369902 w 4610101"/>
              <a:gd name="connsiteY8159" fmla="*/ 1604365 h 6557032"/>
              <a:gd name="connsiteX8160" fmla="*/ 355324 w 4610101"/>
              <a:gd name="connsiteY8160" fmla="*/ 1598899 h 6557032"/>
              <a:gd name="connsiteX8161" fmla="*/ 590697 w 4610101"/>
              <a:gd name="connsiteY8161" fmla="*/ 1598366 h 6557032"/>
              <a:gd name="connsiteX8162" fmla="*/ 594030 w 4610101"/>
              <a:gd name="connsiteY8162" fmla="*/ 1608010 h 6557032"/>
              <a:gd name="connsiteX8163" fmla="*/ 592207 w 4610101"/>
              <a:gd name="connsiteY8163" fmla="*/ 1604593 h 6557032"/>
              <a:gd name="connsiteX8164" fmla="*/ 592197 w 4610101"/>
              <a:gd name="connsiteY8164" fmla="*/ 1604552 h 6557032"/>
              <a:gd name="connsiteX8165" fmla="*/ 592207 w 4610101"/>
              <a:gd name="connsiteY8165" fmla="*/ 1604365 h 6557032"/>
              <a:gd name="connsiteX8166" fmla="*/ 592170 w 4610101"/>
              <a:gd name="connsiteY8166" fmla="*/ 1604436 h 6557032"/>
              <a:gd name="connsiteX8167" fmla="*/ 3106807 w 4610101"/>
              <a:gd name="connsiteY8167" fmla="*/ 1597077 h 6557032"/>
              <a:gd name="connsiteX8168" fmla="*/ 3104985 w 4610101"/>
              <a:gd name="connsiteY8168" fmla="*/ 1611654 h 6557032"/>
              <a:gd name="connsiteX8169" fmla="*/ 3114096 w 4610101"/>
              <a:gd name="connsiteY8169" fmla="*/ 1608010 h 6557032"/>
              <a:gd name="connsiteX8170" fmla="*/ 3117740 w 4610101"/>
              <a:gd name="connsiteY8170" fmla="*/ 1606188 h 6557032"/>
              <a:gd name="connsiteX8171" fmla="*/ 3106807 w 4610101"/>
              <a:gd name="connsiteY8171" fmla="*/ 1597077 h 6557032"/>
              <a:gd name="connsiteX8172" fmla="*/ 590385 w 4610101"/>
              <a:gd name="connsiteY8172" fmla="*/ 1597077 h 6557032"/>
              <a:gd name="connsiteX8173" fmla="*/ 590697 w 4610101"/>
              <a:gd name="connsiteY8173" fmla="*/ 1598366 h 6557032"/>
              <a:gd name="connsiteX8174" fmla="*/ 590316 w 4610101"/>
              <a:gd name="connsiteY8174" fmla="*/ 1597261 h 6557032"/>
              <a:gd name="connsiteX8175" fmla="*/ 351680 w 4610101"/>
              <a:gd name="connsiteY8175" fmla="*/ 1595255 h 6557032"/>
              <a:gd name="connsiteX8176" fmla="*/ 368079 w 4610101"/>
              <a:gd name="connsiteY8176" fmla="*/ 1598899 h 6557032"/>
              <a:gd name="connsiteX8177" fmla="*/ 351680 w 4610101"/>
              <a:gd name="connsiteY8177" fmla="*/ 1595255 h 6557032"/>
              <a:gd name="connsiteX8178" fmla="*/ 450077 w 4610101"/>
              <a:gd name="connsiteY8178" fmla="*/ 1595255 h 6557032"/>
              <a:gd name="connsiteX8179" fmla="*/ 448256 w 4610101"/>
              <a:gd name="connsiteY8179" fmla="*/ 1595255 h 6557032"/>
              <a:gd name="connsiteX8180" fmla="*/ 451899 w 4610101"/>
              <a:gd name="connsiteY8180" fmla="*/ 1595255 h 6557032"/>
              <a:gd name="connsiteX8181" fmla="*/ 450077 w 4610101"/>
              <a:gd name="connsiteY8181" fmla="*/ 1595255 h 6557032"/>
              <a:gd name="connsiteX8182" fmla="*/ 497226 w 4610101"/>
              <a:gd name="connsiteY8182" fmla="*/ 1594799 h 6557032"/>
              <a:gd name="connsiteX8183" fmla="*/ 493809 w 4610101"/>
              <a:gd name="connsiteY8183" fmla="*/ 1602543 h 6557032"/>
              <a:gd name="connsiteX8184" fmla="*/ 497454 w 4610101"/>
              <a:gd name="connsiteY8184" fmla="*/ 1611654 h 6557032"/>
              <a:gd name="connsiteX8185" fmla="*/ 510209 w 4610101"/>
              <a:gd name="connsiteY8185" fmla="*/ 1602543 h 6557032"/>
              <a:gd name="connsiteX8186" fmla="*/ 501098 w 4610101"/>
              <a:gd name="connsiteY8186" fmla="*/ 1602543 h 6557032"/>
              <a:gd name="connsiteX8187" fmla="*/ 504743 w 4610101"/>
              <a:gd name="connsiteY8187" fmla="*/ 1595255 h 6557032"/>
              <a:gd name="connsiteX8188" fmla="*/ 497226 w 4610101"/>
              <a:gd name="connsiteY8188" fmla="*/ 1594799 h 6557032"/>
              <a:gd name="connsiteX8189" fmla="*/ 588562 w 4610101"/>
              <a:gd name="connsiteY8189" fmla="*/ 1594713 h 6557032"/>
              <a:gd name="connsiteX8190" fmla="*/ 589701 w 4610101"/>
              <a:gd name="connsiteY8190" fmla="*/ 1595482 h 6557032"/>
              <a:gd name="connsiteX8191" fmla="*/ 590316 w 4610101"/>
              <a:gd name="connsiteY8191" fmla="*/ 1597261 h 6557032"/>
              <a:gd name="connsiteX8192" fmla="*/ 587651 w 4610101"/>
              <a:gd name="connsiteY8192" fmla="*/ 1604365 h 6557032"/>
              <a:gd name="connsiteX8193" fmla="*/ 585393 w 4610101"/>
              <a:gd name="connsiteY8193" fmla="*/ 1610387 h 6557032"/>
              <a:gd name="connsiteX8194" fmla="*/ 585601 w 4610101"/>
              <a:gd name="connsiteY8194" fmla="*/ 1608238 h 6557032"/>
              <a:gd name="connsiteX8195" fmla="*/ 584919 w 4610101"/>
              <a:gd name="connsiteY8195" fmla="*/ 1602543 h 6557032"/>
              <a:gd name="connsiteX8196" fmla="*/ 584479 w 4610101"/>
              <a:gd name="connsiteY8196" fmla="*/ 1603099 h 6557032"/>
              <a:gd name="connsiteX8197" fmla="*/ 584462 w 4610101"/>
              <a:gd name="connsiteY8197" fmla="*/ 1602771 h 6557032"/>
              <a:gd name="connsiteX8198" fmla="*/ 583926 w 4610101"/>
              <a:gd name="connsiteY8198" fmla="*/ 1601506 h 6557032"/>
              <a:gd name="connsiteX8199" fmla="*/ 585829 w 4610101"/>
              <a:gd name="connsiteY8199" fmla="*/ 1599127 h 6557032"/>
              <a:gd name="connsiteX8200" fmla="*/ 588562 w 4610101"/>
              <a:gd name="connsiteY8200" fmla="*/ 1597077 h 6557032"/>
              <a:gd name="connsiteX8201" fmla="*/ 462832 w 4610101"/>
              <a:gd name="connsiteY8201" fmla="*/ 1594344 h 6557032"/>
              <a:gd name="connsiteX8202" fmla="*/ 462832 w 4610101"/>
              <a:gd name="connsiteY8202" fmla="*/ 1598899 h 6557032"/>
              <a:gd name="connsiteX8203" fmla="*/ 468299 w 4610101"/>
              <a:gd name="connsiteY8203" fmla="*/ 1595255 h 6557032"/>
              <a:gd name="connsiteX8204" fmla="*/ 462832 w 4610101"/>
              <a:gd name="connsiteY8204" fmla="*/ 1594344 h 6557032"/>
              <a:gd name="connsiteX8205" fmla="*/ 871000 w 4610101"/>
              <a:gd name="connsiteY8205" fmla="*/ 1593463 h 6557032"/>
              <a:gd name="connsiteX8206" fmla="*/ 872821 w 4610101"/>
              <a:gd name="connsiteY8206" fmla="*/ 1593463 h 6557032"/>
              <a:gd name="connsiteX8207" fmla="*/ 860066 w 4610101"/>
              <a:gd name="connsiteY8207" fmla="*/ 1597109 h 6557032"/>
              <a:gd name="connsiteX8208" fmla="*/ 871000 w 4610101"/>
              <a:gd name="connsiteY8208" fmla="*/ 1593463 h 6557032"/>
              <a:gd name="connsiteX8209" fmla="*/ 721581 w 4610101"/>
              <a:gd name="connsiteY8209" fmla="*/ 1593432 h 6557032"/>
              <a:gd name="connsiteX8210" fmla="*/ 714749 w 4610101"/>
              <a:gd name="connsiteY8210" fmla="*/ 1599354 h 6557032"/>
              <a:gd name="connsiteX8211" fmla="*/ 710819 w 4610101"/>
              <a:gd name="connsiteY8211" fmla="*/ 1607649 h 6557032"/>
              <a:gd name="connsiteX8212" fmla="*/ 708826 w 4610101"/>
              <a:gd name="connsiteY8212" fmla="*/ 1609832 h 6557032"/>
              <a:gd name="connsiteX8213" fmla="*/ 719759 w 4610101"/>
              <a:gd name="connsiteY8213" fmla="*/ 1600721 h 6557032"/>
              <a:gd name="connsiteX8214" fmla="*/ 713609 w 4610101"/>
              <a:gd name="connsiteY8214" fmla="*/ 1604593 h 6557032"/>
              <a:gd name="connsiteX8215" fmla="*/ 710902 w 4610101"/>
              <a:gd name="connsiteY8215" fmla="*/ 1607558 h 6557032"/>
              <a:gd name="connsiteX8216" fmla="*/ 714749 w 4610101"/>
              <a:gd name="connsiteY8216" fmla="*/ 1600721 h 6557032"/>
              <a:gd name="connsiteX8217" fmla="*/ 721581 w 4610101"/>
              <a:gd name="connsiteY8217" fmla="*/ 1593432 h 6557032"/>
              <a:gd name="connsiteX8218" fmla="*/ 524786 w 4610101"/>
              <a:gd name="connsiteY8218" fmla="*/ 1593432 h 6557032"/>
              <a:gd name="connsiteX8219" fmla="*/ 521142 w 4610101"/>
              <a:gd name="connsiteY8219" fmla="*/ 1597077 h 6557032"/>
              <a:gd name="connsiteX8220" fmla="*/ 528431 w 4610101"/>
              <a:gd name="connsiteY8220" fmla="*/ 1595255 h 6557032"/>
              <a:gd name="connsiteX8221" fmla="*/ 524786 w 4610101"/>
              <a:gd name="connsiteY8221" fmla="*/ 1593432 h 6557032"/>
              <a:gd name="connsiteX8222" fmla="*/ 513853 w 4610101"/>
              <a:gd name="connsiteY8222" fmla="*/ 1593432 h 6557032"/>
              <a:gd name="connsiteX8223" fmla="*/ 506565 w 4610101"/>
              <a:gd name="connsiteY8223" fmla="*/ 1595255 h 6557032"/>
              <a:gd name="connsiteX8224" fmla="*/ 513853 w 4610101"/>
              <a:gd name="connsiteY8224" fmla="*/ 1593432 h 6557032"/>
              <a:gd name="connsiteX8225" fmla="*/ 455544 w 4610101"/>
              <a:gd name="connsiteY8225" fmla="*/ 1593432 h 6557032"/>
              <a:gd name="connsiteX8226" fmla="*/ 453722 w 4610101"/>
              <a:gd name="connsiteY8226" fmla="*/ 1597077 h 6557032"/>
              <a:gd name="connsiteX8227" fmla="*/ 459188 w 4610101"/>
              <a:gd name="connsiteY8227" fmla="*/ 1597077 h 6557032"/>
              <a:gd name="connsiteX8228" fmla="*/ 455544 w 4610101"/>
              <a:gd name="connsiteY8228" fmla="*/ 1593432 h 6557032"/>
              <a:gd name="connsiteX8229" fmla="*/ 379468 w 4610101"/>
              <a:gd name="connsiteY8229" fmla="*/ 1592293 h 6557032"/>
              <a:gd name="connsiteX8230" fmla="*/ 369902 w 4610101"/>
              <a:gd name="connsiteY8230" fmla="*/ 1593432 h 6557032"/>
              <a:gd name="connsiteX8231" fmla="*/ 386301 w 4610101"/>
              <a:gd name="connsiteY8231" fmla="*/ 1595255 h 6557032"/>
              <a:gd name="connsiteX8232" fmla="*/ 379468 w 4610101"/>
              <a:gd name="connsiteY8232" fmla="*/ 1592293 h 6557032"/>
              <a:gd name="connsiteX8233" fmla="*/ 3345511 w 4610101"/>
              <a:gd name="connsiteY8233" fmla="*/ 1591612 h 6557032"/>
              <a:gd name="connsiteX8234" fmla="*/ 3345511 w 4610101"/>
              <a:gd name="connsiteY8234" fmla="*/ 1602545 h 6557032"/>
              <a:gd name="connsiteX8235" fmla="*/ 3345511 w 4610101"/>
              <a:gd name="connsiteY8235" fmla="*/ 1591612 h 6557032"/>
              <a:gd name="connsiteX8236" fmla="*/ 681493 w 4610101"/>
              <a:gd name="connsiteY8236" fmla="*/ 1591610 h 6557032"/>
              <a:gd name="connsiteX8237" fmla="*/ 668738 w 4610101"/>
              <a:gd name="connsiteY8237" fmla="*/ 1597077 h 6557032"/>
              <a:gd name="connsiteX8238" fmla="*/ 681493 w 4610101"/>
              <a:gd name="connsiteY8238" fmla="*/ 1591610 h 6557032"/>
              <a:gd name="connsiteX8239" fmla="*/ 411812 w 4610101"/>
              <a:gd name="connsiteY8239" fmla="*/ 1591610 h 6557032"/>
              <a:gd name="connsiteX8240" fmla="*/ 409989 w 4610101"/>
              <a:gd name="connsiteY8240" fmla="*/ 1593432 h 6557032"/>
              <a:gd name="connsiteX8241" fmla="*/ 419100 w 4610101"/>
              <a:gd name="connsiteY8241" fmla="*/ 1595255 h 6557032"/>
              <a:gd name="connsiteX8242" fmla="*/ 411812 w 4610101"/>
              <a:gd name="connsiteY8242" fmla="*/ 1591610 h 6557032"/>
              <a:gd name="connsiteX8243" fmla="*/ 358969 w 4610101"/>
              <a:gd name="connsiteY8243" fmla="*/ 1591610 h 6557032"/>
              <a:gd name="connsiteX8244" fmla="*/ 368079 w 4610101"/>
              <a:gd name="connsiteY8244" fmla="*/ 1593432 h 6557032"/>
              <a:gd name="connsiteX8245" fmla="*/ 358969 w 4610101"/>
              <a:gd name="connsiteY8245" fmla="*/ 1591610 h 6557032"/>
              <a:gd name="connsiteX8246" fmla="*/ 855363 w 4610101"/>
              <a:gd name="connsiteY8246" fmla="*/ 1591257 h 6557032"/>
              <a:gd name="connsiteX8247" fmla="*/ 852778 w 4610101"/>
              <a:gd name="connsiteY8247" fmla="*/ 1592066 h 6557032"/>
              <a:gd name="connsiteX8248" fmla="*/ 845489 w 4610101"/>
              <a:gd name="connsiteY8248" fmla="*/ 1591610 h 6557032"/>
              <a:gd name="connsiteX8249" fmla="*/ 949353 w 4610101"/>
              <a:gd name="connsiteY8249" fmla="*/ 1589788 h 6557032"/>
              <a:gd name="connsiteX8250" fmla="*/ 896510 w 4610101"/>
              <a:gd name="connsiteY8250" fmla="*/ 1591610 h 6557032"/>
              <a:gd name="connsiteX8251" fmla="*/ 943886 w 4610101"/>
              <a:gd name="connsiteY8251" fmla="*/ 1598899 h 6557032"/>
              <a:gd name="connsiteX8252" fmla="*/ 967575 w 4610101"/>
              <a:gd name="connsiteY8252" fmla="*/ 1597077 h 6557032"/>
              <a:gd name="connsiteX8253" fmla="*/ 949353 w 4610101"/>
              <a:gd name="connsiteY8253" fmla="*/ 1589788 h 6557032"/>
              <a:gd name="connsiteX8254" fmla="*/ 588562 w 4610101"/>
              <a:gd name="connsiteY8254" fmla="*/ 1589788 h 6557032"/>
              <a:gd name="connsiteX8255" fmla="*/ 588562 w 4610101"/>
              <a:gd name="connsiteY8255" fmla="*/ 1594713 h 6557032"/>
              <a:gd name="connsiteX8256" fmla="*/ 586925 w 4610101"/>
              <a:gd name="connsiteY8256" fmla="*/ 1593607 h 6557032"/>
              <a:gd name="connsiteX8257" fmla="*/ 344391 w 4610101"/>
              <a:gd name="connsiteY8257" fmla="*/ 1589788 h 6557032"/>
              <a:gd name="connsiteX8258" fmla="*/ 342569 w 4610101"/>
              <a:gd name="connsiteY8258" fmla="*/ 1591610 h 6557032"/>
              <a:gd name="connsiteX8259" fmla="*/ 351680 w 4610101"/>
              <a:gd name="connsiteY8259" fmla="*/ 1593432 h 6557032"/>
              <a:gd name="connsiteX8260" fmla="*/ 344391 w 4610101"/>
              <a:gd name="connsiteY8260" fmla="*/ 1589788 h 6557032"/>
              <a:gd name="connsiteX8261" fmla="*/ 443473 w 4610101"/>
              <a:gd name="connsiteY8261" fmla="*/ 1589333 h 6557032"/>
              <a:gd name="connsiteX8262" fmla="*/ 440966 w 4610101"/>
              <a:gd name="connsiteY8262" fmla="*/ 1589788 h 6557032"/>
              <a:gd name="connsiteX8263" fmla="*/ 444611 w 4610101"/>
              <a:gd name="connsiteY8263" fmla="*/ 1591610 h 6557032"/>
              <a:gd name="connsiteX8264" fmla="*/ 443473 w 4610101"/>
              <a:gd name="connsiteY8264" fmla="*/ 1589333 h 6557032"/>
              <a:gd name="connsiteX8265" fmla="*/ 801756 w 4610101"/>
              <a:gd name="connsiteY8265" fmla="*/ 1587997 h 6557032"/>
              <a:gd name="connsiteX8266" fmla="*/ 858245 w 4610101"/>
              <a:gd name="connsiteY8266" fmla="*/ 1589819 h 6557032"/>
              <a:gd name="connsiteX8267" fmla="*/ 801756 w 4610101"/>
              <a:gd name="connsiteY8267" fmla="*/ 1587997 h 6557032"/>
              <a:gd name="connsiteX8268" fmla="*/ 437322 w 4610101"/>
              <a:gd name="connsiteY8268" fmla="*/ 1587966 h 6557032"/>
              <a:gd name="connsiteX8269" fmla="*/ 440966 w 4610101"/>
              <a:gd name="connsiteY8269" fmla="*/ 1593432 h 6557032"/>
              <a:gd name="connsiteX8270" fmla="*/ 437322 w 4610101"/>
              <a:gd name="connsiteY8270" fmla="*/ 1587966 h 6557032"/>
              <a:gd name="connsiteX8271" fmla="*/ 1123780 w 4610101"/>
              <a:gd name="connsiteY8271" fmla="*/ 1587587 h 6557032"/>
              <a:gd name="connsiteX8272" fmla="*/ 1125420 w 4610101"/>
              <a:gd name="connsiteY8272" fmla="*/ 1588877 h 6557032"/>
              <a:gd name="connsiteX8273" fmla="*/ 1127797 w 4610101"/>
              <a:gd name="connsiteY8273" fmla="*/ 1591662 h 6557032"/>
              <a:gd name="connsiteX8274" fmla="*/ 3401998 w 4610101"/>
              <a:gd name="connsiteY8274" fmla="*/ 1586145 h 6557032"/>
              <a:gd name="connsiteX8275" fmla="*/ 3405643 w 4610101"/>
              <a:gd name="connsiteY8275" fmla="*/ 1604367 h 6557032"/>
              <a:gd name="connsiteX8276" fmla="*/ 3401998 w 4610101"/>
              <a:gd name="connsiteY8276" fmla="*/ 1586145 h 6557032"/>
              <a:gd name="connsiteX8277" fmla="*/ 579452 w 4610101"/>
              <a:gd name="connsiteY8277" fmla="*/ 1586144 h 6557032"/>
              <a:gd name="connsiteX8278" fmla="*/ 572163 w 4610101"/>
              <a:gd name="connsiteY8278" fmla="*/ 1591610 h 6557032"/>
              <a:gd name="connsiteX8279" fmla="*/ 579452 w 4610101"/>
              <a:gd name="connsiteY8279" fmla="*/ 1586144 h 6557032"/>
              <a:gd name="connsiteX8280" fmla="*/ 422972 w 4610101"/>
              <a:gd name="connsiteY8280" fmla="*/ 1585005 h 6557032"/>
              <a:gd name="connsiteX8281" fmla="*/ 419100 w 4610101"/>
              <a:gd name="connsiteY8281" fmla="*/ 1586144 h 6557032"/>
              <a:gd name="connsiteX8282" fmla="*/ 428211 w 4610101"/>
              <a:gd name="connsiteY8282" fmla="*/ 1589788 h 6557032"/>
              <a:gd name="connsiteX8283" fmla="*/ 428211 w 4610101"/>
              <a:gd name="connsiteY8283" fmla="*/ 1587966 h 6557032"/>
              <a:gd name="connsiteX8284" fmla="*/ 422972 w 4610101"/>
              <a:gd name="connsiteY8284" fmla="*/ 1585005 h 6557032"/>
              <a:gd name="connsiteX8285" fmla="*/ 3352800 w 4610101"/>
              <a:gd name="connsiteY8285" fmla="*/ 1584323 h 6557032"/>
              <a:gd name="connsiteX8286" fmla="*/ 3360088 w 4610101"/>
              <a:gd name="connsiteY8286" fmla="*/ 1595256 h 6557032"/>
              <a:gd name="connsiteX8287" fmla="*/ 3360088 w 4610101"/>
              <a:gd name="connsiteY8287" fmla="*/ 1586145 h 6557032"/>
              <a:gd name="connsiteX8288" fmla="*/ 3352800 w 4610101"/>
              <a:gd name="connsiteY8288" fmla="*/ 1584323 h 6557032"/>
              <a:gd name="connsiteX8289" fmla="*/ 3099518 w 4610101"/>
              <a:gd name="connsiteY8289" fmla="*/ 1584321 h 6557032"/>
              <a:gd name="connsiteX8290" fmla="*/ 3094052 w 4610101"/>
              <a:gd name="connsiteY8290" fmla="*/ 1593432 h 6557032"/>
              <a:gd name="connsiteX8291" fmla="*/ 3097696 w 4610101"/>
              <a:gd name="connsiteY8291" fmla="*/ 1587966 h 6557032"/>
              <a:gd name="connsiteX8292" fmla="*/ 3099518 w 4610101"/>
              <a:gd name="connsiteY8292" fmla="*/ 1587966 h 6557032"/>
              <a:gd name="connsiteX8293" fmla="*/ 3099518 w 4610101"/>
              <a:gd name="connsiteY8293" fmla="*/ 1584321 h 6557032"/>
              <a:gd name="connsiteX8294" fmla="*/ 994907 w 4610101"/>
              <a:gd name="connsiteY8294" fmla="*/ 1584321 h 6557032"/>
              <a:gd name="connsiteX8295" fmla="*/ 1005840 w 4610101"/>
              <a:gd name="connsiteY8295" fmla="*/ 1600721 h 6557032"/>
              <a:gd name="connsiteX8296" fmla="*/ 994907 w 4610101"/>
              <a:gd name="connsiteY8296" fmla="*/ 1584321 h 6557032"/>
              <a:gd name="connsiteX8297" fmla="*/ 362613 w 4610101"/>
              <a:gd name="connsiteY8297" fmla="*/ 1584321 h 6557032"/>
              <a:gd name="connsiteX8298" fmla="*/ 375368 w 4610101"/>
              <a:gd name="connsiteY8298" fmla="*/ 1589788 h 6557032"/>
              <a:gd name="connsiteX8299" fmla="*/ 362613 w 4610101"/>
              <a:gd name="connsiteY8299" fmla="*/ 1584321 h 6557032"/>
              <a:gd name="connsiteX8300" fmla="*/ 3301780 w 4610101"/>
              <a:gd name="connsiteY8300" fmla="*/ 1582499 h 6557032"/>
              <a:gd name="connsiteX8301" fmla="*/ 3301780 w 4610101"/>
              <a:gd name="connsiteY8301" fmla="*/ 1591610 h 6557032"/>
              <a:gd name="connsiteX8302" fmla="*/ 3307246 w 4610101"/>
              <a:gd name="connsiteY8302" fmla="*/ 1584321 h 6557032"/>
              <a:gd name="connsiteX8303" fmla="*/ 3301780 w 4610101"/>
              <a:gd name="connsiteY8303" fmla="*/ 1582499 h 6557032"/>
              <a:gd name="connsiteX8304" fmla="*/ 497454 w 4610101"/>
              <a:gd name="connsiteY8304" fmla="*/ 1582499 h 6557032"/>
              <a:gd name="connsiteX8305" fmla="*/ 495632 w 4610101"/>
              <a:gd name="connsiteY8305" fmla="*/ 1587966 h 6557032"/>
              <a:gd name="connsiteX8306" fmla="*/ 501098 w 4610101"/>
              <a:gd name="connsiteY8306" fmla="*/ 1584321 h 6557032"/>
              <a:gd name="connsiteX8307" fmla="*/ 497454 w 4610101"/>
              <a:gd name="connsiteY8307" fmla="*/ 1582499 h 6557032"/>
              <a:gd name="connsiteX8308" fmla="*/ 491987 w 4610101"/>
              <a:gd name="connsiteY8308" fmla="*/ 1582499 h 6557032"/>
              <a:gd name="connsiteX8309" fmla="*/ 488343 w 4610101"/>
              <a:gd name="connsiteY8309" fmla="*/ 1589788 h 6557032"/>
              <a:gd name="connsiteX8310" fmla="*/ 491987 w 4610101"/>
              <a:gd name="connsiteY8310" fmla="*/ 1582499 h 6557032"/>
              <a:gd name="connsiteX8311" fmla="*/ 431856 w 4610101"/>
              <a:gd name="connsiteY8311" fmla="*/ 1582499 h 6557032"/>
              <a:gd name="connsiteX8312" fmla="*/ 426389 w 4610101"/>
              <a:gd name="connsiteY8312" fmla="*/ 1584321 h 6557032"/>
              <a:gd name="connsiteX8313" fmla="*/ 433678 w 4610101"/>
              <a:gd name="connsiteY8313" fmla="*/ 1586144 h 6557032"/>
              <a:gd name="connsiteX8314" fmla="*/ 431856 w 4610101"/>
              <a:gd name="connsiteY8314" fmla="*/ 1582499 h 6557032"/>
              <a:gd name="connsiteX8315" fmla="*/ 558498 w 4610101"/>
              <a:gd name="connsiteY8315" fmla="*/ 1581360 h 6557032"/>
              <a:gd name="connsiteX8316" fmla="*/ 555763 w 4610101"/>
              <a:gd name="connsiteY8316" fmla="*/ 1584321 h 6557032"/>
              <a:gd name="connsiteX8317" fmla="*/ 561230 w 4610101"/>
              <a:gd name="connsiteY8317" fmla="*/ 1582499 h 6557032"/>
              <a:gd name="connsiteX8318" fmla="*/ 558498 w 4610101"/>
              <a:gd name="connsiteY8318" fmla="*/ 1581360 h 6557032"/>
              <a:gd name="connsiteX8319" fmla="*/ 3030276 w 4610101"/>
              <a:gd name="connsiteY8319" fmla="*/ 1580677 h 6557032"/>
              <a:gd name="connsiteX8320" fmla="*/ 3022987 w 4610101"/>
              <a:gd name="connsiteY8320" fmla="*/ 1602543 h 6557032"/>
              <a:gd name="connsiteX8321" fmla="*/ 3008410 w 4610101"/>
              <a:gd name="connsiteY8321" fmla="*/ 1602543 h 6557032"/>
              <a:gd name="connsiteX8322" fmla="*/ 3008410 w 4610101"/>
              <a:gd name="connsiteY8322" fmla="*/ 1617121 h 6557032"/>
              <a:gd name="connsiteX8323" fmla="*/ 3039387 w 4610101"/>
              <a:gd name="connsiteY8323" fmla="*/ 1602543 h 6557032"/>
              <a:gd name="connsiteX8324" fmla="*/ 3030276 w 4610101"/>
              <a:gd name="connsiteY8324" fmla="*/ 1580677 h 6557032"/>
              <a:gd name="connsiteX8325" fmla="*/ 579452 w 4610101"/>
              <a:gd name="connsiteY8325" fmla="*/ 1580677 h 6557032"/>
              <a:gd name="connsiteX8326" fmla="*/ 575808 w 4610101"/>
              <a:gd name="connsiteY8326" fmla="*/ 1582499 h 6557032"/>
              <a:gd name="connsiteX8327" fmla="*/ 579452 w 4610101"/>
              <a:gd name="connsiteY8327" fmla="*/ 1580677 h 6557032"/>
              <a:gd name="connsiteX8328" fmla="*/ 868478 w 4610101"/>
              <a:gd name="connsiteY8328" fmla="*/ 1579647 h 6557032"/>
              <a:gd name="connsiteX8329" fmla="*/ 881933 w 4610101"/>
              <a:gd name="connsiteY8329" fmla="*/ 1584321 h 6557032"/>
              <a:gd name="connsiteX8330" fmla="*/ 877384 w 4610101"/>
              <a:gd name="connsiteY8330" fmla="*/ 1583563 h 6557032"/>
              <a:gd name="connsiteX8331" fmla="*/ 991263 w 4610101"/>
              <a:gd name="connsiteY8331" fmla="*/ 1578855 h 6557032"/>
              <a:gd name="connsiteX8332" fmla="*/ 994907 w 4610101"/>
              <a:gd name="connsiteY8332" fmla="*/ 1582499 h 6557032"/>
              <a:gd name="connsiteX8333" fmla="*/ 991263 w 4610101"/>
              <a:gd name="connsiteY8333" fmla="*/ 1578855 h 6557032"/>
              <a:gd name="connsiteX8334" fmla="*/ 502920 w 4610101"/>
              <a:gd name="connsiteY8334" fmla="*/ 1578855 h 6557032"/>
              <a:gd name="connsiteX8335" fmla="*/ 506565 w 4610101"/>
              <a:gd name="connsiteY8335" fmla="*/ 1580677 h 6557032"/>
              <a:gd name="connsiteX8336" fmla="*/ 505157 w 4610101"/>
              <a:gd name="connsiteY8336" fmla="*/ 1581091 h 6557032"/>
              <a:gd name="connsiteX8337" fmla="*/ 504743 w 4610101"/>
              <a:gd name="connsiteY8337" fmla="*/ 1580677 h 6557032"/>
              <a:gd name="connsiteX8338" fmla="*/ 502817 w 4610101"/>
              <a:gd name="connsiteY8338" fmla="*/ 1580195 h 6557032"/>
              <a:gd name="connsiteX8339" fmla="*/ 421151 w 4610101"/>
              <a:gd name="connsiteY8339" fmla="*/ 1576349 h 6557032"/>
              <a:gd name="connsiteX8340" fmla="*/ 417278 w 4610101"/>
              <a:gd name="connsiteY8340" fmla="*/ 1582499 h 6557032"/>
              <a:gd name="connsiteX8341" fmla="*/ 426389 w 4610101"/>
              <a:gd name="connsiteY8341" fmla="*/ 1577033 h 6557032"/>
              <a:gd name="connsiteX8342" fmla="*/ 421151 w 4610101"/>
              <a:gd name="connsiteY8342" fmla="*/ 1576349 h 6557032"/>
              <a:gd name="connsiteX8343" fmla="*/ 471943 w 4610101"/>
              <a:gd name="connsiteY8343" fmla="*/ 1575211 h 6557032"/>
              <a:gd name="connsiteX8344" fmla="*/ 464655 w 4610101"/>
              <a:gd name="connsiteY8344" fmla="*/ 1578855 h 6557032"/>
              <a:gd name="connsiteX8345" fmla="*/ 475589 w 4610101"/>
              <a:gd name="connsiteY8345" fmla="*/ 1578855 h 6557032"/>
              <a:gd name="connsiteX8346" fmla="*/ 468299 w 4610101"/>
              <a:gd name="connsiteY8346" fmla="*/ 1578855 h 6557032"/>
              <a:gd name="connsiteX8347" fmla="*/ 471943 w 4610101"/>
              <a:gd name="connsiteY8347" fmla="*/ 1575211 h 6557032"/>
              <a:gd name="connsiteX8348" fmla="*/ 453722 w 4610101"/>
              <a:gd name="connsiteY8348" fmla="*/ 1575211 h 6557032"/>
              <a:gd name="connsiteX8349" fmla="*/ 440966 w 4610101"/>
              <a:gd name="connsiteY8349" fmla="*/ 1586144 h 6557032"/>
              <a:gd name="connsiteX8350" fmla="*/ 450077 w 4610101"/>
              <a:gd name="connsiteY8350" fmla="*/ 1587966 h 6557032"/>
              <a:gd name="connsiteX8351" fmla="*/ 446433 w 4610101"/>
              <a:gd name="connsiteY8351" fmla="*/ 1584321 h 6557032"/>
              <a:gd name="connsiteX8352" fmla="*/ 453722 w 4610101"/>
              <a:gd name="connsiteY8352" fmla="*/ 1575211 h 6557032"/>
              <a:gd name="connsiteX8353" fmla="*/ 3285380 w 4610101"/>
              <a:gd name="connsiteY8353" fmla="*/ 1573388 h 6557032"/>
              <a:gd name="connsiteX8354" fmla="*/ 3292669 w 4610101"/>
              <a:gd name="connsiteY8354" fmla="*/ 1578855 h 6557032"/>
              <a:gd name="connsiteX8355" fmla="*/ 3285380 w 4610101"/>
              <a:gd name="connsiteY8355" fmla="*/ 1573388 h 6557032"/>
              <a:gd name="connsiteX8356" fmla="*/ 697893 w 4610101"/>
              <a:gd name="connsiteY8356" fmla="*/ 1573388 h 6557032"/>
              <a:gd name="connsiteX8357" fmla="*/ 692426 w 4610101"/>
              <a:gd name="connsiteY8357" fmla="*/ 1578855 h 6557032"/>
              <a:gd name="connsiteX8358" fmla="*/ 697893 w 4610101"/>
              <a:gd name="connsiteY8358" fmla="*/ 1573388 h 6557032"/>
              <a:gd name="connsiteX8359" fmla="*/ 553941 w 4610101"/>
              <a:gd name="connsiteY8359" fmla="*/ 1573388 h 6557032"/>
              <a:gd name="connsiteX8360" fmla="*/ 552119 w 4610101"/>
              <a:gd name="connsiteY8360" fmla="*/ 1578855 h 6557032"/>
              <a:gd name="connsiteX8361" fmla="*/ 553941 w 4610101"/>
              <a:gd name="connsiteY8361" fmla="*/ 1573388 h 6557032"/>
              <a:gd name="connsiteX8362" fmla="*/ 543008 w 4610101"/>
              <a:gd name="connsiteY8362" fmla="*/ 1573388 h 6557032"/>
              <a:gd name="connsiteX8363" fmla="*/ 541186 w 4610101"/>
              <a:gd name="connsiteY8363" fmla="*/ 1578855 h 6557032"/>
              <a:gd name="connsiteX8364" fmla="*/ 544830 w 4610101"/>
              <a:gd name="connsiteY8364" fmla="*/ 1577033 h 6557032"/>
              <a:gd name="connsiteX8365" fmla="*/ 543008 w 4610101"/>
              <a:gd name="connsiteY8365" fmla="*/ 1573388 h 6557032"/>
              <a:gd name="connsiteX8366" fmla="*/ 479232 w 4610101"/>
              <a:gd name="connsiteY8366" fmla="*/ 1573388 h 6557032"/>
              <a:gd name="connsiteX8367" fmla="*/ 477410 w 4610101"/>
              <a:gd name="connsiteY8367" fmla="*/ 1575211 h 6557032"/>
              <a:gd name="connsiteX8368" fmla="*/ 479232 w 4610101"/>
              <a:gd name="connsiteY8368" fmla="*/ 1580677 h 6557032"/>
              <a:gd name="connsiteX8369" fmla="*/ 479232 w 4610101"/>
              <a:gd name="connsiteY8369" fmla="*/ 1573388 h 6557032"/>
              <a:gd name="connsiteX8370" fmla="*/ 466478 w 4610101"/>
              <a:gd name="connsiteY8370" fmla="*/ 1573388 h 6557032"/>
              <a:gd name="connsiteX8371" fmla="*/ 457367 w 4610101"/>
              <a:gd name="connsiteY8371" fmla="*/ 1575211 h 6557032"/>
              <a:gd name="connsiteX8372" fmla="*/ 455544 w 4610101"/>
              <a:gd name="connsiteY8372" fmla="*/ 1584321 h 6557032"/>
              <a:gd name="connsiteX8373" fmla="*/ 466478 w 4610101"/>
              <a:gd name="connsiteY8373" fmla="*/ 1582499 h 6557032"/>
              <a:gd name="connsiteX8374" fmla="*/ 466478 w 4610101"/>
              <a:gd name="connsiteY8374" fmla="*/ 1586144 h 6557032"/>
              <a:gd name="connsiteX8375" fmla="*/ 471943 w 4610101"/>
              <a:gd name="connsiteY8375" fmla="*/ 1582499 h 6557032"/>
              <a:gd name="connsiteX8376" fmla="*/ 466478 w 4610101"/>
              <a:gd name="connsiteY8376" fmla="*/ 1582499 h 6557032"/>
              <a:gd name="connsiteX8377" fmla="*/ 457367 w 4610101"/>
              <a:gd name="connsiteY8377" fmla="*/ 1580677 h 6557032"/>
              <a:gd name="connsiteX8378" fmla="*/ 466478 w 4610101"/>
              <a:gd name="connsiteY8378" fmla="*/ 1573388 h 6557032"/>
              <a:gd name="connsiteX8379" fmla="*/ 329814 w 4610101"/>
              <a:gd name="connsiteY8379" fmla="*/ 1573388 h 6557032"/>
              <a:gd name="connsiteX8380" fmla="*/ 335280 w 4610101"/>
              <a:gd name="connsiteY8380" fmla="*/ 1578855 h 6557032"/>
              <a:gd name="connsiteX8381" fmla="*/ 329814 w 4610101"/>
              <a:gd name="connsiteY8381" fmla="*/ 1573388 h 6557032"/>
              <a:gd name="connsiteX8382" fmla="*/ 3350977 w 4610101"/>
              <a:gd name="connsiteY8382" fmla="*/ 1569746 h 6557032"/>
              <a:gd name="connsiteX8383" fmla="*/ 3350977 w 4610101"/>
              <a:gd name="connsiteY8383" fmla="*/ 1580679 h 6557032"/>
              <a:gd name="connsiteX8384" fmla="*/ 3358266 w 4610101"/>
              <a:gd name="connsiteY8384" fmla="*/ 1580679 h 6557032"/>
              <a:gd name="connsiteX8385" fmla="*/ 3350977 w 4610101"/>
              <a:gd name="connsiteY8385" fmla="*/ 1569746 h 6557032"/>
              <a:gd name="connsiteX8386" fmla="*/ 512031 w 4610101"/>
              <a:gd name="connsiteY8386" fmla="*/ 1569744 h 6557032"/>
              <a:gd name="connsiteX8387" fmla="*/ 512031 w 4610101"/>
              <a:gd name="connsiteY8387" fmla="*/ 1575211 h 6557032"/>
              <a:gd name="connsiteX8388" fmla="*/ 517498 w 4610101"/>
              <a:gd name="connsiteY8388" fmla="*/ 1575211 h 6557032"/>
              <a:gd name="connsiteX8389" fmla="*/ 512031 w 4610101"/>
              <a:gd name="connsiteY8389" fmla="*/ 1569744 h 6557032"/>
              <a:gd name="connsiteX8390" fmla="*/ 1093027 w 4610101"/>
              <a:gd name="connsiteY8390" fmla="*/ 1569645 h 6557032"/>
              <a:gd name="connsiteX8391" fmla="*/ 1093305 w 4610101"/>
              <a:gd name="connsiteY8391" fmla="*/ 1569744 h 6557032"/>
              <a:gd name="connsiteX8392" fmla="*/ 1080549 w 4610101"/>
              <a:gd name="connsiteY8392" fmla="*/ 1573388 h 6557032"/>
              <a:gd name="connsiteX8393" fmla="*/ 3245086 w 4610101"/>
              <a:gd name="connsiteY8393" fmla="*/ 1568142 h 6557032"/>
              <a:gd name="connsiteX8394" fmla="*/ 3238915 w 4610101"/>
              <a:gd name="connsiteY8394" fmla="*/ 1574755 h 6557032"/>
              <a:gd name="connsiteX8395" fmla="*/ 3236565 w 4610101"/>
              <a:gd name="connsiteY8395" fmla="*/ 1572238 h 6557032"/>
              <a:gd name="connsiteX8396" fmla="*/ 3244609 w 4610101"/>
              <a:gd name="connsiteY8396" fmla="*/ 1568150 h 6557032"/>
              <a:gd name="connsiteX8397" fmla="*/ 572163 w 4610101"/>
              <a:gd name="connsiteY8397" fmla="*/ 1567922 h 6557032"/>
              <a:gd name="connsiteX8398" fmla="*/ 568519 w 4610101"/>
              <a:gd name="connsiteY8398" fmla="*/ 1571566 h 6557032"/>
              <a:gd name="connsiteX8399" fmla="*/ 572163 w 4610101"/>
              <a:gd name="connsiteY8399" fmla="*/ 1567922 h 6557032"/>
              <a:gd name="connsiteX8400" fmla="*/ 557586 w 4610101"/>
              <a:gd name="connsiteY8400" fmla="*/ 1567922 h 6557032"/>
              <a:gd name="connsiteX8401" fmla="*/ 557586 w 4610101"/>
              <a:gd name="connsiteY8401" fmla="*/ 1575211 h 6557032"/>
              <a:gd name="connsiteX8402" fmla="*/ 561230 w 4610101"/>
              <a:gd name="connsiteY8402" fmla="*/ 1569744 h 6557032"/>
              <a:gd name="connsiteX8403" fmla="*/ 557586 w 4610101"/>
              <a:gd name="connsiteY8403" fmla="*/ 1567922 h 6557032"/>
              <a:gd name="connsiteX8404" fmla="*/ 484700 w 4610101"/>
              <a:gd name="connsiteY8404" fmla="*/ 1567922 h 6557032"/>
              <a:gd name="connsiteX8405" fmla="*/ 481054 w 4610101"/>
              <a:gd name="connsiteY8405" fmla="*/ 1569744 h 6557032"/>
              <a:gd name="connsiteX8406" fmla="*/ 484700 w 4610101"/>
              <a:gd name="connsiteY8406" fmla="*/ 1567922 h 6557032"/>
              <a:gd name="connsiteX8407" fmla="*/ 440966 w 4610101"/>
              <a:gd name="connsiteY8407" fmla="*/ 1567922 h 6557032"/>
              <a:gd name="connsiteX8408" fmla="*/ 433678 w 4610101"/>
              <a:gd name="connsiteY8408" fmla="*/ 1582499 h 6557032"/>
              <a:gd name="connsiteX8409" fmla="*/ 450077 w 4610101"/>
              <a:gd name="connsiteY8409" fmla="*/ 1571566 h 6557032"/>
              <a:gd name="connsiteX8410" fmla="*/ 442789 w 4610101"/>
              <a:gd name="connsiteY8410" fmla="*/ 1569744 h 6557032"/>
              <a:gd name="connsiteX8411" fmla="*/ 444611 w 4610101"/>
              <a:gd name="connsiteY8411" fmla="*/ 1575211 h 6557032"/>
              <a:gd name="connsiteX8412" fmla="*/ 440966 w 4610101"/>
              <a:gd name="connsiteY8412" fmla="*/ 1567922 h 6557032"/>
              <a:gd name="connsiteX8413" fmla="*/ 3181516 w 4610101"/>
              <a:gd name="connsiteY8413" fmla="*/ 1566100 h 6557032"/>
              <a:gd name="connsiteX8414" fmla="*/ 3170583 w 4610101"/>
              <a:gd name="connsiteY8414" fmla="*/ 1573388 h 6557032"/>
              <a:gd name="connsiteX8415" fmla="*/ 3163294 w 4610101"/>
              <a:gd name="connsiteY8415" fmla="*/ 1571566 h 6557032"/>
              <a:gd name="connsiteX8416" fmla="*/ 3190627 w 4610101"/>
              <a:gd name="connsiteY8416" fmla="*/ 1571566 h 6557032"/>
              <a:gd name="connsiteX8417" fmla="*/ 3186982 w 4610101"/>
              <a:gd name="connsiteY8417" fmla="*/ 1567922 h 6557032"/>
              <a:gd name="connsiteX8418" fmla="*/ 1129748 w 4610101"/>
              <a:gd name="connsiteY8418" fmla="*/ 1566100 h 6557032"/>
              <a:gd name="connsiteX8419" fmla="*/ 1149792 w 4610101"/>
              <a:gd name="connsiteY8419" fmla="*/ 1586144 h 6557032"/>
              <a:gd name="connsiteX8420" fmla="*/ 1137037 w 4610101"/>
              <a:gd name="connsiteY8420" fmla="*/ 1576122 h 6557032"/>
              <a:gd name="connsiteX8421" fmla="*/ 1136228 w 4610101"/>
              <a:gd name="connsiteY8421" fmla="*/ 1575008 h 6557032"/>
              <a:gd name="connsiteX8422" fmla="*/ 1137037 w 4610101"/>
              <a:gd name="connsiteY8422" fmla="*/ 1573388 h 6557032"/>
              <a:gd name="connsiteX8423" fmla="*/ 1135750 w 4610101"/>
              <a:gd name="connsiteY8423" fmla="*/ 1574353 h 6557032"/>
              <a:gd name="connsiteX8424" fmla="*/ 707004 w 4610101"/>
              <a:gd name="connsiteY8424" fmla="*/ 1566100 h 6557032"/>
              <a:gd name="connsiteX8425" fmla="*/ 699715 w 4610101"/>
              <a:gd name="connsiteY8425" fmla="*/ 1578855 h 6557032"/>
              <a:gd name="connsiteX8426" fmla="*/ 676027 w 4610101"/>
              <a:gd name="connsiteY8426" fmla="*/ 1618943 h 6557032"/>
              <a:gd name="connsiteX8427" fmla="*/ 681493 w 4610101"/>
              <a:gd name="connsiteY8427" fmla="*/ 1618943 h 6557032"/>
              <a:gd name="connsiteX8428" fmla="*/ 668738 w 4610101"/>
              <a:gd name="connsiteY8428" fmla="*/ 1637164 h 6557032"/>
              <a:gd name="connsiteX8429" fmla="*/ 666916 w 4610101"/>
              <a:gd name="connsiteY8429" fmla="*/ 1631698 h 6557032"/>
              <a:gd name="connsiteX8430" fmla="*/ 670560 w 4610101"/>
              <a:gd name="connsiteY8430" fmla="*/ 1644453 h 6557032"/>
              <a:gd name="connsiteX8431" fmla="*/ 657805 w 4610101"/>
              <a:gd name="connsiteY8431" fmla="*/ 1649920 h 6557032"/>
              <a:gd name="connsiteX8432" fmla="*/ 665094 w 4610101"/>
              <a:gd name="connsiteY8432" fmla="*/ 1655386 h 6557032"/>
              <a:gd name="connsiteX8433" fmla="*/ 657805 w 4610101"/>
              <a:gd name="connsiteY8433" fmla="*/ 1666319 h 6557032"/>
              <a:gd name="connsiteX8434" fmla="*/ 679671 w 4610101"/>
              <a:gd name="connsiteY8434" fmla="*/ 1662675 h 6557032"/>
              <a:gd name="connsiteX8435" fmla="*/ 674205 w 4610101"/>
              <a:gd name="connsiteY8435" fmla="*/ 1659031 h 6557032"/>
              <a:gd name="connsiteX8436" fmla="*/ 696071 w 4610101"/>
              <a:gd name="connsiteY8436" fmla="*/ 1620765 h 6557032"/>
              <a:gd name="connsiteX8437" fmla="*/ 683316 w 4610101"/>
              <a:gd name="connsiteY8437" fmla="*/ 1620765 h 6557032"/>
              <a:gd name="connsiteX8438" fmla="*/ 707004 w 4610101"/>
              <a:gd name="connsiteY8438" fmla="*/ 1566100 h 6557032"/>
              <a:gd name="connsiteX8439" fmla="*/ 597673 w 4610101"/>
              <a:gd name="connsiteY8439" fmla="*/ 1566100 h 6557032"/>
              <a:gd name="connsiteX8440" fmla="*/ 586741 w 4610101"/>
              <a:gd name="connsiteY8440" fmla="*/ 1584321 h 6557032"/>
              <a:gd name="connsiteX8441" fmla="*/ 597673 w 4610101"/>
              <a:gd name="connsiteY8441" fmla="*/ 1566100 h 6557032"/>
              <a:gd name="connsiteX8442" fmla="*/ 524786 w 4610101"/>
              <a:gd name="connsiteY8442" fmla="*/ 1566100 h 6557032"/>
              <a:gd name="connsiteX8443" fmla="*/ 526609 w 4610101"/>
              <a:gd name="connsiteY8443" fmla="*/ 1578855 h 6557032"/>
              <a:gd name="connsiteX8444" fmla="*/ 524786 w 4610101"/>
              <a:gd name="connsiteY8444" fmla="*/ 1566100 h 6557032"/>
              <a:gd name="connsiteX8445" fmla="*/ 502920 w 4610101"/>
              <a:gd name="connsiteY8445" fmla="*/ 1566100 h 6557032"/>
              <a:gd name="connsiteX8446" fmla="*/ 499275 w 4610101"/>
              <a:gd name="connsiteY8446" fmla="*/ 1573388 h 6557032"/>
              <a:gd name="connsiteX8447" fmla="*/ 500855 w 4610101"/>
              <a:gd name="connsiteY8447" fmla="*/ 1579705 h 6557032"/>
              <a:gd name="connsiteX8448" fmla="*/ 500577 w 4610101"/>
              <a:gd name="connsiteY8448" fmla="*/ 1579636 h 6557032"/>
              <a:gd name="connsiteX8449" fmla="*/ 499959 w 4610101"/>
              <a:gd name="connsiteY8449" fmla="*/ 1578399 h 6557032"/>
              <a:gd name="connsiteX8450" fmla="*/ 497454 w 4610101"/>
              <a:gd name="connsiteY8450" fmla="*/ 1578855 h 6557032"/>
              <a:gd name="connsiteX8451" fmla="*/ 500577 w 4610101"/>
              <a:gd name="connsiteY8451" fmla="*/ 1579636 h 6557032"/>
              <a:gd name="connsiteX8452" fmla="*/ 501098 w 4610101"/>
              <a:gd name="connsiteY8452" fmla="*/ 1580677 h 6557032"/>
              <a:gd name="connsiteX8453" fmla="*/ 500855 w 4610101"/>
              <a:gd name="connsiteY8453" fmla="*/ 1579705 h 6557032"/>
              <a:gd name="connsiteX8454" fmla="*/ 502817 w 4610101"/>
              <a:gd name="connsiteY8454" fmla="*/ 1580195 h 6557032"/>
              <a:gd name="connsiteX8455" fmla="*/ 502694 w 4610101"/>
              <a:gd name="connsiteY8455" fmla="*/ 1581816 h 6557032"/>
              <a:gd name="connsiteX8456" fmla="*/ 505157 w 4610101"/>
              <a:gd name="connsiteY8456" fmla="*/ 1581091 h 6557032"/>
              <a:gd name="connsiteX8457" fmla="*/ 506565 w 4610101"/>
              <a:gd name="connsiteY8457" fmla="*/ 1582499 h 6557032"/>
              <a:gd name="connsiteX8458" fmla="*/ 504743 w 4610101"/>
              <a:gd name="connsiteY8458" fmla="*/ 1584321 h 6557032"/>
              <a:gd name="connsiteX8459" fmla="*/ 508387 w 4610101"/>
              <a:gd name="connsiteY8459" fmla="*/ 1582499 h 6557032"/>
              <a:gd name="connsiteX8460" fmla="*/ 506565 w 4610101"/>
              <a:gd name="connsiteY8460" fmla="*/ 1578855 h 6557032"/>
              <a:gd name="connsiteX8461" fmla="*/ 502920 w 4610101"/>
              <a:gd name="connsiteY8461" fmla="*/ 1566100 h 6557032"/>
              <a:gd name="connsiteX8462" fmla="*/ 3143250 w 4610101"/>
              <a:gd name="connsiteY8462" fmla="*/ 1564278 h 6557032"/>
              <a:gd name="connsiteX8463" fmla="*/ 3141428 w 4610101"/>
              <a:gd name="connsiteY8463" fmla="*/ 1571566 h 6557032"/>
              <a:gd name="connsiteX8464" fmla="*/ 3143250 w 4610101"/>
              <a:gd name="connsiteY8464" fmla="*/ 1564278 h 6557032"/>
              <a:gd name="connsiteX8465" fmla="*/ 3084941 w 4610101"/>
              <a:gd name="connsiteY8465" fmla="*/ 1564278 h 6557032"/>
              <a:gd name="connsiteX8466" fmla="*/ 3099518 w 4610101"/>
              <a:gd name="connsiteY8466" fmla="*/ 1564278 h 6557032"/>
              <a:gd name="connsiteX8467" fmla="*/ 3086763 w 4610101"/>
              <a:gd name="connsiteY8467" fmla="*/ 1577033 h 6557032"/>
              <a:gd name="connsiteX8468" fmla="*/ 3084941 w 4610101"/>
              <a:gd name="connsiteY8468" fmla="*/ 1578855 h 6557032"/>
              <a:gd name="connsiteX8469" fmla="*/ 803383 w 4610101"/>
              <a:gd name="connsiteY8469" fmla="*/ 1562092 h 6557032"/>
              <a:gd name="connsiteX8470" fmla="*/ 803579 w 4610101"/>
              <a:gd name="connsiteY8470" fmla="*/ 1562455 h 6557032"/>
              <a:gd name="connsiteX8471" fmla="*/ 787964 w 4610101"/>
              <a:gd name="connsiteY8471" fmla="*/ 1562455 h 6557032"/>
              <a:gd name="connsiteX8472" fmla="*/ 813902 w 4610101"/>
              <a:gd name="connsiteY8472" fmla="*/ 1561845 h 6557032"/>
              <a:gd name="connsiteX8473" fmla="*/ 814512 w 4610101"/>
              <a:gd name="connsiteY8473" fmla="*/ 1562455 h 6557032"/>
              <a:gd name="connsiteX8474" fmla="*/ 813231 w 4610101"/>
              <a:gd name="connsiteY8474" fmla="*/ 1561861 h 6557032"/>
              <a:gd name="connsiteX8475" fmla="*/ 841845 w 4610101"/>
              <a:gd name="connsiteY8475" fmla="*/ 1560633 h 6557032"/>
              <a:gd name="connsiteX8476" fmla="*/ 838200 w 4610101"/>
              <a:gd name="connsiteY8476" fmla="*/ 1562455 h 6557032"/>
              <a:gd name="connsiteX8477" fmla="*/ 841845 w 4610101"/>
              <a:gd name="connsiteY8477" fmla="*/ 1560633 h 6557032"/>
              <a:gd name="connsiteX8478" fmla="*/ 552119 w 4610101"/>
              <a:gd name="connsiteY8478" fmla="*/ 1560633 h 6557032"/>
              <a:gd name="connsiteX8479" fmla="*/ 552119 w 4610101"/>
              <a:gd name="connsiteY8479" fmla="*/ 1567922 h 6557032"/>
              <a:gd name="connsiteX8480" fmla="*/ 557586 w 4610101"/>
              <a:gd name="connsiteY8480" fmla="*/ 1566100 h 6557032"/>
              <a:gd name="connsiteX8481" fmla="*/ 552119 w 4610101"/>
              <a:gd name="connsiteY8481" fmla="*/ 1560633 h 6557032"/>
              <a:gd name="connsiteX8482" fmla="*/ 349858 w 4610101"/>
              <a:gd name="connsiteY8482" fmla="*/ 1560633 h 6557032"/>
              <a:gd name="connsiteX8483" fmla="*/ 373546 w 4610101"/>
              <a:gd name="connsiteY8483" fmla="*/ 1573388 h 6557032"/>
              <a:gd name="connsiteX8484" fmla="*/ 385871 w 4610101"/>
              <a:gd name="connsiteY8484" fmla="*/ 1578318 h 6557032"/>
              <a:gd name="connsiteX8485" fmla="*/ 360791 w 4610101"/>
              <a:gd name="connsiteY8485" fmla="*/ 1570655 h 6557032"/>
              <a:gd name="connsiteX8486" fmla="*/ 350970 w 4610101"/>
              <a:gd name="connsiteY8486" fmla="*/ 1563126 h 6557032"/>
              <a:gd name="connsiteX8487" fmla="*/ 771882 w 4610101"/>
              <a:gd name="connsiteY8487" fmla="*/ 1560328 h 6557032"/>
              <a:gd name="connsiteX8488" fmla="*/ 774424 w 4610101"/>
              <a:gd name="connsiteY8488" fmla="*/ 1560633 h 6557032"/>
              <a:gd name="connsiteX8489" fmla="*/ 774144 w 4610101"/>
              <a:gd name="connsiteY8489" fmla="*/ 1560873 h 6557032"/>
              <a:gd name="connsiteX8490" fmla="*/ 606700 w 4610101"/>
              <a:gd name="connsiteY8490" fmla="*/ 1559836 h 6557032"/>
              <a:gd name="connsiteX8491" fmla="*/ 612251 w 4610101"/>
              <a:gd name="connsiteY8491" fmla="*/ 1560633 h 6557032"/>
              <a:gd name="connsiteX8492" fmla="*/ 601318 w 4610101"/>
              <a:gd name="connsiteY8492" fmla="*/ 1575211 h 6557032"/>
              <a:gd name="connsiteX8493" fmla="*/ 606700 w 4610101"/>
              <a:gd name="connsiteY8493" fmla="*/ 1559836 h 6557032"/>
              <a:gd name="connsiteX8494" fmla="*/ 1333832 w 4610101"/>
              <a:gd name="connsiteY8494" fmla="*/ 1558811 h 6557032"/>
              <a:gd name="connsiteX8495" fmla="*/ 1333832 w 4610101"/>
              <a:gd name="connsiteY8495" fmla="*/ 1573388 h 6557032"/>
              <a:gd name="connsiteX8496" fmla="*/ 1355698 w 4610101"/>
              <a:gd name="connsiteY8496" fmla="*/ 1558811 h 6557032"/>
              <a:gd name="connsiteX8497" fmla="*/ 453722 w 4610101"/>
              <a:gd name="connsiteY8497" fmla="*/ 1558811 h 6557032"/>
              <a:gd name="connsiteX8498" fmla="*/ 455544 w 4610101"/>
              <a:gd name="connsiteY8498" fmla="*/ 1567922 h 6557032"/>
              <a:gd name="connsiteX8499" fmla="*/ 453722 w 4610101"/>
              <a:gd name="connsiteY8499" fmla="*/ 1558811 h 6557032"/>
              <a:gd name="connsiteX8500" fmla="*/ 3367377 w 4610101"/>
              <a:gd name="connsiteY8500" fmla="*/ 1556990 h 6557032"/>
              <a:gd name="connsiteX8501" fmla="*/ 3360088 w 4610101"/>
              <a:gd name="connsiteY8501" fmla="*/ 1558813 h 6557032"/>
              <a:gd name="connsiteX8502" fmla="*/ 3371021 w 4610101"/>
              <a:gd name="connsiteY8502" fmla="*/ 1567924 h 6557032"/>
              <a:gd name="connsiteX8503" fmla="*/ 3367377 w 4610101"/>
              <a:gd name="connsiteY8503" fmla="*/ 1556990 h 6557032"/>
              <a:gd name="connsiteX8504" fmla="*/ 1266411 w 4610101"/>
              <a:gd name="connsiteY8504" fmla="*/ 1556989 h 6557032"/>
              <a:gd name="connsiteX8505" fmla="*/ 1259123 w 4610101"/>
              <a:gd name="connsiteY8505" fmla="*/ 1578855 h 6557032"/>
              <a:gd name="connsiteX8506" fmla="*/ 1255478 w 4610101"/>
              <a:gd name="connsiteY8506" fmla="*/ 1571566 h 6557032"/>
              <a:gd name="connsiteX8507" fmla="*/ 1250012 w 4610101"/>
              <a:gd name="connsiteY8507" fmla="*/ 1569744 h 6557032"/>
              <a:gd name="connsiteX8508" fmla="*/ 1253656 w 4610101"/>
              <a:gd name="connsiteY8508" fmla="*/ 1569744 h 6557032"/>
              <a:gd name="connsiteX8509" fmla="*/ 1251154 w 4610101"/>
              <a:gd name="connsiteY8509" fmla="*/ 1565991 h 6557032"/>
              <a:gd name="connsiteX8510" fmla="*/ 1251606 w 4610101"/>
              <a:gd name="connsiteY8510" fmla="*/ 1564505 h 6557032"/>
              <a:gd name="connsiteX8511" fmla="*/ 1251663 w 4610101"/>
              <a:gd name="connsiteY8511" fmla="*/ 1563544 h 6557032"/>
              <a:gd name="connsiteX8512" fmla="*/ 758025 w 4610101"/>
              <a:gd name="connsiteY8512" fmla="*/ 1556989 h 6557032"/>
              <a:gd name="connsiteX8513" fmla="*/ 771882 w 4610101"/>
              <a:gd name="connsiteY8513" fmla="*/ 1560328 h 6557032"/>
              <a:gd name="connsiteX8514" fmla="*/ 758607 w 4610101"/>
              <a:gd name="connsiteY8514" fmla="*/ 1558735 h 6557032"/>
              <a:gd name="connsiteX8515" fmla="*/ 696071 w 4610101"/>
              <a:gd name="connsiteY8515" fmla="*/ 1556989 h 6557032"/>
              <a:gd name="connsiteX8516" fmla="*/ 668738 w 4610101"/>
              <a:gd name="connsiteY8516" fmla="*/ 1593432 h 6557032"/>
              <a:gd name="connsiteX8517" fmla="*/ 696071 w 4610101"/>
              <a:gd name="connsiteY8517" fmla="*/ 1556989 h 6557032"/>
              <a:gd name="connsiteX8518" fmla="*/ 465794 w 4610101"/>
              <a:gd name="connsiteY8518" fmla="*/ 1556078 h 6557032"/>
              <a:gd name="connsiteX8519" fmla="*/ 461010 w 4610101"/>
              <a:gd name="connsiteY8519" fmla="*/ 1567922 h 6557032"/>
              <a:gd name="connsiteX8520" fmla="*/ 473766 w 4610101"/>
              <a:gd name="connsiteY8520" fmla="*/ 1571566 h 6557032"/>
              <a:gd name="connsiteX8521" fmla="*/ 470121 w 4610101"/>
              <a:gd name="connsiteY8521" fmla="*/ 1562455 h 6557032"/>
              <a:gd name="connsiteX8522" fmla="*/ 477410 w 4610101"/>
              <a:gd name="connsiteY8522" fmla="*/ 1569744 h 6557032"/>
              <a:gd name="connsiteX8523" fmla="*/ 482876 w 4610101"/>
              <a:gd name="connsiteY8523" fmla="*/ 1560633 h 6557032"/>
              <a:gd name="connsiteX8524" fmla="*/ 465794 w 4610101"/>
              <a:gd name="connsiteY8524" fmla="*/ 1556078 h 6557032"/>
              <a:gd name="connsiteX8525" fmla="*/ 621830 w 4610101"/>
              <a:gd name="connsiteY8525" fmla="*/ 1556051 h 6557032"/>
              <a:gd name="connsiteX8526" fmla="*/ 612251 w 4610101"/>
              <a:gd name="connsiteY8526" fmla="*/ 1575211 h 6557032"/>
              <a:gd name="connsiteX8527" fmla="*/ 618401 w 4610101"/>
              <a:gd name="connsiteY8527" fmla="*/ 1557900 h 6557032"/>
              <a:gd name="connsiteX8528" fmla="*/ 618778 w 4610101"/>
              <a:gd name="connsiteY8528" fmla="*/ 1556533 h 6557032"/>
              <a:gd name="connsiteX8529" fmla="*/ 1074071 w 4610101"/>
              <a:gd name="connsiteY8529" fmla="*/ 1555976 h 6557032"/>
              <a:gd name="connsiteX8530" fmla="*/ 1074627 w 4610101"/>
              <a:gd name="connsiteY8530" fmla="*/ 1556078 h 6557032"/>
              <a:gd name="connsiteX8531" fmla="*/ 1075326 w 4610101"/>
              <a:gd name="connsiteY8531" fmla="*/ 1556392 h 6557032"/>
              <a:gd name="connsiteX8532" fmla="*/ 729729 w 4610101"/>
              <a:gd name="connsiteY8532" fmla="*/ 1555270 h 6557032"/>
              <a:gd name="connsiteX8533" fmla="*/ 758607 w 4610101"/>
              <a:gd name="connsiteY8533" fmla="*/ 1558735 h 6557032"/>
              <a:gd name="connsiteX8534" fmla="*/ 759848 w 4610101"/>
              <a:gd name="connsiteY8534" fmla="*/ 1562455 h 6557032"/>
              <a:gd name="connsiteX8535" fmla="*/ 739803 w 4610101"/>
              <a:gd name="connsiteY8535" fmla="*/ 1556989 h 6557032"/>
              <a:gd name="connsiteX8536" fmla="*/ 728870 w 4610101"/>
              <a:gd name="connsiteY8536" fmla="*/ 1556989 h 6557032"/>
              <a:gd name="connsiteX8537" fmla="*/ 717025 w 4610101"/>
              <a:gd name="connsiteY8537" fmla="*/ 1555252 h 6557032"/>
              <a:gd name="connsiteX8538" fmla="*/ 708826 w 4610101"/>
              <a:gd name="connsiteY8538" fmla="*/ 1577033 h 6557032"/>
              <a:gd name="connsiteX8539" fmla="*/ 710648 w 4610101"/>
              <a:gd name="connsiteY8539" fmla="*/ 1591610 h 6557032"/>
              <a:gd name="connsiteX8540" fmla="*/ 707004 w 4610101"/>
              <a:gd name="connsiteY8540" fmla="*/ 1589788 h 6557032"/>
              <a:gd name="connsiteX8541" fmla="*/ 705182 w 4610101"/>
              <a:gd name="connsiteY8541" fmla="*/ 1606188 h 6557032"/>
              <a:gd name="connsiteX8542" fmla="*/ 721581 w 4610101"/>
              <a:gd name="connsiteY8542" fmla="*/ 1569744 h 6557032"/>
              <a:gd name="connsiteX8543" fmla="*/ 723404 w 4610101"/>
              <a:gd name="connsiteY8543" fmla="*/ 1556989 h 6557032"/>
              <a:gd name="connsiteX8544" fmla="*/ 717025 w 4610101"/>
              <a:gd name="connsiteY8544" fmla="*/ 1555252 h 6557032"/>
              <a:gd name="connsiteX8545" fmla="*/ 573985 w 4610101"/>
              <a:gd name="connsiteY8545" fmla="*/ 1555167 h 6557032"/>
              <a:gd name="connsiteX8546" fmla="*/ 568519 w 4610101"/>
              <a:gd name="connsiteY8546" fmla="*/ 1567922 h 6557032"/>
              <a:gd name="connsiteX8547" fmla="*/ 577630 w 4610101"/>
              <a:gd name="connsiteY8547" fmla="*/ 1556989 h 6557032"/>
              <a:gd name="connsiteX8548" fmla="*/ 573985 w 4610101"/>
              <a:gd name="connsiteY8548" fmla="*/ 1555167 h 6557032"/>
              <a:gd name="connsiteX8549" fmla="*/ 532075 w 4610101"/>
              <a:gd name="connsiteY8549" fmla="*/ 1555167 h 6557032"/>
              <a:gd name="connsiteX8550" fmla="*/ 535719 w 4610101"/>
              <a:gd name="connsiteY8550" fmla="*/ 1562455 h 6557032"/>
              <a:gd name="connsiteX8551" fmla="*/ 532075 w 4610101"/>
              <a:gd name="connsiteY8551" fmla="*/ 1555167 h 6557032"/>
              <a:gd name="connsiteX8552" fmla="*/ 506565 w 4610101"/>
              <a:gd name="connsiteY8552" fmla="*/ 1555167 h 6557032"/>
              <a:gd name="connsiteX8553" fmla="*/ 506565 w 4610101"/>
              <a:gd name="connsiteY8553" fmla="*/ 1560633 h 6557032"/>
              <a:gd name="connsiteX8554" fmla="*/ 506565 w 4610101"/>
              <a:gd name="connsiteY8554" fmla="*/ 1555167 h 6557032"/>
              <a:gd name="connsiteX8555" fmla="*/ 1019371 w 4610101"/>
              <a:gd name="connsiteY8555" fmla="*/ 1554195 h 6557032"/>
              <a:gd name="connsiteX8556" fmla="*/ 1018596 w 4610101"/>
              <a:gd name="connsiteY8556" fmla="*/ 1555167 h 6557032"/>
              <a:gd name="connsiteX8557" fmla="*/ 1027707 w 4610101"/>
              <a:gd name="connsiteY8557" fmla="*/ 1580677 h 6557032"/>
              <a:gd name="connsiteX8558" fmla="*/ 1014951 w 4610101"/>
              <a:gd name="connsiteY8558" fmla="*/ 1556989 h 6557032"/>
              <a:gd name="connsiteX8559" fmla="*/ 1013129 w 4610101"/>
              <a:gd name="connsiteY8559" fmla="*/ 1555167 h 6557032"/>
              <a:gd name="connsiteX8560" fmla="*/ 1016774 w 4610101"/>
              <a:gd name="connsiteY8560" fmla="*/ 1556306 h 6557032"/>
              <a:gd name="connsiteX8561" fmla="*/ 3154184 w 4610101"/>
              <a:gd name="connsiteY8561" fmla="*/ 1553345 h 6557032"/>
              <a:gd name="connsiteX8562" fmla="*/ 3157828 w 4610101"/>
              <a:gd name="connsiteY8562" fmla="*/ 1562455 h 6557032"/>
              <a:gd name="connsiteX8563" fmla="*/ 3154184 w 4610101"/>
              <a:gd name="connsiteY8563" fmla="*/ 1553345 h 6557032"/>
              <a:gd name="connsiteX8564" fmla="*/ 615895 w 4610101"/>
              <a:gd name="connsiteY8564" fmla="*/ 1553345 h 6557032"/>
              <a:gd name="connsiteX8565" fmla="*/ 610429 w 4610101"/>
              <a:gd name="connsiteY8565" fmla="*/ 1556989 h 6557032"/>
              <a:gd name="connsiteX8566" fmla="*/ 615895 w 4610101"/>
              <a:gd name="connsiteY8566" fmla="*/ 1553345 h 6557032"/>
              <a:gd name="connsiteX8567" fmla="*/ 1020063 w 4610101"/>
              <a:gd name="connsiteY8567" fmla="*/ 1553328 h 6557032"/>
              <a:gd name="connsiteX8568" fmla="*/ 1020418 w 4610101"/>
              <a:gd name="connsiteY8568" fmla="*/ 1553345 h 6557032"/>
              <a:gd name="connsiteX8569" fmla="*/ 1019371 w 4610101"/>
              <a:gd name="connsiteY8569" fmla="*/ 1554195 h 6557032"/>
              <a:gd name="connsiteX8570" fmla="*/ 597970 w 4610101"/>
              <a:gd name="connsiteY8570" fmla="*/ 1551839 h 6557032"/>
              <a:gd name="connsiteX8571" fmla="*/ 597673 w 4610101"/>
              <a:gd name="connsiteY8571" fmla="*/ 1554028 h 6557032"/>
              <a:gd name="connsiteX8572" fmla="*/ 595386 w 4610101"/>
              <a:gd name="connsiteY8572" fmla="*/ 1556193 h 6557032"/>
              <a:gd name="connsiteX8573" fmla="*/ 596534 w 4610101"/>
              <a:gd name="connsiteY8573" fmla="*/ 1552433 h 6557032"/>
              <a:gd name="connsiteX8574" fmla="*/ 620096 w 4610101"/>
              <a:gd name="connsiteY8574" fmla="*/ 1551762 h 6557032"/>
              <a:gd name="connsiteX8575" fmla="*/ 618778 w 4610101"/>
              <a:gd name="connsiteY8575" fmla="*/ 1556533 h 6557032"/>
              <a:gd name="connsiteX8576" fmla="*/ 615895 w 4610101"/>
              <a:gd name="connsiteY8576" fmla="*/ 1556989 h 6557032"/>
              <a:gd name="connsiteX8577" fmla="*/ 579452 w 4610101"/>
              <a:gd name="connsiteY8577" fmla="*/ 1551522 h 6557032"/>
              <a:gd name="connsiteX8578" fmla="*/ 575808 w 4610101"/>
              <a:gd name="connsiteY8578" fmla="*/ 1553345 h 6557032"/>
              <a:gd name="connsiteX8579" fmla="*/ 577630 w 4610101"/>
              <a:gd name="connsiteY8579" fmla="*/ 1555167 h 6557032"/>
              <a:gd name="connsiteX8580" fmla="*/ 579452 w 4610101"/>
              <a:gd name="connsiteY8580" fmla="*/ 1551522 h 6557032"/>
              <a:gd name="connsiteX8581" fmla="*/ 601877 w 4610101"/>
              <a:gd name="connsiteY8581" fmla="*/ 1551216 h 6557032"/>
              <a:gd name="connsiteX8582" fmla="*/ 601359 w 4610101"/>
              <a:gd name="connsiteY8582" fmla="*/ 1554873 h 6557032"/>
              <a:gd name="connsiteX8583" fmla="*/ 594030 w 4610101"/>
              <a:gd name="connsiteY8583" fmla="*/ 1560633 h 6557032"/>
              <a:gd name="connsiteX8584" fmla="*/ 725226 w 4610101"/>
              <a:gd name="connsiteY8584" fmla="*/ 1549700 h 6557032"/>
              <a:gd name="connsiteX8585" fmla="*/ 719759 w 4610101"/>
              <a:gd name="connsiteY8585" fmla="*/ 1553345 h 6557032"/>
              <a:gd name="connsiteX8586" fmla="*/ 725226 w 4610101"/>
              <a:gd name="connsiteY8586" fmla="*/ 1553345 h 6557032"/>
              <a:gd name="connsiteX8587" fmla="*/ 725226 w 4610101"/>
              <a:gd name="connsiteY8587" fmla="*/ 1549700 h 6557032"/>
              <a:gd name="connsiteX8588" fmla="*/ 705182 w 4610101"/>
              <a:gd name="connsiteY8588" fmla="*/ 1549700 h 6557032"/>
              <a:gd name="connsiteX8589" fmla="*/ 701537 w 4610101"/>
              <a:gd name="connsiteY8589" fmla="*/ 1551522 h 6557032"/>
              <a:gd name="connsiteX8590" fmla="*/ 705182 w 4610101"/>
              <a:gd name="connsiteY8590" fmla="*/ 1549700 h 6557032"/>
              <a:gd name="connsiteX8591" fmla="*/ 625006 w 4610101"/>
              <a:gd name="connsiteY8591" fmla="*/ 1549700 h 6557032"/>
              <a:gd name="connsiteX8592" fmla="*/ 624686 w 4610101"/>
              <a:gd name="connsiteY8592" fmla="*/ 1555508 h 6557032"/>
              <a:gd name="connsiteX8593" fmla="*/ 624550 w 4610101"/>
              <a:gd name="connsiteY8593" fmla="*/ 1555622 h 6557032"/>
              <a:gd name="connsiteX8594" fmla="*/ 621830 w 4610101"/>
              <a:gd name="connsiteY8594" fmla="*/ 1556051 h 6557032"/>
              <a:gd name="connsiteX8595" fmla="*/ 603140 w 4610101"/>
              <a:gd name="connsiteY8595" fmla="*/ 1549700 h 6557032"/>
              <a:gd name="connsiteX8596" fmla="*/ 601877 w 4610101"/>
              <a:gd name="connsiteY8596" fmla="*/ 1551216 h 6557032"/>
              <a:gd name="connsiteX8597" fmla="*/ 602026 w 4610101"/>
              <a:gd name="connsiteY8597" fmla="*/ 1550161 h 6557032"/>
              <a:gd name="connsiteX8598" fmla="*/ 526609 w 4610101"/>
              <a:gd name="connsiteY8598" fmla="*/ 1549700 h 6557032"/>
              <a:gd name="connsiteX8599" fmla="*/ 530253 w 4610101"/>
              <a:gd name="connsiteY8599" fmla="*/ 1577033 h 6557032"/>
              <a:gd name="connsiteX8600" fmla="*/ 535719 w 4610101"/>
              <a:gd name="connsiteY8600" fmla="*/ 1569744 h 6557032"/>
              <a:gd name="connsiteX8601" fmla="*/ 526609 w 4610101"/>
              <a:gd name="connsiteY8601" fmla="*/ 1549700 h 6557032"/>
              <a:gd name="connsiteX8602" fmla="*/ 512031 w 4610101"/>
              <a:gd name="connsiteY8602" fmla="*/ 1549700 h 6557032"/>
              <a:gd name="connsiteX8603" fmla="*/ 510209 w 4610101"/>
              <a:gd name="connsiteY8603" fmla="*/ 1556989 h 6557032"/>
              <a:gd name="connsiteX8604" fmla="*/ 512031 w 4610101"/>
              <a:gd name="connsiteY8604" fmla="*/ 1549700 h 6557032"/>
              <a:gd name="connsiteX8605" fmla="*/ 468299 w 4610101"/>
              <a:gd name="connsiteY8605" fmla="*/ 1549700 h 6557032"/>
              <a:gd name="connsiteX8606" fmla="*/ 462832 w 4610101"/>
              <a:gd name="connsiteY8606" fmla="*/ 1553345 h 6557032"/>
              <a:gd name="connsiteX8607" fmla="*/ 471943 w 4610101"/>
              <a:gd name="connsiteY8607" fmla="*/ 1553345 h 6557032"/>
              <a:gd name="connsiteX8608" fmla="*/ 468299 w 4610101"/>
              <a:gd name="connsiteY8608" fmla="*/ 1549700 h 6557032"/>
              <a:gd name="connsiteX8609" fmla="*/ 528431 w 4610101"/>
              <a:gd name="connsiteY8609" fmla="*/ 1547878 h 6557032"/>
              <a:gd name="connsiteX8610" fmla="*/ 537542 w 4610101"/>
              <a:gd name="connsiteY8610" fmla="*/ 1556989 h 6557032"/>
              <a:gd name="connsiteX8611" fmla="*/ 528431 w 4610101"/>
              <a:gd name="connsiteY8611" fmla="*/ 1547878 h 6557032"/>
              <a:gd name="connsiteX8612" fmla="*/ 517498 w 4610101"/>
              <a:gd name="connsiteY8612" fmla="*/ 1547878 h 6557032"/>
              <a:gd name="connsiteX8613" fmla="*/ 517498 w 4610101"/>
              <a:gd name="connsiteY8613" fmla="*/ 1567922 h 6557032"/>
              <a:gd name="connsiteX8614" fmla="*/ 517498 w 4610101"/>
              <a:gd name="connsiteY8614" fmla="*/ 1547878 h 6557032"/>
              <a:gd name="connsiteX8615" fmla="*/ 475589 w 4610101"/>
              <a:gd name="connsiteY8615" fmla="*/ 1547878 h 6557032"/>
              <a:gd name="connsiteX8616" fmla="*/ 479232 w 4610101"/>
              <a:gd name="connsiteY8616" fmla="*/ 1555167 h 6557032"/>
              <a:gd name="connsiteX8617" fmla="*/ 475589 w 4610101"/>
              <a:gd name="connsiteY8617" fmla="*/ 1547878 h 6557032"/>
              <a:gd name="connsiteX8618" fmla="*/ 440966 w 4610101"/>
              <a:gd name="connsiteY8618" fmla="*/ 1547878 h 6557032"/>
              <a:gd name="connsiteX8619" fmla="*/ 437322 w 4610101"/>
              <a:gd name="connsiteY8619" fmla="*/ 1551522 h 6557032"/>
              <a:gd name="connsiteX8620" fmla="*/ 440966 w 4610101"/>
              <a:gd name="connsiteY8620" fmla="*/ 1553345 h 6557032"/>
              <a:gd name="connsiteX8621" fmla="*/ 440966 w 4610101"/>
              <a:gd name="connsiteY8621" fmla="*/ 1547878 h 6557032"/>
              <a:gd name="connsiteX8622" fmla="*/ 410218 w 4610101"/>
              <a:gd name="connsiteY8622" fmla="*/ 1547650 h 6557032"/>
              <a:gd name="connsiteX8623" fmla="*/ 406345 w 4610101"/>
              <a:gd name="connsiteY8623" fmla="*/ 1549700 h 6557032"/>
              <a:gd name="connsiteX8624" fmla="*/ 413634 w 4610101"/>
              <a:gd name="connsiteY8624" fmla="*/ 1555167 h 6557032"/>
              <a:gd name="connsiteX8625" fmla="*/ 422745 w 4610101"/>
              <a:gd name="connsiteY8625" fmla="*/ 1553345 h 6557032"/>
              <a:gd name="connsiteX8626" fmla="*/ 406345 w 4610101"/>
              <a:gd name="connsiteY8626" fmla="*/ 1549700 h 6557032"/>
              <a:gd name="connsiteX8627" fmla="*/ 415456 w 4610101"/>
              <a:gd name="connsiteY8627" fmla="*/ 1549700 h 6557032"/>
              <a:gd name="connsiteX8628" fmla="*/ 410218 w 4610101"/>
              <a:gd name="connsiteY8628" fmla="*/ 1547650 h 6557032"/>
              <a:gd name="connsiteX8629" fmla="*/ 696071 w 4610101"/>
              <a:gd name="connsiteY8629" fmla="*/ 1546056 h 6557032"/>
              <a:gd name="connsiteX8630" fmla="*/ 699715 w 4610101"/>
              <a:gd name="connsiteY8630" fmla="*/ 1547878 h 6557032"/>
              <a:gd name="connsiteX8631" fmla="*/ 696071 w 4610101"/>
              <a:gd name="connsiteY8631" fmla="*/ 1546056 h 6557032"/>
              <a:gd name="connsiteX8632" fmla="*/ 497454 w 4610101"/>
              <a:gd name="connsiteY8632" fmla="*/ 1546056 h 6557032"/>
              <a:gd name="connsiteX8633" fmla="*/ 499276 w 4610101"/>
              <a:gd name="connsiteY8633" fmla="*/ 1551522 h 6557032"/>
              <a:gd name="connsiteX8634" fmla="*/ 497454 w 4610101"/>
              <a:gd name="connsiteY8634" fmla="*/ 1546056 h 6557032"/>
              <a:gd name="connsiteX8635" fmla="*/ 482876 w 4610101"/>
              <a:gd name="connsiteY8635" fmla="*/ 1546056 h 6557032"/>
              <a:gd name="connsiteX8636" fmla="*/ 490165 w 4610101"/>
              <a:gd name="connsiteY8636" fmla="*/ 1555167 h 6557032"/>
              <a:gd name="connsiteX8637" fmla="*/ 491987 w 4610101"/>
              <a:gd name="connsiteY8637" fmla="*/ 1549700 h 6557032"/>
              <a:gd name="connsiteX8638" fmla="*/ 482876 w 4610101"/>
              <a:gd name="connsiteY8638" fmla="*/ 1546056 h 6557032"/>
              <a:gd name="connsiteX8639" fmla="*/ 356539 w 4610101"/>
              <a:gd name="connsiteY8639" fmla="*/ 1545448 h 6557032"/>
              <a:gd name="connsiteX8640" fmla="*/ 357544 w 4610101"/>
              <a:gd name="connsiteY8640" fmla="*/ 1546884 h 6557032"/>
              <a:gd name="connsiteX8641" fmla="*/ 356464 w 4610101"/>
              <a:gd name="connsiteY8641" fmla="*/ 1546283 h 6557032"/>
              <a:gd name="connsiteX8642" fmla="*/ 3123206 w 4610101"/>
              <a:gd name="connsiteY8642" fmla="*/ 1544234 h 6557032"/>
              <a:gd name="connsiteX8643" fmla="*/ 3121384 w 4610101"/>
              <a:gd name="connsiteY8643" fmla="*/ 1566100 h 6557032"/>
              <a:gd name="connsiteX8644" fmla="*/ 3115918 w 4610101"/>
              <a:gd name="connsiteY8644" fmla="*/ 1560633 h 6557032"/>
              <a:gd name="connsiteX8645" fmla="*/ 3117740 w 4610101"/>
              <a:gd name="connsiteY8645" fmla="*/ 1567922 h 6557032"/>
              <a:gd name="connsiteX8646" fmla="*/ 3125029 w 4610101"/>
              <a:gd name="connsiteY8646" fmla="*/ 1567922 h 6557032"/>
              <a:gd name="connsiteX8647" fmla="*/ 3137784 w 4610101"/>
              <a:gd name="connsiteY8647" fmla="*/ 1580677 h 6557032"/>
              <a:gd name="connsiteX8648" fmla="*/ 3126851 w 4610101"/>
              <a:gd name="connsiteY8648" fmla="*/ 1598899 h 6557032"/>
              <a:gd name="connsiteX8649" fmla="*/ 3159650 w 4610101"/>
              <a:gd name="connsiteY8649" fmla="*/ 1580677 h 6557032"/>
              <a:gd name="connsiteX8650" fmla="*/ 3156006 w 4610101"/>
              <a:gd name="connsiteY8650" fmla="*/ 1573388 h 6557032"/>
              <a:gd name="connsiteX8651" fmla="*/ 3157828 w 4610101"/>
              <a:gd name="connsiteY8651" fmla="*/ 1578855 h 6557032"/>
              <a:gd name="connsiteX8652" fmla="*/ 3150539 w 4610101"/>
              <a:gd name="connsiteY8652" fmla="*/ 1575211 h 6557032"/>
              <a:gd name="connsiteX8653" fmla="*/ 3150539 w 4610101"/>
              <a:gd name="connsiteY8653" fmla="*/ 1564278 h 6557032"/>
              <a:gd name="connsiteX8654" fmla="*/ 3148717 w 4610101"/>
              <a:gd name="connsiteY8654" fmla="*/ 1573388 h 6557032"/>
              <a:gd name="connsiteX8655" fmla="*/ 3135962 w 4610101"/>
              <a:gd name="connsiteY8655" fmla="*/ 1575211 h 6557032"/>
              <a:gd name="connsiteX8656" fmla="*/ 3123206 w 4610101"/>
              <a:gd name="connsiteY8656" fmla="*/ 1544234 h 6557032"/>
              <a:gd name="connsiteX8657" fmla="*/ 847311 w 4610101"/>
              <a:gd name="connsiteY8657" fmla="*/ 1544234 h 6557032"/>
              <a:gd name="connsiteX8658" fmla="*/ 849133 w 4610101"/>
              <a:gd name="connsiteY8658" fmla="*/ 1558811 h 6557032"/>
              <a:gd name="connsiteX8659" fmla="*/ 850956 w 4610101"/>
              <a:gd name="connsiteY8659" fmla="*/ 1551522 h 6557032"/>
              <a:gd name="connsiteX8660" fmla="*/ 852778 w 4610101"/>
              <a:gd name="connsiteY8660" fmla="*/ 1556989 h 6557032"/>
              <a:gd name="connsiteX8661" fmla="*/ 843667 w 4610101"/>
              <a:gd name="connsiteY8661" fmla="*/ 1562455 h 6557032"/>
              <a:gd name="connsiteX8662" fmla="*/ 860066 w 4610101"/>
              <a:gd name="connsiteY8662" fmla="*/ 1560633 h 6557032"/>
              <a:gd name="connsiteX8663" fmla="*/ 856422 w 4610101"/>
              <a:gd name="connsiteY8663" fmla="*/ 1558811 h 6557032"/>
              <a:gd name="connsiteX8664" fmla="*/ 863711 w 4610101"/>
              <a:gd name="connsiteY8664" fmla="*/ 1558811 h 6557032"/>
              <a:gd name="connsiteX8665" fmla="*/ 847311 w 4610101"/>
              <a:gd name="connsiteY8665" fmla="*/ 1544234 h 6557032"/>
              <a:gd name="connsiteX8666" fmla="*/ 430809 w 4610101"/>
              <a:gd name="connsiteY8666" fmla="*/ 1542917 h 6557032"/>
              <a:gd name="connsiteX8667" fmla="*/ 431856 w 4610101"/>
              <a:gd name="connsiteY8667" fmla="*/ 1544234 h 6557032"/>
              <a:gd name="connsiteX8668" fmla="*/ 431324 w 4610101"/>
              <a:gd name="connsiteY8668" fmla="*/ 1544462 h 6557032"/>
              <a:gd name="connsiteX8669" fmla="*/ 3039387 w 4610101"/>
              <a:gd name="connsiteY8669" fmla="*/ 1542412 h 6557032"/>
              <a:gd name="connsiteX8670" fmla="*/ 3039387 w 4610101"/>
              <a:gd name="connsiteY8670" fmla="*/ 1553345 h 6557032"/>
              <a:gd name="connsiteX8671" fmla="*/ 3039387 w 4610101"/>
              <a:gd name="connsiteY8671" fmla="*/ 1542412 h 6557032"/>
              <a:gd name="connsiteX8672" fmla="*/ 3001121 w 4610101"/>
              <a:gd name="connsiteY8672" fmla="*/ 1542412 h 6557032"/>
              <a:gd name="connsiteX8673" fmla="*/ 3001121 w 4610101"/>
              <a:gd name="connsiteY8673" fmla="*/ 1566100 h 6557032"/>
              <a:gd name="connsiteX8674" fmla="*/ 3021165 w 4610101"/>
              <a:gd name="connsiteY8674" fmla="*/ 1560633 h 6557032"/>
              <a:gd name="connsiteX8675" fmla="*/ 3019343 w 4610101"/>
              <a:gd name="connsiteY8675" fmla="*/ 1555167 h 6557032"/>
              <a:gd name="connsiteX8676" fmla="*/ 3004765 w 4610101"/>
              <a:gd name="connsiteY8676" fmla="*/ 1555167 h 6557032"/>
              <a:gd name="connsiteX8677" fmla="*/ 3012054 w 4610101"/>
              <a:gd name="connsiteY8677" fmla="*/ 1547878 h 6557032"/>
              <a:gd name="connsiteX8678" fmla="*/ 3001121 w 4610101"/>
              <a:gd name="connsiteY8678" fmla="*/ 1542412 h 6557032"/>
              <a:gd name="connsiteX8679" fmla="*/ 789003 w 4610101"/>
              <a:gd name="connsiteY8679" fmla="*/ 1542412 h 6557032"/>
              <a:gd name="connsiteX8680" fmla="*/ 807451 w 4610101"/>
              <a:gd name="connsiteY8680" fmla="*/ 1544461 h 6557032"/>
              <a:gd name="connsiteX8681" fmla="*/ 808769 w 4610101"/>
              <a:gd name="connsiteY8681" fmla="*/ 1543598 h 6557032"/>
              <a:gd name="connsiteX8682" fmla="*/ 799935 w 4610101"/>
              <a:gd name="connsiteY8682" fmla="*/ 1549700 h 6557032"/>
              <a:gd name="connsiteX8683" fmla="*/ 805173 w 4610101"/>
              <a:gd name="connsiteY8683" fmla="*/ 1558128 h 6557032"/>
              <a:gd name="connsiteX8684" fmla="*/ 813231 w 4610101"/>
              <a:gd name="connsiteY8684" fmla="*/ 1561861 h 6557032"/>
              <a:gd name="connsiteX8685" fmla="*/ 803383 w 4610101"/>
              <a:gd name="connsiteY8685" fmla="*/ 1562092 h 6557032"/>
              <a:gd name="connsiteX8686" fmla="*/ 800618 w 4610101"/>
              <a:gd name="connsiteY8686" fmla="*/ 1556989 h 6557032"/>
              <a:gd name="connsiteX8687" fmla="*/ 796290 w 4610101"/>
              <a:gd name="connsiteY8687" fmla="*/ 1551522 h 6557032"/>
              <a:gd name="connsiteX8688" fmla="*/ 781713 w 4610101"/>
              <a:gd name="connsiteY8688" fmla="*/ 1562455 h 6557032"/>
              <a:gd name="connsiteX8689" fmla="*/ 787964 w 4610101"/>
              <a:gd name="connsiteY8689" fmla="*/ 1562455 h 6557032"/>
              <a:gd name="connsiteX8690" fmla="*/ 784304 w 4610101"/>
              <a:gd name="connsiteY8690" fmla="*/ 1562541 h 6557032"/>
              <a:gd name="connsiteX8691" fmla="*/ 756203 w 4610101"/>
              <a:gd name="connsiteY8691" fmla="*/ 1578855 h 6557032"/>
              <a:gd name="connsiteX8692" fmla="*/ 779892 w 4610101"/>
              <a:gd name="connsiteY8692" fmla="*/ 1582499 h 6557032"/>
              <a:gd name="connsiteX8693" fmla="*/ 754380 w 4610101"/>
              <a:gd name="connsiteY8693" fmla="*/ 1584321 h 6557032"/>
              <a:gd name="connsiteX8694" fmla="*/ 741626 w 4610101"/>
              <a:gd name="connsiteY8694" fmla="*/ 1587966 h 6557032"/>
              <a:gd name="connsiteX8695" fmla="*/ 750737 w 4610101"/>
              <a:gd name="connsiteY8695" fmla="*/ 1580677 h 6557032"/>
              <a:gd name="connsiteX8696" fmla="*/ 739803 w 4610101"/>
              <a:gd name="connsiteY8696" fmla="*/ 1577033 h 6557032"/>
              <a:gd name="connsiteX8697" fmla="*/ 758480 w 4610101"/>
              <a:gd name="connsiteY8697" fmla="*/ 1574299 h 6557032"/>
              <a:gd name="connsiteX8698" fmla="*/ 774144 w 4610101"/>
              <a:gd name="connsiteY8698" fmla="*/ 1560873 h 6557032"/>
              <a:gd name="connsiteX8699" fmla="*/ 776930 w 4610101"/>
              <a:gd name="connsiteY8699" fmla="*/ 1561544 h 6557032"/>
              <a:gd name="connsiteX8700" fmla="*/ 794468 w 4610101"/>
              <a:gd name="connsiteY8700" fmla="*/ 1549700 h 6557032"/>
              <a:gd name="connsiteX8701" fmla="*/ 789003 w 4610101"/>
              <a:gd name="connsiteY8701" fmla="*/ 1542412 h 6557032"/>
              <a:gd name="connsiteX8702" fmla="*/ 728870 w 4610101"/>
              <a:gd name="connsiteY8702" fmla="*/ 1542412 h 6557032"/>
              <a:gd name="connsiteX8703" fmla="*/ 719759 w 4610101"/>
              <a:gd name="connsiteY8703" fmla="*/ 1551522 h 6557032"/>
              <a:gd name="connsiteX8704" fmla="*/ 728870 w 4610101"/>
              <a:gd name="connsiteY8704" fmla="*/ 1542412 h 6557032"/>
              <a:gd name="connsiteX8705" fmla="*/ 3377627 w 4610101"/>
              <a:gd name="connsiteY8705" fmla="*/ 1541730 h 6557032"/>
              <a:gd name="connsiteX8706" fmla="*/ 3369199 w 4610101"/>
              <a:gd name="connsiteY8706" fmla="*/ 1547880 h 6557032"/>
              <a:gd name="connsiteX8707" fmla="*/ 3381955 w 4610101"/>
              <a:gd name="connsiteY8707" fmla="*/ 1553346 h 6557032"/>
              <a:gd name="connsiteX8708" fmla="*/ 3383777 w 4610101"/>
              <a:gd name="connsiteY8708" fmla="*/ 1566101 h 6557032"/>
              <a:gd name="connsiteX8709" fmla="*/ 3376488 w 4610101"/>
              <a:gd name="connsiteY8709" fmla="*/ 1560635 h 6557032"/>
              <a:gd name="connsiteX8710" fmla="*/ 3383777 w 4610101"/>
              <a:gd name="connsiteY8710" fmla="*/ 1573390 h 6557032"/>
              <a:gd name="connsiteX8711" fmla="*/ 3385599 w 4610101"/>
              <a:gd name="connsiteY8711" fmla="*/ 1553346 h 6557032"/>
              <a:gd name="connsiteX8712" fmla="*/ 3387421 w 4610101"/>
              <a:gd name="connsiteY8712" fmla="*/ 1547880 h 6557032"/>
              <a:gd name="connsiteX8713" fmla="*/ 3377627 w 4610101"/>
              <a:gd name="connsiteY8713" fmla="*/ 1541730 h 6557032"/>
              <a:gd name="connsiteX8714" fmla="*/ 619539 w 4610101"/>
              <a:gd name="connsiteY8714" fmla="*/ 1540589 h 6557032"/>
              <a:gd name="connsiteX8715" fmla="*/ 619344 w 4610101"/>
              <a:gd name="connsiteY8715" fmla="*/ 1541565 h 6557032"/>
              <a:gd name="connsiteX8716" fmla="*/ 616578 w 4610101"/>
              <a:gd name="connsiteY8716" fmla="*/ 1545600 h 6557032"/>
              <a:gd name="connsiteX8717" fmla="*/ 601318 w 4610101"/>
              <a:gd name="connsiteY8717" fmla="*/ 1555167 h 6557032"/>
              <a:gd name="connsiteX8718" fmla="*/ 601359 w 4610101"/>
              <a:gd name="connsiteY8718" fmla="*/ 1554873 h 6557032"/>
              <a:gd name="connsiteX8719" fmla="*/ 617635 w 4610101"/>
              <a:gd name="connsiteY8719" fmla="*/ 1542085 h 6557032"/>
              <a:gd name="connsiteX8720" fmla="*/ 617717 w 4610101"/>
              <a:gd name="connsiteY8720" fmla="*/ 1542412 h 6557032"/>
              <a:gd name="connsiteX8721" fmla="*/ 617785 w 4610101"/>
              <a:gd name="connsiteY8721" fmla="*/ 1541967 h 6557032"/>
              <a:gd name="connsiteX8722" fmla="*/ 3046675 w 4610101"/>
              <a:gd name="connsiteY8722" fmla="*/ 1538767 h 6557032"/>
              <a:gd name="connsiteX8723" fmla="*/ 3052142 w 4610101"/>
              <a:gd name="connsiteY8723" fmla="*/ 1549700 h 6557032"/>
              <a:gd name="connsiteX8724" fmla="*/ 3055786 w 4610101"/>
              <a:gd name="connsiteY8724" fmla="*/ 1546056 h 6557032"/>
              <a:gd name="connsiteX8725" fmla="*/ 3046675 w 4610101"/>
              <a:gd name="connsiteY8725" fmla="*/ 1538767 h 6557032"/>
              <a:gd name="connsiteX8726" fmla="*/ 723404 w 4610101"/>
              <a:gd name="connsiteY8726" fmla="*/ 1538767 h 6557032"/>
              <a:gd name="connsiteX8727" fmla="*/ 719759 w 4610101"/>
              <a:gd name="connsiteY8727" fmla="*/ 1546056 h 6557032"/>
              <a:gd name="connsiteX8728" fmla="*/ 725226 w 4610101"/>
              <a:gd name="connsiteY8728" fmla="*/ 1544234 h 6557032"/>
              <a:gd name="connsiteX8729" fmla="*/ 721581 w 4610101"/>
              <a:gd name="connsiteY8729" fmla="*/ 1544234 h 6557032"/>
              <a:gd name="connsiteX8730" fmla="*/ 727048 w 4610101"/>
              <a:gd name="connsiteY8730" fmla="*/ 1542412 h 6557032"/>
              <a:gd name="connsiteX8731" fmla="*/ 723404 w 4610101"/>
              <a:gd name="connsiteY8731" fmla="*/ 1538767 h 6557032"/>
              <a:gd name="connsiteX8732" fmla="*/ 539364 w 4610101"/>
              <a:gd name="connsiteY8732" fmla="*/ 1538767 h 6557032"/>
              <a:gd name="connsiteX8733" fmla="*/ 533897 w 4610101"/>
              <a:gd name="connsiteY8733" fmla="*/ 1540589 h 6557032"/>
              <a:gd name="connsiteX8734" fmla="*/ 539364 w 4610101"/>
              <a:gd name="connsiteY8734" fmla="*/ 1538767 h 6557032"/>
              <a:gd name="connsiteX8735" fmla="*/ 1218915 w 4610101"/>
              <a:gd name="connsiteY8735" fmla="*/ 1538646 h 6557032"/>
              <a:gd name="connsiteX8736" fmla="*/ 1218994 w 4610101"/>
              <a:gd name="connsiteY8736" fmla="*/ 1538651 h 6557032"/>
              <a:gd name="connsiteX8737" fmla="*/ 1219036 w 4610101"/>
              <a:gd name="connsiteY8737" fmla="*/ 1538767 h 6557032"/>
              <a:gd name="connsiteX8738" fmla="*/ 4396906 w 4610101"/>
              <a:gd name="connsiteY8738" fmla="*/ 1535216 h 6557032"/>
              <a:gd name="connsiteX8739" fmla="*/ 4396906 w 4610101"/>
              <a:gd name="connsiteY8739" fmla="*/ 1557081 h 6557032"/>
              <a:gd name="connsiteX8740" fmla="*/ 4382328 w 4610101"/>
              <a:gd name="connsiteY8740" fmla="*/ 1557081 h 6557032"/>
              <a:gd name="connsiteX8741" fmla="*/ 4396906 w 4610101"/>
              <a:gd name="connsiteY8741" fmla="*/ 1535216 h 6557032"/>
              <a:gd name="connsiteX8742" fmla="*/ 822903 w 4610101"/>
              <a:gd name="connsiteY8742" fmla="*/ 1534337 h 6557032"/>
              <a:gd name="connsiteX8743" fmla="*/ 808769 w 4610101"/>
              <a:gd name="connsiteY8743" fmla="*/ 1543598 h 6557032"/>
              <a:gd name="connsiteX8744" fmla="*/ 822029 w 4610101"/>
              <a:gd name="connsiteY8744" fmla="*/ 1534439 h 6557032"/>
              <a:gd name="connsiteX8745" fmla="*/ 974863 w 4610101"/>
              <a:gd name="connsiteY8745" fmla="*/ 1533357 h 6557032"/>
              <a:gd name="connsiteX8746" fmla="*/ 993085 w 4610101"/>
              <a:gd name="connsiteY8746" fmla="*/ 1535179 h 6557032"/>
              <a:gd name="connsiteX8747" fmla="*/ 993085 w 4610101"/>
              <a:gd name="connsiteY8747" fmla="*/ 1537001 h 6557032"/>
              <a:gd name="connsiteX8748" fmla="*/ 1007663 w 4610101"/>
              <a:gd name="connsiteY8748" fmla="*/ 1542467 h 6557032"/>
              <a:gd name="connsiteX8749" fmla="*/ 1009487 w 4610101"/>
              <a:gd name="connsiteY8749" fmla="*/ 1546112 h 6557032"/>
              <a:gd name="connsiteX8750" fmla="*/ 974863 w 4610101"/>
              <a:gd name="connsiteY8750" fmla="*/ 1533357 h 6557032"/>
              <a:gd name="connsiteX8751" fmla="*/ 3392888 w 4610101"/>
              <a:gd name="connsiteY8751" fmla="*/ 1533302 h 6557032"/>
              <a:gd name="connsiteX8752" fmla="*/ 3392888 w 4610101"/>
              <a:gd name="connsiteY8752" fmla="*/ 1538769 h 6557032"/>
              <a:gd name="connsiteX8753" fmla="*/ 3396532 w 4610101"/>
              <a:gd name="connsiteY8753" fmla="*/ 1536946 h 6557032"/>
              <a:gd name="connsiteX8754" fmla="*/ 3392888 w 4610101"/>
              <a:gd name="connsiteY8754" fmla="*/ 1533302 h 6557032"/>
              <a:gd name="connsiteX8755" fmla="*/ 1213568 w 4610101"/>
              <a:gd name="connsiteY8755" fmla="*/ 1533301 h 6557032"/>
              <a:gd name="connsiteX8756" fmla="*/ 1218915 w 4610101"/>
              <a:gd name="connsiteY8756" fmla="*/ 1538646 h 6557032"/>
              <a:gd name="connsiteX8757" fmla="*/ 1217212 w 4610101"/>
              <a:gd name="connsiteY8757" fmla="*/ 1538539 h 6557032"/>
              <a:gd name="connsiteX8758" fmla="*/ 1213568 w 4610101"/>
              <a:gd name="connsiteY8758" fmla="*/ 1536945 h 6557032"/>
              <a:gd name="connsiteX8759" fmla="*/ 1213568 w 4610101"/>
              <a:gd name="connsiteY8759" fmla="*/ 1533301 h 6557032"/>
              <a:gd name="connsiteX8760" fmla="*/ 847311 w 4610101"/>
              <a:gd name="connsiteY8760" fmla="*/ 1533301 h 6557032"/>
              <a:gd name="connsiteX8761" fmla="*/ 858244 w 4610101"/>
              <a:gd name="connsiteY8761" fmla="*/ 1551522 h 6557032"/>
              <a:gd name="connsiteX8762" fmla="*/ 847311 w 4610101"/>
              <a:gd name="connsiteY8762" fmla="*/ 1533301 h 6557032"/>
              <a:gd name="connsiteX8763" fmla="*/ 599496 w 4610101"/>
              <a:gd name="connsiteY8763" fmla="*/ 1533301 h 6557032"/>
              <a:gd name="connsiteX8764" fmla="*/ 586741 w 4610101"/>
              <a:gd name="connsiteY8764" fmla="*/ 1553345 h 6557032"/>
              <a:gd name="connsiteX8765" fmla="*/ 599496 w 4610101"/>
              <a:gd name="connsiteY8765" fmla="*/ 1533301 h 6557032"/>
              <a:gd name="connsiteX8766" fmla="*/ 471943 w 4610101"/>
              <a:gd name="connsiteY8766" fmla="*/ 1533301 h 6557032"/>
              <a:gd name="connsiteX8767" fmla="*/ 468299 w 4610101"/>
              <a:gd name="connsiteY8767" fmla="*/ 1536945 h 6557032"/>
              <a:gd name="connsiteX8768" fmla="*/ 471943 w 4610101"/>
              <a:gd name="connsiteY8768" fmla="*/ 1533301 h 6557032"/>
              <a:gd name="connsiteX8769" fmla="*/ 348037 w 4610101"/>
              <a:gd name="connsiteY8769" fmla="*/ 1533301 h 6557032"/>
              <a:gd name="connsiteX8770" fmla="*/ 357146 w 4610101"/>
              <a:gd name="connsiteY8770" fmla="*/ 1538767 h 6557032"/>
              <a:gd name="connsiteX8771" fmla="*/ 356539 w 4610101"/>
              <a:gd name="connsiteY8771" fmla="*/ 1545448 h 6557032"/>
              <a:gd name="connsiteX8772" fmla="*/ 657463 w 4610101"/>
              <a:gd name="connsiteY8772" fmla="*/ 1533215 h 6557032"/>
              <a:gd name="connsiteX8773" fmla="*/ 648694 w 4610101"/>
              <a:gd name="connsiteY8773" fmla="*/ 1538767 h 6557032"/>
              <a:gd name="connsiteX8774" fmla="*/ 645050 w 4610101"/>
              <a:gd name="connsiteY8774" fmla="*/ 1555167 h 6557032"/>
              <a:gd name="connsiteX8775" fmla="*/ 643228 w 4610101"/>
              <a:gd name="connsiteY8775" fmla="*/ 1551522 h 6557032"/>
              <a:gd name="connsiteX8776" fmla="*/ 659627 w 4610101"/>
              <a:gd name="connsiteY8776" fmla="*/ 1602543 h 6557032"/>
              <a:gd name="connsiteX8777" fmla="*/ 643228 w 4610101"/>
              <a:gd name="connsiteY8777" fmla="*/ 1569744 h 6557032"/>
              <a:gd name="connsiteX8778" fmla="*/ 648694 w 4610101"/>
              <a:gd name="connsiteY8778" fmla="*/ 1633520 h 6557032"/>
              <a:gd name="connsiteX8779" fmla="*/ 663272 w 4610101"/>
              <a:gd name="connsiteY8779" fmla="*/ 1606188 h 6557032"/>
              <a:gd name="connsiteX8780" fmla="*/ 659627 w 4610101"/>
              <a:gd name="connsiteY8780" fmla="*/ 1608010 h 6557032"/>
              <a:gd name="connsiteX8781" fmla="*/ 674205 w 4610101"/>
              <a:gd name="connsiteY8781" fmla="*/ 1575211 h 6557032"/>
              <a:gd name="connsiteX8782" fmla="*/ 650516 w 4610101"/>
              <a:gd name="connsiteY8782" fmla="*/ 1578855 h 6557032"/>
              <a:gd name="connsiteX8783" fmla="*/ 688782 w 4610101"/>
              <a:gd name="connsiteY8783" fmla="*/ 1556989 h 6557032"/>
              <a:gd name="connsiteX8784" fmla="*/ 674205 w 4610101"/>
              <a:gd name="connsiteY8784" fmla="*/ 1549700 h 6557032"/>
              <a:gd name="connsiteX8785" fmla="*/ 694249 w 4610101"/>
              <a:gd name="connsiteY8785" fmla="*/ 1551522 h 6557032"/>
              <a:gd name="connsiteX8786" fmla="*/ 685138 w 4610101"/>
              <a:gd name="connsiteY8786" fmla="*/ 1544234 h 6557032"/>
              <a:gd name="connsiteX8787" fmla="*/ 666916 w 4610101"/>
              <a:gd name="connsiteY8787" fmla="*/ 1533984 h 6557032"/>
              <a:gd name="connsiteX8788" fmla="*/ 657463 w 4610101"/>
              <a:gd name="connsiteY8788" fmla="*/ 1533215 h 6557032"/>
              <a:gd name="connsiteX8789" fmla="*/ 834015 w 4610101"/>
              <a:gd name="connsiteY8789" fmla="*/ 1533044 h 6557032"/>
              <a:gd name="connsiteX8790" fmla="*/ 838620 w 4610101"/>
              <a:gd name="connsiteY8790" fmla="*/ 1536804 h 6557032"/>
              <a:gd name="connsiteX8791" fmla="*/ 833662 w 4610101"/>
              <a:gd name="connsiteY8791" fmla="*/ 1533085 h 6557032"/>
              <a:gd name="connsiteX8792" fmla="*/ 422138 w 4610101"/>
              <a:gd name="connsiteY8792" fmla="*/ 1532260 h 6557032"/>
              <a:gd name="connsiteX8793" fmla="*/ 422563 w 4610101"/>
              <a:gd name="connsiteY8793" fmla="*/ 1532754 h 6557032"/>
              <a:gd name="connsiteX8794" fmla="*/ 422745 w 4610101"/>
              <a:gd name="connsiteY8794" fmla="*/ 1533301 h 6557032"/>
              <a:gd name="connsiteX8795" fmla="*/ 652339 w 4610101"/>
              <a:gd name="connsiteY8795" fmla="*/ 1531478 h 6557032"/>
              <a:gd name="connsiteX8796" fmla="*/ 641407 w 4610101"/>
              <a:gd name="connsiteY8796" fmla="*/ 1535123 h 6557032"/>
              <a:gd name="connsiteX8797" fmla="*/ 643228 w 4610101"/>
              <a:gd name="connsiteY8797" fmla="*/ 1540589 h 6557032"/>
              <a:gd name="connsiteX8798" fmla="*/ 652339 w 4610101"/>
              <a:gd name="connsiteY8798" fmla="*/ 1531478 h 6557032"/>
              <a:gd name="connsiteX8799" fmla="*/ 566697 w 4610101"/>
              <a:gd name="connsiteY8799" fmla="*/ 1531478 h 6557032"/>
              <a:gd name="connsiteX8800" fmla="*/ 563052 w 4610101"/>
              <a:gd name="connsiteY8800" fmla="*/ 1562455 h 6557032"/>
              <a:gd name="connsiteX8801" fmla="*/ 573985 w 4610101"/>
              <a:gd name="connsiteY8801" fmla="*/ 1542412 h 6557032"/>
              <a:gd name="connsiteX8802" fmla="*/ 561230 w 4610101"/>
              <a:gd name="connsiteY8802" fmla="*/ 1540589 h 6557032"/>
              <a:gd name="connsiteX8803" fmla="*/ 570341 w 4610101"/>
              <a:gd name="connsiteY8803" fmla="*/ 1538767 h 6557032"/>
              <a:gd name="connsiteX8804" fmla="*/ 566697 w 4610101"/>
              <a:gd name="connsiteY8804" fmla="*/ 1531478 h 6557032"/>
              <a:gd name="connsiteX8805" fmla="*/ 482876 w 4610101"/>
              <a:gd name="connsiteY8805" fmla="*/ 1531478 h 6557032"/>
              <a:gd name="connsiteX8806" fmla="*/ 488343 w 4610101"/>
              <a:gd name="connsiteY8806" fmla="*/ 1538767 h 6557032"/>
              <a:gd name="connsiteX8807" fmla="*/ 482876 w 4610101"/>
              <a:gd name="connsiteY8807" fmla="*/ 1531478 h 6557032"/>
              <a:gd name="connsiteX8808" fmla="*/ 1213568 w 4610101"/>
              <a:gd name="connsiteY8808" fmla="*/ 1529656 h 6557032"/>
              <a:gd name="connsiteX8809" fmla="*/ 1208102 w 4610101"/>
              <a:gd name="connsiteY8809" fmla="*/ 1533301 h 6557032"/>
              <a:gd name="connsiteX8810" fmla="*/ 1213568 w 4610101"/>
              <a:gd name="connsiteY8810" fmla="*/ 1536945 h 6557032"/>
              <a:gd name="connsiteX8811" fmla="*/ 1220858 w 4610101"/>
              <a:gd name="connsiteY8811" fmla="*/ 1549700 h 6557032"/>
              <a:gd name="connsiteX8812" fmla="*/ 1228146 w 4610101"/>
              <a:gd name="connsiteY8812" fmla="*/ 1549700 h 6557032"/>
              <a:gd name="connsiteX8813" fmla="*/ 1226323 w 4610101"/>
              <a:gd name="connsiteY8813" fmla="*/ 1553345 h 6557032"/>
              <a:gd name="connsiteX8814" fmla="*/ 1231790 w 4610101"/>
              <a:gd name="connsiteY8814" fmla="*/ 1564278 h 6557032"/>
              <a:gd name="connsiteX8815" fmla="*/ 1235434 w 4610101"/>
              <a:gd name="connsiteY8815" fmla="*/ 1564278 h 6557032"/>
              <a:gd name="connsiteX8816" fmla="*/ 1235434 w 4610101"/>
              <a:gd name="connsiteY8816" fmla="*/ 1569744 h 6557032"/>
              <a:gd name="connsiteX8817" fmla="*/ 1242723 w 4610101"/>
              <a:gd name="connsiteY8817" fmla="*/ 1577033 h 6557032"/>
              <a:gd name="connsiteX8818" fmla="*/ 1235434 w 4610101"/>
              <a:gd name="connsiteY8818" fmla="*/ 1564278 h 6557032"/>
              <a:gd name="connsiteX8819" fmla="*/ 1228146 w 4610101"/>
              <a:gd name="connsiteY8819" fmla="*/ 1549700 h 6557032"/>
              <a:gd name="connsiteX8820" fmla="*/ 1220858 w 4610101"/>
              <a:gd name="connsiteY8820" fmla="*/ 1538767 h 6557032"/>
              <a:gd name="connsiteX8821" fmla="*/ 1218994 w 4610101"/>
              <a:gd name="connsiteY8821" fmla="*/ 1538651 h 6557032"/>
              <a:gd name="connsiteX8822" fmla="*/ 1217668 w 4610101"/>
              <a:gd name="connsiteY8822" fmla="*/ 1534895 h 6557032"/>
              <a:gd name="connsiteX8823" fmla="*/ 1213568 w 4610101"/>
              <a:gd name="connsiteY8823" fmla="*/ 1529656 h 6557032"/>
              <a:gd name="connsiteX8824" fmla="*/ 490644 w 4610101"/>
              <a:gd name="connsiteY8824" fmla="*/ 1529368 h 6557032"/>
              <a:gd name="connsiteX8825" fmla="*/ 488343 w 4610101"/>
              <a:gd name="connsiteY8825" fmla="*/ 1535123 h 6557032"/>
              <a:gd name="connsiteX8826" fmla="*/ 488798 w 4610101"/>
              <a:gd name="connsiteY8826" fmla="*/ 1531478 h 6557032"/>
              <a:gd name="connsiteX8827" fmla="*/ 561230 w 4610101"/>
              <a:gd name="connsiteY8827" fmla="*/ 1527834 h 6557032"/>
              <a:gd name="connsiteX8828" fmla="*/ 557586 w 4610101"/>
              <a:gd name="connsiteY8828" fmla="*/ 1533301 h 6557032"/>
              <a:gd name="connsiteX8829" fmla="*/ 548475 w 4610101"/>
              <a:gd name="connsiteY8829" fmla="*/ 1535123 h 6557032"/>
              <a:gd name="connsiteX8830" fmla="*/ 552119 w 4610101"/>
              <a:gd name="connsiteY8830" fmla="*/ 1544234 h 6557032"/>
              <a:gd name="connsiteX8831" fmla="*/ 559408 w 4610101"/>
              <a:gd name="connsiteY8831" fmla="*/ 1533301 h 6557032"/>
              <a:gd name="connsiteX8832" fmla="*/ 561230 w 4610101"/>
              <a:gd name="connsiteY8832" fmla="*/ 1536945 h 6557032"/>
              <a:gd name="connsiteX8833" fmla="*/ 561230 w 4610101"/>
              <a:gd name="connsiteY8833" fmla="*/ 1527834 h 6557032"/>
              <a:gd name="connsiteX8834" fmla="*/ 530253 w 4610101"/>
              <a:gd name="connsiteY8834" fmla="*/ 1527834 h 6557032"/>
              <a:gd name="connsiteX8835" fmla="*/ 528431 w 4610101"/>
              <a:gd name="connsiteY8835" fmla="*/ 1538767 h 6557032"/>
              <a:gd name="connsiteX8836" fmla="*/ 541186 w 4610101"/>
              <a:gd name="connsiteY8836" fmla="*/ 1533301 h 6557032"/>
              <a:gd name="connsiteX8837" fmla="*/ 532075 w 4610101"/>
              <a:gd name="connsiteY8837" fmla="*/ 1535123 h 6557032"/>
              <a:gd name="connsiteX8838" fmla="*/ 533897 w 4610101"/>
              <a:gd name="connsiteY8838" fmla="*/ 1531478 h 6557032"/>
              <a:gd name="connsiteX8839" fmla="*/ 530253 w 4610101"/>
              <a:gd name="connsiteY8839" fmla="*/ 1527834 h 6557032"/>
              <a:gd name="connsiteX8840" fmla="*/ 510209 w 4610101"/>
              <a:gd name="connsiteY8840" fmla="*/ 1527834 h 6557032"/>
              <a:gd name="connsiteX8841" fmla="*/ 504743 w 4610101"/>
              <a:gd name="connsiteY8841" fmla="*/ 1533301 h 6557032"/>
              <a:gd name="connsiteX8842" fmla="*/ 510209 w 4610101"/>
              <a:gd name="connsiteY8842" fmla="*/ 1527834 h 6557032"/>
              <a:gd name="connsiteX8843" fmla="*/ 491324 w 4610101"/>
              <a:gd name="connsiteY8843" fmla="*/ 1527668 h 6557032"/>
              <a:gd name="connsiteX8844" fmla="*/ 491766 w 4610101"/>
              <a:gd name="connsiteY8844" fmla="*/ 1527779 h 6557032"/>
              <a:gd name="connsiteX8845" fmla="*/ 491721 w 4610101"/>
              <a:gd name="connsiteY8845" fmla="*/ 1528138 h 6557032"/>
              <a:gd name="connsiteX8846" fmla="*/ 490644 w 4610101"/>
              <a:gd name="connsiteY8846" fmla="*/ 1529368 h 6557032"/>
              <a:gd name="connsiteX8847" fmla="*/ 572391 w 4610101"/>
              <a:gd name="connsiteY8847" fmla="*/ 1526695 h 6557032"/>
              <a:gd name="connsiteX8848" fmla="*/ 572163 w 4610101"/>
              <a:gd name="connsiteY8848" fmla="*/ 1529656 h 6557032"/>
              <a:gd name="connsiteX8849" fmla="*/ 573985 w 4610101"/>
              <a:gd name="connsiteY8849" fmla="*/ 1527834 h 6557032"/>
              <a:gd name="connsiteX8850" fmla="*/ 572391 w 4610101"/>
              <a:gd name="connsiteY8850" fmla="*/ 1526695 h 6557032"/>
              <a:gd name="connsiteX8851" fmla="*/ 1204457 w 4610101"/>
              <a:gd name="connsiteY8851" fmla="*/ 1526012 h 6557032"/>
              <a:gd name="connsiteX8852" fmla="*/ 1208102 w 4610101"/>
              <a:gd name="connsiteY8852" fmla="*/ 1531478 h 6557032"/>
              <a:gd name="connsiteX8853" fmla="*/ 1211747 w 4610101"/>
              <a:gd name="connsiteY8853" fmla="*/ 1529656 h 6557032"/>
              <a:gd name="connsiteX8854" fmla="*/ 1204457 w 4610101"/>
              <a:gd name="connsiteY8854" fmla="*/ 1526012 h 6557032"/>
              <a:gd name="connsiteX8855" fmla="*/ 539364 w 4610101"/>
              <a:gd name="connsiteY8855" fmla="*/ 1526012 h 6557032"/>
              <a:gd name="connsiteX8856" fmla="*/ 539364 w 4610101"/>
              <a:gd name="connsiteY8856" fmla="*/ 1531478 h 6557032"/>
              <a:gd name="connsiteX8857" fmla="*/ 539364 w 4610101"/>
              <a:gd name="connsiteY8857" fmla="*/ 1526012 h 6557032"/>
              <a:gd name="connsiteX8858" fmla="*/ 484700 w 4610101"/>
              <a:gd name="connsiteY8858" fmla="*/ 1526012 h 6557032"/>
              <a:gd name="connsiteX8859" fmla="*/ 490165 w 4610101"/>
              <a:gd name="connsiteY8859" fmla="*/ 1540589 h 6557032"/>
              <a:gd name="connsiteX8860" fmla="*/ 491721 w 4610101"/>
              <a:gd name="connsiteY8860" fmla="*/ 1528138 h 6557032"/>
              <a:gd name="connsiteX8861" fmla="*/ 491987 w 4610101"/>
              <a:gd name="connsiteY8861" fmla="*/ 1527834 h 6557032"/>
              <a:gd name="connsiteX8862" fmla="*/ 491766 w 4610101"/>
              <a:gd name="connsiteY8862" fmla="*/ 1527779 h 6557032"/>
              <a:gd name="connsiteX8863" fmla="*/ 491987 w 4610101"/>
              <a:gd name="connsiteY8863" fmla="*/ 1526012 h 6557032"/>
              <a:gd name="connsiteX8864" fmla="*/ 491324 w 4610101"/>
              <a:gd name="connsiteY8864" fmla="*/ 1527668 h 6557032"/>
              <a:gd name="connsiteX8865" fmla="*/ 1087838 w 4610101"/>
              <a:gd name="connsiteY8865" fmla="*/ 1524273 h 6557032"/>
              <a:gd name="connsiteX8866" fmla="*/ 1087838 w 4610101"/>
              <a:gd name="connsiteY8866" fmla="*/ 1526012 h 6557032"/>
              <a:gd name="connsiteX8867" fmla="*/ 1085260 w 4610101"/>
              <a:gd name="connsiteY8867" fmla="*/ 1524390 h 6557032"/>
              <a:gd name="connsiteX8868" fmla="*/ 1084265 w 4610101"/>
              <a:gd name="connsiteY8868" fmla="*/ 1523764 h 6557032"/>
              <a:gd name="connsiteX8869" fmla="*/ 1085260 w 4610101"/>
              <a:gd name="connsiteY8869" fmla="*/ 1524390 h 6557032"/>
              <a:gd name="connsiteX8870" fmla="*/ 1084649 w 4610101"/>
              <a:gd name="connsiteY8870" fmla="*/ 1524417 h 6557032"/>
              <a:gd name="connsiteX8871" fmla="*/ 1087838 w 4610101"/>
              <a:gd name="connsiteY8871" fmla="*/ 1523068 h 6557032"/>
              <a:gd name="connsiteX8872" fmla="*/ 1089660 w 4610101"/>
              <a:gd name="connsiteY8872" fmla="*/ 1524190 h 6557032"/>
              <a:gd name="connsiteX8873" fmla="*/ 1087838 w 4610101"/>
              <a:gd name="connsiteY8873" fmla="*/ 1524273 h 6557032"/>
              <a:gd name="connsiteX8874" fmla="*/ 439145 w 4610101"/>
              <a:gd name="connsiteY8874" fmla="*/ 1522368 h 6557032"/>
              <a:gd name="connsiteX8875" fmla="*/ 440966 w 4610101"/>
              <a:gd name="connsiteY8875" fmla="*/ 1531478 h 6557032"/>
              <a:gd name="connsiteX8876" fmla="*/ 439145 w 4610101"/>
              <a:gd name="connsiteY8876" fmla="*/ 1522368 h 6557032"/>
              <a:gd name="connsiteX8877" fmla="*/ 535720 w 4610101"/>
              <a:gd name="connsiteY8877" fmla="*/ 1521912 h 6557032"/>
              <a:gd name="connsiteX8878" fmla="*/ 532075 w 4610101"/>
              <a:gd name="connsiteY8878" fmla="*/ 1524190 h 6557032"/>
              <a:gd name="connsiteX8879" fmla="*/ 539364 w 4610101"/>
              <a:gd name="connsiteY8879" fmla="*/ 1522368 h 6557032"/>
              <a:gd name="connsiteX8880" fmla="*/ 535720 w 4610101"/>
              <a:gd name="connsiteY8880" fmla="*/ 1521912 h 6557032"/>
              <a:gd name="connsiteX8881" fmla="*/ 3323646 w 4610101"/>
              <a:gd name="connsiteY8881" fmla="*/ 1521326 h 6557032"/>
              <a:gd name="connsiteX8882" fmla="*/ 3323646 w 4610101"/>
              <a:gd name="connsiteY8882" fmla="*/ 1522368 h 6557032"/>
              <a:gd name="connsiteX8883" fmla="*/ 3321824 w 4610101"/>
              <a:gd name="connsiteY8883" fmla="*/ 1524190 h 6557032"/>
              <a:gd name="connsiteX8884" fmla="*/ 3322407 w 4610101"/>
              <a:gd name="connsiteY8884" fmla="*/ 1521857 h 6557032"/>
              <a:gd name="connsiteX8885" fmla="*/ 641407 w 4610101"/>
              <a:gd name="connsiteY8885" fmla="*/ 1520545 h 6557032"/>
              <a:gd name="connsiteX8886" fmla="*/ 646872 w 4610101"/>
              <a:gd name="connsiteY8886" fmla="*/ 1520545 h 6557032"/>
              <a:gd name="connsiteX8887" fmla="*/ 641407 w 4610101"/>
              <a:gd name="connsiteY8887" fmla="*/ 1520545 h 6557032"/>
              <a:gd name="connsiteX8888" fmla="*/ 637761 w 4610101"/>
              <a:gd name="connsiteY8888" fmla="*/ 1520545 h 6557032"/>
              <a:gd name="connsiteX8889" fmla="*/ 634117 w 4610101"/>
              <a:gd name="connsiteY8889" fmla="*/ 1524190 h 6557032"/>
              <a:gd name="connsiteX8890" fmla="*/ 639583 w 4610101"/>
              <a:gd name="connsiteY8890" fmla="*/ 1524190 h 6557032"/>
              <a:gd name="connsiteX8891" fmla="*/ 637761 w 4610101"/>
              <a:gd name="connsiteY8891" fmla="*/ 1520545 h 6557032"/>
              <a:gd name="connsiteX8892" fmla="*/ 3863009 w 4610101"/>
              <a:gd name="connsiteY8892" fmla="*/ 1518838 h 6557032"/>
              <a:gd name="connsiteX8893" fmla="*/ 3892164 w 4610101"/>
              <a:gd name="connsiteY8893" fmla="*/ 1542526 h 6557032"/>
              <a:gd name="connsiteX8894" fmla="*/ 3870298 w 4610101"/>
              <a:gd name="connsiteY8894" fmla="*/ 1549814 h 6557032"/>
              <a:gd name="connsiteX8895" fmla="*/ 3148717 w 4610101"/>
              <a:gd name="connsiteY8895" fmla="*/ 1518723 h 6557032"/>
              <a:gd name="connsiteX8896" fmla="*/ 3145073 w 4610101"/>
              <a:gd name="connsiteY8896" fmla="*/ 1524190 h 6557032"/>
              <a:gd name="connsiteX8897" fmla="*/ 3131179 w 4610101"/>
              <a:gd name="connsiteY8897" fmla="*/ 1523051 h 6557032"/>
              <a:gd name="connsiteX8898" fmla="*/ 3120573 w 4610101"/>
              <a:gd name="connsiteY8898" fmla="*/ 1525109 h 6557032"/>
              <a:gd name="connsiteX8899" fmla="*/ 3119562 w 4610101"/>
              <a:gd name="connsiteY8899" fmla="*/ 1524190 h 6557032"/>
              <a:gd name="connsiteX8900" fmla="*/ 3119911 w 4610101"/>
              <a:gd name="connsiteY8900" fmla="*/ 1525237 h 6557032"/>
              <a:gd name="connsiteX8901" fmla="*/ 3115918 w 4610101"/>
              <a:gd name="connsiteY8901" fmla="*/ 1526012 h 6557032"/>
              <a:gd name="connsiteX8902" fmla="*/ 3114096 w 4610101"/>
              <a:gd name="connsiteY8902" fmla="*/ 1533301 h 6557032"/>
              <a:gd name="connsiteX8903" fmla="*/ 3095874 w 4610101"/>
              <a:gd name="connsiteY8903" fmla="*/ 1533301 h 6557032"/>
              <a:gd name="connsiteX8904" fmla="*/ 3097696 w 4610101"/>
              <a:gd name="connsiteY8904" fmla="*/ 1553345 h 6557032"/>
              <a:gd name="connsiteX8905" fmla="*/ 3092230 w 4610101"/>
              <a:gd name="connsiteY8905" fmla="*/ 1538767 h 6557032"/>
              <a:gd name="connsiteX8906" fmla="*/ 3084941 w 4610101"/>
              <a:gd name="connsiteY8906" fmla="*/ 1549700 h 6557032"/>
              <a:gd name="connsiteX8907" fmla="*/ 3079474 w 4610101"/>
              <a:gd name="connsiteY8907" fmla="*/ 1529656 h 6557032"/>
              <a:gd name="connsiteX8908" fmla="*/ 3081297 w 4610101"/>
              <a:gd name="connsiteY8908" fmla="*/ 1549700 h 6557032"/>
              <a:gd name="connsiteX8909" fmla="*/ 3077652 w 4610101"/>
              <a:gd name="connsiteY8909" fmla="*/ 1555167 h 6557032"/>
              <a:gd name="connsiteX8910" fmla="*/ 3061253 w 4610101"/>
              <a:gd name="connsiteY8910" fmla="*/ 1540589 h 6557032"/>
              <a:gd name="connsiteX8911" fmla="*/ 3063075 w 4610101"/>
              <a:gd name="connsiteY8911" fmla="*/ 1546056 h 6557032"/>
              <a:gd name="connsiteX8912" fmla="*/ 3057608 w 4610101"/>
              <a:gd name="connsiteY8912" fmla="*/ 1542412 h 6557032"/>
              <a:gd name="connsiteX8913" fmla="*/ 3061253 w 4610101"/>
              <a:gd name="connsiteY8913" fmla="*/ 1556989 h 6557032"/>
              <a:gd name="connsiteX8914" fmla="*/ 3035742 w 4610101"/>
              <a:gd name="connsiteY8914" fmla="*/ 1564278 h 6557032"/>
              <a:gd name="connsiteX8915" fmla="*/ 3066719 w 4610101"/>
              <a:gd name="connsiteY8915" fmla="*/ 1598899 h 6557032"/>
              <a:gd name="connsiteX8916" fmla="*/ 3072186 w 4610101"/>
              <a:gd name="connsiteY8916" fmla="*/ 1595255 h 6557032"/>
              <a:gd name="connsiteX8917" fmla="*/ 3074008 w 4610101"/>
              <a:gd name="connsiteY8917" fmla="*/ 1598899 h 6557032"/>
              <a:gd name="connsiteX8918" fmla="*/ 3075830 w 4610101"/>
              <a:gd name="connsiteY8918" fmla="*/ 1598899 h 6557032"/>
              <a:gd name="connsiteX8919" fmla="*/ 3079474 w 4610101"/>
              <a:gd name="connsiteY8919" fmla="*/ 1606188 h 6557032"/>
              <a:gd name="connsiteX8920" fmla="*/ 3079474 w 4610101"/>
              <a:gd name="connsiteY8920" fmla="*/ 1597077 h 6557032"/>
              <a:gd name="connsiteX8921" fmla="*/ 3075830 w 4610101"/>
              <a:gd name="connsiteY8921" fmla="*/ 1598899 h 6557032"/>
              <a:gd name="connsiteX8922" fmla="*/ 3088585 w 4610101"/>
              <a:gd name="connsiteY8922" fmla="*/ 1593432 h 6557032"/>
              <a:gd name="connsiteX8923" fmla="*/ 3086763 w 4610101"/>
              <a:gd name="connsiteY8923" fmla="*/ 1577033 h 6557032"/>
              <a:gd name="connsiteX8924" fmla="*/ 3095874 w 4610101"/>
              <a:gd name="connsiteY8924" fmla="*/ 1573388 h 6557032"/>
              <a:gd name="connsiteX8925" fmla="*/ 3114096 w 4610101"/>
              <a:gd name="connsiteY8925" fmla="*/ 1549700 h 6557032"/>
              <a:gd name="connsiteX8926" fmla="*/ 3110451 w 4610101"/>
              <a:gd name="connsiteY8926" fmla="*/ 1551522 h 6557032"/>
              <a:gd name="connsiteX8927" fmla="*/ 3108629 w 4610101"/>
              <a:gd name="connsiteY8927" fmla="*/ 1544234 h 6557032"/>
              <a:gd name="connsiteX8928" fmla="*/ 3112274 w 4610101"/>
              <a:gd name="connsiteY8928" fmla="*/ 1547878 h 6557032"/>
              <a:gd name="connsiteX8929" fmla="*/ 3112274 w 4610101"/>
              <a:gd name="connsiteY8929" fmla="*/ 1535123 h 6557032"/>
              <a:gd name="connsiteX8930" fmla="*/ 3117740 w 4610101"/>
              <a:gd name="connsiteY8930" fmla="*/ 1535123 h 6557032"/>
              <a:gd name="connsiteX8931" fmla="*/ 3117740 w 4610101"/>
              <a:gd name="connsiteY8931" fmla="*/ 1546056 h 6557032"/>
              <a:gd name="connsiteX8932" fmla="*/ 3125029 w 4610101"/>
              <a:gd name="connsiteY8932" fmla="*/ 1540589 h 6557032"/>
              <a:gd name="connsiteX8933" fmla="*/ 3119911 w 4610101"/>
              <a:gd name="connsiteY8933" fmla="*/ 1525237 h 6557032"/>
              <a:gd name="connsiteX8934" fmla="*/ 3120573 w 4610101"/>
              <a:gd name="connsiteY8934" fmla="*/ 1525109 h 6557032"/>
              <a:gd name="connsiteX8935" fmla="*/ 3139606 w 4610101"/>
              <a:gd name="connsiteY8935" fmla="*/ 1542412 h 6557032"/>
              <a:gd name="connsiteX8936" fmla="*/ 3139606 w 4610101"/>
              <a:gd name="connsiteY8936" fmla="*/ 1556989 h 6557032"/>
              <a:gd name="connsiteX8937" fmla="*/ 3152361 w 4610101"/>
              <a:gd name="connsiteY8937" fmla="*/ 1542412 h 6557032"/>
              <a:gd name="connsiteX8938" fmla="*/ 3154184 w 4610101"/>
              <a:gd name="connsiteY8938" fmla="*/ 1549700 h 6557032"/>
              <a:gd name="connsiteX8939" fmla="*/ 3157828 w 4610101"/>
              <a:gd name="connsiteY8939" fmla="*/ 1549700 h 6557032"/>
              <a:gd name="connsiteX8940" fmla="*/ 3156006 w 4610101"/>
              <a:gd name="connsiteY8940" fmla="*/ 1542412 h 6557032"/>
              <a:gd name="connsiteX8941" fmla="*/ 3163294 w 4610101"/>
              <a:gd name="connsiteY8941" fmla="*/ 1544234 h 6557032"/>
              <a:gd name="connsiteX8942" fmla="*/ 3161472 w 4610101"/>
              <a:gd name="connsiteY8942" fmla="*/ 1551522 h 6557032"/>
              <a:gd name="connsiteX8943" fmla="*/ 3176050 w 4610101"/>
              <a:gd name="connsiteY8943" fmla="*/ 1564278 h 6557032"/>
              <a:gd name="connsiteX8944" fmla="*/ 3176050 w 4610101"/>
              <a:gd name="connsiteY8944" fmla="*/ 1535123 h 6557032"/>
              <a:gd name="connsiteX8945" fmla="*/ 3190627 w 4610101"/>
              <a:gd name="connsiteY8945" fmla="*/ 1535123 h 6557032"/>
              <a:gd name="connsiteX8946" fmla="*/ 3181516 w 4610101"/>
              <a:gd name="connsiteY8946" fmla="*/ 1524190 h 6557032"/>
              <a:gd name="connsiteX8947" fmla="*/ 3177872 w 4610101"/>
              <a:gd name="connsiteY8947" fmla="*/ 1531478 h 6557032"/>
              <a:gd name="connsiteX8948" fmla="*/ 3166939 w 4610101"/>
              <a:gd name="connsiteY8948" fmla="*/ 1518723 h 6557032"/>
              <a:gd name="connsiteX8949" fmla="*/ 3165116 w 4610101"/>
              <a:gd name="connsiteY8949" fmla="*/ 1529656 h 6557032"/>
              <a:gd name="connsiteX8950" fmla="*/ 3148717 w 4610101"/>
              <a:gd name="connsiteY8950" fmla="*/ 1518723 h 6557032"/>
              <a:gd name="connsiteX8951" fmla="*/ 3050319 w 4610101"/>
              <a:gd name="connsiteY8951" fmla="*/ 1518723 h 6557032"/>
              <a:gd name="connsiteX8952" fmla="*/ 3052142 w 4610101"/>
              <a:gd name="connsiteY8952" fmla="*/ 1526012 h 6557032"/>
              <a:gd name="connsiteX8953" fmla="*/ 3050319 w 4610101"/>
              <a:gd name="connsiteY8953" fmla="*/ 1518723 h 6557032"/>
              <a:gd name="connsiteX8954" fmla="*/ 852778 w 4610101"/>
              <a:gd name="connsiteY8954" fmla="*/ 1518723 h 6557032"/>
              <a:gd name="connsiteX8955" fmla="*/ 854599 w 4610101"/>
              <a:gd name="connsiteY8955" fmla="*/ 1520544 h 6557032"/>
              <a:gd name="connsiteX8956" fmla="*/ 853044 w 4610101"/>
              <a:gd name="connsiteY8956" fmla="*/ 1519923 h 6557032"/>
              <a:gd name="connsiteX8957" fmla="*/ 677849 w 4610101"/>
              <a:gd name="connsiteY8957" fmla="*/ 1518723 h 6557032"/>
              <a:gd name="connsiteX8958" fmla="*/ 661449 w 4610101"/>
              <a:gd name="connsiteY8958" fmla="*/ 1529656 h 6557032"/>
              <a:gd name="connsiteX8959" fmla="*/ 688782 w 4610101"/>
              <a:gd name="connsiteY8959" fmla="*/ 1540589 h 6557032"/>
              <a:gd name="connsiteX8960" fmla="*/ 677849 w 4610101"/>
              <a:gd name="connsiteY8960" fmla="*/ 1518723 h 6557032"/>
              <a:gd name="connsiteX8961" fmla="*/ 590385 w 4610101"/>
              <a:gd name="connsiteY8961" fmla="*/ 1518723 h 6557032"/>
              <a:gd name="connsiteX8962" fmla="*/ 586741 w 4610101"/>
              <a:gd name="connsiteY8962" fmla="*/ 1533301 h 6557032"/>
              <a:gd name="connsiteX8963" fmla="*/ 594030 w 4610101"/>
              <a:gd name="connsiteY8963" fmla="*/ 1520545 h 6557032"/>
              <a:gd name="connsiteX8964" fmla="*/ 590385 w 4610101"/>
              <a:gd name="connsiteY8964" fmla="*/ 1518723 h 6557032"/>
              <a:gd name="connsiteX8965" fmla="*/ 499276 w 4610101"/>
              <a:gd name="connsiteY8965" fmla="*/ 1518723 h 6557032"/>
              <a:gd name="connsiteX8966" fmla="*/ 497454 w 4610101"/>
              <a:gd name="connsiteY8966" fmla="*/ 1538767 h 6557032"/>
              <a:gd name="connsiteX8967" fmla="*/ 499276 w 4610101"/>
              <a:gd name="connsiteY8967" fmla="*/ 1518723 h 6557032"/>
              <a:gd name="connsiteX8968" fmla="*/ 431856 w 4610101"/>
              <a:gd name="connsiteY8968" fmla="*/ 1518723 h 6557032"/>
              <a:gd name="connsiteX8969" fmla="*/ 432003 w 4610101"/>
              <a:gd name="connsiteY8969" fmla="*/ 1518903 h 6557032"/>
              <a:gd name="connsiteX8970" fmla="*/ 432310 w 4610101"/>
              <a:gd name="connsiteY8970" fmla="*/ 1519781 h 6557032"/>
              <a:gd name="connsiteX8971" fmla="*/ 408167 w 4610101"/>
              <a:gd name="connsiteY8971" fmla="*/ 1518723 h 6557032"/>
              <a:gd name="connsiteX8972" fmla="*/ 409290 w 4610101"/>
              <a:gd name="connsiteY8972" fmla="*/ 1519003 h 6557032"/>
              <a:gd name="connsiteX8973" fmla="*/ 408092 w 4610101"/>
              <a:gd name="connsiteY8973" fmla="*/ 1518889 h 6557032"/>
              <a:gd name="connsiteX8974" fmla="*/ 416016 w 4610101"/>
              <a:gd name="connsiteY8974" fmla="*/ 1518583 h 6557032"/>
              <a:gd name="connsiteX8975" fmla="*/ 416487 w 4610101"/>
              <a:gd name="connsiteY8975" fmla="*/ 1519994 h 6557032"/>
              <a:gd name="connsiteX8976" fmla="*/ 415456 w 4610101"/>
              <a:gd name="connsiteY8976" fmla="*/ 1518723 h 6557032"/>
              <a:gd name="connsiteX8977" fmla="*/ 1058611 w 4610101"/>
              <a:gd name="connsiteY8977" fmla="*/ 1518175 h 6557032"/>
              <a:gd name="connsiteX8978" fmla="*/ 1060961 w 4610101"/>
              <a:gd name="connsiteY8978" fmla="*/ 1520318 h 6557032"/>
              <a:gd name="connsiteX8979" fmla="*/ 1065972 w 4610101"/>
              <a:gd name="connsiteY8979" fmla="*/ 1526012 h 6557032"/>
              <a:gd name="connsiteX8980" fmla="*/ 1073427 w 4610101"/>
              <a:gd name="connsiteY8980" fmla="*/ 1529877 h 6557032"/>
              <a:gd name="connsiteX8981" fmla="*/ 1064151 w 4610101"/>
              <a:gd name="connsiteY8981" fmla="*/ 1526012 h 6557032"/>
              <a:gd name="connsiteX8982" fmla="*/ 1065972 w 4610101"/>
              <a:gd name="connsiteY8982" fmla="*/ 1529656 h 6557032"/>
              <a:gd name="connsiteX8983" fmla="*/ 1060506 w 4610101"/>
              <a:gd name="connsiteY8983" fmla="*/ 1526012 h 6557032"/>
              <a:gd name="connsiteX8984" fmla="*/ 1064151 w 4610101"/>
              <a:gd name="connsiteY8984" fmla="*/ 1524190 h 6557032"/>
              <a:gd name="connsiteX8985" fmla="*/ 1059822 w 4610101"/>
              <a:gd name="connsiteY8985" fmla="*/ 1520318 h 6557032"/>
              <a:gd name="connsiteX8986" fmla="*/ 414154 w 4610101"/>
              <a:gd name="connsiteY8986" fmla="*/ 1518058 h 6557032"/>
              <a:gd name="connsiteX8987" fmla="*/ 413406 w 4610101"/>
              <a:gd name="connsiteY8987" fmla="*/ 1518723 h 6557032"/>
              <a:gd name="connsiteX8988" fmla="*/ 415456 w 4610101"/>
              <a:gd name="connsiteY8988" fmla="*/ 1520545 h 6557032"/>
              <a:gd name="connsiteX8989" fmla="*/ 409290 w 4610101"/>
              <a:gd name="connsiteY8989" fmla="*/ 1519003 h 6557032"/>
              <a:gd name="connsiteX8990" fmla="*/ 411128 w 4610101"/>
              <a:gd name="connsiteY8990" fmla="*/ 1519179 h 6557032"/>
              <a:gd name="connsiteX8991" fmla="*/ 916553 w 4610101"/>
              <a:gd name="connsiteY8991" fmla="*/ 1516960 h 6557032"/>
              <a:gd name="connsiteX8992" fmla="*/ 927486 w 4610101"/>
              <a:gd name="connsiteY8992" fmla="*/ 1520605 h 6557032"/>
              <a:gd name="connsiteX8993" fmla="*/ 932953 w 4610101"/>
              <a:gd name="connsiteY8993" fmla="*/ 1526071 h 6557032"/>
              <a:gd name="connsiteX8994" fmla="*/ 916553 w 4610101"/>
              <a:gd name="connsiteY8994" fmla="*/ 1516960 h 6557032"/>
              <a:gd name="connsiteX8995" fmla="*/ 3077652 w 4610101"/>
              <a:gd name="connsiteY8995" fmla="*/ 1516901 h 6557032"/>
              <a:gd name="connsiteX8996" fmla="*/ 3077652 w 4610101"/>
              <a:gd name="connsiteY8996" fmla="*/ 1524190 h 6557032"/>
              <a:gd name="connsiteX8997" fmla="*/ 3084941 w 4610101"/>
              <a:gd name="connsiteY8997" fmla="*/ 1524190 h 6557032"/>
              <a:gd name="connsiteX8998" fmla="*/ 3077652 w 4610101"/>
              <a:gd name="connsiteY8998" fmla="*/ 1516901 h 6557032"/>
              <a:gd name="connsiteX8999" fmla="*/ 1220858 w 4610101"/>
              <a:gd name="connsiteY8999" fmla="*/ 1516901 h 6557032"/>
              <a:gd name="connsiteX9000" fmla="*/ 1217213 w 4610101"/>
              <a:gd name="connsiteY9000" fmla="*/ 1522368 h 6557032"/>
              <a:gd name="connsiteX9001" fmla="*/ 1220858 w 4610101"/>
              <a:gd name="connsiteY9001" fmla="*/ 1531478 h 6557032"/>
              <a:gd name="connsiteX9002" fmla="*/ 1220858 w 4610101"/>
              <a:gd name="connsiteY9002" fmla="*/ 1516901 h 6557032"/>
              <a:gd name="connsiteX9003" fmla="*/ 666916 w 4610101"/>
              <a:gd name="connsiteY9003" fmla="*/ 1516901 h 6557032"/>
              <a:gd name="connsiteX9004" fmla="*/ 659627 w 4610101"/>
              <a:gd name="connsiteY9004" fmla="*/ 1526012 h 6557032"/>
              <a:gd name="connsiteX9005" fmla="*/ 666916 w 4610101"/>
              <a:gd name="connsiteY9005" fmla="*/ 1516901 h 6557032"/>
              <a:gd name="connsiteX9006" fmla="*/ 663272 w 4610101"/>
              <a:gd name="connsiteY9006" fmla="*/ 1516901 h 6557032"/>
              <a:gd name="connsiteX9007" fmla="*/ 650516 w 4610101"/>
              <a:gd name="connsiteY9007" fmla="*/ 1526012 h 6557032"/>
              <a:gd name="connsiteX9008" fmla="*/ 663272 w 4610101"/>
              <a:gd name="connsiteY9008" fmla="*/ 1516901 h 6557032"/>
              <a:gd name="connsiteX9009" fmla="*/ 559408 w 4610101"/>
              <a:gd name="connsiteY9009" fmla="*/ 1516901 h 6557032"/>
              <a:gd name="connsiteX9010" fmla="*/ 546653 w 4610101"/>
              <a:gd name="connsiteY9010" fmla="*/ 1520545 h 6557032"/>
              <a:gd name="connsiteX9011" fmla="*/ 550297 w 4610101"/>
              <a:gd name="connsiteY9011" fmla="*/ 1527834 h 6557032"/>
              <a:gd name="connsiteX9012" fmla="*/ 559408 w 4610101"/>
              <a:gd name="connsiteY9012" fmla="*/ 1516901 h 6557032"/>
              <a:gd name="connsiteX9013" fmla="*/ 415456 w 4610101"/>
              <a:gd name="connsiteY9013" fmla="*/ 1516901 h 6557032"/>
              <a:gd name="connsiteX9014" fmla="*/ 415656 w 4610101"/>
              <a:gd name="connsiteY9014" fmla="*/ 1517501 h 6557032"/>
              <a:gd name="connsiteX9015" fmla="*/ 414154 w 4610101"/>
              <a:gd name="connsiteY9015" fmla="*/ 1518058 h 6557032"/>
              <a:gd name="connsiteX9016" fmla="*/ 798214 w 4610101"/>
              <a:gd name="connsiteY9016" fmla="*/ 1516842 h 6557032"/>
              <a:gd name="connsiteX9017" fmla="*/ 824600 w 4610101"/>
              <a:gd name="connsiteY9017" fmla="*/ 1530134 h 6557032"/>
              <a:gd name="connsiteX9018" fmla="*/ 823623 w 4610101"/>
              <a:gd name="connsiteY9018" fmla="*/ 1531478 h 6557032"/>
              <a:gd name="connsiteX9019" fmla="*/ 1070944 w 4610101"/>
              <a:gd name="connsiteY9019" fmla="*/ 1516792 h 6557032"/>
              <a:gd name="connsiteX9020" fmla="*/ 1073457 w 4610101"/>
              <a:gd name="connsiteY9020" fmla="*/ 1517097 h 6557032"/>
              <a:gd name="connsiteX9021" fmla="*/ 1075083 w 4610101"/>
              <a:gd name="connsiteY9021" fmla="*/ 1518723 h 6557032"/>
              <a:gd name="connsiteX9022" fmla="*/ 492215 w 4610101"/>
              <a:gd name="connsiteY9022" fmla="*/ 1515762 h 6557032"/>
              <a:gd name="connsiteX9023" fmla="*/ 490165 w 4610101"/>
              <a:gd name="connsiteY9023" fmla="*/ 1518723 h 6557032"/>
              <a:gd name="connsiteX9024" fmla="*/ 495632 w 4610101"/>
              <a:gd name="connsiteY9024" fmla="*/ 1516901 h 6557032"/>
              <a:gd name="connsiteX9025" fmla="*/ 492215 w 4610101"/>
              <a:gd name="connsiteY9025" fmla="*/ 1515762 h 6557032"/>
              <a:gd name="connsiteX9026" fmla="*/ 3107719 w 4610101"/>
              <a:gd name="connsiteY9026" fmla="*/ 1515534 h 6557032"/>
              <a:gd name="connsiteX9027" fmla="*/ 3103163 w 4610101"/>
              <a:gd name="connsiteY9027" fmla="*/ 1520545 h 6557032"/>
              <a:gd name="connsiteX9028" fmla="*/ 3112274 w 4610101"/>
              <a:gd name="connsiteY9028" fmla="*/ 1518723 h 6557032"/>
              <a:gd name="connsiteX9029" fmla="*/ 3107719 w 4610101"/>
              <a:gd name="connsiteY9029" fmla="*/ 1515534 h 6557032"/>
              <a:gd name="connsiteX9030" fmla="*/ 3425687 w 4610101"/>
              <a:gd name="connsiteY9030" fmla="*/ 1515079 h 6557032"/>
              <a:gd name="connsiteX9031" fmla="*/ 3424386 w 4610101"/>
              <a:gd name="connsiteY9031" fmla="*/ 1525491 h 6557032"/>
              <a:gd name="connsiteX9032" fmla="*/ 3423865 w 4610101"/>
              <a:gd name="connsiteY9032" fmla="*/ 1526012 h 6557032"/>
              <a:gd name="connsiteX9033" fmla="*/ 3423865 w 4610101"/>
              <a:gd name="connsiteY9033" fmla="*/ 1529656 h 6557032"/>
              <a:gd name="connsiteX9034" fmla="*/ 3424386 w 4610101"/>
              <a:gd name="connsiteY9034" fmla="*/ 1525491 h 6557032"/>
              <a:gd name="connsiteX9035" fmla="*/ 3427510 w 4610101"/>
              <a:gd name="connsiteY9035" fmla="*/ 1522368 h 6557032"/>
              <a:gd name="connsiteX9036" fmla="*/ 3425687 w 4610101"/>
              <a:gd name="connsiteY9036" fmla="*/ 1515079 h 6557032"/>
              <a:gd name="connsiteX9037" fmla="*/ 3236181 w 4610101"/>
              <a:gd name="connsiteY9037" fmla="*/ 1515079 h 6557032"/>
              <a:gd name="connsiteX9038" fmla="*/ 3238003 w 4610101"/>
              <a:gd name="connsiteY9038" fmla="*/ 1526012 h 6557032"/>
              <a:gd name="connsiteX9039" fmla="*/ 3232537 w 4610101"/>
              <a:gd name="connsiteY9039" fmla="*/ 1522368 h 6557032"/>
              <a:gd name="connsiteX9040" fmla="*/ 3230715 w 4610101"/>
              <a:gd name="connsiteY9040" fmla="*/ 1529656 h 6557032"/>
              <a:gd name="connsiteX9041" fmla="*/ 3227071 w 4610101"/>
              <a:gd name="connsiteY9041" fmla="*/ 1524190 h 6557032"/>
              <a:gd name="connsiteX9042" fmla="*/ 3228893 w 4610101"/>
              <a:gd name="connsiteY9042" fmla="*/ 1533301 h 6557032"/>
              <a:gd name="connsiteX9043" fmla="*/ 3219782 w 4610101"/>
              <a:gd name="connsiteY9043" fmla="*/ 1526012 h 6557032"/>
              <a:gd name="connsiteX9044" fmla="*/ 3216137 w 4610101"/>
              <a:gd name="connsiteY9044" fmla="*/ 1535123 h 6557032"/>
              <a:gd name="connsiteX9045" fmla="*/ 3227071 w 4610101"/>
              <a:gd name="connsiteY9045" fmla="*/ 1542412 h 6557032"/>
              <a:gd name="connsiteX9046" fmla="*/ 3223426 w 4610101"/>
              <a:gd name="connsiteY9046" fmla="*/ 1558811 h 6557032"/>
              <a:gd name="connsiteX9047" fmla="*/ 3225248 w 4610101"/>
              <a:gd name="connsiteY9047" fmla="*/ 1556989 h 6557032"/>
              <a:gd name="connsiteX9048" fmla="*/ 3248937 w 4610101"/>
              <a:gd name="connsiteY9048" fmla="*/ 1558811 h 6557032"/>
              <a:gd name="connsiteX9049" fmla="*/ 3250759 w 4610101"/>
              <a:gd name="connsiteY9049" fmla="*/ 1551522 h 6557032"/>
              <a:gd name="connsiteX9050" fmla="*/ 3243470 w 4610101"/>
              <a:gd name="connsiteY9050" fmla="*/ 1531478 h 6557032"/>
              <a:gd name="connsiteX9051" fmla="*/ 3248937 w 4610101"/>
              <a:gd name="connsiteY9051" fmla="*/ 1533301 h 6557032"/>
              <a:gd name="connsiteX9052" fmla="*/ 3250759 w 4610101"/>
              <a:gd name="connsiteY9052" fmla="*/ 1529656 h 6557032"/>
              <a:gd name="connsiteX9053" fmla="*/ 3254403 w 4610101"/>
              <a:gd name="connsiteY9053" fmla="*/ 1531478 h 6557032"/>
              <a:gd name="connsiteX9054" fmla="*/ 3236181 w 4610101"/>
              <a:gd name="connsiteY9054" fmla="*/ 1515079 h 6557032"/>
              <a:gd name="connsiteX9055" fmla="*/ 841845 w 4610101"/>
              <a:gd name="connsiteY9055" fmla="*/ 1515079 h 6557032"/>
              <a:gd name="connsiteX9056" fmla="*/ 836378 w 4610101"/>
              <a:gd name="connsiteY9056" fmla="*/ 1522368 h 6557032"/>
              <a:gd name="connsiteX9057" fmla="*/ 841845 w 4610101"/>
              <a:gd name="connsiteY9057" fmla="*/ 1515079 h 6557032"/>
              <a:gd name="connsiteX9058" fmla="*/ 677849 w 4610101"/>
              <a:gd name="connsiteY9058" fmla="*/ 1515079 h 6557032"/>
              <a:gd name="connsiteX9059" fmla="*/ 665094 w 4610101"/>
              <a:gd name="connsiteY9059" fmla="*/ 1524190 h 6557032"/>
              <a:gd name="connsiteX9060" fmla="*/ 677849 w 4610101"/>
              <a:gd name="connsiteY9060" fmla="*/ 1515079 h 6557032"/>
              <a:gd name="connsiteX9061" fmla="*/ 1204457 w 4610101"/>
              <a:gd name="connsiteY9061" fmla="*/ 1513257 h 6557032"/>
              <a:gd name="connsiteX9062" fmla="*/ 1198991 w 4610101"/>
              <a:gd name="connsiteY9062" fmla="*/ 1516901 h 6557032"/>
              <a:gd name="connsiteX9063" fmla="*/ 1211747 w 4610101"/>
              <a:gd name="connsiteY9063" fmla="*/ 1524190 h 6557032"/>
              <a:gd name="connsiteX9064" fmla="*/ 1204457 w 4610101"/>
              <a:gd name="connsiteY9064" fmla="*/ 1513257 h 6557032"/>
              <a:gd name="connsiteX9065" fmla="*/ 625006 w 4610101"/>
              <a:gd name="connsiteY9065" fmla="*/ 1513257 h 6557032"/>
              <a:gd name="connsiteX9066" fmla="*/ 626828 w 4610101"/>
              <a:gd name="connsiteY9066" fmla="*/ 1529656 h 6557032"/>
              <a:gd name="connsiteX9067" fmla="*/ 634117 w 4610101"/>
              <a:gd name="connsiteY9067" fmla="*/ 1520545 h 6557032"/>
              <a:gd name="connsiteX9068" fmla="*/ 625006 w 4610101"/>
              <a:gd name="connsiteY9068" fmla="*/ 1513257 h 6557032"/>
              <a:gd name="connsiteX9069" fmla="*/ 621362 w 4610101"/>
              <a:gd name="connsiteY9069" fmla="*/ 1513257 h 6557032"/>
              <a:gd name="connsiteX9070" fmla="*/ 617717 w 4610101"/>
              <a:gd name="connsiteY9070" fmla="*/ 1531478 h 6557032"/>
              <a:gd name="connsiteX9071" fmla="*/ 623185 w 4610101"/>
              <a:gd name="connsiteY9071" fmla="*/ 1529656 h 6557032"/>
              <a:gd name="connsiteX9072" fmla="*/ 621362 w 4610101"/>
              <a:gd name="connsiteY9072" fmla="*/ 1513257 h 6557032"/>
              <a:gd name="connsiteX9073" fmla="*/ 563052 w 4610101"/>
              <a:gd name="connsiteY9073" fmla="*/ 1513257 h 6557032"/>
              <a:gd name="connsiteX9074" fmla="*/ 557586 w 4610101"/>
              <a:gd name="connsiteY9074" fmla="*/ 1522368 h 6557032"/>
              <a:gd name="connsiteX9075" fmla="*/ 564874 w 4610101"/>
              <a:gd name="connsiteY9075" fmla="*/ 1522368 h 6557032"/>
              <a:gd name="connsiteX9076" fmla="*/ 563052 w 4610101"/>
              <a:gd name="connsiteY9076" fmla="*/ 1513257 h 6557032"/>
              <a:gd name="connsiteX9077" fmla="*/ 430034 w 4610101"/>
              <a:gd name="connsiteY9077" fmla="*/ 1513257 h 6557032"/>
              <a:gd name="connsiteX9078" fmla="*/ 424567 w 4610101"/>
              <a:gd name="connsiteY9078" fmla="*/ 1516901 h 6557032"/>
              <a:gd name="connsiteX9079" fmla="*/ 435500 w 4610101"/>
              <a:gd name="connsiteY9079" fmla="*/ 1531478 h 6557032"/>
              <a:gd name="connsiteX9080" fmla="*/ 433451 w 4610101"/>
              <a:gd name="connsiteY9080" fmla="*/ 1523051 h 6557032"/>
              <a:gd name="connsiteX9081" fmla="*/ 432310 w 4610101"/>
              <a:gd name="connsiteY9081" fmla="*/ 1519781 h 6557032"/>
              <a:gd name="connsiteX9082" fmla="*/ 437322 w 4610101"/>
              <a:gd name="connsiteY9082" fmla="*/ 1531478 h 6557032"/>
              <a:gd name="connsiteX9083" fmla="*/ 435956 w 4610101"/>
              <a:gd name="connsiteY9083" fmla="*/ 1523734 h 6557032"/>
              <a:gd name="connsiteX9084" fmla="*/ 432003 w 4610101"/>
              <a:gd name="connsiteY9084" fmla="*/ 1518903 h 6557032"/>
              <a:gd name="connsiteX9085" fmla="*/ 1206279 w 4610101"/>
              <a:gd name="connsiteY9085" fmla="*/ 1511434 h 6557032"/>
              <a:gd name="connsiteX9086" fmla="*/ 1213568 w 4610101"/>
              <a:gd name="connsiteY9086" fmla="*/ 1522368 h 6557032"/>
              <a:gd name="connsiteX9087" fmla="*/ 1206279 w 4610101"/>
              <a:gd name="connsiteY9087" fmla="*/ 1511434 h 6557032"/>
              <a:gd name="connsiteX9088" fmla="*/ 612251 w 4610101"/>
              <a:gd name="connsiteY9088" fmla="*/ 1511434 h 6557032"/>
              <a:gd name="connsiteX9089" fmla="*/ 601318 w 4610101"/>
              <a:gd name="connsiteY9089" fmla="*/ 1535123 h 6557032"/>
              <a:gd name="connsiteX9090" fmla="*/ 612251 w 4610101"/>
              <a:gd name="connsiteY9090" fmla="*/ 1511434 h 6557032"/>
              <a:gd name="connsiteX9091" fmla="*/ 592207 w 4610101"/>
              <a:gd name="connsiteY9091" fmla="*/ 1511434 h 6557032"/>
              <a:gd name="connsiteX9092" fmla="*/ 592207 w 4610101"/>
              <a:gd name="connsiteY9092" fmla="*/ 1516901 h 6557032"/>
              <a:gd name="connsiteX9093" fmla="*/ 594030 w 4610101"/>
              <a:gd name="connsiteY9093" fmla="*/ 1515079 h 6557032"/>
              <a:gd name="connsiteX9094" fmla="*/ 592207 w 4610101"/>
              <a:gd name="connsiteY9094" fmla="*/ 1511434 h 6557032"/>
              <a:gd name="connsiteX9095" fmla="*/ 477410 w 4610101"/>
              <a:gd name="connsiteY9095" fmla="*/ 1511434 h 6557032"/>
              <a:gd name="connsiteX9096" fmla="*/ 473766 w 4610101"/>
              <a:gd name="connsiteY9096" fmla="*/ 1516901 h 6557032"/>
              <a:gd name="connsiteX9097" fmla="*/ 479232 w 4610101"/>
              <a:gd name="connsiteY9097" fmla="*/ 1520545 h 6557032"/>
              <a:gd name="connsiteX9098" fmla="*/ 482876 w 4610101"/>
              <a:gd name="connsiteY9098" fmla="*/ 1513257 h 6557032"/>
              <a:gd name="connsiteX9099" fmla="*/ 477410 w 4610101"/>
              <a:gd name="connsiteY9099" fmla="*/ 1511434 h 6557032"/>
              <a:gd name="connsiteX9100" fmla="*/ 464655 w 4610101"/>
              <a:gd name="connsiteY9100" fmla="*/ 1511434 h 6557032"/>
              <a:gd name="connsiteX9101" fmla="*/ 464655 w 4610101"/>
              <a:gd name="connsiteY9101" fmla="*/ 1515079 h 6557032"/>
              <a:gd name="connsiteX9102" fmla="*/ 459188 w 4610101"/>
              <a:gd name="connsiteY9102" fmla="*/ 1516901 h 6557032"/>
              <a:gd name="connsiteX9103" fmla="*/ 461010 w 4610101"/>
              <a:gd name="connsiteY9103" fmla="*/ 1522368 h 6557032"/>
              <a:gd name="connsiteX9104" fmla="*/ 440966 w 4610101"/>
              <a:gd name="connsiteY9104" fmla="*/ 1535123 h 6557032"/>
              <a:gd name="connsiteX9105" fmla="*/ 455544 w 4610101"/>
              <a:gd name="connsiteY9105" fmla="*/ 1535123 h 6557032"/>
              <a:gd name="connsiteX9106" fmla="*/ 453722 w 4610101"/>
              <a:gd name="connsiteY9106" fmla="*/ 1527834 h 6557032"/>
              <a:gd name="connsiteX9107" fmla="*/ 455544 w 4610101"/>
              <a:gd name="connsiteY9107" fmla="*/ 1531478 h 6557032"/>
              <a:gd name="connsiteX9108" fmla="*/ 470121 w 4610101"/>
              <a:gd name="connsiteY9108" fmla="*/ 1516901 h 6557032"/>
              <a:gd name="connsiteX9109" fmla="*/ 466478 w 4610101"/>
              <a:gd name="connsiteY9109" fmla="*/ 1518723 h 6557032"/>
              <a:gd name="connsiteX9110" fmla="*/ 464655 w 4610101"/>
              <a:gd name="connsiteY9110" fmla="*/ 1511434 h 6557032"/>
              <a:gd name="connsiteX9111" fmla="*/ 3145528 w 4610101"/>
              <a:gd name="connsiteY9111" fmla="*/ 1510295 h 6557032"/>
              <a:gd name="connsiteX9112" fmla="*/ 3137784 w 4610101"/>
              <a:gd name="connsiteY9112" fmla="*/ 1516901 h 6557032"/>
              <a:gd name="connsiteX9113" fmla="*/ 3156006 w 4610101"/>
              <a:gd name="connsiteY9113" fmla="*/ 1513257 h 6557032"/>
              <a:gd name="connsiteX9114" fmla="*/ 3145528 w 4610101"/>
              <a:gd name="connsiteY9114" fmla="*/ 1510295 h 6557032"/>
              <a:gd name="connsiteX9115" fmla="*/ 289725 w 4610101"/>
              <a:gd name="connsiteY9115" fmla="*/ 1509641 h 6557032"/>
              <a:gd name="connsiteX9116" fmla="*/ 300658 w 4610101"/>
              <a:gd name="connsiteY9116" fmla="*/ 1515108 h 6557032"/>
              <a:gd name="connsiteX9117" fmla="*/ 287903 w 4610101"/>
              <a:gd name="connsiteY9117" fmla="*/ 1516930 h 6557032"/>
              <a:gd name="connsiteX9118" fmla="*/ 289725 w 4610101"/>
              <a:gd name="connsiteY9118" fmla="*/ 1509641 h 6557032"/>
              <a:gd name="connsiteX9119" fmla="*/ 1215390 w 4610101"/>
              <a:gd name="connsiteY9119" fmla="*/ 1509612 h 6557032"/>
              <a:gd name="connsiteX9120" fmla="*/ 1219036 w 4610101"/>
              <a:gd name="connsiteY9120" fmla="*/ 1516901 h 6557032"/>
              <a:gd name="connsiteX9121" fmla="*/ 1215390 w 4610101"/>
              <a:gd name="connsiteY9121" fmla="*/ 1509612 h 6557032"/>
              <a:gd name="connsiteX9122" fmla="*/ 741626 w 4610101"/>
              <a:gd name="connsiteY9122" fmla="*/ 1509612 h 6557032"/>
              <a:gd name="connsiteX9123" fmla="*/ 728870 w 4610101"/>
              <a:gd name="connsiteY9123" fmla="*/ 1527834 h 6557032"/>
              <a:gd name="connsiteX9124" fmla="*/ 741626 w 4610101"/>
              <a:gd name="connsiteY9124" fmla="*/ 1509612 h 6557032"/>
              <a:gd name="connsiteX9125" fmla="*/ 654161 w 4610101"/>
              <a:gd name="connsiteY9125" fmla="*/ 1509612 h 6557032"/>
              <a:gd name="connsiteX9126" fmla="*/ 650516 w 4610101"/>
              <a:gd name="connsiteY9126" fmla="*/ 1513257 h 6557032"/>
              <a:gd name="connsiteX9127" fmla="*/ 655983 w 4610101"/>
              <a:gd name="connsiteY9127" fmla="*/ 1513257 h 6557032"/>
              <a:gd name="connsiteX9128" fmla="*/ 654161 w 4610101"/>
              <a:gd name="connsiteY9128" fmla="*/ 1509612 h 6557032"/>
              <a:gd name="connsiteX9129" fmla="*/ 572163 w 4610101"/>
              <a:gd name="connsiteY9129" fmla="*/ 1509612 h 6557032"/>
              <a:gd name="connsiteX9130" fmla="*/ 568519 w 4610101"/>
              <a:gd name="connsiteY9130" fmla="*/ 1513257 h 6557032"/>
              <a:gd name="connsiteX9131" fmla="*/ 579452 w 4610101"/>
              <a:gd name="connsiteY9131" fmla="*/ 1515079 h 6557032"/>
              <a:gd name="connsiteX9132" fmla="*/ 575808 w 4610101"/>
              <a:gd name="connsiteY9132" fmla="*/ 1511434 h 6557032"/>
              <a:gd name="connsiteX9133" fmla="*/ 577630 w 4610101"/>
              <a:gd name="connsiteY9133" fmla="*/ 1509612 h 6557032"/>
              <a:gd name="connsiteX9134" fmla="*/ 570341 w 4610101"/>
              <a:gd name="connsiteY9134" fmla="*/ 1513257 h 6557032"/>
              <a:gd name="connsiteX9135" fmla="*/ 572163 w 4610101"/>
              <a:gd name="connsiteY9135" fmla="*/ 1509612 h 6557032"/>
              <a:gd name="connsiteX9136" fmla="*/ 501098 w 4610101"/>
              <a:gd name="connsiteY9136" fmla="*/ 1509612 h 6557032"/>
              <a:gd name="connsiteX9137" fmla="*/ 504743 w 4610101"/>
              <a:gd name="connsiteY9137" fmla="*/ 1527834 h 6557032"/>
              <a:gd name="connsiteX9138" fmla="*/ 504743 w 4610101"/>
              <a:gd name="connsiteY9138" fmla="*/ 1509612 h 6557032"/>
              <a:gd name="connsiteX9139" fmla="*/ 501098 w 4610101"/>
              <a:gd name="connsiteY9139" fmla="*/ 1509612 h 6557032"/>
              <a:gd name="connsiteX9140" fmla="*/ 491987 w 4610101"/>
              <a:gd name="connsiteY9140" fmla="*/ 1509612 h 6557032"/>
              <a:gd name="connsiteX9141" fmla="*/ 488343 w 4610101"/>
              <a:gd name="connsiteY9141" fmla="*/ 1513257 h 6557032"/>
              <a:gd name="connsiteX9142" fmla="*/ 495632 w 4610101"/>
              <a:gd name="connsiteY9142" fmla="*/ 1511434 h 6557032"/>
              <a:gd name="connsiteX9143" fmla="*/ 491987 w 4610101"/>
              <a:gd name="connsiteY9143" fmla="*/ 1509612 h 6557032"/>
              <a:gd name="connsiteX9144" fmla="*/ 822090 w 4610101"/>
              <a:gd name="connsiteY9144" fmla="*/ 1509208 h 6557032"/>
              <a:gd name="connsiteX9145" fmla="*/ 821801 w 4610101"/>
              <a:gd name="connsiteY9145" fmla="*/ 1509612 h 6557032"/>
              <a:gd name="connsiteX9146" fmla="*/ 821658 w 4610101"/>
              <a:gd name="connsiteY9146" fmla="*/ 1509546 h 6557032"/>
              <a:gd name="connsiteX9147" fmla="*/ 3436621 w 4610101"/>
              <a:gd name="connsiteY9147" fmla="*/ 1507790 h 6557032"/>
              <a:gd name="connsiteX9148" fmla="*/ 3436621 w 4610101"/>
              <a:gd name="connsiteY9148" fmla="*/ 1511434 h 6557032"/>
              <a:gd name="connsiteX9149" fmla="*/ 3432293 w 4610101"/>
              <a:gd name="connsiteY9149" fmla="*/ 1513484 h 6557032"/>
              <a:gd name="connsiteX9150" fmla="*/ 3431313 w 4610101"/>
              <a:gd name="connsiteY9150" fmla="*/ 1512806 h 6557032"/>
              <a:gd name="connsiteX9151" fmla="*/ 3430935 w 4610101"/>
              <a:gd name="connsiteY9151" fmla="*/ 1510632 h 6557032"/>
              <a:gd name="connsiteX9152" fmla="*/ 676027 w 4610101"/>
              <a:gd name="connsiteY9152" fmla="*/ 1507790 h 6557032"/>
              <a:gd name="connsiteX9153" fmla="*/ 679671 w 4610101"/>
              <a:gd name="connsiteY9153" fmla="*/ 1511434 h 6557032"/>
              <a:gd name="connsiteX9154" fmla="*/ 676027 w 4610101"/>
              <a:gd name="connsiteY9154" fmla="*/ 1507790 h 6557032"/>
              <a:gd name="connsiteX9155" fmla="*/ 3361911 w 4610101"/>
              <a:gd name="connsiteY9155" fmla="*/ 1505970 h 6557032"/>
              <a:gd name="connsiteX9156" fmla="*/ 3360088 w 4610101"/>
              <a:gd name="connsiteY9156" fmla="*/ 1516903 h 6557032"/>
              <a:gd name="connsiteX9157" fmla="*/ 3354622 w 4610101"/>
              <a:gd name="connsiteY9157" fmla="*/ 1538769 h 6557032"/>
              <a:gd name="connsiteX9158" fmla="*/ 3372844 w 4610101"/>
              <a:gd name="connsiteY9158" fmla="*/ 1536946 h 6557032"/>
              <a:gd name="connsiteX9159" fmla="*/ 3369199 w 4610101"/>
              <a:gd name="connsiteY9159" fmla="*/ 1529658 h 6557032"/>
              <a:gd name="connsiteX9160" fmla="*/ 3374666 w 4610101"/>
              <a:gd name="connsiteY9160" fmla="*/ 1535124 h 6557032"/>
              <a:gd name="connsiteX9161" fmla="*/ 3371021 w 4610101"/>
              <a:gd name="connsiteY9161" fmla="*/ 1513258 h 6557032"/>
              <a:gd name="connsiteX9162" fmla="*/ 3367377 w 4610101"/>
              <a:gd name="connsiteY9162" fmla="*/ 1515080 h 6557032"/>
              <a:gd name="connsiteX9163" fmla="*/ 3361911 w 4610101"/>
              <a:gd name="connsiteY9163" fmla="*/ 1505970 h 6557032"/>
              <a:gd name="connsiteX9164" fmla="*/ 1020418 w 4610101"/>
              <a:gd name="connsiteY9164" fmla="*/ 1505968 h 6557032"/>
              <a:gd name="connsiteX9165" fmla="*/ 1034336 w 4610101"/>
              <a:gd name="connsiteY9165" fmla="*/ 1512927 h 6557032"/>
              <a:gd name="connsiteX9166" fmla="*/ 1032974 w 4610101"/>
              <a:gd name="connsiteY9166" fmla="*/ 1513399 h 6557032"/>
              <a:gd name="connsiteX9167" fmla="*/ 1020418 w 4610101"/>
              <a:gd name="connsiteY9167" fmla="*/ 1505968 h 6557032"/>
              <a:gd name="connsiteX9168" fmla="*/ 810868 w 4610101"/>
              <a:gd name="connsiteY9168" fmla="*/ 1505968 h 6557032"/>
              <a:gd name="connsiteX9169" fmla="*/ 816334 w 4610101"/>
              <a:gd name="connsiteY9169" fmla="*/ 1507107 h 6557032"/>
              <a:gd name="connsiteX9170" fmla="*/ 821658 w 4610101"/>
              <a:gd name="connsiteY9170" fmla="*/ 1509546 h 6557032"/>
              <a:gd name="connsiteX9171" fmla="*/ 821573 w 4610101"/>
              <a:gd name="connsiteY9171" fmla="*/ 1509612 h 6557032"/>
              <a:gd name="connsiteX9172" fmla="*/ 810868 w 4610101"/>
              <a:gd name="connsiteY9172" fmla="*/ 1505968 h 6557032"/>
              <a:gd name="connsiteX9173" fmla="*/ 732515 w 4610101"/>
              <a:gd name="connsiteY9173" fmla="*/ 1505968 h 6557032"/>
              <a:gd name="connsiteX9174" fmla="*/ 727048 w 4610101"/>
              <a:gd name="connsiteY9174" fmla="*/ 1515079 h 6557032"/>
              <a:gd name="connsiteX9175" fmla="*/ 732515 w 4610101"/>
              <a:gd name="connsiteY9175" fmla="*/ 1505968 h 6557032"/>
              <a:gd name="connsiteX9176" fmla="*/ 3320619 w 4610101"/>
              <a:gd name="connsiteY9176" fmla="*/ 1505147 h 6557032"/>
              <a:gd name="connsiteX9177" fmla="*/ 3321824 w 4610101"/>
              <a:gd name="connsiteY9177" fmla="*/ 1505968 h 6557032"/>
              <a:gd name="connsiteX9178" fmla="*/ 3320034 w 4610101"/>
              <a:gd name="connsiteY9178" fmla="*/ 1510108 h 6557032"/>
              <a:gd name="connsiteX9179" fmla="*/ 3318179 w 4610101"/>
              <a:gd name="connsiteY9179" fmla="*/ 1507790 h 6557032"/>
              <a:gd name="connsiteX9180" fmla="*/ 348797 w 4610101"/>
              <a:gd name="connsiteY9180" fmla="*/ 1504710 h 6557032"/>
              <a:gd name="connsiteX9181" fmla="*/ 357146 w 4610101"/>
              <a:gd name="connsiteY9181" fmla="*/ 1505968 h 6557032"/>
              <a:gd name="connsiteX9182" fmla="*/ 338470 w 4610101"/>
              <a:gd name="connsiteY9182" fmla="*/ 1509612 h 6557032"/>
              <a:gd name="connsiteX9183" fmla="*/ 331475 w 4610101"/>
              <a:gd name="connsiteY9183" fmla="*/ 1508813 h 6557032"/>
              <a:gd name="connsiteX9184" fmla="*/ 335964 w 4610101"/>
              <a:gd name="connsiteY9184" fmla="*/ 1506879 h 6557032"/>
              <a:gd name="connsiteX9185" fmla="*/ 424567 w 4610101"/>
              <a:gd name="connsiteY9185" fmla="*/ 1504146 h 6557032"/>
              <a:gd name="connsiteX9186" fmla="*/ 406345 w 4610101"/>
              <a:gd name="connsiteY9186" fmla="*/ 1518723 h 6557032"/>
              <a:gd name="connsiteX9187" fmla="*/ 408092 w 4610101"/>
              <a:gd name="connsiteY9187" fmla="*/ 1518889 h 6557032"/>
              <a:gd name="connsiteX9188" fmla="*/ 406117 w 4610101"/>
              <a:gd name="connsiteY9188" fmla="*/ 1523279 h 6557032"/>
              <a:gd name="connsiteX9189" fmla="*/ 408167 w 4610101"/>
              <a:gd name="connsiteY9189" fmla="*/ 1527834 h 6557032"/>
              <a:gd name="connsiteX9190" fmla="*/ 399056 w 4610101"/>
              <a:gd name="connsiteY9190" fmla="*/ 1527834 h 6557032"/>
              <a:gd name="connsiteX9191" fmla="*/ 404523 w 4610101"/>
              <a:gd name="connsiteY9191" fmla="*/ 1526012 h 6557032"/>
              <a:gd name="connsiteX9192" fmla="*/ 396778 w 4610101"/>
              <a:gd name="connsiteY9192" fmla="*/ 1527378 h 6557032"/>
              <a:gd name="connsiteX9193" fmla="*/ 391771 w 4610101"/>
              <a:gd name="connsiteY9193" fmla="*/ 1531475 h 6557032"/>
              <a:gd name="connsiteX9194" fmla="*/ 393590 w 4610101"/>
              <a:gd name="connsiteY9194" fmla="*/ 1529656 h 6557032"/>
              <a:gd name="connsiteX9195" fmla="*/ 386301 w 4610101"/>
              <a:gd name="connsiteY9195" fmla="*/ 1529656 h 6557032"/>
              <a:gd name="connsiteX9196" fmla="*/ 389946 w 4610101"/>
              <a:gd name="connsiteY9196" fmla="*/ 1533301 h 6557032"/>
              <a:gd name="connsiteX9197" fmla="*/ 391768 w 4610101"/>
              <a:gd name="connsiteY9197" fmla="*/ 1531478 h 6557032"/>
              <a:gd name="connsiteX9198" fmla="*/ 406345 w 4610101"/>
              <a:gd name="connsiteY9198" fmla="*/ 1540589 h 6557032"/>
              <a:gd name="connsiteX9199" fmla="*/ 408167 w 4610101"/>
              <a:gd name="connsiteY9199" fmla="*/ 1536945 h 6557032"/>
              <a:gd name="connsiteX9200" fmla="*/ 419100 w 4610101"/>
              <a:gd name="connsiteY9200" fmla="*/ 1540589 h 6557032"/>
              <a:gd name="connsiteX9201" fmla="*/ 409989 w 4610101"/>
              <a:gd name="connsiteY9201" fmla="*/ 1542412 h 6557032"/>
              <a:gd name="connsiteX9202" fmla="*/ 422745 w 4610101"/>
              <a:gd name="connsiteY9202" fmla="*/ 1547878 h 6557032"/>
              <a:gd name="connsiteX9203" fmla="*/ 420923 w 4610101"/>
              <a:gd name="connsiteY9203" fmla="*/ 1544234 h 6557032"/>
              <a:gd name="connsiteX9204" fmla="*/ 427072 w 4610101"/>
              <a:gd name="connsiteY9204" fmla="*/ 1546284 h 6557032"/>
              <a:gd name="connsiteX9205" fmla="*/ 431324 w 4610101"/>
              <a:gd name="connsiteY9205" fmla="*/ 1544462 h 6557032"/>
              <a:gd name="connsiteX9206" fmla="*/ 431855 w 4610101"/>
              <a:gd name="connsiteY9206" fmla="*/ 1546056 h 6557032"/>
              <a:gd name="connsiteX9207" fmla="*/ 439145 w 4610101"/>
              <a:gd name="connsiteY9207" fmla="*/ 1546056 h 6557032"/>
              <a:gd name="connsiteX9208" fmla="*/ 430034 w 4610101"/>
              <a:gd name="connsiteY9208" fmla="*/ 1540589 h 6557032"/>
              <a:gd name="connsiteX9209" fmla="*/ 430809 w 4610101"/>
              <a:gd name="connsiteY9209" fmla="*/ 1542917 h 6557032"/>
              <a:gd name="connsiteX9210" fmla="*/ 427747 w 4610101"/>
              <a:gd name="connsiteY9210" fmla="*/ 1539065 h 6557032"/>
              <a:gd name="connsiteX9211" fmla="*/ 424795 w 4610101"/>
              <a:gd name="connsiteY9211" fmla="*/ 1535351 h 6557032"/>
              <a:gd name="connsiteX9212" fmla="*/ 422563 w 4610101"/>
              <a:gd name="connsiteY9212" fmla="*/ 1532754 h 6557032"/>
              <a:gd name="connsiteX9213" fmla="*/ 420923 w 4610101"/>
              <a:gd name="connsiteY9213" fmla="*/ 1527834 h 6557032"/>
              <a:gd name="connsiteX9214" fmla="*/ 421151 w 4610101"/>
              <a:gd name="connsiteY9214" fmla="*/ 1530567 h 6557032"/>
              <a:gd name="connsiteX9215" fmla="*/ 422138 w 4610101"/>
              <a:gd name="connsiteY9215" fmla="*/ 1532260 h 6557032"/>
              <a:gd name="connsiteX9216" fmla="*/ 413634 w 4610101"/>
              <a:gd name="connsiteY9216" fmla="*/ 1522368 h 6557032"/>
              <a:gd name="connsiteX9217" fmla="*/ 420923 w 4610101"/>
              <a:gd name="connsiteY9217" fmla="*/ 1526012 h 6557032"/>
              <a:gd name="connsiteX9218" fmla="*/ 417278 w 4610101"/>
              <a:gd name="connsiteY9218" fmla="*/ 1522368 h 6557032"/>
              <a:gd name="connsiteX9219" fmla="*/ 416487 w 4610101"/>
              <a:gd name="connsiteY9219" fmla="*/ 1519994 h 6557032"/>
              <a:gd name="connsiteX9220" fmla="*/ 422289 w 4610101"/>
              <a:gd name="connsiteY9220" fmla="*/ 1527151 h 6557032"/>
              <a:gd name="connsiteX9221" fmla="*/ 431856 w 4610101"/>
              <a:gd name="connsiteY9221" fmla="*/ 1531478 h 6557032"/>
              <a:gd name="connsiteX9222" fmla="*/ 422745 w 4610101"/>
              <a:gd name="connsiteY9222" fmla="*/ 1516901 h 6557032"/>
              <a:gd name="connsiteX9223" fmla="*/ 416016 w 4610101"/>
              <a:gd name="connsiteY9223" fmla="*/ 1518583 h 6557032"/>
              <a:gd name="connsiteX9224" fmla="*/ 415656 w 4610101"/>
              <a:gd name="connsiteY9224" fmla="*/ 1517501 h 6557032"/>
              <a:gd name="connsiteX9225" fmla="*/ 417278 w 4610101"/>
              <a:gd name="connsiteY9225" fmla="*/ 1516901 h 6557032"/>
              <a:gd name="connsiteX9226" fmla="*/ 415456 w 4610101"/>
              <a:gd name="connsiteY9226" fmla="*/ 1513257 h 6557032"/>
              <a:gd name="connsiteX9227" fmla="*/ 428211 w 4610101"/>
              <a:gd name="connsiteY9227" fmla="*/ 1511434 h 6557032"/>
              <a:gd name="connsiteX9228" fmla="*/ 424567 w 4610101"/>
              <a:gd name="connsiteY9228" fmla="*/ 1504146 h 6557032"/>
              <a:gd name="connsiteX9229" fmla="*/ 484244 w 4610101"/>
              <a:gd name="connsiteY9229" fmla="*/ 1503690 h 6557032"/>
              <a:gd name="connsiteX9230" fmla="*/ 481054 w 4610101"/>
              <a:gd name="connsiteY9230" fmla="*/ 1504146 h 6557032"/>
              <a:gd name="connsiteX9231" fmla="*/ 484700 w 4610101"/>
              <a:gd name="connsiteY9231" fmla="*/ 1505968 h 6557032"/>
              <a:gd name="connsiteX9232" fmla="*/ 484244 w 4610101"/>
              <a:gd name="connsiteY9232" fmla="*/ 1503690 h 6557032"/>
              <a:gd name="connsiteX9233" fmla="*/ 3406859 w 4610101"/>
              <a:gd name="connsiteY9233" fmla="*/ 1503134 h 6557032"/>
              <a:gd name="connsiteX9234" fmla="*/ 3407238 w 4610101"/>
              <a:gd name="connsiteY9234" fmla="*/ 1503918 h 6557032"/>
              <a:gd name="connsiteX9235" fmla="*/ 3408693 w 4610101"/>
              <a:gd name="connsiteY9235" fmla="*/ 1507958 h 6557032"/>
              <a:gd name="connsiteX9236" fmla="*/ 3408417 w 4610101"/>
              <a:gd name="connsiteY9236" fmla="*/ 1508741 h 6557032"/>
              <a:gd name="connsiteX9237" fmla="*/ 3405643 w 4610101"/>
              <a:gd name="connsiteY9237" fmla="*/ 1505968 h 6557032"/>
              <a:gd name="connsiteX9238" fmla="*/ 3403725 w 4610101"/>
              <a:gd name="connsiteY9238" fmla="*/ 1508845 h 6557032"/>
              <a:gd name="connsiteX9239" fmla="*/ 3401999 w 4610101"/>
              <a:gd name="connsiteY9239" fmla="*/ 1509612 h 6557032"/>
              <a:gd name="connsiteX9240" fmla="*/ 1055863 w 4610101"/>
              <a:gd name="connsiteY9240" fmla="*/ 1503083 h 6557032"/>
              <a:gd name="connsiteX9241" fmla="*/ 1073262 w 4610101"/>
              <a:gd name="connsiteY9241" fmla="*/ 1511434 h 6557032"/>
              <a:gd name="connsiteX9242" fmla="*/ 1059463 w 4610101"/>
              <a:gd name="connsiteY9242" fmla="*/ 1511434 h 6557032"/>
              <a:gd name="connsiteX9243" fmla="*/ 1049153 w 4610101"/>
              <a:gd name="connsiteY9243" fmla="*/ 1506622 h 6557032"/>
              <a:gd name="connsiteX9244" fmla="*/ 1048471 w 4610101"/>
              <a:gd name="connsiteY9244" fmla="*/ 1505712 h 6557032"/>
              <a:gd name="connsiteX9245" fmla="*/ 3243470 w 4610101"/>
              <a:gd name="connsiteY9245" fmla="*/ 1502324 h 6557032"/>
              <a:gd name="connsiteX9246" fmla="*/ 3243470 w 4610101"/>
              <a:gd name="connsiteY9246" fmla="*/ 1511434 h 6557032"/>
              <a:gd name="connsiteX9247" fmla="*/ 3248937 w 4610101"/>
              <a:gd name="connsiteY9247" fmla="*/ 1507790 h 6557032"/>
              <a:gd name="connsiteX9248" fmla="*/ 3245292 w 4610101"/>
              <a:gd name="connsiteY9248" fmla="*/ 1507790 h 6557032"/>
              <a:gd name="connsiteX9249" fmla="*/ 3243470 w 4610101"/>
              <a:gd name="connsiteY9249" fmla="*/ 1502324 h 6557032"/>
              <a:gd name="connsiteX9250" fmla="*/ 1206279 w 4610101"/>
              <a:gd name="connsiteY9250" fmla="*/ 1502324 h 6557032"/>
              <a:gd name="connsiteX9251" fmla="*/ 1204457 w 4610101"/>
              <a:gd name="connsiteY9251" fmla="*/ 1509612 h 6557032"/>
              <a:gd name="connsiteX9252" fmla="*/ 1206279 w 4610101"/>
              <a:gd name="connsiteY9252" fmla="*/ 1502324 h 6557032"/>
              <a:gd name="connsiteX9253" fmla="*/ 635939 w 4610101"/>
              <a:gd name="connsiteY9253" fmla="*/ 1502324 h 6557032"/>
              <a:gd name="connsiteX9254" fmla="*/ 621362 w 4610101"/>
              <a:gd name="connsiteY9254" fmla="*/ 1509612 h 6557032"/>
              <a:gd name="connsiteX9255" fmla="*/ 635939 w 4610101"/>
              <a:gd name="connsiteY9255" fmla="*/ 1513257 h 6557032"/>
              <a:gd name="connsiteX9256" fmla="*/ 635939 w 4610101"/>
              <a:gd name="connsiteY9256" fmla="*/ 1502324 h 6557032"/>
              <a:gd name="connsiteX9257" fmla="*/ 512031 w 4610101"/>
              <a:gd name="connsiteY9257" fmla="*/ 1502324 h 6557032"/>
              <a:gd name="connsiteX9258" fmla="*/ 508387 w 4610101"/>
              <a:gd name="connsiteY9258" fmla="*/ 1505968 h 6557032"/>
              <a:gd name="connsiteX9259" fmla="*/ 517498 w 4610101"/>
              <a:gd name="connsiteY9259" fmla="*/ 1507790 h 6557032"/>
              <a:gd name="connsiteX9260" fmla="*/ 512031 w 4610101"/>
              <a:gd name="connsiteY9260" fmla="*/ 1502324 h 6557032"/>
              <a:gd name="connsiteX9261" fmla="*/ 661449 w 4610101"/>
              <a:gd name="connsiteY9261" fmla="*/ 1500501 h 6557032"/>
              <a:gd name="connsiteX9262" fmla="*/ 657805 w 4610101"/>
              <a:gd name="connsiteY9262" fmla="*/ 1511434 h 6557032"/>
              <a:gd name="connsiteX9263" fmla="*/ 666916 w 4610101"/>
              <a:gd name="connsiteY9263" fmla="*/ 1504146 h 6557032"/>
              <a:gd name="connsiteX9264" fmla="*/ 661449 w 4610101"/>
              <a:gd name="connsiteY9264" fmla="*/ 1500501 h 6557032"/>
              <a:gd name="connsiteX9265" fmla="*/ 604963 w 4610101"/>
              <a:gd name="connsiteY9265" fmla="*/ 1500501 h 6557032"/>
              <a:gd name="connsiteX9266" fmla="*/ 601318 w 4610101"/>
              <a:gd name="connsiteY9266" fmla="*/ 1505968 h 6557032"/>
              <a:gd name="connsiteX9267" fmla="*/ 604963 w 4610101"/>
              <a:gd name="connsiteY9267" fmla="*/ 1500501 h 6557032"/>
              <a:gd name="connsiteX9268" fmla="*/ 550297 w 4610101"/>
              <a:gd name="connsiteY9268" fmla="*/ 1500501 h 6557032"/>
              <a:gd name="connsiteX9269" fmla="*/ 546653 w 4610101"/>
              <a:gd name="connsiteY9269" fmla="*/ 1511434 h 6557032"/>
              <a:gd name="connsiteX9270" fmla="*/ 553941 w 4610101"/>
              <a:gd name="connsiteY9270" fmla="*/ 1505968 h 6557032"/>
              <a:gd name="connsiteX9271" fmla="*/ 550297 w 4610101"/>
              <a:gd name="connsiteY9271" fmla="*/ 1500501 h 6557032"/>
              <a:gd name="connsiteX9272" fmla="*/ 519320 w 4610101"/>
              <a:gd name="connsiteY9272" fmla="*/ 1500501 h 6557032"/>
              <a:gd name="connsiteX9273" fmla="*/ 515676 w 4610101"/>
              <a:gd name="connsiteY9273" fmla="*/ 1504146 h 6557032"/>
              <a:gd name="connsiteX9274" fmla="*/ 517498 w 4610101"/>
              <a:gd name="connsiteY9274" fmla="*/ 1505968 h 6557032"/>
              <a:gd name="connsiteX9275" fmla="*/ 519320 w 4610101"/>
              <a:gd name="connsiteY9275" fmla="*/ 1500501 h 6557032"/>
              <a:gd name="connsiteX9276" fmla="*/ 400879 w 4610101"/>
              <a:gd name="connsiteY9276" fmla="*/ 1500501 h 6557032"/>
              <a:gd name="connsiteX9277" fmla="*/ 393590 w 4610101"/>
              <a:gd name="connsiteY9277" fmla="*/ 1505968 h 6557032"/>
              <a:gd name="connsiteX9278" fmla="*/ 400879 w 4610101"/>
              <a:gd name="connsiteY9278" fmla="*/ 1500501 h 6557032"/>
              <a:gd name="connsiteX9279" fmla="*/ 442884 w 4610101"/>
              <a:gd name="connsiteY9279" fmla="*/ 1500405 h 6557032"/>
              <a:gd name="connsiteX9280" fmla="*/ 435500 w 4610101"/>
              <a:gd name="connsiteY9280" fmla="*/ 1507790 h 6557032"/>
              <a:gd name="connsiteX9281" fmla="*/ 434468 w 4610101"/>
              <a:gd name="connsiteY9281" fmla="*/ 1507127 h 6557032"/>
              <a:gd name="connsiteX9282" fmla="*/ 441194 w 4610101"/>
              <a:gd name="connsiteY9282" fmla="*/ 1500729 h 6557032"/>
              <a:gd name="connsiteX9283" fmla="*/ 2897257 w 4610101"/>
              <a:gd name="connsiteY9283" fmla="*/ 1498679 h 6557032"/>
              <a:gd name="connsiteX9284" fmla="*/ 2895435 w 4610101"/>
              <a:gd name="connsiteY9284" fmla="*/ 1504146 h 6557032"/>
              <a:gd name="connsiteX9285" fmla="*/ 2899079 w 4610101"/>
              <a:gd name="connsiteY9285" fmla="*/ 1504146 h 6557032"/>
              <a:gd name="connsiteX9286" fmla="*/ 2897257 w 4610101"/>
              <a:gd name="connsiteY9286" fmla="*/ 1498679 h 6557032"/>
              <a:gd name="connsiteX9287" fmla="*/ 3294491 w 4610101"/>
              <a:gd name="connsiteY9287" fmla="*/ 1496857 h 6557032"/>
              <a:gd name="connsiteX9288" fmla="*/ 3303602 w 4610101"/>
              <a:gd name="connsiteY9288" fmla="*/ 1504146 h 6557032"/>
              <a:gd name="connsiteX9289" fmla="*/ 3294491 w 4610101"/>
              <a:gd name="connsiteY9289" fmla="*/ 1496857 h 6557032"/>
              <a:gd name="connsiteX9290" fmla="*/ 3254403 w 4610101"/>
              <a:gd name="connsiteY9290" fmla="*/ 1496857 h 6557032"/>
              <a:gd name="connsiteX9291" fmla="*/ 3256225 w 4610101"/>
              <a:gd name="connsiteY9291" fmla="*/ 1509612 h 6557032"/>
              <a:gd name="connsiteX9292" fmla="*/ 3258047 w 4610101"/>
              <a:gd name="connsiteY9292" fmla="*/ 1498679 h 6557032"/>
              <a:gd name="connsiteX9293" fmla="*/ 3254403 w 4610101"/>
              <a:gd name="connsiteY9293" fmla="*/ 1496857 h 6557032"/>
              <a:gd name="connsiteX9294" fmla="*/ 727048 w 4610101"/>
              <a:gd name="connsiteY9294" fmla="*/ 1496857 h 6557032"/>
              <a:gd name="connsiteX9295" fmla="*/ 694249 w 4610101"/>
              <a:gd name="connsiteY9295" fmla="*/ 1509612 h 6557032"/>
              <a:gd name="connsiteX9296" fmla="*/ 690604 w 4610101"/>
              <a:gd name="connsiteY9296" fmla="*/ 1509612 h 6557032"/>
              <a:gd name="connsiteX9297" fmla="*/ 681493 w 4610101"/>
              <a:gd name="connsiteY9297" fmla="*/ 1518723 h 6557032"/>
              <a:gd name="connsiteX9298" fmla="*/ 707004 w 4610101"/>
              <a:gd name="connsiteY9298" fmla="*/ 1535123 h 6557032"/>
              <a:gd name="connsiteX9299" fmla="*/ 707004 w 4610101"/>
              <a:gd name="connsiteY9299" fmla="*/ 1540589 h 6557032"/>
              <a:gd name="connsiteX9300" fmla="*/ 716115 w 4610101"/>
              <a:gd name="connsiteY9300" fmla="*/ 1520545 h 6557032"/>
              <a:gd name="connsiteX9301" fmla="*/ 721581 w 4610101"/>
              <a:gd name="connsiteY9301" fmla="*/ 1524190 h 6557032"/>
              <a:gd name="connsiteX9302" fmla="*/ 728186 w 4610101"/>
              <a:gd name="connsiteY9302" fmla="*/ 1511207 h 6557032"/>
              <a:gd name="connsiteX9303" fmla="*/ 730374 w 4610101"/>
              <a:gd name="connsiteY9303" fmla="*/ 1498679 h 6557032"/>
              <a:gd name="connsiteX9304" fmla="*/ 730692 w 4610101"/>
              <a:gd name="connsiteY9304" fmla="*/ 1496857 h 6557032"/>
              <a:gd name="connsiteX9305" fmla="*/ 729367 w 4610101"/>
              <a:gd name="connsiteY9305" fmla="*/ 1498679 h 6557032"/>
              <a:gd name="connsiteX9306" fmla="*/ 716115 w 4610101"/>
              <a:gd name="connsiteY9306" fmla="*/ 1516901 h 6557032"/>
              <a:gd name="connsiteX9307" fmla="*/ 723404 w 4610101"/>
              <a:gd name="connsiteY9307" fmla="*/ 1504146 h 6557032"/>
              <a:gd name="connsiteX9308" fmla="*/ 694249 w 4610101"/>
              <a:gd name="connsiteY9308" fmla="*/ 1509612 h 6557032"/>
              <a:gd name="connsiteX9309" fmla="*/ 727048 w 4610101"/>
              <a:gd name="connsiteY9309" fmla="*/ 1496857 h 6557032"/>
              <a:gd name="connsiteX9310" fmla="*/ 535719 w 4610101"/>
              <a:gd name="connsiteY9310" fmla="*/ 1496857 h 6557032"/>
              <a:gd name="connsiteX9311" fmla="*/ 537542 w 4610101"/>
              <a:gd name="connsiteY9311" fmla="*/ 1511434 h 6557032"/>
              <a:gd name="connsiteX9312" fmla="*/ 535719 w 4610101"/>
              <a:gd name="connsiteY9312" fmla="*/ 1496857 h 6557032"/>
              <a:gd name="connsiteX9313" fmla="*/ 432540 w 4610101"/>
              <a:gd name="connsiteY9313" fmla="*/ 1496629 h 6557032"/>
              <a:gd name="connsiteX9314" fmla="*/ 428211 w 4610101"/>
              <a:gd name="connsiteY9314" fmla="*/ 1498679 h 6557032"/>
              <a:gd name="connsiteX9315" fmla="*/ 431856 w 4610101"/>
              <a:gd name="connsiteY9315" fmla="*/ 1507790 h 6557032"/>
              <a:gd name="connsiteX9316" fmla="*/ 428211 w 4610101"/>
              <a:gd name="connsiteY9316" fmla="*/ 1498679 h 6557032"/>
              <a:gd name="connsiteX9317" fmla="*/ 435500 w 4610101"/>
              <a:gd name="connsiteY9317" fmla="*/ 1498679 h 6557032"/>
              <a:gd name="connsiteX9318" fmla="*/ 432540 w 4610101"/>
              <a:gd name="connsiteY9318" fmla="*/ 1496629 h 6557032"/>
              <a:gd name="connsiteX9319" fmla="*/ 452212 w 4610101"/>
              <a:gd name="connsiteY9319" fmla="*/ 1495538 h 6557032"/>
              <a:gd name="connsiteX9320" fmla="*/ 450077 w 4610101"/>
              <a:gd name="connsiteY9320" fmla="*/ 1496857 h 6557032"/>
              <a:gd name="connsiteX9321" fmla="*/ 450231 w 4610101"/>
              <a:gd name="connsiteY9321" fmla="*/ 1496198 h 6557032"/>
              <a:gd name="connsiteX9322" fmla="*/ 3466869 w 4610101"/>
              <a:gd name="connsiteY9322" fmla="*/ 1495399 h 6557032"/>
              <a:gd name="connsiteX9323" fmla="*/ 3469419 w 4610101"/>
              <a:gd name="connsiteY9323" fmla="*/ 1500501 h 6557032"/>
              <a:gd name="connsiteX9324" fmla="*/ 3461958 w 4610101"/>
              <a:gd name="connsiteY9324" fmla="*/ 1496101 h 6557032"/>
              <a:gd name="connsiteX9325" fmla="*/ 3460536 w 4610101"/>
              <a:gd name="connsiteY9325" fmla="*/ 1495263 h 6557032"/>
              <a:gd name="connsiteX9326" fmla="*/ 3461958 w 4610101"/>
              <a:gd name="connsiteY9326" fmla="*/ 1496101 h 6557032"/>
              <a:gd name="connsiteX9327" fmla="*/ 3461448 w 4610101"/>
              <a:gd name="connsiteY9327" fmla="*/ 1496174 h 6557032"/>
              <a:gd name="connsiteX9328" fmla="*/ 3459775 w 4610101"/>
              <a:gd name="connsiteY9328" fmla="*/ 1495424 h 6557032"/>
              <a:gd name="connsiteX9329" fmla="*/ 1200814 w 4610101"/>
              <a:gd name="connsiteY9329" fmla="*/ 1495035 h 6557032"/>
              <a:gd name="connsiteX9330" fmla="*/ 1206279 w 4610101"/>
              <a:gd name="connsiteY9330" fmla="*/ 1500501 h 6557032"/>
              <a:gd name="connsiteX9331" fmla="*/ 1208102 w 4610101"/>
              <a:gd name="connsiteY9331" fmla="*/ 1496857 h 6557032"/>
              <a:gd name="connsiteX9332" fmla="*/ 1200814 w 4610101"/>
              <a:gd name="connsiteY9332" fmla="*/ 1495035 h 6557032"/>
              <a:gd name="connsiteX9333" fmla="*/ 3068574 w 4610101"/>
              <a:gd name="connsiteY9333" fmla="*/ 1494960 h 6557032"/>
              <a:gd name="connsiteX9334" fmla="*/ 3068594 w 4610101"/>
              <a:gd name="connsiteY9334" fmla="*/ 1494993 h 6557032"/>
              <a:gd name="connsiteX9335" fmla="*/ 3068541 w 4610101"/>
              <a:gd name="connsiteY9335" fmla="*/ 1495035 h 6557032"/>
              <a:gd name="connsiteX9336" fmla="*/ 1038369 w 4610101"/>
              <a:gd name="connsiteY9336" fmla="*/ 1494686 h 6557032"/>
              <a:gd name="connsiteX9337" fmla="*/ 1038950 w 4610101"/>
              <a:gd name="connsiteY9337" fmla="*/ 1494783 h 6557032"/>
              <a:gd name="connsiteX9338" fmla="*/ 1038809 w 4610101"/>
              <a:gd name="connsiteY9338" fmla="*/ 1494897 h 6557032"/>
              <a:gd name="connsiteX9339" fmla="*/ 1036067 w 4610101"/>
              <a:gd name="connsiteY9339" fmla="*/ 1493581 h 6557032"/>
              <a:gd name="connsiteX9340" fmla="*/ 1038369 w 4610101"/>
              <a:gd name="connsiteY9340" fmla="*/ 1494686 h 6557032"/>
              <a:gd name="connsiteX9341" fmla="*/ 1037877 w 4610101"/>
              <a:gd name="connsiteY9341" fmla="*/ 1494604 h 6557032"/>
              <a:gd name="connsiteX9342" fmla="*/ 3352800 w 4610101"/>
              <a:gd name="connsiteY9342" fmla="*/ 1493214 h 6557032"/>
              <a:gd name="connsiteX9343" fmla="*/ 3385599 w 4610101"/>
              <a:gd name="connsiteY9343" fmla="*/ 1515080 h 6557032"/>
              <a:gd name="connsiteX9344" fmla="*/ 3385599 w 4610101"/>
              <a:gd name="connsiteY9344" fmla="*/ 1524191 h 6557032"/>
              <a:gd name="connsiteX9345" fmla="*/ 3387421 w 4610101"/>
              <a:gd name="connsiteY9345" fmla="*/ 1516903 h 6557032"/>
              <a:gd name="connsiteX9346" fmla="*/ 3412932 w 4610101"/>
              <a:gd name="connsiteY9346" fmla="*/ 1542413 h 6557032"/>
              <a:gd name="connsiteX9347" fmla="*/ 3409287 w 4610101"/>
              <a:gd name="connsiteY9347" fmla="*/ 1544235 h 6557032"/>
              <a:gd name="connsiteX9348" fmla="*/ 3422042 w 4610101"/>
              <a:gd name="connsiteY9348" fmla="*/ 1558813 h 6557032"/>
              <a:gd name="connsiteX9349" fmla="*/ 3411109 w 4610101"/>
              <a:gd name="connsiteY9349" fmla="*/ 1551524 h 6557032"/>
              <a:gd name="connsiteX9350" fmla="*/ 3420220 w 4610101"/>
              <a:gd name="connsiteY9350" fmla="*/ 1575212 h 6557032"/>
              <a:gd name="connsiteX9351" fmla="*/ 3427509 w 4610101"/>
              <a:gd name="connsiteY9351" fmla="*/ 1571568 h 6557032"/>
              <a:gd name="connsiteX9352" fmla="*/ 3416576 w 4610101"/>
              <a:gd name="connsiteY9352" fmla="*/ 1600723 h 6557032"/>
              <a:gd name="connsiteX9353" fmla="*/ 3414754 w 4610101"/>
              <a:gd name="connsiteY9353" fmla="*/ 1587967 h 6557032"/>
              <a:gd name="connsiteX9354" fmla="*/ 3416576 w 4610101"/>
              <a:gd name="connsiteY9354" fmla="*/ 1600723 h 6557032"/>
              <a:gd name="connsiteX9355" fmla="*/ 3418398 w 4610101"/>
              <a:gd name="connsiteY9355" fmla="*/ 1602545 h 6557032"/>
              <a:gd name="connsiteX9356" fmla="*/ 3380132 w 4610101"/>
              <a:gd name="connsiteY9356" fmla="*/ 1591612 h 6557032"/>
              <a:gd name="connsiteX9357" fmla="*/ 3380132 w 4610101"/>
              <a:gd name="connsiteY9357" fmla="*/ 1606189 h 6557032"/>
              <a:gd name="connsiteX9358" fmla="*/ 3374666 w 4610101"/>
              <a:gd name="connsiteY9358" fmla="*/ 1606189 h 6557032"/>
              <a:gd name="connsiteX9359" fmla="*/ 3365555 w 4610101"/>
              <a:gd name="connsiteY9359" fmla="*/ 1587967 h 6557032"/>
              <a:gd name="connsiteX9360" fmla="*/ 3367377 w 4610101"/>
              <a:gd name="connsiteY9360" fmla="*/ 1600723 h 6557032"/>
              <a:gd name="connsiteX9361" fmla="*/ 3349155 w 4610101"/>
              <a:gd name="connsiteY9361" fmla="*/ 1584323 h 6557032"/>
              <a:gd name="connsiteX9362" fmla="*/ 3356444 w 4610101"/>
              <a:gd name="connsiteY9362" fmla="*/ 1611656 h 6557032"/>
              <a:gd name="connsiteX9363" fmla="*/ 3345511 w 4610101"/>
              <a:gd name="connsiteY9363" fmla="*/ 1622590 h 6557032"/>
              <a:gd name="connsiteX9364" fmla="*/ 3340045 w 4610101"/>
              <a:gd name="connsiteY9364" fmla="*/ 1620766 h 6557032"/>
              <a:gd name="connsiteX9365" fmla="*/ 3340045 w 4610101"/>
              <a:gd name="connsiteY9365" fmla="*/ 1610289 h 6557032"/>
              <a:gd name="connsiteX9366" fmla="*/ 3345511 w 4610101"/>
              <a:gd name="connsiteY9366" fmla="*/ 1611656 h 6557032"/>
              <a:gd name="connsiteX9367" fmla="*/ 3341867 w 4610101"/>
              <a:gd name="connsiteY9367" fmla="*/ 1602545 h 6557032"/>
              <a:gd name="connsiteX9368" fmla="*/ 3340045 w 4610101"/>
              <a:gd name="connsiteY9368" fmla="*/ 1605692 h 6557032"/>
              <a:gd name="connsiteX9369" fmla="*/ 3340045 w 4610101"/>
              <a:gd name="connsiteY9369" fmla="*/ 1597078 h 6557032"/>
              <a:gd name="connsiteX9370" fmla="*/ 3341867 w 4610101"/>
              <a:gd name="connsiteY9370" fmla="*/ 1600723 h 6557032"/>
              <a:gd name="connsiteX9371" fmla="*/ 3341867 w 4610101"/>
              <a:gd name="connsiteY9371" fmla="*/ 1595256 h 6557032"/>
              <a:gd name="connsiteX9372" fmla="*/ 3338222 w 4610101"/>
              <a:gd name="connsiteY9372" fmla="*/ 1593435 h 6557032"/>
              <a:gd name="connsiteX9373" fmla="*/ 3347333 w 4610101"/>
              <a:gd name="connsiteY9373" fmla="*/ 1516903 h 6557032"/>
              <a:gd name="connsiteX9374" fmla="*/ 3349155 w 4610101"/>
              <a:gd name="connsiteY9374" fmla="*/ 1516903 h 6557032"/>
              <a:gd name="connsiteX9375" fmla="*/ 3347333 w 4610101"/>
              <a:gd name="connsiteY9375" fmla="*/ 1515080 h 6557032"/>
              <a:gd name="connsiteX9376" fmla="*/ 3352800 w 4610101"/>
              <a:gd name="connsiteY9376" fmla="*/ 1493214 h 6557032"/>
              <a:gd name="connsiteX9377" fmla="*/ 2871747 w 4610101"/>
              <a:gd name="connsiteY9377" fmla="*/ 1493213 h 6557032"/>
              <a:gd name="connsiteX9378" fmla="*/ 2873569 w 4610101"/>
              <a:gd name="connsiteY9378" fmla="*/ 1498679 h 6557032"/>
              <a:gd name="connsiteX9379" fmla="*/ 2879035 w 4610101"/>
              <a:gd name="connsiteY9379" fmla="*/ 1496857 h 6557032"/>
              <a:gd name="connsiteX9380" fmla="*/ 2877213 w 4610101"/>
              <a:gd name="connsiteY9380" fmla="*/ 1493213 h 6557032"/>
              <a:gd name="connsiteX9381" fmla="*/ 2871747 w 4610101"/>
              <a:gd name="connsiteY9381" fmla="*/ 1493213 h 6557032"/>
              <a:gd name="connsiteX9382" fmla="*/ 1186236 w 4610101"/>
              <a:gd name="connsiteY9382" fmla="*/ 1493213 h 6557032"/>
              <a:gd name="connsiteX9383" fmla="*/ 1191703 w 4610101"/>
              <a:gd name="connsiteY9383" fmla="*/ 1509612 h 6557032"/>
              <a:gd name="connsiteX9384" fmla="*/ 1193525 w 4610101"/>
              <a:gd name="connsiteY9384" fmla="*/ 1507790 h 6557032"/>
              <a:gd name="connsiteX9385" fmla="*/ 1197169 w 4610101"/>
              <a:gd name="connsiteY9385" fmla="*/ 1516901 h 6557032"/>
              <a:gd name="connsiteX9386" fmla="*/ 1202636 w 4610101"/>
              <a:gd name="connsiteY9386" fmla="*/ 1513257 h 6557032"/>
              <a:gd name="connsiteX9387" fmla="*/ 1197169 w 4610101"/>
              <a:gd name="connsiteY9387" fmla="*/ 1505968 h 6557032"/>
              <a:gd name="connsiteX9388" fmla="*/ 1197169 w 4610101"/>
              <a:gd name="connsiteY9388" fmla="*/ 1504146 h 6557032"/>
              <a:gd name="connsiteX9389" fmla="*/ 1186236 w 4610101"/>
              <a:gd name="connsiteY9389" fmla="*/ 1493213 h 6557032"/>
              <a:gd name="connsiteX9390" fmla="*/ 1029529 w 4610101"/>
              <a:gd name="connsiteY9390" fmla="*/ 1493213 h 6557032"/>
              <a:gd name="connsiteX9391" fmla="*/ 1037877 w 4610101"/>
              <a:gd name="connsiteY9391" fmla="*/ 1494604 h 6557032"/>
              <a:gd name="connsiteX9392" fmla="*/ 1038639 w 4610101"/>
              <a:gd name="connsiteY9392" fmla="*/ 1495035 h 6557032"/>
              <a:gd name="connsiteX9393" fmla="*/ 1038809 w 4610101"/>
              <a:gd name="connsiteY9393" fmla="*/ 1494897 h 6557032"/>
              <a:gd name="connsiteX9394" fmla="*/ 1041230 w 4610101"/>
              <a:gd name="connsiteY9394" fmla="*/ 1496059 h 6557032"/>
              <a:gd name="connsiteX9395" fmla="*/ 1048471 w 4610101"/>
              <a:gd name="connsiteY9395" fmla="*/ 1505712 h 6557032"/>
              <a:gd name="connsiteX9396" fmla="*/ 1047750 w 4610101"/>
              <a:gd name="connsiteY9396" fmla="*/ 1505968 h 6557032"/>
              <a:gd name="connsiteX9397" fmla="*/ 1049153 w 4610101"/>
              <a:gd name="connsiteY9397" fmla="*/ 1506622 h 6557032"/>
              <a:gd name="connsiteX9398" fmla="*/ 1052761 w 4610101"/>
              <a:gd name="connsiteY9398" fmla="*/ 1511434 h 6557032"/>
              <a:gd name="connsiteX9399" fmla="*/ 1059463 w 4610101"/>
              <a:gd name="connsiteY9399" fmla="*/ 1511434 h 6557032"/>
              <a:gd name="connsiteX9400" fmla="*/ 1061416 w 4610101"/>
              <a:gd name="connsiteY9400" fmla="*/ 1512345 h 6557032"/>
              <a:gd name="connsiteX9401" fmla="*/ 1070944 w 4610101"/>
              <a:gd name="connsiteY9401" fmla="*/ 1516792 h 6557032"/>
              <a:gd name="connsiteX9402" fmla="*/ 1056861 w 4610101"/>
              <a:gd name="connsiteY9402" fmla="*/ 1515079 h 6557032"/>
              <a:gd name="connsiteX9403" fmla="*/ 1058611 w 4610101"/>
              <a:gd name="connsiteY9403" fmla="*/ 1518175 h 6557032"/>
              <a:gd name="connsiteX9404" fmla="*/ 1053217 w 4610101"/>
              <a:gd name="connsiteY9404" fmla="*/ 1513257 h 6557032"/>
              <a:gd name="connsiteX9405" fmla="*/ 1038639 w 4610101"/>
              <a:gd name="connsiteY9405" fmla="*/ 1513257 h 6557032"/>
              <a:gd name="connsiteX9406" fmla="*/ 1045929 w 4610101"/>
              <a:gd name="connsiteY9406" fmla="*/ 1518723 h 6557032"/>
              <a:gd name="connsiteX9407" fmla="*/ 1034336 w 4610101"/>
              <a:gd name="connsiteY9407" fmla="*/ 1512927 h 6557032"/>
              <a:gd name="connsiteX9408" fmla="*/ 1038639 w 4610101"/>
              <a:gd name="connsiteY9408" fmla="*/ 1511434 h 6557032"/>
              <a:gd name="connsiteX9409" fmla="*/ 1024062 w 4610101"/>
              <a:gd name="connsiteY9409" fmla="*/ 1505968 h 6557032"/>
              <a:gd name="connsiteX9410" fmla="*/ 1047750 w 4610101"/>
              <a:gd name="connsiteY9410" fmla="*/ 1509612 h 6557032"/>
              <a:gd name="connsiteX9411" fmla="*/ 1031351 w 4610101"/>
              <a:gd name="connsiteY9411" fmla="*/ 1502324 h 6557032"/>
              <a:gd name="connsiteX9412" fmla="*/ 1034995 w 4610101"/>
              <a:gd name="connsiteY9412" fmla="*/ 1496857 h 6557032"/>
              <a:gd name="connsiteX9413" fmla="*/ 1029529 w 4610101"/>
              <a:gd name="connsiteY9413" fmla="*/ 1493213 h 6557032"/>
              <a:gd name="connsiteX9414" fmla="*/ 750737 w 4610101"/>
              <a:gd name="connsiteY9414" fmla="*/ 1493213 h 6557032"/>
              <a:gd name="connsiteX9415" fmla="*/ 745269 w 4610101"/>
              <a:gd name="connsiteY9415" fmla="*/ 1507790 h 6557032"/>
              <a:gd name="connsiteX9416" fmla="*/ 759848 w 4610101"/>
              <a:gd name="connsiteY9416" fmla="*/ 1500501 h 6557032"/>
              <a:gd name="connsiteX9417" fmla="*/ 750737 w 4610101"/>
              <a:gd name="connsiteY9417" fmla="*/ 1493213 h 6557032"/>
              <a:gd name="connsiteX9418" fmla="*/ 655983 w 4610101"/>
              <a:gd name="connsiteY9418" fmla="*/ 1493213 h 6557032"/>
              <a:gd name="connsiteX9419" fmla="*/ 639583 w 4610101"/>
              <a:gd name="connsiteY9419" fmla="*/ 1515079 h 6557032"/>
              <a:gd name="connsiteX9420" fmla="*/ 661449 w 4610101"/>
              <a:gd name="connsiteY9420" fmla="*/ 1498679 h 6557032"/>
              <a:gd name="connsiteX9421" fmla="*/ 655983 w 4610101"/>
              <a:gd name="connsiteY9421" fmla="*/ 1493213 h 6557032"/>
              <a:gd name="connsiteX9422" fmla="*/ 573985 w 4610101"/>
              <a:gd name="connsiteY9422" fmla="*/ 1493213 h 6557032"/>
              <a:gd name="connsiteX9423" fmla="*/ 568519 w 4610101"/>
              <a:gd name="connsiteY9423" fmla="*/ 1507790 h 6557032"/>
              <a:gd name="connsiteX9424" fmla="*/ 581274 w 4610101"/>
              <a:gd name="connsiteY9424" fmla="*/ 1504146 h 6557032"/>
              <a:gd name="connsiteX9425" fmla="*/ 573985 w 4610101"/>
              <a:gd name="connsiteY9425" fmla="*/ 1493213 h 6557032"/>
              <a:gd name="connsiteX9426" fmla="*/ 1319255 w 4610101"/>
              <a:gd name="connsiteY9426" fmla="*/ 1491513 h 6557032"/>
              <a:gd name="connsiteX9427" fmla="*/ 1319255 w 4610101"/>
              <a:gd name="connsiteY9427" fmla="*/ 1513378 h 6557032"/>
              <a:gd name="connsiteX9428" fmla="*/ 1280989 w 4610101"/>
              <a:gd name="connsiteY9428" fmla="*/ 1513378 h 6557032"/>
              <a:gd name="connsiteX9429" fmla="*/ 1280989 w 4610101"/>
              <a:gd name="connsiteY9429" fmla="*/ 1527955 h 6557032"/>
              <a:gd name="connsiteX9430" fmla="*/ 1270056 w 4610101"/>
              <a:gd name="connsiteY9430" fmla="*/ 1526133 h 6557032"/>
              <a:gd name="connsiteX9431" fmla="*/ 1269719 w 4610101"/>
              <a:gd name="connsiteY9431" fmla="*/ 1524445 h 6557032"/>
              <a:gd name="connsiteX9432" fmla="*/ 1266411 w 4610101"/>
              <a:gd name="connsiteY9432" fmla="*/ 1507912 h 6557032"/>
              <a:gd name="connsiteX9433" fmla="*/ 823623 w 4610101"/>
              <a:gd name="connsiteY9433" fmla="*/ 1491391 h 6557032"/>
              <a:gd name="connsiteX9434" fmla="*/ 819979 w 4610101"/>
              <a:gd name="connsiteY9434" fmla="*/ 1495035 h 6557032"/>
              <a:gd name="connsiteX9435" fmla="*/ 812690 w 4610101"/>
              <a:gd name="connsiteY9435" fmla="*/ 1498679 h 6557032"/>
              <a:gd name="connsiteX9436" fmla="*/ 805401 w 4610101"/>
              <a:gd name="connsiteY9436" fmla="*/ 1500501 h 6557032"/>
              <a:gd name="connsiteX9437" fmla="*/ 810868 w 4610101"/>
              <a:gd name="connsiteY9437" fmla="*/ 1500501 h 6557032"/>
              <a:gd name="connsiteX9438" fmla="*/ 803579 w 4610101"/>
              <a:gd name="connsiteY9438" fmla="*/ 1504146 h 6557032"/>
              <a:gd name="connsiteX9439" fmla="*/ 809046 w 4610101"/>
              <a:gd name="connsiteY9439" fmla="*/ 1513257 h 6557032"/>
              <a:gd name="connsiteX9440" fmla="*/ 799935 w 4610101"/>
              <a:gd name="connsiteY9440" fmla="*/ 1502324 h 6557032"/>
              <a:gd name="connsiteX9441" fmla="*/ 765313 w 4610101"/>
              <a:gd name="connsiteY9441" fmla="*/ 1498679 h 6557032"/>
              <a:gd name="connsiteX9442" fmla="*/ 772602 w 4610101"/>
              <a:gd name="connsiteY9442" fmla="*/ 1504146 h 6557032"/>
              <a:gd name="connsiteX9443" fmla="*/ 765313 w 4610101"/>
              <a:gd name="connsiteY9443" fmla="*/ 1498679 h 6557032"/>
              <a:gd name="connsiteX9444" fmla="*/ 795151 w 4610101"/>
              <a:gd name="connsiteY9444" fmla="*/ 1515078 h 6557032"/>
              <a:gd name="connsiteX9445" fmla="*/ 798214 w 4610101"/>
              <a:gd name="connsiteY9445" fmla="*/ 1516842 h 6557032"/>
              <a:gd name="connsiteX9446" fmla="*/ 796974 w 4610101"/>
              <a:gd name="connsiteY9446" fmla="*/ 1516218 h 6557032"/>
              <a:gd name="connsiteX9447" fmla="*/ 765313 w 4610101"/>
              <a:gd name="connsiteY9447" fmla="*/ 1502324 h 6557032"/>
              <a:gd name="connsiteX9448" fmla="*/ 758025 w 4610101"/>
              <a:gd name="connsiteY9448" fmla="*/ 1527834 h 6557032"/>
              <a:gd name="connsiteX9449" fmla="*/ 761670 w 4610101"/>
              <a:gd name="connsiteY9449" fmla="*/ 1502324 h 6557032"/>
              <a:gd name="connsiteX9450" fmla="*/ 748914 w 4610101"/>
              <a:gd name="connsiteY9450" fmla="*/ 1511434 h 6557032"/>
              <a:gd name="connsiteX9451" fmla="*/ 750737 w 4610101"/>
              <a:gd name="connsiteY9451" fmla="*/ 1516901 h 6557032"/>
              <a:gd name="connsiteX9452" fmla="*/ 747092 w 4610101"/>
              <a:gd name="connsiteY9452" fmla="*/ 1513257 h 6557032"/>
              <a:gd name="connsiteX9453" fmla="*/ 747092 w 4610101"/>
              <a:gd name="connsiteY9453" fmla="*/ 1520545 h 6557032"/>
              <a:gd name="connsiteX9454" fmla="*/ 750737 w 4610101"/>
              <a:gd name="connsiteY9454" fmla="*/ 1520545 h 6557032"/>
              <a:gd name="connsiteX9455" fmla="*/ 745269 w 4610101"/>
              <a:gd name="connsiteY9455" fmla="*/ 1540589 h 6557032"/>
              <a:gd name="connsiteX9456" fmla="*/ 741626 w 4610101"/>
              <a:gd name="connsiteY9456" fmla="*/ 1533301 h 6557032"/>
              <a:gd name="connsiteX9457" fmla="*/ 741626 w 4610101"/>
              <a:gd name="connsiteY9457" fmla="*/ 1551522 h 6557032"/>
              <a:gd name="connsiteX9458" fmla="*/ 734336 w 4610101"/>
              <a:gd name="connsiteY9458" fmla="*/ 1546056 h 6557032"/>
              <a:gd name="connsiteX9459" fmla="*/ 729729 w 4610101"/>
              <a:gd name="connsiteY9459" fmla="*/ 1555270 h 6557032"/>
              <a:gd name="connsiteX9460" fmla="*/ 728870 w 4610101"/>
              <a:gd name="connsiteY9460" fmla="*/ 1555167 h 6557032"/>
              <a:gd name="connsiteX9461" fmla="*/ 732515 w 4610101"/>
              <a:gd name="connsiteY9461" fmla="*/ 1573388 h 6557032"/>
              <a:gd name="connsiteX9462" fmla="*/ 725226 w 4610101"/>
              <a:gd name="connsiteY9462" fmla="*/ 1571566 h 6557032"/>
              <a:gd name="connsiteX9463" fmla="*/ 723404 w 4610101"/>
              <a:gd name="connsiteY9463" fmla="*/ 1602543 h 6557032"/>
              <a:gd name="connsiteX9464" fmla="*/ 725226 w 4610101"/>
              <a:gd name="connsiteY9464" fmla="*/ 1602543 h 6557032"/>
              <a:gd name="connsiteX9465" fmla="*/ 712470 w 4610101"/>
              <a:gd name="connsiteY9465" fmla="*/ 1615298 h 6557032"/>
              <a:gd name="connsiteX9466" fmla="*/ 699715 w 4610101"/>
              <a:gd name="connsiteY9466" fmla="*/ 1660853 h 6557032"/>
              <a:gd name="connsiteX9467" fmla="*/ 686960 w 4610101"/>
              <a:gd name="connsiteY9467" fmla="*/ 1655386 h 6557032"/>
              <a:gd name="connsiteX9468" fmla="*/ 707004 w 4610101"/>
              <a:gd name="connsiteY9468" fmla="*/ 1662675 h 6557032"/>
              <a:gd name="connsiteX9469" fmla="*/ 699715 w 4610101"/>
              <a:gd name="connsiteY9469" fmla="*/ 1657208 h 6557032"/>
              <a:gd name="connsiteX9470" fmla="*/ 758025 w 4610101"/>
              <a:gd name="connsiteY9470" fmla="*/ 1651742 h 6557032"/>
              <a:gd name="connsiteX9471" fmla="*/ 756203 w 4610101"/>
              <a:gd name="connsiteY9471" fmla="*/ 1655386 h 6557032"/>
              <a:gd name="connsiteX9472" fmla="*/ 767136 w 4610101"/>
              <a:gd name="connsiteY9472" fmla="*/ 1651742 h 6557032"/>
              <a:gd name="connsiteX9473" fmla="*/ 759848 w 4610101"/>
              <a:gd name="connsiteY9473" fmla="*/ 1651742 h 6557032"/>
              <a:gd name="connsiteX9474" fmla="*/ 781713 w 4610101"/>
              <a:gd name="connsiteY9474" fmla="*/ 1653564 h 6557032"/>
              <a:gd name="connsiteX9475" fmla="*/ 825445 w 4610101"/>
              <a:gd name="connsiteY9475" fmla="*/ 1648097 h 6557032"/>
              <a:gd name="connsiteX9476" fmla="*/ 818156 w 4610101"/>
              <a:gd name="connsiteY9476" fmla="*/ 1644453 h 6557032"/>
              <a:gd name="connsiteX9477" fmla="*/ 825445 w 4610101"/>
              <a:gd name="connsiteY9477" fmla="*/ 1644453 h 6557032"/>
              <a:gd name="connsiteX9478" fmla="*/ 869177 w 4610101"/>
              <a:gd name="connsiteY9478" fmla="*/ 1631698 h 6557032"/>
              <a:gd name="connsiteX9479" fmla="*/ 863711 w 4610101"/>
              <a:gd name="connsiteY9479" fmla="*/ 1631698 h 6557032"/>
              <a:gd name="connsiteX9480" fmla="*/ 963930 w 4610101"/>
              <a:gd name="connsiteY9480" fmla="*/ 1618943 h 6557032"/>
              <a:gd name="connsiteX9481" fmla="*/ 963039 w 4610101"/>
              <a:gd name="connsiteY9481" fmla="*/ 1618489 h 6557032"/>
              <a:gd name="connsiteX9482" fmla="*/ 989441 w 4610101"/>
              <a:gd name="connsiteY9482" fmla="*/ 1617121 h 6557032"/>
              <a:gd name="connsiteX9483" fmla="*/ 958236 w 4610101"/>
              <a:gd name="connsiteY9483" fmla="*/ 1603910 h 6557032"/>
              <a:gd name="connsiteX9484" fmla="*/ 931795 w 4610101"/>
              <a:gd name="connsiteY9484" fmla="*/ 1604279 h 6557032"/>
              <a:gd name="connsiteX9485" fmla="*/ 932953 w 4610101"/>
              <a:gd name="connsiteY9485" fmla="*/ 1602543 h 6557032"/>
              <a:gd name="connsiteX9486" fmla="*/ 929030 w 4610101"/>
              <a:gd name="connsiteY9486" fmla="*/ 1604318 h 6557032"/>
              <a:gd name="connsiteX9487" fmla="*/ 925886 w 4610101"/>
              <a:gd name="connsiteY9487" fmla="*/ 1604362 h 6557032"/>
              <a:gd name="connsiteX9488" fmla="*/ 925763 w 4610101"/>
              <a:gd name="connsiteY9488" fmla="*/ 1604299 h 6557032"/>
              <a:gd name="connsiteX9489" fmla="*/ 931131 w 4610101"/>
              <a:gd name="connsiteY9489" fmla="*/ 1600721 h 6557032"/>
              <a:gd name="connsiteX9490" fmla="*/ 916555 w 4610101"/>
              <a:gd name="connsiteY9490" fmla="*/ 1598899 h 6557032"/>
              <a:gd name="connsiteX9491" fmla="*/ 917617 w 4610101"/>
              <a:gd name="connsiteY9491" fmla="*/ 1600140 h 6557032"/>
              <a:gd name="connsiteX9492" fmla="*/ 904482 w 4610101"/>
              <a:gd name="connsiteY9492" fmla="*/ 1593432 h 6557032"/>
              <a:gd name="connsiteX9493" fmla="*/ 871000 w 4610101"/>
              <a:gd name="connsiteY9493" fmla="*/ 1587966 h 6557032"/>
              <a:gd name="connsiteX9494" fmla="*/ 858244 w 4610101"/>
              <a:gd name="connsiteY9494" fmla="*/ 1591155 h 6557032"/>
              <a:gd name="connsiteX9495" fmla="*/ 855363 w 4610101"/>
              <a:gd name="connsiteY9495" fmla="*/ 1591257 h 6557032"/>
              <a:gd name="connsiteX9496" fmla="*/ 860066 w 4610101"/>
              <a:gd name="connsiteY9496" fmla="*/ 1589788 h 6557032"/>
              <a:gd name="connsiteX9497" fmla="*/ 860066 w 4610101"/>
              <a:gd name="connsiteY9497" fmla="*/ 1584321 h 6557032"/>
              <a:gd name="connsiteX9498" fmla="*/ 872822 w 4610101"/>
              <a:gd name="connsiteY9498" fmla="*/ 1584321 h 6557032"/>
              <a:gd name="connsiteX9499" fmla="*/ 871000 w 4610101"/>
              <a:gd name="connsiteY9499" fmla="*/ 1582499 h 6557032"/>
              <a:gd name="connsiteX9500" fmla="*/ 877384 w 4610101"/>
              <a:gd name="connsiteY9500" fmla="*/ 1583563 h 6557032"/>
              <a:gd name="connsiteX9501" fmla="*/ 887399 w 4610101"/>
              <a:gd name="connsiteY9501" fmla="*/ 1587966 h 6557032"/>
              <a:gd name="connsiteX9502" fmla="*/ 940242 w 4610101"/>
              <a:gd name="connsiteY9502" fmla="*/ 1586144 h 6557032"/>
              <a:gd name="connsiteX9503" fmla="*/ 834556 w 4610101"/>
              <a:gd name="connsiteY9503" fmla="*/ 1566100 h 6557032"/>
              <a:gd name="connsiteX9504" fmla="*/ 860977 w 4610101"/>
              <a:gd name="connsiteY9504" fmla="*/ 1576350 h 6557032"/>
              <a:gd name="connsiteX9505" fmla="*/ 868478 w 4610101"/>
              <a:gd name="connsiteY9505" fmla="*/ 1579647 h 6557032"/>
              <a:gd name="connsiteX9506" fmla="*/ 817018 w 4610101"/>
              <a:gd name="connsiteY9506" fmla="*/ 1561772 h 6557032"/>
              <a:gd name="connsiteX9507" fmla="*/ 813902 w 4610101"/>
              <a:gd name="connsiteY9507" fmla="*/ 1561845 h 6557032"/>
              <a:gd name="connsiteX9508" fmla="*/ 810868 w 4610101"/>
              <a:gd name="connsiteY9508" fmla="*/ 1558811 h 6557032"/>
              <a:gd name="connsiteX9509" fmla="*/ 843667 w 4610101"/>
              <a:gd name="connsiteY9509" fmla="*/ 1556989 h 6557032"/>
              <a:gd name="connsiteX9510" fmla="*/ 845489 w 4610101"/>
              <a:gd name="connsiteY9510" fmla="*/ 1542412 h 6557032"/>
              <a:gd name="connsiteX9511" fmla="*/ 838620 w 4610101"/>
              <a:gd name="connsiteY9511" fmla="*/ 1536804 h 6557032"/>
              <a:gd name="connsiteX9512" fmla="*/ 843667 w 4610101"/>
              <a:gd name="connsiteY9512" fmla="*/ 1540589 h 6557032"/>
              <a:gd name="connsiteX9513" fmla="*/ 843667 w 4610101"/>
              <a:gd name="connsiteY9513" fmla="*/ 1518723 h 6557032"/>
              <a:gd name="connsiteX9514" fmla="*/ 829089 w 4610101"/>
              <a:gd name="connsiteY9514" fmla="*/ 1529656 h 6557032"/>
              <a:gd name="connsiteX9515" fmla="*/ 833662 w 4610101"/>
              <a:gd name="connsiteY9515" fmla="*/ 1533085 h 6557032"/>
              <a:gd name="connsiteX9516" fmla="*/ 822903 w 4610101"/>
              <a:gd name="connsiteY9516" fmla="*/ 1534337 h 6557032"/>
              <a:gd name="connsiteX9517" fmla="*/ 827267 w 4610101"/>
              <a:gd name="connsiteY9517" fmla="*/ 1531478 h 6557032"/>
              <a:gd name="connsiteX9518" fmla="*/ 824600 w 4610101"/>
              <a:gd name="connsiteY9518" fmla="*/ 1530134 h 6557032"/>
              <a:gd name="connsiteX9519" fmla="*/ 832734 w 4610101"/>
              <a:gd name="connsiteY9519" fmla="*/ 1518951 h 6557032"/>
              <a:gd name="connsiteX9520" fmla="*/ 830912 w 4610101"/>
              <a:gd name="connsiteY9520" fmla="*/ 1502324 h 6557032"/>
              <a:gd name="connsiteX9521" fmla="*/ 822090 w 4610101"/>
              <a:gd name="connsiteY9521" fmla="*/ 1509208 h 6557032"/>
              <a:gd name="connsiteX9522" fmla="*/ 828178 w 4610101"/>
              <a:gd name="connsiteY9522" fmla="*/ 1500729 h 6557032"/>
              <a:gd name="connsiteX9523" fmla="*/ 823623 w 4610101"/>
              <a:gd name="connsiteY9523" fmla="*/ 1493213 h 6557032"/>
              <a:gd name="connsiteX9524" fmla="*/ 825445 w 4610101"/>
              <a:gd name="connsiteY9524" fmla="*/ 1493213 h 6557032"/>
              <a:gd name="connsiteX9525" fmla="*/ 823623 w 4610101"/>
              <a:gd name="connsiteY9525" fmla="*/ 1491391 h 6557032"/>
              <a:gd name="connsiteX9526" fmla="*/ 752558 w 4610101"/>
              <a:gd name="connsiteY9526" fmla="*/ 1491391 h 6557032"/>
              <a:gd name="connsiteX9527" fmla="*/ 761670 w 4610101"/>
              <a:gd name="connsiteY9527" fmla="*/ 1498679 h 6557032"/>
              <a:gd name="connsiteX9528" fmla="*/ 752558 w 4610101"/>
              <a:gd name="connsiteY9528" fmla="*/ 1491391 h 6557032"/>
              <a:gd name="connsiteX9529" fmla="*/ 504743 w 4610101"/>
              <a:gd name="connsiteY9529" fmla="*/ 1491391 h 6557032"/>
              <a:gd name="connsiteX9530" fmla="*/ 508387 w 4610101"/>
              <a:gd name="connsiteY9530" fmla="*/ 1504146 h 6557032"/>
              <a:gd name="connsiteX9531" fmla="*/ 515676 w 4610101"/>
              <a:gd name="connsiteY9531" fmla="*/ 1496857 h 6557032"/>
              <a:gd name="connsiteX9532" fmla="*/ 504743 w 4610101"/>
              <a:gd name="connsiteY9532" fmla="*/ 1491391 h 6557032"/>
              <a:gd name="connsiteX9533" fmla="*/ 477410 w 4610101"/>
              <a:gd name="connsiteY9533" fmla="*/ 1491391 h 6557032"/>
              <a:gd name="connsiteX9534" fmla="*/ 473766 w 4610101"/>
              <a:gd name="connsiteY9534" fmla="*/ 1496857 h 6557032"/>
              <a:gd name="connsiteX9535" fmla="*/ 477410 w 4610101"/>
              <a:gd name="connsiteY9535" fmla="*/ 1500501 h 6557032"/>
              <a:gd name="connsiteX9536" fmla="*/ 481054 w 4610101"/>
              <a:gd name="connsiteY9536" fmla="*/ 1493213 h 6557032"/>
              <a:gd name="connsiteX9537" fmla="*/ 477410 w 4610101"/>
              <a:gd name="connsiteY9537" fmla="*/ 1496857 h 6557032"/>
              <a:gd name="connsiteX9538" fmla="*/ 477410 w 4610101"/>
              <a:gd name="connsiteY9538" fmla="*/ 1491391 h 6557032"/>
              <a:gd name="connsiteX9539" fmla="*/ 451899 w 4610101"/>
              <a:gd name="connsiteY9539" fmla="*/ 1491391 h 6557032"/>
              <a:gd name="connsiteX9540" fmla="*/ 451244 w 4610101"/>
              <a:gd name="connsiteY9540" fmla="*/ 1491871 h 6557032"/>
              <a:gd name="connsiteX9541" fmla="*/ 451256 w 4610101"/>
              <a:gd name="connsiteY9541" fmla="*/ 1491819 h 6557032"/>
              <a:gd name="connsiteX9542" fmla="*/ 3464156 w 4610101"/>
              <a:gd name="connsiteY9542" fmla="*/ 1489973 h 6557032"/>
              <a:gd name="connsiteX9543" fmla="*/ 3469419 w 4610101"/>
              <a:gd name="connsiteY9543" fmla="*/ 1495035 h 6557032"/>
              <a:gd name="connsiteX9544" fmla="*/ 3466869 w 4610101"/>
              <a:gd name="connsiteY9544" fmla="*/ 1495399 h 6557032"/>
              <a:gd name="connsiteX9545" fmla="*/ 3310890 w 4610101"/>
              <a:gd name="connsiteY9545" fmla="*/ 1489568 h 6557032"/>
              <a:gd name="connsiteX9546" fmla="*/ 3309068 w 4610101"/>
              <a:gd name="connsiteY9546" fmla="*/ 1500501 h 6557032"/>
              <a:gd name="connsiteX9547" fmla="*/ 3310890 w 4610101"/>
              <a:gd name="connsiteY9547" fmla="*/ 1489568 h 6557032"/>
              <a:gd name="connsiteX9548" fmla="*/ 1027707 w 4610101"/>
              <a:gd name="connsiteY9548" fmla="*/ 1489568 h 6557032"/>
              <a:gd name="connsiteX9549" fmla="*/ 1029529 w 4610101"/>
              <a:gd name="connsiteY9549" fmla="*/ 1490443 h 6557032"/>
              <a:gd name="connsiteX9550" fmla="*/ 1029529 w 4610101"/>
              <a:gd name="connsiteY9550" fmla="*/ 1491391 h 6557032"/>
              <a:gd name="connsiteX9551" fmla="*/ 1027707 w 4610101"/>
              <a:gd name="connsiteY9551" fmla="*/ 1490495 h 6557032"/>
              <a:gd name="connsiteX9552" fmla="*/ 590385 w 4610101"/>
              <a:gd name="connsiteY9552" fmla="*/ 1489568 h 6557032"/>
              <a:gd name="connsiteX9553" fmla="*/ 586741 w 4610101"/>
              <a:gd name="connsiteY9553" fmla="*/ 1493213 h 6557032"/>
              <a:gd name="connsiteX9554" fmla="*/ 588562 w 4610101"/>
              <a:gd name="connsiteY9554" fmla="*/ 1496857 h 6557032"/>
              <a:gd name="connsiteX9555" fmla="*/ 590385 w 4610101"/>
              <a:gd name="connsiteY9555" fmla="*/ 1489568 h 6557032"/>
              <a:gd name="connsiteX9556" fmla="*/ 564874 w 4610101"/>
              <a:gd name="connsiteY9556" fmla="*/ 1489568 h 6557032"/>
              <a:gd name="connsiteX9557" fmla="*/ 552119 w 4610101"/>
              <a:gd name="connsiteY9557" fmla="*/ 1498679 h 6557032"/>
              <a:gd name="connsiteX9558" fmla="*/ 557586 w 4610101"/>
              <a:gd name="connsiteY9558" fmla="*/ 1505968 h 6557032"/>
              <a:gd name="connsiteX9559" fmla="*/ 566697 w 4610101"/>
              <a:gd name="connsiteY9559" fmla="*/ 1498679 h 6557032"/>
              <a:gd name="connsiteX9560" fmla="*/ 561230 w 4610101"/>
              <a:gd name="connsiteY9560" fmla="*/ 1498679 h 6557032"/>
              <a:gd name="connsiteX9561" fmla="*/ 564874 w 4610101"/>
              <a:gd name="connsiteY9561" fmla="*/ 1489568 h 6557032"/>
              <a:gd name="connsiteX9562" fmla="*/ 552119 w 4610101"/>
              <a:gd name="connsiteY9562" fmla="*/ 1489568 h 6557032"/>
              <a:gd name="connsiteX9563" fmla="*/ 557586 w 4610101"/>
              <a:gd name="connsiteY9563" fmla="*/ 1493213 h 6557032"/>
              <a:gd name="connsiteX9564" fmla="*/ 552119 w 4610101"/>
              <a:gd name="connsiteY9564" fmla="*/ 1489568 h 6557032"/>
              <a:gd name="connsiteX9565" fmla="*/ 546653 w 4610101"/>
              <a:gd name="connsiteY9565" fmla="*/ 1489568 h 6557032"/>
              <a:gd name="connsiteX9566" fmla="*/ 546625 w 4610101"/>
              <a:gd name="connsiteY9566" fmla="*/ 1489833 h 6557032"/>
              <a:gd name="connsiteX9567" fmla="*/ 546546 w 4610101"/>
              <a:gd name="connsiteY9567" fmla="*/ 1489843 h 6557032"/>
              <a:gd name="connsiteX9568" fmla="*/ 539364 w 4610101"/>
              <a:gd name="connsiteY9568" fmla="*/ 1489568 h 6557032"/>
              <a:gd name="connsiteX9569" fmla="*/ 543008 w 4610101"/>
              <a:gd name="connsiteY9569" fmla="*/ 1491391 h 6557032"/>
              <a:gd name="connsiteX9570" fmla="*/ 539364 w 4610101"/>
              <a:gd name="connsiteY9570" fmla="*/ 1489568 h 6557032"/>
              <a:gd name="connsiteX9571" fmla="*/ 1186236 w 4610101"/>
              <a:gd name="connsiteY9571" fmla="*/ 1487746 h 6557032"/>
              <a:gd name="connsiteX9572" fmla="*/ 1184414 w 4610101"/>
              <a:gd name="connsiteY9572" fmla="*/ 1489568 h 6557032"/>
              <a:gd name="connsiteX9573" fmla="*/ 1188058 w 4610101"/>
              <a:gd name="connsiteY9573" fmla="*/ 1493213 h 6557032"/>
              <a:gd name="connsiteX9574" fmla="*/ 1186236 w 4610101"/>
              <a:gd name="connsiteY9574" fmla="*/ 1487746 h 6557032"/>
              <a:gd name="connsiteX9575" fmla="*/ 1029529 w 4610101"/>
              <a:gd name="connsiteY9575" fmla="*/ 1487746 h 6557032"/>
              <a:gd name="connsiteX9576" fmla="*/ 1033401 w 4610101"/>
              <a:gd name="connsiteY9576" fmla="*/ 1492074 h 6557032"/>
              <a:gd name="connsiteX9577" fmla="*/ 1036067 w 4610101"/>
              <a:gd name="connsiteY9577" fmla="*/ 1493581 h 6557032"/>
              <a:gd name="connsiteX9578" fmla="*/ 1029529 w 4610101"/>
              <a:gd name="connsiteY9578" fmla="*/ 1490443 h 6557032"/>
              <a:gd name="connsiteX9579" fmla="*/ 840022 w 4610101"/>
              <a:gd name="connsiteY9579" fmla="*/ 1487746 h 6557032"/>
              <a:gd name="connsiteX9580" fmla="*/ 843667 w 4610101"/>
              <a:gd name="connsiteY9580" fmla="*/ 1505968 h 6557032"/>
              <a:gd name="connsiteX9581" fmla="*/ 841845 w 4610101"/>
              <a:gd name="connsiteY9581" fmla="*/ 1507790 h 6557032"/>
              <a:gd name="connsiteX9582" fmla="*/ 852778 w 4610101"/>
              <a:gd name="connsiteY9582" fmla="*/ 1505968 h 6557032"/>
              <a:gd name="connsiteX9583" fmla="*/ 847311 w 4610101"/>
              <a:gd name="connsiteY9583" fmla="*/ 1502324 h 6557032"/>
              <a:gd name="connsiteX9584" fmla="*/ 850956 w 4610101"/>
              <a:gd name="connsiteY9584" fmla="*/ 1498679 h 6557032"/>
              <a:gd name="connsiteX9585" fmla="*/ 840022 w 4610101"/>
              <a:gd name="connsiteY9585" fmla="*/ 1487746 h 6557032"/>
              <a:gd name="connsiteX9586" fmla="*/ 697893 w 4610101"/>
              <a:gd name="connsiteY9586" fmla="*/ 1487746 h 6557032"/>
              <a:gd name="connsiteX9587" fmla="*/ 677849 w 4610101"/>
              <a:gd name="connsiteY9587" fmla="*/ 1505968 h 6557032"/>
              <a:gd name="connsiteX9588" fmla="*/ 705182 w 4610101"/>
              <a:gd name="connsiteY9588" fmla="*/ 1500501 h 6557032"/>
              <a:gd name="connsiteX9589" fmla="*/ 697893 w 4610101"/>
              <a:gd name="connsiteY9589" fmla="*/ 1487746 h 6557032"/>
              <a:gd name="connsiteX9590" fmla="*/ 544830 w 4610101"/>
              <a:gd name="connsiteY9590" fmla="*/ 1487746 h 6557032"/>
              <a:gd name="connsiteX9591" fmla="*/ 545286 w 4610101"/>
              <a:gd name="connsiteY9591" fmla="*/ 1490024 h 6557032"/>
              <a:gd name="connsiteX9592" fmla="*/ 546546 w 4610101"/>
              <a:gd name="connsiteY9592" fmla="*/ 1489843 h 6557032"/>
              <a:gd name="connsiteX9593" fmla="*/ 542780 w 4610101"/>
              <a:gd name="connsiteY9593" fmla="*/ 1499590 h 6557032"/>
              <a:gd name="connsiteX9594" fmla="*/ 543008 w 4610101"/>
              <a:gd name="connsiteY9594" fmla="*/ 1509612 h 6557032"/>
              <a:gd name="connsiteX9595" fmla="*/ 545514 w 4610101"/>
              <a:gd name="connsiteY9595" fmla="*/ 1500274 h 6557032"/>
              <a:gd name="connsiteX9596" fmla="*/ 546625 w 4610101"/>
              <a:gd name="connsiteY9596" fmla="*/ 1489833 h 6557032"/>
              <a:gd name="connsiteX9597" fmla="*/ 548475 w 4610101"/>
              <a:gd name="connsiteY9597" fmla="*/ 1489568 h 6557032"/>
              <a:gd name="connsiteX9598" fmla="*/ 544830 w 4610101"/>
              <a:gd name="connsiteY9598" fmla="*/ 1487746 h 6557032"/>
              <a:gd name="connsiteX9599" fmla="*/ 417278 w 4610101"/>
              <a:gd name="connsiteY9599" fmla="*/ 1487746 h 6557032"/>
              <a:gd name="connsiteX9600" fmla="*/ 417278 w 4610101"/>
              <a:gd name="connsiteY9600" fmla="*/ 1496857 h 6557032"/>
              <a:gd name="connsiteX9601" fmla="*/ 395412 w 4610101"/>
              <a:gd name="connsiteY9601" fmla="*/ 1507790 h 6557032"/>
              <a:gd name="connsiteX9602" fmla="*/ 402701 w 4610101"/>
              <a:gd name="connsiteY9602" fmla="*/ 1515079 h 6557032"/>
              <a:gd name="connsiteX9603" fmla="*/ 419100 w 4610101"/>
              <a:gd name="connsiteY9603" fmla="*/ 1489568 h 6557032"/>
              <a:gd name="connsiteX9604" fmla="*/ 422745 w 4610101"/>
              <a:gd name="connsiteY9604" fmla="*/ 1487746 h 6557032"/>
              <a:gd name="connsiteX9605" fmla="*/ 417278 w 4610101"/>
              <a:gd name="connsiteY9605" fmla="*/ 1487746 h 6557032"/>
              <a:gd name="connsiteX9606" fmla="*/ 415456 w 4610101"/>
              <a:gd name="connsiteY9606" fmla="*/ 1487746 h 6557032"/>
              <a:gd name="connsiteX9607" fmla="*/ 402701 w 4610101"/>
              <a:gd name="connsiteY9607" fmla="*/ 1495035 h 6557032"/>
              <a:gd name="connsiteX9608" fmla="*/ 415456 w 4610101"/>
              <a:gd name="connsiteY9608" fmla="*/ 1495035 h 6557032"/>
              <a:gd name="connsiteX9609" fmla="*/ 415456 w 4610101"/>
              <a:gd name="connsiteY9609" fmla="*/ 1487746 h 6557032"/>
              <a:gd name="connsiteX9610" fmla="*/ 832734 w 4610101"/>
              <a:gd name="connsiteY9610" fmla="*/ 1485924 h 6557032"/>
              <a:gd name="connsiteX9611" fmla="*/ 834556 w 4610101"/>
              <a:gd name="connsiteY9611" fmla="*/ 1491391 h 6557032"/>
              <a:gd name="connsiteX9612" fmla="*/ 832734 w 4610101"/>
              <a:gd name="connsiteY9612" fmla="*/ 1485924 h 6557032"/>
              <a:gd name="connsiteX9613" fmla="*/ 754380 w 4610101"/>
              <a:gd name="connsiteY9613" fmla="*/ 1485924 h 6557032"/>
              <a:gd name="connsiteX9614" fmla="*/ 752558 w 4610101"/>
              <a:gd name="connsiteY9614" fmla="*/ 1489568 h 6557032"/>
              <a:gd name="connsiteX9615" fmla="*/ 759848 w 4610101"/>
              <a:gd name="connsiteY9615" fmla="*/ 1491391 h 6557032"/>
              <a:gd name="connsiteX9616" fmla="*/ 754380 w 4610101"/>
              <a:gd name="connsiteY9616" fmla="*/ 1485924 h 6557032"/>
              <a:gd name="connsiteX9617" fmla="*/ 741626 w 4610101"/>
              <a:gd name="connsiteY9617" fmla="*/ 1485924 h 6557032"/>
              <a:gd name="connsiteX9618" fmla="*/ 732515 w 4610101"/>
              <a:gd name="connsiteY9618" fmla="*/ 1493213 h 6557032"/>
              <a:gd name="connsiteX9619" fmla="*/ 741626 w 4610101"/>
              <a:gd name="connsiteY9619" fmla="*/ 1485924 h 6557032"/>
              <a:gd name="connsiteX9620" fmla="*/ 677849 w 4610101"/>
              <a:gd name="connsiteY9620" fmla="*/ 1485924 h 6557032"/>
              <a:gd name="connsiteX9621" fmla="*/ 677849 w 4610101"/>
              <a:gd name="connsiteY9621" fmla="*/ 1493213 h 6557032"/>
              <a:gd name="connsiteX9622" fmla="*/ 683316 w 4610101"/>
              <a:gd name="connsiteY9622" fmla="*/ 1487746 h 6557032"/>
              <a:gd name="connsiteX9623" fmla="*/ 677849 w 4610101"/>
              <a:gd name="connsiteY9623" fmla="*/ 1485924 h 6557032"/>
              <a:gd name="connsiteX9624" fmla="*/ 665094 w 4610101"/>
              <a:gd name="connsiteY9624" fmla="*/ 1485924 h 6557032"/>
              <a:gd name="connsiteX9625" fmla="*/ 667119 w 4610101"/>
              <a:gd name="connsiteY9625" fmla="*/ 1491324 h 6557032"/>
              <a:gd name="connsiteX9626" fmla="*/ 666916 w 4610101"/>
              <a:gd name="connsiteY9626" fmla="*/ 1491391 h 6557032"/>
              <a:gd name="connsiteX9627" fmla="*/ 667128 w 4610101"/>
              <a:gd name="connsiteY9627" fmla="*/ 1491347 h 6557032"/>
              <a:gd name="connsiteX9628" fmla="*/ 670560 w 4610101"/>
              <a:gd name="connsiteY9628" fmla="*/ 1500501 h 6557032"/>
              <a:gd name="connsiteX9629" fmla="*/ 676027 w 4610101"/>
              <a:gd name="connsiteY9629" fmla="*/ 1496857 h 6557032"/>
              <a:gd name="connsiteX9630" fmla="*/ 673522 w 4610101"/>
              <a:gd name="connsiteY9630" fmla="*/ 1490024 h 6557032"/>
              <a:gd name="connsiteX9631" fmla="*/ 667128 w 4610101"/>
              <a:gd name="connsiteY9631" fmla="*/ 1491347 h 6557032"/>
              <a:gd name="connsiteX9632" fmla="*/ 667119 w 4610101"/>
              <a:gd name="connsiteY9632" fmla="*/ 1491324 h 6557032"/>
              <a:gd name="connsiteX9633" fmla="*/ 672383 w 4610101"/>
              <a:gd name="connsiteY9633" fmla="*/ 1489568 h 6557032"/>
              <a:gd name="connsiteX9634" fmla="*/ 665094 w 4610101"/>
              <a:gd name="connsiteY9634" fmla="*/ 1485924 h 6557032"/>
              <a:gd name="connsiteX9635" fmla="*/ 604963 w 4610101"/>
              <a:gd name="connsiteY9635" fmla="*/ 1485924 h 6557032"/>
              <a:gd name="connsiteX9636" fmla="*/ 599496 w 4610101"/>
              <a:gd name="connsiteY9636" fmla="*/ 1500501 h 6557032"/>
              <a:gd name="connsiteX9637" fmla="*/ 604963 w 4610101"/>
              <a:gd name="connsiteY9637" fmla="*/ 1485924 h 6557032"/>
              <a:gd name="connsiteX9638" fmla="*/ 491987 w 4610101"/>
              <a:gd name="connsiteY9638" fmla="*/ 1485924 h 6557032"/>
              <a:gd name="connsiteX9639" fmla="*/ 491987 w 4610101"/>
              <a:gd name="connsiteY9639" fmla="*/ 1493213 h 6557032"/>
              <a:gd name="connsiteX9640" fmla="*/ 493809 w 4610101"/>
              <a:gd name="connsiteY9640" fmla="*/ 1489568 h 6557032"/>
              <a:gd name="connsiteX9641" fmla="*/ 491987 w 4610101"/>
              <a:gd name="connsiteY9641" fmla="*/ 1485924 h 6557032"/>
              <a:gd name="connsiteX9642" fmla="*/ 444611 w 4610101"/>
              <a:gd name="connsiteY9642" fmla="*/ 1485924 h 6557032"/>
              <a:gd name="connsiteX9643" fmla="*/ 439145 w 4610101"/>
              <a:gd name="connsiteY9643" fmla="*/ 1493213 h 6557032"/>
              <a:gd name="connsiteX9644" fmla="*/ 444611 w 4610101"/>
              <a:gd name="connsiteY9644" fmla="*/ 1496857 h 6557032"/>
              <a:gd name="connsiteX9645" fmla="*/ 448256 w 4610101"/>
              <a:gd name="connsiteY9645" fmla="*/ 1485924 h 6557032"/>
              <a:gd name="connsiteX9646" fmla="*/ 444611 w 4610101"/>
              <a:gd name="connsiteY9646" fmla="*/ 1485924 h 6557032"/>
              <a:gd name="connsiteX9647" fmla="*/ 1015029 w 4610101"/>
              <a:gd name="connsiteY9647" fmla="*/ 1484339 h 6557032"/>
              <a:gd name="connsiteX9648" fmla="*/ 1016546 w 4610101"/>
              <a:gd name="connsiteY9648" fmla="*/ 1485013 h 6557032"/>
              <a:gd name="connsiteX9649" fmla="*/ 1027707 w 4610101"/>
              <a:gd name="connsiteY9649" fmla="*/ 1490495 h 6557032"/>
              <a:gd name="connsiteX9650" fmla="*/ 1027707 w 4610101"/>
              <a:gd name="connsiteY9650" fmla="*/ 1493213 h 6557032"/>
              <a:gd name="connsiteX9651" fmla="*/ 484700 w 4610101"/>
              <a:gd name="connsiteY9651" fmla="*/ 1484102 h 6557032"/>
              <a:gd name="connsiteX9652" fmla="*/ 475589 w 4610101"/>
              <a:gd name="connsiteY9652" fmla="*/ 1491391 h 6557032"/>
              <a:gd name="connsiteX9653" fmla="*/ 484700 w 4610101"/>
              <a:gd name="connsiteY9653" fmla="*/ 1484102 h 6557032"/>
              <a:gd name="connsiteX9654" fmla="*/ 556447 w 4610101"/>
              <a:gd name="connsiteY9654" fmla="*/ 1483191 h 6557032"/>
              <a:gd name="connsiteX9655" fmla="*/ 553941 w 4610101"/>
              <a:gd name="connsiteY9655" fmla="*/ 1487746 h 6557032"/>
              <a:gd name="connsiteX9656" fmla="*/ 563052 w 4610101"/>
              <a:gd name="connsiteY9656" fmla="*/ 1484102 h 6557032"/>
              <a:gd name="connsiteX9657" fmla="*/ 556447 w 4610101"/>
              <a:gd name="connsiteY9657" fmla="*/ 1483191 h 6557032"/>
              <a:gd name="connsiteX9658" fmla="*/ 3245292 w 4610101"/>
              <a:gd name="connsiteY9658" fmla="*/ 1482280 h 6557032"/>
              <a:gd name="connsiteX9659" fmla="*/ 3228893 w 4610101"/>
              <a:gd name="connsiteY9659" fmla="*/ 1484102 h 6557032"/>
              <a:gd name="connsiteX9660" fmla="*/ 3238003 w 4610101"/>
              <a:gd name="connsiteY9660" fmla="*/ 1491391 h 6557032"/>
              <a:gd name="connsiteX9661" fmla="*/ 3238003 w 4610101"/>
              <a:gd name="connsiteY9661" fmla="*/ 1484102 h 6557032"/>
              <a:gd name="connsiteX9662" fmla="*/ 3243470 w 4610101"/>
              <a:gd name="connsiteY9662" fmla="*/ 1487746 h 6557032"/>
              <a:gd name="connsiteX9663" fmla="*/ 3245292 w 4610101"/>
              <a:gd name="connsiteY9663" fmla="*/ 1482280 h 6557032"/>
              <a:gd name="connsiteX9664" fmla="*/ 672383 w 4610101"/>
              <a:gd name="connsiteY9664" fmla="*/ 1482280 h 6557032"/>
              <a:gd name="connsiteX9665" fmla="*/ 672383 w 4610101"/>
              <a:gd name="connsiteY9665" fmla="*/ 1487746 h 6557032"/>
              <a:gd name="connsiteX9666" fmla="*/ 672383 w 4610101"/>
              <a:gd name="connsiteY9666" fmla="*/ 1482280 h 6557032"/>
              <a:gd name="connsiteX9667" fmla="*/ 454434 w 4610101"/>
              <a:gd name="connsiteY9667" fmla="*/ 1481739 h 6557032"/>
              <a:gd name="connsiteX9668" fmla="*/ 452583 w 4610101"/>
              <a:gd name="connsiteY9668" fmla="*/ 1486152 h 6557032"/>
              <a:gd name="connsiteX9669" fmla="*/ 451256 w 4610101"/>
              <a:gd name="connsiteY9669" fmla="*/ 1491819 h 6557032"/>
              <a:gd name="connsiteX9670" fmla="*/ 446433 w 4610101"/>
              <a:gd name="connsiteY9670" fmla="*/ 1495035 h 6557032"/>
              <a:gd name="connsiteX9671" fmla="*/ 448484 w 4610101"/>
              <a:gd name="connsiteY9671" fmla="*/ 1493896 h 6557032"/>
              <a:gd name="connsiteX9672" fmla="*/ 451244 w 4610101"/>
              <a:gd name="connsiteY9672" fmla="*/ 1491871 h 6557032"/>
              <a:gd name="connsiteX9673" fmla="*/ 450231 w 4610101"/>
              <a:gd name="connsiteY9673" fmla="*/ 1496198 h 6557032"/>
              <a:gd name="connsiteX9674" fmla="*/ 448256 w 4610101"/>
              <a:gd name="connsiteY9674" fmla="*/ 1496857 h 6557032"/>
              <a:gd name="connsiteX9675" fmla="*/ 451899 w 4610101"/>
              <a:gd name="connsiteY9675" fmla="*/ 1498679 h 6557032"/>
              <a:gd name="connsiteX9676" fmla="*/ 442884 w 4610101"/>
              <a:gd name="connsiteY9676" fmla="*/ 1500405 h 6557032"/>
              <a:gd name="connsiteX9677" fmla="*/ 444611 w 4610101"/>
              <a:gd name="connsiteY9677" fmla="*/ 1498679 h 6557032"/>
              <a:gd name="connsiteX9678" fmla="*/ 439145 w 4610101"/>
              <a:gd name="connsiteY9678" fmla="*/ 1495035 h 6557032"/>
              <a:gd name="connsiteX9679" fmla="*/ 431856 w 4610101"/>
              <a:gd name="connsiteY9679" fmla="*/ 1502324 h 6557032"/>
              <a:gd name="connsiteX9680" fmla="*/ 432311 w 4610101"/>
              <a:gd name="connsiteY9680" fmla="*/ 1505740 h 6557032"/>
              <a:gd name="connsiteX9681" fmla="*/ 434468 w 4610101"/>
              <a:gd name="connsiteY9681" fmla="*/ 1507127 h 6557032"/>
              <a:gd name="connsiteX9682" fmla="*/ 431856 w 4610101"/>
              <a:gd name="connsiteY9682" fmla="*/ 1509612 h 6557032"/>
              <a:gd name="connsiteX9683" fmla="*/ 435500 w 4610101"/>
              <a:gd name="connsiteY9683" fmla="*/ 1520545 h 6557032"/>
              <a:gd name="connsiteX9684" fmla="*/ 450077 w 4610101"/>
              <a:gd name="connsiteY9684" fmla="*/ 1515079 h 6557032"/>
              <a:gd name="connsiteX9685" fmla="*/ 444611 w 4610101"/>
              <a:gd name="connsiteY9685" fmla="*/ 1511434 h 6557032"/>
              <a:gd name="connsiteX9686" fmla="*/ 457367 w 4610101"/>
              <a:gd name="connsiteY9686" fmla="*/ 1507790 h 6557032"/>
              <a:gd name="connsiteX9687" fmla="*/ 453722 w 4610101"/>
              <a:gd name="connsiteY9687" fmla="*/ 1500501 h 6557032"/>
              <a:gd name="connsiteX9688" fmla="*/ 455544 w 4610101"/>
              <a:gd name="connsiteY9688" fmla="*/ 1500501 h 6557032"/>
              <a:gd name="connsiteX9689" fmla="*/ 453722 w 4610101"/>
              <a:gd name="connsiteY9689" fmla="*/ 1495035 h 6557032"/>
              <a:gd name="connsiteX9690" fmla="*/ 452212 w 4610101"/>
              <a:gd name="connsiteY9690" fmla="*/ 1495538 h 6557032"/>
              <a:gd name="connsiteX9691" fmla="*/ 457821 w 4610101"/>
              <a:gd name="connsiteY9691" fmla="*/ 1492074 h 6557032"/>
              <a:gd name="connsiteX9692" fmla="*/ 457367 w 4610101"/>
              <a:gd name="connsiteY9692" fmla="*/ 1485924 h 6557032"/>
              <a:gd name="connsiteX9693" fmla="*/ 459188 w 4610101"/>
              <a:gd name="connsiteY9693" fmla="*/ 1482280 h 6557032"/>
              <a:gd name="connsiteX9694" fmla="*/ 454434 w 4610101"/>
              <a:gd name="connsiteY9694" fmla="*/ 1481739 h 6557032"/>
              <a:gd name="connsiteX9695" fmla="*/ 866946 w 4610101"/>
              <a:gd name="connsiteY9695" fmla="*/ 1481406 h 6557032"/>
              <a:gd name="connsiteX9696" fmla="*/ 853916 w 4610101"/>
              <a:gd name="connsiteY9696" fmla="*/ 1486379 h 6557032"/>
              <a:gd name="connsiteX9697" fmla="*/ 846205 w 4610101"/>
              <a:gd name="connsiteY9697" fmla="*/ 1485773 h 6557032"/>
              <a:gd name="connsiteX9698" fmla="*/ 841120 w 4610101"/>
              <a:gd name="connsiteY9698" fmla="*/ 1480830 h 6557032"/>
              <a:gd name="connsiteX9699" fmla="*/ 841845 w 4610101"/>
              <a:gd name="connsiteY9699" fmla="*/ 1482280 h 6557032"/>
              <a:gd name="connsiteX9700" fmla="*/ 840598 w 4610101"/>
              <a:gd name="connsiteY9700" fmla="*/ 1480854 h 6557032"/>
              <a:gd name="connsiteX9701" fmla="*/ 3265336 w 4610101"/>
              <a:gd name="connsiteY9701" fmla="*/ 1480458 h 6557032"/>
              <a:gd name="connsiteX9702" fmla="*/ 3268980 w 4610101"/>
              <a:gd name="connsiteY9702" fmla="*/ 1509612 h 6557032"/>
              <a:gd name="connsiteX9703" fmla="*/ 3268980 w 4610101"/>
              <a:gd name="connsiteY9703" fmla="*/ 1493213 h 6557032"/>
              <a:gd name="connsiteX9704" fmla="*/ 3278091 w 4610101"/>
              <a:gd name="connsiteY9704" fmla="*/ 1527834 h 6557032"/>
              <a:gd name="connsiteX9705" fmla="*/ 3281736 w 4610101"/>
              <a:gd name="connsiteY9705" fmla="*/ 1509612 h 6557032"/>
              <a:gd name="connsiteX9706" fmla="*/ 3287202 w 4610101"/>
              <a:gd name="connsiteY9706" fmla="*/ 1520545 h 6557032"/>
              <a:gd name="connsiteX9707" fmla="*/ 3283558 w 4610101"/>
              <a:gd name="connsiteY9707" fmla="*/ 1518723 h 6557032"/>
              <a:gd name="connsiteX9708" fmla="*/ 3285380 w 4610101"/>
              <a:gd name="connsiteY9708" fmla="*/ 1526012 h 6557032"/>
              <a:gd name="connsiteX9709" fmla="*/ 3294491 w 4610101"/>
              <a:gd name="connsiteY9709" fmla="*/ 1518723 h 6557032"/>
              <a:gd name="connsiteX9710" fmla="*/ 3287202 w 4610101"/>
              <a:gd name="connsiteY9710" fmla="*/ 1493213 h 6557032"/>
              <a:gd name="connsiteX9711" fmla="*/ 3287202 w 4610101"/>
              <a:gd name="connsiteY9711" fmla="*/ 1498679 h 6557032"/>
              <a:gd name="connsiteX9712" fmla="*/ 3265336 w 4610101"/>
              <a:gd name="connsiteY9712" fmla="*/ 1480458 h 6557032"/>
              <a:gd name="connsiteX9713" fmla="*/ 3059430 w 4610101"/>
              <a:gd name="connsiteY9713" fmla="*/ 1480458 h 6557032"/>
              <a:gd name="connsiteX9714" fmla="*/ 3070363 w 4610101"/>
              <a:gd name="connsiteY9714" fmla="*/ 1487746 h 6557032"/>
              <a:gd name="connsiteX9715" fmla="*/ 3072186 w 4610101"/>
              <a:gd name="connsiteY9715" fmla="*/ 1482280 h 6557032"/>
              <a:gd name="connsiteX9716" fmla="*/ 3072869 w 4610101"/>
              <a:gd name="connsiteY9716" fmla="*/ 1485013 h 6557032"/>
              <a:gd name="connsiteX9717" fmla="*/ 3068574 w 4610101"/>
              <a:gd name="connsiteY9717" fmla="*/ 1494960 h 6557032"/>
              <a:gd name="connsiteX9718" fmla="*/ 1171658 w 4610101"/>
              <a:gd name="connsiteY9718" fmla="*/ 1480458 h 6557032"/>
              <a:gd name="connsiteX9719" fmla="*/ 1172499 w 4610101"/>
              <a:gd name="connsiteY9719" fmla="*/ 1485504 h 6557032"/>
              <a:gd name="connsiteX9720" fmla="*/ 1171658 w 4610101"/>
              <a:gd name="connsiteY9720" fmla="*/ 1487746 h 6557032"/>
              <a:gd name="connsiteX9721" fmla="*/ 1173036 w 4610101"/>
              <a:gd name="connsiteY9721" fmla="*/ 1488731 h 6557032"/>
              <a:gd name="connsiteX9722" fmla="*/ 1173481 w 4610101"/>
              <a:gd name="connsiteY9722" fmla="*/ 1491391 h 6557032"/>
              <a:gd name="connsiteX9723" fmla="*/ 1173253 w 4610101"/>
              <a:gd name="connsiteY9723" fmla="*/ 1488885 h 6557032"/>
              <a:gd name="connsiteX9724" fmla="*/ 1173036 w 4610101"/>
              <a:gd name="connsiteY9724" fmla="*/ 1488731 h 6557032"/>
              <a:gd name="connsiteX9725" fmla="*/ 1172499 w 4610101"/>
              <a:gd name="connsiteY9725" fmla="*/ 1485504 h 6557032"/>
              <a:gd name="connsiteX9726" fmla="*/ 1173025 w 4610101"/>
              <a:gd name="connsiteY9726" fmla="*/ 1484102 h 6557032"/>
              <a:gd name="connsiteX9727" fmla="*/ 1171658 w 4610101"/>
              <a:gd name="connsiteY9727" fmla="*/ 1480458 h 6557032"/>
              <a:gd name="connsiteX9728" fmla="*/ 1009485 w 4610101"/>
              <a:gd name="connsiteY9728" fmla="*/ 1480458 h 6557032"/>
              <a:gd name="connsiteX9729" fmla="*/ 1015029 w 4610101"/>
              <a:gd name="connsiteY9729" fmla="*/ 1484339 h 6557032"/>
              <a:gd name="connsiteX9730" fmla="*/ 1009485 w 4610101"/>
              <a:gd name="connsiteY9730" fmla="*/ 1481875 h 6557032"/>
              <a:gd name="connsiteX9731" fmla="*/ 572163 w 4610101"/>
              <a:gd name="connsiteY9731" fmla="*/ 1480458 h 6557032"/>
              <a:gd name="connsiteX9732" fmla="*/ 563052 w 4610101"/>
              <a:gd name="connsiteY9732" fmla="*/ 1489568 h 6557032"/>
              <a:gd name="connsiteX9733" fmla="*/ 572163 w 4610101"/>
              <a:gd name="connsiteY9733" fmla="*/ 1480458 h 6557032"/>
              <a:gd name="connsiteX9734" fmla="*/ 513853 w 4610101"/>
              <a:gd name="connsiteY9734" fmla="*/ 1480458 h 6557032"/>
              <a:gd name="connsiteX9735" fmla="*/ 517498 w 4610101"/>
              <a:gd name="connsiteY9735" fmla="*/ 1495035 h 6557032"/>
              <a:gd name="connsiteX9736" fmla="*/ 515676 w 4610101"/>
              <a:gd name="connsiteY9736" fmla="*/ 1480458 h 6557032"/>
              <a:gd name="connsiteX9737" fmla="*/ 513853 w 4610101"/>
              <a:gd name="connsiteY9737" fmla="*/ 1480458 h 6557032"/>
              <a:gd name="connsiteX9738" fmla="*/ 504743 w 4610101"/>
              <a:gd name="connsiteY9738" fmla="*/ 1480458 h 6557032"/>
              <a:gd name="connsiteX9739" fmla="*/ 506565 w 4610101"/>
              <a:gd name="connsiteY9739" fmla="*/ 1482280 h 6557032"/>
              <a:gd name="connsiteX9740" fmla="*/ 504743 w 4610101"/>
              <a:gd name="connsiteY9740" fmla="*/ 1480458 h 6557032"/>
              <a:gd name="connsiteX9741" fmla="*/ 444611 w 4610101"/>
              <a:gd name="connsiteY9741" fmla="*/ 1480458 h 6557032"/>
              <a:gd name="connsiteX9742" fmla="*/ 437322 w 4610101"/>
              <a:gd name="connsiteY9742" fmla="*/ 1485924 h 6557032"/>
              <a:gd name="connsiteX9743" fmla="*/ 444611 w 4610101"/>
              <a:gd name="connsiteY9743" fmla="*/ 1484102 h 6557032"/>
              <a:gd name="connsiteX9744" fmla="*/ 444611 w 4610101"/>
              <a:gd name="connsiteY9744" fmla="*/ 1480458 h 6557032"/>
              <a:gd name="connsiteX9745" fmla="*/ 431173 w 4610101"/>
              <a:gd name="connsiteY9745" fmla="*/ 1480230 h 6557032"/>
              <a:gd name="connsiteX9746" fmla="*/ 426389 w 4610101"/>
              <a:gd name="connsiteY9746" fmla="*/ 1482280 h 6557032"/>
              <a:gd name="connsiteX9747" fmla="*/ 422745 w 4610101"/>
              <a:gd name="connsiteY9747" fmla="*/ 1485924 h 6557032"/>
              <a:gd name="connsiteX9748" fmla="*/ 437322 w 4610101"/>
              <a:gd name="connsiteY9748" fmla="*/ 1482280 h 6557032"/>
              <a:gd name="connsiteX9749" fmla="*/ 431173 w 4610101"/>
              <a:gd name="connsiteY9749" fmla="*/ 1480230 h 6557032"/>
              <a:gd name="connsiteX9750" fmla="*/ 873802 w 4610101"/>
              <a:gd name="connsiteY9750" fmla="*/ 1478790 h 6557032"/>
              <a:gd name="connsiteX9751" fmla="*/ 876986 w 4610101"/>
              <a:gd name="connsiteY9751" fmla="*/ 1479293 h 6557032"/>
              <a:gd name="connsiteX9752" fmla="*/ 866946 w 4610101"/>
              <a:gd name="connsiteY9752" fmla="*/ 1481406 h 6557032"/>
              <a:gd name="connsiteX9753" fmla="*/ 3301780 w 4610101"/>
              <a:gd name="connsiteY9753" fmla="*/ 1478635 h 6557032"/>
              <a:gd name="connsiteX9754" fmla="*/ 3303602 w 4610101"/>
              <a:gd name="connsiteY9754" fmla="*/ 1489568 h 6557032"/>
              <a:gd name="connsiteX9755" fmla="*/ 3301780 w 4610101"/>
              <a:gd name="connsiteY9755" fmla="*/ 1478635 h 6557032"/>
              <a:gd name="connsiteX9756" fmla="*/ 1211747 w 4610101"/>
              <a:gd name="connsiteY9756" fmla="*/ 1478635 h 6557032"/>
              <a:gd name="connsiteX9757" fmla="*/ 1209925 w 4610101"/>
              <a:gd name="connsiteY9757" fmla="*/ 1489568 h 6557032"/>
              <a:gd name="connsiteX9758" fmla="*/ 1215390 w 4610101"/>
              <a:gd name="connsiteY9758" fmla="*/ 1482280 h 6557032"/>
              <a:gd name="connsiteX9759" fmla="*/ 1211747 w 4610101"/>
              <a:gd name="connsiteY9759" fmla="*/ 1478635 h 6557032"/>
              <a:gd name="connsiteX9760" fmla="*/ 1002196 w 4610101"/>
              <a:gd name="connsiteY9760" fmla="*/ 1478635 h 6557032"/>
              <a:gd name="connsiteX9761" fmla="*/ 1009485 w 4610101"/>
              <a:gd name="connsiteY9761" fmla="*/ 1481875 h 6557032"/>
              <a:gd name="connsiteX9762" fmla="*/ 1009485 w 4610101"/>
              <a:gd name="connsiteY9762" fmla="*/ 1484102 h 6557032"/>
              <a:gd name="connsiteX9763" fmla="*/ 1002196 w 4610101"/>
              <a:gd name="connsiteY9763" fmla="*/ 1478635 h 6557032"/>
              <a:gd name="connsiteX9764" fmla="*/ 880111 w 4610101"/>
              <a:gd name="connsiteY9764" fmla="*/ 1478635 h 6557032"/>
              <a:gd name="connsiteX9765" fmla="*/ 877149 w 4610101"/>
              <a:gd name="connsiteY9765" fmla="*/ 1479319 h 6557032"/>
              <a:gd name="connsiteX9766" fmla="*/ 876986 w 4610101"/>
              <a:gd name="connsiteY9766" fmla="*/ 1479293 h 6557032"/>
              <a:gd name="connsiteX9767" fmla="*/ 643228 w 4610101"/>
              <a:gd name="connsiteY9767" fmla="*/ 1478635 h 6557032"/>
              <a:gd name="connsiteX9768" fmla="*/ 639583 w 4610101"/>
              <a:gd name="connsiteY9768" fmla="*/ 1502324 h 6557032"/>
              <a:gd name="connsiteX9769" fmla="*/ 639583 w 4610101"/>
              <a:gd name="connsiteY9769" fmla="*/ 1509612 h 6557032"/>
              <a:gd name="connsiteX9770" fmla="*/ 648694 w 4610101"/>
              <a:gd name="connsiteY9770" fmla="*/ 1496857 h 6557032"/>
              <a:gd name="connsiteX9771" fmla="*/ 639583 w 4610101"/>
              <a:gd name="connsiteY9771" fmla="*/ 1502324 h 6557032"/>
              <a:gd name="connsiteX9772" fmla="*/ 652339 w 4610101"/>
              <a:gd name="connsiteY9772" fmla="*/ 1491391 h 6557032"/>
              <a:gd name="connsiteX9773" fmla="*/ 645050 w 4610101"/>
              <a:gd name="connsiteY9773" fmla="*/ 1485924 h 6557032"/>
              <a:gd name="connsiteX9774" fmla="*/ 643228 w 4610101"/>
              <a:gd name="connsiteY9774" fmla="*/ 1478635 h 6557032"/>
              <a:gd name="connsiteX9775" fmla="*/ 884372 w 4610101"/>
              <a:gd name="connsiteY9775" fmla="*/ 1477802 h 6557032"/>
              <a:gd name="connsiteX9776" fmla="*/ 872822 w 4610101"/>
              <a:gd name="connsiteY9776" fmla="*/ 1484102 h 6557032"/>
              <a:gd name="connsiteX9777" fmla="*/ 880111 w 4610101"/>
              <a:gd name="connsiteY9777" fmla="*/ 1478635 h 6557032"/>
              <a:gd name="connsiteX9778" fmla="*/ 881933 w 4610101"/>
              <a:gd name="connsiteY9778" fmla="*/ 1478635 h 6557032"/>
              <a:gd name="connsiteX9779" fmla="*/ 3309068 w 4610101"/>
              <a:gd name="connsiteY9779" fmla="*/ 1476813 h 6557032"/>
              <a:gd name="connsiteX9780" fmla="*/ 3323646 w 4610101"/>
              <a:gd name="connsiteY9780" fmla="*/ 1495035 h 6557032"/>
              <a:gd name="connsiteX9781" fmla="*/ 3323646 w 4610101"/>
              <a:gd name="connsiteY9781" fmla="*/ 1480458 h 6557032"/>
              <a:gd name="connsiteX9782" fmla="*/ 3309068 w 4610101"/>
              <a:gd name="connsiteY9782" fmla="*/ 1476813 h 6557032"/>
              <a:gd name="connsiteX9783" fmla="*/ 3068541 w 4610101"/>
              <a:gd name="connsiteY9783" fmla="*/ 1476813 h 6557032"/>
              <a:gd name="connsiteX9784" fmla="*/ 3071144 w 4610101"/>
              <a:gd name="connsiteY9784" fmla="*/ 1478114 h 6557032"/>
              <a:gd name="connsiteX9785" fmla="*/ 3072186 w 4610101"/>
              <a:gd name="connsiteY9785" fmla="*/ 1482280 h 6557032"/>
              <a:gd name="connsiteX9786" fmla="*/ 821801 w 4610101"/>
              <a:gd name="connsiteY9786" fmla="*/ 1476813 h 6557032"/>
              <a:gd name="connsiteX9787" fmla="*/ 819979 w 4610101"/>
              <a:gd name="connsiteY9787" fmla="*/ 1487746 h 6557032"/>
              <a:gd name="connsiteX9788" fmla="*/ 816334 w 4610101"/>
              <a:gd name="connsiteY9788" fmla="*/ 1484102 h 6557032"/>
              <a:gd name="connsiteX9789" fmla="*/ 810868 w 4610101"/>
              <a:gd name="connsiteY9789" fmla="*/ 1493213 h 6557032"/>
              <a:gd name="connsiteX9790" fmla="*/ 821801 w 4610101"/>
              <a:gd name="connsiteY9790" fmla="*/ 1491391 h 6557032"/>
              <a:gd name="connsiteX9791" fmla="*/ 821801 w 4610101"/>
              <a:gd name="connsiteY9791" fmla="*/ 1476813 h 6557032"/>
              <a:gd name="connsiteX9792" fmla="*/ 705182 w 4610101"/>
              <a:gd name="connsiteY9792" fmla="*/ 1476813 h 6557032"/>
              <a:gd name="connsiteX9793" fmla="*/ 703360 w 4610101"/>
              <a:gd name="connsiteY9793" fmla="*/ 1478863 h 6557032"/>
              <a:gd name="connsiteX9794" fmla="*/ 702805 w 4610101"/>
              <a:gd name="connsiteY9794" fmla="*/ 1478240 h 6557032"/>
              <a:gd name="connsiteX9795" fmla="*/ 590385 w 4610101"/>
              <a:gd name="connsiteY9795" fmla="*/ 1476813 h 6557032"/>
              <a:gd name="connsiteX9796" fmla="*/ 588562 w 4610101"/>
              <a:gd name="connsiteY9796" fmla="*/ 1489568 h 6557032"/>
              <a:gd name="connsiteX9797" fmla="*/ 590385 w 4610101"/>
              <a:gd name="connsiteY9797" fmla="*/ 1487746 h 6557032"/>
              <a:gd name="connsiteX9798" fmla="*/ 590385 w 4610101"/>
              <a:gd name="connsiteY9798" fmla="*/ 1476813 h 6557032"/>
              <a:gd name="connsiteX9799" fmla="*/ 526381 w 4610101"/>
              <a:gd name="connsiteY9799" fmla="*/ 1476358 h 6557032"/>
              <a:gd name="connsiteX9800" fmla="*/ 521142 w 4610101"/>
              <a:gd name="connsiteY9800" fmla="*/ 1480458 h 6557032"/>
              <a:gd name="connsiteX9801" fmla="*/ 517498 w 4610101"/>
              <a:gd name="connsiteY9801" fmla="*/ 1478635 h 6557032"/>
              <a:gd name="connsiteX9802" fmla="*/ 521142 w 4610101"/>
              <a:gd name="connsiteY9802" fmla="*/ 1493213 h 6557032"/>
              <a:gd name="connsiteX9803" fmla="*/ 526609 w 4610101"/>
              <a:gd name="connsiteY9803" fmla="*/ 1491391 h 6557032"/>
              <a:gd name="connsiteX9804" fmla="*/ 524786 w 4610101"/>
              <a:gd name="connsiteY9804" fmla="*/ 1484102 h 6557032"/>
              <a:gd name="connsiteX9805" fmla="*/ 528431 w 4610101"/>
              <a:gd name="connsiteY9805" fmla="*/ 1487746 h 6557032"/>
              <a:gd name="connsiteX9806" fmla="*/ 524786 w 4610101"/>
              <a:gd name="connsiteY9806" fmla="*/ 1480458 h 6557032"/>
              <a:gd name="connsiteX9807" fmla="*/ 530253 w 4610101"/>
              <a:gd name="connsiteY9807" fmla="*/ 1480458 h 6557032"/>
              <a:gd name="connsiteX9808" fmla="*/ 526381 w 4610101"/>
              <a:gd name="connsiteY9808" fmla="*/ 1476358 h 6557032"/>
              <a:gd name="connsiteX9809" fmla="*/ 379468 w 4610101"/>
              <a:gd name="connsiteY9809" fmla="*/ 1475902 h 6557032"/>
              <a:gd name="connsiteX9810" fmla="*/ 382667 w 4610101"/>
              <a:gd name="connsiteY9810" fmla="*/ 1476251 h 6557032"/>
              <a:gd name="connsiteX9811" fmla="*/ 382429 w 4610101"/>
              <a:gd name="connsiteY9811" fmla="*/ 1476358 h 6557032"/>
              <a:gd name="connsiteX9812" fmla="*/ 370697 w 4610101"/>
              <a:gd name="connsiteY9812" fmla="*/ 1478491 h 6557032"/>
              <a:gd name="connsiteX9813" fmla="*/ 768957 w 4610101"/>
              <a:gd name="connsiteY9813" fmla="*/ 1475047 h 6557032"/>
              <a:gd name="connsiteX9814" fmla="*/ 776246 w 4610101"/>
              <a:gd name="connsiteY9814" fmla="*/ 1482336 h 6557032"/>
              <a:gd name="connsiteX9815" fmla="*/ 778068 w 4610101"/>
              <a:gd name="connsiteY9815" fmla="*/ 1482336 h 6557032"/>
              <a:gd name="connsiteX9816" fmla="*/ 781712 w 4610101"/>
              <a:gd name="connsiteY9816" fmla="*/ 1493269 h 6557032"/>
              <a:gd name="connsiteX9817" fmla="*/ 776246 w 4610101"/>
              <a:gd name="connsiteY9817" fmla="*/ 1489625 h 6557032"/>
              <a:gd name="connsiteX9818" fmla="*/ 772602 w 4610101"/>
              <a:gd name="connsiteY9818" fmla="*/ 1482336 h 6557032"/>
              <a:gd name="connsiteX9819" fmla="*/ 768957 w 4610101"/>
              <a:gd name="connsiteY9819" fmla="*/ 1493269 h 6557032"/>
              <a:gd name="connsiteX9820" fmla="*/ 768957 w 4610101"/>
              <a:gd name="connsiteY9820" fmla="*/ 1475047 h 6557032"/>
              <a:gd name="connsiteX9821" fmla="*/ 3372844 w 4610101"/>
              <a:gd name="connsiteY9821" fmla="*/ 1474991 h 6557032"/>
              <a:gd name="connsiteX9822" fmla="*/ 3376489 w 4610101"/>
              <a:gd name="connsiteY9822" fmla="*/ 1493213 h 6557032"/>
              <a:gd name="connsiteX9823" fmla="*/ 3372844 w 4610101"/>
              <a:gd name="connsiteY9823" fmla="*/ 1474991 h 6557032"/>
              <a:gd name="connsiteX9824" fmla="*/ 3070363 w 4610101"/>
              <a:gd name="connsiteY9824" fmla="*/ 1474991 h 6557032"/>
              <a:gd name="connsiteX9825" fmla="*/ 3072186 w 4610101"/>
              <a:gd name="connsiteY9825" fmla="*/ 1478635 h 6557032"/>
              <a:gd name="connsiteX9826" fmla="*/ 3071144 w 4610101"/>
              <a:gd name="connsiteY9826" fmla="*/ 1478114 h 6557032"/>
              <a:gd name="connsiteX9827" fmla="*/ 1193525 w 4610101"/>
              <a:gd name="connsiteY9827" fmla="*/ 1474991 h 6557032"/>
              <a:gd name="connsiteX9828" fmla="*/ 1197169 w 4610101"/>
              <a:gd name="connsiteY9828" fmla="*/ 1476813 h 6557032"/>
              <a:gd name="connsiteX9829" fmla="*/ 1196837 w 4610101"/>
              <a:gd name="connsiteY9829" fmla="*/ 1476813 h 6557032"/>
              <a:gd name="connsiteX9830" fmla="*/ 883755 w 4610101"/>
              <a:gd name="connsiteY9830" fmla="*/ 1474991 h 6557032"/>
              <a:gd name="connsiteX9831" fmla="*/ 873802 w 4610101"/>
              <a:gd name="connsiteY9831" fmla="*/ 1478790 h 6557032"/>
              <a:gd name="connsiteX9832" fmla="*/ 872822 w 4610101"/>
              <a:gd name="connsiteY9832" fmla="*/ 1478635 h 6557032"/>
              <a:gd name="connsiteX9833" fmla="*/ 883755 w 4610101"/>
              <a:gd name="connsiteY9833" fmla="*/ 1474991 h 6557032"/>
              <a:gd name="connsiteX9834" fmla="*/ 825445 w 4610101"/>
              <a:gd name="connsiteY9834" fmla="*/ 1474991 h 6557032"/>
              <a:gd name="connsiteX9835" fmla="*/ 829089 w 4610101"/>
              <a:gd name="connsiteY9835" fmla="*/ 1487746 h 6557032"/>
              <a:gd name="connsiteX9836" fmla="*/ 825445 w 4610101"/>
              <a:gd name="connsiteY9836" fmla="*/ 1474991 h 6557032"/>
              <a:gd name="connsiteX9837" fmla="*/ 677849 w 4610101"/>
              <a:gd name="connsiteY9837" fmla="*/ 1474991 h 6557032"/>
              <a:gd name="connsiteX9838" fmla="*/ 677166 w 4610101"/>
              <a:gd name="connsiteY9838" fmla="*/ 1482507 h 6557032"/>
              <a:gd name="connsiteX9839" fmla="*/ 679121 w 4610101"/>
              <a:gd name="connsiteY9839" fmla="*/ 1483594 h 6557032"/>
              <a:gd name="connsiteX9840" fmla="*/ 677849 w 4610101"/>
              <a:gd name="connsiteY9840" fmla="*/ 1484102 h 6557032"/>
              <a:gd name="connsiteX9841" fmla="*/ 683316 w 4610101"/>
              <a:gd name="connsiteY9841" fmla="*/ 1485924 h 6557032"/>
              <a:gd name="connsiteX9842" fmla="*/ 679121 w 4610101"/>
              <a:gd name="connsiteY9842" fmla="*/ 1483594 h 6557032"/>
              <a:gd name="connsiteX9843" fmla="*/ 686960 w 4610101"/>
              <a:gd name="connsiteY9843" fmla="*/ 1480458 h 6557032"/>
              <a:gd name="connsiteX9844" fmla="*/ 677849 w 4610101"/>
              <a:gd name="connsiteY9844" fmla="*/ 1474991 h 6557032"/>
              <a:gd name="connsiteX9845" fmla="*/ 572163 w 4610101"/>
              <a:gd name="connsiteY9845" fmla="*/ 1474991 h 6557032"/>
              <a:gd name="connsiteX9846" fmla="*/ 568519 w 4610101"/>
              <a:gd name="connsiteY9846" fmla="*/ 1478635 h 6557032"/>
              <a:gd name="connsiteX9847" fmla="*/ 572163 w 4610101"/>
              <a:gd name="connsiteY9847" fmla="*/ 1474991 h 6557032"/>
              <a:gd name="connsiteX9848" fmla="*/ 568519 w 4610101"/>
              <a:gd name="connsiteY9848" fmla="*/ 1474991 h 6557032"/>
              <a:gd name="connsiteX9849" fmla="*/ 559408 w 4610101"/>
              <a:gd name="connsiteY9849" fmla="*/ 1480458 h 6557032"/>
              <a:gd name="connsiteX9850" fmla="*/ 568519 w 4610101"/>
              <a:gd name="connsiteY9850" fmla="*/ 1474991 h 6557032"/>
              <a:gd name="connsiteX9851" fmla="*/ 3330376 w 4610101"/>
              <a:gd name="connsiteY9851" fmla="*/ 1474578 h 6557032"/>
              <a:gd name="connsiteX9852" fmla="*/ 3331162 w 4610101"/>
              <a:gd name="connsiteY9852" fmla="*/ 1476586 h 6557032"/>
              <a:gd name="connsiteX9853" fmla="*/ 3329637 w 4610101"/>
              <a:gd name="connsiteY9853" fmla="*/ 1479467 h 6557032"/>
              <a:gd name="connsiteX9854" fmla="*/ 3329340 w 4610101"/>
              <a:gd name="connsiteY9854" fmla="*/ 1478408 h 6557032"/>
              <a:gd name="connsiteX9855" fmla="*/ 3329654 w 4610101"/>
              <a:gd name="connsiteY9855" fmla="*/ 1475133 h 6557032"/>
              <a:gd name="connsiteX9856" fmla="*/ 584919 w 4610101"/>
              <a:gd name="connsiteY9856" fmla="*/ 1473169 h 6557032"/>
              <a:gd name="connsiteX9857" fmla="*/ 573985 w 4610101"/>
              <a:gd name="connsiteY9857" fmla="*/ 1491391 h 6557032"/>
              <a:gd name="connsiteX9858" fmla="*/ 581274 w 4610101"/>
              <a:gd name="connsiteY9858" fmla="*/ 1493213 h 6557032"/>
              <a:gd name="connsiteX9859" fmla="*/ 584919 w 4610101"/>
              <a:gd name="connsiteY9859" fmla="*/ 1473169 h 6557032"/>
              <a:gd name="connsiteX9860" fmla="*/ 491987 w 4610101"/>
              <a:gd name="connsiteY9860" fmla="*/ 1473169 h 6557032"/>
              <a:gd name="connsiteX9861" fmla="*/ 481054 w 4610101"/>
              <a:gd name="connsiteY9861" fmla="*/ 1484102 h 6557032"/>
              <a:gd name="connsiteX9862" fmla="*/ 490165 w 4610101"/>
              <a:gd name="connsiteY9862" fmla="*/ 1480458 h 6557032"/>
              <a:gd name="connsiteX9863" fmla="*/ 491987 w 4610101"/>
              <a:gd name="connsiteY9863" fmla="*/ 1473169 h 6557032"/>
              <a:gd name="connsiteX9864" fmla="*/ 1213568 w 4610101"/>
              <a:gd name="connsiteY9864" fmla="*/ 1471347 h 6557032"/>
              <a:gd name="connsiteX9865" fmla="*/ 1214769 w 4610101"/>
              <a:gd name="connsiteY9865" fmla="*/ 1472947 h 6557032"/>
              <a:gd name="connsiteX9866" fmla="*/ 1214707 w 4610101"/>
              <a:gd name="connsiteY9866" fmla="*/ 1472941 h 6557032"/>
              <a:gd name="connsiteX9867" fmla="*/ 1213568 w 4610101"/>
              <a:gd name="connsiteY9867" fmla="*/ 1471347 h 6557032"/>
              <a:gd name="connsiteX9868" fmla="*/ 692426 w 4610101"/>
              <a:gd name="connsiteY9868" fmla="*/ 1471347 h 6557032"/>
              <a:gd name="connsiteX9869" fmla="*/ 696071 w 4610101"/>
              <a:gd name="connsiteY9869" fmla="*/ 1473169 h 6557032"/>
              <a:gd name="connsiteX9870" fmla="*/ 692426 w 4610101"/>
              <a:gd name="connsiteY9870" fmla="*/ 1471347 h 6557032"/>
              <a:gd name="connsiteX9871" fmla="*/ 645050 w 4610101"/>
              <a:gd name="connsiteY9871" fmla="*/ 1471347 h 6557032"/>
              <a:gd name="connsiteX9872" fmla="*/ 652339 w 4610101"/>
              <a:gd name="connsiteY9872" fmla="*/ 1487746 h 6557032"/>
              <a:gd name="connsiteX9873" fmla="*/ 661449 w 4610101"/>
              <a:gd name="connsiteY9873" fmla="*/ 1476813 h 6557032"/>
              <a:gd name="connsiteX9874" fmla="*/ 645050 w 4610101"/>
              <a:gd name="connsiteY9874" fmla="*/ 1471347 h 6557032"/>
              <a:gd name="connsiteX9875" fmla="*/ 834556 w 4610101"/>
              <a:gd name="connsiteY9875" fmla="*/ 1469525 h 6557032"/>
              <a:gd name="connsiteX9876" fmla="*/ 840022 w 4610101"/>
              <a:gd name="connsiteY9876" fmla="*/ 1471347 h 6557032"/>
              <a:gd name="connsiteX9877" fmla="*/ 834556 w 4610101"/>
              <a:gd name="connsiteY9877" fmla="*/ 1469525 h 6557032"/>
              <a:gd name="connsiteX9878" fmla="*/ 471943 w 4610101"/>
              <a:gd name="connsiteY9878" fmla="*/ 1469525 h 6557032"/>
              <a:gd name="connsiteX9879" fmla="*/ 459188 w 4610101"/>
              <a:gd name="connsiteY9879" fmla="*/ 1495035 h 6557032"/>
              <a:gd name="connsiteX9880" fmla="*/ 466478 w 4610101"/>
              <a:gd name="connsiteY9880" fmla="*/ 1504146 h 6557032"/>
              <a:gd name="connsiteX9881" fmla="*/ 464655 w 4610101"/>
              <a:gd name="connsiteY9881" fmla="*/ 1491391 h 6557032"/>
              <a:gd name="connsiteX9882" fmla="*/ 466478 w 4610101"/>
              <a:gd name="connsiteY9882" fmla="*/ 1493213 h 6557032"/>
              <a:gd name="connsiteX9883" fmla="*/ 464655 w 4610101"/>
              <a:gd name="connsiteY9883" fmla="*/ 1482280 h 6557032"/>
              <a:gd name="connsiteX9884" fmla="*/ 468299 w 4610101"/>
              <a:gd name="connsiteY9884" fmla="*/ 1485924 h 6557032"/>
              <a:gd name="connsiteX9885" fmla="*/ 471943 w 4610101"/>
              <a:gd name="connsiteY9885" fmla="*/ 1469525 h 6557032"/>
              <a:gd name="connsiteX9886" fmla="*/ 1184414 w 4610101"/>
              <a:gd name="connsiteY9886" fmla="*/ 1467702 h 6557032"/>
              <a:gd name="connsiteX9887" fmla="*/ 1186236 w 4610101"/>
              <a:gd name="connsiteY9887" fmla="*/ 1480458 h 6557032"/>
              <a:gd name="connsiteX9888" fmla="*/ 1188058 w 4610101"/>
              <a:gd name="connsiteY9888" fmla="*/ 1474991 h 6557032"/>
              <a:gd name="connsiteX9889" fmla="*/ 1184414 w 4610101"/>
              <a:gd name="connsiteY9889" fmla="*/ 1467702 h 6557032"/>
              <a:gd name="connsiteX9890" fmla="*/ 747092 w 4610101"/>
              <a:gd name="connsiteY9890" fmla="*/ 1467702 h 6557032"/>
              <a:gd name="connsiteX9891" fmla="*/ 747092 w 4610101"/>
              <a:gd name="connsiteY9891" fmla="*/ 1473169 h 6557032"/>
              <a:gd name="connsiteX9892" fmla="*/ 747092 w 4610101"/>
              <a:gd name="connsiteY9892" fmla="*/ 1467702 h 6557032"/>
              <a:gd name="connsiteX9893" fmla="*/ 546653 w 4610101"/>
              <a:gd name="connsiteY9893" fmla="*/ 1467702 h 6557032"/>
              <a:gd name="connsiteX9894" fmla="*/ 543008 w 4610101"/>
              <a:gd name="connsiteY9894" fmla="*/ 1478635 h 6557032"/>
              <a:gd name="connsiteX9895" fmla="*/ 546653 w 4610101"/>
              <a:gd name="connsiteY9895" fmla="*/ 1467702 h 6557032"/>
              <a:gd name="connsiteX9896" fmla="*/ 411584 w 4610101"/>
              <a:gd name="connsiteY9896" fmla="*/ 1467247 h 6557032"/>
              <a:gd name="connsiteX9897" fmla="*/ 406345 w 4610101"/>
              <a:gd name="connsiteY9897" fmla="*/ 1467702 h 6557032"/>
              <a:gd name="connsiteX9898" fmla="*/ 415456 w 4610101"/>
              <a:gd name="connsiteY9898" fmla="*/ 1474991 h 6557032"/>
              <a:gd name="connsiteX9899" fmla="*/ 415456 w 4610101"/>
              <a:gd name="connsiteY9899" fmla="*/ 1469525 h 6557032"/>
              <a:gd name="connsiteX9900" fmla="*/ 411584 w 4610101"/>
              <a:gd name="connsiteY9900" fmla="*/ 1467247 h 6557032"/>
              <a:gd name="connsiteX9901" fmla="*/ 659627 w 4610101"/>
              <a:gd name="connsiteY9901" fmla="*/ 1466335 h 6557032"/>
              <a:gd name="connsiteX9902" fmla="*/ 655983 w 4610101"/>
              <a:gd name="connsiteY9902" fmla="*/ 1467702 h 6557032"/>
              <a:gd name="connsiteX9903" fmla="*/ 663272 w 4610101"/>
              <a:gd name="connsiteY9903" fmla="*/ 1467702 h 6557032"/>
              <a:gd name="connsiteX9904" fmla="*/ 659627 w 4610101"/>
              <a:gd name="connsiteY9904" fmla="*/ 1466335 h 6557032"/>
              <a:gd name="connsiteX9905" fmla="*/ 3399332 w 4610101"/>
              <a:gd name="connsiteY9905" fmla="*/ 1466253 h 6557032"/>
              <a:gd name="connsiteX9906" fmla="*/ 3400177 w 4610101"/>
              <a:gd name="connsiteY9906" fmla="*/ 1467702 h 6557032"/>
              <a:gd name="connsiteX9907" fmla="*/ 3398675 w 4610101"/>
              <a:gd name="connsiteY9907" fmla="*/ 1467228 h 6557032"/>
              <a:gd name="connsiteX9908" fmla="*/ 1158903 w 4610101"/>
              <a:gd name="connsiteY9908" fmla="*/ 1465880 h 6557032"/>
              <a:gd name="connsiteX9909" fmla="*/ 1162547 w 4610101"/>
              <a:gd name="connsiteY9909" fmla="*/ 1471347 h 6557032"/>
              <a:gd name="connsiteX9910" fmla="*/ 1158903 w 4610101"/>
              <a:gd name="connsiteY9910" fmla="*/ 1465880 h 6557032"/>
              <a:gd name="connsiteX9911" fmla="*/ 464655 w 4610101"/>
              <a:gd name="connsiteY9911" fmla="*/ 1465880 h 6557032"/>
              <a:gd name="connsiteX9912" fmla="*/ 457367 w 4610101"/>
              <a:gd name="connsiteY9912" fmla="*/ 1471347 h 6557032"/>
              <a:gd name="connsiteX9913" fmla="*/ 464655 w 4610101"/>
              <a:gd name="connsiteY9913" fmla="*/ 1465880 h 6557032"/>
              <a:gd name="connsiteX9914" fmla="*/ 420923 w 4610101"/>
              <a:gd name="connsiteY9914" fmla="*/ 1465880 h 6557032"/>
              <a:gd name="connsiteX9915" fmla="*/ 424567 w 4610101"/>
              <a:gd name="connsiteY9915" fmla="*/ 1467702 h 6557032"/>
              <a:gd name="connsiteX9916" fmla="*/ 420923 w 4610101"/>
              <a:gd name="connsiteY9916" fmla="*/ 1465880 h 6557032"/>
              <a:gd name="connsiteX9917" fmla="*/ 631754 w 4610101"/>
              <a:gd name="connsiteY9917" fmla="*/ 1464571 h 6557032"/>
              <a:gd name="connsiteX9918" fmla="*/ 630472 w 4610101"/>
              <a:gd name="connsiteY9918" fmla="*/ 1480458 h 6557032"/>
              <a:gd name="connsiteX9919" fmla="*/ 625006 w 4610101"/>
              <a:gd name="connsiteY9919" fmla="*/ 1482280 h 6557032"/>
              <a:gd name="connsiteX9920" fmla="*/ 626828 w 4610101"/>
              <a:gd name="connsiteY9920" fmla="*/ 1469525 h 6557032"/>
              <a:gd name="connsiteX9921" fmla="*/ 615895 w 4610101"/>
              <a:gd name="connsiteY9921" fmla="*/ 1498679 h 6557032"/>
              <a:gd name="connsiteX9922" fmla="*/ 637761 w 4610101"/>
              <a:gd name="connsiteY9922" fmla="*/ 1500501 h 6557032"/>
              <a:gd name="connsiteX9923" fmla="*/ 635939 w 4610101"/>
              <a:gd name="connsiteY9923" fmla="*/ 1465880 h 6557032"/>
              <a:gd name="connsiteX9924" fmla="*/ 631754 w 4610101"/>
              <a:gd name="connsiteY9924" fmla="*/ 1464571 h 6557032"/>
              <a:gd name="connsiteX9925" fmla="*/ 3223426 w 4610101"/>
              <a:gd name="connsiteY9925" fmla="*/ 1464058 h 6557032"/>
              <a:gd name="connsiteX9926" fmla="*/ 3216137 w 4610101"/>
              <a:gd name="connsiteY9926" fmla="*/ 1465880 h 6557032"/>
              <a:gd name="connsiteX9927" fmla="*/ 3219782 w 4610101"/>
              <a:gd name="connsiteY9927" fmla="*/ 1482280 h 6557032"/>
              <a:gd name="connsiteX9928" fmla="*/ 3205204 w 4610101"/>
              <a:gd name="connsiteY9928" fmla="*/ 1482280 h 6557032"/>
              <a:gd name="connsiteX9929" fmla="*/ 3208849 w 4610101"/>
              <a:gd name="connsiteY9929" fmla="*/ 1491391 h 6557032"/>
              <a:gd name="connsiteX9930" fmla="*/ 3223426 w 4610101"/>
              <a:gd name="connsiteY9930" fmla="*/ 1476813 h 6557032"/>
              <a:gd name="connsiteX9931" fmla="*/ 3228893 w 4610101"/>
              <a:gd name="connsiteY9931" fmla="*/ 1474991 h 6557032"/>
              <a:gd name="connsiteX9932" fmla="*/ 3223426 w 4610101"/>
              <a:gd name="connsiteY9932" fmla="*/ 1464058 h 6557032"/>
              <a:gd name="connsiteX9933" fmla="*/ 825445 w 4610101"/>
              <a:gd name="connsiteY9933" fmla="*/ 1464058 h 6557032"/>
              <a:gd name="connsiteX9934" fmla="*/ 827267 w 4610101"/>
              <a:gd name="connsiteY9934" fmla="*/ 1471347 h 6557032"/>
              <a:gd name="connsiteX9935" fmla="*/ 832734 w 4610101"/>
              <a:gd name="connsiteY9935" fmla="*/ 1473169 h 6557032"/>
              <a:gd name="connsiteX9936" fmla="*/ 825445 w 4610101"/>
              <a:gd name="connsiteY9936" fmla="*/ 1464058 h 6557032"/>
              <a:gd name="connsiteX9937" fmla="*/ 816334 w 4610101"/>
              <a:gd name="connsiteY9937" fmla="*/ 1464058 h 6557032"/>
              <a:gd name="connsiteX9938" fmla="*/ 816334 w 4610101"/>
              <a:gd name="connsiteY9938" fmla="*/ 1476813 h 6557032"/>
              <a:gd name="connsiteX9939" fmla="*/ 819979 w 4610101"/>
              <a:gd name="connsiteY9939" fmla="*/ 1478635 h 6557032"/>
              <a:gd name="connsiteX9940" fmla="*/ 816334 w 4610101"/>
              <a:gd name="connsiteY9940" fmla="*/ 1464058 h 6557032"/>
              <a:gd name="connsiteX9941" fmla="*/ 650516 w 4610101"/>
              <a:gd name="connsiteY9941" fmla="*/ 1464058 h 6557032"/>
              <a:gd name="connsiteX9942" fmla="*/ 648694 w 4610101"/>
              <a:gd name="connsiteY9942" fmla="*/ 1465880 h 6557032"/>
              <a:gd name="connsiteX9943" fmla="*/ 646872 w 4610101"/>
              <a:gd name="connsiteY9943" fmla="*/ 1467702 h 6557032"/>
              <a:gd name="connsiteX9944" fmla="*/ 663272 w 4610101"/>
              <a:gd name="connsiteY9944" fmla="*/ 1473169 h 6557032"/>
              <a:gd name="connsiteX9945" fmla="*/ 648694 w 4610101"/>
              <a:gd name="connsiteY9945" fmla="*/ 1465880 h 6557032"/>
              <a:gd name="connsiteX9946" fmla="*/ 654161 w 4610101"/>
              <a:gd name="connsiteY9946" fmla="*/ 1467702 h 6557032"/>
              <a:gd name="connsiteX9947" fmla="*/ 650516 w 4610101"/>
              <a:gd name="connsiteY9947" fmla="*/ 1464058 h 6557032"/>
              <a:gd name="connsiteX9948" fmla="*/ 528431 w 4610101"/>
              <a:gd name="connsiteY9948" fmla="*/ 1464058 h 6557032"/>
              <a:gd name="connsiteX9949" fmla="*/ 533897 w 4610101"/>
              <a:gd name="connsiteY9949" fmla="*/ 1474991 h 6557032"/>
              <a:gd name="connsiteX9950" fmla="*/ 528431 w 4610101"/>
              <a:gd name="connsiteY9950" fmla="*/ 1464058 h 6557032"/>
              <a:gd name="connsiteX9951" fmla="*/ 1182592 w 4610101"/>
              <a:gd name="connsiteY9951" fmla="*/ 1462236 h 6557032"/>
              <a:gd name="connsiteX9952" fmla="*/ 1180769 w 4610101"/>
              <a:gd name="connsiteY9952" fmla="*/ 1464058 h 6557032"/>
              <a:gd name="connsiteX9953" fmla="*/ 1180769 w 4610101"/>
              <a:gd name="connsiteY9953" fmla="*/ 1467702 h 6557032"/>
              <a:gd name="connsiteX9954" fmla="*/ 1182592 w 4610101"/>
              <a:gd name="connsiteY9954" fmla="*/ 1462236 h 6557032"/>
              <a:gd name="connsiteX9955" fmla="*/ 588562 w 4610101"/>
              <a:gd name="connsiteY9955" fmla="*/ 1462236 h 6557032"/>
              <a:gd name="connsiteX9956" fmla="*/ 584919 w 4610101"/>
              <a:gd name="connsiteY9956" fmla="*/ 1467702 h 6557032"/>
              <a:gd name="connsiteX9957" fmla="*/ 588562 w 4610101"/>
              <a:gd name="connsiteY9957" fmla="*/ 1469525 h 6557032"/>
              <a:gd name="connsiteX9958" fmla="*/ 588562 w 4610101"/>
              <a:gd name="connsiteY9958" fmla="*/ 1462236 h 6557032"/>
              <a:gd name="connsiteX9959" fmla="*/ 530253 w 4610101"/>
              <a:gd name="connsiteY9959" fmla="*/ 1462236 h 6557032"/>
              <a:gd name="connsiteX9960" fmla="*/ 532075 w 4610101"/>
              <a:gd name="connsiteY9960" fmla="*/ 1464058 h 6557032"/>
              <a:gd name="connsiteX9961" fmla="*/ 530334 w 4610101"/>
              <a:gd name="connsiteY9961" fmla="*/ 1462681 h 6557032"/>
              <a:gd name="connsiteX9962" fmla="*/ 482876 w 4610101"/>
              <a:gd name="connsiteY9962" fmla="*/ 1462236 h 6557032"/>
              <a:gd name="connsiteX9963" fmla="*/ 482876 w 4610101"/>
              <a:gd name="connsiteY9963" fmla="*/ 1478635 h 6557032"/>
              <a:gd name="connsiteX9964" fmla="*/ 486521 w 4610101"/>
              <a:gd name="connsiteY9964" fmla="*/ 1462236 h 6557032"/>
              <a:gd name="connsiteX9965" fmla="*/ 486521 w 4610101"/>
              <a:gd name="connsiteY9965" fmla="*/ 1465880 h 6557032"/>
              <a:gd name="connsiteX9966" fmla="*/ 482876 w 4610101"/>
              <a:gd name="connsiteY9966" fmla="*/ 1462236 h 6557032"/>
              <a:gd name="connsiteX9967" fmla="*/ 674205 w 4610101"/>
              <a:gd name="connsiteY9967" fmla="*/ 1460414 h 6557032"/>
              <a:gd name="connsiteX9968" fmla="*/ 679671 w 4610101"/>
              <a:gd name="connsiteY9968" fmla="*/ 1462236 h 6557032"/>
              <a:gd name="connsiteX9969" fmla="*/ 674205 w 4610101"/>
              <a:gd name="connsiteY9969" fmla="*/ 1460414 h 6557032"/>
              <a:gd name="connsiteX9970" fmla="*/ 654161 w 4610101"/>
              <a:gd name="connsiteY9970" fmla="*/ 1460414 h 6557032"/>
              <a:gd name="connsiteX9971" fmla="*/ 652339 w 4610101"/>
              <a:gd name="connsiteY9971" fmla="*/ 1462236 h 6557032"/>
              <a:gd name="connsiteX9972" fmla="*/ 661449 w 4610101"/>
              <a:gd name="connsiteY9972" fmla="*/ 1464058 h 6557032"/>
              <a:gd name="connsiteX9973" fmla="*/ 654161 w 4610101"/>
              <a:gd name="connsiteY9973" fmla="*/ 1460414 h 6557032"/>
              <a:gd name="connsiteX9974" fmla="*/ 601318 w 4610101"/>
              <a:gd name="connsiteY9974" fmla="*/ 1460414 h 6557032"/>
              <a:gd name="connsiteX9975" fmla="*/ 601318 w 4610101"/>
              <a:gd name="connsiteY9975" fmla="*/ 1478635 h 6557032"/>
              <a:gd name="connsiteX9976" fmla="*/ 612251 w 4610101"/>
              <a:gd name="connsiteY9976" fmla="*/ 1464058 h 6557032"/>
              <a:gd name="connsiteX9977" fmla="*/ 601318 w 4610101"/>
              <a:gd name="connsiteY9977" fmla="*/ 1460414 h 6557032"/>
              <a:gd name="connsiteX9978" fmla="*/ 668510 w 4610101"/>
              <a:gd name="connsiteY9978" fmla="*/ 1459275 h 6557032"/>
              <a:gd name="connsiteX9979" fmla="*/ 663272 w 4610101"/>
              <a:gd name="connsiteY9979" fmla="*/ 1460414 h 6557032"/>
              <a:gd name="connsiteX9980" fmla="*/ 666916 w 4610101"/>
              <a:gd name="connsiteY9980" fmla="*/ 1462236 h 6557032"/>
              <a:gd name="connsiteX9981" fmla="*/ 668510 w 4610101"/>
              <a:gd name="connsiteY9981" fmla="*/ 1459275 h 6557032"/>
              <a:gd name="connsiteX9982" fmla="*/ 3228893 w 4610101"/>
              <a:gd name="connsiteY9982" fmla="*/ 1458592 h 6557032"/>
              <a:gd name="connsiteX9983" fmla="*/ 3227071 w 4610101"/>
              <a:gd name="connsiteY9983" fmla="*/ 1465880 h 6557032"/>
              <a:gd name="connsiteX9984" fmla="*/ 3234359 w 4610101"/>
              <a:gd name="connsiteY9984" fmla="*/ 1462236 h 6557032"/>
              <a:gd name="connsiteX9985" fmla="*/ 3228893 w 4610101"/>
              <a:gd name="connsiteY9985" fmla="*/ 1458592 h 6557032"/>
              <a:gd name="connsiteX9986" fmla="*/ 457367 w 4610101"/>
              <a:gd name="connsiteY9986" fmla="*/ 1458592 h 6557032"/>
              <a:gd name="connsiteX9987" fmla="*/ 442789 w 4610101"/>
              <a:gd name="connsiteY9987" fmla="*/ 1469525 h 6557032"/>
              <a:gd name="connsiteX9988" fmla="*/ 457367 w 4610101"/>
              <a:gd name="connsiteY9988" fmla="*/ 1458592 h 6557032"/>
              <a:gd name="connsiteX9989" fmla="*/ 1191213 w 4610101"/>
              <a:gd name="connsiteY9989" fmla="*/ 1457917 h 6557032"/>
              <a:gd name="connsiteX9990" fmla="*/ 1186504 w 4610101"/>
              <a:gd name="connsiteY9990" fmla="*/ 1465451 h 6557032"/>
              <a:gd name="connsiteX9991" fmla="*/ 1186187 w 4610101"/>
              <a:gd name="connsiteY9991" fmla="*/ 1465240 h 6557032"/>
              <a:gd name="connsiteX9992" fmla="*/ 1185986 w 4610101"/>
              <a:gd name="connsiteY9992" fmla="*/ 1462637 h 6557032"/>
              <a:gd name="connsiteX9993" fmla="*/ 3261692 w 4610101"/>
              <a:gd name="connsiteY9993" fmla="*/ 1456769 h 6557032"/>
              <a:gd name="connsiteX9994" fmla="*/ 3272625 w 4610101"/>
              <a:gd name="connsiteY9994" fmla="*/ 1474991 h 6557032"/>
              <a:gd name="connsiteX9995" fmla="*/ 3283558 w 4610101"/>
              <a:gd name="connsiteY9995" fmla="*/ 1471347 h 6557032"/>
              <a:gd name="connsiteX9996" fmla="*/ 3272625 w 4610101"/>
              <a:gd name="connsiteY9996" fmla="*/ 1471347 h 6557032"/>
              <a:gd name="connsiteX9997" fmla="*/ 3261692 w 4610101"/>
              <a:gd name="connsiteY9997" fmla="*/ 1456769 h 6557032"/>
              <a:gd name="connsiteX9998" fmla="*/ 470121 w 4610101"/>
              <a:gd name="connsiteY9998" fmla="*/ 1456769 h 6557032"/>
              <a:gd name="connsiteX9999" fmla="*/ 464655 w 4610101"/>
              <a:gd name="connsiteY9999" fmla="*/ 1464058 h 6557032"/>
              <a:gd name="connsiteX10000" fmla="*/ 470121 w 4610101"/>
              <a:gd name="connsiteY10000" fmla="*/ 1456769 h 6557032"/>
              <a:gd name="connsiteX10001" fmla="*/ 3252581 w 4610101"/>
              <a:gd name="connsiteY10001" fmla="*/ 1454947 h 6557032"/>
              <a:gd name="connsiteX10002" fmla="*/ 3247114 w 4610101"/>
              <a:gd name="connsiteY10002" fmla="*/ 1456769 h 6557032"/>
              <a:gd name="connsiteX10003" fmla="*/ 3254403 w 4610101"/>
              <a:gd name="connsiteY10003" fmla="*/ 1473169 h 6557032"/>
              <a:gd name="connsiteX10004" fmla="*/ 3250759 w 4610101"/>
              <a:gd name="connsiteY10004" fmla="*/ 1473169 h 6557032"/>
              <a:gd name="connsiteX10005" fmla="*/ 3258047 w 4610101"/>
              <a:gd name="connsiteY10005" fmla="*/ 1476813 h 6557032"/>
              <a:gd name="connsiteX10006" fmla="*/ 3258047 w 4610101"/>
              <a:gd name="connsiteY10006" fmla="*/ 1467702 h 6557032"/>
              <a:gd name="connsiteX10007" fmla="*/ 3252581 w 4610101"/>
              <a:gd name="connsiteY10007" fmla="*/ 1454947 h 6557032"/>
              <a:gd name="connsiteX10008" fmla="*/ 3241648 w 4610101"/>
              <a:gd name="connsiteY10008" fmla="*/ 1454947 h 6557032"/>
              <a:gd name="connsiteX10009" fmla="*/ 3243470 w 4610101"/>
              <a:gd name="connsiteY10009" fmla="*/ 1467702 h 6557032"/>
              <a:gd name="connsiteX10010" fmla="*/ 3241648 w 4610101"/>
              <a:gd name="connsiteY10010" fmla="*/ 1454947 h 6557032"/>
              <a:gd name="connsiteX10011" fmla="*/ 999946 w 4610101"/>
              <a:gd name="connsiteY10011" fmla="*/ 1454141 h 6557032"/>
              <a:gd name="connsiteX10012" fmla="*/ 1007663 w 4610101"/>
              <a:gd name="connsiteY10012" fmla="*/ 1455917 h 6557032"/>
              <a:gd name="connsiteX10013" fmla="*/ 1007663 w 4610101"/>
              <a:gd name="connsiteY10013" fmla="*/ 1456769 h 6557032"/>
              <a:gd name="connsiteX10014" fmla="*/ 994907 w 4610101"/>
              <a:gd name="connsiteY10014" fmla="*/ 1454947 h 6557032"/>
              <a:gd name="connsiteX10015" fmla="*/ 442789 w 4610101"/>
              <a:gd name="connsiteY10015" fmla="*/ 1453125 h 6557032"/>
              <a:gd name="connsiteX10016" fmla="*/ 439145 w 4610101"/>
              <a:gd name="connsiteY10016" fmla="*/ 1458592 h 6557032"/>
              <a:gd name="connsiteX10017" fmla="*/ 442789 w 4610101"/>
              <a:gd name="connsiteY10017" fmla="*/ 1453125 h 6557032"/>
              <a:gd name="connsiteX10018" fmla="*/ 1537915 w 4610101"/>
              <a:gd name="connsiteY10018" fmla="*/ 1451303 h 6557032"/>
              <a:gd name="connsiteX10019" fmla="*/ 1521516 w 4610101"/>
              <a:gd name="connsiteY10019" fmla="*/ 1453125 h 6557032"/>
              <a:gd name="connsiteX10020" fmla="*/ 1536093 w 4610101"/>
              <a:gd name="connsiteY10020" fmla="*/ 1467702 h 6557032"/>
              <a:gd name="connsiteX10021" fmla="*/ 779892 w 4610101"/>
              <a:gd name="connsiteY10021" fmla="*/ 1451303 h 6557032"/>
              <a:gd name="connsiteX10022" fmla="*/ 768959 w 4610101"/>
              <a:gd name="connsiteY10022" fmla="*/ 1473169 h 6557032"/>
              <a:gd name="connsiteX10023" fmla="*/ 763491 w 4610101"/>
              <a:gd name="connsiteY10023" fmla="*/ 1471347 h 6557032"/>
              <a:gd name="connsiteX10024" fmla="*/ 763491 w 4610101"/>
              <a:gd name="connsiteY10024" fmla="*/ 1495035 h 6557032"/>
              <a:gd name="connsiteX10025" fmla="*/ 763491 w 4610101"/>
              <a:gd name="connsiteY10025" fmla="*/ 1491391 h 6557032"/>
              <a:gd name="connsiteX10026" fmla="*/ 794468 w 4610101"/>
              <a:gd name="connsiteY10026" fmla="*/ 1496857 h 6557032"/>
              <a:gd name="connsiteX10027" fmla="*/ 779892 w 4610101"/>
              <a:gd name="connsiteY10027" fmla="*/ 1451303 h 6557032"/>
              <a:gd name="connsiteX10028" fmla="*/ 747092 w 4610101"/>
              <a:gd name="connsiteY10028" fmla="*/ 1451303 h 6557032"/>
              <a:gd name="connsiteX10029" fmla="*/ 748914 w 4610101"/>
              <a:gd name="connsiteY10029" fmla="*/ 1473169 h 6557032"/>
              <a:gd name="connsiteX10030" fmla="*/ 754380 w 4610101"/>
              <a:gd name="connsiteY10030" fmla="*/ 1458592 h 6557032"/>
              <a:gd name="connsiteX10031" fmla="*/ 747092 w 4610101"/>
              <a:gd name="connsiteY10031" fmla="*/ 1451303 h 6557032"/>
              <a:gd name="connsiteX10032" fmla="*/ 677849 w 4610101"/>
              <a:gd name="connsiteY10032" fmla="*/ 1451303 h 6557032"/>
              <a:gd name="connsiteX10033" fmla="*/ 674205 w 4610101"/>
              <a:gd name="connsiteY10033" fmla="*/ 1456769 h 6557032"/>
              <a:gd name="connsiteX10034" fmla="*/ 681493 w 4610101"/>
              <a:gd name="connsiteY10034" fmla="*/ 1458592 h 6557032"/>
              <a:gd name="connsiteX10035" fmla="*/ 677849 w 4610101"/>
              <a:gd name="connsiteY10035" fmla="*/ 1451303 h 6557032"/>
              <a:gd name="connsiteX10036" fmla="*/ 949036 w 4610101"/>
              <a:gd name="connsiteY10036" fmla="*/ 1450273 h 6557032"/>
              <a:gd name="connsiteX10037" fmla="*/ 954188 w 4610101"/>
              <a:gd name="connsiteY10037" fmla="*/ 1452205 h 6557032"/>
              <a:gd name="connsiteX10038" fmla="*/ 940148 w 4610101"/>
              <a:gd name="connsiteY10038" fmla="*/ 1458757 h 6557032"/>
              <a:gd name="connsiteX10039" fmla="*/ 919287 w 4610101"/>
              <a:gd name="connsiteY10039" fmla="*/ 1465880 h 6557032"/>
              <a:gd name="connsiteX10040" fmla="*/ 884372 w 4610101"/>
              <a:gd name="connsiteY10040" fmla="*/ 1477802 h 6557032"/>
              <a:gd name="connsiteX10041" fmla="*/ 892866 w 4610101"/>
              <a:gd name="connsiteY10041" fmla="*/ 1473169 h 6557032"/>
              <a:gd name="connsiteX10042" fmla="*/ 909265 w 4610101"/>
              <a:gd name="connsiteY10042" fmla="*/ 1467702 h 6557032"/>
              <a:gd name="connsiteX10043" fmla="*/ 901976 w 4610101"/>
              <a:gd name="connsiteY10043" fmla="*/ 1467702 h 6557032"/>
              <a:gd name="connsiteX10044" fmla="*/ 1168014 w 4610101"/>
              <a:gd name="connsiteY10044" fmla="*/ 1449481 h 6557032"/>
              <a:gd name="connsiteX10045" fmla="*/ 1168014 w 4610101"/>
              <a:gd name="connsiteY10045" fmla="*/ 1453125 h 6557032"/>
              <a:gd name="connsiteX10046" fmla="*/ 1175303 w 4610101"/>
              <a:gd name="connsiteY10046" fmla="*/ 1465880 h 6557032"/>
              <a:gd name="connsiteX10047" fmla="*/ 1168014 w 4610101"/>
              <a:gd name="connsiteY10047" fmla="*/ 1449481 h 6557032"/>
              <a:gd name="connsiteX10048" fmla="*/ 858244 w 4610101"/>
              <a:gd name="connsiteY10048" fmla="*/ 1449481 h 6557032"/>
              <a:gd name="connsiteX10049" fmla="*/ 876466 w 4610101"/>
              <a:gd name="connsiteY10049" fmla="*/ 1467702 h 6557032"/>
              <a:gd name="connsiteX10050" fmla="*/ 866314 w 4610101"/>
              <a:gd name="connsiteY10050" fmla="*/ 1461523 h 6557032"/>
              <a:gd name="connsiteX10051" fmla="*/ 865909 w 4610101"/>
              <a:gd name="connsiteY10051" fmla="*/ 1461204 h 6557032"/>
              <a:gd name="connsiteX10052" fmla="*/ 457367 w 4610101"/>
              <a:gd name="connsiteY10052" fmla="*/ 1449481 h 6557032"/>
              <a:gd name="connsiteX10053" fmla="*/ 446433 w 4610101"/>
              <a:gd name="connsiteY10053" fmla="*/ 1456769 h 6557032"/>
              <a:gd name="connsiteX10054" fmla="*/ 457367 w 4610101"/>
              <a:gd name="connsiteY10054" fmla="*/ 1449481 h 6557032"/>
              <a:gd name="connsiteX10055" fmla="*/ 3495477 w 4610101"/>
              <a:gd name="connsiteY10055" fmla="*/ 1447887 h 6557032"/>
              <a:gd name="connsiteX10056" fmla="*/ 3494930 w 4610101"/>
              <a:gd name="connsiteY10056" fmla="*/ 1451303 h 6557032"/>
              <a:gd name="connsiteX10057" fmla="*/ 3492225 w 4610101"/>
              <a:gd name="connsiteY10057" fmla="*/ 1449371 h 6557032"/>
              <a:gd name="connsiteX10058" fmla="*/ 794468 w 4610101"/>
              <a:gd name="connsiteY10058" fmla="*/ 1447658 h 6557032"/>
              <a:gd name="connsiteX10059" fmla="*/ 785357 w 4610101"/>
              <a:gd name="connsiteY10059" fmla="*/ 1467702 h 6557032"/>
              <a:gd name="connsiteX10060" fmla="*/ 805401 w 4610101"/>
              <a:gd name="connsiteY10060" fmla="*/ 1495035 h 6557032"/>
              <a:gd name="connsiteX10061" fmla="*/ 807223 w 4610101"/>
              <a:gd name="connsiteY10061" fmla="*/ 1473169 h 6557032"/>
              <a:gd name="connsiteX10062" fmla="*/ 814512 w 4610101"/>
              <a:gd name="connsiteY10062" fmla="*/ 1478635 h 6557032"/>
              <a:gd name="connsiteX10063" fmla="*/ 794468 w 4610101"/>
              <a:gd name="connsiteY10063" fmla="*/ 1447658 h 6557032"/>
              <a:gd name="connsiteX10064" fmla="*/ 661449 w 4610101"/>
              <a:gd name="connsiteY10064" fmla="*/ 1447658 h 6557032"/>
              <a:gd name="connsiteX10065" fmla="*/ 654161 w 4610101"/>
              <a:gd name="connsiteY10065" fmla="*/ 1454947 h 6557032"/>
              <a:gd name="connsiteX10066" fmla="*/ 663272 w 4610101"/>
              <a:gd name="connsiteY10066" fmla="*/ 1451303 h 6557032"/>
              <a:gd name="connsiteX10067" fmla="*/ 661449 w 4610101"/>
              <a:gd name="connsiteY10067" fmla="*/ 1447658 h 6557032"/>
              <a:gd name="connsiteX10068" fmla="*/ 643228 w 4610101"/>
              <a:gd name="connsiteY10068" fmla="*/ 1447658 h 6557032"/>
              <a:gd name="connsiteX10069" fmla="*/ 645050 w 4610101"/>
              <a:gd name="connsiteY10069" fmla="*/ 1467702 h 6557032"/>
              <a:gd name="connsiteX10070" fmla="*/ 648694 w 4610101"/>
              <a:gd name="connsiteY10070" fmla="*/ 1462236 h 6557032"/>
              <a:gd name="connsiteX10071" fmla="*/ 641407 w 4610101"/>
              <a:gd name="connsiteY10071" fmla="*/ 1458592 h 6557032"/>
              <a:gd name="connsiteX10072" fmla="*/ 646872 w 4610101"/>
              <a:gd name="connsiteY10072" fmla="*/ 1449481 h 6557032"/>
              <a:gd name="connsiteX10073" fmla="*/ 643228 w 4610101"/>
              <a:gd name="connsiteY10073" fmla="*/ 1447658 h 6557032"/>
              <a:gd name="connsiteX10074" fmla="*/ 570341 w 4610101"/>
              <a:gd name="connsiteY10074" fmla="*/ 1447658 h 6557032"/>
              <a:gd name="connsiteX10075" fmla="*/ 570341 w 4610101"/>
              <a:gd name="connsiteY10075" fmla="*/ 1454947 h 6557032"/>
              <a:gd name="connsiteX10076" fmla="*/ 570341 w 4610101"/>
              <a:gd name="connsiteY10076" fmla="*/ 1447658 h 6557032"/>
              <a:gd name="connsiteX10077" fmla="*/ 513853 w 4610101"/>
              <a:gd name="connsiteY10077" fmla="*/ 1447658 h 6557032"/>
              <a:gd name="connsiteX10078" fmla="*/ 515676 w 4610101"/>
              <a:gd name="connsiteY10078" fmla="*/ 1473169 h 6557032"/>
              <a:gd name="connsiteX10079" fmla="*/ 528431 w 4610101"/>
              <a:gd name="connsiteY10079" fmla="*/ 1474991 h 6557032"/>
              <a:gd name="connsiteX10080" fmla="*/ 513853 w 4610101"/>
              <a:gd name="connsiteY10080" fmla="*/ 1447658 h 6557032"/>
              <a:gd name="connsiteX10081" fmla="*/ 477410 w 4610101"/>
              <a:gd name="connsiteY10081" fmla="*/ 1447658 h 6557032"/>
              <a:gd name="connsiteX10082" fmla="*/ 473766 w 4610101"/>
              <a:gd name="connsiteY10082" fmla="*/ 1458592 h 6557032"/>
              <a:gd name="connsiteX10083" fmla="*/ 479232 w 4610101"/>
              <a:gd name="connsiteY10083" fmla="*/ 1454947 h 6557032"/>
              <a:gd name="connsiteX10084" fmla="*/ 477410 w 4610101"/>
              <a:gd name="connsiteY10084" fmla="*/ 1447658 h 6557032"/>
              <a:gd name="connsiteX10085" fmla="*/ 439145 w 4610101"/>
              <a:gd name="connsiteY10085" fmla="*/ 1447658 h 6557032"/>
              <a:gd name="connsiteX10086" fmla="*/ 413634 w 4610101"/>
              <a:gd name="connsiteY10086" fmla="*/ 1456769 h 6557032"/>
              <a:gd name="connsiteX10087" fmla="*/ 404523 w 4610101"/>
              <a:gd name="connsiteY10087" fmla="*/ 1454947 h 6557032"/>
              <a:gd name="connsiteX10088" fmla="*/ 411812 w 4610101"/>
              <a:gd name="connsiteY10088" fmla="*/ 1464058 h 6557032"/>
              <a:gd name="connsiteX10089" fmla="*/ 424567 w 4610101"/>
              <a:gd name="connsiteY10089" fmla="*/ 1454947 h 6557032"/>
              <a:gd name="connsiteX10090" fmla="*/ 426389 w 4610101"/>
              <a:gd name="connsiteY10090" fmla="*/ 1460414 h 6557032"/>
              <a:gd name="connsiteX10091" fmla="*/ 439145 w 4610101"/>
              <a:gd name="connsiteY10091" fmla="*/ 1447658 h 6557032"/>
              <a:gd name="connsiteX10092" fmla="*/ 1146148 w 4610101"/>
              <a:gd name="connsiteY10092" fmla="*/ 1445836 h 6557032"/>
              <a:gd name="connsiteX10093" fmla="*/ 1144326 w 4610101"/>
              <a:gd name="connsiteY10093" fmla="*/ 1447658 h 6557032"/>
              <a:gd name="connsiteX10094" fmla="*/ 1149792 w 4610101"/>
              <a:gd name="connsiteY10094" fmla="*/ 1451303 h 6557032"/>
              <a:gd name="connsiteX10095" fmla="*/ 1146148 w 4610101"/>
              <a:gd name="connsiteY10095" fmla="*/ 1445836 h 6557032"/>
              <a:gd name="connsiteX10096" fmla="*/ 985796 w 4610101"/>
              <a:gd name="connsiteY10096" fmla="*/ 1445836 h 6557032"/>
              <a:gd name="connsiteX10097" fmla="*/ 986629 w 4610101"/>
              <a:gd name="connsiteY10097" fmla="*/ 1445966 h 6557032"/>
              <a:gd name="connsiteX10098" fmla="*/ 987470 w 4610101"/>
              <a:gd name="connsiteY10098" fmla="*/ 1447018 h 6557032"/>
              <a:gd name="connsiteX10099" fmla="*/ 594030 w 4610101"/>
              <a:gd name="connsiteY10099" fmla="*/ 1445836 h 6557032"/>
              <a:gd name="connsiteX10100" fmla="*/ 590385 w 4610101"/>
              <a:gd name="connsiteY10100" fmla="*/ 1451303 h 6557032"/>
              <a:gd name="connsiteX10101" fmla="*/ 594030 w 4610101"/>
              <a:gd name="connsiteY10101" fmla="*/ 1445836 h 6557032"/>
              <a:gd name="connsiteX10102" fmla="*/ 573985 w 4610101"/>
              <a:gd name="connsiteY10102" fmla="*/ 1445836 h 6557032"/>
              <a:gd name="connsiteX10103" fmla="*/ 574835 w 4610101"/>
              <a:gd name="connsiteY10103" fmla="*/ 1446686 h 6557032"/>
              <a:gd name="connsiteX10104" fmla="*/ 573985 w 4610101"/>
              <a:gd name="connsiteY10104" fmla="*/ 1446181 h 6557032"/>
              <a:gd name="connsiteX10105" fmla="*/ 561230 w 4610101"/>
              <a:gd name="connsiteY10105" fmla="*/ 1445836 h 6557032"/>
              <a:gd name="connsiteX10106" fmla="*/ 546653 w 4610101"/>
              <a:gd name="connsiteY10106" fmla="*/ 1465880 h 6557032"/>
              <a:gd name="connsiteX10107" fmla="*/ 555763 w 4610101"/>
              <a:gd name="connsiteY10107" fmla="*/ 1469525 h 6557032"/>
              <a:gd name="connsiteX10108" fmla="*/ 568519 w 4610101"/>
              <a:gd name="connsiteY10108" fmla="*/ 1454947 h 6557032"/>
              <a:gd name="connsiteX10109" fmla="*/ 561230 w 4610101"/>
              <a:gd name="connsiteY10109" fmla="*/ 1445836 h 6557032"/>
              <a:gd name="connsiteX10110" fmla="*/ 459871 w 4610101"/>
              <a:gd name="connsiteY10110" fmla="*/ 1445153 h 6557032"/>
              <a:gd name="connsiteX10111" fmla="*/ 457367 w 4610101"/>
              <a:gd name="connsiteY10111" fmla="*/ 1445836 h 6557032"/>
              <a:gd name="connsiteX10112" fmla="*/ 461010 w 4610101"/>
              <a:gd name="connsiteY10112" fmla="*/ 1445836 h 6557032"/>
              <a:gd name="connsiteX10113" fmla="*/ 459871 w 4610101"/>
              <a:gd name="connsiteY10113" fmla="*/ 1445153 h 6557032"/>
              <a:gd name="connsiteX10114" fmla="*/ 3412932 w 4610101"/>
              <a:gd name="connsiteY10114" fmla="*/ 1444014 h 6557032"/>
              <a:gd name="connsiteX10115" fmla="*/ 3401999 w 4610101"/>
              <a:gd name="connsiteY10115" fmla="*/ 1447658 h 6557032"/>
              <a:gd name="connsiteX10116" fmla="*/ 3401999 w 4610101"/>
              <a:gd name="connsiteY10116" fmla="*/ 1458592 h 6557032"/>
              <a:gd name="connsiteX10117" fmla="*/ 3412932 w 4610101"/>
              <a:gd name="connsiteY10117" fmla="*/ 1444014 h 6557032"/>
              <a:gd name="connsiteX10118" fmla="*/ 3340045 w 4610101"/>
              <a:gd name="connsiteY10118" fmla="*/ 1444014 h 6557032"/>
              <a:gd name="connsiteX10119" fmla="*/ 3332756 w 4610101"/>
              <a:gd name="connsiteY10119" fmla="*/ 1445836 h 6557032"/>
              <a:gd name="connsiteX10120" fmla="*/ 3341867 w 4610101"/>
              <a:gd name="connsiteY10120" fmla="*/ 1456769 h 6557032"/>
              <a:gd name="connsiteX10121" fmla="*/ 3340045 w 4610101"/>
              <a:gd name="connsiteY10121" fmla="*/ 1444014 h 6557032"/>
              <a:gd name="connsiteX10122" fmla="*/ 1147970 w 4610101"/>
              <a:gd name="connsiteY10122" fmla="*/ 1444014 h 6557032"/>
              <a:gd name="connsiteX10123" fmla="*/ 1155259 w 4610101"/>
              <a:gd name="connsiteY10123" fmla="*/ 1460414 h 6557032"/>
              <a:gd name="connsiteX10124" fmla="*/ 1151614 w 4610101"/>
              <a:gd name="connsiteY10124" fmla="*/ 1444014 h 6557032"/>
              <a:gd name="connsiteX10125" fmla="*/ 1147970 w 4610101"/>
              <a:gd name="connsiteY10125" fmla="*/ 1444014 h 6557032"/>
              <a:gd name="connsiteX10126" fmla="*/ 785357 w 4610101"/>
              <a:gd name="connsiteY10126" fmla="*/ 1444014 h 6557032"/>
              <a:gd name="connsiteX10127" fmla="*/ 783535 w 4610101"/>
              <a:gd name="connsiteY10127" fmla="*/ 1445836 h 6557032"/>
              <a:gd name="connsiteX10128" fmla="*/ 781485 w 4610101"/>
              <a:gd name="connsiteY10128" fmla="*/ 1451075 h 6557032"/>
              <a:gd name="connsiteX10129" fmla="*/ 783535 w 4610101"/>
              <a:gd name="connsiteY10129" fmla="*/ 1460414 h 6557032"/>
              <a:gd name="connsiteX10130" fmla="*/ 785357 w 4610101"/>
              <a:gd name="connsiteY10130" fmla="*/ 1444014 h 6557032"/>
              <a:gd name="connsiteX10131" fmla="*/ 741626 w 4610101"/>
              <a:gd name="connsiteY10131" fmla="*/ 1444014 h 6557032"/>
              <a:gd name="connsiteX10132" fmla="*/ 716115 w 4610101"/>
              <a:gd name="connsiteY10132" fmla="*/ 1454947 h 6557032"/>
              <a:gd name="connsiteX10133" fmla="*/ 701537 w 4610101"/>
              <a:gd name="connsiteY10133" fmla="*/ 1476813 h 6557032"/>
              <a:gd name="connsiteX10134" fmla="*/ 702805 w 4610101"/>
              <a:gd name="connsiteY10134" fmla="*/ 1478240 h 6557032"/>
              <a:gd name="connsiteX10135" fmla="*/ 700627 w 4610101"/>
              <a:gd name="connsiteY10135" fmla="*/ 1479547 h 6557032"/>
              <a:gd name="connsiteX10136" fmla="*/ 696071 w 4610101"/>
              <a:gd name="connsiteY10136" fmla="*/ 1482280 h 6557032"/>
              <a:gd name="connsiteX10137" fmla="*/ 721581 w 4610101"/>
              <a:gd name="connsiteY10137" fmla="*/ 1495035 h 6557032"/>
              <a:gd name="connsiteX10138" fmla="*/ 719759 w 4610101"/>
              <a:gd name="connsiteY10138" fmla="*/ 1493213 h 6557032"/>
              <a:gd name="connsiteX10139" fmla="*/ 734336 w 4610101"/>
              <a:gd name="connsiteY10139" fmla="*/ 1485924 h 6557032"/>
              <a:gd name="connsiteX10140" fmla="*/ 730692 w 4610101"/>
              <a:gd name="connsiteY10140" fmla="*/ 1482280 h 6557032"/>
              <a:gd name="connsiteX10141" fmla="*/ 732515 w 4610101"/>
              <a:gd name="connsiteY10141" fmla="*/ 1480458 h 6557032"/>
              <a:gd name="connsiteX10142" fmla="*/ 721581 w 4610101"/>
              <a:gd name="connsiteY10142" fmla="*/ 1473169 h 6557032"/>
              <a:gd name="connsiteX10143" fmla="*/ 739803 w 4610101"/>
              <a:gd name="connsiteY10143" fmla="*/ 1476813 h 6557032"/>
              <a:gd name="connsiteX10144" fmla="*/ 736159 w 4610101"/>
              <a:gd name="connsiteY10144" fmla="*/ 1473169 h 6557032"/>
              <a:gd name="connsiteX10145" fmla="*/ 741626 w 4610101"/>
              <a:gd name="connsiteY10145" fmla="*/ 1444014 h 6557032"/>
              <a:gd name="connsiteX10146" fmla="*/ 708826 w 4610101"/>
              <a:gd name="connsiteY10146" fmla="*/ 1444014 h 6557032"/>
              <a:gd name="connsiteX10147" fmla="*/ 696071 w 4610101"/>
              <a:gd name="connsiteY10147" fmla="*/ 1449481 h 6557032"/>
              <a:gd name="connsiteX10148" fmla="*/ 699715 w 4610101"/>
              <a:gd name="connsiteY10148" fmla="*/ 1451303 h 6557032"/>
              <a:gd name="connsiteX10149" fmla="*/ 696071 w 4610101"/>
              <a:gd name="connsiteY10149" fmla="*/ 1456769 h 6557032"/>
              <a:gd name="connsiteX10150" fmla="*/ 714293 w 4610101"/>
              <a:gd name="connsiteY10150" fmla="*/ 1444014 h 6557032"/>
              <a:gd name="connsiteX10151" fmla="*/ 703359 w 4610101"/>
              <a:gd name="connsiteY10151" fmla="*/ 1447658 h 6557032"/>
              <a:gd name="connsiteX10152" fmla="*/ 708826 w 4610101"/>
              <a:gd name="connsiteY10152" fmla="*/ 1444014 h 6557032"/>
              <a:gd name="connsiteX10153" fmla="*/ 657805 w 4610101"/>
              <a:gd name="connsiteY10153" fmla="*/ 1444014 h 6557032"/>
              <a:gd name="connsiteX10154" fmla="*/ 655983 w 4610101"/>
              <a:gd name="connsiteY10154" fmla="*/ 1449481 h 6557032"/>
              <a:gd name="connsiteX10155" fmla="*/ 657805 w 4610101"/>
              <a:gd name="connsiteY10155" fmla="*/ 1444014 h 6557032"/>
              <a:gd name="connsiteX10156" fmla="*/ 635939 w 4610101"/>
              <a:gd name="connsiteY10156" fmla="*/ 1444014 h 6557032"/>
              <a:gd name="connsiteX10157" fmla="*/ 637761 w 4610101"/>
              <a:gd name="connsiteY10157" fmla="*/ 1451303 h 6557032"/>
              <a:gd name="connsiteX10158" fmla="*/ 641407 w 4610101"/>
              <a:gd name="connsiteY10158" fmla="*/ 1445836 h 6557032"/>
              <a:gd name="connsiteX10159" fmla="*/ 635939 w 4610101"/>
              <a:gd name="connsiteY10159" fmla="*/ 1444014 h 6557032"/>
              <a:gd name="connsiteX10160" fmla="*/ 564874 w 4610101"/>
              <a:gd name="connsiteY10160" fmla="*/ 1444014 h 6557032"/>
              <a:gd name="connsiteX10161" fmla="*/ 568519 w 4610101"/>
              <a:gd name="connsiteY10161" fmla="*/ 1447658 h 6557032"/>
              <a:gd name="connsiteX10162" fmla="*/ 564874 w 4610101"/>
              <a:gd name="connsiteY10162" fmla="*/ 1444014 h 6557032"/>
              <a:gd name="connsiteX10163" fmla="*/ 471943 w 4610101"/>
              <a:gd name="connsiteY10163" fmla="*/ 1444014 h 6557032"/>
              <a:gd name="connsiteX10164" fmla="*/ 461010 w 4610101"/>
              <a:gd name="connsiteY10164" fmla="*/ 1464058 h 6557032"/>
              <a:gd name="connsiteX10165" fmla="*/ 471943 w 4610101"/>
              <a:gd name="connsiteY10165" fmla="*/ 1444014 h 6557032"/>
              <a:gd name="connsiteX10166" fmla="*/ 424981 w 4610101"/>
              <a:gd name="connsiteY10166" fmla="*/ 1443062 h 6557032"/>
              <a:gd name="connsiteX10167" fmla="*/ 425256 w 4610101"/>
              <a:gd name="connsiteY10167" fmla="*/ 1443247 h 6557032"/>
              <a:gd name="connsiteX10168" fmla="*/ 425022 w 4610101"/>
              <a:gd name="connsiteY10168" fmla="*/ 1443331 h 6557032"/>
              <a:gd name="connsiteX10169" fmla="*/ 750281 w 4610101"/>
              <a:gd name="connsiteY10169" fmla="*/ 1442875 h 6557032"/>
              <a:gd name="connsiteX10170" fmla="*/ 747092 w 4610101"/>
              <a:gd name="connsiteY10170" fmla="*/ 1445836 h 6557032"/>
              <a:gd name="connsiteX10171" fmla="*/ 756203 w 4610101"/>
              <a:gd name="connsiteY10171" fmla="*/ 1453125 h 6557032"/>
              <a:gd name="connsiteX10172" fmla="*/ 756203 w 4610101"/>
              <a:gd name="connsiteY10172" fmla="*/ 1444014 h 6557032"/>
              <a:gd name="connsiteX10173" fmla="*/ 750281 w 4610101"/>
              <a:gd name="connsiteY10173" fmla="*/ 1442875 h 6557032"/>
              <a:gd name="connsiteX10174" fmla="*/ 1184414 w 4610101"/>
              <a:gd name="connsiteY10174" fmla="*/ 1442192 h 6557032"/>
              <a:gd name="connsiteX10175" fmla="*/ 1185986 w 4610101"/>
              <a:gd name="connsiteY10175" fmla="*/ 1462637 h 6557032"/>
              <a:gd name="connsiteX10176" fmla="*/ 1184414 w 4610101"/>
              <a:gd name="connsiteY10176" fmla="*/ 1464058 h 6557032"/>
              <a:gd name="connsiteX10177" fmla="*/ 1186187 w 4610101"/>
              <a:gd name="connsiteY10177" fmla="*/ 1465240 h 6557032"/>
              <a:gd name="connsiteX10178" fmla="*/ 1186236 w 4610101"/>
              <a:gd name="connsiteY10178" fmla="*/ 1465880 h 6557032"/>
              <a:gd name="connsiteX10179" fmla="*/ 1186504 w 4610101"/>
              <a:gd name="connsiteY10179" fmla="*/ 1465451 h 6557032"/>
              <a:gd name="connsiteX10180" fmla="*/ 1189880 w 4610101"/>
              <a:gd name="connsiteY10180" fmla="*/ 1467702 h 6557032"/>
              <a:gd name="connsiteX10181" fmla="*/ 1189880 w 4610101"/>
              <a:gd name="connsiteY10181" fmla="*/ 1474991 h 6557032"/>
              <a:gd name="connsiteX10182" fmla="*/ 1193525 w 4610101"/>
              <a:gd name="connsiteY10182" fmla="*/ 1476813 h 6557032"/>
              <a:gd name="connsiteX10183" fmla="*/ 1191703 w 4610101"/>
              <a:gd name="connsiteY10183" fmla="*/ 1478635 h 6557032"/>
              <a:gd name="connsiteX10184" fmla="*/ 1197169 w 4610101"/>
              <a:gd name="connsiteY10184" fmla="*/ 1491391 h 6557032"/>
              <a:gd name="connsiteX10185" fmla="*/ 1206279 w 4610101"/>
              <a:gd name="connsiteY10185" fmla="*/ 1485924 h 6557032"/>
              <a:gd name="connsiteX10186" fmla="*/ 1193525 w 4610101"/>
              <a:gd name="connsiteY10186" fmla="*/ 1476813 h 6557032"/>
              <a:gd name="connsiteX10187" fmla="*/ 1196837 w 4610101"/>
              <a:gd name="connsiteY10187" fmla="*/ 1476813 h 6557032"/>
              <a:gd name="connsiteX10188" fmla="*/ 1198080 w 4610101"/>
              <a:gd name="connsiteY10188" fmla="*/ 1477497 h 6557032"/>
              <a:gd name="connsiteX10189" fmla="*/ 1202636 w 4610101"/>
              <a:gd name="connsiteY10189" fmla="*/ 1478635 h 6557032"/>
              <a:gd name="connsiteX10190" fmla="*/ 1202636 w 4610101"/>
              <a:gd name="connsiteY10190" fmla="*/ 1473169 h 6557032"/>
              <a:gd name="connsiteX10191" fmla="*/ 1206279 w 4610101"/>
              <a:gd name="connsiteY10191" fmla="*/ 1484102 h 6557032"/>
              <a:gd name="connsiteX10192" fmla="*/ 1206279 w 4610101"/>
              <a:gd name="connsiteY10192" fmla="*/ 1467702 h 6557032"/>
              <a:gd name="connsiteX10193" fmla="*/ 1211747 w 4610101"/>
              <a:gd name="connsiteY10193" fmla="*/ 1464058 h 6557032"/>
              <a:gd name="connsiteX10194" fmla="*/ 1204457 w 4610101"/>
              <a:gd name="connsiteY10194" fmla="*/ 1456769 h 6557032"/>
              <a:gd name="connsiteX10195" fmla="*/ 1204457 w 4610101"/>
              <a:gd name="connsiteY10195" fmla="*/ 1464058 h 6557032"/>
              <a:gd name="connsiteX10196" fmla="*/ 1202636 w 4610101"/>
              <a:gd name="connsiteY10196" fmla="*/ 1456769 h 6557032"/>
              <a:gd name="connsiteX10197" fmla="*/ 1197169 w 4610101"/>
              <a:gd name="connsiteY10197" fmla="*/ 1451303 h 6557032"/>
              <a:gd name="connsiteX10198" fmla="*/ 1191475 w 4610101"/>
              <a:gd name="connsiteY10198" fmla="*/ 1457680 h 6557032"/>
              <a:gd name="connsiteX10199" fmla="*/ 1191213 w 4610101"/>
              <a:gd name="connsiteY10199" fmla="*/ 1457917 h 6557032"/>
              <a:gd name="connsiteX10200" fmla="*/ 1195346 w 4610101"/>
              <a:gd name="connsiteY10200" fmla="*/ 1451303 h 6557032"/>
              <a:gd name="connsiteX10201" fmla="*/ 1184414 w 4610101"/>
              <a:gd name="connsiteY10201" fmla="*/ 1442192 h 6557032"/>
              <a:gd name="connsiteX10202" fmla="*/ 730692 w 4610101"/>
              <a:gd name="connsiteY10202" fmla="*/ 1442192 h 6557032"/>
              <a:gd name="connsiteX10203" fmla="*/ 719759 w 4610101"/>
              <a:gd name="connsiteY10203" fmla="*/ 1451303 h 6557032"/>
              <a:gd name="connsiteX10204" fmla="*/ 737981 w 4610101"/>
              <a:gd name="connsiteY10204" fmla="*/ 1444014 h 6557032"/>
              <a:gd name="connsiteX10205" fmla="*/ 732515 w 4610101"/>
              <a:gd name="connsiteY10205" fmla="*/ 1444014 h 6557032"/>
              <a:gd name="connsiteX10206" fmla="*/ 732515 w 4610101"/>
              <a:gd name="connsiteY10206" fmla="*/ 1447658 h 6557032"/>
              <a:gd name="connsiteX10207" fmla="*/ 730692 w 4610101"/>
              <a:gd name="connsiteY10207" fmla="*/ 1442192 h 6557032"/>
              <a:gd name="connsiteX10208" fmla="*/ 632296 w 4610101"/>
              <a:gd name="connsiteY10208" fmla="*/ 1442192 h 6557032"/>
              <a:gd name="connsiteX10209" fmla="*/ 625006 w 4610101"/>
              <a:gd name="connsiteY10209" fmla="*/ 1458592 h 6557032"/>
              <a:gd name="connsiteX10210" fmla="*/ 630472 w 4610101"/>
              <a:gd name="connsiteY10210" fmla="*/ 1460414 h 6557032"/>
              <a:gd name="connsiteX10211" fmla="*/ 632296 w 4610101"/>
              <a:gd name="connsiteY10211" fmla="*/ 1442192 h 6557032"/>
              <a:gd name="connsiteX10212" fmla="*/ 1166192 w 4610101"/>
              <a:gd name="connsiteY10212" fmla="*/ 1440370 h 6557032"/>
              <a:gd name="connsiteX10213" fmla="*/ 1168014 w 4610101"/>
              <a:gd name="connsiteY10213" fmla="*/ 1445836 h 6557032"/>
              <a:gd name="connsiteX10214" fmla="*/ 1169836 w 4610101"/>
              <a:gd name="connsiteY10214" fmla="*/ 1442192 h 6557032"/>
              <a:gd name="connsiteX10215" fmla="*/ 1178947 w 4610101"/>
              <a:gd name="connsiteY10215" fmla="*/ 1462236 h 6557032"/>
              <a:gd name="connsiteX10216" fmla="*/ 1182592 w 4610101"/>
              <a:gd name="connsiteY10216" fmla="*/ 1460414 h 6557032"/>
              <a:gd name="connsiteX10217" fmla="*/ 1171658 w 4610101"/>
              <a:gd name="connsiteY10217" fmla="*/ 1440370 h 6557032"/>
              <a:gd name="connsiteX10218" fmla="*/ 1166192 w 4610101"/>
              <a:gd name="connsiteY10218" fmla="*/ 1440370 h 6557032"/>
              <a:gd name="connsiteX10219" fmla="*/ 672383 w 4610101"/>
              <a:gd name="connsiteY10219" fmla="*/ 1440370 h 6557032"/>
              <a:gd name="connsiteX10220" fmla="*/ 672383 w 4610101"/>
              <a:gd name="connsiteY10220" fmla="*/ 1444014 h 6557032"/>
              <a:gd name="connsiteX10221" fmla="*/ 672383 w 4610101"/>
              <a:gd name="connsiteY10221" fmla="*/ 1447658 h 6557032"/>
              <a:gd name="connsiteX10222" fmla="*/ 674205 w 4610101"/>
              <a:gd name="connsiteY10222" fmla="*/ 1449481 h 6557032"/>
              <a:gd name="connsiteX10223" fmla="*/ 672383 w 4610101"/>
              <a:gd name="connsiteY10223" fmla="*/ 1445836 h 6557032"/>
              <a:gd name="connsiteX10224" fmla="*/ 674205 w 4610101"/>
              <a:gd name="connsiteY10224" fmla="*/ 1445836 h 6557032"/>
              <a:gd name="connsiteX10225" fmla="*/ 672383 w 4610101"/>
              <a:gd name="connsiteY10225" fmla="*/ 1440370 h 6557032"/>
              <a:gd name="connsiteX10226" fmla="*/ 652339 w 4610101"/>
              <a:gd name="connsiteY10226" fmla="*/ 1440370 h 6557032"/>
              <a:gd name="connsiteX10227" fmla="*/ 650516 w 4610101"/>
              <a:gd name="connsiteY10227" fmla="*/ 1453125 h 6557032"/>
              <a:gd name="connsiteX10228" fmla="*/ 655983 w 4610101"/>
              <a:gd name="connsiteY10228" fmla="*/ 1444014 h 6557032"/>
              <a:gd name="connsiteX10229" fmla="*/ 652339 w 4610101"/>
              <a:gd name="connsiteY10229" fmla="*/ 1440370 h 6557032"/>
              <a:gd name="connsiteX10230" fmla="*/ 418645 w 4610101"/>
              <a:gd name="connsiteY10230" fmla="*/ 1438775 h 6557032"/>
              <a:gd name="connsiteX10231" fmla="*/ 408167 w 4610101"/>
              <a:gd name="connsiteY10231" fmla="*/ 1440370 h 6557032"/>
              <a:gd name="connsiteX10232" fmla="*/ 426389 w 4610101"/>
              <a:gd name="connsiteY10232" fmla="*/ 1444014 h 6557032"/>
              <a:gd name="connsiteX10233" fmla="*/ 425256 w 4610101"/>
              <a:gd name="connsiteY10233" fmla="*/ 1443247 h 6557032"/>
              <a:gd name="connsiteX10234" fmla="*/ 428211 w 4610101"/>
              <a:gd name="connsiteY10234" fmla="*/ 1442192 h 6557032"/>
              <a:gd name="connsiteX10235" fmla="*/ 424567 w 4610101"/>
              <a:gd name="connsiteY10235" fmla="*/ 1440370 h 6557032"/>
              <a:gd name="connsiteX10236" fmla="*/ 424981 w 4610101"/>
              <a:gd name="connsiteY10236" fmla="*/ 1443062 h 6557032"/>
              <a:gd name="connsiteX10237" fmla="*/ 812690 w 4610101"/>
              <a:gd name="connsiteY10237" fmla="*/ 1438548 h 6557032"/>
              <a:gd name="connsiteX10238" fmla="*/ 798112 w 4610101"/>
              <a:gd name="connsiteY10238" fmla="*/ 1445836 h 6557032"/>
              <a:gd name="connsiteX10239" fmla="*/ 810868 w 4610101"/>
              <a:gd name="connsiteY10239" fmla="*/ 1454947 h 6557032"/>
              <a:gd name="connsiteX10240" fmla="*/ 812690 w 4610101"/>
              <a:gd name="connsiteY10240" fmla="*/ 1438548 h 6557032"/>
              <a:gd name="connsiteX10241" fmla="*/ 584178 w 4610101"/>
              <a:gd name="connsiteY10241" fmla="*/ 1437609 h 6557032"/>
              <a:gd name="connsiteX10242" fmla="*/ 579907 w 4610101"/>
              <a:gd name="connsiteY10242" fmla="*/ 1438320 h 6557032"/>
              <a:gd name="connsiteX10243" fmla="*/ 570341 w 4610101"/>
              <a:gd name="connsiteY10243" fmla="*/ 1444014 h 6557032"/>
              <a:gd name="connsiteX10244" fmla="*/ 573985 w 4610101"/>
              <a:gd name="connsiteY10244" fmla="*/ 1446181 h 6557032"/>
              <a:gd name="connsiteX10245" fmla="*/ 573985 w 4610101"/>
              <a:gd name="connsiteY10245" fmla="*/ 1451303 h 6557032"/>
              <a:gd name="connsiteX10246" fmla="*/ 577630 w 4610101"/>
              <a:gd name="connsiteY10246" fmla="*/ 1449481 h 6557032"/>
              <a:gd name="connsiteX10247" fmla="*/ 574835 w 4610101"/>
              <a:gd name="connsiteY10247" fmla="*/ 1446686 h 6557032"/>
              <a:gd name="connsiteX10248" fmla="*/ 578768 w 4610101"/>
              <a:gd name="connsiteY10248" fmla="*/ 1449025 h 6557032"/>
              <a:gd name="connsiteX10249" fmla="*/ 583096 w 4610101"/>
              <a:gd name="connsiteY10249" fmla="*/ 1445836 h 6557032"/>
              <a:gd name="connsiteX10250" fmla="*/ 579452 w 4610101"/>
              <a:gd name="connsiteY10250" fmla="*/ 1444014 h 6557032"/>
              <a:gd name="connsiteX10251" fmla="*/ 586741 w 4610101"/>
              <a:gd name="connsiteY10251" fmla="*/ 1442192 h 6557032"/>
              <a:gd name="connsiteX10252" fmla="*/ 584178 w 4610101"/>
              <a:gd name="connsiteY10252" fmla="*/ 1437609 h 6557032"/>
              <a:gd name="connsiteX10253" fmla="*/ 3228893 w 4610101"/>
              <a:gd name="connsiteY10253" fmla="*/ 1436725 h 6557032"/>
              <a:gd name="connsiteX10254" fmla="*/ 3239826 w 4610101"/>
              <a:gd name="connsiteY10254" fmla="*/ 1454947 h 6557032"/>
              <a:gd name="connsiteX10255" fmla="*/ 3247114 w 4610101"/>
              <a:gd name="connsiteY10255" fmla="*/ 1451303 h 6557032"/>
              <a:gd name="connsiteX10256" fmla="*/ 3228893 w 4610101"/>
              <a:gd name="connsiteY10256" fmla="*/ 1436725 h 6557032"/>
              <a:gd name="connsiteX10257" fmla="*/ 1658179 w 4610101"/>
              <a:gd name="connsiteY10257" fmla="*/ 1436725 h 6557032"/>
              <a:gd name="connsiteX10258" fmla="*/ 1658179 w 4610101"/>
              <a:gd name="connsiteY10258" fmla="*/ 1451303 h 6557032"/>
              <a:gd name="connsiteX10259" fmla="*/ 1680046 w 4610101"/>
              <a:gd name="connsiteY10259" fmla="*/ 1436725 h 6557032"/>
              <a:gd name="connsiteX10260" fmla="*/ 842513 w 4610101"/>
              <a:gd name="connsiteY10260" fmla="*/ 1435749 h 6557032"/>
              <a:gd name="connsiteX10261" fmla="*/ 857105 w 4610101"/>
              <a:gd name="connsiteY10261" fmla="*/ 1454264 h 6557032"/>
              <a:gd name="connsiteX10262" fmla="*/ 865909 w 4610101"/>
              <a:gd name="connsiteY10262" fmla="*/ 1461204 h 6557032"/>
              <a:gd name="connsiteX10263" fmla="*/ 865988 w 4610101"/>
              <a:gd name="connsiteY10263" fmla="*/ 1461324 h 6557032"/>
              <a:gd name="connsiteX10264" fmla="*/ 866314 w 4610101"/>
              <a:gd name="connsiteY10264" fmla="*/ 1461523 h 6557032"/>
              <a:gd name="connsiteX10265" fmla="*/ 876466 w 4610101"/>
              <a:gd name="connsiteY10265" fmla="*/ 1469525 h 6557032"/>
              <a:gd name="connsiteX10266" fmla="*/ 880111 w 4610101"/>
              <a:gd name="connsiteY10266" fmla="*/ 1464058 h 6557032"/>
              <a:gd name="connsiteX10267" fmla="*/ 880111 w 4610101"/>
              <a:gd name="connsiteY10267" fmla="*/ 1471347 h 6557032"/>
              <a:gd name="connsiteX10268" fmla="*/ 867355 w 4610101"/>
              <a:gd name="connsiteY10268" fmla="*/ 1471347 h 6557032"/>
              <a:gd name="connsiteX10269" fmla="*/ 852778 w 4610101"/>
              <a:gd name="connsiteY10269" fmla="*/ 1453125 h 6557032"/>
              <a:gd name="connsiteX10270" fmla="*/ 850956 w 4610101"/>
              <a:gd name="connsiteY10270" fmla="*/ 1460414 h 6557032"/>
              <a:gd name="connsiteX10271" fmla="*/ 843667 w 4610101"/>
              <a:gd name="connsiteY10271" fmla="*/ 1440370 h 6557032"/>
              <a:gd name="connsiteX10272" fmla="*/ 3465775 w 4610101"/>
              <a:gd name="connsiteY10272" fmla="*/ 1434903 h 6557032"/>
              <a:gd name="connsiteX10273" fmla="*/ 3473064 w 4610101"/>
              <a:gd name="connsiteY10273" fmla="*/ 1442192 h 6557032"/>
              <a:gd name="connsiteX10274" fmla="*/ 3465775 w 4610101"/>
              <a:gd name="connsiteY10274" fmla="*/ 1434903 h 6557032"/>
              <a:gd name="connsiteX10275" fmla="*/ 1013129 w 4610101"/>
              <a:gd name="connsiteY10275" fmla="*/ 1434903 h 6557032"/>
              <a:gd name="connsiteX10276" fmla="*/ 1009485 w 4610101"/>
              <a:gd name="connsiteY10276" fmla="*/ 1442192 h 6557032"/>
              <a:gd name="connsiteX10277" fmla="*/ 1016774 w 4610101"/>
              <a:gd name="connsiteY10277" fmla="*/ 1449481 h 6557032"/>
              <a:gd name="connsiteX10278" fmla="*/ 1013129 w 4610101"/>
              <a:gd name="connsiteY10278" fmla="*/ 1434903 h 6557032"/>
              <a:gd name="connsiteX10279" fmla="*/ 790824 w 4610101"/>
              <a:gd name="connsiteY10279" fmla="*/ 1434903 h 6557032"/>
              <a:gd name="connsiteX10280" fmla="*/ 787179 w 4610101"/>
              <a:gd name="connsiteY10280" fmla="*/ 1438548 h 6557032"/>
              <a:gd name="connsiteX10281" fmla="*/ 790824 w 4610101"/>
              <a:gd name="connsiteY10281" fmla="*/ 1434903 h 6557032"/>
              <a:gd name="connsiteX10282" fmla="*/ 768959 w 4610101"/>
              <a:gd name="connsiteY10282" fmla="*/ 1434903 h 6557032"/>
              <a:gd name="connsiteX10283" fmla="*/ 768959 w 4610101"/>
              <a:gd name="connsiteY10283" fmla="*/ 1442192 h 6557032"/>
              <a:gd name="connsiteX10284" fmla="*/ 776246 w 4610101"/>
              <a:gd name="connsiteY10284" fmla="*/ 1436725 h 6557032"/>
              <a:gd name="connsiteX10285" fmla="*/ 768959 w 4610101"/>
              <a:gd name="connsiteY10285" fmla="*/ 1434903 h 6557032"/>
              <a:gd name="connsiteX10286" fmla="*/ 761670 w 4610101"/>
              <a:gd name="connsiteY10286" fmla="*/ 1434903 h 6557032"/>
              <a:gd name="connsiteX10287" fmla="*/ 756203 w 4610101"/>
              <a:gd name="connsiteY10287" fmla="*/ 1438548 h 6557032"/>
              <a:gd name="connsiteX10288" fmla="*/ 761670 w 4610101"/>
              <a:gd name="connsiteY10288" fmla="*/ 1434903 h 6557032"/>
              <a:gd name="connsiteX10289" fmla="*/ 448256 w 4610101"/>
              <a:gd name="connsiteY10289" fmla="*/ 1434903 h 6557032"/>
              <a:gd name="connsiteX10290" fmla="*/ 433678 w 4610101"/>
              <a:gd name="connsiteY10290" fmla="*/ 1440370 h 6557032"/>
              <a:gd name="connsiteX10291" fmla="*/ 448256 w 4610101"/>
              <a:gd name="connsiteY10291" fmla="*/ 1434903 h 6557032"/>
              <a:gd name="connsiteX10292" fmla="*/ 842209 w 4610101"/>
              <a:gd name="connsiteY10292" fmla="*/ 1434539 h 6557032"/>
              <a:gd name="connsiteX10293" fmla="*/ 842513 w 4610101"/>
              <a:gd name="connsiteY10293" fmla="*/ 1435749 h 6557032"/>
              <a:gd name="connsiteX10294" fmla="*/ 841845 w 4610101"/>
              <a:gd name="connsiteY10294" fmla="*/ 1434903 h 6557032"/>
              <a:gd name="connsiteX10295" fmla="*/ 590612 w 4610101"/>
              <a:gd name="connsiteY10295" fmla="*/ 1433992 h 6557032"/>
              <a:gd name="connsiteX10296" fmla="*/ 586741 w 4610101"/>
              <a:gd name="connsiteY10296" fmla="*/ 1434903 h 6557032"/>
              <a:gd name="connsiteX10297" fmla="*/ 590385 w 4610101"/>
              <a:gd name="connsiteY10297" fmla="*/ 1438548 h 6557032"/>
              <a:gd name="connsiteX10298" fmla="*/ 590612 w 4610101"/>
              <a:gd name="connsiteY10298" fmla="*/ 1433992 h 6557032"/>
              <a:gd name="connsiteX10299" fmla="*/ 1198991 w 4610101"/>
              <a:gd name="connsiteY10299" fmla="*/ 1433081 h 6557032"/>
              <a:gd name="connsiteX10300" fmla="*/ 1186236 w 4610101"/>
              <a:gd name="connsiteY10300" fmla="*/ 1438548 h 6557032"/>
              <a:gd name="connsiteX10301" fmla="*/ 1198991 w 4610101"/>
              <a:gd name="connsiteY10301" fmla="*/ 1433081 h 6557032"/>
              <a:gd name="connsiteX10302" fmla="*/ 637761 w 4610101"/>
              <a:gd name="connsiteY10302" fmla="*/ 1433081 h 6557032"/>
              <a:gd name="connsiteX10303" fmla="*/ 637761 w 4610101"/>
              <a:gd name="connsiteY10303" fmla="*/ 1444014 h 6557032"/>
              <a:gd name="connsiteX10304" fmla="*/ 643228 w 4610101"/>
              <a:gd name="connsiteY10304" fmla="*/ 1442192 h 6557032"/>
              <a:gd name="connsiteX10305" fmla="*/ 637761 w 4610101"/>
              <a:gd name="connsiteY10305" fmla="*/ 1433081 h 6557032"/>
              <a:gd name="connsiteX10306" fmla="*/ 3194271 w 4610101"/>
              <a:gd name="connsiteY10306" fmla="*/ 1431259 h 6557032"/>
              <a:gd name="connsiteX10307" fmla="*/ 3185160 w 4610101"/>
              <a:gd name="connsiteY10307" fmla="*/ 1458592 h 6557032"/>
              <a:gd name="connsiteX10308" fmla="*/ 3197916 w 4610101"/>
              <a:gd name="connsiteY10308" fmla="*/ 1444014 h 6557032"/>
              <a:gd name="connsiteX10309" fmla="*/ 3212493 w 4610101"/>
              <a:gd name="connsiteY10309" fmla="*/ 1454947 h 6557032"/>
              <a:gd name="connsiteX10310" fmla="*/ 3212493 w 4610101"/>
              <a:gd name="connsiteY10310" fmla="*/ 1453125 h 6557032"/>
              <a:gd name="connsiteX10311" fmla="*/ 3216137 w 4610101"/>
              <a:gd name="connsiteY10311" fmla="*/ 1456769 h 6557032"/>
              <a:gd name="connsiteX10312" fmla="*/ 3216137 w 4610101"/>
              <a:gd name="connsiteY10312" fmla="*/ 1445836 h 6557032"/>
              <a:gd name="connsiteX10313" fmla="*/ 3221604 w 4610101"/>
              <a:gd name="connsiteY10313" fmla="*/ 1445836 h 6557032"/>
              <a:gd name="connsiteX10314" fmla="*/ 3217960 w 4610101"/>
              <a:gd name="connsiteY10314" fmla="*/ 1438548 h 6557032"/>
              <a:gd name="connsiteX10315" fmla="*/ 3230715 w 4610101"/>
              <a:gd name="connsiteY10315" fmla="*/ 1456769 h 6557032"/>
              <a:gd name="connsiteX10316" fmla="*/ 3221604 w 4610101"/>
              <a:gd name="connsiteY10316" fmla="*/ 1431259 h 6557032"/>
              <a:gd name="connsiteX10317" fmla="*/ 3217960 w 4610101"/>
              <a:gd name="connsiteY10317" fmla="*/ 1433081 h 6557032"/>
              <a:gd name="connsiteX10318" fmla="*/ 3223426 w 4610101"/>
              <a:gd name="connsiteY10318" fmla="*/ 1436725 h 6557032"/>
              <a:gd name="connsiteX10319" fmla="*/ 3210671 w 4610101"/>
              <a:gd name="connsiteY10319" fmla="*/ 1434903 h 6557032"/>
              <a:gd name="connsiteX10320" fmla="*/ 3196093 w 4610101"/>
              <a:gd name="connsiteY10320" fmla="*/ 1436725 h 6557032"/>
              <a:gd name="connsiteX10321" fmla="*/ 3199738 w 4610101"/>
              <a:gd name="connsiteY10321" fmla="*/ 1431259 h 6557032"/>
              <a:gd name="connsiteX10322" fmla="*/ 3194271 w 4610101"/>
              <a:gd name="connsiteY10322" fmla="*/ 1431259 h 6557032"/>
              <a:gd name="connsiteX10323" fmla="*/ 563052 w 4610101"/>
              <a:gd name="connsiteY10323" fmla="*/ 1431259 h 6557032"/>
              <a:gd name="connsiteX10324" fmla="*/ 557586 w 4610101"/>
              <a:gd name="connsiteY10324" fmla="*/ 1440370 h 6557032"/>
              <a:gd name="connsiteX10325" fmla="*/ 566697 w 4610101"/>
              <a:gd name="connsiteY10325" fmla="*/ 1436725 h 6557032"/>
              <a:gd name="connsiteX10326" fmla="*/ 563052 w 4610101"/>
              <a:gd name="connsiteY10326" fmla="*/ 1431259 h 6557032"/>
              <a:gd name="connsiteX10327" fmla="*/ 461010 w 4610101"/>
              <a:gd name="connsiteY10327" fmla="*/ 1431259 h 6557032"/>
              <a:gd name="connsiteX10328" fmla="*/ 451899 w 4610101"/>
              <a:gd name="connsiteY10328" fmla="*/ 1442192 h 6557032"/>
              <a:gd name="connsiteX10329" fmla="*/ 446433 w 4610101"/>
              <a:gd name="connsiteY10329" fmla="*/ 1445836 h 6557032"/>
              <a:gd name="connsiteX10330" fmla="*/ 451899 w 4610101"/>
              <a:gd name="connsiteY10330" fmla="*/ 1442192 h 6557032"/>
              <a:gd name="connsiteX10331" fmla="*/ 457367 w 4610101"/>
              <a:gd name="connsiteY10331" fmla="*/ 1438548 h 6557032"/>
              <a:gd name="connsiteX10332" fmla="*/ 461010 w 4610101"/>
              <a:gd name="connsiteY10332" fmla="*/ 1431259 h 6557032"/>
              <a:gd name="connsiteX10333" fmla="*/ 415456 w 4610101"/>
              <a:gd name="connsiteY10333" fmla="*/ 1431259 h 6557032"/>
              <a:gd name="connsiteX10334" fmla="*/ 435500 w 4610101"/>
              <a:gd name="connsiteY10334" fmla="*/ 1436725 h 6557032"/>
              <a:gd name="connsiteX10335" fmla="*/ 415456 w 4610101"/>
              <a:gd name="connsiteY10335" fmla="*/ 1431259 h 6557032"/>
              <a:gd name="connsiteX10336" fmla="*/ 453494 w 4610101"/>
              <a:gd name="connsiteY10336" fmla="*/ 1430804 h 6557032"/>
              <a:gd name="connsiteX10337" fmla="*/ 450077 w 4610101"/>
              <a:gd name="connsiteY10337" fmla="*/ 1433081 h 6557032"/>
              <a:gd name="connsiteX10338" fmla="*/ 455544 w 4610101"/>
              <a:gd name="connsiteY10338" fmla="*/ 1431259 h 6557032"/>
              <a:gd name="connsiteX10339" fmla="*/ 453494 w 4610101"/>
              <a:gd name="connsiteY10339" fmla="*/ 1430804 h 6557032"/>
              <a:gd name="connsiteX10340" fmla="*/ 1417651 w 4610101"/>
              <a:gd name="connsiteY10340" fmla="*/ 1429563 h 6557032"/>
              <a:gd name="connsiteX10341" fmla="*/ 1432231 w 4610101"/>
              <a:gd name="connsiteY10341" fmla="*/ 1436852 h 6557032"/>
              <a:gd name="connsiteX10342" fmla="*/ 1417651 w 4610101"/>
              <a:gd name="connsiteY10342" fmla="*/ 1453251 h 6557032"/>
              <a:gd name="connsiteX10343" fmla="*/ 1424940 w 4610101"/>
              <a:gd name="connsiteY10343" fmla="*/ 1467827 h 6557032"/>
              <a:gd name="connsiteX10344" fmla="*/ 1386674 w 4610101"/>
              <a:gd name="connsiteY10344" fmla="*/ 1467827 h 6557032"/>
              <a:gd name="connsiteX10345" fmla="*/ 1417651 w 4610101"/>
              <a:gd name="connsiteY10345" fmla="*/ 1429563 h 6557032"/>
              <a:gd name="connsiteX10346" fmla="*/ 2857169 w 4610101"/>
              <a:gd name="connsiteY10346" fmla="*/ 1429502 h 6557032"/>
              <a:gd name="connsiteX10347" fmla="*/ 2873569 w 4610101"/>
              <a:gd name="connsiteY10347" fmla="*/ 1429502 h 6557032"/>
              <a:gd name="connsiteX10348" fmla="*/ 2857169 w 4610101"/>
              <a:gd name="connsiteY10348" fmla="*/ 1444079 h 6557032"/>
              <a:gd name="connsiteX10349" fmla="*/ 1160725 w 4610101"/>
              <a:gd name="connsiteY10349" fmla="*/ 1429437 h 6557032"/>
              <a:gd name="connsiteX10350" fmla="*/ 1164370 w 4610101"/>
              <a:gd name="connsiteY10350" fmla="*/ 1436725 h 6557032"/>
              <a:gd name="connsiteX10351" fmla="*/ 1168014 w 4610101"/>
              <a:gd name="connsiteY10351" fmla="*/ 1433081 h 6557032"/>
              <a:gd name="connsiteX10352" fmla="*/ 1160725 w 4610101"/>
              <a:gd name="connsiteY10352" fmla="*/ 1429437 h 6557032"/>
              <a:gd name="connsiteX10353" fmla="*/ 1116993 w 4610101"/>
              <a:gd name="connsiteY10353" fmla="*/ 1429437 h 6557032"/>
              <a:gd name="connsiteX10354" fmla="*/ 1133393 w 4610101"/>
              <a:gd name="connsiteY10354" fmla="*/ 1442192 h 6557032"/>
              <a:gd name="connsiteX10355" fmla="*/ 1116993 w 4610101"/>
              <a:gd name="connsiteY10355" fmla="*/ 1429437 h 6557032"/>
              <a:gd name="connsiteX10356" fmla="*/ 973041 w 4610101"/>
              <a:gd name="connsiteY10356" fmla="*/ 1429437 h 6557032"/>
              <a:gd name="connsiteX10357" fmla="*/ 1000374 w 4610101"/>
              <a:gd name="connsiteY10357" fmla="*/ 1449481 h 6557032"/>
              <a:gd name="connsiteX10358" fmla="*/ 993085 w 4610101"/>
              <a:gd name="connsiteY10358" fmla="*/ 1446975 h 6557032"/>
              <a:gd name="connsiteX10359" fmla="*/ 986629 w 4610101"/>
              <a:gd name="connsiteY10359" fmla="*/ 1445966 h 6557032"/>
              <a:gd name="connsiteX10360" fmla="*/ 982152 w 4610101"/>
              <a:gd name="connsiteY10360" fmla="*/ 1440370 h 6557032"/>
              <a:gd name="connsiteX10361" fmla="*/ 982152 w 4610101"/>
              <a:gd name="connsiteY10361" fmla="*/ 1442192 h 6557032"/>
              <a:gd name="connsiteX10362" fmla="*/ 973041 w 4610101"/>
              <a:gd name="connsiteY10362" fmla="*/ 1429437 h 6557032"/>
              <a:gd name="connsiteX10363" fmla="*/ 754380 w 4610101"/>
              <a:gd name="connsiteY10363" fmla="*/ 1429437 h 6557032"/>
              <a:gd name="connsiteX10364" fmla="*/ 750737 w 4610101"/>
              <a:gd name="connsiteY10364" fmla="*/ 1431259 h 6557032"/>
              <a:gd name="connsiteX10365" fmla="*/ 754380 w 4610101"/>
              <a:gd name="connsiteY10365" fmla="*/ 1429437 h 6557032"/>
              <a:gd name="connsiteX10366" fmla="*/ 566240 w 4610101"/>
              <a:gd name="connsiteY10366" fmla="*/ 1429209 h 6557032"/>
              <a:gd name="connsiteX10367" fmla="*/ 563052 w 4610101"/>
              <a:gd name="connsiteY10367" fmla="*/ 1429437 h 6557032"/>
              <a:gd name="connsiteX10368" fmla="*/ 566697 w 4610101"/>
              <a:gd name="connsiteY10368" fmla="*/ 1433081 h 6557032"/>
              <a:gd name="connsiteX10369" fmla="*/ 566240 w 4610101"/>
              <a:gd name="connsiteY10369" fmla="*/ 1429209 h 6557032"/>
              <a:gd name="connsiteX10370" fmla="*/ 3159650 w 4610101"/>
              <a:gd name="connsiteY10370" fmla="*/ 1427615 h 6557032"/>
              <a:gd name="connsiteX10371" fmla="*/ 3166939 w 4610101"/>
              <a:gd name="connsiteY10371" fmla="*/ 1440370 h 6557032"/>
              <a:gd name="connsiteX10372" fmla="*/ 3163294 w 4610101"/>
              <a:gd name="connsiteY10372" fmla="*/ 1427615 h 6557032"/>
              <a:gd name="connsiteX10373" fmla="*/ 3159650 w 4610101"/>
              <a:gd name="connsiteY10373" fmla="*/ 1427615 h 6557032"/>
              <a:gd name="connsiteX10374" fmla="*/ 2999299 w 4610101"/>
              <a:gd name="connsiteY10374" fmla="*/ 1427615 h 6557032"/>
              <a:gd name="connsiteX10375" fmla="*/ 2988366 w 4610101"/>
              <a:gd name="connsiteY10375" fmla="*/ 1444014 h 6557032"/>
              <a:gd name="connsiteX10376" fmla="*/ 2993832 w 4610101"/>
              <a:gd name="connsiteY10376" fmla="*/ 1444014 h 6557032"/>
              <a:gd name="connsiteX10377" fmla="*/ 3001121 w 4610101"/>
              <a:gd name="connsiteY10377" fmla="*/ 1429437 h 6557032"/>
              <a:gd name="connsiteX10378" fmla="*/ 2999299 w 4610101"/>
              <a:gd name="connsiteY10378" fmla="*/ 1427615 h 6557032"/>
              <a:gd name="connsiteX10379" fmla="*/ 1565248 w 4610101"/>
              <a:gd name="connsiteY10379" fmla="*/ 1427615 h 6557032"/>
              <a:gd name="connsiteX10380" fmla="*/ 1550670 w 4610101"/>
              <a:gd name="connsiteY10380" fmla="*/ 1442192 h 6557032"/>
              <a:gd name="connsiteX10381" fmla="*/ 1567070 w 4610101"/>
              <a:gd name="connsiteY10381" fmla="*/ 1451303 h 6557032"/>
              <a:gd name="connsiteX10382" fmla="*/ 801757 w 4610101"/>
              <a:gd name="connsiteY10382" fmla="*/ 1427615 h 6557032"/>
              <a:gd name="connsiteX10383" fmla="*/ 798112 w 4610101"/>
              <a:gd name="connsiteY10383" fmla="*/ 1429437 h 6557032"/>
              <a:gd name="connsiteX10384" fmla="*/ 794468 w 4610101"/>
              <a:gd name="connsiteY10384" fmla="*/ 1438548 h 6557032"/>
              <a:gd name="connsiteX10385" fmla="*/ 801757 w 4610101"/>
              <a:gd name="connsiteY10385" fmla="*/ 1427615 h 6557032"/>
              <a:gd name="connsiteX10386" fmla="*/ 745269 w 4610101"/>
              <a:gd name="connsiteY10386" fmla="*/ 1427615 h 6557032"/>
              <a:gd name="connsiteX10387" fmla="*/ 737981 w 4610101"/>
              <a:gd name="connsiteY10387" fmla="*/ 1434903 h 6557032"/>
              <a:gd name="connsiteX10388" fmla="*/ 739803 w 4610101"/>
              <a:gd name="connsiteY10388" fmla="*/ 1434903 h 6557032"/>
              <a:gd name="connsiteX10389" fmla="*/ 745269 w 4610101"/>
              <a:gd name="connsiteY10389" fmla="*/ 1427615 h 6557032"/>
              <a:gd name="connsiteX10390" fmla="*/ 838028 w 4610101"/>
              <a:gd name="connsiteY10390" fmla="*/ 1427528 h 6557032"/>
              <a:gd name="connsiteX10391" fmla="*/ 839112 w 4610101"/>
              <a:gd name="connsiteY10391" fmla="*/ 1428071 h 6557032"/>
              <a:gd name="connsiteX10392" fmla="*/ 835184 w 4610101"/>
              <a:gd name="connsiteY10392" fmla="*/ 1427678 h 6557032"/>
              <a:gd name="connsiteX10393" fmla="*/ 835158 w 4610101"/>
              <a:gd name="connsiteY10393" fmla="*/ 1427600 h 6557032"/>
              <a:gd name="connsiteX10394" fmla="*/ 1125442 w 4610101"/>
              <a:gd name="connsiteY10394" fmla="*/ 1427449 h 6557032"/>
              <a:gd name="connsiteX10395" fmla="*/ 1126104 w 4610101"/>
              <a:gd name="connsiteY10395" fmla="*/ 1427615 h 6557032"/>
              <a:gd name="connsiteX10396" fmla="*/ 1125876 w 4610101"/>
              <a:gd name="connsiteY10396" fmla="*/ 1428070 h 6557032"/>
              <a:gd name="connsiteX10397" fmla="*/ 575808 w 4610101"/>
              <a:gd name="connsiteY10397" fmla="*/ 1426704 h 6557032"/>
              <a:gd name="connsiteX10398" fmla="*/ 576053 w 4610101"/>
              <a:gd name="connsiteY10398" fmla="*/ 1427073 h 6557032"/>
              <a:gd name="connsiteX10399" fmla="*/ 575808 w 4610101"/>
              <a:gd name="connsiteY10399" fmla="*/ 1427615 h 6557032"/>
              <a:gd name="connsiteX10400" fmla="*/ 3247114 w 4610101"/>
              <a:gd name="connsiteY10400" fmla="*/ 1425792 h 6557032"/>
              <a:gd name="connsiteX10401" fmla="*/ 3254403 w 4610101"/>
              <a:gd name="connsiteY10401" fmla="*/ 1434903 h 6557032"/>
              <a:gd name="connsiteX10402" fmla="*/ 3252581 w 4610101"/>
              <a:gd name="connsiteY10402" fmla="*/ 1427615 h 6557032"/>
              <a:gd name="connsiteX10403" fmla="*/ 3247114 w 4610101"/>
              <a:gd name="connsiteY10403" fmla="*/ 1425792 h 6557032"/>
              <a:gd name="connsiteX10404" fmla="*/ 1118815 w 4610101"/>
              <a:gd name="connsiteY10404" fmla="*/ 1425792 h 6557032"/>
              <a:gd name="connsiteX10405" fmla="*/ 1140681 w 4610101"/>
              <a:gd name="connsiteY10405" fmla="*/ 1440370 h 6557032"/>
              <a:gd name="connsiteX10406" fmla="*/ 1127926 w 4610101"/>
              <a:gd name="connsiteY10406" fmla="*/ 1429437 h 6557032"/>
              <a:gd name="connsiteX10407" fmla="*/ 1129748 w 4610101"/>
              <a:gd name="connsiteY10407" fmla="*/ 1429437 h 6557032"/>
              <a:gd name="connsiteX10408" fmla="*/ 1124282 w 4610101"/>
              <a:gd name="connsiteY10408" fmla="*/ 1425792 h 6557032"/>
              <a:gd name="connsiteX10409" fmla="*/ 1125442 w 4610101"/>
              <a:gd name="connsiteY10409" fmla="*/ 1427449 h 6557032"/>
              <a:gd name="connsiteX10410" fmla="*/ 834556 w 4610101"/>
              <a:gd name="connsiteY10410" fmla="*/ 1425792 h 6557032"/>
              <a:gd name="connsiteX10411" fmla="*/ 852778 w 4610101"/>
              <a:gd name="connsiteY10411" fmla="*/ 1425792 h 6557032"/>
              <a:gd name="connsiteX10412" fmla="*/ 843667 w 4610101"/>
              <a:gd name="connsiteY10412" fmla="*/ 1427387 h 6557032"/>
              <a:gd name="connsiteX10413" fmla="*/ 838028 w 4610101"/>
              <a:gd name="connsiteY10413" fmla="*/ 1427528 h 6557032"/>
              <a:gd name="connsiteX10414" fmla="*/ 812690 w 4610101"/>
              <a:gd name="connsiteY10414" fmla="*/ 1425792 h 6557032"/>
              <a:gd name="connsiteX10415" fmla="*/ 799935 w 4610101"/>
              <a:gd name="connsiteY10415" fmla="*/ 1436725 h 6557032"/>
              <a:gd name="connsiteX10416" fmla="*/ 812690 w 4610101"/>
              <a:gd name="connsiteY10416" fmla="*/ 1425792 h 6557032"/>
              <a:gd name="connsiteX10417" fmla="*/ 665094 w 4610101"/>
              <a:gd name="connsiteY10417" fmla="*/ 1425792 h 6557032"/>
              <a:gd name="connsiteX10418" fmla="*/ 659627 w 4610101"/>
              <a:gd name="connsiteY10418" fmla="*/ 1440370 h 6557032"/>
              <a:gd name="connsiteX10419" fmla="*/ 668738 w 4610101"/>
              <a:gd name="connsiteY10419" fmla="*/ 1442192 h 6557032"/>
              <a:gd name="connsiteX10420" fmla="*/ 663272 w 4610101"/>
              <a:gd name="connsiteY10420" fmla="*/ 1438548 h 6557032"/>
              <a:gd name="connsiteX10421" fmla="*/ 665094 w 4610101"/>
              <a:gd name="connsiteY10421" fmla="*/ 1425792 h 6557032"/>
              <a:gd name="connsiteX10422" fmla="*/ 630472 w 4610101"/>
              <a:gd name="connsiteY10422" fmla="*/ 1425792 h 6557032"/>
              <a:gd name="connsiteX10423" fmla="*/ 621362 w 4610101"/>
              <a:gd name="connsiteY10423" fmla="*/ 1427615 h 6557032"/>
              <a:gd name="connsiteX10424" fmla="*/ 604963 w 4610101"/>
              <a:gd name="connsiteY10424" fmla="*/ 1449481 h 6557032"/>
              <a:gd name="connsiteX10425" fmla="*/ 612251 w 4610101"/>
              <a:gd name="connsiteY10425" fmla="*/ 1462236 h 6557032"/>
              <a:gd name="connsiteX10426" fmla="*/ 615895 w 4610101"/>
              <a:gd name="connsiteY10426" fmla="*/ 1458592 h 6557032"/>
              <a:gd name="connsiteX10427" fmla="*/ 610429 w 4610101"/>
              <a:gd name="connsiteY10427" fmla="*/ 1454947 h 6557032"/>
              <a:gd name="connsiteX10428" fmla="*/ 630472 w 4610101"/>
              <a:gd name="connsiteY10428" fmla="*/ 1425792 h 6557032"/>
              <a:gd name="connsiteX10429" fmla="*/ 3407466 w 4610101"/>
              <a:gd name="connsiteY10429" fmla="*/ 1423970 h 6557032"/>
              <a:gd name="connsiteX10430" fmla="*/ 3412932 w 4610101"/>
              <a:gd name="connsiteY10430" fmla="*/ 1438548 h 6557032"/>
              <a:gd name="connsiteX10431" fmla="*/ 3414754 w 4610101"/>
              <a:gd name="connsiteY10431" fmla="*/ 1434903 h 6557032"/>
              <a:gd name="connsiteX10432" fmla="*/ 3425687 w 4610101"/>
              <a:gd name="connsiteY10432" fmla="*/ 1444014 h 6557032"/>
              <a:gd name="connsiteX10433" fmla="*/ 3427510 w 4610101"/>
              <a:gd name="connsiteY10433" fmla="*/ 1434903 h 6557032"/>
              <a:gd name="connsiteX10434" fmla="*/ 3425687 w 4610101"/>
              <a:gd name="connsiteY10434" fmla="*/ 1442192 h 6557032"/>
              <a:gd name="connsiteX10435" fmla="*/ 3429332 w 4610101"/>
              <a:gd name="connsiteY10435" fmla="*/ 1427615 h 6557032"/>
              <a:gd name="connsiteX10436" fmla="*/ 3422043 w 4610101"/>
              <a:gd name="connsiteY10436" fmla="*/ 1434903 h 6557032"/>
              <a:gd name="connsiteX10437" fmla="*/ 3416577 w 4610101"/>
              <a:gd name="connsiteY10437" fmla="*/ 1434903 h 6557032"/>
              <a:gd name="connsiteX10438" fmla="*/ 3407466 w 4610101"/>
              <a:gd name="connsiteY10438" fmla="*/ 1423970 h 6557032"/>
              <a:gd name="connsiteX10439" fmla="*/ 3148717 w 4610101"/>
              <a:gd name="connsiteY10439" fmla="*/ 1423970 h 6557032"/>
              <a:gd name="connsiteX10440" fmla="*/ 3157828 w 4610101"/>
              <a:gd name="connsiteY10440" fmla="*/ 1433081 h 6557032"/>
              <a:gd name="connsiteX10441" fmla="*/ 3148717 w 4610101"/>
              <a:gd name="connsiteY10441" fmla="*/ 1423970 h 6557032"/>
              <a:gd name="connsiteX10442" fmla="*/ 991263 w 4610101"/>
              <a:gd name="connsiteY10442" fmla="*/ 1423970 h 6557032"/>
              <a:gd name="connsiteX10443" fmla="*/ 1007663 w 4610101"/>
              <a:gd name="connsiteY10443" fmla="*/ 1440370 h 6557032"/>
              <a:gd name="connsiteX10444" fmla="*/ 991263 w 4610101"/>
              <a:gd name="connsiteY10444" fmla="*/ 1423970 h 6557032"/>
              <a:gd name="connsiteX10445" fmla="*/ 830912 w 4610101"/>
              <a:gd name="connsiteY10445" fmla="*/ 1423970 h 6557032"/>
              <a:gd name="connsiteX10446" fmla="*/ 818156 w 4610101"/>
              <a:gd name="connsiteY10446" fmla="*/ 1434903 h 6557032"/>
              <a:gd name="connsiteX10447" fmla="*/ 830912 w 4610101"/>
              <a:gd name="connsiteY10447" fmla="*/ 1423970 h 6557032"/>
              <a:gd name="connsiteX10448" fmla="*/ 697893 w 4610101"/>
              <a:gd name="connsiteY10448" fmla="*/ 1423970 h 6557032"/>
              <a:gd name="connsiteX10449" fmla="*/ 694249 w 4610101"/>
              <a:gd name="connsiteY10449" fmla="*/ 1440370 h 6557032"/>
              <a:gd name="connsiteX10450" fmla="*/ 684454 w 4610101"/>
              <a:gd name="connsiteY10450" fmla="*/ 1448569 h 6557032"/>
              <a:gd name="connsiteX10451" fmla="*/ 684911 w 4610101"/>
              <a:gd name="connsiteY10451" fmla="*/ 1450062 h 6557032"/>
              <a:gd name="connsiteX10452" fmla="*/ 683316 w 4610101"/>
              <a:gd name="connsiteY10452" fmla="*/ 1451303 h 6557032"/>
              <a:gd name="connsiteX10453" fmla="*/ 685162 w 4610101"/>
              <a:gd name="connsiteY10453" fmla="*/ 1450886 h 6557032"/>
              <a:gd name="connsiteX10454" fmla="*/ 686960 w 4610101"/>
              <a:gd name="connsiteY10454" fmla="*/ 1456769 h 6557032"/>
              <a:gd name="connsiteX10455" fmla="*/ 688326 w 4610101"/>
              <a:gd name="connsiteY10455" fmla="*/ 1455175 h 6557032"/>
              <a:gd name="connsiteX10456" fmla="*/ 687188 w 4610101"/>
              <a:gd name="connsiteY10456" fmla="*/ 1450429 h 6557032"/>
              <a:gd name="connsiteX10457" fmla="*/ 687539 w 4610101"/>
              <a:gd name="connsiteY10457" fmla="*/ 1450349 h 6557032"/>
              <a:gd name="connsiteX10458" fmla="*/ 690604 w 4610101"/>
              <a:gd name="connsiteY10458" fmla="*/ 1454947 h 6557032"/>
              <a:gd name="connsiteX10459" fmla="*/ 690376 w 4610101"/>
              <a:gd name="connsiteY10459" fmla="*/ 1449708 h 6557032"/>
              <a:gd name="connsiteX10460" fmla="*/ 687539 w 4610101"/>
              <a:gd name="connsiteY10460" fmla="*/ 1450349 h 6557032"/>
              <a:gd name="connsiteX10461" fmla="*/ 686960 w 4610101"/>
              <a:gd name="connsiteY10461" fmla="*/ 1449481 h 6557032"/>
              <a:gd name="connsiteX10462" fmla="*/ 687188 w 4610101"/>
              <a:gd name="connsiteY10462" fmla="*/ 1450429 h 6557032"/>
              <a:gd name="connsiteX10463" fmla="*/ 685162 w 4610101"/>
              <a:gd name="connsiteY10463" fmla="*/ 1450886 h 6557032"/>
              <a:gd name="connsiteX10464" fmla="*/ 684911 w 4610101"/>
              <a:gd name="connsiteY10464" fmla="*/ 1450062 h 6557032"/>
              <a:gd name="connsiteX10465" fmla="*/ 689466 w 4610101"/>
              <a:gd name="connsiteY10465" fmla="*/ 1446519 h 6557032"/>
              <a:gd name="connsiteX10466" fmla="*/ 694249 w 4610101"/>
              <a:gd name="connsiteY10466" fmla="*/ 1440370 h 6557032"/>
              <a:gd name="connsiteX10467" fmla="*/ 705182 w 4610101"/>
              <a:gd name="connsiteY10467" fmla="*/ 1431259 h 6557032"/>
              <a:gd name="connsiteX10468" fmla="*/ 697893 w 4610101"/>
              <a:gd name="connsiteY10468" fmla="*/ 1444014 h 6557032"/>
              <a:gd name="connsiteX10469" fmla="*/ 719759 w 4610101"/>
              <a:gd name="connsiteY10469" fmla="*/ 1434903 h 6557032"/>
              <a:gd name="connsiteX10470" fmla="*/ 697893 w 4610101"/>
              <a:gd name="connsiteY10470" fmla="*/ 1423970 h 6557032"/>
              <a:gd name="connsiteX10471" fmla="*/ 508387 w 4610101"/>
              <a:gd name="connsiteY10471" fmla="*/ 1423970 h 6557032"/>
              <a:gd name="connsiteX10472" fmla="*/ 501098 w 4610101"/>
              <a:gd name="connsiteY10472" fmla="*/ 1429437 h 6557032"/>
              <a:gd name="connsiteX10473" fmla="*/ 504743 w 4610101"/>
              <a:gd name="connsiteY10473" fmla="*/ 1444014 h 6557032"/>
              <a:gd name="connsiteX10474" fmla="*/ 508387 w 4610101"/>
              <a:gd name="connsiteY10474" fmla="*/ 1423970 h 6557032"/>
              <a:gd name="connsiteX10475" fmla="*/ 471943 w 4610101"/>
              <a:gd name="connsiteY10475" fmla="*/ 1423970 h 6557032"/>
              <a:gd name="connsiteX10476" fmla="*/ 466478 w 4610101"/>
              <a:gd name="connsiteY10476" fmla="*/ 1429437 h 6557032"/>
              <a:gd name="connsiteX10477" fmla="*/ 471943 w 4610101"/>
              <a:gd name="connsiteY10477" fmla="*/ 1423970 h 6557032"/>
              <a:gd name="connsiteX10478" fmla="*/ 493809 w 4610101"/>
              <a:gd name="connsiteY10478" fmla="*/ 1422148 h 6557032"/>
              <a:gd name="connsiteX10479" fmla="*/ 490165 w 4610101"/>
              <a:gd name="connsiteY10479" fmla="*/ 1431259 h 6557032"/>
              <a:gd name="connsiteX10480" fmla="*/ 490165 w 4610101"/>
              <a:gd name="connsiteY10480" fmla="*/ 1454947 h 6557032"/>
              <a:gd name="connsiteX10481" fmla="*/ 490165 w 4610101"/>
              <a:gd name="connsiteY10481" fmla="*/ 1431259 h 6557032"/>
              <a:gd name="connsiteX10482" fmla="*/ 493809 w 4610101"/>
              <a:gd name="connsiteY10482" fmla="*/ 1422148 h 6557032"/>
              <a:gd name="connsiteX10483" fmla="*/ 605191 w 4610101"/>
              <a:gd name="connsiteY10483" fmla="*/ 1421465 h 6557032"/>
              <a:gd name="connsiteX10484" fmla="*/ 601318 w 4610101"/>
              <a:gd name="connsiteY10484" fmla="*/ 1422148 h 6557032"/>
              <a:gd name="connsiteX10485" fmla="*/ 599496 w 4610101"/>
              <a:gd name="connsiteY10485" fmla="*/ 1425792 h 6557032"/>
              <a:gd name="connsiteX10486" fmla="*/ 610429 w 4610101"/>
              <a:gd name="connsiteY10486" fmla="*/ 1422148 h 6557032"/>
              <a:gd name="connsiteX10487" fmla="*/ 605191 w 4610101"/>
              <a:gd name="connsiteY10487" fmla="*/ 1421465 h 6557032"/>
              <a:gd name="connsiteX10488" fmla="*/ 3176050 w 4610101"/>
              <a:gd name="connsiteY10488" fmla="*/ 1420326 h 6557032"/>
              <a:gd name="connsiteX10489" fmla="*/ 3177872 w 4610101"/>
              <a:gd name="connsiteY10489" fmla="*/ 1442192 h 6557032"/>
              <a:gd name="connsiteX10490" fmla="*/ 3185160 w 4610101"/>
              <a:gd name="connsiteY10490" fmla="*/ 1427615 h 6557032"/>
              <a:gd name="connsiteX10491" fmla="*/ 3176050 w 4610101"/>
              <a:gd name="connsiteY10491" fmla="*/ 1420326 h 6557032"/>
              <a:gd name="connsiteX10492" fmla="*/ 1137037 w 4610101"/>
              <a:gd name="connsiteY10492" fmla="*/ 1420326 h 6557032"/>
              <a:gd name="connsiteX10493" fmla="*/ 1133393 w 4610101"/>
              <a:gd name="connsiteY10493" fmla="*/ 1422148 h 6557032"/>
              <a:gd name="connsiteX10494" fmla="*/ 1138859 w 4610101"/>
              <a:gd name="connsiteY10494" fmla="*/ 1423970 h 6557032"/>
              <a:gd name="connsiteX10495" fmla="*/ 1129748 w 4610101"/>
              <a:gd name="connsiteY10495" fmla="*/ 1425792 h 6557032"/>
              <a:gd name="connsiteX10496" fmla="*/ 1147970 w 4610101"/>
              <a:gd name="connsiteY10496" fmla="*/ 1438548 h 6557032"/>
              <a:gd name="connsiteX10497" fmla="*/ 1142503 w 4610101"/>
              <a:gd name="connsiteY10497" fmla="*/ 1431259 h 6557032"/>
              <a:gd name="connsiteX10498" fmla="*/ 1144326 w 4610101"/>
              <a:gd name="connsiteY10498" fmla="*/ 1429437 h 6557032"/>
              <a:gd name="connsiteX10499" fmla="*/ 1138859 w 4610101"/>
              <a:gd name="connsiteY10499" fmla="*/ 1423970 h 6557032"/>
              <a:gd name="connsiteX10500" fmla="*/ 1137037 w 4610101"/>
              <a:gd name="connsiteY10500" fmla="*/ 1420326 h 6557032"/>
              <a:gd name="connsiteX10501" fmla="*/ 661449 w 4610101"/>
              <a:gd name="connsiteY10501" fmla="*/ 1420326 h 6557032"/>
              <a:gd name="connsiteX10502" fmla="*/ 657805 w 4610101"/>
              <a:gd name="connsiteY10502" fmla="*/ 1425792 h 6557032"/>
              <a:gd name="connsiteX10503" fmla="*/ 661449 w 4610101"/>
              <a:gd name="connsiteY10503" fmla="*/ 1420326 h 6557032"/>
              <a:gd name="connsiteX10504" fmla="*/ 646872 w 4610101"/>
              <a:gd name="connsiteY10504" fmla="*/ 1420326 h 6557032"/>
              <a:gd name="connsiteX10505" fmla="*/ 645050 w 4610101"/>
              <a:gd name="connsiteY10505" fmla="*/ 1431259 h 6557032"/>
              <a:gd name="connsiteX10506" fmla="*/ 645050 w 4610101"/>
              <a:gd name="connsiteY10506" fmla="*/ 1425792 h 6557032"/>
              <a:gd name="connsiteX10507" fmla="*/ 648694 w 4610101"/>
              <a:gd name="connsiteY10507" fmla="*/ 1429437 h 6557032"/>
              <a:gd name="connsiteX10508" fmla="*/ 646872 w 4610101"/>
              <a:gd name="connsiteY10508" fmla="*/ 1420326 h 6557032"/>
              <a:gd name="connsiteX10509" fmla="*/ 566697 w 4610101"/>
              <a:gd name="connsiteY10509" fmla="*/ 1420326 h 6557032"/>
              <a:gd name="connsiteX10510" fmla="*/ 564874 w 4610101"/>
              <a:gd name="connsiteY10510" fmla="*/ 1425792 h 6557032"/>
              <a:gd name="connsiteX10511" fmla="*/ 568519 w 4610101"/>
              <a:gd name="connsiteY10511" fmla="*/ 1425792 h 6557032"/>
              <a:gd name="connsiteX10512" fmla="*/ 566697 w 4610101"/>
              <a:gd name="connsiteY10512" fmla="*/ 1420326 h 6557032"/>
              <a:gd name="connsiteX10513" fmla="*/ 528431 w 4610101"/>
              <a:gd name="connsiteY10513" fmla="*/ 1420326 h 6557032"/>
              <a:gd name="connsiteX10514" fmla="*/ 532075 w 4610101"/>
              <a:gd name="connsiteY10514" fmla="*/ 1427615 h 6557032"/>
              <a:gd name="connsiteX10515" fmla="*/ 526609 w 4610101"/>
              <a:gd name="connsiteY10515" fmla="*/ 1425792 h 6557032"/>
              <a:gd name="connsiteX10516" fmla="*/ 513853 w 4610101"/>
              <a:gd name="connsiteY10516" fmla="*/ 1445836 h 6557032"/>
              <a:gd name="connsiteX10517" fmla="*/ 522282 w 4610101"/>
              <a:gd name="connsiteY10517" fmla="*/ 1456314 h 6557032"/>
              <a:gd name="connsiteX10518" fmla="*/ 530334 w 4610101"/>
              <a:gd name="connsiteY10518" fmla="*/ 1462681 h 6557032"/>
              <a:gd name="connsiteX10519" fmla="*/ 530709 w 4610101"/>
              <a:gd name="connsiteY10519" fmla="*/ 1464741 h 6557032"/>
              <a:gd name="connsiteX10520" fmla="*/ 533897 w 4610101"/>
              <a:gd name="connsiteY10520" fmla="*/ 1465880 h 6557032"/>
              <a:gd name="connsiteX10521" fmla="*/ 533897 w 4610101"/>
              <a:gd name="connsiteY10521" fmla="*/ 1464058 h 6557032"/>
              <a:gd name="connsiteX10522" fmla="*/ 535719 w 4610101"/>
              <a:gd name="connsiteY10522" fmla="*/ 1469525 h 6557032"/>
              <a:gd name="connsiteX10523" fmla="*/ 555763 w 4610101"/>
              <a:gd name="connsiteY10523" fmla="*/ 1442192 h 6557032"/>
              <a:gd name="connsiteX10524" fmla="*/ 550297 w 4610101"/>
              <a:gd name="connsiteY10524" fmla="*/ 1449481 h 6557032"/>
              <a:gd name="connsiteX10525" fmla="*/ 552119 w 4610101"/>
              <a:gd name="connsiteY10525" fmla="*/ 1440370 h 6557032"/>
              <a:gd name="connsiteX10526" fmla="*/ 543008 w 4610101"/>
              <a:gd name="connsiteY10526" fmla="*/ 1444014 h 6557032"/>
              <a:gd name="connsiteX10527" fmla="*/ 548475 w 4610101"/>
              <a:gd name="connsiteY10527" fmla="*/ 1442192 h 6557032"/>
              <a:gd name="connsiteX10528" fmla="*/ 528431 w 4610101"/>
              <a:gd name="connsiteY10528" fmla="*/ 1431259 h 6557032"/>
              <a:gd name="connsiteX10529" fmla="*/ 550297 w 4610101"/>
              <a:gd name="connsiteY10529" fmla="*/ 1436725 h 6557032"/>
              <a:gd name="connsiteX10530" fmla="*/ 541186 w 4610101"/>
              <a:gd name="connsiteY10530" fmla="*/ 1425792 h 6557032"/>
              <a:gd name="connsiteX10531" fmla="*/ 532075 w 4610101"/>
              <a:gd name="connsiteY10531" fmla="*/ 1427615 h 6557032"/>
              <a:gd name="connsiteX10532" fmla="*/ 537542 w 4610101"/>
              <a:gd name="connsiteY10532" fmla="*/ 1423970 h 6557032"/>
              <a:gd name="connsiteX10533" fmla="*/ 528431 w 4610101"/>
              <a:gd name="connsiteY10533" fmla="*/ 1420326 h 6557032"/>
              <a:gd name="connsiteX10534" fmla="*/ 1170255 w 4610101"/>
              <a:gd name="connsiteY10534" fmla="*/ 1419727 h 6557032"/>
              <a:gd name="connsiteX10535" fmla="*/ 1170975 w 4610101"/>
              <a:gd name="connsiteY10535" fmla="*/ 1421237 h 6557032"/>
              <a:gd name="connsiteX10536" fmla="*/ 1171027 w 4610101"/>
              <a:gd name="connsiteY10536" fmla="*/ 1422008 h 6557032"/>
              <a:gd name="connsiteX10537" fmla="*/ 1170291 w 4610101"/>
              <a:gd name="connsiteY10537" fmla="*/ 1420326 h 6557032"/>
              <a:gd name="connsiteX10538" fmla="*/ 3389244 w 4610101"/>
              <a:gd name="connsiteY10538" fmla="*/ 1418504 h 6557032"/>
              <a:gd name="connsiteX10539" fmla="*/ 3387422 w 4610101"/>
              <a:gd name="connsiteY10539" fmla="*/ 1425792 h 6557032"/>
              <a:gd name="connsiteX10540" fmla="*/ 3361911 w 4610101"/>
              <a:gd name="connsiteY10540" fmla="*/ 1436725 h 6557032"/>
              <a:gd name="connsiteX10541" fmla="*/ 3363734 w 4610101"/>
              <a:gd name="connsiteY10541" fmla="*/ 1442192 h 6557032"/>
              <a:gd name="connsiteX10542" fmla="*/ 3372844 w 4610101"/>
              <a:gd name="connsiteY10542" fmla="*/ 1445836 h 6557032"/>
              <a:gd name="connsiteX10543" fmla="*/ 3361911 w 4610101"/>
              <a:gd name="connsiteY10543" fmla="*/ 1440370 h 6557032"/>
              <a:gd name="connsiteX10544" fmla="*/ 3361911 w 4610101"/>
              <a:gd name="connsiteY10544" fmla="*/ 1458592 h 6557032"/>
              <a:gd name="connsiteX10545" fmla="*/ 3392888 w 4610101"/>
              <a:gd name="connsiteY10545" fmla="*/ 1429437 h 6557032"/>
              <a:gd name="connsiteX10546" fmla="*/ 3389244 w 4610101"/>
              <a:gd name="connsiteY10546" fmla="*/ 1418504 h 6557032"/>
              <a:gd name="connsiteX10547" fmla="*/ 1120637 w 4610101"/>
              <a:gd name="connsiteY10547" fmla="*/ 1418504 h 6557032"/>
              <a:gd name="connsiteX10548" fmla="*/ 1113349 w 4610101"/>
              <a:gd name="connsiteY10548" fmla="*/ 1420326 h 6557032"/>
              <a:gd name="connsiteX10549" fmla="*/ 1126104 w 4610101"/>
              <a:gd name="connsiteY10549" fmla="*/ 1425792 h 6557032"/>
              <a:gd name="connsiteX10550" fmla="*/ 1120637 w 4610101"/>
              <a:gd name="connsiteY10550" fmla="*/ 1418504 h 6557032"/>
              <a:gd name="connsiteX10551" fmla="*/ 816334 w 4610101"/>
              <a:gd name="connsiteY10551" fmla="*/ 1418504 h 6557032"/>
              <a:gd name="connsiteX10552" fmla="*/ 818156 w 4610101"/>
              <a:gd name="connsiteY10552" fmla="*/ 1433081 h 6557032"/>
              <a:gd name="connsiteX10553" fmla="*/ 829089 w 4610101"/>
              <a:gd name="connsiteY10553" fmla="*/ 1423970 h 6557032"/>
              <a:gd name="connsiteX10554" fmla="*/ 823395 w 4610101"/>
              <a:gd name="connsiteY10554" fmla="*/ 1418504 h 6557032"/>
              <a:gd name="connsiteX10555" fmla="*/ 816334 w 4610101"/>
              <a:gd name="connsiteY10555" fmla="*/ 1418504 h 6557032"/>
              <a:gd name="connsiteX10556" fmla="*/ 767136 w 4610101"/>
              <a:gd name="connsiteY10556" fmla="*/ 1418504 h 6557032"/>
              <a:gd name="connsiteX10557" fmla="*/ 759848 w 4610101"/>
              <a:gd name="connsiteY10557" fmla="*/ 1423970 h 6557032"/>
              <a:gd name="connsiteX10558" fmla="*/ 767136 w 4610101"/>
              <a:gd name="connsiteY10558" fmla="*/ 1418504 h 6557032"/>
              <a:gd name="connsiteX10559" fmla="*/ 581274 w 4610101"/>
              <a:gd name="connsiteY10559" fmla="*/ 1418504 h 6557032"/>
              <a:gd name="connsiteX10560" fmla="*/ 583096 w 4610101"/>
              <a:gd name="connsiteY10560" fmla="*/ 1429437 h 6557032"/>
              <a:gd name="connsiteX10561" fmla="*/ 592207 w 4610101"/>
              <a:gd name="connsiteY10561" fmla="*/ 1425792 h 6557032"/>
              <a:gd name="connsiteX10562" fmla="*/ 581274 w 4610101"/>
              <a:gd name="connsiteY10562" fmla="*/ 1418504 h 6557032"/>
              <a:gd name="connsiteX10563" fmla="*/ 570341 w 4610101"/>
              <a:gd name="connsiteY10563" fmla="*/ 1418504 h 6557032"/>
              <a:gd name="connsiteX10564" fmla="*/ 568519 w 4610101"/>
              <a:gd name="connsiteY10564" fmla="*/ 1433081 h 6557032"/>
              <a:gd name="connsiteX10565" fmla="*/ 577630 w 4610101"/>
              <a:gd name="connsiteY10565" fmla="*/ 1429437 h 6557032"/>
              <a:gd name="connsiteX10566" fmla="*/ 576053 w 4610101"/>
              <a:gd name="connsiteY10566" fmla="*/ 1427073 h 6557032"/>
              <a:gd name="connsiteX10567" fmla="*/ 576946 w 4610101"/>
              <a:gd name="connsiteY10567" fmla="*/ 1425109 h 6557032"/>
              <a:gd name="connsiteX10568" fmla="*/ 575808 w 4610101"/>
              <a:gd name="connsiteY10568" fmla="*/ 1424671 h 6557032"/>
              <a:gd name="connsiteX10569" fmla="*/ 575808 w 4610101"/>
              <a:gd name="connsiteY10569" fmla="*/ 1420326 h 6557032"/>
              <a:gd name="connsiteX10570" fmla="*/ 573985 w 4610101"/>
              <a:gd name="connsiteY10570" fmla="*/ 1423970 h 6557032"/>
              <a:gd name="connsiteX10571" fmla="*/ 575808 w 4610101"/>
              <a:gd name="connsiteY10571" fmla="*/ 1424671 h 6557032"/>
              <a:gd name="connsiteX10572" fmla="*/ 575808 w 4610101"/>
              <a:gd name="connsiteY10572" fmla="*/ 1426704 h 6557032"/>
              <a:gd name="connsiteX10573" fmla="*/ 462832 w 4610101"/>
              <a:gd name="connsiteY10573" fmla="*/ 1418504 h 6557032"/>
              <a:gd name="connsiteX10574" fmla="*/ 459188 w 4610101"/>
              <a:gd name="connsiteY10574" fmla="*/ 1420326 h 6557032"/>
              <a:gd name="connsiteX10575" fmla="*/ 462832 w 4610101"/>
              <a:gd name="connsiteY10575" fmla="*/ 1418504 h 6557032"/>
              <a:gd name="connsiteX10576" fmla="*/ 3401771 w 4610101"/>
              <a:gd name="connsiteY10576" fmla="*/ 1418504 h 6557032"/>
              <a:gd name="connsiteX10577" fmla="*/ 3398355 w 4610101"/>
              <a:gd name="connsiteY10577" fmla="*/ 1418504 h 6557032"/>
              <a:gd name="connsiteX10578" fmla="*/ 3401999 w 4610101"/>
              <a:gd name="connsiteY10578" fmla="*/ 1423970 h 6557032"/>
              <a:gd name="connsiteX10579" fmla="*/ 3403821 w 4610101"/>
              <a:gd name="connsiteY10579" fmla="*/ 1418504 h 6557032"/>
              <a:gd name="connsiteX10580" fmla="*/ 3401771 w 4610101"/>
              <a:gd name="connsiteY10580" fmla="*/ 1418504 h 6557032"/>
              <a:gd name="connsiteX10581" fmla="*/ 989441 w 4610101"/>
              <a:gd name="connsiteY10581" fmla="*/ 1416681 h 6557032"/>
              <a:gd name="connsiteX10582" fmla="*/ 1009485 w 4610101"/>
              <a:gd name="connsiteY10582" fmla="*/ 1440370 h 6557032"/>
              <a:gd name="connsiteX10583" fmla="*/ 989441 w 4610101"/>
              <a:gd name="connsiteY10583" fmla="*/ 1416681 h 6557032"/>
              <a:gd name="connsiteX10584" fmla="*/ 980330 w 4610101"/>
              <a:gd name="connsiteY10584" fmla="*/ 1416681 h 6557032"/>
              <a:gd name="connsiteX10585" fmla="*/ 987619 w 4610101"/>
              <a:gd name="connsiteY10585" fmla="*/ 1427615 h 6557032"/>
              <a:gd name="connsiteX10586" fmla="*/ 980330 w 4610101"/>
              <a:gd name="connsiteY10586" fmla="*/ 1416681 h 6557032"/>
              <a:gd name="connsiteX10587" fmla="*/ 659627 w 4610101"/>
              <a:gd name="connsiteY10587" fmla="*/ 1416681 h 6557032"/>
              <a:gd name="connsiteX10588" fmla="*/ 650516 w 4610101"/>
              <a:gd name="connsiteY10588" fmla="*/ 1418504 h 6557032"/>
              <a:gd name="connsiteX10589" fmla="*/ 648694 w 4610101"/>
              <a:gd name="connsiteY10589" fmla="*/ 1434903 h 6557032"/>
              <a:gd name="connsiteX10590" fmla="*/ 659627 w 4610101"/>
              <a:gd name="connsiteY10590" fmla="*/ 1416681 h 6557032"/>
              <a:gd name="connsiteX10591" fmla="*/ 535719 w 4610101"/>
              <a:gd name="connsiteY10591" fmla="*/ 1416681 h 6557032"/>
              <a:gd name="connsiteX10592" fmla="*/ 537542 w 4610101"/>
              <a:gd name="connsiteY10592" fmla="*/ 1420326 h 6557032"/>
              <a:gd name="connsiteX10593" fmla="*/ 543008 w 4610101"/>
              <a:gd name="connsiteY10593" fmla="*/ 1416681 h 6557032"/>
              <a:gd name="connsiteX10594" fmla="*/ 535719 w 4610101"/>
              <a:gd name="connsiteY10594" fmla="*/ 1416681 h 6557032"/>
              <a:gd name="connsiteX10595" fmla="*/ 608607 w 4610101"/>
              <a:gd name="connsiteY10595" fmla="*/ 1414859 h 6557032"/>
              <a:gd name="connsiteX10596" fmla="*/ 603140 w 4610101"/>
              <a:gd name="connsiteY10596" fmla="*/ 1418504 h 6557032"/>
              <a:gd name="connsiteX10597" fmla="*/ 614074 w 4610101"/>
              <a:gd name="connsiteY10597" fmla="*/ 1416681 h 6557032"/>
              <a:gd name="connsiteX10598" fmla="*/ 608607 w 4610101"/>
              <a:gd name="connsiteY10598" fmla="*/ 1414859 h 6557032"/>
              <a:gd name="connsiteX10599" fmla="*/ 1140681 w 4610101"/>
              <a:gd name="connsiteY10599" fmla="*/ 1414859 h 6557032"/>
              <a:gd name="connsiteX10600" fmla="*/ 1142503 w 4610101"/>
              <a:gd name="connsiteY10600" fmla="*/ 1416681 h 6557032"/>
              <a:gd name="connsiteX10601" fmla="*/ 1140681 w 4610101"/>
              <a:gd name="connsiteY10601" fmla="*/ 1414859 h 6557032"/>
              <a:gd name="connsiteX10602" fmla="*/ 761670 w 4610101"/>
              <a:gd name="connsiteY10602" fmla="*/ 1414859 h 6557032"/>
              <a:gd name="connsiteX10603" fmla="*/ 758025 w 4610101"/>
              <a:gd name="connsiteY10603" fmla="*/ 1418504 h 6557032"/>
              <a:gd name="connsiteX10604" fmla="*/ 761670 w 4610101"/>
              <a:gd name="connsiteY10604" fmla="*/ 1414859 h 6557032"/>
              <a:gd name="connsiteX10605" fmla="*/ 723404 w 4610101"/>
              <a:gd name="connsiteY10605" fmla="*/ 1414859 h 6557032"/>
              <a:gd name="connsiteX10606" fmla="*/ 717937 w 4610101"/>
              <a:gd name="connsiteY10606" fmla="*/ 1418504 h 6557032"/>
              <a:gd name="connsiteX10607" fmla="*/ 725226 w 4610101"/>
              <a:gd name="connsiteY10607" fmla="*/ 1423970 h 6557032"/>
              <a:gd name="connsiteX10608" fmla="*/ 723404 w 4610101"/>
              <a:gd name="connsiteY10608" fmla="*/ 1414859 h 6557032"/>
              <a:gd name="connsiteX10609" fmla="*/ 1171771 w 4610101"/>
              <a:gd name="connsiteY10609" fmla="*/ 1414004 h 6557032"/>
              <a:gd name="connsiteX10610" fmla="*/ 1172376 w 4610101"/>
              <a:gd name="connsiteY10610" fmla="*/ 1414307 h 6557032"/>
              <a:gd name="connsiteX10611" fmla="*/ 1171886 w 4610101"/>
              <a:gd name="connsiteY10611" fmla="*/ 1414176 h 6557032"/>
              <a:gd name="connsiteX10612" fmla="*/ 849361 w 4610101"/>
              <a:gd name="connsiteY10612" fmla="*/ 1413265 h 6557032"/>
              <a:gd name="connsiteX10613" fmla="*/ 832734 w 4610101"/>
              <a:gd name="connsiteY10613" fmla="*/ 1425792 h 6557032"/>
              <a:gd name="connsiteX10614" fmla="*/ 834556 w 4610101"/>
              <a:gd name="connsiteY10614" fmla="*/ 1425792 h 6557032"/>
              <a:gd name="connsiteX10615" fmla="*/ 835158 w 4610101"/>
              <a:gd name="connsiteY10615" fmla="*/ 1427600 h 6557032"/>
              <a:gd name="connsiteX10616" fmla="*/ 834556 w 4610101"/>
              <a:gd name="connsiteY10616" fmla="*/ 1427615 h 6557032"/>
              <a:gd name="connsiteX10617" fmla="*/ 835184 w 4610101"/>
              <a:gd name="connsiteY10617" fmla="*/ 1427678 h 6557032"/>
              <a:gd name="connsiteX10618" fmla="*/ 836378 w 4610101"/>
              <a:gd name="connsiteY10618" fmla="*/ 1431259 h 6557032"/>
              <a:gd name="connsiteX10619" fmla="*/ 841845 w 4610101"/>
              <a:gd name="connsiteY10619" fmla="*/ 1429437 h 6557032"/>
              <a:gd name="connsiteX10620" fmla="*/ 839112 w 4610101"/>
              <a:gd name="connsiteY10620" fmla="*/ 1428071 h 6557032"/>
              <a:gd name="connsiteX10621" fmla="*/ 852778 w 4610101"/>
              <a:gd name="connsiteY10621" fmla="*/ 1429437 h 6557032"/>
              <a:gd name="connsiteX10622" fmla="*/ 843667 w 4610101"/>
              <a:gd name="connsiteY10622" fmla="*/ 1433081 h 6557032"/>
              <a:gd name="connsiteX10623" fmla="*/ 842209 w 4610101"/>
              <a:gd name="connsiteY10623" fmla="*/ 1434539 h 6557032"/>
              <a:gd name="connsiteX10624" fmla="*/ 841845 w 4610101"/>
              <a:gd name="connsiteY10624" fmla="*/ 1433081 h 6557032"/>
              <a:gd name="connsiteX10625" fmla="*/ 836378 w 4610101"/>
              <a:gd name="connsiteY10625" fmla="*/ 1436725 h 6557032"/>
              <a:gd name="connsiteX10626" fmla="*/ 830912 w 4610101"/>
              <a:gd name="connsiteY10626" fmla="*/ 1434903 h 6557032"/>
              <a:gd name="connsiteX10627" fmla="*/ 825445 w 4610101"/>
              <a:gd name="connsiteY10627" fmla="*/ 1438548 h 6557032"/>
              <a:gd name="connsiteX10628" fmla="*/ 821801 w 4610101"/>
              <a:gd name="connsiteY10628" fmla="*/ 1436725 h 6557032"/>
              <a:gd name="connsiteX10629" fmla="*/ 816334 w 4610101"/>
              <a:gd name="connsiteY10629" fmla="*/ 1438548 h 6557032"/>
              <a:gd name="connsiteX10630" fmla="*/ 821801 w 4610101"/>
              <a:gd name="connsiteY10630" fmla="*/ 1438548 h 6557032"/>
              <a:gd name="connsiteX10631" fmla="*/ 821801 w 4610101"/>
              <a:gd name="connsiteY10631" fmla="*/ 1460414 h 6557032"/>
              <a:gd name="connsiteX10632" fmla="*/ 821801 w 4610101"/>
              <a:gd name="connsiteY10632" fmla="*/ 1456769 h 6557032"/>
              <a:gd name="connsiteX10633" fmla="*/ 834556 w 4610101"/>
              <a:gd name="connsiteY10633" fmla="*/ 1465880 h 6557032"/>
              <a:gd name="connsiteX10634" fmla="*/ 836378 w 4610101"/>
              <a:gd name="connsiteY10634" fmla="*/ 1462236 h 6557032"/>
              <a:gd name="connsiteX10635" fmla="*/ 847311 w 4610101"/>
              <a:gd name="connsiteY10635" fmla="*/ 1469525 h 6557032"/>
              <a:gd name="connsiteX10636" fmla="*/ 849133 w 4610101"/>
              <a:gd name="connsiteY10636" fmla="*/ 1465880 h 6557032"/>
              <a:gd name="connsiteX10637" fmla="*/ 865533 w 4610101"/>
              <a:gd name="connsiteY10637" fmla="*/ 1476813 h 6557032"/>
              <a:gd name="connsiteX10638" fmla="*/ 849133 w 4610101"/>
              <a:gd name="connsiteY10638" fmla="*/ 1484102 h 6557032"/>
              <a:gd name="connsiteX10639" fmla="*/ 849133 w 4610101"/>
              <a:gd name="connsiteY10639" fmla="*/ 1480458 h 6557032"/>
              <a:gd name="connsiteX10640" fmla="*/ 841120 w 4610101"/>
              <a:gd name="connsiteY10640" fmla="*/ 1480830 h 6557032"/>
              <a:gd name="connsiteX10641" fmla="*/ 840022 w 4610101"/>
              <a:gd name="connsiteY10641" fmla="*/ 1478635 h 6557032"/>
              <a:gd name="connsiteX10642" fmla="*/ 840250 w 4610101"/>
              <a:gd name="connsiteY10642" fmla="*/ 1480457 h 6557032"/>
              <a:gd name="connsiteX10643" fmla="*/ 840598 w 4610101"/>
              <a:gd name="connsiteY10643" fmla="*/ 1480854 h 6557032"/>
              <a:gd name="connsiteX10644" fmla="*/ 839339 w 4610101"/>
              <a:gd name="connsiteY10644" fmla="*/ 1480913 h 6557032"/>
              <a:gd name="connsiteX10645" fmla="*/ 830912 w 4610101"/>
              <a:gd name="connsiteY10645" fmla="*/ 1473169 h 6557032"/>
              <a:gd name="connsiteX10646" fmla="*/ 839424 w 4610101"/>
              <a:gd name="connsiteY10646" fmla="*/ 1485240 h 6557032"/>
              <a:gd name="connsiteX10647" fmla="*/ 846205 w 4610101"/>
              <a:gd name="connsiteY10647" fmla="*/ 1485773 h 6557032"/>
              <a:gd name="connsiteX10648" fmla="*/ 845489 w 4610101"/>
              <a:gd name="connsiteY10648" fmla="*/ 1485924 h 6557032"/>
              <a:gd name="connsiteX10649" fmla="*/ 856422 w 4610101"/>
              <a:gd name="connsiteY10649" fmla="*/ 1495035 h 6557032"/>
              <a:gd name="connsiteX10650" fmla="*/ 856422 w 4610101"/>
              <a:gd name="connsiteY10650" fmla="*/ 1500501 h 6557032"/>
              <a:gd name="connsiteX10651" fmla="*/ 858244 w 4610101"/>
              <a:gd name="connsiteY10651" fmla="*/ 1487746 h 6557032"/>
              <a:gd name="connsiteX10652" fmla="*/ 863711 w 4610101"/>
              <a:gd name="connsiteY10652" fmla="*/ 1493213 h 6557032"/>
              <a:gd name="connsiteX10653" fmla="*/ 872822 w 4610101"/>
              <a:gd name="connsiteY10653" fmla="*/ 1485924 h 6557032"/>
              <a:gd name="connsiteX10654" fmla="*/ 863711 w 4610101"/>
              <a:gd name="connsiteY10654" fmla="*/ 1502324 h 6557032"/>
              <a:gd name="connsiteX10655" fmla="*/ 860066 w 4610101"/>
              <a:gd name="connsiteY10655" fmla="*/ 1502324 h 6557032"/>
              <a:gd name="connsiteX10656" fmla="*/ 861889 w 4610101"/>
              <a:gd name="connsiteY10656" fmla="*/ 1498679 h 6557032"/>
              <a:gd name="connsiteX10657" fmla="*/ 852778 w 4610101"/>
              <a:gd name="connsiteY10657" fmla="*/ 1509612 h 6557032"/>
              <a:gd name="connsiteX10658" fmla="*/ 856422 w 4610101"/>
              <a:gd name="connsiteY10658" fmla="*/ 1511434 h 6557032"/>
              <a:gd name="connsiteX10659" fmla="*/ 860066 w 4610101"/>
              <a:gd name="connsiteY10659" fmla="*/ 1518723 h 6557032"/>
              <a:gd name="connsiteX10660" fmla="*/ 860066 w 4610101"/>
              <a:gd name="connsiteY10660" fmla="*/ 1513257 h 6557032"/>
              <a:gd name="connsiteX10661" fmla="*/ 865533 w 4610101"/>
              <a:gd name="connsiteY10661" fmla="*/ 1516901 h 6557032"/>
              <a:gd name="connsiteX10662" fmla="*/ 861889 w 4610101"/>
              <a:gd name="connsiteY10662" fmla="*/ 1522368 h 6557032"/>
              <a:gd name="connsiteX10663" fmla="*/ 856422 w 4610101"/>
              <a:gd name="connsiteY10663" fmla="*/ 1518723 h 6557032"/>
              <a:gd name="connsiteX10664" fmla="*/ 856422 w 4610101"/>
              <a:gd name="connsiteY10664" fmla="*/ 1522368 h 6557032"/>
              <a:gd name="connsiteX10665" fmla="*/ 854599 w 4610101"/>
              <a:gd name="connsiteY10665" fmla="*/ 1520544 h 6557032"/>
              <a:gd name="connsiteX10666" fmla="*/ 854600 w 4610101"/>
              <a:gd name="connsiteY10666" fmla="*/ 1520545 h 6557032"/>
              <a:gd name="connsiteX10667" fmla="*/ 849133 w 4610101"/>
              <a:gd name="connsiteY10667" fmla="*/ 1513257 h 6557032"/>
              <a:gd name="connsiteX10668" fmla="*/ 845489 w 4610101"/>
              <a:gd name="connsiteY10668" fmla="*/ 1516901 h 6557032"/>
              <a:gd name="connsiteX10669" fmla="*/ 853044 w 4610101"/>
              <a:gd name="connsiteY10669" fmla="*/ 1519923 h 6557032"/>
              <a:gd name="connsiteX10670" fmla="*/ 856877 w 4610101"/>
              <a:gd name="connsiteY10670" fmla="*/ 1537173 h 6557032"/>
              <a:gd name="connsiteX10671" fmla="*/ 869177 w 4610101"/>
              <a:gd name="connsiteY10671" fmla="*/ 1551522 h 6557032"/>
              <a:gd name="connsiteX10672" fmla="*/ 863711 w 4610101"/>
              <a:gd name="connsiteY10672" fmla="*/ 1551522 h 6557032"/>
              <a:gd name="connsiteX10673" fmla="*/ 909265 w 4610101"/>
              <a:gd name="connsiteY10673" fmla="*/ 1564278 h 6557032"/>
              <a:gd name="connsiteX10674" fmla="*/ 907444 w 4610101"/>
              <a:gd name="connsiteY10674" fmla="*/ 1562455 h 6557032"/>
              <a:gd name="connsiteX10675" fmla="*/ 949353 w 4610101"/>
              <a:gd name="connsiteY10675" fmla="*/ 1582499 h 6557032"/>
              <a:gd name="connsiteX10676" fmla="*/ 960286 w 4610101"/>
              <a:gd name="connsiteY10676" fmla="*/ 1589788 h 6557032"/>
              <a:gd name="connsiteX10677" fmla="*/ 969397 w 4610101"/>
              <a:gd name="connsiteY10677" fmla="*/ 1587966 h 6557032"/>
              <a:gd name="connsiteX10678" fmla="*/ 965753 w 4610101"/>
              <a:gd name="connsiteY10678" fmla="*/ 1591610 h 6557032"/>
              <a:gd name="connsiteX10679" fmla="*/ 1004018 w 4610101"/>
              <a:gd name="connsiteY10679" fmla="*/ 1602543 h 6557032"/>
              <a:gd name="connsiteX10680" fmla="*/ 976686 w 4610101"/>
              <a:gd name="connsiteY10680" fmla="*/ 1584321 h 6557032"/>
              <a:gd name="connsiteX10681" fmla="*/ 985796 w 4610101"/>
              <a:gd name="connsiteY10681" fmla="*/ 1578855 h 6557032"/>
              <a:gd name="connsiteX10682" fmla="*/ 960286 w 4610101"/>
              <a:gd name="connsiteY10682" fmla="*/ 1558811 h 6557032"/>
              <a:gd name="connsiteX10683" fmla="*/ 962108 w 4610101"/>
              <a:gd name="connsiteY10683" fmla="*/ 1556989 h 6557032"/>
              <a:gd name="connsiteX10684" fmla="*/ 942064 w 4610101"/>
              <a:gd name="connsiteY10684" fmla="*/ 1556989 h 6557032"/>
              <a:gd name="connsiteX10685" fmla="*/ 967575 w 4610101"/>
              <a:gd name="connsiteY10685" fmla="*/ 1551522 h 6557032"/>
              <a:gd name="connsiteX10686" fmla="*/ 951175 w 4610101"/>
              <a:gd name="connsiteY10686" fmla="*/ 1538767 h 6557032"/>
              <a:gd name="connsiteX10687" fmla="*/ 1025884 w 4610101"/>
              <a:gd name="connsiteY10687" fmla="*/ 1546056 h 6557032"/>
              <a:gd name="connsiteX10688" fmla="*/ 1024062 w 4610101"/>
              <a:gd name="connsiteY10688" fmla="*/ 1544234 h 6557032"/>
              <a:gd name="connsiteX10689" fmla="*/ 1036818 w 4610101"/>
              <a:gd name="connsiteY10689" fmla="*/ 1547878 h 6557032"/>
              <a:gd name="connsiteX10690" fmla="*/ 1020418 w 4610101"/>
              <a:gd name="connsiteY10690" fmla="*/ 1536945 h 6557032"/>
              <a:gd name="connsiteX10691" fmla="*/ 1055040 w 4610101"/>
              <a:gd name="connsiteY10691" fmla="*/ 1551522 h 6557032"/>
              <a:gd name="connsiteX10692" fmla="*/ 1049573 w 4610101"/>
              <a:gd name="connsiteY10692" fmla="*/ 1547878 h 6557032"/>
              <a:gd name="connsiteX10693" fmla="*/ 1074071 w 4610101"/>
              <a:gd name="connsiteY10693" fmla="*/ 1555976 h 6557032"/>
              <a:gd name="connsiteX10694" fmla="*/ 1049573 w 4610101"/>
              <a:gd name="connsiteY10694" fmla="*/ 1551522 h 6557032"/>
              <a:gd name="connsiteX10695" fmla="*/ 1065972 w 4610101"/>
              <a:gd name="connsiteY10695" fmla="*/ 1560633 h 6557032"/>
              <a:gd name="connsiteX10696" fmla="*/ 1040462 w 4610101"/>
              <a:gd name="connsiteY10696" fmla="*/ 1553345 h 6557032"/>
              <a:gd name="connsiteX10697" fmla="*/ 1045929 w 4610101"/>
              <a:gd name="connsiteY10697" fmla="*/ 1553345 h 6557032"/>
              <a:gd name="connsiteX10698" fmla="*/ 1021072 w 4610101"/>
              <a:gd name="connsiteY10698" fmla="*/ 1552063 h 6557032"/>
              <a:gd name="connsiteX10699" fmla="*/ 1020063 w 4610101"/>
              <a:gd name="connsiteY10699" fmla="*/ 1553328 h 6557032"/>
              <a:gd name="connsiteX10700" fmla="*/ 996502 w 4610101"/>
              <a:gd name="connsiteY10700" fmla="*/ 1552206 h 6557032"/>
              <a:gd name="connsiteX10701" fmla="*/ 971219 w 4610101"/>
              <a:gd name="connsiteY10701" fmla="*/ 1555167 h 6557032"/>
              <a:gd name="connsiteX10702" fmla="*/ 1014951 w 4610101"/>
              <a:gd name="connsiteY10702" fmla="*/ 1556989 h 6557032"/>
              <a:gd name="connsiteX10703" fmla="*/ 989441 w 4610101"/>
              <a:gd name="connsiteY10703" fmla="*/ 1573388 h 6557032"/>
              <a:gd name="connsiteX10704" fmla="*/ 1025884 w 4610101"/>
              <a:gd name="connsiteY10704" fmla="*/ 1611654 h 6557032"/>
              <a:gd name="connsiteX10705" fmla="*/ 1022240 w 4610101"/>
              <a:gd name="connsiteY10705" fmla="*/ 1606188 h 6557032"/>
              <a:gd name="connsiteX10706" fmla="*/ 1020418 w 4610101"/>
              <a:gd name="connsiteY10706" fmla="*/ 1602543 h 6557032"/>
              <a:gd name="connsiteX10707" fmla="*/ 1031351 w 4610101"/>
              <a:gd name="connsiteY10707" fmla="*/ 1611654 h 6557032"/>
              <a:gd name="connsiteX10708" fmla="*/ 1027707 w 4610101"/>
              <a:gd name="connsiteY10708" fmla="*/ 1611654 h 6557032"/>
              <a:gd name="connsiteX10709" fmla="*/ 1045929 w 4610101"/>
              <a:gd name="connsiteY10709" fmla="*/ 1618943 h 6557032"/>
              <a:gd name="connsiteX10710" fmla="*/ 1040462 w 4610101"/>
              <a:gd name="connsiteY10710" fmla="*/ 1609832 h 6557032"/>
              <a:gd name="connsiteX10711" fmla="*/ 1084194 w 4610101"/>
              <a:gd name="connsiteY10711" fmla="*/ 1635342 h 6557032"/>
              <a:gd name="connsiteX10712" fmla="*/ 1075083 w 4610101"/>
              <a:gd name="connsiteY10712" fmla="*/ 1613476 h 6557032"/>
              <a:gd name="connsiteX10713" fmla="*/ 1095127 w 4610101"/>
              <a:gd name="connsiteY10713" fmla="*/ 1635342 h 6557032"/>
              <a:gd name="connsiteX10714" fmla="*/ 1115171 w 4610101"/>
              <a:gd name="connsiteY10714" fmla="*/ 1638987 h 6557032"/>
              <a:gd name="connsiteX10715" fmla="*/ 1140681 w 4610101"/>
              <a:gd name="connsiteY10715" fmla="*/ 1648097 h 6557032"/>
              <a:gd name="connsiteX10716" fmla="*/ 1135215 w 4610101"/>
              <a:gd name="connsiteY10716" fmla="*/ 1642631 h 6557032"/>
              <a:gd name="connsiteX10717" fmla="*/ 1138859 w 4610101"/>
              <a:gd name="connsiteY10717" fmla="*/ 1640809 h 6557032"/>
              <a:gd name="connsiteX10718" fmla="*/ 1146148 w 4610101"/>
              <a:gd name="connsiteY10718" fmla="*/ 1644453 h 6557032"/>
              <a:gd name="connsiteX10719" fmla="*/ 1137037 w 4610101"/>
              <a:gd name="connsiteY10719" fmla="*/ 1635342 h 6557032"/>
              <a:gd name="connsiteX10720" fmla="*/ 1138859 w 4610101"/>
              <a:gd name="connsiteY10720" fmla="*/ 1640809 h 6557032"/>
              <a:gd name="connsiteX10721" fmla="*/ 1104238 w 4610101"/>
              <a:gd name="connsiteY10721" fmla="*/ 1613476 h 6557032"/>
              <a:gd name="connsiteX10722" fmla="*/ 1131570 w 4610101"/>
              <a:gd name="connsiteY10722" fmla="*/ 1629876 h 6557032"/>
              <a:gd name="connsiteX10723" fmla="*/ 1133393 w 4610101"/>
              <a:gd name="connsiteY10723" fmla="*/ 1628054 h 6557032"/>
              <a:gd name="connsiteX10724" fmla="*/ 1147970 w 4610101"/>
              <a:gd name="connsiteY10724" fmla="*/ 1640809 h 6557032"/>
              <a:gd name="connsiteX10725" fmla="*/ 1146148 w 4610101"/>
              <a:gd name="connsiteY10725" fmla="*/ 1633520 h 6557032"/>
              <a:gd name="connsiteX10726" fmla="*/ 1168014 w 4610101"/>
              <a:gd name="connsiteY10726" fmla="*/ 1649920 h 6557032"/>
              <a:gd name="connsiteX10727" fmla="*/ 1168014 w 4610101"/>
              <a:gd name="connsiteY10727" fmla="*/ 1631698 h 6557032"/>
              <a:gd name="connsiteX10728" fmla="*/ 1151614 w 4610101"/>
              <a:gd name="connsiteY10728" fmla="*/ 1624409 h 6557032"/>
              <a:gd name="connsiteX10729" fmla="*/ 1155259 w 4610101"/>
              <a:gd name="connsiteY10729" fmla="*/ 1620765 h 6557032"/>
              <a:gd name="connsiteX10730" fmla="*/ 1127926 w 4610101"/>
              <a:gd name="connsiteY10730" fmla="*/ 1608010 h 6557032"/>
              <a:gd name="connsiteX10731" fmla="*/ 1147970 w 4610101"/>
              <a:gd name="connsiteY10731" fmla="*/ 1615298 h 6557032"/>
              <a:gd name="connsiteX10732" fmla="*/ 1127797 w 4610101"/>
              <a:gd name="connsiteY10732" fmla="*/ 1591662 h 6557032"/>
              <a:gd name="connsiteX10733" fmla="*/ 1131115 w 4610101"/>
              <a:gd name="connsiteY10733" fmla="*/ 1595027 h 6557032"/>
              <a:gd name="connsiteX10734" fmla="*/ 1149792 w 4610101"/>
              <a:gd name="connsiteY10734" fmla="*/ 1615298 h 6557032"/>
              <a:gd name="connsiteX10735" fmla="*/ 1146148 w 4610101"/>
              <a:gd name="connsiteY10735" fmla="*/ 1609832 h 6557032"/>
              <a:gd name="connsiteX10736" fmla="*/ 1166192 w 4610101"/>
              <a:gd name="connsiteY10736" fmla="*/ 1615298 h 6557032"/>
              <a:gd name="connsiteX10737" fmla="*/ 1164370 w 4610101"/>
              <a:gd name="connsiteY10737" fmla="*/ 1604365 h 6557032"/>
              <a:gd name="connsiteX10738" fmla="*/ 1140681 w 4610101"/>
              <a:gd name="connsiteY10738" fmla="*/ 1591610 h 6557032"/>
              <a:gd name="connsiteX10739" fmla="*/ 1115171 w 4610101"/>
              <a:gd name="connsiteY10739" fmla="*/ 1578855 h 6557032"/>
              <a:gd name="connsiteX10740" fmla="*/ 1123780 w 4610101"/>
              <a:gd name="connsiteY10740" fmla="*/ 1587587 h 6557032"/>
              <a:gd name="connsiteX10741" fmla="*/ 1098771 w 4610101"/>
              <a:gd name="connsiteY10741" fmla="*/ 1567922 h 6557032"/>
              <a:gd name="connsiteX10742" fmla="*/ 1093027 w 4610101"/>
              <a:gd name="connsiteY10742" fmla="*/ 1569645 h 6557032"/>
              <a:gd name="connsiteX10743" fmla="*/ 1067794 w 4610101"/>
              <a:gd name="connsiteY10743" fmla="*/ 1560633 h 6557032"/>
              <a:gd name="connsiteX10744" fmla="*/ 1096949 w 4610101"/>
              <a:gd name="connsiteY10744" fmla="*/ 1566100 h 6557032"/>
              <a:gd name="connsiteX10745" fmla="*/ 1075326 w 4610101"/>
              <a:gd name="connsiteY10745" fmla="*/ 1556392 h 6557032"/>
              <a:gd name="connsiteX10746" fmla="*/ 1077133 w 4610101"/>
              <a:gd name="connsiteY10746" fmla="*/ 1556989 h 6557032"/>
              <a:gd name="connsiteX10747" fmla="*/ 1111526 w 4610101"/>
              <a:gd name="connsiteY10747" fmla="*/ 1566100 h 6557032"/>
              <a:gd name="connsiteX10748" fmla="*/ 1120637 w 4610101"/>
              <a:gd name="connsiteY10748" fmla="*/ 1575211 h 6557032"/>
              <a:gd name="connsiteX10749" fmla="*/ 1120637 w 4610101"/>
              <a:gd name="connsiteY10749" fmla="*/ 1569744 h 6557032"/>
              <a:gd name="connsiteX10750" fmla="*/ 1122459 w 4610101"/>
              <a:gd name="connsiteY10750" fmla="*/ 1575211 h 6557032"/>
              <a:gd name="connsiteX10751" fmla="*/ 1129748 w 4610101"/>
              <a:gd name="connsiteY10751" fmla="*/ 1578855 h 6557032"/>
              <a:gd name="connsiteX10752" fmla="*/ 1135750 w 4610101"/>
              <a:gd name="connsiteY10752" fmla="*/ 1574353 h 6557032"/>
              <a:gd name="connsiteX10753" fmla="*/ 1136228 w 4610101"/>
              <a:gd name="connsiteY10753" fmla="*/ 1575008 h 6557032"/>
              <a:gd name="connsiteX10754" fmla="*/ 1135670 w 4610101"/>
              <a:gd name="connsiteY10754" fmla="*/ 1576122 h 6557032"/>
              <a:gd name="connsiteX10755" fmla="*/ 1131570 w 4610101"/>
              <a:gd name="connsiteY10755" fmla="*/ 1578855 h 6557032"/>
              <a:gd name="connsiteX10756" fmla="*/ 1164370 w 4610101"/>
              <a:gd name="connsiteY10756" fmla="*/ 1595255 h 6557032"/>
              <a:gd name="connsiteX10757" fmla="*/ 1137037 w 4610101"/>
              <a:gd name="connsiteY10757" fmla="*/ 1571566 h 6557032"/>
              <a:gd name="connsiteX10758" fmla="*/ 1109704 w 4610101"/>
              <a:gd name="connsiteY10758" fmla="*/ 1558811 h 6557032"/>
              <a:gd name="connsiteX10759" fmla="*/ 1115171 w 4610101"/>
              <a:gd name="connsiteY10759" fmla="*/ 1555167 h 6557032"/>
              <a:gd name="connsiteX10760" fmla="*/ 1115171 w 4610101"/>
              <a:gd name="connsiteY10760" fmla="*/ 1551522 h 6557032"/>
              <a:gd name="connsiteX10761" fmla="*/ 1088932 w 4610101"/>
              <a:gd name="connsiteY10761" fmla="*/ 1537917 h 6557032"/>
              <a:gd name="connsiteX10762" fmla="*/ 1073427 w 4610101"/>
              <a:gd name="connsiteY10762" fmla="*/ 1529877 h 6557032"/>
              <a:gd name="connsiteX10763" fmla="*/ 1086016 w 4610101"/>
              <a:gd name="connsiteY10763" fmla="*/ 1535123 h 6557032"/>
              <a:gd name="connsiteX10764" fmla="*/ 1086016 w 4610101"/>
              <a:gd name="connsiteY10764" fmla="*/ 1529656 h 6557032"/>
              <a:gd name="connsiteX10765" fmla="*/ 1095127 w 4610101"/>
              <a:gd name="connsiteY10765" fmla="*/ 1538767 h 6557032"/>
              <a:gd name="connsiteX10766" fmla="*/ 1098771 w 4610101"/>
              <a:gd name="connsiteY10766" fmla="*/ 1529656 h 6557032"/>
              <a:gd name="connsiteX10767" fmla="*/ 1087838 w 4610101"/>
              <a:gd name="connsiteY10767" fmla="*/ 1522368 h 6557032"/>
              <a:gd name="connsiteX10768" fmla="*/ 1087838 w 4610101"/>
              <a:gd name="connsiteY10768" fmla="*/ 1523068 h 6557032"/>
              <a:gd name="connsiteX10769" fmla="*/ 1086699 w 4610101"/>
              <a:gd name="connsiteY10769" fmla="*/ 1522367 h 6557032"/>
              <a:gd name="connsiteX10770" fmla="*/ 1082373 w 4610101"/>
              <a:gd name="connsiteY10770" fmla="*/ 1520545 h 6557032"/>
              <a:gd name="connsiteX10771" fmla="*/ 1084265 w 4610101"/>
              <a:gd name="connsiteY10771" fmla="*/ 1523764 h 6557032"/>
              <a:gd name="connsiteX10772" fmla="*/ 1073716 w 4610101"/>
              <a:gd name="connsiteY10772" fmla="*/ 1517129 h 6557032"/>
              <a:gd name="connsiteX10773" fmla="*/ 1073457 w 4610101"/>
              <a:gd name="connsiteY10773" fmla="*/ 1517097 h 6557032"/>
              <a:gd name="connsiteX10774" fmla="*/ 1069616 w 4610101"/>
              <a:gd name="connsiteY10774" fmla="*/ 1513257 h 6557032"/>
              <a:gd name="connsiteX10775" fmla="*/ 1084194 w 4610101"/>
              <a:gd name="connsiteY10775" fmla="*/ 1515079 h 6557032"/>
              <a:gd name="connsiteX10776" fmla="*/ 1071439 w 4610101"/>
              <a:gd name="connsiteY10776" fmla="*/ 1505968 h 6557032"/>
              <a:gd name="connsiteX10777" fmla="*/ 1080549 w 4610101"/>
              <a:gd name="connsiteY10777" fmla="*/ 1505968 h 6557032"/>
              <a:gd name="connsiteX10778" fmla="*/ 1065972 w 4610101"/>
              <a:gd name="connsiteY10778" fmla="*/ 1500501 h 6557032"/>
              <a:gd name="connsiteX10779" fmla="*/ 1069616 w 4610101"/>
              <a:gd name="connsiteY10779" fmla="*/ 1504146 h 6557032"/>
              <a:gd name="connsiteX10780" fmla="*/ 1058000 w 4610101"/>
              <a:gd name="connsiteY10780" fmla="*/ 1502324 h 6557032"/>
              <a:gd name="connsiteX10781" fmla="*/ 1055863 w 4610101"/>
              <a:gd name="connsiteY10781" fmla="*/ 1503083 h 6557032"/>
              <a:gd name="connsiteX10782" fmla="*/ 1041230 w 4610101"/>
              <a:gd name="connsiteY10782" fmla="*/ 1496059 h 6557032"/>
              <a:gd name="connsiteX10783" fmla="*/ 1040462 w 4610101"/>
              <a:gd name="connsiteY10783" fmla="*/ 1495035 h 6557032"/>
              <a:gd name="connsiteX10784" fmla="*/ 1038950 w 4610101"/>
              <a:gd name="connsiteY10784" fmla="*/ 1494783 h 6557032"/>
              <a:gd name="connsiteX10785" fmla="*/ 1047067 w 4610101"/>
              <a:gd name="connsiteY10785" fmla="*/ 1488202 h 6557032"/>
              <a:gd name="connsiteX10786" fmla="*/ 1051395 w 4610101"/>
              <a:gd name="connsiteY10786" fmla="*/ 1478635 h 6557032"/>
              <a:gd name="connsiteX10787" fmla="*/ 1055040 w 4610101"/>
              <a:gd name="connsiteY10787" fmla="*/ 1480458 h 6557032"/>
              <a:gd name="connsiteX10788" fmla="*/ 1044106 w 4610101"/>
              <a:gd name="connsiteY10788" fmla="*/ 1491391 h 6557032"/>
              <a:gd name="connsiteX10789" fmla="*/ 1067794 w 4610101"/>
              <a:gd name="connsiteY10789" fmla="*/ 1495035 h 6557032"/>
              <a:gd name="connsiteX10790" fmla="*/ 1065972 w 4610101"/>
              <a:gd name="connsiteY10790" fmla="*/ 1495035 h 6557032"/>
              <a:gd name="connsiteX10791" fmla="*/ 1075083 w 4610101"/>
              <a:gd name="connsiteY10791" fmla="*/ 1493213 h 6557032"/>
              <a:gd name="connsiteX10792" fmla="*/ 1055040 w 4610101"/>
              <a:gd name="connsiteY10792" fmla="*/ 1471347 h 6557032"/>
              <a:gd name="connsiteX10793" fmla="*/ 1051395 w 4610101"/>
              <a:gd name="connsiteY10793" fmla="*/ 1476813 h 6557032"/>
              <a:gd name="connsiteX10794" fmla="*/ 1049573 w 4610101"/>
              <a:gd name="connsiteY10794" fmla="*/ 1471347 h 6557032"/>
              <a:gd name="connsiteX10795" fmla="*/ 1019279 w 4610101"/>
              <a:gd name="connsiteY10795" fmla="*/ 1458591 h 6557032"/>
              <a:gd name="connsiteX10796" fmla="*/ 1007663 w 4610101"/>
              <a:gd name="connsiteY10796" fmla="*/ 1455917 h 6557032"/>
              <a:gd name="connsiteX10797" fmla="*/ 1007663 w 4610101"/>
              <a:gd name="connsiteY10797" fmla="*/ 1454947 h 6557032"/>
              <a:gd name="connsiteX10798" fmla="*/ 1024062 w 4610101"/>
              <a:gd name="connsiteY10798" fmla="*/ 1458592 h 6557032"/>
              <a:gd name="connsiteX10799" fmla="*/ 1007663 w 4610101"/>
              <a:gd name="connsiteY10799" fmla="*/ 1454947 h 6557032"/>
              <a:gd name="connsiteX10800" fmla="*/ 1007663 w 4610101"/>
              <a:gd name="connsiteY10800" fmla="*/ 1453125 h 6557032"/>
              <a:gd name="connsiteX10801" fmla="*/ 1000602 w 4610101"/>
              <a:gd name="connsiteY10801" fmla="*/ 1454036 h 6557032"/>
              <a:gd name="connsiteX10802" fmla="*/ 999946 w 4610101"/>
              <a:gd name="connsiteY10802" fmla="*/ 1454141 h 6557032"/>
              <a:gd name="connsiteX10803" fmla="*/ 987619 w 4610101"/>
              <a:gd name="connsiteY10803" fmla="*/ 1451303 h 6557032"/>
              <a:gd name="connsiteX10804" fmla="*/ 983974 w 4610101"/>
              <a:gd name="connsiteY10804" fmla="*/ 1456769 h 6557032"/>
              <a:gd name="connsiteX10805" fmla="*/ 983974 w 4610101"/>
              <a:gd name="connsiteY10805" fmla="*/ 1451303 h 6557032"/>
              <a:gd name="connsiteX10806" fmla="*/ 973041 w 4610101"/>
              <a:gd name="connsiteY10806" fmla="*/ 1447658 h 6557032"/>
              <a:gd name="connsiteX10807" fmla="*/ 936598 w 4610101"/>
              <a:gd name="connsiteY10807" fmla="*/ 1460414 h 6557032"/>
              <a:gd name="connsiteX10808" fmla="*/ 940148 w 4610101"/>
              <a:gd name="connsiteY10808" fmla="*/ 1458757 h 6557032"/>
              <a:gd name="connsiteX10809" fmla="*/ 956642 w 4610101"/>
              <a:gd name="connsiteY10809" fmla="*/ 1453125 h 6557032"/>
              <a:gd name="connsiteX10810" fmla="*/ 954188 w 4610101"/>
              <a:gd name="connsiteY10810" fmla="*/ 1452205 h 6557032"/>
              <a:gd name="connsiteX10811" fmla="*/ 963930 w 4610101"/>
              <a:gd name="connsiteY10811" fmla="*/ 1447658 h 6557032"/>
              <a:gd name="connsiteX10812" fmla="*/ 951175 w 4610101"/>
              <a:gd name="connsiteY10812" fmla="*/ 1449481 h 6557032"/>
              <a:gd name="connsiteX10813" fmla="*/ 949036 w 4610101"/>
              <a:gd name="connsiteY10813" fmla="*/ 1450273 h 6557032"/>
              <a:gd name="connsiteX10814" fmla="*/ 927487 w 4610101"/>
              <a:gd name="connsiteY10814" fmla="*/ 1442192 h 6557032"/>
              <a:gd name="connsiteX10815" fmla="*/ 931131 w 4610101"/>
              <a:gd name="connsiteY10815" fmla="*/ 1440370 h 6557032"/>
              <a:gd name="connsiteX10816" fmla="*/ 860066 w 4610101"/>
              <a:gd name="connsiteY10816" fmla="*/ 1429437 h 6557032"/>
              <a:gd name="connsiteX10817" fmla="*/ 871000 w 4610101"/>
              <a:gd name="connsiteY10817" fmla="*/ 1422148 h 6557032"/>
              <a:gd name="connsiteX10818" fmla="*/ 874644 w 4610101"/>
              <a:gd name="connsiteY10818" fmla="*/ 1418504 h 6557032"/>
              <a:gd name="connsiteX10819" fmla="*/ 871000 w 4610101"/>
              <a:gd name="connsiteY10819" fmla="*/ 1420326 h 6557032"/>
              <a:gd name="connsiteX10820" fmla="*/ 872822 w 4610101"/>
              <a:gd name="connsiteY10820" fmla="*/ 1418504 h 6557032"/>
              <a:gd name="connsiteX10821" fmla="*/ 849361 w 4610101"/>
              <a:gd name="connsiteY10821" fmla="*/ 1413265 h 6557032"/>
              <a:gd name="connsiteX10822" fmla="*/ 3197916 w 4610101"/>
              <a:gd name="connsiteY10822" fmla="*/ 1413037 h 6557032"/>
              <a:gd name="connsiteX10823" fmla="*/ 3196093 w 4610101"/>
              <a:gd name="connsiteY10823" fmla="*/ 1423970 h 6557032"/>
              <a:gd name="connsiteX10824" fmla="*/ 3199738 w 4610101"/>
              <a:gd name="connsiteY10824" fmla="*/ 1425792 h 6557032"/>
              <a:gd name="connsiteX10825" fmla="*/ 3199738 w 4610101"/>
              <a:gd name="connsiteY10825" fmla="*/ 1418504 h 6557032"/>
              <a:gd name="connsiteX10826" fmla="*/ 3203382 w 4610101"/>
              <a:gd name="connsiteY10826" fmla="*/ 1423970 h 6557032"/>
              <a:gd name="connsiteX10827" fmla="*/ 3199738 w 4610101"/>
              <a:gd name="connsiteY10827" fmla="*/ 1413037 h 6557032"/>
              <a:gd name="connsiteX10828" fmla="*/ 3197916 w 4610101"/>
              <a:gd name="connsiteY10828" fmla="*/ 1413037 h 6557032"/>
              <a:gd name="connsiteX10829" fmla="*/ 3190627 w 4610101"/>
              <a:gd name="connsiteY10829" fmla="*/ 1413037 h 6557032"/>
              <a:gd name="connsiteX10830" fmla="*/ 3181516 w 4610101"/>
              <a:gd name="connsiteY10830" fmla="*/ 1414859 h 6557032"/>
              <a:gd name="connsiteX10831" fmla="*/ 3190627 w 4610101"/>
              <a:gd name="connsiteY10831" fmla="*/ 1420326 h 6557032"/>
              <a:gd name="connsiteX10832" fmla="*/ 3190627 w 4610101"/>
              <a:gd name="connsiteY10832" fmla="*/ 1413037 h 6557032"/>
              <a:gd name="connsiteX10833" fmla="*/ 674205 w 4610101"/>
              <a:gd name="connsiteY10833" fmla="*/ 1413037 h 6557032"/>
              <a:gd name="connsiteX10834" fmla="*/ 670560 w 4610101"/>
              <a:gd name="connsiteY10834" fmla="*/ 1427615 h 6557032"/>
              <a:gd name="connsiteX10835" fmla="*/ 677849 w 4610101"/>
              <a:gd name="connsiteY10835" fmla="*/ 1423970 h 6557032"/>
              <a:gd name="connsiteX10836" fmla="*/ 676027 w 4610101"/>
              <a:gd name="connsiteY10836" fmla="*/ 1431259 h 6557032"/>
              <a:gd name="connsiteX10837" fmla="*/ 681493 w 4610101"/>
              <a:gd name="connsiteY10837" fmla="*/ 1422148 h 6557032"/>
              <a:gd name="connsiteX10838" fmla="*/ 681493 w 4610101"/>
              <a:gd name="connsiteY10838" fmla="*/ 1440370 h 6557032"/>
              <a:gd name="connsiteX10839" fmla="*/ 676027 w 4610101"/>
              <a:gd name="connsiteY10839" fmla="*/ 1440370 h 6557032"/>
              <a:gd name="connsiteX10840" fmla="*/ 685138 w 4610101"/>
              <a:gd name="connsiteY10840" fmla="*/ 1445836 h 6557032"/>
              <a:gd name="connsiteX10841" fmla="*/ 692426 w 4610101"/>
              <a:gd name="connsiteY10841" fmla="*/ 1423970 h 6557032"/>
              <a:gd name="connsiteX10842" fmla="*/ 674205 w 4610101"/>
              <a:gd name="connsiteY10842" fmla="*/ 1413037 h 6557032"/>
              <a:gd name="connsiteX10843" fmla="*/ 652566 w 4610101"/>
              <a:gd name="connsiteY10843" fmla="*/ 1413037 h 6557032"/>
              <a:gd name="connsiteX10844" fmla="*/ 648694 w 4610101"/>
              <a:gd name="connsiteY10844" fmla="*/ 1416681 h 6557032"/>
              <a:gd name="connsiteX10845" fmla="*/ 657805 w 4610101"/>
              <a:gd name="connsiteY10845" fmla="*/ 1414859 h 6557032"/>
              <a:gd name="connsiteX10846" fmla="*/ 652566 w 4610101"/>
              <a:gd name="connsiteY10846" fmla="*/ 1413037 h 6557032"/>
              <a:gd name="connsiteX10847" fmla="*/ 573985 w 4610101"/>
              <a:gd name="connsiteY10847" fmla="*/ 1413037 h 6557032"/>
              <a:gd name="connsiteX10848" fmla="*/ 577630 w 4610101"/>
              <a:gd name="connsiteY10848" fmla="*/ 1418504 h 6557032"/>
              <a:gd name="connsiteX10849" fmla="*/ 575808 w 4610101"/>
              <a:gd name="connsiteY10849" fmla="*/ 1414859 h 6557032"/>
              <a:gd name="connsiteX10850" fmla="*/ 581274 w 4610101"/>
              <a:gd name="connsiteY10850" fmla="*/ 1416681 h 6557032"/>
              <a:gd name="connsiteX10851" fmla="*/ 573985 w 4610101"/>
              <a:gd name="connsiteY10851" fmla="*/ 1413037 h 6557032"/>
              <a:gd name="connsiteX10852" fmla="*/ 453494 w 4610101"/>
              <a:gd name="connsiteY10852" fmla="*/ 1413037 h 6557032"/>
              <a:gd name="connsiteX10853" fmla="*/ 453591 w 4610101"/>
              <a:gd name="connsiteY10853" fmla="*/ 1414586 h 6557032"/>
              <a:gd name="connsiteX10854" fmla="*/ 452782 w 4610101"/>
              <a:gd name="connsiteY10854" fmla="*/ 1414717 h 6557032"/>
              <a:gd name="connsiteX10855" fmla="*/ 452230 w 4610101"/>
              <a:gd name="connsiteY10855" fmla="*/ 1414480 h 6557032"/>
              <a:gd name="connsiteX10856" fmla="*/ 444967 w 4610101"/>
              <a:gd name="connsiteY10856" fmla="*/ 1411367 h 6557032"/>
              <a:gd name="connsiteX10857" fmla="*/ 452230 w 4610101"/>
              <a:gd name="connsiteY10857" fmla="*/ 1414480 h 6557032"/>
              <a:gd name="connsiteX10858" fmla="*/ 451899 w 4610101"/>
              <a:gd name="connsiteY10858" fmla="*/ 1414859 h 6557032"/>
              <a:gd name="connsiteX10859" fmla="*/ 452782 w 4610101"/>
              <a:gd name="connsiteY10859" fmla="*/ 1414717 h 6557032"/>
              <a:gd name="connsiteX10860" fmla="*/ 453621 w 4610101"/>
              <a:gd name="connsiteY10860" fmla="*/ 1415076 h 6557032"/>
              <a:gd name="connsiteX10861" fmla="*/ 453722 w 4610101"/>
              <a:gd name="connsiteY10861" fmla="*/ 1416681 h 6557032"/>
              <a:gd name="connsiteX10862" fmla="*/ 445294 w 4610101"/>
              <a:gd name="connsiteY10862" fmla="*/ 1412126 h 6557032"/>
              <a:gd name="connsiteX10863" fmla="*/ 3143250 w 4610101"/>
              <a:gd name="connsiteY10863" fmla="*/ 1411215 h 6557032"/>
              <a:gd name="connsiteX10864" fmla="*/ 3157828 w 4610101"/>
              <a:gd name="connsiteY10864" fmla="*/ 1423970 h 6557032"/>
              <a:gd name="connsiteX10865" fmla="*/ 3143250 w 4610101"/>
              <a:gd name="connsiteY10865" fmla="*/ 1411215 h 6557032"/>
              <a:gd name="connsiteX10866" fmla="*/ 3134140 w 4610101"/>
              <a:gd name="connsiteY10866" fmla="*/ 1411215 h 6557032"/>
              <a:gd name="connsiteX10867" fmla="*/ 3141428 w 4610101"/>
              <a:gd name="connsiteY10867" fmla="*/ 1418504 h 6557032"/>
              <a:gd name="connsiteX10868" fmla="*/ 3137784 w 4610101"/>
              <a:gd name="connsiteY10868" fmla="*/ 1411215 h 6557032"/>
              <a:gd name="connsiteX10869" fmla="*/ 3134140 w 4610101"/>
              <a:gd name="connsiteY10869" fmla="*/ 1411215 h 6557032"/>
              <a:gd name="connsiteX10870" fmla="*/ 1149792 w 4610101"/>
              <a:gd name="connsiteY10870" fmla="*/ 1411215 h 6557032"/>
              <a:gd name="connsiteX10871" fmla="*/ 1147970 w 4610101"/>
              <a:gd name="connsiteY10871" fmla="*/ 1414859 h 6557032"/>
              <a:gd name="connsiteX10872" fmla="*/ 1149792 w 4610101"/>
              <a:gd name="connsiteY10872" fmla="*/ 1411215 h 6557032"/>
              <a:gd name="connsiteX10873" fmla="*/ 1127926 w 4610101"/>
              <a:gd name="connsiteY10873" fmla="*/ 1411215 h 6557032"/>
              <a:gd name="connsiteX10874" fmla="*/ 1122459 w 4610101"/>
              <a:gd name="connsiteY10874" fmla="*/ 1414859 h 6557032"/>
              <a:gd name="connsiteX10875" fmla="*/ 1127926 w 4610101"/>
              <a:gd name="connsiteY10875" fmla="*/ 1422148 h 6557032"/>
              <a:gd name="connsiteX10876" fmla="*/ 1133393 w 4610101"/>
              <a:gd name="connsiteY10876" fmla="*/ 1416681 h 6557032"/>
              <a:gd name="connsiteX10877" fmla="*/ 1127926 w 4610101"/>
              <a:gd name="connsiteY10877" fmla="*/ 1411215 h 6557032"/>
              <a:gd name="connsiteX10878" fmla="*/ 701537 w 4610101"/>
              <a:gd name="connsiteY10878" fmla="*/ 1411215 h 6557032"/>
              <a:gd name="connsiteX10879" fmla="*/ 717937 w 4610101"/>
              <a:gd name="connsiteY10879" fmla="*/ 1413037 h 6557032"/>
              <a:gd name="connsiteX10880" fmla="*/ 701537 w 4610101"/>
              <a:gd name="connsiteY10880" fmla="*/ 1411215 h 6557032"/>
              <a:gd name="connsiteX10881" fmla="*/ 519320 w 4610101"/>
              <a:gd name="connsiteY10881" fmla="*/ 1411215 h 6557032"/>
              <a:gd name="connsiteX10882" fmla="*/ 515676 w 4610101"/>
              <a:gd name="connsiteY10882" fmla="*/ 1414859 h 6557032"/>
              <a:gd name="connsiteX10883" fmla="*/ 521142 w 4610101"/>
              <a:gd name="connsiteY10883" fmla="*/ 1413037 h 6557032"/>
              <a:gd name="connsiteX10884" fmla="*/ 519320 w 4610101"/>
              <a:gd name="connsiteY10884" fmla="*/ 1411215 h 6557032"/>
              <a:gd name="connsiteX10885" fmla="*/ 493809 w 4610101"/>
              <a:gd name="connsiteY10885" fmla="*/ 1411215 h 6557032"/>
              <a:gd name="connsiteX10886" fmla="*/ 484700 w 4610101"/>
              <a:gd name="connsiteY10886" fmla="*/ 1418504 h 6557032"/>
              <a:gd name="connsiteX10887" fmla="*/ 493809 w 4610101"/>
              <a:gd name="connsiteY10887" fmla="*/ 1411215 h 6557032"/>
              <a:gd name="connsiteX10888" fmla="*/ 444849 w 4610101"/>
              <a:gd name="connsiteY10888" fmla="*/ 1411096 h 6557032"/>
              <a:gd name="connsiteX10889" fmla="*/ 444967 w 4610101"/>
              <a:gd name="connsiteY10889" fmla="*/ 1411367 h 6557032"/>
              <a:gd name="connsiteX10890" fmla="*/ 444611 w 4610101"/>
              <a:gd name="connsiteY10890" fmla="*/ 1411215 h 6557032"/>
              <a:gd name="connsiteX10891" fmla="*/ 467388 w 4610101"/>
              <a:gd name="connsiteY10891" fmla="*/ 1410987 h 6557032"/>
              <a:gd name="connsiteX10892" fmla="*/ 464655 w 4610101"/>
              <a:gd name="connsiteY10892" fmla="*/ 1413037 h 6557032"/>
              <a:gd name="connsiteX10893" fmla="*/ 470121 w 4610101"/>
              <a:gd name="connsiteY10893" fmla="*/ 1413037 h 6557032"/>
              <a:gd name="connsiteX10894" fmla="*/ 467388 w 4610101"/>
              <a:gd name="connsiteY10894" fmla="*/ 1410987 h 6557032"/>
              <a:gd name="connsiteX10895" fmla="*/ 3114888 w 4610101"/>
              <a:gd name="connsiteY10895" fmla="*/ 1410901 h 6557032"/>
              <a:gd name="connsiteX10896" fmla="*/ 3117227 w 4610101"/>
              <a:gd name="connsiteY10896" fmla="*/ 1415642 h 6557032"/>
              <a:gd name="connsiteX10897" fmla="*/ 3114096 w 4610101"/>
              <a:gd name="connsiteY10897" fmla="*/ 1414859 h 6557032"/>
              <a:gd name="connsiteX10898" fmla="*/ 3039387 w 4610101"/>
              <a:gd name="connsiteY10898" fmla="*/ 1409393 h 6557032"/>
              <a:gd name="connsiteX10899" fmla="*/ 3043031 w 4610101"/>
              <a:gd name="connsiteY10899" fmla="*/ 1414859 h 6557032"/>
              <a:gd name="connsiteX10900" fmla="*/ 3043031 w 4610101"/>
              <a:gd name="connsiteY10900" fmla="*/ 1409393 h 6557032"/>
              <a:gd name="connsiteX10901" fmla="*/ 3039387 w 4610101"/>
              <a:gd name="connsiteY10901" fmla="*/ 1409393 h 6557032"/>
              <a:gd name="connsiteX10902" fmla="*/ 1162547 w 4610101"/>
              <a:gd name="connsiteY10902" fmla="*/ 1409393 h 6557032"/>
              <a:gd name="connsiteX10903" fmla="*/ 1160725 w 4610101"/>
              <a:gd name="connsiteY10903" fmla="*/ 1423970 h 6557032"/>
              <a:gd name="connsiteX10904" fmla="*/ 1166192 w 4610101"/>
              <a:gd name="connsiteY10904" fmla="*/ 1427615 h 6557032"/>
              <a:gd name="connsiteX10905" fmla="*/ 1162547 w 4610101"/>
              <a:gd name="connsiteY10905" fmla="*/ 1409393 h 6557032"/>
              <a:gd name="connsiteX10906" fmla="*/ 736159 w 4610101"/>
              <a:gd name="connsiteY10906" fmla="*/ 1409393 h 6557032"/>
              <a:gd name="connsiteX10907" fmla="*/ 728870 w 4610101"/>
              <a:gd name="connsiteY10907" fmla="*/ 1411215 h 6557032"/>
              <a:gd name="connsiteX10908" fmla="*/ 736159 w 4610101"/>
              <a:gd name="connsiteY10908" fmla="*/ 1409393 h 6557032"/>
              <a:gd name="connsiteX10909" fmla="*/ 690604 w 4610101"/>
              <a:gd name="connsiteY10909" fmla="*/ 1409393 h 6557032"/>
              <a:gd name="connsiteX10910" fmla="*/ 685138 w 4610101"/>
              <a:gd name="connsiteY10910" fmla="*/ 1411215 h 6557032"/>
              <a:gd name="connsiteX10911" fmla="*/ 705182 w 4610101"/>
              <a:gd name="connsiteY10911" fmla="*/ 1418504 h 6557032"/>
              <a:gd name="connsiteX10912" fmla="*/ 690604 w 4610101"/>
              <a:gd name="connsiteY10912" fmla="*/ 1409393 h 6557032"/>
              <a:gd name="connsiteX10913" fmla="*/ 530253 w 4610101"/>
              <a:gd name="connsiteY10913" fmla="*/ 1409393 h 6557032"/>
              <a:gd name="connsiteX10914" fmla="*/ 515676 w 4610101"/>
              <a:gd name="connsiteY10914" fmla="*/ 1431259 h 6557032"/>
              <a:gd name="connsiteX10915" fmla="*/ 512031 w 4610101"/>
              <a:gd name="connsiteY10915" fmla="*/ 1431259 h 6557032"/>
              <a:gd name="connsiteX10916" fmla="*/ 513853 w 4610101"/>
              <a:gd name="connsiteY10916" fmla="*/ 1438548 h 6557032"/>
              <a:gd name="connsiteX10917" fmla="*/ 530253 w 4610101"/>
              <a:gd name="connsiteY10917" fmla="*/ 1409393 h 6557032"/>
              <a:gd name="connsiteX10918" fmla="*/ 564874 w 4610101"/>
              <a:gd name="connsiteY10918" fmla="*/ 1408938 h 6557032"/>
              <a:gd name="connsiteX10919" fmla="*/ 563052 w 4610101"/>
              <a:gd name="connsiteY10919" fmla="*/ 1411215 h 6557032"/>
              <a:gd name="connsiteX10920" fmla="*/ 563507 w 4610101"/>
              <a:gd name="connsiteY10920" fmla="*/ 1414403 h 6557032"/>
              <a:gd name="connsiteX10921" fmla="*/ 564490 w 4610101"/>
              <a:gd name="connsiteY10921" fmla="*/ 1414544 h 6557032"/>
              <a:gd name="connsiteX10922" fmla="*/ 564399 w 4610101"/>
              <a:gd name="connsiteY10922" fmla="*/ 1414752 h 6557032"/>
              <a:gd name="connsiteX10923" fmla="*/ 556902 w 4610101"/>
              <a:gd name="connsiteY10923" fmla="*/ 1414403 h 6557032"/>
              <a:gd name="connsiteX10924" fmla="*/ 548475 w 4610101"/>
              <a:gd name="connsiteY10924" fmla="*/ 1411215 h 6557032"/>
              <a:gd name="connsiteX10925" fmla="*/ 544830 w 4610101"/>
              <a:gd name="connsiteY10925" fmla="*/ 1416681 h 6557032"/>
              <a:gd name="connsiteX10926" fmla="*/ 550297 w 4610101"/>
              <a:gd name="connsiteY10926" fmla="*/ 1420326 h 6557032"/>
              <a:gd name="connsiteX10927" fmla="*/ 544830 w 4610101"/>
              <a:gd name="connsiteY10927" fmla="*/ 1420326 h 6557032"/>
              <a:gd name="connsiteX10928" fmla="*/ 552119 w 4610101"/>
              <a:gd name="connsiteY10928" fmla="*/ 1434903 h 6557032"/>
              <a:gd name="connsiteX10929" fmla="*/ 555763 w 4610101"/>
              <a:gd name="connsiteY10929" fmla="*/ 1420326 h 6557032"/>
              <a:gd name="connsiteX10930" fmla="*/ 561230 w 4610101"/>
              <a:gd name="connsiteY10930" fmla="*/ 1422148 h 6557032"/>
              <a:gd name="connsiteX10931" fmla="*/ 564399 w 4610101"/>
              <a:gd name="connsiteY10931" fmla="*/ 1414752 h 6557032"/>
              <a:gd name="connsiteX10932" fmla="*/ 566697 w 4610101"/>
              <a:gd name="connsiteY10932" fmla="*/ 1414859 h 6557032"/>
              <a:gd name="connsiteX10933" fmla="*/ 564490 w 4610101"/>
              <a:gd name="connsiteY10933" fmla="*/ 1414544 h 6557032"/>
              <a:gd name="connsiteX10934" fmla="*/ 566697 w 4610101"/>
              <a:gd name="connsiteY10934" fmla="*/ 1409393 h 6557032"/>
              <a:gd name="connsiteX10935" fmla="*/ 564874 w 4610101"/>
              <a:gd name="connsiteY10935" fmla="*/ 1408938 h 6557032"/>
              <a:gd name="connsiteX10936" fmla="*/ 443848 w 4610101"/>
              <a:gd name="connsiteY10936" fmla="*/ 1408778 h 6557032"/>
              <a:gd name="connsiteX10937" fmla="*/ 448256 w 4610101"/>
              <a:gd name="connsiteY10937" fmla="*/ 1409393 h 6557032"/>
              <a:gd name="connsiteX10938" fmla="*/ 444849 w 4610101"/>
              <a:gd name="connsiteY10938" fmla="*/ 1411096 h 6557032"/>
              <a:gd name="connsiteX10939" fmla="*/ 438461 w 4610101"/>
              <a:gd name="connsiteY10939" fmla="*/ 1408026 h 6557032"/>
              <a:gd name="connsiteX10940" fmla="*/ 443159 w 4610101"/>
              <a:gd name="connsiteY10940" fmla="*/ 1408682 h 6557032"/>
              <a:gd name="connsiteX10941" fmla="*/ 444611 w 4610101"/>
              <a:gd name="connsiteY10941" fmla="*/ 1413037 h 6557032"/>
              <a:gd name="connsiteX10942" fmla="*/ 437094 w 4610101"/>
              <a:gd name="connsiteY10942" fmla="*/ 1410076 h 6557032"/>
              <a:gd name="connsiteX10943" fmla="*/ 436641 w 4610101"/>
              <a:gd name="connsiteY10943" fmla="*/ 1409502 h 6557032"/>
              <a:gd name="connsiteX10944" fmla="*/ 2895435 w 4610101"/>
              <a:gd name="connsiteY10944" fmla="*/ 1407571 h 6557032"/>
              <a:gd name="connsiteX10945" fmla="*/ 2893613 w 4610101"/>
              <a:gd name="connsiteY10945" fmla="*/ 1411215 h 6557032"/>
              <a:gd name="connsiteX10946" fmla="*/ 2902724 w 4610101"/>
              <a:gd name="connsiteY10946" fmla="*/ 1411215 h 6557032"/>
              <a:gd name="connsiteX10947" fmla="*/ 2895435 w 4610101"/>
              <a:gd name="connsiteY10947" fmla="*/ 1407571 h 6557032"/>
              <a:gd name="connsiteX10948" fmla="*/ 1494183 w 4610101"/>
              <a:gd name="connsiteY10948" fmla="*/ 1407571 h 6557032"/>
              <a:gd name="connsiteX10949" fmla="*/ 1475961 w 4610101"/>
              <a:gd name="connsiteY10949" fmla="*/ 1429437 h 6557032"/>
              <a:gd name="connsiteX10950" fmla="*/ 1497827 w 4610101"/>
              <a:gd name="connsiteY10950" fmla="*/ 1431259 h 6557032"/>
              <a:gd name="connsiteX10951" fmla="*/ 1514228 w 4610101"/>
              <a:gd name="connsiteY10951" fmla="*/ 1444014 h 6557032"/>
              <a:gd name="connsiteX10952" fmla="*/ 1530626 w 4610101"/>
              <a:gd name="connsiteY10952" fmla="*/ 1422148 h 6557032"/>
              <a:gd name="connsiteX10953" fmla="*/ 1494183 w 4610101"/>
              <a:gd name="connsiteY10953" fmla="*/ 1407571 h 6557032"/>
              <a:gd name="connsiteX10954" fmla="*/ 584919 w 4610101"/>
              <a:gd name="connsiteY10954" fmla="*/ 1407571 h 6557032"/>
              <a:gd name="connsiteX10955" fmla="*/ 594030 w 4610101"/>
              <a:gd name="connsiteY10955" fmla="*/ 1409393 h 6557032"/>
              <a:gd name="connsiteX10956" fmla="*/ 584919 w 4610101"/>
              <a:gd name="connsiteY10956" fmla="*/ 1407571 h 6557032"/>
              <a:gd name="connsiteX10957" fmla="*/ 3491391 w 4610101"/>
              <a:gd name="connsiteY10957" fmla="*/ 1405759 h 6557032"/>
              <a:gd name="connsiteX10958" fmla="*/ 3491414 w 4610101"/>
              <a:gd name="connsiteY10958" fmla="*/ 1406571 h 6557032"/>
              <a:gd name="connsiteX10959" fmla="*/ 3491286 w 4610101"/>
              <a:gd name="connsiteY10959" fmla="*/ 1406204 h 6557032"/>
              <a:gd name="connsiteX10960" fmla="*/ 1157081 w 4610101"/>
              <a:gd name="connsiteY10960" fmla="*/ 1405748 h 6557032"/>
              <a:gd name="connsiteX10961" fmla="*/ 1151614 w 4610101"/>
              <a:gd name="connsiteY10961" fmla="*/ 1413037 h 6557032"/>
              <a:gd name="connsiteX10962" fmla="*/ 1153436 w 4610101"/>
              <a:gd name="connsiteY10962" fmla="*/ 1407571 h 6557032"/>
              <a:gd name="connsiteX10963" fmla="*/ 1157081 w 4610101"/>
              <a:gd name="connsiteY10963" fmla="*/ 1413037 h 6557032"/>
              <a:gd name="connsiteX10964" fmla="*/ 1155259 w 4610101"/>
              <a:gd name="connsiteY10964" fmla="*/ 1420326 h 6557032"/>
              <a:gd name="connsiteX10965" fmla="*/ 1157081 w 4610101"/>
              <a:gd name="connsiteY10965" fmla="*/ 1405748 h 6557032"/>
              <a:gd name="connsiteX10966" fmla="*/ 838200 w 4610101"/>
              <a:gd name="connsiteY10966" fmla="*/ 1405748 h 6557032"/>
              <a:gd name="connsiteX10967" fmla="*/ 834556 w 4610101"/>
              <a:gd name="connsiteY10967" fmla="*/ 1407571 h 6557032"/>
              <a:gd name="connsiteX10968" fmla="*/ 827267 w 4610101"/>
              <a:gd name="connsiteY10968" fmla="*/ 1414859 h 6557032"/>
              <a:gd name="connsiteX10969" fmla="*/ 832734 w 4610101"/>
              <a:gd name="connsiteY10969" fmla="*/ 1422148 h 6557032"/>
              <a:gd name="connsiteX10970" fmla="*/ 841845 w 4610101"/>
              <a:gd name="connsiteY10970" fmla="*/ 1407571 h 6557032"/>
              <a:gd name="connsiteX10971" fmla="*/ 834556 w 4610101"/>
              <a:gd name="connsiteY10971" fmla="*/ 1407571 h 6557032"/>
              <a:gd name="connsiteX10972" fmla="*/ 840022 w 4610101"/>
              <a:gd name="connsiteY10972" fmla="*/ 1407571 h 6557032"/>
              <a:gd name="connsiteX10973" fmla="*/ 838200 w 4610101"/>
              <a:gd name="connsiteY10973" fmla="*/ 1405748 h 6557032"/>
              <a:gd name="connsiteX10974" fmla="*/ 758025 w 4610101"/>
              <a:gd name="connsiteY10974" fmla="*/ 1405748 h 6557032"/>
              <a:gd name="connsiteX10975" fmla="*/ 754380 w 4610101"/>
              <a:gd name="connsiteY10975" fmla="*/ 1411215 h 6557032"/>
              <a:gd name="connsiteX10976" fmla="*/ 758025 w 4610101"/>
              <a:gd name="connsiteY10976" fmla="*/ 1405748 h 6557032"/>
              <a:gd name="connsiteX10977" fmla="*/ 676027 w 4610101"/>
              <a:gd name="connsiteY10977" fmla="*/ 1405748 h 6557032"/>
              <a:gd name="connsiteX10978" fmla="*/ 676027 w 4610101"/>
              <a:gd name="connsiteY10978" fmla="*/ 1407571 h 6557032"/>
              <a:gd name="connsiteX10979" fmla="*/ 686960 w 4610101"/>
              <a:gd name="connsiteY10979" fmla="*/ 1407571 h 6557032"/>
              <a:gd name="connsiteX10980" fmla="*/ 676027 w 4610101"/>
              <a:gd name="connsiteY10980" fmla="*/ 1405748 h 6557032"/>
              <a:gd name="connsiteX10981" fmla="*/ 612478 w 4610101"/>
              <a:gd name="connsiteY10981" fmla="*/ 1404381 h 6557032"/>
              <a:gd name="connsiteX10982" fmla="*/ 608606 w 4610101"/>
              <a:gd name="connsiteY10982" fmla="*/ 1405748 h 6557032"/>
              <a:gd name="connsiteX10983" fmla="*/ 617717 w 4610101"/>
              <a:gd name="connsiteY10983" fmla="*/ 1405748 h 6557032"/>
              <a:gd name="connsiteX10984" fmla="*/ 612478 w 4610101"/>
              <a:gd name="connsiteY10984" fmla="*/ 1404381 h 6557032"/>
              <a:gd name="connsiteX10985" fmla="*/ 792646 w 4610101"/>
              <a:gd name="connsiteY10985" fmla="*/ 1403926 h 6557032"/>
              <a:gd name="connsiteX10986" fmla="*/ 793128 w 4610101"/>
              <a:gd name="connsiteY10986" fmla="*/ 1404802 h 6557032"/>
              <a:gd name="connsiteX10987" fmla="*/ 791990 w 4610101"/>
              <a:gd name="connsiteY10987" fmla="*/ 1403999 h 6557032"/>
              <a:gd name="connsiteX10988" fmla="*/ 625006 w 4610101"/>
              <a:gd name="connsiteY10988" fmla="*/ 1403926 h 6557032"/>
              <a:gd name="connsiteX10989" fmla="*/ 630472 w 4610101"/>
              <a:gd name="connsiteY10989" fmla="*/ 1403926 h 6557032"/>
              <a:gd name="connsiteX10990" fmla="*/ 625006 w 4610101"/>
              <a:gd name="connsiteY10990" fmla="*/ 1403926 h 6557032"/>
              <a:gd name="connsiteX10991" fmla="*/ 603140 w 4610101"/>
              <a:gd name="connsiteY10991" fmla="*/ 1403926 h 6557032"/>
              <a:gd name="connsiteX10992" fmla="*/ 606784 w 4610101"/>
              <a:gd name="connsiteY10992" fmla="*/ 1403926 h 6557032"/>
              <a:gd name="connsiteX10993" fmla="*/ 603140 w 4610101"/>
              <a:gd name="connsiteY10993" fmla="*/ 1403926 h 6557032"/>
              <a:gd name="connsiteX10994" fmla="*/ 546653 w 4610101"/>
              <a:gd name="connsiteY10994" fmla="*/ 1403926 h 6557032"/>
              <a:gd name="connsiteX10995" fmla="*/ 547108 w 4610101"/>
              <a:gd name="connsiteY10995" fmla="*/ 1406887 h 6557032"/>
              <a:gd name="connsiteX10996" fmla="*/ 549120 w 4610101"/>
              <a:gd name="connsiteY10996" fmla="*/ 1406169 h 6557032"/>
              <a:gd name="connsiteX10997" fmla="*/ 549159 w 4610101"/>
              <a:gd name="connsiteY10997" fmla="*/ 1406204 h 6557032"/>
              <a:gd name="connsiteX10998" fmla="*/ 550297 w 4610101"/>
              <a:gd name="connsiteY10998" fmla="*/ 1405748 h 6557032"/>
              <a:gd name="connsiteX10999" fmla="*/ 549120 w 4610101"/>
              <a:gd name="connsiteY10999" fmla="*/ 1406169 h 6557032"/>
              <a:gd name="connsiteX11000" fmla="*/ 1176404 w 4610101"/>
              <a:gd name="connsiteY11000" fmla="*/ 1403671 h 6557032"/>
              <a:gd name="connsiteX11001" fmla="*/ 1187067 w 4610101"/>
              <a:gd name="connsiteY11001" fmla="*/ 1417241 h 6557032"/>
              <a:gd name="connsiteX11002" fmla="*/ 1178035 w 4610101"/>
              <a:gd name="connsiteY11002" fmla="*/ 1407343 h 6557032"/>
              <a:gd name="connsiteX11003" fmla="*/ 661449 w 4610101"/>
              <a:gd name="connsiteY11003" fmla="*/ 1402104 h 6557032"/>
              <a:gd name="connsiteX11004" fmla="*/ 657805 w 4610101"/>
              <a:gd name="connsiteY11004" fmla="*/ 1407571 h 6557032"/>
              <a:gd name="connsiteX11005" fmla="*/ 666916 w 4610101"/>
              <a:gd name="connsiteY11005" fmla="*/ 1405748 h 6557032"/>
              <a:gd name="connsiteX11006" fmla="*/ 661449 w 4610101"/>
              <a:gd name="connsiteY11006" fmla="*/ 1402104 h 6557032"/>
              <a:gd name="connsiteX11007" fmla="*/ 535719 w 4610101"/>
              <a:gd name="connsiteY11007" fmla="*/ 1402104 h 6557032"/>
              <a:gd name="connsiteX11008" fmla="*/ 532075 w 4610101"/>
              <a:gd name="connsiteY11008" fmla="*/ 1405748 h 6557032"/>
              <a:gd name="connsiteX11009" fmla="*/ 539364 w 4610101"/>
              <a:gd name="connsiteY11009" fmla="*/ 1409393 h 6557032"/>
              <a:gd name="connsiteX11010" fmla="*/ 535719 w 4610101"/>
              <a:gd name="connsiteY11010" fmla="*/ 1402104 h 6557032"/>
              <a:gd name="connsiteX11011" fmla="*/ 440966 w 4610101"/>
              <a:gd name="connsiteY11011" fmla="*/ 1402104 h 6557032"/>
              <a:gd name="connsiteX11012" fmla="*/ 443848 w 4610101"/>
              <a:gd name="connsiteY11012" fmla="*/ 1408778 h 6557032"/>
              <a:gd name="connsiteX11013" fmla="*/ 443159 w 4610101"/>
              <a:gd name="connsiteY11013" fmla="*/ 1408682 h 6557032"/>
              <a:gd name="connsiteX11014" fmla="*/ 3115918 w 4610101"/>
              <a:gd name="connsiteY11014" fmla="*/ 1400282 h 6557032"/>
              <a:gd name="connsiteX11015" fmla="*/ 3128673 w 4610101"/>
              <a:gd name="connsiteY11015" fmla="*/ 1407571 h 6557032"/>
              <a:gd name="connsiteX11016" fmla="*/ 3115918 w 4610101"/>
              <a:gd name="connsiteY11016" fmla="*/ 1400282 h 6557032"/>
              <a:gd name="connsiteX11017" fmla="*/ 1158903 w 4610101"/>
              <a:gd name="connsiteY11017" fmla="*/ 1400282 h 6557032"/>
              <a:gd name="connsiteX11018" fmla="*/ 1157081 w 4610101"/>
              <a:gd name="connsiteY11018" fmla="*/ 1403926 h 6557032"/>
              <a:gd name="connsiteX11019" fmla="*/ 1160725 w 4610101"/>
              <a:gd name="connsiteY11019" fmla="*/ 1405748 h 6557032"/>
              <a:gd name="connsiteX11020" fmla="*/ 1158903 w 4610101"/>
              <a:gd name="connsiteY11020" fmla="*/ 1400282 h 6557032"/>
              <a:gd name="connsiteX11021" fmla="*/ 787179 w 4610101"/>
              <a:gd name="connsiteY11021" fmla="*/ 1400282 h 6557032"/>
              <a:gd name="connsiteX11022" fmla="*/ 783535 w 4610101"/>
              <a:gd name="connsiteY11022" fmla="*/ 1422148 h 6557032"/>
              <a:gd name="connsiteX11023" fmla="*/ 783535 w 4610101"/>
              <a:gd name="connsiteY11023" fmla="*/ 1413037 h 6557032"/>
              <a:gd name="connsiteX11024" fmla="*/ 789003 w 4610101"/>
              <a:gd name="connsiteY11024" fmla="*/ 1422148 h 6557032"/>
              <a:gd name="connsiteX11025" fmla="*/ 797658 w 4610101"/>
              <a:gd name="connsiteY11025" fmla="*/ 1413037 h 6557032"/>
              <a:gd name="connsiteX11026" fmla="*/ 793128 w 4610101"/>
              <a:gd name="connsiteY11026" fmla="*/ 1404802 h 6557032"/>
              <a:gd name="connsiteX11027" fmla="*/ 794468 w 4610101"/>
              <a:gd name="connsiteY11027" fmla="*/ 1405748 h 6557032"/>
              <a:gd name="connsiteX11028" fmla="*/ 790824 w 4610101"/>
              <a:gd name="connsiteY11028" fmla="*/ 1400282 h 6557032"/>
              <a:gd name="connsiteX11029" fmla="*/ 790596 w 4610101"/>
              <a:gd name="connsiteY11029" fmla="*/ 1403015 h 6557032"/>
              <a:gd name="connsiteX11030" fmla="*/ 791990 w 4610101"/>
              <a:gd name="connsiteY11030" fmla="*/ 1403999 h 6557032"/>
              <a:gd name="connsiteX11031" fmla="*/ 790596 w 4610101"/>
              <a:gd name="connsiteY11031" fmla="*/ 1404154 h 6557032"/>
              <a:gd name="connsiteX11032" fmla="*/ 787179 w 4610101"/>
              <a:gd name="connsiteY11032" fmla="*/ 1400282 h 6557032"/>
              <a:gd name="connsiteX11033" fmla="*/ 735020 w 4610101"/>
              <a:gd name="connsiteY11033" fmla="*/ 1398915 h 6557032"/>
              <a:gd name="connsiteX11034" fmla="*/ 730692 w 4610101"/>
              <a:gd name="connsiteY11034" fmla="*/ 1405748 h 6557032"/>
              <a:gd name="connsiteX11035" fmla="*/ 743447 w 4610101"/>
              <a:gd name="connsiteY11035" fmla="*/ 1400282 h 6557032"/>
              <a:gd name="connsiteX11036" fmla="*/ 735020 w 4610101"/>
              <a:gd name="connsiteY11036" fmla="*/ 1398915 h 6557032"/>
              <a:gd name="connsiteX11037" fmla="*/ 3493108 w 4610101"/>
              <a:gd name="connsiteY11037" fmla="*/ 1398460 h 6557032"/>
              <a:gd name="connsiteX11038" fmla="*/ 3493480 w 4610101"/>
              <a:gd name="connsiteY11038" fmla="*/ 1398609 h 6557032"/>
              <a:gd name="connsiteX11039" fmla="*/ 3493108 w 4610101"/>
              <a:gd name="connsiteY11039" fmla="*/ 1400282 h 6557032"/>
              <a:gd name="connsiteX11040" fmla="*/ 3492844 w 4610101"/>
              <a:gd name="connsiteY11040" fmla="*/ 1399583 h 6557032"/>
              <a:gd name="connsiteX11041" fmla="*/ 3465775 w 4610101"/>
              <a:gd name="connsiteY11041" fmla="*/ 1398460 h 6557032"/>
              <a:gd name="connsiteX11042" fmla="*/ 3471242 w 4610101"/>
              <a:gd name="connsiteY11042" fmla="*/ 1411215 h 6557032"/>
              <a:gd name="connsiteX11043" fmla="*/ 3471242 w 4610101"/>
              <a:gd name="connsiteY11043" fmla="*/ 1400282 h 6557032"/>
              <a:gd name="connsiteX11044" fmla="*/ 3465775 w 4610101"/>
              <a:gd name="connsiteY11044" fmla="*/ 1398460 h 6557032"/>
              <a:gd name="connsiteX11045" fmla="*/ 1641780 w 4610101"/>
              <a:gd name="connsiteY11045" fmla="*/ 1398460 h 6557032"/>
              <a:gd name="connsiteX11046" fmla="*/ 1627202 w 4610101"/>
              <a:gd name="connsiteY11046" fmla="*/ 1413037 h 6557032"/>
              <a:gd name="connsiteX11047" fmla="*/ 1643602 w 4610101"/>
              <a:gd name="connsiteY11047" fmla="*/ 1422148 h 6557032"/>
              <a:gd name="connsiteX11048" fmla="*/ 1649068 w 4610101"/>
              <a:gd name="connsiteY11048" fmla="*/ 1409393 h 6557032"/>
              <a:gd name="connsiteX11049" fmla="*/ 1096949 w 4610101"/>
              <a:gd name="connsiteY11049" fmla="*/ 1398460 h 6557032"/>
              <a:gd name="connsiteX11050" fmla="*/ 1096949 w 4610101"/>
              <a:gd name="connsiteY11050" fmla="*/ 1411215 h 6557032"/>
              <a:gd name="connsiteX11051" fmla="*/ 1116993 w 4610101"/>
              <a:gd name="connsiteY11051" fmla="*/ 1416681 h 6557032"/>
              <a:gd name="connsiteX11052" fmla="*/ 1096949 w 4610101"/>
              <a:gd name="connsiteY11052" fmla="*/ 1398460 h 6557032"/>
              <a:gd name="connsiteX11053" fmla="*/ 794468 w 4610101"/>
              <a:gd name="connsiteY11053" fmla="*/ 1398460 h 6557032"/>
              <a:gd name="connsiteX11054" fmla="*/ 799935 w 4610101"/>
              <a:gd name="connsiteY11054" fmla="*/ 1409393 h 6557032"/>
              <a:gd name="connsiteX11055" fmla="*/ 805401 w 4610101"/>
              <a:gd name="connsiteY11055" fmla="*/ 1402104 h 6557032"/>
              <a:gd name="connsiteX11056" fmla="*/ 794468 w 4610101"/>
              <a:gd name="connsiteY11056" fmla="*/ 1398460 h 6557032"/>
              <a:gd name="connsiteX11057" fmla="*/ 659627 w 4610101"/>
              <a:gd name="connsiteY11057" fmla="*/ 1398460 h 6557032"/>
              <a:gd name="connsiteX11058" fmla="*/ 655983 w 4610101"/>
              <a:gd name="connsiteY11058" fmla="*/ 1402104 h 6557032"/>
              <a:gd name="connsiteX11059" fmla="*/ 659627 w 4610101"/>
              <a:gd name="connsiteY11059" fmla="*/ 1398460 h 6557032"/>
              <a:gd name="connsiteX11060" fmla="*/ 612251 w 4610101"/>
              <a:gd name="connsiteY11060" fmla="*/ 1398460 h 6557032"/>
              <a:gd name="connsiteX11061" fmla="*/ 610429 w 4610101"/>
              <a:gd name="connsiteY11061" fmla="*/ 1402104 h 6557032"/>
              <a:gd name="connsiteX11062" fmla="*/ 615895 w 4610101"/>
              <a:gd name="connsiteY11062" fmla="*/ 1403926 h 6557032"/>
              <a:gd name="connsiteX11063" fmla="*/ 612251 w 4610101"/>
              <a:gd name="connsiteY11063" fmla="*/ 1398460 h 6557032"/>
              <a:gd name="connsiteX11064" fmla="*/ 1164371 w 4610101"/>
              <a:gd name="connsiteY11064" fmla="*/ 1398459 h 6557032"/>
              <a:gd name="connsiteX11065" fmla="*/ 1164370 w 4610101"/>
              <a:gd name="connsiteY11065" fmla="*/ 1398460 h 6557032"/>
              <a:gd name="connsiteX11066" fmla="*/ 1164370 w 4610101"/>
              <a:gd name="connsiteY11066" fmla="*/ 1398460 h 6557032"/>
              <a:gd name="connsiteX11067" fmla="*/ 3409288 w 4610101"/>
              <a:gd name="connsiteY11067" fmla="*/ 1396638 h 6557032"/>
              <a:gd name="connsiteX11068" fmla="*/ 3387422 w 4610101"/>
              <a:gd name="connsiteY11068" fmla="*/ 1407571 h 6557032"/>
              <a:gd name="connsiteX11069" fmla="*/ 3409288 w 4610101"/>
              <a:gd name="connsiteY11069" fmla="*/ 1403926 h 6557032"/>
              <a:gd name="connsiteX11070" fmla="*/ 3409288 w 4610101"/>
              <a:gd name="connsiteY11070" fmla="*/ 1396638 h 6557032"/>
              <a:gd name="connsiteX11071" fmla="*/ 1158903 w 4610101"/>
              <a:gd name="connsiteY11071" fmla="*/ 1396638 h 6557032"/>
              <a:gd name="connsiteX11072" fmla="*/ 1157081 w 4610101"/>
              <a:gd name="connsiteY11072" fmla="*/ 1398460 h 6557032"/>
              <a:gd name="connsiteX11073" fmla="*/ 1158903 w 4610101"/>
              <a:gd name="connsiteY11073" fmla="*/ 1396638 h 6557032"/>
              <a:gd name="connsiteX11074" fmla="*/ 754380 w 4610101"/>
              <a:gd name="connsiteY11074" fmla="*/ 1396638 h 6557032"/>
              <a:gd name="connsiteX11075" fmla="*/ 752558 w 4610101"/>
              <a:gd name="connsiteY11075" fmla="*/ 1402104 h 6557032"/>
              <a:gd name="connsiteX11076" fmla="*/ 754380 w 4610101"/>
              <a:gd name="connsiteY11076" fmla="*/ 1396638 h 6557032"/>
              <a:gd name="connsiteX11077" fmla="*/ 679671 w 4610101"/>
              <a:gd name="connsiteY11077" fmla="*/ 1396638 h 6557032"/>
              <a:gd name="connsiteX11078" fmla="*/ 677849 w 4610101"/>
              <a:gd name="connsiteY11078" fmla="*/ 1402104 h 6557032"/>
              <a:gd name="connsiteX11079" fmla="*/ 685138 w 4610101"/>
              <a:gd name="connsiteY11079" fmla="*/ 1403926 h 6557032"/>
              <a:gd name="connsiteX11080" fmla="*/ 679671 w 4610101"/>
              <a:gd name="connsiteY11080" fmla="*/ 1396638 h 6557032"/>
              <a:gd name="connsiteX11081" fmla="*/ 495375 w 4610101"/>
              <a:gd name="connsiteY11081" fmla="*/ 1396570 h 6557032"/>
              <a:gd name="connsiteX11082" fmla="*/ 495632 w 4610101"/>
              <a:gd name="connsiteY11082" fmla="*/ 1396638 h 6557032"/>
              <a:gd name="connsiteX11083" fmla="*/ 490165 w 4610101"/>
              <a:gd name="connsiteY11083" fmla="*/ 1400282 h 6557032"/>
              <a:gd name="connsiteX11084" fmla="*/ 490450 w 4610101"/>
              <a:gd name="connsiteY11084" fmla="*/ 1399648 h 6557032"/>
              <a:gd name="connsiteX11085" fmla="*/ 3197916 w 4610101"/>
              <a:gd name="connsiteY11085" fmla="*/ 1394815 h 6557032"/>
              <a:gd name="connsiteX11086" fmla="*/ 3203382 w 4610101"/>
              <a:gd name="connsiteY11086" fmla="*/ 1394815 h 6557032"/>
              <a:gd name="connsiteX11087" fmla="*/ 3197916 w 4610101"/>
              <a:gd name="connsiteY11087" fmla="*/ 1394815 h 6557032"/>
              <a:gd name="connsiteX11088" fmla="*/ 3015698 w 4610101"/>
              <a:gd name="connsiteY11088" fmla="*/ 1394815 h 6557032"/>
              <a:gd name="connsiteX11089" fmla="*/ 3010232 w 4610101"/>
              <a:gd name="connsiteY11089" fmla="*/ 1407571 h 6557032"/>
              <a:gd name="connsiteX11090" fmla="*/ 3022987 w 4610101"/>
              <a:gd name="connsiteY11090" fmla="*/ 1400282 h 6557032"/>
              <a:gd name="connsiteX11091" fmla="*/ 3015698 w 4610101"/>
              <a:gd name="connsiteY11091" fmla="*/ 1394815 h 6557032"/>
              <a:gd name="connsiteX11092" fmla="*/ 1166192 w 4610101"/>
              <a:gd name="connsiteY11092" fmla="*/ 1394815 h 6557032"/>
              <a:gd name="connsiteX11093" fmla="*/ 1166192 w 4610101"/>
              <a:gd name="connsiteY11093" fmla="*/ 1396638 h 6557032"/>
              <a:gd name="connsiteX11094" fmla="*/ 1164371 w 4610101"/>
              <a:gd name="connsiteY11094" fmla="*/ 1398459 h 6557032"/>
              <a:gd name="connsiteX11095" fmla="*/ 1142503 w 4610101"/>
              <a:gd name="connsiteY11095" fmla="*/ 1394815 h 6557032"/>
              <a:gd name="connsiteX11096" fmla="*/ 1142503 w 4610101"/>
              <a:gd name="connsiteY11096" fmla="*/ 1400282 h 6557032"/>
              <a:gd name="connsiteX11097" fmla="*/ 1147970 w 4610101"/>
              <a:gd name="connsiteY11097" fmla="*/ 1400282 h 6557032"/>
              <a:gd name="connsiteX11098" fmla="*/ 1142503 w 4610101"/>
              <a:gd name="connsiteY11098" fmla="*/ 1394815 h 6557032"/>
              <a:gd name="connsiteX11099" fmla="*/ 1096949 w 4610101"/>
              <a:gd name="connsiteY11099" fmla="*/ 1392993 h 6557032"/>
              <a:gd name="connsiteX11100" fmla="*/ 1120637 w 4610101"/>
              <a:gd name="connsiteY11100" fmla="*/ 1414859 h 6557032"/>
              <a:gd name="connsiteX11101" fmla="*/ 1129748 w 4610101"/>
              <a:gd name="connsiteY11101" fmla="*/ 1409393 h 6557032"/>
              <a:gd name="connsiteX11102" fmla="*/ 1122459 w 4610101"/>
              <a:gd name="connsiteY11102" fmla="*/ 1402104 h 6557032"/>
              <a:gd name="connsiteX11103" fmla="*/ 1116993 w 4610101"/>
              <a:gd name="connsiteY11103" fmla="*/ 1403926 h 6557032"/>
              <a:gd name="connsiteX11104" fmla="*/ 1120637 w 4610101"/>
              <a:gd name="connsiteY11104" fmla="*/ 1400282 h 6557032"/>
              <a:gd name="connsiteX11105" fmla="*/ 1116993 w 4610101"/>
              <a:gd name="connsiteY11105" fmla="*/ 1400282 h 6557032"/>
              <a:gd name="connsiteX11106" fmla="*/ 1120637 w 4610101"/>
              <a:gd name="connsiteY11106" fmla="*/ 1398460 h 6557032"/>
              <a:gd name="connsiteX11107" fmla="*/ 1096949 w 4610101"/>
              <a:gd name="connsiteY11107" fmla="*/ 1392993 h 6557032"/>
              <a:gd name="connsiteX11108" fmla="*/ 841845 w 4610101"/>
              <a:gd name="connsiteY11108" fmla="*/ 1392993 h 6557032"/>
              <a:gd name="connsiteX11109" fmla="*/ 845489 w 4610101"/>
              <a:gd name="connsiteY11109" fmla="*/ 1403926 h 6557032"/>
              <a:gd name="connsiteX11110" fmla="*/ 856422 w 4610101"/>
              <a:gd name="connsiteY11110" fmla="*/ 1398460 h 6557032"/>
              <a:gd name="connsiteX11111" fmla="*/ 841845 w 4610101"/>
              <a:gd name="connsiteY11111" fmla="*/ 1392993 h 6557032"/>
              <a:gd name="connsiteX11112" fmla="*/ 834556 w 4610101"/>
              <a:gd name="connsiteY11112" fmla="*/ 1392993 h 6557032"/>
              <a:gd name="connsiteX11113" fmla="*/ 832899 w 4610101"/>
              <a:gd name="connsiteY11113" fmla="*/ 1396721 h 6557032"/>
              <a:gd name="connsiteX11114" fmla="*/ 832734 w 4610101"/>
              <a:gd name="connsiteY11114" fmla="*/ 1396638 h 6557032"/>
              <a:gd name="connsiteX11115" fmla="*/ 832890 w 4610101"/>
              <a:gd name="connsiteY11115" fmla="*/ 1396742 h 6557032"/>
              <a:gd name="connsiteX11116" fmla="*/ 830912 w 4610101"/>
              <a:gd name="connsiteY11116" fmla="*/ 1401193 h 6557032"/>
              <a:gd name="connsiteX11117" fmla="*/ 821801 w 4610101"/>
              <a:gd name="connsiteY11117" fmla="*/ 1403926 h 6557032"/>
              <a:gd name="connsiteX11118" fmla="*/ 838200 w 4610101"/>
              <a:gd name="connsiteY11118" fmla="*/ 1400282 h 6557032"/>
              <a:gd name="connsiteX11119" fmla="*/ 832890 w 4610101"/>
              <a:gd name="connsiteY11119" fmla="*/ 1396742 h 6557032"/>
              <a:gd name="connsiteX11120" fmla="*/ 832899 w 4610101"/>
              <a:gd name="connsiteY11120" fmla="*/ 1396721 h 6557032"/>
              <a:gd name="connsiteX11121" fmla="*/ 836378 w 4610101"/>
              <a:gd name="connsiteY11121" fmla="*/ 1398460 h 6557032"/>
              <a:gd name="connsiteX11122" fmla="*/ 834556 w 4610101"/>
              <a:gd name="connsiteY11122" fmla="*/ 1392993 h 6557032"/>
              <a:gd name="connsiteX11123" fmla="*/ 557586 w 4610101"/>
              <a:gd name="connsiteY11123" fmla="*/ 1392993 h 6557032"/>
              <a:gd name="connsiteX11124" fmla="*/ 564874 w 4610101"/>
              <a:gd name="connsiteY11124" fmla="*/ 1407571 h 6557032"/>
              <a:gd name="connsiteX11125" fmla="*/ 557586 w 4610101"/>
              <a:gd name="connsiteY11125" fmla="*/ 1392993 h 6557032"/>
              <a:gd name="connsiteX11126" fmla="*/ 528658 w 4610101"/>
              <a:gd name="connsiteY11126" fmla="*/ 1392993 h 6557032"/>
              <a:gd name="connsiteX11127" fmla="*/ 524786 w 4610101"/>
              <a:gd name="connsiteY11127" fmla="*/ 1402104 h 6557032"/>
              <a:gd name="connsiteX11128" fmla="*/ 530253 w 4610101"/>
              <a:gd name="connsiteY11128" fmla="*/ 1405748 h 6557032"/>
              <a:gd name="connsiteX11129" fmla="*/ 533897 w 4610101"/>
              <a:gd name="connsiteY11129" fmla="*/ 1400282 h 6557032"/>
              <a:gd name="connsiteX11130" fmla="*/ 528658 w 4610101"/>
              <a:gd name="connsiteY11130" fmla="*/ 1392993 h 6557032"/>
              <a:gd name="connsiteX11131" fmla="*/ 501098 w 4610101"/>
              <a:gd name="connsiteY11131" fmla="*/ 1392993 h 6557032"/>
              <a:gd name="connsiteX11132" fmla="*/ 495375 w 4610101"/>
              <a:gd name="connsiteY11132" fmla="*/ 1396570 h 6557032"/>
              <a:gd name="connsiteX11133" fmla="*/ 492215 w 4610101"/>
              <a:gd name="connsiteY11133" fmla="*/ 1395727 h 6557032"/>
              <a:gd name="connsiteX11134" fmla="*/ 490450 w 4610101"/>
              <a:gd name="connsiteY11134" fmla="*/ 1399648 h 6557032"/>
              <a:gd name="connsiteX11135" fmla="*/ 486521 w 4610101"/>
              <a:gd name="connsiteY11135" fmla="*/ 1402104 h 6557032"/>
              <a:gd name="connsiteX11136" fmla="*/ 484700 w 4610101"/>
              <a:gd name="connsiteY11136" fmla="*/ 1409393 h 6557032"/>
              <a:gd name="connsiteX11137" fmla="*/ 501098 w 4610101"/>
              <a:gd name="connsiteY11137" fmla="*/ 1392993 h 6557032"/>
              <a:gd name="connsiteX11138" fmla="*/ 3249421 w 4610101"/>
              <a:gd name="connsiteY11138" fmla="*/ 1392481 h 6557032"/>
              <a:gd name="connsiteX11139" fmla="*/ 3241648 w 4610101"/>
              <a:gd name="connsiteY11139" fmla="*/ 1396638 h 6557032"/>
              <a:gd name="connsiteX11140" fmla="*/ 3247114 w 4610101"/>
              <a:gd name="connsiteY11140" fmla="*/ 1396638 h 6557032"/>
              <a:gd name="connsiteX11141" fmla="*/ 3236181 w 4610101"/>
              <a:gd name="connsiteY11141" fmla="*/ 1402104 h 6557032"/>
              <a:gd name="connsiteX11142" fmla="*/ 3232537 w 4610101"/>
              <a:gd name="connsiteY11142" fmla="*/ 1396638 h 6557032"/>
              <a:gd name="connsiteX11143" fmla="*/ 3216137 w 4610101"/>
              <a:gd name="connsiteY11143" fmla="*/ 1402104 h 6557032"/>
              <a:gd name="connsiteX11144" fmla="*/ 3236181 w 4610101"/>
              <a:gd name="connsiteY11144" fmla="*/ 1420326 h 6557032"/>
              <a:gd name="connsiteX11145" fmla="*/ 3241648 w 4610101"/>
              <a:gd name="connsiteY11145" fmla="*/ 1416681 h 6557032"/>
              <a:gd name="connsiteX11146" fmla="*/ 3247114 w 4610101"/>
              <a:gd name="connsiteY11146" fmla="*/ 1422148 h 6557032"/>
              <a:gd name="connsiteX11147" fmla="*/ 3247114 w 4610101"/>
              <a:gd name="connsiteY11147" fmla="*/ 1414859 h 6557032"/>
              <a:gd name="connsiteX11148" fmla="*/ 3252581 w 4610101"/>
              <a:gd name="connsiteY11148" fmla="*/ 1418504 h 6557032"/>
              <a:gd name="connsiteX11149" fmla="*/ 3272625 w 4610101"/>
              <a:gd name="connsiteY11149" fmla="*/ 1436725 h 6557032"/>
              <a:gd name="connsiteX11150" fmla="*/ 3263514 w 4610101"/>
              <a:gd name="connsiteY11150" fmla="*/ 1409393 h 6557032"/>
              <a:gd name="connsiteX11151" fmla="*/ 3249421 w 4610101"/>
              <a:gd name="connsiteY11151" fmla="*/ 1392481 h 6557032"/>
              <a:gd name="connsiteX11152" fmla="*/ 1506938 w 4610101"/>
              <a:gd name="connsiteY11152" fmla="*/ 1391171 h 6557032"/>
              <a:gd name="connsiteX11153" fmla="*/ 1545204 w 4610101"/>
              <a:gd name="connsiteY11153" fmla="*/ 1414859 h 6557032"/>
              <a:gd name="connsiteX11154" fmla="*/ 1545204 w 4610101"/>
              <a:gd name="connsiteY11154" fmla="*/ 1391171 h 6557032"/>
              <a:gd name="connsiteX11155" fmla="*/ 1530626 w 4610101"/>
              <a:gd name="connsiteY11155" fmla="*/ 1394815 h 6557032"/>
              <a:gd name="connsiteX11156" fmla="*/ 685138 w 4610101"/>
              <a:gd name="connsiteY11156" fmla="*/ 1391171 h 6557032"/>
              <a:gd name="connsiteX11157" fmla="*/ 683316 w 4610101"/>
              <a:gd name="connsiteY11157" fmla="*/ 1394815 h 6557032"/>
              <a:gd name="connsiteX11158" fmla="*/ 686960 w 4610101"/>
              <a:gd name="connsiteY11158" fmla="*/ 1398460 h 6557032"/>
              <a:gd name="connsiteX11159" fmla="*/ 685138 w 4610101"/>
              <a:gd name="connsiteY11159" fmla="*/ 1391171 h 6557032"/>
              <a:gd name="connsiteX11160" fmla="*/ 672383 w 4610101"/>
              <a:gd name="connsiteY11160" fmla="*/ 1391171 h 6557032"/>
              <a:gd name="connsiteX11161" fmla="*/ 663272 w 4610101"/>
              <a:gd name="connsiteY11161" fmla="*/ 1398460 h 6557032"/>
              <a:gd name="connsiteX11162" fmla="*/ 672383 w 4610101"/>
              <a:gd name="connsiteY11162" fmla="*/ 1391171 h 6557032"/>
              <a:gd name="connsiteX11163" fmla="*/ 614074 w 4610101"/>
              <a:gd name="connsiteY11163" fmla="*/ 1391171 h 6557032"/>
              <a:gd name="connsiteX11164" fmla="*/ 630472 w 4610101"/>
              <a:gd name="connsiteY11164" fmla="*/ 1402104 h 6557032"/>
              <a:gd name="connsiteX11165" fmla="*/ 619539 w 4610101"/>
              <a:gd name="connsiteY11165" fmla="*/ 1394815 h 6557032"/>
              <a:gd name="connsiteX11166" fmla="*/ 619539 w 4610101"/>
              <a:gd name="connsiteY11166" fmla="*/ 1398460 h 6557032"/>
              <a:gd name="connsiteX11167" fmla="*/ 614074 w 4610101"/>
              <a:gd name="connsiteY11167" fmla="*/ 1391171 h 6557032"/>
              <a:gd name="connsiteX11168" fmla="*/ 3504998 w 4610101"/>
              <a:gd name="connsiteY11168" fmla="*/ 1390015 h 6557032"/>
              <a:gd name="connsiteX11169" fmla="*/ 3504041 w 4610101"/>
              <a:gd name="connsiteY11169" fmla="*/ 1392993 h 6557032"/>
              <a:gd name="connsiteX11170" fmla="*/ 3503807 w 4610101"/>
              <a:gd name="connsiteY11170" fmla="*/ 1391667 h 6557032"/>
              <a:gd name="connsiteX11171" fmla="*/ 3503814 w 4610101"/>
              <a:gd name="connsiteY11171" fmla="*/ 1391627 h 6557032"/>
              <a:gd name="connsiteX11172" fmla="*/ 1142908 w 4610101"/>
              <a:gd name="connsiteY11172" fmla="*/ 1389552 h 6557032"/>
              <a:gd name="connsiteX11173" fmla="*/ 1142503 w 4610101"/>
              <a:gd name="connsiteY11173" fmla="*/ 1391171 h 6557032"/>
              <a:gd name="connsiteX11174" fmla="*/ 1142731 w 4610101"/>
              <a:gd name="connsiteY11174" fmla="*/ 1389577 h 6557032"/>
              <a:gd name="connsiteX11175" fmla="*/ 606777 w 4610101"/>
              <a:gd name="connsiteY11175" fmla="*/ 1389515 h 6557032"/>
              <a:gd name="connsiteX11176" fmla="*/ 606556 w 4610101"/>
              <a:gd name="connsiteY11176" fmla="*/ 1394815 h 6557032"/>
              <a:gd name="connsiteX11177" fmla="*/ 604963 w 4610101"/>
              <a:gd name="connsiteY11177" fmla="*/ 1400282 h 6557032"/>
              <a:gd name="connsiteX11178" fmla="*/ 604963 w 4610101"/>
              <a:gd name="connsiteY11178" fmla="*/ 1391488 h 6557032"/>
              <a:gd name="connsiteX11179" fmla="*/ 1155259 w 4610101"/>
              <a:gd name="connsiteY11179" fmla="*/ 1389349 h 6557032"/>
              <a:gd name="connsiteX11180" fmla="*/ 1149792 w 4610101"/>
              <a:gd name="connsiteY11180" fmla="*/ 1396638 h 6557032"/>
              <a:gd name="connsiteX11181" fmla="*/ 1155259 w 4610101"/>
              <a:gd name="connsiteY11181" fmla="*/ 1402104 h 6557032"/>
              <a:gd name="connsiteX11182" fmla="*/ 1151614 w 4610101"/>
              <a:gd name="connsiteY11182" fmla="*/ 1400282 h 6557032"/>
              <a:gd name="connsiteX11183" fmla="*/ 1149792 w 4610101"/>
              <a:gd name="connsiteY11183" fmla="*/ 1407571 h 6557032"/>
              <a:gd name="connsiteX11184" fmla="*/ 1155259 w 4610101"/>
              <a:gd name="connsiteY11184" fmla="*/ 1402104 h 6557032"/>
              <a:gd name="connsiteX11185" fmla="*/ 1155259 w 4610101"/>
              <a:gd name="connsiteY11185" fmla="*/ 1389349 h 6557032"/>
              <a:gd name="connsiteX11186" fmla="*/ 1080549 w 4610101"/>
              <a:gd name="connsiteY11186" fmla="*/ 1389349 h 6557032"/>
              <a:gd name="connsiteX11187" fmla="*/ 1084194 w 4610101"/>
              <a:gd name="connsiteY11187" fmla="*/ 1391171 h 6557032"/>
              <a:gd name="connsiteX11188" fmla="*/ 1080549 w 4610101"/>
              <a:gd name="connsiteY11188" fmla="*/ 1389349 h 6557032"/>
              <a:gd name="connsiteX11189" fmla="*/ 923843 w 4610101"/>
              <a:gd name="connsiteY11189" fmla="*/ 1389349 h 6557032"/>
              <a:gd name="connsiteX11190" fmla="*/ 927487 w 4610101"/>
              <a:gd name="connsiteY11190" fmla="*/ 1389349 h 6557032"/>
              <a:gd name="connsiteX11191" fmla="*/ 909720 w 4610101"/>
              <a:gd name="connsiteY11191" fmla="*/ 1393449 h 6557032"/>
              <a:gd name="connsiteX11192" fmla="*/ 908630 w 4610101"/>
              <a:gd name="connsiteY11192" fmla="*/ 1393152 h 6557032"/>
              <a:gd name="connsiteX11193" fmla="*/ 912909 w 4610101"/>
              <a:gd name="connsiteY11193" fmla="*/ 1392082 h 6557032"/>
              <a:gd name="connsiteX11194" fmla="*/ 923843 w 4610101"/>
              <a:gd name="connsiteY11194" fmla="*/ 1389349 h 6557032"/>
              <a:gd name="connsiteX11195" fmla="*/ 838200 w 4610101"/>
              <a:gd name="connsiteY11195" fmla="*/ 1389349 h 6557032"/>
              <a:gd name="connsiteX11196" fmla="*/ 847311 w 4610101"/>
              <a:gd name="connsiteY11196" fmla="*/ 1391171 h 6557032"/>
              <a:gd name="connsiteX11197" fmla="*/ 838200 w 4610101"/>
              <a:gd name="connsiteY11197" fmla="*/ 1389349 h 6557032"/>
              <a:gd name="connsiteX11198" fmla="*/ 639583 w 4610101"/>
              <a:gd name="connsiteY11198" fmla="*/ 1389349 h 6557032"/>
              <a:gd name="connsiteX11199" fmla="*/ 632296 w 4610101"/>
              <a:gd name="connsiteY11199" fmla="*/ 1392993 h 6557032"/>
              <a:gd name="connsiteX11200" fmla="*/ 639583 w 4610101"/>
              <a:gd name="connsiteY11200" fmla="*/ 1389349 h 6557032"/>
              <a:gd name="connsiteX11201" fmla="*/ 617717 w 4610101"/>
              <a:gd name="connsiteY11201" fmla="*/ 1389349 h 6557032"/>
              <a:gd name="connsiteX11202" fmla="*/ 632296 w 4610101"/>
              <a:gd name="connsiteY11202" fmla="*/ 1398460 h 6557032"/>
              <a:gd name="connsiteX11203" fmla="*/ 617717 w 4610101"/>
              <a:gd name="connsiteY11203" fmla="*/ 1389349 h 6557032"/>
              <a:gd name="connsiteX11204" fmla="*/ 1071439 w 4610101"/>
              <a:gd name="connsiteY11204" fmla="*/ 1387527 h 6557032"/>
              <a:gd name="connsiteX11205" fmla="*/ 1093305 w 4610101"/>
              <a:gd name="connsiteY11205" fmla="*/ 1409393 h 6557032"/>
              <a:gd name="connsiteX11206" fmla="*/ 1093305 w 4610101"/>
              <a:gd name="connsiteY11206" fmla="*/ 1394815 h 6557032"/>
              <a:gd name="connsiteX11207" fmla="*/ 1084194 w 4610101"/>
              <a:gd name="connsiteY11207" fmla="*/ 1389349 h 6557032"/>
              <a:gd name="connsiteX11208" fmla="*/ 1086016 w 4610101"/>
              <a:gd name="connsiteY11208" fmla="*/ 1392993 h 6557032"/>
              <a:gd name="connsiteX11209" fmla="*/ 1071439 w 4610101"/>
              <a:gd name="connsiteY11209" fmla="*/ 1387527 h 6557032"/>
              <a:gd name="connsiteX11210" fmla="*/ 1067794 w 4610101"/>
              <a:gd name="connsiteY11210" fmla="*/ 1387527 h 6557032"/>
              <a:gd name="connsiteX11211" fmla="*/ 1073262 w 4610101"/>
              <a:gd name="connsiteY11211" fmla="*/ 1394815 h 6557032"/>
              <a:gd name="connsiteX11212" fmla="*/ 1067794 w 4610101"/>
              <a:gd name="connsiteY11212" fmla="*/ 1387527 h 6557032"/>
              <a:gd name="connsiteX11213" fmla="*/ 608606 w 4610101"/>
              <a:gd name="connsiteY11213" fmla="*/ 1387527 h 6557032"/>
              <a:gd name="connsiteX11214" fmla="*/ 606777 w 4610101"/>
              <a:gd name="connsiteY11214" fmla="*/ 1389515 h 6557032"/>
              <a:gd name="connsiteX11215" fmla="*/ 606784 w 4610101"/>
              <a:gd name="connsiteY11215" fmla="*/ 1389349 h 6557032"/>
              <a:gd name="connsiteX11216" fmla="*/ 604963 w 4610101"/>
              <a:gd name="connsiteY11216" fmla="*/ 1389349 h 6557032"/>
              <a:gd name="connsiteX11217" fmla="*/ 604963 w 4610101"/>
              <a:gd name="connsiteY11217" fmla="*/ 1391488 h 6557032"/>
              <a:gd name="connsiteX11218" fmla="*/ 603369 w 4610101"/>
              <a:gd name="connsiteY11218" fmla="*/ 1393221 h 6557032"/>
              <a:gd name="connsiteX11219" fmla="*/ 604963 w 4610101"/>
              <a:gd name="connsiteY11219" fmla="*/ 1400282 h 6557032"/>
              <a:gd name="connsiteX11220" fmla="*/ 608606 w 4610101"/>
              <a:gd name="connsiteY11220" fmla="*/ 1387527 h 6557032"/>
              <a:gd name="connsiteX11221" fmla="*/ 501098 w 4610101"/>
              <a:gd name="connsiteY11221" fmla="*/ 1387527 h 6557032"/>
              <a:gd name="connsiteX11222" fmla="*/ 495632 w 4610101"/>
              <a:gd name="connsiteY11222" fmla="*/ 1391171 h 6557032"/>
              <a:gd name="connsiteX11223" fmla="*/ 501098 w 4610101"/>
              <a:gd name="connsiteY11223" fmla="*/ 1387527 h 6557032"/>
              <a:gd name="connsiteX11224" fmla="*/ 3357584 w 4610101"/>
              <a:gd name="connsiteY11224" fmla="*/ 1386160 h 6557032"/>
              <a:gd name="connsiteX11225" fmla="*/ 3352800 w 4610101"/>
              <a:gd name="connsiteY11225" fmla="*/ 1387527 h 6557032"/>
              <a:gd name="connsiteX11226" fmla="*/ 3349156 w 4610101"/>
              <a:gd name="connsiteY11226" fmla="*/ 1411215 h 6557032"/>
              <a:gd name="connsiteX11227" fmla="*/ 3341867 w 4610101"/>
              <a:gd name="connsiteY11227" fmla="*/ 1409393 h 6557032"/>
              <a:gd name="connsiteX11228" fmla="*/ 3340045 w 4610101"/>
              <a:gd name="connsiteY11228" fmla="*/ 1418504 h 6557032"/>
              <a:gd name="connsiteX11229" fmla="*/ 3350978 w 4610101"/>
              <a:gd name="connsiteY11229" fmla="*/ 1427615 h 6557032"/>
              <a:gd name="connsiteX11230" fmla="*/ 3358267 w 4610101"/>
              <a:gd name="connsiteY11230" fmla="*/ 1418504 h 6557032"/>
              <a:gd name="connsiteX11231" fmla="*/ 3361911 w 4610101"/>
              <a:gd name="connsiteY11231" fmla="*/ 1422148 h 6557032"/>
              <a:gd name="connsiteX11232" fmla="*/ 3361911 w 4610101"/>
              <a:gd name="connsiteY11232" fmla="*/ 1411215 h 6557032"/>
              <a:gd name="connsiteX11233" fmla="*/ 3369200 w 4610101"/>
              <a:gd name="connsiteY11233" fmla="*/ 1414859 h 6557032"/>
              <a:gd name="connsiteX11234" fmla="*/ 3363734 w 4610101"/>
              <a:gd name="connsiteY11234" fmla="*/ 1387527 h 6557032"/>
              <a:gd name="connsiteX11235" fmla="*/ 3357584 w 4610101"/>
              <a:gd name="connsiteY11235" fmla="*/ 1386160 h 6557032"/>
              <a:gd name="connsiteX11236" fmla="*/ 3398355 w 4610101"/>
              <a:gd name="connsiteY11236" fmla="*/ 1385705 h 6557032"/>
              <a:gd name="connsiteX11237" fmla="*/ 3391066 w 4610101"/>
              <a:gd name="connsiteY11237" fmla="*/ 1398460 h 6557032"/>
              <a:gd name="connsiteX11238" fmla="*/ 3403821 w 4610101"/>
              <a:gd name="connsiteY11238" fmla="*/ 1391171 h 6557032"/>
              <a:gd name="connsiteX11239" fmla="*/ 3398355 w 4610101"/>
              <a:gd name="connsiteY11239" fmla="*/ 1385705 h 6557032"/>
              <a:gd name="connsiteX11240" fmla="*/ 723404 w 4610101"/>
              <a:gd name="connsiteY11240" fmla="*/ 1385705 h 6557032"/>
              <a:gd name="connsiteX11241" fmla="*/ 727048 w 4610101"/>
              <a:gd name="connsiteY11241" fmla="*/ 1398460 h 6557032"/>
              <a:gd name="connsiteX11242" fmla="*/ 730692 w 4610101"/>
              <a:gd name="connsiteY11242" fmla="*/ 1391171 h 6557032"/>
              <a:gd name="connsiteX11243" fmla="*/ 730692 w 4610101"/>
              <a:gd name="connsiteY11243" fmla="*/ 1396638 h 6557032"/>
              <a:gd name="connsiteX11244" fmla="*/ 747092 w 4610101"/>
              <a:gd name="connsiteY11244" fmla="*/ 1396638 h 6557032"/>
              <a:gd name="connsiteX11245" fmla="*/ 723404 w 4610101"/>
              <a:gd name="connsiteY11245" fmla="*/ 1385705 h 6557032"/>
              <a:gd name="connsiteX11246" fmla="*/ 688782 w 4610101"/>
              <a:gd name="connsiteY11246" fmla="*/ 1385705 h 6557032"/>
              <a:gd name="connsiteX11247" fmla="*/ 705182 w 4610101"/>
              <a:gd name="connsiteY11247" fmla="*/ 1403926 h 6557032"/>
              <a:gd name="connsiteX11248" fmla="*/ 716115 w 4610101"/>
              <a:gd name="connsiteY11248" fmla="*/ 1402104 h 6557032"/>
              <a:gd name="connsiteX11249" fmla="*/ 717937 w 4610101"/>
              <a:gd name="connsiteY11249" fmla="*/ 1405748 h 6557032"/>
              <a:gd name="connsiteX11250" fmla="*/ 716115 w 4610101"/>
              <a:gd name="connsiteY11250" fmla="*/ 1400282 h 6557032"/>
              <a:gd name="connsiteX11251" fmla="*/ 688782 w 4610101"/>
              <a:gd name="connsiteY11251" fmla="*/ 1385705 h 6557032"/>
              <a:gd name="connsiteX11252" fmla="*/ 666916 w 4610101"/>
              <a:gd name="connsiteY11252" fmla="*/ 1385705 h 6557032"/>
              <a:gd name="connsiteX11253" fmla="*/ 664673 w 4610101"/>
              <a:gd name="connsiteY11253" fmla="*/ 1389965 h 6557032"/>
              <a:gd name="connsiteX11254" fmla="*/ 659627 w 4610101"/>
              <a:gd name="connsiteY11254" fmla="*/ 1392993 h 6557032"/>
              <a:gd name="connsiteX11255" fmla="*/ 664638 w 4610101"/>
              <a:gd name="connsiteY11255" fmla="*/ 1390032 h 6557032"/>
              <a:gd name="connsiteX11256" fmla="*/ 664673 w 4610101"/>
              <a:gd name="connsiteY11256" fmla="*/ 1389965 h 6557032"/>
              <a:gd name="connsiteX11257" fmla="*/ 668738 w 4610101"/>
              <a:gd name="connsiteY11257" fmla="*/ 1387527 h 6557032"/>
              <a:gd name="connsiteX11258" fmla="*/ 666916 w 4610101"/>
              <a:gd name="connsiteY11258" fmla="*/ 1385705 h 6557032"/>
              <a:gd name="connsiteX11259" fmla="*/ 621362 w 4610101"/>
              <a:gd name="connsiteY11259" fmla="*/ 1385705 h 6557032"/>
              <a:gd name="connsiteX11260" fmla="*/ 615895 w 4610101"/>
              <a:gd name="connsiteY11260" fmla="*/ 1387527 h 6557032"/>
              <a:gd name="connsiteX11261" fmla="*/ 621362 w 4610101"/>
              <a:gd name="connsiteY11261" fmla="*/ 1387527 h 6557032"/>
              <a:gd name="connsiteX11262" fmla="*/ 621362 w 4610101"/>
              <a:gd name="connsiteY11262" fmla="*/ 1385705 h 6557032"/>
              <a:gd name="connsiteX11263" fmla="*/ 3474886 w 4610101"/>
              <a:gd name="connsiteY11263" fmla="*/ 1383882 h 6557032"/>
              <a:gd name="connsiteX11264" fmla="*/ 3478530 w 4610101"/>
              <a:gd name="connsiteY11264" fmla="*/ 1402104 h 6557032"/>
              <a:gd name="connsiteX11265" fmla="*/ 3487641 w 4610101"/>
              <a:gd name="connsiteY11265" fmla="*/ 1403926 h 6557032"/>
              <a:gd name="connsiteX11266" fmla="*/ 3482175 w 4610101"/>
              <a:gd name="connsiteY11266" fmla="*/ 1383882 h 6557032"/>
              <a:gd name="connsiteX11267" fmla="*/ 3474886 w 4610101"/>
              <a:gd name="connsiteY11267" fmla="*/ 1383882 h 6557032"/>
              <a:gd name="connsiteX11268" fmla="*/ 3453020 w 4610101"/>
              <a:gd name="connsiteY11268" fmla="*/ 1383882 h 6557032"/>
              <a:gd name="connsiteX11269" fmla="*/ 3434798 w 4610101"/>
              <a:gd name="connsiteY11269" fmla="*/ 1391171 h 6557032"/>
              <a:gd name="connsiteX11270" fmla="*/ 3431154 w 4610101"/>
              <a:gd name="connsiteY11270" fmla="*/ 1389349 h 6557032"/>
              <a:gd name="connsiteX11271" fmla="*/ 3412932 w 4610101"/>
              <a:gd name="connsiteY11271" fmla="*/ 1407571 h 6557032"/>
              <a:gd name="connsiteX11272" fmla="*/ 3420221 w 4610101"/>
              <a:gd name="connsiteY11272" fmla="*/ 1409393 h 6557032"/>
              <a:gd name="connsiteX11273" fmla="*/ 3420221 w 4610101"/>
              <a:gd name="connsiteY11273" fmla="*/ 1405748 h 6557032"/>
              <a:gd name="connsiteX11274" fmla="*/ 3436621 w 4610101"/>
              <a:gd name="connsiteY11274" fmla="*/ 1420326 h 6557032"/>
              <a:gd name="connsiteX11275" fmla="*/ 3445731 w 4610101"/>
              <a:gd name="connsiteY11275" fmla="*/ 1422148 h 6557032"/>
              <a:gd name="connsiteX11276" fmla="*/ 3443909 w 4610101"/>
              <a:gd name="connsiteY11276" fmla="*/ 1394815 h 6557032"/>
              <a:gd name="connsiteX11277" fmla="*/ 3458487 w 4610101"/>
              <a:gd name="connsiteY11277" fmla="*/ 1405748 h 6557032"/>
              <a:gd name="connsiteX11278" fmla="*/ 3460309 w 4610101"/>
              <a:gd name="connsiteY11278" fmla="*/ 1383882 h 6557032"/>
              <a:gd name="connsiteX11279" fmla="*/ 3451198 w 4610101"/>
              <a:gd name="connsiteY11279" fmla="*/ 1391171 h 6557032"/>
              <a:gd name="connsiteX11280" fmla="*/ 3453020 w 4610101"/>
              <a:gd name="connsiteY11280" fmla="*/ 1383882 h 6557032"/>
              <a:gd name="connsiteX11281" fmla="*/ 3409288 w 4610101"/>
              <a:gd name="connsiteY11281" fmla="*/ 1383882 h 6557032"/>
              <a:gd name="connsiteX11282" fmla="*/ 3405643 w 4610101"/>
              <a:gd name="connsiteY11282" fmla="*/ 1387527 h 6557032"/>
              <a:gd name="connsiteX11283" fmla="*/ 3409288 w 4610101"/>
              <a:gd name="connsiteY11283" fmla="*/ 1392993 h 6557032"/>
              <a:gd name="connsiteX11284" fmla="*/ 3409288 w 4610101"/>
              <a:gd name="connsiteY11284" fmla="*/ 1383882 h 6557032"/>
              <a:gd name="connsiteX11285" fmla="*/ 2815259 w 4610101"/>
              <a:gd name="connsiteY11285" fmla="*/ 1383882 h 6557032"/>
              <a:gd name="connsiteX11286" fmla="*/ 2778816 w 4610101"/>
              <a:gd name="connsiteY11286" fmla="*/ 1385705 h 6557032"/>
              <a:gd name="connsiteX11287" fmla="*/ 2780638 w 4610101"/>
              <a:gd name="connsiteY11287" fmla="*/ 1389349 h 6557032"/>
              <a:gd name="connsiteX11288" fmla="*/ 2769705 w 4610101"/>
              <a:gd name="connsiteY11288" fmla="*/ 1400282 h 6557032"/>
              <a:gd name="connsiteX11289" fmla="*/ 2767882 w 4610101"/>
              <a:gd name="connsiteY11289" fmla="*/ 1402104 h 6557032"/>
              <a:gd name="connsiteX11290" fmla="*/ 2767882 w 4610101"/>
              <a:gd name="connsiteY11290" fmla="*/ 1422148 h 6557032"/>
              <a:gd name="connsiteX11291" fmla="*/ 2782460 w 4610101"/>
              <a:gd name="connsiteY11291" fmla="*/ 1394815 h 6557032"/>
              <a:gd name="connsiteX11292" fmla="*/ 2791571 w 4610101"/>
              <a:gd name="connsiteY11292" fmla="*/ 1414859 h 6557032"/>
              <a:gd name="connsiteX11293" fmla="*/ 2797037 w 4610101"/>
              <a:gd name="connsiteY11293" fmla="*/ 1420326 h 6557032"/>
              <a:gd name="connsiteX11294" fmla="*/ 2806148 w 4610101"/>
              <a:gd name="connsiteY11294" fmla="*/ 1425792 h 6557032"/>
              <a:gd name="connsiteX11295" fmla="*/ 2802504 w 4610101"/>
              <a:gd name="connsiteY11295" fmla="*/ 1431259 h 6557032"/>
              <a:gd name="connsiteX11296" fmla="*/ 2809793 w 4610101"/>
              <a:gd name="connsiteY11296" fmla="*/ 1429437 h 6557032"/>
              <a:gd name="connsiteX11297" fmla="*/ 2806148 w 4610101"/>
              <a:gd name="connsiteY11297" fmla="*/ 1418504 h 6557032"/>
              <a:gd name="connsiteX11298" fmla="*/ 2811615 w 4610101"/>
              <a:gd name="connsiteY11298" fmla="*/ 1416681 h 6557032"/>
              <a:gd name="connsiteX11299" fmla="*/ 2806148 w 4610101"/>
              <a:gd name="connsiteY11299" fmla="*/ 1409393 h 6557032"/>
              <a:gd name="connsiteX11300" fmla="*/ 2820726 w 4610101"/>
              <a:gd name="connsiteY11300" fmla="*/ 1394815 h 6557032"/>
              <a:gd name="connsiteX11301" fmla="*/ 2815259 w 4610101"/>
              <a:gd name="connsiteY11301" fmla="*/ 1383882 h 6557032"/>
              <a:gd name="connsiteX11302" fmla="*/ 1129748 w 4610101"/>
              <a:gd name="connsiteY11302" fmla="*/ 1383882 h 6557032"/>
              <a:gd name="connsiteX11303" fmla="*/ 1131570 w 4610101"/>
              <a:gd name="connsiteY11303" fmla="*/ 1391171 h 6557032"/>
              <a:gd name="connsiteX11304" fmla="*/ 1133393 w 4610101"/>
              <a:gd name="connsiteY11304" fmla="*/ 1385705 h 6557032"/>
              <a:gd name="connsiteX11305" fmla="*/ 1129748 w 4610101"/>
              <a:gd name="connsiteY11305" fmla="*/ 1383882 h 6557032"/>
              <a:gd name="connsiteX11306" fmla="*/ 3420221 w 4610101"/>
              <a:gd name="connsiteY11306" fmla="*/ 1383199 h 6557032"/>
              <a:gd name="connsiteX11307" fmla="*/ 3416577 w 4610101"/>
              <a:gd name="connsiteY11307" fmla="*/ 1387527 h 6557032"/>
              <a:gd name="connsiteX11308" fmla="*/ 3423865 w 4610101"/>
              <a:gd name="connsiteY11308" fmla="*/ 1385705 h 6557032"/>
              <a:gd name="connsiteX11309" fmla="*/ 3420221 w 4610101"/>
              <a:gd name="connsiteY11309" fmla="*/ 1383199 h 6557032"/>
              <a:gd name="connsiteX11310" fmla="*/ 2831659 w 4610101"/>
              <a:gd name="connsiteY11310" fmla="*/ 1382060 h 6557032"/>
              <a:gd name="connsiteX11311" fmla="*/ 2835303 w 4610101"/>
              <a:gd name="connsiteY11311" fmla="*/ 1409393 h 6557032"/>
              <a:gd name="connsiteX11312" fmla="*/ 2815259 w 4610101"/>
              <a:gd name="connsiteY11312" fmla="*/ 1416681 h 6557032"/>
              <a:gd name="connsiteX11313" fmla="*/ 2824370 w 4610101"/>
              <a:gd name="connsiteY11313" fmla="*/ 1427615 h 6557032"/>
              <a:gd name="connsiteX11314" fmla="*/ 2826192 w 4610101"/>
              <a:gd name="connsiteY11314" fmla="*/ 1433081 h 6557032"/>
              <a:gd name="connsiteX11315" fmla="*/ 2804326 w 4610101"/>
              <a:gd name="connsiteY11315" fmla="*/ 1431259 h 6557032"/>
              <a:gd name="connsiteX11316" fmla="*/ 2800682 w 4610101"/>
              <a:gd name="connsiteY11316" fmla="*/ 1436725 h 6557032"/>
              <a:gd name="connsiteX11317" fmla="*/ 2802504 w 4610101"/>
              <a:gd name="connsiteY11317" fmla="*/ 1442192 h 6557032"/>
              <a:gd name="connsiteX11318" fmla="*/ 2798860 w 4610101"/>
              <a:gd name="connsiteY11318" fmla="*/ 1440370 h 6557032"/>
              <a:gd name="connsiteX11319" fmla="*/ 2795215 w 4610101"/>
              <a:gd name="connsiteY11319" fmla="*/ 1445836 h 6557032"/>
              <a:gd name="connsiteX11320" fmla="*/ 2802504 w 4610101"/>
              <a:gd name="connsiteY11320" fmla="*/ 1456769 h 6557032"/>
              <a:gd name="connsiteX11321" fmla="*/ 2837125 w 4610101"/>
              <a:gd name="connsiteY11321" fmla="*/ 1425792 h 6557032"/>
              <a:gd name="connsiteX11322" fmla="*/ 2846236 w 4610101"/>
              <a:gd name="connsiteY11322" fmla="*/ 1433081 h 6557032"/>
              <a:gd name="connsiteX11323" fmla="*/ 2829837 w 4610101"/>
              <a:gd name="connsiteY11323" fmla="*/ 1454947 h 6557032"/>
              <a:gd name="connsiteX11324" fmla="*/ 2851703 w 4610101"/>
              <a:gd name="connsiteY11324" fmla="*/ 1456769 h 6557032"/>
              <a:gd name="connsiteX11325" fmla="*/ 2868102 w 4610101"/>
              <a:gd name="connsiteY11325" fmla="*/ 1469525 h 6557032"/>
              <a:gd name="connsiteX11326" fmla="*/ 2873569 w 4610101"/>
              <a:gd name="connsiteY11326" fmla="*/ 1489568 h 6557032"/>
              <a:gd name="connsiteX11327" fmla="*/ 2886324 w 4610101"/>
              <a:gd name="connsiteY11327" fmla="*/ 1493213 h 6557032"/>
              <a:gd name="connsiteX11328" fmla="*/ 2891790 w 4610101"/>
              <a:gd name="connsiteY11328" fmla="*/ 1489568 h 6557032"/>
              <a:gd name="connsiteX11329" fmla="*/ 2868102 w 4610101"/>
              <a:gd name="connsiteY11329" fmla="*/ 1467702 h 6557032"/>
              <a:gd name="connsiteX11330" fmla="*/ 2875391 w 4610101"/>
              <a:gd name="connsiteY11330" fmla="*/ 1451303 h 6557032"/>
              <a:gd name="connsiteX11331" fmla="*/ 2889968 w 4610101"/>
              <a:gd name="connsiteY11331" fmla="*/ 1458592 h 6557032"/>
              <a:gd name="connsiteX11332" fmla="*/ 2911834 w 4610101"/>
              <a:gd name="connsiteY11332" fmla="*/ 1436725 h 6557032"/>
              <a:gd name="connsiteX11333" fmla="*/ 2917301 w 4610101"/>
              <a:gd name="connsiteY11333" fmla="*/ 1453125 h 6557032"/>
              <a:gd name="connsiteX11334" fmla="*/ 2926412 w 4610101"/>
              <a:gd name="connsiteY11334" fmla="*/ 1427615 h 6557032"/>
              <a:gd name="connsiteX11335" fmla="*/ 2891790 w 4610101"/>
              <a:gd name="connsiteY11335" fmla="*/ 1416681 h 6557032"/>
              <a:gd name="connsiteX11336" fmla="*/ 2884502 w 4610101"/>
              <a:gd name="connsiteY11336" fmla="*/ 1425792 h 6557032"/>
              <a:gd name="connsiteX11337" fmla="*/ 2875391 w 4610101"/>
              <a:gd name="connsiteY11337" fmla="*/ 1402104 h 6557032"/>
              <a:gd name="connsiteX11338" fmla="*/ 2880857 w 4610101"/>
              <a:gd name="connsiteY11338" fmla="*/ 1400282 h 6557032"/>
              <a:gd name="connsiteX11339" fmla="*/ 2831659 w 4610101"/>
              <a:gd name="connsiteY11339" fmla="*/ 1382060 h 6557032"/>
              <a:gd name="connsiteX11340" fmla="*/ 768959 w 4610101"/>
              <a:gd name="connsiteY11340" fmla="*/ 1382060 h 6557032"/>
              <a:gd name="connsiteX11341" fmla="*/ 767136 w 4610101"/>
              <a:gd name="connsiteY11341" fmla="*/ 1392993 h 6557032"/>
              <a:gd name="connsiteX11342" fmla="*/ 781713 w 4610101"/>
              <a:gd name="connsiteY11342" fmla="*/ 1391171 h 6557032"/>
              <a:gd name="connsiteX11343" fmla="*/ 778070 w 4610101"/>
              <a:gd name="connsiteY11343" fmla="*/ 1389349 h 6557032"/>
              <a:gd name="connsiteX11344" fmla="*/ 783535 w 4610101"/>
              <a:gd name="connsiteY11344" fmla="*/ 1389349 h 6557032"/>
              <a:gd name="connsiteX11345" fmla="*/ 768959 w 4610101"/>
              <a:gd name="connsiteY11345" fmla="*/ 1382060 h 6557032"/>
              <a:gd name="connsiteX11346" fmla="*/ 532075 w 4610101"/>
              <a:gd name="connsiteY11346" fmla="*/ 1382060 h 6557032"/>
              <a:gd name="connsiteX11347" fmla="*/ 535719 w 4610101"/>
              <a:gd name="connsiteY11347" fmla="*/ 1394815 h 6557032"/>
              <a:gd name="connsiteX11348" fmla="*/ 543008 w 4610101"/>
              <a:gd name="connsiteY11348" fmla="*/ 1385705 h 6557032"/>
              <a:gd name="connsiteX11349" fmla="*/ 541186 w 4610101"/>
              <a:gd name="connsiteY11349" fmla="*/ 1382060 h 6557032"/>
              <a:gd name="connsiteX11350" fmla="*/ 532075 w 4610101"/>
              <a:gd name="connsiteY11350" fmla="*/ 1382060 h 6557032"/>
              <a:gd name="connsiteX11351" fmla="*/ 3053964 w 4610101"/>
              <a:gd name="connsiteY11351" fmla="*/ 1380921 h 6557032"/>
              <a:gd name="connsiteX11352" fmla="*/ 3036824 w 4610101"/>
              <a:gd name="connsiteY11352" fmla="*/ 1381690 h 6557032"/>
              <a:gd name="connsiteX11353" fmla="*/ 3026766 w 4610101"/>
              <a:gd name="connsiteY11353" fmla="*/ 1389627 h 6557032"/>
              <a:gd name="connsiteX11354" fmla="*/ 3026631 w 4610101"/>
              <a:gd name="connsiteY11354" fmla="*/ 1389349 h 6557032"/>
              <a:gd name="connsiteX11355" fmla="*/ 3024809 w 4610101"/>
              <a:gd name="connsiteY11355" fmla="*/ 1391171 h 6557032"/>
              <a:gd name="connsiteX11356" fmla="*/ 3026766 w 4610101"/>
              <a:gd name="connsiteY11356" fmla="*/ 1389627 h 6557032"/>
              <a:gd name="connsiteX11357" fmla="*/ 3034148 w 4610101"/>
              <a:gd name="connsiteY11357" fmla="*/ 1404837 h 6557032"/>
              <a:gd name="connsiteX11358" fmla="*/ 3048497 w 4610101"/>
              <a:gd name="connsiteY11358" fmla="*/ 1409393 h 6557032"/>
              <a:gd name="connsiteX11359" fmla="*/ 3059430 w 4610101"/>
              <a:gd name="connsiteY11359" fmla="*/ 1429437 h 6557032"/>
              <a:gd name="connsiteX11360" fmla="*/ 3043031 w 4610101"/>
              <a:gd name="connsiteY11360" fmla="*/ 1423970 h 6557032"/>
              <a:gd name="connsiteX11361" fmla="*/ 3046675 w 4610101"/>
              <a:gd name="connsiteY11361" fmla="*/ 1427615 h 6557032"/>
              <a:gd name="connsiteX11362" fmla="*/ 3039387 w 4610101"/>
              <a:gd name="connsiteY11362" fmla="*/ 1429437 h 6557032"/>
              <a:gd name="connsiteX11363" fmla="*/ 3032098 w 4610101"/>
              <a:gd name="connsiteY11363" fmla="*/ 1418504 h 6557032"/>
              <a:gd name="connsiteX11364" fmla="*/ 3017521 w 4610101"/>
              <a:gd name="connsiteY11364" fmla="*/ 1413037 h 6557032"/>
              <a:gd name="connsiteX11365" fmla="*/ 3022987 w 4610101"/>
              <a:gd name="connsiteY11365" fmla="*/ 1423970 h 6557032"/>
              <a:gd name="connsiteX11366" fmla="*/ 3012054 w 4610101"/>
              <a:gd name="connsiteY11366" fmla="*/ 1414859 h 6557032"/>
              <a:gd name="connsiteX11367" fmla="*/ 3013876 w 4610101"/>
              <a:gd name="connsiteY11367" fmla="*/ 1414859 h 6557032"/>
              <a:gd name="connsiteX11368" fmla="*/ 3004765 w 4610101"/>
              <a:gd name="connsiteY11368" fmla="*/ 1416681 h 6557032"/>
              <a:gd name="connsiteX11369" fmla="*/ 3004765 w 4610101"/>
              <a:gd name="connsiteY11369" fmla="*/ 1433081 h 6557032"/>
              <a:gd name="connsiteX11370" fmla="*/ 3015698 w 4610101"/>
              <a:gd name="connsiteY11370" fmla="*/ 1436725 h 6557032"/>
              <a:gd name="connsiteX11371" fmla="*/ 3032098 w 4610101"/>
              <a:gd name="connsiteY11371" fmla="*/ 1431259 h 6557032"/>
              <a:gd name="connsiteX11372" fmla="*/ 3053964 w 4610101"/>
              <a:gd name="connsiteY11372" fmla="*/ 1447658 h 6557032"/>
              <a:gd name="connsiteX11373" fmla="*/ 3052142 w 4610101"/>
              <a:gd name="connsiteY11373" fmla="*/ 1484102 h 6557032"/>
              <a:gd name="connsiteX11374" fmla="*/ 3030276 w 4610101"/>
              <a:gd name="connsiteY11374" fmla="*/ 1507790 h 6557032"/>
              <a:gd name="connsiteX11375" fmla="*/ 3008410 w 4610101"/>
              <a:gd name="connsiteY11375" fmla="*/ 1507790 h 6557032"/>
              <a:gd name="connsiteX11376" fmla="*/ 3015698 w 4610101"/>
              <a:gd name="connsiteY11376" fmla="*/ 1535123 h 6557032"/>
              <a:gd name="connsiteX11377" fmla="*/ 3017521 w 4610101"/>
              <a:gd name="connsiteY11377" fmla="*/ 1529656 h 6557032"/>
              <a:gd name="connsiteX11378" fmla="*/ 3019343 w 4610101"/>
              <a:gd name="connsiteY11378" fmla="*/ 1533301 h 6557032"/>
              <a:gd name="connsiteX11379" fmla="*/ 3021165 w 4610101"/>
              <a:gd name="connsiteY11379" fmla="*/ 1524190 h 6557032"/>
              <a:gd name="connsiteX11380" fmla="*/ 3032098 w 4610101"/>
              <a:gd name="connsiteY11380" fmla="*/ 1535123 h 6557032"/>
              <a:gd name="connsiteX11381" fmla="*/ 3037564 w 4610101"/>
              <a:gd name="connsiteY11381" fmla="*/ 1529656 h 6557032"/>
              <a:gd name="connsiteX11382" fmla="*/ 3038174 w 4610101"/>
              <a:gd name="connsiteY11382" fmla="*/ 1534735 h 6557032"/>
              <a:gd name="connsiteX11383" fmla="*/ 3032098 w 4610101"/>
              <a:gd name="connsiteY11383" fmla="*/ 1536945 h 6557032"/>
              <a:gd name="connsiteX11384" fmla="*/ 3038248 w 4610101"/>
              <a:gd name="connsiteY11384" fmla="*/ 1535351 h 6557032"/>
              <a:gd name="connsiteX11385" fmla="*/ 3038174 w 4610101"/>
              <a:gd name="connsiteY11385" fmla="*/ 1534735 h 6557032"/>
              <a:gd name="connsiteX11386" fmla="*/ 3044626 w 4610101"/>
              <a:gd name="connsiteY11386" fmla="*/ 1532389 h 6557032"/>
              <a:gd name="connsiteX11387" fmla="*/ 3044853 w 4610101"/>
              <a:gd name="connsiteY11387" fmla="*/ 1522368 h 6557032"/>
              <a:gd name="connsiteX11388" fmla="*/ 3026631 w 4610101"/>
              <a:gd name="connsiteY11388" fmla="*/ 1511434 h 6557032"/>
              <a:gd name="connsiteX11389" fmla="*/ 3046675 w 4610101"/>
              <a:gd name="connsiteY11389" fmla="*/ 1513257 h 6557032"/>
              <a:gd name="connsiteX11390" fmla="*/ 3044853 w 4610101"/>
              <a:gd name="connsiteY11390" fmla="*/ 1507790 h 6557032"/>
              <a:gd name="connsiteX11391" fmla="*/ 3048497 w 4610101"/>
              <a:gd name="connsiteY11391" fmla="*/ 1513257 h 6557032"/>
              <a:gd name="connsiteX11392" fmla="*/ 3052142 w 4610101"/>
              <a:gd name="connsiteY11392" fmla="*/ 1511434 h 6557032"/>
              <a:gd name="connsiteX11393" fmla="*/ 3068541 w 4610101"/>
              <a:gd name="connsiteY11393" fmla="*/ 1518723 h 6557032"/>
              <a:gd name="connsiteX11394" fmla="*/ 3072186 w 4610101"/>
              <a:gd name="connsiteY11394" fmla="*/ 1522368 h 6557032"/>
              <a:gd name="connsiteX11395" fmla="*/ 3072642 w 4610101"/>
              <a:gd name="connsiteY11395" fmla="*/ 1501412 h 6557032"/>
              <a:gd name="connsiteX11396" fmla="*/ 3068594 w 4610101"/>
              <a:gd name="connsiteY11396" fmla="*/ 1494993 h 6557032"/>
              <a:gd name="connsiteX11397" fmla="*/ 3077652 w 4610101"/>
              <a:gd name="connsiteY11397" fmla="*/ 1487746 h 6557032"/>
              <a:gd name="connsiteX11398" fmla="*/ 3088585 w 4610101"/>
              <a:gd name="connsiteY11398" fmla="*/ 1520545 h 6557032"/>
              <a:gd name="connsiteX11399" fmla="*/ 3090407 w 4610101"/>
              <a:gd name="connsiteY11399" fmla="*/ 1516901 h 6557032"/>
              <a:gd name="connsiteX11400" fmla="*/ 3092230 w 4610101"/>
              <a:gd name="connsiteY11400" fmla="*/ 1524190 h 6557032"/>
              <a:gd name="connsiteX11401" fmla="*/ 3094052 w 4610101"/>
              <a:gd name="connsiteY11401" fmla="*/ 1496857 h 6557032"/>
              <a:gd name="connsiteX11402" fmla="*/ 3099518 w 4610101"/>
              <a:gd name="connsiteY11402" fmla="*/ 1513257 h 6557032"/>
              <a:gd name="connsiteX11403" fmla="*/ 3114096 w 4610101"/>
              <a:gd name="connsiteY11403" fmla="*/ 1518723 h 6557032"/>
              <a:gd name="connsiteX11404" fmla="*/ 3146895 w 4610101"/>
              <a:gd name="connsiteY11404" fmla="*/ 1507790 h 6557032"/>
              <a:gd name="connsiteX11405" fmla="*/ 3163294 w 4610101"/>
              <a:gd name="connsiteY11405" fmla="*/ 1509612 h 6557032"/>
              <a:gd name="connsiteX11406" fmla="*/ 3157828 w 4610101"/>
              <a:gd name="connsiteY11406" fmla="*/ 1489568 h 6557032"/>
              <a:gd name="connsiteX11407" fmla="*/ 3150539 w 4610101"/>
              <a:gd name="connsiteY11407" fmla="*/ 1491391 h 6557032"/>
              <a:gd name="connsiteX11408" fmla="*/ 3152361 w 4610101"/>
              <a:gd name="connsiteY11408" fmla="*/ 1478635 h 6557032"/>
              <a:gd name="connsiteX11409" fmla="*/ 3157828 w 4610101"/>
              <a:gd name="connsiteY11409" fmla="*/ 1480458 h 6557032"/>
              <a:gd name="connsiteX11410" fmla="*/ 3186982 w 4610101"/>
              <a:gd name="connsiteY11410" fmla="*/ 1515079 h 6557032"/>
              <a:gd name="connsiteX11411" fmla="*/ 3181516 w 4610101"/>
              <a:gd name="connsiteY11411" fmla="*/ 1489568 h 6557032"/>
              <a:gd name="connsiteX11412" fmla="*/ 3139606 w 4610101"/>
              <a:gd name="connsiteY11412" fmla="*/ 1418504 h 6557032"/>
              <a:gd name="connsiteX11413" fmla="*/ 3128673 w 4610101"/>
              <a:gd name="connsiteY11413" fmla="*/ 1409393 h 6557032"/>
              <a:gd name="connsiteX11414" fmla="*/ 3128673 w 4610101"/>
              <a:gd name="connsiteY11414" fmla="*/ 1420326 h 6557032"/>
              <a:gd name="connsiteX11415" fmla="*/ 3117740 w 4610101"/>
              <a:gd name="connsiteY11415" fmla="*/ 1418504 h 6557032"/>
              <a:gd name="connsiteX11416" fmla="*/ 3119562 w 4610101"/>
              <a:gd name="connsiteY11416" fmla="*/ 1429437 h 6557032"/>
              <a:gd name="connsiteX11417" fmla="*/ 3121384 w 4610101"/>
              <a:gd name="connsiteY11417" fmla="*/ 1422148 h 6557032"/>
              <a:gd name="connsiteX11418" fmla="*/ 3126851 w 4610101"/>
              <a:gd name="connsiteY11418" fmla="*/ 1427615 h 6557032"/>
              <a:gd name="connsiteX11419" fmla="*/ 3121384 w 4610101"/>
              <a:gd name="connsiteY11419" fmla="*/ 1433081 h 6557032"/>
              <a:gd name="connsiteX11420" fmla="*/ 3128673 w 4610101"/>
              <a:gd name="connsiteY11420" fmla="*/ 1431259 h 6557032"/>
              <a:gd name="connsiteX11421" fmla="*/ 3121384 w 4610101"/>
              <a:gd name="connsiteY11421" fmla="*/ 1451303 h 6557032"/>
              <a:gd name="connsiteX11422" fmla="*/ 3115918 w 4610101"/>
              <a:gd name="connsiteY11422" fmla="*/ 1423970 h 6557032"/>
              <a:gd name="connsiteX11423" fmla="*/ 3108629 w 4610101"/>
              <a:gd name="connsiteY11423" fmla="*/ 1423970 h 6557032"/>
              <a:gd name="connsiteX11424" fmla="*/ 3115918 w 4610101"/>
              <a:gd name="connsiteY11424" fmla="*/ 1422148 h 6557032"/>
              <a:gd name="connsiteX11425" fmla="*/ 3114096 w 4610101"/>
              <a:gd name="connsiteY11425" fmla="*/ 1416681 h 6557032"/>
              <a:gd name="connsiteX11426" fmla="*/ 3117740 w 4610101"/>
              <a:gd name="connsiteY11426" fmla="*/ 1416681 h 6557032"/>
              <a:gd name="connsiteX11427" fmla="*/ 3117227 w 4610101"/>
              <a:gd name="connsiteY11427" fmla="*/ 1415642 h 6557032"/>
              <a:gd name="connsiteX11428" fmla="*/ 3121384 w 4610101"/>
              <a:gd name="connsiteY11428" fmla="*/ 1416681 h 6557032"/>
              <a:gd name="connsiteX11429" fmla="*/ 3115918 w 4610101"/>
              <a:gd name="connsiteY11429" fmla="*/ 1405748 h 6557032"/>
              <a:gd name="connsiteX11430" fmla="*/ 3114888 w 4610101"/>
              <a:gd name="connsiteY11430" fmla="*/ 1410901 h 6557032"/>
              <a:gd name="connsiteX11431" fmla="*/ 3109085 w 4610101"/>
              <a:gd name="connsiteY11431" fmla="*/ 1399143 h 6557032"/>
              <a:gd name="connsiteX11432" fmla="*/ 3092230 w 4610101"/>
              <a:gd name="connsiteY11432" fmla="*/ 1391171 h 6557032"/>
              <a:gd name="connsiteX11433" fmla="*/ 3090407 w 4610101"/>
              <a:gd name="connsiteY11433" fmla="*/ 1394815 h 6557032"/>
              <a:gd name="connsiteX11434" fmla="*/ 3084941 w 4610101"/>
              <a:gd name="connsiteY11434" fmla="*/ 1391171 h 6557032"/>
              <a:gd name="connsiteX11435" fmla="*/ 3088585 w 4610101"/>
              <a:gd name="connsiteY11435" fmla="*/ 1391171 h 6557032"/>
              <a:gd name="connsiteX11436" fmla="*/ 3053964 w 4610101"/>
              <a:gd name="connsiteY11436" fmla="*/ 1380921 h 6557032"/>
              <a:gd name="connsiteX11437" fmla="*/ 1142655 w 4610101"/>
              <a:gd name="connsiteY11437" fmla="*/ 1380845 h 6557032"/>
              <a:gd name="connsiteX11438" fmla="*/ 1142867 w 4610101"/>
              <a:gd name="connsiteY11438" fmla="*/ 1381696 h 6557032"/>
              <a:gd name="connsiteX11439" fmla="*/ 1142503 w 4610101"/>
              <a:gd name="connsiteY11439" fmla="*/ 1382060 h 6557032"/>
              <a:gd name="connsiteX11440" fmla="*/ 3252581 w 4610101"/>
              <a:gd name="connsiteY11440" fmla="*/ 1380238 h 6557032"/>
              <a:gd name="connsiteX11441" fmla="*/ 3252581 w 4610101"/>
              <a:gd name="connsiteY11441" fmla="*/ 1387527 h 6557032"/>
              <a:gd name="connsiteX11442" fmla="*/ 3252581 w 4610101"/>
              <a:gd name="connsiteY11442" fmla="*/ 1380238 h 6557032"/>
              <a:gd name="connsiteX11443" fmla="*/ 748914 w 4610101"/>
              <a:gd name="connsiteY11443" fmla="*/ 1380238 h 6557032"/>
              <a:gd name="connsiteX11444" fmla="*/ 734336 w 4610101"/>
              <a:gd name="connsiteY11444" fmla="*/ 1385705 h 6557032"/>
              <a:gd name="connsiteX11445" fmla="*/ 748914 w 4610101"/>
              <a:gd name="connsiteY11445" fmla="*/ 1392993 h 6557032"/>
              <a:gd name="connsiteX11446" fmla="*/ 748914 w 4610101"/>
              <a:gd name="connsiteY11446" fmla="*/ 1380238 h 6557032"/>
              <a:gd name="connsiteX11447" fmla="*/ 727048 w 4610101"/>
              <a:gd name="connsiteY11447" fmla="*/ 1380238 h 6557032"/>
              <a:gd name="connsiteX11448" fmla="*/ 732515 w 4610101"/>
              <a:gd name="connsiteY11448" fmla="*/ 1383882 h 6557032"/>
              <a:gd name="connsiteX11449" fmla="*/ 727048 w 4610101"/>
              <a:gd name="connsiteY11449" fmla="*/ 1380238 h 6557032"/>
              <a:gd name="connsiteX11450" fmla="*/ 625006 w 4610101"/>
              <a:gd name="connsiteY11450" fmla="*/ 1380238 h 6557032"/>
              <a:gd name="connsiteX11451" fmla="*/ 625006 w 4610101"/>
              <a:gd name="connsiteY11451" fmla="*/ 1389349 h 6557032"/>
              <a:gd name="connsiteX11452" fmla="*/ 634117 w 4610101"/>
              <a:gd name="connsiteY11452" fmla="*/ 1387527 h 6557032"/>
              <a:gd name="connsiteX11453" fmla="*/ 625006 w 4610101"/>
              <a:gd name="connsiteY11453" fmla="*/ 1380238 h 6557032"/>
              <a:gd name="connsiteX11454" fmla="*/ 619539 w 4610101"/>
              <a:gd name="connsiteY11454" fmla="*/ 1380238 h 6557032"/>
              <a:gd name="connsiteX11455" fmla="*/ 614074 w 4610101"/>
              <a:gd name="connsiteY11455" fmla="*/ 1385705 h 6557032"/>
              <a:gd name="connsiteX11456" fmla="*/ 619539 w 4610101"/>
              <a:gd name="connsiteY11456" fmla="*/ 1380238 h 6557032"/>
              <a:gd name="connsiteX11457" fmla="*/ 544830 w 4610101"/>
              <a:gd name="connsiteY11457" fmla="*/ 1380238 h 6557032"/>
              <a:gd name="connsiteX11458" fmla="*/ 543008 w 4610101"/>
              <a:gd name="connsiteY11458" fmla="*/ 1396638 h 6557032"/>
              <a:gd name="connsiteX11459" fmla="*/ 546653 w 4610101"/>
              <a:gd name="connsiteY11459" fmla="*/ 1391171 h 6557032"/>
              <a:gd name="connsiteX11460" fmla="*/ 552119 w 4610101"/>
              <a:gd name="connsiteY11460" fmla="*/ 1403926 h 6557032"/>
              <a:gd name="connsiteX11461" fmla="*/ 553941 w 4610101"/>
              <a:gd name="connsiteY11461" fmla="*/ 1389349 h 6557032"/>
              <a:gd name="connsiteX11462" fmla="*/ 544830 w 4610101"/>
              <a:gd name="connsiteY11462" fmla="*/ 1380238 h 6557032"/>
              <a:gd name="connsiteX11463" fmla="*/ 1060392 w 4610101"/>
              <a:gd name="connsiteY11463" fmla="*/ 1379725 h 6557032"/>
              <a:gd name="connsiteX11464" fmla="*/ 1060506 w 4610101"/>
              <a:gd name="connsiteY11464" fmla="*/ 1380238 h 6557032"/>
              <a:gd name="connsiteX11465" fmla="*/ 1059947 w 4610101"/>
              <a:gd name="connsiteY11465" fmla="*/ 1379859 h 6557032"/>
              <a:gd name="connsiteX11466" fmla="*/ 907444 w 4610101"/>
              <a:gd name="connsiteY11466" fmla="*/ 1378416 h 6557032"/>
              <a:gd name="connsiteX11467" fmla="*/ 894688 w 4610101"/>
              <a:gd name="connsiteY11467" fmla="*/ 1389349 h 6557032"/>
              <a:gd name="connsiteX11468" fmla="*/ 908630 w 4610101"/>
              <a:gd name="connsiteY11468" fmla="*/ 1393152 h 6557032"/>
              <a:gd name="connsiteX11469" fmla="*/ 901976 w 4610101"/>
              <a:gd name="connsiteY11469" fmla="*/ 1394815 h 6557032"/>
              <a:gd name="connsiteX11470" fmla="*/ 962108 w 4610101"/>
              <a:gd name="connsiteY11470" fmla="*/ 1440370 h 6557032"/>
              <a:gd name="connsiteX11471" fmla="*/ 956642 w 4610101"/>
              <a:gd name="connsiteY11471" fmla="*/ 1434903 h 6557032"/>
              <a:gd name="connsiteX11472" fmla="*/ 989441 w 4610101"/>
              <a:gd name="connsiteY11472" fmla="*/ 1449481 h 6557032"/>
              <a:gd name="connsiteX11473" fmla="*/ 987470 w 4610101"/>
              <a:gd name="connsiteY11473" fmla="*/ 1447018 h 6557032"/>
              <a:gd name="connsiteX11474" fmla="*/ 993540 w 4610101"/>
              <a:gd name="connsiteY11474" fmla="*/ 1451303 h 6557032"/>
              <a:gd name="connsiteX11475" fmla="*/ 1004018 w 4610101"/>
              <a:gd name="connsiteY11475" fmla="*/ 1451303 h 6557032"/>
              <a:gd name="connsiteX11476" fmla="*/ 942064 w 4610101"/>
              <a:gd name="connsiteY11476" fmla="*/ 1422148 h 6557032"/>
              <a:gd name="connsiteX11477" fmla="*/ 940242 w 4610101"/>
              <a:gd name="connsiteY11477" fmla="*/ 1394815 h 6557032"/>
              <a:gd name="connsiteX11478" fmla="*/ 931814 w 4610101"/>
              <a:gd name="connsiteY11478" fmla="*/ 1389349 h 6557032"/>
              <a:gd name="connsiteX11479" fmla="*/ 927487 w 4610101"/>
              <a:gd name="connsiteY11479" fmla="*/ 1389349 h 6557032"/>
              <a:gd name="connsiteX11480" fmla="*/ 907444 w 4610101"/>
              <a:gd name="connsiteY11480" fmla="*/ 1378416 h 6557032"/>
              <a:gd name="connsiteX11481" fmla="*/ 834556 w 4610101"/>
              <a:gd name="connsiteY11481" fmla="*/ 1378416 h 6557032"/>
              <a:gd name="connsiteX11482" fmla="*/ 834556 w 4610101"/>
              <a:gd name="connsiteY11482" fmla="*/ 1378416 h 6557032"/>
              <a:gd name="connsiteX11483" fmla="*/ 774424 w 4610101"/>
              <a:gd name="connsiteY11483" fmla="*/ 1378416 h 6557032"/>
              <a:gd name="connsiteX11484" fmla="*/ 779892 w 4610101"/>
              <a:gd name="connsiteY11484" fmla="*/ 1382060 h 6557032"/>
              <a:gd name="connsiteX11485" fmla="*/ 774424 w 4610101"/>
              <a:gd name="connsiteY11485" fmla="*/ 1378416 h 6557032"/>
              <a:gd name="connsiteX11486" fmla="*/ 630472 w 4610101"/>
              <a:gd name="connsiteY11486" fmla="*/ 1378416 h 6557032"/>
              <a:gd name="connsiteX11487" fmla="*/ 631079 w 4610101"/>
              <a:gd name="connsiteY11487" fmla="*/ 1380846 h 6557032"/>
              <a:gd name="connsiteX11488" fmla="*/ 630472 w 4610101"/>
              <a:gd name="connsiteY11488" fmla="*/ 1382060 h 6557032"/>
              <a:gd name="connsiteX11489" fmla="*/ 631466 w 4610101"/>
              <a:gd name="connsiteY11489" fmla="*/ 1382391 h 6557032"/>
              <a:gd name="connsiteX11490" fmla="*/ 631840 w 4610101"/>
              <a:gd name="connsiteY11490" fmla="*/ 1383882 h 6557032"/>
              <a:gd name="connsiteX11491" fmla="*/ 635939 w 4610101"/>
              <a:gd name="connsiteY11491" fmla="*/ 1383882 h 6557032"/>
              <a:gd name="connsiteX11492" fmla="*/ 631466 w 4610101"/>
              <a:gd name="connsiteY11492" fmla="*/ 1382391 h 6557032"/>
              <a:gd name="connsiteX11493" fmla="*/ 631079 w 4610101"/>
              <a:gd name="connsiteY11493" fmla="*/ 1380846 h 6557032"/>
              <a:gd name="connsiteX11494" fmla="*/ 632296 w 4610101"/>
              <a:gd name="connsiteY11494" fmla="*/ 1378416 h 6557032"/>
              <a:gd name="connsiteX11495" fmla="*/ 630472 w 4610101"/>
              <a:gd name="connsiteY11495" fmla="*/ 1378416 h 6557032"/>
              <a:gd name="connsiteX11496" fmla="*/ 389946 w 4610101"/>
              <a:gd name="connsiteY11496" fmla="*/ 1378416 h 6557032"/>
              <a:gd name="connsiteX11497" fmla="*/ 390122 w 4610101"/>
              <a:gd name="connsiteY11497" fmla="*/ 1378651 h 6557032"/>
              <a:gd name="connsiteX11498" fmla="*/ 389218 w 4610101"/>
              <a:gd name="connsiteY11498" fmla="*/ 1378780 h 6557032"/>
              <a:gd name="connsiteX11499" fmla="*/ 922020 w 4610101"/>
              <a:gd name="connsiteY11499" fmla="*/ 1376594 h 6557032"/>
              <a:gd name="connsiteX11500" fmla="*/ 929309 w 4610101"/>
              <a:gd name="connsiteY11500" fmla="*/ 1382060 h 6557032"/>
              <a:gd name="connsiteX11501" fmla="*/ 929309 w 4610101"/>
              <a:gd name="connsiteY11501" fmla="*/ 1376594 h 6557032"/>
              <a:gd name="connsiteX11502" fmla="*/ 922020 w 4610101"/>
              <a:gd name="connsiteY11502" fmla="*/ 1376594 h 6557032"/>
              <a:gd name="connsiteX11503" fmla="*/ 708826 w 4610101"/>
              <a:gd name="connsiteY11503" fmla="*/ 1376594 h 6557032"/>
              <a:gd name="connsiteX11504" fmla="*/ 708692 w 4610101"/>
              <a:gd name="connsiteY11504" fmla="*/ 1377130 h 6557032"/>
              <a:gd name="connsiteX11505" fmla="*/ 708259 w 4610101"/>
              <a:gd name="connsiteY11505" fmla="*/ 1376846 h 6557032"/>
              <a:gd name="connsiteX11506" fmla="*/ 731603 w 4610101"/>
              <a:gd name="connsiteY11506" fmla="*/ 1374999 h 6557032"/>
              <a:gd name="connsiteX11507" fmla="*/ 725226 w 4610101"/>
              <a:gd name="connsiteY11507" fmla="*/ 1376594 h 6557032"/>
              <a:gd name="connsiteX11508" fmla="*/ 737981 w 4610101"/>
              <a:gd name="connsiteY11508" fmla="*/ 1380238 h 6557032"/>
              <a:gd name="connsiteX11509" fmla="*/ 731603 w 4610101"/>
              <a:gd name="connsiteY11509" fmla="*/ 1374999 h 6557032"/>
              <a:gd name="connsiteX11510" fmla="*/ 693793 w 4610101"/>
              <a:gd name="connsiteY11510" fmla="*/ 1374999 h 6557032"/>
              <a:gd name="connsiteX11511" fmla="*/ 692426 w 4610101"/>
              <a:gd name="connsiteY11511" fmla="*/ 1380238 h 6557032"/>
              <a:gd name="connsiteX11512" fmla="*/ 697893 w 4610101"/>
              <a:gd name="connsiteY11512" fmla="*/ 1376594 h 6557032"/>
              <a:gd name="connsiteX11513" fmla="*/ 693793 w 4610101"/>
              <a:gd name="connsiteY11513" fmla="*/ 1374999 h 6557032"/>
              <a:gd name="connsiteX11514" fmla="*/ 3522263 w 4610101"/>
              <a:gd name="connsiteY11514" fmla="*/ 1374771 h 6557032"/>
              <a:gd name="connsiteX11515" fmla="*/ 3513815 w 4610101"/>
              <a:gd name="connsiteY11515" fmla="*/ 1383220 h 6557032"/>
              <a:gd name="connsiteX11516" fmla="*/ 3515849 w 4610101"/>
              <a:gd name="connsiteY11516" fmla="*/ 1376708 h 6557032"/>
              <a:gd name="connsiteX11517" fmla="*/ 3516113 w 4610101"/>
              <a:gd name="connsiteY11517" fmla="*/ 1376821 h 6557032"/>
              <a:gd name="connsiteX11518" fmla="*/ 3522263 w 4610101"/>
              <a:gd name="connsiteY11518" fmla="*/ 1374771 h 6557032"/>
              <a:gd name="connsiteX11519" fmla="*/ 3230715 w 4610101"/>
              <a:gd name="connsiteY11519" fmla="*/ 1374771 h 6557032"/>
              <a:gd name="connsiteX11520" fmla="*/ 3221604 w 4610101"/>
              <a:gd name="connsiteY11520" fmla="*/ 1376594 h 6557032"/>
              <a:gd name="connsiteX11521" fmla="*/ 3228893 w 4610101"/>
              <a:gd name="connsiteY11521" fmla="*/ 1383882 h 6557032"/>
              <a:gd name="connsiteX11522" fmla="*/ 3208849 w 4610101"/>
              <a:gd name="connsiteY11522" fmla="*/ 1385705 h 6557032"/>
              <a:gd name="connsiteX11523" fmla="*/ 3212493 w 4610101"/>
              <a:gd name="connsiteY11523" fmla="*/ 1392993 h 6557032"/>
              <a:gd name="connsiteX11524" fmla="*/ 3205204 w 4610101"/>
              <a:gd name="connsiteY11524" fmla="*/ 1387527 h 6557032"/>
              <a:gd name="connsiteX11525" fmla="*/ 3207027 w 4610101"/>
              <a:gd name="connsiteY11525" fmla="*/ 1402104 h 6557032"/>
              <a:gd name="connsiteX11526" fmla="*/ 3223426 w 4610101"/>
              <a:gd name="connsiteY11526" fmla="*/ 1391171 h 6557032"/>
              <a:gd name="connsiteX11527" fmla="*/ 3238003 w 4610101"/>
              <a:gd name="connsiteY11527" fmla="*/ 1389349 h 6557032"/>
              <a:gd name="connsiteX11528" fmla="*/ 3238003 w 4610101"/>
              <a:gd name="connsiteY11528" fmla="*/ 1385705 h 6557032"/>
              <a:gd name="connsiteX11529" fmla="*/ 3230715 w 4610101"/>
              <a:gd name="connsiteY11529" fmla="*/ 1374771 h 6557032"/>
              <a:gd name="connsiteX11530" fmla="*/ 717937 w 4610101"/>
              <a:gd name="connsiteY11530" fmla="*/ 1374771 h 6557032"/>
              <a:gd name="connsiteX11531" fmla="*/ 714293 w 4610101"/>
              <a:gd name="connsiteY11531" fmla="*/ 1378416 h 6557032"/>
              <a:gd name="connsiteX11532" fmla="*/ 719759 w 4610101"/>
              <a:gd name="connsiteY11532" fmla="*/ 1380238 h 6557032"/>
              <a:gd name="connsiteX11533" fmla="*/ 717937 w 4610101"/>
              <a:gd name="connsiteY11533" fmla="*/ 1374771 h 6557032"/>
              <a:gd name="connsiteX11534" fmla="*/ 606784 w 4610101"/>
              <a:gd name="connsiteY11534" fmla="*/ 1374771 h 6557032"/>
              <a:gd name="connsiteX11535" fmla="*/ 604963 w 4610101"/>
              <a:gd name="connsiteY11535" fmla="*/ 1380238 h 6557032"/>
              <a:gd name="connsiteX11536" fmla="*/ 610429 w 4610101"/>
              <a:gd name="connsiteY11536" fmla="*/ 1376594 h 6557032"/>
              <a:gd name="connsiteX11537" fmla="*/ 606784 w 4610101"/>
              <a:gd name="connsiteY11537" fmla="*/ 1374771 h 6557032"/>
              <a:gd name="connsiteX11538" fmla="*/ 3385600 w 4610101"/>
              <a:gd name="connsiteY11538" fmla="*/ 1372949 h 6557032"/>
              <a:gd name="connsiteX11539" fmla="*/ 3374666 w 4610101"/>
              <a:gd name="connsiteY11539" fmla="*/ 1396638 h 6557032"/>
              <a:gd name="connsiteX11540" fmla="*/ 3367378 w 4610101"/>
              <a:gd name="connsiteY11540" fmla="*/ 1389349 h 6557032"/>
              <a:gd name="connsiteX11541" fmla="*/ 3369200 w 4610101"/>
              <a:gd name="connsiteY11541" fmla="*/ 1402104 h 6557032"/>
              <a:gd name="connsiteX11542" fmla="*/ 3374666 w 4610101"/>
              <a:gd name="connsiteY11542" fmla="*/ 1400282 h 6557032"/>
              <a:gd name="connsiteX11543" fmla="*/ 3371022 w 4610101"/>
              <a:gd name="connsiteY11543" fmla="*/ 1407571 h 6557032"/>
              <a:gd name="connsiteX11544" fmla="*/ 3380133 w 4610101"/>
              <a:gd name="connsiteY11544" fmla="*/ 1407571 h 6557032"/>
              <a:gd name="connsiteX11545" fmla="*/ 3385600 w 4610101"/>
              <a:gd name="connsiteY11545" fmla="*/ 1372949 h 6557032"/>
              <a:gd name="connsiteX11546" fmla="*/ 900610 w 4610101"/>
              <a:gd name="connsiteY11546" fmla="*/ 1372949 h 6557032"/>
              <a:gd name="connsiteX11547" fmla="*/ 891043 w 4610101"/>
              <a:gd name="connsiteY11547" fmla="*/ 1378416 h 6557032"/>
              <a:gd name="connsiteX11548" fmla="*/ 889222 w 4610101"/>
              <a:gd name="connsiteY11548" fmla="*/ 1378416 h 6557032"/>
              <a:gd name="connsiteX11549" fmla="*/ 883755 w 4610101"/>
              <a:gd name="connsiteY11549" fmla="*/ 1382060 h 6557032"/>
              <a:gd name="connsiteX11550" fmla="*/ 901976 w 4610101"/>
              <a:gd name="connsiteY11550" fmla="*/ 1378416 h 6557032"/>
              <a:gd name="connsiteX11551" fmla="*/ 900610 w 4610101"/>
              <a:gd name="connsiteY11551" fmla="*/ 1372949 h 6557032"/>
              <a:gd name="connsiteX11552" fmla="*/ 948214 w 4610101"/>
              <a:gd name="connsiteY11552" fmla="*/ 1372493 h 6557032"/>
              <a:gd name="connsiteX11553" fmla="*/ 943886 w 4610101"/>
              <a:gd name="connsiteY11553" fmla="*/ 1372949 h 6557032"/>
              <a:gd name="connsiteX11554" fmla="*/ 951175 w 4610101"/>
              <a:gd name="connsiteY11554" fmla="*/ 1374771 h 6557032"/>
              <a:gd name="connsiteX11555" fmla="*/ 948214 w 4610101"/>
              <a:gd name="connsiteY11555" fmla="*/ 1372493 h 6557032"/>
              <a:gd name="connsiteX11556" fmla="*/ 858191 w 4610101"/>
              <a:gd name="connsiteY11556" fmla="*/ 1372288 h 6557032"/>
              <a:gd name="connsiteX11557" fmla="*/ 857788 w 4610101"/>
              <a:gd name="connsiteY11557" fmla="*/ 1372949 h 6557032"/>
              <a:gd name="connsiteX11558" fmla="*/ 847311 w 4610101"/>
              <a:gd name="connsiteY11558" fmla="*/ 1380238 h 6557032"/>
              <a:gd name="connsiteX11559" fmla="*/ 626600 w 4610101"/>
              <a:gd name="connsiteY11559" fmla="*/ 1371583 h 6557032"/>
              <a:gd name="connsiteX11560" fmla="*/ 621362 w 4610101"/>
              <a:gd name="connsiteY11560" fmla="*/ 1372949 h 6557032"/>
              <a:gd name="connsiteX11561" fmla="*/ 625006 w 4610101"/>
              <a:gd name="connsiteY11561" fmla="*/ 1376594 h 6557032"/>
              <a:gd name="connsiteX11562" fmla="*/ 630472 w 4610101"/>
              <a:gd name="connsiteY11562" fmla="*/ 1372949 h 6557032"/>
              <a:gd name="connsiteX11563" fmla="*/ 626600 w 4610101"/>
              <a:gd name="connsiteY11563" fmla="*/ 1371583 h 6557032"/>
              <a:gd name="connsiteX11564" fmla="*/ 3199738 w 4610101"/>
              <a:gd name="connsiteY11564" fmla="*/ 1371127 h 6557032"/>
              <a:gd name="connsiteX11565" fmla="*/ 3207027 w 4610101"/>
              <a:gd name="connsiteY11565" fmla="*/ 1374771 h 6557032"/>
              <a:gd name="connsiteX11566" fmla="*/ 3207027 w 4610101"/>
              <a:gd name="connsiteY11566" fmla="*/ 1371127 h 6557032"/>
              <a:gd name="connsiteX11567" fmla="*/ 3199738 w 4610101"/>
              <a:gd name="connsiteY11567" fmla="*/ 1371127 h 6557032"/>
              <a:gd name="connsiteX11568" fmla="*/ 934777 w 4610101"/>
              <a:gd name="connsiteY11568" fmla="*/ 1371127 h 6557032"/>
              <a:gd name="connsiteX11569" fmla="*/ 934777 w 4610101"/>
              <a:gd name="connsiteY11569" fmla="*/ 1376594 h 6557032"/>
              <a:gd name="connsiteX11570" fmla="*/ 935688 w 4610101"/>
              <a:gd name="connsiteY11570" fmla="*/ 1376594 h 6557032"/>
              <a:gd name="connsiteX11571" fmla="*/ 936598 w 4610101"/>
              <a:gd name="connsiteY11571" fmla="*/ 1382060 h 6557032"/>
              <a:gd name="connsiteX11572" fmla="*/ 932953 w 4610101"/>
              <a:gd name="connsiteY11572" fmla="*/ 1382060 h 6557032"/>
              <a:gd name="connsiteX11573" fmla="*/ 934777 w 4610101"/>
              <a:gd name="connsiteY11573" fmla="*/ 1387527 h 6557032"/>
              <a:gd name="connsiteX11574" fmla="*/ 951175 w 4610101"/>
              <a:gd name="connsiteY11574" fmla="*/ 1396638 h 6557032"/>
              <a:gd name="connsiteX11575" fmla="*/ 949353 w 4610101"/>
              <a:gd name="connsiteY11575" fmla="*/ 1376594 h 6557032"/>
              <a:gd name="connsiteX11576" fmla="*/ 935688 w 4610101"/>
              <a:gd name="connsiteY11576" fmla="*/ 1376594 h 6557032"/>
              <a:gd name="connsiteX11577" fmla="*/ 901976 w 4610101"/>
              <a:gd name="connsiteY11577" fmla="*/ 1371127 h 6557032"/>
              <a:gd name="connsiteX11578" fmla="*/ 911087 w 4610101"/>
              <a:gd name="connsiteY11578" fmla="*/ 1376594 h 6557032"/>
              <a:gd name="connsiteX11579" fmla="*/ 901976 w 4610101"/>
              <a:gd name="connsiteY11579" fmla="*/ 1371127 h 6557032"/>
              <a:gd name="connsiteX11580" fmla="*/ 3130723 w 4610101"/>
              <a:gd name="connsiteY11580" fmla="*/ 1370672 h 6557032"/>
              <a:gd name="connsiteX11581" fmla="*/ 3119562 w 4610101"/>
              <a:gd name="connsiteY11581" fmla="*/ 1371127 h 6557032"/>
              <a:gd name="connsiteX11582" fmla="*/ 3128673 w 4610101"/>
              <a:gd name="connsiteY11582" fmla="*/ 1382060 h 6557032"/>
              <a:gd name="connsiteX11583" fmla="*/ 3130495 w 4610101"/>
              <a:gd name="connsiteY11583" fmla="*/ 1376594 h 6557032"/>
              <a:gd name="connsiteX11584" fmla="*/ 3128673 w 4610101"/>
              <a:gd name="connsiteY11584" fmla="*/ 1387527 h 6557032"/>
              <a:gd name="connsiteX11585" fmla="*/ 3137784 w 4610101"/>
              <a:gd name="connsiteY11585" fmla="*/ 1378416 h 6557032"/>
              <a:gd name="connsiteX11586" fmla="*/ 3130723 w 4610101"/>
              <a:gd name="connsiteY11586" fmla="*/ 1370672 h 6557032"/>
              <a:gd name="connsiteX11587" fmla="*/ 859208 w 4610101"/>
              <a:gd name="connsiteY11587" fmla="*/ 1370612 h 6557032"/>
              <a:gd name="connsiteX11588" fmla="*/ 859155 w 4610101"/>
              <a:gd name="connsiteY11588" fmla="*/ 1371583 h 6557032"/>
              <a:gd name="connsiteX11589" fmla="*/ 858191 w 4610101"/>
              <a:gd name="connsiteY11589" fmla="*/ 1372288 h 6557032"/>
              <a:gd name="connsiteX11590" fmla="*/ 3292669 w 4610101"/>
              <a:gd name="connsiteY11590" fmla="*/ 1369305 h 6557032"/>
              <a:gd name="connsiteX11591" fmla="*/ 3287202 w 4610101"/>
              <a:gd name="connsiteY11591" fmla="*/ 1371127 h 6557032"/>
              <a:gd name="connsiteX11592" fmla="*/ 3294491 w 4610101"/>
              <a:gd name="connsiteY11592" fmla="*/ 1372949 h 6557032"/>
              <a:gd name="connsiteX11593" fmla="*/ 3292669 w 4610101"/>
              <a:gd name="connsiteY11593" fmla="*/ 1369305 h 6557032"/>
              <a:gd name="connsiteX11594" fmla="*/ 3263514 w 4610101"/>
              <a:gd name="connsiteY11594" fmla="*/ 1369305 h 6557032"/>
              <a:gd name="connsiteX11595" fmla="*/ 3265336 w 4610101"/>
              <a:gd name="connsiteY11595" fmla="*/ 1378416 h 6557032"/>
              <a:gd name="connsiteX11596" fmla="*/ 3270803 w 4610101"/>
              <a:gd name="connsiteY11596" fmla="*/ 1376594 h 6557032"/>
              <a:gd name="connsiteX11597" fmla="*/ 3268980 w 4610101"/>
              <a:gd name="connsiteY11597" fmla="*/ 1369305 h 6557032"/>
              <a:gd name="connsiteX11598" fmla="*/ 3263514 w 4610101"/>
              <a:gd name="connsiteY11598" fmla="*/ 1369305 h 6557032"/>
              <a:gd name="connsiteX11599" fmla="*/ 3183566 w 4610101"/>
              <a:gd name="connsiteY11599" fmla="*/ 1368849 h 6557032"/>
              <a:gd name="connsiteX11600" fmla="*/ 3179694 w 4610101"/>
              <a:gd name="connsiteY11600" fmla="*/ 1380238 h 6557032"/>
              <a:gd name="connsiteX11601" fmla="*/ 3185160 w 4610101"/>
              <a:gd name="connsiteY11601" fmla="*/ 1380238 h 6557032"/>
              <a:gd name="connsiteX11602" fmla="*/ 3179694 w 4610101"/>
              <a:gd name="connsiteY11602" fmla="*/ 1383882 h 6557032"/>
              <a:gd name="connsiteX11603" fmla="*/ 3181516 w 4610101"/>
              <a:gd name="connsiteY11603" fmla="*/ 1392993 h 6557032"/>
              <a:gd name="connsiteX11604" fmla="*/ 3190627 w 4610101"/>
              <a:gd name="connsiteY11604" fmla="*/ 1387527 h 6557032"/>
              <a:gd name="connsiteX11605" fmla="*/ 3194271 w 4610101"/>
              <a:gd name="connsiteY11605" fmla="*/ 1371127 h 6557032"/>
              <a:gd name="connsiteX11606" fmla="*/ 3183566 w 4610101"/>
              <a:gd name="connsiteY11606" fmla="*/ 1368849 h 6557032"/>
              <a:gd name="connsiteX11607" fmla="*/ 1144326 w 4610101"/>
              <a:gd name="connsiteY11607" fmla="*/ 1367483 h 6557032"/>
              <a:gd name="connsiteX11608" fmla="*/ 1142655 w 4610101"/>
              <a:gd name="connsiteY11608" fmla="*/ 1380845 h 6557032"/>
              <a:gd name="connsiteX11609" fmla="*/ 1142503 w 4610101"/>
              <a:gd name="connsiteY11609" fmla="*/ 1380238 h 6557032"/>
              <a:gd name="connsiteX11610" fmla="*/ 1138859 w 4610101"/>
              <a:gd name="connsiteY11610" fmla="*/ 1389349 h 6557032"/>
              <a:gd name="connsiteX11611" fmla="*/ 1144326 w 4610101"/>
              <a:gd name="connsiteY11611" fmla="*/ 1392993 h 6557032"/>
              <a:gd name="connsiteX11612" fmla="*/ 1144326 w 4610101"/>
              <a:gd name="connsiteY11612" fmla="*/ 1389349 h 6557032"/>
              <a:gd name="connsiteX11613" fmla="*/ 1142908 w 4610101"/>
              <a:gd name="connsiteY11613" fmla="*/ 1389552 h 6557032"/>
              <a:gd name="connsiteX11614" fmla="*/ 1143870 w 4610101"/>
              <a:gd name="connsiteY11614" fmla="*/ 1385705 h 6557032"/>
              <a:gd name="connsiteX11615" fmla="*/ 1142867 w 4610101"/>
              <a:gd name="connsiteY11615" fmla="*/ 1381696 h 6557032"/>
              <a:gd name="connsiteX11616" fmla="*/ 1144326 w 4610101"/>
              <a:gd name="connsiteY11616" fmla="*/ 1380238 h 6557032"/>
              <a:gd name="connsiteX11617" fmla="*/ 1147970 w 4610101"/>
              <a:gd name="connsiteY11617" fmla="*/ 1396638 h 6557032"/>
              <a:gd name="connsiteX11618" fmla="*/ 1147970 w 4610101"/>
              <a:gd name="connsiteY11618" fmla="*/ 1392993 h 6557032"/>
              <a:gd name="connsiteX11619" fmla="*/ 1144326 w 4610101"/>
              <a:gd name="connsiteY11619" fmla="*/ 1367483 h 6557032"/>
              <a:gd name="connsiteX11620" fmla="*/ 599496 w 4610101"/>
              <a:gd name="connsiteY11620" fmla="*/ 1367483 h 6557032"/>
              <a:gd name="connsiteX11621" fmla="*/ 594030 w 4610101"/>
              <a:gd name="connsiteY11621" fmla="*/ 1378416 h 6557032"/>
              <a:gd name="connsiteX11622" fmla="*/ 601318 w 4610101"/>
              <a:gd name="connsiteY11622" fmla="*/ 1382060 h 6557032"/>
              <a:gd name="connsiteX11623" fmla="*/ 601318 w 4610101"/>
              <a:gd name="connsiteY11623" fmla="*/ 1372949 h 6557032"/>
              <a:gd name="connsiteX11624" fmla="*/ 599496 w 4610101"/>
              <a:gd name="connsiteY11624" fmla="*/ 1367483 h 6557032"/>
              <a:gd name="connsiteX11625" fmla="*/ 561230 w 4610101"/>
              <a:gd name="connsiteY11625" fmla="*/ 1367483 h 6557032"/>
              <a:gd name="connsiteX11626" fmla="*/ 564874 w 4610101"/>
              <a:gd name="connsiteY11626" fmla="*/ 1374771 h 6557032"/>
              <a:gd name="connsiteX11627" fmla="*/ 566697 w 4610101"/>
              <a:gd name="connsiteY11627" fmla="*/ 1371127 h 6557032"/>
              <a:gd name="connsiteX11628" fmla="*/ 561230 w 4610101"/>
              <a:gd name="connsiteY11628" fmla="*/ 1367483 h 6557032"/>
              <a:gd name="connsiteX11629" fmla="*/ 535719 w 4610101"/>
              <a:gd name="connsiteY11629" fmla="*/ 1367483 h 6557032"/>
              <a:gd name="connsiteX11630" fmla="*/ 535112 w 4610101"/>
              <a:gd name="connsiteY11630" fmla="*/ 1369305 h 6557032"/>
              <a:gd name="connsiteX11631" fmla="*/ 535315 w 4610101"/>
              <a:gd name="connsiteY11631" fmla="*/ 1368090 h 6557032"/>
              <a:gd name="connsiteX11632" fmla="*/ 642089 w 4610101"/>
              <a:gd name="connsiteY11632" fmla="*/ 1367255 h 6557032"/>
              <a:gd name="connsiteX11633" fmla="*/ 637761 w 4610101"/>
              <a:gd name="connsiteY11633" fmla="*/ 1367483 h 6557032"/>
              <a:gd name="connsiteX11634" fmla="*/ 645050 w 4610101"/>
              <a:gd name="connsiteY11634" fmla="*/ 1371127 h 6557032"/>
              <a:gd name="connsiteX11635" fmla="*/ 642089 w 4610101"/>
              <a:gd name="connsiteY11635" fmla="*/ 1367255 h 6557032"/>
              <a:gd name="connsiteX11636" fmla="*/ 3403366 w 4610101"/>
              <a:gd name="connsiteY11636" fmla="*/ 1366344 h 6557032"/>
              <a:gd name="connsiteX11637" fmla="*/ 3398355 w 4610101"/>
              <a:gd name="connsiteY11637" fmla="*/ 1367483 h 6557032"/>
              <a:gd name="connsiteX11638" fmla="*/ 3405643 w 4610101"/>
              <a:gd name="connsiteY11638" fmla="*/ 1369305 h 6557032"/>
              <a:gd name="connsiteX11639" fmla="*/ 3403366 w 4610101"/>
              <a:gd name="connsiteY11639" fmla="*/ 1366344 h 6557032"/>
              <a:gd name="connsiteX11640" fmla="*/ 696071 w 4610101"/>
              <a:gd name="connsiteY11640" fmla="*/ 1365661 h 6557032"/>
              <a:gd name="connsiteX11641" fmla="*/ 694249 w 4610101"/>
              <a:gd name="connsiteY11641" fmla="*/ 1369305 h 6557032"/>
              <a:gd name="connsiteX11642" fmla="*/ 699715 w 4610101"/>
              <a:gd name="connsiteY11642" fmla="*/ 1371127 h 6557032"/>
              <a:gd name="connsiteX11643" fmla="*/ 696071 w 4610101"/>
              <a:gd name="connsiteY11643" fmla="*/ 1365661 h 6557032"/>
              <a:gd name="connsiteX11644" fmla="*/ 378785 w 4610101"/>
              <a:gd name="connsiteY11644" fmla="*/ 1365661 h 6557032"/>
              <a:gd name="connsiteX11645" fmla="*/ 373546 w 4610101"/>
              <a:gd name="connsiteY11645" fmla="*/ 1367483 h 6557032"/>
              <a:gd name="connsiteX11646" fmla="*/ 382657 w 4610101"/>
              <a:gd name="connsiteY11646" fmla="*/ 1369305 h 6557032"/>
              <a:gd name="connsiteX11647" fmla="*/ 378785 w 4610101"/>
              <a:gd name="connsiteY11647" fmla="*/ 1365661 h 6557032"/>
              <a:gd name="connsiteX11648" fmla="*/ 3092230 w 4610101"/>
              <a:gd name="connsiteY11648" fmla="*/ 1363838 h 6557032"/>
              <a:gd name="connsiteX11649" fmla="*/ 3081297 w 4610101"/>
              <a:gd name="connsiteY11649" fmla="*/ 1369305 h 6557032"/>
              <a:gd name="connsiteX11650" fmla="*/ 3092230 w 4610101"/>
              <a:gd name="connsiteY11650" fmla="*/ 1372949 h 6557032"/>
              <a:gd name="connsiteX11651" fmla="*/ 3092230 w 4610101"/>
              <a:gd name="connsiteY11651" fmla="*/ 1363838 h 6557032"/>
              <a:gd name="connsiteX11652" fmla="*/ 461010 w 4610101"/>
              <a:gd name="connsiteY11652" fmla="*/ 1363838 h 6557032"/>
              <a:gd name="connsiteX11653" fmla="*/ 459188 w 4610101"/>
              <a:gd name="connsiteY11653" fmla="*/ 1365661 h 6557032"/>
              <a:gd name="connsiteX11654" fmla="*/ 466478 w 4610101"/>
              <a:gd name="connsiteY11654" fmla="*/ 1365661 h 6557032"/>
              <a:gd name="connsiteX11655" fmla="*/ 461010 w 4610101"/>
              <a:gd name="connsiteY11655" fmla="*/ 1363838 h 6557032"/>
              <a:gd name="connsiteX11656" fmla="*/ 446433 w 4610101"/>
              <a:gd name="connsiteY11656" fmla="*/ 1363838 h 6557032"/>
              <a:gd name="connsiteX11657" fmla="*/ 437322 w 4610101"/>
              <a:gd name="connsiteY11657" fmla="*/ 1367483 h 6557032"/>
              <a:gd name="connsiteX11658" fmla="*/ 446433 w 4610101"/>
              <a:gd name="connsiteY11658" fmla="*/ 1363838 h 6557032"/>
              <a:gd name="connsiteX11659" fmla="*/ 1104899 w 4610101"/>
              <a:gd name="connsiteY11659" fmla="*/ 1362897 h 6557032"/>
              <a:gd name="connsiteX11660" fmla="*/ 1109039 w 4610101"/>
              <a:gd name="connsiteY11660" fmla="*/ 1364367 h 6557032"/>
              <a:gd name="connsiteX11661" fmla="*/ 1109704 w 4610101"/>
              <a:gd name="connsiteY11661" fmla="*/ 1369305 h 6557032"/>
              <a:gd name="connsiteX11662" fmla="*/ 1124282 w 4610101"/>
              <a:gd name="connsiteY11662" fmla="*/ 1362016 h 6557032"/>
              <a:gd name="connsiteX11663" fmla="*/ 1124282 w 4610101"/>
              <a:gd name="connsiteY11663" fmla="*/ 1378416 h 6557032"/>
              <a:gd name="connsiteX11664" fmla="*/ 1131570 w 4610101"/>
              <a:gd name="connsiteY11664" fmla="*/ 1383882 h 6557032"/>
              <a:gd name="connsiteX11665" fmla="*/ 1124282 w 4610101"/>
              <a:gd name="connsiteY11665" fmla="*/ 1362016 h 6557032"/>
              <a:gd name="connsiteX11666" fmla="*/ 1104238 w 4610101"/>
              <a:gd name="connsiteY11666" fmla="*/ 1362016 h 6557032"/>
              <a:gd name="connsiteX11667" fmla="*/ 1104899 w 4610101"/>
              <a:gd name="connsiteY11667" fmla="*/ 1362897 h 6557032"/>
              <a:gd name="connsiteX11668" fmla="*/ 1103102 w 4610101"/>
              <a:gd name="connsiteY11668" fmla="*/ 1362259 h 6557032"/>
              <a:gd name="connsiteX11669" fmla="*/ 1102416 w 4610101"/>
              <a:gd name="connsiteY11669" fmla="*/ 1362016 h 6557032"/>
              <a:gd name="connsiteX11670" fmla="*/ 1103102 w 4610101"/>
              <a:gd name="connsiteY11670" fmla="*/ 1362259 h 6557032"/>
              <a:gd name="connsiteX11671" fmla="*/ 1102669 w 4610101"/>
              <a:gd name="connsiteY11671" fmla="*/ 1362352 h 6557032"/>
              <a:gd name="connsiteX11672" fmla="*/ 898333 w 4610101"/>
              <a:gd name="connsiteY11672" fmla="*/ 1362016 h 6557032"/>
              <a:gd name="connsiteX11673" fmla="*/ 898333 w 4610101"/>
              <a:gd name="connsiteY11673" fmla="*/ 1369305 h 6557032"/>
              <a:gd name="connsiteX11674" fmla="*/ 901976 w 4610101"/>
              <a:gd name="connsiteY11674" fmla="*/ 1365661 h 6557032"/>
              <a:gd name="connsiteX11675" fmla="*/ 898333 w 4610101"/>
              <a:gd name="connsiteY11675" fmla="*/ 1362016 h 6557032"/>
              <a:gd name="connsiteX11676" fmla="*/ 639583 w 4610101"/>
              <a:gd name="connsiteY11676" fmla="*/ 1362016 h 6557032"/>
              <a:gd name="connsiteX11677" fmla="*/ 639583 w 4610101"/>
              <a:gd name="connsiteY11677" fmla="*/ 1365661 h 6557032"/>
              <a:gd name="connsiteX11678" fmla="*/ 639583 w 4610101"/>
              <a:gd name="connsiteY11678" fmla="*/ 1362016 h 6557032"/>
              <a:gd name="connsiteX11679" fmla="*/ 563052 w 4610101"/>
              <a:gd name="connsiteY11679" fmla="*/ 1362016 h 6557032"/>
              <a:gd name="connsiteX11680" fmla="*/ 581274 w 4610101"/>
              <a:gd name="connsiteY11680" fmla="*/ 1376594 h 6557032"/>
              <a:gd name="connsiteX11681" fmla="*/ 563052 w 4610101"/>
              <a:gd name="connsiteY11681" fmla="*/ 1362016 h 6557032"/>
              <a:gd name="connsiteX11682" fmla="*/ 557586 w 4610101"/>
              <a:gd name="connsiteY11682" fmla="*/ 1362016 h 6557032"/>
              <a:gd name="connsiteX11683" fmla="*/ 555763 w 4610101"/>
              <a:gd name="connsiteY11683" fmla="*/ 1365661 h 6557032"/>
              <a:gd name="connsiteX11684" fmla="*/ 553941 w 4610101"/>
              <a:gd name="connsiteY11684" fmla="*/ 1387527 h 6557032"/>
              <a:gd name="connsiteX11685" fmla="*/ 557586 w 4610101"/>
              <a:gd name="connsiteY11685" fmla="*/ 1383882 h 6557032"/>
              <a:gd name="connsiteX11686" fmla="*/ 570341 w 4610101"/>
              <a:gd name="connsiteY11686" fmla="*/ 1398460 h 6557032"/>
              <a:gd name="connsiteX11687" fmla="*/ 572163 w 4610101"/>
              <a:gd name="connsiteY11687" fmla="*/ 1394815 h 6557032"/>
              <a:gd name="connsiteX11688" fmla="*/ 577630 w 4610101"/>
              <a:gd name="connsiteY11688" fmla="*/ 1402104 h 6557032"/>
              <a:gd name="connsiteX11689" fmla="*/ 564874 w 4610101"/>
              <a:gd name="connsiteY11689" fmla="*/ 1402104 h 6557032"/>
              <a:gd name="connsiteX11690" fmla="*/ 588562 w 4610101"/>
              <a:gd name="connsiteY11690" fmla="*/ 1405748 h 6557032"/>
              <a:gd name="connsiteX11691" fmla="*/ 586741 w 4610101"/>
              <a:gd name="connsiteY11691" fmla="*/ 1402104 h 6557032"/>
              <a:gd name="connsiteX11692" fmla="*/ 595852 w 4610101"/>
              <a:gd name="connsiteY11692" fmla="*/ 1402104 h 6557032"/>
              <a:gd name="connsiteX11693" fmla="*/ 592207 w 4610101"/>
              <a:gd name="connsiteY11693" fmla="*/ 1400282 h 6557032"/>
              <a:gd name="connsiteX11694" fmla="*/ 594030 w 4610101"/>
              <a:gd name="connsiteY11694" fmla="*/ 1400282 h 6557032"/>
              <a:gd name="connsiteX11695" fmla="*/ 599496 w 4610101"/>
              <a:gd name="connsiteY11695" fmla="*/ 1400282 h 6557032"/>
              <a:gd name="connsiteX11696" fmla="*/ 601318 w 4610101"/>
              <a:gd name="connsiteY11696" fmla="*/ 1407571 h 6557032"/>
              <a:gd name="connsiteX11697" fmla="*/ 599496 w 4610101"/>
              <a:gd name="connsiteY11697" fmla="*/ 1400282 h 6557032"/>
              <a:gd name="connsiteX11698" fmla="*/ 599496 w 4610101"/>
              <a:gd name="connsiteY11698" fmla="*/ 1391171 h 6557032"/>
              <a:gd name="connsiteX11699" fmla="*/ 561230 w 4610101"/>
              <a:gd name="connsiteY11699" fmla="*/ 1378416 h 6557032"/>
              <a:gd name="connsiteX11700" fmla="*/ 559408 w 4610101"/>
              <a:gd name="connsiteY11700" fmla="*/ 1380238 h 6557032"/>
              <a:gd name="connsiteX11701" fmla="*/ 557586 w 4610101"/>
              <a:gd name="connsiteY11701" fmla="*/ 1362016 h 6557032"/>
              <a:gd name="connsiteX11702" fmla="*/ 914504 w 4610101"/>
              <a:gd name="connsiteY11702" fmla="*/ 1361105 h 6557032"/>
              <a:gd name="connsiteX11703" fmla="*/ 907444 w 4610101"/>
              <a:gd name="connsiteY11703" fmla="*/ 1367483 h 6557032"/>
              <a:gd name="connsiteX11704" fmla="*/ 914732 w 4610101"/>
              <a:gd name="connsiteY11704" fmla="*/ 1374771 h 6557032"/>
              <a:gd name="connsiteX11705" fmla="*/ 922020 w 4610101"/>
              <a:gd name="connsiteY11705" fmla="*/ 1365661 h 6557032"/>
              <a:gd name="connsiteX11706" fmla="*/ 925666 w 4610101"/>
              <a:gd name="connsiteY11706" fmla="*/ 1365661 h 6557032"/>
              <a:gd name="connsiteX11707" fmla="*/ 914504 w 4610101"/>
              <a:gd name="connsiteY11707" fmla="*/ 1361105 h 6557032"/>
              <a:gd name="connsiteX11708" fmla="*/ 3287202 w 4610101"/>
              <a:gd name="connsiteY11708" fmla="*/ 1360194 h 6557032"/>
              <a:gd name="connsiteX11709" fmla="*/ 3283558 w 4610101"/>
              <a:gd name="connsiteY11709" fmla="*/ 1362016 h 6557032"/>
              <a:gd name="connsiteX11710" fmla="*/ 3290847 w 4610101"/>
              <a:gd name="connsiteY11710" fmla="*/ 1365661 h 6557032"/>
              <a:gd name="connsiteX11711" fmla="*/ 3287202 w 4610101"/>
              <a:gd name="connsiteY11711" fmla="*/ 1360194 h 6557032"/>
              <a:gd name="connsiteX11712" fmla="*/ 3203382 w 4610101"/>
              <a:gd name="connsiteY11712" fmla="*/ 1360194 h 6557032"/>
              <a:gd name="connsiteX11713" fmla="*/ 3208849 w 4610101"/>
              <a:gd name="connsiteY11713" fmla="*/ 1371127 h 6557032"/>
              <a:gd name="connsiteX11714" fmla="*/ 3208849 w 4610101"/>
              <a:gd name="connsiteY11714" fmla="*/ 1360194 h 6557032"/>
              <a:gd name="connsiteX11715" fmla="*/ 2664019 w 4610101"/>
              <a:gd name="connsiteY11715" fmla="*/ 1360194 h 6557032"/>
              <a:gd name="connsiteX11716" fmla="*/ 2654908 w 4610101"/>
              <a:gd name="connsiteY11716" fmla="*/ 1371127 h 6557032"/>
              <a:gd name="connsiteX11717" fmla="*/ 2667663 w 4610101"/>
              <a:gd name="connsiteY11717" fmla="*/ 1367483 h 6557032"/>
              <a:gd name="connsiteX11718" fmla="*/ 2664019 w 4610101"/>
              <a:gd name="connsiteY11718" fmla="*/ 1360194 h 6557032"/>
              <a:gd name="connsiteX11719" fmla="*/ 1095127 w 4610101"/>
              <a:gd name="connsiteY11719" fmla="*/ 1360194 h 6557032"/>
              <a:gd name="connsiteX11720" fmla="*/ 1096949 w 4610101"/>
              <a:gd name="connsiteY11720" fmla="*/ 1374771 h 6557032"/>
              <a:gd name="connsiteX11721" fmla="*/ 1096949 w 4610101"/>
              <a:gd name="connsiteY11721" fmla="*/ 1389349 h 6557032"/>
              <a:gd name="connsiteX11722" fmla="*/ 1118815 w 4610101"/>
              <a:gd name="connsiteY11722" fmla="*/ 1394815 h 6557032"/>
              <a:gd name="connsiteX11723" fmla="*/ 1100593 w 4610101"/>
              <a:gd name="connsiteY11723" fmla="*/ 1367483 h 6557032"/>
              <a:gd name="connsiteX11724" fmla="*/ 1098771 w 4610101"/>
              <a:gd name="connsiteY11724" fmla="*/ 1367483 h 6557032"/>
              <a:gd name="connsiteX11725" fmla="*/ 1095127 w 4610101"/>
              <a:gd name="connsiteY11725" fmla="*/ 1360194 h 6557032"/>
              <a:gd name="connsiteX11726" fmla="*/ 484700 w 4610101"/>
              <a:gd name="connsiteY11726" fmla="*/ 1360194 h 6557032"/>
              <a:gd name="connsiteX11727" fmla="*/ 479232 w 4610101"/>
              <a:gd name="connsiteY11727" fmla="*/ 1365661 h 6557032"/>
              <a:gd name="connsiteX11728" fmla="*/ 482876 w 4610101"/>
              <a:gd name="connsiteY11728" fmla="*/ 1369305 h 6557032"/>
              <a:gd name="connsiteX11729" fmla="*/ 484700 w 4610101"/>
              <a:gd name="connsiteY11729" fmla="*/ 1360194 h 6557032"/>
              <a:gd name="connsiteX11730" fmla="*/ 3225248 w 4610101"/>
              <a:gd name="connsiteY11730" fmla="*/ 1358372 h 6557032"/>
              <a:gd name="connsiteX11731" fmla="*/ 3219782 w 4610101"/>
              <a:gd name="connsiteY11731" fmla="*/ 1360194 h 6557032"/>
              <a:gd name="connsiteX11732" fmla="*/ 3219782 w 4610101"/>
              <a:gd name="connsiteY11732" fmla="*/ 1363838 h 6557032"/>
              <a:gd name="connsiteX11733" fmla="*/ 3216137 w 4610101"/>
              <a:gd name="connsiteY11733" fmla="*/ 1363838 h 6557032"/>
              <a:gd name="connsiteX11734" fmla="*/ 3216137 w 4610101"/>
              <a:gd name="connsiteY11734" fmla="*/ 1372949 h 6557032"/>
              <a:gd name="connsiteX11735" fmla="*/ 3228893 w 4610101"/>
              <a:gd name="connsiteY11735" fmla="*/ 1374771 h 6557032"/>
              <a:gd name="connsiteX11736" fmla="*/ 3228893 w 4610101"/>
              <a:gd name="connsiteY11736" fmla="*/ 1367483 h 6557032"/>
              <a:gd name="connsiteX11737" fmla="*/ 3223426 w 4610101"/>
              <a:gd name="connsiteY11737" fmla="*/ 1365661 h 6557032"/>
              <a:gd name="connsiteX11738" fmla="*/ 3225248 w 4610101"/>
              <a:gd name="connsiteY11738" fmla="*/ 1358372 h 6557032"/>
              <a:gd name="connsiteX11739" fmla="*/ 3168761 w 4610101"/>
              <a:gd name="connsiteY11739" fmla="*/ 1358372 h 6557032"/>
              <a:gd name="connsiteX11740" fmla="*/ 3172405 w 4610101"/>
              <a:gd name="connsiteY11740" fmla="*/ 1387527 h 6557032"/>
              <a:gd name="connsiteX11741" fmla="*/ 3168761 w 4610101"/>
              <a:gd name="connsiteY11741" fmla="*/ 1358372 h 6557032"/>
              <a:gd name="connsiteX11742" fmla="*/ 767136 w 4610101"/>
              <a:gd name="connsiteY11742" fmla="*/ 1358372 h 6557032"/>
              <a:gd name="connsiteX11743" fmla="*/ 761670 w 4610101"/>
              <a:gd name="connsiteY11743" fmla="*/ 1362016 h 6557032"/>
              <a:gd name="connsiteX11744" fmla="*/ 768959 w 4610101"/>
              <a:gd name="connsiteY11744" fmla="*/ 1367483 h 6557032"/>
              <a:gd name="connsiteX11745" fmla="*/ 767136 w 4610101"/>
              <a:gd name="connsiteY11745" fmla="*/ 1358372 h 6557032"/>
              <a:gd name="connsiteX11746" fmla="*/ 655983 w 4610101"/>
              <a:gd name="connsiteY11746" fmla="*/ 1358372 h 6557032"/>
              <a:gd name="connsiteX11747" fmla="*/ 652339 w 4610101"/>
              <a:gd name="connsiteY11747" fmla="*/ 1365661 h 6557032"/>
              <a:gd name="connsiteX11748" fmla="*/ 655983 w 4610101"/>
              <a:gd name="connsiteY11748" fmla="*/ 1358372 h 6557032"/>
              <a:gd name="connsiteX11749" fmla="*/ 499276 w 4610101"/>
              <a:gd name="connsiteY11749" fmla="*/ 1358372 h 6557032"/>
              <a:gd name="connsiteX11750" fmla="*/ 495632 w 4610101"/>
              <a:gd name="connsiteY11750" fmla="*/ 1369305 h 6557032"/>
              <a:gd name="connsiteX11751" fmla="*/ 499276 w 4610101"/>
              <a:gd name="connsiteY11751" fmla="*/ 1358372 h 6557032"/>
              <a:gd name="connsiteX11752" fmla="*/ 473766 w 4610101"/>
              <a:gd name="connsiteY11752" fmla="*/ 1358372 h 6557032"/>
              <a:gd name="connsiteX11753" fmla="*/ 470121 w 4610101"/>
              <a:gd name="connsiteY11753" fmla="*/ 1360194 h 6557032"/>
              <a:gd name="connsiteX11754" fmla="*/ 475589 w 4610101"/>
              <a:gd name="connsiteY11754" fmla="*/ 1363838 h 6557032"/>
              <a:gd name="connsiteX11755" fmla="*/ 482876 w 4610101"/>
              <a:gd name="connsiteY11755" fmla="*/ 1358372 h 6557032"/>
              <a:gd name="connsiteX11756" fmla="*/ 473766 w 4610101"/>
              <a:gd name="connsiteY11756" fmla="*/ 1362016 h 6557032"/>
              <a:gd name="connsiteX11757" fmla="*/ 473766 w 4610101"/>
              <a:gd name="connsiteY11757" fmla="*/ 1358372 h 6557032"/>
              <a:gd name="connsiteX11758" fmla="*/ 3393572 w 4610101"/>
              <a:gd name="connsiteY11758" fmla="*/ 1357461 h 6557032"/>
              <a:gd name="connsiteX11759" fmla="*/ 3387422 w 4610101"/>
              <a:gd name="connsiteY11759" fmla="*/ 1358372 h 6557032"/>
              <a:gd name="connsiteX11760" fmla="*/ 3392888 w 4610101"/>
              <a:gd name="connsiteY11760" fmla="*/ 1362016 h 6557032"/>
              <a:gd name="connsiteX11761" fmla="*/ 3393572 w 4610101"/>
              <a:gd name="connsiteY11761" fmla="*/ 1357461 h 6557032"/>
              <a:gd name="connsiteX11762" fmla="*/ 3197916 w 4610101"/>
              <a:gd name="connsiteY11762" fmla="*/ 1356550 h 6557032"/>
              <a:gd name="connsiteX11763" fmla="*/ 3192449 w 4610101"/>
              <a:gd name="connsiteY11763" fmla="*/ 1358372 h 6557032"/>
              <a:gd name="connsiteX11764" fmla="*/ 3194636 w 4610101"/>
              <a:gd name="connsiteY11764" fmla="*/ 1359829 h 6557032"/>
              <a:gd name="connsiteX11765" fmla="*/ 3194271 w 4610101"/>
              <a:gd name="connsiteY11765" fmla="*/ 1360194 h 6557032"/>
              <a:gd name="connsiteX11766" fmla="*/ 3195183 w 4610101"/>
              <a:gd name="connsiteY11766" fmla="*/ 1360194 h 6557032"/>
              <a:gd name="connsiteX11767" fmla="*/ 3197916 w 4610101"/>
              <a:gd name="connsiteY11767" fmla="*/ 1362016 h 6557032"/>
              <a:gd name="connsiteX11768" fmla="*/ 3197916 w 4610101"/>
              <a:gd name="connsiteY11768" fmla="*/ 1360194 h 6557032"/>
              <a:gd name="connsiteX11769" fmla="*/ 3195183 w 4610101"/>
              <a:gd name="connsiteY11769" fmla="*/ 1360194 h 6557032"/>
              <a:gd name="connsiteX11770" fmla="*/ 3194636 w 4610101"/>
              <a:gd name="connsiteY11770" fmla="*/ 1359829 h 6557032"/>
              <a:gd name="connsiteX11771" fmla="*/ 2525534 w 4610101"/>
              <a:gd name="connsiteY11771" fmla="*/ 1356550 h 6557032"/>
              <a:gd name="connsiteX11772" fmla="*/ 2532822 w 4610101"/>
              <a:gd name="connsiteY11772" fmla="*/ 1363838 h 6557032"/>
              <a:gd name="connsiteX11773" fmla="*/ 2532822 w 4610101"/>
              <a:gd name="connsiteY11773" fmla="*/ 1360194 h 6557032"/>
              <a:gd name="connsiteX11774" fmla="*/ 2525534 w 4610101"/>
              <a:gd name="connsiteY11774" fmla="*/ 1356550 h 6557032"/>
              <a:gd name="connsiteX11775" fmla="*/ 792646 w 4610101"/>
              <a:gd name="connsiteY11775" fmla="*/ 1356550 h 6557032"/>
              <a:gd name="connsiteX11776" fmla="*/ 790824 w 4610101"/>
              <a:gd name="connsiteY11776" fmla="*/ 1369305 h 6557032"/>
              <a:gd name="connsiteX11777" fmla="*/ 792646 w 4610101"/>
              <a:gd name="connsiteY11777" fmla="*/ 1356550 h 6557032"/>
              <a:gd name="connsiteX11778" fmla="*/ 716115 w 4610101"/>
              <a:gd name="connsiteY11778" fmla="*/ 1356550 h 6557032"/>
              <a:gd name="connsiteX11779" fmla="*/ 696071 w 4610101"/>
              <a:gd name="connsiteY11779" fmla="*/ 1363838 h 6557032"/>
              <a:gd name="connsiteX11780" fmla="*/ 702676 w 4610101"/>
              <a:gd name="connsiteY11780" fmla="*/ 1373177 h 6557032"/>
              <a:gd name="connsiteX11781" fmla="*/ 708259 w 4610101"/>
              <a:gd name="connsiteY11781" fmla="*/ 1376846 h 6557032"/>
              <a:gd name="connsiteX11782" fmla="*/ 692426 w 4610101"/>
              <a:gd name="connsiteY11782" fmla="*/ 1383882 h 6557032"/>
              <a:gd name="connsiteX11783" fmla="*/ 696071 w 4610101"/>
              <a:gd name="connsiteY11783" fmla="*/ 1385705 h 6557032"/>
              <a:gd name="connsiteX11784" fmla="*/ 719759 w 4610101"/>
              <a:gd name="connsiteY11784" fmla="*/ 1398460 h 6557032"/>
              <a:gd name="connsiteX11785" fmla="*/ 721581 w 4610101"/>
              <a:gd name="connsiteY11785" fmla="*/ 1382060 h 6557032"/>
              <a:gd name="connsiteX11786" fmla="*/ 707004 w 4610101"/>
              <a:gd name="connsiteY11786" fmla="*/ 1383882 h 6557032"/>
              <a:gd name="connsiteX11787" fmla="*/ 708692 w 4610101"/>
              <a:gd name="connsiteY11787" fmla="*/ 1377130 h 6557032"/>
              <a:gd name="connsiteX11788" fmla="*/ 710648 w 4610101"/>
              <a:gd name="connsiteY11788" fmla="*/ 1378416 h 6557032"/>
              <a:gd name="connsiteX11789" fmla="*/ 716115 w 4610101"/>
              <a:gd name="connsiteY11789" fmla="*/ 1356550 h 6557032"/>
              <a:gd name="connsiteX11790" fmla="*/ 634117 w 4610101"/>
              <a:gd name="connsiteY11790" fmla="*/ 1356550 h 6557032"/>
              <a:gd name="connsiteX11791" fmla="*/ 625006 w 4610101"/>
              <a:gd name="connsiteY11791" fmla="*/ 1362016 h 6557032"/>
              <a:gd name="connsiteX11792" fmla="*/ 637761 w 4610101"/>
              <a:gd name="connsiteY11792" fmla="*/ 1360194 h 6557032"/>
              <a:gd name="connsiteX11793" fmla="*/ 634117 w 4610101"/>
              <a:gd name="connsiteY11793" fmla="*/ 1356550 h 6557032"/>
              <a:gd name="connsiteX11794" fmla="*/ 541186 w 4610101"/>
              <a:gd name="connsiteY11794" fmla="*/ 1356550 h 6557032"/>
              <a:gd name="connsiteX11795" fmla="*/ 539364 w 4610101"/>
              <a:gd name="connsiteY11795" fmla="*/ 1367483 h 6557032"/>
              <a:gd name="connsiteX11796" fmla="*/ 535719 w 4610101"/>
              <a:gd name="connsiteY11796" fmla="*/ 1365661 h 6557032"/>
              <a:gd name="connsiteX11797" fmla="*/ 535315 w 4610101"/>
              <a:gd name="connsiteY11797" fmla="*/ 1368090 h 6557032"/>
              <a:gd name="connsiteX11798" fmla="*/ 532075 w 4610101"/>
              <a:gd name="connsiteY11798" fmla="*/ 1372949 h 6557032"/>
              <a:gd name="connsiteX11799" fmla="*/ 534580 w 4610101"/>
              <a:gd name="connsiteY11799" fmla="*/ 1370899 h 6557032"/>
              <a:gd name="connsiteX11800" fmla="*/ 535112 w 4610101"/>
              <a:gd name="connsiteY11800" fmla="*/ 1369305 h 6557032"/>
              <a:gd name="connsiteX11801" fmla="*/ 533897 w 4610101"/>
              <a:gd name="connsiteY11801" fmla="*/ 1376594 h 6557032"/>
              <a:gd name="connsiteX11802" fmla="*/ 544830 w 4610101"/>
              <a:gd name="connsiteY11802" fmla="*/ 1378416 h 6557032"/>
              <a:gd name="connsiteX11803" fmla="*/ 541186 w 4610101"/>
              <a:gd name="connsiteY11803" fmla="*/ 1374771 h 6557032"/>
              <a:gd name="connsiteX11804" fmla="*/ 546653 w 4610101"/>
              <a:gd name="connsiteY11804" fmla="*/ 1374771 h 6557032"/>
              <a:gd name="connsiteX11805" fmla="*/ 543008 w 4610101"/>
              <a:gd name="connsiteY11805" fmla="*/ 1371127 h 6557032"/>
              <a:gd name="connsiteX11806" fmla="*/ 550297 w 4610101"/>
              <a:gd name="connsiteY11806" fmla="*/ 1371127 h 6557032"/>
              <a:gd name="connsiteX11807" fmla="*/ 541186 w 4610101"/>
              <a:gd name="connsiteY11807" fmla="*/ 1356550 h 6557032"/>
              <a:gd name="connsiteX11808" fmla="*/ 448256 w 4610101"/>
              <a:gd name="connsiteY11808" fmla="*/ 1356550 h 6557032"/>
              <a:gd name="connsiteX11809" fmla="*/ 389946 w 4610101"/>
              <a:gd name="connsiteY11809" fmla="*/ 1367483 h 6557032"/>
              <a:gd name="connsiteX11810" fmla="*/ 420923 w 4610101"/>
              <a:gd name="connsiteY11810" fmla="*/ 1383882 h 6557032"/>
              <a:gd name="connsiteX11811" fmla="*/ 415456 w 4610101"/>
              <a:gd name="connsiteY11811" fmla="*/ 1382060 h 6557032"/>
              <a:gd name="connsiteX11812" fmla="*/ 439145 w 4610101"/>
              <a:gd name="connsiteY11812" fmla="*/ 1376594 h 6557032"/>
              <a:gd name="connsiteX11813" fmla="*/ 400879 w 4610101"/>
              <a:gd name="connsiteY11813" fmla="*/ 1387527 h 6557032"/>
              <a:gd name="connsiteX11814" fmla="*/ 444611 w 4610101"/>
              <a:gd name="connsiteY11814" fmla="*/ 1420326 h 6557032"/>
              <a:gd name="connsiteX11815" fmla="*/ 437322 w 4610101"/>
              <a:gd name="connsiteY11815" fmla="*/ 1414859 h 6557032"/>
              <a:gd name="connsiteX11816" fmla="*/ 447344 w 4610101"/>
              <a:gd name="connsiteY11816" fmla="*/ 1417137 h 6557032"/>
              <a:gd name="connsiteX11817" fmla="*/ 455696 w 4610101"/>
              <a:gd name="connsiteY11817" fmla="*/ 1416757 h 6557032"/>
              <a:gd name="connsiteX11818" fmla="*/ 457367 w 4610101"/>
              <a:gd name="connsiteY11818" fmla="*/ 1416681 h 6557032"/>
              <a:gd name="connsiteX11819" fmla="*/ 453621 w 4610101"/>
              <a:gd name="connsiteY11819" fmla="*/ 1415076 h 6557032"/>
              <a:gd name="connsiteX11820" fmla="*/ 453591 w 4610101"/>
              <a:gd name="connsiteY11820" fmla="*/ 1414586 h 6557032"/>
              <a:gd name="connsiteX11821" fmla="*/ 458960 w 4610101"/>
              <a:gd name="connsiteY11821" fmla="*/ 1413720 h 6557032"/>
              <a:gd name="connsiteX11822" fmla="*/ 464655 w 4610101"/>
              <a:gd name="connsiteY11822" fmla="*/ 1411215 h 6557032"/>
              <a:gd name="connsiteX11823" fmla="*/ 451899 w 4610101"/>
              <a:gd name="connsiteY11823" fmla="*/ 1398460 h 6557032"/>
              <a:gd name="connsiteX11824" fmla="*/ 464655 w 4610101"/>
              <a:gd name="connsiteY11824" fmla="*/ 1405748 h 6557032"/>
              <a:gd name="connsiteX11825" fmla="*/ 462832 w 4610101"/>
              <a:gd name="connsiteY11825" fmla="*/ 1400282 h 6557032"/>
              <a:gd name="connsiteX11826" fmla="*/ 470121 w 4610101"/>
              <a:gd name="connsiteY11826" fmla="*/ 1409393 h 6557032"/>
              <a:gd name="connsiteX11827" fmla="*/ 473766 w 4610101"/>
              <a:gd name="connsiteY11827" fmla="*/ 1405748 h 6557032"/>
              <a:gd name="connsiteX11828" fmla="*/ 470121 w 4610101"/>
              <a:gd name="connsiteY11828" fmla="*/ 1394815 h 6557032"/>
              <a:gd name="connsiteX11829" fmla="*/ 477410 w 4610101"/>
              <a:gd name="connsiteY11829" fmla="*/ 1407571 h 6557032"/>
              <a:gd name="connsiteX11830" fmla="*/ 486521 w 4610101"/>
              <a:gd name="connsiteY11830" fmla="*/ 1392993 h 6557032"/>
              <a:gd name="connsiteX11831" fmla="*/ 479232 w 4610101"/>
              <a:gd name="connsiteY11831" fmla="*/ 1389349 h 6557032"/>
              <a:gd name="connsiteX11832" fmla="*/ 484700 w 4610101"/>
              <a:gd name="connsiteY11832" fmla="*/ 1389349 h 6557032"/>
              <a:gd name="connsiteX11833" fmla="*/ 486521 w 4610101"/>
              <a:gd name="connsiteY11833" fmla="*/ 1380238 h 6557032"/>
              <a:gd name="connsiteX11834" fmla="*/ 477410 w 4610101"/>
              <a:gd name="connsiteY11834" fmla="*/ 1378416 h 6557032"/>
              <a:gd name="connsiteX11835" fmla="*/ 481054 w 4610101"/>
              <a:gd name="connsiteY11835" fmla="*/ 1382060 h 6557032"/>
              <a:gd name="connsiteX11836" fmla="*/ 433678 w 4610101"/>
              <a:gd name="connsiteY11836" fmla="*/ 1405748 h 6557032"/>
              <a:gd name="connsiteX11837" fmla="*/ 436641 w 4610101"/>
              <a:gd name="connsiteY11837" fmla="*/ 1409502 h 6557032"/>
              <a:gd name="connsiteX11838" fmla="*/ 435342 w 4610101"/>
              <a:gd name="connsiteY11838" fmla="*/ 1410555 h 6557032"/>
              <a:gd name="connsiteX11839" fmla="*/ 430034 w 4610101"/>
              <a:gd name="connsiteY11839" fmla="*/ 1414859 h 6557032"/>
              <a:gd name="connsiteX11840" fmla="*/ 433678 w 4610101"/>
              <a:gd name="connsiteY11840" fmla="*/ 1407571 h 6557032"/>
              <a:gd name="connsiteX11841" fmla="*/ 419100 w 4610101"/>
              <a:gd name="connsiteY11841" fmla="*/ 1398460 h 6557032"/>
              <a:gd name="connsiteX11842" fmla="*/ 431856 w 4610101"/>
              <a:gd name="connsiteY11842" fmla="*/ 1402104 h 6557032"/>
              <a:gd name="connsiteX11843" fmla="*/ 420923 w 4610101"/>
              <a:gd name="connsiteY11843" fmla="*/ 1394815 h 6557032"/>
              <a:gd name="connsiteX11844" fmla="*/ 428211 w 4610101"/>
              <a:gd name="connsiteY11844" fmla="*/ 1398460 h 6557032"/>
              <a:gd name="connsiteX11845" fmla="*/ 431856 w 4610101"/>
              <a:gd name="connsiteY11845" fmla="*/ 1392993 h 6557032"/>
              <a:gd name="connsiteX11846" fmla="*/ 431856 w 4610101"/>
              <a:gd name="connsiteY11846" fmla="*/ 1396638 h 6557032"/>
              <a:gd name="connsiteX11847" fmla="*/ 459188 w 4610101"/>
              <a:gd name="connsiteY11847" fmla="*/ 1363838 h 6557032"/>
              <a:gd name="connsiteX11848" fmla="*/ 451899 w 4610101"/>
              <a:gd name="connsiteY11848" fmla="*/ 1360194 h 6557032"/>
              <a:gd name="connsiteX11849" fmla="*/ 442789 w 4610101"/>
              <a:gd name="connsiteY11849" fmla="*/ 1371127 h 6557032"/>
              <a:gd name="connsiteX11850" fmla="*/ 419100 w 4610101"/>
              <a:gd name="connsiteY11850" fmla="*/ 1372949 h 6557032"/>
              <a:gd name="connsiteX11851" fmla="*/ 448256 w 4610101"/>
              <a:gd name="connsiteY11851" fmla="*/ 1356550 h 6557032"/>
              <a:gd name="connsiteX11852" fmla="*/ 815309 w 4610101"/>
              <a:gd name="connsiteY11852" fmla="*/ 1356151 h 6557032"/>
              <a:gd name="connsiteX11853" fmla="*/ 818301 w 4610101"/>
              <a:gd name="connsiteY11853" fmla="*/ 1356407 h 6557032"/>
              <a:gd name="connsiteX11854" fmla="*/ 816334 w 4610101"/>
              <a:gd name="connsiteY11854" fmla="*/ 1358372 h 6557032"/>
              <a:gd name="connsiteX11855" fmla="*/ 815328 w 4610101"/>
              <a:gd name="connsiteY11855" fmla="*/ 1356359 h 6557032"/>
              <a:gd name="connsiteX11856" fmla="*/ 763491 w 4610101"/>
              <a:gd name="connsiteY11856" fmla="*/ 1354728 h 6557032"/>
              <a:gd name="connsiteX11857" fmla="*/ 765313 w 4610101"/>
              <a:gd name="connsiteY11857" fmla="*/ 1356550 h 6557032"/>
              <a:gd name="connsiteX11858" fmla="*/ 763491 w 4610101"/>
              <a:gd name="connsiteY11858" fmla="*/ 1354728 h 6557032"/>
              <a:gd name="connsiteX11859" fmla="*/ 727048 w 4610101"/>
              <a:gd name="connsiteY11859" fmla="*/ 1354728 h 6557032"/>
              <a:gd name="connsiteX11860" fmla="*/ 737981 w 4610101"/>
              <a:gd name="connsiteY11860" fmla="*/ 1365661 h 6557032"/>
              <a:gd name="connsiteX11861" fmla="*/ 727048 w 4610101"/>
              <a:gd name="connsiteY11861" fmla="*/ 1354728 h 6557032"/>
              <a:gd name="connsiteX11862" fmla="*/ 594030 w 4610101"/>
              <a:gd name="connsiteY11862" fmla="*/ 1354728 h 6557032"/>
              <a:gd name="connsiteX11863" fmla="*/ 597673 w 4610101"/>
              <a:gd name="connsiteY11863" fmla="*/ 1358372 h 6557032"/>
              <a:gd name="connsiteX11864" fmla="*/ 594030 w 4610101"/>
              <a:gd name="connsiteY11864" fmla="*/ 1354728 h 6557032"/>
              <a:gd name="connsiteX11865" fmla="*/ 557586 w 4610101"/>
              <a:gd name="connsiteY11865" fmla="*/ 1354728 h 6557032"/>
              <a:gd name="connsiteX11866" fmla="*/ 563052 w 4610101"/>
              <a:gd name="connsiteY11866" fmla="*/ 1360194 h 6557032"/>
              <a:gd name="connsiteX11867" fmla="*/ 557586 w 4610101"/>
              <a:gd name="connsiteY11867" fmla="*/ 1354728 h 6557032"/>
              <a:gd name="connsiteX11868" fmla="*/ 3411110 w 4610101"/>
              <a:gd name="connsiteY11868" fmla="*/ 1352905 h 6557032"/>
              <a:gd name="connsiteX11869" fmla="*/ 3411110 w 4610101"/>
              <a:gd name="connsiteY11869" fmla="*/ 1362016 h 6557032"/>
              <a:gd name="connsiteX11870" fmla="*/ 3414754 w 4610101"/>
              <a:gd name="connsiteY11870" fmla="*/ 1352905 h 6557032"/>
              <a:gd name="connsiteX11871" fmla="*/ 3411110 w 4610101"/>
              <a:gd name="connsiteY11871" fmla="*/ 1352905 h 6557032"/>
              <a:gd name="connsiteX11872" fmla="*/ 3403821 w 4610101"/>
              <a:gd name="connsiteY11872" fmla="*/ 1352905 h 6557032"/>
              <a:gd name="connsiteX11873" fmla="*/ 3400177 w 4610101"/>
              <a:gd name="connsiteY11873" fmla="*/ 1354728 h 6557032"/>
              <a:gd name="connsiteX11874" fmla="*/ 3407466 w 4610101"/>
              <a:gd name="connsiteY11874" fmla="*/ 1363838 h 6557032"/>
              <a:gd name="connsiteX11875" fmla="*/ 3403821 w 4610101"/>
              <a:gd name="connsiteY11875" fmla="*/ 1352905 h 6557032"/>
              <a:gd name="connsiteX11876" fmla="*/ 3360089 w 4610101"/>
              <a:gd name="connsiteY11876" fmla="*/ 1352905 h 6557032"/>
              <a:gd name="connsiteX11877" fmla="*/ 3343690 w 4610101"/>
              <a:gd name="connsiteY11877" fmla="*/ 1376594 h 6557032"/>
              <a:gd name="connsiteX11878" fmla="*/ 3349156 w 4610101"/>
              <a:gd name="connsiteY11878" fmla="*/ 1360194 h 6557032"/>
              <a:gd name="connsiteX11879" fmla="*/ 3338223 w 4610101"/>
              <a:gd name="connsiteY11879" fmla="*/ 1365661 h 6557032"/>
              <a:gd name="connsiteX11880" fmla="*/ 3338223 w 4610101"/>
              <a:gd name="connsiteY11880" fmla="*/ 1360194 h 6557032"/>
              <a:gd name="connsiteX11881" fmla="*/ 3327290 w 4610101"/>
              <a:gd name="connsiteY11881" fmla="*/ 1372949 h 6557032"/>
              <a:gd name="connsiteX11882" fmla="*/ 3329112 w 4610101"/>
              <a:gd name="connsiteY11882" fmla="*/ 1362016 h 6557032"/>
              <a:gd name="connsiteX11883" fmla="*/ 3325468 w 4610101"/>
              <a:gd name="connsiteY11883" fmla="*/ 1365661 h 6557032"/>
              <a:gd name="connsiteX11884" fmla="*/ 3327290 w 4610101"/>
              <a:gd name="connsiteY11884" fmla="*/ 1358372 h 6557032"/>
              <a:gd name="connsiteX11885" fmla="*/ 3317724 w 4610101"/>
              <a:gd name="connsiteY11885" fmla="*/ 1355411 h 6557032"/>
              <a:gd name="connsiteX11886" fmla="*/ 3312655 w 4610101"/>
              <a:gd name="connsiteY11886" fmla="*/ 1360310 h 6557032"/>
              <a:gd name="connsiteX11887" fmla="*/ 3312713 w 4610101"/>
              <a:gd name="connsiteY11887" fmla="*/ 1360194 h 6557032"/>
              <a:gd name="connsiteX11888" fmla="*/ 3310890 w 4610101"/>
              <a:gd name="connsiteY11888" fmla="*/ 1362016 h 6557032"/>
              <a:gd name="connsiteX11889" fmla="*/ 3312655 w 4610101"/>
              <a:gd name="connsiteY11889" fmla="*/ 1360310 h 6557032"/>
              <a:gd name="connsiteX11890" fmla="*/ 3310890 w 4610101"/>
              <a:gd name="connsiteY11890" fmla="*/ 1363838 h 6557032"/>
              <a:gd name="connsiteX11891" fmla="*/ 3307246 w 4610101"/>
              <a:gd name="connsiteY11891" fmla="*/ 1362016 h 6557032"/>
              <a:gd name="connsiteX11892" fmla="*/ 3305424 w 4610101"/>
              <a:gd name="connsiteY11892" fmla="*/ 1380238 h 6557032"/>
              <a:gd name="connsiteX11893" fmla="*/ 3289024 w 4610101"/>
              <a:gd name="connsiteY11893" fmla="*/ 1376594 h 6557032"/>
              <a:gd name="connsiteX11894" fmla="*/ 3287202 w 4610101"/>
              <a:gd name="connsiteY11894" fmla="*/ 1387527 h 6557032"/>
              <a:gd name="connsiteX11895" fmla="*/ 3279913 w 4610101"/>
              <a:gd name="connsiteY11895" fmla="*/ 1383882 h 6557032"/>
              <a:gd name="connsiteX11896" fmla="*/ 3278091 w 4610101"/>
              <a:gd name="connsiteY11896" fmla="*/ 1374771 h 6557032"/>
              <a:gd name="connsiteX11897" fmla="*/ 3267158 w 4610101"/>
              <a:gd name="connsiteY11897" fmla="*/ 1382060 h 6557032"/>
              <a:gd name="connsiteX11898" fmla="*/ 3281736 w 4610101"/>
              <a:gd name="connsiteY11898" fmla="*/ 1414859 h 6557032"/>
              <a:gd name="connsiteX11899" fmla="*/ 3283558 w 4610101"/>
              <a:gd name="connsiteY11899" fmla="*/ 1433081 h 6557032"/>
              <a:gd name="connsiteX11900" fmla="*/ 3278091 w 4610101"/>
              <a:gd name="connsiteY11900" fmla="*/ 1427615 h 6557032"/>
              <a:gd name="connsiteX11901" fmla="*/ 3281736 w 4610101"/>
              <a:gd name="connsiteY11901" fmla="*/ 1438548 h 6557032"/>
              <a:gd name="connsiteX11902" fmla="*/ 3276269 w 4610101"/>
              <a:gd name="connsiteY11902" fmla="*/ 1440370 h 6557032"/>
              <a:gd name="connsiteX11903" fmla="*/ 3287202 w 4610101"/>
              <a:gd name="connsiteY11903" fmla="*/ 1449481 h 6557032"/>
              <a:gd name="connsiteX11904" fmla="*/ 3294491 w 4610101"/>
              <a:gd name="connsiteY11904" fmla="*/ 1438548 h 6557032"/>
              <a:gd name="connsiteX11905" fmla="*/ 3290847 w 4610101"/>
              <a:gd name="connsiteY11905" fmla="*/ 1431259 h 6557032"/>
              <a:gd name="connsiteX11906" fmla="*/ 3295402 w 4610101"/>
              <a:gd name="connsiteY11906" fmla="*/ 1430120 h 6557032"/>
              <a:gd name="connsiteX11907" fmla="*/ 3299946 w 4610101"/>
              <a:gd name="connsiteY11907" fmla="*/ 1433073 h 6557032"/>
              <a:gd name="connsiteX11908" fmla="*/ 3298135 w 4610101"/>
              <a:gd name="connsiteY11908" fmla="*/ 1427641 h 6557032"/>
              <a:gd name="connsiteX11909" fmla="*/ 3305424 w 4610101"/>
              <a:gd name="connsiteY11909" fmla="*/ 1425819 h 6557032"/>
              <a:gd name="connsiteX11910" fmla="*/ 3299957 w 4610101"/>
              <a:gd name="connsiteY11910" fmla="*/ 1433108 h 6557032"/>
              <a:gd name="connsiteX11911" fmla="*/ 3299957 w 4610101"/>
              <a:gd name="connsiteY11911" fmla="*/ 1434903 h 6557032"/>
              <a:gd name="connsiteX11912" fmla="*/ 3312713 w 4610101"/>
              <a:gd name="connsiteY11912" fmla="*/ 1449481 h 6557032"/>
              <a:gd name="connsiteX11913" fmla="*/ 3325468 w 4610101"/>
              <a:gd name="connsiteY11913" fmla="*/ 1434903 h 6557032"/>
              <a:gd name="connsiteX11914" fmla="*/ 3327290 w 4610101"/>
              <a:gd name="connsiteY11914" fmla="*/ 1445836 h 6557032"/>
              <a:gd name="connsiteX11915" fmla="*/ 3336401 w 4610101"/>
              <a:gd name="connsiteY11915" fmla="*/ 1431259 h 6557032"/>
              <a:gd name="connsiteX11916" fmla="*/ 3340045 w 4610101"/>
              <a:gd name="connsiteY11916" fmla="*/ 1438548 h 6557032"/>
              <a:gd name="connsiteX11917" fmla="*/ 3343690 w 4610101"/>
              <a:gd name="connsiteY11917" fmla="*/ 1434903 h 6557032"/>
              <a:gd name="connsiteX11918" fmla="*/ 3345512 w 4610101"/>
              <a:gd name="connsiteY11918" fmla="*/ 1440370 h 6557032"/>
              <a:gd name="connsiteX11919" fmla="*/ 3349156 w 4610101"/>
              <a:gd name="connsiteY11919" fmla="*/ 1429437 h 6557032"/>
              <a:gd name="connsiteX11920" fmla="*/ 3345512 w 4610101"/>
              <a:gd name="connsiteY11920" fmla="*/ 1433081 h 6557032"/>
              <a:gd name="connsiteX11921" fmla="*/ 3340045 w 4610101"/>
              <a:gd name="connsiteY11921" fmla="*/ 1425792 h 6557032"/>
              <a:gd name="connsiteX11922" fmla="*/ 3332756 w 4610101"/>
              <a:gd name="connsiteY11922" fmla="*/ 1414859 h 6557032"/>
              <a:gd name="connsiteX11923" fmla="*/ 3329112 w 4610101"/>
              <a:gd name="connsiteY11923" fmla="*/ 1422148 h 6557032"/>
              <a:gd name="connsiteX11924" fmla="*/ 3329112 w 4610101"/>
              <a:gd name="connsiteY11924" fmla="*/ 1403926 h 6557032"/>
              <a:gd name="connsiteX11925" fmla="*/ 3330934 w 4610101"/>
              <a:gd name="connsiteY11925" fmla="*/ 1392993 h 6557032"/>
              <a:gd name="connsiteX11926" fmla="*/ 3336401 w 4610101"/>
              <a:gd name="connsiteY11926" fmla="*/ 1387527 h 6557032"/>
              <a:gd name="connsiteX11927" fmla="*/ 3336401 w 4610101"/>
              <a:gd name="connsiteY11927" fmla="*/ 1378416 h 6557032"/>
              <a:gd name="connsiteX11928" fmla="*/ 3343690 w 4610101"/>
              <a:gd name="connsiteY11928" fmla="*/ 1376594 h 6557032"/>
              <a:gd name="connsiteX11929" fmla="*/ 3334579 w 4610101"/>
              <a:gd name="connsiteY11929" fmla="*/ 1398460 h 6557032"/>
              <a:gd name="connsiteX11930" fmla="*/ 3345512 w 4610101"/>
              <a:gd name="connsiteY11930" fmla="*/ 1389349 h 6557032"/>
              <a:gd name="connsiteX11931" fmla="*/ 3347334 w 4610101"/>
              <a:gd name="connsiteY11931" fmla="*/ 1400282 h 6557032"/>
              <a:gd name="connsiteX11932" fmla="*/ 3354623 w 4610101"/>
              <a:gd name="connsiteY11932" fmla="*/ 1374771 h 6557032"/>
              <a:gd name="connsiteX11933" fmla="*/ 3360089 w 4610101"/>
              <a:gd name="connsiteY11933" fmla="*/ 1376594 h 6557032"/>
              <a:gd name="connsiteX11934" fmla="*/ 3361911 w 4610101"/>
              <a:gd name="connsiteY11934" fmla="*/ 1358372 h 6557032"/>
              <a:gd name="connsiteX11935" fmla="*/ 3369200 w 4610101"/>
              <a:gd name="connsiteY11935" fmla="*/ 1378416 h 6557032"/>
              <a:gd name="connsiteX11936" fmla="*/ 3376489 w 4610101"/>
              <a:gd name="connsiteY11936" fmla="*/ 1369305 h 6557032"/>
              <a:gd name="connsiteX11937" fmla="*/ 3381955 w 4610101"/>
              <a:gd name="connsiteY11937" fmla="*/ 1374771 h 6557032"/>
              <a:gd name="connsiteX11938" fmla="*/ 3376489 w 4610101"/>
              <a:gd name="connsiteY11938" fmla="*/ 1360194 h 6557032"/>
              <a:gd name="connsiteX11939" fmla="*/ 3360089 w 4610101"/>
              <a:gd name="connsiteY11939" fmla="*/ 1352905 h 6557032"/>
              <a:gd name="connsiteX11940" fmla="*/ 3349156 w 4610101"/>
              <a:gd name="connsiteY11940" fmla="*/ 1352905 h 6557032"/>
              <a:gd name="connsiteX11941" fmla="*/ 3350978 w 4610101"/>
              <a:gd name="connsiteY11941" fmla="*/ 1360194 h 6557032"/>
              <a:gd name="connsiteX11942" fmla="*/ 3354623 w 4610101"/>
              <a:gd name="connsiteY11942" fmla="*/ 1354728 h 6557032"/>
              <a:gd name="connsiteX11943" fmla="*/ 3349156 w 4610101"/>
              <a:gd name="connsiteY11943" fmla="*/ 1352905 h 6557032"/>
              <a:gd name="connsiteX11944" fmla="*/ 830912 w 4610101"/>
              <a:gd name="connsiteY11944" fmla="*/ 1352905 h 6557032"/>
              <a:gd name="connsiteX11945" fmla="*/ 827267 w 4610101"/>
              <a:gd name="connsiteY11945" fmla="*/ 1354728 h 6557032"/>
              <a:gd name="connsiteX11946" fmla="*/ 829089 w 4610101"/>
              <a:gd name="connsiteY11946" fmla="*/ 1356550 h 6557032"/>
              <a:gd name="connsiteX11947" fmla="*/ 830912 w 4610101"/>
              <a:gd name="connsiteY11947" fmla="*/ 1352905 h 6557032"/>
              <a:gd name="connsiteX11948" fmla="*/ 810868 w 4610101"/>
              <a:gd name="connsiteY11948" fmla="*/ 1352905 h 6557032"/>
              <a:gd name="connsiteX11949" fmla="*/ 809046 w 4610101"/>
              <a:gd name="connsiteY11949" fmla="*/ 1356550 h 6557032"/>
              <a:gd name="connsiteX11950" fmla="*/ 812690 w 4610101"/>
              <a:gd name="connsiteY11950" fmla="*/ 1358372 h 6557032"/>
              <a:gd name="connsiteX11951" fmla="*/ 810868 w 4610101"/>
              <a:gd name="connsiteY11951" fmla="*/ 1352905 h 6557032"/>
              <a:gd name="connsiteX11952" fmla="*/ 628650 w 4610101"/>
              <a:gd name="connsiteY11952" fmla="*/ 1352905 h 6557032"/>
              <a:gd name="connsiteX11953" fmla="*/ 628650 w 4610101"/>
              <a:gd name="connsiteY11953" fmla="*/ 1358372 h 6557032"/>
              <a:gd name="connsiteX11954" fmla="*/ 630472 w 4610101"/>
              <a:gd name="connsiteY11954" fmla="*/ 1354728 h 6557032"/>
              <a:gd name="connsiteX11955" fmla="*/ 628650 w 4610101"/>
              <a:gd name="connsiteY11955" fmla="*/ 1352905 h 6557032"/>
              <a:gd name="connsiteX11956" fmla="*/ 548475 w 4610101"/>
              <a:gd name="connsiteY11956" fmla="*/ 1352905 h 6557032"/>
              <a:gd name="connsiteX11957" fmla="*/ 544830 w 4610101"/>
              <a:gd name="connsiteY11957" fmla="*/ 1358372 h 6557032"/>
              <a:gd name="connsiteX11958" fmla="*/ 548475 w 4610101"/>
              <a:gd name="connsiteY11958" fmla="*/ 1360194 h 6557032"/>
              <a:gd name="connsiteX11959" fmla="*/ 548475 w 4610101"/>
              <a:gd name="connsiteY11959" fmla="*/ 1352905 h 6557032"/>
              <a:gd name="connsiteX11960" fmla="*/ 371724 w 4610101"/>
              <a:gd name="connsiteY11960" fmla="*/ 1352905 h 6557032"/>
              <a:gd name="connsiteX11961" fmla="*/ 371992 w 4610101"/>
              <a:gd name="connsiteY11961" fmla="*/ 1353423 h 6557032"/>
              <a:gd name="connsiteX11962" fmla="*/ 370423 w 4610101"/>
              <a:gd name="connsiteY11962" fmla="*/ 1353946 h 6557032"/>
              <a:gd name="connsiteX11963" fmla="*/ 3093779 w 4610101"/>
              <a:gd name="connsiteY11963" fmla="*/ 1352450 h 6557032"/>
              <a:gd name="connsiteX11964" fmla="*/ 3094052 w 4610101"/>
              <a:gd name="connsiteY11964" fmla="*/ 1352905 h 6557032"/>
              <a:gd name="connsiteX11965" fmla="*/ 3093645 w 4610101"/>
              <a:gd name="connsiteY11965" fmla="*/ 1353118 h 6557032"/>
              <a:gd name="connsiteX11966" fmla="*/ 3168761 w 4610101"/>
              <a:gd name="connsiteY11966" fmla="*/ 1351083 h 6557032"/>
              <a:gd name="connsiteX11967" fmla="*/ 3166939 w 4610101"/>
              <a:gd name="connsiteY11967" fmla="*/ 1358372 h 6557032"/>
              <a:gd name="connsiteX11968" fmla="*/ 3168761 w 4610101"/>
              <a:gd name="connsiteY11968" fmla="*/ 1351083 h 6557032"/>
              <a:gd name="connsiteX11969" fmla="*/ 1027707 w 4610101"/>
              <a:gd name="connsiteY11969" fmla="*/ 1351083 h 6557032"/>
              <a:gd name="connsiteX11970" fmla="*/ 1042056 w 4610101"/>
              <a:gd name="connsiteY11970" fmla="*/ 1367711 h 6557032"/>
              <a:gd name="connsiteX11971" fmla="*/ 1059947 w 4610101"/>
              <a:gd name="connsiteY11971" fmla="*/ 1379859 h 6557032"/>
              <a:gd name="connsiteX11972" fmla="*/ 1058683 w 4610101"/>
              <a:gd name="connsiteY11972" fmla="*/ 1380238 h 6557032"/>
              <a:gd name="connsiteX11973" fmla="*/ 1065972 w 4610101"/>
              <a:gd name="connsiteY11973" fmla="*/ 1383882 h 6557032"/>
              <a:gd name="connsiteX11974" fmla="*/ 1064151 w 4610101"/>
              <a:gd name="connsiteY11974" fmla="*/ 1380238 h 6557032"/>
              <a:gd name="connsiteX11975" fmla="*/ 1086016 w 4610101"/>
              <a:gd name="connsiteY11975" fmla="*/ 1385705 h 6557032"/>
              <a:gd name="connsiteX11976" fmla="*/ 1072350 w 4610101"/>
              <a:gd name="connsiteY11976" fmla="*/ 1376138 h 6557032"/>
              <a:gd name="connsiteX11977" fmla="*/ 1060392 w 4610101"/>
              <a:gd name="connsiteY11977" fmla="*/ 1379725 h 6557032"/>
              <a:gd name="connsiteX11978" fmla="*/ 1059139 w 4610101"/>
              <a:gd name="connsiteY11978" fmla="*/ 1374088 h 6557032"/>
              <a:gd name="connsiteX11979" fmla="*/ 1055040 w 4610101"/>
              <a:gd name="connsiteY11979" fmla="*/ 1369305 h 6557032"/>
              <a:gd name="connsiteX11980" fmla="*/ 1062328 w 4610101"/>
              <a:gd name="connsiteY11980" fmla="*/ 1376594 h 6557032"/>
              <a:gd name="connsiteX11981" fmla="*/ 1069616 w 4610101"/>
              <a:gd name="connsiteY11981" fmla="*/ 1374771 h 6557032"/>
              <a:gd name="connsiteX11982" fmla="*/ 1042284 w 4610101"/>
              <a:gd name="connsiteY11982" fmla="*/ 1354728 h 6557032"/>
              <a:gd name="connsiteX11983" fmla="*/ 1027707 w 4610101"/>
              <a:gd name="connsiteY11983" fmla="*/ 1351083 h 6557032"/>
              <a:gd name="connsiteX11984" fmla="*/ 863711 w 4610101"/>
              <a:gd name="connsiteY11984" fmla="*/ 1351083 h 6557032"/>
              <a:gd name="connsiteX11985" fmla="*/ 871000 w 4610101"/>
              <a:gd name="connsiteY11985" fmla="*/ 1360194 h 6557032"/>
              <a:gd name="connsiteX11986" fmla="*/ 865533 w 4610101"/>
              <a:gd name="connsiteY11986" fmla="*/ 1360194 h 6557032"/>
              <a:gd name="connsiteX11987" fmla="*/ 859208 w 4610101"/>
              <a:gd name="connsiteY11987" fmla="*/ 1370612 h 6557032"/>
              <a:gd name="connsiteX11988" fmla="*/ 859671 w 4610101"/>
              <a:gd name="connsiteY11988" fmla="*/ 1362026 h 6557032"/>
              <a:gd name="connsiteX11989" fmla="*/ 860066 w 4610101"/>
              <a:gd name="connsiteY11989" fmla="*/ 1362016 h 6557032"/>
              <a:gd name="connsiteX11990" fmla="*/ 859692 w 4610101"/>
              <a:gd name="connsiteY11990" fmla="*/ 1361642 h 6557032"/>
              <a:gd name="connsiteX11991" fmla="*/ 860066 w 4610101"/>
              <a:gd name="connsiteY11991" fmla="*/ 1354728 h 6557032"/>
              <a:gd name="connsiteX11992" fmla="*/ 856422 w 4610101"/>
              <a:gd name="connsiteY11992" fmla="*/ 1358372 h 6557032"/>
              <a:gd name="connsiteX11993" fmla="*/ 859692 w 4610101"/>
              <a:gd name="connsiteY11993" fmla="*/ 1361642 h 6557032"/>
              <a:gd name="connsiteX11994" fmla="*/ 859671 w 4610101"/>
              <a:gd name="connsiteY11994" fmla="*/ 1362026 h 6557032"/>
              <a:gd name="connsiteX11995" fmla="*/ 851183 w 4610101"/>
              <a:gd name="connsiteY11995" fmla="*/ 1362244 h 6557032"/>
              <a:gd name="connsiteX11996" fmla="*/ 843667 w 4610101"/>
              <a:gd name="connsiteY11996" fmla="*/ 1369305 h 6557032"/>
              <a:gd name="connsiteX11997" fmla="*/ 843667 w 4610101"/>
              <a:gd name="connsiteY11997" fmla="*/ 1378416 h 6557032"/>
              <a:gd name="connsiteX11998" fmla="*/ 845489 w 4610101"/>
              <a:gd name="connsiteY11998" fmla="*/ 1374771 h 6557032"/>
              <a:gd name="connsiteX11999" fmla="*/ 847311 w 4610101"/>
              <a:gd name="connsiteY11999" fmla="*/ 1380238 h 6557032"/>
              <a:gd name="connsiteX12000" fmla="*/ 854600 w 4610101"/>
              <a:gd name="connsiteY12000" fmla="*/ 1380238 h 6557032"/>
              <a:gd name="connsiteX12001" fmla="*/ 850956 w 4610101"/>
              <a:gd name="connsiteY12001" fmla="*/ 1385705 h 6557032"/>
              <a:gd name="connsiteX12002" fmla="*/ 856422 w 4610101"/>
              <a:gd name="connsiteY12002" fmla="*/ 1382288 h 6557032"/>
              <a:gd name="connsiteX12003" fmla="*/ 860657 w 4610101"/>
              <a:gd name="connsiteY12003" fmla="*/ 1380700 h 6557032"/>
              <a:gd name="connsiteX12004" fmla="*/ 863027 w 4610101"/>
              <a:gd name="connsiteY12004" fmla="*/ 1375050 h 6557032"/>
              <a:gd name="connsiteX12005" fmla="*/ 867355 w 4610101"/>
              <a:gd name="connsiteY12005" fmla="*/ 1369355 h 6557032"/>
              <a:gd name="connsiteX12006" fmla="*/ 860930 w 4610101"/>
              <a:gd name="connsiteY12006" fmla="*/ 1380598 h 6557032"/>
              <a:gd name="connsiteX12007" fmla="*/ 861889 w 4610101"/>
              <a:gd name="connsiteY12007" fmla="*/ 1380238 h 6557032"/>
              <a:gd name="connsiteX12008" fmla="*/ 860066 w 4610101"/>
              <a:gd name="connsiteY12008" fmla="*/ 1385705 h 6557032"/>
              <a:gd name="connsiteX12009" fmla="*/ 874644 w 4610101"/>
              <a:gd name="connsiteY12009" fmla="*/ 1385705 h 6557032"/>
              <a:gd name="connsiteX12010" fmla="*/ 856422 w 4610101"/>
              <a:gd name="connsiteY12010" fmla="*/ 1391171 h 6557032"/>
              <a:gd name="connsiteX12011" fmla="*/ 874644 w 4610101"/>
              <a:gd name="connsiteY12011" fmla="*/ 1394815 h 6557032"/>
              <a:gd name="connsiteX12012" fmla="*/ 872822 w 4610101"/>
              <a:gd name="connsiteY12012" fmla="*/ 1392993 h 6557032"/>
              <a:gd name="connsiteX12013" fmla="*/ 888428 w 4610101"/>
              <a:gd name="connsiteY12013" fmla="*/ 1386057 h 6557032"/>
              <a:gd name="connsiteX12014" fmla="*/ 888780 w 4610101"/>
              <a:gd name="connsiteY12014" fmla="*/ 1386274 h 6557032"/>
              <a:gd name="connsiteX12015" fmla="*/ 882160 w 4610101"/>
              <a:gd name="connsiteY12015" fmla="*/ 1394815 h 6557032"/>
              <a:gd name="connsiteX12016" fmla="*/ 871000 w 4610101"/>
              <a:gd name="connsiteY12016" fmla="*/ 1398460 h 6557032"/>
              <a:gd name="connsiteX12017" fmla="*/ 878288 w 4610101"/>
              <a:gd name="connsiteY12017" fmla="*/ 1402104 h 6557032"/>
              <a:gd name="connsiteX12018" fmla="*/ 869177 w 4610101"/>
              <a:gd name="connsiteY12018" fmla="*/ 1403926 h 6557032"/>
              <a:gd name="connsiteX12019" fmla="*/ 922020 w 4610101"/>
              <a:gd name="connsiteY12019" fmla="*/ 1425792 h 6557032"/>
              <a:gd name="connsiteX12020" fmla="*/ 894688 w 4610101"/>
              <a:gd name="connsiteY12020" fmla="*/ 1409393 h 6557032"/>
              <a:gd name="connsiteX12021" fmla="*/ 905621 w 4610101"/>
              <a:gd name="connsiteY12021" fmla="*/ 1413037 h 6557032"/>
              <a:gd name="connsiteX12022" fmla="*/ 900154 w 4610101"/>
              <a:gd name="connsiteY12022" fmla="*/ 1396638 h 6557032"/>
              <a:gd name="connsiteX12023" fmla="*/ 894688 w 4610101"/>
              <a:gd name="connsiteY12023" fmla="*/ 1402104 h 6557032"/>
              <a:gd name="connsiteX12024" fmla="*/ 893776 w 4610101"/>
              <a:gd name="connsiteY12024" fmla="*/ 1389349 h 6557032"/>
              <a:gd name="connsiteX12025" fmla="*/ 888780 w 4610101"/>
              <a:gd name="connsiteY12025" fmla="*/ 1386274 h 6557032"/>
              <a:gd name="connsiteX12026" fmla="*/ 889222 w 4610101"/>
              <a:gd name="connsiteY12026" fmla="*/ 1385705 h 6557032"/>
              <a:gd name="connsiteX12027" fmla="*/ 888428 w 4610101"/>
              <a:gd name="connsiteY12027" fmla="*/ 1386057 h 6557032"/>
              <a:gd name="connsiteX12028" fmla="*/ 881933 w 4610101"/>
              <a:gd name="connsiteY12028" fmla="*/ 1382060 h 6557032"/>
              <a:gd name="connsiteX12029" fmla="*/ 874644 w 4610101"/>
              <a:gd name="connsiteY12029" fmla="*/ 1385705 h 6557032"/>
              <a:gd name="connsiteX12030" fmla="*/ 880111 w 4610101"/>
              <a:gd name="connsiteY12030" fmla="*/ 1380238 h 6557032"/>
              <a:gd name="connsiteX12031" fmla="*/ 880111 w 4610101"/>
              <a:gd name="connsiteY12031" fmla="*/ 1378416 h 6557032"/>
              <a:gd name="connsiteX12032" fmla="*/ 891043 w 4610101"/>
              <a:gd name="connsiteY12032" fmla="*/ 1374771 h 6557032"/>
              <a:gd name="connsiteX12033" fmla="*/ 881933 w 4610101"/>
              <a:gd name="connsiteY12033" fmla="*/ 1369305 h 6557032"/>
              <a:gd name="connsiteX12034" fmla="*/ 892866 w 4610101"/>
              <a:gd name="connsiteY12034" fmla="*/ 1363838 h 6557032"/>
              <a:gd name="connsiteX12035" fmla="*/ 894688 w 4610101"/>
              <a:gd name="connsiteY12035" fmla="*/ 1367483 h 6557032"/>
              <a:gd name="connsiteX12036" fmla="*/ 896510 w 4610101"/>
              <a:gd name="connsiteY12036" fmla="*/ 1354728 h 6557032"/>
              <a:gd name="connsiteX12037" fmla="*/ 894688 w 4610101"/>
              <a:gd name="connsiteY12037" fmla="*/ 1358372 h 6557032"/>
              <a:gd name="connsiteX12038" fmla="*/ 863711 w 4610101"/>
              <a:gd name="connsiteY12038" fmla="*/ 1351083 h 6557032"/>
              <a:gd name="connsiteX12039" fmla="*/ 799935 w 4610101"/>
              <a:gd name="connsiteY12039" fmla="*/ 1351083 h 6557032"/>
              <a:gd name="connsiteX12040" fmla="*/ 796290 w 4610101"/>
              <a:gd name="connsiteY12040" fmla="*/ 1358372 h 6557032"/>
              <a:gd name="connsiteX12041" fmla="*/ 799935 w 4610101"/>
              <a:gd name="connsiteY12041" fmla="*/ 1351083 h 6557032"/>
              <a:gd name="connsiteX12042" fmla="*/ 581274 w 4610101"/>
              <a:gd name="connsiteY12042" fmla="*/ 1351083 h 6557032"/>
              <a:gd name="connsiteX12043" fmla="*/ 583096 w 4610101"/>
              <a:gd name="connsiteY12043" fmla="*/ 1356550 h 6557032"/>
              <a:gd name="connsiteX12044" fmla="*/ 590385 w 4610101"/>
              <a:gd name="connsiteY12044" fmla="*/ 1365661 h 6557032"/>
              <a:gd name="connsiteX12045" fmla="*/ 592207 w 4610101"/>
              <a:gd name="connsiteY12045" fmla="*/ 1374771 h 6557032"/>
              <a:gd name="connsiteX12046" fmla="*/ 599496 w 4610101"/>
              <a:gd name="connsiteY12046" fmla="*/ 1363838 h 6557032"/>
              <a:gd name="connsiteX12047" fmla="*/ 594030 w 4610101"/>
              <a:gd name="connsiteY12047" fmla="*/ 1363838 h 6557032"/>
              <a:gd name="connsiteX12048" fmla="*/ 595852 w 4610101"/>
              <a:gd name="connsiteY12048" fmla="*/ 1362016 h 6557032"/>
              <a:gd name="connsiteX12049" fmla="*/ 581274 w 4610101"/>
              <a:gd name="connsiteY12049" fmla="*/ 1351083 h 6557032"/>
              <a:gd name="connsiteX12050" fmla="*/ 502920 w 4610101"/>
              <a:gd name="connsiteY12050" fmla="*/ 1351083 h 6557032"/>
              <a:gd name="connsiteX12051" fmla="*/ 499276 w 4610101"/>
              <a:gd name="connsiteY12051" fmla="*/ 1352905 h 6557032"/>
              <a:gd name="connsiteX12052" fmla="*/ 502920 w 4610101"/>
              <a:gd name="connsiteY12052" fmla="*/ 1351083 h 6557032"/>
              <a:gd name="connsiteX12053" fmla="*/ 461010 w 4610101"/>
              <a:gd name="connsiteY12053" fmla="*/ 1351083 h 6557032"/>
              <a:gd name="connsiteX12054" fmla="*/ 455544 w 4610101"/>
              <a:gd name="connsiteY12054" fmla="*/ 1354728 h 6557032"/>
              <a:gd name="connsiteX12055" fmla="*/ 462832 w 4610101"/>
              <a:gd name="connsiteY12055" fmla="*/ 1352905 h 6557032"/>
              <a:gd name="connsiteX12056" fmla="*/ 461010 w 4610101"/>
              <a:gd name="connsiteY12056" fmla="*/ 1351083 h 6557032"/>
              <a:gd name="connsiteX12057" fmla="*/ 200439 w 4610101"/>
              <a:gd name="connsiteY12057" fmla="*/ 1351083 h 6557032"/>
              <a:gd name="connsiteX12058" fmla="*/ 233947 w 4610101"/>
              <a:gd name="connsiteY12058" fmla="*/ 1358455 h 6557032"/>
              <a:gd name="connsiteX12059" fmla="*/ 232783 w 4610101"/>
              <a:gd name="connsiteY12059" fmla="*/ 1359055 h 6557032"/>
              <a:gd name="connsiteX12060" fmla="*/ 200439 w 4610101"/>
              <a:gd name="connsiteY12060" fmla="*/ 1351083 h 6557032"/>
              <a:gd name="connsiteX12061" fmla="*/ 1135215 w 4610101"/>
              <a:gd name="connsiteY12061" fmla="*/ 1349261 h 6557032"/>
              <a:gd name="connsiteX12062" fmla="*/ 1136855 w 4610101"/>
              <a:gd name="connsiteY12062" fmla="*/ 1350901 h 6557032"/>
              <a:gd name="connsiteX12063" fmla="*/ 1136355 w 4610101"/>
              <a:gd name="connsiteY12063" fmla="*/ 1350856 h 6557032"/>
              <a:gd name="connsiteX12064" fmla="*/ 1135215 w 4610101"/>
              <a:gd name="connsiteY12064" fmla="*/ 1349261 h 6557032"/>
              <a:gd name="connsiteX12065" fmla="*/ 619539 w 4610101"/>
              <a:gd name="connsiteY12065" fmla="*/ 1349261 h 6557032"/>
              <a:gd name="connsiteX12066" fmla="*/ 610429 w 4610101"/>
              <a:gd name="connsiteY12066" fmla="*/ 1363838 h 6557032"/>
              <a:gd name="connsiteX12067" fmla="*/ 614074 w 4610101"/>
              <a:gd name="connsiteY12067" fmla="*/ 1356550 h 6557032"/>
              <a:gd name="connsiteX12068" fmla="*/ 619539 w 4610101"/>
              <a:gd name="connsiteY12068" fmla="*/ 1354728 h 6557032"/>
              <a:gd name="connsiteX12069" fmla="*/ 621362 w 4610101"/>
              <a:gd name="connsiteY12069" fmla="*/ 1356550 h 6557032"/>
              <a:gd name="connsiteX12070" fmla="*/ 615895 w 4610101"/>
              <a:gd name="connsiteY12070" fmla="*/ 1360194 h 6557032"/>
              <a:gd name="connsiteX12071" fmla="*/ 625006 w 4610101"/>
              <a:gd name="connsiteY12071" fmla="*/ 1358372 h 6557032"/>
              <a:gd name="connsiteX12072" fmla="*/ 621362 w 4610101"/>
              <a:gd name="connsiteY12072" fmla="*/ 1356550 h 6557032"/>
              <a:gd name="connsiteX12073" fmla="*/ 626828 w 4610101"/>
              <a:gd name="connsiteY12073" fmla="*/ 1354728 h 6557032"/>
              <a:gd name="connsiteX12074" fmla="*/ 623185 w 4610101"/>
              <a:gd name="connsiteY12074" fmla="*/ 1351083 h 6557032"/>
              <a:gd name="connsiteX12075" fmla="*/ 619539 w 4610101"/>
              <a:gd name="connsiteY12075" fmla="*/ 1354728 h 6557032"/>
              <a:gd name="connsiteX12076" fmla="*/ 619539 w 4610101"/>
              <a:gd name="connsiteY12076" fmla="*/ 1349261 h 6557032"/>
              <a:gd name="connsiteX12077" fmla="*/ 491987 w 4610101"/>
              <a:gd name="connsiteY12077" fmla="*/ 1349261 h 6557032"/>
              <a:gd name="connsiteX12078" fmla="*/ 488343 w 4610101"/>
              <a:gd name="connsiteY12078" fmla="*/ 1354728 h 6557032"/>
              <a:gd name="connsiteX12079" fmla="*/ 491987 w 4610101"/>
              <a:gd name="connsiteY12079" fmla="*/ 1349261 h 6557032"/>
              <a:gd name="connsiteX12080" fmla="*/ 1607158 w 4610101"/>
              <a:gd name="connsiteY12080" fmla="*/ 1347520 h 6557032"/>
              <a:gd name="connsiteX12081" fmla="*/ 1621735 w 4610101"/>
              <a:gd name="connsiteY12081" fmla="*/ 1360276 h 6557032"/>
              <a:gd name="connsiteX12082" fmla="*/ 1598046 w 4610101"/>
              <a:gd name="connsiteY12082" fmla="*/ 1362098 h 6557032"/>
              <a:gd name="connsiteX12083" fmla="*/ 1576180 w 4610101"/>
              <a:gd name="connsiteY12083" fmla="*/ 1347520 h 6557032"/>
              <a:gd name="connsiteX12084" fmla="*/ 1592580 w 4610101"/>
              <a:gd name="connsiteY12084" fmla="*/ 1360276 h 6557032"/>
              <a:gd name="connsiteX12085" fmla="*/ 1567069 w 4610101"/>
              <a:gd name="connsiteY12085" fmla="*/ 1362098 h 6557032"/>
              <a:gd name="connsiteX12086" fmla="*/ 3115918 w 4610101"/>
              <a:gd name="connsiteY12086" fmla="*/ 1347439 h 6557032"/>
              <a:gd name="connsiteX12087" fmla="*/ 3114096 w 4610101"/>
              <a:gd name="connsiteY12087" fmla="*/ 1354728 h 6557032"/>
              <a:gd name="connsiteX12088" fmla="*/ 3115918 w 4610101"/>
              <a:gd name="connsiteY12088" fmla="*/ 1347439 h 6557032"/>
              <a:gd name="connsiteX12089" fmla="*/ 3053964 w 4610101"/>
              <a:gd name="connsiteY12089" fmla="*/ 1347439 h 6557032"/>
              <a:gd name="connsiteX12090" fmla="*/ 3050319 w 4610101"/>
              <a:gd name="connsiteY12090" fmla="*/ 1363838 h 6557032"/>
              <a:gd name="connsiteX12091" fmla="*/ 3057608 w 4610101"/>
              <a:gd name="connsiteY12091" fmla="*/ 1363838 h 6557032"/>
              <a:gd name="connsiteX12092" fmla="*/ 3053964 w 4610101"/>
              <a:gd name="connsiteY12092" fmla="*/ 1347439 h 6557032"/>
              <a:gd name="connsiteX12093" fmla="*/ 659627 w 4610101"/>
              <a:gd name="connsiteY12093" fmla="*/ 1347439 h 6557032"/>
              <a:gd name="connsiteX12094" fmla="*/ 663272 w 4610101"/>
              <a:gd name="connsiteY12094" fmla="*/ 1354728 h 6557032"/>
              <a:gd name="connsiteX12095" fmla="*/ 665094 w 4610101"/>
              <a:gd name="connsiteY12095" fmla="*/ 1351083 h 6557032"/>
              <a:gd name="connsiteX12096" fmla="*/ 659627 w 4610101"/>
              <a:gd name="connsiteY12096" fmla="*/ 1347439 h 6557032"/>
              <a:gd name="connsiteX12097" fmla="*/ 608606 w 4610101"/>
              <a:gd name="connsiteY12097" fmla="*/ 1347439 h 6557032"/>
              <a:gd name="connsiteX12098" fmla="*/ 608606 w 4610101"/>
              <a:gd name="connsiteY12098" fmla="*/ 1360194 h 6557032"/>
              <a:gd name="connsiteX12099" fmla="*/ 610429 w 4610101"/>
              <a:gd name="connsiteY12099" fmla="*/ 1347439 h 6557032"/>
              <a:gd name="connsiteX12100" fmla="*/ 608606 w 4610101"/>
              <a:gd name="connsiteY12100" fmla="*/ 1347439 h 6557032"/>
              <a:gd name="connsiteX12101" fmla="*/ 508387 w 4610101"/>
              <a:gd name="connsiteY12101" fmla="*/ 1347439 h 6557032"/>
              <a:gd name="connsiteX12102" fmla="*/ 508387 w 4610101"/>
              <a:gd name="connsiteY12102" fmla="*/ 1356550 h 6557032"/>
              <a:gd name="connsiteX12103" fmla="*/ 508387 w 4610101"/>
              <a:gd name="connsiteY12103" fmla="*/ 1347439 h 6557032"/>
              <a:gd name="connsiteX12104" fmla="*/ 379012 w 4610101"/>
              <a:gd name="connsiteY12104" fmla="*/ 1347439 h 6557032"/>
              <a:gd name="connsiteX12105" fmla="*/ 371724 w 4610101"/>
              <a:gd name="connsiteY12105" fmla="*/ 1351083 h 6557032"/>
              <a:gd name="connsiteX12106" fmla="*/ 384479 w 4610101"/>
              <a:gd name="connsiteY12106" fmla="*/ 1354728 h 6557032"/>
              <a:gd name="connsiteX12107" fmla="*/ 379012 w 4610101"/>
              <a:gd name="connsiteY12107" fmla="*/ 1347439 h 6557032"/>
              <a:gd name="connsiteX12108" fmla="*/ 652795 w 4610101"/>
              <a:gd name="connsiteY12108" fmla="*/ 1347211 h 6557032"/>
              <a:gd name="connsiteX12109" fmla="*/ 648694 w 4610101"/>
              <a:gd name="connsiteY12109" fmla="*/ 1349261 h 6557032"/>
              <a:gd name="connsiteX12110" fmla="*/ 654161 w 4610101"/>
              <a:gd name="connsiteY12110" fmla="*/ 1349261 h 6557032"/>
              <a:gd name="connsiteX12111" fmla="*/ 652795 w 4610101"/>
              <a:gd name="connsiteY12111" fmla="*/ 1347211 h 6557032"/>
              <a:gd name="connsiteX12112" fmla="*/ 816790 w 4610101"/>
              <a:gd name="connsiteY12112" fmla="*/ 1346983 h 6557032"/>
              <a:gd name="connsiteX12113" fmla="*/ 810868 w 4610101"/>
              <a:gd name="connsiteY12113" fmla="*/ 1347439 h 6557032"/>
              <a:gd name="connsiteX12114" fmla="*/ 815328 w 4610101"/>
              <a:gd name="connsiteY12114" fmla="*/ 1356359 h 6557032"/>
              <a:gd name="connsiteX12115" fmla="*/ 815424 w 4610101"/>
              <a:gd name="connsiteY12115" fmla="*/ 1357461 h 6557032"/>
              <a:gd name="connsiteX12116" fmla="*/ 816334 w 4610101"/>
              <a:gd name="connsiteY12116" fmla="*/ 1363838 h 6557032"/>
              <a:gd name="connsiteX12117" fmla="*/ 805401 w 4610101"/>
              <a:gd name="connsiteY12117" fmla="*/ 1356550 h 6557032"/>
              <a:gd name="connsiteX12118" fmla="*/ 807223 w 4610101"/>
              <a:gd name="connsiteY12118" fmla="*/ 1372949 h 6557032"/>
              <a:gd name="connsiteX12119" fmla="*/ 819979 w 4610101"/>
              <a:gd name="connsiteY12119" fmla="*/ 1356550 h 6557032"/>
              <a:gd name="connsiteX12120" fmla="*/ 818301 w 4610101"/>
              <a:gd name="connsiteY12120" fmla="*/ 1356407 h 6557032"/>
              <a:gd name="connsiteX12121" fmla="*/ 819979 w 4610101"/>
              <a:gd name="connsiteY12121" fmla="*/ 1354728 h 6557032"/>
              <a:gd name="connsiteX12122" fmla="*/ 816790 w 4610101"/>
              <a:gd name="connsiteY12122" fmla="*/ 1346983 h 6557032"/>
              <a:gd name="connsiteX12123" fmla="*/ 742764 w 4610101"/>
              <a:gd name="connsiteY12123" fmla="*/ 1346300 h 6557032"/>
              <a:gd name="connsiteX12124" fmla="*/ 728870 w 4610101"/>
              <a:gd name="connsiteY12124" fmla="*/ 1354728 h 6557032"/>
              <a:gd name="connsiteX12125" fmla="*/ 745269 w 4610101"/>
              <a:gd name="connsiteY12125" fmla="*/ 1371127 h 6557032"/>
              <a:gd name="connsiteX12126" fmla="*/ 752558 w 4610101"/>
              <a:gd name="connsiteY12126" fmla="*/ 1352905 h 6557032"/>
              <a:gd name="connsiteX12127" fmla="*/ 742764 w 4610101"/>
              <a:gd name="connsiteY12127" fmla="*/ 1346300 h 6557032"/>
              <a:gd name="connsiteX12128" fmla="*/ 3431154 w 4610101"/>
              <a:gd name="connsiteY12128" fmla="*/ 1345617 h 6557032"/>
              <a:gd name="connsiteX12129" fmla="*/ 3432976 w 4610101"/>
              <a:gd name="connsiteY12129" fmla="*/ 1352905 h 6557032"/>
              <a:gd name="connsiteX12130" fmla="*/ 3431154 w 4610101"/>
              <a:gd name="connsiteY12130" fmla="*/ 1345617 h 6557032"/>
              <a:gd name="connsiteX12131" fmla="*/ 821801 w 4610101"/>
              <a:gd name="connsiteY12131" fmla="*/ 1345617 h 6557032"/>
              <a:gd name="connsiteX12132" fmla="*/ 834556 w 4610101"/>
              <a:gd name="connsiteY12132" fmla="*/ 1347439 h 6557032"/>
              <a:gd name="connsiteX12133" fmla="*/ 821801 w 4610101"/>
              <a:gd name="connsiteY12133" fmla="*/ 1345617 h 6557032"/>
              <a:gd name="connsiteX12134" fmla="*/ 637761 w 4610101"/>
              <a:gd name="connsiteY12134" fmla="*/ 1345617 h 6557032"/>
              <a:gd name="connsiteX12135" fmla="*/ 634117 w 4610101"/>
              <a:gd name="connsiteY12135" fmla="*/ 1351083 h 6557032"/>
              <a:gd name="connsiteX12136" fmla="*/ 637761 w 4610101"/>
              <a:gd name="connsiteY12136" fmla="*/ 1345617 h 6557032"/>
              <a:gd name="connsiteX12137" fmla="*/ 482876 w 4610101"/>
              <a:gd name="connsiteY12137" fmla="*/ 1345617 h 6557032"/>
              <a:gd name="connsiteX12138" fmla="*/ 482876 w 4610101"/>
              <a:gd name="connsiteY12138" fmla="*/ 1351083 h 6557032"/>
              <a:gd name="connsiteX12139" fmla="*/ 482876 w 4610101"/>
              <a:gd name="connsiteY12139" fmla="*/ 1345617 h 6557032"/>
              <a:gd name="connsiteX12140" fmla="*/ 647783 w 4610101"/>
              <a:gd name="connsiteY12140" fmla="*/ 1344478 h 6557032"/>
              <a:gd name="connsiteX12141" fmla="*/ 643228 w 4610101"/>
              <a:gd name="connsiteY12141" fmla="*/ 1347439 h 6557032"/>
              <a:gd name="connsiteX12142" fmla="*/ 645050 w 4610101"/>
              <a:gd name="connsiteY12142" fmla="*/ 1365661 h 6557032"/>
              <a:gd name="connsiteX12143" fmla="*/ 643228 w 4610101"/>
              <a:gd name="connsiteY12143" fmla="*/ 1347439 h 6557032"/>
              <a:gd name="connsiteX12144" fmla="*/ 652339 w 4610101"/>
              <a:gd name="connsiteY12144" fmla="*/ 1345617 h 6557032"/>
              <a:gd name="connsiteX12145" fmla="*/ 647783 w 4610101"/>
              <a:gd name="connsiteY12145" fmla="*/ 1344478 h 6557032"/>
              <a:gd name="connsiteX12146" fmla="*/ 573985 w 4610101"/>
              <a:gd name="connsiteY12146" fmla="*/ 1343795 h 6557032"/>
              <a:gd name="connsiteX12147" fmla="*/ 568519 w 4610101"/>
              <a:gd name="connsiteY12147" fmla="*/ 1351083 h 6557032"/>
              <a:gd name="connsiteX12148" fmla="*/ 559408 w 4610101"/>
              <a:gd name="connsiteY12148" fmla="*/ 1352905 h 6557032"/>
              <a:gd name="connsiteX12149" fmla="*/ 586741 w 4610101"/>
              <a:gd name="connsiteY12149" fmla="*/ 1374771 h 6557032"/>
              <a:gd name="connsiteX12150" fmla="*/ 573985 w 4610101"/>
              <a:gd name="connsiteY12150" fmla="*/ 1349261 h 6557032"/>
              <a:gd name="connsiteX12151" fmla="*/ 581274 w 4610101"/>
              <a:gd name="connsiteY12151" fmla="*/ 1354728 h 6557032"/>
              <a:gd name="connsiteX12152" fmla="*/ 573985 w 4610101"/>
              <a:gd name="connsiteY12152" fmla="*/ 1343795 h 6557032"/>
              <a:gd name="connsiteX12153" fmla="*/ 468299 w 4610101"/>
              <a:gd name="connsiteY12153" fmla="*/ 1343795 h 6557032"/>
              <a:gd name="connsiteX12154" fmla="*/ 464655 w 4610101"/>
              <a:gd name="connsiteY12154" fmla="*/ 1352905 h 6557032"/>
              <a:gd name="connsiteX12155" fmla="*/ 471943 w 4610101"/>
              <a:gd name="connsiteY12155" fmla="*/ 1347439 h 6557032"/>
              <a:gd name="connsiteX12156" fmla="*/ 468299 w 4610101"/>
              <a:gd name="connsiteY12156" fmla="*/ 1343795 h 6557032"/>
              <a:gd name="connsiteX12157" fmla="*/ 389946 w 4610101"/>
              <a:gd name="connsiteY12157" fmla="*/ 1343795 h 6557032"/>
              <a:gd name="connsiteX12158" fmla="*/ 380835 w 4610101"/>
              <a:gd name="connsiteY12158" fmla="*/ 1347439 h 6557032"/>
              <a:gd name="connsiteX12159" fmla="*/ 411812 w 4610101"/>
              <a:gd name="connsiteY12159" fmla="*/ 1356550 h 6557032"/>
              <a:gd name="connsiteX12160" fmla="*/ 389946 w 4610101"/>
              <a:gd name="connsiteY12160" fmla="*/ 1347439 h 6557032"/>
              <a:gd name="connsiteX12161" fmla="*/ 386301 w 4610101"/>
              <a:gd name="connsiteY12161" fmla="*/ 1349261 h 6557032"/>
              <a:gd name="connsiteX12162" fmla="*/ 389946 w 4610101"/>
              <a:gd name="connsiteY12162" fmla="*/ 1343795 h 6557032"/>
              <a:gd name="connsiteX12163" fmla="*/ 463516 w 4610101"/>
              <a:gd name="connsiteY12163" fmla="*/ 1343795 h 6557032"/>
              <a:gd name="connsiteX12164" fmla="*/ 461010 w 4610101"/>
              <a:gd name="connsiteY12164" fmla="*/ 1343795 h 6557032"/>
              <a:gd name="connsiteX12165" fmla="*/ 461010 w 4610101"/>
              <a:gd name="connsiteY12165" fmla="*/ 1347439 h 6557032"/>
              <a:gd name="connsiteX12166" fmla="*/ 464655 w 4610101"/>
              <a:gd name="connsiteY12166" fmla="*/ 1343795 h 6557032"/>
              <a:gd name="connsiteX12167" fmla="*/ 463516 w 4610101"/>
              <a:gd name="connsiteY12167" fmla="*/ 1343795 h 6557032"/>
              <a:gd name="connsiteX12168" fmla="*/ 1257817 w 4610101"/>
              <a:gd name="connsiteY12168" fmla="*/ 1342489 h 6557032"/>
              <a:gd name="connsiteX12169" fmla="*/ 1260945 w 4610101"/>
              <a:gd name="connsiteY12169" fmla="*/ 1345617 h 6557032"/>
              <a:gd name="connsiteX12170" fmla="*/ 1257606 w 4610101"/>
              <a:gd name="connsiteY12170" fmla="*/ 1344504 h 6557032"/>
              <a:gd name="connsiteX12171" fmla="*/ 3460107 w 4610101"/>
              <a:gd name="connsiteY12171" fmla="*/ 1341972 h 6557032"/>
              <a:gd name="connsiteX12172" fmla="*/ 3463042 w 4610101"/>
              <a:gd name="connsiteY12172" fmla="*/ 1341972 h 6557032"/>
              <a:gd name="connsiteX12173" fmla="*/ 3460309 w 4610101"/>
              <a:gd name="connsiteY12173" fmla="*/ 1343795 h 6557032"/>
              <a:gd name="connsiteX12174" fmla="*/ 785357 w 4610101"/>
              <a:gd name="connsiteY12174" fmla="*/ 1341972 h 6557032"/>
              <a:gd name="connsiteX12175" fmla="*/ 779892 w 4610101"/>
              <a:gd name="connsiteY12175" fmla="*/ 1347439 h 6557032"/>
              <a:gd name="connsiteX12176" fmla="*/ 781713 w 4610101"/>
              <a:gd name="connsiteY12176" fmla="*/ 1351083 h 6557032"/>
              <a:gd name="connsiteX12177" fmla="*/ 783535 w 4610101"/>
              <a:gd name="connsiteY12177" fmla="*/ 1345617 h 6557032"/>
              <a:gd name="connsiteX12178" fmla="*/ 787179 w 4610101"/>
              <a:gd name="connsiteY12178" fmla="*/ 1360194 h 6557032"/>
              <a:gd name="connsiteX12179" fmla="*/ 789003 w 4610101"/>
              <a:gd name="connsiteY12179" fmla="*/ 1347439 h 6557032"/>
              <a:gd name="connsiteX12180" fmla="*/ 792646 w 4610101"/>
              <a:gd name="connsiteY12180" fmla="*/ 1351083 h 6557032"/>
              <a:gd name="connsiteX12181" fmla="*/ 796290 w 4610101"/>
              <a:gd name="connsiteY12181" fmla="*/ 1343795 h 6557032"/>
              <a:gd name="connsiteX12182" fmla="*/ 785357 w 4610101"/>
              <a:gd name="connsiteY12182" fmla="*/ 1341972 h 6557032"/>
              <a:gd name="connsiteX12183" fmla="*/ 774424 w 4610101"/>
              <a:gd name="connsiteY12183" fmla="*/ 1341972 h 6557032"/>
              <a:gd name="connsiteX12184" fmla="*/ 774424 w 4610101"/>
              <a:gd name="connsiteY12184" fmla="*/ 1356550 h 6557032"/>
              <a:gd name="connsiteX12185" fmla="*/ 774424 w 4610101"/>
              <a:gd name="connsiteY12185" fmla="*/ 1341972 h 6557032"/>
              <a:gd name="connsiteX12186" fmla="*/ 590385 w 4610101"/>
              <a:gd name="connsiteY12186" fmla="*/ 1341972 h 6557032"/>
              <a:gd name="connsiteX12187" fmla="*/ 594030 w 4610101"/>
              <a:gd name="connsiteY12187" fmla="*/ 1345617 h 6557032"/>
              <a:gd name="connsiteX12188" fmla="*/ 590385 w 4610101"/>
              <a:gd name="connsiteY12188" fmla="*/ 1341972 h 6557032"/>
              <a:gd name="connsiteX12189" fmla="*/ 3041835 w 4610101"/>
              <a:gd name="connsiteY12189" fmla="*/ 1340236 h 6557032"/>
              <a:gd name="connsiteX12190" fmla="*/ 3032098 w 4610101"/>
              <a:gd name="connsiteY12190" fmla="*/ 1341972 h 6557032"/>
              <a:gd name="connsiteX12191" fmla="*/ 3028453 w 4610101"/>
              <a:gd name="connsiteY12191" fmla="*/ 1360194 h 6557032"/>
              <a:gd name="connsiteX12192" fmla="*/ 3048497 w 4610101"/>
              <a:gd name="connsiteY12192" fmla="*/ 1362016 h 6557032"/>
              <a:gd name="connsiteX12193" fmla="*/ 3041835 w 4610101"/>
              <a:gd name="connsiteY12193" fmla="*/ 1340236 h 6557032"/>
              <a:gd name="connsiteX12194" fmla="*/ 1255478 w 4610101"/>
              <a:gd name="connsiteY12194" fmla="*/ 1340150 h 6557032"/>
              <a:gd name="connsiteX12195" fmla="*/ 1256121 w 4610101"/>
              <a:gd name="connsiteY12195" fmla="*/ 1340793 h 6557032"/>
              <a:gd name="connsiteX12196" fmla="*/ 1255953 w 4610101"/>
              <a:gd name="connsiteY12196" fmla="*/ 1341576 h 6557032"/>
              <a:gd name="connsiteX12197" fmla="*/ 282438 w 4610101"/>
              <a:gd name="connsiteY12197" fmla="*/ 1340150 h 6557032"/>
              <a:gd name="connsiteX12198" fmla="*/ 271504 w 4610101"/>
              <a:gd name="connsiteY12198" fmla="*/ 1343795 h 6557032"/>
              <a:gd name="connsiteX12199" fmla="*/ 282438 w 4610101"/>
              <a:gd name="connsiteY12199" fmla="*/ 1340150 h 6557032"/>
              <a:gd name="connsiteX12200" fmla="*/ 3371055 w 4610101"/>
              <a:gd name="connsiteY12200" fmla="*/ 1340058 h 6557032"/>
              <a:gd name="connsiteX12201" fmla="*/ 3371022 w 4610101"/>
              <a:gd name="connsiteY12201" fmla="*/ 1340150 h 6557032"/>
              <a:gd name="connsiteX12202" fmla="*/ 3369314 w 4610101"/>
              <a:gd name="connsiteY12202" fmla="*/ 1340653 h 6557032"/>
              <a:gd name="connsiteX12203" fmla="*/ 3369200 w 4610101"/>
              <a:gd name="connsiteY12203" fmla="*/ 1340150 h 6557032"/>
              <a:gd name="connsiteX12204" fmla="*/ 3465880 w 4610101"/>
              <a:gd name="connsiteY12204" fmla="*/ 1339929 h 6557032"/>
              <a:gd name="connsiteX12205" fmla="*/ 3465775 w 4610101"/>
              <a:gd name="connsiteY12205" fmla="*/ 1341972 h 6557032"/>
              <a:gd name="connsiteX12206" fmla="*/ 3463043 w 4610101"/>
              <a:gd name="connsiteY12206" fmla="*/ 1341972 h 6557032"/>
              <a:gd name="connsiteX12207" fmla="*/ 3465775 w 4610101"/>
              <a:gd name="connsiteY12207" fmla="*/ 1340150 h 6557032"/>
              <a:gd name="connsiteX12208" fmla="*/ 1629023 w 4610101"/>
              <a:gd name="connsiteY12208" fmla="*/ 1338447 h 6557032"/>
              <a:gd name="connsiteX12209" fmla="*/ 1650889 w 4610101"/>
              <a:gd name="connsiteY12209" fmla="*/ 1338447 h 6557032"/>
              <a:gd name="connsiteX12210" fmla="*/ 1643602 w 4610101"/>
              <a:gd name="connsiteY12210" fmla="*/ 1353024 h 6557032"/>
              <a:gd name="connsiteX12211" fmla="*/ 1650889 w 4610101"/>
              <a:gd name="connsiteY12211" fmla="*/ 1362134 h 6557032"/>
              <a:gd name="connsiteX12212" fmla="*/ 1629023 w 4610101"/>
              <a:gd name="connsiteY12212" fmla="*/ 1362134 h 6557032"/>
              <a:gd name="connsiteX12213" fmla="*/ 1111526 w 4610101"/>
              <a:gd name="connsiteY12213" fmla="*/ 1338328 h 6557032"/>
              <a:gd name="connsiteX12214" fmla="*/ 1120637 w 4610101"/>
              <a:gd name="connsiteY12214" fmla="*/ 1369305 h 6557032"/>
              <a:gd name="connsiteX12215" fmla="*/ 1111526 w 4610101"/>
              <a:gd name="connsiteY12215" fmla="*/ 1338328 h 6557032"/>
              <a:gd name="connsiteX12216" fmla="*/ 621362 w 4610101"/>
              <a:gd name="connsiteY12216" fmla="*/ 1338328 h 6557032"/>
              <a:gd name="connsiteX12217" fmla="*/ 619539 w 4610101"/>
              <a:gd name="connsiteY12217" fmla="*/ 1341972 h 6557032"/>
              <a:gd name="connsiteX12218" fmla="*/ 619539 w 4610101"/>
              <a:gd name="connsiteY12218" fmla="*/ 1340150 h 6557032"/>
              <a:gd name="connsiteX12219" fmla="*/ 621362 w 4610101"/>
              <a:gd name="connsiteY12219" fmla="*/ 1349261 h 6557032"/>
              <a:gd name="connsiteX12220" fmla="*/ 623185 w 4610101"/>
              <a:gd name="connsiteY12220" fmla="*/ 1341972 h 6557032"/>
              <a:gd name="connsiteX12221" fmla="*/ 623185 w 4610101"/>
              <a:gd name="connsiteY12221" fmla="*/ 1349261 h 6557032"/>
              <a:gd name="connsiteX12222" fmla="*/ 630472 w 4610101"/>
              <a:gd name="connsiteY12222" fmla="*/ 1347439 h 6557032"/>
              <a:gd name="connsiteX12223" fmla="*/ 634117 w 4610101"/>
              <a:gd name="connsiteY12223" fmla="*/ 1343795 h 6557032"/>
              <a:gd name="connsiteX12224" fmla="*/ 628650 w 4610101"/>
              <a:gd name="connsiteY12224" fmla="*/ 1338328 h 6557032"/>
              <a:gd name="connsiteX12225" fmla="*/ 630472 w 4610101"/>
              <a:gd name="connsiteY12225" fmla="*/ 1347439 h 6557032"/>
              <a:gd name="connsiteX12226" fmla="*/ 621362 w 4610101"/>
              <a:gd name="connsiteY12226" fmla="*/ 1338328 h 6557032"/>
              <a:gd name="connsiteX12227" fmla="*/ 579452 w 4610101"/>
              <a:gd name="connsiteY12227" fmla="*/ 1338328 h 6557032"/>
              <a:gd name="connsiteX12228" fmla="*/ 575808 w 4610101"/>
              <a:gd name="connsiteY12228" fmla="*/ 1341972 h 6557032"/>
              <a:gd name="connsiteX12229" fmla="*/ 594030 w 4610101"/>
              <a:gd name="connsiteY12229" fmla="*/ 1352905 h 6557032"/>
              <a:gd name="connsiteX12230" fmla="*/ 584919 w 4610101"/>
              <a:gd name="connsiteY12230" fmla="*/ 1338328 h 6557032"/>
              <a:gd name="connsiteX12231" fmla="*/ 579452 w 4610101"/>
              <a:gd name="connsiteY12231" fmla="*/ 1343795 h 6557032"/>
              <a:gd name="connsiteX12232" fmla="*/ 579452 w 4610101"/>
              <a:gd name="connsiteY12232" fmla="*/ 1338328 h 6557032"/>
              <a:gd name="connsiteX12233" fmla="*/ 455544 w 4610101"/>
              <a:gd name="connsiteY12233" fmla="*/ 1338328 h 6557032"/>
              <a:gd name="connsiteX12234" fmla="*/ 457367 w 4610101"/>
              <a:gd name="connsiteY12234" fmla="*/ 1343795 h 6557032"/>
              <a:gd name="connsiteX12235" fmla="*/ 455544 w 4610101"/>
              <a:gd name="connsiteY12235" fmla="*/ 1338328 h 6557032"/>
              <a:gd name="connsiteX12236" fmla="*/ 371724 w 4610101"/>
              <a:gd name="connsiteY12236" fmla="*/ 1338328 h 6557032"/>
              <a:gd name="connsiteX12237" fmla="*/ 384479 w 4610101"/>
              <a:gd name="connsiteY12237" fmla="*/ 1341972 h 6557032"/>
              <a:gd name="connsiteX12238" fmla="*/ 371724 w 4610101"/>
              <a:gd name="connsiteY12238" fmla="*/ 1338328 h 6557032"/>
              <a:gd name="connsiteX12239" fmla="*/ 3407466 w 4610101"/>
              <a:gd name="connsiteY12239" fmla="*/ 1336506 h 6557032"/>
              <a:gd name="connsiteX12240" fmla="*/ 3407466 w 4610101"/>
              <a:gd name="connsiteY12240" fmla="*/ 1347439 h 6557032"/>
              <a:gd name="connsiteX12241" fmla="*/ 3407466 w 4610101"/>
              <a:gd name="connsiteY12241" fmla="*/ 1336506 h 6557032"/>
              <a:gd name="connsiteX12242" fmla="*/ 2917301 w 4610101"/>
              <a:gd name="connsiteY12242" fmla="*/ 1336506 h 6557032"/>
              <a:gd name="connsiteX12243" fmla="*/ 2913656 w 4610101"/>
              <a:gd name="connsiteY12243" fmla="*/ 1338328 h 6557032"/>
              <a:gd name="connsiteX12244" fmla="*/ 2917301 w 4610101"/>
              <a:gd name="connsiteY12244" fmla="*/ 1341972 h 6557032"/>
              <a:gd name="connsiteX12245" fmla="*/ 2897257 w 4610101"/>
              <a:gd name="connsiteY12245" fmla="*/ 1367483 h 6557032"/>
              <a:gd name="connsiteX12246" fmla="*/ 2922767 w 4610101"/>
              <a:gd name="connsiteY12246" fmla="*/ 1358372 h 6557032"/>
              <a:gd name="connsiteX12247" fmla="*/ 2915479 w 4610101"/>
              <a:gd name="connsiteY12247" fmla="*/ 1356550 h 6557032"/>
              <a:gd name="connsiteX12248" fmla="*/ 2917301 w 4610101"/>
              <a:gd name="connsiteY12248" fmla="*/ 1347439 h 6557032"/>
              <a:gd name="connsiteX12249" fmla="*/ 2919123 w 4610101"/>
              <a:gd name="connsiteY12249" fmla="*/ 1347439 h 6557032"/>
              <a:gd name="connsiteX12250" fmla="*/ 2919123 w 4610101"/>
              <a:gd name="connsiteY12250" fmla="*/ 1341972 h 6557032"/>
              <a:gd name="connsiteX12251" fmla="*/ 2917301 w 4610101"/>
              <a:gd name="connsiteY12251" fmla="*/ 1336506 h 6557032"/>
              <a:gd name="connsiteX12252" fmla="*/ 2830065 w 4610101"/>
              <a:gd name="connsiteY12252" fmla="*/ 1336506 h 6557032"/>
              <a:gd name="connsiteX12253" fmla="*/ 2817081 w 4610101"/>
              <a:gd name="connsiteY12253" fmla="*/ 1349261 h 6557032"/>
              <a:gd name="connsiteX12254" fmla="*/ 2828014 w 4610101"/>
              <a:gd name="connsiteY12254" fmla="*/ 1341972 h 6557032"/>
              <a:gd name="connsiteX12255" fmla="*/ 2828014 w 4610101"/>
              <a:gd name="connsiteY12255" fmla="*/ 1349261 h 6557032"/>
              <a:gd name="connsiteX12256" fmla="*/ 2844414 w 4610101"/>
              <a:gd name="connsiteY12256" fmla="*/ 1351083 h 6557032"/>
              <a:gd name="connsiteX12257" fmla="*/ 2830065 w 4610101"/>
              <a:gd name="connsiteY12257" fmla="*/ 1336506 h 6557032"/>
              <a:gd name="connsiteX12258" fmla="*/ 1102416 w 4610101"/>
              <a:gd name="connsiteY12258" fmla="*/ 1336506 h 6557032"/>
              <a:gd name="connsiteX12259" fmla="*/ 1106060 w 4610101"/>
              <a:gd name="connsiteY12259" fmla="*/ 1343795 h 6557032"/>
              <a:gd name="connsiteX12260" fmla="*/ 1102416 w 4610101"/>
              <a:gd name="connsiteY12260" fmla="*/ 1336506 h 6557032"/>
              <a:gd name="connsiteX12261" fmla="*/ 666916 w 4610101"/>
              <a:gd name="connsiteY12261" fmla="*/ 1336506 h 6557032"/>
              <a:gd name="connsiteX12262" fmla="*/ 668738 w 4610101"/>
              <a:gd name="connsiteY12262" fmla="*/ 1347439 h 6557032"/>
              <a:gd name="connsiteX12263" fmla="*/ 674205 w 4610101"/>
              <a:gd name="connsiteY12263" fmla="*/ 1341972 h 6557032"/>
              <a:gd name="connsiteX12264" fmla="*/ 666916 w 4610101"/>
              <a:gd name="connsiteY12264" fmla="*/ 1336506 h 6557032"/>
              <a:gd name="connsiteX12265" fmla="*/ 654161 w 4610101"/>
              <a:gd name="connsiteY12265" fmla="*/ 1336506 h 6557032"/>
              <a:gd name="connsiteX12266" fmla="*/ 655983 w 4610101"/>
              <a:gd name="connsiteY12266" fmla="*/ 1341972 h 6557032"/>
              <a:gd name="connsiteX12267" fmla="*/ 654161 w 4610101"/>
              <a:gd name="connsiteY12267" fmla="*/ 1336506 h 6557032"/>
              <a:gd name="connsiteX12268" fmla="*/ 3434798 w 4610101"/>
              <a:gd name="connsiteY12268" fmla="*/ 1334684 h 6557032"/>
              <a:gd name="connsiteX12269" fmla="*/ 3436621 w 4610101"/>
              <a:gd name="connsiteY12269" fmla="*/ 1343795 h 6557032"/>
              <a:gd name="connsiteX12270" fmla="*/ 3434798 w 4610101"/>
              <a:gd name="connsiteY12270" fmla="*/ 1334684 h 6557032"/>
              <a:gd name="connsiteX12271" fmla="*/ 3234359 w 4610101"/>
              <a:gd name="connsiteY12271" fmla="*/ 1334684 h 6557032"/>
              <a:gd name="connsiteX12272" fmla="*/ 3219782 w 4610101"/>
              <a:gd name="connsiteY12272" fmla="*/ 1341972 h 6557032"/>
              <a:gd name="connsiteX12273" fmla="*/ 3219782 w 4610101"/>
              <a:gd name="connsiteY12273" fmla="*/ 1347439 h 6557032"/>
              <a:gd name="connsiteX12274" fmla="*/ 3232537 w 4610101"/>
              <a:gd name="connsiteY12274" fmla="*/ 1356550 h 6557032"/>
              <a:gd name="connsiteX12275" fmla="*/ 3239826 w 4610101"/>
              <a:gd name="connsiteY12275" fmla="*/ 1371127 h 6557032"/>
              <a:gd name="connsiteX12276" fmla="*/ 3239826 w 4610101"/>
              <a:gd name="connsiteY12276" fmla="*/ 1367483 h 6557032"/>
              <a:gd name="connsiteX12277" fmla="*/ 3245292 w 4610101"/>
              <a:gd name="connsiteY12277" fmla="*/ 1372949 h 6557032"/>
              <a:gd name="connsiteX12278" fmla="*/ 3254403 w 4610101"/>
              <a:gd name="connsiteY12278" fmla="*/ 1369305 h 6557032"/>
              <a:gd name="connsiteX12279" fmla="*/ 3252581 w 4610101"/>
              <a:gd name="connsiteY12279" fmla="*/ 1360194 h 6557032"/>
              <a:gd name="connsiteX12280" fmla="*/ 3245292 w 4610101"/>
              <a:gd name="connsiteY12280" fmla="*/ 1358372 h 6557032"/>
              <a:gd name="connsiteX12281" fmla="*/ 3234359 w 4610101"/>
              <a:gd name="connsiteY12281" fmla="*/ 1334684 h 6557032"/>
              <a:gd name="connsiteX12282" fmla="*/ 3066719 w 4610101"/>
              <a:gd name="connsiteY12282" fmla="*/ 1334684 h 6557032"/>
              <a:gd name="connsiteX12283" fmla="*/ 3072186 w 4610101"/>
              <a:gd name="connsiteY12283" fmla="*/ 1341972 h 6557032"/>
              <a:gd name="connsiteX12284" fmla="*/ 3066719 w 4610101"/>
              <a:gd name="connsiteY12284" fmla="*/ 1349261 h 6557032"/>
              <a:gd name="connsiteX12285" fmla="*/ 3063075 w 4610101"/>
              <a:gd name="connsiteY12285" fmla="*/ 1343795 h 6557032"/>
              <a:gd name="connsiteX12286" fmla="*/ 3066719 w 4610101"/>
              <a:gd name="connsiteY12286" fmla="*/ 1362016 h 6557032"/>
              <a:gd name="connsiteX12287" fmla="*/ 3066719 w 4610101"/>
              <a:gd name="connsiteY12287" fmla="*/ 1354728 h 6557032"/>
              <a:gd name="connsiteX12288" fmla="*/ 3072186 w 4610101"/>
              <a:gd name="connsiteY12288" fmla="*/ 1358372 h 6557032"/>
              <a:gd name="connsiteX12289" fmla="*/ 3070363 w 4610101"/>
              <a:gd name="connsiteY12289" fmla="*/ 1367483 h 6557032"/>
              <a:gd name="connsiteX12290" fmla="*/ 3079474 w 4610101"/>
              <a:gd name="connsiteY12290" fmla="*/ 1367483 h 6557032"/>
              <a:gd name="connsiteX12291" fmla="*/ 3084030 w 4610101"/>
              <a:gd name="connsiteY12291" fmla="*/ 1358144 h 6557032"/>
              <a:gd name="connsiteX12292" fmla="*/ 3093645 w 4610101"/>
              <a:gd name="connsiteY12292" fmla="*/ 1353118 h 6557032"/>
              <a:gd name="connsiteX12293" fmla="*/ 3092230 w 4610101"/>
              <a:gd name="connsiteY12293" fmla="*/ 1360194 h 6557032"/>
              <a:gd name="connsiteX12294" fmla="*/ 3099518 w 4610101"/>
              <a:gd name="connsiteY12294" fmla="*/ 1362016 h 6557032"/>
              <a:gd name="connsiteX12295" fmla="*/ 3103163 w 4610101"/>
              <a:gd name="connsiteY12295" fmla="*/ 1376594 h 6557032"/>
              <a:gd name="connsiteX12296" fmla="*/ 3103163 w 4610101"/>
              <a:gd name="connsiteY12296" fmla="*/ 1362016 h 6557032"/>
              <a:gd name="connsiteX12297" fmla="*/ 3106807 w 4610101"/>
              <a:gd name="connsiteY12297" fmla="*/ 1360194 h 6557032"/>
              <a:gd name="connsiteX12298" fmla="*/ 3106807 w 4610101"/>
              <a:gd name="connsiteY12298" fmla="*/ 1354728 h 6557032"/>
              <a:gd name="connsiteX12299" fmla="*/ 3094052 w 4610101"/>
              <a:gd name="connsiteY12299" fmla="*/ 1351083 h 6557032"/>
              <a:gd name="connsiteX12300" fmla="*/ 3093779 w 4610101"/>
              <a:gd name="connsiteY12300" fmla="*/ 1352450 h 6557032"/>
              <a:gd name="connsiteX12301" fmla="*/ 3092685 w 4610101"/>
              <a:gd name="connsiteY12301" fmla="*/ 1350628 h 6557032"/>
              <a:gd name="connsiteX12302" fmla="*/ 3094052 w 4610101"/>
              <a:gd name="connsiteY12302" fmla="*/ 1345617 h 6557032"/>
              <a:gd name="connsiteX12303" fmla="*/ 3084941 w 4610101"/>
              <a:gd name="connsiteY12303" fmla="*/ 1343795 h 6557032"/>
              <a:gd name="connsiteX12304" fmla="*/ 3074008 w 4610101"/>
              <a:gd name="connsiteY12304" fmla="*/ 1334684 h 6557032"/>
              <a:gd name="connsiteX12305" fmla="*/ 3066719 w 4610101"/>
              <a:gd name="connsiteY12305" fmla="*/ 1334684 h 6557032"/>
              <a:gd name="connsiteX12306" fmla="*/ 1231790 w 4610101"/>
              <a:gd name="connsiteY12306" fmla="*/ 1334684 h 6557032"/>
              <a:gd name="connsiteX12307" fmla="*/ 1229969 w 4610101"/>
              <a:gd name="connsiteY12307" fmla="*/ 1340150 h 6557032"/>
              <a:gd name="connsiteX12308" fmla="*/ 1233612 w 4610101"/>
              <a:gd name="connsiteY12308" fmla="*/ 1340150 h 6557032"/>
              <a:gd name="connsiteX12309" fmla="*/ 1231790 w 4610101"/>
              <a:gd name="connsiteY12309" fmla="*/ 1334684 h 6557032"/>
              <a:gd name="connsiteX12310" fmla="*/ 1091484 w 4610101"/>
              <a:gd name="connsiteY12310" fmla="*/ 1334684 h 6557032"/>
              <a:gd name="connsiteX12311" fmla="*/ 1093305 w 4610101"/>
              <a:gd name="connsiteY12311" fmla="*/ 1352905 h 6557032"/>
              <a:gd name="connsiteX12312" fmla="*/ 1098771 w 4610101"/>
              <a:gd name="connsiteY12312" fmla="*/ 1360194 h 6557032"/>
              <a:gd name="connsiteX12313" fmla="*/ 1100593 w 4610101"/>
              <a:gd name="connsiteY12313" fmla="*/ 1356550 h 6557032"/>
              <a:gd name="connsiteX12314" fmla="*/ 1100593 w 4610101"/>
              <a:gd name="connsiteY12314" fmla="*/ 1362016 h 6557032"/>
              <a:gd name="connsiteX12315" fmla="*/ 1101049 w 4610101"/>
              <a:gd name="connsiteY12315" fmla="*/ 1362699 h 6557032"/>
              <a:gd name="connsiteX12316" fmla="*/ 1102669 w 4610101"/>
              <a:gd name="connsiteY12316" fmla="*/ 1362352 h 6557032"/>
              <a:gd name="connsiteX12317" fmla="*/ 1129748 w 4610101"/>
              <a:gd name="connsiteY12317" fmla="*/ 1398460 h 6557032"/>
              <a:gd name="connsiteX12318" fmla="*/ 1130721 w 4610101"/>
              <a:gd name="connsiteY12318" fmla="*/ 1397292 h 6557032"/>
              <a:gd name="connsiteX12319" fmla="*/ 1131750 w 4610101"/>
              <a:gd name="connsiteY12319" fmla="*/ 1399281 h 6557032"/>
              <a:gd name="connsiteX12320" fmla="*/ 1131115 w 4610101"/>
              <a:gd name="connsiteY12320" fmla="*/ 1399599 h 6557032"/>
              <a:gd name="connsiteX12321" fmla="*/ 1131570 w 4610101"/>
              <a:gd name="connsiteY12321" fmla="*/ 1402104 h 6557032"/>
              <a:gd name="connsiteX12322" fmla="*/ 1132481 w 4610101"/>
              <a:gd name="connsiteY12322" fmla="*/ 1402559 h 6557032"/>
              <a:gd name="connsiteX12323" fmla="*/ 1132901 w 4610101"/>
              <a:gd name="connsiteY12323" fmla="*/ 1401510 h 6557032"/>
              <a:gd name="connsiteX12324" fmla="*/ 1138859 w 4610101"/>
              <a:gd name="connsiteY12324" fmla="*/ 1413037 h 6557032"/>
              <a:gd name="connsiteX12325" fmla="*/ 1133393 w 4610101"/>
              <a:gd name="connsiteY12325" fmla="*/ 1400282 h 6557032"/>
              <a:gd name="connsiteX12326" fmla="*/ 1132901 w 4610101"/>
              <a:gd name="connsiteY12326" fmla="*/ 1401510 h 6557032"/>
              <a:gd name="connsiteX12327" fmla="*/ 1131750 w 4610101"/>
              <a:gd name="connsiteY12327" fmla="*/ 1399281 h 6557032"/>
              <a:gd name="connsiteX12328" fmla="*/ 1133393 w 4610101"/>
              <a:gd name="connsiteY12328" fmla="*/ 1398460 h 6557032"/>
              <a:gd name="connsiteX12329" fmla="*/ 1130887 w 4610101"/>
              <a:gd name="connsiteY12329" fmla="*/ 1397093 h 6557032"/>
              <a:gd name="connsiteX12330" fmla="*/ 1130721 w 4610101"/>
              <a:gd name="connsiteY12330" fmla="*/ 1397292 h 6557032"/>
              <a:gd name="connsiteX12331" fmla="*/ 1128382 w 4610101"/>
              <a:gd name="connsiteY12331" fmla="*/ 1392765 h 6557032"/>
              <a:gd name="connsiteX12332" fmla="*/ 1115171 w 4610101"/>
              <a:gd name="connsiteY12332" fmla="*/ 1371127 h 6557032"/>
              <a:gd name="connsiteX12333" fmla="*/ 1113349 w 4610101"/>
              <a:gd name="connsiteY12333" fmla="*/ 1363838 h 6557032"/>
              <a:gd name="connsiteX12334" fmla="*/ 1115171 w 4610101"/>
              <a:gd name="connsiteY12334" fmla="*/ 1371127 h 6557032"/>
              <a:gd name="connsiteX12335" fmla="*/ 1109476 w 4610101"/>
              <a:gd name="connsiteY12335" fmla="*/ 1364522 h 6557032"/>
              <a:gd name="connsiteX12336" fmla="*/ 1109039 w 4610101"/>
              <a:gd name="connsiteY12336" fmla="*/ 1364367 h 6557032"/>
              <a:gd name="connsiteX12337" fmla="*/ 1108110 w 4610101"/>
              <a:gd name="connsiteY12337" fmla="*/ 1357461 h 6557032"/>
              <a:gd name="connsiteX12338" fmla="*/ 1102416 w 4610101"/>
              <a:gd name="connsiteY12338" fmla="*/ 1345617 h 6557032"/>
              <a:gd name="connsiteX12339" fmla="*/ 1093305 w 4610101"/>
              <a:gd name="connsiteY12339" fmla="*/ 1352905 h 6557032"/>
              <a:gd name="connsiteX12340" fmla="*/ 1100593 w 4610101"/>
              <a:gd name="connsiteY12340" fmla="*/ 1345617 h 6557032"/>
              <a:gd name="connsiteX12341" fmla="*/ 1091484 w 4610101"/>
              <a:gd name="connsiteY12341" fmla="*/ 1334684 h 6557032"/>
              <a:gd name="connsiteX12342" fmla="*/ 645050 w 4610101"/>
              <a:gd name="connsiteY12342" fmla="*/ 1334684 h 6557032"/>
              <a:gd name="connsiteX12343" fmla="*/ 643228 w 4610101"/>
              <a:gd name="connsiteY12343" fmla="*/ 1338328 h 6557032"/>
              <a:gd name="connsiteX12344" fmla="*/ 648694 w 4610101"/>
              <a:gd name="connsiteY12344" fmla="*/ 1340150 h 6557032"/>
              <a:gd name="connsiteX12345" fmla="*/ 645050 w 4610101"/>
              <a:gd name="connsiteY12345" fmla="*/ 1334684 h 6557032"/>
              <a:gd name="connsiteX12346" fmla="*/ 632295 w 4610101"/>
              <a:gd name="connsiteY12346" fmla="*/ 1334229 h 6557032"/>
              <a:gd name="connsiteX12347" fmla="*/ 626828 w 4610101"/>
              <a:gd name="connsiteY12347" fmla="*/ 1334684 h 6557032"/>
              <a:gd name="connsiteX12348" fmla="*/ 637761 w 4610101"/>
              <a:gd name="connsiteY12348" fmla="*/ 1336506 h 6557032"/>
              <a:gd name="connsiteX12349" fmla="*/ 632295 w 4610101"/>
              <a:gd name="connsiteY12349" fmla="*/ 1334229 h 6557032"/>
              <a:gd name="connsiteX12350" fmla="*/ 901325 w 4610101"/>
              <a:gd name="connsiteY12350" fmla="*/ 1333513 h 6557032"/>
              <a:gd name="connsiteX12351" fmla="*/ 900896 w 4610101"/>
              <a:gd name="connsiteY12351" fmla="*/ 1335147 h 6557032"/>
              <a:gd name="connsiteX12352" fmla="*/ 900154 w 4610101"/>
              <a:gd name="connsiteY12352" fmla="*/ 1334684 h 6557032"/>
              <a:gd name="connsiteX12353" fmla="*/ 3466210 w 4610101"/>
              <a:gd name="connsiteY12353" fmla="*/ 1333490 h 6557032"/>
              <a:gd name="connsiteX12354" fmla="*/ 3467825 w 4610101"/>
              <a:gd name="connsiteY12354" fmla="*/ 1335823 h 6557032"/>
              <a:gd name="connsiteX12355" fmla="*/ 3465880 w 4610101"/>
              <a:gd name="connsiteY12355" fmla="*/ 1339929 h 6557032"/>
              <a:gd name="connsiteX12356" fmla="*/ 3465866 w 4610101"/>
              <a:gd name="connsiteY12356" fmla="*/ 1332993 h 6557032"/>
              <a:gd name="connsiteX12357" fmla="*/ 3466231 w 4610101"/>
              <a:gd name="connsiteY12357" fmla="*/ 1333089 h 6557032"/>
              <a:gd name="connsiteX12358" fmla="*/ 3466210 w 4610101"/>
              <a:gd name="connsiteY12358" fmla="*/ 1333490 h 6557032"/>
              <a:gd name="connsiteX12359" fmla="*/ 3465775 w 4610101"/>
              <a:gd name="connsiteY12359" fmla="*/ 1332862 h 6557032"/>
              <a:gd name="connsiteX12360" fmla="*/ 3465866 w 4610101"/>
              <a:gd name="connsiteY12360" fmla="*/ 1332993 h 6557032"/>
              <a:gd name="connsiteX12361" fmla="*/ 3465673 w 4610101"/>
              <a:gd name="connsiteY12361" fmla="*/ 1332941 h 6557032"/>
              <a:gd name="connsiteX12362" fmla="*/ 3132317 w 4610101"/>
              <a:gd name="connsiteY12362" fmla="*/ 1332862 h 6557032"/>
              <a:gd name="connsiteX12363" fmla="*/ 3148717 w 4610101"/>
              <a:gd name="connsiteY12363" fmla="*/ 1372949 h 6557032"/>
              <a:gd name="connsiteX12364" fmla="*/ 3148717 w 4610101"/>
              <a:gd name="connsiteY12364" fmla="*/ 1380238 h 6557032"/>
              <a:gd name="connsiteX12365" fmla="*/ 3161472 w 4610101"/>
              <a:gd name="connsiteY12365" fmla="*/ 1389349 h 6557032"/>
              <a:gd name="connsiteX12366" fmla="*/ 3166939 w 4610101"/>
              <a:gd name="connsiteY12366" fmla="*/ 1387527 h 6557032"/>
              <a:gd name="connsiteX12367" fmla="*/ 3168761 w 4610101"/>
              <a:gd name="connsiteY12367" fmla="*/ 1396638 h 6557032"/>
              <a:gd name="connsiteX12368" fmla="*/ 3165116 w 4610101"/>
              <a:gd name="connsiteY12368" fmla="*/ 1382060 h 6557032"/>
              <a:gd name="connsiteX12369" fmla="*/ 3150539 w 4610101"/>
              <a:gd name="connsiteY12369" fmla="*/ 1363838 h 6557032"/>
              <a:gd name="connsiteX12370" fmla="*/ 3143250 w 4610101"/>
              <a:gd name="connsiteY12370" fmla="*/ 1356550 h 6557032"/>
              <a:gd name="connsiteX12371" fmla="*/ 3161472 w 4610101"/>
              <a:gd name="connsiteY12371" fmla="*/ 1354728 h 6557032"/>
              <a:gd name="connsiteX12372" fmla="*/ 3156006 w 4610101"/>
              <a:gd name="connsiteY12372" fmla="*/ 1343795 h 6557032"/>
              <a:gd name="connsiteX12373" fmla="*/ 3156006 w 4610101"/>
              <a:gd name="connsiteY12373" fmla="*/ 1347439 h 6557032"/>
              <a:gd name="connsiteX12374" fmla="*/ 3139606 w 4610101"/>
              <a:gd name="connsiteY12374" fmla="*/ 1334684 h 6557032"/>
              <a:gd name="connsiteX12375" fmla="*/ 3137784 w 4610101"/>
              <a:gd name="connsiteY12375" fmla="*/ 1338328 h 6557032"/>
              <a:gd name="connsiteX12376" fmla="*/ 3132317 w 4610101"/>
              <a:gd name="connsiteY12376" fmla="*/ 1332862 h 6557032"/>
              <a:gd name="connsiteX12377" fmla="*/ 1235434 w 4610101"/>
              <a:gd name="connsiteY12377" fmla="*/ 1332862 h 6557032"/>
              <a:gd name="connsiteX12378" fmla="*/ 1242723 w 4610101"/>
              <a:gd name="connsiteY12378" fmla="*/ 1338328 h 6557032"/>
              <a:gd name="connsiteX12379" fmla="*/ 1242723 w 4610101"/>
              <a:gd name="connsiteY12379" fmla="*/ 1334684 h 6557032"/>
              <a:gd name="connsiteX12380" fmla="*/ 1235434 w 4610101"/>
              <a:gd name="connsiteY12380" fmla="*/ 1332862 h 6557032"/>
              <a:gd name="connsiteX12381" fmla="*/ 1147970 w 4610101"/>
              <a:gd name="connsiteY12381" fmla="*/ 1332862 h 6557032"/>
              <a:gd name="connsiteX12382" fmla="*/ 1151614 w 4610101"/>
              <a:gd name="connsiteY12382" fmla="*/ 1372949 h 6557032"/>
              <a:gd name="connsiteX12383" fmla="*/ 1151614 w 4610101"/>
              <a:gd name="connsiteY12383" fmla="*/ 1365661 h 6557032"/>
              <a:gd name="connsiteX12384" fmla="*/ 1153436 w 4610101"/>
              <a:gd name="connsiteY12384" fmla="*/ 1374771 h 6557032"/>
              <a:gd name="connsiteX12385" fmla="*/ 1158903 w 4610101"/>
              <a:gd name="connsiteY12385" fmla="*/ 1380238 h 6557032"/>
              <a:gd name="connsiteX12386" fmla="*/ 1155259 w 4610101"/>
              <a:gd name="connsiteY12386" fmla="*/ 1378416 h 6557032"/>
              <a:gd name="connsiteX12387" fmla="*/ 1158903 w 4610101"/>
              <a:gd name="connsiteY12387" fmla="*/ 1387527 h 6557032"/>
              <a:gd name="connsiteX12388" fmla="*/ 1158903 w 4610101"/>
              <a:gd name="connsiteY12388" fmla="*/ 1382060 h 6557032"/>
              <a:gd name="connsiteX12389" fmla="*/ 1162547 w 4610101"/>
              <a:gd name="connsiteY12389" fmla="*/ 1382060 h 6557032"/>
              <a:gd name="connsiteX12390" fmla="*/ 1157081 w 4610101"/>
              <a:gd name="connsiteY12390" fmla="*/ 1371127 h 6557032"/>
              <a:gd name="connsiteX12391" fmla="*/ 1159608 w 4610101"/>
              <a:gd name="connsiteY12391" fmla="*/ 1371127 h 6557032"/>
              <a:gd name="connsiteX12392" fmla="*/ 1160725 w 4610101"/>
              <a:gd name="connsiteY12392" fmla="*/ 1376594 h 6557032"/>
              <a:gd name="connsiteX12393" fmla="*/ 1160725 w 4610101"/>
              <a:gd name="connsiteY12393" fmla="*/ 1371127 h 6557032"/>
              <a:gd name="connsiteX12394" fmla="*/ 1159608 w 4610101"/>
              <a:gd name="connsiteY12394" fmla="*/ 1371127 h 6557032"/>
              <a:gd name="connsiteX12395" fmla="*/ 1156397 w 4610101"/>
              <a:gd name="connsiteY12395" fmla="*/ 1355411 h 6557032"/>
              <a:gd name="connsiteX12396" fmla="*/ 1147970 w 4610101"/>
              <a:gd name="connsiteY12396" fmla="*/ 1332862 h 6557032"/>
              <a:gd name="connsiteX12397" fmla="*/ 502920 w 4610101"/>
              <a:gd name="connsiteY12397" fmla="*/ 1332862 h 6557032"/>
              <a:gd name="connsiteX12398" fmla="*/ 497454 w 4610101"/>
              <a:gd name="connsiteY12398" fmla="*/ 1340150 h 6557032"/>
              <a:gd name="connsiteX12399" fmla="*/ 502920 w 4610101"/>
              <a:gd name="connsiteY12399" fmla="*/ 1332862 h 6557032"/>
              <a:gd name="connsiteX12400" fmla="*/ 337102 w 4610101"/>
              <a:gd name="connsiteY12400" fmla="*/ 1332862 h 6557032"/>
              <a:gd name="connsiteX12401" fmla="*/ 320703 w 4610101"/>
              <a:gd name="connsiteY12401" fmla="*/ 1341972 h 6557032"/>
              <a:gd name="connsiteX12402" fmla="*/ 327993 w 4610101"/>
              <a:gd name="connsiteY12402" fmla="*/ 1349261 h 6557032"/>
              <a:gd name="connsiteX12403" fmla="*/ 337102 w 4610101"/>
              <a:gd name="connsiteY12403" fmla="*/ 1332862 h 6557032"/>
              <a:gd name="connsiteX12404" fmla="*/ 1023151 w 4610101"/>
              <a:gd name="connsiteY12404" fmla="*/ 1331495 h 6557032"/>
              <a:gd name="connsiteX12405" fmla="*/ 1020418 w 4610101"/>
              <a:gd name="connsiteY12405" fmla="*/ 1332862 h 6557032"/>
              <a:gd name="connsiteX12406" fmla="*/ 1022240 w 4610101"/>
              <a:gd name="connsiteY12406" fmla="*/ 1336506 h 6557032"/>
              <a:gd name="connsiteX12407" fmla="*/ 1025884 w 4610101"/>
              <a:gd name="connsiteY12407" fmla="*/ 1332862 h 6557032"/>
              <a:gd name="connsiteX12408" fmla="*/ 1023151 w 4610101"/>
              <a:gd name="connsiteY12408" fmla="*/ 1331495 h 6557032"/>
              <a:gd name="connsiteX12409" fmla="*/ 3097468 w 4610101"/>
              <a:gd name="connsiteY12409" fmla="*/ 1331039 h 6557032"/>
              <a:gd name="connsiteX12410" fmla="*/ 3075830 w 4610101"/>
              <a:gd name="connsiteY12410" fmla="*/ 1332862 h 6557032"/>
              <a:gd name="connsiteX12411" fmla="*/ 3095874 w 4610101"/>
              <a:gd name="connsiteY12411" fmla="*/ 1340150 h 6557032"/>
              <a:gd name="connsiteX12412" fmla="*/ 3101340 w 4610101"/>
              <a:gd name="connsiteY12412" fmla="*/ 1341972 h 6557032"/>
              <a:gd name="connsiteX12413" fmla="*/ 3108629 w 4610101"/>
              <a:gd name="connsiteY12413" fmla="*/ 1347439 h 6557032"/>
              <a:gd name="connsiteX12414" fmla="*/ 3103163 w 4610101"/>
              <a:gd name="connsiteY12414" fmla="*/ 1345617 h 6557032"/>
              <a:gd name="connsiteX12415" fmla="*/ 3110451 w 4610101"/>
              <a:gd name="connsiteY12415" fmla="*/ 1338328 h 6557032"/>
              <a:gd name="connsiteX12416" fmla="*/ 3114096 w 4610101"/>
              <a:gd name="connsiteY12416" fmla="*/ 1345617 h 6557032"/>
              <a:gd name="connsiteX12417" fmla="*/ 3117740 w 4610101"/>
              <a:gd name="connsiteY12417" fmla="*/ 1334684 h 6557032"/>
              <a:gd name="connsiteX12418" fmla="*/ 3097468 w 4610101"/>
              <a:gd name="connsiteY12418" fmla="*/ 1331039 h 6557032"/>
              <a:gd name="connsiteX12419" fmla="*/ 2946456 w 4610101"/>
              <a:gd name="connsiteY12419" fmla="*/ 1331039 h 6557032"/>
              <a:gd name="connsiteX12420" fmla="*/ 2946456 w 4610101"/>
              <a:gd name="connsiteY12420" fmla="*/ 1338328 h 6557032"/>
              <a:gd name="connsiteX12421" fmla="*/ 2955566 w 4610101"/>
              <a:gd name="connsiteY12421" fmla="*/ 1338328 h 6557032"/>
              <a:gd name="connsiteX12422" fmla="*/ 2946456 w 4610101"/>
              <a:gd name="connsiteY12422" fmla="*/ 1331039 h 6557032"/>
              <a:gd name="connsiteX12423" fmla="*/ 1929683 w 4610101"/>
              <a:gd name="connsiteY12423" fmla="*/ 1331039 h 6557032"/>
              <a:gd name="connsiteX12424" fmla="*/ 1913283 w 4610101"/>
              <a:gd name="connsiteY12424" fmla="*/ 1332862 h 6557032"/>
              <a:gd name="connsiteX12425" fmla="*/ 1927861 w 4610101"/>
              <a:gd name="connsiteY12425" fmla="*/ 1347439 h 6557032"/>
              <a:gd name="connsiteX12426" fmla="*/ 901976 w 4610101"/>
              <a:gd name="connsiteY12426" fmla="*/ 1331039 h 6557032"/>
              <a:gd name="connsiteX12427" fmla="*/ 891043 w 4610101"/>
              <a:gd name="connsiteY12427" fmla="*/ 1334684 h 6557032"/>
              <a:gd name="connsiteX12428" fmla="*/ 898333 w 4610101"/>
              <a:gd name="connsiteY12428" fmla="*/ 1338328 h 6557032"/>
              <a:gd name="connsiteX12429" fmla="*/ 900838 w 4610101"/>
              <a:gd name="connsiteY12429" fmla="*/ 1335367 h 6557032"/>
              <a:gd name="connsiteX12430" fmla="*/ 900896 w 4610101"/>
              <a:gd name="connsiteY12430" fmla="*/ 1335147 h 6557032"/>
              <a:gd name="connsiteX12431" fmla="*/ 903799 w 4610101"/>
              <a:gd name="connsiteY12431" fmla="*/ 1336962 h 6557032"/>
              <a:gd name="connsiteX12432" fmla="*/ 907444 w 4610101"/>
              <a:gd name="connsiteY12432" fmla="*/ 1336506 h 6557032"/>
              <a:gd name="connsiteX12433" fmla="*/ 903799 w 4610101"/>
              <a:gd name="connsiteY12433" fmla="*/ 1331039 h 6557032"/>
              <a:gd name="connsiteX12434" fmla="*/ 901325 w 4610101"/>
              <a:gd name="connsiteY12434" fmla="*/ 1333513 h 6557032"/>
              <a:gd name="connsiteX12435" fmla="*/ 388123 w 4610101"/>
              <a:gd name="connsiteY12435" fmla="*/ 1331039 h 6557032"/>
              <a:gd name="connsiteX12436" fmla="*/ 391768 w 4610101"/>
              <a:gd name="connsiteY12436" fmla="*/ 1331039 h 6557032"/>
              <a:gd name="connsiteX12437" fmla="*/ 388123 w 4610101"/>
              <a:gd name="connsiteY12437" fmla="*/ 1331039 h 6557032"/>
              <a:gd name="connsiteX12438" fmla="*/ 1222186 w 4610101"/>
              <a:gd name="connsiteY12438" fmla="*/ 1329808 h 6557032"/>
              <a:gd name="connsiteX12439" fmla="*/ 1222323 w 4610101"/>
              <a:gd name="connsiteY12439" fmla="*/ 1329920 h 6557032"/>
              <a:gd name="connsiteX12440" fmla="*/ 1222223 w 4610101"/>
              <a:gd name="connsiteY12440" fmla="*/ 1329901 h 6557032"/>
              <a:gd name="connsiteX12441" fmla="*/ 3558707 w 4610101"/>
              <a:gd name="connsiteY12441" fmla="*/ 1329320 h 6557032"/>
              <a:gd name="connsiteX12442" fmla="*/ 3567818 w 4610101"/>
              <a:gd name="connsiteY12442" fmla="*/ 1353007 h 6557032"/>
              <a:gd name="connsiteX12443" fmla="*/ 3542307 w 4610101"/>
              <a:gd name="connsiteY12443" fmla="*/ 1345719 h 6557032"/>
              <a:gd name="connsiteX12444" fmla="*/ 3378311 w 4610101"/>
              <a:gd name="connsiteY12444" fmla="*/ 1329217 h 6557032"/>
              <a:gd name="connsiteX12445" fmla="*/ 3381955 w 4610101"/>
              <a:gd name="connsiteY12445" fmla="*/ 1338328 h 6557032"/>
              <a:gd name="connsiteX12446" fmla="*/ 3378311 w 4610101"/>
              <a:gd name="connsiteY12446" fmla="*/ 1329217 h 6557032"/>
              <a:gd name="connsiteX12447" fmla="*/ 699715 w 4610101"/>
              <a:gd name="connsiteY12447" fmla="*/ 1329217 h 6557032"/>
              <a:gd name="connsiteX12448" fmla="*/ 697893 w 4610101"/>
              <a:gd name="connsiteY12448" fmla="*/ 1332862 h 6557032"/>
              <a:gd name="connsiteX12449" fmla="*/ 703359 w 4610101"/>
              <a:gd name="connsiteY12449" fmla="*/ 1332862 h 6557032"/>
              <a:gd name="connsiteX12450" fmla="*/ 699715 w 4610101"/>
              <a:gd name="connsiteY12450" fmla="*/ 1329217 h 6557032"/>
              <a:gd name="connsiteX12451" fmla="*/ 690604 w 4610101"/>
              <a:gd name="connsiteY12451" fmla="*/ 1329217 h 6557032"/>
              <a:gd name="connsiteX12452" fmla="*/ 690604 w 4610101"/>
              <a:gd name="connsiteY12452" fmla="*/ 1334684 h 6557032"/>
              <a:gd name="connsiteX12453" fmla="*/ 690604 w 4610101"/>
              <a:gd name="connsiteY12453" fmla="*/ 1329217 h 6557032"/>
              <a:gd name="connsiteX12454" fmla="*/ 466478 w 4610101"/>
              <a:gd name="connsiteY12454" fmla="*/ 1329217 h 6557032"/>
              <a:gd name="connsiteX12455" fmla="*/ 471943 w 4610101"/>
              <a:gd name="connsiteY12455" fmla="*/ 1338328 h 6557032"/>
              <a:gd name="connsiteX12456" fmla="*/ 477410 w 4610101"/>
              <a:gd name="connsiteY12456" fmla="*/ 1334684 h 6557032"/>
              <a:gd name="connsiteX12457" fmla="*/ 466478 w 4610101"/>
              <a:gd name="connsiteY12457" fmla="*/ 1329217 h 6557032"/>
              <a:gd name="connsiteX12458" fmla="*/ 379012 w 4610101"/>
              <a:gd name="connsiteY12458" fmla="*/ 1329217 h 6557032"/>
              <a:gd name="connsiteX12459" fmla="*/ 388123 w 4610101"/>
              <a:gd name="connsiteY12459" fmla="*/ 1340150 h 6557032"/>
              <a:gd name="connsiteX12460" fmla="*/ 379012 w 4610101"/>
              <a:gd name="connsiteY12460" fmla="*/ 1329217 h 6557032"/>
              <a:gd name="connsiteX12461" fmla="*/ 346213 w 4610101"/>
              <a:gd name="connsiteY12461" fmla="*/ 1329217 h 6557032"/>
              <a:gd name="connsiteX12462" fmla="*/ 331636 w 4610101"/>
              <a:gd name="connsiteY12462" fmla="*/ 1349261 h 6557032"/>
              <a:gd name="connsiteX12463" fmla="*/ 357146 w 4610101"/>
              <a:gd name="connsiteY12463" fmla="*/ 1358372 h 6557032"/>
              <a:gd name="connsiteX12464" fmla="*/ 365347 w 4610101"/>
              <a:gd name="connsiteY12464" fmla="*/ 1355639 h 6557032"/>
              <a:gd name="connsiteX12465" fmla="*/ 370423 w 4610101"/>
              <a:gd name="connsiteY12465" fmla="*/ 1353946 h 6557032"/>
              <a:gd name="connsiteX12466" fmla="*/ 362613 w 4610101"/>
              <a:gd name="connsiteY12466" fmla="*/ 1360194 h 6557032"/>
              <a:gd name="connsiteX12467" fmla="*/ 366257 w 4610101"/>
              <a:gd name="connsiteY12467" fmla="*/ 1362016 h 6557032"/>
              <a:gd name="connsiteX12468" fmla="*/ 371724 w 4610101"/>
              <a:gd name="connsiteY12468" fmla="*/ 1363838 h 6557032"/>
              <a:gd name="connsiteX12469" fmla="*/ 373546 w 4610101"/>
              <a:gd name="connsiteY12469" fmla="*/ 1360194 h 6557032"/>
              <a:gd name="connsiteX12470" fmla="*/ 375368 w 4610101"/>
              <a:gd name="connsiteY12470" fmla="*/ 1363838 h 6557032"/>
              <a:gd name="connsiteX12471" fmla="*/ 374912 w 4610101"/>
              <a:gd name="connsiteY12471" fmla="*/ 1359055 h 6557032"/>
              <a:gd name="connsiteX12472" fmla="*/ 371992 w 4610101"/>
              <a:gd name="connsiteY12472" fmla="*/ 1353423 h 6557032"/>
              <a:gd name="connsiteX12473" fmla="*/ 373546 w 4610101"/>
              <a:gd name="connsiteY12473" fmla="*/ 1352905 h 6557032"/>
              <a:gd name="connsiteX12474" fmla="*/ 368079 w 4610101"/>
              <a:gd name="connsiteY12474" fmla="*/ 1347439 h 6557032"/>
              <a:gd name="connsiteX12475" fmla="*/ 377190 w 4610101"/>
              <a:gd name="connsiteY12475" fmla="*/ 1349261 h 6557032"/>
              <a:gd name="connsiteX12476" fmla="*/ 346213 w 4610101"/>
              <a:gd name="connsiteY12476" fmla="*/ 1332862 h 6557032"/>
              <a:gd name="connsiteX12477" fmla="*/ 346213 w 4610101"/>
              <a:gd name="connsiteY12477" fmla="*/ 1329217 h 6557032"/>
              <a:gd name="connsiteX12478" fmla="*/ 3464015 w 4610101"/>
              <a:gd name="connsiteY12478" fmla="*/ 1328831 h 6557032"/>
              <a:gd name="connsiteX12479" fmla="*/ 3463953 w 4610101"/>
              <a:gd name="connsiteY12479" fmla="*/ 1329217 h 6557032"/>
              <a:gd name="connsiteX12480" fmla="*/ 3463552 w 4610101"/>
              <a:gd name="connsiteY12480" fmla="*/ 1329016 h 6557032"/>
              <a:gd name="connsiteX12481" fmla="*/ 3414754 w 4610101"/>
              <a:gd name="connsiteY12481" fmla="*/ 1327395 h 6557032"/>
              <a:gd name="connsiteX12482" fmla="*/ 3412932 w 4610101"/>
              <a:gd name="connsiteY12482" fmla="*/ 1332862 h 6557032"/>
              <a:gd name="connsiteX12483" fmla="*/ 3422043 w 4610101"/>
              <a:gd name="connsiteY12483" fmla="*/ 1332862 h 6557032"/>
              <a:gd name="connsiteX12484" fmla="*/ 3414754 w 4610101"/>
              <a:gd name="connsiteY12484" fmla="*/ 1327395 h 6557032"/>
              <a:gd name="connsiteX12485" fmla="*/ 3349156 w 4610101"/>
              <a:gd name="connsiteY12485" fmla="*/ 1327395 h 6557032"/>
              <a:gd name="connsiteX12486" fmla="*/ 3347334 w 4610101"/>
              <a:gd name="connsiteY12486" fmla="*/ 1340150 h 6557032"/>
              <a:gd name="connsiteX12487" fmla="*/ 3356445 w 4610101"/>
              <a:gd name="connsiteY12487" fmla="*/ 1338328 h 6557032"/>
              <a:gd name="connsiteX12488" fmla="*/ 3349156 w 4610101"/>
              <a:gd name="connsiteY12488" fmla="*/ 1327395 h 6557032"/>
              <a:gd name="connsiteX12489" fmla="*/ 3192449 w 4610101"/>
              <a:gd name="connsiteY12489" fmla="*/ 1327395 h 6557032"/>
              <a:gd name="connsiteX12490" fmla="*/ 3194271 w 4610101"/>
              <a:gd name="connsiteY12490" fmla="*/ 1338328 h 6557032"/>
              <a:gd name="connsiteX12491" fmla="*/ 3192449 w 4610101"/>
              <a:gd name="connsiteY12491" fmla="*/ 1327395 h 6557032"/>
              <a:gd name="connsiteX12492" fmla="*/ 2982672 w 4610101"/>
              <a:gd name="connsiteY12492" fmla="*/ 1326712 h 6557032"/>
              <a:gd name="connsiteX12493" fmla="*/ 2981077 w 4610101"/>
              <a:gd name="connsiteY12493" fmla="*/ 1332862 h 6557032"/>
              <a:gd name="connsiteX12494" fmla="*/ 2988366 w 4610101"/>
              <a:gd name="connsiteY12494" fmla="*/ 1327395 h 6557032"/>
              <a:gd name="connsiteX12495" fmla="*/ 2982672 w 4610101"/>
              <a:gd name="connsiteY12495" fmla="*/ 1326712 h 6557032"/>
              <a:gd name="connsiteX12496" fmla="*/ 332686 w 4610101"/>
              <a:gd name="connsiteY12496" fmla="*/ 1326558 h 6557032"/>
              <a:gd name="connsiteX12497" fmla="*/ 327689 w 4610101"/>
              <a:gd name="connsiteY12497" fmla="*/ 1329734 h 6557032"/>
              <a:gd name="connsiteX12498" fmla="*/ 331408 w 4610101"/>
              <a:gd name="connsiteY12498" fmla="*/ 1327167 h 6557032"/>
              <a:gd name="connsiteX12499" fmla="*/ 554398 w 4610101"/>
              <a:gd name="connsiteY12499" fmla="*/ 1326029 h 6557032"/>
              <a:gd name="connsiteX12500" fmla="*/ 557586 w 4610101"/>
              <a:gd name="connsiteY12500" fmla="*/ 1329217 h 6557032"/>
              <a:gd name="connsiteX12501" fmla="*/ 556867 w 4610101"/>
              <a:gd name="connsiteY12501" fmla="*/ 1329909 h 6557032"/>
              <a:gd name="connsiteX12502" fmla="*/ 728870 w 4610101"/>
              <a:gd name="connsiteY12502" fmla="*/ 1325573 h 6557032"/>
              <a:gd name="connsiteX12503" fmla="*/ 717937 w 4610101"/>
              <a:gd name="connsiteY12503" fmla="*/ 1332862 h 6557032"/>
              <a:gd name="connsiteX12504" fmla="*/ 728870 w 4610101"/>
              <a:gd name="connsiteY12504" fmla="*/ 1325573 h 6557032"/>
              <a:gd name="connsiteX12505" fmla="*/ 595852 w 4610101"/>
              <a:gd name="connsiteY12505" fmla="*/ 1325573 h 6557032"/>
              <a:gd name="connsiteX12506" fmla="*/ 586741 w 4610101"/>
              <a:gd name="connsiteY12506" fmla="*/ 1331039 h 6557032"/>
              <a:gd name="connsiteX12507" fmla="*/ 594030 w 4610101"/>
              <a:gd name="connsiteY12507" fmla="*/ 1332862 h 6557032"/>
              <a:gd name="connsiteX12508" fmla="*/ 590385 w 4610101"/>
              <a:gd name="connsiteY12508" fmla="*/ 1329217 h 6557032"/>
              <a:gd name="connsiteX12509" fmla="*/ 599496 w 4610101"/>
              <a:gd name="connsiteY12509" fmla="*/ 1329217 h 6557032"/>
              <a:gd name="connsiteX12510" fmla="*/ 595852 w 4610101"/>
              <a:gd name="connsiteY12510" fmla="*/ 1325573 h 6557032"/>
              <a:gd name="connsiteX12511" fmla="*/ 3372844 w 4610101"/>
              <a:gd name="connsiteY12511" fmla="*/ 1323751 h 6557032"/>
              <a:gd name="connsiteX12512" fmla="*/ 3365556 w 4610101"/>
              <a:gd name="connsiteY12512" fmla="*/ 1327395 h 6557032"/>
              <a:gd name="connsiteX12513" fmla="*/ 3371022 w 4610101"/>
              <a:gd name="connsiteY12513" fmla="*/ 1332862 h 6557032"/>
              <a:gd name="connsiteX12514" fmla="*/ 3365556 w 4610101"/>
              <a:gd name="connsiteY12514" fmla="*/ 1331039 h 6557032"/>
              <a:gd name="connsiteX12515" fmla="*/ 3361911 w 4610101"/>
              <a:gd name="connsiteY12515" fmla="*/ 1343795 h 6557032"/>
              <a:gd name="connsiteX12516" fmla="*/ 3367150 w 4610101"/>
              <a:gd name="connsiteY12516" fmla="*/ 1341289 h 6557032"/>
              <a:gd name="connsiteX12517" fmla="*/ 3369314 w 4610101"/>
              <a:gd name="connsiteY12517" fmla="*/ 1340653 h 6557032"/>
              <a:gd name="connsiteX12518" fmla="*/ 3370795 w 4610101"/>
              <a:gd name="connsiteY12518" fmla="*/ 1347211 h 6557032"/>
              <a:gd name="connsiteX12519" fmla="*/ 3371022 w 4610101"/>
              <a:gd name="connsiteY12519" fmla="*/ 1352905 h 6557032"/>
              <a:gd name="connsiteX12520" fmla="*/ 3381955 w 4610101"/>
              <a:gd name="connsiteY12520" fmla="*/ 1345617 h 6557032"/>
              <a:gd name="connsiteX12521" fmla="*/ 3383777 w 4610101"/>
              <a:gd name="connsiteY12521" fmla="*/ 1358372 h 6557032"/>
              <a:gd name="connsiteX12522" fmla="*/ 3401999 w 4610101"/>
              <a:gd name="connsiteY12522" fmla="*/ 1338328 h 6557032"/>
              <a:gd name="connsiteX12523" fmla="*/ 3387649 w 4610101"/>
              <a:gd name="connsiteY12523" fmla="*/ 1339239 h 6557032"/>
              <a:gd name="connsiteX12524" fmla="*/ 3371055 w 4610101"/>
              <a:gd name="connsiteY12524" fmla="*/ 1340058 h 6557032"/>
              <a:gd name="connsiteX12525" fmla="*/ 3373983 w 4610101"/>
              <a:gd name="connsiteY12525" fmla="*/ 1331950 h 6557032"/>
              <a:gd name="connsiteX12526" fmla="*/ 3372844 w 4610101"/>
              <a:gd name="connsiteY12526" fmla="*/ 1323751 h 6557032"/>
              <a:gd name="connsiteX12527" fmla="*/ 686960 w 4610101"/>
              <a:gd name="connsiteY12527" fmla="*/ 1323751 h 6557032"/>
              <a:gd name="connsiteX12528" fmla="*/ 686960 w 4610101"/>
              <a:gd name="connsiteY12528" fmla="*/ 1332862 h 6557032"/>
              <a:gd name="connsiteX12529" fmla="*/ 686960 w 4610101"/>
              <a:gd name="connsiteY12529" fmla="*/ 1323751 h 6557032"/>
              <a:gd name="connsiteX12530" fmla="*/ 621362 w 4610101"/>
              <a:gd name="connsiteY12530" fmla="*/ 1323751 h 6557032"/>
              <a:gd name="connsiteX12531" fmla="*/ 634117 w 4610101"/>
              <a:gd name="connsiteY12531" fmla="*/ 1329217 h 6557032"/>
              <a:gd name="connsiteX12532" fmla="*/ 621362 w 4610101"/>
              <a:gd name="connsiteY12532" fmla="*/ 1323751 h 6557032"/>
              <a:gd name="connsiteX12533" fmla="*/ 377190 w 4610101"/>
              <a:gd name="connsiteY12533" fmla="*/ 1323751 h 6557032"/>
              <a:gd name="connsiteX12534" fmla="*/ 373546 w 4610101"/>
              <a:gd name="connsiteY12534" fmla="*/ 1325573 h 6557032"/>
              <a:gd name="connsiteX12535" fmla="*/ 377190 w 4610101"/>
              <a:gd name="connsiteY12535" fmla="*/ 1323751 h 6557032"/>
              <a:gd name="connsiteX12536" fmla="*/ 304303 w 4610101"/>
              <a:gd name="connsiteY12536" fmla="*/ 1323751 h 6557032"/>
              <a:gd name="connsiteX12537" fmla="*/ 289726 w 4610101"/>
              <a:gd name="connsiteY12537" fmla="*/ 1336506 h 6557032"/>
              <a:gd name="connsiteX12538" fmla="*/ 304303 w 4610101"/>
              <a:gd name="connsiteY12538" fmla="*/ 1323751 h 6557032"/>
              <a:gd name="connsiteX12539" fmla="*/ 515903 w 4610101"/>
              <a:gd name="connsiteY12539" fmla="*/ 1323523 h 6557032"/>
              <a:gd name="connsiteX12540" fmla="*/ 513853 w 4610101"/>
              <a:gd name="connsiteY12540" fmla="*/ 1327395 h 6557032"/>
              <a:gd name="connsiteX12541" fmla="*/ 519320 w 4610101"/>
              <a:gd name="connsiteY12541" fmla="*/ 1323751 h 6557032"/>
              <a:gd name="connsiteX12542" fmla="*/ 515903 w 4610101"/>
              <a:gd name="connsiteY12542" fmla="*/ 1323523 h 6557032"/>
              <a:gd name="connsiteX12543" fmla="*/ 2833481 w 4610101"/>
              <a:gd name="connsiteY12543" fmla="*/ 1321929 h 6557032"/>
              <a:gd name="connsiteX12544" fmla="*/ 2833481 w 4610101"/>
              <a:gd name="connsiteY12544" fmla="*/ 1329217 h 6557032"/>
              <a:gd name="connsiteX12545" fmla="*/ 2833481 w 4610101"/>
              <a:gd name="connsiteY12545" fmla="*/ 1321929 h 6557032"/>
              <a:gd name="connsiteX12546" fmla="*/ 1014951 w 4610101"/>
              <a:gd name="connsiteY12546" fmla="*/ 1321929 h 6557032"/>
              <a:gd name="connsiteX12547" fmla="*/ 1018596 w 4610101"/>
              <a:gd name="connsiteY12547" fmla="*/ 1331039 h 6557032"/>
              <a:gd name="connsiteX12548" fmla="*/ 1027707 w 4610101"/>
              <a:gd name="connsiteY12548" fmla="*/ 1327395 h 6557032"/>
              <a:gd name="connsiteX12549" fmla="*/ 1014951 w 4610101"/>
              <a:gd name="connsiteY12549" fmla="*/ 1321929 h 6557032"/>
              <a:gd name="connsiteX12550" fmla="*/ 528431 w 4610101"/>
              <a:gd name="connsiteY12550" fmla="*/ 1321929 h 6557032"/>
              <a:gd name="connsiteX12551" fmla="*/ 513853 w 4610101"/>
              <a:gd name="connsiteY12551" fmla="*/ 1336506 h 6557032"/>
              <a:gd name="connsiteX12552" fmla="*/ 528431 w 4610101"/>
              <a:gd name="connsiteY12552" fmla="*/ 1321929 h 6557032"/>
              <a:gd name="connsiteX12553" fmla="*/ 3316357 w 4610101"/>
              <a:gd name="connsiteY12553" fmla="*/ 1320106 h 6557032"/>
              <a:gd name="connsiteX12554" fmla="*/ 3316357 w 4610101"/>
              <a:gd name="connsiteY12554" fmla="*/ 1331039 h 6557032"/>
              <a:gd name="connsiteX12555" fmla="*/ 3310890 w 4610101"/>
              <a:gd name="connsiteY12555" fmla="*/ 1334684 h 6557032"/>
              <a:gd name="connsiteX12556" fmla="*/ 3312713 w 4610101"/>
              <a:gd name="connsiteY12556" fmla="*/ 1325573 h 6557032"/>
              <a:gd name="connsiteX12557" fmla="*/ 3287202 w 4610101"/>
              <a:gd name="connsiteY12557" fmla="*/ 1345617 h 6557032"/>
              <a:gd name="connsiteX12558" fmla="*/ 3298135 w 4610101"/>
              <a:gd name="connsiteY12558" fmla="*/ 1340150 h 6557032"/>
              <a:gd name="connsiteX12559" fmla="*/ 3299957 w 4610101"/>
              <a:gd name="connsiteY12559" fmla="*/ 1349261 h 6557032"/>
              <a:gd name="connsiteX12560" fmla="*/ 3303602 w 4610101"/>
              <a:gd name="connsiteY12560" fmla="*/ 1341972 h 6557032"/>
              <a:gd name="connsiteX12561" fmla="*/ 3307246 w 4610101"/>
              <a:gd name="connsiteY12561" fmla="*/ 1345617 h 6557032"/>
              <a:gd name="connsiteX12562" fmla="*/ 3312713 w 4610101"/>
              <a:gd name="connsiteY12562" fmla="*/ 1354728 h 6557032"/>
              <a:gd name="connsiteX12563" fmla="*/ 3320001 w 4610101"/>
              <a:gd name="connsiteY12563" fmla="*/ 1336506 h 6557032"/>
              <a:gd name="connsiteX12564" fmla="*/ 3325468 w 4610101"/>
              <a:gd name="connsiteY12564" fmla="*/ 1340150 h 6557032"/>
              <a:gd name="connsiteX12565" fmla="*/ 3323646 w 4610101"/>
              <a:gd name="connsiteY12565" fmla="*/ 1325573 h 6557032"/>
              <a:gd name="connsiteX12566" fmla="*/ 3316357 w 4610101"/>
              <a:gd name="connsiteY12566" fmla="*/ 1320106 h 6557032"/>
              <a:gd name="connsiteX12567" fmla="*/ 2771527 w 4610101"/>
              <a:gd name="connsiteY12567" fmla="*/ 1320106 h 6557032"/>
              <a:gd name="connsiteX12568" fmla="*/ 2766060 w 4610101"/>
              <a:gd name="connsiteY12568" fmla="*/ 1363838 h 6557032"/>
              <a:gd name="connsiteX12569" fmla="*/ 2771527 w 4610101"/>
              <a:gd name="connsiteY12569" fmla="*/ 1365661 h 6557032"/>
              <a:gd name="connsiteX12570" fmla="*/ 2789749 w 4610101"/>
              <a:gd name="connsiteY12570" fmla="*/ 1327395 h 6557032"/>
              <a:gd name="connsiteX12571" fmla="*/ 2784282 w 4610101"/>
              <a:gd name="connsiteY12571" fmla="*/ 1329217 h 6557032"/>
              <a:gd name="connsiteX12572" fmla="*/ 2771527 w 4610101"/>
              <a:gd name="connsiteY12572" fmla="*/ 1320106 h 6557032"/>
              <a:gd name="connsiteX12573" fmla="*/ 486521 w 4610101"/>
              <a:gd name="connsiteY12573" fmla="*/ 1320106 h 6557032"/>
              <a:gd name="connsiteX12574" fmla="*/ 490165 w 4610101"/>
              <a:gd name="connsiteY12574" fmla="*/ 1329217 h 6557032"/>
              <a:gd name="connsiteX12575" fmla="*/ 486521 w 4610101"/>
              <a:gd name="connsiteY12575" fmla="*/ 1320106 h 6557032"/>
              <a:gd name="connsiteX12576" fmla="*/ 1260945 w 4610101"/>
              <a:gd name="connsiteY12576" fmla="*/ 1318284 h 6557032"/>
              <a:gd name="connsiteX12577" fmla="*/ 1264589 w 4610101"/>
              <a:gd name="connsiteY12577" fmla="*/ 1318284 h 6557032"/>
              <a:gd name="connsiteX12578" fmla="*/ 1258895 w 4610101"/>
              <a:gd name="connsiteY12578" fmla="*/ 1332178 h 6557032"/>
              <a:gd name="connsiteX12579" fmla="*/ 1257817 w 4610101"/>
              <a:gd name="connsiteY12579" fmla="*/ 1342489 h 6557032"/>
              <a:gd name="connsiteX12580" fmla="*/ 1256121 w 4610101"/>
              <a:gd name="connsiteY12580" fmla="*/ 1340793 h 6557032"/>
              <a:gd name="connsiteX12581" fmla="*/ 501098 w 4610101"/>
              <a:gd name="connsiteY12581" fmla="*/ 1318284 h 6557032"/>
              <a:gd name="connsiteX12582" fmla="*/ 501098 w 4610101"/>
              <a:gd name="connsiteY12582" fmla="*/ 1320106 h 6557032"/>
              <a:gd name="connsiteX12583" fmla="*/ 501098 w 4610101"/>
              <a:gd name="connsiteY12583" fmla="*/ 1325573 h 6557032"/>
              <a:gd name="connsiteX12584" fmla="*/ 502920 w 4610101"/>
              <a:gd name="connsiteY12584" fmla="*/ 1321929 h 6557032"/>
              <a:gd name="connsiteX12585" fmla="*/ 501098 w 4610101"/>
              <a:gd name="connsiteY12585" fmla="*/ 1320106 h 6557032"/>
              <a:gd name="connsiteX12586" fmla="*/ 501098 w 4610101"/>
              <a:gd name="connsiteY12586" fmla="*/ 1318284 h 6557032"/>
              <a:gd name="connsiteX12587" fmla="*/ 484700 w 4610101"/>
              <a:gd name="connsiteY12587" fmla="*/ 1318284 h 6557032"/>
              <a:gd name="connsiteX12588" fmla="*/ 479232 w 4610101"/>
              <a:gd name="connsiteY12588" fmla="*/ 1321929 h 6557032"/>
              <a:gd name="connsiteX12589" fmla="*/ 486521 w 4610101"/>
              <a:gd name="connsiteY12589" fmla="*/ 1325573 h 6557032"/>
              <a:gd name="connsiteX12590" fmla="*/ 484700 w 4610101"/>
              <a:gd name="connsiteY12590" fmla="*/ 1318284 h 6557032"/>
              <a:gd name="connsiteX12591" fmla="*/ 458960 w 4610101"/>
              <a:gd name="connsiteY12591" fmla="*/ 1316690 h 6557032"/>
              <a:gd name="connsiteX12592" fmla="*/ 450077 w 4610101"/>
              <a:gd name="connsiteY12592" fmla="*/ 1318284 h 6557032"/>
              <a:gd name="connsiteX12593" fmla="*/ 453722 w 4610101"/>
              <a:gd name="connsiteY12593" fmla="*/ 1321929 h 6557032"/>
              <a:gd name="connsiteX12594" fmla="*/ 442789 w 4610101"/>
              <a:gd name="connsiteY12594" fmla="*/ 1325573 h 6557032"/>
              <a:gd name="connsiteX12595" fmla="*/ 448256 w 4610101"/>
              <a:gd name="connsiteY12595" fmla="*/ 1332862 h 6557032"/>
              <a:gd name="connsiteX12596" fmla="*/ 450077 w 4610101"/>
              <a:gd name="connsiteY12596" fmla="*/ 1329217 h 6557032"/>
              <a:gd name="connsiteX12597" fmla="*/ 466478 w 4610101"/>
              <a:gd name="connsiteY12597" fmla="*/ 1338328 h 6557032"/>
              <a:gd name="connsiteX12598" fmla="*/ 461010 w 4610101"/>
              <a:gd name="connsiteY12598" fmla="*/ 1329217 h 6557032"/>
              <a:gd name="connsiteX12599" fmla="*/ 462832 w 4610101"/>
              <a:gd name="connsiteY12599" fmla="*/ 1332862 h 6557032"/>
              <a:gd name="connsiteX12600" fmla="*/ 453722 w 4610101"/>
              <a:gd name="connsiteY12600" fmla="*/ 1325573 h 6557032"/>
              <a:gd name="connsiteX12601" fmla="*/ 461010 w 4610101"/>
              <a:gd name="connsiteY12601" fmla="*/ 1331039 h 6557032"/>
              <a:gd name="connsiteX12602" fmla="*/ 459188 w 4610101"/>
              <a:gd name="connsiteY12602" fmla="*/ 1325573 h 6557032"/>
              <a:gd name="connsiteX12603" fmla="*/ 470121 w 4610101"/>
              <a:gd name="connsiteY12603" fmla="*/ 1329217 h 6557032"/>
              <a:gd name="connsiteX12604" fmla="*/ 466478 w 4610101"/>
              <a:gd name="connsiteY12604" fmla="*/ 1321929 h 6557032"/>
              <a:gd name="connsiteX12605" fmla="*/ 458960 w 4610101"/>
              <a:gd name="connsiteY12605" fmla="*/ 1316690 h 6557032"/>
              <a:gd name="connsiteX12606" fmla="*/ 3248937 w 4610101"/>
              <a:gd name="connsiteY12606" fmla="*/ 1316462 h 6557032"/>
              <a:gd name="connsiteX12607" fmla="*/ 3256225 w 4610101"/>
              <a:gd name="connsiteY12607" fmla="*/ 1320106 h 6557032"/>
              <a:gd name="connsiteX12608" fmla="*/ 3254403 w 4610101"/>
              <a:gd name="connsiteY12608" fmla="*/ 1329217 h 6557032"/>
              <a:gd name="connsiteX12609" fmla="*/ 3258047 w 4610101"/>
              <a:gd name="connsiteY12609" fmla="*/ 1331039 h 6557032"/>
              <a:gd name="connsiteX12610" fmla="*/ 3258047 w 4610101"/>
              <a:gd name="connsiteY12610" fmla="*/ 1316462 h 6557032"/>
              <a:gd name="connsiteX12611" fmla="*/ 3248937 w 4610101"/>
              <a:gd name="connsiteY12611" fmla="*/ 1316462 h 6557032"/>
              <a:gd name="connsiteX12612" fmla="*/ 2563799 w 4610101"/>
              <a:gd name="connsiteY12612" fmla="*/ 1316462 h 6557032"/>
              <a:gd name="connsiteX12613" fmla="*/ 2558332 w 4610101"/>
              <a:gd name="connsiteY12613" fmla="*/ 1318284 h 6557032"/>
              <a:gd name="connsiteX12614" fmla="*/ 2560155 w 4610101"/>
              <a:gd name="connsiteY12614" fmla="*/ 1325573 h 6557032"/>
              <a:gd name="connsiteX12615" fmla="*/ 829089 w 4610101"/>
              <a:gd name="connsiteY12615" fmla="*/ 1316462 h 6557032"/>
              <a:gd name="connsiteX12616" fmla="*/ 814512 w 4610101"/>
              <a:gd name="connsiteY12616" fmla="*/ 1321929 h 6557032"/>
              <a:gd name="connsiteX12617" fmla="*/ 829089 w 4610101"/>
              <a:gd name="connsiteY12617" fmla="*/ 1316462 h 6557032"/>
              <a:gd name="connsiteX12618" fmla="*/ 801757 w 4610101"/>
              <a:gd name="connsiteY12618" fmla="*/ 1316462 h 6557032"/>
              <a:gd name="connsiteX12619" fmla="*/ 796290 w 4610101"/>
              <a:gd name="connsiteY12619" fmla="*/ 1320106 h 6557032"/>
              <a:gd name="connsiteX12620" fmla="*/ 799935 w 4610101"/>
              <a:gd name="connsiteY12620" fmla="*/ 1321929 h 6557032"/>
              <a:gd name="connsiteX12621" fmla="*/ 801757 w 4610101"/>
              <a:gd name="connsiteY12621" fmla="*/ 1316462 h 6557032"/>
              <a:gd name="connsiteX12622" fmla="*/ 595852 w 4610101"/>
              <a:gd name="connsiteY12622" fmla="*/ 1316462 h 6557032"/>
              <a:gd name="connsiteX12623" fmla="*/ 597119 w 4610101"/>
              <a:gd name="connsiteY12623" fmla="*/ 1320264 h 6557032"/>
              <a:gd name="connsiteX12624" fmla="*/ 595480 w 4610101"/>
              <a:gd name="connsiteY12624" fmla="*/ 1320733 h 6557032"/>
              <a:gd name="connsiteX12625" fmla="*/ 595168 w 4610101"/>
              <a:gd name="connsiteY12625" fmla="*/ 1320562 h 6557032"/>
              <a:gd name="connsiteX12626" fmla="*/ 594883 w 4610101"/>
              <a:gd name="connsiteY12626" fmla="*/ 1320903 h 6557032"/>
              <a:gd name="connsiteX12627" fmla="*/ 594484 w 4610101"/>
              <a:gd name="connsiteY12627" fmla="*/ 1321018 h 6557032"/>
              <a:gd name="connsiteX12628" fmla="*/ 594030 w 4610101"/>
              <a:gd name="connsiteY12628" fmla="*/ 1321929 h 6557032"/>
              <a:gd name="connsiteX12629" fmla="*/ 594883 w 4610101"/>
              <a:gd name="connsiteY12629" fmla="*/ 1320903 h 6557032"/>
              <a:gd name="connsiteX12630" fmla="*/ 595480 w 4610101"/>
              <a:gd name="connsiteY12630" fmla="*/ 1320733 h 6557032"/>
              <a:gd name="connsiteX12631" fmla="*/ 597673 w 4610101"/>
              <a:gd name="connsiteY12631" fmla="*/ 1321929 h 6557032"/>
              <a:gd name="connsiteX12632" fmla="*/ 597119 w 4610101"/>
              <a:gd name="connsiteY12632" fmla="*/ 1320264 h 6557032"/>
              <a:gd name="connsiteX12633" fmla="*/ 597673 w 4610101"/>
              <a:gd name="connsiteY12633" fmla="*/ 1320106 h 6557032"/>
              <a:gd name="connsiteX12634" fmla="*/ 595852 w 4610101"/>
              <a:gd name="connsiteY12634" fmla="*/ 1316462 h 6557032"/>
              <a:gd name="connsiteX12635" fmla="*/ 358969 w 4610101"/>
              <a:gd name="connsiteY12635" fmla="*/ 1316462 h 6557032"/>
              <a:gd name="connsiteX12636" fmla="*/ 348037 w 4610101"/>
              <a:gd name="connsiteY12636" fmla="*/ 1320106 h 6557032"/>
              <a:gd name="connsiteX12637" fmla="*/ 351680 w 4610101"/>
              <a:gd name="connsiteY12637" fmla="*/ 1323751 h 6557032"/>
              <a:gd name="connsiteX12638" fmla="*/ 358969 w 4610101"/>
              <a:gd name="connsiteY12638" fmla="*/ 1316462 h 6557032"/>
              <a:gd name="connsiteX12639" fmla="*/ 1141330 w 4610101"/>
              <a:gd name="connsiteY12639" fmla="*/ 1315998 h 6557032"/>
              <a:gd name="connsiteX12640" fmla="*/ 1141820 w 4610101"/>
              <a:gd name="connsiteY12640" fmla="*/ 1316690 h 6557032"/>
              <a:gd name="connsiteX12641" fmla="*/ 1141774 w 4610101"/>
              <a:gd name="connsiteY12641" fmla="*/ 1316860 h 6557032"/>
              <a:gd name="connsiteX12642" fmla="*/ 439145 w 4610101"/>
              <a:gd name="connsiteY12642" fmla="*/ 1314677 h 6557032"/>
              <a:gd name="connsiteX12643" fmla="*/ 437322 w 4610101"/>
              <a:gd name="connsiteY12643" fmla="*/ 1318322 h 6557032"/>
              <a:gd name="connsiteX12644" fmla="*/ 435500 w 4610101"/>
              <a:gd name="connsiteY12644" fmla="*/ 1316499 h 6557032"/>
              <a:gd name="connsiteX12645" fmla="*/ 433677 w 4610101"/>
              <a:gd name="connsiteY12645" fmla="*/ 1314677 h 6557032"/>
              <a:gd name="connsiteX12646" fmla="*/ 435500 w 4610101"/>
              <a:gd name="connsiteY12646" fmla="*/ 1316499 h 6557032"/>
              <a:gd name="connsiteX12647" fmla="*/ 435044 w 4610101"/>
              <a:gd name="connsiteY12647" fmla="*/ 1316727 h 6557032"/>
              <a:gd name="connsiteX12648" fmla="*/ 433677 w 4610101"/>
              <a:gd name="connsiteY12648" fmla="*/ 1314677 h 6557032"/>
              <a:gd name="connsiteX12649" fmla="*/ 3385600 w 4610101"/>
              <a:gd name="connsiteY12649" fmla="*/ 1314640 h 6557032"/>
              <a:gd name="connsiteX12650" fmla="*/ 3381955 w 4610101"/>
              <a:gd name="connsiteY12650" fmla="*/ 1316462 h 6557032"/>
              <a:gd name="connsiteX12651" fmla="*/ 3381955 w 4610101"/>
              <a:gd name="connsiteY12651" fmla="*/ 1336506 h 6557032"/>
              <a:gd name="connsiteX12652" fmla="*/ 3389244 w 4610101"/>
              <a:gd name="connsiteY12652" fmla="*/ 1323751 h 6557032"/>
              <a:gd name="connsiteX12653" fmla="*/ 3385600 w 4610101"/>
              <a:gd name="connsiteY12653" fmla="*/ 1314640 h 6557032"/>
              <a:gd name="connsiteX12654" fmla="*/ 3177872 w 4610101"/>
              <a:gd name="connsiteY12654" fmla="*/ 1314640 h 6557032"/>
              <a:gd name="connsiteX12655" fmla="*/ 3176050 w 4610101"/>
              <a:gd name="connsiteY12655" fmla="*/ 1320106 h 6557032"/>
              <a:gd name="connsiteX12656" fmla="*/ 3183338 w 4610101"/>
              <a:gd name="connsiteY12656" fmla="*/ 1321929 h 6557032"/>
              <a:gd name="connsiteX12657" fmla="*/ 3190627 w 4610101"/>
              <a:gd name="connsiteY12657" fmla="*/ 1323751 h 6557032"/>
              <a:gd name="connsiteX12658" fmla="*/ 3183338 w 4610101"/>
              <a:gd name="connsiteY12658" fmla="*/ 1314640 h 6557032"/>
              <a:gd name="connsiteX12659" fmla="*/ 3181516 w 4610101"/>
              <a:gd name="connsiteY12659" fmla="*/ 1314640 h 6557032"/>
              <a:gd name="connsiteX12660" fmla="*/ 3183338 w 4610101"/>
              <a:gd name="connsiteY12660" fmla="*/ 1321929 h 6557032"/>
              <a:gd name="connsiteX12661" fmla="*/ 3177872 w 4610101"/>
              <a:gd name="connsiteY12661" fmla="*/ 1314640 h 6557032"/>
              <a:gd name="connsiteX12662" fmla="*/ 2838947 w 4610101"/>
              <a:gd name="connsiteY12662" fmla="*/ 1314640 h 6557032"/>
              <a:gd name="connsiteX12663" fmla="*/ 2835303 w 4610101"/>
              <a:gd name="connsiteY12663" fmla="*/ 1332862 h 6557032"/>
              <a:gd name="connsiteX12664" fmla="*/ 2858991 w 4610101"/>
              <a:gd name="connsiteY12664" fmla="*/ 1354728 h 6557032"/>
              <a:gd name="connsiteX12665" fmla="*/ 2848058 w 4610101"/>
              <a:gd name="connsiteY12665" fmla="*/ 1325573 h 6557032"/>
              <a:gd name="connsiteX12666" fmla="*/ 2838947 w 4610101"/>
              <a:gd name="connsiteY12666" fmla="*/ 1314640 h 6557032"/>
              <a:gd name="connsiteX12667" fmla="*/ 2623931 w 4610101"/>
              <a:gd name="connsiteY12667" fmla="*/ 1314640 h 6557032"/>
              <a:gd name="connsiteX12668" fmla="*/ 2616642 w 4610101"/>
              <a:gd name="connsiteY12668" fmla="*/ 1320106 h 6557032"/>
              <a:gd name="connsiteX12669" fmla="*/ 2614820 w 4610101"/>
              <a:gd name="connsiteY12669" fmla="*/ 1318284 h 6557032"/>
              <a:gd name="connsiteX12670" fmla="*/ 2594776 w 4610101"/>
              <a:gd name="connsiteY12670" fmla="*/ 1338328 h 6557032"/>
              <a:gd name="connsiteX12671" fmla="*/ 2602065 w 4610101"/>
              <a:gd name="connsiteY12671" fmla="*/ 1349261 h 6557032"/>
              <a:gd name="connsiteX12672" fmla="*/ 2623931 w 4610101"/>
              <a:gd name="connsiteY12672" fmla="*/ 1323751 h 6557032"/>
              <a:gd name="connsiteX12673" fmla="*/ 2638508 w 4610101"/>
              <a:gd name="connsiteY12673" fmla="*/ 1331039 h 6557032"/>
              <a:gd name="connsiteX12674" fmla="*/ 2649441 w 4610101"/>
              <a:gd name="connsiteY12674" fmla="*/ 1327395 h 6557032"/>
              <a:gd name="connsiteX12675" fmla="*/ 2645797 w 4610101"/>
              <a:gd name="connsiteY12675" fmla="*/ 1320106 h 6557032"/>
              <a:gd name="connsiteX12676" fmla="*/ 2625753 w 4610101"/>
              <a:gd name="connsiteY12676" fmla="*/ 1318284 h 6557032"/>
              <a:gd name="connsiteX12677" fmla="*/ 2623931 w 4610101"/>
              <a:gd name="connsiteY12677" fmla="*/ 1314640 h 6557032"/>
              <a:gd name="connsiteX12678" fmla="*/ 883755 w 4610101"/>
              <a:gd name="connsiteY12678" fmla="*/ 1314640 h 6557032"/>
              <a:gd name="connsiteX12679" fmla="*/ 876466 w 4610101"/>
              <a:gd name="connsiteY12679" fmla="*/ 1320106 h 6557032"/>
              <a:gd name="connsiteX12680" fmla="*/ 880111 w 4610101"/>
              <a:gd name="connsiteY12680" fmla="*/ 1321929 h 6557032"/>
              <a:gd name="connsiteX12681" fmla="*/ 881933 w 4610101"/>
              <a:gd name="connsiteY12681" fmla="*/ 1318284 h 6557032"/>
              <a:gd name="connsiteX12682" fmla="*/ 887399 w 4610101"/>
              <a:gd name="connsiteY12682" fmla="*/ 1318284 h 6557032"/>
              <a:gd name="connsiteX12683" fmla="*/ 883755 w 4610101"/>
              <a:gd name="connsiteY12683" fmla="*/ 1314640 h 6557032"/>
              <a:gd name="connsiteX12684" fmla="*/ 557586 w 4610101"/>
              <a:gd name="connsiteY12684" fmla="*/ 1314640 h 6557032"/>
              <a:gd name="connsiteX12685" fmla="*/ 552802 w 4610101"/>
              <a:gd name="connsiteY12685" fmla="*/ 1323523 h 6557032"/>
              <a:gd name="connsiteX12686" fmla="*/ 554398 w 4610101"/>
              <a:gd name="connsiteY12686" fmla="*/ 1326029 h 6557032"/>
              <a:gd name="connsiteX12687" fmla="*/ 552119 w 4610101"/>
              <a:gd name="connsiteY12687" fmla="*/ 1323751 h 6557032"/>
              <a:gd name="connsiteX12688" fmla="*/ 546653 w 4610101"/>
              <a:gd name="connsiteY12688" fmla="*/ 1332862 h 6557032"/>
              <a:gd name="connsiteX12689" fmla="*/ 551436 w 4610101"/>
              <a:gd name="connsiteY12689" fmla="*/ 1335139 h 6557032"/>
              <a:gd name="connsiteX12690" fmla="*/ 556867 w 4610101"/>
              <a:gd name="connsiteY12690" fmla="*/ 1329909 h 6557032"/>
              <a:gd name="connsiteX12691" fmla="*/ 557586 w 4610101"/>
              <a:gd name="connsiteY12691" fmla="*/ 1331039 h 6557032"/>
              <a:gd name="connsiteX12692" fmla="*/ 561230 w 4610101"/>
              <a:gd name="connsiteY12692" fmla="*/ 1318284 h 6557032"/>
              <a:gd name="connsiteX12693" fmla="*/ 557586 w 4610101"/>
              <a:gd name="connsiteY12693" fmla="*/ 1314640 h 6557032"/>
              <a:gd name="connsiteX12694" fmla="*/ 3057608 w 4610101"/>
              <a:gd name="connsiteY12694" fmla="*/ 1312818 h 6557032"/>
              <a:gd name="connsiteX12695" fmla="*/ 3055786 w 4610101"/>
              <a:gd name="connsiteY12695" fmla="*/ 1323751 h 6557032"/>
              <a:gd name="connsiteX12696" fmla="*/ 3057608 w 4610101"/>
              <a:gd name="connsiteY12696" fmla="*/ 1312818 h 6557032"/>
              <a:gd name="connsiteX12697" fmla="*/ 1929683 w 4610101"/>
              <a:gd name="connsiteY12697" fmla="*/ 1312818 h 6557032"/>
              <a:gd name="connsiteX12698" fmla="*/ 1926038 w 4610101"/>
              <a:gd name="connsiteY12698" fmla="*/ 1316462 h 6557032"/>
              <a:gd name="connsiteX12699" fmla="*/ 1936972 w 4610101"/>
              <a:gd name="connsiteY12699" fmla="*/ 1321929 h 6557032"/>
              <a:gd name="connsiteX12700" fmla="*/ 1938793 w 4610101"/>
              <a:gd name="connsiteY12700" fmla="*/ 1320106 h 6557032"/>
              <a:gd name="connsiteX12701" fmla="*/ 1929683 w 4610101"/>
              <a:gd name="connsiteY12701" fmla="*/ 1312818 h 6557032"/>
              <a:gd name="connsiteX12702" fmla="*/ 1222679 w 4610101"/>
              <a:gd name="connsiteY12702" fmla="*/ 1312818 h 6557032"/>
              <a:gd name="connsiteX12703" fmla="*/ 1217213 w 4610101"/>
              <a:gd name="connsiteY12703" fmla="*/ 1316462 h 6557032"/>
              <a:gd name="connsiteX12704" fmla="*/ 1220858 w 4610101"/>
              <a:gd name="connsiteY12704" fmla="*/ 1316462 h 6557032"/>
              <a:gd name="connsiteX12705" fmla="*/ 1213568 w 4610101"/>
              <a:gd name="connsiteY12705" fmla="*/ 1318284 h 6557032"/>
              <a:gd name="connsiteX12706" fmla="*/ 1215390 w 4610101"/>
              <a:gd name="connsiteY12706" fmla="*/ 1321929 h 6557032"/>
              <a:gd name="connsiteX12707" fmla="*/ 1215390 w 4610101"/>
              <a:gd name="connsiteY12707" fmla="*/ 1323751 h 6557032"/>
              <a:gd name="connsiteX12708" fmla="*/ 1219036 w 4610101"/>
              <a:gd name="connsiteY12708" fmla="*/ 1321929 h 6557032"/>
              <a:gd name="connsiteX12709" fmla="*/ 1222186 w 4610101"/>
              <a:gd name="connsiteY12709" fmla="*/ 1329808 h 6557032"/>
              <a:gd name="connsiteX12710" fmla="*/ 1208102 w 4610101"/>
              <a:gd name="connsiteY12710" fmla="*/ 1318284 h 6557032"/>
              <a:gd name="connsiteX12711" fmla="*/ 1188058 w 4610101"/>
              <a:gd name="connsiteY12711" fmla="*/ 1316462 h 6557032"/>
              <a:gd name="connsiteX12712" fmla="*/ 1228146 w 4610101"/>
              <a:gd name="connsiteY12712" fmla="*/ 1340150 h 6557032"/>
              <a:gd name="connsiteX12713" fmla="*/ 1228146 w 4610101"/>
              <a:gd name="connsiteY12713" fmla="*/ 1334684 h 6557032"/>
              <a:gd name="connsiteX12714" fmla="*/ 1222323 w 4610101"/>
              <a:gd name="connsiteY12714" fmla="*/ 1329920 h 6557032"/>
              <a:gd name="connsiteX12715" fmla="*/ 1228146 w 4610101"/>
              <a:gd name="connsiteY12715" fmla="*/ 1331039 h 6557032"/>
              <a:gd name="connsiteX12716" fmla="*/ 1222679 w 4610101"/>
              <a:gd name="connsiteY12716" fmla="*/ 1312818 h 6557032"/>
              <a:gd name="connsiteX12717" fmla="*/ 809046 w 4610101"/>
              <a:gd name="connsiteY12717" fmla="*/ 1312818 h 6557032"/>
              <a:gd name="connsiteX12718" fmla="*/ 810868 w 4610101"/>
              <a:gd name="connsiteY12718" fmla="*/ 1318284 h 6557032"/>
              <a:gd name="connsiteX12719" fmla="*/ 812690 w 4610101"/>
              <a:gd name="connsiteY12719" fmla="*/ 1314640 h 6557032"/>
              <a:gd name="connsiteX12720" fmla="*/ 809046 w 4610101"/>
              <a:gd name="connsiteY12720" fmla="*/ 1312818 h 6557032"/>
              <a:gd name="connsiteX12721" fmla="*/ 736159 w 4610101"/>
              <a:gd name="connsiteY12721" fmla="*/ 1312818 h 6557032"/>
              <a:gd name="connsiteX12722" fmla="*/ 732515 w 4610101"/>
              <a:gd name="connsiteY12722" fmla="*/ 1316462 h 6557032"/>
              <a:gd name="connsiteX12723" fmla="*/ 737981 w 4610101"/>
              <a:gd name="connsiteY12723" fmla="*/ 1318284 h 6557032"/>
              <a:gd name="connsiteX12724" fmla="*/ 736159 w 4610101"/>
              <a:gd name="connsiteY12724" fmla="*/ 1312818 h 6557032"/>
              <a:gd name="connsiteX12725" fmla="*/ 526609 w 4610101"/>
              <a:gd name="connsiteY12725" fmla="*/ 1312818 h 6557032"/>
              <a:gd name="connsiteX12726" fmla="*/ 515676 w 4610101"/>
              <a:gd name="connsiteY12726" fmla="*/ 1320106 h 6557032"/>
              <a:gd name="connsiteX12727" fmla="*/ 526609 w 4610101"/>
              <a:gd name="connsiteY12727" fmla="*/ 1312818 h 6557032"/>
              <a:gd name="connsiteX12728" fmla="*/ 499276 w 4610101"/>
              <a:gd name="connsiteY12728" fmla="*/ 1312818 h 6557032"/>
              <a:gd name="connsiteX12729" fmla="*/ 495632 w 4610101"/>
              <a:gd name="connsiteY12729" fmla="*/ 1314640 h 6557032"/>
              <a:gd name="connsiteX12730" fmla="*/ 501098 w 4610101"/>
              <a:gd name="connsiteY12730" fmla="*/ 1314640 h 6557032"/>
              <a:gd name="connsiteX12731" fmla="*/ 499276 w 4610101"/>
              <a:gd name="connsiteY12731" fmla="*/ 1312818 h 6557032"/>
              <a:gd name="connsiteX12732" fmla="*/ 1128653 w 4610101"/>
              <a:gd name="connsiteY12732" fmla="*/ 1312695 h 6557032"/>
              <a:gd name="connsiteX12733" fmla="*/ 1131570 w 4610101"/>
              <a:gd name="connsiteY12733" fmla="*/ 1314640 h 6557032"/>
              <a:gd name="connsiteX12734" fmla="*/ 1134759 w 4610101"/>
              <a:gd name="connsiteY12734" fmla="*/ 1328079 h 6557032"/>
              <a:gd name="connsiteX12735" fmla="*/ 1135104 w 4610101"/>
              <a:gd name="connsiteY12735" fmla="*/ 1337217 h 6557032"/>
              <a:gd name="connsiteX12736" fmla="*/ 1132253 w 4610101"/>
              <a:gd name="connsiteY12736" fmla="*/ 1330128 h 6557032"/>
              <a:gd name="connsiteX12737" fmla="*/ 3267327 w 4610101"/>
              <a:gd name="connsiteY12737" fmla="*/ 1312450 h 6557032"/>
              <a:gd name="connsiteX12738" fmla="*/ 3268980 w 4610101"/>
              <a:gd name="connsiteY12738" fmla="*/ 1312818 h 6557032"/>
              <a:gd name="connsiteX12739" fmla="*/ 3267614 w 4610101"/>
              <a:gd name="connsiteY12739" fmla="*/ 1313957 h 6557032"/>
              <a:gd name="connsiteX12740" fmla="*/ 3267986 w 4610101"/>
              <a:gd name="connsiteY12740" fmla="*/ 1314640 h 6557032"/>
              <a:gd name="connsiteX12741" fmla="*/ 3267158 w 4610101"/>
              <a:gd name="connsiteY12741" fmla="*/ 1314640 h 6557032"/>
              <a:gd name="connsiteX12742" fmla="*/ 333686 w 4610101"/>
              <a:gd name="connsiteY12742" fmla="*/ 1311906 h 6557032"/>
              <a:gd name="connsiteX12743" fmla="*/ 324347 w 4610101"/>
              <a:gd name="connsiteY12743" fmla="*/ 1316462 h 6557032"/>
              <a:gd name="connsiteX12744" fmla="*/ 326169 w 4610101"/>
              <a:gd name="connsiteY12744" fmla="*/ 1314640 h 6557032"/>
              <a:gd name="connsiteX12745" fmla="*/ 298837 w 4610101"/>
              <a:gd name="connsiteY12745" fmla="*/ 1332862 h 6557032"/>
              <a:gd name="connsiteX12746" fmla="*/ 280615 w 4610101"/>
              <a:gd name="connsiteY12746" fmla="*/ 1351083 h 6557032"/>
              <a:gd name="connsiteX12747" fmla="*/ 310225 w 4610101"/>
              <a:gd name="connsiteY12747" fmla="*/ 1340834 h 6557032"/>
              <a:gd name="connsiteX12748" fmla="*/ 327689 w 4610101"/>
              <a:gd name="connsiteY12748" fmla="*/ 1329734 h 6557032"/>
              <a:gd name="connsiteX12749" fmla="*/ 315236 w 4610101"/>
              <a:gd name="connsiteY12749" fmla="*/ 1338328 h 6557032"/>
              <a:gd name="connsiteX12750" fmla="*/ 340747 w 4610101"/>
              <a:gd name="connsiteY12750" fmla="*/ 1329217 h 6557032"/>
              <a:gd name="connsiteX12751" fmla="*/ 346213 w 4610101"/>
              <a:gd name="connsiteY12751" fmla="*/ 1320106 h 6557032"/>
              <a:gd name="connsiteX12752" fmla="*/ 344391 w 4610101"/>
              <a:gd name="connsiteY12752" fmla="*/ 1325573 h 6557032"/>
              <a:gd name="connsiteX12753" fmla="*/ 349858 w 4610101"/>
              <a:gd name="connsiteY12753" fmla="*/ 1323751 h 6557032"/>
              <a:gd name="connsiteX12754" fmla="*/ 346213 w 4610101"/>
              <a:gd name="connsiteY12754" fmla="*/ 1320106 h 6557032"/>
              <a:gd name="connsiteX12755" fmla="*/ 332686 w 4610101"/>
              <a:gd name="connsiteY12755" fmla="*/ 1326558 h 6557032"/>
              <a:gd name="connsiteX12756" fmla="*/ 337102 w 4610101"/>
              <a:gd name="connsiteY12756" fmla="*/ 1323751 h 6557032"/>
              <a:gd name="connsiteX12757" fmla="*/ 322525 w 4610101"/>
              <a:gd name="connsiteY12757" fmla="*/ 1321929 h 6557032"/>
              <a:gd name="connsiteX12758" fmla="*/ 344391 w 4610101"/>
              <a:gd name="connsiteY12758" fmla="*/ 1312818 h 6557032"/>
              <a:gd name="connsiteX12759" fmla="*/ 333686 w 4610101"/>
              <a:gd name="connsiteY12759" fmla="*/ 1311906 h 6557032"/>
              <a:gd name="connsiteX12760" fmla="*/ 3255542 w 4610101"/>
              <a:gd name="connsiteY12760" fmla="*/ 1310995 h 6557032"/>
              <a:gd name="connsiteX12761" fmla="*/ 3248937 w 4610101"/>
              <a:gd name="connsiteY12761" fmla="*/ 1312818 h 6557032"/>
              <a:gd name="connsiteX12762" fmla="*/ 3258047 w 4610101"/>
              <a:gd name="connsiteY12762" fmla="*/ 1314640 h 6557032"/>
              <a:gd name="connsiteX12763" fmla="*/ 3255542 w 4610101"/>
              <a:gd name="connsiteY12763" fmla="*/ 1310995 h 6557032"/>
              <a:gd name="connsiteX12764" fmla="*/ 3048497 w 4610101"/>
              <a:gd name="connsiteY12764" fmla="*/ 1310995 h 6557032"/>
              <a:gd name="connsiteX12765" fmla="*/ 3044853 w 4610101"/>
              <a:gd name="connsiteY12765" fmla="*/ 1321929 h 6557032"/>
              <a:gd name="connsiteX12766" fmla="*/ 3053964 w 4610101"/>
              <a:gd name="connsiteY12766" fmla="*/ 1323751 h 6557032"/>
              <a:gd name="connsiteX12767" fmla="*/ 3048497 w 4610101"/>
              <a:gd name="connsiteY12767" fmla="*/ 1310995 h 6557032"/>
              <a:gd name="connsiteX12768" fmla="*/ 1162547 w 4610101"/>
              <a:gd name="connsiteY12768" fmla="*/ 1310995 h 6557032"/>
              <a:gd name="connsiteX12769" fmla="*/ 1158903 w 4610101"/>
              <a:gd name="connsiteY12769" fmla="*/ 1312818 h 6557032"/>
              <a:gd name="connsiteX12770" fmla="*/ 1166192 w 4610101"/>
              <a:gd name="connsiteY12770" fmla="*/ 1316462 h 6557032"/>
              <a:gd name="connsiteX12771" fmla="*/ 1169836 w 4610101"/>
              <a:gd name="connsiteY12771" fmla="*/ 1320106 h 6557032"/>
              <a:gd name="connsiteX12772" fmla="*/ 1173481 w 4610101"/>
              <a:gd name="connsiteY12772" fmla="*/ 1320106 h 6557032"/>
              <a:gd name="connsiteX12773" fmla="*/ 1166192 w 4610101"/>
              <a:gd name="connsiteY12773" fmla="*/ 1316462 h 6557032"/>
              <a:gd name="connsiteX12774" fmla="*/ 1162547 w 4610101"/>
              <a:gd name="connsiteY12774" fmla="*/ 1310995 h 6557032"/>
              <a:gd name="connsiteX12775" fmla="*/ 646872 w 4610101"/>
              <a:gd name="connsiteY12775" fmla="*/ 1310995 h 6557032"/>
              <a:gd name="connsiteX12776" fmla="*/ 652339 w 4610101"/>
              <a:gd name="connsiteY12776" fmla="*/ 1323751 h 6557032"/>
              <a:gd name="connsiteX12777" fmla="*/ 652339 w 4610101"/>
              <a:gd name="connsiteY12777" fmla="*/ 1321929 h 6557032"/>
              <a:gd name="connsiteX12778" fmla="*/ 659627 w 4610101"/>
              <a:gd name="connsiteY12778" fmla="*/ 1327395 h 6557032"/>
              <a:gd name="connsiteX12779" fmla="*/ 663272 w 4610101"/>
              <a:gd name="connsiteY12779" fmla="*/ 1323751 h 6557032"/>
              <a:gd name="connsiteX12780" fmla="*/ 655983 w 4610101"/>
              <a:gd name="connsiteY12780" fmla="*/ 1314640 h 6557032"/>
              <a:gd name="connsiteX12781" fmla="*/ 652339 w 4610101"/>
              <a:gd name="connsiteY12781" fmla="*/ 1321929 h 6557032"/>
              <a:gd name="connsiteX12782" fmla="*/ 650516 w 4610101"/>
              <a:gd name="connsiteY12782" fmla="*/ 1310995 h 6557032"/>
              <a:gd name="connsiteX12783" fmla="*/ 646872 w 4610101"/>
              <a:gd name="connsiteY12783" fmla="*/ 1310995 h 6557032"/>
              <a:gd name="connsiteX12784" fmla="*/ 395412 w 4610101"/>
              <a:gd name="connsiteY12784" fmla="*/ 1310995 h 6557032"/>
              <a:gd name="connsiteX12785" fmla="*/ 384479 w 4610101"/>
              <a:gd name="connsiteY12785" fmla="*/ 1314640 h 6557032"/>
              <a:gd name="connsiteX12786" fmla="*/ 384479 w 4610101"/>
              <a:gd name="connsiteY12786" fmla="*/ 1323751 h 6557032"/>
              <a:gd name="connsiteX12787" fmla="*/ 391768 w 4610101"/>
              <a:gd name="connsiteY12787" fmla="*/ 1325573 h 6557032"/>
              <a:gd name="connsiteX12788" fmla="*/ 388123 w 4610101"/>
              <a:gd name="connsiteY12788" fmla="*/ 1321929 h 6557032"/>
              <a:gd name="connsiteX12789" fmla="*/ 395412 w 4610101"/>
              <a:gd name="connsiteY12789" fmla="*/ 1321929 h 6557032"/>
              <a:gd name="connsiteX12790" fmla="*/ 395412 w 4610101"/>
              <a:gd name="connsiteY12790" fmla="*/ 1323751 h 6557032"/>
              <a:gd name="connsiteX12791" fmla="*/ 408167 w 4610101"/>
              <a:gd name="connsiteY12791" fmla="*/ 1312818 h 6557032"/>
              <a:gd name="connsiteX12792" fmla="*/ 393590 w 4610101"/>
              <a:gd name="connsiteY12792" fmla="*/ 1314640 h 6557032"/>
              <a:gd name="connsiteX12793" fmla="*/ 395412 w 4610101"/>
              <a:gd name="connsiteY12793" fmla="*/ 1310995 h 6557032"/>
              <a:gd name="connsiteX12794" fmla="*/ 3125029 w 4610101"/>
              <a:gd name="connsiteY12794" fmla="*/ 1309173 h 6557032"/>
              <a:gd name="connsiteX12795" fmla="*/ 3141428 w 4610101"/>
              <a:gd name="connsiteY12795" fmla="*/ 1316462 h 6557032"/>
              <a:gd name="connsiteX12796" fmla="*/ 3125029 w 4610101"/>
              <a:gd name="connsiteY12796" fmla="*/ 1309173 h 6557032"/>
              <a:gd name="connsiteX12797" fmla="*/ 3068541 w 4610101"/>
              <a:gd name="connsiteY12797" fmla="*/ 1309173 h 6557032"/>
              <a:gd name="connsiteX12798" fmla="*/ 3066719 w 4610101"/>
              <a:gd name="connsiteY12798" fmla="*/ 1318284 h 6557032"/>
              <a:gd name="connsiteX12799" fmla="*/ 3075830 w 4610101"/>
              <a:gd name="connsiteY12799" fmla="*/ 1318284 h 6557032"/>
              <a:gd name="connsiteX12800" fmla="*/ 3068541 w 4610101"/>
              <a:gd name="connsiteY12800" fmla="*/ 1309173 h 6557032"/>
              <a:gd name="connsiteX12801" fmla="*/ 1184414 w 4610101"/>
              <a:gd name="connsiteY12801" fmla="*/ 1309173 h 6557032"/>
              <a:gd name="connsiteX12802" fmla="*/ 1186236 w 4610101"/>
              <a:gd name="connsiteY12802" fmla="*/ 1314640 h 6557032"/>
              <a:gd name="connsiteX12803" fmla="*/ 1189880 w 4610101"/>
              <a:gd name="connsiteY12803" fmla="*/ 1312818 h 6557032"/>
              <a:gd name="connsiteX12804" fmla="*/ 1184414 w 4610101"/>
              <a:gd name="connsiteY12804" fmla="*/ 1309173 h 6557032"/>
              <a:gd name="connsiteX12805" fmla="*/ 1178947 w 4610101"/>
              <a:gd name="connsiteY12805" fmla="*/ 1309173 h 6557032"/>
              <a:gd name="connsiteX12806" fmla="*/ 1173481 w 4610101"/>
              <a:gd name="connsiteY12806" fmla="*/ 1312818 h 6557032"/>
              <a:gd name="connsiteX12807" fmla="*/ 1182592 w 4610101"/>
              <a:gd name="connsiteY12807" fmla="*/ 1314640 h 6557032"/>
              <a:gd name="connsiteX12808" fmla="*/ 1178947 w 4610101"/>
              <a:gd name="connsiteY12808" fmla="*/ 1309173 h 6557032"/>
              <a:gd name="connsiteX12809" fmla="*/ 661449 w 4610101"/>
              <a:gd name="connsiteY12809" fmla="*/ 1309173 h 6557032"/>
              <a:gd name="connsiteX12810" fmla="*/ 665094 w 4610101"/>
              <a:gd name="connsiteY12810" fmla="*/ 1314640 h 6557032"/>
              <a:gd name="connsiteX12811" fmla="*/ 665094 w 4610101"/>
              <a:gd name="connsiteY12811" fmla="*/ 1309173 h 6557032"/>
              <a:gd name="connsiteX12812" fmla="*/ 661449 w 4610101"/>
              <a:gd name="connsiteY12812" fmla="*/ 1309173 h 6557032"/>
              <a:gd name="connsiteX12813" fmla="*/ 606784 w 4610101"/>
              <a:gd name="connsiteY12813" fmla="*/ 1309173 h 6557032"/>
              <a:gd name="connsiteX12814" fmla="*/ 604963 w 4610101"/>
              <a:gd name="connsiteY12814" fmla="*/ 1310995 h 6557032"/>
              <a:gd name="connsiteX12815" fmla="*/ 599496 w 4610101"/>
              <a:gd name="connsiteY12815" fmla="*/ 1312818 h 6557032"/>
              <a:gd name="connsiteX12816" fmla="*/ 603140 w 4610101"/>
              <a:gd name="connsiteY12816" fmla="*/ 1325573 h 6557032"/>
              <a:gd name="connsiteX12817" fmla="*/ 610429 w 4610101"/>
              <a:gd name="connsiteY12817" fmla="*/ 1331039 h 6557032"/>
              <a:gd name="connsiteX12818" fmla="*/ 608606 w 4610101"/>
              <a:gd name="connsiteY12818" fmla="*/ 1327395 h 6557032"/>
              <a:gd name="connsiteX12819" fmla="*/ 612250 w 4610101"/>
              <a:gd name="connsiteY12819" fmla="*/ 1323751 h 6557032"/>
              <a:gd name="connsiteX12820" fmla="*/ 610429 w 4610101"/>
              <a:gd name="connsiteY12820" fmla="*/ 1327395 h 6557032"/>
              <a:gd name="connsiteX12821" fmla="*/ 614074 w 4610101"/>
              <a:gd name="connsiteY12821" fmla="*/ 1325573 h 6557032"/>
              <a:gd name="connsiteX12822" fmla="*/ 614074 w 4610101"/>
              <a:gd name="connsiteY12822" fmla="*/ 1320106 h 6557032"/>
              <a:gd name="connsiteX12823" fmla="*/ 612934 w 4610101"/>
              <a:gd name="connsiteY12823" fmla="*/ 1322384 h 6557032"/>
              <a:gd name="connsiteX12824" fmla="*/ 612251 w 4610101"/>
              <a:gd name="connsiteY12824" fmla="*/ 1323751 h 6557032"/>
              <a:gd name="connsiteX12825" fmla="*/ 608606 w 4610101"/>
              <a:gd name="connsiteY12825" fmla="*/ 1314640 h 6557032"/>
              <a:gd name="connsiteX12826" fmla="*/ 606784 w 4610101"/>
              <a:gd name="connsiteY12826" fmla="*/ 1309173 h 6557032"/>
              <a:gd name="connsiteX12827" fmla="*/ 588562 w 4610101"/>
              <a:gd name="connsiteY12827" fmla="*/ 1309173 h 6557032"/>
              <a:gd name="connsiteX12828" fmla="*/ 588562 w 4610101"/>
              <a:gd name="connsiteY12828" fmla="*/ 1314640 h 6557032"/>
              <a:gd name="connsiteX12829" fmla="*/ 590385 w 4610101"/>
              <a:gd name="connsiteY12829" fmla="*/ 1318284 h 6557032"/>
              <a:gd name="connsiteX12830" fmla="*/ 590385 w 4610101"/>
              <a:gd name="connsiteY12830" fmla="*/ 1314640 h 6557032"/>
              <a:gd name="connsiteX12831" fmla="*/ 594030 w 4610101"/>
              <a:gd name="connsiteY12831" fmla="*/ 1310995 h 6557032"/>
              <a:gd name="connsiteX12832" fmla="*/ 588562 w 4610101"/>
              <a:gd name="connsiteY12832" fmla="*/ 1309173 h 6557032"/>
              <a:gd name="connsiteX12833" fmla="*/ 575808 w 4610101"/>
              <a:gd name="connsiteY12833" fmla="*/ 1309173 h 6557032"/>
              <a:gd name="connsiteX12834" fmla="*/ 579452 w 4610101"/>
              <a:gd name="connsiteY12834" fmla="*/ 1310995 h 6557032"/>
              <a:gd name="connsiteX12835" fmla="*/ 575808 w 4610101"/>
              <a:gd name="connsiteY12835" fmla="*/ 1309173 h 6557032"/>
              <a:gd name="connsiteX12836" fmla="*/ 530253 w 4610101"/>
              <a:gd name="connsiteY12836" fmla="*/ 1309173 h 6557032"/>
              <a:gd name="connsiteX12837" fmla="*/ 526609 w 4610101"/>
              <a:gd name="connsiteY12837" fmla="*/ 1316462 h 6557032"/>
              <a:gd name="connsiteX12838" fmla="*/ 530253 w 4610101"/>
              <a:gd name="connsiteY12838" fmla="*/ 1309173 h 6557032"/>
              <a:gd name="connsiteX12839" fmla="*/ 461010 w 4610101"/>
              <a:gd name="connsiteY12839" fmla="*/ 1309173 h 6557032"/>
              <a:gd name="connsiteX12840" fmla="*/ 462832 w 4610101"/>
              <a:gd name="connsiteY12840" fmla="*/ 1318284 h 6557032"/>
              <a:gd name="connsiteX12841" fmla="*/ 461010 w 4610101"/>
              <a:gd name="connsiteY12841" fmla="*/ 1309173 h 6557032"/>
              <a:gd name="connsiteX12842" fmla="*/ 455999 w 4610101"/>
              <a:gd name="connsiteY12842" fmla="*/ 1308717 h 6557032"/>
              <a:gd name="connsiteX12843" fmla="*/ 450077 w 4610101"/>
              <a:gd name="connsiteY12843" fmla="*/ 1309173 h 6557032"/>
              <a:gd name="connsiteX12844" fmla="*/ 459188 w 4610101"/>
              <a:gd name="connsiteY12844" fmla="*/ 1310995 h 6557032"/>
              <a:gd name="connsiteX12845" fmla="*/ 455999 w 4610101"/>
              <a:gd name="connsiteY12845" fmla="*/ 1308717 h 6557032"/>
              <a:gd name="connsiteX12846" fmla="*/ 428497 w 4610101"/>
              <a:gd name="connsiteY12846" fmla="*/ 1308006 h 6557032"/>
              <a:gd name="connsiteX12847" fmla="*/ 413634 w 4610101"/>
              <a:gd name="connsiteY12847" fmla="*/ 1316462 h 6557032"/>
              <a:gd name="connsiteX12848" fmla="*/ 422745 w 4610101"/>
              <a:gd name="connsiteY12848" fmla="*/ 1309173 h 6557032"/>
              <a:gd name="connsiteX12849" fmla="*/ 408167 w 4610101"/>
              <a:gd name="connsiteY12849" fmla="*/ 1316462 h 6557032"/>
              <a:gd name="connsiteX12850" fmla="*/ 411812 w 4610101"/>
              <a:gd name="connsiteY12850" fmla="*/ 1316462 h 6557032"/>
              <a:gd name="connsiteX12851" fmla="*/ 395412 w 4610101"/>
              <a:gd name="connsiteY12851" fmla="*/ 1340150 h 6557032"/>
              <a:gd name="connsiteX12852" fmla="*/ 422745 w 4610101"/>
              <a:gd name="connsiteY12852" fmla="*/ 1354728 h 6557032"/>
              <a:gd name="connsiteX12853" fmla="*/ 419100 w 4610101"/>
              <a:gd name="connsiteY12853" fmla="*/ 1351083 h 6557032"/>
              <a:gd name="connsiteX12854" fmla="*/ 437322 w 4610101"/>
              <a:gd name="connsiteY12854" fmla="*/ 1354728 h 6557032"/>
              <a:gd name="connsiteX12855" fmla="*/ 435500 w 4610101"/>
              <a:gd name="connsiteY12855" fmla="*/ 1351083 h 6557032"/>
              <a:gd name="connsiteX12856" fmla="*/ 459188 w 4610101"/>
              <a:gd name="connsiteY12856" fmla="*/ 1349261 h 6557032"/>
              <a:gd name="connsiteX12857" fmla="*/ 450077 w 4610101"/>
              <a:gd name="connsiteY12857" fmla="*/ 1341972 h 6557032"/>
              <a:gd name="connsiteX12858" fmla="*/ 440966 w 4610101"/>
              <a:gd name="connsiteY12858" fmla="*/ 1345617 h 6557032"/>
              <a:gd name="connsiteX12859" fmla="*/ 440966 w 4610101"/>
              <a:gd name="connsiteY12859" fmla="*/ 1327395 h 6557032"/>
              <a:gd name="connsiteX12860" fmla="*/ 433678 w 4610101"/>
              <a:gd name="connsiteY12860" fmla="*/ 1327395 h 6557032"/>
              <a:gd name="connsiteX12861" fmla="*/ 437322 w 4610101"/>
              <a:gd name="connsiteY12861" fmla="*/ 1323751 h 6557032"/>
              <a:gd name="connsiteX12862" fmla="*/ 437720 w 4610101"/>
              <a:gd name="connsiteY12862" fmla="*/ 1323433 h 6557032"/>
              <a:gd name="connsiteX12863" fmla="*/ 431855 w 4610101"/>
              <a:gd name="connsiteY12863" fmla="*/ 1321967 h 6557032"/>
              <a:gd name="connsiteX12864" fmla="*/ 437322 w 4610101"/>
              <a:gd name="connsiteY12864" fmla="*/ 1320143 h 6557032"/>
              <a:gd name="connsiteX12865" fmla="*/ 438610 w 4610101"/>
              <a:gd name="connsiteY12865" fmla="*/ 1322721 h 6557032"/>
              <a:gd name="connsiteX12866" fmla="*/ 446433 w 4610101"/>
              <a:gd name="connsiteY12866" fmla="*/ 1316462 h 6557032"/>
              <a:gd name="connsiteX12867" fmla="*/ 424567 w 4610101"/>
              <a:gd name="connsiteY12867" fmla="*/ 1314640 h 6557032"/>
              <a:gd name="connsiteX12868" fmla="*/ 433678 w 4610101"/>
              <a:gd name="connsiteY12868" fmla="*/ 1310995 h 6557032"/>
              <a:gd name="connsiteX12869" fmla="*/ 428497 w 4610101"/>
              <a:gd name="connsiteY12869" fmla="*/ 1308006 h 6557032"/>
              <a:gd name="connsiteX12870" fmla="*/ 1514228 w 4610101"/>
              <a:gd name="connsiteY12870" fmla="*/ 1307443 h 6557032"/>
              <a:gd name="connsiteX12871" fmla="*/ 1523339 w 4610101"/>
              <a:gd name="connsiteY12871" fmla="*/ 1323843 h 6557032"/>
              <a:gd name="connsiteX12872" fmla="*/ 1497827 w 4610101"/>
              <a:gd name="connsiteY12872" fmla="*/ 1322021 h 6557032"/>
              <a:gd name="connsiteX12873" fmla="*/ 1355881 w 4610101"/>
              <a:gd name="connsiteY12873" fmla="*/ 1307364 h 6557032"/>
              <a:gd name="connsiteX12874" fmla="*/ 1358887 w 4610101"/>
              <a:gd name="connsiteY12874" fmla="*/ 1307579 h 6557032"/>
              <a:gd name="connsiteX12875" fmla="*/ 1359342 w 4610101"/>
              <a:gd name="connsiteY12875" fmla="*/ 1309173 h 6557032"/>
              <a:gd name="connsiteX12876" fmla="*/ 1355885 w 4610101"/>
              <a:gd name="connsiteY12876" fmla="*/ 1307444 h 6557032"/>
              <a:gd name="connsiteX12877" fmla="*/ 3321824 w 4610101"/>
              <a:gd name="connsiteY12877" fmla="*/ 1307351 h 6557032"/>
              <a:gd name="connsiteX12878" fmla="*/ 3318179 w 4610101"/>
              <a:gd name="connsiteY12878" fmla="*/ 1309173 h 6557032"/>
              <a:gd name="connsiteX12879" fmla="*/ 3320001 w 4610101"/>
              <a:gd name="connsiteY12879" fmla="*/ 1316462 h 6557032"/>
              <a:gd name="connsiteX12880" fmla="*/ 3327290 w 4610101"/>
              <a:gd name="connsiteY12880" fmla="*/ 1312818 h 6557032"/>
              <a:gd name="connsiteX12881" fmla="*/ 3321824 w 4610101"/>
              <a:gd name="connsiteY12881" fmla="*/ 1307351 h 6557032"/>
              <a:gd name="connsiteX12882" fmla="*/ 3197916 w 4610101"/>
              <a:gd name="connsiteY12882" fmla="*/ 1307351 h 6557032"/>
              <a:gd name="connsiteX12883" fmla="*/ 3205204 w 4610101"/>
              <a:gd name="connsiteY12883" fmla="*/ 1314640 h 6557032"/>
              <a:gd name="connsiteX12884" fmla="*/ 3197916 w 4610101"/>
              <a:gd name="connsiteY12884" fmla="*/ 1307351 h 6557032"/>
              <a:gd name="connsiteX12885" fmla="*/ 1907816 w 4610101"/>
              <a:gd name="connsiteY12885" fmla="*/ 1307351 h 6557032"/>
              <a:gd name="connsiteX12886" fmla="*/ 1904172 w 4610101"/>
              <a:gd name="connsiteY12886" fmla="*/ 1309780 h 6557032"/>
              <a:gd name="connsiteX12887" fmla="*/ 1902350 w 4610101"/>
              <a:gd name="connsiteY12887" fmla="*/ 1309173 h 6557032"/>
              <a:gd name="connsiteX12888" fmla="*/ 1902350 w 4610101"/>
              <a:gd name="connsiteY12888" fmla="*/ 1310995 h 6557032"/>
              <a:gd name="connsiteX12889" fmla="*/ 1904172 w 4610101"/>
              <a:gd name="connsiteY12889" fmla="*/ 1309780 h 6557032"/>
              <a:gd name="connsiteX12890" fmla="*/ 1907816 w 4610101"/>
              <a:gd name="connsiteY12890" fmla="*/ 1310995 h 6557032"/>
              <a:gd name="connsiteX12891" fmla="*/ 1907816 w 4610101"/>
              <a:gd name="connsiteY12891" fmla="*/ 1307351 h 6557032"/>
              <a:gd name="connsiteX12892" fmla="*/ 1153436 w 4610101"/>
              <a:gd name="connsiteY12892" fmla="*/ 1307351 h 6557032"/>
              <a:gd name="connsiteX12893" fmla="*/ 1157081 w 4610101"/>
              <a:gd name="connsiteY12893" fmla="*/ 1310995 h 6557032"/>
              <a:gd name="connsiteX12894" fmla="*/ 1153436 w 4610101"/>
              <a:gd name="connsiteY12894" fmla="*/ 1307351 h 6557032"/>
              <a:gd name="connsiteX12895" fmla="*/ 1056861 w 4610101"/>
              <a:gd name="connsiteY12895" fmla="*/ 1307351 h 6557032"/>
              <a:gd name="connsiteX12896" fmla="*/ 1089660 w 4610101"/>
              <a:gd name="connsiteY12896" fmla="*/ 1347439 h 6557032"/>
              <a:gd name="connsiteX12897" fmla="*/ 1086016 w 4610101"/>
              <a:gd name="connsiteY12897" fmla="*/ 1331039 h 6557032"/>
              <a:gd name="connsiteX12898" fmla="*/ 1089660 w 4610101"/>
              <a:gd name="connsiteY12898" fmla="*/ 1332862 h 6557032"/>
              <a:gd name="connsiteX12899" fmla="*/ 1102416 w 4610101"/>
              <a:gd name="connsiteY12899" fmla="*/ 1343795 h 6557032"/>
              <a:gd name="connsiteX12900" fmla="*/ 1091484 w 4610101"/>
              <a:gd name="connsiteY12900" fmla="*/ 1327395 h 6557032"/>
              <a:gd name="connsiteX12901" fmla="*/ 1093305 w 4610101"/>
              <a:gd name="connsiteY12901" fmla="*/ 1327395 h 6557032"/>
              <a:gd name="connsiteX12902" fmla="*/ 1091484 w 4610101"/>
              <a:gd name="connsiteY12902" fmla="*/ 1323751 h 6557032"/>
              <a:gd name="connsiteX12903" fmla="*/ 1089660 w 4610101"/>
              <a:gd name="connsiteY12903" fmla="*/ 1332862 h 6557032"/>
              <a:gd name="connsiteX12904" fmla="*/ 1056861 w 4610101"/>
              <a:gd name="connsiteY12904" fmla="*/ 1307351 h 6557032"/>
              <a:gd name="connsiteX12905" fmla="*/ 716115 w 4610101"/>
              <a:gd name="connsiteY12905" fmla="*/ 1307351 h 6557032"/>
              <a:gd name="connsiteX12906" fmla="*/ 710648 w 4610101"/>
              <a:gd name="connsiteY12906" fmla="*/ 1332862 h 6557032"/>
              <a:gd name="connsiteX12907" fmla="*/ 723404 w 4610101"/>
              <a:gd name="connsiteY12907" fmla="*/ 1314640 h 6557032"/>
              <a:gd name="connsiteX12908" fmla="*/ 716115 w 4610101"/>
              <a:gd name="connsiteY12908" fmla="*/ 1307351 h 6557032"/>
              <a:gd name="connsiteX12909" fmla="*/ 626828 w 4610101"/>
              <a:gd name="connsiteY12909" fmla="*/ 1307351 h 6557032"/>
              <a:gd name="connsiteX12910" fmla="*/ 630472 w 4610101"/>
              <a:gd name="connsiteY12910" fmla="*/ 1320106 h 6557032"/>
              <a:gd name="connsiteX12911" fmla="*/ 629789 w 4610101"/>
              <a:gd name="connsiteY12911" fmla="*/ 1315551 h 6557032"/>
              <a:gd name="connsiteX12912" fmla="*/ 630472 w 4610101"/>
              <a:gd name="connsiteY12912" fmla="*/ 1310995 h 6557032"/>
              <a:gd name="connsiteX12913" fmla="*/ 630473 w 4610101"/>
              <a:gd name="connsiteY12913" fmla="*/ 1310995 h 6557032"/>
              <a:gd name="connsiteX12914" fmla="*/ 634117 w 4610101"/>
              <a:gd name="connsiteY12914" fmla="*/ 1316462 h 6557032"/>
              <a:gd name="connsiteX12915" fmla="*/ 635939 w 4610101"/>
              <a:gd name="connsiteY12915" fmla="*/ 1318284 h 6557032"/>
              <a:gd name="connsiteX12916" fmla="*/ 634117 w 4610101"/>
              <a:gd name="connsiteY12916" fmla="*/ 1314640 h 6557032"/>
              <a:gd name="connsiteX12917" fmla="*/ 639583 w 4610101"/>
              <a:gd name="connsiteY12917" fmla="*/ 1320106 h 6557032"/>
              <a:gd name="connsiteX12918" fmla="*/ 630473 w 4610101"/>
              <a:gd name="connsiteY12918" fmla="*/ 1310995 h 6557032"/>
              <a:gd name="connsiteX12919" fmla="*/ 630472 w 4610101"/>
              <a:gd name="connsiteY12919" fmla="*/ 1310995 h 6557032"/>
              <a:gd name="connsiteX12920" fmla="*/ 630472 w 4610101"/>
              <a:gd name="connsiteY12920" fmla="*/ 1310995 h 6557032"/>
              <a:gd name="connsiteX12921" fmla="*/ 488343 w 4610101"/>
              <a:gd name="connsiteY12921" fmla="*/ 1307351 h 6557032"/>
              <a:gd name="connsiteX12922" fmla="*/ 493809 w 4610101"/>
              <a:gd name="connsiteY12922" fmla="*/ 1312818 h 6557032"/>
              <a:gd name="connsiteX12923" fmla="*/ 490165 w 4610101"/>
              <a:gd name="connsiteY12923" fmla="*/ 1307351 h 6557032"/>
              <a:gd name="connsiteX12924" fmla="*/ 488343 w 4610101"/>
              <a:gd name="connsiteY12924" fmla="*/ 1307351 h 6557032"/>
              <a:gd name="connsiteX12925" fmla="*/ 304303 w 4610101"/>
              <a:gd name="connsiteY12925" fmla="*/ 1307351 h 6557032"/>
              <a:gd name="connsiteX12926" fmla="*/ 293370 w 4610101"/>
              <a:gd name="connsiteY12926" fmla="*/ 1318284 h 6557032"/>
              <a:gd name="connsiteX12927" fmla="*/ 298661 w 4610101"/>
              <a:gd name="connsiteY12927" fmla="*/ 1320047 h 6557032"/>
              <a:gd name="connsiteX12928" fmla="*/ 298382 w 4610101"/>
              <a:gd name="connsiteY12928" fmla="*/ 1320675 h 6557032"/>
              <a:gd name="connsiteX12929" fmla="*/ 297926 w 4610101"/>
              <a:gd name="connsiteY12929" fmla="*/ 1321245 h 6557032"/>
              <a:gd name="connsiteX12930" fmla="*/ 297015 w 4610101"/>
              <a:gd name="connsiteY12930" fmla="*/ 1323751 h 6557032"/>
              <a:gd name="connsiteX12931" fmla="*/ 298382 w 4610101"/>
              <a:gd name="connsiteY12931" fmla="*/ 1320675 h 6557032"/>
              <a:gd name="connsiteX12932" fmla="*/ 298837 w 4610101"/>
              <a:gd name="connsiteY12932" fmla="*/ 1320106 h 6557032"/>
              <a:gd name="connsiteX12933" fmla="*/ 298661 w 4610101"/>
              <a:gd name="connsiteY12933" fmla="*/ 1320047 h 6557032"/>
              <a:gd name="connsiteX12934" fmla="*/ 375539 w 4610101"/>
              <a:gd name="connsiteY12934" fmla="*/ 1306326 h 6557032"/>
              <a:gd name="connsiteX12935" fmla="*/ 353502 w 4610101"/>
              <a:gd name="connsiteY12935" fmla="*/ 1323751 h 6557032"/>
              <a:gd name="connsiteX12936" fmla="*/ 380835 w 4610101"/>
              <a:gd name="connsiteY12936" fmla="*/ 1336506 h 6557032"/>
              <a:gd name="connsiteX12937" fmla="*/ 369902 w 4610101"/>
              <a:gd name="connsiteY12937" fmla="*/ 1323751 h 6557032"/>
              <a:gd name="connsiteX12938" fmla="*/ 375368 w 4610101"/>
              <a:gd name="connsiteY12938" fmla="*/ 1321929 h 6557032"/>
              <a:gd name="connsiteX12939" fmla="*/ 368079 w 4610101"/>
              <a:gd name="connsiteY12939" fmla="*/ 1312818 h 6557032"/>
              <a:gd name="connsiteX12940" fmla="*/ 379012 w 4610101"/>
              <a:gd name="connsiteY12940" fmla="*/ 1321929 h 6557032"/>
              <a:gd name="connsiteX12941" fmla="*/ 382657 w 4610101"/>
              <a:gd name="connsiteY12941" fmla="*/ 1316462 h 6557032"/>
              <a:gd name="connsiteX12942" fmla="*/ 377190 w 4610101"/>
              <a:gd name="connsiteY12942" fmla="*/ 1316462 h 6557032"/>
              <a:gd name="connsiteX12943" fmla="*/ 386301 w 4610101"/>
              <a:gd name="connsiteY12943" fmla="*/ 1312818 h 6557032"/>
              <a:gd name="connsiteX12944" fmla="*/ 375539 w 4610101"/>
              <a:gd name="connsiteY12944" fmla="*/ 1306326 h 6557032"/>
              <a:gd name="connsiteX12945" fmla="*/ 3159650 w 4610101"/>
              <a:gd name="connsiteY12945" fmla="*/ 1305529 h 6557032"/>
              <a:gd name="connsiteX12946" fmla="*/ 3156006 w 4610101"/>
              <a:gd name="connsiteY12946" fmla="*/ 1310995 h 6557032"/>
              <a:gd name="connsiteX12947" fmla="*/ 3157828 w 4610101"/>
              <a:gd name="connsiteY12947" fmla="*/ 1316462 h 6557032"/>
              <a:gd name="connsiteX12948" fmla="*/ 3150539 w 4610101"/>
              <a:gd name="connsiteY12948" fmla="*/ 1316462 h 6557032"/>
              <a:gd name="connsiteX12949" fmla="*/ 3161472 w 4610101"/>
              <a:gd name="connsiteY12949" fmla="*/ 1318284 h 6557032"/>
              <a:gd name="connsiteX12950" fmla="*/ 3156006 w 4610101"/>
              <a:gd name="connsiteY12950" fmla="*/ 1310995 h 6557032"/>
              <a:gd name="connsiteX12951" fmla="*/ 3157828 w 4610101"/>
              <a:gd name="connsiteY12951" fmla="*/ 1309173 h 6557032"/>
              <a:gd name="connsiteX12952" fmla="*/ 3159650 w 4610101"/>
              <a:gd name="connsiteY12952" fmla="*/ 1310995 h 6557032"/>
              <a:gd name="connsiteX12953" fmla="*/ 3159650 w 4610101"/>
              <a:gd name="connsiteY12953" fmla="*/ 1305529 h 6557032"/>
              <a:gd name="connsiteX12954" fmla="*/ 3117740 w 4610101"/>
              <a:gd name="connsiteY12954" fmla="*/ 1305529 h 6557032"/>
              <a:gd name="connsiteX12955" fmla="*/ 3114096 w 4610101"/>
              <a:gd name="connsiteY12955" fmla="*/ 1312818 h 6557032"/>
              <a:gd name="connsiteX12956" fmla="*/ 3119562 w 4610101"/>
              <a:gd name="connsiteY12956" fmla="*/ 1312818 h 6557032"/>
              <a:gd name="connsiteX12957" fmla="*/ 3117740 w 4610101"/>
              <a:gd name="connsiteY12957" fmla="*/ 1305529 h 6557032"/>
              <a:gd name="connsiteX12958" fmla="*/ 1935149 w 4610101"/>
              <a:gd name="connsiteY12958" fmla="*/ 1305529 h 6557032"/>
              <a:gd name="connsiteX12959" fmla="*/ 1933327 w 4610101"/>
              <a:gd name="connsiteY12959" fmla="*/ 1310995 h 6557032"/>
              <a:gd name="connsiteX12960" fmla="*/ 1935149 w 4610101"/>
              <a:gd name="connsiteY12960" fmla="*/ 1305529 h 6557032"/>
              <a:gd name="connsiteX12961" fmla="*/ 1164370 w 4610101"/>
              <a:gd name="connsiteY12961" fmla="*/ 1305529 h 6557032"/>
              <a:gd name="connsiteX12962" fmla="*/ 1162547 w 4610101"/>
              <a:gd name="connsiteY12962" fmla="*/ 1307351 h 6557032"/>
              <a:gd name="connsiteX12963" fmla="*/ 1169836 w 4610101"/>
              <a:gd name="connsiteY12963" fmla="*/ 1312818 h 6557032"/>
              <a:gd name="connsiteX12964" fmla="*/ 1164370 w 4610101"/>
              <a:gd name="connsiteY12964" fmla="*/ 1305529 h 6557032"/>
              <a:gd name="connsiteX12965" fmla="*/ 861889 w 4610101"/>
              <a:gd name="connsiteY12965" fmla="*/ 1305529 h 6557032"/>
              <a:gd name="connsiteX12966" fmla="*/ 850956 w 4610101"/>
              <a:gd name="connsiteY12966" fmla="*/ 1318284 h 6557032"/>
              <a:gd name="connsiteX12967" fmla="*/ 852778 w 4610101"/>
              <a:gd name="connsiteY12967" fmla="*/ 1321929 h 6557032"/>
              <a:gd name="connsiteX12968" fmla="*/ 854600 w 4610101"/>
              <a:gd name="connsiteY12968" fmla="*/ 1314640 h 6557032"/>
              <a:gd name="connsiteX12969" fmla="*/ 858244 w 4610101"/>
              <a:gd name="connsiteY12969" fmla="*/ 1325573 h 6557032"/>
              <a:gd name="connsiteX12970" fmla="*/ 863711 w 4610101"/>
              <a:gd name="connsiteY12970" fmla="*/ 1321929 h 6557032"/>
              <a:gd name="connsiteX12971" fmla="*/ 872822 w 4610101"/>
              <a:gd name="connsiteY12971" fmla="*/ 1312818 h 6557032"/>
              <a:gd name="connsiteX12972" fmla="*/ 863711 w 4610101"/>
              <a:gd name="connsiteY12972" fmla="*/ 1318284 h 6557032"/>
              <a:gd name="connsiteX12973" fmla="*/ 861889 w 4610101"/>
              <a:gd name="connsiteY12973" fmla="*/ 1305529 h 6557032"/>
              <a:gd name="connsiteX12974" fmla="*/ 752558 w 4610101"/>
              <a:gd name="connsiteY12974" fmla="*/ 1305529 h 6557032"/>
              <a:gd name="connsiteX12975" fmla="*/ 745269 w 4610101"/>
              <a:gd name="connsiteY12975" fmla="*/ 1309173 h 6557032"/>
              <a:gd name="connsiteX12976" fmla="*/ 752558 w 4610101"/>
              <a:gd name="connsiteY12976" fmla="*/ 1305529 h 6557032"/>
              <a:gd name="connsiteX12977" fmla="*/ 446433 w 4610101"/>
              <a:gd name="connsiteY12977" fmla="*/ 1305529 h 6557032"/>
              <a:gd name="connsiteX12978" fmla="*/ 440966 w 4610101"/>
              <a:gd name="connsiteY12978" fmla="*/ 1309173 h 6557032"/>
              <a:gd name="connsiteX12979" fmla="*/ 448256 w 4610101"/>
              <a:gd name="connsiteY12979" fmla="*/ 1309173 h 6557032"/>
              <a:gd name="connsiteX12980" fmla="*/ 446433 w 4610101"/>
              <a:gd name="connsiteY12980" fmla="*/ 1305529 h 6557032"/>
              <a:gd name="connsiteX12981" fmla="*/ 315236 w 4610101"/>
              <a:gd name="connsiteY12981" fmla="*/ 1305529 h 6557032"/>
              <a:gd name="connsiteX12982" fmla="*/ 302481 w 4610101"/>
              <a:gd name="connsiteY12982" fmla="*/ 1316462 h 6557032"/>
              <a:gd name="connsiteX12983" fmla="*/ 315236 w 4610101"/>
              <a:gd name="connsiteY12983" fmla="*/ 1305529 h 6557032"/>
              <a:gd name="connsiteX12984" fmla="*/ 207956 w 4610101"/>
              <a:gd name="connsiteY12984" fmla="*/ 1304846 h 6557032"/>
              <a:gd name="connsiteX12985" fmla="*/ 205906 w 4610101"/>
              <a:gd name="connsiteY12985" fmla="*/ 1305529 h 6557032"/>
              <a:gd name="connsiteX12986" fmla="*/ 211372 w 4610101"/>
              <a:gd name="connsiteY12986" fmla="*/ 1305529 h 6557032"/>
              <a:gd name="connsiteX12987" fmla="*/ 207956 w 4610101"/>
              <a:gd name="connsiteY12987" fmla="*/ 1304846 h 6557032"/>
              <a:gd name="connsiteX12988" fmla="*/ 3273081 w 4610101"/>
              <a:gd name="connsiteY12988" fmla="*/ 1304618 h 6557032"/>
              <a:gd name="connsiteX12989" fmla="*/ 3265336 w 4610101"/>
              <a:gd name="connsiteY12989" fmla="*/ 1305529 h 6557032"/>
              <a:gd name="connsiteX12990" fmla="*/ 3267614 w 4610101"/>
              <a:gd name="connsiteY12990" fmla="*/ 1308718 h 6557032"/>
              <a:gd name="connsiteX12991" fmla="*/ 3267327 w 4610101"/>
              <a:gd name="connsiteY12991" fmla="*/ 1312450 h 6557032"/>
              <a:gd name="connsiteX12992" fmla="*/ 3266931 w 4610101"/>
              <a:gd name="connsiteY12992" fmla="*/ 1312362 h 6557032"/>
              <a:gd name="connsiteX12993" fmla="*/ 3263514 w 4610101"/>
              <a:gd name="connsiteY12993" fmla="*/ 1314640 h 6557032"/>
              <a:gd name="connsiteX12994" fmla="*/ 3268980 w 4610101"/>
              <a:gd name="connsiteY12994" fmla="*/ 1316462 h 6557032"/>
              <a:gd name="connsiteX12995" fmla="*/ 3267986 w 4610101"/>
              <a:gd name="connsiteY12995" fmla="*/ 1314640 h 6557032"/>
              <a:gd name="connsiteX12996" fmla="*/ 3274447 w 4610101"/>
              <a:gd name="connsiteY12996" fmla="*/ 1314640 h 6557032"/>
              <a:gd name="connsiteX12997" fmla="*/ 3268980 w 4610101"/>
              <a:gd name="connsiteY12997" fmla="*/ 1329217 h 6557032"/>
              <a:gd name="connsiteX12998" fmla="*/ 3268980 w 4610101"/>
              <a:gd name="connsiteY12998" fmla="*/ 1321929 h 6557032"/>
              <a:gd name="connsiteX12999" fmla="*/ 3267158 w 4610101"/>
              <a:gd name="connsiteY12999" fmla="*/ 1325573 h 6557032"/>
              <a:gd name="connsiteX13000" fmla="*/ 3265336 w 4610101"/>
              <a:gd name="connsiteY13000" fmla="*/ 1321929 h 6557032"/>
              <a:gd name="connsiteX13001" fmla="*/ 3267158 w 4610101"/>
              <a:gd name="connsiteY13001" fmla="*/ 1338328 h 6557032"/>
              <a:gd name="connsiteX13002" fmla="*/ 3259869 w 4610101"/>
              <a:gd name="connsiteY13002" fmla="*/ 1331039 h 6557032"/>
              <a:gd name="connsiteX13003" fmla="*/ 3256225 w 4610101"/>
              <a:gd name="connsiteY13003" fmla="*/ 1345617 h 6557032"/>
              <a:gd name="connsiteX13004" fmla="*/ 3254403 w 4610101"/>
              <a:gd name="connsiteY13004" fmla="*/ 1331039 h 6557032"/>
              <a:gd name="connsiteX13005" fmla="*/ 3248937 w 4610101"/>
              <a:gd name="connsiteY13005" fmla="*/ 1327395 h 6557032"/>
              <a:gd name="connsiteX13006" fmla="*/ 3259869 w 4610101"/>
              <a:gd name="connsiteY13006" fmla="*/ 1360194 h 6557032"/>
              <a:gd name="connsiteX13007" fmla="*/ 3261692 w 4610101"/>
              <a:gd name="connsiteY13007" fmla="*/ 1347439 h 6557032"/>
              <a:gd name="connsiteX13008" fmla="*/ 3263514 w 4610101"/>
              <a:gd name="connsiteY13008" fmla="*/ 1347439 h 6557032"/>
              <a:gd name="connsiteX13009" fmla="*/ 3263514 w 4610101"/>
              <a:gd name="connsiteY13009" fmla="*/ 1358372 h 6557032"/>
              <a:gd name="connsiteX13010" fmla="*/ 3279913 w 4610101"/>
              <a:gd name="connsiteY13010" fmla="*/ 1354728 h 6557032"/>
              <a:gd name="connsiteX13011" fmla="*/ 3267158 w 4610101"/>
              <a:gd name="connsiteY13011" fmla="*/ 1351083 h 6557032"/>
              <a:gd name="connsiteX13012" fmla="*/ 3289024 w 4610101"/>
              <a:gd name="connsiteY13012" fmla="*/ 1329217 h 6557032"/>
              <a:gd name="connsiteX13013" fmla="*/ 3290847 w 4610101"/>
              <a:gd name="connsiteY13013" fmla="*/ 1331039 h 6557032"/>
              <a:gd name="connsiteX13014" fmla="*/ 3307246 w 4610101"/>
              <a:gd name="connsiteY13014" fmla="*/ 1321929 h 6557032"/>
              <a:gd name="connsiteX13015" fmla="*/ 3305424 w 4610101"/>
              <a:gd name="connsiteY13015" fmla="*/ 1310995 h 6557032"/>
              <a:gd name="connsiteX13016" fmla="*/ 3292669 w 4610101"/>
              <a:gd name="connsiteY13016" fmla="*/ 1309173 h 6557032"/>
              <a:gd name="connsiteX13017" fmla="*/ 3292669 w 4610101"/>
              <a:gd name="connsiteY13017" fmla="*/ 1316462 h 6557032"/>
              <a:gd name="connsiteX13018" fmla="*/ 3290847 w 4610101"/>
              <a:gd name="connsiteY13018" fmla="*/ 1310995 h 6557032"/>
              <a:gd name="connsiteX13019" fmla="*/ 3287202 w 4610101"/>
              <a:gd name="connsiteY13019" fmla="*/ 1312818 h 6557032"/>
              <a:gd name="connsiteX13020" fmla="*/ 3283558 w 4610101"/>
              <a:gd name="connsiteY13020" fmla="*/ 1305529 h 6557032"/>
              <a:gd name="connsiteX13021" fmla="*/ 3278091 w 4610101"/>
              <a:gd name="connsiteY13021" fmla="*/ 1309173 h 6557032"/>
              <a:gd name="connsiteX13022" fmla="*/ 3273081 w 4610101"/>
              <a:gd name="connsiteY13022" fmla="*/ 1304618 h 6557032"/>
              <a:gd name="connsiteX13023" fmla="*/ 408531 w 4610101"/>
              <a:gd name="connsiteY13023" fmla="*/ 1304436 h 6557032"/>
              <a:gd name="connsiteX13024" fmla="*/ 411812 w 4610101"/>
              <a:gd name="connsiteY13024" fmla="*/ 1305529 h 6557032"/>
              <a:gd name="connsiteX13025" fmla="*/ 408622 w 4610101"/>
              <a:gd name="connsiteY13025" fmla="*/ 1305073 h 6557032"/>
              <a:gd name="connsiteX13026" fmla="*/ 723233 w 4610101"/>
              <a:gd name="connsiteY13026" fmla="*/ 1303877 h 6557032"/>
              <a:gd name="connsiteX13027" fmla="*/ 717937 w 4610101"/>
              <a:gd name="connsiteY13027" fmla="*/ 1307351 h 6557032"/>
              <a:gd name="connsiteX13028" fmla="*/ 721581 w 4610101"/>
              <a:gd name="connsiteY13028" fmla="*/ 1309173 h 6557032"/>
              <a:gd name="connsiteX13029" fmla="*/ 728870 w 4610101"/>
              <a:gd name="connsiteY13029" fmla="*/ 1314640 h 6557032"/>
              <a:gd name="connsiteX13030" fmla="*/ 728870 w 4610101"/>
              <a:gd name="connsiteY13030" fmla="*/ 1305529 h 6557032"/>
              <a:gd name="connsiteX13031" fmla="*/ 723233 w 4610101"/>
              <a:gd name="connsiteY13031" fmla="*/ 1303877 h 6557032"/>
              <a:gd name="connsiteX13032" fmla="*/ 3141428 w 4610101"/>
              <a:gd name="connsiteY13032" fmla="*/ 1303707 h 6557032"/>
              <a:gd name="connsiteX13033" fmla="*/ 3139606 w 4610101"/>
              <a:gd name="connsiteY13033" fmla="*/ 1310995 h 6557032"/>
              <a:gd name="connsiteX13034" fmla="*/ 3148717 w 4610101"/>
              <a:gd name="connsiteY13034" fmla="*/ 1309173 h 6557032"/>
              <a:gd name="connsiteX13035" fmla="*/ 3148717 w 4610101"/>
              <a:gd name="connsiteY13035" fmla="*/ 1305529 h 6557032"/>
              <a:gd name="connsiteX13036" fmla="*/ 3141428 w 4610101"/>
              <a:gd name="connsiteY13036" fmla="*/ 1303707 h 6557032"/>
              <a:gd name="connsiteX13037" fmla="*/ 1364809 w 4610101"/>
              <a:gd name="connsiteY13037" fmla="*/ 1303707 h 6557032"/>
              <a:gd name="connsiteX13038" fmla="*/ 1364809 w 4610101"/>
              <a:gd name="connsiteY13038" fmla="*/ 1307351 h 6557032"/>
              <a:gd name="connsiteX13039" fmla="*/ 1359342 w 4610101"/>
              <a:gd name="connsiteY13039" fmla="*/ 1305529 h 6557032"/>
              <a:gd name="connsiteX13040" fmla="*/ 1364809 w 4610101"/>
              <a:gd name="connsiteY13040" fmla="*/ 1303707 h 6557032"/>
              <a:gd name="connsiteX13041" fmla="*/ 1151614 w 4610101"/>
              <a:gd name="connsiteY13041" fmla="*/ 1303707 h 6557032"/>
              <a:gd name="connsiteX13042" fmla="*/ 1149792 w 4610101"/>
              <a:gd name="connsiteY13042" fmla="*/ 1320106 h 6557032"/>
              <a:gd name="connsiteX13043" fmla="*/ 1157081 w 4610101"/>
              <a:gd name="connsiteY13043" fmla="*/ 1310995 h 6557032"/>
              <a:gd name="connsiteX13044" fmla="*/ 1158903 w 4610101"/>
              <a:gd name="connsiteY13044" fmla="*/ 1305529 h 6557032"/>
              <a:gd name="connsiteX13045" fmla="*/ 1151614 w 4610101"/>
              <a:gd name="connsiteY13045" fmla="*/ 1303707 h 6557032"/>
              <a:gd name="connsiteX13046" fmla="*/ 809046 w 4610101"/>
              <a:gd name="connsiteY13046" fmla="*/ 1303707 h 6557032"/>
              <a:gd name="connsiteX13047" fmla="*/ 812690 w 4610101"/>
              <a:gd name="connsiteY13047" fmla="*/ 1305529 h 6557032"/>
              <a:gd name="connsiteX13048" fmla="*/ 809046 w 4610101"/>
              <a:gd name="connsiteY13048" fmla="*/ 1303707 h 6557032"/>
              <a:gd name="connsiteX13049" fmla="*/ 575808 w 4610101"/>
              <a:gd name="connsiteY13049" fmla="*/ 1303707 h 6557032"/>
              <a:gd name="connsiteX13050" fmla="*/ 579452 w 4610101"/>
              <a:gd name="connsiteY13050" fmla="*/ 1305529 h 6557032"/>
              <a:gd name="connsiteX13051" fmla="*/ 575808 w 4610101"/>
              <a:gd name="connsiteY13051" fmla="*/ 1303707 h 6557032"/>
              <a:gd name="connsiteX13052" fmla="*/ 510209 w 4610101"/>
              <a:gd name="connsiteY13052" fmla="*/ 1303707 h 6557032"/>
              <a:gd name="connsiteX13053" fmla="*/ 499276 w 4610101"/>
              <a:gd name="connsiteY13053" fmla="*/ 1310995 h 6557032"/>
              <a:gd name="connsiteX13054" fmla="*/ 504743 w 4610101"/>
              <a:gd name="connsiteY13054" fmla="*/ 1316462 h 6557032"/>
              <a:gd name="connsiteX13055" fmla="*/ 510209 w 4610101"/>
              <a:gd name="connsiteY13055" fmla="*/ 1303707 h 6557032"/>
              <a:gd name="connsiteX13056" fmla="*/ 362613 w 4610101"/>
              <a:gd name="connsiteY13056" fmla="*/ 1303707 h 6557032"/>
              <a:gd name="connsiteX13057" fmla="*/ 358969 w 4610101"/>
              <a:gd name="connsiteY13057" fmla="*/ 1312818 h 6557032"/>
              <a:gd name="connsiteX13058" fmla="*/ 364435 w 4610101"/>
              <a:gd name="connsiteY13058" fmla="*/ 1309173 h 6557032"/>
              <a:gd name="connsiteX13059" fmla="*/ 362613 w 4610101"/>
              <a:gd name="connsiteY13059" fmla="*/ 1303707 h 6557032"/>
              <a:gd name="connsiteX13060" fmla="*/ 302481 w 4610101"/>
              <a:gd name="connsiteY13060" fmla="*/ 1303707 h 6557032"/>
              <a:gd name="connsiteX13061" fmla="*/ 297015 w 4610101"/>
              <a:gd name="connsiteY13061" fmla="*/ 1309173 h 6557032"/>
              <a:gd name="connsiteX13062" fmla="*/ 302481 w 4610101"/>
              <a:gd name="connsiteY13062" fmla="*/ 1303707 h 6557032"/>
              <a:gd name="connsiteX13063" fmla="*/ 454405 w 4610101"/>
              <a:gd name="connsiteY13063" fmla="*/ 1303479 h 6557032"/>
              <a:gd name="connsiteX13064" fmla="*/ 448256 w 4610101"/>
              <a:gd name="connsiteY13064" fmla="*/ 1305529 h 6557032"/>
              <a:gd name="connsiteX13065" fmla="*/ 459188 w 4610101"/>
              <a:gd name="connsiteY13065" fmla="*/ 1305529 h 6557032"/>
              <a:gd name="connsiteX13066" fmla="*/ 454405 w 4610101"/>
              <a:gd name="connsiteY13066" fmla="*/ 1303479 h 6557032"/>
              <a:gd name="connsiteX13067" fmla="*/ 408332 w 4610101"/>
              <a:gd name="connsiteY13067" fmla="*/ 1303044 h 6557032"/>
              <a:gd name="connsiteX13068" fmla="*/ 408531 w 4610101"/>
              <a:gd name="connsiteY13068" fmla="*/ 1304436 h 6557032"/>
              <a:gd name="connsiteX13069" fmla="*/ 406345 w 4610101"/>
              <a:gd name="connsiteY13069" fmla="*/ 1303707 h 6557032"/>
              <a:gd name="connsiteX13070" fmla="*/ 1763865 w 4610101"/>
              <a:gd name="connsiteY13070" fmla="*/ 1301952 h 6557032"/>
              <a:gd name="connsiteX13071" fmla="*/ 1763865 w 4610101"/>
              <a:gd name="connsiteY13071" fmla="*/ 1316529 h 6557032"/>
              <a:gd name="connsiteX13072" fmla="*/ 1749287 w 4610101"/>
              <a:gd name="connsiteY13072" fmla="*/ 1316529 h 6557032"/>
              <a:gd name="connsiteX13073" fmla="*/ 3356445 w 4610101"/>
              <a:gd name="connsiteY13073" fmla="*/ 1301885 h 6557032"/>
              <a:gd name="connsiteX13074" fmla="*/ 3347334 w 4610101"/>
              <a:gd name="connsiteY13074" fmla="*/ 1305529 h 6557032"/>
              <a:gd name="connsiteX13075" fmla="*/ 3352800 w 4610101"/>
              <a:gd name="connsiteY13075" fmla="*/ 1309173 h 6557032"/>
              <a:gd name="connsiteX13076" fmla="*/ 3356445 w 4610101"/>
              <a:gd name="connsiteY13076" fmla="*/ 1301885 h 6557032"/>
              <a:gd name="connsiteX13077" fmla="*/ 3314535 w 4610101"/>
              <a:gd name="connsiteY13077" fmla="*/ 1301885 h 6557032"/>
              <a:gd name="connsiteX13078" fmla="*/ 3309068 w 4610101"/>
              <a:gd name="connsiteY13078" fmla="*/ 1303707 h 6557032"/>
              <a:gd name="connsiteX13079" fmla="*/ 3312713 w 4610101"/>
              <a:gd name="connsiteY13079" fmla="*/ 1309173 h 6557032"/>
              <a:gd name="connsiteX13080" fmla="*/ 3314535 w 4610101"/>
              <a:gd name="connsiteY13080" fmla="*/ 1301885 h 6557032"/>
              <a:gd name="connsiteX13081" fmla="*/ 2966500 w 4610101"/>
              <a:gd name="connsiteY13081" fmla="*/ 1301885 h 6557032"/>
              <a:gd name="connsiteX13082" fmla="*/ 2942811 w 4610101"/>
              <a:gd name="connsiteY13082" fmla="*/ 1314640 h 6557032"/>
              <a:gd name="connsiteX13083" fmla="*/ 2933700 w 4610101"/>
              <a:gd name="connsiteY13083" fmla="*/ 1320106 h 6557032"/>
              <a:gd name="connsiteX13084" fmla="*/ 2940989 w 4610101"/>
              <a:gd name="connsiteY13084" fmla="*/ 1316462 h 6557032"/>
              <a:gd name="connsiteX13085" fmla="*/ 2942811 w 4610101"/>
              <a:gd name="connsiteY13085" fmla="*/ 1320106 h 6557032"/>
              <a:gd name="connsiteX13086" fmla="*/ 2942811 w 4610101"/>
              <a:gd name="connsiteY13086" fmla="*/ 1314640 h 6557032"/>
              <a:gd name="connsiteX13087" fmla="*/ 2944634 w 4610101"/>
              <a:gd name="connsiteY13087" fmla="*/ 1327395 h 6557032"/>
              <a:gd name="connsiteX13088" fmla="*/ 2944634 w 4610101"/>
              <a:gd name="connsiteY13088" fmla="*/ 1329217 h 6557032"/>
              <a:gd name="connsiteX13089" fmla="*/ 2957389 w 4610101"/>
              <a:gd name="connsiteY13089" fmla="*/ 1332862 h 6557032"/>
              <a:gd name="connsiteX13090" fmla="*/ 2957389 w 4610101"/>
              <a:gd name="connsiteY13090" fmla="*/ 1327395 h 6557032"/>
              <a:gd name="connsiteX13091" fmla="*/ 2957389 w 4610101"/>
              <a:gd name="connsiteY13091" fmla="*/ 1334684 h 6557032"/>
              <a:gd name="connsiteX13092" fmla="*/ 2962855 w 4610101"/>
              <a:gd name="connsiteY13092" fmla="*/ 1341972 h 6557032"/>
              <a:gd name="connsiteX13093" fmla="*/ 2975610 w 4610101"/>
              <a:gd name="connsiteY13093" fmla="*/ 1341972 h 6557032"/>
              <a:gd name="connsiteX13094" fmla="*/ 2979255 w 4610101"/>
              <a:gd name="connsiteY13094" fmla="*/ 1331039 h 6557032"/>
              <a:gd name="connsiteX13095" fmla="*/ 2971966 w 4610101"/>
              <a:gd name="connsiteY13095" fmla="*/ 1329217 h 6557032"/>
              <a:gd name="connsiteX13096" fmla="*/ 2971966 w 4610101"/>
              <a:gd name="connsiteY13096" fmla="*/ 1305529 h 6557032"/>
              <a:gd name="connsiteX13097" fmla="*/ 2966500 w 4610101"/>
              <a:gd name="connsiteY13097" fmla="*/ 1301885 h 6557032"/>
              <a:gd name="connsiteX13098" fmla="*/ 2797037 w 4610101"/>
              <a:gd name="connsiteY13098" fmla="*/ 1301885 h 6557032"/>
              <a:gd name="connsiteX13099" fmla="*/ 2789749 w 4610101"/>
              <a:gd name="connsiteY13099" fmla="*/ 1310995 h 6557032"/>
              <a:gd name="connsiteX13100" fmla="*/ 2786104 w 4610101"/>
              <a:gd name="connsiteY13100" fmla="*/ 1310995 h 6557032"/>
              <a:gd name="connsiteX13101" fmla="*/ 2784282 w 4610101"/>
              <a:gd name="connsiteY13101" fmla="*/ 1303707 h 6557032"/>
              <a:gd name="connsiteX13102" fmla="*/ 2775171 w 4610101"/>
              <a:gd name="connsiteY13102" fmla="*/ 1303707 h 6557032"/>
              <a:gd name="connsiteX13103" fmla="*/ 2771527 w 4610101"/>
              <a:gd name="connsiteY13103" fmla="*/ 1314640 h 6557032"/>
              <a:gd name="connsiteX13104" fmla="*/ 2793393 w 4610101"/>
              <a:gd name="connsiteY13104" fmla="*/ 1325573 h 6557032"/>
              <a:gd name="connsiteX13105" fmla="*/ 2795215 w 4610101"/>
              <a:gd name="connsiteY13105" fmla="*/ 1323751 h 6557032"/>
              <a:gd name="connsiteX13106" fmla="*/ 2797037 w 4610101"/>
              <a:gd name="connsiteY13106" fmla="*/ 1301885 h 6557032"/>
              <a:gd name="connsiteX13107" fmla="*/ 1133393 w 4610101"/>
              <a:gd name="connsiteY13107" fmla="*/ 1301885 h 6557032"/>
              <a:gd name="connsiteX13108" fmla="*/ 1137949 w 4610101"/>
              <a:gd name="connsiteY13108" fmla="*/ 1309401 h 6557032"/>
              <a:gd name="connsiteX13109" fmla="*/ 1141330 w 4610101"/>
              <a:gd name="connsiteY13109" fmla="*/ 1315998 h 6557032"/>
              <a:gd name="connsiteX13110" fmla="*/ 1135215 w 4610101"/>
              <a:gd name="connsiteY13110" fmla="*/ 1307351 h 6557032"/>
              <a:gd name="connsiteX13111" fmla="*/ 1133393 w 4610101"/>
              <a:gd name="connsiteY13111" fmla="*/ 1301885 h 6557032"/>
              <a:gd name="connsiteX13112" fmla="*/ 752558 w 4610101"/>
              <a:gd name="connsiteY13112" fmla="*/ 1301885 h 6557032"/>
              <a:gd name="connsiteX13113" fmla="*/ 747092 w 4610101"/>
              <a:gd name="connsiteY13113" fmla="*/ 1303707 h 6557032"/>
              <a:gd name="connsiteX13114" fmla="*/ 752558 w 4610101"/>
              <a:gd name="connsiteY13114" fmla="*/ 1301885 h 6557032"/>
              <a:gd name="connsiteX13115" fmla="*/ 595852 w 4610101"/>
              <a:gd name="connsiteY13115" fmla="*/ 1301885 h 6557032"/>
              <a:gd name="connsiteX13116" fmla="*/ 592207 w 4610101"/>
              <a:gd name="connsiteY13116" fmla="*/ 1307351 h 6557032"/>
              <a:gd name="connsiteX13117" fmla="*/ 595852 w 4610101"/>
              <a:gd name="connsiteY13117" fmla="*/ 1301885 h 6557032"/>
              <a:gd name="connsiteX13118" fmla="*/ 539364 w 4610101"/>
              <a:gd name="connsiteY13118" fmla="*/ 1301885 h 6557032"/>
              <a:gd name="connsiteX13119" fmla="*/ 533897 w 4610101"/>
              <a:gd name="connsiteY13119" fmla="*/ 1310995 h 6557032"/>
              <a:gd name="connsiteX13120" fmla="*/ 539364 w 4610101"/>
              <a:gd name="connsiteY13120" fmla="*/ 1301885 h 6557032"/>
              <a:gd name="connsiteX13121" fmla="*/ 528431 w 4610101"/>
              <a:gd name="connsiteY13121" fmla="*/ 1301885 h 6557032"/>
              <a:gd name="connsiteX13122" fmla="*/ 530253 w 4610101"/>
              <a:gd name="connsiteY13122" fmla="*/ 1305529 h 6557032"/>
              <a:gd name="connsiteX13123" fmla="*/ 533897 w 4610101"/>
              <a:gd name="connsiteY13123" fmla="*/ 1301885 h 6557032"/>
              <a:gd name="connsiteX13124" fmla="*/ 528431 w 4610101"/>
              <a:gd name="connsiteY13124" fmla="*/ 1301885 h 6557032"/>
              <a:gd name="connsiteX13125" fmla="*/ 406345 w 4610101"/>
              <a:gd name="connsiteY13125" fmla="*/ 1301885 h 6557032"/>
              <a:gd name="connsiteX13126" fmla="*/ 406345 w 4610101"/>
              <a:gd name="connsiteY13126" fmla="*/ 1309173 h 6557032"/>
              <a:gd name="connsiteX13127" fmla="*/ 411812 w 4610101"/>
              <a:gd name="connsiteY13127" fmla="*/ 1305529 h 6557032"/>
              <a:gd name="connsiteX13128" fmla="*/ 411812 w 4610101"/>
              <a:gd name="connsiteY13128" fmla="*/ 1301885 h 6557032"/>
              <a:gd name="connsiteX13129" fmla="*/ 408332 w 4610101"/>
              <a:gd name="connsiteY13129" fmla="*/ 1303044 h 6557032"/>
              <a:gd name="connsiteX13130" fmla="*/ 408167 w 4610101"/>
              <a:gd name="connsiteY13130" fmla="*/ 1301885 h 6557032"/>
              <a:gd name="connsiteX13131" fmla="*/ 406345 w 4610101"/>
              <a:gd name="connsiteY13131" fmla="*/ 1301885 h 6557032"/>
              <a:gd name="connsiteX13132" fmla="*/ 380835 w 4610101"/>
              <a:gd name="connsiteY13132" fmla="*/ 1301885 h 6557032"/>
              <a:gd name="connsiteX13133" fmla="*/ 389946 w 4610101"/>
              <a:gd name="connsiteY13133" fmla="*/ 1309173 h 6557032"/>
              <a:gd name="connsiteX13134" fmla="*/ 380835 w 4610101"/>
              <a:gd name="connsiteY13134" fmla="*/ 1301885 h 6557032"/>
              <a:gd name="connsiteX13135" fmla="*/ 785585 w 4610101"/>
              <a:gd name="connsiteY13135" fmla="*/ 1301657 h 6557032"/>
              <a:gd name="connsiteX13136" fmla="*/ 785539 w 4610101"/>
              <a:gd name="connsiteY13136" fmla="*/ 1302067 h 6557032"/>
              <a:gd name="connsiteX13137" fmla="*/ 781713 w 4610101"/>
              <a:gd name="connsiteY13137" fmla="*/ 1303707 h 6557032"/>
              <a:gd name="connsiteX13138" fmla="*/ 785585 w 4610101"/>
              <a:gd name="connsiteY13138" fmla="*/ 1301657 h 6557032"/>
              <a:gd name="connsiteX13139" fmla="*/ 1225213 w 4610101"/>
              <a:gd name="connsiteY13139" fmla="*/ 1301330 h 6557032"/>
              <a:gd name="connsiteX13140" fmla="*/ 1226141 w 4610101"/>
              <a:gd name="connsiteY13140" fmla="*/ 1301794 h 6557032"/>
              <a:gd name="connsiteX13141" fmla="*/ 1226080 w 4610101"/>
              <a:gd name="connsiteY13141" fmla="*/ 1302371 h 6557032"/>
              <a:gd name="connsiteX13142" fmla="*/ 1224501 w 4610101"/>
              <a:gd name="connsiteY13142" fmla="*/ 1305529 h 6557032"/>
              <a:gd name="connsiteX13143" fmla="*/ 1223045 w 4610101"/>
              <a:gd name="connsiteY13143" fmla="*/ 1304420 h 6557032"/>
              <a:gd name="connsiteX13144" fmla="*/ 1223134 w 4610101"/>
              <a:gd name="connsiteY13144" fmla="*/ 1303707 h 6557032"/>
              <a:gd name="connsiteX13145" fmla="*/ 289214 w 4610101"/>
              <a:gd name="connsiteY13145" fmla="*/ 1301201 h 6557032"/>
              <a:gd name="connsiteX13146" fmla="*/ 273327 w 4610101"/>
              <a:gd name="connsiteY13146" fmla="*/ 1307351 h 6557032"/>
              <a:gd name="connsiteX13147" fmla="*/ 278793 w 4610101"/>
              <a:gd name="connsiteY13147" fmla="*/ 1303707 h 6557032"/>
              <a:gd name="connsiteX13148" fmla="*/ 269682 w 4610101"/>
              <a:gd name="connsiteY13148" fmla="*/ 1307351 h 6557032"/>
              <a:gd name="connsiteX13149" fmla="*/ 280615 w 4610101"/>
              <a:gd name="connsiteY13149" fmla="*/ 1316462 h 6557032"/>
              <a:gd name="connsiteX13150" fmla="*/ 267860 w 4610101"/>
              <a:gd name="connsiteY13150" fmla="*/ 1305529 h 6557032"/>
              <a:gd name="connsiteX13151" fmla="*/ 245994 w 4610101"/>
              <a:gd name="connsiteY13151" fmla="*/ 1312818 h 6557032"/>
              <a:gd name="connsiteX13152" fmla="*/ 266038 w 4610101"/>
              <a:gd name="connsiteY13152" fmla="*/ 1312818 h 6557032"/>
              <a:gd name="connsiteX13153" fmla="*/ 264216 w 4610101"/>
              <a:gd name="connsiteY13153" fmla="*/ 1318284 h 6557032"/>
              <a:gd name="connsiteX13154" fmla="*/ 284259 w 4610101"/>
              <a:gd name="connsiteY13154" fmla="*/ 1320106 h 6557032"/>
              <a:gd name="connsiteX13155" fmla="*/ 282438 w 4610101"/>
              <a:gd name="connsiteY13155" fmla="*/ 1316462 h 6557032"/>
              <a:gd name="connsiteX13156" fmla="*/ 280615 w 4610101"/>
              <a:gd name="connsiteY13156" fmla="*/ 1312818 h 6557032"/>
              <a:gd name="connsiteX13157" fmla="*/ 291549 w 4610101"/>
              <a:gd name="connsiteY13157" fmla="*/ 1310995 h 6557032"/>
              <a:gd name="connsiteX13158" fmla="*/ 286082 w 4610101"/>
              <a:gd name="connsiteY13158" fmla="*/ 1309173 h 6557032"/>
              <a:gd name="connsiteX13159" fmla="*/ 295193 w 4610101"/>
              <a:gd name="connsiteY13159" fmla="*/ 1307351 h 6557032"/>
              <a:gd name="connsiteX13160" fmla="*/ 289214 w 4610101"/>
              <a:gd name="connsiteY13160" fmla="*/ 1301201 h 6557032"/>
              <a:gd name="connsiteX13161" fmla="*/ 1219582 w 4610101"/>
              <a:gd name="connsiteY13161" fmla="*/ 1301156 h 6557032"/>
              <a:gd name="connsiteX13162" fmla="*/ 1220086 w 4610101"/>
              <a:gd name="connsiteY13162" fmla="*/ 1302165 h 6557032"/>
              <a:gd name="connsiteX13163" fmla="*/ 1219718 w 4610101"/>
              <a:gd name="connsiteY13163" fmla="*/ 1301885 h 6557032"/>
              <a:gd name="connsiteX13164" fmla="*/ 3374666 w 4610101"/>
              <a:gd name="connsiteY13164" fmla="*/ 1300062 h 6557032"/>
              <a:gd name="connsiteX13165" fmla="*/ 3372161 w 4610101"/>
              <a:gd name="connsiteY13165" fmla="*/ 1305757 h 6557032"/>
              <a:gd name="connsiteX13166" fmla="*/ 3374666 w 4610101"/>
              <a:gd name="connsiteY13166" fmla="*/ 1306679 h 6557032"/>
              <a:gd name="connsiteX13167" fmla="*/ 3374666 w 4610101"/>
              <a:gd name="connsiteY13167" fmla="*/ 1316462 h 6557032"/>
              <a:gd name="connsiteX13168" fmla="*/ 3376489 w 4610101"/>
              <a:gd name="connsiteY13168" fmla="*/ 1307351 h 6557032"/>
              <a:gd name="connsiteX13169" fmla="*/ 3374666 w 4610101"/>
              <a:gd name="connsiteY13169" fmla="*/ 1306679 h 6557032"/>
              <a:gd name="connsiteX13170" fmla="*/ 3216137 w 4610101"/>
              <a:gd name="connsiteY13170" fmla="*/ 1300062 h 6557032"/>
              <a:gd name="connsiteX13171" fmla="*/ 3217960 w 4610101"/>
              <a:gd name="connsiteY13171" fmla="*/ 1309173 h 6557032"/>
              <a:gd name="connsiteX13172" fmla="*/ 3221604 w 4610101"/>
              <a:gd name="connsiteY13172" fmla="*/ 1309173 h 6557032"/>
              <a:gd name="connsiteX13173" fmla="*/ 3219782 w 4610101"/>
              <a:gd name="connsiteY13173" fmla="*/ 1300062 h 6557032"/>
              <a:gd name="connsiteX13174" fmla="*/ 3216137 w 4610101"/>
              <a:gd name="connsiteY13174" fmla="*/ 1300062 h 6557032"/>
              <a:gd name="connsiteX13175" fmla="*/ 1884128 w 4610101"/>
              <a:gd name="connsiteY13175" fmla="*/ 1300062 h 6557032"/>
              <a:gd name="connsiteX13176" fmla="*/ 1884128 w 4610101"/>
              <a:gd name="connsiteY13176" fmla="*/ 1305529 h 6557032"/>
              <a:gd name="connsiteX13177" fmla="*/ 1891417 w 4610101"/>
              <a:gd name="connsiteY13177" fmla="*/ 1318284 h 6557032"/>
              <a:gd name="connsiteX13178" fmla="*/ 1893239 w 4610101"/>
              <a:gd name="connsiteY13178" fmla="*/ 1316462 h 6557032"/>
              <a:gd name="connsiteX13179" fmla="*/ 1889595 w 4610101"/>
              <a:gd name="connsiteY13179" fmla="*/ 1307351 h 6557032"/>
              <a:gd name="connsiteX13180" fmla="*/ 1895061 w 4610101"/>
              <a:gd name="connsiteY13180" fmla="*/ 1300062 h 6557032"/>
              <a:gd name="connsiteX13181" fmla="*/ 1244545 w 4610101"/>
              <a:gd name="connsiteY13181" fmla="*/ 1300062 h 6557032"/>
              <a:gd name="connsiteX13182" fmla="*/ 1242723 w 4610101"/>
              <a:gd name="connsiteY13182" fmla="*/ 1303707 h 6557032"/>
              <a:gd name="connsiteX13183" fmla="*/ 1244545 w 4610101"/>
              <a:gd name="connsiteY13183" fmla="*/ 1300062 h 6557032"/>
              <a:gd name="connsiteX13184" fmla="*/ 1235434 w 4610101"/>
              <a:gd name="connsiteY13184" fmla="*/ 1300062 h 6557032"/>
              <a:gd name="connsiteX13185" fmla="*/ 1242723 w 4610101"/>
              <a:gd name="connsiteY13185" fmla="*/ 1321929 h 6557032"/>
              <a:gd name="connsiteX13186" fmla="*/ 1239080 w 4610101"/>
              <a:gd name="connsiteY13186" fmla="*/ 1305529 h 6557032"/>
              <a:gd name="connsiteX13187" fmla="*/ 1240901 w 4610101"/>
              <a:gd name="connsiteY13187" fmla="*/ 1303707 h 6557032"/>
              <a:gd name="connsiteX13188" fmla="*/ 1235434 w 4610101"/>
              <a:gd name="connsiteY13188" fmla="*/ 1300062 h 6557032"/>
              <a:gd name="connsiteX13189" fmla="*/ 1229969 w 4610101"/>
              <a:gd name="connsiteY13189" fmla="*/ 1300062 h 6557032"/>
              <a:gd name="connsiteX13190" fmla="*/ 1222679 w 4610101"/>
              <a:gd name="connsiteY13190" fmla="*/ 1309173 h 6557032"/>
              <a:gd name="connsiteX13191" fmla="*/ 1228146 w 4610101"/>
              <a:gd name="connsiteY13191" fmla="*/ 1329217 h 6557032"/>
              <a:gd name="connsiteX13192" fmla="*/ 1240901 w 4610101"/>
              <a:gd name="connsiteY13192" fmla="*/ 1331039 h 6557032"/>
              <a:gd name="connsiteX13193" fmla="*/ 1229969 w 4610101"/>
              <a:gd name="connsiteY13193" fmla="*/ 1300062 h 6557032"/>
              <a:gd name="connsiteX13194" fmla="*/ 765313 w 4610101"/>
              <a:gd name="connsiteY13194" fmla="*/ 1300062 h 6557032"/>
              <a:gd name="connsiteX13195" fmla="*/ 748914 w 4610101"/>
              <a:gd name="connsiteY13195" fmla="*/ 1314640 h 6557032"/>
              <a:gd name="connsiteX13196" fmla="*/ 765313 w 4610101"/>
              <a:gd name="connsiteY13196" fmla="*/ 1314640 h 6557032"/>
              <a:gd name="connsiteX13197" fmla="*/ 765313 w 4610101"/>
              <a:gd name="connsiteY13197" fmla="*/ 1300062 h 6557032"/>
              <a:gd name="connsiteX13198" fmla="*/ 630472 w 4610101"/>
              <a:gd name="connsiteY13198" fmla="*/ 1300062 h 6557032"/>
              <a:gd name="connsiteX13199" fmla="*/ 634117 w 4610101"/>
              <a:gd name="connsiteY13199" fmla="*/ 1309173 h 6557032"/>
              <a:gd name="connsiteX13200" fmla="*/ 630472 w 4610101"/>
              <a:gd name="connsiteY13200" fmla="*/ 1300062 h 6557032"/>
              <a:gd name="connsiteX13201" fmla="*/ 526609 w 4610101"/>
              <a:gd name="connsiteY13201" fmla="*/ 1300062 h 6557032"/>
              <a:gd name="connsiteX13202" fmla="*/ 521142 w 4610101"/>
              <a:gd name="connsiteY13202" fmla="*/ 1301885 h 6557032"/>
              <a:gd name="connsiteX13203" fmla="*/ 517498 w 4610101"/>
              <a:gd name="connsiteY13203" fmla="*/ 1314640 h 6557032"/>
              <a:gd name="connsiteX13204" fmla="*/ 526609 w 4610101"/>
              <a:gd name="connsiteY13204" fmla="*/ 1300062 h 6557032"/>
              <a:gd name="connsiteX13205" fmla="*/ 373546 w 4610101"/>
              <a:gd name="connsiteY13205" fmla="*/ 1300062 h 6557032"/>
              <a:gd name="connsiteX13206" fmla="*/ 364435 w 4610101"/>
              <a:gd name="connsiteY13206" fmla="*/ 1301885 h 6557032"/>
              <a:gd name="connsiteX13207" fmla="*/ 371724 w 4610101"/>
              <a:gd name="connsiteY13207" fmla="*/ 1303707 h 6557032"/>
              <a:gd name="connsiteX13208" fmla="*/ 373546 w 4610101"/>
              <a:gd name="connsiteY13208" fmla="*/ 1300062 h 6557032"/>
              <a:gd name="connsiteX13209" fmla="*/ 3362367 w 4610101"/>
              <a:gd name="connsiteY13209" fmla="*/ 1299607 h 6557032"/>
              <a:gd name="connsiteX13210" fmla="*/ 3358267 w 4610101"/>
              <a:gd name="connsiteY13210" fmla="*/ 1303707 h 6557032"/>
              <a:gd name="connsiteX13211" fmla="*/ 3363734 w 4610101"/>
              <a:gd name="connsiteY13211" fmla="*/ 1303707 h 6557032"/>
              <a:gd name="connsiteX13212" fmla="*/ 3362367 w 4610101"/>
              <a:gd name="connsiteY13212" fmla="*/ 1299607 h 6557032"/>
              <a:gd name="connsiteX13213" fmla="*/ 3084941 w 4610101"/>
              <a:gd name="connsiteY13213" fmla="*/ 1298240 h 6557032"/>
              <a:gd name="connsiteX13214" fmla="*/ 3088585 w 4610101"/>
              <a:gd name="connsiteY13214" fmla="*/ 1305529 h 6557032"/>
              <a:gd name="connsiteX13215" fmla="*/ 3084941 w 4610101"/>
              <a:gd name="connsiteY13215" fmla="*/ 1312818 h 6557032"/>
              <a:gd name="connsiteX13216" fmla="*/ 3104985 w 4610101"/>
              <a:gd name="connsiteY13216" fmla="*/ 1312818 h 6557032"/>
              <a:gd name="connsiteX13217" fmla="*/ 3104985 w 4610101"/>
              <a:gd name="connsiteY13217" fmla="*/ 1307351 h 6557032"/>
              <a:gd name="connsiteX13218" fmla="*/ 3084941 w 4610101"/>
              <a:gd name="connsiteY13218" fmla="*/ 1298240 h 6557032"/>
              <a:gd name="connsiteX13219" fmla="*/ 1907816 w 4610101"/>
              <a:gd name="connsiteY13219" fmla="*/ 1298240 h 6557032"/>
              <a:gd name="connsiteX13220" fmla="*/ 1907816 w 4610101"/>
              <a:gd name="connsiteY13220" fmla="*/ 1301885 h 6557032"/>
              <a:gd name="connsiteX13221" fmla="*/ 1913283 w 4610101"/>
              <a:gd name="connsiteY13221" fmla="*/ 1301885 h 6557032"/>
              <a:gd name="connsiteX13222" fmla="*/ 1911461 w 4610101"/>
              <a:gd name="connsiteY13222" fmla="*/ 1298240 h 6557032"/>
              <a:gd name="connsiteX13223" fmla="*/ 1907816 w 4610101"/>
              <a:gd name="connsiteY13223" fmla="*/ 1298240 h 6557032"/>
              <a:gd name="connsiteX13224" fmla="*/ 1844040 w 4610101"/>
              <a:gd name="connsiteY13224" fmla="*/ 1298240 h 6557032"/>
              <a:gd name="connsiteX13225" fmla="*/ 1844040 w 4610101"/>
              <a:gd name="connsiteY13225" fmla="*/ 1300062 h 6557032"/>
              <a:gd name="connsiteX13226" fmla="*/ 1845864 w 4610101"/>
              <a:gd name="connsiteY13226" fmla="*/ 1300062 h 6557032"/>
              <a:gd name="connsiteX13227" fmla="*/ 1844040 w 4610101"/>
              <a:gd name="connsiteY13227" fmla="*/ 1298240 h 6557032"/>
              <a:gd name="connsiteX13228" fmla="*/ 1113349 w 4610101"/>
              <a:gd name="connsiteY13228" fmla="*/ 1298240 h 6557032"/>
              <a:gd name="connsiteX13229" fmla="*/ 1113349 w 4610101"/>
              <a:gd name="connsiteY13229" fmla="*/ 1301885 h 6557032"/>
              <a:gd name="connsiteX13230" fmla="*/ 1112980 w 4610101"/>
              <a:gd name="connsiteY13230" fmla="*/ 1298940 h 6557032"/>
              <a:gd name="connsiteX13231" fmla="*/ 1109704 w 4610101"/>
              <a:gd name="connsiteY13231" fmla="*/ 1298240 h 6557032"/>
              <a:gd name="connsiteX13232" fmla="*/ 1102416 w 4610101"/>
              <a:gd name="connsiteY13232" fmla="*/ 1300062 h 6557032"/>
              <a:gd name="connsiteX13233" fmla="*/ 1104238 w 4610101"/>
              <a:gd name="connsiteY13233" fmla="*/ 1309173 h 6557032"/>
              <a:gd name="connsiteX13234" fmla="*/ 1109704 w 4610101"/>
              <a:gd name="connsiteY13234" fmla="*/ 1298240 h 6557032"/>
              <a:gd name="connsiteX13235" fmla="*/ 603140 w 4610101"/>
              <a:gd name="connsiteY13235" fmla="*/ 1298240 h 6557032"/>
              <a:gd name="connsiteX13236" fmla="*/ 603140 w 4610101"/>
              <a:gd name="connsiteY13236" fmla="*/ 1305529 h 6557032"/>
              <a:gd name="connsiteX13237" fmla="*/ 606784 w 4610101"/>
              <a:gd name="connsiteY13237" fmla="*/ 1305529 h 6557032"/>
              <a:gd name="connsiteX13238" fmla="*/ 603140 w 4610101"/>
              <a:gd name="connsiteY13238" fmla="*/ 1298240 h 6557032"/>
              <a:gd name="connsiteX13239" fmla="*/ 326169 w 4610101"/>
              <a:gd name="connsiteY13239" fmla="*/ 1298240 h 6557032"/>
              <a:gd name="connsiteX13240" fmla="*/ 318882 w 4610101"/>
              <a:gd name="connsiteY13240" fmla="*/ 1310995 h 6557032"/>
              <a:gd name="connsiteX13241" fmla="*/ 338926 w 4610101"/>
              <a:gd name="connsiteY13241" fmla="*/ 1303707 h 6557032"/>
              <a:gd name="connsiteX13242" fmla="*/ 326169 w 4610101"/>
              <a:gd name="connsiteY13242" fmla="*/ 1298240 h 6557032"/>
              <a:gd name="connsiteX13243" fmla="*/ 306126 w 4610101"/>
              <a:gd name="connsiteY13243" fmla="*/ 1298240 h 6557032"/>
              <a:gd name="connsiteX13244" fmla="*/ 304303 w 4610101"/>
              <a:gd name="connsiteY13244" fmla="*/ 1303707 h 6557032"/>
              <a:gd name="connsiteX13245" fmla="*/ 309771 w 4610101"/>
              <a:gd name="connsiteY13245" fmla="*/ 1301885 h 6557032"/>
              <a:gd name="connsiteX13246" fmla="*/ 306126 w 4610101"/>
              <a:gd name="connsiteY13246" fmla="*/ 1298240 h 6557032"/>
              <a:gd name="connsiteX13247" fmla="*/ 1345306 w 4610101"/>
              <a:gd name="connsiteY13247" fmla="*/ 1297642 h 6557032"/>
              <a:gd name="connsiteX13248" fmla="*/ 1345044 w 4610101"/>
              <a:gd name="connsiteY13248" fmla="*/ 1299697 h 6557032"/>
              <a:gd name="connsiteX13249" fmla="*/ 1344993 w 4610101"/>
              <a:gd name="connsiteY13249" fmla="*/ 1299379 h 6557032"/>
              <a:gd name="connsiteX13250" fmla="*/ 1345306 w 4610101"/>
              <a:gd name="connsiteY13250" fmla="*/ 1297642 h 6557032"/>
              <a:gd name="connsiteX13251" fmla="*/ 297015 w 4610101"/>
              <a:gd name="connsiteY13251" fmla="*/ 1297101 h 6557032"/>
              <a:gd name="connsiteX13252" fmla="*/ 289726 w 4610101"/>
              <a:gd name="connsiteY13252" fmla="*/ 1300062 h 6557032"/>
              <a:gd name="connsiteX13253" fmla="*/ 304303 w 4610101"/>
              <a:gd name="connsiteY13253" fmla="*/ 1298240 h 6557032"/>
              <a:gd name="connsiteX13254" fmla="*/ 297015 w 4610101"/>
              <a:gd name="connsiteY13254" fmla="*/ 1297101 h 6557032"/>
              <a:gd name="connsiteX13255" fmla="*/ 3330934 w 4610101"/>
              <a:gd name="connsiteY13255" fmla="*/ 1296418 h 6557032"/>
              <a:gd name="connsiteX13256" fmla="*/ 3334579 w 4610101"/>
              <a:gd name="connsiteY13256" fmla="*/ 1312818 h 6557032"/>
              <a:gd name="connsiteX13257" fmla="*/ 3343690 w 4610101"/>
              <a:gd name="connsiteY13257" fmla="*/ 1327395 h 6557032"/>
              <a:gd name="connsiteX13258" fmla="*/ 3343690 w 4610101"/>
              <a:gd name="connsiteY13258" fmla="*/ 1321929 h 6557032"/>
              <a:gd name="connsiteX13259" fmla="*/ 3349156 w 4610101"/>
              <a:gd name="connsiteY13259" fmla="*/ 1323751 h 6557032"/>
              <a:gd name="connsiteX13260" fmla="*/ 3347334 w 4610101"/>
              <a:gd name="connsiteY13260" fmla="*/ 1316462 h 6557032"/>
              <a:gd name="connsiteX13261" fmla="*/ 3358267 w 4610101"/>
              <a:gd name="connsiteY13261" fmla="*/ 1316462 h 6557032"/>
              <a:gd name="connsiteX13262" fmla="*/ 3360089 w 4610101"/>
              <a:gd name="connsiteY13262" fmla="*/ 1323751 h 6557032"/>
              <a:gd name="connsiteX13263" fmla="*/ 3367378 w 4610101"/>
              <a:gd name="connsiteY13263" fmla="*/ 1321929 h 6557032"/>
              <a:gd name="connsiteX13264" fmla="*/ 3340045 w 4610101"/>
              <a:gd name="connsiteY13264" fmla="*/ 1314640 h 6557032"/>
              <a:gd name="connsiteX13265" fmla="*/ 3336401 w 4610101"/>
              <a:gd name="connsiteY13265" fmla="*/ 1314640 h 6557032"/>
              <a:gd name="connsiteX13266" fmla="*/ 3340045 w 4610101"/>
              <a:gd name="connsiteY13266" fmla="*/ 1309173 h 6557032"/>
              <a:gd name="connsiteX13267" fmla="*/ 3330934 w 4610101"/>
              <a:gd name="connsiteY13267" fmla="*/ 1296418 h 6557032"/>
              <a:gd name="connsiteX13268" fmla="*/ 1251834 w 4610101"/>
              <a:gd name="connsiteY13268" fmla="*/ 1296418 h 6557032"/>
              <a:gd name="connsiteX13269" fmla="*/ 1246367 w 4610101"/>
              <a:gd name="connsiteY13269" fmla="*/ 1298240 h 6557032"/>
              <a:gd name="connsiteX13270" fmla="*/ 1242723 w 4610101"/>
              <a:gd name="connsiteY13270" fmla="*/ 1305529 h 6557032"/>
              <a:gd name="connsiteX13271" fmla="*/ 1248189 w 4610101"/>
              <a:gd name="connsiteY13271" fmla="*/ 1332862 h 6557032"/>
              <a:gd name="connsiteX13272" fmla="*/ 1251834 w 4610101"/>
              <a:gd name="connsiteY13272" fmla="*/ 1312818 h 6557032"/>
              <a:gd name="connsiteX13273" fmla="*/ 1250012 w 4610101"/>
              <a:gd name="connsiteY13273" fmla="*/ 1309173 h 6557032"/>
              <a:gd name="connsiteX13274" fmla="*/ 1251834 w 4610101"/>
              <a:gd name="connsiteY13274" fmla="*/ 1296418 h 6557032"/>
              <a:gd name="connsiteX13275" fmla="*/ 1217213 w 4610101"/>
              <a:gd name="connsiteY13275" fmla="*/ 1296418 h 6557032"/>
              <a:gd name="connsiteX13276" fmla="*/ 1195346 w 4610101"/>
              <a:gd name="connsiteY13276" fmla="*/ 1298240 h 6557032"/>
              <a:gd name="connsiteX13277" fmla="*/ 1215390 w 4610101"/>
              <a:gd name="connsiteY13277" fmla="*/ 1312818 h 6557032"/>
              <a:gd name="connsiteX13278" fmla="*/ 1220858 w 4610101"/>
              <a:gd name="connsiteY13278" fmla="*/ 1303707 h 6557032"/>
              <a:gd name="connsiteX13279" fmla="*/ 1220086 w 4610101"/>
              <a:gd name="connsiteY13279" fmla="*/ 1302165 h 6557032"/>
              <a:gd name="connsiteX13280" fmla="*/ 1223045 w 4610101"/>
              <a:gd name="connsiteY13280" fmla="*/ 1304420 h 6557032"/>
              <a:gd name="connsiteX13281" fmla="*/ 1222679 w 4610101"/>
              <a:gd name="connsiteY13281" fmla="*/ 1307351 h 6557032"/>
              <a:gd name="connsiteX13282" fmla="*/ 1225868 w 4610101"/>
              <a:gd name="connsiteY13282" fmla="*/ 1304390 h 6557032"/>
              <a:gd name="connsiteX13283" fmla="*/ 1226080 w 4610101"/>
              <a:gd name="connsiteY13283" fmla="*/ 1302371 h 6557032"/>
              <a:gd name="connsiteX13284" fmla="*/ 1226323 w 4610101"/>
              <a:gd name="connsiteY13284" fmla="*/ 1301885 h 6557032"/>
              <a:gd name="connsiteX13285" fmla="*/ 1226141 w 4610101"/>
              <a:gd name="connsiteY13285" fmla="*/ 1301794 h 6557032"/>
              <a:gd name="connsiteX13286" fmla="*/ 1226323 w 4610101"/>
              <a:gd name="connsiteY13286" fmla="*/ 1300062 h 6557032"/>
              <a:gd name="connsiteX13287" fmla="*/ 1225213 w 4610101"/>
              <a:gd name="connsiteY13287" fmla="*/ 1301330 h 6557032"/>
              <a:gd name="connsiteX13288" fmla="*/ 1219036 w 4610101"/>
              <a:gd name="connsiteY13288" fmla="*/ 1298240 h 6557032"/>
              <a:gd name="connsiteX13289" fmla="*/ 1219582 w 4610101"/>
              <a:gd name="connsiteY13289" fmla="*/ 1301156 h 6557032"/>
              <a:gd name="connsiteX13290" fmla="*/ 1166192 w 4610101"/>
              <a:gd name="connsiteY13290" fmla="*/ 1296418 h 6557032"/>
              <a:gd name="connsiteX13291" fmla="*/ 1164370 w 4610101"/>
              <a:gd name="connsiteY13291" fmla="*/ 1300062 h 6557032"/>
              <a:gd name="connsiteX13292" fmla="*/ 1162547 w 4610101"/>
              <a:gd name="connsiteY13292" fmla="*/ 1303707 h 6557032"/>
              <a:gd name="connsiteX13293" fmla="*/ 1177125 w 4610101"/>
              <a:gd name="connsiteY13293" fmla="*/ 1307351 h 6557032"/>
              <a:gd name="connsiteX13294" fmla="*/ 1166192 w 4610101"/>
              <a:gd name="connsiteY13294" fmla="*/ 1296418 h 6557032"/>
              <a:gd name="connsiteX13295" fmla="*/ 1098771 w 4610101"/>
              <a:gd name="connsiteY13295" fmla="*/ 1296418 h 6557032"/>
              <a:gd name="connsiteX13296" fmla="*/ 1098771 w 4610101"/>
              <a:gd name="connsiteY13296" fmla="*/ 1300062 h 6557032"/>
              <a:gd name="connsiteX13297" fmla="*/ 1104238 w 4610101"/>
              <a:gd name="connsiteY13297" fmla="*/ 1298240 h 6557032"/>
              <a:gd name="connsiteX13298" fmla="*/ 1098771 w 4610101"/>
              <a:gd name="connsiteY13298" fmla="*/ 1296418 h 6557032"/>
              <a:gd name="connsiteX13299" fmla="*/ 484700 w 4610101"/>
              <a:gd name="connsiteY13299" fmla="*/ 1296418 h 6557032"/>
              <a:gd name="connsiteX13300" fmla="*/ 477410 w 4610101"/>
              <a:gd name="connsiteY13300" fmla="*/ 1303707 h 6557032"/>
              <a:gd name="connsiteX13301" fmla="*/ 462832 w 4610101"/>
              <a:gd name="connsiteY13301" fmla="*/ 1309173 h 6557032"/>
              <a:gd name="connsiteX13302" fmla="*/ 482876 w 4610101"/>
              <a:gd name="connsiteY13302" fmla="*/ 1314640 h 6557032"/>
              <a:gd name="connsiteX13303" fmla="*/ 490165 w 4610101"/>
              <a:gd name="connsiteY13303" fmla="*/ 1303707 h 6557032"/>
              <a:gd name="connsiteX13304" fmla="*/ 484700 w 4610101"/>
              <a:gd name="connsiteY13304" fmla="*/ 1296418 h 6557032"/>
              <a:gd name="connsiteX13305" fmla="*/ 482876 w 4610101"/>
              <a:gd name="connsiteY13305" fmla="*/ 1296418 h 6557032"/>
              <a:gd name="connsiteX13306" fmla="*/ 461010 w 4610101"/>
              <a:gd name="connsiteY13306" fmla="*/ 1303707 h 6557032"/>
              <a:gd name="connsiteX13307" fmla="*/ 482876 w 4610101"/>
              <a:gd name="connsiteY13307" fmla="*/ 1296418 h 6557032"/>
              <a:gd name="connsiteX13308" fmla="*/ 448256 w 4610101"/>
              <a:gd name="connsiteY13308" fmla="*/ 1296418 h 6557032"/>
              <a:gd name="connsiteX13309" fmla="*/ 451899 w 4610101"/>
              <a:gd name="connsiteY13309" fmla="*/ 1296418 h 6557032"/>
              <a:gd name="connsiteX13310" fmla="*/ 448256 w 4610101"/>
              <a:gd name="connsiteY13310" fmla="*/ 1296418 h 6557032"/>
              <a:gd name="connsiteX13311" fmla="*/ 384479 w 4610101"/>
              <a:gd name="connsiteY13311" fmla="*/ 1296418 h 6557032"/>
              <a:gd name="connsiteX13312" fmla="*/ 400879 w 4610101"/>
              <a:gd name="connsiteY13312" fmla="*/ 1301885 h 6557032"/>
              <a:gd name="connsiteX13313" fmla="*/ 393590 w 4610101"/>
              <a:gd name="connsiteY13313" fmla="*/ 1305529 h 6557032"/>
              <a:gd name="connsiteX13314" fmla="*/ 400879 w 4610101"/>
              <a:gd name="connsiteY13314" fmla="*/ 1301885 h 6557032"/>
              <a:gd name="connsiteX13315" fmla="*/ 400879 w 4610101"/>
              <a:gd name="connsiteY13315" fmla="*/ 1296418 h 6557032"/>
              <a:gd name="connsiteX13316" fmla="*/ 437322 w 4610101"/>
              <a:gd name="connsiteY13316" fmla="*/ 1296191 h 6557032"/>
              <a:gd name="connsiteX13317" fmla="*/ 428211 w 4610101"/>
              <a:gd name="connsiteY13317" fmla="*/ 1303707 h 6557032"/>
              <a:gd name="connsiteX13318" fmla="*/ 446433 w 4610101"/>
              <a:gd name="connsiteY13318" fmla="*/ 1303707 h 6557032"/>
              <a:gd name="connsiteX13319" fmla="*/ 437322 w 4610101"/>
              <a:gd name="connsiteY13319" fmla="*/ 1296191 h 6557032"/>
              <a:gd name="connsiteX13320" fmla="*/ 3129218 w 4610101"/>
              <a:gd name="connsiteY13320" fmla="*/ 1296043 h 6557032"/>
              <a:gd name="connsiteX13321" fmla="*/ 3127079 w 4610101"/>
              <a:gd name="connsiteY13321" fmla="*/ 1298468 h 6557032"/>
              <a:gd name="connsiteX13322" fmla="*/ 3119562 w 4610101"/>
              <a:gd name="connsiteY13322" fmla="*/ 1298240 h 6557032"/>
              <a:gd name="connsiteX13323" fmla="*/ 3119473 w 4610101"/>
              <a:gd name="connsiteY13323" fmla="*/ 1296572 h 6557032"/>
              <a:gd name="connsiteX13324" fmla="*/ 3126395 w 4610101"/>
              <a:gd name="connsiteY13324" fmla="*/ 1296873 h 6557032"/>
              <a:gd name="connsiteX13325" fmla="*/ 207006 w 4610101"/>
              <a:gd name="connsiteY13325" fmla="*/ 1295860 h 6557032"/>
              <a:gd name="connsiteX13326" fmla="*/ 211372 w 4610101"/>
              <a:gd name="connsiteY13326" fmla="*/ 1298240 h 6557032"/>
              <a:gd name="connsiteX13327" fmla="*/ 210204 w 4610101"/>
              <a:gd name="connsiteY13327" fmla="*/ 1298134 h 6557032"/>
              <a:gd name="connsiteX13328" fmla="*/ 3243698 w 4610101"/>
              <a:gd name="connsiteY13328" fmla="*/ 1294596 h 6557032"/>
              <a:gd name="connsiteX13329" fmla="*/ 3239826 w 4610101"/>
              <a:gd name="connsiteY13329" fmla="*/ 1300062 h 6557032"/>
              <a:gd name="connsiteX13330" fmla="*/ 3250759 w 4610101"/>
              <a:gd name="connsiteY13330" fmla="*/ 1301885 h 6557032"/>
              <a:gd name="connsiteX13331" fmla="*/ 3248937 w 4610101"/>
              <a:gd name="connsiteY13331" fmla="*/ 1294596 h 6557032"/>
              <a:gd name="connsiteX13332" fmla="*/ 3243698 w 4610101"/>
              <a:gd name="connsiteY13332" fmla="*/ 1294596 h 6557032"/>
              <a:gd name="connsiteX13333" fmla="*/ 1115171 w 4610101"/>
              <a:gd name="connsiteY13333" fmla="*/ 1294596 h 6557032"/>
              <a:gd name="connsiteX13334" fmla="*/ 1112893 w 4610101"/>
              <a:gd name="connsiteY13334" fmla="*/ 1298240 h 6557032"/>
              <a:gd name="connsiteX13335" fmla="*/ 1112980 w 4610101"/>
              <a:gd name="connsiteY13335" fmla="*/ 1298940 h 6557032"/>
              <a:gd name="connsiteX13336" fmla="*/ 1108794 w 4610101"/>
              <a:gd name="connsiteY13336" fmla="*/ 1306895 h 6557032"/>
              <a:gd name="connsiteX13337" fmla="*/ 1109704 w 4610101"/>
              <a:gd name="connsiteY13337" fmla="*/ 1318284 h 6557032"/>
              <a:gd name="connsiteX13338" fmla="*/ 1111526 w 4610101"/>
              <a:gd name="connsiteY13338" fmla="*/ 1316462 h 6557032"/>
              <a:gd name="connsiteX13339" fmla="*/ 1115171 w 4610101"/>
              <a:gd name="connsiteY13339" fmla="*/ 1331039 h 6557032"/>
              <a:gd name="connsiteX13340" fmla="*/ 1115171 w 4610101"/>
              <a:gd name="connsiteY13340" fmla="*/ 1294596 h 6557032"/>
              <a:gd name="connsiteX13341" fmla="*/ 424567 w 4610101"/>
              <a:gd name="connsiteY13341" fmla="*/ 1294596 h 6557032"/>
              <a:gd name="connsiteX13342" fmla="*/ 420923 w 4610101"/>
              <a:gd name="connsiteY13342" fmla="*/ 1296418 h 6557032"/>
              <a:gd name="connsiteX13343" fmla="*/ 424567 w 4610101"/>
              <a:gd name="connsiteY13343" fmla="*/ 1294596 h 6557032"/>
              <a:gd name="connsiteX13344" fmla="*/ 362613 w 4610101"/>
              <a:gd name="connsiteY13344" fmla="*/ 1294596 h 6557032"/>
              <a:gd name="connsiteX13345" fmla="*/ 368079 w 4610101"/>
              <a:gd name="connsiteY13345" fmla="*/ 1296418 h 6557032"/>
              <a:gd name="connsiteX13346" fmla="*/ 362613 w 4610101"/>
              <a:gd name="connsiteY13346" fmla="*/ 1294596 h 6557032"/>
              <a:gd name="connsiteX13347" fmla="*/ 273327 w 4610101"/>
              <a:gd name="connsiteY13347" fmla="*/ 1294596 h 6557032"/>
              <a:gd name="connsiteX13348" fmla="*/ 284259 w 4610101"/>
              <a:gd name="connsiteY13348" fmla="*/ 1296418 h 6557032"/>
              <a:gd name="connsiteX13349" fmla="*/ 273327 w 4610101"/>
              <a:gd name="connsiteY13349" fmla="*/ 1294596 h 6557032"/>
              <a:gd name="connsiteX13350" fmla="*/ 3453872 w 4610101"/>
              <a:gd name="connsiteY13350" fmla="*/ 1294150 h 6557032"/>
              <a:gd name="connsiteX13351" fmla="*/ 3453020 w 4610101"/>
              <a:gd name="connsiteY13351" fmla="*/ 1298240 h 6557032"/>
              <a:gd name="connsiteX13352" fmla="*/ 3451261 w 4610101"/>
              <a:gd name="connsiteY13352" fmla="*/ 1294586 h 6557032"/>
              <a:gd name="connsiteX13353" fmla="*/ 3377172 w 4610101"/>
              <a:gd name="connsiteY13353" fmla="*/ 1293457 h 6557032"/>
              <a:gd name="connsiteX13354" fmla="*/ 3369200 w 4610101"/>
              <a:gd name="connsiteY13354" fmla="*/ 1294596 h 6557032"/>
              <a:gd name="connsiteX13355" fmla="*/ 3383777 w 4610101"/>
              <a:gd name="connsiteY13355" fmla="*/ 1296418 h 6557032"/>
              <a:gd name="connsiteX13356" fmla="*/ 3377172 w 4610101"/>
              <a:gd name="connsiteY13356" fmla="*/ 1293457 h 6557032"/>
              <a:gd name="connsiteX13357" fmla="*/ 3301780 w 4610101"/>
              <a:gd name="connsiteY13357" fmla="*/ 1292774 h 6557032"/>
              <a:gd name="connsiteX13358" fmla="*/ 3298135 w 4610101"/>
              <a:gd name="connsiteY13358" fmla="*/ 1294596 h 6557032"/>
              <a:gd name="connsiteX13359" fmla="*/ 3292669 w 4610101"/>
              <a:gd name="connsiteY13359" fmla="*/ 1298240 h 6557032"/>
              <a:gd name="connsiteX13360" fmla="*/ 3301780 w 4610101"/>
              <a:gd name="connsiteY13360" fmla="*/ 1300062 h 6557032"/>
              <a:gd name="connsiteX13361" fmla="*/ 3301780 w 4610101"/>
              <a:gd name="connsiteY13361" fmla="*/ 1292774 h 6557032"/>
              <a:gd name="connsiteX13362" fmla="*/ 3057608 w 4610101"/>
              <a:gd name="connsiteY13362" fmla="*/ 1292774 h 6557032"/>
              <a:gd name="connsiteX13363" fmla="*/ 3059430 w 4610101"/>
              <a:gd name="connsiteY13363" fmla="*/ 1307351 h 6557032"/>
              <a:gd name="connsiteX13364" fmla="*/ 3064897 w 4610101"/>
              <a:gd name="connsiteY13364" fmla="*/ 1309173 h 6557032"/>
              <a:gd name="connsiteX13365" fmla="*/ 3066719 w 4610101"/>
              <a:gd name="connsiteY13365" fmla="*/ 1300062 h 6557032"/>
              <a:gd name="connsiteX13366" fmla="*/ 3068541 w 4610101"/>
              <a:gd name="connsiteY13366" fmla="*/ 1305529 h 6557032"/>
              <a:gd name="connsiteX13367" fmla="*/ 3057608 w 4610101"/>
              <a:gd name="connsiteY13367" fmla="*/ 1292774 h 6557032"/>
              <a:gd name="connsiteX13368" fmla="*/ 2826192 w 4610101"/>
              <a:gd name="connsiteY13368" fmla="*/ 1292774 h 6557032"/>
              <a:gd name="connsiteX13369" fmla="*/ 2829837 w 4610101"/>
              <a:gd name="connsiteY13369" fmla="*/ 1303707 h 6557032"/>
              <a:gd name="connsiteX13370" fmla="*/ 2846236 w 4610101"/>
              <a:gd name="connsiteY13370" fmla="*/ 1298240 h 6557032"/>
              <a:gd name="connsiteX13371" fmla="*/ 2826192 w 4610101"/>
              <a:gd name="connsiteY13371" fmla="*/ 1292774 h 6557032"/>
              <a:gd name="connsiteX13372" fmla="*/ 1158903 w 4610101"/>
              <a:gd name="connsiteY13372" fmla="*/ 1292774 h 6557032"/>
              <a:gd name="connsiteX13373" fmla="*/ 1160725 w 4610101"/>
              <a:gd name="connsiteY13373" fmla="*/ 1301885 h 6557032"/>
              <a:gd name="connsiteX13374" fmla="*/ 1164370 w 4610101"/>
              <a:gd name="connsiteY13374" fmla="*/ 1294596 h 6557032"/>
              <a:gd name="connsiteX13375" fmla="*/ 1158903 w 4610101"/>
              <a:gd name="connsiteY13375" fmla="*/ 1292774 h 6557032"/>
              <a:gd name="connsiteX13376" fmla="*/ 818156 w 4610101"/>
              <a:gd name="connsiteY13376" fmla="*/ 1292774 h 6557032"/>
              <a:gd name="connsiteX13377" fmla="*/ 812690 w 4610101"/>
              <a:gd name="connsiteY13377" fmla="*/ 1294596 h 6557032"/>
              <a:gd name="connsiteX13378" fmla="*/ 816334 w 4610101"/>
              <a:gd name="connsiteY13378" fmla="*/ 1305529 h 6557032"/>
              <a:gd name="connsiteX13379" fmla="*/ 818156 w 4610101"/>
              <a:gd name="connsiteY13379" fmla="*/ 1292774 h 6557032"/>
              <a:gd name="connsiteX13380" fmla="*/ 683316 w 4610101"/>
              <a:gd name="connsiteY13380" fmla="*/ 1292774 h 6557032"/>
              <a:gd name="connsiteX13381" fmla="*/ 672383 w 4610101"/>
              <a:gd name="connsiteY13381" fmla="*/ 1331039 h 6557032"/>
              <a:gd name="connsiteX13382" fmla="*/ 683316 w 4610101"/>
              <a:gd name="connsiteY13382" fmla="*/ 1334684 h 6557032"/>
              <a:gd name="connsiteX13383" fmla="*/ 674205 w 4610101"/>
              <a:gd name="connsiteY13383" fmla="*/ 1327395 h 6557032"/>
              <a:gd name="connsiteX13384" fmla="*/ 679671 w 4610101"/>
              <a:gd name="connsiteY13384" fmla="*/ 1327395 h 6557032"/>
              <a:gd name="connsiteX13385" fmla="*/ 677849 w 4610101"/>
              <a:gd name="connsiteY13385" fmla="*/ 1307351 h 6557032"/>
              <a:gd name="connsiteX13386" fmla="*/ 681493 w 4610101"/>
              <a:gd name="connsiteY13386" fmla="*/ 1323751 h 6557032"/>
              <a:gd name="connsiteX13387" fmla="*/ 686960 w 4610101"/>
              <a:gd name="connsiteY13387" fmla="*/ 1301885 h 6557032"/>
              <a:gd name="connsiteX13388" fmla="*/ 692426 w 4610101"/>
              <a:gd name="connsiteY13388" fmla="*/ 1310995 h 6557032"/>
              <a:gd name="connsiteX13389" fmla="*/ 692426 w 4610101"/>
              <a:gd name="connsiteY13389" fmla="*/ 1332862 h 6557032"/>
              <a:gd name="connsiteX13390" fmla="*/ 697893 w 4610101"/>
              <a:gd name="connsiteY13390" fmla="*/ 1321929 h 6557032"/>
              <a:gd name="connsiteX13391" fmla="*/ 694249 w 4610101"/>
              <a:gd name="connsiteY13391" fmla="*/ 1305529 h 6557032"/>
              <a:gd name="connsiteX13392" fmla="*/ 697893 w 4610101"/>
              <a:gd name="connsiteY13392" fmla="*/ 1320106 h 6557032"/>
              <a:gd name="connsiteX13393" fmla="*/ 710648 w 4610101"/>
              <a:gd name="connsiteY13393" fmla="*/ 1305529 h 6557032"/>
              <a:gd name="connsiteX13394" fmla="*/ 707004 w 4610101"/>
              <a:gd name="connsiteY13394" fmla="*/ 1301885 h 6557032"/>
              <a:gd name="connsiteX13395" fmla="*/ 714293 w 4610101"/>
              <a:gd name="connsiteY13395" fmla="*/ 1298240 h 6557032"/>
              <a:gd name="connsiteX13396" fmla="*/ 690604 w 4610101"/>
              <a:gd name="connsiteY13396" fmla="*/ 1292774 h 6557032"/>
              <a:gd name="connsiteX13397" fmla="*/ 694249 w 4610101"/>
              <a:gd name="connsiteY13397" fmla="*/ 1303707 h 6557032"/>
              <a:gd name="connsiteX13398" fmla="*/ 683316 w 4610101"/>
              <a:gd name="connsiteY13398" fmla="*/ 1292774 h 6557032"/>
              <a:gd name="connsiteX13399" fmla="*/ 577630 w 4610101"/>
              <a:gd name="connsiteY13399" fmla="*/ 1292774 h 6557032"/>
              <a:gd name="connsiteX13400" fmla="*/ 575808 w 4610101"/>
              <a:gd name="connsiteY13400" fmla="*/ 1300062 h 6557032"/>
              <a:gd name="connsiteX13401" fmla="*/ 583096 w 4610101"/>
              <a:gd name="connsiteY13401" fmla="*/ 1305529 h 6557032"/>
              <a:gd name="connsiteX13402" fmla="*/ 586741 w 4610101"/>
              <a:gd name="connsiteY13402" fmla="*/ 1300062 h 6557032"/>
              <a:gd name="connsiteX13403" fmla="*/ 577630 w 4610101"/>
              <a:gd name="connsiteY13403" fmla="*/ 1292774 h 6557032"/>
              <a:gd name="connsiteX13404" fmla="*/ 264216 w 4610101"/>
              <a:gd name="connsiteY13404" fmla="*/ 1292774 h 6557032"/>
              <a:gd name="connsiteX13405" fmla="*/ 255105 w 4610101"/>
              <a:gd name="connsiteY13405" fmla="*/ 1296418 h 6557032"/>
              <a:gd name="connsiteX13406" fmla="*/ 273327 w 4610101"/>
              <a:gd name="connsiteY13406" fmla="*/ 1298240 h 6557032"/>
              <a:gd name="connsiteX13407" fmla="*/ 264216 w 4610101"/>
              <a:gd name="connsiteY13407" fmla="*/ 1292774 h 6557032"/>
              <a:gd name="connsiteX13408" fmla="*/ 236883 w 4610101"/>
              <a:gd name="connsiteY13408" fmla="*/ 1292774 h 6557032"/>
              <a:gd name="connsiteX13409" fmla="*/ 225950 w 4610101"/>
              <a:gd name="connsiteY13409" fmla="*/ 1294596 h 6557032"/>
              <a:gd name="connsiteX13410" fmla="*/ 260571 w 4610101"/>
              <a:gd name="connsiteY13410" fmla="*/ 1303707 h 6557032"/>
              <a:gd name="connsiteX13411" fmla="*/ 236883 w 4610101"/>
              <a:gd name="connsiteY13411" fmla="*/ 1292774 h 6557032"/>
              <a:gd name="connsiteX13412" fmla="*/ 1340698 w 4610101"/>
              <a:gd name="connsiteY13412" fmla="*/ 1292570 h 6557032"/>
              <a:gd name="connsiteX13413" fmla="*/ 1341120 w 4610101"/>
              <a:gd name="connsiteY13413" fmla="*/ 1294596 h 6557032"/>
              <a:gd name="connsiteX13414" fmla="*/ 1339546 w 4610101"/>
              <a:gd name="connsiteY13414" fmla="*/ 1294596 h 6557032"/>
              <a:gd name="connsiteX13415" fmla="*/ 784446 w 4610101"/>
              <a:gd name="connsiteY13415" fmla="*/ 1292090 h 6557032"/>
              <a:gd name="connsiteX13416" fmla="*/ 774424 w 4610101"/>
              <a:gd name="connsiteY13416" fmla="*/ 1298240 h 6557032"/>
              <a:gd name="connsiteX13417" fmla="*/ 770781 w 4610101"/>
              <a:gd name="connsiteY13417" fmla="*/ 1309173 h 6557032"/>
              <a:gd name="connsiteX13418" fmla="*/ 772602 w 4610101"/>
              <a:gd name="connsiteY13418" fmla="*/ 1314640 h 6557032"/>
              <a:gd name="connsiteX13419" fmla="*/ 770781 w 4610101"/>
              <a:gd name="connsiteY13419" fmla="*/ 1318284 h 6557032"/>
              <a:gd name="connsiteX13420" fmla="*/ 768959 w 4610101"/>
              <a:gd name="connsiteY13420" fmla="*/ 1314640 h 6557032"/>
              <a:gd name="connsiteX13421" fmla="*/ 765313 w 4610101"/>
              <a:gd name="connsiteY13421" fmla="*/ 1321929 h 6557032"/>
              <a:gd name="connsiteX13422" fmla="*/ 776246 w 4610101"/>
              <a:gd name="connsiteY13422" fmla="*/ 1321929 h 6557032"/>
              <a:gd name="connsiteX13423" fmla="*/ 778070 w 4610101"/>
              <a:gd name="connsiteY13423" fmla="*/ 1320106 h 6557032"/>
              <a:gd name="connsiteX13424" fmla="*/ 781713 w 4610101"/>
              <a:gd name="connsiteY13424" fmla="*/ 1321929 h 6557032"/>
              <a:gd name="connsiteX13425" fmla="*/ 801757 w 4610101"/>
              <a:gd name="connsiteY13425" fmla="*/ 1300062 h 6557032"/>
              <a:gd name="connsiteX13426" fmla="*/ 785357 w 4610101"/>
              <a:gd name="connsiteY13426" fmla="*/ 1303707 h 6557032"/>
              <a:gd name="connsiteX13427" fmla="*/ 785539 w 4610101"/>
              <a:gd name="connsiteY13427" fmla="*/ 1302067 h 6557032"/>
              <a:gd name="connsiteX13428" fmla="*/ 794468 w 4610101"/>
              <a:gd name="connsiteY13428" fmla="*/ 1298240 h 6557032"/>
              <a:gd name="connsiteX13429" fmla="*/ 784446 w 4610101"/>
              <a:gd name="connsiteY13429" fmla="*/ 1292090 h 6557032"/>
              <a:gd name="connsiteX13430" fmla="*/ 1811241 w 4610101"/>
              <a:gd name="connsiteY13430" fmla="*/ 1290951 h 6557032"/>
              <a:gd name="connsiteX13431" fmla="*/ 1813063 w 4610101"/>
              <a:gd name="connsiteY13431" fmla="*/ 1292774 h 6557032"/>
              <a:gd name="connsiteX13432" fmla="*/ 1811901 w 4610101"/>
              <a:gd name="connsiteY13432" fmla="*/ 1291831 h 6557032"/>
              <a:gd name="connsiteX13433" fmla="*/ 1250012 w 4610101"/>
              <a:gd name="connsiteY13433" fmla="*/ 1290951 h 6557032"/>
              <a:gd name="connsiteX13434" fmla="*/ 1246367 w 4610101"/>
              <a:gd name="connsiteY13434" fmla="*/ 1296418 h 6557032"/>
              <a:gd name="connsiteX13435" fmla="*/ 1250012 w 4610101"/>
              <a:gd name="connsiteY13435" fmla="*/ 1296418 h 6557032"/>
              <a:gd name="connsiteX13436" fmla="*/ 1250012 w 4610101"/>
              <a:gd name="connsiteY13436" fmla="*/ 1290951 h 6557032"/>
              <a:gd name="connsiteX13437" fmla="*/ 1175303 w 4610101"/>
              <a:gd name="connsiteY13437" fmla="*/ 1290951 h 6557032"/>
              <a:gd name="connsiteX13438" fmla="*/ 1193525 w 4610101"/>
              <a:gd name="connsiteY13438" fmla="*/ 1300062 h 6557032"/>
              <a:gd name="connsiteX13439" fmla="*/ 1175303 w 4610101"/>
              <a:gd name="connsiteY13439" fmla="*/ 1290951 h 6557032"/>
              <a:gd name="connsiteX13440" fmla="*/ 1131570 w 4610101"/>
              <a:gd name="connsiteY13440" fmla="*/ 1290951 h 6557032"/>
              <a:gd name="connsiteX13441" fmla="*/ 1135215 w 4610101"/>
              <a:gd name="connsiteY13441" fmla="*/ 1292774 h 6557032"/>
              <a:gd name="connsiteX13442" fmla="*/ 1131570 w 4610101"/>
              <a:gd name="connsiteY13442" fmla="*/ 1290951 h 6557032"/>
              <a:gd name="connsiteX13443" fmla="*/ 747092 w 4610101"/>
              <a:gd name="connsiteY13443" fmla="*/ 1290951 h 6557032"/>
              <a:gd name="connsiteX13444" fmla="*/ 743447 w 4610101"/>
              <a:gd name="connsiteY13444" fmla="*/ 1294596 h 6557032"/>
              <a:gd name="connsiteX13445" fmla="*/ 743447 w 4610101"/>
              <a:gd name="connsiteY13445" fmla="*/ 1298240 h 6557032"/>
              <a:gd name="connsiteX13446" fmla="*/ 747092 w 4610101"/>
              <a:gd name="connsiteY13446" fmla="*/ 1290951 h 6557032"/>
              <a:gd name="connsiteX13447" fmla="*/ 3453020 w 4610101"/>
              <a:gd name="connsiteY13447" fmla="*/ 1290951 h 6557032"/>
              <a:gd name="connsiteX13448" fmla="*/ 3453020 w 4610101"/>
              <a:gd name="connsiteY13448" fmla="*/ 1290951 h 6557032"/>
              <a:gd name="connsiteX13449" fmla="*/ 3453020 w 4610101"/>
              <a:gd name="connsiteY13449" fmla="*/ 1290951 h 6557032"/>
              <a:gd name="connsiteX13450" fmla="*/ 822570 w 4610101"/>
              <a:gd name="connsiteY13450" fmla="*/ 1290923 h 6557032"/>
              <a:gd name="connsiteX13451" fmla="*/ 821801 w 4610101"/>
              <a:gd name="connsiteY13451" fmla="*/ 1305529 h 6557032"/>
              <a:gd name="connsiteX13452" fmla="*/ 830912 w 4610101"/>
              <a:gd name="connsiteY13452" fmla="*/ 1309173 h 6557032"/>
              <a:gd name="connsiteX13453" fmla="*/ 827267 w 4610101"/>
              <a:gd name="connsiteY13453" fmla="*/ 1292774 h 6557032"/>
              <a:gd name="connsiteX13454" fmla="*/ 822570 w 4610101"/>
              <a:gd name="connsiteY13454" fmla="*/ 1290923 h 6557032"/>
              <a:gd name="connsiteX13455" fmla="*/ 3453113 w 4610101"/>
              <a:gd name="connsiteY13455" fmla="*/ 1290842 h 6557032"/>
              <a:gd name="connsiteX13456" fmla="*/ 3453149 w 4610101"/>
              <a:gd name="connsiteY13456" fmla="*/ 1290908 h 6557032"/>
              <a:gd name="connsiteX13457" fmla="*/ 3453020 w 4610101"/>
              <a:gd name="connsiteY13457" fmla="*/ 1290951 h 6557032"/>
              <a:gd name="connsiteX13458" fmla="*/ 504743 w 4610101"/>
              <a:gd name="connsiteY13458" fmla="*/ 1290496 h 6557032"/>
              <a:gd name="connsiteX13459" fmla="*/ 491987 w 4610101"/>
              <a:gd name="connsiteY13459" fmla="*/ 1292774 h 6557032"/>
              <a:gd name="connsiteX13460" fmla="*/ 495632 w 4610101"/>
              <a:gd name="connsiteY13460" fmla="*/ 1296418 h 6557032"/>
              <a:gd name="connsiteX13461" fmla="*/ 488343 w 4610101"/>
              <a:gd name="connsiteY13461" fmla="*/ 1296418 h 6557032"/>
              <a:gd name="connsiteX13462" fmla="*/ 495632 w 4610101"/>
              <a:gd name="connsiteY13462" fmla="*/ 1307351 h 6557032"/>
              <a:gd name="connsiteX13463" fmla="*/ 501098 w 4610101"/>
              <a:gd name="connsiteY13463" fmla="*/ 1300062 h 6557032"/>
              <a:gd name="connsiteX13464" fmla="*/ 495632 w 4610101"/>
              <a:gd name="connsiteY13464" fmla="*/ 1298240 h 6557032"/>
              <a:gd name="connsiteX13465" fmla="*/ 504743 w 4610101"/>
              <a:gd name="connsiteY13465" fmla="*/ 1298240 h 6557032"/>
              <a:gd name="connsiteX13466" fmla="*/ 508387 w 4610101"/>
              <a:gd name="connsiteY13466" fmla="*/ 1292774 h 6557032"/>
              <a:gd name="connsiteX13467" fmla="*/ 508387 w 4610101"/>
              <a:gd name="connsiteY13467" fmla="*/ 1296418 h 6557032"/>
              <a:gd name="connsiteX13468" fmla="*/ 517498 w 4610101"/>
              <a:gd name="connsiteY13468" fmla="*/ 1290951 h 6557032"/>
              <a:gd name="connsiteX13469" fmla="*/ 504743 w 4610101"/>
              <a:gd name="connsiteY13469" fmla="*/ 1290496 h 6557032"/>
              <a:gd name="connsiteX13470" fmla="*/ 225267 w 4610101"/>
              <a:gd name="connsiteY13470" fmla="*/ 1290496 h 6557032"/>
              <a:gd name="connsiteX13471" fmla="*/ 224128 w 4610101"/>
              <a:gd name="connsiteY13471" fmla="*/ 1292774 h 6557032"/>
              <a:gd name="connsiteX13472" fmla="*/ 233239 w 4610101"/>
              <a:gd name="connsiteY13472" fmla="*/ 1292774 h 6557032"/>
              <a:gd name="connsiteX13473" fmla="*/ 227772 w 4610101"/>
              <a:gd name="connsiteY13473" fmla="*/ 1290951 h 6557032"/>
              <a:gd name="connsiteX13474" fmla="*/ 225267 w 4610101"/>
              <a:gd name="connsiteY13474" fmla="*/ 1290496 h 6557032"/>
              <a:gd name="connsiteX13475" fmla="*/ 1321761 w 4610101"/>
              <a:gd name="connsiteY13475" fmla="*/ 1289812 h 6557032"/>
              <a:gd name="connsiteX13476" fmla="*/ 1322899 w 4610101"/>
              <a:gd name="connsiteY13476" fmla="*/ 1292774 h 6557032"/>
              <a:gd name="connsiteX13477" fmla="*/ 1324721 w 4610101"/>
              <a:gd name="connsiteY13477" fmla="*/ 1290951 h 6557032"/>
              <a:gd name="connsiteX13478" fmla="*/ 1321761 w 4610101"/>
              <a:gd name="connsiteY13478" fmla="*/ 1289812 h 6557032"/>
              <a:gd name="connsiteX13479" fmla="*/ 350768 w 4610101"/>
              <a:gd name="connsiteY13479" fmla="*/ 1289812 h 6557032"/>
              <a:gd name="connsiteX13480" fmla="*/ 342569 w 4610101"/>
              <a:gd name="connsiteY13480" fmla="*/ 1292774 h 6557032"/>
              <a:gd name="connsiteX13481" fmla="*/ 358969 w 4610101"/>
              <a:gd name="connsiteY13481" fmla="*/ 1290951 h 6557032"/>
              <a:gd name="connsiteX13482" fmla="*/ 350768 w 4610101"/>
              <a:gd name="connsiteY13482" fmla="*/ 1289812 h 6557032"/>
              <a:gd name="connsiteX13483" fmla="*/ 1239173 w 4610101"/>
              <a:gd name="connsiteY13483" fmla="*/ 1289602 h 6557032"/>
              <a:gd name="connsiteX13484" fmla="*/ 1239306 w 4610101"/>
              <a:gd name="connsiteY13484" fmla="*/ 1289813 h 6557032"/>
              <a:gd name="connsiteX13485" fmla="*/ 1239229 w 4610101"/>
              <a:gd name="connsiteY13485" fmla="*/ 1289878 h 6557032"/>
              <a:gd name="connsiteX13486" fmla="*/ 3001121 w 4610101"/>
              <a:gd name="connsiteY13486" fmla="*/ 1289129 h 6557032"/>
              <a:gd name="connsiteX13487" fmla="*/ 2992010 w 4610101"/>
              <a:gd name="connsiteY13487" fmla="*/ 1290951 h 6557032"/>
              <a:gd name="connsiteX13488" fmla="*/ 2993832 w 4610101"/>
              <a:gd name="connsiteY13488" fmla="*/ 1296418 h 6557032"/>
              <a:gd name="connsiteX13489" fmla="*/ 2977432 w 4610101"/>
              <a:gd name="connsiteY13489" fmla="*/ 1296418 h 6557032"/>
              <a:gd name="connsiteX13490" fmla="*/ 2973788 w 4610101"/>
              <a:gd name="connsiteY13490" fmla="*/ 1305529 h 6557032"/>
              <a:gd name="connsiteX13491" fmla="*/ 2979255 w 4610101"/>
              <a:gd name="connsiteY13491" fmla="*/ 1325573 h 6557032"/>
              <a:gd name="connsiteX13492" fmla="*/ 2992010 w 4610101"/>
              <a:gd name="connsiteY13492" fmla="*/ 1325573 h 6557032"/>
              <a:gd name="connsiteX13493" fmla="*/ 2984721 w 4610101"/>
              <a:gd name="connsiteY13493" fmla="*/ 1318284 h 6557032"/>
              <a:gd name="connsiteX13494" fmla="*/ 2986543 w 4610101"/>
              <a:gd name="connsiteY13494" fmla="*/ 1298240 h 6557032"/>
              <a:gd name="connsiteX13495" fmla="*/ 2993832 w 4610101"/>
              <a:gd name="connsiteY13495" fmla="*/ 1309173 h 6557032"/>
              <a:gd name="connsiteX13496" fmla="*/ 3001121 w 4610101"/>
              <a:gd name="connsiteY13496" fmla="*/ 1289129 h 6557032"/>
              <a:gd name="connsiteX13497" fmla="*/ 2612998 w 4610101"/>
              <a:gd name="connsiteY13497" fmla="*/ 1289129 h 6557032"/>
              <a:gd name="connsiteX13498" fmla="*/ 2611176 w 4610101"/>
              <a:gd name="connsiteY13498" fmla="*/ 1292774 h 6557032"/>
              <a:gd name="connsiteX13499" fmla="*/ 2622109 w 4610101"/>
              <a:gd name="connsiteY13499" fmla="*/ 1307351 h 6557032"/>
              <a:gd name="connsiteX13500" fmla="*/ 2623931 w 4610101"/>
              <a:gd name="connsiteY13500" fmla="*/ 1292774 h 6557032"/>
              <a:gd name="connsiteX13501" fmla="*/ 2612998 w 4610101"/>
              <a:gd name="connsiteY13501" fmla="*/ 1289129 h 6557032"/>
              <a:gd name="connsiteX13502" fmla="*/ 1284633 w 4610101"/>
              <a:gd name="connsiteY13502" fmla="*/ 1289129 h 6557032"/>
              <a:gd name="connsiteX13503" fmla="*/ 1282811 w 4610101"/>
              <a:gd name="connsiteY13503" fmla="*/ 1290951 h 6557032"/>
              <a:gd name="connsiteX13504" fmla="*/ 1286455 w 4610101"/>
              <a:gd name="connsiteY13504" fmla="*/ 1290951 h 6557032"/>
              <a:gd name="connsiteX13505" fmla="*/ 1284633 w 4610101"/>
              <a:gd name="connsiteY13505" fmla="*/ 1289129 h 6557032"/>
              <a:gd name="connsiteX13506" fmla="*/ 1168014 w 4610101"/>
              <a:gd name="connsiteY13506" fmla="*/ 1289129 h 6557032"/>
              <a:gd name="connsiteX13507" fmla="*/ 1175303 w 4610101"/>
              <a:gd name="connsiteY13507" fmla="*/ 1298240 h 6557032"/>
              <a:gd name="connsiteX13508" fmla="*/ 1189880 w 4610101"/>
              <a:gd name="connsiteY13508" fmla="*/ 1309173 h 6557032"/>
              <a:gd name="connsiteX13509" fmla="*/ 1191703 w 4610101"/>
              <a:gd name="connsiteY13509" fmla="*/ 1309857 h 6557032"/>
              <a:gd name="connsiteX13510" fmla="*/ 1192334 w 4610101"/>
              <a:gd name="connsiteY13510" fmla="*/ 1309619 h 6557032"/>
              <a:gd name="connsiteX13511" fmla="*/ 1192385 w 4610101"/>
              <a:gd name="connsiteY13511" fmla="*/ 1309629 h 6557032"/>
              <a:gd name="connsiteX13512" fmla="*/ 1192402 w 4610101"/>
              <a:gd name="connsiteY13512" fmla="*/ 1309594 h 6557032"/>
              <a:gd name="connsiteX13513" fmla="*/ 1193525 w 4610101"/>
              <a:gd name="connsiteY13513" fmla="*/ 1309173 h 6557032"/>
              <a:gd name="connsiteX13514" fmla="*/ 1206279 w 4610101"/>
              <a:gd name="connsiteY13514" fmla="*/ 1314640 h 6557032"/>
              <a:gd name="connsiteX13515" fmla="*/ 1198991 w 4610101"/>
              <a:gd name="connsiteY13515" fmla="*/ 1312818 h 6557032"/>
              <a:gd name="connsiteX13516" fmla="*/ 1193525 w 4610101"/>
              <a:gd name="connsiteY13516" fmla="*/ 1307351 h 6557032"/>
              <a:gd name="connsiteX13517" fmla="*/ 1192402 w 4610101"/>
              <a:gd name="connsiteY13517" fmla="*/ 1309594 h 6557032"/>
              <a:gd name="connsiteX13518" fmla="*/ 1192334 w 4610101"/>
              <a:gd name="connsiteY13518" fmla="*/ 1309619 h 6557032"/>
              <a:gd name="connsiteX13519" fmla="*/ 1189880 w 4610101"/>
              <a:gd name="connsiteY13519" fmla="*/ 1309173 h 6557032"/>
              <a:gd name="connsiteX13520" fmla="*/ 1191703 w 4610101"/>
              <a:gd name="connsiteY13520" fmla="*/ 1303707 h 6557032"/>
              <a:gd name="connsiteX13521" fmla="*/ 1168014 w 4610101"/>
              <a:gd name="connsiteY13521" fmla="*/ 1289129 h 6557032"/>
              <a:gd name="connsiteX13522" fmla="*/ 674205 w 4610101"/>
              <a:gd name="connsiteY13522" fmla="*/ 1289129 h 6557032"/>
              <a:gd name="connsiteX13523" fmla="*/ 668738 w 4610101"/>
              <a:gd name="connsiteY13523" fmla="*/ 1294596 h 6557032"/>
              <a:gd name="connsiteX13524" fmla="*/ 674205 w 4610101"/>
              <a:gd name="connsiteY13524" fmla="*/ 1289129 h 6557032"/>
              <a:gd name="connsiteX13525" fmla="*/ 380835 w 4610101"/>
              <a:gd name="connsiteY13525" fmla="*/ 1289129 h 6557032"/>
              <a:gd name="connsiteX13526" fmla="*/ 373546 w 4610101"/>
              <a:gd name="connsiteY13526" fmla="*/ 1290951 h 6557032"/>
              <a:gd name="connsiteX13527" fmla="*/ 364435 w 4610101"/>
              <a:gd name="connsiteY13527" fmla="*/ 1292774 h 6557032"/>
              <a:gd name="connsiteX13528" fmla="*/ 380835 w 4610101"/>
              <a:gd name="connsiteY13528" fmla="*/ 1289129 h 6557032"/>
              <a:gd name="connsiteX13529" fmla="*/ 3459773 w 4610101"/>
              <a:gd name="connsiteY13529" fmla="*/ 1288700 h 6557032"/>
              <a:gd name="connsiteX13530" fmla="*/ 3462131 w 4610101"/>
              <a:gd name="connsiteY13530" fmla="*/ 1292774 h 6557032"/>
              <a:gd name="connsiteX13531" fmla="*/ 3453872 w 4610101"/>
              <a:gd name="connsiteY13531" fmla="*/ 1294150 h 6557032"/>
              <a:gd name="connsiteX13532" fmla="*/ 3454159 w 4610101"/>
              <a:gd name="connsiteY13532" fmla="*/ 1292773 h 6557032"/>
              <a:gd name="connsiteX13533" fmla="*/ 3453149 w 4610101"/>
              <a:gd name="connsiteY13533" fmla="*/ 1290908 h 6557032"/>
              <a:gd name="connsiteX13534" fmla="*/ 804034 w 4610101"/>
              <a:gd name="connsiteY13534" fmla="*/ 1287990 h 6557032"/>
              <a:gd name="connsiteX13535" fmla="*/ 803579 w 4610101"/>
              <a:gd name="connsiteY13535" fmla="*/ 1289129 h 6557032"/>
              <a:gd name="connsiteX13536" fmla="*/ 803579 w 4610101"/>
              <a:gd name="connsiteY13536" fmla="*/ 1296418 h 6557032"/>
              <a:gd name="connsiteX13537" fmla="*/ 805401 w 4610101"/>
              <a:gd name="connsiteY13537" fmla="*/ 1289129 h 6557032"/>
              <a:gd name="connsiteX13538" fmla="*/ 807364 w 4610101"/>
              <a:gd name="connsiteY13538" fmla="*/ 1289129 h 6557032"/>
              <a:gd name="connsiteX13539" fmla="*/ 812690 w 4610101"/>
              <a:gd name="connsiteY13539" fmla="*/ 1290951 h 6557032"/>
              <a:gd name="connsiteX13540" fmla="*/ 813904 w 4610101"/>
              <a:gd name="connsiteY13540" fmla="*/ 1289736 h 6557032"/>
              <a:gd name="connsiteX13541" fmla="*/ 816334 w 4610101"/>
              <a:gd name="connsiteY13541" fmla="*/ 1290951 h 6557032"/>
              <a:gd name="connsiteX13542" fmla="*/ 814512 w 4610101"/>
              <a:gd name="connsiteY13542" fmla="*/ 1289129 h 6557032"/>
              <a:gd name="connsiteX13543" fmla="*/ 813904 w 4610101"/>
              <a:gd name="connsiteY13543" fmla="*/ 1289736 h 6557032"/>
              <a:gd name="connsiteX13544" fmla="*/ 812690 w 4610101"/>
              <a:gd name="connsiteY13544" fmla="*/ 1289129 h 6557032"/>
              <a:gd name="connsiteX13545" fmla="*/ 807364 w 4610101"/>
              <a:gd name="connsiteY13545" fmla="*/ 1289129 h 6557032"/>
              <a:gd name="connsiteX13546" fmla="*/ 384934 w 4610101"/>
              <a:gd name="connsiteY13546" fmla="*/ 1287763 h 6557032"/>
              <a:gd name="connsiteX13547" fmla="*/ 379012 w 4610101"/>
              <a:gd name="connsiteY13547" fmla="*/ 1294596 h 6557032"/>
              <a:gd name="connsiteX13548" fmla="*/ 393590 w 4610101"/>
              <a:gd name="connsiteY13548" fmla="*/ 1289129 h 6557032"/>
              <a:gd name="connsiteX13549" fmla="*/ 384934 w 4610101"/>
              <a:gd name="connsiteY13549" fmla="*/ 1287763 h 6557032"/>
              <a:gd name="connsiteX13550" fmla="*/ 1652713 w 4610101"/>
              <a:gd name="connsiteY13550" fmla="*/ 1287443 h 6557032"/>
              <a:gd name="connsiteX13551" fmla="*/ 1680046 w 4610101"/>
              <a:gd name="connsiteY13551" fmla="*/ 1309308 h 6557032"/>
              <a:gd name="connsiteX13552" fmla="*/ 1660001 w 4610101"/>
              <a:gd name="connsiteY13552" fmla="*/ 1332995 h 6557032"/>
              <a:gd name="connsiteX13553" fmla="*/ 1645423 w 4610101"/>
              <a:gd name="connsiteY13553" fmla="*/ 1294732 h 6557032"/>
              <a:gd name="connsiteX13554" fmla="*/ 3461290 w 4610101"/>
              <a:gd name="connsiteY13554" fmla="*/ 1287307 h 6557032"/>
              <a:gd name="connsiteX13555" fmla="*/ 3463953 w 4610101"/>
              <a:gd name="connsiteY13555" fmla="*/ 1287307 h 6557032"/>
              <a:gd name="connsiteX13556" fmla="*/ 3459773 w 4610101"/>
              <a:gd name="connsiteY13556" fmla="*/ 1288700 h 6557032"/>
              <a:gd name="connsiteX13557" fmla="*/ 3459626 w 4610101"/>
              <a:gd name="connsiteY13557" fmla="*/ 1288446 h 6557032"/>
              <a:gd name="connsiteX13558" fmla="*/ 3451198 w 4610101"/>
              <a:gd name="connsiteY13558" fmla="*/ 1287307 h 6557032"/>
              <a:gd name="connsiteX13559" fmla="*/ 3452890 w 4610101"/>
              <a:gd name="connsiteY13559" fmla="*/ 1290430 h 6557032"/>
              <a:gd name="connsiteX13560" fmla="*/ 3453020 w 4610101"/>
              <a:gd name="connsiteY13560" fmla="*/ 1290951 h 6557032"/>
              <a:gd name="connsiteX13561" fmla="*/ 3450098 w 4610101"/>
              <a:gd name="connsiteY13561" fmla="*/ 1291925 h 6557032"/>
              <a:gd name="connsiteX13562" fmla="*/ 3196093 w 4610101"/>
              <a:gd name="connsiteY13562" fmla="*/ 1287307 h 6557032"/>
              <a:gd name="connsiteX13563" fmla="*/ 3197916 w 4610101"/>
              <a:gd name="connsiteY13563" fmla="*/ 1301885 h 6557032"/>
              <a:gd name="connsiteX13564" fmla="*/ 3208849 w 4610101"/>
              <a:gd name="connsiteY13564" fmla="*/ 1307351 h 6557032"/>
              <a:gd name="connsiteX13565" fmla="*/ 3212493 w 4610101"/>
              <a:gd name="connsiteY13565" fmla="*/ 1292774 h 6557032"/>
              <a:gd name="connsiteX13566" fmla="*/ 3208849 w 4610101"/>
              <a:gd name="connsiteY13566" fmla="*/ 1296418 h 6557032"/>
              <a:gd name="connsiteX13567" fmla="*/ 3196093 w 4610101"/>
              <a:gd name="connsiteY13567" fmla="*/ 1287307 h 6557032"/>
              <a:gd name="connsiteX13568" fmla="*/ 1793020 w 4610101"/>
              <a:gd name="connsiteY13568" fmla="*/ 1287307 h 6557032"/>
              <a:gd name="connsiteX13569" fmla="*/ 1794842 w 4610101"/>
              <a:gd name="connsiteY13569" fmla="*/ 1292774 h 6557032"/>
              <a:gd name="connsiteX13570" fmla="*/ 1807598 w 4610101"/>
              <a:gd name="connsiteY13570" fmla="*/ 1296418 h 6557032"/>
              <a:gd name="connsiteX13571" fmla="*/ 1793020 w 4610101"/>
              <a:gd name="connsiteY13571" fmla="*/ 1287307 h 6557032"/>
              <a:gd name="connsiteX13572" fmla="*/ 1324721 w 4610101"/>
              <a:gd name="connsiteY13572" fmla="*/ 1287307 h 6557032"/>
              <a:gd name="connsiteX13573" fmla="*/ 1322899 w 4610101"/>
              <a:gd name="connsiteY13573" fmla="*/ 1289129 h 6557032"/>
              <a:gd name="connsiteX13574" fmla="*/ 1326543 w 4610101"/>
              <a:gd name="connsiteY13574" fmla="*/ 1289129 h 6557032"/>
              <a:gd name="connsiteX13575" fmla="*/ 1324721 w 4610101"/>
              <a:gd name="connsiteY13575" fmla="*/ 1292774 h 6557032"/>
              <a:gd name="connsiteX13576" fmla="*/ 1328365 w 4610101"/>
              <a:gd name="connsiteY13576" fmla="*/ 1294596 h 6557032"/>
              <a:gd name="connsiteX13577" fmla="*/ 1330188 w 4610101"/>
              <a:gd name="connsiteY13577" fmla="*/ 1292774 h 6557032"/>
              <a:gd name="connsiteX13578" fmla="*/ 1326543 w 4610101"/>
              <a:gd name="connsiteY13578" fmla="*/ 1289129 h 6557032"/>
              <a:gd name="connsiteX13579" fmla="*/ 1315610 w 4610101"/>
              <a:gd name="connsiteY13579" fmla="*/ 1287307 h 6557032"/>
              <a:gd name="connsiteX13580" fmla="*/ 1319254 w 4610101"/>
              <a:gd name="connsiteY13580" fmla="*/ 1292774 h 6557032"/>
              <a:gd name="connsiteX13581" fmla="*/ 1321077 w 4610101"/>
              <a:gd name="connsiteY13581" fmla="*/ 1287307 h 6557032"/>
              <a:gd name="connsiteX13582" fmla="*/ 1317432 w 4610101"/>
              <a:gd name="connsiteY13582" fmla="*/ 1287307 h 6557032"/>
              <a:gd name="connsiteX13583" fmla="*/ 1319254 w 4610101"/>
              <a:gd name="connsiteY13583" fmla="*/ 1292774 h 6557032"/>
              <a:gd name="connsiteX13584" fmla="*/ 1315610 w 4610101"/>
              <a:gd name="connsiteY13584" fmla="*/ 1287307 h 6557032"/>
              <a:gd name="connsiteX13585" fmla="*/ 1158903 w 4610101"/>
              <a:gd name="connsiteY13585" fmla="*/ 1287307 h 6557032"/>
              <a:gd name="connsiteX13586" fmla="*/ 1164370 w 4610101"/>
              <a:gd name="connsiteY13586" fmla="*/ 1290951 h 6557032"/>
              <a:gd name="connsiteX13587" fmla="*/ 1166192 w 4610101"/>
              <a:gd name="connsiteY13587" fmla="*/ 1287307 h 6557032"/>
              <a:gd name="connsiteX13588" fmla="*/ 1158903 w 4610101"/>
              <a:gd name="connsiteY13588" fmla="*/ 1287307 h 6557032"/>
              <a:gd name="connsiteX13589" fmla="*/ 1157081 w 4610101"/>
              <a:gd name="connsiteY13589" fmla="*/ 1287307 h 6557032"/>
              <a:gd name="connsiteX13590" fmla="*/ 1155259 w 4610101"/>
              <a:gd name="connsiteY13590" fmla="*/ 1289129 h 6557032"/>
              <a:gd name="connsiteX13591" fmla="*/ 1160725 w 4610101"/>
              <a:gd name="connsiteY13591" fmla="*/ 1290951 h 6557032"/>
              <a:gd name="connsiteX13592" fmla="*/ 1157081 w 4610101"/>
              <a:gd name="connsiteY13592" fmla="*/ 1287307 h 6557032"/>
              <a:gd name="connsiteX13593" fmla="*/ 623185 w 4610101"/>
              <a:gd name="connsiteY13593" fmla="*/ 1287307 h 6557032"/>
              <a:gd name="connsiteX13594" fmla="*/ 623185 w 4610101"/>
              <a:gd name="connsiteY13594" fmla="*/ 1298240 h 6557032"/>
              <a:gd name="connsiteX13595" fmla="*/ 623185 w 4610101"/>
              <a:gd name="connsiteY13595" fmla="*/ 1287307 h 6557032"/>
              <a:gd name="connsiteX13596" fmla="*/ 444611 w 4610101"/>
              <a:gd name="connsiteY13596" fmla="*/ 1287307 h 6557032"/>
              <a:gd name="connsiteX13597" fmla="*/ 437322 w 4610101"/>
              <a:gd name="connsiteY13597" fmla="*/ 1290951 h 6557032"/>
              <a:gd name="connsiteX13598" fmla="*/ 450077 w 4610101"/>
              <a:gd name="connsiteY13598" fmla="*/ 1292774 h 6557032"/>
              <a:gd name="connsiteX13599" fmla="*/ 444611 w 4610101"/>
              <a:gd name="connsiteY13599" fmla="*/ 1287307 h 6557032"/>
              <a:gd name="connsiteX13600" fmla="*/ 1125876 w 4610101"/>
              <a:gd name="connsiteY13600" fmla="*/ 1287079 h 6557032"/>
              <a:gd name="connsiteX13601" fmla="*/ 1127926 w 4610101"/>
              <a:gd name="connsiteY13601" fmla="*/ 1289129 h 6557032"/>
              <a:gd name="connsiteX13602" fmla="*/ 1122459 w 4610101"/>
              <a:gd name="connsiteY13602" fmla="*/ 1287307 h 6557032"/>
              <a:gd name="connsiteX13603" fmla="*/ 1122542 w 4610101"/>
              <a:gd name="connsiteY13603" fmla="*/ 1287224 h 6557032"/>
              <a:gd name="connsiteX13604" fmla="*/ 3298591 w 4610101"/>
              <a:gd name="connsiteY13604" fmla="*/ 1286624 h 6557032"/>
              <a:gd name="connsiteX13605" fmla="*/ 3292669 w 4610101"/>
              <a:gd name="connsiteY13605" fmla="*/ 1289129 h 6557032"/>
              <a:gd name="connsiteX13606" fmla="*/ 3294491 w 4610101"/>
              <a:gd name="connsiteY13606" fmla="*/ 1292774 h 6557032"/>
              <a:gd name="connsiteX13607" fmla="*/ 3301780 w 4610101"/>
              <a:gd name="connsiteY13607" fmla="*/ 1290951 h 6557032"/>
              <a:gd name="connsiteX13608" fmla="*/ 3298591 w 4610101"/>
              <a:gd name="connsiteY13608" fmla="*/ 1286624 h 6557032"/>
              <a:gd name="connsiteX13609" fmla="*/ 2854436 w 4610101"/>
              <a:gd name="connsiteY13609" fmla="*/ 1285485 h 6557032"/>
              <a:gd name="connsiteX13610" fmla="*/ 2849880 w 4610101"/>
              <a:gd name="connsiteY13610" fmla="*/ 1289129 h 6557032"/>
              <a:gd name="connsiteX13611" fmla="*/ 2858991 w 4610101"/>
              <a:gd name="connsiteY13611" fmla="*/ 1287307 h 6557032"/>
              <a:gd name="connsiteX13612" fmla="*/ 2854436 w 4610101"/>
              <a:gd name="connsiteY13612" fmla="*/ 1285485 h 6557032"/>
              <a:gd name="connsiteX13613" fmla="*/ 1907816 w 4610101"/>
              <a:gd name="connsiteY13613" fmla="*/ 1285485 h 6557032"/>
              <a:gd name="connsiteX13614" fmla="*/ 1907816 w 4610101"/>
              <a:gd name="connsiteY13614" fmla="*/ 1289129 h 6557032"/>
              <a:gd name="connsiteX13615" fmla="*/ 1911461 w 4610101"/>
              <a:gd name="connsiteY13615" fmla="*/ 1289129 h 6557032"/>
              <a:gd name="connsiteX13616" fmla="*/ 1909639 w 4610101"/>
              <a:gd name="connsiteY13616" fmla="*/ 1285485 h 6557032"/>
              <a:gd name="connsiteX13617" fmla="*/ 1907816 w 4610101"/>
              <a:gd name="connsiteY13617" fmla="*/ 1285485 h 6557032"/>
              <a:gd name="connsiteX13618" fmla="*/ 537542 w 4610101"/>
              <a:gd name="connsiteY13618" fmla="*/ 1285485 h 6557032"/>
              <a:gd name="connsiteX13619" fmla="*/ 532075 w 4610101"/>
              <a:gd name="connsiteY13619" fmla="*/ 1292774 h 6557032"/>
              <a:gd name="connsiteX13620" fmla="*/ 544830 w 4610101"/>
              <a:gd name="connsiteY13620" fmla="*/ 1290951 h 6557032"/>
              <a:gd name="connsiteX13621" fmla="*/ 537542 w 4610101"/>
              <a:gd name="connsiteY13621" fmla="*/ 1285485 h 6557032"/>
              <a:gd name="connsiteX13622" fmla="*/ 411812 w 4610101"/>
              <a:gd name="connsiteY13622" fmla="*/ 1285485 h 6557032"/>
              <a:gd name="connsiteX13623" fmla="*/ 408167 w 4610101"/>
              <a:gd name="connsiteY13623" fmla="*/ 1287307 h 6557032"/>
              <a:gd name="connsiteX13624" fmla="*/ 411812 w 4610101"/>
              <a:gd name="connsiteY13624" fmla="*/ 1285485 h 6557032"/>
              <a:gd name="connsiteX13625" fmla="*/ 242349 w 4610101"/>
              <a:gd name="connsiteY13625" fmla="*/ 1285485 h 6557032"/>
              <a:gd name="connsiteX13626" fmla="*/ 247816 w 4610101"/>
              <a:gd name="connsiteY13626" fmla="*/ 1289129 h 6557032"/>
              <a:gd name="connsiteX13627" fmla="*/ 242349 w 4610101"/>
              <a:gd name="connsiteY13627" fmla="*/ 1285485 h 6557032"/>
              <a:gd name="connsiteX13628" fmla="*/ 1335654 w 4610101"/>
              <a:gd name="connsiteY13628" fmla="*/ 1284574 h 6557032"/>
              <a:gd name="connsiteX13629" fmla="*/ 1335654 w 4610101"/>
              <a:gd name="connsiteY13629" fmla="*/ 1287307 h 6557032"/>
              <a:gd name="connsiteX13630" fmla="*/ 1333832 w 4610101"/>
              <a:gd name="connsiteY13630" fmla="*/ 1287307 h 6557032"/>
              <a:gd name="connsiteX13631" fmla="*/ 3365556 w 4610101"/>
              <a:gd name="connsiteY13631" fmla="*/ 1283663 h 6557032"/>
              <a:gd name="connsiteX13632" fmla="*/ 3371022 w 4610101"/>
              <a:gd name="connsiteY13632" fmla="*/ 1287307 h 6557032"/>
              <a:gd name="connsiteX13633" fmla="*/ 3365556 w 4610101"/>
              <a:gd name="connsiteY13633" fmla="*/ 1283663 h 6557032"/>
              <a:gd name="connsiteX13634" fmla="*/ 2472690 w 4610101"/>
              <a:gd name="connsiteY13634" fmla="*/ 1283663 h 6557032"/>
              <a:gd name="connsiteX13635" fmla="*/ 2456291 w 4610101"/>
              <a:gd name="connsiteY13635" fmla="*/ 1290951 h 6557032"/>
              <a:gd name="connsiteX13636" fmla="*/ 2461757 w 4610101"/>
              <a:gd name="connsiteY13636" fmla="*/ 1298240 h 6557032"/>
              <a:gd name="connsiteX13637" fmla="*/ 2454469 w 4610101"/>
              <a:gd name="connsiteY13637" fmla="*/ 1290951 h 6557032"/>
              <a:gd name="connsiteX13638" fmla="*/ 2450824 w 4610101"/>
              <a:gd name="connsiteY13638" fmla="*/ 1292774 h 6557032"/>
              <a:gd name="connsiteX13639" fmla="*/ 2449002 w 4610101"/>
              <a:gd name="connsiteY13639" fmla="*/ 1285485 h 6557032"/>
              <a:gd name="connsiteX13640" fmla="*/ 2447180 w 4610101"/>
              <a:gd name="connsiteY13640" fmla="*/ 1285485 h 6557032"/>
              <a:gd name="connsiteX13641" fmla="*/ 2436247 w 4610101"/>
              <a:gd name="connsiteY13641" fmla="*/ 1285485 h 6557032"/>
              <a:gd name="connsiteX13642" fmla="*/ 2414381 w 4610101"/>
              <a:gd name="connsiteY13642" fmla="*/ 1285485 h 6557032"/>
              <a:gd name="connsiteX13643" fmla="*/ 2414381 w 4610101"/>
              <a:gd name="connsiteY13643" fmla="*/ 1292774 h 6557032"/>
              <a:gd name="connsiteX13644" fmla="*/ 2435194 w 4610101"/>
              <a:gd name="connsiteY13644" fmla="*/ 1301446 h 6557032"/>
              <a:gd name="connsiteX13645" fmla="*/ 2435629 w 4610101"/>
              <a:gd name="connsiteY13645" fmla="*/ 1302228 h 6557032"/>
              <a:gd name="connsiteX13646" fmla="*/ 2419847 w 4610101"/>
              <a:gd name="connsiteY13646" fmla="*/ 1310995 h 6557032"/>
              <a:gd name="connsiteX13647" fmla="*/ 2434425 w 4610101"/>
              <a:gd name="connsiteY13647" fmla="*/ 1323751 h 6557032"/>
              <a:gd name="connsiteX13648" fmla="*/ 2428958 w 4610101"/>
              <a:gd name="connsiteY13648" fmla="*/ 1316462 h 6557032"/>
              <a:gd name="connsiteX13649" fmla="*/ 2438069 w 4610101"/>
              <a:gd name="connsiteY13649" fmla="*/ 1320106 h 6557032"/>
              <a:gd name="connsiteX13650" fmla="*/ 2443536 w 4610101"/>
              <a:gd name="connsiteY13650" fmla="*/ 1316462 h 6557032"/>
              <a:gd name="connsiteX13651" fmla="*/ 2435629 w 4610101"/>
              <a:gd name="connsiteY13651" fmla="*/ 1302228 h 6557032"/>
              <a:gd name="connsiteX13652" fmla="*/ 2436247 w 4610101"/>
              <a:gd name="connsiteY13652" fmla="*/ 1301885 h 6557032"/>
              <a:gd name="connsiteX13653" fmla="*/ 2435194 w 4610101"/>
              <a:gd name="connsiteY13653" fmla="*/ 1301446 h 6557032"/>
              <a:gd name="connsiteX13654" fmla="*/ 2434425 w 4610101"/>
              <a:gd name="connsiteY13654" fmla="*/ 1300062 h 6557032"/>
              <a:gd name="connsiteX13655" fmla="*/ 2472690 w 4610101"/>
              <a:gd name="connsiteY13655" fmla="*/ 1300062 h 6557032"/>
              <a:gd name="connsiteX13656" fmla="*/ 1335654 w 4610101"/>
              <a:gd name="connsiteY13656" fmla="*/ 1283663 h 6557032"/>
              <a:gd name="connsiteX13657" fmla="*/ 1336261 w 4610101"/>
              <a:gd name="connsiteY13657" fmla="*/ 1283663 h 6557032"/>
              <a:gd name="connsiteX13658" fmla="*/ 1335654 w 4610101"/>
              <a:gd name="connsiteY13658" fmla="*/ 1284574 h 6557032"/>
              <a:gd name="connsiteX13659" fmla="*/ 1297388 w 4610101"/>
              <a:gd name="connsiteY13659" fmla="*/ 1283663 h 6557032"/>
              <a:gd name="connsiteX13660" fmla="*/ 1299210 w 4610101"/>
              <a:gd name="connsiteY13660" fmla="*/ 1287307 h 6557032"/>
              <a:gd name="connsiteX13661" fmla="*/ 1297388 w 4610101"/>
              <a:gd name="connsiteY13661" fmla="*/ 1283663 h 6557032"/>
              <a:gd name="connsiteX13662" fmla="*/ 1257300 w 4610101"/>
              <a:gd name="connsiteY13662" fmla="*/ 1283663 h 6557032"/>
              <a:gd name="connsiteX13663" fmla="*/ 1259123 w 4610101"/>
              <a:gd name="connsiteY13663" fmla="*/ 1287307 h 6557032"/>
              <a:gd name="connsiteX13664" fmla="*/ 1253656 w 4610101"/>
              <a:gd name="connsiteY13664" fmla="*/ 1294596 h 6557032"/>
              <a:gd name="connsiteX13665" fmla="*/ 1280989 w 4610101"/>
              <a:gd name="connsiteY13665" fmla="*/ 1290951 h 6557032"/>
              <a:gd name="connsiteX13666" fmla="*/ 1257300 w 4610101"/>
              <a:gd name="connsiteY13666" fmla="*/ 1283663 h 6557032"/>
              <a:gd name="connsiteX13667" fmla="*/ 1129748 w 4610101"/>
              <a:gd name="connsiteY13667" fmla="*/ 1283663 h 6557032"/>
              <a:gd name="connsiteX13668" fmla="*/ 1140681 w 4610101"/>
              <a:gd name="connsiteY13668" fmla="*/ 1290951 h 6557032"/>
              <a:gd name="connsiteX13669" fmla="*/ 1129748 w 4610101"/>
              <a:gd name="connsiteY13669" fmla="*/ 1283663 h 6557032"/>
              <a:gd name="connsiteX13670" fmla="*/ 1126104 w 4610101"/>
              <a:gd name="connsiteY13670" fmla="*/ 1283663 h 6557032"/>
              <a:gd name="connsiteX13671" fmla="*/ 1122542 w 4610101"/>
              <a:gd name="connsiteY13671" fmla="*/ 1287224 h 6557032"/>
              <a:gd name="connsiteX13672" fmla="*/ 1120637 w 4610101"/>
              <a:gd name="connsiteY13672" fmla="*/ 1287307 h 6557032"/>
              <a:gd name="connsiteX13673" fmla="*/ 1126104 w 4610101"/>
              <a:gd name="connsiteY13673" fmla="*/ 1290951 h 6557032"/>
              <a:gd name="connsiteX13674" fmla="*/ 1120637 w 4610101"/>
              <a:gd name="connsiteY13674" fmla="*/ 1292774 h 6557032"/>
              <a:gd name="connsiteX13675" fmla="*/ 1127926 w 4610101"/>
              <a:gd name="connsiteY13675" fmla="*/ 1307351 h 6557032"/>
              <a:gd name="connsiteX13676" fmla="*/ 1126104 w 4610101"/>
              <a:gd name="connsiteY13676" fmla="*/ 1298240 h 6557032"/>
              <a:gd name="connsiteX13677" fmla="*/ 1129748 w 4610101"/>
              <a:gd name="connsiteY13677" fmla="*/ 1307351 h 6557032"/>
              <a:gd name="connsiteX13678" fmla="*/ 1127926 w 4610101"/>
              <a:gd name="connsiteY13678" fmla="*/ 1309173 h 6557032"/>
              <a:gd name="connsiteX13679" fmla="*/ 1128653 w 4610101"/>
              <a:gd name="connsiteY13679" fmla="*/ 1312695 h 6557032"/>
              <a:gd name="connsiteX13680" fmla="*/ 1126104 w 4610101"/>
              <a:gd name="connsiteY13680" fmla="*/ 1310995 h 6557032"/>
              <a:gd name="connsiteX13681" fmla="*/ 1120637 w 4610101"/>
              <a:gd name="connsiteY13681" fmla="*/ 1301885 h 6557032"/>
              <a:gd name="connsiteX13682" fmla="*/ 1120637 w 4610101"/>
              <a:gd name="connsiteY13682" fmla="*/ 1316462 h 6557032"/>
              <a:gd name="connsiteX13683" fmla="*/ 1118815 w 4610101"/>
              <a:gd name="connsiteY13683" fmla="*/ 1325573 h 6557032"/>
              <a:gd name="connsiteX13684" fmla="*/ 1118815 w 4610101"/>
              <a:gd name="connsiteY13684" fmla="*/ 1331039 h 6557032"/>
              <a:gd name="connsiteX13685" fmla="*/ 1131570 w 4610101"/>
              <a:gd name="connsiteY13685" fmla="*/ 1367483 h 6557032"/>
              <a:gd name="connsiteX13686" fmla="*/ 1135215 w 4610101"/>
              <a:gd name="connsiteY13686" fmla="*/ 1389349 h 6557032"/>
              <a:gd name="connsiteX13687" fmla="*/ 1140681 w 4610101"/>
              <a:gd name="connsiteY13687" fmla="*/ 1354728 h 6557032"/>
              <a:gd name="connsiteX13688" fmla="*/ 1136855 w 4610101"/>
              <a:gd name="connsiteY13688" fmla="*/ 1350901 h 6557032"/>
              <a:gd name="connsiteX13689" fmla="*/ 1138859 w 4610101"/>
              <a:gd name="connsiteY13689" fmla="*/ 1351083 h 6557032"/>
              <a:gd name="connsiteX13690" fmla="*/ 1122459 w 4610101"/>
              <a:gd name="connsiteY13690" fmla="*/ 1329217 h 6557032"/>
              <a:gd name="connsiteX13691" fmla="*/ 1135215 w 4610101"/>
              <a:gd name="connsiteY13691" fmla="*/ 1340150 h 6557032"/>
              <a:gd name="connsiteX13692" fmla="*/ 1135104 w 4610101"/>
              <a:gd name="connsiteY13692" fmla="*/ 1337217 h 6557032"/>
              <a:gd name="connsiteX13693" fmla="*/ 1140681 w 4610101"/>
              <a:gd name="connsiteY13693" fmla="*/ 1351083 h 6557032"/>
              <a:gd name="connsiteX13694" fmla="*/ 1144326 w 4610101"/>
              <a:gd name="connsiteY13694" fmla="*/ 1325573 h 6557032"/>
              <a:gd name="connsiteX13695" fmla="*/ 1135215 w 4610101"/>
              <a:gd name="connsiteY13695" fmla="*/ 1332862 h 6557032"/>
              <a:gd name="connsiteX13696" fmla="*/ 1135215 w 4610101"/>
              <a:gd name="connsiteY13696" fmla="*/ 1327395 h 6557032"/>
              <a:gd name="connsiteX13697" fmla="*/ 1138859 w 4610101"/>
              <a:gd name="connsiteY13697" fmla="*/ 1327395 h 6557032"/>
              <a:gd name="connsiteX13698" fmla="*/ 1141774 w 4610101"/>
              <a:gd name="connsiteY13698" fmla="*/ 1316860 h 6557032"/>
              <a:gd name="connsiteX13699" fmla="*/ 1142503 w 4610101"/>
              <a:gd name="connsiteY13699" fmla="*/ 1318284 h 6557032"/>
              <a:gd name="connsiteX13700" fmla="*/ 1147970 w 4610101"/>
              <a:gd name="connsiteY13700" fmla="*/ 1303707 h 6557032"/>
              <a:gd name="connsiteX13701" fmla="*/ 1140681 w 4610101"/>
              <a:gd name="connsiteY13701" fmla="*/ 1305529 h 6557032"/>
              <a:gd name="connsiteX13702" fmla="*/ 1147970 w 4610101"/>
              <a:gd name="connsiteY13702" fmla="*/ 1289129 h 6557032"/>
              <a:gd name="connsiteX13703" fmla="*/ 1144326 w 4610101"/>
              <a:gd name="connsiteY13703" fmla="*/ 1292774 h 6557032"/>
              <a:gd name="connsiteX13704" fmla="*/ 1142503 w 4610101"/>
              <a:gd name="connsiteY13704" fmla="*/ 1290951 h 6557032"/>
              <a:gd name="connsiteX13705" fmla="*/ 1137037 w 4610101"/>
              <a:gd name="connsiteY13705" fmla="*/ 1296418 h 6557032"/>
              <a:gd name="connsiteX13706" fmla="*/ 1133393 w 4610101"/>
              <a:gd name="connsiteY13706" fmla="*/ 1294596 h 6557032"/>
              <a:gd name="connsiteX13707" fmla="*/ 1133393 w 4610101"/>
              <a:gd name="connsiteY13707" fmla="*/ 1298240 h 6557032"/>
              <a:gd name="connsiteX13708" fmla="*/ 1127926 w 4610101"/>
              <a:gd name="connsiteY13708" fmla="*/ 1292774 h 6557032"/>
              <a:gd name="connsiteX13709" fmla="*/ 1129748 w 4610101"/>
              <a:gd name="connsiteY13709" fmla="*/ 1290951 h 6557032"/>
              <a:gd name="connsiteX13710" fmla="*/ 1127926 w 4610101"/>
              <a:gd name="connsiteY13710" fmla="*/ 1289129 h 6557032"/>
              <a:gd name="connsiteX13711" fmla="*/ 1126104 w 4610101"/>
              <a:gd name="connsiteY13711" fmla="*/ 1283663 h 6557032"/>
              <a:gd name="connsiteX13712" fmla="*/ 1104921 w 4610101"/>
              <a:gd name="connsiteY13712" fmla="*/ 1283663 h 6557032"/>
              <a:gd name="connsiteX13713" fmla="*/ 1096949 w 4610101"/>
              <a:gd name="connsiteY13713" fmla="*/ 1285485 h 6557032"/>
              <a:gd name="connsiteX13714" fmla="*/ 1100593 w 4610101"/>
              <a:gd name="connsiteY13714" fmla="*/ 1292774 h 6557032"/>
              <a:gd name="connsiteX13715" fmla="*/ 1109704 w 4610101"/>
              <a:gd name="connsiteY13715" fmla="*/ 1296418 h 6557032"/>
              <a:gd name="connsiteX13716" fmla="*/ 1111526 w 4610101"/>
              <a:gd name="connsiteY13716" fmla="*/ 1287307 h 6557032"/>
              <a:gd name="connsiteX13717" fmla="*/ 1104921 w 4610101"/>
              <a:gd name="connsiteY13717" fmla="*/ 1283663 h 6557032"/>
              <a:gd name="connsiteX13718" fmla="*/ 719759 w 4610101"/>
              <a:gd name="connsiteY13718" fmla="*/ 1283663 h 6557032"/>
              <a:gd name="connsiteX13719" fmla="*/ 727048 w 4610101"/>
              <a:gd name="connsiteY13719" fmla="*/ 1289129 h 6557032"/>
              <a:gd name="connsiteX13720" fmla="*/ 725226 w 4610101"/>
              <a:gd name="connsiteY13720" fmla="*/ 1285485 h 6557032"/>
              <a:gd name="connsiteX13721" fmla="*/ 719759 w 4610101"/>
              <a:gd name="connsiteY13721" fmla="*/ 1283663 h 6557032"/>
              <a:gd name="connsiteX13722" fmla="*/ 630472 w 4610101"/>
              <a:gd name="connsiteY13722" fmla="*/ 1283663 h 6557032"/>
              <a:gd name="connsiteX13723" fmla="*/ 637761 w 4610101"/>
              <a:gd name="connsiteY13723" fmla="*/ 1292774 h 6557032"/>
              <a:gd name="connsiteX13724" fmla="*/ 630472 w 4610101"/>
              <a:gd name="connsiteY13724" fmla="*/ 1283663 h 6557032"/>
              <a:gd name="connsiteX13725" fmla="*/ 614074 w 4610101"/>
              <a:gd name="connsiteY13725" fmla="*/ 1283663 h 6557032"/>
              <a:gd name="connsiteX13726" fmla="*/ 614074 w 4610101"/>
              <a:gd name="connsiteY13726" fmla="*/ 1303707 h 6557032"/>
              <a:gd name="connsiteX13727" fmla="*/ 612251 w 4610101"/>
              <a:gd name="connsiteY13727" fmla="*/ 1296418 h 6557032"/>
              <a:gd name="connsiteX13728" fmla="*/ 614074 w 4610101"/>
              <a:gd name="connsiteY13728" fmla="*/ 1283663 h 6557032"/>
              <a:gd name="connsiteX13729" fmla="*/ 533897 w 4610101"/>
              <a:gd name="connsiteY13729" fmla="*/ 1283663 h 6557032"/>
              <a:gd name="connsiteX13730" fmla="*/ 528431 w 4610101"/>
              <a:gd name="connsiteY13730" fmla="*/ 1287307 h 6557032"/>
              <a:gd name="connsiteX13731" fmla="*/ 533897 w 4610101"/>
              <a:gd name="connsiteY13731" fmla="*/ 1283663 h 6557032"/>
              <a:gd name="connsiteX13732" fmla="*/ 481054 w 4610101"/>
              <a:gd name="connsiteY13732" fmla="*/ 1283663 h 6557032"/>
              <a:gd name="connsiteX13733" fmla="*/ 491987 w 4610101"/>
              <a:gd name="connsiteY13733" fmla="*/ 1289129 h 6557032"/>
              <a:gd name="connsiteX13734" fmla="*/ 481054 w 4610101"/>
              <a:gd name="connsiteY13734" fmla="*/ 1283663 h 6557032"/>
              <a:gd name="connsiteX13735" fmla="*/ 321386 w 4610101"/>
              <a:gd name="connsiteY13735" fmla="*/ 1282296 h 6557032"/>
              <a:gd name="connsiteX13736" fmla="*/ 313414 w 4610101"/>
              <a:gd name="connsiteY13736" fmla="*/ 1289129 h 6557032"/>
              <a:gd name="connsiteX13737" fmla="*/ 321841 w 4610101"/>
              <a:gd name="connsiteY13737" fmla="*/ 1290724 h 6557032"/>
              <a:gd name="connsiteX13738" fmla="*/ 324459 w 4610101"/>
              <a:gd name="connsiteY13738" fmla="*/ 1290861 h 6557032"/>
              <a:gd name="connsiteX13739" fmla="*/ 324347 w 4610101"/>
              <a:gd name="connsiteY13739" fmla="*/ 1290951 h 6557032"/>
              <a:gd name="connsiteX13740" fmla="*/ 326169 w 4610101"/>
              <a:gd name="connsiteY13740" fmla="*/ 1290951 h 6557032"/>
              <a:gd name="connsiteX13741" fmla="*/ 324459 w 4610101"/>
              <a:gd name="connsiteY13741" fmla="*/ 1290861 h 6557032"/>
              <a:gd name="connsiteX13742" fmla="*/ 333458 w 4610101"/>
              <a:gd name="connsiteY13742" fmla="*/ 1283663 h 6557032"/>
              <a:gd name="connsiteX13743" fmla="*/ 321386 w 4610101"/>
              <a:gd name="connsiteY13743" fmla="*/ 1282296 h 6557032"/>
              <a:gd name="connsiteX13744" fmla="*/ 3349156 w 4610101"/>
              <a:gd name="connsiteY13744" fmla="*/ 1281841 h 6557032"/>
              <a:gd name="connsiteX13745" fmla="*/ 3350978 w 4610101"/>
              <a:gd name="connsiteY13745" fmla="*/ 1290951 h 6557032"/>
              <a:gd name="connsiteX13746" fmla="*/ 3347334 w 4610101"/>
              <a:gd name="connsiteY13746" fmla="*/ 1296418 h 6557032"/>
              <a:gd name="connsiteX13747" fmla="*/ 3358267 w 4610101"/>
              <a:gd name="connsiteY13747" fmla="*/ 1296418 h 6557032"/>
              <a:gd name="connsiteX13748" fmla="*/ 3352800 w 4610101"/>
              <a:gd name="connsiteY13748" fmla="*/ 1281841 h 6557032"/>
              <a:gd name="connsiteX13749" fmla="*/ 3349156 w 4610101"/>
              <a:gd name="connsiteY13749" fmla="*/ 1281841 h 6557032"/>
              <a:gd name="connsiteX13750" fmla="*/ 3228893 w 4610101"/>
              <a:gd name="connsiteY13750" fmla="*/ 1281841 h 6557032"/>
              <a:gd name="connsiteX13751" fmla="*/ 3236181 w 4610101"/>
              <a:gd name="connsiteY13751" fmla="*/ 1292774 h 6557032"/>
              <a:gd name="connsiteX13752" fmla="*/ 3234359 w 4610101"/>
              <a:gd name="connsiteY13752" fmla="*/ 1281841 h 6557032"/>
              <a:gd name="connsiteX13753" fmla="*/ 3228893 w 4610101"/>
              <a:gd name="connsiteY13753" fmla="*/ 1281841 h 6557032"/>
              <a:gd name="connsiteX13754" fmla="*/ 3139606 w 4610101"/>
              <a:gd name="connsiteY13754" fmla="*/ 1281841 h 6557032"/>
              <a:gd name="connsiteX13755" fmla="*/ 3137784 w 4610101"/>
              <a:gd name="connsiteY13755" fmla="*/ 1289129 h 6557032"/>
              <a:gd name="connsiteX13756" fmla="*/ 3150539 w 4610101"/>
              <a:gd name="connsiteY13756" fmla="*/ 1294596 h 6557032"/>
              <a:gd name="connsiteX13757" fmla="*/ 3139606 w 4610101"/>
              <a:gd name="connsiteY13757" fmla="*/ 1281841 h 6557032"/>
              <a:gd name="connsiteX13758" fmla="*/ 2616642 w 4610101"/>
              <a:gd name="connsiteY13758" fmla="*/ 1281841 h 6557032"/>
              <a:gd name="connsiteX13759" fmla="*/ 2614820 w 4610101"/>
              <a:gd name="connsiteY13759" fmla="*/ 1285485 h 6557032"/>
              <a:gd name="connsiteX13760" fmla="*/ 2616642 w 4610101"/>
              <a:gd name="connsiteY13760" fmla="*/ 1285485 h 6557032"/>
              <a:gd name="connsiteX13761" fmla="*/ 2616642 w 4610101"/>
              <a:gd name="connsiteY13761" fmla="*/ 1281841 h 6557032"/>
              <a:gd name="connsiteX13762" fmla="*/ 1182592 w 4610101"/>
              <a:gd name="connsiteY13762" fmla="*/ 1281841 h 6557032"/>
              <a:gd name="connsiteX13763" fmla="*/ 1215390 w 4610101"/>
              <a:gd name="connsiteY13763" fmla="*/ 1294596 h 6557032"/>
              <a:gd name="connsiteX13764" fmla="*/ 1182592 w 4610101"/>
              <a:gd name="connsiteY13764" fmla="*/ 1281841 h 6557032"/>
              <a:gd name="connsiteX13765" fmla="*/ 665094 w 4610101"/>
              <a:gd name="connsiteY13765" fmla="*/ 1281841 h 6557032"/>
              <a:gd name="connsiteX13766" fmla="*/ 666916 w 4610101"/>
              <a:gd name="connsiteY13766" fmla="*/ 1290951 h 6557032"/>
              <a:gd name="connsiteX13767" fmla="*/ 670560 w 4610101"/>
              <a:gd name="connsiteY13767" fmla="*/ 1287307 h 6557032"/>
              <a:gd name="connsiteX13768" fmla="*/ 665094 w 4610101"/>
              <a:gd name="connsiteY13768" fmla="*/ 1281841 h 6557032"/>
              <a:gd name="connsiteX13769" fmla="*/ 544830 w 4610101"/>
              <a:gd name="connsiteY13769" fmla="*/ 1281841 h 6557032"/>
              <a:gd name="connsiteX13770" fmla="*/ 544830 w 4610101"/>
              <a:gd name="connsiteY13770" fmla="*/ 1287307 h 6557032"/>
              <a:gd name="connsiteX13771" fmla="*/ 552119 w 4610101"/>
              <a:gd name="connsiteY13771" fmla="*/ 1287307 h 6557032"/>
              <a:gd name="connsiteX13772" fmla="*/ 550297 w 4610101"/>
              <a:gd name="connsiteY13772" fmla="*/ 1281841 h 6557032"/>
              <a:gd name="connsiteX13773" fmla="*/ 544830 w 4610101"/>
              <a:gd name="connsiteY13773" fmla="*/ 1281841 h 6557032"/>
              <a:gd name="connsiteX13774" fmla="*/ 411812 w 4610101"/>
              <a:gd name="connsiteY13774" fmla="*/ 1281841 h 6557032"/>
              <a:gd name="connsiteX13775" fmla="*/ 417278 w 4610101"/>
              <a:gd name="connsiteY13775" fmla="*/ 1283663 h 6557032"/>
              <a:gd name="connsiteX13776" fmla="*/ 411812 w 4610101"/>
              <a:gd name="connsiteY13776" fmla="*/ 1281841 h 6557032"/>
              <a:gd name="connsiteX13777" fmla="*/ 707459 w 4610101"/>
              <a:gd name="connsiteY13777" fmla="*/ 1280930 h 6557032"/>
              <a:gd name="connsiteX13778" fmla="*/ 696071 w 4610101"/>
              <a:gd name="connsiteY13778" fmla="*/ 1283663 h 6557032"/>
              <a:gd name="connsiteX13779" fmla="*/ 690604 w 4610101"/>
              <a:gd name="connsiteY13779" fmla="*/ 1283663 h 6557032"/>
              <a:gd name="connsiteX13780" fmla="*/ 707004 w 4610101"/>
              <a:gd name="connsiteY13780" fmla="*/ 1292774 h 6557032"/>
              <a:gd name="connsiteX13781" fmla="*/ 701537 w 4610101"/>
              <a:gd name="connsiteY13781" fmla="*/ 1287307 h 6557032"/>
              <a:gd name="connsiteX13782" fmla="*/ 716115 w 4610101"/>
              <a:gd name="connsiteY13782" fmla="*/ 1289129 h 6557032"/>
              <a:gd name="connsiteX13783" fmla="*/ 707459 w 4610101"/>
              <a:gd name="connsiteY13783" fmla="*/ 1280930 h 6557032"/>
              <a:gd name="connsiteX13784" fmla="*/ 1284633 w 4610101"/>
              <a:gd name="connsiteY13784" fmla="*/ 1280018 h 6557032"/>
              <a:gd name="connsiteX13785" fmla="*/ 1282811 w 4610101"/>
              <a:gd name="connsiteY13785" fmla="*/ 1281841 h 6557032"/>
              <a:gd name="connsiteX13786" fmla="*/ 1290100 w 4610101"/>
              <a:gd name="connsiteY13786" fmla="*/ 1285485 h 6557032"/>
              <a:gd name="connsiteX13787" fmla="*/ 1284633 w 4610101"/>
              <a:gd name="connsiteY13787" fmla="*/ 1280018 h 6557032"/>
              <a:gd name="connsiteX13788" fmla="*/ 1250012 w 4610101"/>
              <a:gd name="connsiteY13788" fmla="*/ 1280018 h 6557032"/>
              <a:gd name="connsiteX13789" fmla="*/ 1246367 w 4610101"/>
              <a:gd name="connsiteY13789" fmla="*/ 1283663 h 6557032"/>
              <a:gd name="connsiteX13790" fmla="*/ 1248189 w 4610101"/>
              <a:gd name="connsiteY13790" fmla="*/ 1285485 h 6557032"/>
              <a:gd name="connsiteX13791" fmla="*/ 1250012 w 4610101"/>
              <a:gd name="connsiteY13791" fmla="*/ 1280018 h 6557032"/>
              <a:gd name="connsiteX13792" fmla="*/ 1175303 w 4610101"/>
              <a:gd name="connsiteY13792" fmla="*/ 1280018 h 6557032"/>
              <a:gd name="connsiteX13793" fmla="*/ 1168014 w 4610101"/>
              <a:gd name="connsiteY13793" fmla="*/ 1285485 h 6557032"/>
              <a:gd name="connsiteX13794" fmla="*/ 1184414 w 4610101"/>
              <a:gd name="connsiteY13794" fmla="*/ 1289129 h 6557032"/>
              <a:gd name="connsiteX13795" fmla="*/ 1175303 w 4610101"/>
              <a:gd name="connsiteY13795" fmla="*/ 1280018 h 6557032"/>
              <a:gd name="connsiteX13796" fmla="*/ 1107882 w 4610101"/>
              <a:gd name="connsiteY13796" fmla="*/ 1280018 h 6557032"/>
              <a:gd name="connsiteX13797" fmla="*/ 1104238 w 4610101"/>
              <a:gd name="connsiteY13797" fmla="*/ 1281841 h 6557032"/>
              <a:gd name="connsiteX13798" fmla="*/ 1107882 w 4610101"/>
              <a:gd name="connsiteY13798" fmla="*/ 1283663 h 6557032"/>
              <a:gd name="connsiteX13799" fmla="*/ 1107882 w 4610101"/>
              <a:gd name="connsiteY13799" fmla="*/ 1280018 h 6557032"/>
              <a:gd name="connsiteX13800" fmla="*/ 745269 w 4610101"/>
              <a:gd name="connsiteY13800" fmla="*/ 1280018 h 6557032"/>
              <a:gd name="connsiteX13801" fmla="*/ 748914 w 4610101"/>
              <a:gd name="connsiteY13801" fmla="*/ 1283663 h 6557032"/>
              <a:gd name="connsiteX13802" fmla="*/ 745269 w 4610101"/>
              <a:gd name="connsiteY13802" fmla="*/ 1280018 h 6557032"/>
              <a:gd name="connsiteX13803" fmla="*/ 3168779 w 4610101"/>
              <a:gd name="connsiteY13803" fmla="*/ 1279823 h 6557032"/>
              <a:gd name="connsiteX13804" fmla="*/ 3168971 w 4610101"/>
              <a:gd name="connsiteY13804" fmla="*/ 1280026 h 6557032"/>
              <a:gd name="connsiteX13805" fmla="*/ 3168761 w 4610101"/>
              <a:gd name="connsiteY13805" fmla="*/ 1280018 h 6557032"/>
              <a:gd name="connsiteX13806" fmla="*/ 1330002 w 4610101"/>
              <a:gd name="connsiteY13806" fmla="*/ 1278909 h 6557032"/>
              <a:gd name="connsiteX13807" fmla="*/ 1330188 w 4610101"/>
              <a:gd name="connsiteY13807" fmla="*/ 1280018 h 6557032"/>
              <a:gd name="connsiteX13808" fmla="*/ 1329708 w 4610101"/>
              <a:gd name="connsiteY13808" fmla="*/ 1279174 h 6557032"/>
              <a:gd name="connsiteX13809" fmla="*/ 426617 w 4610101"/>
              <a:gd name="connsiteY13809" fmla="*/ 1278879 h 6557032"/>
              <a:gd name="connsiteX13810" fmla="*/ 424567 w 4610101"/>
              <a:gd name="connsiteY13810" fmla="*/ 1281841 h 6557032"/>
              <a:gd name="connsiteX13811" fmla="*/ 430034 w 4610101"/>
              <a:gd name="connsiteY13811" fmla="*/ 1280018 h 6557032"/>
              <a:gd name="connsiteX13812" fmla="*/ 426617 w 4610101"/>
              <a:gd name="connsiteY13812" fmla="*/ 1278879 h 6557032"/>
              <a:gd name="connsiteX13813" fmla="*/ 3192449 w 4610101"/>
              <a:gd name="connsiteY13813" fmla="*/ 1278196 h 6557032"/>
              <a:gd name="connsiteX13814" fmla="*/ 3192449 w 4610101"/>
              <a:gd name="connsiteY13814" fmla="*/ 1285485 h 6557032"/>
              <a:gd name="connsiteX13815" fmla="*/ 3208849 w 4610101"/>
              <a:gd name="connsiteY13815" fmla="*/ 1285485 h 6557032"/>
              <a:gd name="connsiteX13816" fmla="*/ 3199738 w 4610101"/>
              <a:gd name="connsiteY13816" fmla="*/ 1281841 h 6557032"/>
              <a:gd name="connsiteX13817" fmla="*/ 3192449 w 4610101"/>
              <a:gd name="connsiteY13817" fmla="*/ 1278196 h 6557032"/>
              <a:gd name="connsiteX13818" fmla="*/ 2971966 w 4610101"/>
              <a:gd name="connsiteY13818" fmla="*/ 1278196 h 6557032"/>
              <a:gd name="connsiteX13819" fmla="*/ 2973788 w 4610101"/>
              <a:gd name="connsiteY13819" fmla="*/ 1283663 h 6557032"/>
              <a:gd name="connsiteX13820" fmla="*/ 2966500 w 4610101"/>
              <a:gd name="connsiteY13820" fmla="*/ 1281841 h 6557032"/>
              <a:gd name="connsiteX13821" fmla="*/ 1127926 w 4610101"/>
              <a:gd name="connsiteY13821" fmla="*/ 1278196 h 6557032"/>
              <a:gd name="connsiteX13822" fmla="*/ 1122459 w 4610101"/>
              <a:gd name="connsiteY13822" fmla="*/ 1280018 h 6557032"/>
              <a:gd name="connsiteX13823" fmla="*/ 1127926 w 4610101"/>
              <a:gd name="connsiteY13823" fmla="*/ 1278196 h 6557032"/>
              <a:gd name="connsiteX13824" fmla="*/ 752558 w 4610101"/>
              <a:gd name="connsiteY13824" fmla="*/ 1278196 h 6557032"/>
              <a:gd name="connsiteX13825" fmla="*/ 750737 w 4610101"/>
              <a:gd name="connsiteY13825" fmla="*/ 1281841 h 6557032"/>
              <a:gd name="connsiteX13826" fmla="*/ 752558 w 4610101"/>
              <a:gd name="connsiteY13826" fmla="*/ 1278196 h 6557032"/>
              <a:gd name="connsiteX13827" fmla="*/ 588562 w 4610101"/>
              <a:gd name="connsiteY13827" fmla="*/ 1278196 h 6557032"/>
              <a:gd name="connsiteX13828" fmla="*/ 579452 w 4610101"/>
              <a:gd name="connsiteY13828" fmla="*/ 1285485 h 6557032"/>
              <a:gd name="connsiteX13829" fmla="*/ 592207 w 4610101"/>
              <a:gd name="connsiteY13829" fmla="*/ 1285485 h 6557032"/>
              <a:gd name="connsiteX13830" fmla="*/ 588562 w 4610101"/>
              <a:gd name="connsiteY13830" fmla="*/ 1278196 h 6557032"/>
              <a:gd name="connsiteX13831" fmla="*/ 448256 w 4610101"/>
              <a:gd name="connsiteY13831" fmla="*/ 1278196 h 6557032"/>
              <a:gd name="connsiteX13832" fmla="*/ 442789 w 4610101"/>
              <a:gd name="connsiteY13832" fmla="*/ 1281841 h 6557032"/>
              <a:gd name="connsiteX13833" fmla="*/ 448256 w 4610101"/>
              <a:gd name="connsiteY13833" fmla="*/ 1278196 h 6557032"/>
              <a:gd name="connsiteX13834" fmla="*/ 3075830 w 4610101"/>
              <a:gd name="connsiteY13834" fmla="*/ 1276374 h 6557032"/>
              <a:gd name="connsiteX13835" fmla="*/ 3068541 w 4610101"/>
              <a:gd name="connsiteY13835" fmla="*/ 1281841 h 6557032"/>
              <a:gd name="connsiteX13836" fmla="*/ 3077652 w 4610101"/>
              <a:gd name="connsiteY13836" fmla="*/ 1281841 h 6557032"/>
              <a:gd name="connsiteX13837" fmla="*/ 3075830 w 4610101"/>
              <a:gd name="connsiteY13837" fmla="*/ 1276374 h 6557032"/>
              <a:gd name="connsiteX13838" fmla="*/ 2906368 w 4610101"/>
              <a:gd name="connsiteY13838" fmla="*/ 1276374 h 6557032"/>
              <a:gd name="connsiteX13839" fmla="*/ 2911834 w 4610101"/>
              <a:gd name="connsiteY13839" fmla="*/ 1283663 h 6557032"/>
              <a:gd name="connsiteX13840" fmla="*/ 2906368 w 4610101"/>
              <a:gd name="connsiteY13840" fmla="*/ 1276374 h 6557032"/>
              <a:gd name="connsiteX13841" fmla="*/ 1293744 w 4610101"/>
              <a:gd name="connsiteY13841" fmla="*/ 1276374 h 6557032"/>
              <a:gd name="connsiteX13842" fmla="*/ 1290100 w 4610101"/>
              <a:gd name="connsiteY13842" fmla="*/ 1278196 h 6557032"/>
              <a:gd name="connsiteX13843" fmla="*/ 1297388 w 4610101"/>
              <a:gd name="connsiteY13843" fmla="*/ 1281841 h 6557032"/>
              <a:gd name="connsiteX13844" fmla="*/ 1293744 w 4610101"/>
              <a:gd name="connsiteY13844" fmla="*/ 1276374 h 6557032"/>
              <a:gd name="connsiteX13845" fmla="*/ 1144326 w 4610101"/>
              <a:gd name="connsiteY13845" fmla="*/ 1276374 h 6557032"/>
              <a:gd name="connsiteX13846" fmla="*/ 1142503 w 4610101"/>
              <a:gd name="connsiteY13846" fmla="*/ 1278196 h 6557032"/>
              <a:gd name="connsiteX13847" fmla="*/ 1147970 w 4610101"/>
              <a:gd name="connsiteY13847" fmla="*/ 1283663 h 6557032"/>
              <a:gd name="connsiteX13848" fmla="*/ 1144326 w 4610101"/>
              <a:gd name="connsiteY13848" fmla="*/ 1276374 h 6557032"/>
              <a:gd name="connsiteX13849" fmla="*/ 3376944 w 4610101"/>
              <a:gd name="connsiteY13849" fmla="*/ 1275235 h 6557032"/>
              <a:gd name="connsiteX13850" fmla="*/ 3371022 w 4610101"/>
              <a:gd name="connsiteY13850" fmla="*/ 1276374 h 6557032"/>
              <a:gd name="connsiteX13851" fmla="*/ 3380133 w 4610101"/>
              <a:gd name="connsiteY13851" fmla="*/ 1278196 h 6557032"/>
              <a:gd name="connsiteX13852" fmla="*/ 3376944 w 4610101"/>
              <a:gd name="connsiteY13852" fmla="*/ 1275235 h 6557032"/>
              <a:gd name="connsiteX13853" fmla="*/ 3183338 w 4610101"/>
              <a:gd name="connsiteY13853" fmla="*/ 1274552 h 6557032"/>
              <a:gd name="connsiteX13854" fmla="*/ 3190627 w 4610101"/>
              <a:gd name="connsiteY13854" fmla="*/ 1285485 h 6557032"/>
              <a:gd name="connsiteX13855" fmla="*/ 3183338 w 4610101"/>
              <a:gd name="connsiteY13855" fmla="*/ 1274552 h 6557032"/>
              <a:gd name="connsiteX13856" fmla="*/ 1226323 w 4610101"/>
              <a:gd name="connsiteY13856" fmla="*/ 1274552 h 6557032"/>
              <a:gd name="connsiteX13857" fmla="*/ 1228548 w 4610101"/>
              <a:gd name="connsiteY13857" fmla="*/ 1276332 h 6557032"/>
              <a:gd name="connsiteX13858" fmla="*/ 1225934 w 4610101"/>
              <a:gd name="connsiteY13858" fmla="*/ 1274829 h 6557032"/>
              <a:gd name="connsiteX13859" fmla="*/ 1177125 w 4610101"/>
              <a:gd name="connsiteY13859" fmla="*/ 1274552 h 6557032"/>
              <a:gd name="connsiteX13860" fmla="*/ 1180769 w 4610101"/>
              <a:gd name="connsiteY13860" fmla="*/ 1280018 h 6557032"/>
              <a:gd name="connsiteX13861" fmla="*/ 1188058 w 4610101"/>
              <a:gd name="connsiteY13861" fmla="*/ 1280018 h 6557032"/>
              <a:gd name="connsiteX13862" fmla="*/ 1177125 w 4610101"/>
              <a:gd name="connsiteY13862" fmla="*/ 1274552 h 6557032"/>
              <a:gd name="connsiteX13863" fmla="*/ 1135215 w 4610101"/>
              <a:gd name="connsiteY13863" fmla="*/ 1274552 h 6557032"/>
              <a:gd name="connsiteX13864" fmla="*/ 1129748 w 4610101"/>
              <a:gd name="connsiteY13864" fmla="*/ 1278196 h 6557032"/>
              <a:gd name="connsiteX13865" fmla="*/ 1138859 w 4610101"/>
              <a:gd name="connsiteY13865" fmla="*/ 1280018 h 6557032"/>
              <a:gd name="connsiteX13866" fmla="*/ 1135215 w 4610101"/>
              <a:gd name="connsiteY13866" fmla="*/ 1274552 h 6557032"/>
              <a:gd name="connsiteX13867" fmla="*/ 1111526 w 4610101"/>
              <a:gd name="connsiteY13867" fmla="*/ 1274552 h 6557032"/>
              <a:gd name="connsiteX13868" fmla="*/ 1107882 w 4610101"/>
              <a:gd name="connsiteY13868" fmla="*/ 1276374 h 6557032"/>
              <a:gd name="connsiteX13869" fmla="*/ 1111526 w 4610101"/>
              <a:gd name="connsiteY13869" fmla="*/ 1283663 h 6557032"/>
              <a:gd name="connsiteX13870" fmla="*/ 1111526 w 4610101"/>
              <a:gd name="connsiteY13870" fmla="*/ 1274552 h 6557032"/>
              <a:gd name="connsiteX13871" fmla="*/ 991263 w 4610101"/>
              <a:gd name="connsiteY13871" fmla="*/ 1274552 h 6557032"/>
              <a:gd name="connsiteX13872" fmla="*/ 985796 w 4610101"/>
              <a:gd name="connsiteY13872" fmla="*/ 1280018 h 6557032"/>
              <a:gd name="connsiteX13873" fmla="*/ 989441 w 4610101"/>
              <a:gd name="connsiteY13873" fmla="*/ 1287307 h 6557032"/>
              <a:gd name="connsiteX13874" fmla="*/ 994907 w 4610101"/>
              <a:gd name="connsiteY13874" fmla="*/ 1285485 h 6557032"/>
              <a:gd name="connsiteX13875" fmla="*/ 1005840 w 4610101"/>
              <a:gd name="connsiteY13875" fmla="*/ 1290951 h 6557032"/>
              <a:gd name="connsiteX13876" fmla="*/ 1022240 w 4610101"/>
              <a:gd name="connsiteY13876" fmla="*/ 1318284 h 6557032"/>
              <a:gd name="connsiteX13877" fmla="*/ 1013129 w 4610101"/>
              <a:gd name="connsiteY13877" fmla="*/ 1290951 h 6557032"/>
              <a:gd name="connsiteX13878" fmla="*/ 1029529 w 4610101"/>
              <a:gd name="connsiteY13878" fmla="*/ 1314640 h 6557032"/>
              <a:gd name="connsiteX13879" fmla="*/ 1031351 w 4610101"/>
              <a:gd name="connsiteY13879" fmla="*/ 1309173 h 6557032"/>
              <a:gd name="connsiteX13880" fmla="*/ 1025884 w 4610101"/>
              <a:gd name="connsiteY13880" fmla="*/ 1320106 h 6557032"/>
              <a:gd name="connsiteX13881" fmla="*/ 1038639 w 4610101"/>
              <a:gd name="connsiteY13881" fmla="*/ 1318284 h 6557032"/>
              <a:gd name="connsiteX13882" fmla="*/ 1053217 w 4610101"/>
              <a:gd name="connsiteY13882" fmla="*/ 1325573 h 6557032"/>
              <a:gd name="connsiteX13883" fmla="*/ 1049573 w 4610101"/>
              <a:gd name="connsiteY13883" fmla="*/ 1332862 h 6557032"/>
              <a:gd name="connsiteX13884" fmla="*/ 1033173 w 4610101"/>
              <a:gd name="connsiteY13884" fmla="*/ 1325573 h 6557032"/>
              <a:gd name="connsiteX13885" fmla="*/ 1060506 w 4610101"/>
              <a:gd name="connsiteY13885" fmla="*/ 1362016 h 6557032"/>
              <a:gd name="connsiteX13886" fmla="*/ 1062328 w 4610101"/>
              <a:gd name="connsiteY13886" fmla="*/ 1360194 h 6557032"/>
              <a:gd name="connsiteX13887" fmla="*/ 1067794 w 4610101"/>
              <a:gd name="connsiteY13887" fmla="*/ 1369305 h 6557032"/>
              <a:gd name="connsiteX13888" fmla="*/ 1067794 w 4610101"/>
              <a:gd name="connsiteY13888" fmla="*/ 1365661 h 6557032"/>
              <a:gd name="connsiteX13889" fmla="*/ 1069616 w 4610101"/>
              <a:gd name="connsiteY13889" fmla="*/ 1369305 h 6557032"/>
              <a:gd name="connsiteX13890" fmla="*/ 1093305 w 4610101"/>
              <a:gd name="connsiteY13890" fmla="*/ 1383882 h 6557032"/>
              <a:gd name="connsiteX13891" fmla="*/ 1086016 w 4610101"/>
              <a:gd name="connsiteY13891" fmla="*/ 1376594 h 6557032"/>
              <a:gd name="connsiteX13892" fmla="*/ 1093305 w 4610101"/>
              <a:gd name="connsiteY13892" fmla="*/ 1382060 h 6557032"/>
              <a:gd name="connsiteX13893" fmla="*/ 1091484 w 4610101"/>
              <a:gd name="connsiteY13893" fmla="*/ 1358372 h 6557032"/>
              <a:gd name="connsiteX13894" fmla="*/ 1082373 w 4610101"/>
              <a:gd name="connsiteY13894" fmla="*/ 1358372 h 6557032"/>
              <a:gd name="connsiteX13895" fmla="*/ 1080549 w 4610101"/>
              <a:gd name="connsiteY13895" fmla="*/ 1354728 h 6557032"/>
              <a:gd name="connsiteX13896" fmla="*/ 1087838 w 4610101"/>
              <a:gd name="connsiteY13896" fmla="*/ 1354728 h 6557032"/>
              <a:gd name="connsiteX13897" fmla="*/ 1089660 w 4610101"/>
              <a:gd name="connsiteY13897" fmla="*/ 1351083 h 6557032"/>
              <a:gd name="connsiteX13898" fmla="*/ 1080549 w 4610101"/>
              <a:gd name="connsiteY13898" fmla="*/ 1345617 h 6557032"/>
              <a:gd name="connsiteX13899" fmla="*/ 1086016 w 4610101"/>
              <a:gd name="connsiteY13899" fmla="*/ 1347439 h 6557032"/>
              <a:gd name="connsiteX13900" fmla="*/ 1047750 w 4610101"/>
              <a:gd name="connsiteY13900" fmla="*/ 1300062 h 6557032"/>
              <a:gd name="connsiteX13901" fmla="*/ 1031351 w 4610101"/>
              <a:gd name="connsiteY13901" fmla="*/ 1292774 h 6557032"/>
              <a:gd name="connsiteX13902" fmla="*/ 1007663 w 4610101"/>
              <a:gd name="connsiteY13902" fmla="*/ 1280018 h 6557032"/>
              <a:gd name="connsiteX13903" fmla="*/ 1007663 w 4610101"/>
              <a:gd name="connsiteY13903" fmla="*/ 1283663 h 6557032"/>
              <a:gd name="connsiteX13904" fmla="*/ 991263 w 4610101"/>
              <a:gd name="connsiteY13904" fmla="*/ 1274552 h 6557032"/>
              <a:gd name="connsiteX13905" fmla="*/ 960286 w 4610101"/>
              <a:gd name="connsiteY13905" fmla="*/ 1274552 h 6557032"/>
              <a:gd name="connsiteX13906" fmla="*/ 960286 w 4610101"/>
              <a:gd name="connsiteY13906" fmla="*/ 1274552 h 6557032"/>
              <a:gd name="connsiteX13907" fmla="*/ 630472 w 4610101"/>
              <a:gd name="connsiteY13907" fmla="*/ 1274552 h 6557032"/>
              <a:gd name="connsiteX13908" fmla="*/ 639583 w 4610101"/>
              <a:gd name="connsiteY13908" fmla="*/ 1287307 h 6557032"/>
              <a:gd name="connsiteX13909" fmla="*/ 630472 w 4610101"/>
              <a:gd name="connsiteY13909" fmla="*/ 1274552 h 6557032"/>
              <a:gd name="connsiteX13910" fmla="*/ 597673 w 4610101"/>
              <a:gd name="connsiteY13910" fmla="*/ 1274552 h 6557032"/>
              <a:gd name="connsiteX13911" fmla="*/ 590385 w 4610101"/>
              <a:gd name="connsiteY13911" fmla="*/ 1276374 h 6557032"/>
              <a:gd name="connsiteX13912" fmla="*/ 597673 w 4610101"/>
              <a:gd name="connsiteY13912" fmla="*/ 1285485 h 6557032"/>
              <a:gd name="connsiteX13913" fmla="*/ 597673 w 4610101"/>
              <a:gd name="connsiteY13913" fmla="*/ 1274552 h 6557032"/>
              <a:gd name="connsiteX13914" fmla="*/ 1331098 w 4610101"/>
              <a:gd name="connsiteY13914" fmla="*/ 1273095 h 6557032"/>
              <a:gd name="connsiteX13915" fmla="*/ 1331326 w 4610101"/>
              <a:gd name="connsiteY13915" fmla="*/ 1275007 h 6557032"/>
              <a:gd name="connsiteX13916" fmla="*/ 1331782 w 4610101"/>
              <a:gd name="connsiteY13916" fmla="*/ 1277247 h 6557032"/>
              <a:gd name="connsiteX13917" fmla="*/ 1331554 w 4610101"/>
              <a:gd name="connsiteY13917" fmla="*/ 1277513 h 6557032"/>
              <a:gd name="connsiteX13918" fmla="*/ 1330002 w 4610101"/>
              <a:gd name="connsiteY13918" fmla="*/ 1278909 h 6557032"/>
              <a:gd name="connsiteX13919" fmla="*/ 1329276 w 4610101"/>
              <a:gd name="connsiteY13919" fmla="*/ 1274552 h 6557032"/>
              <a:gd name="connsiteX13920" fmla="*/ 3430243 w 4610101"/>
              <a:gd name="connsiteY13920" fmla="*/ 1272730 h 6557032"/>
              <a:gd name="connsiteX13921" fmla="*/ 3423865 w 4610101"/>
              <a:gd name="connsiteY13921" fmla="*/ 1278196 h 6557032"/>
              <a:gd name="connsiteX13922" fmla="*/ 3429332 w 4610101"/>
              <a:gd name="connsiteY13922" fmla="*/ 1289129 h 6557032"/>
              <a:gd name="connsiteX13923" fmla="*/ 3436621 w 4610101"/>
              <a:gd name="connsiteY13923" fmla="*/ 1272730 h 6557032"/>
              <a:gd name="connsiteX13924" fmla="*/ 3430243 w 4610101"/>
              <a:gd name="connsiteY13924" fmla="*/ 1272730 h 6557032"/>
              <a:gd name="connsiteX13925" fmla="*/ 3172405 w 4610101"/>
              <a:gd name="connsiteY13925" fmla="*/ 1272730 h 6557032"/>
              <a:gd name="connsiteX13926" fmla="*/ 3169217 w 4610101"/>
              <a:gd name="connsiteY13926" fmla="*/ 1275007 h 6557032"/>
              <a:gd name="connsiteX13927" fmla="*/ 3168779 w 4610101"/>
              <a:gd name="connsiteY13927" fmla="*/ 1279823 h 6557032"/>
              <a:gd name="connsiteX13928" fmla="*/ 3168533 w 4610101"/>
              <a:gd name="connsiteY13928" fmla="*/ 1279563 h 6557032"/>
              <a:gd name="connsiteX13929" fmla="*/ 3163294 w 4610101"/>
              <a:gd name="connsiteY13929" fmla="*/ 1278196 h 6557032"/>
              <a:gd name="connsiteX13930" fmla="*/ 3163294 w 4610101"/>
              <a:gd name="connsiteY13930" fmla="*/ 1285485 h 6557032"/>
              <a:gd name="connsiteX13931" fmla="*/ 3170583 w 4610101"/>
              <a:gd name="connsiteY13931" fmla="*/ 1285485 h 6557032"/>
              <a:gd name="connsiteX13932" fmla="*/ 3163294 w 4610101"/>
              <a:gd name="connsiteY13932" fmla="*/ 1292774 h 6557032"/>
              <a:gd name="connsiteX13933" fmla="*/ 3165116 w 4610101"/>
              <a:gd name="connsiteY13933" fmla="*/ 1303707 h 6557032"/>
              <a:gd name="connsiteX13934" fmla="*/ 3177872 w 4610101"/>
              <a:gd name="connsiteY13934" fmla="*/ 1303707 h 6557032"/>
              <a:gd name="connsiteX13935" fmla="*/ 3185160 w 4610101"/>
              <a:gd name="connsiteY13935" fmla="*/ 1309173 h 6557032"/>
              <a:gd name="connsiteX13936" fmla="*/ 3190627 w 4610101"/>
              <a:gd name="connsiteY13936" fmla="*/ 1300062 h 6557032"/>
              <a:gd name="connsiteX13937" fmla="*/ 3179694 w 4610101"/>
              <a:gd name="connsiteY13937" fmla="*/ 1278196 h 6557032"/>
              <a:gd name="connsiteX13938" fmla="*/ 3172405 w 4610101"/>
              <a:gd name="connsiteY13938" fmla="*/ 1283663 h 6557032"/>
              <a:gd name="connsiteX13939" fmla="*/ 3168971 w 4610101"/>
              <a:gd name="connsiteY13939" fmla="*/ 1280026 h 6557032"/>
              <a:gd name="connsiteX13940" fmla="*/ 3174683 w 4610101"/>
              <a:gd name="connsiteY13940" fmla="*/ 1280246 h 6557032"/>
              <a:gd name="connsiteX13941" fmla="*/ 3177872 w 4610101"/>
              <a:gd name="connsiteY13941" fmla="*/ 1276374 h 6557032"/>
              <a:gd name="connsiteX13942" fmla="*/ 3172405 w 4610101"/>
              <a:gd name="connsiteY13942" fmla="*/ 1272730 h 6557032"/>
              <a:gd name="connsiteX13943" fmla="*/ 1873195 w 4610101"/>
              <a:gd name="connsiteY13943" fmla="*/ 1272730 h 6557032"/>
              <a:gd name="connsiteX13944" fmla="*/ 1867729 w 4610101"/>
              <a:gd name="connsiteY13944" fmla="*/ 1287307 h 6557032"/>
              <a:gd name="connsiteX13945" fmla="*/ 1876839 w 4610101"/>
              <a:gd name="connsiteY13945" fmla="*/ 1272730 h 6557032"/>
              <a:gd name="connsiteX13946" fmla="*/ 1335654 w 4610101"/>
              <a:gd name="connsiteY13946" fmla="*/ 1272730 h 6557032"/>
              <a:gd name="connsiteX13947" fmla="*/ 1337476 w 4610101"/>
              <a:gd name="connsiteY13947" fmla="*/ 1281841 h 6557032"/>
              <a:gd name="connsiteX13948" fmla="*/ 1341120 w 4610101"/>
              <a:gd name="connsiteY13948" fmla="*/ 1276374 h 6557032"/>
              <a:gd name="connsiteX13949" fmla="*/ 1344765 w 4610101"/>
              <a:gd name="connsiteY13949" fmla="*/ 1278196 h 6557032"/>
              <a:gd name="connsiteX13950" fmla="*/ 1343170 w 4610101"/>
              <a:gd name="connsiteY13950" fmla="*/ 1288218 h 6557032"/>
              <a:gd name="connsiteX13951" fmla="*/ 1340698 w 4610101"/>
              <a:gd name="connsiteY13951" fmla="*/ 1292570 h 6557032"/>
              <a:gd name="connsiteX13952" fmla="*/ 1339981 w 4610101"/>
              <a:gd name="connsiteY13952" fmla="*/ 1289129 h 6557032"/>
              <a:gd name="connsiteX13953" fmla="*/ 1337476 w 4610101"/>
              <a:gd name="connsiteY13953" fmla="*/ 1283663 h 6557032"/>
              <a:gd name="connsiteX13954" fmla="*/ 1336261 w 4610101"/>
              <a:gd name="connsiteY13954" fmla="*/ 1283663 h 6557032"/>
              <a:gd name="connsiteX13955" fmla="*/ 1337475 w 4610101"/>
              <a:gd name="connsiteY13955" fmla="*/ 1281841 h 6557032"/>
              <a:gd name="connsiteX13956" fmla="*/ 1333832 w 4610101"/>
              <a:gd name="connsiteY13956" fmla="*/ 1283663 h 6557032"/>
              <a:gd name="connsiteX13957" fmla="*/ 1332579 w 4610101"/>
              <a:gd name="connsiteY13957" fmla="*/ 1281158 h 6557032"/>
              <a:gd name="connsiteX13958" fmla="*/ 1331782 w 4610101"/>
              <a:gd name="connsiteY13958" fmla="*/ 1277247 h 6557032"/>
              <a:gd name="connsiteX13959" fmla="*/ 1284633 w 4610101"/>
              <a:gd name="connsiteY13959" fmla="*/ 1272730 h 6557032"/>
              <a:gd name="connsiteX13960" fmla="*/ 1288277 w 4610101"/>
              <a:gd name="connsiteY13960" fmla="*/ 1276374 h 6557032"/>
              <a:gd name="connsiteX13961" fmla="*/ 1284633 w 4610101"/>
              <a:gd name="connsiteY13961" fmla="*/ 1272730 h 6557032"/>
              <a:gd name="connsiteX13962" fmla="*/ 1271878 w 4610101"/>
              <a:gd name="connsiteY13962" fmla="*/ 1272730 h 6557032"/>
              <a:gd name="connsiteX13963" fmla="*/ 1260945 w 4610101"/>
              <a:gd name="connsiteY13963" fmla="*/ 1278196 h 6557032"/>
              <a:gd name="connsiteX13964" fmla="*/ 1264589 w 4610101"/>
              <a:gd name="connsiteY13964" fmla="*/ 1280018 h 6557032"/>
              <a:gd name="connsiteX13965" fmla="*/ 1268233 w 4610101"/>
              <a:gd name="connsiteY13965" fmla="*/ 1276374 h 6557032"/>
              <a:gd name="connsiteX13966" fmla="*/ 1266411 w 4610101"/>
              <a:gd name="connsiteY13966" fmla="*/ 1280018 h 6557032"/>
              <a:gd name="connsiteX13967" fmla="*/ 1280989 w 4610101"/>
              <a:gd name="connsiteY13967" fmla="*/ 1283663 h 6557032"/>
              <a:gd name="connsiteX13968" fmla="*/ 1271878 w 4610101"/>
              <a:gd name="connsiteY13968" fmla="*/ 1272730 h 6557032"/>
              <a:gd name="connsiteX13969" fmla="*/ 708826 w 4610101"/>
              <a:gd name="connsiteY13969" fmla="*/ 1272730 h 6557032"/>
              <a:gd name="connsiteX13970" fmla="*/ 705182 w 4610101"/>
              <a:gd name="connsiteY13970" fmla="*/ 1274552 h 6557032"/>
              <a:gd name="connsiteX13971" fmla="*/ 710648 w 4610101"/>
              <a:gd name="connsiteY13971" fmla="*/ 1280018 h 6557032"/>
              <a:gd name="connsiteX13972" fmla="*/ 708826 w 4610101"/>
              <a:gd name="connsiteY13972" fmla="*/ 1272730 h 6557032"/>
              <a:gd name="connsiteX13973" fmla="*/ 570341 w 4610101"/>
              <a:gd name="connsiteY13973" fmla="*/ 1272730 h 6557032"/>
              <a:gd name="connsiteX13974" fmla="*/ 552119 w 4610101"/>
              <a:gd name="connsiteY13974" fmla="*/ 1281841 h 6557032"/>
              <a:gd name="connsiteX13975" fmla="*/ 570341 w 4610101"/>
              <a:gd name="connsiteY13975" fmla="*/ 1272730 h 6557032"/>
              <a:gd name="connsiteX13976" fmla="*/ 510209 w 4610101"/>
              <a:gd name="connsiteY13976" fmla="*/ 1272730 h 6557032"/>
              <a:gd name="connsiteX13977" fmla="*/ 524786 w 4610101"/>
              <a:gd name="connsiteY13977" fmla="*/ 1278196 h 6557032"/>
              <a:gd name="connsiteX13978" fmla="*/ 515676 w 4610101"/>
              <a:gd name="connsiteY13978" fmla="*/ 1272730 h 6557032"/>
              <a:gd name="connsiteX13979" fmla="*/ 510209 w 4610101"/>
              <a:gd name="connsiteY13979" fmla="*/ 1272730 h 6557032"/>
              <a:gd name="connsiteX13980" fmla="*/ 1325727 w 4610101"/>
              <a:gd name="connsiteY13980" fmla="*/ 1272160 h 6557032"/>
              <a:gd name="connsiteX13981" fmla="*/ 1325982 w 4610101"/>
              <a:gd name="connsiteY13981" fmla="*/ 1272609 h 6557032"/>
              <a:gd name="connsiteX13982" fmla="*/ 1325148 w 4610101"/>
              <a:gd name="connsiteY13982" fmla="*/ 1277854 h 6557032"/>
              <a:gd name="connsiteX13983" fmla="*/ 1324721 w 4610101"/>
              <a:gd name="connsiteY13983" fmla="*/ 1278196 h 6557032"/>
              <a:gd name="connsiteX13984" fmla="*/ 1681866 w 4610101"/>
              <a:gd name="connsiteY13984" fmla="*/ 1270979 h 6557032"/>
              <a:gd name="connsiteX13985" fmla="*/ 1698266 w 4610101"/>
              <a:gd name="connsiteY13985" fmla="*/ 1285557 h 6557032"/>
              <a:gd name="connsiteX13986" fmla="*/ 1681866 w 4610101"/>
              <a:gd name="connsiteY13986" fmla="*/ 1285557 h 6557032"/>
              <a:gd name="connsiteX13987" fmla="*/ 3141428 w 4610101"/>
              <a:gd name="connsiteY13987" fmla="*/ 1270908 h 6557032"/>
              <a:gd name="connsiteX13988" fmla="*/ 3141428 w 4610101"/>
              <a:gd name="connsiteY13988" fmla="*/ 1281841 h 6557032"/>
              <a:gd name="connsiteX13989" fmla="*/ 3157828 w 4610101"/>
              <a:gd name="connsiteY13989" fmla="*/ 1285485 h 6557032"/>
              <a:gd name="connsiteX13990" fmla="*/ 3141428 w 4610101"/>
              <a:gd name="connsiteY13990" fmla="*/ 1270908 h 6557032"/>
              <a:gd name="connsiteX13991" fmla="*/ 1885950 w 4610101"/>
              <a:gd name="connsiteY13991" fmla="*/ 1270908 h 6557032"/>
              <a:gd name="connsiteX13992" fmla="*/ 1885950 w 4610101"/>
              <a:gd name="connsiteY13992" fmla="*/ 1289129 h 6557032"/>
              <a:gd name="connsiteX13993" fmla="*/ 1893239 w 4610101"/>
              <a:gd name="connsiteY13993" fmla="*/ 1289129 h 6557032"/>
              <a:gd name="connsiteX13994" fmla="*/ 1896883 w 4610101"/>
              <a:gd name="connsiteY13994" fmla="*/ 1285485 h 6557032"/>
              <a:gd name="connsiteX13995" fmla="*/ 1896883 w 4610101"/>
              <a:gd name="connsiteY13995" fmla="*/ 1270908 h 6557032"/>
              <a:gd name="connsiteX13996" fmla="*/ 1162547 w 4610101"/>
              <a:gd name="connsiteY13996" fmla="*/ 1270908 h 6557032"/>
              <a:gd name="connsiteX13997" fmla="*/ 1160725 w 4610101"/>
              <a:gd name="connsiteY13997" fmla="*/ 1274552 h 6557032"/>
              <a:gd name="connsiteX13998" fmla="*/ 1162547 w 4610101"/>
              <a:gd name="connsiteY13998" fmla="*/ 1270908 h 6557032"/>
              <a:gd name="connsiteX13999" fmla="*/ 1120637 w 4610101"/>
              <a:gd name="connsiteY13999" fmla="*/ 1270908 h 6557032"/>
              <a:gd name="connsiteX14000" fmla="*/ 1115171 w 4610101"/>
              <a:gd name="connsiteY14000" fmla="*/ 1274552 h 6557032"/>
              <a:gd name="connsiteX14001" fmla="*/ 1118815 w 4610101"/>
              <a:gd name="connsiteY14001" fmla="*/ 1283663 h 6557032"/>
              <a:gd name="connsiteX14002" fmla="*/ 1120637 w 4610101"/>
              <a:gd name="connsiteY14002" fmla="*/ 1270908 h 6557032"/>
              <a:gd name="connsiteX14003" fmla="*/ 967575 w 4610101"/>
              <a:gd name="connsiteY14003" fmla="*/ 1270908 h 6557032"/>
              <a:gd name="connsiteX14004" fmla="*/ 960286 w 4610101"/>
              <a:gd name="connsiteY14004" fmla="*/ 1278196 h 6557032"/>
              <a:gd name="connsiteX14005" fmla="*/ 967575 w 4610101"/>
              <a:gd name="connsiteY14005" fmla="*/ 1270908 h 6557032"/>
              <a:gd name="connsiteX14006" fmla="*/ 931131 w 4610101"/>
              <a:gd name="connsiteY14006" fmla="*/ 1270908 h 6557032"/>
              <a:gd name="connsiteX14007" fmla="*/ 936598 w 4610101"/>
              <a:gd name="connsiteY14007" fmla="*/ 1274552 h 6557032"/>
              <a:gd name="connsiteX14008" fmla="*/ 938420 w 4610101"/>
              <a:gd name="connsiteY14008" fmla="*/ 1270908 h 6557032"/>
              <a:gd name="connsiteX14009" fmla="*/ 931131 w 4610101"/>
              <a:gd name="connsiteY14009" fmla="*/ 1270908 h 6557032"/>
              <a:gd name="connsiteX14010" fmla="*/ 776246 w 4610101"/>
              <a:gd name="connsiteY14010" fmla="*/ 1270908 h 6557032"/>
              <a:gd name="connsiteX14011" fmla="*/ 774424 w 4610101"/>
              <a:gd name="connsiteY14011" fmla="*/ 1274552 h 6557032"/>
              <a:gd name="connsiteX14012" fmla="*/ 775031 w 4610101"/>
              <a:gd name="connsiteY14012" fmla="*/ 1274552 h 6557032"/>
              <a:gd name="connsiteX14013" fmla="*/ 774424 w 4610101"/>
              <a:gd name="connsiteY14013" fmla="*/ 1276374 h 6557032"/>
              <a:gd name="connsiteX14014" fmla="*/ 779892 w 4610101"/>
              <a:gd name="connsiteY14014" fmla="*/ 1274552 h 6557032"/>
              <a:gd name="connsiteX14015" fmla="*/ 775031 w 4610101"/>
              <a:gd name="connsiteY14015" fmla="*/ 1274552 h 6557032"/>
              <a:gd name="connsiteX14016" fmla="*/ 759848 w 4610101"/>
              <a:gd name="connsiteY14016" fmla="*/ 1270908 h 6557032"/>
              <a:gd name="connsiteX14017" fmla="*/ 752558 w 4610101"/>
              <a:gd name="connsiteY14017" fmla="*/ 1283663 h 6557032"/>
              <a:gd name="connsiteX14018" fmla="*/ 761670 w 4610101"/>
              <a:gd name="connsiteY14018" fmla="*/ 1283663 h 6557032"/>
              <a:gd name="connsiteX14019" fmla="*/ 759848 w 4610101"/>
              <a:gd name="connsiteY14019" fmla="*/ 1270908 h 6557032"/>
              <a:gd name="connsiteX14020" fmla="*/ 615895 w 4610101"/>
              <a:gd name="connsiteY14020" fmla="*/ 1270908 h 6557032"/>
              <a:gd name="connsiteX14021" fmla="*/ 614074 w 4610101"/>
              <a:gd name="connsiteY14021" fmla="*/ 1280018 h 6557032"/>
              <a:gd name="connsiteX14022" fmla="*/ 619539 w 4610101"/>
              <a:gd name="connsiteY14022" fmla="*/ 1274552 h 6557032"/>
              <a:gd name="connsiteX14023" fmla="*/ 615895 w 4610101"/>
              <a:gd name="connsiteY14023" fmla="*/ 1270908 h 6557032"/>
              <a:gd name="connsiteX14024" fmla="*/ 522964 w 4610101"/>
              <a:gd name="connsiteY14024" fmla="*/ 1270908 h 6557032"/>
              <a:gd name="connsiteX14025" fmla="*/ 530253 w 4610101"/>
              <a:gd name="connsiteY14025" fmla="*/ 1274552 h 6557032"/>
              <a:gd name="connsiteX14026" fmla="*/ 522964 w 4610101"/>
              <a:gd name="connsiteY14026" fmla="*/ 1270908 h 6557032"/>
              <a:gd name="connsiteX14027" fmla="*/ 744131 w 4610101"/>
              <a:gd name="connsiteY14027" fmla="*/ 1270908 h 6557032"/>
              <a:gd name="connsiteX14028" fmla="*/ 741626 w 4610101"/>
              <a:gd name="connsiteY14028" fmla="*/ 1270908 h 6557032"/>
              <a:gd name="connsiteX14029" fmla="*/ 745269 w 4610101"/>
              <a:gd name="connsiteY14029" fmla="*/ 1270908 h 6557032"/>
              <a:gd name="connsiteX14030" fmla="*/ 744131 w 4610101"/>
              <a:gd name="connsiteY14030" fmla="*/ 1270908 h 6557032"/>
              <a:gd name="connsiteX14031" fmla="*/ 3355078 w 4610101"/>
              <a:gd name="connsiteY14031" fmla="*/ 1270680 h 6557032"/>
              <a:gd name="connsiteX14032" fmla="*/ 3349156 w 4610101"/>
              <a:gd name="connsiteY14032" fmla="*/ 1270908 h 6557032"/>
              <a:gd name="connsiteX14033" fmla="*/ 3363734 w 4610101"/>
              <a:gd name="connsiteY14033" fmla="*/ 1274552 h 6557032"/>
              <a:gd name="connsiteX14034" fmla="*/ 3355078 w 4610101"/>
              <a:gd name="connsiteY14034" fmla="*/ 1270680 h 6557032"/>
              <a:gd name="connsiteX14035" fmla="*/ 1414664 w 4610101"/>
              <a:gd name="connsiteY14035" fmla="*/ 1270398 h 6557032"/>
              <a:gd name="connsiteX14036" fmla="*/ 1414463 w 4610101"/>
              <a:gd name="connsiteY14036" fmla="*/ 1272502 h 6557032"/>
              <a:gd name="connsiteX14037" fmla="*/ 1406116 w 4610101"/>
              <a:gd name="connsiteY14037" fmla="*/ 1283830 h 6557032"/>
              <a:gd name="connsiteX14038" fmla="*/ 3290164 w 4610101"/>
              <a:gd name="connsiteY14038" fmla="*/ 1270224 h 6557032"/>
              <a:gd name="connsiteX14039" fmla="*/ 3285380 w 4610101"/>
              <a:gd name="connsiteY14039" fmla="*/ 1274552 h 6557032"/>
              <a:gd name="connsiteX14040" fmla="*/ 3296313 w 4610101"/>
              <a:gd name="connsiteY14040" fmla="*/ 1272730 h 6557032"/>
              <a:gd name="connsiteX14041" fmla="*/ 3290164 w 4610101"/>
              <a:gd name="connsiteY14041" fmla="*/ 1270224 h 6557032"/>
              <a:gd name="connsiteX14042" fmla="*/ 3182200 w 4610101"/>
              <a:gd name="connsiteY14042" fmla="*/ 1269768 h 6557032"/>
              <a:gd name="connsiteX14043" fmla="*/ 3177872 w 4610101"/>
              <a:gd name="connsiteY14043" fmla="*/ 1270908 h 6557032"/>
              <a:gd name="connsiteX14044" fmla="*/ 3185160 w 4610101"/>
              <a:gd name="connsiteY14044" fmla="*/ 1272730 h 6557032"/>
              <a:gd name="connsiteX14045" fmla="*/ 3182200 w 4610101"/>
              <a:gd name="connsiteY14045" fmla="*/ 1269768 h 6557032"/>
              <a:gd name="connsiteX14046" fmla="*/ 1326034 w 4610101"/>
              <a:gd name="connsiteY14046" fmla="*/ 1269668 h 6557032"/>
              <a:gd name="connsiteX14047" fmla="*/ 1326087 w 4610101"/>
              <a:gd name="connsiteY14047" fmla="*/ 1269996 h 6557032"/>
              <a:gd name="connsiteX14048" fmla="*/ 1325727 w 4610101"/>
              <a:gd name="connsiteY14048" fmla="*/ 1272160 h 6557032"/>
              <a:gd name="connsiteX14049" fmla="*/ 1325404 w 4610101"/>
              <a:gd name="connsiteY14049" fmla="*/ 1271591 h 6557032"/>
              <a:gd name="connsiteX14050" fmla="*/ 1325326 w 4610101"/>
              <a:gd name="connsiteY14050" fmla="*/ 1270475 h 6557032"/>
              <a:gd name="connsiteX14051" fmla="*/ 291093 w 4610101"/>
              <a:gd name="connsiteY14051" fmla="*/ 1269086 h 6557032"/>
              <a:gd name="connsiteX14052" fmla="*/ 269682 w 4610101"/>
              <a:gd name="connsiteY14052" fmla="*/ 1270908 h 6557032"/>
              <a:gd name="connsiteX14053" fmla="*/ 278793 w 4610101"/>
              <a:gd name="connsiteY14053" fmla="*/ 1274552 h 6557032"/>
              <a:gd name="connsiteX14054" fmla="*/ 276971 w 4610101"/>
              <a:gd name="connsiteY14054" fmla="*/ 1270908 h 6557032"/>
              <a:gd name="connsiteX14055" fmla="*/ 287904 w 4610101"/>
              <a:gd name="connsiteY14055" fmla="*/ 1278196 h 6557032"/>
              <a:gd name="connsiteX14056" fmla="*/ 289726 w 4610101"/>
              <a:gd name="connsiteY14056" fmla="*/ 1274552 h 6557032"/>
              <a:gd name="connsiteX14057" fmla="*/ 304303 w 4610101"/>
              <a:gd name="connsiteY14057" fmla="*/ 1287307 h 6557032"/>
              <a:gd name="connsiteX14058" fmla="*/ 315236 w 4610101"/>
              <a:gd name="connsiteY14058" fmla="*/ 1278196 h 6557032"/>
              <a:gd name="connsiteX14059" fmla="*/ 291093 w 4610101"/>
              <a:gd name="connsiteY14059" fmla="*/ 1269086 h 6557032"/>
              <a:gd name="connsiteX14060" fmla="*/ 1304677 w 4610101"/>
              <a:gd name="connsiteY14060" fmla="*/ 1269085 h 6557032"/>
              <a:gd name="connsiteX14061" fmla="*/ 1306499 w 4610101"/>
              <a:gd name="connsiteY14061" fmla="*/ 1283663 h 6557032"/>
              <a:gd name="connsiteX14062" fmla="*/ 1304677 w 4610101"/>
              <a:gd name="connsiteY14062" fmla="*/ 1269085 h 6557032"/>
              <a:gd name="connsiteX14063" fmla="*/ 1051395 w 4610101"/>
              <a:gd name="connsiteY14063" fmla="*/ 1269085 h 6557032"/>
              <a:gd name="connsiteX14064" fmla="*/ 1080549 w 4610101"/>
              <a:gd name="connsiteY14064" fmla="*/ 1296418 h 6557032"/>
              <a:gd name="connsiteX14065" fmla="*/ 1073262 w 4610101"/>
              <a:gd name="connsiteY14065" fmla="*/ 1292774 h 6557032"/>
              <a:gd name="connsiteX14066" fmla="*/ 1084194 w 4610101"/>
              <a:gd name="connsiteY14066" fmla="*/ 1305529 h 6557032"/>
              <a:gd name="connsiteX14067" fmla="*/ 1093305 w 4610101"/>
              <a:gd name="connsiteY14067" fmla="*/ 1316462 h 6557032"/>
              <a:gd name="connsiteX14068" fmla="*/ 1100593 w 4610101"/>
              <a:gd name="connsiteY14068" fmla="*/ 1331039 h 6557032"/>
              <a:gd name="connsiteX14069" fmla="*/ 1098771 w 4610101"/>
              <a:gd name="connsiteY14069" fmla="*/ 1325573 h 6557032"/>
              <a:gd name="connsiteX14070" fmla="*/ 1102416 w 4610101"/>
              <a:gd name="connsiteY14070" fmla="*/ 1325573 h 6557032"/>
              <a:gd name="connsiteX14071" fmla="*/ 1098771 w 4610101"/>
              <a:gd name="connsiteY14071" fmla="*/ 1318284 h 6557032"/>
              <a:gd name="connsiteX14072" fmla="*/ 1102416 w 4610101"/>
              <a:gd name="connsiteY14072" fmla="*/ 1321929 h 6557032"/>
              <a:gd name="connsiteX14073" fmla="*/ 1087838 w 4610101"/>
              <a:gd name="connsiteY14073" fmla="*/ 1301885 h 6557032"/>
              <a:gd name="connsiteX14074" fmla="*/ 1096949 w 4610101"/>
              <a:gd name="connsiteY14074" fmla="*/ 1303707 h 6557032"/>
              <a:gd name="connsiteX14075" fmla="*/ 1086016 w 4610101"/>
              <a:gd name="connsiteY14075" fmla="*/ 1285485 h 6557032"/>
              <a:gd name="connsiteX14076" fmla="*/ 1093305 w 4610101"/>
              <a:gd name="connsiteY14076" fmla="*/ 1289129 h 6557032"/>
              <a:gd name="connsiteX14077" fmla="*/ 1080549 w 4610101"/>
              <a:gd name="connsiteY14077" fmla="*/ 1278196 h 6557032"/>
              <a:gd name="connsiteX14078" fmla="*/ 1082373 w 4610101"/>
              <a:gd name="connsiteY14078" fmla="*/ 1281841 h 6557032"/>
              <a:gd name="connsiteX14079" fmla="*/ 1058683 w 4610101"/>
              <a:gd name="connsiteY14079" fmla="*/ 1269085 h 6557032"/>
              <a:gd name="connsiteX14080" fmla="*/ 1051395 w 4610101"/>
              <a:gd name="connsiteY14080" fmla="*/ 1269085 h 6557032"/>
              <a:gd name="connsiteX14081" fmla="*/ 901976 w 4610101"/>
              <a:gd name="connsiteY14081" fmla="*/ 1269085 h 6557032"/>
              <a:gd name="connsiteX14082" fmla="*/ 896510 w 4610101"/>
              <a:gd name="connsiteY14082" fmla="*/ 1274552 h 6557032"/>
              <a:gd name="connsiteX14083" fmla="*/ 901976 w 4610101"/>
              <a:gd name="connsiteY14083" fmla="*/ 1269085 h 6557032"/>
              <a:gd name="connsiteX14084" fmla="*/ 732515 w 4610101"/>
              <a:gd name="connsiteY14084" fmla="*/ 1269085 h 6557032"/>
              <a:gd name="connsiteX14085" fmla="*/ 736159 w 4610101"/>
              <a:gd name="connsiteY14085" fmla="*/ 1272730 h 6557032"/>
              <a:gd name="connsiteX14086" fmla="*/ 732515 w 4610101"/>
              <a:gd name="connsiteY14086" fmla="*/ 1269085 h 6557032"/>
              <a:gd name="connsiteX14087" fmla="*/ 712470 w 4610101"/>
              <a:gd name="connsiteY14087" fmla="*/ 1269085 h 6557032"/>
              <a:gd name="connsiteX14088" fmla="*/ 721581 w 4610101"/>
              <a:gd name="connsiteY14088" fmla="*/ 1280018 h 6557032"/>
              <a:gd name="connsiteX14089" fmla="*/ 717937 w 4610101"/>
              <a:gd name="connsiteY14089" fmla="*/ 1269085 h 6557032"/>
              <a:gd name="connsiteX14090" fmla="*/ 712470 w 4610101"/>
              <a:gd name="connsiteY14090" fmla="*/ 1269085 h 6557032"/>
              <a:gd name="connsiteX14091" fmla="*/ 2477611 w 4610101"/>
              <a:gd name="connsiteY14091" fmla="*/ 1267445 h 6557032"/>
              <a:gd name="connsiteX14092" fmla="*/ 2478157 w 4610101"/>
              <a:gd name="connsiteY14092" fmla="*/ 1269085 h 6557032"/>
              <a:gd name="connsiteX14093" fmla="*/ 2477505 w 4610101"/>
              <a:gd name="connsiteY14093" fmla="*/ 1267453 h 6557032"/>
              <a:gd name="connsiteX14094" fmla="*/ 1279166 w 4610101"/>
              <a:gd name="connsiteY14094" fmla="*/ 1267263 h 6557032"/>
              <a:gd name="connsiteX14095" fmla="*/ 1273700 w 4610101"/>
              <a:gd name="connsiteY14095" fmla="*/ 1269085 h 6557032"/>
              <a:gd name="connsiteX14096" fmla="*/ 1280989 w 4610101"/>
              <a:gd name="connsiteY14096" fmla="*/ 1272730 h 6557032"/>
              <a:gd name="connsiteX14097" fmla="*/ 1279166 w 4610101"/>
              <a:gd name="connsiteY14097" fmla="*/ 1267263 h 6557032"/>
              <a:gd name="connsiteX14098" fmla="*/ 1024062 w 4610101"/>
              <a:gd name="connsiteY14098" fmla="*/ 1267263 h 6557032"/>
              <a:gd name="connsiteX14099" fmla="*/ 1027707 w 4610101"/>
              <a:gd name="connsiteY14099" fmla="*/ 1274552 h 6557032"/>
              <a:gd name="connsiteX14100" fmla="*/ 1024062 w 4610101"/>
              <a:gd name="connsiteY14100" fmla="*/ 1267263 h 6557032"/>
              <a:gd name="connsiteX14101" fmla="*/ 768959 w 4610101"/>
              <a:gd name="connsiteY14101" fmla="*/ 1267263 h 6557032"/>
              <a:gd name="connsiteX14102" fmla="*/ 768959 w 4610101"/>
              <a:gd name="connsiteY14102" fmla="*/ 1276374 h 6557032"/>
              <a:gd name="connsiteX14103" fmla="*/ 768959 w 4610101"/>
              <a:gd name="connsiteY14103" fmla="*/ 1267263 h 6557032"/>
              <a:gd name="connsiteX14104" fmla="*/ 747092 w 4610101"/>
              <a:gd name="connsiteY14104" fmla="*/ 1267263 h 6557032"/>
              <a:gd name="connsiteX14105" fmla="*/ 752558 w 4610101"/>
              <a:gd name="connsiteY14105" fmla="*/ 1267263 h 6557032"/>
              <a:gd name="connsiteX14106" fmla="*/ 747092 w 4610101"/>
              <a:gd name="connsiteY14106" fmla="*/ 1267263 h 6557032"/>
              <a:gd name="connsiteX14107" fmla="*/ 610429 w 4610101"/>
              <a:gd name="connsiteY14107" fmla="*/ 1267263 h 6557032"/>
              <a:gd name="connsiteX14108" fmla="*/ 604963 w 4610101"/>
              <a:gd name="connsiteY14108" fmla="*/ 1269085 h 6557032"/>
              <a:gd name="connsiteX14109" fmla="*/ 610429 w 4610101"/>
              <a:gd name="connsiteY14109" fmla="*/ 1267263 h 6557032"/>
              <a:gd name="connsiteX14110" fmla="*/ 553941 w 4610101"/>
              <a:gd name="connsiteY14110" fmla="*/ 1267263 h 6557032"/>
              <a:gd name="connsiteX14111" fmla="*/ 550297 w 4610101"/>
              <a:gd name="connsiteY14111" fmla="*/ 1270908 h 6557032"/>
              <a:gd name="connsiteX14112" fmla="*/ 553941 w 4610101"/>
              <a:gd name="connsiteY14112" fmla="*/ 1267263 h 6557032"/>
              <a:gd name="connsiteX14113" fmla="*/ 512031 w 4610101"/>
              <a:gd name="connsiteY14113" fmla="*/ 1267263 h 6557032"/>
              <a:gd name="connsiteX14114" fmla="*/ 513853 w 4610101"/>
              <a:gd name="connsiteY14114" fmla="*/ 1270908 h 6557032"/>
              <a:gd name="connsiteX14115" fmla="*/ 512031 w 4610101"/>
              <a:gd name="connsiteY14115" fmla="*/ 1267263 h 6557032"/>
              <a:gd name="connsiteX14116" fmla="*/ 464655 w 4610101"/>
              <a:gd name="connsiteY14116" fmla="*/ 1267263 h 6557032"/>
              <a:gd name="connsiteX14117" fmla="*/ 450077 w 4610101"/>
              <a:gd name="connsiteY14117" fmla="*/ 1276374 h 6557032"/>
              <a:gd name="connsiteX14118" fmla="*/ 444611 w 4610101"/>
              <a:gd name="connsiteY14118" fmla="*/ 1283663 h 6557032"/>
              <a:gd name="connsiteX14119" fmla="*/ 470121 w 4610101"/>
              <a:gd name="connsiteY14119" fmla="*/ 1292774 h 6557032"/>
              <a:gd name="connsiteX14120" fmla="*/ 475589 w 4610101"/>
              <a:gd name="connsiteY14120" fmla="*/ 1289129 h 6557032"/>
              <a:gd name="connsiteX14121" fmla="*/ 473766 w 4610101"/>
              <a:gd name="connsiteY14121" fmla="*/ 1287307 h 6557032"/>
              <a:gd name="connsiteX14122" fmla="*/ 477410 w 4610101"/>
              <a:gd name="connsiteY14122" fmla="*/ 1289129 h 6557032"/>
              <a:gd name="connsiteX14123" fmla="*/ 477410 w 4610101"/>
              <a:gd name="connsiteY14123" fmla="*/ 1283663 h 6557032"/>
              <a:gd name="connsiteX14124" fmla="*/ 461010 w 4610101"/>
              <a:gd name="connsiteY14124" fmla="*/ 1281841 h 6557032"/>
              <a:gd name="connsiteX14125" fmla="*/ 470121 w 4610101"/>
              <a:gd name="connsiteY14125" fmla="*/ 1292774 h 6557032"/>
              <a:gd name="connsiteX14126" fmla="*/ 455544 w 4610101"/>
              <a:gd name="connsiteY14126" fmla="*/ 1278196 h 6557032"/>
              <a:gd name="connsiteX14127" fmla="*/ 470121 w 4610101"/>
              <a:gd name="connsiteY14127" fmla="*/ 1276374 h 6557032"/>
              <a:gd name="connsiteX14128" fmla="*/ 464655 w 4610101"/>
              <a:gd name="connsiteY14128" fmla="*/ 1267263 h 6557032"/>
              <a:gd name="connsiteX14129" fmla="*/ 215017 w 4610101"/>
              <a:gd name="connsiteY14129" fmla="*/ 1267263 h 6557032"/>
              <a:gd name="connsiteX14130" fmla="*/ 222306 w 4610101"/>
              <a:gd name="connsiteY14130" fmla="*/ 1272730 h 6557032"/>
              <a:gd name="connsiteX14131" fmla="*/ 225950 w 4610101"/>
              <a:gd name="connsiteY14131" fmla="*/ 1278196 h 6557032"/>
              <a:gd name="connsiteX14132" fmla="*/ 225950 w 4610101"/>
              <a:gd name="connsiteY14132" fmla="*/ 1272730 h 6557032"/>
              <a:gd name="connsiteX14133" fmla="*/ 224583 w 4610101"/>
              <a:gd name="connsiteY14133" fmla="*/ 1271363 h 6557032"/>
              <a:gd name="connsiteX14134" fmla="*/ 215017 w 4610101"/>
              <a:gd name="connsiteY14134" fmla="*/ 1267263 h 6557032"/>
              <a:gd name="connsiteX14135" fmla="*/ 2818398 w 4610101"/>
              <a:gd name="connsiteY14135" fmla="*/ 1267066 h 6557032"/>
              <a:gd name="connsiteX14136" fmla="*/ 2818903 w 4610101"/>
              <a:gd name="connsiteY14136" fmla="*/ 1267263 h 6557032"/>
              <a:gd name="connsiteX14137" fmla="*/ 2818552 w 4610101"/>
              <a:gd name="connsiteY14137" fmla="*/ 1267614 h 6557032"/>
              <a:gd name="connsiteX14138" fmla="*/ 157734 w 4610101"/>
              <a:gd name="connsiteY14138" fmla="*/ 1267028 h 6557032"/>
              <a:gd name="connsiteX14139" fmla="*/ 162174 w 4610101"/>
              <a:gd name="connsiteY14139" fmla="*/ 1270535 h 6557032"/>
              <a:gd name="connsiteX14140" fmla="*/ 160352 w 4610101"/>
              <a:gd name="connsiteY14140" fmla="*/ 1269768 h 6557032"/>
              <a:gd name="connsiteX14141" fmla="*/ 907671 w 4610101"/>
              <a:gd name="connsiteY14141" fmla="*/ 1265669 h 6557032"/>
              <a:gd name="connsiteX14142" fmla="*/ 903799 w 4610101"/>
              <a:gd name="connsiteY14142" fmla="*/ 1270908 h 6557032"/>
              <a:gd name="connsiteX14143" fmla="*/ 909265 w 4610101"/>
              <a:gd name="connsiteY14143" fmla="*/ 1272730 h 6557032"/>
              <a:gd name="connsiteX14144" fmla="*/ 912909 w 4610101"/>
              <a:gd name="connsiteY14144" fmla="*/ 1267263 h 6557032"/>
              <a:gd name="connsiteX14145" fmla="*/ 907671 w 4610101"/>
              <a:gd name="connsiteY14145" fmla="*/ 1265669 h 6557032"/>
              <a:gd name="connsiteX14146" fmla="*/ 519940 w 4610101"/>
              <a:gd name="connsiteY14146" fmla="*/ 1265596 h 6557032"/>
              <a:gd name="connsiteX14147" fmla="*/ 526609 w 4610101"/>
              <a:gd name="connsiteY14147" fmla="*/ 1267263 h 6557032"/>
              <a:gd name="connsiteX14148" fmla="*/ 524040 w 4610101"/>
              <a:gd name="connsiteY14148" fmla="*/ 1268547 h 6557032"/>
              <a:gd name="connsiteX14149" fmla="*/ 1240901 w 4610101"/>
              <a:gd name="connsiteY14149" fmla="*/ 1265441 h 6557032"/>
              <a:gd name="connsiteX14150" fmla="*/ 1246367 w 4610101"/>
              <a:gd name="connsiteY14150" fmla="*/ 1281841 h 6557032"/>
              <a:gd name="connsiteX14151" fmla="*/ 1248189 w 4610101"/>
              <a:gd name="connsiteY14151" fmla="*/ 1278196 h 6557032"/>
              <a:gd name="connsiteX14152" fmla="*/ 1246367 w 4610101"/>
              <a:gd name="connsiteY14152" fmla="*/ 1272730 h 6557032"/>
              <a:gd name="connsiteX14153" fmla="*/ 1246595 w 4610101"/>
              <a:gd name="connsiteY14153" fmla="*/ 1271819 h 6557032"/>
              <a:gd name="connsiteX14154" fmla="*/ 1248148 w 4610101"/>
              <a:gd name="connsiteY14154" fmla="*/ 1270931 h 6557032"/>
              <a:gd name="connsiteX14155" fmla="*/ 1248218 w 4610101"/>
              <a:gd name="connsiteY14155" fmla="*/ 1270985 h 6557032"/>
              <a:gd name="connsiteX14156" fmla="*/ 1249328 w 4610101"/>
              <a:gd name="connsiteY14156" fmla="*/ 1273869 h 6557032"/>
              <a:gd name="connsiteX14157" fmla="*/ 1251834 w 4610101"/>
              <a:gd name="connsiteY14157" fmla="*/ 1278196 h 6557032"/>
              <a:gd name="connsiteX14158" fmla="*/ 1248417 w 4610101"/>
              <a:gd name="connsiteY14158" fmla="*/ 1271135 h 6557032"/>
              <a:gd name="connsiteX14159" fmla="*/ 1248218 w 4610101"/>
              <a:gd name="connsiteY14159" fmla="*/ 1270985 h 6557032"/>
              <a:gd name="connsiteX14160" fmla="*/ 1248189 w 4610101"/>
              <a:gd name="connsiteY14160" fmla="*/ 1270908 h 6557032"/>
              <a:gd name="connsiteX14161" fmla="*/ 1248148 w 4610101"/>
              <a:gd name="connsiteY14161" fmla="*/ 1270931 h 6557032"/>
              <a:gd name="connsiteX14162" fmla="*/ 1155259 w 4610101"/>
              <a:gd name="connsiteY14162" fmla="*/ 1265441 h 6557032"/>
              <a:gd name="connsiteX14163" fmla="*/ 1153436 w 4610101"/>
              <a:gd name="connsiteY14163" fmla="*/ 1269085 h 6557032"/>
              <a:gd name="connsiteX14164" fmla="*/ 1157081 w 4610101"/>
              <a:gd name="connsiteY14164" fmla="*/ 1274552 h 6557032"/>
              <a:gd name="connsiteX14165" fmla="*/ 1155259 w 4610101"/>
              <a:gd name="connsiteY14165" fmla="*/ 1265441 h 6557032"/>
              <a:gd name="connsiteX14166" fmla="*/ 402701 w 4610101"/>
              <a:gd name="connsiteY14166" fmla="*/ 1265441 h 6557032"/>
              <a:gd name="connsiteX14167" fmla="*/ 402923 w 4610101"/>
              <a:gd name="connsiteY14167" fmla="*/ 1265508 h 6557032"/>
              <a:gd name="connsiteX14168" fmla="*/ 412294 w 4610101"/>
              <a:gd name="connsiteY14168" fmla="*/ 1270907 h 6557032"/>
              <a:gd name="connsiteX14169" fmla="*/ 411812 w 4610101"/>
              <a:gd name="connsiteY14169" fmla="*/ 1270907 h 6557032"/>
              <a:gd name="connsiteX14170" fmla="*/ 402701 w 4610101"/>
              <a:gd name="connsiteY14170" fmla="*/ 1265441 h 6557032"/>
              <a:gd name="connsiteX14171" fmla="*/ 402017 w 4610101"/>
              <a:gd name="connsiteY14171" fmla="*/ 1264986 h 6557032"/>
              <a:gd name="connsiteX14172" fmla="*/ 389946 w 4610101"/>
              <a:gd name="connsiteY14172" fmla="*/ 1265441 h 6557032"/>
              <a:gd name="connsiteX14173" fmla="*/ 402701 w 4610101"/>
              <a:gd name="connsiteY14173" fmla="*/ 1270908 h 6557032"/>
              <a:gd name="connsiteX14174" fmla="*/ 399056 w 4610101"/>
              <a:gd name="connsiteY14174" fmla="*/ 1267263 h 6557032"/>
              <a:gd name="connsiteX14175" fmla="*/ 415456 w 4610101"/>
              <a:gd name="connsiteY14175" fmla="*/ 1272730 h 6557032"/>
              <a:gd name="connsiteX14176" fmla="*/ 412294 w 4610101"/>
              <a:gd name="connsiteY14176" fmla="*/ 1270907 h 6557032"/>
              <a:gd name="connsiteX14177" fmla="*/ 420923 w 4610101"/>
              <a:gd name="connsiteY14177" fmla="*/ 1270908 h 6557032"/>
              <a:gd name="connsiteX14178" fmla="*/ 402923 w 4610101"/>
              <a:gd name="connsiteY14178" fmla="*/ 1265508 h 6557032"/>
              <a:gd name="connsiteX14179" fmla="*/ 697134 w 4610101"/>
              <a:gd name="connsiteY14179" fmla="*/ 1264378 h 6557032"/>
              <a:gd name="connsiteX14180" fmla="*/ 694096 w 4610101"/>
              <a:gd name="connsiteY14180" fmla="*/ 1267416 h 6557032"/>
              <a:gd name="connsiteX14181" fmla="*/ 694932 w 4610101"/>
              <a:gd name="connsiteY14181" fmla="*/ 1265669 h 6557032"/>
              <a:gd name="connsiteX14182" fmla="*/ 3163294 w 4610101"/>
              <a:gd name="connsiteY14182" fmla="*/ 1263619 h 6557032"/>
              <a:gd name="connsiteX14183" fmla="*/ 3166939 w 4610101"/>
              <a:gd name="connsiteY14183" fmla="*/ 1269085 h 6557032"/>
              <a:gd name="connsiteX14184" fmla="*/ 3166939 w 4610101"/>
              <a:gd name="connsiteY14184" fmla="*/ 1263619 h 6557032"/>
              <a:gd name="connsiteX14185" fmla="*/ 3163294 w 4610101"/>
              <a:gd name="connsiteY14185" fmla="*/ 1263619 h 6557032"/>
              <a:gd name="connsiteX14186" fmla="*/ 1344765 w 4610101"/>
              <a:gd name="connsiteY14186" fmla="*/ 1263619 h 6557032"/>
              <a:gd name="connsiteX14187" fmla="*/ 1341120 w 4610101"/>
              <a:gd name="connsiteY14187" fmla="*/ 1274552 h 6557032"/>
              <a:gd name="connsiteX14188" fmla="*/ 1339299 w 4610101"/>
              <a:gd name="connsiteY14188" fmla="*/ 1272730 h 6557032"/>
              <a:gd name="connsiteX14189" fmla="*/ 1339299 w 4610101"/>
              <a:gd name="connsiteY14189" fmla="*/ 1276374 h 6557032"/>
              <a:gd name="connsiteX14190" fmla="*/ 1344765 w 4610101"/>
              <a:gd name="connsiteY14190" fmla="*/ 1263619 h 6557032"/>
              <a:gd name="connsiteX14191" fmla="*/ 1311966 w 4610101"/>
              <a:gd name="connsiteY14191" fmla="*/ 1263619 h 6557032"/>
              <a:gd name="connsiteX14192" fmla="*/ 1308321 w 4610101"/>
              <a:gd name="connsiteY14192" fmla="*/ 1265441 h 6557032"/>
              <a:gd name="connsiteX14193" fmla="*/ 1311966 w 4610101"/>
              <a:gd name="connsiteY14193" fmla="*/ 1272730 h 6557032"/>
              <a:gd name="connsiteX14194" fmla="*/ 1311966 w 4610101"/>
              <a:gd name="connsiteY14194" fmla="*/ 1263619 h 6557032"/>
              <a:gd name="connsiteX14195" fmla="*/ 1016774 w 4610101"/>
              <a:gd name="connsiteY14195" fmla="*/ 1263619 h 6557032"/>
              <a:gd name="connsiteX14196" fmla="*/ 1027707 w 4610101"/>
              <a:gd name="connsiteY14196" fmla="*/ 1274552 h 6557032"/>
              <a:gd name="connsiteX14197" fmla="*/ 1087838 w 4610101"/>
              <a:gd name="connsiteY14197" fmla="*/ 1331039 h 6557032"/>
              <a:gd name="connsiteX14198" fmla="*/ 1058683 w 4610101"/>
              <a:gd name="connsiteY14198" fmla="*/ 1289129 h 6557032"/>
              <a:gd name="connsiteX14199" fmla="*/ 1064151 w 4610101"/>
              <a:gd name="connsiteY14199" fmla="*/ 1289129 h 6557032"/>
              <a:gd name="connsiteX14200" fmla="*/ 1056861 w 4610101"/>
              <a:gd name="connsiteY14200" fmla="*/ 1281841 h 6557032"/>
              <a:gd name="connsiteX14201" fmla="*/ 1047750 w 4610101"/>
              <a:gd name="connsiteY14201" fmla="*/ 1272730 h 6557032"/>
              <a:gd name="connsiteX14202" fmla="*/ 1056861 w 4610101"/>
              <a:gd name="connsiteY14202" fmla="*/ 1281841 h 6557032"/>
              <a:gd name="connsiteX14203" fmla="*/ 1058683 w 4610101"/>
              <a:gd name="connsiteY14203" fmla="*/ 1287307 h 6557032"/>
              <a:gd name="connsiteX14204" fmla="*/ 1042284 w 4610101"/>
              <a:gd name="connsiteY14204" fmla="*/ 1267263 h 6557032"/>
              <a:gd name="connsiteX14205" fmla="*/ 1024062 w 4610101"/>
              <a:gd name="connsiteY14205" fmla="*/ 1263619 h 6557032"/>
              <a:gd name="connsiteX14206" fmla="*/ 1024062 w 4610101"/>
              <a:gd name="connsiteY14206" fmla="*/ 1265441 h 6557032"/>
              <a:gd name="connsiteX14207" fmla="*/ 1016774 w 4610101"/>
              <a:gd name="connsiteY14207" fmla="*/ 1263619 h 6557032"/>
              <a:gd name="connsiteX14208" fmla="*/ 1007663 w 4610101"/>
              <a:gd name="connsiteY14208" fmla="*/ 1263619 h 6557032"/>
              <a:gd name="connsiteX14209" fmla="*/ 993085 w 4610101"/>
              <a:gd name="connsiteY14209" fmla="*/ 1272730 h 6557032"/>
              <a:gd name="connsiteX14210" fmla="*/ 1005840 w 4610101"/>
              <a:gd name="connsiteY14210" fmla="*/ 1280018 h 6557032"/>
              <a:gd name="connsiteX14211" fmla="*/ 1007663 w 4610101"/>
              <a:gd name="connsiteY14211" fmla="*/ 1276374 h 6557032"/>
              <a:gd name="connsiteX14212" fmla="*/ 1044106 w 4610101"/>
              <a:gd name="connsiteY14212" fmla="*/ 1296418 h 6557032"/>
              <a:gd name="connsiteX14213" fmla="*/ 1007663 w 4610101"/>
              <a:gd name="connsiteY14213" fmla="*/ 1263619 h 6557032"/>
              <a:gd name="connsiteX14214" fmla="*/ 737981 w 4610101"/>
              <a:gd name="connsiteY14214" fmla="*/ 1263619 h 6557032"/>
              <a:gd name="connsiteX14215" fmla="*/ 741626 w 4610101"/>
              <a:gd name="connsiteY14215" fmla="*/ 1267263 h 6557032"/>
              <a:gd name="connsiteX14216" fmla="*/ 737981 w 4610101"/>
              <a:gd name="connsiteY14216" fmla="*/ 1263619 h 6557032"/>
              <a:gd name="connsiteX14217" fmla="*/ 251929 w 4610101"/>
              <a:gd name="connsiteY14217" fmla="*/ 1263330 h 6557032"/>
              <a:gd name="connsiteX14218" fmla="*/ 266762 w 4610101"/>
              <a:gd name="connsiteY14218" fmla="*/ 1270532 h 6557032"/>
              <a:gd name="connsiteX14219" fmla="*/ 267860 w 4610101"/>
              <a:gd name="connsiteY14219" fmla="*/ 1272730 h 6557032"/>
              <a:gd name="connsiteX14220" fmla="*/ 251460 w 4610101"/>
              <a:gd name="connsiteY14220" fmla="*/ 1263619 h 6557032"/>
              <a:gd name="connsiteX14221" fmla="*/ 726137 w 4610101"/>
              <a:gd name="connsiteY14221" fmla="*/ 1263164 h 6557032"/>
              <a:gd name="connsiteX14222" fmla="*/ 723404 w 4610101"/>
              <a:gd name="connsiteY14222" fmla="*/ 1263619 h 6557032"/>
              <a:gd name="connsiteX14223" fmla="*/ 736159 w 4610101"/>
              <a:gd name="connsiteY14223" fmla="*/ 1276374 h 6557032"/>
              <a:gd name="connsiteX14224" fmla="*/ 725226 w 4610101"/>
              <a:gd name="connsiteY14224" fmla="*/ 1265441 h 6557032"/>
              <a:gd name="connsiteX14225" fmla="*/ 728870 w 4610101"/>
              <a:gd name="connsiteY14225" fmla="*/ 1265441 h 6557032"/>
              <a:gd name="connsiteX14226" fmla="*/ 726137 w 4610101"/>
              <a:gd name="connsiteY14226" fmla="*/ 1263164 h 6557032"/>
              <a:gd name="connsiteX14227" fmla="*/ 667172 w 4610101"/>
              <a:gd name="connsiteY14227" fmla="*/ 1262594 h 6557032"/>
              <a:gd name="connsiteX14228" fmla="*/ 661449 w 4610101"/>
              <a:gd name="connsiteY14228" fmla="*/ 1269085 h 6557032"/>
              <a:gd name="connsiteX14229" fmla="*/ 665094 w 4610101"/>
              <a:gd name="connsiteY14229" fmla="*/ 1280018 h 6557032"/>
              <a:gd name="connsiteX14230" fmla="*/ 672383 w 4610101"/>
              <a:gd name="connsiteY14230" fmla="*/ 1280018 h 6557032"/>
              <a:gd name="connsiteX14231" fmla="*/ 677849 w 4610101"/>
              <a:gd name="connsiteY14231" fmla="*/ 1281841 h 6557032"/>
              <a:gd name="connsiteX14232" fmla="*/ 668738 w 4610101"/>
              <a:gd name="connsiteY14232" fmla="*/ 1267263 h 6557032"/>
              <a:gd name="connsiteX14233" fmla="*/ 683316 w 4610101"/>
              <a:gd name="connsiteY14233" fmla="*/ 1280018 h 6557032"/>
              <a:gd name="connsiteX14234" fmla="*/ 667172 w 4610101"/>
              <a:gd name="connsiteY14234" fmla="*/ 1262594 h 6557032"/>
              <a:gd name="connsiteX14235" fmla="*/ 3132317 w 4610101"/>
              <a:gd name="connsiteY14235" fmla="*/ 1261797 h 6557032"/>
              <a:gd name="connsiteX14236" fmla="*/ 3125029 w 4610101"/>
              <a:gd name="connsiteY14236" fmla="*/ 1270908 h 6557032"/>
              <a:gd name="connsiteX14237" fmla="*/ 3114096 w 4610101"/>
              <a:gd name="connsiteY14237" fmla="*/ 1267263 h 6557032"/>
              <a:gd name="connsiteX14238" fmla="*/ 3097696 w 4610101"/>
              <a:gd name="connsiteY14238" fmla="*/ 1274552 h 6557032"/>
              <a:gd name="connsiteX14239" fmla="*/ 3104985 w 4610101"/>
              <a:gd name="connsiteY14239" fmla="*/ 1281841 h 6557032"/>
              <a:gd name="connsiteX14240" fmla="*/ 3106807 w 4610101"/>
              <a:gd name="connsiteY14240" fmla="*/ 1274552 h 6557032"/>
              <a:gd name="connsiteX14241" fmla="*/ 3104985 w 4610101"/>
              <a:gd name="connsiteY14241" fmla="*/ 1285485 h 6557032"/>
              <a:gd name="connsiteX14242" fmla="*/ 3115918 w 4610101"/>
              <a:gd name="connsiteY14242" fmla="*/ 1289129 h 6557032"/>
              <a:gd name="connsiteX14243" fmla="*/ 3114096 w 4610101"/>
              <a:gd name="connsiteY14243" fmla="*/ 1278196 h 6557032"/>
              <a:gd name="connsiteX14244" fmla="*/ 3118879 w 4610101"/>
              <a:gd name="connsiteY14244" fmla="*/ 1285485 h 6557032"/>
              <a:gd name="connsiteX14245" fmla="*/ 3119473 w 4610101"/>
              <a:gd name="connsiteY14245" fmla="*/ 1296572 h 6557032"/>
              <a:gd name="connsiteX14246" fmla="*/ 3115918 w 4610101"/>
              <a:gd name="connsiteY14246" fmla="*/ 1296418 h 6557032"/>
              <a:gd name="connsiteX14247" fmla="*/ 3123206 w 4610101"/>
              <a:gd name="connsiteY14247" fmla="*/ 1307351 h 6557032"/>
              <a:gd name="connsiteX14248" fmla="*/ 3134140 w 4610101"/>
              <a:gd name="connsiteY14248" fmla="*/ 1294596 h 6557032"/>
              <a:gd name="connsiteX14249" fmla="*/ 3129218 w 4610101"/>
              <a:gd name="connsiteY14249" fmla="*/ 1296043 h 6557032"/>
              <a:gd name="connsiteX14250" fmla="*/ 3130495 w 4610101"/>
              <a:gd name="connsiteY14250" fmla="*/ 1294596 h 6557032"/>
              <a:gd name="connsiteX14251" fmla="*/ 3123206 w 4610101"/>
              <a:gd name="connsiteY14251" fmla="*/ 1292774 h 6557032"/>
              <a:gd name="connsiteX14252" fmla="*/ 3126851 w 4610101"/>
              <a:gd name="connsiteY14252" fmla="*/ 1285485 h 6557032"/>
              <a:gd name="connsiteX14253" fmla="*/ 3129281 w 4610101"/>
              <a:gd name="connsiteY14253" fmla="*/ 1285485 h 6557032"/>
              <a:gd name="connsiteX14254" fmla="*/ 3130164 w 4610101"/>
              <a:gd name="connsiteY14254" fmla="*/ 1286810 h 6557032"/>
              <a:gd name="connsiteX14255" fmla="*/ 3129584 w 4610101"/>
              <a:gd name="connsiteY14255" fmla="*/ 1289130 h 6557032"/>
              <a:gd name="connsiteX14256" fmla="*/ 3134140 w 4610101"/>
              <a:gd name="connsiteY14256" fmla="*/ 1292774 h 6557032"/>
              <a:gd name="connsiteX14257" fmla="*/ 3130164 w 4610101"/>
              <a:gd name="connsiteY14257" fmla="*/ 1286810 h 6557032"/>
              <a:gd name="connsiteX14258" fmla="*/ 3130495 w 4610101"/>
              <a:gd name="connsiteY14258" fmla="*/ 1285485 h 6557032"/>
              <a:gd name="connsiteX14259" fmla="*/ 3129281 w 4610101"/>
              <a:gd name="connsiteY14259" fmla="*/ 1285485 h 6557032"/>
              <a:gd name="connsiteX14260" fmla="*/ 3126851 w 4610101"/>
              <a:gd name="connsiteY14260" fmla="*/ 1281841 h 6557032"/>
              <a:gd name="connsiteX14261" fmla="*/ 3132317 w 4610101"/>
              <a:gd name="connsiteY14261" fmla="*/ 1270908 h 6557032"/>
              <a:gd name="connsiteX14262" fmla="*/ 3126851 w 4610101"/>
              <a:gd name="connsiteY14262" fmla="*/ 1269085 h 6557032"/>
              <a:gd name="connsiteX14263" fmla="*/ 3132317 w 4610101"/>
              <a:gd name="connsiteY14263" fmla="*/ 1261797 h 6557032"/>
              <a:gd name="connsiteX14264" fmla="*/ 1315610 w 4610101"/>
              <a:gd name="connsiteY14264" fmla="*/ 1261797 h 6557032"/>
              <a:gd name="connsiteX14265" fmla="*/ 1315610 w 4610101"/>
              <a:gd name="connsiteY14265" fmla="*/ 1272730 h 6557032"/>
              <a:gd name="connsiteX14266" fmla="*/ 1317432 w 4610101"/>
              <a:gd name="connsiteY14266" fmla="*/ 1261797 h 6557032"/>
              <a:gd name="connsiteX14267" fmla="*/ 1315610 w 4610101"/>
              <a:gd name="connsiteY14267" fmla="*/ 1261797 h 6557032"/>
              <a:gd name="connsiteX14268" fmla="*/ 1293744 w 4610101"/>
              <a:gd name="connsiteY14268" fmla="*/ 1261797 h 6557032"/>
              <a:gd name="connsiteX14269" fmla="*/ 1282811 w 4610101"/>
              <a:gd name="connsiteY14269" fmla="*/ 1269085 h 6557032"/>
              <a:gd name="connsiteX14270" fmla="*/ 1293744 w 4610101"/>
              <a:gd name="connsiteY14270" fmla="*/ 1274552 h 6557032"/>
              <a:gd name="connsiteX14271" fmla="*/ 1293744 w 4610101"/>
              <a:gd name="connsiteY14271" fmla="*/ 1269085 h 6557032"/>
              <a:gd name="connsiteX14272" fmla="*/ 1297388 w 4610101"/>
              <a:gd name="connsiteY14272" fmla="*/ 1270908 h 6557032"/>
              <a:gd name="connsiteX14273" fmla="*/ 1301033 w 4610101"/>
              <a:gd name="connsiteY14273" fmla="*/ 1267263 h 6557032"/>
              <a:gd name="connsiteX14274" fmla="*/ 1293744 w 4610101"/>
              <a:gd name="connsiteY14274" fmla="*/ 1261797 h 6557032"/>
              <a:gd name="connsiteX14275" fmla="*/ 1257300 w 4610101"/>
              <a:gd name="connsiteY14275" fmla="*/ 1261797 h 6557032"/>
              <a:gd name="connsiteX14276" fmla="*/ 1257300 w 4610101"/>
              <a:gd name="connsiteY14276" fmla="*/ 1272730 h 6557032"/>
              <a:gd name="connsiteX14277" fmla="*/ 1259123 w 4610101"/>
              <a:gd name="connsiteY14277" fmla="*/ 1270908 h 6557032"/>
              <a:gd name="connsiteX14278" fmla="*/ 1259123 w 4610101"/>
              <a:gd name="connsiteY14278" fmla="*/ 1274552 h 6557032"/>
              <a:gd name="connsiteX14279" fmla="*/ 1270056 w 4610101"/>
              <a:gd name="connsiteY14279" fmla="*/ 1269085 h 6557032"/>
              <a:gd name="connsiteX14280" fmla="*/ 1266411 w 4610101"/>
              <a:gd name="connsiteY14280" fmla="*/ 1267263 h 6557032"/>
              <a:gd name="connsiteX14281" fmla="*/ 1262767 w 4610101"/>
              <a:gd name="connsiteY14281" fmla="*/ 1269085 h 6557032"/>
              <a:gd name="connsiteX14282" fmla="*/ 1257300 w 4610101"/>
              <a:gd name="connsiteY14282" fmla="*/ 1261797 h 6557032"/>
              <a:gd name="connsiteX14283" fmla="*/ 1217213 w 4610101"/>
              <a:gd name="connsiteY14283" fmla="*/ 1261797 h 6557032"/>
              <a:gd name="connsiteX14284" fmla="*/ 1220858 w 4610101"/>
              <a:gd name="connsiteY14284" fmla="*/ 1263619 h 6557032"/>
              <a:gd name="connsiteX14285" fmla="*/ 1219036 w 4610101"/>
              <a:gd name="connsiteY14285" fmla="*/ 1269085 h 6557032"/>
              <a:gd name="connsiteX14286" fmla="*/ 1217213 w 4610101"/>
              <a:gd name="connsiteY14286" fmla="*/ 1261797 h 6557032"/>
              <a:gd name="connsiteX14287" fmla="*/ 1011307 w 4610101"/>
              <a:gd name="connsiteY14287" fmla="*/ 1261797 h 6557032"/>
              <a:gd name="connsiteX14288" fmla="*/ 1020418 w 4610101"/>
              <a:gd name="connsiteY14288" fmla="*/ 1269085 h 6557032"/>
              <a:gd name="connsiteX14289" fmla="*/ 1011307 w 4610101"/>
              <a:gd name="connsiteY14289" fmla="*/ 1261797 h 6557032"/>
              <a:gd name="connsiteX14290" fmla="*/ 781713 w 4610101"/>
              <a:gd name="connsiteY14290" fmla="*/ 1261797 h 6557032"/>
              <a:gd name="connsiteX14291" fmla="*/ 783535 w 4610101"/>
              <a:gd name="connsiteY14291" fmla="*/ 1267263 h 6557032"/>
              <a:gd name="connsiteX14292" fmla="*/ 785248 w 4610101"/>
              <a:gd name="connsiteY14292" fmla="*/ 1263837 h 6557032"/>
              <a:gd name="connsiteX14293" fmla="*/ 785403 w 4610101"/>
              <a:gd name="connsiteY14293" fmla="*/ 1263926 h 6557032"/>
              <a:gd name="connsiteX14294" fmla="*/ 786040 w 4610101"/>
              <a:gd name="connsiteY14294" fmla="*/ 1268174 h 6557032"/>
              <a:gd name="connsiteX14295" fmla="*/ 785357 w 4610101"/>
              <a:gd name="connsiteY14295" fmla="*/ 1272730 h 6557032"/>
              <a:gd name="connsiteX14296" fmla="*/ 787635 w 4610101"/>
              <a:gd name="connsiteY14296" fmla="*/ 1265213 h 6557032"/>
              <a:gd name="connsiteX14297" fmla="*/ 785403 w 4610101"/>
              <a:gd name="connsiteY14297" fmla="*/ 1263926 h 6557032"/>
              <a:gd name="connsiteX14298" fmla="*/ 785357 w 4610101"/>
              <a:gd name="connsiteY14298" fmla="*/ 1263619 h 6557032"/>
              <a:gd name="connsiteX14299" fmla="*/ 785248 w 4610101"/>
              <a:gd name="connsiteY14299" fmla="*/ 1263837 h 6557032"/>
              <a:gd name="connsiteX14300" fmla="*/ 508387 w 4610101"/>
              <a:gd name="connsiteY14300" fmla="*/ 1261797 h 6557032"/>
              <a:gd name="connsiteX14301" fmla="*/ 515676 w 4610101"/>
              <a:gd name="connsiteY14301" fmla="*/ 1263619 h 6557032"/>
              <a:gd name="connsiteX14302" fmla="*/ 508387 w 4610101"/>
              <a:gd name="connsiteY14302" fmla="*/ 1261797 h 6557032"/>
              <a:gd name="connsiteX14303" fmla="*/ 409989 w 4610101"/>
              <a:gd name="connsiteY14303" fmla="*/ 1261797 h 6557032"/>
              <a:gd name="connsiteX14304" fmla="*/ 417278 w 4610101"/>
              <a:gd name="connsiteY14304" fmla="*/ 1265441 h 6557032"/>
              <a:gd name="connsiteX14305" fmla="*/ 409989 w 4610101"/>
              <a:gd name="connsiteY14305" fmla="*/ 1261797 h 6557032"/>
              <a:gd name="connsiteX14306" fmla="*/ 1782276 w 4610101"/>
              <a:gd name="connsiteY14306" fmla="*/ 1261498 h 6557032"/>
              <a:gd name="connsiteX14307" fmla="*/ 1787552 w 4610101"/>
              <a:gd name="connsiteY14307" fmla="*/ 1270996 h 6557032"/>
              <a:gd name="connsiteX14308" fmla="*/ 1786495 w 4610101"/>
              <a:gd name="connsiteY14308" fmla="*/ 1270996 h 6557032"/>
              <a:gd name="connsiteX14309" fmla="*/ 1789376 w 4610101"/>
              <a:gd name="connsiteY14309" fmla="*/ 1278196 h 6557032"/>
              <a:gd name="connsiteX14310" fmla="*/ 1796664 w 4610101"/>
              <a:gd name="connsiteY14310" fmla="*/ 1283663 h 6557032"/>
              <a:gd name="connsiteX14311" fmla="*/ 1133848 w 4610101"/>
              <a:gd name="connsiteY14311" fmla="*/ 1260886 h 6557032"/>
              <a:gd name="connsiteX14312" fmla="*/ 1127926 w 4610101"/>
              <a:gd name="connsiteY14312" fmla="*/ 1267263 h 6557032"/>
              <a:gd name="connsiteX14313" fmla="*/ 1135215 w 4610101"/>
              <a:gd name="connsiteY14313" fmla="*/ 1272730 h 6557032"/>
              <a:gd name="connsiteX14314" fmla="*/ 1138859 w 4610101"/>
              <a:gd name="connsiteY14314" fmla="*/ 1269085 h 6557032"/>
              <a:gd name="connsiteX14315" fmla="*/ 1140681 w 4610101"/>
              <a:gd name="connsiteY14315" fmla="*/ 1278196 h 6557032"/>
              <a:gd name="connsiteX14316" fmla="*/ 1142503 w 4610101"/>
              <a:gd name="connsiteY14316" fmla="*/ 1276374 h 6557032"/>
              <a:gd name="connsiteX14317" fmla="*/ 1142503 w 4610101"/>
              <a:gd name="connsiteY14317" fmla="*/ 1272730 h 6557032"/>
              <a:gd name="connsiteX14318" fmla="*/ 1139998 w 4610101"/>
              <a:gd name="connsiteY14318" fmla="*/ 1270224 h 6557032"/>
              <a:gd name="connsiteX14319" fmla="*/ 1138859 w 4610101"/>
              <a:gd name="connsiteY14319" fmla="*/ 1269085 h 6557032"/>
              <a:gd name="connsiteX14320" fmla="*/ 1142503 w 4610101"/>
              <a:gd name="connsiteY14320" fmla="*/ 1265441 h 6557032"/>
              <a:gd name="connsiteX14321" fmla="*/ 1133848 w 4610101"/>
              <a:gd name="connsiteY14321" fmla="*/ 1260886 h 6557032"/>
              <a:gd name="connsiteX14322" fmla="*/ 2940989 w 4610101"/>
              <a:gd name="connsiteY14322" fmla="*/ 1260658 h 6557032"/>
              <a:gd name="connsiteX14323" fmla="*/ 2910012 w 4610101"/>
              <a:gd name="connsiteY14323" fmla="*/ 1274552 h 6557032"/>
              <a:gd name="connsiteX14324" fmla="*/ 2913656 w 4610101"/>
              <a:gd name="connsiteY14324" fmla="*/ 1289129 h 6557032"/>
              <a:gd name="connsiteX14325" fmla="*/ 2906368 w 4610101"/>
              <a:gd name="connsiteY14325" fmla="*/ 1287307 h 6557032"/>
              <a:gd name="connsiteX14326" fmla="*/ 2895435 w 4610101"/>
              <a:gd name="connsiteY14326" fmla="*/ 1280018 h 6557032"/>
              <a:gd name="connsiteX14327" fmla="*/ 2902724 w 4610101"/>
              <a:gd name="connsiteY14327" fmla="*/ 1301885 h 6557032"/>
              <a:gd name="connsiteX14328" fmla="*/ 2899079 w 4610101"/>
              <a:gd name="connsiteY14328" fmla="*/ 1300062 h 6557032"/>
              <a:gd name="connsiteX14329" fmla="*/ 2899079 w 4610101"/>
              <a:gd name="connsiteY14329" fmla="*/ 1320106 h 6557032"/>
              <a:gd name="connsiteX14330" fmla="*/ 2891790 w 4610101"/>
              <a:gd name="connsiteY14330" fmla="*/ 1321929 h 6557032"/>
              <a:gd name="connsiteX14331" fmla="*/ 2882680 w 4610101"/>
              <a:gd name="connsiteY14331" fmla="*/ 1318284 h 6557032"/>
              <a:gd name="connsiteX14332" fmla="*/ 2875391 w 4610101"/>
              <a:gd name="connsiteY14332" fmla="*/ 1298240 h 6557032"/>
              <a:gd name="connsiteX14333" fmla="*/ 2886324 w 4610101"/>
              <a:gd name="connsiteY14333" fmla="*/ 1305529 h 6557032"/>
              <a:gd name="connsiteX14334" fmla="*/ 2888146 w 4610101"/>
              <a:gd name="connsiteY14334" fmla="*/ 1298240 h 6557032"/>
              <a:gd name="connsiteX14335" fmla="*/ 2889968 w 4610101"/>
              <a:gd name="connsiteY14335" fmla="*/ 1305529 h 6557032"/>
              <a:gd name="connsiteX14336" fmla="*/ 2886324 w 4610101"/>
              <a:gd name="connsiteY14336" fmla="*/ 1289129 h 6557032"/>
              <a:gd name="connsiteX14337" fmla="*/ 2897257 w 4610101"/>
              <a:gd name="connsiteY14337" fmla="*/ 1290951 h 6557032"/>
              <a:gd name="connsiteX14338" fmla="*/ 2895435 w 4610101"/>
              <a:gd name="connsiteY14338" fmla="*/ 1283663 h 6557032"/>
              <a:gd name="connsiteX14339" fmla="*/ 2869924 w 4610101"/>
              <a:gd name="connsiteY14339" fmla="*/ 1296418 h 6557032"/>
              <a:gd name="connsiteX14340" fmla="*/ 2864458 w 4610101"/>
              <a:gd name="connsiteY14340" fmla="*/ 1316462 h 6557032"/>
              <a:gd name="connsiteX14341" fmla="*/ 2853525 w 4610101"/>
              <a:gd name="connsiteY14341" fmla="*/ 1329217 h 6557032"/>
              <a:gd name="connsiteX14342" fmla="*/ 2875391 w 4610101"/>
              <a:gd name="connsiteY14342" fmla="*/ 1358372 h 6557032"/>
              <a:gd name="connsiteX14343" fmla="*/ 2873569 w 4610101"/>
              <a:gd name="connsiteY14343" fmla="*/ 1347439 h 6557032"/>
              <a:gd name="connsiteX14344" fmla="*/ 2884502 w 4610101"/>
              <a:gd name="connsiteY14344" fmla="*/ 1365661 h 6557032"/>
              <a:gd name="connsiteX14345" fmla="*/ 2891790 w 4610101"/>
              <a:gd name="connsiteY14345" fmla="*/ 1365661 h 6557032"/>
              <a:gd name="connsiteX14346" fmla="*/ 2917301 w 4610101"/>
              <a:gd name="connsiteY14346" fmla="*/ 1329217 h 6557032"/>
              <a:gd name="connsiteX14347" fmla="*/ 2915479 w 4610101"/>
              <a:gd name="connsiteY14347" fmla="*/ 1314640 h 6557032"/>
              <a:gd name="connsiteX14348" fmla="*/ 2919123 w 4610101"/>
              <a:gd name="connsiteY14348" fmla="*/ 1325573 h 6557032"/>
              <a:gd name="connsiteX14349" fmla="*/ 2933700 w 4610101"/>
              <a:gd name="connsiteY14349" fmla="*/ 1309173 h 6557032"/>
              <a:gd name="connsiteX14350" fmla="*/ 2928234 w 4610101"/>
              <a:gd name="connsiteY14350" fmla="*/ 1307351 h 6557032"/>
              <a:gd name="connsiteX14351" fmla="*/ 2928234 w 4610101"/>
              <a:gd name="connsiteY14351" fmla="*/ 1296418 h 6557032"/>
              <a:gd name="connsiteX14352" fmla="*/ 2935523 w 4610101"/>
              <a:gd name="connsiteY14352" fmla="*/ 1307351 h 6557032"/>
              <a:gd name="connsiteX14353" fmla="*/ 2951922 w 4610101"/>
              <a:gd name="connsiteY14353" fmla="*/ 1292774 h 6557032"/>
              <a:gd name="connsiteX14354" fmla="*/ 2950100 w 4610101"/>
              <a:gd name="connsiteY14354" fmla="*/ 1301885 h 6557032"/>
              <a:gd name="connsiteX14355" fmla="*/ 2992010 w 4610101"/>
              <a:gd name="connsiteY14355" fmla="*/ 1287307 h 6557032"/>
              <a:gd name="connsiteX14356" fmla="*/ 2993832 w 4610101"/>
              <a:gd name="connsiteY14356" fmla="*/ 1281841 h 6557032"/>
              <a:gd name="connsiteX14357" fmla="*/ 2986543 w 4610101"/>
              <a:gd name="connsiteY14357" fmla="*/ 1281841 h 6557032"/>
              <a:gd name="connsiteX14358" fmla="*/ 2984721 w 4610101"/>
              <a:gd name="connsiteY14358" fmla="*/ 1270908 h 6557032"/>
              <a:gd name="connsiteX14359" fmla="*/ 2982899 w 4610101"/>
              <a:gd name="connsiteY14359" fmla="*/ 1278196 h 6557032"/>
              <a:gd name="connsiteX14360" fmla="*/ 2976749 w 4610101"/>
              <a:gd name="connsiteY14360" fmla="*/ 1279563 h 6557032"/>
              <a:gd name="connsiteX14361" fmla="*/ 2971967 w 4610101"/>
              <a:gd name="connsiteY14361" fmla="*/ 1278196 h 6557032"/>
              <a:gd name="connsiteX14362" fmla="*/ 2974016 w 4610101"/>
              <a:gd name="connsiteY14362" fmla="*/ 1276829 h 6557032"/>
              <a:gd name="connsiteX14363" fmla="*/ 2977432 w 4610101"/>
              <a:gd name="connsiteY14363" fmla="*/ 1269085 h 6557032"/>
              <a:gd name="connsiteX14364" fmla="*/ 2971966 w 4610101"/>
              <a:gd name="connsiteY14364" fmla="*/ 1272730 h 6557032"/>
              <a:gd name="connsiteX14365" fmla="*/ 2940989 w 4610101"/>
              <a:gd name="connsiteY14365" fmla="*/ 1260658 h 6557032"/>
              <a:gd name="connsiteX14366" fmla="*/ 1328034 w 4610101"/>
              <a:gd name="connsiteY14366" fmla="*/ 1260140 h 6557032"/>
              <a:gd name="connsiteX14367" fmla="*/ 1328365 w 4610101"/>
              <a:gd name="connsiteY14367" fmla="*/ 1261797 h 6557032"/>
              <a:gd name="connsiteX14368" fmla="*/ 1333832 w 4610101"/>
              <a:gd name="connsiteY14368" fmla="*/ 1270908 h 6557032"/>
              <a:gd name="connsiteX14369" fmla="*/ 1331098 w 4610101"/>
              <a:gd name="connsiteY14369" fmla="*/ 1273095 h 6557032"/>
              <a:gd name="connsiteX14370" fmla="*/ 1330188 w 4610101"/>
              <a:gd name="connsiteY14370" fmla="*/ 1265441 h 6557032"/>
              <a:gd name="connsiteX14371" fmla="*/ 1328365 w 4610101"/>
              <a:gd name="connsiteY14371" fmla="*/ 1269085 h 6557032"/>
              <a:gd name="connsiteX14372" fmla="*/ 1329276 w 4610101"/>
              <a:gd name="connsiteY14372" fmla="*/ 1274552 h 6557032"/>
              <a:gd name="connsiteX14373" fmla="*/ 1327769 w 4610101"/>
              <a:gd name="connsiteY14373" fmla="*/ 1275758 h 6557032"/>
              <a:gd name="connsiteX14374" fmla="*/ 1325982 w 4610101"/>
              <a:gd name="connsiteY14374" fmla="*/ 1272609 h 6557032"/>
              <a:gd name="connsiteX14375" fmla="*/ 1326543 w 4610101"/>
              <a:gd name="connsiteY14375" fmla="*/ 1269085 h 6557032"/>
              <a:gd name="connsiteX14376" fmla="*/ 1326034 w 4610101"/>
              <a:gd name="connsiteY14376" fmla="*/ 1269668 h 6557032"/>
              <a:gd name="connsiteX14377" fmla="*/ 1324721 w 4610101"/>
              <a:gd name="connsiteY14377" fmla="*/ 1261797 h 6557032"/>
              <a:gd name="connsiteX14378" fmla="*/ 3010232 w 4610101"/>
              <a:gd name="connsiteY14378" fmla="*/ 1259975 h 6557032"/>
              <a:gd name="connsiteX14379" fmla="*/ 3012054 w 4610101"/>
              <a:gd name="connsiteY14379" fmla="*/ 1267263 h 6557032"/>
              <a:gd name="connsiteX14380" fmla="*/ 3010232 w 4610101"/>
              <a:gd name="connsiteY14380" fmla="*/ 1259975 h 6557032"/>
              <a:gd name="connsiteX14381" fmla="*/ 2986543 w 4610101"/>
              <a:gd name="connsiteY14381" fmla="*/ 1259975 h 6557032"/>
              <a:gd name="connsiteX14382" fmla="*/ 2982899 w 4610101"/>
              <a:gd name="connsiteY14382" fmla="*/ 1265441 h 6557032"/>
              <a:gd name="connsiteX14383" fmla="*/ 2988366 w 4610101"/>
              <a:gd name="connsiteY14383" fmla="*/ 1265441 h 6557032"/>
              <a:gd name="connsiteX14384" fmla="*/ 2986543 w 4610101"/>
              <a:gd name="connsiteY14384" fmla="*/ 1259975 h 6557032"/>
              <a:gd name="connsiteX14385" fmla="*/ 1319254 w 4610101"/>
              <a:gd name="connsiteY14385" fmla="*/ 1259975 h 6557032"/>
              <a:gd name="connsiteX14386" fmla="*/ 1319254 w 4610101"/>
              <a:gd name="connsiteY14386" fmla="*/ 1267263 h 6557032"/>
              <a:gd name="connsiteX14387" fmla="*/ 1317432 w 4610101"/>
              <a:gd name="connsiteY14387" fmla="*/ 1267263 h 6557032"/>
              <a:gd name="connsiteX14388" fmla="*/ 1319254 w 4610101"/>
              <a:gd name="connsiteY14388" fmla="*/ 1274552 h 6557032"/>
              <a:gd name="connsiteX14389" fmla="*/ 1319254 w 4610101"/>
              <a:gd name="connsiteY14389" fmla="*/ 1259975 h 6557032"/>
              <a:gd name="connsiteX14390" fmla="*/ 1306499 w 4610101"/>
              <a:gd name="connsiteY14390" fmla="*/ 1259975 h 6557032"/>
              <a:gd name="connsiteX14391" fmla="*/ 1308321 w 4610101"/>
              <a:gd name="connsiteY14391" fmla="*/ 1263619 h 6557032"/>
              <a:gd name="connsiteX14392" fmla="*/ 1313788 w 4610101"/>
              <a:gd name="connsiteY14392" fmla="*/ 1259975 h 6557032"/>
              <a:gd name="connsiteX14393" fmla="*/ 1306499 w 4610101"/>
              <a:gd name="connsiteY14393" fmla="*/ 1259975 h 6557032"/>
              <a:gd name="connsiteX14394" fmla="*/ 1164370 w 4610101"/>
              <a:gd name="connsiteY14394" fmla="*/ 1259975 h 6557032"/>
              <a:gd name="connsiteX14395" fmla="*/ 1166192 w 4610101"/>
              <a:gd name="connsiteY14395" fmla="*/ 1265441 h 6557032"/>
              <a:gd name="connsiteX14396" fmla="*/ 1166192 w 4610101"/>
              <a:gd name="connsiteY14396" fmla="*/ 1266124 h 6557032"/>
              <a:gd name="connsiteX14397" fmla="*/ 1166192 w 4610101"/>
              <a:gd name="connsiteY14397" fmla="*/ 1269085 h 6557032"/>
              <a:gd name="connsiteX14398" fmla="*/ 1164370 w 4610101"/>
              <a:gd name="connsiteY14398" fmla="*/ 1270908 h 6557032"/>
              <a:gd name="connsiteX14399" fmla="*/ 1168014 w 4610101"/>
              <a:gd name="connsiteY14399" fmla="*/ 1274552 h 6557032"/>
              <a:gd name="connsiteX14400" fmla="*/ 1169836 w 4610101"/>
              <a:gd name="connsiteY14400" fmla="*/ 1270908 h 6557032"/>
              <a:gd name="connsiteX14401" fmla="*/ 1166192 w 4610101"/>
              <a:gd name="connsiteY14401" fmla="*/ 1269085 h 6557032"/>
              <a:gd name="connsiteX14402" fmla="*/ 1169836 w 4610101"/>
              <a:gd name="connsiteY14402" fmla="*/ 1259975 h 6557032"/>
              <a:gd name="connsiteX14403" fmla="*/ 1164370 w 4610101"/>
              <a:gd name="connsiteY14403" fmla="*/ 1259975 h 6557032"/>
              <a:gd name="connsiteX14404" fmla="*/ 1073262 w 4610101"/>
              <a:gd name="connsiteY14404" fmla="*/ 1259975 h 6557032"/>
              <a:gd name="connsiteX14405" fmla="*/ 1071439 w 4610101"/>
              <a:gd name="connsiteY14405" fmla="*/ 1263619 h 6557032"/>
              <a:gd name="connsiteX14406" fmla="*/ 1049573 w 4610101"/>
              <a:gd name="connsiteY14406" fmla="*/ 1261797 h 6557032"/>
              <a:gd name="connsiteX14407" fmla="*/ 1087838 w 4610101"/>
              <a:gd name="connsiteY14407" fmla="*/ 1276374 h 6557032"/>
              <a:gd name="connsiteX14408" fmla="*/ 1073262 w 4610101"/>
              <a:gd name="connsiteY14408" fmla="*/ 1259975 h 6557032"/>
              <a:gd name="connsiteX14409" fmla="*/ 389946 w 4610101"/>
              <a:gd name="connsiteY14409" fmla="*/ 1259975 h 6557032"/>
              <a:gd name="connsiteX14410" fmla="*/ 395412 w 4610101"/>
              <a:gd name="connsiteY14410" fmla="*/ 1261797 h 6557032"/>
              <a:gd name="connsiteX14411" fmla="*/ 389946 w 4610101"/>
              <a:gd name="connsiteY14411" fmla="*/ 1259975 h 6557032"/>
              <a:gd name="connsiteX14412" fmla="*/ 284259 w 4610101"/>
              <a:gd name="connsiteY14412" fmla="*/ 1259975 h 6557032"/>
              <a:gd name="connsiteX14413" fmla="*/ 293370 w 4610101"/>
              <a:gd name="connsiteY14413" fmla="*/ 1267263 h 6557032"/>
              <a:gd name="connsiteX14414" fmla="*/ 291549 w 4610101"/>
              <a:gd name="connsiteY14414" fmla="*/ 1259975 h 6557032"/>
              <a:gd name="connsiteX14415" fmla="*/ 284259 w 4610101"/>
              <a:gd name="connsiteY14415" fmla="*/ 1259975 h 6557032"/>
              <a:gd name="connsiteX14416" fmla="*/ 3354851 w 4610101"/>
              <a:gd name="connsiteY14416" fmla="*/ 1259291 h 6557032"/>
              <a:gd name="connsiteX14417" fmla="*/ 3350978 w 4610101"/>
              <a:gd name="connsiteY14417" fmla="*/ 1259975 h 6557032"/>
              <a:gd name="connsiteX14418" fmla="*/ 3358267 w 4610101"/>
              <a:gd name="connsiteY14418" fmla="*/ 1265441 h 6557032"/>
              <a:gd name="connsiteX14419" fmla="*/ 3360089 w 4610101"/>
              <a:gd name="connsiteY14419" fmla="*/ 1259975 h 6557032"/>
              <a:gd name="connsiteX14420" fmla="*/ 3354851 w 4610101"/>
              <a:gd name="connsiteY14420" fmla="*/ 1259291 h 6557032"/>
              <a:gd name="connsiteX14421" fmla="*/ 1041828 w 4610101"/>
              <a:gd name="connsiteY14421" fmla="*/ 1258836 h 6557032"/>
              <a:gd name="connsiteX14422" fmla="*/ 1038639 w 4610101"/>
              <a:gd name="connsiteY14422" fmla="*/ 1259975 h 6557032"/>
              <a:gd name="connsiteX14423" fmla="*/ 1042284 w 4610101"/>
              <a:gd name="connsiteY14423" fmla="*/ 1261797 h 6557032"/>
              <a:gd name="connsiteX14424" fmla="*/ 1041828 w 4610101"/>
              <a:gd name="connsiteY14424" fmla="*/ 1258836 h 6557032"/>
              <a:gd name="connsiteX14425" fmla="*/ 3254403 w 4610101"/>
              <a:gd name="connsiteY14425" fmla="*/ 1258152 h 6557032"/>
              <a:gd name="connsiteX14426" fmla="*/ 3256225 w 4610101"/>
              <a:gd name="connsiteY14426" fmla="*/ 1261797 h 6557032"/>
              <a:gd name="connsiteX14427" fmla="*/ 3256225 w 4610101"/>
              <a:gd name="connsiteY14427" fmla="*/ 1258152 h 6557032"/>
              <a:gd name="connsiteX14428" fmla="*/ 3254403 w 4610101"/>
              <a:gd name="connsiteY14428" fmla="*/ 1258152 h 6557032"/>
              <a:gd name="connsiteX14429" fmla="*/ 2962855 w 4610101"/>
              <a:gd name="connsiteY14429" fmla="*/ 1258152 h 6557032"/>
              <a:gd name="connsiteX14430" fmla="*/ 2971966 w 4610101"/>
              <a:gd name="connsiteY14430" fmla="*/ 1263619 h 6557032"/>
              <a:gd name="connsiteX14431" fmla="*/ 2971966 w 4610101"/>
              <a:gd name="connsiteY14431" fmla="*/ 1258152 h 6557032"/>
              <a:gd name="connsiteX14432" fmla="*/ 2962855 w 4610101"/>
              <a:gd name="connsiteY14432" fmla="*/ 1258152 h 6557032"/>
              <a:gd name="connsiteX14433" fmla="*/ 2396159 w 4610101"/>
              <a:gd name="connsiteY14433" fmla="*/ 1258152 h 6557032"/>
              <a:gd name="connsiteX14434" fmla="*/ 2390693 w 4610101"/>
              <a:gd name="connsiteY14434" fmla="*/ 1267263 h 6557032"/>
              <a:gd name="connsiteX14435" fmla="*/ 2396159 w 4610101"/>
              <a:gd name="connsiteY14435" fmla="*/ 1258152 h 6557032"/>
              <a:gd name="connsiteX14436" fmla="*/ 1415829 w 4610101"/>
              <a:gd name="connsiteY14436" fmla="*/ 1258152 h 6557032"/>
              <a:gd name="connsiteX14437" fmla="*/ 1421296 w 4610101"/>
              <a:gd name="connsiteY14437" fmla="*/ 1259975 h 6557032"/>
              <a:gd name="connsiteX14438" fmla="*/ 1414664 w 4610101"/>
              <a:gd name="connsiteY14438" fmla="*/ 1270398 h 6557032"/>
              <a:gd name="connsiteX14439" fmla="*/ 1297388 w 4610101"/>
              <a:gd name="connsiteY14439" fmla="*/ 1258152 h 6557032"/>
              <a:gd name="connsiteX14440" fmla="*/ 1300867 w 4610101"/>
              <a:gd name="connsiteY14440" fmla="*/ 1259312 h 6557032"/>
              <a:gd name="connsiteX14441" fmla="*/ 1301033 w 4610101"/>
              <a:gd name="connsiteY14441" fmla="*/ 1259975 h 6557032"/>
              <a:gd name="connsiteX14442" fmla="*/ 1297388 w 4610101"/>
              <a:gd name="connsiteY14442" fmla="*/ 1259714 h 6557032"/>
              <a:gd name="connsiteX14443" fmla="*/ 1129748 w 4610101"/>
              <a:gd name="connsiteY14443" fmla="*/ 1258152 h 6557032"/>
              <a:gd name="connsiteX14444" fmla="*/ 1118815 w 4610101"/>
              <a:gd name="connsiteY14444" fmla="*/ 1259975 h 6557032"/>
              <a:gd name="connsiteX14445" fmla="*/ 1124282 w 4610101"/>
              <a:gd name="connsiteY14445" fmla="*/ 1267263 h 6557032"/>
              <a:gd name="connsiteX14446" fmla="*/ 1129748 w 4610101"/>
              <a:gd name="connsiteY14446" fmla="*/ 1258152 h 6557032"/>
              <a:gd name="connsiteX14447" fmla="*/ 703359 w 4610101"/>
              <a:gd name="connsiteY14447" fmla="*/ 1258152 h 6557032"/>
              <a:gd name="connsiteX14448" fmla="*/ 712470 w 4610101"/>
              <a:gd name="connsiteY14448" fmla="*/ 1259975 h 6557032"/>
              <a:gd name="connsiteX14449" fmla="*/ 703359 w 4610101"/>
              <a:gd name="connsiteY14449" fmla="*/ 1258152 h 6557032"/>
              <a:gd name="connsiteX14450" fmla="*/ 499276 w 4610101"/>
              <a:gd name="connsiteY14450" fmla="*/ 1258152 h 6557032"/>
              <a:gd name="connsiteX14451" fmla="*/ 471943 w 4610101"/>
              <a:gd name="connsiteY14451" fmla="*/ 1265441 h 6557032"/>
              <a:gd name="connsiteX14452" fmla="*/ 481054 w 4610101"/>
              <a:gd name="connsiteY14452" fmla="*/ 1267263 h 6557032"/>
              <a:gd name="connsiteX14453" fmla="*/ 466478 w 4610101"/>
              <a:gd name="connsiteY14453" fmla="*/ 1267263 h 6557032"/>
              <a:gd name="connsiteX14454" fmla="*/ 517498 w 4610101"/>
              <a:gd name="connsiteY14454" fmla="*/ 1285485 h 6557032"/>
              <a:gd name="connsiteX14455" fmla="*/ 512031 w 4610101"/>
              <a:gd name="connsiteY14455" fmla="*/ 1283663 h 6557032"/>
              <a:gd name="connsiteX14456" fmla="*/ 515676 w 4610101"/>
              <a:gd name="connsiteY14456" fmla="*/ 1280018 h 6557032"/>
              <a:gd name="connsiteX14457" fmla="*/ 504743 w 4610101"/>
              <a:gd name="connsiteY14457" fmla="*/ 1269085 h 6557032"/>
              <a:gd name="connsiteX14458" fmla="*/ 508387 w 4610101"/>
              <a:gd name="connsiteY14458" fmla="*/ 1270908 h 6557032"/>
              <a:gd name="connsiteX14459" fmla="*/ 504743 w 4610101"/>
              <a:gd name="connsiteY14459" fmla="*/ 1267263 h 6557032"/>
              <a:gd name="connsiteX14460" fmla="*/ 486521 w 4610101"/>
              <a:gd name="connsiteY14460" fmla="*/ 1281841 h 6557032"/>
              <a:gd name="connsiteX14461" fmla="*/ 495632 w 4610101"/>
              <a:gd name="connsiteY14461" fmla="*/ 1269085 h 6557032"/>
              <a:gd name="connsiteX14462" fmla="*/ 484700 w 4610101"/>
              <a:gd name="connsiteY14462" fmla="*/ 1265441 h 6557032"/>
              <a:gd name="connsiteX14463" fmla="*/ 493809 w 4610101"/>
              <a:gd name="connsiteY14463" fmla="*/ 1265441 h 6557032"/>
              <a:gd name="connsiteX14464" fmla="*/ 491987 w 4610101"/>
              <a:gd name="connsiteY14464" fmla="*/ 1261797 h 6557032"/>
              <a:gd name="connsiteX14465" fmla="*/ 499276 w 4610101"/>
              <a:gd name="connsiteY14465" fmla="*/ 1263619 h 6557032"/>
              <a:gd name="connsiteX14466" fmla="*/ 499276 w 4610101"/>
              <a:gd name="connsiteY14466" fmla="*/ 1258152 h 6557032"/>
              <a:gd name="connsiteX14467" fmla="*/ 1277344 w 4610101"/>
              <a:gd name="connsiteY14467" fmla="*/ 1256330 h 6557032"/>
              <a:gd name="connsiteX14468" fmla="*/ 1280989 w 4610101"/>
              <a:gd name="connsiteY14468" fmla="*/ 1261797 h 6557032"/>
              <a:gd name="connsiteX14469" fmla="*/ 1281445 w 4610101"/>
              <a:gd name="connsiteY14469" fmla="*/ 1261797 h 6557032"/>
              <a:gd name="connsiteX14470" fmla="*/ 1282811 w 4610101"/>
              <a:gd name="connsiteY14470" fmla="*/ 1263619 h 6557032"/>
              <a:gd name="connsiteX14471" fmla="*/ 1284633 w 4610101"/>
              <a:gd name="connsiteY14471" fmla="*/ 1261797 h 6557032"/>
              <a:gd name="connsiteX14472" fmla="*/ 1281445 w 4610101"/>
              <a:gd name="connsiteY14472" fmla="*/ 1261797 h 6557032"/>
              <a:gd name="connsiteX14473" fmla="*/ 1093305 w 4610101"/>
              <a:gd name="connsiteY14473" fmla="*/ 1256330 h 6557032"/>
              <a:gd name="connsiteX14474" fmla="*/ 1087838 w 4610101"/>
              <a:gd name="connsiteY14474" fmla="*/ 1259975 h 6557032"/>
              <a:gd name="connsiteX14475" fmla="*/ 1091484 w 4610101"/>
              <a:gd name="connsiteY14475" fmla="*/ 1278196 h 6557032"/>
              <a:gd name="connsiteX14476" fmla="*/ 1093305 w 4610101"/>
              <a:gd name="connsiteY14476" fmla="*/ 1274552 h 6557032"/>
              <a:gd name="connsiteX14477" fmla="*/ 1093305 w 4610101"/>
              <a:gd name="connsiteY14477" fmla="*/ 1280018 h 6557032"/>
              <a:gd name="connsiteX14478" fmla="*/ 1104238 w 4610101"/>
              <a:gd name="connsiteY14478" fmla="*/ 1278196 h 6557032"/>
              <a:gd name="connsiteX14479" fmla="*/ 1093305 w 4610101"/>
              <a:gd name="connsiteY14479" fmla="*/ 1256330 h 6557032"/>
              <a:gd name="connsiteX14480" fmla="*/ 1075083 w 4610101"/>
              <a:gd name="connsiteY14480" fmla="*/ 1256330 h 6557032"/>
              <a:gd name="connsiteX14481" fmla="*/ 1078727 w 4610101"/>
              <a:gd name="connsiteY14481" fmla="*/ 1261797 h 6557032"/>
              <a:gd name="connsiteX14482" fmla="*/ 1078727 w 4610101"/>
              <a:gd name="connsiteY14482" fmla="*/ 1256330 h 6557032"/>
              <a:gd name="connsiteX14483" fmla="*/ 1075083 w 4610101"/>
              <a:gd name="connsiteY14483" fmla="*/ 1256330 h 6557032"/>
              <a:gd name="connsiteX14484" fmla="*/ 989441 w 4610101"/>
              <a:gd name="connsiteY14484" fmla="*/ 1256330 h 6557032"/>
              <a:gd name="connsiteX14485" fmla="*/ 983974 w 4610101"/>
              <a:gd name="connsiteY14485" fmla="*/ 1258152 h 6557032"/>
              <a:gd name="connsiteX14486" fmla="*/ 989441 w 4610101"/>
              <a:gd name="connsiteY14486" fmla="*/ 1256330 h 6557032"/>
              <a:gd name="connsiteX14487" fmla="*/ 659627 w 4610101"/>
              <a:gd name="connsiteY14487" fmla="*/ 1256330 h 6557032"/>
              <a:gd name="connsiteX14488" fmla="*/ 666916 w 4610101"/>
              <a:gd name="connsiteY14488" fmla="*/ 1258152 h 6557032"/>
              <a:gd name="connsiteX14489" fmla="*/ 659627 w 4610101"/>
              <a:gd name="connsiteY14489" fmla="*/ 1256330 h 6557032"/>
              <a:gd name="connsiteX14490" fmla="*/ 652339 w 4610101"/>
              <a:gd name="connsiteY14490" fmla="*/ 1256330 h 6557032"/>
              <a:gd name="connsiteX14491" fmla="*/ 657805 w 4610101"/>
              <a:gd name="connsiteY14491" fmla="*/ 1258152 h 6557032"/>
              <a:gd name="connsiteX14492" fmla="*/ 652339 w 4610101"/>
              <a:gd name="connsiteY14492" fmla="*/ 1256330 h 6557032"/>
              <a:gd name="connsiteX14493" fmla="*/ 645050 w 4610101"/>
              <a:gd name="connsiteY14493" fmla="*/ 1256330 h 6557032"/>
              <a:gd name="connsiteX14494" fmla="*/ 635939 w 4610101"/>
              <a:gd name="connsiteY14494" fmla="*/ 1270908 h 6557032"/>
              <a:gd name="connsiteX14495" fmla="*/ 645050 w 4610101"/>
              <a:gd name="connsiteY14495" fmla="*/ 1289129 h 6557032"/>
              <a:gd name="connsiteX14496" fmla="*/ 657805 w 4610101"/>
              <a:gd name="connsiteY14496" fmla="*/ 1296418 h 6557032"/>
              <a:gd name="connsiteX14497" fmla="*/ 641407 w 4610101"/>
              <a:gd name="connsiteY14497" fmla="*/ 1298240 h 6557032"/>
              <a:gd name="connsiteX14498" fmla="*/ 648694 w 4610101"/>
              <a:gd name="connsiteY14498" fmla="*/ 1309173 h 6557032"/>
              <a:gd name="connsiteX14499" fmla="*/ 654161 w 4610101"/>
              <a:gd name="connsiteY14499" fmla="*/ 1303707 h 6557032"/>
              <a:gd name="connsiteX14500" fmla="*/ 659627 w 4610101"/>
              <a:gd name="connsiteY14500" fmla="*/ 1310995 h 6557032"/>
              <a:gd name="connsiteX14501" fmla="*/ 666916 w 4610101"/>
              <a:gd name="connsiteY14501" fmla="*/ 1305529 h 6557032"/>
              <a:gd name="connsiteX14502" fmla="*/ 661449 w 4610101"/>
              <a:gd name="connsiteY14502" fmla="*/ 1296418 h 6557032"/>
              <a:gd name="connsiteX14503" fmla="*/ 655983 w 4610101"/>
              <a:gd name="connsiteY14503" fmla="*/ 1265441 h 6557032"/>
              <a:gd name="connsiteX14504" fmla="*/ 646872 w 4610101"/>
              <a:gd name="connsiteY14504" fmla="*/ 1269085 h 6557032"/>
              <a:gd name="connsiteX14505" fmla="*/ 657805 w 4610101"/>
              <a:gd name="connsiteY14505" fmla="*/ 1261797 h 6557032"/>
              <a:gd name="connsiteX14506" fmla="*/ 645050 w 4610101"/>
              <a:gd name="connsiteY14506" fmla="*/ 1256330 h 6557032"/>
              <a:gd name="connsiteX14507" fmla="*/ 550297 w 4610101"/>
              <a:gd name="connsiteY14507" fmla="*/ 1256330 h 6557032"/>
              <a:gd name="connsiteX14508" fmla="*/ 543008 w 4610101"/>
              <a:gd name="connsiteY14508" fmla="*/ 1258152 h 6557032"/>
              <a:gd name="connsiteX14509" fmla="*/ 550297 w 4610101"/>
              <a:gd name="connsiteY14509" fmla="*/ 1256330 h 6557032"/>
              <a:gd name="connsiteX14510" fmla="*/ 421184 w 4610101"/>
              <a:gd name="connsiteY14510" fmla="*/ 1256224 h 6557032"/>
              <a:gd name="connsiteX14511" fmla="*/ 423200 w 4610101"/>
              <a:gd name="connsiteY14511" fmla="*/ 1257469 h 6557032"/>
              <a:gd name="connsiteX14512" fmla="*/ 426726 w 4610101"/>
              <a:gd name="connsiteY14512" fmla="*/ 1261797 h 6557032"/>
              <a:gd name="connsiteX14513" fmla="*/ 424567 w 4610101"/>
              <a:gd name="connsiteY14513" fmla="*/ 1261797 h 6557032"/>
              <a:gd name="connsiteX14514" fmla="*/ 420923 w 4610101"/>
              <a:gd name="connsiteY14514" fmla="*/ 1256330 h 6557032"/>
              <a:gd name="connsiteX14515" fmla="*/ 265354 w 4610101"/>
              <a:gd name="connsiteY14515" fmla="*/ 1254963 h 6557032"/>
              <a:gd name="connsiteX14516" fmla="*/ 260571 w 4610101"/>
              <a:gd name="connsiteY14516" fmla="*/ 1256330 h 6557032"/>
              <a:gd name="connsiteX14517" fmla="*/ 271504 w 4610101"/>
              <a:gd name="connsiteY14517" fmla="*/ 1256330 h 6557032"/>
              <a:gd name="connsiteX14518" fmla="*/ 265354 w 4610101"/>
              <a:gd name="connsiteY14518" fmla="*/ 1254963 h 6557032"/>
              <a:gd name="connsiteX14519" fmla="*/ 3318179 w 4610101"/>
              <a:gd name="connsiteY14519" fmla="*/ 1254508 h 6557032"/>
              <a:gd name="connsiteX14520" fmla="*/ 3312713 w 4610101"/>
              <a:gd name="connsiteY14520" fmla="*/ 1261797 h 6557032"/>
              <a:gd name="connsiteX14521" fmla="*/ 3314535 w 4610101"/>
              <a:gd name="connsiteY14521" fmla="*/ 1276374 h 6557032"/>
              <a:gd name="connsiteX14522" fmla="*/ 3329112 w 4610101"/>
              <a:gd name="connsiteY14522" fmla="*/ 1274552 h 6557032"/>
              <a:gd name="connsiteX14523" fmla="*/ 3318179 w 4610101"/>
              <a:gd name="connsiteY14523" fmla="*/ 1254508 h 6557032"/>
              <a:gd name="connsiteX14524" fmla="*/ 3008410 w 4610101"/>
              <a:gd name="connsiteY14524" fmla="*/ 1254508 h 6557032"/>
              <a:gd name="connsiteX14525" fmla="*/ 3015698 w 4610101"/>
              <a:gd name="connsiteY14525" fmla="*/ 1272730 h 6557032"/>
              <a:gd name="connsiteX14526" fmla="*/ 3012054 w 4610101"/>
              <a:gd name="connsiteY14526" fmla="*/ 1267263 h 6557032"/>
              <a:gd name="connsiteX14527" fmla="*/ 3015698 w 4610101"/>
              <a:gd name="connsiteY14527" fmla="*/ 1269085 h 6557032"/>
              <a:gd name="connsiteX14528" fmla="*/ 3017521 w 4610101"/>
              <a:gd name="connsiteY14528" fmla="*/ 1258152 h 6557032"/>
              <a:gd name="connsiteX14529" fmla="*/ 3019343 w 4610101"/>
              <a:gd name="connsiteY14529" fmla="*/ 1256330 h 6557032"/>
              <a:gd name="connsiteX14530" fmla="*/ 3021165 w 4610101"/>
              <a:gd name="connsiteY14530" fmla="*/ 1258152 h 6557032"/>
              <a:gd name="connsiteX14531" fmla="*/ 3008410 w 4610101"/>
              <a:gd name="connsiteY14531" fmla="*/ 1254508 h 6557032"/>
              <a:gd name="connsiteX14532" fmla="*/ 1242723 w 4610101"/>
              <a:gd name="connsiteY14532" fmla="*/ 1254508 h 6557032"/>
              <a:gd name="connsiteX14533" fmla="*/ 1251834 w 4610101"/>
              <a:gd name="connsiteY14533" fmla="*/ 1267263 h 6557032"/>
              <a:gd name="connsiteX14534" fmla="*/ 1253656 w 4610101"/>
              <a:gd name="connsiteY14534" fmla="*/ 1265441 h 6557032"/>
              <a:gd name="connsiteX14535" fmla="*/ 1251834 w 4610101"/>
              <a:gd name="connsiteY14535" fmla="*/ 1263619 h 6557032"/>
              <a:gd name="connsiteX14536" fmla="*/ 1253656 w 4610101"/>
              <a:gd name="connsiteY14536" fmla="*/ 1261797 h 6557032"/>
              <a:gd name="connsiteX14537" fmla="*/ 1242723 w 4610101"/>
              <a:gd name="connsiteY14537" fmla="*/ 1254508 h 6557032"/>
              <a:gd name="connsiteX14538" fmla="*/ 898333 w 4610101"/>
              <a:gd name="connsiteY14538" fmla="*/ 1254508 h 6557032"/>
              <a:gd name="connsiteX14539" fmla="*/ 896510 w 4610101"/>
              <a:gd name="connsiteY14539" fmla="*/ 1267263 h 6557032"/>
              <a:gd name="connsiteX14540" fmla="*/ 905621 w 4610101"/>
              <a:gd name="connsiteY14540" fmla="*/ 1258152 h 6557032"/>
              <a:gd name="connsiteX14541" fmla="*/ 898333 w 4610101"/>
              <a:gd name="connsiteY14541" fmla="*/ 1254508 h 6557032"/>
              <a:gd name="connsiteX14542" fmla="*/ 725226 w 4610101"/>
              <a:gd name="connsiteY14542" fmla="*/ 1254508 h 6557032"/>
              <a:gd name="connsiteX14543" fmla="*/ 728870 w 4610101"/>
              <a:gd name="connsiteY14543" fmla="*/ 1256330 h 6557032"/>
              <a:gd name="connsiteX14544" fmla="*/ 725226 w 4610101"/>
              <a:gd name="connsiteY14544" fmla="*/ 1254508 h 6557032"/>
              <a:gd name="connsiteX14545" fmla="*/ 692426 w 4610101"/>
              <a:gd name="connsiteY14545" fmla="*/ 1254508 h 6557032"/>
              <a:gd name="connsiteX14546" fmla="*/ 681802 w 4610101"/>
              <a:gd name="connsiteY14546" fmla="*/ 1258492 h 6557032"/>
              <a:gd name="connsiteX14547" fmla="*/ 681493 w 4610101"/>
              <a:gd name="connsiteY14547" fmla="*/ 1258152 h 6557032"/>
              <a:gd name="connsiteX14548" fmla="*/ 681581 w 4610101"/>
              <a:gd name="connsiteY14548" fmla="*/ 1258575 h 6557032"/>
              <a:gd name="connsiteX14549" fmla="*/ 677849 w 4610101"/>
              <a:gd name="connsiteY14549" fmla="*/ 1259975 h 6557032"/>
              <a:gd name="connsiteX14550" fmla="*/ 685138 w 4610101"/>
              <a:gd name="connsiteY14550" fmla="*/ 1269085 h 6557032"/>
              <a:gd name="connsiteX14551" fmla="*/ 682632 w 4610101"/>
              <a:gd name="connsiteY14551" fmla="*/ 1263619 h 6557032"/>
              <a:gd name="connsiteX14552" fmla="*/ 681581 w 4610101"/>
              <a:gd name="connsiteY14552" fmla="*/ 1258575 h 6557032"/>
              <a:gd name="connsiteX14553" fmla="*/ 681802 w 4610101"/>
              <a:gd name="connsiteY14553" fmla="*/ 1258492 h 6557032"/>
              <a:gd name="connsiteX14554" fmla="*/ 686050 w 4610101"/>
              <a:gd name="connsiteY14554" fmla="*/ 1263163 h 6557032"/>
              <a:gd name="connsiteX14555" fmla="*/ 690604 w 4610101"/>
              <a:gd name="connsiteY14555" fmla="*/ 1270908 h 6557032"/>
              <a:gd name="connsiteX14556" fmla="*/ 694096 w 4610101"/>
              <a:gd name="connsiteY14556" fmla="*/ 1267416 h 6557032"/>
              <a:gd name="connsiteX14557" fmla="*/ 692426 w 4610101"/>
              <a:gd name="connsiteY14557" fmla="*/ 1270908 h 6557032"/>
              <a:gd name="connsiteX14558" fmla="*/ 708826 w 4610101"/>
              <a:gd name="connsiteY14558" fmla="*/ 1263619 h 6557032"/>
              <a:gd name="connsiteX14559" fmla="*/ 701537 w 4610101"/>
              <a:gd name="connsiteY14559" fmla="*/ 1261797 h 6557032"/>
              <a:gd name="connsiteX14560" fmla="*/ 697134 w 4610101"/>
              <a:gd name="connsiteY14560" fmla="*/ 1264378 h 6557032"/>
              <a:gd name="connsiteX14561" fmla="*/ 701537 w 4610101"/>
              <a:gd name="connsiteY14561" fmla="*/ 1259975 h 6557032"/>
              <a:gd name="connsiteX14562" fmla="*/ 692426 w 4610101"/>
              <a:gd name="connsiteY14562" fmla="*/ 1254508 h 6557032"/>
              <a:gd name="connsiteX14563" fmla="*/ 244172 w 4610101"/>
              <a:gd name="connsiteY14563" fmla="*/ 1254508 h 6557032"/>
              <a:gd name="connsiteX14564" fmla="*/ 249638 w 4610101"/>
              <a:gd name="connsiteY14564" fmla="*/ 1261797 h 6557032"/>
              <a:gd name="connsiteX14565" fmla="*/ 255105 w 4610101"/>
              <a:gd name="connsiteY14565" fmla="*/ 1254508 h 6557032"/>
              <a:gd name="connsiteX14566" fmla="*/ 244172 w 4610101"/>
              <a:gd name="connsiteY14566" fmla="*/ 1254508 h 6557032"/>
              <a:gd name="connsiteX14567" fmla="*/ 224128 w 4610101"/>
              <a:gd name="connsiteY14567" fmla="*/ 1254508 h 6557032"/>
              <a:gd name="connsiteX14568" fmla="*/ 231236 w 4610101"/>
              <a:gd name="connsiteY14568" fmla="*/ 1254508 h 6557032"/>
              <a:gd name="connsiteX14569" fmla="*/ 234684 w 4610101"/>
              <a:gd name="connsiteY14569" fmla="*/ 1255664 h 6557032"/>
              <a:gd name="connsiteX14570" fmla="*/ 242349 w 4610101"/>
              <a:gd name="connsiteY14570" fmla="*/ 1261797 h 6557032"/>
              <a:gd name="connsiteX14571" fmla="*/ 224128 w 4610101"/>
              <a:gd name="connsiteY14571" fmla="*/ 1254508 h 6557032"/>
              <a:gd name="connsiteX14572" fmla="*/ 145774 w 4610101"/>
              <a:gd name="connsiteY14572" fmla="*/ 1254508 h 6557032"/>
              <a:gd name="connsiteX14573" fmla="*/ 157734 w 4610101"/>
              <a:gd name="connsiteY14573" fmla="*/ 1267028 h 6557032"/>
              <a:gd name="connsiteX14574" fmla="*/ 147165 w 4610101"/>
              <a:gd name="connsiteY14574" fmla="*/ 1258681 h 6557032"/>
              <a:gd name="connsiteX14575" fmla="*/ 2694996 w 4610101"/>
              <a:gd name="connsiteY14575" fmla="*/ 1252686 h 6557032"/>
              <a:gd name="connsiteX14576" fmla="*/ 2718684 w 4610101"/>
              <a:gd name="connsiteY14576" fmla="*/ 1292774 h 6557032"/>
              <a:gd name="connsiteX14577" fmla="*/ 2689529 w 4610101"/>
              <a:gd name="connsiteY14577" fmla="*/ 1256330 h 6557032"/>
              <a:gd name="connsiteX14578" fmla="*/ 2676774 w 4610101"/>
              <a:gd name="connsiteY14578" fmla="*/ 1259975 h 6557032"/>
              <a:gd name="connsiteX14579" fmla="*/ 2720506 w 4610101"/>
              <a:gd name="connsiteY14579" fmla="*/ 1321929 h 6557032"/>
              <a:gd name="connsiteX14580" fmla="*/ 2731439 w 4610101"/>
              <a:gd name="connsiteY14580" fmla="*/ 1256330 h 6557032"/>
              <a:gd name="connsiteX14581" fmla="*/ 2720506 w 4610101"/>
              <a:gd name="connsiteY14581" fmla="*/ 1254508 h 6557032"/>
              <a:gd name="connsiteX14582" fmla="*/ 2725973 w 4610101"/>
              <a:gd name="connsiteY14582" fmla="*/ 1263619 h 6557032"/>
              <a:gd name="connsiteX14583" fmla="*/ 2716862 w 4610101"/>
              <a:gd name="connsiteY14583" fmla="*/ 1258152 h 6557032"/>
              <a:gd name="connsiteX14584" fmla="*/ 2705929 w 4610101"/>
              <a:gd name="connsiteY14584" fmla="*/ 1261797 h 6557032"/>
              <a:gd name="connsiteX14585" fmla="*/ 2694996 w 4610101"/>
              <a:gd name="connsiteY14585" fmla="*/ 1252686 h 6557032"/>
              <a:gd name="connsiteX14586" fmla="*/ 1158903 w 4610101"/>
              <a:gd name="connsiteY14586" fmla="*/ 1252686 h 6557032"/>
              <a:gd name="connsiteX14587" fmla="*/ 1158903 w 4610101"/>
              <a:gd name="connsiteY14587" fmla="*/ 1254508 h 6557032"/>
              <a:gd name="connsiteX14588" fmla="*/ 1162547 w 4610101"/>
              <a:gd name="connsiteY14588" fmla="*/ 1254508 h 6557032"/>
              <a:gd name="connsiteX14589" fmla="*/ 1158903 w 4610101"/>
              <a:gd name="connsiteY14589" fmla="*/ 1252686 h 6557032"/>
              <a:gd name="connsiteX14590" fmla="*/ 1095127 w 4610101"/>
              <a:gd name="connsiteY14590" fmla="*/ 1252686 h 6557032"/>
              <a:gd name="connsiteX14591" fmla="*/ 1104238 w 4610101"/>
              <a:gd name="connsiteY14591" fmla="*/ 1267263 h 6557032"/>
              <a:gd name="connsiteX14592" fmla="*/ 1102416 w 4610101"/>
              <a:gd name="connsiteY14592" fmla="*/ 1269085 h 6557032"/>
              <a:gd name="connsiteX14593" fmla="*/ 1106060 w 4610101"/>
              <a:gd name="connsiteY14593" fmla="*/ 1274552 h 6557032"/>
              <a:gd name="connsiteX14594" fmla="*/ 1106060 w 4610101"/>
              <a:gd name="connsiteY14594" fmla="*/ 1254508 h 6557032"/>
              <a:gd name="connsiteX14595" fmla="*/ 1095127 w 4610101"/>
              <a:gd name="connsiteY14595" fmla="*/ 1252686 h 6557032"/>
              <a:gd name="connsiteX14596" fmla="*/ 934777 w 4610101"/>
              <a:gd name="connsiteY14596" fmla="*/ 1252686 h 6557032"/>
              <a:gd name="connsiteX14597" fmla="*/ 938420 w 4610101"/>
              <a:gd name="connsiteY14597" fmla="*/ 1265441 h 6557032"/>
              <a:gd name="connsiteX14598" fmla="*/ 936598 w 4610101"/>
              <a:gd name="connsiteY14598" fmla="*/ 1258152 h 6557032"/>
              <a:gd name="connsiteX14599" fmla="*/ 943886 w 4610101"/>
              <a:gd name="connsiteY14599" fmla="*/ 1258152 h 6557032"/>
              <a:gd name="connsiteX14600" fmla="*/ 934777 w 4610101"/>
              <a:gd name="connsiteY14600" fmla="*/ 1252686 h 6557032"/>
              <a:gd name="connsiteX14601" fmla="*/ 743447 w 4610101"/>
              <a:gd name="connsiteY14601" fmla="*/ 1252686 h 6557032"/>
              <a:gd name="connsiteX14602" fmla="*/ 737981 w 4610101"/>
              <a:gd name="connsiteY14602" fmla="*/ 1256330 h 6557032"/>
              <a:gd name="connsiteX14603" fmla="*/ 745269 w 4610101"/>
              <a:gd name="connsiteY14603" fmla="*/ 1258152 h 6557032"/>
              <a:gd name="connsiteX14604" fmla="*/ 743447 w 4610101"/>
              <a:gd name="connsiteY14604" fmla="*/ 1252686 h 6557032"/>
              <a:gd name="connsiteX14605" fmla="*/ 692426 w 4610101"/>
              <a:gd name="connsiteY14605" fmla="*/ 1252686 h 6557032"/>
              <a:gd name="connsiteX14606" fmla="*/ 699715 w 4610101"/>
              <a:gd name="connsiteY14606" fmla="*/ 1256330 h 6557032"/>
              <a:gd name="connsiteX14607" fmla="*/ 692426 w 4610101"/>
              <a:gd name="connsiteY14607" fmla="*/ 1252686 h 6557032"/>
              <a:gd name="connsiteX14608" fmla="*/ 173107 w 4610101"/>
              <a:gd name="connsiteY14608" fmla="*/ 1252686 h 6557032"/>
              <a:gd name="connsiteX14609" fmla="*/ 196187 w 4610101"/>
              <a:gd name="connsiteY14609" fmla="*/ 1264923 h 6557032"/>
              <a:gd name="connsiteX14610" fmla="*/ 193378 w 4610101"/>
              <a:gd name="connsiteY14610" fmla="*/ 1264302 h 6557032"/>
              <a:gd name="connsiteX14611" fmla="*/ 173107 w 4610101"/>
              <a:gd name="connsiteY14611" fmla="*/ 1252686 h 6557032"/>
              <a:gd name="connsiteX14612" fmla="*/ 304075 w 4610101"/>
              <a:gd name="connsiteY14612" fmla="*/ 1252458 h 6557032"/>
              <a:gd name="connsiteX14613" fmla="*/ 307948 w 4610101"/>
              <a:gd name="connsiteY14613" fmla="*/ 1252686 h 6557032"/>
              <a:gd name="connsiteX14614" fmla="*/ 304303 w 4610101"/>
              <a:gd name="connsiteY14614" fmla="*/ 1256330 h 6557032"/>
              <a:gd name="connsiteX14615" fmla="*/ 304075 w 4610101"/>
              <a:gd name="connsiteY14615" fmla="*/ 1252458 h 6557032"/>
              <a:gd name="connsiteX14616" fmla="*/ 1153436 w 4610101"/>
              <a:gd name="connsiteY14616" fmla="*/ 1252230 h 6557032"/>
              <a:gd name="connsiteX14617" fmla="*/ 1151614 w 4610101"/>
              <a:gd name="connsiteY14617" fmla="*/ 1254508 h 6557032"/>
              <a:gd name="connsiteX14618" fmla="*/ 1153436 w 4610101"/>
              <a:gd name="connsiteY14618" fmla="*/ 1256330 h 6557032"/>
              <a:gd name="connsiteX14619" fmla="*/ 1155259 w 4610101"/>
              <a:gd name="connsiteY14619" fmla="*/ 1252686 h 6557032"/>
              <a:gd name="connsiteX14620" fmla="*/ 1153436 w 4610101"/>
              <a:gd name="connsiteY14620" fmla="*/ 1252230 h 6557032"/>
              <a:gd name="connsiteX14621" fmla="*/ 982835 w 4610101"/>
              <a:gd name="connsiteY14621" fmla="*/ 1252230 h 6557032"/>
              <a:gd name="connsiteX14622" fmla="*/ 980330 w 4610101"/>
              <a:gd name="connsiteY14622" fmla="*/ 1259975 h 6557032"/>
              <a:gd name="connsiteX14623" fmla="*/ 989441 w 4610101"/>
              <a:gd name="connsiteY14623" fmla="*/ 1252686 h 6557032"/>
              <a:gd name="connsiteX14624" fmla="*/ 982835 w 4610101"/>
              <a:gd name="connsiteY14624" fmla="*/ 1252230 h 6557032"/>
              <a:gd name="connsiteX14625" fmla="*/ 2994288 w 4610101"/>
              <a:gd name="connsiteY14625" fmla="*/ 1251547 h 6557032"/>
              <a:gd name="connsiteX14626" fmla="*/ 2990188 w 4610101"/>
              <a:gd name="connsiteY14626" fmla="*/ 1267263 h 6557032"/>
              <a:gd name="connsiteX14627" fmla="*/ 2997477 w 4610101"/>
              <a:gd name="connsiteY14627" fmla="*/ 1258152 h 6557032"/>
              <a:gd name="connsiteX14628" fmla="*/ 3004765 w 4610101"/>
              <a:gd name="connsiteY14628" fmla="*/ 1261797 h 6557032"/>
              <a:gd name="connsiteX14629" fmla="*/ 3006587 w 4610101"/>
              <a:gd name="connsiteY14629" fmla="*/ 1256330 h 6557032"/>
              <a:gd name="connsiteX14630" fmla="*/ 2994288 w 4610101"/>
              <a:gd name="connsiteY14630" fmla="*/ 1251547 h 6557032"/>
              <a:gd name="connsiteX14631" fmla="*/ 337786 w 4610101"/>
              <a:gd name="connsiteY14631" fmla="*/ 1251547 h 6557032"/>
              <a:gd name="connsiteX14632" fmla="*/ 335280 w 4610101"/>
              <a:gd name="connsiteY14632" fmla="*/ 1254508 h 6557032"/>
              <a:gd name="connsiteX14633" fmla="*/ 344391 w 4610101"/>
              <a:gd name="connsiteY14633" fmla="*/ 1252686 h 6557032"/>
              <a:gd name="connsiteX14634" fmla="*/ 337786 w 4610101"/>
              <a:gd name="connsiteY14634" fmla="*/ 1251547 h 6557032"/>
              <a:gd name="connsiteX14635" fmla="*/ 354185 w 4610101"/>
              <a:gd name="connsiteY14635" fmla="*/ 1251320 h 6557032"/>
              <a:gd name="connsiteX14636" fmla="*/ 346213 w 4610101"/>
              <a:gd name="connsiteY14636" fmla="*/ 1259975 h 6557032"/>
              <a:gd name="connsiteX14637" fmla="*/ 320703 w 4610101"/>
              <a:gd name="connsiteY14637" fmla="*/ 1259975 h 6557032"/>
              <a:gd name="connsiteX14638" fmla="*/ 333458 w 4610101"/>
              <a:gd name="connsiteY14638" fmla="*/ 1267263 h 6557032"/>
              <a:gd name="connsiteX14639" fmla="*/ 302481 w 4610101"/>
              <a:gd name="connsiteY14639" fmla="*/ 1263619 h 6557032"/>
              <a:gd name="connsiteX14640" fmla="*/ 304303 w 4610101"/>
              <a:gd name="connsiteY14640" fmla="*/ 1261797 h 6557032"/>
              <a:gd name="connsiteX14641" fmla="*/ 297015 w 4610101"/>
              <a:gd name="connsiteY14641" fmla="*/ 1259975 h 6557032"/>
              <a:gd name="connsiteX14642" fmla="*/ 295193 w 4610101"/>
              <a:gd name="connsiteY14642" fmla="*/ 1267263 h 6557032"/>
              <a:gd name="connsiteX14643" fmla="*/ 351680 w 4610101"/>
              <a:gd name="connsiteY14643" fmla="*/ 1274552 h 6557032"/>
              <a:gd name="connsiteX14644" fmla="*/ 349858 w 4610101"/>
              <a:gd name="connsiteY14644" fmla="*/ 1276374 h 6557032"/>
              <a:gd name="connsiteX14645" fmla="*/ 360791 w 4610101"/>
              <a:gd name="connsiteY14645" fmla="*/ 1278196 h 6557032"/>
              <a:gd name="connsiteX14646" fmla="*/ 358969 w 4610101"/>
              <a:gd name="connsiteY14646" fmla="*/ 1272730 h 6557032"/>
              <a:gd name="connsiteX14647" fmla="*/ 369902 w 4610101"/>
              <a:gd name="connsiteY14647" fmla="*/ 1278196 h 6557032"/>
              <a:gd name="connsiteX14648" fmla="*/ 364435 w 4610101"/>
              <a:gd name="connsiteY14648" fmla="*/ 1272730 h 6557032"/>
              <a:gd name="connsiteX14649" fmla="*/ 371724 w 4610101"/>
              <a:gd name="connsiteY14649" fmla="*/ 1276374 h 6557032"/>
              <a:gd name="connsiteX14650" fmla="*/ 368079 w 4610101"/>
              <a:gd name="connsiteY14650" fmla="*/ 1272730 h 6557032"/>
              <a:gd name="connsiteX14651" fmla="*/ 379012 w 4610101"/>
              <a:gd name="connsiteY14651" fmla="*/ 1270908 h 6557032"/>
              <a:gd name="connsiteX14652" fmla="*/ 375368 w 4610101"/>
              <a:gd name="connsiteY14652" fmla="*/ 1259975 h 6557032"/>
              <a:gd name="connsiteX14653" fmla="*/ 382657 w 4610101"/>
              <a:gd name="connsiteY14653" fmla="*/ 1259975 h 6557032"/>
              <a:gd name="connsiteX14654" fmla="*/ 378785 w 4610101"/>
              <a:gd name="connsiteY14654" fmla="*/ 1259974 h 6557032"/>
              <a:gd name="connsiteX14655" fmla="*/ 373717 w 4610101"/>
              <a:gd name="connsiteY14655" fmla="*/ 1259975 h 6557032"/>
              <a:gd name="connsiteX14656" fmla="*/ 379012 w 4610101"/>
              <a:gd name="connsiteY14656" fmla="*/ 1258152 h 6557032"/>
              <a:gd name="connsiteX14657" fmla="*/ 373546 w 4610101"/>
              <a:gd name="connsiteY14657" fmla="*/ 1259975 h 6557032"/>
              <a:gd name="connsiteX14658" fmla="*/ 373717 w 4610101"/>
              <a:gd name="connsiteY14658" fmla="*/ 1259975 h 6557032"/>
              <a:gd name="connsiteX14659" fmla="*/ 365119 w 4610101"/>
              <a:gd name="connsiteY14659" fmla="*/ 1262935 h 6557032"/>
              <a:gd name="connsiteX14660" fmla="*/ 355324 w 4610101"/>
              <a:gd name="connsiteY14660" fmla="*/ 1274552 h 6557032"/>
              <a:gd name="connsiteX14661" fmla="*/ 355324 w 4610101"/>
              <a:gd name="connsiteY14661" fmla="*/ 1270908 h 6557032"/>
              <a:gd name="connsiteX14662" fmla="*/ 351680 w 4610101"/>
              <a:gd name="connsiteY14662" fmla="*/ 1270908 h 6557032"/>
              <a:gd name="connsiteX14663" fmla="*/ 353502 w 4610101"/>
              <a:gd name="connsiteY14663" fmla="*/ 1269085 h 6557032"/>
              <a:gd name="connsiteX14664" fmla="*/ 348037 w 4610101"/>
              <a:gd name="connsiteY14664" fmla="*/ 1267263 h 6557032"/>
              <a:gd name="connsiteX14665" fmla="*/ 366257 w 4610101"/>
              <a:gd name="connsiteY14665" fmla="*/ 1256330 h 6557032"/>
              <a:gd name="connsiteX14666" fmla="*/ 354185 w 4610101"/>
              <a:gd name="connsiteY14666" fmla="*/ 1251320 h 6557032"/>
              <a:gd name="connsiteX14667" fmla="*/ 298837 w 4610101"/>
              <a:gd name="connsiteY14667" fmla="*/ 1251319 h 6557032"/>
              <a:gd name="connsiteX14668" fmla="*/ 300660 w 4610101"/>
              <a:gd name="connsiteY14668" fmla="*/ 1258152 h 6557032"/>
              <a:gd name="connsiteX14669" fmla="*/ 318882 w 4610101"/>
              <a:gd name="connsiteY14669" fmla="*/ 1259975 h 6557032"/>
              <a:gd name="connsiteX14670" fmla="*/ 307948 w 4610101"/>
              <a:gd name="connsiteY14670" fmla="*/ 1252686 h 6557032"/>
              <a:gd name="connsiteX14671" fmla="*/ 298837 w 4610101"/>
              <a:gd name="connsiteY14671" fmla="*/ 1251319 h 6557032"/>
              <a:gd name="connsiteX14672" fmla="*/ 3329112 w 4610101"/>
              <a:gd name="connsiteY14672" fmla="*/ 1250864 h 6557032"/>
              <a:gd name="connsiteX14673" fmla="*/ 3330934 w 4610101"/>
              <a:gd name="connsiteY14673" fmla="*/ 1256330 h 6557032"/>
              <a:gd name="connsiteX14674" fmla="*/ 3329112 w 4610101"/>
              <a:gd name="connsiteY14674" fmla="*/ 1250864 h 6557032"/>
              <a:gd name="connsiteX14675" fmla="*/ 3252581 w 4610101"/>
              <a:gd name="connsiteY14675" fmla="*/ 1250864 h 6557032"/>
              <a:gd name="connsiteX14676" fmla="*/ 3254403 w 4610101"/>
              <a:gd name="connsiteY14676" fmla="*/ 1254508 h 6557032"/>
              <a:gd name="connsiteX14677" fmla="*/ 3258047 w 4610101"/>
              <a:gd name="connsiteY14677" fmla="*/ 1250864 h 6557032"/>
              <a:gd name="connsiteX14678" fmla="*/ 3252581 w 4610101"/>
              <a:gd name="connsiteY14678" fmla="*/ 1250864 h 6557032"/>
              <a:gd name="connsiteX14679" fmla="*/ 2427136 w 4610101"/>
              <a:gd name="connsiteY14679" fmla="*/ 1250864 h 6557032"/>
              <a:gd name="connsiteX14680" fmla="*/ 2418025 w 4610101"/>
              <a:gd name="connsiteY14680" fmla="*/ 1258152 h 6557032"/>
              <a:gd name="connsiteX14681" fmla="*/ 2421669 w 4610101"/>
              <a:gd name="connsiteY14681" fmla="*/ 1259975 h 6557032"/>
              <a:gd name="connsiteX14682" fmla="*/ 2418025 w 4610101"/>
              <a:gd name="connsiteY14682" fmla="*/ 1261797 h 6557032"/>
              <a:gd name="connsiteX14683" fmla="*/ 2419847 w 4610101"/>
              <a:gd name="connsiteY14683" fmla="*/ 1269085 h 6557032"/>
              <a:gd name="connsiteX14684" fmla="*/ 2412559 w 4610101"/>
              <a:gd name="connsiteY14684" fmla="*/ 1269085 h 6557032"/>
              <a:gd name="connsiteX14685" fmla="*/ 2412559 w 4610101"/>
              <a:gd name="connsiteY14685" fmla="*/ 1276374 h 6557032"/>
              <a:gd name="connsiteX14686" fmla="*/ 2408914 w 4610101"/>
              <a:gd name="connsiteY14686" fmla="*/ 1280018 h 6557032"/>
              <a:gd name="connsiteX14687" fmla="*/ 2416203 w 4610101"/>
              <a:gd name="connsiteY14687" fmla="*/ 1276374 h 6557032"/>
              <a:gd name="connsiteX14688" fmla="*/ 2414381 w 4610101"/>
              <a:gd name="connsiteY14688" fmla="*/ 1272730 h 6557032"/>
              <a:gd name="connsiteX14689" fmla="*/ 2418025 w 4610101"/>
              <a:gd name="connsiteY14689" fmla="*/ 1272730 h 6557032"/>
              <a:gd name="connsiteX14690" fmla="*/ 2421669 w 4610101"/>
              <a:gd name="connsiteY14690" fmla="*/ 1269085 h 6557032"/>
              <a:gd name="connsiteX14691" fmla="*/ 2430780 w 4610101"/>
              <a:gd name="connsiteY14691" fmla="*/ 1269085 h 6557032"/>
              <a:gd name="connsiteX14692" fmla="*/ 2430780 w 4610101"/>
              <a:gd name="connsiteY14692" fmla="*/ 1256330 h 6557032"/>
              <a:gd name="connsiteX14693" fmla="*/ 2427136 w 4610101"/>
              <a:gd name="connsiteY14693" fmla="*/ 1258152 h 6557032"/>
              <a:gd name="connsiteX14694" fmla="*/ 2427136 w 4610101"/>
              <a:gd name="connsiteY14694" fmla="*/ 1250864 h 6557032"/>
              <a:gd name="connsiteX14695" fmla="*/ 2390693 w 4610101"/>
              <a:gd name="connsiteY14695" fmla="*/ 1250864 h 6557032"/>
              <a:gd name="connsiteX14696" fmla="*/ 2379760 w 4610101"/>
              <a:gd name="connsiteY14696" fmla="*/ 1254508 h 6557032"/>
              <a:gd name="connsiteX14697" fmla="*/ 2377937 w 4610101"/>
              <a:gd name="connsiteY14697" fmla="*/ 1265441 h 6557032"/>
              <a:gd name="connsiteX14698" fmla="*/ 2390693 w 4610101"/>
              <a:gd name="connsiteY14698" fmla="*/ 1250864 h 6557032"/>
              <a:gd name="connsiteX14699" fmla="*/ 2097323 w 4610101"/>
              <a:gd name="connsiteY14699" fmla="*/ 1250864 h 6557032"/>
              <a:gd name="connsiteX14700" fmla="*/ 2095500 w 4610101"/>
              <a:gd name="connsiteY14700" fmla="*/ 1258152 h 6557032"/>
              <a:gd name="connsiteX14701" fmla="*/ 2106433 w 4610101"/>
              <a:gd name="connsiteY14701" fmla="*/ 1252686 h 6557032"/>
              <a:gd name="connsiteX14702" fmla="*/ 2097323 w 4610101"/>
              <a:gd name="connsiteY14702" fmla="*/ 1250864 h 6557032"/>
              <a:gd name="connsiteX14703" fmla="*/ 1244545 w 4610101"/>
              <a:gd name="connsiteY14703" fmla="*/ 1250864 h 6557032"/>
              <a:gd name="connsiteX14704" fmla="*/ 1253656 w 4610101"/>
              <a:gd name="connsiteY14704" fmla="*/ 1259975 h 6557032"/>
              <a:gd name="connsiteX14705" fmla="*/ 1253656 w 4610101"/>
              <a:gd name="connsiteY14705" fmla="*/ 1254508 h 6557032"/>
              <a:gd name="connsiteX14706" fmla="*/ 1253656 w 4610101"/>
              <a:gd name="connsiteY14706" fmla="*/ 1252686 h 6557032"/>
              <a:gd name="connsiteX14707" fmla="*/ 1250012 w 4610101"/>
              <a:gd name="connsiteY14707" fmla="*/ 1250864 h 6557032"/>
              <a:gd name="connsiteX14708" fmla="*/ 1253656 w 4610101"/>
              <a:gd name="connsiteY14708" fmla="*/ 1254508 h 6557032"/>
              <a:gd name="connsiteX14709" fmla="*/ 1244545 w 4610101"/>
              <a:gd name="connsiteY14709" fmla="*/ 1250864 h 6557032"/>
              <a:gd name="connsiteX14710" fmla="*/ 920198 w 4610101"/>
              <a:gd name="connsiteY14710" fmla="*/ 1250864 h 6557032"/>
              <a:gd name="connsiteX14711" fmla="*/ 920198 w 4610101"/>
              <a:gd name="connsiteY14711" fmla="*/ 1259975 h 6557032"/>
              <a:gd name="connsiteX14712" fmla="*/ 925664 w 4610101"/>
              <a:gd name="connsiteY14712" fmla="*/ 1259975 h 6557032"/>
              <a:gd name="connsiteX14713" fmla="*/ 923843 w 4610101"/>
              <a:gd name="connsiteY14713" fmla="*/ 1261797 h 6557032"/>
              <a:gd name="connsiteX14714" fmla="*/ 934777 w 4610101"/>
              <a:gd name="connsiteY14714" fmla="*/ 1267263 h 6557032"/>
              <a:gd name="connsiteX14715" fmla="*/ 927487 w 4610101"/>
              <a:gd name="connsiteY14715" fmla="*/ 1258152 h 6557032"/>
              <a:gd name="connsiteX14716" fmla="*/ 925666 w 4610101"/>
              <a:gd name="connsiteY14716" fmla="*/ 1259975 h 6557032"/>
              <a:gd name="connsiteX14717" fmla="*/ 750737 w 4610101"/>
              <a:gd name="connsiteY14717" fmla="*/ 1250864 h 6557032"/>
              <a:gd name="connsiteX14718" fmla="*/ 748914 w 4610101"/>
              <a:gd name="connsiteY14718" fmla="*/ 1256330 h 6557032"/>
              <a:gd name="connsiteX14719" fmla="*/ 754380 w 4610101"/>
              <a:gd name="connsiteY14719" fmla="*/ 1256330 h 6557032"/>
              <a:gd name="connsiteX14720" fmla="*/ 750737 w 4610101"/>
              <a:gd name="connsiteY14720" fmla="*/ 1250864 h 6557032"/>
              <a:gd name="connsiteX14721" fmla="*/ 721581 w 4610101"/>
              <a:gd name="connsiteY14721" fmla="*/ 1250864 h 6557032"/>
              <a:gd name="connsiteX14722" fmla="*/ 725226 w 4610101"/>
              <a:gd name="connsiteY14722" fmla="*/ 1252686 h 6557032"/>
              <a:gd name="connsiteX14723" fmla="*/ 721581 w 4610101"/>
              <a:gd name="connsiteY14723" fmla="*/ 1250864 h 6557032"/>
              <a:gd name="connsiteX14724" fmla="*/ 714293 w 4610101"/>
              <a:gd name="connsiteY14724" fmla="*/ 1250864 h 6557032"/>
              <a:gd name="connsiteX14725" fmla="*/ 712364 w 4610101"/>
              <a:gd name="connsiteY14725" fmla="*/ 1253758 h 6557032"/>
              <a:gd name="connsiteX14726" fmla="*/ 710648 w 4610101"/>
              <a:gd name="connsiteY14726" fmla="*/ 1252686 h 6557032"/>
              <a:gd name="connsiteX14727" fmla="*/ 710648 w 4610101"/>
              <a:gd name="connsiteY14727" fmla="*/ 1256330 h 6557032"/>
              <a:gd name="connsiteX14728" fmla="*/ 712364 w 4610101"/>
              <a:gd name="connsiteY14728" fmla="*/ 1253758 h 6557032"/>
              <a:gd name="connsiteX14729" fmla="*/ 712471 w 4610101"/>
              <a:gd name="connsiteY14729" fmla="*/ 1253825 h 6557032"/>
              <a:gd name="connsiteX14730" fmla="*/ 714293 w 4610101"/>
              <a:gd name="connsiteY14730" fmla="*/ 1250864 h 6557032"/>
              <a:gd name="connsiteX14731" fmla="*/ 464655 w 4610101"/>
              <a:gd name="connsiteY14731" fmla="*/ 1250864 h 6557032"/>
              <a:gd name="connsiteX14732" fmla="*/ 461010 w 4610101"/>
              <a:gd name="connsiteY14732" fmla="*/ 1252686 h 6557032"/>
              <a:gd name="connsiteX14733" fmla="*/ 466478 w 4610101"/>
              <a:gd name="connsiteY14733" fmla="*/ 1256330 h 6557032"/>
              <a:gd name="connsiteX14734" fmla="*/ 464655 w 4610101"/>
              <a:gd name="connsiteY14734" fmla="*/ 1250864 h 6557032"/>
              <a:gd name="connsiteX14735" fmla="*/ 419100 w 4610101"/>
              <a:gd name="connsiteY14735" fmla="*/ 1250864 h 6557032"/>
              <a:gd name="connsiteX14736" fmla="*/ 397234 w 4610101"/>
              <a:gd name="connsiteY14736" fmla="*/ 1256330 h 6557032"/>
              <a:gd name="connsiteX14737" fmla="*/ 411812 w 4610101"/>
              <a:gd name="connsiteY14737" fmla="*/ 1259975 h 6557032"/>
              <a:gd name="connsiteX14738" fmla="*/ 409989 w 4610101"/>
              <a:gd name="connsiteY14738" fmla="*/ 1254508 h 6557032"/>
              <a:gd name="connsiteX14739" fmla="*/ 424567 w 4610101"/>
              <a:gd name="connsiteY14739" fmla="*/ 1261797 h 6557032"/>
              <a:gd name="connsiteX14740" fmla="*/ 428211 w 4610101"/>
              <a:gd name="connsiteY14740" fmla="*/ 1263619 h 6557032"/>
              <a:gd name="connsiteX14741" fmla="*/ 426726 w 4610101"/>
              <a:gd name="connsiteY14741" fmla="*/ 1261797 h 6557032"/>
              <a:gd name="connsiteX14742" fmla="*/ 430034 w 4610101"/>
              <a:gd name="connsiteY14742" fmla="*/ 1261797 h 6557032"/>
              <a:gd name="connsiteX14743" fmla="*/ 428211 w 4610101"/>
              <a:gd name="connsiteY14743" fmla="*/ 1258152 h 6557032"/>
              <a:gd name="connsiteX14744" fmla="*/ 435500 w 4610101"/>
              <a:gd name="connsiteY14744" fmla="*/ 1258152 h 6557032"/>
              <a:gd name="connsiteX14745" fmla="*/ 430490 w 4610101"/>
              <a:gd name="connsiteY14745" fmla="*/ 1257469 h 6557032"/>
              <a:gd name="connsiteX14746" fmla="*/ 428486 w 4610101"/>
              <a:gd name="connsiteY14746" fmla="*/ 1253264 h 6557032"/>
              <a:gd name="connsiteX14747" fmla="*/ 429003 w 4610101"/>
              <a:gd name="connsiteY14747" fmla="*/ 1253055 h 6557032"/>
              <a:gd name="connsiteX14748" fmla="*/ 435044 w 4610101"/>
              <a:gd name="connsiteY14748" fmla="*/ 1255875 h 6557032"/>
              <a:gd name="connsiteX14749" fmla="*/ 439145 w 4610101"/>
              <a:gd name="connsiteY14749" fmla="*/ 1250864 h 6557032"/>
              <a:gd name="connsiteX14750" fmla="*/ 429350 w 4610101"/>
              <a:gd name="connsiteY14750" fmla="*/ 1252914 h 6557032"/>
              <a:gd name="connsiteX14751" fmla="*/ 429003 w 4610101"/>
              <a:gd name="connsiteY14751" fmla="*/ 1253055 h 6557032"/>
              <a:gd name="connsiteX14752" fmla="*/ 428211 w 4610101"/>
              <a:gd name="connsiteY14752" fmla="*/ 1252686 h 6557032"/>
              <a:gd name="connsiteX14753" fmla="*/ 428486 w 4610101"/>
              <a:gd name="connsiteY14753" fmla="*/ 1253264 h 6557032"/>
              <a:gd name="connsiteX14754" fmla="*/ 421184 w 4610101"/>
              <a:gd name="connsiteY14754" fmla="*/ 1256224 h 6557032"/>
              <a:gd name="connsiteX14755" fmla="*/ 415456 w 4610101"/>
              <a:gd name="connsiteY14755" fmla="*/ 1252686 h 6557032"/>
              <a:gd name="connsiteX14756" fmla="*/ 419100 w 4610101"/>
              <a:gd name="connsiteY14756" fmla="*/ 1250864 h 6557032"/>
              <a:gd name="connsiteX14757" fmla="*/ 282438 w 4610101"/>
              <a:gd name="connsiteY14757" fmla="*/ 1250864 h 6557032"/>
              <a:gd name="connsiteX14758" fmla="*/ 269682 w 4610101"/>
              <a:gd name="connsiteY14758" fmla="*/ 1252686 h 6557032"/>
              <a:gd name="connsiteX14759" fmla="*/ 280537 w 4610101"/>
              <a:gd name="connsiteY14759" fmla="*/ 1254043 h 6557032"/>
              <a:gd name="connsiteX14760" fmla="*/ 280843 w 4610101"/>
              <a:gd name="connsiteY14760" fmla="*/ 1254280 h 6557032"/>
              <a:gd name="connsiteX14761" fmla="*/ 284259 w 4610101"/>
              <a:gd name="connsiteY14761" fmla="*/ 1254508 h 6557032"/>
              <a:gd name="connsiteX14762" fmla="*/ 280537 w 4610101"/>
              <a:gd name="connsiteY14762" fmla="*/ 1254043 h 6557032"/>
              <a:gd name="connsiteX14763" fmla="*/ 278793 w 4610101"/>
              <a:gd name="connsiteY14763" fmla="*/ 1252686 h 6557032"/>
              <a:gd name="connsiteX14764" fmla="*/ 282438 w 4610101"/>
              <a:gd name="connsiteY14764" fmla="*/ 1250864 h 6557032"/>
              <a:gd name="connsiteX14765" fmla="*/ 1263054 w 4610101"/>
              <a:gd name="connsiteY14765" fmla="*/ 1250832 h 6557032"/>
              <a:gd name="connsiteX14766" fmla="*/ 1263487 w 4610101"/>
              <a:gd name="connsiteY14766" fmla="*/ 1251104 h 6557032"/>
              <a:gd name="connsiteX14767" fmla="*/ 1262767 w 4610101"/>
              <a:gd name="connsiteY14767" fmla="*/ 1250864 h 6557032"/>
              <a:gd name="connsiteX14768" fmla="*/ 320931 w 4610101"/>
              <a:gd name="connsiteY14768" fmla="*/ 1250636 h 6557032"/>
              <a:gd name="connsiteX14769" fmla="*/ 311592 w 4610101"/>
              <a:gd name="connsiteY14769" fmla="*/ 1252686 h 6557032"/>
              <a:gd name="connsiteX14770" fmla="*/ 320703 w 4610101"/>
              <a:gd name="connsiteY14770" fmla="*/ 1258152 h 6557032"/>
              <a:gd name="connsiteX14771" fmla="*/ 331636 w 4610101"/>
              <a:gd name="connsiteY14771" fmla="*/ 1252686 h 6557032"/>
              <a:gd name="connsiteX14772" fmla="*/ 320931 w 4610101"/>
              <a:gd name="connsiteY14772" fmla="*/ 1250636 h 6557032"/>
              <a:gd name="connsiteX14773" fmla="*/ 1177125 w 4610101"/>
              <a:gd name="connsiteY14773" fmla="*/ 1249511 h 6557032"/>
              <a:gd name="connsiteX14774" fmla="*/ 1177125 w 4610101"/>
              <a:gd name="connsiteY14774" fmla="*/ 1250864 h 6557032"/>
              <a:gd name="connsiteX14775" fmla="*/ 1176601 w 4610101"/>
              <a:gd name="connsiteY14775" fmla="*/ 1250340 h 6557032"/>
              <a:gd name="connsiteX14776" fmla="*/ 3281736 w 4610101"/>
              <a:gd name="connsiteY14776" fmla="*/ 1249042 h 6557032"/>
              <a:gd name="connsiteX14777" fmla="*/ 3258047 w 4610101"/>
              <a:gd name="connsiteY14777" fmla="*/ 1270908 h 6557032"/>
              <a:gd name="connsiteX14778" fmla="*/ 3268980 w 4610101"/>
              <a:gd name="connsiteY14778" fmla="*/ 1265441 h 6557032"/>
              <a:gd name="connsiteX14779" fmla="*/ 3270803 w 4610101"/>
              <a:gd name="connsiteY14779" fmla="*/ 1274552 h 6557032"/>
              <a:gd name="connsiteX14780" fmla="*/ 3254403 w 4610101"/>
              <a:gd name="connsiteY14780" fmla="*/ 1272730 h 6557032"/>
              <a:gd name="connsiteX14781" fmla="*/ 3258047 w 4610101"/>
              <a:gd name="connsiteY14781" fmla="*/ 1285485 h 6557032"/>
              <a:gd name="connsiteX14782" fmla="*/ 3241648 w 4610101"/>
              <a:gd name="connsiteY14782" fmla="*/ 1289129 h 6557032"/>
              <a:gd name="connsiteX14783" fmla="*/ 3254403 w 4610101"/>
              <a:gd name="connsiteY14783" fmla="*/ 1290951 h 6557032"/>
              <a:gd name="connsiteX14784" fmla="*/ 3270803 w 4610101"/>
              <a:gd name="connsiteY14784" fmla="*/ 1298240 h 6557032"/>
              <a:gd name="connsiteX14785" fmla="*/ 3268980 w 4610101"/>
              <a:gd name="connsiteY14785" fmla="*/ 1292774 h 6557032"/>
              <a:gd name="connsiteX14786" fmla="*/ 3263514 w 4610101"/>
              <a:gd name="connsiteY14786" fmla="*/ 1298240 h 6557032"/>
              <a:gd name="connsiteX14787" fmla="*/ 3261692 w 4610101"/>
              <a:gd name="connsiteY14787" fmla="*/ 1289129 h 6557032"/>
              <a:gd name="connsiteX14788" fmla="*/ 3268980 w 4610101"/>
              <a:gd name="connsiteY14788" fmla="*/ 1289129 h 6557032"/>
              <a:gd name="connsiteX14789" fmla="*/ 3261692 w 4610101"/>
              <a:gd name="connsiteY14789" fmla="*/ 1287307 h 6557032"/>
              <a:gd name="connsiteX14790" fmla="*/ 3285380 w 4610101"/>
              <a:gd name="connsiteY14790" fmla="*/ 1258152 h 6557032"/>
              <a:gd name="connsiteX14791" fmla="*/ 3281736 w 4610101"/>
              <a:gd name="connsiteY14791" fmla="*/ 1265441 h 6557032"/>
              <a:gd name="connsiteX14792" fmla="*/ 3274447 w 4610101"/>
              <a:gd name="connsiteY14792" fmla="*/ 1258152 h 6557032"/>
              <a:gd name="connsiteX14793" fmla="*/ 3283558 w 4610101"/>
              <a:gd name="connsiteY14793" fmla="*/ 1256330 h 6557032"/>
              <a:gd name="connsiteX14794" fmla="*/ 3281736 w 4610101"/>
              <a:gd name="connsiteY14794" fmla="*/ 1249042 h 6557032"/>
              <a:gd name="connsiteX14795" fmla="*/ 1175303 w 4610101"/>
              <a:gd name="connsiteY14795" fmla="*/ 1249042 h 6557032"/>
              <a:gd name="connsiteX14796" fmla="*/ 1176601 w 4610101"/>
              <a:gd name="connsiteY14796" fmla="*/ 1250340 h 6557032"/>
              <a:gd name="connsiteX14797" fmla="*/ 1173082 w 4610101"/>
              <a:gd name="connsiteY14797" fmla="*/ 1255900 h 6557032"/>
              <a:gd name="connsiteX14798" fmla="*/ 1173937 w 4610101"/>
              <a:gd name="connsiteY14798" fmla="*/ 1252914 h 6557032"/>
              <a:gd name="connsiteX14799" fmla="*/ 1174559 w 4610101"/>
              <a:gd name="connsiteY14799" fmla="*/ 1249488 h 6557032"/>
              <a:gd name="connsiteX14800" fmla="*/ 1089660 w 4610101"/>
              <a:gd name="connsiteY14800" fmla="*/ 1249042 h 6557032"/>
              <a:gd name="connsiteX14801" fmla="*/ 1089660 w 4610101"/>
              <a:gd name="connsiteY14801" fmla="*/ 1254508 h 6557032"/>
              <a:gd name="connsiteX14802" fmla="*/ 1093305 w 4610101"/>
              <a:gd name="connsiteY14802" fmla="*/ 1254508 h 6557032"/>
              <a:gd name="connsiteX14803" fmla="*/ 1089660 w 4610101"/>
              <a:gd name="connsiteY14803" fmla="*/ 1249042 h 6557032"/>
              <a:gd name="connsiteX14804" fmla="*/ 1014951 w 4610101"/>
              <a:gd name="connsiteY14804" fmla="*/ 1249042 h 6557032"/>
              <a:gd name="connsiteX14805" fmla="*/ 1016774 w 4610101"/>
              <a:gd name="connsiteY14805" fmla="*/ 1254508 h 6557032"/>
              <a:gd name="connsiteX14806" fmla="*/ 1013129 w 4610101"/>
              <a:gd name="connsiteY14806" fmla="*/ 1250864 h 6557032"/>
              <a:gd name="connsiteX14807" fmla="*/ 1002196 w 4610101"/>
              <a:gd name="connsiteY14807" fmla="*/ 1258152 h 6557032"/>
              <a:gd name="connsiteX14808" fmla="*/ 1034995 w 4610101"/>
              <a:gd name="connsiteY14808" fmla="*/ 1258152 h 6557032"/>
              <a:gd name="connsiteX14809" fmla="*/ 1014951 w 4610101"/>
              <a:gd name="connsiteY14809" fmla="*/ 1249042 h 6557032"/>
              <a:gd name="connsiteX14810" fmla="*/ 748914 w 4610101"/>
              <a:gd name="connsiteY14810" fmla="*/ 1249042 h 6557032"/>
              <a:gd name="connsiteX14811" fmla="*/ 743447 w 4610101"/>
              <a:gd name="connsiteY14811" fmla="*/ 1250864 h 6557032"/>
              <a:gd name="connsiteX14812" fmla="*/ 748914 w 4610101"/>
              <a:gd name="connsiteY14812" fmla="*/ 1249042 h 6557032"/>
              <a:gd name="connsiteX14813" fmla="*/ 501098 w 4610101"/>
              <a:gd name="connsiteY14813" fmla="*/ 1249042 h 6557032"/>
              <a:gd name="connsiteX14814" fmla="*/ 502920 w 4610101"/>
              <a:gd name="connsiteY14814" fmla="*/ 1252686 h 6557032"/>
              <a:gd name="connsiteX14815" fmla="*/ 501098 w 4610101"/>
              <a:gd name="connsiteY14815" fmla="*/ 1249042 h 6557032"/>
              <a:gd name="connsiteX14816" fmla="*/ 699716 w 4610101"/>
              <a:gd name="connsiteY14816" fmla="*/ 1248814 h 6557032"/>
              <a:gd name="connsiteX14817" fmla="*/ 694249 w 4610101"/>
              <a:gd name="connsiteY14817" fmla="*/ 1250864 h 6557032"/>
              <a:gd name="connsiteX14818" fmla="*/ 705182 w 4610101"/>
              <a:gd name="connsiteY14818" fmla="*/ 1250864 h 6557032"/>
              <a:gd name="connsiteX14819" fmla="*/ 699716 w 4610101"/>
              <a:gd name="connsiteY14819" fmla="*/ 1248814 h 6557032"/>
              <a:gd name="connsiteX14820" fmla="*/ 2985177 w 4610101"/>
              <a:gd name="connsiteY14820" fmla="*/ 1248586 h 6557032"/>
              <a:gd name="connsiteX14821" fmla="*/ 2988366 w 4610101"/>
              <a:gd name="connsiteY14821" fmla="*/ 1250864 h 6557032"/>
              <a:gd name="connsiteX14822" fmla="*/ 2981142 w 4610101"/>
              <a:gd name="connsiteY14822" fmla="*/ 1252621 h 6557032"/>
              <a:gd name="connsiteX14823" fmla="*/ 1156397 w 4610101"/>
              <a:gd name="connsiteY14823" fmla="*/ 1248358 h 6557032"/>
              <a:gd name="connsiteX14824" fmla="*/ 1157081 w 4610101"/>
              <a:gd name="connsiteY14824" fmla="*/ 1252686 h 6557032"/>
              <a:gd name="connsiteX14825" fmla="*/ 1162547 w 4610101"/>
              <a:gd name="connsiteY14825" fmla="*/ 1250864 h 6557032"/>
              <a:gd name="connsiteX14826" fmla="*/ 1156397 w 4610101"/>
              <a:gd name="connsiteY14826" fmla="*/ 1248358 h 6557032"/>
              <a:gd name="connsiteX14827" fmla="*/ 3003577 w 4610101"/>
              <a:gd name="connsiteY14827" fmla="*/ 1248011 h 6557032"/>
              <a:gd name="connsiteX14828" fmla="*/ 2999300 w 4610101"/>
              <a:gd name="connsiteY14828" fmla="*/ 1250863 h 6557032"/>
              <a:gd name="connsiteX14829" fmla="*/ 3002260 w 4610101"/>
              <a:gd name="connsiteY14829" fmla="*/ 1248358 h 6557032"/>
              <a:gd name="connsiteX14830" fmla="*/ 736158 w 4610101"/>
              <a:gd name="connsiteY14830" fmla="*/ 1247903 h 6557032"/>
              <a:gd name="connsiteX14831" fmla="*/ 730692 w 4610101"/>
              <a:gd name="connsiteY14831" fmla="*/ 1250864 h 6557032"/>
              <a:gd name="connsiteX14832" fmla="*/ 741626 w 4610101"/>
              <a:gd name="connsiteY14832" fmla="*/ 1249042 h 6557032"/>
              <a:gd name="connsiteX14833" fmla="*/ 736158 w 4610101"/>
              <a:gd name="connsiteY14833" fmla="*/ 1247903 h 6557032"/>
              <a:gd name="connsiteX14834" fmla="*/ 395184 w 4610101"/>
              <a:gd name="connsiteY14834" fmla="*/ 1247902 h 6557032"/>
              <a:gd name="connsiteX14835" fmla="*/ 393590 w 4610101"/>
              <a:gd name="connsiteY14835" fmla="*/ 1250864 h 6557032"/>
              <a:gd name="connsiteX14836" fmla="*/ 400879 w 4610101"/>
              <a:gd name="connsiteY14836" fmla="*/ 1249042 h 6557032"/>
              <a:gd name="connsiteX14837" fmla="*/ 395184 w 4610101"/>
              <a:gd name="connsiteY14837" fmla="*/ 1247902 h 6557032"/>
              <a:gd name="connsiteX14838" fmla="*/ 3268980 w 4610101"/>
              <a:gd name="connsiteY14838" fmla="*/ 1247219 h 6557032"/>
              <a:gd name="connsiteX14839" fmla="*/ 3265336 w 4610101"/>
              <a:gd name="connsiteY14839" fmla="*/ 1252686 h 6557032"/>
              <a:gd name="connsiteX14840" fmla="*/ 3272625 w 4610101"/>
              <a:gd name="connsiteY14840" fmla="*/ 1249042 h 6557032"/>
              <a:gd name="connsiteX14841" fmla="*/ 3268980 w 4610101"/>
              <a:gd name="connsiteY14841" fmla="*/ 1247219 h 6557032"/>
              <a:gd name="connsiteX14842" fmla="*/ 3192449 w 4610101"/>
              <a:gd name="connsiteY14842" fmla="*/ 1247219 h 6557032"/>
              <a:gd name="connsiteX14843" fmla="*/ 3190627 w 4610101"/>
              <a:gd name="connsiteY14843" fmla="*/ 1252686 h 6557032"/>
              <a:gd name="connsiteX14844" fmla="*/ 3196093 w 4610101"/>
              <a:gd name="connsiteY14844" fmla="*/ 1254508 h 6557032"/>
              <a:gd name="connsiteX14845" fmla="*/ 3192449 w 4610101"/>
              <a:gd name="connsiteY14845" fmla="*/ 1247219 h 6557032"/>
              <a:gd name="connsiteX14846" fmla="*/ 3170583 w 4610101"/>
              <a:gd name="connsiteY14846" fmla="*/ 1247219 h 6557032"/>
              <a:gd name="connsiteX14847" fmla="*/ 3177872 w 4610101"/>
              <a:gd name="connsiteY14847" fmla="*/ 1258152 h 6557032"/>
              <a:gd name="connsiteX14848" fmla="*/ 3170583 w 4610101"/>
              <a:gd name="connsiteY14848" fmla="*/ 1247219 h 6557032"/>
              <a:gd name="connsiteX14849" fmla="*/ 2445358 w 4610101"/>
              <a:gd name="connsiteY14849" fmla="*/ 1247219 h 6557032"/>
              <a:gd name="connsiteX14850" fmla="*/ 2439891 w 4610101"/>
              <a:gd name="connsiteY14850" fmla="*/ 1261797 h 6557032"/>
              <a:gd name="connsiteX14851" fmla="*/ 2441713 w 4610101"/>
              <a:gd name="connsiteY14851" fmla="*/ 1259975 h 6557032"/>
              <a:gd name="connsiteX14852" fmla="*/ 2439891 w 4610101"/>
              <a:gd name="connsiteY14852" fmla="*/ 1270908 h 6557032"/>
              <a:gd name="connsiteX14853" fmla="*/ 2449002 w 4610101"/>
              <a:gd name="connsiteY14853" fmla="*/ 1270908 h 6557032"/>
              <a:gd name="connsiteX14854" fmla="*/ 2459935 w 4610101"/>
              <a:gd name="connsiteY14854" fmla="*/ 1265441 h 6557032"/>
              <a:gd name="connsiteX14855" fmla="*/ 2459935 w 4610101"/>
              <a:gd name="connsiteY14855" fmla="*/ 1270908 h 6557032"/>
              <a:gd name="connsiteX14856" fmla="*/ 2465402 w 4610101"/>
              <a:gd name="connsiteY14856" fmla="*/ 1270908 h 6557032"/>
              <a:gd name="connsiteX14857" fmla="*/ 2469046 w 4610101"/>
              <a:gd name="connsiteY14857" fmla="*/ 1261797 h 6557032"/>
              <a:gd name="connsiteX14858" fmla="*/ 2445358 w 4610101"/>
              <a:gd name="connsiteY14858" fmla="*/ 1247219 h 6557032"/>
              <a:gd name="connsiteX14859" fmla="*/ 2432603 w 4610101"/>
              <a:gd name="connsiteY14859" fmla="*/ 1247219 h 6557032"/>
              <a:gd name="connsiteX14860" fmla="*/ 2432603 w 4610101"/>
              <a:gd name="connsiteY14860" fmla="*/ 1258152 h 6557032"/>
              <a:gd name="connsiteX14861" fmla="*/ 2436247 w 4610101"/>
              <a:gd name="connsiteY14861" fmla="*/ 1250864 h 6557032"/>
              <a:gd name="connsiteX14862" fmla="*/ 2432603 w 4610101"/>
              <a:gd name="connsiteY14862" fmla="*/ 1247219 h 6557032"/>
              <a:gd name="connsiteX14863" fmla="*/ 1324721 w 4610101"/>
              <a:gd name="connsiteY14863" fmla="*/ 1247219 h 6557032"/>
              <a:gd name="connsiteX14864" fmla="*/ 1321077 w 4610101"/>
              <a:gd name="connsiteY14864" fmla="*/ 1258152 h 6557032"/>
              <a:gd name="connsiteX14865" fmla="*/ 1326543 w 4610101"/>
              <a:gd name="connsiteY14865" fmla="*/ 1249042 h 6557032"/>
              <a:gd name="connsiteX14866" fmla="*/ 1324721 w 4610101"/>
              <a:gd name="connsiteY14866" fmla="*/ 1247219 h 6557032"/>
              <a:gd name="connsiteX14867" fmla="*/ 1257300 w 4610101"/>
              <a:gd name="connsiteY14867" fmla="*/ 1247219 h 6557032"/>
              <a:gd name="connsiteX14868" fmla="*/ 1255478 w 4610101"/>
              <a:gd name="connsiteY14868" fmla="*/ 1258152 h 6557032"/>
              <a:gd name="connsiteX14869" fmla="*/ 1275522 w 4610101"/>
              <a:gd name="connsiteY14869" fmla="*/ 1263619 h 6557032"/>
              <a:gd name="connsiteX14870" fmla="*/ 1267095 w 4610101"/>
              <a:gd name="connsiteY14870" fmla="*/ 1253369 h 6557032"/>
              <a:gd name="connsiteX14871" fmla="*/ 1263487 w 4610101"/>
              <a:gd name="connsiteY14871" fmla="*/ 1251104 h 6557032"/>
              <a:gd name="connsiteX14872" fmla="*/ 1268233 w 4610101"/>
              <a:gd name="connsiteY14872" fmla="*/ 1252686 h 6557032"/>
              <a:gd name="connsiteX14873" fmla="*/ 1266867 w 4610101"/>
              <a:gd name="connsiteY14873" fmla="*/ 1250408 h 6557032"/>
              <a:gd name="connsiteX14874" fmla="*/ 1263054 w 4610101"/>
              <a:gd name="connsiteY14874" fmla="*/ 1250832 h 6557032"/>
              <a:gd name="connsiteX14875" fmla="*/ 1058683 w 4610101"/>
              <a:gd name="connsiteY14875" fmla="*/ 1247219 h 6557032"/>
              <a:gd name="connsiteX14876" fmla="*/ 1047750 w 4610101"/>
              <a:gd name="connsiteY14876" fmla="*/ 1261797 h 6557032"/>
              <a:gd name="connsiteX14877" fmla="*/ 1069616 w 4610101"/>
              <a:gd name="connsiteY14877" fmla="*/ 1258152 h 6557032"/>
              <a:gd name="connsiteX14878" fmla="*/ 1058683 w 4610101"/>
              <a:gd name="connsiteY14878" fmla="*/ 1247219 h 6557032"/>
              <a:gd name="connsiteX14879" fmla="*/ 1042284 w 4610101"/>
              <a:gd name="connsiteY14879" fmla="*/ 1247219 h 6557032"/>
              <a:gd name="connsiteX14880" fmla="*/ 1033173 w 4610101"/>
              <a:gd name="connsiteY14880" fmla="*/ 1252686 h 6557032"/>
              <a:gd name="connsiteX14881" fmla="*/ 1038639 w 4610101"/>
              <a:gd name="connsiteY14881" fmla="*/ 1256330 h 6557032"/>
              <a:gd name="connsiteX14882" fmla="*/ 1047750 w 4610101"/>
              <a:gd name="connsiteY14882" fmla="*/ 1250864 h 6557032"/>
              <a:gd name="connsiteX14883" fmla="*/ 1040462 w 4610101"/>
              <a:gd name="connsiteY14883" fmla="*/ 1252686 h 6557032"/>
              <a:gd name="connsiteX14884" fmla="*/ 1044106 w 4610101"/>
              <a:gd name="connsiteY14884" fmla="*/ 1249042 h 6557032"/>
              <a:gd name="connsiteX14885" fmla="*/ 1042284 w 4610101"/>
              <a:gd name="connsiteY14885" fmla="*/ 1247219 h 6557032"/>
              <a:gd name="connsiteX14886" fmla="*/ 754380 w 4610101"/>
              <a:gd name="connsiteY14886" fmla="*/ 1247219 h 6557032"/>
              <a:gd name="connsiteX14887" fmla="*/ 758025 w 4610101"/>
              <a:gd name="connsiteY14887" fmla="*/ 1254508 h 6557032"/>
              <a:gd name="connsiteX14888" fmla="*/ 758025 w 4610101"/>
              <a:gd name="connsiteY14888" fmla="*/ 1249042 h 6557032"/>
              <a:gd name="connsiteX14889" fmla="*/ 754380 w 4610101"/>
              <a:gd name="connsiteY14889" fmla="*/ 1247219 h 6557032"/>
              <a:gd name="connsiteX14890" fmla="*/ 604963 w 4610101"/>
              <a:gd name="connsiteY14890" fmla="*/ 1247219 h 6557032"/>
              <a:gd name="connsiteX14891" fmla="*/ 601318 w 4610101"/>
              <a:gd name="connsiteY14891" fmla="*/ 1250864 h 6557032"/>
              <a:gd name="connsiteX14892" fmla="*/ 604963 w 4610101"/>
              <a:gd name="connsiteY14892" fmla="*/ 1247219 h 6557032"/>
              <a:gd name="connsiteX14893" fmla="*/ 524786 w 4610101"/>
              <a:gd name="connsiteY14893" fmla="*/ 1247219 h 6557032"/>
              <a:gd name="connsiteX14894" fmla="*/ 526609 w 4610101"/>
              <a:gd name="connsiteY14894" fmla="*/ 1250864 h 6557032"/>
              <a:gd name="connsiteX14895" fmla="*/ 524786 w 4610101"/>
              <a:gd name="connsiteY14895" fmla="*/ 1247219 h 6557032"/>
              <a:gd name="connsiteX14896" fmla="*/ 335280 w 4610101"/>
              <a:gd name="connsiteY14896" fmla="*/ 1247219 h 6557032"/>
              <a:gd name="connsiteX14897" fmla="*/ 355324 w 4610101"/>
              <a:gd name="connsiteY14897" fmla="*/ 1247219 h 6557032"/>
              <a:gd name="connsiteX14898" fmla="*/ 335280 w 4610101"/>
              <a:gd name="connsiteY14898" fmla="*/ 1247219 h 6557032"/>
              <a:gd name="connsiteX14899" fmla="*/ 264216 w 4610101"/>
              <a:gd name="connsiteY14899" fmla="*/ 1247219 h 6557032"/>
              <a:gd name="connsiteX14900" fmla="*/ 275149 w 4610101"/>
              <a:gd name="connsiteY14900" fmla="*/ 1249042 h 6557032"/>
              <a:gd name="connsiteX14901" fmla="*/ 264216 w 4610101"/>
              <a:gd name="connsiteY14901" fmla="*/ 1247219 h 6557032"/>
              <a:gd name="connsiteX14902" fmla="*/ 3113185 w 4610101"/>
              <a:gd name="connsiteY14902" fmla="*/ 1246764 h 6557032"/>
              <a:gd name="connsiteX14903" fmla="*/ 3103163 w 4610101"/>
              <a:gd name="connsiteY14903" fmla="*/ 1250864 h 6557032"/>
              <a:gd name="connsiteX14904" fmla="*/ 3104985 w 4610101"/>
              <a:gd name="connsiteY14904" fmla="*/ 1256330 h 6557032"/>
              <a:gd name="connsiteX14905" fmla="*/ 3095874 w 4610101"/>
              <a:gd name="connsiteY14905" fmla="*/ 1267263 h 6557032"/>
              <a:gd name="connsiteX14906" fmla="*/ 3119562 w 4610101"/>
              <a:gd name="connsiteY14906" fmla="*/ 1261797 h 6557032"/>
              <a:gd name="connsiteX14907" fmla="*/ 3121384 w 4610101"/>
              <a:gd name="connsiteY14907" fmla="*/ 1256330 h 6557032"/>
              <a:gd name="connsiteX14908" fmla="*/ 3114096 w 4610101"/>
              <a:gd name="connsiteY14908" fmla="*/ 1252686 h 6557032"/>
              <a:gd name="connsiteX14909" fmla="*/ 3123206 w 4610101"/>
              <a:gd name="connsiteY14909" fmla="*/ 1250864 h 6557032"/>
              <a:gd name="connsiteX14910" fmla="*/ 3113185 w 4610101"/>
              <a:gd name="connsiteY14910" fmla="*/ 1246764 h 6557032"/>
              <a:gd name="connsiteX14911" fmla="*/ 361018 w 4610101"/>
              <a:gd name="connsiteY14911" fmla="*/ 1246536 h 6557032"/>
              <a:gd name="connsiteX14912" fmla="*/ 355324 w 4610101"/>
              <a:gd name="connsiteY14912" fmla="*/ 1250864 h 6557032"/>
              <a:gd name="connsiteX14913" fmla="*/ 384479 w 4610101"/>
              <a:gd name="connsiteY14913" fmla="*/ 1256330 h 6557032"/>
              <a:gd name="connsiteX14914" fmla="*/ 368079 w 4610101"/>
              <a:gd name="connsiteY14914" fmla="*/ 1249042 h 6557032"/>
              <a:gd name="connsiteX14915" fmla="*/ 361018 w 4610101"/>
              <a:gd name="connsiteY14915" fmla="*/ 1246536 h 6557032"/>
              <a:gd name="connsiteX14916" fmla="*/ 3502219 w 4610101"/>
              <a:gd name="connsiteY14916" fmla="*/ 1245397 h 6557032"/>
              <a:gd name="connsiteX14917" fmla="*/ 3514974 w 4610101"/>
              <a:gd name="connsiteY14917" fmla="*/ 1265441 h 6557032"/>
              <a:gd name="connsiteX14918" fmla="*/ 3504041 w 4610101"/>
              <a:gd name="connsiteY14918" fmla="*/ 1270908 h 6557032"/>
              <a:gd name="connsiteX14919" fmla="*/ 3507685 w 4610101"/>
              <a:gd name="connsiteY14919" fmla="*/ 1263619 h 6557032"/>
              <a:gd name="connsiteX14920" fmla="*/ 3493108 w 4610101"/>
              <a:gd name="connsiteY14920" fmla="*/ 1269085 h 6557032"/>
              <a:gd name="connsiteX14921" fmla="*/ 3493108 w 4610101"/>
              <a:gd name="connsiteY14921" fmla="*/ 1265441 h 6557032"/>
              <a:gd name="connsiteX14922" fmla="*/ 3485819 w 4610101"/>
              <a:gd name="connsiteY14922" fmla="*/ 1270908 h 6557032"/>
              <a:gd name="connsiteX14923" fmla="*/ 3489463 w 4610101"/>
              <a:gd name="connsiteY14923" fmla="*/ 1270908 h 6557032"/>
              <a:gd name="connsiteX14924" fmla="*/ 3500397 w 4610101"/>
              <a:gd name="connsiteY14924" fmla="*/ 1283663 h 6557032"/>
              <a:gd name="connsiteX14925" fmla="*/ 3493108 w 4610101"/>
              <a:gd name="connsiteY14925" fmla="*/ 1298240 h 6557032"/>
              <a:gd name="connsiteX14926" fmla="*/ 3485819 w 4610101"/>
              <a:gd name="connsiteY14926" fmla="*/ 1287307 h 6557032"/>
              <a:gd name="connsiteX14927" fmla="*/ 3463953 w 4610101"/>
              <a:gd name="connsiteY14927" fmla="*/ 1285485 h 6557032"/>
              <a:gd name="connsiteX14928" fmla="*/ 3461290 w 4610101"/>
              <a:gd name="connsiteY14928" fmla="*/ 1287307 h 6557032"/>
              <a:gd name="connsiteX14929" fmla="*/ 3460309 w 4610101"/>
              <a:gd name="connsiteY14929" fmla="*/ 1287307 h 6557032"/>
              <a:gd name="connsiteX14930" fmla="*/ 3467597 w 4610101"/>
              <a:gd name="connsiteY14930" fmla="*/ 1256330 h 6557032"/>
              <a:gd name="connsiteX14931" fmla="*/ 3480353 w 4610101"/>
              <a:gd name="connsiteY14931" fmla="*/ 1267263 h 6557032"/>
              <a:gd name="connsiteX14932" fmla="*/ 3502219 w 4610101"/>
              <a:gd name="connsiteY14932" fmla="*/ 1245397 h 6557032"/>
              <a:gd name="connsiteX14933" fmla="*/ 3408149 w 4610101"/>
              <a:gd name="connsiteY14933" fmla="*/ 1245397 h 6557032"/>
              <a:gd name="connsiteX14934" fmla="*/ 3403821 w 4610101"/>
              <a:gd name="connsiteY14934" fmla="*/ 1247219 h 6557032"/>
              <a:gd name="connsiteX14935" fmla="*/ 3411110 w 4610101"/>
              <a:gd name="connsiteY14935" fmla="*/ 1249042 h 6557032"/>
              <a:gd name="connsiteX14936" fmla="*/ 3408149 w 4610101"/>
              <a:gd name="connsiteY14936" fmla="*/ 1245397 h 6557032"/>
              <a:gd name="connsiteX14937" fmla="*/ 3022987 w 4610101"/>
              <a:gd name="connsiteY14937" fmla="*/ 1245397 h 6557032"/>
              <a:gd name="connsiteX14938" fmla="*/ 3012054 w 4610101"/>
              <a:gd name="connsiteY14938" fmla="*/ 1252686 h 6557032"/>
              <a:gd name="connsiteX14939" fmla="*/ 3022987 w 4610101"/>
              <a:gd name="connsiteY14939" fmla="*/ 1245397 h 6557032"/>
              <a:gd name="connsiteX14940" fmla="*/ 566697 w 4610101"/>
              <a:gd name="connsiteY14940" fmla="*/ 1245397 h 6557032"/>
              <a:gd name="connsiteX14941" fmla="*/ 555763 w 4610101"/>
              <a:gd name="connsiteY14941" fmla="*/ 1265441 h 6557032"/>
              <a:gd name="connsiteX14942" fmla="*/ 579452 w 4610101"/>
              <a:gd name="connsiteY14942" fmla="*/ 1263619 h 6557032"/>
              <a:gd name="connsiteX14943" fmla="*/ 566697 w 4610101"/>
              <a:gd name="connsiteY14943" fmla="*/ 1245397 h 6557032"/>
              <a:gd name="connsiteX14944" fmla="*/ 311592 w 4610101"/>
              <a:gd name="connsiteY14944" fmla="*/ 1245397 h 6557032"/>
              <a:gd name="connsiteX14945" fmla="*/ 307948 w 4610101"/>
              <a:gd name="connsiteY14945" fmla="*/ 1247219 h 6557032"/>
              <a:gd name="connsiteX14946" fmla="*/ 311592 w 4610101"/>
              <a:gd name="connsiteY14946" fmla="*/ 1245397 h 6557032"/>
              <a:gd name="connsiteX14947" fmla="*/ 158529 w 4610101"/>
              <a:gd name="connsiteY14947" fmla="*/ 1243617 h 6557032"/>
              <a:gd name="connsiteX14948" fmla="*/ 184041 w 4610101"/>
              <a:gd name="connsiteY14948" fmla="*/ 1267306 h 6557032"/>
              <a:gd name="connsiteX14949" fmla="*/ 151241 w 4610101"/>
              <a:gd name="connsiteY14949" fmla="*/ 1250906 h 6557032"/>
              <a:gd name="connsiteX14950" fmla="*/ 158529 w 4610101"/>
              <a:gd name="connsiteY14950" fmla="*/ 1247261 h 6557032"/>
              <a:gd name="connsiteX14951" fmla="*/ 3028453 w 4610101"/>
              <a:gd name="connsiteY14951" fmla="*/ 1243575 h 6557032"/>
              <a:gd name="connsiteX14952" fmla="*/ 3024809 w 4610101"/>
              <a:gd name="connsiteY14952" fmla="*/ 1252686 h 6557032"/>
              <a:gd name="connsiteX14953" fmla="*/ 3033920 w 4610101"/>
              <a:gd name="connsiteY14953" fmla="*/ 1252686 h 6557032"/>
              <a:gd name="connsiteX14954" fmla="*/ 3028453 w 4610101"/>
              <a:gd name="connsiteY14954" fmla="*/ 1243575 h 6557032"/>
              <a:gd name="connsiteX14955" fmla="*/ 1310143 w 4610101"/>
              <a:gd name="connsiteY14955" fmla="*/ 1243575 h 6557032"/>
              <a:gd name="connsiteX14956" fmla="*/ 1299210 w 4610101"/>
              <a:gd name="connsiteY14956" fmla="*/ 1245397 h 6557032"/>
              <a:gd name="connsiteX14957" fmla="*/ 1311966 w 4610101"/>
              <a:gd name="connsiteY14957" fmla="*/ 1254508 h 6557032"/>
              <a:gd name="connsiteX14958" fmla="*/ 1311966 w 4610101"/>
              <a:gd name="connsiteY14958" fmla="*/ 1249042 h 6557032"/>
              <a:gd name="connsiteX14959" fmla="*/ 1315610 w 4610101"/>
              <a:gd name="connsiteY14959" fmla="*/ 1258152 h 6557032"/>
              <a:gd name="connsiteX14960" fmla="*/ 1324721 w 4610101"/>
              <a:gd name="connsiteY14960" fmla="*/ 1243575 h 6557032"/>
              <a:gd name="connsiteX14961" fmla="*/ 1310143 w 4610101"/>
              <a:gd name="connsiteY14961" fmla="*/ 1243575 h 6557032"/>
              <a:gd name="connsiteX14962" fmla="*/ 1020418 w 4610101"/>
              <a:gd name="connsiteY14962" fmla="*/ 1243575 h 6557032"/>
              <a:gd name="connsiteX14963" fmla="*/ 1018596 w 4610101"/>
              <a:gd name="connsiteY14963" fmla="*/ 1249042 h 6557032"/>
              <a:gd name="connsiteX14964" fmla="*/ 1025884 w 4610101"/>
              <a:gd name="connsiteY14964" fmla="*/ 1249042 h 6557032"/>
              <a:gd name="connsiteX14965" fmla="*/ 1020418 w 4610101"/>
              <a:gd name="connsiteY14965" fmla="*/ 1243575 h 6557032"/>
              <a:gd name="connsiteX14966" fmla="*/ 510209 w 4610101"/>
              <a:gd name="connsiteY14966" fmla="*/ 1243575 h 6557032"/>
              <a:gd name="connsiteX14967" fmla="*/ 508387 w 4610101"/>
              <a:gd name="connsiteY14967" fmla="*/ 1247220 h 6557032"/>
              <a:gd name="connsiteX14968" fmla="*/ 508387 w 4610101"/>
              <a:gd name="connsiteY14968" fmla="*/ 1247219 h 6557032"/>
              <a:gd name="connsiteX14969" fmla="*/ 506565 w 4610101"/>
              <a:gd name="connsiteY14969" fmla="*/ 1250864 h 6557032"/>
              <a:gd name="connsiteX14970" fmla="*/ 508387 w 4610101"/>
              <a:gd name="connsiteY14970" fmla="*/ 1247220 h 6557032"/>
              <a:gd name="connsiteX14971" fmla="*/ 508387 w 4610101"/>
              <a:gd name="connsiteY14971" fmla="*/ 1257014 h 6557032"/>
              <a:gd name="connsiteX14972" fmla="*/ 513853 w 4610101"/>
              <a:gd name="connsiteY14972" fmla="*/ 1259975 h 6557032"/>
              <a:gd name="connsiteX14973" fmla="*/ 517498 w 4610101"/>
              <a:gd name="connsiteY14973" fmla="*/ 1258152 h 6557032"/>
              <a:gd name="connsiteX14974" fmla="*/ 519092 w 4610101"/>
              <a:gd name="connsiteY14974" fmla="*/ 1264985 h 6557032"/>
              <a:gd name="connsiteX14975" fmla="*/ 519940 w 4610101"/>
              <a:gd name="connsiteY14975" fmla="*/ 1265596 h 6557032"/>
              <a:gd name="connsiteX14976" fmla="*/ 519320 w 4610101"/>
              <a:gd name="connsiteY14976" fmla="*/ 1265441 h 6557032"/>
              <a:gd name="connsiteX14977" fmla="*/ 522964 w 4610101"/>
              <a:gd name="connsiteY14977" fmla="*/ 1269085 h 6557032"/>
              <a:gd name="connsiteX14978" fmla="*/ 524040 w 4610101"/>
              <a:gd name="connsiteY14978" fmla="*/ 1268547 h 6557032"/>
              <a:gd name="connsiteX14979" fmla="*/ 524786 w 4610101"/>
              <a:gd name="connsiteY14979" fmla="*/ 1269085 h 6557032"/>
              <a:gd name="connsiteX14980" fmla="*/ 543008 w 4610101"/>
              <a:gd name="connsiteY14980" fmla="*/ 1267263 h 6557032"/>
              <a:gd name="connsiteX14981" fmla="*/ 532075 w 4610101"/>
              <a:gd name="connsiteY14981" fmla="*/ 1259975 h 6557032"/>
              <a:gd name="connsiteX14982" fmla="*/ 533897 w 4610101"/>
              <a:gd name="connsiteY14982" fmla="*/ 1258152 h 6557032"/>
              <a:gd name="connsiteX14983" fmla="*/ 522964 w 4610101"/>
              <a:gd name="connsiteY14983" fmla="*/ 1254508 h 6557032"/>
              <a:gd name="connsiteX14984" fmla="*/ 526609 w 4610101"/>
              <a:gd name="connsiteY14984" fmla="*/ 1258152 h 6557032"/>
              <a:gd name="connsiteX14985" fmla="*/ 519320 w 4610101"/>
              <a:gd name="connsiteY14985" fmla="*/ 1254508 h 6557032"/>
              <a:gd name="connsiteX14986" fmla="*/ 517498 w 4610101"/>
              <a:gd name="connsiteY14986" fmla="*/ 1256330 h 6557032"/>
              <a:gd name="connsiteX14987" fmla="*/ 510209 w 4610101"/>
              <a:gd name="connsiteY14987" fmla="*/ 1243575 h 6557032"/>
              <a:gd name="connsiteX14988" fmla="*/ 484700 w 4610101"/>
              <a:gd name="connsiteY14988" fmla="*/ 1243575 h 6557032"/>
              <a:gd name="connsiteX14989" fmla="*/ 488343 w 4610101"/>
              <a:gd name="connsiteY14989" fmla="*/ 1247219 h 6557032"/>
              <a:gd name="connsiteX14990" fmla="*/ 484700 w 4610101"/>
              <a:gd name="connsiteY14990" fmla="*/ 1243575 h 6557032"/>
              <a:gd name="connsiteX14991" fmla="*/ 399056 w 4610101"/>
              <a:gd name="connsiteY14991" fmla="*/ 1243575 h 6557032"/>
              <a:gd name="connsiteX14992" fmla="*/ 417278 w 4610101"/>
              <a:gd name="connsiteY14992" fmla="*/ 1243575 h 6557032"/>
              <a:gd name="connsiteX14993" fmla="*/ 399056 w 4610101"/>
              <a:gd name="connsiteY14993" fmla="*/ 1243575 h 6557032"/>
              <a:gd name="connsiteX14994" fmla="*/ 393590 w 4610101"/>
              <a:gd name="connsiteY14994" fmla="*/ 1243575 h 6557032"/>
              <a:gd name="connsiteX14995" fmla="*/ 389946 w 4610101"/>
              <a:gd name="connsiteY14995" fmla="*/ 1249042 h 6557032"/>
              <a:gd name="connsiteX14996" fmla="*/ 382657 w 4610101"/>
              <a:gd name="connsiteY14996" fmla="*/ 1250864 h 6557032"/>
              <a:gd name="connsiteX14997" fmla="*/ 388123 w 4610101"/>
              <a:gd name="connsiteY14997" fmla="*/ 1254508 h 6557032"/>
              <a:gd name="connsiteX14998" fmla="*/ 382657 w 4610101"/>
              <a:gd name="connsiteY14998" fmla="*/ 1250864 h 6557032"/>
              <a:gd name="connsiteX14999" fmla="*/ 389946 w 4610101"/>
              <a:gd name="connsiteY14999" fmla="*/ 1254508 h 6557032"/>
              <a:gd name="connsiteX15000" fmla="*/ 389946 w 4610101"/>
              <a:gd name="connsiteY15000" fmla="*/ 1249042 h 6557032"/>
              <a:gd name="connsiteX15001" fmla="*/ 395412 w 4610101"/>
              <a:gd name="connsiteY15001" fmla="*/ 1247219 h 6557032"/>
              <a:gd name="connsiteX15002" fmla="*/ 393590 w 4610101"/>
              <a:gd name="connsiteY15002" fmla="*/ 1243575 h 6557032"/>
              <a:gd name="connsiteX15003" fmla="*/ 273327 w 4610101"/>
              <a:gd name="connsiteY15003" fmla="*/ 1243575 h 6557032"/>
              <a:gd name="connsiteX15004" fmla="*/ 280615 w 4610101"/>
              <a:gd name="connsiteY15004" fmla="*/ 1247219 h 6557032"/>
              <a:gd name="connsiteX15005" fmla="*/ 273327 w 4610101"/>
              <a:gd name="connsiteY15005" fmla="*/ 1243575 h 6557032"/>
              <a:gd name="connsiteX15006" fmla="*/ 3036426 w 4610101"/>
              <a:gd name="connsiteY15006" fmla="*/ 1243120 h 6557032"/>
              <a:gd name="connsiteX15007" fmla="*/ 3032098 w 4610101"/>
              <a:gd name="connsiteY15007" fmla="*/ 1243575 h 6557032"/>
              <a:gd name="connsiteX15008" fmla="*/ 3033920 w 4610101"/>
              <a:gd name="connsiteY15008" fmla="*/ 1249042 h 6557032"/>
              <a:gd name="connsiteX15009" fmla="*/ 3039387 w 4610101"/>
              <a:gd name="connsiteY15009" fmla="*/ 1245397 h 6557032"/>
              <a:gd name="connsiteX15010" fmla="*/ 3036426 w 4610101"/>
              <a:gd name="connsiteY15010" fmla="*/ 1243120 h 6557032"/>
              <a:gd name="connsiteX15011" fmla="*/ 322297 w 4610101"/>
              <a:gd name="connsiteY15011" fmla="*/ 1242892 h 6557032"/>
              <a:gd name="connsiteX15012" fmla="*/ 315236 w 4610101"/>
              <a:gd name="connsiteY15012" fmla="*/ 1249042 h 6557032"/>
              <a:gd name="connsiteX15013" fmla="*/ 333458 w 4610101"/>
              <a:gd name="connsiteY15013" fmla="*/ 1249042 h 6557032"/>
              <a:gd name="connsiteX15014" fmla="*/ 322297 w 4610101"/>
              <a:gd name="connsiteY15014" fmla="*/ 1242892 h 6557032"/>
              <a:gd name="connsiteX15015" fmla="*/ 303165 w 4610101"/>
              <a:gd name="connsiteY15015" fmla="*/ 1242208 h 6557032"/>
              <a:gd name="connsiteX15016" fmla="*/ 298837 w 4610101"/>
              <a:gd name="connsiteY15016" fmla="*/ 1243575 h 6557032"/>
              <a:gd name="connsiteX15017" fmla="*/ 306126 w 4610101"/>
              <a:gd name="connsiteY15017" fmla="*/ 1243575 h 6557032"/>
              <a:gd name="connsiteX15018" fmla="*/ 303165 w 4610101"/>
              <a:gd name="connsiteY15018" fmla="*/ 1242208 h 6557032"/>
              <a:gd name="connsiteX15019" fmla="*/ 1257300 w 4610101"/>
              <a:gd name="connsiteY15019" fmla="*/ 1241753 h 6557032"/>
              <a:gd name="connsiteX15020" fmla="*/ 1255478 w 4610101"/>
              <a:gd name="connsiteY15020" fmla="*/ 1243575 h 6557032"/>
              <a:gd name="connsiteX15021" fmla="*/ 1264589 w 4610101"/>
              <a:gd name="connsiteY15021" fmla="*/ 1247219 h 6557032"/>
              <a:gd name="connsiteX15022" fmla="*/ 1262767 w 4610101"/>
              <a:gd name="connsiteY15022" fmla="*/ 1241753 h 6557032"/>
              <a:gd name="connsiteX15023" fmla="*/ 1257300 w 4610101"/>
              <a:gd name="connsiteY15023" fmla="*/ 1241753 h 6557032"/>
              <a:gd name="connsiteX15024" fmla="*/ 1142503 w 4610101"/>
              <a:gd name="connsiteY15024" fmla="*/ 1241753 h 6557032"/>
              <a:gd name="connsiteX15025" fmla="*/ 1142503 w 4610101"/>
              <a:gd name="connsiteY15025" fmla="*/ 1252686 h 6557032"/>
              <a:gd name="connsiteX15026" fmla="*/ 1146148 w 4610101"/>
              <a:gd name="connsiteY15026" fmla="*/ 1249042 h 6557032"/>
              <a:gd name="connsiteX15027" fmla="*/ 1142503 w 4610101"/>
              <a:gd name="connsiteY15027" fmla="*/ 1241753 h 6557032"/>
              <a:gd name="connsiteX15028" fmla="*/ 579452 w 4610101"/>
              <a:gd name="connsiteY15028" fmla="*/ 1241753 h 6557032"/>
              <a:gd name="connsiteX15029" fmla="*/ 581274 w 4610101"/>
              <a:gd name="connsiteY15029" fmla="*/ 1245397 h 6557032"/>
              <a:gd name="connsiteX15030" fmla="*/ 583096 w 4610101"/>
              <a:gd name="connsiteY15030" fmla="*/ 1241753 h 6557032"/>
              <a:gd name="connsiteX15031" fmla="*/ 579452 w 4610101"/>
              <a:gd name="connsiteY15031" fmla="*/ 1241753 h 6557032"/>
              <a:gd name="connsiteX15032" fmla="*/ 462832 w 4610101"/>
              <a:gd name="connsiteY15032" fmla="*/ 1241753 h 6557032"/>
              <a:gd name="connsiteX15033" fmla="*/ 451899 w 4610101"/>
              <a:gd name="connsiteY15033" fmla="*/ 1243575 h 6557032"/>
              <a:gd name="connsiteX15034" fmla="*/ 462832 w 4610101"/>
              <a:gd name="connsiteY15034" fmla="*/ 1241753 h 6557032"/>
              <a:gd name="connsiteX15035" fmla="*/ 125730 w 4610101"/>
              <a:gd name="connsiteY15035" fmla="*/ 1241753 h 6557032"/>
              <a:gd name="connsiteX15036" fmla="*/ 147165 w 4610101"/>
              <a:gd name="connsiteY15036" fmla="*/ 1258681 h 6557032"/>
              <a:gd name="connsiteX15037" fmla="*/ 147596 w 4610101"/>
              <a:gd name="connsiteY15037" fmla="*/ 1259975 h 6557032"/>
              <a:gd name="connsiteX15038" fmla="*/ 125730 w 4610101"/>
              <a:gd name="connsiteY15038" fmla="*/ 1241753 h 6557032"/>
              <a:gd name="connsiteX15039" fmla="*/ 1125872 w 4610101"/>
              <a:gd name="connsiteY15039" fmla="*/ 1241695 h 6557032"/>
              <a:gd name="connsiteX15040" fmla="*/ 1126104 w 4610101"/>
              <a:gd name="connsiteY15040" fmla="*/ 1241753 h 6557032"/>
              <a:gd name="connsiteX15041" fmla="*/ 1125834 w 4610101"/>
              <a:gd name="connsiteY15041" fmla="*/ 1242293 h 6557032"/>
              <a:gd name="connsiteX15042" fmla="*/ 2525533 w 4610101"/>
              <a:gd name="connsiteY15042" fmla="*/ 1240003 h 6557032"/>
              <a:gd name="connsiteX15043" fmla="*/ 2541933 w 4610101"/>
              <a:gd name="connsiteY15043" fmla="*/ 1254580 h 6557032"/>
              <a:gd name="connsiteX15044" fmla="*/ 2525533 w 4610101"/>
              <a:gd name="connsiteY15044" fmla="*/ 1256403 h 6557032"/>
              <a:gd name="connsiteX15045" fmla="*/ 3392888 w 4610101"/>
              <a:gd name="connsiteY15045" fmla="*/ 1239931 h 6557032"/>
              <a:gd name="connsiteX15046" fmla="*/ 3387422 w 4610101"/>
              <a:gd name="connsiteY15046" fmla="*/ 1245397 h 6557032"/>
              <a:gd name="connsiteX15047" fmla="*/ 3392888 w 4610101"/>
              <a:gd name="connsiteY15047" fmla="*/ 1245397 h 6557032"/>
              <a:gd name="connsiteX15048" fmla="*/ 3392888 w 4610101"/>
              <a:gd name="connsiteY15048" fmla="*/ 1239931 h 6557032"/>
              <a:gd name="connsiteX15049" fmla="*/ 3298135 w 4610101"/>
              <a:gd name="connsiteY15049" fmla="*/ 1239931 h 6557032"/>
              <a:gd name="connsiteX15050" fmla="*/ 3292669 w 4610101"/>
              <a:gd name="connsiteY15050" fmla="*/ 1250864 h 6557032"/>
              <a:gd name="connsiteX15051" fmla="*/ 3296313 w 4610101"/>
              <a:gd name="connsiteY15051" fmla="*/ 1252686 h 6557032"/>
              <a:gd name="connsiteX15052" fmla="*/ 3299957 w 4610101"/>
              <a:gd name="connsiteY15052" fmla="*/ 1274552 h 6557032"/>
              <a:gd name="connsiteX15053" fmla="*/ 3290847 w 4610101"/>
              <a:gd name="connsiteY15053" fmla="*/ 1278196 h 6557032"/>
              <a:gd name="connsiteX15054" fmla="*/ 3294491 w 4610101"/>
              <a:gd name="connsiteY15054" fmla="*/ 1285485 h 6557032"/>
              <a:gd name="connsiteX15055" fmla="*/ 3299957 w 4610101"/>
              <a:gd name="connsiteY15055" fmla="*/ 1281841 h 6557032"/>
              <a:gd name="connsiteX15056" fmla="*/ 3299957 w 4610101"/>
              <a:gd name="connsiteY15056" fmla="*/ 1274552 h 6557032"/>
              <a:gd name="connsiteX15057" fmla="*/ 3309068 w 4610101"/>
              <a:gd name="connsiteY15057" fmla="*/ 1289129 h 6557032"/>
              <a:gd name="connsiteX15058" fmla="*/ 3314535 w 4610101"/>
              <a:gd name="connsiteY15058" fmla="*/ 1280018 h 6557032"/>
              <a:gd name="connsiteX15059" fmla="*/ 3301780 w 4610101"/>
              <a:gd name="connsiteY15059" fmla="*/ 1249042 h 6557032"/>
              <a:gd name="connsiteX15060" fmla="*/ 3296313 w 4610101"/>
              <a:gd name="connsiteY15060" fmla="*/ 1250864 h 6557032"/>
              <a:gd name="connsiteX15061" fmla="*/ 3298135 w 4610101"/>
              <a:gd name="connsiteY15061" fmla="*/ 1239931 h 6557032"/>
              <a:gd name="connsiteX15062" fmla="*/ 3121384 w 4610101"/>
              <a:gd name="connsiteY15062" fmla="*/ 1239931 h 6557032"/>
              <a:gd name="connsiteX15063" fmla="*/ 3121384 w 4610101"/>
              <a:gd name="connsiteY15063" fmla="*/ 1245397 h 6557032"/>
              <a:gd name="connsiteX15064" fmla="*/ 3126851 w 4610101"/>
              <a:gd name="connsiteY15064" fmla="*/ 1256330 h 6557032"/>
              <a:gd name="connsiteX15065" fmla="*/ 3132317 w 4610101"/>
              <a:gd name="connsiteY15065" fmla="*/ 1254508 h 6557032"/>
              <a:gd name="connsiteX15066" fmla="*/ 3128673 w 4610101"/>
              <a:gd name="connsiteY15066" fmla="*/ 1243575 h 6557032"/>
              <a:gd name="connsiteX15067" fmla="*/ 3121384 w 4610101"/>
              <a:gd name="connsiteY15067" fmla="*/ 1239931 h 6557032"/>
              <a:gd name="connsiteX15068" fmla="*/ 1297388 w 4610101"/>
              <a:gd name="connsiteY15068" fmla="*/ 1239931 h 6557032"/>
              <a:gd name="connsiteX15069" fmla="*/ 1301033 w 4610101"/>
              <a:gd name="connsiteY15069" fmla="*/ 1243575 h 6557032"/>
              <a:gd name="connsiteX15070" fmla="*/ 1302855 w 4610101"/>
              <a:gd name="connsiteY15070" fmla="*/ 1241753 h 6557032"/>
              <a:gd name="connsiteX15071" fmla="*/ 1311966 w 4610101"/>
              <a:gd name="connsiteY15071" fmla="*/ 1241753 h 6557032"/>
              <a:gd name="connsiteX15072" fmla="*/ 1302855 w 4610101"/>
              <a:gd name="connsiteY15072" fmla="*/ 1239931 h 6557032"/>
              <a:gd name="connsiteX15073" fmla="*/ 1301033 w 4610101"/>
              <a:gd name="connsiteY15073" fmla="*/ 1241753 h 6557032"/>
              <a:gd name="connsiteX15074" fmla="*/ 1297388 w 4610101"/>
              <a:gd name="connsiteY15074" fmla="*/ 1239931 h 6557032"/>
              <a:gd name="connsiteX15075" fmla="*/ 1231790 w 4610101"/>
              <a:gd name="connsiteY15075" fmla="*/ 1239931 h 6557032"/>
              <a:gd name="connsiteX15076" fmla="*/ 1233612 w 4610101"/>
              <a:gd name="connsiteY15076" fmla="*/ 1245397 h 6557032"/>
              <a:gd name="connsiteX15077" fmla="*/ 1239080 w 4610101"/>
              <a:gd name="connsiteY15077" fmla="*/ 1245397 h 6557032"/>
              <a:gd name="connsiteX15078" fmla="*/ 1231790 w 4610101"/>
              <a:gd name="connsiteY15078" fmla="*/ 1239931 h 6557032"/>
              <a:gd name="connsiteX15079" fmla="*/ 1051395 w 4610101"/>
              <a:gd name="connsiteY15079" fmla="*/ 1239931 h 6557032"/>
              <a:gd name="connsiteX15080" fmla="*/ 1044106 w 4610101"/>
              <a:gd name="connsiteY15080" fmla="*/ 1243575 h 6557032"/>
              <a:gd name="connsiteX15081" fmla="*/ 1045929 w 4610101"/>
              <a:gd name="connsiteY15081" fmla="*/ 1247219 h 6557032"/>
              <a:gd name="connsiteX15082" fmla="*/ 1047750 w 4610101"/>
              <a:gd name="connsiteY15082" fmla="*/ 1245397 h 6557032"/>
              <a:gd name="connsiteX15083" fmla="*/ 1051395 w 4610101"/>
              <a:gd name="connsiteY15083" fmla="*/ 1249042 h 6557032"/>
              <a:gd name="connsiteX15084" fmla="*/ 1056861 w 4610101"/>
              <a:gd name="connsiteY15084" fmla="*/ 1245397 h 6557032"/>
              <a:gd name="connsiteX15085" fmla="*/ 1051395 w 4610101"/>
              <a:gd name="connsiteY15085" fmla="*/ 1239931 h 6557032"/>
              <a:gd name="connsiteX15086" fmla="*/ 1223590 w 4610101"/>
              <a:gd name="connsiteY15086" fmla="*/ 1238792 h 6557032"/>
              <a:gd name="connsiteX15087" fmla="*/ 1220858 w 4610101"/>
              <a:gd name="connsiteY15087" fmla="*/ 1239931 h 6557032"/>
              <a:gd name="connsiteX15088" fmla="*/ 1226323 w 4610101"/>
              <a:gd name="connsiteY15088" fmla="*/ 1241753 h 6557032"/>
              <a:gd name="connsiteX15089" fmla="*/ 1223590 w 4610101"/>
              <a:gd name="connsiteY15089" fmla="*/ 1238792 h 6557032"/>
              <a:gd name="connsiteX15090" fmla="*/ 1275522 w 4610101"/>
              <a:gd name="connsiteY15090" fmla="*/ 1238109 h 6557032"/>
              <a:gd name="connsiteX15091" fmla="*/ 1270056 w 4610101"/>
              <a:gd name="connsiteY15091" fmla="*/ 1241753 h 6557032"/>
              <a:gd name="connsiteX15092" fmla="*/ 1295566 w 4610101"/>
              <a:gd name="connsiteY15092" fmla="*/ 1245397 h 6557032"/>
              <a:gd name="connsiteX15093" fmla="*/ 1290100 w 4610101"/>
              <a:gd name="connsiteY15093" fmla="*/ 1252686 h 6557032"/>
              <a:gd name="connsiteX15094" fmla="*/ 1293744 w 4610101"/>
              <a:gd name="connsiteY15094" fmla="*/ 1254508 h 6557032"/>
              <a:gd name="connsiteX15095" fmla="*/ 1288277 w 4610101"/>
              <a:gd name="connsiteY15095" fmla="*/ 1256330 h 6557032"/>
              <a:gd name="connsiteX15096" fmla="*/ 1294656 w 4610101"/>
              <a:gd name="connsiteY15096" fmla="*/ 1259519 h 6557032"/>
              <a:gd name="connsiteX15097" fmla="*/ 1297388 w 4610101"/>
              <a:gd name="connsiteY15097" fmla="*/ 1259714 h 6557032"/>
              <a:gd name="connsiteX15098" fmla="*/ 1297388 w 4610101"/>
              <a:gd name="connsiteY15098" fmla="*/ 1261797 h 6557032"/>
              <a:gd name="connsiteX15099" fmla="*/ 1302855 w 4610101"/>
              <a:gd name="connsiteY15099" fmla="*/ 1265441 h 6557032"/>
              <a:gd name="connsiteX15100" fmla="*/ 1302855 w 4610101"/>
              <a:gd name="connsiteY15100" fmla="*/ 1259975 h 6557032"/>
              <a:gd name="connsiteX15101" fmla="*/ 1300867 w 4610101"/>
              <a:gd name="connsiteY15101" fmla="*/ 1259312 h 6557032"/>
              <a:gd name="connsiteX15102" fmla="*/ 1299210 w 4610101"/>
              <a:gd name="connsiteY15102" fmla="*/ 1252686 h 6557032"/>
              <a:gd name="connsiteX15103" fmla="*/ 1295566 w 4610101"/>
              <a:gd name="connsiteY15103" fmla="*/ 1254508 h 6557032"/>
              <a:gd name="connsiteX15104" fmla="*/ 1295566 w 4610101"/>
              <a:gd name="connsiteY15104" fmla="*/ 1245397 h 6557032"/>
              <a:gd name="connsiteX15105" fmla="*/ 1277344 w 4610101"/>
              <a:gd name="connsiteY15105" fmla="*/ 1243575 h 6557032"/>
              <a:gd name="connsiteX15106" fmla="*/ 1280989 w 4610101"/>
              <a:gd name="connsiteY15106" fmla="*/ 1239931 h 6557032"/>
              <a:gd name="connsiteX15107" fmla="*/ 1275522 w 4610101"/>
              <a:gd name="connsiteY15107" fmla="*/ 1238109 h 6557032"/>
              <a:gd name="connsiteX15108" fmla="*/ 2133766 w 4610101"/>
              <a:gd name="connsiteY15108" fmla="*/ 1238108 h 6557032"/>
              <a:gd name="connsiteX15109" fmla="*/ 2130122 w 4610101"/>
              <a:gd name="connsiteY15109" fmla="*/ 1243575 h 6557032"/>
              <a:gd name="connsiteX15110" fmla="*/ 2133766 w 4610101"/>
              <a:gd name="connsiteY15110" fmla="*/ 1241753 h 6557032"/>
              <a:gd name="connsiteX15111" fmla="*/ 1244545 w 4610101"/>
              <a:gd name="connsiteY15111" fmla="*/ 1238108 h 6557032"/>
              <a:gd name="connsiteX15112" fmla="*/ 1242723 w 4610101"/>
              <a:gd name="connsiteY15112" fmla="*/ 1243575 h 6557032"/>
              <a:gd name="connsiteX15113" fmla="*/ 1246367 w 4610101"/>
              <a:gd name="connsiteY15113" fmla="*/ 1239931 h 6557032"/>
              <a:gd name="connsiteX15114" fmla="*/ 1244545 w 4610101"/>
              <a:gd name="connsiteY15114" fmla="*/ 1238108 h 6557032"/>
              <a:gd name="connsiteX15115" fmla="*/ 544603 w 4610101"/>
              <a:gd name="connsiteY15115" fmla="*/ 1237653 h 6557032"/>
              <a:gd name="connsiteX15116" fmla="*/ 541495 w 4610101"/>
              <a:gd name="connsiteY15116" fmla="*/ 1239004 h 6557032"/>
              <a:gd name="connsiteX15117" fmla="*/ 539364 w 4610101"/>
              <a:gd name="connsiteY15117" fmla="*/ 1239931 h 6557032"/>
              <a:gd name="connsiteX15118" fmla="*/ 537542 w 4610101"/>
              <a:gd name="connsiteY15118" fmla="*/ 1245397 h 6557032"/>
              <a:gd name="connsiteX15119" fmla="*/ 548475 w 4610101"/>
              <a:gd name="connsiteY15119" fmla="*/ 1238108 h 6557032"/>
              <a:gd name="connsiteX15120" fmla="*/ 544603 w 4610101"/>
              <a:gd name="connsiteY15120" fmla="*/ 1237653 h 6557032"/>
              <a:gd name="connsiteX15121" fmla="*/ 579451 w 4610101"/>
              <a:gd name="connsiteY15121" fmla="*/ 1236741 h 6557032"/>
              <a:gd name="connsiteX15122" fmla="*/ 573985 w 4610101"/>
              <a:gd name="connsiteY15122" fmla="*/ 1238108 h 6557032"/>
              <a:gd name="connsiteX15123" fmla="*/ 575808 w 4610101"/>
              <a:gd name="connsiteY15123" fmla="*/ 1241753 h 6557032"/>
              <a:gd name="connsiteX15124" fmla="*/ 584919 w 4610101"/>
              <a:gd name="connsiteY15124" fmla="*/ 1238108 h 6557032"/>
              <a:gd name="connsiteX15125" fmla="*/ 579451 w 4610101"/>
              <a:gd name="connsiteY15125" fmla="*/ 1236741 h 6557032"/>
              <a:gd name="connsiteX15126" fmla="*/ 3115918 w 4610101"/>
              <a:gd name="connsiteY15126" fmla="*/ 1236286 h 6557032"/>
              <a:gd name="connsiteX15127" fmla="*/ 3114096 w 4610101"/>
              <a:gd name="connsiteY15127" fmla="*/ 1238108 h 6557032"/>
              <a:gd name="connsiteX15128" fmla="*/ 3108629 w 4610101"/>
              <a:gd name="connsiteY15128" fmla="*/ 1239931 h 6557032"/>
              <a:gd name="connsiteX15129" fmla="*/ 3115918 w 4610101"/>
              <a:gd name="connsiteY15129" fmla="*/ 1241753 h 6557032"/>
              <a:gd name="connsiteX15130" fmla="*/ 3115918 w 4610101"/>
              <a:gd name="connsiteY15130" fmla="*/ 1236286 h 6557032"/>
              <a:gd name="connsiteX15131" fmla="*/ 1328365 w 4610101"/>
              <a:gd name="connsiteY15131" fmla="*/ 1236286 h 6557032"/>
              <a:gd name="connsiteX15132" fmla="*/ 1328365 w 4610101"/>
              <a:gd name="connsiteY15132" fmla="*/ 1241753 h 6557032"/>
              <a:gd name="connsiteX15133" fmla="*/ 1328365 w 4610101"/>
              <a:gd name="connsiteY15133" fmla="*/ 1236286 h 6557032"/>
              <a:gd name="connsiteX15134" fmla="*/ 1253656 w 4610101"/>
              <a:gd name="connsiteY15134" fmla="*/ 1236286 h 6557032"/>
              <a:gd name="connsiteX15135" fmla="*/ 1251834 w 4610101"/>
              <a:gd name="connsiteY15135" fmla="*/ 1239931 h 6557032"/>
              <a:gd name="connsiteX15136" fmla="*/ 1253656 w 4610101"/>
              <a:gd name="connsiteY15136" fmla="*/ 1236286 h 6557032"/>
              <a:gd name="connsiteX15137" fmla="*/ 1100593 w 4610101"/>
              <a:gd name="connsiteY15137" fmla="*/ 1236286 h 6557032"/>
              <a:gd name="connsiteX15138" fmla="*/ 1095127 w 4610101"/>
              <a:gd name="connsiteY15138" fmla="*/ 1243575 h 6557032"/>
              <a:gd name="connsiteX15139" fmla="*/ 1111526 w 4610101"/>
              <a:gd name="connsiteY15139" fmla="*/ 1249042 h 6557032"/>
              <a:gd name="connsiteX15140" fmla="*/ 1100593 w 4610101"/>
              <a:gd name="connsiteY15140" fmla="*/ 1236286 h 6557032"/>
              <a:gd name="connsiteX15141" fmla="*/ 1045929 w 4610101"/>
              <a:gd name="connsiteY15141" fmla="*/ 1236286 h 6557032"/>
              <a:gd name="connsiteX15142" fmla="*/ 1042284 w 4610101"/>
              <a:gd name="connsiteY15142" fmla="*/ 1243575 h 6557032"/>
              <a:gd name="connsiteX15143" fmla="*/ 1049573 w 4610101"/>
              <a:gd name="connsiteY15143" fmla="*/ 1239931 h 6557032"/>
              <a:gd name="connsiteX15144" fmla="*/ 1045929 w 4610101"/>
              <a:gd name="connsiteY15144" fmla="*/ 1236286 h 6557032"/>
              <a:gd name="connsiteX15145" fmla="*/ 572163 w 4610101"/>
              <a:gd name="connsiteY15145" fmla="*/ 1236286 h 6557032"/>
              <a:gd name="connsiteX15146" fmla="*/ 568519 w 4610101"/>
              <a:gd name="connsiteY15146" fmla="*/ 1238108 h 6557032"/>
              <a:gd name="connsiteX15147" fmla="*/ 573985 w 4610101"/>
              <a:gd name="connsiteY15147" fmla="*/ 1249042 h 6557032"/>
              <a:gd name="connsiteX15148" fmla="*/ 572163 w 4610101"/>
              <a:gd name="connsiteY15148" fmla="*/ 1236286 h 6557032"/>
              <a:gd name="connsiteX15149" fmla="*/ 430262 w 4610101"/>
              <a:gd name="connsiteY15149" fmla="*/ 1235375 h 6557032"/>
              <a:gd name="connsiteX15150" fmla="*/ 424567 w 4610101"/>
              <a:gd name="connsiteY15150" fmla="*/ 1236286 h 6557032"/>
              <a:gd name="connsiteX15151" fmla="*/ 437322 w 4610101"/>
              <a:gd name="connsiteY15151" fmla="*/ 1239931 h 6557032"/>
              <a:gd name="connsiteX15152" fmla="*/ 430262 w 4610101"/>
              <a:gd name="connsiteY15152" fmla="*/ 1235375 h 6557032"/>
              <a:gd name="connsiteX15153" fmla="*/ 3405643 w 4610101"/>
              <a:gd name="connsiteY15153" fmla="*/ 1234893 h 6557032"/>
              <a:gd name="connsiteX15154" fmla="*/ 3405643 w 4610101"/>
              <a:gd name="connsiteY15154" fmla="*/ 1236286 h 6557032"/>
              <a:gd name="connsiteX15155" fmla="*/ 3400934 w 4610101"/>
              <a:gd name="connsiteY15155" fmla="*/ 1235837 h 6557032"/>
              <a:gd name="connsiteX15156" fmla="*/ 3403594 w 4610101"/>
              <a:gd name="connsiteY15156" fmla="*/ 1235375 h 6557032"/>
              <a:gd name="connsiteX15157" fmla="*/ 3307246 w 4610101"/>
              <a:gd name="connsiteY15157" fmla="*/ 1234464 h 6557032"/>
              <a:gd name="connsiteX15158" fmla="*/ 3305424 w 4610101"/>
              <a:gd name="connsiteY15158" fmla="*/ 1245397 h 6557032"/>
              <a:gd name="connsiteX15159" fmla="*/ 3314535 w 4610101"/>
              <a:gd name="connsiteY15159" fmla="*/ 1243575 h 6557032"/>
              <a:gd name="connsiteX15160" fmla="*/ 3307246 w 4610101"/>
              <a:gd name="connsiteY15160" fmla="*/ 1243575 h 6557032"/>
              <a:gd name="connsiteX15161" fmla="*/ 3307246 w 4610101"/>
              <a:gd name="connsiteY15161" fmla="*/ 1234464 h 6557032"/>
              <a:gd name="connsiteX15162" fmla="*/ 3137784 w 4610101"/>
              <a:gd name="connsiteY15162" fmla="*/ 1234464 h 6557032"/>
              <a:gd name="connsiteX15163" fmla="*/ 3134140 w 4610101"/>
              <a:gd name="connsiteY15163" fmla="*/ 1239931 h 6557032"/>
              <a:gd name="connsiteX15164" fmla="*/ 3139606 w 4610101"/>
              <a:gd name="connsiteY15164" fmla="*/ 1239931 h 6557032"/>
              <a:gd name="connsiteX15165" fmla="*/ 3137784 w 4610101"/>
              <a:gd name="connsiteY15165" fmla="*/ 1234464 h 6557032"/>
              <a:gd name="connsiteX15166" fmla="*/ 2117366 w 4610101"/>
              <a:gd name="connsiteY15166" fmla="*/ 1234464 h 6557032"/>
              <a:gd name="connsiteX15167" fmla="*/ 2126477 w 4610101"/>
              <a:gd name="connsiteY15167" fmla="*/ 1245397 h 6557032"/>
              <a:gd name="connsiteX15168" fmla="*/ 2117366 w 4610101"/>
              <a:gd name="connsiteY15168" fmla="*/ 1234464 h 6557032"/>
              <a:gd name="connsiteX15169" fmla="*/ 1321077 w 4610101"/>
              <a:gd name="connsiteY15169" fmla="*/ 1234464 h 6557032"/>
              <a:gd name="connsiteX15170" fmla="*/ 1324721 w 4610101"/>
              <a:gd name="connsiteY15170" fmla="*/ 1241753 h 6557032"/>
              <a:gd name="connsiteX15171" fmla="*/ 1321077 w 4610101"/>
              <a:gd name="connsiteY15171" fmla="*/ 1234464 h 6557032"/>
              <a:gd name="connsiteX15172" fmla="*/ 1319254 w 4610101"/>
              <a:gd name="connsiteY15172" fmla="*/ 1234464 h 6557032"/>
              <a:gd name="connsiteX15173" fmla="*/ 1301033 w 4610101"/>
              <a:gd name="connsiteY15173" fmla="*/ 1238108 h 6557032"/>
              <a:gd name="connsiteX15174" fmla="*/ 1311966 w 4610101"/>
              <a:gd name="connsiteY15174" fmla="*/ 1239931 h 6557032"/>
              <a:gd name="connsiteX15175" fmla="*/ 1313788 w 4610101"/>
              <a:gd name="connsiteY15175" fmla="*/ 1238108 h 6557032"/>
              <a:gd name="connsiteX15176" fmla="*/ 1315610 w 4610101"/>
              <a:gd name="connsiteY15176" fmla="*/ 1241753 h 6557032"/>
              <a:gd name="connsiteX15177" fmla="*/ 1321077 w 4610101"/>
              <a:gd name="connsiteY15177" fmla="*/ 1239931 h 6557032"/>
              <a:gd name="connsiteX15178" fmla="*/ 1319254 w 4610101"/>
              <a:gd name="connsiteY15178" fmla="*/ 1234464 h 6557032"/>
              <a:gd name="connsiteX15179" fmla="*/ 1183112 w 4610101"/>
              <a:gd name="connsiteY15179" fmla="*/ 1234464 h 6557032"/>
              <a:gd name="connsiteX15180" fmla="*/ 1184414 w 4610101"/>
              <a:gd name="connsiteY15180" fmla="*/ 1234464 h 6557032"/>
              <a:gd name="connsiteX15181" fmla="*/ 1178719 w 4610101"/>
              <a:gd name="connsiteY15181" fmla="*/ 1246992 h 6557032"/>
              <a:gd name="connsiteX15182" fmla="*/ 1177125 w 4610101"/>
              <a:gd name="connsiteY15182" fmla="*/ 1249511 h 6557032"/>
              <a:gd name="connsiteX15183" fmla="*/ 1177125 w 4610101"/>
              <a:gd name="connsiteY15183" fmla="*/ 1247447 h 6557032"/>
              <a:gd name="connsiteX15184" fmla="*/ 1177125 w 4610101"/>
              <a:gd name="connsiteY15184" fmla="*/ 1245397 h 6557032"/>
              <a:gd name="connsiteX15185" fmla="*/ 1175081 w 4610101"/>
              <a:gd name="connsiteY15185" fmla="*/ 1246624 h 6557032"/>
              <a:gd name="connsiteX15186" fmla="*/ 1175303 w 4610101"/>
              <a:gd name="connsiteY15186" fmla="*/ 1245397 h 6557032"/>
              <a:gd name="connsiteX15187" fmla="*/ 1065972 w 4610101"/>
              <a:gd name="connsiteY15187" fmla="*/ 1234464 h 6557032"/>
              <a:gd name="connsiteX15188" fmla="*/ 1058683 w 4610101"/>
              <a:gd name="connsiteY15188" fmla="*/ 1243575 h 6557032"/>
              <a:gd name="connsiteX15189" fmla="*/ 1071439 w 4610101"/>
              <a:gd name="connsiteY15189" fmla="*/ 1256330 h 6557032"/>
              <a:gd name="connsiteX15190" fmla="*/ 1076905 w 4610101"/>
              <a:gd name="connsiteY15190" fmla="*/ 1252686 h 6557032"/>
              <a:gd name="connsiteX15191" fmla="*/ 1071439 w 4610101"/>
              <a:gd name="connsiteY15191" fmla="*/ 1243575 h 6557032"/>
              <a:gd name="connsiteX15192" fmla="*/ 1065972 w 4610101"/>
              <a:gd name="connsiteY15192" fmla="*/ 1234464 h 6557032"/>
              <a:gd name="connsiteX15193" fmla="*/ 557586 w 4610101"/>
              <a:gd name="connsiteY15193" fmla="*/ 1234464 h 6557032"/>
              <a:gd name="connsiteX15194" fmla="*/ 555763 w 4610101"/>
              <a:gd name="connsiteY15194" fmla="*/ 1236286 h 6557032"/>
              <a:gd name="connsiteX15195" fmla="*/ 533897 w 4610101"/>
              <a:gd name="connsiteY15195" fmla="*/ 1252686 h 6557032"/>
              <a:gd name="connsiteX15196" fmla="*/ 550297 w 4610101"/>
              <a:gd name="connsiteY15196" fmla="*/ 1252686 h 6557032"/>
              <a:gd name="connsiteX15197" fmla="*/ 557586 w 4610101"/>
              <a:gd name="connsiteY15197" fmla="*/ 1234464 h 6557032"/>
              <a:gd name="connsiteX15198" fmla="*/ 451899 w 4610101"/>
              <a:gd name="connsiteY15198" fmla="*/ 1234464 h 6557032"/>
              <a:gd name="connsiteX15199" fmla="*/ 450077 w 4610101"/>
              <a:gd name="connsiteY15199" fmla="*/ 1238108 h 6557032"/>
              <a:gd name="connsiteX15200" fmla="*/ 455544 w 4610101"/>
              <a:gd name="connsiteY15200" fmla="*/ 1238108 h 6557032"/>
              <a:gd name="connsiteX15201" fmla="*/ 451899 w 4610101"/>
              <a:gd name="connsiteY15201" fmla="*/ 1234464 h 6557032"/>
              <a:gd name="connsiteX15202" fmla="*/ 326169 w 4610101"/>
              <a:gd name="connsiteY15202" fmla="*/ 1234464 h 6557032"/>
              <a:gd name="connsiteX15203" fmla="*/ 322525 w 4610101"/>
              <a:gd name="connsiteY15203" fmla="*/ 1239931 h 6557032"/>
              <a:gd name="connsiteX15204" fmla="*/ 337102 w 4610101"/>
              <a:gd name="connsiteY15204" fmla="*/ 1245397 h 6557032"/>
              <a:gd name="connsiteX15205" fmla="*/ 335280 w 4610101"/>
              <a:gd name="connsiteY15205" fmla="*/ 1241753 h 6557032"/>
              <a:gd name="connsiteX15206" fmla="*/ 342569 w 4610101"/>
              <a:gd name="connsiteY15206" fmla="*/ 1241753 h 6557032"/>
              <a:gd name="connsiteX15207" fmla="*/ 326169 w 4610101"/>
              <a:gd name="connsiteY15207" fmla="*/ 1234464 h 6557032"/>
              <a:gd name="connsiteX15208" fmla="*/ 934775 w 4610101"/>
              <a:gd name="connsiteY15208" fmla="*/ 1233781 h 6557032"/>
              <a:gd name="connsiteX15209" fmla="*/ 929309 w 4610101"/>
              <a:gd name="connsiteY15209" fmla="*/ 1239931 h 6557032"/>
              <a:gd name="connsiteX15210" fmla="*/ 927487 w 4610101"/>
              <a:gd name="connsiteY15210" fmla="*/ 1236286 h 6557032"/>
              <a:gd name="connsiteX15211" fmla="*/ 922020 w 4610101"/>
              <a:gd name="connsiteY15211" fmla="*/ 1243575 h 6557032"/>
              <a:gd name="connsiteX15212" fmla="*/ 932953 w 4610101"/>
              <a:gd name="connsiteY15212" fmla="*/ 1239931 h 6557032"/>
              <a:gd name="connsiteX15213" fmla="*/ 940242 w 4610101"/>
              <a:gd name="connsiteY15213" fmla="*/ 1234464 h 6557032"/>
              <a:gd name="connsiteX15214" fmla="*/ 934775 w 4610101"/>
              <a:gd name="connsiteY15214" fmla="*/ 1233781 h 6557032"/>
              <a:gd name="connsiteX15215" fmla="*/ 3294491 w 4610101"/>
              <a:gd name="connsiteY15215" fmla="*/ 1232642 h 6557032"/>
              <a:gd name="connsiteX15216" fmla="*/ 3296313 w 4610101"/>
              <a:gd name="connsiteY15216" fmla="*/ 1238108 h 6557032"/>
              <a:gd name="connsiteX15217" fmla="*/ 3294491 w 4610101"/>
              <a:gd name="connsiteY15217" fmla="*/ 1232642 h 6557032"/>
              <a:gd name="connsiteX15218" fmla="*/ 3188805 w 4610101"/>
              <a:gd name="connsiteY15218" fmla="*/ 1232642 h 6557032"/>
              <a:gd name="connsiteX15219" fmla="*/ 3196093 w 4610101"/>
              <a:gd name="connsiteY15219" fmla="*/ 1239931 h 6557032"/>
              <a:gd name="connsiteX15220" fmla="*/ 3196093 w 4610101"/>
              <a:gd name="connsiteY15220" fmla="*/ 1232642 h 6557032"/>
              <a:gd name="connsiteX15221" fmla="*/ 3188805 w 4610101"/>
              <a:gd name="connsiteY15221" fmla="*/ 1232642 h 6557032"/>
              <a:gd name="connsiteX15222" fmla="*/ 3044853 w 4610101"/>
              <a:gd name="connsiteY15222" fmla="*/ 1232642 h 6557032"/>
              <a:gd name="connsiteX15223" fmla="*/ 3035742 w 4610101"/>
              <a:gd name="connsiteY15223" fmla="*/ 1234464 h 6557032"/>
              <a:gd name="connsiteX15224" fmla="*/ 3041209 w 4610101"/>
              <a:gd name="connsiteY15224" fmla="*/ 1239931 h 6557032"/>
              <a:gd name="connsiteX15225" fmla="*/ 3046675 w 4610101"/>
              <a:gd name="connsiteY15225" fmla="*/ 1236286 h 6557032"/>
              <a:gd name="connsiteX15226" fmla="*/ 3044853 w 4610101"/>
              <a:gd name="connsiteY15226" fmla="*/ 1232642 h 6557032"/>
              <a:gd name="connsiteX15227" fmla="*/ 1226323 w 4610101"/>
              <a:gd name="connsiteY15227" fmla="*/ 1232642 h 6557032"/>
              <a:gd name="connsiteX15228" fmla="*/ 1226323 w 4610101"/>
              <a:gd name="connsiteY15228" fmla="*/ 1236286 h 6557032"/>
              <a:gd name="connsiteX15229" fmla="*/ 1240901 w 4610101"/>
              <a:gd name="connsiteY15229" fmla="*/ 1239931 h 6557032"/>
              <a:gd name="connsiteX15230" fmla="*/ 1226323 w 4610101"/>
              <a:gd name="connsiteY15230" fmla="*/ 1232642 h 6557032"/>
              <a:gd name="connsiteX15231" fmla="*/ 1104238 w 4610101"/>
              <a:gd name="connsiteY15231" fmla="*/ 1232642 h 6557032"/>
              <a:gd name="connsiteX15232" fmla="*/ 1118815 w 4610101"/>
              <a:gd name="connsiteY15232" fmla="*/ 1249042 h 6557032"/>
              <a:gd name="connsiteX15233" fmla="*/ 1118815 w 4610101"/>
              <a:gd name="connsiteY15233" fmla="*/ 1247219 h 6557032"/>
              <a:gd name="connsiteX15234" fmla="*/ 1122459 w 4610101"/>
              <a:gd name="connsiteY15234" fmla="*/ 1249042 h 6557032"/>
              <a:gd name="connsiteX15235" fmla="*/ 1125834 w 4610101"/>
              <a:gd name="connsiteY15235" fmla="*/ 1242293 h 6557032"/>
              <a:gd name="connsiteX15236" fmla="*/ 1125648 w 4610101"/>
              <a:gd name="connsiteY15236" fmla="*/ 1245169 h 6557032"/>
              <a:gd name="connsiteX15237" fmla="*/ 1122459 w 4610101"/>
              <a:gd name="connsiteY15237" fmla="*/ 1250864 h 6557032"/>
              <a:gd name="connsiteX15238" fmla="*/ 1129748 w 4610101"/>
              <a:gd name="connsiteY15238" fmla="*/ 1254508 h 6557032"/>
              <a:gd name="connsiteX15239" fmla="*/ 1137037 w 4610101"/>
              <a:gd name="connsiteY15239" fmla="*/ 1241753 h 6557032"/>
              <a:gd name="connsiteX15240" fmla="*/ 1116993 w 4610101"/>
              <a:gd name="connsiteY15240" fmla="*/ 1232642 h 6557032"/>
              <a:gd name="connsiteX15241" fmla="*/ 1116993 w 4610101"/>
              <a:gd name="connsiteY15241" fmla="*/ 1236286 h 6557032"/>
              <a:gd name="connsiteX15242" fmla="*/ 1126104 w 4610101"/>
              <a:gd name="connsiteY15242" fmla="*/ 1238108 h 6557032"/>
              <a:gd name="connsiteX15243" fmla="*/ 1125872 w 4610101"/>
              <a:gd name="connsiteY15243" fmla="*/ 1241695 h 6557032"/>
              <a:gd name="connsiteX15244" fmla="*/ 1118815 w 4610101"/>
              <a:gd name="connsiteY15244" fmla="*/ 1239931 h 6557032"/>
              <a:gd name="connsiteX15245" fmla="*/ 1115171 w 4610101"/>
              <a:gd name="connsiteY15245" fmla="*/ 1232642 h 6557032"/>
              <a:gd name="connsiteX15246" fmla="*/ 1104238 w 4610101"/>
              <a:gd name="connsiteY15246" fmla="*/ 1232642 h 6557032"/>
              <a:gd name="connsiteX15247" fmla="*/ 1065972 w 4610101"/>
              <a:gd name="connsiteY15247" fmla="*/ 1232642 h 6557032"/>
              <a:gd name="connsiteX15248" fmla="*/ 1071439 w 4610101"/>
              <a:gd name="connsiteY15248" fmla="*/ 1238108 h 6557032"/>
              <a:gd name="connsiteX15249" fmla="*/ 1065972 w 4610101"/>
              <a:gd name="connsiteY15249" fmla="*/ 1232642 h 6557032"/>
              <a:gd name="connsiteX15250" fmla="*/ 396096 w 4610101"/>
              <a:gd name="connsiteY15250" fmla="*/ 1232414 h 6557032"/>
              <a:gd name="connsiteX15251" fmla="*/ 391768 w 4610101"/>
              <a:gd name="connsiteY15251" fmla="*/ 1234464 h 6557032"/>
              <a:gd name="connsiteX15252" fmla="*/ 409989 w 4610101"/>
              <a:gd name="connsiteY15252" fmla="*/ 1236286 h 6557032"/>
              <a:gd name="connsiteX15253" fmla="*/ 404523 w 4610101"/>
              <a:gd name="connsiteY15253" fmla="*/ 1234008 h 6557032"/>
              <a:gd name="connsiteX15254" fmla="*/ 399056 w 4610101"/>
              <a:gd name="connsiteY15254" fmla="*/ 1234464 h 6557032"/>
              <a:gd name="connsiteX15255" fmla="*/ 396096 w 4610101"/>
              <a:gd name="connsiteY15255" fmla="*/ 1232414 h 6557032"/>
              <a:gd name="connsiteX15256" fmla="*/ 1332693 w 4610101"/>
              <a:gd name="connsiteY15256" fmla="*/ 1232414 h 6557032"/>
              <a:gd name="connsiteX15257" fmla="*/ 1332009 w 4610101"/>
              <a:gd name="connsiteY15257" fmla="*/ 1239931 h 6557032"/>
              <a:gd name="connsiteX15258" fmla="*/ 1342942 w 4610101"/>
              <a:gd name="connsiteY15258" fmla="*/ 1234464 h 6557032"/>
              <a:gd name="connsiteX15259" fmla="*/ 1332693 w 4610101"/>
              <a:gd name="connsiteY15259" fmla="*/ 1232414 h 6557032"/>
              <a:gd name="connsiteX15260" fmla="*/ 456911 w 4610101"/>
              <a:gd name="connsiteY15260" fmla="*/ 1231275 h 6557032"/>
              <a:gd name="connsiteX15261" fmla="*/ 453722 w 4610101"/>
              <a:gd name="connsiteY15261" fmla="*/ 1232642 h 6557032"/>
              <a:gd name="connsiteX15262" fmla="*/ 462832 w 4610101"/>
              <a:gd name="connsiteY15262" fmla="*/ 1232642 h 6557032"/>
              <a:gd name="connsiteX15263" fmla="*/ 456911 w 4610101"/>
              <a:gd name="connsiteY15263" fmla="*/ 1231275 h 6557032"/>
              <a:gd name="connsiteX15264" fmla="*/ 2133766 w 4610101"/>
              <a:gd name="connsiteY15264" fmla="*/ 1230820 h 6557032"/>
              <a:gd name="connsiteX15265" fmla="*/ 2130122 w 4610101"/>
              <a:gd name="connsiteY15265" fmla="*/ 1232642 h 6557032"/>
              <a:gd name="connsiteX15266" fmla="*/ 2133766 w 4610101"/>
              <a:gd name="connsiteY15266" fmla="*/ 1234464 h 6557032"/>
              <a:gd name="connsiteX15267" fmla="*/ 1339299 w 4610101"/>
              <a:gd name="connsiteY15267" fmla="*/ 1230820 h 6557032"/>
              <a:gd name="connsiteX15268" fmla="*/ 1346587 w 4610101"/>
              <a:gd name="connsiteY15268" fmla="*/ 1232642 h 6557032"/>
              <a:gd name="connsiteX15269" fmla="*/ 1346587 w 4610101"/>
              <a:gd name="connsiteY15269" fmla="*/ 1230820 h 6557032"/>
              <a:gd name="connsiteX15270" fmla="*/ 1339299 w 4610101"/>
              <a:gd name="connsiteY15270" fmla="*/ 1230820 h 6557032"/>
              <a:gd name="connsiteX15271" fmla="*/ 1328365 w 4610101"/>
              <a:gd name="connsiteY15271" fmla="*/ 1230820 h 6557032"/>
              <a:gd name="connsiteX15272" fmla="*/ 1326543 w 4610101"/>
              <a:gd name="connsiteY15272" fmla="*/ 1232642 h 6557032"/>
              <a:gd name="connsiteX15273" fmla="*/ 1328365 w 4610101"/>
              <a:gd name="connsiteY15273" fmla="*/ 1234464 h 6557032"/>
              <a:gd name="connsiteX15274" fmla="*/ 1332009 w 4610101"/>
              <a:gd name="connsiteY15274" fmla="*/ 1230820 h 6557032"/>
              <a:gd name="connsiteX15275" fmla="*/ 1328365 w 4610101"/>
              <a:gd name="connsiteY15275" fmla="*/ 1230820 h 6557032"/>
              <a:gd name="connsiteX15276" fmla="*/ 1291922 w 4610101"/>
              <a:gd name="connsiteY15276" fmla="*/ 1230820 h 6557032"/>
              <a:gd name="connsiteX15277" fmla="*/ 1279166 w 4610101"/>
              <a:gd name="connsiteY15277" fmla="*/ 1234464 h 6557032"/>
              <a:gd name="connsiteX15278" fmla="*/ 1291922 w 4610101"/>
              <a:gd name="connsiteY15278" fmla="*/ 1234464 h 6557032"/>
              <a:gd name="connsiteX15279" fmla="*/ 1291922 w 4610101"/>
              <a:gd name="connsiteY15279" fmla="*/ 1230820 h 6557032"/>
              <a:gd name="connsiteX15280" fmla="*/ 1273016 w 4610101"/>
              <a:gd name="connsiteY15280" fmla="*/ 1230820 h 6557032"/>
              <a:gd name="connsiteX15281" fmla="*/ 1268233 w 4610101"/>
              <a:gd name="connsiteY15281" fmla="*/ 1234464 h 6557032"/>
              <a:gd name="connsiteX15282" fmla="*/ 1279166 w 4610101"/>
              <a:gd name="connsiteY15282" fmla="*/ 1232642 h 6557032"/>
              <a:gd name="connsiteX15283" fmla="*/ 1273016 w 4610101"/>
              <a:gd name="connsiteY15283" fmla="*/ 1230820 h 6557032"/>
              <a:gd name="connsiteX15284" fmla="*/ 1169836 w 4610101"/>
              <a:gd name="connsiteY15284" fmla="*/ 1230820 h 6557032"/>
              <a:gd name="connsiteX15285" fmla="*/ 1166192 w 4610101"/>
              <a:gd name="connsiteY15285" fmla="*/ 1236286 h 6557032"/>
              <a:gd name="connsiteX15286" fmla="*/ 1168014 w 4610101"/>
              <a:gd name="connsiteY15286" fmla="*/ 1236286 h 6557032"/>
              <a:gd name="connsiteX15287" fmla="*/ 1164370 w 4610101"/>
              <a:gd name="connsiteY15287" fmla="*/ 1239931 h 6557032"/>
              <a:gd name="connsiteX15288" fmla="*/ 1173481 w 4610101"/>
              <a:gd name="connsiteY15288" fmla="*/ 1243575 h 6557032"/>
              <a:gd name="connsiteX15289" fmla="*/ 1168014 w 4610101"/>
              <a:gd name="connsiteY15289" fmla="*/ 1243575 h 6557032"/>
              <a:gd name="connsiteX15290" fmla="*/ 1168014 w 4610101"/>
              <a:gd name="connsiteY15290" fmla="*/ 1250864 h 6557032"/>
              <a:gd name="connsiteX15291" fmla="*/ 1175081 w 4610101"/>
              <a:gd name="connsiteY15291" fmla="*/ 1246624 h 6557032"/>
              <a:gd name="connsiteX15292" fmla="*/ 1174559 w 4610101"/>
              <a:gd name="connsiteY15292" fmla="*/ 1249488 h 6557032"/>
              <a:gd name="connsiteX15293" fmla="*/ 1166192 w 4610101"/>
              <a:gd name="connsiteY15293" fmla="*/ 1254508 h 6557032"/>
              <a:gd name="connsiteX15294" fmla="*/ 1171658 w 4610101"/>
              <a:gd name="connsiteY15294" fmla="*/ 1258152 h 6557032"/>
              <a:gd name="connsiteX15295" fmla="*/ 1173082 w 4610101"/>
              <a:gd name="connsiteY15295" fmla="*/ 1255900 h 6557032"/>
              <a:gd name="connsiteX15296" fmla="*/ 1169836 w 4610101"/>
              <a:gd name="connsiteY15296" fmla="*/ 1267263 h 6557032"/>
              <a:gd name="connsiteX15297" fmla="*/ 1206279 w 4610101"/>
              <a:gd name="connsiteY15297" fmla="*/ 1272730 h 6557032"/>
              <a:gd name="connsiteX15298" fmla="*/ 1202636 w 4610101"/>
              <a:gd name="connsiteY15298" fmla="*/ 1272730 h 6557032"/>
              <a:gd name="connsiteX15299" fmla="*/ 1200814 w 4610101"/>
              <a:gd name="connsiteY15299" fmla="*/ 1269085 h 6557032"/>
              <a:gd name="connsiteX15300" fmla="*/ 1202636 w 4610101"/>
              <a:gd name="connsiteY15300" fmla="*/ 1270908 h 6557032"/>
              <a:gd name="connsiteX15301" fmla="*/ 1202636 w 4610101"/>
              <a:gd name="connsiteY15301" fmla="*/ 1265441 h 6557032"/>
              <a:gd name="connsiteX15302" fmla="*/ 1208102 w 4610101"/>
              <a:gd name="connsiteY15302" fmla="*/ 1272730 h 6557032"/>
              <a:gd name="connsiteX15303" fmla="*/ 1215390 w 4610101"/>
              <a:gd name="connsiteY15303" fmla="*/ 1269085 h 6557032"/>
              <a:gd name="connsiteX15304" fmla="*/ 1209925 w 4610101"/>
              <a:gd name="connsiteY15304" fmla="*/ 1263619 h 6557032"/>
              <a:gd name="connsiteX15305" fmla="*/ 1219036 w 4610101"/>
              <a:gd name="connsiteY15305" fmla="*/ 1269085 h 6557032"/>
              <a:gd name="connsiteX15306" fmla="*/ 1222679 w 4610101"/>
              <a:gd name="connsiteY15306" fmla="*/ 1272958 h 6557032"/>
              <a:gd name="connsiteX15307" fmla="*/ 1225934 w 4610101"/>
              <a:gd name="connsiteY15307" fmla="*/ 1274829 h 6557032"/>
              <a:gd name="connsiteX15308" fmla="*/ 1224729 w 4610101"/>
              <a:gd name="connsiteY15308" fmla="*/ 1275691 h 6557032"/>
              <a:gd name="connsiteX15309" fmla="*/ 1224501 w 4610101"/>
              <a:gd name="connsiteY15309" fmla="*/ 1278196 h 6557032"/>
              <a:gd name="connsiteX15310" fmla="*/ 1219036 w 4610101"/>
              <a:gd name="connsiteY15310" fmla="*/ 1270908 h 6557032"/>
              <a:gd name="connsiteX15311" fmla="*/ 1200814 w 4610101"/>
              <a:gd name="connsiteY15311" fmla="*/ 1281841 h 6557032"/>
              <a:gd name="connsiteX15312" fmla="*/ 1215390 w 4610101"/>
              <a:gd name="connsiteY15312" fmla="*/ 1290951 h 6557032"/>
              <a:gd name="connsiteX15313" fmla="*/ 1213568 w 4610101"/>
              <a:gd name="connsiteY15313" fmla="*/ 1280018 h 6557032"/>
              <a:gd name="connsiteX15314" fmla="*/ 1222679 w 4610101"/>
              <a:gd name="connsiteY15314" fmla="*/ 1294596 h 6557032"/>
              <a:gd name="connsiteX15315" fmla="*/ 1228146 w 4610101"/>
              <a:gd name="connsiteY15315" fmla="*/ 1290951 h 6557032"/>
              <a:gd name="connsiteX15316" fmla="*/ 1224501 w 4610101"/>
              <a:gd name="connsiteY15316" fmla="*/ 1294596 h 6557032"/>
              <a:gd name="connsiteX15317" fmla="*/ 1229969 w 4610101"/>
              <a:gd name="connsiteY15317" fmla="*/ 1294596 h 6557032"/>
              <a:gd name="connsiteX15318" fmla="*/ 1228146 w 4610101"/>
              <a:gd name="connsiteY15318" fmla="*/ 1290951 h 6557032"/>
              <a:gd name="connsiteX15319" fmla="*/ 1224501 w 4610101"/>
              <a:gd name="connsiteY15319" fmla="*/ 1280018 h 6557032"/>
              <a:gd name="connsiteX15320" fmla="*/ 1229969 w 4610101"/>
              <a:gd name="connsiteY15320" fmla="*/ 1283663 h 6557032"/>
              <a:gd name="connsiteX15321" fmla="*/ 1233612 w 4610101"/>
              <a:gd name="connsiteY15321" fmla="*/ 1294596 h 6557032"/>
              <a:gd name="connsiteX15322" fmla="*/ 1239229 w 4610101"/>
              <a:gd name="connsiteY15322" fmla="*/ 1289878 h 6557032"/>
              <a:gd name="connsiteX15323" fmla="*/ 1240901 w 4610101"/>
              <a:gd name="connsiteY15323" fmla="*/ 1298240 h 6557032"/>
              <a:gd name="connsiteX15324" fmla="*/ 1242723 w 4610101"/>
              <a:gd name="connsiteY15324" fmla="*/ 1290951 h 6557032"/>
              <a:gd name="connsiteX15325" fmla="*/ 1242723 w 4610101"/>
              <a:gd name="connsiteY15325" fmla="*/ 1289129 h 6557032"/>
              <a:gd name="connsiteX15326" fmla="*/ 1239080 w 4610101"/>
              <a:gd name="connsiteY15326" fmla="*/ 1289129 h 6557032"/>
              <a:gd name="connsiteX15327" fmla="*/ 1239173 w 4610101"/>
              <a:gd name="connsiteY15327" fmla="*/ 1289602 h 6557032"/>
              <a:gd name="connsiteX15328" fmla="*/ 1235434 w 4610101"/>
              <a:gd name="connsiteY15328" fmla="*/ 1283663 h 6557032"/>
              <a:gd name="connsiteX15329" fmla="*/ 1235434 w 4610101"/>
              <a:gd name="connsiteY15329" fmla="*/ 1281841 h 6557032"/>
              <a:gd name="connsiteX15330" fmla="*/ 1228548 w 4610101"/>
              <a:gd name="connsiteY15330" fmla="*/ 1276332 h 6557032"/>
              <a:gd name="connsiteX15331" fmla="*/ 1231790 w 4610101"/>
              <a:gd name="connsiteY15331" fmla="*/ 1278196 h 6557032"/>
              <a:gd name="connsiteX15332" fmla="*/ 1237256 w 4610101"/>
              <a:gd name="connsiteY15332" fmla="*/ 1272730 h 6557032"/>
              <a:gd name="connsiteX15333" fmla="*/ 1237256 w 4610101"/>
              <a:gd name="connsiteY15333" fmla="*/ 1283663 h 6557032"/>
              <a:gd name="connsiteX15334" fmla="*/ 1237256 w 4610101"/>
              <a:gd name="connsiteY15334" fmla="*/ 1270908 h 6557032"/>
              <a:gd name="connsiteX15335" fmla="*/ 1237256 w 4610101"/>
              <a:gd name="connsiteY15335" fmla="*/ 1272730 h 6557032"/>
              <a:gd name="connsiteX15336" fmla="*/ 1231790 w 4610101"/>
              <a:gd name="connsiteY15336" fmla="*/ 1269085 h 6557032"/>
              <a:gd name="connsiteX15337" fmla="*/ 1235434 w 4610101"/>
              <a:gd name="connsiteY15337" fmla="*/ 1265441 h 6557032"/>
              <a:gd name="connsiteX15338" fmla="*/ 1219036 w 4610101"/>
              <a:gd name="connsiteY15338" fmla="*/ 1245397 h 6557032"/>
              <a:gd name="connsiteX15339" fmla="*/ 1222679 w 4610101"/>
              <a:gd name="connsiteY15339" fmla="*/ 1250864 h 6557032"/>
              <a:gd name="connsiteX15340" fmla="*/ 1222679 w 4610101"/>
              <a:gd name="connsiteY15340" fmla="*/ 1258152 h 6557032"/>
              <a:gd name="connsiteX15341" fmla="*/ 1215390 w 4610101"/>
              <a:gd name="connsiteY15341" fmla="*/ 1243575 h 6557032"/>
              <a:gd name="connsiteX15342" fmla="*/ 1202636 w 4610101"/>
              <a:gd name="connsiteY15342" fmla="*/ 1243575 h 6557032"/>
              <a:gd name="connsiteX15343" fmla="*/ 1208102 w 4610101"/>
              <a:gd name="connsiteY15343" fmla="*/ 1252686 h 6557032"/>
              <a:gd name="connsiteX15344" fmla="*/ 1198991 w 4610101"/>
              <a:gd name="connsiteY15344" fmla="*/ 1238108 h 6557032"/>
              <a:gd name="connsiteX15345" fmla="*/ 1184414 w 4610101"/>
              <a:gd name="connsiteY15345" fmla="*/ 1232642 h 6557032"/>
              <a:gd name="connsiteX15346" fmla="*/ 1183112 w 4610101"/>
              <a:gd name="connsiteY15346" fmla="*/ 1234464 h 6557032"/>
              <a:gd name="connsiteX15347" fmla="*/ 1173481 w 4610101"/>
              <a:gd name="connsiteY15347" fmla="*/ 1234464 h 6557032"/>
              <a:gd name="connsiteX15348" fmla="*/ 1169836 w 4610101"/>
              <a:gd name="connsiteY15348" fmla="*/ 1230820 h 6557032"/>
              <a:gd name="connsiteX15349" fmla="*/ 998552 w 4610101"/>
              <a:gd name="connsiteY15349" fmla="*/ 1230820 h 6557032"/>
              <a:gd name="connsiteX15350" fmla="*/ 989441 w 4610101"/>
              <a:gd name="connsiteY15350" fmla="*/ 1245397 h 6557032"/>
              <a:gd name="connsiteX15351" fmla="*/ 994907 w 4610101"/>
              <a:gd name="connsiteY15351" fmla="*/ 1243575 h 6557032"/>
              <a:gd name="connsiteX15352" fmla="*/ 993085 w 4610101"/>
              <a:gd name="connsiteY15352" fmla="*/ 1239931 h 6557032"/>
              <a:gd name="connsiteX15353" fmla="*/ 1004018 w 4610101"/>
              <a:gd name="connsiteY15353" fmla="*/ 1239931 h 6557032"/>
              <a:gd name="connsiteX15354" fmla="*/ 1004018 w 4610101"/>
              <a:gd name="connsiteY15354" fmla="*/ 1236286 h 6557032"/>
              <a:gd name="connsiteX15355" fmla="*/ 1011307 w 4610101"/>
              <a:gd name="connsiteY15355" fmla="*/ 1234464 h 6557032"/>
              <a:gd name="connsiteX15356" fmla="*/ 1007663 w 4610101"/>
              <a:gd name="connsiteY15356" fmla="*/ 1234464 h 6557032"/>
              <a:gd name="connsiteX15357" fmla="*/ 1004018 w 4610101"/>
              <a:gd name="connsiteY15357" fmla="*/ 1234464 h 6557032"/>
              <a:gd name="connsiteX15358" fmla="*/ 1007663 w 4610101"/>
              <a:gd name="connsiteY15358" fmla="*/ 1232642 h 6557032"/>
              <a:gd name="connsiteX15359" fmla="*/ 998552 w 4610101"/>
              <a:gd name="connsiteY15359" fmla="*/ 1230820 h 6557032"/>
              <a:gd name="connsiteX15360" fmla="*/ 920198 w 4610101"/>
              <a:gd name="connsiteY15360" fmla="*/ 1230820 h 6557032"/>
              <a:gd name="connsiteX15361" fmla="*/ 914732 w 4610101"/>
              <a:gd name="connsiteY15361" fmla="*/ 1236286 h 6557032"/>
              <a:gd name="connsiteX15362" fmla="*/ 920198 w 4610101"/>
              <a:gd name="connsiteY15362" fmla="*/ 1230820 h 6557032"/>
              <a:gd name="connsiteX15363" fmla="*/ 836378 w 4610101"/>
              <a:gd name="connsiteY15363" fmla="*/ 1230820 h 6557032"/>
              <a:gd name="connsiteX15364" fmla="*/ 836378 w 4610101"/>
              <a:gd name="connsiteY15364" fmla="*/ 1234464 h 6557032"/>
              <a:gd name="connsiteX15365" fmla="*/ 847311 w 4610101"/>
              <a:gd name="connsiteY15365" fmla="*/ 1238108 h 6557032"/>
              <a:gd name="connsiteX15366" fmla="*/ 836378 w 4610101"/>
              <a:gd name="connsiteY15366" fmla="*/ 1230820 h 6557032"/>
              <a:gd name="connsiteX15367" fmla="*/ 597673 w 4610101"/>
              <a:gd name="connsiteY15367" fmla="*/ 1230820 h 6557032"/>
              <a:gd name="connsiteX15368" fmla="*/ 581274 w 4610101"/>
              <a:gd name="connsiteY15368" fmla="*/ 1247219 h 6557032"/>
              <a:gd name="connsiteX15369" fmla="*/ 584919 w 4610101"/>
              <a:gd name="connsiteY15369" fmla="*/ 1252686 h 6557032"/>
              <a:gd name="connsiteX15370" fmla="*/ 575808 w 4610101"/>
              <a:gd name="connsiteY15370" fmla="*/ 1250864 h 6557032"/>
              <a:gd name="connsiteX15371" fmla="*/ 583096 w 4610101"/>
              <a:gd name="connsiteY15371" fmla="*/ 1261797 h 6557032"/>
              <a:gd name="connsiteX15372" fmla="*/ 597673 w 4610101"/>
              <a:gd name="connsiteY15372" fmla="*/ 1230820 h 6557032"/>
              <a:gd name="connsiteX15373" fmla="*/ 231416 w 4610101"/>
              <a:gd name="connsiteY15373" fmla="*/ 1230820 h 6557032"/>
              <a:gd name="connsiteX15374" fmla="*/ 239589 w 4610101"/>
              <a:gd name="connsiteY15374" fmla="*/ 1242261 h 6557032"/>
              <a:gd name="connsiteX15375" fmla="*/ 239389 w 4610101"/>
              <a:gd name="connsiteY15375" fmla="*/ 1242209 h 6557032"/>
              <a:gd name="connsiteX15376" fmla="*/ 231416 w 4610101"/>
              <a:gd name="connsiteY15376" fmla="*/ 1230820 h 6557032"/>
              <a:gd name="connsiteX15377" fmla="*/ 1160356 w 4610101"/>
              <a:gd name="connsiteY15377" fmla="*/ 1230750 h 6557032"/>
              <a:gd name="connsiteX15378" fmla="*/ 1160497 w 4610101"/>
              <a:gd name="connsiteY15378" fmla="*/ 1231275 h 6557032"/>
              <a:gd name="connsiteX15379" fmla="*/ 1157162 w 4610101"/>
              <a:gd name="connsiteY15379" fmla="*/ 1233306 h 6557032"/>
              <a:gd name="connsiteX15380" fmla="*/ 3405643 w 4610101"/>
              <a:gd name="connsiteY15380" fmla="*/ 1230684 h 6557032"/>
              <a:gd name="connsiteX15381" fmla="*/ 3407466 w 4610101"/>
              <a:gd name="connsiteY15381" fmla="*/ 1234464 h 6557032"/>
              <a:gd name="connsiteX15382" fmla="*/ 3405643 w 4610101"/>
              <a:gd name="connsiteY15382" fmla="*/ 1234893 h 6557032"/>
              <a:gd name="connsiteX15383" fmla="*/ 1358782 w 4610101"/>
              <a:gd name="connsiteY15383" fmla="*/ 1229558 h 6557032"/>
              <a:gd name="connsiteX15384" fmla="*/ 1359041 w 4610101"/>
              <a:gd name="connsiteY15384" fmla="*/ 1229660 h 6557032"/>
              <a:gd name="connsiteX15385" fmla="*/ 1357065 w 4610101"/>
              <a:gd name="connsiteY15385" fmla="*/ 1234008 h 6557032"/>
              <a:gd name="connsiteX15386" fmla="*/ 1352053 w 4610101"/>
              <a:gd name="connsiteY15386" fmla="*/ 1236286 h 6557032"/>
              <a:gd name="connsiteX15387" fmla="*/ 3405643 w 4610101"/>
              <a:gd name="connsiteY15387" fmla="*/ 1228998 h 6557032"/>
              <a:gd name="connsiteX15388" fmla="*/ 3405643 w 4610101"/>
              <a:gd name="connsiteY15388" fmla="*/ 1230684 h 6557032"/>
              <a:gd name="connsiteX15389" fmla="*/ 3405028 w 4610101"/>
              <a:gd name="connsiteY15389" fmla="*/ 1229408 h 6557032"/>
              <a:gd name="connsiteX15390" fmla="*/ 3207027 w 4610101"/>
              <a:gd name="connsiteY15390" fmla="*/ 1228998 h 6557032"/>
              <a:gd name="connsiteX15391" fmla="*/ 3197916 w 4610101"/>
              <a:gd name="connsiteY15391" fmla="*/ 1230820 h 6557032"/>
              <a:gd name="connsiteX15392" fmla="*/ 3205204 w 4610101"/>
              <a:gd name="connsiteY15392" fmla="*/ 1241753 h 6557032"/>
              <a:gd name="connsiteX15393" fmla="*/ 3199738 w 4610101"/>
              <a:gd name="connsiteY15393" fmla="*/ 1249042 h 6557032"/>
              <a:gd name="connsiteX15394" fmla="*/ 3207027 w 4610101"/>
              <a:gd name="connsiteY15394" fmla="*/ 1241753 h 6557032"/>
              <a:gd name="connsiteX15395" fmla="*/ 3214315 w 4610101"/>
              <a:gd name="connsiteY15395" fmla="*/ 1241753 h 6557032"/>
              <a:gd name="connsiteX15396" fmla="*/ 3214315 w 4610101"/>
              <a:gd name="connsiteY15396" fmla="*/ 1238108 h 6557032"/>
              <a:gd name="connsiteX15397" fmla="*/ 3207027 w 4610101"/>
              <a:gd name="connsiteY15397" fmla="*/ 1228998 h 6557032"/>
              <a:gd name="connsiteX15398" fmla="*/ 2173854 w 4610101"/>
              <a:gd name="connsiteY15398" fmla="*/ 1228998 h 6557032"/>
              <a:gd name="connsiteX15399" fmla="*/ 2168387 w 4610101"/>
              <a:gd name="connsiteY15399" fmla="*/ 1232642 h 6557032"/>
              <a:gd name="connsiteX15400" fmla="*/ 2173854 w 4610101"/>
              <a:gd name="connsiteY15400" fmla="*/ 1232642 h 6557032"/>
              <a:gd name="connsiteX15401" fmla="*/ 2173854 w 4610101"/>
              <a:gd name="connsiteY15401" fmla="*/ 1228998 h 6557032"/>
              <a:gd name="connsiteX15402" fmla="*/ 2106433 w 4610101"/>
              <a:gd name="connsiteY15402" fmla="*/ 1228998 h 6557032"/>
              <a:gd name="connsiteX15403" fmla="*/ 2097323 w 4610101"/>
              <a:gd name="connsiteY15403" fmla="*/ 1230820 h 6557032"/>
              <a:gd name="connsiteX15404" fmla="*/ 2099145 w 4610101"/>
              <a:gd name="connsiteY15404" fmla="*/ 1239931 h 6557032"/>
              <a:gd name="connsiteX15405" fmla="*/ 2099145 w 4610101"/>
              <a:gd name="connsiteY15405" fmla="*/ 1241753 h 6557032"/>
              <a:gd name="connsiteX15406" fmla="*/ 2106433 w 4610101"/>
              <a:gd name="connsiteY15406" fmla="*/ 1245397 h 6557032"/>
              <a:gd name="connsiteX15407" fmla="*/ 2111900 w 4610101"/>
              <a:gd name="connsiteY15407" fmla="*/ 1238108 h 6557032"/>
              <a:gd name="connsiteX15408" fmla="*/ 2106433 w 4610101"/>
              <a:gd name="connsiteY15408" fmla="*/ 1228998 h 6557032"/>
              <a:gd name="connsiteX15409" fmla="*/ 1319254 w 4610101"/>
              <a:gd name="connsiteY15409" fmla="*/ 1228998 h 6557032"/>
              <a:gd name="connsiteX15410" fmla="*/ 1324721 w 4610101"/>
              <a:gd name="connsiteY15410" fmla="*/ 1230820 h 6557032"/>
              <a:gd name="connsiteX15411" fmla="*/ 1319254 w 4610101"/>
              <a:gd name="connsiteY15411" fmla="*/ 1228998 h 6557032"/>
              <a:gd name="connsiteX15412" fmla="*/ 1313788 w 4610101"/>
              <a:gd name="connsiteY15412" fmla="*/ 1228998 h 6557032"/>
              <a:gd name="connsiteX15413" fmla="*/ 1293744 w 4610101"/>
              <a:gd name="connsiteY15413" fmla="*/ 1230820 h 6557032"/>
              <a:gd name="connsiteX15414" fmla="*/ 1297388 w 4610101"/>
              <a:gd name="connsiteY15414" fmla="*/ 1236286 h 6557032"/>
              <a:gd name="connsiteX15415" fmla="*/ 1313788 w 4610101"/>
              <a:gd name="connsiteY15415" fmla="*/ 1228998 h 6557032"/>
              <a:gd name="connsiteX15416" fmla="*/ 1277344 w 4610101"/>
              <a:gd name="connsiteY15416" fmla="*/ 1228998 h 6557032"/>
              <a:gd name="connsiteX15417" fmla="*/ 1290100 w 4610101"/>
              <a:gd name="connsiteY15417" fmla="*/ 1228998 h 6557032"/>
              <a:gd name="connsiteX15418" fmla="*/ 1277344 w 4610101"/>
              <a:gd name="connsiteY15418" fmla="*/ 1228998 h 6557032"/>
              <a:gd name="connsiteX15419" fmla="*/ 1233612 w 4610101"/>
              <a:gd name="connsiteY15419" fmla="*/ 1228998 h 6557032"/>
              <a:gd name="connsiteX15420" fmla="*/ 1242723 w 4610101"/>
              <a:gd name="connsiteY15420" fmla="*/ 1236286 h 6557032"/>
              <a:gd name="connsiteX15421" fmla="*/ 1250012 w 4610101"/>
              <a:gd name="connsiteY15421" fmla="*/ 1234464 h 6557032"/>
              <a:gd name="connsiteX15422" fmla="*/ 1233612 w 4610101"/>
              <a:gd name="connsiteY15422" fmla="*/ 1228998 h 6557032"/>
              <a:gd name="connsiteX15423" fmla="*/ 1206279 w 4610101"/>
              <a:gd name="connsiteY15423" fmla="*/ 1228998 h 6557032"/>
              <a:gd name="connsiteX15424" fmla="*/ 1213568 w 4610101"/>
              <a:gd name="connsiteY15424" fmla="*/ 1236286 h 6557032"/>
              <a:gd name="connsiteX15425" fmla="*/ 1206279 w 4610101"/>
              <a:gd name="connsiteY15425" fmla="*/ 1228998 h 6557032"/>
              <a:gd name="connsiteX15426" fmla="*/ 1091484 w 4610101"/>
              <a:gd name="connsiteY15426" fmla="*/ 1228998 h 6557032"/>
              <a:gd name="connsiteX15427" fmla="*/ 1089660 w 4610101"/>
              <a:gd name="connsiteY15427" fmla="*/ 1230820 h 6557032"/>
              <a:gd name="connsiteX15428" fmla="*/ 1093305 w 4610101"/>
              <a:gd name="connsiteY15428" fmla="*/ 1238108 h 6557032"/>
              <a:gd name="connsiteX15429" fmla="*/ 1091484 w 4610101"/>
              <a:gd name="connsiteY15429" fmla="*/ 1228998 h 6557032"/>
              <a:gd name="connsiteX15430" fmla="*/ 1073262 w 4610101"/>
              <a:gd name="connsiteY15430" fmla="*/ 1228998 h 6557032"/>
              <a:gd name="connsiteX15431" fmla="*/ 1078727 w 4610101"/>
              <a:gd name="connsiteY15431" fmla="*/ 1241753 h 6557032"/>
              <a:gd name="connsiteX15432" fmla="*/ 1082373 w 4610101"/>
              <a:gd name="connsiteY15432" fmla="*/ 1241753 h 6557032"/>
              <a:gd name="connsiteX15433" fmla="*/ 1078727 w 4610101"/>
              <a:gd name="connsiteY15433" fmla="*/ 1243575 h 6557032"/>
              <a:gd name="connsiteX15434" fmla="*/ 1080549 w 4610101"/>
              <a:gd name="connsiteY15434" fmla="*/ 1252686 h 6557032"/>
              <a:gd name="connsiteX15435" fmla="*/ 1082373 w 4610101"/>
              <a:gd name="connsiteY15435" fmla="*/ 1247219 h 6557032"/>
              <a:gd name="connsiteX15436" fmla="*/ 1082373 w 4610101"/>
              <a:gd name="connsiteY15436" fmla="*/ 1250864 h 6557032"/>
              <a:gd name="connsiteX15437" fmla="*/ 1073262 w 4610101"/>
              <a:gd name="connsiteY15437" fmla="*/ 1228998 h 6557032"/>
              <a:gd name="connsiteX15438" fmla="*/ 854600 w 4610101"/>
              <a:gd name="connsiteY15438" fmla="*/ 1228998 h 6557032"/>
              <a:gd name="connsiteX15439" fmla="*/ 850956 w 4610101"/>
              <a:gd name="connsiteY15439" fmla="*/ 1230820 h 6557032"/>
              <a:gd name="connsiteX15440" fmla="*/ 854600 w 4610101"/>
              <a:gd name="connsiteY15440" fmla="*/ 1232642 h 6557032"/>
              <a:gd name="connsiteX15441" fmla="*/ 854600 w 4610101"/>
              <a:gd name="connsiteY15441" fmla="*/ 1228998 h 6557032"/>
              <a:gd name="connsiteX15442" fmla="*/ 543008 w 4610101"/>
              <a:gd name="connsiteY15442" fmla="*/ 1228998 h 6557032"/>
              <a:gd name="connsiteX15443" fmla="*/ 522964 w 4610101"/>
              <a:gd name="connsiteY15443" fmla="*/ 1241753 h 6557032"/>
              <a:gd name="connsiteX15444" fmla="*/ 533897 w 4610101"/>
              <a:gd name="connsiteY15444" fmla="*/ 1247219 h 6557032"/>
              <a:gd name="connsiteX15445" fmla="*/ 530253 w 4610101"/>
              <a:gd name="connsiteY15445" fmla="*/ 1245397 h 6557032"/>
              <a:gd name="connsiteX15446" fmla="*/ 543008 w 4610101"/>
              <a:gd name="connsiteY15446" fmla="*/ 1232642 h 6557032"/>
              <a:gd name="connsiteX15447" fmla="*/ 559408 w 4610101"/>
              <a:gd name="connsiteY15447" fmla="*/ 1230820 h 6557032"/>
              <a:gd name="connsiteX15448" fmla="*/ 543008 w 4610101"/>
              <a:gd name="connsiteY15448" fmla="*/ 1232642 h 6557032"/>
              <a:gd name="connsiteX15449" fmla="*/ 539364 w 4610101"/>
              <a:gd name="connsiteY15449" fmla="*/ 1232642 h 6557032"/>
              <a:gd name="connsiteX15450" fmla="*/ 543008 w 4610101"/>
              <a:gd name="connsiteY15450" fmla="*/ 1228998 h 6557032"/>
              <a:gd name="connsiteX15451" fmla="*/ 532075 w 4610101"/>
              <a:gd name="connsiteY15451" fmla="*/ 1228998 h 6557032"/>
              <a:gd name="connsiteX15452" fmla="*/ 522964 w 4610101"/>
              <a:gd name="connsiteY15452" fmla="*/ 1232642 h 6557032"/>
              <a:gd name="connsiteX15453" fmla="*/ 524786 w 4610101"/>
              <a:gd name="connsiteY15453" fmla="*/ 1236286 h 6557032"/>
              <a:gd name="connsiteX15454" fmla="*/ 532075 w 4610101"/>
              <a:gd name="connsiteY15454" fmla="*/ 1228998 h 6557032"/>
              <a:gd name="connsiteX15455" fmla="*/ 440398 w 4610101"/>
              <a:gd name="connsiteY15455" fmla="*/ 1228570 h 6557032"/>
              <a:gd name="connsiteX15456" fmla="*/ 439601 w 4610101"/>
              <a:gd name="connsiteY15456" fmla="*/ 1230592 h 6557032"/>
              <a:gd name="connsiteX15457" fmla="*/ 437322 w 4610101"/>
              <a:gd name="connsiteY15457" fmla="*/ 1234464 h 6557032"/>
              <a:gd name="connsiteX15458" fmla="*/ 437322 w 4610101"/>
              <a:gd name="connsiteY15458" fmla="*/ 1230820 h 6557032"/>
              <a:gd name="connsiteX15459" fmla="*/ 431856 w 4610101"/>
              <a:gd name="connsiteY15459" fmla="*/ 1232642 h 6557032"/>
              <a:gd name="connsiteX15460" fmla="*/ 440966 w 4610101"/>
              <a:gd name="connsiteY15460" fmla="*/ 1238108 h 6557032"/>
              <a:gd name="connsiteX15461" fmla="*/ 444611 w 4610101"/>
              <a:gd name="connsiteY15461" fmla="*/ 1230820 h 6557032"/>
              <a:gd name="connsiteX15462" fmla="*/ 440398 w 4610101"/>
              <a:gd name="connsiteY15462" fmla="*/ 1228570 h 6557032"/>
              <a:gd name="connsiteX15463" fmla="*/ 1353875 w 4610101"/>
              <a:gd name="connsiteY15463" fmla="*/ 1227631 h 6557032"/>
              <a:gd name="connsiteX15464" fmla="*/ 1352053 w 4610101"/>
              <a:gd name="connsiteY15464" fmla="*/ 1236286 h 6557032"/>
              <a:gd name="connsiteX15465" fmla="*/ 1366632 w 4610101"/>
              <a:gd name="connsiteY15465" fmla="*/ 1232642 h 6557032"/>
              <a:gd name="connsiteX15466" fmla="*/ 1359041 w 4610101"/>
              <a:gd name="connsiteY15466" fmla="*/ 1229660 h 6557032"/>
              <a:gd name="connsiteX15467" fmla="*/ 1359342 w 4610101"/>
              <a:gd name="connsiteY15467" fmla="*/ 1228998 h 6557032"/>
              <a:gd name="connsiteX15468" fmla="*/ 1358782 w 4610101"/>
              <a:gd name="connsiteY15468" fmla="*/ 1229558 h 6557032"/>
              <a:gd name="connsiteX15469" fmla="*/ 3213632 w 4610101"/>
              <a:gd name="connsiteY15469" fmla="*/ 1227175 h 6557032"/>
              <a:gd name="connsiteX15470" fmla="*/ 3212493 w 4610101"/>
              <a:gd name="connsiteY15470" fmla="*/ 1230820 h 6557032"/>
              <a:gd name="connsiteX15471" fmla="*/ 3214315 w 4610101"/>
              <a:gd name="connsiteY15471" fmla="*/ 1234464 h 6557032"/>
              <a:gd name="connsiteX15472" fmla="*/ 3221604 w 4610101"/>
              <a:gd name="connsiteY15472" fmla="*/ 1232642 h 6557032"/>
              <a:gd name="connsiteX15473" fmla="*/ 3216137 w 4610101"/>
              <a:gd name="connsiteY15473" fmla="*/ 1228998 h 6557032"/>
              <a:gd name="connsiteX15474" fmla="*/ 3213632 w 4610101"/>
              <a:gd name="connsiteY15474" fmla="*/ 1227175 h 6557032"/>
              <a:gd name="connsiteX15475" fmla="*/ 2068168 w 4610101"/>
              <a:gd name="connsiteY15475" fmla="*/ 1227175 h 6557032"/>
              <a:gd name="connsiteX15476" fmla="*/ 2064524 w 4610101"/>
              <a:gd name="connsiteY15476" fmla="*/ 1230820 h 6557032"/>
              <a:gd name="connsiteX15477" fmla="*/ 2068168 w 4610101"/>
              <a:gd name="connsiteY15477" fmla="*/ 1230820 h 6557032"/>
              <a:gd name="connsiteX15478" fmla="*/ 2068168 w 4610101"/>
              <a:gd name="connsiteY15478" fmla="*/ 1227175 h 6557032"/>
              <a:gd name="connsiteX15479" fmla="*/ 1406719 w 4610101"/>
              <a:gd name="connsiteY15479" fmla="*/ 1227175 h 6557032"/>
              <a:gd name="connsiteX15480" fmla="*/ 1408541 w 4610101"/>
              <a:gd name="connsiteY15480" fmla="*/ 1227175 h 6557032"/>
              <a:gd name="connsiteX15481" fmla="*/ 1408541 w 4610101"/>
              <a:gd name="connsiteY15481" fmla="*/ 1228998 h 6557032"/>
              <a:gd name="connsiteX15482" fmla="*/ 1406719 w 4610101"/>
              <a:gd name="connsiteY15482" fmla="*/ 1227175 h 6557032"/>
              <a:gd name="connsiteX15483" fmla="*/ 1004018 w 4610101"/>
              <a:gd name="connsiteY15483" fmla="*/ 1227175 h 6557032"/>
              <a:gd name="connsiteX15484" fmla="*/ 1005840 w 4610101"/>
              <a:gd name="connsiteY15484" fmla="*/ 1228998 h 6557032"/>
              <a:gd name="connsiteX15485" fmla="*/ 1006752 w 4610101"/>
              <a:gd name="connsiteY15485" fmla="*/ 1228998 h 6557032"/>
              <a:gd name="connsiteX15486" fmla="*/ 1008491 w 4610101"/>
              <a:gd name="connsiteY15486" fmla="*/ 1230157 h 6557032"/>
              <a:gd name="connsiteX15487" fmla="*/ 1005840 w 4610101"/>
              <a:gd name="connsiteY15487" fmla="*/ 1230820 h 6557032"/>
              <a:gd name="connsiteX15488" fmla="*/ 1009485 w 4610101"/>
              <a:gd name="connsiteY15488" fmla="*/ 1230820 h 6557032"/>
              <a:gd name="connsiteX15489" fmla="*/ 1008491 w 4610101"/>
              <a:gd name="connsiteY15489" fmla="*/ 1230157 h 6557032"/>
              <a:gd name="connsiteX15490" fmla="*/ 1013129 w 4610101"/>
              <a:gd name="connsiteY15490" fmla="*/ 1228998 h 6557032"/>
              <a:gd name="connsiteX15491" fmla="*/ 1006752 w 4610101"/>
              <a:gd name="connsiteY15491" fmla="*/ 1228998 h 6557032"/>
              <a:gd name="connsiteX15492" fmla="*/ 996729 w 4610101"/>
              <a:gd name="connsiteY15492" fmla="*/ 1227175 h 6557032"/>
              <a:gd name="connsiteX15493" fmla="*/ 989441 w 4610101"/>
              <a:gd name="connsiteY15493" fmla="*/ 1234464 h 6557032"/>
              <a:gd name="connsiteX15494" fmla="*/ 989441 w 4610101"/>
              <a:gd name="connsiteY15494" fmla="*/ 1232642 h 6557032"/>
              <a:gd name="connsiteX15495" fmla="*/ 988348 w 4610101"/>
              <a:gd name="connsiteY15495" fmla="*/ 1234828 h 6557032"/>
              <a:gd name="connsiteX15496" fmla="*/ 986708 w 4610101"/>
              <a:gd name="connsiteY15496" fmla="*/ 1235375 h 6557032"/>
              <a:gd name="connsiteX15497" fmla="*/ 982152 w 4610101"/>
              <a:gd name="connsiteY15497" fmla="*/ 1230820 h 6557032"/>
              <a:gd name="connsiteX15498" fmla="*/ 983974 w 4610101"/>
              <a:gd name="connsiteY15498" fmla="*/ 1239931 h 6557032"/>
              <a:gd name="connsiteX15499" fmla="*/ 985341 w 4610101"/>
              <a:gd name="connsiteY15499" fmla="*/ 1235831 h 6557032"/>
              <a:gd name="connsiteX15500" fmla="*/ 986708 w 4610101"/>
              <a:gd name="connsiteY15500" fmla="*/ 1235375 h 6557032"/>
              <a:gd name="connsiteX15501" fmla="*/ 987619 w 4610101"/>
              <a:gd name="connsiteY15501" fmla="*/ 1236286 h 6557032"/>
              <a:gd name="connsiteX15502" fmla="*/ 988348 w 4610101"/>
              <a:gd name="connsiteY15502" fmla="*/ 1234828 h 6557032"/>
              <a:gd name="connsiteX15503" fmla="*/ 989441 w 4610101"/>
              <a:gd name="connsiteY15503" fmla="*/ 1234464 h 6557032"/>
              <a:gd name="connsiteX15504" fmla="*/ 998552 w 4610101"/>
              <a:gd name="connsiteY15504" fmla="*/ 1228998 h 6557032"/>
              <a:gd name="connsiteX15505" fmla="*/ 996729 w 4610101"/>
              <a:gd name="connsiteY15505" fmla="*/ 1227175 h 6557032"/>
              <a:gd name="connsiteX15506" fmla="*/ 929309 w 4610101"/>
              <a:gd name="connsiteY15506" fmla="*/ 1227175 h 6557032"/>
              <a:gd name="connsiteX15507" fmla="*/ 925666 w 4610101"/>
              <a:gd name="connsiteY15507" fmla="*/ 1232642 h 6557032"/>
              <a:gd name="connsiteX15508" fmla="*/ 929309 w 4610101"/>
              <a:gd name="connsiteY15508" fmla="*/ 1227175 h 6557032"/>
              <a:gd name="connsiteX15509" fmla="*/ 909265 w 4610101"/>
              <a:gd name="connsiteY15509" fmla="*/ 1227175 h 6557032"/>
              <a:gd name="connsiteX15510" fmla="*/ 903799 w 4610101"/>
              <a:gd name="connsiteY15510" fmla="*/ 1230820 h 6557032"/>
              <a:gd name="connsiteX15511" fmla="*/ 907444 w 4610101"/>
              <a:gd name="connsiteY15511" fmla="*/ 1236286 h 6557032"/>
              <a:gd name="connsiteX15512" fmla="*/ 909265 w 4610101"/>
              <a:gd name="connsiteY15512" fmla="*/ 1227175 h 6557032"/>
              <a:gd name="connsiteX15513" fmla="*/ 847311 w 4610101"/>
              <a:gd name="connsiteY15513" fmla="*/ 1227175 h 6557032"/>
              <a:gd name="connsiteX15514" fmla="*/ 838200 w 4610101"/>
              <a:gd name="connsiteY15514" fmla="*/ 1228998 h 6557032"/>
              <a:gd name="connsiteX15515" fmla="*/ 847311 w 4610101"/>
              <a:gd name="connsiteY15515" fmla="*/ 1234464 h 6557032"/>
              <a:gd name="connsiteX15516" fmla="*/ 847311 w 4610101"/>
              <a:gd name="connsiteY15516" fmla="*/ 1227175 h 6557032"/>
              <a:gd name="connsiteX15517" fmla="*/ 637761 w 4610101"/>
              <a:gd name="connsiteY15517" fmla="*/ 1227175 h 6557032"/>
              <a:gd name="connsiteX15518" fmla="*/ 634117 w 4610101"/>
              <a:gd name="connsiteY15518" fmla="*/ 1234464 h 6557032"/>
              <a:gd name="connsiteX15519" fmla="*/ 632296 w 4610101"/>
              <a:gd name="connsiteY15519" fmla="*/ 1228998 h 6557032"/>
              <a:gd name="connsiteX15520" fmla="*/ 623185 w 4610101"/>
              <a:gd name="connsiteY15520" fmla="*/ 1243575 h 6557032"/>
              <a:gd name="connsiteX15521" fmla="*/ 628650 w 4610101"/>
              <a:gd name="connsiteY15521" fmla="*/ 1241753 h 6557032"/>
              <a:gd name="connsiteX15522" fmla="*/ 626828 w 4610101"/>
              <a:gd name="connsiteY15522" fmla="*/ 1234464 h 6557032"/>
              <a:gd name="connsiteX15523" fmla="*/ 646872 w 4610101"/>
              <a:gd name="connsiteY15523" fmla="*/ 1239931 h 6557032"/>
              <a:gd name="connsiteX15524" fmla="*/ 637761 w 4610101"/>
              <a:gd name="connsiteY15524" fmla="*/ 1227175 h 6557032"/>
              <a:gd name="connsiteX15525" fmla="*/ 608606 w 4610101"/>
              <a:gd name="connsiteY15525" fmla="*/ 1227175 h 6557032"/>
              <a:gd name="connsiteX15526" fmla="*/ 610429 w 4610101"/>
              <a:gd name="connsiteY15526" fmla="*/ 1230820 h 6557032"/>
              <a:gd name="connsiteX15527" fmla="*/ 608606 w 4610101"/>
              <a:gd name="connsiteY15527" fmla="*/ 1227175 h 6557032"/>
              <a:gd name="connsiteX15528" fmla="*/ 595852 w 4610101"/>
              <a:gd name="connsiteY15528" fmla="*/ 1227175 h 6557032"/>
              <a:gd name="connsiteX15529" fmla="*/ 575808 w 4610101"/>
              <a:gd name="connsiteY15529" fmla="*/ 1230820 h 6557032"/>
              <a:gd name="connsiteX15530" fmla="*/ 577630 w 4610101"/>
              <a:gd name="connsiteY15530" fmla="*/ 1232642 h 6557032"/>
              <a:gd name="connsiteX15531" fmla="*/ 595852 w 4610101"/>
              <a:gd name="connsiteY15531" fmla="*/ 1227175 h 6557032"/>
              <a:gd name="connsiteX15532" fmla="*/ 406345 w 4610101"/>
              <a:gd name="connsiteY15532" fmla="*/ 1227175 h 6557032"/>
              <a:gd name="connsiteX15533" fmla="*/ 409989 w 4610101"/>
              <a:gd name="connsiteY15533" fmla="*/ 1230820 h 6557032"/>
              <a:gd name="connsiteX15534" fmla="*/ 406345 w 4610101"/>
              <a:gd name="connsiteY15534" fmla="*/ 1227175 h 6557032"/>
              <a:gd name="connsiteX15535" fmla="*/ 1419618 w 4610101"/>
              <a:gd name="connsiteY15535" fmla="*/ 1227111 h 6557032"/>
              <a:gd name="connsiteX15536" fmla="*/ 1419579 w 4610101"/>
              <a:gd name="connsiteY15536" fmla="*/ 1227192 h 6557032"/>
              <a:gd name="connsiteX15537" fmla="*/ 1419474 w 4610101"/>
              <a:gd name="connsiteY15537" fmla="*/ 1227175 h 6557032"/>
              <a:gd name="connsiteX15538" fmla="*/ 343040 w 4610101"/>
              <a:gd name="connsiteY15538" fmla="*/ 1226411 h 6557032"/>
              <a:gd name="connsiteX15539" fmla="*/ 356780 w 4610101"/>
              <a:gd name="connsiteY15539" fmla="*/ 1228860 h 6557032"/>
              <a:gd name="connsiteX15540" fmla="*/ 354869 w 4610101"/>
              <a:gd name="connsiteY15540" fmla="*/ 1229453 h 6557032"/>
              <a:gd name="connsiteX15541" fmla="*/ 1213569 w 4610101"/>
              <a:gd name="connsiteY15541" fmla="*/ 1226264 h 6557032"/>
              <a:gd name="connsiteX15542" fmla="*/ 1208102 w 4610101"/>
              <a:gd name="connsiteY15542" fmla="*/ 1227175 h 6557032"/>
              <a:gd name="connsiteX15543" fmla="*/ 1215390 w 4610101"/>
              <a:gd name="connsiteY15543" fmla="*/ 1234464 h 6557032"/>
              <a:gd name="connsiteX15544" fmla="*/ 1219036 w 4610101"/>
              <a:gd name="connsiteY15544" fmla="*/ 1230820 h 6557032"/>
              <a:gd name="connsiteX15545" fmla="*/ 1213569 w 4610101"/>
              <a:gd name="connsiteY15545" fmla="*/ 1226264 h 6557032"/>
              <a:gd name="connsiteX15546" fmla="*/ 1066200 w 4610101"/>
              <a:gd name="connsiteY15546" fmla="*/ 1226264 h 6557032"/>
              <a:gd name="connsiteX15547" fmla="*/ 1060506 w 4610101"/>
              <a:gd name="connsiteY15547" fmla="*/ 1227175 h 6557032"/>
              <a:gd name="connsiteX15548" fmla="*/ 1067794 w 4610101"/>
              <a:gd name="connsiteY15548" fmla="*/ 1230820 h 6557032"/>
              <a:gd name="connsiteX15549" fmla="*/ 1066200 w 4610101"/>
              <a:gd name="connsiteY15549" fmla="*/ 1226264 h 6557032"/>
              <a:gd name="connsiteX15550" fmla="*/ 3285380 w 4610101"/>
              <a:gd name="connsiteY15550" fmla="*/ 1225353 h 6557032"/>
              <a:gd name="connsiteX15551" fmla="*/ 3283558 w 4610101"/>
              <a:gd name="connsiteY15551" fmla="*/ 1230820 h 6557032"/>
              <a:gd name="connsiteX15552" fmla="*/ 3285380 w 4610101"/>
              <a:gd name="connsiteY15552" fmla="*/ 1230820 h 6557032"/>
              <a:gd name="connsiteX15553" fmla="*/ 3278091 w 4610101"/>
              <a:gd name="connsiteY15553" fmla="*/ 1238108 h 6557032"/>
              <a:gd name="connsiteX15554" fmla="*/ 3287202 w 4610101"/>
              <a:gd name="connsiteY15554" fmla="*/ 1234464 h 6557032"/>
              <a:gd name="connsiteX15555" fmla="*/ 3285380 w 4610101"/>
              <a:gd name="connsiteY15555" fmla="*/ 1225353 h 6557032"/>
              <a:gd name="connsiteX15556" fmla="*/ 3238003 w 4610101"/>
              <a:gd name="connsiteY15556" fmla="*/ 1225353 h 6557032"/>
              <a:gd name="connsiteX15557" fmla="*/ 3239826 w 4610101"/>
              <a:gd name="connsiteY15557" fmla="*/ 1227175 h 6557032"/>
              <a:gd name="connsiteX15558" fmla="*/ 3241648 w 4610101"/>
              <a:gd name="connsiteY15558" fmla="*/ 1227175 h 6557032"/>
              <a:gd name="connsiteX15559" fmla="*/ 3238003 w 4610101"/>
              <a:gd name="connsiteY15559" fmla="*/ 1225353 h 6557032"/>
              <a:gd name="connsiteX15560" fmla="*/ 2423492 w 4610101"/>
              <a:gd name="connsiteY15560" fmla="*/ 1225353 h 6557032"/>
              <a:gd name="connsiteX15561" fmla="*/ 2428958 w 4610101"/>
              <a:gd name="connsiteY15561" fmla="*/ 1227175 h 6557032"/>
              <a:gd name="connsiteX15562" fmla="*/ 2430780 w 4610101"/>
              <a:gd name="connsiteY15562" fmla="*/ 1225353 h 6557032"/>
              <a:gd name="connsiteX15563" fmla="*/ 2246741 w 4610101"/>
              <a:gd name="connsiteY15563" fmla="*/ 1225353 h 6557032"/>
              <a:gd name="connsiteX15564" fmla="*/ 2244919 w 4610101"/>
              <a:gd name="connsiteY15564" fmla="*/ 1234464 h 6557032"/>
              <a:gd name="connsiteX15565" fmla="*/ 2255852 w 4610101"/>
              <a:gd name="connsiteY15565" fmla="*/ 1232642 h 6557032"/>
              <a:gd name="connsiteX15566" fmla="*/ 1364809 w 4610101"/>
              <a:gd name="connsiteY15566" fmla="*/ 1225353 h 6557032"/>
              <a:gd name="connsiteX15567" fmla="*/ 1362987 w 4610101"/>
              <a:gd name="connsiteY15567" fmla="*/ 1227175 h 6557032"/>
              <a:gd name="connsiteX15568" fmla="*/ 1368453 w 4610101"/>
              <a:gd name="connsiteY15568" fmla="*/ 1230820 h 6557032"/>
              <a:gd name="connsiteX15569" fmla="*/ 1364809 w 4610101"/>
              <a:gd name="connsiteY15569" fmla="*/ 1225353 h 6557032"/>
              <a:gd name="connsiteX15570" fmla="*/ 1158903 w 4610101"/>
              <a:gd name="connsiteY15570" fmla="*/ 1225353 h 6557032"/>
              <a:gd name="connsiteX15571" fmla="*/ 1155259 w 4610101"/>
              <a:gd name="connsiteY15571" fmla="*/ 1234464 h 6557032"/>
              <a:gd name="connsiteX15572" fmla="*/ 1157162 w 4610101"/>
              <a:gd name="connsiteY15572" fmla="*/ 1233306 h 6557032"/>
              <a:gd name="connsiteX15573" fmla="*/ 1153436 w 4610101"/>
              <a:gd name="connsiteY15573" fmla="*/ 1236286 h 6557032"/>
              <a:gd name="connsiteX15574" fmla="*/ 1160725 w 4610101"/>
              <a:gd name="connsiteY15574" fmla="*/ 1239931 h 6557032"/>
              <a:gd name="connsiteX15575" fmla="*/ 1157081 w 4610101"/>
              <a:gd name="connsiteY15575" fmla="*/ 1243575 h 6557032"/>
              <a:gd name="connsiteX15576" fmla="*/ 1162547 w 4610101"/>
              <a:gd name="connsiteY15576" fmla="*/ 1228998 h 6557032"/>
              <a:gd name="connsiteX15577" fmla="*/ 1160356 w 4610101"/>
              <a:gd name="connsiteY15577" fmla="*/ 1230750 h 6557032"/>
              <a:gd name="connsiteX15578" fmla="*/ 1142503 w 4610101"/>
              <a:gd name="connsiteY15578" fmla="*/ 1225353 h 6557032"/>
              <a:gd name="connsiteX15579" fmla="*/ 1144326 w 4610101"/>
              <a:gd name="connsiteY15579" fmla="*/ 1232642 h 6557032"/>
              <a:gd name="connsiteX15580" fmla="*/ 1140681 w 4610101"/>
              <a:gd name="connsiteY15580" fmla="*/ 1234464 h 6557032"/>
              <a:gd name="connsiteX15581" fmla="*/ 1142503 w 4610101"/>
              <a:gd name="connsiteY15581" fmla="*/ 1236286 h 6557032"/>
              <a:gd name="connsiteX15582" fmla="*/ 1151614 w 4610101"/>
              <a:gd name="connsiteY15582" fmla="*/ 1227175 h 6557032"/>
              <a:gd name="connsiteX15583" fmla="*/ 1142503 w 4610101"/>
              <a:gd name="connsiteY15583" fmla="*/ 1225353 h 6557032"/>
              <a:gd name="connsiteX15584" fmla="*/ 1131570 w 4610101"/>
              <a:gd name="connsiteY15584" fmla="*/ 1225353 h 6557032"/>
              <a:gd name="connsiteX15585" fmla="*/ 1129748 w 4610101"/>
              <a:gd name="connsiteY15585" fmla="*/ 1230820 h 6557032"/>
              <a:gd name="connsiteX15586" fmla="*/ 1135215 w 4610101"/>
              <a:gd name="connsiteY15586" fmla="*/ 1232642 h 6557032"/>
              <a:gd name="connsiteX15587" fmla="*/ 1131570 w 4610101"/>
              <a:gd name="connsiteY15587" fmla="*/ 1225353 h 6557032"/>
              <a:gd name="connsiteX15588" fmla="*/ 1034995 w 4610101"/>
              <a:gd name="connsiteY15588" fmla="*/ 1225353 h 6557032"/>
              <a:gd name="connsiteX15589" fmla="*/ 1033173 w 4610101"/>
              <a:gd name="connsiteY15589" fmla="*/ 1230820 h 6557032"/>
              <a:gd name="connsiteX15590" fmla="*/ 1020418 w 4610101"/>
              <a:gd name="connsiteY15590" fmla="*/ 1236286 h 6557032"/>
              <a:gd name="connsiteX15591" fmla="*/ 1025884 w 4610101"/>
              <a:gd name="connsiteY15591" fmla="*/ 1241753 h 6557032"/>
              <a:gd name="connsiteX15592" fmla="*/ 1029529 w 4610101"/>
              <a:gd name="connsiteY15592" fmla="*/ 1249042 h 6557032"/>
              <a:gd name="connsiteX15593" fmla="*/ 1040462 w 4610101"/>
              <a:gd name="connsiteY15593" fmla="*/ 1241753 h 6557032"/>
              <a:gd name="connsiteX15594" fmla="*/ 1036818 w 4610101"/>
              <a:gd name="connsiteY15594" fmla="*/ 1236286 h 6557032"/>
              <a:gd name="connsiteX15595" fmla="*/ 1040462 w 4610101"/>
              <a:gd name="connsiteY15595" fmla="*/ 1239931 h 6557032"/>
              <a:gd name="connsiteX15596" fmla="*/ 1044106 w 4610101"/>
              <a:gd name="connsiteY15596" fmla="*/ 1234464 h 6557032"/>
              <a:gd name="connsiteX15597" fmla="*/ 1034995 w 4610101"/>
              <a:gd name="connsiteY15597" fmla="*/ 1225353 h 6557032"/>
              <a:gd name="connsiteX15598" fmla="*/ 931131 w 4610101"/>
              <a:gd name="connsiteY15598" fmla="*/ 1225353 h 6557032"/>
              <a:gd name="connsiteX15599" fmla="*/ 931131 w 4610101"/>
              <a:gd name="connsiteY15599" fmla="*/ 1230820 h 6557032"/>
              <a:gd name="connsiteX15600" fmla="*/ 936598 w 4610101"/>
              <a:gd name="connsiteY15600" fmla="*/ 1227175 h 6557032"/>
              <a:gd name="connsiteX15601" fmla="*/ 931131 w 4610101"/>
              <a:gd name="connsiteY15601" fmla="*/ 1225353 h 6557032"/>
              <a:gd name="connsiteX15602" fmla="*/ 322525 w 4610101"/>
              <a:gd name="connsiteY15602" fmla="*/ 1225353 h 6557032"/>
              <a:gd name="connsiteX15603" fmla="*/ 322525 w 4610101"/>
              <a:gd name="connsiteY15603" fmla="*/ 1230820 h 6557032"/>
              <a:gd name="connsiteX15604" fmla="*/ 324347 w 4610101"/>
              <a:gd name="connsiteY15604" fmla="*/ 1227175 h 6557032"/>
              <a:gd name="connsiteX15605" fmla="*/ 322525 w 4610101"/>
              <a:gd name="connsiteY15605" fmla="*/ 1225353 h 6557032"/>
              <a:gd name="connsiteX15606" fmla="*/ 318882 w 4610101"/>
              <a:gd name="connsiteY15606" fmla="*/ 1225353 h 6557032"/>
              <a:gd name="connsiteX15607" fmla="*/ 313414 w 4610101"/>
              <a:gd name="connsiteY15607" fmla="*/ 1232642 h 6557032"/>
              <a:gd name="connsiteX15608" fmla="*/ 320703 w 4610101"/>
              <a:gd name="connsiteY15608" fmla="*/ 1232642 h 6557032"/>
              <a:gd name="connsiteX15609" fmla="*/ 318882 w 4610101"/>
              <a:gd name="connsiteY15609" fmla="*/ 1225353 h 6557032"/>
              <a:gd name="connsiteX15610" fmla="*/ 1426432 w 4610101"/>
              <a:gd name="connsiteY15610" fmla="*/ 1224083 h 6557032"/>
              <a:gd name="connsiteX15611" fmla="*/ 1423118 w 4610101"/>
              <a:gd name="connsiteY15611" fmla="*/ 1227175 h 6557032"/>
              <a:gd name="connsiteX15612" fmla="*/ 1422099 w 4610101"/>
              <a:gd name="connsiteY15612" fmla="*/ 1226009 h 6557032"/>
              <a:gd name="connsiteX15613" fmla="*/ 1426763 w 4610101"/>
              <a:gd name="connsiteY15613" fmla="*/ 1223936 h 6557032"/>
              <a:gd name="connsiteX15614" fmla="*/ 1426432 w 4610101"/>
              <a:gd name="connsiteY15614" fmla="*/ 1224083 h 6557032"/>
              <a:gd name="connsiteX15615" fmla="*/ 1426536 w 4610101"/>
              <a:gd name="connsiteY15615" fmla="*/ 1223987 h 6557032"/>
              <a:gd name="connsiteX15616" fmla="*/ 3345512 w 4610101"/>
              <a:gd name="connsiteY15616" fmla="*/ 1223531 h 6557032"/>
              <a:gd name="connsiteX15617" fmla="*/ 3341867 w 4610101"/>
              <a:gd name="connsiteY15617" fmla="*/ 1225353 h 6557032"/>
              <a:gd name="connsiteX15618" fmla="*/ 3347334 w 4610101"/>
              <a:gd name="connsiteY15618" fmla="*/ 1228998 h 6557032"/>
              <a:gd name="connsiteX15619" fmla="*/ 3345512 w 4610101"/>
              <a:gd name="connsiteY15619" fmla="*/ 1223531 h 6557032"/>
              <a:gd name="connsiteX15620" fmla="*/ 3157828 w 4610101"/>
              <a:gd name="connsiteY15620" fmla="*/ 1223531 h 6557032"/>
              <a:gd name="connsiteX15621" fmla="*/ 3150539 w 4610101"/>
              <a:gd name="connsiteY15621" fmla="*/ 1225353 h 6557032"/>
              <a:gd name="connsiteX15622" fmla="*/ 3150539 w 4610101"/>
              <a:gd name="connsiteY15622" fmla="*/ 1230820 h 6557032"/>
              <a:gd name="connsiteX15623" fmla="*/ 3157828 w 4610101"/>
              <a:gd name="connsiteY15623" fmla="*/ 1223531 h 6557032"/>
              <a:gd name="connsiteX15624" fmla="*/ 1421296 w 4610101"/>
              <a:gd name="connsiteY15624" fmla="*/ 1223531 h 6557032"/>
              <a:gd name="connsiteX15625" fmla="*/ 1421524 w 4610101"/>
              <a:gd name="connsiteY15625" fmla="*/ 1225353 h 6557032"/>
              <a:gd name="connsiteX15626" fmla="*/ 1422099 w 4610101"/>
              <a:gd name="connsiteY15626" fmla="*/ 1226009 h 6557032"/>
              <a:gd name="connsiteX15627" fmla="*/ 1419618 w 4610101"/>
              <a:gd name="connsiteY15627" fmla="*/ 1227111 h 6557032"/>
              <a:gd name="connsiteX15628" fmla="*/ 1131570 w 4610101"/>
              <a:gd name="connsiteY15628" fmla="*/ 1223531 h 6557032"/>
              <a:gd name="connsiteX15629" fmla="*/ 1137037 w 4610101"/>
              <a:gd name="connsiteY15629" fmla="*/ 1230820 h 6557032"/>
              <a:gd name="connsiteX15630" fmla="*/ 1135215 w 4610101"/>
              <a:gd name="connsiteY15630" fmla="*/ 1223531 h 6557032"/>
              <a:gd name="connsiteX15631" fmla="*/ 1131570 w 4610101"/>
              <a:gd name="connsiteY15631" fmla="*/ 1223531 h 6557032"/>
              <a:gd name="connsiteX15632" fmla="*/ 1051395 w 4610101"/>
              <a:gd name="connsiteY15632" fmla="*/ 1223531 h 6557032"/>
              <a:gd name="connsiteX15633" fmla="*/ 1045929 w 4610101"/>
              <a:gd name="connsiteY15633" fmla="*/ 1234464 h 6557032"/>
              <a:gd name="connsiteX15634" fmla="*/ 1051395 w 4610101"/>
              <a:gd name="connsiteY15634" fmla="*/ 1238108 h 6557032"/>
              <a:gd name="connsiteX15635" fmla="*/ 1056861 w 4610101"/>
              <a:gd name="connsiteY15635" fmla="*/ 1232642 h 6557032"/>
              <a:gd name="connsiteX15636" fmla="*/ 1060506 w 4610101"/>
              <a:gd name="connsiteY15636" fmla="*/ 1239931 h 6557032"/>
              <a:gd name="connsiteX15637" fmla="*/ 1051395 w 4610101"/>
              <a:gd name="connsiteY15637" fmla="*/ 1223531 h 6557032"/>
              <a:gd name="connsiteX15638" fmla="*/ 1044106 w 4610101"/>
              <a:gd name="connsiteY15638" fmla="*/ 1223531 h 6557032"/>
              <a:gd name="connsiteX15639" fmla="*/ 1047750 w 4610101"/>
              <a:gd name="connsiteY15639" fmla="*/ 1227175 h 6557032"/>
              <a:gd name="connsiteX15640" fmla="*/ 1049573 w 4610101"/>
              <a:gd name="connsiteY15640" fmla="*/ 1223531 h 6557032"/>
              <a:gd name="connsiteX15641" fmla="*/ 1044106 w 4610101"/>
              <a:gd name="connsiteY15641" fmla="*/ 1223531 h 6557032"/>
              <a:gd name="connsiteX15642" fmla="*/ 1036818 w 4610101"/>
              <a:gd name="connsiteY15642" fmla="*/ 1223531 h 6557032"/>
              <a:gd name="connsiteX15643" fmla="*/ 1044106 w 4610101"/>
              <a:gd name="connsiteY15643" fmla="*/ 1230820 h 6557032"/>
              <a:gd name="connsiteX15644" fmla="*/ 1044106 w 4610101"/>
              <a:gd name="connsiteY15644" fmla="*/ 1225353 h 6557032"/>
              <a:gd name="connsiteX15645" fmla="*/ 1036818 w 4610101"/>
              <a:gd name="connsiteY15645" fmla="*/ 1223531 h 6557032"/>
              <a:gd name="connsiteX15646" fmla="*/ 923843 w 4610101"/>
              <a:gd name="connsiteY15646" fmla="*/ 1223531 h 6557032"/>
              <a:gd name="connsiteX15647" fmla="*/ 927487 w 4610101"/>
              <a:gd name="connsiteY15647" fmla="*/ 1227175 h 6557032"/>
              <a:gd name="connsiteX15648" fmla="*/ 923843 w 4610101"/>
              <a:gd name="connsiteY15648" fmla="*/ 1223531 h 6557032"/>
              <a:gd name="connsiteX15649" fmla="*/ 920198 w 4610101"/>
              <a:gd name="connsiteY15649" fmla="*/ 1223531 h 6557032"/>
              <a:gd name="connsiteX15650" fmla="*/ 916555 w 4610101"/>
              <a:gd name="connsiteY15650" fmla="*/ 1227175 h 6557032"/>
              <a:gd name="connsiteX15651" fmla="*/ 922020 w 4610101"/>
              <a:gd name="connsiteY15651" fmla="*/ 1227175 h 6557032"/>
              <a:gd name="connsiteX15652" fmla="*/ 920198 w 4610101"/>
              <a:gd name="connsiteY15652" fmla="*/ 1223531 h 6557032"/>
              <a:gd name="connsiteX15653" fmla="*/ 352819 w 4610101"/>
              <a:gd name="connsiteY15653" fmla="*/ 1221937 h 6557032"/>
              <a:gd name="connsiteX15654" fmla="*/ 338926 w 4610101"/>
              <a:gd name="connsiteY15654" fmla="*/ 1225353 h 6557032"/>
              <a:gd name="connsiteX15655" fmla="*/ 343040 w 4610101"/>
              <a:gd name="connsiteY15655" fmla="*/ 1226411 h 6557032"/>
              <a:gd name="connsiteX15656" fmla="*/ 337102 w 4610101"/>
              <a:gd name="connsiteY15656" fmla="*/ 1225353 h 6557032"/>
              <a:gd name="connsiteX15657" fmla="*/ 329814 w 4610101"/>
              <a:gd name="connsiteY15657" fmla="*/ 1232642 h 6557032"/>
              <a:gd name="connsiteX15658" fmla="*/ 388123 w 4610101"/>
              <a:gd name="connsiteY15658" fmla="*/ 1238108 h 6557032"/>
              <a:gd name="connsiteX15659" fmla="*/ 386301 w 4610101"/>
              <a:gd name="connsiteY15659" fmla="*/ 1236286 h 6557032"/>
              <a:gd name="connsiteX15660" fmla="*/ 382657 w 4610101"/>
              <a:gd name="connsiteY15660" fmla="*/ 1236286 h 6557032"/>
              <a:gd name="connsiteX15661" fmla="*/ 389946 w 4610101"/>
              <a:gd name="connsiteY15661" fmla="*/ 1232642 h 6557032"/>
              <a:gd name="connsiteX15662" fmla="*/ 386301 w 4610101"/>
              <a:gd name="connsiteY15662" fmla="*/ 1228998 h 6557032"/>
              <a:gd name="connsiteX15663" fmla="*/ 393590 w 4610101"/>
              <a:gd name="connsiteY15663" fmla="*/ 1230820 h 6557032"/>
              <a:gd name="connsiteX15664" fmla="*/ 383797 w 4610101"/>
              <a:gd name="connsiteY15664" fmla="*/ 1226036 h 6557032"/>
              <a:gd name="connsiteX15665" fmla="*/ 378021 w 4610101"/>
              <a:gd name="connsiteY15665" fmla="*/ 1225568 h 6557032"/>
              <a:gd name="connsiteX15666" fmla="*/ 379012 w 4610101"/>
              <a:gd name="connsiteY15666" fmla="*/ 1225353 h 6557032"/>
              <a:gd name="connsiteX15667" fmla="*/ 375368 w 4610101"/>
              <a:gd name="connsiteY15667" fmla="*/ 1225353 h 6557032"/>
              <a:gd name="connsiteX15668" fmla="*/ 378021 w 4610101"/>
              <a:gd name="connsiteY15668" fmla="*/ 1225568 h 6557032"/>
              <a:gd name="connsiteX15669" fmla="*/ 360107 w 4610101"/>
              <a:gd name="connsiteY15669" fmla="*/ 1229453 h 6557032"/>
              <a:gd name="connsiteX15670" fmla="*/ 356780 w 4610101"/>
              <a:gd name="connsiteY15670" fmla="*/ 1228860 h 6557032"/>
              <a:gd name="connsiteX15671" fmla="*/ 368079 w 4610101"/>
              <a:gd name="connsiteY15671" fmla="*/ 1225353 h 6557032"/>
              <a:gd name="connsiteX15672" fmla="*/ 352819 w 4610101"/>
              <a:gd name="connsiteY15672" fmla="*/ 1221937 h 6557032"/>
              <a:gd name="connsiteX15673" fmla="*/ 3272625 w 4610101"/>
              <a:gd name="connsiteY15673" fmla="*/ 1221709 h 6557032"/>
              <a:gd name="connsiteX15674" fmla="*/ 3267158 w 4610101"/>
              <a:gd name="connsiteY15674" fmla="*/ 1228998 h 6557032"/>
              <a:gd name="connsiteX15675" fmla="*/ 3278091 w 4610101"/>
              <a:gd name="connsiteY15675" fmla="*/ 1228998 h 6557032"/>
              <a:gd name="connsiteX15676" fmla="*/ 3272625 w 4610101"/>
              <a:gd name="connsiteY15676" fmla="*/ 1221709 h 6557032"/>
              <a:gd name="connsiteX15677" fmla="*/ 3267158 w 4610101"/>
              <a:gd name="connsiteY15677" fmla="*/ 1221709 h 6557032"/>
              <a:gd name="connsiteX15678" fmla="*/ 3256225 w 4610101"/>
              <a:gd name="connsiteY15678" fmla="*/ 1230820 h 6557032"/>
              <a:gd name="connsiteX15679" fmla="*/ 3252581 w 4610101"/>
              <a:gd name="connsiteY15679" fmla="*/ 1225353 h 6557032"/>
              <a:gd name="connsiteX15680" fmla="*/ 3243470 w 4610101"/>
              <a:gd name="connsiteY15680" fmla="*/ 1225353 h 6557032"/>
              <a:gd name="connsiteX15681" fmla="*/ 3245292 w 4610101"/>
              <a:gd name="connsiteY15681" fmla="*/ 1228998 h 6557032"/>
              <a:gd name="connsiteX15682" fmla="*/ 3247114 w 4610101"/>
              <a:gd name="connsiteY15682" fmla="*/ 1227175 h 6557032"/>
              <a:gd name="connsiteX15683" fmla="*/ 3247114 w 4610101"/>
              <a:gd name="connsiteY15683" fmla="*/ 1234464 h 6557032"/>
              <a:gd name="connsiteX15684" fmla="*/ 3247114 w 4610101"/>
              <a:gd name="connsiteY15684" fmla="*/ 1236286 h 6557032"/>
              <a:gd name="connsiteX15685" fmla="*/ 3256225 w 4610101"/>
              <a:gd name="connsiteY15685" fmla="*/ 1232642 h 6557032"/>
              <a:gd name="connsiteX15686" fmla="*/ 3254403 w 4610101"/>
              <a:gd name="connsiteY15686" fmla="*/ 1243575 h 6557032"/>
              <a:gd name="connsiteX15687" fmla="*/ 3274447 w 4610101"/>
              <a:gd name="connsiteY15687" fmla="*/ 1232642 h 6557032"/>
              <a:gd name="connsiteX15688" fmla="*/ 3263514 w 4610101"/>
              <a:gd name="connsiteY15688" fmla="*/ 1239931 h 6557032"/>
              <a:gd name="connsiteX15689" fmla="*/ 3259869 w 4610101"/>
              <a:gd name="connsiteY15689" fmla="*/ 1228998 h 6557032"/>
              <a:gd name="connsiteX15690" fmla="*/ 3267158 w 4610101"/>
              <a:gd name="connsiteY15690" fmla="*/ 1221709 h 6557032"/>
              <a:gd name="connsiteX15691" fmla="*/ 3135962 w 4610101"/>
              <a:gd name="connsiteY15691" fmla="*/ 1221709 h 6557032"/>
              <a:gd name="connsiteX15692" fmla="*/ 3134140 w 4610101"/>
              <a:gd name="connsiteY15692" fmla="*/ 1225353 h 6557032"/>
              <a:gd name="connsiteX15693" fmla="*/ 3141428 w 4610101"/>
              <a:gd name="connsiteY15693" fmla="*/ 1228998 h 6557032"/>
              <a:gd name="connsiteX15694" fmla="*/ 3135962 w 4610101"/>
              <a:gd name="connsiteY15694" fmla="*/ 1221709 h 6557032"/>
              <a:gd name="connsiteX15695" fmla="*/ 2381582 w 4610101"/>
              <a:gd name="connsiteY15695" fmla="*/ 1221709 h 6557032"/>
              <a:gd name="connsiteX15696" fmla="*/ 2374293 w 4610101"/>
              <a:gd name="connsiteY15696" fmla="*/ 1234464 h 6557032"/>
              <a:gd name="connsiteX15697" fmla="*/ 2365182 w 4610101"/>
              <a:gd name="connsiteY15697" fmla="*/ 1228998 h 6557032"/>
              <a:gd name="connsiteX15698" fmla="*/ 2361538 w 4610101"/>
              <a:gd name="connsiteY15698" fmla="*/ 1230820 h 6557032"/>
              <a:gd name="connsiteX15699" fmla="*/ 2357893 w 4610101"/>
              <a:gd name="connsiteY15699" fmla="*/ 1232642 h 6557032"/>
              <a:gd name="connsiteX15700" fmla="*/ 2348782 w 4610101"/>
              <a:gd name="connsiteY15700" fmla="*/ 1238108 h 6557032"/>
              <a:gd name="connsiteX15701" fmla="*/ 2346960 w 4610101"/>
              <a:gd name="connsiteY15701" fmla="*/ 1239931 h 6557032"/>
              <a:gd name="connsiteX15702" fmla="*/ 2348782 w 4610101"/>
              <a:gd name="connsiteY15702" fmla="*/ 1243575 h 6557032"/>
              <a:gd name="connsiteX15703" fmla="*/ 2368827 w 4610101"/>
              <a:gd name="connsiteY15703" fmla="*/ 1241753 h 6557032"/>
              <a:gd name="connsiteX15704" fmla="*/ 2372471 w 4610101"/>
              <a:gd name="connsiteY15704" fmla="*/ 1252686 h 6557032"/>
              <a:gd name="connsiteX15705" fmla="*/ 2376115 w 4610101"/>
              <a:gd name="connsiteY15705" fmla="*/ 1252686 h 6557032"/>
              <a:gd name="connsiteX15706" fmla="*/ 2374293 w 4610101"/>
              <a:gd name="connsiteY15706" fmla="*/ 1247219 h 6557032"/>
              <a:gd name="connsiteX15707" fmla="*/ 2383404 w 4610101"/>
              <a:gd name="connsiteY15707" fmla="*/ 1243575 h 6557032"/>
              <a:gd name="connsiteX15708" fmla="*/ 2379760 w 4610101"/>
              <a:gd name="connsiteY15708" fmla="*/ 1250864 h 6557032"/>
              <a:gd name="connsiteX15709" fmla="*/ 2390693 w 4610101"/>
              <a:gd name="connsiteY15709" fmla="*/ 1248586 h 6557032"/>
              <a:gd name="connsiteX15710" fmla="*/ 2397920 w 4610101"/>
              <a:gd name="connsiteY15710" fmla="*/ 1245274 h 6557032"/>
              <a:gd name="connsiteX15711" fmla="*/ 2397981 w 4610101"/>
              <a:gd name="connsiteY15711" fmla="*/ 1245397 h 6557032"/>
              <a:gd name="connsiteX15712" fmla="*/ 2398079 w 4610101"/>
              <a:gd name="connsiteY15712" fmla="*/ 1245200 h 6557032"/>
              <a:gd name="connsiteX15713" fmla="*/ 2401626 w 4610101"/>
              <a:gd name="connsiteY15713" fmla="*/ 1243575 h 6557032"/>
              <a:gd name="connsiteX15714" fmla="*/ 2399803 w 4610101"/>
              <a:gd name="connsiteY15714" fmla="*/ 1241753 h 6557032"/>
              <a:gd name="connsiteX15715" fmla="*/ 2398079 w 4610101"/>
              <a:gd name="connsiteY15715" fmla="*/ 1245200 h 6557032"/>
              <a:gd name="connsiteX15716" fmla="*/ 2397920 w 4610101"/>
              <a:gd name="connsiteY15716" fmla="*/ 1245274 h 6557032"/>
              <a:gd name="connsiteX15717" fmla="*/ 2396159 w 4610101"/>
              <a:gd name="connsiteY15717" fmla="*/ 1241753 h 6557032"/>
              <a:gd name="connsiteX15718" fmla="*/ 2381582 w 4610101"/>
              <a:gd name="connsiteY15718" fmla="*/ 1241753 h 6557032"/>
              <a:gd name="connsiteX15719" fmla="*/ 2073634 w 4610101"/>
              <a:gd name="connsiteY15719" fmla="*/ 1221709 h 6557032"/>
              <a:gd name="connsiteX15720" fmla="*/ 2069990 w 4610101"/>
              <a:gd name="connsiteY15720" fmla="*/ 1225353 h 6557032"/>
              <a:gd name="connsiteX15721" fmla="*/ 2086390 w 4610101"/>
              <a:gd name="connsiteY15721" fmla="*/ 1227175 h 6557032"/>
              <a:gd name="connsiteX15722" fmla="*/ 2079101 w 4610101"/>
              <a:gd name="connsiteY15722" fmla="*/ 1230820 h 6557032"/>
              <a:gd name="connsiteX15723" fmla="*/ 2082745 w 4610101"/>
              <a:gd name="connsiteY15723" fmla="*/ 1230820 h 6557032"/>
              <a:gd name="connsiteX15724" fmla="*/ 2090034 w 4610101"/>
              <a:gd name="connsiteY15724" fmla="*/ 1228998 h 6557032"/>
              <a:gd name="connsiteX15725" fmla="*/ 2084568 w 4610101"/>
              <a:gd name="connsiteY15725" fmla="*/ 1221709 h 6557032"/>
              <a:gd name="connsiteX15726" fmla="*/ 2073634 w 4610101"/>
              <a:gd name="connsiteY15726" fmla="*/ 1221709 h 6557032"/>
              <a:gd name="connsiteX15727" fmla="*/ 1262767 w 4610101"/>
              <a:gd name="connsiteY15727" fmla="*/ 1221709 h 6557032"/>
              <a:gd name="connsiteX15728" fmla="*/ 1259123 w 4610101"/>
              <a:gd name="connsiteY15728" fmla="*/ 1225353 h 6557032"/>
              <a:gd name="connsiteX15729" fmla="*/ 1262767 w 4610101"/>
              <a:gd name="connsiteY15729" fmla="*/ 1221709 h 6557032"/>
              <a:gd name="connsiteX15730" fmla="*/ 1257300 w 4610101"/>
              <a:gd name="connsiteY15730" fmla="*/ 1221709 h 6557032"/>
              <a:gd name="connsiteX15731" fmla="*/ 1253656 w 4610101"/>
              <a:gd name="connsiteY15731" fmla="*/ 1223531 h 6557032"/>
              <a:gd name="connsiteX15732" fmla="*/ 1257300 w 4610101"/>
              <a:gd name="connsiteY15732" fmla="*/ 1221709 h 6557032"/>
              <a:gd name="connsiteX15733" fmla="*/ 901976 w 4610101"/>
              <a:gd name="connsiteY15733" fmla="*/ 1221709 h 6557032"/>
              <a:gd name="connsiteX15734" fmla="*/ 900154 w 4610101"/>
              <a:gd name="connsiteY15734" fmla="*/ 1228998 h 6557032"/>
              <a:gd name="connsiteX15735" fmla="*/ 905621 w 4610101"/>
              <a:gd name="connsiteY15735" fmla="*/ 1225353 h 6557032"/>
              <a:gd name="connsiteX15736" fmla="*/ 901976 w 4610101"/>
              <a:gd name="connsiteY15736" fmla="*/ 1221709 h 6557032"/>
              <a:gd name="connsiteX15737" fmla="*/ 892866 w 4610101"/>
              <a:gd name="connsiteY15737" fmla="*/ 1221709 h 6557032"/>
              <a:gd name="connsiteX15738" fmla="*/ 894688 w 4610101"/>
              <a:gd name="connsiteY15738" fmla="*/ 1228998 h 6557032"/>
              <a:gd name="connsiteX15739" fmla="*/ 892866 w 4610101"/>
              <a:gd name="connsiteY15739" fmla="*/ 1221709 h 6557032"/>
              <a:gd name="connsiteX15740" fmla="*/ 413555 w 4610101"/>
              <a:gd name="connsiteY15740" fmla="*/ 1219965 h 6557032"/>
              <a:gd name="connsiteX15741" fmla="*/ 412722 w 4610101"/>
              <a:gd name="connsiteY15741" fmla="*/ 1222392 h 6557032"/>
              <a:gd name="connsiteX15742" fmla="*/ 410870 w 4610101"/>
              <a:gd name="connsiteY15742" fmla="*/ 1222649 h 6557032"/>
              <a:gd name="connsiteX15743" fmla="*/ 3037564 w 4610101"/>
              <a:gd name="connsiteY15743" fmla="*/ 1219887 h 6557032"/>
              <a:gd name="connsiteX15744" fmla="*/ 3044853 w 4610101"/>
              <a:gd name="connsiteY15744" fmla="*/ 1227175 h 6557032"/>
              <a:gd name="connsiteX15745" fmla="*/ 3037564 w 4610101"/>
              <a:gd name="connsiteY15745" fmla="*/ 1219887 h 6557032"/>
              <a:gd name="connsiteX15746" fmla="*/ 2414381 w 4610101"/>
              <a:gd name="connsiteY15746" fmla="*/ 1219887 h 6557032"/>
              <a:gd name="connsiteX15747" fmla="*/ 2410737 w 4610101"/>
              <a:gd name="connsiteY15747" fmla="*/ 1227175 h 6557032"/>
              <a:gd name="connsiteX15748" fmla="*/ 2414381 w 4610101"/>
              <a:gd name="connsiteY15748" fmla="*/ 1225353 h 6557032"/>
              <a:gd name="connsiteX15749" fmla="*/ 2414381 w 4610101"/>
              <a:gd name="connsiteY15749" fmla="*/ 1223531 h 6557032"/>
              <a:gd name="connsiteX15750" fmla="*/ 2414381 w 4610101"/>
              <a:gd name="connsiteY15750" fmla="*/ 1219887 h 6557032"/>
              <a:gd name="connsiteX15751" fmla="*/ 1435873 w 4610101"/>
              <a:gd name="connsiteY15751" fmla="*/ 1219887 h 6557032"/>
              <a:gd name="connsiteX15752" fmla="*/ 1430407 w 4610101"/>
              <a:gd name="connsiteY15752" fmla="*/ 1228998 h 6557032"/>
              <a:gd name="connsiteX15753" fmla="*/ 1423422 w 4610101"/>
              <a:gd name="connsiteY15753" fmla="*/ 1227833 h 6557032"/>
              <a:gd name="connsiteX15754" fmla="*/ 1428585 w 4610101"/>
              <a:gd name="connsiteY15754" fmla="*/ 1223531 h 6557032"/>
              <a:gd name="connsiteX15755" fmla="*/ 1426763 w 4610101"/>
              <a:gd name="connsiteY15755" fmla="*/ 1223936 h 6557032"/>
              <a:gd name="connsiteX15756" fmla="*/ 1414007 w 4610101"/>
              <a:gd name="connsiteY15756" fmla="*/ 1219887 h 6557032"/>
              <a:gd name="connsiteX15757" fmla="*/ 1412185 w 4610101"/>
              <a:gd name="connsiteY15757" fmla="*/ 1220570 h 6557032"/>
              <a:gd name="connsiteX15758" fmla="*/ 1412185 w 4610101"/>
              <a:gd name="connsiteY15758" fmla="*/ 1220201 h 6557032"/>
              <a:gd name="connsiteX15759" fmla="*/ 1186236 w 4610101"/>
              <a:gd name="connsiteY15759" fmla="*/ 1219887 h 6557032"/>
              <a:gd name="connsiteX15760" fmla="*/ 1184414 w 4610101"/>
              <a:gd name="connsiteY15760" fmla="*/ 1230820 h 6557032"/>
              <a:gd name="connsiteX15761" fmla="*/ 1191703 w 4610101"/>
              <a:gd name="connsiteY15761" fmla="*/ 1228998 h 6557032"/>
              <a:gd name="connsiteX15762" fmla="*/ 1209925 w 4610101"/>
              <a:gd name="connsiteY15762" fmla="*/ 1239931 h 6557032"/>
              <a:gd name="connsiteX15763" fmla="*/ 1186236 w 4610101"/>
              <a:gd name="connsiteY15763" fmla="*/ 1219887 h 6557032"/>
              <a:gd name="connsiteX15764" fmla="*/ 1184414 w 4610101"/>
              <a:gd name="connsiteY15764" fmla="*/ 1219887 h 6557032"/>
              <a:gd name="connsiteX15765" fmla="*/ 1168014 w 4610101"/>
              <a:gd name="connsiteY15765" fmla="*/ 1223531 h 6557032"/>
              <a:gd name="connsiteX15766" fmla="*/ 1182592 w 4610101"/>
              <a:gd name="connsiteY15766" fmla="*/ 1230820 h 6557032"/>
              <a:gd name="connsiteX15767" fmla="*/ 1184414 w 4610101"/>
              <a:gd name="connsiteY15767" fmla="*/ 1219887 h 6557032"/>
              <a:gd name="connsiteX15768" fmla="*/ 825445 w 4610101"/>
              <a:gd name="connsiteY15768" fmla="*/ 1219887 h 6557032"/>
              <a:gd name="connsiteX15769" fmla="*/ 829089 w 4610101"/>
              <a:gd name="connsiteY15769" fmla="*/ 1223531 h 6557032"/>
              <a:gd name="connsiteX15770" fmla="*/ 825445 w 4610101"/>
              <a:gd name="connsiteY15770" fmla="*/ 1219887 h 6557032"/>
              <a:gd name="connsiteX15771" fmla="*/ 626828 w 4610101"/>
              <a:gd name="connsiteY15771" fmla="*/ 1219887 h 6557032"/>
              <a:gd name="connsiteX15772" fmla="*/ 621362 w 4610101"/>
              <a:gd name="connsiteY15772" fmla="*/ 1223531 h 6557032"/>
              <a:gd name="connsiteX15773" fmla="*/ 632296 w 4610101"/>
              <a:gd name="connsiteY15773" fmla="*/ 1221709 h 6557032"/>
              <a:gd name="connsiteX15774" fmla="*/ 626828 w 4610101"/>
              <a:gd name="connsiteY15774" fmla="*/ 1219887 h 6557032"/>
              <a:gd name="connsiteX15775" fmla="*/ 614074 w 4610101"/>
              <a:gd name="connsiteY15775" fmla="*/ 1219887 h 6557032"/>
              <a:gd name="connsiteX15776" fmla="*/ 612251 w 4610101"/>
              <a:gd name="connsiteY15776" fmla="*/ 1225353 h 6557032"/>
              <a:gd name="connsiteX15777" fmla="*/ 617717 w 4610101"/>
              <a:gd name="connsiteY15777" fmla="*/ 1225353 h 6557032"/>
              <a:gd name="connsiteX15778" fmla="*/ 612251 w 4610101"/>
              <a:gd name="connsiteY15778" fmla="*/ 1225353 h 6557032"/>
              <a:gd name="connsiteX15779" fmla="*/ 617717 w 4610101"/>
              <a:gd name="connsiteY15779" fmla="*/ 1221709 h 6557032"/>
              <a:gd name="connsiteX15780" fmla="*/ 614074 w 4610101"/>
              <a:gd name="connsiteY15780" fmla="*/ 1219887 h 6557032"/>
              <a:gd name="connsiteX15781" fmla="*/ 561230 w 4610101"/>
              <a:gd name="connsiteY15781" fmla="*/ 1219887 h 6557032"/>
              <a:gd name="connsiteX15782" fmla="*/ 555763 w 4610101"/>
              <a:gd name="connsiteY15782" fmla="*/ 1221709 h 6557032"/>
              <a:gd name="connsiteX15783" fmla="*/ 561230 w 4610101"/>
              <a:gd name="connsiteY15783" fmla="*/ 1219887 h 6557032"/>
              <a:gd name="connsiteX15784" fmla="*/ 297015 w 4610101"/>
              <a:gd name="connsiteY15784" fmla="*/ 1219887 h 6557032"/>
              <a:gd name="connsiteX15785" fmla="*/ 298837 w 4610101"/>
              <a:gd name="connsiteY15785" fmla="*/ 1221709 h 6557032"/>
              <a:gd name="connsiteX15786" fmla="*/ 291549 w 4610101"/>
              <a:gd name="connsiteY15786" fmla="*/ 1221709 h 6557032"/>
              <a:gd name="connsiteX15787" fmla="*/ 317059 w 4610101"/>
              <a:gd name="connsiteY15787" fmla="*/ 1225353 h 6557032"/>
              <a:gd name="connsiteX15788" fmla="*/ 306126 w 4610101"/>
              <a:gd name="connsiteY15788" fmla="*/ 1227175 h 6557032"/>
              <a:gd name="connsiteX15789" fmla="*/ 298837 w 4610101"/>
              <a:gd name="connsiteY15789" fmla="*/ 1225353 h 6557032"/>
              <a:gd name="connsiteX15790" fmla="*/ 309771 w 4610101"/>
              <a:gd name="connsiteY15790" fmla="*/ 1221709 h 6557032"/>
              <a:gd name="connsiteX15791" fmla="*/ 297015 w 4610101"/>
              <a:gd name="connsiteY15791" fmla="*/ 1219887 h 6557032"/>
              <a:gd name="connsiteX15792" fmla="*/ 2503668 w 4610101"/>
              <a:gd name="connsiteY15792" fmla="*/ 1218166 h 6557032"/>
              <a:gd name="connsiteX15793" fmla="*/ 2525535 w 4610101"/>
              <a:gd name="connsiteY15793" fmla="*/ 1218166 h 6557032"/>
              <a:gd name="connsiteX15794" fmla="*/ 2503668 w 4610101"/>
              <a:gd name="connsiteY15794" fmla="*/ 1232744 h 6557032"/>
              <a:gd name="connsiteX15795" fmla="*/ 3305424 w 4610101"/>
              <a:gd name="connsiteY15795" fmla="*/ 1218065 h 6557032"/>
              <a:gd name="connsiteX15796" fmla="*/ 3312713 w 4610101"/>
              <a:gd name="connsiteY15796" fmla="*/ 1223531 h 6557032"/>
              <a:gd name="connsiteX15797" fmla="*/ 3314535 w 4610101"/>
              <a:gd name="connsiteY15797" fmla="*/ 1219887 h 6557032"/>
              <a:gd name="connsiteX15798" fmla="*/ 3305424 w 4610101"/>
              <a:gd name="connsiteY15798" fmla="*/ 1218065 h 6557032"/>
              <a:gd name="connsiteX15799" fmla="*/ 3052142 w 4610101"/>
              <a:gd name="connsiteY15799" fmla="*/ 1218065 h 6557032"/>
              <a:gd name="connsiteX15800" fmla="*/ 3052142 w 4610101"/>
              <a:gd name="connsiteY15800" fmla="*/ 1223531 h 6557032"/>
              <a:gd name="connsiteX15801" fmla="*/ 3059430 w 4610101"/>
              <a:gd name="connsiteY15801" fmla="*/ 1221709 h 6557032"/>
              <a:gd name="connsiteX15802" fmla="*/ 3052142 w 4610101"/>
              <a:gd name="connsiteY15802" fmla="*/ 1218065 h 6557032"/>
              <a:gd name="connsiteX15803" fmla="*/ 2640330 w 4610101"/>
              <a:gd name="connsiteY15803" fmla="*/ 1218065 h 6557032"/>
              <a:gd name="connsiteX15804" fmla="*/ 2640330 w 4610101"/>
              <a:gd name="connsiteY15804" fmla="*/ 1219887 h 6557032"/>
              <a:gd name="connsiteX15805" fmla="*/ 2643975 w 4610101"/>
              <a:gd name="connsiteY15805" fmla="*/ 1218065 h 6557032"/>
              <a:gd name="connsiteX15806" fmla="*/ 2640330 w 4610101"/>
              <a:gd name="connsiteY15806" fmla="*/ 1218065 h 6557032"/>
              <a:gd name="connsiteX15807" fmla="*/ 2133766 w 4610101"/>
              <a:gd name="connsiteY15807" fmla="*/ 1218065 h 6557032"/>
              <a:gd name="connsiteX15808" fmla="*/ 2124655 w 4610101"/>
              <a:gd name="connsiteY15808" fmla="*/ 1227175 h 6557032"/>
              <a:gd name="connsiteX15809" fmla="*/ 2131944 w 4610101"/>
              <a:gd name="connsiteY15809" fmla="*/ 1228998 h 6557032"/>
              <a:gd name="connsiteX15810" fmla="*/ 2133766 w 4610101"/>
              <a:gd name="connsiteY15810" fmla="*/ 1221709 h 6557032"/>
              <a:gd name="connsiteX15811" fmla="*/ 2099145 w 4610101"/>
              <a:gd name="connsiteY15811" fmla="*/ 1218065 h 6557032"/>
              <a:gd name="connsiteX15812" fmla="*/ 2099145 w 4610101"/>
              <a:gd name="connsiteY15812" fmla="*/ 1227175 h 6557032"/>
              <a:gd name="connsiteX15813" fmla="*/ 2106433 w 4610101"/>
              <a:gd name="connsiteY15813" fmla="*/ 1223531 h 6557032"/>
              <a:gd name="connsiteX15814" fmla="*/ 2099145 w 4610101"/>
              <a:gd name="connsiteY15814" fmla="*/ 1218065 h 6557032"/>
              <a:gd name="connsiteX15815" fmla="*/ 1240901 w 4610101"/>
              <a:gd name="connsiteY15815" fmla="*/ 1218065 h 6557032"/>
              <a:gd name="connsiteX15816" fmla="*/ 1242495 w 4610101"/>
              <a:gd name="connsiteY15816" fmla="*/ 1218976 h 6557032"/>
              <a:gd name="connsiteX15817" fmla="*/ 1242723 w 4610101"/>
              <a:gd name="connsiteY15817" fmla="*/ 1219887 h 6557032"/>
              <a:gd name="connsiteX15818" fmla="*/ 1240901 w 4610101"/>
              <a:gd name="connsiteY15818" fmla="*/ 1218065 h 6557032"/>
              <a:gd name="connsiteX15819" fmla="*/ 1235434 w 4610101"/>
              <a:gd name="connsiteY15819" fmla="*/ 1221709 h 6557032"/>
              <a:gd name="connsiteX15820" fmla="*/ 1244545 w 4610101"/>
              <a:gd name="connsiteY15820" fmla="*/ 1221709 h 6557032"/>
              <a:gd name="connsiteX15821" fmla="*/ 1242723 w 4610101"/>
              <a:gd name="connsiteY15821" fmla="*/ 1219887 h 6557032"/>
              <a:gd name="connsiteX15822" fmla="*/ 1244545 w 4610101"/>
              <a:gd name="connsiteY15822" fmla="*/ 1218292 h 6557032"/>
              <a:gd name="connsiteX15823" fmla="*/ 1240901 w 4610101"/>
              <a:gd name="connsiteY15823" fmla="*/ 1218065 h 6557032"/>
              <a:gd name="connsiteX15824" fmla="*/ 994907 w 4610101"/>
              <a:gd name="connsiteY15824" fmla="*/ 1218065 h 6557032"/>
              <a:gd name="connsiteX15825" fmla="*/ 989441 w 4610101"/>
              <a:gd name="connsiteY15825" fmla="*/ 1230820 h 6557032"/>
              <a:gd name="connsiteX15826" fmla="*/ 994907 w 4610101"/>
              <a:gd name="connsiteY15826" fmla="*/ 1218065 h 6557032"/>
              <a:gd name="connsiteX15827" fmla="*/ 927487 w 4610101"/>
              <a:gd name="connsiteY15827" fmla="*/ 1218065 h 6557032"/>
              <a:gd name="connsiteX15828" fmla="*/ 934777 w 4610101"/>
              <a:gd name="connsiteY15828" fmla="*/ 1223531 h 6557032"/>
              <a:gd name="connsiteX15829" fmla="*/ 927487 w 4610101"/>
              <a:gd name="connsiteY15829" fmla="*/ 1218065 h 6557032"/>
              <a:gd name="connsiteX15830" fmla="*/ 524786 w 4610101"/>
              <a:gd name="connsiteY15830" fmla="*/ 1218065 h 6557032"/>
              <a:gd name="connsiteX15831" fmla="*/ 521142 w 4610101"/>
              <a:gd name="connsiteY15831" fmla="*/ 1223531 h 6557032"/>
              <a:gd name="connsiteX15832" fmla="*/ 524786 w 4610101"/>
              <a:gd name="connsiteY15832" fmla="*/ 1218065 h 6557032"/>
              <a:gd name="connsiteX15833" fmla="*/ 419100 w 4610101"/>
              <a:gd name="connsiteY15833" fmla="*/ 1218065 h 6557032"/>
              <a:gd name="connsiteX15834" fmla="*/ 428211 w 4610101"/>
              <a:gd name="connsiteY15834" fmla="*/ 1228998 h 6557032"/>
              <a:gd name="connsiteX15835" fmla="*/ 419100 w 4610101"/>
              <a:gd name="connsiteY15835" fmla="*/ 1218065 h 6557032"/>
              <a:gd name="connsiteX15836" fmla="*/ 382657 w 4610101"/>
              <a:gd name="connsiteY15836" fmla="*/ 1218065 h 6557032"/>
              <a:gd name="connsiteX15837" fmla="*/ 384479 w 4610101"/>
              <a:gd name="connsiteY15837" fmla="*/ 1223531 h 6557032"/>
              <a:gd name="connsiteX15838" fmla="*/ 384479 w 4610101"/>
              <a:gd name="connsiteY15838" fmla="*/ 1221709 h 6557032"/>
              <a:gd name="connsiteX15839" fmla="*/ 382657 w 4610101"/>
              <a:gd name="connsiteY15839" fmla="*/ 1218065 h 6557032"/>
              <a:gd name="connsiteX15840" fmla="*/ 1025884 w 4610101"/>
              <a:gd name="connsiteY15840" fmla="*/ 1218064 h 6557032"/>
              <a:gd name="connsiteX15841" fmla="*/ 1027138 w 4610101"/>
              <a:gd name="connsiteY15841" fmla="*/ 1219317 h 6557032"/>
              <a:gd name="connsiteX15842" fmla="*/ 1025884 w 4610101"/>
              <a:gd name="connsiteY15842" fmla="*/ 1219887 h 6557032"/>
              <a:gd name="connsiteX15843" fmla="*/ 2342405 w 4610101"/>
              <a:gd name="connsiteY15843" fmla="*/ 1217153 h 6557032"/>
              <a:gd name="connsiteX15844" fmla="*/ 2336027 w 4610101"/>
              <a:gd name="connsiteY15844" fmla="*/ 1219887 h 6557032"/>
              <a:gd name="connsiteX15845" fmla="*/ 2336027 w 4610101"/>
              <a:gd name="connsiteY15845" fmla="*/ 1223531 h 6557032"/>
              <a:gd name="connsiteX15846" fmla="*/ 2346960 w 4610101"/>
              <a:gd name="connsiteY15846" fmla="*/ 1221709 h 6557032"/>
              <a:gd name="connsiteX15847" fmla="*/ 2348782 w 4610101"/>
              <a:gd name="connsiteY15847" fmla="*/ 1219887 h 6557032"/>
              <a:gd name="connsiteX15848" fmla="*/ 2342405 w 4610101"/>
              <a:gd name="connsiteY15848" fmla="*/ 1217153 h 6557032"/>
              <a:gd name="connsiteX15849" fmla="*/ 1382119 w 4610101"/>
              <a:gd name="connsiteY15849" fmla="*/ 1216698 h 6557032"/>
              <a:gd name="connsiteX15850" fmla="*/ 1379386 w 4610101"/>
              <a:gd name="connsiteY15850" fmla="*/ 1218065 h 6557032"/>
              <a:gd name="connsiteX15851" fmla="*/ 1383030 w 4610101"/>
              <a:gd name="connsiteY15851" fmla="*/ 1218065 h 6557032"/>
              <a:gd name="connsiteX15852" fmla="*/ 1379386 w 4610101"/>
              <a:gd name="connsiteY15852" fmla="*/ 1221709 h 6557032"/>
              <a:gd name="connsiteX15853" fmla="*/ 1384854 w 4610101"/>
              <a:gd name="connsiteY15853" fmla="*/ 1218065 h 6557032"/>
              <a:gd name="connsiteX15854" fmla="*/ 1382119 w 4610101"/>
              <a:gd name="connsiteY15854" fmla="*/ 1216698 h 6557032"/>
              <a:gd name="connsiteX15855" fmla="*/ 3174227 w 4610101"/>
              <a:gd name="connsiteY15855" fmla="*/ 1216242 h 6557032"/>
              <a:gd name="connsiteX15856" fmla="*/ 3183338 w 4610101"/>
              <a:gd name="connsiteY15856" fmla="*/ 1227175 h 6557032"/>
              <a:gd name="connsiteX15857" fmla="*/ 3188805 w 4610101"/>
              <a:gd name="connsiteY15857" fmla="*/ 1216242 h 6557032"/>
              <a:gd name="connsiteX15858" fmla="*/ 3174227 w 4610101"/>
              <a:gd name="connsiteY15858" fmla="*/ 1216242 h 6557032"/>
              <a:gd name="connsiteX15859" fmla="*/ 2824370 w 4610101"/>
              <a:gd name="connsiteY15859" fmla="*/ 1216242 h 6557032"/>
              <a:gd name="connsiteX15860" fmla="*/ 2831659 w 4610101"/>
              <a:gd name="connsiteY15860" fmla="*/ 1225353 h 6557032"/>
              <a:gd name="connsiteX15861" fmla="*/ 2833481 w 4610101"/>
              <a:gd name="connsiteY15861" fmla="*/ 1218065 h 6557032"/>
              <a:gd name="connsiteX15862" fmla="*/ 2824370 w 4610101"/>
              <a:gd name="connsiteY15862" fmla="*/ 1216242 h 6557032"/>
              <a:gd name="connsiteX15863" fmla="*/ 1393963 w 4610101"/>
              <a:gd name="connsiteY15863" fmla="*/ 1216242 h 6557032"/>
              <a:gd name="connsiteX15864" fmla="*/ 1383030 w 4610101"/>
              <a:gd name="connsiteY15864" fmla="*/ 1221709 h 6557032"/>
              <a:gd name="connsiteX15865" fmla="*/ 1393963 w 4610101"/>
              <a:gd name="connsiteY15865" fmla="*/ 1219887 h 6557032"/>
              <a:gd name="connsiteX15866" fmla="*/ 1390319 w 4610101"/>
              <a:gd name="connsiteY15866" fmla="*/ 1218065 h 6557032"/>
              <a:gd name="connsiteX15867" fmla="*/ 1393963 w 4610101"/>
              <a:gd name="connsiteY15867" fmla="*/ 1216242 h 6557032"/>
              <a:gd name="connsiteX15868" fmla="*/ 1286455 w 4610101"/>
              <a:gd name="connsiteY15868" fmla="*/ 1216242 h 6557032"/>
              <a:gd name="connsiteX15869" fmla="*/ 1264589 w 4610101"/>
              <a:gd name="connsiteY15869" fmla="*/ 1223531 h 6557032"/>
              <a:gd name="connsiteX15870" fmla="*/ 1286455 w 4610101"/>
              <a:gd name="connsiteY15870" fmla="*/ 1216242 h 6557032"/>
              <a:gd name="connsiteX15871" fmla="*/ 358969 w 4610101"/>
              <a:gd name="connsiteY15871" fmla="*/ 1216242 h 6557032"/>
              <a:gd name="connsiteX15872" fmla="*/ 357146 w 4610101"/>
              <a:gd name="connsiteY15872" fmla="*/ 1218065 h 6557032"/>
              <a:gd name="connsiteX15873" fmla="*/ 364435 w 4610101"/>
              <a:gd name="connsiteY15873" fmla="*/ 1219887 h 6557032"/>
              <a:gd name="connsiteX15874" fmla="*/ 358969 w 4610101"/>
              <a:gd name="connsiteY15874" fmla="*/ 1216242 h 6557032"/>
              <a:gd name="connsiteX15875" fmla="*/ 326169 w 4610101"/>
              <a:gd name="connsiteY15875" fmla="*/ 1216242 h 6557032"/>
              <a:gd name="connsiteX15876" fmla="*/ 337102 w 4610101"/>
              <a:gd name="connsiteY15876" fmla="*/ 1216242 h 6557032"/>
              <a:gd name="connsiteX15877" fmla="*/ 326169 w 4610101"/>
              <a:gd name="connsiteY15877" fmla="*/ 1216242 h 6557032"/>
              <a:gd name="connsiteX15878" fmla="*/ 1348410 w 4610101"/>
              <a:gd name="connsiteY15878" fmla="*/ 1214420 h 6557032"/>
              <a:gd name="connsiteX15879" fmla="*/ 1335868 w 4610101"/>
              <a:gd name="connsiteY15879" fmla="*/ 1219994 h 6557032"/>
              <a:gd name="connsiteX15880" fmla="*/ 1335654 w 4610101"/>
              <a:gd name="connsiteY15880" fmla="*/ 1219887 h 6557032"/>
              <a:gd name="connsiteX15881" fmla="*/ 1335654 w 4610101"/>
              <a:gd name="connsiteY15881" fmla="*/ 1220089 h 6557032"/>
              <a:gd name="connsiteX15882" fmla="*/ 1332009 w 4610101"/>
              <a:gd name="connsiteY15882" fmla="*/ 1221709 h 6557032"/>
              <a:gd name="connsiteX15883" fmla="*/ 1335654 w 4610101"/>
              <a:gd name="connsiteY15883" fmla="*/ 1223531 h 6557032"/>
              <a:gd name="connsiteX15884" fmla="*/ 1335654 w 4610101"/>
              <a:gd name="connsiteY15884" fmla="*/ 1220089 h 6557032"/>
              <a:gd name="connsiteX15885" fmla="*/ 1335868 w 4610101"/>
              <a:gd name="connsiteY15885" fmla="*/ 1219994 h 6557032"/>
              <a:gd name="connsiteX15886" fmla="*/ 1339299 w 4610101"/>
              <a:gd name="connsiteY15886" fmla="*/ 1221709 h 6557032"/>
              <a:gd name="connsiteX15887" fmla="*/ 1350231 w 4610101"/>
              <a:gd name="connsiteY15887" fmla="*/ 1218065 h 6557032"/>
              <a:gd name="connsiteX15888" fmla="*/ 1348410 w 4610101"/>
              <a:gd name="connsiteY15888" fmla="*/ 1214420 h 6557032"/>
              <a:gd name="connsiteX15889" fmla="*/ 1297388 w 4610101"/>
              <a:gd name="connsiteY15889" fmla="*/ 1214420 h 6557032"/>
              <a:gd name="connsiteX15890" fmla="*/ 1293744 w 4610101"/>
              <a:gd name="connsiteY15890" fmla="*/ 1221709 h 6557032"/>
              <a:gd name="connsiteX15891" fmla="*/ 1301033 w 4610101"/>
              <a:gd name="connsiteY15891" fmla="*/ 1219887 h 6557032"/>
              <a:gd name="connsiteX15892" fmla="*/ 1310143 w 4610101"/>
              <a:gd name="connsiteY15892" fmla="*/ 1219887 h 6557032"/>
              <a:gd name="connsiteX15893" fmla="*/ 1297388 w 4610101"/>
              <a:gd name="connsiteY15893" fmla="*/ 1214420 h 6557032"/>
              <a:gd name="connsiteX15894" fmla="*/ 1288277 w 4610101"/>
              <a:gd name="connsiteY15894" fmla="*/ 1214420 h 6557032"/>
              <a:gd name="connsiteX15895" fmla="*/ 1288277 w 4610101"/>
              <a:gd name="connsiteY15895" fmla="*/ 1219887 h 6557032"/>
              <a:gd name="connsiteX15896" fmla="*/ 1291922 w 4610101"/>
              <a:gd name="connsiteY15896" fmla="*/ 1216242 h 6557032"/>
              <a:gd name="connsiteX15897" fmla="*/ 1288277 w 4610101"/>
              <a:gd name="connsiteY15897" fmla="*/ 1214420 h 6557032"/>
              <a:gd name="connsiteX15898" fmla="*/ 1262767 w 4610101"/>
              <a:gd name="connsiteY15898" fmla="*/ 1214420 h 6557032"/>
              <a:gd name="connsiteX15899" fmla="*/ 1244545 w 4610101"/>
              <a:gd name="connsiteY15899" fmla="*/ 1218065 h 6557032"/>
              <a:gd name="connsiteX15900" fmla="*/ 1262767 w 4610101"/>
              <a:gd name="connsiteY15900" fmla="*/ 1214420 h 6557032"/>
              <a:gd name="connsiteX15901" fmla="*/ 1075083 w 4610101"/>
              <a:gd name="connsiteY15901" fmla="*/ 1214420 h 6557032"/>
              <a:gd name="connsiteX15902" fmla="*/ 1082373 w 4610101"/>
              <a:gd name="connsiteY15902" fmla="*/ 1219887 h 6557032"/>
              <a:gd name="connsiteX15903" fmla="*/ 1075083 w 4610101"/>
              <a:gd name="connsiteY15903" fmla="*/ 1214420 h 6557032"/>
              <a:gd name="connsiteX15904" fmla="*/ 1004018 w 4610101"/>
              <a:gd name="connsiteY15904" fmla="*/ 1214420 h 6557032"/>
              <a:gd name="connsiteX15905" fmla="*/ 1004018 w 4610101"/>
              <a:gd name="connsiteY15905" fmla="*/ 1216242 h 6557032"/>
              <a:gd name="connsiteX15906" fmla="*/ 1007663 w 4610101"/>
              <a:gd name="connsiteY15906" fmla="*/ 1221709 h 6557032"/>
              <a:gd name="connsiteX15907" fmla="*/ 1009485 w 4610101"/>
              <a:gd name="connsiteY15907" fmla="*/ 1219887 h 6557032"/>
              <a:gd name="connsiteX15908" fmla="*/ 1004018 w 4610101"/>
              <a:gd name="connsiteY15908" fmla="*/ 1214420 h 6557032"/>
              <a:gd name="connsiteX15909" fmla="*/ 470121 w 4610101"/>
              <a:gd name="connsiteY15909" fmla="*/ 1214420 h 6557032"/>
              <a:gd name="connsiteX15910" fmla="*/ 470121 w 4610101"/>
              <a:gd name="connsiteY15910" fmla="*/ 1218065 h 6557032"/>
              <a:gd name="connsiteX15911" fmla="*/ 471943 w 4610101"/>
              <a:gd name="connsiteY15911" fmla="*/ 1216242 h 6557032"/>
              <a:gd name="connsiteX15912" fmla="*/ 470121 w 4610101"/>
              <a:gd name="connsiteY15912" fmla="*/ 1214420 h 6557032"/>
              <a:gd name="connsiteX15913" fmla="*/ 411812 w 4610101"/>
              <a:gd name="connsiteY15913" fmla="*/ 1214420 h 6557032"/>
              <a:gd name="connsiteX15914" fmla="*/ 404523 w 4610101"/>
              <a:gd name="connsiteY15914" fmla="*/ 1223531 h 6557032"/>
              <a:gd name="connsiteX15915" fmla="*/ 410870 w 4610101"/>
              <a:gd name="connsiteY15915" fmla="*/ 1222649 h 6557032"/>
              <a:gd name="connsiteX15916" fmla="*/ 408167 w 4610101"/>
              <a:gd name="connsiteY15916" fmla="*/ 1225353 h 6557032"/>
              <a:gd name="connsiteX15917" fmla="*/ 420923 w 4610101"/>
              <a:gd name="connsiteY15917" fmla="*/ 1230820 h 6557032"/>
              <a:gd name="connsiteX15918" fmla="*/ 411812 w 4610101"/>
              <a:gd name="connsiteY15918" fmla="*/ 1225353 h 6557032"/>
              <a:gd name="connsiteX15919" fmla="*/ 428211 w 4610101"/>
              <a:gd name="connsiteY15919" fmla="*/ 1228998 h 6557032"/>
              <a:gd name="connsiteX15920" fmla="*/ 433678 w 4610101"/>
              <a:gd name="connsiteY15920" fmla="*/ 1225353 h 6557032"/>
              <a:gd name="connsiteX15921" fmla="*/ 419100 w 4610101"/>
              <a:gd name="connsiteY15921" fmla="*/ 1214420 h 6557032"/>
              <a:gd name="connsiteX15922" fmla="*/ 413555 w 4610101"/>
              <a:gd name="connsiteY15922" fmla="*/ 1219965 h 6557032"/>
              <a:gd name="connsiteX15923" fmla="*/ 415456 w 4610101"/>
              <a:gd name="connsiteY15923" fmla="*/ 1214420 h 6557032"/>
              <a:gd name="connsiteX15924" fmla="*/ 411812 w 4610101"/>
              <a:gd name="connsiteY15924" fmla="*/ 1219887 h 6557032"/>
              <a:gd name="connsiteX15925" fmla="*/ 411812 w 4610101"/>
              <a:gd name="connsiteY15925" fmla="*/ 1214420 h 6557032"/>
              <a:gd name="connsiteX15926" fmla="*/ 386301 w 4610101"/>
              <a:gd name="connsiteY15926" fmla="*/ 1214420 h 6557032"/>
              <a:gd name="connsiteX15927" fmla="*/ 393590 w 4610101"/>
              <a:gd name="connsiteY15927" fmla="*/ 1219887 h 6557032"/>
              <a:gd name="connsiteX15928" fmla="*/ 386301 w 4610101"/>
              <a:gd name="connsiteY15928" fmla="*/ 1214420 h 6557032"/>
              <a:gd name="connsiteX15929" fmla="*/ 984886 w 4610101"/>
              <a:gd name="connsiteY15929" fmla="*/ 1213965 h 6557032"/>
              <a:gd name="connsiteX15930" fmla="*/ 980330 w 4610101"/>
              <a:gd name="connsiteY15930" fmla="*/ 1216242 h 6557032"/>
              <a:gd name="connsiteX15931" fmla="*/ 982152 w 4610101"/>
              <a:gd name="connsiteY15931" fmla="*/ 1223531 h 6557032"/>
              <a:gd name="connsiteX15932" fmla="*/ 983974 w 4610101"/>
              <a:gd name="connsiteY15932" fmla="*/ 1219887 h 6557032"/>
              <a:gd name="connsiteX15933" fmla="*/ 985796 w 4610101"/>
              <a:gd name="connsiteY15933" fmla="*/ 1223531 h 6557032"/>
              <a:gd name="connsiteX15934" fmla="*/ 985796 w 4610101"/>
              <a:gd name="connsiteY15934" fmla="*/ 1218065 h 6557032"/>
              <a:gd name="connsiteX15935" fmla="*/ 989441 w 4610101"/>
              <a:gd name="connsiteY15935" fmla="*/ 1219887 h 6557032"/>
              <a:gd name="connsiteX15936" fmla="*/ 989441 w 4610101"/>
              <a:gd name="connsiteY15936" fmla="*/ 1214420 h 6557032"/>
              <a:gd name="connsiteX15937" fmla="*/ 984886 w 4610101"/>
              <a:gd name="connsiteY15937" fmla="*/ 1213965 h 6557032"/>
              <a:gd name="connsiteX15938" fmla="*/ 364663 w 4610101"/>
              <a:gd name="connsiteY15938" fmla="*/ 1213965 h 6557032"/>
              <a:gd name="connsiteX15939" fmla="*/ 360791 w 4610101"/>
              <a:gd name="connsiteY15939" fmla="*/ 1216242 h 6557032"/>
              <a:gd name="connsiteX15940" fmla="*/ 369902 w 4610101"/>
              <a:gd name="connsiteY15940" fmla="*/ 1214420 h 6557032"/>
              <a:gd name="connsiteX15941" fmla="*/ 364663 w 4610101"/>
              <a:gd name="connsiteY15941" fmla="*/ 1213965 h 6557032"/>
              <a:gd name="connsiteX15942" fmla="*/ 1166951 w 4610101"/>
              <a:gd name="connsiteY15942" fmla="*/ 1213813 h 6557032"/>
              <a:gd name="connsiteX15943" fmla="*/ 1166426 w 4610101"/>
              <a:gd name="connsiteY15943" fmla="*/ 1218013 h 6557032"/>
              <a:gd name="connsiteX15944" fmla="*/ 1166192 w 4610101"/>
              <a:gd name="connsiteY15944" fmla="*/ 1218065 h 6557032"/>
              <a:gd name="connsiteX15945" fmla="*/ 1311966 w 4610101"/>
              <a:gd name="connsiteY15945" fmla="*/ 1213509 h 6557032"/>
              <a:gd name="connsiteX15946" fmla="*/ 1306499 w 4610101"/>
              <a:gd name="connsiteY15946" fmla="*/ 1214420 h 6557032"/>
              <a:gd name="connsiteX15947" fmla="*/ 1311966 w 4610101"/>
              <a:gd name="connsiteY15947" fmla="*/ 1218065 h 6557032"/>
              <a:gd name="connsiteX15948" fmla="*/ 1311966 w 4610101"/>
              <a:gd name="connsiteY15948" fmla="*/ 1213509 h 6557032"/>
              <a:gd name="connsiteX15949" fmla="*/ 3298135 w 4610101"/>
              <a:gd name="connsiteY15949" fmla="*/ 1212598 h 6557032"/>
              <a:gd name="connsiteX15950" fmla="*/ 3290847 w 4610101"/>
              <a:gd name="connsiteY15950" fmla="*/ 1216242 h 6557032"/>
              <a:gd name="connsiteX15951" fmla="*/ 3298135 w 4610101"/>
              <a:gd name="connsiteY15951" fmla="*/ 1219887 h 6557032"/>
              <a:gd name="connsiteX15952" fmla="*/ 3298135 w 4610101"/>
              <a:gd name="connsiteY15952" fmla="*/ 1212598 h 6557032"/>
              <a:gd name="connsiteX15953" fmla="*/ 1324721 w 4610101"/>
              <a:gd name="connsiteY15953" fmla="*/ 1212598 h 6557032"/>
              <a:gd name="connsiteX15954" fmla="*/ 1321077 w 4610101"/>
              <a:gd name="connsiteY15954" fmla="*/ 1218065 h 6557032"/>
              <a:gd name="connsiteX15955" fmla="*/ 1324721 w 4610101"/>
              <a:gd name="connsiteY15955" fmla="*/ 1218065 h 6557032"/>
              <a:gd name="connsiteX15956" fmla="*/ 1324721 w 4610101"/>
              <a:gd name="connsiteY15956" fmla="*/ 1212598 h 6557032"/>
              <a:gd name="connsiteX15957" fmla="*/ 1027707 w 4610101"/>
              <a:gd name="connsiteY15957" fmla="*/ 1212598 h 6557032"/>
              <a:gd name="connsiteX15958" fmla="*/ 1025884 w 4610101"/>
              <a:gd name="connsiteY15958" fmla="*/ 1216242 h 6557032"/>
              <a:gd name="connsiteX15959" fmla="*/ 1025884 w 4610101"/>
              <a:gd name="connsiteY15959" fmla="*/ 1218064 h 6557032"/>
              <a:gd name="connsiteX15960" fmla="*/ 1024062 w 4610101"/>
              <a:gd name="connsiteY15960" fmla="*/ 1216242 h 6557032"/>
              <a:gd name="connsiteX15961" fmla="*/ 1020418 w 4610101"/>
              <a:gd name="connsiteY15961" fmla="*/ 1221709 h 6557032"/>
              <a:gd name="connsiteX15962" fmla="*/ 1027707 w 4610101"/>
              <a:gd name="connsiteY15962" fmla="*/ 1219887 h 6557032"/>
              <a:gd name="connsiteX15963" fmla="*/ 1027138 w 4610101"/>
              <a:gd name="connsiteY15963" fmla="*/ 1219317 h 6557032"/>
              <a:gd name="connsiteX15964" fmla="*/ 1030895 w 4610101"/>
              <a:gd name="connsiteY15964" fmla="*/ 1217609 h 6557032"/>
              <a:gd name="connsiteX15965" fmla="*/ 1033173 w 4610101"/>
              <a:gd name="connsiteY15965" fmla="*/ 1212598 h 6557032"/>
              <a:gd name="connsiteX15966" fmla="*/ 1027707 w 4610101"/>
              <a:gd name="connsiteY15966" fmla="*/ 1212598 h 6557032"/>
              <a:gd name="connsiteX15967" fmla="*/ 446433 w 4610101"/>
              <a:gd name="connsiteY15967" fmla="*/ 1212598 h 6557032"/>
              <a:gd name="connsiteX15968" fmla="*/ 448256 w 4610101"/>
              <a:gd name="connsiteY15968" fmla="*/ 1214420 h 6557032"/>
              <a:gd name="connsiteX15969" fmla="*/ 447211 w 4610101"/>
              <a:gd name="connsiteY15969" fmla="*/ 1214153 h 6557032"/>
              <a:gd name="connsiteX15970" fmla="*/ 388123 w 4610101"/>
              <a:gd name="connsiteY15970" fmla="*/ 1212598 h 6557032"/>
              <a:gd name="connsiteX15971" fmla="*/ 406345 w 4610101"/>
              <a:gd name="connsiteY15971" fmla="*/ 1214420 h 6557032"/>
              <a:gd name="connsiteX15972" fmla="*/ 388123 w 4610101"/>
              <a:gd name="connsiteY15972" fmla="*/ 1212598 h 6557032"/>
              <a:gd name="connsiteX15973" fmla="*/ 701993 w 4610101"/>
              <a:gd name="connsiteY15973" fmla="*/ 1212143 h 6557032"/>
              <a:gd name="connsiteX15974" fmla="*/ 688782 w 4610101"/>
              <a:gd name="connsiteY15974" fmla="*/ 1212598 h 6557032"/>
              <a:gd name="connsiteX15975" fmla="*/ 690604 w 4610101"/>
              <a:gd name="connsiteY15975" fmla="*/ 1227175 h 6557032"/>
              <a:gd name="connsiteX15976" fmla="*/ 701537 w 4610101"/>
              <a:gd name="connsiteY15976" fmla="*/ 1225353 h 6557032"/>
              <a:gd name="connsiteX15977" fmla="*/ 699715 w 4610101"/>
              <a:gd name="connsiteY15977" fmla="*/ 1221709 h 6557032"/>
              <a:gd name="connsiteX15978" fmla="*/ 714293 w 4610101"/>
              <a:gd name="connsiteY15978" fmla="*/ 1219887 h 6557032"/>
              <a:gd name="connsiteX15979" fmla="*/ 712470 w 4610101"/>
              <a:gd name="connsiteY15979" fmla="*/ 1219887 h 6557032"/>
              <a:gd name="connsiteX15980" fmla="*/ 701993 w 4610101"/>
              <a:gd name="connsiteY15980" fmla="*/ 1212143 h 6557032"/>
              <a:gd name="connsiteX15981" fmla="*/ 3199738 w 4610101"/>
              <a:gd name="connsiteY15981" fmla="*/ 1210776 h 6557032"/>
              <a:gd name="connsiteX15982" fmla="*/ 3201560 w 4610101"/>
              <a:gd name="connsiteY15982" fmla="*/ 1219887 h 6557032"/>
              <a:gd name="connsiteX15983" fmla="*/ 3208849 w 4610101"/>
              <a:gd name="connsiteY15983" fmla="*/ 1221709 h 6557032"/>
              <a:gd name="connsiteX15984" fmla="*/ 3214315 w 4610101"/>
              <a:gd name="connsiteY15984" fmla="*/ 1218065 h 6557032"/>
              <a:gd name="connsiteX15985" fmla="*/ 3199738 w 4610101"/>
              <a:gd name="connsiteY15985" fmla="*/ 1210776 h 6557032"/>
              <a:gd name="connsiteX15986" fmla="*/ 3022987 w 4610101"/>
              <a:gd name="connsiteY15986" fmla="*/ 1210776 h 6557032"/>
              <a:gd name="connsiteX15987" fmla="*/ 3033920 w 4610101"/>
              <a:gd name="connsiteY15987" fmla="*/ 1212598 h 6557032"/>
              <a:gd name="connsiteX15988" fmla="*/ 3022987 w 4610101"/>
              <a:gd name="connsiteY15988" fmla="*/ 1210776 h 6557032"/>
              <a:gd name="connsiteX15989" fmla="*/ 2427136 w 4610101"/>
              <a:gd name="connsiteY15989" fmla="*/ 1210776 h 6557032"/>
              <a:gd name="connsiteX15990" fmla="*/ 2423492 w 4610101"/>
              <a:gd name="connsiteY15990" fmla="*/ 1212598 h 6557032"/>
              <a:gd name="connsiteX15991" fmla="*/ 2425314 w 4610101"/>
              <a:gd name="connsiteY15991" fmla="*/ 1214420 h 6557032"/>
              <a:gd name="connsiteX15992" fmla="*/ 2427136 w 4610101"/>
              <a:gd name="connsiteY15992" fmla="*/ 1210776 h 6557032"/>
              <a:gd name="connsiteX15993" fmla="*/ 2414381 w 4610101"/>
              <a:gd name="connsiteY15993" fmla="*/ 1210776 h 6557032"/>
              <a:gd name="connsiteX15994" fmla="*/ 2414381 w 4610101"/>
              <a:gd name="connsiteY15994" fmla="*/ 1216242 h 6557032"/>
              <a:gd name="connsiteX15995" fmla="*/ 2414381 w 4610101"/>
              <a:gd name="connsiteY15995" fmla="*/ 1210776 h 6557032"/>
              <a:gd name="connsiteX15996" fmla="*/ 2405270 w 4610101"/>
              <a:gd name="connsiteY15996" fmla="*/ 1210776 h 6557032"/>
              <a:gd name="connsiteX15997" fmla="*/ 2397981 w 4610101"/>
              <a:gd name="connsiteY15997" fmla="*/ 1214420 h 6557032"/>
              <a:gd name="connsiteX15998" fmla="*/ 2407092 w 4610101"/>
              <a:gd name="connsiteY15998" fmla="*/ 1225353 h 6557032"/>
              <a:gd name="connsiteX15999" fmla="*/ 2407092 w 4610101"/>
              <a:gd name="connsiteY15999" fmla="*/ 1214420 h 6557032"/>
              <a:gd name="connsiteX16000" fmla="*/ 2401626 w 4610101"/>
              <a:gd name="connsiteY16000" fmla="*/ 1214420 h 6557032"/>
              <a:gd name="connsiteX16001" fmla="*/ 2405270 w 4610101"/>
              <a:gd name="connsiteY16001" fmla="*/ 1210776 h 6557032"/>
              <a:gd name="connsiteX16002" fmla="*/ 2394337 w 4610101"/>
              <a:gd name="connsiteY16002" fmla="*/ 1210776 h 6557032"/>
              <a:gd name="connsiteX16003" fmla="*/ 2383404 w 4610101"/>
              <a:gd name="connsiteY16003" fmla="*/ 1218065 h 6557032"/>
              <a:gd name="connsiteX16004" fmla="*/ 2399803 w 4610101"/>
              <a:gd name="connsiteY16004" fmla="*/ 1230820 h 6557032"/>
              <a:gd name="connsiteX16005" fmla="*/ 2405270 w 4610101"/>
              <a:gd name="connsiteY16005" fmla="*/ 1228998 h 6557032"/>
              <a:gd name="connsiteX16006" fmla="*/ 2394337 w 4610101"/>
              <a:gd name="connsiteY16006" fmla="*/ 1210776 h 6557032"/>
              <a:gd name="connsiteX16007" fmla="*/ 2057235 w 4610101"/>
              <a:gd name="connsiteY16007" fmla="*/ 1210776 h 6557032"/>
              <a:gd name="connsiteX16008" fmla="*/ 2057235 w 4610101"/>
              <a:gd name="connsiteY16008" fmla="*/ 1216242 h 6557032"/>
              <a:gd name="connsiteX16009" fmla="*/ 2059057 w 4610101"/>
              <a:gd name="connsiteY16009" fmla="*/ 1214420 h 6557032"/>
              <a:gd name="connsiteX16010" fmla="*/ 2057235 w 4610101"/>
              <a:gd name="connsiteY16010" fmla="*/ 1210776 h 6557032"/>
              <a:gd name="connsiteX16011" fmla="*/ 1239080 w 4610101"/>
              <a:gd name="connsiteY16011" fmla="*/ 1210776 h 6557032"/>
              <a:gd name="connsiteX16012" fmla="*/ 1226323 w 4610101"/>
              <a:gd name="connsiteY16012" fmla="*/ 1216242 h 6557032"/>
              <a:gd name="connsiteX16013" fmla="*/ 1217213 w 4610101"/>
              <a:gd name="connsiteY16013" fmla="*/ 1218065 h 6557032"/>
              <a:gd name="connsiteX16014" fmla="*/ 1242723 w 4610101"/>
              <a:gd name="connsiteY16014" fmla="*/ 1216242 h 6557032"/>
              <a:gd name="connsiteX16015" fmla="*/ 1239080 w 4610101"/>
              <a:gd name="connsiteY16015" fmla="*/ 1210776 h 6557032"/>
              <a:gd name="connsiteX16016" fmla="*/ 1055040 w 4610101"/>
              <a:gd name="connsiteY16016" fmla="*/ 1210776 h 6557032"/>
              <a:gd name="connsiteX16017" fmla="*/ 1051395 w 4610101"/>
              <a:gd name="connsiteY16017" fmla="*/ 1214420 h 6557032"/>
              <a:gd name="connsiteX16018" fmla="*/ 1060506 w 4610101"/>
              <a:gd name="connsiteY16018" fmla="*/ 1214420 h 6557032"/>
              <a:gd name="connsiteX16019" fmla="*/ 1055040 w 4610101"/>
              <a:gd name="connsiteY16019" fmla="*/ 1210776 h 6557032"/>
              <a:gd name="connsiteX16020" fmla="*/ 1788956 w 4610101"/>
              <a:gd name="connsiteY16020" fmla="*/ 1209303 h 6557032"/>
              <a:gd name="connsiteX16021" fmla="*/ 1790286 w 4610101"/>
              <a:gd name="connsiteY16021" fmla="*/ 1210347 h 6557032"/>
              <a:gd name="connsiteX16022" fmla="*/ 1791197 w 4610101"/>
              <a:gd name="connsiteY16022" fmla="*/ 1218091 h 6557032"/>
              <a:gd name="connsiteX16023" fmla="*/ 305822 w 4610101"/>
              <a:gd name="connsiteY16023" fmla="*/ 1209258 h 6557032"/>
              <a:gd name="connsiteX16024" fmla="*/ 306809 w 4610101"/>
              <a:gd name="connsiteY16024" fmla="*/ 1209637 h 6557032"/>
              <a:gd name="connsiteX16025" fmla="*/ 306854 w 4610101"/>
              <a:gd name="connsiteY16025" fmla="*/ 1209682 h 6557032"/>
              <a:gd name="connsiteX16026" fmla="*/ 305795 w 4610101"/>
              <a:gd name="connsiteY16026" fmla="*/ 1209285 h 6557032"/>
              <a:gd name="connsiteX16027" fmla="*/ 3145073 w 4610101"/>
              <a:gd name="connsiteY16027" fmla="*/ 1208954 h 6557032"/>
              <a:gd name="connsiteX16028" fmla="*/ 3145073 w 4610101"/>
              <a:gd name="connsiteY16028" fmla="*/ 1216242 h 6557032"/>
              <a:gd name="connsiteX16029" fmla="*/ 3145073 w 4610101"/>
              <a:gd name="connsiteY16029" fmla="*/ 1208954 h 6557032"/>
              <a:gd name="connsiteX16030" fmla="*/ 2722328 w 4610101"/>
              <a:gd name="connsiteY16030" fmla="*/ 1208954 h 6557032"/>
              <a:gd name="connsiteX16031" fmla="*/ 2711395 w 4610101"/>
              <a:gd name="connsiteY16031" fmla="*/ 1218065 h 6557032"/>
              <a:gd name="connsiteX16032" fmla="*/ 2709573 w 4610101"/>
              <a:gd name="connsiteY16032" fmla="*/ 1216242 h 6557032"/>
              <a:gd name="connsiteX16033" fmla="*/ 2718684 w 4610101"/>
              <a:gd name="connsiteY16033" fmla="*/ 1225353 h 6557032"/>
              <a:gd name="connsiteX16034" fmla="*/ 2733261 w 4610101"/>
              <a:gd name="connsiteY16034" fmla="*/ 1227175 h 6557032"/>
              <a:gd name="connsiteX16035" fmla="*/ 2735084 w 4610101"/>
              <a:gd name="connsiteY16035" fmla="*/ 1219887 h 6557032"/>
              <a:gd name="connsiteX16036" fmla="*/ 2740550 w 4610101"/>
              <a:gd name="connsiteY16036" fmla="*/ 1225353 h 6557032"/>
              <a:gd name="connsiteX16037" fmla="*/ 2733261 w 4610101"/>
              <a:gd name="connsiteY16037" fmla="*/ 1214420 h 6557032"/>
              <a:gd name="connsiteX16038" fmla="*/ 2729617 w 4610101"/>
              <a:gd name="connsiteY16038" fmla="*/ 1218065 h 6557032"/>
              <a:gd name="connsiteX16039" fmla="*/ 2722328 w 4610101"/>
              <a:gd name="connsiteY16039" fmla="*/ 1208954 h 6557032"/>
              <a:gd name="connsiteX16040" fmla="*/ 2439891 w 4610101"/>
              <a:gd name="connsiteY16040" fmla="*/ 1208954 h 6557032"/>
              <a:gd name="connsiteX16041" fmla="*/ 2430780 w 4610101"/>
              <a:gd name="connsiteY16041" fmla="*/ 1218065 h 6557032"/>
              <a:gd name="connsiteX16042" fmla="*/ 2434425 w 4610101"/>
              <a:gd name="connsiteY16042" fmla="*/ 1221709 h 6557032"/>
              <a:gd name="connsiteX16043" fmla="*/ 2439891 w 4610101"/>
              <a:gd name="connsiteY16043" fmla="*/ 1208954 h 6557032"/>
              <a:gd name="connsiteX16044" fmla="*/ 1324721 w 4610101"/>
              <a:gd name="connsiteY16044" fmla="*/ 1208954 h 6557032"/>
              <a:gd name="connsiteX16045" fmla="*/ 1313788 w 4610101"/>
              <a:gd name="connsiteY16045" fmla="*/ 1210776 h 6557032"/>
              <a:gd name="connsiteX16046" fmla="*/ 1315610 w 4610101"/>
              <a:gd name="connsiteY16046" fmla="*/ 1218065 h 6557032"/>
              <a:gd name="connsiteX16047" fmla="*/ 1319254 w 4610101"/>
              <a:gd name="connsiteY16047" fmla="*/ 1218065 h 6557032"/>
              <a:gd name="connsiteX16048" fmla="*/ 1324721 w 4610101"/>
              <a:gd name="connsiteY16048" fmla="*/ 1208954 h 6557032"/>
              <a:gd name="connsiteX16049" fmla="*/ 1297388 w 4610101"/>
              <a:gd name="connsiteY16049" fmla="*/ 1208954 h 6557032"/>
              <a:gd name="connsiteX16050" fmla="*/ 1306499 w 4610101"/>
              <a:gd name="connsiteY16050" fmla="*/ 1212598 h 6557032"/>
              <a:gd name="connsiteX16051" fmla="*/ 1311966 w 4610101"/>
              <a:gd name="connsiteY16051" fmla="*/ 1208954 h 6557032"/>
              <a:gd name="connsiteX16052" fmla="*/ 1319254 w 4610101"/>
              <a:gd name="connsiteY16052" fmla="*/ 1208954 h 6557032"/>
              <a:gd name="connsiteX16053" fmla="*/ 1311966 w 4610101"/>
              <a:gd name="connsiteY16053" fmla="*/ 1208954 h 6557032"/>
              <a:gd name="connsiteX16054" fmla="*/ 1297388 w 4610101"/>
              <a:gd name="connsiteY16054" fmla="*/ 1208954 h 6557032"/>
              <a:gd name="connsiteX16055" fmla="*/ 911087 w 4610101"/>
              <a:gd name="connsiteY16055" fmla="*/ 1208954 h 6557032"/>
              <a:gd name="connsiteX16056" fmla="*/ 911087 w 4610101"/>
              <a:gd name="connsiteY16056" fmla="*/ 1214420 h 6557032"/>
              <a:gd name="connsiteX16057" fmla="*/ 916555 w 4610101"/>
              <a:gd name="connsiteY16057" fmla="*/ 1214420 h 6557032"/>
              <a:gd name="connsiteX16058" fmla="*/ 911087 w 4610101"/>
              <a:gd name="connsiteY16058" fmla="*/ 1208954 h 6557032"/>
              <a:gd name="connsiteX16059" fmla="*/ 3002943 w 4610101"/>
              <a:gd name="connsiteY16059" fmla="*/ 1207132 h 6557032"/>
              <a:gd name="connsiteX16060" fmla="*/ 3002943 w 4610101"/>
              <a:gd name="connsiteY16060" fmla="*/ 1219887 h 6557032"/>
              <a:gd name="connsiteX16061" fmla="*/ 3008410 w 4610101"/>
              <a:gd name="connsiteY16061" fmla="*/ 1221709 h 6557032"/>
              <a:gd name="connsiteX16062" fmla="*/ 3012054 w 4610101"/>
              <a:gd name="connsiteY16062" fmla="*/ 1218065 h 6557032"/>
              <a:gd name="connsiteX16063" fmla="*/ 3017521 w 4610101"/>
              <a:gd name="connsiteY16063" fmla="*/ 1221709 h 6557032"/>
              <a:gd name="connsiteX16064" fmla="*/ 3017521 w 4610101"/>
              <a:gd name="connsiteY16064" fmla="*/ 1228998 h 6557032"/>
              <a:gd name="connsiteX16065" fmla="*/ 3024809 w 4610101"/>
              <a:gd name="connsiteY16065" fmla="*/ 1228998 h 6557032"/>
              <a:gd name="connsiteX16066" fmla="*/ 3019343 w 4610101"/>
              <a:gd name="connsiteY16066" fmla="*/ 1214420 h 6557032"/>
              <a:gd name="connsiteX16067" fmla="*/ 3006587 w 4610101"/>
              <a:gd name="connsiteY16067" fmla="*/ 1216242 h 6557032"/>
              <a:gd name="connsiteX16068" fmla="*/ 3010232 w 4610101"/>
              <a:gd name="connsiteY16068" fmla="*/ 1208954 h 6557032"/>
              <a:gd name="connsiteX16069" fmla="*/ 3002943 w 4610101"/>
              <a:gd name="connsiteY16069" fmla="*/ 1207132 h 6557032"/>
              <a:gd name="connsiteX16070" fmla="*/ 2744194 w 4610101"/>
              <a:gd name="connsiteY16070" fmla="*/ 1207132 h 6557032"/>
              <a:gd name="connsiteX16071" fmla="*/ 2751483 w 4610101"/>
              <a:gd name="connsiteY16071" fmla="*/ 1227175 h 6557032"/>
              <a:gd name="connsiteX16072" fmla="*/ 2749661 w 4610101"/>
              <a:gd name="connsiteY16072" fmla="*/ 1207132 h 6557032"/>
              <a:gd name="connsiteX16073" fmla="*/ 2747839 w 4610101"/>
              <a:gd name="connsiteY16073" fmla="*/ 1212598 h 6557032"/>
              <a:gd name="connsiteX16074" fmla="*/ 2744194 w 4610101"/>
              <a:gd name="connsiteY16074" fmla="*/ 1207132 h 6557032"/>
              <a:gd name="connsiteX16075" fmla="*/ 1341120 w 4610101"/>
              <a:gd name="connsiteY16075" fmla="*/ 1207132 h 6557032"/>
              <a:gd name="connsiteX16076" fmla="*/ 1337476 w 4610101"/>
              <a:gd name="connsiteY16076" fmla="*/ 1210776 h 6557032"/>
              <a:gd name="connsiteX16077" fmla="*/ 1342942 w 4610101"/>
              <a:gd name="connsiteY16077" fmla="*/ 1216242 h 6557032"/>
              <a:gd name="connsiteX16078" fmla="*/ 1348410 w 4610101"/>
              <a:gd name="connsiteY16078" fmla="*/ 1212598 h 6557032"/>
              <a:gd name="connsiteX16079" fmla="*/ 1341120 w 4610101"/>
              <a:gd name="connsiteY16079" fmla="*/ 1207132 h 6557032"/>
              <a:gd name="connsiteX16080" fmla="*/ 1013129 w 4610101"/>
              <a:gd name="connsiteY16080" fmla="*/ 1207132 h 6557032"/>
              <a:gd name="connsiteX16081" fmla="*/ 1013584 w 4610101"/>
              <a:gd name="connsiteY16081" fmla="*/ 1212598 h 6557032"/>
              <a:gd name="connsiteX16082" fmla="*/ 1013345 w 4610101"/>
              <a:gd name="connsiteY16082" fmla="*/ 1213174 h 6557032"/>
              <a:gd name="connsiteX16083" fmla="*/ 1013129 w 4610101"/>
              <a:gd name="connsiteY16083" fmla="*/ 1207132 h 6557032"/>
              <a:gd name="connsiteX16084" fmla="*/ 1009485 w 4610101"/>
              <a:gd name="connsiteY16084" fmla="*/ 1208954 h 6557032"/>
              <a:gd name="connsiteX16085" fmla="*/ 1011307 w 4610101"/>
              <a:gd name="connsiteY16085" fmla="*/ 1210776 h 6557032"/>
              <a:gd name="connsiteX16086" fmla="*/ 1005840 w 4610101"/>
              <a:gd name="connsiteY16086" fmla="*/ 1210776 h 6557032"/>
              <a:gd name="connsiteX16087" fmla="*/ 1011307 w 4610101"/>
              <a:gd name="connsiteY16087" fmla="*/ 1218065 h 6557032"/>
              <a:gd name="connsiteX16088" fmla="*/ 1013345 w 4610101"/>
              <a:gd name="connsiteY16088" fmla="*/ 1213174 h 6557032"/>
              <a:gd name="connsiteX16089" fmla="*/ 1013357 w 4610101"/>
              <a:gd name="connsiteY16089" fmla="*/ 1213509 h 6557032"/>
              <a:gd name="connsiteX16090" fmla="*/ 1013432 w 4610101"/>
              <a:gd name="connsiteY16090" fmla="*/ 1213813 h 6557032"/>
              <a:gd name="connsiteX16091" fmla="*/ 1013129 w 4610101"/>
              <a:gd name="connsiteY16091" fmla="*/ 1214420 h 6557032"/>
              <a:gd name="connsiteX16092" fmla="*/ 1013584 w 4610101"/>
              <a:gd name="connsiteY16092" fmla="*/ 1214420 h 6557032"/>
              <a:gd name="connsiteX16093" fmla="*/ 1014170 w 4610101"/>
              <a:gd name="connsiteY16093" fmla="*/ 1216763 h 6557032"/>
              <a:gd name="connsiteX16094" fmla="*/ 1014951 w 4610101"/>
              <a:gd name="connsiteY16094" fmla="*/ 1219887 h 6557032"/>
              <a:gd name="connsiteX16095" fmla="*/ 1018596 w 4610101"/>
              <a:gd name="connsiteY16095" fmla="*/ 1214420 h 6557032"/>
              <a:gd name="connsiteX16096" fmla="*/ 1014951 w 4610101"/>
              <a:gd name="connsiteY16096" fmla="*/ 1214420 h 6557032"/>
              <a:gd name="connsiteX16097" fmla="*/ 1013584 w 4610101"/>
              <a:gd name="connsiteY16097" fmla="*/ 1214420 h 6557032"/>
              <a:gd name="connsiteX16098" fmla="*/ 1013432 w 4610101"/>
              <a:gd name="connsiteY16098" fmla="*/ 1213813 h 6557032"/>
              <a:gd name="connsiteX16099" fmla="*/ 1014951 w 4610101"/>
              <a:gd name="connsiteY16099" fmla="*/ 1210776 h 6557032"/>
              <a:gd name="connsiteX16100" fmla="*/ 1013129 w 4610101"/>
              <a:gd name="connsiteY16100" fmla="*/ 1207132 h 6557032"/>
              <a:gd name="connsiteX16101" fmla="*/ 929309 w 4610101"/>
              <a:gd name="connsiteY16101" fmla="*/ 1207132 h 6557032"/>
              <a:gd name="connsiteX16102" fmla="*/ 927487 w 4610101"/>
              <a:gd name="connsiteY16102" fmla="*/ 1208954 h 6557032"/>
              <a:gd name="connsiteX16103" fmla="*/ 932953 w 4610101"/>
              <a:gd name="connsiteY16103" fmla="*/ 1212598 h 6557032"/>
              <a:gd name="connsiteX16104" fmla="*/ 931131 w 4610101"/>
              <a:gd name="connsiteY16104" fmla="*/ 1212598 h 6557032"/>
              <a:gd name="connsiteX16105" fmla="*/ 938420 w 4610101"/>
              <a:gd name="connsiteY16105" fmla="*/ 1218065 h 6557032"/>
              <a:gd name="connsiteX16106" fmla="*/ 936598 w 4610101"/>
              <a:gd name="connsiteY16106" fmla="*/ 1212598 h 6557032"/>
              <a:gd name="connsiteX16107" fmla="*/ 932953 w 4610101"/>
              <a:gd name="connsiteY16107" fmla="*/ 1212598 h 6557032"/>
              <a:gd name="connsiteX16108" fmla="*/ 929309 w 4610101"/>
              <a:gd name="connsiteY16108" fmla="*/ 1207132 h 6557032"/>
              <a:gd name="connsiteX16109" fmla="*/ 840022 w 4610101"/>
              <a:gd name="connsiteY16109" fmla="*/ 1207132 h 6557032"/>
              <a:gd name="connsiteX16110" fmla="*/ 843667 w 4610101"/>
              <a:gd name="connsiteY16110" fmla="*/ 1212598 h 6557032"/>
              <a:gd name="connsiteX16111" fmla="*/ 840022 w 4610101"/>
              <a:gd name="connsiteY16111" fmla="*/ 1207132 h 6557032"/>
              <a:gd name="connsiteX16112" fmla="*/ 674205 w 4610101"/>
              <a:gd name="connsiteY16112" fmla="*/ 1207132 h 6557032"/>
              <a:gd name="connsiteX16113" fmla="*/ 676027 w 4610101"/>
              <a:gd name="connsiteY16113" fmla="*/ 1225353 h 6557032"/>
              <a:gd name="connsiteX16114" fmla="*/ 670560 w 4610101"/>
              <a:gd name="connsiteY16114" fmla="*/ 1219887 h 6557032"/>
              <a:gd name="connsiteX16115" fmla="*/ 668738 w 4610101"/>
              <a:gd name="connsiteY16115" fmla="*/ 1210776 h 6557032"/>
              <a:gd name="connsiteX16116" fmla="*/ 666916 w 4610101"/>
              <a:gd name="connsiteY16116" fmla="*/ 1230820 h 6557032"/>
              <a:gd name="connsiteX16117" fmla="*/ 674205 w 4610101"/>
              <a:gd name="connsiteY16117" fmla="*/ 1207132 h 6557032"/>
              <a:gd name="connsiteX16118" fmla="*/ 1199218 w 4610101"/>
              <a:gd name="connsiteY16118" fmla="*/ 1205993 h 6557032"/>
              <a:gd name="connsiteX16119" fmla="*/ 1195346 w 4610101"/>
              <a:gd name="connsiteY16119" fmla="*/ 1207132 h 6557032"/>
              <a:gd name="connsiteX16120" fmla="*/ 1198991 w 4610101"/>
              <a:gd name="connsiteY16120" fmla="*/ 1208954 h 6557032"/>
              <a:gd name="connsiteX16121" fmla="*/ 1199218 w 4610101"/>
              <a:gd name="connsiteY16121" fmla="*/ 1205993 h 6557032"/>
              <a:gd name="connsiteX16122" fmla="*/ 1293097 w 4610101"/>
              <a:gd name="connsiteY16122" fmla="*/ 1205721 h 6557032"/>
              <a:gd name="connsiteX16123" fmla="*/ 1292599 w 4610101"/>
              <a:gd name="connsiteY16123" fmla="*/ 1206038 h 6557032"/>
              <a:gd name="connsiteX16124" fmla="*/ 1292833 w 4610101"/>
              <a:gd name="connsiteY16124" fmla="*/ 1205765 h 6557032"/>
              <a:gd name="connsiteX16125" fmla="*/ 2144699 w 4610101"/>
              <a:gd name="connsiteY16125" fmla="*/ 1205309 h 6557032"/>
              <a:gd name="connsiteX16126" fmla="*/ 2135588 w 4610101"/>
              <a:gd name="connsiteY16126" fmla="*/ 1208954 h 6557032"/>
              <a:gd name="connsiteX16127" fmla="*/ 2133766 w 4610101"/>
              <a:gd name="connsiteY16127" fmla="*/ 1210776 h 6557032"/>
              <a:gd name="connsiteX16128" fmla="*/ 2135588 w 4610101"/>
              <a:gd name="connsiteY16128" fmla="*/ 1212598 h 6557032"/>
              <a:gd name="connsiteX16129" fmla="*/ 2144699 w 4610101"/>
              <a:gd name="connsiteY16129" fmla="*/ 1205309 h 6557032"/>
              <a:gd name="connsiteX16130" fmla="*/ 1355698 w 4610101"/>
              <a:gd name="connsiteY16130" fmla="*/ 1205309 h 6557032"/>
              <a:gd name="connsiteX16131" fmla="*/ 1350231 w 4610101"/>
              <a:gd name="connsiteY16131" fmla="*/ 1207132 h 6557032"/>
              <a:gd name="connsiteX16132" fmla="*/ 1352053 w 4610101"/>
              <a:gd name="connsiteY16132" fmla="*/ 1208954 h 6557032"/>
              <a:gd name="connsiteX16133" fmla="*/ 1355698 w 4610101"/>
              <a:gd name="connsiteY16133" fmla="*/ 1205309 h 6557032"/>
              <a:gd name="connsiteX16134" fmla="*/ 1273700 w 4610101"/>
              <a:gd name="connsiteY16134" fmla="*/ 1205309 h 6557032"/>
              <a:gd name="connsiteX16135" fmla="*/ 1268233 w 4610101"/>
              <a:gd name="connsiteY16135" fmla="*/ 1212598 h 6557032"/>
              <a:gd name="connsiteX16136" fmla="*/ 1284633 w 4610101"/>
              <a:gd name="connsiteY16136" fmla="*/ 1212598 h 6557032"/>
              <a:gd name="connsiteX16137" fmla="*/ 1273700 w 4610101"/>
              <a:gd name="connsiteY16137" fmla="*/ 1205309 h 6557032"/>
              <a:gd name="connsiteX16138" fmla="*/ 1206279 w 4610101"/>
              <a:gd name="connsiteY16138" fmla="*/ 1205309 h 6557032"/>
              <a:gd name="connsiteX16139" fmla="*/ 1204457 w 4610101"/>
              <a:gd name="connsiteY16139" fmla="*/ 1210776 h 6557032"/>
              <a:gd name="connsiteX16140" fmla="*/ 1208102 w 4610101"/>
              <a:gd name="connsiteY16140" fmla="*/ 1207132 h 6557032"/>
              <a:gd name="connsiteX16141" fmla="*/ 1206279 w 4610101"/>
              <a:gd name="connsiteY16141" fmla="*/ 1205309 h 6557032"/>
              <a:gd name="connsiteX16142" fmla="*/ 1168014 w 4610101"/>
              <a:gd name="connsiteY16142" fmla="*/ 1205309 h 6557032"/>
              <a:gd name="connsiteX16143" fmla="*/ 1160725 w 4610101"/>
              <a:gd name="connsiteY16143" fmla="*/ 1219887 h 6557032"/>
              <a:gd name="connsiteX16144" fmla="*/ 1166192 w 4610101"/>
              <a:gd name="connsiteY16144" fmla="*/ 1219887 h 6557032"/>
              <a:gd name="connsiteX16145" fmla="*/ 1166426 w 4610101"/>
              <a:gd name="connsiteY16145" fmla="*/ 1218013 h 6557032"/>
              <a:gd name="connsiteX16146" fmla="*/ 1182592 w 4610101"/>
              <a:gd name="connsiteY16146" fmla="*/ 1214420 h 6557032"/>
              <a:gd name="connsiteX16147" fmla="*/ 1184414 w 4610101"/>
              <a:gd name="connsiteY16147" fmla="*/ 1216242 h 6557032"/>
              <a:gd name="connsiteX16148" fmla="*/ 1169836 w 4610101"/>
              <a:gd name="connsiteY16148" fmla="*/ 1205309 h 6557032"/>
              <a:gd name="connsiteX16149" fmla="*/ 1167331 w 4610101"/>
              <a:gd name="connsiteY16149" fmla="*/ 1211687 h 6557032"/>
              <a:gd name="connsiteX16150" fmla="*/ 1166951 w 4610101"/>
              <a:gd name="connsiteY16150" fmla="*/ 1213813 h 6557032"/>
              <a:gd name="connsiteX16151" fmla="*/ 1160725 w 4610101"/>
              <a:gd name="connsiteY16151" fmla="*/ 1205309 h 6557032"/>
              <a:gd name="connsiteX16152" fmla="*/ 1160725 w 4610101"/>
              <a:gd name="connsiteY16152" fmla="*/ 1214420 h 6557032"/>
              <a:gd name="connsiteX16153" fmla="*/ 1162547 w 4610101"/>
              <a:gd name="connsiteY16153" fmla="*/ 1207132 h 6557032"/>
              <a:gd name="connsiteX16154" fmla="*/ 1160725 w 4610101"/>
              <a:gd name="connsiteY16154" fmla="*/ 1205309 h 6557032"/>
              <a:gd name="connsiteX16155" fmla="*/ 1122459 w 4610101"/>
              <a:gd name="connsiteY16155" fmla="*/ 1205309 h 6557032"/>
              <a:gd name="connsiteX16156" fmla="*/ 1122459 w 4610101"/>
              <a:gd name="connsiteY16156" fmla="*/ 1212598 h 6557032"/>
              <a:gd name="connsiteX16157" fmla="*/ 1122459 w 4610101"/>
              <a:gd name="connsiteY16157" fmla="*/ 1219887 h 6557032"/>
              <a:gd name="connsiteX16158" fmla="*/ 1126104 w 4610101"/>
              <a:gd name="connsiteY16158" fmla="*/ 1218065 h 6557032"/>
              <a:gd name="connsiteX16159" fmla="*/ 1122459 w 4610101"/>
              <a:gd name="connsiteY16159" fmla="*/ 1205309 h 6557032"/>
              <a:gd name="connsiteX16160" fmla="*/ 654161 w 4610101"/>
              <a:gd name="connsiteY16160" fmla="*/ 1205309 h 6557032"/>
              <a:gd name="connsiteX16161" fmla="*/ 657805 w 4610101"/>
              <a:gd name="connsiteY16161" fmla="*/ 1207132 h 6557032"/>
              <a:gd name="connsiteX16162" fmla="*/ 654161 w 4610101"/>
              <a:gd name="connsiteY16162" fmla="*/ 1205309 h 6557032"/>
              <a:gd name="connsiteX16163" fmla="*/ 455544 w 4610101"/>
              <a:gd name="connsiteY16163" fmla="*/ 1205309 h 6557032"/>
              <a:gd name="connsiteX16164" fmla="*/ 451899 w 4610101"/>
              <a:gd name="connsiteY16164" fmla="*/ 1216242 h 6557032"/>
              <a:gd name="connsiteX16165" fmla="*/ 466478 w 4610101"/>
              <a:gd name="connsiteY16165" fmla="*/ 1212598 h 6557032"/>
              <a:gd name="connsiteX16166" fmla="*/ 455544 w 4610101"/>
              <a:gd name="connsiteY16166" fmla="*/ 1205309 h 6557032"/>
              <a:gd name="connsiteX16167" fmla="*/ 1290555 w 4610101"/>
              <a:gd name="connsiteY16167" fmla="*/ 1204170 h 6557032"/>
              <a:gd name="connsiteX16168" fmla="*/ 1290100 w 4610101"/>
              <a:gd name="connsiteY16168" fmla="*/ 1207132 h 6557032"/>
              <a:gd name="connsiteX16169" fmla="*/ 1291239 w 4610101"/>
              <a:gd name="connsiteY16169" fmla="*/ 1206904 h 6557032"/>
              <a:gd name="connsiteX16170" fmla="*/ 1292599 w 4610101"/>
              <a:gd name="connsiteY16170" fmla="*/ 1206038 h 6557032"/>
              <a:gd name="connsiteX16171" fmla="*/ 1290100 w 4610101"/>
              <a:gd name="connsiteY16171" fmla="*/ 1208954 h 6557032"/>
              <a:gd name="connsiteX16172" fmla="*/ 1295566 w 4610101"/>
              <a:gd name="connsiteY16172" fmla="*/ 1205309 h 6557032"/>
              <a:gd name="connsiteX16173" fmla="*/ 1293097 w 4610101"/>
              <a:gd name="connsiteY16173" fmla="*/ 1205721 h 6557032"/>
              <a:gd name="connsiteX16174" fmla="*/ 1293744 w 4610101"/>
              <a:gd name="connsiteY16174" fmla="*/ 1205309 h 6557032"/>
              <a:gd name="connsiteX16175" fmla="*/ 1290555 w 4610101"/>
              <a:gd name="connsiteY16175" fmla="*/ 1204170 h 6557032"/>
              <a:gd name="connsiteX16176" fmla="*/ 1281444 w 4610101"/>
              <a:gd name="connsiteY16176" fmla="*/ 1204170 h 6557032"/>
              <a:gd name="connsiteX16177" fmla="*/ 1277344 w 4610101"/>
              <a:gd name="connsiteY16177" fmla="*/ 1205309 h 6557032"/>
              <a:gd name="connsiteX16178" fmla="*/ 1282811 w 4610101"/>
              <a:gd name="connsiteY16178" fmla="*/ 1207132 h 6557032"/>
              <a:gd name="connsiteX16179" fmla="*/ 1281444 w 4610101"/>
              <a:gd name="connsiteY16179" fmla="*/ 1204170 h 6557032"/>
              <a:gd name="connsiteX16180" fmla="*/ 363752 w 4610101"/>
              <a:gd name="connsiteY16180" fmla="*/ 1204170 h 6557032"/>
              <a:gd name="connsiteX16181" fmla="*/ 360791 w 4610101"/>
              <a:gd name="connsiteY16181" fmla="*/ 1207132 h 6557032"/>
              <a:gd name="connsiteX16182" fmla="*/ 368079 w 4610101"/>
              <a:gd name="connsiteY16182" fmla="*/ 1205309 h 6557032"/>
              <a:gd name="connsiteX16183" fmla="*/ 363752 w 4610101"/>
              <a:gd name="connsiteY16183" fmla="*/ 1204170 h 6557032"/>
              <a:gd name="connsiteX16184" fmla="*/ 2981077 w 4610101"/>
              <a:gd name="connsiteY16184" fmla="*/ 1203487 h 6557032"/>
              <a:gd name="connsiteX16185" fmla="*/ 2979255 w 4610101"/>
              <a:gd name="connsiteY16185" fmla="*/ 1210776 h 6557032"/>
              <a:gd name="connsiteX16186" fmla="*/ 2981077 w 4610101"/>
              <a:gd name="connsiteY16186" fmla="*/ 1203487 h 6557032"/>
              <a:gd name="connsiteX16187" fmla="*/ 2849880 w 4610101"/>
              <a:gd name="connsiteY16187" fmla="*/ 1203487 h 6557032"/>
              <a:gd name="connsiteX16188" fmla="*/ 2848058 w 4610101"/>
              <a:gd name="connsiteY16188" fmla="*/ 1210776 h 6557032"/>
              <a:gd name="connsiteX16189" fmla="*/ 2853525 w 4610101"/>
              <a:gd name="connsiteY16189" fmla="*/ 1210776 h 6557032"/>
              <a:gd name="connsiteX16190" fmla="*/ 2849880 w 4610101"/>
              <a:gd name="connsiteY16190" fmla="*/ 1203487 h 6557032"/>
              <a:gd name="connsiteX16191" fmla="*/ 2055413 w 4610101"/>
              <a:gd name="connsiteY16191" fmla="*/ 1203487 h 6557032"/>
              <a:gd name="connsiteX16192" fmla="*/ 2046302 w 4610101"/>
              <a:gd name="connsiteY16192" fmla="*/ 1207132 h 6557032"/>
              <a:gd name="connsiteX16193" fmla="*/ 2049946 w 4610101"/>
              <a:gd name="connsiteY16193" fmla="*/ 1210776 h 6557032"/>
              <a:gd name="connsiteX16194" fmla="*/ 2055413 w 4610101"/>
              <a:gd name="connsiteY16194" fmla="*/ 1203487 h 6557032"/>
              <a:gd name="connsiteX16195" fmla="*/ 1417652 w 4610101"/>
              <a:gd name="connsiteY16195" fmla="*/ 1203487 h 6557032"/>
              <a:gd name="connsiteX16196" fmla="*/ 1410363 w 4610101"/>
              <a:gd name="connsiteY16196" fmla="*/ 1208954 h 6557032"/>
              <a:gd name="connsiteX16197" fmla="*/ 1417652 w 4610101"/>
              <a:gd name="connsiteY16197" fmla="*/ 1203487 h 6557032"/>
              <a:gd name="connsiteX16198" fmla="*/ 1361164 w 4610101"/>
              <a:gd name="connsiteY16198" fmla="*/ 1203487 h 6557032"/>
              <a:gd name="connsiteX16199" fmla="*/ 1352053 w 4610101"/>
              <a:gd name="connsiteY16199" fmla="*/ 1210776 h 6557032"/>
              <a:gd name="connsiteX16200" fmla="*/ 1355698 w 4610101"/>
              <a:gd name="connsiteY16200" fmla="*/ 1212598 h 6557032"/>
              <a:gd name="connsiteX16201" fmla="*/ 1361164 w 4610101"/>
              <a:gd name="connsiteY16201" fmla="*/ 1203487 h 6557032"/>
              <a:gd name="connsiteX16202" fmla="*/ 1257300 w 4610101"/>
              <a:gd name="connsiteY16202" fmla="*/ 1203487 h 6557032"/>
              <a:gd name="connsiteX16203" fmla="*/ 1257466 w 4610101"/>
              <a:gd name="connsiteY16203" fmla="*/ 1203515 h 6557032"/>
              <a:gd name="connsiteX16204" fmla="*/ 1253656 w 4610101"/>
              <a:gd name="connsiteY16204" fmla="*/ 1207132 h 6557032"/>
              <a:gd name="connsiteX16205" fmla="*/ 1246833 w 4610101"/>
              <a:gd name="connsiteY16205" fmla="*/ 1206976 h 6557032"/>
              <a:gd name="connsiteX16206" fmla="*/ 1151614 w 4610101"/>
              <a:gd name="connsiteY16206" fmla="*/ 1203487 h 6557032"/>
              <a:gd name="connsiteX16207" fmla="*/ 1157081 w 4610101"/>
              <a:gd name="connsiteY16207" fmla="*/ 1210776 h 6557032"/>
              <a:gd name="connsiteX16208" fmla="*/ 1158903 w 4610101"/>
              <a:gd name="connsiteY16208" fmla="*/ 1205309 h 6557032"/>
              <a:gd name="connsiteX16209" fmla="*/ 1151614 w 4610101"/>
              <a:gd name="connsiteY16209" fmla="*/ 1203487 h 6557032"/>
              <a:gd name="connsiteX16210" fmla="*/ 1014951 w 4610101"/>
              <a:gd name="connsiteY16210" fmla="*/ 1203487 h 6557032"/>
              <a:gd name="connsiteX16211" fmla="*/ 1024062 w 4610101"/>
              <a:gd name="connsiteY16211" fmla="*/ 1208954 h 6557032"/>
              <a:gd name="connsiteX16212" fmla="*/ 1024062 w 4610101"/>
              <a:gd name="connsiteY16212" fmla="*/ 1214420 h 6557032"/>
              <a:gd name="connsiteX16213" fmla="*/ 1027707 w 4610101"/>
              <a:gd name="connsiteY16213" fmla="*/ 1208954 h 6557032"/>
              <a:gd name="connsiteX16214" fmla="*/ 1014951 w 4610101"/>
              <a:gd name="connsiteY16214" fmla="*/ 1203487 h 6557032"/>
              <a:gd name="connsiteX16215" fmla="*/ 240527 w 4610101"/>
              <a:gd name="connsiteY16215" fmla="*/ 1203487 h 6557032"/>
              <a:gd name="connsiteX16216" fmla="*/ 240527 w 4610101"/>
              <a:gd name="connsiteY16216" fmla="*/ 1205309 h 6557032"/>
              <a:gd name="connsiteX16217" fmla="*/ 245994 w 4610101"/>
              <a:gd name="connsiteY16217" fmla="*/ 1205309 h 6557032"/>
              <a:gd name="connsiteX16218" fmla="*/ 240527 w 4610101"/>
              <a:gd name="connsiteY16218" fmla="*/ 1203487 h 6557032"/>
              <a:gd name="connsiteX16219" fmla="*/ 2838036 w 4610101"/>
              <a:gd name="connsiteY16219" fmla="*/ 1202804 h 6557032"/>
              <a:gd name="connsiteX16220" fmla="*/ 2835303 w 4610101"/>
              <a:gd name="connsiteY16220" fmla="*/ 1203487 h 6557032"/>
              <a:gd name="connsiteX16221" fmla="*/ 2835303 w 4610101"/>
              <a:gd name="connsiteY16221" fmla="*/ 1212598 h 6557032"/>
              <a:gd name="connsiteX16222" fmla="*/ 2840769 w 4610101"/>
              <a:gd name="connsiteY16222" fmla="*/ 1203487 h 6557032"/>
              <a:gd name="connsiteX16223" fmla="*/ 2838036 w 4610101"/>
              <a:gd name="connsiteY16223" fmla="*/ 1202804 h 6557032"/>
              <a:gd name="connsiteX16224" fmla="*/ 1134987 w 4610101"/>
              <a:gd name="connsiteY16224" fmla="*/ 1202719 h 6557032"/>
              <a:gd name="connsiteX16225" fmla="*/ 1127926 w 4610101"/>
              <a:gd name="connsiteY16225" fmla="*/ 1203487 h 6557032"/>
              <a:gd name="connsiteX16226" fmla="*/ 1131570 w 4610101"/>
              <a:gd name="connsiteY16226" fmla="*/ 1208954 h 6557032"/>
              <a:gd name="connsiteX16227" fmla="*/ 1133393 w 4610101"/>
              <a:gd name="connsiteY16227" fmla="*/ 1205309 h 6557032"/>
              <a:gd name="connsiteX16228" fmla="*/ 1133393 w 4610101"/>
              <a:gd name="connsiteY16228" fmla="*/ 1208954 h 6557032"/>
              <a:gd name="connsiteX16229" fmla="*/ 1138859 w 4610101"/>
              <a:gd name="connsiteY16229" fmla="*/ 1216242 h 6557032"/>
              <a:gd name="connsiteX16230" fmla="*/ 1153436 w 4610101"/>
              <a:gd name="connsiteY16230" fmla="*/ 1219887 h 6557032"/>
              <a:gd name="connsiteX16231" fmla="*/ 1134987 w 4610101"/>
              <a:gd name="connsiteY16231" fmla="*/ 1202719 h 6557032"/>
              <a:gd name="connsiteX16232" fmla="*/ 3211355 w 4610101"/>
              <a:gd name="connsiteY16232" fmla="*/ 1201893 h 6557032"/>
              <a:gd name="connsiteX16233" fmla="*/ 3203382 w 4610101"/>
              <a:gd name="connsiteY16233" fmla="*/ 1203487 h 6557032"/>
              <a:gd name="connsiteX16234" fmla="*/ 3208849 w 4610101"/>
              <a:gd name="connsiteY16234" fmla="*/ 1210776 h 6557032"/>
              <a:gd name="connsiteX16235" fmla="*/ 3208849 w 4610101"/>
              <a:gd name="connsiteY16235" fmla="*/ 1203487 h 6557032"/>
              <a:gd name="connsiteX16236" fmla="*/ 3212493 w 4610101"/>
              <a:gd name="connsiteY16236" fmla="*/ 1207132 h 6557032"/>
              <a:gd name="connsiteX16237" fmla="*/ 3211355 w 4610101"/>
              <a:gd name="connsiteY16237" fmla="*/ 1201893 h 6557032"/>
              <a:gd name="connsiteX16238" fmla="*/ 2359716 w 4610101"/>
              <a:gd name="connsiteY16238" fmla="*/ 1201665 h 6557032"/>
              <a:gd name="connsiteX16239" fmla="*/ 2345138 w 4610101"/>
              <a:gd name="connsiteY16239" fmla="*/ 1214420 h 6557032"/>
              <a:gd name="connsiteX16240" fmla="*/ 2356071 w 4610101"/>
              <a:gd name="connsiteY16240" fmla="*/ 1219887 h 6557032"/>
              <a:gd name="connsiteX16241" fmla="*/ 2367004 w 4610101"/>
              <a:gd name="connsiteY16241" fmla="*/ 1218065 h 6557032"/>
              <a:gd name="connsiteX16242" fmla="*/ 2361538 w 4610101"/>
              <a:gd name="connsiteY16242" fmla="*/ 1218065 h 6557032"/>
              <a:gd name="connsiteX16243" fmla="*/ 2354249 w 4610101"/>
              <a:gd name="connsiteY16243" fmla="*/ 1205309 h 6557032"/>
              <a:gd name="connsiteX16244" fmla="*/ 2359716 w 4610101"/>
              <a:gd name="connsiteY16244" fmla="*/ 1207132 h 6557032"/>
              <a:gd name="connsiteX16245" fmla="*/ 2363360 w 4610101"/>
              <a:gd name="connsiteY16245" fmla="*/ 1201665 h 6557032"/>
              <a:gd name="connsiteX16246" fmla="*/ 2359716 w 4610101"/>
              <a:gd name="connsiteY16246" fmla="*/ 1201665 h 6557032"/>
              <a:gd name="connsiteX16247" fmla="*/ 2213942 w 4610101"/>
              <a:gd name="connsiteY16247" fmla="*/ 1201665 h 6557032"/>
              <a:gd name="connsiteX16248" fmla="*/ 2210297 w 4610101"/>
              <a:gd name="connsiteY16248" fmla="*/ 1210776 h 6557032"/>
              <a:gd name="connsiteX16249" fmla="*/ 2224875 w 4610101"/>
              <a:gd name="connsiteY16249" fmla="*/ 1227175 h 6557032"/>
              <a:gd name="connsiteX16250" fmla="*/ 2228519 w 4610101"/>
              <a:gd name="connsiteY16250" fmla="*/ 1225353 h 6557032"/>
              <a:gd name="connsiteX16251" fmla="*/ 2213942 w 4610101"/>
              <a:gd name="connsiteY16251" fmla="*/ 1201665 h 6557032"/>
              <a:gd name="connsiteX16252" fmla="*/ 1235434 w 4610101"/>
              <a:gd name="connsiteY16252" fmla="*/ 1201665 h 6557032"/>
              <a:gd name="connsiteX16253" fmla="*/ 1248189 w 4610101"/>
              <a:gd name="connsiteY16253" fmla="*/ 1203487 h 6557032"/>
              <a:gd name="connsiteX16254" fmla="*/ 1240783 w 4610101"/>
              <a:gd name="connsiteY16254" fmla="*/ 1206450 h 6557032"/>
              <a:gd name="connsiteX16255" fmla="*/ 1238368 w 4610101"/>
              <a:gd name="connsiteY16255" fmla="*/ 1206066 h 6557032"/>
              <a:gd name="connsiteX16256" fmla="*/ 843667 w 4610101"/>
              <a:gd name="connsiteY16256" fmla="*/ 1201665 h 6557032"/>
              <a:gd name="connsiteX16257" fmla="*/ 841845 w 4610101"/>
              <a:gd name="connsiteY16257" fmla="*/ 1205309 h 6557032"/>
              <a:gd name="connsiteX16258" fmla="*/ 847311 w 4610101"/>
              <a:gd name="connsiteY16258" fmla="*/ 1205309 h 6557032"/>
              <a:gd name="connsiteX16259" fmla="*/ 843667 w 4610101"/>
              <a:gd name="connsiteY16259" fmla="*/ 1201665 h 6557032"/>
              <a:gd name="connsiteX16260" fmla="*/ 457367 w 4610101"/>
              <a:gd name="connsiteY16260" fmla="*/ 1201665 h 6557032"/>
              <a:gd name="connsiteX16261" fmla="*/ 462832 w 4610101"/>
              <a:gd name="connsiteY16261" fmla="*/ 1203487 h 6557032"/>
              <a:gd name="connsiteX16262" fmla="*/ 457367 w 4610101"/>
              <a:gd name="connsiteY16262" fmla="*/ 1201665 h 6557032"/>
              <a:gd name="connsiteX16263" fmla="*/ 371724 w 4610101"/>
              <a:gd name="connsiteY16263" fmla="*/ 1201665 h 6557032"/>
              <a:gd name="connsiteX16264" fmla="*/ 368079 w 4610101"/>
              <a:gd name="connsiteY16264" fmla="*/ 1203487 h 6557032"/>
              <a:gd name="connsiteX16265" fmla="*/ 371724 w 4610101"/>
              <a:gd name="connsiteY16265" fmla="*/ 1201665 h 6557032"/>
              <a:gd name="connsiteX16266" fmla="*/ 362613 w 4610101"/>
              <a:gd name="connsiteY16266" fmla="*/ 1201665 h 6557032"/>
              <a:gd name="connsiteX16267" fmla="*/ 348037 w 4610101"/>
              <a:gd name="connsiteY16267" fmla="*/ 1205309 h 6557032"/>
              <a:gd name="connsiteX16268" fmla="*/ 335280 w 4610101"/>
              <a:gd name="connsiteY16268" fmla="*/ 1210776 h 6557032"/>
              <a:gd name="connsiteX16269" fmla="*/ 362613 w 4610101"/>
              <a:gd name="connsiteY16269" fmla="*/ 1201665 h 6557032"/>
              <a:gd name="connsiteX16270" fmla="*/ 286082 w 4610101"/>
              <a:gd name="connsiteY16270" fmla="*/ 1201665 h 6557032"/>
              <a:gd name="connsiteX16271" fmla="*/ 295193 w 4610101"/>
              <a:gd name="connsiteY16271" fmla="*/ 1205309 h 6557032"/>
              <a:gd name="connsiteX16272" fmla="*/ 305795 w 4610101"/>
              <a:gd name="connsiteY16272" fmla="*/ 1209285 h 6557032"/>
              <a:gd name="connsiteX16273" fmla="*/ 302481 w 4610101"/>
              <a:gd name="connsiteY16273" fmla="*/ 1212598 h 6557032"/>
              <a:gd name="connsiteX16274" fmla="*/ 311592 w 4610101"/>
              <a:gd name="connsiteY16274" fmla="*/ 1214420 h 6557032"/>
              <a:gd name="connsiteX16275" fmla="*/ 306854 w 4610101"/>
              <a:gd name="connsiteY16275" fmla="*/ 1209682 h 6557032"/>
              <a:gd name="connsiteX16276" fmla="*/ 309771 w 4610101"/>
              <a:gd name="connsiteY16276" fmla="*/ 1210776 h 6557032"/>
              <a:gd name="connsiteX16277" fmla="*/ 306809 w 4610101"/>
              <a:gd name="connsiteY16277" fmla="*/ 1209637 h 6557032"/>
              <a:gd name="connsiteX16278" fmla="*/ 306126 w 4610101"/>
              <a:gd name="connsiteY16278" fmla="*/ 1208954 h 6557032"/>
              <a:gd name="connsiteX16279" fmla="*/ 305822 w 4610101"/>
              <a:gd name="connsiteY16279" fmla="*/ 1209258 h 6557032"/>
              <a:gd name="connsiteX16280" fmla="*/ 307036 w 4610101"/>
              <a:gd name="connsiteY16280" fmla="*/ 1201437 h 6557032"/>
              <a:gd name="connsiteX16281" fmla="*/ 300660 w 4610101"/>
              <a:gd name="connsiteY16281" fmla="*/ 1201665 h 6557032"/>
              <a:gd name="connsiteX16282" fmla="*/ 313414 w 4610101"/>
              <a:gd name="connsiteY16282" fmla="*/ 1205309 h 6557032"/>
              <a:gd name="connsiteX16283" fmla="*/ 307036 w 4610101"/>
              <a:gd name="connsiteY16283" fmla="*/ 1201437 h 6557032"/>
              <a:gd name="connsiteX16284" fmla="*/ 241211 w 4610101"/>
              <a:gd name="connsiteY16284" fmla="*/ 1201209 h 6557032"/>
              <a:gd name="connsiteX16285" fmla="*/ 236883 w 4610101"/>
              <a:gd name="connsiteY16285" fmla="*/ 1201665 h 6557032"/>
              <a:gd name="connsiteX16286" fmla="*/ 244172 w 4610101"/>
              <a:gd name="connsiteY16286" fmla="*/ 1203487 h 6557032"/>
              <a:gd name="connsiteX16287" fmla="*/ 241211 w 4610101"/>
              <a:gd name="connsiteY16287" fmla="*/ 1201209 h 6557032"/>
              <a:gd name="connsiteX16288" fmla="*/ 484987 w 4610101"/>
              <a:gd name="connsiteY16288" fmla="*/ 1200642 h 6557032"/>
              <a:gd name="connsiteX16289" fmla="*/ 486521 w 4610101"/>
              <a:gd name="connsiteY16289" fmla="*/ 1201665 h 6557032"/>
              <a:gd name="connsiteX16290" fmla="*/ 484236 w 4610101"/>
              <a:gd name="connsiteY16290" fmla="*/ 1201121 h 6557032"/>
              <a:gd name="connsiteX16291" fmla="*/ 485041 w 4610101"/>
              <a:gd name="connsiteY16291" fmla="*/ 1200754 h 6557032"/>
              <a:gd name="connsiteX16292" fmla="*/ 2623931 w 4610101"/>
              <a:gd name="connsiteY16292" fmla="*/ 1200526 h 6557032"/>
              <a:gd name="connsiteX16293" fmla="*/ 2620287 w 4610101"/>
              <a:gd name="connsiteY16293" fmla="*/ 1201665 h 6557032"/>
              <a:gd name="connsiteX16294" fmla="*/ 2620287 w 4610101"/>
              <a:gd name="connsiteY16294" fmla="*/ 1203487 h 6557032"/>
              <a:gd name="connsiteX16295" fmla="*/ 2627575 w 4610101"/>
              <a:gd name="connsiteY16295" fmla="*/ 1203487 h 6557032"/>
              <a:gd name="connsiteX16296" fmla="*/ 2623931 w 4610101"/>
              <a:gd name="connsiteY16296" fmla="*/ 1200526 h 6557032"/>
              <a:gd name="connsiteX16297" fmla="*/ 1230697 w 4610101"/>
              <a:gd name="connsiteY16297" fmla="*/ 1200207 h 6557032"/>
              <a:gd name="connsiteX16298" fmla="*/ 1231790 w 4610101"/>
              <a:gd name="connsiteY16298" fmla="*/ 1203487 h 6557032"/>
              <a:gd name="connsiteX16299" fmla="*/ 1219036 w 4610101"/>
              <a:gd name="connsiteY16299" fmla="*/ 1205309 h 6557032"/>
              <a:gd name="connsiteX16300" fmla="*/ 1226323 w 4610101"/>
              <a:gd name="connsiteY16300" fmla="*/ 1201665 h 6557032"/>
              <a:gd name="connsiteX16301" fmla="*/ 2408914 w 4610101"/>
              <a:gd name="connsiteY16301" fmla="*/ 1199843 h 6557032"/>
              <a:gd name="connsiteX16302" fmla="*/ 2397981 w 4610101"/>
              <a:gd name="connsiteY16302" fmla="*/ 1208954 h 6557032"/>
              <a:gd name="connsiteX16303" fmla="*/ 2414381 w 4610101"/>
              <a:gd name="connsiteY16303" fmla="*/ 1208954 h 6557032"/>
              <a:gd name="connsiteX16304" fmla="*/ 2408914 w 4610101"/>
              <a:gd name="connsiteY16304" fmla="*/ 1199843 h 6557032"/>
              <a:gd name="connsiteX16305" fmla="*/ 1299210 w 4610101"/>
              <a:gd name="connsiteY16305" fmla="*/ 1199843 h 6557032"/>
              <a:gd name="connsiteX16306" fmla="*/ 1309436 w 4610101"/>
              <a:gd name="connsiteY16306" fmla="*/ 1201547 h 6557032"/>
              <a:gd name="connsiteX16307" fmla="*/ 1304904 w 4610101"/>
              <a:gd name="connsiteY16307" fmla="*/ 1202121 h 6557032"/>
              <a:gd name="connsiteX16308" fmla="*/ 1300239 w 4610101"/>
              <a:gd name="connsiteY16308" fmla="*/ 1201993 h 6557032"/>
              <a:gd name="connsiteX16309" fmla="*/ 1299666 w 4610101"/>
              <a:gd name="connsiteY16309" fmla="*/ 1201665 h 6557032"/>
              <a:gd name="connsiteX16310" fmla="*/ 1299210 w 4610101"/>
              <a:gd name="connsiteY16310" fmla="*/ 1199843 h 6557032"/>
              <a:gd name="connsiteX16311" fmla="*/ 1231790 w 4610101"/>
              <a:gd name="connsiteY16311" fmla="*/ 1199843 h 6557032"/>
              <a:gd name="connsiteX16312" fmla="*/ 1234601 w 4610101"/>
              <a:gd name="connsiteY16312" fmla="*/ 1205466 h 6557032"/>
              <a:gd name="connsiteX16313" fmla="*/ 1233612 w 4610101"/>
              <a:gd name="connsiteY16313" fmla="*/ 1205309 h 6557032"/>
              <a:gd name="connsiteX16314" fmla="*/ 1231010 w 4610101"/>
              <a:gd name="connsiteY16314" fmla="*/ 1200103 h 6557032"/>
              <a:gd name="connsiteX16315" fmla="*/ 883755 w 4610101"/>
              <a:gd name="connsiteY16315" fmla="*/ 1199843 h 6557032"/>
              <a:gd name="connsiteX16316" fmla="*/ 885577 w 4610101"/>
              <a:gd name="connsiteY16316" fmla="*/ 1207132 h 6557032"/>
              <a:gd name="connsiteX16317" fmla="*/ 887399 w 4610101"/>
              <a:gd name="connsiteY16317" fmla="*/ 1201665 h 6557032"/>
              <a:gd name="connsiteX16318" fmla="*/ 883755 w 4610101"/>
              <a:gd name="connsiteY16318" fmla="*/ 1199843 h 6557032"/>
              <a:gd name="connsiteX16319" fmla="*/ 810868 w 4610101"/>
              <a:gd name="connsiteY16319" fmla="*/ 1199843 h 6557032"/>
              <a:gd name="connsiteX16320" fmla="*/ 812690 w 4610101"/>
              <a:gd name="connsiteY16320" fmla="*/ 1207132 h 6557032"/>
              <a:gd name="connsiteX16321" fmla="*/ 810868 w 4610101"/>
              <a:gd name="connsiteY16321" fmla="*/ 1199843 h 6557032"/>
              <a:gd name="connsiteX16322" fmla="*/ 413634 w 4610101"/>
              <a:gd name="connsiteY16322" fmla="*/ 1199843 h 6557032"/>
              <a:gd name="connsiteX16323" fmla="*/ 409989 w 4610101"/>
              <a:gd name="connsiteY16323" fmla="*/ 1201665 h 6557032"/>
              <a:gd name="connsiteX16324" fmla="*/ 419100 w 4610101"/>
              <a:gd name="connsiteY16324" fmla="*/ 1203487 h 6557032"/>
              <a:gd name="connsiteX16325" fmla="*/ 413634 w 4610101"/>
              <a:gd name="connsiteY16325" fmla="*/ 1199843 h 6557032"/>
              <a:gd name="connsiteX16326" fmla="*/ 275604 w 4610101"/>
              <a:gd name="connsiteY16326" fmla="*/ 1199160 h 6557032"/>
              <a:gd name="connsiteX16327" fmla="*/ 266038 w 4610101"/>
              <a:gd name="connsiteY16327" fmla="*/ 1201665 h 6557032"/>
              <a:gd name="connsiteX16328" fmla="*/ 293370 w 4610101"/>
              <a:gd name="connsiteY16328" fmla="*/ 1210776 h 6557032"/>
              <a:gd name="connsiteX16329" fmla="*/ 291549 w 4610101"/>
              <a:gd name="connsiteY16329" fmla="*/ 1208954 h 6557032"/>
              <a:gd name="connsiteX16330" fmla="*/ 300660 w 4610101"/>
              <a:gd name="connsiteY16330" fmla="*/ 1214420 h 6557032"/>
              <a:gd name="connsiteX16331" fmla="*/ 291549 w 4610101"/>
              <a:gd name="connsiteY16331" fmla="*/ 1207132 h 6557032"/>
              <a:gd name="connsiteX16332" fmla="*/ 291549 w 4610101"/>
              <a:gd name="connsiteY16332" fmla="*/ 1208954 h 6557032"/>
              <a:gd name="connsiteX16333" fmla="*/ 278793 w 4610101"/>
              <a:gd name="connsiteY16333" fmla="*/ 1201665 h 6557032"/>
              <a:gd name="connsiteX16334" fmla="*/ 283279 w 4610101"/>
              <a:gd name="connsiteY16334" fmla="*/ 1201860 h 6557032"/>
              <a:gd name="connsiteX16335" fmla="*/ 287904 w 4610101"/>
              <a:gd name="connsiteY16335" fmla="*/ 1203487 h 6557032"/>
              <a:gd name="connsiteX16336" fmla="*/ 284032 w 4610101"/>
              <a:gd name="connsiteY16336" fmla="*/ 1201893 h 6557032"/>
              <a:gd name="connsiteX16337" fmla="*/ 283279 w 4610101"/>
              <a:gd name="connsiteY16337" fmla="*/ 1201860 h 6557032"/>
              <a:gd name="connsiteX16338" fmla="*/ 437777 w 4610101"/>
              <a:gd name="connsiteY16338" fmla="*/ 1199159 h 6557032"/>
              <a:gd name="connsiteX16339" fmla="*/ 430034 w 4610101"/>
              <a:gd name="connsiteY16339" fmla="*/ 1205309 h 6557032"/>
              <a:gd name="connsiteX16340" fmla="*/ 438461 w 4610101"/>
              <a:gd name="connsiteY16340" fmla="*/ 1211915 h 6557032"/>
              <a:gd name="connsiteX16341" fmla="*/ 447211 w 4610101"/>
              <a:gd name="connsiteY16341" fmla="*/ 1214153 h 6557032"/>
              <a:gd name="connsiteX16342" fmla="*/ 448256 w 4610101"/>
              <a:gd name="connsiteY16342" fmla="*/ 1216242 h 6557032"/>
              <a:gd name="connsiteX16343" fmla="*/ 442789 w 4610101"/>
              <a:gd name="connsiteY16343" fmla="*/ 1199843 h 6557032"/>
              <a:gd name="connsiteX16344" fmla="*/ 448256 w 4610101"/>
              <a:gd name="connsiteY16344" fmla="*/ 1199843 h 6557032"/>
              <a:gd name="connsiteX16345" fmla="*/ 437777 w 4610101"/>
              <a:gd name="connsiteY16345" fmla="*/ 1199159 h 6557032"/>
              <a:gd name="connsiteX16346" fmla="*/ 3367164 w 4610101"/>
              <a:gd name="connsiteY16346" fmla="*/ 1199093 h 6557032"/>
              <a:gd name="connsiteX16347" fmla="*/ 3368627 w 4610101"/>
              <a:gd name="connsiteY16347" fmla="*/ 1200068 h 6557032"/>
              <a:gd name="connsiteX16348" fmla="*/ 3365556 w 4610101"/>
              <a:gd name="connsiteY16348" fmla="*/ 1207132 h 6557032"/>
              <a:gd name="connsiteX16349" fmla="*/ 3366467 w 4610101"/>
              <a:gd name="connsiteY16349" fmla="*/ 1202577 h 6557032"/>
              <a:gd name="connsiteX16350" fmla="*/ 1028468 w 4610101"/>
              <a:gd name="connsiteY16350" fmla="*/ 1198646 h 6557032"/>
              <a:gd name="connsiteX16351" fmla="*/ 1030212 w 4610101"/>
              <a:gd name="connsiteY16351" fmla="*/ 1199615 h 6557032"/>
              <a:gd name="connsiteX16352" fmla="*/ 1030027 w 4610101"/>
              <a:gd name="connsiteY16352" fmla="*/ 1201665 h 6557032"/>
              <a:gd name="connsiteX16353" fmla="*/ 1029529 w 4610101"/>
              <a:gd name="connsiteY16353" fmla="*/ 1201665 h 6557032"/>
              <a:gd name="connsiteX16354" fmla="*/ 1029529 w 4610101"/>
              <a:gd name="connsiteY16354" fmla="*/ 1207132 h 6557032"/>
              <a:gd name="connsiteX16355" fmla="*/ 3367378 w 4610101"/>
              <a:gd name="connsiteY16355" fmla="*/ 1198021 h 6557032"/>
              <a:gd name="connsiteX16356" fmla="*/ 3367164 w 4610101"/>
              <a:gd name="connsiteY16356" fmla="*/ 1199093 h 6557032"/>
              <a:gd name="connsiteX16357" fmla="*/ 3366446 w 4610101"/>
              <a:gd name="connsiteY16357" fmla="*/ 1198614 h 6557032"/>
              <a:gd name="connsiteX16358" fmla="*/ 3303602 w 4610101"/>
              <a:gd name="connsiteY16358" fmla="*/ 1198021 h 6557032"/>
              <a:gd name="connsiteX16359" fmla="*/ 3296313 w 4610101"/>
              <a:gd name="connsiteY16359" fmla="*/ 1201665 h 6557032"/>
              <a:gd name="connsiteX16360" fmla="*/ 3305424 w 4610101"/>
              <a:gd name="connsiteY16360" fmla="*/ 1207132 h 6557032"/>
              <a:gd name="connsiteX16361" fmla="*/ 3303602 w 4610101"/>
              <a:gd name="connsiteY16361" fmla="*/ 1198021 h 6557032"/>
              <a:gd name="connsiteX16362" fmla="*/ 3165116 w 4610101"/>
              <a:gd name="connsiteY16362" fmla="*/ 1198021 h 6557032"/>
              <a:gd name="connsiteX16363" fmla="*/ 3165116 w 4610101"/>
              <a:gd name="connsiteY16363" fmla="*/ 1201665 h 6557032"/>
              <a:gd name="connsiteX16364" fmla="*/ 3163294 w 4610101"/>
              <a:gd name="connsiteY16364" fmla="*/ 1207132 h 6557032"/>
              <a:gd name="connsiteX16365" fmla="*/ 3166939 w 4610101"/>
              <a:gd name="connsiteY16365" fmla="*/ 1207132 h 6557032"/>
              <a:gd name="connsiteX16366" fmla="*/ 3166939 w 4610101"/>
              <a:gd name="connsiteY16366" fmla="*/ 1205309 h 6557032"/>
              <a:gd name="connsiteX16367" fmla="*/ 3165116 w 4610101"/>
              <a:gd name="connsiteY16367" fmla="*/ 1198021 h 6557032"/>
              <a:gd name="connsiteX16368" fmla="*/ 2186609 w 4610101"/>
              <a:gd name="connsiteY16368" fmla="*/ 1198021 h 6557032"/>
              <a:gd name="connsiteX16369" fmla="*/ 2161099 w 4610101"/>
              <a:gd name="connsiteY16369" fmla="*/ 1207132 h 6557032"/>
              <a:gd name="connsiteX16370" fmla="*/ 2137410 w 4610101"/>
              <a:gd name="connsiteY16370" fmla="*/ 1212598 h 6557032"/>
              <a:gd name="connsiteX16371" fmla="*/ 2141055 w 4610101"/>
              <a:gd name="connsiteY16371" fmla="*/ 1216242 h 6557032"/>
              <a:gd name="connsiteX16372" fmla="*/ 2155632 w 4610101"/>
              <a:gd name="connsiteY16372" fmla="*/ 1216242 h 6557032"/>
              <a:gd name="connsiteX16373" fmla="*/ 2161099 w 4610101"/>
              <a:gd name="connsiteY16373" fmla="*/ 1221709 h 6557032"/>
              <a:gd name="connsiteX16374" fmla="*/ 2159277 w 4610101"/>
              <a:gd name="connsiteY16374" fmla="*/ 1225353 h 6557032"/>
              <a:gd name="connsiteX16375" fmla="*/ 2166565 w 4610101"/>
              <a:gd name="connsiteY16375" fmla="*/ 1219887 h 6557032"/>
              <a:gd name="connsiteX16376" fmla="*/ 2172032 w 4610101"/>
              <a:gd name="connsiteY16376" fmla="*/ 1218065 h 6557032"/>
              <a:gd name="connsiteX16377" fmla="*/ 2173854 w 4610101"/>
              <a:gd name="connsiteY16377" fmla="*/ 1218065 h 6557032"/>
              <a:gd name="connsiteX16378" fmla="*/ 2190253 w 4610101"/>
              <a:gd name="connsiteY16378" fmla="*/ 1208954 h 6557032"/>
              <a:gd name="connsiteX16379" fmla="*/ 2190253 w 4610101"/>
              <a:gd name="connsiteY16379" fmla="*/ 1199843 h 6557032"/>
              <a:gd name="connsiteX16380" fmla="*/ 2188431 w 4610101"/>
              <a:gd name="connsiteY16380" fmla="*/ 1203487 h 6557032"/>
              <a:gd name="connsiteX16381" fmla="*/ 2186609 w 4610101"/>
              <a:gd name="connsiteY16381" fmla="*/ 1198021 h 6557032"/>
              <a:gd name="connsiteX16382" fmla="*/ 1415829 w 4610101"/>
              <a:gd name="connsiteY16382" fmla="*/ 1198021 h 6557032"/>
              <a:gd name="connsiteX16383" fmla="*/ 1364809 w 4610101"/>
              <a:gd name="connsiteY16383" fmla="*/ 1219887 h 6557032"/>
              <a:gd name="connsiteX16384" fmla="*/ 1379386 w 4610101"/>
              <a:gd name="connsiteY16384" fmla="*/ 1212598 h 6557032"/>
              <a:gd name="connsiteX16385" fmla="*/ 1377564 w 4610101"/>
              <a:gd name="connsiteY16385" fmla="*/ 1216242 h 6557032"/>
              <a:gd name="connsiteX16386" fmla="*/ 1384854 w 4610101"/>
              <a:gd name="connsiteY16386" fmla="*/ 1214420 h 6557032"/>
              <a:gd name="connsiteX16387" fmla="*/ 1388497 w 4610101"/>
              <a:gd name="connsiteY16387" fmla="*/ 1216242 h 6557032"/>
              <a:gd name="connsiteX16388" fmla="*/ 1415829 w 4610101"/>
              <a:gd name="connsiteY16388" fmla="*/ 1201665 h 6557032"/>
              <a:gd name="connsiteX16389" fmla="*/ 1415829 w 4610101"/>
              <a:gd name="connsiteY16389" fmla="*/ 1198021 h 6557032"/>
              <a:gd name="connsiteX16390" fmla="*/ 1229969 w 4610101"/>
              <a:gd name="connsiteY16390" fmla="*/ 1198021 h 6557032"/>
              <a:gd name="connsiteX16391" fmla="*/ 1231010 w 4610101"/>
              <a:gd name="connsiteY16391" fmla="*/ 1200103 h 6557032"/>
              <a:gd name="connsiteX16392" fmla="*/ 1230697 w 4610101"/>
              <a:gd name="connsiteY16392" fmla="*/ 1200207 h 6557032"/>
              <a:gd name="connsiteX16393" fmla="*/ 1005840 w 4610101"/>
              <a:gd name="connsiteY16393" fmla="*/ 1198021 h 6557032"/>
              <a:gd name="connsiteX16394" fmla="*/ 1005840 w 4610101"/>
              <a:gd name="connsiteY16394" fmla="*/ 1207132 h 6557032"/>
              <a:gd name="connsiteX16395" fmla="*/ 1007663 w 4610101"/>
              <a:gd name="connsiteY16395" fmla="*/ 1203487 h 6557032"/>
              <a:gd name="connsiteX16396" fmla="*/ 1013129 w 4610101"/>
              <a:gd name="connsiteY16396" fmla="*/ 1201665 h 6557032"/>
              <a:gd name="connsiteX16397" fmla="*/ 1009485 w 4610101"/>
              <a:gd name="connsiteY16397" fmla="*/ 1198021 h 6557032"/>
              <a:gd name="connsiteX16398" fmla="*/ 1005840 w 4610101"/>
              <a:gd name="connsiteY16398" fmla="*/ 1198021 h 6557032"/>
              <a:gd name="connsiteX16399" fmla="*/ 996729 w 4610101"/>
              <a:gd name="connsiteY16399" fmla="*/ 1198021 h 6557032"/>
              <a:gd name="connsiteX16400" fmla="*/ 995727 w 4610101"/>
              <a:gd name="connsiteY16400" fmla="*/ 1204034 h 6557032"/>
              <a:gd name="connsiteX16401" fmla="*/ 994907 w 4610101"/>
              <a:gd name="connsiteY16401" fmla="*/ 1203487 h 6557032"/>
              <a:gd name="connsiteX16402" fmla="*/ 994907 w 4610101"/>
              <a:gd name="connsiteY16402" fmla="*/ 1208954 h 6557032"/>
              <a:gd name="connsiteX16403" fmla="*/ 995727 w 4610101"/>
              <a:gd name="connsiteY16403" fmla="*/ 1204034 h 6557032"/>
              <a:gd name="connsiteX16404" fmla="*/ 996957 w 4610101"/>
              <a:gd name="connsiteY16404" fmla="*/ 1204854 h 6557032"/>
              <a:gd name="connsiteX16405" fmla="*/ 1000374 w 4610101"/>
              <a:gd name="connsiteY16405" fmla="*/ 1203487 h 6557032"/>
              <a:gd name="connsiteX16406" fmla="*/ 996729 w 4610101"/>
              <a:gd name="connsiteY16406" fmla="*/ 1198021 h 6557032"/>
              <a:gd name="connsiteX16407" fmla="*/ 940242 w 4610101"/>
              <a:gd name="connsiteY16407" fmla="*/ 1198021 h 6557032"/>
              <a:gd name="connsiteX16408" fmla="*/ 936646 w 4610101"/>
              <a:gd name="connsiteY16408" fmla="*/ 1200418 h 6557032"/>
              <a:gd name="connsiteX16409" fmla="*/ 936598 w 4610101"/>
              <a:gd name="connsiteY16409" fmla="*/ 1199843 h 6557032"/>
              <a:gd name="connsiteX16410" fmla="*/ 934777 w 4610101"/>
              <a:gd name="connsiteY16410" fmla="*/ 1201665 h 6557032"/>
              <a:gd name="connsiteX16411" fmla="*/ 936646 w 4610101"/>
              <a:gd name="connsiteY16411" fmla="*/ 1200418 h 6557032"/>
              <a:gd name="connsiteX16412" fmla="*/ 936826 w 4610101"/>
              <a:gd name="connsiteY16412" fmla="*/ 1202576 h 6557032"/>
              <a:gd name="connsiteX16413" fmla="*/ 938420 w 4610101"/>
              <a:gd name="connsiteY16413" fmla="*/ 1205309 h 6557032"/>
              <a:gd name="connsiteX16414" fmla="*/ 940242 w 4610101"/>
              <a:gd name="connsiteY16414" fmla="*/ 1198021 h 6557032"/>
              <a:gd name="connsiteX16415" fmla="*/ 513853 w 4610101"/>
              <a:gd name="connsiteY16415" fmla="*/ 1198021 h 6557032"/>
              <a:gd name="connsiteX16416" fmla="*/ 550297 w 4610101"/>
              <a:gd name="connsiteY16416" fmla="*/ 1205309 h 6557032"/>
              <a:gd name="connsiteX16417" fmla="*/ 533897 w 4610101"/>
              <a:gd name="connsiteY16417" fmla="*/ 1205309 h 6557032"/>
              <a:gd name="connsiteX16418" fmla="*/ 543008 w 4610101"/>
              <a:gd name="connsiteY16418" fmla="*/ 1203487 h 6557032"/>
              <a:gd name="connsiteX16419" fmla="*/ 513853 w 4610101"/>
              <a:gd name="connsiteY16419" fmla="*/ 1198021 h 6557032"/>
              <a:gd name="connsiteX16420" fmla="*/ 417278 w 4610101"/>
              <a:gd name="connsiteY16420" fmla="*/ 1198021 h 6557032"/>
              <a:gd name="connsiteX16421" fmla="*/ 420923 w 4610101"/>
              <a:gd name="connsiteY16421" fmla="*/ 1199843 h 6557032"/>
              <a:gd name="connsiteX16422" fmla="*/ 417278 w 4610101"/>
              <a:gd name="connsiteY16422" fmla="*/ 1198021 h 6557032"/>
              <a:gd name="connsiteX16423" fmla="*/ 488542 w 4610101"/>
              <a:gd name="connsiteY16423" fmla="*/ 1197558 h 6557032"/>
              <a:gd name="connsiteX16424" fmla="*/ 488570 w 4610101"/>
              <a:gd name="connsiteY16424" fmla="*/ 1197565 h 6557032"/>
              <a:gd name="connsiteX16425" fmla="*/ 490165 w 4610101"/>
              <a:gd name="connsiteY16425" fmla="*/ 1201665 h 6557032"/>
              <a:gd name="connsiteX16426" fmla="*/ 488571 w 4610101"/>
              <a:gd name="connsiteY16426" fmla="*/ 1198021 h 6557032"/>
              <a:gd name="connsiteX16427" fmla="*/ 170602 w 4610101"/>
              <a:gd name="connsiteY16427" fmla="*/ 1197338 h 6557032"/>
              <a:gd name="connsiteX16428" fmla="*/ 170857 w 4610101"/>
              <a:gd name="connsiteY16428" fmla="*/ 1197378 h 6557032"/>
              <a:gd name="connsiteX16429" fmla="*/ 167640 w 4610101"/>
              <a:gd name="connsiteY16429" fmla="*/ 1198021 h 6557032"/>
              <a:gd name="connsiteX16430" fmla="*/ 170602 w 4610101"/>
              <a:gd name="connsiteY16430" fmla="*/ 1197338 h 6557032"/>
              <a:gd name="connsiteX16431" fmla="*/ 3236181 w 4610101"/>
              <a:gd name="connsiteY16431" fmla="*/ 1196199 h 6557032"/>
              <a:gd name="connsiteX16432" fmla="*/ 3232537 w 4610101"/>
              <a:gd name="connsiteY16432" fmla="*/ 1198021 h 6557032"/>
              <a:gd name="connsiteX16433" fmla="*/ 3238003 w 4610101"/>
              <a:gd name="connsiteY16433" fmla="*/ 1201665 h 6557032"/>
              <a:gd name="connsiteX16434" fmla="*/ 3236181 w 4610101"/>
              <a:gd name="connsiteY16434" fmla="*/ 1196199 h 6557032"/>
              <a:gd name="connsiteX16435" fmla="*/ 3194271 w 4610101"/>
              <a:gd name="connsiteY16435" fmla="*/ 1196199 h 6557032"/>
              <a:gd name="connsiteX16436" fmla="*/ 3201560 w 4610101"/>
              <a:gd name="connsiteY16436" fmla="*/ 1207132 h 6557032"/>
              <a:gd name="connsiteX16437" fmla="*/ 3199738 w 4610101"/>
              <a:gd name="connsiteY16437" fmla="*/ 1196199 h 6557032"/>
              <a:gd name="connsiteX16438" fmla="*/ 3194271 w 4610101"/>
              <a:gd name="connsiteY16438" fmla="*/ 1196199 h 6557032"/>
              <a:gd name="connsiteX16439" fmla="*/ 2416203 w 4610101"/>
              <a:gd name="connsiteY16439" fmla="*/ 1196199 h 6557032"/>
              <a:gd name="connsiteX16440" fmla="*/ 2414381 w 4610101"/>
              <a:gd name="connsiteY16440" fmla="*/ 1205309 h 6557032"/>
              <a:gd name="connsiteX16441" fmla="*/ 2416203 w 4610101"/>
              <a:gd name="connsiteY16441" fmla="*/ 1196199 h 6557032"/>
              <a:gd name="connsiteX16442" fmla="*/ 2368827 w 4610101"/>
              <a:gd name="connsiteY16442" fmla="*/ 1196199 h 6557032"/>
              <a:gd name="connsiteX16443" fmla="*/ 2365182 w 4610101"/>
              <a:gd name="connsiteY16443" fmla="*/ 1199843 h 6557032"/>
              <a:gd name="connsiteX16444" fmla="*/ 2367004 w 4610101"/>
              <a:gd name="connsiteY16444" fmla="*/ 1216242 h 6557032"/>
              <a:gd name="connsiteX16445" fmla="*/ 2374293 w 4610101"/>
              <a:gd name="connsiteY16445" fmla="*/ 1201665 h 6557032"/>
              <a:gd name="connsiteX16446" fmla="*/ 2368827 w 4610101"/>
              <a:gd name="connsiteY16446" fmla="*/ 1196199 h 6557032"/>
              <a:gd name="connsiteX16447" fmla="*/ 2053590 w 4610101"/>
              <a:gd name="connsiteY16447" fmla="*/ 1196199 h 6557032"/>
              <a:gd name="connsiteX16448" fmla="*/ 2046302 w 4610101"/>
              <a:gd name="connsiteY16448" fmla="*/ 1198021 h 6557032"/>
              <a:gd name="connsiteX16449" fmla="*/ 2051768 w 4610101"/>
              <a:gd name="connsiteY16449" fmla="*/ 1203487 h 6557032"/>
              <a:gd name="connsiteX16450" fmla="*/ 2053590 w 4610101"/>
              <a:gd name="connsiteY16450" fmla="*/ 1196199 h 6557032"/>
              <a:gd name="connsiteX16451" fmla="*/ 1346587 w 4610101"/>
              <a:gd name="connsiteY16451" fmla="*/ 1196199 h 6557032"/>
              <a:gd name="connsiteX16452" fmla="*/ 1353876 w 4610101"/>
              <a:gd name="connsiteY16452" fmla="*/ 1196199 h 6557032"/>
              <a:gd name="connsiteX16453" fmla="*/ 1346587 w 4610101"/>
              <a:gd name="connsiteY16453" fmla="*/ 1196199 h 6557032"/>
              <a:gd name="connsiteX16454" fmla="*/ 1341120 w 4610101"/>
              <a:gd name="connsiteY16454" fmla="*/ 1196199 h 6557032"/>
              <a:gd name="connsiteX16455" fmla="*/ 1332009 w 4610101"/>
              <a:gd name="connsiteY16455" fmla="*/ 1201665 h 6557032"/>
              <a:gd name="connsiteX16456" fmla="*/ 1339298 w 4610101"/>
              <a:gd name="connsiteY16456" fmla="*/ 1199843 h 6557032"/>
              <a:gd name="connsiteX16457" fmla="*/ 1339298 w 4610101"/>
              <a:gd name="connsiteY16457" fmla="*/ 1199843 h 6557032"/>
              <a:gd name="connsiteX16458" fmla="*/ 1337704 w 4610101"/>
              <a:gd name="connsiteY16458" fmla="*/ 1201665 h 6557032"/>
              <a:gd name="connsiteX16459" fmla="*/ 1337476 w 4610101"/>
              <a:gd name="connsiteY16459" fmla="*/ 1203487 h 6557032"/>
              <a:gd name="connsiteX16460" fmla="*/ 1339298 w 4610101"/>
              <a:gd name="connsiteY16460" fmla="*/ 1199843 h 6557032"/>
              <a:gd name="connsiteX16461" fmla="*/ 1339299 w 4610101"/>
              <a:gd name="connsiteY16461" fmla="*/ 1199843 h 6557032"/>
              <a:gd name="connsiteX16462" fmla="*/ 1339298 w 4610101"/>
              <a:gd name="connsiteY16462" fmla="*/ 1199843 h 6557032"/>
              <a:gd name="connsiteX16463" fmla="*/ 1089660 w 4610101"/>
              <a:gd name="connsiteY16463" fmla="*/ 1196199 h 6557032"/>
              <a:gd name="connsiteX16464" fmla="*/ 1086016 w 4610101"/>
              <a:gd name="connsiteY16464" fmla="*/ 1216242 h 6557032"/>
              <a:gd name="connsiteX16465" fmla="*/ 1095127 w 4610101"/>
              <a:gd name="connsiteY16465" fmla="*/ 1223531 h 6557032"/>
              <a:gd name="connsiteX16466" fmla="*/ 1089660 w 4610101"/>
              <a:gd name="connsiteY16466" fmla="*/ 1196199 h 6557032"/>
              <a:gd name="connsiteX16467" fmla="*/ 1036818 w 4610101"/>
              <a:gd name="connsiteY16467" fmla="*/ 1196199 h 6557032"/>
              <a:gd name="connsiteX16468" fmla="*/ 1034995 w 4610101"/>
              <a:gd name="connsiteY16468" fmla="*/ 1207132 h 6557032"/>
              <a:gd name="connsiteX16469" fmla="*/ 1045929 w 4610101"/>
              <a:gd name="connsiteY16469" fmla="*/ 1210776 h 6557032"/>
              <a:gd name="connsiteX16470" fmla="*/ 1036818 w 4610101"/>
              <a:gd name="connsiteY16470" fmla="*/ 1196199 h 6557032"/>
              <a:gd name="connsiteX16471" fmla="*/ 829089 w 4610101"/>
              <a:gd name="connsiteY16471" fmla="*/ 1196199 h 6557032"/>
              <a:gd name="connsiteX16472" fmla="*/ 836378 w 4610101"/>
              <a:gd name="connsiteY16472" fmla="*/ 1203487 h 6557032"/>
              <a:gd name="connsiteX16473" fmla="*/ 829089 w 4610101"/>
              <a:gd name="connsiteY16473" fmla="*/ 1196199 h 6557032"/>
              <a:gd name="connsiteX16474" fmla="*/ 437322 w 4610101"/>
              <a:gd name="connsiteY16474" fmla="*/ 1196199 h 6557032"/>
              <a:gd name="connsiteX16475" fmla="*/ 426389 w 4610101"/>
              <a:gd name="connsiteY16475" fmla="*/ 1203487 h 6557032"/>
              <a:gd name="connsiteX16476" fmla="*/ 437322 w 4610101"/>
              <a:gd name="connsiteY16476" fmla="*/ 1196199 h 6557032"/>
              <a:gd name="connsiteX16477" fmla="*/ 307948 w 4610101"/>
              <a:gd name="connsiteY16477" fmla="*/ 1196199 h 6557032"/>
              <a:gd name="connsiteX16478" fmla="*/ 302481 w 4610101"/>
              <a:gd name="connsiteY16478" fmla="*/ 1198021 h 6557032"/>
              <a:gd name="connsiteX16479" fmla="*/ 311592 w 4610101"/>
              <a:gd name="connsiteY16479" fmla="*/ 1199843 h 6557032"/>
              <a:gd name="connsiteX16480" fmla="*/ 307948 w 4610101"/>
              <a:gd name="connsiteY16480" fmla="*/ 1196199 h 6557032"/>
              <a:gd name="connsiteX16481" fmla="*/ 1420840 w 4610101"/>
              <a:gd name="connsiteY16481" fmla="*/ 1194832 h 6557032"/>
              <a:gd name="connsiteX16482" fmla="*/ 1415829 w 4610101"/>
              <a:gd name="connsiteY16482" fmla="*/ 1196199 h 6557032"/>
              <a:gd name="connsiteX16483" fmla="*/ 1417652 w 4610101"/>
              <a:gd name="connsiteY16483" fmla="*/ 1199843 h 6557032"/>
              <a:gd name="connsiteX16484" fmla="*/ 1423118 w 4610101"/>
              <a:gd name="connsiteY16484" fmla="*/ 1196199 h 6557032"/>
              <a:gd name="connsiteX16485" fmla="*/ 1420840 w 4610101"/>
              <a:gd name="connsiteY16485" fmla="*/ 1194832 h 6557032"/>
              <a:gd name="connsiteX16486" fmla="*/ 998552 w 4610101"/>
              <a:gd name="connsiteY16486" fmla="*/ 1194376 h 6557032"/>
              <a:gd name="connsiteX16487" fmla="*/ 996729 w 4610101"/>
              <a:gd name="connsiteY16487" fmla="*/ 1196199 h 6557032"/>
              <a:gd name="connsiteX16488" fmla="*/ 998552 w 4610101"/>
              <a:gd name="connsiteY16488" fmla="*/ 1199843 h 6557032"/>
              <a:gd name="connsiteX16489" fmla="*/ 998552 w 4610101"/>
              <a:gd name="connsiteY16489" fmla="*/ 1194376 h 6557032"/>
              <a:gd name="connsiteX16490" fmla="*/ 931131 w 4610101"/>
              <a:gd name="connsiteY16490" fmla="*/ 1194376 h 6557032"/>
              <a:gd name="connsiteX16491" fmla="*/ 929309 w 4610101"/>
              <a:gd name="connsiteY16491" fmla="*/ 1196199 h 6557032"/>
              <a:gd name="connsiteX16492" fmla="*/ 931131 w 4610101"/>
              <a:gd name="connsiteY16492" fmla="*/ 1194376 h 6557032"/>
              <a:gd name="connsiteX16493" fmla="*/ 794468 w 4610101"/>
              <a:gd name="connsiteY16493" fmla="*/ 1194376 h 6557032"/>
              <a:gd name="connsiteX16494" fmla="*/ 809046 w 4610101"/>
              <a:gd name="connsiteY16494" fmla="*/ 1212598 h 6557032"/>
              <a:gd name="connsiteX16495" fmla="*/ 812690 w 4610101"/>
              <a:gd name="connsiteY16495" fmla="*/ 1216242 h 6557032"/>
              <a:gd name="connsiteX16496" fmla="*/ 809046 w 4610101"/>
              <a:gd name="connsiteY16496" fmla="*/ 1212598 h 6557032"/>
              <a:gd name="connsiteX16497" fmla="*/ 794468 w 4610101"/>
              <a:gd name="connsiteY16497" fmla="*/ 1194376 h 6557032"/>
              <a:gd name="connsiteX16498" fmla="*/ 508387 w 4610101"/>
              <a:gd name="connsiteY16498" fmla="*/ 1194376 h 6557032"/>
              <a:gd name="connsiteX16499" fmla="*/ 519320 w 4610101"/>
              <a:gd name="connsiteY16499" fmla="*/ 1207132 h 6557032"/>
              <a:gd name="connsiteX16500" fmla="*/ 508387 w 4610101"/>
              <a:gd name="connsiteY16500" fmla="*/ 1194376 h 6557032"/>
              <a:gd name="connsiteX16501" fmla="*/ 488343 w 4610101"/>
              <a:gd name="connsiteY16501" fmla="*/ 1194376 h 6557032"/>
              <a:gd name="connsiteX16502" fmla="*/ 488542 w 4610101"/>
              <a:gd name="connsiteY16502" fmla="*/ 1197558 h 6557032"/>
              <a:gd name="connsiteX16503" fmla="*/ 482876 w 4610101"/>
              <a:gd name="connsiteY16503" fmla="*/ 1196199 h 6557032"/>
              <a:gd name="connsiteX16504" fmla="*/ 484987 w 4610101"/>
              <a:gd name="connsiteY16504" fmla="*/ 1200642 h 6557032"/>
              <a:gd name="connsiteX16505" fmla="*/ 481054 w 4610101"/>
              <a:gd name="connsiteY16505" fmla="*/ 1198021 h 6557032"/>
              <a:gd name="connsiteX16506" fmla="*/ 481737 w 4610101"/>
              <a:gd name="connsiteY16506" fmla="*/ 1200526 h 6557032"/>
              <a:gd name="connsiteX16507" fmla="*/ 484236 w 4610101"/>
              <a:gd name="connsiteY16507" fmla="*/ 1201121 h 6557032"/>
              <a:gd name="connsiteX16508" fmla="*/ 481054 w 4610101"/>
              <a:gd name="connsiteY16508" fmla="*/ 1202576 h 6557032"/>
              <a:gd name="connsiteX16509" fmla="*/ 473766 w 4610101"/>
              <a:gd name="connsiteY16509" fmla="*/ 1208954 h 6557032"/>
              <a:gd name="connsiteX16510" fmla="*/ 479232 w 4610101"/>
              <a:gd name="connsiteY16510" fmla="*/ 1210776 h 6557032"/>
              <a:gd name="connsiteX16511" fmla="*/ 479232 w 4610101"/>
              <a:gd name="connsiteY16511" fmla="*/ 1216242 h 6557032"/>
              <a:gd name="connsiteX16512" fmla="*/ 499276 w 4610101"/>
              <a:gd name="connsiteY16512" fmla="*/ 1201665 h 6557032"/>
              <a:gd name="connsiteX16513" fmla="*/ 488343 w 4610101"/>
              <a:gd name="connsiteY16513" fmla="*/ 1194376 h 6557032"/>
              <a:gd name="connsiteX16514" fmla="*/ 468299 w 4610101"/>
              <a:gd name="connsiteY16514" fmla="*/ 1194376 h 6557032"/>
              <a:gd name="connsiteX16515" fmla="*/ 468299 w 4610101"/>
              <a:gd name="connsiteY16515" fmla="*/ 1205309 h 6557032"/>
              <a:gd name="connsiteX16516" fmla="*/ 473766 w 4610101"/>
              <a:gd name="connsiteY16516" fmla="*/ 1199843 h 6557032"/>
              <a:gd name="connsiteX16517" fmla="*/ 468299 w 4610101"/>
              <a:gd name="connsiteY16517" fmla="*/ 1194376 h 6557032"/>
              <a:gd name="connsiteX16518" fmla="*/ 1288547 w 4610101"/>
              <a:gd name="connsiteY16518" fmla="*/ 1193948 h 6557032"/>
              <a:gd name="connsiteX16519" fmla="*/ 1289188 w 4610101"/>
              <a:gd name="connsiteY16519" fmla="*/ 1194376 h 6557032"/>
              <a:gd name="connsiteX16520" fmla="*/ 1291922 w 4610101"/>
              <a:gd name="connsiteY16520" fmla="*/ 1196199 h 6557032"/>
              <a:gd name="connsiteX16521" fmla="*/ 1288277 w 4610101"/>
              <a:gd name="connsiteY16521" fmla="*/ 1194376 h 6557032"/>
              <a:gd name="connsiteX16522" fmla="*/ 412723 w 4610101"/>
              <a:gd name="connsiteY16522" fmla="*/ 1193921 h 6557032"/>
              <a:gd name="connsiteX16523" fmla="*/ 409989 w 4610101"/>
              <a:gd name="connsiteY16523" fmla="*/ 1194376 h 6557032"/>
              <a:gd name="connsiteX16524" fmla="*/ 415456 w 4610101"/>
              <a:gd name="connsiteY16524" fmla="*/ 1196199 h 6557032"/>
              <a:gd name="connsiteX16525" fmla="*/ 412723 w 4610101"/>
              <a:gd name="connsiteY16525" fmla="*/ 1193921 h 6557032"/>
              <a:gd name="connsiteX16526" fmla="*/ 2118148 w 4610101"/>
              <a:gd name="connsiteY16526" fmla="*/ 1193205 h 6557032"/>
              <a:gd name="connsiteX16527" fmla="*/ 2122833 w 4610101"/>
              <a:gd name="connsiteY16527" fmla="*/ 1194376 h 6557032"/>
              <a:gd name="connsiteX16528" fmla="*/ 2121011 w 4610101"/>
              <a:gd name="connsiteY16528" fmla="*/ 1199843 h 6557032"/>
              <a:gd name="connsiteX16529" fmla="*/ 2117367 w 4610101"/>
              <a:gd name="connsiteY16529" fmla="*/ 1196426 h 6557032"/>
              <a:gd name="connsiteX16530" fmla="*/ 2979255 w 4610101"/>
              <a:gd name="connsiteY16530" fmla="*/ 1192554 h 6557032"/>
              <a:gd name="connsiteX16531" fmla="*/ 2975610 w 4610101"/>
              <a:gd name="connsiteY16531" fmla="*/ 1196199 h 6557032"/>
              <a:gd name="connsiteX16532" fmla="*/ 2977432 w 4610101"/>
              <a:gd name="connsiteY16532" fmla="*/ 1198021 h 6557032"/>
              <a:gd name="connsiteX16533" fmla="*/ 2977432 w 4610101"/>
              <a:gd name="connsiteY16533" fmla="*/ 1199843 h 6557032"/>
              <a:gd name="connsiteX16534" fmla="*/ 2984721 w 4610101"/>
              <a:gd name="connsiteY16534" fmla="*/ 1210776 h 6557032"/>
              <a:gd name="connsiteX16535" fmla="*/ 2986543 w 4610101"/>
              <a:gd name="connsiteY16535" fmla="*/ 1205309 h 6557032"/>
              <a:gd name="connsiteX16536" fmla="*/ 2993832 w 4610101"/>
              <a:gd name="connsiteY16536" fmla="*/ 1210776 h 6557032"/>
              <a:gd name="connsiteX16537" fmla="*/ 2995654 w 4610101"/>
              <a:gd name="connsiteY16537" fmla="*/ 1201665 h 6557032"/>
              <a:gd name="connsiteX16538" fmla="*/ 3001121 w 4610101"/>
              <a:gd name="connsiteY16538" fmla="*/ 1203487 h 6557032"/>
              <a:gd name="connsiteX16539" fmla="*/ 2988366 w 4610101"/>
              <a:gd name="connsiteY16539" fmla="*/ 1198021 h 6557032"/>
              <a:gd name="connsiteX16540" fmla="*/ 2979255 w 4610101"/>
              <a:gd name="connsiteY16540" fmla="*/ 1192554 h 6557032"/>
              <a:gd name="connsiteX16541" fmla="*/ 2463580 w 4610101"/>
              <a:gd name="connsiteY16541" fmla="*/ 1192554 h 6557032"/>
              <a:gd name="connsiteX16542" fmla="*/ 2458113 w 4610101"/>
              <a:gd name="connsiteY16542" fmla="*/ 1207132 h 6557032"/>
              <a:gd name="connsiteX16543" fmla="*/ 2467224 w 4610101"/>
              <a:gd name="connsiteY16543" fmla="*/ 1208954 h 6557032"/>
              <a:gd name="connsiteX16544" fmla="*/ 2461757 w 4610101"/>
              <a:gd name="connsiteY16544" fmla="*/ 1201665 h 6557032"/>
              <a:gd name="connsiteX16545" fmla="*/ 2469046 w 4610101"/>
              <a:gd name="connsiteY16545" fmla="*/ 1198021 h 6557032"/>
              <a:gd name="connsiteX16546" fmla="*/ 2469046 w 4610101"/>
              <a:gd name="connsiteY16546" fmla="*/ 1196199 h 6557032"/>
              <a:gd name="connsiteX16547" fmla="*/ 2463580 w 4610101"/>
              <a:gd name="connsiteY16547" fmla="*/ 1192554 h 6557032"/>
              <a:gd name="connsiteX16548" fmla="*/ 2397981 w 4610101"/>
              <a:gd name="connsiteY16548" fmla="*/ 1192554 h 6557032"/>
              <a:gd name="connsiteX16549" fmla="*/ 2387048 w 4610101"/>
              <a:gd name="connsiteY16549" fmla="*/ 1196199 h 6557032"/>
              <a:gd name="connsiteX16550" fmla="*/ 2376115 w 4610101"/>
              <a:gd name="connsiteY16550" fmla="*/ 1198021 h 6557032"/>
              <a:gd name="connsiteX16551" fmla="*/ 2376115 w 4610101"/>
              <a:gd name="connsiteY16551" fmla="*/ 1207132 h 6557032"/>
              <a:gd name="connsiteX16552" fmla="*/ 2379760 w 4610101"/>
              <a:gd name="connsiteY16552" fmla="*/ 1205309 h 6557032"/>
              <a:gd name="connsiteX16553" fmla="*/ 2381582 w 4610101"/>
              <a:gd name="connsiteY16553" fmla="*/ 1208954 h 6557032"/>
              <a:gd name="connsiteX16554" fmla="*/ 2399803 w 4610101"/>
              <a:gd name="connsiteY16554" fmla="*/ 1198021 h 6557032"/>
              <a:gd name="connsiteX16555" fmla="*/ 2397981 w 4610101"/>
              <a:gd name="connsiteY16555" fmla="*/ 1192554 h 6557032"/>
              <a:gd name="connsiteX16556" fmla="*/ 1351370 w 4610101"/>
              <a:gd name="connsiteY16556" fmla="*/ 1192554 h 6557032"/>
              <a:gd name="connsiteX16557" fmla="*/ 1346587 w 4610101"/>
              <a:gd name="connsiteY16557" fmla="*/ 1196199 h 6557032"/>
              <a:gd name="connsiteX16558" fmla="*/ 1344765 w 4610101"/>
              <a:gd name="connsiteY16558" fmla="*/ 1207132 h 6557032"/>
              <a:gd name="connsiteX16559" fmla="*/ 1350231 w 4610101"/>
              <a:gd name="connsiteY16559" fmla="*/ 1205309 h 6557032"/>
              <a:gd name="connsiteX16560" fmla="*/ 1362987 w 4610101"/>
              <a:gd name="connsiteY16560" fmla="*/ 1198021 h 6557032"/>
              <a:gd name="connsiteX16561" fmla="*/ 1364809 w 4610101"/>
              <a:gd name="connsiteY16561" fmla="*/ 1201665 h 6557032"/>
              <a:gd name="connsiteX16562" fmla="*/ 1366632 w 4610101"/>
              <a:gd name="connsiteY16562" fmla="*/ 1198021 h 6557032"/>
              <a:gd name="connsiteX16563" fmla="*/ 1355698 w 4610101"/>
              <a:gd name="connsiteY16563" fmla="*/ 1196199 h 6557032"/>
              <a:gd name="connsiteX16564" fmla="*/ 1357521 w 4610101"/>
              <a:gd name="connsiteY16564" fmla="*/ 1194376 h 6557032"/>
              <a:gd name="connsiteX16565" fmla="*/ 1351370 w 4610101"/>
              <a:gd name="connsiteY16565" fmla="*/ 1192554 h 6557032"/>
              <a:gd name="connsiteX16566" fmla="*/ 1282811 w 4610101"/>
              <a:gd name="connsiteY16566" fmla="*/ 1192554 h 6557032"/>
              <a:gd name="connsiteX16567" fmla="*/ 1282626 w 4610101"/>
              <a:gd name="connsiteY16567" fmla="*/ 1193727 h 6557032"/>
              <a:gd name="connsiteX16568" fmla="*/ 1282360 w 4610101"/>
              <a:gd name="connsiteY16568" fmla="*/ 1192798 h 6557032"/>
              <a:gd name="connsiteX16569" fmla="*/ 916555 w 4610101"/>
              <a:gd name="connsiteY16569" fmla="*/ 1192554 h 6557032"/>
              <a:gd name="connsiteX16570" fmla="*/ 912909 w 4610101"/>
              <a:gd name="connsiteY16570" fmla="*/ 1198021 h 6557032"/>
              <a:gd name="connsiteX16571" fmla="*/ 916555 w 4610101"/>
              <a:gd name="connsiteY16571" fmla="*/ 1192554 h 6557032"/>
              <a:gd name="connsiteX16572" fmla="*/ 891043 w 4610101"/>
              <a:gd name="connsiteY16572" fmla="*/ 1192554 h 6557032"/>
              <a:gd name="connsiteX16573" fmla="*/ 894688 w 4610101"/>
              <a:gd name="connsiteY16573" fmla="*/ 1199843 h 6557032"/>
              <a:gd name="connsiteX16574" fmla="*/ 891043 w 4610101"/>
              <a:gd name="connsiteY16574" fmla="*/ 1192554 h 6557032"/>
              <a:gd name="connsiteX16575" fmla="*/ 856422 w 4610101"/>
              <a:gd name="connsiteY16575" fmla="*/ 1192554 h 6557032"/>
              <a:gd name="connsiteX16576" fmla="*/ 860066 w 4610101"/>
              <a:gd name="connsiteY16576" fmla="*/ 1201665 h 6557032"/>
              <a:gd name="connsiteX16577" fmla="*/ 863711 w 4610101"/>
              <a:gd name="connsiteY16577" fmla="*/ 1199843 h 6557032"/>
              <a:gd name="connsiteX16578" fmla="*/ 856422 w 4610101"/>
              <a:gd name="connsiteY16578" fmla="*/ 1192554 h 6557032"/>
              <a:gd name="connsiteX16579" fmla="*/ 818156 w 4610101"/>
              <a:gd name="connsiteY16579" fmla="*/ 1192554 h 6557032"/>
              <a:gd name="connsiteX16580" fmla="*/ 818156 w 4610101"/>
              <a:gd name="connsiteY16580" fmla="*/ 1201893 h 6557032"/>
              <a:gd name="connsiteX16581" fmla="*/ 829089 w 4610101"/>
              <a:gd name="connsiteY16581" fmla="*/ 1212598 h 6557032"/>
              <a:gd name="connsiteX16582" fmla="*/ 827723 w 4610101"/>
              <a:gd name="connsiteY16582" fmla="*/ 1201893 h 6557032"/>
              <a:gd name="connsiteX16583" fmla="*/ 380835 w 4610101"/>
              <a:gd name="connsiteY16583" fmla="*/ 1192554 h 6557032"/>
              <a:gd name="connsiteX16584" fmla="*/ 386301 w 4610101"/>
              <a:gd name="connsiteY16584" fmla="*/ 1192554 h 6557032"/>
              <a:gd name="connsiteX16585" fmla="*/ 380835 w 4610101"/>
              <a:gd name="connsiteY16585" fmla="*/ 1192554 h 6557032"/>
              <a:gd name="connsiteX16586" fmla="*/ 284259 w 4610101"/>
              <a:gd name="connsiteY16586" fmla="*/ 1192554 h 6557032"/>
              <a:gd name="connsiteX16587" fmla="*/ 280615 w 4610101"/>
              <a:gd name="connsiteY16587" fmla="*/ 1194376 h 6557032"/>
              <a:gd name="connsiteX16588" fmla="*/ 284259 w 4610101"/>
              <a:gd name="connsiteY16588" fmla="*/ 1192554 h 6557032"/>
              <a:gd name="connsiteX16589" fmla="*/ 1188438 w 4610101"/>
              <a:gd name="connsiteY16589" fmla="*/ 1191650 h 6557032"/>
              <a:gd name="connsiteX16590" fmla="*/ 1188513 w 4610101"/>
              <a:gd name="connsiteY16590" fmla="*/ 1192554 h 6557032"/>
              <a:gd name="connsiteX16591" fmla="*/ 1188251 w 4610101"/>
              <a:gd name="connsiteY16591" fmla="*/ 1193184 h 6557032"/>
              <a:gd name="connsiteX16592" fmla="*/ 1188285 w 4610101"/>
              <a:gd name="connsiteY16592" fmla="*/ 1192326 h 6557032"/>
              <a:gd name="connsiteX16593" fmla="*/ 1138859 w 4610101"/>
              <a:gd name="connsiteY16593" fmla="*/ 1191415 h 6557032"/>
              <a:gd name="connsiteX16594" fmla="*/ 1137037 w 4610101"/>
              <a:gd name="connsiteY16594" fmla="*/ 1192554 h 6557032"/>
              <a:gd name="connsiteX16595" fmla="*/ 1140681 w 4610101"/>
              <a:gd name="connsiteY16595" fmla="*/ 1194376 h 6557032"/>
              <a:gd name="connsiteX16596" fmla="*/ 1138859 w 4610101"/>
              <a:gd name="connsiteY16596" fmla="*/ 1191415 h 6557032"/>
              <a:gd name="connsiteX16597" fmla="*/ 1153664 w 4610101"/>
              <a:gd name="connsiteY16597" fmla="*/ 1190960 h 6557032"/>
              <a:gd name="connsiteX16598" fmla="*/ 1144326 w 4610101"/>
              <a:gd name="connsiteY16598" fmla="*/ 1192554 h 6557032"/>
              <a:gd name="connsiteX16599" fmla="*/ 1158903 w 4610101"/>
              <a:gd name="connsiteY16599" fmla="*/ 1196199 h 6557032"/>
              <a:gd name="connsiteX16600" fmla="*/ 1153664 w 4610101"/>
              <a:gd name="connsiteY16600" fmla="*/ 1190960 h 6557032"/>
              <a:gd name="connsiteX16601" fmla="*/ 3374666 w 4610101"/>
              <a:gd name="connsiteY16601" fmla="*/ 1190732 h 6557032"/>
              <a:gd name="connsiteX16602" fmla="*/ 3371022 w 4610101"/>
              <a:gd name="connsiteY16602" fmla="*/ 1201665 h 6557032"/>
              <a:gd name="connsiteX16603" fmla="*/ 3368627 w 4610101"/>
              <a:gd name="connsiteY16603" fmla="*/ 1200068 h 6557032"/>
              <a:gd name="connsiteX16604" fmla="*/ 3370111 w 4610101"/>
              <a:gd name="connsiteY16604" fmla="*/ 1196654 h 6557032"/>
              <a:gd name="connsiteX16605" fmla="*/ 3369318 w 4610101"/>
              <a:gd name="connsiteY16605" fmla="*/ 1195011 h 6557032"/>
              <a:gd name="connsiteX16606" fmla="*/ 3181516 w 4610101"/>
              <a:gd name="connsiteY16606" fmla="*/ 1190732 h 6557032"/>
              <a:gd name="connsiteX16607" fmla="*/ 3183338 w 4610101"/>
              <a:gd name="connsiteY16607" fmla="*/ 1198021 h 6557032"/>
              <a:gd name="connsiteX16608" fmla="*/ 3186982 w 4610101"/>
              <a:gd name="connsiteY16608" fmla="*/ 1192554 h 6557032"/>
              <a:gd name="connsiteX16609" fmla="*/ 3181516 w 4610101"/>
              <a:gd name="connsiteY16609" fmla="*/ 1190732 h 6557032"/>
              <a:gd name="connsiteX16610" fmla="*/ 1368453 w 4610101"/>
              <a:gd name="connsiteY16610" fmla="*/ 1190732 h 6557032"/>
              <a:gd name="connsiteX16611" fmla="*/ 1362987 w 4610101"/>
              <a:gd name="connsiteY16611" fmla="*/ 1194376 h 6557032"/>
              <a:gd name="connsiteX16612" fmla="*/ 1364809 w 4610101"/>
              <a:gd name="connsiteY16612" fmla="*/ 1196199 h 6557032"/>
              <a:gd name="connsiteX16613" fmla="*/ 1368453 w 4610101"/>
              <a:gd name="connsiteY16613" fmla="*/ 1190732 h 6557032"/>
              <a:gd name="connsiteX16614" fmla="*/ 1129748 w 4610101"/>
              <a:gd name="connsiteY16614" fmla="*/ 1190732 h 6557032"/>
              <a:gd name="connsiteX16615" fmla="*/ 1137037 w 4610101"/>
              <a:gd name="connsiteY16615" fmla="*/ 1190732 h 6557032"/>
              <a:gd name="connsiteX16616" fmla="*/ 1129748 w 4610101"/>
              <a:gd name="connsiteY16616" fmla="*/ 1190732 h 6557032"/>
              <a:gd name="connsiteX16617" fmla="*/ 1049573 w 4610101"/>
              <a:gd name="connsiteY16617" fmla="*/ 1190732 h 6557032"/>
              <a:gd name="connsiteX16618" fmla="*/ 1038639 w 4610101"/>
              <a:gd name="connsiteY16618" fmla="*/ 1192554 h 6557032"/>
              <a:gd name="connsiteX16619" fmla="*/ 1049573 w 4610101"/>
              <a:gd name="connsiteY16619" fmla="*/ 1210776 h 6557032"/>
              <a:gd name="connsiteX16620" fmla="*/ 1055040 w 4610101"/>
              <a:gd name="connsiteY16620" fmla="*/ 1203487 h 6557032"/>
              <a:gd name="connsiteX16621" fmla="*/ 1049573 w 4610101"/>
              <a:gd name="connsiteY16621" fmla="*/ 1190732 h 6557032"/>
              <a:gd name="connsiteX16622" fmla="*/ 850956 w 4610101"/>
              <a:gd name="connsiteY16622" fmla="*/ 1190732 h 6557032"/>
              <a:gd name="connsiteX16623" fmla="*/ 854600 w 4610101"/>
              <a:gd name="connsiteY16623" fmla="*/ 1198021 h 6557032"/>
              <a:gd name="connsiteX16624" fmla="*/ 854600 w 4610101"/>
              <a:gd name="connsiteY16624" fmla="*/ 1192554 h 6557032"/>
              <a:gd name="connsiteX16625" fmla="*/ 850956 w 4610101"/>
              <a:gd name="connsiteY16625" fmla="*/ 1190732 h 6557032"/>
              <a:gd name="connsiteX16626" fmla="*/ 799935 w 4610101"/>
              <a:gd name="connsiteY16626" fmla="*/ 1190732 h 6557032"/>
              <a:gd name="connsiteX16627" fmla="*/ 809046 w 4610101"/>
              <a:gd name="connsiteY16627" fmla="*/ 1198021 h 6557032"/>
              <a:gd name="connsiteX16628" fmla="*/ 799935 w 4610101"/>
              <a:gd name="connsiteY16628" fmla="*/ 1190732 h 6557032"/>
              <a:gd name="connsiteX16629" fmla="*/ 395412 w 4610101"/>
              <a:gd name="connsiteY16629" fmla="*/ 1190732 h 6557032"/>
              <a:gd name="connsiteX16630" fmla="*/ 400879 w 4610101"/>
              <a:gd name="connsiteY16630" fmla="*/ 1196199 h 6557032"/>
              <a:gd name="connsiteX16631" fmla="*/ 402701 w 4610101"/>
              <a:gd name="connsiteY16631" fmla="*/ 1192554 h 6557032"/>
              <a:gd name="connsiteX16632" fmla="*/ 395412 w 4610101"/>
              <a:gd name="connsiteY16632" fmla="*/ 1190732 h 6557032"/>
              <a:gd name="connsiteX16633" fmla="*/ 331636 w 4610101"/>
              <a:gd name="connsiteY16633" fmla="*/ 1190732 h 6557032"/>
              <a:gd name="connsiteX16634" fmla="*/ 327993 w 4610101"/>
              <a:gd name="connsiteY16634" fmla="*/ 1192554 h 6557032"/>
              <a:gd name="connsiteX16635" fmla="*/ 331636 w 4610101"/>
              <a:gd name="connsiteY16635" fmla="*/ 1190732 h 6557032"/>
              <a:gd name="connsiteX16636" fmla="*/ 2118866 w 4610101"/>
              <a:gd name="connsiteY16636" fmla="*/ 1190244 h 6557032"/>
              <a:gd name="connsiteX16637" fmla="*/ 2118148 w 4610101"/>
              <a:gd name="connsiteY16637" fmla="*/ 1193205 h 6557032"/>
              <a:gd name="connsiteX16638" fmla="*/ 2115544 w 4610101"/>
              <a:gd name="connsiteY16638" fmla="*/ 1192554 h 6557032"/>
              <a:gd name="connsiteX16639" fmla="*/ 1214753 w 4610101"/>
              <a:gd name="connsiteY16639" fmla="*/ 1189815 h 6557032"/>
              <a:gd name="connsiteX16640" fmla="*/ 1217213 w 4610101"/>
              <a:gd name="connsiteY16640" fmla="*/ 1190732 h 6557032"/>
              <a:gd name="connsiteX16641" fmla="*/ 1216808 w 4610101"/>
              <a:gd name="connsiteY16641" fmla="*/ 1191542 h 6557032"/>
              <a:gd name="connsiteX16642" fmla="*/ 1213568 w 4610101"/>
              <a:gd name="connsiteY16642" fmla="*/ 1190732 h 6557032"/>
              <a:gd name="connsiteX16643" fmla="*/ 3243470 w 4610101"/>
              <a:gd name="connsiteY16643" fmla="*/ 1188910 h 6557032"/>
              <a:gd name="connsiteX16644" fmla="*/ 3247114 w 4610101"/>
              <a:gd name="connsiteY16644" fmla="*/ 1196199 h 6557032"/>
              <a:gd name="connsiteX16645" fmla="*/ 3243470 w 4610101"/>
              <a:gd name="connsiteY16645" fmla="*/ 1188910 h 6557032"/>
              <a:gd name="connsiteX16646" fmla="*/ 3168761 w 4610101"/>
              <a:gd name="connsiteY16646" fmla="*/ 1188910 h 6557032"/>
              <a:gd name="connsiteX16647" fmla="*/ 3166939 w 4610101"/>
              <a:gd name="connsiteY16647" fmla="*/ 1192554 h 6557032"/>
              <a:gd name="connsiteX16648" fmla="*/ 3177872 w 4610101"/>
              <a:gd name="connsiteY16648" fmla="*/ 1199843 h 6557032"/>
              <a:gd name="connsiteX16649" fmla="*/ 3179694 w 4610101"/>
              <a:gd name="connsiteY16649" fmla="*/ 1188910 h 6557032"/>
              <a:gd name="connsiteX16650" fmla="*/ 3168761 w 4610101"/>
              <a:gd name="connsiteY16650" fmla="*/ 1188910 h 6557032"/>
              <a:gd name="connsiteX16651" fmla="*/ 2615428 w 4610101"/>
              <a:gd name="connsiteY16651" fmla="*/ 1188910 h 6557032"/>
              <a:gd name="connsiteX16652" fmla="*/ 2616642 w 4610101"/>
              <a:gd name="connsiteY16652" fmla="*/ 1188910 h 6557032"/>
              <a:gd name="connsiteX16653" fmla="*/ 2616642 w 4610101"/>
              <a:gd name="connsiteY16653" fmla="*/ 1192098 h 6557032"/>
              <a:gd name="connsiteX16654" fmla="*/ 2616642 w 4610101"/>
              <a:gd name="connsiteY16654" fmla="*/ 1192554 h 6557032"/>
              <a:gd name="connsiteX16655" fmla="*/ 1162547 w 4610101"/>
              <a:gd name="connsiteY16655" fmla="*/ 1188910 h 6557032"/>
              <a:gd name="connsiteX16656" fmla="*/ 1160725 w 4610101"/>
              <a:gd name="connsiteY16656" fmla="*/ 1196199 h 6557032"/>
              <a:gd name="connsiteX16657" fmla="*/ 1169836 w 4610101"/>
              <a:gd name="connsiteY16657" fmla="*/ 1194376 h 6557032"/>
              <a:gd name="connsiteX16658" fmla="*/ 1162547 w 4610101"/>
              <a:gd name="connsiteY16658" fmla="*/ 1188910 h 6557032"/>
              <a:gd name="connsiteX16659" fmla="*/ 909265 w 4610101"/>
              <a:gd name="connsiteY16659" fmla="*/ 1188910 h 6557032"/>
              <a:gd name="connsiteX16660" fmla="*/ 905621 w 4610101"/>
              <a:gd name="connsiteY16660" fmla="*/ 1196199 h 6557032"/>
              <a:gd name="connsiteX16661" fmla="*/ 909265 w 4610101"/>
              <a:gd name="connsiteY16661" fmla="*/ 1188910 h 6557032"/>
              <a:gd name="connsiteX16662" fmla="*/ 819979 w 4610101"/>
              <a:gd name="connsiteY16662" fmla="*/ 1188910 h 6557032"/>
              <a:gd name="connsiteX16663" fmla="*/ 832734 w 4610101"/>
              <a:gd name="connsiteY16663" fmla="*/ 1194376 h 6557032"/>
              <a:gd name="connsiteX16664" fmla="*/ 832734 w 4610101"/>
              <a:gd name="connsiteY16664" fmla="*/ 1188910 h 6557032"/>
              <a:gd name="connsiteX16665" fmla="*/ 819979 w 4610101"/>
              <a:gd name="connsiteY16665" fmla="*/ 1188910 h 6557032"/>
              <a:gd name="connsiteX16666" fmla="*/ 768959 w 4610101"/>
              <a:gd name="connsiteY16666" fmla="*/ 1188910 h 6557032"/>
              <a:gd name="connsiteX16667" fmla="*/ 772602 w 4610101"/>
              <a:gd name="connsiteY16667" fmla="*/ 1190732 h 6557032"/>
              <a:gd name="connsiteX16668" fmla="*/ 768959 w 4610101"/>
              <a:gd name="connsiteY16668" fmla="*/ 1188910 h 6557032"/>
              <a:gd name="connsiteX16669" fmla="*/ 324347 w 4610101"/>
              <a:gd name="connsiteY16669" fmla="*/ 1188910 h 6557032"/>
              <a:gd name="connsiteX16670" fmla="*/ 309771 w 4610101"/>
              <a:gd name="connsiteY16670" fmla="*/ 1192554 h 6557032"/>
              <a:gd name="connsiteX16671" fmla="*/ 348037 w 4610101"/>
              <a:gd name="connsiteY16671" fmla="*/ 1198021 h 6557032"/>
              <a:gd name="connsiteX16672" fmla="*/ 318882 w 4610101"/>
              <a:gd name="connsiteY16672" fmla="*/ 1196199 h 6557032"/>
              <a:gd name="connsiteX16673" fmla="*/ 324347 w 4610101"/>
              <a:gd name="connsiteY16673" fmla="*/ 1188910 h 6557032"/>
              <a:gd name="connsiteX16674" fmla="*/ 302481 w 4610101"/>
              <a:gd name="connsiteY16674" fmla="*/ 1188910 h 6557032"/>
              <a:gd name="connsiteX16675" fmla="*/ 309771 w 4610101"/>
              <a:gd name="connsiteY16675" fmla="*/ 1188910 h 6557032"/>
              <a:gd name="connsiteX16676" fmla="*/ 302481 w 4610101"/>
              <a:gd name="connsiteY16676" fmla="*/ 1188910 h 6557032"/>
              <a:gd name="connsiteX16677" fmla="*/ 163996 w 4610101"/>
              <a:gd name="connsiteY16677" fmla="*/ 1188910 h 6557032"/>
              <a:gd name="connsiteX16678" fmla="*/ 164710 w 4610101"/>
              <a:gd name="connsiteY16678" fmla="*/ 1189318 h 6557032"/>
              <a:gd name="connsiteX16679" fmla="*/ 163996 w 4610101"/>
              <a:gd name="connsiteY16679" fmla="*/ 1189342 h 6557032"/>
              <a:gd name="connsiteX16680" fmla="*/ 1776619 w 4610101"/>
              <a:gd name="connsiteY16680" fmla="*/ 1187113 h 6557032"/>
              <a:gd name="connsiteX16681" fmla="*/ 1789374 w 4610101"/>
              <a:gd name="connsiteY16681" fmla="*/ 1194403 h 6557032"/>
              <a:gd name="connsiteX16682" fmla="*/ 1783908 w 4610101"/>
              <a:gd name="connsiteY16682" fmla="*/ 1196225 h 6557032"/>
              <a:gd name="connsiteX16683" fmla="*/ 1788236 w 4610101"/>
              <a:gd name="connsiteY16683" fmla="*/ 1206475 h 6557032"/>
              <a:gd name="connsiteX16684" fmla="*/ 1788956 w 4610101"/>
              <a:gd name="connsiteY16684" fmla="*/ 1209303 h 6557032"/>
              <a:gd name="connsiteX16685" fmla="*/ 1783908 w 4610101"/>
              <a:gd name="connsiteY16685" fmla="*/ 1205336 h 6557032"/>
              <a:gd name="connsiteX16686" fmla="*/ 3156006 w 4610101"/>
              <a:gd name="connsiteY16686" fmla="*/ 1187088 h 6557032"/>
              <a:gd name="connsiteX16687" fmla="*/ 3148717 w 4610101"/>
              <a:gd name="connsiteY16687" fmla="*/ 1198021 h 6557032"/>
              <a:gd name="connsiteX16688" fmla="*/ 3156006 w 4610101"/>
              <a:gd name="connsiteY16688" fmla="*/ 1190732 h 6557032"/>
              <a:gd name="connsiteX16689" fmla="*/ 3156006 w 4610101"/>
              <a:gd name="connsiteY16689" fmla="*/ 1187088 h 6557032"/>
              <a:gd name="connsiteX16690" fmla="*/ 2740550 w 4610101"/>
              <a:gd name="connsiteY16690" fmla="*/ 1187088 h 6557032"/>
              <a:gd name="connsiteX16691" fmla="*/ 2747839 w 4610101"/>
              <a:gd name="connsiteY16691" fmla="*/ 1190732 h 6557032"/>
              <a:gd name="connsiteX16692" fmla="*/ 2742372 w 4610101"/>
              <a:gd name="connsiteY16692" fmla="*/ 1190732 h 6557032"/>
              <a:gd name="connsiteX16693" fmla="*/ 2740550 w 4610101"/>
              <a:gd name="connsiteY16693" fmla="*/ 1187088 h 6557032"/>
              <a:gd name="connsiteX16694" fmla="*/ 2715040 w 4610101"/>
              <a:gd name="connsiteY16694" fmla="*/ 1187088 h 6557032"/>
              <a:gd name="connsiteX16695" fmla="*/ 2718684 w 4610101"/>
              <a:gd name="connsiteY16695" fmla="*/ 1201665 h 6557032"/>
              <a:gd name="connsiteX16696" fmla="*/ 2715040 w 4610101"/>
              <a:gd name="connsiteY16696" fmla="*/ 1187088 h 6557032"/>
              <a:gd name="connsiteX16697" fmla="*/ 2680418 w 4610101"/>
              <a:gd name="connsiteY16697" fmla="*/ 1187088 h 6557032"/>
              <a:gd name="connsiteX16698" fmla="*/ 2687707 w 4610101"/>
              <a:gd name="connsiteY16698" fmla="*/ 1205309 h 6557032"/>
              <a:gd name="connsiteX16699" fmla="*/ 2682240 w 4610101"/>
              <a:gd name="connsiteY16699" fmla="*/ 1196199 h 6557032"/>
              <a:gd name="connsiteX16700" fmla="*/ 2684063 w 4610101"/>
              <a:gd name="connsiteY16700" fmla="*/ 1192554 h 6557032"/>
              <a:gd name="connsiteX16701" fmla="*/ 2691351 w 4610101"/>
              <a:gd name="connsiteY16701" fmla="*/ 1203487 h 6557032"/>
              <a:gd name="connsiteX16702" fmla="*/ 2689529 w 4610101"/>
              <a:gd name="connsiteY16702" fmla="*/ 1192554 h 6557032"/>
              <a:gd name="connsiteX16703" fmla="*/ 2680418 w 4610101"/>
              <a:gd name="connsiteY16703" fmla="*/ 1187088 h 6557032"/>
              <a:gd name="connsiteX16704" fmla="*/ 2432603 w 4610101"/>
              <a:gd name="connsiteY16704" fmla="*/ 1187088 h 6557032"/>
              <a:gd name="connsiteX16705" fmla="*/ 2421669 w 4610101"/>
              <a:gd name="connsiteY16705" fmla="*/ 1192554 h 6557032"/>
              <a:gd name="connsiteX16706" fmla="*/ 2425314 w 4610101"/>
              <a:gd name="connsiteY16706" fmla="*/ 1198021 h 6557032"/>
              <a:gd name="connsiteX16707" fmla="*/ 2432603 w 4610101"/>
              <a:gd name="connsiteY16707" fmla="*/ 1187088 h 6557032"/>
              <a:gd name="connsiteX16708" fmla="*/ 1058683 w 4610101"/>
              <a:gd name="connsiteY16708" fmla="*/ 1187088 h 6557032"/>
              <a:gd name="connsiteX16709" fmla="*/ 1067794 w 4610101"/>
              <a:gd name="connsiteY16709" fmla="*/ 1205309 h 6557032"/>
              <a:gd name="connsiteX16710" fmla="*/ 1058683 w 4610101"/>
              <a:gd name="connsiteY16710" fmla="*/ 1187088 h 6557032"/>
              <a:gd name="connsiteX16711" fmla="*/ 878029 w 4610101"/>
              <a:gd name="connsiteY16711" fmla="*/ 1187088 h 6557032"/>
              <a:gd name="connsiteX16712" fmla="*/ 878288 w 4610101"/>
              <a:gd name="connsiteY16712" fmla="*/ 1187088 h 6557032"/>
              <a:gd name="connsiteX16713" fmla="*/ 878288 w 4610101"/>
              <a:gd name="connsiteY16713" fmla="*/ 1188910 h 6557032"/>
              <a:gd name="connsiteX16714" fmla="*/ 493809 w 4610101"/>
              <a:gd name="connsiteY16714" fmla="*/ 1187088 h 6557032"/>
              <a:gd name="connsiteX16715" fmla="*/ 502920 w 4610101"/>
              <a:gd name="connsiteY16715" fmla="*/ 1188910 h 6557032"/>
              <a:gd name="connsiteX16716" fmla="*/ 493809 w 4610101"/>
              <a:gd name="connsiteY16716" fmla="*/ 1187088 h 6557032"/>
              <a:gd name="connsiteX16717" fmla="*/ 297015 w 4610101"/>
              <a:gd name="connsiteY16717" fmla="*/ 1187088 h 6557032"/>
              <a:gd name="connsiteX16718" fmla="*/ 291549 w 4610101"/>
              <a:gd name="connsiteY16718" fmla="*/ 1190732 h 6557032"/>
              <a:gd name="connsiteX16719" fmla="*/ 306126 w 4610101"/>
              <a:gd name="connsiteY16719" fmla="*/ 1192554 h 6557032"/>
              <a:gd name="connsiteX16720" fmla="*/ 297015 w 4610101"/>
              <a:gd name="connsiteY16720" fmla="*/ 1187088 h 6557032"/>
              <a:gd name="connsiteX16721" fmla="*/ 245994 w 4610101"/>
              <a:gd name="connsiteY16721" fmla="*/ 1187088 h 6557032"/>
              <a:gd name="connsiteX16722" fmla="*/ 249638 w 4610101"/>
              <a:gd name="connsiteY16722" fmla="*/ 1190732 h 6557032"/>
              <a:gd name="connsiteX16723" fmla="*/ 245994 w 4610101"/>
              <a:gd name="connsiteY16723" fmla="*/ 1187088 h 6557032"/>
              <a:gd name="connsiteX16724" fmla="*/ 202262 w 4610101"/>
              <a:gd name="connsiteY16724" fmla="*/ 1187088 h 6557032"/>
              <a:gd name="connsiteX16725" fmla="*/ 205906 w 4610101"/>
              <a:gd name="connsiteY16725" fmla="*/ 1187088 h 6557032"/>
              <a:gd name="connsiteX16726" fmla="*/ 202262 w 4610101"/>
              <a:gd name="connsiteY16726" fmla="*/ 1187088 h 6557032"/>
              <a:gd name="connsiteX16727" fmla="*/ 191329 w 4610101"/>
              <a:gd name="connsiteY16727" fmla="*/ 1187088 h 6557032"/>
              <a:gd name="connsiteX16728" fmla="*/ 205906 w 4610101"/>
              <a:gd name="connsiteY16728" fmla="*/ 1192554 h 6557032"/>
              <a:gd name="connsiteX16729" fmla="*/ 191329 w 4610101"/>
              <a:gd name="connsiteY16729" fmla="*/ 1187088 h 6557032"/>
              <a:gd name="connsiteX16730" fmla="*/ 2097551 w 4610101"/>
              <a:gd name="connsiteY16730" fmla="*/ 1186860 h 6557032"/>
              <a:gd name="connsiteX16731" fmla="*/ 2090034 w 4610101"/>
              <a:gd name="connsiteY16731" fmla="*/ 1188910 h 6557032"/>
              <a:gd name="connsiteX16732" fmla="*/ 2086390 w 4610101"/>
              <a:gd name="connsiteY16732" fmla="*/ 1190732 h 6557032"/>
              <a:gd name="connsiteX16733" fmla="*/ 2106433 w 4610101"/>
              <a:gd name="connsiteY16733" fmla="*/ 1203487 h 6557032"/>
              <a:gd name="connsiteX16734" fmla="*/ 2102790 w 4610101"/>
              <a:gd name="connsiteY16734" fmla="*/ 1218065 h 6557032"/>
              <a:gd name="connsiteX16735" fmla="*/ 2117366 w 4610101"/>
              <a:gd name="connsiteY16735" fmla="*/ 1218065 h 6557032"/>
              <a:gd name="connsiteX16736" fmla="*/ 2126477 w 4610101"/>
              <a:gd name="connsiteY16736" fmla="*/ 1196199 h 6557032"/>
              <a:gd name="connsiteX16737" fmla="*/ 2124655 w 4610101"/>
              <a:gd name="connsiteY16737" fmla="*/ 1198021 h 6557032"/>
              <a:gd name="connsiteX16738" fmla="*/ 2122833 w 4610101"/>
              <a:gd name="connsiteY16738" fmla="*/ 1194376 h 6557032"/>
              <a:gd name="connsiteX16739" fmla="*/ 2124655 w 4610101"/>
              <a:gd name="connsiteY16739" fmla="*/ 1190732 h 6557032"/>
              <a:gd name="connsiteX16740" fmla="*/ 2120783 w 4610101"/>
              <a:gd name="connsiteY16740" fmla="*/ 1188910 h 6557032"/>
              <a:gd name="connsiteX16741" fmla="*/ 2118866 w 4610101"/>
              <a:gd name="connsiteY16741" fmla="*/ 1190244 h 6557032"/>
              <a:gd name="connsiteX16742" fmla="*/ 2119189 w 4610101"/>
              <a:gd name="connsiteY16742" fmla="*/ 1188910 h 6557032"/>
              <a:gd name="connsiteX16743" fmla="*/ 2113722 w 4610101"/>
              <a:gd name="connsiteY16743" fmla="*/ 1190732 h 6557032"/>
              <a:gd name="connsiteX16744" fmla="*/ 2115544 w 4610101"/>
              <a:gd name="connsiteY16744" fmla="*/ 1196199 h 6557032"/>
              <a:gd name="connsiteX16745" fmla="*/ 2104611 w 4610101"/>
              <a:gd name="connsiteY16745" fmla="*/ 1194376 h 6557032"/>
              <a:gd name="connsiteX16746" fmla="*/ 2106433 w 4610101"/>
              <a:gd name="connsiteY16746" fmla="*/ 1188910 h 6557032"/>
              <a:gd name="connsiteX16747" fmla="*/ 2097551 w 4610101"/>
              <a:gd name="connsiteY16747" fmla="*/ 1186860 h 6557032"/>
              <a:gd name="connsiteX16748" fmla="*/ 1989342 w 4610101"/>
              <a:gd name="connsiteY16748" fmla="*/ 1186261 h 6557032"/>
              <a:gd name="connsiteX16749" fmla="*/ 1987478 w 4610101"/>
              <a:gd name="connsiteY16749" fmla="*/ 1189290 h 6557032"/>
              <a:gd name="connsiteX16750" fmla="*/ 1988220 w 4610101"/>
              <a:gd name="connsiteY16750" fmla="*/ 1186405 h 6557032"/>
              <a:gd name="connsiteX16751" fmla="*/ 1402117 w 4610101"/>
              <a:gd name="connsiteY16751" fmla="*/ 1185448 h 6557032"/>
              <a:gd name="connsiteX16752" fmla="*/ 1397089 w 4610101"/>
              <a:gd name="connsiteY16752" fmla="*/ 1188071 h 6557032"/>
              <a:gd name="connsiteX16753" fmla="*/ 1400113 w 4610101"/>
              <a:gd name="connsiteY16753" fmla="*/ 1186176 h 6557032"/>
              <a:gd name="connsiteX16754" fmla="*/ 3186982 w 4610101"/>
              <a:gd name="connsiteY16754" fmla="*/ 1185266 h 6557032"/>
              <a:gd name="connsiteX16755" fmla="*/ 3179694 w 4610101"/>
              <a:gd name="connsiteY16755" fmla="*/ 1187088 h 6557032"/>
              <a:gd name="connsiteX16756" fmla="*/ 3188805 w 4610101"/>
              <a:gd name="connsiteY16756" fmla="*/ 1188910 h 6557032"/>
              <a:gd name="connsiteX16757" fmla="*/ 3186982 w 4610101"/>
              <a:gd name="connsiteY16757" fmla="*/ 1185266 h 6557032"/>
              <a:gd name="connsiteX16758" fmla="*/ 2971966 w 4610101"/>
              <a:gd name="connsiteY16758" fmla="*/ 1185266 h 6557032"/>
              <a:gd name="connsiteX16759" fmla="*/ 2971966 w 4610101"/>
              <a:gd name="connsiteY16759" fmla="*/ 1192554 h 6557032"/>
              <a:gd name="connsiteX16760" fmla="*/ 2971966 w 4610101"/>
              <a:gd name="connsiteY16760" fmla="*/ 1185266 h 6557032"/>
              <a:gd name="connsiteX16761" fmla="*/ 2944634 w 4610101"/>
              <a:gd name="connsiteY16761" fmla="*/ 1185266 h 6557032"/>
              <a:gd name="connsiteX16762" fmla="*/ 2939167 w 4610101"/>
              <a:gd name="connsiteY16762" fmla="*/ 1203487 h 6557032"/>
              <a:gd name="connsiteX16763" fmla="*/ 2944634 w 4610101"/>
              <a:gd name="connsiteY16763" fmla="*/ 1218065 h 6557032"/>
              <a:gd name="connsiteX16764" fmla="*/ 2917301 w 4610101"/>
              <a:gd name="connsiteY16764" fmla="*/ 1261797 h 6557032"/>
              <a:gd name="connsiteX16765" fmla="*/ 2959211 w 4610101"/>
              <a:gd name="connsiteY16765" fmla="*/ 1259975 h 6557032"/>
              <a:gd name="connsiteX16766" fmla="*/ 2970144 w 4610101"/>
              <a:gd name="connsiteY16766" fmla="*/ 1252686 h 6557032"/>
              <a:gd name="connsiteX16767" fmla="*/ 2970144 w 4610101"/>
              <a:gd name="connsiteY16767" fmla="*/ 1256330 h 6557032"/>
              <a:gd name="connsiteX16768" fmla="*/ 2979939 w 4610101"/>
              <a:gd name="connsiteY16768" fmla="*/ 1252914 h 6557032"/>
              <a:gd name="connsiteX16769" fmla="*/ 2981142 w 4610101"/>
              <a:gd name="connsiteY16769" fmla="*/ 1252621 h 6557032"/>
              <a:gd name="connsiteX16770" fmla="*/ 2979255 w 4610101"/>
              <a:gd name="connsiteY16770" fmla="*/ 1254508 h 6557032"/>
              <a:gd name="connsiteX16771" fmla="*/ 2992010 w 4610101"/>
              <a:gd name="connsiteY16771" fmla="*/ 1256330 h 6557032"/>
              <a:gd name="connsiteX16772" fmla="*/ 2993832 w 4610101"/>
              <a:gd name="connsiteY16772" fmla="*/ 1249042 h 6557032"/>
              <a:gd name="connsiteX16773" fmla="*/ 2999299 w 4610101"/>
              <a:gd name="connsiteY16773" fmla="*/ 1250864 h 6557032"/>
              <a:gd name="connsiteX16774" fmla="*/ 3006587 w 4610101"/>
              <a:gd name="connsiteY16774" fmla="*/ 1252686 h 6557032"/>
              <a:gd name="connsiteX16775" fmla="*/ 3006587 w 4610101"/>
              <a:gd name="connsiteY16775" fmla="*/ 1247219 h 6557032"/>
              <a:gd name="connsiteX16776" fmla="*/ 3003577 w 4610101"/>
              <a:gd name="connsiteY16776" fmla="*/ 1248011 h 6557032"/>
              <a:gd name="connsiteX16777" fmla="*/ 3004765 w 4610101"/>
              <a:gd name="connsiteY16777" fmla="*/ 1247219 h 6557032"/>
              <a:gd name="connsiteX16778" fmla="*/ 3006587 w 4610101"/>
              <a:gd name="connsiteY16778" fmla="*/ 1236286 h 6557032"/>
              <a:gd name="connsiteX16779" fmla="*/ 2999299 w 4610101"/>
              <a:gd name="connsiteY16779" fmla="*/ 1225353 h 6557032"/>
              <a:gd name="connsiteX16780" fmla="*/ 2997477 w 4610101"/>
              <a:gd name="connsiteY16780" fmla="*/ 1243575 h 6557032"/>
              <a:gd name="connsiteX16781" fmla="*/ 2992010 w 4610101"/>
              <a:gd name="connsiteY16781" fmla="*/ 1241753 h 6557032"/>
              <a:gd name="connsiteX16782" fmla="*/ 2990188 w 4610101"/>
              <a:gd name="connsiteY16782" fmla="*/ 1223531 h 6557032"/>
              <a:gd name="connsiteX16783" fmla="*/ 2986543 w 4610101"/>
              <a:gd name="connsiteY16783" fmla="*/ 1227175 h 6557032"/>
              <a:gd name="connsiteX16784" fmla="*/ 2984721 w 4610101"/>
              <a:gd name="connsiteY16784" fmla="*/ 1221709 h 6557032"/>
              <a:gd name="connsiteX16785" fmla="*/ 2979255 w 4610101"/>
              <a:gd name="connsiteY16785" fmla="*/ 1228998 h 6557032"/>
              <a:gd name="connsiteX16786" fmla="*/ 2966500 w 4610101"/>
              <a:gd name="connsiteY16786" fmla="*/ 1227175 h 6557032"/>
              <a:gd name="connsiteX16787" fmla="*/ 2966500 w 4610101"/>
              <a:gd name="connsiteY16787" fmla="*/ 1234464 h 6557032"/>
              <a:gd name="connsiteX16788" fmla="*/ 2966500 w 4610101"/>
              <a:gd name="connsiteY16788" fmla="*/ 1219887 h 6557032"/>
              <a:gd name="connsiteX16789" fmla="*/ 2962855 w 4610101"/>
              <a:gd name="connsiteY16789" fmla="*/ 1212598 h 6557032"/>
              <a:gd name="connsiteX16790" fmla="*/ 2970144 w 4610101"/>
              <a:gd name="connsiteY16790" fmla="*/ 1212598 h 6557032"/>
              <a:gd name="connsiteX16791" fmla="*/ 2968322 w 4610101"/>
              <a:gd name="connsiteY16791" fmla="*/ 1207132 h 6557032"/>
              <a:gd name="connsiteX16792" fmla="*/ 2966500 w 4610101"/>
              <a:gd name="connsiteY16792" fmla="*/ 1205309 h 6557032"/>
              <a:gd name="connsiteX16793" fmla="*/ 2961033 w 4610101"/>
              <a:gd name="connsiteY16793" fmla="*/ 1199843 h 6557032"/>
              <a:gd name="connsiteX16794" fmla="*/ 2950100 w 4610101"/>
              <a:gd name="connsiteY16794" fmla="*/ 1196199 h 6557032"/>
              <a:gd name="connsiteX16795" fmla="*/ 2951922 w 4610101"/>
              <a:gd name="connsiteY16795" fmla="*/ 1190732 h 6557032"/>
              <a:gd name="connsiteX16796" fmla="*/ 2955566 w 4610101"/>
              <a:gd name="connsiteY16796" fmla="*/ 1192554 h 6557032"/>
              <a:gd name="connsiteX16797" fmla="*/ 2944634 w 4610101"/>
              <a:gd name="connsiteY16797" fmla="*/ 1185266 h 6557032"/>
              <a:gd name="connsiteX16798" fmla="*/ 488343 w 4610101"/>
              <a:gd name="connsiteY16798" fmla="*/ 1185266 h 6557032"/>
              <a:gd name="connsiteX16799" fmla="*/ 490165 w 4610101"/>
              <a:gd name="connsiteY16799" fmla="*/ 1188910 h 6557032"/>
              <a:gd name="connsiteX16800" fmla="*/ 488343 w 4610101"/>
              <a:gd name="connsiteY16800" fmla="*/ 1185266 h 6557032"/>
              <a:gd name="connsiteX16801" fmla="*/ 266038 w 4610101"/>
              <a:gd name="connsiteY16801" fmla="*/ 1185266 h 6557032"/>
              <a:gd name="connsiteX16802" fmla="*/ 278793 w 4610101"/>
              <a:gd name="connsiteY16802" fmla="*/ 1188910 h 6557032"/>
              <a:gd name="connsiteX16803" fmla="*/ 266038 w 4610101"/>
              <a:gd name="connsiteY16803" fmla="*/ 1185266 h 6557032"/>
              <a:gd name="connsiteX16804" fmla="*/ 3303602 w 4610101"/>
              <a:gd name="connsiteY16804" fmla="*/ 1183443 h 6557032"/>
              <a:gd name="connsiteX16805" fmla="*/ 3298135 w 4610101"/>
              <a:gd name="connsiteY16805" fmla="*/ 1188910 h 6557032"/>
              <a:gd name="connsiteX16806" fmla="*/ 3305424 w 4610101"/>
              <a:gd name="connsiteY16806" fmla="*/ 1187088 h 6557032"/>
              <a:gd name="connsiteX16807" fmla="*/ 3303602 w 4610101"/>
              <a:gd name="connsiteY16807" fmla="*/ 1183443 h 6557032"/>
              <a:gd name="connsiteX16808" fmla="*/ 2931878 w 4610101"/>
              <a:gd name="connsiteY16808" fmla="*/ 1183443 h 6557032"/>
              <a:gd name="connsiteX16809" fmla="*/ 2937345 w 4610101"/>
              <a:gd name="connsiteY16809" fmla="*/ 1198021 h 6557032"/>
              <a:gd name="connsiteX16810" fmla="*/ 2931878 w 4610101"/>
              <a:gd name="connsiteY16810" fmla="*/ 1183443 h 6557032"/>
              <a:gd name="connsiteX16811" fmla="*/ 1373920 w 4610101"/>
              <a:gd name="connsiteY16811" fmla="*/ 1183443 h 6557032"/>
              <a:gd name="connsiteX16812" fmla="*/ 1355698 w 4610101"/>
              <a:gd name="connsiteY16812" fmla="*/ 1188910 h 6557032"/>
              <a:gd name="connsiteX16813" fmla="*/ 1361164 w 4610101"/>
              <a:gd name="connsiteY16813" fmla="*/ 1192554 h 6557032"/>
              <a:gd name="connsiteX16814" fmla="*/ 1372097 w 4610101"/>
              <a:gd name="connsiteY16814" fmla="*/ 1187088 h 6557032"/>
              <a:gd name="connsiteX16815" fmla="*/ 1373920 w 4610101"/>
              <a:gd name="connsiteY16815" fmla="*/ 1187088 h 6557032"/>
              <a:gd name="connsiteX16816" fmla="*/ 1373920 w 4610101"/>
              <a:gd name="connsiteY16816" fmla="*/ 1183443 h 6557032"/>
              <a:gd name="connsiteX16817" fmla="*/ 1184414 w 4610101"/>
              <a:gd name="connsiteY16817" fmla="*/ 1183443 h 6557032"/>
              <a:gd name="connsiteX16818" fmla="*/ 1180769 w 4610101"/>
              <a:gd name="connsiteY16818" fmla="*/ 1185266 h 6557032"/>
              <a:gd name="connsiteX16819" fmla="*/ 1180769 w 4610101"/>
              <a:gd name="connsiteY16819" fmla="*/ 1190732 h 6557032"/>
              <a:gd name="connsiteX16820" fmla="*/ 1175303 w 4610101"/>
              <a:gd name="connsiteY16820" fmla="*/ 1188910 h 6557032"/>
              <a:gd name="connsiteX16821" fmla="*/ 1180769 w 4610101"/>
              <a:gd name="connsiteY16821" fmla="*/ 1190732 h 6557032"/>
              <a:gd name="connsiteX16822" fmla="*/ 1180769 w 4610101"/>
              <a:gd name="connsiteY16822" fmla="*/ 1194376 h 6557032"/>
              <a:gd name="connsiteX16823" fmla="*/ 1182592 w 4610101"/>
              <a:gd name="connsiteY16823" fmla="*/ 1196199 h 6557032"/>
              <a:gd name="connsiteX16824" fmla="*/ 1184414 w 4610101"/>
              <a:gd name="connsiteY16824" fmla="*/ 1188910 h 6557032"/>
              <a:gd name="connsiteX16825" fmla="*/ 1186236 w 4610101"/>
              <a:gd name="connsiteY16825" fmla="*/ 1198021 h 6557032"/>
              <a:gd name="connsiteX16826" fmla="*/ 1188251 w 4610101"/>
              <a:gd name="connsiteY16826" fmla="*/ 1193184 h 6557032"/>
              <a:gd name="connsiteX16827" fmla="*/ 1188058 w 4610101"/>
              <a:gd name="connsiteY16827" fmla="*/ 1198021 h 6557032"/>
              <a:gd name="connsiteX16828" fmla="*/ 1198991 w 4610101"/>
              <a:gd name="connsiteY16828" fmla="*/ 1199843 h 6557032"/>
              <a:gd name="connsiteX16829" fmla="*/ 1191703 w 4610101"/>
              <a:gd name="connsiteY16829" fmla="*/ 1192554 h 6557032"/>
              <a:gd name="connsiteX16830" fmla="*/ 1193525 w 4610101"/>
              <a:gd name="connsiteY16830" fmla="*/ 1190732 h 6557032"/>
              <a:gd name="connsiteX16831" fmla="*/ 1191703 w 4610101"/>
              <a:gd name="connsiteY16831" fmla="*/ 1185266 h 6557032"/>
              <a:gd name="connsiteX16832" fmla="*/ 1189880 w 4610101"/>
              <a:gd name="connsiteY16832" fmla="*/ 1185266 h 6557032"/>
              <a:gd name="connsiteX16833" fmla="*/ 1188438 w 4610101"/>
              <a:gd name="connsiteY16833" fmla="*/ 1191650 h 6557032"/>
              <a:gd name="connsiteX16834" fmla="*/ 1188058 w 4610101"/>
              <a:gd name="connsiteY16834" fmla="*/ 1187088 h 6557032"/>
              <a:gd name="connsiteX16835" fmla="*/ 1184414 w 4610101"/>
              <a:gd name="connsiteY16835" fmla="*/ 1188910 h 6557032"/>
              <a:gd name="connsiteX16836" fmla="*/ 1184414 w 4610101"/>
              <a:gd name="connsiteY16836" fmla="*/ 1183443 h 6557032"/>
              <a:gd name="connsiteX16837" fmla="*/ 1126104 w 4610101"/>
              <a:gd name="connsiteY16837" fmla="*/ 1183443 h 6557032"/>
              <a:gd name="connsiteX16838" fmla="*/ 1127926 w 4610101"/>
              <a:gd name="connsiteY16838" fmla="*/ 1187088 h 6557032"/>
              <a:gd name="connsiteX16839" fmla="*/ 1131570 w 4610101"/>
              <a:gd name="connsiteY16839" fmla="*/ 1185266 h 6557032"/>
              <a:gd name="connsiteX16840" fmla="*/ 1126104 w 4610101"/>
              <a:gd name="connsiteY16840" fmla="*/ 1183443 h 6557032"/>
              <a:gd name="connsiteX16841" fmla="*/ 1014951 w 4610101"/>
              <a:gd name="connsiteY16841" fmla="*/ 1183443 h 6557032"/>
              <a:gd name="connsiteX16842" fmla="*/ 1011307 w 4610101"/>
              <a:gd name="connsiteY16842" fmla="*/ 1185266 h 6557032"/>
              <a:gd name="connsiteX16843" fmla="*/ 1013129 w 4610101"/>
              <a:gd name="connsiteY16843" fmla="*/ 1187088 h 6557032"/>
              <a:gd name="connsiteX16844" fmla="*/ 1014951 w 4610101"/>
              <a:gd name="connsiteY16844" fmla="*/ 1201665 h 6557032"/>
              <a:gd name="connsiteX16845" fmla="*/ 1020418 w 4610101"/>
              <a:gd name="connsiteY16845" fmla="*/ 1194376 h 6557032"/>
              <a:gd name="connsiteX16846" fmla="*/ 1016774 w 4610101"/>
              <a:gd name="connsiteY16846" fmla="*/ 1201665 h 6557032"/>
              <a:gd name="connsiteX16847" fmla="*/ 1029529 w 4610101"/>
              <a:gd name="connsiteY16847" fmla="*/ 1207132 h 6557032"/>
              <a:gd name="connsiteX16848" fmla="*/ 1030027 w 4610101"/>
              <a:gd name="connsiteY16848" fmla="*/ 1201665 h 6557032"/>
              <a:gd name="connsiteX16849" fmla="*/ 1033173 w 4610101"/>
              <a:gd name="connsiteY16849" fmla="*/ 1201665 h 6557032"/>
              <a:gd name="connsiteX16850" fmla="*/ 1034995 w 4610101"/>
              <a:gd name="connsiteY16850" fmla="*/ 1196199 h 6557032"/>
              <a:gd name="connsiteX16851" fmla="*/ 1027707 w 4610101"/>
              <a:gd name="connsiteY16851" fmla="*/ 1192554 h 6557032"/>
              <a:gd name="connsiteX16852" fmla="*/ 1028468 w 4610101"/>
              <a:gd name="connsiteY16852" fmla="*/ 1198646 h 6557032"/>
              <a:gd name="connsiteX16853" fmla="*/ 1024062 w 4610101"/>
              <a:gd name="connsiteY16853" fmla="*/ 1196199 h 6557032"/>
              <a:gd name="connsiteX16854" fmla="*/ 1022240 w 4610101"/>
              <a:gd name="connsiteY16854" fmla="*/ 1194376 h 6557032"/>
              <a:gd name="connsiteX16855" fmla="*/ 1027707 w 4610101"/>
              <a:gd name="connsiteY16855" fmla="*/ 1196199 h 6557032"/>
              <a:gd name="connsiteX16856" fmla="*/ 1014951 w 4610101"/>
              <a:gd name="connsiteY16856" fmla="*/ 1183443 h 6557032"/>
              <a:gd name="connsiteX16857" fmla="*/ 696071 w 4610101"/>
              <a:gd name="connsiteY16857" fmla="*/ 1183443 h 6557032"/>
              <a:gd name="connsiteX16858" fmla="*/ 697893 w 4610101"/>
              <a:gd name="connsiteY16858" fmla="*/ 1187088 h 6557032"/>
              <a:gd name="connsiteX16859" fmla="*/ 696071 w 4610101"/>
              <a:gd name="connsiteY16859" fmla="*/ 1183443 h 6557032"/>
              <a:gd name="connsiteX16860" fmla="*/ 276971 w 4610101"/>
              <a:gd name="connsiteY16860" fmla="*/ 1183443 h 6557032"/>
              <a:gd name="connsiteX16861" fmla="*/ 280615 w 4610101"/>
              <a:gd name="connsiteY16861" fmla="*/ 1183443 h 6557032"/>
              <a:gd name="connsiteX16862" fmla="*/ 276971 w 4610101"/>
              <a:gd name="connsiteY16862" fmla="*/ 1183443 h 6557032"/>
              <a:gd name="connsiteX16863" fmla="*/ 205906 w 4610101"/>
              <a:gd name="connsiteY16863" fmla="*/ 1183443 h 6557032"/>
              <a:gd name="connsiteX16864" fmla="*/ 218661 w 4610101"/>
              <a:gd name="connsiteY16864" fmla="*/ 1190732 h 6557032"/>
              <a:gd name="connsiteX16865" fmla="*/ 205906 w 4610101"/>
              <a:gd name="connsiteY16865" fmla="*/ 1183443 h 6557032"/>
              <a:gd name="connsiteX16866" fmla="*/ 321842 w 4610101"/>
              <a:gd name="connsiteY16866" fmla="*/ 1182988 h 6557032"/>
              <a:gd name="connsiteX16867" fmla="*/ 318882 w 4610101"/>
              <a:gd name="connsiteY16867" fmla="*/ 1183443 h 6557032"/>
              <a:gd name="connsiteX16868" fmla="*/ 326169 w 4610101"/>
              <a:gd name="connsiteY16868" fmla="*/ 1185266 h 6557032"/>
              <a:gd name="connsiteX16869" fmla="*/ 321842 w 4610101"/>
              <a:gd name="connsiteY16869" fmla="*/ 1182988 h 6557032"/>
              <a:gd name="connsiteX16870" fmla="*/ 2986460 w 4610101"/>
              <a:gd name="connsiteY16870" fmla="*/ 1182697 h 6557032"/>
              <a:gd name="connsiteX16871" fmla="*/ 2990188 w 4610101"/>
              <a:gd name="connsiteY16871" fmla="*/ 1183443 h 6557032"/>
              <a:gd name="connsiteX16872" fmla="*/ 2986543 w 4610101"/>
              <a:gd name="connsiteY16872" fmla="*/ 1183443 h 6557032"/>
              <a:gd name="connsiteX16873" fmla="*/ 436639 w 4610101"/>
              <a:gd name="connsiteY16873" fmla="*/ 1182532 h 6557032"/>
              <a:gd name="connsiteX16874" fmla="*/ 430034 w 4610101"/>
              <a:gd name="connsiteY16874" fmla="*/ 1185266 h 6557032"/>
              <a:gd name="connsiteX16875" fmla="*/ 433678 w 4610101"/>
              <a:gd name="connsiteY16875" fmla="*/ 1187088 h 6557032"/>
              <a:gd name="connsiteX16876" fmla="*/ 431856 w 4610101"/>
              <a:gd name="connsiteY16876" fmla="*/ 1185266 h 6557032"/>
              <a:gd name="connsiteX16877" fmla="*/ 444611 w 4610101"/>
              <a:gd name="connsiteY16877" fmla="*/ 1185266 h 6557032"/>
              <a:gd name="connsiteX16878" fmla="*/ 436639 w 4610101"/>
              <a:gd name="connsiteY16878" fmla="*/ 1182532 h 6557032"/>
              <a:gd name="connsiteX16879" fmla="*/ 417734 w 4610101"/>
              <a:gd name="connsiteY16879" fmla="*/ 1181621 h 6557032"/>
              <a:gd name="connsiteX16880" fmla="*/ 413634 w 4610101"/>
              <a:gd name="connsiteY16880" fmla="*/ 1185266 h 6557032"/>
              <a:gd name="connsiteX16881" fmla="*/ 424567 w 4610101"/>
              <a:gd name="connsiteY16881" fmla="*/ 1183443 h 6557032"/>
              <a:gd name="connsiteX16882" fmla="*/ 417734 w 4610101"/>
              <a:gd name="connsiteY16882" fmla="*/ 1181621 h 6557032"/>
              <a:gd name="connsiteX16883" fmla="*/ 3258047 w 4610101"/>
              <a:gd name="connsiteY16883" fmla="*/ 1181621 h 6557032"/>
              <a:gd name="connsiteX16884" fmla="*/ 3258047 w 4610101"/>
              <a:gd name="connsiteY16884" fmla="*/ 1188910 h 6557032"/>
              <a:gd name="connsiteX16885" fmla="*/ 3265336 w 4610101"/>
              <a:gd name="connsiteY16885" fmla="*/ 1185266 h 6557032"/>
              <a:gd name="connsiteX16886" fmla="*/ 3258047 w 4610101"/>
              <a:gd name="connsiteY16886" fmla="*/ 1181621 h 6557032"/>
              <a:gd name="connsiteX16887" fmla="*/ 3201560 w 4610101"/>
              <a:gd name="connsiteY16887" fmla="*/ 1181621 h 6557032"/>
              <a:gd name="connsiteX16888" fmla="*/ 3208849 w 4610101"/>
              <a:gd name="connsiteY16888" fmla="*/ 1188910 h 6557032"/>
              <a:gd name="connsiteX16889" fmla="*/ 3208849 w 4610101"/>
              <a:gd name="connsiteY16889" fmla="*/ 1183443 h 6557032"/>
              <a:gd name="connsiteX16890" fmla="*/ 3201560 w 4610101"/>
              <a:gd name="connsiteY16890" fmla="*/ 1181621 h 6557032"/>
              <a:gd name="connsiteX16891" fmla="*/ 2667663 w 4610101"/>
              <a:gd name="connsiteY16891" fmla="*/ 1181621 h 6557032"/>
              <a:gd name="connsiteX16892" fmla="*/ 2664019 w 4610101"/>
              <a:gd name="connsiteY16892" fmla="*/ 1183443 h 6557032"/>
              <a:gd name="connsiteX16893" fmla="*/ 2667663 w 4610101"/>
              <a:gd name="connsiteY16893" fmla="*/ 1196199 h 6557032"/>
              <a:gd name="connsiteX16894" fmla="*/ 2669485 w 4610101"/>
              <a:gd name="connsiteY16894" fmla="*/ 1196199 h 6557032"/>
              <a:gd name="connsiteX16895" fmla="*/ 2673130 w 4610101"/>
              <a:gd name="connsiteY16895" fmla="*/ 1199843 h 6557032"/>
              <a:gd name="connsiteX16896" fmla="*/ 2674952 w 4610101"/>
              <a:gd name="connsiteY16896" fmla="*/ 1192554 h 6557032"/>
              <a:gd name="connsiteX16897" fmla="*/ 2667663 w 4610101"/>
              <a:gd name="connsiteY16897" fmla="*/ 1181621 h 6557032"/>
              <a:gd name="connsiteX16898" fmla="*/ 2612998 w 4610101"/>
              <a:gd name="connsiteY16898" fmla="*/ 1181621 h 6557032"/>
              <a:gd name="connsiteX16899" fmla="*/ 2615428 w 4610101"/>
              <a:gd name="connsiteY16899" fmla="*/ 1188910 h 6557032"/>
              <a:gd name="connsiteX16900" fmla="*/ 2611176 w 4610101"/>
              <a:gd name="connsiteY16900" fmla="*/ 1188910 h 6557032"/>
              <a:gd name="connsiteX16901" fmla="*/ 2616642 w 4610101"/>
              <a:gd name="connsiteY16901" fmla="*/ 1198021 h 6557032"/>
              <a:gd name="connsiteX16902" fmla="*/ 2616642 w 4610101"/>
              <a:gd name="connsiteY16902" fmla="*/ 1192554 h 6557032"/>
              <a:gd name="connsiteX16903" fmla="*/ 2618464 w 4610101"/>
              <a:gd name="connsiteY16903" fmla="*/ 1198021 h 6557032"/>
              <a:gd name="connsiteX16904" fmla="*/ 2623931 w 4610101"/>
              <a:gd name="connsiteY16904" fmla="*/ 1188910 h 6557032"/>
              <a:gd name="connsiteX16905" fmla="*/ 2612998 w 4610101"/>
              <a:gd name="connsiteY16905" fmla="*/ 1181621 h 6557032"/>
              <a:gd name="connsiteX16906" fmla="*/ 1279166 w 4610101"/>
              <a:gd name="connsiteY16906" fmla="*/ 1181621 h 6557032"/>
              <a:gd name="connsiteX16907" fmla="*/ 1277344 w 4610101"/>
              <a:gd name="connsiteY16907" fmla="*/ 1185266 h 6557032"/>
              <a:gd name="connsiteX16908" fmla="*/ 1277344 w 4610101"/>
              <a:gd name="connsiteY16908" fmla="*/ 1183546 h 6557032"/>
              <a:gd name="connsiteX16909" fmla="*/ 1279166 w 4610101"/>
              <a:gd name="connsiteY16909" fmla="*/ 1181621 h 6557032"/>
              <a:gd name="connsiteX16910" fmla="*/ 1281216 w 4610101"/>
              <a:gd name="connsiteY16910" fmla="*/ 1187088 h 6557032"/>
              <a:gd name="connsiteX16911" fmla="*/ 1280939 w 4610101"/>
              <a:gd name="connsiteY16911" fmla="*/ 1187827 h 6557032"/>
              <a:gd name="connsiteX16912" fmla="*/ 936598 w 4610101"/>
              <a:gd name="connsiteY16912" fmla="*/ 1181621 h 6557032"/>
              <a:gd name="connsiteX16913" fmla="*/ 932953 w 4610101"/>
              <a:gd name="connsiteY16913" fmla="*/ 1185266 h 6557032"/>
              <a:gd name="connsiteX16914" fmla="*/ 936598 w 4610101"/>
              <a:gd name="connsiteY16914" fmla="*/ 1181621 h 6557032"/>
              <a:gd name="connsiteX16915" fmla="*/ 683316 w 4610101"/>
              <a:gd name="connsiteY16915" fmla="*/ 1181621 h 6557032"/>
              <a:gd name="connsiteX16916" fmla="*/ 688782 w 4610101"/>
              <a:gd name="connsiteY16916" fmla="*/ 1183443 h 6557032"/>
              <a:gd name="connsiteX16917" fmla="*/ 683316 w 4610101"/>
              <a:gd name="connsiteY16917" fmla="*/ 1181621 h 6557032"/>
              <a:gd name="connsiteX16918" fmla="*/ 473766 w 4610101"/>
              <a:gd name="connsiteY16918" fmla="*/ 1181621 h 6557032"/>
              <a:gd name="connsiteX16919" fmla="*/ 481054 w 4610101"/>
              <a:gd name="connsiteY16919" fmla="*/ 1185266 h 6557032"/>
              <a:gd name="connsiteX16920" fmla="*/ 473766 w 4610101"/>
              <a:gd name="connsiteY16920" fmla="*/ 1181621 h 6557032"/>
              <a:gd name="connsiteX16921" fmla="*/ 300660 w 4610101"/>
              <a:gd name="connsiteY16921" fmla="*/ 1181621 h 6557032"/>
              <a:gd name="connsiteX16922" fmla="*/ 307948 w 4610101"/>
              <a:gd name="connsiteY16922" fmla="*/ 1187088 h 6557032"/>
              <a:gd name="connsiteX16923" fmla="*/ 300660 w 4610101"/>
              <a:gd name="connsiteY16923" fmla="*/ 1181621 h 6557032"/>
              <a:gd name="connsiteX16924" fmla="*/ 249638 w 4610101"/>
              <a:gd name="connsiteY16924" fmla="*/ 1181621 h 6557032"/>
              <a:gd name="connsiteX16925" fmla="*/ 269682 w 4610101"/>
              <a:gd name="connsiteY16925" fmla="*/ 1190732 h 6557032"/>
              <a:gd name="connsiteX16926" fmla="*/ 249638 w 4610101"/>
              <a:gd name="connsiteY16926" fmla="*/ 1181621 h 6557032"/>
              <a:gd name="connsiteX16927" fmla="*/ 149419 w 4610101"/>
              <a:gd name="connsiteY16927" fmla="*/ 1181621 h 6557032"/>
              <a:gd name="connsiteX16928" fmla="*/ 160352 w 4610101"/>
              <a:gd name="connsiteY16928" fmla="*/ 1188910 h 6557032"/>
              <a:gd name="connsiteX16929" fmla="*/ 151241 w 4610101"/>
              <a:gd name="connsiteY16929" fmla="*/ 1181621 h 6557032"/>
              <a:gd name="connsiteX16930" fmla="*/ 163312 w 4610101"/>
              <a:gd name="connsiteY16930" fmla="*/ 1189366 h 6557032"/>
              <a:gd name="connsiteX16931" fmla="*/ 163996 w 4610101"/>
              <a:gd name="connsiteY16931" fmla="*/ 1189342 h 6557032"/>
              <a:gd name="connsiteX16932" fmla="*/ 163996 w 4610101"/>
              <a:gd name="connsiteY16932" fmla="*/ 1190732 h 6557032"/>
              <a:gd name="connsiteX16933" fmla="*/ 153063 w 4610101"/>
              <a:gd name="connsiteY16933" fmla="*/ 1188910 h 6557032"/>
              <a:gd name="connsiteX16934" fmla="*/ 156707 w 4610101"/>
              <a:gd name="connsiteY16934" fmla="*/ 1187088 h 6557032"/>
              <a:gd name="connsiteX16935" fmla="*/ 149419 w 4610101"/>
              <a:gd name="connsiteY16935" fmla="*/ 1181621 h 6557032"/>
              <a:gd name="connsiteX16936" fmla="*/ 1451714 w 4610101"/>
              <a:gd name="connsiteY16936" fmla="*/ 1181410 h 6557032"/>
              <a:gd name="connsiteX16937" fmla="*/ 1450761 w 4610101"/>
              <a:gd name="connsiteY16937" fmla="*/ 1181827 h 6557032"/>
              <a:gd name="connsiteX16938" fmla="*/ 1450451 w 4610101"/>
              <a:gd name="connsiteY16938" fmla="*/ 1181621 h 6557032"/>
              <a:gd name="connsiteX16939" fmla="*/ 2753305 w 4610101"/>
              <a:gd name="connsiteY16939" fmla="*/ 1181165 h 6557032"/>
              <a:gd name="connsiteX16940" fmla="*/ 2749661 w 4610101"/>
              <a:gd name="connsiteY16940" fmla="*/ 1183443 h 6557032"/>
              <a:gd name="connsiteX16941" fmla="*/ 2756950 w 4610101"/>
              <a:gd name="connsiteY16941" fmla="*/ 1185266 h 6557032"/>
              <a:gd name="connsiteX16942" fmla="*/ 2756950 w 4610101"/>
              <a:gd name="connsiteY16942" fmla="*/ 1181621 h 6557032"/>
              <a:gd name="connsiteX16943" fmla="*/ 2753305 w 4610101"/>
              <a:gd name="connsiteY16943" fmla="*/ 1181165 h 6557032"/>
              <a:gd name="connsiteX16944" fmla="*/ 2044529 w 4610101"/>
              <a:gd name="connsiteY16944" fmla="*/ 1179992 h 6557032"/>
              <a:gd name="connsiteX16945" fmla="*/ 2048352 w 4610101"/>
              <a:gd name="connsiteY16945" fmla="*/ 1182076 h 6557032"/>
              <a:gd name="connsiteX16946" fmla="*/ 2049946 w 4610101"/>
              <a:gd name="connsiteY16946" fmla="*/ 1185266 h 6557032"/>
              <a:gd name="connsiteX16947" fmla="*/ 2044480 w 4610101"/>
              <a:gd name="connsiteY16947" fmla="*/ 1180027 h 6557032"/>
              <a:gd name="connsiteX16948" fmla="*/ 3367378 w 4610101"/>
              <a:gd name="connsiteY16948" fmla="*/ 1179799 h 6557032"/>
              <a:gd name="connsiteX16949" fmla="*/ 3369200 w 4610101"/>
              <a:gd name="connsiteY16949" fmla="*/ 1183443 h 6557032"/>
              <a:gd name="connsiteX16950" fmla="*/ 3364872 w 4610101"/>
              <a:gd name="connsiteY16950" fmla="*/ 1184810 h 6557032"/>
              <a:gd name="connsiteX16951" fmla="*/ 3364257 w 4610101"/>
              <a:gd name="connsiteY16951" fmla="*/ 1184526 h 6557032"/>
              <a:gd name="connsiteX16952" fmla="*/ 3363734 w 4610101"/>
              <a:gd name="connsiteY16952" fmla="*/ 1183443 h 6557032"/>
              <a:gd name="connsiteX16953" fmla="*/ 3366923 w 4610101"/>
              <a:gd name="connsiteY16953" fmla="*/ 1181393 h 6557032"/>
              <a:gd name="connsiteX16954" fmla="*/ 3367112 w 4610101"/>
              <a:gd name="connsiteY16954" fmla="*/ 1179977 h 6557032"/>
              <a:gd name="connsiteX16955" fmla="*/ 3316357 w 4610101"/>
              <a:gd name="connsiteY16955" fmla="*/ 1179799 h 6557032"/>
              <a:gd name="connsiteX16956" fmla="*/ 3312713 w 4610101"/>
              <a:gd name="connsiteY16956" fmla="*/ 1181621 h 6557032"/>
              <a:gd name="connsiteX16957" fmla="*/ 3318179 w 4610101"/>
              <a:gd name="connsiteY16957" fmla="*/ 1185266 h 6557032"/>
              <a:gd name="connsiteX16958" fmla="*/ 3316357 w 4610101"/>
              <a:gd name="connsiteY16958" fmla="*/ 1179799 h 6557032"/>
              <a:gd name="connsiteX16959" fmla="*/ 1091484 w 4610101"/>
              <a:gd name="connsiteY16959" fmla="*/ 1179799 h 6557032"/>
              <a:gd name="connsiteX16960" fmla="*/ 1095127 w 4610101"/>
              <a:gd name="connsiteY16960" fmla="*/ 1221709 h 6557032"/>
              <a:gd name="connsiteX16961" fmla="*/ 1100593 w 4610101"/>
              <a:gd name="connsiteY16961" fmla="*/ 1223531 h 6557032"/>
              <a:gd name="connsiteX16962" fmla="*/ 1098771 w 4610101"/>
              <a:gd name="connsiteY16962" fmla="*/ 1221709 h 6557032"/>
              <a:gd name="connsiteX16963" fmla="*/ 1106060 w 4610101"/>
              <a:gd name="connsiteY16963" fmla="*/ 1225353 h 6557032"/>
              <a:gd name="connsiteX16964" fmla="*/ 1107882 w 4610101"/>
              <a:gd name="connsiteY16964" fmla="*/ 1219887 h 6557032"/>
              <a:gd name="connsiteX16965" fmla="*/ 1109704 w 4610101"/>
              <a:gd name="connsiteY16965" fmla="*/ 1221709 h 6557032"/>
              <a:gd name="connsiteX16966" fmla="*/ 1111526 w 4610101"/>
              <a:gd name="connsiteY16966" fmla="*/ 1218065 h 6557032"/>
              <a:gd name="connsiteX16967" fmla="*/ 1113349 w 4610101"/>
              <a:gd name="connsiteY16967" fmla="*/ 1219887 h 6557032"/>
              <a:gd name="connsiteX16968" fmla="*/ 1115171 w 4610101"/>
              <a:gd name="connsiteY16968" fmla="*/ 1208954 h 6557032"/>
              <a:gd name="connsiteX16969" fmla="*/ 1116993 w 4610101"/>
              <a:gd name="connsiteY16969" fmla="*/ 1216242 h 6557032"/>
              <a:gd name="connsiteX16970" fmla="*/ 1120637 w 4610101"/>
              <a:gd name="connsiteY16970" fmla="*/ 1201665 h 6557032"/>
              <a:gd name="connsiteX16971" fmla="*/ 1093305 w 4610101"/>
              <a:gd name="connsiteY16971" fmla="*/ 1181621 h 6557032"/>
              <a:gd name="connsiteX16972" fmla="*/ 1091484 w 4610101"/>
              <a:gd name="connsiteY16972" fmla="*/ 1179799 h 6557032"/>
              <a:gd name="connsiteX16973" fmla="*/ 1073262 w 4610101"/>
              <a:gd name="connsiteY16973" fmla="*/ 1179799 h 6557032"/>
              <a:gd name="connsiteX16974" fmla="*/ 1075083 w 4610101"/>
              <a:gd name="connsiteY16974" fmla="*/ 1185266 h 6557032"/>
              <a:gd name="connsiteX16975" fmla="*/ 1071439 w 4610101"/>
              <a:gd name="connsiteY16975" fmla="*/ 1183443 h 6557032"/>
              <a:gd name="connsiteX16976" fmla="*/ 1067794 w 4610101"/>
              <a:gd name="connsiteY16976" fmla="*/ 1190732 h 6557032"/>
              <a:gd name="connsiteX16977" fmla="*/ 1067794 w 4610101"/>
              <a:gd name="connsiteY16977" fmla="*/ 1183443 h 6557032"/>
              <a:gd name="connsiteX16978" fmla="*/ 1058683 w 4610101"/>
              <a:gd name="connsiteY16978" fmla="*/ 1183443 h 6557032"/>
              <a:gd name="connsiteX16979" fmla="*/ 1065972 w 4610101"/>
              <a:gd name="connsiteY16979" fmla="*/ 1194376 h 6557032"/>
              <a:gd name="connsiteX16980" fmla="*/ 1064151 w 4610101"/>
              <a:gd name="connsiteY16980" fmla="*/ 1185266 h 6557032"/>
              <a:gd name="connsiteX16981" fmla="*/ 1073262 w 4610101"/>
              <a:gd name="connsiteY16981" fmla="*/ 1207132 h 6557032"/>
              <a:gd name="connsiteX16982" fmla="*/ 1076905 w 4610101"/>
              <a:gd name="connsiteY16982" fmla="*/ 1205309 h 6557032"/>
              <a:gd name="connsiteX16983" fmla="*/ 1084194 w 4610101"/>
              <a:gd name="connsiteY16983" fmla="*/ 1214420 h 6557032"/>
              <a:gd name="connsiteX16984" fmla="*/ 1082373 w 4610101"/>
              <a:gd name="connsiteY16984" fmla="*/ 1194376 h 6557032"/>
              <a:gd name="connsiteX16985" fmla="*/ 1073262 w 4610101"/>
              <a:gd name="connsiteY16985" fmla="*/ 1179799 h 6557032"/>
              <a:gd name="connsiteX16986" fmla="*/ 885577 w 4610101"/>
              <a:gd name="connsiteY16986" fmla="*/ 1179799 h 6557032"/>
              <a:gd name="connsiteX16987" fmla="*/ 883755 w 4610101"/>
              <a:gd name="connsiteY16987" fmla="*/ 1187088 h 6557032"/>
              <a:gd name="connsiteX16988" fmla="*/ 887399 w 4610101"/>
              <a:gd name="connsiteY16988" fmla="*/ 1181621 h 6557032"/>
              <a:gd name="connsiteX16989" fmla="*/ 885577 w 4610101"/>
              <a:gd name="connsiteY16989" fmla="*/ 1179799 h 6557032"/>
              <a:gd name="connsiteX16990" fmla="*/ 809046 w 4610101"/>
              <a:gd name="connsiteY16990" fmla="*/ 1179799 h 6557032"/>
              <a:gd name="connsiteX16991" fmla="*/ 810868 w 4610101"/>
              <a:gd name="connsiteY16991" fmla="*/ 1188910 h 6557032"/>
              <a:gd name="connsiteX16992" fmla="*/ 816334 w 4610101"/>
              <a:gd name="connsiteY16992" fmla="*/ 1185266 h 6557032"/>
              <a:gd name="connsiteX16993" fmla="*/ 809046 w 4610101"/>
              <a:gd name="connsiteY16993" fmla="*/ 1179799 h 6557032"/>
              <a:gd name="connsiteX16994" fmla="*/ 652339 w 4610101"/>
              <a:gd name="connsiteY16994" fmla="*/ 1179799 h 6557032"/>
              <a:gd name="connsiteX16995" fmla="*/ 641407 w 4610101"/>
              <a:gd name="connsiteY16995" fmla="*/ 1183443 h 6557032"/>
              <a:gd name="connsiteX16996" fmla="*/ 655983 w 4610101"/>
              <a:gd name="connsiteY16996" fmla="*/ 1185266 h 6557032"/>
              <a:gd name="connsiteX16997" fmla="*/ 650516 w 4610101"/>
              <a:gd name="connsiteY16997" fmla="*/ 1183443 h 6557032"/>
              <a:gd name="connsiteX16998" fmla="*/ 652339 w 4610101"/>
              <a:gd name="connsiteY16998" fmla="*/ 1179799 h 6557032"/>
              <a:gd name="connsiteX16999" fmla="*/ 491987 w 4610101"/>
              <a:gd name="connsiteY16999" fmla="*/ 1179799 h 6557032"/>
              <a:gd name="connsiteX17000" fmla="*/ 497454 w 4610101"/>
              <a:gd name="connsiteY17000" fmla="*/ 1185266 h 6557032"/>
              <a:gd name="connsiteX17001" fmla="*/ 491987 w 4610101"/>
              <a:gd name="connsiteY17001" fmla="*/ 1179799 h 6557032"/>
              <a:gd name="connsiteX17002" fmla="*/ 453722 w 4610101"/>
              <a:gd name="connsiteY17002" fmla="*/ 1179799 h 6557032"/>
              <a:gd name="connsiteX17003" fmla="*/ 473766 w 4610101"/>
              <a:gd name="connsiteY17003" fmla="*/ 1185266 h 6557032"/>
              <a:gd name="connsiteX17004" fmla="*/ 462377 w 4610101"/>
              <a:gd name="connsiteY17004" fmla="*/ 1179799 h 6557032"/>
              <a:gd name="connsiteX17005" fmla="*/ 453722 w 4610101"/>
              <a:gd name="connsiteY17005" fmla="*/ 1179799 h 6557032"/>
              <a:gd name="connsiteX17006" fmla="*/ 302481 w 4610101"/>
              <a:gd name="connsiteY17006" fmla="*/ 1179799 h 6557032"/>
              <a:gd name="connsiteX17007" fmla="*/ 317059 w 4610101"/>
              <a:gd name="connsiteY17007" fmla="*/ 1183443 h 6557032"/>
              <a:gd name="connsiteX17008" fmla="*/ 302481 w 4610101"/>
              <a:gd name="connsiteY17008" fmla="*/ 1179799 h 6557032"/>
              <a:gd name="connsiteX17009" fmla="*/ 2939623 w 4610101"/>
              <a:gd name="connsiteY17009" fmla="*/ 1179343 h 6557032"/>
              <a:gd name="connsiteX17010" fmla="*/ 2933700 w 4610101"/>
              <a:gd name="connsiteY17010" fmla="*/ 1179799 h 6557032"/>
              <a:gd name="connsiteX17011" fmla="*/ 2935523 w 4610101"/>
              <a:gd name="connsiteY17011" fmla="*/ 1187088 h 6557032"/>
              <a:gd name="connsiteX17012" fmla="*/ 2942811 w 4610101"/>
              <a:gd name="connsiteY17012" fmla="*/ 1181621 h 6557032"/>
              <a:gd name="connsiteX17013" fmla="*/ 2939623 w 4610101"/>
              <a:gd name="connsiteY17013" fmla="*/ 1179343 h 6557032"/>
              <a:gd name="connsiteX17014" fmla="*/ 1492911 w 4610101"/>
              <a:gd name="connsiteY17014" fmla="*/ 1178877 h 6557032"/>
              <a:gd name="connsiteX17015" fmla="*/ 1490539 w 4610101"/>
              <a:gd name="connsiteY17015" fmla="*/ 1179799 h 6557032"/>
              <a:gd name="connsiteX17016" fmla="*/ 1490734 w 4610101"/>
              <a:gd name="connsiteY17016" fmla="*/ 1179409 h 6557032"/>
              <a:gd name="connsiteX17017" fmla="*/ 1491677 w 4610101"/>
              <a:gd name="connsiteY17017" fmla="*/ 1179116 h 6557032"/>
              <a:gd name="connsiteX17018" fmla="*/ 3004765 w 4610101"/>
              <a:gd name="connsiteY17018" fmla="*/ 1177977 h 6557032"/>
              <a:gd name="connsiteX17019" fmla="*/ 2997477 w 4610101"/>
              <a:gd name="connsiteY17019" fmla="*/ 1181621 h 6557032"/>
              <a:gd name="connsiteX17020" fmla="*/ 3006587 w 4610101"/>
              <a:gd name="connsiteY17020" fmla="*/ 1194376 h 6557032"/>
              <a:gd name="connsiteX17021" fmla="*/ 3004765 w 4610101"/>
              <a:gd name="connsiteY17021" fmla="*/ 1188910 h 6557032"/>
              <a:gd name="connsiteX17022" fmla="*/ 3010232 w 4610101"/>
              <a:gd name="connsiteY17022" fmla="*/ 1196199 h 6557032"/>
              <a:gd name="connsiteX17023" fmla="*/ 3004765 w 4610101"/>
              <a:gd name="connsiteY17023" fmla="*/ 1198021 h 6557032"/>
              <a:gd name="connsiteX17024" fmla="*/ 3010232 w 4610101"/>
              <a:gd name="connsiteY17024" fmla="*/ 1201665 h 6557032"/>
              <a:gd name="connsiteX17025" fmla="*/ 3010232 w 4610101"/>
              <a:gd name="connsiteY17025" fmla="*/ 1198021 h 6557032"/>
              <a:gd name="connsiteX17026" fmla="*/ 3024809 w 4610101"/>
              <a:gd name="connsiteY17026" fmla="*/ 1205309 h 6557032"/>
              <a:gd name="connsiteX17027" fmla="*/ 3035742 w 4610101"/>
              <a:gd name="connsiteY17027" fmla="*/ 1203487 h 6557032"/>
              <a:gd name="connsiteX17028" fmla="*/ 3039387 w 4610101"/>
              <a:gd name="connsiteY17028" fmla="*/ 1192554 h 6557032"/>
              <a:gd name="connsiteX17029" fmla="*/ 3030276 w 4610101"/>
              <a:gd name="connsiteY17029" fmla="*/ 1188910 h 6557032"/>
              <a:gd name="connsiteX17030" fmla="*/ 3030276 w 4610101"/>
              <a:gd name="connsiteY17030" fmla="*/ 1199843 h 6557032"/>
              <a:gd name="connsiteX17031" fmla="*/ 3022987 w 4610101"/>
              <a:gd name="connsiteY17031" fmla="*/ 1183443 h 6557032"/>
              <a:gd name="connsiteX17032" fmla="*/ 3022987 w 4610101"/>
              <a:gd name="connsiteY17032" fmla="*/ 1190732 h 6557032"/>
              <a:gd name="connsiteX17033" fmla="*/ 3019343 w 4610101"/>
              <a:gd name="connsiteY17033" fmla="*/ 1187088 h 6557032"/>
              <a:gd name="connsiteX17034" fmla="*/ 3017521 w 4610101"/>
              <a:gd name="connsiteY17034" fmla="*/ 1192554 h 6557032"/>
              <a:gd name="connsiteX17035" fmla="*/ 3015698 w 4610101"/>
              <a:gd name="connsiteY17035" fmla="*/ 1181621 h 6557032"/>
              <a:gd name="connsiteX17036" fmla="*/ 3012054 w 4610101"/>
              <a:gd name="connsiteY17036" fmla="*/ 1187088 h 6557032"/>
              <a:gd name="connsiteX17037" fmla="*/ 3008410 w 4610101"/>
              <a:gd name="connsiteY17037" fmla="*/ 1181621 h 6557032"/>
              <a:gd name="connsiteX17038" fmla="*/ 3006587 w 4610101"/>
              <a:gd name="connsiteY17038" fmla="*/ 1188910 h 6557032"/>
              <a:gd name="connsiteX17039" fmla="*/ 3004765 w 4610101"/>
              <a:gd name="connsiteY17039" fmla="*/ 1177977 h 6557032"/>
              <a:gd name="connsiteX17040" fmla="*/ 2292295 w 4610101"/>
              <a:gd name="connsiteY17040" fmla="*/ 1177977 h 6557032"/>
              <a:gd name="connsiteX17041" fmla="*/ 2272251 w 4610101"/>
              <a:gd name="connsiteY17041" fmla="*/ 1196199 h 6557032"/>
              <a:gd name="connsiteX17042" fmla="*/ 2286829 w 4610101"/>
              <a:gd name="connsiteY17042" fmla="*/ 1212598 h 6557032"/>
              <a:gd name="connsiteX17043" fmla="*/ 2297762 w 4610101"/>
              <a:gd name="connsiteY17043" fmla="*/ 1203487 h 6557032"/>
              <a:gd name="connsiteX17044" fmla="*/ 2292295 w 4610101"/>
              <a:gd name="connsiteY17044" fmla="*/ 1199843 h 6557032"/>
              <a:gd name="connsiteX17045" fmla="*/ 2297762 w 4610101"/>
              <a:gd name="connsiteY17045" fmla="*/ 1183443 h 6557032"/>
              <a:gd name="connsiteX17046" fmla="*/ 2292295 w 4610101"/>
              <a:gd name="connsiteY17046" fmla="*/ 1177977 h 6557032"/>
              <a:gd name="connsiteX17047" fmla="*/ 2090034 w 4610101"/>
              <a:gd name="connsiteY17047" fmla="*/ 1177977 h 6557032"/>
              <a:gd name="connsiteX17048" fmla="*/ 2088212 w 4610101"/>
              <a:gd name="connsiteY17048" fmla="*/ 1181621 h 6557032"/>
              <a:gd name="connsiteX17049" fmla="*/ 2089118 w 4610101"/>
              <a:gd name="connsiteY17049" fmla="*/ 1177997 h 6557032"/>
              <a:gd name="connsiteX17050" fmla="*/ 821801 w 4610101"/>
              <a:gd name="connsiteY17050" fmla="*/ 1177977 h 6557032"/>
              <a:gd name="connsiteX17051" fmla="*/ 829089 w 4610101"/>
              <a:gd name="connsiteY17051" fmla="*/ 1187088 h 6557032"/>
              <a:gd name="connsiteX17052" fmla="*/ 821801 w 4610101"/>
              <a:gd name="connsiteY17052" fmla="*/ 1177977 h 6557032"/>
              <a:gd name="connsiteX17053" fmla="*/ 1756575 w 4610101"/>
              <a:gd name="connsiteY17053" fmla="*/ 1176180 h 6557032"/>
              <a:gd name="connsiteX17054" fmla="*/ 1783908 w 4610101"/>
              <a:gd name="connsiteY17054" fmla="*/ 1205336 h 6557032"/>
              <a:gd name="connsiteX17055" fmla="*/ 1783908 w 4610101"/>
              <a:gd name="connsiteY17055" fmla="*/ 1214448 h 6557032"/>
              <a:gd name="connsiteX17056" fmla="*/ 1756575 w 4610101"/>
              <a:gd name="connsiteY17056" fmla="*/ 1176180 h 6557032"/>
              <a:gd name="connsiteX17057" fmla="*/ 3267158 w 4610101"/>
              <a:gd name="connsiteY17057" fmla="*/ 1176155 h 6557032"/>
              <a:gd name="connsiteX17058" fmla="*/ 3270803 w 4610101"/>
              <a:gd name="connsiteY17058" fmla="*/ 1183443 h 6557032"/>
              <a:gd name="connsiteX17059" fmla="*/ 3267158 w 4610101"/>
              <a:gd name="connsiteY17059" fmla="*/ 1176155 h 6557032"/>
              <a:gd name="connsiteX17060" fmla="*/ 2142877 w 4610101"/>
              <a:gd name="connsiteY17060" fmla="*/ 1176155 h 6557032"/>
              <a:gd name="connsiteX17061" fmla="*/ 2126477 w 4610101"/>
              <a:gd name="connsiteY17061" fmla="*/ 1185266 h 6557032"/>
              <a:gd name="connsiteX17062" fmla="*/ 2133766 w 4610101"/>
              <a:gd name="connsiteY17062" fmla="*/ 1185266 h 6557032"/>
              <a:gd name="connsiteX17063" fmla="*/ 2131944 w 4610101"/>
              <a:gd name="connsiteY17063" fmla="*/ 1188910 h 6557032"/>
              <a:gd name="connsiteX17064" fmla="*/ 2133766 w 4610101"/>
              <a:gd name="connsiteY17064" fmla="*/ 1190732 h 6557032"/>
              <a:gd name="connsiteX17065" fmla="*/ 2133766 w 4610101"/>
              <a:gd name="connsiteY17065" fmla="*/ 1187088 h 6557032"/>
              <a:gd name="connsiteX17066" fmla="*/ 2133766 w 4610101"/>
              <a:gd name="connsiteY17066" fmla="*/ 1185266 h 6557032"/>
              <a:gd name="connsiteX17067" fmla="*/ 2148344 w 4610101"/>
              <a:gd name="connsiteY17067" fmla="*/ 1192554 h 6557032"/>
              <a:gd name="connsiteX17068" fmla="*/ 2141055 w 4610101"/>
              <a:gd name="connsiteY17068" fmla="*/ 1192554 h 6557032"/>
              <a:gd name="connsiteX17069" fmla="*/ 2142877 w 4610101"/>
              <a:gd name="connsiteY17069" fmla="*/ 1201665 h 6557032"/>
              <a:gd name="connsiteX17070" fmla="*/ 2188431 w 4610101"/>
              <a:gd name="connsiteY17070" fmla="*/ 1187088 h 6557032"/>
              <a:gd name="connsiteX17071" fmla="*/ 2186609 w 4610101"/>
              <a:gd name="connsiteY17071" fmla="*/ 1181621 h 6557032"/>
              <a:gd name="connsiteX17072" fmla="*/ 2177498 w 4610101"/>
              <a:gd name="connsiteY17072" fmla="*/ 1179799 h 6557032"/>
              <a:gd name="connsiteX17073" fmla="*/ 2175676 w 4610101"/>
              <a:gd name="connsiteY17073" fmla="*/ 1179799 h 6557032"/>
              <a:gd name="connsiteX17074" fmla="*/ 2162921 w 4610101"/>
              <a:gd name="connsiteY17074" fmla="*/ 1185266 h 6557032"/>
              <a:gd name="connsiteX17075" fmla="*/ 2164743 w 4610101"/>
              <a:gd name="connsiteY17075" fmla="*/ 1183443 h 6557032"/>
              <a:gd name="connsiteX17076" fmla="*/ 2142877 w 4610101"/>
              <a:gd name="connsiteY17076" fmla="*/ 1179799 h 6557032"/>
              <a:gd name="connsiteX17077" fmla="*/ 1506938 w 4610101"/>
              <a:gd name="connsiteY17077" fmla="*/ 1176155 h 6557032"/>
              <a:gd name="connsiteX17078" fmla="*/ 1492911 w 4610101"/>
              <a:gd name="connsiteY17078" fmla="*/ 1178877 h 6557032"/>
              <a:gd name="connsiteX17079" fmla="*/ 1498739 w 4610101"/>
              <a:gd name="connsiteY17079" fmla="*/ 1176610 h 6557032"/>
              <a:gd name="connsiteX17080" fmla="*/ 1506938 w 4610101"/>
              <a:gd name="connsiteY17080" fmla="*/ 1176155 h 6557032"/>
              <a:gd name="connsiteX17081" fmla="*/ 1277344 w 4610101"/>
              <a:gd name="connsiteY17081" fmla="*/ 1176155 h 6557032"/>
              <a:gd name="connsiteX17082" fmla="*/ 1277344 w 4610101"/>
              <a:gd name="connsiteY17082" fmla="*/ 1180710 h 6557032"/>
              <a:gd name="connsiteX17083" fmla="*/ 1277344 w 4610101"/>
              <a:gd name="connsiteY17083" fmla="*/ 1183546 h 6557032"/>
              <a:gd name="connsiteX17084" fmla="*/ 1267095 w 4610101"/>
              <a:gd name="connsiteY17084" fmla="*/ 1194376 h 6557032"/>
              <a:gd name="connsiteX17085" fmla="*/ 1262440 w 4610101"/>
              <a:gd name="connsiteY17085" fmla="*/ 1198794 h 6557032"/>
              <a:gd name="connsiteX17086" fmla="*/ 1255478 w 4610101"/>
              <a:gd name="connsiteY17086" fmla="*/ 1198021 h 6557032"/>
              <a:gd name="connsiteX17087" fmla="*/ 1277344 w 4610101"/>
              <a:gd name="connsiteY17087" fmla="*/ 1176155 h 6557032"/>
              <a:gd name="connsiteX17088" fmla="*/ 1197169 w 4610101"/>
              <a:gd name="connsiteY17088" fmla="*/ 1176155 h 6557032"/>
              <a:gd name="connsiteX17089" fmla="*/ 1193525 w 4610101"/>
              <a:gd name="connsiteY17089" fmla="*/ 1181621 h 6557032"/>
              <a:gd name="connsiteX17090" fmla="*/ 1189880 w 4610101"/>
              <a:gd name="connsiteY17090" fmla="*/ 1181621 h 6557032"/>
              <a:gd name="connsiteX17091" fmla="*/ 1193525 w 4610101"/>
              <a:gd name="connsiteY17091" fmla="*/ 1183443 h 6557032"/>
              <a:gd name="connsiteX17092" fmla="*/ 1200814 w 4610101"/>
              <a:gd name="connsiteY17092" fmla="*/ 1179799 h 6557032"/>
              <a:gd name="connsiteX17093" fmla="*/ 1197169 w 4610101"/>
              <a:gd name="connsiteY17093" fmla="*/ 1176155 h 6557032"/>
              <a:gd name="connsiteX17094" fmla="*/ 1102416 w 4610101"/>
              <a:gd name="connsiteY17094" fmla="*/ 1176155 h 6557032"/>
              <a:gd name="connsiteX17095" fmla="*/ 1124282 w 4610101"/>
              <a:gd name="connsiteY17095" fmla="*/ 1187088 h 6557032"/>
              <a:gd name="connsiteX17096" fmla="*/ 1102416 w 4610101"/>
              <a:gd name="connsiteY17096" fmla="*/ 1176155 h 6557032"/>
              <a:gd name="connsiteX17097" fmla="*/ 896510 w 4610101"/>
              <a:gd name="connsiteY17097" fmla="*/ 1176155 h 6557032"/>
              <a:gd name="connsiteX17098" fmla="*/ 891043 w 4610101"/>
              <a:gd name="connsiteY17098" fmla="*/ 1183443 h 6557032"/>
              <a:gd name="connsiteX17099" fmla="*/ 896510 w 4610101"/>
              <a:gd name="connsiteY17099" fmla="*/ 1187088 h 6557032"/>
              <a:gd name="connsiteX17100" fmla="*/ 896510 w 4610101"/>
              <a:gd name="connsiteY17100" fmla="*/ 1176155 h 6557032"/>
              <a:gd name="connsiteX17101" fmla="*/ 812690 w 4610101"/>
              <a:gd name="connsiteY17101" fmla="*/ 1176155 h 6557032"/>
              <a:gd name="connsiteX17102" fmla="*/ 818156 w 4610101"/>
              <a:gd name="connsiteY17102" fmla="*/ 1181621 h 6557032"/>
              <a:gd name="connsiteX17103" fmla="*/ 818156 w 4610101"/>
              <a:gd name="connsiteY17103" fmla="*/ 1176155 h 6557032"/>
              <a:gd name="connsiteX17104" fmla="*/ 812690 w 4610101"/>
              <a:gd name="connsiteY17104" fmla="*/ 1176155 h 6557032"/>
              <a:gd name="connsiteX17105" fmla="*/ 284259 w 4610101"/>
              <a:gd name="connsiteY17105" fmla="*/ 1176155 h 6557032"/>
              <a:gd name="connsiteX17106" fmla="*/ 291549 w 4610101"/>
              <a:gd name="connsiteY17106" fmla="*/ 1177977 h 6557032"/>
              <a:gd name="connsiteX17107" fmla="*/ 284259 w 4610101"/>
              <a:gd name="connsiteY17107" fmla="*/ 1176155 h 6557032"/>
              <a:gd name="connsiteX17108" fmla="*/ 1394631 w 4610101"/>
              <a:gd name="connsiteY17108" fmla="*/ 1175890 h 6557032"/>
              <a:gd name="connsiteX17109" fmla="*/ 1391686 w 4610101"/>
              <a:gd name="connsiteY17109" fmla="*/ 1178204 h 6557032"/>
              <a:gd name="connsiteX17110" fmla="*/ 1386365 w 4610101"/>
              <a:gd name="connsiteY17110" fmla="*/ 1179682 h 6557032"/>
              <a:gd name="connsiteX17111" fmla="*/ 1389636 w 4610101"/>
              <a:gd name="connsiteY17111" fmla="*/ 1177066 h 6557032"/>
              <a:gd name="connsiteX17112" fmla="*/ 3205204 w 4610101"/>
              <a:gd name="connsiteY17112" fmla="*/ 1174332 h 6557032"/>
              <a:gd name="connsiteX17113" fmla="*/ 3207027 w 4610101"/>
              <a:gd name="connsiteY17113" fmla="*/ 1181621 h 6557032"/>
              <a:gd name="connsiteX17114" fmla="*/ 3205204 w 4610101"/>
              <a:gd name="connsiteY17114" fmla="*/ 1174332 h 6557032"/>
              <a:gd name="connsiteX17115" fmla="*/ 2899079 w 4610101"/>
              <a:gd name="connsiteY17115" fmla="*/ 1174332 h 6557032"/>
              <a:gd name="connsiteX17116" fmla="*/ 2891790 w 4610101"/>
              <a:gd name="connsiteY17116" fmla="*/ 1181621 h 6557032"/>
              <a:gd name="connsiteX17117" fmla="*/ 2860813 w 4610101"/>
              <a:gd name="connsiteY17117" fmla="*/ 1194376 h 6557032"/>
              <a:gd name="connsiteX17118" fmla="*/ 2864458 w 4610101"/>
              <a:gd name="connsiteY17118" fmla="*/ 1201665 h 6557032"/>
              <a:gd name="connsiteX17119" fmla="*/ 2857169 w 4610101"/>
              <a:gd name="connsiteY17119" fmla="*/ 1208954 h 6557032"/>
              <a:gd name="connsiteX17120" fmla="*/ 2858991 w 4610101"/>
              <a:gd name="connsiteY17120" fmla="*/ 1219887 h 6557032"/>
              <a:gd name="connsiteX17121" fmla="*/ 2860813 w 4610101"/>
              <a:gd name="connsiteY17121" fmla="*/ 1234464 h 6557032"/>
              <a:gd name="connsiteX17122" fmla="*/ 2853525 w 4610101"/>
              <a:gd name="connsiteY17122" fmla="*/ 1219887 h 6557032"/>
              <a:gd name="connsiteX17123" fmla="*/ 2851703 w 4610101"/>
              <a:gd name="connsiteY17123" fmla="*/ 1228998 h 6557032"/>
              <a:gd name="connsiteX17124" fmla="*/ 2846236 w 4610101"/>
              <a:gd name="connsiteY17124" fmla="*/ 1230820 h 6557032"/>
              <a:gd name="connsiteX17125" fmla="*/ 2838947 w 4610101"/>
              <a:gd name="connsiteY17125" fmla="*/ 1225353 h 6557032"/>
              <a:gd name="connsiteX17126" fmla="*/ 2835303 w 4610101"/>
              <a:gd name="connsiteY17126" fmla="*/ 1241753 h 6557032"/>
              <a:gd name="connsiteX17127" fmla="*/ 2829837 w 4610101"/>
              <a:gd name="connsiteY17127" fmla="*/ 1228998 h 6557032"/>
              <a:gd name="connsiteX17128" fmla="*/ 2818903 w 4610101"/>
              <a:gd name="connsiteY17128" fmla="*/ 1227175 h 6557032"/>
              <a:gd name="connsiteX17129" fmla="*/ 2815259 w 4610101"/>
              <a:gd name="connsiteY17129" fmla="*/ 1232642 h 6557032"/>
              <a:gd name="connsiteX17130" fmla="*/ 2838947 w 4610101"/>
              <a:gd name="connsiteY17130" fmla="*/ 1247219 h 6557032"/>
              <a:gd name="connsiteX17131" fmla="*/ 2822548 w 4610101"/>
              <a:gd name="connsiteY17131" fmla="*/ 1250864 h 6557032"/>
              <a:gd name="connsiteX17132" fmla="*/ 2818903 w 4610101"/>
              <a:gd name="connsiteY17132" fmla="*/ 1243575 h 6557032"/>
              <a:gd name="connsiteX17133" fmla="*/ 2809793 w 4610101"/>
              <a:gd name="connsiteY17133" fmla="*/ 1245397 h 6557032"/>
              <a:gd name="connsiteX17134" fmla="*/ 2816854 w 4610101"/>
              <a:gd name="connsiteY17134" fmla="*/ 1261569 h 6557032"/>
              <a:gd name="connsiteX17135" fmla="*/ 2818398 w 4610101"/>
              <a:gd name="connsiteY17135" fmla="*/ 1267066 h 6557032"/>
              <a:gd name="connsiteX17136" fmla="*/ 2814804 w 4610101"/>
              <a:gd name="connsiteY17136" fmla="*/ 1265669 h 6557032"/>
              <a:gd name="connsiteX17137" fmla="*/ 2813437 w 4610101"/>
              <a:gd name="connsiteY17137" fmla="*/ 1254508 h 6557032"/>
              <a:gd name="connsiteX17138" fmla="*/ 2811615 w 4610101"/>
              <a:gd name="connsiteY17138" fmla="*/ 1274552 h 6557032"/>
              <a:gd name="connsiteX17139" fmla="*/ 2818552 w 4610101"/>
              <a:gd name="connsiteY17139" fmla="*/ 1267614 h 6557032"/>
              <a:gd name="connsiteX17140" fmla="*/ 2822548 w 4610101"/>
              <a:gd name="connsiteY17140" fmla="*/ 1281841 h 6557032"/>
              <a:gd name="connsiteX17141" fmla="*/ 2824370 w 4610101"/>
              <a:gd name="connsiteY17141" fmla="*/ 1278196 h 6557032"/>
              <a:gd name="connsiteX17142" fmla="*/ 2835303 w 4610101"/>
              <a:gd name="connsiteY17142" fmla="*/ 1292774 h 6557032"/>
              <a:gd name="connsiteX17143" fmla="*/ 2855347 w 4610101"/>
              <a:gd name="connsiteY17143" fmla="*/ 1281841 h 6557032"/>
              <a:gd name="connsiteX17144" fmla="*/ 2853525 w 4610101"/>
              <a:gd name="connsiteY17144" fmla="*/ 1274552 h 6557032"/>
              <a:gd name="connsiteX17145" fmla="*/ 2858991 w 4610101"/>
              <a:gd name="connsiteY17145" fmla="*/ 1285485 h 6557032"/>
              <a:gd name="connsiteX17146" fmla="*/ 2866280 w 4610101"/>
              <a:gd name="connsiteY17146" fmla="*/ 1289129 h 6557032"/>
              <a:gd name="connsiteX17147" fmla="*/ 2869924 w 4610101"/>
              <a:gd name="connsiteY17147" fmla="*/ 1280018 h 6557032"/>
              <a:gd name="connsiteX17148" fmla="*/ 2886324 w 4610101"/>
              <a:gd name="connsiteY17148" fmla="*/ 1278196 h 6557032"/>
              <a:gd name="connsiteX17149" fmla="*/ 2873569 w 4610101"/>
              <a:gd name="connsiteY17149" fmla="*/ 1269085 h 6557032"/>
              <a:gd name="connsiteX17150" fmla="*/ 2871747 w 4610101"/>
              <a:gd name="connsiteY17150" fmla="*/ 1258152 h 6557032"/>
              <a:gd name="connsiteX17151" fmla="*/ 2855347 w 4610101"/>
              <a:gd name="connsiteY17151" fmla="*/ 1247219 h 6557032"/>
              <a:gd name="connsiteX17152" fmla="*/ 2862636 w 4610101"/>
              <a:gd name="connsiteY17152" fmla="*/ 1254508 h 6557032"/>
              <a:gd name="connsiteX17153" fmla="*/ 2877213 w 4610101"/>
              <a:gd name="connsiteY17153" fmla="*/ 1256330 h 6557032"/>
              <a:gd name="connsiteX17154" fmla="*/ 2868102 w 4610101"/>
              <a:gd name="connsiteY17154" fmla="*/ 1243575 h 6557032"/>
              <a:gd name="connsiteX17155" fmla="*/ 2873569 w 4610101"/>
              <a:gd name="connsiteY17155" fmla="*/ 1234464 h 6557032"/>
              <a:gd name="connsiteX17156" fmla="*/ 2871747 w 4610101"/>
              <a:gd name="connsiteY17156" fmla="*/ 1239931 h 6557032"/>
              <a:gd name="connsiteX17157" fmla="*/ 2875391 w 4610101"/>
              <a:gd name="connsiteY17157" fmla="*/ 1247219 h 6557032"/>
              <a:gd name="connsiteX17158" fmla="*/ 2879035 w 4610101"/>
              <a:gd name="connsiteY17158" fmla="*/ 1241753 h 6557032"/>
              <a:gd name="connsiteX17159" fmla="*/ 2880857 w 4610101"/>
              <a:gd name="connsiteY17159" fmla="*/ 1256330 h 6557032"/>
              <a:gd name="connsiteX17160" fmla="*/ 2888146 w 4610101"/>
              <a:gd name="connsiteY17160" fmla="*/ 1261797 h 6557032"/>
              <a:gd name="connsiteX17161" fmla="*/ 2886324 w 4610101"/>
              <a:gd name="connsiteY17161" fmla="*/ 1270908 h 6557032"/>
              <a:gd name="connsiteX17162" fmla="*/ 2893613 w 4610101"/>
              <a:gd name="connsiteY17162" fmla="*/ 1272730 h 6557032"/>
              <a:gd name="connsiteX17163" fmla="*/ 2897257 w 4610101"/>
              <a:gd name="connsiteY17163" fmla="*/ 1261797 h 6557032"/>
              <a:gd name="connsiteX17164" fmla="*/ 2902724 w 4610101"/>
              <a:gd name="connsiteY17164" fmla="*/ 1265441 h 6557032"/>
              <a:gd name="connsiteX17165" fmla="*/ 2931878 w 4610101"/>
              <a:gd name="connsiteY17165" fmla="*/ 1234464 h 6557032"/>
              <a:gd name="connsiteX17166" fmla="*/ 2920945 w 4610101"/>
              <a:gd name="connsiteY17166" fmla="*/ 1201665 h 6557032"/>
              <a:gd name="connsiteX17167" fmla="*/ 2922767 w 4610101"/>
              <a:gd name="connsiteY17167" fmla="*/ 1187088 h 6557032"/>
              <a:gd name="connsiteX17168" fmla="*/ 2920945 w 4610101"/>
              <a:gd name="connsiteY17168" fmla="*/ 1192554 h 6557032"/>
              <a:gd name="connsiteX17169" fmla="*/ 2910012 w 4610101"/>
              <a:gd name="connsiteY17169" fmla="*/ 1183443 h 6557032"/>
              <a:gd name="connsiteX17170" fmla="*/ 2911834 w 4610101"/>
              <a:gd name="connsiteY17170" fmla="*/ 1190732 h 6557032"/>
              <a:gd name="connsiteX17171" fmla="*/ 2919123 w 4610101"/>
              <a:gd name="connsiteY17171" fmla="*/ 1192554 h 6557032"/>
              <a:gd name="connsiteX17172" fmla="*/ 2917301 w 4610101"/>
              <a:gd name="connsiteY17172" fmla="*/ 1192554 h 6557032"/>
              <a:gd name="connsiteX17173" fmla="*/ 2919123 w 4610101"/>
              <a:gd name="connsiteY17173" fmla="*/ 1196199 h 6557032"/>
              <a:gd name="connsiteX17174" fmla="*/ 2906368 w 4610101"/>
              <a:gd name="connsiteY17174" fmla="*/ 1203487 h 6557032"/>
              <a:gd name="connsiteX17175" fmla="*/ 2899079 w 4610101"/>
              <a:gd name="connsiteY17175" fmla="*/ 1194376 h 6557032"/>
              <a:gd name="connsiteX17176" fmla="*/ 2897257 w 4610101"/>
              <a:gd name="connsiteY17176" fmla="*/ 1198021 h 6557032"/>
              <a:gd name="connsiteX17177" fmla="*/ 2899079 w 4610101"/>
              <a:gd name="connsiteY17177" fmla="*/ 1174332 h 6557032"/>
              <a:gd name="connsiteX17178" fmla="*/ 2441713 w 4610101"/>
              <a:gd name="connsiteY17178" fmla="*/ 1174332 h 6557032"/>
              <a:gd name="connsiteX17179" fmla="*/ 2427136 w 4610101"/>
              <a:gd name="connsiteY17179" fmla="*/ 1187088 h 6557032"/>
              <a:gd name="connsiteX17180" fmla="*/ 2441713 w 4610101"/>
              <a:gd name="connsiteY17180" fmla="*/ 1174332 h 6557032"/>
              <a:gd name="connsiteX17181" fmla="*/ 626828 w 4610101"/>
              <a:gd name="connsiteY17181" fmla="*/ 1174332 h 6557032"/>
              <a:gd name="connsiteX17182" fmla="*/ 621362 w 4610101"/>
              <a:gd name="connsiteY17182" fmla="*/ 1176155 h 6557032"/>
              <a:gd name="connsiteX17183" fmla="*/ 628650 w 4610101"/>
              <a:gd name="connsiteY17183" fmla="*/ 1179799 h 6557032"/>
              <a:gd name="connsiteX17184" fmla="*/ 626828 w 4610101"/>
              <a:gd name="connsiteY17184" fmla="*/ 1174332 h 6557032"/>
              <a:gd name="connsiteX17185" fmla="*/ 497454 w 4610101"/>
              <a:gd name="connsiteY17185" fmla="*/ 1174332 h 6557032"/>
              <a:gd name="connsiteX17186" fmla="*/ 491987 w 4610101"/>
              <a:gd name="connsiteY17186" fmla="*/ 1177977 h 6557032"/>
              <a:gd name="connsiteX17187" fmla="*/ 512031 w 4610101"/>
              <a:gd name="connsiteY17187" fmla="*/ 1188910 h 6557032"/>
              <a:gd name="connsiteX17188" fmla="*/ 497454 w 4610101"/>
              <a:gd name="connsiteY17188" fmla="*/ 1174332 h 6557032"/>
              <a:gd name="connsiteX17189" fmla="*/ 276971 w 4610101"/>
              <a:gd name="connsiteY17189" fmla="*/ 1174332 h 6557032"/>
              <a:gd name="connsiteX17190" fmla="*/ 284259 w 4610101"/>
              <a:gd name="connsiteY17190" fmla="*/ 1179799 h 6557032"/>
              <a:gd name="connsiteX17191" fmla="*/ 276971 w 4610101"/>
              <a:gd name="connsiteY17191" fmla="*/ 1174332 h 6557032"/>
              <a:gd name="connsiteX17192" fmla="*/ 1379893 w 4610101"/>
              <a:gd name="connsiteY17192" fmla="*/ 1174032 h 6557032"/>
              <a:gd name="connsiteX17193" fmla="*/ 1381208 w 4610101"/>
              <a:gd name="connsiteY17193" fmla="*/ 1177977 h 6557032"/>
              <a:gd name="connsiteX17194" fmla="*/ 1379386 w 4610101"/>
              <a:gd name="connsiteY17194" fmla="*/ 1178705 h 6557032"/>
              <a:gd name="connsiteX17195" fmla="*/ 1379386 w 4610101"/>
              <a:gd name="connsiteY17195" fmla="*/ 1174560 h 6557032"/>
              <a:gd name="connsiteX17196" fmla="*/ 2966272 w 4610101"/>
              <a:gd name="connsiteY17196" fmla="*/ 1173877 h 6557032"/>
              <a:gd name="connsiteX17197" fmla="*/ 2966377 w 4610101"/>
              <a:gd name="connsiteY17197" fmla="*/ 1174087 h 6557032"/>
              <a:gd name="connsiteX17198" fmla="*/ 2965515 w 4610101"/>
              <a:gd name="connsiteY17198" fmla="*/ 1174785 h 6557032"/>
              <a:gd name="connsiteX17199" fmla="*/ 456455 w 4610101"/>
              <a:gd name="connsiteY17199" fmla="*/ 1173876 h 6557032"/>
              <a:gd name="connsiteX17200" fmla="*/ 453722 w 4610101"/>
              <a:gd name="connsiteY17200" fmla="*/ 1176155 h 6557032"/>
              <a:gd name="connsiteX17201" fmla="*/ 464655 w 4610101"/>
              <a:gd name="connsiteY17201" fmla="*/ 1174332 h 6557032"/>
              <a:gd name="connsiteX17202" fmla="*/ 456455 w 4610101"/>
              <a:gd name="connsiteY17202" fmla="*/ 1173876 h 6557032"/>
              <a:gd name="connsiteX17203" fmla="*/ 696555 w 4610101"/>
              <a:gd name="connsiteY17203" fmla="*/ 1173535 h 6557032"/>
              <a:gd name="connsiteX17204" fmla="*/ 688782 w 4610101"/>
              <a:gd name="connsiteY17204" fmla="*/ 1174332 h 6557032"/>
              <a:gd name="connsiteX17205" fmla="*/ 710648 w 4610101"/>
              <a:gd name="connsiteY17205" fmla="*/ 1188910 h 6557032"/>
              <a:gd name="connsiteX17206" fmla="*/ 696555 w 4610101"/>
              <a:gd name="connsiteY17206" fmla="*/ 1173535 h 6557032"/>
              <a:gd name="connsiteX17207" fmla="*/ 1178263 w 4610101"/>
              <a:gd name="connsiteY17207" fmla="*/ 1173193 h 6557032"/>
              <a:gd name="connsiteX17208" fmla="*/ 1177125 w 4610101"/>
              <a:gd name="connsiteY17208" fmla="*/ 1176155 h 6557032"/>
              <a:gd name="connsiteX17209" fmla="*/ 1180769 w 4610101"/>
              <a:gd name="connsiteY17209" fmla="*/ 1174332 h 6557032"/>
              <a:gd name="connsiteX17210" fmla="*/ 1178263 w 4610101"/>
              <a:gd name="connsiteY17210" fmla="*/ 1173193 h 6557032"/>
              <a:gd name="connsiteX17211" fmla="*/ 1458367 w 4610101"/>
              <a:gd name="connsiteY17211" fmla="*/ 1172517 h 6557032"/>
              <a:gd name="connsiteX17212" fmla="*/ 1459562 w 4610101"/>
              <a:gd name="connsiteY17212" fmla="*/ 1177977 h 6557032"/>
              <a:gd name="connsiteX17213" fmla="*/ 1458158 w 4610101"/>
              <a:gd name="connsiteY17213" fmla="*/ 1178591 h 6557032"/>
              <a:gd name="connsiteX17214" fmla="*/ 3022987 w 4610101"/>
              <a:gd name="connsiteY17214" fmla="*/ 1172510 h 6557032"/>
              <a:gd name="connsiteX17215" fmla="*/ 3019343 w 4610101"/>
              <a:gd name="connsiteY17215" fmla="*/ 1174332 h 6557032"/>
              <a:gd name="connsiteX17216" fmla="*/ 3026631 w 4610101"/>
              <a:gd name="connsiteY17216" fmla="*/ 1179799 h 6557032"/>
              <a:gd name="connsiteX17217" fmla="*/ 3022987 w 4610101"/>
              <a:gd name="connsiteY17217" fmla="*/ 1172510 h 6557032"/>
              <a:gd name="connsiteX17218" fmla="*/ 1419474 w 4610101"/>
              <a:gd name="connsiteY17218" fmla="*/ 1172510 h 6557032"/>
              <a:gd name="connsiteX17219" fmla="*/ 1419988 w 4610101"/>
              <a:gd name="connsiteY17219" fmla="*/ 1173949 h 6557032"/>
              <a:gd name="connsiteX17220" fmla="*/ 1419474 w 4610101"/>
              <a:gd name="connsiteY17220" fmla="*/ 1174332 h 6557032"/>
              <a:gd name="connsiteX17221" fmla="*/ 1418664 w 4610101"/>
              <a:gd name="connsiteY17221" fmla="*/ 1174130 h 6557032"/>
              <a:gd name="connsiteX17222" fmla="*/ 639583 w 4610101"/>
              <a:gd name="connsiteY17222" fmla="*/ 1172510 h 6557032"/>
              <a:gd name="connsiteX17223" fmla="*/ 643228 w 4610101"/>
              <a:gd name="connsiteY17223" fmla="*/ 1179799 h 6557032"/>
              <a:gd name="connsiteX17224" fmla="*/ 643228 w 4610101"/>
              <a:gd name="connsiteY17224" fmla="*/ 1172510 h 6557032"/>
              <a:gd name="connsiteX17225" fmla="*/ 639583 w 4610101"/>
              <a:gd name="connsiteY17225" fmla="*/ 1172510 h 6557032"/>
              <a:gd name="connsiteX17226" fmla="*/ 586741 w 4610101"/>
              <a:gd name="connsiteY17226" fmla="*/ 1172510 h 6557032"/>
              <a:gd name="connsiteX17227" fmla="*/ 594030 w 4610101"/>
              <a:gd name="connsiteY17227" fmla="*/ 1179799 h 6557032"/>
              <a:gd name="connsiteX17228" fmla="*/ 586741 w 4610101"/>
              <a:gd name="connsiteY17228" fmla="*/ 1172510 h 6557032"/>
              <a:gd name="connsiteX17229" fmla="*/ 552119 w 4610101"/>
              <a:gd name="connsiteY17229" fmla="*/ 1172510 h 6557032"/>
              <a:gd name="connsiteX17230" fmla="*/ 555763 w 4610101"/>
              <a:gd name="connsiteY17230" fmla="*/ 1176155 h 6557032"/>
              <a:gd name="connsiteX17231" fmla="*/ 552119 w 4610101"/>
              <a:gd name="connsiteY17231" fmla="*/ 1172510 h 6557032"/>
              <a:gd name="connsiteX17232" fmla="*/ 249638 w 4610101"/>
              <a:gd name="connsiteY17232" fmla="*/ 1172510 h 6557032"/>
              <a:gd name="connsiteX17233" fmla="*/ 258749 w 4610101"/>
              <a:gd name="connsiteY17233" fmla="*/ 1177977 h 6557032"/>
              <a:gd name="connsiteX17234" fmla="*/ 249638 w 4610101"/>
              <a:gd name="connsiteY17234" fmla="*/ 1172510 h 6557032"/>
              <a:gd name="connsiteX17235" fmla="*/ 224378 w 4610101"/>
              <a:gd name="connsiteY17235" fmla="*/ 1172484 h 6557032"/>
              <a:gd name="connsiteX17236" fmla="*/ 224957 w 4610101"/>
              <a:gd name="connsiteY17236" fmla="*/ 1172986 h 6557032"/>
              <a:gd name="connsiteX17237" fmla="*/ 224128 w 4610101"/>
              <a:gd name="connsiteY17237" fmla="*/ 1172510 h 6557032"/>
              <a:gd name="connsiteX17238" fmla="*/ 477638 w 4610101"/>
              <a:gd name="connsiteY17238" fmla="*/ 1171143 h 6557032"/>
              <a:gd name="connsiteX17239" fmla="*/ 473766 w 4610101"/>
              <a:gd name="connsiteY17239" fmla="*/ 1172510 h 6557032"/>
              <a:gd name="connsiteX17240" fmla="*/ 482876 w 4610101"/>
              <a:gd name="connsiteY17240" fmla="*/ 1172510 h 6557032"/>
              <a:gd name="connsiteX17241" fmla="*/ 477638 w 4610101"/>
              <a:gd name="connsiteY17241" fmla="*/ 1171143 h 6557032"/>
              <a:gd name="connsiteX17242" fmla="*/ 3248937 w 4610101"/>
              <a:gd name="connsiteY17242" fmla="*/ 1170688 h 6557032"/>
              <a:gd name="connsiteX17243" fmla="*/ 3254403 w 4610101"/>
              <a:gd name="connsiteY17243" fmla="*/ 1179799 h 6557032"/>
              <a:gd name="connsiteX17244" fmla="*/ 3256225 w 4610101"/>
              <a:gd name="connsiteY17244" fmla="*/ 1170688 h 6557032"/>
              <a:gd name="connsiteX17245" fmla="*/ 3248937 w 4610101"/>
              <a:gd name="connsiteY17245" fmla="*/ 1170688 h 6557032"/>
              <a:gd name="connsiteX17246" fmla="*/ 3044853 w 4610101"/>
              <a:gd name="connsiteY17246" fmla="*/ 1170688 h 6557032"/>
              <a:gd name="connsiteX17247" fmla="*/ 3046675 w 4610101"/>
              <a:gd name="connsiteY17247" fmla="*/ 1177977 h 6557032"/>
              <a:gd name="connsiteX17248" fmla="*/ 3041209 w 4610101"/>
              <a:gd name="connsiteY17248" fmla="*/ 1172510 h 6557032"/>
              <a:gd name="connsiteX17249" fmla="*/ 3039387 w 4610101"/>
              <a:gd name="connsiteY17249" fmla="*/ 1181621 h 6557032"/>
              <a:gd name="connsiteX17250" fmla="*/ 3041209 w 4610101"/>
              <a:gd name="connsiteY17250" fmla="*/ 1176155 h 6557032"/>
              <a:gd name="connsiteX17251" fmla="*/ 3046675 w 4610101"/>
              <a:gd name="connsiteY17251" fmla="*/ 1177977 h 6557032"/>
              <a:gd name="connsiteX17252" fmla="*/ 3044853 w 4610101"/>
              <a:gd name="connsiteY17252" fmla="*/ 1185266 h 6557032"/>
              <a:gd name="connsiteX17253" fmla="*/ 3050319 w 4610101"/>
              <a:gd name="connsiteY17253" fmla="*/ 1185266 h 6557032"/>
              <a:gd name="connsiteX17254" fmla="*/ 3044853 w 4610101"/>
              <a:gd name="connsiteY17254" fmla="*/ 1170688 h 6557032"/>
              <a:gd name="connsiteX17255" fmla="*/ 1998925 w 4610101"/>
              <a:gd name="connsiteY17255" fmla="*/ 1170688 h 6557032"/>
              <a:gd name="connsiteX17256" fmla="*/ 1997103 w 4610101"/>
              <a:gd name="connsiteY17256" fmla="*/ 1185266 h 6557032"/>
              <a:gd name="connsiteX17257" fmla="*/ 1989342 w 4610101"/>
              <a:gd name="connsiteY17257" fmla="*/ 1186261 h 6557032"/>
              <a:gd name="connsiteX17258" fmla="*/ 1862262 w 4610101"/>
              <a:gd name="connsiteY17258" fmla="*/ 1170688 h 6557032"/>
              <a:gd name="connsiteX17259" fmla="*/ 1863809 w 4610101"/>
              <a:gd name="connsiteY17259" fmla="*/ 1171668 h 6557032"/>
              <a:gd name="connsiteX17260" fmla="*/ 1865906 w 4610101"/>
              <a:gd name="connsiteY17260" fmla="*/ 1183443 h 6557032"/>
              <a:gd name="connsiteX17261" fmla="*/ 1875017 w 4610101"/>
              <a:gd name="connsiteY17261" fmla="*/ 1225353 h 6557032"/>
              <a:gd name="connsiteX17262" fmla="*/ 1869795 w 4610101"/>
              <a:gd name="connsiteY17262" fmla="*/ 1228617 h 6557032"/>
              <a:gd name="connsiteX17263" fmla="*/ 1864767 w 4610101"/>
              <a:gd name="connsiteY17263" fmla="*/ 1204170 h 6557032"/>
              <a:gd name="connsiteX17264" fmla="*/ 1862262 w 4610101"/>
              <a:gd name="connsiteY17264" fmla="*/ 1170688 h 6557032"/>
              <a:gd name="connsiteX17265" fmla="*/ 1401252 w 4610101"/>
              <a:gd name="connsiteY17265" fmla="*/ 1170688 h 6557032"/>
              <a:gd name="connsiteX17266" fmla="*/ 1401252 w 4610101"/>
              <a:gd name="connsiteY17266" fmla="*/ 1172054 h 6557032"/>
              <a:gd name="connsiteX17267" fmla="*/ 1401252 w 4610101"/>
              <a:gd name="connsiteY17267" fmla="*/ 1174332 h 6557032"/>
              <a:gd name="connsiteX17268" fmla="*/ 1394631 w 4610101"/>
              <a:gd name="connsiteY17268" fmla="*/ 1175890 h 6557032"/>
              <a:gd name="connsiteX17269" fmla="*/ 1224501 w 4610101"/>
              <a:gd name="connsiteY17269" fmla="*/ 1170688 h 6557032"/>
              <a:gd name="connsiteX17270" fmla="*/ 1202636 w 4610101"/>
              <a:gd name="connsiteY17270" fmla="*/ 1177977 h 6557032"/>
              <a:gd name="connsiteX17271" fmla="*/ 1208102 w 4610101"/>
              <a:gd name="connsiteY17271" fmla="*/ 1181621 h 6557032"/>
              <a:gd name="connsiteX17272" fmla="*/ 1197169 w 4610101"/>
              <a:gd name="connsiteY17272" fmla="*/ 1185266 h 6557032"/>
              <a:gd name="connsiteX17273" fmla="*/ 1209925 w 4610101"/>
              <a:gd name="connsiteY17273" fmla="*/ 1183443 h 6557032"/>
              <a:gd name="connsiteX17274" fmla="*/ 1208102 w 4610101"/>
              <a:gd name="connsiteY17274" fmla="*/ 1181621 h 6557032"/>
              <a:gd name="connsiteX17275" fmla="*/ 1224501 w 4610101"/>
              <a:gd name="connsiteY17275" fmla="*/ 1170688 h 6557032"/>
              <a:gd name="connsiteX17276" fmla="*/ 1220858 w 4610101"/>
              <a:gd name="connsiteY17276" fmla="*/ 1170688 h 6557032"/>
              <a:gd name="connsiteX17277" fmla="*/ 1202636 w 4610101"/>
              <a:gd name="connsiteY17277" fmla="*/ 1176155 h 6557032"/>
              <a:gd name="connsiteX17278" fmla="*/ 1220858 w 4610101"/>
              <a:gd name="connsiteY17278" fmla="*/ 1170688 h 6557032"/>
              <a:gd name="connsiteX17279" fmla="*/ 861889 w 4610101"/>
              <a:gd name="connsiteY17279" fmla="*/ 1170688 h 6557032"/>
              <a:gd name="connsiteX17280" fmla="*/ 861889 w 4610101"/>
              <a:gd name="connsiteY17280" fmla="*/ 1174880 h 6557032"/>
              <a:gd name="connsiteX17281" fmla="*/ 861223 w 4610101"/>
              <a:gd name="connsiteY17281" fmla="*/ 1172019 h 6557032"/>
              <a:gd name="connsiteX17282" fmla="*/ 841845 w 4610101"/>
              <a:gd name="connsiteY17282" fmla="*/ 1170688 h 6557032"/>
              <a:gd name="connsiteX17283" fmla="*/ 840022 w 4610101"/>
              <a:gd name="connsiteY17283" fmla="*/ 1176155 h 6557032"/>
              <a:gd name="connsiteX17284" fmla="*/ 841845 w 4610101"/>
              <a:gd name="connsiteY17284" fmla="*/ 1170688 h 6557032"/>
              <a:gd name="connsiteX17285" fmla="*/ 630472 w 4610101"/>
              <a:gd name="connsiteY17285" fmla="*/ 1170688 h 6557032"/>
              <a:gd name="connsiteX17286" fmla="*/ 634117 w 4610101"/>
              <a:gd name="connsiteY17286" fmla="*/ 1179799 h 6557032"/>
              <a:gd name="connsiteX17287" fmla="*/ 630472 w 4610101"/>
              <a:gd name="connsiteY17287" fmla="*/ 1170688 h 6557032"/>
              <a:gd name="connsiteX17288" fmla="*/ 588562 w 4610101"/>
              <a:gd name="connsiteY17288" fmla="*/ 1170688 h 6557032"/>
              <a:gd name="connsiteX17289" fmla="*/ 594030 w 4610101"/>
              <a:gd name="connsiteY17289" fmla="*/ 1176155 h 6557032"/>
              <a:gd name="connsiteX17290" fmla="*/ 595852 w 4610101"/>
              <a:gd name="connsiteY17290" fmla="*/ 1170688 h 6557032"/>
              <a:gd name="connsiteX17291" fmla="*/ 588562 w 4610101"/>
              <a:gd name="connsiteY17291" fmla="*/ 1170688 h 6557032"/>
              <a:gd name="connsiteX17292" fmla="*/ 286082 w 4610101"/>
              <a:gd name="connsiteY17292" fmla="*/ 1170688 h 6557032"/>
              <a:gd name="connsiteX17293" fmla="*/ 298837 w 4610101"/>
              <a:gd name="connsiteY17293" fmla="*/ 1172510 h 6557032"/>
              <a:gd name="connsiteX17294" fmla="*/ 286082 w 4610101"/>
              <a:gd name="connsiteY17294" fmla="*/ 1170688 h 6557032"/>
              <a:gd name="connsiteX17295" fmla="*/ 209550 w 4610101"/>
              <a:gd name="connsiteY17295" fmla="*/ 1170688 h 6557032"/>
              <a:gd name="connsiteX17296" fmla="*/ 231416 w 4610101"/>
              <a:gd name="connsiteY17296" fmla="*/ 1190732 h 6557032"/>
              <a:gd name="connsiteX17297" fmla="*/ 209550 w 4610101"/>
              <a:gd name="connsiteY17297" fmla="*/ 1170688 h 6557032"/>
              <a:gd name="connsiteX17298" fmla="*/ 3303109 w 4610101"/>
              <a:gd name="connsiteY17298" fmla="*/ 1169021 h 6557032"/>
              <a:gd name="connsiteX17299" fmla="*/ 3304416 w 4610101"/>
              <a:gd name="connsiteY17299" fmla="*/ 1169962 h 6557032"/>
              <a:gd name="connsiteX17300" fmla="*/ 3299957 w 4610101"/>
              <a:gd name="connsiteY17300" fmla="*/ 1172510 h 6557032"/>
              <a:gd name="connsiteX17301" fmla="*/ 1483250 w 4610101"/>
              <a:gd name="connsiteY17301" fmla="*/ 1168866 h 6557032"/>
              <a:gd name="connsiteX17302" fmla="*/ 1465028 w 4610101"/>
              <a:gd name="connsiteY17302" fmla="*/ 1183443 h 6557032"/>
              <a:gd name="connsiteX17303" fmla="*/ 1466850 w 4610101"/>
              <a:gd name="connsiteY17303" fmla="*/ 1181621 h 6557032"/>
              <a:gd name="connsiteX17304" fmla="*/ 1461384 w 4610101"/>
              <a:gd name="connsiteY17304" fmla="*/ 1181621 h 6557032"/>
              <a:gd name="connsiteX17305" fmla="*/ 1483250 w 4610101"/>
              <a:gd name="connsiteY17305" fmla="*/ 1168866 h 6557032"/>
              <a:gd name="connsiteX17306" fmla="*/ 1157081 w 4610101"/>
              <a:gd name="connsiteY17306" fmla="*/ 1168866 h 6557032"/>
              <a:gd name="connsiteX17307" fmla="*/ 1149792 w 4610101"/>
              <a:gd name="connsiteY17307" fmla="*/ 1172510 h 6557032"/>
              <a:gd name="connsiteX17308" fmla="*/ 1155259 w 4610101"/>
              <a:gd name="connsiteY17308" fmla="*/ 1177977 h 6557032"/>
              <a:gd name="connsiteX17309" fmla="*/ 1157081 w 4610101"/>
              <a:gd name="connsiteY17309" fmla="*/ 1168866 h 6557032"/>
              <a:gd name="connsiteX17310" fmla="*/ 929309 w 4610101"/>
              <a:gd name="connsiteY17310" fmla="*/ 1168866 h 6557032"/>
              <a:gd name="connsiteX17311" fmla="*/ 920198 w 4610101"/>
              <a:gd name="connsiteY17311" fmla="*/ 1179799 h 6557032"/>
              <a:gd name="connsiteX17312" fmla="*/ 931131 w 4610101"/>
              <a:gd name="connsiteY17312" fmla="*/ 1172510 h 6557032"/>
              <a:gd name="connsiteX17313" fmla="*/ 929309 w 4610101"/>
              <a:gd name="connsiteY17313" fmla="*/ 1168866 h 6557032"/>
              <a:gd name="connsiteX17314" fmla="*/ 843667 w 4610101"/>
              <a:gd name="connsiteY17314" fmla="*/ 1168866 h 6557032"/>
              <a:gd name="connsiteX17315" fmla="*/ 845489 w 4610101"/>
              <a:gd name="connsiteY17315" fmla="*/ 1190732 h 6557032"/>
              <a:gd name="connsiteX17316" fmla="*/ 845489 w 4610101"/>
              <a:gd name="connsiteY17316" fmla="*/ 1179799 h 6557032"/>
              <a:gd name="connsiteX17317" fmla="*/ 847311 w 4610101"/>
              <a:gd name="connsiteY17317" fmla="*/ 1176155 h 6557032"/>
              <a:gd name="connsiteX17318" fmla="*/ 843667 w 4610101"/>
              <a:gd name="connsiteY17318" fmla="*/ 1168866 h 6557032"/>
              <a:gd name="connsiteX17319" fmla="*/ 705182 w 4610101"/>
              <a:gd name="connsiteY17319" fmla="*/ 1168866 h 6557032"/>
              <a:gd name="connsiteX17320" fmla="*/ 727048 w 4610101"/>
              <a:gd name="connsiteY17320" fmla="*/ 1190732 h 6557032"/>
              <a:gd name="connsiteX17321" fmla="*/ 705182 w 4610101"/>
              <a:gd name="connsiteY17321" fmla="*/ 1168866 h 6557032"/>
              <a:gd name="connsiteX17322" fmla="*/ 697893 w 4610101"/>
              <a:gd name="connsiteY17322" fmla="*/ 1168866 h 6557032"/>
              <a:gd name="connsiteX17323" fmla="*/ 705182 w 4610101"/>
              <a:gd name="connsiteY17323" fmla="*/ 1174332 h 6557032"/>
              <a:gd name="connsiteX17324" fmla="*/ 701537 w 4610101"/>
              <a:gd name="connsiteY17324" fmla="*/ 1168866 h 6557032"/>
              <a:gd name="connsiteX17325" fmla="*/ 697893 w 4610101"/>
              <a:gd name="connsiteY17325" fmla="*/ 1168866 h 6557032"/>
              <a:gd name="connsiteX17326" fmla="*/ 191329 w 4610101"/>
              <a:gd name="connsiteY17326" fmla="*/ 1168866 h 6557032"/>
              <a:gd name="connsiteX17327" fmla="*/ 220483 w 4610101"/>
              <a:gd name="connsiteY17327" fmla="*/ 1187088 h 6557032"/>
              <a:gd name="connsiteX17328" fmla="*/ 191329 w 4610101"/>
              <a:gd name="connsiteY17328" fmla="*/ 1168866 h 6557032"/>
              <a:gd name="connsiteX17329" fmla="*/ 169462 w 4610101"/>
              <a:gd name="connsiteY17329" fmla="*/ 1168866 h 6557032"/>
              <a:gd name="connsiteX17330" fmla="*/ 180396 w 4610101"/>
              <a:gd name="connsiteY17330" fmla="*/ 1179799 h 6557032"/>
              <a:gd name="connsiteX17331" fmla="*/ 169462 w 4610101"/>
              <a:gd name="connsiteY17331" fmla="*/ 1168866 h 6557032"/>
              <a:gd name="connsiteX17332" fmla="*/ 475361 w 4610101"/>
              <a:gd name="connsiteY17332" fmla="*/ 1168183 h 6557032"/>
              <a:gd name="connsiteX17333" fmla="*/ 471943 w 4610101"/>
              <a:gd name="connsiteY17333" fmla="*/ 1168866 h 6557032"/>
              <a:gd name="connsiteX17334" fmla="*/ 477410 w 4610101"/>
              <a:gd name="connsiteY17334" fmla="*/ 1168866 h 6557032"/>
              <a:gd name="connsiteX17335" fmla="*/ 475361 w 4610101"/>
              <a:gd name="connsiteY17335" fmla="*/ 1168183 h 6557032"/>
              <a:gd name="connsiteX17336" fmla="*/ 213088 w 4610101"/>
              <a:gd name="connsiteY17336" fmla="*/ 1167616 h 6557032"/>
              <a:gd name="connsiteX17337" fmla="*/ 213802 w 4610101"/>
              <a:gd name="connsiteY17337" fmla="*/ 1167854 h 6557032"/>
              <a:gd name="connsiteX17338" fmla="*/ 215017 w 4610101"/>
              <a:gd name="connsiteY17338" fmla="*/ 1168866 h 6557032"/>
              <a:gd name="connsiteX17339" fmla="*/ 2412559 w 4610101"/>
              <a:gd name="connsiteY17339" fmla="*/ 1167044 h 6557032"/>
              <a:gd name="connsiteX17340" fmla="*/ 2405270 w 4610101"/>
              <a:gd name="connsiteY17340" fmla="*/ 1190732 h 6557032"/>
              <a:gd name="connsiteX17341" fmla="*/ 2412559 w 4610101"/>
              <a:gd name="connsiteY17341" fmla="*/ 1190732 h 6557032"/>
              <a:gd name="connsiteX17342" fmla="*/ 2416203 w 4610101"/>
              <a:gd name="connsiteY17342" fmla="*/ 1176155 h 6557032"/>
              <a:gd name="connsiteX17343" fmla="*/ 2410737 w 4610101"/>
              <a:gd name="connsiteY17343" fmla="*/ 1177977 h 6557032"/>
              <a:gd name="connsiteX17344" fmla="*/ 2412559 w 4610101"/>
              <a:gd name="connsiteY17344" fmla="*/ 1167044 h 6557032"/>
              <a:gd name="connsiteX17345" fmla="*/ 2210297 w 4610101"/>
              <a:gd name="connsiteY17345" fmla="*/ 1167044 h 6557032"/>
              <a:gd name="connsiteX17346" fmla="*/ 2210297 w 4610101"/>
              <a:gd name="connsiteY17346" fmla="*/ 1172510 h 6557032"/>
              <a:gd name="connsiteX17347" fmla="*/ 2217586 w 4610101"/>
              <a:gd name="connsiteY17347" fmla="*/ 1172510 h 6557032"/>
              <a:gd name="connsiteX17348" fmla="*/ 2210297 w 4610101"/>
              <a:gd name="connsiteY17348" fmla="*/ 1167044 h 6557032"/>
              <a:gd name="connsiteX17349" fmla="*/ 2060879 w 4610101"/>
              <a:gd name="connsiteY17349" fmla="*/ 1167044 h 6557032"/>
              <a:gd name="connsiteX17350" fmla="*/ 2059057 w 4610101"/>
              <a:gd name="connsiteY17350" fmla="*/ 1177977 h 6557032"/>
              <a:gd name="connsiteX17351" fmla="*/ 2075457 w 4610101"/>
              <a:gd name="connsiteY17351" fmla="*/ 1170688 h 6557032"/>
              <a:gd name="connsiteX17352" fmla="*/ 1140681 w 4610101"/>
              <a:gd name="connsiteY17352" fmla="*/ 1167044 h 6557032"/>
              <a:gd name="connsiteX17353" fmla="*/ 1137037 w 4610101"/>
              <a:gd name="connsiteY17353" fmla="*/ 1170688 h 6557032"/>
              <a:gd name="connsiteX17354" fmla="*/ 1144326 w 4610101"/>
              <a:gd name="connsiteY17354" fmla="*/ 1176155 h 6557032"/>
              <a:gd name="connsiteX17355" fmla="*/ 1149792 w 4610101"/>
              <a:gd name="connsiteY17355" fmla="*/ 1170688 h 6557032"/>
              <a:gd name="connsiteX17356" fmla="*/ 1144326 w 4610101"/>
              <a:gd name="connsiteY17356" fmla="*/ 1167044 h 6557032"/>
              <a:gd name="connsiteX17357" fmla="*/ 1140681 w 4610101"/>
              <a:gd name="connsiteY17357" fmla="*/ 1167044 h 6557032"/>
              <a:gd name="connsiteX17358" fmla="*/ 1111526 w 4610101"/>
              <a:gd name="connsiteY17358" fmla="*/ 1167044 h 6557032"/>
              <a:gd name="connsiteX17359" fmla="*/ 1124282 w 4610101"/>
              <a:gd name="connsiteY17359" fmla="*/ 1170688 h 6557032"/>
              <a:gd name="connsiteX17360" fmla="*/ 1138859 w 4610101"/>
              <a:gd name="connsiteY17360" fmla="*/ 1181621 h 6557032"/>
              <a:gd name="connsiteX17361" fmla="*/ 1147970 w 4610101"/>
              <a:gd name="connsiteY17361" fmla="*/ 1179799 h 6557032"/>
              <a:gd name="connsiteX17362" fmla="*/ 1137037 w 4610101"/>
              <a:gd name="connsiteY17362" fmla="*/ 1174332 h 6557032"/>
              <a:gd name="connsiteX17363" fmla="*/ 1137037 w 4610101"/>
              <a:gd name="connsiteY17363" fmla="*/ 1177977 h 6557032"/>
              <a:gd name="connsiteX17364" fmla="*/ 1133393 w 4610101"/>
              <a:gd name="connsiteY17364" fmla="*/ 1174332 h 6557032"/>
              <a:gd name="connsiteX17365" fmla="*/ 1135215 w 4610101"/>
              <a:gd name="connsiteY17365" fmla="*/ 1172510 h 6557032"/>
              <a:gd name="connsiteX17366" fmla="*/ 1111526 w 4610101"/>
              <a:gd name="connsiteY17366" fmla="*/ 1167044 h 6557032"/>
              <a:gd name="connsiteX17367" fmla="*/ 867355 w 4610101"/>
              <a:gd name="connsiteY17367" fmla="*/ 1167044 h 6557032"/>
              <a:gd name="connsiteX17368" fmla="*/ 868721 w 4610101"/>
              <a:gd name="connsiteY17368" fmla="*/ 1176154 h 6557032"/>
              <a:gd name="connsiteX17369" fmla="*/ 868641 w 4610101"/>
              <a:gd name="connsiteY17369" fmla="*/ 1176691 h 6557032"/>
              <a:gd name="connsiteX17370" fmla="*/ 479232 w 4610101"/>
              <a:gd name="connsiteY17370" fmla="*/ 1167044 h 6557032"/>
              <a:gd name="connsiteX17371" fmla="*/ 490165 w 4610101"/>
              <a:gd name="connsiteY17371" fmla="*/ 1168866 h 6557032"/>
              <a:gd name="connsiteX17372" fmla="*/ 479232 w 4610101"/>
              <a:gd name="connsiteY17372" fmla="*/ 1167044 h 6557032"/>
              <a:gd name="connsiteX17373" fmla="*/ 200439 w 4610101"/>
              <a:gd name="connsiteY17373" fmla="*/ 1167044 h 6557032"/>
              <a:gd name="connsiteX17374" fmla="*/ 211372 w 4610101"/>
              <a:gd name="connsiteY17374" fmla="*/ 1174332 h 6557032"/>
              <a:gd name="connsiteX17375" fmla="*/ 204084 w 4610101"/>
              <a:gd name="connsiteY17375" fmla="*/ 1167044 h 6557032"/>
              <a:gd name="connsiteX17376" fmla="*/ 200439 w 4610101"/>
              <a:gd name="connsiteY17376" fmla="*/ 1167044 h 6557032"/>
              <a:gd name="connsiteX17377" fmla="*/ 2922347 w 4610101"/>
              <a:gd name="connsiteY17377" fmla="*/ 1166278 h 6557032"/>
              <a:gd name="connsiteX17378" fmla="*/ 2924590 w 4610101"/>
              <a:gd name="connsiteY17378" fmla="*/ 1168866 h 6557032"/>
              <a:gd name="connsiteX17379" fmla="*/ 2920703 w 4610101"/>
              <a:gd name="connsiteY17379" fmla="*/ 1166491 h 6557032"/>
              <a:gd name="connsiteX17380" fmla="*/ 4185533 w 4610101"/>
              <a:gd name="connsiteY17380" fmla="*/ 1165311 h 6557032"/>
              <a:gd name="connsiteX17381" fmla="*/ 4201933 w 4610101"/>
              <a:gd name="connsiteY17381" fmla="*/ 1179889 h 6557032"/>
              <a:gd name="connsiteX17382" fmla="*/ 4185533 w 4610101"/>
              <a:gd name="connsiteY17382" fmla="*/ 1188999 h 6557032"/>
              <a:gd name="connsiteX17383" fmla="*/ 2026468 w 4610101"/>
              <a:gd name="connsiteY17383" fmla="*/ 1165264 h 6557032"/>
              <a:gd name="connsiteX17384" fmla="*/ 2034802 w 4610101"/>
              <a:gd name="connsiteY17384" fmla="*/ 1166930 h 6557032"/>
              <a:gd name="connsiteX17385" fmla="*/ 2034427 w 4610101"/>
              <a:gd name="connsiteY17385" fmla="*/ 1168600 h 6557032"/>
              <a:gd name="connsiteX17386" fmla="*/ 2032595 w 4610101"/>
              <a:gd name="connsiteY17386" fmla="*/ 1171620 h 6557032"/>
              <a:gd name="connsiteX17387" fmla="*/ 2026486 w 4610101"/>
              <a:gd name="connsiteY17387" fmla="*/ 1165905 h 6557032"/>
              <a:gd name="connsiteX17388" fmla="*/ 3329112 w 4610101"/>
              <a:gd name="connsiteY17388" fmla="*/ 1165222 h 6557032"/>
              <a:gd name="connsiteX17389" fmla="*/ 3329112 w 4610101"/>
              <a:gd name="connsiteY17389" fmla="*/ 1165677 h 6557032"/>
              <a:gd name="connsiteX17390" fmla="*/ 3327290 w 4610101"/>
              <a:gd name="connsiteY17390" fmla="*/ 1167044 h 6557032"/>
              <a:gd name="connsiteX17391" fmla="*/ 2913656 w 4610101"/>
              <a:gd name="connsiteY17391" fmla="*/ 1165222 h 6557032"/>
              <a:gd name="connsiteX17392" fmla="*/ 2920490 w 4610101"/>
              <a:gd name="connsiteY17392" fmla="*/ 1166360 h 6557032"/>
              <a:gd name="connsiteX17393" fmla="*/ 2920703 w 4610101"/>
              <a:gd name="connsiteY17393" fmla="*/ 1166491 h 6557032"/>
              <a:gd name="connsiteX17394" fmla="*/ 2914881 w 4610101"/>
              <a:gd name="connsiteY17394" fmla="*/ 1167243 h 6557032"/>
              <a:gd name="connsiteX17395" fmla="*/ 2914365 w 4610101"/>
              <a:gd name="connsiteY17395" fmla="*/ 1167412 h 6557032"/>
              <a:gd name="connsiteX17396" fmla="*/ 2478157 w 4610101"/>
              <a:gd name="connsiteY17396" fmla="*/ 1165222 h 6557032"/>
              <a:gd name="connsiteX17397" fmla="*/ 2483624 w 4610101"/>
              <a:gd name="connsiteY17397" fmla="*/ 1188910 h 6557032"/>
              <a:gd name="connsiteX17398" fmla="*/ 2478157 w 4610101"/>
              <a:gd name="connsiteY17398" fmla="*/ 1203487 h 6557032"/>
              <a:gd name="connsiteX17399" fmla="*/ 2474513 w 4610101"/>
              <a:gd name="connsiteY17399" fmla="*/ 1201665 h 6557032"/>
              <a:gd name="connsiteX17400" fmla="*/ 2469046 w 4610101"/>
              <a:gd name="connsiteY17400" fmla="*/ 1227175 h 6557032"/>
              <a:gd name="connsiteX17401" fmla="*/ 2465402 w 4610101"/>
              <a:gd name="connsiteY17401" fmla="*/ 1214420 h 6557032"/>
              <a:gd name="connsiteX17402" fmla="*/ 2463580 w 4610101"/>
              <a:gd name="connsiteY17402" fmla="*/ 1219887 h 6557032"/>
              <a:gd name="connsiteX17403" fmla="*/ 2458113 w 4610101"/>
              <a:gd name="connsiteY17403" fmla="*/ 1214420 h 6557032"/>
              <a:gd name="connsiteX17404" fmla="*/ 2458113 w 4610101"/>
              <a:gd name="connsiteY17404" fmla="*/ 1236286 h 6557032"/>
              <a:gd name="connsiteX17405" fmla="*/ 2465402 w 4610101"/>
              <a:gd name="connsiteY17405" fmla="*/ 1241753 h 6557032"/>
              <a:gd name="connsiteX17406" fmla="*/ 2450824 w 4610101"/>
              <a:gd name="connsiteY17406" fmla="*/ 1243575 h 6557032"/>
              <a:gd name="connsiteX17407" fmla="*/ 2474513 w 4610101"/>
              <a:gd name="connsiteY17407" fmla="*/ 1259975 h 6557032"/>
              <a:gd name="connsiteX17408" fmla="*/ 2477505 w 4610101"/>
              <a:gd name="connsiteY17408" fmla="*/ 1267453 h 6557032"/>
              <a:gd name="connsiteX17409" fmla="*/ 2477018 w 4610101"/>
              <a:gd name="connsiteY17409" fmla="*/ 1267491 h 6557032"/>
              <a:gd name="connsiteX17410" fmla="*/ 2472690 w 4610101"/>
              <a:gd name="connsiteY17410" fmla="*/ 1269085 h 6557032"/>
              <a:gd name="connsiteX17411" fmla="*/ 2470868 w 4610101"/>
              <a:gd name="connsiteY17411" fmla="*/ 1270908 h 6557032"/>
              <a:gd name="connsiteX17412" fmla="*/ 2481801 w 4610101"/>
              <a:gd name="connsiteY17412" fmla="*/ 1269085 h 6557032"/>
              <a:gd name="connsiteX17413" fmla="*/ 2479979 w 4610101"/>
              <a:gd name="connsiteY17413" fmla="*/ 1267263 h 6557032"/>
              <a:gd name="connsiteX17414" fmla="*/ 2477611 w 4610101"/>
              <a:gd name="connsiteY17414" fmla="*/ 1267445 h 6557032"/>
              <a:gd name="connsiteX17415" fmla="*/ 2472690 w 4610101"/>
              <a:gd name="connsiteY17415" fmla="*/ 1252686 h 6557032"/>
              <a:gd name="connsiteX17416" fmla="*/ 2478157 w 4610101"/>
              <a:gd name="connsiteY17416" fmla="*/ 1245397 h 6557032"/>
              <a:gd name="connsiteX17417" fmla="*/ 2509134 w 4610101"/>
              <a:gd name="connsiteY17417" fmla="*/ 1250864 h 6557032"/>
              <a:gd name="connsiteX17418" fmla="*/ 2490912 w 4610101"/>
              <a:gd name="connsiteY17418" fmla="*/ 1272730 h 6557032"/>
              <a:gd name="connsiteX17419" fmla="*/ 2489090 w 4610101"/>
              <a:gd name="connsiteY17419" fmla="*/ 1281841 h 6557032"/>
              <a:gd name="connsiteX17420" fmla="*/ 2487268 w 4610101"/>
              <a:gd name="connsiteY17420" fmla="*/ 1281841 h 6557032"/>
              <a:gd name="connsiteX17421" fmla="*/ 2503667 w 4610101"/>
              <a:gd name="connsiteY17421" fmla="*/ 1301885 h 6557032"/>
              <a:gd name="connsiteX17422" fmla="*/ 2494556 w 4610101"/>
              <a:gd name="connsiteY17422" fmla="*/ 1280018 h 6557032"/>
              <a:gd name="connsiteX17423" fmla="*/ 2525534 w 4610101"/>
              <a:gd name="connsiteY17423" fmla="*/ 1280018 h 6557032"/>
              <a:gd name="connsiteX17424" fmla="*/ 2525534 w 4610101"/>
              <a:gd name="connsiteY17424" fmla="*/ 1301885 h 6557032"/>
              <a:gd name="connsiteX17425" fmla="*/ 2554688 w 4610101"/>
              <a:gd name="connsiteY17425" fmla="*/ 1314640 h 6557032"/>
              <a:gd name="connsiteX17426" fmla="*/ 2563799 w 4610101"/>
              <a:gd name="connsiteY17426" fmla="*/ 1307351 h 6557032"/>
              <a:gd name="connsiteX17427" fmla="*/ 2561977 w 4610101"/>
              <a:gd name="connsiteY17427" fmla="*/ 1303707 h 6557032"/>
              <a:gd name="connsiteX17428" fmla="*/ 2578377 w 4610101"/>
              <a:gd name="connsiteY17428" fmla="*/ 1294596 h 6557032"/>
              <a:gd name="connsiteX17429" fmla="*/ 2585665 w 4610101"/>
              <a:gd name="connsiteY17429" fmla="*/ 1292774 h 6557032"/>
              <a:gd name="connsiteX17430" fmla="*/ 2582021 w 4610101"/>
              <a:gd name="connsiteY17430" fmla="*/ 1285485 h 6557032"/>
              <a:gd name="connsiteX17431" fmla="*/ 2576429 w 4610101"/>
              <a:gd name="connsiteY17431" fmla="*/ 1285485 h 6557032"/>
              <a:gd name="connsiteX17432" fmla="*/ 2576555 w 4610101"/>
              <a:gd name="connsiteY17432" fmla="*/ 1285612 h 6557032"/>
              <a:gd name="connsiteX17433" fmla="*/ 2554689 w 4610101"/>
              <a:gd name="connsiteY17433" fmla="*/ 1292900 h 6557032"/>
              <a:gd name="connsiteX17434" fmla="*/ 2532823 w 4610101"/>
              <a:gd name="connsiteY17434" fmla="*/ 1278323 h 6557032"/>
              <a:gd name="connsiteX17435" fmla="*/ 2556512 w 4610101"/>
              <a:gd name="connsiteY17435" fmla="*/ 1281967 h 6557032"/>
              <a:gd name="connsiteX17436" fmla="*/ 2569267 w 4610101"/>
              <a:gd name="connsiteY17436" fmla="*/ 1278323 h 6557032"/>
              <a:gd name="connsiteX17437" fmla="*/ 2575298 w 4610101"/>
              <a:gd name="connsiteY17437" fmla="*/ 1284354 h 6557032"/>
              <a:gd name="connsiteX17438" fmla="*/ 2582021 w 4610101"/>
              <a:gd name="connsiteY17438" fmla="*/ 1270908 h 6557032"/>
              <a:gd name="connsiteX17439" fmla="*/ 2594776 w 4610101"/>
              <a:gd name="connsiteY17439" fmla="*/ 1272730 h 6557032"/>
              <a:gd name="connsiteX17440" fmla="*/ 2596598 w 4610101"/>
              <a:gd name="connsiteY17440" fmla="*/ 1270908 h 6557032"/>
              <a:gd name="connsiteX17441" fmla="*/ 2585665 w 4610101"/>
              <a:gd name="connsiteY17441" fmla="*/ 1250864 h 6557032"/>
              <a:gd name="connsiteX17442" fmla="*/ 2572910 w 4610101"/>
              <a:gd name="connsiteY17442" fmla="*/ 1234464 h 6557032"/>
              <a:gd name="connsiteX17443" fmla="*/ 2543755 w 4610101"/>
              <a:gd name="connsiteY17443" fmla="*/ 1201665 h 6557032"/>
              <a:gd name="connsiteX17444" fmla="*/ 2525534 w 4610101"/>
              <a:gd name="connsiteY17444" fmla="*/ 1185266 h 6557032"/>
              <a:gd name="connsiteX17445" fmla="*/ 2496379 w 4610101"/>
              <a:gd name="connsiteY17445" fmla="*/ 1168866 h 6557032"/>
              <a:gd name="connsiteX17446" fmla="*/ 2494556 w 4610101"/>
              <a:gd name="connsiteY17446" fmla="*/ 1176155 h 6557032"/>
              <a:gd name="connsiteX17447" fmla="*/ 2478157 w 4610101"/>
              <a:gd name="connsiteY17447" fmla="*/ 1165222 h 6557032"/>
              <a:gd name="connsiteX17448" fmla="*/ 2252207 w 4610101"/>
              <a:gd name="connsiteY17448" fmla="*/ 1165222 h 6557032"/>
              <a:gd name="connsiteX17449" fmla="*/ 2235808 w 4610101"/>
              <a:gd name="connsiteY17449" fmla="*/ 1201665 h 6557032"/>
              <a:gd name="connsiteX17450" fmla="*/ 2232163 w 4610101"/>
              <a:gd name="connsiteY17450" fmla="*/ 1187088 h 6557032"/>
              <a:gd name="connsiteX17451" fmla="*/ 2237630 w 4610101"/>
              <a:gd name="connsiteY17451" fmla="*/ 1223531 h 6557032"/>
              <a:gd name="connsiteX17452" fmla="*/ 2246741 w 4610101"/>
              <a:gd name="connsiteY17452" fmla="*/ 1212598 h 6557032"/>
              <a:gd name="connsiteX17453" fmla="*/ 2250385 w 4610101"/>
              <a:gd name="connsiteY17453" fmla="*/ 1203487 h 6557032"/>
              <a:gd name="connsiteX17454" fmla="*/ 2245830 w 4610101"/>
              <a:gd name="connsiteY17454" fmla="*/ 1190960 h 6557032"/>
              <a:gd name="connsiteX17455" fmla="*/ 2250882 w 4610101"/>
              <a:gd name="connsiteY17455" fmla="*/ 1182118 h 6557032"/>
              <a:gd name="connsiteX17456" fmla="*/ 2252207 w 4610101"/>
              <a:gd name="connsiteY17456" fmla="*/ 1179799 h 6557032"/>
              <a:gd name="connsiteX17457" fmla="*/ 2248563 w 4610101"/>
              <a:gd name="connsiteY17457" fmla="*/ 1174332 h 6557032"/>
              <a:gd name="connsiteX17458" fmla="*/ 2250385 w 4610101"/>
              <a:gd name="connsiteY17458" fmla="*/ 1174332 h 6557032"/>
              <a:gd name="connsiteX17459" fmla="*/ 2252207 w 4610101"/>
              <a:gd name="connsiteY17459" fmla="*/ 1165222 h 6557032"/>
              <a:gd name="connsiteX17460" fmla="*/ 2203009 w 4610101"/>
              <a:gd name="connsiteY17460" fmla="*/ 1165222 h 6557032"/>
              <a:gd name="connsiteX17461" fmla="*/ 2197542 w 4610101"/>
              <a:gd name="connsiteY17461" fmla="*/ 1168866 h 6557032"/>
              <a:gd name="connsiteX17462" fmla="*/ 2201187 w 4610101"/>
              <a:gd name="connsiteY17462" fmla="*/ 1170688 h 6557032"/>
              <a:gd name="connsiteX17463" fmla="*/ 2203009 w 4610101"/>
              <a:gd name="connsiteY17463" fmla="*/ 1165222 h 6557032"/>
              <a:gd name="connsiteX17464" fmla="*/ 1053217 w 4610101"/>
              <a:gd name="connsiteY17464" fmla="*/ 1165222 h 6557032"/>
              <a:gd name="connsiteX17465" fmla="*/ 1058683 w 4610101"/>
              <a:gd name="connsiteY17465" fmla="*/ 1170688 h 6557032"/>
              <a:gd name="connsiteX17466" fmla="*/ 1053217 w 4610101"/>
              <a:gd name="connsiteY17466" fmla="*/ 1165222 h 6557032"/>
              <a:gd name="connsiteX17467" fmla="*/ 781713 w 4610101"/>
              <a:gd name="connsiteY17467" fmla="*/ 1165222 h 6557032"/>
              <a:gd name="connsiteX17468" fmla="*/ 785357 w 4610101"/>
              <a:gd name="connsiteY17468" fmla="*/ 1172510 h 6557032"/>
              <a:gd name="connsiteX17469" fmla="*/ 781713 w 4610101"/>
              <a:gd name="connsiteY17469" fmla="*/ 1165222 h 6557032"/>
              <a:gd name="connsiteX17470" fmla="*/ 717937 w 4610101"/>
              <a:gd name="connsiteY17470" fmla="*/ 1165222 h 6557032"/>
              <a:gd name="connsiteX17471" fmla="*/ 721581 w 4610101"/>
              <a:gd name="connsiteY17471" fmla="*/ 1172510 h 6557032"/>
              <a:gd name="connsiteX17472" fmla="*/ 717937 w 4610101"/>
              <a:gd name="connsiteY17472" fmla="*/ 1165222 h 6557032"/>
              <a:gd name="connsiteX17473" fmla="*/ 686960 w 4610101"/>
              <a:gd name="connsiteY17473" fmla="*/ 1165222 h 6557032"/>
              <a:gd name="connsiteX17474" fmla="*/ 685138 w 4610101"/>
              <a:gd name="connsiteY17474" fmla="*/ 1168866 h 6557032"/>
              <a:gd name="connsiteX17475" fmla="*/ 688782 w 4610101"/>
              <a:gd name="connsiteY17475" fmla="*/ 1168866 h 6557032"/>
              <a:gd name="connsiteX17476" fmla="*/ 686960 w 4610101"/>
              <a:gd name="connsiteY17476" fmla="*/ 1165222 h 6557032"/>
              <a:gd name="connsiteX17477" fmla="*/ 428211 w 4610101"/>
              <a:gd name="connsiteY17477" fmla="*/ 1165222 h 6557032"/>
              <a:gd name="connsiteX17478" fmla="*/ 426389 w 4610101"/>
              <a:gd name="connsiteY17478" fmla="*/ 1167044 h 6557032"/>
              <a:gd name="connsiteX17479" fmla="*/ 433678 w 4610101"/>
              <a:gd name="connsiteY17479" fmla="*/ 1168866 h 6557032"/>
              <a:gd name="connsiteX17480" fmla="*/ 428211 w 4610101"/>
              <a:gd name="connsiteY17480" fmla="*/ 1165222 h 6557032"/>
              <a:gd name="connsiteX17481" fmla="*/ 3017749 w 4610101"/>
              <a:gd name="connsiteY17481" fmla="*/ 1164310 h 6557032"/>
              <a:gd name="connsiteX17482" fmla="*/ 3015698 w 4610101"/>
              <a:gd name="connsiteY17482" fmla="*/ 1167044 h 6557032"/>
              <a:gd name="connsiteX17483" fmla="*/ 3021165 w 4610101"/>
              <a:gd name="connsiteY17483" fmla="*/ 1167044 h 6557032"/>
              <a:gd name="connsiteX17484" fmla="*/ 3017749 w 4610101"/>
              <a:gd name="connsiteY17484" fmla="*/ 1164310 h 6557032"/>
              <a:gd name="connsiteX17485" fmla="*/ 3044853 w 4610101"/>
              <a:gd name="connsiteY17485" fmla="*/ 1163399 h 6557032"/>
              <a:gd name="connsiteX17486" fmla="*/ 3039387 w 4610101"/>
              <a:gd name="connsiteY17486" fmla="*/ 1168866 h 6557032"/>
              <a:gd name="connsiteX17487" fmla="*/ 3044853 w 4610101"/>
              <a:gd name="connsiteY17487" fmla="*/ 1163399 h 6557032"/>
              <a:gd name="connsiteX17488" fmla="*/ 1457739 w 4610101"/>
              <a:gd name="connsiteY17488" fmla="*/ 1163399 h 6557032"/>
              <a:gd name="connsiteX17489" fmla="*/ 1458422 w 4610101"/>
              <a:gd name="connsiteY17489" fmla="*/ 1170916 h 6557032"/>
              <a:gd name="connsiteX17490" fmla="*/ 1458367 w 4610101"/>
              <a:gd name="connsiteY17490" fmla="*/ 1172517 h 6557032"/>
              <a:gd name="connsiteX17491" fmla="*/ 1457968 w 4610101"/>
              <a:gd name="connsiteY17491" fmla="*/ 1170688 h 6557032"/>
              <a:gd name="connsiteX17492" fmla="*/ 1457739 w 4610101"/>
              <a:gd name="connsiteY17492" fmla="*/ 1163399 h 6557032"/>
              <a:gd name="connsiteX17493" fmla="*/ 1044106 w 4610101"/>
              <a:gd name="connsiteY17493" fmla="*/ 1163399 h 6557032"/>
              <a:gd name="connsiteX17494" fmla="*/ 1047750 w 4610101"/>
              <a:gd name="connsiteY17494" fmla="*/ 1167044 h 6557032"/>
              <a:gd name="connsiteX17495" fmla="*/ 1049573 w 4610101"/>
              <a:gd name="connsiteY17495" fmla="*/ 1165222 h 6557032"/>
              <a:gd name="connsiteX17496" fmla="*/ 1044106 w 4610101"/>
              <a:gd name="connsiteY17496" fmla="*/ 1163399 h 6557032"/>
              <a:gd name="connsiteX17497" fmla="*/ 1033173 w 4610101"/>
              <a:gd name="connsiteY17497" fmla="*/ 1163399 h 6557032"/>
              <a:gd name="connsiteX17498" fmla="*/ 1042284 w 4610101"/>
              <a:gd name="connsiteY17498" fmla="*/ 1174332 h 6557032"/>
              <a:gd name="connsiteX17499" fmla="*/ 1033173 w 4610101"/>
              <a:gd name="connsiteY17499" fmla="*/ 1163399 h 6557032"/>
              <a:gd name="connsiteX17500" fmla="*/ 805401 w 4610101"/>
              <a:gd name="connsiteY17500" fmla="*/ 1163399 h 6557032"/>
              <a:gd name="connsiteX17501" fmla="*/ 818156 w 4610101"/>
              <a:gd name="connsiteY17501" fmla="*/ 1172510 h 6557032"/>
              <a:gd name="connsiteX17502" fmla="*/ 809046 w 4610101"/>
              <a:gd name="connsiteY17502" fmla="*/ 1170688 h 6557032"/>
              <a:gd name="connsiteX17503" fmla="*/ 812690 w 4610101"/>
              <a:gd name="connsiteY17503" fmla="*/ 1168866 h 6557032"/>
              <a:gd name="connsiteX17504" fmla="*/ 805401 w 4610101"/>
              <a:gd name="connsiteY17504" fmla="*/ 1163399 h 6557032"/>
              <a:gd name="connsiteX17505" fmla="*/ 798112 w 4610101"/>
              <a:gd name="connsiteY17505" fmla="*/ 1163399 h 6557032"/>
              <a:gd name="connsiteX17506" fmla="*/ 801757 w 4610101"/>
              <a:gd name="connsiteY17506" fmla="*/ 1187088 h 6557032"/>
              <a:gd name="connsiteX17507" fmla="*/ 799935 w 4610101"/>
              <a:gd name="connsiteY17507" fmla="*/ 1183443 h 6557032"/>
              <a:gd name="connsiteX17508" fmla="*/ 807223 w 4610101"/>
              <a:gd name="connsiteY17508" fmla="*/ 1187088 h 6557032"/>
              <a:gd name="connsiteX17509" fmla="*/ 799935 w 4610101"/>
              <a:gd name="connsiteY17509" fmla="*/ 1168866 h 6557032"/>
              <a:gd name="connsiteX17510" fmla="*/ 798112 w 4610101"/>
              <a:gd name="connsiteY17510" fmla="*/ 1163399 h 6557032"/>
              <a:gd name="connsiteX17511" fmla="*/ 533897 w 4610101"/>
              <a:gd name="connsiteY17511" fmla="*/ 1163399 h 6557032"/>
              <a:gd name="connsiteX17512" fmla="*/ 530253 w 4610101"/>
              <a:gd name="connsiteY17512" fmla="*/ 1167044 h 6557032"/>
              <a:gd name="connsiteX17513" fmla="*/ 548475 w 4610101"/>
              <a:gd name="connsiteY17513" fmla="*/ 1174332 h 6557032"/>
              <a:gd name="connsiteX17514" fmla="*/ 533897 w 4610101"/>
              <a:gd name="connsiteY17514" fmla="*/ 1163399 h 6557032"/>
              <a:gd name="connsiteX17515" fmla="*/ 404523 w 4610101"/>
              <a:gd name="connsiteY17515" fmla="*/ 1163399 h 6557032"/>
              <a:gd name="connsiteX17516" fmla="*/ 399056 w 4610101"/>
              <a:gd name="connsiteY17516" fmla="*/ 1165222 h 6557032"/>
              <a:gd name="connsiteX17517" fmla="*/ 409989 w 4610101"/>
              <a:gd name="connsiteY17517" fmla="*/ 1167044 h 6557032"/>
              <a:gd name="connsiteX17518" fmla="*/ 404523 w 4610101"/>
              <a:gd name="connsiteY17518" fmla="*/ 1163399 h 6557032"/>
              <a:gd name="connsiteX17519" fmla="*/ 879745 w 4610101"/>
              <a:gd name="connsiteY17519" fmla="*/ 1163034 h 6557032"/>
              <a:gd name="connsiteX17520" fmla="*/ 880111 w 4610101"/>
              <a:gd name="connsiteY17520" fmla="*/ 1165222 h 6557032"/>
              <a:gd name="connsiteX17521" fmla="*/ 879630 w 4610101"/>
              <a:gd name="connsiteY17521" fmla="*/ 1163495 h 6557032"/>
              <a:gd name="connsiteX17522" fmla="*/ 2095443 w 4610101"/>
              <a:gd name="connsiteY17522" fmla="*/ 1162529 h 6557032"/>
              <a:gd name="connsiteX17523" fmla="*/ 2091855 w 4610101"/>
              <a:gd name="connsiteY17523" fmla="*/ 1163549 h 6557032"/>
              <a:gd name="connsiteX17524" fmla="*/ 2095443 w 4610101"/>
              <a:gd name="connsiteY17524" fmla="*/ 1162529 h 6557032"/>
              <a:gd name="connsiteX17525" fmla="*/ 879980 w 4610101"/>
              <a:gd name="connsiteY17525" fmla="*/ 1162098 h 6557032"/>
              <a:gd name="connsiteX17526" fmla="*/ 879745 w 4610101"/>
              <a:gd name="connsiteY17526" fmla="*/ 1163034 h 6557032"/>
              <a:gd name="connsiteX17527" fmla="*/ 879655 w 4610101"/>
              <a:gd name="connsiteY17527" fmla="*/ 1162488 h 6557032"/>
              <a:gd name="connsiteX17528" fmla="*/ 2766060 w 4610101"/>
              <a:gd name="connsiteY17528" fmla="*/ 1161577 h 6557032"/>
              <a:gd name="connsiteX17529" fmla="*/ 2760594 w 4610101"/>
              <a:gd name="connsiteY17529" fmla="*/ 1163399 h 6557032"/>
              <a:gd name="connsiteX17530" fmla="*/ 2762416 w 4610101"/>
              <a:gd name="connsiteY17530" fmla="*/ 1170688 h 6557032"/>
              <a:gd name="connsiteX17531" fmla="*/ 2766060 w 4610101"/>
              <a:gd name="connsiteY17531" fmla="*/ 1161577 h 6557032"/>
              <a:gd name="connsiteX17532" fmla="*/ 1273700 w 4610101"/>
              <a:gd name="connsiteY17532" fmla="*/ 1161577 h 6557032"/>
              <a:gd name="connsiteX17533" fmla="*/ 1279166 w 4610101"/>
              <a:gd name="connsiteY17533" fmla="*/ 1179799 h 6557032"/>
              <a:gd name="connsiteX17534" fmla="*/ 1290100 w 4610101"/>
              <a:gd name="connsiteY17534" fmla="*/ 1170688 h 6557032"/>
              <a:gd name="connsiteX17535" fmla="*/ 1279166 w 4610101"/>
              <a:gd name="connsiteY17535" fmla="*/ 1181621 h 6557032"/>
              <a:gd name="connsiteX17536" fmla="*/ 1273700 w 4610101"/>
              <a:gd name="connsiteY17536" fmla="*/ 1161577 h 6557032"/>
              <a:gd name="connsiteX17537" fmla="*/ 1166192 w 4610101"/>
              <a:gd name="connsiteY17537" fmla="*/ 1161577 h 6557032"/>
              <a:gd name="connsiteX17538" fmla="*/ 1162547 w 4610101"/>
              <a:gd name="connsiteY17538" fmla="*/ 1167044 h 6557032"/>
              <a:gd name="connsiteX17539" fmla="*/ 1166192 w 4610101"/>
              <a:gd name="connsiteY17539" fmla="*/ 1167044 h 6557032"/>
              <a:gd name="connsiteX17540" fmla="*/ 1160725 w 4610101"/>
              <a:gd name="connsiteY17540" fmla="*/ 1176155 h 6557032"/>
              <a:gd name="connsiteX17541" fmla="*/ 1169836 w 4610101"/>
              <a:gd name="connsiteY17541" fmla="*/ 1177977 h 6557032"/>
              <a:gd name="connsiteX17542" fmla="*/ 1173481 w 4610101"/>
              <a:gd name="connsiteY17542" fmla="*/ 1176155 h 6557032"/>
              <a:gd name="connsiteX17543" fmla="*/ 1166192 w 4610101"/>
              <a:gd name="connsiteY17543" fmla="*/ 1161577 h 6557032"/>
              <a:gd name="connsiteX17544" fmla="*/ 1144326 w 4610101"/>
              <a:gd name="connsiteY17544" fmla="*/ 1161577 h 6557032"/>
              <a:gd name="connsiteX17545" fmla="*/ 1144326 w 4610101"/>
              <a:gd name="connsiteY17545" fmla="*/ 1165222 h 6557032"/>
              <a:gd name="connsiteX17546" fmla="*/ 1146148 w 4610101"/>
              <a:gd name="connsiteY17546" fmla="*/ 1167044 h 6557032"/>
              <a:gd name="connsiteX17547" fmla="*/ 1147970 w 4610101"/>
              <a:gd name="connsiteY17547" fmla="*/ 1161577 h 6557032"/>
              <a:gd name="connsiteX17548" fmla="*/ 1144326 w 4610101"/>
              <a:gd name="connsiteY17548" fmla="*/ 1161577 h 6557032"/>
              <a:gd name="connsiteX17549" fmla="*/ 901976 w 4610101"/>
              <a:gd name="connsiteY17549" fmla="*/ 1161577 h 6557032"/>
              <a:gd name="connsiteX17550" fmla="*/ 907444 w 4610101"/>
              <a:gd name="connsiteY17550" fmla="*/ 1174332 h 6557032"/>
              <a:gd name="connsiteX17551" fmla="*/ 901976 w 4610101"/>
              <a:gd name="connsiteY17551" fmla="*/ 1161577 h 6557032"/>
              <a:gd name="connsiteX17552" fmla="*/ 880111 w 4610101"/>
              <a:gd name="connsiteY17552" fmla="*/ 1161577 h 6557032"/>
              <a:gd name="connsiteX17553" fmla="*/ 880276 w 4610101"/>
              <a:gd name="connsiteY17553" fmla="*/ 1161743 h 6557032"/>
              <a:gd name="connsiteX17554" fmla="*/ 879980 w 4610101"/>
              <a:gd name="connsiteY17554" fmla="*/ 1162098 h 6557032"/>
              <a:gd name="connsiteX17555" fmla="*/ 834556 w 4610101"/>
              <a:gd name="connsiteY17555" fmla="*/ 1161577 h 6557032"/>
              <a:gd name="connsiteX17556" fmla="*/ 840022 w 4610101"/>
              <a:gd name="connsiteY17556" fmla="*/ 1187088 h 6557032"/>
              <a:gd name="connsiteX17557" fmla="*/ 834556 w 4610101"/>
              <a:gd name="connsiteY17557" fmla="*/ 1161577 h 6557032"/>
              <a:gd name="connsiteX17558" fmla="*/ 814512 w 4610101"/>
              <a:gd name="connsiteY17558" fmla="*/ 1161577 h 6557032"/>
              <a:gd name="connsiteX17559" fmla="*/ 816334 w 4610101"/>
              <a:gd name="connsiteY17559" fmla="*/ 1167044 h 6557032"/>
              <a:gd name="connsiteX17560" fmla="*/ 818156 w 4610101"/>
              <a:gd name="connsiteY17560" fmla="*/ 1165222 h 6557032"/>
              <a:gd name="connsiteX17561" fmla="*/ 814512 w 4610101"/>
              <a:gd name="connsiteY17561" fmla="*/ 1161577 h 6557032"/>
              <a:gd name="connsiteX17562" fmla="*/ 790824 w 4610101"/>
              <a:gd name="connsiteY17562" fmla="*/ 1161577 h 6557032"/>
              <a:gd name="connsiteX17563" fmla="*/ 792646 w 4610101"/>
              <a:gd name="connsiteY17563" fmla="*/ 1172510 h 6557032"/>
              <a:gd name="connsiteX17564" fmla="*/ 796290 w 4610101"/>
              <a:gd name="connsiteY17564" fmla="*/ 1163399 h 6557032"/>
              <a:gd name="connsiteX17565" fmla="*/ 790824 w 4610101"/>
              <a:gd name="connsiteY17565" fmla="*/ 1161577 h 6557032"/>
              <a:gd name="connsiteX17566" fmla="*/ 697893 w 4610101"/>
              <a:gd name="connsiteY17566" fmla="*/ 1161577 h 6557032"/>
              <a:gd name="connsiteX17567" fmla="*/ 697893 w 4610101"/>
              <a:gd name="connsiteY17567" fmla="*/ 1167044 h 6557032"/>
              <a:gd name="connsiteX17568" fmla="*/ 701537 w 4610101"/>
              <a:gd name="connsiteY17568" fmla="*/ 1165222 h 6557032"/>
              <a:gd name="connsiteX17569" fmla="*/ 697893 w 4610101"/>
              <a:gd name="connsiteY17569" fmla="*/ 1161577 h 6557032"/>
              <a:gd name="connsiteX17570" fmla="*/ 435500 w 4610101"/>
              <a:gd name="connsiteY17570" fmla="*/ 1161577 h 6557032"/>
              <a:gd name="connsiteX17571" fmla="*/ 428211 w 4610101"/>
              <a:gd name="connsiteY17571" fmla="*/ 1163399 h 6557032"/>
              <a:gd name="connsiteX17572" fmla="*/ 435500 w 4610101"/>
              <a:gd name="connsiteY17572" fmla="*/ 1161577 h 6557032"/>
              <a:gd name="connsiteX17573" fmla="*/ 240527 w 4610101"/>
              <a:gd name="connsiteY17573" fmla="*/ 1161577 h 6557032"/>
              <a:gd name="connsiteX17574" fmla="*/ 247816 w 4610101"/>
              <a:gd name="connsiteY17574" fmla="*/ 1165222 h 6557032"/>
              <a:gd name="connsiteX17575" fmla="*/ 240527 w 4610101"/>
              <a:gd name="connsiteY17575" fmla="*/ 1161577 h 6557032"/>
              <a:gd name="connsiteX17576" fmla="*/ 2943961 w 4610101"/>
              <a:gd name="connsiteY17576" fmla="*/ 1161381 h 6557032"/>
              <a:gd name="connsiteX17577" fmla="*/ 2944634 w 4610101"/>
              <a:gd name="connsiteY17577" fmla="*/ 1163399 h 6557032"/>
              <a:gd name="connsiteX17578" fmla="*/ 2922347 w 4610101"/>
              <a:gd name="connsiteY17578" fmla="*/ 1166278 h 6557032"/>
              <a:gd name="connsiteX17579" fmla="*/ 2921629 w 4610101"/>
              <a:gd name="connsiteY17579" fmla="*/ 1165450 h 6557032"/>
              <a:gd name="connsiteX17580" fmla="*/ 2922767 w 4610101"/>
              <a:gd name="connsiteY17580" fmla="*/ 1163399 h 6557032"/>
              <a:gd name="connsiteX17581" fmla="*/ 3039614 w 4610101"/>
              <a:gd name="connsiteY17581" fmla="*/ 1160666 h 6557032"/>
              <a:gd name="connsiteX17582" fmla="*/ 3037564 w 4610101"/>
              <a:gd name="connsiteY17582" fmla="*/ 1165222 h 6557032"/>
              <a:gd name="connsiteX17583" fmla="*/ 3043031 w 4610101"/>
              <a:gd name="connsiteY17583" fmla="*/ 1161577 h 6557032"/>
              <a:gd name="connsiteX17584" fmla="*/ 3039614 w 4610101"/>
              <a:gd name="connsiteY17584" fmla="*/ 1160666 h 6557032"/>
              <a:gd name="connsiteX17585" fmla="*/ 2590221 w 4610101"/>
              <a:gd name="connsiteY17585" fmla="*/ 1160666 h 6557032"/>
              <a:gd name="connsiteX17586" fmla="*/ 2585665 w 4610101"/>
              <a:gd name="connsiteY17586" fmla="*/ 1163399 h 6557032"/>
              <a:gd name="connsiteX17587" fmla="*/ 2594776 w 4610101"/>
              <a:gd name="connsiteY17587" fmla="*/ 1163399 h 6557032"/>
              <a:gd name="connsiteX17588" fmla="*/ 2590221 w 4610101"/>
              <a:gd name="connsiteY17588" fmla="*/ 1160666 h 6557032"/>
              <a:gd name="connsiteX17589" fmla="*/ 2334205 w 4610101"/>
              <a:gd name="connsiteY17589" fmla="*/ 1159755 h 6557032"/>
              <a:gd name="connsiteX17590" fmla="*/ 2308695 w 4610101"/>
              <a:gd name="connsiteY17590" fmla="*/ 1179799 h 6557032"/>
              <a:gd name="connsiteX17591" fmla="*/ 2314161 w 4610101"/>
              <a:gd name="connsiteY17591" fmla="*/ 1168866 h 6557032"/>
              <a:gd name="connsiteX17592" fmla="*/ 2325094 w 4610101"/>
              <a:gd name="connsiteY17592" fmla="*/ 1187088 h 6557032"/>
              <a:gd name="connsiteX17593" fmla="*/ 2319628 w 4610101"/>
              <a:gd name="connsiteY17593" fmla="*/ 1187088 h 6557032"/>
              <a:gd name="connsiteX17594" fmla="*/ 2308695 w 4610101"/>
              <a:gd name="connsiteY17594" fmla="*/ 1196199 h 6557032"/>
              <a:gd name="connsiteX17595" fmla="*/ 2308695 w 4610101"/>
              <a:gd name="connsiteY17595" fmla="*/ 1199843 h 6557032"/>
              <a:gd name="connsiteX17596" fmla="*/ 2326916 w 4610101"/>
              <a:gd name="connsiteY17596" fmla="*/ 1219887 h 6557032"/>
              <a:gd name="connsiteX17597" fmla="*/ 2334205 w 4610101"/>
              <a:gd name="connsiteY17597" fmla="*/ 1199843 h 6557032"/>
              <a:gd name="connsiteX17598" fmla="*/ 2336027 w 4610101"/>
              <a:gd name="connsiteY17598" fmla="*/ 1205309 h 6557032"/>
              <a:gd name="connsiteX17599" fmla="*/ 2339672 w 4610101"/>
              <a:gd name="connsiteY17599" fmla="*/ 1194376 h 6557032"/>
              <a:gd name="connsiteX17600" fmla="*/ 2350605 w 4610101"/>
              <a:gd name="connsiteY17600" fmla="*/ 1201665 h 6557032"/>
              <a:gd name="connsiteX17601" fmla="*/ 2352427 w 4610101"/>
              <a:gd name="connsiteY17601" fmla="*/ 1199843 h 6557032"/>
              <a:gd name="connsiteX17602" fmla="*/ 2352427 w 4610101"/>
              <a:gd name="connsiteY17602" fmla="*/ 1187088 h 6557032"/>
              <a:gd name="connsiteX17603" fmla="*/ 2374293 w 4610101"/>
              <a:gd name="connsiteY17603" fmla="*/ 1187088 h 6557032"/>
              <a:gd name="connsiteX17604" fmla="*/ 2376115 w 4610101"/>
              <a:gd name="connsiteY17604" fmla="*/ 1179799 h 6557032"/>
              <a:gd name="connsiteX17605" fmla="*/ 2379760 w 4610101"/>
              <a:gd name="connsiteY17605" fmla="*/ 1188910 h 6557032"/>
              <a:gd name="connsiteX17606" fmla="*/ 2387048 w 4610101"/>
              <a:gd name="connsiteY17606" fmla="*/ 1183443 h 6557032"/>
              <a:gd name="connsiteX17607" fmla="*/ 2385226 w 4610101"/>
              <a:gd name="connsiteY17607" fmla="*/ 1181621 h 6557032"/>
              <a:gd name="connsiteX17608" fmla="*/ 2394337 w 4610101"/>
              <a:gd name="connsiteY17608" fmla="*/ 1176155 h 6557032"/>
              <a:gd name="connsiteX17609" fmla="*/ 2388871 w 4610101"/>
              <a:gd name="connsiteY17609" fmla="*/ 1168866 h 6557032"/>
              <a:gd name="connsiteX17610" fmla="*/ 2387048 w 4610101"/>
              <a:gd name="connsiteY17610" fmla="*/ 1174332 h 6557032"/>
              <a:gd name="connsiteX17611" fmla="*/ 2379760 w 4610101"/>
              <a:gd name="connsiteY17611" fmla="*/ 1168866 h 6557032"/>
              <a:gd name="connsiteX17612" fmla="*/ 2374293 w 4610101"/>
              <a:gd name="connsiteY17612" fmla="*/ 1174332 h 6557032"/>
              <a:gd name="connsiteX17613" fmla="*/ 2367004 w 4610101"/>
              <a:gd name="connsiteY17613" fmla="*/ 1183443 h 6557032"/>
              <a:gd name="connsiteX17614" fmla="*/ 2367004 w 4610101"/>
              <a:gd name="connsiteY17614" fmla="*/ 1172510 h 6557032"/>
              <a:gd name="connsiteX17615" fmla="*/ 2359716 w 4610101"/>
              <a:gd name="connsiteY17615" fmla="*/ 1172510 h 6557032"/>
              <a:gd name="connsiteX17616" fmla="*/ 2346960 w 4610101"/>
              <a:gd name="connsiteY17616" fmla="*/ 1161577 h 6557032"/>
              <a:gd name="connsiteX17617" fmla="*/ 2326916 w 4610101"/>
              <a:gd name="connsiteY17617" fmla="*/ 1174332 h 6557032"/>
              <a:gd name="connsiteX17618" fmla="*/ 2325094 w 4610101"/>
              <a:gd name="connsiteY17618" fmla="*/ 1170688 h 6557032"/>
              <a:gd name="connsiteX17619" fmla="*/ 2336027 w 4610101"/>
              <a:gd name="connsiteY17619" fmla="*/ 1167044 h 6557032"/>
              <a:gd name="connsiteX17620" fmla="*/ 2334205 w 4610101"/>
              <a:gd name="connsiteY17620" fmla="*/ 1159755 h 6557032"/>
              <a:gd name="connsiteX17621" fmla="*/ 2277718 w 4610101"/>
              <a:gd name="connsiteY17621" fmla="*/ 1159755 h 6557032"/>
              <a:gd name="connsiteX17622" fmla="*/ 2268607 w 4610101"/>
              <a:gd name="connsiteY17622" fmla="*/ 1172510 h 6557032"/>
              <a:gd name="connsiteX17623" fmla="*/ 2270429 w 4610101"/>
              <a:gd name="connsiteY17623" fmla="*/ 1172510 h 6557032"/>
              <a:gd name="connsiteX17624" fmla="*/ 2270429 w 4610101"/>
              <a:gd name="connsiteY17624" fmla="*/ 1179799 h 6557032"/>
              <a:gd name="connsiteX17625" fmla="*/ 2277718 w 4610101"/>
              <a:gd name="connsiteY17625" fmla="*/ 1172510 h 6557032"/>
              <a:gd name="connsiteX17626" fmla="*/ 2277718 w 4610101"/>
              <a:gd name="connsiteY17626" fmla="*/ 1159755 h 6557032"/>
              <a:gd name="connsiteX17627" fmla="*/ 748914 w 4610101"/>
              <a:gd name="connsiteY17627" fmla="*/ 1159755 h 6557032"/>
              <a:gd name="connsiteX17628" fmla="*/ 750737 w 4610101"/>
              <a:gd name="connsiteY17628" fmla="*/ 1170688 h 6557032"/>
              <a:gd name="connsiteX17629" fmla="*/ 748914 w 4610101"/>
              <a:gd name="connsiteY17629" fmla="*/ 1159755 h 6557032"/>
              <a:gd name="connsiteX17630" fmla="*/ 679671 w 4610101"/>
              <a:gd name="connsiteY17630" fmla="*/ 1159755 h 6557032"/>
              <a:gd name="connsiteX17631" fmla="*/ 681493 w 4610101"/>
              <a:gd name="connsiteY17631" fmla="*/ 1170688 h 6557032"/>
              <a:gd name="connsiteX17632" fmla="*/ 683316 w 4610101"/>
              <a:gd name="connsiteY17632" fmla="*/ 1163399 h 6557032"/>
              <a:gd name="connsiteX17633" fmla="*/ 679671 w 4610101"/>
              <a:gd name="connsiteY17633" fmla="*/ 1159755 h 6557032"/>
              <a:gd name="connsiteX17634" fmla="*/ 1124281 w 4610101"/>
              <a:gd name="connsiteY17634" fmla="*/ 1159754 h 6557032"/>
              <a:gd name="connsiteX17635" fmla="*/ 1131570 w 4610101"/>
              <a:gd name="connsiteY17635" fmla="*/ 1162670 h 6557032"/>
              <a:gd name="connsiteX17636" fmla="*/ 1131570 w 4610101"/>
              <a:gd name="connsiteY17636" fmla="*/ 1163399 h 6557032"/>
              <a:gd name="connsiteX17637" fmla="*/ 1124281 w 4610101"/>
              <a:gd name="connsiteY17637" fmla="*/ 1159755 h 6557032"/>
              <a:gd name="connsiteX17638" fmla="*/ 828179 w 4610101"/>
              <a:gd name="connsiteY17638" fmla="*/ 1159527 h 6557032"/>
              <a:gd name="connsiteX17639" fmla="*/ 828529 w 4610101"/>
              <a:gd name="connsiteY17639" fmla="*/ 1159615 h 6557032"/>
              <a:gd name="connsiteX17640" fmla="*/ 827267 w 4610101"/>
              <a:gd name="connsiteY17640" fmla="*/ 1163399 h 6557032"/>
              <a:gd name="connsiteX17641" fmla="*/ 828179 w 4610101"/>
              <a:gd name="connsiteY17641" fmla="*/ 1159527 h 6557032"/>
              <a:gd name="connsiteX17642" fmla="*/ 516131 w 4610101"/>
              <a:gd name="connsiteY17642" fmla="*/ 1159527 h 6557032"/>
              <a:gd name="connsiteX17643" fmla="*/ 515676 w 4610101"/>
              <a:gd name="connsiteY17643" fmla="*/ 1163399 h 6557032"/>
              <a:gd name="connsiteX17644" fmla="*/ 519320 w 4610101"/>
              <a:gd name="connsiteY17644" fmla="*/ 1159755 h 6557032"/>
              <a:gd name="connsiteX17645" fmla="*/ 516131 w 4610101"/>
              <a:gd name="connsiteY17645" fmla="*/ 1159527 h 6557032"/>
              <a:gd name="connsiteX17646" fmla="*/ 585373 w 4610101"/>
              <a:gd name="connsiteY17646" fmla="*/ 1159072 h 6557032"/>
              <a:gd name="connsiteX17647" fmla="*/ 584919 w 4610101"/>
              <a:gd name="connsiteY17647" fmla="*/ 1159755 h 6557032"/>
              <a:gd name="connsiteX17648" fmla="*/ 588562 w 4610101"/>
              <a:gd name="connsiteY17648" fmla="*/ 1163399 h 6557032"/>
              <a:gd name="connsiteX17649" fmla="*/ 588562 w 4610101"/>
              <a:gd name="connsiteY17649" fmla="*/ 1159755 h 6557032"/>
              <a:gd name="connsiteX17650" fmla="*/ 585373 w 4610101"/>
              <a:gd name="connsiteY17650" fmla="*/ 1159072 h 6557032"/>
              <a:gd name="connsiteX17651" fmla="*/ 872821 w 4610101"/>
              <a:gd name="connsiteY17651" fmla="*/ 1157970 h 6557032"/>
              <a:gd name="connsiteX17652" fmla="*/ 874643 w 4610101"/>
              <a:gd name="connsiteY17652" fmla="*/ 1159792 h 6557032"/>
              <a:gd name="connsiteX17653" fmla="*/ 872821 w 4610101"/>
              <a:gd name="connsiteY17653" fmla="*/ 1157970 h 6557032"/>
              <a:gd name="connsiteX17654" fmla="*/ 3081297 w 4610101"/>
              <a:gd name="connsiteY17654" fmla="*/ 1157933 h 6557032"/>
              <a:gd name="connsiteX17655" fmla="*/ 3063075 w 4610101"/>
              <a:gd name="connsiteY17655" fmla="*/ 1163399 h 6557032"/>
              <a:gd name="connsiteX17656" fmla="*/ 3070363 w 4610101"/>
              <a:gd name="connsiteY17656" fmla="*/ 1183443 h 6557032"/>
              <a:gd name="connsiteX17657" fmla="*/ 3068541 w 4610101"/>
              <a:gd name="connsiteY17657" fmla="*/ 1187088 h 6557032"/>
              <a:gd name="connsiteX17658" fmla="*/ 3074008 w 4610101"/>
              <a:gd name="connsiteY17658" fmla="*/ 1194376 h 6557032"/>
              <a:gd name="connsiteX17659" fmla="*/ 3074008 w 4610101"/>
              <a:gd name="connsiteY17659" fmla="*/ 1187088 h 6557032"/>
              <a:gd name="connsiteX17660" fmla="*/ 3081297 w 4610101"/>
              <a:gd name="connsiteY17660" fmla="*/ 1188910 h 6557032"/>
              <a:gd name="connsiteX17661" fmla="*/ 3075830 w 4610101"/>
              <a:gd name="connsiteY17661" fmla="*/ 1179799 h 6557032"/>
              <a:gd name="connsiteX17662" fmla="*/ 3083119 w 4610101"/>
              <a:gd name="connsiteY17662" fmla="*/ 1187088 h 6557032"/>
              <a:gd name="connsiteX17663" fmla="*/ 3094052 w 4610101"/>
              <a:gd name="connsiteY17663" fmla="*/ 1185266 h 6557032"/>
              <a:gd name="connsiteX17664" fmla="*/ 3103163 w 4610101"/>
              <a:gd name="connsiteY17664" fmla="*/ 1174332 h 6557032"/>
              <a:gd name="connsiteX17665" fmla="*/ 3101340 w 4610101"/>
              <a:gd name="connsiteY17665" fmla="*/ 1176155 h 6557032"/>
              <a:gd name="connsiteX17666" fmla="*/ 3081297 w 4610101"/>
              <a:gd name="connsiteY17666" fmla="*/ 1157933 h 6557032"/>
              <a:gd name="connsiteX17667" fmla="*/ 3048497 w 4610101"/>
              <a:gd name="connsiteY17667" fmla="*/ 1157933 h 6557032"/>
              <a:gd name="connsiteX17668" fmla="*/ 3046675 w 4610101"/>
              <a:gd name="connsiteY17668" fmla="*/ 1165222 h 6557032"/>
              <a:gd name="connsiteX17669" fmla="*/ 3052142 w 4610101"/>
              <a:gd name="connsiteY17669" fmla="*/ 1157933 h 6557032"/>
              <a:gd name="connsiteX17670" fmla="*/ 3048497 w 4610101"/>
              <a:gd name="connsiteY17670" fmla="*/ 1157933 h 6557032"/>
              <a:gd name="connsiteX17671" fmla="*/ 2649441 w 4610101"/>
              <a:gd name="connsiteY17671" fmla="*/ 1157933 h 6557032"/>
              <a:gd name="connsiteX17672" fmla="*/ 2651263 w 4610101"/>
              <a:gd name="connsiteY17672" fmla="*/ 1163399 h 6557032"/>
              <a:gd name="connsiteX17673" fmla="*/ 2653086 w 4610101"/>
              <a:gd name="connsiteY17673" fmla="*/ 1161577 h 6557032"/>
              <a:gd name="connsiteX17674" fmla="*/ 2653086 w 4610101"/>
              <a:gd name="connsiteY17674" fmla="*/ 1159755 h 6557032"/>
              <a:gd name="connsiteX17675" fmla="*/ 2649441 w 4610101"/>
              <a:gd name="connsiteY17675" fmla="*/ 1157933 h 6557032"/>
              <a:gd name="connsiteX17676" fmla="*/ 2642153 w 4610101"/>
              <a:gd name="connsiteY17676" fmla="*/ 1157933 h 6557032"/>
              <a:gd name="connsiteX17677" fmla="*/ 2645797 w 4610101"/>
              <a:gd name="connsiteY17677" fmla="*/ 1163399 h 6557032"/>
              <a:gd name="connsiteX17678" fmla="*/ 2642153 w 4610101"/>
              <a:gd name="connsiteY17678" fmla="*/ 1157933 h 6557032"/>
              <a:gd name="connsiteX17679" fmla="*/ 1208102 w 4610101"/>
              <a:gd name="connsiteY17679" fmla="*/ 1157933 h 6557032"/>
              <a:gd name="connsiteX17680" fmla="*/ 1188058 w 4610101"/>
              <a:gd name="connsiteY17680" fmla="*/ 1168866 h 6557032"/>
              <a:gd name="connsiteX17681" fmla="*/ 1208102 w 4610101"/>
              <a:gd name="connsiteY17681" fmla="*/ 1157933 h 6557032"/>
              <a:gd name="connsiteX17682" fmla="*/ 1175303 w 4610101"/>
              <a:gd name="connsiteY17682" fmla="*/ 1157933 h 6557032"/>
              <a:gd name="connsiteX17683" fmla="*/ 1173481 w 4610101"/>
              <a:gd name="connsiteY17683" fmla="*/ 1163399 h 6557032"/>
              <a:gd name="connsiteX17684" fmla="*/ 1172341 w 4610101"/>
              <a:gd name="connsiteY17684" fmla="*/ 1159299 h 6557032"/>
              <a:gd name="connsiteX17685" fmla="*/ 1175303 w 4610101"/>
              <a:gd name="connsiteY17685" fmla="*/ 1157933 h 6557032"/>
              <a:gd name="connsiteX17686" fmla="*/ 1154264 w 4610101"/>
              <a:gd name="connsiteY17686" fmla="*/ 1157933 h 6557032"/>
              <a:gd name="connsiteX17687" fmla="*/ 1155834 w 4610101"/>
              <a:gd name="connsiteY17687" fmla="*/ 1157933 h 6557032"/>
              <a:gd name="connsiteX17688" fmla="*/ 1155259 w 4610101"/>
              <a:gd name="connsiteY17688" fmla="*/ 1158616 h 6557032"/>
              <a:gd name="connsiteX17689" fmla="*/ 1137037 w 4610101"/>
              <a:gd name="connsiteY17689" fmla="*/ 1157933 h 6557032"/>
              <a:gd name="connsiteX17690" fmla="*/ 1138859 w 4610101"/>
              <a:gd name="connsiteY17690" fmla="*/ 1158020 h 6557032"/>
              <a:gd name="connsiteX17691" fmla="*/ 1138859 w 4610101"/>
              <a:gd name="connsiteY17691" fmla="*/ 1159755 h 6557032"/>
              <a:gd name="connsiteX17692" fmla="*/ 1137037 w 4610101"/>
              <a:gd name="connsiteY17692" fmla="*/ 1157933 h 6557032"/>
              <a:gd name="connsiteX17693" fmla="*/ 1095127 w 4610101"/>
              <a:gd name="connsiteY17693" fmla="*/ 1157933 h 6557032"/>
              <a:gd name="connsiteX17694" fmla="*/ 1091484 w 4610101"/>
              <a:gd name="connsiteY17694" fmla="*/ 1161577 h 6557032"/>
              <a:gd name="connsiteX17695" fmla="*/ 1093305 w 4610101"/>
              <a:gd name="connsiteY17695" fmla="*/ 1163399 h 6557032"/>
              <a:gd name="connsiteX17696" fmla="*/ 1095127 w 4610101"/>
              <a:gd name="connsiteY17696" fmla="*/ 1157933 h 6557032"/>
              <a:gd name="connsiteX17697" fmla="*/ 923843 w 4610101"/>
              <a:gd name="connsiteY17697" fmla="*/ 1157933 h 6557032"/>
              <a:gd name="connsiteX17698" fmla="*/ 922020 w 4610101"/>
              <a:gd name="connsiteY17698" fmla="*/ 1163399 h 6557032"/>
              <a:gd name="connsiteX17699" fmla="*/ 927487 w 4610101"/>
              <a:gd name="connsiteY17699" fmla="*/ 1163399 h 6557032"/>
              <a:gd name="connsiteX17700" fmla="*/ 923843 w 4610101"/>
              <a:gd name="connsiteY17700" fmla="*/ 1157933 h 6557032"/>
              <a:gd name="connsiteX17701" fmla="*/ 686960 w 4610101"/>
              <a:gd name="connsiteY17701" fmla="*/ 1157933 h 6557032"/>
              <a:gd name="connsiteX17702" fmla="*/ 694249 w 4610101"/>
              <a:gd name="connsiteY17702" fmla="*/ 1167044 h 6557032"/>
              <a:gd name="connsiteX17703" fmla="*/ 686960 w 4610101"/>
              <a:gd name="connsiteY17703" fmla="*/ 1157933 h 6557032"/>
              <a:gd name="connsiteX17704" fmla="*/ 663272 w 4610101"/>
              <a:gd name="connsiteY17704" fmla="*/ 1157933 h 6557032"/>
              <a:gd name="connsiteX17705" fmla="*/ 657805 w 4610101"/>
              <a:gd name="connsiteY17705" fmla="*/ 1163399 h 6557032"/>
              <a:gd name="connsiteX17706" fmla="*/ 665094 w 4610101"/>
              <a:gd name="connsiteY17706" fmla="*/ 1159755 h 6557032"/>
              <a:gd name="connsiteX17707" fmla="*/ 663272 w 4610101"/>
              <a:gd name="connsiteY17707" fmla="*/ 1157933 h 6557032"/>
              <a:gd name="connsiteX17708" fmla="*/ 650516 w 4610101"/>
              <a:gd name="connsiteY17708" fmla="*/ 1157933 h 6557032"/>
              <a:gd name="connsiteX17709" fmla="*/ 643228 w 4610101"/>
              <a:gd name="connsiteY17709" fmla="*/ 1159755 h 6557032"/>
              <a:gd name="connsiteX17710" fmla="*/ 652339 w 4610101"/>
              <a:gd name="connsiteY17710" fmla="*/ 1165222 h 6557032"/>
              <a:gd name="connsiteX17711" fmla="*/ 650516 w 4610101"/>
              <a:gd name="connsiteY17711" fmla="*/ 1157933 h 6557032"/>
              <a:gd name="connsiteX17712" fmla="*/ 539364 w 4610101"/>
              <a:gd name="connsiteY17712" fmla="*/ 1157933 h 6557032"/>
              <a:gd name="connsiteX17713" fmla="*/ 555763 w 4610101"/>
              <a:gd name="connsiteY17713" fmla="*/ 1170688 h 6557032"/>
              <a:gd name="connsiteX17714" fmla="*/ 539364 w 4610101"/>
              <a:gd name="connsiteY17714" fmla="*/ 1157933 h 6557032"/>
              <a:gd name="connsiteX17715" fmla="*/ 521142 w 4610101"/>
              <a:gd name="connsiteY17715" fmla="*/ 1157933 h 6557032"/>
              <a:gd name="connsiteX17716" fmla="*/ 521142 w 4610101"/>
              <a:gd name="connsiteY17716" fmla="*/ 1165222 h 6557032"/>
              <a:gd name="connsiteX17717" fmla="*/ 528431 w 4610101"/>
              <a:gd name="connsiteY17717" fmla="*/ 1161577 h 6557032"/>
              <a:gd name="connsiteX17718" fmla="*/ 521142 w 4610101"/>
              <a:gd name="connsiteY17718" fmla="*/ 1157933 h 6557032"/>
              <a:gd name="connsiteX17719" fmla="*/ 399056 w 4610101"/>
              <a:gd name="connsiteY17719" fmla="*/ 1157933 h 6557032"/>
              <a:gd name="connsiteX17720" fmla="*/ 395412 w 4610101"/>
              <a:gd name="connsiteY17720" fmla="*/ 1163399 h 6557032"/>
              <a:gd name="connsiteX17721" fmla="*/ 399056 w 4610101"/>
              <a:gd name="connsiteY17721" fmla="*/ 1157933 h 6557032"/>
              <a:gd name="connsiteX17722" fmla="*/ 182218 w 4610101"/>
              <a:gd name="connsiteY17722" fmla="*/ 1157933 h 6557032"/>
              <a:gd name="connsiteX17723" fmla="*/ 183259 w 4610101"/>
              <a:gd name="connsiteY17723" fmla="*/ 1158453 h 6557032"/>
              <a:gd name="connsiteX17724" fmla="*/ 184040 w 4610101"/>
              <a:gd name="connsiteY17724" fmla="*/ 1159755 h 6557032"/>
              <a:gd name="connsiteX17725" fmla="*/ 393134 w 4610101"/>
              <a:gd name="connsiteY17725" fmla="*/ 1157249 h 6557032"/>
              <a:gd name="connsiteX17726" fmla="*/ 391768 w 4610101"/>
              <a:gd name="connsiteY17726" fmla="*/ 1157933 h 6557032"/>
              <a:gd name="connsiteX17727" fmla="*/ 397234 w 4610101"/>
              <a:gd name="connsiteY17727" fmla="*/ 1157933 h 6557032"/>
              <a:gd name="connsiteX17728" fmla="*/ 393134 w 4610101"/>
              <a:gd name="connsiteY17728" fmla="*/ 1157249 h 6557032"/>
              <a:gd name="connsiteX17729" fmla="*/ 1131570 w 4610101"/>
              <a:gd name="connsiteY17729" fmla="*/ 1156111 h 6557032"/>
              <a:gd name="connsiteX17730" fmla="*/ 1135215 w 4610101"/>
              <a:gd name="connsiteY17730" fmla="*/ 1161577 h 6557032"/>
              <a:gd name="connsiteX17731" fmla="*/ 1133393 w 4610101"/>
              <a:gd name="connsiteY17731" fmla="*/ 1163399 h 6557032"/>
              <a:gd name="connsiteX17732" fmla="*/ 1131570 w 4610101"/>
              <a:gd name="connsiteY17732" fmla="*/ 1162670 h 6557032"/>
              <a:gd name="connsiteX17733" fmla="*/ 1080549 w 4610101"/>
              <a:gd name="connsiteY17733" fmla="*/ 1156111 h 6557032"/>
              <a:gd name="connsiteX17734" fmla="*/ 1078727 w 4610101"/>
              <a:gd name="connsiteY17734" fmla="*/ 1159755 h 6557032"/>
              <a:gd name="connsiteX17735" fmla="*/ 1080549 w 4610101"/>
              <a:gd name="connsiteY17735" fmla="*/ 1156111 h 6557032"/>
              <a:gd name="connsiteX17736" fmla="*/ 705182 w 4610101"/>
              <a:gd name="connsiteY17736" fmla="*/ 1156111 h 6557032"/>
              <a:gd name="connsiteX17737" fmla="*/ 716115 w 4610101"/>
              <a:gd name="connsiteY17737" fmla="*/ 1163399 h 6557032"/>
              <a:gd name="connsiteX17738" fmla="*/ 705182 w 4610101"/>
              <a:gd name="connsiteY17738" fmla="*/ 1156111 h 6557032"/>
              <a:gd name="connsiteX17739" fmla="*/ 362613 w 4610101"/>
              <a:gd name="connsiteY17739" fmla="*/ 1156111 h 6557032"/>
              <a:gd name="connsiteX17740" fmla="*/ 357146 w 4610101"/>
              <a:gd name="connsiteY17740" fmla="*/ 1157933 h 6557032"/>
              <a:gd name="connsiteX17741" fmla="*/ 364435 w 4610101"/>
              <a:gd name="connsiteY17741" fmla="*/ 1159755 h 6557032"/>
              <a:gd name="connsiteX17742" fmla="*/ 362613 w 4610101"/>
              <a:gd name="connsiteY17742" fmla="*/ 1156111 h 6557032"/>
              <a:gd name="connsiteX17743" fmla="*/ 3063530 w 4610101"/>
              <a:gd name="connsiteY17743" fmla="*/ 1154288 h 6557032"/>
              <a:gd name="connsiteX17744" fmla="*/ 3061253 w 4610101"/>
              <a:gd name="connsiteY17744" fmla="*/ 1157933 h 6557032"/>
              <a:gd name="connsiteX17745" fmla="*/ 3068541 w 4610101"/>
              <a:gd name="connsiteY17745" fmla="*/ 1156111 h 6557032"/>
              <a:gd name="connsiteX17746" fmla="*/ 3063530 w 4610101"/>
              <a:gd name="connsiteY17746" fmla="*/ 1154288 h 6557032"/>
              <a:gd name="connsiteX17747" fmla="*/ 3030276 w 4610101"/>
              <a:gd name="connsiteY17747" fmla="*/ 1154288 h 6557032"/>
              <a:gd name="connsiteX17748" fmla="*/ 3035742 w 4610101"/>
              <a:gd name="connsiteY17748" fmla="*/ 1159755 h 6557032"/>
              <a:gd name="connsiteX17749" fmla="*/ 3035742 w 4610101"/>
              <a:gd name="connsiteY17749" fmla="*/ 1154288 h 6557032"/>
              <a:gd name="connsiteX17750" fmla="*/ 3030276 w 4610101"/>
              <a:gd name="connsiteY17750" fmla="*/ 1154288 h 6557032"/>
              <a:gd name="connsiteX17751" fmla="*/ 799935 w 4610101"/>
              <a:gd name="connsiteY17751" fmla="*/ 1154288 h 6557032"/>
              <a:gd name="connsiteX17752" fmla="*/ 809046 w 4610101"/>
              <a:gd name="connsiteY17752" fmla="*/ 1163399 h 6557032"/>
              <a:gd name="connsiteX17753" fmla="*/ 799935 w 4610101"/>
              <a:gd name="connsiteY17753" fmla="*/ 1154288 h 6557032"/>
              <a:gd name="connsiteX17754" fmla="*/ 1154803 w 4610101"/>
              <a:gd name="connsiteY17754" fmla="*/ 1153984 h 6557032"/>
              <a:gd name="connsiteX17755" fmla="*/ 1155259 w 4610101"/>
              <a:gd name="connsiteY17755" fmla="*/ 1154288 h 6557032"/>
              <a:gd name="connsiteX17756" fmla="*/ 1153437 w 4610101"/>
              <a:gd name="connsiteY17756" fmla="*/ 1154895 h 6557032"/>
              <a:gd name="connsiteX17757" fmla="*/ 682177 w 4610101"/>
              <a:gd name="connsiteY17757" fmla="*/ 1153833 h 6557032"/>
              <a:gd name="connsiteX17758" fmla="*/ 679671 w 4610101"/>
              <a:gd name="connsiteY17758" fmla="*/ 1154288 h 6557032"/>
              <a:gd name="connsiteX17759" fmla="*/ 683316 w 4610101"/>
              <a:gd name="connsiteY17759" fmla="*/ 1156111 h 6557032"/>
              <a:gd name="connsiteX17760" fmla="*/ 682177 w 4610101"/>
              <a:gd name="connsiteY17760" fmla="*/ 1153833 h 6557032"/>
              <a:gd name="connsiteX17761" fmla="*/ 2574732 w 4610101"/>
              <a:gd name="connsiteY17761" fmla="*/ 1152466 h 6557032"/>
              <a:gd name="connsiteX17762" fmla="*/ 2578377 w 4610101"/>
              <a:gd name="connsiteY17762" fmla="*/ 1157933 h 6557032"/>
              <a:gd name="connsiteX17763" fmla="*/ 2589310 w 4610101"/>
              <a:gd name="connsiteY17763" fmla="*/ 1157933 h 6557032"/>
              <a:gd name="connsiteX17764" fmla="*/ 2574732 w 4610101"/>
              <a:gd name="connsiteY17764" fmla="*/ 1152466 h 6557032"/>
              <a:gd name="connsiteX17765" fmla="*/ 2343316 w 4610101"/>
              <a:gd name="connsiteY17765" fmla="*/ 1152466 h 6557032"/>
              <a:gd name="connsiteX17766" fmla="*/ 2337850 w 4610101"/>
              <a:gd name="connsiteY17766" fmla="*/ 1157933 h 6557032"/>
              <a:gd name="connsiteX17767" fmla="*/ 2343316 w 4610101"/>
              <a:gd name="connsiteY17767" fmla="*/ 1152466 h 6557032"/>
              <a:gd name="connsiteX17768" fmla="*/ 1075083 w 4610101"/>
              <a:gd name="connsiteY17768" fmla="*/ 1152466 h 6557032"/>
              <a:gd name="connsiteX17769" fmla="*/ 1075083 w 4610101"/>
              <a:gd name="connsiteY17769" fmla="*/ 1159755 h 6557032"/>
              <a:gd name="connsiteX17770" fmla="*/ 1075083 w 4610101"/>
              <a:gd name="connsiteY17770" fmla="*/ 1152466 h 6557032"/>
              <a:gd name="connsiteX17771" fmla="*/ 1033173 w 4610101"/>
              <a:gd name="connsiteY17771" fmla="*/ 1152466 h 6557032"/>
              <a:gd name="connsiteX17772" fmla="*/ 1038639 w 4610101"/>
              <a:gd name="connsiteY17772" fmla="*/ 1156111 h 6557032"/>
              <a:gd name="connsiteX17773" fmla="*/ 1036818 w 4610101"/>
              <a:gd name="connsiteY17773" fmla="*/ 1152466 h 6557032"/>
              <a:gd name="connsiteX17774" fmla="*/ 1033173 w 4610101"/>
              <a:gd name="connsiteY17774" fmla="*/ 1152466 h 6557032"/>
              <a:gd name="connsiteX17775" fmla="*/ 834556 w 4610101"/>
              <a:gd name="connsiteY17775" fmla="*/ 1152466 h 6557032"/>
              <a:gd name="connsiteX17776" fmla="*/ 840022 w 4610101"/>
              <a:gd name="connsiteY17776" fmla="*/ 1161577 h 6557032"/>
              <a:gd name="connsiteX17777" fmla="*/ 834556 w 4610101"/>
              <a:gd name="connsiteY17777" fmla="*/ 1152466 h 6557032"/>
              <a:gd name="connsiteX17778" fmla="*/ 743447 w 4610101"/>
              <a:gd name="connsiteY17778" fmla="*/ 1152466 h 6557032"/>
              <a:gd name="connsiteX17779" fmla="*/ 747092 w 4610101"/>
              <a:gd name="connsiteY17779" fmla="*/ 1154288 h 6557032"/>
              <a:gd name="connsiteX17780" fmla="*/ 743447 w 4610101"/>
              <a:gd name="connsiteY17780" fmla="*/ 1152466 h 6557032"/>
              <a:gd name="connsiteX17781" fmla="*/ 430034 w 4610101"/>
              <a:gd name="connsiteY17781" fmla="*/ 1152466 h 6557032"/>
              <a:gd name="connsiteX17782" fmla="*/ 426389 w 4610101"/>
              <a:gd name="connsiteY17782" fmla="*/ 1161577 h 6557032"/>
              <a:gd name="connsiteX17783" fmla="*/ 435500 w 4610101"/>
              <a:gd name="connsiteY17783" fmla="*/ 1159755 h 6557032"/>
              <a:gd name="connsiteX17784" fmla="*/ 430034 w 4610101"/>
              <a:gd name="connsiteY17784" fmla="*/ 1152466 h 6557032"/>
              <a:gd name="connsiteX17785" fmla="*/ 408167 w 4610101"/>
              <a:gd name="connsiteY17785" fmla="*/ 1152466 h 6557032"/>
              <a:gd name="connsiteX17786" fmla="*/ 411812 w 4610101"/>
              <a:gd name="connsiteY17786" fmla="*/ 1154288 h 6557032"/>
              <a:gd name="connsiteX17787" fmla="*/ 408167 w 4610101"/>
              <a:gd name="connsiteY17787" fmla="*/ 1152466 h 6557032"/>
              <a:gd name="connsiteX17788" fmla="*/ 368079 w 4610101"/>
              <a:gd name="connsiteY17788" fmla="*/ 1152466 h 6557032"/>
              <a:gd name="connsiteX17789" fmla="*/ 364435 w 4610101"/>
              <a:gd name="connsiteY17789" fmla="*/ 1156111 h 6557032"/>
              <a:gd name="connsiteX17790" fmla="*/ 375368 w 4610101"/>
              <a:gd name="connsiteY17790" fmla="*/ 1156111 h 6557032"/>
              <a:gd name="connsiteX17791" fmla="*/ 368079 w 4610101"/>
              <a:gd name="connsiteY17791" fmla="*/ 1152466 h 6557032"/>
              <a:gd name="connsiteX17792" fmla="*/ 266038 w 4610101"/>
              <a:gd name="connsiteY17792" fmla="*/ 1152466 h 6557032"/>
              <a:gd name="connsiteX17793" fmla="*/ 276971 w 4610101"/>
              <a:gd name="connsiteY17793" fmla="*/ 1156111 h 6557032"/>
              <a:gd name="connsiteX17794" fmla="*/ 266038 w 4610101"/>
              <a:gd name="connsiteY17794" fmla="*/ 1152466 h 6557032"/>
              <a:gd name="connsiteX17795" fmla="*/ 145774 w 4610101"/>
              <a:gd name="connsiteY17795" fmla="*/ 1152466 h 6557032"/>
              <a:gd name="connsiteX17796" fmla="*/ 174929 w 4610101"/>
              <a:gd name="connsiteY17796" fmla="*/ 1179799 h 6557032"/>
              <a:gd name="connsiteX17797" fmla="*/ 165818 w 4610101"/>
              <a:gd name="connsiteY17797" fmla="*/ 1167044 h 6557032"/>
              <a:gd name="connsiteX17798" fmla="*/ 145774 w 4610101"/>
              <a:gd name="connsiteY17798" fmla="*/ 1152466 h 6557032"/>
              <a:gd name="connsiteX17799" fmla="*/ 3161472 w 4610101"/>
              <a:gd name="connsiteY17799" fmla="*/ 1150644 h 6557032"/>
              <a:gd name="connsiteX17800" fmla="*/ 3157828 w 4610101"/>
              <a:gd name="connsiteY17800" fmla="*/ 1176155 h 6557032"/>
              <a:gd name="connsiteX17801" fmla="*/ 3168761 w 4610101"/>
              <a:gd name="connsiteY17801" fmla="*/ 1174332 h 6557032"/>
              <a:gd name="connsiteX17802" fmla="*/ 3174227 w 4610101"/>
              <a:gd name="connsiteY17802" fmla="*/ 1177977 h 6557032"/>
              <a:gd name="connsiteX17803" fmla="*/ 3168761 w 4610101"/>
              <a:gd name="connsiteY17803" fmla="*/ 1181621 h 6557032"/>
              <a:gd name="connsiteX17804" fmla="*/ 3168761 w 4610101"/>
              <a:gd name="connsiteY17804" fmla="*/ 1176155 h 6557032"/>
              <a:gd name="connsiteX17805" fmla="*/ 3161472 w 4610101"/>
              <a:gd name="connsiteY17805" fmla="*/ 1177977 h 6557032"/>
              <a:gd name="connsiteX17806" fmla="*/ 3168761 w 4610101"/>
              <a:gd name="connsiteY17806" fmla="*/ 1181621 h 6557032"/>
              <a:gd name="connsiteX17807" fmla="*/ 3177872 w 4610101"/>
              <a:gd name="connsiteY17807" fmla="*/ 1185266 h 6557032"/>
              <a:gd name="connsiteX17808" fmla="*/ 3186982 w 4610101"/>
              <a:gd name="connsiteY17808" fmla="*/ 1179799 h 6557032"/>
              <a:gd name="connsiteX17809" fmla="*/ 3161472 w 4610101"/>
              <a:gd name="connsiteY17809" fmla="*/ 1150644 h 6557032"/>
              <a:gd name="connsiteX17810" fmla="*/ 2441713 w 4610101"/>
              <a:gd name="connsiteY17810" fmla="*/ 1150644 h 6557032"/>
              <a:gd name="connsiteX17811" fmla="*/ 2441713 w 4610101"/>
              <a:gd name="connsiteY17811" fmla="*/ 1152466 h 6557032"/>
              <a:gd name="connsiteX17812" fmla="*/ 2441258 w 4610101"/>
              <a:gd name="connsiteY17812" fmla="*/ 1152010 h 6557032"/>
              <a:gd name="connsiteX17813" fmla="*/ 2199364 w 4610101"/>
              <a:gd name="connsiteY17813" fmla="*/ 1150644 h 6557032"/>
              <a:gd name="connsiteX17814" fmla="*/ 2195720 w 4610101"/>
              <a:gd name="connsiteY17814" fmla="*/ 1161577 h 6557032"/>
              <a:gd name="connsiteX17815" fmla="*/ 2199364 w 4610101"/>
              <a:gd name="connsiteY17815" fmla="*/ 1163399 h 6557032"/>
              <a:gd name="connsiteX17816" fmla="*/ 2199364 w 4610101"/>
              <a:gd name="connsiteY17816" fmla="*/ 1150644 h 6557032"/>
              <a:gd name="connsiteX17817" fmla="*/ 2095500 w 4610101"/>
              <a:gd name="connsiteY17817" fmla="*/ 1150644 h 6557032"/>
              <a:gd name="connsiteX17818" fmla="*/ 2091856 w 4610101"/>
              <a:gd name="connsiteY17818" fmla="*/ 1163399 h 6557032"/>
              <a:gd name="connsiteX17819" fmla="*/ 2084568 w 4610101"/>
              <a:gd name="connsiteY17819" fmla="*/ 1168866 h 6557032"/>
              <a:gd name="connsiteX17820" fmla="*/ 2090034 w 4610101"/>
              <a:gd name="connsiteY17820" fmla="*/ 1174332 h 6557032"/>
              <a:gd name="connsiteX17821" fmla="*/ 2089118 w 4610101"/>
              <a:gd name="connsiteY17821" fmla="*/ 1177997 h 6557032"/>
              <a:gd name="connsiteX17822" fmla="*/ 2079784 w 4610101"/>
              <a:gd name="connsiteY17822" fmla="*/ 1178205 h 6557032"/>
              <a:gd name="connsiteX17823" fmla="*/ 2073634 w 4610101"/>
              <a:gd name="connsiteY17823" fmla="*/ 1185266 h 6557032"/>
              <a:gd name="connsiteX17824" fmla="*/ 2097323 w 4610101"/>
              <a:gd name="connsiteY17824" fmla="*/ 1183443 h 6557032"/>
              <a:gd name="connsiteX17825" fmla="*/ 2095500 w 4610101"/>
              <a:gd name="connsiteY17825" fmla="*/ 1179799 h 6557032"/>
              <a:gd name="connsiteX17826" fmla="*/ 2099145 w 4610101"/>
              <a:gd name="connsiteY17826" fmla="*/ 1187088 h 6557032"/>
              <a:gd name="connsiteX17827" fmla="*/ 2102790 w 4610101"/>
              <a:gd name="connsiteY17827" fmla="*/ 1185266 h 6557032"/>
              <a:gd name="connsiteX17828" fmla="*/ 2104611 w 4610101"/>
              <a:gd name="connsiteY17828" fmla="*/ 1165222 h 6557032"/>
              <a:gd name="connsiteX17829" fmla="*/ 2102790 w 4610101"/>
              <a:gd name="connsiteY17829" fmla="*/ 1170688 h 6557032"/>
              <a:gd name="connsiteX17830" fmla="*/ 2102790 w 4610101"/>
              <a:gd name="connsiteY17830" fmla="*/ 1165222 h 6557032"/>
              <a:gd name="connsiteX17831" fmla="*/ 2099145 w 4610101"/>
              <a:gd name="connsiteY17831" fmla="*/ 1165222 h 6557032"/>
              <a:gd name="connsiteX17832" fmla="*/ 2106433 w 4610101"/>
              <a:gd name="connsiteY17832" fmla="*/ 1156111 h 6557032"/>
              <a:gd name="connsiteX17833" fmla="*/ 1049573 w 4610101"/>
              <a:gd name="connsiteY17833" fmla="*/ 1150644 h 6557032"/>
              <a:gd name="connsiteX17834" fmla="*/ 1053217 w 4610101"/>
              <a:gd name="connsiteY17834" fmla="*/ 1154288 h 6557032"/>
              <a:gd name="connsiteX17835" fmla="*/ 1049573 w 4610101"/>
              <a:gd name="connsiteY17835" fmla="*/ 1150644 h 6557032"/>
              <a:gd name="connsiteX17836" fmla="*/ 1031351 w 4610101"/>
              <a:gd name="connsiteY17836" fmla="*/ 1150644 h 6557032"/>
              <a:gd name="connsiteX17837" fmla="*/ 1025884 w 4610101"/>
              <a:gd name="connsiteY17837" fmla="*/ 1154288 h 6557032"/>
              <a:gd name="connsiteX17838" fmla="*/ 1027707 w 4610101"/>
              <a:gd name="connsiteY17838" fmla="*/ 1156111 h 6557032"/>
              <a:gd name="connsiteX17839" fmla="*/ 1031351 w 4610101"/>
              <a:gd name="connsiteY17839" fmla="*/ 1150644 h 6557032"/>
              <a:gd name="connsiteX17840" fmla="*/ 916555 w 4610101"/>
              <a:gd name="connsiteY17840" fmla="*/ 1150644 h 6557032"/>
              <a:gd name="connsiteX17841" fmla="*/ 911087 w 4610101"/>
              <a:gd name="connsiteY17841" fmla="*/ 1159755 h 6557032"/>
              <a:gd name="connsiteX17842" fmla="*/ 916555 w 4610101"/>
              <a:gd name="connsiteY17842" fmla="*/ 1168866 h 6557032"/>
              <a:gd name="connsiteX17843" fmla="*/ 912909 w 4610101"/>
              <a:gd name="connsiteY17843" fmla="*/ 1167044 h 6557032"/>
              <a:gd name="connsiteX17844" fmla="*/ 912909 w 4610101"/>
              <a:gd name="connsiteY17844" fmla="*/ 1174332 h 6557032"/>
              <a:gd name="connsiteX17845" fmla="*/ 918376 w 4610101"/>
              <a:gd name="connsiteY17845" fmla="*/ 1170688 h 6557032"/>
              <a:gd name="connsiteX17846" fmla="*/ 916555 w 4610101"/>
              <a:gd name="connsiteY17846" fmla="*/ 1168866 h 6557032"/>
              <a:gd name="connsiteX17847" fmla="*/ 917465 w 4610101"/>
              <a:gd name="connsiteY17847" fmla="*/ 1160438 h 6557032"/>
              <a:gd name="connsiteX17848" fmla="*/ 918376 w 4610101"/>
              <a:gd name="connsiteY17848" fmla="*/ 1150644 h 6557032"/>
              <a:gd name="connsiteX17849" fmla="*/ 916555 w 4610101"/>
              <a:gd name="connsiteY17849" fmla="*/ 1150644 h 6557032"/>
              <a:gd name="connsiteX17850" fmla="*/ 850956 w 4610101"/>
              <a:gd name="connsiteY17850" fmla="*/ 1150644 h 6557032"/>
              <a:gd name="connsiteX17851" fmla="*/ 850956 w 4610101"/>
              <a:gd name="connsiteY17851" fmla="*/ 1156111 h 6557032"/>
              <a:gd name="connsiteX17852" fmla="*/ 850956 w 4610101"/>
              <a:gd name="connsiteY17852" fmla="*/ 1150644 h 6557032"/>
              <a:gd name="connsiteX17853" fmla="*/ 827267 w 4610101"/>
              <a:gd name="connsiteY17853" fmla="*/ 1150644 h 6557032"/>
              <a:gd name="connsiteX17854" fmla="*/ 827267 w 4610101"/>
              <a:gd name="connsiteY17854" fmla="*/ 1163399 h 6557032"/>
              <a:gd name="connsiteX17855" fmla="*/ 829089 w 4610101"/>
              <a:gd name="connsiteY17855" fmla="*/ 1172510 h 6557032"/>
              <a:gd name="connsiteX17856" fmla="*/ 827267 w 4610101"/>
              <a:gd name="connsiteY17856" fmla="*/ 1163399 h 6557032"/>
              <a:gd name="connsiteX17857" fmla="*/ 829089 w 4610101"/>
              <a:gd name="connsiteY17857" fmla="*/ 1159755 h 6557032"/>
              <a:gd name="connsiteX17858" fmla="*/ 828529 w 4610101"/>
              <a:gd name="connsiteY17858" fmla="*/ 1159615 h 6557032"/>
              <a:gd name="connsiteX17859" fmla="*/ 830912 w 4610101"/>
              <a:gd name="connsiteY17859" fmla="*/ 1152466 h 6557032"/>
              <a:gd name="connsiteX17860" fmla="*/ 827267 w 4610101"/>
              <a:gd name="connsiteY17860" fmla="*/ 1150644 h 6557032"/>
              <a:gd name="connsiteX17861" fmla="*/ 612251 w 4610101"/>
              <a:gd name="connsiteY17861" fmla="*/ 1150644 h 6557032"/>
              <a:gd name="connsiteX17862" fmla="*/ 614074 w 4610101"/>
              <a:gd name="connsiteY17862" fmla="*/ 1156111 h 6557032"/>
              <a:gd name="connsiteX17863" fmla="*/ 612251 w 4610101"/>
              <a:gd name="connsiteY17863" fmla="*/ 1150644 h 6557032"/>
              <a:gd name="connsiteX17864" fmla="*/ 610429 w 4610101"/>
              <a:gd name="connsiteY17864" fmla="*/ 1150644 h 6557032"/>
              <a:gd name="connsiteX17865" fmla="*/ 604963 w 4610101"/>
              <a:gd name="connsiteY17865" fmla="*/ 1156111 h 6557032"/>
              <a:gd name="connsiteX17866" fmla="*/ 610429 w 4610101"/>
              <a:gd name="connsiteY17866" fmla="*/ 1150644 h 6557032"/>
              <a:gd name="connsiteX17867" fmla="*/ 231416 w 4610101"/>
              <a:gd name="connsiteY17867" fmla="*/ 1150644 h 6557032"/>
              <a:gd name="connsiteX17868" fmla="*/ 244172 w 4610101"/>
              <a:gd name="connsiteY17868" fmla="*/ 1156111 h 6557032"/>
              <a:gd name="connsiteX17869" fmla="*/ 231416 w 4610101"/>
              <a:gd name="connsiteY17869" fmla="*/ 1150644 h 6557032"/>
              <a:gd name="connsiteX17870" fmla="*/ 859659 w 4610101"/>
              <a:gd name="connsiteY17870" fmla="*/ 1149665 h 6557032"/>
              <a:gd name="connsiteX17871" fmla="*/ 859620 w 4610101"/>
              <a:gd name="connsiteY17871" fmla="*/ 1150273 h 6557032"/>
              <a:gd name="connsiteX17872" fmla="*/ 859610 w 4610101"/>
              <a:gd name="connsiteY17872" fmla="*/ 1149961 h 6557032"/>
              <a:gd name="connsiteX17873" fmla="*/ 3021848 w 4610101"/>
              <a:gd name="connsiteY17873" fmla="*/ 1149505 h 6557032"/>
              <a:gd name="connsiteX17874" fmla="*/ 3017521 w 4610101"/>
              <a:gd name="connsiteY17874" fmla="*/ 1152466 h 6557032"/>
              <a:gd name="connsiteX17875" fmla="*/ 3024809 w 4610101"/>
              <a:gd name="connsiteY17875" fmla="*/ 1159755 h 6557032"/>
              <a:gd name="connsiteX17876" fmla="*/ 3022987 w 4610101"/>
              <a:gd name="connsiteY17876" fmla="*/ 1150644 h 6557032"/>
              <a:gd name="connsiteX17877" fmla="*/ 3024809 w 4610101"/>
              <a:gd name="connsiteY17877" fmla="*/ 1150644 h 6557032"/>
              <a:gd name="connsiteX17878" fmla="*/ 3021848 w 4610101"/>
              <a:gd name="connsiteY17878" fmla="*/ 1149505 h 6557032"/>
              <a:gd name="connsiteX17879" fmla="*/ 223900 w 4610101"/>
              <a:gd name="connsiteY17879" fmla="*/ 1149049 h 6557032"/>
              <a:gd name="connsiteX17880" fmla="*/ 222306 w 4610101"/>
              <a:gd name="connsiteY17880" fmla="*/ 1152466 h 6557032"/>
              <a:gd name="connsiteX17881" fmla="*/ 224128 w 4610101"/>
              <a:gd name="connsiteY17881" fmla="*/ 1154288 h 6557032"/>
              <a:gd name="connsiteX17882" fmla="*/ 229594 w 4610101"/>
              <a:gd name="connsiteY17882" fmla="*/ 1152466 h 6557032"/>
              <a:gd name="connsiteX17883" fmla="*/ 223900 w 4610101"/>
              <a:gd name="connsiteY17883" fmla="*/ 1149049 h 6557032"/>
              <a:gd name="connsiteX17884" fmla="*/ 3114096 w 4610101"/>
              <a:gd name="connsiteY17884" fmla="*/ 1148822 h 6557032"/>
              <a:gd name="connsiteX17885" fmla="*/ 3106807 w 4610101"/>
              <a:gd name="connsiteY17885" fmla="*/ 1172510 h 6557032"/>
              <a:gd name="connsiteX17886" fmla="*/ 3117740 w 4610101"/>
              <a:gd name="connsiteY17886" fmla="*/ 1148822 h 6557032"/>
              <a:gd name="connsiteX17887" fmla="*/ 3114096 w 4610101"/>
              <a:gd name="connsiteY17887" fmla="*/ 1148822 h 6557032"/>
              <a:gd name="connsiteX17888" fmla="*/ 2233986 w 4610101"/>
              <a:gd name="connsiteY17888" fmla="*/ 1148822 h 6557032"/>
              <a:gd name="connsiteX17889" fmla="*/ 2230341 w 4610101"/>
              <a:gd name="connsiteY17889" fmla="*/ 1156111 h 6557032"/>
              <a:gd name="connsiteX17890" fmla="*/ 2239452 w 4610101"/>
              <a:gd name="connsiteY17890" fmla="*/ 1156111 h 6557032"/>
              <a:gd name="connsiteX17891" fmla="*/ 2237630 w 4610101"/>
              <a:gd name="connsiteY17891" fmla="*/ 1148822 h 6557032"/>
              <a:gd name="connsiteX17892" fmla="*/ 2044479 w 4610101"/>
              <a:gd name="connsiteY17892" fmla="*/ 1148822 h 6557032"/>
              <a:gd name="connsiteX17893" fmla="*/ 2035369 w 4610101"/>
              <a:gd name="connsiteY17893" fmla="*/ 1154288 h 6557032"/>
              <a:gd name="connsiteX17894" fmla="*/ 2042657 w 4610101"/>
              <a:gd name="connsiteY17894" fmla="*/ 1154288 h 6557032"/>
              <a:gd name="connsiteX17895" fmla="*/ 2046302 w 4610101"/>
              <a:gd name="connsiteY17895" fmla="*/ 1157933 h 6557032"/>
              <a:gd name="connsiteX17896" fmla="*/ 2040835 w 4610101"/>
              <a:gd name="connsiteY17896" fmla="*/ 1170688 h 6557032"/>
              <a:gd name="connsiteX17897" fmla="*/ 2044479 w 4610101"/>
              <a:gd name="connsiteY17897" fmla="*/ 1170688 h 6557032"/>
              <a:gd name="connsiteX17898" fmla="*/ 2048124 w 4610101"/>
              <a:gd name="connsiteY17898" fmla="*/ 1165222 h 6557032"/>
              <a:gd name="connsiteX17899" fmla="*/ 2059057 w 4610101"/>
              <a:gd name="connsiteY17899" fmla="*/ 1168866 h 6557032"/>
              <a:gd name="connsiteX17900" fmla="*/ 2059057 w 4610101"/>
              <a:gd name="connsiteY17900" fmla="*/ 1165222 h 6557032"/>
              <a:gd name="connsiteX17901" fmla="*/ 2053590 w 4610101"/>
              <a:gd name="connsiteY17901" fmla="*/ 1163399 h 6557032"/>
              <a:gd name="connsiteX17902" fmla="*/ 1158903 w 4610101"/>
              <a:gd name="connsiteY17902" fmla="*/ 1148822 h 6557032"/>
              <a:gd name="connsiteX17903" fmla="*/ 1158903 w 4610101"/>
              <a:gd name="connsiteY17903" fmla="*/ 1154288 h 6557032"/>
              <a:gd name="connsiteX17904" fmla="*/ 1157081 w 4610101"/>
              <a:gd name="connsiteY17904" fmla="*/ 1152466 h 6557032"/>
              <a:gd name="connsiteX17905" fmla="*/ 1158903 w 4610101"/>
              <a:gd name="connsiteY17905" fmla="*/ 1148822 h 6557032"/>
              <a:gd name="connsiteX17906" fmla="*/ 809046 w 4610101"/>
              <a:gd name="connsiteY17906" fmla="*/ 1148822 h 6557032"/>
              <a:gd name="connsiteX17907" fmla="*/ 812690 w 4610101"/>
              <a:gd name="connsiteY17907" fmla="*/ 1159755 h 6557032"/>
              <a:gd name="connsiteX17908" fmla="*/ 816334 w 4610101"/>
              <a:gd name="connsiteY17908" fmla="*/ 1156111 h 6557032"/>
              <a:gd name="connsiteX17909" fmla="*/ 809046 w 4610101"/>
              <a:gd name="connsiteY17909" fmla="*/ 1148822 h 6557032"/>
              <a:gd name="connsiteX17910" fmla="*/ 470121 w 4610101"/>
              <a:gd name="connsiteY17910" fmla="*/ 1148822 h 6557032"/>
              <a:gd name="connsiteX17911" fmla="*/ 475589 w 4610101"/>
              <a:gd name="connsiteY17911" fmla="*/ 1154288 h 6557032"/>
              <a:gd name="connsiteX17912" fmla="*/ 475589 w 4610101"/>
              <a:gd name="connsiteY17912" fmla="*/ 1150644 h 6557032"/>
              <a:gd name="connsiteX17913" fmla="*/ 470121 w 4610101"/>
              <a:gd name="connsiteY17913" fmla="*/ 1148822 h 6557032"/>
              <a:gd name="connsiteX17914" fmla="*/ 459188 w 4610101"/>
              <a:gd name="connsiteY17914" fmla="*/ 1148822 h 6557032"/>
              <a:gd name="connsiteX17915" fmla="*/ 455544 w 4610101"/>
              <a:gd name="connsiteY17915" fmla="*/ 1150644 h 6557032"/>
              <a:gd name="connsiteX17916" fmla="*/ 466478 w 4610101"/>
              <a:gd name="connsiteY17916" fmla="*/ 1152466 h 6557032"/>
              <a:gd name="connsiteX17917" fmla="*/ 459188 w 4610101"/>
              <a:gd name="connsiteY17917" fmla="*/ 1148822 h 6557032"/>
              <a:gd name="connsiteX17918" fmla="*/ 202262 w 4610101"/>
              <a:gd name="connsiteY17918" fmla="*/ 1148822 h 6557032"/>
              <a:gd name="connsiteX17919" fmla="*/ 236883 w 4610101"/>
              <a:gd name="connsiteY17919" fmla="*/ 1163399 h 6557032"/>
              <a:gd name="connsiteX17920" fmla="*/ 236883 w 4610101"/>
              <a:gd name="connsiteY17920" fmla="*/ 1159755 h 6557032"/>
              <a:gd name="connsiteX17921" fmla="*/ 215017 w 4610101"/>
              <a:gd name="connsiteY17921" fmla="*/ 1148822 h 6557032"/>
              <a:gd name="connsiteX17922" fmla="*/ 193151 w 4610101"/>
              <a:gd name="connsiteY17922" fmla="*/ 1148822 h 6557032"/>
              <a:gd name="connsiteX17923" fmla="*/ 202717 w 4610101"/>
              <a:gd name="connsiteY17923" fmla="*/ 1160894 h 6557032"/>
              <a:gd name="connsiteX17924" fmla="*/ 213088 w 4610101"/>
              <a:gd name="connsiteY17924" fmla="*/ 1167616 h 6557032"/>
              <a:gd name="connsiteX17925" fmla="*/ 211372 w 4610101"/>
              <a:gd name="connsiteY17925" fmla="*/ 1167044 h 6557032"/>
              <a:gd name="connsiteX17926" fmla="*/ 238705 w 4610101"/>
              <a:gd name="connsiteY17926" fmla="*/ 1192554 h 6557032"/>
              <a:gd name="connsiteX17927" fmla="*/ 236883 w 4610101"/>
              <a:gd name="connsiteY17927" fmla="*/ 1183443 h 6557032"/>
              <a:gd name="connsiteX17928" fmla="*/ 244172 w 4610101"/>
              <a:gd name="connsiteY17928" fmla="*/ 1187088 h 6557032"/>
              <a:gd name="connsiteX17929" fmla="*/ 232555 w 4610101"/>
              <a:gd name="connsiteY17929" fmla="*/ 1179571 h 6557032"/>
              <a:gd name="connsiteX17930" fmla="*/ 224957 w 4610101"/>
              <a:gd name="connsiteY17930" fmla="*/ 1172986 h 6557032"/>
              <a:gd name="connsiteX17931" fmla="*/ 238022 w 4610101"/>
              <a:gd name="connsiteY17931" fmla="*/ 1180482 h 6557032"/>
              <a:gd name="connsiteX17932" fmla="*/ 253282 w 4610101"/>
              <a:gd name="connsiteY17932" fmla="*/ 1187088 h 6557032"/>
              <a:gd name="connsiteX17933" fmla="*/ 244172 w 4610101"/>
              <a:gd name="connsiteY17933" fmla="*/ 1177977 h 6557032"/>
              <a:gd name="connsiteX17934" fmla="*/ 253282 w 4610101"/>
              <a:gd name="connsiteY17934" fmla="*/ 1177977 h 6557032"/>
              <a:gd name="connsiteX17935" fmla="*/ 237339 w 4610101"/>
              <a:gd name="connsiteY17935" fmla="*/ 1171144 h 6557032"/>
              <a:gd name="connsiteX17936" fmla="*/ 224378 w 4610101"/>
              <a:gd name="connsiteY17936" fmla="*/ 1172484 h 6557032"/>
              <a:gd name="connsiteX17937" fmla="*/ 222306 w 4610101"/>
              <a:gd name="connsiteY17937" fmla="*/ 1170688 h 6557032"/>
              <a:gd name="connsiteX17938" fmla="*/ 213802 w 4610101"/>
              <a:gd name="connsiteY17938" fmla="*/ 1167854 h 6557032"/>
              <a:gd name="connsiteX17939" fmla="*/ 204084 w 4610101"/>
              <a:gd name="connsiteY17939" fmla="*/ 1159755 h 6557032"/>
              <a:gd name="connsiteX17940" fmla="*/ 235061 w 4610101"/>
              <a:gd name="connsiteY17940" fmla="*/ 1170688 h 6557032"/>
              <a:gd name="connsiteX17941" fmla="*/ 227772 w 4610101"/>
              <a:gd name="connsiteY17941" fmla="*/ 1165222 h 6557032"/>
              <a:gd name="connsiteX17942" fmla="*/ 193151 w 4610101"/>
              <a:gd name="connsiteY17942" fmla="*/ 1148822 h 6557032"/>
              <a:gd name="connsiteX17943" fmla="*/ 2955351 w 4610101"/>
              <a:gd name="connsiteY17943" fmla="*/ 1148585 h 6557032"/>
              <a:gd name="connsiteX17944" fmla="*/ 2955795 w 4610101"/>
              <a:gd name="connsiteY17944" fmla="*/ 1149733 h 6557032"/>
              <a:gd name="connsiteX17945" fmla="*/ 2952322 w 4610101"/>
              <a:gd name="connsiteY17945" fmla="*/ 1155844 h 6557032"/>
              <a:gd name="connsiteX17946" fmla="*/ 2951922 w 4610101"/>
              <a:gd name="connsiteY17946" fmla="*/ 1156111 h 6557032"/>
              <a:gd name="connsiteX17947" fmla="*/ 2953289 w 4610101"/>
              <a:gd name="connsiteY17947" fmla="*/ 1150188 h 6557032"/>
              <a:gd name="connsiteX17948" fmla="*/ 867355 w 4610101"/>
              <a:gd name="connsiteY17948" fmla="*/ 1147037 h 6557032"/>
              <a:gd name="connsiteX17949" fmla="*/ 874644 w 4610101"/>
              <a:gd name="connsiteY17949" fmla="*/ 1156149 h 6557032"/>
              <a:gd name="connsiteX17950" fmla="*/ 872822 w 4610101"/>
              <a:gd name="connsiteY17950" fmla="*/ 1157971 h 6557032"/>
              <a:gd name="connsiteX17951" fmla="*/ 869177 w 4610101"/>
              <a:gd name="connsiteY17951" fmla="*/ 1154327 h 6557032"/>
              <a:gd name="connsiteX17952" fmla="*/ 865533 w 4610101"/>
              <a:gd name="connsiteY17952" fmla="*/ 1159793 h 6557032"/>
              <a:gd name="connsiteX17953" fmla="*/ 867355 w 4610101"/>
              <a:gd name="connsiteY17953" fmla="*/ 1147037 h 6557032"/>
              <a:gd name="connsiteX17954" fmla="*/ 2643975 w 4610101"/>
              <a:gd name="connsiteY17954" fmla="*/ 1147000 h 6557032"/>
              <a:gd name="connsiteX17955" fmla="*/ 2633042 w 4610101"/>
              <a:gd name="connsiteY17955" fmla="*/ 1156111 h 6557032"/>
              <a:gd name="connsiteX17956" fmla="*/ 2645797 w 4610101"/>
              <a:gd name="connsiteY17956" fmla="*/ 1154288 h 6557032"/>
              <a:gd name="connsiteX17957" fmla="*/ 2643975 w 4610101"/>
              <a:gd name="connsiteY17957" fmla="*/ 1147000 h 6557032"/>
              <a:gd name="connsiteX17958" fmla="*/ 2330561 w 4610101"/>
              <a:gd name="connsiteY17958" fmla="*/ 1147000 h 6557032"/>
              <a:gd name="connsiteX17959" fmla="*/ 2323272 w 4610101"/>
              <a:gd name="connsiteY17959" fmla="*/ 1156111 h 6557032"/>
              <a:gd name="connsiteX17960" fmla="*/ 2332383 w 4610101"/>
              <a:gd name="connsiteY17960" fmla="*/ 1154288 h 6557032"/>
              <a:gd name="connsiteX17961" fmla="*/ 2330561 w 4610101"/>
              <a:gd name="connsiteY17961" fmla="*/ 1147000 h 6557032"/>
              <a:gd name="connsiteX17962" fmla="*/ 2223053 w 4610101"/>
              <a:gd name="connsiteY17962" fmla="*/ 1147000 h 6557032"/>
              <a:gd name="connsiteX17963" fmla="*/ 2204831 w 4610101"/>
              <a:gd name="connsiteY17963" fmla="*/ 1159755 h 6557032"/>
              <a:gd name="connsiteX17964" fmla="*/ 2221230 w 4610101"/>
              <a:gd name="connsiteY17964" fmla="*/ 1156111 h 6557032"/>
              <a:gd name="connsiteX17965" fmla="*/ 2223053 w 4610101"/>
              <a:gd name="connsiteY17965" fmla="*/ 1147000 h 6557032"/>
              <a:gd name="connsiteX17966" fmla="*/ 1005840 w 4610101"/>
              <a:gd name="connsiteY17966" fmla="*/ 1147000 h 6557032"/>
              <a:gd name="connsiteX17967" fmla="*/ 1004018 w 4610101"/>
              <a:gd name="connsiteY17967" fmla="*/ 1154288 h 6557032"/>
              <a:gd name="connsiteX17968" fmla="*/ 1016774 w 4610101"/>
              <a:gd name="connsiteY17968" fmla="*/ 1154288 h 6557032"/>
              <a:gd name="connsiteX17969" fmla="*/ 1005840 w 4610101"/>
              <a:gd name="connsiteY17969" fmla="*/ 1147000 h 6557032"/>
              <a:gd name="connsiteX17970" fmla="*/ 707004 w 4610101"/>
              <a:gd name="connsiteY17970" fmla="*/ 1147000 h 6557032"/>
              <a:gd name="connsiteX17971" fmla="*/ 701537 w 4610101"/>
              <a:gd name="connsiteY17971" fmla="*/ 1148822 h 6557032"/>
              <a:gd name="connsiteX17972" fmla="*/ 712470 w 4610101"/>
              <a:gd name="connsiteY17972" fmla="*/ 1154288 h 6557032"/>
              <a:gd name="connsiteX17973" fmla="*/ 707004 w 4610101"/>
              <a:gd name="connsiteY17973" fmla="*/ 1147000 h 6557032"/>
              <a:gd name="connsiteX17974" fmla="*/ 491987 w 4610101"/>
              <a:gd name="connsiteY17974" fmla="*/ 1147000 h 6557032"/>
              <a:gd name="connsiteX17975" fmla="*/ 497454 w 4610101"/>
              <a:gd name="connsiteY17975" fmla="*/ 1150644 h 6557032"/>
              <a:gd name="connsiteX17976" fmla="*/ 491987 w 4610101"/>
              <a:gd name="connsiteY17976" fmla="*/ 1147000 h 6557032"/>
              <a:gd name="connsiteX17977" fmla="*/ 368079 w 4610101"/>
              <a:gd name="connsiteY17977" fmla="*/ 1147000 h 6557032"/>
              <a:gd name="connsiteX17978" fmla="*/ 371724 w 4610101"/>
              <a:gd name="connsiteY17978" fmla="*/ 1148822 h 6557032"/>
              <a:gd name="connsiteX17979" fmla="*/ 368079 w 4610101"/>
              <a:gd name="connsiteY17979" fmla="*/ 1147000 h 6557032"/>
              <a:gd name="connsiteX17980" fmla="*/ 349858 w 4610101"/>
              <a:gd name="connsiteY17980" fmla="*/ 1147000 h 6557032"/>
              <a:gd name="connsiteX17981" fmla="*/ 364435 w 4610101"/>
              <a:gd name="connsiteY17981" fmla="*/ 1152466 h 6557032"/>
              <a:gd name="connsiteX17982" fmla="*/ 357146 w 4610101"/>
              <a:gd name="connsiteY17982" fmla="*/ 1148822 h 6557032"/>
              <a:gd name="connsiteX17983" fmla="*/ 349858 w 4610101"/>
              <a:gd name="connsiteY17983" fmla="*/ 1147000 h 6557032"/>
              <a:gd name="connsiteX17984" fmla="*/ 297015 w 4610101"/>
              <a:gd name="connsiteY17984" fmla="*/ 1147000 h 6557032"/>
              <a:gd name="connsiteX17985" fmla="*/ 300660 w 4610101"/>
              <a:gd name="connsiteY17985" fmla="*/ 1150644 h 6557032"/>
              <a:gd name="connsiteX17986" fmla="*/ 297015 w 4610101"/>
              <a:gd name="connsiteY17986" fmla="*/ 1147000 h 6557032"/>
              <a:gd name="connsiteX17987" fmla="*/ 601317 w 4610101"/>
              <a:gd name="connsiteY17987" fmla="*/ 1146544 h 6557032"/>
              <a:gd name="connsiteX17988" fmla="*/ 601318 w 4610101"/>
              <a:gd name="connsiteY17988" fmla="*/ 1152466 h 6557032"/>
              <a:gd name="connsiteX17989" fmla="*/ 606784 w 4610101"/>
              <a:gd name="connsiteY17989" fmla="*/ 1148822 h 6557032"/>
              <a:gd name="connsiteX17990" fmla="*/ 601317 w 4610101"/>
              <a:gd name="connsiteY17990" fmla="*/ 1146544 h 6557032"/>
              <a:gd name="connsiteX17991" fmla="*/ 3356445 w 4610101"/>
              <a:gd name="connsiteY17991" fmla="*/ 1145178 h 6557032"/>
              <a:gd name="connsiteX17992" fmla="*/ 3360374 w 4610101"/>
              <a:gd name="connsiteY17992" fmla="*/ 1147692 h 6557032"/>
              <a:gd name="connsiteX17993" fmla="*/ 3358495 w 4610101"/>
              <a:gd name="connsiteY17993" fmla="*/ 1148366 h 6557032"/>
              <a:gd name="connsiteX17994" fmla="*/ 3356142 w 4610101"/>
              <a:gd name="connsiteY17994" fmla="*/ 1148509 h 6557032"/>
              <a:gd name="connsiteX17995" fmla="*/ 3106807 w 4610101"/>
              <a:gd name="connsiteY17995" fmla="*/ 1145178 h 6557032"/>
              <a:gd name="connsiteX17996" fmla="*/ 3099518 w 4610101"/>
              <a:gd name="connsiteY17996" fmla="*/ 1148822 h 6557032"/>
              <a:gd name="connsiteX17997" fmla="*/ 3101340 w 4610101"/>
              <a:gd name="connsiteY17997" fmla="*/ 1159755 h 6557032"/>
              <a:gd name="connsiteX17998" fmla="*/ 3095874 w 4610101"/>
              <a:gd name="connsiteY17998" fmla="*/ 1159755 h 6557032"/>
              <a:gd name="connsiteX17999" fmla="*/ 3097696 w 4610101"/>
              <a:gd name="connsiteY17999" fmla="*/ 1150644 h 6557032"/>
              <a:gd name="connsiteX18000" fmla="*/ 3081297 w 4610101"/>
              <a:gd name="connsiteY18000" fmla="*/ 1152466 h 6557032"/>
              <a:gd name="connsiteX18001" fmla="*/ 3104985 w 4610101"/>
              <a:gd name="connsiteY18001" fmla="*/ 1170688 h 6557032"/>
              <a:gd name="connsiteX18002" fmla="*/ 3101340 w 4610101"/>
              <a:gd name="connsiteY18002" fmla="*/ 1159755 h 6557032"/>
              <a:gd name="connsiteX18003" fmla="*/ 3106807 w 4610101"/>
              <a:gd name="connsiteY18003" fmla="*/ 1145178 h 6557032"/>
              <a:gd name="connsiteX18004" fmla="*/ 2286829 w 4610101"/>
              <a:gd name="connsiteY18004" fmla="*/ 1145178 h 6557032"/>
              <a:gd name="connsiteX18005" fmla="*/ 2281362 w 4610101"/>
              <a:gd name="connsiteY18005" fmla="*/ 1163399 h 6557032"/>
              <a:gd name="connsiteX18006" fmla="*/ 2290473 w 4610101"/>
              <a:gd name="connsiteY18006" fmla="*/ 1161577 h 6557032"/>
              <a:gd name="connsiteX18007" fmla="*/ 2286829 w 4610101"/>
              <a:gd name="connsiteY18007" fmla="*/ 1145178 h 6557032"/>
              <a:gd name="connsiteX18008" fmla="*/ 1082373 w 4610101"/>
              <a:gd name="connsiteY18008" fmla="*/ 1145178 h 6557032"/>
              <a:gd name="connsiteX18009" fmla="*/ 1082373 w 4610101"/>
              <a:gd name="connsiteY18009" fmla="*/ 1156111 h 6557032"/>
              <a:gd name="connsiteX18010" fmla="*/ 1089660 w 4610101"/>
              <a:gd name="connsiteY18010" fmla="*/ 1145178 h 6557032"/>
              <a:gd name="connsiteX18011" fmla="*/ 1082373 w 4610101"/>
              <a:gd name="connsiteY18011" fmla="*/ 1145178 h 6557032"/>
              <a:gd name="connsiteX18012" fmla="*/ 1036818 w 4610101"/>
              <a:gd name="connsiteY18012" fmla="*/ 1145178 h 6557032"/>
              <a:gd name="connsiteX18013" fmla="*/ 1034995 w 4610101"/>
              <a:gd name="connsiteY18013" fmla="*/ 1148822 h 6557032"/>
              <a:gd name="connsiteX18014" fmla="*/ 1036818 w 4610101"/>
              <a:gd name="connsiteY18014" fmla="*/ 1145178 h 6557032"/>
              <a:gd name="connsiteX18015" fmla="*/ 1000374 w 4610101"/>
              <a:gd name="connsiteY18015" fmla="*/ 1145178 h 6557032"/>
              <a:gd name="connsiteX18016" fmla="*/ 996729 w 4610101"/>
              <a:gd name="connsiteY18016" fmla="*/ 1152466 h 6557032"/>
              <a:gd name="connsiteX18017" fmla="*/ 1000374 w 4610101"/>
              <a:gd name="connsiteY18017" fmla="*/ 1154288 h 6557032"/>
              <a:gd name="connsiteX18018" fmla="*/ 998552 w 4610101"/>
              <a:gd name="connsiteY18018" fmla="*/ 1152466 h 6557032"/>
              <a:gd name="connsiteX18019" fmla="*/ 1002196 w 4610101"/>
              <a:gd name="connsiteY18019" fmla="*/ 1154288 h 6557032"/>
              <a:gd name="connsiteX18020" fmla="*/ 1004018 w 4610101"/>
              <a:gd name="connsiteY18020" fmla="*/ 1147000 h 6557032"/>
              <a:gd name="connsiteX18021" fmla="*/ 1000374 w 4610101"/>
              <a:gd name="connsiteY18021" fmla="*/ 1145178 h 6557032"/>
              <a:gd name="connsiteX18022" fmla="*/ 799935 w 4610101"/>
              <a:gd name="connsiteY18022" fmla="*/ 1145178 h 6557032"/>
              <a:gd name="connsiteX18023" fmla="*/ 809046 w 4610101"/>
              <a:gd name="connsiteY18023" fmla="*/ 1157933 h 6557032"/>
              <a:gd name="connsiteX18024" fmla="*/ 799935 w 4610101"/>
              <a:gd name="connsiteY18024" fmla="*/ 1145178 h 6557032"/>
              <a:gd name="connsiteX18025" fmla="*/ 650516 w 4610101"/>
              <a:gd name="connsiteY18025" fmla="*/ 1145178 h 6557032"/>
              <a:gd name="connsiteX18026" fmla="*/ 659627 w 4610101"/>
              <a:gd name="connsiteY18026" fmla="*/ 1152466 h 6557032"/>
              <a:gd name="connsiteX18027" fmla="*/ 650516 w 4610101"/>
              <a:gd name="connsiteY18027" fmla="*/ 1145178 h 6557032"/>
              <a:gd name="connsiteX18028" fmla="*/ 292460 w 4610101"/>
              <a:gd name="connsiteY18028" fmla="*/ 1144722 h 6557032"/>
              <a:gd name="connsiteX18029" fmla="*/ 289726 w 4610101"/>
              <a:gd name="connsiteY18029" fmla="*/ 1145178 h 6557032"/>
              <a:gd name="connsiteX18030" fmla="*/ 295193 w 4610101"/>
              <a:gd name="connsiteY18030" fmla="*/ 1147000 h 6557032"/>
              <a:gd name="connsiteX18031" fmla="*/ 292460 w 4610101"/>
              <a:gd name="connsiteY18031" fmla="*/ 1144722 h 6557032"/>
              <a:gd name="connsiteX18032" fmla="*/ 694932 w 4610101"/>
              <a:gd name="connsiteY18032" fmla="*/ 1144722 h 6557032"/>
              <a:gd name="connsiteX18033" fmla="*/ 688782 w 4610101"/>
              <a:gd name="connsiteY18033" fmla="*/ 1145178 h 6557032"/>
              <a:gd name="connsiteX18034" fmla="*/ 699715 w 4610101"/>
              <a:gd name="connsiteY18034" fmla="*/ 1147000 h 6557032"/>
              <a:gd name="connsiteX18035" fmla="*/ 694932 w 4610101"/>
              <a:gd name="connsiteY18035" fmla="*/ 1144722 h 6557032"/>
              <a:gd name="connsiteX18036" fmla="*/ 3381955 w 4610101"/>
              <a:gd name="connsiteY18036" fmla="*/ 1143355 h 6557032"/>
              <a:gd name="connsiteX18037" fmla="*/ 3381506 w 4610101"/>
              <a:gd name="connsiteY18037" fmla="*/ 1145039 h 6557032"/>
              <a:gd name="connsiteX18038" fmla="*/ 3378311 w 4610101"/>
              <a:gd name="connsiteY18038" fmla="*/ 1145178 h 6557032"/>
              <a:gd name="connsiteX18039" fmla="*/ 3377304 w 4610101"/>
              <a:gd name="connsiteY18039" fmla="*/ 1144130 h 6557032"/>
              <a:gd name="connsiteX18040" fmla="*/ 2334205 w 4610101"/>
              <a:gd name="connsiteY18040" fmla="*/ 1143355 h 6557032"/>
              <a:gd name="connsiteX18041" fmla="*/ 2336027 w 4610101"/>
              <a:gd name="connsiteY18041" fmla="*/ 1148822 h 6557032"/>
              <a:gd name="connsiteX18042" fmla="*/ 2334205 w 4610101"/>
              <a:gd name="connsiteY18042" fmla="*/ 1143355 h 6557032"/>
              <a:gd name="connsiteX18043" fmla="*/ 852778 w 4610101"/>
              <a:gd name="connsiteY18043" fmla="*/ 1143355 h 6557032"/>
              <a:gd name="connsiteX18044" fmla="*/ 849133 w 4610101"/>
              <a:gd name="connsiteY18044" fmla="*/ 1148822 h 6557032"/>
              <a:gd name="connsiteX18045" fmla="*/ 854600 w 4610101"/>
              <a:gd name="connsiteY18045" fmla="*/ 1145178 h 6557032"/>
              <a:gd name="connsiteX18046" fmla="*/ 852778 w 4610101"/>
              <a:gd name="connsiteY18046" fmla="*/ 1143355 h 6557032"/>
              <a:gd name="connsiteX18047" fmla="*/ 794468 w 4610101"/>
              <a:gd name="connsiteY18047" fmla="*/ 1143355 h 6557032"/>
              <a:gd name="connsiteX18048" fmla="*/ 794832 w 4610101"/>
              <a:gd name="connsiteY18048" fmla="*/ 1145906 h 6557032"/>
              <a:gd name="connsiteX18049" fmla="*/ 793947 w 4610101"/>
              <a:gd name="connsiteY18049" fmla="*/ 1144136 h 6557032"/>
              <a:gd name="connsiteX18050" fmla="*/ 637761 w 4610101"/>
              <a:gd name="connsiteY18050" fmla="*/ 1143355 h 6557032"/>
              <a:gd name="connsiteX18051" fmla="*/ 645050 w 4610101"/>
              <a:gd name="connsiteY18051" fmla="*/ 1152466 h 6557032"/>
              <a:gd name="connsiteX18052" fmla="*/ 637761 w 4610101"/>
              <a:gd name="connsiteY18052" fmla="*/ 1143355 h 6557032"/>
              <a:gd name="connsiteX18053" fmla="*/ 561230 w 4610101"/>
              <a:gd name="connsiteY18053" fmla="*/ 1143355 h 6557032"/>
              <a:gd name="connsiteX18054" fmla="*/ 563052 w 4610101"/>
              <a:gd name="connsiteY18054" fmla="*/ 1147000 h 6557032"/>
              <a:gd name="connsiteX18055" fmla="*/ 561230 w 4610101"/>
              <a:gd name="connsiteY18055" fmla="*/ 1143355 h 6557032"/>
              <a:gd name="connsiteX18056" fmla="*/ 342569 w 4610101"/>
              <a:gd name="connsiteY18056" fmla="*/ 1143355 h 6557032"/>
              <a:gd name="connsiteX18057" fmla="*/ 338926 w 4610101"/>
              <a:gd name="connsiteY18057" fmla="*/ 1148822 h 6557032"/>
              <a:gd name="connsiteX18058" fmla="*/ 348037 w 4610101"/>
              <a:gd name="connsiteY18058" fmla="*/ 1156111 h 6557032"/>
              <a:gd name="connsiteX18059" fmla="*/ 357146 w 4610101"/>
              <a:gd name="connsiteY18059" fmla="*/ 1154288 h 6557032"/>
              <a:gd name="connsiteX18060" fmla="*/ 342569 w 4610101"/>
              <a:gd name="connsiteY18060" fmla="*/ 1143355 h 6557032"/>
              <a:gd name="connsiteX18061" fmla="*/ 2840769 w 4610101"/>
              <a:gd name="connsiteY18061" fmla="*/ 1141533 h 6557032"/>
              <a:gd name="connsiteX18062" fmla="*/ 2835303 w 4610101"/>
              <a:gd name="connsiteY18062" fmla="*/ 1148822 h 6557032"/>
              <a:gd name="connsiteX18063" fmla="*/ 2838947 w 4610101"/>
              <a:gd name="connsiteY18063" fmla="*/ 1150644 h 6557032"/>
              <a:gd name="connsiteX18064" fmla="*/ 2829837 w 4610101"/>
              <a:gd name="connsiteY18064" fmla="*/ 1156111 h 6557032"/>
              <a:gd name="connsiteX18065" fmla="*/ 2828014 w 4610101"/>
              <a:gd name="connsiteY18065" fmla="*/ 1181621 h 6557032"/>
              <a:gd name="connsiteX18066" fmla="*/ 2853525 w 4610101"/>
              <a:gd name="connsiteY18066" fmla="*/ 1147000 h 6557032"/>
              <a:gd name="connsiteX18067" fmla="*/ 2840769 w 4610101"/>
              <a:gd name="connsiteY18067" fmla="*/ 1141533 h 6557032"/>
              <a:gd name="connsiteX18068" fmla="*/ 934777 w 4610101"/>
              <a:gd name="connsiteY18068" fmla="*/ 1141533 h 6557032"/>
              <a:gd name="connsiteX18069" fmla="*/ 940242 w 4610101"/>
              <a:gd name="connsiteY18069" fmla="*/ 1143355 h 6557032"/>
              <a:gd name="connsiteX18070" fmla="*/ 934777 w 4610101"/>
              <a:gd name="connsiteY18070" fmla="*/ 1141533 h 6557032"/>
              <a:gd name="connsiteX18071" fmla="*/ 927487 w 4610101"/>
              <a:gd name="connsiteY18071" fmla="*/ 1141533 h 6557032"/>
              <a:gd name="connsiteX18072" fmla="*/ 929309 w 4610101"/>
              <a:gd name="connsiteY18072" fmla="*/ 1156111 h 6557032"/>
              <a:gd name="connsiteX18073" fmla="*/ 927487 w 4610101"/>
              <a:gd name="connsiteY18073" fmla="*/ 1141533 h 6557032"/>
              <a:gd name="connsiteX18074" fmla="*/ 845489 w 4610101"/>
              <a:gd name="connsiteY18074" fmla="*/ 1141533 h 6557032"/>
              <a:gd name="connsiteX18075" fmla="*/ 847311 w 4610101"/>
              <a:gd name="connsiteY18075" fmla="*/ 1147000 h 6557032"/>
              <a:gd name="connsiteX18076" fmla="*/ 845489 w 4610101"/>
              <a:gd name="connsiteY18076" fmla="*/ 1141533 h 6557032"/>
              <a:gd name="connsiteX18077" fmla="*/ 378101 w 4610101"/>
              <a:gd name="connsiteY18077" fmla="*/ 1141077 h 6557032"/>
              <a:gd name="connsiteX18078" fmla="*/ 375368 w 4610101"/>
              <a:gd name="connsiteY18078" fmla="*/ 1141533 h 6557032"/>
              <a:gd name="connsiteX18079" fmla="*/ 380835 w 4610101"/>
              <a:gd name="connsiteY18079" fmla="*/ 1143355 h 6557032"/>
              <a:gd name="connsiteX18080" fmla="*/ 378101 w 4610101"/>
              <a:gd name="connsiteY18080" fmla="*/ 1141077 h 6557032"/>
              <a:gd name="connsiteX18081" fmla="*/ 1085036 w 4610101"/>
              <a:gd name="connsiteY18081" fmla="*/ 1140552 h 6557032"/>
              <a:gd name="connsiteX18082" fmla="*/ 1087175 w 4610101"/>
              <a:gd name="connsiteY18082" fmla="*/ 1142692 h 6557032"/>
              <a:gd name="connsiteX18083" fmla="*/ 1084194 w 4610101"/>
              <a:gd name="connsiteY18083" fmla="*/ 1143355 h 6557032"/>
              <a:gd name="connsiteX18084" fmla="*/ 1476119 w 4610101"/>
              <a:gd name="connsiteY18084" fmla="*/ 1139949 h 6557032"/>
              <a:gd name="connsiteX18085" fmla="*/ 1472317 w 4610101"/>
              <a:gd name="connsiteY18085" fmla="*/ 1141533 h 6557032"/>
              <a:gd name="connsiteX18086" fmla="*/ 1473309 w 4610101"/>
              <a:gd name="connsiteY18086" fmla="*/ 1140350 h 6557032"/>
              <a:gd name="connsiteX18087" fmla="*/ 2219408 w 4610101"/>
              <a:gd name="connsiteY18087" fmla="*/ 1139711 h 6557032"/>
              <a:gd name="connsiteX18088" fmla="*/ 2201187 w 4610101"/>
              <a:gd name="connsiteY18088" fmla="*/ 1143355 h 6557032"/>
              <a:gd name="connsiteX18089" fmla="*/ 2203009 w 4610101"/>
              <a:gd name="connsiteY18089" fmla="*/ 1152466 h 6557032"/>
              <a:gd name="connsiteX18090" fmla="*/ 2219408 w 4610101"/>
              <a:gd name="connsiteY18090" fmla="*/ 1139711 h 6557032"/>
              <a:gd name="connsiteX18091" fmla="*/ 796290 w 4610101"/>
              <a:gd name="connsiteY18091" fmla="*/ 1139711 h 6557032"/>
              <a:gd name="connsiteX18092" fmla="*/ 792646 w 4610101"/>
              <a:gd name="connsiteY18092" fmla="*/ 1141533 h 6557032"/>
              <a:gd name="connsiteX18093" fmla="*/ 793947 w 4610101"/>
              <a:gd name="connsiteY18093" fmla="*/ 1144136 h 6557032"/>
              <a:gd name="connsiteX18094" fmla="*/ 790824 w 4610101"/>
              <a:gd name="connsiteY18094" fmla="*/ 1148822 h 6557032"/>
              <a:gd name="connsiteX18095" fmla="*/ 790824 w 4610101"/>
              <a:gd name="connsiteY18095" fmla="*/ 1147000 h 6557032"/>
              <a:gd name="connsiteX18096" fmla="*/ 790824 w 4610101"/>
              <a:gd name="connsiteY18096" fmla="*/ 1152466 h 6557032"/>
              <a:gd name="connsiteX18097" fmla="*/ 796290 w 4610101"/>
              <a:gd name="connsiteY18097" fmla="*/ 1156111 h 6557032"/>
              <a:gd name="connsiteX18098" fmla="*/ 794832 w 4610101"/>
              <a:gd name="connsiteY18098" fmla="*/ 1145906 h 6557032"/>
              <a:gd name="connsiteX18099" fmla="*/ 796290 w 4610101"/>
              <a:gd name="connsiteY18099" fmla="*/ 1148822 h 6557032"/>
              <a:gd name="connsiteX18100" fmla="*/ 796290 w 4610101"/>
              <a:gd name="connsiteY18100" fmla="*/ 1139711 h 6557032"/>
              <a:gd name="connsiteX18101" fmla="*/ 787179 w 4610101"/>
              <a:gd name="connsiteY18101" fmla="*/ 1139711 h 6557032"/>
              <a:gd name="connsiteX18102" fmla="*/ 789003 w 4610101"/>
              <a:gd name="connsiteY18102" fmla="*/ 1145178 h 6557032"/>
              <a:gd name="connsiteX18103" fmla="*/ 787179 w 4610101"/>
              <a:gd name="connsiteY18103" fmla="*/ 1139711 h 6557032"/>
              <a:gd name="connsiteX18104" fmla="*/ 641407 w 4610101"/>
              <a:gd name="connsiteY18104" fmla="*/ 1139711 h 6557032"/>
              <a:gd name="connsiteX18105" fmla="*/ 645050 w 4610101"/>
              <a:gd name="connsiteY18105" fmla="*/ 1145178 h 6557032"/>
              <a:gd name="connsiteX18106" fmla="*/ 641407 w 4610101"/>
              <a:gd name="connsiteY18106" fmla="*/ 1139711 h 6557032"/>
              <a:gd name="connsiteX18107" fmla="*/ 495632 w 4610101"/>
              <a:gd name="connsiteY18107" fmla="*/ 1139711 h 6557032"/>
              <a:gd name="connsiteX18108" fmla="*/ 506565 w 4610101"/>
              <a:gd name="connsiteY18108" fmla="*/ 1143355 h 6557032"/>
              <a:gd name="connsiteX18109" fmla="*/ 495632 w 4610101"/>
              <a:gd name="connsiteY18109" fmla="*/ 1139711 h 6557032"/>
              <a:gd name="connsiteX18110" fmla="*/ 98397 w 4610101"/>
              <a:gd name="connsiteY18110" fmla="*/ 1137920 h 6557032"/>
              <a:gd name="connsiteX18111" fmla="*/ 116619 w 4610101"/>
              <a:gd name="connsiteY18111" fmla="*/ 1152498 h 6557032"/>
              <a:gd name="connsiteX18112" fmla="*/ 98397 w 4610101"/>
              <a:gd name="connsiteY18112" fmla="*/ 1137920 h 6557032"/>
              <a:gd name="connsiteX18113" fmla="*/ 2294117 w 4610101"/>
              <a:gd name="connsiteY18113" fmla="*/ 1137889 h 6557032"/>
              <a:gd name="connsiteX18114" fmla="*/ 2299584 w 4610101"/>
              <a:gd name="connsiteY18114" fmla="*/ 1147000 h 6557032"/>
              <a:gd name="connsiteX18115" fmla="*/ 2301406 w 4610101"/>
              <a:gd name="connsiteY18115" fmla="*/ 1137889 h 6557032"/>
              <a:gd name="connsiteX18116" fmla="*/ 2294117 w 4610101"/>
              <a:gd name="connsiteY18116" fmla="*/ 1137889 h 6557032"/>
              <a:gd name="connsiteX18117" fmla="*/ 1047750 w 4610101"/>
              <a:gd name="connsiteY18117" fmla="*/ 1137889 h 6557032"/>
              <a:gd name="connsiteX18118" fmla="*/ 1040462 w 4610101"/>
              <a:gd name="connsiteY18118" fmla="*/ 1147000 h 6557032"/>
              <a:gd name="connsiteX18119" fmla="*/ 1044106 w 4610101"/>
              <a:gd name="connsiteY18119" fmla="*/ 1145178 h 6557032"/>
              <a:gd name="connsiteX18120" fmla="*/ 1040462 w 4610101"/>
              <a:gd name="connsiteY18120" fmla="*/ 1150644 h 6557032"/>
              <a:gd name="connsiteX18121" fmla="*/ 1040462 w 4610101"/>
              <a:gd name="connsiteY18121" fmla="*/ 1152466 h 6557032"/>
              <a:gd name="connsiteX18122" fmla="*/ 1047750 w 4610101"/>
              <a:gd name="connsiteY18122" fmla="*/ 1154288 h 6557032"/>
              <a:gd name="connsiteX18123" fmla="*/ 1047750 w 4610101"/>
              <a:gd name="connsiteY18123" fmla="*/ 1137889 h 6557032"/>
              <a:gd name="connsiteX18124" fmla="*/ 1013129 w 4610101"/>
              <a:gd name="connsiteY18124" fmla="*/ 1137889 h 6557032"/>
              <a:gd name="connsiteX18125" fmla="*/ 1000374 w 4610101"/>
              <a:gd name="connsiteY18125" fmla="*/ 1139711 h 6557032"/>
              <a:gd name="connsiteX18126" fmla="*/ 1004018 w 4610101"/>
              <a:gd name="connsiteY18126" fmla="*/ 1143355 h 6557032"/>
              <a:gd name="connsiteX18127" fmla="*/ 1005840 w 4610101"/>
              <a:gd name="connsiteY18127" fmla="*/ 1139711 h 6557032"/>
              <a:gd name="connsiteX18128" fmla="*/ 1016774 w 4610101"/>
              <a:gd name="connsiteY18128" fmla="*/ 1150644 h 6557032"/>
              <a:gd name="connsiteX18129" fmla="*/ 1013129 w 4610101"/>
              <a:gd name="connsiteY18129" fmla="*/ 1137889 h 6557032"/>
              <a:gd name="connsiteX18130" fmla="*/ 947531 w 4610101"/>
              <a:gd name="connsiteY18130" fmla="*/ 1137889 h 6557032"/>
              <a:gd name="connsiteX18131" fmla="*/ 938420 w 4610101"/>
              <a:gd name="connsiteY18131" fmla="*/ 1148822 h 6557032"/>
              <a:gd name="connsiteX18132" fmla="*/ 947531 w 4610101"/>
              <a:gd name="connsiteY18132" fmla="*/ 1137889 h 6557032"/>
              <a:gd name="connsiteX18133" fmla="*/ 770781 w 4610101"/>
              <a:gd name="connsiteY18133" fmla="*/ 1137889 h 6557032"/>
              <a:gd name="connsiteX18134" fmla="*/ 776246 w 4610101"/>
              <a:gd name="connsiteY18134" fmla="*/ 1154288 h 6557032"/>
              <a:gd name="connsiteX18135" fmla="*/ 779892 w 4610101"/>
              <a:gd name="connsiteY18135" fmla="*/ 1148822 h 6557032"/>
              <a:gd name="connsiteX18136" fmla="*/ 770781 w 4610101"/>
              <a:gd name="connsiteY18136" fmla="*/ 1137889 h 6557032"/>
              <a:gd name="connsiteX18137" fmla="*/ 513853 w 4610101"/>
              <a:gd name="connsiteY18137" fmla="*/ 1137889 h 6557032"/>
              <a:gd name="connsiteX18138" fmla="*/ 522964 w 4610101"/>
              <a:gd name="connsiteY18138" fmla="*/ 1139711 h 6557032"/>
              <a:gd name="connsiteX18139" fmla="*/ 513853 w 4610101"/>
              <a:gd name="connsiteY18139" fmla="*/ 1137889 h 6557032"/>
              <a:gd name="connsiteX18140" fmla="*/ 389946 w 4610101"/>
              <a:gd name="connsiteY18140" fmla="*/ 1137889 h 6557032"/>
              <a:gd name="connsiteX18141" fmla="*/ 388123 w 4610101"/>
              <a:gd name="connsiteY18141" fmla="*/ 1139711 h 6557032"/>
              <a:gd name="connsiteX18142" fmla="*/ 393590 w 4610101"/>
              <a:gd name="connsiteY18142" fmla="*/ 1139711 h 6557032"/>
              <a:gd name="connsiteX18143" fmla="*/ 389946 w 4610101"/>
              <a:gd name="connsiteY18143" fmla="*/ 1137889 h 6557032"/>
              <a:gd name="connsiteX18144" fmla="*/ 1116470 w 4610101"/>
              <a:gd name="connsiteY18144" fmla="*/ 1137860 h 6557032"/>
              <a:gd name="connsiteX18145" fmla="*/ 1116993 w 4610101"/>
              <a:gd name="connsiteY18145" fmla="*/ 1137889 h 6557032"/>
              <a:gd name="connsiteX18146" fmla="*/ 1114954 w 4610101"/>
              <a:gd name="connsiteY18146" fmla="*/ 1139247 h 6557032"/>
              <a:gd name="connsiteX18147" fmla="*/ 1114943 w 4610101"/>
              <a:gd name="connsiteY18147" fmla="*/ 1139028 h 6557032"/>
              <a:gd name="connsiteX18148" fmla="*/ 65598 w 4610101"/>
              <a:gd name="connsiteY18148" fmla="*/ 1136114 h 6557032"/>
              <a:gd name="connsiteX18149" fmla="*/ 71065 w 4610101"/>
              <a:gd name="connsiteY18149" fmla="*/ 1143403 h 6557032"/>
              <a:gd name="connsiteX18150" fmla="*/ 71065 w 4610101"/>
              <a:gd name="connsiteY18150" fmla="*/ 1139759 h 6557032"/>
              <a:gd name="connsiteX18151" fmla="*/ 85642 w 4610101"/>
              <a:gd name="connsiteY18151" fmla="*/ 1152514 h 6557032"/>
              <a:gd name="connsiteX18152" fmla="*/ 65598 w 4610101"/>
              <a:gd name="connsiteY18152" fmla="*/ 1136114 h 6557032"/>
              <a:gd name="connsiteX18153" fmla="*/ 1869551 w 4610101"/>
              <a:gd name="connsiteY18153" fmla="*/ 1136067 h 6557032"/>
              <a:gd name="connsiteX18154" fmla="*/ 1872144 w 4610101"/>
              <a:gd name="connsiteY18154" fmla="*/ 1140388 h 6557032"/>
              <a:gd name="connsiteX18155" fmla="*/ 1872983 w 4610101"/>
              <a:gd name="connsiteY18155" fmla="*/ 1145516 h 6557032"/>
              <a:gd name="connsiteX18156" fmla="*/ 1870917 w 4610101"/>
              <a:gd name="connsiteY18156" fmla="*/ 1145861 h 6557032"/>
              <a:gd name="connsiteX18157" fmla="*/ 1869551 w 4610101"/>
              <a:gd name="connsiteY18157" fmla="*/ 1150644 h 6557032"/>
              <a:gd name="connsiteX18158" fmla="*/ 1869551 w 4610101"/>
              <a:gd name="connsiteY18158" fmla="*/ 1136067 h 6557032"/>
              <a:gd name="connsiteX18159" fmla="*/ 1118815 w 4610101"/>
              <a:gd name="connsiteY18159" fmla="*/ 1136067 h 6557032"/>
              <a:gd name="connsiteX18160" fmla="*/ 1116470 w 4610101"/>
              <a:gd name="connsiteY18160" fmla="*/ 1137860 h 6557032"/>
              <a:gd name="connsiteX18161" fmla="*/ 1112893 w 4610101"/>
              <a:gd name="connsiteY18161" fmla="*/ 1137661 h 6557032"/>
              <a:gd name="connsiteX18162" fmla="*/ 1111526 w 4610101"/>
              <a:gd name="connsiteY18162" fmla="*/ 1141533 h 6557032"/>
              <a:gd name="connsiteX18163" fmla="*/ 1114954 w 4610101"/>
              <a:gd name="connsiteY18163" fmla="*/ 1139247 h 6557032"/>
              <a:gd name="connsiteX18164" fmla="*/ 1115171 w 4610101"/>
              <a:gd name="connsiteY18164" fmla="*/ 1143355 h 6557032"/>
              <a:gd name="connsiteX18165" fmla="*/ 1118815 w 4610101"/>
              <a:gd name="connsiteY18165" fmla="*/ 1139711 h 6557032"/>
              <a:gd name="connsiteX18166" fmla="*/ 1118815 w 4610101"/>
              <a:gd name="connsiteY18166" fmla="*/ 1145178 h 6557032"/>
              <a:gd name="connsiteX18167" fmla="*/ 1115171 w 4610101"/>
              <a:gd name="connsiteY18167" fmla="*/ 1150644 h 6557032"/>
              <a:gd name="connsiteX18168" fmla="*/ 1116993 w 4610101"/>
              <a:gd name="connsiteY18168" fmla="*/ 1145178 h 6557032"/>
              <a:gd name="connsiteX18169" fmla="*/ 1095127 w 4610101"/>
              <a:gd name="connsiteY18169" fmla="*/ 1165222 h 6557032"/>
              <a:gd name="connsiteX18170" fmla="*/ 1104238 w 4610101"/>
              <a:gd name="connsiteY18170" fmla="*/ 1165222 h 6557032"/>
              <a:gd name="connsiteX18171" fmla="*/ 1111526 w 4610101"/>
              <a:gd name="connsiteY18171" fmla="*/ 1154288 h 6557032"/>
              <a:gd name="connsiteX18172" fmla="*/ 1113349 w 4610101"/>
              <a:gd name="connsiteY18172" fmla="*/ 1154288 h 6557032"/>
              <a:gd name="connsiteX18173" fmla="*/ 1109704 w 4610101"/>
              <a:gd name="connsiteY18173" fmla="*/ 1163399 h 6557032"/>
              <a:gd name="connsiteX18174" fmla="*/ 1120637 w 4610101"/>
              <a:gd name="connsiteY18174" fmla="*/ 1157933 h 6557032"/>
              <a:gd name="connsiteX18175" fmla="*/ 1124281 w 4610101"/>
              <a:gd name="connsiteY18175" fmla="*/ 1159755 h 6557032"/>
              <a:gd name="connsiteX18176" fmla="*/ 1115171 w 4610101"/>
              <a:gd name="connsiteY18176" fmla="*/ 1161577 h 6557032"/>
              <a:gd name="connsiteX18177" fmla="*/ 1109704 w 4610101"/>
              <a:gd name="connsiteY18177" fmla="*/ 1165222 h 6557032"/>
              <a:gd name="connsiteX18178" fmla="*/ 1135215 w 4610101"/>
              <a:gd name="connsiteY18178" fmla="*/ 1167044 h 6557032"/>
              <a:gd name="connsiteX18179" fmla="*/ 1131570 w 4610101"/>
              <a:gd name="connsiteY18179" fmla="*/ 1165222 h 6557032"/>
              <a:gd name="connsiteX18180" fmla="*/ 1137037 w 4610101"/>
              <a:gd name="connsiteY18180" fmla="*/ 1165222 h 6557032"/>
              <a:gd name="connsiteX18181" fmla="*/ 1137037 w 4610101"/>
              <a:gd name="connsiteY18181" fmla="*/ 1157933 h 6557032"/>
              <a:gd name="connsiteX18182" fmla="*/ 1138859 w 4610101"/>
              <a:gd name="connsiteY18182" fmla="*/ 1161577 h 6557032"/>
              <a:gd name="connsiteX18183" fmla="*/ 1142503 w 4610101"/>
              <a:gd name="connsiteY18183" fmla="*/ 1159755 h 6557032"/>
              <a:gd name="connsiteX18184" fmla="*/ 1141820 w 4610101"/>
              <a:gd name="connsiteY18184" fmla="*/ 1158161 h 6557032"/>
              <a:gd name="connsiteX18185" fmla="*/ 1138859 w 4610101"/>
              <a:gd name="connsiteY18185" fmla="*/ 1158020 h 6557032"/>
              <a:gd name="connsiteX18186" fmla="*/ 1138859 w 4610101"/>
              <a:gd name="connsiteY18186" fmla="*/ 1154288 h 6557032"/>
              <a:gd name="connsiteX18187" fmla="*/ 1137037 w 4610101"/>
              <a:gd name="connsiteY18187" fmla="*/ 1156111 h 6557032"/>
              <a:gd name="connsiteX18188" fmla="*/ 1122459 w 4610101"/>
              <a:gd name="connsiteY18188" fmla="*/ 1137889 h 6557032"/>
              <a:gd name="connsiteX18189" fmla="*/ 1120637 w 4610101"/>
              <a:gd name="connsiteY18189" fmla="*/ 1139711 h 6557032"/>
              <a:gd name="connsiteX18190" fmla="*/ 1118815 w 4610101"/>
              <a:gd name="connsiteY18190" fmla="*/ 1136067 h 6557032"/>
              <a:gd name="connsiteX18191" fmla="*/ 920198 w 4610101"/>
              <a:gd name="connsiteY18191" fmla="*/ 1136067 h 6557032"/>
              <a:gd name="connsiteX18192" fmla="*/ 922020 w 4610101"/>
              <a:gd name="connsiteY18192" fmla="*/ 1143355 h 6557032"/>
              <a:gd name="connsiteX18193" fmla="*/ 923843 w 4610101"/>
              <a:gd name="connsiteY18193" fmla="*/ 1137889 h 6557032"/>
              <a:gd name="connsiteX18194" fmla="*/ 920198 w 4610101"/>
              <a:gd name="connsiteY18194" fmla="*/ 1136067 h 6557032"/>
              <a:gd name="connsiteX18195" fmla="*/ 901976 w 4610101"/>
              <a:gd name="connsiteY18195" fmla="*/ 1136067 h 6557032"/>
              <a:gd name="connsiteX18196" fmla="*/ 898333 w 4610101"/>
              <a:gd name="connsiteY18196" fmla="*/ 1141533 h 6557032"/>
              <a:gd name="connsiteX18197" fmla="*/ 900154 w 4610101"/>
              <a:gd name="connsiteY18197" fmla="*/ 1137889 h 6557032"/>
              <a:gd name="connsiteX18198" fmla="*/ 900154 w 4610101"/>
              <a:gd name="connsiteY18198" fmla="*/ 1145178 h 6557032"/>
              <a:gd name="connsiteX18199" fmla="*/ 900154 w 4610101"/>
              <a:gd name="connsiteY18199" fmla="*/ 1152466 h 6557032"/>
              <a:gd name="connsiteX18200" fmla="*/ 901976 w 4610101"/>
              <a:gd name="connsiteY18200" fmla="*/ 1136067 h 6557032"/>
              <a:gd name="connsiteX18201" fmla="*/ 779892 w 4610101"/>
              <a:gd name="connsiteY18201" fmla="*/ 1136067 h 6557032"/>
              <a:gd name="connsiteX18202" fmla="*/ 781106 w 4610101"/>
              <a:gd name="connsiteY18202" fmla="*/ 1136067 h 6557032"/>
              <a:gd name="connsiteX18203" fmla="*/ 780620 w 4610101"/>
              <a:gd name="connsiteY18203" fmla="*/ 1136431 h 6557032"/>
              <a:gd name="connsiteX18204" fmla="*/ 696071 w 4610101"/>
              <a:gd name="connsiteY18204" fmla="*/ 1136067 h 6557032"/>
              <a:gd name="connsiteX18205" fmla="*/ 692426 w 4610101"/>
              <a:gd name="connsiteY18205" fmla="*/ 1141533 h 6557032"/>
              <a:gd name="connsiteX18206" fmla="*/ 697893 w 4610101"/>
              <a:gd name="connsiteY18206" fmla="*/ 1145178 h 6557032"/>
              <a:gd name="connsiteX18207" fmla="*/ 697893 w 4610101"/>
              <a:gd name="connsiteY18207" fmla="*/ 1143355 h 6557032"/>
              <a:gd name="connsiteX18208" fmla="*/ 701537 w 4610101"/>
              <a:gd name="connsiteY18208" fmla="*/ 1145178 h 6557032"/>
              <a:gd name="connsiteX18209" fmla="*/ 696071 w 4610101"/>
              <a:gd name="connsiteY18209" fmla="*/ 1136067 h 6557032"/>
              <a:gd name="connsiteX18210" fmla="*/ 865988 w 4610101"/>
              <a:gd name="connsiteY18210" fmla="*/ 1134928 h 6557032"/>
              <a:gd name="connsiteX18211" fmla="*/ 861889 w 4610101"/>
              <a:gd name="connsiteY18211" fmla="*/ 1136067 h 6557032"/>
              <a:gd name="connsiteX18212" fmla="*/ 859659 w 4610101"/>
              <a:gd name="connsiteY18212" fmla="*/ 1149665 h 6557032"/>
              <a:gd name="connsiteX18213" fmla="*/ 860066 w 4610101"/>
              <a:gd name="connsiteY18213" fmla="*/ 1143355 h 6557032"/>
              <a:gd name="connsiteX18214" fmla="*/ 852778 w 4610101"/>
              <a:gd name="connsiteY18214" fmla="*/ 1168866 h 6557032"/>
              <a:gd name="connsiteX18215" fmla="*/ 859155 w 4610101"/>
              <a:gd name="connsiteY18215" fmla="*/ 1157477 h 6557032"/>
              <a:gd name="connsiteX18216" fmla="*/ 859620 w 4610101"/>
              <a:gd name="connsiteY18216" fmla="*/ 1150273 h 6557032"/>
              <a:gd name="connsiteX18217" fmla="*/ 860066 w 4610101"/>
              <a:gd name="connsiteY18217" fmla="*/ 1165222 h 6557032"/>
              <a:gd name="connsiteX18218" fmla="*/ 860066 w 4610101"/>
              <a:gd name="connsiteY18218" fmla="*/ 1159755 h 6557032"/>
              <a:gd name="connsiteX18219" fmla="*/ 863711 w 4610101"/>
              <a:gd name="connsiteY18219" fmla="*/ 1163399 h 6557032"/>
              <a:gd name="connsiteX18220" fmla="*/ 860066 w 4610101"/>
              <a:gd name="connsiteY18220" fmla="*/ 1167044 h 6557032"/>
              <a:gd name="connsiteX18221" fmla="*/ 861223 w 4610101"/>
              <a:gd name="connsiteY18221" fmla="*/ 1172019 h 6557032"/>
              <a:gd name="connsiteX18222" fmla="*/ 860522 w 4610101"/>
              <a:gd name="connsiteY18222" fmla="*/ 1173421 h 6557032"/>
              <a:gd name="connsiteX18223" fmla="*/ 861889 w 4610101"/>
              <a:gd name="connsiteY18223" fmla="*/ 1176155 h 6557032"/>
              <a:gd name="connsiteX18224" fmla="*/ 861889 w 4610101"/>
              <a:gd name="connsiteY18224" fmla="*/ 1174880 h 6557032"/>
              <a:gd name="connsiteX18225" fmla="*/ 862345 w 4610101"/>
              <a:gd name="connsiteY18225" fmla="*/ 1176838 h 6557032"/>
              <a:gd name="connsiteX18226" fmla="*/ 867355 w 4610101"/>
              <a:gd name="connsiteY18226" fmla="*/ 1185266 h 6557032"/>
              <a:gd name="connsiteX18227" fmla="*/ 868641 w 4610101"/>
              <a:gd name="connsiteY18227" fmla="*/ 1176691 h 6557032"/>
              <a:gd name="connsiteX18228" fmla="*/ 871000 w 4610101"/>
              <a:gd name="connsiteY18228" fmla="*/ 1194376 h 6557032"/>
              <a:gd name="connsiteX18229" fmla="*/ 876466 w 4610101"/>
              <a:gd name="connsiteY18229" fmla="*/ 1176155 h 6557032"/>
              <a:gd name="connsiteX18230" fmla="*/ 878029 w 4610101"/>
              <a:gd name="connsiteY18230" fmla="*/ 1187088 h 6557032"/>
              <a:gd name="connsiteX18231" fmla="*/ 876466 w 4610101"/>
              <a:gd name="connsiteY18231" fmla="*/ 1187088 h 6557032"/>
              <a:gd name="connsiteX18232" fmla="*/ 880111 w 4610101"/>
              <a:gd name="connsiteY18232" fmla="*/ 1194376 h 6557032"/>
              <a:gd name="connsiteX18233" fmla="*/ 880111 w 4610101"/>
              <a:gd name="connsiteY18233" fmla="*/ 1187088 h 6557032"/>
              <a:gd name="connsiteX18234" fmla="*/ 878288 w 4610101"/>
              <a:gd name="connsiteY18234" fmla="*/ 1187088 h 6557032"/>
              <a:gd name="connsiteX18235" fmla="*/ 878288 w 4610101"/>
              <a:gd name="connsiteY18235" fmla="*/ 1172510 h 6557032"/>
              <a:gd name="connsiteX18236" fmla="*/ 880111 w 4610101"/>
              <a:gd name="connsiteY18236" fmla="*/ 1176155 h 6557032"/>
              <a:gd name="connsiteX18237" fmla="*/ 878491 w 4610101"/>
              <a:gd name="connsiteY18237" fmla="*/ 1168056 h 6557032"/>
              <a:gd name="connsiteX18238" fmla="*/ 878735 w 4610101"/>
              <a:gd name="connsiteY18238" fmla="*/ 1167078 h 6557032"/>
              <a:gd name="connsiteX18239" fmla="*/ 881249 w 4610101"/>
              <a:gd name="connsiteY18239" fmla="*/ 1167271 h 6557032"/>
              <a:gd name="connsiteX18240" fmla="*/ 885577 w 4610101"/>
              <a:gd name="connsiteY18240" fmla="*/ 1168866 h 6557032"/>
              <a:gd name="connsiteX18241" fmla="*/ 885577 w 4610101"/>
              <a:gd name="connsiteY18241" fmla="*/ 1176155 h 6557032"/>
              <a:gd name="connsiteX18242" fmla="*/ 883755 w 4610101"/>
              <a:gd name="connsiteY18242" fmla="*/ 1177977 h 6557032"/>
              <a:gd name="connsiteX18243" fmla="*/ 892866 w 4610101"/>
              <a:gd name="connsiteY18243" fmla="*/ 1177977 h 6557032"/>
              <a:gd name="connsiteX18244" fmla="*/ 887399 w 4610101"/>
              <a:gd name="connsiteY18244" fmla="*/ 1143355 h 6557032"/>
              <a:gd name="connsiteX18245" fmla="*/ 881933 w 4610101"/>
              <a:gd name="connsiteY18245" fmla="*/ 1163399 h 6557032"/>
              <a:gd name="connsiteX18246" fmla="*/ 880276 w 4610101"/>
              <a:gd name="connsiteY18246" fmla="*/ 1161743 h 6557032"/>
              <a:gd name="connsiteX18247" fmla="*/ 881933 w 4610101"/>
              <a:gd name="connsiteY18247" fmla="*/ 1159755 h 6557032"/>
              <a:gd name="connsiteX18248" fmla="*/ 878971 w 4610101"/>
              <a:gd name="connsiteY18248" fmla="*/ 1161122 h 6557032"/>
              <a:gd name="connsiteX18249" fmla="*/ 879630 w 4610101"/>
              <a:gd name="connsiteY18249" fmla="*/ 1163495 h 6557032"/>
              <a:gd name="connsiteX18250" fmla="*/ 878735 w 4610101"/>
              <a:gd name="connsiteY18250" fmla="*/ 1167078 h 6557032"/>
              <a:gd name="connsiteX18251" fmla="*/ 878288 w 4610101"/>
              <a:gd name="connsiteY18251" fmla="*/ 1167044 h 6557032"/>
              <a:gd name="connsiteX18252" fmla="*/ 878491 w 4610101"/>
              <a:gd name="connsiteY18252" fmla="*/ 1168056 h 6557032"/>
              <a:gd name="connsiteX18253" fmla="*/ 878288 w 4610101"/>
              <a:gd name="connsiteY18253" fmla="*/ 1168866 h 6557032"/>
              <a:gd name="connsiteX18254" fmla="*/ 874644 w 4610101"/>
              <a:gd name="connsiteY18254" fmla="*/ 1161577 h 6557032"/>
              <a:gd name="connsiteX18255" fmla="*/ 878288 w 4610101"/>
              <a:gd name="connsiteY18255" fmla="*/ 1159755 h 6557032"/>
              <a:gd name="connsiteX18256" fmla="*/ 874644 w 4610101"/>
              <a:gd name="connsiteY18256" fmla="*/ 1157933 h 6557032"/>
              <a:gd name="connsiteX18257" fmla="*/ 880111 w 4610101"/>
              <a:gd name="connsiteY18257" fmla="*/ 1157933 h 6557032"/>
              <a:gd name="connsiteX18258" fmla="*/ 872822 w 4610101"/>
              <a:gd name="connsiteY18258" fmla="*/ 1137889 h 6557032"/>
              <a:gd name="connsiteX18259" fmla="*/ 865988 w 4610101"/>
              <a:gd name="connsiteY18259" fmla="*/ 1134928 h 6557032"/>
              <a:gd name="connsiteX18260" fmla="*/ 3108629 w 4610101"/>
              <a:gd name="connsiteY18260" fmla="*/ 1134245 h 6557032"/>
              <a:gd name="connsiteX18261" fmla="*/ 3114096 w 4610101"/>
              <a:gd name="connsiteY18261" fmla="*/ 1139711 h 6557032"/>
              <a:gd name="connsiteX18262" fmla="*/ 3112274 w 4610101"/>
              <a:gd name="connsiteY18262" fmla="*/ 1134245 h 6557032"/>
              <a:gd name="connsiteX18263" fmla="*/ 3108629 w 4610101"/>
              <a:gd name="connsiteY18263" fmla="*/ 1134245 h 6557032"/>
              <a:gd name="connsiteX18264" fmla="*/ 2131944 w 4610101"/>
              <a:gd name="connsiteY18264" fmla="*/ 1134245 h 6557032"/>
              <a:gd name="connsiteX18265" fmla="*/ 2111900 w 4610101"/>
              <a:gd name="connsiteY18265" fmla="*/ 1157933 h 6557032"/>
              <a:gd name="connsiteX18266" fmla="*/ 2108256 w 4610101"/>
              <a:gd name="connsiteY18266" fmla="*/ 1156111 h 6557032"/>
              <a:gd name="connsiteX18267" fmla="*/ 2111900 w 4610101"/>
              <a:gd name="connsiteY18267" fmla="*/ 1161577 h 6557032"/>
              <a:gd name="connsiteX18268" fmla="*/ 2122833 w 4610101"/>
              <a:gd name="connsiteY18268" fmla="*/ 1163399 h 6557032"/>
              <a:gd name="connsiteX18269" fmla="*/ 2115544 w 4610101"/>
              <a:gd name="connsiteY18269" fmla="*/ 1172510 h 6557032"/>
              <a:gd name="connsiteX18270" fmla="*/ 2115544 w 4610101"/>
              <a:gd name="connsiteY18270" fmla="*/ 1165222 h 6557032"/>
              <a:gd name="connsiteX18271" fmla="*/ 2106433 w 4610101"/>
              <a:gd name="connsiteY18271" fmla="*/ 1179799 h 6557032"/>
              <a:gd name="connsiteX18272" fmla="*/ 2113722 w 4610101"/>
              <a:gd name="connsiteY18272" fmla="*/ 1181621 h 6557032"/>
              <a:gd name="connsiteX18273" fmla="*/ 2141055 w 4610101"/>
              <a:gd name="connsiteY18273" fmla="*/ 1176155 h 6557032"/>
              <a:gd name="connsiteX18274" fmla="*/ 2133766 w 4610101"/>
              <a:gd name="connsiteY18274" fmla="*/ 1157933 h 6557032"/>
              <a:gd name="connsiteX18275" fmla="*/ 2131944 w 4610101"/>
              <a:gd name="connsiteY18275" fmla="*/ 1134245 h 6557032"/>
              <a:gd name="connsiteX18276" fmla="*/ 1089660 w 4610101"/>
              <a:gd name="connsiteY18276" fmla="*/ 1134245 h 6557032"/>
              <a:gd name="connsiteX18277" fmla="*/ 1089727 w 4610101"/>
              <a:gd name="connsiteY18277" fmla="*/ 1134425 h 6557032"/>
              <a:gd name="connsiteX18278" fmla="*/ 1089517 w 4610101"/>
              <a:gd name="connsiteY18278" fmla="*/ 1134405 h 6557032"/>
              <a:gd name="connsiteX18279" fmla="*/ 1031351 w 4610101"/>
              <a:gd name="connsiteY18279" fmla="*/ 1134245 h 6557032"/>
              <a:gd name="connsiteX18280" fmla="*/ 1033173 w 4610101"/>
              <a:gd name="connsiteY18280" fmla="*/ 1136067 h 6557032"/>
              <a:gd name="connsiteX18281" fmla="*/ 1029529 w 4610101"/>
              <a:gd name="connsiteY18281" fmla="*/ 1136067 h 6557032"/>
              <a:gd name="connsiteX18282" fmla="*/ 1031351 w 4610101"/>
              <a:gd name="connsiteY18282" fmla="*/ 1134245 h 6557032"/>
              <a:gd name="connsiteX18283" fmla="*/ 375368 w 4610101"/>
              <a:gd name="connsiteY18283" fmla="*/ 1134245 h 6557032"/>
              <a:gd name="connsiteX18284" fmla="*/ 375368 w 4610101"/>
              <a:gd name="connsiteY18284" fmla="*/ 1139711 h 6557032"/>
              <a:gd name="connsiteX18285" fmla="*/ 382657 w 4610101"/>
              <a:gd name="connsiteY18285" fmla="*/ 1139711 h 6557032"/>
              <a:gd name="connsiteX18286" fmla="*/ 375368 w 4610101"/>
              <a:gd name="connsiteY18286" fmla="*/ 1134245 h 6557032"/>
              <a:gd name="connsiteX18287" fmla="*/ 3503177 w 4610101"/>
              <a:gd name="connsiteY18287" fmla="*/ 1133285 h 6557032"/>
              <a:gd name="connsiteX18288" fmla="*/ 3520440 w 4610101"/>
              <a:gd name="connsiteY18288" fmla="*/ 1137889 h 6557032"/>
              <a:gd name="connsiteX18289" fmla="*/ 3504269 w 4610101"/>
              <a:gd name="connsiteY18289" fmla="*/ 1133789 h 6557032"/>
              <a:gd name="connsiteX18290" fmla="*/ 1494183 w 4610101"/>
              <a:gd name="connsiteY18290" fmla="*/ 1132422 h 6557032"/>
              <a:gd name="connsiteX18291" fmla="*/ 1492361 w 4610101"/>
              <a:gd name="connsiteY18291" fmla="*/ 1134245 h 6557032"/>
              <a:gd name="connsiteX18292" fmla="*/ 1493871 w 4610101"/>
              <a:gd name="connsiteY18292" fmla="*/ 1132552 h 6557032"/>
              <a:gd name="connsiteX18293" fmla="*/ 1044106 w 4610101"/>
              <a:gd name="connsiteY18293" fmla="*/ 1132422 h 6557032"/>
              <a:gd name="connsiteX18294" fmla="*/ 1042284 w 4610101"/>
              <a:gd name="connsiteY18294" fmla="*/ 1136067 h 6557032"/>
              <a:gd name="connsiteX18295" fmla="*/ 1045929 w 4610101"/>
              <a:gd name="connsiteY18295" fmla="*/ 1136067 h 6557032"/>
              <a:gd name="connsiteX18296" fmla="*/ 1044106 w 4610101"/>
              <a:gd name="connsiteY18296" fmla="*/ 1132422 h 6557032"/>
              <a:gd name="connsiteX18297" fmla="*/ 911087 w 4610101"/>
              <a:gd name="connsiteY18297" fmla="*/ 1132422 h 6557032"/>
              <a:gd name="connsiteX18298" fmla="*/ 914732 w 4610101"/>
              <a:gd name="connsiteY18298" fmla="*/ 1139711 h 6557032"/>
              <a:gd name="connsiteX18299" fmla="*/ 911087 w 4610101"/>
              <a:gd name="connsiteY18299" fmla="*/ 1132422 h 6557032"/>
              <a:gd name="connsiteX18300" fmla="*/ 905621 w 4610101"/>
              <a:gd name="connsiteY18300" fmla="*/ 1132422 h 6557032"/>
              <a:gd name="connsiteX18301" fmla="*/ 901976 w 4610101"/>
              <a:gd name="connsiteY18301" fmla="*/ 1157933 h 6557032"/>
              <a:gd name="connsiteX18302" fmla="*/ 911087 w 4610101"/>
              <a:gd name="connsiteY18302" fmla="*/ 1141533 h 6557032"/>
              <a:gd name="connsiteX18303" fmla="*/ 914732 w 4610101"/>
              <a:gd name="connsiteY18303" fmla="*/ 1143355 h 6557032"/>
              <a:gd name="connsiteX18304" fmla="*/ 905621 w 4610101"/>
              <a:gd name="connsiteY18304" fmla="*/ 1132422 h 6557032"/>
              <a:gd name="connsiteX18305" fmla="*/ 801757 w 4610101"/>
              <a:gd name="connsiteY18305" fmla="*/ 1132422 h 6557032"/>
              <a:gd name="connsiteX18306" fmla="*/ 799935 w 4610101"/>
              <a:gd name="connsiteY18306" fmla="*/ 1139711 h 6557032"/>
              <a:gd name="connsiteX18307" fmla="*/ 807223 w 4610101"/>
              <a:gd name="connsiteY18307" fmla="*/ 1143355 h 6557032"/>
              <a:gd name="connsiteX18308" fmla="*/ 810868 w 4610101"/>
              <a:gd name="connsiteY18308" fmla="*/ 1143355 h 6557032"/>
              <a:gd name="connsiteX18309" fmla="*/ 801757 w 4610101"/>
              <a:gd name="connsiteY18309" fmla="*/ 1132422 h 6557032"/>
              <a:gd name="connsiteX18310" fmla="*/ 670560 w 4610101"/>
              <a:gd name="connsiteY18310" fmla="*/ 1132422 h 6557032"/>
              <a:gd name="connsiteX18311" fmla="*/ 679671 w 4610101"/>
              <a:gd name="connsiteY18311" fmla="*/ 1139711 h 6557032"/>
              <a:gd name="connsiteX18312" fmla="*/ 670560 w 4610101"/>
              <a:gd name="connsiteY18312" fmla="*/ 1132422 h 6557032"/>
              <a:gd name="connsiteX18313" fmla="*/ 276971 w 4610101"/>
              <a:gd name="connsiteY18313" fmla="*/ 1132422 h 6557032"/>
              <a:gd name="connsiteX18314" fmla="*/ 287904 w 4610101"/>
              <a:gd name="connsiteY18314" fmla="*/ 1139711 h 6557032"/>
              <a:gd name="connsiteX18315" fmla="*/ 276971 w 4610101"/>
              <a:gd name="connsiteY18315" fmla="*/ 1132422 h 6557032"/>
              <a:gd name="connsiteX18316" fmla="*/ 933865 w 4610101"/>
              <a:gd name="connsiteY18316" fmla="*/ 1132195 h 6557032"/>
              <a:gd name="connsiteX18317" fmla="*/ 929309 w 4610101"/>
              <a:gd name="connsiteY18317" fmla="*/ 1134245 h 6557032"/>
              <a:gd name="connsiteX18318" fmla="*/ 936598 w 4610101"/>
              <a:gd name="connsiteY18318" fmla="*/ 1139711 h 6557032"/>
              <a:gd name="connsiteX18319" fmla="*/ 938420 w 4610101"/>
              <a:gd name="connsiteY18319" fmla="*/ 1134245 h 6557032"/>
              <a:gd name="connsiteX18320" fmla="*/ 933865 w 4610101"/>
              <a:gd name="connsiteY18320" fmla="*/ 1132195 h 6557032"/>
              <a:gd name="connsiteX18321" fmla="*/ 240299 w 4610101"/>
              <a:gd name="connsiteY18321" fmla="*/ 1131283 h 6557032"/>
              <a:gd name="connsiteX18322" fmla="*/ 235061 w 4610101"/>
              <a:gd name="connsiteY18322" fmla="*/ 1132422 h 6557032"/>
              <a:gd name="connsiteX18323" fmla="*/ 244172 w 4610101"/>
              <a:gd name="connsiteY18323" fmla="*/ 1134245 h 6557032"/>
              <a:gd name="connsiteX18324" fmla="*/ 240299 w 4610101"/>
              <a:gd name="connsiteY18324" fmla="*/ 1131283 h 6557032"/>
              <a:gd name="connsiteX18325" fmla="*/ 3405643 w 4610101"/>
              <a:gd name="connsiteY18325" fmla="*/ 1130600 h 6557032"/>
              <a:gd name="connsiteX18326" fmla="*/ 3401999 w 4610101"/>
              <a:gd name="connsiteY18326" fmla="*/ 1132422 h 6557032"/>
              <a:gd name="connsiteX18327" fmla="*/ 3414754 w 4610101"/>
              <a:gd name="connsiteY18327" fmla="*/ 1145178 h 6557032"/>
              <a:gd name="connsiteX18328" fmla="*/ 3418399 w 4610101"/>
              <a:gd name="connsiteY18328" fmla="*/ 1137889 h 6557032"/>
              <a:gd name="connsiteX18329" fmla="*/ 3407466 w 4610101"/>
              <a:gd name="connsiteY18329" fmla="*/ 1134245 h 6557032"/>
              <a:gd name="connsiteX18330" fmla="*/ 3405643 w 4610101"/>
              <a:gd name="connsiteY18330" fmla="*/ 1130600 h 6557032"/>
              <a:gd name="connsiteX18331" fmla="*/ 2264963 w 4610101"/>
              <a:gd name="connsiteY18331" fmla="*/ 1130600 h 6557032"/>
              <a:gd name="connsiteX18332" fmla="*/ 2254030 w 4610101"/>
              <a:gd name="connsiteY18332" fmla="*/ 1150644 h 6557032"/>
              <a:gd name="connsiteX18333" fmla="*/ 2268607 w 4610101"/>
              <a:gd name="connsiteY18333" fmla="*/ 1132422 h 6557032"/>
              <a:gd name="connsiteX18334" fmla="*/ 2264963 w 4610101"/>
              <a:gd name="connsiteY18334" fmla="*/ 1130600 h 6557032"/>
              <a:gd name="connsiteX18335" fmla="*/ 1521516 w 4610101"/>
              <a:gd name="connsiteY18335" fmla="*/ 1130600 h 6557032"/>
              <a:gd name="connsiteX18336" fmla="*/ 1512405 w 4610101"/>
              <a:gd name="connsiteY18336" fmla="*/ 1134245 h 6557032"/>
              <a:gd name="connsiteX18337" fmla="*/ 1513138 w 4610101"/>
              <a:gd name="connsiteY18337" fmla="*/ 1133145 h 6557032"/>
              <a:gd name="connsiteX18338" fmla="*/ 1253656 w 4610101"/>
              <a:gd name="connsiteY18338" fmla="*/ 1130600 h 6557032"/>
              <a:gd name="connsiteX18339" fmla="*/ 1251834 w 4610101"/>
              <a:gd name="connsiteY18339" fmla="*/ 1137889 h 6557032"/>
              <a:gd name="connsiteX18340" fmla="*/ 1253656 w 4610101"/>
              <a:gd name="connsiteY18340" fmla="*/ 1137889 h 6557032"/>
              <a:gd name="connsiteX18341" fmla="*/ 1250012 w 4610101"/>
              <a:gd name="connsiteY18341" fmla="*/ 1143355 h 6557032"/>
              <a:gd name="connsiteX18342" fmla="*/ 1266411 w 4610101"/>
              <a:gd name="connsiteY18342" fmla="*/ 1134245 h 6557032"/>
              <a:gd name="connsiteX18343" fmla="*/ 1253656 w 4610101"/>
              <a:gd name="connsiteY18343" fmla="*/ 1130600 h 6557032"/>
              <a:gd name="connsiteX18344" fmla="*/ 898333 w 4610101"/>
              <a:gd name="connsiteY18344" fmla="*/ 1130600 h 6557032"/>
              <a:gd name="connsiteX18345" fmla="*/ 898333 w 4610101"/>
              <a:gd name="connsiteY18345" fmla="*/ 1136067 h 6557032"/>
              <a:gd name="connsiteX18346" fmla="*/ 901976 w 4610101"/>
              <a:gd name="connsiteY18346" fmla="*/ 1130600 h 6557032"/>
              <a:gd name="connsiteX18347" fmla="*/ 898333 w 4610101"/>
              <a:gd name="connsiteY18347" fmla="*/ 1130600 h 6557032"/>
              <a:gd name="connsiteX18348" fmla="*/ 191329 w 4610101"/>
              <a:gd name="connsiteY18348" fmla="*/ 1130600 h 6557032"/>
              <a:gd name="connsiteX18349" fmla="*/ 215017 w 4610101"/>
              <a:gd name="connsiteY18349" fmla="*/ 1137889 h 6557032"/>
              <a:gd name="connsiteX18350" fmla="*/ 191329 w 4610101"/>
              <a:gd name="connsiteY18350" fmla="*/ 1130600 h 6557032"/>
              <a:gd name="connsiteX18351" fmla="*/ 3034972 w 4610101"/>
              <a:gd name="connsiteY18351" fmla="*/ 1130380 h 6557032"/>
              <a:gd name="connsiteX18352" fmla="*/ 3037564 w 4610101"/>
              <a:gd name="connsiteY18352" fmla="*/ 1132422 h 6557032"/>
              <a:gd name="connsiteX18353" fmla="*/ 3035742 w 4610101"/>
              <a:gd name="connsiteY18353" fmla="*/ 1133151 h 6557032"/>
              <a:gd name="connsiteX18354" fmla="*/ 850272 w 4610101"/>
              <a:gd name="connsiteY18354" fmla="*/ 1130144 h 6557032"/>
              <a:gd name="connsiteX18355" fmla="*/ 845489 w 4610101"/>
              <a:gd name="connsiteY18355" fmla="*/ 1136067 h 6557032"/>
              <a:gd name="connsiteX18356" fmla="*/ 849133 w 4610101"/>
              <a:gd name="connsiteY18356" fmla="*/ 1141533 h 6557032"/>
              <a:gd name="connsiteX18357" fmla="*/ 856422 w 4610101"/>
              <a:gd name="connsiteY18357" fmla="*/ 1132422 h 6557032"/>
              <a:gd name="connsiteX18358" fmla="*/ 850272 w 4610101"/>
              <a:gd name="connsiteY18358" fmla="*/ 1130144 h 6557032"/>
              <a:gd name="connsiteX18359" fmla="*/ 1026567 w 4610101"/>
              <a:gd name="connsiteY18359" fmla="*/ 1129461 h 6557032"/>
              <a:gd name="connsiteX18360" fmla="*/ 1013129 w 4610101"/>
              <a:gd name="connsiteY18360" fmla="*/ 1132422 h 6557032"/>
              <a:gd name="connsiteX18361" fmla="*/ 1014951 w 4610101"/>
              <a:gd name="connsiteY18361" fmla="*/ 1136067 h 6557032"/>
              <a:gd name="connsiteX18362" fmla="*/ 1024062 w 4610101"/>
              <a:gd name="connsiteY18362" fmla="*/ 1143355 h 6557032"/>
              <a:gd name="connsiteX18363" fmla="*/ 1022240 w 4610101"/>
              <a:gd name="connsiteY18363" fmla="*/ 1147000 h 6557032"/>
              <a:gd name="connsiteX18364" fmla="*/ 1024062 w 4610101"/>
              <a:gd name="connsiteY18364" fmla="*/ 1148822 h 6557032"/>
              <a:gd name="connsiteX18365" fmla="*/ 1034995 w 4610101"/>
              <a:gd name="connsiteY18365" fmla="*/ 1139711 h 6557032"/>
              <a:gd name="connsiteX18366" fmla="*/ 1033173 w 4610101"/>
              <a:gd name="connsiteY18366" fmla="*/ 1137889 h 6557032"/>
              <a:gd name="connsiteX18367" fmla="*/ 1036818 w 4610101"/>
              <a:gd name="connsiteY18367" fmla="*/ 1136067 h 6557032"/>
              <a:gd name="connsiteX18368" fmla="*/ 1033173 w 4610101"/>
              <a:gd name="connsiteY18368" fmla="*/ 1136067 h 6557032"/>
              <a:gd name="connsiteX18369" fmla="*/ 1026567 w 4610101"/>
              <a:gd name="connsiteY18369" fmla="*/ 1129461 h 6557032"/>
              <a:gd name="connsiteX18370" fmla="*/ 2319628 w 4610101"/>
              <a:gd name="connsiteY18370" fmla="*/ 1128778 h 6557032"/>
              <a:gd name="connsiteX18371" fmla="*/ 2325094 w 4610101"/>
              <a:gd name="connsiteY18371" fmla="*/ 1134245 h 6557032"/>
              <a:gd name="connsiteX18372" fmla="*/ 2319628 w 4610101"/>
              <a:gd name="connsiteY18372" fmla="*/ 1128778 h 6557032"/>
              <a:gd name="connsiteX18373" fmla="*/ 1042284 w 4610101"/>
              <a:gd name="connsiteY18373" fmla="*/ 1128778 h 6557032"/>
              <a:gd name="connsiteX18374" fmla="*/ 1034995 w 4610101"/>
              <a:gd name="connsiteY18374" fmla="*/ 1130600 h 6557032"/>
              <a:gd name="connsiteX18375" fmla="*/ 1038639 w 4610101"/>
              <a:gd name="connsiteY18375" fmla="*/ 1134245 h 6557032"/>
              <a:gd name="connsiteX18376" fmla="*/ 1045929 w 4610101"/>
              <a:gd name="connsiteY18376" fmla="*/ 1128778 h 6557032"/>
              <a:gd name="connsiteX18377" fmla="*/ 1038639 w 4610101"/>
              <a:gd name="connsiteY18377" fmla="*/ 1134245 h 6557032"/>
              <a:gd name="connsiteX18378" fmla="*/ 1042284 w 4610101"/>
              <a:gd name="connsiteY18378" fmla="*/ 1128778 h 6557032"/>
              <a:gd name="connsiteX18379" fmla="*/ 841845 w 4610101"/>
              <a:gd name="connsiteY18379" fmla="*/ 1128778 h 6557032"/>
              <a:gd name="connsiteX18380" fmla="*/ 845489 w 4610101"/>
              <a:gd name="connsiteY18380" fmla="*/ 1130600 h 6557032"/>
              <a:gd name="connsiteX18381" fmla="*/ 841845 w 4610101"/>
              <a:gd name="connsiteY18381" fmla="*/ 1128778 h 6557032"/>
              <a:gd name="connsiteX18382" fmla="*/ 138486 w 4610101"/>
              <a:gd name="connsiteY18382" fmla="*/ 1128778 h 6557032"/>
              <a:gd name="connsiteX18383" fmla="*/ 142076 w 4610101"/>
              <a:gd name="connsiteY18383" fmla="*/ 1130573 h 6557032"/>
              <a:gd name="connsiteX18384" fmla="*/ 146768 w 4610101"/>
              <a:gd name="connsiteY18384" fmla="*/ 1134410 h 6557032"/>
              <a:gd name="connsiteX18385" fmla="*/ 418872 w 4610101"/>
              <a:gd name="connsiteY18385" fmla="*/ 1127867 h 6557032"/>
              <a:gd name="connsiteX18386" fmla="*/ 420923 w 4610101"/>
              <a:gd name="connsiteY18386" fmla="*/ 1134245 h 6557032"/>
              <a:gd name="connsiteX18387" fmla="*/ 426389 w 4610101"/>
              <a:gd name="connsiteY18387" fmla="*/ 1132422 h 6557032"/>
              <a:gd name="connsiteX18388" fmla="*/ 418872 w 4610101"/>
              <a:gd name="connsiteY18388" fmla="*/ 1127867 h 6557032"/>
              <a:gd name="connsiteX18389" fmla="*/ 3358267 w 4610101"/>
              <a:gd name="connsiteY18389" fmla="*/ 1126956 h 6557032"/>
              <a:gd name="connsiteX18390" fmla="*/ 3357554 w 4610101"/>
              <a:gd name="connsiteY18390" fmla="*/ 1128362 h 6557032"/>
              <a:gd name="connsiteX18391" fmla="*/ 3356081 w 4610101"/>
              <a:gd name="connsiteY18391" fmla="*/ 1127503 h 6557032"/>
              <a:gd name="connsiteX18392" fmla="*/ 2935523 w 4610101"/>
              <a:gd name="connsiteY18392" fmla="*/ 1126956 h 6557032"/>
              <a:gd name="connsiteX18393" fmla="*/ 2936219 w 4610101"/>
              <a:gd name="connsiteY18393" fmla="*/ 1128027 h 6557032"/>
              <a:gd name="connsiteX18394" fmla="*/ 2935423 w 4610101"/>
              <a:gd name="connsiteY18394" fmla="*/ 1127955 h 6557032"/>
              <a:gd name="connsiteX18395" fmla="*/ 1516049 w 4610101"/>
              <a:gd name="connsiteY18395" fmla="*/ 1126956 h 6557032"/>
              <a:gd name="connsiteX18396" fmla="*/ 1516049 w 4610101"/>
              <a:gd name="connsiteY18396" fmla="*/ 1128778 h 6557032"/>
              <a:gd name="connsiteX18397" fmla="*/ 1513138 w 4610101"/>
              <a:gd name="connsiteY18397" fmla="*/ 1133145 h 6557032"/>
              <a:gd name="connsiteX18398" fmla="*/ 1503522 w 4610101"/>
              <a:gd name="connsiteY18398" fmla="*/ 1136067 h 6557032"/>
              <a:gd name="connsiteX18399" fmla="*/ 1486895 w 4610101"/>
              <a:gd name="connsiteY18399" fmla="*/ 1136067 h 6557032"/>
              <a:gd name="connsiteX18400" fmla="*/ 1477784 w 4610101"/>
              <a:gd name="connsiteY18400" fmla="*/ 1139711 h 6557032"/>
              <a:gd name="connsiteX18401" fmla="*/ 1476119 w 4610101"/>
              <a:gd name="connsiteY18401" fmla="*/ 1139949 h 6557032"/>
              <a:gd name="connsiteX18402" fmla="*/ 1493779 w 4610101"/>
              <a:gd name="connsiteY18402" fmla="*/ 1132590 h 6557032"/>
              <a:gd name="connsiteX18403" fmla="*/ 1492361 w 4610101"/>
              <a:gd name="connsiteY18403" fmla="*/ 1134245 h 6557032"/>
              <a:gd name="connsiteX18404" fmla="*/ 1516049 w 4610101"/>
              <a:gd name="connsiteY18404" fmla="*/ 1126956 h 6557032"/>
              <a:gd name="connsiteX18405" fmla="*/ 1056861 w 4610101"/>
              <a:gd name="connsiteY18405" fmla="*/ 1126956 h 6557032"/>
              <a:gd name="connsiteX18406" fmla="*/ 1047750 w 4610101"/>
              <a:gd name="connsiteY18406" fmla="*/ 1136067 h 6557032"/>
              <a:gd name="connsiteX18407" fmla="*/ 1056861 w 4610101"/>
              <a:gd name="connsiteY18407" fmla="*/ 1126956 h 6557032"/>
              <a:gd name="connsiteX18408" fmla="*/ 836378 w 4610101"/>
              <a:gd name="connsiteY18408" fmla="*/ 1126956 h 6557032"/>
              <a:gd name="connsiteX18409" fmla="*/ 841845 w 4610101"/>
              <a:gd name="connsiteY18409" fmla="*/ 1134245 h 6557032"/>
              <a:gd name="connsiteX18410" fmla="*/ 840022 w 4610101"/>
              <a:gd name="connsiteY18410" fmla="*/ 1126956 h 6557032"/>
              <a:gd name="connsiteX18411" fmla="*/ 836378 w 4610101"/>
              <a:gd name="connsiteY18411" fmla="*/ 1126956 h 6557032"/>
              <a:gd name="connsiteX18412" fmla="*/ 530253 w 4610101"/>
              <a:gd name="connsiteY18412" fmla="*/ 1126956 h 6557032"/>
              <a:gd name="connsiteX18413" fmla="*/ 546653 w 4610101"/>
              <a:gd name="connsiteY18413" fmla="*/ 1134245 h 6557032"/>
              <a:gd name="connsiteX18414" fmla="*/ 530253 w 4610101"/>
              <a:gd name="connsiteY18414" fmla="*/ 1126956 h 6557032"/>
              <a:gd name="connsiteX18415" fmla="*/ 521142 w 4610101"/>
              <a:gd name="connsiteY18415" fmla="*/ 1126956 h 6557032"/>
              <a:gd name="connsiteX18416" fmla="*/ 519320 w 4610101"/>
              <a:gd name="connsiteY18416" fmla="*/ 1128778 h 6557032"/>
              <a:gd name="connsiteX18417" fmla="*/ 530253 w 4610101"/>
              <a:gd name="connsiteY18417" fmla="*/ 1132422 h 6557032"/>
              <a:gd name="connsiteX18418" fmla="*/ 521142 w 4610101"/>
              <a:gd name="connsiteY18418" fmla="*/ 1126956 h 6557032"/>
              <a:gd name="connsiteX18419" fmla="*/ 373546 w 4610101"/>
              <a:gd name="connsiteY18419" fmla="*/ 1126956 h 6557032"/>
              <a:gd name="connsiteX18420" fmla="*/ 386301 w 4610101"/>
              <a:gd name="connsiteY18420" fmla="*/ 1130600 h 6557032"/>
              <a:gd name="connsiteX18421" fmla="*/ 373546 w 4610101"/>
              <a:gd name="connsiteY18421" fmla="*/ 1126956 h 6557032"/>
              <a:gd name="connsiteX18422" fmla="*/ 937964 w 4610101"/>
              <a:gd name="connsiteY18422" fmla="*/ 1126728 h 6557032"/>
              <a:gd name="connsiteX18423" fmla="*/ 932953 w 4610101"/>
              <a:gd name="connsiteY18423" fmla="*/ 1130600 h 6557032"/>
              <a:gd name="connsiteX18424" fmla="*/ 940242 w 4610101"/>
              <a:gd name="connsiteY18424" fmla="*/ 1132422 h 6557032"/>
              <a:gd name="connsiteX18425" fmla="*/ 937964 w 4610101"/>
              <a:gd name="connsiteY18425" fmla="*/ 1126728 h 6557032"/>
              <a:gd name="connsiteX18426" fmla="*/ 1499819 w 4610101"/>
              <a:gd name="connsiteY18426" fmla="*/ 1125542 h 6557032"/>
              <a:gd name="connsiteX18427" fmla="*/ 1499877 w 4610101"/>
              <a:gd name="connsiteY18427" fmla="*/ 1125817 h 6557032"/>
              <a:gd name="connsiteX18428" fmla="*/ 1493871 w 4610101"/>
              <a:gd name="connsiteY18428" fmla="*/ 1132552 h 6557032"/>
              <a:gd name="connsiteX18429" fmla="*/ 1493779 w 4610101"/>
              <a:gd name="connsiteY18429" fmla="*/ 1132590 h 6557032"/>
              <a:gd name="connsiteX18430" fmla="*/ 1231790 w 4610101"/>
              <a:gd name="connsiteY18430" fmla="*/ 1125134 h 6557032"/>
              <a:gd name="connsiteX18431" fmla="*/ 1233612 w 4610101"/>
              <a:gd name="connsiteY18431" fmla="*/ 1130600 h 6557032"/>
              <a:gd name="connsiteX18432" fmla="*/ 1228146 w 4610101"/>
              <a:gd name="connsiteY18432" fmla="*/ 1136067 h 6557032"/>
              <a:gd name="connsiteX18433" fmla="*/ 1231790 w 4610101"/>
              <a:gd name="connsiteY18433" fmla="*/ 1130600 h 6557032"/>
              <a:gd name="connsiteX18434" fmla="*/ 1231790 w 4610101"/>
              <a:gd name="connsiteY18434" fmla="*/ 1125134 h 6557032"/>
              <a:gd name="connsiteX18435" fmla="*/ 3414754 w 4610101"/>
              <a:gd name="connsiteY18435" fmla="*/ 1123312 h 6557032"/>
              <a:gd name="connsiteX18436" fmla="*/ 3412932 w 4610101"/>
              <a:gd name="connsiteY18436" fmla="*/ 1128778 h 6557032"/>
              <a:gd name="connsiteX18437" fmla="*/ 3423865 w 4610101"/>
              <a:gd name="connsiteY18437" fmla="*/ 1139711 h 6557032"/>
              <a:gd name="connsiteX18438" fmla="*/ 3422043 w 4610101"/>
              <a:gd name="connsiteY18438" fmla="*/ 1143355 h 6557032"/>
              <a:gd name="connsiteX18439" fmla="*/ 3420221 w 4610101"/>
              <a:gd name="connsiteY18439" fmla="*/ 1136067 h 6557032"/>
              <a:gd name="connsiteX18440" fmla="*/ 3420221 w 4610101"/>
              <a:gd name="connsiteY18440" fmla="*/ 1148822 h 6557032"/>
              <a:gd name="connsiteX18441" fmla="*/ 3400177 w 4610101"/>
              <a:gd name="connsiteY18441" fmla="*/ 1150644 h 6557032"/>
              <a:gd name="connsiteX18442" fmla="*/ 3394710 w 4610101"/>
              <a:gd name="connsiteY18442" fmla="*/ 1143355 h 6557032"/>
              <a:gd name="connsiteX18443" fmla="*/ 3391066 w 4610101"/>
              <a:gd name="connsiteY18443" fmla="*/ 1145178 h 6557032"/>
              <a:gd name="connsiteX18444" fmla="*/ 3396532 w 4610101"/>
              <a:gd name="connsiteY18444" fmla="*/ 1147000 h 6557032"/>
              <a:gd name="connsiteX18445" fmla="*/ 3389244 w 4610101"/>
              <a:gd name="connsiteY18445" fmla="*/ 1181621 h 6557032"/>
              <a:gd name="connsiteX18446" fmla="*/ 3374666 w 4610101"/>
              <a:gd name="connsiteY18446" fmla="*/ 1170688 h 6557032"/>
              <a:gd name="connsiteX18447" fmla="*/ 3381506 w 4610101"/>
              <a:gd name="connsiteY18447" fmla="*/ 1145039 h 6557032"/>
              <a:gd name="connsiteX18448" fmla="*/ 3383550 w 4610101"/>
              <a:gd name="connsiteY18448" fmla="*/ 1144950 h 6557032"/>
              <a:gd name="connsiteX18449" fmla="*/ 3387422 w 4610101"/>
              <a:gd name="connsiteY18449" fmla="*/ 1143355 h 6557032"/>
              <a:gd name="connsiteX18450" fmla="*/ 3380133 w 4610101"/>
              <a:gd name="connsiteY18450" fmla="*/ 1137889 h 6557032"/>
              <a:gd name="connsiteX18451" fmla="*/ 3385600 w 4610101"/>
              <a:gd name="connsiteY18451" fmla="*/ 1130600 h 6557032"/>
              <a:gd name="connsiteX18452" fmla="*/ 3414754 w 4610101"/>
              <a:gd name="connsiteY18452" fmla="*/ 1123312 h 6557032"/>
              <a:gd name="connsiteX18453" fmla="*/ 3363734 w 4610101"/>
              <a:gd name="connsiteY18453" fmla="*/ 1123312 h 6557032"/>
              <a:gd name="connsiteX18454" fmla="*/ 3361911 w 4610101"/>
              <a:gd name="connsiteY18454" fmla="*/ 1128778 h 6557032"/>
              <a:gd name="connsiteX18455" fmla="*/ 3363734 w 4610101"/>
              <a:gd name="connsiteY18455" fmla="*/ 1123312 h 6557032"/>
              <a:gd name="connsiteX18456" fmla="*/ 1126104 w 4610101"/>
              <a:gd name="connsiteY18456" fmla="*/ 1123312 h 6557032"/>
              <a:gd name="connsiteX18457" fmla="*/ 1120637 w 4610101"/>
              <a:gd name="connsiteY18457" fmla="*/ 1128778 h 6557032"/>
              <a:gd name="connsiteX18458" fmla="*/ 1124282 w 4610101"/>
              <a:gd name="connsiteY18458" fmla="*/ 1130600 h 6557032"/>
              <a:gd name="connsiteX18459" fmla="*/ 1126104 w 4610101"/>
              <a:gd name="connsiteY18459" fmla="*/ 1123312 h 6557032"/>
              <a:gd name="connsiteX18460" fmla="*/ 1031351 w 4610101"/>
              <a:gd name="connsiteY18460" fmla="*/ 1123312 h 6557032"/>
              <a:gd name="connsiteX18461" fmla="*/ 1027707 w 4610101"/>
              <a:gd name="connsiteY18461" fmla="*/ 1125134 h 6557032"/>
              <a:gd name="connsiteX18462" fmla="*/ 1027707 w 4610101"/>
              <a:gd name="connsiteY18462" fmla="*/ 1128778 h 6557032"/>
              <a:gd name="connsiteX18463" fmla="*/ 1033173 w 4610101"/>
              <a:gd name="connsiteY18463" fmla="*/ 1125134 h 6557032"/>
              <a:gd name="connsiteX18464" fmla="*/ 1031351 w 4610101"/>
              <a:gd name="connsiteY18464" fmla="*/ 1123312 h 6557032"/>
              <a:gd name="connsiteX18465" fmla="*/ 976686 w 4610101"/>
              <a:gd name="connsiteY18465" fmla="*/ 1123312 h 6557032"/>
              <a:gd name="connsiteX18466" fmla="*/ 973041 w 4610101"/>
              <a:gd name="connsiteY18466" fmla="*/ 1125134 h 6557032"/>
              <a:gd name="connsiteX18467" fmla="*/ 976686 w 4610101"/>
              <a:gd name="connsiteY18467" fmla="*/ 1126956 h 6557032"/>
              <a:gd name="connsiteX18468" fmla="*/ 976686 w 4610101"/>
              <a:gd name="connsiteY18468" fmla="*/ 1123312 h 6557032"/>
              <a:gd name="connsiteX18469" fmla="*/ 883755 w 4610101"/>
              <a:gd name="connsiteY18469" fmla="*/ 1123312 h 6557032"/>
              <a:gd name="connsiteX18470" fmla="*/ 880111 w 4610101"/>
              <a:gd name="connsiteY18470" fmla="*/ 1126956 h 6557032"/>
              <a:gd name="connsiteX18471" fmla="*/ 883755 w 4610101"/>
              <a:gd name="connsiteY18471" fmla="*/ 1128778 h 6557032"/>
              <a:gd name="connsiteX18472" fmla="*/ 883755 w 4610101"/>
              <a:gd name="connsiteY18472" fmla="*/ 1123312 h 6557032"/>
              <a:gd name="connsiteX18473" fmla="*/ 805401 w 4610101"/>
              <a:gd name="connsiteY18473" fmla="*/ 1123312 h 6557032"/>
              <a:gd name="connsiteX18474" fmla="*/ 810868 w 4610101"/>
              <a:gd name="connsiteY18474" fmla="*/ 1139711 h 6557032"/>
              <a:gd name="connsiteX18475" fmla="*/ 814512 w 4610101"/>
              <a:gd name="connsiteY18475" fmla="*/ 1136067 h 6557032"/>
              <a:gd name="connsiteX18476" fmla="*/ 805401 w 4610101"/>
              <a:gd name="connsiteY18476" fmla="*/ 1123312 h 6557032"/>
              <a:gd name="connsiteX18477" fmla="*/ 1225230 w 4610101"/>
              <a:gd name="connsiteY18477" fmla="*/ 1122947 h 6557032"/>
              <a:gd name="connsiteX18478" fmla="*/ 1226655 w 4610101"/>
              <a:gd name="connsiteY18478" fmla="*/ 1123422 h 6557032"/>
              <a:gd name="connsiteX18479" fmla="*/ 1224501 w 4610101"/>
              <a:gd name="connsiteY18479" fmla="*/ 1123312 h 6557032"/>
              <a:gd name="connsiteX18480" fmla="*/ 3068541 w 4610101"/>
              <a:gd name="connsiteY18480" fmla="*/ 1121489 h 6557032"/>
              <a:gd name="connsiteX18481" fmla="*/ 3070487 w 4610101"/>
              <a:gd name="connsiteY18481" fmla="*/ 1123218 h 6557032"/>
              <a:gd name="connsiteX18482" fmla="*/ 3070363 w 4610101"/>
              <a:gd name="connsiteY18482" fmla="*/ 1125134 h 6557032"/>
              <a:gd name="connsiteX18483" fmla="*/ 3068541 w 4610101"/>
              <a:gd name="connsiteY18483" fmla="*/ 1121489 h 6557032"/>
              <a:gd name="connsiteX18484" fmla="*/ 2314161 w 4610101"/>
              <a:gd name="connsiteY18484" fmla="*/ 1121489 h 6557032"/>
              <a:gd name="connsiteX18485" fmla="*/ 2314161 w 4610101"/>
              <a:gd name="connsiteY18485" fmla="*/ 1126956 h 6557032"/>
              <a:gd name="connsiteX18486" fmla="*/ 2314161 w 4610101"/>
              <a:gd name="connsiteY18486" fmla="*/ 1121489 h 6557032"/>
              <a:gd name="connsiteX18487" fmla="*/ 2223053 w 4610101"/>
              <a:gd name="connsiteY18487" fmla="*/ 1121489 h 6557032"/>
              <a:gd name="connsiteX18488" fmla="*/ 2217586 w 4610101"/>
              <a:gd name="connsiteY18488" fmla="*/ 1136067 h 6557032"/>
              <a:gd name="connsiteX18489" fmla="*/ 2223053 w 4610101"/>
              <a:gd name="connsiteY18489" fmla="*/ 1121489 h 6557032"/>
              <a:gd name="connsiteX18490" fmla="*/ 1291922 w 4610101"/>
              <a:gd name="connsiteY18490" fmla="*/ 1121489 h 6557032"/>
              <a:gd name="connsiteX18491" fmla="*/ 1273700 w 4610101"/>
              <a:gd name="connsiteY18491" fmla="*/ 1130600 h 6557032"/>
              <a:gd name="connsiteX18492" fmla="*/ 1291922 w 4610101"/>
              <a:gd name="connsiteY18492" fmla="*/ 1121489 h 6557032"/>
              <a:gd name="connsiteX18493" fmla="*/ 1084194 w 4610101"/>
              <a:gd name="connsiteY18493" fmla="*/ 1121489 h 6557032"/>
              <a:gd name="connsiteX18494" fmla="*/ 1084308 w 4610101"/>
              <a:gd name="connsiteY18494" fmla="*/ 1123084 h 6557032"/>
              <a:gd name="connsiteX18495" fmla="*/ 1082373 w 4610101"/>
              <a:gd name="connsiteY18495" fmla="*/ 1126956 h 6557032"/>
              <a:gd name="connsiteX18496" fmla="*/ 1080640 w 4610101"/>
              <a:gd name="connsiteY18496" fmla="*/ 1127533 h 6557032"/>
              <a:gd name="connsiteX18497" fmla="*/ 1080549 w 4610101"/>
              <a:gd name="connsiteY18497" fmla="*/ 1127184 h 6557032"/>
              <a:gd name="connsiteX18498" fmla="*/ 1084194 w 4610101"/>
              <a:gd name="connsiteY18498" fmla="*/ 1121489 h 6557032"/>
              <a:gd name="connsiteX18499" fmla="*/ 1034995 w 4610101"/>
              <a:gd name="connsiteY18499" fmla="*/ 1121489 h 6557032"/>
              <a:gd name="connsiteX18500" fmla="*/ 1042284 w 4610101"/>
              <a:gd name="connsiteY18500" fmla="*/ 1125134 h 6557032"/>
              <a:gd name="connsiteX18501" fmla="*/ 1034995 w 4610101"/>
              <a:gd name="connsiteY18501" fmla="*/ 1121489 h 6557032"/>
              <a:gd name="connsiteX18502" fmla="*/ 1033173 w 4610101"/>
              <a:gd name="connsiteY18502" fmla="*/ 1121489 h 6557032"/>
              <a:gd name="connsiteX18503" fmla="*/ 1034995 w 4610101"/>
              <a:gd name="connsiteY18503" fmla="*/ 1126956 h 6557032"/>
              <a:gd name="connsiteX18504" fmla="*/ 1036818 w 4610101"/>
              <a:gd name="connsiteY18504" fmla="*/ 1123312 h 6557032"/>
              <a:gd name="connsiteX18505" fmla="*/ 1033173 w 4610101"/>
              <a:gd name="connsiteY18505" fmla="*/ 1121489 h 6557032"/>
              <a:gd name="connsiteX18506" fmla="*/ 920198 w 4610101"/>
              <a:gd name="connsiteY18506" fmla="*/ 1121489 h 6557032"/>
              <a:gd name="connsiteX18507" fmla="*/ 920198 w 4610101"/>
              <a:gd name="connsiteY18507" fmla="*/ 1125134 h 6557032"/>
              <a:gd name="connsiteX18508" fmla="*/ 920198 w 4610101"/>
              <a:gd name="connsiteY18508" fmla="*/ 1121489 h 6557032"/>
              <a:gd name="connsiteX18509" fmla="*/ 790824 w 4610101"/>
              <a:gd name="connsiteY18509" fmla="*/ 1121489 h 6557032"/>
              <a:gd name="connsiteX18510" fmla="*/ 796290 w 4610101"/>
              <a:gd name="connsiteY18510" fmla="*/ 1132422 h 6557032"/>
              <a:gd name="connsiteX18511" fmla="*/ 790824 w 4610101"/>
              <a:gd name="connsiteY18511" fmla="*/ 1121489 h 6557032"/>
              <a:gd name="connsiteX18512" fmla="*/ 641407 w 4610101"/>
              <a:gd name="connsiteY18512" fmla="*/ 1121489 h 6557032"/>
              <a:gd name="connsiteX18513" fmla="*/ 637761 w 4610101"/>
              <a:gd name="connsiteY18513" fmla="*/ 1126956 h 6557032"/>
              <a:gd name="connsiteX18514" fmla="*/ 648694 w 4610101"/>
              <a:gd name="connsiteY18514" fmla="*/ 1128778 h 6557032"/>
              <a:gd name="connsiteX18515" fmla="*/ 641407 w 4610101"/>
              <a:gd name="connsiteY18515" fmla="*/ 1121489 h 6557032"/>
              <a:gd name="connsiteX18516" fmla="*/ 298837 w 4610101"/>
              <a:gd name="connsiteY18516" fmla="*/ 1121489 h 6557032"/>
              <a:gd name="connsiteX18517" fmla="*/ 313414 w 4610101"/>
              <a:gd name="connsiteY18517" fmla="*/ 1134245 h 6557032"/>
              <a:gd name="connsiteX18518" fmla="*/ 298837 w 4610101"/>
              <a:gd name="connsiteY18518" fmla="*/ 1121489 h 6557032"/>
              <a:gd name="connsiteX18519" fmla="*/ 3045945 w 4610101"/>
              <a:gd name="connsiteY18519" fmla="*/ 1121257 h 6557032"/>
              <a:gd name="connsiteX18520" fmla="*/ 3048497 w 4610101"/>
              <a:gd name="connsiteY18520" fmla="*/ 1123312 h 6557032"/>
              <a:gd name="connsiteX18521" fmla="*/ 3048498 w 4610101"/>
              <a:gd name="connsiteY18521" fmla="*/ 1133561 h 6557032"/>
              <a:gd name="connsiteX18522" fmla="*/ 3048498 w 4610101"/>
              <a:gd name="connsiteY18522" fmla="*/ 1134245 h 6557032"/>
              <a:gd name="connsiteX18523" fmla="*/ 3048497 w 4610101"/>
              <a:gd name="connsiteY18523" fmla="*/ 1134245 h 6557032"/>
              <a:gd name="connsiteX18524" fmla="*/ 3045992 w 4610101"/>
              <a:gd name="connsiteY18524" fmla="*/ 1121717 h 6557032"/>
              <a:gd name="connsiteX18525" fmla="*/ 1130963 w 4610101"/>
              <a:gd name="connsiteY18525" fmla="*/ 1120882 h 6557032"/>
              <a:gd name="connsiteX18526" fmla="*/ 1132709 w 4610101"/>
              <a:gd name="connsiteY18526" fmla="*/ 1122628 h 6557032"/>
              <a:gd name="connsiteX18527" fmla="*/ 1137037 w 4610101"/>
              <a:gd name="connsiteY18527" fmla="*/ 1126956 h 6557032"/>
              <a:gd name="connsiteX18528" fmla="*/ 1142503 w 4610101"/>
              <a:gd name="connsiteY18528" fmla="*/ 1139711 h 6557032"/>
              <a:gd name="connsiteX18529" fmla="*/ 1138003 w 4610101"/>
              <a:gd name="connsiteY18529" fmla="*/ 1136898 h 6557032"/>
              <a:gd name="connsiteX18530" fmla="*/ 1135670 w 4610101"/>
              <a:gd name="connsiteY18530" fmla="*/ 1129234 h 6557032"/>
              <a:gd name="connsiteX18531" fmla="*/ 1135275 w 4610101"/>
              <a:gd name="connsiteY18531" fmla="*/ 1128717 h 6557032"/>
              <a:gd name="connsiteX18532" fmla="*/ 1129748 w 4610101"/>
              <a:gd name="connsiteY18532" fmla="*/ 1121489 h 6557032"/>
              <a:gd name="connsiteX18533" fmla="*/ 3329112 w 4610101"/>
              <a:gd name="connsiteY18533" fmla="*/ 1119667 h 6557032"/>
              <a:gd name="connsiteX18534" fmla="*/ 3331299 w 4610101"/>
              <a:gd name="connsiteY18534" fmla="*/ 1125134 h 6557032"/>
              <a:gd name="connsiteX18535" fmla="*/ 3329112 w 4610101"/>
              <a:gd name="connsiteY18535" fmla="*/ 1125134 h 6557032"/>
              <a:gd name="connsiteX18536" fmla="*/ 3331542 w 4610101"/>
              <a:gd name="connsiteY18536" fmla="*/ 1125741 h 6557032"/>
              <a:gd name="connsiteX18537" fmla="*/ 3332425 w 4610101"/>
              <a:gd name="connsiteY18537" fmla="*/ 1127950 h 6557032"/>
              <a:gd name="connsiteX18538" fmla="*/ 3331797 w 4610101"/>
              <a:gd name="connsiteY18538" fmla="*/ 1128107 h 6557032"/>
              <a:gd name="connsiteX18539" fmla="*/ 3328325 w 4610101"/>
              <a:gd name="connsiteY18539" fmla="*/ 1125675 h 6557032"/>
              <a:gd name="connsiteX18540" fmla="*/ 3328239 w 4610101"/>
              <a:gd name="connsiteY18540" fmla="*/ 1125341 h 6557032"/>
              <a:gd name="connsiteX18541" fmla="*/ 2924590 w 4610101"/>
              <a:gd name="connsiteY18541" fmla="*/ 1119667 h 6557032"/>
              <a:gd name="connsiteX18542" fmla="*/ 2926379 w 4610101"/>
              <a:gd name="connsiteY18542" fmla="*/ 1120043 h 6557032"/>
              <a:gd name="connsiteX18543" fmla="*/ 2927337 w 4610101"/>
              <a:gd name="connsiteY18543" fmla="*/ 1122671 h 6557032"/>
              <a:gd name="connsiteX18544" fmla="*/ 2239452 w 4610101"/>
              <a:gd name="connsiteY18544" fmla="*/ 1119667 h 6557032"/>
              <a:gd name="connsiteX18545" fmla="*/ 2243096 w 4610101"/>
              <a:gd name="connsiteY18545" fmla="*/ 1126956 h 6557032"/>
              <a:gd name="connsiteX18546" fmla="*/ 2248563 w 4610101"/>
              <a:gd name="connsiteY18546" fmla="*/ 1125134 h 6557032"/>
              <a:gd name="connsiteX18547" fmla="*/ 2248563 w 4610101"/>
              <a:gd name="connsiteY18547" fmla="*/ 1119667 h 6557032"/>
              <a:gd name="connsiteX18548" fmla="*/ 2239452 w 4610101"/>
              <a:gd name="connsiteY18548" fmla="*/ 1119667 h 6557032"/>
              <a:gd name="connsiteX18549" fmla="*/ 1258895 w 4610101"/>
              <a:gd name="connsiteY18549" fmla="*/ 1119667 h 6557032"/>
              <a:gd name="connsiteX18550" fmla="*/ 1273275 w 4610101"/>
              <a:gd name="connsiteY18550" fmla="*/ 1119667 h 6557032"/>
              <a:gd name="connsiteX18551" fmla="*/ 1262083 w 4610101"/>
              <a:gd name="connsiteY18551" fmla="*/ 1124678 h 6557032"/>
              <a:gd name="connsiteX18552" fmla="*/ 1248953 w 4610101"/>
              <a:gd name="connsiteY18552" fmla="*/ 1127458 h 6557032"/>
              <a:gd name="connsiteX18553" fmla="*/ 1242723 w 4610101"/>
              <a:gd name="connsiteY18553" fmla="*/ 1125134 h 6557032"/>
              <a:gd name="connsiteX18554" fmla="*/ 1258895 w 4610101"/>
              <a:gd name="connsiteY18554" fmla="*/ 1119667 h 6557032"/>
              <a:gd name="connsiteX18555" fmla="*/ 1133393 w 4610101"/>
              <a:gd name="connsiteY18555" fmla="*/ 1119667 h 6557032"/>
              <a:gd name="connsiteX18556" fmla="*/ 1133890 w 4610101"/>
              <a:gd name="connsiteY18556" fmla="*/ 1120660 h 6557032"/>
              <a:gd name="connsiteX18557" fmla="*/ 1133393 w 4610101"/>
              <a:gd name="connsiteY18557" fmla="*/ 1121489 h 6557032"/>
              <a:gd name="connsiteX18558" fmla="*/ 1132513 w 4610101"/>
              <a:gd name="connsiteY18558" fmla="*/ 1120107 h 6557032"/>
              <a:gd name="connsiteX18559" fmla="*/ 1086016 w 4610101"/>
              <a:gd name="connsiteY18559" fmla="*/ 1119667 h 6557032"/>
              <a:gd name="connsiteX18560" fmla="*/ 1049573 w 4610101"/>
              <a:gd name="connsiteY18560" fmla="*/ 1141533 h 6557032"/>
              <a:gd name="connsiteX18561" fmla="*/ 1051395 w 4610101"/>
              <a:gd name="connsiteY18561" fmla="*/ 1150644 h 6557032"/>
              <a:gd name="connsiteX18562" fmla="*/ 1058683 w 4610101"/>
              <a:gd name="connsiteY18562" fmla="*/ 1157933 h 6557032"/>
              <a:gd name="connsiteX18563" fmla="*/ 1067794 w 4610101"/>
              <a:gd name="connsiteY18563" fmla="*/ 1157933 h 6557032"/>
              <a:gd name="connsiteX18564" fmla="*/ 1067794 w 4610101"/>
              <a:gd name="connsiteY18564" fmla="*/ 1159755 h 6557032"/>
              <a:gd name="connsiteX18565" fmla="*/ 1073262 w 4610101"/>
              <a:gd name="connsiteY18565" fmla="*/ 1159755 h 6557032"/>
              <a:gd name="connsiteX18566" fmla="*/ 1075083 w 4610101"/>
              <a:gd name="connsiteY18566" fmla="*/ 1150644 h 6557032"/>
              <a:gd name="connsiteX18567" fmla="*/ 1078727 w 4610101"/>
              <a:gd name="connsiteY18567" fmla="*/ 1152466 h 6557032"/>
              <a:gd name="connsiteX18568" fmla="*/ 1087838 w 4610101"/>
              <a:gd name="connsiteY18568" fmla="*/ 1143355 h 6557032"/>
              <a:gd name="connsiteX18569" fmla="*/ 1087175 w 4610101"/>
              <a:gd name="connsiteY18569" fmla="*/ 1142692 h 6557032"/>
              <a:gd name="connsiteX18570" fmla="*/ 1092394 w 4610101"/>
              <a:gd name="connsiteY18570" fmla="*/ 1141533 h 6557032"/>
              <a:gd name="connsiteX18571" fmla="*/ 1089727 w 4610101"/>
              <a:gd name="connsiteY18571" fmla="*/ 1134425 h 6557032"/>
              <a:gd name="connsiteX18572" fmla="*/ 1092621 w 4610101"/>
              <a:gd name="connsiteY18572" fmla="*/ 1134700 h 6557032"/>
              <a:gd name="connsiteX18573" fmla="*/ 1093305 w 4610101"/>
              <a:gd name="connsiteY18573" fmla="*/ 1137889 h 6557032"/>
              <a:gd name="connsiteX18574" fmla="*/ 1089660 w 4610101"/>
              <a:gd name="connsiteY18574" fmla="*/ 1119667 h 6557032"/>
              <a:gd name="connsiteX18575" fmla="*/ 1089660 w 4610101"/>
              <a:gd name="connsiteY18575" fmla="*/ 1126956 h 6557032"/>
              <a:gd name="connsiteX18576" fmla="*/ 1087838 w 4610101"/>
              <a:gd name="connsiteY18576" fmla="*/ 1129324 h 6557032"/>
              <a:gd name="connsiteX18577" fmla="*/ 1087382 w 4610101"/>
              <a:gd name="connsiteY18577" fmla="*/ 1129917 h 6557032"/>
              <a:gd name="connsiteX18578" fmla="*/ 1087838 w 4610101"/>
              <a:gd name="connsiteY18578" fmla="*/ 1134245 h 6557032"/>
              <a:gd name="connsiteX18579" fmla="*/ 1089517 w 4610101"/>
              <a:gd name="connsiteY18579" fmla="*/ 1134405 h 6557032"/>
              <a:gd name="connsiteX18580" fmla="*/ 1085560 w 4610101"/>
              <a:gd name="connsiteY18580" fmla="*/ 1138800 h 6557032"/>
              <a:gd name="connsiteX18581" fmla="*/ 1085036 w 4610101"/>
              <a:gd name="connsiteY18581" fmla="*/ 1140552 h 6557032"/>
              <a:gd name="connsiteX18582" fmla="*/ 1084194 w 4610101"/>
              <a:gd name="connsiteY18582" fmla="*/ 1139711 h 6557032"/>
              <a:gd name="connsiteX18583" fmla="*/ 1080549 w 4610101"/>
              <a:gd name="connsiteY18583" fmla="*/ 1147000 h 6557032"/>
              <a:gd name="connsiteX18584" fmla="*/ 1080549 w 4610101"/>
              <a:gd name="connsiteY18584" fmla="*/ 1134245 h 6557032"/>
              <a:gd name="connsiteX18585" fmla="*/ 1067794 w 4610101"/>
              <a:gd name="connsiteY18585" fmla="*/ 1145178 h 6557032"/>
              <a:gd name="connsiteX18586" fmla="*/ 1060506 w 4610101"/>
              <a:gd name="connsiteY18586" fmla="*/ 1147000 h 6557032"/>
              <a:gd name="connsiteX18587" fmla="*/ 1064151 w 4610101"/>
              <a:gd name="connsiteY18587" fmla="*/ 1143355 h 6557032"/>
              <a:gd name="connsiteX18588" fmla="*/ 1062328 w 4610101"/>
              <a:gd name="connsiteY18588" fmla="*/ 1139711 h 6557032"/>
              <a:gd name="connsiteX18589" fmla="*/ 1065972 w 4610101"/>
              <a:gd name="connsiteY18589" fmla="*/ 1141533 h 6557032"/>
              <a:gd name="connsiteX18590" fmla="*/ 1065972 w 4610101"/>
              <a:gd name="connsiteY18590" fmla="*/ 1136067 h 6557032"/>
              <a:gd name="connsiteX18591" fmla="*/ 1069616 w 4610101"/>
              <a:gd name="connsiteY18591" fmla="*/ 1134245 h 6557032"/>
              <a:gd name="connsiteX18592" fmla="*/ 1067794 w 4610101"/>
              <a:gd name="connsiteY18592" fmla="*/ 1137889 h 6557032"/>
              <a:gd name="connsiteX18593" fmla="*/ 1078727 w 4610101"/>
              <a:gd name="connsiteY18593" fmla="*/ 1130600 h 6557032"/>
              <a:gd name="connsiteX18594" fmla="*/ 1075083 w 4610101"/>
              <a:gd name="connsiteY18594" fmla="*/ 1132422 h 6557032"/>
              <a:gd name="connsiteX18595" fmla="*/ 1075083 w 4610101"/>
              <a:gd name="connsiteY18595" fmla="*/ 1126956 h 6557032"/>
              <a:gd name="connsiteX18596" fmla="*/ 1076905 w 4610101"/>
              <a:gd name="connsiteY18596" fmla="*/ 1128778 h 6557032"/>
              <a:gd name="connsiteX18597" fmla="*/ 1080640 w 4610101"/>
              <a:gd name="connsiteY18597" fmla="*/ 1127533 h 6557032"/>
              <a:gd name="connsiteX18598" fmla="*/ 1082373 w 4610101"/>
              <a:gd name="connsiteY18598" fmla="*/ 1134245 h 6557032"/>
              <a:gd name="connsiteX18599" fmla="*/ 1084649 w 4610101"/>
              <a:gd name="connsiteY18599" fmla="*/ 1127867 h 6557032"/>
              <a:gd name="connsiteX18600" fmla="*/ 1084308 w 4610101"/>
              <a:gd name="connsiteY18600" fmla="*/ 1123084 h 6557032"/>
              <a:gd name="connsiteX18601" fmla="*/ 967575 w 4610101"/>
              <a:gd name="connsiteY18601" fmla="*/ 1119667 h 6557032"/>
              <a:gd name="connsiteX18602" fmla="*/ 962108 w 4610101"/>
              <a:gd name="connsiteY18602" fmla="*/ 1126956 h 6557032"/>
              <a:gd name="connsiteX18603" fmla="*/ 967575 w 4610101"/>
              <a:gd name="connsiteY18603" fmla="*/ 1119667 h 6557032"/>
              <a:gd name="connsiteX18604" fmla="*/ 931131 w 4610101"/>
              <a:gd name="connsiteY18604" fmla="*/ 1119667 h 6557032"/>
              <a:gd name="connsiteX18605" fmla="*/ 931131 w 4610101"/>
              <a:gd name="connsiteY18605" fmla="*/ 1125134 h 6557032"/>
              <a:gd name="connsiteX18606" fmla="*/ 934777 w 4610101"/>
              <a:gd name="connsiteY18606" fmla="*/ 1123312 h 6557032"/>
              <a:gd name="connsiteX18607" fmla="*/ 931131 w 4610101"/>
              <a:gd name="connsiteY18607" fmla="*/ 1119667 h 6557032"/>
              <a:gd name="connsiteX18608" fmla="*/ 369902 w 4610101"/>
              <a:gd name="connsiteY18608" fmla="*/ 1119667 h 6557032"/>
              <a:gd name="connsiteX18609" fmla="*/ 375368 w 4610101"/>
              <a:gd name="connsiteY18609" fmla="*/ 1123312 h 6557032"/>
              <a:gd name="connsiteX18610" fmla="*/ 369902 w 4610101"/>
              <a:gd name="connsiteY18610" fmla="*/ 1119667 h 6557032"/>
              <a:gd name="connsiteX18611" fmla="*/ 262393 w 4610101"/>
              <a:gd name="connsiteY18611" fmla="*/ 1119667 h 6557032"/>
              <a:gd name="connsiteX18612" fmla="*/ 267860 w 4610101"/>
              <a:gd name="connsiteY18612" fmla="*/ 1123312 h 6557032"/>
              <a:gd name="connsiteX18613" fmla="*/ 262393 w 4610101"/>
              <a:gd name="connsiteY18613" fmla="*/ 1119667 h 6557032"/>
              <a:gd name="connsiteX18614" fmla="*/ 1274690 w 4610101"/>
              <a:gd name="connsiteY18614" fmla="*/ 1119033 h 6557032"/>
              <a:gd name="connsiteX18615" fmla="*/ 1273700 w 4610101"/>
              <a:gd name="connsiteY18615" fmla="*/ 1119667 h 6557032"/>
              <a:gd name="connsiteX18616" fmla="*/ 1273275 w 4610101"/>
              <a:gd name="connsiteY18616" fmla="*/ 1119667 h 6557032"/>
              <a:gd name="connsiteX18617" fmla="*/ 3026670 w 4610101"/>
              <a:gd name="connsiteY18617" fmla="*/ 1117944 h 6557032"/>
              <a:gd name="connsiteX18618" fmla="*/ 3026727 w 4610101"/>
              <a:gd name="connsiteY18618" fmla="*/ 1117967 h 6557032"/>
              <a:gd name="connsiteX18619" fmla="*/ 3034148 w 4610101"/>
              <a:gd name="connsiteY18619" fmla="*/ 1127411 h 6557032"/>
              <a:gd name="connsiteX18620" fmla="*/ 3034972 w 4610101"/>
              <a:gd name="connsiteY18620" fmla="*/ 1130380 h 6557032"/>
              <a:gd name="connsiteX18621" fmla="*/ 3030048 w 4610101"/>
              <a:gd name="connsiteY18621" fmla="*/ 1126500 h 6557032"/>
              <a:gd name="connsiteX18622" fmla="*/ 1290100 w 4610101"/>
              <a:gd name="connsiteY18622" fmla="*/ 1117845 h 6557032"/>
              <a:gd name="connsiteX18623" fmla="*/ 1291922 w 4610101"/>
              <a:gd name="connsiteY18623" fmla="*/ 1119667 h 6557032"/>
              <a:gd name="connsiteX18624" fmla="*/ 1291440 w 4610101"/>
              <a:gd name="connsiteY18624" fmla="*/ 1119828 h 6557032"/>
              <a:gd name="connsiteX18625" fmla="*/ 1288960 w 4610101"/>
              <a:gd name="connsiteY18625" fmla="*/ 1119894 h 6557032"/>
              <a:gd name="connsiteX18626" fmla="*/ 1287873 w 4610101"/>
              <a:gd name="connsiteY18626" fmla="*/ 1120072 h 6557032"/>
              <a:gd name="connsiteX18627" fmla="*/ 1131570 w 4610101"/>
              <a:gd name="connsiteY18627" fmla="*/ 1117845 h 6557032"/>
              <a:gd name="connsiteX18628" fmla="*/ 1133393 w 4610101"/>
              <a:gd name="connsiteY18628" fmla="*/ 1117845 h 6557032"/>
              <a:gd name="connsiteX18629" fmla="*/ 1133419 w 4610101"/>
              <a:gd name="connsiteY18629" fmla="*/ 1117942 h 6557032"/>
              <a:gd name="connsiteX18630" fmla="*/ 896510 w 4610101"/>
              <a:gd name="connsiteY18630" fmla="*/ 1117845 h 6557032"/>
              <a:gd name="connsiteX18631" fmla="*/ 898333 w 4610101"/>
              <a:gd name="connsiteY18631" fmla="*/ 1121489 h 6557032"/>
              <a:gd name="connsiteX18632" fmla="*/ 896510 w 4610101"/>
              <a:gd name="connsiteY18632" fmla="*/ 1117845 h 6557032"/>
              <a:gd name="connsiteX18633" fmla="*/ 676027 w 4610101"/>
              <a:gd name="connsiteY18633" fmla="*/ 1117845 h 6557032"/>
              <a:gd name="connsiteX18634" fmla="*/ 688782 w 4610101"/>
              <a:gd name="connsiteY18634" fmla="*/ 1139711 h 6557032"/>
              <a:gd name="connsiteX18635" fmla="*/ 685138 w 4610101"/>
              <a:gd name="connsiteY18635" fmla="*/ 1128778 h 6557032"/>
              <a:gd name="connsiteX18636" fmla="*/ 690604 w 4610101"/>
              <a:gd name="connsiteY18636" fmla="*/ 1132422 h 6557032"/>
              <a:gd name="connsiteX18637" fmla="*/ 681493 w 4610101"/>
              <a:gd name="connsiteY18637" fmla="*/ 1126956 h 6557032"/>
              <a:gd name="connsiteX18638" fmla="*/ 686960 w 4610101"/>
              <a:gd name="connsiteY18638" fmla="*/ 1125134 h 6557032"/>
              <a:gd name="connsiteX18639" fmla="*/ 676027 w 4610101"/>
              <a:gd name="connsiteY18639" fmla="*/ 1117845 h 6557032"/>
              <a:gd name="connsiteX18640" fmla="*/ 674205 w 4610101"/>
              <a:gd name="connsiteY18640" fmla="*/ 1117845 h 6557032"/>
              <a:gd name="connsiteX18641" fmla="*/ 672383 w 4610101"/>
              <a:gd name="connsiteY18641" fmla="*/ 1121489 h 6557032"/>
              <a:gd name="connsiteX18642" fmla="*/ 674205 w 4610101"/>
              <a:gd name="connsiteY18642" fmla="*/ 1117845 h 6557032"/>
              <a:gd name="connsiteX18643" fmla="*/ 650516 w 4610101"/>
              <a:gd name="connsiteY18643" fmla="*/ 1117845 h 6557032"/>
              <a:gd name="connsiteX18644" fmla="*/ 655983 w 4610101"/>
              <a:gd name="connsiteY18644" fmla="*/ 1125134 h 6557032"/>
              <a:gd name="connsiteX18645" fmla="*/ 655983 w 4610101"/>
              <a:gd name="connsiteY18645" fmla="*/ 1123312 h 6557032"/>
              <a:gd name="connsiteX18646" fmla="*/ 650516 w 4610101"/>
              <a:gd name="connsiteY18646" fmla="*/ 1117845 h 6557032"/>
              <a:gd name="connsiteX18647" fmla="*/ 548475 w 4610101"/>
              <a:gd name="connsiteY18647" fmla="*/ 1117845 h 6557032"/>
              <a:gd name="connsiteX18648" fmla="*/ 557586 w 4610101"/>
              <a:gd name="connsiteY18648" fmla="*/ 1125134 h 6557032"/>
              <a:gd name="connsiteX18649" fmla="*/ 559408 w 4610101"/>
              <a:gd name="connsiteY18649" fmla="*/ 1121489 h 6557032"/>
              <a:gd name="connsiteX18650" fmla="*/ 548475 w 4610101"/>
              <a:gd name="connsiteY18650" fmla="*/ 1117845 h 6557032"/>
              <a:gd name="connsiteX18651" fmla="*/ 528431 w 4610101"/>
              <a:gd name="connsiteY18651" fmla="*/ 1117845 h 6557032"/>
              <a:gd name="connsiteX18652" fmla="*/ 530253 w 4610101"/>
              <a:gd name="connsiteY18652" fmla="*/ 1119667 h 6557032"/>
              <a:gd name="connsiteX18653" fmla="*/ 528431 w 4610101"/>
              <a:gd name="connsiteY18653" fmla="*/ 1117845 h 6557032"/>
              <a:gd name="connsiteX18654" fmla="*/ 216839 w 4610101"/>
              <a:gd name="connsiteY18654" fmla="*/ 1117845 h 6557032"/>
              <a:gd name="connsiteX18655" fmla="*/ 222306 w 4610101"/>
              <a:gd name="connsiteY18655" fmla="*/ 1121489 h 6557032"/>
              <a:gd name="connsiteX18656" fmla="*/ 216839 w 4610101"/>
              <a:gd name="connsiteY18656" fmla="*/ 1117845 h 6557032"/>
              <a:gd name="connsiteX18657" fmla="*/ 2239452 w 4610101"/>
              <a:gd name="connsiteY18657" fmla="*/ 1116023 h 6557032"/>
              <a:gd name="connsiteX18658" fmla="*/ 2233986 w 4610101"/>
              <a:gd name="connsiteY18658" fmla="*/ 1128778 h 6557032"/>
              <a:gd name="connsiteX18659" fmla="*/ 2239452 w 4610101"/>
              <a:gd name="connsiteY18659" fmla="*/ 1116023 h 6557032"/>
              <a:gd name="connsiteX18660" fmla="*/ 1279394 w 4610101"/>
              <a:gd name="connsiteY18660" fmla="*/ 1116023 h 6557032"/>
              <a:gd name="connsiteX18661" fmla="*/ 1286455 w 4610101"/>
              <a:gd name="connsiteY18661" fmla="*/ 1117845 h 6557032"/>
              <a:gd name="connsiteX18662" fmla="*/ 1283776 w 4610101"/>
              <a:gd name="connsiteY18662" fmla="*/ 1120739 h 6557032"/>
              <a:gd name="connsiteX18663" fmla="*/ 1279166 w 4610101"/>
              <a:gd name="connsiteY18663" fmla="*/ 1121489 h 6557032"/>
              <a:gd name="connsiteX18664" fmla="*/ 1277344 w 4610101"/>
              <a:gd name="connsiteY18664" fmla="*/ 1117845 h 6557032"/>
              <a:gd name="connsiteX18665" fmla="*/ 1274690 w 4610101"/>
              <a:gd name="connsiteY18665" fmla="*/ 1119033 h 6557032"/>
              <a:gd name="connsiteX18666" fmla="*/ 716115 w 4610101"/>
              <a:gd name="connsiteY18666" fmla="*/ 1116023 h 6557032"/>
              <a:gd name="connsiteX18667" fmla="*/ 723404 w 4610101"/>
              <a:gd name="connsiteY18667" fmla="*/ 1121489 h 6557032"/>
              <a:gd name="connsiteX18668" fmla="*/ 716115 w 4610101"/>
              <a:gd name="connsiteY18668" fmla="*/ 1123312 h 6557032"/>
              <a:gd name="connsiteX18669" fmla="*/ 719759 w 4610101"/>
              <a:gd name="connsiteY18669" fmla="*/ 1128778 h 6557032"/>
              <a:gd name="connsiteX18670" fmla="*/ 719759 w 4610101"/>
              <a:gd name="connsiteY18670" fmla="*/ 1125134 h 6557032"/>
              <a:gd name="connsiteX18671" fmla="*/ 730692 w 4610101"/>
              <a:gd name="connsiteY18671" fmla="*/ 1137889 h 6557032"/>
              <a:gd name="connsiteX18672" fmla="*/ 727048 w 4610101"/>
              <a:gd name="connsiteY18672" fmla="*/ 1125134 h 6557032"/>
              <a:gd name="connsiteX18673" fmla="*/ 725226 w 4610101"/>
              <a:gd name="connsiteY18673" fmla="*/ 1126956 h 6557032"/>
              <a:gd name="connsiteX18674" fmla="*/ 725226 w 4610101"/>
              <a:gd name="connsiteY18674" fmla="*/ 1123312 h 6557032"/>
              <a:gd name="connsiteX18675" fmla="*/ 716115 w 4610101"/>
              <a:gd name="connsiteY18675" fmla="*/ 1116023 h 6557032"/>
              <a:gd name="connsiteX18676" fmla="*/ 280615 w 4610101"/>
              <a:gd name="connsiteY18676" fmla="*/ 1116023 h 6557032"/>
              <a:gd name="connsiteX18677" fmla="*/ 287904 w 4610101"/>
              <a:gd name="connsiteY18677" fmla="*/ 1123312 h 6557032"/>
              <a:gd name="connsiteX18678" fmla="*/ 280615 w 4610101"/>
              <a:gd name="connsiteY18678" fmla="*/ 1116023 h 6557032"/>
              <a:gd name="connsiteX18679" fmla="*/ 242349 w 4610101"/>
              <a:gd name="connsiteY18679" fmla="*/ 1116023 h 6557032"/>
              <a:gd name="connsiteX18680" fmla="*/ 256927 w 4610101"/>
              <a:gd name="connsiteY18680" fmla="*/ 1128778 h 6557032"/>
              <a:gd name="connsiteX18681" fmla="*/ 242349 w 4610101"/>
              <a:gd name="connsiteY18681" fmla="*/ 1116023 h 6557032"/>
              <a:gd name="connsiteX18682" fmla="*/ 328344 w 4610101"/>
              <a:gd name="connsiteY18682" fmla="*/ 1115806 h 6557032"/>
              <a:gd name="connsiteX18683" fmla="*/ 326169 w 4610101"/>
              <a:gd name="connsiteY18683" fmla="*/ 1116023 h 6557032"/>
              <a:gd name="connsiteX18684" fmla="*/ 317059 w 4610101"/>
              <a:gd name="connsiteY18684" fmla="*/ 1116023 h 6557032"/>
              <a:gd name="connsiteX18685" fmla="*/ 1072806 w 4610101"/>
              <a:gd name="connsiteY18685" fmla="*/ 1115795 h 6557032"/>
              <a:gd name="connsiteX18686" fmla="*/ 1071439 w 4610101"/>
              <a:gd name="connsiteY18686" fmla="*/ 1119667 h 6557032"/>
              <a:gd name="connsiteX18687" fmla="*/ 1076905 w 4610101"/>
              <a:gd name="connsiteY18687" fmla="*/ 1116023 h 6557032"/>
              <a:gd name="connsiteX18688" fmla="*/ 1072806 w 4610101"/>
              <a:gd name="connsiteY18688" fmla="*/ 1115795 h 6557032"/>
              <a:gd name="connsiteX18689" fmla="*/ 1034539 w 4610101"/>
              <a:gd name="connsiteY18689" fmla="*/ 1115795 h 6557032"/>
              <a:gd name="connsiteX18690" fmla="*/ 1031351 w 4610101"/>
              <a:gd name="connsiteY18690" fmla="*/ 1116023 h 6557032"/>
              <a:gd name="connsiteX18691" fmla="*/ 1033173 w 4610101"/>
              <a:gd name="connsiteY18691" fmla="*/ 1119667 h 6557032"/>
              <a:gd name="connsiteX18692" fmla="*/ 1034995 w 4610101"/>
              <a:gd name="connsiteY18692" fmla="*/ 1119667 h 6557032"/>
              <a:gd name="connsiteX18693" fmla="*/ 1034539 w 4610101"/>
              <a:gd name="connsiteY18693" fmla="*/ 1115795 h 6557032"/>
              <a:gd name="connsiteX18694" fmla="*/ 3189175 w 4610101"/>
              <a:gd name="connsiteY18694" fmla="*/ 1115567 h 6557032"/>
              <a:gd name="connsiteX18695" fmla="*/ 3179694 w 4610101"/>
              <a:gd name="connsiteY18695" fmla="*/ 1117845 h 6557032"/>
              <a:gd name="connsiteX18696" fmla="*/ 3190627 w 4610101"/>
              <a:gd name="connsiteY18696" fmla="*/ 1132422 h 6557032"/>
              <a:gd name="connsiteX18697" fmla="*/ 3197916 w 4610101"/>
              <a:gd name="connsiteY18697" fmla="*/ 1157933 h 6557032"/>
              <a:gd name="connsiteX18698" fmla="*/ 3192449 w 4610101"/>
              <a:gd name="connsiteY18698" fmla="*/ 1147000 h 6557032"/>
              <a:gd name="connsiteX18699" fmla="*/ 3188805 w 4610101"/>
              <a:gd name="connsiteY18699" fmla="*/ 1148822 h 6557032"/>
              <a:gd name="connsiteX18700" fmla="*/ 3181516 w 4610101"/>
              <a:gd name="connsiteY18700" fmla="*/ 1123312 h 6557032"/>
              <a:gd name="connsiteX18701" fmla="*/ 3172405 w 4610101"/>
              <a:gd name="connsiteY18701" fmla="*/ 1130600 h 6557032"/>
              <a:gd name="connsiteX18702" fmla="*/ 3177872 w 4610101"/>
              <a:gd name="connsiteY18702" fmla="*/ 1137889 h 6557032"/>
              <a:gd name="connsiteX18703" fmla="*/ 3170583 w 4610101"/>
              <a:gd name="connsiteY18703" fmla="*/ 1139711 h 6557032"/>
              <a:gd name="connsiteX18704" fmla="*/ 3190627 w 4610101"/>
              <a:gd name="connsiteY18704" fmla="*/ 1163399 h 6557032"/>
              <a:gd name="connsiteX18705" fmla="*/ 3192449 w 4610101"/>
              <a:gd name="connsiteY18705" fmla="*/ 1170688 h 6557032"/>
              <a:gd name="connsiteX18706" fmla="*/ 3199738 w 4610101"/>
              <a:gd name="connsiteY18706" fmla="*/ 1168866 h 6557032"/>
              <a:gd name="connsiteX18707" fmla="*/ 3199738 w 4610101"/>
              <a:gd name="connsiteY18707" fmla="*/ 1161577 h 6557032"/>
              <a:gd name="connsiteX18708" fmla="*/ 3207027 w 4610101"/>
              <a:gd name="connsiteY18708" fmla="*/ 1167044 h 6557032"/>
              <a:gd name="connsiteX18709" fmla="*/ 3207027 w 4610101"/>
              <a:gd name="connsiteY18709" fmla="*/ 1161577 h 6557032"/>
              <a:gd name="connsiteX18710" fmla="*/ 3212493 w 4610101"/>
              <a:gd name="connsiteY18710" fmla="*/ 1165222 h 6557032"/>
              <a:gd name="connsiteX18711" fmla="*/ 3208849 w 4610101"/>
              <a:gd name="connsiteY18711" fmla="*/ 1172510 h 6557032"/>
              <a:gd name="connsiteX18712" fmla="*/ 3225248 w 4610101"/>
              <a:gd name="connsiteY18712" fmla="*/ 1194376 h 6557032"/>
              <a:gd name="connsiteX18713" fmla="*/ 3236181 w 4610101"/>
              <a:gd name="connsiteY18713" fmla="*/ 1194376 h 6557032"/>
              <a:gd name="connsiteX18714" fmla="*/ 3239826 w 4610101"/>
              <a:gd name="connsiteY18714" fmla="*/ 1183443 h 6557032"/>
              <a:gd name="connsiteX18715" fmla="*/ 3212493 w 4610101"/>
              <a:gd name="connsiteY18715" fmla="*/ 1136067 h 6557032"/>
              <a:gd name="connsiteX18716" fmla="*/ 3189175 w 4610101"/>
              <a:gd name="connsiteY18716" fmla="*/ 1115567 h 6557032"/>
              <a:gd name="connsiteX18717" fmla="*/ 2311656 w 4610101"/>
              <a:gd name="connsiteY18717" fmla="*/ 1115111 h 6557032"/>
              <a:gd name="connsiteX18718" fmla="*/ 2306873 w 4610101"/>
              <a:gd name="connsiteY18718" fmla="*/ 1116023 h 6557032"/>
              <a:gd name="connsiteX18719" fmla="*/ 2312339 w 4610101"/>
              <a:gd name="connsiteY18719" fmla="*/ 1119667 h 6557032"/>
              <a:gd name="connsiteX18720" fmla="*/ 2311656 w 4610101"/>
              <a:gd name="connsiteY18720" fmla="*/ 1115111 h 6557032"/>
              <a:gd name="connsiteX18721" fmla="*/ 348435 w 4610101"/>
              <a:gd name="connsiteY18721" fmla="*/ 1115027 h 6557032"/>
              <a:gd name="connsiteX18722" fmla="*/ 348037 w 4610101"/>
              <a:gd name="connsiteY18722" fmla="*/ 1116023 h 6557032"/>
              <a:gd name="connsiteX18723" fmla="*/ 350859 w 4610101"/>
              <a:gd name="connsiteY18723" fmla="*/ 1117278 h 6557032"/>
              <a:gd name="connsiteX18724" fmla="*/ 351225 w 4610101"/>
              <a:gd name="connsiteY18724" fmla="*/ 1117617 h 6557032"/>
              <a:gd name="connsiteX18725" fmla="*/ 354698 w 4610101"/>
              <a:gd name="connsiteY18725" fmla="*/ 1119867 h 6557032"/>
              <a:gd name="connsiteX18726" fmla="*/ 355393 w 4610101"/>
              <a:gd name="connsiteY18726" fmla="*/ 1119293 h 6557032"/>
              <a:gd name="connsiteX18727" fmla="*/ 364435 w 4610101"/>
              <a:gd name="connsiteY18727" fmla="*/ 1123312 h 6557032"/>
              <a:gd name="connsiteX18728" fmla="*/ 357146 w 4610101"/>
              <a:gd name="connsiteY18728" fmla="*/ 1117845 h 6557032"/>
              <a:gd name="connsiteX18729" fmla="*/ 355393 w 4610101"/>
              <a:gd name="connsiteY18729" fmla="*/ 1119293 h 6557032"/>
              <a:gd name="connsiteX18730" fmla="*/ 350859 w 4610101"/>
              <a:gd name="connsiteY18730" fmla="*/ 1117278 h 6557032"/>
              <a:gd name="connsiteX18731" fmla="*/ 2944634 w 4610101"/>
              <a:gd name="connsiteY18731" fmla="*/ 1114201 h 6557032"/>
              <a:gd name="connsiteX18732" fmla="*/ 2951922 w 4610101"/>
              <a:gd name="connsiteY18732" fmla="*/ 1125134 h 6557032"/>
              <a:gd name="connsiteX18733" fmla="*/ 2953744 w 4610101"/>
              <a:gd name="connsiteY18733" fmla="*/ 1117845 h 6557032"/>
              <a:gd name="connsiteX18734" fmla="*/ 2955566 w 4610101"/>
              <a:gd name="connsiteY18734" fmla="*/ 1121489 h 6557032"/>
              <a:gd name="connsiteX18735" fmla="*/ 2970144 w 4610101"/>
              <a:gd name="connsiteY18735" fmla="*/ 1125134 h 6557032"/>
              <a:gd name="connsiteX18736" fmla="*/ 2965361 w 4610101"/>
              <a:gd name="connsiteY18736" fmla="*/ 1124678 h 6557032"/>
              <a:gd name="connsiteX18737" fmla="*/ 2961649 w 4610101"/>
              <a:gd name="connsiteY18737" fmla="*/ 1126053 h 6557032"/>
              <a:gd name="connsiteX18738" fmla="*/ 2962855 w 4610101"/>
              <a:gd name="connsiteY18738" fmla="*/ 1125134 h 6557032"/>
              <a:gd name="connsiteX18739" fmla="*/ 2959211 w 4610101"/>
              <a:gd name="connsiteY18739" fmla="*/ 1126956 h 6557032"/>
              <a:gd name="connsiteX18740" fmla="*/ 2961649 w 4610101"/>
              <a:gd name="connsiteY18740" fmla="*/ 1126053 h 6557032"/>
              <a:gd name="connsiteX18741" fmla="*/ 2958072 w 4610101"/>
              <a:gd name="connsiteY18741" fmla="*/ 1128778 h 6557032"/>
              <a:gd name="connsiteX18742" fmla="*/ 2951922 w 4610101"/>
              <a:gd name="connsiteY18742" fmla="*/ 1126956 h 6557032"/>
              <a:gd name="connsiteX18743" fmla="*/ 2950100 w 4610101"/>
              <a:gd name="connsiteY18743" fmla="*/ 1137889 h 6557032"/>
              <a:gd name="connsiteX18744" fmla="*/ 2957389 w 4610101"/>
              <a:gd name="connsiteY18744" fmla="*/ 1147000 h 6557032"/>
              <a:gd name="connsiteX18745" fmla="*/ 2955351 w 4610101"/>
              <a:gd name="connsiteY18745" fmla="*/ 1148585 h 6557032"/>
              <a:gd name="connsiteX18746" fmla="*/ 2951922 w 4610101"/>
              <a:gd name="connsiteY18746" fmla="*/ 1139711 h 6557032"/>
              <a:gd name="connsiteX18747" fmla="*/ 2942811 w 4610101"/>
              <a:gd name="connsiteY18747" fmla="*/ 1141533 h 6557032"/>
              <a:gd name="connsiteX18748" fmla="*/ 2946456 w 4610101"/>
              <a:gd name="connsiteY18748" fmla="*/ 1148822 h 6557032"/>
              <a:gd name="connsiteX18749" fmla="*/ 2946456 w 4610101"/>
              <a:gd name="connsiteY18749" fmla="*/ 1143355 h 6557032"/>
              <a:gd name="connsiteX18750" fmla="*/ 2948278 w 4610101"/>
              <a:gd name="connsiteY18750" fmla="*/ 1148822 h 6557032"/>
              <a:gd name="connsiteX18751" fmla="*/ 2939167 w 4610101"/>
              <a:gd name="connsiteY18751" fmla="*/ 1150644 h 6557032"/>
              <a:gd name="connsiteX18752" fmla="*/ 2935523 w 4610101"/>
              <a:gd name="connsiteY18752" fmla="*/ 1139711 h 6557032"/>
              <a:gd name="connsiteX18753" fmla="*/ 2931878 w 4610101"/>
              <a:gd name="connsiteY18753" fmla="*/ 1145178 h 6557032"/>
              <a:gd name="connsiteX18754" fmla="*/ 2930056 w 4610101"/>
              <a:gd name="connsiteY18754" fmla="*/ 1143355 h 6557032"/>
              <a:gd name="connsiteX18755" fmla="*/ 2926412 w 4610101"/>
              <a:gd name="connsiteY18755" fmla="*/ 1156111 h 6557032"/>
              <a:gd name="connsiteX18756" fmla="*/ 2917301 w 4610101"/>
              <a:gd name="connsiteY18756" fmla="*/ 1134245 h 6557032"/>
              <a:gd name="connsiteX18757" fmla="*/ 2920945 w 4610101"/>
              <a:gd name="connsiteY18757" fmla="*/ 1123312 h 6557032"/>
              <a:gd name="connsiteX18758" fmla="*/ 2928234 w 4610101"/>
              <a:gd name="connsiteY18758" fmla="*/ 1125134 h 6557032"/>
              <a:gd name="connsiteX18759" fmla="*/ 2927337 w 4610101"/>
              <a:gd name="connsiteY18759" fmla="*/ 1122671 h 6557032"/>
              <a:gd name="connsiteX18760" fmla="*/ 2931879 w 4610101"/>
              <a:gd name="connsiteY18760" fmla="*/ 1127639 h 6557032"/>
              <a:gd name="connsiteX18761" fmla="*/ 2935423 w 4610101"/>
              <a:gd name="connsiteY18761" fmla="*/ 1127955 h 6557032"/>
              <a:gd name="connsiteX18762" fmla="*/ 2935067 w 4610101"/>
              <a:gd name="connsiteY18762" fmla="*/ 1131511 h 6557032"/>
              <a:gd name="connsiteX18763" fmla="*/ 2937345 w 4610101"/>
              <a:gd name="connsiteY18763" fmla="*/ 1136067 h 6557032"/>
              <a:gd name="connsiteX18764" fmla="*/ 2938484 w 4610101"/>
              <a:gd name="connsiteY18764" fmla="*/ 1131511 h 6557032"/>
              <a:gd name="connsiteX18765" fmla="*/ 2936219 w 4610101"/>
              <a:gd name="connsiteY18765" fmla="*/ 1128027 h 6557032"/>
              <a:gd name="connsiteX18766" fmla="*/ 2944634 w 4610101"/>
              <a:gd name="connsiteY18766" fmla="*/ 1128778 h 6557032"/>
              <a:gd name="connsiteX18767" fmla="*/ 2942811 w 4610101"/>
              <a:gd name="connsiteY18767" fmla="*/ 1117845 h 6557032"/>
              <a:gd name="connsiteX18768" fmla="*/ 2950100 w 4610101"/>
              <a:gd name="connsiteY18768" fmla="*/ 1121489 h 6557032"/>
              <a:gd name="connsiteX18769" fmla="*/ 2944634 w 4610101"/>
              <a:gd name="connsiteY18769" fmla="*/ 1114201 h 6557032"/>
              <a:gd name="connsiteX18770" fmla="*/ 1138859 w 4610101"/>
              <a:gd name="connsiteY18770" fmla="*/ 1114201 h 6557032"/>
              <a:gd name="connsiteX18771" fmla="*/ 1135215 w 4610101"/>
              <a:gd name="connsiteY18771" fmla="*/ 1123312 h 6557032"/>
              <a:gd name="connsiteX18772" fmla="*/ 1133890 w 4610101"/>
              <a:gd name="connsiteY18772" fmla="*/ 1120660 h 6557032"/>
              <a:gd name="connsiteX18773" fmla="*/ 1134076 w 4610101"/>
              <a:gd name="connsiteY18773" fmla="*/ 1120350 h 6557032"/>
              <a:gd name="connsiteX18774" fmla="*/ 1133419 w 4610101"/>
              <a:gd name="connsiteY18774" fmla="*/ 1117942 h 6557032"/>
              <a:gd name="connsiteX18775" fmla="*/ 1135898 w 4610101"/>
              <a:gd name="connsiteY18775" fmla="*/ 1118073 h 6557032"/>
              <a:gd name="connsiteX18776" fmla="*/ 1138859 w 4610101"/>
              <a:gd name="connsiteY18776" fmla="*/ 1114201 h 6557032"/>
              <a:gd name="connsiteX18777" fmla="*/ 1067794 w 4610101"/>
              <a:gd name="connsiteY18777" fmla="*/ 1114201 h 6557032"/>
              <a:gd name="connsiteX18778" fmla="*/ 1062328 w 4610101"/>
              <a:gd name="connsiteY18778" fmla="*/ 1121489 h 6557032"/>
              <a:gd name="connsiteX18779" fmla="*/ 1067794 w 4610101"/>
              <a:gd name="connsiteY18779" fmla="*/ 1114201 h 6557032"/>
              <a:gd name="connsiteX18780" fmla="*/ 900154 w 4610101"/>
              <a:gd name="connsiteY18780" fmla="*/ 1114201 h 6557032"/>
              <a:gd name="connsiteX18781" fmla="*/ 905621 w 4610101"/>
              <a:gd name="connsiteY18781" fmla="*/ 1121489 h 6557032"/>
              <a:gd name="connsiteX18782" fmla="*/ 900154 w 4610101"/>
              <a:gd name="connsiteY18782" fmla="*/ 1114201 h 6557032"/>
              <a:gd name="connsiteX18783" fmla="*/ 781713 w 4610101"/>
              <a:gd name="connsiteY18783" fmla="*/ 1114201 h 6557032"/>
              <a:gd name="connsiteX18784" fmla="*/ 776246 w 4610101"/>
              <a:gd name="connsiteY18784" fmla="*/ 1139711 h 6557032"/>
              <a:gd name="connsiteX18785" fmla="*/ 780620 w 4610101"/>
              <a:gd name="connsiteY18785" fmla="*/ 1136431 h 6557032"/>
              <a:gd name="connsiteX18786" fmla="*/ 782624 w 4610101"/>
              <a:gd name="connsiteY18786" fmla="*/ 1137434 h 6557032"/>
              <a:gd name="connsiteX18787" fmla="*/ 785357 w 4610101"/>
              <a:gd name="connsiteY18787" fmla="*/ 1136067 h 6557032"/>
              <a:gd name="connsiteX18788" fmla="*/ 789003 w 4610101"/>
              <a:gd name="connsiteY18788" fmla="*/ 1137889 h 6557032"/>
              <a:gd name="connsiteX18789" fmla="*/ 789003 w 4610101"/>
              <a:gd name="connsiteY18789" fmla="*/ 1132422 h 6557032"/>
              <a:gd name="connsiteX18790" fmla="*/ 785357 w 4610101"/>
              <a:gd name="connsiteY18790" fmla="*/ 1136067 h 6557032"/>
              <a:gd name="connsiteX18791" fmla="*/ 781106 w 4610101"/>
              <a:gd name="connsiteY18791" fmla="*/ 1136067 h 6557032"/>
              <a:gd name="connsiteX18792" fmla="*/ 783535 w 4610101"/>
              <a:gd name="connsiteY18792" fmla="*/ 1134245 h 6557032"/>
              <a:gd name="connsiteX18793" fmla="*/ 781713 w 4610101"/>
              <a:gd name="connsiteY18793" fmla="*/ 1125134 h 6557032"/>
              <a:gd name="connsiteX18794" fmla="*/ 785357 w 4610101"/>
              <a:gd name="connsiteY18794" fmla="*/ 1125134 h 6557032"/>
              <a:gd name="connsiteX18795" fmla="*/ 781713 w 4610101"/>
              <a:gd name="connsiteY18795" fmla="*/ 1114201 h 6557032"/>
              <a:gd name="connsiteX18796" fmla="*/ 734336 w 4610101"/>
              <a:gd name="connsiteY18796" fmla="*/ 1114201 h 6557032"/>
              <a:gd name="connsiteX18797" fmla="*/ 739803 w 4610101"/>
              <a:gd name="connsiteY18797" fmla="*/ 1123312 h 6557032"/>
              <a:gd name="connsiteX18798" fmla="*/ 734336 w 4610101"/>
              <a:gd name="connsiteY18798" fmla="*/ 1114201 h 6557032"/>
              <a:gd name="connsiteX18799" fmla="*/ 1057545 w 4610101"/>
              <a:gd name="connsiteY18799" fmla="*/ 1114200 h 6557032"/>
              <a:gd name="connsiteX18800" fmla="*/ 1049573 w 4610101"/>
              <a:gd name="connsiteY18800" fmla="*/ 1117845 h 6557032"/>
              <a:gd name="connsiteX18801" fmla="*/ 1049573 w 4610101"/>
              <a:gd name="connsiteY18801" fmla="*/ 1126956 h 6557032"/>
              <a:gd name="connsiteX18802" fmla="*/ 1064151 w 4610101"/>
              <a:gd name="connsiteY18802" fmla="*/ 1116023 h 6557032"/>
              <a:gd name="connsiteX18803" fmla="*/ 1057545 w 4610101"/>
              <a:gd name="connsiteY18803" fmla="*/ 1114200 h 6557032"/>
              <a:gd name="connsiteX18804" fmla="*/ 1198385 w 4610101"/>
              <a:gd name="connsiteY18804" fmla="*/ 1113998 h 6557032"/>
              <a:gd name="connsiteX18805" fmla="*/ 1217366 w 4610101"/>
              <a:gd name="connsiteY18805" fmla="*/ 1120326 h 6557032"/>
              <a:gd name="connsiteX18806" fmla="*/ 1215163 w 4610101"/>
              <a:gd name="connsiteY18806" fmla="*/ 1121261 h 6557032"/>
              <a:gd name="connsiteX18807" fmla="*/ 1197169 w 4610101"/>
              <a:gd name="connsiteY18807" fmla="*/ 1116023 h 6557032"/>
              <a:gd name="connsiteX18808" fmla="*/ 1019689 w 4610101"/>
              <a:gd name="connsiteY18808" fmla="*/ 1113836 h 6557032"/>
              <a:gd name="connsiteX18809" fmla="*/ 1020418 w 4610101"/>
              <a:gd name="connsiteY18809" fmla="*/ 1114201 h 6557032"/>
              <a:gd name="connsiteX18810" fmla="*/ 1018596 w 4610101"/>
              <a:gd name="connsiteY18810" fmla="*/ 1115112 h 6557032"/>
              <a:gd name="connsiteX18811" fmla="*/ 1018596 w 4610101"/>
              <a:gd name="connsiteY18811" fmla="*/ 1114201 h 6557032"/>
              <a:gd name="connsiteX18812" fmla="*/ 2585665 w 4610101"/>
              <a:gd name="connsiteY18812" fmla="*/ 1112378 h 6557032"/>
              <a:gd name="connsiteX18813" fmla="*/ 2585665 w 4610101"/>
              <a:gd name="connsiteY18813" fmla="*/ 1117845 h 6557032"/>
              <a:gd name="connsiteX18814" fmla="*/ 2578377 w 4610101"/>
              <a:gd name="connsiteY18814" fmla="*/ 1117845 h 6557032"/>
              <a:gd name="connsiteX18815" fmla="*/ 2574732 w 4610101"/>
              <a:gd name="connsiteY18815" fmla="*/ 1130600 h 6557032"/>
              <a:gd name="connsiteX18816" fmla="*/ 2591132 w 4610101"/>
              <a:gd name="connsiteY18816" fmla="*/ 1132422 h 6557032"/>
              <a:gd name="connsiteX18817" fmla="*/ 2585665 w 4610101"/>
              <a:gd name="connsiteY18817" fmla="*/ 1112378 h 6557032"/>
              <a:gd name="connsiteX18818" fmla="*/ 2192076 w 4610101"/>
              <a:gd name="connsiteY18818" fmla="*/ 1112378 h 6557032"/>
              <a:gd name="connsiteX18819" fmla="*/ 2195720 w 4610101"/>
              <a:gd name="connsiteY18819" fmla="*/ 1113664 h 6557032"/>
              <a:gd name="connsiteX18820" fmla="*/ 2195720 w 4610101"/>
              <a:gd name="connsiteY18820" fmla="*/ 1114201 h 6557032"/>
              <a:gd name="connsiteX18821" fmla="*/ 2192076 w 4610101"/>
              <a:gd name="connsiteY18821" fmla="*/ 1112378 h 6557032"/>
              <a:gd name="connsiteX18822" fmla="*/ 1239080 w 4610101"/>
              <a:gd name="connsiteY18822" fmla="*/ 1112378 h 6557032"/>
              <a:gd name="connsiteX18823" fmla="*/ 1235434 w 4610101"/>
              <a:gd name="connsiteY18823" fmla="*/ 1117845 h 6557032"/>
              <a:gd name="connsiteX18824" fmla="*/ 1225230 w 4610101"/>
              <a:gd name="connsiteY18824" fmla="*/ 1122947 h 6557032"/>
              <a:gd name="connsiteX18825" fmla="*/ 1217366 w 4610101"/>
              <a:gd name="connsiteY18825" fmla="*/ 1120326 h 6557032"/>
              <a:gd name="connsiteX18826" fmla="*/ 1231790 w 4610101"/>
              <a:gd name="connsiteY18826" fmla="*/ 1114201 h 6557032"/>
              <a:gd name="connsiteX18827" fmla="*/ 1239080 w 4610101"/>
              <a:gd name="connsiteY18827" fmla="*/ 1112378 h 6557032"/>
              <a:gd name="connsiteX18828" fmla="*/ 1016774 w 4610101"/>
              <a:gd name="connsiteY18828" fmla="*/ 1112378 h 6557032"/>
              <a:gd name="connsiteX18829" fmla="*/ 1016774 w 4610101"/>
              <a:gd name="connsiteY18829" fmla="*/ 1116023 h 6557032"/>
              <a:gd name="connsiteX18830" fmla="*/ 1018596 w 4610101"/>
              <a:gd name="connsiteY18830" fmla="*/ 1115112 h 6557032"/>
              <a:gd name="connsiteX18831" fmla="*/ 1018596 w 4610101"/>
              <a:gd name="connsiteY18831" fmla="*/ 1123312 h 6557032"/>
              <a:gd name="connsiteX18832" fmla="*/ 1020418 w 4610101"/>
              <a:gd name="connsiteY18832" fmla="*/ 1125134 h 6557032"/>
              <a:gd name="connsiteX18833" fmla="*/ 1027707 w 4610101"/>
              <a:gd name="connsiteY18833" fmla="*/ 1121489 h 6557032"/>
              <a:gd name="connsiteX18834" fmla="*/ 1024062 w 4610101"/>
              <a:gd name="connsiteY18834" fmla="*/ 1112378 h 6557032"/>
              <a:gd name="connsiteX18835" fmla="*/ 1021329 w 4610101"/>
              <a:gd name="connsiteY18835" fmla="*/ 1113289 h 6557032"/>
              <a:gd name="connsiteX18836" fmla="*/ 1019689 w 4610101"/>
              <a:gd name="connsiteY18836" fmla="*/ 1113836 h 6557032"/>
              <a:gd name="connsiteX18837" fmla="*/ 852778 w 4610101"/>
              <a:gd name="connsiteY18837" fmla="*/ 1112378 h 6557032"/>
              <a:gd name="connsiteX18838" fmla="*/ 856422 w 4610101"/>
              <a:gd name="connsiteY18838" fmla="*/ 1119667 h 6557032"/>
              <a:gd name="connsiteX18839" fmla="*/ 858244 w 4610101"/>
              <a:gd name="connsiteY18839" fmla="*/ 1116023 h 6557032"/>
              <a:gd name="connsiteX18840" fmla="*/ 852778 w 4610101"/>
              <a:gd name="connsiteY18840" fmla="*/ 1112378 h 6557032"/>
              <a:gd name="connsiteX18841" fmla="*/ 490165 w 4610101"/>
              <a:gd name="connsiteY18841" fmla="*/ 1112378 h 6557032"/>
              <a:gd name="connsiteX18842" fmla="*/ 484700 w 4610101"/>
              <a:gd name="connsiteY18842" fmla="*/ 1116023 h 6557032"/>
              <a:gd name="connsiteX18843" fmla="*/ 497454 w 4610101"/>
              <a:gd name="connsiteY18843" fmla="*/ 1117845 h 6557032"/>
              <a:gd name="connsiteX18844" fmla="*/ 490165 w 4610101"/>
              <a:gd name="connsiteY18844" fmla="*/ 1112378 h 6557032"/>
              <a:gd name="connsiteX18845" fmla="*/ 2401626 w 4610101"/>
              <a:gd name="connsiteY18845" fmla="*/ 1110556 h 6557032"/>
              <a:gd name="connsiteX18846" fmla="*/ 2368827 w 4610101"/>
              <a:gd name="connsiteY18846" fmla="*/ 1121489 h 6557032"/>
              <a:gd name="connsiteX18847" fmla="*/ 2368827 w 4610101"/>
              <a:gd name="connsiteY18847" fmla="*/ 1123312 h 6557032"/>
              <a:gd name="connsiteX18848" fmla="*/ 2367004 w 4610101"/>
              <a:gd name="connsiteY18848" fmla="*/ 1123312 h 6557032"/>
              <a:gd name="connsiteX18849" fmla="*/ 2354249 w 4610101"/>
              <a:gd name="connsiteY18849" fmla="*/ 1143355 h 6557032"/>
              <a:gd name="connsiteX18850" fmla="*/ 2345138 w 4610101"/>
              <a:gd name="connsiteY18850" fmla="*/ 1150644 h 6557032"/>
              <a:gd name="connsiteX18851" fmla="*/ 2357893 w 4610101"/>
              <a:gd name="connsiteY18851" fmla="*/ 1152466 h 6557032"/>
              <a:gd name="connsiteX18852" fmla="*/ 2352427 w 4610101"/>
              <a:gd name="connsiteY18852" fmla="*/ 1156111 h 6557032"/>
              <a:gd name="connsiteX18853" fmla="*/ 2359716 w 4610101"/>
              <a:gd name="connsiteY18853" fmla="*/ 1148822 h 6557032"/>
              <a:gd name="connsiteX18854" fmla="*/ 2367004 w 4610101"/>
              <a:gd name="connsiteY18854" fmla="*/ 1156111 h 6557032"/>
              <a:gd name="connsiteX18855" fmla="*/ 2379760 w 4610101"/>
              <a:gd name="connsiteY18855" fmla="*/ 1152466 h 6557032"/>
              <a:gd name="connsiteX18856" fmla="*/ 2377937 w 4610101"/>
              <a:gd name="connsiteY18856" fmla="*/ 1156111 h 6557032"/>
              <a:gd name="connsiteX18857" fmla="*/ 2394337 w 4610101"/>
              <a:gd name="connsiteY18857" fmla="*/ 1150644 h 6557032"/>
              <a:gd name="connsiteX18858" fmla="*/ 2397981 w 4610101"/>
              <a:gd name="connsiteY18858" fmla="*/ 1156111 h 6557032"/>
              <a:gd name="connsiteX18859" fmla="*/ 2385226 w 4610101"/>
              <a:gd name="connsiteY18859" fmla="*/ 1163399 h 6557032"/>
              <a:gd name="connsiteX18860" fmla="*/ 2396159 w 4610101"/>
              <a:gd name="connsiteY18860" fmla="*/ 1159755 h 6557032"/>
              <a:gd name="connsiteX18861" fmla="*/ 2397981 w 4610101"/>
              <a:gd name="connsiteY18861" fmla="*/ 1170688 h 6557032"/>
              <a:gd name="connsiteX18862" fmla="*/ 2425314 w 4610101"/>
              <a:gd name="connsiteY18862" fmla="*/ 1156111 h 6557032"/>
              <a:gd name="connsiteX18863" fmla="*/ 2430780 w 4610101"/>
              <a:gd name="connsiteY18863" fmla="*/ 1159755 h 6557032"/>
              <a:gd name="connsiteX18864" fmla="*/ 2438069 w 4610101"/>
              <a:gd name="connsiteY18864" fmla="*/ 1148822 h 6557032"/>
              <a:gd name="connsiteX18865" fmla="*/ 2441258 w 4610101"/>
              <a:gd name="connsiteY18865" fmla="*/ 1152010 h 6557032"/>
              <a:gd name="connsiteX18866" fmla="*/ 2438069 w 4610101"/>
              <a:gd name="connsiteY18866" fmla="*/ 1161577 h 6557032"/>
              <a:gd name="connsiteX18867" fmla="*/ 2428958 w 4610101"/>
              <a:gd name="connsiteY18867" fmla="*/ 1161577 h 6557032"/>
              <a:gd name="connsiteX18868" fmla="*/ 2423492 w 4610101"/>
              <a:gd name="connsiteY18868" fmla="*/ 1168866 h 6557032"/>
              <a:gd name="connsiteX18869" fmla="*/ 2421669 w 4610101"/>
              <a:gd name="connsiteY18869" fmla="*/ 1163399 h 6557032"/>
              <a:gd name="connsiteX18870" fmla="*/ 2419847 w 4610101"/>
              <a:gd name="connsiteY18870" fmla="*/ 1176155 h 6557032"/>
              <a:gd name="connsiteX18871" fmla="*/ 2441713 w 4610101"/>
              <a:gd name="connsiteY18871" fmla="*/ 1161577 h 6557032"/>
              <a:gd name="connsiteX18872" fmla="*/ 2443536 w 4610101"/>
              <a:gd name="connsiteY18872" fmla="*/ 1148822 h 6557032"/>
              <a:gd name="connsiteX18873" fmla="*/ 2428958 w 4610101"/>
              <a:gd name="connsiteY18873" fmla="*/ 1137889 h 6557032"/>
              <a:gd name="connsiteX18874" fmla="*/ 2419847 w 4610101"/>
              <a:gd name="connsiteY18874" fmla="*/ 1145178 h 6557032"/>
              <a:gd name="connsiteX18875" fmla="*/ 2414381 w 4610101"/>
              <a:gd name="connsiteY18875" fmla="*/ 1130600 h 6557032"/>
              <a:gd name="connsiteX18876" fmla="*/ 2397981 w 4610101"/>
              <a:gd name="connsiteY18876" fmla="*/ 1143355 h 6557032"/>
              <a:gd name="connsiteX18877" fmla="*/ 2412559 w 4610101"/>
              <a:gd name="connsiteY18877" fmla="*/ 1121489 h 6557032"/>
              <a:gd name="connsiteX18878" fmla="*/ 2397981 w 4610101"/>
              <a:gd name="connsiteY18878" fmla="*/ 1121489 h 6557032"/>
              <a:gd name="connsiteX18879" fmla="*/ 2401626 w 4610101"/>
              <a:gd name="connsiteY18879" fmla="*/ 1110556 h 6557032"/>
              <a:gd name="connsiteX18880" fmla="*/ 1045929 w 4610101"/>
              <a:gd name="connsiteY18880" fmla="*/ 1110556 h 6557032"/>
              <a:gd name="connsiteX18881" fmla="*/ 1044106 w 4610101"/>
              <a:gd name="connsiteY18881" fmla="*/ 1114201 h 6557032"/>
              <a:gd name="connsiteX18882" fmla="*/ 1047750 w 4610101"/>
              <a:gd name="connsiteY18882" fmla="*/ 1112378 h 6557032"/>
              <a:gd name="connsiteX18883" fmla="*/ 1045929 w 4610101"/>
              <a:gd name="connsiteY18883" fmla="*/ 1110556 h 6557032"/>
              <a:gd name="connsiteX18884" fmla="*/ 1025884 w 4610101"/>
              <a:gd name="connsiteY18884" fmla="*/ 1110556 h 6557032"/>
              <a:gd name="connsiteX18885" fmla="*/ 1031351 w 4610101"/>
              <a:gd name="connsiteY18885" fmla="*/ 1119667 h 6557032"/>
              <a:gd name="connsiteX18886" fmla="*/ 1029529 w 4610101"/>
              <a:gd name="connsiteY18886" fmla="*/ 1110556 h 6557032"/>
              <a:gd name="connsiteX18887" fmla="*/ 1025884 w 4610101"/>
              <a:gd name="connsiteY18887" fmla="*/ 1110556 h 6557032"/>
              <a:gd name="connsiteX18888" fmla="*/ 861889 w 4610101"/>
              <a:gd name="connsiteY18888" fmla="*/ 1110556 h 6557032"/>
              <a:gd name="connsiteX18889" fmla="*/ 863711 w 4610101"/>
              <a:gd name="connsiteY18889" fmla="*/ 1112378 h 6557032"/>
              <a:gd name="connsiteX18890" fmla="*/ 861889 w 4610101"/>
              <a:gd name="connsiteY18890" fmla="*/ 1110556 h 6557032"/>
              <a:gd name="connsiteX18891" fmla="*/ 590385 w 4610101"/>
              <a:gd name="connsiteY18891" fmla="*/ 1110556 h 6557032"/>
              <a:gd name="connsiteX18892" fmla="*/ 586741 w 4610101"/>
              <a:gd name="connsiteY18892" fmla="*/ 1112378 h 6557032"/>
              <a:gd name="connsiteX18893" fmla="*/ 590385 w 4610101"/>
              <a:gd name="connsiteY18893" fmla="*/ 1110556 h 6557032"/>
              <a:gd name="connsiteX18894" fmla="*/ 194973 w 4610101"/>
              <a:gd name="connsiteY18894" fmla="*/ 1110556 h 6557032"/>
              <a:gd name="connsiteX18895" fmla="*/ 213195 w 4610101"/>
              <a:gd name="connsiteY18895" fmla="*/ 1121489 h 6557032"/>
              <a:gd name="connsiteX18896" fmla="*/ 194973 w 4610101"/>
              <a:gd name="connsiteY18896" fmla="*/ 1110556 h 6557032"/>
              <a:gd name="connsiteX18897" fmla="*/ 1071439 w 4610101"/>
              <a:gd name="connsiteY18897" fmla="*/ 1108734 h 6557032"/>
              <a:gd name="connsiteX18898" fmla="*/ 1078727 w 4610101"/>
              <a:gd name="connsiteY18898" fmla="*/ 1112378 h 6557032"/>
              <a:gd name="connsiteX18899" fmla="*/ 1071439 w 4610101"/>
              <a:gd name="connsiteY18899" fmla="*/ 1108734 h 6557032"/>
              <a:gd name="connsiteX18900" fmla="*/ 1031351 w 4610101"/>
              <a:gd name="connsiteY18900" fmla="*/ 1108734 h 6557032"/>
              <a:gd name="connsiteX18901" fmla="*/ 1040462 w 4610101"/>
              <a:gd name="connsiteY18901" fmla="*/ 1117845 h 6557032"/>
              <a:gd name="connsiteX18902" fmla="*/ 1040462 w 4610101"/>
              <a:gd name="connsiteY18902" fmla="*/ 1110556 h 6557032"/>
              <a:gd name="connsiteX18903" fmla="*/ 1031351 w 4610101"/>
              <a:gd name="connsiteY18903" fmla="*/ 1108734 h 6557032"/>
              <a:gd name="connsiteX18904" fmla="*/ 931131 w 4610101"/>
              <a:gd name="connsiteY18904" fmla="*/ 1108734 h 6557032"/>
              <a:gd name="connsiteX18905" fmla="*/ 938420 w 4610101"/>
              <a:gd name="connsiteY18905" fmla="*/ 1119667 h 6557032"/>
              <a:gd name="connsiteX18906" fmla="*/ 931131 w 4610101"/>
              <a:gd name="connsiteY18906" fmla="*/ 1108734 h 6557032"/>
              <a:gd name="connsiteX18907" fmla="*/ 869177 w 4610101"/>
              <a:gd name="connsiteY18907" fmla="*/ 1108734 h 6557032"/>
              <a:gd name="connsiteX18908" fmla="*/ 869177 w 4610101"/>
              <a:gd name="connsiteY18908" fmla="*/ 1121489 h 6557032"/>
              <a:gd name="connsiteX18909" fmla="*/ 871000 w 4610101"/>
              <a:gd name="connsiteY18909" fmla="*/ 1119667 h 6557032"/>
              <a:gd name="connsiteX18910" fmla="*/ 872822 w 4610101"/>
              <a:gd name="connsiteY18910" fmla="*/ 1121489 h 6557032"/>
              <a:gd name="connsiteX18911" fmla="*/ 876466 w 4610101"/>
              <a:gd name="connsiteY18911" fmla="*/ 1117845 h 6557032"/>
              <a:gd name="connsiteX18912" fmla="*/ 869177 w 4610101"/>
              <a:gd name="connsiteY18912" fmla="*/ 1108734 h 6557032"/>
              <a:gd name="connsiteX18913" fmla="*/ 856422 w 4610101"/>
              <a:gd name="connsiteY18913" fmla="*/ 1108734 h 6557032"/>
              <a:gd name="connsiteX18914" fmla="*/ 854600 w 4610101"/>
              <a:gd name="connsiteY18914" fmla="*/ 1110556 h 6557032"/>
              <a:gd name="connsiteX18915" fmla="*/ 856422 w 4610101"/>
              <a:gd name="connsiteY18915" fmla="*/ 1108734 h 6557032"/>
              <a:gd name="connsiteX18916" fmla="*/ 814512 w 4610101"/>
              <a:gd name="connsiteY18916" fmla="*/ 1108734 h 6557032"/>
              <a:gd name="connsiteX18917" fmla="*/ 818156 w 4610101"/>
              <a:gd name="connsiteY18917" fmla="*/ 1117845 h 6557032"/>
              <a:gd name="connsiteX18918" fmla="*/ 814512 w 4610101"/>
              <a:gd name="connsiteY18918" fmla="*/ 1108734 h 6557032"/>
              <a:gd name="connsiteX18919" fmla="*/ 583096 w 4610101"/>
              <a:gd name="connsiteY18919" fmla="*/ 1108734 h 6557032"/>
              <a:gd name="connsiteX18920" fmla="*/ 584919 w 4610101"/>
              <a:gd name="connsiteY18920" fmla="*/ 1112378 h 6557032"/>
              <a:gd name="connsiteX18921" fmla="*/ 583096 w 4610101"/>
              <a:gd name="connsiteY18921" fmla="*/ 1108734 h 6557032"/>
              <a:gd name="connsiteX18922" fmla="*/ 280615 w 4610101"/>
              <a:gd name="connsiteY18922" fmla="*/ 1108734 h 6557032"/>
              <a:gd name="connsiteX18923" fmla="*/ 287904 w 4610101"/>
              <a:gd name="connsiteY18923" fmla="*/ 1117845 h 6557032"/>
              <a:gd name="connsiteX18924" fmla="*/ 280615 w 4610101"/>
              <a:gd name="connsiteY18924" fmla="*/ 1108734 h 6557032"/>
              <a:gd name="connsiteX18925" fmla="*/ 260571 w 4610101"/>
              <a:gd name="connsiteY18925" fmla="*/ 1108734 h 6557032"/>
              <a:gd name="connsiteX18926" fmla="*/ 276971 w 4610101"/>
              <a:gd name="connsiteY18926" fmla="*/ 1121489 h 6557032"/>
              <a:gd name="connsiteX18927" fmla="*/ 267860 w 4610101"/>
              <a:gd name="connsiteY18927" fmla="*/ 1117845 h 6557032"/>
              <a:gd name="connsiteX18928" fmla="*/ 273327 w 4610101"/>
              <a:gd name="connsiteY18928" fmla="*/ 1119667 h 6557032"/>
              <a:gd name="connsiteX18929" fmla="*/ 260571 w 4610101"/>
              <a:gd name="connsiteY18929" fmla="*/ 1108734 h 6557032"/>
              <a:gd name="connsiteX18930" fmla="*/ 189506 w 4610101"/>
              <a:gd name="connsiteY18930" fmla="*/ 1108734 h 6557032"/>
              <a:gd name="connsiteX18931" fmla="*/ 200439 w 4610101"/>
              <a:gd name="connsiteY18931" fmla="*/ 1117845 h 6557032"/>
              <a:gd name="connsiteX18932" fmla="*/ 189506 w 4610101"/>
              <a:gd name="connsiteY18932" fmla="*/ 1108734 h 6557032"/>
              <a:gd name="connsiteX18933" fmla="*/ 508614 w 4610101"/>
              <a:gd name="connsiteY18933" fmla="*/ 1107367 h 6557032"/>
              <a:gd name="connsiteX18934" fmla="*/ 497454 w 4610101"/>
              <a:gd name="connsiteY18934" fmla="*/ 1110556 h 6557032"/>
              <a:gd name="connsiteX18935" fmla="*/ 521142 w 4610101"/>
              <a:gd name="connsiteY18935" fmla="*/ 1112378 h 6557032"/>
              <a:gd name="connsiteX18936" fmla="*/ 508614 w 4610101"/>
              <a:gd name="connsiteY18936" fmla="*/ 1107367 h 6557032"/>
              <a:gd name="connsiteX18937" fmla="*/ 3090407 w 4610101"/>
              <a:gd name="connsiteY18937" fmla="*/ 1106912 h 6557032"/>
              <a:gd name="connsiteX18938" fmla="*/ 3093962 w 4610101"/>
              <a:gd name="connsiteY18938" fmla="*/ 1115589 h 6557032"/>
              <a:gd name="connsiteX18939" fmla="*/ 3092230 w 4610101"/>
              <a:gd name="connsiteY18939" fmla="*/ 1116023 h 6557032"/>
              <a:gd name="connsiteX18940" fmla="*/ 3090407 w 4610101"/>
              <a:gd name="connsiteY18940" fmla="*/ 1106912 h 6557032"/>
              <a:gd name="connsiteX18941" fmla="*/ 2281362 w 4610101"/>
              <a:gd name="connsiteY18941" fmla="*/ 1106912 h 6557032"/>
              <a:gd name="connsiteX18942" fmla="*/ 2285007 w 4610101"/>
              <a:gd name="connsiteY18942" fmla="*/ 1114201 h 6557032"/>
              <a:gd name="connsiteX18943" fmla="*/ 2281362 w 4610101"/>
              <a:gd name="connsiteY18943" fmla="*/ 1106912 h 6557032"/>
              <a:gd name="connsiteX18944" fmla="*/ 2246741 w 4610101"/>
              <a:gd name="connsiteY18944" fmla="*/ 1106912 h 6557032"/>
              <a:gd name="connsiteX18945" fmla="*/ 2246741 w 4610101"/>
              <a:gd name="connsiteY18945" fmla="*/ 1112378 h 6557032"/>
              <a:gd name="connsiteX18946" fmla="*/ 2250385 w 4610101"/>
              <a:gd name="connsiteY18946" fmla="*/ 1108734 h 6557032"/>
              <a:gd name="connsiteX18947" fmla="*/ 925666 w 4610101"/>
              <a:gd name="connsiteY18947" fmla="*/ 1106912 h 6557032"/>
              <a:gd name="connsiteX18948" fmla="*/ 923843 w 4610101"/>
              <a:gd name="connsiteY18948" fmla="*/ 1110556 h 6557032"/>
              <a:gd name="connsiteX18949" fmla="*/ 929309 w 4610101"/>
              <a:gd name="connsiteY18949" fmla="*/ 1110556 h 6557032"/>
              <a:gd name="connsiteX18950" fmla="*/ 925666 w 4610101"/>
              <a:gd name="connsiteY18950" fmla="*/ 1106912 h 6557032"/>
              <a:gd name="connsiteX18951" fmla="*/ 830912 w 4610101"/>
              <a:gd name="connsiteY18951" fmla="*/ 1106912 h 6557032"/>
              <a:gd name="connsiteX18952" fmla="*/ 823623 w 4610101"/>
              <a:gd name="connsiteY18952" fmla="*/ 1110556 h 6557032"/>
              <a:gd name="connsiteX18953" fmla="*/ 829089 w 4610101"/>
              <a:gd name="connsiteY18953" fmla="*/ 1116023 h 6557032"/>
              <a:gd name="connsiteX18954" fmla="*/ 827267 w 4610101"/>
              <a:gd name="connsiteY18954" fmla="*/ 1116023 h 6557032"/>
              <a:gd name="connsiteX18955" fmla="*/ 836378 w 4610101"/>
              <a:gd name="connsiteY18955" fmla="*/ 1119667 h 6557032"/>
              <a:gd name="connsiteX18956" fmla="*/ 830912 w 4610101"/>
              <a:gd name="connsiteY18956" fmla="*/ 1106912 h 6557032"/>
              <a:gd name="connsiteX18957" fmla="*/ 772602 w 4610101"/>
              <a:gd name="connsiteY18957" fmla="*/ 1106912 h 6557032"/>
              <a:gd name="connsiteX18958" fmla="*/ 770781 w 4610101"/>
              <a:gd name="connsiteY18958" fmla="*/ 1121489 h 6557032"/>
              <a:gd name="connsiteX18959" fmla="*/ 772602 w 4610101"/>
              <a:gd name="connsiteY18959" fmla="*/ 1106912 h 6557032"/>
              <a:gd name="connsiteX18960" fmla="*/ 568519 w 4610101"/>
              <a:gd name="connsiteY18960" fmla="*/ 1106912 h 6557032"/>
              <a:gd name="connsiteX18961" fmla="*/ 572163 w 4610101"/>
              <a:gd name="connsiteY18961" fmla="*/ 1108734 h 6557032"/>
              <a:gd name="connsiteX18962" fmla="*/ 568519 w 4610101"/>
              <a:gd name="connsiteY18962" fmla="*/ 1106912 h 6557032"/>
              <a:gd name="connsiteX18963" fmla="*/ 539364 w 4610101"/>
              <a:gd name="connsiteY18963" fmla="*/ 1106912 h 6557032"/>
              <a:gd name="connsiteX18964" fmla="*/ 543008 w 4610101"/>
              <a:gd name="connsiteY18964" fmla="*/ 1110556 h 6557032"/>
              <a:gd name="connsiteX18965" fmla="*/ 543008 w 4610101"/>
              <a:gd name="connsiteY18965" fmla="*/ 1108734 h 6557032"/>
              <a:gd name="connsiteX18966" fmla="*/ 539364 w 4610101"/>
              <a:gd name="connsiteY18966" fmla="*/ 1106912 h 6557032"/>
              <a:gd name="connsiteX18967" fmla="*/ 430034 w 4610101"/>
              <a:gd name="connsiteY18967" fmla="*/ 1106912 h 6557032"/>
              <a:gd name="connsiteX18968" fmla="*/ 426389 w 4610101"/>
              <a:gd name="connsiteY18968" fmla="*/ 1108734 h 6557032"/>
              <a:gd name="connsiteX18969" fmla="*/ 433678 w 4610101"/>
              <a:gd name="connsiteY18969" fmla="*/ 1110556 h 6557032"/>
              <a:gd name="connsiteX18970" fmla="*/ 430034 w 4610101"/>
              <a:gd name="connsiteY18970" fmla="*/ 1106912 h 6557032"/>
              <a:gd name="connsiteX18971" fmla="*/ 313414 w 4610101"/>
              <a:gd name="connsiteY18971" fmla="*/ 1106912 h 6557032"/>
              <a:gd name="connsiteX18972" fmla="*/ 320703 w 4610101"/>
              <a:gd name="connsiteY18972" fmla="*/ 1112378 h 6557032"/>
              <a:gd name="connsiteX18973" fmla="*/ 295193 w 4610101"/>
              <a:gd name="connsiteY18973" fmla="*/ 1108734 h 6557032"/>
              <a:gd name="connsiteX18974" fmla="*/ 317059 w 4610101"/>
              <a:gd name="connsiteY18974" fmla="*/ 1128778 h 6557032"/>
              <a:gd name="connsiteX18975" fmla="*/ 315236 w 4610101"/>
              <a:gd name="connsiteY18975" fmla="*/ 1126956 h 6557032"/>
              <a:gd name="connsiteX18976" fmla="*/ 322525 w 4610101"/>
              <a:gd name="connsiteY18976" fmla="*/ 1132422 h 6557032"/>
              <a:gd name="connsiteX18977" fmla="*/ 320703 w 4610101"/>
              <a:gd name="connsiteY18977" fmla="*/ 1128778 h 6557032"/>
              <a:gd name="connsiteX18978" fmla="*/ 326169 w 4610101"/>
              <a:gd name="connsiteY18978" fmla="*/ 1130600 h 6557032"/>
              <a:gd name="connsiteX18979" fmla="*/ 338926 w 4610101"/>
              <a:gd name="connsiteY18979" fmla="*/ 1136067 h 6557032"/>
              <a:gd name="connsiteX18980" fmla="*/ 337102 w 4610101"/>
              <a:gd name="connsiteY18980" fmla="*/ 1136067 h 6557032"/>
              <a:gd name="connsiteX18981" fmla="*/ 348037 w 4610101"/>
              <a:gd name="connsiteY18981" fmla="*/ 1141533 h 6557032"/>
              <a:gd name="connsiteX18982" fmla="*/ 348037 w 4610101"/>
              <a:gd name="connsiteY18982" fmla="*/ 1139711 h 6557032"/>
              <a:gd name="connsiteX18983" fmla="*/ 355324 w 4610101"/>
              <a:gd name="connsiteY18983" fmla="*/ 1141533 h 6557032"/>
              <a:gd name="connsiteX18984" fmla="*/ 351680 w 4610101"/>
              <a:gd name="connsiteY18984" fmla="*/ 1136067 h 6557032"/>
              <a:gd name="connsiteX18985" fmla="*/ 373546 w 4610101"/>
              <a:gd name="connsiteY18985" fmla="*/ 1143355 h 6557032"/>
              <a:gd name="connsiteX18986" fmla="*/ 366257 w 4610101"/>
              <a:gd name="connsiteY18986" fmla="*/ 1141533 h 6557032"/>
              <a:gd name="connsiteX18987" fmla="*/ 369902 w 4610101"/>
              <a:gd name="connsiteY18987" fmla="*/ 1139711 h 6557032"/>
              <a:gd name="connsiteX18988" fmla="*/ 357146 w 4610101"/>
              <a:gd name="connsiteY18988" fmla="*/ 1136067 h 6557032"/>
              <a:gd name="connsiteX18989" fmla="*/ 369902 w 4610101"/>
              <a:gd name="connsiteY18989" fmla="*/ 1134245 h 6557032"/>
              <a:gd name="connsiteX18990" fmla="*/ 355324 w 4610101"/>
              <a:gd name="connsiteY18990" fmla="*/ 1128778 h 6557032"/>
              <a:gd name="connsiteX18991" fmla="*/ 357146 w 4610101"/>
              <a:gd name="connsiteY18991" fmla="*/ 1126956 h 6557032"/>
              <a:gd name="connsiteX18992" fmla="*/ 335280 w 4610101"/>
              <a:gd name="connsiteY18992" fmla="*/ 1121489 h 6557032"/>
              <a:gd name="connsiteX18993" fmla="*/ 340747 w 4610101"/>
              <a:gd name="connsiteY18993" fmla="*/ 1119667 h 6557032"/>
              <a:gd name="connsiteX18994" fmla="*/ 328903 w 4610101"/>
              <a:gd name="connsiteY18994" fmla="*/ 1115795 h 6557032"/>
              <a:gd name="connsiteX18995" fmla="*/ 328344 w 4610101"/>
              <a:gd name="connsiteY18995" fmla="*/ 1115806 h 6557032"/>
              <a:gd name="connsiteX18996" fmla="*/ 344391 w 4610101"/>
              <a:gd name="connsiteY18996" fmla="*/ 1114201 h 6557032"/>
              <a:gd name="connsiteX18997" fmla="*/ 320703 w 4610101"/>
              <a:gd name="connsiteY18997" fmla="*/ 1110556 h 6557032"/>
              <a:gd name="connsiteX18998" fmla="*/ 313414 w 4610101"/>
              <a:gd name="connsiteY18998" fmla="*/ 1106912 h 6557032"/>
              <a:gd name="connsiteX18999" fmla="*/ 291549 w 4610101"/>
              <a:gd name="connsiteY18999" fmla="*/ 1106912 h 6557032"/>
              <a:gd name="connsiteX19000" fmla="*/ 297015 w 4610101"/>
              <a:gd name="connsiteY19000" fmla="*/ 1116023 h 6557032"/>
              <a:gd name="connsiteX19001" fmla="*/ 291549 w 4610101"/>
              <a:gd name="connsiteY19001" fmla="*/ 1106912 h 6557032"/>
              <a:gd name="connsiteX19002" fmla="*/ 229594 w 4610101"/>
              <a:gd name="connsiteY19002" fmla="*/ 1106912 h 6557032"/>
              <a:gd name="connsiteX19003" fmla="*/ 236883 w 4610101"/>
              <a:gd name="connsiteY19003" fmla="*/ 1112378 h 6557032"/>
              <a:gd name="connsiteX19004" fmla="*/ 229594 w 4610101"/>
              <a:gd name="connsiteY19004" fmla="*/ 1106912 h 6557032"/>
              <a:gd name="connsiteX19005" fmla="*/ 1486895 w 4610101"/>
              <a:gd name="connsiteY19005" fmla="*/ 1105090 h 6557032"/>
              <a:gd name="connsiteX19006" fmla="*/ 1488716 w 4610101"/>
              <a:gd name="connsiteY19006" fmla="*/ 1108734 h 6557032"/>
              <a:gd name="connsiteX19007" fmla="*/ 1494183 w 4610101"/>
              <a:gd name="connsiteY19007" fmla="*/ 1106912 h 6557032"/>
              <a:gd name="connsiteX19008" fmla="*/ 1488716 w 4610101"/>
              <a:gd name="connsiteY19008" fmla="*/ 1119667 h 6557032"/>
              <a:gd name="connsiteX19009" fmla="*/ 1481428 w 4610101"/>
              <a:gd name="connsiteY19009" fmla="*/ 1130600 h 6557032"/>
              <a:gd name="connsiteX19010" fmla="*/ 1486895 w 4610101"/>
              <a:gd name="connsiteY19010" fmla="*/ 1128778 h 6557032"/>
              <a:gd name="connsiteX19011" fmla="*/ 1478240 w 4610101"/>
              <a:gd name="connsiteY19011" fmla="*/ 1134472 h 6557032"/>
              <a:gd name="connsiteX19012" fmla="*/ 1473309 w 4610101"/>
              <a:gd name="connsiteY19012" fmla="*/ 1140350 h 6557032"/>
              <a:gd name="connsiteX19013" fmla="*/ 1465028 w 4610101"/>
              <a:gd name="connsiteY19013" fmla="*/ 1141533 h 6557032"/>
              <a:gd name="connsiteX19014" fmla="*/ 1441340 w 4610101"/>
              <a:gd name="connsiteY19014" fmla="*/ 1161577 h 6557032"/>
              <a:gd name="connsiteX19015" fmla="*/ 1448629 w 4610101"/>
              <a:gd name="connsiteY19015" fmla="*/ 1159755 h 6557032"/>
              <a:gd name="connsiteX19016" fmla="*/ 1424940 w 4610101"/>
              <a:gd name="connsiteY19016" fmla="*/ 1176155 h 6557032"/>
              <a:gd name="connsiteX19017" fmla="*/ 1424940 w 4610101"/>
              <a:gd name="connsiteY19017" fmla="*/ 1172510 h 6557032"/>
              <a:gd name="connsiteX19018" fmla="*/ 1417652 w 4610101"/>
              <a:gd name="connsiteY19018" fmla="*/ 1183443 h 6557032"/>
              <a:gd name="connsiteX19019" fmla="*/ 1417652 w 4610101"/>
              <a:gd name="connsiteY19019" fmla="*/ 1179799 h 6557032"/>
              <a:gd name="connsiteX19020" fmla="*/ 1402117 w 4610101"/>
              <a:gd name="connsiteY19020" fmla="*/ 1185448 h 6557032"/>
              <a:gd name="connsiteX19021" fmla="*/ 1404214 w 4610101"/>
              <a:gd name="connsiteY19021" fmla="*/ 1184354 h 6557032"/>
              <a:gd name="connsiteX19022" fmla="*/ 1410363 w 4610101"/>
              <a:gd name="connsiteY19022" fmla="*/ 1176155 h 6557032"/>
              <a:gd name="connsiteX19023" fmla="*/ 1414007 w 4610101"/>
              <a:gd name="connsiteY19023" fmla="*/ 1176155 h 6557032"/>
              <a:gd name="connsiteX19024" fmla="*/ 1412185 w 4610101"/>
              <a:gd name="connsiteY19024" fmla="*/ 1172510 h 6557032"/>
              <a:gd name="connsiteX19025" fmla="*/ 1418664 w 4610101"/>
              <a:gd name="connsiteY19025" fmla="*/ 1174130 h 6557032"/>
              <a:gd name="connsiteX19026" fmla="*/ 1417652 w 4610101"/>
              <a:gd name="connsiteY19026" fmla="*/ 1176155 h 6557032"/>
              <a:gd name="connsiteX19027" fmla="*/ 1420613 w 4610101"/>
              <a:gd name="connsiteY19027" fmla="*/ 1175699 h 6557032"/>
              <a:gd name="connsiteX19028" fmla="*/ 1419988 w 4610101"/>
              <a:gd name="connsiteY19028" fmla="*/ 1173949 h 6557032"/>
              <a:gd name="connsiteX19029" fmla="*/ 1432001 w 4610101"/>
              <a:gd name="connsiteY19029" fmla="*/ 1164994 h 6557032"/>
              <a:gd name="connsiteX19030" fmla="*/ 1443162 w 4610101"/>
              <a:gd name="connsiteY19030" fmla="*/ 1154288 h 6557032"/>
              <a:gd name="connsiteX19031" fmla="*/ 1439518 w 4610101"/>
              <a:gd name="connsiteY19031" fmla="*/ 1117845 h 6557032"/>
              <a:gd name="connsiteX19032" fmla="*/ 1443162 w 4610101"/>
              <a:gd name="connsiteY19032" fmla="*/ 1148822 h 6557032"/>
              <a:gd name="connsiteX19033" fmla="*/ 1444984 w 4610101"/>
              <a:gd name="connsiteY19033" fmla="*/ 1148822 h 6557032"/>
              <a:gd name="connsiteX19034" fmla="*/ 1444984 w 4610101"/>
              <a:gd name="connsiteY19034" fmla="*/ 1154288 h 6557032"/>
              <a:gd name="connsiteX19035" fmla="*/ 1459562 w 4610101"/>
              <a:gd name="connsiteY19035" fmla="*/ 1139711 h 6557032"/>
              <a:gd name="connsiteX19036" fmla="*/ 1461384 w 4610101"/>
              <a:gd name="connsiteY19036" fmla="*/ 1141533 h 6557032"/>
              <a:gd name="connsiteX19037" fmla="*/ 1459562 w 4610101"/>
              <a:gd name="connsiteY19037" fmla="*/ 1130600 h 6557032"/>
              <a:gd name="connsiteX19038" fmla="*/ 1463206 w 4610101"/>
              <a:gd name="connsiteY19038" fmla="*/ 1121489 h 6557032"/>
              <a:gd name="connsiteX19039" fmla="*/ 1465028 w 4610101"/>
              <a:gd name="connsiteY19039" fmla="*/ 1139711 h 6557032"/>
              <a:gd name="connsiteX19040" fmla="*/ 1470495 w 4610101"/>
              <a:gd name="connsiteY19040" fmla="*/ 1132422 h 6557032"/>
              <a:gd name="connsiteX19041" fmla="*/ 1472317 w 4610101"/>
              <a:gd name="connsiteY19041" fmla="*/ 1134245 h 6557032"/>
              <a:gd name="connsiteX19042" fmla="*/ 1475961 w 4610101"/>
              <a:gd name="connsiteY19042" fmla="*/ 1128778 h 6557032"/>
              <a:gd name="connsiteX19043" fmla="*/ 1479606 w 4610101"/>
              <a:gd name="connsiteY19043" fmla="*/ 1126956 h 6557032"/>
              <a:gd name="connsiteX19044" fmla="*/ 1483250 w 4610101"/>
              <a:gd name="connsiteY19044" fmla="*/ 1116023 h 6557032"/>
              <a:gd name="connsiteX19045" fmla="*/ 1477784 w 4610101"/>
              <a:gd name="connsiteY19045" fmla="*/ 1106912 h 6557032"/>
              <a:gd name="connsiteX19046" fmla="*/ 1485072 w 4610101"/>
              <a:gd name="connsiteY19046" fmla="*/ 1116023 h 6557032"/>
              <a:gd name="connsiteX19047" fmla="*/ 1486895 w 4610101"/>
              <a:gd name="connsiteY19047" fmla="*/ 1105090 h 6557032"/>
              <a:gd name="connsiteX19048" fmla="*/ 1113349 w 4610101"/>
              <a:gd name="connsiteY19048" fmla="*/ 1105090 h 6557032"/>
              <a:gd name="connsiteX19049" fmla="*/ 1109704 w 4610101"/>
              <a:gd name="connsiteY19049" fmla="*/ 1116023 h 6557032"/>
              <a:gd name="connsiteX19050" fmla="*/ 1120637 w 4610101"/>
              <a:gd name="connsiteY19050" fmla="*/ 1110556 h 6557032"/>
              <a:gd name="connsiteX19051" fmla="*/ 1113349 w 4610101"/>
              <a:gd name="connsiteY19051" fmla="*/ 1105090 h 6557032"/>
              <a:gd name="connsiteX19052" fmla="*/ 932953 w 4610101"/>
              <a:gd name="connsiteY19052" fmla="*/ 1105090 h 6557032"/>
              <a:gd name="connsiteX19053" fmla="*/ 938420 w 4610101"/>
              <a:gd name="connsiteY19053" fmla="*/ 1112378 h 6557032"/>
              <a:gd name="connsiteX19054" fmla="*/ 932953 w 4610101"/>
              <a:gd name="connsiteY19054" fmla="*/ 1105090 h 6557032"/>
              <a:gd name="connsiteX19055" fmla="*/ 623185 w 4610101"/>
              <a:gd name="connsiteY19055" fmla="*/ 1105090 h 6557032"/>
              <a:gd name="connsiteX19056" fmla="*/ 619539 w 4610101"/>
              <a:gd name="connsiteY19056" fmla="*/ 1108734 h 6557032"/>
              <a:gd name="connsiteX19057" fmla="*/ 634117 w 4610101"/>
              <a:gd name="connsiteY19057" fmla="*/ 1110556 h 6557032"/>
              <a:gd name="connsiteX19058" fmla="*/ 623185 w 4610101"/>
              <a:gd name="connsiteY19058" fmla="*/ 1105090 h 6557032"/>
              <a:gd name="connsiteX19059" fmla="*/ 450077 w 4610101"/>
              <a:gd name="connsiteY19059" fmla="*/ 1105090 h 6557032"/>
              <a:gd name="connsiteX19060" fmla="*/ 455544 w 4610101"/>
              <a:gd name="connsiteY19060" fmla="*/ 1108734 h 6557032"/>
              <a:gd name="connsiteX19061" fmla="*/ 450077 w 4610101"/>
              <a:gd name="connsiteY19061" fmla="*/ 1105090 h 6557032"/>
              <a:gd name="connsiteX19062" fmla="*/ 377190 w 4610101"/>
              <a:gd name="connsiteY19062" fmla="*/ 1105090 h 6557032"/>
              <a:gd name="connsiteX19063" fmla="*/ 395412 w 4610101"/>
              <a:gd name="connsiteY19063" fmla="*/ 1119667 h 6557032"/>
              <a:gd name="connsiteX19064" fmla="*/ 377190 w 4610101"/>
              <a:gd name="connsiteY19064" fmla="*/ 1105090 h 6557032"/>
              <a:gd name="connsiteX19065" fmla="*/ 494949 w 4610101"/>
              <a:gd name="connsiteY19065" fmla="*/ 1104635 h 6557032"/>
              <a:gd name="connsiteX19066" fmla="*/ 491987 w 4610101"/>
              <a:gd name="connsiteY19066" fmla="*/ 1105090 h 6557032"/>
              <a:gd name="connsiteX19067" fmla="*/ 499276 w 4610101"/>
              <a:gd name="connsiteY19067" fmla="*/ 1106912 h 6557032"/>
              <a:gd name="connsiteX19068" fmla="*/ 494949 w 4610101"/>
              <a:gd name="connsiteY19068" fmla="*/ 1104635 h 6557032"/>
              <a:gd name="connsiteX19069" fmla="*/ 1127926 w 4610101"/>
              <a:gd name="connsiteY19069" fmla="*/ 1103268 h 6557032"/>
              <a:gd name="connsiteX19070" fmla="*/ 1122459 w 4610101"/>
              <a:gd name="connsiteY19070" fmla="*/ 1110556 h 6557032"/>
              <a:gd name="connsiteX19071" fmla="*/ 1131570 w 4610101"/>
              <a:gd name="connsiteY19071" fmla="*/ 1105090 h 6557032"/>
              <a:gd name="connsiteX19072" fmla="*/ 1127926 w 4610101"/>
              <a:gd name="connsiteY19072" fmla="*/ 1103268 h 6557032"/>
              <a:gd name="connsiteX19073" fmla="*/ 1082373 w 4610101"/>
              <a:gd name="connsiteY19073" fmla="*/ 1103268 h 6557032"/>
              <a:gd name="connsiteX19074" fmla="*/ 1076905 w 4610101"/>
              <a:gd name="connsiteY19074" fmla="*/ 1105090 h 6557032"/>
              <a:gd name="connsiteX19075" fmla="*/ 1082373 w 4610101"/>
              <a:gd name="connsiteY19075" fmla="*/ 1108734 h 6557032"/>
              <a:gd name="connsiteX19076" fmla="*/ 1082373 w 4610101"/>
              <a:gd name="connsiteY19076" fmla="*/ 1103268 h 6557032"/>
              <a:gd name="connsiteX19077" fmla="*/ 1047750 w 4610101"/>
              <a:gd name="connsiteY19077" fmla="*/ 1103268 h 6557032"/>
              <a:gd name="connsiteX19078" fmla="*/ 1045929 w 4610101"/>
              <a:gd name="connsiteY19078" fmla="*/ 1108734 h 6557032"/>
              <a:gd name="connsiteX19079" fmla="*/ 1049573 w 4610101"/>
              <a:gd name="connsiteY19079" fmla="*/ 1108734 h 6557032"/>
              <a:gd name="connsiteX19080" fmla="*/ 1047750 w 4610101"/>
              <a:gd name="connsiteY19080" fmla="*/ 1103268 h 6557032"/>
              <a:gd name="connsiteX19081" fmla="*/ 841845 w 4610101"/>
              <a:gd name="connsiteY19081" fmla="*/ 1103268 h 6557032"/>
              <a:gd name="connsiteX19082" fmla="*/ 840022 w 4610101"/>
              <a:gd name="connsiteY19082" fmla="*/ 1117845 h 6557032"/>
              <a:gd name="connsiteX19083" fmla="*/ 841845 w 4610101"/>
              <a:gd name="connsiteY19083" fmla="*/ 1114201 h 6557032"/>
              <a:gd name="connsiteX19084" fmla="*/ 847311 w 4610101"/>
              <a:gd name="connsiteY19084" fmla="*/ 1117845 h 6557032"/>
              <a:gd name="connsiteX19085" fmla="*/ 849133 w 4610101"/>
              <a:gd name="connsiteY19085" fmla="*/ 1114201 h 6557032"/>
              <a:gd name="connsiteX19086" fmla="*/ 841845 w 4610101"/>
              <a:gd name="connsiteY19086" fmla="*/ 1114201 h 6557032"/>
              <a:gd name="connsiteX19087" fmla="*/ 840022 w 4610101"/>
              <a:gd name="connsiteY19087" fmla="*/ 1114201 h 6557032"/>
              <a:gd name="connsiteX19088" fmla="*/ 847311 w 4610101"/>
              <a:gd name="connsiteY19088" fmla="*/ 1110556 h 6557032"/>
              <a:gd name="connsiteX19089" fmla="*/ 841845 w 4610101"/>
              <a:gd name="connsiteY19089" fmla="*/ 1103268 h 6557032"/>
              <a:gd name="connsiteX19090" fmla="*/ 789003 w 4610101"/>
              <a:gd name="connsiteY19090" fmla="*/ 1103268 h 6557032"/>
              <a:gd name="connsiteX19091" fmla="*/ 790824 w 4610101"/>
              <a:gd name="connsiteY19091" fmla="*/ 1106912 h 6557032"/>
              <a:gd name="connsiteX19092" fmla="*/ 789003 w 4610101"/>
              <a:gd name="connsiteY19092" fmla="*/ 1103268 h 6557032"/>
              <a:gd name="connsiteX19093" fmla="*/ 595852 w 4610101"/>
              <a:gd name="connsiteY19093" fmla="*/ 1103268 h 6557032"/>
              <a:gd name="connsiteX19094" fmla="*/ 612251 w 4610101"/>
              <a:gd name="connsiteY19094" fmla="*/ 1114201 h 6557032"/>
              <a:gd name="connsiteX19095" fmla="*/ 595852 w 4610101"/>
              <a:gd name="connsiteY19095" fmla="*/ 1103268 h 6557032"/>
              <a:gd name="connsiteX19096" fmla="*/ 247816 w 4610101"/>
              <a:gd name="connsiteY19096" fmla="*/ 1103268 h 6557032"/>
              <a:gd name="connsiteX19097" fmla="*/ 244172 w 4610101"/>
              <a:gd name="connsiteY19097" fmla="*/ 1105090 h 6557032"/>
              <a:gd name="connsiteX19098" fmla="*/ 262393 w 4610101"/>
              <a:gd name="connsiteY19098" fmla="*/ 1117845 h 6557032"/>
              <a:gd name="connsiteX19099" fmla="*/ 247816 w 4610101"/>
              <a:gd name="connsiteY19099" fmla="*/ 1103268 h 6557032"/>
              <a:gd name="connsiteX19100" fmla="*/ 235061 w 4610101"/>
              <a:gd name="connsiteY19100" fmla="*/ 1103268 h 6557032"/>
              <a:gd name="connsiteX19101" fmla="*/ 238705 w 4610101"/>
              <a:gd name="connsiteY19101" fmla="*/ 1106912 h 6557032"/>
              <a:gd name="connsiteX19102" fmla="*/ 235061 w 4610101"/>
              <a:gd name="connsiteY19102" fmla="*/ 1103268 h 6557032"/>
              <a:gd name="connsiteX19103" fmla="*/ 220483 w 4610101"/>
              <a:gd name="connsiteY19103" fmla="*/ 1103268 h 6557032"/>
              <a:gd name="connsiteX19104" fmla="*/ 233239 w 4610101"/>
              <a:gd name="connsiteY19104" fmla="*/ 1116023 h 6557032"/>
              <a:gd name="connsiteX19105" fmla="*/ 220483 w 4610101"/>
              <a:gd name="connsiteY19105" fmla="*/ 1103268 h 6557032"/>
              <a:gd name="connsiteX19106" fmla="*/ 426388 w 4610101"/>
              <a:gd name="connsiteY19106" fmla="*/ 1103267 h 6557032"/>
              <a:gd name="connsiteX19107" fmla="*/ 426389 w 4610101"/>
              <a:gd name="connsiteY19107" fmla="*/ 1103267 h 6557032"/>
              <a:gd name="connsiteX19108" fmla="*/ 426389 w 4610101"/>
              <a:gd name="connsiteY19108" fmla="*/ 1103268 h 6557032"/>
              <a:gd name="connsiteX19109" fmla="*/ 976310 w 4610101"/>
              <a:gd name="connsiteY19109" fmla="*/ 1102517 h 6557032"/>
              <a:gd name="connsiteX19110" fmla="*/ 976686 w 4610101"/>
              <a:gd name="connsiteY19110" fmla="*/ 1103268 h 6557032"/>
              <a:gd name="connsiteX19111" fmla="*/ 975704 w 4610101"/>
              <a:gd name="connsiteY19111" fmla="*/ 1104249 h 6557032"/>
              <a:gd name="connsiteX19112" fmla="*/ 3285380 w 4610101"/>
              <a:gd name="connsiteY19112" fmla="*/ 1101445 h 6557032"/>
              <a:gd name="connsiteX19113" fmla="*/ 3274447 w 4610101"/>
              <a:gd name="connsiteY19113" fmla="*/ 1110556 h 6557032"/>
              <a:gd name="connsiteX19114" fmla="*/ 3270803 w 4610101"/>
              <a:gd name="connsiteY19114" fmla="*/ 1103268 h 6557032"/>
              <a:gd name="connsiteX19115" fmla="*/ 3263514 w 4610101"/>
              <a:gd name="connsiteY19115" fmla="*/ 1119667 h 6557032"/>
              <a:gd name="connsiteX19116" fmla="*/ 3265336 w 4610101"/>
              <a:gd name="connsiteY19116" fmla="*/ 1103268 h 6557032"/>
              <a:gd name="connsiteX19117" fmla="*/ 3205204 w 4610101"/>
              <a:gd name="connsiteY19117" fmla="*/ 1110556 h 6557032"/>
              <a:gd name="connsiteX19118" fmla="*/ 3230715 w 4610101"/>
              <a:gd name="connsiteY19118" fmla="*/ 1134245 h 6557032"/>
              <a:gd name="connsiteX19119" fmla="*/ 3247114 w 4610101"/>
              <a:gd name="connsiteY19119" fmla="*/ 1156111 h 6557032"/>
              <a:gd name="connsiteX19120" fmla="*/ 3263514 w 4610101"/>
              <a:gd name="connsiteY19120" fmla="*/ 1170688 h 6557032"/>
              <a:gd name="connsiteX19121" fmla="*/ 3270803 w 4610101"/>
              <a:gd name="connsiteY19121" fmla="*/ 1159755 h 6557032"/>
              <a:gd name="connsiteX19122" fmla="*/ 3278091 w 4610101"/>
              <a:gd name="connsiteY19122" fmla="*/ 1172510 h 6557032"/>
              <a:gd name="connsiteX19123" fmla="*/ 3281736 w 4610101"/>
              <a:gd name="connsiteY19123" fmla="*/ 1154288 h 6557032"/>
              <a:gd name="connsiteX19124" fmla="*/ 3289024 w 4610101"/>
              <a:gd name="connsiteY19124" fmla="*/ 1157933 h 6557032"/>
              <a:gd name="connsiteX19125" fmla="*/ 3281736 w 4610101"/>
              <a:gd name="connsiteY19125" fmla="*/ 1167044 h 6557032"/>
              <a:gd name="connsiteX19126" fmla="*/ 3289024 w 4610101"/>
              <a:gd name="connsiteY19126" fmla="*/ 1167044 h 6557032"/>
              <a:gd name="connsiteX19127" fmla="*/ 3287202 w 4610101"/>
              <a:gd name="connsiteY19127" fmla="*/ 1174332 h 6557032"/>
              <a:gd name="connsiteX19128" fmla="*/ 3299957 w 4610101"/>
              <a:gd name="connsiteY19128" fmla="*/ 1174332 h 6557032"/>
              <a:gd name="connsiteX19129" fmla="*/ 3305424 w 4610101"/>
              <a:gd name="connsiteY19129" fmla="*/ 1170688 h 6557032"/>
              <a:gd name="connsiteX19130" fmla="*/ 3304416 w 4610101"/>
              <a:gd name="connsiteY19130" fmla="*/ 1169962 h 6557032"/>
              <a:gd name="connsiteX19131" fmla="*/ 3312713 w 4610101"/>
              <a:gd name="connsiteY19131" fmla="*/ 1165222 h 6557032"/>
              <a:gd name="connsiteX19132" fmla="*/ 3306335 w 4610101"/>
              <a:gd name="connsiteY19132" fmla="*/ 1165449 h 6557032"/>
              <a:gd name="connsiteX19133" fmla="*/ 3303109 w 4610101"/>
              <a:gd name="connsiteY19133" fmla="*/ 1169021 h 6557032"/>
              <a:gd name="connsiteX19134" fmla="*/ 3299730 w 4610101"/>
              <a:gd name="connsiteY19134" fmla="*/ 1166588 h 6557032"/>
              <a:gd name="connsiteX19135" fmla="*/ 3292669 w 4610101"/>
              <a:gd name="connsiteY19135" fmla="*/ 1165222 h 6557032"/>
              <a:gd name="connsiteX19136" fmla="*/ 3290847 w 4610101"/>
              <a:gd name="connsiteY19136" fmla="*/ 1159755 h 6557032"/>
              <a:gd name="connsiteX19137" fmla="*/ 3320001 w 4610101"/>
              <a:gd name="connsiteY19137" fmla="*/ 1161577 h 6557032"/>
              <a:gd name="connsiteX19138" fmla="*/ 3325468 w 4610101"/>
              <a:gd name="connsiteY19138" fmla="*/ 1156111 h 6557032"/>
              <a:gd name="connsiteX19139" fmla="*/ 3330934 w 4610101"/>
              <a:gd name="connsiteY19139" fmla="*/ 1159755 h 6557032"/>
              <a:gd name="connsiteX19140" fmla="*/ 3327290 w 4610101"/>
              <a:gd name="connsiteY19140" fmla="*/ 1167044 h 6557032"/>
              <a:gd name="connsiteX19141" fmla="*/ 3324785 w 4610101"/>
              <a:gd name="connsiteY19141" fmla="*/ 1169549 h 6557032"/>
              <a:gd name="connsiteX19142" fmla="*/ 3321824 w 4610101"/>
              <a:gd name="connsiteY19142" fmla="*/ 1172510 h 6557032"/>
              <a:gd name="connsiteX19143" fmla="*/ 3323646 w 4610101"/>
              <a:gd name="connsiteY19143" fmla="*/ 1172510 h 6557032"/>
              <a:gd name="connsiteX19144" fmla="*/ 3329112 w 4610101"/>
              <a:gd name="connsiteY19144" fmla="*/ 1172510 h 6557032"/>
              <a:gd name="connsiteX19145" fmla="*/ 3329112 w 4610101"/>
              <a:gd name="connsiteY19145" fmla="*/ 1165677 h 6557032"/>
              <a:gd name="connsiteX19146" fmla="*/ 3330934 w 4610101"/>
              <a:gd name="connsiteY19146" fmla="*/ 1164310 h 6557032"/>
              <a:gd name="connsiteX19147" fmla="*/ 3334579 w 4610101"/>
              <a:gd name="connsiteY19147" fmla="*/ 1161577 h 6557032"/>
              <a:gd name="connsiteX19148" fmla="*/ 3334579 w 4610101"/>
              <a:gd name="connsiteY19148" fmla="*/ 1148822 h 6557032"/>
              <a:gd name="connsiteX19149" fmla="*/ 3336401 w 4610101"/>
              <a:gd name="connsiteY19149" fmla="*/ 1152466 h 6557032"/>
              <a:gd name="connsiteX19150" fmla="*/ 3341787 w 4610101"/>
              <a:gd name="connsiteY19150" fmla="*/ 1148785 h 6557032"/>
              <a:gd name="connsiteX19151" fmla="*/ 3341867 w 4610101"/>
              <a:gd name="connsiteY19151" fmla="*/ 1148822 h 6557032"/>
              <a:gd name="connsiteX19152" fmla="*/ 3341843 w 4610101"/>
              <a:gd name="connsiteY19152" fmla="*/ 1148748 h 6557032"/>
              <a:gd name="connsiteX19153" fmla="*/ 3350068 w 4610101"/>
              <a:gd name="connsiteY19153" fmla="*/ 1143127 h 6557032"/>
              <a:gd name="connsiteX19154" fmla="*/ 3357554 w 4610101"/>
              <a:gd name="connsiteY19154" fmla="*/ 1128362 h 6557032"/>
              <a:gd name="connsiteX19155" fmla="*/ 3358267 w 4610101"/>
              <a:gd name="connsiteY19155" fmla="*/ 1128778 h 6557032"/>
              <a:gd name="connsiteX19156" fmla="*/ 3361911 w 4610101"/>
              <a:gd name="connsiteY19156" fmla="*/ 1123312 h 6557032"/>
              <a:gd name="connsiteX19157" fmla="*/ 3352800 w 4610101"/>
              <a:gd name="connsiteY19157" fmla="*/ 1126956 h 6557032"/>
              <a:gd name="connsiteX19158" fmla="*/ 3355534 w 4610101"/>
              <a:gd name="connsiteY19158" fmla="*/ 1127184 h 6557032"/>
              <a:gd name="connsiteX19159" fmla="*/ 3356081 w 4610101"/>
              <a:gd name="connsiteY19159" fmla="*/ 1127503 h 6557032"/>
              <a:gd name="connsiteX19160" fmla="*/ 3347334 w 4610101"/>
              <a:gd name="connsiteY19160" fmla="*/ 1129689 h 6557032"/>
              <a:gd name="connsiteX19161" fmla="*/ 3336401 w 4610101"/>
              <a:gd name="connsiteY19161" fmla="*/ 1132422 h 6557032"/>
              <a:gd name="connsiteX19162" fmla="*/ 3341843 w 4610101"/>
              <a:gd name="connsiteY19162" fmla="*/ 1148748 h 6557032"/>
              <a:gd name="connsiteX19163" fmla="*/ 3341787 w 4610101"/>
              <a:gd name="connsiteY19163" fmla="*/ 1148785 h 6557032"/>
              <a:gd name="connsiteX19164" fmla="*/ 3334806 w 4610101"/>
              <a:gd name="connsiteY19164" fmla="*/ 1145633 h 6557032"/>
              <a:gd name="connsiteX19165" fmla="*/ 3329112 w 4610101"/>
              <a:gd name="connsiteY19165" fmla="*/ 1150644 h 6557032"/>
              <a:gd name="connsiteX19166" fmla="*/ 3332756 w 4610101"/>
              <a:gd name="connsiteY19166" fmla="*/ 1143355 h 6557032"/>
              <a:gd name="connsiteX19167" fmla="*/ 3309068 w 4610101"/>
              <a:gd name="connsiteY19167" fmla="*/ 1139711 h 6557032"/>
              <a:gd name="connsiteX19168" fmla="*/ 3312713 w 4610101"/>
              <a:gd name="connsiteY19168" fmla="*/ 1130600 h 6557032"/>
              <a:gd name="connsiteX19169" fmla="*/ 3314535 w 4610101"/>
              <a:gd name="connsiteY19169" fmla="*/ 1134245 h 6557032"/>
              <a:gd name="connsiteX19170" fmla="*/ 3312713 w 4610101"/>
              <a:gd name="connsiteY19170" fmla="*/ 1130600 h 6557032"/>
              <a:gd name="connsiteX19171" fmla="*/ 3285380 w 4610101"/>
              <a:gd name="connsiteY19171" fmla="*/ 1101445 h 6557032"/>
              <a:gd name="connsiteX19172" fmla="*/ 2922767 w 4610101"/>
              <a:gd name="connsiteY19172" fmla="*/ 1101445 h 6557032"/>
              <a:gd name="connsiteX19173" fmla="*/ 2935523 w 4610101"/>
              <a:gd name="connsiteY19173" fmla="*/ 1112378 h 6557032"/>
              <a:gd name="connsiteX19174" fmla="*/ 2933700 w 4610101"/>
              <a:gd name="connsiteY19174" fmla="*/ 1105090 h 6557032"/>
              <a:gd name="connsiteX19175" fmla="*/ 2940989 w 4610101"/>
              <a:gd name="connsiteY19175" fmla="*/ 1108734 h 6557032"/>
              <a:gd name="connsiteX19176" fmla="*/ 2937345 w 4610101"/>
              <a:gd name="connsiteY19176" fmla="*/ 1116023 h 6557032"/>
              <a:gd name="connsiteX19177" fmla="*/ 2939167 w 4610101"/>
              <a:gd name="connsiteY19177" fmla="*/ 1117845 h 6557032"/>
              <a:gd name="connsiteX19178" fmla="*/ 2933245 w 4610101"/>
              <a:gd name="connsiteY19178" fmla="*/ 1121489 h 6557032"/>
              <a:gd name="connsiteX19179" fmla="*/ 2926379 w 4610101"/>
              <a:gd name="connsiteY19179" fmla="*/ 1120043 h 6557032"/>
              <a:gd name="connsiteX19180" fmla="*/ 2925786 w 4610101"/>
              <a:gd name="connsiteY19180" fmla="*/ 1118414 h 6557032"/>
              <a:gd name="connsiteX19181" fmla="*/ 2919123 w 4610101"/>
              <a:gd name="connsiteY19181" fmla="*/ 1105090 h 6557032"/>
              <a:gd name="connsiteX19182" fmla="*/ 2922767 w 4610101"/>
              <a:gd name="connsiteY19182" fmla="*/ 1101445 h 6557032"/>
              <a:gd name="connsiteX19183" fmla="*/ 2341494 w 4610101"/>
              <a:gd name="connsiteY19183" fmla="*/ 1101445 h 6557032"/>
              <a:gd name="connsiteX19184" fmla="*/ 2350605 w 4610101"/>
              <a:gd name="connsiteY19184" fmla="*/ 1110556 h 6557032"/>
              <a:gd name="connsiteX19185" fmla="*/ 2341494 w 4610101"/>
              <a:gd name="connsiteY19185" fmla="*/ 1101445 h 6557032"/>
              <a:gd name="connsiteX19186" fmla="*/ 2315983 w 4610101"/>
              <a:gd name="connsiteY19186" fmla="*/ 1101445 h 6557032"/>
              <a:gd name="connsiteX19187" fmla="*/ 2303228 w 4610101"/>
              <a:gd name="connsiteY19187" fmla="*/ 1110556 h 6557032"/>
              <a:gd name="connsiteX19188" fmla="*/ 2315983 w 4610101"/>
              <a:gd name="connsiteY19188" fmla="*/ 1112378 h 6557032"/>
              <a:gd name="connsiteX19189" fmla="*/ 2315983 w 4610101"/>
              <a:gd name="connsiteY19189" fmla="*/ 1101445 h 6557032"/>
              <a:gd name="connsiteX19190" fmla="*/ 2203237 w 4610101"/>
              <a:gd name="connsiteY19190" fmla="*/ 1101445 h 6557032"/>
              <a:gd name="connsiteX19191" fmla="*/ 2201187 w 4610101"/>
              <a:gd name="connsiteY19191" fmla="*/ 1105090 h 6557032"/>
              <a:gd name="connsiteX19192" fmla="*/ 2204831 w 4610101"/>
              <a:gd name="connsiteY19192" fmla="*/ 1112378 h 6557032"/>
              <a:gd name="connsiteX19193" fmla="*/ 2208475 w 4610101"/>
              <a:gd name="connsiteY19193" fmla="*/ 1106912 h 6557032"/>
              <a:gd name="connsiteX19194" fmla="*/ 2206653 w 4610101"/>
              <a:gd name="connsiteY19194" fmla="*/ 1103268 h 6557032"/>
              <a:gd name="connsiteX19195" fmla="*/ 2203237 w 4610101"/>
              <a:gd name="connsiteY19195" fmla="*/ 1101445 h 6557032"/>
              <a:gd name="connsiteX19196" fmla="*/ 1372097 w 4610101"/>
              <a:gd name="connsiteY19196" fmla="*/ 1101445 h 6557032"/>
              <a:gd name="connsiteX19197" fmla="*/ 1361848 w 4610101"/>
              <a:gd name="connsiteY19197" fmla="*/ 1106456 h 6557032"/>
              <a:gd name="connsiteX19198" fmla="*/ 1360908 w 4610101"/>
              <a:gd name="connsiteY19198" fmla="*/ 1106641 h 6557032"/>
              <a:gd name="connsiteX19199" fmla="*/ 1113349 w 4610101"/>
              <a:gd name="connsiteY19199" fmla="*/ 1101445 h 6557032"/>
              <a:gd name="connsiteX19200" fmla="*/ 1118815 w 4610101"/>
              <a:gd name="connsiteY19200" fmla="*/ 1106912 h 6557032"/>
              <a:gd name="connsiteX19201" fmla="*/ 1120637 w 4610101"/>
              <a:gd name="connsiteY19201" fmla="*/ 1101445 h 6557032"/>
              <a:gd name="connsiteX19202" fmla="*/ 1113349 w 4610101"/>
              <a:gd name="connsiteY19202" fmla="*/ 1101445 h 6557032"/>
              <a:gd name="connsiteX19203" fmla="*/ 1060506 w 4610101"/>
              <a:gd name="connsiteY19203" fmla="*/ 1101445 h 6557032"/>
              <a:gd name="connsiteX19204" fmla="*/ 1058683 w 4610101"/>
              <a:gd name="connsiteY19204" fmla="*/ 1103268 h 6557032"/>
              <a:gd name="connsiteX19205" fmla="*/ 1064151 w 4610101"/>
              <a:gd name="connsiteY19205" fmla="*/ 1105090 h 6557032"/>
              <a:gd name="connsiteX19206" fmla="*/ 1060506 w 4610101"/>
              <a:gd name="connsiteY19206" fmla="*/ 1101445 h 6557032"/>
              <a:gd name="connsiteX19207" fmla="*/ 1038639 w 4610101"/>
              <a:gd name="connsiteY19207" fmla="*/ 1101445 h 6557032"/>
              <a:gd name="connsiteX19208" fmla="*/ 1031351 w 4610101"/>
              <a:gd name="connsiteY19208" fmla="*/ 1105090 h 6557032"/>
              <a:gd name="connsiteX19209" fmla="*/ 1036818 w 4610101"/>
              <a:gd name="connsiteY19209" fmla="*/ 1103268 h 6557032"/>
              <a:gd name="connsiteX19210" fmla="*/ 1038639 w 4610101"/>
              <a:gd name="connsiteY19210" fmla="*/ 1106912 h 6557032"/>
              <a:gd name="connsiteX19211" fmla="*/ 1038639 w 4610101"/>
              <a:gd name="connsiteY19211" fmla="*/ 1101445 h 6557032"/>
              <a:gd name="connsiteX19212" fmla="*/ 1024062 w 4610101"/>
              <a:gd name="connsiteY19212" fmla="*/ 1101445 h 6557032"/>
              <a:gd name="connsiteX19213" fmla="*/ 1022240 w 4610101"/>
              <a:gd name="connsiteY19213" fmla="*/ 1103268 h 6557032"/>
              <a:gd name="connsiteX19214" fmla="*/ 1025884 w 4610101"/>
              <a:gd name="connsiteY19214" fmla="*/ 1103268 h 6557032"/>
              <a:gd name="connsiteX19215" fmla="*/ 1024062 w 4610101"/>
              <a:gd name="connsiteY19215" fmla="*/ 1101445 h 6557032"/>
              <a:gd name="connsiteX19216" fmla="*/ 821801 w 4610101"/>
              <a:gd name="connsiteY19216" fmla="*/ 1101445 h 6557032"/>
              <a:gd name="connsiteX19217" fmla="*/ 821801 w 4610101"/>
              <a:gd name="connsiteY19217" fmla="*/ 1106912 h 6557032"/>
              <a:gd name="connsiteX19218" fmla="*/ 821801 w 4610101"/>
              <a:gd name="connsiteY19218" fmla="*/ 1101445 h 6557032"/>
              <a:gd name="connsiteX19219" fmla="*/ 599496 w 4610101"/>
              <a:gd name="connsiteY19219" fmla="*/ 1101445 h 6557032"/>
              <a:gd name="connsiteX19220" fmla="*/ 608606 w 4610101"/>
              <a:gd name="connsiteY19220" fmla="*/ 1108734 h 6557032"/>
              <a:gd name="connsiteX19221" fmla="*/ 599496 w 4610101"/>
              <a:gd name="connsiteY19221" fmla="*/ 1101445 h 6557032"/>
              <a:gd name="connsiteX19222" fmla="*/ 457367 w 4610101"/>
              <a:gd name="connsiteY19222" fmla="*/ 1101445 h 6557032"/>
              <a:gd name="connsiteX19223" fmla="*/ 464655 w 4610101"/>
              <a:gd name="connsiteY19223" fmla="*/ 1106912 h 6557032"/>
              <a:gd name="connsiteX19224" fmla="*/ 461010 w 4610101"/>
              <a:gd name="connsiteY19224" fmla="*/ 1101445 h 6557032"/>
              <a:gd name="connsiteX19225" fmla="*/ 457367 w 4610101"/>
              <a:gd name="connsiteY19225" fmla="*/ 1101445 h 6557032"/>
              <a:gd name="connsiteX19226" fmla="*/ 205906 w 4610101"/>
              <a:gd name="connsiteY19226" fmla="*/ 1101445 h 6557032"/>
              <a:gd name="connsiteX19227" fmla="*/ 213195 w 4610101"/>
              <a:gd name="connsiteY19227" fmla="*/ 1108734 h 6557032"/>
              <a:gd name="connsiteX19228" fmla="*/ 205906 w 4610101"/>
              <a:gd name="connsiteY19228" fmla="*/ 1101445 h 6557032"/>
              <a:gd name="connsiteX19229" fmla="*/ 184040 w 4610101"/>
              <a:gd name="connsiteY19229" fmla="*/ 1101445 h 6557032"/>
              <a:gd name="connsiteX19230" fmla="*/ 205906 w 4610101"/>
              <a:gd name="connsiteY19230" fmla="*/ 1112378 h 6557032"/>
              <a:gd name="connsiteX19231" fmla="*/ 184040 w 4610101"/>
              <a:gd name="connsiteY19231" fmla="*/ 1101445 h 6557032"/>
              <a:gd name="connsiteX19232" fmla="*/ 143952 w 4610101"/>
              <a:gd name="connsiteY19232" fmla="*/ 1101445 h 6557032"/>
              <a:gd name="connsiteX19233" fmla="*/ 160113 w 4610101"/>
              <a:gd name="connsiteY19233" fmla="*/ 1110981 h 6557032"/>
              <a:gd name="connsiteX19234" fmla="*/ 157847 w 4610101"/>
              <a:gd name="connsiteY19234" fmla="*/ 1110101 h 6557032"/>
              <a:gd name="connsiteX19235" fmla="*/ 143952 w 4610101"/>
              <a:gd name="connsiteY19235" fmla="*/ 1101445 h 6557032"/>
              <a:gd name="connsiteX19236" fmla="*/ 490848 w 4610101"/>
              <a:gd name="connsiteY19236" fmla="*/ 1100989 h 6557032"/>
              <a:gd name="connsiteX19237" fmla="*/ 486521 w 4610101"/>
              <a:gd name="connsiteY19237" fmla="*/ 1101445 h 6557032"/>
              <a:gd name="connsiteX19238" fmla="*/ 493809 w 4610101"/>
              <a:gd name="connsiteY19238" fmla="*/ 1103268 h 6557032"/>
              <a:gd name="connsiteX19239" fmla="*/ 490848 w 4610101"/>
              <a:gd name="connsiteY19239" fmla="*/ 1100989 h 6557032"/>
              <a:gd name="connsiteX19240" fmla="*/ 260344 w 4610101"/>
              <a:gd name="connsiteY19240" fmla="*/ 1099623 h 6557032"/>
              <a:gd name="connsiteX19241" fmla="*/ 256927 w 4610101"/>
              <a:gd name="connsiteY19241" fmla="*/ 1101445 h 6557032"/>
              <a:gd name="connsiteX19242" fmla="*/ 262393 w 4610101"/>
              <a:gd name="connsiteY19242" fmla="*/ 1103268 h 6557032"/>
              <a:gd name="connsiteX19243" fmla="*/ 260344 w 4610101"/>
              <a:gd name="connsiteY19243" fmla="*/ 1099623 h 6557032"/>
              <a:gd name="connsiteX19244" fmla="*/ 872822 w 4610101"/>
              <a:gd name="connsiteY19244" fmla="*/ 1099623 h 6557032"/>
              <a:gd name="connsiteX19245" fmla="*/ 876466 w 4610101"/>
              <a:gd name="connsiteY19245" fmla="*/ 1110556 h 6557032"/>
              <a:gd name="connsiteX19246" fmla="*/ 872822 w 4610101"/>
              <a:gd name="connsiteY19246" fmla="*/ 1103268 h 6557032"/>
              <a:gd name="connsiteX19247" fmla="*/ 874644 w 4610101"/>
              <a:gd name="connsiteY19247" fmla="*/ 1105090 h 6557032"/>
              <a:gd name="connsiteX19248" fmla="*/ 872822 w 4610101"/>
              <a:gd name="connsiteY19248" fmla="*/ 1099623 h 6557032"/>
              <a:gd name="connsiteX19249" fmla="*/ 847311 w 4610101"/>
              <a:gd name="connsiteY19249" fmla="*/ 1099623 h 6557032"/>
              <a:gd name="connsiteX19250" fmla="*/ 850956 w 4610101"/>
              <a:gd name="connsiteY19250" fmla="*/ 1108734 h 6557032"/>
              <a:gd name="connsiteX19251" fmla="*/ 854600 w 4610101"/>
              <a:gd name="connsiteY19251" fmla="*/ 1105090 h 6557032"/>
              <a:gd name="connsiteX19252" fmla="*/ 854600 w 4610101"/>
              <a:gd name="connsiteY19252" fmla="*/ 1099623 h 6557032"/>
              <a:gd name="connsiteX19253" fmla="*/ 847311 w 4610101"/>
              <a:gd name="connsiteY19253" fmla="*/ 1099623 h 6557032"/>
              <a:gd name="connsiteX19254" fmla="*/ 676027 w 4610101"/>
              <a:gd name="connsiteY19254" fmla="*/ 1099623 h 6557032"/>
              <a:gd name="connsiteX19255" fmla="*/ 683316 w 4610101"/>
              <a:gd name="connsiteY19255" fmla="*/ 1116023 h 6557032"/>
              <a:gd name="connsiteX19256" fmla="*/ 688782 w 4610101"/>
              <a:gd name="connsiteY19256" fmla="*/ 1123312 h 6557032"/>
              <a:gd name="connsiteX19257" fmla="*/ 679671 w 4610101"/>
              <a:gd name="connsiteY19257" fmla="*/ 1110556 h 6557032"/>
              <a:gd name="connsiteX19258" fmla="*/ 681493 w 4610101"/>
              <a:gd name="connsiteY19258" fmla="*/ 1106912 h 6557032"/>
              <a:gd name="connsiteX19259" fmla="*/ 676027 w 4610101"/>
              <a:gd name="connsiteY19259" fmla="*/ 1099623 h 6557032"/>
              <a:gd name="connsiteX19260" fmla="*/ 521142 w 4610101"/>
              <a:gd name="connsiteY19260" fmla="*/ 1099623 h 6557032"/>
              <a:gd name="connsiteX19261" fmla="*/ 528431 w 4610101"/>
              <a:gd name="connsiteY19261" fmla="*/ 1105090 h 6557032"/>
              <a:gd name="connsiteX19262" fmla="*/ 521142 w 4610101"/>
              <a:gd name="connsiteY19262" fmla="*/ 1099623 h 6557032"/>
              <a:gd name="connsiteX19263" fmla="*/ 267860 w 4610101"/>
              <a:gd name="connsiteY19263" fmla="*/ 1099623 h 6557032"/>
              <a:gd name="connsiteX19264" fmla="*/ 273327 w 4610101"/>
              <a:gd name="connsiteY19264" fmla="*/ 1101445 h 6557032"/>
              <a:gd name="connsiteX19265" fmla="*/ 267860 w 4610101"/>
              <a:gd name="connsiteY19265" fmla="*/ 1099623 h 6557032"/>
              <a:gd name="connsiteX19266" fmla="*/ 296331 w 4610101"/>
              <a:gd name="connsiteY19266" fmla="*/ 1099167 h 6557032"/>
              <a:gd name="connsiteX19267" fmla="*/ 293370 w 4610101"/>
              <a:gd name="connsiteY19267" fmla="*/ 1101445 h 6557032"/>
              <a:gd name="connsiteX19268" fmla="*/ 300660 w 4610101"/>
              <a:gd name="connsiteY19268" fmla="*/ 1099623 h 6557032"/>
              <a:gd name="connsiteX19269" fmla="*/ 296331 w 4610101"/>
              <a:gd name="connsiteY19269" fmla="*/ 1099167 h 6557032"/>
              <a:gd name="connsiteX19270" fmla="*/ 529444 w 4610101"/>
              <a:gd name="connsiteY19270" fmla="*/ 1098813 h 6557032"/>
              <a:gd name="connsiteX19271" fmla="*/ 532075 w 4610101"/>
              <a:gd name="connsiteY19271" fmla="*/ 1101445 h 6557032"/>
              <a:gd name="connsiteX19272" fmla="*/ 530731 w 4610101"/>
              <a:gd name="connsiteY19272" fmla="*/ 1100677 h 6557032"/>
              <a:gd name="connsiteX19273" fmla="*/ 529797 w 4610101"/>
              <a:gd name="connsiteY19273" fmla="*/ 1099851 h 6557032"/>
              <a:gd name="connsiteX19274" fmla="*/ 2295940 w 4610101"/>
              <a:gd name="connsiteY19274" fmla="*/ 1097801 h 6557032"/>
              <a:gd name="connsiteX19275" fmla="*/ 2297762 w 4610101"/>
              <a:gd name="connsiteY19275" fmla="*/ 1105090 h 6557032"/>
              <a:gd name="connsiteX19276" fmla="*/ 2303228 w 4610101"/>
              <a:gd name="connsiteY19276" fmla="*/ 1097801 h 6557032"/>
              <a:gd name="connsiteX19277" fmla="*/ 2295940 w 4610101"/>
              <a:gd name="connsiteY19277" fmla="*/ 1097801 h 6557032"/>
              <a:gd name="connsiteX19278" fmla="*/ 1104238 w 4610101"/>
              <a:gd name="connsiteY19278" fmla="*/ 1097801 h 6557032"/>
              <a:gd name="connsiteX19279" fmla="*/ 1104238 w 4610101"/>
              <a:gd name="connsiteY19279" fmla="*/ 1101445 h 6557032"/>
              <a:gd name="connsiteX19280" fmla="*/ 1102416 w 4610101"/>
              <a:gd name="connsiteY19280" fmla="*/ 1099623 h 6557032"/>
              <a:gd name="connsiteX19281" fmla="*/ 1098771 w 4610101"/>
              <a:gd name="connsiteY19281" fmla="*/ 1101445 h 6557032"/>
              <a:gd name="connsiteX19282" fmla="*/ 1095127 w 4610101"/>
              <a:gd name="connsiteY19282" fmla="*/ 1106912 h 6557032"/>
              <a:gd name="connsiteX19283" fmla="*/ 1102416 w 4610101"/>
              <a:gd name="connsiteY19283" fmla="*/ 1112378 h 6557032"/>
              <a:gd name="connsiteX19284" fmla="*/ 1104238 w 4610101"/>
              <a:gd name="connsiteY19284" fmla="*/ 1108734 h 6557032"/>
              <a:gd name="connsiteX19285" fmla="*/ 1107882 w 4610101"/>
              <a:gd name="connsiteY19285" fmla="*/ 1114201 h 6557032"/>
              <a:gd name="connsiteX19286" fmla="*/ 1111526 w 4610101"/>
              <a:gd name="connsiteY19286" fmla="*/ 1103268 h 6557032"/>
              <a:gd name="connsiteX19287" fmla="*/ 1107882 w 4610101"/>
              <a:gd name="connsiteY19287" fmla="*/ 1099623 h 6557032"/>
              <a:gd name="connsiteX19288" fmla="*/ 1106060 w 4610101"/>
              <a:gd name="connsiteY19288" fmla="*/ 1103268 h 6557032"/>
              <a:gd name="connsiteX19289" fmla="*/ 1104238 w 4610101"/>
              <a:gd name="connsiteY19289" fmla="*/ 1097801 h 6557032"/>
              <a:gd name="connsiteX19290" fmla="*/ 1055040 w 4610101"/>
              <a:gd name="connsiteY19290" fmla="*/ 1097801 h 6557032"/>
              <a:gd name="connsiteX19291" fmla="*/ 1049573 w 4610101"/>
              <a:gd name="connsiteY19291" fmla="*/ 1103268 h 6557032"/>
              <a:gd name="connsiteX19292" fmla="*/ 1051395 w 4610101"/>
              <a:gd name="connsiteY19292" fmla="*/ 1110556 h 6557032"/>
              <a:gd name="connsiteX19293" fmla="*/ 1055040 w 4610101"/>
              <a:gd name="connsiteY19293" fmla="*/ 1097801 h 6557032"/>
              <a:gd name="connsiteX19294" fmla="*/ 1042284 w 4610101"/>
              <a:gd name="connsiteY19294" fmla="*/ 1097801 h 6557032"/>
              <a:gd name="connsiteX19295" fmla="*/ 1042284 w 4610101"/>
              <a:gd name="connsiteY19295" fmla="*/ 1105090 h 6557032"/>
              <a:gd name="connsiteX19296" fmla="*/ 1042284 w 4610101"/>
              <a:gd name="connsiteY19296" fmla="*/ 1097801 h 6557032"/>
              <a:gd name="connsiteX19297" fmla="*/ 971219 w 4610101"/>
              <a:gd name="connsiteY19297" fmla="*/ 1097801 h 6557032"/>
              <a:gd name="connsiteX19298" fmla="*/ 974863 w 4610101"/>
              <a:gd name="connsiteY19298" fmla="*/ 1105090 h 6557032"/>
              <a:gd name="connsiteX19299" fmla="*/ 975704 w 4610101"/>
              <a:gd name="connsiteY19299" fmla="*/ 1104249 h 6557032"/>
              <a:gd name="connsiteX19300" fmla="*/ 975091 w 4610101"/>
              <a:gd name="connsiteY19300" fmla="*/ 1106001 h 6557032"/>
              <a:gd name="connsiteX19301" fmla="*/ 974863 w 4610101"/>
              <a:gd name="connsiteY19301" fmla="*/ 1110556 h 6557032"/>
              <a:gd name="connsiteX19302" fmla="*/ 976686 w 4610101"/>
              <a:gd name="connsiteY19302" fmla="*/ 1106912 h 6557032"/>
              <a:gd name="connsiteX19303" fmla="*/ 978508 w 4610101"/>
              <a:gd name="connsiteY19303" fmla="*/ 1108734 h 6557032"/>
              <a:gd name="connsiteX19304" fmla="*/ 976686 w 4610101"/>
              <a:gd name="connsiteY19304" fmla="*/ 1101445 h 6557032"/>
              <a:gd name="connsiteX19305" fmla="*/ 976310 w 4610101"/>
              <a:gd name="connsiteY19305" fmla="*/ 1102517 h 6557032"/>
              <a:gd name="connsiteX19306" fmla="*/ 974636 w 4610101"/>
              <a:gd name="connsiteY19306" fmla="*/ 1099167 h 6557032"/>
              <a:gd name="connsiteX19307" fmla="*/ 971219 w 4610101"/>
              <a:gd name="connsiteY19307" fmla="*/ 1097801 h 6557032"/>
              <a:gd name="connsiteX19308" fmla="*/ 880111 w 4610101"/>
              <a:gd name="connsiteY19308" fmla="*/ 1097801 h 6557032"/>
              <a:gd name="connsiteX19309" fmla="*/ 887399 w 4610101"/>
              <a:gd name="connsiteY19309" fmla="*/ 1103268 h 6557032"/>
              <a:gd name="connsiteX19310" fmla="*/ 880111 w 4610101"/>
              <a:gd name="connsiteY19310" fmla="*/ 1097801 h 6557032"/>
              <a:gd name="connsiteX19311" fmla="*/ 767136 w 4610101"/>
              <a:gd name="connsiteY19311" fmla="*/ 1097801 h 6557032"/>
              <a:gd name="connsiteX19312" fmla="*/ 767136 w 4610101"/>
              <a:gd name="connsiteY19312" fmla="*/ 1108734 h 6557032"/>
              <a:gd name="connsiteX19313" fmla="*/ 767136 w 4610101"/>
              <a:gd name="connsiteY19313" fmla="*/ 1097801 h 6557032"/>
              <a:gd name="connsiteX19314" fmla="*/ 621362 w 4610101"/>
              <a:gd name="connsiteY19314" fmla="*/ 1097801 h 6557032"/>
              <a:gd name="connsiteX19315" fmla="*/ 628650 w 4610101"/>
              <a:gd name="connsiteY19315" fmla="*/ 1103268 h 6557032"/>
              <a:gd name="connsiteX19316" fmla="*/ 625006 w 4610101"/>
              <a:gd name="connsiteY19316" fmla="*/ 1097801 h 6557032"/>
              <a:gd name="connsiteX19317" fmla="*/ 621362 w 4610101"/>
              <a:gd name="connsiteY19317" fmla="*/ 1097801 h 6557032"/>
              <a:gd name="connsiteX19318" fmla="*/ 570341 w 4610101"/>
              <a:gd name="connsiteY19318" fmla="*/ 1097801 h 6557032"/>
              <a:gd name="connsiteX19319" fmla="*/ 572163 w 4610101"/>
              <a:gd name="connsiteY19319" fmla="*/ 1106912 h 6557032"/>
              <a:gd name="connsiteX19320" fmla="*/ 577630 w 4610101"/>
              <a:gd name="connsiteY19320" fmla="*/ 1101445 h 6557032"/>
              <a:gd name="connsiteX19321" fmla="*/ 570341 w 4610101"/>
              <a:gd name="connsiteY19321" fmla="*/ 1097801 h 6557032"/>
              <a:gd name="connsiteX19322" fmla="*/ 340747 w 4610101"/>
              <a:gd name="connsiteY19322" fmla="*/ 1097801 h 6557032"/>
              <a:gd name="connsiteX19323" fmla="*/ 333458 w 4610101"/>
              <a:gd name="connsiteY19323" fmla="*/ 1099623 h 6557032"/>
              <a:gd name="connsiteX19324" fmla="*/ 346213 w 4610101"/>
              <a:gd name="connsiteY19324" fmla="*/ 1105090 h 6557032"/>
              <a:gd name="connsiteX19325" fmla="*/ 340747 w 4610101"/>
              <a:gd name="connsiteY19325" fmla="*/ 1097801 h 6557032"/>
              <a:gd name="connsiteX19326" fmla="*/ 282438 w 4610101"/>
              <a:gd name="connsiteY19326" fmla="*/ 1097801 h 6557032"/>
              <a:gd name="connsiteX19327" fmla="*/ 293370 w 4610101"/>
              <a:gd name="connsiteY19327" fmla="*/ 1097801 h 6557032"/>
              <a:gd name="connsiteX19328" fmla="*/ 282438 w 4610101"/>
              <a:gd name="connsiteY19328" fmla="*/ 1097801 h 6557032"/>
              <a:gd name="connsiteX19329" fmla="*/ 326853 w 4610101"/>
              <a:gd name="connsiteY19329" fmla="*/ 1097345 h 6557032"/>
              <a:gd name="connsiteX19330" fmla="*/ 322525 w 4610101"/>
              <a:gd name="connsiteY19330" fmla="*/ 1097801 h 6557032"/>
              <a:gd name="connsiteX19331" fmla="*/ 329814 w 4610101"/>
              <a:gd name="connsiteY19331" fmla="*/ 1099623 h 6557032"/>
              <a:gd name="connsiteX19332" fmla="*/ 326853 w 4610101"/>
              <a:gd name="connsiteY19332" fmla="*/ 1097345 h 6557032"/>
              <a:gd name="connsiteX19333" fmla="*/ 3024809 w 4610101"/>
              <a:gd name="connsiteY19333" fmla="*/ 1095979 h 6557032"/>
              <a:gd name="connsiteX19334" fmla="*/ 3030276 w 4610101"/>
              <a:gd name="connsiteY19334" fmla="*/ 1106912 h 6557032"/>
              <a:gd name="connsiteX19335" fmla="*/ 3024809 w 4610101"/>
              <a:gd name="connsiteY19335" fmla="*/ 1095979 h 6557032"/>
              <a:gd name="connsiteX19336" fmla="*/ 2884502 w 4610101"/>
              <a:gd name="connsiteY19336" fmla="*/ 1095979 h 6557032"/>
              <a:gd name="connsiteX19337" fmla="*/ 2842592 w 4610101"/>
              <a:gd name="connsiteY19337" fmla="*/ 1134245 h 6557032"/>
              <a:gd name="connsiteX19338" fmla="*/ 2855347 w 4610101"/>
              <a:gd name="connsiteY19338" fmla="*/ 1141533 h 6557032"/>
              <a:gd name="connsiteX19339" fmla="*/ 2858991 w 4610101"/>
              <a:gd name="connsiteY19339" fmla="*/ 1130600 h 6557032"/>
              <a:gd name="connsiteX19340" fmla="*/ 2862636 w 4610101"/>
              <a:gd name="connsiteY19340" fmla="*/ 1130600 h 6557032"/>
              <a:gd name="connsiteX19341" fmla="*/ 2866280 w 4610101"/>
              <a:gd name="connsiteY19341" fmla="*/ 1119667 h 6557032"/>
              <a:gd name="connsiteX19342" fmla="*/ 2864458 w 4610101"/>
              <a:gd name="connsiteY19342" fmla="*/ 1116023 h 6557032"/>
              <a:gd name="connsiteX19343" fmla="*/ 2884502 w 4610101"/>
              <a:gd name="connsiteY19343" fmla="*/ 1095979 h 6557032"/>
              <a:gd name="connsiteX19344" fmla="*/ 2283184 w 4610101"/>
              <a:gd name="connsiteY19344" fmla="*/ 1095979 h 6557032"/>
              <a:gd name="connsiteX19345" fmla="*/ 2281362 w 4610101"/>
              <a:gd name="connsiteY19345" fmla="*/ 1105090 h 6557032"/>
              <a:gd name="connsiteX19346" fmla="*/ 2292295 w 4610101"/>
              <a:gd name="connsiteY19346" fmla="*/ 1099623 h 6557032"/>
              <a:gd name="connsiteX19347" fmla="*/ 2283184 w 4610101"/>
              <a:gd name="connsiteY19347" fmla="*/ 1095979 h 6557032"/>
              <a:gd name="connsiteX19348" fmla="*/ 1313788 w 4610101"/>
              <a:gd name="connsiteY19348" fmla="*/ 1095979 h 6557032"/>
              <a:gd name="connsiteX19349" fmla="*/ 1317432 w 4610101"/>
              <a:gd name="connsiteY19349" fmla="*/ 1101445 h 6557032"/>
              <a:gd name="connsiteX19350" fmla="*/ 1306499 w 4610101"/>
              <a:gd name="connsiteY19350" fmla="*/ 1108734 h 6557032"/>
              <a:gd name="connsiteX19351" fmla="*/ 1313788 w 4610101"/>
              <a:gd name="connsiteY19351" fmla="*/ 1095979 h 6557032"/>
              <a:gd name="connsiteX19352" fmla="*/ 1171658 w 4610101"/>
              <a:gd name="connsiteY19352" fmla="*/ 1095979 h 6557032"/>
              <a:gd name="connsiteX19353" fmla="*/ 1158903 w 4610101"/>
              <a:gd name="connsiteY19353" fmla="*/ 1099623 h 6557032"/>
              <a:gd name="connsiteX19354" fmla="*/ 1153436 w 4610101"/>
              <a:gd name="connsiteY19354" fmla="*/ 1103268 h 6557032"/>
              <a:gd name="connsiteX19355" fmla="*/ 1162547 w 4610101"/>
              <a:gd name="connsiteY19355" fmla="*/ 1106912 h 6557032"/>
              <a:gd name="connsiteX19356" fmla="*/ 1171658 w 4610101"/>
              <a:gd name="connsiteY19356" fmla="*/ 1095979 h 6557032"/>
              <a:gd name="connsiteX19357" fmla="*/ 968258 w 4610101"/>
              <a:gd name="connsiteY19357" fmla="*/ 1094840 h 6557032"/>
              <a:gd name="connsiteX19358" fmla="*/ 969397 w 4610101"/>
              <a:gd name="connsiteY19358" fmla="*/ 1097801 h 6557032"/>
              <a:gd name="connsiteX19359" fmla="*/ 971219 w 4610101"/>
              <a:gd name="connsiteY19359" fmla="*/ 1095979 h 6557032"/>
              <a:gd name="connsiteX19360" fmla="*/ 968258 w 4610101"/>
              <a:gd name="connsiteY19360" fmla="*/ 1094840 h 6557032"/>
              <a:gd name="connsiteX19361" fmla="*/ 3604260 w 4610101"/>
              <a:gd name="connsiteY19361" fmla="*/ 1094157 h 6557032"/>
              <a:gd name="connsiteX19362" fmla="*/ 3598794 w 4610101"/>
              <a:gd name="connsiteY19362" fmla="*/ 1099623 h 6557032"/>
              <a:gd name="connsiteX19363" fmla="*/ 3604260 w 4610101"/>
              <a:gd name="connsiteY19363" fmla="*/ 1110556 h 6557032"/>
              <a:gd name="connsiteX19364" fmla="*/ 3611549 w 4610101"/>
              <a:gd name="connsiteY19364" fmla="*/ 1110556 h 6557032"/>
              <a:gd name="connsiteX19365" fmla="*/ 3604260 w 4610101"/>
              <a:gd name="connsiteY19365" fmla="*/ 1094157 h 6557032"/>
              <a:gd name="connsiteX19366" fmla="*/ 841845 w 4610101"/>
              <a:gd name="connsiteY19366" fmla="*/ 1094157 h 6557032"/>
              <a:gd name="connsiteX19367" fmla="*/ 834556 w 4610101"/>
              <a:gd name="connsiteY19367" fmla="*/ 1101445 h 6557032"/>
              <a:gd name="connsiteX19368" fmla="*/ 843667 w 4610101"/>
              <a:gd name="connsiteY19368" fmla="*/ 1097801 h 6557032"/>
              <a:gd name="connsiteX19369" fmla="*/ 841845 w 4610101"/>
              <a:gd name="connsiteY19369" fmla="*/ 1094157 h 6557032"/>
              <a:gd name="connsiteX19370" fmla="*/ 573985 w 4610101"/>
              <a:gd name="connsiteY19370" fmla="*/ 1094157 h 6557032"/>
              <a:gd name="connsiteX19371" fmla="*/ 581274 w 4610101"/>
              <a:gd name="connsiteY19371" fmla="*/ 1099623 h 6557032"/>
              <a:gd name="connsiteX19372" fmla="*/ 583096 w 4610101"/>
              <a:gd name="connsiteY19372" fmla="*/ 1097801 h 6557032"/>
              <a:gd name="connsiteX19373" fmla="*/ 573985 w 4610101"/>
              <a:gd name="connsiteY19373" fmla="*/ 1094157 h 6557032"/>
              <a:gd name="connsiteX19374" fmla="*/ 461010 w 4610101"/>
              <a:gd name="connsiteY19374" fmla="*/ 1094157 h 6557032"/>
              <a:gd name="connsiteX19375" fmla="*/ 464655 w 4610101"/>
              <a:gd name="connsiteY19375" fmla="*/ 1099623 h 6557032"/>
              <a:gd name="connsiteX19376" fmla="*/ 461010 w 4610101"/>
              <a:gd name="connsiteY19376" fmla="*/ 1094157 h 6557032"/>
              <a:gd name="connsiteX19377" fmla="*/ 399056 w 4610101"/>
              <a:gd name="connsiteY19377" fmla="*/ 1094157 h 6557032"/>
              <a:gd name="connsiteX19378" fmla="*/ 404523 w 4610101"/>
              <a:gd name="connsiteY19378" fmla="*/ 1099623 h 6557032"/>
              <a:gd name="connsiteX19379" fmla="*/ 399056 w 4610101"/>
              <a:gd name="connsiteY19379" fmla="*/ 1094157 h 6557032"/>
              <a:gd name="connsiteX19380" fmla="*/ 176751 w 4610101"/>
              <a:gd name="connsiteY19380" fmla="*/ 1094157 h 6557032"/>
              <a:gd name="connsiteX19381" fmla="*/ 184040 w 4610101"/>
              <a:gd name="connsiteY19381" fmla="*/ 1099623 h 6557032"/>
              <a:gd name="connsiteX19382" fmla="*/ 176751 w 4610101"/>
              <a:gd name="connsiteY19382" fmla="*/ 1094157 h 6557032"/>
              <a:gd name="connsiteX19383" fmla="*/ 3030457 w 4610101"/>
              <a:gd name="connsiteY19383" fmla="*/ 1093069 h 6557032"/>
              <a:gd name="connsiteX19384" fmla="*/ 3035287 w 4610101"/>
              <a:gd name="connsiteY19384" fmla="*/ 1094840 h 6557032"/>
              <a:gd name="connsiteX19385" fmla="*/ 3033920 w 4610101"/>
              <a:gd name="connsiteY19385" fmla="*/ 1095979 h 6557032"/>
              <a:gd name="connsiteX19386" fmla="*/ 3591505 w 4610101"/>
              <a:gd name="connsiteY19386" fmla="*/ 1092335 h 6557032"/>
              <a:gd name="connsiteX19387" fmla="*/ 3587861 w 4610101"/>
              <a:gd name="connsiteY19387" fmla="*/ 1097801 h 6557032"/>
              <a:gd name="connsiteX19388" fmla="*/ 3591505 w 4610101"/>
              <a:gd name="connsiteY19388" fmla="*/ 1097801 h 6557032"/>
              <a:gd name="connsiteX19389" fmla="*/ 3591505 w 4610101"/>
              <a:gd name="connsiteY19389" fmla="*/ 1092335 h 6557032"/>
              <a:gd name="connsiteX19390" fmla="*/ 3177872 w 4610101"/>
              <a:gd name="connsiteY19390" fmla="*/ 1092335 h 6557032"/>
              <a:gd name="connsiteX19391" fmla="*/ 3166939 w 4610101"/>
              <a:gd name="connsiteY19391" fmla="*/ 1119667 h 6557032"/>
              <a:gd name="connsiteX19392" fmla="*/ 3179694 w 4610101"/>
              <a:gd name="connsiteY19392" fmla="*/ 1099623 h 6557032"/>
              <a:gd name="connsiteX19393" fmla="*/ 3177872 w 4610101"/>
              <a:gd name="connsiteY19393" fmla="*/ 1105090 h 6557032"/>
              <a:gd name="connsiteX19394" fmla="*/ 3177872 w 4610101"/>
              <a:gd name="connsiteY19394" fmla="*/ 1092335 h 6557032"/>
              <a:gd name="connsiteX19395" fmla="*/ 3088585 w 4610101"/>
              <a:gd name="connsiteY19395" fmla="*/ 1092335 h 6557032"/>
              <a:gd name="connsiteX19396" fmla="*/ 3095874 w 4610101"/>
              <a:gd name="connsiteY19396" fmla="*/ 1106912 h 6557032"/>
              <a:gd name="connsiteX19397" fmla="*/ 3090407 w 4610101"/>
              <a:gd name="connsiteY19397" fmla="*/ 1106912 h 6557032"/>
              <a:gd name="connsiteX19398" fmla="*/ 3079474 w 4610101"/>
              <a:gd name="connsiteY19398" fmla="*/ 1114201 h 6557032"/>
              <a:gd name="connsiteX19399" fmla="*/ 3081297 w 4610101"/>
              <a:gd name="connsiteY19399" fmla="*/ 1119667 h 6557032"/>
              <a:gd name="connsiteX19400" fmla="*/ 3074008 w 4610101"/>
              <a:gd name="connsiteY19400" fmla="*/ 1128778 h 6557032"/>
              <a:gd name="connsiteX19401" fmla="*/ 3072642 w 4610101"/>
              <a:gd name="connsiteY19401" fmla="*/ 1125133 h 6557032"/>
              <a:gd name="connsiteX19402" fmla="*/ 3070487 w 4610101"/>
              <a:gd name="connsiteY19402" fmla="*/ 1123218 h 6557032"/>
              <a:gd name="connsiteX19403" fmla="*/ 3070819 w 4610101"/>
              <a:gd name="connsiteY19403" fmla="*/ 1118073 h 6557032"/>
              <a:gd name="connsiteX19404" fmla="*/ 3079474 w 4610101"/>
              <a:gd name="connsiteY19404" fmla="*/ 1112378 h 6557032"/>
              <a:gd name="connsiteX19405" fmla="*/ 3077652 w 4610101"/>
              <a:gd name="connsiteY19405" fmla="*/ 1097801 h 6557032"/>
              <a:gd name="connsiteX19406" fmla="*/ 3090407 w 4610101"/>
              <a:gd name="connsiteY19406" fmla="*/ 1105090 h 6557032"/>
              <a:gd name="connsiteX19407" fmla="*/ 3083119 w 4610101"/>
              <a:gd name="connsiteY19407" fmla="*/ 1094157 h 6557032"/>
              <a:gd name="connsiteX19408" fmla="*/ 3088585 w 4610101"/>
              <a:gd name="connsiteY19408" fmla="*/ 1092335 h 6557032"/>
              <a:gd name="connsiteX19409" fmla="*/ 2532822 w 4610101"/>
              <a:gd name="connsiteY19409" fmla="*/ 1092335 h 6557032"/>
              <a:gd name="connsiteX19410" fmla="*/ 2538289 w 4610101"/>
              <a:gd name="connsiteY19410" fmla="*/ 1101445 h 6557032"/>
              <a:gd name="connsiteX19411" fmla="*/ 2540111 w 4610101"/>
              <a:gd name="connsiteY19411" fmla="*/ 1092335 h 6557032"/>
              <a:gd name="connsiteX19412" fmla="*/ 2532822 w 4610101"/>
              <a:gd name="connsiteY19412" fmla="*/ 1092335 h 6557032"/>
              <a:gd name="connsiteX19413" fmla="*/ 1494183 w 4610101"/>
              <a:gd name="connsiteY19413" fmla="*/ 1092335 h 6557032"/>
              <a:gd name="connsiteX19414" fmla="*/ 1497827 w 4610101"/>
              <a:gd name="connsiteY19414" fmla="*/ 1092335 h 6557032"/>
              <a:gd name="connsiteX19415" fmla="*/ 1497827 w 4610101"/>
              <a:gd name="connsiteY19415" fmla="*/ 1114201 h 6557032"/>
              <a:gd name="connsiteX19416" fmla="*/ 1501472 w 4610101"/>
              <a:gd name="connsiteY19416" fmla="*/ 1116023 h 6557032"/>
              <a:gd name="connsiteX19417" fmla="*/ 1503294 w 4610101"/>
              <a:gd name="connsiteY19417" fmla="*/ 1121489 h 6557032"/>
              <a:gd name="connsiteX19418" fmla="*/ 1499819 w 4610101"/>
              <a:gd name="connsiteY19418" fmla="*/ 1125542 h 6557032"/>
              <a:gd name="connsiteX19419" fmla="*/ 1497827 w 4610101"/>
              <a:gd name="connsiteY19419" fmla="*/ 1116023 h 6557032"/>
              <a:gd name="connsiteX19420" fmla="*/ 1486895 w 4610101"/>
              <a:gd name="connsiteY19420" fmla="*/ 1125134 h 6557032"/>
              <a:gd name="connsiteX19421" fmla="*/ 1496006 w 4610101"/>
              <a:gd name="connsiteY19421" fmla="*/ 1097801 h 6557032"/>
              <a:gd name="connsiteX19422" fmla="*/ 1494183 w 4610101"/>
              <a:gd name="connsiteY19422" fmla="*/ 1099623 h 6557032"/>
              <a:gd name="connsiteX19423" fmla="*/ 1494183 w 4610101"/>
              <a:gd name="connsiteY19423" fmla="*/ 1092335 h 6557032"/>
              <a:gd name="connsiteX19424" fmla="*/ 938420 w 4610101"/>
              <a:gd name="connsiteY19424" fmla="*/ 1092335 h 6557032"/>
              <a:gd name="connsiteX19425" fmla="*/ 934777 w 4610101"/>
              <a:gd name="connsiteY19425" fmla="*/ 1099623 h 6557032"/>
              <a:gd name="connsiteX19426" fmla="*/ 938420 w 4610101"/>
              <a:gd name="connsiteY19426" fmla="*/ 1092335 h 6557032"/>
              <a:gd name="connsiteX19427" fmla="*/ 847311 w 4610101"/>
              <a:gd name="connsiteY19427" fmla="*/ 1092335 h 6557032"/>
              <a:gd name="connsiteX19428" fmla="*/ 847311 w 4610101"/>
              <a:gd name="connsiteY19428" fmla="*/ 1095979 h 6557032"/>
              <a:gd name="connsiteX19429" fmla="*/ 852778 w 4610101"/>
              <a:gd name="connsiteY19429" fmla="*/ 1094157 h 6557032"/>
              <a:gd name="connsiteX19430" fmla="*/ 847311 w 4610101"/>
              <a:gd name="connsiteY19430" fmla="*/ 1092335 h 6557032"/>
              <a:gd name="connsiteX19431" fmla="*/ 488343 w 4610101"/>
              <a:gd name="connsiteY19431" fmla="*/ 1092335 h 6557032"/>
              <a:gd name="connsiteX19432" fmla="*/ 506565 w 4610101"/>
              <a:gd name="connsiteY19432" fmla="*/ 1101445 h 6557032"/>
              <a:gd name="connsiteX19433" fmla="*/ 488343 w 4610101"/>
              <a:gd name="connsiteY19433" fmla="*/ 1092335 h 6557032"/>
              <a:gd name="connsiteX19434" fmla="*/ 353502 w 4610101"/>
              <a:gd name="connsiteY19434" fmla="*/ 1092335 h 6557032"/>
              <a:gd name="connsiteX19435" fmla="*/ 360791 w 4610101"/>
              <a:gd name="connsiteY19435" fmla="*/ 1094157 h 6557032"/>
              <a:gd name="connsiteX19436" fmla="*/ 353502 w 4610101"/>
              <a:gd name="connsiteY19436" fmla="*/ 1092335 h 6557032"/>
              <a:gd name="connsiteX19437" fmla="*/ 225950 w 4610101"/>
              <a:gd name="connsiteY19437" fmla="*/ 1092335 h 6557032"/>
              <a:gd name="connsiteX19438" fmla="*/ 235061 w 4610101"/>
              <a:gd name="connsiteY19438" fmla="*/ 1099623 h 6557032"/>
              <a:gd name="connsiteX19439" fmla="*/ 225950 w 4610101"/>
              <a:gd name="connsiteY19439" fmla="*/ 1092335 h 6557032"/>
              <a:gd name="connsiteX19440" fmla="*/ 3271030 w 4610101"/>
              <a:gd name="connsiteY19440" fmla="*/ 1092334 h 6557032"/>
              <a:gd name="connsiteX19441" fmla="*/ 3263514 w 4610101"/>
              <a:gd name="connsiteY19441" fmla="*/ 1092335 h 6557032"/>
              <a:gd name="connsiteX19442" fmla="*/ 3274447 w 4610101"/>
              <a:gd name="connsiteY19442" fmla="*/ 1097801 h 6557032"/>
              <a:gd name="connsiteX19443" fmla="*/ 3271030 w 4610101"/>
              <a:gd name="connsiteY19443" fmla="*/ 1092334 h 6557032"/>
              <a:gd name="connsiteX19444" fmla="*/ 3191842 w 4610101"/>
              <a:gd name="connsiteY19444" fmla="*/ 1091120 h 6557032"/>
              <a:gd name="connsiteX19445" fmla="*/ 3192677 w 4610101"/>
              <a:gd name="connsiteY19445" fmla="*/ 1091196 h 6557032"/>
              <a:gd name="connsiteX19446" fmla="*/ 3193056 w 4610101"/>
              <a:gd name="connsiteY19446" fmla="*/ 1091727 h 6557032"/>
              <a:gd name="connsiteX19447" fmla="*/ 3627949 w 4610101"/>
              <a:gd name="connsiteY19447" fmla="*/ 1090512 h 6557032"/>
              <a:gd name="connsiteX19448" fmla="*/ 3629771 w 4610101"/>
              <a:gd name="connsiteY19448" fmla="*/ 1105090 h 6557032"/>
              <a:gd name="connsiteX19449" fmla="*/ 3627949 w 4610101"/>
              <a:gd name="connsiteY19449" fmla="*/ 1090512 h 6557032"/>
              <a:gd name="connsiteX19450" fmla="*/ 3617016 w 4610101"/>
              <a:gd name="connsiteY19450" fmla="*/ 1090512 h 6557032"/>
              <a:gd name="connsiteX19451" fmla="*/ 3606082 w 4610101"/>
              <a:gd name="connsiteY19451" fmla="*/ 1092335 h 6557032"/>
              <a:gd name="connsiteX19452" fmla="*/ 3617016 w 4610101"/>
              <a:gd name="connsiteY19452" fmla="*/ 1095979 h 6557032"/>
              <a:gd name="connsiteX19453" fmla="*/ 3617016 w 4610101"/>
              <a:gd name="connsiteY19453" fmla="*/ 1090512 h 6557032"/>
              <a:gd name="connsiteX19454" fmla="*/ 1071439 w 4610101"/>
              <a:gd name="connsiteY19454" fmla="*/ 1090512 h 6557032"/>
              <a:gd name="connsiteX19455" fmla="*/ 1067794 w 4610101"/>
              <a:gd name="connsiteY19455" fmla="*/ 1092335 h 6557032"/>
              <a:gd name="connsiteX19456" fmla="*/ 1071439 w 4610101"/>
              <a:gd name="connsiteY19456" fmla="*/ 1099623 h 6557032"/>
              <a:gd name="connsiteX19457" fmla="*/ 1075083 w 4610101"/>
              <a:gd name="connsiteY19457" fmla="*/ 1095979 h 6557032"/>
              <a:gd name="connsiteX19458" fmla="*/ 1071439 w 4610101"/>
              <a:gd name="connsiteY19458" fmla="*/ 1090512 h 6557032"/>
              <a:gd name="connsiteX19459" fmla="*/ 774424 w 4610101"/>
              <a:gd name="connsiteY19459" fmla="*/ 1090512 h 6557032"/>
              <a:gd name="connsiteX19460" fmla="*/ 779892 w 4610101"/>
              <a:gd name="connsiteY19460" fmla="*/ 1101445 h 6557032"/>
              <a:gd name="connsiteX19461" fmla="*/ 778070 w 4610101"/>
              <a:gd name="connsiteY19461" fmla="*/ 1094157 h 6557032"/>
              <a:gd name="connsiteX19462" fmla="*/ 774424 w 4610101"/>
              <a:gd name="connsiteY19462" fmla="*/ 1090512 h 6557032"/>
              <a:gd name="connsiteX19463" fmla="*/ 552119 w 4610101"/>
              <a:gd name="connsiteY19463" fmla="*/ 1090512 h 6557032"/>
              <a:gd name="connsiteX19464" fmla="*/ 564874 w 4610101"/>
              <a:gd name="connsiteY19464" fmla="*/ 1114201 h 6557032"/>
              <a:gd name="connsiteX19465" fmla="*/ 568519 w 4610101"/>
              <a:gd name="connsiteY19465" fmla="*/ 1099623 h 6557032"/>
              <a:gd name="connsiteX19466" fmla="*/ 555763 w 4610101"/>
              <a:gd name="connsiteY19466" fmla="*/ 1095979 h 6557032"/>
              <a:gd name="connsiteX19467" fmla="*/ 559408 w 4610101"/>
              <a:gd name="connsiteY19467" fmla="*/ 1094157 h 6557032"/>
              <a:gd name="connsiteX19468" fmla="*/ 552119 w 4610101"/>
              <a:gd name="connsiteY19468" fmla="*/ 1090512 h 6557032"/>
              <a:gd name="connsiteX19469" fmla="*/ 481054 w 4610101"/>
              <a:gd name="connsiteY19469" fmla="*/ 1090512 h 6557032"/>
              <a:gd name="connsiteX19470" fmla="*/ 488343 w 4610101"/>
              <a:gd name="connsiteY19470" fmla="*/ 1097801 h 6557032"/>
              <a:gd name="connsiteX19471" fmla="*/ 488343 w 4610101"/>
              <a:gd name="connsiteY19471" fmla="*/ 1096760 h 6557032"/>
              <a:gd name="connsiteX19472" fmla="*/ 493809 w 4610101"/>
              <a:gd name="connsiteY19472" fmla="*/ 1101445 h 6557032"/>
              <a:gd name="connsiteX19473" fmla="*/ 488343 w 4610101"/>
              <a:gd name="connsiteY19473" fmla="*/ 1095979 h 6557032"/>
              <a:gd name="connsiteX19474" fmla="*/ 488343 w 4610101"/>
              <a:gd name="connsiteY19474" fmla="*/ 1096760 h 6557032"/>
              <a:gd name="connsiteX19475" fmla="*/ 386301 w 4610101"/>
              <a:gd name="connsiteY19475" fmla="*/ 1090512 h 6557032"/>
              <a:gd name="connsiteX19476" fmla="*/ 384479 w 4610101"/>
              <a:gd name="connsiteY19476" fmla="*/ 1092335 h 6557032"/>
              <a:gd name="connsiteX19477" fmla="*/ 391768 w 4610101"/>
              <a:gd name="connsiteY19477" fmla="*/ 1099623 h 6557032"/>
              <a:gd name="connsiteX19478" fmla="*/ 386301 w 4610101"/>
              <a:gd name="connsiteY19478" fmla="*/ 1090512 h 6557032"/>
              <a:gd name="connsiteX19479" fmla="*/ 205906 w 4610101"/>
              <a:gd name="connsiteY19479" fmla="*/ 1090512 h 6557032"/>
              <a:gd name="connsiteX19480" fmla="*/ 211372 w 4610101"/>
              <a:gd name="connsiteY19480" fmla="*/ 1095979 h 6557032"/>
              <a:gd name="connsiteX19481" fmla="*/ 205906 w 4610101"/>
              <a:gd name="connsiteY19481" fmla="*/ 1090512 h 6557032"/>
              <a:gd name="connsiteX19482" fmla="*/ 189506 w 4610101"/>
              <a:gd name="connsiteY19482" fmla="*/ 1090512 h 6557032"/>
              <a:gd name="connsiteX19483" fmla="*/ 204084 w 4610101"/>
              <a:gd name="connsiteY19483" fmla="*/ 1099623 h 6557032"/>
              <a:gd name="connsiteX19484" fmla="*/ 189506 w 4610101"/>
              <a:gd name="connsiteY19484" fmla="*/ 1090512 h 6557032"/>
              <a:gd name="connsiteX19485" fmla="*/ 616806 w 4610101"/>
              <a:gd name="connsiteY19485" fmla="*/ 1090057 h 6557032"/>
              <a:gd name="connsiteX19486" fmla="*/ 612251 w 4610101"/>
              <a:gd name="connsiteY19486" fmla="*/ 1090512 h 6557032"/>
              <a:gd name="connsiteX19487" fmla="*/ 619539 w 4610101"/>
              <a:gd name="connsiteY19487" fmla="*/ 1097801 h 6557032"/>
              <a:gd name="connsiteX19488" fmla="*/ 621362 w 4610101"/>
              <a:gd name="connsiteY19488" fmla="*/ 1092335 h 6557032"/>
              <a:gd name="connsiteX19489" fmla="*/ 616806 w 4610101"/>
              <a:gd name="connsiteY19489" fmla="*/ 1090057 h 6557032"/>
              <a:gd name="connsiteX19490" fmla="*/ 3075830 w 4610101"/>
              <a:gd name="connsiteY19490" fmla="*/ 1088765 h 6557032"/>
              <a:gd name="connsiteX19491" fmla="*/ 3075830 w 4610101"/>
              <a:gd name="connsiteY19491" fmla="*/ 1105165 h 6557032"/>
              <a:gd name="connsiteX19492" fmla="*/ 3059430 w 4610101"/>
              <a:gd name="connsiteY19492" fmla="*/ 1103343 h 6557032"/>
              <a:gd name="connsiteX19493" fmla="*/ 3232537 w 4610101"/>
              <a:gd name="connsiteY19493" fmla="*/ 1088690 h 6557032"/>
              <a:gd name="connsiteX19494" fmla="*/ 3225248 w 4610101"/>
              <a:gd name="connsiteY19494" fmla="*/ 1090512 h 6557032"/>
              <a:gd name="connsiteX19495" fmla="*/ 3232537 w 4610101"/>
              <a:gd name="connsiteY19495" fmla="*/ 1088690 h 6557032"/>
              <a:gd name="connsiteX19496" fmla="*/ 2297762 w 4610101"/>
              <a:gd name="connsiteY19496" fmla="*/ 1088690 h 6557032"/>
              <a:gd name="connsiteX19497" fmla="*/ 2290473 w 4610101"/>
              <a:gd name="connsiteY19497" fmla="*/ 1090512 h 6557032"/>
              <a:gd name="connsiteX19498" fmla="*/ 2297762 w 4610101"/>
              <a:gd name="connsiteY19498" fmla="*/ 1088690 h 6557032"/>
              <a:gd name="connsiteX19499" fmla="*/ 1147970 w 4610101"/>
              <a:gd name="connsiteY19499" fmla="*/ 1088690 h 6557032"/>
              <a:gd name="connsiteX19500" fmla="*/ 1131570 w 4610101"/>
              <a:gd name="connsiteY19500" fmla="*/ 1101445 h 6557032"/>
              <a:gd name="connsiteX19501" fmla="*/ 1147970 w 4610101"/>
              <a:gd name="connsiteY19501" fmla="*/ 1088690 h 6557032"/>
              <a:gd name="connsiteX19502" fmla="*/ 881933 w 4610101"/>
              <a:gd name="connsiteY19502" fmla="*/ 1088690 h 6557032"/>
              <a:gd name="connsiteX19503" fmla="*/ 878288 w 4610101"/>
              <a:gd name="connsiteY19503" fmla="*/ 1090512 h 6557032"/>
              <a:gd name="connsiteX19504" fmla="*/ 881933 w 4610101"/>
              <a:gd name="connsiteY19504" fmla="*/ 1094157 h 6557032"/>
              <a:gd name="connsiteX19505" fmla="*/ 881933 w 4610101"/>
              <a:gd name="connsiteY19505" fmla="*/ 1088690 h 6557032"/>
              <a:gd name="connsiteX19506" fmla="*/ 807223 w 4610101"/>
              <a:gd name="connsiteY19506" fmla="*/ 1088690 h 6557032"/>
              <a:gd name="connsiteX19507" fmla="*/ 810868 w 4610101"/>
              <a:gd name="connsiteY19507" fmla="*/ 1103268 h 6557032"/>
              <a:gd name="connsiteX19508" fmla="*/ 812690 w 4610101"/>
              <a:gd name="connsiteY19508" fmla="*/ 1099623 h 6557032"/>
              <a:gd name="connsiteX19509" fmla="*/ 807223 w 4610101"/>
              <a:gd name="connsiteY19509" fmla="*/ 1088690 h 6557032"/>
              <a:gd name="connsiteX19510" fmla="*/ 759848 w 4610101"/>
              <a:gd name="connsiteY19510" fmla="*/ 1088690 h 6557032"/>
              <a:gd name="connsiteX19511" fmla="*/ 761670 w 4610101"/>
              <a:gd name="connsiteY19511" fmla="*/ 1099623 h 6557032"/>
              <a:gd name="connsiteX19512" fmla="*/ 761670 w 4610101"/>
              <a:gd name="connsiteY19512" fmla="*/ 1106912 h 6557032"/>
              <a:gd name="connsiteX19513" fmla="*/ 761670 w 4610101"/>
              <a:gd name="connsiteY19513" fmla="*/ 1099623 h 6557032"/>
              <a:gd name="connsiteX19514" fmla="*/ 763491 w 4610101"/>
              <a:gd name="connsiteY19514" fmla="*/ 1090512 h 6557032"/>
              <a:gd name="connsiteX19515" fmla="*/ 759848 w 4610101"/>
              <a:gd name="connsiteY19515" fmla="*/ 1088690 h 6557032"/>
              <a:gd name="connsiteX19516" fmla="*/ 557586 w 4610101"/>
              <a:gd name="connsiteY19516" fmla="*/ 1088690 h 6557032"/>
              <a:gd name="connsiteX19517" fmla="*/ 564874 w 4610101"/>
              <a:gd name="connsiteY19517" fmla="*/ 1094157 h 6557032"/>
              <a:gd name="connsiteX19518" fmla="*/ 557586 w 4610101"/>
              <a:gd name="connsiteY19518" fmla="*/ 1088690 h 6557032"/>
              <a:gd name="connsiteX19519" fmla="*/ 413634 w 4610101"/>
              <a:gd name="connsiteY19519" fmla="*/ 1088690 h 6557032"/>
              <a:gd name="connsiteX19520" fmla="*/ 426388 w 4610101"/>
              <a:gd name="connsiteY19520" fmla="*/ 1103267 h 6557032"/>
              <a:gd name="connsiteX19521" fmla="*/ 422745 w 4610101"/>
              <a:gd name="connsiteY19521" fmla="*/ 1101445 h 6557032"/>
              <a:gd name="connsiteX19522" fmla="*/ 426389 w 4610101"/>
              <a:gd name="connsiteY19522" fmla="*/ 1106912 h 6557032"/>
              <a:gd name="connsiteX19523" fmla="*/ 430034 w 4610101"/>
              <a:gd name="connsiteY19523" fmla="*/ 1105090 h 6557032"/>
              <a:gd name="connsiteX19524" fmla="*/ 426389 w 4610101"/>
              <a:gd name="connsiteY19524" fmla="*/ 1103267 h 6557032"/>
              <a:gd name="connsiteX19525" fmla="*/ 425706 w 4610101"/>
              <a:gd name="connsiteY19525" fmla="*/ 1097801 h 6557032"/>
              <a:gd name="connsiteX19526" fmla="*/ 426389 w 4610101"/>
              <a:gd name="connsiteY19526" fmla="*/ 1092335 h 6557032"/>
              <a:gd name="connsiteX19527" fmla="*/ 440966 w 4610101"/>
              <a:gd name="connsiteY19527" fmla="*/ 1106912 h 6557032"/>
              <a:gd name="connsiteX19528" fmla="*/ 428211 w 4610101"/>
              <a:gd name="connsiteY19528" fmla="*/ 1090512 h 6557032"/>
              <a:gd name="connsiteX19529" fmla="*/ 413634 w 4610101"/>
              <a:gd name="connsiteY19529" fmla="*/ 1088690 h 6557032"/>
              <a:gd name="connsiteX19530" fmla="*/ 355552 w 4610101"/>
              <a:gd name="connsiteY19530" fmla="*/ 1088690 h 6557032"/>
              <a:gd name="connsiteX19531" fmla="*/ 353502 w 4610101"/>
              <a:gd name="connsiteY19531" fmla="*/ 1090512 h 6557032"/>
              <a:gd name="connsiteX19532" fmla="*/ 358969 w 4610101"/>
              <a:gd name="connsiteY19532" fmla="*/ 1092335 h 6557032"/>
              <a:gd name="connsiteX19533" fmla="*/ 355552 w 4610101"/>
              <a:gd name="connsiteY19533" fmla="*/ 1088690 h 6557032"/>
              <a:gd name="connsiteX19534" fmla="*/ 443927 w 4610101"/>
              <a:gd name="connsiteY19534" fmla="*/ 1088462 h 6557032"/>
              <a:gd name="connsiteX19535" fmla="*/ 439145 w 4610101"/>
              <a:gd name="connsiteY19535" fmla="*/ 1088690 h 6557032"/>
              <a:gd name="connsiteX19536" fmla="*/ 444611 w 4610101"/>
              <a:gd name="connsiteY19536" fmla="*/ 1092335 h 6557032"/>
              <a:gd name="connsiteX19537" fmla="*/ 443927 w 4610101"/>
              <a:gd name="connsiteY19537" fmla="*/ 1088462 h 6557032"/>
              <a:gd name="connsiteX19538" fmla="*/ 2268607 w 4610101"/>
              <a:gd name="connsiteY19538" fmla="*/ 1086868 h 6557032"/>
              <a:gd name="connsiteX19539" fmla="*/ 2277718 w 4610101"/>
              <a:gd name="connsiteY19539" fmla="*/ 1099623 h 6557032"/>
              <a:gd name="connsiteX19540" fmla="*/ 2275896 w 4610101"/>
              <a:gd name="connsiteY19540" fmla="*/ 1090512 h 6557032"/>
              <a:gd name="connsiteX19541" fmla="*/ 2268607 w 4610101"/>
              <a:gd name="connsiteY19541" fmla="*/ 1086868 h 6557032"/>
              <a:gd name="connsiteX19542" fmla="*/ 1177125 w 4610101"/>
              <a:gd name="connsiteY19542" fmla="*/ 1086868 h 6557032"/>
              <a:gd name="connsiteX19543" fmla="*/ 1171658 w 4610101"/>
              <a:gd name="connsiteY19543" fmla="*/ 1092335 h 6557032"/>
              <a:gd name="connsiteX19544" fmla="*/ 1177125 w 4610101"/>
              <a:gd name="connsiteY19544" fmla="*/ 1086868 h 6557032"/>
              <a:gd name="connsiteX19545" fmla="*/ 1102416 w 4610101"/>
              <a:gd name="connsiteY19545" fmla="*/ 1086868 h 6557032"/>
              <a:gd name="connsiteX19546" fmla="*/ 1104238 w 4610101"/>
              <a:gd name="connsiteY19546" fmla="*/ 1094157 h 6557032"/>
              <a:gd name="connsiteX19547" fmla="*/ 1109704 w 4610101"/>
              <a:gd name="connsiteY19547" fmla="*/ 1095979 h 6557032"/>
              <a:gd name="connsiteX19548" fmla="*/ 1111526 w 4610101"/>
              <a:gd name="connsiteY19548" fmla="*/ 1094157 h 6557032"/>
              <a:gd name="connsiteX19549" fmla="*/ 1106060 w 4610101"/>
              <a:gd name="connsiteY19549" fmla="*/ 1092335 h 6557032"/>
              <a:gd name="connsiteX19550" fmla="*/ 1102416 w 4610101"/>
              <a:gd name="connsiteY19550" fmla="*/ 1086868 h 6557032"/>
              <a:gd name="connsiteX19551" fmla="*/ 1075083 w 4610101"/>
              <a:gd name="connsiteY19551" fmla="*/ 1086868 h 6557032"/>
              <a:gd name="connsiteX19552" fmla="*/ 1073262 w 4610101"/>
              <a:gd name="connsiteY19552" fmla="*/ 1090512 h 6557032"/>
              <a:gd name="connsiteX19553" fmla="*/ 1075083 w 4610101"/>
              <a:gd name="connsiteY19553" fmla="*/ 1086868 h 6557032"/>
              <a:gd name="connsiteX19554" fmla="*/ 488343 w 4610101"/>
              <a:gd name="connsiteY19554" fmla="*/ 1086868 h 6557032"/>
              <a:gd name="connsiteX19555" fmla="*/ 491987 w 4610101"/>
              <a:gd name="connsiteY19555" fmla="*/ 1090512 h 6557032"/>
              <a:gd name="connsiteX19556" fmla="*/ 488343 w 4610101"/>
              <a:gd name="connsiteY19556" fmla="*/ 1086868 h 6557032"/>
              <a:gd name="connsiteX19557" fmla="*/ 402701 w 4610101"/>
              <a:gd name="connsiteY19557" fmla="*/ 1086868 h 6557032"/>
              <a:gd name="connsiteX19558" fmla="*/ 415456 w 4610101"/>
              <a:gd name="connsiteY19558" fmla="*/ 1103268 h 6557032"/>
              <a:gd name="connsiteX19559" fmla="*/ 402701 w 4610101"/>
              <a:gd name="connsiteY19559" fmla="*/ 1086868 h 6557032"/>
              <a:gd name="connsiteX19560" fmla="*/ 320703 w 4610101"/>
              <a:gd name="connsiteY19560" fmla="*/ 1086868 h 6557032"/>
              <a:gd name="connsiteX19561" fmla="*/ 326169 w 4610101"/>
              <a:gd name="connsiteY19561" fmla="*/ 1090512 h 6557032"/>
              <a:gd name="connsiteX19562" fmla="*/ 320703 w 4610101"/>
              <a:gd name="connsiteY19562" fmla="*/ 1086868 h 6557032"/>
              <a:gd name="connsiteX19563" fmla="*/ 215017 w 4610101"/>
              <a:gd name="connsiteY19563" fmla="*/ 1086868 h 6557032"/>
              <a:gd name="connsiteX19564" fmla="*/ 211372 w 4610101"/>
              <a:gd name="connsiteY19564" fmla="*/ 1088690 h 6557032"/>
              <a:gd name="connsiteX19565" fmla="*/ 218661 w 4610101"/>
              <a:gd name="connsiteY19565" fmla="*/ 1092335 h 6557032"/>
              <a:gd name="connsiteX19566" fmla="*/ 215017 w 4610101"/>
              <a:gd name="connsiteY19566" fmla="*/ 1086868 h 6557032"/>
              <a:gd name="connsiteX19567" fmla="*/ 3607905 w 4610101"/>
              <a:gd name="connsiteY19567" fmla="*/ 1085046 h 6557032"/>
              <a:gd name="connsiteX19568" fmla="*/ 3615193 w 4610101"/>
              <a:gd name="connsiteY19568" fmla="*/ 1085046 h 6557032"/>
              <a:gd name="connsiteX19569" fmla="*/ 3607905 w 4610101"/>
              <a:gd name="connsiteY19569" fmla="*/ 1085046 h 6557032"/>
              <a:gd name="connsiteX19570" fmla="*/ 3252581 w 4610101"/>
              <a:gd name="connsiteY19570" fmla="*/ 1085046 h 6557032"/>
              <a:gd name="connsiteX19571" fmla="*/ 3245292 w 4610101"/>
              <a:gd name="connsiteY19571" fmla="*/ 1092335 h 6557032"/>
              <a:gd name="connsiteX19572" fmla="*/ 3259869 w 4610101"/>
              <a:gd name="connsiteY19572" fmla="*/ 1086868 h 6557032"/>
              <a:gd name="connsiteX19573" fmla="*/ 3252581 w 4610101"/>
              <a:gd name="connsiteY19573" fmla="*/ 1085046 h 6557032"/>
              <a:gd name="connsiteX19574" fmla="*/ 1096949 w 4610101"/>
              <a:gd name="connsiteY19574" fmla="*/ 1085046 h 6557032"/>
              <a:gd name="connsiteX19575" fmla="*/ 1093305 w 4610101"/>
              <a:gd name="connsiteY19575" fmla="*/ 1088690 h 6557032"/>
              <a:gd name="connsiteX19576" fmla="*/ 1100593 w 4610101"/>
              <a:gd name="connsiteY19576" fmla="*/ 1086868 h 6557032"/>
              <a:gd name="connsiteX19577" fmla="*/ 1096949 w 4610101"/>
              <a:gd name="connsiteY19577" fmla="*/ 1085046 h 6557032"/>
              <a:gd name="connsiteX19578" fmla="*/ 707004 w 4610101"/>
              <a:gd name="connsiteY19578" fmla="*/ 1085046 h 6557032"/>
              <a:gd name="connsiteX19579" fmla="*/ 717937 w 4610101"/>
              <a:gd name="connsiteY19579" fmla="*/ 1101445 h 6557032"/>
              <a:gd name="connsiteX19580" fmla="*/ 707004 w 4610101"/>
              <a:gd name="connsiteY19580" fmla="*/ 1085046 h 6557032"/>
              <a:gd name="connsiteX19581" fmla="*/ 666916 w 4610101"/>
              <a:gd name="connsiteY19581" fmla="*/ 1085046 h 6557032"/>
              <a:gd name="connsiteX19582" fmla="*/ 663272 w 4610101"/>
              <a:gd name="connsiteY19582" fmla="*/ 1095979 h 6557032"/>
              <a:gd name="connsiteX19583" fmla="*/ 677849 w 4610101"/>
              <a:gd name="connsiteY19583" fmla="*/ 1095979 h 6557032"/>
              <a:gd name="connsiteX19584" fmla="*/ 666916 w 4610101"/>
              <a:gd name="connsiteY19584" fmla="*/ 1085046 h 6557032"/>
              <a:gd name="connsiteX19585" fmla="*/ 572163 w 4610101"/>
              <a:gd name="connsiteY19585" fmla="*/ 1085046 h 6557032"/>
              <a:gd name="connsiteX19586" fmla="*/ 595852 w 4610101"/>
              <a:gd name="connsiteY19586" fmla="*/ 1090512 h 6557032"/>
              <a:gd name="connsiteX19587" fmla="*/ 572163 w 4610101"/>
              <a:gd name="connsiteY19587" fmla="*/ 1085046 h 6557032"/>
              <a:gd name="connsiteX19588" fmla="*/ 563052 w 4610101"/>
              <a:gd name="connsiteY19588" fmla="*/ 1085046 h 6557032"/>
              <a:gd name="connsiteX19589" fmla="*/ 566697 w 4610101"/>
              <a:gd name="connsiteY19589" fmla="*/ 1088690 h 6557032"/>
              <a:gd name="connsiteX19590" fmla="*/ 568519 w 4610101"/>
              <a:gd name="connsiteY19590" fmla="*/ 1085046 h 6557032"/>
              <a:gd name="connsiteX19591" fmla="*/ 563052 w 4610101"/>
              <a:gd name="connsiteY19591" fmla="*/ 1085046 h 6557032"/>
              <a:gd name="connsiteX19592" fmla="*/ 535719 w 4610101"/>
              <a:gd name="connsiteY19592" fmla="*/ 1085046 h 6557032"/>
              <a:gd name="connsiteX19593" fmla="*/ 543008 w 4610101"/>
              <a:gd name="connsiteY19593" fmla="*/ 1095979 h 6557032"/>
              <a:gd name="connsiteX19594" fmla="*/ 535719 w 4610101"/>
              <a:gd name="connsiteY19594" fmla="*/ 1085046 h 6557032"/>
              <a:gd name="connsiteX19595" fmla="*/ 275149 w 4610101"/>
              <a:gd name="connsiteY19595" fmla="*/ 1085046 h 6557032"/>
              <a:gd name="connsiteX19596" fmla="*/ 291549 w 4610101"/>
              <a:gd name="connsiteY19596" fmla="*/ 1094157 h 6557032"/>
              <a:gd name="connsiteX19597" fmla="*/ 275149 w 4610101"/>
              <a:gd name="connsiteY19597" fmla="*/ 1085046 h 6557032"/>
              <a:gd name="connsiteX19598" fmla="*/ 1337957 w 4610101"/>
              <a:gd name="connsiteY19598" fmla="*/ 1084792 h 6557032"/>
              <a:gd name="connsiteX19599" fmla="*/ 1337931 w 4610101"/>
              <a:gd name="connsiteY19599" fmla="*/ 1084818 h 6557032"/>
              <a:gd name="connsiteX19600" fmla="*/ 1337826 w 4610101"/>
              <a:gd name="connsiteY19600" fmla="*/ 1084880 h 6557032"/>
              <a:gd name="connsiteX19601" fmla="*/ 1033173 w 4610101"/>
              <a:gd name="connsiteY19601" fmla="*/ 1083224 h 6557032"/>
              <a:gd name="connsiteX19602" fmla="*/ 1020418 w 4610101"/>
              <a:gd name="connsiteY19602" fmla="*/ 1099623 h 6557032"/>
              <a:gd name="connsiteX19603" fmla="*/ 1029529 w 4610101"/>
              <a:gd name="connsiteY19603" fmla="*/ 1103268 h 6557032"/>
              <a:gd name="connsiteX19604" fmla="*/ 1033173 w 4610101"/>
              <a:gd name="connsiteY19604" fmla="*/ 1095979 h 6557032"/>
              <a:gd name="connsiteX19605" fmla="*/ 1033173 w 4610101"/>
              <a:gd name="connsiteY19605" fmla="*/ 1083224 h 6557032"/>
              <a:gd name="connsiteX19606" fmla="*/ 832734 w 4610101"/>
              <a:gd name="connsiteY19606" fmla="*/ 1083224 h 6557032"/>
              <a:gd name="connsiteX19607" fmla="*/ 827267 w 4610101"/>
              <a:gd name="connsiteY19607" fmla="*/ 1097801 h 6557032"/>
              <a:gd name="connsiteX19608" fmla="*/ 832734 w 4610101"/>
              <a:gd name="connsiteY19608" fmla="*/ 1101445 h 6557032"/>
              <a:gd name="connsiteX19609" fmla="*/ 840022 w 4610101"/>
              <a:gd name="connsiteY19609" fmla="*/ 1090512 h 6557032"/>
              <a:gd name="connsiteX19610" fmla="*/ 832734 w 4610101"/>
              <a:gd name="connsiteY19610" fmla="*/ 1083224 h 6557032"/>
              <a:gd name="connsiteX19611" fmla="*/ 776246 w 4610101"/>
              <a:gd name="connsiteY19611" fmla="*/ 1083224 h 6557032"/>
              <a:gd name="connsiteX19612" fmla="*/ 780118 w 4610101"/>
              <a:gd name="connsiteY19612" fmla="*/ 1091879 h 6557032"/>
              <a:gd name="connsiteX19613" fmla="*/ 783912 w 4610101"/>
              <a:gd name="connsiteY19613" fmla="*/ 1096167 h 6557032"/>
              <a:gd name="connsiteX19614" fmla="*/ 783535 w 4610101"/>
              <a:gd name="connsiteY19614" fmla="*/ 1095979 h 6557032"/>
              <a:gd name="connsiteX19615" fmla="*/ 785357 w 4610101"/>
              <a:gd name="connsiteY19615" fmla="*/ 1097801 h 6557032"/>
              <a:gd name="connsiteX19616" fmla="*/ 783912 w 4610101"/>
              <a:gd name="connsiteY19616" fmla="*/ 1096167 h 6557032"/>
              <a:gd name="connsiteX19617" fmla="*/ 787179 w 4610101"/>
              <a:gd name="connsiteY19617" fmla="*/ 1097801 h 6557032"/>
              <a:gd name="connsiteX19618" fmla="*/ 776246 w 4610101"/>
              <a:gd name="connsiteY19618" fmla="*/ 1083224 h 6557032"/>
              <a:gd name="connsiteX19619" fmla="*/ 741626 w 4610101"/>
              <a:gd name="connsiteY19619" fmla="*/ 1083224 h 6557032"/>
              <a:gd name="connsiteX19620" fmla="*/ 745269 w 4610101"/>
              <a:gd name="connsiteY19620" fmla="*/ 1092335 h 6557032"/>
              <a:gd name="connsiteX19621" fmla="*/ 741626 w 4610101"/>
              <a:gd name="connsiteY19621" fmla="*/ 1083224 h 6557032"/>
              <a:gd name="connsiteX19622" fmla="*/ 220483 w 4610101"/>
              <a:gd name="connsiteY19622" fmla="*/ 1083224 h 6557032"/>
              <a:gd name="connsiteX19623" fmla="*/ 227772 w 4610101"/>
              <a:gd name="connsiteY19623" fmla="*/ 1090512 h 6557032"/>
              <a:gd name="connsiteX19624" fmla="*/ 220483 w 4610101"/>
              <a:gd name="connsiteY19624" fmla="*/ 1083224 h 6557032"/>
              <a:gd name="connsiteX19625" fmla="*/ 171285 w 4610101"/>
              <a:gd name="connsiteY19625" fmla="*/ 1083224 h 6557032"/>
              <a:gd name="connsiteX19626" fmla="*/ 189506 w 4610101"/>
              <a:gd name="connsiteY19626" fmla="*/ 1095979 h 6557032"/>
              <a:gd name="connsiteX19627" fmla="*/ 171285 w 4610101"/>
              <a:gd name="connsiteY19627" fmla="*/ 1083224 h 6557032"/>
              <a:gd name="connsiteX19628" fmla="*/ 2568485 w 4610101"/>
              <a:gd name="connsiteY19628" fmla="*/ 1083171 h 6557032"/>
              <a:gd name="connsiteX19629" fmla="*/ 2567671 w 4610101"/>
              <a:gd name="connsiteY19629" fmla="*/ 1084818 h 6557032"/>
              <a:gd name="connsiteX19630" fmla="*/ 2566781 w 4610101"/>
              <a:gd name="connsiteY19630" fmla="*/ 1085093 h 6557032"/>
              <a:gd name="connsiteX19631" fmla="*/ 973868 w 4610101"/>
              <a:gd name="connsiteY19631" fmla="*/ 1082939 h 6557032"/>
              <a:gd name="connsiteX19632" fmla="*/ 976686 w 4610101"/>
              <a:gd name="connsiteY19632" fmla="*/ 1097801 h 6557032"/>
              <a:gd name="connsiteX19633" fmla="*/ 976686 w 4610101"/>
              <a:gd name="connsiteY19633" fmla="*/ 1094157 h 6557032"/>
              <a:gd name="connsiteX19634" fmla="*/ 980330 w 4610101"/>
              <a:gd name="connsiteY19634" fmla="*/ 1094157 h 6557032"/>
              <a:gd name="connsiteX19635" fmla="*/ 980330 w 4610101"/>
              <a:gd name="connsiteY19635" fmla="*/ 1085046 h 6557032"/>
              <a:gd name="connsiteX19636" fmla="*/ 973868 w 4610101"/>
              <a:gd name="connsiteY19636" fmla="*/ 1082939 h 6557032"/>
              <a:gd name="connsiteX19637" fmla="*/ 3558706 w 4610101"/>
              <a:gd name="connsiteY19637" fmla="*/ 1081402 h 6557032"/>
              <a:gd name="connsiteX19638" fmla="*/ 3564173 w 4610101"/>
              <a:gd name="connsiteY19638" fmla="*/ 1090512 h 6557032"/>
              <a:gd name="connsiteX19639" fmla="*/ 3558706 w 4610101"/>
              <a:gd name="connsiteY19639" fmla="*/ 1081402 h 6557032"/>
              <a:gd name="connsiteX19640" fmla="*/ 3239826 w 4610101"/>
              <a:gd name="connsiteY19640" fmla="*/ 1081402 h 6557032"/>
              <a:gd name="connsiteX19641" fmla="*/ 3236181 w 4610101"/>
              <a:gd name="connsiteY19641" fmla="*/ 1088690 h 6557032"/>
              <a:gd name="connsiteX19642" fmla="*/ 3247114 w 4610101"/>
              <a:gd name="connsiteY19642" fmla="*/ 1081402 h 6557032"/>
              <a:gd name="connsiteX19643" fmla="*/ 3239826 w 4610101"/>
              <a:gd name="connsiteY19643" fmla="*/ 1081402 h 6557032"/>
              <a:gd name="connsiteX19644" fmla="*/ 3185160 w 4610101"/>
              <a:gd name="connsiteY19644" fmla="*/ 1081402 h 6557032"/>
              <a:gd name="connsiteX19645" fmla="*/ 3181516 w 4610101"/>
              <a:gd name="connsiteY19645" fmla="*/ 1088690 h 6557032"/>
              <a:gd name="connsiteX19646" fmla="*/ 3186982 w 4610101"/>
              <a:gd name="connsiteY19646" fmla="*/ 1088690 h 6557032"/>
              <a:gd name="connsiteX19647" fmla="*/ 3185160 w 4610101"/>
              <a:gd name="connsiteY19647" fmla="*/ 1081402 h 6557032"/>
              <a:gd name="connsiteX19648" fmla="*/ 2813437 w 4610101"/>
              <a:gd name="connsiteY19648" fmla="*/ 1081402 h 6557032"/>
              <a:gd name="connsiteX19649" fmla="*/ 2814223 w 4610101"/>
              <a:gd name="connsiteY19649" fmla="*/ 1083044 h 6557032"/>
              <a:gd name="connsiteX19650" fmla="*/ 2810650 w 4610101"/>
              <a:gd name="connsiteY19650" fmla="*/ 1087375 h 6557032"/>
              <a:gd name="connsiteX19651" fmla="*/ 2809793 w 4610101"/>
              <a:gd name="connsiteY19651" fmla="*/ 1084590 h 6557032"/>
              <a:gd name="connsiteX19652" fmla="*/ 2813437 w 4610101"/>
              <a:gd name="connsiteY19652" fmla="*/ 1081402 h 6557032"/>
              <a:gd name="connsiteX19653" fmla="*/ 1193525 w 4610101"/>
              <a:gd name="connsiteY19653" fmla="*/ 1081402 h 6557032"/>
              <a:gd name="connsiteX19654" fmla="*/ 1188058 w 4610101"/>
              <a:gd name="connsiteY19654" fmla="*/ 1088690 h 6557032"/>
              <a:gd name="connsiteX19655" fmla="*/ 1166192 w 4610101"/>
              <a:gd name="connsiteY19655" fmla="*/ 1105090 h 6557032"/>
              <a:gd name="connsiteX19656" fmla="*/ 1169836 w 4610101"/>
              <a:gd name="connsiteY19656" fmla="*/ 1106912 h 6557032"/>
              <a:gd name="connsiteX19657" fmla="*/ 1178947 w 4610101"/>
              <a:gd name="connsiteY19657" fmla="*/ 1105090 h 6557032"/>
              <a:gd name="connsiteX19658" fmla="*/ 1184414 w 4610101"/>
              <a:gd name="connsiteY19658" fmla="*/ 1099623 h 6557032"/>
              <a:gd name="connsiteX19659" fmla="*/ 1182592 w 4610101"/>
              <a:gd name="connsiteY19659" fmla="*/ 1105090 h 6557032"/>
              <a:gd name="connsiteX19660" fmla="*/ 1186236 w 4610101"/>
              <a:gd name="connsiteY19660" fmla="*/ 1099623 h 6557032"/>
              <a:gd name="connsiteX19661" fmla="*/ 1186236 w 4610101"/>
              <a:gd name="connsiteY19661" fmla="*/ 1105090 h 6557032"/>
              <a:gd name="connsiteX19662" fmla="*/ 1197169 w 4610101"/>
              <a:gd name="connsiteY19662" fmla="*/ 1092335 h 6557032"/>
              <a:gd name="connsiteX19663" fmla="*/ 1206279 w 4610101"/>
              <a:gd name="connsiteY19663" fmla="*/ 1090512 h 6557032"/>
              <a:gd name="connsiteX19664" fmla="*/ 1193525 w 4610101"/>
              <a:gd name="connsiteY19664" fmla="*/ 1081402 h 6557032"/>
              <a:gd name="connsiteX19665" fmla="*/ 1153436 w 4610101"/>
              <a:gd name="connsiteY19665" fmla="*/ 1081402 h 6557032"/>
              <a:gd name="connsiteX19666" fmla="*/ 1149792 w 4610101"/>
              <a:gd name="connsiteY19666" fmla="*/ 1085046 h 6557032"/>
              <a:gd name="connsiteX19667" fmla="*/ 1151614 w 4610101"/>
              <a:gd name="connsiteY19667" fmla="*/ 1086868 h 6557032"/>
              <a:gd name="connsiteX19668" fmla="*/ 1153436 w 4610101"/>
              <a:gd name="connsiteY19668" fmla="*/ 1081402 h 6557032"/>
              <a:gd name="connsiteX19669" fmla="*/ 823623 w 4610101"/>
              <a:gd name="connsiteY19669" fmla="*/ 1081402 h 6557032"/>
              <a:gd name="connsiteX19670" fmla="*/ 821801 w 4610101"/>
              <a:gd name="connsiteY19670" fmla="*/ 1088690 h 6557032"/>
              <a:gd name="connsiteX19671" fmla="*/ 823623 w 4610101"/>
              <a:gd name="connsiteY19671" fmla="*/ 1081402 h 6557032"/>
              <a:gd name="connsiteX19672" fmla="*/ 479232 w 4610101"/>
              <a:gd name="connsiteY19672" fmla="*/ 1081402 h 6557032"/>
              <a:gd name="connsiteX19673" fmla="*/ 484700 w 4610101"/>
              <a:gd name="connsiteY19673" fmla="*/ 1085046 h 6557032"/>
              <a:gd name="connsiteX19674" fmla="*/ 479232 w 4610101"/>
              <a:gd name="connsiteY19674" fmla="*/ 1081402 h 6557032"/>
              <a:gd name="connsiteX19675" fmla="*/ 2986543 w 4610101"/>
              <a:gd name="connsiteY19675" fmla="*/ 1079579 h 6557032"/>
              <a:gd name="connsiteX19676" fmla="*/ 2986543 w 4610101"/>
              <a:gd name="connsiteY19676" fmla="*/ 1088690 h 6557032"/>
              <a:gd name="connsiteX19677" fmla="*/ 2990188 w 4610101"/>
              <a:gd name="connsiteY19677" fmla="*/ 1083224 h 6557032"/>
              <a:gd name="connsiteX19678" fmla="*/ 2986543 w 4610101"/>
              <a:gd name="connsiteY19678" fmla="*/ 1079579 h 6557032"/>
              <a:gd name="connsiteX19679" fmla="*/ 856422 w 4610101"/>
              <a:gd name="connsiteY19679" fmla="*/ 1079579 h 6557032"/>
              <a:gd name="connsiteX19680" fmla="*/ 861889 w 4610101"/>
              <a:gd name="connsiteY19680" fmla="*/ 1092335 h 6557032"/>
              <a:gd name="connsiteX19681" fmla="*/ 865533 w 4610101"/>
              <a:gd name="connsiteY19681" fmla="*/ 1086868 h 6557032"/>
              <a:gd name="connsiteX19682" fmla="*/ 856422 w 4610101"/>
              <a:gd name="connsiteY19682" fmla="*/ 1079579 h 6557032"/>
              <a:gd name="connsiteX19683" fmla="*/ 610429 w 4610101"/>
              <a:gd name="connsiteY19683" fmla="*/ 1079579 h 6557032"/>
              <a:gd name="connsiteX19684" fmla="*/ 610429 w 4610101"/>
              <a:gd name="connsiteY19684" fmla="*/ 1086868 h 6557032"/>
              <a:gd name="connsiteX19685" fmla="*/ 621362 w 4610101"/>
              <a:gd name="connsiteY19685" fmla="*/ 1086868 h 6557032"/>
              <a:gd name="connsiteX19686" fmla="*/ 610429 w 4610101"/>
              <a:gd name="connsiteY19686" fmla="*/ 1079579 h 6557032"/>
              <a:gd name="connsiteX19687" fmla="*/ 513853 w 4610101"/>
              <a:gd name="connsiteY19687" fmla="*/ 1079579 h 6557032"/>
              <a:gd name="connsiteX19688" fmla="*/ 526609 w 4610101"/>
              <a:gd name="connsiteY19688" fmla="*/ 1094157 h 6557032"/>
              <a:gd name="connsiteX19689" fmla="*/ 526609 w 4610101"/>
              <a:gd name="connsiteY19689" fmla="*/ 1090512 h 6557032"/>
              <a:gd name="connsiteX19690" fmla="*/ 529444 w 4610101"/>
              <a:gd name="connsiteY19690" fmla="*/ 1098813 h 6557032"/>
              <a:gd name="connsiteX19691" fmla="*/ 526609 w 4610101"/>
              <a:gd name="connsiteY19691" fmla="*/ 1095979 h 6557032"/>
              <a:gd name="connsiteX19692" fmla="*/ 527292 w 4610101"/>
              <a:gd name="connsiteY19692" fmla="*/ 1098712 h 6557032"/>
              <a:gd name="connsiteX19693" fmla="*/ 530731 w 4610101"/>
              <a:gd name="connsiteY19693" fmla="*/ 1100677 h 6557032"/>
              <a:gd name="connsiteX19694" fmla="*/ 535719 w 4610101"/>
              <a:gd name="connsiteY19694" fmla="*/ 1105090 h 6557032"/>
              <a:gd name="connsiteX19695" fmla="*/ 532075 w 4610101"/>
              <a:gd name="connsiteY19695" fmla="*/ 1092335 h 6557032"/>
              <a:gd name="connsiteX19696" fmla="*/ 535719 w 4610101"/>
              <a:gd name="connsiteY19696" fmla="*/ 1092335 h 6557032"/>
              <a:gd name="connsiteX19697" fmla="*/ 513853 w 4610101"/>
              <a:gd name="connsiteY19697" fmla="*/ 1079579 h 6557032"/>
              <a:gd name="connsiteX19698" fmla="*/ 373546 w 4610101"/>
              <a:gd name="connsiteY19698" fmla="*/ 1079579 h 6557032"/>
              <a:gd name="connsiteX19699" fmla="*/ 379012 w 4610101"/>
              <a:gd name="connsiteY19699" fmla="*/ 1083224 h 6557032"/>
              <a:gd name="connsiteX19700" fmla="*/ 373546 w 4610101"/>
              <a:gd name="connsiteY19700" fmla="*/ 1079579 h 6557032"/>
              <a:gd name="connsiteX19701" fmla="*/ 178573 w 4610101"/>
              <a:gd name="connsiteY19701" fmla="*/ 1079579 h 6557032"/>
              <a:gd name="connsiteX19702" fmla="*/ 189506 w 4610101"/>
              <a:gd name="connsiteY19702" fmla="*/ 1086868 h 6557032"/>
              <a:gd name="connsiteX19703" fmla="*/ 178573 w 4610101"/>
              <a:gd name="connsiteY19703" fmla="*/ 1079579 h 6557032"/>
              <a:gd name="connsiteX19704" fmla="*/ 87465 w 4610101"/>
              <a:gd name="connsiteY19704" fmla="*/ 1079579 h 6557032"/>
              <a:gd name="connsiteX19705" fmla="*/ 142130 w 4610101"/>
              <a:gd name="connsiteY19705" fmla="*/ 1130600 h 6557032"/>
              <a:gd name="connsiteX19706" fmla="*/ 142076 w 4610101"/>
              <a:gd name="connsiteY19706" fmla="*/ 1130573 h 6557032"/>
              <a:gd name="connsiteX19707" fmla="*/ 133475 w 4610101"/>
              <a:gd name="connsiteY19707" fmla="*/ 1123539 h 6557032"/>
              <a:gd name="connsiteX19708" fmla="*/ 87465 w 4610101"/>
              <a:gd name="connsiteY19708" fmla="*/ 1079579 h 6557032"/>
              <a:gd name="connsiteX19709" fmla="*/ 843619 w 4610101"/>
              <a:gd name="connsiteY19709" fmla="*/ 1078600 h 6557032"/>
              <a:gd name="connsiteX19710" fmla="*/ 843895 w 4610101"/>
              <a:gd name="connsiteY19710" fmla="*/ 1079579 h 6557032"/>
              <a:gd name="connsiteX19711" fmla="*/ 842909 w 4610101"/>
              <a:gd name="connsiteY19711" fmla="*/ 1083084 h 6557032"/>
              <a:gd name="connsiteX19712" fmla="*/ 842072 w 4610101"/>
              <a:gd name="connsiteY19712" fmla="*/ 1082312 h 6557032"/>
              <a:gd name="connsiteX19713" fmla="*/ 3330934 w 4610101"/>
              <a:gd name="connsiteY19713" fmla="*/ 1077757 h 6557032"/>
              <a:gd name="connsiteX19714" fmla="*/ 3325468 w 4610101"/>
              <a:gd name="connsiteY19714" fmla="*/ 1079579 h 6557032"/>
              <a:gd name="connsiteX19715" fmla="*/ 3330934 w 4610101"/>
              <a:gd name="connsiteY19715" fmla="*/ 1077757 h 6557032"/>
              <a:gd name="connsiteX19716" fmla="*/ 1344765 w 4610101"/>
              <a:gd name="connsiteY19716" fmla="*/ 1077757 h 6557032"/>
              <a:gd name="connsiteX19717" fmla="*/ 1352053 w 4610101"/>
              <a:gd name="connsiteY19717" fmla="*/ 1077757 h 6557032"/>
              <a:gd name="connsiteX19718" fmla="*/ 1355698 w 4610101"/>
              <a:gd name="connsiteY19718" fmla="*/ 1077757 h 6557032"/>
              <a:gd name="connsiteX19719" fmla="*/ 1342942 w 4610101"/>
              <a:gd name="connsiteY19719" fmla="*/ 1081402 h 6557032"/>
              <a:gd name="connsiteX19720" fmla="*/ 1337957 w 4610101"/>
              <a:gd name="connsiteY19720" fmla="*/ 1084792 h 6557032"/>
              <a:gd name="connsiteX19721" fmla="*/ 1065972 w 4610101"/>
              <a:gd name="connsiteY19721" fmla="*/ 1077757 h 6557032"/>
              <a:gd name="connsiteX19722" fmla="*/ 1067794 w 4610101"/>
              <a:gd name="connsiteY19722" fmla="*/ 1079579 h 6557032"/>
              <a:gd name="connsiteX19723" fmla="*/ 1069616 w 4610101"/>
              <a:gd name="connsiteY19723" fmla="*/ 1085046 h 6557032"/>
              <a:gd name="connsiteX19724" fmla="*/ 1071439 w 4610101"/>
              <a:gd name="connsiteY19724" fmla="*/ 1081402 h 6557032"/>
              <a:gd name="connsiteX19725" fmla="*/ 1065972 w 4610101"/>
              <a:gd name="connsiteY19725" fmla="*/ 1077757 h 6557032"/>
              <a:gd name="connsiteX19726" fmla="*/ 1040462 w 4610101"/>
              <a:gd name="connsiteY19726" fmla="*/ 1077757 h 6557032"/>
              <a:gd name="connsiteX19727" fmla="*/ 1044106 w 4610101"/>
              <a:gd name="connsiteY19727" fmla="*/ 1090512 h 6557032"/>
              <a:gd name="connsiteX19728" fmla="*/ 1045929 w 4610101"/>
              <a:gd name="connsiteY19728" fmla="*/ 1086868 h 6557032"/>
              <a:gd name="connsiteX19729" fmla="*/ 1040462 w 4610101"/>
              <a:gd name="connsiteY19729" fmla="*/ 1077757 h 6557032"/>
              <a:gd name="connsiteX19730" fmla="*/ 1029529 w 4610101"/>
              <a:gd name="connsiteY19730" fmla="*/ 1077757 h 6557032"/>
              <a:gd name="connsiteX19731" fmla="*/ 1009485 w 4610101"/>
              <a:gd name="connsiteY19731" fmla="*/ 1088690 h 6557032"/>
              <a:gd name="connsiteX19732" fmla="*/ 1011307 w 4610101"/>
              <a:gd name="connsiteY19732" fmla="*/ 1094157 h 6557032"/>
              <a:gd name="connsiteX19733" fmla="*/ 1011307 w 4610101"/>
              <a:gd name="connsiteY19733" fmla="*/ 1090512 h 6557032"/>
              <a:gd name="connsiteX19734" fmla="*/ 1016774 w 4610101"/>
              <a:gd name="connsiteY19734" fmla="*/ 1095979 h 6557032"/>
              <a:gd name="connsiteX19735" fmla="*/ 1029529 w 4610101"/>
              <a:gd name="connsiteY19735" fmla="*/ 1077757 h 6557032"/>
              <a:gd name="connsiteX19736" fmla="*/ 825445 w 4610101"/>
              <a:gd name="connsiteY19736" fmla="*/ 1077757 h 6557032"/>
              <a:gd name="connsiteX19737" fmla="*/ 825445 w 4610101"/>
              <a:gd name="connsiteY19737" fmla="*/ 1088690 h 6557032"/>
              <a:gd name="connsiteX19738" fmla="*/ 830912 w 4610101"/>
              <a:gd name="connsiteY19738" fmla="*/ 1086868 h 6557032"/>
              <a:gd name="connsiteX19739" fmla="*/ 825445 w 4610101"/>
              <a:gd name="connsiteY19739" fmla="*/ 1077757 h 6557032"/>
              <a:gd name="connsiteX19740" fmla="*/ 561913 w 4610101"/>
              <a:gd name="connsiteY19740" fmla="*/ 1077757 h 6557032"/>
              <a:gd name="connsiteX19741" fmla="*/ 553941 w 4610101"/>
              <a:gd name="connsiteY19741" fmla="*/ 1079579 h 6557032"/>
              <a:gd name="connsiteX19742" fmla="*/ 568519 w 4610101"/>
              <a:gd name="connsiteY19742" fmla="*/ 1081402 h 6557032"/>
              <a:gd name="connsiteX19743" fmla="*/ 561913 w 4610101"/>
              <a:gd name="connsiteY19743" fmla="*/ 1077757 h 6557032"/>
              <a:gd name="connsiteX19744" fmla="*/ 388123 w 4610101"/>
              <a:gd name="connsiteY19744" fmla="*/ 1077757 h 6557032"/>
              <a:gd name="connsiteX19745" fmla="*/ 397234 w 4610101"/>
              <a:gd name="connsiteY19745" fmla="*/ 1086868 h 6557032"/>
              <a:gd name="connsiteX19746" fmla="*/ 393590 w 4610101"/>
              <a:gd name="connsiteY19746" fmla="*/ 1081402 h 6557032"/>
              <a:gd name="connsiteX19747" fmla="*/ 388123 w 4610101"/>
              <a:gd name="connsiteY19747" fmla="*/ 1077757 h 6557032"/>
              <a:gd name="connsiteX19748" fmla="*/ 326169 w 4610101"/>
              <a:gd name="connsiteY19748" fmla="*/ 1077757 h 6557032"/>
              <a:gd name="connsiteX19749" fmla="*/ 331636 w 4610101"/>
              <a:gd name="connsiteY19749" fmla="*/ 1085046 h 6557032"/>
              <a:gd name="connsiteX19750" fmla="*/ 326169 w 4610101"/>
              <a:gd name="connsiteY19750" fmla="*/ 1079579 h 6557032"/>
              <a:gd name="connsiteX19751" fmla="*/ 331636 w 4610101"/>
              <a:gd name="connsiteY19751" fmla="*/ 1088690 h 6557032"/>
              <a:gd name="connsiteX19752" fmla="*/ 331636 w 4610101"/>
              <a:gd name="connsiteY19752" fmla="*/ 1085046 h 6557032"/>
              <a:gd name="connsiteX19753" fmla="*/ 342569 w 4610101"/>
              <a:gd name="connsiteY19753" fmla="*/ 1092335 h 6557032"/>
              <a:gd name="connsiteX19754" fmla="*/ 326169 w 4610101"/>
              <a:gd name="connsiteY19754" fmla="*/ 1077757 h 6557032"/>
              <a:gd name="connsiteX19755" fmla="*/ 276971 w 4610101"/>
              <a:gd name="connsiteY19755" fmla="*/ 1077757 h 6557032"/>
              <a:gd name="connsiteX19756" fmla="*/ 286309 w 4610101"/>
              <a:gd name="connsiteY19756" fmla="*/ 1081857 h 6557032"/>
              <a:gd name="connsiteX19757" fmla="*/ 287018 w 4610101"/>
              <a:gd name="connsiteY19757" fmla="*/ 1082781 h 6557032"/>
              <a:gd name="connsiteX19758" fmla="*/ 260571 w 4610101"/>
              <a:gd name="connsiteY19758" fmla="*/ 1077757 h 6557032"/>
              <a:gd name="connsiteX19759" fmla="*/ 266038 w 4610101"/>
              <a:gd name="connsiteY19759" fmla="*/ 1083224 h 6557032"/>
              <a:gd name="connsiteX19760" fmla="*/ 269682 w 4610101"/>
              <a:gd name="connsiteY19760" fmla="*/ 1086868 h 6557032"/>
              <a:gd name="connsiteX19761" fmla="*/ 269226 w 4610101"/>
              <a:gd name="connsiteY19761" fmla="*/ 1085729 h 6557032"/>
              <a:gd name="connsiteX19762" fmla="*/ 266038 w 4610101"/>
              <a:gd name="connsiteY19762" fmla="*/ 1083224 h 6557032"/>
              <a:gd name="connsiteX19763" fmla="*/ 267860 w 4610101"/>
              <a:gd name="connsiteY19763" fmla="*/ 1083224 h 6557032"/>
              <a:gd name="connsiteX19764" fmla="*/ 260571 w 4610101"/>
              <a:gd name="connsiteY19764" fmla="*/ 1077757 h 6557032"/>
              <a:gd name="connsiteX19765" fmla="*/ 153063 w 4610101"/>
              <a:gd name="connsiteY19765" fmla="*/ 1077757 h 6557032"/>
              <a:gd name="connsiteX19766" fmla="*/ 171285 w 4610101"/>
              <a:gd name="connsiteY19766" fmla="*/ 1092335 h 6557032"/>
              <a:gd name="connsiteX19767" fmla="*/ 153063 w 4610101"/>
              <a:gd name="connsiteY19767" fmla="*/ 1077757 h 6557032"/>
              <a:gd name="connsiteX19768" fmla="*/ 1171658 w 4610101"/>
              <a:gd name="connsiteY19768" fmla="*/ 1075935 h 6557032"/>
              <a:gd name="connsiteX19769" fmla="*/ 1164370 w 4610101"/>
              <a:gd name="connsiteY19769" fmla="*/ 1081402 h 6557032"/>
              <a:gd name="connsiteX19770" fmla="*/ 1171658 w 4610101"/>
              <a:gd name="connsiteY19770" fmla="*/ 1075935 h 6557032"/>
              <a:gd name="connsiteX19771" fmla="*/ 1045929 w 4610101"/>
              <a:gd name="connsiteY19771" fmla="*/ 1075935 h 6557032"/>
              <a:gd name="connsiteX19772" fmla="*/ 1049573 w 4610101"/>
              <a:gd name="connsiteY19772" fmla="*/ 1081402 h 6557032"/>
              <a:gd name="connsiteX19773" fmla="*/ 1055040 w 4610101"/>
              <a:gd name="connsiteY19773" fmla="*/ 1094157 h 6557032"/>
              <a:gd name="connsiteX19774" fmla="*/ 1058683 w 4610101"/>
              <a:gd name="connsiteY19774" fmla="*/ 1092335 h 6557032"/>
              <a:gd name="connsiteX19775" fmla="*/ 1045929 w 4610101"/>
              <a:gd name="connsiteY19775" fmla="*/ 1075935 h 6557032"/>
              <a:gd name="connsiteX19776" fmla="*/ 911087 w 4610101"/>
              <a:gd name="connsiteY19776" fmla="*/ 1075935 h 6557032"/>
              <a:gd name="connsiteX19777" fmla="*/ 896510 w 4610101"/>
              <a:gd name="connsiteY19777" fmla="*/ 1081402 h 6557032"/>
              <a:gd name="connsiteX19778" fmla="*/ 911087 w 4610101"/>
              <a:gd name="connsiteY19778" fmla="*/ 1075935 h 6557032"/>
              <a:gd name="connsiteX19779" fmla="*/ 823623 w 4610101"/>
              <a:gd name="connsiteY19779" fmla="*/ 1075935 h 6557032"/>
              <a:gd name="connsiteX19780" fmla="*/ 819979 w 4610101"/>
              <a:gd name="connsiteY19780" fmla="*/ 1081402 h 6557032"/>
              <a:gd name="connsiteX19781" fmla="*/ 823623 w 4610101"/>
              <a:gd name="connsiteY19781" fmla="*/ 1075935 h 6557032"/>
              <a:gd name="connsiteX19782" fmla="*/ 763491 w 4610101"/>
              <a:gd name="connsiteY19782" fmla="*/ 1075935 h 6557032"/>
              <a:gd name="connsiteX19783" fmla="*/ 765313 w 4610101"/>
              <a:gd name="connsiteY19783" fmla="*/ 1092335 h 6557032"/>
              <a:gd name="connsiteX19784" fmla="*/ 763491 w 4610101"/>
              <a:gd name="connsiteY19784" fmla="*/ 1075935 h 6557032"/>
              <a:gd name="connsiteX19785" fmla="*/ 490165 w 4610101"/>
              <a:gd name="connsiteY19785" fmla="*/ 1075935 h 6557032"/>
              <a:gd name="connsiteX19786" fmla="*/ 488343 w 4610101"/>
              <a:gd name="connsiteY19786" fmla="*/ 1081402 h 6557032"/>
              <a:gd name="connsiteX19787" fmla="*/ 499276 w 4610101"/>
              <a:gd name="connsiteY19787" fmla="*/ 1088690 h 6557032"/>
              <a:gd name="connsiteX19788" fmla="*/ 490165 w 4610101"/>
              <a:gd name="connsiteY19788" fmla="*/ 1075935 h 6557032"/>
              <a:gd name="connsiteX19789" fmla="*/ 318882 w 4610101"/>
              <a:gd name="connsiteY19789" fmla="*/ 1075935 h 6557032"/>
              <a:gd name="connsiteX19790" fmla="*/ 322525 w 4610101"/>
              <a:gd name="connsiteY19790" fmla="*/ 1079579 h 6557032"/>
              <a:gd name="connsiteX19791" fmla="*/ 322525 w 4610101"/>
              <a:gd name="connsiteY19791" fmla="*/ 1075935 h 6557032"/>
              <a:gd name="connsiteX19792" fmla="*/ 318882 w 4610101"/>
              <a:gd name="connsiteY19792" fmla="*/ 1075935 h 6557032"/>
              <a:gd name="connsiteX19793" fmla="*/ 302481 w 4610101"/>
              <a:gd name="connsiteY19793" fmla="*/ 1075935 h 6557032"/>
              <a:gd name="connsiteX19794" fmla="*/ 311592 w 4610101"/>
              <a:gd name="connsiteY19794" fmla="*/ 1086868 h 6557032"/>
              <a:gd name="connsiteX19795" fmla="*/ 302481 w 4610101"/>
              <a:gd name="connsiteY19795" fmla="*/ 1075935 h 6557032"/>
              <a:gd name="connsiteX19796" fmla="*/ 143952 w 4610101"/>
              <a:gd name="connsiteY19796" fmla="*/ 1075935 h 6557032"/>
              <a:gd name="connsiteX19797" fmla="*/ 160352 w 4610101"/>
              <a:gd name="connsiteY19797" fmla="*/ 1090512 h 6557032"/>
              <a:gd name="connsiteX19798" fmla="*/ 143952 w 4610101"/>
              <a:gd name="connsiteY19798" fmla="*/ 1075935 h 6557032"/>
              <a:gd name="connsiteX19799" fmla="*/ 327080 w 4610101"/>
              <a:gd name="connsiteY19799" fmla="*/ 1075479 h 6557032"/>
              <a:gd name="connsiteX19800" fmla="*/ 324347 w 4610101"/>
              <a:gd name="connsiteY19800" fmla="*/ 1075935 h 6557032"/>
              <a:gd name="connsiteX19801" fmla="*/ 329814 w 4610101"/>
              <a:gd name="connsiteY19801" fmla="*/ 1077757 h 6557032"/>
              <a:gd name="connsiteX19802" fmla="*/ 327080 w 4610101"/>
              <a:gd name="connsiteY19802" fmla="*/ 1075479 h 6557032"/>
              <a:gd name="connsiteX19803" fmla="*/ 3620660 w 4610101"/>
              <a:gd name="connsiteY19803" fmla="*/ 1074113 h 6557032"/>
              <a:gd name="connsiteX19804" fmla="*/ 3633415 w 4610101"/>
              <a:gd name="connsiteY19804" fmla="*/ 1081402 h 6557032"/>
              <a:gd name="connsiteX19805" fmla="*/ 3626127 w 4610101"/>
              <a:gd name="connsiteY19805" fmla="*/ 1077757 h 6557032"/>
              <a:gd name="connsiteX19806" fmla="*/ 3631593 w 4610101"/>
              <a:gd name="connsiteY19806" fmla="*/ 1074113 h 6557032"/>
              <a:gd name="connsiteX19807" fmla="*/ 3620660 w 4610101"/>
              <a:gd name="connsiteY19807" fmla="*/ 1074113 h 6557032"/>
              <a:gd name="connsiteX19808" fmla="*/ 3106807 w 4610101"/>
              <a:gd name="connsiteY19808" fmla="*/ 1074113 h 6557032"/>
              <a:gd name="connsiteX19809" fmla="*/ 3112274 w 4610101"/>
              <a:gd name="connsiteY19809" fmla="*/ 1083224 h 6557032"/>
              <a:gd name="connsiteX19810" fmla="*/ 3106807 w 4610101"/>
              <a:gd name="connsiteY19810" fmla="*/ 1085046 h 6557032"/>
              <a:gd name="connsiteX19811" fmla="*/ 3106807 w 4610101"/>
              <a:gd name="connsiteY19811" fmla="*/ 1074113 h 6557032"/>
              <a:gd name="connsiteX19812" fmla="*/ 2997477 w 4610101"/>
              <a:gd name="connsiteY19812" fmla="*/ 1074113 h 6557032"/>
              <a:gd name="connsiteX19813" fmla="*/ 2993832 w 4610101"/>
              <a:gd name="connsiteY19813" fmla="*/ 1075935 h 6557032"/>
              <a:gd name="connsiteX19814" fmla="*/ 2992010 w 4610101"/>
              <a:gd name="connsiteY19814" fmla="*/ 1081402 h 6557032"/>
              <a:gd name="connsiteX19815" fmla="*/ 2997477 w 4610101"/>
              <a:gd name="connsiteY19815" fmla="*/ 1083224 h 6557032"/>
              <a:gd name="connsiteX19816" fmla="*/ 2995654 w 4610101"/>
              <a:gd name="connsiteY19816" fmla="*/ 1095979 h 6557032"/>
              <a:gd name="connsiteX19817" fmla="*/ 3010232 w 4610101"/>
              <a:gd name="connsiteY19817" fmla="*/ 1086868 h 6557032"/>
              <a:gd name="connsiteX19818" fmla="*/ 3015698 w 4610101"/>
              <a:gd name="connsiteY19818" fmla="*/ 1105090 h 6557032"/>
              <a:gd name="connsiteX19819" fmla="*/ 2997477 w 4610101"/>
              <a:gd name="connsiteY19819" fmla="*/ 1074113 h 6557032"/>
              <a:gd name="connsiteX19820" fmla="*/ 2264963 w 4610101"/>
              <a:gd name="connsiteY19820" fmla="*/ 1074113 h 6557032"/>
              <a:gd name="connsiteX19821" fmla="*/ 2257674 w 4610101"/>
              <a:gd name="connsiteY19821" fmla="*/ 1077757 h 6557032"/>
              <a:gd name="connsiteX19822" fmla="*/ 2264963 w 4610101"/>
              <a:gd name="connsiteY19822" fmla="*/ 1079579 h 6557032"/>
              <a:gd name="connsiteX19823" fmla="*/ 2264963 w 4610101"/>
              <a:gd name="connsiteY19823" fmla="*/ 1074113 h 6557032"/>
              <a:gd name="connsiteX19824" fmla="*/ 1182592 w 4610101"/>
              <a:gd name="connsiteY19824" fmla="*/ 1074113 h 6557032"/>
              <a:gd name="connsiteX19825" fmla="*/ 1182592 w 4610101"/>
              <a:gd name="connsiteY19825" fmla="*/ 1083224 h 6557032"/>
              <a:gd name="connsiteX19826" fmla="*/ 1181144 w 4610101"/>
              <a:gd name="connsiteY19826" fmla="*/ 1086843 h 6557032"/>
              <a:gd name="connsiteX19827" fmla="*/ 1180769 w 4610101"/>
              <a:gd name="connsiteY19827" fmla="*/ 1086868 h 6557032"/>
              <a:gd name="connsiteX19828" fmla="*/ 1181073 w 4610101"/>
              <a:gd name="connsiteY19828" fmla="*/ 1087020 h 6557032"/>
              <a:gd name="connsiteX19829" fmla="*/ 1178947 w 4610101"/>
              <a:gd name="connsiteY19829" fmla="*/ 1092335 h 6557032"/>
              <a:gd name="connsiteX19830" fmla="*/ 1184414 w 4610101"/>
              <a:gd name="connsiteY19830" fmla="*/ 1088690 h 6557032"/>
              <a:gd name="connsiteX19831" fmla="*/ 1181073 w 4610101"/>
              <a:gd name="connsiteY19831" fmla="*/ 1087020 h 6557032"/>
              <a:gd name="connsiteX19832" fmla="*/ 1181144 w 4610101"/>
              <a:gd name="connsiteY19832" fmla="*/ 1086843 h 6557032"/>
              <a:gd name="connsiteX19833" fmla="*/ 1184186 w 4610101"/>
              <a:gd name="connsiteY19833" fmla="*/ 1086640 h 6557032"/>
              <a:gd name="connsiteX19834" fmla="*/ 1186236 w 4610101"/>
              <a:gd name="connsiteY19834" fmla="*/ 1085046 h 6557032"/>
              <a:gd name="connsiteX19835" fmla="*/ 1182592 w 4610101"/>
              <a:gd name="connsiteY19835" fmla="*/ 1083224 h 6557032"/>
              <a:gd name="connsiteX19836" fmla="*/ 1188058 w 4610101"/>
              <a:gd name="connsiteY19836" fmla="*/ 1075935 h 6557032"/>
              <a:gd name="connsiteX19837" fmla="*/ 1182592 w 4610101"/>
              <a:gd name="connsiteY19837" fmla="*/ 1074113 h 6557032"/>
              <a:gd name="connsiteX19838" fmla="*/ 1180769 w 4610101"/>
              <a:gd name="connsiteY19838" fmla="*/ 1074113 h 6557032"/>
              <a:gd name="connsiteX19839" fmla="*/ 1173481 w 4610101"/>
              <a:gd name="connsiteY19839" fmla="*/ 1077757 h 6557032"/>
              <a:gd name="connsiteX19840" fmla="*/ 1178947 w 4610101"/>
              <a:gd name="connsiteY19840" fmla="*/ 1081402 h 6557032"/>
              <a:gd name="connsiteX19841" fmla="*/ 1180769 w 4610101"/>
              <a:gd name="connsiteY19841" fmla="*/ 1074113 h 6557032"/>
              <a:gd name="connsiteX19842" fmla="*/ 1133393 w 4610101"/>
              <a:gd name="connsiteY19842" fmla="*/ 1074113 h 6557032"/>
              <a:gd name="connsiteX19843" fmla="*/ 1134310 w 4610101"/>
              <a:gd name="connsiteY19843" fmla="*/ 1074571 h 6557032"/>
              <a:gd name="connsiteX19844" fmla="*/ 1132548 w 4610101"/>
              <a:gd name="connsiteY19844" fmla="*/ 1082557 h 6557032"/>
              <a:gd name="connsiteX19845" fmla="*/ 914732 w 4610101"/>
              <a:gd name="connsiteY19845" fmla="*/ 1074113 h 6557032"/>
              <a:gd name="connsiteX19846" fmla="*/ 896510 w 4610101"/>
              <a:gd name="connsiteY19846" fmla="*/ 1085046 h 6557032"/>
              <a:gd name="connsiteX19847" fmla="*/ 894688 w 4610101"/>
              <a:gd name="connsiteY19847" fmla="*/ 1088690 h 6557032"/>
              <a:gd name="connsiteX19848" fmla="*/ 920198 w 4610101"/>
              <a:gd name="connsiteY19848" fmla="*/ 1116023 h 6557032"/>
              <a:gd name="connsiteX19849" fmla="*/ 923843 w 4610101"/>
              <a:gd name="connsiteY19849" fmla="*/ 1114201 h 6557032"/>
              <a:gd name="connsiteX19850" fmla="*/ 922020 w 4610101"/>
              <a:gd name="connsiteY19850" fmla="*/ 1110556 h 6557032"/>
              <a:gd name="connsiteX19851" fmla="*/ 920198 w 4610101"/>
              <a:gd name="connsiteY19851" fmla="*/ 1116023 h 6557032"/>
              <a:gd name="connsiteX19852" fmla="*/ 911087 w 4610101"/>
              <a:gd name="connsiteY19852" fmla="*/ 1108734 h 6557032"/>
              <a:gd name="connsiteX19853" fmla="*/ 916555 w 4610101"/>
              <a:gd name="connsiteY19853" fmla="*/ 1112378 h 6557032"/>
              <a:gd name="connsiteX19854" fmla="*/ 918376 w 4610101"/>
              <a:gd name="connsiteY19854" fmla="*/ 1108734 h 6557032"/>
              <a:gd name="connsiteX19855" fmla="*/ 920198 w 4610101"/>
              <a:gd name="connsiteY19855" fmla="*/ 1110556 h 6557032"/>
              <a:gd name="connsiteX19856" fmla="*/ 920198 w 4610101"/>
              <a:gd name="connsiteY19856" fmla="*/ 1106912 h 6557032"/>
              <a:gd name="connsiteX19857" fmla="*/ 918376 w 4610101"/>
              <a:gd name="connsiteY19857" fmla="*/ 1106912 h 6557032"/>
              <a:gd name="connsiteX19858" fmla="*/ 903799 w 4610101"/>
              <a:gd name="connsiteY19858" fmla="*/ 1094157 h 6557032"/>
              <a:gd name="connsiteX19859" fmla="*/ 914732 w 4610101"/>
              <a:gd name="connsiteY19859" fmla="*/ 1090512 h 6557032"/>
              <a:gd name="connsiteX19860" fmla="*/ 911087 w 4610101"/>
              <a:gd name="connsiteY19860" fmla="*/ 1092335 h 6557032"/>
              <a:gd name="connsiteX19861" fmla="*/ 909265 w 4610101"/>
              <a:gd name="connsiteY19861" fmla="*/ 1083224 h 6557032"/>
              <a:gd name="connsiteX19862" fmla="*/ 914732 w 4610101"/>
              <a:gd name="connsiteY19862" fmla="*/ 1086868 h 6557032"/>
              <a:gd name="connsiteX19863" fmla="*/ 912909 w 4610101"/>
              <a:gd name="connsiteY19863" fmla="*/ 1083224 h 6557032"/>
              <a:gd name="connsiteX19864" fmla="*/ 914732 w 4610101"/>
              <a:gd name="connsiteY19864" fmla="*/ 1079579 h 6557032"/>
              <a:gd name="connsiteX19865" fmla="*/ 918376 w 4610101"/>
              <a:gd name="connsiteY19865" fmla="*/ 1088690 h 6557032"/>
              <a:gd name="connsiteX19866" fmla="*/ 918376 w 4610101"/>
              <a:gd name="connsiteY19866" fmla="*/ 1097801 h 6557032"/>
              <a:gd name="connsiteX19867" fmla="*/ 925666 w 4610101"/>
              <a:gd name="connsiteY19867" fmla="*/ 1101445 h 6557032"/>
              <a:gd name="connsiteX19868" fmla="*/ 918376 w 4610101"/>
              <a:gd name="connsiteY19868" fmla="*/ 1092335 h 6557032"/>
              <a:gd name="connsiteX19869" fmla="*/ 923843 w 4610101"/>
              <a:gd name="connsiteY19869" fmla="*/ 1094157 h 6557032"/>
              <a:gd name="connsiteX19870" fmla="*/ 914732 w 4610101"/>
              <a:gd name="connsiteY19870" fmla="*/ 1074113 h 6557032"/>
              <a:gd name="connsiteX19871" fmla="*/ 832734 w 4610101"/>
              <a:gd name="connsiteY19871" fmla="*/ 1074113 h 6557032"/>
              <a:gd name="connsiteX19872" fmla="*/ 836378 w 4610101"/>
              <a:gd name="connsiteY19872" fmla="*/ 1079579 h 6557032"/>
              <a:gd name="connsiteX19873" fmla="*/ 832734 w 4610101"/>
              <a:gd name="connsiteY19873" fmla="*/ 1074113 h 6557032"/>
              <a:gd name="connsiteX19874" fmla="*/ 393590 w 4610101"/>
              <a:gd name="connsiteY19874" fmla="*/ 1074113 h 6557032"/>
              <a:gd name="connsiteX19875" fmla="*/ 397234 w 4610101"/>
              <a:gd name="connsiteY19875" fmla="*/ 1074113 h 6557032"/>
              <a:gd name="connsiteX19876" fmla="*/ 393590 w 4610101"/>
              <a:gd name="connsiteY19876" fmla="*/ 1074113 h 6557032"/>
              <a:gd name="connsiteX19877" fmla="*/ 213195 w 4610101"/>
              <a:gd name="connsiteY19877" fmla="*/ 1074113 h 6557032"/>
              <a:gd name="connsiteX19878" fmla="*/ 222306 w 4610101"/>
              <a:gd name="connsiteY19878" fmla="*/ 1081402 h 6557032"/>
              <a:gd name="connsiteX19879" fmla="*/ 213195 w 4610101"/>
              <a:gd name="connsiteY19879" fmla="*/ 1074113 h 6557032"/>
              <a:gd name="connsiteX19880" fmla="*/ 145774 w 4610101"/>
              <a:gd name="connsiteY19880" fmla="*/ 1074113 h 6557032"/>
              <a:gd name="connsiteX19881" fmla="*/ 154885 w 4610101"/>
              <a:gd name="connsiteY19881" fmla="*/ 1083224 h 6557032"/>
              <a:gd name="connsiteX19882" fmla="*/ 145774 w 4610101"/>
              <a:gd name="connsiteY19882" fmla="*/ 1074113 h 6557032"/>
              <a:gd name="connsiteX19883" fmla="*/ 1134762 w 4610101"/>
              <a:gd name="connsiteY19883" fmla="*/ 1072522 h 6557032"/>
              <a:gd name="connsiteX19884" fmla="*/ 1136228 w 4610101"/>
              <a:gd name="connsiteY19884" fmla="*/ 1074720 h 6557032"/>
              <a:gd name="connsiteX19885" fmla="*/ 1136374 w 4610101"/>
              <a:gd name="connsiteY19885" fmla="*/ 1075604 h 6557032"/>
              <a:gd name="connsiteX19886" fmla="*/ 1134310 w 4610101"/>
              <a:gd name="connsiteY19886" fmla="*/ 1074571 h 6557032"/>
              <a:gd name="connsiteX19887" fmla="*/ 1195346 w 4610101"/>
              <a:gd name="connsiteY19887" fmla="*/ 1072291 h 6557032"/>
              <a:gd name="connsiteX19888" fmla="*/ 1189880 w 4610101"/>
              <a:gd name="connsiteY19888" fmla="*/ 1074113 h 6557032"/>
              <a:gd name="connsiteX19889" fmla="*/ 1195346 w 4610101"/>
              <a:gd name="connsiteY19889" fmla="*/ 1072291 h 6557032"/>
              <a:gd name="connsiteX19890" fmla="*/ 1177125 w 4610101"/>
              <a:gd name="connsiteY19890" fmla="*/ 1072291 h 6557032"/>
              <a:gd name="connsiteX19891" fmla="*/ 1173481 w 4610101"/>
              <a:gd name="connsiteY19891" fmla="*/ 1074113 h 6557032"/>
              <a:gd name="connsiteX19892" fmla="*/ 1177125 w 4610101"/>
              <a:gd name="connsiteY19892" fmla="*/ 1072291 h 6557032"/>
              <a:gd name="connsiteX19893" fmla="*/ 1075083 w 4610101"/>
              <a:gd name="connsiteY19893" fmla="*/ 1072291 h 6557032"/>
              <a:gd name="connsiteX19894" fmla="*/ 1075083 w 4610101"/>
              <a:gd name="connsiteY19894" fmla="*/ 1075935 h 6557032"/>
              <a:gd name="connsiteX19895" fmla="*/ 1078727 w 4610101"/>
              <a:gd name="connsiteY19895" fmla="*/ 1074113 h 6557032"/>
              <a:gd name="connsiteX19896" fmla="*/ 1075083 w 4610101"/>
              <a:gd name="connsiteY19896" fmla="*/ 1072291 h 6557032"/>
              <a:gd name="connsiteX19897" fmla="*/ 1053217 w 4610101"/>
              <a:gd name="connsiteY19897" fmla="*/ 1072291 h 6557032"/>
              <a:gd name="connsiteX19898" fmla="*/ 1060506 w 4610101"/>
              <a:gd name="connsiteY19898" fmla="*/ 1081402 h 6557032"/>
              <a:gd name="connsiteX19899" fmla="*/ 1053217 w 4610101"/>
              <a:gd name="connsiteY19899" fmla="*/ 1072291 h 6557032"/>
              <a:gd name="connsiteX19900" fmla="*/ 936598 w 4610101"/>
              <a:gd name="connsiteY19900" fmla="*/ 1072291 h 6557032"/>
              <a:gd name="connsiteX19901" fmla="*/ 934777 w 4610101"/>
              <a:gd name="connsiteY19901" fmla="*/ 1088690 h 6557032"/>
              <a:gd name="connsiteX19902" fmla="*/ 936598 w 4610101"/>
              <a:gd name="connsiteY19902" fmla="*/ 1072291 h 6557032"/>
              <a:gd name="connsiteX19903" fmla="*/ 495632 w 4610101"/>
              <a:gd name="connsiteY19903" fmla="*/ 1072291 h 6557032"/>
              <a:gd name="connsiteX19904" fmla="*/ 515676 w 4610101"/>
              <a:gd name="connsiteY19904" fmla="*/ 1099623 h 6557032"/>
              <a:gd name="connsiteX19905" fmla="*/ 517498 w 4610101"/>
              <a:gd name="connsiteY19905" fmla="*/ 1094157 h 6557032"/>
              <a:gd name="connsiteX19906" fmla="*/ 519320 w 4610101"/>
              <a:gd name="connsiteY19906" fmla="*/ 1094157 h 6557032"/>
              <a:gd name="connsiteX19907" fmla="*/ 524786 w 4610101"/>
              <a:gd name="connsiteY19907" fmla="*/ 1099623 h 6557032"/>
              <a:gd name="connsiteX19908" fmla="*/ 504743 w 4610101"/>
              <a:gd name="connsiteY19908" fmla="*/ 1079579 h 6557032"/>
              <a:gd name="connsiteX19909" fmla="*/ 512031 w 4610101"/>
              <a:gd name="connsiteY19909" fmla="*/ 1079579 h 6557032"/>
              <a:gd name="connsiteX19910" fmla="*/ 495632 w 4610101"/>
              <a:gd name="connsiteY19910" fmla="*/ 1072291 h 6557032"/>
              <a:gd name="connsiteX19911" fmla="*/ 431856 w 4610101"/>
              <a:gd name="connsiteY19911" fmla="*/ 1072291 h 6557032"/>
              <a:gd name="connsiteX19912" fmla="*/ 453722 w 4610101"/>
              <a:gd name="connsiteY19912" fmla="*/ 1088690 h 6557032"/>
              <a:gd name="connsiteX19913" fmla="*/ 431856 w 4610101"/>
              <a:gd name="connsiteY19913" fmla="*/ 1072291 h 6557032"/>
              <a:gd name="connsiteX19914" fmla="*/ 1009485 w 4610101"/>
              <a:gd name="connsiteY19914" fmla="*/ 1072063 h 6557032"/>
              <a:gd name="connsiteX19915" fmla="*/ 1005840 w 4610101"/>
              <a:gd name="connsiteY19915" fmla="*/ 1075935 h 6557032"/>
              <a:gd name="connsiteX19916" fmla="*/ 1013129 w 4610101"/>
              <a:gd name="connsiteY19916" fmla="*/ 1072291 h 6557032"/>
              <a:gd name="connsiteX19917" fmla="*/ 1009485 w 4610101"/>
              <a:gd name="connsiteY19917" fmla="*/ 1072063 h 6557032"/>
              <a:gd name="connsiteX19918" fmla="*/ 3567817 w 4610101"/>
              <a:gd name="connsiteY19918" fmla="*/ 1070469 h 6557032"/>
              <a:gd name="connsiteX19919" fmla="*/ 3575106 w 4610101"/>
              <a:gd name="connsiteY19919" fmla="*/ 1075935 h 6557032"/>
              <a:gd name="connsiteX19920" fmla="*/ 3567817 w 4610101"/>
              <a:gd name="connsiteY19920" fmla="*/ 1070469 h 6557032"/>
              <a:gd name="connsiteX19921" fmla="*/ 2233986 w 4610101"/>
              <a:gd name="connsiteY19921" fmla="*/ 1070469 h 6557032"/>
              <a:gd name="connsiteX19922" fmla="*/ 2235283 w 4610101"/>
              <a:gd name="connsiteY19922" fmla="*/ 1070665 h 6557032"/>
              <a:gd name="connsiteX19923" fmla="*/ 2233274 w 4610101"/>
              <a:gd name="connsiteY19923" fmla="*/ 1071418 h 6557032"/>
              <a:gd name="connsiteX19924" fmla="*/ 1133393 w 4610101"/>
              <a:gd name="connsiteY19924" fmla="*/ 1070469 h 6557032"/>
              <a:gd name="connsiteX19925" fmla="*/ 1135215 w 4610101"/>
              <a:gd name="connsiteY19925" fmla="*/ 1070469 h 6557032"/>
              <a:gd name="connsiteX19926" fmla="*/ 1134762 w 4610101"/>
              <a:gd name="connsiteY19926" fmla="*/ 1072522 h 6557032"/>
              <a:gd name="connsiteX19927" fmla="*/ 889222 w 4610101"/>
              <a:gd name="connsiteY19927" fmla="*/ 1070469 h 6557032"/>
              <a:gd name="connsiteX19928" fmla="*/ 885577 w 4610101"/>
              <a:gd name="connsiteY19928" fmla="*/ 1079579 h 6557032"/>
              <a:gd name="connsiteX19929" fmla="*/ 889222 w 4610101"/>
              <a:gd name="connsiteY19929" fmla="*/ 1070469 h 6557032"/>
              <a:gd name="connsiteX19930" fmla="*/ 834556 w 4610101"/>
              <a:gd name="connsiteY19930" fmla="*/ 1070469 h 6557032"/>
              <a:gd name="connsiteX19931" fmla="*/ 841845 w 4610101"/>
              <a:gd name="connsiteY19931" fmla="*/ 1086868 h 6557032"/>
              <a:gd name="connsiteX19932" fmla="*/ 842909 w 4610101"/>
              <a:gd name="connsiteY19932" fmla="*/ 1083084 h 6557032"/>
              <a:gd name="connsiteX19933" fmla="*/ 850956 w 4610101"/>
              <a:gd name="connsiteY19933" fmla="*/ 1090512 h 6557032"/>
              <a:gd name="connsiteX19934" fmla="*/ 847311 w 4610101"/>
              <a:gd name="connsiteY19934" fmla="*/ 1086868 h 6557032"/>
              <a:gd name="connsiteX19935" fmla="*/ 849133 w 4610101"/>
              <a:gd name="connsiteY19935" fmla="*/ 1077757 h 6557032"/>
              <a:gd name="connsiteX19936" fmla="*/ 854600 w 4610101"/>
              <a:gd name="connsiteY19936" fmla="*/ 1086868 h 6557032"/>
              <a:gd name="connsiteX19937" fmla="*/ 845489 w 4610101"/>
              <a:gd name="connsiteY19937" fmla="*/ 1074113 h 6557032"/>
              <a:gd name="connsiteX19938" fmla="*/ 843619 w 4610101"/>
              <a:gd name="connsiteY19938" fmla="*/ 1078600 h 6557032"/>
              <a:gd name="connsiteX19939" fmla="*/ 841845 w 4610101"/>
              <a:gd name="connsiteY19939" fmla="*/ 1072291 h 6557032"/>
              <a:gd name="connsiteX19940" fmla="*/ 834556 w 4610101"/>
              <a:gd name="connsiteY19940" fmla="*/ 1070469 h 6557032"/>
              <a:gd name="connsiteX19941" fmla="*/ 830912 w 4610101"/>
              <a:gd name="connsiteY19941" fmla="*/ 1070469 h 6557032"/>
              <a:gd name="connsiteX19942" fmla="*/ 827267 w 4610101"/>
              <a:gd name="connsiteY19942" fmla="*/ 1075935 h 6557032"/>
              <a:gd name="connsiteX19943" fmla="*/ 830912 w 4610101"/>
              <a:gd name="connsiteY19943" fmla="*/ 1077757 h 6557032"/>
              <a:gd name="connsiteX19944" fmla="*/ 830912 w 4610101"/>
              <a:gd name="connsiteY19944" fmla="*/ 1070469 h 6557032"/>
              <a:gd name="connsiteX19945" fmla="*/ 739803 w 4610101"/>
              <a:gd name="connsiteY19945" fmla="*/ 1070469 h 6557032"/>
              <a:gd name="connsiteX19946" fmla="*/ 747092 w 4610101"/>
              <a:gd name="connsiteY19946" fmla="*/ 1086868 h 6557032"/>
              <a:gd name="connsiteX19947" fmla="*/ 745269 w 4610101"/>
              <a:gd name="connsiteY19947" fmla="*/ 1072291 h 6557032"/>
              <a:gd name="connsiteX19948" fmla="*/ 739803 w 4610101"/>
              <a:gd name="connsiteY19948" fmla="*/ 1070469 h 6557032"/>
              <a:gd name="connsiteX19949" fmla="*/ 570341 w 4610101"/>
              <a:gd name="connsiteY19949" fmla="*/ 1070469 h 6557032"/>
              <a:gd name="connsiteX19950" fmla="*/ 579452 w 4610101"/>
              <a:gd name="connsiteY19950" fmla="*/ 1075935 h 6557032"/>
              <a:gd name="connsiteX19951" fmla="*/ 573985 w 4610101"/>
              <a:gd name="connsiteY19951" fmla="*/ 1070469 h 6557032"/>
              <a:gd name="connsiteX19952" fmla="*/ 570341 w 4610101"/>
              <a:gd name="connsiteY19952" fmla="*/ 1070469 h 6557032"/>
              <a:gd name="connsiteX19953" fmla="*/ 386301 w 4610101"/>
              <a:gd name="connsiteY19953" fmla="*/ 1070469 h 6557032"/>
              <a:gd name="connsiteX19954" fmla="*/ 380835 w 4610101"/>
              <a:gd name="connsiteY19954" fmla="*/ 1072291 h 6557032"/>
              <a:gd name="connsiteX19955" fmla="*/ 386301 w 4610101"/>
              <a:gd name="connsiteY19955" fmla="*/ 1070469 h 6557032"/>
              <a:gd name="connsiteX19956" fmla="*/ 258749 w 4610101"/>
              <a:gd name="connsiteY19956" fmla="*/ 1070469 h 6557032"/>
              <a:gd name="connsiteX19957" fmla="*/ 269682 w 4610101"/>
              <a:gd name="connsiteY19957" fmla="*/ 1079579 h 6557032"/>
              <a:gd name="connsiteX19958" fmla="*/ 258749 w 4610101"/>
              <a:gd name="connsiteY19958" fmla="*/ 1070469 h 6557032"/>
              <a:gd name="connsiteX19959" fmla="*/ 204084 w 4610101"/>
              <a:gd name="connsiteY19959" fmla="*/ 1070469 h 6557032"/>
              <a:gd name="connsiteX19960" fmla="*/ 209550 w 4610101"/>
              <a:gd name="connsiteY19960" fmla="*/ 1074113 h 6557032"/>
              <a:gd name="connsiteX19961" fmla="*/ 204084 w 4610101"/>
              <a:gd name="connsiteY19961" fmla="*/ 1070469 h 6557032"/>
              <a:gd name="connsiteX19962" fmla="*/ 1096949 w 4610101"/>
              <a:gd name="connsiteY19962" fmla="*/ 1070468 h 6557032"/>
              <a:gd name="connsiteX19963" fmla="*/ 1087838 w 4610101"/>
              <a:gd name="connsiteY19963" fmla="*/ 1075935 h 6557032"/>
              <a:gd name="connsiteX19964" fmla="*/ 1087838 w 4610101"/>
              <a:gd name="connsiteY19964" fmla="*/ 1079579 h 6557032"/>
              <a:gd name="connsiteX19965" fmla="*/ 1089660 w 4610101"/>
              <a:gd name="connsiteY19965" fmla="*/ 1075935 h 6557032"/>
              <a:gd name="connsiteX19966" fmla="*/ 1093305 w 4610101"/>
              <a:gd name="connsiteY19966" fmla="*/ 1079579 h 6557032"/>
              <a:gd name="connsiteX19967" fmla="*/ 1093305 w 4610101"/>
              <a:gd name="connsiteY19967" fmla="*/ 1075935 h 6557032"/>
              <a:gd name="connsiteX19968" fmla="*/ 1095127 w 4610101"/>
              <a:gd name="connsiteY19968" fmla="*/ 1081402 h 6557032"/>
              <a:gd name="connsiteX19969" fmla="*/ 1106060 w 4610101"/>
              <a:gd name="connsiteY19969" fmla="*/ 1075935 h 6557032"/>
              <a:gd name="connsiteX19970" fmla="*/ 1106060 w 4610101"/>
              <a:gd name="connsiteY19970" fmla="*/ 1070469 h 6557032"/>
              <a:gd name="connsiteX19971" fmla="*/ 1096949 w 4610101"/>
              <a:gd name="connsiteY19971" fmla="*/ 1070468 h 6557032"/>
              <a:gd name="connsiteX19972" fmla="*/ 2343487 w 4610101"/>
              <a:gd name="connsiteY19972" fmla="*/ 1069643 h 6557032"/>
              <a:gd name="connsiteX19973" fmla="*/ 2337850 w 4610101"/>
              <a:gd name="connsiteY19973" fmla="*/ 1083224 h 6557032"/>
              <a:gd name="connsiteX19974" fmla="*/ 2363360 w 4610101"/>
              <a:gd name="connsiteY19974" fmla="*/ 1103268 h 6557032"/>
              <a:gd name="connsiteX19975" fmla="*/ 2365182 w 4610101"/>
              <a:gd name="connsiteY19975" fmla="*/ 1101445 h 6557032"/>
              <a:gd name="connsiteX19976" fmla="*/ 2365182 w 4610101"/>
              <a:gd name="connsiteY19976" fmla="*/ 1103268 h 6557032"/>
              <a:gd name="connsiteX19977" fmla="*/ 2388871 w 4610101"/>
              <a:gd name="connsiteY19977" fmla="*/ 1094157 h 6557032"/>
              <a:gd name="connsiteX19978" fmla="*/ 2383404 w 4610101"/>
              <a:gd name="connsiteY19978" fmla="*/ 1074113 h 6557032"/>
              <a:gd name="connsiteX19979" fmla="*/ 2381582 w 4610101"/>
              <a:gd name="connsiteY19979" fmla="*/ 1081402 h 6557032"/>
              <a:gd name="connsiteX19980" fmla="*/ 2367004 w 4610101"/>
              <a:gd name="connsiteY19980" fmla="*/ 1079579 h 6557032"/>
              <a:gd name="connsiteX19981" fmla="*/ 2367004 w 4610101"/>
              <a:gd name="connsiteY19981" fmla="*/ 1083224 h 6557032"/>
              <a:gd name="connsiteX19982" fmla="*/ 2359716 w 4610101"/>
              <a:gd name="connsiteY19982" fmla="*/ 1075935 h 6557032"/>
              <a:gd name="connsiteX19983" fmla="*/ 2346960 w 4610101"/>
              <a:gd name="connsiteY19983" fmla="*/ 1077757 h 6557032"/>
              <a:gd name="connsiteX19984" fmla="*/ 2348782 w 4610101"/>
              <a:gd name="connsiteY19984" fmla="*/ 1070469 h 6557032"/>
              <a:gd name="connsiteX19985" fmla="*/ 2343487 w 4610101"/>
              <a:gd name="connsiteY19985" fmla="*/ 1069643 h 6557032"/>
              <a:gd name="connsiteX19986" fmla="*/ 2317806 w 4610101"/>
              <a:gd name="connsiteY19986" fmla="*/ 1068646 h 6557032"/>
              <a:gd name="connsiteX19987" fmla="*/ 2321450 w 4610101"/>
              <a:gd name="connsiteY19987" fmla="*/ 1075935 h 6557032"/>
              <a:gd name="connsiteX19988" fmla="*/ 2321450 w 4610101"/>
              <a:gd name="connsiteY19988" fmla="*/ 1068646 h 6557032"/>
              <a:gd name="connsiteX19989" fmla="*/ 2317806 w 4610101"/>
              <a:gd name="connsiteY19989" fmla="*/ 1068646 h 6557032"/>
              <a:gd name="connsiteX19990" fmla="*/ 1162547 w 4610101"/>
              <a:gd name="connsiteY19990" fmla="*/ 1068646 h 6557032"/>
              <a:gd name="connsiteX19991" fmla="*/ 1157081 w 4610101"/>
              <a:gd name="connsiteY19991" fmla="*/ 1077757 h 6557032"/>
              <a:gd name="connsiteX19992" fmla="*/ 1166192 w 4610101"/>
              <a:gd name="connsiteY19992" fmla="*/ 1070469 h 6557032"/>
              <a:gd name="connsiteX19993" fmla="*/ 1162547 w 4610101"/>
              <a:gd name="connsiteY19993" fmla="*/ 1068646 h 6557032"/>
              <a:gd name="connsiteX19994" fmla="*/ 1113349 w 4610101"/>
              <a:gd name="connsiteY19994" fmla="*/ 1068646 h 6557032"/>
              <a:gd name="connsiteX19995" fmla="*/ 1121509 w 4610101"/>
              <a:gd name="connsiteY19995" fmla="*/ 1073379 h 6557032"/>
              <a:gd name="connsiteX19996" fmla="*/ 1120637 w 4610101"/>
              <a:gd name="connsiteY19996" fmla="*/ 1074113 h 6557032"/>
              <a:gd name="connsiteX19997" fmla="*/ 1113349 w 4610101"/>
              <a:gd name="connsiteY19997" fmla="*/ 1068646 h 6557032"/>
              <a:gd name="connsiteX19998" fmla="*/ 1065972 w 4610101"/>
              <a:gd name="connsiteY19998" fmla="*/ 1068646 h 6557032"/>
              <a:gd name="connsiteX19999" fmla="*/ 1064151 w 4610101"/>
              <a:gd name="connsiteY19999" fmla="*/ 1075935 h 6557032"/>
              <a:gd name="connsiteX20000" fmla="*/ 1071439 w 4610101"/>
              <a:gd name="connsiteY20000" fmla="*/ 1077757 h 6557032"/>
              <a:gd name="connsiteX20001" fmla="*/ 1071439 w 4610101"/>
              <a:gd name="connsiteY20001" fmla="*/ 1070469 h 6557032"/>
              <a:gd name="connsiteX20002" fmla="*/ 1065972 w 4610101"/>
              <a:gd name="connsiteY20002" fmla="*/ 1068646 h 6557032"/>
              <a:gd name="connsiteX20003" fmla="*/ 1060506 w 4610101"/>
              <a:gd name="connsiteY20003" fmla="*/ 1068646 h 6557032"/>
              <a:gd name="connsiteX20004" fmla="*/ 1055040 w 4610101"/>
              <a:gd name="connsiteY20004" fmla="*/ 1070469 h 6557032"/>
              <a:gd name="connsiteX20005" fmla="*/ 1060506 w 4610101"/>
              <a:gd name="connsiteY20005" fmla="*/ 1074113 h 6557032"/>
              <a:gd name="connsiteX20006" fmla="*/ 1060506 w 4610101"/>
              <a:gd name="connsiteY20006" fmla="*/ 1068646 h 6557032"/>
              <a:gd name="connsiteX20007" fmla="*/ 776246 w 4610101"/>
              <a:gd name="connsiteY20007" fmla="*/ 1068646 h 6557032"/>
              <a:gd name="connsiteX20008" fmla="*/ 783535 w 4610101"/>
              <a:gd name="connsiteY20008" fmla="*/ 1081402 h 6557032"/>
              <a:gd name="connsiteX20009" fmla="*/ 787179 w 4610101"/>
              <a:gd name="connsiteY20009" fmla="*/ 1077757 h 6557032"/>
              <a:gd name="connsiteX20010" fmla="*/ 789003 w 4610101"/>
              <a:gd name="connsiteY20010" fmla="*/ 1072291 h 6557032"/>
              <a:gd name="connsiteX20011" fmla="*/ 783535 w 4610101"/>
              <a:gd name="connsiteY20011" fmla="*/ 1072291 h 6557032"/>
              <a:gd name="connsiteX20012" fmla="*/ 787179 w 4610101"/>
              <a:gd name="connsiteY20012" fmla="*/ 1077757 h 6557032"/>
              <a:gd name="connsiteX20013" fmla="*/ 776246 w 4610101"/>
              <a:gd name="connsiteY20013" fmla="*/ 1068646 h 6557032"/>
              <a:gd name="connsiteX20014" fmla="*/ 541414 w 4610101"/>
              <a:gd name="connsiteY20014" fmla="*/ 1068646 h 6557032"/>
              <a:gd name="connsiteX20015" fmla="*/ 537542 w 4610101"/>
              <a:gd name="connsiteY20015" fmla="*/ 1070469 h 6557032"/>
              <a:gd name="connsiteX20016" fmla="*/ 548475 w 4610101"/>
              <a:gd name="connsiteY20016" fmla="*/ 1081402 h 6557032"/>
              <a:gd name="connsiteX20017" fmla="*/ 550297 w 4610101"/>
              <a:gd name="connsiteY20017" fmla="*/ 1077757 h 6557032"/>
              <a:gd name="connsiteX20018" fmla="*/ 541186 w 4610101"/>
              <a:gd name="connsiteY20018" fmla="*/ 1075935 h 6557032"/>
              <a:gd name="connsiteX20019" fmla="*/ 546653 w 4610101"/>
              <a:gd name="connsiteY20019" fmla="*/ 1075935 h 6557032"/>
              <a:gd name="connsiteX20020" fmla="*/ 541186 w 4610101"/>
              <a:gd name="connsiteY20020" fmla="*/ 1072291 h 6557032"/>
              <a:gd name="connsiteX20021" fmla="*/ 546653 w 4610101"/>
              <a:gd name="connsiteY20021" fmla="*/ 1072291 h 6557032"/>
              <a:gd name="connsiteX20022" fmla="*/ 541414 w 4610101"/>
              <a:gd name="connsiteY20022" fmla="*/ 1068646 h 6557032"/>
              <a:gd name="connsiteX20023" fmla="*/ 2459935 w 4610101"/>
              <a:gd name="connsiteY20023" fmla="*/ 1066824 h 6557032"/>
              <a:gd name="connsiteX20024" fmla="*/ 2454469 w 4610101"/>
              <a:gd name="connsiteY20024" fmla="*/ 1068646 h 6557032"/>
              <a:gd name="connsiteX20025" fmla="*/ 2449002 w 4610101"/>
              <a:gd name="connsiteY20025" fmla="*/ 1081402 h 6557032"/>
              <a:gd name="connsiteX20026" fmla="*/ 2489090 w 4610101"/>
              <a:gd name="connsiteY20026" fmla="*/ 1099623 h 6557032"/>
              <a:gd name="connsiteX20027" fmla="*/ 2481801 w 4610101"/>
              <a:gd name="connsiteY20027" fmla="*/ 1095979 h 6557032"/>
              <a:gd name="connsiteX20028" fmla="*/ 2469046 w 4610101"/>
              <a:gd name="connsiteY20028" fmla="*/ 1074113 h 6557032"/>
              <a:gd name="connsiteX20029" fmla="*/ 2465402 w 4610101"/>
              <a:gd name="connsiteY20029" fmla="*/ 1081402 h 6557032"/>
              <a:gd name="connsiteX20030" fmla="*/ 2461757 w 4610101"/>
              <a:gd name="connsiteY20030" fmla="*/ 1081402 h 6557032"/>
              <a:gd name="connsiteX20031" fmla="*/ 2459935 w 4610101"/>
              <a:gd name="connsiteY20031" fmla="*/ 1066824 h 6557032"/>
              <a:gd name="connsiteX20032" fmla="*/ 1153436 w 4610101"/>
              <a:gd name="connsiteY20032" fmla="*/ 1066824 h 6557032"/>
              <a:gd name="connsiteX20033" fmla="*/ 1147970 w 4610101"/>
              <a:gd name="connsiteY20033" fmla="*/ 1068646 h 6557032"/>
              <a:gd name="connsiteX20034" fmla="*/ 1149792 w 4610101"/>
              <a:gd name="connsiteY20034" fmla="*/ 1072291 h 6557032"/>
              <a:gd name="connsiteX20035" fmla="*/ 1151614 w 4610101"/>
              <a:gd name="connsiteY20035" fmla="*/ 1068646 h 6557032"/>
              <a:gd name="connsiteX20036" fmla="*/ 1147970 w 4610101"/>
              <a:gd name="connsiteY20036" fmla="*/ 1077757 h 6557032"/>
              <a:gd name="connsiteX20037" fmla="*/ 1153436 w 4610101"/>
              <a:gd name="connsiteY20037" fmla="*/ 1074113 h 6557032"/>
              <a:gd name="connsiteX20038" fmla="*/ 1153436 w 4610101"/>
              <a:gd name="connsiteY20038" fmla="*/ 1066824 h 6557032"/>
              <a:gd name="connsiteX20039" fmla="*/ 1144326 w 4610101"/>
              <a:gd name="connsiteY20039" fmla="*/ 1066824 h 6557032"/>
              <a:gd name="connsiteX20040" fmla="*/ 1142503 w 4610101"/>
              <a:gd name="connsiteY20040" fmla="*/ 1072291 h 6557032"/>
              <a:gd name="connsiteX20041" fmla="*/ 1147970 w 4610101"/>
              <a:gd name="connsiteY20041" fmla="*/ 1074113 h 6557032"/>
              <a:gd name="connsiteX20042" fmla="*/ 1144326 w 4610101"/>
              <a:gd name="connsiteY20042" fmla="*/ 1066824 h 6557032"/>
              <a:gd name="connsiteX20043" fmla="*/ 1113349 w 4610101"/>
              <a:gd name="connsiteY20043" fmla="*/ 1066824 h 6557032"/>
              <a:gd name="connsiteX20044" fmla="*/ 1113349 w 4610101"/>
              <a:gd name="connsiteY20044" fmla="*/ 1068646 h 6557032"/>
              <a:gd name="connsiteX20045" fmla="*/ 1107882 w 4610101"/>
              <a:gd name="connsiteY20045" fmla="*/ 1085046 h 6557032"/>
              <a:gd name="connsiteX20046" fmla="*/ 1106060 w 4610101"/>
              <a:gd name="connsiteY20046" fmla="*/ 1079579 h 6557032"/>
              <a:gd name="connsiteX20047" fmla="*/ 1102416 w 4610101"/>
              <a:gd name="connsiteY20047" fmla="*/ 1081402 h 6557032"/>
              <a:gd name="connsiteX20048" fmla="*/ 1111526 w 4610101"/>
              <a:gd name="connsiteY20048" fmla="*/ 1090512 h 6557032"/>
              <a:gd name="connsiteX20049" fmla="*/ 1116993 w 4610101"/>
              <a:gd name="connsiteY20049" fmla="*/ 1085046 h 6557032"/>
              <a:gd name="connsiteX20050" fmla="*/ 1113349 w 4610101"/>
              <a:gd name="connsiteY20050" fmla="*/ 1092335 h 6557032"/>
              <a:gd name="connsiteX20051" fmla="*/ 1115171 w 4610101"/>
              <a:gd name="connsiteY20051" fmla="*/ 1095979 h 6557032"/>
              <a:gd name="connsiteX20052" fmla="*/ 1122459 w 4610101"/>
              <a:gd name="connsiteY20052" fmla="*/ 1097801 h 6557032"/>
              <a:gd name="connsiteX20053" fmla="*/ 1115171 w 4610101"/>
              <a:gd name="connsiteY20053" fmla="*/ 1095979 h 6557032"/>
              <a:gd name="connsiteX20054" fmla="*/ 1120637 w 4610101"/>
              <a:gd name="connsiteY20054" fmla="*/ 1092335 h 6557032"/>
              <a:gd name="connsiteX20055" fmla="*/ 1126104 w 4610101"/>
              <a:gd name="connsiteY20055" fmla="*/ 1097801 h 6557032"/>
              <a:gd name="connsiteX20056" fmla="*/ 1122459 w 4610101"/>
              <a:gd name="connsiteY20056" fmla="*/ 1099623 h 6557032"/>
              <a:gd name="connsiteX20057" fmla="*/ 1129748 w 4610101"/>
              <a:gd name="connsiteY20057" fmla="*/ 1101445 h 6557032"/>
              <a:gd name="connsiteX20058" fmla="*/ 1131798 w 4610101"/>
              <a:gd name="connsiteY20058" fmla="*/ 1085957 h 6557032"/>
              <a:gd name="connsiteX20059" fmla="*/ 1132548 w 4610101"/>
              <a:gd name="connsiteY20059" fmla="*/ 1082557 h 6557032"/>
              <a:gd name="connsiteX20060" fmla="*/ 1131570 w 4610101"/>
              <a:gd name="connsiteY20060" fmla="*/ 1092335 h 6557032"/>
              <a:gd name="connsiteX20061" fmla="*/ 1137037 w 4610101"/>
              <a:gd name="connsiteY20061" fmla="*/ 1079579 h 6557032"/>
              <a:gd name="connsiteX20062" fmla="*/ 1136374 w 4610101"/>
              <a:gd name="connsiteY20062" fmla="*/ 1075604 h 6557032"/>
              <a:gd name="connsiteX20063" fmla="*/ 1137037 w 4610101"/>
              <a:gd name="connsiteY20063" fmla="*/ 1075935 h 6557032"/>
              <a:gd name="connsiteX20064" fmla="*/ 1136228 w 4610101"/>
              <a:gd name="connsiteY20064" fmla="*/ 1074720 h 6557032"/>
              <a:gd name="connsiteX20065" fmla="*/ 1135215 w 4610101"/>
              <a:gd name="connsiteY20065" fmla="*/ 1068646 h 6557032"/>
              <a:gd name="connsiteX20066" fmla="*/ 1133393 w 4610101"/>
              <a:gd name="connsiteY20066" fmla="*/ 1070469 h 6557032"/>
              <a:gd name="connsiteX20067" fmla="*/ 1131570 w 4610101"/>
              <a:gd name="connsiteY20067" fmla="*/ 1070469 h 6557032"/>
              <a:gd name="connsiteX20068" fmla="*/ 1133393 w 4610101"/>
              <a:gd name="connsiteY20068" fmla="*/ 1066824 h 6557032"/>
              <a:gd name="connsiteX20069" fmla="*/ 1124737 w 4610101"/>
              <a:gd name="connsiteY20069" fmla="*/ 1075251 h 6557032"/>
              <a:gd name="connsiteX20070" fmla="*/ 1121509 w 4610101"/>
              <a:gd name="connsiteY20070" fmla="*/ 1073379 h 6557032"/>
              <a:gd name="connsiteX20071" fmla="*/ 1124965 w 4610101"/>
              <a:gd name="connsiteY20071" fmla="*/ 1070468 h 6557032"/>
              <a:gd name="connsiteX20072" fmla="*/ 1127926 w 4610101"/>
              <a:gd name="connsiteY20072" fmla="*/ 1066824 h 6557032"/>
              <a:gd name="connsiteX20073" fmla="*/ 1113349 w 4610101"/>
              <a:gd name="connsiteY20073" fmla="*/ 1066824 h 6557032"/>
              <a:gd name="connsiteX20074" fmla="*/ 1025884 w 4610101"/>
              <a:gd name="connsiteY20074" fmla="*/ 1066824 h 6557032"/>
              <a:gd name="connsiteX20075" fmla="*/ 1014951 w 4610101"/>
              <a:gd name="connsiteY20075" fmla="*/ 1077757 h 6557032"/>
              <a:gd name="connsiteX20076" fmla="*/ 1025884 w 4610101"/>
              <a:gd name="connsiteY20076" fmla="*/ 1066824 h 6557032"/>
              <a:gd name="connsiteX20077" fmla="*/ 905621 w 4610101"/>
              <a:gd name="connsiteY20077" fmla="*/ 1066824 h 6557032"/>
              <a:gd name="connsiteX20078" fmla="*/ 898333 w 4610101"/>
              <a:gd name="connsiteY20078" fmla="*/ 1075935 h 6557032"/>
              <a:gd name="connsiteX20079" fmla="*/ 909265 w 4610101"/>
              <a:gd name="connsiteY20079" fmla="*/ 1072291 h 6557032"/>
              <a:gd name="connsiteX20080" fmla="*/ 905621 w 4610101"/>
              <a:gd name="connsiteY20080" fmla="*/ 1066824 h 6557032"/>
              <a:gd name="connsiteX20081" fmla="*/ 595852 w 4610101"/>
              <a:gd name="connsiteY20081" fmla="*/ 1066824 h 6557032"/>
              <a:gd name="connsiteX20082" fmla="*/ 603140 w 4610101"/>
              <a:gd name="connsiteY20082" fmla="*/ 1072291 h 6557032"/>
              <a:gd name="connsiteX20083" fmla="*/ 595852 w 4610101"/>
              <a:gd name="connsiteY20083" fmla="*/ 1066824 h 6557032"/>
              <a:gd name="connsiteX20084" fmla="*/ 459188 w 4610101"/>
              <a:gd name="connsiteY20084" fmla="*/ 1066824 h 6557032"/>
              <a:gd name="connsiteX20085" fmla="*/ 475589 w 4610101"/>
              <a:gd name="connsiteY20085" fmla="*/ 1083224 h 6557032"/>
              <a:gd name="connsiteX20086" fmla="*/ 459188 w 4610101"/>
              <a:gd name="connsiteY20086" fmla="*/ 1066824 h 6557032"/>
              <a:gd name="connsiteX20087" fmla="*/ 340747 w 4610101"/>
              <a:gd name="connsiteY20087" fmla="*/ 1066824 h 6557032"/>
              <a:gd name="connsiteX20088" fmla="*/ 348037 w 4610101"/>
              <a:gd name="connsiteY20088" fmla="*/ 1074113 h 6557032"/>
              <a:gd name="connsiteX20089" fmla="*/ 340747 w 4610101"/>
              <a:gd name="connsiteY20089" fmla="*/ 1066824 h 6557032"/>
              <a:gd name="connsiteX20090" fmla="*/ 309771 w 4610101"/>
              <a:gd name="connsiteY20090" fmla="*/ 1066824 h 6557032"/>
              <a:gd name="connsiteX20091" fmla="*/ 320703 w 4610101"/>
              <a:gd name="connsiteY20091" fmla="*/ 1074113 h 6557032"/>
              <a:gd name="connsiteX20092" fmla="*/ 309771 w 4610101"/>
              <a:gd name="connsiteY20092" fmla="*/ 1066824 h 6557032"/>
              <a:gd name="connsiteX20093" fmla="*/ 267860 w 4610101"/>
              <a:gd name="connsiteY20093" fmla="*/ 1066824 h 6557032"/>
              <a:gd name="connsiteX20094" fmla="*/ 269682 w 4610101"/>
              <a:gd name="connsiteY20094" fmla="*/ 1075935 h 6557032"/>
              <a:gd name="connsiteX20095" fmla="*/ 267860 w 4610101"/>
              <a:gd name="connsiteY20095" fmla="*/ 1066824 h 6557032"/>
              <a:gd name="connsiteX20096" fmla="*/ 842985 w 4610101"/>
              <a:gd name="connsiteY20096" fmla="*/ 1065229 h 6557032"/>
              <a:gd name="connsiteX20097" fmla="*/ 841845 w 4610101"/>
              <a:gd name="connsiteY20097" fmla="*/ 1068646 h 6557032"/>
              <a:gd name="connsiteX20098" fmla="*/ 845489 w 4610101"/>
              <a:gd name="connsiteY20098" fmla="*/ 1072291 h 6557032"/>
              <a:gd name="connsiteX20099" fmla="*/ 845489 w 4610101"/>
              <a:gd name="connsiteY20099" fmla="*/ 1068646 h 6557032"/>
              <a:gd name="connsiteX20100" fmla="*/ 842985 w 4610101"/>
              <a:gd name="connsiteY20100" fmla="*/ 1065229 h 6557032"/>
              <a:gd name="connsiteX20101" fmla="*/ 1036818 w 4610101"/>
              <a:gd name="connsiteY20101" fmla="*/ 1065002 h 6557032"/>
              <a:gd name="connsiteX20102" fmla="*/ 1029529 w 4610101"/>
              <a:gd name="connsiteY20102" fmla="*/ 1072291 h 6557032"/>
              <a:gd name="connsiteX20103" fmla="*/ 1034995 w 4610101"/>
              <a:gd name="connsiteY20103" fmla="*/ 1072291 h 6557032"/>
              <a:gd name="connsiteX20104" fmla="*/ 1040462 w 4610101"/>
              <a:gd name="connsiteY20104" fmla="*/ 1068646 h 6557032"/>
              <a:gd name="connsiteX20105" fmla="*/ 1036818 w 4610101"/>
              <a:gd name="connsiteY20105" fmla="*/ 1065002 h 6557032"/>
              <a:gd name="connsiteX20106" fmla="*/ 936598 w 4610101"/>
              <a:gd name="connsiteY20106" fmla="*/ 1065002 h 6557032"/>
              <a:gd name="connsiteX20107" fmla="*/ 929309 w 4610101"/>
              <a:gd name="connsiteY20107" fmla="*/ 1079579 h 6557032"/>
              <a:gd name="connsiteX20108" fmla="*/ 936598 w 4610101"/>
              <a:gd name="connsiteY20108" fmla="*/ 1065002 h 6557032"/>
              <a:gd name="connsiteX20109" fmla="*/ 840022 w 4610101"/>
              <a:gd name="connsiteY20109" fmla="*/ 1065002 h 6557032"/>
              <a:gd name="connsiteX20110" fmla="*/ 836378 w 4610101"/>
              <a:gd name="connsiteY20110" fmla="*/ 1066824 h 6557032"/>
              <a:gd name="connsiteX20111" fmla="*/ 840022 w 4610101"/>
              <a:gd name="connsiteY20111" fmla="*/ 1065002 h 6557032"/>
              <a:gd name="connsiteX20112" fmla="*/ 420923 w 4610101"/>
              <a:gd name="connsiteY20112" fmla="*/ 1065002 h 6557032"/>
              <a:gd name="connsiteX20113" fmla="*/ 426389 w 4610101"/>
              <a:gd name="connsiteY20113" fmla="*/ 1068646 h 6557032"/>
              <a:gd name="connsiteX20114" fmla="*/ 420923 w 4610101"/>
              <a:gd name="connsiteY20114" fmla="*/ 1065002 h 6557032"/>
              <a:gd name="connsiteX20115" fmla="*/ 386301 w 4610101"/>
              <a:gd name="connsiteY20115" fmla="*/ 1065002 h 6557032"/>
              <a:gd name="connsiteX20116" fmla="*/ 382657 w 4610101"/>
              <a:gd name="connsiteY20116" fmla="*/ 1068646 h 6557032"/>
              <a:gd name="connsiteX20117" fmla="*/ 380835 w 4610101"/>
              <a:gd name="connsiteY20117" fmla="*/ 1066824 h 6557032"/>
              <a:gd name="connsiteX20118" fmla="*/ 380835 w 4610101"/>
              <a:gd name="connsiteY20118" fmla="*/ 1072291 h 6557032"/>
              <a:gd name="connsiteX20119" fmla="*/ 391768 w 4610101"/>
              <a:gd name="connsiteY20119" fmla="*/ 1075935 h 6557032"/>
              <a:gd name="connsiteX20120" fmla="*/ 388123 w 4610101"/>
              <a:gd name="connsiteY20120" fmla="*/ 1070469 h 6557032"/>
              <a:gd name="connsiteX20121" fmla="*/ 391768 w 4610101"/>
              <a:gd name="connsiteY20121" fmla="*/ 1070469 h 6557032"/>
              <a:gd name="connsiteX20122" fmla="*/ 386301 w 4610101"/>
              <a:gd name="connsiteY20122" fmla="*/ 1065002 h 6557032"/>
              <a:gd name="connsiteX20123" fmla="*/ 300660 w 4610101"/>
              <a:gd name="connsiteY20123" fmla="*/ 1065002 h 6557032"/>
              <a:gd name="connsiteX20124" fmla="*/ 309771 w 4610101"/>
              <a:gd name="connsiteY20124" fmla="*/ 1068646 h 6557032"/>
              <a:gd name="connsiteX20125" fmla="*/ 306126 w 4610101"/>
              <a:gd name="connsiteY20125" fmla="*/ 1065002 h 6557032"/>
              <a:gd name="connsiteX20126" fmla="*/ 300660 w 4610101"/>
              <a:gd name="connsiteY20126" fmla="*/ 1065002 h 6557032"/>
              <a:gd name="connsiteX20127" fmla="*/ 289726 w 4610101"/>
              <a:gd name="connsiteY20127" fmla="*/ 1065002 h 6557032"/>
              <a:gd name="connsiteX20128" fmla="*/ 298837 w 4610101"/>
              <a:gd name="connsiteY20128" fmla="*/ 1075935 h 6557032"/>
              <a:gd name="connsiteX20129" fmla="*/ 304303 w 4610101"/>
              <a:gd name="connsiteY20129" fmla="*/ 1074113 h 6557032"/>
              <a:gd name="connsiteX20130" fmla="*/ 320703 w 4610101"/>
              <a:gd name="connsiteY20130" fmla="*/ 1092335 h 6557032"/>
              <a:gd name="connsiteX20131" fmla="*/ 311592 w 4610101"/>
              <a:gd name="connsiteY20131" fmla="*/ 1083224 h 6557032"/>
              <a:gd name="connsiteX20132" fmla="*/ 320703 w 4610101"/>
              <a:gd name="connsiteY20132" fmla="*/ 1079579 h 6557032"/>
              <a:gd name="connsiteX20133" fmla="*/ 289726 w 4610101"/>
              <a:gd name="connsiteY20133" fmla="*/ 1065002 h 6557032"/>
              <a:gd name="connsiteX20134" fmla="*/ 273327 w 4610101"/>
              <a:gd name="connsiteY20134" fmla="*/ 1065002 h 6557032"/>
              <a:gd name="connsiteX20135" fmla="*/ 291549 w 4610101"/>
              <a:gd name="connsiteY20135" fmla="*/ 1088690 h 6557032"/>
              <a:gd name="connsiteX20136" fmla="*/ 287018 w 4610101"/>
              <a:gd name="connsiteY20136" fmla="*/ 1082781 h 6557032"/>
              <a:gd name="connsiteX20137" fmla="*/ 287904 w 4610101"/>
              <a:gd name="connsiteY20137" fmla="*/ 1083224 h 6557032"/>
              <a:gd name="connsiteX20138" fmla="*/ 273327 w 4610101"/>
              <a:gd name="connsiteY20138" fmla="*/ 1065002 h 6557032"/>
              <a:gd name="connsiteX20139" fmla="*/ 151241 w 4610101"/>
              <a:gd name="connsiteY20139" fmla="*/ 1065002 h 6557032"/>
              <a:gd name="connsiteX20140" fmla="*/ 176751 w 4610101"/>
              <a:gd name="connsiteY20140" fmla="*/ 1085046 h 6557032"/>
              <a:gd name="connsiteX20141" fmla="*/ 151241 w 4610101"/>
              <a:gd name="connsiteY20141" fmla="*/ 1065002 h 6557032"/>
              <a:gd name="connsiteX20142" fmla="*/ 739803 w 4610101"/>
              <a:gd name="connsiteY20142" fmla="*/ 1064774 h 6557032"/>
              <a:gd name="connsiteX20143" fmla="*/ 736159 w 4610101"/>
              <a:gd name="connsiteY20143" fmla="*/ 1066824 h 6557032"/>
              <a:gd name="connsiteX20144" fmla="*/ 743447 w 4610101"/>
              <a:gd name="connsiteY20144" fmla="*/ 1066824 h 6557032"/>
              <a:gd name="connsiteX20145" fmla="*/ 739803 w 4610101"/>
              <a:gd name="connsiteY20145" fmla="*/ 1064774 h 6557032"/>
              <a:gd name="connsiteX20146" fmla="*/ 3100202 w 4610101"/>
              <a:gd name="connsiteY20146" fmla="*/ 1064773 h 6557032"/>
              <a:gd name="connsiteX20147" fmla="*/ 3092230 w 4610101"/>
              <a:gd name="connsiteY20147" fmla="*/ 1068646 h 6557032"/>
              <a:gd name="connsiteX20148" fmla="*/ 3106807 w 4610101"/>
              <a:gd name="connsiteY20148" fmla="*/ 1065002 h 6557032"/>
              <a:gd name="connsiteX20149" fmla="*/ 3100202 w 4610101"/>
              <a:gd name="connsiteY20149" fmla="*/ 1064773 h 6557032"/>
              <a:gd name="connsiteX20150" fmla="*/ 3604260 w 4610101"/>
              <a:gd name="connsiteY20150" fmla="*/ 1063180 h 6557032"/>
              <a:gd name="connsiteX20151" fmla="*/ 3598794 w 4610101"/>
              <a:gd name="connsiteY20151" fmla="*/ 1065002 h 6557032"/>
              <a:gd name="connsiteX20152" fmla="*/ 3604260 w 4610101"/>
              <a:gd name="connsiteY20152" fmla="*/ 1068646 h 6557032"/>
              <a:gd name="connsiteX20153" fmla="*/ 3604260 w 4610101"/>
              <a:gd name="connsiteY20153" fmla="*/ 1063180 h 6557032"/>
              <a:gd name="connsiteX20154" fmla="*/ 2204831 w 4610101"/>
              <a:gd name="connsiteY20154" fmla="*/ 1063180 h 6557032"/>
              <a:gd name="connsiteX20155" fmla="*/ 2205109 w 4610101"/>
              <a:gd name="connsiteY20155" fmla="*/ 1063328 h 6557032"/>
              <a:gd name="connsiteX20156" fmla="*/ 2205038 w 4610101"/>
              <a:gd name="connsiteY20156" fmla="*/ 1063524 h 6557032"/>
              <a:gd name="connsiteX20157" fmla="*/ 1169836 w 4610101"/>
              <a:gd name="connsiteY20157" fmla="*/ 1063180 h 6557032"/>
              <a:gd name="connsiteX20158" fmla="*/ 1166192 w 4610101"/>
              <a:gd name="connsiteY20158" fmla="*/ 1065002 h 6557032"/>
              <a:gd name="connsiteX20159" fmla="*/ 1171658 w 4610101"/>
              <a:gd name="connsiteY20159" fmla="*/ 1065002 h 6557032"/>
              <a:gd name="connsiteX20160" fmla="*/ 1169836 w 4610101"/>
              <a:gd name="connsiteY20160" fmla="*/ 1063180 h 6557032"/>
              <a:gd name="connsiteX20161" fmla="*/ 1082373 w 4610101"/>
              <a:gd name="connsiteY20161" fmla="*/ 1063180 h 6557032"/>
              <a:gd name="connsiteX20162" fmla="*/ 1073262 w 4610101"/>
              <a:gd name="connsiteY20162" fmla="*/ 1066824 h 6557032"/>
              <a:gd name="connsiteX20163" fmla="*/ 1078727 w 4610101"/>
              <a:gd name="connsiteY20163" fmla="*/ 1072291 h 6557032"/>
              <a:gd name="connsiteX20164" fmla="*/ 1082373 w 4610101"/>
              <a:gd name="connsiteY20164" fmla="*/ 1063180 h 6557032"/>
              <a:gd name="connsiteX20165" fmla="*/ 747092 w 4610101"/>
              <a:gd name="connsiteY20165" fmla="*/ 1063180 h 6557032"/>
              <a:gd name="connsiteX20166" fmla="*/ 750737 w 4610101"/>
              <a:gd name="connsiteY20166" fmla="*/ 1085046 h 6557032"/>
              <a:gd name="connsiteX20167" fmla="*/ 758025 w 4610101"/>
              <a:gd name="connsiteY20167" fmla="*/ 1106912 h 6557032"/>
              <a:gd name="connsiteX20168" fmla="*/ 752558 w 4610101"/>
              <a:gd name="connsiteY20168" fmla="*/ 1081402 h 6557032"/>
              <a:gd name="connsiteX20169" fmla="*/ 758025 w 4610101"/>
              <a:gd name="connsiteY20169" fmla="*/ 1085046 h 6557032"/>
              <a:gd name="connsiteX20170" fmla="*/ 747092 w 4610101"/>
              <a:gd name="connsiteY20170" fmla="*/ 1063180 h 6557032"/>
              <a:gd name="connsiteX20171" fmla="*/ 666916 w 4610101"/>
              <a:gd name="connsiteY20171" fmla="*/ 1063180 h 6557032"/>
              <a:gd name="connsiteX20172" fmla="*/ 672383 w 4610101"/>
              <a:gd name="connsiteY20172" fmla="*/ 1065002 h 6557032"/>
              <a:gd name="connsiteX20173" fmla="*/ 666916 w 4610101"/>
              <a:gd name="connsiteY20173" fmla="*/ 1063180 h 6557032"/>
              <a:gd name="connsiteX20174" fmla="*/ 473766 w 4610101"/>
              <a:gd name="connsiteY20174" fmla="*/ 1063180 h 6557032"/>
              <a:gd name="connsiteX20175" fmla="*/ 480074 w 4610101"/>
              <a:gd name="connsiteY20175" fmla="*/ 1074534 h 6557032"/>
              <a:gd name="connsiteX20176" fmla="*/ 479232 w 4610101"/>
              <a:gd name="connsiteY20176" fmla="*/ 1074113 h 6557032"/>
              <a:gd name="connsiteX20177" fmla="*/ 482876 w 4610101"/>
              <a:gd name="connsiteY20177" fmla="*/ 1079579 h 6557032"/>
              <a:gd name="connsiteX20178" fmla="*/ 480074 w 4610101"/>
              <a:gd name="connsiteY20178" fmla="*/ 1074534 h 6557032"/>
              <a:gd name="connsiteX20179" fmla="*/ 482876 w 4610101"/>
              <a:gd name="connsiteY20179" fmla="*/ 1075935 h 6557032"/>
              <a:gd name="connsiteX20180" fmla="*/ 481054 w 4610101"/>
              <a:gd name="connsiteY20180" fmla="*/ 1066824 h 6557032"/>
              <a:gd name="connsiteX20181" fmla="*/ 473766 w 4610101"/>
              <a:gd name="connsiteY20181" fmla="*/ 1063180 h 6557032"/>
              <a:gd name="connsiteX20182" fmla="*/ 413634 w 4610101"/>
              <a:gd name="connsiteY20182" fmla="*/ 1063180 h 6557032"/>
              <a:gd name="connsiteX20183" fmla="*/ 433678 w 4610101"/>
              <a:gd name="connsiteY20183" fmla="*/ 1085046 h 6557032"/>
              <a:gd name="connsiteX20184" fmla="*/ 430034 w 4610101"/>
              <a:gd name="connsiteY20184" fmla="*/ 1075935 h 6557032"/>
              <a:gd name="connsiteX20185" fmla="*/ 413634 w 4610101"/>
              <a:gd name="connsiteY20185" fmla="*/ 1063180 h 6557032"/>
              <a:gd name="connsiteX20186" fmla="*/ 158529 w 4610101"/>
              <a:gd name="connsiteY20186" fmla="*/ 1063180 h 6557032"/>
              <a:gd name="connsiteX20187" fmla="*/ 185862 w 4610101"/>
              <a:gd name="connsiteY20187" fmla="*/ 1079579 h 6557032"/>
              <a:gd name="connsiteX20188" fmla="*/ 180396 w 4610101"/>
              <a:gd name="connsiteY20188" fmla="*/ 1075935 h 6557032"/>
              <a:gd name="connsiteX20189" fmla="*/ 158529 w 4610101"/>
              <a:gd name="connsiteY20189" fmla="*/ 1063180 h 6557032"/>
              <a:gd name="connsiteX20190" fmla="*/ 1188369 w 4610101"/>
              <a:gd name="connsiteY20190" fmla="*/ 1063135 h 6557032"/>
              <a:gd name="connsiteX20191" fmla="*/ 1188122 w 4610101"/>
              <a:gd name="connsiteY20191" fmla="*/ 1064625 h 6557032"/>
              <a:gd name="connsiteX20192" fmla="*/ 1187374 w 4610101"/>
              <a:gd name="connsiteY20192" fmla="*/ 1064774 h 6557032"/>
              <a:gd name="connsiteX20193" fmla="*/ 1186738 w 4610101"/>
              <a:gd name="connsiteY20193" fmla="*/ 1064562 h 6557032"/>
              <a:gd name="connsiteX20194" fmla="*/ 1204685 w 4610101"/>
              <a:gd name="connsiteY20194" fmla="*/ 1062952 h 6557032"/>
              <a:gd name="connsiteX20195" fmla="*/ 1193525 w 4610101"/>
              <a:gd name="connsiteY20195" fmla="*/ 1068646 h 6557032"/>
              <a:gd name="connsiteX20196" fmla="*/ 1198991 w 4610101"/>
              <a:gd name="connsiteY20196" fmla="*/ 1072291 h 6557032"/>
              <a:gd name="connsiteX20197" fmla="*/ 1193525 w 4610101"/>
              <a:gd name="connsiteY20197" fmla="*/ 1077757 h 6557032"/>
              <a:gd name="connsiteX20198" fmla="*/ 1202636 w 4610101"/>
              <a:gd name="connsiteY20198" fmla="*/ 1074113 h 6557032"/>
              <a:gd name="connsiteX20199" fmla="*/ 1217213 w 4610101"/>
              <a:gd name="connsiteY20199" fmla="*/ 1066824 h 6557032"/>
              <a:gd name="connsiteX20200" fmla="*/ 1195346 w 4610101"/>
              <a:gd name="connsiteY20200" fmla="*/ 1079579 h 6557032"/>
              <a:gd name="connsiteX20201" fmla="*/ 1211747 w 4610101"/>
              <a:gd name="connsiteY20201" fmla="*/ 1090512 h 6557032"/>
              <a:gd name="connsiteX20202" fmla="*/ 1226323 w 4610101"/>
              <a:gd name="connsiteY20202" fmla="*/ 1077757 h 6557032"/>
              <a:gd name="connsiteX20203" fmla="*/ 1221768 w 4610101"/>
              <a:gd name="connsiteY20203" fmla="*/ 1083451 h 6557032"/>
              <a:gd name="connsiteX20204" fmla="*/ 1218254 w 4610101"/>
              <a:gd name="connsiteY20204" fmla="*/ 1088898 h 6557032"/>
              <a:gd name="connsiteX20205" fmla="*/ 1217213 w 4610101"/>
              <a:gd name="connsiteY20205" fmla="*/ 1088690 h 6557032"/>
              <a:gd name="connsiteX20206" fmla="*/ 1217213 w 4610101"/>
              <a:gd name="connsiteY20206" fmla="*/ 1090512 h 6557032"/>
              <a:gd name="connsiteX20207" fmla="*/ 1218254 w 4610101"/>
              <a:gd name="connsiteY20207" fmla="*/ 1088898 h 6557032"/>
              <a:gd name="connsiteX20208" fmla="*/ 1226323 w 4610101"/>
              <a:gd name="connsiteY20208" fmla="*/ 1090512 h 6557032"/>
              <a:gd name="connsiteX20209" fmla="*/ 1253656 w 4610101"/>
              <a:gd name="connsiteY20209" fmla="*/ 1074113 h 6557032"/>
              <a:gd name="connsiteX20210" fmla="*/ 1217213 w 4610101"/>
              <a:gd name="connsiteY20210" fmla="*/ 1066824 h 6557032"/>
              <a:gd name="connsiteX20211" fmla="*/ 1204685 w 4610101"/>
              <a:gd name="connsiteY20211" fmla="*/ 1062952 h 6557032"/>
              <a:gd name="connsiteX20212" fmla="*/ 496910 w 4610101"/>
              <a:gd name="connsiteY20212" fmla="*/ 1062933 h 6557032"/>
              <a:gd name="connsiteX20213" fmla="*/ 501554 w 4610101"/>
              <a:gd name="connsiteY20213" fmla="*/ 1066141 h 6557032"/>
              <a:gd name="connsiteX20214" fmla="*/ 503758 w 4610101"/>
              <a:gd name="connsiteY20214" fmla="*/ 1068713 h 6557032"/>
              <a:gd name="connsiteX20215" fmla="*/ 503604 w 4610101"/>
              <a:gd name="connsiteY20215" fmla="*/ 1068646 h 6557032"/>
              <a:gd name="connsiteX20216" fmla="*/ 280616 w 4610101"/>
              <a:gd name="connsiteY20216" fmla="*/ 1062725 h 6557032"/>
              <a:gd name="connsiteX20217" fmla="*/ 275149 w 4610101"/>
              <a:gd name="connsiteY20217" fmla="*/ 1065002 h 6557032"/>
              <a:gd name="connsiteX20218" fmla="*/ 307948 w 4610101"/>
              <a:gd name="connsiteY20218" fmla="*/ 1094157 h 6557032"/>
              <a:gd name="connsiteX20219" fmla="*/ 280615 w 4610101"/>
              <a:gd name="connsiteY20219" fmla="*/ 1068646 h 6557032"/>
              <a:gd name="connsiteX20220" fmla="*/ 302481 w 4610101"/>
              <a:gd name="connsiteY20220" fmla="*/ 1083224 h 6557032"/>
              <a:gd name="connsiteX20221" fmla="*/ 291549 w 4610101"/>
              <a:gd name="connsiteY20221" fmla="*/ 1072291 h 6557032"/>
              <a:gd name="connsiteX20222" fmla="*/ 286082 w 4610101"/>
              <a:gd name="connsiteY20222" fmla="*/ 1063180 h 6557032"/>
              <a:gd name="connsiteX20223" fmla="*/ 280616 w 4610101"/>
              <a:gd name="connsiteY20223" fmla="*/ 1062725 h 6557032"/>
              <a:gd name="connsiteX20224" fmla="*/ 248955 w 4610101"/>
              <a:gd name="connsiteY20224" fmla="*/ 1062725 h 6557032"/>
              <a:gd name="connsiteX20225" fmla="*/ 245994 w 4610101"/>
              <a:gd name="connsiteY20225" fmla="*/ 1063180 h 6557032"/>
              <a:gd name="connsiteX20226" fmla="*/ 249638 w 4610101"/>
              <a:gd name="connsiteY20226" fmla="*/ 1066824 h 6557032"/>
              <a:gd name="connsiteX20227" fmla="*/ 253282 w 4610101"/>
              <a:gd name="connsiteY20227" fmla="*/ 1065002 h 6557032"/>
              <a:gd name="connsiteX20228" fmla="*/ 248955 w 4610101"/>
              <a:gd name="connsiteY20228" fmla="*/ 1062725 h 6557032"/>
              <a:gd name="connsiteX20229" fmla="*/ 2384771 w 4610101"/>
              <a:gd name="connsiteY20229" fmla="*/ 1062268 h 6557032"/>
              <a:gd name="connsiteX20230" fmla="*/ 2379760 w 4610101"/>
              <a:gd name="connsiteY20230" fmla="*/ 1063180 h 6557032"/>
              <a:gd name="connsiteX20231" fmla="*/ 2381582 w 4610101"/>
              <a:gd name="connsiteY20231" fmla="*/ 1068646 h 6557032"/>
              <a:gd name="connsiteX20232" fmla="*/ 2387048 w 4610101"/>
              <a:gd name="connsiteY20232" fmla="*/ 1066824 h 6557032"/>
              <a:gd name="connsiteX20233" fmla="*/ 2384771 w 4610101"/>
              <a:gd name="connsiteY20233" fmla="*/ 1062268 h 6557032"/>
              <a:gd name="connsiteX20234" fmla="*/ 824307 w 4610101"/>
              <a:gd name="connsiteY20234" fmla="*/ 1062041 h 6557032"/>
              <a:gd name="connsiteX20235" fmla="*/ 825445 w 4610101"/>
              <a:gd name="connsiteY20235" fmla="*/ 1065002 h 6557032"/>
              <a:gd name="connsiteX20236" fmla="*/ 827267 w 4610101"/>
              <a:gd name="connsiteY20236" fmla="*/ 1063180 h 6557032"/>
              <a:gd name="connsiteX20237" fmla="*/ 824307 w 4610101"/>
              <a:gd name="connsiteY20237" fmla="*/ 1062041 h 6557032"/>
              <a:gd name="connsiteX20238" fmla="*/ 1140681 w 4610101"/>
              <a:gd name="connsiteY20238" fmla="*/ 1061358 h 6557032"/>
              <a:gd name="connsiteX20239" fmla="*/ 1146148 w 4610101"/>
              <a:gd name="connsiteY20239" fmla="*/ 1061358 h 6557032"/>
              <a:gd name="connsiteX20240" fmla="*/ 1140681 w 4610101"/>
              <a:gd name="connsiteY20240" fmla="*/ 1061358 h 6557032"/>
              <a:gd name="connsiteX20241" fmla="*/ 911087 w 4610101"/>
              <a:gd name="connsiteY20241" fmla="*/ 1061358 h 6557032"/>
              <a:gd name="connsiteX20242" fmla="*/ 909265 w 4610101"/>
              <a:gd name="connsiteY20242" fmla="*/ 1065002 h 6557032"/>
              <a:gd name="connsiteX20243" fmla="*/ 912909 w 4610101"/>
              <a:gd name="connsiteY20243" fmla="*/ 1066824 h 6557032"/>
              <a:gd name="connsiteX20244" fmla="*/ 912909 w 4610101"/>
              <a:gd name="connsiteY20244" fmla="*/ 1063180 h 6557032"/>
              <a:gd name="connsiteX20245" fmla="*/ 909265 w 4610101"/>
              <a:gd name="connsiteY20245" fmla="*/ 1065002 h 6557032"/>
              <a:gd name="connsiteX20246" fmla="*/ 911087 w 4610101"/>
              <a:gd name="connsiteY20246" fmla="*/ 1063180 h 6557032"/>
              <a:gd name="connsiteX20247" fmla="*/ 911087 w 4610101"/>
              <a:gd name="connsiteY20247" fmla="*/ 1061358 h 6557032"/>
              <a:gd name="connsiteX20248" fmla="*/ 812690 w 4610101"/>
              <a:gd name="connsiteY20248" fmla="*/ 1061358 h 6557032"/>
              <a:gd name="connsiteX20249" fmla="*/ 812739 w 4610101"/>
              <a:gd name="connsiteY20249" fmla="*/ 1061388 h 6557032"/>
              <a:gd name="connsiteX20250" fmla="*/ 812740 w 4610101"/>
              <a:gd name="connsiteY20250" fmla="*/ 1061424 h 6557032"/>
              <a:gd name="connsiteX20251" fmla="*/ 601318 w 4610101"/>
              <a:gd name="connsiteY20251" fmla="*/ 1061358 h 6557032"/>
              <a:gd name="connsiteX20252" fmla="*/ 597673 w 4610101"/>
              <a:gd name="connsiteY20252" fmla="*/ 1063180 h 6557032"/>
              <a:gd name="connsiteX20253" fmla="*/ 603140 w 4610101"/>
              <a:gd name="connsiteY20253" fmla="*/ 1066824 h 6557032"/>
              <a:gd name="connsiteX20254" fmla="*/ 601318 w 4610101"/>
              <a:gd name="connsiteY20254" fmla="*/ 1061358 h 6557032"/>
              <a:gd name="connsiteX20255" fmla="*/ 331636 w 4610101"/>
              <a:gd name="connsiteY20255" fmla="*/ 1061358 h 6557032"/>
              <a:gd name="connsiteX20256" fmla="*/ 337102 w 4610101"/>
              <a:gd name="connsiteY20256" fmla="*/ 1068646 h 6557032"/>
              <a:gd name="connsiteX20257" fmla="*/ 331636 w 4610101"/>
              <a:gd name="connsiteY20257" fmla="*/ 1061358 h 6557032"/>
              <a:gd name="connsiteX20258" fmla="*/ 143952 w 4610101"/>
              <a:gd name="connsiteY20258" fmla="*/ 1061358 h 6557032"/>
              <a:gd name="connsiteX20259" fmla="*/ 147596 w 4610101"/>
              <a:gd name="connsiteY20259" fmla="*/ 1065002 h 6557032"/>
              <a:gd name="connsiteX20260" fmla="*/ 143952 w 4610101"/>
              <a:gd name="connsiteY20260" fmla="*/ 1061358 h 6557032"/>
              <a:gd name="connsiteX20261" fmla="*/ 3496297 w 4610101"/>
              <a:gd name="connsiteY20261" fmla="*/ 1060446 h 6557032"/>
              <a:gd name="connsiteX20262" fmla="*/ 3478530 w 4610101"/>
              <a:gd name="connsiteY20262" fmla="*/ 1065002 h 6557032"/>
              <a:gd name="connsiteX20263" fmla="*/ 3453020 w 4610101"/>
              <a:gd name="connsiteY20263" fmla="*/ 1075935 h 6557032"/>
              <a:gd name="connsiteX20264" fmla="*/ 3483997 w 4610101"/>
              <a:gd name="connsiteY20264" fmla="*/ 1086868 h 6557032"/>
              <a:gd name="connsiteX20265" fmla="*/ 3485819 w 4610101"/>
              <a:gd name="connsiteY20265" fmla="*/ 1081402 h 6557032"/>
              <a:gd name="connsiteX20266" fmla="*/ 3493108 w 4610101"/>
              <a:gd name="connsiteY20266" fmla="*/ 1072291 h 6557032"/>
              <a:gd name="connsiteX20267" fmla="*/ 3513152 w 4610101"/>
              <a:gd name="connsiteY20267" fmla="*/ 1072291 h 6557032"/>
              <a:gd name="connsiteX20268" fmla="*/ 3516796 w 4610101"/>
              <a:gd name="connsiteY20268" fmla="*/ 1061358 h 6557032"/>
              <a:gd name="connsiteX20269" fmla="*/ 3496297 w 4610101"/>
              <a:gd name="connsiteY20269" fmla="*/ 1060446 h 6557032"/>
              <a:gd name="connsiteX20270" fmla="*/ 2851247 w 4610101"/>
              <a:gd name="connsiteY20270" fmla="*/ 1060446 h 6557032"/>
              <a:gd name="connsiteX20271" fmla="*/ 2849880 w 4610101"/>
              <a:gd name="connsiteY20271" fmla="*/ 1065002 h 6557032"/>
              <a:gd name="connsiteX20272" fmla="*/ 2855347 w 4610101"/>
              <a:gd name="connsiteY20272" fmla="*/ 1061358 h 6557032"/>
              <a:gd name="connsiteX20273" fmla="*/ 2851247 w 4610101"/>
              <a:gd name="connsiteY20273" fmla="*/ 1060446 h 6557032"/>
              <a:gd name="connsiteX20274" fmla="*/ 3075830 w 4610101"/>
              <a:gd name="connsiteY20274" fmla="*/ 1059535 h 6557032"/>
              <a:gd name="connsiteX20275" fmla="*/ 3090407 w 4610101"/>
              <a:gd name="connsiteY20275" fmla="*/ 1068646 h 6557032"/>
              <a:gd name="connsiteX20276" fmla="*/ 3086763 w 4610101"/>
              <a:gd name="connsiteY20276" fmla="*/ 1063180 h 6557032"/>
              <a:gd name="connsiteX20277" fmla="*/ 3075830 w 4610101"/>
              <a:gd name="connsiteY20277" fmla="*/ 1059535 h 6557032"/>
              <a:gd name="connsiteX20278" fmla="*/ 1155259 w 4610101"/>
              <a:gd name="connsiteY20278" fmla="*/ 1059535 h 6557032"/>
              <a:gd name="connsiteX20279" fmla="*/ 1147970 w 4610101"/>
              <a:gd name="connsiteY20279" fmla="*/ 1061358 h 6557032"/>
              <a:gd name="connsiteX20280" fmla="*/ 1149792 w 4610101"/>
              <a:gd name="connsiteY20280" fmla="*/ 1063180 h 6557032"/>
              <a:gd name="connsiteX20281" fmla="*/ 1155259 w 4610101"/>
              <a:gd name="connsiteY20281" fmla="*/ 1059535 h 6557032"/>
              <a:gd name="connsiteX20282" fmla="*/ 1022240 w 4610101"/>
              <a:gd name="connsiteY20282" fmla="*/ 1059535 h 6557032"/>
              <a:gd name="connsiteX20283" fmla="*/ 1026405 w 4610101"/>
              <a:gd name="connsiteY20283" fmla="*/ 1060577 h 6557032"/>
              <a:gd name="connsiteX20284" fmla="*/ 1027023 w 4610101"/>
              <a:gd name="connsiteY20284" fmla="*/ 1061814 h 6557032"/>
              <a:gd name="connsiteX20285" fmla="*/ 1029529 w 4610101"/>
              <a:gd name="connsiteY20285" fmla="*/ 1061358 h 6557032"/>
              <a:gd name="connsiteX20286" fmla="*/ 1026405 w 4610101"/>
              <a:gd name="connsiteY20286" fmla="*/ 1060577 h 6557032"/>
              <a:gd name="connsiteX20287" fmla="*/ 1025884 w 4610101"/>
              <a:gd name="connsiteY20287" fmla="*/ 1059535 h 6557032"/>
              <a:gd name="connsiteX20288" fmla="*/ 1022240 w 4610101"/>
              <a:gd name="connsiteY20288" fmla="*/ 1059535 h 6557032"/>
              <a:gd name="connsiteX20289" fmla="*/ 1005840 w 4610101"/>
              <a:gd name="connsiteY20289" fmla="*/ 1059535 h 6557032"/>
              <a:gd name="connsiteX20290" fmla="*/ 1002196 w 4610101"/>
              <a:gd name="connsiteY20290" fmla="*/ 1070469 h 6557032"/>
              <a:gd name="connsiteX20291" fmla="*/ 1004018 w 4610101"/>
              <a:gd name="connsiteY20291" fmla="*/ 1075935 h 6557032"/>
              <a:gd name="connsiteX20292" fmla="*/ 1007663 w 4610101"/>
              <a:gd name="connsiteY20292" fmla="*/ 1059535 h 6557032"/>
              <a:gd name="connsiteX20293" fmla="*/ 1005840 w 4610101"/>
              <a:gd name="connsiteY20293" fmla="*/ 1059535 h 6557032"/>
              <a:gd name="connsiteX20294" fmla="*/ 366257 w 4610101"/>
              <a:gd name="connsiteY20294" fmla="*/ 1059535 h 6557032"/>
              <a:gd name="connsiteX20295" fmla="*/ 373546 w 4610101"/>
              <a:gd name="connsiteY20295" fmla="*/ 1066824 h 6557032"/>
              <a:gd name="connsiteX20296" fmla="*/ 373546 w 4610101"/>
              <a:gd name="connsiteY20296" fmla="*/ 1063180 h 6557032"/>
              <a:gd name="connsiteX20297" fmla="*/ 366257 w 4610101"/>
              <a:gd name="connsiteY20297" fmla="*/ 1059535 h 6557032"/>
              <a:gd name="connsiteX20298" fmla="*/ 209550 w 4610101"/>
              <a:gd name="connsiteY20298" fmla="*/ 1059535 h 6557032"/>
              <a:gd name="connsiteX20299" fmla="*/ 229594 w 4610101"/>
              <a:gd name="connsiteY20299" fmla="*/ 1074113 h 6557032"/>
              <a:gd name="connsiteX20300" fmla="*/ 209550 w 4610101"/>
              <a:gd name="connsiteY20300" fmla="*/ 1059535 h 6557032"/>
              <a:gd name="connsiteX20301" fmla="*/ 163996 w 4610101"/>
              <a:gd name="connsiteY20301" fmla="*/ 1059535 h 6557032"/>
              <a:gd name="connsiteX20302" fmla="*/ 171845 w 4610101"/>
              <a:gd name="connsiteY20302" fmla="*/ 1064020 h 6557032"/>
              <a:gd name="connsiteX20303" fmla="*/ 172681 w 4610101"/>
              <a:gd name="connsiteY20303" fmla="*/ 1064595 h 6557032"/>
              <a:gd name="connsiteX20304" fmla="*/ 167925 w 4610101"/>
              <a:gd name="connsiteY20304" fmla="*/ 1061990 h 6557032"/>
              <a:gd name="connsiteX20305" fmla="*/ 149419 w 4610101"/>
              <a:gd name="connsiteY20305" fmla="*/ 1059535 h 6557032"/>
              <a:gd name="connsiteX20306" fmla="*/ 163996 w 4610101"/>
              <a:gd name="connsiteY20306" fmla="*/ 1072291 h 6557032"/>
              <a:gd name="connsiteX20307" fmla="*/ 149419 w 4610101"/>
              <a:gd name="connsiteY20307" fmla="*/ 1059535 h 6557032"/>
              <a:gd name="connsiteX20308" fmla="*/ 1187884 w 4610101"/>
              <a:gd name="connsiteY20308" fmla="*/ 1057886 h 6557032"/>
              <a:gd name="connsiteX20309" fmla="*/ 1188058 w 4610101"/>
              <a:gd name="connsiteY20309" fmla="*/ 1061358 h 6557032"/>
              <a:gd name="connsiteX20310" fmla="*/ 1193525 w 4610101"/>
              <a:gd name="connsiteY20310" fmla="*/ 1061358 h 6557032"/>
              <a:gd name="connsiteX20311" fmla="*/ 1189880 w 4610101"/>
              <a:gd name="connsiteY20311" fmla="*/ 1061813 h 6557032"/>
              <a:gd name="connsiteX20312" fmla="*/ 1188369 w 4610101"/>
              <a:gd name="connsiteY20312" fmla="*/ 1063135 h 6557032"/>
              <a:gd name="connsiteX20313" fmla="*/ 1188513 w 4610101"/>
              <a:gd name="connsiteY20313" fmla="*/ 1062269 h 6557032"/>
              <a:gd name="connsiteX20314" fmla="*/ 1186236 w 4610101"/>
              <a:gd name="connsiteY20314" fmla="*/ 1059535 h 6557032"/>
              <a:gd name="connsiteX20315" fmla="*/ 1188058 w 4610101"/>
              <a:gd name="connsiteY20315" fmla="*/ 1057713 h 6557032"/>
              <a:gd name="connsiteX20316" fmla="*/ 1187884 w 4610101"/>
              <a:gd name="connsiteY20316" fmla="*/ 1057886 h 6557032"/>
              <a:gd name="connsiteX20317" fmla="*/ 1187882 w 4610101"/>
              <a:gd name="connsiteY20317" fmla="*/ 1057845 h 6557032"/>
              <a:gd name="connsiteX20318" fmla="*/ 916555 w 4610101"/>
              <a:gd name="connsiteY20318" fmla="*/ 1057713 h 6557032"/>
              <a:gd name="connsiteX20319" fmla="*/ 916555 w 4610101"/>
              <a:gd name="connsiteY20319" fmla="*/ 1059535 h 6557032"/>
              <a:gd name="connsiteX20320" fmla="*/ 914732 w 4610101"/>
              <a:gd name="connsiteY20320" fmla="*/ 1061358 h 6557032"/>
              <a:gd name="connsiteX20321" fmla="*/ 918376 w 4610101"/>
              <a:gd name="connsiteY20321" fmla="*/ 1068646 h 6557032"/>
              <a:gd name="connsiteX20322" fmla="*/ 916555 w 4610101"/>
              <a:gd name="connsiteY20322" fmla="*/ 1057713 h 6557032"/>
              <a:gd name="connsiteX20323" fmla="*/ 896510 w 4610101"/>
              <a:gd name="connsiteY20323" fmla="*/ 1057713 h 6557032"/>
              <a:gd name="connsiteX20324" fmla="*/ 892866 w 4610101"/>
              <a:gd name="connsiteY20324" fmla="*/ 1075935 h 6557032"/>
              <a:gd name="connsiteX20325" fmla="*/ 903799 w 4610101"/>
              <a:gd name="connsiteY20325" fmla="*/ 1065002 h 6557032"/>
              <a:gd name="connsiteX20326" fmla="*/ 896510 w 4610101"/>
              <a:gd name="connsiteY20326" fmla="*/ 1057713 h 6557032"/>
              <a:gd name="connsiteX20327" fmla="*/ 721581 w 4610101"/>
              <a:gd name="connsiteY20327" fmla="*/ 1057713 h 6557032"/>
              <a:gd name="connsiteX20328" fmla="*/ 728870 w 4610101"/>
              <a:gd name="connsiteY20328" fmla="*/ 1068646 h 6557032"/>
              <a:gd name="connsiteX20329" fmla="*/ 721581 w 4610101"/>
              <a:gd name="connsiteY20329" fmla="*/ 1057713 h 6557032"/>
              <a:gd name="connsiteX20330" fmla="*/ 298153 w 4610101"/>
              <a:gd name="connsiteY20330" fmla="*/ 1057029 h 6557032"/>
              <a:gd name="connsiteX20331" fmla="*/ 289726 w 4610101"/>
              <a:gd name="connsiteY20331" fmla="*/ 1057713 h 6557032"/>
              <a:gd name="connsiteX20332" fmla="*/ 307948 w 4610101"/>
              <a:gd name="connsiteY20332" fmla="*/ 1063180 h 6557032"/>
              <a:gd name="connsiteX20333" fmla="*/ 298153 w 4610101"/>
              <a:gd name="connsiteY20333" fmla="*/ 1057029 h 6557032"/>
              <a:gd name="connsiteX20334" fmla="*/ 3225248 w 4610101"/>
              <a:gd name="connsiteY20334" fmla="*/ 1055891 h 6557032"/>
              <a:gd name="connsiteX20335" fmla="*/ 3192449 w 4610101"/>
              <a:gd name="connsiteY20335" fmla="*/ 1079579 h 6557032"/>
              <a:gd name="connsiteX20336" fmla="*/ 3188805 w 4610101"/>
              <a:gd name="connsiteY20336" fmla="*/ 1077757 h 6557032"/>
              <a:gd name="connsiteX20337" fmla="*/ 3186982 w 4610101"/>
              <a:gd name="connsiteY20337" fmla="*/ 1085046 h 6557032"/>
              <a:gd name="connsiteX20338" fmla="*/ 3192449 w 4610101"/>
              <a:gd name="connsiteY20338" fmla="*/ 1079579 h 6557032"/>
              <a:gd name="connsiteX20339" fmla="*/ 3190627 w 4610101"/>
              <a:gd name="connsiteY20339" fmla="*/ 1090512 h 6557032"/>
              <a:gd name="connsiteX20340" fmla="*/ 3191842 w 4610101"/>
              <a:gd name="connsiteY20340" fmla="*/ 1091120 h 6557032"/>
              <a:gd name="connsiteX20341" fmla="*/ 3185160 w 4610101"/>
              <a:gd name="connsiteY20341" fmla="*/ 1090512 h 6557032"/>
              <a:gd name="connsiteX20342" fmla="*/ 3188805 w 4610101"/>
              <a:gd name="connsiteY20342" fmla="*/ 1099623 h 6557032"/>
              <a:gd name="connsiteX20343" fmla="*/ 3196093 w 4610101"/>
              <a:gd name="connsiteY20343" fmla="*/ 1095979 h 6557032"/>
              <a:gd name="connsiteX20344" fmla="*/ 3193056 w 4610101"/>
              <a:gd name="connsiteY20344" fmla="*/ 1091727 h 6557032"/>
              <a:gd name="connsiteX20345" fmla="*/ 3197916 w 4610101"/>
              <a:gd name="connsiteY20345" fmla="*/ 1094157 h 6557032"/>
              <a:gd name="connsiteX20346" fmla="*/ 3221604 w 4610101"/>
              <a:gd name="connsiteY20346" fmla="*/ 1081402 h 6557032"/>
              <a:gd name="connsiteX20347" fmla="*/ 3217960 w 4610101"/>
              <a:gd name="connsiteY20347" fmla="*/ 1072291 h 6557032"/>
              <a:gd name="connsiteX20348" fmla="*/ 3225248 w 4610101"/>
              <a:gd name="connsiteY20348" fmla="*/ 1055891 h 6557032"/>
              <a:gd name="connsiteX20349" fmla="*/ 2377937 w 4610101"/>
              <a:gd name="connsiteY20349" fmla="*/ 1055891 h 6557032"/>
              <a:gd name="connsiteX20350" fmla="*/ 2372471 w 4610101"/>
              <a:gd name="connsiteY20350" fmla="*/ 1065002 h 6557032"/>
              <a:gd name="connsiteX20351" fmla="*/ 2377937 w 4610101"/>
              <a:gd name="connsiteY20351" fmla="*/ 1055891 h 6557032"/>
              <a:gd name="connsiteX20352" fmla="*/ 1175303 w 4610101"/>
              <a:gd name="connsiteY20352" fmla="*/ 1055891 h 6557032"/>
              <a:gd name="connsiteX20353" fmla="*/ 1169836 w 4610101"/>
              <a:gd name="connsiteY20353" fmla="*/ 1061358 h 6557032"/>
              <a:gd name="connsiteX20354" fmla="*/ 1175303 w 4610101"/>
              <a:gd name="connsiteY20354" fmla="*/ 1055891 h 6557032"/>
              <a:gd name="connsiteX20355" fmla="*/ 1104238 w 4610101"/>
              <a:gd name="connsiteY20355" fmla="*/ 1055891 h 6557032"/>
              <a:gd name="connsiteX20356" fmla="*/ 1098771 w 4610101"/>
              <a:gd name="connsiteY20356" fmla="*/ 1057713 h 6557032"/>
              <a:gd name="connsiteX20357" fmla="*/ 1102416 w 4610101"/>
              <a:gd name="connsiteY20357" fmla="*/ 1057713 h 6557032"/>
              <a:gd name="connsiteX20358" fmla="*/ 1104238 w 4610101"/>
              <a:gd name="connsiteY20358" fmla="*/ 1055891 h 6557032"/>
              <a:gd name="connsiteX20359" fmla="*/ 974863 w 4610101"/>
              <a:gd name="connsiteY20359" fmla="*/ 1055891 h 6557032"/>
              <a:gd name="connsiteX20360" fmla="*/ 976686 w 4610101"/>
              <a:gd name="connsiteY20360" fmla="*/ 1065002 h 6557032"/>
              <a:gd name="connsiteX20361" fmla="*/ 980330 w 4610101"/>
              <a:gd name="connsiteY20361" fmla="*/ 1063180 h 6557032"/>
              <a:gd name="connsiteX20362" fmla="*/ 974863 w 4610101"/>
              <a:gd name="connsiteY20362" fmla="*/ 1055891 h 6557032"/>
              <a:gd name="connsiteX20363" fmla="*/ 973041 w 4610101"/>
              <a:gd name="connsiteY20363" fmla="*/ 1055891 h 6557032"/>
              <a:gd name="connsiteX20364" fmla="*/ 971219 w 4610101"/>
              <a:gd name="connsiteY20364" fmla="*/ 1079579 h 6557032"/>
              <a:gd name="connsiteX20365" fmla="*/ 980330 w 4610101"/>
              <a:gd name="connsiteY20365" fmla="*/ 1081402 h 6557032"/>
              <a:gd name="connsiteX20366" fmla="*/ 973041 w 4610101"/>
              <a:gd name="connsiteY20366" fmla="*/ 1065002 h 6557032"/>
              <a:gd name="connsiteX20367" fmla="*/ 973041 w 4610101"/>
              <a:gd name="connsiteY20367" fmla="*/ 1055891 h 6557032"/>
              <a:gd name="connsiteX20368" fmla="*/ 741626 w 4610101"/>
              <a:gd name="connsiteY20368" fmla="*/ 1055891 h 6557032"/>
              <a:gd name="connsiteX20369" fmla="*/ 748914 w 4610101"/>
              <a:gd name="connsiteY20369" fmla="*/ 1059535 h 6557032"/>
              <a:gd name="connsiteX20370" fmla="*/ 741626 w 4610101"/>
              <a:gd name="connsiteY20370" fmla="*/ 1055891 h 6557032"/>
              <a:gd name="connsiteX20371" fmla="*/ 431856 w 4610101"/>
              <a:gd name="connsiteY20371" fmla="*/ 1055891 h 6557032"/>
              <a:gd name="connsiteX20372" fmla="*/ 442789 w 4610101"/>
              <a:gd name="connsiteY20372" fmla="*/ 1066824 h 6557032"/>
              <a:gd name="connsiteX20373" fmla="*/ 431856 w 4610101"/>
              <a:gd name="connsiteY20373" fmla="*/ 1055891 h 6557032"/>
              <a:gd name="connsiteX20374" fmla="*/ 344391 w 4610101"/>
              <a:gd name="connsiteY20374" fmla="*/ 1055891 h 6557032"/>
              <a:gd name="connsiteX20375" fmla="*/ 357146 w 4610101"/>
              <a:gd name="connsiteY20375" fmla="*/ 1072291 h 6557032"/>
              <a:gd name="connsiteX20376" fmla="*/ 344391 w 4610101"/>
              <a:gd name="connsiteY20376" fmla="*/ 1055891 h 6557032"/>
              <a:gd name="connsiteX20377" fmla="*/ 338926 w 4610101"/>
              <a:gd name="connsiteY20377" fmla="*/ 1055891 h 6557032"/>
              <a:gd name="connsiteX20378" fmla="*/ 335280 w 4610101"/>
              <a:gd name="connsiteY20378" fmla="*/ 1057713 h 6557032"/>
              <a:gd name="connsiteX20379" fmla="*/ 355324 w 4610101"/>
              <a:gd name="connsiteY20379" fmla="*/ 1070469 h 6557032"/>
              <a:gd name="connsiteX20380" fmla="*/ 338926 w 4610101"/>
              <a:gd name="connsiteY20380" fmla="*/ 1055891 h 6557032"/>
              <a:gd name="connsiteX20381" fmla="*/ 2364271 w 4610101"/>
              <a:gd name="connsiteY20381" fmla="*/ 1054980 h 6557032"/>
              <a:gd name="connsiteX20382" fmla="*/ 2352427 w 4610101"/>
              <a:gd name="connsiteY20382" fmla="*/ 1059535 h 6557032"/>
              <a:gd name="connsiteX20383" fmla="*/ 2357893 w 4610101"/>
              <a:gd name="connsiteY20383" fmla="*/ 1059535 h 6557032"/>
              <a:gd name="connsiteX20384" fmla="*/ 2370649 w 4610101"/>
              <a:gd name="connsiteY20384" fmla="*/ 1077757 h 6557032"/>
              <a:gd name="connsiteX20385" fmla="*/ 2363360 w 4610101"/>
              <a:gd name="connsiteY20385" fmla="*/ 1059535 h 6557032"/>
              <a:gd name="connsiteX20386" fmla="*/ 2370649 w 4610101"/>
              <a:gd name="connsiteY20386" fmla="*/ 1061358 h 6557032"/>
              <a:gd name="connsiteX20387" fmla="*/ 2364271 w 4610101"/>
              <a:gd name="connsiteY20387" fmla="*/ 1054980 h 6557032"/>
              <a:gd name="connsiteX20388" fmla="*/ 2773531 w 4610101"/>
              <a:gd name="connsiteY20388" fmla="*/ 1054888 h 6557032"/>
              <a:gd name="connsiteX20389" fmla="*/ 2773349 w 4610101"/>
              <a:gd name="connsiteY20389" fmla="*/ 1055891 h 6557032"/>
              <a:gd name="connsiteX20390" fmla="*/ 2753305 w 4610101"/>
              <a:gd name="connsiteY20390" fmla="*/ 1075935 h 6557032"/>
              <a:gd name="connsiteX20391" fmla="*/ 2760138 w 4610101"/>
              <a:gd name="connsiteY20391" fmla="*/ 1061585 h 6557032"/>
              <a:gd name="connsiteX20392" fmla="*/ 266265 w 4610101"/>
              <a:gd name="connsiteY20392" fmla="*/ 1054752 h 6557032"/>
              <a:gd name="connsiteX20393" fmla="*/ 264216 w 4610101"/>
              <a:gd name="connsiteY20393" fmla="*/ 1055891 h 6557032"/>
              <a:gd name="connsiteX20394" fmla="*/ 269682 w 4610101"/>
              <a:gd name="connsiteY20394" fmla="*/ 1057713 h 6557032"/>
              <a:gd name="connsiteX20395" fmla="*/ 266265 w 4610101"/>
              <a:gd name="connsiteY20395" fmla="*/ 1054752 h 6557032"/>
              <a:gd name="connsiteX20396" fmla="*/ 1751109 w 4610101"/>
              <a:gd name="connsiteY20396" fmla="*/ 1054222 h 6557032"/>
              <a:gd name="connsiteX20397" fmla="*/ 1789376 w 4610101"/>
              <a:gd name="connsiteY20397" fmla="*/ 1068802 h 6557032"/>
              <a:gd name="connsiteX20398" fmla="*/ 1782086 w 4610101"/>
              <a:gd name="connsiteY20398" fmla="*/ 1083374 h 6557032"/>
              <a:gd name="connsiteX20399" fmla="*/ 1789376 w 4610101"/>
              <a:gd name="connsiteY20399" fmla="*/ 1097955 h 6557032"/>
              <a:gd name="connsiteX20400" fmla="*/ 1789376 w 4610101"/>
              <a:gd name="connsiteY20400" fmla="*/ 1105245 h 6557032"/>
              <a:gd name="connsiteX20401" fmla="*/ 1758398 w 4610101"/>
              <a:gd name="connsiteY20401" fmla="*/ 1150797 h 6557032"/>
              <a:gd name="connsiteX20402" fmla="*/ 1712844 w 4610101"/>
              <a:gd name="connsiteY20402" fmla="*/ 1134399 h 6557032"/>
              <a:gd name="connsiteX20403" fmla="*/ 1696444 w 4610101"/>
              <a:gd name="connsiteY20403" fmla="*/ 1097955 h 6557032"/>
              <a:gd name="connsiteX20404" fmla="*/ 1712844 w 4610101"/>
              <a:gd name="connsiteY20404" fmla="*/ 1083374 h 6557032"/>
              <a:gd name="connsiteX20405" fmla="*/ 1705555 w 4610101"/>
              <a:gd name="connsiteY20405" fmla="*/ 1068802 h 6557032"/>
              <a:gd name="connsiteX20406" fmla="*/ 1751109 w 4610101"/>
              <a:gd name="connsiteY20406" fmla="*/ 1054222 h 6557032"/>
              <a:gd name="connsiteX20407" fmla="*/ 1118815 w 4610101"/>
              <a:gd name="connsiteY20407" fmla="*/ 1054069 h 6557032"/>
              <a:gd name="connsiteX20408" fmla="*/ 1116993 w 4610101"/>
              <a:gd name="connsiteY20408" fmla="*/ 1055891 h 6557032"/>
              <a:gd name="connsiteX20409" fmla="*/ 1129748 w 4610101"/>
              <a:gd name="connsiteY20409" fmla="*/ 1055891 h 6557032"/>
              <a:gd name="connsiteX20410" fmla="*/ 1118815 w 4610101"/>
              <a:gd name="connsiteY20410" fmla="*/ 1054069 h 6557032"/>
              <a:gd name="connsiteX20411" fmla="*/ 1065972 w 4610101"/>
              <a:gd name="connsiteY20411" fmla="*/ 1054069 h 6557032"/>
              <a:gd name="connsiteX20412" fmla="*/ 1064151 w 4610101"/>
              <a:gd name="connsiteY20412" fmla="*/ 1057713 h 6557032"/>
              <a:gd name="connsiteX20413" fmla="*/ 1067794 w 4610101"/>
              <a:gd name="connsiteY20413" fmla="*/ 1055891 h 6557032"/>
              <a:gd name="connsiteX20414" fmla="*/ 1065972 w 4610101"/>
              <a:gd name="connsiteY20414" fmla="*/ 1054069 h 6557032"/>
              <a:gd name="connsiteX20415" fmla="*/ 903799 w 4610101"/>
              <a:gd name="connsiteY20415" fmla="*/ 1054069 h 6557032"/>
              <a:gd name="connsiteX20416" fmla="*/ 909265 w 4610101"/>
              <a:gd name="connsiteY20416" fmla="*/ 1059535 h 6557032"/>
              <a:gd name="connsiteX20417" fmla="*/ 903799 w 4610101"/>
              <a:gd name="connsiteY20417" fmla="*/ 1059535 h 6557032"/>
              <a:gd name="connsiteX20418" fmla="*/ 903799 w 4610101"/>
              <a:gd name="connsiteY20418" fmla="*/ 1054069 h 6557032"/>
              <a:gd name="connsiteX20419" fmla="*/ 856422 w 4610101"/>
              <a:gd name="connsiteY20419" fmla="*/ 1054069 h 6557032"/>
              <a:gd name="connsiteX20420" fmla="*/ 849133 w 4610101"/>
              <a:gd name="connsiteY20420" fmla="*/ 1059535 h 6557032"/>
              <a:gd name="connsiteX20421" fmla="*/ 863711 w 4610101"/>
              <a:gd name="connsiteY20421" fmla="*/ 1083224 h 6557032"/>
              <a:gd name="connsiteX20422" fmla="*/ 858244 w 4610101"/>
              <a:gd name="connsiteY20422" fmla="*/ 1072291 h 6557032"/>
              <a:gd name="connsiteX20423" fmla="*/ 865533 w 4610101"/>
              <a:gd name="connsiteY20423" fmla="*/ 1072291 h 6557032"/>
              <a:gd name="connsiteX20424" fmla="*/ 856422 w 4610101"/>
              <a:gd name="connsiteY20424" fmla="*/ 1054069 h 6557032"/>
              <a:gd name="connsiteX20425" fmla="*/ 453722 w 4610101"/>
              <a:gd name="connsiteY20425" fmla="*/ 1054069 h 6557032"/>
              <a:gd name="connsiteX20426" fmla="*/ 470121 w 4610101"/>
              <a:gd name="connsiteY20426" fmla="*/ 1068646 h 6557032"/>
              <a:gd name="connsiteX20427" fmla="*/ 453722 w 4610101"/>
              <a:gd name="connsiteY20427" fmla="*/ 1054069 h 6557032"/>
              <a:gd name="connsiteX20428" fmla="*/ 377190 w 4610101"/>
              <a:gd name="connsiteY20428" fmla="*/ 1054069 h 6557032"/>
              <a:gd name="connsiteX20429" fmla="*/ 373546 w 4610101"/>
              <a:gd name="connsiteY20429" fmla="*/ 1055891 h 6557032"/>
              <a:gd name="connsiteX20430" fmla="*/ 377190 w 4610101"/>
              <a:gd name="connsiteY20430" fmla="*/ 1066824 h 6557032"/>
              <a:gd name="connsiteX20431" fmla="*/ 388123 w 4610101"/>
              <a:gd name="connsiteY20431" fmla="*/ 1063180 h 6557032"/>
              <a:gd name="connsiteX20432" fmla="*/ 377190 w 4610101"/>
              <a:gd name="connsiteY20432" fmla="*/ 1054069 h 6557032"/>
              <a:gd name="connsiteX20433" fmla="*/ 251460 w 4610101"/>
              <a:gd name="connsiteY20433" fmla="*/ 1054069 h 6557032"/>
              <a:gd name="connsiteX20434" fmla="*/ 260571 w 4610101"/>
              <a:gd name="connsiteY20434" fmla="*/ 1059535 h 6557032"/>
              <a:gd name="connsiteX20435" fmla="*/ 251460 w 4610101"/>
              <a:gd name="connsiteY20435" fmla="*/ 1054069 h 6557032"/>
              <a:gd name="connsiteX20436" fmla="*/ 187684 w 4610101"/>
              <a:gd name="connsiteY20436" fmla="*/ 1054069 h 6557032"/>
              <a:gd name="connsiteX20437" fmla="*/ 205906 w 4610101"/>
              <a:gd name="connsiteY20437" fmla="*/ 1068646 h 6557032"/>
              <a:gd name="connsiteX20438" fmla="*/ 187684 w 4610101"/>
              <a:gd name="connsiteY20438" fmla="*/ 1054069 h 6557032"/>
              <a:gd name="connsiteX20439" fmla="*/ 176751 w 4610101"/>
              <a:gd name="connsiteY20439" fmla="*/ 1054069 h 6557032"/>
              <a:gd name="connsiteX20440" fmla="*/ 182218 w 4610101"/>
              <a:gd name="connsiteY20440" fmla="*/ 1061358 h 6557032"/>
              <a:gd name="connsiteX20441" fmla="*/ 176751 w 4610101"/>
              <a:gd name="connsiteY20441" fmla="*/ 1054069 h 6557032"/>
              <a:gd name="connsiteX20442" fmla="*/ 1052359 w 4610101"/>
              <a:gd name="connsiteY20442" fmla="*/ 1053640 h 6557032"/>
              <a:gd name="connsiteX20443" fmla="*/ 1051568 w 4610101"/>
              <a:gd name="connsiteY20443" fmla="*/ 1054589 h 6557032"/>
              <a:gd name="connsiteX20444" fmla="*/ 1051395 w 4610101"/>
              <a:gd name="connsiteY20444" fmla="*/ 1054069 h 6557032"/>
              <a:gd name="connsiteX20445" fmla="*/ 2817081 w 4610101"/>
              <a:gd name="connsiteY20445" fmla="*/ 1052247 h 6557032"/>
              <a:gd name="connsiteX20446" fmla="*/ 2809793 w 4610101"/>
              <a:gd name="connsiteY20446" fmla="*/ 1054069 h 6557032"/>
              <a:gd name="connsiteX20447" fmla="*/ 2820726 w 4610101"/>
              <a:gd name="connsiteY20447" fmla="*/ 1074113 h 6557032"/>
              <a:gd name="connsiteX20448" fmla="*/ 2818903 w 4610101"/>
              <a:gd name="connsiteY20448" fmla="*/ 1083224 h 6557032"/>
              <a:gd name="connsiteX20449" fmla="*/ 2826192 w 4610101"/>
              <a:gd name="connsiteY20449" fmla="*/ 1085046 h 6557032"/>
              <a:gd name="connsiteX20450" fmla="*/ 2817081 w 4610101"/>
              <a:gd name="connsiteY20450" fmla="*/ 1052247 h 6557032"/>
              <a:gd name="connsiteX20451" fmla="*/ 2434425 w 4610101"/>
              <a:gd name="connsiteY20451" fmla="*/ 1052247 h 6557032"/>
              <a:gd name="connsiteX20452" fmla="*/ 2438069 w 4610101"/>
              <a:gd name="connsiteY20452" fmla="*/ 1068646 h 6557032"/>
              <a:gd name="connsiteX20453" fmla="*/ 2447180 w 4610101"/>
              <a:gd name="connsiteY20453" fmla="*/ 1055891 h 6557032"/>
              <a:gd name="connsiteX20454" fmla="*/ 2443536 w 4610101"/>
              <a:gd name="connsiteY20454" fmla="*/ 1059535 h 6557032"/>
              <a:gd name="connsiteX20455" fmla="*/ 2441713 w 4610101"/>
              <a:gd name="connsiteY20455" fmla="*/ 1052247 h 6557032"/>
              <a:gd name="connsiteX20456" fmla="*/ 2434425 w 4610101"/>
              <a:gd name="connsiteY20456" fmla="*/ 1052247 h 6557032"/>
              <a:gd name="connsiteX20457" fmla="*/ 810868 w 4610101"/>
              <a:gd name="connsiteY20457" fmla="*/ 1052247 h 6557032"/>
              <a:gd name="connsiteX20458" fmla="*/ 816334 w 4610101"/>
              <a:gd name="connsiteY20458" fmla="*/ 1061358 h 6557032"/>
              <a:gd name="connsiteX20459" fmla="*/ 810868 w 4610101"/>
              <a:gd name="connsiteY20459" fmla="*/ 1052247 h 6557032"/>
              <a:gd name="connsiteX20460" fmla="*/ 807223 w 4610101"/>
              <a:gd name="connsiteY20460" fmla="*/ 1052247 h 6557032"/>
              <a:gd name="connsiteX20461" fmla="*/ 810868 w 4610101"/>
              <a:gd name="connsiteY20461" fmla="*/ 1081402 h 6557032"/>
              <a:gd name="connsiteX20462" fmla="*/ 819979 w 4610101"/>
              <a:gd name="connsiteY20462" fmla="*/ 1074113 h 6557032"/>
              <a:gd name="connsiteX20463" fmla="*/ 812918 w 4610101"/>
              <a:gd name="connsiteY20463" fmla="*/ 1068191 h 6557032"/>
              <a:gd name="connsiteX20464" fmla="*/ 812740 w 4610101"/>
              <a:gd name="connsiteY20464" fmla="*/ 1061424 h 6557032"/>
              <a:gd name="connsiteX20465" fmla="*/ 815424 w 4610101"/>
              <a:gd name="connsiteY20465" fmla="*/ 1065002 h 6557032"/>
              <a:gd name="connsiteX20466" fmla="*/ 818156 w 4610101"/>
              <a:gd name="connsiteY20466" fmla="*/ 1068646 h 6557032"/>
              <a:gd name="connsiteX20467" fmla="*/ 817473 w 4610101"/>
              <a:gd name="connsiteY20467" fmla="*/ 1064318 h 6557032"/>
              <a:gd name="connsiteX20468" fmla="*/ 812739 w 4610101"/>
              <a:gd name="connsiteY20468" fmla="*/ 1061388 h 6557032"/>
              <a:gd name="connsiteX20469" fmla="*/ 812690 w 4610101"/>
              <a:gd name="connsiteY20469" fmla="*/ 1059535 h 6557032"/>
              <a:gd name="connsiteX20470" fmla="*/ 807223 w 4610101"/>
              <a:gd name="connsiteY20470" fmla="*/ 1052247 h 6557032"/>
              <a:gd name="connsiteX20471" fmla="*/ 781713 w 4610101"/>
              <a:gd name="connsiteY20471" fmla="*/ 1052247 h 6557032"/>
              <a:gd name="connsiteX20472" fmla="*/ 779892 w 4610101"/>
              <a:gd name="connsiteY20472" fmla="*/ 1061358 h 6557032"/>
              <a:gd name="connsiteX20473" fmla="*/ 781713 w 4610101"/>
              <a:gd name="connsiteY20473" fmla="*/ 1059535 h 6557032"/>
              <a:gd name="connsiteX20474" fmla="*/ 778070 w 4610101"/>
              <a:gd name="connsiteY20474" fmla="*/ 1065002 h 6557032"/>
              <a:gd name="connsiteX20475" fmla="*/ 789003 w 4610101"/>
              <a:gd name="connsiteY20475" fmla="*/ 1066824 h 6557032"/>
              <a:gd name="connsiteX20476" fmla="*/ 781713 w 4610101"/>
              <a:gd name="connsiteY20476" fmla="*/ 1052247 h 6557032"/>
              <a:gd name="connsiteX20477" fmla="*/ 750737 w 4610101"/>
              <a:gd name="connsiteY20477" fmla="*/ 1052247 h 6557032"/>
              <a:gd name="connsiteX20478" fmla="*/ 754380 w 4610101"/>
              <a:gd name="connsiteY20478" fmla="*/ 1061358 h 6557032"/>
              <a:gd name="connsiteX20479" fmla="*/ 750737 w 4610101"/>
              <a:gd name="connsiteY20479" fmla="*/ 1052247 h 6557032"/>
              <a:gd name="connsiteX20480" fmla="*/ 721581 w 4610101"/>
              <a:gd name="connsiteY20480" fmla="*/ 1052247 h 6557032"/>
              <a:gd name="connsiteX20481" fmla="*/ 719759 w 4610101"/>
              <a:gd name="connsiteY20481" fmla="*/ 1054069 h 6557032"/>
              <a:gd name="connsiteX20482" fmla="*/ 723404 w 4610101"/>
              <a:gd name="connsiteY20482" fmla="*/ 1059535 h 6557032"/>
              <a:gd name="connsiteX20483" fmla="*/ 721581 w 4610101"/>
              <a:gd name="connsiteY20483" fmla="*/ 1052247 h 6557032"/>
              <a:gd name="connsiteX20484" fmla="*/ 659627 w 4610101"/>
              <a:gd name="connsiteY20484" fmla="*/ 1052247 h 6557032"/>
              <a:gd name="connsiteX20485" fmla="*/ 665094 w 4610101"/>
              <a:gd name="connsiteY20485" fmla="*/ 1057713 h 6557032"/>
              <a:gd name="connsiteX20486" fmla="*/ 666916 w 4610101"/>
              <a:gd name="connsiteY20486" fmla="*/ 1054069 h 6557032"/>
              <a:gd name="connsiteX20487" fmla="*/ 659627 w 4610101"/>
              <a:gd name="connsiteY20487" fmla="*/ 1052247 h 6557032"/>
              <a:gd name="connsiteX20488" fmla="*/ 348037 w 4610101"/>
              <a:gd name="connsiteY20488" fmla="*/ 1052247 h 6557032"/>
              <a:gd name="connsiteX20489" fmla="*/ 373546 w 4610101"/>
              <a:gd name="connsiteY20489" fmla="*/ 1077757 h 6557032"/>
              <a:gd name="connsiteX20490" fmla="*/ 368079 w 4610101"/>
              <a:gd name="connsiteY20490" fmla="*/ 1072291 h 6557032"/>
              <a:gd name="connsiteX20491" fmla="*/ 368079 w 4610101"/>
              <a:gd name="connsiteY20491" fmla="*/ 1066824 h 6557032"/>
              <a:gd name="connsiteX20492" fmla="*/ 360791 w 4610101"/>
              <a:gd name="connsiteY20492" fmla="*/ 1065002 h 6557032"/>
              <a:gd name="connsiteX20493" fmla="*/ 362613 w 4610101"/>
              <a:gd name="connsiteY20493" fmla="*/ 1063180 h 6557032"/>
              <a:gd name="connsiteX20494" fmla="*/ 348037 w 4610101"/>
              <a:gd name="connsiteY20494" fmla="*/ 1052247 h 6557032"/>
              <a:gd name="connsiteX20495" fmla="*/ 2774134 w 4610101"/>
              <a:gd name="connsiteY20495" fmla="*/ 1051578 h 6557032"/>
              <a:gd name="connsiteX20496" fmla="*/ 2775171 w 4610101"/>
              <a:gd name="connsiteY20496" fmla="*/ 1054069 h 6557032"/>
              <a:gd name="connsiteX20497" fmla="*/ 2773531 w 4610101"/>
              <a:gd name="connsiteY20497" fmla="*/ 1054888 h 6557032"/>
              <a:gd name="connsiteX20498" fmla="*/ 2314161 w 4610101"/>
              <a:gd name="connsiteY20498" fmla="*/ 1050425 h 6557032"/>
              <a:gd name="connsiteX20499" fmla="*/ 2315983 w 4610101"/>
              <a:gd name="connsiteY20499" fmla="*/ 1052247 h 6557032"/>
              <a:gd name="connsiteX20500" fmla="*/ 2317806 w 4610101"/>
              <a:gd name="connsiteY20500" fmla="*/ 1052247 h 6557032"/>
              <a:gd name="connsiteX20501" fmla="*/ 1157081 w 4610101"/>
              <a:gd name="connsiteY20501" fmla="*/ 1050425 h 6557032"/>
              <a:gd name="connsiteX20502" fmla="*/ 1155259 w 4610101"/>
              <a:gd name="connsiteY20502" fmla="*/ 1052247 h 6557032"/>
              <a:gd name="connsiteX20503" fmla="*/ 1160725 w 4610101"/>
              <a:gd name="connsiteY20503" fmla="*/ 1052247 h 6557032"/>
              <a:gd name="connsiteX20504" fmla="*/ 1157081 w 4610101"/>
              <a:gd name="connsiteY20504" fmla="*/ 1050425 h 6557032"/>
              <a:gd name="connsiteX20505" fmla="*/ 1111526 w 4610101"/>
              <a:gd name="connsiteY20505" fmla="*/ 1050425 h 6557032"/>
              <a:gd name="connsiteX20506" fmla="*/ 1116993 w 4610101"/>
              <a:gd name="connsiteY20506" fmla="*/ 1054069 h 6557032"/>
              <a:gd name="connsiteX20507" fmla="*/ 1118815 w 4610101"/>
              <a:gd name="connsiteY20507" fmla="*/ 1052247 h 6557032"/>
              <a:gd name="connsiteX20508" fmla="*/ 1111526 w 4610101"/>
              <a:gd name="connsiteY20508" fmla="*/ 1050425 h 6557032"/>
              <a:gd name="connsiteX20509" fmla="*/ 1022240 w 4610101"/>
              <a:gd name="connsiteY20509" fmla="*/ 1050425 h 6557032"/>
              <a:gd name="connsiteX20510" fmla="*/ 1020418 w 4610101"/>
              <a:gd name="connsiteY20510" fmla="*/ 1059535 h 6557032"/>
              <a:gd name="connsiteX20511" fmla="*/ 1024062 w 4610101"/>
              <a:gd name="connsiteY20511" fmla="*/ 1052247 h 6557032"/>
              <a:gd name="connsiteX20512" fmla="*/ 1022240 w 4610101"/>
              <a:gd name="connsiteY20512" fmla="*/ 1050425 h 6557032"/>
              <a:gd name="connsiteX20513" fmla="*/ 891043 w 4610101"/>
              <a:gd name="connsiteY20513" fmla="*/ 1050425 h 6557032"/>
              <a:gd name="connsiteX20514" fmla="*/ 891043 w 4610101"/>
              <a:gd name="connsiteY20514" fmla="*/ 1059535 h 6557032"/>
              <a:gd name="connsiteX20515" fmla="*/ 894688 w 4610101"/>
              <a:gd name="connsiteY20515" fmla="*/ 1054069 h 6557032"/>
              <a:gd name="connsiteX20516" fmla="*/ 891043 w 4610101"/>
              <a:gd name="connsiteY20516" fmla="*/ 1050425 h 6557032"/>
              <a:gd name="connsiteX20517" fmla="*/ 196795 w 4610101"/>
              <a:gd name="connsiteY20517" fmla="*/ 1050425 h 6557032"/>
              <a:gd name="connsiteX20518" fmla="*/ 199225 w 4610101"/>
              <a:gd name="connsiteY20518" fmla="*/ 1054069 h 6557032"/>
              <a:gd name="connsiteX20519" fmla="*/ 198617 w 4610101"/>
              <a:gd name="connsiteY20519" fmla="*/ 1054069 h 6557032"/>
              <a:gd name="connsiteX20520" fmla="*/ 204084 w 4610101"/>
              <a:gd name="connsiteY20520" fmla="*/ 1061358 h 6557032"/>
              <a:gd name="connsiteX20521" fmla="*/ 199225 w 4610101"/>
              <a:gd name="connsiteY20521" fmla="*/ 1054069 h 6557032"/>
              <a:gd name="connsiteX20522" fmla="*/ 200439 w 4610101"/>
              <a:gd name="connsiteY20522" fmla="*/ 1054069 h 6557032"/>
              <a:gd name="connsiteX20523" fmla="*/ 196795 w 4610101"/>
              <a:gd name="connsiteY20523" fmla="*/ 1050425 h 6557032"/>
              <a:gd name="connsiteX20524" fmla="*/ 253738 w 4610101"/>
              <a:gd name="connsiteY20524" fmla="*/ 1050424 h 6557032"/>
              <a:gd name="connsiteX20525" fmla="*/ 245994 w 4610101"/>
              <a:gd name="connsiteY20525" fmla="*/ 1052247 h 6557032"/>
              <a:gd name="connsiteX20526" fmla="*/ 258749 w 4610101"/>
              <a:gd name="connsiteY20526" fmla="*/ 1054069 h 6557032"/>
              <a:gd name="connsiteX20527" fmla="*/ 253738 w 4610101"/>
              <a:gd name="connsiteY20527" fmla="*/ 1050424 h 6557032"/>
              <a:gd name="connsiteX20528" fmla="*/ 3134140 w 4610101"/>
              <a:gd name="connsiteY20528" fmla="*/ 1048602 h 6557032"/>
              <a:gd name="connsiteX20529" fmla="*/ 3134140 w 4610101"/>
              <a:gd name="connsiteY20529" fmla="*/ 1059535 h 6557032"/>
              <a:gd name="connsiteX20530" fmla="*/ 3134140 w 4610101"/>
              <a:gd name="connsiteY20530" fmla="*/ 1048602 h 6557032"/>
              <a:gd name="connsiteX20531" fmla="*/ 907444 w 4610101"/>
              <a:gd name="connsiteY20531" fmla="*/ 1048602 h 6557032"/>
              <a:gd name="connsiteX20532" fmla="*/ 898333 w 4610101"/>
              <a:gd name="connsiteY20532" fmla="*/ 1055891 h 6557032"/>
              <a:gd name="connsiteX20533" fmla="*/ 905621 w 4610101"/>
              <a:gd name="connsiteY20533" fmla="*/ 1063180 h 6557032"/>
              <a:gd name="connsiteX20534" fmla="*/ 909265 w 4610101"/>
              <a:gd name="connsiteY20534" fmla="*/ 1059535 h 6557032"/>
              <a:gd name="connsiteX20535" fmla="*/ 907444 w 4610101"/>
              <a:gd name="connsiteY20535" fmla="*/ 1048602 h 6557032"/>
              <a:gd name="connsiteX20536" fmla="*/ 884666 w 4610101"/>
              <a:gd name="connsiteY20536" fmla="*/ 1048147 h 6557032"/>
              <a:gd name="connsiteX20537" fmla="*/ 880111 w 4610101"/>
              <a:gd name="connsiteY20537" fmla="*/ 1050425 h 6557032"/>
              <a:gd name="connsiteX20538" fmla="*/ 881933 w 4610101"/>
              <a:gd name="connsiteY20538" fmla="*/ 1052247 h 6557032"/>
              <a:gd name="connsiteX20539" fmla="*/ 878288 w 4610101"/>
              <a:gd name="connsiteY20539" fmla="*/ 1050425 h 6557032"/>
              <a:gd name="connsiteX20540" fmla="*/ 869177 w 4610101"/>
              <a:gd name="connsiteY20540" fmla="*/ 1052247 h 6557032"/>
              <a:gd name="connsiteX20541" fmla="*/ 871000 w 4610101"/>
              <a:gd name="connsiteY20541" fmla="*/ 1059535 h 6557032"/>
              <a:gd name="connsiteX20542" fmla="*/ 881933 w 4610101"/>
              <a:gd name="connsiteY20542" fmla="*/ 1075935 h 6557032"/>
              <a:gd name="connsiteX20543" fmla="*/ 881933 w 4610101"/>
              <a:gd name="connsiteY20543" fmla="*/ 1074113 h 6557032"/>
              <a:gd name="connsiteX20544" fmla="*/ 883755 w 4610101"/>
              <a:gd name="connsiteY20544" fmla="*/ 1054069 h 6557032"/>
              <a:gd name="connsiteX20545" fmla="*/ 887399 w 4610101"/>
              <a:gd name="connsiteY20545" fmla="*/ 1055891 h 6557032"/>
              <a:gd name="connsiteX20546" fmla="*/ 889222 w 4610101"/>
              <a:gd name="connsiteY20546" fmla="*/ 1048602 h 6557032"/>
              <a:gd name="connsiteX20547" fmla="*/ 884666 w 4610101"/>
              <a:gd name="connsiteY20547" fmla="*/ 1048147 h 6557032"/>
              <a:gd name="connsiteX20548" fmla="*/ 1276731 w 4610101"/>
              <a:gd name="connsiteY20548" fmla="*/ 1046798 h 6557032"/>
              <a:gd name="connsiteX20549" fmla="*/ 1275522 w 4610101"/>
              <a:gd name="connsiteY20549" fmla="*/ 1050425 h 6557032"/>
              <a:gd name="connsiteX20550" fmla="*/ 1273875 w 4610101"/>
              <a:gd name="connsiteY20550" fmla="*/ 1047131 h 6557032"/>
              <a:gd name="connsiteX20551" fmla="*/ 1275294 w 4610101"/>
              <a:gd name="connsiteY20551" fmla="*/ 1047463 h 6557032"/>
              <a:gd name="connsiteX20552" fmla="*/ 1016774 w 4610101"/>
              <a:gd name="connsiteY20552" fmla="*/ 1046780 h 6557032"/>
              <a:gd name="connsiteX20553" fmla="*/ 1014951 w 4610101"/>
              <a:gd name="connsiteY20553" fmla="*/ 1059535 h 6557032"/>
              <a:gd name="connsiteX20554" fmla="*/ 1016774 w 4610101"/>
              <a:gd name="connsiteY20554" fmla="*/ 1046780 h 6557032"/>
              <a:gd name="connsiteX20555" fmla="*/ 871000 w 4610101"/>
              <a:gd name="connsiteY20555" fmla="*/ 1046780 h 6557032"/>
              <a:gd name="connsiteX20556" fmla="*/ 869177 w 4610101"/>
              <a:gd name="connsiteY20556" fmla="*/ 1048602 h 6557032"/>
              <a:gd name="connsiteX20557" fmla="*/ 872822 w 4610101"/>
              <a:gd name="connsiteY20557" fmla="*/ 1048602 h 6557032"/>
              <a:gd name="connsiteX20558" fmla="*/ 871000 w 4610101"/>
              <a:gd name="connsiteY20558" fmla="*/ 1046780 h 6557032"/>
              <a:gd name="connsiteX20559" fmla="*/ 810868 w 4610101"/>
              <a:gd name="connsiteY20559" fmla="*/ 1046780 h 6557032"/>
              <a:gd name="connsiteX20560" fmla="*/ 807223 w 4610101"/>
              <a:gd name="connsiteY20560" fmla="*/ 1050425 h 6557032"/>
              <a:gd name="connsiteX20561" fmla="*/ 812690 w 4610101"/>
              <a:gd name="connsiteY20561" fmla="*/ 1052247 h 6557032"/>
              <a:gd name="connsiteX20562" fmla="*/ 810868 w 4610101"/>
              <a:gd name="connsiteY20562" fmla="*/ 1046780 h 6557032"/>
              <a:gd name="connsiteX20563" fmla="*/ 655983 w 4610101"/>
              <a:gd name="connsiteY20563" fmla="*/ 1046780 h 6557032"/>
              <a:gd name="connsiteX20564" fmla="*/ 665094 w 4610101"/>
              <a:gd name="connsiteY20564" fmla="*/ 1050425 h 6557032"/>
              <a:gd name="connsiteX20565" fmla="*/ 655983 w 4610101"/>
              <a:gd name="connsiteY20565" fmla="*/ 1046780 h 6557032"/>
              <a:gd name="connsiteX20566" fmla="*/ 420923 w 4610101"/>
              <a:gd name="connsiteY20566" fmla="*/ 1046780 h 6557032"/>
              <a:gd name="connsiteX20567" fmla="*/ 428211 w 4610101"/>
              <a:gd name="connsiteY20567" fmla="*/ 1057713 h 6557032"/>
              <a:gd name="connsiteX20568" fmla="*/ 430034 w 4610101"/>
              <a:gd name="connsiteY20568" fmla="*/ 1050425 h 6557032"/>
              <a:gd name="connsiteX20569" fmla="*/ 420923 w 4610101"/>
              <a:gd name="connsiteY20569" fmla="*/ 1046780 h 6557032"/>
              <a:gd name="connsiteX20570" fmla="*/ 311592 w 4610101"/>
              <a:gd name="connsiteY20570" fmla="*/ 1046780 h 6557032"/>
              <a:gd name="connsiteX20571" fmla="*/ 326169 w 4610101"/>
              <a:gd name="connsiteY20571" fmla="*/ 1055891 h 6557032"/>
              <a:gd name="connsiteX20572" fmla="*/ 318882 w 4610101"/>
              <a:gd name="connsiteY20572" fmla="*/ 1046780 h 6557032"/>
              <a:gd name="connsiteX20573" fmla="*/ 311592 w 4610101"/>
              <a:gd name="connsiteY20573" fmla="*/ 1046780 h 6557032"/>
              <a:gd name="connsiteX20574" fmla="*/ 125730 w 4610101"/>
              <a:gd name="connsiteY20574" fmla="*/ 1046780 h 6557032"/>
              <a:gd name="connsiteX20575" fmla="*/ 143952 w 4610101"/>
              <a:gd name="connsiteY20575" fmla="*/ 1059535 h 6557032"/>
              <a:gd name="connsiteX20576" fmla="*/ 125730 w 4610101"/>
              <a:gd name="connsiteY20576" fmla="*/ 1046780 h 6557032"/>
              <a:gd name="connsiteX20577" fmla="*/ 3297233 w 4610101"/>
              <a:gd name="connsiteY20577" fmla="*/ 1045564 h 6557032"/>
              <a:gd name="connsiteX20578" fmla="*/ 3296996 w 4610101"/>
              <a:gd name="connsiteY20578" fmla="*/ 1045641 h 6557032"/>
              <a:gd name="connsiteX20579" fmla="*/ 3289969 w 4610101"/>
              <a:gd name="connsiteY20579" fmla="*/ 1048725 h 6557032"/>
              <a:gd name="connsiteX20580" fmla="*/ 3294719 w 4610101"/>
              <a:gd name="connsiteY20580" fmla="*/ 1045869 h 6557032"/>
              <a:gd name="connsiteX20581" fmla="*/ 3084941 w 4610101"/>
              <a:gd name="connsiteY20581" fmla="*/ 1044958 h 6557032"/>
              <a:gd name="connsiteX20582" fmla="*/ 3075830 w 4610101"/>
              <a:gd name="connsiteY20582" fmla="*/ 1050425 h 6557032"/>
              <a:gd name="connsiteX20583" fmla="*/ 3079474 w 4610101"/>
              <a:gd name="connsiteY20583" fmla="*/ 1059535 h 6557032"/>
              <a:gd name="connsiteX20584" fmla="*/ 3095874 w 4610101"/>
              <a:gd name="connsiteY20584" fmla="*/ 1057713 h 6557032"/>
              <a:gd name="connsiteX20585" fmla="*/ 3084941 w 4610101"/>
              <a:gd name="connsiteY20585" fmla="*/ 1044958 h 6557032"/>
              <a:gd name="connsiteX20586" fmla="*/ 2299584 w 4610101"/>
              <a:gd name="connsiteY20586" fmla="*/ 1044958 h 6557032"/>
              <a:gd name="connsiteX20587" fmla="*/ 2303228 w 4610101"/>
              <a:gd name="connsiteY20587" fmla="*/ 1054069 h 6557032"/>
              <a:gd name="connsiteX20588" fmla="*/ 2305050 w 4610101"/>
              <a:gd name="connsiteY20588" fmla="*/ 1046780 h 6557032"/>
              <a:gd name="connsiteX20589" fmla="*/ 2305050 w 4610101"/>
              <a:gd name="connsiteY20589" fmla="*/ 1052247 h 6557032"/>
              <a:gd name="connsiteX20590" fmla="*/ 2310517 w 4610101"/>
              <a:gd name="connsiteY20590" fmla="*/ 1048602 h 6557032"/>
              <a:gd name="connsiteX20591" fmla="*/ 2235808 w 4610101"/>
              <a:gd name="connsiteY20591" fmla="*/ 1044958 h 6557032"/>
              <a:gd name="connsiteX20592" fmla="*/ 2221230 w 4610101"/>
              <a:gd name="connsiteY20592" fmla="*/ 1075935 h 6557032"/>
              <a:gd name="connsiteX20593" fmla="*/ 2233274 w 4610101"/>
              <a:gd name="connsiteY20593" fmla="*/ 1071418 h 6557032"/>
              <a:gd name="connsiteX20594" fmla="*/ 2228520 w 4610101"/>
              <a:gd name="connsiteY20594" fmla="*/ 1077757 h 6557032"/>
              <a:gd name="connsiteX20595" fmla="*/ 2228519 w 4610101"/>
              <a:gd name="connsiteY20595" fmla="*/ 1077757 h 6557032"/>
              <a:gd name="connsiteX20596" fmla="*/ 2223053 w 4610101"/>
              <a:gd name="connsiteY20596" fmla="*/ 1085046 h 6557032"/>
              <a:gd name="connsiteX20597" fmla="*/ 2228520 w 4610101"/>
              <a:gd name="connsiteY20597" fmla="*/ 1077757 h 6557032"/>
              <a:gd name="connsiteX20598" fmla="*/ 2232163 w 4610101"/>
              <a:gd name="connsiteY20598" fmla="*/ 1083224 h 6557032"/>
              <a:gd name="connsiteX20599" fmla="*/ 2252207 w 4610101"/>
              <a:gd name="connsiteY20599" fmla="*/ 1068646 h 6557032"/>
              <a:gd name="connsiteX20600" fmla="*/ 2244919 w 4610101"/>
              <a:gd name="connsiteY20600" fmla="*/ 1068646 h 6557032"/>
              <a:gd name="connsiteX20601" fmla="*/ 2241503 w 4610101"/>
              <a:gd name="connsiteY20601" fmla="*/ 1071607 h 6557032"/>
              <a:gd name="connsiteX20602" fmla="*/ 2235283 w 4610101"/>
              <a:gd name="connsiteY20602" fmla="*/ 1070665 h 6557032"/>
              <a:gd name="connsiteX20603" fmla="*/ 2250385 w 4610101"/>
              <a:gd name="connsiteY20603" fmla="*/ 1065002 h 6557032"/>
              <a:gd name="connsiteX20604" fmla="*/ 2255852 w 4610101"/>
              <a:gd name="connsiteY20604" fmla="*/ 1050425 h 6557032"/>
              <a:gd name="connsiteX20605" fmla="*/ 2248563 w 4610101"/>
              <a:gd name="connsiteY20605" fmla="*/ 1048602 h 6557032"/>
              <a:gd name="connsiteX20606" fmla="*/ 2244919 w 4610101"/>
              <a:gd name="connsiteY20606" fmla="*/ 1059535 h 6557032"/>
              <a:gd name="connsiteX20607" fmla="*/ 2233986 w 4610101"/>
              <a:gd name="connsiteY20607" fmla="*/ 1066824 h 6557032"/>
              <a:gd name="connsiteX20608" fmla="*/ 2233986 w 4610101"/>
              <a:gd name="connsiteY20608" fmla="*/ 1055891 h 6557032"/>
              <a:gd name="connsiteX20609" fmla="*/ 2223053 w 4610101"/>
              <a:gd name="connsiteY20609" fmla="*/ 1063180 h 6557032"/>
              <a:gd name="connsiteX20610" fmla="*/ 2235808 w 4610101"/>
              <a:gd name="connsiteY20610" fmla="*/ 1044958 h 6557032"/>
              <a:gd name="connsiteX20611" fmla="*/ 1142503 w 4610101"/>
              <a:gd name="connsiteY20611" fmla="*/ 1044958 h 6557032"/>
              <a:gd name="connsiteX20612" fmla="*/ 1138859 w 4610101"/>
              <a:gd name="connsiteY20612" fmla="*/ 1048602 h 6557032"/>
              <a:gd name="connsiteX20613" fmla="*/ 1142503 w 4610101"/>
              <a:gd name="connsiteY20613" fmla="*/ 1044958 h 6557032"/>
              <a:gd name="connsiteX20614" fmla="*/ 922020 w 4610101"/>
              <a:gd name="connsiteY20614" fmla="*/ 1044958 h 6557032"/>
              <a:gd name="connsiteX20615" fmla="*/ 923843 w 4610101"/>
              <a:gd name="connsiteY20615" fmla="*/ 1066824 h 6557032"/>
              <a:gd name="connsiteX20616" fmla="*/ 922020 w 4610101"/>
              <a:gd name="connsiteY20616" fmla="*/ 1044958 h 6557032"/>
              <a:gd name="connsiteX20617" fmla="*/ 894688 w 4610101"/>
              <a:gd name="connsiteY20617" fmla="*/ 1044958 h 6557032"/>
              <a:gd name="connsiteX20618" fmla="*/ 891043 w 4610101"/>
              <a:gd name="connsiteY20618" fmla="*/ 1046780 h 6557032"/>
              <a:gd name="connsiteX20619" fmla="*/ 894688 w 4610101"/>
              <a:gd name="connsiteY20619" fmla="*/ 1052247 h 6557032"/>
              <a:gd name="connsiteX20620" fmla="*/ 894688 w 4610101"/>
              <a:gd name="connsiteY20620" fmla="*/ 1044958 h 6557032"/>
              <a:gd name="connsiteX20621" fmla="*/ 821801 w 4610101"/>
              <a:gd name="connsiteY20621" fmla="*/ 1044958 h 6557032"/>
              <a:gd name="connsiteX20622" fmla="*/ 821801 w 4610101"/>
              <a:gd name="connsiteY20622" fmla="*/ 1052247 h 6557032"/>
              <a:gd name="connsiteX20623" fmla="*/ 821801 w 4610101"/>
              <a:gd name="connsiteY20623" fmla="*/ 1044958 h 6557032"/>
              <a:gd name="connsiteX20624" fmla="*/ 380835 w 4610101"/>
              <a:gd name="connsiteY20624" fmla="*/ 1044958 h 6557032"/>
              <a:gd name="connsiteX20625" fmla="*/ 413634 w 4610101"/>
              <a:gd name="connsiteY20625" fmla="*/ 1068646 h 6557032"/>
              <a:gd name="connsiteX20626" fmla="*/ 400879 w 4610101"/>
              <a:gd name="connsiteY20626" fmla="*/ 1055891 h 6557032"/>
              <a:gd name="connsiteX20627" fmla="*/ 380835 w 4610101"/>
              <a:gd name="connsiteY20627" fmla="*/ 1044958 h 6557032"/>
              <a:gd name="connsiteX20628" fmla="*/ 368079 w 4610101"/>
              <a:gd name="connsiteY20628" fmla="*/ 1044958 h 6557032"/>
              <a:gd name="connsiteX20629" fmla="*/ 377190 w 4610101"/>
              <a:gd name="connsiteY20629" fmla="*/ 1050425 h 6557032"/>
              <a:gd name="connsiteX20630" fmla="*/ 368079 w 4610101"/>
              <a:gd name="connsiteY20630" fmla="*/ 1044958 h 6557032"/>
              <a:gd name="connsiteX20631" fmla="*/ 324347 w 4610101"/>
              <a:gd name="connsiteY20631" fmla="*/ 1044958 h 6557032"/>
              <a:gd name="connsiteX20632" fmla="*/ 337102 w 4610101"/>
              <a:gd name="connsiteY20632" fmla="*/ 1055891 h 6557032"/>
              <a:gd name="connsiteX20633" fmla="*/ 324347 w 4610101"/>
              <a:gd name="connsiteY20633" fmla="*/ 1044958 h 6557032"/>
              <a:gd name="connsiteX20634" fmla="*/ 202262 w 4610101"/>
              <a:gd name="connsiteY20634" fmla="*/ 1044958 h 6557032"/>
              <a:gd name="connsiteX20635" fmla="*/ 240527 w 4610101"/>
              <a:gd name="connsiteY20635" fmla="*/ 1077757 h 6557032"/>
              <a:gd name="connsiteX20636" fmla="*/ 202262 w 4610101"/>
              <a:gd name="connsiteY20636" fmla="*/ 1044958 h 6557032"/>
              <a:gd name="connsiteX20637" fmla="*/ 3141428 w 4610101"/>
              <a:gd name="connsiteY20637" fmla="*/ 1043136 h 6557032"/>
              <a:gd name="connsiteX20638" fmla="*/ 3137784 w 4610101"/>
              <a:gd name="connsiteY20638" fmla="*/ 1052247 h 6557032"/>
              <a:gd name="connsiteX20639" fmla="*/ 3141428 w 4610101"/>
              <a:gd name="connsiteY20639" fmla="*/ 1055891 h 6557032"/>
              <a:gd name="connsiteX20640" fmla="*/ 3148717 w 4610101"/>
              <a:gd name="connsiteY20640" fmla="*/ 1050425 h 6557032"/>
              <a:gd name="connsiteX20641" fmla="*/ 3141428 w 4610101"/>
              <a:gd name="connsiteY20641" fmla="*/ 1043136 h 6557032"/>
              <a:gd name="connsiteX20642" fmla="*/ 1271878 w 4610101"/>
              <a:gd name="connsiteY20642" fmla="*/ 1043136 h 6557032"/>
              <a:gd name="connsiteX20643" fmla="*/ 1273875 w 4610101"/>
              <a:gd name="connsiteY20643" fmla="*/ 1047131 h 6557032"/>
              <a:gd name="connsiteX20644" fmla="*/ 1264589 w 4610101"/>
              <a:gd name="connsiteY20644" fmla="*/ 1044958 h 6557032"/>
              <a:gd name="connsiteX20645" fmla="*/ 1271878 w 4610101"/>
              <a:gd name="connsiteY20645" fmla="*/ 1043136 h 6557032"/>
              <a:gd name="connsiteX20646" fmla="*/ 1211747 w 4610101"/>
              <a:gd name="connsiteY20646" fmla="*/ 1043136 h 6557032"/>
              <a:gd name="connsiteX20647" fmla="*/ 1209241 w 4610101"/>
              <a:gd name="connsiteY20647" fmla="*/ 1050197 h 6557032"/>
              <a:gd name="connsiteX20648" fmla="*/ 1204064 w 4610101"/>
              <a:gd name="connsiteY20648" fmla="*/ 1054660 h 6557032"/>
              <a:gd name="connsiteX20649" fmla="*/ 1149792 w 4610101"/>
              <a:gd name="connsiteY20649" fmla="*/ 1043136 h 6557032"/>
              <a:gd name="connsiteX20650" fmla="*/ 1146148 w 4610101"/>
              <a:gd name="connsiteY20650" fmla="*/ 1046780 h 6557032"/>
              <a:gd name="connsiteX20651" fmla="*/ 1149792 w 4610101"/>
              <a:gd name="connsiteY20651" fmla="*/ 1043136 h 6557032"/>
              <a:gd name="connsiteX20652" fmla="*/ 1091484 w 4610101"/>
              <a:gd name="connsiteY20652" fmla="*/ 1043136 h 6557032"/>
              <a:gd name="connsiteX20653" fmla="*/ 1091484 w 4610101"/>
              <a:gd name="connsiteY20653" fmla="*/ 1048602 h 6557032"/>
              <a:gd name="connsiteX20654" fmla="*/ 1091484 w 4610101"/>
              <a:gd name="connsiteY20654" fmla="*/ 1052247 h 6557032"/>
              <a:gd name="connsiteX20655" fmla="*/ 1098771 w 4610101"/>
              <a:gd name="connsiteY20655" fmla="*/ 1050425 h 6557032"/>
              <a:gd name="connsiteX20656" fmla="*/ 1096949 w 4610101"/>
              <a:gd name="connsiteY20656" fmla="*/ 1044958 h 6557032"/>
              <a:gd name="connsiteX20657" fmla="*/ 1091484 w 4610101"/>
              <a:gd name="connsiteY20657" fmla="*/ 1048602 h 6557032"/>
              <a:gd name="connsiteX20658" fmla="*/ 1095127 w 4610101"/>
              <a:gd name="connsiteY20658" fmla="*/ 1044958 h 6557032"/>
              <a:gd name="connsiteX20659" fmla="*/ 1091484 w 4610101"/>
              <a:gd name="connsiteY20659" fmla="*/ 1043136 h 6557032"/>
              <a:gd name="connsiteX20660" fmla="*/ 1047750 w 4610101"/>
              <a:gd name="connsiteY20660" fmla="*/ 1043136 h 6557032"/>
              <a:gd name="connsiteX20661" fmla="*/ 1045929 w 4610101"/>
              <a:gd name="connsiteY20661" fmla="*/ 1061358 h 6557032"/>
              <a:gd name="connsiteX20662" fmla="*/ 1051568 w 4610101"/>
              <a:gd name="connsiteY20662" fmla="*/ 1054589 h 6557032"/>
              <a:gd name="connsiteX20663" fmla="*/ 1053217 w 4610101"/>
              <a:gd name="connsiteY20663" fmla="*/ 1059535 h 6557032"/>
              <a:gd name="connsiteX20664" fmla="*/ 1056861 w 4610101"/>
              <a:gd name="connsiteY20664" fmla="*/ 1057713 h 6557032"/>
              <a:gd name="connsiteX20665" fmla="*/ 1055040 w 4610101"/>
              <a:gd name="connsiteY20665" fmla="*/ 1057713 h 6557032"/>
              <a:gd name="connsiteX20666" fmla="*/ 1056861 w 4610101"/>
              <a:gd name="connsiteY20666" fmla="*/ 1050425 h 6557032"/>
              <a:gd name="connsiteX20667" fmla="*/ 1055494 w 4610101"/>
              <a:gd name="connsiteY20667" fmla="*/ 1052247 h 6557032"/>
              <a:gd name="connsiteX20668" fmla="*/ 1052359 w 4610101"/>
              <a:gd name="connsiteY20668" fmla="*/ 1053640 h 6557032"/>
              <a:gd name="connsiteX20669" fmla="*/ 1055040 w 4610101"/>
              <a:gd name="connsiteY20669" fmla="*/ 1050425 h 6557032"/>
              <a:gd name="connsiteX20670" fmla="*/ 1047750 w 4610101"/>
              <a:gd name="connsiteY20670" fmla="*/ 1043136 h 6557032"/>
              <a:gd name="connsiteX20671" fmla="*/ 1009485 w 4610101"/>
              <a:gd name="connsiteY20671" fmla="*/ 1043136 h 6557032"/>
              <a:gd name="connsiteX20672" fmla="*/ 1009485 w 4610101"/>
              <a:gd name="connsiteY20672" fmla="*/ 1050425 h 6557032"/>
              <a:gd name="connsiteX20673" fmla="*/ 1013129 w 4610101"/>
              <a:gd name="connsiteY20673" fmla="*/ 1046780 h 6557032"/>
              <a:gd name="connsiteX20674" fmla="*/ 1009485 w 4610101"/>
              <a:gd name="connsiteY20674" fmla="*/ 1043136 h 6557032"/>
              <a:gd name="connsiteX20675" fmla="*/ 901976 w 4610101"/>
              <a:gd name="connsiteY20675" fmla="*/ 1043136 h 6557032"/>
              <a:gd name="connsiteX20676" fmla="*/ 896510 w 4610101"/>
              <a:gd name="connsiteY20676" fmla="*/ 1055891 h 6557032"/>
              <a:gd name="connsiteX20677" fmla="*/ 903799 w 4610101"/>
              <a:gd name="connsiteY20677" fmla="*/ 1046780 h 6557032"/>
              <a:gd name="connsiteX20678" fmla="*/ 901976 w 4610101"/>
              <a:gd name="connsiteY20678" fmla="*/ 1043136 h 6557032"/>
              <a:gd name="connsiteX20679" fmla="*/ 444611 w 4610101"/>
              <a:gd name="connsiteY20679" fmla="*/ 1043136 h 6557032"/>
              <a:gd name="connsiteX20680" fmla="*/ 455544 w 4610101"/>
              <a:gd name="connsiteY20680" fmla="*/ 1052247 h 6557032"/>
              <a:gd name="connsiteX20681" fmla="*/ 444611 w 4610101"/>
              <a:gd name="connsiteY20681" fmla="*/ 1043136 h 6557032"/>
              <a:gd name="connsiteX20682" fmla="*/ 878060 w 4610101"/>
              <a:gd name="connsiteY20682" fmla="*/ 1042225 h 6557032"/>
              <a:gd name="connsiteX20683" fmla="*/ 871000 w 4610101"/>
              <a:gd name="connsiteY20683" fmla="*/ 1043136 h 6557032"/>
              <a:gd name="connsiteX20684" fmla="*/ 883755 w 4610101"/>
              <a:gd name="connsiteY20684" fmla="*/ 1046780 h 6557032"/>
              <a:gd name="connsiteX20685" fmla="*/ 878060 w 4610101"/>
              <a:gd name="connsiteY20685" fmla="*/ 1042225 h 6557032"/>
              <a:gd name="connsiteX20686" fmla="*/ 190242 w 4610101"/>
              <a:gd name="connsiteY20686" fmla="*/ 1041524 h 6557032"/>
              <a:gd name="connsiteX20687" fmla="*/ 191007 w 4610101"/>
              <a:gd name="connsiteY20687" fmla="*/ 1041742 h 6557032"/>
              <a:gd name="connsiteX20688" fmla="*/ 193151 w 4610101"/>
              <a:gd name="connsiteY20688" fmla="*/ 1044958 h 6557032"/>
              <a:gd name="connsiteX20689" fmla="*/ 3365556 w 4610101"/>
              <a:gd name="connsiteY20689" fmla="*/ 1041314 h 6557032"/>
              <a:gd name="connsiteX20690" fmla="*/ 3363734 w 4610101"/>
              <a:gd name="connsiteY20690" fmla="*/ 1048602 h 6557032"/>
              <a:gd name="connsiteX20691" fmla="*/ 3376489 w 4610101"/>
              <a:gd name="connsiteY20691" fmla="*/ 1050425 h 6557032"/>
              <a:gd name="connsiteX20692" fmla="*/ 3372844 w 4610101"/>
              <a:gd name="connsiteY20692" fmla="*/ 1055891 h 6557032"/>
              <a:gd name="connsiteX20693" fmla="*/ 3383777 w 4610101"/>
              <a:gd name="connsiteY20693" fmla="*/ 1059535 h 6557032"/>
              <a:gd name="connsiteX20694" fmla="*/ 3380133 w 4610101"/>
              <a:gd name="connsiteY20694" fmla="*/ 1044958 h 6557032"/>
              <a:gd name="connsiteX20695" fmla="*/ 3365556 w 4610101"/>
              <a:gd name="connsiteY20695" fmla="*/ 1041314 h 6557032"/>
              <a:gd name="connsiteX20696" fmla="*/ 3150539 w 4610101"/>
              <a:gd name="connsiteY20696" fmla="*/ 1041314 h 6557032"/>
              <a:gd name="connsiteX20697" fmla="*/ 3143250 w 4610101"/>
              <a:gd name="connsiteY20697" fmla="*/ 1043136 h 6557032"/>
              <a:gd name="connsiteX20698" fmla="*/ 3148717 w 4610101"/>
              <a:gd name="connsiteY20698" fmla="*/ 1046780 h 6557032"/>
              <a:gd name="connsiteX20699" fmla="*/ 3150539 w 4610101"/>
              <a:gd name="connsiteY20699" fmla="*/ 1041314 h 6557032"/>
              <a:gd name="connsiteX20700" fmla="*/ 2623931 w 4610101"/>
              <a:gd name="connsiteY20700" fmla="*/ 1041314 h 6557032"/>
              <a:gd name="connsiteX20701" fmla="*/ 2618464 w 4610101"/>
              <a:gd name="connsiteY20701" fmla="*/ 1048602 h 6557032"/>
              <a:gd name="connsiteX20702" fmla="*/ 2625753 w 4610101"/>
              <a:gd name="connsiteY20702" fmla="*/ 1054069 h 6557032"/>
              <a:gd name="connsiteX20703" fmla="*/ 2623931 w 4610101"/>
              <a:gd name="connsiteY20703" fmla="*/ 1041314 h 6557032"/>
              <a:gd name="connsiteX20704" fmla="*/ 2259496 w 4610101"/>
              <a:gd name="connsiteY20704" fmla="*/ 1041314 h 6557032"/>
              <a:gd name="connsiteX20705" fmla="*/ 2261318 w 4610101"/>
              <a:gd name="connsiteY20705" fmla="*/ 1061358 h 6557032"/>
              <a:gd name="connsiteX20706" fmla="*/ 2270429 w 4610101"/>
              <a:gd name="connsiteY20706" fmla="*/ 1059535 h 6557032"/>
              <a:gd name="connsiteX20707" fmla="*/ 2270429 w 4610101"/>
              <a:gd name="connsiteY20707" fmla="*/ 1055891 h 6557032"/>
              <a:gd name="connsiteX20708" fmla="*/ 2259496 w 4610101"/>
              <a:gd name="connsiteY20708" fmla="*/ 1041314 h 6557032"/>
              <a:gd name="connsiteX20709" fmla="*/ 1197169 w 4610101"/>
              <a:gd name="connsiteY20709" fmla="*/ 1041314 h 6557032"/>
              <a:gd name="connsiteX20710" fmla="*/ 1189880 w 4610101"/>
              <a:gd name="connsiteY20710" fmla="*/ 1046780 h 6557032"/>
              <a:gd name="connsiteX20711" fmla="*/ 1197169 w 4610101"/>
              <a:gd name="connsiteY20711" fmla="*/ 1041314 h 6557032"/>
              <a:gd name="connsiteX20712" fmla="*/ 1153436 w 4610101"/>
              <a:gd name="connsiteY20712" fmla="*/ 1041314 h 6557032"/>
              <a:gd name="connsiteX20713" fmla="*/ 1144326 w 4610101"/>
              <a:gd name="connsiteY20713" fmla="*/ 1052247 h 6557032"/>
              <a:gd name="connsiteX20714" fmla="*/ 1153436 w 4610101"/>
              <a:gd name="connsiteY20714" fmla="*/ 1041314 h 6557032"/>
              <a:gd name="connsiteX20715" fmla="*/ 1127926 w 4610101"/>
              <a:gd name="connsiteY20715" fmla="*/ 1041314 h 6557032"/>
              <a:gd name="connsiteX20716" fmla="*/ 1126104 w 4610101"/>
              <a:gd name="connsiteY20716" fmla="*/ 1043136 h 6557032"/>
              <a:gd name="connsiteX20717" fmla="*/ 1129748 w 4610101"/>
              <a:gd name="connsiteY20717" fmla="*/ 1044958 h 6557032"/>
              <a:gd name="connsiteX20718" fmla="*/ 1127926 w 4610101"/>
              <a:gd name="connsiteY20718" fmla="*/ 1041314 h 6557032"/>
              <a:gd name="connsiteX20719" fmla="*/ 856422 w 4610101"/>
              <a:gd name="connsiteY20719" fmla="*/ 1041314 h 6557032"/>
              <a:gd name="connsiteX20720" fmla="*/ 858244 w 4610101"/>
              <a:gd name="connsiteY20720" fmla="*/ 1048602 h 6557032"/>
              <a:gd name="connsiteX20721" fmla="*/ 856422 w 4610101"/>
              <a:gd name="connsiteY20721" fmla="*/ 1041314 h 6557032"/>
              <a:gd name="connsiteX20722" fmla="*/ 763491 w 4610101"/>
              <a:gd name="connsiteY20722" fmla="*/ 1041314 h 6557032"/>
              <a:gd name="connsiteX20723" fmla="*/ 765313 w 4610101"/>
              <a:gd name="connsiteY20723" fmla="*/ 1059535 h 6557032"/>
              <a:gd name="connsiteX20724" fmla="*/ 765313 w 4610101"/>
              <a:gd name="connsiteY20724" fmla="*/ 1044958 h 6557032"/>
              <a:gd name="connsiteX20725" fmla="*/ 763491 w 4610101"/>
              <a:gd name="connsiteY20725" fmla="*/ 1041314 h 6557032"/>
              <a:gd name="connsiteX20726" fmla="*/ 393590 w 4610101"/>
              <a:gd name="connsiteY20726" fmla="*/ 1041314 h 6557032"/>
              <a:gd name="connsiteX20727" fmla="*/ 409989 w 4610101"/>
              <a:gd name="connsiteY20727" fmla="*/ 1054069 h 6557032"/>
              <a:gd name="connsiteX20728" fmla="*/ 393590 w 4610101"/>
              <a:gd name="connsiteY20728" fmla="*/ 1041314 h 6557032"/>
              <a:gd name="connsiteX20729" fmla="*/ 275149 w 4610101"/>
              <a:gd name="connsiteY20729" fmla="*/ 1041314 h 6557032"/>
              <a:gd name="connsiteX20730" fmla="*/ 287904 w 4610101"/>
              <a:gd name="connsiteY20730" fmla="*/ 1046780 h 6557032"/>
              <a:gd name="connsiteX20731" fmla="*/ 275149 w 4610101"/>
              <a:gd name="connsiteY20731" fmla="*/ 1041314 h 6557032"/>
              <a:gd name="connsiteX20732" fmla="*/ 260571 w 4610101"/>
              <a:gd name="connsiteY20732" fmla="*/ 1041314 h 6557032"/>
              <a:gd name="connsiteX20733" fmla="*/ 262863 w 4610101"/>
              <a:gd name="connsiteY20733" fmla="*/ 1043210 h 6557032"/>
              <a:gd name="connsiteX20734" fmla="*/ 261105 w 4610101"/>
              <a:gd name="connsiteY20734" fmla="*/ 1041955 h 6557032"/>
              <a:gd name="connsiteX20735" fmla="*/ 975198 w 4610101"/>
              <a:gd name="connsiteY20735" fmla="*/ 1040182 h 6557032"/>
              <a:gd name="connsiteX20736" fmla="*/ 975782 w 4610101"/>
              <a:gd name="connsiteY20736" fmla="*/ 1041383 h 6557032"/>
              <a:gd name="connsiteX20737" fmla="*/ 975319 w 4610101"/>
              <a:gd name="connsiteY20737" fmla="*/ 1041086 h 6557032"/>
              <a:gd name="connsiteX20738" fmla="*/ 1180769 w 4610101"/>
              <a:gd name="connsiteY20738" fmla="*/ 1039492 h 6557032"/>
              <a:gd name="connsiteX20739" fmla="*/ 1171658 w 4610101"/>
              <a:gd name="connsiteY20739" fmla="*/ 1052247 h 6557032"/>
              <a:gd name="connsiteX20740" fmla="*/ 1188058 w 4610101"/>
              <a:gd name="connsiteY20740" fmla="*/ 1041314 h 6557032"/>
              <a:gd name="connsiteX20741" fmla="*/ 1180769 w 4610101"/>
              <a:gd name="connsiteY20741" fmla="*/ 1039492 h 6557032"/>
              <a:gd name="connsiteX20742" fmla="*/ 789003 w 4610101"/>
              <a:gd name="connsiteY20742" fmla="*/ 1039492 h 6557032"/>
              <a:gd name="connsiteX20743" fmla="*/ 794468 w 4610101"/>
              <a:gd name="connsiteY20743" fmla="*/ 1054069 h 6557032"/>
              <a:gd name="connsiteX20744" fmla="*/ 789003 w 4610101"/>
              <a:gd name="connsiteY20744" fmla="*/ 1039492 h 6557032"/>
              <a:gd name="connsiteX20745" fmla="*/ 694249 w 4610101"/>
              <a:gd name="connsiteY20745" fmla="*/ 1039492 h 6557032"/>
              <a:gd name="connsiteX20746" fmla="*/ 705182 w 4610101"/>
              <a:gd name="connsiteY20746" fmla="*/ 1057713 h 6557032"/>
              <a:gd name="connsiteX20747" fmla="*/ 694249 w 4610101"/>
              <a:gd name="connsiteY20747" fmla="*/ 1039492 h 6557032"/>
              <a:gd name="connsiteX20748" fmla="*/ 391768 w 4610101"/>
              <a:gd name="connsiteY20748" fmla="*/ 1039492 h 6557032"/>
              <a:gd name="connsiteX20749" fmla="*/ 424567 w 4610101"/>
              <a:gd name="connsiteY20749" fmla="*/ 1059535 h 6557032"/>
              <a:gd name="connsiteX20750" fmla="*/ 415456 w 4610101"/>
              <a:gd name="connsiteY20750" fmla="*/ 1044958 h 6557032"/>
              <a:gd name="connsiteX20751" fmla="*/ 391768 w 4610101"/>
              <a:gd name="connsiteY20751" fmla="*/ 1039492 h 6557032"/>
              <a:gd name="connsiteX20752" fmla="*/ 348037 w 4610101"/>
              <a:gd name="connsiteY20752" fmla="*/ 1039492 h 6557032"/>
              <a:gd name="connsiteX20753" fmla="*/ 340747 w 4610101"/>
              <a:gd name="connsiteY20753" fmla="*/ 1044958 h 6557032"/>
              <a:gd name="connsiteX20754" fmla="*/ 362613 w 4610101"/>
              <a:gd name="connsiteY20754" fmla="*/ 1057713 h 6557032"/>
              <a:gd name="connsiteX20755" fmla="*/ 373546 w 4610101"/>
              <a:gd name="connsiteY20755" fmla="*/ 1052247 h 6557032"/>
              <a:gd name="connsiteX20756" fmla="*/ 355324 w 4610101"/>
              <a:gd name="connsiteY20756" fmla="*/ 1041314 h 6557032"/>
              <a:gd name="connsiteX20757" fmla="*/ 362613 w 4610101"/>
              <a:gd name="connsiteY20757" fmla="*/ 1057713 h 6557032"/>
              <a:gd name="connsiteX20758" fmla="*/ 357146 w 4610101"/>
              <a:gd name="connsiteY20758" fmla="*/ 1050425 h 6557032"/>
              <a:gd name="connsiteX20759" fmla="*/ 360791 w 4610101"/>
              <a:gd name="connsiteY20759" fmla="*/ 1054069 h 6557032"/>
              <a:gd name="connsiteX20760" fmla="*/ 348037 w 4610101"/>
              <a:gd name="connsiteY20760" fmla="*/ 1039492 h 6557032"/>
              <a:gd name="connsiteX20761" fmla="*/ 209550 w 4610101"/>
              <a:gd name="connsiteY20761" fmla="*/ 1039492 h 6557032"/>
              <a:gd name="connsiteX20762" fmla="*/ 200439 w 4610101"/>
              <a:gd name="connsiteY20762" fmla="*/ 1043136 h 6557032"/>
              <a:gd name="connsiteX20763" fmla="*/ 233239 w 4610101"/>
              <a:gd name="connsiteY20763" fmla="*/ 1061358 h 6557032"/>
              <a:gd name="connsiteX20764" fmla="*/ 209550 w 4610101"/>
              <a:gd name="connsiteY20764" fmla="*/ 1039492 h 6557032"/>
              <a:gd name="connsiteX20765" fmla="*/ 133019 w 4610101"/>
              <a:gd name="connsiteY20765" fmla="*/ 1039492 h 6557032"/>
              <a:gd name="connsiteX20766" fmla="*/ 143952 w 4610101"/>
              <a:gd name="connsiteY20766" fmla="*/ 1050425 h 6557032"/>
              <a:gd name="connsiteX20767" fmla="*/ 149419 w 4610101"/>
              <a:gd name="connsiteY20767" fmla="*/ 1054069 h 6557032"/>
              <a:gd name="connsiteX20768" fmla="*/ 138486 w 4610101"/>
              <a:gd name="connsiteY20768" fmla="*/ 1043136 h 6557032"/>
              <a:gd name="connsiteX20769" fmla="*/ 157618 w 4610101"/>
              <a:gd name="connsiteY20769" fmla="*/ 1056346 h 6557032"/>
              <a:gd name="connsiteX20770" fmla="*/ 167925 w 4610101"/>
              <a:gd name="connsiteY20770" fmla="*/ 1061990 h 6557032"/>
              <a:gd name="connsiteX20771" fmla="*/ 178573 w 4610101"/>
              <a:gd name="connsiteY20771" fmla="*/ 1068646 h 6557032"/>
              <a:gd name="connsiteX20772" fmla="*/ 172681 w 4610101"/>
              <a:gd name="connsiteY20772" fmla="*/ 1064595 h 6557032"/>
              <a:gd name="connsiteX20773" fmla="*/ 176751 w 4610101"/>
              <a:gd name="connsiteY20773" fmla="*/ 1066824 h 6557032"/>
              <a:gd name="connsiteX20774" fmla="*/ 171845 w 4610101"/>
              <a:gd name="connsiteY20774" fmla="*/ 1064020 h 6557032"/>
              <a:gd name="connsiteX20775" fmla="*/ 149419 w 4610101"/>
              <a:gd name="connsiteY20775" fmla="*/ 1048602 h 6557032"/>
              <a:gd name="connsiteX20776" fmla="*/ 163996 w 4610101"/>
              <a:gd name="connsiteY20776" fmla="*/ 1055891 h 6557032"/>
              <a:gd name="connsiteX20777" fmla="*/ 133019 w 4610101"/>
              <a:gd name="connsiteY20777" fmla="*/ 1039492 h 6557032"/>
              <a:gd name="connsiteX20778" fmla="*/ 385391 w 4610101"/>
              <a:gd name="connsiteY20778" fmla="*/ 1039492 h 6557032"/>
              <a:gd name="connsiteX20779" fmla="*/ 382657 w 4610101"/>
              <a:gd name="connsiteY20779" fmla="*/ 1039492 h 6557032"/>
              <a:gd name="connsiteX20780" fmla="*/ 389946 w 4610101"/>
              <a:gd name="connsiteY20780" fmla="*/ 1044958 h 6557032"/>
              <a:gd name="connsiteX20781" fmla="*/ 388123 w 4610101"/>
              <a:gd name="connsiteY20781" fmla="*/ 1039492 h 6557032"/>
              <a:gd name="connsiteX20782" fmla="*/ 385391 w 4610101"/>
              <a:gd name="connsiteY20782" fmla="*/ 1039492 h 6557032"/>
              <a:gd name="connsiteX20783" fmla="*/ 1263463 w 4610101"/>
              <a:gd name="connsiteY20783" fmla="*/ 1037965 h 6557032"/>
              <a:gd name="connsiteX20784" fmla="*/ 1273700 w 4610101"/>
              <a:gd name="connsiteY20784" fmla="*/ 1039492 h 6557032"/>
              <a:gd name="connsiteX20785" fmla="*/ 1277344 w 4610101"/>
              <a:gd name="connsiteY20785" fmla="*/ 1041314 h 6557032"/>
              <a:gd name="connsiteX20786" fmla="*/ 1275522 w 4610101"/>
              <a:gd name="connsiteY20786" fmla="*/ 1046780 h 6557032"/>
              <a:gd name="connsiteX20787" fmla="*/ 1271878 w 4610101"/>
              <a:gd name="connsiteY20787" fmla="*/ 1043136 h 6557032"/>
              <a:gd name="connsiteX20788" fmla="*/ 1251834 w 4610101"/>
              <a:gd name="connsiteY20788" fmla="*/ 1041314 h 6557032"/>
              <a:gd name="connsiteX20789" fmla="*/ 1260261 w 4610101"/>
              <a:gd name="connsiteY20789" fmla="*/ 1038808 h 6557032"/>
              <a:gd name="connsiteX20790" fmla="*/ 3398355 w 4610101"/>
              <a:gd name="connsiteY20790" fmla="*/ 1037669 h 6557032"/>
              <a:gd name="connsiteX20791" fmla="*/ 3418399 w 4610101"/>
              <a:gd name="connsiteY20791" fmla="*/ 1059535 h 6557032"/>
              <a:gd name="connsiteX20792" fmla="*/ 3429332 w 4610101"/>
              <a:gd name="connsiteY20792" fmla="*/ 1057713 h 6557032"/>
              <a:gd name="connsiteX20793" fmla="*/ 3442087 w 4610101"/>
              <a:gd name="connsiteY20793" fmla="*/ 1070469 h 6557032"/>
              <a:gd name="connsiteX20794" fmla="*/ 3398355 w 4610101"/>
              <a:gd name="connsiteY20794" fmla="*/ 1037669 h 6557032"/>
              <a:gd name="connsiteX20795" fmla="*/ 1264589 w 4610101"/>
              <a:gd name="connsiteY20795" fmla="*/ 1037669 h 6557032"/>
              <a:gd name="connsiteX20796" fmla="*/ 1263463 w 4610101"/>
              <a:gd name="connsiteY20796" fmla="*/ 1037965 h 6557032"/>
              <a:gd name="connsiteX20797" fmla="*/ 1262895 w 4610101"/>
              <a:gd name="connsiteY20797" fmla="*/ 1037880 h 6557032"/>
              <a:gd name="connsiteX20798" fmla="*/ 974863 w 4610101"/>
              <a:gd name="connsiteY20798" fmla="*/ 1037669 h 6557032"/>
              <a:gd name="connsiteX20799" fmla="*/ 975198 w 4610101"/>
              <a:gd name="connsiteY20799" fmla="*/ 1040182 h 6557032"/>
              <a:gd name="connsiteX20800" fmla="*/ 974863 w 4610101"/>
              <a:gd name="connsiteY20800" fmla="*/ 1039492 h 6557032"/>
              <a:gd name="connsiteX20801" fmla="*/ 973041 w 4610101"/>
              <a:gd name="connsiteY20801" fmla="*/ 1046780 h 6557032"/>
              <a:gd name="connsiteX20802" fmla="*/ 983974 w 4610101"/>
              <a:gd name="connsiteY20802" fmla="*/ 1054069 h 6557032"/>
              <a:gd name="connsiteX20803" fmla="*/ 978735 w 4610101"/>
              <a:gd name="connsiteY20803" fmla="*/ 1047463 h 6557032"/>
              <a:gd name="connsiteX20804" fmla="*/ 975782 w 4610101"/>
              <a:gd name="connsiteY20804" fmla="*/ 1041383 h 6557032"/>
              <a:gd name="connsiteX20805" fmla="*/ 978508 w 4610101"/>
              <a:gd name="connsiteY20805" fmla="*/ 1043136 h 6557032"/>
              <a:gd name="connsiteX20806" fmla="*/ 980330 w 4610101"/>
              <a:gd name="connsiteY20806" fmla="*/ 1041314 h 6557032"/>
              <a:gd name="connsiteX20807" fmla="*/ 983974 w 4610101"/>
              <a:gd name="connsiteY20807" fmla="*/ 1048602 h 6557032"/>
              <a:gd name="connsiteX20808" fmla="*/ 974863 w 4610101"/>
              <a:gd name="connsiteY20808" fmla="*/ 1037669 h 6557032"/>
              <a:gd name="connsiteX20809" fmla="*/ 696071 w 4610101"/>
              <a:gd name="connsiteY20809" fmla="*/ 1037669 h 6557032"/>
              <a:gd name="connsiteX20810" fmla="*/ 707004 w 4610101"/>
              <a:gd name="connsiteY20810" fmla="*/ 1048602 h 6557032"/>
              <a:gd name="connsiteX20811" fmla="*/ 699715 w 4610101"/>
              <a:gd name="connsiteY20811" fmla="*/ 1037669 h 6557032"/>
              <a:gd name="connsiteX20812" fmla="*/ 696071 w 4610101"/>
              <a:gd name="connsiteY20812" fmla="*/ 1037669 h 6557032"/>
              <a:gd name="connsiteX20813" fmla="*/ 548475 w 4610101"/>
              <a:gd name="connsiteY20813" fmla="*/ 1037669 h 6557032"/>
              <a:gd name="connsiteX20814" fmla="*/ 555763 w 4610101"/>
              <a:gd name="connsiteY20814" fmla="*/ 1048602 h 6557032"/>
              <a:gd name="connsiteX20815" fmla="*/ 552119 w 4610101"/>
              <a:gd name="connsiteY20815" fmla="*/ 1039492 h 6557032"/>
              <a:gd name="connsiteX20816" fmla="*/ 548475 w 4610101"/>
              <a:gd name="connsiteY20816" fmla="*/ 1037669 h 6557032"/>
              <a:gd name="connsiteX20817" fmla="*/ 337102 w 4610101"/>
              <a:gd name="connsiteY20817" fmla="*/ 1037669 h 6557032"/>
              <a:gd name="connsiteX20818" fmla="*/ 340747 w 4610101"/>
              <a:gd name="connsiteY20818" fmla="*/ 1039492 h 6557032"/>
              <a:gd name="connsiteX20819" fmla="*/ 337102 w 4610101"/>
              <a:gd name="connsiteY20819" fmla="*/ 1037669 h 6557032"/>
              <a:gd name="connsiteX20820" fmla="*/ 255105 w 4610101"/>
              <a:gd name="connsiteY20820" fmla="*/ 1037669 h 6557032"/>
              <a:gd name="connsiteX20821" fmla="*/ 261105 w 4610101"/>
              <a:gd name="connsiteY20821" fmla="*/ 1041955 h 6557032"/>
              <a:gd name="connsiteX20822" fmla="*/ 269682 w 4610101"/>
              <a:gd name="connsiteY20822" fmla="*/ 1052247 h 6557032"/>
              <a:gd name="connsiteX20823" fmla="*/ 267176 w 4610101"/>
              <a:gd name="connsiteY20823" fmla="*/ 1046780 h 6557032"/>
              <a:gd name="connsiteX20824" fmla="*/ 262863 w 4610101"/>
              <a:gd name="connsiteY20824" fmla="*/ 1043210 h 6557032"/>
              <a:gd name="connsiteX20825" fmla="*/ 267860 w 4610101"/>
              <a:gd name="connsiteY20825" fmla="*/ 1046780 h 6557032"/>
              <a:gd name="connsiteX20826" fmla="*/ 269682 w 4610101"/>
              <a:gd name="connsiteY20826" fmla="*/ 1043136 h 6557032"/>
              <a:gd name="connsiteX20827" fmla="*/ 282438 w 4610101"/>
              <a:gd name="connsiteY20827" fmla="*/ 1052247 h 6557032"/>
              <a:gd name="connsiteX20828" fmla="*/ 255105 w 4610101"/>
              <a:gd name="connsiteY20828" fmla="*/ 1037669 h 6557032"/>
              <a:gd name="connsiteX20829" fmla="*/ 227772 w 4610101"/>
              <a:gd name="connsiteY20829" fmla="*/ 1037669 h 6557032"/>
              <a:gd name="connsiteX20830" fmla="*/ 251460 w 4610101"/>
              <a:gd name="connsiteY20830" fmla="*/ 1048602 h 6557032"/>
              <a:gd name="connsiteX20831" fmla="*/ 236883 w 4610101"/>
              <a:gd name="connsiteY20831" fmla="*/ 1037669 h 6557032"/>
              <a:gd name="connsiteX20832" fmla="*/ 227772 w 4610101"/>
              <a:gd name="connsiteY20832" fmla="*/ 1037669 h 6557032"/>
              <a:gd name="connsiteX20833" fmla="*/ 2206736 w 4610101"/>
              <a:gd name="connsiteY20833" fmla="*/ 1037627 h 6557032"/>
              <a:gd name="connsiteX20834" fmla="*/ 2205287 w 4610101"/>
              <a:gd name="connsiteY20834" fmla="*/ 1040630 h 6557032"/>
              <a:gd name="connsiteX20835" fmla="*/ 2205221 w 4610101"/>
              <a:gd name="connsiteY20835" fmla="*/ 1041774 h 6557032"/>
              <a:gd name="connsiteX20836" fmla="*/ 2203009 w 4610101"/>
              <a:gd name="connsiteY20836" fmla="*/ 1043136 h 6557032"/>
              <a:gd name="connsiteX20837" fmla="*/ 2206653 w 4610101"/>
              <a:gd name="connsiteY20837" fmla="*/ 1037669 h 6557032"/>
              <a:gd name="connsiteX20838" fmla="*/ 2235808 w 4610101"/>
              <a:gd name="connsiteY20838" fmla="*/ 1035847 h 6557032"/>
              <a:gd name="connsiteX20839" fmla="*/ 2235728 w 4610101"/>
              <a:gd name="connsiteY20839" fmla="*/ 1035953 h 6557032"/>
              <a:gd name="connsiteX20840" fmla="*/ 2235676 w 4610101"/>
              <a:gd name="connsiteY20840" fmla="*/ 1035903 h 6557032"/>
              <a:gd name="connsiteX20841" fmla="*/ 1135215 w 4610101"/>
              <a:gd name="connsiteY20841" fmla="*/ 1035847 h 6557032"/>
              <a:gd name="connsiteX20842" fmla="*/ 1131570 w 4610101"/>
              <a:gd name="connsiteY20842" fmla="*/ 1037669 h 6557032"/>
              <a:gd name="connsiteX20843" fmla="*/ 1135215 w 4610101"/>
              <a:gd name="connsiteY20843" fmla="*/ 1044958 h 6557032"/>
              <a:gd name="connsiteX20844" fmla="*/ 1135215 w 4610101"/>
              <a:gd name="connsiteY20844" fmla="*/ 1035847 h 6557032"/>
              <a:gd name="connsiteX20845" fmla="*/ 1080549 w 4610101"/>
              <a:gd name="connsiteY20845" fmla="*/ 1035847 h 6557032"/>
              <a:gd name="connsiteX20846" fmla="*/ 1076905 w 4610101"/>
              <a:gd name="connsiteY20846" fmla="*/ 1048602 h 6557032"/>
              <a:gd name="connsiteX20847" fmla="*/ 1080549 w 4610101"/>
              <a:gd name="connsiteY20847" fmla="*/ 1046780 h 6557032"/>
              <a:gd name="connsiteX20848" fmla="*/ 1080549 w 4610101"/>
              <a:gd name="connsiteY20848" fmla="*/ 1052247 h 6557032"/>
              <a:gd name="connsiteX20849" fmla="*/ 1084194 w 4610101"/>
              <a:gd name="connsiteY20849" fmla="*/ 1052247 h 6557032"/>
              <a:gd name="connsiteX20850" fmla="*/ 1084194 w 4610101"/>
              <a:gd name="connsiteY20850" fmla="*/ 1046780 h 6557032"/>
              <a:gd name="connsiteX20851" fmla="*/ 1082373 w 4610101"/>
              <a:gd name="connsiteY20851" fmla="*/ 1044958 h 6557032"/>
              <a:gd name="connsiteX20852" fmla="*/ 1080549 w 4610101"/>
              <a:gd name="connsiteY20852" fmla="*/ 1035847 h 6557032"/>
              <a:gd name="connsiteX20853" fmla="*/ 1018596 w 4610101"/>
              <a:gd name="connsiteY20853" fmla="*/ 1035847 h 6557032"/>
              <a:gd name="connsiteX20854" fmla="*/ 1016774 w 4610101"/>
              <a:gd name="connsiteY20854" fmla="*/ 1037669 h 6557032"/>
              <a:gd name="connsiteX20855" fmla="*/ 1022240 w 4610101"/>
              <a:gd name="connsiteY20855" fmla="*/ 1041314 h 6557032"/>
              <a:gd name="connsiteX20856" fmla="*/ 1018596 w 4610101"/>
              <a:gd name="connsiteY20856" fmla="*/ 1035847 h 6557032"/>
              <a:gd name="connsiteX20857" fmla="*/ 814512 w 4610101"/>
              <a:gd name="connsiteY20857" fmla="*/ 1035847 h 6557032"/>
              <a:gd name="connsiteX20858" fmla="*/ 812690 w 4610101"/>
              <a:gd name="connsiteY20858" fmla="*/ 1041314 h 6557032"/>
              <a:gd name="connsiteX20859" fmla="*/ 814512 w 4610101"/>
              <a:gd name="connsiteY20859" fmla="*/ 1041314 h 6557032"/>
              <a:gd name="connsiteX20860" fmla="*/ 816334 w 4610101"/>
              <a:gd name="connsiteY20860" fmla="*/ 1041314 h 6557032"/>
              <a:gd name="connsiteX20861" fmla="*/ 814512 w 4610101"/>
              <a:gd name="connsiteY20861" fmla="*/ 1035847 h 6557032"/>
              <a:gd name="connsiteX20862" fmla="*/ 703359 w 4610101"/>
              <a:gd name="connsiteY20862" fmla="*/ 1035847 h 6557032"/>
              <a:gd name="connsiteX20863" fmla="*/ 708826 w 4610101"/>
              <a:gd name="connsiteY20863" fmla="*/ 1041314 h 6557032"/>
              <a:gd name="connsiteX20864" fmla="*/ 703359 w 4610101"/>
              <a:gd name="connsiteY20864" fmla="*/ 1035847 h 6557032"/>
              <a:gd name="connsiteX20865" fmla="*/ 683316 w 4610101"/>
              <a:gd name="connsiteY20865" fmla="*/ 1035847 h 6557032"/>
              <a:gd name="connsiteX20866" fmla="*/ 683316 w 4610101"/>
              <a:gd name="connsiteY20866" fmla="*/ 1041314 h 6557032"/>
              <a:gd name="connsiteX20867" fmla="*/ 681493 w 4610101"/>
              <a:gd name="connsiteY20867" fmla="*/ 1041314 h 6557032"/>
              <a:gd name="connsiteX20868" fmla="*/ 683316 w 4610101"/>
              <a:gd name="connsiteY20868" fmla="*/ 1046780 h 6557032"/>
              <a:gd name="connsiteX20869" fmla="*/ 685138 w 4610101"/>
              <a:gd name="connsiteY20869" fmla="*/ 1043136 h 6557032"/>
              <a:gd name="connsiteX20870" fmla="*/ 697893 w 4610101"/>
              <a:gd name="connsiteY20870" fmla="*/ 1054069 h 6557032"/>
              <a:gd name="connsiteX20871" fmla="*/ 696071 w 4610101"/>
              <a:gd name="connsiteY20871" fmla="*/ 1046780 h 6557032"/>
              <a:gd name="connsiteX20872" fmla="*/ 688782 w 4610101"/>
              <a:gd name="connsiteY20872" fmla="*/ 1044958 h 6557032"/>
              <a:gd name="connsiteX20873" fmla="*/ 692426 w 4610101"/>
              <a:gd name="connsiteY20873" fmla="*/ 1039492 h 6557032"/>
              <a:gd name="connsiteX20874" fmla="*/ 683316 w 4610101"/>
              <a:gd name="connsiteY20874" fmla="*/ 1035847 h 6557032"/>
              <a:gd name="connsiteX20875" fmla="*/ 601318 w 4610101"/>
              <a:gd name="connsiteY20875" fmla="*/ 1035847 h 6557032"/>
              <a:gd name="connsiteX20876" fmla="*/ 604963 w 4610101"/>
              <a:gd name="connsiteY20876" fmla="*/ 1041314 h 6557032"/>
              <a:gd name="connsiteX20877" fmla="*/ 604963 w 4610101"/>
              <a:gd name="connsiteY20877" fmla="*/ 1037669 h 6557032"/>
              <a:gd name="connsiteX20878" fmla="*/ 601318 w 4610101"/>
              <a:gd name="connsiteY20878" fmla="*/ 1035847 h 6557032"/>
              <a:gd name="connsiteX20879" fmla="*/ 526609 w 4610101"/>
              <a:gd name="connsiteY20879" fmla="*/ 1035847 h 6557032"/>
              <a:gd name="connsiteX20880" fmla="*/ 550297 w 4610101"/>
              <a:gd name="connsiteY20880" fmla="*/ 1065002 h 6557032"/>
              <a:gd name="connsiteX20881" fmla="*/ 544830 w 4610101"/>
              <a:gd name="connsiteY20881" fmla="*/ 1052247 h 6557032"/>
              <a:gd name="connsiteX20882" fmla="*/ 561230 w 4610101"/>
              <a:gd name="connsiteY20882" fmla="*/ 1054069 h 6557032"/>
              <a:gd name="connsiteX20883" fmla="*/ 550297 w 4610101"/>
              <a:gd name="connsiteY20883" fmla="*/ 1052247 h 6557032"/>
              <a:gd name="connsiteX20884" fmla="*/ 526609 w 4610101"/>
              <a:gd name="connsiteY20884" fmla="*/ 1035847 h 6557032"/>
              <a:gd name="connsiteX20885" fmla="*/ 413634 w 4610101"/>
              <a:gd name="connsiteY20885" fmla="*/ 1035847 h 6557032"/>
              <a:gd name="connsiteX20886" fmla="*/ 424567 w 4610101"/>
              <a:gd name="connsiteY20886" fmla="*/ 1041314 h 6557032"/>
              <a:gd name="connsiteX20887" fmla="*/ 413634 w 4610101"/>
              <a:gd name="connsiteY20887" fmla="*/ 1035847 h 6557032"/>
              <a:gd name="connsiteX20888" fmla="*/ 1248827 w 4610101"/>
              <a:gd name="connsiteY20888" fmla="*/ 1035782 h 6557032"/>
              <a:gd name="connsiteX20889" fmla="*/ 1262895 w 4610101"/>
              <a:gd name="connsiteY20889" fmla="*/ 1037880 h 6557032"/>
              <a:gd name="connsiteX20890" fmla="*/ 1250012 w 4610101"/>
              <a:gd name="connsiteY20890" fmla="*/ 1039492 h 6557032"/>
              <a:gd name="connsiteX20891" fmla="*/ 1244545 w 4610101"/>
              <a:gd name="connsiteY20891" fmla="*/ 1041314 h 6557032"/>
              <a:gd name="connsiteX20892" fmla="*/ 3099518 w 4610101"/>
              <a:gd name="connsiteY20892" fmla="*/ 1034025 h 6557032"/>
              <a:gd name="connsiteX20893" fmla="*/ 3095874 w 4610101"/>
              <a:gd name="connsiteY20893" fmla="*/ 1039492 h 6557032"/>
              <a:gd name="connsiteX20894" fmla="*/ 3101340 w 4610101"/>
              <a:gd name="connsiteY20894" fmla="*/ 1039492 h 6557032"/>
              <a:gd name="connsiteX20895" fmla="*/ 3099518 w 4610101"/>
              <a:gd name="connsiteY20895" fmla="*/ 1034025 h 6557032"/>
              <a:gd name="connsiteX20896" fmla="*/ 1186236 w 4610101"/>
              <a:gd name="connsiteY20896" fmla="*/ 1034025 h 6557032"/>
              <a:gd name="connsiteX20897" fmla="*/ 1184940 w 4610101"/>
              <a:gd name="connsiteY20897" fmla="*/ 1037912 h 6557032"/>
              <a:gd name="connsiteX20898" fmla="*/ 1184414 w 4610101"/>
              <a:gd name="connsiteY20898" fmla="*/ 1037669 h 6557032"/>
              <a:gd name="connsiteX20899" fmla="*/ 1184414 w 4610101"/>
              <a:gd name="connsiteY20899" fmla="*/ 1039492 h 6557032"/>
              <a:gd name="connsiteX20900" fmla="*/ 1184940 w 4610101"/>
              <a:gd name="connsiteY20900" fmla="*/ 1037912 h 6557032"/>
              <a:gd name="connsiteX20901" fmla="*/ 1187374 w 4610101"/>
              <a:gd name="connsiteY20901" fmla="*/ 1039036 h 6557032"/>
              <a:gd name="connsiteX20902" fmla="*/ 1191703 w 4610101"/>
              <a:gd name="connsiteY20902" fmla="*/ 1037669 h 6557032"/>
              <a:gd name="connsiteX20903" fmla="*/ 1186236 w 4610101"/>
              <a:gd name="connsiteY20903" fmla="*/ 1034025 h 6557032"/>
              <a:gd name="connsiteX20904" fmla="*/ 1075083 w 4610101"/>
              <a:gd name="connsiteY20904" fmla="*/ 1034025 h 6557032"/>
              <a:gd name="connsiteX20905" fmla="*/ 1073262 w 4610101"/>
              <a:gd name="connsiteY20905" fmla="*/ 1039492 h 6557032"/>
              <a:gd name="connsiteX20906" fmla="*/ 1073262 w 4610101"/>
              <a:gd name="connsiteY20906" fmla="*/ 1035847 h 6557032"/>
              <a:gd name="connsiteX20907" fmla="*/ 1067794 w 4610101"/>
              <a:gd name="connsiteY20907" fmla="*/ 1043136 h 6557032"/>
              <a:gd name="connsiteX20908" fmla="*/ 1071439 w 4610101"/>
              <a:gd name="connsiteY20908" fmla="*/ 1046780 h 6557032"/>
              <a:gd name="connsiteX20909" fmla="*/ 1067794 w 4610101"/>
              <a:gd name="connsiteY20909" fmla="*/ 1044958 h 6557032"/>
              <a:gd name="connsiteX20910" fmla="*/ 1064151 w 4610101"/>
              <a:gd name="connsiteY20910" fmla="*/ 1050425 h 6557032"/>
              <a:gd name="connsiteX20911" fmla="*/ 1071439 w 4610101"/>
              <a:gd name="connsiteY20911" fmla="*/ 1052247 h 6557032"/>
              <a:gd name="connsiteX20912" fmla="*/ 1069616 w 4610101"/>
              <a:gd name="connsiteY20912" fmla="*/ 1048602 h 6557032"/>
              <a:gd name="connsiteX20913" fmla="*/ 1073262 w 4610101"/>
              <a:gd name="connsiteY20913" fmla="*/ 1052247 h 6557032"/>
              <a:gd name="connsiteX20914" fmla="*/ 1075083 w 4610101"/>
              <a:gd name="connsiteY20914" fmla="*/ 1046780 h 6557032"/>
              <a:gd name="connsiteX20915" fmla="*/ 1071439 w 4610101"/>
              <a:gd name="connsiteY20915" fmla="*/ 1041314 h 6557032"/>
              <a:gd name="connsiteX20916" fmla="*/ 1073262 w 4610101"/>
              <a:gd name="connsiteY20916" fmla="*/ 1039492 h 6557032"/>
              <a:gd name="connsiteX20917" fmla="*/ 1075083 w 4610101"/>
              <a:gd name="connsiteY20917" fmla="*/ 1043136 h 6557032"/>
              <a:gd name="connsiteX20918" fmla="*/ 1078727 w 4610101"/>
              <a:gd name="connsiteY20918" fmla="*/ 1037669 h 6557032"/>
              <a:gd name="connsiteX20919" fmla="*/ 1075083 w 4610101"/>
              <a:gd name="connsiteY20919" fmla="*/ 1034025 h 6557032"/>
              <a:gd name="connsiteX20920" fmla="*/ 1058683 w 4610101"/>
              <a:gd name="connsiteY20920" fmla="*/ 1034025 h 6557032"/>
              <a:gd name="connsiteX20921" fmla="*/ 1056861 w 4610101"/>
              <a:gd name="connsiteY20921" fmla="*/ 1035847 h 6557032"/>
              <a:gd name="connsiteX20922" fmla="*/ 1058683 w 4610101"/>
              <a:gd name="connsiteY20922" fmla="*/ 1039492 h 6557032"/>
              <a:gd name="connsiteX20923" fmla="*/ 1058683 w 4610101"/>
              <a:gd name="connsiteY20923" fmla="*/ 1034025 h 6557032"/>
              <a:gd name="connsiteX20924" fmla="*/ 1045929 w 4610101"/>
              <a:gd name="connsiteY20924" fmla="*/ 1034025 h 6557032"/>
              <a:gd name="connsiteX20925" fmla="*/ 1056861 w 4610101"/>
              <a:gd name="connsiteY20925" fmla="*/ 1044958 h 6557032"/>
              <a:gd name="connsiteX20926" fmla="*/ 1060506 w 4610101"/>
              <a:gd name="connsiteY20926" fmla="*/ 1048602 h 6557032"/>
              <a:gd name="connsiteX20927" fmla="*/ 1064151 w 4610101"/>
              <a:gd name="connsiteY20927" fmla="*/ 1035847 h 6557032"/>
              <a:gd name="connsiteX20928" fmla="*/ 1065972 w 4610101"/>
              <a:gd name="connsiteY20928" fmla="*/ 1039492 h 6557032"/>
              <a:gd name="connsiteX20929" fmla="*/ 1069616 w 4610101"/>
              <a:gd name="connsiteY20929" fmla="*/ 1034025 h 6557032"/>
              <a:gd name="connsiteX20930" fmla="*/ 1064151 w 4610101"/>
              <a:gd name="connsiteY20930" fmla="*/ 1035847 h 6557032"/>
              <a:gd name="connsiteX20931" fmla="*/ 1056861 w 4610101"/>
              <a:gd name="connsiteY20931" fmla="*/ 1044958 h 6557032"/>
              <a:gd name="connsiteX20932" fmla="*/ 1045929 w 4610101"/>
              <a:gd name="connsiteY20932" fmla="*/ 1034025 h 6557032"/>
              <a:gd name="connsiteX20933" fmla="*/ 761670 w 4610101"/>
              <a:gd name="connsiteY20933" fmla="*/ 1034025 h 6557032"/>
              <a:gd name="connsiteX20934" fmla="*/ 756203 w 4610101"/>
              <a:gd name="connsiteY20934" fmla="*/ 1039492 h 6557032"/>
              <a:gd name="connsiteX20935" fmla="*/ 761670 w 4610101"/>
              <a:gd name="connsiteY20935" fmla="*/ 1034025 h 6557032"/>
              <a:gd name="connsiteX20936" fmla="*/ 247816 w 4610101"/>
              <a:gd name="connsiteY20936" fmla="*/ 1034025 h 6557032"/>
              <a:gd name="connsiteX20937" fmla="*/ 240527 w 4610101"/>
              <a:gd name="connsiteY20937" fmla="*/ 1035847 h 6557032"/>
              <a:gd name="connsiteX20938" fmla="*/ 260571 w 4610101"/>
              <a:gd name="connsiteY20938" fmla="*/ 1048602 h 6557032"/>
              <a:gd name="connsiteX20939" fmla="*/ 247816 w 4610101"/>
              <a:gd name="connsiteY20939" fmla="*/ 1034025 h 6557032"/>
              <a:gd name="connsiteX20940" fmla="*/ 112975 w 4610101"/>
              <a:gd name="connsiteY20940" fmla="*/ 1034025 h 6557032"/>
              <a:gd name="connsiteX20941" fmla="*/ 134841 w 4610101"/>
              <a:gd name="connsiteY20941" fmla="*/ 1048602 h 6557032"/>
              <a:gd name="connsiteX20942" fmla="*/ 112975 w 4610101"/>
              <a:gd name="connsiteY20942" fmla="*/ 1034025 h 6557032"/>
              <a:gd name="connsiteX20943" fmla="*/ 794151 w 4610101"/>
              <a:gd name="connsiteY20943" fmla="*/ 1033611 h 6557032"/>
              <a:gd name="connsiteX20944" fmla="*/ 794468 w 4610101"/>
              <a:gd name="connsiteY20944" fmla="*/ 1034086 h 6557032"/>
              <a:gd name="connsiteX20945" fmla="*/ 789001 w 4610101"/>
              <a:gd name="connsiteY20945" fmla="*/ 1037732 h 6557032"/>
              <a:gd name="connsiteX20946" fmla="*/ 1234916 w 4610101"/>
              <a:gd name="connsiteY20946" fmla="*/ 1033280 h 6557032"/>
              <a:gd name="connsiteX20947" fmla="*/ 1245751 w 4610101"/>
              <a:gd name="connsiteY20947" fmla="*/ 1035257 h 6557032"/>
              <a:gd name="connsiteX20948" fmla="*/ 1244545 w 4610101"/>
              <a:gd name="connsiteY20948" fmla="*/ 1037669 h 6557032"/>
              <a:gd name="connsiteX20949" fmla="*/ 1233612 w 4610101"/>
              <a:gd name="connsiteY20949" fmla="*/ 1037669 h 6557032"/>
              <a:gd name="connsiteX20950" fmla="*/ 1233612 w 4610101"/>
              <a:gd name="connsiteY20950" fmla="*/ 1034025 h 6557032"/>
              <a:gd name="connsiteX20951" fmla="*/ 3106807 w 4610101"/>
              <a:gd name="connsiteY20951" fmla="*/ 1032203 h 6557032"/>
              <a:gd name="connsiteX20952" fmla="*/ 3110451 w 4610101"/>
              <a:gd name="connsiteY20952" fmla="*/ 1041314 h 6557032"/>
              <a:gd name="connsiteX20953" fmla="*/ 3115918 w 4610101"/>
              <a:gd name="connsiteY20953" fmla="*/ 1032203 h 6557032"/>
              <a:gd name="connsiteX20954" fmla="*/ 3106807 w 4610101"/>
              <a:gd name="connsiteY20954" fmla="*/ 1032203 h 6557032"/>
              <a:gd name="connsiteX20955" fmla="*/ 1290100 w 4610101"/>
              <a:gd name="connsiteY20955" fmla="*/ 1032203 h 6557032"/>
              <a:gd name="connsiteX20956" fmla="*/ 1287391 w 4610101"/>
              <a:gd name="connsiteY20956" fmla="*/ 1044197 h 6557032"/>
              <a:gd name="connsiteX20957" fmla="*/ 1284633 w 4610101"/>
              <a:gd name="connsiteY20957" fmla="*/ 1043136 h 6557032"/>
              <a:gd name="connsiteX20958" fmla="*/ 1276731 w 4610101"/>
              <a:gd name="connsiteY20958" fmla="*/ 1046798 h 6557032"/>
              <a:gd name="connsiteX20959" fmla="*/ 1279166 w 4610101"/>
              <a:gd name="connsiteY20959" fmla="*/ 1039492 h 6557032"/>
              <a:gd name="connsiteX20960" fmla="*/ 1290100 w 4610101"/>
              <a:gd name="connsiteY20960" fmla="*/ 1032203 h 6557032"/>
              <a:gd name="connsiteX20961" fmla="*/ 1146148 w 4610101"/>
              <a:gd name="connsiteY20961" fmla="*/ 1032203 h 6557032"/>
              <a:gd name="connsiteX20962" fmla="*/ 1142503 w 4610101"/>
              <a:gd name="connsiteY20962" fmla="*/ 1039492 h 6557032"/>
              <a:gd name="connsiteX20963" fmla="*/ 1147970 w 4610101"/>
              <a:gd name="connsiteY20963" fmla="*/ 1037669 h 6557032"/>
              <a:gd name="connsiteX20964" fmla="*/ 1146148 w 4610101"/>
              <a:gd name="connsiteY20964" fmla="*/ 1032203 h 6557032"/>
              <a:gd name="connsiteX20965" fmla="*/ 1034995 w 4610101"/>
              <a:gd name="connsiteY20965" fmla="*/ 1032203 h 6557032"/>
              <a:gd name="connsiteX20966" fmla="*/ 1031351 w 4610101"/>
              <a:gd name="connsiteY20966" fmla="*/ 1041314 h 6557032"/>
              <a:gd name="connsiteX20967" fmla="*/ 1027707 w 4610101"/>
              <a:gd name="connsiteY20967" fmla="*/ 1041314 h 6557032"/>
              <a:gd name="connsiteX20968" fmla="*/ 1025884 w 4610101"/>
              <a:gd name="connsiteY20968" fmla="*/ 1050425 h 6557032"/>
              <a:gd name="connsiteX20969" fmla="*/ 1031351 w 4610101"/>
              <a:gd name="connsiteY20969" fmla="*/ 1050425 h 6557032"/>
              <a:gd name="connsiteX20970" fmla="*/ 1031351 w 4610101"/>
              <a:gd name="connsiteY20970" fmla="*/ 1044958 h 6557032"/>
              <a:gd name="connsiteX20971" fmla="*/ 1034995 w 4610101"/>
              <a:gd name="connsiteY20971" fmla="*/ 1050425 h 6557032"/>
              <a:gd name="connsiteX20972" fmla="*/ 1034995 w 4610101"/>
              <a:gd name="connsiteY20972" fmla="*/ 1048602 h 6557032"/>
              <a:gd name="connsiteX20973" fmla="*/ 1040462 w 4610101"/>
              <a:gd name="connsiteY20973" fmla="*/ 1048602 h 6557032"/>
              <a:gd name="connsiteX20974" fmla="*/ 1036818 w 4610101"/>
              <a:gd name="connsiteY20974" fmla="*/ 1043136 h 6557032"/>
              <a:gd name="connsiteX20975" fmla="*/ 1034995 w 4610101"/>
              <a:gd name="connsiteY20975" fmla="*/ 1048602 h 6557032"/>
              <a:gd name="connsiteX20976" fmla="*/ 1034995 w 4610101"/>
              <a:gd name="connsiteY20976" fmla="*/ 1039492 h 6557032"/>
              <a:gd name="connsiteX20977" fmla="*/ 1040462 w 4610101"/>
              <a:gd name="connsiteY20977" fmla="*/ 1043136 h 6557032"/>
              <a:gd name="connsiteX20978" fmla="*/ 1034995 w 4610101"/>
              <a:gd name="connsiteY20978" fmla="*/ 1032203 h 6557032"/>
              <a:gd name="connsiteX20979" fmla="*/ 1024062 w 4610101"/>
              <a:gd name="connsiteY20979" fmla="*/ 1032203 h 6557032"/>
              <a:gd name="connsiteX20980" fmla="*/ 1020418 w 4610101"/>
              <a:gd name="connsiteY20980" fmla="*/ 1035847 h 6557032"/>
              <a:gd name="connsiteX20981" fmla="*/ 1024062 w 4610101"/>
              <a:gd name="connsiteY20981" fmla="*/ 1043136 h 6557032"/>
              <a:gd name="connsiteX20982" fmla="*/ 1024062 w 4610101"/>
              <a:gd name="connsiteY20982" fmla="*/ 1032203 h 6557032"/>
              <a:gd name="connsiteX20983" fmla="*/ 916555 w 4610101"/>
              <a:gd name="connsiteY20983" fmla="*/ 1032203 h 6557032"/>
              <a:gd name="connsiteX20984" fmla="*/ 918376 w 4610101"/>
              <a:gd name="connsiteY20984" fmla="*/ 1035847 h 6557032"/>
              <a:gd name="connsiteX20985" fmla="*/ 916555 w 4610101"/>
              <a:gd name="connsiteY20985" fmla="*/ 1046780 h 6557032"/>
              <a:gd name="connsiteX20986" fmla="*/ 920198 w 4610101"/>
              <a:gd name="connsiteY20986" fmla="*/ 1039492 h 6557032"/>
              <a:gd name="connsiteX20987" fmla="*/ 918376 w 4610101"/>
              <a:gd name="connsiteY20987" fmla="*/ 1035847 h 6557032"/>
              <a:gd name="connsiteX20988" fmla="*/ 920198 w 4610101"/>
              <a:gd name="connsiteY20988" fmla="*/ 1032203 h 6557032"/>
              <a:gd name="connsiteX20989" fmla="*/ 916555 w 4610101"/>
              <a:gd name="connsiteY20989" fmla="*/ 1032203 h 6557032"/>
              <a:gd name="connsiteX20990" fmla="*/ 225950 w 4610101"/>
              <a:gd name="connsiteY20990" fmla="*/ 1032203 h 6557032"/>
              <a:gd name="connsiteX20991" fmla="*/ 238705 w 4610101"/>
              <a:gd name="connsiteY20991" fmla="*/ 1032203 h 6557032"/>
              <a:gd name="connsiteX20992" fmla="*/ 225950 w 4610101"/>
              <a:gd name="connsiteY20992" fmla="*/ 1032203 h 6557032"/>
              <a:gd name="connsiteX20993" fmla="*/ 537541 w 4610101"/>
              <a:gd name="connsiteY20993" fmla="*/ 1031519 h 6557032"/>
              <a:gd name="connsiteX20994" fmla="*/ 530253 w 4610101"/>
              <a:gd name="connsiteY20994" fmla="*/ 1032203 h 6557032"/>
              <a:gd name="connsiteX20995" fmla="*/ 544830 w 4610101"/>
              <a:gd name="connsiteY20995" fmla="*/ 1039492 h 6557032"/>
              <a:gd name="connsiteX20996" fmla="*/ 539364 w 4610101"/>
              <a:gd name="connsiteY20996" fmla="*/ 1039492 h 6557032"/>
              <a:gd name="connsiteX20997" fmla="*/ 546653 w 4610101"/>
              <a:gd name="connsiteY20997" fmla="*/ 1044958 h 6557032"/>
              <a:gd name="connsiteX20998" fmla="*/ 544830 w 4610101"/>
              <a:gd name="connsiteY20998" fmla="*/ 1039492 h 6557032"/>
              <a:gd name="connsiteX20999" fmla="*/ 544830 w 4610101"/>
              <a:gd name="connsiteY20999" fmla="*/ 1032203 h 6557032"/>
              <a:gd name="connsiteX21000" fmla="*/ 537541 w 4610101"/>
              <a:gd name="connsiteY21000" fmla="*/ 1031519 h 6557032"/>
              <a:gd name="connsiteX21001" fmla="*/ 3533196 w 4610101"/>
              <a:gd name="connsiteY21001" fmla="*/ 1030381 h 6557032"/>
              <a:gd name="connsiteX21002" fmla="*/ 3540484 w 4610101"/>
              <a:gd name="connsiteY21002" fmla="*/ 1037669 h 6557032"/>
              <a:gd name="connsiteX21003" fmla="*/ 3533196 w 4610101"/>
              <a:gd name="connsiteY21003" fmla="*/ 1030381 h 6557032"/>
              <a:gd name="connsiteX21004" fmla="*/ 2589310 w 4610101"/>
              <a:gd name="connsiteY21004" fmla="*/ 1030381 h 6557032"/>
              <a:gd name="connsiteX21005" fmla="*/ 2587487 w 4610101"/>
              <a:gd name="connsiteY21005" fmla="*/ 1041314 h 6557032"/>
              <a:gd name="connsiteX21006" fmla="*/ 2589310 w 4610101"/>
              <a:gd name="connsiteY21006" fmla="*/ 1030381 h 6557032"/>
              <a:gd name="connsiteX21007" fmla="*/ 976686 w 4610101"/>
              <a:gd name="connsiteY21007" fmla="*/ 1030381 h 6557032"/>
              <a:gd name="connsiteX21008" fmla="*/ 974863 w 4610101"/>
              <a:gd name="connsiteY21008" fmla="*/ 1032203 h 6557032"/>
              <a:gd name="connsiteX21009" fmla="*/ 980330 w 4610101"/>
              <a:gd name="connsiteY21009" fmla="*/ 1037669 h 6557032"/>
              <a:gd name="connsiteX21010" fmla="*/ 976686 w 4610101"/>
              <a:gd name="connsiteY21010" fmla="*/ 1030381 h 6557032"/>
              <a:gd name="connsiteX21011" fmla="*/ 858244 w 4610101"/>
              <a:gd name="connsiteY21011" fmla="*/ 1030381 h 6557032"/>
              <a:gd name="connsiteX21012" fmla="*/ 856422 w 4610101"/>
              <a:gd name="connsiteY21012" fmla="*/ 1039492 h 6557032"/>
              <a:gd name="connsiteX21013" fmla="*/ 860066 w 4610101"/>
              <a:gd name="connsiteY21013" fmla="*/ 1037669 h 6557032"/>
              <a:gd name="connsiteX21014" fmla="*/ 858244 w 4610101"/>
              <a:gd name="connsiteY21014" fmla="*/ 1030381 h 6557032"/>
              <a:gd name="connsiteX21015" fmla="*/ 422745 w 4610101"/>
              <a:gd name="connsiteY21015" fmla="*/ 1030381 h 6557032"/>
              <a:gd name="connsiteX21016" fmla="*/ 435500 w 4610101"/>
              <a:gd name="connsiteY21016" fmla="*/ 1041314 h 6557032"/>
              <a:gd name="connsiteX21017" fmla="*/ 422745 w 4610101"/>
              <a:gd name="connsiteY21017" fmla="*/ 1030381 h 6557032"/>
              <a:gd name="connsiteX21018" fmla="*/ 320703 w 4610101"/>
              <a:gd name="connsiteY21018" fmla="*/ 1030381 h 6557032"/>
              <a:gd name="connsiteX21019" fmla="*/ 331636 w 4610101"/>
              <a:gd name="connsiteY21019" fmla="*/ 1039492 h 6557032"/>
              <a:gd name="connsiteX21020" fmla="*/ 320703 w 4610101"/>
              <a:gd name="connsiteY21020" fmla="*/ 1030381 h 6557032"/>
              <a:gd name="connsiteX21021" fmla="*/ 119505 w 4610101"/>
              <a:gd name="connsiteY21021" fmla="*/ 1029828 h 6557032"/>
              <a:gd name="connsiteX21022" fmla="*/ 122086 w 4610101"/>
              <a:gd name="connsiteY21022" fmla="*/ 1032203 h 6557032"/>
              <a:gd name="connsiteX21023" fmla="*/ 120875 w 4610101"/>
              <a:gd name="connsiteY21023" fmla="*/ 1031842 h 6557032"/>
              <a:gd name="connsiteX21024" fmla="*/ 119932 w 4610101"/>
              <a:gd name="connsiteY21024" fmla="*/ 1030712 h 6557032"/>
              <a:gd name="connsiteX21025" fmla="*/ 119808 w 4610101"/>
              <a:gd name="connsiteY21025" fmla="*/ 1030153 h 6557032"/>
              <a:gd name="connsiteX21026" fmla="*/ 3553467 w 4610101"/>
              <a:gd name="connsiteY21026" fmla="*/ 1029470 h 6557032"/>
              <a:gd name="connsiteX21027" fmla="*/ 3545951 w 4610101"/>
              <a:gd name="connsiteY21027" fmla="*/ 1030381 h 6557032"/>
              <a:gd name="connsiteX21028" fmla="*/ 3544129 w 4610101"/>
              <a:gd name="connsiteY21028" fmla="*/ 1041314 h 6557032"/>
              <a:gd name="connsiteX21029" fmla="*/ 3547773 w 4610101"/>
              <a:gd name="connsiteY21029" fmla="*/ 1048602 h 6557032"/>
              <a:gd name="connsiteX21030" fmla="*/ 3553240 w 4610101"/>
              <a:gd name="connsiteY21030" fmla="*/ 1041314 h 6557032"/>
              <a:gd name="connsiteX21031" fmla="*/ 3558706 w 4610101"/>
              <a:gd name="connsiteY21031" fmla="*/ 1046780 h 6557032"/>
              <a:gd name="connsiteX21032" fmla="*/ 3560528 w 4610101"/>
              <a:gd name="connsiteY21032" fmla="*/ 1043136 h 6557032"/>
              <a:gd name="connsiteX21033" fmla="*/ 3562350 w 4610101"/>
              <a:gd name="connsiteY21033" fmla="*/ 1046780 h 6557032"/>
              <a:gd name="connsiteX21034" fmla="*/ 3558706 w 4610101"/>
              <a:gd name="connsiteY21034" fmla="*/ 1057713 h 6557032"/>
              <a:gd name="connsiteX21035" fmla="*/ 3578750 w 4610101"/>
              <a:gd name="connsiteY21035" fmla="*/ 1059535 h 6557032"/>
              <a:gd name="connsiteX21036" fmla="*/ 3575106 w 4610101"/>
              <a:gd name="connsiteY21036" fmla="*/ 1061358 h 6557032"/>
              <a:gd name="connsiteX21037" fmla="*/ 3589683 w 4610101"/>
              <a:gd name="connsiteY21037" fmla="*/ 1066824 h 6557032"/>
              <a:gd name="connsiteX21038" fmla="*/ 3582394 w 4610101"/>
              <a:gd name="connsiteY21038" fmla="*/ 1052247 h 6557032"/>
              <a:gd name="connsiteX21039" fmla="*/ 3591505 w 4610101"/>
              <a:gd name="connsiteY21039" fmla="*/ 1050425 h 6557032"/>
              <a:gd name="connsiteX21040" fmla="*/ 3593327 w 4610101"/>
              <a:gd name="connsiteY21040" fmla="*/ 1043136 h 6557032"/>
              <a:gd name="connsiteX21041" fmla="*/ 3593327 w 4610101"/>
              <a:gd name="connsiteY21041" fmla="*/ 1057713 h 6557032"/>
              <a:gd name="connsiteX21042" fmla="*/ 3604260 w 4610101"/>
              <a:gd name="connsiteY21042" fmla="*/ 1050425 h 6557032"/>
              <a:gd name="connsiteX21043" fmla="*/ 3573284 w 4610101"/>
              <a:gd name="connsiteY21043" fmla="*/ 1032203 h 6557032"/>
              <a:gd name="connsiteX21044" fmla="*/ 3560528 w 4610101"/>
              <a:gd name="connsiteY21044" fmla="*/ 1034025 h 6557032"/>
              <a:gd name="connsiteX21045" fmla="*/ 3553240 w 4610101"/>
              <a:gd name="connsiteY21045" fmla="*/ 1041314 h 6557032"/>
              <a:gd name="connsiteX21046" fmla="*/ 3556884 w 4610101"/>
              <a:gd name="connsiteY21046" fmla="*/ 1034025 h 6557032"/>
              <a:gd name="connsiteX21047" fmla="*/ 3553467 w 4610101"/>
              <a:gd name="connsiteY21047" fmla="*/ 1029470 h 6557032"/>
              <a:gd name="connsiteX21048" fmla="*/ 164384 w 4610101"/>
              <a:gd name="connsiteY21048" fmla="*/ 1029185 h 6557032"/>
              <a:gd name="connsiteX21049" fmla="*/ 177777 w 4610101"/>
              <a:gd name="connsiteY21049" fmla="*/ 1040346 h 6557032"/>
              <a:gd name="connsiteX21050" fmla="*/ 182218 w 4610101"/>
              <a:gd name="connsiteY21050" fmla="*/ 1044958 h 6557032"/>
              <a:gd name="connsiteX21051" fmla="*/ 169690 w 4610101"/>
              <a:gd name="connsiteY21051" fmla="*/ 1034708 h 6557032"/>
              <a:gd name="connsiteX21052" fmla="*/ 2592954 w 4610101"/>
              <a:gd name="connsiteY21052" fmla="*/ 1028559 h 6557032"/>
              <a:gd name="connsiteX21053" fmla="*/ 2596598 w 4610101"/>
              <a:gd name="connsiteY21053" fmla="*/ 1043136 h 6557032"/>
              <a:gd name="connsiteX21054" fmla="*/ 2596598 w 4610101"/>
              <a:gd name="connsiteY21054" fmla="*/ 1030381 h 6557032"/>
              <a:gd name="connsiteX21055" fmla="*/ 2592954 w 4610101"/>
              <a:gd name="connsiteY21055" fmla="*/ 1028559 h 6557032"/>
              <a:gd name="connsiteX21056" fmla="*/ 1073262 w 4610101"/>
              <a:gd name="connsiteY21056" fmla="*/ 1028559 h 6557032"/>
              <a:gd name="connsiteX21057" fmla="*/ 1071439 w 4610101"/>
              <a:gd name="connsiteY21057" fmla="*/ 1030381 h 6557032"/>
              <a:gd name="connsiteX21058" fmla="*/ 1075083 w 4610101"/>
              <a:gd name="connsiteY21058" fmla="*/ 1030381 h 6557032"/>
              <a:gd name="connsiteX21059" fmla="*/ 1073262 w 4610101"/>
              <a:gd name="connsiteY21059" fmla="*/ 1028559 h 6557032"/>
              <a:gd name="connsiteX21060" fmla="*/ 819979 w 4610101"/>
              <a:gd name="connsiteY21060" fmla="*/ 1028559 h 6557032"/>
              <a:gd name="connsiteX21061" fmla="*/ 820707 w 4610101"/>
              <a:gd name="connsiteY21061" fmla="*/ 1029651 h 6557032"/>
              <a:gd name="connsiteX21062" fmla="*/ 819213 w 4610101"/>
              <a:gd name="connsiteY21062" fmla="*/ 1031147 h 6557032"/>
              <a:gd name="connsiteX21063" fmla="*/ 748914 w 4610101"/>
              <a:gd name="connsiteY21063" fmla="*/ 1028559 h 6557032"/>
              <a:gd name="connsiteX21064" fmla="*/ 750737 w 4610101"/>
              <a:gd name="connsiteY21064" fmla="*/ 1037669 h 6557032"/>
              <a:gd name="connsiteX21065" fmla="*/ 752558 w 4610101"/>
              <a:gd name="connsiteY21065" fmla="*/ 1034025 h 6557032"/>
              <a:gd name="connsiteX21066" fmla="*/ 748914 w 4610101"/>
              <a:gd name="connsiteY21066" fmla="*/ 1028559 h 6557032"/>
              <a:gd name="connsiteX21067" fmla="*/ 677849 w 4610101"/>
              <a:gd name="connsiteY21067" fmla="*/ 1028559 h 6557032"/>
              <a:gd name="connsiteX21068" fmla="*/ 683316 w 4610101"/>
              <a:gd name="connsiteY21068" fmla="*/ 1030381 h 6557032"/>
              <a:gd name="connsiteX21069" fmla="*/ 677849 w 4610101"/>
              <a:gd name="connsiteY21069" fmla="*/ 1028559 h 6557032"/>
              <a:gd name="connsiteX21070" fmla="*/ 386301 w 4610101"/>
              <a:gd name="connsiteY21070" fmla="*/ 1028559 h 6557032"/>
              <a:gd name="connsiteX21071" fmla="*/ 399056 w 4610101"/>
              <a:gd name="connsiteY21071" fmla="*/ 1035847 h 6557032"/>
              <a:gd name="connsiteX21072" fmla="*/ 386301 w 4610101"/>
              <a:gd name="connsiteY21072" fmla="*/ 1028559 h 6557032"/>
              <a:gd name="connsiteX21073" fmla="*/ 295193 w 4610101"/>
              <a:gd name="connsiteY21073" fmla="*/ 1028559 h 6557032"/>
              <a:gd name="connsiteX21074" fmla="*/ 311592 w 4610101"/>
              <a:gd name="connsiteY21074" fmla="*/ 1041314 h 6557032"/>
              <a:gd name="connsiteX21075" fmla="*/ 300660 w 4610101"/>
              <a:gd name="connsiteY21075" fmla="*/ 1028559 h 6557032"/>
              <a:gd name="connsiteX21076" fmla="*/ 298837 w 4610101"/>
              <a:gd name="connsiteY21076" fmla="*/ 1028559 h 6557032"/>
              <a:gd name="connsiteX21077" fmla="*/ 311592 w 4610101"/>
              <a:gd name="connsiteY21077" fmla="*/ 1041314 h 6557032"/>
              <a:gd name="connsiteX21078" fmla="*/ 295193 w 4610101"/>
              <a:gd name="connsiteY21078" fmla="*/ 1028559 h 6557032"/>
              <a:gd name="connsiteX21079" fmla="*/ 94753 w 4610101"/>
              <a:gd name="connsiteY21079" fmla="*/ 1028559 h 6557032"/>
              <a:gd name="connsiteX21080" fmla="*/ 94756 w 4610101"/>
              <a:gd name="connsiteY21080" fmla="*/ 1028561 h 6557032"/>
              <a:gd name="connsiteX21081" fmla="*/ 96576 w 4610101"/>
              <a:gd name="connsiteY21081" fmla="*/ 1030381 h 6557032"/>
              <a:gd name="connsiteX21082" fmla="*/ 798112 w 4610101"/>
              <a:gd name="connsiteY21082" fmla="*/ 1026797 h 6557032"/>
              <a:gd name="connsiteX21083" fmla="*/ 799934 w 4610101"/>
              <a:gd name="connsiteY21083" fmla="*/ 1030442 h 6557032"/>
              <a:gd name="connsiteX21084" fmla="*/ 798112 w 4610101"/>
              <a:gd name="connsiteY21084" fmla="*/ 1030442 h 6557032"/>
              <a:gd name="connsiteX21085" fmla="*/ 794151 w 4610101"/>
              <a:gd name="connsiteY21085" fmla="*/ 1033611 h 6557032"/>
              <a:gd name="connsiteX21086" fmla="*/ 793142 w 4610101"/>
              <a:gd name="connsiteY21086" fmla="*/ 1032099 h 6557032"/>
              <a:gd name="connsiteX21087" fmla="*/ 790823 w 4610101"/>
              <a:gd name="connsiteY21087" fmla="*/ 1028620 h 6557032"/>
              <a:gd name="connsiteX21088" fmla="*/ 798112 w 4610101"/>
              <a:gd name="connsiteY21088" fmla="*/ 1026797 h 6557032"/>
              <a:gd name="connsiteX21089" fmla="*/ 3119562 w 4610101"/>
              <a:gd name="connsiteY21089" fmla="*/ 1026736 h 6557032"/>
              <a:gd name="connsiteX21090" fmla="*/ 3126851 w 4610101"/>
              <a:gd name="connsiteY21090" fmla="*/ 1032203 h 6557032"/>
              <a:gd name="connsiteX21091" fmla="*/ 3119562 w 4610101"/>
              <a:gd name="connsiteY21091" fmla="*/ 1026736 h 6557032"/>
              <a:gd name="connsiteX21092" fmla="*/ 1250012 w 4610101"/>
              <a:gd name="connsiteY21092" fmla="*/ 1026736 h 6557032"/>
              <a:gd name="connsiteX21093" fmla="*/ 1255478 w 4610101"/>
              <a:gd name="connsiteY21093" fmla="*/ 1028559 h 6557032"/>
              <a:gd name="connsiteX21094" fmla="*/ 1250012 w 4610101"/>
              <a:gd name="connsiteY21094" fmla="*/ 1034252 h 6557032"/>
              <a:gd name="connsiteX21095" fmla="*/ 1248827 w 4610101"/>
              <a:gd name="connsiteY21095" fmla="*/ 1035782 h 6557032"/>
              <a:gd name="connsiteX21096" fmla="*/ 1247735 w 4610101"/>
              <a:gd name="connsiteY21096" fmla="*/ 1035619 h 6557032"/>
              <a:gd name="connsiteX21097" fmla="*/ 1245751 w 4610101"/>
              <a:gd name="connsiteY21097" fmla="*/ 1035257 h 6557032"/>
              <a:gd name="connsiteX21098" fmla="*/ 927487 w 4610101"/>
              <a:gd name="connsiteY21098" fmla="*/ 1026736 h 6557032"/>
              <a:gd name="connsiteX21099" fmla="*/ 925666 w 4610101"/>
              <a:gd name="connsiteY21099" fmla="*/ 1063180 h 6557032"/>
              <a:gd name="connsiteX21100" fmla="*/ 929309 w 4610101"/>
              <a:gd name="connsiteY21100" fmla="*/ 1059535 h 6557032"/>
              <a:gd name="connsiteX21101" fmla="*/ 927487 w 4610101"/>
              <a:gd name="connsiteY21101" fmla="*/ 1063180 h 6557032"/>
              <a:gd name="connsiteX21102" fmla="*/ 936598 w 4610101"/>
              <a:gd name="connsiteY21102" fmla="*/ 1063180 h 6557032"/>
              <a:gd name="connsiteX21103" fmla="*/ 927487 w 4610101"/>
              <a:gd name="connsiteY21103" fmla="*/ 1026736 h 6557032"/>
              <a:gd name="connsiteX21104" fmla="*/ 767136 w 4610101"/>
              <a:gd name="connsiteY21104" fmla="*/ 1026736 h 6557032"/>
              <a:gd name="connsiteX21105" fmla="*/ 770781 w 4610101"/>
              <a:gd name="connsiteY21105" fmla="*/ 1032203 h 6557032"/>
              <a:gd name="connsiteX21106" fmla="*/ 767136 w 4610101"/>
              <a:gd name="connsiteY21106" fmla="*/ 1034025 h 6557032"/>
              <a:gd name="connsiteX21107" fmla="*/ 379012 w 4610101"/>
              <a:gd name="connsiteY21107" fmla="*/ 1026736 h 6557032"/>
              <a:gd name="connsiteX21108" fmla="*/ 384479 w 4610101"/>
              <a:gd name="connsiteY21108" fmla="*/ 1035847 h 6557032"/>
              <a:gd name="connsiteX21109" fmla="*/ 382657 w 4610101"/>
              <a:gd name="connsiteY21109" fmla="*/ 1028559 h 6557032"/>
              <a:gd name="connsiteX21110" fmla="*/ 379012 w 4610101"/>
              <a:gd name="connsiteY21110" fmla="*/ 1026736 h 6557032"/>
              <a:gd name="connsiteX21111" fmla="*/ 207728 w 4610101"/>
              <a:gd name="connsiteY21111" fmla="*/ 1026736 h 6557032"/>
              <a:gd name="connsiteX21112" fmla="*/ 227772 w 4610101"/>
              <a:gd name="connsiteY21112" fmla="*/ 1048602 h 6557032"/>
              <a:gd name="connsiteX21113" fmla="*/ 249638 w 4610101"/>
              <a:gd name="connsiteY21113" fmla="*/ 1061358 h 6557032"/>
              <a:gd name="connsiteX21114" fmla="*/ 231416 w 4610101"/>
              <a:gd name="connsiteY21114" fmla="*/ 1048602 h 6557032"/>
              <a:gd name="connsiteX21115" fmla="*/ 238705 w 4610101"/>
              <a:gd name="connsiteY21115" fmla="*/ 1050425 h 6557032"/>
              <a:gd name="connsiteX21116" fmla="*/ 207728 w 4610101"/>
              <a:gd name="connsiteY21116" fmla="*/ 1026736 h 6557032"/>
              <a:gd name="connsiteX21117" fmla="*/ 191329 w 4610101"/>
              <a:gd name="connsiteY21117" fmla="*/ 1026736 h 6557032"/>
              <a:gd name="connsiteX21118" fmla="*/ 198617 w 4610101"/>
              <a:gd name="connsiteY21118" fmla="*/ 1039492 h 6557032"/>
              <a:gd name="connsiteX21119" fmla="*/ 209550 w 4610101"/>
              <a:gd name="connsiteY21119" fmla="*/ 1037669 h 6557032"/>
              <a:gd name="connsiteX21120" fmla="*/ 191329 w 4610101"/>
              <a:gd name="connsiteY21120" fmla="*/ 1026736 h 6557032"/>
              <a:gd name="connsiteX21121" fmla="*/ 185862 w 4610101"/>
              <a:gd name="connsiteY21121" fmla="*/ 1026736 h 6557032"/>
              <a:gd name="connsiteX21122" fmla="*/ 185865 w 4610101"/>
              <a:gd name="connsiteY21122" fmla="*/ 1026739 h 6557032"/>
              <a:gd name="connsiteX21123" fmla="*/ 185866 w 4610101"/>
              <a:gd name="connsiteY21123" fmla="*/ 1026740 h 6557032"/>
              <a:gd name="connsiteX21124" fmla="*/ 116619 w 4610101"/>
              <a:gd name="connsiteY21124" fmla="*/ 1026736 h 6557032"/>
              <a:gd name="connsiteX21125" fmla="*/ 119505 w 4610101"/>
              <a:gd name="connsiteY21125" fmla="*/ 1029828 h 6557032"/>
              <a:gd name="connsiteX21126" fmla="*/ 118181 w 4610101"/>
              <a:gd name="connsiteY21126" fmla="*/ 1028610 h 6557032"/>
              <a:gd name="connsiteX21127" fmla="*/ 3228893 w 4610101"/>
              <a:gd name="connsiteY21127" fmla="*/ 1024914 h 6557032"/>
              <a:gd name="connsiteX21128" fmla="*/ 3216137 w 4610101"/>
              <a:gd name="connsiteY21128" fmla="*/ 1030381 h 6557032"/>
              <a:gd name="connsiteX21129" fmla="*/ 3228893 w 4610101"/>
              <a:gd name="connsiteY21129" fmla="*/ 1024914 h 6557032"/>
              <a:gd name="connsiteX21130" fmla="*/ 3052142 w 4610101"/>
              <a:gd name="connsiteY21130" fmla="*/ 1024914 h 6557032"/>
              <a:gd name="connsiteX21131" fmla="*/ 3055038 w 4610101"/>
              <a:gd name="connsiteY21131" fmla="*/ 1025879 h 6557032"/>
              <a:gd name="connsiteX21132" fmla="*/ 3054648 w 4610101"/>
              <a:gd name="connsiteY21132" fmla="*/ 1025825 h 6557032"/>
              <a:gd name="connsiteX21133" fmla="*/ 3052372 w 4610101"/>
              <a:gd name="connsiteY21133" fmla="*/ 1025565 h 6557032"/>
              <a:gd name="connsiteX21134" fmla="*/ 3006587 w 4610101"/>
              <a:gd name="connsiteY21134" fmla="*/ 1024914 h 6557032"/>
              <a:gd name="connsiteX21135" fmla="*/ 3008260 w 4610101"/>
              <a:gd name="connsiteY21135" fmla="*/ 1027701 h 6557032"/>
              <a:gd name="connsiteX21136" fmla="*/ 3008410 w 4610101"/>
              <a:gd name="connsiteY21136" fmla="*/ 1028559 h 6557032"/>
              <a:gd name="connsiteX21137" fmla="*/ 3006587 w 4610101"/>
              <a:gd name="connsiteY21137" fmla="*/ 1024914 h 6557032"/>
              <a:gd name="connsiteX21138" fmla="*/ 2428958 w 4610101"/>
              <a:gd name="connsiteY21138" fmla="*/ 1024914 h 6557032"/>
              <a:gd name="connsiteX21139" fmla="*/ 2432603 w 4610101"/>
              <a:gd name="connsiteY21139" fmla="*/ 1033704 h 6557032"/>
              <a:gd name="connsiteX21140" fmla="*/ 2432603 w 4610101"/>
              <a:gd name="connsiteY21140" fmla="*/ 1034025 h 6557032"/>
              <a:gd name="connsiteX21141" fmla="*/ 2432748 w 4610101"/>
              <a:gd name="connsiteY21141" fmla="*/ 1034054 h 6557032"/>
              <a:gd name="connsiteX21142" fmla="*/ 2432831 w 4610101"/>
              <a:gd name="connsiteY21142" fmla="*/ 1034252 h 6557032"/>
              <a:gd name="connsiteX21143" fmla="*/ 2443536 w 4610101"/>
              <a:gd name="connsiteY21143" fmla="*/ 1039492 h 6557032"/>
              <a:gd name="connsiteX21144" fmla="*/ 2439436 w 4610101"/>
              <a:gd name="connsiteY21144" fmla="*/ 1035391 h 6557032"/>
              <a:gd name="connsiteX21145" fmla="*/ 2432748 w 4610101"/>
              <a:gd name="connsiteY21145" fmla="*/ 1034054 h 6557032"/>
              <a:gd name="connsiteX21146" fmla="*/ 2432603 w 4610101"/>
              <a:gd name="connsiteY21146" fmla="*/ 1033704 h 6557032"/>
              <a:gd name="connsiteX21147" fmla="*/ 2432603 w 4610101"/>
              <a:gd name="connsiteY21147" fmla="*/ 1029470 h 6557032"/>
              <a:gd name="connsiteX21148" fmla="*/ 2432603 w 4610101"/>
              <a:gd name="connsiteY21148" fmla="*/ 1024914 h 6557032"/>
              <a:gd name="connsiteX21149" fmla="*/ 2428958 w 4610101"/>
              <a:gd name="connsiteY21149" fmla="*/ 1024914 h 6557032"/>
              <a:gd name="connsiteX21150" fmla="*/ 1067794 w 4610101"/>
              <a:gd name="connsiteY21150" fmla="*/ 1024914 h 6557032"/>
              <a:gd name="connsiteX21151" fmla="*/ 1065972 w 4610101"/>
              <a:gd name="connsiteY21151" fmla="*/ 1030381 h 6557032"/>
              <a:gd name="connsiteX21152" fmla="*/ 1067794 w 4610101"/>
              <a:gd name="connsiteY21152" fmla="*/ 1024914 h 6557032"/>
              <a:gd name="connsiteX21153" fmla="*/ 1014951 w 4610101"/>
              <a:gd name="connsiteY21153" fmla="*/ 1024914 h 6557032"/>
              <a:gd name="connsiteX21154" fmla="*/ 1011307 w 4610101"/>
              <a:gd name="connsiteY21154" fmla="*/ 1026736 h 6557032"/>
              <a:gd name="connsiteX21155" fmla="*/ 1013129 w 4610101"/>
              <a:gd name="connsiteY21155" fmla="*/ 1030381 h 6557032"/>
              <a:gd name="connsiteX21156" fmla="*/ 1014951 w 4610101"/>
              <a:gd name="connsiteY21156" fmla="*/ 1024914 h 6557032"/>
              <a:gd name="connsiteX21157" fmla="*/ 646872 w 4610101"/>
              <a:gd name="connsiteY21157" fmla="*/ 1024914 h 6557032"/>
              <a:gd name="connsiteX21158" fmla="*/ 650516 w 4610101"/>
              <a:gd name="connsiteY21158" fmla="*/ 1028559 h 6557032"/>
              <a:gd name="connsiteX21159" fmla="*/ 646872 w 4610101"/>
              <a:gd name="connsiteY21159" fmla="*/ 1024914 h 6557032"/>
              <a:gd name="connsiteX21160" fmla="*/ 282438 w 4610101"/>
              <a:gd name="connsiteY21160" fmla="*/ 1024914 h 6557032"/>
              <a:gd name="connsiteX21161" fmla="*/ 298837 w 4610101"/>
              <a:gd name="connsiteY21161" fmla="*/ 1041314 h 6557032"/>
              <a:gd name="connsiteX21162" fmla="*/ 282438 w 4610101"/>
              <a:gd name="connsiteY21162" fmla="*/ 1024914 h 6557032"/>
              <a:gd name="connsiteX21163" fmla="*/ 249638 w 4610101"/>
              <a:gd name="connsiteY21163" fmla="*/ 1024914 h 6557032"/>
              <a:gd name="connsiteX21164" fmla="*/ 269682 w 4610101"/>
              <a:gd name="connsiteY21164" fmla="*/ 1034025 h 6557032"/>
              <a:gd name="connsiteX21165" fmla="*/ 249638 w 4610101"/>
              <a:gd name="connsiteY21165" fmla="*/ 1024914 h 6557032"/>
              <a:gd name="connsiteX21166" fmla="*/ 143772 w 4610101"/>
              <a:gd name="connsiteY21166" fmla="*/ 1024644 h 6557032"/>
              <a:gd name="connsiteX21167" fmla="*/ 151241 w 4610101"/>
              <a:gd name="connsiteY21167" fmla="*/ 1035847 h 6557032"/>
              <a:gd name="connsiteX21168" fmla="*/ 149131 w 4610101"/>
              <a:gd name="connsiteY21168" fmla="*/ 1033606 h 6557032"/>
              <a:gd name="connsiteX21169" fmla="*/ 337330 w 4610101"/>
              <a:gd name="connsiteY21169" fmla="*/ 1024230 h 6557032"/>
              <a:gd name="connsiteX21170" fmla="*/ 331636 w 4610101"/>
              <a:gd name="connsiteY21170" fmla="*/ 1024914 h 6557032"/>
              <a:gd name="connsiteX21171" fmla="*/ 358969 w 4610101"/>
              <a:gd name="connsiteY21171" fmla="*/ 1034025 h 6557032"/>
              <a:gd name="connsiteX21172" fmla="*/ 349858 w 4610101"/>
              <a:gd name="connsiteY21172" fmla="*/ 1026736 h 6557032"/>
              <a:gd name="connsiteX21173" fmla="*/ 353502 w 4610101"/>
              <a:gd name="connsiteY21173" fmla="*/ 1032203 h 6557032"/>
              <a:gd name="connsiteX21174" fmla="*/ 344391 w 4610101"/>
              <a:gd name="connsiteY21174" fmla="*/ 1024914 h 6557032"/>
              <a:gd name="connsiteX21175" fmla="*/ 337330 w 4610101"/>
              <a:gd name="connsiteY21175" fmla="*/ 1024230 h 6557032"/>
              <a:gd name="connsiteX21176" fmla="*/ 3518618 w 4610101"/>
              <a:gd name="connsiteY21176" fmla="*/ 1023092 h 6557032"/>
              <a:gd name="connsiteX21177" fmla="*/ 3525907 w 4610101"/>
              <a:gd name="connsiteY21177" fmla="*/ 1030381 h 6557032"/>
              <a:gd name="connsiteX21178" fmla="*/ 3518618 w 4610101"/>
              <a:gd name="connsiteY21178" fmla="*/ 1023092 h 6557032"/>
              <a:gd name="connsiteX21179" fmla="*/ 2627575 w 4610101"/>
              <a:gd name="connsiteY21179" fmla="*/ 1023092 h 6557032"/>
              <a:gd name="connsiteX21180" fmla="*/ 2625753 w 4610101"/>
              <a:gd name="connsiteY21180" fmla="*/ 1028559 h 6557032"/>
              <a:gd name="connsiteX21181" fmla="*/ 2633042 w 4610101"/>
              <a:gd name="connsiteY21181" fmla="*/ 1030381 h 6557032"/>
              <a:gd name="connsiteX21182" fmla="*/ 2627575 w 4610101"/>
              <a:gd name="connsiteY21182" fmla="*/ 1023092 h 6557032"/>
              <a:gd name="connsiteX21183" fmla="*/ 1168014 w 4610101"/>
              <a:gd name="connsiteY21183" fmla="*/ 1023092 h 6557032"/>
              <a:gd name="connsiteX21184" fmla="*/ 1160725 w 4610101"/>
              <a:gd name="connsiteY21184" fmla="*/ 1034025 h 6557032"/>
              <a:gd name="connsiteX21185" fmla="*/ 1164370 w 4610101"/>
              <a:gd name="connsiteY21185" fmla="*/ 1032203 h 6557032"/>
              <a:gd name="connsiteX21186" fmla="*/ 1158903 w 4610101"/>
              <a:gd name="connsiteY21186" fmla="*/ 1048602 h 6557032"/>
              <a:gd name="connsiteX21187" fmla="*/ 1168014 w 4610101"/>
              <a:gd name="connsiteY21187" fmla="*/ 1048602 h 6557032"/>
              <a:gd name="connsiteX21188" fmla="*/ 1168014 w 4610101"/>
              <a:gd name="connsiteY21188" fmla="*/ 1030381 h 6557032"/>
              <a:gd name="connsiteX21189" fmla="*/ 1166192 w 4610101"/>
              <a:gd name="connsiteY21189" fmla="*/ 1032203 h 6557032"/>
              <a:gd name="connsiteX21190" fmla="*/ 1168014 w 4610101"/>
              <a:gd name="connsiteY21190" fmla="*/ 1023092 h 6557032"/>
              <a:gd name="connsiteX21191" fmla="*/ 1135215 w 4610101"/>
              <a:gd name="connsiteY21191" fmla="*/ 1023092 h 6557032"/>
              <a:gd name="connsiteX21192" fmla="*/ 1133393 w 4610101"/>
              <a:gd name="connsiteY21192" fmla="*/ 1026736 h 6557032"/>
              <a:gd name="connsiteX21193" fmla="*/ 1135215 w 4610101"/>
              <a:gd name="connsiteY21193" fmla="*/ 1028559 h 6557032"/>
              <a:gd name="connsiteX21194" fmla="*/ 1135215 w 4610101"/>
              <a:gd name="connsiteY21194" fmla="*/ 1023092 h 6557032"/>
              <a:gd name="connsiteX21195" fmla="*/ 1055040 w 4610101"/>
              <a:gd name="connsiteY21195" fmla="*/ 1023092 h 6557032"/>
              <a:gd name="connsiteX21196" fmla="*/ 1056861 w 4610101"/>
              <a:gd name="connsiteY21196" fmla="*/ 1032203 h 6557032"/>
              <a:gd name="connsiteX21197" fmla="*/ 1062328 w 4610101"/>
              <a:gd name="connsiteY21197" fmla="*/ 1030381 h 6557032"/>
              <a:gd name="connsiteX21198" fmla="*/ 1062328 w 4610101"/>
              <a:gd name="connsiteY21198" fmla="*/ 1026736 h 6557032"/>
              <a:gd name="connsiteX21199" fmla="*/ 1055040 w 4610101"/>
              <a:gd name="connsiteY21199" fmla="*/ 1023092 h 6557032"/>
              <a:gd name="connsiteX21200" fmla="*/ 925666 w 4610101"/>
              <a:gd name="connsiteY21200" fmla="*/ 1023092 h 6557032"/>
              <a:gd name="connsiteX21201" fmla="*/ 922020 w 4610101"/>
              <a:gd name="connsiteY21201" fmla="*/ 1028559 h 6557032"/>
              <a:gd name="connsiteX21202" fmla="*/ 925666 w 4610101"/>
              <a:gd name="connsiteY21202" fmla="*/ 1023092 h 6557032"/>
              <a:gd name="connsiteX21203" fmla="*/ 918376 w 4610101"/>
              <a:gd name="connsiteY21203" fmla="*/ 1023092 h 6557032"/>
              <a:gd name="connsiteX21204" fmla="*/ 914732 w 4610101"/>
              <a:gd name="connsiteY21204" fmla="*/ 1028559 h 6557032"/>
              <a:gd name="connsiteX21205" fmla="*/ 918376 w 4610101"/>
              <a:gd name="connsiteY21205" fmla="*/ 1030381 h 6557032"/>
              <a:gd name="connsiteX21206" fmla="*/ 918376 w 4610101"/>
              <a:gd name="connsiteY21206" fmla="*/ 1023092 h 6557032"/>
              <a:gd name="connsiteX21207" fmla="*/ 754380 w 4610101"/>
              <a:gd name="connsiteY21207" fmla="*/ 1023092 h 6557032"/>
              <a:gd name="connsiteX21208" fmla="*/ 756203 w 4610101"/>
              <a:gd name="connsiteY21208" fmla="*/ 1035847 h 6557032"/>
              <a:gd name="connsiteX21209" fmla="*/ 754380 w 4610101"/>
              <a:gd name="connsiteY21209" fmla="*/ 1023092 h 6557032"/>
              <a:gd name="connsiteX21210" fmla="*/ 719759 w 4610101"/>
              <a:gd name="connsiteY21210" fmla="*/ 1023092 h 6557032"/>
              <a:gd name="connsiteX21211" fmla="*/ 723404 w 4610101"/>
              <a:gd name="connsiteY21211" fmla="*/ 1030381 h 6557032"/>
              <a:gd name="connsiteX21212" fmla="*/ 719759 w 4610101"/>
              <a:gd name="connsiteY21212" fmla="*/ 1023092 h 6557032"/>
              <a:gd name="connsiteX21213" fmla="*/ 382657 w 4610101"/>
              <a:gd name="connsiteY21213" fmla="*/ 1023092 h 6557032"/>
              <a:gd name="connsiteX21214" fmla="*/ 413634 w 4610101"/>
              <a:gd name="connsiteY21214" fmla="*/ 1037669 h 6557032"/>
              <a:gd name="connsiteX21215" fmla="*/ 382657 w 4610101"/>
              <a:gd name="connsiteY21215" fmla="*/ 1023092 h 6557032"/>
              <a:gd name="connsiteX21216" fmla="*/ 364435 w 4610101"/>
              <a:gd name="connsiteY21216" fmla="*/ 1023092 h 6557032"/>
              <a:gd name="connsiteX21217" fmla="*/ 375368 w 4610101"/>
              <a:gd name="connsiteY21217" fmla="*/ 1034025 h 6557032"/>
              <a:gd name="connsiteX21218" fmla="*/ 371724 w 4610101"/>
              <a:gd name="connsiteY21218" fmla="*/ 1024914 h 6557032"/>
              <a:gd name="connsiteX21219" fmla="*/ 364435 w 4610101"/>
              <a:gd name="connsiteY21219" fmla="*/ 1023092 h 6557032"/>
              <a:gd name="connsiteX21220" fmla="*/ 158529 w 4610101"/>
              <a:gd name="connsiteY21220" fmla="*/ 1023092 h 6557032"/>
              <a:gd name="connsiteX21221" fmla="*/ 158534 w 4610101"/>
              <a:gd name="connsiteY21221" fmla="*/ 1023096 h 6557032"/>
              <a:gd name="connsiteX21222" fmla="*/ 162174 w 4610101"/>
              <a:gd name="connsiteY21222" fmla="*/ 1026736 h 6557032"/>
              <a:gd name="connsiteX21223" fmla="*/ 161660 w 4610101"/>
              <a:gd name="connsiteY21223" fmla="*/ 1026350 h 6557032"/>
              <a:gd name="connsiteX21224" fmla="*/ 1138859 w 4610101"/>
              <a:gd name="connsiteY21224" fmla="*/ 1021270 h 6557032"/>
              <a:gd name="connsiteX21225" fmla="*/ 1139310 w 4610101"/>
              <a:gd name="connsiteY21225" fmla="*/ 1022021 h 6557032"/>
              <a:gd name="connsiteX21226" fmla="*/ 1138859 w 4610101"/>
              <a:gd name="connsiteY21226" fmla="*/ 1023092 h 6557032"/>
              <a:gd name="connsiteX21227" fmla="*/ 1138312 w 4610101"/>
              <a:gd name="connsiteY21227" fmla="*/ 1021816 h 6557032"/>
              <a:gd name="connsiteX21228" fmla="*/ 1016774 w 4610101"/>
              <a:gd name="connsiteY21228" fmla="*/ 1021270 h 6557032"/>
              <a:gd name="connsiteX21229" fmla="*/ 1022240 w 4610101"/>
              <a:gd name="connsiteY21229" fmla="*/ 1024914 h 6557032"/>
              <a:gd name="connsiteX21230" fmla="*/ 1016774 w 4610101"/>
              <a:gd name="connsiteY21230" fmla="*/ 1021270 h 6557032"/>
              <a:gd name="connsiteX21231" fmla="*/ 911087 w 4610101"/>
              <a:gd name="connsiteY21231" fmla="*/ 1021270 h 6557032"/>
              <a:gd name="connsiteX21232" fmla="*/ 903799 w 4610101"/>
              <a:gd name="connsiteY21232" fmla="*/ 1039492 h 6557032"/>
              <a:gd name="connsiteX21233" fmla="*/ 911087 w 4610101"/>
              <a:gd name="connsiteY21233" fmla="*/ 1021270 h 6557032"/>
              <a:gd name="connsiteX21234" fmla="*/ 887399 w 4610101"/>
              <a:gd name="connsiteY21234" fmla="*/ 1021270 h 6557032"/>
              <a:gd name="connsiteX21235" fmla="*/ 891043 w 4610101"/>
              <a:gd name="connsiteY21235" fmla="*/ 1044958 h 6557032"/>
              <a:gd name="connsiteX21236" fmla="*/ 900154 w 4610101"/>
              <a:gd name="connsiteY21236" fmla="*/ 1030381 h 6557032"/>
              <a:gd name="connsiteX21237" fmla="*/ 887399 w 4610101"/>
              <a:gd name="connsiteY21237" fmla="*/ 1021270 h 6557032"/>
              <a:gd name="connsiteX21238" fmla="*/ 865533 w 4610101"/>
              <a:gd name="connsiteY21238" fmla="*/ 1021270 h 6557032"/>
              <a:gd name="connsiteX21239" fmla="*/ 867355 w 4610101"/>
              <a:gd name="connsiteY21239" fmla="*/ 1037669 h 6557032"/>
              <a:gd name="connsiteX21240" fmla="*/ 871000 w 4610101"/>
              <a:gd name="connsiteY21240" fmla="*/ 1035847 h 6557032"/>
              <a:gd name="connsiteX21241" fmla="*/ 869177 w 4610101"/>
              <a:gd name="connsiteY21241" fmla="*/ 1041314 h 6557032"/>
              <a:gd name="connsiteX21242" fmla="*/ 880111 w 4610101"/>
              <a:gd name="connsiteY21242" fmla="*/ 1041314 h 6557032"/>
              <a:gd name="connsiteX21243" fmla="*/ 871000 w 4610101"/>
              <a:gd name="connsiteY21243" fmla="*/ 1032203 h 6557032"/>
              <a:gd name="connsiteX21244" fmla="*/ 865533 w 4610101"/>
              <a:gd name="connsiteY21244" fmla="*/ 1021270 h 6557032"/>
              <a:gd name="connsiteX21245" fmla="*/ 739803 w 4610101"/>
              <a:gd name="connsiteY21245" fmla="*/ 1021270 h 6557032"/>
              <a:gd name="connsiteX21246" fmla="*/ 739803 w 4610101"/>
              <a:gd name="connsiteY21246" fmla="*/ 1039492 h 6557032"/>
              <a:gd name="connsiteX21247" fmla="*/ 737981 w 4610101"/>
              <a:gd name="connsiteY21247" fmla="*/ 1028559 h 6557032"/>
              <a:gd name="connsiteX21248" fmla="*/ 745269 w 4610101"/>
              <a:gd name="connsiteY21248" fmla="*/ 1032203 h 6557032"/>
              <a:gd name="connsiteX21249" fmla="*/ 739803 w 4610101"/>
              <a:gd name="connsiteY21249" fmla="*/ 1021270 h 6557032"/>
              <a:gd name="connsiteX21250" fmla="*/ 291549 w 4610101"/>
              <a:gd name="connsiteY21250" fmla="*/ 1021270 h 6557032"/>
              <a:gd name="connsiteX21251" fmla="*/ 300660 w 4610101"/>
              <a:gd name="connsiteY21251" fmla="*/ 1026736 h 6557032"/>
              <a:gd name="connsiteX21252" fmla="*/ 291549 w 4610101"/>
              <a:gd name="connsiteY21252" fmla="*/ 1021270 h 6557032"/>
              <a:gd name="connsiteX21253" fmla="*/ 154885 w 4610101"/>
              <a:gd name="connsiteY21253" fmla="*/ 1021270 h 6557032"/>
              <a:gd name="connsiteX21254" fmla="*/ 161660 w 4610101"/>
              <a:gd name="connsiteY21254" fmla="*/ 1026350 h 6557032"/>
              <a:gd name="connsiteX21255" fmla="*/ 164384 w 4610101"/>
              <a:gd name="connsiteY21255" fmla="*/ 1029185 h 6557032"/>
              <a:gd name="connsiteX21256" fmla="*/ 3429104 w 4610101"/>
              <a:gd name="connsiteY21256" fmla="*/ 1020358 h 6557032"/>
              <a:gd name="connsiteX21257" fmla="*/ 3423865 w 4610101"/>
              <a:gd name="connsiteY21257" fmla="*/ 1024914 h 6557032"/>
              <a:gd name="connsiteX21258" fmla="*/ 3434798 w 4610101"/>
              <a:gd name="connsiteY21258" fmla="*/ 1026736 h 6557032"/>
              <a:gd name="connsiteX21259" fmla="*/ 3422043 w 4610101"/>
              <a:gd name="connsiteY21259" fmla="*/ 1026736 h 6557032"/>
              <a:gd name="connsiteX21260" fmla="*/ 3418399 w 4610101"/>
              <a:gd name="connsiteY21260" fmla="*/ 1037669 h 6557032"/>
              <a:gd name="connsiteX21261" fmla="*/ 3416577 w 4610101"/>
              <a:gd name="connsiteY21261" fmla="*/ 1030381 h 6557032"/>
              <a:gd name="connsiteX21262" fmla="*/ 3407466 w 4610101"/>
              <a:gd name="connsiteY21262" fmla="*/ 1039492 h 6557032"/>
              <a:gd name="connsiteX21263" fmla="*/ 3418399 w 4610101"/>
              <a:gd name="connsiteY21263" fmla="*/ 1041314 h 6557032"/>
              <a:gd name="connsiteX21264" fmla="*/ 3451198 w 4610101"/>
              <a:gd name="connsiteY21264" fmla="*/ 1070469 h 6557032"/>
              <a:gd name="connsiteX21265" fmla="*/ 3473064 w 4610101"/>
              <a:gd name="connsiteY21265" fmla="*/ 1052247 h 6557032"/>
              <a:gd name="connsiteX21266" fmla="*/ 3478530 w 4610101"/>
              <a:gd name="connsiteY21266" fmla="*/ 1057713 h 6557032"/>
              <a:gd name="connsiteX21267" fmla="*/ 3516796 w 4610101"/>
              <a:gd name="connsiteY21267" fmla="*/ 1046780 h 6557032"/>
              <a:gd name="connsiteX21268" fmla="*/ 3540484 w 4610101"/>
              <a:gd name="connsiteY21268" fmla="*/ 1055891 h 6557032"/>
              <a:gd name="connsiteX21269" fmla="*/ 3522263 w 4610101"/>
              <a:gd name="connsiteY21269" fmla="*/ 1035847 h 6557032"/>
              <a:gd name="connsiteX21270" fmla="*/ 3518618 w 4610101"/>
              <a:gd name="connsiteY21270" fmla="*/ 1043136 h 6557032"/>
              <a:gd name="connsiteX21271" fmla="*/ 3504041 w 4610101"/>
              <a:gd name="connsiteY21271" fmla="*/ 1032203 h 6557032"/>
              <a:gd name="connsiteX21272" fmla="*/ 3504041 w 4610101"/>
              <a:gd name="connsiteY21272" fmla="*/ 1028559 h 6557032"/>
              <a:gd name="connsiteX21273" fmla="*/ 3493108 w 4610101"/>
              <a:gd name="connsiteY21273" fmla="*/ 1026736 h 6557032"/>
              <a:gd name="connsiteX21274" fmla="*/ 3498574 w 4610101"/>
              <a:gd name="connsiteY21274" fmla="*/ 1030381 h 6557032"/>
              <a:gd name="connsiteX21275" fmla="*/ 3491286 w 4610101"/>
              <a:gd name="connsiteY21275" fmla="*/ 1037669 h 6557032"/>
              <a:gd name="connsiteX21276" fmla="*/ 3483997 w 4610101"/>
              <a:gd name="connsiteY21276" fmla="*/ 1034025 h 6557032"/>
              <a:gd name="connsiteX21277" fmla="*/ 3485819 w 4610101"/>
              <a:gd name="connsiteY21277" fmla="*/ 1048602 h 6557032"/>
              <a:gd name="connsiteX21278" fmla="*/ 3463953 w 4610101"/>
              <a:gd name="connsiteY21278" fmla="*/ 1028559 h 6557032"/>
              <a:gd name="connsiteX21279" fmla="*/ 3451198 w 4610101"/>
              <a:gd name="connsiteY21279" fmla="*/ 1026736 h 6557032"/>
              <a:gd name="connsiteX21280" fmla="*/ 3442087 w 4610101"/>
              <a:gd name="connsiteY21280" fmla="*/ 1035847 h 6557032"/>
              <a:gd name="connsiteX21281" fmla="*/ 3436621 w 4610101"/>
              <a:gd name="connsiteY21281" fmla="*/ 1034025 h 6557032"/>
              <a:gd name="connsiteX21282" fmla="*/ 3438443 w 4610101"/>
              <a:gd name="connsiteY21282" fmla="*/ 1021270 h 6557032"/>
              <a:gd name="connsiteX21283" fmla="*/ 3429104 w 4610101"/>
              <a:gd name="connsiteY21283" fmla="*/ 1020358 h 6557032"/>
              <a:gd name="connsiteX21284" fmla="*/ 790823 w 4610101"/>
              <a:gd name="connsiteY21284" fmla="*/ 1019497 h 6557032"/>
              <a:gd name="connsiteX21285" fmla="*/ 787179 w 4610101"/>
              <a:gd name="connsiteY21285" fmla="*/ 1024963 h 6557032"/>
              <a:gd name="connsiteX21286" fmla="*/ 790823 w 4610101"/>
              <a:gd name="connsiteY21286" fmla="*/ 1019497 h 6557032"/>
              <a:gd name="connsiteX21287" fmla="*/ 774424 w 4610101"/>
              <a:gd name="connsiteY21287" fmla="*/ 1019496 h 6557032"/>
              <a:gd name="connsiteX21288" fmla="*/ 778068 w 4610101"/>
              <a:gd name="connsiteY21288" fmla="*/ 1028607 h 6557032"/>
              <a:gd name="connsiteX21289" fmla="*/ 774424 w 4610101"/>
              <a:gd name="connsiteY21289" fmla="*/ 1019496 h 6557032"/>
              <a:gd name="connsiteX21290" fmla="*/ 2376115 w 4610101"/>
              <a:gd name="connsiteY21290" fmla="*/ 1019448 h 6557032"/>
              <a:gd name="connsiteX21291" fmla="*/ 2381582 w 4610101"/>
              <a:gd name="connsiteY21291" fmla="*/ 1021270 h 6557032"/>
              <a:gd name="connsiteX21292" fmla="*/ 2377937 w 4610101"/>
              <a:gd name="connsiteY21292" fmla="*/ 1024914 h 6557032"/>
              <a:gd name="connsiteX21293" fmla="*/ 2376115 w 4610101"/>
              <a:gd name="connsiteY21293" fmla="*/ 1019448 h 6557032"/>
              <a:gd name="connsiteX21294" fmla="*/ 985796 w 4610101"/>
              <a:gd name="connsiteY21294" fmla="*/ 1019448 h 6557032"/>
              <a:gd name="connsiteX21295" fmla="*/ 982152 w 4610101"/>
              <a:gd name="connsiteY21295" fmla="*/ 1021270 h 6557032"/>
              <a:gd name="connsiteX21296" fmla="*/ 985796 w 4610101"/>
              <a:gd name="connsiteY21296" fmla="*/ 1028559 h 6557032"/>
              <a:gd name="connsiteX21297" fmla="*/ 985796 w 4610101"/>
              <a:gd name="connsiteY21297" fmla="*/ 1019448 h 6557032"/>
              <a:gd name="connsiteX21298" fmla="*/ 595852 w 4610101"/>
              <a:gd name="connsiteY21298" fmla="*/ 1019448 h 6557032"/>
              <a:gd name="connsiteX21299" fmla="*/ 601318 w 4610101"/>
              <a:gd name="connsiteY21299" fmla="*/ 1026736 h 6557032"/>
              <a:gd name="connsiteX21300" fmla="*/ 595852 w 4610101"/>
              <a:gd name="connsiteY21300" fmla="*/ 1019448 h 6557032"/>
              <a:gd name="connsiteX21301" fmla="*/ 584919 w 4610101"/>
              <a:gd name="connsiteY21301" fmla="*/ 1019448 h 6557032"/>
              <a:gd name="connsiteX21302" fmla="*/ 581274 w 4610101"/>
              <a:gd name="connsiteY21302" fmla="*/ 1023092 h 6557032"/>
              <a:gd name="connsiteX21303" fmla="*/ 594030 w 4610101"/>
              <a:gd name="connsiteY21303" fmla="*/ 1026736 h 6557032"/>
              <a:gd name="connsiteX21304" fmla="*/ 584919 w 4610101"/>
              <a:gd name="connsiteY21304" fmla="*/ 1019448 h 6557032"/>
              <a:gd name="connsiteX21305" fmla="*/ 266038 w 4610101"/>
              <a:gd name="connsiteY21305" fmla="*/ 1019448 h 6557032"/>
              <a:gd name="connsiteX21306" fmla="*/ 267066 w 4610101"/>
              <a:gd name="connsiteY21306" fmla="*/ 1020692 h 6557032"/>
              <a:gd name="connsiteX21307" fmla="*/ 266549 w 4610101"/>
              <a:gd name="connsiteY21307" fmla="*/ 1020316 h 6557032"/>
              <a:gd name="connsiteX21308" fmla="*/ 679215 w 4610101"/>
              <a:gd name="connsiteY21308" fmla="*/ 1018764 h 6557032"/>
              <a:gd name="connsiteX21309" fmla="*/ 672383 w 4610101"/>
              <a:gd name="connsiteY21309" fmla="*/ 1023092 h 6557032"/>
              <a:gd name="connsiteX21310" fmla="*/ 683316 w 4610101"/>
              <a:gd name="connsiteY21310" fmla="*/ 1026736 h 6557032"/>
              <a:gd name="connsiteX21311" fmla="*/ 679215 w 4610101"/>
              <a:gd name="connsiteY21311" fmla="*/ 1018764 h 6557032"/>
              <a:gd name="connsiteX21312" fmla="*/ 344619 w 4610101"/>
              <a:gd name="connsiteY21312" fmla="*/ 1018308 h 6557032"/>
              <a:gd name="connsiteX21313" fmla="*/ 344531 w 4610101"/>
              <a:gd name="connsiteY21313" fmla="*/ 1019448 h 6557032"/>
              <a:gd name="connsiteX21314" fmla="*/ 338926 w 4610101"/>
              <a:gd name="connsiteY21314" fmla="*/ 1019448 h 6557032"/>
              <a:gd name="connsiteX21315" fmla="*/ 344391 w 4610101"/>
              <a:gd name="connsiteY21315" fmla="*/ 1021270 h 6557032"/>
              <a:gd name="connsiteX21316" fmla="*/ 344531 w 4610101"/>
              <a:gd name="connsiteY21316" fmla="*/ 1019448 h 6557032"/>
              <a:gd name="connsiteX21317" fmla="*/ 346213 w 4610101"/>
              <a:gd name="connsiteY21317" fmla="*/ 1019448 h 6557032"/>
              <a:gd name="connsiteX21318" fmla="*/ 344619 w 4610101"/>
              <a:gd name="connsiteY21318" fmla="*/ 1018308 h 6557032"/>
              <a:gd name="connsiteX21319" fmla="*/ 315464 w 4610101"/>
              <a:gd name="connsiteY21319" fmla="*/ 1018308 h 6557032"/>
              <a:gd name="connsiteX21320" fmla="*/ 313414 w 4610101"/>
              <a:gd name="connsiteY21320" fmla="*/ 1019448 h 6557032"/>
              <a:gd name="connsiteX21321" fmla="*/ 338926 w 4610101"/>
              <a:gd name="connsiteY21321" fmla="*/ 1032203 h 6557032"/>
              <a:gd name="connsiteX21322" fmla="*/ 318882 w 4610101"/>
              <a:gd name="connsiteY21322" fmla="*/ 1021270 h 6557032"/>
              <a:gd name="connsiteX21323" fmla="*/ 315464 w 4610101"/>
              <a:gd name="connsiteY21323" fmla="*/ 1018308 h 6557032"/>
              <a:gd name="connsiteX21324" fmla="*/ 326963 w 4610101"/>
              <a:gd name="connsiteY21324" fmla="*/ 1017890 h 6557032"/>
              <a:gd name="connsiteX21325" fmla="*/ 323160 w 4610101"/>
              <a:gd name="connsiteY21325" fmla="*/ 1018734 h 6557032"/>
              <a:gd name="connsiteX21326" fmla="*/ 337102 w 4610101"/>
              <a:gd name="connsiteY21326" fmla="*/ 1021270 h 6557032"/>
              <a:gd name="connsiteX21327" fmla="*/ 3364417 w 4610101"/>
              <a:gd name="connsiteY21327" fmla="*/ 1017853 h 6557032"/>
              <a:gd name="connsiteX21328" fmla="*/ 3345512 w 4610101"/>
              <a:gd name="connsiteY21328" fmla="*/ 1019448 h 6557032"/>
              <a:gd name="connsiteX21329" fmla="*/ 3345512 w 4610101"/>
              <a:gd name="connsiteY21329" fmla="*/ 1024985 h 6557032"/>
              <a:gd name="connsiteX21330" fmla="*/ 3341867 w 4610101"/>
              <a:gd name="connsiteY21330" fmla="*/ 1024914 h 6557032"/>
              <a:gd name="connsiteX21331" fmla="*/ 3345512 w 4610101"/>
              <a:gd name="connsiteY21331" fmla="*/ 1026736 h 6557032"/>
              <a:gd name="connsiteX21332" fmla="*/ 3345512 w 4610101"/>
              <a:gd name="connsiteY21332" fmla="*/ 1024985 h 6557032"/>
              <a:gd name="connsiteX21333" fmla="*/ 3353484 w 4610101"/>
              <a:gd name="connsiteY21333" fmla="*/ 1025142 h 6557032"/>
              <a:gd name="connsiteX21334" fmla="*/ 3369200 w 4610101"/>
              <a:gd name="connsiteY21334" fmla="*/ 1021270 h 6557032"/>
              <a:gd name="connsiteX21335" fmla="*/ 3369200 w 4610101"/>
              <a:gd name="connsiteY21335" fmla="*/ 1032203 h 6557032"/>
              <a:gd name="connsiteX21336" fmla="*/ 3363734 w 4610101"/>
              <a:gd name="connsiteY21336" fmla="*/ 1024914 h 6557032"/>
              <a:gd name="connsiteX21337" fmla="*/ 3347334 w 4610101"/>
              <a:gd name="connsiteY21337" fmla="*/ 1034025 h 6557032"/>
              <a:gd name="connsiteX21338" fmla="*/ 3380133 w 4610101"/>
              <a:gd name="connsiteY21338" fmla="*/ 1030381 h 6557032"/>
              <a:gd name="connsiteX21339" fmla="*/ 3371022 w 4610101"/>
              <a:gd name="connsiteY21339" fmla="*/ 1023092 h 6557032"/>
              <a:gd name="connsiteX21340" fmla="*/ 3364417 w 4610101"/>
              <a:gd name="connsiteY21340" fmla="*/ 1017853 h 6557032"/>
              <a:gd name="connsiteX21341" fmla="*/ 3330934 w 4610101"/>
              <a:gd name="connsiteY21341" fmla="*/ 1017625 h 6557032"/>
              <a:gd name="connsiteX21342" fmla="*/ 3332756 w 4610101"/>
              <a:gd name="connsiteY21342" fmla="*/ 1024914 h 6557032"/>
              <a:gd name="connsiteX21343" fmla="*/ 3338223 w 4610101"/>
              <a:gd name="connsiteY21343" fmla="*/ 1017625 h 6557032"/>
              <a:gd name="connsiteX21344" fmla="*/ 3332756 w 4610101"/>
              <a:gd name="connsiteY21344" fmla="*/ 1019448 h 6557032"/>
              <a:gd name="connsiteX21345" fmla="*/ 3330934 w 4610101"/>
              <a:gd name="connsiteY21345" fmla="*/ 1017625 h 6557032"/>
              <a:gd name="connsiteX21346" fmla="*/ 2192076 w 4610101"/>
              <a:gd name="connsiteY21346" fmla="*/ 1017625 h 6557032"/>
              <a:gd name="connsiteX21347" fmla="*/ 2188431 w 4610101"/>
              <a:gd name="connsiteY21347" fmla="*/ 1019448 h 6557032"/>
              <a:gd name="connsiteX21348" fmla="*/ 2190253 w 4610101"/>
              <a:gd name="connsiteY21348" fmla="*/ 1023092 h 6557032"/>
              <a:gd name="connsiteX21349" fmla="*/ 2192076 w 4610101"/>
              <a:gd name="connsiteY21349" fmla="*/ 1017625 h 6557032"/>
              <a:gd name="connsiteX21350" fmla="*/ 1045929 w 4610101"/>
              <a:gd name="connsiteY21350" fmla="*/ 1017625 h 6557032"/>
              <a:gd name="connsiteX21351" fmla="*/ 1051395 w 4610101"/>
              <a:gd name="connsiteY21351" fmla="*/ 1021270 h 6557032"/>
              <a:gd name="connsiteX21352" fmla="*/ 1049573 w 4610101"/>
              <a:gd name="connsiteY21352" fmla="*/ 1023092 h 6557032"/>
              <a:gd name="connsiteX21353" fmla="*/ 1045929 w 4610101"/>
              <a:gd name="connsiteY21353" fmla="*/ 1017625 h 6557032"/>
              <a:gd name="connsiteX21354" fmla="*/ 736159 w 4610101"/>
              <a:gd name="connsiteY21354" fmla="*/ 1017625 h 6557032"/>
              <a:gd name="connsiteX21355" fmla="*/ 734336 w 4610101"/>
              <a:gd name="connsiteY21355" fmla="*/ 1019448 h 6557032"/>
              <a:gd name="connsiteX21356" fmla="*/ 736159 w 4610101"/>
              <a:gd name="connsiteY21356" fmla="*/ 1017625 h 6557032"/>
              <a:gd name="connsiteX21357" fmla="*/ 685138 w 4610101"/>
              <a:gd name="connsiteY21357" fmla="*/ 1017625 h 6557032"/>
              <a:gd name="connsiteX21358" fmla="*/ 696071 w 4610101"/>
              <a:gd name="connsiteY21358" fmla="*/ 1032203 h 6557032"/>
              <a:gd name="connsiteX21359" fmla="*/ 686960 w 4610101"/>
              <a:gd name="connsiteY21359" fmla="*/ 1024914 h 6557032"/>
              <a:gd name="connsiteX21360" fmla="*/ 688782 w 4610101"/>
              <a:gd name="connsiteY21360" fmla="*/ 1032203 h 6557032"/>
              <a:gd name="connsiteX21361" fmla="*/ 690604 w 4610101"/>
              <a:gd name="connsiteY21361" fmla="*/ 1030381 h 6557032"/>
              <a:gd name="connsiteX21362" fmla="*/ 696071 w 4610101"/>
              <a:gd name="connsiteY21362" fmla="*/ 1032203 h 6557032"/>
              <a:gd name="connsiteX21363" fmla="*/ 692426 w 4610101"/>
              <a:gd name="connsiteY21363" fmla="*/ 1024914 h 6557032"/>
              <a:gd name="connsiteX21364" fmla="*/ 710648 w 4610101"/>
              <a:gd name="connsiteY21364" fmla="*/ 1035847 h 6557032"/>
              <a:gd name="connsiteX21365" fmla="*/ 685138 w 4610101"/>
              <a:gd name="connsiteY21365" fmla="*/ 1017625 h 6557032"/>
              <a:gd name="connsiteX21366" fmla="*/ 634117 w 4610101"/>
              <a:gd name="connsiteY21366" fmla="*/ 1017625 h 6557032"/>
              <a:gd name="connsiteX21367" fmla="*/ 635939 w 4610101"/>
              <a:gd name="connsiteY21367" fmla="*/ 1026736 h 6557032"/>
              <a:gd name="connsiteX21368" fmla="*/ 639583 w 4610101"/>
              <a:gd name="connsiteY21368" fmla="*/ 1019448 h 6557032"/>
              <a:gd name="connsiteX21369" fmla="*/ 634117 w 4610101"/>
              <a:gd name="connsiteY21369" fmla="*/ 1017625 h 6557032"/>
              <a:gd name="connsiteX21370" fmla="*/ 382657 w 4610101"/>
              <a:gd name="connsiteY21370" fmla="*/ 1017625 h 6557032"/>
              <a:gd name="connsiteX21371" fmla="*/ 397234 w 4610101"/>
              <a:gd name="connsiteY21371" fmla="*/ 1024914 h 6557032"/>
              <a:gd name="connsiteX21372" fmla="*/ 397234 w 4610101"/>
              <a:gd name="connsiteY21372" fmla="*/ 1021270 h 6557032"/>
              <a:gd name="connsiteX21373" fmla="*/ 382657 w 4610101"/>
              <a:gd name="connsiteY21373" fmla="*/ 1017625 h 6557032"/>
              <a:gd name="connsiteX21374" fmla="*/ 1029528 w 4610101"/>
              <a:gd name="connsiteY21374" fmla="*/ 1016258 h 6557032"/>
              <a:gd name="connsiteX21375" fmla="*/ 1027707 w 4610101"/>
              <a:gd name="connsiteY21375" fmla="*/ 1017625 h 6557032"/>
              <a:gd name="connsiteX21376" fmla="*/ 1031351 w 4610101"/>
              <a:gd name="connsiteY21376" fmla="*/ 1024914 h 6557032"/>
              <a:gd name="connsiteX21377" fmla="*/ 1031351 w 4610101"/>
              <a:gd name="connsiteY21377" fmla="*/ 1017625 h 6557032"/>
              <a:gd name="connsiteX21378" fmla="*/ 1029528 w 4610101"/>
              <a:gd name="connsiteY21378" fmla="*/ 1016258 h 6557032"/>
              <a:gd name="connsiteX21379" fmla="*/ 104342 w 4610101"/>
              <a:gd name="connsiteY21379" fmla="*/ 1015878 h 6557032"/>
              <a:gd name="connsiteX21380" fmla="*/ 118181 w 4610101"/>
              <a:gd name="connsiteY21380" fmla="*/ 1028610 h 6557032"/>
              <a:gd name="connsiteX21381" fmla="*/ 119932 w 4610101"/>
              <a:gd name="connsiteY21381" fmla="*/ 1030712 h 6557032"/>
              <a:gd name="connsiteX21382" fmla="*/ 120135 w 4610101"/>
              <a:gd name="connsiteY21382" fmla="*/ 1031623 h 6557032"/>
              <a:gd name="connsiteX21383" fmla="*/ 119520 w 4610101"/>
              <a:gd name="connsiteY21383" fmla="*/ 1031440 h 6557032"/>
              <a:gd name="connsiteX21384" fmla="*/ 819978 w 4610101"/>
              <a:gd name="connsiteY21384" fmla="*/ 1015861 h 6557032"/>
              <a:gd name="connsiteX21385" fmla="*/ 821800 w 4610101"/>
              <a:gd name="connsiteY21385" fmla="*/ 1019506 h 6557032"/>
              <a:gd name="connsiteX21386" fmla="*/ 810867 w 4610101"/>
              <a:gd name="connsiteY21386" fmla="*/ 1026795 h 6557032"/>
              <a:gd name="connsiteX21387" fmla="*/ 819978 w 4610101"/>
              <a:gd name="connsiteY21387" fmla="*/ 1015861 h 6557032"/>
              <a:gd name="connsiteX21388" fmla="*/ 3443909 w 4610101"/>
              <a:gd name="connsiteY21388" fmla="*/ 1015803 h 6557032"/>
              <a:gd name="connsiteX21389" fmla="*/ 3460309 w 4610101"/>
              <a:gd name="connsiteY21389" fmla="*/ 1023092 h 6557032"/>
              <a:gd name="connsiteX21390" fmla="*/ 3443909 w 4610101"/>
              <a:gd name="connsiteY21390" fmla="*/ 1015803 h 6557032"/>
              <a:gd name="connsiteX21391" fmla="*/ 1131570 w 4610101"/>
              <a:gd name="connsiteY21391" fmla="*/ 1015803 h 6557032"/>
              <a:gd name="connsiteX21392" fmla="*/ 1131533 w 4610101"/>
              <a:gd name="connsiteY21392" fmla="*/ 1016459 h 6557032"/>
              <a:gd name="connsiteX21393" fmla="*/ 1129520 w 4610101"/>
              <a:gd name="connsiteY21393" fmla="*/ 1017170 h 6557032"/>
              <a:gd name="connsiteX21394" fmla="*/ 1129748 w 4610101"/>
              <a:gd name="connsiteY21394" fmla="*/ 1021270 h 6557032"/>
              <a:gd name="connsiteX21395" fmla="*/ 1131342 w 4610101"/>
              <a:gd name="connsiteY21395" fmla="*/ 1019903 h 6557032"/>
              <a:gd name="connsiteX21396" fmla="*/ 1131533 w 4610101"/>
              <a:gd name="connsiteY21396" fmla="*/ 1016459 h 6557032"/>
              <a:gd name="connsiteX21397" fmla="*/ 1133393 w 4610101"/>
              <a:gd name="connsiteY21397" fmla="*/ 1015803 h 6557032"/>
              <a:gd name="connsiteX21398" fmla="*/ 1131570 w 4610101"/>
              <a:gd name="connsiteY21398" fmla="*/ 1015803 h 6557032"/>
              <a:gd name="connsiteX21399" fmla="*/ 1080549 w 4610101"/>
              <a:gd name="connsiteY21399" fmla="*/ 1015803 h 6557032"/>
              <a:gd name="connsiteX21400" fmla="*/ 1076905 w 4610101"/>
              <a:gd name="connsiteY21400" fmla="*/ 1021270 h 6557032"/>
              <a:gd name="connsiteX21401" fmla="*/ 1080549 w 4610101"/>
              <a:gd name="connsiteY21401" fmla="*/ 1023092 h 6557032"/>
              <a:gd name="connsiteX21402" fmla="*/ 1080549 w 4610101"/>
              <a:gd name="connsiteY21402" fmla="*/ 1015803 h 6557032"/>
              <a:gd name="connsiteX21403" fmla="*/ 1064151 w 4610101"/>
              <a:gd name="connsiteY21403" fmla="*/ 1015803 h 6557032"/>
              <a:gd name="connsiteX21404" fmla="*/ 1065972 w 4610101"/>
              <a:gd name="connsiteY21404" fmla="*/ 1015803 h 6557032"/>
              <a:gd name="connsiteX21405" fmla="*/ 1065607 w 4610101"/>
              <a:gd name="connsiteY21405" fmla="*/ 1017260 h 6557032"/>
              <a:gd name="connsiteX21406" fmla="*/ 952997 w 4610101"/>
              <a:gd name="connsiteY21406" fmla="*/ 1015803 h 6557032"/>
              <a:gd name="connsiteX21407" fmla="*/ 958464 w 4610101"/>
              <a:gd name="connsiteY21407" fmla="*/ 1030381 h 6557032"/>
              <a:gd name="connsiteX21408" fmla="*/ 965753 w 4610101"/>
              <a:gd name="connsiteY21408" fmla="*/ 1015803 h 6557032"/>
              <a:gd name="connsiteX21409" fmla="*/ 952997 w 4610101"/>
              <a:gd name="connsiteY21409" fmla="*/ 1015803 h 6557032"/>
              <a:gd name="connsiteX21410" fmla="*/ 395412 w 4610101"/>
              <a:gd name="connsiteY21410" fmla="*/ 1015803 h 6557032"/>
              <a:gd name="connsiteX21411" fmla="*/ 419100 w 4610101"/>
              <a:gd name="connsiteY21411" fmla="*/ 1028559 h 6557032"/>
              <a:gd name="connsiteX21412" fmla="*/ 395412 w 4610101"/>
              <a:gd name="connsiteY21412" fmla="*/ 1015803 h 6557032"/>
              <a:gd name="connsiteX21413" fmla="*/ 3467142 w 4610101"/>
              <a:gd name="connsiteY21413" fmla="*/ 1014664 h 6557032"/>
              <a:gd name="connsiteX21414" fmla="*/ 3460309 w 4610101"/>
              <a:gd name="connsiteY21414" fmla="*/ 1015803 h 6557032"/>
              <a:gd name="connsiteX21415" fmla="*/ 3471242 w 4610101"/>
              <a:gd name="connsiteY21415" fmla="*/ 1017625 h 6557032"/>
              <a:gd name="connsiteX21416" fmla="*/ 3467142 w 4610101"/>
              <a:gd name="connsiteY21416" fmla="*/ 1014664 h 6557032"/>
              <a:gd name="connsiteX21417" fmla="*/ 3063075 w 4610101"/>
              <a:gd name="connsiteY21417" fmla="*/ 1013981 h 6557032"/>
              <a:gd name="connsiteX21418" fmla="*/ 3070363 w 4610101"/>
              <a:gd name="connsiteY21418" fmla="*/ 1023092 h 6557032"/>
              <a:gd name="connsiteX21419" fmla="*/ 3063075 w 4610101"/>
              <a:gd name="connsiteY21419" fmla="*/ 1013981 h 6557032"/>
              <a:gd name="connsiteX21420" fmla="*/ 1211747 w 4610101"/>
              <a:gd name="connsiteY21420" fmla="*/ 1013981 h 6557032"/>
              <a:gd name="connsiteX21421" fmla="*/ 1198991 w 4610101"/>
              <a:gd name="connsiteY21421" fmla="*/ 1039492 h 6557032"/>
              <a:gd name="connsiteX21422" fmla="*/ 1217213 w 4610101"/>
              <a:gd name="connsiteY21422" fmla="*/ 1023092 h 6557032"/>
              <a:gd name="connsiteX21423" fmla="*/ 1211747 w 4610101"/>
              <a:gd name="connsiteY21423" fmla="*/ 1013981 h 6557032"/>
              <a:gd name="connsiteX21424" fmla="*/ 692426 w 4610101"/>
              <a:gd name="connsiteY21424" fmla="*/ 1013981 h 6557032"/>
              <a:gd name="connsiteX21425" fmla="*/ 703359 w 4610101"/>
              <a:gd name="connsiteY21425" fmla="*/ 1021270 h 6557032"/>
              <a:gd name="connsiteX21426" fmla="*/ 692426 w 4610101"/>
              <a:gd name="connsiteY21426" fmla="*/ 1013981 h 6557032"/>
              <a:gd name="connsiteX21427" fmla="*/ 522964 w 4610101"/>
              <a:gd name="connsiteY21427" fmla="*/ 1013981 h 6557032"/>
              <a:gd name="connsiteX21428" fmla="*/ 539364 w 4610101"/>
              <a:gd name="connsiteY21428" fmla="*/ 1026736 h 6557032"/>
              <a:gd name="connsiteX21429" fmla="*/ 539105 w 4610101"/>
              <a:gd name="connsiteY21429" fmla="*/ 1026671 h 6557032"/>
              <a:gd name="connsiteX21430" fmla="*/ 529570 w 4610101"/>
              <a:gd name="connsiteY21430" fmla="*/ 1021042 h 6557032"/>
              <a:gd name="connsiteX21431" fmla="*/ 523021 w 4610101"/>
              <a:gd name="connsiteY21431" fmla="*/ 1014440 h 6557032"/>
              <a:gd name="connsiteX21432" fmla="*/ 324347 w 4610101"/>
              <a:gd name="connsiteY21432" fmla="*/ 1013981 h 6557032"/>
              <a:gd name="connsiteX21433" fmla="*/ 320703 w 4610101"/>
              <a:gd name="connsiteY21433" fmla="*/ 1017625 h 6557032"/>
              <a:gd name="connsiteX21434" fmla="*/ 317059 w 4610101"/>
              <a:gd name="connsiteY21434" fmla="*/ 1017625 h 6557032"/>
              <a:gd name="connsiteX21435" fmla="*/ 322085 w 4610101"/>
              <a:gd name="connsiteY21435" fmla="*/ 1018539 h 6557032"/>
              <a:gd name="connsiteX21436" fmla="*/ 322525 w 4610101"/>
              <a:gd name="connsiteY21436" fmla="*/ 1017661 h 6557032"/>
              <a:gd name="connsiteX21437" fmla="*/ 326278 w 4610101"/>
              <a:gd name="connsiteY21437" fmla="*/ 1017661 h 6557032"/>
              <a:gd name="connsiteX21438" fmla="*/ 326169 w 4610101"/>
              <a:gd name="connsiteY21438" fmla="*/ 1017625 h 6557032"/>
              <a:gd name="connsiteX21439" fmla="*/ 329814 w 4610101"/>
              <a:gd name="connsiteY21439" fmla="*/ 1015803 h 6557032"/>
              <a:gd name="connsiteX21440" fmla="*/ 324347 w 4610101"/>
              <a:gd name="connsiteY21440" fmla="*/ 1013981 h 6557032"/>
              <a:gd name="connsiteX21441" fmla="*/ 260571 w 4610101"/>
              <a:gd name="connsiteY21441" fmla="*/ 1013981 h 6557032"/>
              <a:gd name="connsiteX21442" fmla="*/ 262849 w 4610101"/>
              <a:gd name="connsiteY21442" fmla="*/ 1017625 h 6557032"/>
              <a:gd name="connsiteX21443" fmla="*/ 266549 w 4610101"/>
              <a:gd name="connsiteY21443" fmla="*/ 1020316 h 6557032"/>
              <a:gd name="connsiteX21444" fmla="*/ 268315 w 4610101"/>
              <a:gd name="connsiteY21444" fmla="*/ 1023320 h 6557032"/>
              <a:gd name="connsiteX21445" fmla="*/ 273327 w 4610101"/>
              <a:gd name="connsiteY21445" fmla="*/ 1028559 h 6557032"/>
              <a:gd name="connsiteX21446" fmla="*/ 270365 w 4610101"/>
              <a:gd name="connsiteY21446" fmla="*/ 1024686 h 6557032"/>
              <a:gd name="connsiteX21447" fmla="*/ 267066 w 4610101"/>
              <a:gd name="connsiteY21447" fmla="*/ 1020692 h 6557032"/>
              <a:gd name="connsiteX21448" fmla="*/ 267860 w 4610101"/>
              <a:gd name="connsiteY21448" fmla="*/ 1021270 h 6557032"/>
              <a:gd name="connsiteX21449" fmla="*/ 260571 w 4610101"/>
              <a:gd name="connsiteY21449" fmla="*/ 1013981 h 6557032"/>
              <a:gd name="connsiteX21450" fmla="*/ 2227381 w 4610101"/>
              <a:gd name="connsiteY21450" fmla="*/ 1013753 h 6557032"/>
              <a:gd name="connsiteX21451" fmla="*/ 2217586 w 4610101"/>
              <a:gd name="connsiteY21451" fmla="*/ 1013981 h 6557032"/>
              <a:gd name="connsiteX21452" fmla="*/ 2217586 w 4610101"/>
              <a:gd name="connsiteY21452" fmla="*/ 1035847 h 6557032"/>
              <a:gd name="connsiteX21453" fmla="*/ 2213942 w 4610101"/>
              <a:gd name="connsiteY21453" fmla="*/ 1034025 h 6557032"/>
              <a:gd name="connsiteX21454" fmla="*/ 2206736 w 4610101"/>
              <a:gd name="connsiteY21454" fmla="*/ 1037627 h 6557032"/>
              <a:gd name="connsiteX21455" fmla="*/ 2208475 w 4610101"/>
              <a:gd name="connsiteY21455" fmla="*/ 1034025 h 6557032"/>
              <a:gd name="connsiteX21456" fmla="*/ 2197542 w 4610101"/>
              <a:gd name="connsiteY21456" fmla="*/ 1032203 h 6557032"/>
              <a:gd name="connsiteX21457" fmla="*/ 2197542 w 4610101"/>
              <a:gd name="connsiteY21457" fmla="*/ 1035847 h 6557032"/>
              <a:gd name="connsiteX21458" fmla="*/ 2188431 w 4610101"/>
              <a:gd name="connsiteY21458" fmla="*/ 1030381 h 6557032"/>
              <a:gd name="connsiteX21459" fmla="*/ 2173854 w 4610101"/>
              <a:gd name="connsiteY21459" fmla="*/ 1030381 h 6557032"/>
              <a:gd name="connsiteX21460" fmla="*/ 2197542 w 4610101"/>
              <a:gd name="connsiteY21460" fmla="*/ 1059535 h 6557032"/>
              <a:gd name="connsiteX21461" fmla="*/ 2173854 w 4610101"/>
              <a:gd name="connsiteY21461" fmla="*/ 1059535 h 6557032"/>
              <a:gd name="connsiteX21462" fmla="*/ 2181143 w 4610101"/>
              <a:gd name="connsiteY21462" fmla="*/ 1074113 h 6557032"/>
              <a:gd name="connsiteX21463" fmla="*/ 2157454 w 4610101"/>
              <a:gd name="connsiteY21463" fmla="*/ 1074113 h 6557032"/>
              <a:gd name="connsiteX21464" fmla="*/ 2164743 w 4610101"/>
              <a:gd name="connsiteY21464" fmla="*/ 1088690 h 6557032"/>
              <a:gd name="connsiteX21465" fmla="*/ 2157454 w 4610101"/>
              <a:gd name="connsiteY21465" fmla="*/ 1119667 h 6557032"/>
              <a:gd name="connsiteX21466" fmla="*/ 2190253 w 4610101"/>
              <a:gd name="connsiteY21466" fmla="*/ 1132422 h 6557032"/>
              <a:gd name="connsiteX21467" fmla="*/ 2193898 w 4610101"/>
              <a:gd name="connsiteY21467" fmla="*/ 1119667 h 6557032"/>
              <a:gd name="connsiteX21468" fmla="*/ 2186609 w 4610101"/>
              <a:gd name="connsiteY21468" fmla="*/ 1117845 h 6557032"/>
              <a:gd name="connsiteX21469" fmla="*/ 2204831 w 4610101"/>
              <a:gd name="connsiteY21469" fmla="*/ 1117845 h 6557032"/>
              <a:gd name="connsiteX21470" fmla="*/ 2199820 w 4610101"/>
              <a:gd name="connsiteY21470" fmla="*/ 1115111 h 6557032"/>
              <a:gd name="connsiteX21471" fmla="*/ 2195720 w 4610101"/>
              <a:gd name="connsiteY21471" fmla="*/ 1113664 h 6557032"/>
              <a:gd name="connsiteX21472" fmla="*/ 2195720 w 4610101"/>
              <a:gd name="connsiteY21472" fmla="*/ 1108734 h 6557032"/>
              <a:gd name="connsiteX21473" fmla="*/ 2170210 w 4610101"/>
              <a:gd name="connsiteY21473" fmla="*/ 1106912 h 6557032"/>
              <a:gd name="connsiteX21474" fmla="*/ 2197542 w 4610101"/>
              <a:gd name="connsiteY21474" fmla="*/ 1095979 h 6557032"/>
              <a:gd name="connsiteX21475" fmla="*/ 2186609 w 4610101"/>
              <a:gd name="connsiteY21475" fmla="*/ 1088690 h 6557032"/>
              <a:gd name="connsiteX21476" fmla="*/ 2190253 w 4610101"/>
              <a:gd name="connsiteY21476" fmla="*/ 1083224 h 6557032"/>
              <a:gd name="connsiteX21477" fmla="*/ 2203009 w 4610101"/>
              <a:gd name="connsiteY21477" fmla="*/ 1085046 h 6557032"/>
              <a:gd name="connsiteX21478" fmla="*/ 2208475 w 4610101"/>
              <a:gd name="connsiteY21478" fmla="*/ 1079579 h 6557032"/>
              <a:gd name="connsiteX21479" fmla="*/ 2204831 w 4610101"/>
              <a:gd name="connsiteY21479" fmla="*/ 1083224 h 6557032"/>
              <a:gd name="connsiteX21480" fmla="*/ 2210297 w 4610101"/>
              <a:gd name="connsiteY21480" fmla="*/ 1077757 h 6557032"/>
              <a:gd name="connsiteX21481" fmla="*/ 2203009 w 4610101"/>
              <a:gd name="connsiteY21481" fmla="*/ 1085046 h 6557032"/>
              <a:gd name="connsiteX21482" fmla="*/ 2204831 w 4610101"/>
              <a:gd name="connsiteY21482" fmla="*/ 1075935 h 6557032"/>
              <a:gd name="connsiteX21483" fmla="*/ 2201187 w 4610101"/>
              <a:gd name="connsiteY21483" fmla="*/ 1074113 h 6557032"/>
              <a:gd name="connsiteX21484" fmla="*/ 2205038 w 4610101"/>
              <a:gd name="connsiteY21484" fmla="*/ 1063524 h 6557032"/>
              <a:gd name="connsiteX21485" fmla="*/ 2210297 w 4610101"/>
              <a:gd name="connsiteY21485" fmla="*/ 1072291 h 6557032"/>
              <a:gd name="connsiteX21486" fmla="*/ 2212120 w 4610101"/>
              <a:gd name="connsiteY21486" fmla="*/ 1065002 h 6557032"/>
              <a:gd name="connsiteX21487" fmla="*/ 2217586 w 4610101"/>
              <a:gd name="connsiteY21487" fmla="*/ 1068646 h 6557032"/>
              <a:gd name="connsiteX21488" fmla="*/ 2217586 w 4610101"/>
              <a:gd name="connsiteY21488" fmla="*/ 1059535 h 6557032"/>
              <a:gd name="connsiteX21489" fmla="*/ 2208475 w 4610101"/>
              <a:gd name="connsiteY21489" fmla="*/ 1057713 h 6557032"/>
              <a:gd name="connsiteX21490" fmla="*/ 2210297 w 4610101"/>
              <a:gd name="connsiteY21490" fmla="*/ 1066824 h 6557032"/>
              <a:gd name="connsiteX21491" fmla="*/ 2208247 w 4610101"/>
              <a:gd name="connsiteY21491" fmla="*/ 1065002 h 6557032"/>
              <a:gd name="connsiteX21492" fmla="*/ 2205109 w 4610101"/>
              <a:gd name="connsiteY21492" fmla="*/ 1063328 h 6557032"/>
              <a:gd name="connsiteX21493" fmla="*/ 2208475 w 4610101"/>
              <a:gd name="connsiteY21493" fmla="*/ 1054069 h 6557032"/>
              <a:gd name="connsiteX21494" fmla="*/ 2197542 w 4610101"/>
              <a:gd name="connsiteY21494" fmla="*/ 1050425 h 6557032"/>
              <a:gd name="connsiteX21495" fmla="*/ 2204831 w 4610101"/>
              <a:gd name="connsiteY21495" fmla="*/ 1048602 h 6557032"/>
              <a:gd name="connsiteX21496" fmla="*/ 2205221 w 4610101"/>
              <a:gd name="connsiteY21496" fmla="*/ 1041774 h 6557032"/>
              <a:gd name="connsiteX21497" fmla="*/ 2208931 w 4610101"/>
              <a:gd name="connsiteY21497" fmla="*/ 1039491 h 6557032"/>
              <a:gd name="connsiteX21498" fmla="*/ 2212120 w 4610101"/>
              <a:gd name="connsiteY21498" fmla="*/ 1035847 h 6557032"/>
              <a:gd name="connsiteX21499" fmla="*/ 2219408 w 4610101"/>
              <a:gd name="connsiteY21499" fmla="*/ 1043136 h 6557032"/>
              <a:gd name="connsiteX21500" fmla="*/ 2231025 w 4610101"/>
              <a:gd name="connsiteY21500" fmla="*/ 1042225 h 6557032"/>
              <a:gd name="connsiteX21501" fmla="*/ 2235728 w 4610101"/>
              <a:gd name="connsiteY21501" fmla="*/ 1035953 h 6557032"/>
              <a:gd name="connsiteX21502" fmla="*/ 2239452 w 4610101"/>
              <a:gd name="connsiteY21502" fmla="*/ 1039492 h 6557032"/>
              <a:gd name="connsiteX21503" fmla="*/ 2241274 w 4610101"/>
              <a:gd name="connsiteY21503" fmla="*/ 1030381 h 6557032"/>
              <a:gd name="connsiteX21504" fmla="*/ 2241274 w 4610101"/>
              <a:gd name="connsiteY21504" fmla="*/ 1043136 h 6557032"/>
              <a:gd name="connsiteX21505" fmla="*/ 2255852 w 4610101"/>
              <a:gd name="connsiteY21505" fmla="*/ 1046780 h 6557032"/>
              <a:gd name="connsiteX21506" fmla="*/ 2256440 w 4610101"/>
              <a:gd name="connsiteY21506" fmla="*/ 1044429 h 6557032"/>
              <a:gd name="connsiteX21507" fmla="*/ 2258130 w 4610101"/>
              <a:gd name="connsiteY21507" fmla="*/ 1042908 h 6557032"/>
              <a:gd name="connsiteX21508" fmla="*/ 2257674 w 4610101"/>
              <a:gd name="connsiteY21508" fmla="*/ 1039492 h 6557032"/>
              <a:gd name="connsiteX21509" fmla="*/ 2256440 w 4610101"/>
              <a:gd name="connsiteY21509" fmla="*/ 1044429 h 6557032"/>
              <a:gd name="connsiteX21510" fmla="*/ 2255852 w 4610101"/>
              <a:gd name="connsiteY21510" fmla="*/ 1044958 h 6557032"/>
              <a:gd name="connsiteX21511" fmla="*/ 2255852 w 4610101"/>
              <a:gd name="connsiteY21511" fmla="*/ 1037669 h 6557032"/>
              <a:gd name="connsiteX21512" fmla="*/ 2254030 w 4610101"/>
              <a:gd name="connsiteY21512" fmla="*/ 1035847 h 6557032"/>
              <a:gd name="connsiteX21513" fmla="*/ 2248563 w 4610101"/>
              <a:gd name="connsiteY21513" fmla="*/ 1037669 h 6557032"/>
              <a:gd name="connsiteX21514" fmla="*/ 2252207 w 4610101"/>
              <a:gd name="connsiteY21514" fmla="*/ 1034025 h 6557032"/>
              <a:gd name="connsiteX21515" fmla="*/ 2246741 w 4610101"/>
              <a:gd name="connsiteY21515" fmla="*/ 1026736 h 6557032"/>
              <a:gd name="connsiteX21516" fmla="*/ 2235808 w 4610101"/>
              <a:gd name="connsiteY21516" fmla="*/ 1026736 h 6557032"/>
              <a:gd name="connsiteX21517" fmla="*/ 2234897 w 4610101"/>
              <a:gd name="connsiteY21517" fmla="*/ 1035164 h 6557032"/>
              <a:gd name="connsiteX21518" fmla="*/ 2235676 w 4610101"/>
              <a:gd name="connsiteY21518" fmla="*/ 1035903 h 6557032"/>
              <a:gd name="connsiteX21519" fmla="*/ 2231025 w 4610101"/>
              <a:gd name="connsiteY21519" fmla="*/ 1037897 h 6557032"/>
              <a:gd name="connsiteX21520" fmla="*/ 2224875 w 4610101"/>
              <a:gd name="connsiteY21520" fmla="*/ 1035847 h 6557032"/>
              <a:gd name="connsiteX21521" fmla="*/ 2223053 w 4610101"/>
              <a:gd name="connsiteY21521" fmla="*/ 1032203 h 6557032"/>
              <a:gd name="connsiteX21522" fmla="*/ 2233986 w 4610101"/>
              <a:gd name="connsiteY21522" fmla="*/ 1024914 h 6557032"/>
              <a:gd name="connsiteX21523" fmla="*/ 2235808 w 4610101"/>
              <a:gd name="connsiteY21523" fmla="*/ 1017625 h 6557032"/>
              <a:gd name="connsiteX21524" fmla="*/ 2227381 w 4610101"/>
              <a:gd name="connsiteY21524" fmla="*/ 1013753 h 6557032"/>
              <a:gd name="connsiteX21525" fmla="*/ 823623 w 4610101"/>
              <a:gd name="connsiteY21525" fmla="*/ 1013070 h 6557032"/>
              <a:gd name="connsiteX21526" fmla="*/ 823623 w 4610101"/>
              <a:gd name="connsiteY21526" fmla="*/ 1017625 h 6557032"/>
              <a:gd name="connsiteX21527" fmla="*/ 825445 w 4610101"/>
              <a:gd name="connsiteY21527" fmla="*/ 1024914 h 6557032"/>
              <a:gd name="connsiteX21528" fmla="*/ 823050 w 4610101"/>
              <a:gd name="connsiteY21528" fmla="*/ 1027308 h 6557032"/>
              <a:gd name="connsiteX21529" fmla="*/ 821801 w 4610101"/>
              <a:gd name="connsiteY21529" fmla="*/ 1013981 h 6557032"/>
              <a:gd name="connsiteX21530" fmla="*/ 1037274 w 4610101"/>
              <a:gd name="connsiteY21530" fmla="*/ 1012842 h 6557032"/>
              <a:gd name="connsiteX21531" fmla="*/ 1034995 w 4610101"/>
              <a:gd name="connsiteY21531" fmla="*/ 1015803 h 6557032"/>
              <a:gd name="connsiteX21532" fmla="*/ 1036818 w 4610101"/>
              <a:gd name="connsiteY21532" fmla="*/ 1015803 h 6557032"/>
              <a:gd name="connsiteX21533" fmla="*/ 1034995 w 4610101"/>
              <a:gd name="connsiteY21533" fmla="*/ 1019448 h 6557032"/>
              <a:gd name="connsiteX21534" fmla="*/ 1042284 w 4610101"/>
              <a:gd name="connsiteY21534" fmla="*/ 1013981 h 6557032"/>
              <a:gd name="connsiteX21535" fmla="*/ 1037274 w 4610101"/>
              <a:gd name="connsiteY21535" fmla="*/ 1012842 h 6557032"/>
              <a:gd name="connsiteX21536" fmla="*/ 3551417 w 4610101"/>
              <a:gd name="connsiteY21536" fmla="*/ 1012159 h 6557032"/>
              <a:gd name="connsiteX21537" fmla="*/ 3556884 w 4610101"/>
              <a:gd name="connsiteY21537" fmla="*/ 1023092 h 6557032"/>
              <a:gd name="connsiteX21538" fmla="*/ 3551417 w 4610101"/>
              <a:gd name="connsiteY21538" fmla="*/ 1012159 h 6557032"/>
              <a:gd name="connsiteX21539" fmla="*/ 3055786 w 4610101"/>
              <a:gd name="connsiteY21539" fmla="*/ 1012159 h 6557032"/>
              <a:gd name="connsiteX21540" fmla="*/ 3048497 w 4610101"/>
              <a:gd name="connsiteY21540" fmla="*/ 1013981 h 6557032"/>
              <a:gd name="connsiteX21541" fmla="*/ 3044853 w 4610101"/>
              <a:gd name="connsiteY21541" fmla="*/ 1021270 h 6557032"/>
              <a:gd name="connsiteX21542" fmla="*/ 3046675 w 4610101"/>
              <a:gd name="connsiteY21542" fmla="*/ 1024914 h 6557032"/>
              <a:gd name="connsiteX21543" fmla="*/ 3052372 w 4610101"/>
              <a:gd name="connsiteY21543" fmla="*/ 1025565 h 6557032"/>
              <a:gd name="connsiteX21544" fmla="*/ 3053508 w 4610101"/>
              <a:gd name="connsiteY21544" fmla="*/ 1028786 h 6557032"/>
              <a:gd name="connsiteX21545" fmla="*/ 3057608 w 4610101"/>
              <a:gd name="connsiteY21545" fmla="*/ 1034025 h 6557032"/>
              <a:gd name="connsiteX21546" fmla="*/ 3057608 w 4610101"/>
              <a:gd name="connsiteY21546" fmla="*/ 1026736 h 6557032"/>
              <a:gd name="connsiteX21547" fmla="*/ 3055038 w 4610101"/>
              <a:gd name="connsiteY21547" fmla="*/ 1025879 h 6557032"/>
              <a:gd name="connsiteX21548" fmla="*/ 3061253 w 4610101"/>
              <a:gd name="connsiteY21548" fmla="*/ 1026736 h 6557032"/>
              <a:gd name="connsiteX21549" fmla="*/ 3055786 w 4610101"/>
              <a:gd name="connsiteY21549" fmla="*/ 1021270 h 6557032"/>
              <a:gd name="connsiteX21550" fmla="*/ 3055786 w 4610101"/>
              <a:gd name="connsiteY21550" fmla="*/ 1012159 h 6557032"/>
              <a:gd name="connsiteX21551" fmla="*/ 3017521 w 4610101"/>
              <a:gd name="connsiteY21551" fmla="*/ 1012159 h 6557032"/>
              <a:gd name="connsiteX21552" fmla="*/ 3024809 w 4610101"/>
              <a:gd name="connsiteY21552" fmla="*/ 1015803 h 6557032"/>
              <a:gd name="connsiteX21553" fmla="*/ 3017521 w 4610101"/>
              <a:gd name="connsiteY21553" fmla="*/ 1012159 h 6557032"/>
              <a:gd name="connsiteX21554" fmla="*/ 1164370 w 4610101"/>
              <a:gd name="connsiteY21554" fmla="*/ 1012159 h 6557032"/>
              <a:gd name="connsiteX21555" fmla="*/ 1165120 w 4610101"/>
              <a:gd name="connsiteY21555" fmla="*/ 1012909 h 6557032"/>
              <a:gd name="connsiteX21556" fmla="*/ 1163914 w 4610101"/>
              <a:gd name="connsiteY21556" fmla="*/ 1019903 h 6557032"/>
              <a:gd name="connsiteX21557" fmla="*/ 1163417 w 4610101"/>
              <a:gd name="connsiteY21557" fmla="*/ 1020942 h 6557032"/>
              <a:gd name="connsiteX21558" fmla="*/ 1163003 w 4610101"/>
              <a:gd name="connsiteY21558" fmla="*/ 1019220 h 6557032"/>
              <a:gd name="connsiteX21559" fmla="*/ 1164370 w 4610101"/>
              <a:gd name="connsiteY21559" fmla="*/ 1012159 h 6557032"/>
              <a:gd name="connsiteX21560" fmla="*/ 462832 w 4610101"/>
              <a:gd name="connsiteY21560" fmla="*/ 1012159 h 6557032"/>
              <a:gd name="connsiteX21561" fmla="*/ 465110 w 4610101"/>
              <a:gd name="connsiteY21561" fmla="*/ 1024687 h 6557032"/>
              <a:gd name="connsiteX21562" fmla="*/ 464970 w 4610101"/>
              <a:gd name="connsiteY21562" fmla="*/ 1028120 h 6557032"/>
              <a:gd name="connsiteX21563" fmla="*/ 335280 w 4610101"/>
              <a:gd name="connsiteY21563" fmla="*/ 1012159 h 6557032"/>
              <a:gd name="connsiteX21564" fmla="*/ 337102 w 4610101"/>
              <a:gd name="connsiteY21564" fmla="*/ 1015803 h 6557032"/>
              <a:gd name="connsiteX21565" fmla="*/ 338926 w 4610101"/>
              <a:gd name="connsiteY21565" fmla="*/ 1013981 h 6557032"/>
              <a:gd name="connsiteX21566" fmla="*/ 335280 w 4610101"/>
              <a:gd name="connsiteY21566" fmla="*/ 1012159 h 6557032"/>
              <a:gd name="connsiteX21567" fmla="*/ 298837 w 4610101"/>
              <a:gd name="connsiteY21567" fmla="*/ 1012159 h 6557032"/>
              <a:gd name="connsiteX21568" fmla="*/ 301252 w 4610101"/>
              <a:gd name="connsiteY21568" fmla="*/ 1016735 h 6557032"/>
              <a:gd name="connsiteX21569" fmla="*/ 300660 w 4610101"/>
              <a:gd name="connsiteY21569" fmla="*/ 1017625 h 6557032"/>
              <a:gd name="connsiteX21570" fmla="*/ 301949 w 4610101"/>
              <a:gd name="connsiteY21570" fmla="*/ 1018055 h 6557032"/>
              <a:gd name="connsiteX21571" fmla="*/ 303164 w 4610101"/>
              <a:gd name="connsiteY21571" fmla="*/ 1020358 h 6557032"/>
              <a:gd name="connsiteX21572" fmla="*/ 311592 w 4610101"/>
              <a:gd name="connsiteY21572" fmla="*/ 1023092 h 6557032"/>
              <a:gd name="connsiteX21573" fmla="*/ 304303 w 4610101"/>
              <a:gd name="connsiteY21573" fmla="*/ 1015803 h 6557032"/>
              <a:gd name="connsiteX21574" fmla="*/ 306126 w 4610101"/>
              <a:gd name="connsiteY21574" fmla="*/ 1019448 h 6557032"/>
              <a:gd name="connsiteX21575" fmla="*/ 301949 w 4610101"/>
              <a:gd name="connsiteY21575" fmla="*/ 1018055 h 6557032"/>
              <a:gd name="connsiteX21576" fmla="*/ 301252 w 4610101"/>
              <a:gd name="connsiteY21576" fmla="*/ 1016735 h 6557032"/>
              <a:gd name="connsiteX21577" fmla="*/ 304303 w 4610101"/>
              <a:gd name="connsiteY21577" fmla="*/ 1012159 h 6557032"/>
              <a:gd name="connsiteX21578" fmla="*/ 298837 w 4610101"/>
              <a:gd name="connsiteY21578" fmla="*/ 1012159 h 6557032"/>
              <a:gd name="connsiteX21579" fmla="*/ 247816 w 4610101"/>
              <a:gd name="connsiteY21579" fmla="*/ 1012159 h 6557032"/>
              <a:gd name="connsiteX21580" fmla="*/ 255105 w 4610101"/>
              <a:gd name="connsiteY21580" fmla="*/ 1015803 h 6557032"/>
              <a:gd name="connsiteX21581" fmla="*/ 247816 w 4610101"/>
              <a:gd name="connsiteY21581" fmla="*/ 1012159 h 6557032"/>
              <a:gd name="connsiteX21582" fmla="*/ 911253 w 4610101"/>
              <a:gd name="connsiteY21582" fmla="*/ 1011825 h 6557032"/>
              <a:gd name="connsiteX21583" fmla="*/ 911543 w 4610101"/>
              <a:gd name="connsiteY21583" fmla="*/ 1012842 h 6557032"/>
              <a:gd name="connsiteX21584" fmla="*/ 911475 w 4610101"/>
              <a:gd name="connsiteY21584" fmla="*/ 1013827 h 6557032"/>
              <a:gd name="connsiteX21585" fmla="*/ 1165318 w 4610101"/>
              <a:gd name="connsiteY21585" fmla="*/ 1011759 h 6557032"/>
              <a:gd name="connsiteX21586" fmla="*/ 1168014 w 4610101"/>
              <a:gd name="connsiteY21586" fmla="*/ 1015803 h 6557032"/>
              <a:gd name="connsiteX21587" fmla="*/ 1165120 w 4610101"/>
              <a:gd name="connsiteY21587" fmla="*/ 1012909 h 6557032"/>
              <a:gd name="connsiteX21588" fmla="*/ 287676 w 4610101"/>
              <a:gd name="connsiteY21588" fmla="*/ 1011703 h 6557032"/>
              <a:gd name="connsiteX21589" fmla="*/ 280615 w 4610101"/>
              <a:gd name="connsiteY21589" fmla="*/ 1012159 h 6557032"/>
              <a:gd name="connsiteX21590" fmla="*/ 293370 w 4610101"/>
              <a:gd name="connsiteY21590" fmla="*/ 1019448 h 6557032"/>
              <a:gd name="connsiteX21591" fmla="*/ 287676 w 4610101"/>
              <a:gd name="connsiteY21591" fmla="*/ 1011703 h 6557032"/>
              <a:gd name="connsiteX21592" fmla="*/ 1025884 w 4610101"/>
              <a:gd name="connsiteY21592" fmla="*/ 1010337 h 6557032"/>
              <a:gd name="connsiteX21593" fmla="*/ 1022240 w 4610101"/>
              <a:gd name="connsiteY21593" fmla="*/ 1013981 h 6557032"/>
              <a:gd name="connsiteX21594" fmla="*/ 1027707 w 4610101"/>
              <a:gd name="connsiteY21594" fmla="*/ 1013981 h 6557032"/>
              <a:gd name="connsiteX21595" fmla="*/ 1025884 w 4610101"/>
              <a:gd name="connsiteY21595" fmla="*/ 1010337 h 6557032"/>
              <a:gd name="connsiteX21596" fmla="*/ 679671 w 4610101"/>
              <a:gd name="connsiteY21596" fmla="*/ 1010337 h 6557032"/>
              <a:gd name="connsiteX21597" fmla="*/ 683316 w 4610101"/>
              <a:gd name="connsiteY21597" fmla="*/ 1012159 h 6557032"/>
              <a:gd name="connsiteX21598" fmla="*/ 679671 w 4610101"/>
              <a:gd name="connsiteY21598" fmla="*/ 1010337 h 6557032"/>
              <a:gd name="connsiteX21599" fmla="*/ 313414 w 4610101"/>
              <a:gd name="connsiteY21599" fmla="*/ 1010337 h 6557032"/>
              <a:gd name="connsiteX21600" fmla="*/ 317059 w 4610101"/>
              <a:gd name="connsiteY21600" fmla="*/ 1015803 h 6557032"/>
              <a:gd name="connsiteX21601" fmla="*/ 322525 w 4610101"/>
              <a:gd name="connsiteY21601" fmla="*/ 1012159 h 6557032"/>
              <a:gd name="connsiteX21602" fmla="*/ 313414 w 4610101"/>
              <a:gd name="connsiteY21602" fmla="*/ 1010337 h 6557032"/>
              <a:gd name="connsiteX21603" fmla="*/ 231416 w 4610101"/>
              <a:gd name="connsiteY21603" fmla="*/ 1010337 h 6557032"/>
              <a:gd name="connsiteX21604" fmla="*/ 240527 w 4610101"/>
              <a:gd name="connsiteY21604" fmla="*/ 1019448 h 6557032"/>
              <a:gd name="connsiteX21605" fmla="*/ 231416 w 4610101"/>
              <a:gd name="connsiteY21605" fmla="*/ 1010337 h 6557032"/>
              <a:gd name="connsiteX21606" fmla="*/ 1076905 w 4610101"/>
              <a:gd name="connsiteY21606" fmla="*/ 1008515 h 6557032"/>
              <a:gd name="connsiteX21607" fmla="*/ 1075083 w 4610101"/>
              <a:gd name="connsiteY21607" fmla="*/ 1019448 h 6557032"/>
              <a:gd name="connsiteX21608" fmla="*/ 1076905 w 4610101"/>
              <a:gd name="connsiteY21608" fmla="*/ 1008515 h 6557032"/>
              <a:gd name="connsiteX21609" fmla="*/ 1013129 w 4610101"/>
              <a:gd name="connsiteY21609" fmla="*/ 1008515 h 6557032"/>
              <a:gd name="connsiteX21610" fmla="*/ 1011307 w 4610101"/>
              <a:gd name="connsiteY21610" fmla="*/ 1012159 h 6557032"/>
              <a:gd name="connsiteX21611" fmla="*/ 1014951 w 4610101"/>
              <a:gd name="connsiteY21611" fmla="*/ 1010337 h 6557032"/>
              <a:gd name="connsiteX21612" fmla="*/ 1013129 w 4610101"/>
              <a:gd name="connsiteY21612" fmla="*/ 1008515 h 6557032"/>
              <a:gd name="connsiteX21613" fmla="*/ 854600 w 4610101"/>
              <a:gd name="connsiteY21613" fmla="*/ 1008515 h 6557032"/>
              <a:gd name="connsiteX21614" fmla="*/ 861889 w 4610101"/>
              <a:gd name="connsiteY21614" fmla="*/ 1026736 h 6557032"/>
              <a:gd name="connsiteX21615" fmla="*/ 854600 w 4610101"/>
              <a:gd name="connsiteY21615" fmla="*/ 1008515 h 6557032"/>
              <a:gd name="connsiteX21616" fmla="*/ 710648 w 4610101"/>
              <a:gd name="connsiteY21616" fmla="*/ 1008515 h 6557032"/>
              <a:gd name="connsiteX21617" fmla="*/ 714293 w 4610101"/>
              <a:gd name="connsiteY21617" fmla="*/ 1019448 h 6557032"/>
              <a:gd name="connsiteX21618" fmla="*/ 710648 w 4610101"/>
              <a:gd name="connsiteY21618" fmla="*/ 1008515 h 6557032"/>
              <a:gd name="connsiteX21619" fmla="*/ 697893 w 4610101"/>
              <a:gd name="connsiteY21619" fmla="*/ 1008515 h 6557032"/>
              <a:gd name="connsiteX21620" fmla="*/ 701537 w 4610101"/>
              <a:gd name="connsiteY21620" fmla="*/ 1012159 h 6557032"/>
              <a:gd name="connsiteX21621" fmla="*/ 699715 w 4610101"/>
              <a:gd name="connsiteY21621" fmla="*/ 1012159 h 6557032"/>
              <a:gd name="connsiteX21622" fmla="*/ 705182 w 4610101"/>
              <a:gd name="connsiteY21622" fmla="*/ 1017625 h 6557032"/>
              <a:gd name="connsiteX21623" fmla="*/ 703359 w 4610101"/>
              <a:gd name="connsiteY21623" fmla="*/ 1008515 h 6557032"/>
              <a:gd name="connsiteX21624" fmla="*/ 697893 w 4610101"/>
              <a:gd name="connsiteY21624" fmla="*/ 1008515 h 6557032"/>
              <a:gd name="connsiteX21625" fmla="*/ 632296 w 4610101"/>
              <a:gd name="connsiteY21625" fmla="*/ 1008515 h 6557032"/>
              <a:gd name="connsiteX21626" fmla="*/ 641407 w 4610101"/>
              <a:gd name="connsiteY21626" fmla="*/ 1017625 h 6557032"/>
              <a:gd name="connsiteX21627" fmla="*/ 643228 w 4610101"/>
              <a:gd name="connsiteY21627" fmla="*/ 1012159 h 6557032"/>
              <a:gd name="connsiteX21628" fmla="*/ 632296 w 4610101"/>
              <a:gd name="connsiteY21628" fmla="*/ 1008515 h 6557032"/>
              <a:gd name="connsiteX21629" fmla="*/ 572163 w 4610101"/>
              <a:gd name="connsiteY21629" fmla="*/ 1008515 h 6557032"/>
              <a:gd name="connsiteX21630" fmla="*/ 581274 w 4610101"/>
              <a:gd name="connsiteY21630" fmla="*/ 1015803 h 6557032"/>
              <a:gd name="connsiteX21631" fmla="*/ 572163 w 4610101"/>
              <a:gd name="connsiteY21631" fmla="*/ 1008515 h 6557032"/>
              <a:gd name="connsiteX21632" fmla="*/ 189506 w 4610101"/>
              <a:gd name="connsiteY21632" fmla="*/ 1008515 h 6557032"/>
              <a:gd name="connsiteX21633" fmla="*/ 216839 w 4610101"/>
              <a:gd name="connsiteY21633" fmla="*/ 1028559 h 6557032"/>
              <a:gd name="connsiteX21634" fmla="*/ 211372 w 4610101"/>
              <a:gd name="connsiteY21634" fmla="*/ 1023092 h 6557032"/>
              <a:gd name="connsiteX21635" fmla="*/ 215017 w 4610101"/>
              <a:gd name="connsiteY21635" fmla="*/ 1024914 h 6557032"/>
              <a:gd name="connsiteX21636" fmla="*/ 215017 w 4610101"/>
              <a:gd name="connsiteY21636" fmla="*/ 1021270 h 6557032"/>
              <a:gd name="connsiteX21637" fmla="*/ 196795 w 4610101"/>
              <a:gd name="connsiteY21637" fmla="*/ 1015803 h 6557032"/>
              <a:gd name="connsiteX21638" fmla="*/ 198617 w 4610101"/>
              <a:gd name="connsiteY21638" fmla="*/ 1013981 h 6557032"/>
              <a:gd name="connsiteX21639" fmla="*/ 189506 w 4610101"/>
              <a:gd name="connsiteY21639" fmla="*/ 1008515 h 6557032"/>
              <a:gd name="connsiteX21640" fmla="*/ 2970827 w 4610101"/>
              <a:gd name="connsiteY21640" fmla="*/ 1008059 h 6557032"/>
              <a:gd name="connsiteX21641" fmla="*/ 2962855 w 4610101"/>
              <a:gd name="connsiteY21641" fmla="*/ 1010337 h 6557032"/>
              <a:gd name="connsiteX21642" fmla="*/ 2955566 w 4610101"/>
              <a:gd name="connsiteY21642" fmla="*/ 1024914 h 6557032"/>
              <a:gd name="connsiteX21643" fmla="*/ 2953744 w 4610101"/>
              <a:gd name="connsiteY21643" fmla="*/ 1023092 h 6557032"/>
              <a:gd name="connsiteX21644" fmla="*/ 2961033 w 4610101"/>
              <a:gd name="connsiteY21644" fmla="*/ 1013981 h 6557032"/>
              <a:gd name="connsiteX21645" fmla="*/ 2940989 w 4610101"/>
              <a:gd name="connsiteY21645" fmla="*/ 1024914 h 6557032"/>
              <a:gd name="connsiteX21646" fmla="*/ 2973788 w 4610101"/>
              <a:gd name="connsiteY21646" fmla="*/ 1044958 h 6557032"/>
              <a:gd name="connsiteX21647" fmla="*/ 2977432 w 4610101"/>
              <a:gd name="connsiteY21647" fmla="*/ 1052247 h 6557032"/>
              <a:gd name="connsiteX21648" fmla="*/ 2977432 w 4610101"/>
              <a:gd name="connsiteY21648" fmla="*/ 1044958 h 6557032"/>
              <a:gd name="connsiteX21649" fmla="*/ 2988366 w 4610101"/>
              <a:gd name="connsiteY21649" fmla="*/ 1057713 h 6557032"/>
              <a:gd name="connsiteX21650" fmla="*/ 3030457 w 4610101"/>
              <a:gd name="connsiteY21650" fmla="*/ 1093069 h 6557032"/>
              <a:gd name="connsiteX21651" fmla="*/ 3028453 w 4610101"/>
              <a:gd name="connsiteY21651" fmla="*/ 1092335 h 6557032"/>
              <a:gd name="connsiteX21652" fmla="*/ 3035742 w 4610101"/>
              <a:gd name="connsiteY21652" fmla="*/ 1097801 h 6557032"/>
              <a:gd name="connsiteX21653" fmla="*/ 3041209 w 4610101"/>
              <a:gd name="connsiteY21653" fmla="*/ 1105090 h 6557032"/>
              <a:gd name="connsiteX21654" fmla="*/ 3044853 w 4610101"/>
              <a:gd name="connsiteY21654" fmla="*/ 1092335 h 6557032"/>
              <a:gd name="connsiteX21655" fmla="*/ 3055786 w 4610101"/>
              <a:gd name="connsiteY21655" fmla="*/ 1099623 h 6557032"/>
              <a:gd name="connsiteX21656" fmla="*/ 3053964 w 4610101"/>
              <a:gd name="connsiteY21656" fmla="*/ 1114201 h 6557032"/>
              <a:gd name="connsiteX21657" fmla="*/ 3044853 w 4610101"/>
              <a:gd name="connsiteY21657" fmla="*/ 1110556 h 6557032"/>
              <a:gd name="connsiteX21658" fmla="*/ 3045945 w 4610101"/>
              <a:gd name="connsiteY21658" fmla="*/ 1121257 h 6557032"/>
              <a:gd name="connsiteX21659" fmla="*/ 3039159 w 4610101"/>
              <a:gd name="connsiteY21659" fmla="*/ 1115795 h 6557032"/>
              <a:gd name="connsiteX21660" fmla="*/ 3035706 w 4610101"/>
              <a:gd name="connsiteY21660" fmla="*/ 1114692 h 6557032"/>
              <a:gd name="connsiteX21661" fmla="*/ 3035742 w 4610101"/>
              <a:gd name="connsiteY21661" fmla="*/ 1114201 h 6557032"/>
              <a:gd name="connsiteX21662" fmla="*/ 3033902 w 4610101"/>
              <a:gd name="connsiteY21662" fmla="*/ 1114117 h 6557032"/>
              <a:gd name="connsiteX21663" fmla="*/ 3028453 w 4610101"/>
              <a:gd name="connsiteY21663" fmla="*/ 1112378 h 6557032"/>
              <a:gd name="connsiteX21664" fmla="*/ 3030731 w 4610101"/>
              <a:gd name="connsiteY21664" fmla="*/ 1113972 h 6557032"/>
              <a:gd name="connsiteX21665" fmla="*/ 3033902 w 4610101"/>
              <a:gd name="connsiteY21665" fmla="*/ 1114117 h 6557032"/>
              <a:gd name="connsiteX21666" fmla="*/ 3035706 w 4610101"/>
              <a:gd name="connsiteY21666" fmla="*/ 1114692 h 6557032"/>
              <a:gd name="connsiteX21667" fmla="*/ 3035287 w 4610101"/>
              <a:gd name="connsiteY21667" fmla="*/ 1120350 h 6557032"/>
              <a:gd name="connsiteX21668" fmla="*/ 3037564 w 4610101"/>
              <a:gd name="connsiteY21668" fmla="*/ 1125134 h 6557032"/>
              <a:gd name="connsiteX21669" fmla="*/ 3027542 w 4610101"/>
              <a:gd name="connsiteY21669" fmla="*/ 1118300 h 6557032"/>
              <a:gd name="connsiteX21670" fmla="*/ 3026727 w 4610101"/>
              <a:gd name="connsiteY21670" fmla="*/ 1117967 h 6557032"/>
              <a:gd name="connsiteX21671" fmla="*/ 3026631 w 4610101"/>
              <a:gd name="connsiteY21671" fmla="*/ 1117845 h 6557032"/>
              <a:gd name="connsiteX21672" fmla="*/ 3026670 w 4610101"/>
              <a:gd name="connsiteY21672" fmla="*/ 1117944 h 6557032"/>
              <a:gd name="connsiteX21673" fmla="*/ 3017521 w 4610101"/>
              <a:gd name="connsiteY21673" fmla="*/ 1114201 h 6557032"/>
              <a:gd name="connsiteX21674" fmla="*/ 3017521 w 4610101"/>
              <a:gd name="connsiteY21674" fmla="*/ 1103268 h 6557032"/>
              <a:gd name="connsiteX21675" fmla="*/ 3013876 w 4610101"/>
              <a:gd name="connsiteY21675" fmla="*/ 1117845 h 6557032"/>
              <a:gd name="connsiteX21676" fmla="*/ 3001121 w 4610101"/>
              <a:gd name="connsiteY21676" fmla="*/ 1095979 h 6557032"/>
              <a:gd name="connsiteX21677" fmla="*/ 2995654 w 4610101"/>
              <a:gd name="connsiteY21677" fmla="*/ 1101445 h 6557032"/>
              <a:gd name="connsiteX21678" fmla="*/ 2997477 w 4610101"/>
              <a:gd name="connsiteY21678" fmla="*/ 1099623 h 6557032"/>
              <a:gd name="connsiteX21679" fmla="*/ 2995654 w 4610101"/>
              <a:gd name="connsiteY21679" fmla="*/ 1105090 h 6557032"/>
              <a:gd name="connsiteX21680" fmla="*/ 2990188 w 4610101"/>
              <a:gd name="connsiteY21680" fmla="*/ 1086868 h 6557032"/>
              <a:gd name="connsiteX21681" fmla="*/ 2982899 w 4610101"/>
              <a:gd name="connsiteY21681" fmla="*/ 1086868 h 6557032"/>
              <a:gd name="connsiteX21682" fmla="*/ 2979255 w 4610101"/>
              <a:gd name="connsiteY21682" fmla="*/ 1101445 h 6557032"/>
              <a:gd name="connsiteX21683" fmla="*/ 2982899 w 4610101"/>
              <a:gd name="connsiteY21683" fmla="*/ 1110556 h 6557032"/>
              <a:gd name="connsiteX21684" fmla="*/ 2968322 w 4610101"/>
              <a:gd name="connsiteY21684" fmla="*/ 1105090 h 6557032"/>
              <a:gd name="connsiteX21685" fmla="*/ 2968322 w 4610101"/>
              <a:gd name="connsiteY21685" fmla="*/ 1099623 h 6557032"/>
              <a:gd name="connsiteX21686" fmla="*/ 2966500 w 4610101"/>
              <a:gd name="connsiteY21686" fmla="*/ 1101445 h 6557032"/>
              <a:gd name="connsiteX21687" fmla="*/ 2962855 w 4610101"/>
              <a:gd name="connsiteY21687" fmla="*/ 1095979 h 6557032"/>
              <a:gd name="connsiteX21688" fmla="*/ 2968322 w 4610101"/>
              <a:gd name="connsiteY21688" fmla="*/ 1095979 h 6557032"/>
              <a:gd name="connsiteX21689" fmla="*/ 2971966 w 4610101"/>
              <a:gd name="connsiteY21689" fmla="*/ 1101445 h 6557032"/>
              <a:gd name="connsiteX21690" fmla="*/ 2973788 w 4610101"/>
              <a:gd name="connsiteY21690" fmla="*/ 1090512 h 6557032"/>
              <a:gd name="connsiteX21691" fmla="*/ 2968322 w 4610101"/>
              <a:gd name="connsiteY21691" fmla="*/ 1081402 h 6557032"/>
              <a:gd name="connsiteX21692" fmla="*/ 2966500 w 4610101"/>
              <a:gd name="connsiteY21692" fmla="*/ 1083224 h 6557032"/>
              <a:gd name="connsiteX21693" fmla="*/ 2970144 w 4610101"/>
              <a:gd name="connsiteY21693" fmla="*/ 1072291 h 6557032"/>
              <a:gd name="connsiteX21694" fmla="*/ 2966500 w 4610101"/>
              <a:gd name="connsiteY21694" fmla="*/ 1070469 h 6557032"/>
              <a:gd name="connsiteX21695" fmla="*/ 2970144 w 4610101"/>
              <a:gd name="connsiteY21695" fmla="*/ 1065002 h 6557032"/>
              <a:gd name="connsiteX21696" fmla="*/ 2986543 w 4610101"/>
              <a:gd name="connsiteY21696" fmla="*/ 1074113 h 6557032"/>
              <a:gd name="connsiteX21697" fmla="*/ 2986543 w 4610101"/>
              <a:gd name="connsiteY21697" fmla="*/ 1065002 h 6557032"/>
              <a:gd name="connsiteX21698" fmla="*/ 2975610 w 4610101"/>
              <a:gd name="connsiteY21698" fmla="*/ 1063180 h 6557032"/>
              <a:gd name="connsiteX21699" fmla="*/ 2950100 w 4610101"/>
              <a:gd name="connsiteY21699" fmla="*/ 1043136 h 6557032"/>
              <a:gd name="connsiteX21700" fmla="*/ 2948278 w 4610101"/>
              <a:gd name="connsiteY21700" fmla="*/ 1048602 h 6557032"/>
              <a:gd name="connsiteX21701" fmla="*/ 2937345 w 4610101"/>
              <a:gd name="connsiteY21701" fmla="*/ 1034025 h 6557032"/>
              <a:gd name="connsiteX21702" fmla="*/ 2950100 w 4610101"/>
              <a:gd name="connsiteY21702" fmla="*/ 1039492 h 6557032"/>
              <a:gd name="connsiteX21703" fmla="*/ 2931878 w 4610101"/>
              <a:gd name="connsiteY21703" fmla="*/ 1026736 h 6557032"/>
              <a:gd name="connsiteX21704" fmla="*/ 2888146 w 4610101"/>
              <a:gd name="connsiteY21704" fmla="*/ 1097801 h 6557032"/>
              <a:gd name="connsiteX21705" fmla="*/ 2906368 w 4610101"/>
              <a:gd name="connsiteY21705" fmla="*/ 1077757 h 6557032"/>
              <a:gd name="connsiteX21706" fmla="*/ 2911834 w 4610101"/>
              <a:gd name="connsiteY21706" fmla="*/ 1079579 h 6557032"/>
              <a:gd name="connsiteX21707" fmla="*/ 2900901 w 4610101"/>
              <a:gd name="connsiteY21707" fmla="*/ 1110556 h 6557032"/>
              <a:gd name="connsiteX21708" fmla="*/ 2891790 w 4610101"/>
              <a:gd name="connsiteY21708" fmla="*/ 1105090 h 6557032"/>
              <a:gd name="connsiteX21709" fmla="*/ 2868102 w 4610101"/>
              <a:gd name="connsiteY21709" fmla="*/ 1147000 h 6557032"/>
              <a:gd name="connsiteX21710" fmla="*/ 2862636 w 4610101"/>
              <a:gd name="connsiteY21710" fmla="*/ 1145178 h 6557032"/>
              <a:gd name="connsiteX21711" fmla="*/ 2868102 w 4610101"/>
              <a:gd name="connsiteY21711" fmla="*/ 1148822 h 6557032"/>
              <a:gd name="connsiteX21712" fmla="*/ 2868102 w 4610101"/>
              <a:gd name="connsiteY21712" fmla="*/ 1159755 h 6557032"/>
              <a:gd name="connsiteX21713" fmla="*/ 2862636 w 4610101"/>
              <a:gd name="connsiteY21713" fmla="*/ 1161577 h 6557032"/>
              <a:gd name="connsiteX21714" fmla="*/ 2864458 w 4610101"/>
              <a:gd name="connsiteY21714" fmla="*/ 1154288 h 6557032"/>
              <a:gd name="connsiteX21715" fmla="*/ 2848058 w 4610101"/>
              <a:gd name="connsiteY21715" fmla="*/ 1168866 h 6557032"/>
              <a:gd name="connsiteX21716" fmla="*/ 2833481 w 4610101"/>
              <a:gd name="connsiteY21716" fmla="*/ 1190732 h 6557032"/>
              <a:gd name="connsiteX21717" fmla="*/ 2840769 w 4610101"/>
              <a:gd name="connsiteY21717" fmla="*/ 1188910 h 6557032"/>
              <a:gd name="connsiteX21718" fmla="*/ 2844414 w 4610101"/>
              <a:gd name="connsiteY21718" fmla="*/ 1196199 h 6557032"/>
              <a:gd name="connsiteX21719" fmla="*/ 2891107 w 4610101"/>
              <a:gd name="connsiteY21719" fmla="*/ 1175016 h 6557032"/>
              <a:gd name="connsiteX21720" fmla="*/ 2914365 w 4610101"/>
              <a:gd name="connsiteY21720" fmla="*/ 1167412 h 6557032"/>
              <a:gd name="connsiteX21721" fmla="*/ 2916162 w 4610101"/>
              <a:gd name="connsiteY21721" fmla="*/ 1172966 h 6557032"/>
              <a:gd name="connsiteX21722" fmla="*/ 2922767 w 4610101"/>
              <a:gd name="connsiteY21722" fmla="*/ 1172510 h 6557032"/>
              <a:gd name="connsiteX21723" fmla="*/ 2959154 w 4610101"/>
              <a:gd name="connsiteY21723" fmla="*/ 1179941 h 6557032"/>
              <a:gd name="connsiteX21724" fmla="*/ 2965515 w 4610101"/>
              <a:gd name="connsiteY21724" fmla="*/ 1174785 h 6557032"/>
              <a:gd name="connsiteX21725" fmla="*/ 2962855 w 4610101"/>
              <a:gd name="connsiteY21725" fmla="*/ 1177977 h 6557032"/>
              <a:gd name="connsiteX21726" fmla="*/ 2968322 w 4610101"/>
              <a:gd name="connsiteY21726" fmla="*/ 1177977 h 6557032"/>
              <a:gd name="connsiteX21727" fmla="*/ 2966377 w 4610101"/>
              <a:gd name="connsiteY21727" fmla="*/ 1174087 h 6557032"/>
              <a:gd name="connsiteX21728" fmla="*/ 2968322 w 4610101"/>
              <a:gd name="connsiteY21728" fmla="*/ 1172510 h 6557032"/>
              <a:gd name="connsiteX21729" fmla="*/ 2951922 w 4610101"/>
              <a:gd name="connsiteY21729" fmla="*/ 1170688 h 6557032"/>
              <a:gd name="connsiteX21730" fmla="*/ 2961033 w 4610101"/>
              <a:gd name="connsiteY21730" fmla="*/ 1159755 h 6557032"/>
              <a:gd name="connsiteX21731" fmla="*/ 2943961 w 4610101"/>
              <a:gd name="connsiteY21731" fmla="*/ 1161381 h 6557032"/>
              <a:gd name="connsiteX21732" fmla="*/ 2942811 w 4610101"/>
              <a:gd name="connsiteY21732" fmla="*/ 1157933 h 6557032"/>
              <a:gd name="connsiteX21733" fmla="*/ 2948278 w 4610101"/>
              <a:gd name="connsiteY21733" fmla="*/ 1156111 h 6557032"/>
              <a:gd name="connsiteX21734" fmla="*/ 2950100 w 4610101"/>
              <a:gd name="connsiteY21734" fmla="*/ 1159755 h 6557032"/>
              <a:gd name="connsiteX21735" fmla="*/ 2952322 w 4610101"/>
              <a:gd name="connsiteY21735" fmla="*/ 1155844 h 6557032"/>
              <a:gd name="connsiteX21736" fmla="*/ 2956706 w 4610101"/>
              <a:gd name="connsiteY21736" fmla="*/ 1152922 h 6557032"/>
              <a:gd name="connsiteX21737" fmla="*/ 2957389 w 4610101"/>
              <a:gd name="connsiteY21737" fmla="*/ 1147000 h 6557032"/>
              <a:gd name="connsiteX21738" fmla="*/ 2962855 w 4610101"/>
              <a:gd name="connsiteY21738" fmla="*/ 1141533 h 6557032"/>
              <a:gd name="connsiteX21739" fmla="*/ 2957389 w 4610101"/>
              <a:gd name="connsiteY21739" fmla="*/ 1141533 h 6557032"/>
              <a:gd name="connsiteX21740" fmla="*/ 2959211 w 4610101"/>
              <a:gd name="connsiteY21740" fmla="*/ 1136067 h 6557032"/>
              <a:gd name="connsiteX21741" fmla="*/ 2970144 w 4610101"/>
              <a:gd name="connsiteY21741" fmla="*/ 1139711 h 6557032"/>
              <a:gd name="connsiteX21742" fmla="*/ 2966500 w 4610101"/>
              <a:gd name="connsiteY21742" fmla="*/ 1130600 h 6557032"/>
              <a:gd name="connsiteX21743" fmla="*/ 2962855 w 4610101"/>
              <a:gd name="connsiteY21743" fmla="*/ 1147000 h 6557032"/>
              <a:gd name="connsiteX21744" fmla="*/ 2970144 w 4610101"/>
              <a:gd name="connsiteY21744" fmla="*/ 1159755 h 6557032"/>
              <a:gd name="connsiteX21745" fmla="*/ 2964677 w 4610101"/>
              <a:gd name="connsiteY21745" fmla="*/ 1163399 h 6557032"/>
              <a:gd name="connsiteX21746" fmla="*/ 2975610 w 4610101"/>
              <a:gd name="connsiteY21746" fmla="*/ 1177977 h 6557032"/>
              <a:gd name="connsiteX21747" fmla="*/ 2977432 w 4610101"/>
              <a:gd name="connsiteY21747" fmla="*/ 1170688 h 6557032"/>
              <a:gd name="connsiteX21748" fmla="*/ 2981305 w 4610101"/>
              <a:gd name="connsiteY21748" fmla="*/ 1173649 h 6557032"/>
              <a:gd name="connsiteX21749" fmla="*/ 2984135 w 4610101"/>
              <a:gd name="connsiteY21749" fmla="*/ 1173034 h 6557032"/>
              <a:gd name="connsiteX21750" fmla="*/ 2986543 w 4610101"/>
              <a:gd name="connsiteY21750" fmla="*/ 1172510 h 6557032"/>
              <a:gd name="connsiteX21751" fmla="*/ 2985860 w 4610101"/>
              <a:gd name="connsiteY21751" fmla="*/ 1177294 h 6557032"/>
              <a:gd name="connsiteX21752" fmla="*/ 2986460 w 4610101"/>
              <a:gd name="connsiteY21752" fmla="*/ 1182697 h 6557032"/>
              <a:gd name="connsiteX21753" fmla="*/ 2981077 w 4610101"/>
              <a:gd name="connsiteY21753" fmla="*/ 1181621 h 6557032"/>
              <a:gd name="connsiteX21754" fmla="*/ 2986543 w 4610101"/>
              <a:gd name="connsiteY21754" fmla="*/ 1192554 h 6557032"/>
              <a:gd name="connsiteX21755" fmla="*/ 2990188 w 4610101"/>
              <a:gd name="connsiteY21755" fmla="*/ 1183443 h 6557032"/>
              <a:gd name="connsiteX21756" fmla="*/ 2992010 w 4610101"/>
              <a:gd name="connsiteY21756" fmla="*/ 1183443 h 6557032"/>
              <a:gd name="connsiteX21757" fmla="*/ 2997477 w 4610101"/>
              <a:gd name="connsiteY21757" fmla="*/ 1179799 h 6557032"/>
              <a:gd name="connsiteX21758" fmla="*/ 2999299 w 4610101"/>
              <a:gd name="connsiteY21758" fmla="*/ 1168866 h 6557032"/>
              <a:gd name="connsiteX21759" fmla="*/ 2992010 w 4610101"/>
              <a:gd name="connsiteY21759" fmla="*/ 1170688 h 6557032"/>
              <a:gd name="connsiteX21760" fmla="*/ 2990188 w 4610101"/>
              <a:gd name="connsiteY21760" fmla="*/ 1163399 h 6557032"/>
              <a:gd name="connsiteX21761" fmla="*/ 3001121 w 4610101"/>
              <a:gd name="connsiteY21761" fmla="*/ 1161577 h 6557032"/>
              <a:gd name="connsiteX21762" fmla="*/ 3002943 w 4610101"/>
              <a:gd name="connsiteY21762" fmla="*/ 1172510 h 6557032"/>
              <a:gd name="connsiteX21763" fmla="*/ 3012054 w 4610101"/>
              <a:gd name="connsiteY21763" fmla="*/ 1177977 h 6557032"/>
              <a:gd name="connsiteX21764" fmla="*/ 3010232 w 4610101"/>
              <a:gd name="connsiteY21764" fmla="*/ 1163399 h 6557032"/>
              <a:gd name="connsiteX21765" fmla="*/ 3004765 w 4610101"/>
              <a:gd name="connsiteY21765" fmla="*/ 1163399 h 6557032"/>
              <a:gd name="connsiteX21766" fmla="*/ 3006587 w 4610101"/>
              <a:gd name="connsiteY21766" fmla="*/ 1152466 h 6557032"/>
              <a:gd name="connsiteX21767" fmla="*/ 3010232 w 4610101"/>
              <a:gd name="connsiteY21767" fmla="*/ 1150644 h 6557032"/>
              <a:gd name="connsiteX21768" fmla="*/ 3002943 w 4610101"/>
              <a:gd name="connsiteY21768" fmla="*/ 1143355 h 6557032"/>
              <a:gd name="connsiteX21769" fmla="*/ 2999299 w 4610101"/>
              <a:gd name="connsiteY21769" fmla="*/ 1128778 h 6557032"/>
              <a:gd name="connsiteX21770" fmla="*/ 2986543 w 4610101"/>
              <a:gd name="connsiteY21770" fmla="*/ 1126956 h 6557032"/>
              <a:gd name="connsiteX21771" fmla="*/ 2984721 w 4610101"/>
              <a:gd name="connsiteY21771" fmla="*/ 1114201 h 6557032"/>
              <a:gd name="connsiteX21772" fmla="*/ 2990188 w 4610101"/>
              <a:gd name="connsiteY21772" fmla="*/ 1116023 h 6557032"/>
              <a:gd name="connsiteX21773" fmla="*/ 3001121 w 4610101"/>
              <a:gd name="connsiteY21773" fmla="*/ 1125134 h 6557032"/>
              <a:gd name="connsiteX21774" fmla="*/ 2999299 w 4610101"/>
              <a:gd name="connsiteY21774" fmla="*/ 1110556 h 6557032"/>
              <a:gd name="connsiteX21775" fmla="*/ 3004765 w 4610101"/>
              <a:gd name="connsiteY21775" fmla="*/ 1121489 h 6557032"/>
              <a:gd name="connsiteX21776" fmla="*/ 3006587 w 4610101"/>
              <a:gd name="connsiteY21776" fmla="*/ 1117845 h 6557032"/>
              <a:gd name="connsiteX21777" fmla="*/ 3010460 w 4610101"/>
              <a:gd name="connsiteY21777" fmla="*/ 1137205 h 6557032"/>
              <a:gd name="connsiteX21778" fmla="*/ 3023192 w 4610101"/>
              <a:gd name="connsiteY21778" fmla="*/ 1144917 h 6557032"/>
              <a:gd name="connsiteX21779" fmla="*/ 3022987 w 4610101"/>
              <a:gd name="connsiteY21779" fmla="*/ 1145178 h 6557032"/>
              <a:gd name="connsiteX21780" fmla="*/ 3023387 w 4610101"/>
              <a:gd name="connsiteY21780" fmla="*/ 1145035 h 6557032"/>
              <a:gd name="connsiteX21781" fmla="*/ 3026631 w 4610101"/>
              <a:gd name="connsiteY21781" fmla="*/ 1147000 h 6557032"/>
              <a:gd name="connsiteX21782" fmla="*/ 3026176 w 4610101"/>
              <a:gd name="connsiteY21782" fmla="*/ 1144039 h 6557032"/>
              <a:gd name="connsiteX21783" fmla="*/ 3023387 w 4610101"/>
              <a:gd name="connsiteY21783" fmla="*/ 1145035 h 6557032"/>
              <a:gd name="connsiteX21784" fmla="*/ 3023192 w 4610101"/>
              <a:gd name="connsiteY21784" fmla="*/ 1144917 h 6557032"/>
              <a:gd name="connsiteX21785" fmla="*/ 3027087 w 4610101"/>
              <a:gd name="connsiteY21785" fmla="*/ 1139939 h 6557032"/>
              <a:gd name="connsiteX21786" fmla="*/ 3028453 w 4610101"/>
              <a:gd name="connsiteY21786" fmla="*/ 1136067 h 6557032"/>
              <a:gd name="connsiteX21787" fmla="*/ 3035742 w 4610101"/>
              <a:gd name="connsiteY21787" fmla="*/ 1133151 h 6557032"/>
              <a:gd name="connsiteX21788" fmla="*/ 3037564 w 4610101"/>
              <a:gd name="connsiteY21788" fmla="*/ 1139711 h 6557032"/>
              <a:gd name="connsiteX21789" fmla="*/ 3039387 w 4610101"/>
              <a:gd name="connsiteY21789" fmla="*/ 1143355 h 6557032"/>
              <a:gd name="connsiteX21790" fmla="*/ 3035742 w 4610101"/>
              <a:gd name="connsiteY21790" fmla="*/ 1147000 h 6557032"/>
              <a:gd name="connsiteX21791" fmla="*/ 3043031 w 4610101"/>
              <a:gd name="connsiteY21791" fmla="*/ 1154288 h 6557032"/>
              <a:gd name="connsiteX21792" fmla="*/ 3044853 w 4610101"/>
              <a:gd name="connsiteY21792" fmla="*/ 1143355 h 6557032"/>
              <a:gd name="connsiteX21793" fmla="*/ 3048497 w 4610101"/>
              <a:gd name="connsiteY21793" fmla="*/ 1145178 h 6557032"/>
              <a:gd name="connsiteX21794" fmla="*/ 3048498 w 4610101"/>
              <a:gd name="connsiteY21794" fmla="*/ 1134245 h 6557032"/>
              <a:gd name="connsiteX21795" fmla="*/ 3059430 w 4610101"/>
              <a:gd name="connsiteY21795" fmla="*/ 1123312 h 6557032"/>
              <a:gd name="connsiteX21796" fmla="*/ 3061253 w 4610101"/>
              <a:gd name="connsiteY21796" fmla="*/ 1128778 h 6557032"/>
              <a:gd name="connsiteX21797" fmla="*/ 3057608 w 4610101"/>
              <a:gd name="connsiteY21797" fmla="*/ 1130600 h 6557032"/>
              <a:gd name="connsiteX21798" fmla="*/ 3063075 w 4610101"/>
              <a:gd name="connsiteY21798" fmla="*/ 1132422 h 6557032"/>
              <a:gd name="connsiteX21799" fmla="*/ 3057608 w 4610101"/>
              <a:gd name="connsiteY21799" fmla="*/ 1134245 h 6557032"/>
              <a:gd name="connsiteX21800" fmla="*/ 3059430 w 4610101"/>
              <a:gd name="connsiteY21800" fmla="*/ 1143355 h 6557032"/>
              <a:gd name="connsiteX21801" fmla="*/ 3052142 w 4610101"/>
              <a:gd name="connsiteY21801" fmla="*/ 1141533 h 6557032"/>
              <a:gd name="connsiteX21802" fmla="*/ 3052142 w 4610101"/>
              <a:gd name="connsiteY21802" fmla="*/ 1154288 h 6557032"/>
              <a:gd name="connsiteX21803" fmla="*/ 3074008 w 4610101"/>
              <a:gd name="connsiteY21803" fmla="*/ 1150644 h 6557032"/>
              <a:gd name="connsiteX21804" fmla="*/ 3074008 w 4610101"/>
              <a:gd name="connsiteY21804" fmla="*/ 1143355 h 6557032"/>
              <a:gd name="connsiteX21805" fmla="*/ 3081297 w 4610101"/>
              <a:gd name="connsiteY21805" fmla="*/ 1148822 h 6557032"/>
              <a:gd name="connsiteX21806" fmla="*/ 3081297 w 4610101"/>
              <a:gd name="connsiteY21806" fmla="*/ 1137889 h 6557032"/>
              <a:gd name="connsiteX21807" fmla="*/ 3074008 w 4610101"/>
              <a:gd name="connsiteY21807" fmla="*/ 1134245 h 6557032"/>
              <a:gd name="connsiteX21808" fmla="*/ 3084941 w 4610101"/>
              <a:gd name="connsiteY21808" fmla="*/ 1132422 h 6557032"/>
              <a:gd name="connsiteX21809" fmla="*/ 3083119 w 4610101"/>
              <a:gd name="connsiteY21809" fmla="*/ 1126956 h 6557032"/>
              <a:gd name="connsiteX21810" fmla="*/ 3086763 w 4610101"/>
              <a:gd name="connsiteY21810" fmla="*/ 1121489 h 6557032"/>
              <a:gd name="connsiteX21811" fmla="*/ 3094052 w 4610101"/>
              <a:gd name="connsiteY21811" fmla="*/ 1125134 h 6557032"/>
              <a:gd name="connsiteX21812" fmla="*/ 3094052 w 4610101"/>
              <a:gd name="connsiteY21812" fmla="*/ 1132422 h 6557032"/>
              <a:gd name="connsiteX21813" fmla="*/ 3084941 w 4610101"/>
              <a:gd name="connsiteY21813" fmla="*/ 1134245 h 6557032"/>
              <a:gd name="connsiteX21814" fmla="*/ 3083119 w 4610101"/>
              <a:gd name="connsiteY21814" fmla="*/ 1141533 h 6557032"/>
              <a:gd name="connsiteX21815" fmla="*/ 3086763 w 4610101"/>
              <a:gd name="connsiteY21815" fmla="*/ 1145178 h 6557032"/>
              <a:gd name="connsiteX21816" fmla="*/ 3094052 w 4610101"/>
              <a:gd name="connsiteY21816" fmla="*/ 1145178 h 6557032"/>
              <a:gd name="connsiteX21817" fmla="*/ 3095874 w 4610101"/>
              <a:gd name="connsiteY21817" fmla="*/ 1137889 h 6557032"/>
              <a:gd name="connsiteX21818" fmla="*/ 3097696 w 4610101"/>
              <a:gd name="connsiteY21818" fmla="*/ 1143355 h 6557032"/>
              <a:gd name="connsiteX21819" fmla="*/ 3098152 w 4610101"/>
              <a:gd name="connsiteY21819" fmla="*/ 1125817 h 6557032"/>
              <a:gd name="connsiteX21820" fmla="*/ 3093962 w 4610101"/>
              <a:gd name="connsiteY21820" fmla="*/ 1115589 h 6557032"/>
              <a:gd name="connsiteX21821" fmla="*/ 3095874 w 4610101"/>
              <a:gd name="connsiteY21821" fmla="*/ 1115111 h 6557032"/>
              <a:gd name="connsiteX21822" fmla="*/ 3099518 w 4610101"/>
              <a:gd name="connsiteY21822" fmla="*/ 1119667 h 6557032"/>
              <a:gd name="connsiteX21823" fmla="*/ 3104985 w 4610101"/>
              <a:gd name="connsiteY21823" fmla="*/ 1106912 h 6557032"/>
              <a:gd name="connsiteX21824" fmla="*/ 3108629 w 4610101"/>
              <a:gd name="connsiteY21824" fmla="*/ 1109873 h 6557032"/>
              <a:gd name="connsiteX21825" fmla="*/ 3110725 w 4610101"/>
              <a:gd name="connsiteY21825" fmla="*/ 1112362 h 6557032"/>
              <a:gd name="connsiteX21826" fmla="*/ 3110451 w 4610101"/>
              <a:gd name="connsiteY21826" fmla="*/ 1112378 h 6557032"/>
              <a:gd name="connsiteX21827" fmla="*/ 3112274 w 4610101"/>
              <a:gd name="connsiteY21827" fmla="*/ 1114201 h 6557032"/>
              <a:gd name="connsiteX21828" fmla="*/ 3110725 w 4610101"/>
              <a:gd name="connsiteY21828" fmla="*/ 1112362 h 6557032"/>
              <a:gd name="connsiteX21829" fmla="*/ 3114323 w 4610101"/>
              <a:gd name="connsiteY21829" fmla="*/ 1112150 h 6557032"/>
              <a:gd name="connsiteX21830" fmla="*/ 3119562 w 4610101"/>
              <a:gd name="connsiteY21830" fmla="*/ 1110556 h 6557032"/>
              <a:gd name="connsiteX21831" fmla="*/ 3115918 w 4610101"/>
              <a:gd name="connsiteY21831" fmla="*/ 1101445 h 6557032"/>
              <a:gd name="connsiteX21832" fmla="*/ 3123206 w 4610101"/>
              <a:gd name="connsiteY21832" fmla="*/ 1103268 h 6557032"/>
              <a:gd name="connsiteX21833" fmla="*/ 3125029 w 4610101"/>
              <a:gd name="connsiteY21833" fmla="*/ 1095979 h 6557032"/>
              <a:gd name="connsiteX21834" fmla="*/ 3119562 w 4610101"/>
              <a:gd name="connsiteY21834" fmla="*/ 1090512 h 6557032"/>
              <a:gd name="connsiteX21835" fmla="*/ 3132317 w 4610101"/>
              <a:gd name="connsiteY21835" fmla="*/ 1077757 h 6557032"/>
              <a:gd name="connsiteX21836" fmla="*/ 3119562 w 4610101"/>
              <a:gd name="connsiteY21836" fmla="*/ 1072291 h 6557032"/>
              <a:gd name="connsiteX21837" fmla="*/ 3119562 w 4610101"/>
              <a:gd name="connsiteY21837" fmla="*/ 1077757 h 6557032"/>
              <a:gd name="connsiteX21838" fmla="*/ 3106807 w 4610101"/>
              <a:gd name="connsiteY21838" fmla="*/ 1074113 h 6557032"/>
              <a:gd name="connsiteX21839" fmla="*/ 3099518 w 4610101"/>
              <a:gd name="connsiteY21839" fmla="*/ 1075935 h 6557032"/>
              <a:gd name="connsiteX21840" fmla="*/ 3101340 w 4610101"/>
              <a:gd name="connsiteY21840" fmla="*/ 1079579 h 6557032"/>
              <a:gd name="connsiteX21841" fmla="*/ 3094052 w 4610101"/>
              <a:gd name="connsiteY21841" fmla="*/ 1077757 h 6557032"/>
              <a:gd name="connsiteX21842" fmla="*/ 3095874 w 4610101"/>
              <a:gd name="connsiteY21842" fmla="*/ 1081402 h 6557032"/>
              <a:gd name="connsiteX21843" fmla="*/ 3083119 w 4610101"/>
              <a:gd name="connsiteY21843" fmla="*/ 1079579 h 6557032"/>
              <a:gd name="connsiteX21844" fmla="*/ 3079474 w 4610101"/>
              <a:gd name="connsiteY21844" fmla="*/ 1092335 h 6557032"/>
              <a:gd name="connsiteX21845" fmla="*/ 3077652 w 4610101"/>
              <a:gd name="connsiteY21845" fmla="*/ 1081402 h 6557032"/>
              <a:gd name="connsiteX21846" fmla="*/ 3070363 w 4610101"/>
              <a:gd name="connsiteY21846" fmla="*/ 1077757 h 6557032"/>
              <a:gd name="connsiteX21847" fmla="*/ 3052142 w 4610101"/>
              <a:gd name="connsiteY21847" fmla="*/ 1088690 h 6557032"/>
              <a:gd name="connsiteX21848" fmla="*/ 3064897 w 4610101"/>
              <a:gd name="connsiteY21848" fmla="*/ 1072291 h 6557032"/>
              <a:gd name="connsiteX21849" fmla="*/ 3059430 w 4610101"/>
              <a:gd name="connsiteY21849" fmla="*/ 1043136 h 6557032"/>
              <a:gd name="connsiteX21850" fmla="*/ 3055786 w 4610101"/>
              <a:gd name="connsiteY21850" fmla="*/ 1063180 h 6557032"/>
              <a:gd name="connsiteX21851" fmla="*/ 3055786 w 4610101"/>
              <a:gd name="connsiteY21851" fmla="*/ 1057713 h 6557032"/>
              <a:gd name="connsiteX21852" fmla="*/ 3053964 w 4610101"/>
              <a:gd name="connsiteY21852" fmla="*/ 1041314 h 6557032"/>
              <a:gd name="connsiteX21853" fmla="*/ 3046675 w 4610101"/>
              <a:gd name="connsiteY21853" fmla="*/ 1039492 h 6557032"/>
              <a:gd name="connsiteX21854" fmla="*/ 3048497 w 4610101"/>
              <a:gd name="connsiteY21854" fmla="*/ 1044958 h 6557032"/>
              <a:gd name="connsiteX21855" fmla="*/ 3037564 w 4610101"/>
              <a:gd name="connsiteY21855" fmla="*/ 1034025 h 6557032"/>
              <a:gd name="connsiteX21856" fmla="*/ 3026631 w 4610101"/>
              <a:gd name="connsiteY21856" fmla="*/ 1039492 h 6557032"/>
              <a:gd name="connsiteX21857" fmla="*/ 3019343 w 4610101"/>
              <a:gd name="connsiteY21857" fmla="*/ 1026736 h 6557032"/>
              <a:gd name="connsiteX21858" fmla="*/ 3017521 w 4610101"/>
              <a:gd name="connsiteY21858" fmla="*/ 1035847 h 6557032"/>
              <a:gd name="connsiteX21859" fmla="*/ 3010687 w 4610101"/>
              <a:gd name="connsiteY21859" fmla="*/ 1031747 h 6557032"/>
              <a:gd name="connsiteX21860" fmla="*/ 3008260 w 4610101"/>
              <a:gd name="connsiteY21860" fmla="*/ 1027701 h 6557032"/>
              <a:gd name="connsiteX21861" fmla="*/ 3007300 w 4610101"/>
              <a:gd name="connsiteY21861" fmla="*/ 1022238 h 6557032"/>
              <a:gd name="connsiteX21862" fmla="*/ 2986543 w 4610101"/>
              <a:gd name="connsiteY21862" fmla="*/ 1017625 h 6557032"/>
              <a:gd name="connsiteX21863" fmla="*/ 2992010 w 4610101"/>
              <a:gd name="connsiteY21863" fmla="*/ 1015803 h 6557032"/>
              <a:gd name="connsiteX21864" fmla="*/ 2981077 w 4610101"/>
              <a:gd name="connsiteY21864" fmla="*/ 1010337 h 6557032"/>
              <a:gd name="connsiteX21865" fmla="*/ 2984721 w 4610101"/>
              <a:gd name="connsiteY21865" fmla="*/ 1017625 h 6557032"/>
              <a:gd name="connsiteX21866" fmla="*/ 2975610 w 4610101"/>
              <a:gd name="connsiteY21866" fmla="*/ 1017625 h 6557032"/>
              <a:gd name="connsiteX21867" fmla="*/ 2977432 w 4610101"/>
              <a:gd name="connsiteY21867" fmla="*/ 1008515 h 6557032"/>
              <a:gd name="connsiteX21868" fmla="*/ 2970827 w 4610101"/>
              <a:gd name="connsiteY21868" fmla="*/ 1008059 h 6557032"/>
              <a:gd name="connsiteX21869" fmla="*/ 531814 w 4610101"/>
              <a:gd name="connsiteY21869" fmla="*/ 1007778 h 6557032"/>
              <a:gd name="connsiteX21870" fmla="*/ 531976 w 4610101"/>
              <a:gd name="connsiteY21870" fmla="*/ 1007891 h 6557032"/>
              <a:gd name="connsiteX21871" fmla="*/ 531847 w 4610101"/>
              <a:gd name="connsiteY21871" fmla="*/ 1007831 h 6557032"/>
              <a:gd name="connsiteX21872" fmla="*/ 779892 w 4610101"/>
              <a:gd name="connsiteY21872" fmla="*/ 1006741 h 6557032"/>
              <a:gd name="connsiteX21873" fmla="*/ 783535 w 4610101"/>
              <a:gd name="connsiteY21873" fmla="*/ 1028608 h 6557032"/>
              <a:gd name="connsiteX21874" fmla="*/ 779892 w 4610101"/>
              <a:gd name="connsiteY21874" fmla="*/ 1006741 h 6557032"/>
              <a:gd name="connsiteX21875" fmla="*/ 3398355 w 4610101"/>
              <a:gd name="connsiteY21875" fmla="*/ 1006692 h 6557032"/>
              <a:gd name="connsiteX21876" fmla="*/ 3385600 w 4610101"/>
              <a:gd name="connsiteY21876" fmla="*/ 1010337 h 6557032"/>
              <a:gd name="connsiteX21877" fmla="*/ 3396532 w 4610101"/>
              <a:gd name="connsiteY21877" fmla="*/ 1024914 h 6557032"/>
              <a:gd name="connsiteX21878" fmla="*/ 3405643 w 4610101"/>
              <a:gd name="connsiteY21878" fmla="*/ 1012159 h 6557032"/>
              <a:gd name="connsiteX21879" fmla="*/ 3396532 w 4610101"/>
              <a:gd name="connsiteY21879" fmla="*/ 1012159 h 6557032"/>
              <a:gd name="connsiteX21880" fmla="*/ 3398355 w 4610101"/>
              <a:gd name="connsiteY21880" fmla="*/ 1006692 h 6557032"/>
              <a:gd name="connsiteX21881" fmla="*/ 3072186 w 4610101"/>
              <a:gd name="connsiteY21881" fmla="*/ 1006692 h 6557032"/>
              <a:gd name="connsiteX21882" fmla="*/ 3072186 w 4610101"/>
              <a:gd name="connsiteY21882" fmla="*/ 1015803 h 6557032"/>
              <a:gd name="connsiteX21883" fmla="*/ 3072186 w 4610101"/>
              <a:gd name="connsiteY21883" fmla="*/ 1006692 h 6557032"/>
              <a:gd name="connsiteX21884" fmla="*/ 1084194 w 4610101"/>
              <a:gd name="connsiteY21884" fmla="*/ 1006692 h 6557032"/>
              <a:gd name="connsiteX21885" fmla="*/ 1082373 w 4610101"/>
              <a:gd name="connsiteY21885" fmla="*/ 1015803 h 6557032"/>
              <a:gd name="connsiteX21886" fmla="*/ 1084194 w 4610101"/>
              <a:gd name="connsiteY21886" fmla="*/ 1012159 h 6557032"/>
              <a:gd name="connsiteX21887" fmla="*/ 1084194 w 4610101"/>
              <a:gd name="connsiteY21887" fmla="*/ 1018991 h 6557032"/>
              <a:gd name="connsiteX21888" fmla="*/ 1082371 w 4610101"/>
              <a:gd name="connsiteY21888" fmla="*/ 1024003 h 6557032"/>
              <a:gd name="connsiteX21889" fmla="*/ 1083384 w 4610101"/>
              <a:gd name="connsiteY21889" fmla="*/ 1029571 h 6557032"/>
              <a:gd name="connsiteX21890" fmla="*/ 1082373 w 4610101"/>
              <a:gd name="connsiteY21890" fmla="*/ 1028559 h 6557032"/>
              <a:gd name="connsiteX21891" fmla="*/ 1084194 w 4610101"/>
              <a:gd name="connsiteY21891" fmla="*/ 1034025 h 6557032"/>
              <a:gd name="connsiteX21892" fmla="*/ 1083384 w 4610101"/>
              <a:gd name="connsiteY21892" fmla="*/ 1029571 h 6557032"/>
              <a:gd name="connsiteX21893" fmla="*/ 1084194 w 4610101"/>
              <a:gd name="connsiteY21893" fmla="*/ 1030381 h 6557032"/>
              <a:gd name="connsiteX21894" fmla="*/ 1084194 w 4610101"/>
              <a:gd name="connsiteY21894" fmla="*/ 1021270 h 6557032"/>
              <a:gd name="connsiteX21895" fmla="*/ 1084194 w 4610101"/>
              <a:gd name="connsiteY21895" fmla="*/ 1018991 h 6557032"/>
              <a:gd name="connsiteX21896" fmla="*/ 1086016 w 4610101"/>
              <a:gd name="connsiteY21896" fmla="*/ 1013981 h 6557032"/>
              <a:gd name="connsiteX21897" fmla="*/ 1084194 w 4610101"/>
              <a:gd name="connsiteY21897" fmla="*/ 1012159 h 6557032"/>
              <a:gd name="connsiteX21898" fmla="*/ 1064151 w 4610101"/>
              <a:gd name="connsiteY21898" fmla="*/ 1006692 h 6557032"/>
              <a:gd name="connsiteX21899" fmla="*/ 1058683 w 4610101"/>
              <a:gd name="connsiteY21899" fmla="*/ 1010337 h 6557032"/>
              <a:gd name="connsiteX21900" fmla="*/ 1045929 w 4610101"/>
              <a:gd name="connsiteY21900" fmla="*/ 1017625 h 6557032"/>
              <a:gd name="connsiteX21901" fmla="*/ 1042284 w 4610101"/>
              <a:gd name="connsiteY21901" fmla="*/ 1026736 h 6557032"/>
              <a:gd name="connsiteX21902" fmla="*/ 1053217 w 4610101"/>
              <a:gd name="connsiteY21902" fmla="*/ 1024914 h 6557032"/>
              <a:gd name="connsiteX21903" fmla="*/ 1055040 w 4610101"/>
              <a:gd name="connsiteY21903" fmla="*/ 1028559 h 6557032"/>
              <a:gd name="connsiteX21904" fmla="*/ 1053217 w 4610101"/>
              <a:gd name="connsiteY21904" fmla="*/ 1021270 h 6557032"/>
              <a:gd name="connsiteX21905" fmla="*/ 1055040 w 4610101"/>
              <a:gd name="connsiteY21905" fmla="*/ 1017625 h 6557032"/>
              <a:gd name="connsiteX21906" fmla="*/ 1060506 w 4610101"/>
              <a:gd name="connsiteY21906" fmla="*/ 1021270 h 6557032"/>
              <a:gd name="connsiteX21907" fmla="*/ 1060506 w 4610101"/>
              <a:gd name="connsiteY21907" fmla="*/ 1017625 h 6557032"/>
              <a:gd name="connsiteX21908" fmla="*/ 1064151 w 4610101"/>
              <a:gd name="connsiteY21908" fmla="*/ 1023092 h 6557032"/>
              <a:gd name="connsiteX21909" fmla="*/ 1065607 w 4610101"/>
              <a:gd name="connsiteY21909" fmla="*/ 1017260 h 6557032"/>
              <a:gd name="connsiteX21910" fmla="*/ 1071439 w 4610101"/>
              <a:gd name="connsiteY21910" fmla="*/ 1023092 h 6557032"/>
              <a:gd name="connsiteX21911" fmla="*/ 1067794 w 4610101"/>
              <a:gd name="connsiteY21911" fmla="*/ 1013981 h 6557032"/>
              <a:gd name="connsiteX21912" fmla="*/ 1064151 w 4610101"/>
              <a:gd name="connsiteY21912" fmla="*/ 1015803 h 6557032"/>
              <a:gd name="connsiteX21913" fmla="*/ 1062328 w 4610101"/>
              <a:gd name="connsiteY21913" fmla="*/ 1015803 h 6557032"/>
              <a:gd name="connsiteX21914" fmla="*/ 1064151 w 4610101"/>
              <a:gd name="connsiteY21914" fmla="*/ 1012159 h 6557032"/>
              <a:gd name="connsiteX21915" fmla="*/ 1064151 w 4610101"/>
              <a:gd name="connsiteY21915" fmla="*/ 1006692 h 6557032"/>
              <a:gd name="connsiteX21916" fmla="*/ 867355 w 4610101"/>
              <a:gd name="connsiteY21916" fmla="*/ 1006692 h 6557032"/>
              <a:gd name="connsiteX21917" fmla="*/ 887399 w 4610101"/>
              <a:gd name="connsiteY21917" fmla="*/ 1046780 h 6557032"/>
              <a:gd name="connsiteX21918" fmla="*/ 878288 w 4610101"/>
              <a:gd name="connsiteY21918" fmla="*/ 1013981 h 6557032"/>
              <a:gd name="connsiteX21919" fmla="*/ 867355 w 4610101"/>
              <a:gd name="connsiteY21919" fmla="*/ 1006692 h 6557032"/>
              <a:gd name="connsiteX21920" fmla="*/ 725226 w 4610101"/>
              <a:gd name="connsiteY21920" fmla="*/ 1006692 h 6557032"/>
              <a:gd name="connsiteX21921" fmla="*/ 727048 w 4610101"/>
              <a:gd name="connsiteY21921" fmla="*/ 1028559 h 6557032"/>
              <a:gd name="connsiteX21922" fmla="*/ 730692 w 4610101"/>
              <a:gd name="connsiteY21922" fmla="*/ 1012159 h 6557032"/>
              <a:gd name="connsiteX21923" fmla="*/ 725226 w 4610101"/>
              <a:gd name="connsiteY21923" fmla="*/ 1006692 h 6557032"/>
              <a:gd name="connsiteX21924" fmla="*/ 577630 w 4610101"/>
              <a:gd name="connsiteY21924" fmla="*/ 1006692 h 6557032"/>
              <a:gd name="connsiteX21925" fmla="*/ 583096 w 4610101"/>
              <a:gd name="connsiteY21925" fmla="*/ 1012159 h 6557032"/>
              <a:gd name="connsiteX21926" fmla="*/ 584919 w 4610101"/>
              <a:gd name="connsiteY21926" fmla="*/ 1010337 h 6557032"/>
              <a:gd name="connsiteX21927" fmla="*/ 577630 w 4610101"/>
              <a:gd name="connsiteY21927" fmla="*/ 1006692 h 6557032"/>
              <a:gd name="connsiteX21928" fmla="*/ 382657 w 4610101"/>
              <a:gd name="connsiteY21928" fmla="*/ 1006692 h 6557032"/>
              <a:gd name="connsiteX21929" fmla="*/ 386301 w 4610101"/>
              <a:gd name="connsiteY21929" fmla="*/ 1010337 h 6557032"/>
              <a:gd name="connsiteX21930" fmla="*/ 382657 w 4610101"/>
              <a:gd name="connsiteY21930" fmla="*/ 1006692 h 6557032"/>
              <a:gd name="connsiteX21931" fmla="*/ 375368 w 4610101"/>
              <a:gd name="connsiteY21931" fmla="*/ 1006692 h 6557032"/>
              <a:gd name="connsiteX21932" fmla="*/ 373546 w 4610101"/>
              <a:gd name="connsiteY21932" fmla="*/ 1010337 h 6557032"/>
              <a:gd name="connsiteX21933" fmla="*/ 377190 w 4610101"/>
              <a:gd name="connsiteY21933" fmla="*/ 1010564 h 6557032"/>
              <a:gd name="connsiteX21934" fmla="*/ 377190 w 4610101"/>
              <a:gd name="connsiteY21934" fmla="*/ 1012159 h 6557032"/>
              <a:gd name="connsiteX21935" fmla="*/ 379012 w 4610101"/>
              <a:gd name="connsiteY21935" fmla="*/ 1010337 h 6557032"/>
              <a:gd name="connsiteX21936" fmla="*/ 377190 w 4610101"/>
              <a:gd name="connsiteY21936" fmla="*/ 1008515 h 6557032"/>
              <a:gd name="connsiteX21937" fmla="*/ 377190 w 4610101"/>
              <a:gd name="connsiteY21937" fmla="*/ 1010564 h 6557032"/>
              <a:gd name="connsiteX21938" fmla="*/ 375368 w 4610101"/>
              <a:gd name="connsiteY21938" fmla="*/ 1006692 h 6557032"/>
              <a:gd name="connsiteX21939" fmla="*/ 1178947 w 4610101"/>
              <a:gd name="connsiteY21939" fmla="*/ 1006645 h 6557032"/>
              <a:gd name="connsiteX21940" fmla="*/ 1178947 w 4610101"/>
              <a:gd name="connsiteY21940" fmla="*/ 1006692 h 6557032"/>
              <a:gd name="connsiteX21941" fmla="*/ 1178923 w 4610101"/>
              <a:gd name="connsiteY21941" fmla="*/ 1006692 h 6557032"/>
              <a:gd name="connsiteX21942" fmla="*/ 1165463 w 4610101"/>
              <a:gd name="connsiteY21942" fmla="*/ 1005963 h 6557032"/>
              <a:gd name="connsiteX21943" fmla="*/ 1166192 w 4610101"/>
              <a:gd name="connsiteY21943" fmla="*/ 1006692 h 6557032"/>
              <a:gd name="connsiteX21944" fmla="*/ 1165318 w 4610101"/>
              <a:gd name="connsiteY21944" fmla="*/ 1011759 h 6557032"/>
              <a:gd name="connsiteX21945" fmla="*/ 1164370 w 4610101"/>
              <a:gd name="connsiteY21945" fmla="*/ 1010337 h 6557032"/>
              <a:gd name="connsiteX21946" fmla="*/ 909479 w 4610101"/>
              <a:gd name="connsiteY21946" fmla="*/ 1005620 h 6557032"/>
              <a:gd name="connsiteX21947" fmla="*/ 909720 w 4610101"/>
              <a:gd name="connsiteY21947" fmla="*/ 1006464 h 6557032"/>
              <a:gd name="connsiteX21948" fmla="*/ 909265 w 4610101"/>
              <a:gd name="connsiteY21948" fmla="*/ 1006692 h 6557032"/>
              <a:gd name="connsiteX21949" fmla="*/ 3325165 w 4610101"/>
              <a:gd name="connsiteY21949" fmla="*/ 1004870 h 6557032"/>
              <a:gd name="connsiteX21950" fmla="*/ 3325468 w 4610101"/>
              <a:gd name="connsiteY21950" fmla="*/ 1004870 h 6557032"/>
              <a:gd name="connsiteX21951" fmla="*/ 3324740 w 4610101"/>
              <a:gd name="connsiteY21951" fmla="*/ 1005598 h 6557032"/>
              <a:gd name="connsiteX21952" fmla="*/ 3010232 w 4610101"/>
              <a:gd name="connsiteY21952" fmla="*/ 1004870 h 6557032"/>
              <a:gd name="connsiteX21953" fmla="*/ 2997477 w 4610101"/>
              <a:gd name="connsiteY21953" fmla="*/ 1010337 h 6557032"/>
              <a:gd name="connsiteX21954" fmla="*/ 3015698 w 4610101"/>
              <a:gd name="connsiteY21954" fmla="*/ 1017625 h 6557032"/>
              <a:gd name="connsiteX21955" fmla="*/ 3010232 w 4610101"/>
              <a:gd name="connsiteY21955" fmla="*/ 1004870 h 6557032"/>
              <a:gd name="connsiteX21956" fmla="*/ 1104238 w 4610101"/>
              <a:gd name="connsiteY21956" fmla="*/ 1004870 h 6557032"/>
              <a:gd name="connsiteX21957" fmla="*/ 1098771 w 4610101"/>
              <a:gd name="connsiteY21957" fmla="*/ 1006692 h 6557032"/>
              <a:gd name="connsiteX21958" fmla="*/ 1106060 w 4610101"/>
              <a:gd name="connsiteY21958" fmla="*/ 1012159 h 6557032"/>
              <a:gd name="connsiteX21959" fmla="*/ 1089660 w 4610101"/>
              <a:gd name="connsiteY21959" fmla="*/ 1010337 h 6557032"/>
              <a:gd name="connsiteX21960" fmla="*/ 1086016 w 4610101"/>
              <a:gd name="connsiteY21960" fmla="*/ 1024914 h 6557032"/>
              <a:gd name="connsiteX21961" fmla="*/ 1089660 w 4610101"/>
              <a:gd name="connsiteY21961" fmla="*/ 1024914 h 6557032"/>
              <a:gd name="connsiteX21962" fmla="*/ 1087838 w 4610101"/>
              <a:gd name="connsiteY21962" fmla="*/ 1037669 h 6557032"/>
              <a:gd name="connsiteX21963" fmla="*/ 1096949 w 4610101"/>
              <a:gd name="connsiteY21963" fmla="*/ 1043136 h 6557032"/>
              <a:gd name="connsiteX21964" fmla="*/ 1102416 w 4610101"/>
              <a:gd name="connsiteY21964" fmla="*/ 1037669 h 6557032"/>
              <a:gd name="connsiteX21965" fmla="*/ 1100593 w 4610101"/>
              <a:gd name="connsiteY21965" fmla="*/ 1035847 h 6557032"/>
              <a:gd name="connsiteX21966" fmla="*/ 1104238 w 4610101"/>
              <a:gd name="connsiteY21966" fmla="*/ 1035847 h 6557032"/>
              <a:gd name="connsiteX21967" fmla="*/ 1104238 w 4610101"/>
              <a:gd name="connsiteY21967" fmla="*/ 1034025 h 6557032"/>
              <a:gd name="connsiteX21968" fmla="*/ 1107882 w 4610101"/>
              <a:gd name="connsiteY21968" fmla="*/ 1030381 h 6557032"/>
              <a:gd name="connsiteX21969" fmla="*/ 1104238 w 4610101"/>
              <a:gd name="connsiteY21969" fmla="*/ 1034025 h 6557032"/>
              <a:gd name="connsiteX21970" fmla="*/ 1104238 w 4610101"/>
              <a:gd name="connsiteY21970" fmla="*/ 1028559 h 6557032"/>
              <a:gd name="connsiteX21971" fmla="*/ 1107882 w 4610101"/>
              <a:gd name="connsiteY21971" fmla="*/ 1021270 h 6557032"/>
              <a:gd name="connsiteX21972" fmla="*/ 1111526 w 4610101"/>
              <a:gd name="connsiteY21972" fmla="*/ 1034025 h 6557032"/>
              <a:gd name="connsiteX21973" fmla="*/ 1098771 w 4610101"/>
              <a:gd name="connsiteY21973" fmla="*/ 1043136 h 6557032"/>
              <a:gd name="connsiteX21974" fmla="*/ 1111526 w 4610101"/>
              <a:gd name="connsiteY21974" fmla="*/ 1041314 h 6557032"/>
              <a:gd name="connsiteX21975" fmla="*/ 1111526 w 4610101"/>
              <a:gd name="connsiteY21975" fmla="*/ 1034025 h 6557032"/>
              <a:gd name="connsiteX21976" fmla="*/ 1111526 w 4610101"/>
              <a:gd name="connsiteY21976" fmla="*/ 1030381 h 6557032"/>
              <a:gd name="connsiteX21977" fmla="*/ 1115171 w 4610101"/>
              <a:gd name="connsiteY21977" fmla="*/ 1034025 h 6557032"/>
              <a:gd name="connsiteX21978" fmla="*/ 1116993 w 4610101"/>
              <a:gd name="connsiteY21978" fmla="*/ 1032203 h 6557032"/>
              <a:gd name="connsiteX21979" fmla="*/ 1124282 w 4610101"/>
              <a:gd name="connsiteY21979" fmla="*/ 1037669 h 6557032"/>
              <a:gd name="connsiteX21980" fmla="*/ 1113349 w 4610101"/>
              <a:gd name="connsiteY21980" fmla="*/ 1017625 h 6557032"/>
              <a:gd name="connsiteX21981" fmla="*/ 1106060 w 4610101"/>
              <a:gd name="connsiteY21981" fmla="*/ 1006692 h 6557032"/>
              <a:gd name="connsiteX21982" fmla="*/ 1104238 w 4610101"/>
              <a:gd name="connsiteY21982" fmla="*/ 1004870 h 6557032"/>
              <a:gd name="connsiteX21983" fmla="*/ 1071439 w 4610101"/>
              <a:gd name="connsiteY21983" fmla="*/ 1004870 h 6557032"/>
              <a:gd name="connsiteX21984" fmla="*/ 1069616 w 4610101"/>
              <a:gd name="connsiteY21984" fmla="*/ 1006692 h 6557032"/>
              <a:gd name="connsiteX21985" fmla="*/ 1069616 w 4610101"/>
              <a:gd name="connsiteY21985" fmla="*/ 1012159 h 6557032"/>
              <a:gd name="connsiteX21986" fmla="*/ 1071439 w 4610101"/>
              <a:gd name="connsiteY21986" fmla="*/ 1010337 h 6557032"/>
              <a:gd name="connsiteX21987" fmla="*/ 1069616 w 4610101"/>
              <a:gd name="connsiteY21987" fmla="*/ 1006692 h 6557032"/>
              <a:gd name="connsiteX21988" fmla="*/ 1071439 w 4610101"/>
              <a:gd name="connsiteY21988" fmla="*/ 1008515 h 6557032"/>
              <a:gd name="connsiteX21989" fmla="*/ 1071439 w 4610101"/>
              <a:gd name="connsiteY21989" fmla="*/ 1004870 h 6557032"/>
              <a:gd name="connsiteX21990" fmla="*/ 925666 w 4610101"/>
              <a:gd name="connsiteY21990" fmla="*/ 1004870 h 6557032"/>
              <a:gd name="connsiteX21991" fmla="*/ 923843 w 4610101"/>
              <a:gd name="connsiteY21991" fmla="*/ 1017625 h 6557032"/>
              <a:gd name="connsiteX21992" fmla="*/ 925666 w 4610101"/>
              <a:gd name="connsiteY21992" fmla="*/ 1004870 h 6557032"/>
              <a:gd name="connsiteX21993" fmla="*/ 741626 w 4610101"/>
              <a:gd name="connsiteY21993" fmla="*/ 1004870 h 6557032"/>
              <a:gd name="connsiteX21994" fmla="*/ 747091 w 4610101"/>
              <a:gd name="connsiteY21994" fmla="*/ 1006464 h 6557032"/>
              <a:gd name="connsiteX21995" fmla="*/ 747091 w 4610101"/>
              <a:gd name="connsiteY21995" fmla="*/ 1007213 h 6557032"/>
              <a:gd name="connsiteX21996" fmla="*/ 732515 w 4610101"/>
              <a:gd name="connsiteY21996" fmla="*/ 1004870 h 6557032"/>
              <a:gd name="connsiteX21997" fmla="*/ 743569 w 4610101"/>
              <a:gd name="connsiteY21997" fmla="*/ 1011187 h 6557032"/>
              <a:gd name="connsiteX21998" fmla="*/ 741626 w 4610101"/>
              <a:gd name="connsiteY21998" fmla="*/ 1012159 h 6557032"/>
              <a:gd name="connsiteX21999" fmla="*/ 734115 w 4610101"/>
              <a:gd name="connsiteY21999" fmla="*/ 1008744 h 6557032"/>
              <a:gd name="connsiteX22000" fmla="*/ 521142 w 4610101"/>
              <a:gd name="connsiteY22000" fmla="*/ 1004870 h 6557032"/>
              <a:gd name="connsiteX22001" fmla="*/ 522964 w 4610101"/>
              <a:gd name="connsiteY22001" fmla="*/ 1008515 h 6557032"/>
              <a:gd name="connsiteX22002" fmla="*/ 522594 w 4610101"/>
              <a:gd name="connsiteY22002" fmla="*/ 1014009 h 6557032"/>
              <a:gd name="connsiteX22003" fmla="*/ 523021 w 4610101"/>
              <a:gd name="connsiteY22003" fmla="*/ 1014440 h 6557032"/>
              <a:gd name="connsiteX22004" fmla="*/ 524786 w 4610101"/>
              <a:gd name="connsiteY22004" fmla="*/ 1028559 h 6557032"/>
              <a:gd name="connsiteX22005" fmla="*/ 532075 w 4610101"/>
              <a:gd name="connsiteY22005" fmla="*/ 1030381 h 6557032"/>
              <a:gd name="connsiteX22006" fmla="*/ 532075 w 4610101"/>
              <a:gd name="connsiteY22006" fmla="*/ 1024914 h 6557032"/>
              <a:gd name="connsiteX22007" fmla="*/ 539105 w 4610101"/>
              <a:gd name="connsiteY22007" fmla="*/ 1026671 h 6557032"/>
              <a:gd name="connsiteX22008" fmla="*/ 548475 w 4610101"/>
              <a:gd name="connsiteY22008" fmla="*/ 1032203 h 6557032"/>
              <a:gd name="connsiteX22009" fmla="*/ 552119 w 4610101"/>
              <a:gd name="connsiteY22009" fmla="*/ 1028559 h 6557032"/>
              <a:gd name="connsiteX22010" fmla="*/ 544830 w 4610101"/>
              <a:gd name="connsiteY22010" fmla="*/ 1024914 h 6557032"/>
              <a:gd name="connsiteX22011" fmla="*/ 546653 w 4610101"/>
              <a:gd name="connsiteY22011" fmla="*/ 1024914 h 6557032"/>
              <a:gd name="connsiteX22012" fmla="*/ 521142 w 4610101"/>
              <a:gd name="connsiteY22012" fmla="*/ 1004870 h 6557032"/>
              <a:gd name="connsiteX22013" fmla="*/ 3106807 w 4610101"/>
              <a:gd name="connsiteY22013" fmla="*/ 1003047 h 6557032"/>
              <a:gd name="connsiteX22014" fmla="*/ 3123206 w 4610101"/>
              <a:gd name="connsiteY22014" fmla="*/ 1026736 h 6557032"/>
              <a:gd name="connsiteX22015" fmla="*/ 3145073 w 4610101"/>
              <a:gd name="connsiteY22015" fmla="*/ 1028559 h 6557032"/>
              <a:gd name="connsiteX22016" fmla="*/ 3141428 w 4610101"/>
              <a:gd name="connsiteY22016" fmla="*/ 1012159 h 6557032"/>
              <a:gd name="connsiteX22017" fmla="*/ 3134140 w 4610101"/>
              <a:gd name="connsiteY22017" fmla="*/ 1021270 h 6557032"/>
              <a:gd name="connsiteX22018" fmla="*/ 3134140 w 4610101"/>
              <a:gd name="connsiteY22018" fmla="*/ 1010337 h 6557032"/>
              <a:gd name="connsiteX22019" fmla="*/ 3106807 w 4610101"/>
              <a:gd name="connsiteY22019" fmla="*/ 1003047 h 6557032"/>
              <a:gd name="connsiteX22020" fmla="*/ 1175303 w 4610101"/>
              <a:gd name="connsiteY22020" fmla="*/ 1003047 h 6557032"/>
              <a:gd name="connsiteX22021" fmla="*/ 1180769 w 4610101"/>
              <a:gd name="connsiteY22021" fmla="*/ 1003047 h 6557032"/>
              <a:gd name="connsiteX22022" fmla="*/ 1178947 w 4610101"/>
              <a:gd name="connsiteY22022" fmla="*/ 1006645 h 6557032"/>
              <a:gd name="connsiteX22023" fmla="*/ 1178947 w 4610101"/>
              <a:gd name="connsiteY22023" fmla="*/ 1004870 h 6557032"/>
              <a:gd name="connsiteX22024" fmla="*/ 1175303 w 4610101"/>
              <a:gd name="connsiteY22024" fmla="*/ 1003047 h 6557032"/>
              <a:gd name="connsiteX22025" fmla="*/ 1111526 w 4610101"/>
              <a:gd name="connsiteY22025" fmla="*/ 1003047 h 6557032"/>
              <a:gd name="connsiteX22026" fmla="*/ 1113349 w 4610101"/>
              <a:gd name="connsiteY22026" fmla="*/ 1010337 h 6557032"/>
              <a:gd name="connsiteX22027" fmla="*/ 1107882 w 4610101"/>
              <a:gd name="connsiteY22027" fmla="*/ 1004870 h 6557032"/>
              <a:gd name="connsiteX22028" fmla="*/ 1122459 w 4610101"/>
              <a:gd name="connsiteY22028" fmla="*/ 1026736 h 6557032"/>
              <a:gd name="connsiteX22029" fmla="*/ 1126104 w 4610101"/>
              <a:gd name="connsiteY22029" fmla="*/ 1035847 h 6557032"/>
              <a:gd name="connsiteX22030" fmla="*/ 1126104 w 4610101"/>
              <a:gd name="connsiteY22030" fmla="*/ 1028559 h 6557032"/>
              <a:gd name="connsiteX22031" fmla="*/ 1124282 w 4610101"/>
              <a:gd name="connsiteY22031" fmla="*/ 1019448 h 6557032"/>
              <a:gd name="connsiteX22032" fmla="*/ 1127926 w 4610101"/>
              <a:gd name="connsiteY22032" fmla="*/ 1017625 h 6557032"/>
              <a:gd name="connsiteX22033" fmla="*/ 1126104 w 4610101"/>
              <a:gd name="connsiteY22033" fmla="*/ 1004870 h 6557032"/>
              <a:gd name="connsiteX22034" fmla="*/ 1111526 w 4610101"/>
              <a:gd name="connsiteY22034" fmla="*/ 1003047 h 6557032"/>
              <a:gd name="connsiteX22035" fmla="*/ 1045929 w 4610101"/>
              <a:gd name="connsiteY22035" fmla="*/ 1003047 h 6557032"/>
              <a:gd name="connsiteX22036" fmla="*/ 1034995 w 4610101"/>
              <a:gd name="connsiteY22036" fmla="*/ 1008515 h 6557032"/>
              <a:gd name="connsiteX22037" fmla="*/ 1036818 w 4610101"/>
              <a:gd name="connsiteY22037" fmla="*/ 1012159 h 6557032"/>
              <a:gd name="connsiteX22038" fmla="*/ 1045929 w 4610101"/>
              <a:gd name="connsiteY22038" fmla="*/ 1003047 h 6557032"/>
              <a:gd name="connsiteX22039" fmla="*/ 1018596 w 4610101"/>
              <a:gd name="connsiteY22039" fmla="*/ 1003047 h 6557032"/>
              <a:gd name="connsiteX22040" fmla="*/ 1016774 w 4610101"/>
              <a:gd name="connsiteY22040" fmla="*/ 1006692 h 6557032"/>
              <a:gd name="connsiteX22041" fmla="*/ 1016774 w 4610101"/>
              <a:gd name="connsiteY22041" fmla="*/ 1008515 h 6557032"/>
              <a:gd name="connsiteX22042" fmla="*/ 1018596 w 4610101"/>
              <a:gd name="connsiteY22042" fmla="*/ 1003047 h 6557032"/>
              <a:gd name="connsiteX22043" fmla="*/ 699715 w 4610101"/>
              <a:gd name="connsiteY22043" fmla="*/ 1003047 h 6557032"/>
              <a:gd name="connsiteX22044" fmla="*/ 701537 w 4610101"/>
              <a:gd name="connsiteY22044" fmla="*/ 1006692 h 6557032"/>
              <a:gd name="connsiteX22045" fmla="*/ 699715 w 4610101"/>
              <a:gd name="connsiteY22045" fmla="*/ 1003047 h 6557032"/>
              <a:gd name="connsiteX22046" fmla="*/ 635939 w 4610101"/>
              <a:gd name="connsiteY22046" fmla="*/ 1003047 h 6557032"/>
              <a:gd name="connsiteX22047" fmla="*/ 639583 w 4610101"/>
              <a:gd name="connsiteY22047" fmla="*/ 1008515 h 6557032"/>
              <a:gd name="connsiteX22048" fmla="*/ 635939 w 4610101"/>
              <a:gd name="connsiteY22048" fmla="*/ 1003047 h 6557032"/>
              <a:gd name="connsiteX22049" fmla="*/ 169462 w 4610101"/>
              <a:gd name="connsiteY22049" fmla="*/ 1003047 h 6557032"/>
              <a:gd name="connsiteX22050" fmla="*/ 187684 w 4610101"/>
              <a:gd name="connsiteY22050" fmla="*/ 1013981 h 6557032"/>
              <a:gd name="connsiteX22051" fmla="*/ 169462 w 4610101"/>
              <a:gd name="connsiteY22051" fmla="*/ 1003047 h 6557032"/>
              <a:gd name="connsiteX22052" fmla="*/ 3361911 w 4610101"/>
              <a:gd name="connsiteY22052" fmla="*/ 1001226 h 6557032"/>
              <a:gd name="connsiteX22053" fmla="*/ 3356445 w 4610101"/>
              <a:gd name="connsiteY22053" fmla="*/ 1006692 h 6557032"/>
              <a:gd name="connsiteX22054" fmla="*/ 3361911 w 4610101"/>
              <a:gd name="connsiteY22054" fmla="*/ 1001226 h 6557032"/>
              <a:gd name="connsiteX22055" fmla="*/ 3341867 w 4610101"/>
              <a:gd name="connsiteY22055" fmla="*/ 1001226 h 6557032"/>
              <a:gd name="connsiteX22056" fmla="*/ 3342146 w 4610101"/>
              <a:gd name="connsiteY22056" fmla="*/ 1001756 h 6557032"/>
              <a:gd name="connsiteX22057" fmla="*/ 3341585 w 4610101"/>
              <a:gd name="connsiteY22057" fmla="*/ 1001789 h 6557032"/>
              <a:gd name="connsiteX22058" fmla="*/ 506565 w 4610101"/>
              <a:gd name="connsiteY22058" fmla="*/ 1001226 h 6557032"/>
              <a:gd name="connsiteX22059" fmla="*/ 510209 w 4610101"/>
              <a:gd name="connsiteY22059" fmla="*/ 1010337 h 6557032"/>
              <a:gd name="connsiteX22060" fmla="*/ 506565 w 4610101"/>
              <a:gd name="connsiteY22060" fmla="*/ 1001226 h 6557032"/>
              <a:gd name="connsiteX22061" fmla="*/ 318882 w 4610101"/>
              <a:gd name="connsiteY22061" fmla="*/ 1001226 h 6557032"/>
              <a:gd name="connsiteX22062" fmla="*/ 322525 w 4610101"/>
              <a:gd name="connsiteY22062" fmla="*/ 1004870 h 6557032"/>
              <a:gd name="connsiteX22063" fmla="*/ 318882 w 4610101"/>
              <a:gd name="connsiteY22063" fmla="*/ 1001226 h 6557032"/>
              <a:gd name="connsiteX22064" fmla="*/ 229594 w 4610101"/>
              <a:gd name="connsiteY22064" fmla="*/ 1001226 h 6557032"/>
              <a:gd name="connsiteX22065" fmla="*/ 244172 w 4610101"/>
              <a:gd name="connsiteY22065" fmla="*/ 1010337 h 6557032"/>
              <a:gd name="connsiteX22066" fmla="*/ 240528 w 4610101"/>
              <a:gd name="connsiteY22066" fmla="*/ 1006693 h 6557032"/>
              <a:gd name="connsiteX22067" fmla="*/ 247816 w 4610101"/>
              <a:gd name="connsiteY22067" fmla="*/ 1010337 h 6557032"/>
              <a:gd name="connsiteX22068" fmla="*/ 240527 w 4610101"/>
              <a:gd name="connsiteY22068" fmla="*/ 1006692 h 6557032"/>
              <a:gd name="connsiteX22069" fmla="*/ 240528 w 4610101"/>
              <a:gd name="connsiteY22069" fmla="*/ 1006693 h 6557032"/>
              <a:gd name="connsiteX22070" fmla="*/ 1259469 w 4610101"/>
              <a:gd name="connsiteY22070" fmla="*/ 1000186 h 6557032"/>
              <a:gd name="connsiteX22071" fmla="*/ 1259123 w 4610101"/>
              <a:gd name="connsiteY22071" fmla="*/ 1001226 h 6557032"/>
              <a:gd name="connsiteX22072" fmla="*/ 1259123 w 4610101"/>
              <a:gd name="connsiteY22072" fmla="*/ 1000369 h 6557032"/>
              <a:gd name="connsiteX22073" fmla="*/ 1259123 w 4610101"/>
              <a:gd name="connsiteY22073" fmla="*/ 999847 h 6557032"/>
              <a:gd name="connsiteX22074" fmla="*/ 1259123 w 4610101"/>
              <a:gd name="connsiteY22074" fmla="*/ 1000369 h 6557032"/>
              <a:gd name="connsiteX22075" fmla="*/ 1257324 w 4610101"/>
              <a:gd name="connsiteY22075" fmla="*/ 1001323 h 6557032"/>
              <a:gd name="connsiteX22076" fmla="*/ 1258895 w 4610101"/>
              <a:gd name="connsiteY22076" fmla="*/ 1000086 h 6557032"/>
              <a:gd name="connsiteX22077" fmla="*/ 3454842 w 4610101"/>
              <a:gd name="connsiteY22077" fmla="*/ 999403 h 6557032"/>
              <a:gd name="connsiteX22078" fmla="*/ 3458487 w 4610101"/>
              <a:gd name="connsiteY22078" fmla="*/ 1006692 h 6557032"/>
              <a:gd name="connsiteX22079" fmla="*/ 3454842 w 4610101"/>
              <a:gd name="connsiteY22079" fmla="*/ 999403 h 6557032"/>
              <a:gd name="connsiteX22080" fmla="*/ 1160725 w 4610101"/>
              <a:gd name="connsiteY22080" fmla="*/ 999403 h 6557032"/>
              <a:gd name="connsiteX22081" fmla="*/ 1159604 w 4610101"/>
              <a:gd name="connsiteY22081" fmla="*/ 999964 h 6557032"/>
              <a:gd name="connsiteX22082" fmla="*/ 1159458 w 4610101"/>
              <a:gd name="connsiteY22082" fmla="*/ 999720 h 6557032"/>
              <a:gd name="connsiteX22083" fmla="*/ 1049573 w 4610101"/>
              <a:gd name="connsiteY22083" fmla="*/ 999403 h 6557032"/>
              <a:gd name="connsiteX22084" fmla="*/ 1042284 w 4610101"/>
              <a:gd name="connsiteY22084" fmla="*/ 1008515 h 6557032"/>
              <a:gd name="connsiteX22085" fmla="*/ 1060506 w 4610101"/>
              <a:gd name="connsiteY22085" fmla="*/ 1004870 h 6557032"/>
              <a:gd name="connsiteX22086" fmla="*/ 1049573 w 4610101"/>
              <a:gd name="connsiteY22086" fmla="*/ 999403 h 6557032"/>
              <a:gd name="connsiteX22087" fmla="*/ 952997 w 4610101"/>
              <a:gd name="connsiteY22087" fmla="*/ 999403 h 6557032"/>
              <a:gd name="connsiteX22088" fmla="*/ 962108 w 4610101"/>
              <a:gd name="connsiteY22088" fmla="*/ 1010337 h 6557032"/>
              <a:gd name="connsiteX22089" fmla="*/ 952997 w 4610101"/>
              <a:gd name="connsiteY22089" fmla="*/ 999403 h 6557032"/>
              <a:gd name="connsiteX22090" fmla="*/ 878288 w 4610101"/>
              <a:gd name="connsiteY22090" fmla="*/ 999403 h 6557032"/>
              <a:gd name="connsiteX22091" fmla="*/ 869177 w 4610101"/>
              <a:gd name="connsiteY22091" fmla="*/ 1003047 h 6557032"/>
              <a:gd name="connsiteX22092" fmla="*/ 881933 w 4610101"/>
              <a:gd name="connsiteY22092" fmla="*/ 1010337 h 6557032"/>
              <a:gd name="connsiteX22093" fmla="*/ 883755 w 4610101"/>
              <a:gd name="connsiteY22093" fmla="*/ 1015803 h 6557032"/>
              <a:gd name="connsiteX22094" fmla="*/ 881933 w 4610101"/>
              <a:gd name="connsiteY22094" fmla="*/ 1010337 h 6557032"/>
              <a:gd name="connsiteX22095" fmla="*/ 881933 w 4610101"/>
              <a:gd name="connsiteY22095" fmla="*/ 1010337 h 6557032"/>
              <a:gd name="connsiteX22096" fmla="*/ 526609 w 4610101"/>
              <a:gd name="connsiteY22096" fmla="*/ 999403 h 6557032"/>
              <a:gd name="connsiteX22097" fmla="*/ 531814 w 4610101"/>
              <a:gd name="connsiteY22097" fmla="*/ 1007778 h 6557032"/>
              <a:gd name="connsiteX22098" fmla="*/ 530253 w 4610101"/>
              <a:gd name="connsiteY22098" fmla="*/ 1006692 h 6557032"/>
              <a:gd name="connsiteX22099" fmla="*/ 539364 w 4610101"/>
              <a:gd name="connsiteY22099" fmla="*/ 1013981 h 6557032"/>
              <a:gd name="connsiteX22100" fmla="*/ 535492 w 4610101"/>
              <a:gd name="connsiteY22100" fmla="*/ 1010336 h 6557032"/>
              <a:gd name="connsiteX22101" fmla="*/ 531976 w 4610101"/>
              <a:gd name="connsiteY22101" fmla="*/ 1007891 h 6557032"/>
              <a:gd name="connsiteX22102" fmla="*/ 541186 w 4610101"/>
              <a:gd name="connsiteY22102" fmla="*/ 1012159 h 6557032"/>
              <a:gd name="connsiteX22103" fmla="*/ 526609 w 4610101"/>
              <a:gd name="connsiteY22103" fmla="*/ 999403 h 6557032"/>
              <a:gd name="connsiteX22104" fmla="*/ 491987 w 4610101"/>
              <a:gd name="connsiteY22104" fmla="*/ 999403 h 6557032"/>
              <a:gd name="connsiteX22105" fmla="*/ 512031 w 4610101"/>
              <a:gd name="connsiteY22105" fmla="*/ 1023092 h 6557032"/>
              <a:gd name="connsiteX22106" fmla="*/ 491987 w 4610101"/>
              <a:gd name="connsiteY22106" fmla="*/ 999403 h 6557032"/>
              <a:gd name="connsiteX22107" fmla="*/ 408167 w 4610101"/>
              <a:gd name="connsiteY22107" fmla="*/ 999403 h 6557032"/>
              <a:gd name="connsiteX22108" fmla="*/ 426389 w 4610101"/>
              <a:gd name="connsiteY22108" fmla="*/ 1021270 h 6557032"/>
              <a:gd name="connsiteX22109" fmla="*/ 448256 w 4610101"/>
              <a:gd name="connsiteY22109" fmla="*/ 1044958 h 6557032"/>
              <a:gd name="connsiteX22110" fmla="*/ 439145 w 4610101"/>
              <a:gd name="connsiteY22110" fmla="*/ 1030381 h 6557032"/>
              <a:gd name="connsiteX22111" fmla="*/ 470121 w 4610101"/>
              <a:gd name="connsiteY22111" fmla="*/ 1057713 h 6557032"/>
              <a:gd name="connsiteX22112" fmla="*/ 457367 w 4610101"/>
              <a:gd name="connsiteY22112" fmla="*/ 1048602 h 6557032"/>
              <a:gd name="connsiteX22113" fmla="*/ 470121 w 4610101"/>
              <a:gd name="connsiteY22113" fmla="*/ 1054069 h 6557032"/>
              <a:gd name="connsiteX22114" fmla="*/ 430034 w 4610101"/>
              <a:gd name="connsiteY22114" fmla="*/ 1023092 h 6557032"/>
              <a:gd name="connsiteX22115" fmla="*/ 426389 w 4610101"/>
              <a:gd name="connsiteY22115" fmla="*/ 1021270 h 6557032"/>
              <a:gd name="connsiteX22116" fmla="*/ 408167 w 4610101"/>
              <a:gd name="connsiteY22116" fmla="*/ 999403 h 6557032"/>
              <a:gd name="connsiteX22117" fmla="*/ 306126 w 4610101"/>
              <a:gd name="connsiteY22117" fmla="*/ 999403 h 6557032"/>
              <a:gd name="connsiteX22118" fmla="*/ 309771 w 4610101"/>
              <a:gd name="connsiteY22118" fmla="*/ 1004870 h 6557032"/>
              <a:gd name="connsiteX22119" fmla="*/ 306126 w 4610101"/>
              <a:gd name="connsiteY22119" fmla="*/ 999403 h 6557032"/>
              <a:gd name="connsiteX22120" fmla="*/ 245994 w 4610101"/>
              <a:gd name="connsiteY22120" fmla="*/ 999403 h 6557032"/>
              <a:gd name="connsiteX22121" fmla="*/ 251460 w 4610101"/>
              <a:gd name="connsiteY22121" fmla="*/ 1004870 h 6557032"/>
              <a:gd name="connsiteX22122" fmla="*/ 245994 w 4610101"/>
              <a:gd name="connsiteY22122" fmla="*/ 999403 h 6557032"/>
              <a:gd name="connsiteX22123" fmla="*/ 180396 w 4610101"/>
              <a:gd name="connsiteY22123" fmla="*/ 999403 h 6557032"/>
              <a:gd name="connsiteX22124" fmla="*/ 182218 w 4610101"/>
              <a:gd name="connsiteY22124" fmla="*/ 1001226 h 6557032"/>
              <a:gd name="connsiteX22125" fmla="*/ 181771 w 4610101"/>
              <a:gd name="connsiteY22125" fmla="*/ 1001053 h 6557032"/>
              <a:gd name="connsiteX22126" fmla="*/ 1260074 w 4610101"/>
              <a:gd name="connsiteY22126" fmla="*/ 998849 h 6557032"/>
              <a:gd name="connsiteX22127" fmla="*/ 1260945 w 4610101"/>
              <a:gd name="connsiteY22127" fmla="*/ 999403 h 6557032"/>
              <a:gd name="connsiteX22128" fmla="*/ 1259469 w 4610101"/>
              <a:gd name="connsiteY22128" fmla="*/ 1000186 h 6557032"/>
              <a:gd name="connsiteX22129" fmla="*/ 1259830 w 4610101"/>
              <a:gd name="connsiteY22129" fmla="*/ 999107 h 6557032"/>
              <a:gd name="connsiteX22130" fmla="*/ 1259123 w 4610101"/>
              <a:gd name="connsiteY22130" fmla="*/ 998244 h 6557032"/>
              <a:gd name="connsiteX22131" fmla="*/ 1259943 w 4610101"/>
              <a:gd name="connsiteY22131" fmla="*/ 998766 h 6557032"/>
              <a:gd name="connsiteX22132" fmla="*/ 1259830 w 4610101"/>
              <a:gd name="connsiteY22132" fmla="*/ 999107 h 6557032"/>
              <a:gd name="connsiteX22133" fmla="*/ 1259123 w 4610101"/>
              <a:gd name="connsiteY22133" fmla="*/ 999847 h 6557032"/>
              <a:gd name="connsiteX22134" fmla="*/ 3090407 w 4610101"/>
              <a:gd name="connsiteY22134" fmla="*/ 997582 h 6557032"/>
              <a:gd name="connsiteX22135" fmla="*/ 3090407 w 4610101"/>
              <a:gd name="connsiteY22135" fmla="*/ 999403 h 6557032"/>
              <a:gd name="connsiteX22136" fmla="*/ 3090407 w 4610101"/>
              <a:gd name="connsiteY22136" fmla="*/ 1001226 h 6557032"/>
              <a:gd name="connsiteX22137" fmla="*/ 3097696 w 4610101"/>
              <a:gd name="connsiteY22137" fmla="*/ 1012159 h 6557032"/>
              <a:gd name="connsiteX22138" fmla="*/ 3090407 w 4610101"/>
              <a:gd name="connsiteY22138" fmla="*/ 1004870 h 6557032"/>
              <a:gd name="connsiteX22139" fmla="*/ 3077652 w 4610101"/>
              <a:gd name="connsiteY22139" fmla="*/ 1008515 h 6557032"/>
              <a:gd name="connsiteX22140" fmla="*/ 3090407 w 4610101"/>
              <a:gd name="connsiteY22140" fmla="*/ 1026736 h 6557032"/>
              <a:gd name="connsiteX22141" fmla="*/ 3099518 w 4610101"/>
              <a:gd name="connsiteY22141" fmla="*/ 1019448 h 6557032"/>
              <a:gd name="connsiteX22142" fmla="*/ 3101340 w 4610101"/>
              <a:gd name="connsiteY22142" fmla="*/ 1028559 h 6557032"/>
              <a:gd name="connsiteX22143" fmla="*/ 3097696 w 4610101"/>
              <a:gd name="connsiteY22143" fmla="*/ 997582 h 6557032"/>
              <a:gd name="connsiteX22144" fmla="*/ 3090407 w 4610101"/>
              <a:gd name="connsiteY22144" fmla="*/ 997582 h 6557032"/>
              <a:gd name="connsiteX22145" fmla="*/ 3030276 w 4610101"/>
              <a:gd name="connsiteY22145" fmla="*/ 997582 h 6557032"/>
              <a:gd name="connsiteX22146" fmla="*/ 3026631 w 4610101"/>
              <a:gd name="connsiteY22146" fmla="*/ 1003047 h 6557032"/>
              <a:gd name="connsiteX22147" fmla="*/ 3030276 w 4610101"/>
              <a:gd name="connsiteY22147" fmla="*/ 997582 h 6557032"/>
              <a:gd name="connsiteX22148" fmla="*/ 2886324 w 4610101"/>
              <a:gd name="connsiteY22148" fmla="*/ 997582 h 6557032"/>
              <a:gd name="connsiteX22149" fmla="*/ 2853525 w 4610101"/>
              <a:gd name="connsiteY22149" fmla="*/ 1041314 h 6557032"/>
              <a:gd name="connsiteX22150" fmla="*/ 2855347 w 4610101"/>
              <a:gd name="connsiteY22150" fmla="*/ 1048602 h 6557032"/>
              <a:gd name="connsiteX22151" fmla="*/ 2869924 w 4610101"/>
              <a:gd name="connsiteY22151" fmla="*/ 1039492 h 6557032"/>
              <a:gd name="connsiteX22152" fmla="*/ 2862636 w 4610101"/>
              <a:gd name="connsiteY22152" fmla="*/ 1032203 h 6557032"/>
              <a:gd name="connsiteX22153" fmla="*/ 2868102 w 4610101"/>
              <a:gd name="connsiteY22153" fmla="*/ 1028559 h 6557032"/>
              <a:gd name="connsiteX22154" fmla="*/ 2873569 w 4610101"/>
              <a:gd name="connsiteY22154" fmla="*/ 1032203 h 6557032"/>
              <a:gd name="connsiteX22155" fmla="*/ 2884502 w 4610101"/>
              <a:gd name="connsiteY22155" fmla="*/ 1019448 h 6557032"/>
              <a:gd name="connsiteX22156" fmla="*/ 2877213 w 4610101"/>
              <a:gd name="connsiteY22156" fmla="*/ 1017625 h 6557032"/>
              <a:gd name="connsiteX22157" fmla="*/ 2873569 w 4610101"/>
              <a:gd name="connsiteY22157" fmla="*/ 1008515 h 6557032"/>
              <a:gd name="connsiteX22158" fmla="*/ 2889968 w 4610101"/>
              <a:gd name="connsiteY22158" fmla="*/ 1017625 h 6557032"/>
              <a:gd name="connsiteX22159" fmla="*/ 2884502 w 4610101"/>
              <a:gd name="connsiteY22159" fmla="*/ 1008515 h 6557032"/>
              <a:gd name="connsiteX22160" fmla="*/ 2886324 w 4610101"/>
              <a:gd name="connsiteY22160" fmla="*/ 997582 h 6557032"/>
              <a:gd name="connsiteX22161" fmla="*/ 1258082 w 4610101"/>
              <a:gd name="connsiteY22161" fmla="*/ 997582 h 6557032"/>
              <a:gd name="connsiteX22162" fmla="*/ 1259123 w 4610101"/>
              <a:gd name="connsiteY22162" fmla="*/ 997582 h 6557032"/>
              <a:gd name="connsiteX22163" fmla="*/ 1259123 w 4610101"/>
              <a:gd name="connsiteY22163" fmla="*/ 998244 h 6557032"/>
              <a:gd name="connsiteX22164" fmla="*/ 993085 w 4610101"/>
              <a:gd name="connsiteY22164" fmla="*/ 997582 h 6557032"/>
              <a:gd name="connsiteX22165" fmla="*/ 987619 w 4610101"/>
              <a:gd name="connsiteY22165" fmla="*/ 1008515 h 6557032"/>
              <a:gd name="connsiteX22166" fmla="*/ 991263 w 4610101"/>
              <a:gd name="connsiteY22166" fmla="*/ 1012159 h 6557032"/>
              <a:gd name="connsiteX22167" fmla="*/ 993085 w 4610101"/>
              <a:gd name="connsiteY22167" fmla="*/ 997582 h 6557032"/>
              <a:gd name="connsiteX22168" fmla="*/ 708826 w 4610101"/>
              <a:gd name="connsiteY22168" fmla="*/ 997582 h 6557032"/>
              <a:gd name="connsiteX22169" fmla="*/ 712470 w 4610101"/>
              <a:gd name="connsiteY22169" fmla="*/ 1004870 h 6557032"/>
              <a:gd name="connsiteX22170" fmla="*/ 717937 w 4610101"/>
              <a:gd name="connsiteY22170" fmla="*/ 1012159 h 6557032"/>
              <a:gd name="connsiteX22171" fmla="*/ 716115 w 4610101"/>
              <a:gd name="connsiteY22171" fmla="*/ 1004870 h 6557032"/>
              <a:gd name="connsiteX22172" fmla="*/ 712470 w 4610101"/>
              <a:gd name="connsiteY22172" fmla="*/ 1004870 h 6557032"/>
              <a:gd name="connsiteX22173" fmla="*/ 716115 w 4610101"/>
              <a:gd name="connsiteY22173" fmla="*/ 1001226 h 6557032"/>
              <a:gd name="connsiteX22174" fmla="*/ 708826 w 4610101"/>
              <a:gd name="connsiteY22174" fmla="*/ 997582 h 6557032"/>
              <a:gd name="connsiteX22175" fmla="*/ 548475 w 4610101"/>
              <a:gd name="connsiteY22175" fmla="*/ 997582 h 6557032"/>
              <a:gd name="connsiteX22176" fmla="*/ 566697 w 4610101"/>
              <a:gd name="connsiteY22176" fmla="*/ 1013981 h 6557032"/>
              <a:gd name="connsiteX22177" fmla="*/ 548475 w 4610101"/>
              <a:gd name="connsiteY22177" fmla="*/ 997582 h 6557032"/>
              <a:gd name="connsiteX22178" fmla="*/ 2274985 w 4610101"/>
              <a:gd name="connsiteY22178" fmla="*/ 997581 h 6557032"/>
              <a:gd name="connsiteX22179" fmla="*/ 2274986 w 4610101"/>
              <a:gd name="connsiteY22179" fmla="*/ 997582 h 6557032"/>
              <a:gd name="connsiteX22180" fmla="*/ 2274984 w 4610101"/>
              <a:gd name="connsiteY22180" fmla="*/ 997582 h 6557032"/>
              <a:gd name="connsiteX22181" fmla="*/ 182050 w 4610101"/>
              <a:gd name="connsiteY22181" fmla="*/ 996916 h 6557032"/>
              <a:gd name="connsiteX22182" fmla="*/ 185862 w 4610101"/>
              <a:gd name="connsiteY22182" fmla="*/ 1001681 h 6557032"/>
              <a:gd name="connsiteX22183" fmla="*/ 186364 w 4610101"/>
              <a:gd name="connsiteY22183" fmla="*/ 1002874 h 6557032"/>
              <a:gd name="connsiteX22184" fmla="*/ 1255333 w 4610101"/>
              <a:gd name="connsiteY22184" fmla="*/ 995832 h 6557032"/>
              <a:gd name="connsiteX22185" fmla="*/ 1258082 w 4610101"/>
              <a:gd name="connsiteY22185" fmla="*/ 997582 h 6557032"/>
              <a:gd name="connsiteX22186" fmla="*/ 1251834 w 4610101"/>
              <a:gd name="connsiteY22186" fmla="*/ 997582 h 6557032"/>
              <a:gd name="connsiteX22187" fmla="*/ 787179 w 4610101"/>
              <a:gd name="connsiteY22187" fmla="*/ 995808 h 6557032"/>
              <a:gd name="connsiteX22188" fmla="*/ 787179 w 4610101"/>
              <a:gd name="connsiteY22188" fmla="*/ 1017675 h 6557032"/>
              <a:gd name="connsiteX22189" fmla="*/ 781712 w 4610101"/>
              <a:gd name="connsiteY22189" fmla="*/ 1004919 h 6557032"/>
              <a:gd name="connsiteX22190" fmla="*/ 787179 w 4610101"/>
              <a:gd name="connsiteY22190" fmla="*/ 995808 h 6557032"/>
              <a:gd name="connsiteX22191" fmla="*/ 3241648 w 4610101"/>
              <a:gd name="connsiteY22191" fmla="*/ 995759 h 6557032"/>
              <a:gd name="connsiteX22192" fmla="*/ 3241648 w 4610101"/>
              <a:gd name="connsiteY22192" fmla="*/ 1001226 h 6557032"/>
              <a:gd name="connsiteX22193" fmla="*/ 3241648 w 4610101"/>
              <a:gd name="connsiteY22193" fmla="*/ 995759 h 6557032"/>
              <a:gd name="connsiteX22194" fmla="*/ 3130495 w 4610101"/>
              <a:gd name="connsiteY22194" fmla="*/ 995759 h 6557032"/>
              <a:gd name="connsiteX22195" fmla="*/ 3130495 w 4610101"/>
              <a:gd name="connsiteY22195" fmla="*/ 1004870 h 6557032"/>
              <a:gd name="connsiteX22196" fmla="*/ 3130495 w 4610101"/>
              <a:gd name="connsiteY22196" fmla="*/ 995759 h 6557032"/>
              <a:gd name="connsiteX22197" fmla="*/ 1025884 w 4610101"/>
              <a:gd name="connsiteY22197" fmla="*/ 995759 h 6557032"/>
              <a:gd name="connsiteX22198" fmla="*/ 1024062 w 4610101"/>
              <a:gd name="connsiteY22198" fmla="*/ 1010337 h 6557032"/>
              <a:gd name="connsiteX22199" fmla="*/ 1031351 w 4610101"/>
              <a:gd name="connsiteY22199" fmla="*/ 1006692 h 6557032"/>
              <a:gd name="connsiteX22200" fmla="*/ 1025884 w 4610101"/>
              <a:gd name="connsiteY22200" fmla="*/ 995759 h 6557032"/>
              <a:gd name="connsiteX22201" fmla="*/ 236883 w 4610101"/>
              <a:gd name="connsiteY22201" fmla="*/ 995759 h 6557032"/>
              <a:gd name="connsiteX22202" fmla="*/ 244172 w 4610101"/>
              <a:gd name="connsiteY22202" fmla="*/ 1001226 h 6557032"/>
              <a:gd name="connsiteX22203" fmla="*/ 236883 w 4610101"/>
              <a:gd name="connsiteY22203" fmla="*/ 995759 h 6557032"/>
              <a:gd name="connsiteX22204" fmla="*/ 185862 w 4610101"/>
              <a:gd name="connsiteY22204" fmla="*/ 995759 h 6557032"/>
              <a:gd name="connsiteX22205" fmla="*/ 207728 w 4610101"/>
              <a:gd name="connsiteY22205" fmla="*/ 1010337 h 6557032"/>
              <a:gd name="connsiteX22206" fmla="*/ 207728 w 4610101"/>
              <a:gd name="connsiteY22206" fmla="*/ 1008515 h 6557032"/>
              <a:gd name="connsiteX22207" fmla="*/ 216839 w 4610101"/>
              <a:gd name="connsiteY22207" fmla="*/ 1015803 h 6557032"/>
              <a:gd name="connsiteX22208" fmla="*/ 238705 w 4610101"/>
              <a:gd name="connsiteY22208" fmla="*/ 1028559 h 6557032"/>
              <a:gd name="connsiteX22209" fmla="*/ 224128 w 4610101"/>
              <a:gd name="connsiteY22209" fmla="*/ 1015803 h 6557032"/>
              <a:gd name="connsiteX22210" fmla="*/ 216839 w 4610101"/>
              <a:gd name="connsiteY22210" fmla="*/ 1013981 h 6557032"/>
              <a:gd name="connsiteX22211" fmla="*/ 220483 w 4610101"/>
              <a:gd name="connsiteY22211" fmla="*/ 1013981 h 6557032"/>
              <a:gd name="connsiteX22212" fmla="*/ 215017 w 4610101"/>
              <a:gd name="connsiteY22212" fmla="*/ 1008515 h 6557032"/>
              <a:gd name="connsiteX22213" fmla="*/ 185862 w 4610101"/>
              <a:gd name="connsiteY22213" fmla="*/ 995759 h 6557032"/>
              <a:gd name="connsiteX22214" fmla="*/ 1255071 w 4610101"/>
              <a:gd name="connsiteY22214" fmla="*/ 995665 h 6557032"/>
              <a:gd name="connsiteX22215" fmla="*/ 1255478 w 4610101"/>
              <a:gd name="connsiteY22215" fmla="*/ 995759 h 6557032"/>
              <a:gd name="connsiteX22216" fmla="*/ 1255333 w 4610101"/>
              <a:gd name="connsiteY22216" fmla="*/ 995832 h 6557032"/>
              <a:gd name="connsiteX22217" fmla="*/ 2917301 w 4610101"/>
              <a:gd name="connsiteY22217" fmla="*/ 993937 h 6557032"/>
              <a:gd name="connsiteX22218" fmla="*/ 2920945 w 4610101"/>
              <a:gd name="connsiteY22218" fmla="*/ 1012159 h 6557032"/>
              <a:gd name="connsiteX22219" fmla="*/ 2951922 w 4610101"/>
              <a:gd name="connsiteY22219" fmla="*/ 1001226 h 6557032"/>
              <a:gd name="connsiteX22220" fmla="*/ 2917301 w 4610101"/>
              <a:gd name="connsiteY22220" fmla="*/ 993937 h 6557032"/>
              <a:gd name="connsiteX22221" fmla="*/ 2374293 w 4610101"/>
              <a:gd name="connsiteY22221" fmla="*/ 993937 h 6557032"/>
              <a:gd name="connsiteX22222" fmla="*/ 2357893 w 4610101"/>
              <a:gd name="connsiteY22222" fmla="*/ 1006692 h 6557032"/>
              <a:gd name="connsiteX22223" fmla="*/ 2365182 w 4610101"/>
              <a:gd name="connsiteY22223" fmla="*/ 1004870 h 6557032"/>
              <a:gd name="connsiteX22224" fmla="*/ 2367004 w 4610101"/>
              <a:gd name="connsiteY22224" fmla="*/ 1017625 h 6557032"/>
              <a:gd name="connsiteX22225" fmla="*/ 2361538 w 4610101"/>
              <a:gd name="connsiteY22225" fmla="*/ 1008515 h 6557032"/>
              <a:gd name="connsiteX22226" fmla="*/ 2359716 w 4610101"/>
              <a:gd name="connsiteY22226" fmla="*/ 1008515 h 6557032"/>
              <a:gd name="connsiteX22227" fmla="*/ 2361538 w 4610101"/>
              <a:gd name="connsiteY22227" fmla="*/ 1012159 h 6557032"/>
              <a:gd name="connsiteX22228" fmla="*/ 2348782 w 4610101"/>
              <a:gd name="connsiteY22228" fmla="*/ 1012159 h 6557032"/>
              <a:gd name="connsiteX22229" fmla="*/ 2345138 w 4610101"/>
              <a:gd name="connsiteY22229" fmla="*/ 1013981 h 6557032"/>
              <a:gd name="connsiteX22230" fmla="*/ 2341494 w 4610101"/>
              <a:gd name="connsiteY22230" fmla="*/ 1012159 h 6557032"/>
              <a:gd name="connsiteX22231" fmla="*/ 2336027 w 4610101"/>
              <a:gd name="connsiteY22231" fmla="*/ 1012159 h 6557032"/>
              <a:gd name="connsiteX22232" fmla="*/ 2315983 w 4610101"/>
              <a:gd name="connsiteY22232" fmla="*/ 1013981 h 6557032"/>
              <a:gd name="connsiteX22233" fmla="*/ 2328739 w 4610101"/>
              <a:gd name="connsiteY22233" fmla="*/ 1023092 h 6557032"/>
              <a:gd name="connsiteX22234" fmla="*/ 2323272 w 4610101"/>
              <a:gd name="connsiteY22234" fmla="*/ 1052247 h 6557032"/>
              <a:gd name="connsiteX22235" fmla="*/ 2332383 w 4610101"/>
              <a:gd name="connsiteY22235" fmla="*/ 1043136 h 6557032"/>
              <a:gd name="connsiteX22236" fmla="*/ 2332383 w 4610101"/>
              <a:gd name="connsiteY22236" fmla="*/ 1048602 h 6557032"/>
              <a:gd name="connsiteX22237" fmla="*/ 2356071 w 4610101"/>
              <a:gd name="connsiteY22237" fmla="*/ 1039492 h 6557032"/>
              <a:gd name="connsiteX22238" fmla="*/ 2356071 w 4610101"/>
              <a:gd name="connsiteY22238" fmla="*/ 1034025 h 6557032"/>
              <a:gd name="connsiteX22239" fmla="*/ 2352427 w 4610101"/>
              <a:gd name="connsiteY22239" fmla="*/ 1034025 h 6557032"/>
              <a:gd name="connsiteX22240" fmla="*/ 2357893 w 4610101"/>
              <a:gd name="connsiteY22240" fmla="*/ 1024914 h 6557032"/>
              <a:gd name="connsiteX22241" fmla="*/ 2368827 w 4610101"/>
              <a:gd name="connsiteY22241" fmla="*/ 1032203 h 6557032"/>
              <a:gd name="connsiteX22242" fmla="*/ 2365182 w 4610101"/>
              <a:gd name="connsiteY22242" fmla="*/ 1043136 h 6557032"/>
              <a:gd name="connsiteX22243" fmla="*/ 2367004 w 4610101"/>
              <a:gd name="connsiteY22243" fmla="*/ 1035847 h 6557032"/>
              <a:gd name="connsiteX22244" fmla="*/ 2370649 w 4610101"/>
              <a:gd name="connsiteY22244" fmla="*/ 1043136 h 6557032"/>
              <a:gd name="connsiteX22245" fmla="*/ 2381582 w 4610101"/>
              <a:gd name="connsiteY22245" fmla="*/ 1041314 h 6557032"/>
              <a:gd name="connsiteX22246" fmla="*/ 2381582 w 4610101"/>
              <a:gd name="connsiteY22246" fmla="*/ 1035847 h 6557032"/>
              <a:gd name="connsiteX22247" fmla="*/ 2376115 w 4610101"/>
              <a:gd name="connsiteY22247" fmla="*/ 1032203 h 6557032"/>
              <a:gd name="connsiteX22248" fmla="*/ 2381582 w 4610101"/>
              <a:gd name="connsiteY22248" fmla="*/ 1030381 h 6557032"/>
              <a:gd name="connsiteX22249" fmla="*/ 2381582 w 4610101"/>
              <a:gd name="connsiteY22249" fmla="*/ 1021270 h 6557032"/>
              <a:gd name="connsiteX22250" fmla="*/ 2374293 w 4610101"/>
              <a:gd name="connsiteY22250" fmla="*/ 993937 h 6557032"/>
              <a:gd name="connsiteX22251" fmla="*/ 1080549 w 4610101"/>
              <a:gd name="connsiteY22251" fmla="*/ 993937 h 6557032"/>
              <a:gd name="connsiteX22252" fmla="*/ 1082373 w 4610101"/>
              <a:gd name="connsiteY22252" fmla="*/ 1001226 h 6557032"/>
              <a:gd name="connsiteX22253" fmla="*/ 1086016 w 4610101"/>
              <a:gd name="connsiteY22253" fmla="*/ 1001226 h 6557032"/>
              <a:gd name="connsiteX22254" fmla="*/ 1080549 w 4610101"/>
              <a:gd name="connsiteY22254" fmla="*/ 993937 h 6557032"/>
              <a:gd name="connsiteX22255" fmla="*/ 1067794 w 4610101"/>
              <a:gd name="connsiteY22255" fmla="*/ 993937 h 6557032"/>
              <a:gd name="connsiteX22256" fmla="*/ 1058683 w 4610101"/>
              <a:gd name="connsiteY22256" fmla="*/ 997582 h 6557032"/>
              <a:gd name="connsiteX22257" fmla="*/ 1060506 w 4610101"/>
              <a:gd name="connsiteY22257" fmla="*/ 999403 h 6557032"/>
              <a:gd name="connsiteX22258" fmla="*/ 1055040 w 4610101"/>
              <a:gd name="connsiteY22258" fmla="*/ 1001226 h 6557032"/>
              <a:gd name="connsiteX22259" fmla="*/ 1067794 w 4610101"/>
              <a:gd name="connsiteY22259" fmla="*/ 1003047 h 6557032"/>
              <a:gd name="connsiteX22260" fmla="*/ 1071439 w 4610101"/>
              <a:gd name="connsiteY22260" fmla="*/ 999403 h 6557032"/>
              <a:gd name="connsiteX22261" fmla="*/ 1067794 w 4610101"/>
              <a:gd name="connsiteY22261" fmla="*/ 993937 h 6557032"/>
              <a:gd name="connsiteX22262" fmla="*/ 515676 w 4610101"/>
              <a:gd name="connsiteY22262" fmla="*/ 993937 h 6557032"/>
              <a:gd name="connsiteX22263" fmla="*/ 524786 w 4610101"/>
              <a:gd name="connsiteY22263" fmla="*/ 1001226 h 6557032"/>
              <a:gd name="connsiteX22264" fmla="*/ 515676 w 4610101"/>
              <a:gd name="connsiteY22264" fmla="*/ 993937 h 6557032"/>
              <a:gd name="connsiteX22265" fmla="*/ 435500 w 4610101"/>
              <a:gd name="connsiteY22265" fmla="*/ 993937 h 6557032"/>
              <a:gd name="connsiteX22266" fmla="*/ 464655 w 4610101"/>
              <a:gd name="connsiteY22266" fmla="*/ 1035847 h 6557032"/>
              <a:gd name="connsiteX22267" fmla="*/ 464970 w 4610101"/>
              <a:gd name="connsiteY22267" fmla="*/ 1028120 h 6557032"/>
              <a:gd name="connsiteX22268" fmla="*/ 466250 w 4610101"/>
              <a:gd name="connsiteY22268" fmla="*/ 1037670 h 6557032"/>
              <a:gd name="connsiteX22269" fmla="*/ 479232 w 4610101"/>
              <a:gd name="connsiteY22269" fmla="*/ 1057713 h 6557032"/>
              <a:gd name="connsiteX22270" fmla="*/ 473766 w 4610101"/>
              <a:gd name="connsiteY22270" fmla="*/ 1046780 h 6557032"/>
              <a:gd name="connsiteX22271" fmla="*/ 484700 w 4610101"/>
              <a:gd name="connsiteY22271" fmla="*/ 1057713 h 6557032"/>
              <a:gd name="connsiteX22272" fmla="*/ 486521 w 4610101"/>
              <a:gd name="connsiteY22272" fmla="*/ 1054069 h 6557032"/>
              <a:gd name="connsiteX22273" fmla="*/ 496910 w 4610101"/>
              <a:gd name="connsiteY22273" fmla="*/ 1062933 h 6557032"/>
              <a:gd name="connsiteX22274" fmla="*/ 491987 w 4610101"/>
              <a:gd name="connsiteY22274" fmla="*/ 1059535 h 6557032"/>
              <a:gd name="connsiteX22275" fmla="*/ 498137 w 4610101"/>
              <a:gd name="connsiteY22275" fmla="*/ 1070468 h 6557032"/>
              <a:gd name="connsiteX22276" fmla="*/ 508290 w 4610101"/>
              <a:gd name="connsiteY22276" fmla="*/ 1074000 h 6557032"/>
              <a:gd name="connsiteX22277" fmla="*/ 508387 w 4610101"/>
              <a:gd name="connsiteY22277" fmla="*/ 1074113 h 6557032"/>
              <a:gd name="connsiteX22278" fmla="*/ 508669 w 4610101"/>
              <a:gd name="connsiteY22278" fmla="*/ 1074132 h 6557032"/>
              <a:gd name="connsiteX22279" fmla="*/ 513853 w 4610101"/>
              <a:gd name="connsiteY22279" fmla="*/ 1075935 h 6557032"/>
              <a:gd name="connsiteX22280" fmla="*/ 511804 w 4610101"/>
              <a:gd name="connsiteY22280" fmla="*/ 1074341 h 6557032"/>
              <a:gd name="connsiteX22281" fmla="*/ 508669 w 4610101"/>
              <a:gd name="connsiteY22281" fmla="*/ 1074132 h 6557032"/>
              <a:gd name="connsiteX22282" fmla="*/ 508290 w 4610101"/>
              <a:gd name="connsiteY22282" fmla="*/ 1074000 h 6557032"/>
              <a:gd name="connsiteX22283" fmla="*/ 503758 w 4610101"/>
              <a:gd name="connsiteY22283" fmla="*/ 1068713 h 6557032"/>
              <a:gd name="connsiteX22284" fmla="*/ 524786 w 4610101"/>
              <a:gd name="connsiteY22284" fmla="*/ 1077757 h 6557032"/>
              <a:gd name="connsiteX22285" fmla="*/ 519320 w 4610101"/>
              <a:gd name="connsiteY22285" fmla="*/ 1068646 h 6557032"/>
              <a:gd name="connsiteX22286" fmla="*/ 535719 w 4610101"/>
              <a:gd name="connsiteY22286" fmla="*/ 1079579 h 6557032"/>
              <a:gd name="connsiteX22287" fmla="*/ 512031 w 4610101"/>
              <a:gd name="connsiteY22287" fmla="*/ 1054069 h 6557032"/>
              <a:gd name="connsiteX22288" fmla="*/ 512031 w 4610101"/>
              <a:gd name="connsiteY22288" fmla="*/ 1048602 h 6557032"/>
              <a:gd name="connsiteX22289" fmla="*/ 530253 w 4610101"/>
              <a:gd name="connsiteY22289" fmla="*/ 1061358 h 6557032"/>
              <a:gd name="connsiteX22290" fmla="*/ 510209 w 4610101"/>
              <a:gd name="connsiteY22290" fmla="*/ 1035847 h 6557032"/>
              <a:gd name="connsiteX22291" fmla="*/ 533897 w 4610101"/>
              <a:gd name="connsiteY22291" fmla="*/ 1063180 h 6557032"/>
              <a:gd name="connsiteX22292" fmla="*/ 530253 w 4610101"/>
              <a:gd name="connsiteY22292" fmla="*/ 1057713 h 6557032"/>
              <a:gd name="connsiteX22293" fmla="*/ 533897 w 4610101"/>
              <a:gd name="connsiteY22293" fmla="*/ 1057713 h 6557032"/>
              <a:gd name="connsiteX22294" fmla="*/ 435500 w 4610101"/>
              <a:gd name="connsiteY22294" fmla="*/ 993937 h 6557032"/>
              <a:gd name="connsiteX22295" fmla="*/ 289726 w 4610101"/>
              <a:gd name="connsiteY22295" fmla="*/ 993937 h 6557032"/>
              <a:gd name="connsiteX22296" fmla="*/ 306126 w 4610101"/>
              <a:gd name="connsiteY22296" fmla="*/ 1004870 h 6557032"/>
              <a:gd name="connsiteX22297" fmla="*/ 289726 w 4610101"/>
              <a:gd name="connsiteY22297" fmla="*/ 993937 h 6557032"/>
              <a:gd name="connsiteX22298" fmla="*/ 85642 w 4610101"/>
              <a:gd name="connsiteY22298" fmla="*/ 993937 h 6557032"/>
              <a:gd name="connsiteX22299" fmla="*/ 95368 w 4610101"/>
              <a:gd name="connsiteY22299" fmla="*/ 1002238 h 6557032"/>
              <a:gd name="connsiteX22300" fmla="*/ 102042 w 4610101"/>
              <a:gd name="connsiteY22300" fmla="*/ 1010337 h 6557032"/>
              <a:gd name="connsiteX22301" fmla="*/ 94296 w 4610101"/>
              <a:gd name="connsiteY22301" fmla="*/ 1004250 h 6557032"/>
              <a:gd name="connsiteX22302" fmla="*/ 3247114 w 4610101"/>
              <a:gd name="connsiteY22302" fmla="*/ 992115 h 6557032"/>
              <a:gd name="connsiteX22303" fmla="*/ 3252581 w 4610101"/>
              <a:gd name="connsiteY22303" fmla="*/ 1001226 h 6557032"/>
              <a:gd name="connsiteX22304" fmla="*/ 3247114 w 4610101"/>
              <a:gd name="connsiteY22304" fmla="*/ 992115 h 6557032"/>
              <a:gd name="connsiteX22305" fmla="*/ 3101340 w 4610101"/>
              <a:gd name="connsiteY22305" fmla="*/ 992115 h 6557032"/>
              <a:gd name="connsiteX22306" fmla="*/ 3104985 w 4610101"/>
              <a:gd name="connsiteY22306" fmla="*/ 1001226 h 6557032"/>
              <a:gd name="connsiteX22307" fmla="*/ 3115918 w 4610101"/>
              <a:gd name="connsiteY22307" fmla="*/ 999403 h 6557032"/>
              <a:gd name="connsiteX22308" fmla="*/ 3125029 w 4610101"/>
              <a:gd name="connsiteY22308" fmla="*/ 1004870 h 6557032"/>
              <a:gd name="connsiteX22309" fmla="*/ 3125029 w 4610101"/>
              <a:gd name="connsiteY22309" fmla="*/ 997582 h 6557032"/>
              <a:gd name="connsiteX22310" fmla="*/ 3101340 w 4610101"/>
              <a:gd name="connsiteY22310" fmla="*/ 992115 h 6557032"/>
              <a:gd name="connsiteX22311" fmla="*/ 2591132 w 4610101"/>
              <a:gd name="connsiteY22311" fmla="*/ 992115 h 6557032"/>
              <a:gd name="connsiteX22312" fmla="*/ 2605709 w 4610101"/>
              <a:gd name="connsiteY22312" fmla="*/ 1015803 h 6557032"/>
              <a:gd name="connsiteX22313" fmla="*/ 2605709 w 4610101"/>
              <a:gd name="connsiteY22313" fmla="*/ 1019448 h 6557032"/>
              <a:gd name="connsiteX22314" fmla="*/ 2616642 w 4610101"/>
              <a:gd name="connsiteY22314" fmla="*/ 1010337 h 6557032"/>
              <a:gd name="connsiteX22315" fmla="*/ 2591132 w 4610101"/>
              <a:gd name="connsiteY22315" fmla="*/ 992115 h 6557032"/>
              <a:gd name="connsiteX22316" fmla="*/ 1182592 w 4610101"/>
              <a:gd name="connsiteY22316" fmla="*/ 992115 h 6557032"/>
              <a:gd name="connsiteX22317" fmla="*/ 1189880 w 4610101"/>
              <a:gd name="connsiteY22317" fmla="*/ 1001226 h 6557032"/>
              <a:gd name="connsiteX22318" fmla="*/ 1186236 w 4610101"/>
              <a:gd name="connsiteY22318" fmla="*/ 999403 h 6557032"/>
              <a:gd name="connsiteX22319" fmla="*/ 1182592 w 4610101"/>
              <a:gd name="connsiteY22319" fmla="*/ 1001226 h 6557032"/>
              <a:gd name="connsiteX22320" fmla="*/ 1182592 w 4610101"/>
              <a:gd name="connsiteY22320" fmla="*/ 992115 h 6557032"/>
              <a:gd name="connsiteX22321" fmla="*/ 1089660 w 4610101"/>
              <a:gd name="connsiteY22321" fmla="*/ 992115 h 6557032"/>
              <a:gd name="connsiteX22322" fmla="*/ 1086016 w 4610101"/>
              <a:gd name="connsiteY22322" fmla="*/ 997582 h 6557032"/>
              <a:gd name="connsiteX22323" fmla="*/ 1100593 w 4610101"/>
              <a:gd name="connsiteY22323" fmla="*/ 999403 h 6557032"/>
              <a:gd name="connsiteX22324" fmla="*/ 1089660 w 4610101"/>
              <a:gd name="connsiteY22324" fmla="*/ 992115 h 6557032"/>
              <a:gd name="connsiteX22325" fmla="*/ 1073262 w 4610101"/>
              <a:gd name="connsiteY22325" fmla="*/ 992115 h 6557032"/>
              <a:gd name="connsiteX22326" fmla="*/ 1076905 w 4610101"/>
              <a:gd name="connsiteY22326" fmla="*/ 993937 h 6557032"/>
              <a:gd name="connsiteX22327" fmla="*/ 1075083 w 4610101"/>
              <a:gd name="connsiteY22327" fmla="*/ 997582 h 6557032"/>
              <a:gd name="connsiteX22328" fmla="*/ 1078727 w 4610101"/>
              <a:gd name="connsiteY22328" fmla="*/ 999403 h 6557032"/>
              <a:gd name="connsiteX22329" fmla="*/ 1073262 w 4610101"/>
              <a:gd name="connsiteY22329" fmla="*/ 992115 h 6557032"/>
              <a:gd name="connsiteX22330" fmla="*/ 570341 w 4610101"/>
              <a:gd name="connsiteY22330" fmla="*/ 992115 h 6557032"/>
              <a:gd name="connsiteX22331" fmla="*/ 584919 w 4610101"/>
              <a:gd name="connsiteY22331" fmla="*/ 1006692 h 6557032"/>
              <a:gd name="connsiteX22332" fmla="*/ 570341 w 4610101"/>
              <a:gd name="connsiteY22332" fmla="*/ 992115 h 6557032"/>
              <a:gd name="connsiteX22333" fmla="*/ 318882 w 4610101"/>
              <a:gd name="connsiteY22333" fmla="*/ 992115 h 6557032"/>
              <a:gd name="connsiteX22334" fmla="*/ 327993 w 4610101"/>
              <a:gd name="connsiteY22334" fmla="*/ 999403 h 6557032"/>
              <a:gd name="connsiteX22335" fmla="*/ 318882 w 4610101"/>
              <a:gd name="connsiteY22335" fmla="*/ 992115 h 6557032"/>
              <a:gd name="connsiteX22336" fmla="*/ 302481 w 4610101"/>
              <a:gd name="connsiteY22336" fmla="*/ 992115 h 6557032"/>
              <a:gd name="connsiteX22337" fmla="*/ 302481 w 4610101"/>
              <a:gd name="connsiteY22337" fmla="*/ 993937 h 6557032"/>
              <a:gd name="connsiteX22338" fmla="*/ 311592 w 4610101"/>
              <a:gd name="connsiteY22338" fmla="*/ 1001226 h 6557032"/>
              <a:gd name="connsiteX22339" fmla="*/ 302481 w 4610101"/>
              <a:gd name="connsiteY22339" fmla="*/ 992115 h 6557032"/>
              <a:gd name="connsiteX22340" fmla="*/ 914804 w 4610101"/>
              <a:gd name="connsiteY22340" fmla="*/ 992042 h 6557032"/>
              <a:gd name="connsiteX22341" fmla="*/ 915187 w 4610101"/>
              <a:gd name="connsiteY22341" fmla="*/ 992342 h 6557032"/>
              <a:gd name="connsiteX22342" fmla="*/ 915306 w 4610101"/>
              <a:gd name="connsiteY22342" fmla="*/ 992498 h 6557032"/>
              <a:gd name="connsiteX22343" fmla="*/ 914732 w 4610101"/>
              <a:gd name="connsiteY22343" fmla="*/ 992115 h 6557032"/>
              <a:gd name="connsiteX22344" fmla="*/ 3265331 w 4610101"/>
              <a:gd name="connsiteY22344" fmla="*/ 990349 h 6557032"/>
              <a:gd name="connsiteX22345" fmla="*/ 3268753 w 4610101"/>
              <a:gd name="connsiteY22345" fmla="*/ 992115 h 6557032"/>
              <a:gd name="connsiteX22346" fmla="*/ 3268980 w 4610101"/>
              <a:gd name="connsiteY22346" fmla="*/ 1006692 h 6557032"/>
              <a:gd name="connsiteX22347" fmla="*/ 3264425 w 4610101"/>
              <a:gd name="connsiteY22347" fmla="*/ 1000542 h 6557032"/>
              <a:gd name="connsiteX22348" fmla="*/ 3438443 w 4610101"/>
              <a:gd name="connsiteY22348" fmla="*/ 990293 h 6557032"/>
              <a:gd name="connsiteX22349" fmla="*/ 3434798 w 4610101"/>
              <a:gd name="connsiteY22349" fmla="*/ 993937 h 6557032"/>
              <a:gd name="connsiteX22350" fmla="*/ 3427510 w 4610101"/>
              <a:gd name="connsiteY22350" fmla="*/ 997582 h 6557032"/>
              <a:gd name="connsiteX22351" fmla="*/ 3445731 w 4610101"/>
              <a:gd name="connsiteY22351" fmla="*/ 1004870 h 6557032"/>
              <a:gd name="connsiteX22352" fmla="*/ 3438443 w 4610101"/>
              <a:gd name="connsiteY22352" fmla="*/ 990293 h 6557032"/>
              <a:gd name="connsiteX22353" fmla="*/ 3374666 w 4610101"/>
              <a:gd name="connsiteY22353" fmla="*/ 990293 h 6557032"/>
              <a:gd name="connsiteX22354" fmla="*/ 3367378 w 4610101"/>
              <a:gd name="connsiteY22354" fmla="*/ 1006692 h 6557032"/>
              <a:gd name="connsiteX22355" fmla="*/ 3381955 w 4610101"/>
              <a:gd name="connsiteY22355" fmla="*/ 1001226 h 6557032"/>
              <a:gd name="connsiteX22356" fmla="*/ 3378311 w 4610101"/>
              <a:gd name="connsiteY22356" fmla="*/ 1003047 h 6557032"/>
              <a:gd name="connsiteX22357" fmla="*/ 3374666 w 4610101"/>
              <a:gd name="connsiteY22357" fmla="*/ 990293 h 6557032"/>
              <a:gd name="connsiteX22358" fmla="*/ 3265336 w 4610101"/>
              <a:gd name="connsiteY22358" fmla="*/ 990293 h 6557032"/>
              <a:gd name="connsiteX22359" fmla="*/ 3265331 w 4610101"/>
              <a:gd name="connsiteY22359" fmla="*/ 990349 h 6557032"/>
              <a:gd name="connsiteX22360" fmla="*/ 3265267 w 4610101"/>
              <a:gd name="connsiteY22360" fmla="*/ 990316 h 6557032"/>
              <a:gd name="connsiteX22361" fmla="*/ 2931878 w 4610101"/>
              <a:gd name="connsiteY22361" fmla="*/ 990293 h 6557032"/>
              <a:gd name="connsiteX22362" fmla="*/ 2959211 w 4610101"/>
              <a:gd name="connsiteY22362" fmla="*/ 997582 h 6557032"/>
              <a:gd name="connsiteX22363" fmla="*/ 2931878 w 4610101"/>
              <a:gd name="connsiteY22363" fmla="*/ 990293 h 6557032"/>
              <a:gd name="connsiteX22364" fmla="*/ 854600 w 4610101"/>
              <a:gd name="connsiteY22364" fmla="*/ 990293 h 6557032"/>
              <a:gd name="connsiteX22365" fmla="*/ 855055 w 4610101"/>
              <a:gd name="connsiteY22365" fmla="*/ 994165 h 6557032"/>
              <a:gd name="connsiteX22366" fmla="*/ 858243 w 4610101"/>
              <a:gd name="connsiteY22366" fmla="*/ 999403 h 6557032"/>
              <a:gd name="connsiteX22367" fmla="*/ 854600 w 4610101"/>
              <a:gd name="connsiteY22367" fmla="*/ 995759 h 6557032"/>
              <a:gd name="connsiteX22368" fmla="*/ 850956 w 4610101"/>
              <a:gd name="connsiteY22368" fmla="*/ 1001226 h 6557032"/>
              <a:gd name="connsiteX22369" fmla="*/ 852778 w 4610101"/>
              <a:gd name="connsiteY22369" fmla="*/ 1003047 h 6557032"/>
              <a:gd name="connsiteX22370" fmla="*/ 849133 w 4610101"/>
              <a:gd name="connsiteY22370" fmla="*/ 1006692 h 6557032"/>
              <a:gd name="connsiteX22371" fmla="*/ 854600 w 4610101"/>
              <a:gd name="connsiteY22371" fmla="*/ 1006692 h 6557032"/>
              <a:gd name="connsiteX22372" fmla="*/ 852778 w 4610101"/>
              <a:gd name="connsiteY22372" fmla="*/ 1003048 h 6557032"/>
              <a:gd name="connsiteX22373" fmla="*/ 856422 w 4610101"/>
              <a:gd name="connsiteY22373" fmla="*/ 1006692 h 6557032"/>
              <a:gd name="connsiteX22374" fmla="*/ 860066 w 4610101"/>
              <a:gd name="connsiteY22374" fmla="*/ 1001226 h 6557032"/>
              <a:gd name="connsiteX22375" fmla="*/ 858244 w 4610101"/>
              <a:gd name="connsiteY22375" fmla="*/ 999403 h 6557032"/>
              <a:gd name="connsiteX22376" fmla="*/ 859838 w 4610101"/>
              <a:gd name="connsiteY22376" fmla="*/ 993481 h 6557032"/>
              <a:gd name="connsiteX22377" fmla="*/ 854600 w 4610101"/>
              <a:gd name="connsiteY22377" fmla="*/ 990293 h 6557032"/>
              <a:gd name="connsiteX22378" fmla="*/ 340747 w 4610101"/>
              <a:gd name="connsiteY22378" fmla="*/ 990293 h 6557032"/>
              <a:gd name="connsiteX22379" fmla="*/ 348037 w 4610101"/>
              <a:gd name="connsiteY22379" fmla="*/ 1001226 h 6557032"/>
              <a:gd name="connsiteX22380" fmla="*/ 349858 w 4610101"/>
              <a:gd name="connsiteY22380" fmla="*/ 997582 h 6557032"/>
              <a:gd name="connsiteX22381" fmla="*/ 340747 w 4610101"/>
              <a:gd name="connsiteY22381" fmla="*/ 990293 h 6557032"/>
              <a:gd name="connsiteX22382" fmla="*/ 76532 w 4610101"/>
              <a:gd name="connsiteY22382" fmla="*/ 990293 h 6557032"/>
              <a:gd name="connsiteX22383" fmla="*/ 94296 w 4610101"/>
              <a:gd name="connsiteY22383" fmla="*/ 1004250 h 6557032"/>
              <a:gd name="connsiteX22384" fmla="*/ 102270 w 4610101"/>
              <a:gd name="connsiteY22384" fmla="*/ 1013753 h 6557032"/>
              <a:gd name="connsiteX22385" fmla="*/ 104342 w 4610101"/>
              <a:gd name="connsiteY22385" fmla="*/ 1015878 h 6557032"/>
              <a:gd name="connsiteX22386" fmla="*/ 1392161 w 4610101"/>
              <a:gd name="connsiteY22386" fmla="*/ 990006 h 6557032"/>
              <a:gd name="connsiteX22387" fmla="*/ 1392141 w 4610101"/>
              <a:gd name="connsiteY22387" fmla="*/ 990293 h 6557032"/>
              <a:gd name="connsiteX22388" fmla="*/ 1391796 w 4610101"/>
              <a:gd name="connsiteY22388" fmla="*/ 990687 h 6557032"/>
              <a:gd name="connsiteX22389" fmla="*/ 69248 w 4610101"/>
              <a:gd name="connsiteY22389" fmla="*/ 988520 h 6557032"/>
              <a:gd name="connsiteX22390" fmla="*/ 74709 w 4610101"/>
              <a:gd name="connsiteY22390" fmla="*/ 993982 h 6557032"/>
              <a:gd name="connsiteX22391" fmla="*/ 69254 w 4610101"/>
              <a:gd name="connsiteY22391" fmla="*/ 988527 h 6557032"/>
              <a:gd name="connsiteX22392" fmla="*/ 3041209 w 4610101"/>
              <a:gd name="connsiteY22392" fmla="*/ 988471 h 6557032"/>
              <a:gd name="connsiteX22393" fmla="*/ 3035742 w 4610101"/>
              <a:gd name="connsiteY22393" fmla="*/ 997582 h 6557032"/>
              <a:gd name="connsiteX22394" fmla="*/ 3052142 w 4610101"/>
              <a:gd name="connsiteY22394" fmla="*/ 992115 h 6557032"/>
              <a:gd name="connsiteX22395" fmla="*/ 3041209 w 4610101"/>
              <a:gd name="connsiteY22395" fmla="*/ 988471 h 6557032"/>
              <a:gd name="connsiteX22396" fmla="*/ 2576554 w 4610101"/>
              <a:gd name="connsiteY22396" fmla="*/ 988471 h 6557032"/>
              <a:gd name="connsiteX22397" fmla="*/ 2554688 w 4610101"/>
              <a:gd name="connsiteY22397" fmla="*/ 993937 h 6557032"/>
              <a:gd name="connsiteX22398" fmla="*/ 2558332 w 4610101"/>
              <a:gd name="connsiteY22398" fmla="*/ 1003047 h 6557032"/>
              <a:gd name="connsiteX22399" fmla="*/ 2534644 w 4610101"/>
              <a:gd name="connsiteY22399" fmla="*/ 999403 h 6557032"/>
              <a:gd name="connsiteX22400" fmla="*/ 2532822 w 4610101"/>
              <a:gd name="connsiteY22400" fmla="*/ 1010337 h 6557032"/>
              <a:gd name="connsiteX22401" fmla="*/ 2525534 w 4610101"/>
              <a:gd name="connsiteY22401" fmla="*/ 1003047 h 6557032"/>
              <a:gd name="connsiteX22402" fmla="*/ 2525534 w 4610101"/>
              <a:gd name="connsiteY22402" fmla="*/ 1019448 h 6557032"/>
              <a:gd name="connsiteX22403" fmla="*/ 2516423 w 4610101"/>
              <a:gd name="connsiteY22403" fmla="*/ 1023092 h 6557032"/>
              <a:gd name="connsiteX22404" fmla="*/ 2514600 w 4610101"/>
              <a:gd name="connsiteY22404" fmla="*/ 1013981 h 6557032"/>
              <a:gd name="connsiteX22405" fmla="*/ 2494556 w 4610101"/>
              <a:gd name="connsiteY22405" fmla="*/ 1024914 h 6557032"/>
              <a:gd name="connsiteX22406" fmla="*/ 2498201 w 4610101"/>
              <a:gd name="connsiteY22406" fmla="*/ 1034025 h 6557032"/>
              <a:gd name="connsiteX22407" fmla="*/ 2505490 w 4610101"/>
              <a:gd name="connsiteY22407" fmla="*/ 1023092 h 6557032"/>
              <a:gd name="connsiteX22408" fmla="*/ 2503667 w 4610101"/>
              <a:gd name="connsiteY22408" fmla="*/ 1041314 h 6557032"/>
              <a:gd name="connsiteX22409" fmla="*/ 2534644 w 4610101"/>
              <a:gd name="connsiteY22409" fmla="*/ 1085046 h 6557032"/>
              <a:gd name="connsiteX22410" fmla="*/ 2532822 w 4610101"/>
              <a:gd name="connsiteY22410" fmla="*/ 1090512 h 6557032"/>
              <a:gd name="connsiteX22411" fmla="*/ 2541933 w 4610101"/>
              <a:gd name="connsiteY22411" fmla="*/ 1079579 h 6557032"/>
              <a:gd name="connsiteX22412" fmla="*/ 2549222 w 4610101"/>
              <a:gd name="connsiteY22412" fmla="*/ 1090512 h 6557032"/>
              <a:gd name="connsiteX22413" fmla="*/ 2566781 w 4610101"/>
              <a:gd name="connsiteY22413" fmla="*/ 1085093 h 6557032"/>
              <a:gd name="connsiteX22414" fmla="*/ 2561322 w 4610101"/>
              <a:gd name="connsiteY22414" fmla="*/ 1091252 h 6557032"/>
              <a:gd name="connsiteX22415" fmla="*/ 2543755 w 4610101"/>
              <a:gd name="connsiteY22415" fmla="*/ 1094157 h 6557032"/>
              <a:gd name="connsiteX22416" fmla="*/ 2540111 w 4610101"/>
              <a:gd name="connsiteY22416" fmla="*/ 1101445 h 6557032"/>
              <a:gd name="connsiteX22417" fmla="*/ 2541933 w 4610101"/>
              <a:gd name="connsiteY22417" fmla="*/ 1117845 h 6557032"/>
              <a:gd name="connsiteX22418" fmla="*/ 2545577 w 4610101"/>
              <a:gd name="connsiteY22418" fmla="*/ 1123312 h 6557032"/>
              <a:gd name="connsiteX22419" fmla="*/ 2554688 w 4610101"/>
              <a:gd name="connsiteY22419" fmla="*/ 1117845 h 6557032"/>
              <a:gd name="connsiteX22420" fmla="*/ 2551044 w 4610101"/>
              <a:gd name="connsiteY22420" fmla="*/ 1103268 h 6557032"/>
              <a:gd name="connsiteX22421" fmla="*/ 2558332 w 4610101"/>
              <a:gd name="connsiteY22421" fmla="*/ 1110556 h 6557032"/>
              <a:gd name="connsiteX22422" fmla="*/ 2560155 w 4610101"/>
              <a:gd name="connsiteY22422" fmla="*/ 1106912 h 6557032"/>
              <a:gd name="connsiteX22423" fmla="*/ 2565621 w 4610101"/>
              <a:gd name="connsiteY22423" fmla="*/ 1106912 h 6557032"/>
              <a:gd name="connsiteX22424" fmla="*/ 2585665 w 4610101"/>
              <a:gd name="connsiteY22424" fmla="*/ 1081402 h 6557032"/>
              <a:gd name="connsiteX22425" fmla="*/ 2616642 w 4610101"/>
              <a:gd name="connsiteY22425" fmla="*/ 1055891 h 6557032"/>
              <a:gd name="connsiteX22426" fmla="*/ 2614820 w 4610101"/>
              <a:gd name="connsiteY22426" fmla="*/ 1050425 h 6557032"/>
              <a:gd name="connsiteX22427" fmla="*/ 2605709 w 4610101"/>
              <a:gd name="connsiteY22427" fmla="*/ 1059535 h 6557032"/>
              <a:gd name="connsiteX22428" fmla="*/ 2600243 w 4610101"/>
              <a:gd name="connsiteY22428" fmla="*/ 1052247 h 6557032"/>
              <a:gd name="connsiteX22429" fmla="*/ 2585665 w 4610101"/>
              <a:gd name="connsiteY22429" fmla="*/ 1055891 h 6557032"/>
              <a:gd name="connsiteX22430" fmla="*/ 2570860 w 4610101"/>
              <a:gd name="connsiteY22430" fmla="*/ 1080490 h 6557032"/>
              <a:gd name="connsiteX22431" fmla="*/ 2568485 w 4610101"/>
              <a:gd name="connsiteY22431" fmla="*/ 1083171 h 6557032"/>
              <a:gd name="connsiteX22432" fmla="*/ 2576554 w 4610101"/>
              <a:gd name="connsiteY22432" fmla="*/ 1066824 h 6557032"/>
              <a:gd name="connsiteX22433" fmla="*/ 2567443 w 4610101"/>
              <a:gd name="connsiteY22433" fmla="*/ 1055891 h 6557032"/>
              <a:gd name="connsiteX22434" fmla="*/ 2578377 w 4610101"/>
              <a:gd name="connsiteY22434" fmla="*/ 1057713 h 6557032"/>
              <a:gd name="connsiteX22435" fmla="*/ 2580199 w 4610101"/>
              <a:gd name="connsiteY22435" fmla="*/ 1030381 h 6557032"/>
              <a:gd name="connsiteX22436" fmla="*/ 2574732 w 4610101"/>
              <a:gd name="connsiteY22436" fmla="*/ 1028559 h 6557032"/>
              <a:gd name="connsiteX22437" fmla="*/ 2576554 w 4610101"/>
              <a:gd name="connsiteY22437" fmla="*/ 1013981 h 6557032"/>
              <a:gd name="connsiteX22438" fmla="*/ 2585665 w 4610101"/>
              <a:gd name="connsiteY22438" fmla="*/ 1021270 h 6557032"/>
              <a:gd name="connsiteX22439" fmla="*/ 2587487 w 4610101"/>
              <a:gd name="connsiteY22439" fmla="*/ 990293 h 6557032"/>
              <a:gd name="connsiteX22440" fmla="*/ 2582021 w 4610101"/>
              <a:gd name="connsiteY22440" fmla="*/ 988471 h 6557032"/>
              <a:gd name="connsiteX22441" fmla="*/ 2578377 w 4610101"/>
              <a:gd name="connsiteY22441" fmla="*/ 990293 h 6557032"/>
              <a:gd name="connsiteX22442" fmla="*/ 2578377 w 4610101"/>
              <a:gd name="connsiteY22442" fmla="*/ 997582 h 6557032"/>
              <a:gd name="connsiteX22443" fmla="*/ 2576554 w 4610101"/>
              <a:gd name="connsiteY22443" fmla="*/ 988471 h 6557032"/>
              <a:gd name="connsiteX22444" fmla="*/ 1264589 w 4610101"/>
              <a:gd name="connsiteY22444" fmla="*/ 988471 h 6557032"/>
              <a:gd name="connsiteX22445" fmla="*/ 1268233 w 4610101"/>
              <a:gd name="connsiteY22445" fmla="*/ 990293 h 6557032"/>
              <a:gd name="connsiteX22446" fmla="*/ 1260074 w 4610101"/>
              <a:gd name="connsiteY22446" fmla="*/ 998849 h 6557032"/>
              <a:gd name="connsiteX22447" fmla="*/ 1259943 w 4610101"/>
              <a:gd name="connsiteY22447" fmla="*/ 998766 h 6557032"/>
              <a:gd name="connsiteX22448" fmla="*/ 1260261 w 4610101"/>
              <a:gd name="connsiteY22448" fmla="*/ 997809 h 6557032"/>
              <a:gd name="connsiteX22449" fmla="*/ 1257300 w 4610101"/>
              <a:gd name="connsiteY22449" fmla="*/ 995759 h 6557032"/>
              <a:gd name="connsiteX22450" fmla="*/ 1264589 w 4610101"/>
              <a:gd name="connsiteY22450" fmla="*/ 988471 h 6557032"/>
              <a:gd name="connsiteX22451" fmla="*/ 1058683 w 4610101"/>
              <a:gd name="connsiteY22451" fmla="*/ 988471 h 6557032"/>
              <a:gd name="connsiteX22452" fmla="*/ 1055040 w 4610101"/>
              <a:gd name="connsiteY22452" fmla="*/ 992115 h 6557032"/>
              <a:gd name="connsiteX22453" fmla="*/ 1058683 w 4610101"/>
              <a:gd name="connsiteY22453" fmla="*/ 988471 h 6557032"/>
              <a:gd name="connsiteX22454" fmla="*/ 900154 w 4610101"/>
              <a:gd name="connsiteY22454" fmla="*/ 988471 h 6557032"/>
              <a:gd name="connsiteX22455" fmla="*/ 881933 w 4610101"/>
              <a:gd name="connsiteY22455" fmla="*/ 1001226 h 6557032"/>
              <a:gd name="connsiteX22456" fmla="*/ 887399 w 4610101"/>
              <a:gd name="connsiteY22456" fmla="*/ 1013981 h 6557032"/>
              <a:gd name="connsiteX22457" fmla="*/ 889222 w 4610101"/>
              <a:gd name="connsiteY22457" fmla="*/ 1010337 h 6557032"/>
              <a:gd name="connsiteX22458" fmla="*/ 887399 w 4610101"/>
              <a:gd name="connsiteY22458" fmla="*/ 1019448 h 6557032"/>
              <a:gd name="connsiteX22459" fmla="*/ 898333 w 4610101"/>
              <a:gd name="connsiteY22459" fmla="*/ 1028559 h 6557032"/>
              <a:gd name="connsiteX22460" fmla="*/ 900154 w 4610101"/>
              <a:gd name="connsiteY22460" fmla="*/ 1023092 h 6557032"/>
              <a:gd name="connsiteX22461" fmla="*/ 901976 w 4610101"/>
              <a:gd name="connsiteY22461" fmla="*/ 1026736 h 6557032"/>
              <a:gd name="connsiteX22462" fmla="*/ 905621 w 4610101"/>
              <a:gd name="connsiteY22462" fmla="*/ 1017625 h 6557032"/>
              <a:gd name="connsiteX22463" fmla="*/ 901976 w 4610101"/>
              <a:gd name="connsiteY22463" fmla="*/ 1015803 h 6557032"/>
              <a:gd name="connsiteX22464" fmla="*/ 900154 w 4610101"/>
              <a:gd name="connsiteY22464" fmla="*/ 1010337 h 6557032"/>
              <a:gd name="connsiteX22465" fmla="*/ 903799 w 4610101"/>
              <a:gd name="connsiteY22465" fmla="*/ 1015803 h 6557032"/>
              <a:gd name="connsiteX22466" fmla="*/ 905621 w 4610101"/>
              <a:gd name="connsiteY22466" fmla="*/ 1010337 h 6557032"/>
              <a:gd name="connsiteX22467" fmla="*/ 907444 w 4610101"/>
              <a:gd name="connsiteY22467" fmla="*/ 1015803 h 6557032"/>
              <a:gd name="connsiteX22468" fmla="*/ 911087 w 4610101"/>
              <a:gd name="connsiteY22468" fmla="*/ 1019448 h 6557032"/>
              <a:gd name="connsiteX22469" fmla="*/ 911475 w 4610101"/>
              <a:gd name="connsiteY22469" fmla="*/ 1013827 h 6557032"/>
              <a:gd name="connsiteX22470" fmla="*/ 912909 w 4610101"/>
              <a:gd name="connsiteY22470" fmla="*/ 1026736 h 6557032"/>
              <a:gd name="connsiteX22471" fmla="*/ 918376 w 4610101"/>
              <a:gd name="connsiteY22471" fmla="*/ 1017625 h 6557032"/>
              <a:gd name="connsiteX22472" fmla="*/ 912909 w 4610101"/>
              <a:gd name="connsiteY22472" fmla="*/ 1006692 h 6557032"/>
              <a:gd name="connsiteX22473" fmla="*/ 912909 w 4610101"/>
              <a:gd name="connsiteY22473" fmla="*/ 1012159 h 6557032"/>
              <a:gd name="connsiteX22474" fmla="*/ 911087 w 4610101"/>
              <a:gd name="connsiteY22474" fmla="*/ 1010337 h 6557032"/>
              <a:gd name="connsiteX22475" fmla="*/ 911253 w 4610101"/>
              <a:gd name="connsiteY22475" fmla="*/ 1011825 h 6557032"/>
              <a:gd name="connsiteX22476" fmla="*/ 909720 w 4610101"/>
              <a:gd name="connsiteY22476" fmla="*/ 1006464 h 6557032"/>
              <a:gd name="connsiteX22477" fmla="*/ 912909 w 4610101"/>
              <a:gd name="connsiteY22477" fmla="*/ 1004870 h 6557032"/>
              <a:gd name="connsiteX22478" fmla="*/ 911087 w 4610101"/>
              <a:gd name="connsiteY22478" fmla="*/ 997582 h 6557032"/>
              <a:gd name="connsiteX22479" fmla="*/ 909479 w 4610101"/>
              <a:gd name="connsiteY22479" fmla="*/ 1005620 h 6557032"/>
              <a:gd name="connsiteX22480" fmla="*/ 909265 w 4610101"/>
              <a:gd name="connsiteY22480" fmla="*/ 1004870 h 6557032"/>
              <a:gd name="connsiteX22481" fmla="*/ 905621 w 4610101"/>
              <a:gd name="connsiteY22481" fmla="*/ 1006692 h 6557032"/>
              <a:gd name="connsiteX22482" fmla="*/ 900154 w 4610101"/>
              <a:gd name="connsiteY22482" fmla="*/ 988471 h 6557032"/>
              <a:gd name="connsiteX22483" fmla="*/ 708826 w 4610101"/>
              <a:gd name="connsiteY22483" fmla="*/ 988471 h 6557032"/>
              <a:gd name="connsiteX22484" fmla="*/ 705182 w 4610101"/>
              <a:gd name="connsiteY22484" fmla="*/ 992115 h 6557032"/>
              <a:gd name="connsiteX22485" fmla="*/ 712470 w 4610101"/>
              <a:gd name="connsiteY22485" fmla="*/ 995759 h 6557032"/>
              <a:gd name="connsiteX22486" fmla="*/ 708826 w 4610101"/>
              <a:gd name="connsiteY22486" fmla="*/ 988471 h 6557032"/>
              <a:gd name="connsiteX22487" fmla="*/ 685138 w 4610101"/>
              <a:gd name="connsiteY22487" fmla="*/ 988471 h 6557032"/>
              <a:gd name="connsiteX22488" fmla="*/ 692426 w 4610101"/>
              <a:gd name="connsiteY22488" fmla="*/ 990293 h 6557032"/>
              <a:gd name="connsiteX22489" fmla="*/ 685138 w 4610101"/>
              <a:gd name="connsiteY22489" fmla="*/ 988471 h 6557032"/>
              <a:gd name="connsiteX22490" fmla="*/ 395412 w 4610101"/>
              <a:gd name="connsiteY22490" fmla="*/ 988471 h 6557032"/>
              <a:gd name="connsiteX22491" fmla="*/ 380835 w 4610101"/>
              <a:gd name="connsiteY22491" fmla="*/ 999403 h 6557032"/>
              <a:gd name="connsiteX22492" fmla="*/ 399056 w 4610101"/>
              <a:gd name="connsiteY22492" fmla="*/ 1013981 h 6557032"/>
              <a:gd name="connsiteX22493" fmla="*/ 397234 w 4610101"/>
              <a:gd name="connsiteY22493" fmla="*/ 1010337 h 6557032"/>
              <a:gd name="connsiteX22494" fmla="*/ 426389 w 4610101"/>
              <a:gd name="connsiteY22494" fmla="*/ 1030381 h 6557032"/>
              <a:gd name="connsiteX22495" fmla="*/ 395412 w 4610101"/>
              <a:gd name="connsiteY22495" fmla="*/ 988471 h 6557032"/>
              <a:gd name="connsiteX22496" fmla="*/ 377190 w 4610101"/>
              <a:gd name="connsiteY22496" fmla="*/ 988471 h 6557032"/>
              <a:gd name="connsiteX22497" fmla="*/ 380835 w 4610101"/>
              <a:gd name="connsiteY22497" fmla="*/ 990293 h 6557032"/>
              <a:gd name="connsiteX22498" fmla="*/ 377190 w 4610101"/>
              <a:gd name="connsiteY22498" fmla="*/ 988471 h 6557032"/>
              <a:gd name="connsiteX22499" fmla="*/ 371724 w 4610101"/>
              <a:gd name="connsiteY22499" fmla="*/ 988471 h 6557032"/>
              <a:gd name="connsiteX22500" fmla="*/ 368079 w 4610101"/>
              <a:gd name="connsiteY22500" fmla="*/ 990293 h 6557032"/>
              <a:gd name="connsiteX22501" fmla="*/ 375368 w 4610101"/>
              <a:gd name="connsiteY22501" fmla="*/ 993937 h 6557032"/>
              <a:gd name="connsiteX22502" fmla="*/ 371724 w 4610101"/>
              <a:gd name="connsiteY22502" fmla="*/ 988471 h 6557032"/>
              <a:gd name="connsiteX22503" fmla="*/ 287904 w 4610101"/>
              <a:gd name="connsiteY22503" fmla="*/ 988471 h 6557032"/>
              <a:gd name="connsiteX22504" fmla="*/ 291549 w 4610101"/>
              <a:gd name="connsiteY22504" fmla="*/ 990293 h 6557032"/>
              <a:gd name="connsiteX22505" fmla="*/ 287904 w 4610101"/>
              <a:gd name="connsiteY22505" fmla="*/ 988471 h 6557032"/>
              <a:gd name="connsiteX22506" fmla="*/ 251460 w 4610101"/>
              <a:gd name="connsiteY22506" fmla="*/ 988471 h 6557032"/>
              <a:gd name="connsiteX22507" fmla="*/ 278793 w 4610101"/>
              <a:gd name="connsiteY22507" fmla="*/ 1019448 h 6557032"/>
              <a:gd name="connsiteX22508" fmla="*/ 276971 w 4610101"/>
              <a:gd name="connsiteY22508" fmla="*/ 1013981 h 6557032"/>
              <a:gd name="connsiteX22509" fmla="*/ 273327 w 4610101"/>
              <a:gd name="connsiteY22509" fmla="*/ 1010337 h 6557032"/>
              <a:gd name="connsiteX22510" fmla="*/ 251460 w 4610101"/>
              <a:gd name="connsiteY22510" fmla="*/ 988471 h 6557032"/>
              <a:gd name="connsiteX22511" fmla="*/ 240527 w 4610101"/>
              <a:gd name="connsiteY22511" fmla="*/ 988471 h 6557032"/>
              <a:gd name="connsiteX22512" fmla="*/ 247816 w 4610101"/>
              <a:gd name="connsiteY22512" fmla="*/ 997582 h 6557032"/>
              <a:gd name="connsiteX22513" fmla="*/ 240527 w 4610101"/>
              <a:gd name="connsiteY22513" fmla="*/ 988471 h 6557032"/>
              <a:gd name="connsiteX22514" fmla="*/ 2295682 w 4610101"/>
              <a:gd name="connsiteY22514" fmla="*/ 987133 h 6557032"/>
              <a:gd name="connsiteX22515" fmla="*/ 2288439 w 4610101"/>
              <a:gd name="connsiteY22515" fmla="*/ 994190 h 6557032"/>
              <a:gd name="connsiteX22516" fmla="*/ 2291157 w 4610101"/>
              <a:gd name="connsiteY22516" fmla="*/ 989609 h 6557032"/>
              <a:gd name="connsiteX22517" fmla="*/ 3070363 w 4610101"/>
              <a:gd name="connsiteY22517" fmla="*/ 986649 h 6557032"/>
              <a:gd name="connsiteX22518" fmla="*/ 3075830 w 4610101"/>
              <a:gd name="connsiteY22518" fmla="*/ 990293 h 6557032"/>
              <a:gd name="connsiteX22519" fmla="*/ 3075830 w 4610101"/>
              <a:gd name="connsiteY22519" fmla="*/ 986649 h 6557032"/>
              <a:gd name="connsiteX22520" fmla="*/ 3070363 w 4610101"/>
              <a:gd name="connsiteY22520" fmla="*/ 986649 h 6557032"/>
              <a:gd name="connsiteX22521" fmla="*/ 3052142 w 4610101"/>
              <a:gd name="connsiteY22521" fmla="*/ 986649 h 6557032"/>
              <a:gd name="connsiteX22522" fmla="*/ 3057608 w 4610101"/>
              <a:gd name="connsiteY22522" fmla="*/ 1003047 h 6557032"/>
              <a:gd name="connsiteX22523" fmla="*/ 3066719 w 4610101"/>
              <a:gd name="connsiteY22523" fmla="*/ 1006692 h 6557032"/>
              <a:gd name="connsiteX22524" fmla="*/ 3052142 w 4610101"/>
              <a:gd name="connsiteY22524" fmla="*/ 986649 h 6557032"/>
              <a:gd name="connsiteX22525" fmla="*/ 2592954 w 4610101"/>
              <a:gd name="connsiteY22525" fmla="*/ 986649 h 6557032"/>
              <a:gd name="connsiteX22526" fmla="*/ 2609353 w 4610101"/>
              <a:gd name="connsiteY22526" fmla="*/ 999403 h 6557032"/>
              <a:gd name="connsiteX22527" fmla="*/ 2592954 w 4610101"/>
              <a:gd name="connsiteY22527" fmla="*/ 986649 h 6557032"/>
              <a:gd name="connsiteX22528" fmla="*/ 1393963 w 4610101"/>
              <a:gd name="connsiteY22528" fmla="*/ 986649 h 6557032"/>
              <a:gd name="connsiteX22529" fmla="*/ 1392161 w 4610101"/>
              <a:gd name="connsiteY22529" fmla="*/ 990006 h 6557032"/>
              <a:gd name="connsiteX22530" fmla="*/ 1392369 w 4610101"/>
              <a:gd name="connsiteY22530" fmla="*/ 987104 h 6557032"/>
              <a:gd name="connsiteX22531" fmla="*/ 1393963 w 4610101"/>
              <a:gd name="connsiteY22531" fmla="*/ 986649 h 6557032"/>
              <a:gd name="connsiteX22532" fmla="*/ 1240901 w 4610101"/>
              <a:gd name="connsiteY22532" fmla="*/ 986649 h 6557032"/>
              <a:gd name="connsiteX22533" fmla="*/ 1255071 w 4610101"/>
              <a:gd name="connsiteY22533" fmla="*/ 995665 h 6557032"/>
              <a:gd name="connsiteX22534" fmla="*/ 1247507 w 4610101"/>
              <a:gd name="connsiteY22534" fmla="*/ 993937 h 6557032"/>
              <a:gd name="connsiteX22535" fmla="*/ 1240901 w 4610101"/>
              <a:gd name="connsiteY22535" fmla="*/ 986649 h 6557032"/>
              <a:gd name="connsiteX22536" fmla="*/ 355324 w 4610101"/>
              <a:gd name="connsiteY22536" fmla="*/ 986649 h 6557032"/>
              <a:gd name="connsiteX22537" fmla="*/ 362613 w 4610101"/>
              <a:gd name="connsiteY22537" fmla="*/ 992115 h 6557032"/>
              <a:gd name="connsiteX22538" fmla="*/ 358969 w 4610101"/>
              <a:gd name="connsiteY22538" fmla="*/ 986649 h 6557032"/>
              <a:gd name="connsiteX22539" fmla="*/ 355324 w 4610101"/>
              <a:gd name="connsiteY22539" fmla="*/ 986649 h 6557032"/>
              <a:gd name="connsiteX22540" fmla="*/ 244172 w 4610101"/>
              <a:gd name="connsiteY22540" fmla="*/ 986649 h 6557032"/>
              <a:gd name="connsiteX22541" fmla="*/ 249638 w 4610101"/>
              <a:gd name="connsiteY22541" fmla="*/ 988471 h 6557032"/>
              <a:gd name="connsiteX22542" fmla="*/ 244172 w 4610101"/>
              <a:gd name="connsiteY22542" fmla="*/ 986649 h 6557032"/>
              <a:gd name="connsiteX22543" fmla="*/ 191329 w 4610101"/>
              <a:gd name="connsiteY22543" fmla="*/ 986649 h 6557032"/>
              <a:gd name="connsiteX22544" fmla="*/ 196795 w 4610101"/>
              <a:gd name="connsiteY22544" fmla="*/ 990293 h 6557032"/>
              <a:gd name="connsiteX22545" fmla="*/ 191329 w 4610101"/>
              <a:gd name="connsiteY22545" fmla="*/ 986649 h 6557032"/>
              <a:gd name="connsiteX22546" fmla="*/ 3102252 w 4610101"/>
              <a:gd name="connsiteY22546" fmla="*/ 985965 h 6557032"/>
              <a:gd name="connsiteX22547" fmla="*/ 3095874 w 4610101"/>
              <a:gd name="connsiteY22547" fmla="*/ 988471 h 6557032"/>
              <a:gd name="connsiteX22548" fmla="*/ 3108629 w 4610101"/>
              <a:gd name="connsiteY22548" fmla="*/ 990293 h 6557032"/>
              <a:gd name="connsiteX22549" fmla="*/ 3102252 w 4610101"/>
              <a:gd name="connsiteY22549" fmla="*/ 985965 h 6557032"/>
              <a:gd name="connsiteX22550" fmla="*/ 3150539 w 4610101"/>
              <a:gd name="connsiteY22550" fmla="*/ 984826 h 6557032"/>
              <a:gd name="connsiteX22551" fmla="*/ 3154184 w 4610101"/>
              <a:gd name="connsiteY22551" fmla="*/ 993937 h 6557032"/>
              <a:gd name="connsiteX22552" fmla="*/ 3146895 w 4610101"/>
              <a:gd name="connsiteY22552" fmla="*/ 992115 h 6557032"/>
              <a:gd name="connsiteX22553" fmla="*/ 3150312 w 4610101"/>
              <a:gd name="connsiteY22553" fmla="*/ 997354 h 6557032"/>
              <a:gd name="connsiteX22554" fmla="*/ 3157547 w 4610101"/>
              <a:gd name="connsiteY22554" fmla="*/ 1001081 h 6557032"/>
              <a:gd name="connsiteX22555" fmla="*/ 3157640 w 4610101"/>
              <a:gd name="connsiteY22555" fmla="*/ 1001430 h 6557032"/>
              <a:gd name="connsiteX22556" fmla="*/ 3149628 w 4610101"/>
              <a:gd name="connsiteY22556" fmla="*/ 1010109 h 6557032"/>
              <a:gd name="connsiteX22557" fmla="*/ 3152361 w 4610101"/>
              <a:gd name="connsiteY22557" fmla="*/ 1023092 h 6557032"/>
              <a:gd name="connsiteX22558" fmla="*/ 3154184 w 4610101"/>
              <a:gd name="connsiteY22558" fmla="*/ 1010337 h 6557032"/>
              <a:gd name="connsiteX22559" fmla="*/ 3157828 w 4610101"/>
              <a:gd name="connsiteY22559" fmla="*/ 1019448 h 6557032"/>
              <a:gd name="connsiteX22560" fmla="*/ 3159650 w 4610101"/>
              <a:gd name="connsiteY22560" fmla="*/ 1012159 h 6557032"/>
              <a:gd name="connsiteX22561" fmla="*/ 3161472 w 4610101"/>
              <a:gd name="connsiteY22561" fmla="*/ 1015803 h 6557032"/>
              <a:gd name="connsiteX22562" fmla="*/ 3157640 w 4610101"/>
              <a:gd name="connsiteY22562" fmla="*/ 1001430 h 6557032"/>
              <a:gd name="connsiteX22563" fmla="*/ 3157828 w 4610101"/>
              <a:gd name="connsiteY22563" fmla="*/ 1001226 h 6557032"/>
              <a:gd name="connsiteX22564" fmla="*/ 3157547 w 4610101"/>
              <a:gd name="connsiteY22564" fmla="*/ 1001081 h 6557032"/>
              <a:gd name="connsiteX22565" fmla="*/ 3154184 w 4610101"/>
              <a:gd name="connsiteY22565" fmla="*/ 988471 h 6557032"/>
              <a:gd name="connsiteX22566" fmla="*/ 3157828 w 4610101"/>
              <a:gd name="connsiteY22566" fmla="*/ 986649 h 6557032"/>
              <a:gd name="connsiteX22567" fmla="*/ 3150539 w 4610101"/>
              <a:gd name="connsiteY22567" fmla="*/ 984826 h 6557032"/>
              <a:gd name="connsiteX22568" fmla="*/ 1082373 w 4610101"/>
              <a:gd name="connsiteY22568" fmla="*/ 984826 h 6557032"/>
              <a:gd name="connsiteX22569" fmla="*/ 1076905 w 4610101"/>
              <a:gd name="connsiteY22569" fmla="*/ 988471 h 6557032"/>
              <a:gd name="connsiteX22570" fmla="*/ 1084194 w 4610101"/>
              <a:gd name="connsiteY22570" fmla="*/ 988471 h 6557032"/>
              <a:gd name="connsiteX22571" fmla="*/ 1082373 w 4610101"/>
              <a:gd name="connsiteY22571" fmla="*/ 984826 h 6557032"/>
              <a:gd name="connsiteX22572" fmla="*/ 1076905 w 4610101"/>
              <a:gd name="connsiteY22572" fmla="*/ 984826 h 6557032"/>
              <a:gd name="connsiteX22573" fmla="*/ 1078727 w 4610101"/>
              <a:gd name="connsiteY22573" fmla="*/ 986649 h 6557032"/>
              <a:gd name="connsiteX22574" fmla="*/ 1080549 w 4610101"/>
              <a:gd name="connsiteY22574" fmla="*/ 984826 h 6557032"/>
              <a:gd name="connsiteX22575" fmla="*/ 1018596 w 4610101"/>
              <a:gd name="connsiteY22575" fmla="*/ 984826 h 6557032"/>
              <a:gd name="connsiteX22576" fmla="*/ 1018596 w 4610101"/>
              <a:gd name="connsiteY22576" fmla="*/ 997582 h 6557032"/>
              <a:gd name="connsiteX22577" fmla="*/ 1018596 w 4610101"/>
              <a:gd name="connsiteY22577" fmla="*/ 984826 h 6557032"/>
              <a:gd name="connsiteX22578" fmla="*/ 901976 w 4610101"/>
              <a:gd name="connsiteY22578" fmla="*/ 984826 h 6557032"/>
              <a:gd name="connsiteX22579" fmla="*/ 909265 w 4610101"/>
              <a:gd name="connsiteY22579" fmla="*/ 993937 h 6557032"/>
              <a:gd name="connsiteX22580" fmla="*/ 905621 w 4610101"/>
              <a:gd name="connsiteY22580" fmla="*/ 993937 h 6557032"/>
              <a:gd name="connsiteX22581" fmla="*/ 907444 w 4610101"/>
              <a:gd name="connsiteY22581" fmla="*/ 1001226 h 6557032"/>
              <a:gd name="connsiteX22582" fmla="*/ 909265 w 4610101"/>
              <a:gd name="connsiteY22582" fmla="*/ 995759 h 6557032"/>
              <a:gd name="connsiteX22583" fmla="*/ 922020 w 4610101"/>
              <a:gd name="connsiteY22583" fmla="*/ 1001226 h 6557032"/>
              <a:gd name="connsiteX22584" fmla="*/ 915306 w 4610101"/>
              <a:gd name="connsiteY22584" fmla="*/ 992498 h 6557032"/>
              <a:gd name="connsiteX22585" fmla="*/ 920198 w 4610101"/>
              <a:gd name="connsiteY22585" fmla="*/ 995759 h 6557032"/>
              <a:gd name="connsiteX22586" fmla="*/ 912909 w 4610101"/>
              <a:gd name="connsiteY22586" fmla="*/ 986649 h 6557032"/>
              <a:gd name="connsiteX22587" fmla="*/ 916555 w 4610101"/>
              <a:gd name="connsiteY22587" fmla="*/ 990293 h 6557032"/>
              <a:gd name="connsiteX22588" fmla="*/ 914804 w 4610101"/>
              <a:gd name="connsiteY22588" fmla="*/ 992042 h 6557032"/>
              <a:gd name="connsiteX22589" fmla="*/ 905621 w 4610101"/>
              <a:gd name="connsiteY22589" fmla="*/ 984826 h 6557032"/>
              <a:gd name="connsiteX22590" fmla="*/ 905621 w 4610101"/>
              <a:gd name="connsiteY22590" fmla="*/ 986649 h 6557032"/>
              <a:gd name="connsiteX22591" fmla="*/ 901976 w 4610101"/>
              <a:gd name="connsiteY22591" fmla="*/ 984826 h 6557032"/>
              <a:gd name="connsiteX22592" fmla="*/ 872822 w 4610101"/>
              <a:gd name="connsiteY22592" fmla="*/ 984826 h 6557032"/>
              <a:gd name="connsiteX22593" fmla="*/ 874644 w 4610101"/>
              <a:gd name="connsiteY22593" fmla="*/ 986649 h 6557032"/>
              <a:gd name="connsiteX22594" fmla="*/ 871000 w 4610101"/>
              <a:gd name="connsiteY22594" fmla="*/ 995759 h 6557032"/>
              <a:gd name="connsiteX22595" fmla="*/ 865533 w 4610101"/>
              <a:gd name="connsiteY22595" fmla="*/ 993937 h 6557032"/>
              <a:gd name="connsiteX22596" fmla="*/ 863711 w 4610101"/>
              <a:gd name="connsiteY22596" fmla="*/ 1003047 h 6557032"/>
              <a:gd name="connsiteX22597" fmla="*/ 892866 w 4610101"/>
              <a:gd name="connsiteY22597" fmla="*/ 986649 h 6557032"/>
              <a:gd name="connsiteX22598" fmla="*/ 872822 w 4610101"/>
              <a:gd name="connsiteY22598" fmla="*/ 984826 h 6557032"/>
              <a:gd name="connsiteX22599" fmla="*/ 677849 w 4610101"/>
              <a:gd name="connsiteY22599" fmla="*/ 984826 h 6557032"/>
              <a:gd name="connsiteX22600" fmla="*/ 679671 w 4610101"/>
              <a:gd name="connsiteY22600" fmla="*/ 986649 h 6557032"/>
              <a:gd name="connsiteX22601" fmla="*/ 677849 w 4610101"/>
              <a:gd name="connsiteY22601" fmla="*/ 988471 h 6557032"/>
              <a:gd name="connsiteX22602" fmla="*/ 544830 w 4610101"/>
              <a:gd name="connsiteY22602" fmla="*/ 984826 h 6557032"/>
              <a:gd name="connsiteX22603" fmla="*/ 557586 w 4610101"/>
              <a:gd name="connsiteY22603" fmla="*/ 997582 h 6557032"/>
              <a:gd name="connsiteX22604" fmla="*/ 544830 w 4610101"/>
              <a:gd name="connsiteY22604" fmla="*/ 984826 h 6557032"/>
              <a:gd name="connsiteX22605" fmla="*/ 404523 w 4610101"/>
              <a:gd name="connsiteY22605" fmla="*/ 984826 h 6557032"/>
              <a:gd name="connsiteX22606" fmla="*/ 399056 w 4610101"/>
              <a:gd name="connsiteY22606" fmla="*/ 988471 h 6557032"/>
              <a:gd name="connsiteX22607" fmla="*/ 457367 w 4610101"/>
              <a:gd name="connsiteY22607" fmla="*/ 1037669 h 6557032"/>
              <a:gd name="connsiteX22608" fmla="*/ 426389 w 4610101"/>
              <a:gd name="connsiteY22608" fmla="*/ 1001226 h 6557032"/>
              <a:gd name="connsiteX22609" fmla="*/ 462832 w 4610101"/>
              <a:gd name="connsiteY22609" fmla="*/ 1035847 h 6557032"/>
              <a:gd name="connsiteX22610" fmla="*/ 404523 w 4610101"/>
              <a:gd name="connsiteY22610" fmla="*/ 984826 h 6557032"/>
              <a:gd name="connsiteX22611" fmla="*/ 313414 w 4610101"/>
              <a:gd name="connsiteY22611" fmla="*/ 984826 h 6557032"/>
              <a:gd name="connsiteX22612" fmla="*/ 318882 w 4610101"/>
              <a:gd name="connsiteY22612" fmla="*/ 988471 h 6557032"/>
              <a:gd name="connsiteX22613" fmla="*/ 313414 w 4610101"/>
              <a:gd name="connsiteY22613" fmla="*/ 984826 h 6557032"/>
              <a:gd name="connsiteX22614" fmla="*/ 205906 w 4610101"/>
              <a:gd name="connsiteY22614" fmla="*/ 984826 h 6557032"/>
              <a:gd name="connsiteX22615" fmla="*/ 207512 w 4610101"/>
              <a:gd name="connsiteY22615" fmla="*/ 987050 h 6557032"/>
              <a:gd name="connsiteX22616" fmla="*/ 207728 w 4610101"/>
              <a:gd name="connsiteY22616" fmla="*/ 990293 h 6557032"/>
              <a:gd name="connsiteX22617" fmla="*/ 208868 w 4610101"/>
              <a:gd name="connsiteY22617" fmla="*/ 988926 h 6557032"/>
              <a:gd name="connsiteX22618" fmla="*/ 207512 w 4610101"/>
              <a:gd name="connsiteY22618" fmla="*/ 987050 h 6557032"/>
              <a:gd name="connsiteX22619" fmla="*/ 207500 w 4610101"/>
              <a:gd name="connsiteY22619" fmla="*/ 986876 h 6557032"/>
              <a:gd name="connsiteX22620" fmla="*/ 205906 w 4610101"/>
              <a:gd name="connsiteY22620" fmla="*/ 984826 h 6557032"/>
              <a:gd name="connsiteX22621" fmla="*/ 96576 w 4610101"/>
              <a:gd name="connsiteY22621" fmla="*/ 984826 h 6557032"/>
              <a:gd name="connsiteX22622" fmla="*/ 114797 w 4610101"/>
              <a:gd name="connsiteY22622" fmla="*/ 1008515 h 6557032"/>
              <a:gd name="connsiteX22623" fmla="*/ 96576 w 4610101"/>
              <a:gd name="connsiteY22623" fmla="*/ 984826 h 6557032"/>
              <a:gd name="connsiteX22624" fmla="*/ 867811 w 4610101"/>
              <a:gd name="connsiteY22624" fmla="*/ 983459 h 6557032"/>
              <a:gd name="connsiteX22625" fmla="*/ 863711 w 4610101"/>
              <a:gd name="connsiteY22625" fmla="*/ 992115 h 6557032"/>
              <a:gd name="connsiteX22626" fmla="*/ 869177 w 4610101"/>
              <a:gd name="connsiteY22626" fmla="*/ 993937 h 6557032"/>
              <a:gd name="connsiteX22627" fmla="*/ 867811 w 4610101"/>
              <a:gd name="connsiteY22627" fmla="*/ 983459 h 6557032"/>
              <a:gd name="connsiteX22628" fmla="*/ 3128673 w 4610101"/>
              <a:gd name="connsiteY22628" fmla="*/ 983004 h 6557032"/>
              <a:gd name="connsiteX22629" fmla="*/ 3114096 w 4610101"/>
              <a:gd name="connsiteY22629" fmla="*/ 986649 h 6557032"/>
              <a:gd name="connsiteX22630" fmla="*/ 3128673 w 4610101"/>
              <a:gd name="connsiteY22630" fmla="*/ 983004 h 6557032"/>
              <a:gd name="connsiteX22631" fmla="*/ 2534644 w 4610101"/>
              <a:gd name="connsiteY22631" fmla="*/ 983004 h 6557032"/>
              <a:gd name="connsiteX22632" fmla="*/ 2525534 w 4610101"/>
              <a:gd name="connsiteY22632" fmla="*/ 988471 h 6557032"/>
              <a:gd name="connsiteX22633" fmla="*/ 2534644 w 4610101"/>
              <a:gd name="connsiteY22633" fmla="*/ 983004 h 6557032"/>
              <a:gd name="connsiteX22634" fmla="*/ 555763 w 4610101"/>
              <a:gd name="connsiteY22634" fmla="*/ 983004 h 6557032"/>
              <a:gd name="connsiteX22635" fmla="*/ 548475 w 4610101"/>
              <a:gd name="connsiteY22635" fmla="*/ 984826 h 6557032"/>
              <a:gd name="connsiteX22636" fmla="*/ 564874 w 4610101"/>
              <a:gd name="connsiteY22636" fmla="*/ 999403 h 6557032"/>
              <a:gd name="connsiteX22637" fmla="*/ 555763 w 4610101"/>
              <a:gd name="connsiteY22637" fmla="*/ 983004 h 6557032"/>
              <a:gd name="connsiteX22638" fmla="*/ 497454 w 4610101"/>
              <a:gd name="connsiteY22638" fmla="*/ 983004 h 6557032"/>
              <a:gd name="connsiteX22639" fmla="*/ 510209 w 4610101"/>
              <a:gd name="connsiteY22639" fmla="*/ 1003047 h 6557032"/>
              <a:gd name="connsiteX22640" fmla="*/ 512031 w 4610101"/>
              <a:gd name="connsiteY22640" fmla="*/ 995759 h 6557032"/>
              <a:gd name="connsiteX22641" fmla="*/ 515676 w 4610101"/>
              <a:gd name="connsiteY22641" fmla="*/ 999403 h 6557032"/>
              <a:gd name="connsiteX22642" fmla="*/ 512031 w 4610101"/>
              <a:gd name="connsiteY22642" fmla="*/ 990293 h 6557032"/>
              <a:gd name="connsiteX22643" fmla="*/ 510209 w 4610101"/>
              <a:gd name="connsiteY22643" fmla="*/ 995759 h 6557032"/>
              <a:gd name="connsiteX22644" fmla="*/ 497454 w 4610101"/>
              <a:gd name="connsiteY22644" fmla="*/ 983004 h 6557032"/>
              <a:gd name="connsiteX22645" fmla="*/ 433678 w 4610101"/>
              <a:gd name="connsiteY22645" fmla="*/ 983004 h 6557032"/>
              <a:gd name="connsiteX22646" fmla="*/ 439145 w 4610101"/>
              <a:gd name="connsiteY22646" fmla="*/ 993937 h 6557032"/>
              <a:gd name="connsiteX22647" fmla="*/ 446433 w 4610101"/>
              <a:gd name="connsiteY22647" fmla="*/ 990293 h 6557032"/>
              <a:gd name="connsiteX22648" fmla="*/ 439145 w 4610101"/>
              <a:gd name="connsiteY22648" fmla="*/ 986649 h 6557032"/>
              <a:gd name="connsiteX22649" fmla="*/ 433678 w 4610101"/>
              <a:gd name="connsiteY22649" fmla="*/ 983004 h 6557032"/>
              <a:gd name="connsiteX22650" fmla="*/ 1270967 w 4610101"/>
              <a:gd name="connsiteY22650" fmla="*/ 982595 h 6557032"/>
              <a:gd name="connsiteX22651" fmla="*/ 1273700 w 4610101"/>
              <a:gd name="connsiteY22651" fmla="*/ 983050 h 6557032"/>
              <a:gd name="connsiteX22652" fmla="*/ 1270055 w 4610101"/>
              <a:gd name="connsiteY22652" fmla="*/ 988516 h 6557032"/>
              <a:gd name="connsiteX22653" fmla="*/ 1268233 w 4610101"/>
              <a:gd name="connsiteY22653" fmla="*/ 988516 h 6557032"/>
              <a:gd name="connsiteX22654" fmla="*/ 1268233 w 4610101"/>
              <a:gd name="connsiteY22654" fmla="*/ 984872 h 6557032"/>
              <a:gd name="connsiteX22655" fmla="*/ 1270967 w 4610101"/>
              <a:gd name="connsiteY22655" fmla="*/ 982595 h 6557032"/>
              <a:gd name="connsiteX22656" fmla="*/ 1104238 w 4610101"/>
              <a:gd name="connsiteY22656" fmla="*/ 982320 h 6557032"/>
              <a:gd name="connsiteX22657" fmla="*/ 1098771 w 4610101"/>
              <a:gd name="connsiteY22657" fmla="*/ 983004 h 6557032"/>
              <a:gd name="connsiteX22658" fmla="*/ 1109704 w 4610101"/>
              <a:gd name="connsiteY22658" fmla="*/ 983004 h 6557032"/>
              <a:gd name="connsiteX22659" fmla="*/ 1104238 w 4610101"/>
              <a:gd name="connsiteY22659" fmla="*/ 982320 h 6557032"/>
              <a:gd name="connsiteX22660" fmla="*/ 3250759 w 4610101"/>
              <a:gd name="connsiteY22660" fmla="*/ 981182 h 6557032"/>
              <a:gd name="connsiteX22661" fmla="*/ 3247114 w 4610101"/>
              <a:gd name="connsiteY22661" fmla="*/ 988471 h 6557032"/>
              <a:gd name="connsiteX22662" fmla="*/ 3250759 w 4610101"/>
              <a:gd name="connsiteY22662" fmla="*/ 981182 h 6557032"/>
              <a:gd name="connsiteX22663" fmla="*/ 1313788 w 4610101"/>
              <a:gd name="connsiteY22663" fmla="*/ 981182 h 6557032"/>
              <a:gd name="connsiteX22664" fmla="*/ 1279166 w 4610101"/>
              <a:gd name="connsiteY22664" fmla="*/ 1001226 h 6557032"/>
              <a:gd name="connsiteX22665" fmla="*/ 1301033 w 4610101"/>
              <a:gd name="connsiteY22665" fmla="*/ 990293 h 6557032"/>
              <a:gd name="connsiteX22666" fmla="*/ 1299210 w 4610101"/>
              <a:gd name="connsiteY22666" fmla="*/ 993937 h 6557032"/>
              <a:gd name="connsiteX22667" fmla="*/ 1313788 w 4610101"/>
              <a:gd name="connsiteY22667" fmla="*/ 981182 h 6557032"/>
              <a:gd name="connsiteX22668" fmla="*/ 1093305 w 4610101"/>
              <a:gd name="connsiteY22668" fmla="*/ 981182 h 6557032"/>
              <a:gd name="connsiteX22669" fmla="*/ 1091484 w 4610101"/>
              <a:gd name="connsiteY22669" fmla="*/ 984826 h 6557032"/>
              <a:gd name="connsiteX22670" fmla="*/ 1087838 w 4610101"/>
              <a:gd name="connsiteY22670" fmla="*/ 984826 h 6557032"/>
              <a:gd name="connsiteX22671" fmla="*/ 1091484 w 4610101"/>
              <a:gd name="connsiteY22671" fmla="*/ 988471 h 6557032"/>
              <a:gd name="connsiteX22672" fmla="*/ 1093305 w 4610101"/>
              <a:gd name="connsiteY22672" fmla="*/ 981182 h 6557032"/>
              <a:gd name="connsiteX22673" fmla="*/ 1027707 w 4610101"/>
              <a:gd name="connsiteY22673" fmla="*/ 981182 h 6557032"/>
              <a:gd name="connsiteX22674" fmla="*/ 1022240 w 4610101"/>
              <a:gd name="connsiteY22674" fmla="*/ 986649 h 6557032"/>
              <a:gd name="connsiteX22675" fmla="*/ 1024062 w 4610101"/>
              <a:gd name="connsiteY22675" fmla="*/ 988471 h 6557032"/>
              <a:gd name="connsiteX22676" fmla="*/ 1027707 w 4610101"/>
              <a:gd name="connsiteY22676" fmla="*/ 981182 h 6557032"/>
              <a:gd name="connsiteX22677" fmla="*/ 737981 w 4610101"/>
              <a:gd name="connsiteY22677" fmla="*/ 981182 h 6557032"/>
              <a:gd name="connsiteX22678" fmla="*/ 734336 w 4610101"/>
              <a:gd name="connsiteY22678" fmla="*/ 988471 h 6557032"/>
              <a:gd name="connsiteX22679" fmla="*/ 737981 w 4610101"/>
              <a:gd name="connsiteY22679" fmla="*/ 988471 h 6557032"/>
              <a:gd name="connsiteX22680" fmla="*/ 734336 w 4610101"/>
              <a:gd name="connsiteY22680" fmla="*/ 990293 h 6557032"/>
              <a:gd name="connsiteX22681" fmla="*/ 737981 w 4610101"/>
              <a:gd name="connsiteY22681" fmla="*/ 988471 h 6557032"/>
              <a:gd name="connsiteX22682" fmla="*/ 737981 w 4610101"/>
              <a:gd name="connsiteY22682" fmla="*/ 981182 h 6557032"/>
              <a:gd name="connsiteX22683" fmla="*/ 674205 w 4610101"/>
              <a:gd name="connsiteY22683" fmla="*/ 981182 h 6557032"/>
              <a:gd name="connsiteX22684" fmla="*/ 677849 w 4610101"/>
              <a:gd name="connsiteY22684" fmla="*/ 988471 h 6557032"/>
              <a:gd name="connsiteX22685" fmla="*/ 677849 w 4610101"/>
              <a:gd name="connsiteY22685" fmla="*/ 990293 h 6557032"/>
              <a:gd name="connsiteX22686" fmla="*/ 686960 w 4610101"/>
              <a:gd name="connsiteY22686" fmla="*/ 986649 h 6557032"/>
              <a:gd name="connsiteX22687" fmla="*/ 677849 w 4610101"/>
              <a:gd name="connsiteY22687" fmla="*/ 983004 h 6557032"/>
              <a:gd name="connsiteX22688" fmla="*/ 677849 w 4610101"/>
              <a:gd name="connsiteY22688" fmla="*/ 984826 h 6557032"/>
              <a:gd name="connsiteX22689" fmla="*/ 676939 w 4610101"/>
              <a:gd name="connsiteY22689" fmla="*/ 983915 h 6557032"/>
              <a:gd name="connsiteX22690" fmla="*/ 674205 w 4610101"/>
              <a:gd name="connsiteY22690" fmla="*/ 981182 h 6557032"/>
              <a:gd name="connsiteX22691" fmla="*/ 371724 w 4610101"/>
              <a:gd name="connsiteY22691" fmla="*/ 981182 h 6557032"/>
              <a:gd name="connsiteX22692" fmla="*/ 377190 w 4610101"/>
              <a:gd name="connsiteY22692" fmla="*/ 983004 h 6557032"/>
              <a:gd name="connsiteX22693" fmla="*/ 371724 w 4610101"/>
              <a:gd name="connsiteY22693" fmla="*/ 981182 h 6557032"/>
              <a:gd name="connsiteX22694" fmla="*/ 358969 w 4610101"/>
              <a:gd name="connsiteY22694" fmla="*/ 981182 h 6557032"/>
              <a:gd name="connsiteX22695" fmla="*/ 362613 w 4610101"/>
              <a:gd name="connsiteY22695" fmla="*/ 984826 h 6557032"/>
              <a:gd name="connsiteX22696" fmla="*/ 358969 w 4610101"/>
              <a:gd name="connsiteY22696" fmla="*/ 981182 h 6557032"/>
              <a:gd name="connsiteX22697" fmla="*/ 351680 w 4610101"/>
              <a:gd name="connsiteY22697" fmla="*/ 981182 h 6557032"/>
              <a:gd name="connsiteX22698" fmla="*/ 349858 w 4610101"/>
              <a:gd name="connsiteY22698" fmla="*/ 983004 h 6557032"/>
              <a:gd name="connsiteX22699" fmla="*/ 353502 w 4610101"/>
              <a:gd name="connsiteY22699" fmla="*/ 983004 h 6557032"/>
              <a:gd name="connsiteX22700" fmla="*/ 351680 w 4610101"/>
              <a:gd name="connsiteY22700" fmla="*/ 981182 h 6557032"/>
              <a:gd name="connsiteX22701" fmla="*/ 245994 w 4610101"/>
              <a:gd name="connsiteY22701" fmla="*/ 981182 h 6557032"/>
              <a:gd name="connsiteX22702" fmla="*/ 253282 w 4610101"/>
              <a:gd name="connsiteY22702" fmla="*/ 986649 h 6557032"/>
              <a:gd name="connsiteX22703" fmla="*/ 245994 w 4610101"/>
              <a:gd name="connsiteY22703" fmla="*/ 981182 h 6557032"/>
              <a:gd name="connsiteX22704" fmla="*/ 3459028 w 4610101"/>
              <a:gd name="connsiteY22704" fmla="*/ 979473 h 6557032"/>
              <a:gd name="connsiteX22705" fmla="*/ 3454614 w 4610101"/>
              <a:gd name="connsiteY22705" fmla="*/ 980270 h 6557032"/>
              <a:gd name="connsiteX22706" fmla="*/ 3443909 w 4610101"/>
              <a:gd name="connsiteY22706" fmla="*/ 986649 h 6557032"/>
              <a:gd name="connsiteX22707" fmla="*/ 3445731 w 4610101"/>
              <a:gd name="connsiteY22707" fmla="*/ 992115 h 6557032"/>
              <a:gd name="connsiteX22708" fmla="*/ 3469419 w 4610101"/>
              <a:gd name="connsiteY22708" fmla="*/ 997582 h 6557032"/>
              <a:gd name="connsiteX22709" fmla="*/ 3463953 w 4610101"/>
              <a:gd name="connsiteY22709" fmla="*/ 995759 h 6557032"/>
              <a:gd name="connsiteX22710" fmla="*/ 3485819 w 4610101"/>
              <a:gd name="connsiteY22710" fmla="*/ 1006692 h 6557032"/>
              <a:gd name="connsiteX22711" fmla="*/ 3489463 w 4610101"/>
              <a:gd name="connsiteY22711" fmla="*/ 1010337 h 6557032"/>
              <a:gd name="connsiteX22712" fmla="*/ 3491286 w 4610101"/>
              <a:gd name="connsiteY22712" fmla="*/ 1006692 h 6557032"/>
              <a:gd name="connsiteX22713" fmla="*/ 3485819 w 4610101"/>
              <a:gd name="connsiteY22713" fmla="*/ 1004870 h 6557032"/>
              <a:gd name="connsiteX22714" fmla="*/ 3493108 w 4610101"/>
              <a:gd name="connsiteY22714" fmla="*/ 995759 h 6557032"/>
              <a:gd name="connsiteX22715" fmla="*/ 3485819 w 4610101"/>
              <a:gd name="connsiteY22715" fmla="*/ 995759 h 6557032"/>
              <a:gd name="connsiteX22716" fmla="*/ 3474886 w 4610101"/>
              <a:gd name="connsiteY22716" fmla="*/ 1004870 h 6557032"/>
              <a:gd name="connsiteX22717" fmla="*/ 3473064 w 4610101"/>
              <a:gd name="connsiteY22717" fmla="*/ 988471 h 6557032"/>
              <a:gd name="connsiteX22718" fmla="*/ 3465775 w 4610101"/>
              <a:gd name="connsiteY22718" fmla="*/ 990293 h 6557032"/>
              <a:gd name="connsiteX22719" fmla="*/ 3467597 w 4610101"/>
              <a:gd name="connsiteY22719" fmla="*/ 983004 h 6557032"/>
              <a:gd name="connsiteX22720" fmla="*/ 3463953 w 4610101"/>
              <a:gd name="connsiteY22720" fmla="*/ 984826 h 6557032"/>
              <a:gd name="connsiteX22721" fmla="*/ 3459028 w 4610101"/>
              <a:gd name="connsiteY22721" fmla="*/ 979473 h 6557032"/>
              <a:gd name="connsiteX22722" fmla="*/ 1233612 w 4610101"/>
              <a:gd name="connsiteY22722" fmla="*/ 979360 h 6557032"/>
              <a:gd name="connsiteX22723" fmla="*/ 1235434 w 4610101"/>
              <a:gd name="connsiteY22723" fmla="*/ 981182 h 6557032"/>
              <a:gd name="connsiteX22724" fmla="*/ 1237256 w 4610101"/>
              <a:gd name="connsiteY22724" fmla="*/ 979360 h 6557032"/>
              <a:gd name="connsiteX22725" fmla="*/ 1233612 w 4610101"/>
              <a:gd name="connsiteY22725" fmla="*/ 979360 h 6557032"/>
              <a:gd name="connsiteX22726" fmla="*/ 1186236 w 4610101"/>
              <a:gd name="connsiteY22726" fmla="*/ 979360 h 6557032"/>
              <a:gd name="connsiteX22727" fmla="*/ 1177125 w 4610101"/>
              <a:gd name="connsiteY22727" fmla="*/ 984826 h 6557032"/>
              <a:gd name="connsiteX22728" fmla="*/ 1180769 w 4610101"/>
              <a:gd name="connsiteY22728" fmla="*/ 986649 h 6557032"/>
              <a:gd name="connsiteX22729" fmla="*/ 1157081 w 4610101"/>
              <a:gd name="connsiteY22729" fmla="*/ 995759 h 6557032"/>
              <a:gd name="connsiteX22730" fmla="*/ 1159458 w 4610101"/>
              <a:gd name="connsiteY22730" fmla="*/ 999720 h 6557032"/>
              <a:gd name="connsiteX22731" fmla="*/ 1153436 w 4610101"/>
              <a:gd name="connsiteY22731" fmla="*/ 1001226 h 6557032"/>
              <a:gd name="connsiteX22732" fmla="*/ 1157081 w 4610101"/>
              <a:gd name="connsiteY22732" fmla="*/ 1001226 h 6557032"/>
              <a:gd name="connsiteX22733" fmla="*/ 1155259 w 4610101"/>
              <a:gd name="connsiteY22733" fmla="*/ 1004870 h 6557032"/>
              <a:gd name="connsiteX22734" fmla="*/ 1133393 w 4610101"/>
              <a:gd name="connsiteY22734" fmla="*/ 1010337 h 6557032"/>
              <a:gd name="connsiteX22735" fmla="*/ 1136126 w 4610101"/>
              <a:gd name="connsiteY22735" fmla="*/ 1016714 h 6557032"/>
              <a:gd name="connsiteX22736" fmla="*/ 1138312 w 4610101"/>
              <a:gd name="connsiteY22736" fmla="*/ 1021816 h 6557032"/>
              <a:gd name="connsiteX22737" fmla="*/ 1137037 w 4610101"/>
              <a:gd name="connsiteY22737" fmla="*/ 1023092 h 6557032"/>
              <a:gd name="connsiteX22738" fmla="*/ 1141896 w 4610101"/>
              <a:gd name="connsiteY22738" fmla="*/ 1026331 h 6557032"/>
              <a:gd name="connsiteX22739" fmla="*/ 1142275 w 4610101"/>
              <a:gd name="connsiteY22739" fmla="*/ 1026963 h 6557032"/>
              <a:gd name="connsiteX22740" fmla="*/ 1139542 w 4610101"/>
              <a:gd name="connsiteY22740" fmla="*/ 1029697 h 6557032"/>
              <a:gd name="connsiteX22741" fmla="*/ 1140681 w 4610101"/>
              <a:gd name="connsiteY22741" fmla="*/ 1034025 h 6557032"/>
              <a:gd name="connsiteX22742" fmla="*/ 1144326 w 4610101"/>
              <a:gd name="connsiteY22742" fmla="*/ 1030381 h 6557032"/>
              <a:gd name="connsiteX22743" fmla="*/ 1142275 w 4610101"/>
              <a:gd name="connsiteY22743" fmla="*/ 1026963 h 6557032"/>
              <a:gd name="connsiteX22744" fmla="*/ 1142503 w 4610101"/>
              <a:gd name="connsiteY22744" fmla="*/ 1026736 h 6557032"/>
              <a:gd name="connsiteX22745" fmla="*/ 1141896 w 4610101"/>
              <a:gd name="connsiteY22745" fmla="*/ 1026331 h 6557032"/>
              <a:gd name="connsiteX22746" fmla="*/ 1139310 w 4610101"/>
              <a:gd name="connsiteY22746" fmla="*/ 1022021 h 6557032"/>
              <a:gd name="connsiteX22747" fmla="*/ 1140681 w 4610101"/>
              <a:gd name="connsiteY22747" fmla="*/ 1018764 h 6557032"/>
              <a:gd name="connsiteX22748" fmla="*/ 1142503 w 4610101"/>
              <a:gd name="connsiteY22748" fmla="*/ 1015803 h 6557032"/>
              <a:gd name="connsiteX22749" fmla="*/ 1140681 w 4610101"/>
              <a:gd name="connsiteY22749" fmla="*/ 1023092 h 6557032"/>
              <a:gd name="connsiteX22750" fmla="*/ 1142503 w 4610101"/>
              <a:gd name="connsiteY22750" fmla="*/ 1019448 h 6557032"/>
              <a:gd name="connsiteX22751" fmla="*/ 1149792 w 4610101"/>
              <a:gd name="connsiteY22751" fmla="*/ 1035847 h 6557032"/>
              <a:gd name="connsiteX22752" fmla="*/ 1151614 w 4610101"/>
              <a:gd name="connsiteY22752" fmla="*/ 1035847 h 6557032"/>
              <a:gd name="connsiteX22753" fmla="*/ 1147970 w 4610101"/>
              <a:gd name="connsiteY22753" fmla="*/ 1015803 h 6557032"/>
              <a:gd name="connsiteX22754" fmla="*/ 1155259 w 4610101"/>
              <a:gd name="connsiteY22754" fmla="*/ 1017625 h 6557032"/>
              <a:gd name="connsiteX22755" fmla="*/ 1155779 w 4610101"/>
              <a:gd name="connsiteY22755" fmla="*/ 1021270 h 6557032"/>
              <a:gd name="connsiteX22756" fmla="*/ 1155259 w 4610101"/>
              <a:gd name="connsiteY22756" fmla="*/ 1021270 h 6557032"/>
              <a:gd name="connsiteX22757" fmla="*/ 1157081 w 4610101"/>
              <a:gd name="connsiteY22757" fmla="*/ 1030381 h 6557032"/>
              <a:gd name="connsiteX22758" fmla="*/ 1155779 w 4610101"/>
              <a:gd name="connsiteY22758" fmla="*/ 1021270 h 6557032"/>
              <a:gd name="connsiteX22759" fmla="*/ 1158903 w 4610101"/>
              <a:gd name="connsiteY22759" fmla="*/ 1021270 h 6557032"/>
              <a:gd name="connsiteX22760" fmla="*/ 1157081 w 4610101"/>
              <a:gd name="connsiteY22760" fmla="*/ 1001226 h 6557032"/>
              <a:gd name="connsiteX22761" fmla="*/ 1159604 w 4610101"/>
              <a:gd name="connsiteY22761" fmla="*/ 999964 h 6557032"/>
              <a:gd name="connsiteX22762" fmla="*/ 1162547 w 4610101"/>
              <a:gd name="connsiteY22762" fmla="*/ 1004870 h 6557032"/>
              <a:gd name="connsiteX22763" fmla="*/ 1166192 w 4610101"/>
              <a:gd name="connsiteY22763" fmla="*/ 1003047 h 6557032"/>
              <a:gd name="connsiteX22764" fmla="*/ 1165463 w 4610101"/>
              <a:gd name="connsiteY22764" fmla="*/ 1005963 h 6557032"/>
              <a:gd name="connsiteX22765" fmla="*/ 1164370 w 4610101"/>
              <a:gd name="connsiteY22765" fmla="*/ 1004870 h 6557032"/>
              <a:gd name="connsiteX22766" fmla="*/ 1158903 w 4610101"/>
              <a:gd name="connsiteY22766" fmla="*/ 1030381 h 6557032"/>
              <a:gd name="connsiteX22767" fmla="*/ 1163417 w 4610101"/>
              <a:gd name="connsiteY22767" fmla="*/ 1020942 h 6557032"/>
              <a:gd name="connsiteX22768" fmla="*/ 1164370 w 4610101"/>
              <a:gd name="connsiteY22768" fmla="*/ 1024914 h 6557032"/>
              <a:gd name="connsiteX22769" fmla="*/ 1175303 w 4610101"/>
              <a:gd name="connsiteY22769" fmla="*/ 1006692 h 6557032"/>
              <a:gd name="connsiteX22770" fmla="*/ 1178923 w 4610101"/>
              <a:gd name="connsiteY22770" fmla="*/ 1006692 h 6557032"/>
              <a:gd name="connsiteX22771" fmla="*/ 1171886 w 4610101"/>
              <a:gd name="connsiteY22771" fmla="*/ 1020586 h 6557032"/>
              <a:gd name="connsiteX22772" fmla="*/ 1169836 w 4610101"/>
              <a:gd name="connsiteY22772" fmla="*/ 1039492 h 6557032"/>
              <a:gd name="connsiteX22773" fmla="*/ 1173481 w 4610101"/>
              <a:gd name="connsiteY22773" fmla="*/ 1019448 h 6557032"/>
              <a:gd name="connsiteX22774" fmla="*/ 1178947 w 4610101"/>
              <a:gd name="connsiteY22774" fmla="*/ 1024914 h 6557032"/>
              <a:gd name="connsiteX22775" fmla="*/ 1175303 w 4610101"/>
              <a:gd name="connsiteY22775" fmla="*/ 1035847 h 6557032"/>
              <a:gd name="connsiteX22776" fmla="*/ 1178947 w 4610101"/>
              <a:gd name="connsiteY22776" fmla="*/ 1035847 h 6557032"/>
              <a:gd name="connsiteX22777" fmla="*/ 1175303 w 4610101"/>
              <a:gd name="connsiteY22777" fmla="*/ 1043136 h 6557032"/>
              <a:gd name="connsiteX22778" fmla="*/ 1188058 w 4610101"/>
              <a:gd name="connsiteY22778" fmla="*/ 1006692 h 6557032"/>
              <a:gd name="connsiteX22779" fmla="*/ 1184414 w 4610101"/>
              <a:gd name="connsiteY22779" fmla="*/ 1004870 h 6557032"/>
              <a:gd name="connsiteX22780" fmla="*/ 1189880 w 4610101"/>
              <a:gd name="connsiteY22780" fmla="*/ 1001226 h 6557032"/>
              <a:gd name="connsiteX22781" fmla="*/ 1184414 w 4610101"/>
              <a:gd name="connsiteY22781" fmla="*/ 988471 h 6557032"/>
              <a:gd name="connsiteX22782" fmla="*/ 1186236 w 4610101"/>
              <a:gd name="connsiteY22782" fmla="*/ 979360 h 6557032"/>
              <a:gd name="connsiteX22783" fmla="*/ 1031351 w 4610101"/>
              <a:gd name="connsiteY22783" fmla="*/ 979360 h 6557032"/>
              <a:gd name="connsiteX22784" fmla="*/ 1024062 w 4610101"/>
              <a:gd name="connsiteY22784" fmla="*/ 992115 h 6557032"/>
              <a:gd name="connsiteX22785" fmla="*/ 1033173 w 4610101"/>
              <a:gd name="connsiteY22785" fmla="*/ 1006692 h 6557032"/>
              <a:gd name="connsiteX22786" fmla="*/ 1031351 w 4610101"/>
              <a:gd name="connsiteY22786" fmla="*/ 979360 h 6557032"/>
              <a:gd name="connsiteX22787" fmla="*/ 916555 w 4610101"/>
              <a:gd name="connsiteY22787" fmla="*/ 979360 h 6557032"/>
              <a:gd name="connsiteX22788" fmla="*/ 912909 w 4610101"/>
              <a:gd name="connsiteY22788" fmla="*/ 983004 h 6557032"/>
              <a:gd name="connsiteX22789" fmla="*/ 918376 w 4610101"/>
              <a:gd name="connsiteY22789" fmla="*/ 984826 h 6557032"/>
              <a:gd name="connsiteX22790" fmla="*/ 916555 w 4610101"/>
              <a:gd name="connsiteY22790" fmla="*/ 979360 h 6557032"/>
              <a:gd name="connsiteX22791" fmla="*/ 612251 w 4610101"/>
              <a:gd name="connsiteY22791" fmla="*/ 979360 h 6557032"/>
              <a:gd name="connsiteX22792" fmla="*/ 608606 w 4610101"/>
              <a:gd name="connsiteY22792" fmla="*/ 981182 h 6557032"/>
              <a:gd name="connsiteX22793" fmla="*/ 621362 w 4610101"/>
              <a:gd name="connsiteY22793" fmla="*/ 992115 h 6557032"/>
              <a:gd name="connsiteX22794" fmla="*/ 621362 w 4610101"/>
              <a:gd name="connsiteY22794" fmla="*/ 985434 h 6557032"/>
              <a:gd name="connsiteX22795" fmla="*/ 625917 w 4610101"/>
              <a:gd name="connsiteY22795" fmla="*/ 988471 h 6557032"/>
              <a:gd name="connsiteX22796" fmla="*/ 623185 w 4610101"/>
              <a:gd name="connsiteY22796" fmla="*/ 988471 h 6557032"/>
              <a:gd name="connsiteX22797" fmla="*/ 635939 w 4610101"/>
              <a:gd name="connsiteY22797" fmla="*/ 993937 h 6557032"/>
              <a:gd name="connsiteX22798" fmla="*/ 628650 w 4610101"/>
              <a:gd name="connsiteY22798" fmla="*/ 990293 h 6557032"/>
              <a:gd name="connsiteX22799" fmla="*/ 625917 w 4610101"/>
              <a:gd name="connsiteY22799" fmla="*/ 988471 h 6557032"/>
              <a:gd name="connsiteX22800" fmla="*/ 630472 w 4610101"/>
              <a:gd name="connsiteY22800" fmla="*/ 988471 h 6557032"/>
              <a:gd name="connsiteX22801" fmla="*/ 621362 w 4610101"/>
              <a:gd name="connsiteY22801" fmla="*/ 984826 h 6557032"/>
              <a:gd name="connsiteX22802" fmla="*/ 621362 w 4610101"/>
              <a:gd name="connsiteY22802" fmla="*/ 985434 h 6557032"/>
              <a:gd name="connsiteX22803" fmla="*/ 453722 w 4610101"/>
              <a:gd name="connsiteY22803" fmla="*/ 979360 h 6557032"/>
              <a:gd name="connsiteX22804" fmla="*/ 462832 w 4610101"/>
              <a:gd name="connsiteY22804" fmla="*/ 1003047 h 6557032"/>
              <a:gd name="connsiteX22805" fmla="*/ 473766 w 4610101"/>
              <a:gd name="connsiteY22805" fmla="*/ 1004870 h 6557032"/>
              <a:gd name="connsiteX22806" fmla="*/ 471943 w 4610101"/>
              <a:gd name="connsiteY22806" fmla="*/ 1006692 h 6557032"/>
              <a:gd name="connsiteX22807" fmla="*/ 482876 w 4610101"/>
              <a:gd name="connsiteY22807" fmla="*/ 1013981 h 6557032"/>
              <a:gd name="connsiteX22808" fmla="*/ 475589 w 4610101"/>
              <a:gd name="connsiteY22808" fmla="*/ 1003047 h 6557032"/>
              <a:gd name="connsiteX22809" fmla="*/ 508387 w 4610101"/>
              <a:gd name="connsiteY22809" fmla="*/ 1021270 h 6557032"/>
              <a:gd name="connsiteX22810" fmla="*/ 466478 w 4610101"/>
              <a:gd name="connsiteY22810" fmla="*/ 988471 h 6557032"/>
              <a:gd name="connsiteX22811" fmla="*/ 453722 w 4610101"/>
              <a:gd name="connsiteY22811" fmla="*/ 979360 h 6557032"/>
              <a:gd name="connsiteX22812" fmla="*/ 437322 w 4610101"/>
              <a:gd name="connsiteY22812" fmla="*/ 979360 h 6557032"/>
              <a:gd name="connsiteX22813" fmla="*/ 435500 w 4610101"/>
              <a:gd name="connsiteY22813" fmla="*/ 981182 h 6557032"/>
              <a:gd name="connsiteX22814" fmla="*/ 440966 w 4610101"/>
              <a:gd name="connsiteY22814" fmla="*/ 984826 h 6557032"/>
              <a:gd name="connsiteX22815" fmla="*/ 437322 w 4610101"/>
              <a:gd name="connsiteY22815" fmla="*/ 979360 h 6557032"/>
              <a:gd name="connsiteX22816" fmla="*/ 211372 w 4610101"/>
              <a:gd name="connsiteY22816" fmla="*/ 979360 h 6557032"/>
              <a:gd name="connsiteX22817" fmla="*/ 231416 w 4610101"/>
              <a:gd name="connsiteY22817" fmla="*/ 995759 h 6557032"/>
              <a:gd name="connsiteX22818" fmla="*/ 222306 w 4610101"/>
              <a:gd name="connsiteY22818" fmla="*/ 990293 h 6557032"/>
              <a:gd name="connsiteX22819" fmla="*/ 211372 w 4610101"/>
              <a:gd name="connsiteY22819" fmla="*/ 979360 h 6557032"/>
              <a:gd name="connsiteX22820" fmla="*/ 1044789 w 4610101"/>
              <a:gd name="connsiteY22820" fmla="*/ 979132 h 6557032"/>
              <a:gd name="connsiteX22821" fmla="*/ 1045101 w 4610101"/>
              <a:gd name="connsiteY22821" fmla="*/ 979416 h 6557032"/>
              <a:gd name="connsiteX22822" fmla="*/ 1044678 w 4610101"/>
              <a:gd name="connsiteY22822" fmla="*/ 979134 h 6557032"/>
              <a:gd name="connsiteX22823" fmla="*/ 960286 w 4610101"/>
              <a:gd name="connsiteY22823" fmla="*/ 977538 h 6557032"/>
              <a:gd name="connsiteX22824" fmla="*/ 954819 w 4610101"/>
              <a:gd name="connsiteY22824" fmla="*/ 990293 h 6557032"/>
              <a:gd name="connsiteX22825" fmla="*/ 967575 w 4610101"/>
              <a:gd name="connsiteY22825" fmla="*/ 1008515 h 6557032"/>
              <a:gd name="connsiteX22826" fmla="*/ 965753 w 4610101"/>
              <a:gd name="connsiteY22826" fmla="*/ 993937 h 6557032"/>
              <a:gd name="connsiteX22827" fmla="*/ 960286 w 4610101"/>
              <a:gd name="connsiteY22827" fmla="*/ 977538 h 6557032"/>
              <a:gd name="connsiteX22828" fmla="*/ 484700 w 4610101"/>
              <a:gd name="connsiteY22828" fmla="*/ 977538 h 6557032"/>
              <a:gd name="connsiteX22829" fmla="*/ 491987 w 4610101"/>
              <a:gd name="connsiteY22829" fmla="*/ 984826 h 6557032"/>
              <a:gd name="connsiteX22830" fmla="*/ 490165 w 4610101"/>
              <a:gd name="connsiteY22830" fmla="*/ 979360 h 6557032"/>
              <a:gd name="connsiteX22831" fmla="*/ 495632 w 4610101"/>
              <a:gd name="connsiteY22831" fmla="*/ 984826 h 6557032"/>
              <a:gd name="connsiteX22832" fmla="*/ 484700 w 4610101"/>
              <a:gd name="connsiteY22832" fmla="*/ 977538 h 6557032"/>
              <a:gd name="connsiteX22833" fmla="*/ 317059 w 4610101"/>
              <a:gd name="connsiteY22833" fmla="*/ 977538 h 6557032"/>
              <a:gd name="connsiteX22834" fmla="*/ 322525 w 4610101"/>
              <a:gd name="connsiteY22834" fmla="*/ 983004 h 6557032"/>
              <a:gd name="connsiteX22835" fmla="*/ 317059 w 4610101"/>
              <a:gd name="connsiteY22835" fmla="*/ 977538 h 6557032"/>
              <a:gd name="connsiteX22836" fmla="*/ 275149 w 4610101"/>
              <a:gd name="connsiteY22836" fmla="*/ 977538 h 6557032"/>
              <a:gd name="connsiteX22837" fmla="*/ 282438 w 4610101"/>
              <a:gd name="connsiteY22837" fmla="*/ 983004 h 6557032"/>
              <a:gd name="connsiteX22838" fmla="*/ 275149 w 4610101"/>
              <a:gd name="connsiteY22838" fmla="*/ 977538 h 6557032"/>
              <a:gd name="connsiteX22839" fmla="*/ 256927 w 4610101"/>
              <a:gd name="connsiteY22839" fmla="*/ 977538 h 6557032"/>
              <a:gd name="connsiteX22840" fmla="*/ 275149 w 4610101"/>
              <a:gd name="connsiteY22840" fmla="*/ 986649 h 6557032"/>
              <a:gd name="connsiteX22841" fmla="*/ 256927 w 4610101"/>
              <a:gd name="connsiteY22841" fmla="*/ 977538 h 6557032"/>
              <a:gd name="connsiteX22842" fmla="*/ 755292 w 4610101"/>
              <a:gd name="connsiteY22842" fmla="*/ 977082 h 6557032"/>
              <a:gd name="connsiteX22843" fmla="*/ 756203 w 4610101"/>
              <a:gd name="connsiteY22843" fmla="*/ 977538 h 6557032"/>
              <a:gd name="connsiteX22844" fmla="*/ 755995 w 4610101"/>
              <a:gd name="connsiteY22844" fmla="*/ 977668 h 6557032"/>
              <a:gd name="connsiteX22845" fmla="*/ 865077 w 4610101"/>
              <a:gd name="connsiteY22845" fmla="*/ 976399 h 6557032"/>
              <a:gd name="connsiteX22846" fmla="*/ 865214 w 4610101"/>
              <a:gd name="connsiteY22846" fmla="*/ 977286 h 6557032"/>
              <a:gd name="connsiteX22847" fmla="*/ 864293 w 4610101"/>
              <a:gd name="connsiteY22847" fmla="*/ 976679 h 6557032"/>
              <a:gd name="connsiteX22848" fmla="*/ 2297762 w 4610101"/>
              <a:gd name="connsiteY22848" fmla="*/ 975715 h 6557032"/>
              <a:gd name="connsiteX22849" fmla="*/ 2285007 w 4610101"/>
              <a:gd name="connsiteY22849" fmla="*/ 981182 h 6557032"/>
              <a:gd name="connsiteX22850" fmla="*/ 2286829 w 4610101"/>
              <a:gd name="connsiteY22850" fmla="*/ 995759 h 6557032"/>
              <a:gd name="connsiteX22851" fmla="*/ 2288439 w 4610101"/>
              <a:gd name="connsiteY22851" fmla="*/ 994190 h 6557032"/>
              <a:gd name="connsiteX22852" fmla="*/ 2283184 w 4610101"/>
              <a:gd name="connsiteY22852" fmla="*/ 1003047 h 6557032"/>
              <a:gd name="connsiteX22853" fmla="*/ 2274986 w 4610101"/>
              <a:gd name="connsiteY22853" fmla="*/ 997582 h 6557032"/>
              <a:gd name="connsiteX22854" fmla="*/ 2277718 w 4610101"/>
              <a:gd name="connsiteY22854" fmla="*/ 997582 h 6557032"/>
              <a:gd name="connsiteX22855" fmla="*/ 2270429 w 4610101"/>
              <a:gd name="connsiteY22855" fmla="*/ 990293 h 6557032"/>
              <a:gd name="connsiteX22856" fmla="*/ 2266785 w 4610101"/>
              <a:gd name="connsiteY22856" fmla="*/ 997582 h 6557032"/>
              <a:gd name="connsiteX22857" fmla="*/ 2274984 w 4610101"/>
              <a:gd name="connsiteY22857" fmla="*/ 997582 h 6557032"/>
              <a:gd name="connsiteX22858" fmla="*/ 2266785 w 4610101"/>
              <a:gd name="connsiteY22858" fmla="*/ 1003047 h 6557032"/>
              <a:gd name="connsiteX22859" fmla="*/ 2257674 w 4610101"/>
              <a:gd name="connsiteY22859" fmla="*/ 1004870 h 6557032"/>
              <a:gd name="connsiteX22860" fmla="*/ 2257674 w 4610101"/>
              <a:gd name="connsiteY22860" fmla="*/ 1008515 h 6557032"/>
              <a:gd name="connsiteX22861" fmla="*/ 2277718 w 4610101"/>
              <a:gd name="connsiteY22861" fmla="*/ 1013981 h 6557032"/>
              <a:gd name="connsiteX22862" fmla="*/ 2277718 w 4610101"/>
              <a:gd name="connsiteY22862" fmla="*/ 1043136 h 6557032"/>
              <a:gd name="connsiteX22863" fmla="*/ 2274074 w 4610101"/>
              <a:gd name="connsiteY22863" fmla="*/ 1043136 h 6557032"/>
              <a:gd name="connsiteX22864" fmla="*/ 2281362 w 4610101"/>
              <a:gd name="connsiteY22864" fmla="*/ 1048602 h 6557032"/>
              <a:gd name="connsiteX22865" fmla="*/ 2288651 w 4610101"/>
              <a:gd name="connsiteY22865" fmla="*/ 1037669 h 6557032"/>
              <a:gd name="connsiteX22866" fmla="*/ 2294117 w 4610101"/>
              <a:gd name="connsiteY22866" fmla="*/ 1035847 h 6557032"/>
              <a:gd name="connsiteX22867" fmla="*/ 2295940 w 4610101"/>
              <a:gd name="connsiteY22867" fmla="*/ 1023092 h 6557032"/>
              <a:gd name="connsiteX22868" fmla="*/ 2299584 w 4610101"/>
              <a:gd name="connsiteY22868" fmla="*/ 1024914 h 6557032"/>
              <a:gd name="connsiteX22869" fmla="*/ 2303228 w 4610101"/>
              <a:gd name="connsiteY22869" fmla="*/ 1017625 h 6557032"/>
              <a:gd name="connsiteX22870" fmla="*/ 2305050 w 4610101"/>
              <a:gd name="connsiteY22870" fmla="*/ 1010337 h 6557032"/>
              <a:gd name="connsiteX22871" fmla="*/ 2286829 w 4610101"/>
              <a:gd name="connsiteY22871" fmla="*/ 1008515 h 6557032"/>
              <a:gd name="connsiteX22872" fmla="*/ 2306873 w 4610101"/>
              <a:gd name="connsiteY22872" fmla="*/ 1006692 h 6557032"/>
              <a:gd name="connsiteX22873" fmla="*/ 2306873 w 4610101"/>
              <a:gd name="connsiteY22873" fmla="*/ 1003047 h 6557032"/>
              <a:gd name="connsiteX22874" fmla="*/ 2310517 w 4610101"/>
              <a:gd name="connsiteY22874" fmla="*/ 1004870 h 6557032"/>
              <a:gd name="connsiteX22875" fmla="*/ 2314161 w 4610101"/>
              <a:gd name="connsiteY22875" fmla="*/ 1001226 h 6557032"/>
              <a:gd name="connsiteX22876" fmla="*/ 2336027 w 4610101"/>
              <a:gd name="connsiteY22876" fmla="*/ 999403 h 6557032"/>
              <a:gd name="connsiteX22877" fmla="*/ 2341494 w 4610101"/>
              <a:gd name="connsiteY22877" fmla="*/ 1004870 h 6557032"/>
              <a:gd name="connsiteX22878" fmla="*/ 2343316 w 4610101"/>
              <a:gd name="connsiteY22878" fmla="*/ 1004870 h 6557032"/>
              <a:gd name="connsiteX22879" fmla="*/ 2354249 w 4610101"/>
              <a:gd name="connsiteY22879" fmla="*/ 993937 h 6557032"/>
              <a:gd name="connsiteX22880" fmla="*/ 2357893 w 4610101"/>
              <a:gd name="connsiteY22880" fmla="*/ 1001226 h 6557032"/>
              <a:gd name="connsiteX22881" fmla="*/ 2359716 w 4610101"/>
              <a:gd name="connsiteY22881" fmla="*/ 992115 h 6557032"/>
              <a:gd name="connsiteX22882" fmla="*/ 2343316 w 4610101"/>
              <a:gd name="connsiteY22882" fmla="*/ 981182 h 6557032"/>
              <a:gd name="connsiteX22883" fmla="*/ 2303228 w 4610101"/>
              <a:gd name="connsiteY22883" fmla="*/ 983004 h 6557032"/>
              <a:gd name="connsiteX22884" fmla="*/ 2295682 w 4610101"/>
              <a:gd name="connsiteY22884" fmla="*/ 987133 h 6557032"/>
              <a:gd name="connsiteX22885" fmla="*/ 2295712 w 4610101"/>
              <a:gd name="connsiteY22885" fmla="*/ 987103 h 6557032"/>
              <a:gd name="connsiteX22886" fmla="*/ 2297762 w 4610101"/>
              <a:gd name="connsiteY22886" fmla="*/ 975715 h 6557032"/>
              <a:gd name="connsiteX22887" fmla="*/ 1169836 w 4610101"/>
              <a:gd name="connsiteY22887" fmla="*/ 975715 h 6557032"/>
              <a:gd name="connsiteX22888" fmla="*/ 1167467 w 4610101"/>
              <a:gd name="connsiteY22888" fmla="*/ 984009 h 6557032"/>
              <a:gd name="connsiteX22889" fmla="*/ 1166192 w 4610101"/>
              <a:gd name="connsiteY22889" fmla="*/ 984826 h 6557032"/>
              <a:gd name="connsiteX22890" fmla="*/ 1169836 w 4610101"/>
              <a:gd name="connsiteY22890" fmla="*/ 975715 h 6557032"/>
              <a:gd name="connsiteX22891" fmla="*/ 703359 w 4610101"/>
              <a:gd name="connsiteY22891" fmla="*/ 975715 h 6557032"/>
              <a:gd name="connsiteX22892" fmla="*/ 703359 w 4610101"/>
              <a:gd name="connsiteY22892" fmla="*/ 981182 h 6557032"/>
              <a:gd name="connsiteX22893" fmla="*/ 707004 w 4610101"/>
              <a:gd name="connsiteY22893" fmla="*/ 977538 h 6557032"/>
              <a:gd name="connsiteX22894" fmla="*/ 703359 w 4610101"/>
              <a:gd name="connsiteY22894" fmla="*/ 975715 h 6557032"/>
              <a:gd name="connsiteX22895" fmla="*/ 481054 w 4610101"/>
              <a:gd name="connsiteY22895" fmla="*/ 975715 h 6557032"/>
              <a:gd name="connsiteX22896" fmla="*/ 502920 w 4610101"/>
              <a:gd name="connsiteY22896" fmla="*/ 1001226 h 6557032"/>
              <a:gd name="connsiteX22897" fmla="*/ 481054 w 4610101"/>
              <a:gd name="connsiteY22897" fmla="*/ 975715 h 6557032"/>
              <a:gd name="connsiteX22898" fmla="*/ 278793 w 4610101"/>
              <a:gd name="connsiteY22898" fmla="*/ 975715 h 6557032"/>
              <a:gd name="connsiteX22899" fmla="*/ 291549 w 4610101"/>
              <a:gd name="connsiteY22899" fmla="*/ 984826 h 6557032"/>
              <a:gd name="connsiteX22900" fmla="*/ 278793 w 4610101"/>
              <a:gd name="connsiteY22900" fmla="*/ 975715 h 6557032"/>
              <a:gd name="connsiteX22901" fmla="*/ 3298925 w 4610101"/>
              <a:gd name="connsiteY22901" fmla="*/ 974594 h 6557032"/>
              <a:gd name="connsiteX22902" fmla="*/ 3304715 w 4610101"/>
              <a:gd name="connsiteY22902" fmla="*/ 1006435 h 6557032"/>
              <a:gd name="connsiteX22903" fmla="*/ 3303602 w 4610101"/>
              <a:gd name="connsiteY22903" fmla="*/ 1006692 h 6557032"/>
              <a:gd name="connsiteX22904" fmla="*/ 3300185 w 4610101"/>
              <a:gd name="connsiteY22904" fmla="*/ 987331 h 6557032"/>
              <a:gd name="connsiteX22905" fmla="*/ 1064151 w 4610101"/>
              <a:gd name="connsiteY22905" fmla="*/ 973893 h 6557032"/>
              <a:gd name="connsiteX22906" fmla="*/ 1065972 w 4610101"/>
              <a:gd name="connsiteY22906" fmla="*/ 979360 h 6557032"/>
              <a:gd name="connsiteX22907" fmla="*/ 1067794 w 4610101"/>
              <a:gd name="connsiteY22907" fmla="*/ 979360 h 6557032"/>
              <a:gd name="connsiteX22908" fmla="*/ 1060506 w 4610101"/>
              <a:gd name="connsiteY22908" fmla="*/ 986649 h 6557032"/>
              <a:gd name="connsiteX22909" fmla="*/ 1065972 w 4610101"/>
              <a:gd name="connsiteY22909" fmla="*/ 990293 h 6557032"/>
              <a:gd name="connsiteX22910" fmla="*/ 1060506 w 4610101"/>
              <a:gd name="connsiteY22910" fmla="*/ 988471 h 6557032"/>
              <a:gd name="connsiteX22911" fmla="*/ 1056861 w 4610101"/>
              <a:gd name="connsiteY22911" fmla="*/ 993937 h 6557032"/>
              <a:gd name="connsiteX22912" fmla="*/ 1065972 w 4610101"/>
              <a:gd name="connsiteY22912" fmla="*/ 990293 h 6557032"/>
              <a:gd name="connsiteX22913" fmla="*/ 1075083 w 4610101"/>
              <a:gd name="connsiteY22913" fmla="*/ 986649 h 6557032"/>
              <a:gd name="connsiteX22914" fmla="*/ 1075083 w 4610101"/>
              <a:gd name="connsiteY22914" fmla="*/ 984826 h 6557032"/>
              <a:gd name="connsiteX22915" fmla="*/ 1069616 w 4610101"/>
              <a:gd name="connsiteY22915" fmla="*/ 984826 h 6557032"/>
              <a:gd name="connsiteX22916" fmla="*/ 1067794 w 4610101"/>
              <a:gd name="connsiteY22916" fmla="*/ 973893 h 6557032"/>
              <a:gd name="connsiteX22917" fmla="*/ 1064151 w 4610101"/>
              <a:gd name="connsiteY22917" fmla="*/ 973893 h 6557032"/>
              <a:gd name="connsiteX22918" fmla="*/ 909265 w 4610101"/>
              <a:gd name="connsiteY22918" fmla="*/ 973893 h 6557032"/>
              <a:gd name="connsiteX22919" fmla="*/ 905621 w 4610101"/>
              <a:gd name="connsiteY22919" fmla="*/ 979360 h 6557032"/>
              <a:gd name="connsiteX22920" fmla="*/ 909265 w 4610101"/>
              <a:gd name="connsiteY22920" fmla="*/ 981182 h 6557032"/>
              <a:gd name="connsiteX22921" fmla="*/ 909265 w 4610101"/>
              <a:gd name="connsiteY22921" fmla="*/ 973893 h 6557032"/>
              <a:gd name="connsiteX22922" fmla="*/ 723404 w 4610101"/>
              <a:gd name="connsiteY22922" fmla="*/ 973893 h 6557032"/>
              <a:gd name="connsiteX22923" fmla="*/ 719759 w 4610101"/>
              <a:gd name="connsiteY22923" fmla="*/ 977538 h 6557032"/>
              <a:gd name="connsiteX22924" fmla="*/ 723404 w 4610101"/>
              <a:gd name="connsiteY22924" fmla="*/ 973893 h 6557032"/>
              <a:gd name="connsiteX22925" fmla="*/ 677849 w 4610101"/>
              <a:gd name="connsiteY22925" fmla="*/ 973893 h 6557032"/>
              <a:gd name="connsiteX22926" fmla="*/ 676027 w 4610101"/>
              <a:gd name="connsiteY22926" fmla="*/ 979360 h 6557032"/>
              <a:gd name="connsiteX22927" fmla="*/ 677849 w 4610101"/>
              <a:gd name="connsiteY22927" fmla="*/ 973893 h 6557032"/>
              <a:gd name="connsiteX22928" fmla="*/ 661449 w 4610101"/>
              <a:gd name="connsiteY22928" fmla="*/ 973893 h 6557032"/>
              <a:gd name="connsiteX22929" fmla="*/ 670560 w 4610101"/>
              <a:gd name="connsiteY22929" fmla="*/ 979360 h 6557032"/>
              <a:gd name="connsiteX22930" fmla="*/ 661449 w 4610101"/>
              <a:gd name="connsiteY22930" fmla="*/ 973893 h 6557032"/>
              <a:gd name="connsiteX22931" fmla="*/ 497454 w 4610101"/>
              <a:gd name="connsiteY22931" fmla="*/ 973893 h 6557032"/>
              <a:gd name="connsiteX22932" fmla="*/ 502920 w 4610101"/>
              <a:gd name="connsiteY22932" fmla="*/ 979360 h 6557032"/>
              <a:gd name="connsiteX22933" fmla="*/ 497454 w 4610101"/>
              <a:gd name="connsiteY22933" fmla="*/ 973893 h 6557032"/>
              <a:gd name="connsiteX22934" fmla="*/ 457367 w 4610101"/>
              <a:gd name="connsiteY22934" fmla="*/ 973893 h 6557032"/>
              <a:gd name="connsiteX22935" fmla="*/ 484700 w 4610101"/>
              <a:gd name="connsiteY22935" fmla="*/ 993937 h 6557032"/>
              <a:gd name="connsiteX22936" fmla="*/ 457367 w 4610101"/>
              <a:gd name="connsiteY22936" fmla="*/ 973893 h 6557032"/>
              <a:gd name="connsiteX22937" fmla="*/ 309771 w 4610101"/>
              <a:gd name="connsiteY22937" fmla="*/ 973893 h 6557032"/>
              <a:gd name="connsiteX22938" fmla="*/ 315236 w 4610101"/>
              <a:gd name="connsiteY22938" fmla="*/ 979360 h 6557032"/>
              <a:gd name="connsiteX22939" fmla="*/ 309771 w 4610101"/>
              <a:gd name="connsiteY22939" fmla="*/ 973893 h 6557032"/>
              <a:gd name="connsiteX22940" fmla="*/ 189506 w 4610101"/>
              <a:gd name="connsiteY22940" fmla="*/ 973893 h 6557032"/>
              <a:gd name="connsiteX22941" fmla="*/ 205906 w 4610101"/>
              <a:gd name="connsiteY22941" fmla="*/ 988471 h 6557032"/>
              <a:gd name="connsiteX22942" fmla="*/ 198617 w 4610101"/>
              <a:gd name="connsiteY22942" fmla="*/ 975715 h 6557032"/>
              <a:gd name="connsiteX22943" fmla="*/ 189506 w 4610101"/>
              <a:gd name="connsiteY22943" fmla="*/ 973893 h 6557032"/>
              <a:gd name="connsiteX22944" fmla="*/ 156707 w 4610101"/>
              <a:gd name="connsiteY22944" fmla="*/ 973893 h 6557032"/>
              <a:gd name="connsiteX22945" fmla="*/ 163085 w 4610101"/>
              <a:gd name="connsiteY22945" fmla="*/ 978448 h 6557032"/>
              <a:gd name="connsiteX22946" fmla="*/ 165589 w 4610101"/>
              <a:gd name="connsiteY22946" fmla="*/ 980237 h 6557032"/>
              <a:gd name="connsiteX22947" fmla="*/ 163313 w 4610101"/>
              <a:gd name="connsiteY22947" fmla="*/ 979131 h 6557032"/>
              <a:gd name="connsiteX22948" fmla="*/ 156707 w 4610101"/>
              <a:gd name="connsiteY22948" fmla="*/ 973893 h 6557032"/>
              <a:gd name="connsiteX22949" fmla="*/ 2558332 w 4610101"/>
              <a:gd name="connsiteY22949" fmla="*/ 972071 h 6557032"/>
              <a:gd name="connsiteX22950" fmla="*/ 2541933 w 4610101"/>
              <a:gd name="connsiteY22950" fmla="*/ 983004 h 6557032"/>
              <a:gd name="connsiteX22951" fmla="*/ 2560155 w 4610101"/>
              <a:gd name="connsiteY22951" fmla="*/ 977538 h 6557032"/>
              <a:gd name="connsiteX22952" fmla="*/ 2558332 w 4610101"/>
              <a:gd name="connsiteY22952" fmla="*/ 977538 h 6557032"/>
              <a:gd name="connsiteX22953" fmla="*/ 2558332 w 4610101"/>
              <a:gd name="connsiteY22953" fmla="*/ 972071 h 6557032"/>
              <a:gd name="connsiteX22954" fmla="*/ 1211747 w 4610101"/>
              <a:gd name="connsiteY22954" fmla="*/ 972071 h 6557032"/>
              <a:gd name="connsiteX22955" fmla="*/ 1209925 w 4610101"/>
              <a:gd name="connsiteY22955" fmla="*/ 977538 h 6557032"/>
              <a:gd name="connsiteX22956" fmla="*/ 1208102 w 4610101"/>
              <a:gd name="connsiteY22956" fmla="*/ 973893 h 6557032"/>
              <a:gd name="connsiteX22957" fmla="*/ 1211747 w 4610101"/>
              <a:gd name="connsiteY22957" fmla="*/ 972071 h 6557032"/>
              <a:gd name="connsiteX22958" fmla="*/ 479232 w 4610101"/>
              <a:gd name="connsiteY22958" fmla="*/ 972071 h 6557032"/>
              <a:gd name="connsiteX22959" fmla="*/ 484700 w 4610101"/>
              <a:gd name="connsiteY22959" fmla="*/ 973893 h 6557032"/>
              <a:gd name="connsiteX22960" fmla="*/ 479232 w 4610101"/>
              <a:gd name="connsiteY22960" fmla="*/ 972071 h 6557032"/>
              <a:gd name="connsiteX22961" fmla="*/ 256927 w 4610101"/>
              <a:gd name="connsiteY22961" fmla="*/ 972071 h 6557032"/>
              <a:gd name="connsiteX22962" fmla="*/ 264216 w 4610101"/>
              <a:gd name="connsiteY22962" fmla="*/ 977538 h 6557032"/>
              <a:gd name="connsiteX22963" fmla="*/ 256927 w 4610101"/>
              <a:gd name="connsiteY22963" fmla="*/ 972071 h 6557032"/>
              <a:gd name="connsiteX22964" fmla="*/ 52843 w 4610101"/>
              <a:gd name="connsiteY22964" fmla="*/ 970293 h 6557032"/>
              <a:gd name="connsiteX22965" fmla="*/ 69243 w 4610101"/>
              <a:gd name="connsiteY22965" fmla="*/ 988516 h 6557032"/>
              <a:gd name="connsiteX22966" fmla="*/ 69245 w 4610101"/>
              <a:gd name="connsiteY22966" fmla="*/ 988517 h 6557032"/>
              <a:gd name="connsiteX22967" fmla="*/ 69246 w 4610101"/>
              <a:gd name="connsiteY22967" fmla="*/ 988518 h 6557032"/>
              <a:gd name="connsiteX22968" fmla="*/ 69246 w 4610101"/>
              <a:gd name="connsiteY22968" fmla="*/ 988519 h 6557032"/>
              <a:gd name="connsiteX22969" fmla="*/ 69248 w 4610101"/>
              <a:gd name="connsiteY22969" fmla="*/ 988520 h 6557032"/>
              <a:gd name="connsiteX22970" fmla="*/ 69247 w 4610101"/>
              <a:gd name="connsiteY22970" fmla="*/ 988520 h 6557032"/>
              <a:gd name="connsiteX22971" fmla="*/ 69254 w 4610101"/>
              <a:gd name="connsiteY22971" fmla="*/ 988527 h 6557032"/>
              <a:gd name="connsiteX22972" fmla="*/ 89288 w 4610101"/>
              <a:gd name="connsiteY22972" fmla="*/ 1012205 h 6557032"/>
              <a:gd name="connsiteX22973" fmla="*/ 52843 w 4610101"/>
              <a:gd name="connsiteY22973" fmla="*/ 970293 h 6557032"/>
              <a:gd name="connsiteX22974" fmla="*/ 2498201 w 4610101"/>
              <a:gd name="connsiteY22974" fmla="*/ 970249 h 6557032"/>
              <a:gd name="connsiteX22975" fmla="*/ 2492734 w 4610101"/>
              <a:gd name="connsiteY22975" fmla="*/ 992115 h 6557032"/>
              <a:gd name="connsiteX22976" fmla="*/ 2485446 w 4610101"/>
              <a:gd name="connsiteY22976" fmla="*/ 1006692 h 6557032"/>
              <a:gd name="connsiteX22977" fmla="*/ 2509134 w 4610101"/>
              <a:gd name="connsiteY22977" fmla="*/ 981182 h 6557032"/>
              <a:gd name="connsiteX22978" fmla="*/ 2498201 w 4610101"/>
              <a:gd name="connsiteY22978" fmla="*/ 970249 h 6557032"/>
              <a:gd name="connsiteX22979" fmla="*/ 818156 w 4610101"/>
              <a:gd name="connsiteY22979" fmla="*/ 970249 h 6557032"/>
              <a:gd name="connsiteX22980" fmla="*/ 801757 w 4610101"/>
              <a:gd name="connsiteY22980" fmla="*/ 972071 h 6557032"/>
              <a:gd name="connsiteX22981" fmla="*/ 818156 w 4610101"/>
              <a:gd name="connsiteY22981" fmla="*/ 970249 h 6557032"/>
              <a:gd name="connsiteX22982" fmla="*/ 734336 w 4610101"/>
              <a:gd name="connsiteY22982" fmla="*/ 970249 h 6557032"/>
              <a:gd name="connsiteX22983" fmla="*/ 734336 w 4610101"/>
              <a:gd name="connsiteY22983" fmla="*/ 971463 h 6557032"/>
              <a:gd name="connsiteX22984" fmla="*/ 733832 w 4610101"/>
              <a:gd name="connsiteY22984" fmla="*/ 970624 h 6557032"/>
              <a:gd name="connsiteX22985" fmla="*/ 683316 w 4610101"/>
              <a:gd name="connsiteY22985" fmla="*/ 970249 h 6557032"/>
              <a:gd name="connsiteX22986" fmla="*/ 679671 w 4610101"/>
              <a:gd name="connsiteY22986" fmla="*/ 975715 h 6557032"/>
              <a:gd name="connsiteX22987" fmla="*/ 686960 w 4610101"/>
              <a:gd name="connsiteY22987" fmla="*/ 979360 h 6557032"/>
              <a:gd name="connsiteX22988" fmla="*/ 683316 w 4610101"/>
              <a:gd name="connsiteY22988" fmla="*/ 970249 h 6557032"/>
              <a:gd name="connsiteX22989" fmla="*/ 650516 w 4610101"/>
              <a:gd name="connsiteY22989" fmla="*/ 970249 h 6557032"/>
              <a:gd name="connsiteX22990" fmla="*/ 659627 w 4610101"/>
              <a:gd name="connsiteY22990" fmla="*/ 993937 h 6557032"/>
              <a:gd name="connsiteX22991" fmla="*/ 655983 w 4610101"/>
              <a:gd name="connsiteY22991" fmla="*/ 984826 h 6557032"/>
              <a:gd name="connsiteX22992" fmla="*/ 661449 w 4610101"/>
              <a:gd name="connsiteY22992" fmla="*/ 990293 h 6557032"/>
              <a:gd name="connsiteX22993" fmla="*/ 650516 w 4610101"/>
              <a:gd name="connsiteY22993" fmla="*/ 970249 h 6557032"/>
              <a:gd name="connsiteX22994" fmla="*/ 619539 w 4610101"/>
              <a:gd name="connsiteY22994" fmla="*/ 970249 h 6557032"/>
              <a:gd name="connsiteX22995" fmla="*/ 615895 w 4610101"/>
              <a:gd name="connsiteY22995" fmla="*/ 973893 h 6557032"/>
              <a:gd name="connsiteX22996" fmla="*/ 630472 w 4610101"/>
              <a:gd name="connsiteY22996" fmla="*/ 983004 h 6557032"/>
              <a:gd name="connsiteX22997" fmla="*/ 619539 w 4610101"/>
              <a:gd name="connsiteY22997" fmla="*/ 970249 h 6557032"/>
              <a:gd name="connsiteX22998" fmla="*/ 72887 w 4610101"/>
              <a:gd name="connsiteY22998" fmla="*/ 970249 h 6557032"/>
              <a:gd name="connsiteX22999" fmla="*/ 74123 w 4610101"/>
              <a:gd name="connsiteY22999" fmla="*/ 972273 h 6557032"/>
              <a:gd name="connsiteX23000" fmla="*/ 83592 w 4610101"/>
              <a:gd name="connsiteY23000" fmla="*/ 987787 h 6557032"/>
              <a:gd name="connsiteX23001" fmla="*/ 98398 w 4610101"/>
              <a:gd name="connsiteY23001" fmla="*/ 1001226 h 6557032"/>
              <a:gd name="connsiteX23002" fmla="*/ 87465 w 4610101"/>
              <a:gd name="connsiteY23002" fmla="*/ 988471 h 6557032"/>
              <a:gd name="connsiteX23003" fmla="*/ 140308 w 4610101"/>
              <a:gd name="connsiteY23003" fmla="*/ 1034025 h 6557032"/>
              <a:gd name="connsiteX23004" fmla="*/ 92931 w 4610101"/>
              <a:gd name="connsiteY23004" fmla="*/ 990293 h 6557032"/>
              <a:gd name="connsiteX23005" fmla="*/ 107509 w 4610101"/>
              <a:gd name="connsiteY23005" fmla="*/ 1003047 h 6557032"/>
              <a:gd name="connsiteX23006" fmla="*/ 72887 w 4610101"/>
              <a:gd name="connsiteY23006" fmla="*/ 970249 h 6557032"/>
              <a:gd name="connsiteX23007" fmla="*/ 418645 w 4610101"/>
              <a:gd name="connsiteY23007" fmla="*/ 968882 h 6557032"/>
              <a:gd name="connsiteX23008" fmla="*/ 413634 w 4610101"/>
              <a:gd name="connsiteY23008" fmla="*/ 973893 h 6557032"/>
              <a:gd name="connsiteX23009" fmla="*/ 411812 w 4610101"/>
              <a:gd name="connsiteY23009" fmla="*/ 975715 h 6557032"/>
              <a:gd name="connsiteX23010" fmla="*/ 406345 w 4610101"/>
              <a:gd name="connsiteY23010" fmla="*/ 977538 h 6557032"/>
              <a:gd name="connsiteX23011" fmla="*/ 415456 w 4610101"/>
              <a:gd name="connsiteY23011" fmla="*/ 983004 h 6557032"/>
              <a:gd name="connsiteX23012" fmla="*/ 411812 w 4610101"/>
              <a:gd name="connsiteY23012" fmla="*/ 975715 h 6557032"/>
              <a:gd name="connsiteX23013" fmla="*/ 430034 w 4610101"/>
              <a:gd name="connsiteY23013" fmla="*/ 990293 h 6557032"/>
              <a:gd name="connsiteX23014" fmla="*/ 415456 w 4610101"/>
              <a:gd name="connsiteY23014" fmla="*/ 979360 h 6557032"/>
              <a:gd name="connsiteX23015" fmla="*/ 419100 w 4610101"/>
              <a:gd name="connsiteY23015" fmla="*/ 979360 h 6557032"/>
              <a:gd name="connsiteX23016" fmla="*/ 413634 w 4610101"/>
              <a:gd name="connsiteY23016" fmla="*/ 973893 h 6557032"/>
              <a:gd name="connsiteX23017" fmla="*/ 428211 w 4610101"/>
              <a:gd name="connsiteY23017" fmla="*/ 975715 h 6557032"/>
              <a:gd name="connsiteX23018" fmla="*/ 418645 w 4610101"/>
              <a:gd name="connsiteY23018" fmla="*/ 968882 h 6557032"/>
              <a:gd name="connsiteX23019" fmla="*/ 2285007 w 4610101"/>
              <a:gd name="connsiteY23019" fmla="*/ 968427 h 6557032"/>
              <a:gd name="connsiteX23020" fmla="*/ 2275896 w 4610101"/>
              <a:gd name="connsiteY23020" fmla="*/ 979360 h 6557032"/>
              <a:gd name="connsiteX23021" fmla="*/ 2290473 w 4610101"/>
              <a:gd name="connsiteY23021" fmla="*/ 975715 h 6557032"/>
              <a:gd name="connsiteX23022" fmla="*/ 2285007 w 4610101"/>
              <a:gd name="connsiteY23022" fmla="*/ 968427 h 6557032"/>
              <a:gd name="connsiteX23023" fmla="*/ 1058683 w 4610101"/>
              <a:gd name="connsiteY23023" fmla="*/ 968427 h 6557032"/>
              <a:gd name="connsiteX23024" fmla="*/ 1056861 w 4610101"/>
              <a:gd name="connsiteY23024" fmla="*/ 970249 h 6557032"/>
              <a:gd name="connsiteX23025" fmla="*/ 1042284 w 4610101"/>
              <a:gd name="connsiteY23025" fmla="*/ 977538 h 6557032"/>
              <a:gd name="connsiteX23026" fmla="*/ 1044678 w 4610101"/>
              <a:gd name="connsiteY23026" fmla="*/ 979134 h 6557032"/>
              <a:gd name="connsiteX23027" fmla="*/ 1033173 w 4610101"/>
              <a:gd name="connsiteY23027" fmla="*/ 979360 h 6557032"/>
              <a:gd name="connsiteX23028" fmla="*/ 1036818 w 4610101"/>
              <a:gd name="connsiteY23028" fmla="*/ 1004870 h 6557032"/>
              <a:gd name="connsiteX23029" fmla="*/ 1053217 w 4610101"/>
              <a:gd name="connsiteY23029" fmla="*/ 993937 h 6557032"/>
              <a:gd name="connsiteX23030" fmla="*/ 1047750 w 4610101"/>
              <a:gd name="connsiteY23030" fmla="*/ 990293 h 6557032"/>
              <a:gd name="connsiteX23031" fmla="*/ 1055040 w 4610101"/>
              <a:gd name="connsiteY23031" fmla="*/ 988471 h 6557032"/>
              <a:gd name="connsiteX23032" fmla="*/ 1045101 w 4610101"/>
              <a:gd name="connsiteY23032" fmla="*/ 979416 h 6557032"/>
              <a:gd name="connsiteX23033" fmla="*/ 1053217 w 4610101"/>
              <a:gd name="connsiteY23033" fmla="*/ 984826 h 6557032"/>
              <a:gd name="connsiteX23034" fmla="*/ 1056861 w 4610101"/>
              <a:gd name="connsiteY23034" fmla="*/ 984826 h 6557032"/>
              <a:gd name="connsiteX23035" fmla="*/ 1060506 w 4610101"/>
              <a:gd name="connsiteY23035" fmla="*/ 981182 h 6557032"/>
              <a:gd name="connsiteX23036" fmla="*/ 1056861 w 4610101"/>
              <a:gd name="connsiteY23036" fmla="*/ 970249 h 6557032"/>
              <a:gd name="connsiteX23037" fmla="*/ 1060506 w 4610101"/>
              <a:gd name="connsiteY23037" fmla="*/ 973893 h 6557032"/>
              <a:gd name="connsiteX23038" fmla="*/ 1058683 w 4610101"/>
              <a:gd name="connsiteY23038" fmla="*/ 968427 h 6557032"/>
              <a:gd name="connsiteX23039" fmla="*/ 1049573 w 4610101"/>
              <a:gd name="connsiteY23039" fmla="*/ 968427 h 6557032"/>
              <a:gd name="connsiteX23040" fmla="*/ 1034995 w 4610101"/>
              <a:gd name="connsiteY23040" fmla="*/ 972071 h 6557032"/>
              <a:gd name="connsiteX23041" fmla="*/ 1049573 w 4610101"/>
              <a:gd name="connsiteY23041" fmla="*/ 968427 h 6557032"/>
              <a:gd name="connsiteX23042" fmla="*/ 1031351 w 4610101"/>
              <a:gd name="connsiteY23042" fmla="*/ 968427 h 6557032"/>
              <a:gd name="connsiteX23043" fmla="*/ 1024062 w 4610101"/>
              <a:gd name="connsiteY23043" fmla="*/ 973893 h 6557032"/>
              <a:gd name="connsiteX23044" fmla="*/ 1031351 w 4610101"/>
              <a:gd name="connsiteY23044" fmla="*/ 968427 h 6557032"/>
              <a:gd name="connsiteX23045" fmla="*/ 1005840 w 4610101"/>
              <a:gd name="connsiteY23045" fmla="*/ 968427 h 6557032"/>
              <a:gd name="connsiteX23046" fmla="*/ 998552 w 4610101"/>
              <a:gd name="connsiteY23046" fmla="*/ 975715 h 6557032"/>
              <a:gd name="connsiteX23047" fmla="*/ 1000374 w 4610101"/>
              <a:gd name="connsiteY23047" fmla="*/ 977538 h 6557032"/>
              <a:gd name="connsiteX23048" fmla="*/ 1005840 w 4610101"/>
              <a:gd name="connsiteY23048" fmla="*/ 968427 h 6557032"/>
              <a:gd name="connsiteX23049" fmla="*/ 949353 w 4610101"/>
              <a:gd name="connsiteY23049" fmla="*/ 968427 h 6557032"/>
              <a:gd name="connsiteX23050" fmla="*/ 952997 w 4610101"/>
              <a:gd name="connsiteY23050" fmla="*/ 986649 h 6557032"/>
              <a:gd name="connsiteX23051" fmla="*/ 958464 w 4610101"/>
              <a:gd name="connsiteY23051" fmla="*/ 975715 h 6557032"/>
              <a:gd name="connsiteX23052" fmla="*/ 949353 w 4610101"/>
              <a:gd name="connsiteY23052" fmla="*/ 968427 h 6557032"/>
              <a:gd name="connsiteX23053" fmla="*/ 317059 w 4610101"/>
              <a:gd name="connsiteY23053" fmla="*/ 968427 h 6557032"/>
              <a:gd name="connsiteX23054" fmla="*/ 315236 w 4610101"/>
              <a:gd name="connsiteY23054" fmla="*/ 970249 h 6557032"/>
              <a:gd name="connsiteX23055" fmla="*/ 320703 w 4610101"/>
              <a:gd name="connsiteY23055" fmla="*/ 973893 h 6557032"/>
              <a:gd name="connsiteX23056" fmla="*/ 317059 w 4610101"/>
              <a:gd name="connsiteY23056" fmla="*/ 968427 h 6557032"/>
              <a:gd name="connsiteX23057" fmla="*/ 284259 w 4610101"/>
              <a:gd name="connsiteY23057" fmla="*/ 968427 h 6557032"/>
              <a:gd name="connsiteX23058" fmla="*/ 298837 w 4610101"/>
              <a:gd name="connsiteY23058" fmla="*/ 984826 h 6557032"/>
              <a:gd name="connsiteX23059" fmla="*/ 298837 w 4610101"/>
              <a:gd name="connsiteY23059" fmla="*/ 977538 h 6557032"/>
              <a:gd name="connsiteX23060" fmla="*/ 315236 w 4610101"/>
              <a:gd name="connsiteY23060" fmla="*/ 993937 h 6557032"/>
              <a:gd name="connsiteX23061" fmla="*/ 297015 w 4610101"/>
              <a:gd name="connsiteY23061" fmla="*/ 972071 h 6557032"/>
              <a:gd name="connsiteX23062" fmla="*/ 284259 w 4610101"/>
              <a:gd name="connsiteY23062" fmla="*/ 968427 h 6557032"/>
              <a:gd name="connsiteX23063" fmla="*/ 242349 w 4610101"/>
              <a:gd name="connsiteY23063" fmla="*/ 968427 h 6557032"/>
              <a:gd name="connsiteX23064" fmla="*/ 258749 w 4610101"/>
              <a:gd name="connsiteY23064" fmla="*/ 986649 h 6557032"/>
              <a:gd name="connsiteX23065" fmla="*/ 264216 w 4610101"/>
              <a:gd name="connsiteY23065" fmla="*/ 990293 h 6557032"/>
              <a:gd name="connsiteX23066" fmla="*/ 258749 w 4610101"/>
              <a:gd name="connsiteY23066" fmla="*/ 986649 h 6557032"/>
              <a:gd name="connsiteX23067" fmla="*/ 242349 w 4610101"/>
              <a:gd name="connsiteY23067" fmla="*/ 968427 h 6557032"/>
              <a:gd name="connsiteX23068" fmla="*/ 222306 w 4610101"/>
              <a:gd name="connsiteY23068" fmla="*/ 968427 h 6557032"/>
              <a:gd name="connsiteX23069" fmla="*/ 236883 w 4610101"/>
              <a:gd name="connsiteY23069" fmla="*/ 984826 h 6557032"/>
              <a:gd name="connsiteX23070" fmla="*/ 235061 w 4610101"/>
              <a:gd name="connsiteY23070" fmla="*/ 981182 h 6557032"/>
              <a:gd name="connsiteX23071" fmla="*/ 247816 w 4610101"/>
              <a:gd name="connsiteY23071" fmla="*/ 986649 h 6557032"/>
              <a:gd name="connsiteX23072" fmla="*/ 222306 w 4610101"/>
              <a:gd name="connsiteY23072" fmla="*/ 968427 h 6557032"/>
              <a:gd name="connsiteX23073" fmla="*/ 187684 w 4610101"/>
              <a:gd name="connsiteY23073" fmla="*/ 968427 h 6557032"/>
              <a:gd name="connsiteX23074" fmla="*/ 196795 w 4610101"/>
              <a:gd name="connsiteY23074" fmla="*/ 973893 h 6557032"/>
              <a:gd name="connsiteX23075" fmla="*/ 187684 w 4610101"/>
              <a:gd name="connsiteY23075" fmla="*/ 968427 h 6557032"/>
              <a:gd name="connsiteX23076" fmla="*/ 2339672 w 4610101"/>
              <a:gd name="connsiteY23076" fmla="*/ 968427 h 6557032"/>
              <a:gd name="connsiteX23077" fmla="*/ 2341521 w 4610101"/>
              <a:gd name="connsiteY23077" fmla="*/ 969351 h 6557032"/>
              <a:gd name="connsiteX23078" fmla="*/ 2341494 w 4610101"/>
              <a:gd name="connsiteY23078" fmla="*/ 970249 h 6557032"/>
              <a:gd name="connsiteX23079" fmla="*/ 2339276 w 4610101"/>
              <a:gd name="connsiteY23079" fmla="*/ 968823 h 6557032"/>
              <a:gd name="connsiteX23080" fmla="*/ 1326221 w 4610101"/>
              <a:gd name="connsiteY23080" fmla="*/ 968248 h 6557032"/>
              <a:gd name="connsiteX23081" fmla="*/ 1328365 w 4610101"/>
              <a:gd name="connsiteY23081" fmla="*/ 968427 h 6557032"/>
              <a:gd name="connsiteX23082" fmla="*/ 1327089 w 4610101"/>
              <a:gd name="connsiteY23082" fmla="*/ 969702 h 6557032"/>
              <a:gd name="connsiteX23083" fmla="*/ 1324721 w 4610101"/>
              <a:gd name="connsiteY23083" fmla="*/ 970249 h 6557032"/>
              <a:gd name="connsiteX23084" fmla="*/ 3172405 w 4610101"/>
              <a:gd name="connsiteY23084" fmla="*/ 966604 h 6557032"/>
              <a:gd name="connsiteX23085" fmla="*/ 3154184 w 4610101"/>
              <a:gd name="connsiteY23085" fmla="*/ 981182 h 6557032"/>
              <a:gd name="connsiteX23086" fmla="*/ 3168761 w 4610101"/>
              <a:gd name="connsiteY23086" fmla="*/ 983004 h 6557032"/>
              <a:gd name="connsiteX23087" fmla="*/ 3172405 w 4610101"/>
              <a:gd name="connsiteY23087" fmla="*/ 966604 h 6557032"/>
              <a:gd name="connsiteX23088" fmla="*/ 2425314 w 4610101"/>
              <a:gd name="connsiteY23088" fmla="*/ 966604 h 6557032"/>
              <a:gd name="connsiteX23089" fmla="*/ 2416203 w 4610101"/>
              <a:gd name="connsiteY23089" fmla="*/ 975715 h 6557032"/>
              <a:gd name="connsiteX23090" fmla="*/ 2458113 w 4610101"/>
              <a:gd name="connsiteY23090" fmla="*/ 990293 h 6557032"/>
              <a:gd name="connsiteX23091" fmla="*/ 2463580 w 4610101"/>
              <a:gd name="connsiteY23091" fmla="*/ 1001226 h 6557032"/>
              <a:gd name="connsiteX23092" fmla="*/ 2463580 w 4610101"/>
              <a:gd name="connsiteY23092" fmla="*/ 993937 h 6557032"/>
              <a:gd name="connsiteX23093" fmla="*/ 2469046 w 4610101"/>
              <a:gd name="connsiteY23093" fmla="*/ 1004870 h 6557032"/>
              <a:gd name="connsiteX23094" fmla="*/ 2463580 w 4610101"/>
              <a:gd name="connsiteY23094" fmla="*/ 1006692 h 6557032"/>
              <a:gd name="connsiteX23095" fmla="*/ 2467224 w 4610101"/>
              <a:gd name="connsiteY23095" fmla="*/ 1013981 h 6557032"/>
              <a:gd name="connsiteX23096" fmla="*/ 2479979 w 4610101"/>
              <a:gd name="connsiteY23096" fmla="*/ 975715 h 6557032"/>
              <a:gd name="connsiteX23097" fmla="*/ 2454469 w 4610101"/>
              <a:gd name="connsiteY23097" fmla="*/ 990293 h 6557032"/>
              <a:gd name="connsiteX23098" fmla="*/ 2450824 w 4610101"/>
              <a:gd name="connsiteY23098" fmla="*/ 975715 h 6557032"/>
              <a:gd name="connsiteX23099" fmla="*/ 2445358 w 4610101"/>
              <a:gd name="connsiteY23099" fmla="*/ 975715 h 6557032"/>
              <a:gd name="connsiteX23100" fmla="*/ 2445358 w 4610101"/>
              <a:gd name="connsiteY23100" fmla="*/ 966604 h 6557032"/>
              <a:gd name="connsiteX23101" fmla="*/ 2439891 w 4610101"/>
              <a:gd name="connsiteY23101" fmla="*/ 966604 h 6557032"/>
              <a:gd name="connsiteX23102" fmla="*/ 2441713 w 4610101"/>
              <a:gd name="connsiteY23102" fmla="*/ 975715 h 6557032"/>
              <a:gd name="connsiteX23103" fmla="*/ 2434425 w 4610101"/>
              <a:gd name="connsiteY23103" fmla="*/ 970249 h 6557032"/>
              <a:gd name="connsiteX23104" fmla="*/ 2430780 w 4610101"/>
              <a:gd name="connsiteY23104" fmla="*/ 983004 h 6557032"/>
              <a:gd name="connsiteX23105" fmla="*/ 2425314 w 4610101"/>
              <a:gd name="connsiteY23105" fmla="*/ 966604 h 6557032"/>
              <a:gd name="connsiteX23106" fmla="*/ 236883 w 4610101"/>
              <a:gd name="connsiteY23106" fmla="*/ 966604 h 6557032"/>
              <a:gd name="connsiteX23107" fmla="*/ 245565 w 4610101"/>
              <a:gd name="connsiteY23107" fmla="*/ 976527 h 6557032"/>
              <a:gd name="connsiteX23108" fmla="*/ 245994 w 4610101"/>
              <a:gd name="connsiteY23108" fmla="*/ 977538 h 6557032"/>
              <a:gd name="connsiteX23109" fmla="*/ 249638 w 4610101"/>
              <a:gd name="connsiteY23109" fmla="*/ 981182 h 6557032"/>
              <a:gd name="connsiteX23110" fmla="*/ 245565 w 4610101"/>
              <a:gd name="connsiteY23110" fmla="*/ 976527 h 6557032"/>
              <a:gd name="connsiteX23111" fmla="*/ 242805 w 4610101"/>
              <a:gd name="connsiteY23111" fmla="*/ 970021 h 6557032"/>
              <a:gd name="connsiteX23112" fmla="*/ 236883 w 4610101"/>
              <a:gd name="connsiteY23112" fmla="*/ 966604 h 6557032"/>
              <a:gd name="connsiteX23113" fmla="*/ 982152 w 4610101"/>
              <a:gd name="connsiteY23113" fmla="*/ 965693 h 6557032"/>
              <a:gd name="connsiteX23114" fmla="*/ 983366 w 4610101"/>
              <a:gd name="connsiteY23114" fmla="*/ 965997 h 6557032"/>
              <a:gd name="connsiteX23115" fmla="*/ 983974 w 4610101"/>
              <a:gd name="connsiteY23115" fmla="*/ 966604 h 6557032"/>
              <a:gd name="connsiteX23116" fmla="*/ 2563799 w 4610101"/>
              <a:gd name="connsiteY23116" fmla="*/ 964782 h 6557032"/>
              <a:gd name="connsiteX23117" fmla="*/ 2563799 w 4610101"/>
              <a:gd name="connsiteY23117" fmla="*/ 981182 h 6557032"/>
              <a:gd name="connsiteX23118" fmla="*/ 2578377 w 4610101"/>
              <a:gd name="connsiteY23118" fmla="*/ 979360 h 6557032"/>
              <a:gd name="connsiteX23119" fmla="*/ 2563799 w 4610101"/>
              <a:gd name="connsiteY23119" fmla="*/ 964782 h 6557032"/>
              <a:gd name="connsiteX23120" fmla="*/ 2337850 w 4610101"/>
              <a:gd name="connsiteY23120" fmla="*/ 964782 h 6557032"/>
              <a:gd name="connsiteX23121" fmla="*/ 2338305 w 4610101"/>
              <a:gd name="connsiteY23121" fmla="*/ 968199 h 6557032"/>
              <a:gd name="connsiteX23122" fmla="*/ 2339276 w 4610101"/>
              <a:gd name="connsiteY23122" fmla="*/ 968823 h 6557032"/>
              <a:gd name="connsiteX23123" fmla="*/ 2336640 w 4610101"/>
              <a:gd name="connsiteY23123" fmla="*/ 971459 h 6557032"/>
              <a:gd name="connsiteX23124" fmla="*/ 2336158 w 4610101"/>
              <a:gd name="connsiteY23124" fmla="*/ 971546 h 6557032"/>
              <a:gd name="connsiteX23125" fmla="*/ 1198991 w 4610101"/>
              <a:gd name="connsiteY23125" fmla="*/ 964782 h 6557032"/>
              <a:gd name="connsiteX23126" fmla="*/ 1209925 w 4610101"/>
              <a:gd name="connsiteY23126" fmla="*/ 983004 h 6557032"/>
              <a:gd name="connsiteX23127" fmla="*/ 1211747 w 4610101"/>
              <a:gd name="connsiteY23127" fmla="*/ 981182 h 6557032"/>
              <a:gd name="connsiteX23128" fmla="*/ 1213568 w 4610101"/>
              <a:gd name="connsiteY23128" fmla="*/ 992115 h 6557032"/>
              <a:gd name="connsiteX23129" fmla="*/ 1219036 w 4610101"/>
              <a:gd name="connsiteY23129" fmla="*/ 986649 h 6557032"/>
              <a:gd name="connsiteX23130" fmla="*/ 1213568 w 4610101"/>
              <a:gd name="connsiteY23130" fmla="*/ 993937 h 6557032"/>
              <a:gd name="connsiteX23131" fmla="*/ 1217213 w 4610101"/>
              <a:gd name="connsiteY23131" fmla="*/ 999403 h 6557032"/>
              <a:gd name="connsiteX23132" fmla="*/ 1213568 w 4610101"/>
              <a:gd name="connsiteY23132" fmla="*/ 999403 h 6557032"/>
              <a:gd name="connsiteX23133" fmla="*/ 1211747 w 4610101"/>
              <a:gd name="connsiteY23133" fmla="*/ 995759 h 6557032"/>
              <a:gd name="connsiteX23134" fmla="*/ 1211747 w 4610101"/>
              <a:gd name="connsiteY23134" fmla="*/ 1003047 h 6557032"/>
              <a:gd name="connsiteX23135" fmla="*/ 1213568 w 4610101"/>
              <a:gd name="connsiteY23135" fmla="*/ 1001226 h 6557032"/>
              <a:gd name="connsiteX23136" fmla="*/ 1211747 w 4610101"/>
              <a:gd name="connsiteY23136" fmla="*/ 1012159 h 6557032"/>
              <a:gd name="connsiteX23137" fmla="*/ 1226323 w 4610101"/>
              <a:gd name="connsiteY23137" fmla="*/ 999403 h 6557032"/>
              <a:gd name="connsiteX23138" fmla="*/ 1224501 w 4610101"/>
              <a:gd name="connsiteY23138" fmla="*/ 995759 h 6557032"/>
              <a:gd name="connsiteX23139" fmla="*/ 1229969 w 4610101"/>
              <a:gd name="connsiteY23139" fmla="*/ 995759 h 6557032"/>
              <a:gd name="connsiteX23140" fmla="*/ 1213568 w 4610101"/>
              <a:gd name="connsiteY23140" fmla="*/ 1012159 h 6557032"/>
              <a:gd name="connsiteX23141" fmla="*/ 1217213 w 4610101"/>
              <a:gd name="connsiteY23141" fmla="*/ 1019448 h 6557032"/>
              <a:gd name="connsiteX23142" fmla="*/ 1222679 w 4610101"/>
              <a:gd name="connsiteY23142" fmla="*/ 1012159 h 6557032"/>
              <a:gd name="connsiteX23143" fmla="*/ 1226323 w 4610101"/>
              <a:gd name="connsiteY23143" fmla="*/ 1015803 h 6557032"/>
              <a:gd name="connsiteX23144" fmla="*/ 1239080 w 4610101"/>
              <a:gd name="connsiteY23144" fmla="*/ 986649 h 6557032"/>
              <a:gd name="connsiteX23145" fmla="*/ 1231790 w 4610101"/>
              <a:gd name="connsiteY23145" fmla="*/ 979360 h 6557032"/>
              <a:gd name="connsiteX23146" fmla="*/ 1222679 w 4610101"/>
              <a:gd name="connsiteY23146" fmla="*/ 979360 h 6557032"/>
              <a:gd name="connsiteX23147" fmla="*/ 1211747 w 4610101"/>
              <a:gd name="connsiteY23147" fmla="*/ 972071 h 6557032"/>
              <a:gd name="connsiteX23148" fmla="*/ 1209925 w 4610101"/>
              <a:gd name="connsiteY23148" fmla="*/ 968427 h 6557032"/>
              <a:gd name="connsiteX23149" fmla="*/ 1198991 w 4610101"/>
              <a:gd name="connsiteY23149" fmla="*/ 964782 h 6557032"/>
              <a:gd name="connsiteX23150" fmla="*/ 1197169 w 4610101"/>
              <a:gd name="connsiteY23150" fmla="*/ 964782 h 6557032"/>
              <a:gd name="connsiteX23151" fmla="*/ 1191703 w 4610101"/>
              <a:gd name="connsiteY23151" fmla="*/ 975715 h 6557032"/>
              <a:gd name="connsiteX23152" fmla="*/ 1198991 w 4610101"/>
              <a:gd name="connsiteY23152" fmla="*/ 972071 h 6557032"/>
              <a:gd name="connsiteX23153" fmla="*/ 1188058 w 4610101"/>
              <a:gd name="connsiteY23153" fmla="*/ 977538 h 6557032"/>
              <a:gd name="connsiteX23154" fmla="*/ 1193525 w 4610101"/>
              <a:gd name="connsiteY23154" fmla="*/ 997582 h 6557032"/>
              <a:gd name="connsiteX23155" fmla="*/ 1197169 w 4610101"/>
              <a:gd name="connsiteY23155" fmla="*/ 995759 h 6557032"/>
              <a:gd name="connsiteX23156" fmla="*/ 1189880 w 4610101"/>
              <a:gd name="connsiteY23156" fmla="*/ 1030381 h 6557032"/>
              <a:gd name="connsiteX23157" fmla="*/ 1186236 w 4610101"/>
              <a:gd name="connsiteY23157" fmla="*/ 1032203 h 6557032"/>
              <a:gd name="connsiteX23158" fmla="*/ 1189880 w 4610101"/>
              <a:gd name="connsiteY23158" fmla="*/ 1032203 h 6557032"/>
              <a:gd name="connsiteX23159" fmla="*/ 1191703 w 4610101"/>
              <a:gd name="connsiteY23159" fmla="*/ 1035847 h 6557032"/>
              <a:gd name="connsiteX23160" fmla="*/ 1195346 w 4610101"/>
              <a:gd name="connsiteY23160" fmla="*/ 1032203 h 6557032"/>
              <a:gd name="connsiteX23161" fmla="*/ 1193525 w 4610101"/>
              <a:gd name="connsiteY23161" fmla="*/ 1037669 h 6557032"/>
              <a:gd name="connsiteX23162" fmla="*/ 1204457 w 4610101"/>
              <a:gd name="connsiteY23162" fmla="*/ 1010337 h 6557032"/>
              <a:gd name="connsiteX23163" fmla="*/ 1208102 w 4610101"/>
              <a:gd name="connsiteY23163" fmla="*/ 990293 h 6557032"/>
              <a:gd name="connsiteX23164" fmla="*/ 1198991 w 4610101"/>
              <a:gd name="connsiteY23164" fmla="*/ 979360 h 6557032"/>
              <a:gd name="connsiteX23165" fmla="*/ 1200130 w 4610101"/>
              <a:gd name="connsiteY23165" fmla="*/ 979360 h 6557032"/>
              <a:gd name="connsiteX23166" fmla="*/ 1202635 w 4610101"/>
              <a:gd name="connsiteY23166" fmla="*/ 979360 h 6557032"/>
              <a:gd name="connsiteX23167" fmla="*/ 1202636 w 4610101"/>
              <a:gd name="connsiteY23167" fmla="*/ 979360 h 6557032"/>
              <a:gd name="connsiteX23168" fmla="*/ 1203774 w 4610101"/>
              <a:gd name="connsiteY23168" fmla="*/ 983688 h 6557032"/>
              <a:gd name="connsiteX23169" fmla="*/ 1206279 w 4610101"/>
              <a:gd name="connsiteY23169" fmla="*/ 986649 h 6557032"/>
              <a:gd name="connsiteX23170" fmla="*/ 1202636 w 4610101"/>
              <a:gd name="connsiteY23170" fmla="*/ 979360 h 6557032"/>
              <a:gd name="connsiteX23171" fmla="*/ 1202636 w 4610101"/>
              <a:gd name="connsiteY23171" fmla="*/ 979360 h 6557032"/>
              <a:gd name="connsiteX23172" fmla="*/ 1202635 w 4610101"/>
              <a:gd name="connsiteY23172" fmla="*/ 979360 h 6557032"/>
              <a:gd name="connsiteX23173" fmla="*/ 1198991 w 4610101"/>
              <a:gd name="connsiteY23173" fmla="*/ 972071 h 6557032"/>
              <a:gd name="connsiteX23174" fmla="*/ 1197169 w 4610101"/>
              <a:gd name="connsiteY23174" fmla="*/ 964782 h 6557032"/>
              <a:gd name="connsiteX23175" fmla="*/ 836378 w 4610101"/>
              <a:gd name="connsiteY23175" fmla="*/ 964782 h 6557032"/>
              <a:gd name="connsiteX23176" fmla="*/ 816933 w 4610101"/>
              <a:gd name="connsiteY23176" fmla="*/ 967774 h 6557032"/>
              <a:gd name="connsiteX23177" fmla="*/ 816334 w 4610101"/>
              <a:gd name="connsiteY23177" fmla="*/ 967288 h 6557032"/>
              <a:gd name="connsiteX23178" fmla="*/ 812690 w 4610101"/>
              <a:gd name="connsiteY23178" fmla="*/ 968427 h 6557032"/>
              <a:gd name="connsiteX23179" fmla="*/ 816933 w 4610101"/>
              <a:gd name="connsiteY23179" fmla="*/ 967774 h 6557032"/>
              <a:gd name="connsiteX23180" fmla="*/ 819979 w 4610101"/>
              <a:gd name="connsiteY23180" fmla="*/ 970249 h 6557032"/>
              <a:gd name="connsiteX23181" fmla="*/ 801757 w 4610101"/>
              <a:gd name="connsiteY23181" fmla="*/ 973893 h 6557032"/>
              <a:gd name="connsiteX23182" fmla="*/ 825445 w 4610101"/>
              <a:gd name="connsiteY23182" fmla="*/ 1004870 h 6557032"/>
              <a:gd name="connsiteX23183" fmla="*/ 823623 w 4610101"/>
              <a:gd name="connsiteY23183" fmla="*/ 983004 h 6557032"/>
              <a:gd name="connsiteX23184" fmla="*/ 840022 w 4610101"/>
              <a:gd name="connsiteY23184" fmla="*/ 990293 h 6557032"/>
              <a:gd name="connsiteX23185" fmla="*/ 829089 w 4610101"/>
              <a:gd name="connsiteY23185" fmla="*/ 1010337 h 6557032"/>
              <a:gd name="connsiteX23186" fmla="*/ 823623 w 4610101"/>
              <a:gd name="connsiteY23186" fmla="*/ 1013070 h 6557032"/>
              <a:gd name="connsiteX23187" fmla="*/ 823623 w 4610101"/>
              <a:gd name="connsiteY23187" fmla="*/ 1012159 h 6557032"/>
              <a:gd name="connsiteX23188" fmla="*/ 785357 w 4610101"/>
              <a:gd name="connsiteY23188" fmla="*/ 975715 h 6557032"/>
              <a:gd name="connsiteX23189" fmla="*/ 810868 w 4610101"/>
              <a:gd name="connsiteY23189" fmla="*/ 992115 h 6557032"/>
              <a:gd name="connsiteX23190" fmla="*/ 799935 w 4610101"/>
              <a:gd name="connsiteY23190" fmla="*/ 975715 h 6557032"/>
              <a:gd name="connsiteX23191" fmla="*/ 776246 w 4610101"/>
              <a:gd name="connsiteY23191" fmla="*/ 973893 h 6557032"/>
              <a:gd name="connsiteX23192" fmla="*/ 785357 w 4610101"/>
              <a:gd name="connsiteY23192" fmla="*/ 972071 h 6557032"/>
              <a:gd name="connsiteX23193" fmla="*/ 748914 w 4610101"/>
              <a:gd name="connsiteY23193" fmla="*/ 966604 h 6557032"/>
              <a:gd name="connsiteX23194" fmla="*/ 747092 w 4610101"/>
              <a:gd name="connsiteY23194" fmla="*/ 970249 h 6557032"/>
              <a:gd name="connsiteX23195" fmla="*/ 755292 w 4610101"/>
              <a:gd name="connsiteY23195" fmla="*/ 977082 h 6557032"/>
              <a:gd name="connsiteX23196" fmla="*/ 748914 w 4610101"/>
              <a:gd name="connsiteY23196" fmla="*/ 973893 h 6557032"/>
              <a:gd name="connsiteX23197" fmla="*/ 741626 w 4610101"/>
              <a:gd name="connsiteY23197" fmla="*/ 986649 h 6557032"/>
              <a:gd name="connsiteX23198" fmla="*/ 755995 w 4610101"/>
              <a:gd name="connsiteY23198" fmla="*/ 977668 h 6557032"/>
              <a:gd name="connsiteX23199" fmla="*/ 758025 w 4610101"/>
              <a:gd name="connsiteY23199" fmla="*/ 979360 h 6557032"/>
              <a:gd name="connsiteX23200" fmla="*/ 734336 w 4610101"/>
              <a:gd name="connsiteY23200" fmla="*/ 997582 h 6557032"/>
              <a:gd name="connsiteX23201" fmla="*/ 739803 w 4610101"/>
              <a:gd name="connsiteY23201" fmla="*/ 997582 h 6557032"/>
              <a:gd name="connsiteX23202" fmla="*/ 730692 w 4610101"/>
              <a:gd name="connsiteY23202" fmla="*/ 1001226 h 6557032"/>
              <a:gd name="connsiteX23203" fmla="*/ 734109 w 4610101"/>
              <a:gd name="connsiteY23203" fmla="*/ 1008742 h 6557032"/>
              <a:gd name="connsiteX23204" fmla="*/ 734115 w 4610101"/>
              <a:gd name="connsiteY23204" fmla="*/ 1008744 h 6557032"/>
              <a:gd name="connsiteX23205" fmla="*/ 736842 w 4610101"/>
              <a:gd name="connsiteY23205" fmla="*/ 1015348 h 6557032"/>
              <a:gd name="connsiteX23206" fmla="*/ 745269 w 4610101"/>
              <a:gd name="connsiteY23206" fmla="*/ 1012159 h 6557032"/>
              <a:gd name="connsiteX23207" fmla="*/ 743569 w 4610101"/>
              <a:gd name="connsiteY23207" fmla="*/ 1011187 h 6557032"/>
              <a:gd name="connsiteX23208" fmla="*/ 744358 w 4610101"/>
              <a:gd name="connsiteY23208" fmla="*/ 1010792 h 6557032"/>
              <a:gd name="connsiteX23209" fmla="*/ 747092 w 4610101"/>
              <a:gd name="connsiteY23209" fmla="*/ 1012159 h 6557032"/>
              <a:gd name="connsiteX23210" fmla="*/ 747091 w 4610101"/>
              <a:gd name="connsiteY23210" fmla="*/ 1007213 h 6557032"/>
              <a:gd name="connsiteX23211" fmla="*/ 754380 w 4610101"/>
              <a:gd name="connsiteY23211" fmla="*/ 1010337 h 6557032"/>
              <a:gd name="connsiteX23212" fmla="*/ 747092 w 4610101"/>
              <a:gd name="connsiteY23212" fmla="*/ 1013981 h 6557032"/>
              <a:gd name="connsiteX23213" fmla="*/ 754380 w 4610101"/>
              <a:gd name="connsiteY23213" fmla="*/ 1019448 h 6557032"/>
              <a:gd name="connsiteX23214" fmla="*/ 752558 w 4610101"/>
              <a:gd name="connsiteY23214" fmla="*/ 1015803 h 6557032"/>
              <a:gd name="connsiteX23215" fmla="*/ 758025 w 4610101"/>
              <a:gd name="connsiteY23215" fmla="*/ 1019448 h 6557032"/>
              <a:gd name="connsiteX23216" fmla="*/ 758025 w 4610101"/>
              <a:gd name="connsiteY23216" fmla="*/ 1028559 h 6557032"/>
              <a:gd name="connsiteX23217" fmla="*/ 761670 w 4610101"/>
              <a:gd name="connsiteY23217" fmla="*/ 1026736 h 6557032"/>
              <a:gd name="connsiteX23218" fmla="*/ 767136 w 4610101"/>
              <a:gd name="connsiteY23218" fmla="*/ 1035847 h 6557032"/>
              <a:gd name="connsiteX23219" fmla="*/ 767136 w 4610101"/>
              <a:gd name="connsiteY23219" fmla="*/ 1034025 h 6557032"/>
              <a:gd name="connsiteX23220" fmla="*/ 770781 w 4610101"/>
              <a:gd name="connsiteY23220" fmla="*/ 1037669 h 6557032"/>
              <a:gd name="connsiteX23221" fmla="*/ 768959 w 4610101"/>
              <a:gd name="connsiteY23221" fmla="*/ 1039492 h 6557032"/>
              <a:gd name="connsiteX23222" fmla="*/ 774424 w 4610101"/>
              <a:gd name="connsiteY23222" fmla="*/ 1063180 h 6557032"/>
              <a:gd name="connsiteX23223" fmla="*/ 777842 w 4610101"/>
              <a:gd name="connsiteY23223" fmla="*/ 1049741 h 6557032"/>
              <a:gd name="connsiteX23224" fmla="*/ 775294 w 4610101"/>
              <a:gd name="connsiteY23224" fmla="*/ 1040743 h 6557032"/>
              <a:gd name="connsiteX23225" fmla="*/ 770779 w 4610101"/>
              <a:gd name="connsiteY23225" fmla="*/ 1037732 h 6557032"/>
              <a:gd name="connsiteX23226" fmla="*/ 772601 w 4610101"/>
              <a:gd name="connsiteY23226" fmla="*/ 1037732 h 6557032"/>
              <a:gd name="connsiteX23227" fmla="*/ 775169 w 4610101"/>
              <a:gd name="connsiteY23227" fmla="*/ 1040300 h 6557032"/>
              <a:gd name="connsiteX23228" fmla="*/ 774424 w 4610101"/>
              <a:gd name="connsiteY23228" fmla="*/ 1037669 h 6557032"/>
              <a:gd name="connsiteX23229" fmla="*/ 778070 w 4610101"/>
              <a:gd name="connsiteY23229" fmla="*/ 1037669 h 6557032"/>
              <a:gd name="connsiteX23230" fmla="*/ 772602 w 4610101"/>
              <a:gd name="connsiteY23230" fmla="*/ 1032203 h 6557032"/>
              <a:gd name="connsiteX23231" fmla="*/ 790824 w 4610101"/>
              <a:gd name="connsiteY23231" fmla="*/ 1037669 h 6557032"/>
              <a:gd name="connsiteX23232" fmla="*/ 798112 w 4610101"/>
              <a:gd name="connsiteY23232" fmla="*/ 1037669 h 6557032"/>
              <a:gd name="connsiteX23233" fmla="*/ 799935 w 4610101"/>
              <a:gd name="connsiteY23233" fmla="*/ 1052247 h 6557032"/>
              <a:gd name="connsiteX23234" fmla="*/ 799935 w 4610101"/>
              <a:gd name="connsiteY23234" fmla="*/ 1044958 h 6557032"/>
              <a:gd name="connsiteX23235" fmla="*/ 805401 w 4610101"/>
              <a:gd name="connsiteY23235" fmla="*/ 1048602 h 6557032"/>
              <a:gd name="connsiteX23236" fmla="*/ 803579 w 4610101"/>
              <a:gd name="connsiteY23236" fmla="*/ 1030381 h 6557032"/>
              <a:gd name="connsiteX23237" fmla="*/ 808853 w 4610101"/>
              <a:gd name="connsiteY23237" fmla="*/ 1028623 h 6557032"/>
              <a:gd name="connsiteX23238" fmla="*/ 807223 w 4610101"/>
              <a:gd name="connsiteY23238" fmla="*/ 1028623 h 6557032"/>
              <a:gd name="connsiteX23239" fmla="*/ 805401 w 4610101"/>
              <a:gd name="connsiteY23239" fmla="*/ 1023156 h 6557032"/>
              <a:gd name="connsiteX23240" fmla="*/ 809011 w 4610101"/>
              <a:gd name="connsiteY23240" fmla="*/ 1028570 h 6557032"/>
              <a:gd name="connsiteX23241" fmla="*/ 809046 w 4610101"/>
              <a:gd name="connsiteY23241" fmla="*/ 1028559 h 6557032"/>
              <a:gd name="connsiteX23242" fmla="*/ 810868 w 4610101"/>
              <a:gd name="connsiteY23242" fmla="*/ 1030381 h 6557032"/>
              <a:gd name="connsiteX23243" fmla="*/ 810868 w 4610101"/>
              <a:gd name="connsiteY23243" fmla="*/ 1039492 h 6557032"/>
              <a:gd name="connsiteX23244" fmla="*/ 814512 w 4610101"/>
              <a:gd name="connsiteY23244" fmla="*/ 1034025 h 6557032"/>
              <a:gd name="connsiteX23245" fmla="*/ 810868 w 4610101"/>
              <a:gd name="connsiteY23245" fmla="*/ 1030381 h 6557032"/>
              <a:gd name="connsiteX23246" fmla="*/ 810868 w 4610101"/>
              <a:gd name="connsiteY23246" fmla="*/ 1028559 h 6557032"/>
              <a:gd name="connsiteX23247" fmla="*/ 814512 w 4610101"/>
              <a:gd name="connsiteY23247" fmla="*/ 1026736 h 6557032"/>
              <a:gd name="connsiteX23248" fmla="*/ 818156 w 4610101"/>
              <a:gd name="connsiteY23248" fmla="*/ 1032203 h 6557032"/>
              <a:gd name="connsiteX23249" fmla="*/ 819213 w 4610101"/>
              <a:gd name="connsiteY23249" fmla="*/ 1031147 h 6557032"/>
              <a:gd name="connsiteX23250" fmla="*/ 818273 w 4610101"/>
              <a:gd name="connsiteY23250" fmla="*/ 1034316 h 6557032"/>
              <a:gd name="connsiteX23251" fmla="*/ 818156 w 4610101"/>
              <a:gd name="connsiteY23251" fmla="*/ 1034708 h 6557032"/>
              <a:gd name="connsiteX23252" fmla="*/ 818731 w 4610101"/>
              <a:gd name="connsiteY23252" fmla="*/ 1035462 h 6557032"/>
              <a:gd name="connsiteX23253" fmla="*/ 821801 w 4610101"/>
              <a:gd name="connsiteY23253" fmla="*/ 1039492 h 6557032"/>
              <a:gd name="connsiteX23254" fmla="*/ 823623 w 4610101"/>
              <a:gd name="connsiteY23254" fmla="*/ 1034025 h 6557032"/>
              <a:gd name="connsiteX23255" fmla="*/ 820707 w 4610101"/>
              <a:gd name="connsiteY23255" fmla="*/ 1029651 h 6557032"/>
              <a:gd name="connsiteX23256" fmla="*/ 823050 w 4610101"/>
              <a:gd name="connsiteY23256" fmla="*/ 1027308 h 6557032"/>
              <a:gd name="connsiteX23257" fmla="*/ 823851 w 4610101"/>
              <a:gd name="connsiteY23257" fmla="*/ 1035847 h 6557032"/>
              <a:gd name="connsiteX23258" fmla="*/ 826599 w 4610101"/>
              <a:gd name="connsiteY23258" fmla="*/ 1053435 h 6557032"/>
              <a:gd name="connsiteX23259" fmla="*/ 825217 w 4610101"/>
              <a:gd name="connsiteY23259" fmla="*/ 1055891 h 6557032"/>
              <a:gd name="connsiteX23260" fmla="*/ 827267 w 4610101"/>
              <a:gd name="connsiteY23260" fmla="*/ 1059535 h 6557032"/>
              <a:gd name="connsiteX23261" fmla="*/ 827267 w 4610101"/>
              <a:gd name="connsiteY23261" fmla="*/ 1057713 h 6557032"/>
              <a:gd name="connsiteX23262" fmla="*/ 826599 w 4610101"/>
              <a:gd name="connsiteY23262" fmla="*/ 1053435 h 6557032"/>
              <a:gd name="connsiteX23263" fmla="*/ 827267 w 4610101"/>
              <a:gd name="connsiteY23263" fmla="*/ 1052247 h 6557032"/>
              <a:gd name="connsiteX23264" fmla="*/ 827267 w 4610101"/>
              <a:gd name="connsiteY23264" fmla="*/ 1034025 h 6557032"/>
              <a:gd name="connsiteX23265" fmla="*/ 832506 w 4610101"/>
              <a:gd name="connsiteY23265" fmla="*/ 1045641 h 6557032"/>
              <a:gd name="connsiteX23266" fmla="*/ 841618 w 4610101"/>
              <a:gd name="connsiteY23266" fmla="*/ 1055641 h 6557032"/>
              <a:gd name="connsiteX23267" fmla="*/ 841574 w 4610101"/>
              <a:gd name="connsiteY23267" fmla="*/ 1055674 h 6557032"/>
              <a:gd name="connsiteX23268" fmla="*/ 832734 w 4610101"/>
              <a:gd name="connsiteY23268" fmla="*/ 1048602 h 6557032"/>
              <a:gd name="connsiteX23269" fmla="*/ 829089 w 4610101"/>
              <a:gd name="connsiteY23269" fmla="*/ 1065002 h 6557032"/>
              <a:gd name="connsiteX23270" fmla="*/ 841574 w 4610101"/>
              <a:gd name="connsiteY23270" fmla="*/ 1055674 h 6557032"/>
              <a:gd name="connsiteX23271" fmla="*/ 841845 w 4610101"/>
              <a:gd name="connsiteY23271" fmla="*/ 1055891 h 6557032"/>
              <a:gd name="connsiteX23272" fmla="*/ 841618 w 4610101"/>
              <a:gd name="connsiteY23272" fmla="*/ 1055641 h 6557032"/>
              <a:gd name="connsiteX23273" fmla="*/ 848905 w 4610101"/>
              <a:gd name="connsiteY23273" fmla="*/ 1050197 h 6557032"/>
              <a:gd name="connsiteX23274" fmla="*/ 845489 w 4610101"/>
              <a:gd name="connsiteY23274" fmla="*/ 1028559 h 6557032"/>
              <a:gd name="connsiteX23275" fmla="*/ 852778 w 4610101"/>
              <a:gd name="connsiteY23275" fmla="*/ 1035847 h 6557032"/>
              <a:gd name="connsiteX23276" fmla="*/ 847311 w 4610101"/>
              <a:gd name="connsiteY23276" fmla="*/ 1008515 h 6557032"/>
              <a:gd name="connsiteX23277" fmla="*/ 830912 w 4610101"/>
              <a:gd name="connsiteY23277" fmla="*/ 1010337 h 6557032"/>
              <a:gd name="connsiteX23278" fmla="*/ 841845 w 4610101"/>
              <a:gd name="connsiteY23278" fmla="*/ 972071 h 6557032"/>
              <a:gd name="connsiteX23279" fmla="*/ 836378 w 4610101"/>
              <a:gd name="connsiteY23279" fmla="*/ 972071 h 6557032"/>
              <a:gd name="connsiteX23280" fmla="*/ 836378 w 4610101"/>
              <a:gd name="connsiteY23280" fmla="*/ 964782 h 6557032"/>
              <a:gd name="connsiteX23281" fmla="*/ 737980 w 4610101"/>
              <a:gd name="connsiteY23281" fmla="*/ 964782 h 6557032"/>
              <a:gd name="connsiteX23282" fmla="*/ 727048 w 4610101"/>
              <a:gd name="connsiteY23282" fmla="*/ 966604 h 6557032"/>
              <a:gd name="connsiteX23283" fmla="*/ 732515 w 4610101"/>
              <a:gd name="connsiteY23283" fmla="*/ 968427 h 6557032"/>
              <a:gd name="connsiteX23284" fmla="*/ 733832 w 4610101"/>
              <a:gd name="connsiteY23284" fmla="*/ 970624 h 6557032"/>
              <a:gd name="connsiteX23285" fmla="*/ 723632 w 4610101"/>
              <a:gd name="connsiteY23285" fmla="*/ 978221 h 6557032"/>
              <a:gd name="connsiteX23286" fmla="*/ 725226 w 4610101"/>
              <a:gd name="connsiteY23286" fmla="*/ 990293 h 6557032"/>
              <a:gd name="connsiteX23287" fmla="*/ 727048 w 4610101"/>
              <a:gd name="connsiteY23287" fmla="*/ 981182 h 6557032"/>
              <a:gd name="connsiteX23288" fmla="*/ 730692 w 4610101"/>
              <a:gd name="connsiteY23288" fmla="*/ 988471 h 6557032"/>
              <a:gd name="connsiteX23289" fmla="*/ 730692 w 4610101"/>
              <a:gd name="connsiteY23289" fmla="*/ 983004 h 6557032"/>
              <a:gd name="connsiteX23290" fmla="*/ 734336 w 4610101"/>
              <a:gd name="connsiteY23290" fmla="*/ 984826 h 6557032"/>
              <a:gd name="connsiteX23291" fmla="*/ 734336 w 4610101"/>
              <a:gd name="connsiteY23291" fmla="*/ 971463 h 6557032"/>
              <a:gd name="connsiteX23292" fmla="*/ 737981 w 4610101"/>
              <a:gd name="connsiteY23292" fmla="*/ 977538 h 6557032"/>
              <a:gd name="connsiteX23293" fmla="*/ 737981 w 4610101"/>
              <a:gd name="connsiteY23293" fmla="*/ 970249 h 6557032"/>
              <a:gd name="connsiteX23294" fmla="*/ 743447 w 4610101"/>
              <a:gd name="connsiteY23294" fmla="*/ 973893 h 6557032"/>
              <a:gd name="connsiteX23295" fmla="*/ 737980 w 4610101"/>
              <a:gd name="connsiteY23295" fmla="*/ 964782 h 6557032"/>
              <a:gd name="connsiteX23296" fmla="*/ 561230 w 4610101"/>
              <a:gd name="connsiteY23296" fmla="*/ 964782 h 6557032"/>
              <a:gd name="connsiteX23297" fmla="*/ 566697 w 4610101"/>
              <a:gd name="connsiteY23297" fmla="*/ 970249 h 6557032"/>
              <a:gd name="connsiteX23298" fmla="*/ 561230 w 4610101"/>
              <a:gd name="connsiteY23298" fmla="*/ 964782 h 6557032"/>
              <a:gd name="connsiteX23299" fmla="*/ 251460 w 4610101"/>
              <a:gd name="connsiteY23299" fmla="*/ 964782 h 6557032"/>
              <a:gd name="connsiteX23300" fmla="*/ 254649 w 4610101"/>
              <a:gd name="connsiteY23300" fmla="*/ 966604 h 6557032"/>
              <a:gd name="connsiteX23301" fmla="*/ 254752 w 4610101"/>
              <a:gd name="connsiteY23301" fmla="*/ 967016 h 6557032"/>
              <a:gd name="connsiteX23302" fmla="*/ 251511 w 4610101"/>
              <a:gd name="connsiteY23302" fmla="*/ 965215 h 6557032"/>
              <a:gd name="connsiteX23303" fmla="*/ 2722329 w 4610101"/>
              <a:gd name="connsiteY23303" fmla="*/ 963096 h 6557032"/>
              <a:gd name="connsiteX23304" fmla="*/ 2736906 w 4610101"/>
              <a:gd name="connsiteY23304" fmla="*/ 994077 h 6557032"/>
              <a:gd name="connsiteX23305" fmla="*/ 2736906 w 4610101"/>
              <a:gd name="connsiteY23305" fmla="*/ 1001367 h 6557032"/>
              <a:gd name="connsiteX23306" fmla="*/ 2715040 w 4610101"/>
              <a:gd name="connsiteY23306" fmla="*/ 1015950 h 6557032"/>
              <a:gd name="connsiteX23307" fmla="*/ 2693174 w 4610101"/>
              <a:gd name="connsiteY23307" fmla="*/ 1039638 h 6557032"/>
              <a:gd name="connsiteX23308" fmla="*/ 2687708 w 4610101"/>
              <a:gd name="connsiteY23308" fmla="*/ 1014128 h 6557032"/>
              <a:gd name="connsiteX23309" fmla="*/ 2684063 w 4610101"/>
              <a:gd name="connsiteY23309" fmla="*/ 977680 h 6557032"/>
              <a:gd name="connsiteX23310" fmla="*/ 2722329 w 4610101"/>
              <a:gd name="connsiteY23310" fmla="*/ 963096 h 6557032"/>
              <a:gd name="connsiteX23311" fmla="*/ 2503667 w 4610101"/>
              <a:gd name="connsiteY23311" fmla="*/ 962960 h 6557032"/>
              <a:gd name="connsiteX23312" fmla="*/ 2518245 w 4610101"/>
              <a:gd name="connsiteY23312" fmla="*/ 972071 h 6557032"/>
              <a:gd name="connsiteX23313" fmla="*/ 2518245 w 4610101"/>
              <a:gd name="connsiteY23313" fmla="*/ 962960 h 6557032"/>
              <a:gd name="connsiteX23314" fmla="*/ 2503667 w 4610101"/>
              <a:gd name="connsiteY23314" fmla="*/ 962960 h 6557032"/>
              <a:gd name="connsiteX23315" fmla="*/ 1330188 w 4610101"/>
              <a:gd name="connsiteY23315" fmla="*/ 962960 h 6557032"/>
              <a:gd name="connsiteX23316" fmla="*/ 1326221 w 4610101"/>
              <a:gd name="connsiteY23316" fmla="*/ 968248 h 6557032"/>
              <a:gd name="connsiteX23317" fmla="*/ 1306499 w 4610101"/>
              <a:gd name="connsiteY23317" fmla="*/ 966604 h 6557032"/>
              <a:gd name="connsiteX23318" fmla="*/ 1321077 w 4610101"/>
              <a:gd name="connsiteY23318" fmla="*/ 975715 h 6557032"/>
              <a:gd name="connsiteX23319" fmla="*/ 1327089 w 4610101"/>
              <a:gd name="connsiteY23319" fmla="*/ 969702 h 6557032"/>
              <a:gd name="connsiteX23320" fmla="*/ 1330644 w 4610101"/>
              <a:gd name="connsiteY23320" fmla="*/ 968882 h 6557032"/>
              <a:gd name="connsiteX23321" fmla="*/ 1333832 w 4610101"/>
              <a:gd name="connsiteY23321" fmla="*/ 964782 h 6557032"/>
              <a:gd name="connsiteX23322" fmla="*/ 1330188 w 4610101"/>
              <a:gd name="connsiteY23322" fmla="*/ 962960 h 6557032"/>
              <a:gd name="connsiteX23323" fmla="*/ 717937 w 4610101"/>
              <a:gd name="connsiteY23323" fmla="*/ 962960 h 6557032"/>
              <a:gd name="connsiteX23324" fmla="*/ 714293 w 4610101"/>
              <a:gd name="connsiteY23324" fmla="*/ 970249 h 6557032"/>
              <a:gd name="connsiteX23325" fmla="*/ 717937 w 4610101"/>
              <a:gd name="connsiteY23325" fmla="*/ 962960 h 6557032"/>
              <a:gd name="connsiteX23326" fmla="*/ 610429 w 4610101"/>
              <a:gd name="connsiteY23326" fmla="*/ 962960 h 6557032"/>
              <a:gd name="connsiteX23327" fmla="*/ 614074 w 4610101"/>
              <a:gd name="connsiteY23327" fmla="*/ 966604 h 6557032"/>
              <a:gd name="connsiteX23328" fmla="*/ 610429 w 4610101"/>
              <a:gd name="connsiteY23328" fmla="*/ 962960 h 6557032"/>
              <a:gd name="connsiteX23329" fmla="*/ 524786 w 4610101"/>
              <a:gd name="connsiteY23329" fmla="*/ 962960 h 6557032"/>
              <a:gd name="connsiteX23330" fmla="*/ 557586 w 4610101"/>
              <a:gd name="connsiteY23330" fmla="*/ 983004 h 6557032"/>
              <a:gd name="connsiteX23331" fmla="*/ 550297 w 4610101"/>
              <a:gd name="connsiteY23331" fmla="*/ 977538 h 6557032"/>
              <a:gd name="connsiteX23332" fmla="*/ 555763 w 4610101"/>
              <a:gd name="connsiteY23332" fmla="*/ 979360 h 6557032"/>
              <a:gd name="connsiteX23333" fmla="*/ 524786 w 4610101"/>
              <a:gd name="connsiteY23333" fmla="*/ 962960 h 6557032"/>
              <a:gd name="connsiteX23334" fmla="*/ 431856 w 4610101"/>
              <a:gd name="connsiteY23334" fmla="*/ 962960 h 6557032"/>
              <a:gd name="connsiteX23335" fmla="*/ 440966 w 4610101"/>
              <a:gd name="connsiteY23335" fmla="*/ 970249 h 6557032"/>
              <a:gd name="connsiteX23336" fmla="*/ 441044 w 4610101"/>
              <a:gd name="connsiteY23336" fmla="*/ 970795 h 6557032"/>
              <a:gd name="connsiteX23337" fmla="*/ 333458 w 4610101"/>
              <a:gd name="connsiteY23337" fmla="*/ 962960 h 6557032"/>
              <a:gd name="connsiteX23338" fmla="*/ 338926 w 4610101"/>
              <a:gd name="connsiteY23338" fmla="*/ 968427 h 6557032"/>
              <a:gd name="connsiteX23339" fmla="*/ 337102 w 4610101"/>
              <a:gd name="connsiteY23339" fmla="*/ 962960 h 6557032"/>
              <a:gd name="connsiteX23340" fmla="*/ 333458 w 4610101"/>
              <a:gd name="connsiteY23340" fmla="*/ 962960 h 6557032"/>
              <a:gd name="connsiteX23341" fmla="*/ 291549 w 4610101"/>
              <a:gd name="connsiteY23341" fmla="*/ 962960 h 6557032"/>
              <a:gd name="connsiteX23342" fmla="*/ 304303 w 4610101"/>
              <a:gd name="connsiteY23342" fmla="*/ 972071 h 6557032"/>
              <a:gd name="connsiteX23343" fmla="*/ 291549 w 4610101"/>
              <a:gd name="connsiteY23343" fmla="*/ 962960 h 6557032"/>
              <a:gd name="connsiteX23344" fmla="*/ 275149 w 4610101"/>
              <a:gd name="connsiteY23344" fmla="*/ 962960 h 6557032"/>
              <a:gd name="connsiteX23345" fmla="*/ 286082 w 4610101"/>
              <a:gd name="connsiteY23345" fmla="*/ 975715 h 6557032"/>
              <a:gd name="connsiteX23346" fmla="*/ 278793 w 4610101"/>
              <a:gd name="connsiteY23346" fmla="*/ 964782 h 6557032"/>
              <a:gd name="connsiteX23347" fmla="*/ 293370 w 4610101"/>
              <a:gd name="connsiteY23347" fmla="*/ 970249 h 6557032"/>
              <a:gd name="connsiteX23348" fmla="*/ 275149 w 4610101"/>
              <a:gd name="connsiteY23348" fmla="*/ 962960 h 6557032"/>
              <a:gd name="connsiteX23349" fmla="*/ 267860 w 4610101"/>
              <a:gd name="connsiteY23349" fmla="*/ 962960 h 6557032"/>
              <a:gd name="connsiteX23350" fmla="*/ 278793 w 4610101"/>
              <a:gd name="connsiteY23350" fmla="*/ 973893 h 6557032"/>
              <a:gd name="connsiteX23351" fmla="*/ 267860 w 4610101"/>
              <a:gd name="connsiteY23351" fmla="*/ 962960 h 6557032"/>
              <a:gd name="connsiteX23352" fmla="*/ 2244919 w 4610101"/>
              <a:gd name="connsiteY23352" fmla="*/ 961138 h 6557032"/>
              <a:gd name="connsiteX23353" fmla="*/ 2232163 w 4610101"/>
              <a:gd name="connsiteY23353" fmla="*/ 966604 h 6557032"/>
              <a:gd name="connsiteX23354" fmla="*/ 2230341 w 4610101"/>
              <a:gd name="connsiteY23354" fmla="*/ 984826 h 6557032"/>
              <a:gd name="connsiteX23355" fmla="*/ 2224875 w 4610101"/>
              <a:gd name="connsiteY23355" fmla="*/ 983004 h 6557032"/>
              <a:gd name="connsiteX23356" fmla="*/ 2223053 w 4610101"/>
              <a:gd name="connsiteY23356" fmla="*/ 988471 h 6557032"/>
              <a:gd name="connsiteX23357" fmla="*/ 2224875 w 4610101"/>
              <a:gd name="connsiteY23357" fmla="*/ 997582 h 6557032"/>
              <a:gd name="connsiteX23358" fmla="*/ 2241274 w 4610101"/>
              <a:gd name="connsiteY23358" fmla="*/ 993937 h 6557032"/>
              <a:gd name="connsiteX23359" fmla="*/ 2233986 w 4610101"/>
              <a:gd name="connsiteY23359" fmla="*/ 997582 h 6557032"/>
              <a:gd name="connsiteX23360" fmla="*/ 2239452 w 4610101"/>
              <a:gd name="connsiteY23360" fmla="*/ 1006692 h 6557032"/>
              <a:gd name="connsiteX23361" fmla="*/ 2246741 w 4610101"/>
              <a:gd name="connsiteY23361" fmla="*/ 1008515 h 6557032"/>
              <a:gd name="connsiteX23362" fmla="*/ 2250385 w 4610101"/>
              <a:gd name="connsiteY23362" fmla="*/ 995759 h 6557032"/>
              <a:gd name="connsiteX23363" fmla="*/ 2266785 w 4610101"/>
              <a:gd name="connsiteY23363" fmla="*/ 973893 h 6557032"/>
              <a:gd name="connsiteX23364" fmla="*/ 2250385 w 4610101"/>
              <a:gd name="connsiteY23364" fmla="*/ 988471 h 6557032"/>
              <a:gd name="connsiteX23365" fmla="*/ 2257674 w 4610101"/>
              <a:gd name="connsiteY23365" fmla="*/ 973893 h 6557032"/>
              <a:gd name="connsiteX23366" fmla="*/ 2246741 w 4610101"/>
              <a:gd name="connsiteY23366" fmla="*/ 970249 h 6557032"/>
              <a:gd name="connsiteX23367" fmla="*/ 2248563 w 4610101"/>
              <a:gd name="connsiteY23367" fmla="*/ 962960 h 6557032"/>
              <a:gd name="connsiteX23368" fmla="*/ 2243096 w 4610101"/>
              <a:gd name="connsiteY23368" fmla="*/ 968427 h 6557032"/>
              <a:gd name="connsiteX23369" fmla="*/ 2244919 w 4610101"/>
              <a:gd name="connsiteY23369" fmla="*/ 961138 h 6557032"/>
              <a:gd name="connsiteX23370" fmla="*/ 1311966 w 4610101"/>
              <a:gd name="connsiteY23370" fmla="*/ 961138 h 6557032"/>
              <a:gd name="connsiteX23371" fmla="*/ 1324721 w 4610101"/>
              <a:gd name="connsiteY23371" fmla="*/ 962960 h 6557032"/>
              <a:gd name="connsiteX23372" fmla="*/ 1311966 w 4610101"/>
              <a:gd name="connsiteY23372" fmla="*/ 961138 h 6557032"/>
              <a:gd name="connsiteX23373" fmla="*/ 1208102 w 4610101"/>
              <a:gd name="connsiteY23373" fmla="*/ 961138 h 6557032"/>
              <a:gd name="connsiteX23374" fmla="*/ 1219036 w 4610101"/>
              <a:gd name="connsiteY23374" fmla="*/ 968427 h 6557032"/>
              <a:gd name="connsiteX23375" fmla="*/ 1240901 w 4610101"/>
              <a:gd name="connsiteY23375" fmla="*/ 973893 h 6557032"/>
              <a:gd name="connsiteX23376" fmla="*/ 1237256 w 4610101"/>
              <a:gd name="connsiteY23376" fmla="*/ 973893 h 6557032"/>
              <a:gd name="connsiteX23377" fmla="*/ 1244545 w 4610101"/>
              <a:gd name="connsiteY23377" fmla="*/ 962960 h 6557032"/>
              <a:gd name="connsiteX23378" fmla="*/ 1208102 w 4610101"/>
              <a:gd name="connsiteY23378" fmla="*/ 961138 h 6557032"/>
              <a:gd name="connsiteX23379" fmla="*/ 459188 w 4610101"/>
              <a:gd name="connsiteY23379" fmla="*/ 961138 h 6557032"/>
              <a:gd name="connsiteX23380" fmla="*/ 457367 w 4610101"/>
              <a:gd name="connsiteY23380" fmla="*/ 964782 h 6557032"/>
              <a:gd name="connsiteX23381" fmla="*/ 455544 w 4610101"/>
              <a:gd name="connsiteY23381" fmla="*/ 968427 h 6557032"/>
              <a:gd name="connsiteX23382" fmla="*/ 461010 w 4610101"/>
              <a:gd name="connsiteY23382" fmla="*/ 968427 h 6557032"/>
              <a:gd name="connsiteX23383" fmla="*/ 460554 w 4610101"/>
              <a:gd name="connsiteY23383" fmla="*/ 966604 h 6557032"/>
              <a:gd name="connsiteX23384" fmla="*/ 457367 w 4610101"/>
              <a:gd name="connsiteY23384" fmla="*/ 964782 h 6557032"/>
              <a:gd name="connsiteX23385" fmla="*/ 462832 w 4610101"/>
              <a:gd name="connsiteY23385" fmla="*/ 964782 h 6557032"/>
              <a:gd name="connsiteX23386" fmla="*/ 459188 w 4610101"/>
              <a:gd name="connsiteY23386" fmla="*/ 961138 h 6557032"/>
              <a:gd name="connsiteX23387" fmla="*/ 435500 w 4610101"/>
              <a:gd name="connsiteY23387" fmla="*/ 961138 h 6557032"/>
              <a:gd name="connsiteX23388" fmla="*/ 431856 w 4610101"/>
              <a:gd name="connsiteY23388" fmla="*/ 962960 h 6557032"/>
              <a:gd name="connsiteX23389" fmla="*/ 439145 w 4610101"/>
              <a:gd name="connsiteY23389" fmla="*/ 973893 h 6557032"/>
              <a:gd name="connsiteX23390" fmla="*/ 441422 w 4610101"/>
              <a:gd name="connsiteY23390" fmla="*/ 973437 h 6557032"/>
              <a:gd name="connsiteX23391" fmla="*/ 441044 w 4610101"/>
              <a:gd name="connsiteY23391" fmla="*/ 970795 h 6557032"/>
              <a:gd name="connsiteX23392" fmla="*/ 441137 w 4610101"/>
              <a:gd name="connsiteY23392" fmla="*/ 970875 h 6557032"/>
              <a:gd name="connsiteX23393" fmla="*/ 435500 w 4610101"/>
              <a:gd name="connsiteY23393" fmla="*/ 961138 h 6557032"/>
              <a:gd name="connsiteX23394" fmla="*/ 399844 w 4610101"/>
              <a:gd name="connsiteY23394" fmla="*/ 960940 h 6557032"/>
              <a:gd name="connsiteX23395" fmla="*/ 400136 w 4610101"/>
              <a:gd name="connsiteY23395" fmla="*/ 962218 h 6557032"/>
              <a:gd name="connsiteX23396" fmla="*/ 399056 w 4610101"/>
              <a:gd name="connsiteY23396" fmla="*/ 961138 h 6557032"/>
              <a:gd name="connsiteX23397" fmla="*/ 2172032 w 4610101"/>
              <a:gd name="connsiteY23397" fmla="*/ 959316 h 6557032"/>
              <a:gd name="connsiteX23398" fmla="*/ 2168387 w 4610101"/>
              <a:gd name="connsiteY23398" fmla="*/ 961138 h 6557032"/>
              <a:gd name="connsiteX23399" fmla="*/ 2172032 w 4610101"/>
              <a:gd name="connsiteY23399" fmla="*/ 961138 h 6557032"/>
              <a:gd name="connsiteX23400" fmla="*/ 1198991 w 4610101"/>
              <a:gd name="connsiteY23400" fmla="*/ 959316 h 6557032"/>
              <a:gd name="connsiteX23401" fmla="*/ 1206279 w 4610101"/>
              <a:gd name="connsiteY23401" fmla="*/ 962960 h 6557032"/>
              <a:gd name="connsiteX23402" fmla="*/ 1198991 w 4610101"/>
              <a:gd name="connsiteY23402" fmla="*/ 959316 h 6557032"/>
              <a:gd name="connsiteX23403" fmla="*/ 1191703 w 4610101"/>
              <a:gd name="connsiteY23403" fmla="*/ 959316 h 6557032"/>
              <a:gd name="connsiteX23404" fmla="*/ 1189880 w 4610101"/>
              <a:gd name="connsiteY23404" fmla="*/ 968427 h 6557032"/>
              <a:gd name="connsiteX23405" fmla="*/ 1193525 w 4610101"/>
              <a:gd name="connsiteY23405" fmla="*/ 962960 h 6557032"/>
              <a:gd name="connsiteX23406" fmla="*/ 1191703 w 4610101"/>
              <a:gd name="connsiteY23406" fmla="*/ 961138 h 6557032"/>
              <a:gd name="connsiteX23407" fmla="*/ 1191703 w 4610101"/>
              <a:gd name="connsiteY23407" fmla="*/ 959316 h 6557032"/>
              <a:gd name="connsiteX23408" fmla="*/ 707004 w 4610101"/>
              <a:gd name="connsiteY23408" fmla="*/ 959316 h 6557032"/>
              <a:gd name="connsiteX23409" fmla="*/ 708826 w 4610101"/>
              <a:gd name="connsiteY23409" fmla="*/ 964782 h 6557032"/>
              <a:gd name="connsiteX23410" fmla="*/ 714293 w 4610101"/>
              <a:gd name="connsiteY23410" fmla="*/ 962960 h 6557032"/>
              <a:gd name="connsiteX23411" fmla="*/ 707004 w 4610101"/>
              <a:gd name="connsiteY23411" fmla="*/ 959316 h 6557032"/>
              <a:gd name="connsiteX23412" fmla="*/ 558042 w 4610101"/>
              <a:gd name="connsiteY23412" fmla="*/ 959316 h 6557032"/>
              <a:gd name="connsiteX23413" fmla="*/ 553941 w 4610101"/>
              <a:gd name="connsiteY23413" fmla="*/ 961138 h 6557032"/>
              <a:gd name="connsiteX23414" fmla="*/ 559408 w 4610101"/>
              <a:gd name="connsiteY23414" fmla="*/ 962960 h 6557032"/>
              <a:gd name="connsiteX23415" fmla="*/ 558042 w 4610101"/>
              <a:gd name="connsiteY23415" fmla="*/ 959316 h 6557032"/>
              <a:gd name="connsiteX23416" fmla="*/ 180396 w 4610101"/>
              <a:gd name="connsiteY23416" fmla="*/ 959316 h 6557032"/>
              <a:gd name="connsiteX23417" fmla="*/ 189506 w 4610101"/>
              <a:gd name="connsiteY23417" fmla="*/ 968427 h 6557032"/>
              <a:gd name="connsiteX23418" fmla="*/ 180396 w 4610101"/>
              <a:gd name="connsiteY23418" fmla="*/ 959316 h 6557032"/>
              <a:gd name="connsiteX23419" fmla="*/ 1124992 w 4610101"/>
              <a:gd name="connsiteY23419" fmla="*/ 958250 h 6557032"/>
              <a:gd name="connsiteX23420" fmla="*/ 1125420 w 4610101"/>
              <a:gd name="connsiteY23420" fmla="*/ 960910 h 6557032"/>
              <a:gd name="connsiteX23421" fmla="*/ 1125051 w 4610101"/>
              <a:gd name="connsiteY23421" fmla="*/ 961622 h 6557032"/>
              <a:gd name="connsiteX23422" fmla="*/ 1124281 w 4610101"/>
              <a:gd name="connsiteY23422" fmla="*/ 959315 h 6557032"/>
              <a:gd name="connsiteX23423" fmla="*/ 1322898 w 4610101"/>
              <a:gd name="connsiteY23423" fmla="*/ 957949 h 6557032"/>
              <a:gd name="connsiteX23424" fmla="*/ 1313788 w 4610101"/>
              <a:gd name="connsiteY23424" fmla="*/ 959316 h 6557032"/>
              <a:gd name="connsiteX23425" fmla="*/ 1332009 w 4610101"/>
              <a:gd name="connsiteY23425" fmla="*/ 959316 h 6557032"/>
              <a:gd name="connsiteX23426" fmla="*/ 1322898 w 4610101"/>
              <a:gd name="connsiteY23426" fmla="*/ 957949 h 6557032"/>
              <a:gd name="connsiteX23427" fmla="*/ 3309068 w 4610101"/>
              <a:gd name="connsiteY23427" fmla="*/ 957494 h 6557032"/>
              <a:gd name="connsiteX23428" fmla="*/ 3298135 w 4610101"/>
              <a:gd name="connsiteY23428" fmla="*/ 966604 h 6557032"/>
              <a:gd name="connsiteX23429" fmla="*/ 3298925 w 4610101"/>
              <a:gd name="connsiteY23429" fmla="*/ 974594 h 6557032"/>
              <a:gd name="connsiteX23430" fmla="*/ 3298135 w 4610101"/>
              <a:gd name="connsiteY23430" fmla="*/ 970249 h 6557032"/>
              <a:gd name="connsiteX23431" fmla="*/ 3281736 w 4610101"/>
              <a:gd name="connsiteY23431" fmla="*/ 970249 h 6557032"/>
              <a:gd name="connsiteX23432" fmla="*/ 3281736 w 4610101"/>
              <a:gd name="connsiteY23432" fmla="*/ 981182 h 6557032"/>
              <a:gd name="connsiteX23433" fmla="*/ 3281736 w 4610101"/>
              <a:gd name="connsiteY23433" fmla="*/ 972071 h 6557032"/>
              <a:gd name="connsiteX23434" fmla="*/ 3279913 w 4610101"/>
              <a:gd name="connsiteY23434" fmla="*/ 977538 h 6557032"/>
              <a:gd name="connsiteX23435" fmla="*/ 3276269 w 4610101"/>
              <a:gd name="connsiteY23435" fmla="*/ 979360 h 6557032"/>
              <a:gd name="connsiteX23436" fmla="*/ 3274447 w 4610101"/>
              <a:gd name="connsiteY23436" fmla="*/ 970249 h 6557032"/>
              <a:gd name="connsiteX23437" fmla="*/ 3261692 w 4610101"/>
              <a:gd name="connsiteY23437" fmla="*/ 970249 h 6557032"/>
              <a:gd name="connsiteX23438" fmla="*/ 3261692 w 4610101"/>
              <a:gd name="connsiteY23438" fmla="*/ 988471 h 6557032"/>
              <a:gd name="connsiteX23439" fmla="*/ 3265267 w 4610101"/>
              <a:gd name="connsiteY23439" fmla="*/ 990316 h 6557032"/>
              <a:gd name="connsiteX23440" fmla="*/ 3261236 w 4610101"/>
              <a:gd name="connsiteY23440" fmla="*/ 991659 h 6557032"/>
              <a:gd name="connsiteX23441" fmla="*/ 3259869 w 4610101"/>
              <a:gd name="connsiteY23441" fmla="*/ 995759 h 6557032"/>
              <a:gd name="connsiteX23442" fmla="*/ 3259869 w 4610101"/>
              <a:gd name="connsiteY23442" fmla="*/ 990293 h 6557032"/>
              <a:gd name="connsiteX23443" fmla="*/ 3261692 w 4610101"/>
              <a:gd name="connsiteY23443" fmla="*/ 999403 h 6557032"/>
              <a:gd name="connsiteX23444" fmla="*/ 3258047 w 4610101"/>
              <a:gd name="connsiteY23444" fmla="*/ 1010337 h 6557032"/>
              <a:gd name="connsiteX23445" fmla="*/ 3268980 w 4610101"/>
              <a:gd name="connsiteY23445" fmla="*/ 1008515 h 6557032"/>
              <a:gd name="connsiteX23446" fmla="*/ 3270803 w 4610101"/>
              <a:gd name="connsiteY23446" fmla="*/ 1017625 h 6557032"/>
              <a:gd name="connsiteX23447" fmla="*/ 3305424 w 4610101"/>
              <a:gd name="connsiteY23447" fmla="*/ 1010337 h 6557032"/>
              <a:gd name="connsiteX23448" fmla="*/ 3304715 w 4610101"/>
              <a:gd name="connsiteY23448" fmla="*/ 1006435 h 6557032"/>
              <a:gd name="connsiteX23449" fmla="*/ 3327290 w 4610101"/>
              <a:gd name="connsiteY23449" fmla="*/ 1001226 h 6557032"/>
              <a:gd name="connsiteX23450" fmla="*/ 3325165 w 4610101"/>
              <a:gd name="connsiteY23450" fmla="*/ 1004870 h 6557032"/>
              <a:gd name="connsiteX23451" fmla="*/ 3318635 w 4610101"/>
              <a:gd name="connsiteY23451" fmla="*/ 1004870 h 6557032"/>
              <a:gd name="connsiteX23452" fmla="*/ 3314535 w 4610101"/>
              <a:gd name="connsiteY23452" fmla="*/ 1010337 h 6557032"/>
              <a:gd name="connsiteX23453" fmla="*/ 3321368 w 4610101"/>
              <a:gd name="connsiteY23453" fmla="*/ 1008970 h 6557032"/>
              <a:gd name="connsiteX23454" fmla="*/ 3324740 w 4610101"/>
              <a:gd name="connsiteY23454" fmla="*/ 1005598 h 6557032"/>
              <a:gd name="connsiteX23455" fmla="*/ 3324102 w 4610101"/>
              <a:gd name="connsiteY23455" fmla="*/ 1006692 h 6557032"/>
              <a:gd name="connsiteX23456" fmla="*/ 3323646 w 4610101"/>
              <a:gd name="connsiteY23456" fmla="*/ 1012159 h 6557032"/>
              <a:gd name="connsiteX23457" fmla="*/ 3330934 w 4610101"/>
              <a:gd name="connsiteY23457" fmla="*/ 1012159 h 6557032"/>
              <a:gd name="connsiteX23458" fmla="*/ 3339590 w 4610101"/>
              <a:gd name="connsiteY23458" fmla="*/ 1001909 h 6557032"/>
              <a:gd name="connsiteX23459" fmla="*/ 3341585 w 4610101"/>
              <a:gd name="connsiteY23459" fmla="*/ 1001789 h 6557032"/>
              <a:gd name="connsiteX23460" fmla="*/ 3338223 w 4610101"/>
              <a:gd name="connsiteY23460" fmla="*/ 1008515 h 6557032"/>
              <a:gd name="connsiteX23461" fmla="*/ 3344145 w 4610101"/>
              <a:gd name="connsiteY23461" fmla="*/ 1005553 h 6557032"/>
              <a:gd name="connsiteX23462" fmla="*/ 3342146 w 4610101"/>
              <a:gd name="connsiteY23462" fmla="*/ 1001756 h 6557032"/>
              <a:gd name="connsiteX23463" fmla="*/ 3350978 w 4610101"/>
              <a:gd name="connsiteY23463" fmla="*/ 1001226 h 6557032"/>
              <a:gd name="connsiteX23464" fmla="*/ 3349156 w 4610101"/>
              <a:gd name="connsiteY23464" fmla="*/ 1004870 h 6557032"/>
              <a:gd name="connsiteX23465" fmla="*/ 3369200 w 4610101"/>
              <a:gd name="connsiteY23465" fmla="*/ 993937 h 6557032"/>
              <a:gd name="connsiteX23466" fmla="*/ 3358267 w 4610101"/>
              <a:gd name="connsiteY23466" fmla="*/ 990293 h 6557032"/>
              <a:gd name="connsiteX23467" fmla="*/ 3356445 w 4610101"/>
              <a:gd name="connsiteY23467" fmla="*/ 997582 h 6557032"/>
              <a:gd name="connsiteX23468" fmla="*/ 3350978 w 4610101"/>
              <a:gd name="connsiteY23468" fmla="*/ 997582 h 6557032"/>
              <a:gd name="connsiteX23469" fmla="*/ 3361911 w 4610101"/>
              <a:gd name="connsiteY23469" fmla="*/ 983004 h 6557032"/>
              <a:gd name="connsiteX23470" fmla="*/ 3363734 w 4610101"/>
              <a:gd name="connsiteY23470" fmla="*/ 986649 h 6557032"/>
              <a:gd name="connsiteX23471" fmla="*/ 3369200 w 4610101"/>
              <a:gd name="connsiteY23471" fmla="*/ 981182 h 6557032"/>
              <a:gd name="connsiteX23472" fmla="*/ 3378311 w 4610101"/>
              <a:gd name="connsiteY23472" fmla="*/ 983004 h 6557032"/>
              <a:gd name="connsiteX23473" fmla="*/ 3376489 w 4610101"/>
              <a:gd name="connsiteY23473" fmla="*/ 975715 h 6557032"/>
              <a:gd name="connsiteX23474" fmla="*/ 3387422 w 4610101"/>
              <a:gd name="connsiteY23474" fmla="*/ 973893 h 6557032"/>
              <a:gd name="connsiteX23475" fmla="*/ 3376489 w 4610101"/>
              <a:gd name="connsiteY23475" fmla="*/ 968427 h 6557032"/>
              <a:gd name="connsiteX23476" fmla="*/ 3369200 w 4610101"/>
              <a:gd name="connsiteY23476" fmla="*/ 970249 h 6557032"/>
              <a:gd name="connsiteX23477" fmla="*/ 3365556 w 4610101"/>
              <a:gd name="connsiteY23477" fmla="*/ 968427 h 6557032"/>
              <a:gd name="connsiteX23478" fmla="*/ 3369200 w 4610101"/>
              <a:gd name="connsiteY23478" fmla="*/ 964782 h 6557032"/>
              <a:gd name="connsiteX23479" fmla="*/ 3345512 w 4610101"/>
              <a:gd name="connsiteY23479" fmla="*/ 962960 h 6557032"/>
              <a:gd name="connsiteX23480" fmla="*/ 3343690 w 4610101"/>
              <a:gd name="connsiteY23480" fmla="*/ 977538 h 6557032"/>
              <a:gd name="connsiteX23481" fmla="*/ 3338223 w 4610101"/>
              <a:gd name="connsiteY23481" fmla="*/ 975715 h 6557032"/>
              <a:gd name="connsiteX23482" fmla="*/ 3341867 w 4610101"/>
              <a:gd name="connsiteY23482" fmla="*/ 970249 h 6557032"/>
              <a:gd name="connsiteX23483" fmla="*/ 3334579 w 4610101"/>
              <a:gd name="connsiteY23483" fmla="*/ 983004 h 6557032"/>
              <a:gd name="connsiteX23484" fmla="*/ 3329112 w 4610101"/>
              <a:gd name="connsiteY23484" fmla="*/ 975715 h 6557032"/>
              <a:gd name="connsiteX23485" fmla="*/ 3325468 w 4610101"/>
              <a:gd name="connsiteY23485" fmla="*/ 979360 h 6557032"/>
              <a:gd name="connsiteX23486" fmla="*/ 3323646 w 4610101"/>
              <a:gd name="connsiteY23486" fmla="*/ 972071 h 6557032"/>
              <a:gd name="connsiteX23487" fmla="*/ 3307246 w 4610101"/>
              <a:gd name="connsiteY23487" fmla="*/ 984826 h 6557032"/>
              <a:gd name="connsiteX23488" fmla="*/ 3309068 w 4610101"/>
              <a:gd name="connsiteY23488" fmla="*/ 957494 h 6557032"/>
              <a:gd name="connsiteX23489" fmla="*/ 2419847 w 4610101"/>
              <a:gd name="connsiteY23489" fmla="*/ 957494 h 6557032"/>
              <a:gd name="connsiteX23490" fmla="*/ 2414381 w 4610101"/>
              <a:gd name="connsiteY23490" fmla="*/ 970249 h 6557032"/>
              <a:gd name="connsiteX23491" fmla="*/ 2423492 w 4610101"/>
              <a:gd name="connsiteY23491" fmla="*/ 962960 h 6557032"/>
              <a:gd name="connsiteX23492" fmla="*/ 2419847 w 4610101"/>
              <a:gd name="connsiteY23492" fmla="*/ 957494 h 6557032"/>
              <a:gd name="connsiteX23493" fmla="*/ 2184787 w 4610101"/>
              <a:gd name="connsiteY23493" fmla="*/ 957494 h 6557032"/>
              <a:gd name="connsiteX23494" fmla="*/ 2184787 w 4610101"/>
              <a:gd name="connsiteY23494" fmla="*/ 961138 h 6557032"/>
              <a:gd name="connsiteX23495" fmla="*/ 2175676 w 4610101"/>
              <a:gd name="connsiteY23495" fmla="*/ 992115 h 6557032"/>
              <a:gd name="connsiteX23496" fmla="*/ 2181143 w 4610101"/>
              <a:gd name="connsiteY23496" fmla="*/ 995759 h 6557032"/>
              <a:gd name="connsiteX23497" fmla="*/ 2188431 w 4610101"/>
              <a:gd name="connsiteY23497" fmla="*/ 1001226 h 6557032"/>
              <a:gd name="connsiteX23498" fmla="*/ 2193898 w 4610101"/>
              <a:gd name="connsiteY23498" fmla="*/ 1004870 h 6557032"/>
              <a:gd name="connsiteX23499" fmla="*/ 2192076 w 4610101"/>
              <a:gd name="connsiteY23499" fmla="*/ 1010337 h 6557032"/>
              <a:gd name="connsiteX23500" fmla="*/ 2195720 w 4610101"/>
              <a:gd name="connsiteY23500" fmla="*/ 1012159 h 6557032"/>
              <a:gd name="connsiteX23501" fmla="*/ 2201187 w 4610101"/>
              <a:gd name="connsiteY23501" fmla="*/ 1023092 h 6557032"/>
              <a:gd name="connsiteX23502" fmla="*/ 2203009 w 4610101"/>
              <a:gd name="connsiteY23502" fmla="*/ 1004870 h 6557032"/>
              <a:gd name="connsiteX23503" fmla="*/ 2210297 w 4610101"/>
              <a:gd name="connsiteY23503" fmla="*/ 1010337 h 6557032"/>
              <a:gd name="connsiteX23504" fmla="*/ 2212120 w 4610101"/>
              <a:gd name="connsiteY23504" fmla="*/ 1004870 h 6557032"/>
              <a:gd name="connsiteX23505" fmla="*/ 2210297 w 4610101"/>
              <a:gd name="connsiteY23505" fmla="*/ 1006692 h 6557032"/>
              <a:gd name="connsiteX23506" fmla="*/ 2213942 w 4610101"/>
              <a:gd name="connsiteY23506" fmla="*/ 999403 h 6557032"/>
              <a:gd name="connsiteX23507" fmla="*/ 2217586 w 4610101"/>
              <a:gd name="connsiteY23507" fmla="*/ 1010337 h 6557032"/>
              <a:gd name="connsiteX23508" fmla="*/ 2223053 w 4610101"/>
              <a:gd name="connsiteY23508" fmla="*/ 990293 h 6557032"/>
              <a:gd name="connsiteX23509" fmla="*/ 2217586 w 4610101"/>
              <a:gd name="connsiteY23509" fmla="*/ 988471 h 6557032"/>
              <a:gd name="connsiteX23510" fmla="*/ 2219408 w 4610101"/>
              <a:gd name="connsiteY23510" fmla="*/ 993937 h 6557032"/>
              <a:gd name="connsiteX23511" fmla="*/ 2217586 w 4610101"/>
              <a:gd name="connsiteY23511" fmla="*/ 993937 h 6557032"/>
              <a:gd name="connsiteX23512" fmla="*/ 2217586 w 4610101"/>
              <a:gd name="connsiteY23512" fmla="*/ 999403 h 6557032"/>
              <a:gd name="connsiteX23513" fmla="*/ 2213942 w 4610101"/>
              <a:gd name="connsiteY23513" fmla="*/ 999403 h 6557032"/>
              <a:gd name="connsiteX23514" fmla="*/ 2210297 w 4610101"/>
              <a:gd name="connsiteY23514" fmla="*/ 999403 h 6557032"/>
              <a:gd name="connsiteX23515" fmla="*/ 2201187 w 4610101"/>
              <a:gd name="connsiteY23515" fmla="*/ 999403 h 6557032"/>
              <a:gd name="connsiteX23516" fmla="*/ 2206653 w 4610101"/>
              <a:gd name="connsiteY23516" fmla="*/ 993937 h 6557032"/>
              <a:gd name="connsiteX23517" fmla="*/ 2206653 w 4610101"/>
              <a:gd name="connsiteY23517" fmla="*/ 984826 h 6557032"/>
              <a:gd name="connsiteX23518" fmla="*/ 2213942 w 4610101"/>
              <a:gd name="connsiteY23518" fmla="*/ 984826 h 6557032"/>
              <a:gd name="connsiteX23519" fmla="*/ 2215764 w 4610101"/>
              <a:gd name="connsiteY23519" fmla="*/ 983004 h 6557032"/>
              <a:gd name="connsiteX23520" fmla="*/ 2215764 w 4610101"/>
              <a:gd name="connsiteY23520" fmla="*/ 984826 h 6557032"/>
              <a:gd name="connsiteX23521" fmla="*/ 2221230 w 4610101"/>
              <a:gd name="connsiteY23521" fmla="*/ 977538 h 6557032"/>
              <a:gd name="connsiteX23522" fmla="*/ 2217586 w 4610101"/>
              <a:gd name="connsiteY23522" fmla="*/ 966604 h 6557032"/>
              <a:gd name="connsiteX23523" fmla="*/ 2223053 w 4610101"/>
              <a:gd name="connsiteY23523" fmla="*/ 975715 h 6557032"/>
              <a:gd name="connsiteX23524" fmla="*/ 2228519 w 4610101"/>
              <a:gd name="connsiteY23524" fmla="*/ 973893 h 6557032"/>
              <a:gd name="connsiteX23525" fmla="*/ 2223053 w 4610101"/>
              <a:gd name="connsiteY23525" fmla="*/ 957494 h 6557032"/>
              <a:gd name="connsiteX23526" fmla="*/ 2208475 w 4610101"/>
              <a:gd name="connsiteY23526" fmla="*/ 964782 h 6557032"/>
              <a:gd name="connsiteX23527" fmla="*/ 2212120 w 4610101"/>
              <a:gd name="connsiteY23527" fmla="*/ 959316 h 6557032"/>
              <a:gd name="connsiteX23528" fmla="*/ 2184787 w 4610101"/>
              <a:gd name="connsiteY23528" fmla="*/ 957494 h 6557032"/>
              <a:gd name="connsiteX23529" fmla="*/ 1275522 w 4610101"/>
              <a:gd name="connsiteY23529" fmla="*/ 957494 h 6557032"/>
              <a:gd name="connsiteX23530" fmla="*/ 1268233 w 4610101"/>
              <a:gd name="connsiteY23530" fmla="*/ 964782 h 6557032"/>
              <a:gd name="connsiteX23531" fmla="*/ 1271878 w 4610101"/>
              <a:gd name="connsiteY23531" fmla="*/ 961138 h 6557032"/>
              <a:gd name="connsiteX23532" fmla="*/ 1270056 w 4610101"/>
              <a:gd name="connsiteY23532" fmla="*/ 966604 h 6557032"/>
              <a:gd name="connsiteX23533" fmla="*/ 1253656 w 4610101"/>
              <a:gd name="connsiteY23533" fmla="*/ 962960 h 6557032"/>
              <a:gd name="connsiteX23534" fmla="*/ 1248189 w 4610101"/>
              <a:gd name="connsiteY23534" fmla="*/ 975715 h 6557032"/>
              <a:gd name="connsiteX23535" fmla="*/ 1255478 w 4610101"/>
              <a:gd name="connsiteY23535" fmla="*/ 972071 h 6557032"/>
              <a:gd name="connsiteX23536" fmla="*/ 1240901 w 4610101"/>
              <a:gd name="connsiteY23536" fmla="*/ 983004 h 6557032"/>
              <a:gd name="connsiteX23537" fmla="*/ 1240901 w 4610101"/>
              <a:gd name="connsiteY23537" fmla="*/ 986649 h 6557032"/>
              <a:gd name="connsiteX23538" fmla="*/ 1233612 w 4610101"/>
              <a:gd name="connsiteY23538" fmla="*/ 1010337 h 6557032"/>
              <a:gd name="connsiteX23539" fmla="*/ 1224501 w 4610101"/>
              <a:gd name="connsiteY23539" fmla="*/ 1019448 h 6557032"/>
              <a:gd name="connsiteX23540" fmla="*/ 1242039 w 4610101"/>
              <a:gd name="connsiteY23540" fmla="*/ 1009425 h 6557032"/>
              <a:gd name="connsiteX23541" fmla="*/ 1257324 w 4610101"/>
              <a:gd name="connsiteY23541" fmla="*/ 1001323 h 6557032"/>
              <a:gd name="connsiteX23542" fmla="*/ 1248189 w 4610101"/>
              <a:gd name="connsiteY23542" fmla="*/ 1008515 h 6557032"/>
              <a:gd name="connsiteX23543" fmla="*/ 1264589 w 4610101"/>
              <a:gd name="connsiteY23543" fmla="*/ 999403 h 6557032"/>
              <a:gd name="connsiteX23544" fmla="*/ 1259123 w 4610101"/>
              <a:gd name="connsiteY23544" fmla="*/ 1006692 h 6557032"/>
              <a:gd name="connsiteX23545" fmla="*/ 1301033 w 4610101"/>
              <a:gd name="connsiteY23545" fmla="*/ 981182 h 6557032"/>
              <a:gd name="connsiteX23546" fmla="*/ 1297388 w 4610101"/>
              <a:gd name="connsiteY23546" fmla="*/ 988471 h 6557032"/>
              <a:gd name="connsiteX23547" fmla="*/ 1317432 w 4610101"/>
              <a:gd name="connsiteY23547" fmla="*/ 979360 h 6557032"/>
              <a:gd name="connsiteX23548" fmla="*/ 1306499 w 4610101"/>
              <a:gd name="connsiteY23548" fmla="*/ 972071 h 6557032"/>
              <a:gd name="connsiteX23549" fmla="*/ 1301033 w 4610101"/>
              <a:gd name="connsiteY23549" fmla="*/ 983004 h 6557032"/>
              <a:gd name="connsiteX23550" fmla="*/ 1303995 w 4610101"/>
              <a:gd name="connsiteY23550" fmla="*/ 975032 h 6557032"/>
              <a:gd name="connsiteX23551" fmla="*/ 1303016 w 4610101"/>
              <a:gd name="connsiteY23551" fmla="*/ 969361 h 6557032"/>
              <a:gd name="connsiteX23552" fmla="*/ 1304677 w 4610101"/>
              <a:gd name="connsiteY23552" fmla="*/ 970249 h 6557032"/>
              <a:gd name="connsiteX23553" fmla="*/ 1302855 w 4610101"/>
              <a:gd name="connsiteY23553" fmla="*/ 968427 h 6557032"/>
              <a:gd name="connsiteX23554" fmla="*/ 1303016 w 4610101"/>
              <a:gd name="connsiteY23554" fmla="*/ 969361 h 6557032"/>
              <a:gd name="connsiteX23555" fmla="*/ 1291466 w 4610101"/>
              <a:gd name="connsiteY23555" fmla="*/ 963188 h 6557032"/>
              <a:gd name="connsiteX23556" fmla="*/ 1275522 w 4610101"/>
              <a:gd name="connsiteY23556" fmla="*/ 957494 h 6557032"/>
              <a:gd name="connsiteX23557" fmla="*/ 1100593 w 4610101"/>
              <a:gd name="connsiteY23557" fmla="*/ 957494 h 6557032"/>
              <a:gd name="connsiteX23558" fmla="*/ 1098771 w 4610101"/>
              <a:gd name="connsiteY23558" fmla="*/ 961138 h 6557032"/>
              <a:gd name="connsiteX23559" fmla="*/ 1096949 w 4610101"/>
              <a:gd name="connsiteY23559" fmla="*/ 966604 h 6557032"/>
              <a:gd name="connsiteX23560" fmla="*/ 1095127 w 4610101"/>
              <a:gd name="connsiteY23560" fmla="*/ 972071 h 6557032"/>
              <a:gd name="connsiteX23561" fmla="*/ 1098771 w 4610101"/>
              <a:gd name="connsiteY23561" fmla="*/ 979360 h 6557032"/>
              <a:gd name="connsiteX23562" fmla="*/ 1104238 w 4610101"/>
              <a:gd name="connsiteY23562" fmla="*/ 975715 h 6557032"/>
              <a:gd name="connsiteX23563" fmla="*/ 1104238 w 4610101"/>
              <a:gd name="connsiteY23563" fmla="*/ 981182 h 6557032"/>
              <a:gd name="connsiteX23564" fmla="*/ 1109704 w 4610101"/>
              <a:gd name="connsiteY23564" fmla="*/ 979360 h 6557032"/>
              <a:gd name="connsiteX23565" fmla="*/ 1107882 w 4610101"/>
              <a:gd name="connsiteY23565" fmla="*/ 973893 h 6557032"/>
              <a:gd name="connsiteX23566" fmla="*/ 1111526 w 4610101"/>
              <a:gd name="connsiteY23566" fmla="*/ 972071 h 6557032"/>
              <a:gd name="connsiteX23567" fmla="*/ 1107882 w 4610101"/>
              <a:gd name="connsiteY23567" fmla="*/ 957494 h 6557032"/>
              <a:gd name="connsiteX23568" fmla="*/ 1100593 w 4610101"/>
              <a:gd name="connsiteY23568" fmla="*/ 957494 h 6557032"/>
              <a:gd name="connsiteX23569" fmla="*/ 1064151 w 4610101"/>
              <a:gd name="connsiteY23569" fmla="*/ 957494 h 6557032"/>
              <a:gd name="connsiteX23570" fmla="*/ 1051395 w 4610101"/>
              <a:gd name="connsiteY23570" fmla="*/ 959316 h 6557032"/>
              <a:gd name="connsiteX23571" fmla="*/ 1056861 w 4610101"/>
              <a:gd name="connsiteY23571" fmla="*/ 962960 h 6557032"/>
              <a:gd name="connsiteX23572" fmla="*/ 1056861 w 4610101"/>
              <a:gd name="connsiteY23572" fmla="*/ 959316 h 6557032"/>
              <a:gd name="connsiteX23573" fmla="*/ 1060506 w 4610101"/>
              <a:gd name="connsiteY23573" fmla="*/ 962960 h 6557032"/>
              <a:gd name="connsiteX23574" fmla="*/ 1064151 w 4610101"/>
              <a:gd name="connsiteY23574" fmla="*/ 961138 h 6557032"/>
              <a:gd name="connsiteX23575" fmla="*/ 819979 w 4610101"/>
              <a:gd name="connsiteY23575" fmla="*/ 957494 h 6557032"/>
              <a:gd name="connsiteX23576" fmla="*/ 816334 w 4610101"/>
              <a:gd name="connsiteY23576" fmla="*/ 964782 h 6557032"/>
              <a:gd name="connsiteX23577" fmla="*/ 819979 w 4610101"/>
              <a:gd name="connsiteY23577" fmla="*/ 957494 h 6557032"/>
              <a:gd name="connsiteX23578" fmla="*/ 515676 w 4610101"/>
              <a:gd name="connsiteY23578" fmla="*/ 957494 h 6557032"/>
              <a:gd name="connsiteX23579" fmla="*/ 528431 w 4610101"/>
              <a:gd name="connsiteY23579" fmla="*/ 972071 h 6557032"/>
              <a:gd name="connsiteX23580" fmla="*/ 515676 w 4610101"/>
              <a:gd name="connsiteY23580" fmla="*/ 957494 h 6557032"/>
              <a:gd name="connsiteX23581" fmla="*/ 457367 w 4610101"/>
              <a:gd name="connsiteY23581" fmla="*/ 957494 h 6557032"/>
              <a:gd name="connsiteX23582" fmla="*/ 444611 w 4610101"/>
              <a:gd name="connsiteY23582" fmla="*/ 962960 h 6557032"/>
              <a:gd name="connsiteX23583" fmla="*/ 450077 w 4610101"/>
              <a:gd name="connsiteY23583" fmla="*/ 962960 h 6557032"/>
              <a:gd name="connsiteX23584" fmla="*/ 446433 w 4610101"/>
              <a:gd name="connsiteY23584" fmla="*/ 964782 h 6557032"/>
              <a:gd name="connsiteX23585" fmla="*/ 453722 w 4610101"/>
              <a:gd name="connsiteY23585" fmla="*/ 968427 h 6557032"/>
              <a:gd name="connsiteX23586" fmla="*/ 457367 w 4610101"/>
              <a:gd name="connsiteY23586" fmla="*/ 957494 h 6557032"/>
              <a:gd name="connsiteX23587" fmla="*/ 348037 w 4610101"/>
              <a:gd name="connsiteY23587" fmla="*/ 957494 h 6557032"/>
              <a:gd name="connsiteX23588" fmla="*/ 375368 w 4610101"/>
              <a:gd name="connsiteY23588" fmla="*/ 979360 h 6557032"/>
              <a:gd name="connsiteX23589" fmla="*/ 355324 w 4610101"/>
              <a:gd name="connsiteY23589" fmla="*/ 966604 h 6557032"/>
              <a:gd name="connsiteX23590" fmla="*/ 362426 w 4610101"/>
              <a:gd name="connsiteY23590" fmla="*/ 969268 h 6557032"/>
              <a:gd name="connsiteX23591" fmla="*/ 368079 w 4610101"/>
              <a:gd name="connsiteY23591" fmla="*/ 973893 h 6557032"/>
              <a:gd name="connsiteX23592" fmla="*/ 364738 w 4610101"/>
              <a:gd name="connsiteY23592" fmla="*/ 970134 h 6557032"/>
              <a:gd name="connsiteX23593" fmla="*/ 369902 w 4610101"/>
              <a:gd name="connsiteY23593" fmla="*/ 972071 h 6557032"/>
              <a:gd name="connsiteX23594" fmla="*/ 384479 w 4610101"/>
              <a:gd name="connsiteY23594" fmla="*/ 975715 h 6557032"/>
              <a:gd name="connsiteX23595" fmla="*/ 375368 w 4610101"/>
              <a:gd name="connsiteY23595" fmla="*/ 964782 h 6557032"/>
              <a:gd name="connsiteX23596" fmla="*/ 386301 w 4610101"/>
              <a:gd name="connsiteY23596" fmla="*/ 972071 h 6557032"/>
              <a:gd name="connsiteX23597" fmla="*/ 384479 w 4610101"/>
              <a:gd name="connsiteY23597" fmla="*/ 966604 h 6557032"/>
              <a:gd name="connsiteX23598" fmla="*/ 389946 w 4610101"/>
              <a:gd name="connsiteY23598" fmla="*/ 973893 h 6557032"/>
              <a:gd name="connsiteX23599" fmla="*/ 393590 w 4610101"/>
              <a:gd name="connsiteY23599" fmla="*/ 970249 h 6557032"/>
              <a:gd name="connsiteX23600" fmla="*/ 353502 w 4610101"/>
              <a:gd name="connsiteY23600" fmla="*/ 957494 h 6557032"/>
              <a:gd name="connsiteX23601" fmla="*/ 364738 w 4610101"/>
              <a:gd name="connsiteY23601" fmla="*/ 970134 h 6557032"/>
              <a:gd name="connsiteX23602" fmla="*/ 362426 w 4610101"/>
              <a:gd name="connsiteY23602" fmla="*/ 969268 h 6557032"/>
              <a:gd name="connsiteX23603" fmla="*/ 100220 w 4610101"/>
              <a:gd name="connsiteY23603" fmla="*/ 957494 h 6557032"/>
              <a:gd name="connsiteX23604" fmla="*/ 106930 w 4610101"/>
              <a:gd name="connsiteY23604" fmla="*/ 962352 h 6557032"/>
              <a:gd name="connsiteX23605" fmla="*/ 107509 w 4610101"/>
              <a:gd name="connsiteY23605" fmla="*/ 962960 h 6557032"/>
              <a:gd name="connsiteX23606" fmla="*/ 100220 w 4610101"/>
              <a:gd name="connsiteY23606" fmla="*/ 957494 h 6557032"/>
              <a:gd name="connsiteX23607" fmla="*/ 390173 w 4610101"/>
              <a:gd name="connsiteY23607" fmla="*/ 956810 h 6557032"/>
              <a:gd name="connsiteX23608" fmla="*/ 382657 w 4610101"/>
              <a:gd name="connsiteY23608" fmla="*/ 957494 h 6557032"/>
              <a:gd name="connsiteX23609" fmla="*/ 397234 w 4610101"/>
              <a:gd name="connsiteY23609" fmla="*/ 972071 h 6557032"/>
              <a:gd name="connsiteX23610" fmla="*/ 400878 w 4610101"/>
              <a:gd name="connsiteY23610" fmla="*/ 965465 h 6557032"/>
              <a:gd name="connsiteX23611" fmla="*/ 400136 w 4610101"/>
              <a:gd name="connsiteY23611" fmla="*/ 962218 h 6557032"/>
              <a:gd name="connsiteX23612" fmla="*/ 404523 w 4610101"/>
              <a:gd name="connsiteY23612" fmla="*/ 966604 h 6557032"/>
              <a:gd name="connsiteX23613" fmla="*/ 409989 w 4610101"/>
              <a:gd name="connsiteY23613" fmla="*/ 961138 h 6557032"/>
              <a:gd name="connsiteX23614" fmla="*/ 404523 w 4610101"/>
              <a:gd name="connsiteY23614" fmla="*/ 959771 h 6557032"/>
              <a:gd name="connsiteX23615" fmla="*/ 399844 w 4610101"/>
              <a:gd name="connsiteY23615" fmla="*/ 960940 h 6557032"/>
              <a:gd name="connsiteX23616" fmla="*/ 399056 w 4610101"/>
              <a:gd name="connsiteY23616" fmla="*/ 957494 h 6557032"/>
              <a:gd name="connsiteX23617" fmla="*/ 390173 w 4610101"/>
              <a:gd name="connsiteY23617" fmla="*/ 956810 h 6557032"/>
              <a:gd name="connsiteX23618" fmla="*/ 1178380 w 4610101"/>
              <a:gd name="connsiteY23618" fmla="*/ 956238 h 6557032"/>
              <a:gd name="connsiteX23619" fmla="*/ 1180769 w 4610101"/>
              <a:gd name="connsiteY23619" fmla="*/ 957317 h 6557032"/>
              <a:gd name="connsiteX23620" fmla="*/ 1180769 w 4610101"/>
              <a:gd name="connsiteY23620" fmla="*/ 957494 h 6557032"/>
              <a:gd name="connsiteX23621" fmla="*/ 1181122 w 4610101"/>
              <a:gd name="connsiteY23621" fmla="*/ 957477 h 6557032"/>
              <a:gd name="connsiteX23622" fmla="*/ 1184186 w 4610101"/>
              <a:gd name="connsiteY23622" fmla="*/ 958860 h 6557032"/>
              <a:gd name="connsiteX23623" fmla="*/ 1184208 w 4610101"/>
              <a:gd name="connsiteY23623" fmla="*/ 959418 h 6557032"/>
              <a:gd name="connsiteX23624" fmla="*/ 1180769 w 4610101"/>
              <a:gd name="connsiteY23624" fmla="*/ 961138 h 6557032"/>
              <a:gd name="connsiteX23625" fmla="*/ 1177125 w 4610101"/>
              <a:gd name="connsiteY23625" fmla="*/ 957494 h 6557032"/>
              <a:gd name="connsiteX23626" fmla="*/ 958460 w 4610101"/>
              <a:gd name="connsiteY23626" fmla="*/ 955675 h 6557032"/>
              <a:gd name="connsiteX23627" fmla="*/ 952997 w 4610101"/>
              <a:gd name="connsiteY23627" fmla="*/ 961138 h 6557032"/>
              <a:gd name="connsiteX23628" fmla="*/ 952927 w 4610101"/>
              <a:gd name="connsiteY23628" fmla="*/ 959824 h 6557032"/>
              <a:gd name="connsiteX23629" fmla="*/ 701537 w 4610101"/>
              <a:gd name="connsiteY23629" fmla="*/ 955672 h 6557032"/>
              <a:gd name="connsiteX23630" fmla="*/ 686960 w 4610101"/>
              <a:gd name="connsiteY23630" fmla="*/ 968427 h 6557032"/>
              <a:gd name="connsiteX23631" fmla="*/ 688782 w 4610101"/>
              <a:gd name="connsiteY23631" fmla="*/ 966604 h 6557032"/>
              <a:gd name="connsiteX23632" fmla="*/ 697893 w 4610101"/>
              <a:gd name="connsiteY23632" fmla="*/ 973893 h 6557032"/>
              <a:gd name="connsiteX23633" fmla="*/ 701537 w 4610101"/>
              <a:gd name="connsiteY23633" fmla="*/ 955672 h 6557032"/>
              <a:gd name="connsiteX23634" fmla="*/ 663272 w 4610101"/>
              <a:gd name="connsiteY23634" fmla="*/ 955672 h 6557032"/>
              <a:gd name="connsiteX23635" fmla="*/ 666916 w 4610101"/>
              <a:gd name="connsiteY23635" fmla="*/ 968427 h 6557032"/>
              <a:gd name="connsiteX23636" fmla="*/ 670560 w 4610101"/>
              <a:gd name="connsiteY23636" fmla="*/ 959316 h 6557032"/>
              <a:gd name="connsiteX23637" fmla="*/ 663272 w 4610101"/>
              <a:gd name="connsiteY23637" fmla="*/ 955672 h 6557032"/>
              <a:gd name="connsiteX23638" fmla="*/ 537542 w 4610101"/>
              <a:gd name="connsiteY23638" fmla="*/ 955672 h 6557032"/>
              <a:gd name="connsiteX23639" fmla="*/ 543008 w 4610101"/>
              <a:gd name="connsiteY23639" fmla="*/ 961138 h 6557032"/>
              <a:gd name="connsiteX23640" fmla="*/ 537542 w 4610101"/>
              <a:gd name="connsiteY23640" fmla="*/ 955672 h 6557032"/>
              <a:gd name="connsiteX23641" fmla="*/ 255105 w 4610101"/>
              <a:gd name="connsiteY23641" fmla="*/ 955672 h 6557032"/>
              <a:gd name="connsiteX23642" fmla="*/ 262393 w 4610101"/>
              <a:gd name="connsiteY23642" fmla="*/ 961138 h 6557032"/>
              <a:gd name="connsiteX23643" fmla="*/ 255105 w 4610101"/>
              <a:gd name="connsiteY23643" fmla="*/ 955672 h 6557032"/>
              <a:gd name="connsiteX23644" fmla="*/ 227772 w 4610101"/>
              <a:gd name="connsiteY23644" fmla="*/ 955672 h 6557032"/>
              <a:gd name="connsiteX23645" fmla="*/ 238705 w 4610101"/>
              <a:gd name="connsiteY23645" fmla="*/ 962960 h 6557032"/>
              <a:gd name="connsiteX23646" fmla="*/ 227772 w 4610101"/>
              <a:gd name="connsiteY23646" fmla="*/ 955672 h 6557032"/>
              <a:gd name="connsiteX23647" fmla="*/ 158529 w 4610101"/>
              <a:gd name="connsiteY23647" fmla="*/ 955672 h 6557032"/>
              <a:gd name="connsiteX23648" fmla="*/ 165818 w 4610101"/>
              <a:gd name="connsiteY23648" fmla="*/ 962960 h 6557032"/>
              <a:gd name="connsiteX23649" fmla="*/ 158529 w 4610101"/>
              <a:gd name="connsiteY23649" fmla="*/ 955672 h 6557032"/>
              <a:gd name="connsiteX23650" fmla="*/ 2150166 w 4610101"/>
              <a:gd name="connsiteY23650" fmla="*/ 953848 h 6557032"/>
              <a:gd name="connsiteX23651" fmla="*/ 2142877 w 4610101"/>
              <a:gd name="connsiteY23651" fmla="*/ 955672 h 6557032"/>
              <a:gd name="connsiteX23652" fmla="*/ 2164743 w 4610101"/>
              <a:gd name="connsiteY23652" fmla="*/ 959316 h 6557032"/>
              <a:gd name="connsiteX23653" fmla="*/ 2162921 w 4610101"/>
              <a:gd name="connsiteY23653" fmla="*/ 955672 h 6557032"/>
              <a:gd name="connsiteX23654" fmla="*/ 2150166 w 4610101"/>
              <a:gd name="connsiteY23654" fmla="*/ 953848 h 6557032"/>
              <a:gd name="connsiteX23655" fmla="*/ 2137410 w 4610101"/>
              <a:gd name="connsiteY23655" fmla="*/ 953848 h 6557032"/>
              <a:gd name="connsiteX23656" fmla="*/ 2122833 w 4610101"/>
              <a:gd name="connsiteY23656" fmla="*/ 957494 h 6557032"/>
              <a:gd name="connsiteX23657" fmla="*/ 2126477 w 4610101"/>
              <a:gd name="connsiteY23657" fmla="*/ 961138 h 6557032"/>
              <a:gd name="connsiteX23658" fmla="*/ 2137410 w 4610101"/>
              <a:gd name="connsiteY23658" fmla="*/ 957494 h 6557032"/>
              <a:gd name="connsiteX23659" fmla="*/ 2137410 w 4610101"/>
              <a:gd name="connsiteY23659" fmla="*/ 953848 h 6557032"/>
              <a:gd name="connsiteX23660" fmla="*/ 1124282 w 4610101"/>
              <a:gd name="connsiteY23660" fmla="*/ 953848 h 6557032"/>
              <a:gd name="connsiteX23661" fmla="*/ 1111526 w 4610101"/>
              <a:gd name="connsiteY23661" fmla="*/ 955672 h 6557032"/>
              <a:gd name="connsiteX23662" fmla="*/ 1124282 w 4610101"/>
              <a:gd name="connsiteY23662" fmla="*/ 986649 h 6557032"/>
              <a:gd name="connsiteX23663" fmla="*/ 1122459 w 4610101"/>
              <a:gd name="connsiteY23663" fmla="*/ 966604 h 6557032"/>
              <a:gd name="connsiteX23664" fmla="*/ 1125051 w 4610101"/>
              <a:gd name="connsiteY23664" fmla="*/ 961622 h 6557032"/>
              <a:gd name="connsiteX23665" fmla="*/ 1126104 w 4610101"/>
              <a:gd name="connsiteY23665" fmla="*/ 964782 h 6557032"/>
              <a:gd name="connsiteX23666" fmla="*/ 1126104 w 4610101"/>
              <a:gd name="connsiteY23666" fmla="*/ 997582 h 6557032"/>
              <a:gd name="connsiteX23667" fmla="*/ 1129748 w 4610101"/>
              <a:gd name="connsiteY23667" fmla="*/ 993937 h 6557032"/>
              <a:gd name="connsiteX23668" fmla="*/ 1126104 w 4610101"/>
              <a:gd name="connsiteY23668" fmla="*/ 999403 h 6557032"/>
              <a:gd name="connsiteX23669" fmla="*/ 1122459 w 4610101"/>
              <a:gd name="connsiteY23669" fmla="*/ 990293 h 6557032"/>
              <a:gd name="connsiteX23670" fmla="*/ 1115171 w 4610101"/>
              <a:gd name="connsiteY23670" fmla="*/ 977538 h 6557032"/>
              <a:gd name="connsiteX23671" fmla="*/ 1106060 w 4610101"/>
              <a:gd name="connsiteY23671" fmla="*/ 988471 h 6557032"/>
              <a:gd name="connsiteX23672" fmla="*/ 1113349 w 4610101"/>
              <a:gd name="connsiteY23672" fmla="*/ 992115 h 6557032"/>
              <a:gd name="connsiteX23673" fmla="*/ 1122459 w 4610101"/>
              <a:gd name="connsiteY23673" fmla="*/ 990293 h 6557032"/>
              <a:gd name="connsiteX23674" fmla="*/ 1118815 w 4610101"/>
              <a:gd name="connsiteY23674" fmla="*/ 993937 h 6557032"/>
              <a:gd name="connsiteX23675" fmla="*/ 1106060 w 4610101"/>
              <a:gd name="connsiteY23675" fmla="*/ 993937 h 6557032"/>
              <a:gd name="connsiteX23676" fmla="*/ 1100593 w 4610101"/>
              <a:gd name="connsiteY23676" fmla="*/ 992115 h 6557032"/>
              <a:gd name="connsiteX23677" fmla="*/ 1104238 w 4610101"/>
              <a:gd name="connsiteY23677" fmla="*/ 1001226 h 6557032"/>
              <a:gd name="connsiteX23678" fmla="*/ 1126104 w 4610101"/>
              <a:gd name="connsiteY23678" fmla="*/ 999403 h 6557032"/>
              <a:gd name="connsiteX23679" fmla="*/ 1151614 w 4610101"/>
              <a:gd name="connsiteY23679" fmla="*/ 990293 h 6557032"/>
              <a:gd name="connsiteX23680" fmla="*/ 1158903 w 4610101"/>
              <a:gd name="connsiteY23680" fmla="*/ 990293 h 6557032"/>
              <a:gd name="connsiteX23681" fmla="*/ 1162547 w 4610101"/>
              <a:gd name="connsiteY23681" fmla="*/ 983004 h 6557032"/>
              <a:gd name="connsiteX23682" fmla="*/ 1162547 w 4610101"/>
              <a:gd name="connsiteY23682" fmla="*/ 990293 h 6557032"/>
              <a:gd name="connsiteX23683" fmla="*/ 1166192 w 4610101"/>
              <a:gd name="connsiteY23683" fmla="*/ 988471 h 6557032"/>
              <a:gd name="connsiteX23684" fmla="*/ 1167467 w 4610101"/>
              <a:gd name="connsiteY23684" fmla="*/ 984009 h 6557032"/>
              <a:gd name="connsiteX23685" fmla="*/ 1175075 w 4610101"/>
              <a:gd name="connsiteY23685" fmla="*/ 979132 h 6557032"/>
              <a:gd name="connsiteX23686" fmla="*/ 1182592 w 4610101"/>
              <a:gd name="connsiteY23686" fmla="*/ 972071 h 6557032"/>
              <a:gd name="connsiteX23687" fmla="*/ 1184414 w 4610101"/>
              <a:gd name="connsiteY23687" fmla="*/ 973893 h 6557032"/>
              <a:gd name="connsiteX23688" fmla="*/ 1178947 w 4610101"/>
              <a:gd name="connsiteY23688" fmla="*/ 961138 h 6557032"/>
              <a:gd name="connsiteX23689" fmla="*/ 1184414 w 4610101"/>
              <a:gd name="connsiteY23689" fmla="*/ 964782 h 6557032"/>
              <a:gd name="connsiteX23690" fmla="*/ 1184208 w 4610101"/>
              <a:gd name="connsiteY23690" fmla="*/ 959418 h 6557032"/>
              <a:gd name="connsiteX23691" fmla="*/ 1184414 w 4610101"/>
              <a:gd name="connsiteY23691" fmla="*/ 959316 h 6557032"/>
              <a:gd name="connsiteX23692" fmla="*/ 1186236 w 4610101"/>
              <a:gd name="connsiteY23692" fmla="*/ 961138 h 6557032"/>
              <a:gd name="connsiteX23693" fmla="*/ 1185552 w 4610101"/>
              <a:gd name="connsiteY23693" fmla="*/ 957266 h 6557032"/>
              <a:gd name="connsiteX23694" fmla="*/ 1181122 w 4610101"/>
              <a:gd name="connsiteY23694" fmla="*/ 957477 h 6557032"/>
              <a:gd name="connsiteX23695" fmla="*/ 1180769 w 4610101"/>
              <a:gd name="connsiteY23695" fmla="*/ 957317 h 6557032"/>
              <a:gd name="connsiteX23696" fmla="*/ 1180769 w 4610101"/>
              <a:gd name="connsiteY23696" fmla="*/ 955672 h 6557032"/>
              <a:gd name="connsiteX23697" fmla="*/ 1178947 w 4610101"/>
              <a:gd name="connsiteY23697" fmla="*/ 955672 h 6557032"/>
              <a:gd name="connsiteX23698" fmla="*/ 1178380 w 4610101"/>
              <a:gd name="connsiteY23698" fmla="*/ 956238 h 6557032"/>
              <a:gd name="connsiteX23699" fmla="*/ 1177125 w 4610101"/>
              <a:gd name="connsiteY23699" fmla="*/ 955672 h 6557032"/>
              <a:gd name="connsiteX23700" fmla="*/ 1177125 w 4610101"/>
              <a:gd name="connsiteY23700" fmla="*/ 957494 h 6557032"/>
              <a:gd name="connsiteX23701" fmla="*/ 1177125 w 4610101"/>
              <a:gd name="connsiteY23701" fmla="*/ 959316 h 6557032"/>
              <a:gd name="connsiteX23702" fmla="*/ 1166192 w 4610101"/>
              <a:gd name="connsiteY23702" fmla="*/ 968427 h 6557032"/>
              <a:gd name="connsiteX23703" fmla="*/ 1164370 w 4610101"/>
              <a:gd name="connsiteY23703" fmla="*/ 961138 h 6557032"/>
              <a:gd name="connsiteX23704" fmla="*/ 1166192 w 4610101"/>
              <a:gd name="connsiteY23704" fmla="*/ 964782 h 6557032"/>
              <a:gd name="connsiteX23705" fmla="*/ 1175303 w 4610101"/>
              <a:gd name="connsiteY23705" fmla="*/ 957494 h 6557032"/>
              <a:gd name="connsiteX23706" fmla="*/ 1168014 w 4610101"/>
              <a:gd name="connsiteY23706" fmla="*/ 953848 h 6557032"/>
              <a:gd name="connsiteX23707" fmla="*/ 1149792 w 4610101"/>
              <a:gd name="connsiteY23707" fmla="*/ 957494 h 6557032"/>
              <a:gd name="connsiteX23708" fmla="*/ 1131570 w 4610101"/>
              <a:gd name="connsiteY23708" fmla="*/ 953848 h 6557032"/>
              <a:gd name="connsiteX23709" fmla="*/ 1127926 w 4610101"/>
              <a:gd name="connsiteY23709" fmla="*/ 959316 h 6557032"/>
              <a:gd name="connsiteX23710" fmla="*/ 1127926 w 4610101"/>
              <a:gd name="connsiteY23710" fmla="*/ 953848 h 6557032"/>
              <a:gd name="connsiteX23711" fmla="*/ 1124992 w 4610101"/>
              <a:gd name="connsiteY23711" fmla="*/ 958250 h 6557032"/>
              <a:gd name="connsiteX23712" fmla="*/ 1034995 w 4610101"/>
              <a:gd name="connsiteY23712" fmla="*/ 953848 h 6557032"/>
              <a:gd name="connsiteX23713" fmla="*/ 1033173 w 4610101"/>
              <a:gd name="connsiteY23713" fmla="*/ 959316 h 6557032"/>
              <a:gd name="connsiteX23714" fmla="*/ 1034995 w 4610101"/>
              <a:gd name="connsiteY23714" fmla="*/ 962960 h 6557032"/>
              <a:gd name="connsiteX23715" fmla="*/ 1044106 w 4610101"/>
              <a:gd name="connsiteY23715" fmla="*/ 959316 h 6557032"/>
              <a:gd name="connsiteX23716" fmla="*/ 1042284 w 4610101"/>
              <a:gd name="connsiteY23716" fmla="*/ 955672 h 6557032"/>
              <a:gd name="connsiteX23717" fmla="*/ 1038639 w 4610101"/>
              <a:gd name="connsiteY23717" fmla="*/ 957494 h 6557032"/>
              <a:gd name="connsiteX23718" fmla="*/ 1040462 w 4610101"/>
              <a:gd name="connsiteY23718" fmla="*/ 955672 h 6557032"/>
              <a:gd name="connsiteX23719" fmla="*/ 1034995 w 4610101"/>
              <a:gd name="connsiteY23719" fmla="*/ 953848 h 6557032"/>
              <a:gd name="connsiteX23720" fmla="*/ 967575 w 4610101"/>
              <a:gd name="connsiteY23720" fmla="*/ 953848 h 6557032"/>
              <a:gd name="connsiteX23721" fmla="*/ 965753 w 4610101"/>
              <a:gd name="connsiteY23721" fmla="*/ 957494 h 6557032"/>
              <a:gd name="connsiteX23722" fmla="*/ 962108 w 4610101"/>
              <a:gd name="connsiteY23722" fmla="*/ 955672 h 6557032"/>
              <a:gd name="connsiteX23723" fmla="*/ 967575 w 4610101"/>
              <a:gd name="connsiteY23723" fmla="*/ 953848 h 6557032"/>
              <a:gd name="connsiteX23724" fmla="*/ 872822 w 4610101"/>
              <a:gd name="connsiteY23724" fmla="*/ 953848 h 6557032"/>
              <a:gd name="connsiteX23725" fmla="*/ 871000 w 4610101"/>
              <a:gd name="connsiteY23725" fmla="*/ 958953 h 6557032"/>
              <a:gd name="connsiteX23726" fmla="*/ 870544 w 4610101"/>
              <a:gd name="connsiteY23726" fmla="*/ 960227 h 6557032"/>
              <a:gd name="connsiteX23727" fmla="*/ 871000 w 4610101"/>
              <a:gd name="connsiteY23727" fmla="*/ 966604 h 6557032"/>
              <a:gd name="connsiteX23728" fmla="*/ 860066 w 4610101"/>
              <a:gd name="connsiteY23728" fmla="*/ 973893 h 6557032"/>
              <a:gd name="connsiteX23729" fmla="*/ 864293 w 4610101"/>
              <a:gd name="connsiteY23729" fmla="*/ 976679 h 6557032"/>
              <a:gd name="connsiteX23730" fmla="*/ 861889 w 4610101"/>
              <a:gd name="connsiteY23730" fmla="*/ 977538 h 6557032"/>
              <a:gd name="connsiteX23731" fmla="*/ 865533 w 4610101"/>
              <a:gd name="connsiteY23731" fmla="*/ 979360 h 6557032"/>
              <a:gd name="connsiteX23732" fmla="*/ 865214 w 4610101"/>
              <a:gd name="connsiteY23732" fmla="*/ 977286 h 6557032"/>
              <a:gd name="connsiteX23733" fmla="*/ 870088 w 4610101"/>
              <a:gd name="connsiteY23733" fmla="*/ 980498 h 6557032"/>
              <a:gd name="connsiteX23734" fmla="*/ 874279 w 4610101"/>
              <a:gd name="connsiteY23734" fmla="*/ 981546 h 6557032"/>
              <a:gd name="connsiteX23735" fmla="*/ 880111 w 4610101"/>
              <a:gd name="connsiteY23735" fmla="*/ 983004 h 6557032"/>
              <a:gd name="connsiteX23736" fmla="*/ 876466 w 4610101"/>
              <a:gd name="connsiteY23736" fmla="*/ 973893 h 6557032"/>
              <a:gd name="connsiteX23737" fmla="*/ 894688 w 4610101"/>
              <a:gd name="connsiteY23737" fmla="*/ 981182 h 6557032"/>
              <a:gd name="connsiteX23738" fmla="*/ 892866 w 4610101"/>
              <a:gd name="connsiteY23738" fmla="*/ 972071 h 6557032"/>
              <a:gd name="connsiteX23739" fmla="*/ 872822 w 4610101"/>
              <a:gd name="connsiteY23739" fmla="*/ 953848 h 6557032"/>
              <a:gd name="connsiteX23740" fmla="*/ 484700 w 4610101"/>
              <a:gd name="connsiteY23740" fmla="*/ 953848 h 6557032"/>
              <a:gd name="connsiteX23741" fmla="*/ 546653 w 4610101"/>
              <a:gd name="connsiteY23741" fmla="*/ 992115 h 6557032"/>
              <a:gd name="connsiteX23742" fmla="*/ 535719 w 4610101"/>
              <a:gd name="connsiteY23742" fmla="*/ 981182 h 6557032"/>
              <a:gd name="connsiteX23743" fmla="*/ 499276 w 4610101"/>
              <a:gd name="connsiteY23743" fmla="*/ 957494 h 6557032"/>
              <a:gd name="connsiteX23744" fmla="*/ 501098 w 4610101"/>
              <a:gd name="connsiteY23744" fmla="*/ 957494 h 6557032"/>
              <a:gd name="connsiteX23745" fmla="*/ 484700 w 4610101"/>
              <a:gd name="connsiteY23745" fmla="*/ 953848 h 6557032"/>
              <a:gd name="connsiteX23746" fmla="*/ 267860 w 4610101"/>
              <a:gd name="connsiteY23746" fmla="*/ 953848 h 6557032"/>
              <a:gd name="connsiteX23747" fmla="*/ 276971 w 4610101"/>
              <a:gd name="connsiteY23747" fmla="*/ 961138 h 6557032"/>
              <a:gd name="connsiteX23748" fmla="*/ 267860 w 4610101"/>
              <a:gd name="connsiteY23748" fmla="*/ 953848 h 6557032"/>
              <a:gd name="connsiteX23749" fmla="*/ 233239 w 4610101"/>
              <a:gd name="connsiteY23749" fmla="*/ 953848 h 6557032"/>
              <a:gd name="connsiteX23750" fmla="*/ 251460 w 4610101"/>
              <a:gd name="connsiteY23750" fmla="*/ 966604 h 6557032"/>
              <a:gd name="connsiteX23751" fmla="*/ 244172 w 4610101"/>
              <a:gd name="connsiteY23751" fmla="*/ 961138 h 6557032"/>
              <a:gd name="connsiteX23752" fmla="*/ 251511 w 4610101"/>
              <a:gd name="connsiteY23752" fmla="*/ 965215 h 6557032"/>
              <a:gd name="connsiteX23753" fmla="*/ 251916 w 4610101"/>
              <a:gd name="connsiteY23753" fmla="*/ 968654 h 6557032"/>
              <a:gd name="connsiteX23754" fmla="*/ 255105 w 4610101"/>
              <a:gd name="connsiteY23754" fmla="*/ 968427 h 6557032"/>
              <a:gd name="connsiteX23755" fmla="*/ 254752 w 4610101"/>
              <a:gd name="connsiteY23755" fmla="*/ 967016 h 6557032"/>
              <a:gd name="connsiteX23756" fmla="*/ 260571 w 4610101"/>
              <a:gd name="connsiteY23756" fmla="*/ 970249 h 6557032"/>
              <a:gd name="connsiteX23757" fmla="*/ 249638 w 4610101"/>
              <a:gd name="connsiteY23757" fmla="*/ 961138 h 6557032"/>
              <a:gd name="connsiteX23758" fmla="*/ 247816 w 4610101"/>
              <a:gd name="connsiteY23758" fmla="*/ 957494 h 6557032"/>
              <a:gd name="connsiteX23759" fmla="*/ 236883 w 4610101"/>
              <a:gd name="connsiteY23759" fmla="*/ 953848 h 6557032"/>
              <a:gd name="connsiteX23760" fmla="*/ 238705 w 4610101"/>
              <a:gd name="connsiteY23760" fmla="*/ 959316 h 6557032"/>
              <a:gd name="connsiteX23761" fmla="*/ 233239 w 4610101"/>
              <a:gd name="connsiteY23761" fmla="*/ 953848 h 6557032"/>
              <a:gd name="connsiteX23762" fmla="*/ 198617 w 4610101"/>
              <a:gd name="connsiteY23762" fmla="*/ 953848 h 6557032"/>
              <a:gd name="connsiteX23763" fmla="*/ 216839 w 4610101"/>
              <a:gd name="connsiteY23763" fmla="*/ 970249 h 6557032"/>
              <a:gd name="connsiteX23764" fmla="*/ 198617 w 4610101"/>
              <a:gd name="connsiteY23764" fmla="*/ 953848 h 6557032"/>
              <a:gd name="connsiteX23765" fmla="*/ 193151 w 4610101"/>
              <a:gd name="connsiteY23765" fmla="*/ 953848 h 6557032"/>
              <a:gd name="connsiteX23766" fmla="*/ 224128 w 4610101"/>
              <a:gd name="connsiteY23766" fmla="*/ 983004 h 6557032"/>
              <a:gd name="connsiteX23767" fmla="*/ 193151 w 4610101"/>
              <a:gd name="connsiteY23767" fmla="*/ 953848 h 6557032"/>
              <a:gd name="connsiteX23768" fmla="*/ 2749661 w 4610101"/>
              <a:gd name="connsiteY23768" fmla="*/ 952026 h 6557032"/>
              <a:gd name="connsiteX23769" fmla="*/ 2753305 w 4610101"/>
              <a:gd name="connsiteY23769" fmla="*/ 959316 h 6557032"/>
              <a:gd name="connsiteX23770" fmla="*/ 2749661 w 4610101"/>
              <a:gd name="connsiteY23770" fmla="*/ 952026 h 6557032"/>
              <a:gd name="connsiteX23771" fmla="*/ 1053217 w 4610101"/>
              <a:gd name="connsiteY23771" fmla="*/ 952026 h 6557032"/>
              <a:gd name="connsiteX23772" fmla="*/ 1056861 w 4610101"/>
              <a:gd name="connsiteY23772" fmla="*/ 955672 h 6557032"/>
              <a:gd name="connsiteX23773" fmla="*/ 1053217 w 4610101"/>
              <a:gd name="connsiteY23773" fmla="*/ 952026 h 6557032"/>
              <a:gd name="connsiteX23774" fmla="*/ 834556 w 4610101"/>
              <a:gd name="connsiteY23774" fmla="*/ 952026 h 6557032"/>
              <a:gd name="connsiteX23775" fmla="*/ 832734 w 4610101"/>
              <a:gd name="connsiteY23775" fmla="*/ 957494 h 6557032"/>
              <a:gd name="connsiteX23776" fmla="*/ 838200 w 4610101"/>
              <a:gd name="connsiteY23776" fmla="*/ 955672 h 6557032"/>
              <a:gd name="connsiteX23777" fmla="*/ 834556 w 4610101"/>
              <a:gd name="connsiteY23777" fmla="*/ 952026 h 6557032"/>
              <a:gd name="connsiteX23778" fmla="*/ 830912 w 4610101"/>
              <a:gd name="connsiteY23778" fmla="*/ 952026 h 6557032"/>
              <a:gd name="connsiteX23779" fmla="*/ 827267 w 4610101"/>
              <a:gd name="connsiteY23779" fmla="*/ 959316 h 6557032"/>
              <a:gd name="connsiteX23780" fmla="*/ 832734 w 4610101"/>
              <a:gd name="connsiteY23780" fmla="*/ 961138 h 6557032"/>
              <a:gd name="connsiteX23781" fmla="*/ 830912 w 4610101"/>
              <a:gd name="connsiteY23781" fmla="*/ 952026 h 6557032"/>
              <a:gd name="connsiteX23782" fmla="*/ 681493 w 4610101"/>
              <a:gd name="connsiteY23782" fmla="*/ 952026 h 6557032"/>
              <a:gd name="connsiteX23783" fmla="*/ 679671 w 4610101"/>
              <a:gd name="connsiteY23783" fmla="*/ 959316 h 6557032"/>
              <a:gd name="connsiteX23784" fmla="*/ 681493 w 4610101"/>
              <a:gd name="connsiteY23784" fmla="*/ 952026 h 6557032"/>
              <a:gd name="connsiteX23785" fmla="*/ 544830 w 4610101"/>
              <a:gd name="connsiteY23785" fmla="*/ 952026 h 6557032"/>
              <a:gd name="connsiteX23786" fmla="*/ 550297 w 4610101"/>
              <a:gd name="connsiteY23786" fmla="*/ 953848 h 6557032"/>
              <a:gd name="connsiteX23787" fmla="*/ 544830 w 4610101"/>
              <a:gd name="connsiteY23787" fmla="*/ 952026 h 6557032"/>
              <a:gd name="connsiteX23788" fmla="*/ 524786 w 4610101"/>
              <a:gd name="connsiteY23788" fmla="*/ 952026 h 6557032"/>
              <a:gd name="connsiteX23789" fmla="*/ 533897 w 4610101"/>
              <a:gd name="connsiteY23789" fmla="*/ 957494 h 6557032"/>
              <a:gd name="connsiteX23790" fmla="*/ 524786 w 4610101"/>
              <a:gd name="connsiteY23790" fmla="*/ 952026 h 6557032"/>
              <a:gd name="connsiteX23791" fmla="*/ 477410 w 4610101"/>
              <a:gd name="connsiteY23791" fmla="*/ 952026 h 6557032"/>
              <a:gd name="connsiteX23792" fmla="*/ 484700 w 4610101"/>
              <a:gd name="connsiteY23792" fmla="*/ 955672 h 6557032"/>
              <a:gd name="connsiteX23793" fmla="*/ 477410 w 4610101"/>
              <a:gd name="connsiteY23793" fmla="*/ 952026 h 6557032"/>
              <a:gd name="connsiteX23794" fmla="*/ 335280 w 4610101"/>
              <a:gd name="connsiteY23794" fmla="*/ 952026 h 6557032"/>
              <a:gd name="connsiteX23795" fmla="*/ 331180 w 4610101"/>
              <a:gd name="connsiteY23795" fmla="*/ 952482 h 6557032"/>
              <a:gd name="connsiteX23796" fmla="*/ 332690 w 4610101"/>
              <a:gd name="connsiteY23796" fmla="*/ 953657 h 6557032"/>
              <a:gd name="connsiteX23797" fmla="*/ 335280 w 4610101"/>
              <a:gd name="connsiteY23797" fmla="*/ 955672 h 6557032"/>
              <a:gd name="connsiteX23798" fmla="*/ 335280 w 4610101"/>
              <a:gd name="connsiteY23798" fmla="*/ 952026 h 6557032"/>
              <a:gd name="connsiteX23799" fmla="*/ 278793 w 4610101"/>
              <a:gd name="connsiteY23799" fmla="*/ 952026 h 6557032"/>
              <a:gd name="connsiteX23800" fmla="*/ 286082 w 4610101"/>
              <a:gd name="connsiteY23800" fmla="*/ 957494 h 6557032"/>
              <a:gd name="connsiteX23801" fmla="*/ 278793 w 4610101"/>
              <a:gd name="connsiteY23801" fmla="*/ 952026 h 6557032"/>
              <a:gd name="connsiteX23802" fmla="*/ 151241 w 4610101"/>
              <a:gd name="connsiteY23802" fmla="*/ 952026 h 6557032"/>
              <a:gd name="connsiteX23803" fmla="*/ 163996 w 4610101"/>
              <a:gd name="connsiteY23803" fmla="*/ 964782 h 6557032"/>
              <a:gd name="connsiteX23804" fmla="*/ 151241 w 4610101"/>
              <a:gd name="connsiteY23804" fmla="*/ 952026 h 6557032"/>
              <a:gd name="connsiteX23805" fmla="*/ 1192841 w 4610101"/>
              <a:gd name="connsiteY23805" fmla="*/ 950888 h 6557032"/>
              <a:gd name="connsiteX23806" fmla="*/ 1189880 w 4610101"/>
              <a:gd name="connsiteY23806" fmla="*/ 953848 h 6557032"/>
              <a:gd name="connsiteX23807" fmla="*/ 1197169 w 4610101"/>
              <a:gd name="connsiteY23807" fmla="*/ 952026 h 6557032"/>
              <a:gd name="connsiteX23808" fmla="*/ 1192841 w 4610101"/>
              <a:gd name="connsiteY23808" fmla="*/ 950888 h 6557032"/>
              <a:gd name="connsiteX23809" fmla="*/ 621134 w 4610101"/>
              <a:gd name="connsiteY23809" fmla="*/ 950888 h 6557032"/>
              <a:gd name="connsiteX23810" fmla="*/ 617717 w 4610101"/>
              <a:gd name="connsiteY23810" fmla="*/ 953848 h 6557032"/>
              <a:gd name="connsiteX23811" fmla="*/ 623185 w 4610101"/>
              <a:gd name="connsiteY23811" fmla="*/ 952026 h 6557032"/>
              <a:gd name="connsiteX23812" fmla="*/ 621134 w 4610101"/>
              <a:gd name="connsiteY23812" fmla="*/ 950888 h 6557032"/>
              <a:gd name="connsiteX23813" fmla="*/ 3279913 w 4610101"/>
              <a:gd name="connsiteY23813" fmla="*/ 950204 h 6557032"/>
              <a:gd name="connsiteX23814" fmla="*/ 3265336 w 4610101"/>
              <a:gd name="connsiteY23814" fmla="*/ 964782 h 6557032"/>
              <a:gd name="connsiteX23815" fmla="*/ 3279913 w 4610101"/>
              <a:gd name="connsiteY23815" fmla="*/ 962960 h 6557032"/>
              <a:gd name="connsiteX23816" fmla="*/ 3279913 w 4610101"/>
              <a:gd name="connsiteY23816" fmla="*/ 950204 h 6557032"/>
              <a:gd name="connsiteX23817" fmla="*/ 2527356 w 4610101"/>
              <a:gd name="connsiteY23817" fmla="*/ 950204 h 6557032"/>
              <a:gd name="connsiteX23818" fmla="*/ 2529178 w 4610101"/>
              <a:gd name="connsiteY23818" fmla="*/ 962960 h 6557032"/>
              <a:gd name="connsiteX23819" fmla="*/ 2543755 w 4610101"/>
              <a:gd name="connsiteY23819" fmla="*/ 952026 h 6557032"/>
              <a:gd name="connsiteX23820" fmla="*/ 2527356 w 4610101"/>
              <a:gd name="connsiteY23820" fmla="*/ 950204 h 6557032"/>
              <a:gd name="connsiteX23821" fmla="*/ 2516423 w 4610101"/>
              <a:gd name="connsiteY23821" fmla="*/ 950204 h 6557032"/>
              <a:gd name="connsiteX23822" fmla="*/ 2521889 w 4610101"/>
              <a:gd name="connsiteY23822" fmla="*/ 953848 h 6557032"/>
              <a:gd name="connsiteX23823" fmla="*/ 2516423 w 4610101"/>
              <a:gd name="connsiteY23823" fmla="*/ 950204 h 6557032"/>
              <a:gd name="connsiteX23824" fmla="*/ 1211747 w 4610101"/>
              <a:gd name="connsiteY23824" fmla="*/ 950204 h 6557032"/>
              <a:gd name="connsiteX23825" fmla="*/ 1212266 w 4610101"/>
              <a:gd name="connsiteY23825" fmla="*/ 950204 h 6557032"/>
              <a:gd name="connsiteX23826" fmla="*/ 1216625 w 4610101"/>
              <a:gd name="connsiteY23826" fmla="*/ 953595 h 6557032"/>
              <a:gd name="connsiteX23827" fmla="*/ 1214707 w 4610101"/>
              <a:gd name="connsiteY23827" fmla="*/ 953393 h 6557032"/>
              <a:gd name="connsiteX23828" fmla="*/ 1211747 w 4610101"/>
              <a:gd name="connsiteY23828" fmla="*/ 950204 h 6557032"/>
              <a:gd name="connsiteX23829" fmla="*/ 1056861 w 4610101"/>
              <a:gd name="connsiteY23829" fmla="*/ 950204 h 6557032"/>
              <a:gd name="connsiteX23830" fmla="*/ 1060506 w 4610101"/>
              <a:gd name="connsiteY23830" fmla="*/ 955672 h 6557032"/>
              <a:gd name="connsiteX23831" fmla="*/ 1064151 w 4610101"/>
              <a:gd name="connsiteY23831" fmla="*/ 953848 h 6557032"/>
              <a:gd name="connsiteX23832" fmla="*/ 1067794 w 4610101"/>
              <a:gd name="connsiteY23832" fmla="*/ 952026 h 6557032"/>
              <a:gd name="connsiteX23833" fmla="*/ 1056861 w 4610101"/>
              <a:gd name="connsiteY23833" fmla="*/ 950204 h 6557032"/>
              <a:gd name="connsiteX23834" fmla="*/ 1045929 w 4610101"/>
              <a:gd name="connsiteY23834" fmla="*/ 950204 h 6557032"/>
              <a:gd name="connsiteX23835" fmla="*/ 1040462 w 4610101"/>
              <a:gd name="connsiteY23835" fmla="*/ 952026 h 6557032"/>
              <a:gd name="connsiteX23836" fmla="*/ 1045929 w 4610101"/>
              <a:gd name="connsiteY23836" fmla="*/ 955672 h 6557032"/>
              <a:gd name="connsiteX23837" fmla="*/ 1045929 w 4610101"/>
              <a:gd name="connsiteY23837" fmla="*/ 950204 h 6557032"/>
              <a:gd name="connsiteX23838" fmla="*/ 996729 w 4610101"/>
              <a:gd name="connsiteY23838" fmla="*/ 950204 h 6557032"/>
              <a:gd name="connsiteX23839" fmla="*/ 996729 w 4610101"/>
              <a:gd name="connsiteY23839" fmla="*/ 961138 h 6557032"/>
              <a:gd name="connsiteX23840" fmla="*/ 1004018 w 4610101"/>
              <a:gd name="connsiteY23840" fmla="*/ 957494 h 6557032"/>
              <a:gd name="connsiteX23841" fmla="*/ 996729 w 4610101"/>
              <a:gd name="connsiteY23841" fmla="*/ 950204 h 6557032"/>
              <a:gd name="connsiteX23842" fmla="*/ 694249 w 4610101"/>
              <a:gd name="connsiteY23842" fmla="*/ 950204 h 6557032"/>
              <a:gd name="connsiteX23843" fmla="*/ 688782 w 4610101"/>
              <a:gd name="connsiteY23843" fmla="*/ 955672 h 6557032"/>
              <a:gd name="connsiteX23844" fmla="*/ 694249 w 4610101"/>
              <a:gd name="connsiteY23844" fmla="*/ 950204 h 6557032"/>
              <a:gd name="connsiteX23845" fmla="*/ 3126851 w 4610101"/>
              <a:gd name="connsiteY23845" fmla="*/ 948383 h 6557032"/>
              <a:gd name="connsiteX23846" fmla="*/ 3145073 w 4610101"/>
              <a:gd name="connsiteY23846" fmla="*/ 973893 h 6557032"/>
              <a:gd name="connsiteX23847" fmla="*/ 3143250 w 4610101"/>
              <a:gd name="connsiteY23847" fmla="*/ 968427 h 6557032"/>
              <a:gd name="connsiteX23848" fmla="*/ 3145073 w 4610101"/>
              <a:gd name="connsiteY23848" fmla="*/ 972071 h 6557032"/>
              <a:gd name="connsiteX23849" fmla="*/ 3137784 w 4610101"/>
              <a:gd name="connsiteY23849" fmla="*/ 952026 h 6557032"/>
              <a:gd name="connsiteX23850" fmla="*/ 3132317 w 4610101"/>
              <a:gd name="connsiteY23850" fmla="*/ 953848 h 6557032"/>
              <a:gd name="connsiteX23851" fmla="*/ 3134140 w 4610101"/>
              <a:gd name="connsiteY23851" fmla="*/ 950204 h 6557032"/>
              <a:gd name="connsiteX23852" fmla="*/ 3126851 w 4610101"/>
              <a:gd name="connsiteY23852" fmla="*/ 948383 h 6557032"/>
              <a:gd name="connsiteX23853" fmla="*/ 3108629 w 4610101"/>
              <a:gd name="connsiteY23853" fmla="*/ 948383 h 6557032"/>
              <a:gd name="connsiteX23854" fmla="*/ 3108629 w 4610101"/>
              <a:gd name="connsiteY23854" fmla="*/ 953848 h 6557032"/>
              <a:gd name="connsiteX23855" fmla="*/ 3095874 w 4610101"/>
              <a:gd name="connsiteY23855" fmla="*/ 959316 h 6557032"/>
              <a:gd name="connsiteX23856" fmla="*/ 3094052 w 4610101"/>
              <a:gd name="connsiteY23856" fmla="*/ 975715 h 6557032"/>
              <a:gd name="connsiteX23857" fmla="*/ 3125029 w 4610101"/>
              <a:gd name="connsiteY23857" fmla="*/ 975715 h 6557032"/>
              <a:gd name="connsiteX23858" fmla="*/ 3126851 w 4610101"/>
              <a:gd name="connsiteY23858" fmla="*/ 961138 h 6557032"/>
              <a:gd name="connsiteX23859" fmla="*/ 3117740 w 4610101"/>
              <a:gd name="connsiteY23859" fmla="*/ 959316 h 6557032"/>
              <a:gd name="connsiteX23860" fmla="*/ 3119562 w 4610101"/>
              <a:gd name="connsiteY23860" fmla="*/ 950204 h 6557032"/>
              <a:gd name="connsiteX23861" fmla="*/ 3112274 w 4610101"/>
              <a:gd name="connsiteY23861" fmla="*/ 948383 h 6557032"/>
              <a:gd name="connsiteX23862" fmla="*/ 3108629 w 4610101"/>
              <a:gd name="connsiteY23862" fmla="*/ 948383 h 6557032"/>
              <a:gd name="connsiteX23863" fmla="*/ 1304677 w 4610101"/>
              <a:gd name="connsiteY23863" fmla="*/ 948383 h 6557032"/>
              <a:gd name="connsiteX23864" fmla="*/ 1295566 w 4610101"/>
              <a:gd name="connsiteY23864" fmla="*/ 953848 h 6557032"/>
              <a:gd name="connsiteX23865" fmla="*/ 1308321 w 4610101"/>
              <a:gd name="connsiteY23865" fmla="*/ 953848 h 6557032"/>
              <a:gd name="connsiteX23866" fmla="*/ 1304677 w 4610101"/>
              <a:gd name="connsiteY23866" fmla="*/ 948383 h 6557032"/>
              <a:gd name="connsiteX23867" fmla="*/ 1291922 w 4610101"/>
              <a:gd name="connsiteY23867" fmla="*/ 948383 h 6557032"/>
              <a:gd name="connsiteX23868" fmla="*/ 1275522 w 4610101"/>
              <a:gd name="connsiteY23868" fmla="*/ 950204 h 6557032"/>
              <a:gd name="connsiteX23869" fmla="*/ 1291922 w 4610101"/>
              <a:gd name="connsiteY23869" fmla="*/ 948383 h 6557032"/>
              <a:gd name="connsiteX23870" fmla="*/ 517498 w 4610101"/>
              <a:gd name="connsiteY23870" fmla="*/ 948383 h 6557032"/>
              <a:gd name="connsiteX23871" fmla="*/ 528431 w 4610101"/>
              <a:gd name="connsiteY23871" fmla="*/ 952026 h 6557032"/>
              <a:gd name="connsiteX23872" fmla="*/ 517498 w 4610101"/>
              <a:gd name="connsiteY23872" fmla="*/ 948383 h 6557032"/>
              <a:gd name="connsiteX23873" fmla="*/ 284259 w 4610101"/>
              <a:gd name="connsiteY23873" fmla="*/ 948383 h 6557032"/>
              <a:gd name="connsiteX23874" fmla="*/ 293370 w 4610101"/>
              <a:gd name="connsiteY23874" fmla="*/ 959316 h 6557032"/>
              <a:gd name="connsiteX23875" fmla="*/ 287904 w 4610101"/>
              <a:gd name="connsiteY23875" fmla="*/ 948383 h 6557032"/>
              <a:gd name="connsiteX23876" fmla="*/ 284259 w 4610101"/>
              <a:gd name="connsiteY23876" fmla="*/ 948383 h 6557032"/>
              <a:gd name="connsiteX23877" fmla="*/ 1313104 w 4610101"/>
              <a:gd name="connsiteY23877" fmla="*/ 948155 h 6557032"/>
              <a:gd name="connsiteX23878" fmla="*/ 1308321 w 4610101"/>
              <a:gd name="connsiteY23878" fmla="*/ 952026 h 6557032"/>
              <a:gd name="connsiteX23879" fmla="*/ 1310143 w 4610101"/>
              <a:gd name="connsiteY23879" fmla="*/ 953848 h 6557032"/>
              <a:gd name="connsiteX23880" fmla="*/ 1319254 w 4610101"/>
              <a:gd name="connsiteY23880" fmla="*/ 948383 h 6557032"/>
              <a:gd name="connsiteX23881" fmla="*/ 1313104 w 4610101"/>
              <a:gd name="connsiteY23881" fmla="*/ 948155 h 6557032"/>
              <a:gd name="connsiteX23882" fmla="*/ 1327682 w 4610101"/>
              <a:gd name="connsiteY23882" fmla="*/ 947016 h 6557032"/>
              <a:gd name="connsiteX23883" fmla="*/ 1317432 w 4610101"/>
              <a:gd name="connsiteY23883" fmla="*/ 952026 h 6557032"/>
              <a:gd name="connsiteX23884" fmla="*/ 1324721 w 4610101"/>
              <a:gd name="connsiteY23884" fmla="*/ 950204 h 6557032"/>
              <a:gd name="connsiteX23885" fmla="*/ 1315610 w 4610101"/>
              <a:gd name="connsiteY23885" fmla="*/ 955672 h 6557032"/>
              <a:gd name="connsiteX23886" fmla="*/ 1339299 w 4610101"/>
              <a:gd name="connsiteY23886" fmla="*/ 950204 h 6557032"/>
              <a:gd name="connsiteX23887" fmla="*/ 1327682 w 4610101"/>
              <a:gd name="connsiteY23887" fmla="*/ 947016 h 6557032"/>
              <a:gd name="connsiteX23888" fmla="*/ 3334579 w 4610101"/>
              <a:gd name="connsiteY23888" fmla="*/ 946560 h 6557032"/>
              <a:gd name="connsiteX23889" fmla="*/ 3332730 w 4610101"/>
              <a:gd name="connsiteY23889" fmla="*/ 949126 h 6557032"/>
              <a:gd name="connsiteX23890" fmla="*/ 3331979 w 4610101"/>
              <a:gd name="connsiteY23890" fmla="*/ 947292 h 6557032"/>
              <a:gd name="connsiteX23891" fmla="*/ 3299957 w 4610101"/>
              <a:gd name="connsiteY23891" fmla="*/ 946560 h 6557032"/>
              <a:gd name="connsiteX23892" fmla="*/ 3301780 w 4610101"/>
              <a:gd name="connsiteY23892" fmla="*/ 952026 h 6557032"/>
              <a:gd name="connsiteX23893" fmla="*/ 3299957 w 4610101"/>
              <a:gd name="connsiteY23893" fmla="*/ 946560 h 6557032"/>
              <a:gd name="connsiteX23894" fmla="*/ 2439891 w 4610101"/>
              <a:gd name="connsiteY23894" fmla="*/ 946560 h 6557032"/>
              <a:gd name="connsiteX23895" fmla="*/ 2439891 w 4610101"/>
              <a:gd name="connsiteY23895" fmla="*/ 959316 h 6557032"/>
              <a:gd name="connsiteX23896" fmla="*/ 2441713 w 4610101"/>
              <a:gd name="connsiteY23896" fmla="*/ 953848 h 6557032"/>
              <a:gd name="connsiteX23897" fmla="*/ 2439891 w 4610101"/>
              <a:gd name="connsiteY23897" fmla="*/ 946560 h 6557032"/>
              <a:gd name="connsiteX23898" fmla="*/ 2430780 w 4610101"/>
              <a:gd name="connsiteY23898" fmla="*/ 946560 h 6557032"/>
              <a:gd name="connsiteX23899" fmla="*/ 2427136 w 4610101"/>
              <a:gd name="connsiteY23899" fmla="*/ 950204 h 6557032"/>
              <a:gd name="connsiteX23900" fmla="*/ 2430780 w 4610101"/>
              <a:gd name="connsiteY23900" fmla="*/ 952026 h 6557032"/>
              <a:gd name="connsiteX23901" fmla="*/ 2430780 w 4610101"/>
              <a:gd name="connsiteY23901" fmla="*/ 946560 h 6557032"/>
              <a:gd name="connsiteX23902" fmla="*/ 819979 w 4610101"/>
              <a:gd name="connsiteY23902" fmla="*/ 946560 h 6557032"/>
              <a:gd name="connsiteX23903" fmla="*/ 827267 w 4610101"/>
              <a:gd name="connsiteY23903" fmla="*/ 952026 h 6557032"/>
              <a:gd name="connsiteX23904" fmla="*/ 819979 w 4610101"/>
              <a:gd name="connsiteY23904" fmla="*/ 946560 h 6557032"/>
              <a:gd name="connsiteX23905" fmla="*/ 701537 w 4610101"/>
              <a:gd name="connsiteY23905" fmla="*/ 946560 h 6557032"/>
              <a:gd name="connsiteX23906" fmla="*/ 705182 w 4610101"/>
              <a:gd name="connsiteY23906" fmla="*/ 948383 h 6557032"/>
              <a:gd name="connsiteX23907" fmla="*/ 701537 w 4610101"/>
              <a:gd name="connsiteY23907" fmla="*/ 946560 h 6557032"/>
              <a:gd name="connsiteX23908" fmla="*/ 632296 w 4610101"/>
              <a:gd name="connsiteY23908" fmla="*/ 946560 h 6557032"/>
              <a:gd name="connsiteX23909" fmla="*/ 630472 w 4610101"/>
              <a:gd name="connsiteY23909" fmla="*/ 950204 h 6557032"/>
              <a:gd name="connsiteX23910" fmla="*/ 632296 w 4610101"/>
              <a:gd name="connsiteY23910" fmla="*/ 946560 h 6557032"/>
              <a:gd name="connsiteX23911" fmla="*/ 163996 w 4610101"/>
              <a:gd name="connsiteY23911" fmla="*/ 946560 h 6557032"/>
              <a:gd name="connsiteX23912" fmla="*/ 182218 w 4610101"/>
              <a:gd name="connsiteY23912" fmla="*/ 962960 h 6557032"/>
              <a:gd name="connsiteX23913" fmla="*/ 163996 w 4610101"/>
              <a:gd name="connsiteY23913" fmla="*/ 946560 h 6557032"/>
              <a:gd name="connsiteX23914" fmla="*/ 2113722 w 4610101"/>
              <a:gd name="connsiteY23914" fmla="*/ 944738 h 6557032"/>
              <a:gd name="connsiteX23915" fmla="*/ 2121011 w 4610101"/>
              <a:gd name="connsiteY23915" fmla="*/ 953848 h 6557032"/>
              <a:gd name="connsiteX23916" fmla="*/ 2122833 w 4610101"/>
              <a:gd name="connsiteY23916" fmla="*/ 950204 h 6557032"/>
              <a:gd name="connsiteX23917" fmla="*/ 2113722 w 4610101"/>
              <a:gd name="connsiteY23917" fmla="*/ 944738 h 6557032"/>
              <a:gd name="connsiteX23918" fmla="*/ 1193525 w 4610101"/>
              <a:gd name="connsiteY23918" fmla="*/ 944738 h 6557032"/>
              <a:gd name="connsiteX23919" fmla="*/ 1197169 w 4610101"/>
              <a:gd name="connsiteY23919" fmla="*/ 950204 h 6557032"/>
              <a:gd name="connsiteX23920" fmla="*/ 1193525 w 4610101"/>
              <a:gd name="connsiteY23920" fmla="*/ 944738 h 6557032"/>
              <a:gd name="connsiteX23921" fmla="*/ 1118815 w 4610101"/>
              <a:gd name="connsiteY23921" fmla="*/ 944738 h 6557032"/>
              <a:gd name="connsiteX23922" fmla="*/ 1111526 w 4610101"/>
              <a:gd name="connsiteY23922" fmla="*/ 952026 h 6557032"/>
              <a:gd name="connsiteX23923" fmla="*/ 1122459 w 4610101"/>
              <a:gd name="connsiteY23923" fmla="*/ 952026 h 6557032"/>
              <a:gd name="connsiteX23924" fmla="*/ 1118815 w 4610101"/>
              <a:gd name="connsiteY23924" fmla="*/ 944738 h 6557032"/>
              <a:gd name="connsiteX23925" fmla="*/ 963930 w 4610101"/>
              <a:gd name="connsiteY23925" fmla="*/ 944738 h 6557032"/>
              <a:gd name="connsiteX23926" fmla="*/ 965546 w 4610101"/>
              <a:gd name="connsiteY23926" fmla="*/ 948774 h 6557032"/>
              <a:gd name="connsiteX23927" fmla="*/ 961880 w 4610101"/>
              <a:gd name="connsiteY23927" fmla="*/ 955671 h 6557032"/>
              <a:gd name="connsiteX23928" fmla="*/ 962108 w 4610101"/>
              <a:gd name="connsiteY23928" fmla="*/ 962960 h 6557032"/>
              <a:gd name="connsiteX23929" fmla="*/ 965753 w 4610101"/>
              <a:gd name="connsiteY23929" fmla="*/ 979360 h 6557032"/>
              <a:gd name="connsiteX23930" fmla="*/ 963930 w 4610101"/>
              <a:gd name="connsiteY23930" fmla="*/ 979360 h 6557032"/>
              <a:gd name="connsiteX23931" fmla="*/ 973041 w 4610101"/>
              <a:gd name="connsiteY23931" fmla="*/ 1001226 h 6557032"/>
              <a:gd name="connsiteX23932" fmla="*/ 967575 w 4610101"/>
              <a:gd name="connsiteY23932" fmla="*/ 983004 h 6557032"/>
              <a:gd name="connsiteX23933" fmla="*/ 969397 w 4610101"/>
              <a:gd name="connsiteY23933" fmla="*/ 984826 h 6557032"/>
              <a:gd name="connsiteX23934" fmla="*/ 971219 w 4610101"/>
              <a:gd name="connsiteY23934" fmla="*/ 972071 h 6557032"/>
              <a:gd name="connsiteX23935" fmla="*/ 974863 w 4610101"/>
              <a:gd name="connsiteY23935" fmla="*/ 983004 h 6557032"/>
              <a:gd name="connsiteX23936" fmla="*/ 974863 w 4610101"/>
              <a:gd name="connsiteY23936" fmla="*/ 999403 h 6557032"/>
              <a:gd name="connsiteX23937" fmla="*/ 974863 w 4610101"/>
              <a:gd name="connsiteY23937" fmla="*/ 983004 h 6557032"/>
              <a:gd name="connsiteX23938" fmla="*/ 973041 w 4610101"/>
              <a:gd name="connsiteY23938" fmla="*/ 968427 h 6557032"/>
              <a:gd name="connsiteX23939" fmla="*/ 971219 w 4610101"/>
              <a:gd name="connsiteY23939" fmla="*/ 970249 h 6557032"/>
              <a:gd name="connsiteX23940" fmla="*/ 969397 w 4610101"/>
              <a:gd name="connsiteY23940" fmla="*/ 962960 h 6557032"/>
              <a:gd name="connsiteX23941" fmla="*/ 971219 w 4610101"/>
              <a:gd name="connsiteY23941" fmla="*/ 959316 h 6557032"/>
              <a:gd name="connsiteX23942" fmla="*/ 967575 w 4610101"/>
              <a:gd name="connsiteY23942" fmla="*/ 953848 h 6557032"/>
              <a:gd name="connsiteX23943" fmla="*/ 965546 w 4610101"/>
              <a:gd name="connsiteY23943" fmla="*/ 948774 h 6557032"/>
              <a:gd name="connsiteX23944" fmla="*/ 965753 w 4610101"/>
              <a:gd name="connsiteY23944" fmla="*/ 948383 h 6557032"/>
              <a:gd name="connsiteX23945" fmla="*/ 963930 w 4610101"/>
              <a:gd name="connsiteY23945" fmla="*/ 944738 h 6557032"/>
              <a:gd name="connsiteX23946" fmla="*/ 821801 w 4610101"/>
              <a:gd name="connsiteY23946" fmla="*/ 944738 h 6557032"/>
              <a:gd name="connsiteX23947" fmla="*/ 827267 w 4610101"/>
              <a:gd name="connsiteY23947" fmla="*/ 948383 h 6557032"/>
              <a:gd name="connsiteX23948" fmla="*/ 821801 w 4610101"/>
              <a:gd name="connsiteY23948" fmla="*/ 944738 h 6557032"/>
              <a:gd name="connsiteX23949" fmla="*/ 803579 w 4610101"/>
              <a:gd name="connsiteY23949" fmla="*/ 944738 h 6557032"/>
              <a:gd name="connsiteX23950" fmla="*/ 818156 w 4610101"/>
              <a:gd name="connsiteY23950" fmla="*/ 953848 h 6557032"/>
              <a:gd name="connsiteX23951" fmla="*/ 818156 w 4610101"/>
              <a:gd name="connsiteY23951" fmla="*/ 946560 h 6557032"/>
              <a:gd name="connsiteX23952" fmla="*/ 803579 w 4610101"/>
              <a:gd name="connsiteY23952" fmla="*/ 944738 h 6557032"/>
              <a:gd name="connsiteX23953" fmla="*/ 789003 w 4610101"/>
              <a:gd name="connsiteY23953" fmla="*/ 944738 h 6557032"/>
              <a:gd name="connsiteX23954" fmla="*/ 801757 w 4610101"/>
              <a:gd name="connsiteY23954" fmla="*/ 964782 h 6557032"/>
              <a:gd name="connsiteX23955" fmla="*/ 818156 w 4610101"/>
              <a:gd name="connsiteY23955" fmla="*/ 957494 h 6557032"/>
              <a:gd name="connsiteX23956" fmla="*/ 809046 w 4610101"/>
              <a:gd name="connsiteY23956" fmla="*/ 955672 h 6557032"/>
              <a:gd name="connsiteX23957" fmla="*/ 810868 w 4610101"/>
              <a:gd name="connsiteY23957" fmla="*/ 953848 h 6557032"/>
              <a:gd name="connsiteX23958" fmla="*/ 805401 w 4610101"/>
              <a:gd name="connsiteY23958" fmla="*/ 952026 h 6557032"/>
              <a:gd name="connsiteX23959" fmla="*/ 789003 w 4610101"/>
              <a:gd name="connsiteY23959" fmla="*/ 944738 h 6557032"/>
              <a:gd name="connsiteX23960" fmla="*/ 512031 w 4610101"/>
              <a:gd name="connsiteY23960" fmla="*/ 944738 h 6557032"/>
              <a:gd name="connsiteX23961" fmla="*/ 524786 w 4610101"/>
              <a:gd name="connsiteY23961" fmla="*/ 953848 h 6557032"/>
              <a:gd name="connsiteX23962" fmla="*/ 512031 w 4610101"/>
              <a:gd name="connsiteY23962" fmla="*/ 944738 h 6557032"/>
              <a:gd name="connsiteX23963" fmla="*/ 371724 w 4610101"/>
              <a:gd name="connsiteY23963" fmla="*/ 944738 h 6557032"/>
              <a:gd name="connsiteX23964" fmla="*/ 388123 w 4610101"/>
              <a:gd name="connsiteY23964" fmla="*/ 953848 h 6557032"/>
              <a:gd name="connsiteX23965" fmla="*/ 371724 w 4610101"/>
              <a:gd name="connsiteY23965" fmla="*/ 944738 h 6557032"/>
              <a:gd name="connsiteX23966" fmla="*/ 317059 w 4610101"/>
              <a:gd name="connsiteY23966" fmla="*/ 944738 h 6557032"/>
              <a:gd name="connsiteX23967" fmla="*/ 321842 w 4610101"/>
              <a:gd name="connsiteY23967" fmla="*/ 950204 h 6557032"/>
              <a:gd name="connsiteX23968" fmla="*/ 326169 w 4610101"/>
              <a:gd name="connsiteY23968" fmla="*/ 950204 h 6557032"/>
              <a:gd name="connsiteX23969" fmla="*/ 327993 w 4610101"/>
              <a:gd name="connsiteY23969" fmla="*/ 950204 h 6557032"/>
              <a:gd name="connsiteX23970" fmla="*/ 333458 w 4610101"/>
              <a:gd name="connsiteY23970" fmla="*/ 948383 h 6557032"/>
              <a:gd name="connsiteX23971" fmla="*/ 326169 w 4610101"/>
              <a:gd name="connsiteY23971" fmla="*/ 944738 h 6557032"/>
              <a:gd name="connsiteX23972" fmla="*/ 326169 w 4610101"/>
              <a:gd name="connsiteY23972" fmla="*/ 950204 h 6557032"/>
              <a:gd name="connsiteX23973" fmla="*/ 322525 w 4610101"/>
              <a:gd name="connsiteY23973" fmla="*/ 944738 h 6557032"/>
              <a:gd name="connsiteX23974" fmla="*/ 317059 w 4610101"/>
              <a:gd name="connsiteY23974" fmla="*/ 944738 h 6557032"/>
              <a:gd name="connsiteX23975" fmla="*/ 304303 w 4610101"/>
              <a:gd name="connsiteY23975" fmla="*/ 944738 h 6557032"/>
              <a:gd name="connsiteX23976" fmla="*/ 304970 w 4610101"/>
              <a:gd name="connsiteY23976" fmla="*/ 945627 h 6557032"/>
              <a:gd name="connsiteX23977" fmla="*/ 304366 w 4610101"/>
              <a:gd name="connsiteY23977" fmla="*/ 945139 h 6557032"/>
              <a:gd name="connsiteX23978" fmla="*/ 273327 w 4610101"/>
              <a:gd name="connsiteY23978" fmla="*/ 944738 h 6557032"/>
              <a:gd name="connsiteX23979" fmla="*/ 282438 w 4610101"/>
              <a:gd name="connsiteY23979" fmla="*/ 953848 h 6557032"/>
              <a:gd name="connsiteX23980" fmla="*/ 273327 w 4610101"/>
              <a:gd name="connsiteY23980" fmla="*/ 944738 h 6557032"/>
              <a:gd name="connsiteX23981" fmla="*/ 253282 w 4610101"/>
              <a:gd name="connsiteY23981" fmla="*/ 944738 h 6557032"/>
              <a:gd name="connsiteX23982" fmla="*/ 273327 w 4610101"/>
              <a:gd name="connsiteY23982" fmla="*/ 964782 h 6557032"/>
              <a:gd name="connsiteX23983" fmla="*/ 253282 w 4610101"/>
              <a:gd name="connsiteY23983" fmla="*/ 944738 h 6557032"/>
              <a:gd name="connsiteX23984" fmla="*/ 760705 w 4610101"/>
              <a:gd name="connsiteY23984" fmla="*/ 943988 h 6557032"/>
              <a:gd name="connsiteX23985" fmla="*/ 756203 w 4610101"/>
              <a:gd name="connsiteY23985" fmla="*/ 946560 h 6557032"/>
              <a:gd name="connsiteX23986" fmla="*/ 755291 w 4610101"/>
              <a:gd name="connsiteY23986" fmla="*/ 945405 h 6557032"/>
              <a:gd name="connsiteX23987" fmla="*/ 2656730 w 4610101"/>
              <a:gd name="connsiteY23987" fmla="*/ 942916 h 6557032"/>
              <a:gd name="connsiteX23988" fmla="*/ 2658552 w 4610101"/>
              <a:gd name="connsiteY23988" fmla="*/ 946560 h 6557032"/>
              <a:gd name="connsiteX23989" fmla="*/ 2660374 w 4610101"/>
              <a:gd name="connsiteY23989" fmla="*/ 966604 h 6557032"/>
              <a:gd name="connsiteX23990" fmla="*/ 2656730 w 4610101"/>
              <a:gd name="connsiteY23990" fmla="*/ 968427 h 6557032"/>
              <a:gd name="connsiteX23991" fmla="*/ 2654908 w 4610101"/>
              <a:gd name="connsiteY23991" fmla="*/ 948383 h 6557032"/>
              <a:gd name="connsiteX23992" fmla="*/ 2651263 w 4610101"/>
              <a:gd name="connsiteY23992" fmla="*/ 948383 h 6557032"/>
              <a:gd name="connsiteX23993" fmla="*/ 2649441 w 4610101"/>
              <a:gd name="connsiteY23993" fmla="*/ 959316 h 6557032"/>
              <a:gd name="connsiteX23994" fmla="*/ 2645797 w 4610101"/>
              <a:gd name="connsiteY23994" fmla="*/ 957494 h 6557032"/>
              <a:gd name="connsiteX23995" fmla="*/ 2656730 w 4610101"/>
              <a:gd name="connsiteY23995" fmla="*/ 1017625 h 6557032"/>
              <a:gd name="connsiteX23996" fmla="*/ 2651263 w 4610101"/>
              <a:gd name="connsiteY23996" fmla="*/ 1019448 h 6557032"/>
              <a:gd name="connsiteX23997" fmla="*/ 2671307 w 4610101"/>
              <a:gd name="connsiteY23997" fmla="*/ 1039492 h 6557032"/>
              <a:gd name="connsiteX23998" fmla="*/ 2667663 w 4610101"/>
              <a:gd name="connsiteY23998" fmla="*/ 1030381 h 6557032"/>
              <a:gd name="connsiteX23999" fmla="*/ 2680418 w 4610101"/>
              <a:gd name="connsiteY23999" fmla="*/ 1052247 h 6557032"/>
              <a:gd name="connsiteX24000" fmla="*/ 2680418 w 4610101"/>
              <a:gd name="connsiteY24000" fmla="*/ 1046780 h 6557032"/>
              <a:gd name="connsiteX24001" fmla="*/ 2682240 w 4610101"/>
              <a:gd name="connsiteY24001" fmla="*/ 1055891 h 6557032"/>
              <a:gd name="connsiteX24002" fmla="*/ 2676774 w 4610101"/>
              <a:gd name="connsiteY24002" fmla="*/ 1054069 h 6557032"/>
              <a:gd name="connsiteX24003" fmla="*/ 2674952 w 4610101"/>
              <a:gd name="connsiteY24003" fmla="*/ 1061358 h 6557032"/>
              <a:gd name="connsiteX24004" fmla="*/ 2667663 w 4610101"/>
              <a:gd name="connsiteY24004" fmla="*/ 1046780 h 6557032"/>
              <a:gd name="connsiteX24005" fmla="*/ 2669485 w 4610101"/>
              <a:gd name="connsiteY24005" fmla="*/ 1054069 h 6557032"/>
              <a:gd name="connsiteX24006" fmla="*/ 2662197 w 4610101"/>
              <a:gd name="connsiteY24006" fmla="*/ 1052247 h 6557032"/>
              <a:gd name="connsiteX24007" fmla="*/ 2664019 w 4610101"/>
              <a:gd name="connsiteY24007" fmla="*/ 1063180 h 6557032"/>
              <a:gd name="connsiteX24008" fmla="*/ 2656730 w 4610101"/>
              <a:gd name="connsiteY24008" fmla="*/ 1057713 h 6557032"/>
              <a:gd name="connsiteX24009" fmla="*/ 2658552 w 4610101"/>
              <a:gd name="connsiteY24009" fmla="*/ 1066824 h 6557032"/>
              <a:gd name="connsiteX24010" fmla="*/ 2651263 w 4610101"/>
              <a:gd name="connsiteY24010" fmla="*/ 1061358 h 6557032"/>
              <a:gd name="connsiteX24011" fmla="*/ 2629397 w 4610101"/>
              <a:gd name="connsiteY24011" fmla="*/ 1081402 h 6557032"/>
              <a:gd name="connsiteX24012" fmla="*/ 2625753 w 4610101"/>
              <a:gd name="connsiteY24012" fmla="*/ 1077757 h 6557032"/>
              <a:gd name="connsiteX24013" fmla="*/ 2592954 w 4610101"/>
              <a:gd name="connsiteY24013" fmla="*/ 1106912 h 6557032"/>
              <a:gd name="connsiteX24014" fmla="*/ 2600243 w 4610101"/>
              <a:gd name="connsiteY24014" fmla="*/ 1130600 h 6557032"/>
              <a:gd name="connsiteX24015" fmla="*/ 2607531 w 4610101"/>
              <a:gd name="connsiteY24015" fmla="*/ 1128778 h 6557032"/>
              <a:gd name="connsiteX24016" fmla="*/ 2607531 w 4610101"/>
              <a:gd name="connsiteY24016" fmla="*/ 1136067 h 6557032"/>
              <a:gd name="connsiteX24017" fmla="*/ 2627575 w 4610101"/>
              <a:gd name="connsiteY24017" fmla="*/ 1147000 h 6557032"/>
              <a:gd name="connsiteX24018" fmla="*/ 2654908 w 4610101"/>
              <a:gd name="connsiteY24018" fmla="*/ 1136067 h 6557032"/>
              <a:gd name="connsiteX24019" fmla="*/ 2665841 w 4610101"/>
              <a:gd name="connsiteY24019" fmla="*/ 1137889 h 6557032"/>
              <a:gd name="connsiteX24020" fmla="*/ 2664019 w 4610101"/>
              <a:gd name="connsiteY24020" fmla="*/ 1145178 h 6557032"/>
              <a:gd name="connsiteX24021" fmla="*/ 2671307 w 4610101"/>
              <a:gd name="connsiteY24021" fmla="*/ 1152466 h 6557032"/>
              <a:gd name="connsiteX24022" fmla="*/ 2696818 w 4610101"/>
              <a:gd name="connsiteY24022" fmla="*/ 1154288 h 6557032"/>
              <a:gd name="connsiteX24023" fmla="*/ 2694996 w 4610101"/>
              <a:gd name="connsiteY24023" fmla="*/ 1156111 h 6557032"/>
              <a:gd name="connsiteX24024" fmla="*/ 2705929 w 4610101"/>
              <a:gd name="connsiteY24024" fmla="*/ 1157933 h 6557032"/>
              <a:gd name="connsiteX24025" fmla="*/ 2698640 w 4610101"/>
              <a:gd name="connsiteY24025" fmla="*/ 1143355 h 6557032"/>
              <a:gd name="connsiteX24026" fmla="*/ 2709573 w 4610101"/>
              <a:gd name="connsiteY24026" fmla="*/ 1141533 h 6557032"/>
              <a:gd name="connsiteX24027" fmla="*/ 2720506 w 4610101"/>
              <a:gd name="connsiteY24027" fmla="*/ 1165222 h 6557032"/>
              <a:gd name="connsiteX24028" fmla="*/ 2722328 w 4610101"/>
              <a:gd name="connsiteY24028" fmla="*/ 1159755 h 6557032"/>
              <a:gd name="connsiteX24029" fmla="*/ 2731439 w 4610101"/>
              <a:gd name="connsiteY24029" fmla="*/ 1159755 h 6557032"/>
              <a:gd name="connsiteX24030" fmla="*/ 2733261 w 4610101"/>
              <a:gd name="connsiteY24030" fmla="*/ 1165222 h 6557032"/>
              <a:gd name="connsiteX24031" fmla="*/ 2746016 w 4610101"/>
              <a:gd name="connsiteY24031" fmla="*/ 1157933 h 6557032"/>
              <a:gd name="connsiteX24032" fmla="*/ 2758772 w 4610101"/>
              <a:gd name="connsiteY24032" fmla="*/ 1172510 h 6557032"/>
              <a:gd name="connsiteX24033" fmla="*/ 2756950 w 4610101"/>
              <a:gd name="connsiteY24033" fmla="*/ 1147000 h 6557032"/>
              <a:gd name="connsiteX24034" fmla="*/ 2762416 w 4610101"/>
              <a:gd name="connsiteY24034" fmla="*/ 1145178 h 6557032"/>
              <a:gd name="connsiteX24035" fmla="*/ 2760594 w 4610101"/>
              <a:gd name="connsiteY24035" fmla="*/ 1137889 h 6557032"/>
              <a:gd name="connsiteX24036" fmla="*/ 2773349 w 4610101"/>
              <a:gd name="connsiteY24036" fmla="*/ 1147000 h 6557032"/>
              <a:gd name="connsiteX24037" fmla="*/ 2773349 w 4610101"/>
              <a:gd name="connsiteY24037" fmla="*/ 1132422 h 6557032"/>
              <a:gd name="connsiteX24038" fmla="*/ 2762416 w 4610101"/>
              <a:gd name="connsiteY24038" fmla="*/ 1130600 h 6557032"/>
              <a:gd name="connsiteX24039" fmla="*/ 2786104 w 4610101"/>
              <a:gd name="connsiteY24039" fmla="*/ 1108734 h 6557032"/>
              <a:gd name="connsiteX24040" fmla="*/ 2789749 w 4610101"/>
              <a:gd name="connsiteY24040" fmla="*/ 1116023 h 6557032"/>
              <a:gd name="connsiteX24041" fmla="*/ 2802049 w 4610101"/>
              <a:gd name="connsiteY24041" fmla="*/ 1097801 h 6557032"/>
              <a:gd name="connsiteX24042" fmla="*/ 2810650 w 4610101"/>
              <a:gd name="connsiteY24042" fmla="*/ 1087375 h 6557032"/>
              <a:gd name="connsiteX24043" fmla="*/ 2811615 w 4610101"/>
              <a:gd name="connsiteY24043" fmla="*/ 1090512 h 6557032"/>
              <a:gd name="connsiteX24044" fmla="*/ 2815942 w 4610101"/>
              <a:gd name="connsiteY24044" fmla="*/ 1086640 h 6557032"/>
              <a:gd name="connsiteX24045" fmla="*/ 2814223 w 4610101"/>
              <a:gd name="connsiteY24045" fmla="*/ 1083044 h 6557032"/>
              <a:gd name="connsiteX24046" fmla="*/ 2817081 w 4610101"/>
              <a:gd name="connsiteY24046" fmla="*/ 1079579 h 6557032"/>
              <a:gd name="connsiteX24047" fmla="*/ 2797037 w 4610101"/>
              <a:gd name="connsiteY24047" fmla="*/ 1046780 h 6557032"/>
              <a:gd name="connsiteX24048" fmla="*/ 2806148 w 4610101"/>
              <a:gd name="connsiteY24048" fmla="*/ 1052247 h 6557032"/>
              <a:gd name="connsiteX24049" fmla="*/ 2776993 w 4610101"/>
              <a:gd name="connsiteY24049" fmla="*/ 1035847 h 6557032"/>
              <a:gd name="connsiteX24050" fmla="*/ 2775172 w 4610101"/>
              <a:gd name="connsiteY24050" fmla="*/ 1045869 h 6557032"/>
              <a:gd name="connsiteX24051" fmla="*/ 2774134 w 4610101"/>
              <a:gd name="connsiteY24051" fmla="*/ 1051578 h 6557032"/>
              <a:gd name="connsiteX24052" fmla="*/ 2771755 w 4610101"/>
              <a:gd name="connsiteY24052" fmla="*/ 1045869 h 6557032"/>
              <a:gd name="connsiteX24053" fmla="*/ 2764238 w 4610101"/>
              <a:gd name="connsiteY24053" fmla="*/ 1043136 h 6557032"/>
              <a:gd name="connsiteX24054" fmla="*/ 2756950 w 4610101"/>
              <a:gd name="connsiteY24054" fmla="*/ 1050425 h 6557032"/>
              <a:gd name="connsiteX24055" fmla="*/ 2731439 w 4610101"/>
              <a:gd name="connsiteY24055" fmla="*/ 1055891 h 6557032"/>
              <a:gd name="connsiteX24056" fmla="*/ 2735084 w 4610101"/>
              <a:gd name="connsiteY24056" fmla="*/ 1048602 h 6557032"/>
              <a:gd name="connsiteX24057" fmla="*/ 2778816 w 4610101"/>
              <a:gd name="connsiteY24057" fmla="*/ 1028559 h 6557032"/>
              <a:gd name="connsiteX24058" fmla="*/ 2718684 w 4610101"/>
              <a:gd name="connsiteY24058" fmla="*/ 955672 h 6557032"/>
              <a:gd name="connsiteX24059" fmla="*/ 2716862 w 4610101"/>
              <a:gd name="connsiteY24059" fmla="*/ 964782 h 6557032"/>
              <a:gd name="connsiteX24060" fmla="*/ 2705929 w 4610101"/>
              <a:gd name="connsiteY24060" fmla="*/ 957494 h 6557032"/>
              <a:gd name="connsiteX24061" fmla="*/ 2704106 w 4610101"/>
              <a:gd name="connsiteY24061" fmla="*/ 966604 h 6557032"/>
              <a:gd name="connsiteX24062" fmla="*/ 2693174 w 4610101"/>
              <a:gd name="connsiteY24062" fmla="*/ 942916 h 6557032"/>
              <a:gd name="connsiteX24063" fmla="*/ 2687707 w 4610101"/>
              <a:gd name="connsiteY24063" fmla="*/ 950204 h 6557032"/>
              <a:gd name="connsiteX24064" fmla="*/ 2693174 w 4610101"/>
              <a:gd name="connsiteY24064" fmla="*/ 961138 h 6557032"/>
              <a:gd name="connsiteX24065" fmla="*/ 2678596 w 4610101"/>
              <a:gd name="connsiteY24065" fmla="*/ 961138 h 6557032"/>
              <a:gd name="connsiteX24066" fmla="*/ 2678596 w 4610101"/>
              <a:gd name="connsiteY24066" fmla="*/ 966604 h 6557032"/>
              <a:gd name="connsiteX24067" fmla="*/ 2671307 w 4610101"/>
              <a:gd name="connsiteY24067" fmla="*/ 964782 h 6557032"/>
              <a:gd name="connsiteX24068" fmla="*/ 2656730 w 4610101"/>
              <a:gd name="connsiteY24068" fmla="*/ 942916 h 6557032"/>
              <a:gd name="connsiteX24069" fmla="*/ 1204457 w 4610101"/>
              <a:gd name="connsiteY24069" fmla="*/ 942916 h 6557032"/>
              <a:gd name="connsiteX24070" fmla="*/ 1202636 w 4610101"/>
              <a:gd name="connsiteY24070" fmla="*/ 944738 h 6557032"/>
              <a:gd name="connsiteX24071" fmla="*/ 1200814 w 4610101"/>
              <a:gd name="connsiteY24071" fmla="*/ 944738 h 6557032"/>
              <a:gd name="connsiteX24072" fmla="*/ 1204457 w 4610101"/>
              <a:gd name="connsiteY24072" fmla="*/ 942916 h 6557032"/>
              <a:gd name="connsiteX24073" fmla="*/ 1204457 w 4610101"/>
              <a:gd name="connsiteY24073" fmla="*/ 942916 h 6557032"/>
              <a:gd name="connsiteX24074" fmla="*/ 1197169 w 4610101"/>
              <a:gd name="connsiteY24074" fmla="*/ 944738 h 6557032"/>
              <a:gd name="connsiteX24075" fmla="*/ 1198991 w 4610101"/>
              <a:gd name="connsiteY24075" fmla="*/ 948383 h 6557032"/>
              <a:gd name="connsiteX24076" fmla="*/ 1201724 w 4610101"/>
              <a:gd name="connsiteY24076" fmla="*/ 945649 h 6557032"/>
              <a:gd name="connsiteX24077" fmla="*/ 1202636 w 4610101"/>
              <a:gd name="connsiteY24077" fmla="*/ 944738 h 6557032"/>
              <a:gd name="connsiteX24078" fmla="*/ 1209925 w 4610101"/>
              <a:gd name="connsiteY24078" fmla="*/ 944738 h 6557032"/>
              <a:gd name="connsiteX24079" fmla="*/ 1204457 w 4610101"/>
              <a:gd name="connsiteY24079" fmla="*/ 942916 h 6557032"/>
              <a:gd name="connsiteX24080" fmla="*/ 849133 w 4610101"/>
              <a:gd name="connsiteY24080" fmla="*/ 942916 h 6557032"/>
              <a:gd name="connsiteX24081" fmla="*/ 852778 w 4610101"/>
              <a:gd name="connsiteY24081" fmla="*/ 944738 h 6557032"/>
              <a:gd name="connsiteX24082" fmla="*/ 849133 w 4610101"/>
              <a:gd name="connsiteY24082" fmla="*/ 942916 h 6557032"/>
              <a:gd name="connsiteX24083" fmla="*/ 840022 w 4610101"/>
              <a:gd name="connsiteY24083" fmla="*/ 942916 h 6557032"/>
              <a:gd name="connsiteX24084" fmla="*/ 844351 w 4610101"/>
              <a:gd name="connsiteY24084" fmla="*/ 945649 h 6557032"/>
              <a:gd name="connsiteX24085" fmla="*/ 844944 w 4610101"/>
              <a:gd name="connsiteY24085" fmla="*/ 946197 h 6557032"/>
              <a:gd name="connsiteX24086" fmla="*/ 674205 w 4610101"/>
              <a:gd name="connsiteY24086" fmla="*/ 942916 h 6557032"/>
              <a:gd name="connsiteX24087" fmla="*/ 677849 w 4610101"/>
              <a:gd name="connsiteY24087" fmla="*/ 946560 h 6557032"/>
              <a:gd name="connsiteX24088" fmla="*/ 674205 w 4610101"/>
              <a:gd name="connsiteY24088" fmla="*/ 942916 h 6557032"/>
              <a:gd name="connsiteX24089" fmla="*/ 670560 w 4610101"/>
              <a:gd name="connsiteY24089" fmla="*/ 942916 h 6557032"/>
              <a:gd name="connsiteX24090" fmla="*/ 670560 w 4610101"/>
              <a:gd name="connsiteY24090" fmla="*/ 953848 h 6557032"/>
              <a:gd name="connsiteX24091" fmla="*/ 670560 w 4610101"/>
              <a:gd name="connsiteY24091" fmla="*/ 942916 h 6557032"/>
              <a:gd name="connsiteX24092" fmla="*/ 548475 w 4610101"/>
              <a:gd name="connsiteY24092" fmla="*/ 942916 h 6557032"/>
              <a:gd name="connsiteX24093" fmla="*/ 553941 w 4610101"/>
              <a:gd name="connsiteY24093" fmla="*/ 946560 h 6557032"/>
              <a:gd name="connsiteX24094" fmla="*/ 548475 w 4610101"/>
              <a:gd name="connsiteY24094" fmla="*/ 942916 h 6557032"/>
              <a:gd name="connsiteX24095" fmla="*/ 502920 w 4610101"/>
              <a:gd name="connsiteY24095" fmla="*/ 942916 h 6557032"/>
              <a:gd name="connsiteX24096" fmla="*/ 512031 w 4610101"/>
              <a:gd name="connsiteY24096" fmla="*/ 950204 h 6557032"/>
              <a:gd name="connsiteX24097" fmla="*/ 510209 w 4610101"/>
              <a:gd name="connsiteY24097" fmla="*/ 942916 h 6557032"/>
              <a:gd name="connsiteX24098" fmla="*/ 502920 w 4610101"/>
              <a:gd name="connsiteY24098" fmla="*/ 942916 h 6557032"/>
              <a:gd name="connsiteX24099" fmla="*/ 497454 w 4610101"/>
              <a:gd name="connsiteY24099" fmla="*/ 942916 h 6557032"/>
              <a:gd name="connsiteX24100" fmla="*/ 495632 w 4610101"/>
              <a:gd name="connsiteY24100" fmla="*/ 946560 h 6557032"/>
              <a:gd name="connsiteX24101" fmla="*/ 502920 w 4610101"/>
              <a:gd name="connsiteY24101" fmla="*/ 948383 h 6557032"/>
              <a:gd name="connsiteX24102" fmla="*/ 497454 w 4610101"/>
              <a:gd name="connsiteY24102" fmla="*/ 942916 h 6557032"/>
              <a:gd name="connsiteX24103" fmla="*/ 402701 w 4610101"/>
              <a:gd name="connsiteY24103" fmla="*/ 942916 h 6557032"/>
              <a:gd name="connsiteX24104" fmla="*/ 409989 w 4610101"/>
              <a:gd name="connsiteY24104" fmla="*/ 946560 h 6557032"/>
              <a:gd name="connsiteX24105" fmla="*/ 402701 w 4610101"/>
              <a:gd name="connsiteY24105" fmla="*/ 942916 h 6557032"/>
              <a:gd name="connsiteX24106" fmla="*/ 397234 w 4610101"/>
              <a:gd name="connsiteY24106" fmla="*/ 942916 h 6557032"/>
              <a:gd name="connsiteX24107" fmla="*/ 395412 w 4610101"/>
              <a:gd name="connsiteY24107" fmla="*/ 946560 h 6557032"/>
              <a:gd name="connsiteX24108" fmla="*/ 400879 w 4610101"/>
              <a:gd name="connsiteY24108" fmla="*/ 946560 h 6557032"/>
              <a:gd name="connsiteX24109" fmla="*/ 397234 w 4610101"/>
              <a:gd name="connsiteY24109" fmla="*/ 942916 h 6557032"/>
              <a:gd name="connsiteX24110" fmla="*/ 762756 w 4610101"/>
              <a:gd name="connsiteY24110" fmla="*/ 942816 h 6557032"/>
              <a:gd name="connsiteX24111" fmla="*/ 761754 w 4610101"/>
              <a:gd name="connsiteY24111" fmla="*/ 943713 h 6557032"/>
              <a:gd name="connsiteX24112" fmla="*/ 760705 w 4610101"/>
              <a:gd name="connsiteY24112" fmla="*/ 943988 h 6557032"/>
              <a:gd name="connsiteX24113" fmla="*/ 1216529 w 4610101"/>
              <a:gd name="connsiteY24113" fmla="*/ 942005 h 6557032"/>
              <a:gd name="connsiteX24114" fmla="*/ 1211747 w 4610101"/>
              <a:gd name="connsiteY24114" fmla="*/ 946560 h 6557032"/>
              <a:gd name="connsiteX24115" fmla="*/ 1215390 w 4610101"/>
              <a:gd name="connsiteY24115" fmla="*/ 950204 h 6557032"/>
              <a:gd name="connsiteX24116" fmla="*/ 1212266 w 4610101"/>
              <a:gd name="connsiteY24116" fmla="*/ 950204 h 6557032"/>
              <a:gd name="connsiteX24117" fmla="*/ 1209925 w 4610101"/>
              <a:gd name="connsiteY24117" fmla="*/ 948383 h 6557032"/>
              <a:gd name="connsiteX24118" fmla="*/ 1200814 w 4610101"/>
              <a:gd name="connsiteY24118" fmla="*/ 950204 h 6557032"/>
              <a:gd name="connsiteX24119" fmla="*/ 1219036 w 4610101"/>
              <a:gd name="connsiteY24119" fmla="*/ 961138 h 6557032"/>
              <a:gd name="connsiteX24120" fmla="*/ 1220858 w 4610101"/>
              <a:gd name="connsiteY24120" fmla="*/ 957494 h 6557032"/>
              <a:gd name="connsiteX24121" fmla="*/ 1222679 w 4610101"/>
              <a:gd name="connsiteY24121" fmla="*/ 961138 h 6557032"/>
              <a:gd name="connsiteX24122" fmla="*/ 1244545 w 4610101"/>
              <a:gd name="connsiteY24122" fmla="*/ 957494 h 6557032"/>
              <a:gd name="connsiteX24123" fmla="*/ 1240901 w 4610101"/>
              <a:gd name="connsiteY24123" fmla="*/ 946560 h 6557032"/>
              <a:gd name="connsiteX24124" fmla="*/ 1224501 w 4610101"/>
              <a:gd name="connsiteY24124" fmla="*/ 942916 h 6557032"/>
              <a:gd name="connsiteX24125" fmla="*/ 1220858 w 4610101"/>
              <a:gd name="connsiteY24125" fmla="*/ 950204 h 6557032"/>
              <a:gd name="connsiteX24126" fmla="*/ 1224501 w 4610101"/>
              <a:gd name="connsiteY24126" fmla="*/ 948383 h 6557032"/>
              <a:gd name="connsiteX24127" fmla="*/ 1226323 w 4610101"/>
              <a:gd name="connsiteY24127" fmla="*/ 950204 h 6557032"/>
              <a:gd name="connsiteX24128" fmla="*/ 1218123 w 4610101"/>
              <a:gd name="connsiteY24128" fmla="*/ 954760 h 6557032"/>
              <a:gd name="connsiteX24129" fmla="*/ 1216625 w 4610101"/>
              <a:gd name="connsiteY24129" fmla="*/ 953595 h 6557032"/>
              <a:gd name="connsiteX24130" fmla="*/ 1219036 w 4610101"/>
              <a:gd name="connsiteY24130" fmla="*/ 953848 h 6557032"/>
              <a:gd name="connsiteX24131" fmla="*/ 1219036 w 4610101"/>
              <a:gd name="connsiteY24131" fmla="*/ 950204 h 6557032"/>
              <a:gd name="connsiteX24132" fmla="*/ 1215390 w 4610101"/>
              <a:gd name="connsiteY24132" fmla="*/ 950204 h 6557032"/>
              <a:gd name="connsiteX24133" fmla="*/ 1222679 w 4610101"/>
              <a:gd name="connsiteY24133" fmla="*/ 942916 h 6557032"/>
              <a:gd name="connsiteX24134" fmla="*/ 1216529 w 4610101"/>
              <a:gd name="connsiteY24134" fmla="*/ 942005 h 6557032"/>
              <a:gd name="connsiteX24135" fmla="*/ 2735084 w 4610101"/>
              <a:gd name="connsiteY24135" fmla="*/ 941094 h 6557032"/>
              <a:gd name="connsiteX24136" fmla="*/ 2744194 w 4610101"/>
              <a:gd name="connsiteY24136" fmla="*/ 952026 h 6557032"/>
              <a:gd name="connsiteX24137" fmla="*/ 2744194 w 4610101"/>
              <a:gd name="connsiteY24137" fmla="*/ 942916 h 6557032"/>
              <a:gd name="connsiteX24138" fmla="*/ 2735084 w 4610101"/>
              <a:gd name="connsiteY24138" fmla="*/ 941094 h 6557032"/>
              <a:gd name="connsiteX24139" fmla="*/ 2472690 w 4610101"/>
              <a:gd name="connsiteY24139" fmla="*/ 941094 h 6557032"/>
              <a:gd name="connsiteX24140" fmla="*/ 2467224 w 4610101"/>
              <a:gd name="connsiteY24140" fmla="*/ 948383 h 6557032"/>
              <a:gd name="connsiteX24141" fmla="*/ 2456291 w 4610101"/>
              <a:gd name="connsiteY24141" fmla="*/ 948383 h 6557032"/>
              <a:gd name="connsiteX24142" fmla="*/ 2445358 w 4610101"/>
              <a:gd name="connsiteY24142" fmla="*/ 957494 h 6557032"/>
              <a:gd name="connsiteX24143" fmla="*/ 2452647 w 4610101"/>
              <a:gd name="connsiteY24143" fmla="*/ 972071 h 6557032"/>
              <a:gd name="connsiteX24144" fmla="*/ 2478157 w 4610101"/>
              <a:gd name="connsiteY24144" fmla="*/ 955672 h 6557032"/>
              <a:gd name="connsiteX24145" fmla="*/ 2479979 w 4610101"/>
              <a:gd name="connsiteY24145" fmla="*/ 970249 h 6557032"/>
              <a:gd name="connsiteX24146" fmla="*/ 2483624 w 4610101"/>
              <a:gd name="connsiteY24146" fmla="*/ 955672 h 6557032"/>
              <a:gd name="connsiteX24147" fmla="*/ 2472690 w 4610101"/>
              <a:gd name="connsiteY24147" fmla="*/ 941094 h 6557032"/>
              <a:gd name="connsiteX24148" fmla="*/ 1353876 w 4610101"/>
              <a:gd name="connsiteY24148" fmla="*/ 941094 h 6557032"/>
              <a:gd name="connsiteX24149" fmla="*/ 1342942 w 4610101"/>
              <a:gd name="connsiteY24149" fmla="*/ 950204 h 6557032"/>
              <a:gd name="connsiteX24150" fmla="*/ 1353876 w 4610101"/>
              <a:gd name="connsiteY24150" fmla="*/ 941094 h 6557032"/>
              <a:gd name="connsiteX24151" fmla="*/ 1324721 w 4610101"/>
              <a:gd name="connsiteY24151" fmla="*/ 941094 h 6557032"/>
              <a:gd name="connsiteX24152" fmla="*/ 1315610 w 4610101"/>
              <a:gd name="connsiteY24152" fmla="*/ 942916 h 6557032"/>
              <a:gd name="connsiteX24153" fmla="*/ 1321077 w 4610101"/>
              <a:gd name="connsiteY24153" fmla="*/ 944738 h 6557032"/>
              <a:gd name="connsiteX24154" fmla="*/ 1324721 w 4610101"/>
              <a:gd name="connsiteY24154" fmla="*/ 941094 h 6557032"/>
              <a:gd name="connsiteX24155" fmla="*/ 876466 w 4610101"/>
              <a:gd name="connsiteY24155" fmla="*/ 941094 h 6557032"/>
              <a:gd name="connsiteX24156" fmla="*/ 871000 w 4610101"/>
              <a:gd name="connsiteY24156" fmla="*/ 942916 h 6557032"/>
              <a:gd name="connsiteX24157" fmla="*/ 874644 w 4610101"/>
              <a:gd name="connsiteY24157" fmla="*/ 948383 h 6557032"/>
              <a:gd name="connsiteX24158" fmla="*/ 876466 w 4610101"/>
              <a:gd name="connsiteY24158" fmla="*/ 941094 h 6557032"/>
              <a:gd name="connsiteX24159" fmla="*/ 787179 w 4610101"/>
              <a:gd name="connsiteY24159" fmla="*/ 941094 h 6557032"/>
              <a:gd name="connsiteX24160" fmla="*/ 790824 w 4610101"/>
              <a:gd name="connsiteY24160" fmla="*/ 944738 h 6557032"/>
              <a:gd name="connsiteX24161" fmla="*/ 787179 w 4610101"/>
              <a:gd name="connsiteY24161" fmla="*/ 941094 h 6557032"/>
              <a:gd name="connsiteX24162" fmla="*/ 750737 w 4610101"/>
              <a:gd name="connsiteY24162" fmla="*/ 941094 h 6557032"/>
              <a:gd name="connsiteX24163" fmla="*/ 737981 w 4610101"/>
              <a:gd name="connsiteY24163" fmla="*/ 950204 h 6557032"/>
              <a:gd name="connsiteX24164" fmla="*/ 750737 w 4610101"/>
              <a:gd name="connsiteY24164" fmla="*/ 941094 h 6557032"/>
              <a:gd name="connsiteX24165" fmla="*/ 2310289 w 4610101"/>
              <a:gd name="connsiteY24165" fmla="*/ 940638 h 6557032"/>
              <a:gd name="connsiteX24166" fmla="*/ 2305050 w 4610101"/>
              <a:gd name="connsiteY24166" fmla="*/ 942916 h 6557032"/>
              <a:gd name="connsiteX24167" fmla="*/ 2306873 w 4610101"/>
              <a:gd name="connsiteY24167" fmla="*/ 950204 h 6557032"/>
              <a:gd name="connsiteX24168" fmla="*/ 2314161 w 4610101"/>
              <a:gd name="connsiteY24168" fmla="*/ 941094 h 6557032"/>
              <a:gd name="connsiteX24169" fmla="*/ 2310289 w 4610101"/>
              <a:gd name="connsiteY24169" fmla="*/ 940638 h 6557032"/>
              <a:gd name="connsiteX24170" fmla="*/ 1210379 w 4610101"/>
              <a:gd name="connsiteY24170" fmla="*/ 940638 h 6557032"/>
              <a:gd name="connsiteX24171" fmla="*/ 1204457 w 4610101"/>
              <a:gd name="connsiteY24171" fmla="*/ 941094 h 6557032"/>
              <a:gd name="connsiteX24172" fmla="*/ 1213568 w 4610101"/>
              <a:gd name="connsiteY24172" fmla="*/ 942916 h 6557032"/>
              <a:gd name="connsiteX24173" fmla="*/ 1210379 w 4610101"/>
              <a:gd name="connsiteY24173" fmla="*/ 940638 h 6557032"/>
              <a:gd name="connsiteX24174" fmla="*/ 2213942 w 4610101"/>
              <a:gd name="connsiteY24174" fmla="*/ 939272 h 6557032"/>
              <a:gd name="connsiteX24175" fmla="*/ 2213346 w 4610101"/>
              <a:gd name="connsiteY24175" fmla="*/ 940265 h 6557032"/>
              <a:gd name="connsiteX24176" fmla="*/ 2213243 w 4610101"/>
              <a:gd name="connsiteY24176" fmla="*/ 939495 h 6557032"/>
              <a:gd name="connsiteX24177" fmla="*/ 723404 w 4610101"/>
              <a:gd name="connsiteY24177" fmla="*/ 939272 h 6557032"/>
              <a:gd name="connsiteX24178" fmla="*/ 725226 w 4610101"/>
              <a:gd name="connsiteY24178" fmla="*/ 944738 h 6557032"/>
              <a:gd name="connsiteX24179" fmla="*/ 705182 w 4610101"/>
              <a:gd name="connsiteY24179" fmla="*/ 953848 h 6557032"/>
              <a:gd name="connsiteX24180" fmla="*/ 721581 w 4610101"/>
              <a:gd name="connsiteY24180" fmla="*/ 952026 h 6557032"/>
              <a:gd name="connsiteX24181" fmla="*/ 723404 w 4610101"/>
              <a:gd name="connsiteY24181" fmla="*/ 939272 h 6557032"/>
              <a:gd name="connsiteX24182" fmla="*/ 317059 w 4610101"/>
              <a:gd name="connsiteY24182" fmla="*/ 939272 h 6557032"/>
              <a:gd name="connsiteX24183" fmla="*/ 329814 w 4610101"/>
              <a:gd name="connsiteY24183" fmla="*/ 944738 h 6557032"/>
              <a:gd name="connsiteX24184" fmla="*/ 324347 w 4610101"/>
              <a:gd name="connsiteY24184" fmla="*/ 939272 h 6557032"/>
              <a:gd name="connsiteX24185" fmla="*/ 317059 w 4610101"/>
              <a:gd name="connsiteY24185" fmla="*/ 939272 h 6557032"/>
              <a:gd name="connsiteX24186" fmla="*/ 260571 w 4610101"/>
              <a:gd name="connsiteY24186" fmla="*/ 939272 h 6557032"/>
              <a:gd name="connsiteX24187" fmla="*/ 275149 w 4610101"/>
              <a:gd name="connsiteY24187" fmla="*/ 948383 h 6557032"/>
              <a:gd name="connsiteX24188" fmla="*/ 260571 w 4610101"/>
              <a:gd name="connsiteY24188" fmla="*/ 939272 h 6557032"/>
              <a:gd name="connsiteX24189" fmla="*/ 213195 w 4610101"/>
              <a:gd name="connsiteY24189" fmla="*/ 939272 h 6557032"/>
              <a:gd name="connsiteX24190" fmla="*/ 225950 w 4610101"/>
              <a:gd name="connsiteY24190" fmla="*/ 955672 h 6557032"/>
              <a:gd name="connsiteX24191" fmla="*/ 224128 w 4610101"/>
              <a:gd name="connsiteY24191" fmla="*/ 950204 h 6557032"/>
              <a:gd name="connsiteX24192" fmla="*/ 235061 w 4610101"/>
              <a:gd name="connsiteY24192" fmla="*/ 959316 h 6557032"/>
              <a:gd name="connsiteX24193" fmla="*/ 213195 w 4610101"/>
              <a:gd name="connsiteY24193" fmla="*/ 939272 h 6557032"/>
              <a:gd name="connsiteX24194" fmla="*/ 767503 w 4610101"/>
              <a:gd name="connsiteY24194" fmla="*/ 938563 h 6557032"/>
              <a:gd name="connsiteX24195" fmla="*/ 768959 w 4610101"/>
              <a:gd name="connsiteY24195" fmla="*/ 939272 h 6557032"/>
              <a:gd name="connsiteX24196" fmla="*/ 762756 w 4610101"/>
              <a:gd name="connsiteY24196" fmla="*/ 942816 h 6557032"/>
              <a:gd name="connsiteX24197" fmla="*/ 2516423 w 4610101"/>
              <a:gd name="connsiteY24197" fmla="*/ 937450 h 6557032"/>
              <a:gd name="connsiteX24198" fmla="*/ 2516423 w 4610101"/>
              <a:gd name="connsiteY24198" fmla="*/ 944738 h 6557032"/>
              <a:gd name="connsiteX24199" fmla="*/ 2507312 w 4610101"/>
              <a:gd name="connsiteY24199" fmla="*/ 952026 h 6557032"/>
              <a:gd name="connsiteX24200" fmla="*/ 2516423 w 4610101"/>
              <a:gd name="connsiteY24200" fmla="*/ 944738 h 6557032"/>
              <a:gd name="connsiteX24201" fmla="*/ 2525534 w 4610101"/>
              <a:gd name="connsiteY24201" fmla="*/ 950204 h 6557032"/>
              <a:gd name="connsiteX24202" fmla="*/ 2516423 w 4610101"/>
              <a:gd name="connsiteY24202" fmla="*/ 937450 h 6557032"/>
              <a:gd name="connsiteX24203" fmla="*/ 2461757 w 4610101"/>
              <a:gd name="connsiteY24203" fmla="*/ 937450 h 6557032"/>
              <a:gd name="connsiteX24204" fmla="*/ 2459935 w 4610101"/>
              <a:gd name="connsiteY24204" fmla="*/ 944738 h 6557032"/>
              <a:gd name="connsiteX24205" fmla="*/ 2463580 w 4610101"/>
              <a:gd name="connsiteY24205" fmla="*/ 942916 h 6557032"/>
              <a:gd name="connsiteX24206" fmla="*/ 2461757 w 4610101"/>
              <a:gd name="connsiteY24206" fmla="*/ 937450 h 6557032"/>
              <a:gd name="connsiteX24207" fmla="*/ 2447180 w 4610101"/>
              <a:gd name="connsiteY24207" fmla="*/ 937450 h 6557032"/>
              <a:gd name="connsiteX24208" fmla="*/ 2443536 w 4610101"/>
              <a:gd name="connsiteY24208" fmla="*/ 950204 h 6557032"/>
              <a:gd name="connsiteX24209" fmla="*/ 2449002 w 4610101"/>
              <a:gd name="connsiteY24209" fmla="*/ 952026 h 6557032"/>
              <a:gd name="connsiteX24210" fmla="*/ 2447180 w 4610101"/>
              <a:gd name="connsiteY24210" fmla="*/ 937450 h 6557032"/>
              <a:gd name="connsiteX24211" fmla="*/ 1377564 w 4610101"/>
              <a:gd name="connsiteY24211" fmla="*/ 937450 h 6557032"/>
              <a:gd name="connsiteX24212" fmla="*/ 1375924 w 4610101"/>
              <a:gd name="connsiteY24212" fmla="*/ 939089 h 6557032"/>
              <a:gd name="connsiteX24213" fmla="*/ 1375971 w 4610101"/>
              <a:gd name="connsiteY24213" fmla="*/ 938588 h 6557032"/>
              <a:gd name="connsiteX24214" fmla="*/ 1377564 w 4610101"/>
              <a:gd name="connsiteY24214" fmla="*/ 937450 h 6557032"/>
              <a:gd name="connsiteX24215" fmla="*/ 1270056 w 4610101"/>
              <a:gd name="connsiteY24215" fmla="*/ 937450 h 6557032"/>
              <a:gd name="connsiteX24216" fmla="*/ 1260945 w 4610101"/>
              <a:gd name="connsiteY24216" fmla="*/ 946560 h 6557032"/>
              <a:gd name="connsiteX24217" fmla="*/ 1270056 w 4610101"/>
              <a:gd name="connsiteY24217" fmla="*/ 937450 h 6557032"/>
              <a:gd name="connsiteX24218" fmla="*/ 1193525 w 4610101"/>
              <a:gd name="connsiteY24218" fmla="*/ 937450 h 6557032"/>
              <a:gd name="connsiteX24219" fmla="*/ 1195346 w 4610101"/>
              <a:gd name="connsiteY24219" fmla="*/ 941094 h 6557032"/>
              <a:gd name="connsiteX24220" fmla="*/ 1198991 w 4610101"/>
              <a:gd name="connsiteY24220" fmla="*/ 939272 h 6557032"/>
              <a:gd name="connsiteX24221" fmla="*/ 1193525 w 4610101"/>
              <a:gd name="connsiteY24221" fmla="*/ 937450 h 6557032"/>
              <a:gd name="connsiteX24222" fmla="*/ 355324 w 4610101"/>
              <a:gd name="connsiteY24222" fmla="*/ 937450 h 6557032"/>
              <a:gd name="connsiteX24223" fmla="*/ 351680 w 4610101"/>
              <a:gd name="connsiteY24223" fmla="*/ 939272 h 6557032"/>
              <a:gd name="connsiteX24224" fmla="*/ 358969 w 4610101"/>
              <a:gd name="connsiteY24224" fmla="*/ 941094 h 6557032"/>
              <a:gd name="connsiteX24225" fmla="*/ 355324 w 4610101"/>
              <a:gd name="connsiteY24225" fmla="*/ 937450 h 6557032"/>
              <a:gd name="connsiteX24226" fmla="*/ 184040 w 4610101"/>
              <a:gd name="connsiteY24226" fmla="*/ 937450 h 6557032"/>
              <a:gd name="connsiteX24227" fmla="*/ 200439 w 4610101"/>
              <a:gd name="connsiteY24227" fmla="*/ 953848 h 6557032"/>
              <a:gd name="connsiteX24228" fmla="*/ 184040 w 4610101"/>
              <a:gd name="connsiteY24228" fmla="*/ 937450 h 6557032"/>
              <a:gd name="connsiteX24229" fmla="*/ 180396 w 4610101"/>
              <a:gd name="connsiteY24229" fmla="*/ 937450 h 6557032"/>
              <a:gd name="connsiteX24230" fmla="*/ 184040 w 4610101"/>
              <a:gd name="connsiteY24230" fmla="*/ 942916 h 6557032"/>
              <a:gd name="connsiteX24231" fmla="*/ 180396 w 4610101"/>
              <a:gd name="connsiteY24231" fmla="*/ 937450 h 6557032"/>
              <a:gd name="connsiteX24232" fmla="*/ 541869 w 4610101"/>
              <a:gd name="connsiteY24232" fmla="*/ 936994 h 6557032"/>
              <a:gd name="connsiteX24233" fmla="*/ 537542 w 4610101"/>
              <a:gd name="connsiteY24233" fmla="*/ 937450 h 6557032"/>
              <a:gd name="connsiteX24234" fmla="*/ 540504 w 4610101"/>
              <a:gd name="connsiteY24234" fmla="*/ 939727 h 6557032"/>
              <a:gd name="connsiteX24235" fmla="*/ 542266 w 4610101"/>
              <a:gd name="connsiteY24235" fmla="*/ 939541 h 6557032"/>
              <a:gd name="connsiteX24236" fmla="*/ 544830 w 4610101"/>
              <a:gd name="connsiteY24236" fmla="*/ 939272 h 6557032"/>
              <a:gd name="connsiteX24237" fmla="*/ 541869 w 4610101"/>
              <a:gd name="connsiteY24237" fmla="*/ 936994 h 6557032"/>
              <a:gd name="connsiteX24238" fmla="*/ 1072806 w 4610101"/>
              <a:gd name="connsiteY24238" fmla="*/ 935855 h 6557032"/>
              <a:gd name="connsiteX24239" fmla="*/ 1064151 w 4610101"/>
              <a:gd name="connsiteY24239" fmla="*/ 939272 h 6557032"/>
              <a:gd name="connsiteX24240" fmla="*/ 1078727 w 4610101"/>
              <a:gd name="connsiteY24240" fmla="*/ 944738 h 6557032"/>
              <a:gd name="connsiteX24241" fmla="*/ 1075083 w 4610101"/>
              <a:gd name="connsiteY24241" fmla="*/ 937450 h 6557032"/>
              <a:gd name="connsiteX24242" fmla="*/ 1075704 w 4610101"/>
              <a:gd name="connsiteY24242" fmla="*/ 937528 h 6557032"/>
              <a:gd name="connsiteX24243" fmla="*/ 1078727 w 4610101"/>
              <a:gd name="connsiteY24243" fmla="*/ 939272 h 6557032"/>
              <a:gd name="connsiteX24244" fmla="*/ 1076905 w 4610101"/>
              <a:gd name="connsiteY24244" fmla="*/ 937678 h 6557032"/>
              <a:gd name="connsiteX24245" fmla="*/ 1075704 w 4610101"/>
              <a:gd name="connsiteY24245" fmla="*/ 937528 h 6557032"/>
              <a:gd name="connsiteX24246" fmla="*/ 3426197 w 4610101"/>
              <a:gd name="connsiteY24246" fmla="*/ 935843 h 6557032"/>
              <a:gd name="connsiteX24247" fmla="*/ 3427510 w 4610101"/>
              <a:gd name="connsiteY24247" fmla="*/ 941094 h 6557032"/>
              <a:gd name="connsiteX24248" fmla="*/ 3423856 w 4610101"/>
              <a:gd name="connsiteY24248" fmla="*/ 936805 h 6557032"/>
              <a:gd name="connsiteX24249" fmla="*/ 3425232 w 4610101"/>
              <a:gd name="connsiteY24249" fmla="*/ 936538 h 6557032"/>
              <a:gd name="connsiteX24250" fmla="*/ 2179320 w 4610101"/>
              <a:gd name="connsiteY24250" fmla="*/ 935628 h 6557032"/>
              <a:gd name="connsiteX24251" fmla="*/ 2173854 w 4610101"/>
              <a:gd name="connsiteY24251" fmla="*/ 942916 h 6557032"/>
              <a:gd name="connsiteX24252" fmla="*/ 2192076 w 4610101"/>
              <a:gd name="connsiteY24252" fmla="*/ 948383 h 6557032"/>
              <a:gd name="connsiteX24253" fmla="*/ 2188431 w 4610101"/>
              <a:gd name="connsiteY24253" fmla="*/ 939272 h 6557032"/>
              <a:gd name="connsiteX24254" fmla="*/ 2181143 w 4610101"/>
              <a:gd name="connsiteY24254" fmla="*/ 941094 h 6557032"/>
              <a:gd name="connsiteX24255" fmla="*/ 2179320 w 4610101"/>
              <a:gd name="connsiteY24255" fmla="*/ 935628 h 6557032"/>
              <a:gd name="connsiteX24256" fmla="*/ 1260945 w 4610101"/>
              <a:gd name="connsiteY24256" fmla="*/ 935628 h 6557032"/>
              <a:gd name="connsiteX24257" fmla="*/ 1257300 w 4610101"/>
              <a:gd name="connsiteY24257" fmla="*/ 948383 h 6557032"/>
              <a:gd name="connsiteX24258" fmla="*/ 1260945 w 4610101"/>
              <a:gd name="connsiteY24258" fmla="*/ 935628 h 6557032"/>
              <a:gd name="connsiteX24259" fmla="*/ 1224501 w 4610101"/>
              <a:gd name="connsiteY24259" fmla="*/ 935628 h 6557032"/>
              <a:gd name="connsiteX24260" fmla="*/ 1240901 w 4610101"/>
              <a:gd name="connsiteY24260" fmla="*/ 942916 h 6557032"/>
              <a:gd name="connsiteX24261" fmla="*/ 1224501 w 4610101"/>
              <a:gd name="connsiteY24261" fmla="*/ 935628 h 6557032"/>
              <a:gd name="connsiteX24262" fmla="*/ 920198 w 4610101"/>
              <a:gd name="connsiteY24262" fmla="*/ 935628 h 6557032"/>
              <a:gd name="connsiteX24263" fmla="*/ 925666 w 4610101"/>
              <a:gd name="connsiteY24263" fmla="*/ 950204 h 6557032"/>
              <a:gd name="connsiteX24264" fmla="*/ 927487 w 4610101"/>
              <a:gd name="connsiteY24264" fmla="*/ 942916 h 6557032"/>
              <a:gd name="connsiteX24265" fmla="*/ 920198 w 4610101"/>
              <a:gd name="connsiteY24265" fmla="*/ 935628 h 6557032"/>
              <a:gd name="connsiteX24266" fmla="*/ 885577 w 4610101"/>
              <a:gd name="connsiteY24266" fmla="*/ 935628 h 6557032"/>
              <a:gd name="connsiteX24267" fmla="*/ 880111 w 4610101"/>
              <a:gd name="connsiteY24267" fmla="*/ 950204 h 6557032"/>
              <a:gd name="connsiteX24268" fmla="*/ 901976 w 4610101"/>
              <a:gd name="connsiteY24268" fmla="*/ 979360 h 6557032"/>
              <a:gd name="connsiteX24269" fmla="*/ 905621 w 4610101"/>
              <a:gd name="connsiteY24269" fmla="*/ 972071 h 6557032"/>
              <a:gd name="connsiteX24270" fmla="*/ 901976 w 4610101"/>
              <a:gd name="connsiteY24270" fmla="*/ 968427 h 6557032"/>
              <a:gd name="connsiteX24271" fmla="*/ 905621 w 4610101"/>
              <a:gd name="connsiteY24271" fmla="*/ 968427 h 6557032"/>
              <a:gd name="connsiteX24272" fmla="*/ 903799 w 4610101"/>
              <a:gd name="connsiteY24272" fmla="*/ 961138 h 6557032"/>
              <a:gd name="connsiteX24273" fmla="*/ 892866 w 4610101"/>
              <a:gd name="connsiteY24273" fmla="*/ 953848 h 6557032"/>
              <a:gd name="connsiteX24274" fmla="*/ 894688 w 4610101"/>
              <a:gd name="connsiteY24274" fmla="*/ 952026 h 6557032"/>
              <a:gd name="connsiteX24275" fmla="*/ 905621 w 4610101"/>
              <a:gd name="connsiteY24275" fmla="*/ 957494 h 6557032"/>
              <a:gd name="connsiteX24276" fmla="*/ 885577 w 4610101"/>
              <a:gd name="connsiteY24276" fmla="*/ 935628 h 6557032"/>
              <a:gd name="connsiteX24277" fmla="*/ 838200 w 4610101"/>
              <a:gd name="connsiteY24277" fmla="*/ 935628 h 6557032"/>
              <a:gd name="connsiteX24278" fmla="*/ 850956 w 4610101"/>
              <a:gd name="connsiteY24278" fmla="*/ 942916 h 6557032"/>
              <a:gd name="connsiteX24279" fmla="*/ 852778 w 4610101"/>
              <a:gd name="connsiteY24279" fmla="*/ 939272 h 6557032"/>
              <a:gd name="connsiteX24280" fmla="*/ 854600 w 4610101"/>
              <a:gd name="connsiteY24280" fmla="*/ 944738 h 6557032"/>
              <a:gd name="connsiteX24281" fmla="*/ 860066 w 4610101"/>
              <a:gd name="connsiteY24281" fmla="*/ 941094 h 6557032"/>
              <a:gd name="connsiteX24282" fmla="*/ 852778 w 4610101"/>
              <a:gd name="connsiteY24282" fmla="*/ 939272 h 6557032"/>
              <a:gd name="connsiteX24283" fmla="*/ 297015 w 4610101"/>
              <a:gd name="connsiteY24283" fmla="*/ 935628 h 6557032"/>
              <a:gd name="connsiteX24284" fmla="*/ 300204 w 4610101"/>
              <a:gd name="connsiteY24284" fmla="*/ 941777 h 6557032"/>
              <a:gd name="connsiteX24285" fmla="*/ 304366 w 4610101"/>
              <a:gd name="connsiteY24285" fmla="*/ 945139 h 6557032"/>
              <a:gd name="connsiteX24286" fmla="*/ 304987 w 4610101"/>
              <a:gd name="connsiteY24286" fmla="*/ 949066 h 6557032"/>
              <a:gd name="connsiteX24287" fmla="*/ 309771 w 4610101"/>
              <a:gd name="connsiteY24287" fmla="*/ 952026 h 6557032"/>
              <a:gd name="connsiteX24288" fmla="*/ 304970 w 4610101"/>
              <a:gd name="connsiteY24288" fmla="*/ 945627 h 6557032"/>
              <a:gd name="connsiteX24289" fmla="*/ 306126 w 4610101"/>
              <a:gd name="connsiteY24289" fmla="*/ 946560 h 6557032"/>
              <a:gd name="connsiteX24290" fmla="*/ 297015 w 4610101"/>
              <a:gd name="connsiteY24290" fmla="*/ 935628 h 6557032"/>
              <a:gd name="connsiteX24291" fmla="*/ 501782 w 4610101"/>
              <a:gd name="connsiteY24291" fmla="*/ 935172 h 6557032"/>
              <a:gd name="connsiteX24292" fmla="*/ 495632 w 4610101"/>
              <a:gd name="connsiteY24292" fmla="*/ 935628 h 6557032"/>
              <a:gd name="connsiteX24293" fmla="*/ 506565 w 4610101"/>
              <a:gd name="connsiteY24293" fmla="*/ 937450 h 6557032"/>
              <a:gd name="connsiteX24294" fmla="*/ 501782 w 4610101"/>
              <a:gd name="connsiteY24294" fmla="*/ 935172 h 6557032"/>
              <a:gd name="connsiteX24295" fmla="*/ 760530 w 4610101"/>
              <a:gd name="connsiteY24295" fmla="*/ 935171 h 6557032"/>
              <a:gd name="connsiteX24296" fmla="*/ 750737 w 4610101"/>
              <a:gd name="connsiteY24296" fmla="*/ 939272 h 6557032"/>
              <a:gd name="connsiteX24297" fmla="*/ 752786 w 4610101"/>
              <a:gd name="connsiteY24297" fmla="*/ 942232 h 6557032"/>
              <a:gd name="connsiteX24298" fmla="*/ 755291 w 4610101"/>
              <a:gd name="connsiteY24298" fmla="*/ 945405 h 6557032"/>
              <a:gd name="connsiteX24299" fmla="*/ 749141 w 4610101"/>
              <a:gd name="connsiteY24299" fmla="*/ 947016 h 6557032"/>
              <a:gd name="connsiteX24300" fmla="*/ 734336 w 4610101"/>
              <a:gd name="connsiteY24300" fmla="*/ 961138 h 6557032"/>
              <a:gd name="connsiteX24301" fmla="*/ 750737 w 4610101"/>
              <a:gd name="connsiteY24301" fmla="*/ 962960 h 6557032"/>
              <a:gd name="connsiteX24302" fmla="*/ 754380 w 4610101"/>
              <a:gd name="connsiteY24302" fmla="*/ 959316 h 6557032"/>
              <a:gd name="connsiteX24303" fmla="*/ 790824 w 4610101"/>
              <a:gd name="connsiteY24303" fmla="*/ 968427 h 6557032"/>
              <a:gd name="connsiteX24304" fmla="*/ 781713 w 4610101"/>
              <a:gd name="connsiteY24304" fmla="*/ 946560 h 6557032"/>
              <a:gd name="connsiteX24305" fmla="*/ 783535 w 4610101"/>
              <a:gd name="connsiteY24305" fmla="*/ 948383 h 6557032"/>
              <a:gd name="connsiteX24306" fmla="*/ 770781 w 4610101"/>
              <a:gd name="connsiteY24306" fmla="*/ 935628 h 6557032"/>
              <a:gd name="connsiteX24307" fmla="*/ 767503 w 4610101"/>
              <a:gd name="connsiteY24307" fmla="*/ 938563 h 6557032"/>
              <a:gd name="connsiteX24308" fmla="*/ 2336027 w 4610101"/>
              <a:gd name="connsiteY24308" fmla="*/ 933804 h 6557032"/>
              <a:gd name="connsiteX24309" fmla="*/ 2334205 w 4610101"/>
              <a:gd name="connsiteY24309" fmla="*/ 955672 h 6557032"/>
              <a:gd name="connsiteX24310" fmla="*/ 2339672 w 4610101"/>
              <a:gd name="connsiteY24310" fmla="*/ 959316 h 6557032"/>
              <a:gd name="connsiteX24311" fmla="*/ 2328739 w 4610101"/>
              <a:gd name="connsiteY24311" fmla="*/ 962960 h 6557032"/>
              <a:gd name="connsiteX24312" fmla="*/ 2326916 w 4610101"/>
              <a:gd name="connsiteY24312" fmla="*/ 948383 h 6557032"/>
              <a:gd name="connsiteX24313" fmla="*/ 2321450 w 4610101"/>
              <a:gd name="connsiteY24313" fmla="*/ 948383 h 6557032"/>
              <a:gd name="connsiteX24314" fmla="*/ 2326916 w 4610101"/>
              <a:gd name="connsiteY24314" fmla="*/ 952026 h 6557032"/>
              <a:gd name="connsiteX24315" fmla="*/ 2323272 w 4610101"/>
              <a:gd name="connsiteY24315" fmla="*/ 955672 h 6557032"/>
              <a:gd name="connsiteX24316" fmla="*/ 2319628 w 4610101"/>
              <a:gd name="connsiteY24316" fmla="*/ 950204 h 6557032"/>
              <a:gd name="connsiteX24317" fmla="*/ 2314161 w 4610101"/>
              <a:gd name="connsiteY24317" fmla="*/ 950204 h 6557032"/>
              <a:gd name="connsiteX24318" fmla="*/ 2310517 w 4610101"/>
              <a:gd name="connsiteY24318" fmla="*/ 962960 h 6557032"/>
              <a:gd name="connsiteX24319" fmla="*/ 2314161 w 4610101"/>
              <a:gd name="connsiteY24319" fmla="*/ 959316 h 6557032"/>
              <a:gd name="connsiteX24320" fmla="*/ 2317806 w 4610101"/>
              <a:gd name="connsiteY24320" fmla="*/ 964782 h 6557032"/>
              <a:gd name="connsiteX24321" fmla="*/ 2312339 w 4610101"/>
              <a:gd name="connsiteY24321" fmla="*/ 966604 h 6557032"/>
              <a:gd name="connsiteX24322" fmla="*/ 2321450 w 4610101"/>
              <a:gd name="connsiteY24322" fmla="*/ 973893 h 6557032"/>
              <a:gd name="connsiteX24323" fmla="*/ 2323272 w 4610101"/>
              <a:gd name="connsiteY24323" fmla="*/ 962960 h 6557032"/>
              <a:gd name="connsiteX24324" fmla="*/ 2319628 w 4610101"/>
              <a:gd name="connsiteY24324" fmla="*/ 962960 h 6557032"/>
              <a:gd name="connsiteX24325" fmla="*/ 2323272 w 4610101"/>
              <a:gd name="connsiteY24325" fmla="*/ 955672 h 6557032"/>
              <a:gd name="connsiteX24326" fmla="*/ 2333266 w 4610101"/>
              <a:gd name="connsiteY24326" fmla="*/ 972071 h 6557032"/>
              <a:gd name="connsiteX24327" fmla="*/ 2336158 w 4610101"/>
              <a:gd name="connsiteY24327" fmla="*/ 971546 h 6557032"/>
              <a:gd name="connsiteX24328" fmla="*/ 2336027 w 4610101"/>
              <a:gd name="connsiteY24328" fmla="*/ 972071 h 6557032"/>
              <a:gd name="connsiteX24329" fmla="*/ 2336640 w 4610101"/>
              <a:gd name="connsiteY24329" fmla="*/ 971459 h 6557032"/>
              <a:gd name="connsiteX24330" fmla="*/ 2343316 w 4610101"/>
              <a:gd name="connsiteY24330" fmla="*/ 970249 h 6557032"/>
              <a:gd name="connsiteX24331" fmla="*/ 2341521 w 4610101"/>
              <a:gd name="connsiteY24331" fmla="*/ 969351 h 6557032"/>
              <a:gd name="connsiteX24332" fmla="*/ 2341608 w 4610101"/>
              <a:gd name="connsiteY24332" fmla="*/ 966434 h 6557032"/>
              <a:gd name="connsiteX24333" fmla="*/ 2348782 w 4610101"/>
              <a:gd name="connsiteY24333" fmla="*/ 972071 h 6557032"/>
              <a:gd name="connsiteX24334" fmla="*/ 2336027 w 4610101"/>
              <a:gd name="connsiteY24334" fmla="*/ 933804 h 6557032"/>
              <a:gd name="connsiteX24335" fmla="*/ 2155632 w 4610101"/>
              <a:gd name="connsiteY24335" fmla="*/ 933804 h 6557032"/>
              <a:gd name="connsiteX24336" fmla="*/ 2164743 w 4610101"/>
              <a:gd name="connsiteY24336" fmla="*/ 933804 h 6557032"/>
              <a:gd name="connsiteX24337" fmla="*/ 2155632 w 4610101"/>
              <a:gd name="connsiteY24337" fmla="*/ 933804 h 6557032"/>
              <a:gd name="connsiteX24338" fmla="*/ 750737 w 4610101"/>
              <a:gd name="connsiteY24338" fmla="*/ 933804 h 6557032"/>
              <a:gd name="connsiteX24339" fmla="*/ 748914 w 4610101"/>
              <a:gd name="connsiteY24339" fmla="*/ 935628 h 6557032"/>
              <a:gd name="connsiteX24340" fmla="*/ 754380 w 4610101"/>
              <a:gd name="connsiteY24340" fmla="*/ 935628 h 6557032"/>
              <a:gd name="connsiteX24341" fmla="*/ 750737 w 4610101"/>
              <a:gd name="connsiteY24341" fmla="*/ 933804 h 6557032"/>
              <a:gd name="connsiteX24342" fmla="*/ 462832 w 4610101"/>
              <a:gd name="connsiteY24342" fmla="*/ 933804 h 6557032"/>
              <a:gd name="connsiteX24343" fmla="*/ 457367 w 4610101"/>
              <a:gd name="connsiteY24343" fmla="*/ 935628 h 6557032"/>
              <a:gd name="connsiteX24344" fmla="*/ 462832 w 4610101"/>
              <a:gd name="connsiteY24344" fmla="*/ 933804 h 6557032"/>
              <a:gd name="connsiteX24345" fmla="*/ 171285 w 4610101"/>
              <a:gd name="connsiteY24345" fmla="*/ 933804 h 6557032"/>
              <a:gd name="connsiteX24346" fmla="*/ 178573 w 4610101"/>
              <a:gd name="connsiteY24346" fmla="*/ 939272 h 6557032"/>
              <a:gd name="connsiteX24347" fmla="*/ 189506 w 4610101"/>
              <a:gd name="connsiteY24347" fmla="*/ 955672 h 6557032"/>
              <a:gd name="connsiteX24348" fmla="*/ 178573 w 4610101"/>
              <a:gd name="connsiteY24348" fmla="*/ 939272 h 6557032"/>
              <a:gd name="connsiteX24349" fmla="*/ 176751 w 4610101"/>
              <a:gd name="connsiteY24349" fmla="*/ 935628 h 6557032"/>
              <a:gd name="connsiteX24350" fmla="*/ 171285 w 4610101"/>
              <a:gd name="connsiteY24350" fmla="*/ 933804 h 6557032"/>
              <a:gd name="connsiteX24351" fmla="*/ 486522 w 4610101"/>
              <a:gd name="connsiteY24351" fmla="*/ 933351 h 6557032"/>
              <a:gd name="connsiteX24352" fmla="*/ 488343 w 4610101"/>
              <a:gd name="connsiteY24352" fmla="*/ 935628 h 6557032"/>
              <a:gd name="connsiteX24353" fmla="*/ 487350 w 4610101"/>
              <a:gd name="connsiteY24353" fmla="*/ 935628 h 6557032"/>
              <a:gd name="connsiteX24354" fmla="*/ 333037 w 4610101"/>
              <a:gd name="connsiteY24354" fmla="*/ 932683 h 6557032"/>
              <a:gd name="connsiteX24355" fmla="*/ 335280 w 4610101"/>
              <a:gd name="connsiteY24355" fmla="*/ 933805 h 6557032"/>
              <a:gd name="connsiteX24356" fmla="*/ 334141 w 4610101"/>
              <a:gd name="connsiteY24356" fmla="*/ 934033 h 6557032"/>
              <a:gd name="connsiteX24357" fmla="*/ 1080711 w 4610101"/>
              <a:gd name="connsiteY24357" fmla="*/ 932506 h 6557032"/>
              <a:gd name="connsiteX24358" fmla="*/ 1080549 w 4610101"/>
              <a:gd name="connsiteY24358" fmla="*/ 933804 h 6557032"/>
              <a:gd name="connsiteX24359" fmla="*/ 1079996 w 4610101"/>
              <a:gd name="connsiteY24359" fmla="*/ 933068 h 6557032"/>
              <a:gd name="connsiteX24360" fmla="*/ 1284633 w 4610101"/>
              <a:gd name="connsiteY24360" fmla="*/ 931983 h 6557032"/>
              <a:gd name="connsiteX24361" fmla="*/ 1277344 w 4610101"/>
              <a:gd name="connsiteY24361" fmla="*/ 937450 h 6557032"/>
              <a:gd name="connsiteX24362" fmla="*/ 1284633 w 4610101"/>
              <a:gd name="connsiteY24362" fmla="*/ 931983 h 6557032"/>
              <a:gd name="connsiteX24363" fmla="*/ 368079 w 4610101"/>
              <a:gd name="connsiteY24363" fmla="*/ 931983 h 6557032"/>
              <a:gd name="connsiteX24364" fmla="*/ 388123 w 4610101"/>
              <a:gd name="connsiteY24364" fmla="*/ 941094 h 6557032"/>
              <a:gd name="connsiteX24365" fmla="*/ 368079 w 4610101"/>
              <a:gd name="connsiteY24365" fmla="*/ 931983 h 6557032"/>
              <a:gd name="connsiteX24366" fmla="*/ 313414 w 4610101"/>
              <a:gd name="connsiteY24366" fmla="*/ 931983 h 6557032"/>
              <a:gd name="connsiteX24367" fmla="*/ 320703 w 4610101"/>
              <a:gd name="connsiteY24367" fmla="*/ 937450 h 6557032"/>
              <a:gd name="connsiteX24368" fmla="*/ 313414 w 4610101"/>
              <a:gd name="connsiteY24368" fmla="*/ 931983 h 6557032"/>
              <a:gd name="connsiteX24369" fmla="*/ 287904 w 4610101"/>
              <a:gd name="connsiteY24369" fmla="*/ 931983 h 6557032"/>
              <a:gd name="connsiteX24370" fmla="*/ 295193 w 4610101"/>
              <a:gd name="connsiteY24370" fmla="*/ 941094 h 6557032"/>
              <a:gd name="connsiteX24371" fmla="*/ 287904 w 4610101"/>
              <a:gd name="connsiteY24371" fmla="*/ 931983 h 6557032"/>
              <a:gd name="connsiteX24372" fmla="*/ 3095874 w 4610101"/>
              <a:gd name="connsiteY24372" fmla="*/ 930160 h 6557032"/>
              <a:gd name="connsiteX24373" fmla="*/ 3083119 w 4610101"/>
              <a:gd name="connsiteY24373" fmla="*/ 952026 h 6557032"/>
              <a:gd name="connsiteX24374" fmla="*/ 3094052 w 4610101"/>
              <a:gd name="connsiteY24374" fmla="*/ 942916 h 6557032"/>
              <a:gd name="connsiteX24375" fmla="*/ 3103163 w 4610101"/>
              <a:gd name="connsiteY24375" fmla="*/ 941094 h 6557032"/>
              <a:gd name="connsiteX24376" fmla="*/ 3095874 w 4610101"/>
              <a:gd name="connsiteY24376" fmla="*/ 930160 h 6557032"/>
              <a:gd name="connsiteX24377" fmla="*/ 2461757 w 4610101"/>
              <a:gd name="connsiteY24377" fmla="*/ 930160 h 6557032"/>
              <a:gd name="connsiteX24378" fmla="*/ 2456291 w 4610101"/>
              <a:gd name="connsiteY24378" fmla="*/ 939272 h 6557032"/>
              <a:gd name="connsiteX24379" fmla="*/ 2461757 w 4610101"/>
              <a:gd name="connsiteY24379" fmla="*/ 930160 h 6557032"/>
              <a:gd name="connsiteX24380" fmla="*/ 1326543 w 4610101"/>
              <a:gd name="connsiteY24380" fmla="*/ 930160 h 6557032"/>
              <a:gd name="connsiteX24381" fmla="*/ 1321077 w 4610101"/>
              <a:gd name="connsiteY24381" fmla="*/ 937450 h 6557032"/>
              <a:gd name="connsiteX24382" fmla="*/ 1326543 w 4610101"/>
              <a:gd name="connsiteY24382" fmla="*/ 930160 h 6557032"/>
              <a:gd name="connsiteX24383" fmla="*/ 1240901 w 4610101"/>
              <a:gd name="connsiteY24383" fmla="*/ 930160 h 6557032"/>
              <a:gd name="connsiteX24384" fmla="*/ 1231790 w 4610101"/>
              <a:gd name="connsiteY24384" fmla="*/ 933804 h 6557032"/>
              <a:gd name="connsiteX24385" fmla="*/ 1240901 w 4610101"/>
              <a:gd name="connsiteY24385" fmla="*/ 935628 h 6557032"/>
              <a:gd name="connsiteX24386" fmla="*/ 1240901 w 4610101"/>
              <a:gd name="connsiteY24386" fmla="*/ 930160 h 6557032"/>
              <a:gd name="connsiteX24387" fmla="*/ 880111 w 4610101"/>
              <a:gd name="connsiteY24387" fmla="*/ 930160 h 6557032"/>
              <a:gd name="connsiteX24388" fmla="*/ 880111 w 4610101"/>
              <a:gd name="connsiteY24388" fmla="*/ 935628 h 6557032"/>
              <a:gd name="connsiteX24389" fmla="*/ 883755 w 4610101"/>
              <a:gd name="connsiteY24389" fmla="*/ 933804 h 6557032"/>
              <a:gd name="connsiteX24390" fmla="*/ 880111 w 4610101"/>
              <a:gd name="connsiteY24390" fmla="*/ 930160 h 6557032"/>
              <a:gd name="connsiteX24391" fmla="*/ 663272 w 4610101"/>
              <a:gd name="connsiteY24391" fmla="*/ 930160 h 6557032"/>
              <a:gd name="connsiteX24392" fmla="*/ 650516 w 4610101"/>
              <a:gd name="connsiteY24392" fmla="*/ 939272 h 6557032"/>
              <a:gd name="connsiteX24393" fmla="*/ 663272 w 4610101"/>
              <a:gd name="connsiteY24393" fmla="*/ 930160 h 6557032"/>
              <a:gd name="connsiteX24394" fmla="*/ 313414 w 4610101"/>
              <a:gd name="connsiteY24394" fmla="*/ 930160 h 6557032"/>
              <a:gd name="connsiteX24395" fmla="*/ 329814 w 4610101"/>
              <a:gd name="connsiteY24395" fmla="*/ 937450 h 6557032"/>
              <a:gd name="connsiteX24396" fmla="*/ 313414 w 4610101"/>
              <a:gd name="connsiteY24396" fmla="*/ 930160 h 6557032"/>
              <a:gd name="connsiteX24397" fmla="*/ 163996 w 4610101"/>
              <a:gd name="connsiteY24397" fmla="*/ 930160 h 6557032"/>
              <a:gd name="connsiteX24398" fmla="*/ 182218 w 4610101"/>
              <a:gd name="connsiteY24398" fmla="*/ 955672 h 6557032"/>
              <a:gd name="connsiteX24399" fmla="*/ 163996 w 4610101"/>
              <a:gd name="connsiteY24399" fmla="*/ 930160 h 6557032"/>
              <a:gd name="connsiteX24400" fmla="*/ 1167558 w 4610101"/>
              <a:gd name="connsiteY24400" fmla="*/ 929022 h 6557032"/>
              <a:gd name="connsiteX24401" fmla="*/ 1146148 w 4610101"/>
              <a:gd name="connsiteY24401" fmla="*/ 930160 h 6557032"/>
              <a:gd name="connsiteX24402" fmla="*/ 1147970 w 4610101"/>
              <a:gd name="connsiteY24402" fmla="*/ 933804 h 6557032"/>
              <a:gd name="connsiteX24403" fmla="*/ 1126104 w 4610101"/>
              <a:gd name="connsiteY24403" fmla="*/ 941094 h 6557032"/>
              <a:gd name="connsiteX24404" fmla="*/ 1127926 w 4610101"/>
              <a:gd name="connsiteY24404" fmla="*/ 950204 h 6557032"/>
              <a:gd name="connsiteX24405" fmla="*/ 1168014 w 4610101"/>
              <a:gd name="connsiteY24405" fmla="*/ 950204 h 6557032"/>
              <a:gd name="connsiteX24406" fmla="*/ 1169836 w 4610101"/>
              <a:gd name="connsiteY24406" fmla="*/ 944738 h 6557032"/>
              <a:gd name="connsiteX24407" fmla="*/ 1173481 w 4610101"/>
              <a:gd name="connsiteY24407" fmla="*/ 946560 h 6557032"/>
              <a:gd name="connsiteX24408" fmla="*/ 1177125 w 4610101"/>
              <a:gd name="connsiteY24408" fmla="*/ 942916 h 6557032"/>
              <a:gd name="connsiteX24409" fmla="*/ 1173481 w 4610101"/>
              <a:gd name="connsiteY24409" fmla="*/ 948383 h 6557032"/>
              <a:gd name="connsiteX24410" fmla="*/ 1180769 w 4610101"/>
              <a:gd name="connsiteY24410" fmla="*/ 944738 h 6557032"/>
              <a:gd name="connsiteX24411" fmla="*/ 1186236 w 4610101"/>
              <a:gd name="connsiteY24411" fmla="*/ 942916 h 6557032"/>
              <a:gd name="connsiteX24412" fmla="*/ 1188058 w 4610101"/>
              <a:gd name="connsiteY24412" fmla="*/ 944738 h 6557032"/>
              <a:gd name="connsiteX24413" fmla="*/ 1191703 w 4610101"/>
              <a:gd name="connsiteY24413" fmla="*/ 942916 h 6557032"/>
              <a:gd name="connsiteX24414" fmla="*/ 1186236 w 4610101"/>
              <a:gd name="connsiteY24414" fmla="*/ 937450 h 6557032"/>
              <a:gd name="connsiteX24415" fmla="*/ 1167558 w 4610101"/>
              <a:gd name="connsiteY24415" fmla="*/ 929022 h 6557032"/>
              <a:gd name="connsiteX24416" fmla="*/ 2689529 w 4610101"/>
              <a:gd name="connsiteY24416" fmla="*/ 928339 h 6557032"/>
              <a:gd name="connsiteX24417" fmla="*/ 2694996 w 4610101"/>
              <a:gd name="connsiteY24417" fmla="*/ 937450 h 6557032"/>
              <a:gd name="connsiteX24418" fmla="*/ 2689529 w 4610101"/>
              <a:gd name="connsiteY24418" fmla="*/ 928339 h 6557032"/>
              <a:gd name="connsiteX24419" fmla="*/ 1264589 w 4610101"/>
              <a:gd name="connsiteY24419" fmla="*/ 928339 h 6557032"/>
              <a:gd name="connsiteX24420" fmla="*/ 1264589 w 4610101"/>
              <a:gd name="connsiteY24420" fmla="*/ 935628 h 6557032"/>
              <a:gd name="connsiteX24421" fmla="*/ 1268233 w 4610101"/>
              <a:gd name="connsiteY24421" fmla="*/ 933804 h 6557032"/>
              <a:gd name="connsiteX24422" fmla="*/ 1266411 w 4610101"/>
              <a:gd name="connsiteY24422" fmla="*/ 928339 h 6557032"/>
              <a:gd name="connsiteX24423" fmla="*/ 1264589 w 4610101"/>
              <a:gd name="connsiteY24423" fmla="*/ 928339 h 6557032"/>
              <a:gd name="connsiteX24424" fmla="*/ 1204457 w 4610101"/>
              <a:gd name="connsiteY24424" fmla="*/ 928339 h 6557032"/>
              <a:gd name="connsiteX24425" fmla="*/ 1204779 w 4610101"/>
              <a:gd name="connsiteY24425" fmla="*/ 928339 h 6557032"/>
              <a:gd name="connsiteX24426" fmla="*/ 1204408 w 4610101"/>
              <a:gd name="connsiteY24426" fmla="*/ 928435 h 6557032"/>
              <a:gd name="connsiteX24427" fmla="*/ 956642 w 4610101"/>
              <a:gd name="connsiteY24427" fmla="*/ 928339 h 6557032"/>
              <a:gd name="connsiteX24428" fmla="*/ 952086 w 4610101"/>
              <a:gd name="connsiteY24428" fmla="*/ 944055 h 6557032"/>
              <a:gd name="connsiteX24429" fmla="*/ 952927 w 4610101"/>
              <a:gd name="connsiteY24429" fmla="*/ 959824 h 6557032"/>
              <a:gd name="connsiteX24430" fmla="*/ 951175 w 4610101"/>
              <a:gd name="connsiteY24430" fmla="*/ 961138 h 6557032"/>
              <a:gd name="connsiteX24431" fmla="*/ 958464 w 4610101"/>
              <a:gd name="connsiteY24431" fmla="*/ 970249 h 6557032"/>
              <a:gd name="connsiteX24432" fmla="*/ 958464 w 4610101"/>
              <a:gd name="connsiteY24432" fmla="*/ 955672 h 6557032"/>
              <a:gd name="connsiteX24433" fmla="*/ 958460 w 4610101"/>
              <a:gd name="connsiteY24433" fmla="*/ 955675 h 6557032"/>
              <a:gd name="connsiteX24434" fmla="*/ 960286 w 4610101"/>
              <a:gd name="connsiteY24434" fmla="*/ 953848 h 6557032"/>
              <a:gd name="connsiteX24435" fmla="*/ 956642 w 4610101"/>
              <a:gd name="connsiteY24435" fmla="*/ 928339 h 6557032"/>
              <a:gd name="connsiteX24436" fmla="*/ 747092 w 4610101"/>
              <a:gd name="connsiteY24436" fmla="*/ 928339 h 6557032"/>
              <a:gd name="connsiteX24437" fmla="*/ 737981 w 4610101"/>
              <a:gd name="connsiteY24437" fmla="*/ 930160 h 6557032"/>
              <a:gd name="connsiteX24438" fmla="*/ 739803 w 4610101"/>
              <a:gd name="connsiteY24438" fmla="*/ 931983 h 6557032"/>
              <a:gd name="connsiteX24439" fmla="*/ 727048 w 4610101"/>
              <a:gd name="connsiteY24439" fmla="*/ 939272 h 6557032"/>
              <a:gd name="connsiteX24440" fmla="*/ 730692 w 4610101"/>
              <a:gd name="connsiteY24440" fmla="*/ 952026 h 6557032"/>
              <a:gd name="connsiteX24441" fmla="*/ 736159 w 4610101"/>
              <a:gd name="connsiteY24441" fmla="*/ 942916 h 6557032"/>
              <a:gd name="connsiteX24442" fmla="*/ 745269 w 4610101"/>
              <a:gd name="connsiteY24442" fmla="*/ 935628 h 6557032"/>
              <a:gd name="connsiteX24443" fmla="*/ 741626 w 4610101"/>
              <a:gd name="connsiteY24443" fmla="*/ 930160 h 6557032"/>
              <a:gd name="connsiteX24444" fmla="*/ 747092 w 4610101"/>
              <a:gd name="connsiteY24444" fmla="*/ 928339 h 6557032"/>
              <a:gd name="connsiteX24445" fmla="*/ 428211 w 4610101"/>
              <a:gd name="connsiteY24445" fmla="*/ 928339 h 6557032"/>
              <a:gd name="connsiteX24446" fmla="*/ 442789 w 4610101"/>
              <a:gd name="connsiteY24446" fmla="*/ 937450 h 6557032"/>
              <a:gd name="connsiteX24447" fmla="*/ 428211 w 4610101"/>
              <a:gd name="connsiteY24447" fmla="*/ 928339 h 6557032"/>
              <a:gd name="connsiteX24448" fmla="*/ 355324 w 4610101"/>
              <a:gd name="connsiteY24448" fmla="*/ 928339 h 6557032"/>
              <a:gd name="connsiteX24449" fmla="*/ 360791 w 4610101"/>
              <a:gd name="connsiteY24449" fmla="*/ 933804 h 6557032"/>
              <a:gd name="connsiteX24450" fmla="*/ 364435 w 4610101"/>
              <a:gd name="connsiteY24450" fmla="*/ 931983 h 6557032"/>
              <a:gd name="connsiteX24451" fmla="*/ 360791 w 4610101"/>
              <a:gd name="connsiteY24451" fmla="*/ 931983 h 6557032"/>
              <a:gd name="connsiteX24452" fmla="*/ 355324 w 4610101"/>
              <a:gd name="connsiteY24452" fmla="*/ 928339 h 6557032"/>
              <a:gd name="connsiteX24453" fmla="*/ 1323734 w 4610101"/>
              <a:gd name="connsiteY24453" fmla="*/ 926669 h 6557032"/>
              <a:gd name="connsiteX24454" fmla="*/ 1323289 w 4610101"/>
              <a:gd name="connsiteY24454" fmla="*/ 928377 h 6557032"/>
              <a:gd name="connsiteX24455" fmla="*/ 1322899 w 4610101"/>
              <a:gd name="connsiteY24455" fmla="*/ 928339 h 6557032"/>
              <a:gd name="connsiteX24456" fmla="*/ 2177498 w 4610101"/>
              <a:gd name="connsiteY24456" fmla="*/ 926516 h 6557032"/>
              <a:gd name="connsiteX24457" fmla="*/ 2177498 w 4610101"/>
              <a:gd name="connsiteY24457" fmla="*/ 933804 h 6557032"/>
              <a:gd name="connsiteX24458" fmla="*/ 2181143 w 4610101"/>
              <a:gd name="connsiteY24458" fmla="*/ 931983 h 6557032"/>
              <a:gd name="connsiteX24459" fmla="*/ 2177498 w 4610101"/>
              <a:gd name="connsiteY24459" fmla="*/ 926516 h 6557032"/>
              <a:gd name="connsiteX24460" fmla="*/ 1251834 w 4610101"/>
              <a:gd name="connsiteY24460" fmla="*/ 926516 h 6557032"/>
              <a:gd name="connsiteX24461" fmla="*/ 1246367 w 4610101"/>
              <a:gd name="connsiteY24461" fmla="*/ 939272 h 6557032"/>
              <a:gd name="connsiteX24462" fmla="*/ 1246367 w 4610101"/>
              <a:gd name="connsiteY24462" fmla="*/ 942916 h 6557032"/>
              <a:gd name="connsiteX24463" fmla="*/ 1250012 w 4610101"/>
              <a:gd name="connsiteY24463" fmla="*/ 946560 h 6557032"/>
              <a:gd name="connsiteX24464" fmla="*/ 1253656 w 4610101"/>
              <a:gd name="connsiteY24464" fmla="*/ 935628 h 6557032"/>
              <a:gd name="connsiteX24465" fmla="*/ 1259123 w 4610101"/>
              <a:gd name="connsiteY24465" fmla="*/ 930160 h 6557032"/>
              <a:gd name="connsiteX24466" fmla="*/ 1251834 w 4610101"/>
              <a:gd name="connsiteY24466" fmla="*/ 926516 h 6557032"/>
              <a:gd name="connsiteX24467" fmla="*/ 1248189 w 4610101"/>
              <a:gd name="connsiteY24467" fmla="*/ 926516 h 6557032"/>
              <a:gd name="connsiteX24468" fmla="*/ 1240901 w 4610101"/>
              <a:gd name="connsiteY24468" fmla="*/ 928339 h 6557032"/>
              <a:gd name="connsiteX24469" fmla="*/ 1242723 w 4610101"/>
              <a:gd name="connsiteY24469" fmla="*/ 933804 h 6557032"/>
              <a:gd name="connsiteX24470" fmla="*/ 1248189 w 4610101"/>
              <a:gd name="connsiteY24470" fmla="*/ 926516 h 6557032"/>
              <a:gd name="connsiteX24471" fmla="*/ 1204457 w 4610101"/>
              <a:gd name="connsiteY24471" fmla="*/ 926516 h 6557032"/>
              <a:gd name="connsiteX24472" fmla="*/ 1204457 w 4610101"/>
              <a:gd name="connsiteY24472" fmla="*/ 928339 h 6557032"/>
              <a:gd name="connsiteX24473" fmla="*/ 1203282 w 4610101"/>
              <a:gd name="connsiteY24473" fmla="*/ 928730 h 6557032"/>
              <a:gd name="connsiteX24474" fmla="*/ 1199751 w 4610101"/>
              <a:gd name="connsiteY24474" fmla="*/ 929654 h 6557032"/>
              <a:gd name="connsiteX24475" fmla="*/ 756430 w 4610101"/>
              <a:gd name="connsiteY24475" fmla="*/ 926516 h 6557032"/>
              <a:gd name="connsiteX24476" fmla="*/ 747092 w 4610101"/>
              <a:gd name="connsiteY24476" fmla="*/ 930160 h 6557032"/>
              <a:gd name="connsiteX24477" fmla="*/ 748914 w 4610101"/>
              <a:gd name="connsiteY24477" fmla="*/ 931983 h 6557032"/>
              <a:gd name="connsiteX24478" fmla="*/ 752558 w 4610101"/>
              <a:gd name="connsiteY24478" fmla="*/ 933804 h 6557032"/>
              <a:gd name="connsiteX24479" fmla="*/ 761670 w 4610101"/>
              <a:gd name="connsiteY24479" fmla="*/ 933804 h 6557032"/>
              <a:gd name="connsiteX24480" fmla="*/ 756430 w 4610101"/>
              <a:gd name="connsiteY24480" fmla="*/ 926516 h 6557032"/>
              <a:gd name="connsiteX24481" fmla="*/ 688782 w 4610101"/>
              <a:gd name="connsiteY24481" fmla="*/ 926516 h 6557032"/>
              <a:gd name="connsiteX24482" fmla="*/ 674205 w 4610101"/>
              <a:gd name="connsiteY24482" fmla="*/ 937450 h 6557032"/>
              <a:gd name="connsiteX24483" fmla="*/ 688782 w 4610101"/>
              <a:gd name="connsiteY24483" fmla="*/ 941094 h 6557032"/>
              <a:gd name="connsiteX24484" fmla="*/ 688782 w 4610101"/>
              <a:gd name="connsiteY24484" fmla="*/ 926516 h 6557032"/>
              <a:gd name="connsiteX24485" fmla="*/ 597673 w 4610101"/>
              <a:gd name="connsiteY24485" fmla="*/ 926516 h 6557032"/>
              <a:gd name="connsiteX24486" fmla="*/ 612251 w 4610101"/>
              <a:gd name="connsiteY24486" fmla="*/ 939272 h 6557032"/>
              <a:gd name="connsiteX24487" fmla="*/ 597673 w 4610101"/>
              <a:gd name="connsiteY24487" fmla="*/ 926516 h 6557032"/>
              <a:gd name="connsiteX24488" fmla="*/ 386301 w 4610101"/>
              <a:gd name="connsiteY24488" fmla="*/ 926516 h 6557032"/>
              <a:gd name="connsiteX24489" fmla="*/ 393590 w 4610101"/>
              <a:gd name="connsiteY24489" fmla="*/ 933804 h 6557032"/>
              <a:gd name="connsiteX24490" fmla="*/ 391768 w 4610101"/>
              <a:gd name="connsiteY24490" fmla="*/ 928339 h 6557032"/>
              <a:gd name="connsiteX24491" fmla="*/ 386301 w 4610101"/>
              <a:gd name="connsiteY24491" fmla="*/ 926516 h 6557032"/>
              <a:gd name="connsiteX24492" fmla="*/ 327993 w 4610101"/>
              <a:gd name="connsiteY24492" fmla="*/ 926516 h 6557032"/>
              <a:gd name="connsiteX24493" fmla="*/ 333037 w 4610101"/>
              <a:gd name="connsiteY24493" fmla="*/ 932683 h 6557032"/>
              <a:gd name="connsiteX24494" fmla="*/ 331636 w 4610101"/>
              <a:gd name="connsiteY24494" fmla="*/ 931983 h 6557032"/>
              <a:gd name="connsiteX24495" fmla="*/ 337102 w 4610101"/>
              <a:gd name="connsiteY24495" fmla="*/ 939272 h 6557032"/>
              <a:gd name="connsiteX24496" fmla="*/ 329814 w 4610101"/>
              <a:gd name="connsiteY24496" fmla="*/ 939272 h 6557032"/>
              <a:gd name="connsiteX24497" fmla="*/ 377190 w 4610101"/>
              <a:gd name="connsiteY24497" fmla="*/ 952026 h 6557032"/>
              <a:gd name="connsiteX24498" fmla="*/ 338926 w 4610101"/>
              <a:gd name="connsiteY24498" fmla="*/ 935628 h 6557032"/>
              <a:gd name="connsiteX24499" fmla="*/ 335280 w 4610101"/>
              <a:gd name="connsiteY24499" fmla="*/ 933805 h 6557032"/>
              <a:gd name="connsiteX24500" fmla="*/ 344391 w 4610101"/>
              <a:gd name="connsiteY24500" fmla="*/ 931983 h 6557032"/>
              <a:gd name="connsiteX24501" fmla="*/ 327993 w 4610101"/>
              <a:gd name="connsiteY24501" fmla="*/ 926516 h 6557032"/>
              <a:gd name="connsiteX24502" fmla="*/ 291549 w 4610101"/>
              <a:gd name="connsiteY24502" fmla="*/ 926516 h 6557032"/>
              <a:gd name="connsiteX24503" fmla="*/ 295193 w 4610101"/>
              <a:gd name="connsiteY24503" fmla="*/ 931983 h 6557032"/>
              <a:gd name="connsiteX24504" fmla="*/ 291549 w 4610101"/>
              <a:gd name="connsiteY24504" fmla="*/ 926516 h 6557032"/>
              <a:gd name="connsiteX24505" fmla="*/ 218661 w 4610101"/>
              <a:gd name="connsiteY24505" fmla="*/ 926516 h 6557032"/>
              <a:gd name="connsiteX24506" fmla="*/ 247816 w 4610101"/>
              <a:gd name="connsiteY24506" fmla="*/ 953848 h 6557032"/>
              <a:gd name="connsiteX24507" fmla="*/ 238705 w 4610101"/>
              <a:gd name="connsiteY24507" fmla="*/ 941094 h 6557032"/>
              <a:gd name="connsiteX24508" fmla="*/ 218661 w 4610101"/>
              <a:gd name="connsiteY24508" fmla="*/ 926516 h 6557032"/>
              <a:gd name="connsiteX24509" fmla="*/ 3351684 w 4610101"/>
              <a:gd name="connsiteY24509" fmla="*/ 925517 h 6557032"/>
              <a:gd name="connsiteX24510" fmla="*/ 3350978 w 4610101"/>
              <a:gd name="connsiteY24510" fmla="*/ 928339 h 6557032"/>
              <a:gd name="connsiteX24511" fmla="*/ 3350330 w 4610101"/>
              <a:gd name="connsiteY24511" fmla="*/ 926395 h 6557032"/>
              <a:gd name="connsiteX24512" fmla="*/ 2213914 w 4610101"/>
              <a:gd name="connsiteY24512" fmla="*/ 924922 h 6557032"/>
              <a:gd name="connsiteX24513" fmla="*/ 2203009 w 4610101"/>
              <a:gd name="connsiteY24513" fmla="*/ 928339 h 6557032"/>
              <a:gd name="connsiteX24514" fmla="*/ 2212576 w 4610101"/>
              <a:gd name="connsiteY24514" fmla="*/ 934488 h 6557032"/>
              <a:gd name="connsiteX24515" fmla="*/ 2213243 w 4610101"/>
              <a:gd name="connsiteY24515" fmla="*/ 939495 h 6557032"/>
              <a:gd name="connsiteX24516" fmla="*/ 2208248 w 4610101"/>
              <a:gd name="connsiteY24516" fmla="*/ 941094 h 6557032"/>
              <a:gd name="connsiteX24517" fmla="*/ 2206653 w 4610101"/>
              <a:gd name="connsiteY24517" fmla="*/ 937450 h 6557032"/>
              <a:gd name="connsiteX24518" fmla="*/ 2201187 w 4610101"/>
              <a:gd name="connsiteY24518" fmla="*/ 942916 h 6557032"/>
              <a:gd name="connsiteX24519" fmla="*/ 2195720 w 4610101"/>
              <a:gd name="connsiteY24519" fmla="*/ 935628 h 6557032"/>
              <a:gd name="connsiteX24520" fmla="*/ 2199364 w 4610101"/>
              <a:gd name="connsiteY24520" fmla="*/ 933804 h 6557032"/>
              <a:gd name="connsiteX24521" fmla="*/ 2193898 w 4610101"/>
              <a:gd name="connsiteY24521" fmla="*/ 930160 h 6557032"/>
              <a:gd name="connsiteX24522" fmla="*/ 2192076 w 4610101"/>
              <a:gd name="connsiteY24522" fmla="*/ 944738 h 6557032"/>
              <a:gd name="connsiteX24523" fmla="*/ 2208475 w 4610101"/>
              <a:gd name="connsiteY24523" fmla="*/ 948383 h 6557032"/>
              <a:gd name="connsiteX24524" fmla="*/ 2213346 w 4610101"/>
              <a:gd name="connsiteY24524" fmla="*/ 940265 h 6557032"/>
              <a:gd name="connsiteX24525" fmla="*/ 2213942 w 4610101"/>
              <a:gd name="connsiteY24525" fmla="*/ 944738 h 6557032"/>
              <a:gd name="connsiteX24526" fmla="*/ 2228519 w 4610101"/>
              <a:gd name="connsiteY24526" fmla="*/ 939272 h 6557032"/>
              <a:gd name="connsiteX24527" fmla="*/ 2221914 w 4610101"/>
              <a:gd name="connsiteY24527" fmla="*/ 926972 h 6557032"/>
              <a:gd name="connsiteX24528" fmla="*/ 2213914 w 4610101"/>
              <a:gd name="connsiteY24528" fmla="*/ 924922 h 6557032"/>
              <a:gd name="connsiteX24529" fmla="*/ 2526160 w 4610101"/>
              <a:gd name="connsiteY24529" fmla="*/ 924808 h 6557032"/>
              <a:gd name="connsiteX24530" fmla="*/ 2518245 w 4610101"/>
              <a:gd name="connsiteY24530" fmla="*/ 926516 h 6557032"/>
              <a:gd name="connsiteX24531" fmla="*/ 2565621 w 4610101"/>
              <a:gd name="connsiteY24531" fmla="*/ 946560 h 6557032"/>
              <a:gd name="connsiteX24532" fmla="*/ 2549222 w 4610101"/>
              <a:gd name="connsiteY24532" fmla="*/ 931983 h 6557032"/>
              <a:gd name="connsiteX24533" fmla="*/ 2526160 w 4610101"/>
              <a:gd name="connsiteY24533" fmla="*/ 924808 h 6557032"/>
              <a:gd name="connsiteX24534" fmla="*/ 3219782 w 4610101"/>
              <a:gd name="connsiteY24534" fmla="*/ 924695 h 6557032"/>
              <a:gd name="connsiteX24535" fmla="*/ 3201560 w 4610101"/>
              <a:gd name="connsiteY24535" fmla="*/ 941094 h 6557032"/>
              <a:gd name="connsiteX24536" fmla="*/ 3207027 w 4610101"/>
              <a:gd name="connsiteY24536" fmla="*/ 942916 h 6557032"/>
              <a:gd name="connsiteX24537" fmla="*/ 3192449 w 4610101"/>
              <a:gd name="connsiteY24537" fmla="*/ 950204 h 6557032"/>
              <a:gd name="connsiteX24538" fmla="*/ 3190627 w 4610101"/>
              <a:gd name="connsiteY24538" fmla="*/ 959316 h 6557032"/>
              <a:gd name="connsiteX24539" fmla="*/ 3185160 w 4610101"/>
              <a:gd name="connsiteY24539" fmla="*/ 957494 h 6557032"/>
              <a:gd name="connsiteX24540" fmla="*/ 3174227 w 4610101"/>
              <a:gd name="connsiteY24540" fmla="*/ 992115 h 6557032"/>
              <a:gd name="connsiteX24541" fmla="*/ 3168761 w 4610101"/>
              <a:gd name="connsiteY24541" fmla="*/ 993937 h 6557032"/>
              <a:gd name="connsiteX24542" fmla="*/ 3185160 w 4610101"/>
              <a:gd name="connsiteY24542" fmla="*/ 1004870 h 6557032"/>
              <a:gd name="connsiteX24543" fmla="*/ 3192449 w 4610101"/>
              <a:gd name="connsiteY24543" fmla="*/ 999403 h 6557032"/>
              <a:gd name="connsiteX24544" fmla="*/ 3190627 w 4610101"/>
              <a:gd name="connsiteY24544" fmla="*/ 992115 h 6557032"/>
              <a:gd name="connsiteX24545" fmla="*/ 3228893 w 4610101"/>
              <a:gd name="connsiteY24545" fmla="*/ 942916 h 6557032"/>
              <a:gd name="connsiteX24546" fmla="*/ 3241648 w 4610101"/>
              <a:gd name="connsiteY24546" fmla="*/ 930160 h 6557032"/>
              <a:gd name="connsiteX24547" fmla="*/ 3227071 w 4610101"/>
              <a:gd name="connsiteY24547" fmla="*/ 928339 h 6557032"/>
              <a:gd name="connsiteX24548" fmla="*/ 3227071 w 4610101"/>
              <a:gd name="connsiteY24548" fmla="*/ 935628 h 6557032"/>
              <a:gd name="connsiteX24549" fmla="*/ 3219782 w 4610101"/>
              <a:gd name="connsiteY24549" fmla="*/ 924695 h 6557032"/>
              <a:gd name="connsiteX24550" fmla="*/ 2725973 w 4610101"/>
              <a:gd name="connsiteY24550" fmla="*/ 924695 h 6557032"/>
              <a:gd name="connsiteX24551" fmla="*/ 2725745 w 4610101"/>
              <a:gd name="connsiteY24551" fmla="*/ 928339 h 6557032"/>
              <a:gd name="connsiteX24552" fmla="*/ 2729303 w 4610101"/>
              <a:gd name="connsiteY24552" fmla="*/ 931687 h 6557032"/>
              <a:gd name="connsiteX24553" fmla="*/ 2729389 w 4610101"/>
              <a:gd name="connsiteY24553" fmla="*/ 931983 h 6557032"/>
              <a:gd name="connsiteX24554" fmla="*/ 2729617 w 4610101"/>
              <a:gd name="connsiteY24554" fmla="*/ 931983 h 6557032"/>
              <a:gd name="connsiteX24555" fmla="*/ 2729303 w 4610101"/>
              <a:gd name="connsiteY24555" fmla="*/ 931687 h 6557032"/>
              <a:gd name="connsiteX24556" fmla="*/ 2727795 w 4610101"/>
              <a:gd name="connsiteY24556" fmla="*/ 926516 h 6557032"/>
              <a:gd name="connsiteX24557" fmla="*/ 2725973 w 4610101"/>
              <a:gd name="connsiteY24557" fmla="*/ 924695 h 6557032"/>
              <a:gd name="connsiteX24558" fmla="*/ 2469046 w 4610101"/>
              <a:gd name="connsiteY24558" fmla="*/ 924695 h 6557032"/>
              <a:gd name="connsiteX24559" fmla="*/ 2461757 w 4610101"/>
              <a:gd name="connsiteY24559" fmla="*/ 928339 h 6557032"/>
              <a:gd name="connsiteX24560" fmla="*/ 2470868 w 4610101"/>
              <a:gd name="connsiteY24560" fmla="*/ 939272 h 6557032"/>
              <a:gd name="connsiteX24561" fmla="*/ 2469046 w 4610101"/>
              <a:gd name="connsiteY24561" fmla="*/ 924695 h 6557032"/>
              <a:gd name="connsiteX24562" fmla="*/ 1344765 w 4610101"/>
              <a:gd name="connsiteY24562" fmla="*/ 924695 h 6557032"/>
              <a:gd name="connsiteX24563" fmla="*/ 1339299 w 4610101"/>
              <a:gd name="connsiteY24563" fmla="*/ 926516 h 6557032"/>
              <a:gd name="connsiteX24564" fmla="*/ 1326543 w 4610101"/>
              <a:gd name="connsiteY24564" fmla="*/ 944738 h 6557032"/>
              <a:gd name="connsiteX24565" fmla="*/ 1335654 w 4610101"/>
              <a:gd name="connsiteY24565" fmla="*/ 937450 h 6557032"/>
              <a:gd name="connsiteX24566" fmla="*/ 1332009 w 4610101"/>
              <a:gd name="connsiteY24566" fmla="*/ 942916 h 6557032"/>
              <a:gd name="connsiteX24567" fmla="*/ 1341120 w 4610101"/>
              <a:gd name="connsiteY24567" fmla="*/ 937450 h 6557032"/>
              <a:gd name="connsiteX24568" fmla="*/ 1339299 w 4610101"/>
              <a:gd name="connsiteY24568" fmla="*/ 937450 h 6557032"/>
              <a:gd name="connsiteX24569" fmla="*/ 1341120 w 4610101"/>
              <a:gd name="connsiteY24569" fmla="*/ 935628 h 6557032"/>
              <a:gd name="connsiteX24570" fmla="*/ 1339299 w 4610101"/>
              <a:gd name="connsiteY24570" fmla="*/ 930160 h 6557032"/>
              <a:gd name="connsiteX24571" fmla="*/ 1341120 w 4610101"/>
              <a:gd name="connsiteY24571" fmla="*/ 931983 h 6557032"/>
              <a:gd name="connsiteX24572" fmla="*/ 1344765 w 4610101"/>
              <a:gd name="connsiteY24572" fmla="*/ 924695 h 6557032"/>
              <a:gd name="connsiteX24573" fmla="*/ 1335654 w 4610101"/>
              <a:gd name="connsiteY24573" fmla="*/ 924695 h 6557032"/>
              <a:gd name="connsiteX24574" fmla="*/ 1330188 w 4610101"/>
              <a:gd name="connsiteY24574" fmla="*/ 930160 h 6557032"/>
              <a:gd name="connsiteX24575" fmla="*/ 1335654 w 4610101"/>
              <a:gd name="connsiteY24575" fmla="*/ 924695 h 6557032"/>
              <a:gd name="connsiteX24576" fmla="*/ 1239080 w 4610101"/>
              <a:gd name="connsiteY24576" fmla="*/ 924695 h 6557032"/>
              <a:gd name="connsiteX24577" fmla="*/ 1235434 w 4610101"/>
              <a:gd name="connsiteY24577" fmla="*/ 926516 h 6557032"/>
              <a:gd name="connsiteX24578" fmla="*/ 1239080 w 4610101"/>
              <a:gd name="connsiteY24578" fmla="*/ 924695 h 6557032"/>
              <a:gd name="connsiteX24579" fmla="*/ 867355 w 4610101"/>
              <a:gd name="connsiteY24579" fmla="*/ 924695 h 6557032"/>
              <a:gd name="connsiteX24580" fmla="*/ 863711 w 4610101"/>
              <a:gd name="connsiteY24580" fmla="*/ 930160 h 6557032"/>
              <a:gd name="connsiteX24581" fmla="*/ 869177 w 4610101"/>
              <a:gd name="connsiteY24581" fmla="*/ 935628 h 6557032"/>
              <a:gd name="connsiteX24582" fmla="*/ 867355 w 4610101"/>
              <a:gd name="connsiteY24582" fmla="*/ 931983 h 6557032"/>
              <a:gd name="connsiteX24583" fmla="*/ 872822 w 4610101"/>
              <a:gd name="connsiteY24583" fmla="*/ 933804 h 6557032"/>
              <a:gd name="connsiteX24584" fmla="*/ 874644 w 4610101"/>
              <a:gd name="connsiteY24584" fmla="*/ 941094 h 6557032"/>
              <a:gd name="connsiteX24585" fmla="*/ 878288 w 4610101"/>
              <a:gd name="connsiteY24585" fmla="*/ 939272 h 6557032"/>
              <a:gd name="connsiteX24586" fmla="*/ 876466 w 4610101"/>
              <a:gd name="connsiteY24586" fmla="*/ 930160 h 6557032"/>
              <a:gd name="connsiteX24587" fmla="*/ 867355 w 4610101"/>
              <a:gd name="connsiteY24587" fmla="*/ 924695 h 6557032"/>
              <a:gd name="connsiteX24588" fmla="*/ 665094 w 4610101"/>
              <a:gd name="connsiteY24588" fmla="*/ 924695 h 6557032"/>
              <a:gd name="connsiteX24589" fmla="*/ 654161 w 4610101"/>
              <a:gd name="connsiteY24589" fmla="*/ 930160 h 6557032"/>
              <a:gd name="connsiteX24590" fmla="*/ 665094 w 4610101"/>
              <a:gd name="connsiteY24590" fmla="*/ 924695 h 6557032"/>
              <a:gd name="connsiteX24591" fmla="*/ 373546 w 4610101"/>
              <a:gd name="connsiteY24591" fmla="*/ 924695 h 6557032"/>
              <a:gd name="connsiteX24592" fmla="*/ 388123 w 4610101"/>
              <a:gd name="connsiteY24592" fmla="*/ 937450 h 6557032"/>
              <a:gd name="connsiteX24593" fmla="*/ 373546 w 4610101"/>
              <a:gd name="connsiteY24593" fmla="*/ 924695 h 6557032"/>
              <a:gd name="connsiteX24594" fmla="*/ 2279250 w 4610101"/>
              <a:gd name="connsiteY24594" fmla="*/ 924622 h 6557032"/>
              <a:gd name="connsiteX24595" fmla="*/ 2279540 w 4610101"/>
              <a:gd name="connsiteY24595" fmla="*/ 924695 h 6557032"/>
              <a:gd name="connsiteX24596" fmla="*/ 2279412 w 4610101"/>
              <a:gd name="connsiteY24596" fmla="*/ 925047 h 6557032"/>
              <a:gd name="connsiteX24597" fmla="*/ 1376653 w 4610101"/>
              <a:gd name="connsiteY24597" fmla="*/ 924239 h 6557032"/>
              <a:gd name="connsiteX24598" fmla="*/ 1379386 w 4610101"/>
              <a:gd name="connsiteY24598" fmla="*/ 924695 h 6557032"/>
              <a:gd name="connsiteX24599" fmla="*/ 1375965 w 4610101"/>
              <a:gd name="connsiteY24599" fmla="*/ 924813 h 6557032"/>
              <a:gd name="connsiteX24600" fmla="*/ 651427 w 4610101"/>
              <a:gd name="connsiteY24600" fmla="*/ 923555 h 6557032"/>
              <a:gd name="connsiteX24601" fmla="*/ 646872 w 4610101"/>
              <a:gd name="connsiteY24601" fmla="*/ 926516 h 6557032"/>
              <a:gd name="connsiteX24602" fmla="*/ 655983 w 4610101"/>
              <a:gd name="connsiteY24602" fmla="*/ 924695 h 6557032"/>
              <a:gd name="connsiteX24603" fmla="*/ 651427 w 4610101"/>
              <a:gd name="connsiteY24603" fmla="*/ 923555 h 6557032"/>
              <a:gd name="connsiteX24604" fmla="*/ 3343690 w 4610101"/>
              <a:gd name="connsiteY24604" fmla="*/ 922872 h 6557032"/>
              <a:gd name="connsiteX24605" fmla="*/ 3338223 w 4610101"/>
              <a:gd name="connsiteY24605" fmla="*/ 930160 h 6557032"/>
              <a:gd name="connsiteX24606" fmla="*/ 3341867 w 4610101"/>
              <a:gd name="connsiteY24606" fmla="*/ 931983 h 6557032"/>
              <a:gd name="connsiteX24607" fmla="*/ 3343690 w 4610101"/>
              <a:gd name="connsiteY24607" fmla="*/ 922872 h 6557032"/>
              <a:gd name="connsiteX24608" fmla="*/ 1293744 w 4610101"/>
              <a:gd name="connsiteY24608" fmla="*/ 922872 h 6557032"/>
              <a:gd name="connsiteX24609" fmla="*/ 1270056 w 4610101"/>
              <a:gd name="connsiteY24609" fmla="*/ 933804 h 6557032"/>
              <a:gd name="connsiteX24610" fmla="*/ 1271878 w 4610101"/>
              <a:gd name="connsiteY24610" fmla="*/ 937450 h 6557032"/>
              <a:gd name="connsiteX24611" fmla="*/ 1293744 w 4610101"/>
              <a:gd name="connsiteY24611" fmla="*/ 922872 h 6557032"/>
              <a:gd name="connsiteX24612" fmla="*/ 481054 w 4610101"/>
              <a:gd name="connsiteY24612" fmla="*/ 922872 h 6557032"/>
              <a:gd name="connsiteX24613" fmla="*/ 491987 w 4610101"/>
              <a:gd name="connsiteY24613" fmla="*/ 928339 h 6557032"/>
              <a:gd name="connsiteX24614" fmla="*/ 481054 w 4610101"/>
              <a:gd name="connsiteY24614" fmla="*/ 922872 h 6557032"/>
              <a:gd name="connsiteX24615" fmla="*/ 477410 w 4610101"/>
              <a:gd name="connsiteY24615" fmla="*/ 922872 h 6557032"/>
              <a:gd name="connsiteX24616" fmla="*/ 479232 w 4610101"/>
              <a:gd name="connsiteY24616" fmla="*/ 930160 h 6557032"/>
              <a:gd name="connsiteX24617" fmla="*/ 480371 w 4610101"/>
              <a:gd name="connsiteY24617" fmla="*/ 935627 h 6557032"/>
              <a:gd name="connsiteX24618" fmla="*/ 487350 w 4610101"/>
              <a:gd name="connsiteY24618" fmla="*/ 935628 h 6557032"/>
              <a:gd name="connsiteX24619" fmla="*/ 487433 w 4610101"/>
              <a:gd name="connsiteY24619" fmla="*/ 935855 h 6557032"/>
              <a:gd name="connsiteX24620" fmla="*/ 495632 w 4610101"/>
              <a:gd name="connsiteY24620" fmla="*/ 939272 h 6557032"/>
              <a:gd name="connsiteX24621" fmla="*/ 490165 w 4610101"/>
              <a:gd name="connsiteY24621" fmla="*/ 931983 h 6557032"/>
              <a:gd name="connsiteX24622" fmla="*/ 497454 w 4610101"/>
              <a:gd name="connsiteY24622" fmla="*/ 931983 h 6557032"/>
              <a:gd name="connsiteX24623" fmla="*/ 484700 w 4610101"/>
              <a:gd name="connsiteY24623" fmla="*/ 928339 h 6557032"/>
              <a:gd name="connsiteX24624" fmla="*/ 486522 w 4610101"/>
              <a:gd name="connsiteY24624" fmla="*/ 933351 h 6557032"/>
              <a:gd name="connsiteX24625" fmla="*/ 484699 w 4610101"/>
              <a:gd name="connsiteY24625" fmla="*/ 931072 h 6557032"/>
              <a:gd name="connsiteX24626" fmla="*/ 481054 w 4610101"/>
              <a:gd name="connsiteY24626" fmla="*/ 926516 h 6557032"/>
              <a:gd name="connsiteX24627" fmla="*/ 481054 w 4610101"/>
              <a:gd name="connsiteY24627" fmla="*/ 924695 h 6557032"/>
              <a:gd name="connsiteX24628" fmla="*/ 477410 w 4610101"/>
              <a:gd name="connsiteY24628" fmla="*/ 922872 h 6557032"/>
              <a:gd name="connsiteX24629" fmla="*/ 457367 w 4610101"/>
              <a:gd name="connsiteY24629" fmla="*/ 922872 h 6557032"/>
              <a:gd name="connsiteX24630" fmla="*/ 453722 w 4610101"/>
              <a:gd name="connsiteY24630" fmla="*/ 924695 h 6557032"/>
              <a:gd name="connsiteX24631" fmla="*/ 455544 w 4610101"/>
              <a:gd name="connsiteY24631" fmla="*/ 930160 h 6557032"/>
              <a:gd name="connsiteX24632" fmla="*/ 457367 w 4610101"/>
              <a:gd name="connsiteY24632" fmla="*/ 922872 h 6557032"/>
              <a:gd name="connsiteX24633" fmla="*/ 433678 w 4610101"/>
              <a:gd name="connsiteY24633" fmla="*/ 922872 h 6557032"/>
              <a:gd name="connsiteX24634" fmla="*/ 442789 w 4610101"/>
              <a:gd name="connsiteY24634" fmla="*/ 928339 h 6557032"/>
              <a:gd name="connsiteX24635" fmla="*/ 433678 w 4610101"/>
              <a:gd name="connsiteY24635" fmla="*/ 922872 h 6557032"/>
              <a:gd name="connsiteX24636" fmla="*/ 426389 w 4610101"/>
              <a:gd name="connsiteY24636" fmla="*/ 922872 h 6557032"/>
              <a:gd name="connsiteX24637" fmla="*/ 431856 w 4610101"/>
              <a:gd name="connsiteY24637" fmla="*/ 924695 h 6557032"/>
              <a:gd name="connsiteX24638" fmla="*/ 426389 w 4610101"/>
              <a:gd name="connsiteY24638" fmla="*/ 922872 h 6557032"/>
              <a:gd name="connsiteX24639" fmla="*/ 311592 w 4610101"/>
              <a:gd name="connsiteY24639" fmla="*/ 922872 h 6557032"/>
              <a:gd name="connsiteX24640" fmla="*/ 320703 w 4610101"/>
              <a:gd name="connsiteY24640" fmla="*/ 930160 h 6557032"/>
              <a:gd name="connsiteX24641" fmla="*/ 311592 w 4610101"/>
              <a:gd name="connsiteY24641" fmla="*/ 922872 h 6557032"/>
              <a:gd name="connsiteX24642" fmla="*/ 2213942 w 4610101"/>
              <a:gd name="connsiteY24642" fmla="*/ 921049 h 6557032"/>
              <a:gd name="connsiteX24643" fmla="*/ 2219408 w 4610101"/>
              <a:gd name="connsiteY24643" fmla="*/ 921049 h 6557032"/>
              <a:gd name="connsiteX24644" fmla="*/ 2213942 w 4610101"/>
              <a:gd name="connsiteY24644" fmla="*/ 921049 h 6557032"/>
              <a:gd name="connsiteX24645" fmla="*/ 1051395 w 4610101"/>
              <a:gd name="connsiteY24645" fmla="*/ 921049 h 6557032"/>
              <a:gd name="connsiteX24646" fmla="*/ 1036818 w 4610101"/>
              <a:gd name="connsiteY24646" fmla="*/ 941094 h 6557032"/>
              <a:gd name="connsiteX24647" fmla="*/ 1047750 w 4610101"/>
              <a:gd name="connsiteY24647" fmla="*/ 939272 h 6557032"/>
              <a:gd name="connsiteX24648" fmla="*/ 1051395 w 4610101"/>
              <a:gd name="connsiteY24648" fmla="*/ 921049 h 6557032"/>
              <a:gd name="connsiteX24649" fmla="*/ 878288 w 4610101"/>
              <a:gd name="connsiteY24649" fmla="*/ 921049 h 6557032"/>
              <a:gd name="connsiteX24650" fmla="*/ 874644 w 4610101"/>
              <a:gd name="connsiteY24650" fmla="*/ 922872 h 6557032"/>
              <a:gd name="connsiteX24651" fmla="*/ 883755 w 4610101"/>
              <a:gd name="connsiteY24651" fmla="*/ 930160 h 6557032"/>
              <a:gd name="connsiteX24652" fmla="*/ 878288 w 4610101"/>
              <a:gd name="connsiteY24652" fmla="*/ 921049 h 6557032"/>
              <a:gd name="connsiteX24653" fmla="*/ 635939 w 4610101"/>
              <a:gd name="connsiteY24653" fmla="*/ 921049 h 6557032"/>
              <a:gd name="connsiteX24654" fmla="*/ 635494 w 4610101"/>
              <a:gd name="connsiteY24654" fmla="*/ 924728 h 6557032"/>
              <a:gd name="connsiteX24655" fmla="*/ 623867 w 4610101"/>
              <a:gd name="connsiteY24655" fmla="*/ 925605 h 6557032"/>
              <a:gd name="connsiteX24656" fmla="*/ 615895 w 4610101"/>
              <a:gd name="connsiteY24656" fmla="*/ 931983 h 6557032"/>
              <a:gd name="connsiteX24657" fmla="*/ 619539 w 4610101"/>
              <a:gd name="connsiteY24657" fmla="*/ 931983 h 6557032"/>
              <a:gd name="connsiteX24658" fmla="*/ 617717 w 4610101"/>
              <a:gd name="connsiteY24658" fmla="*/ 937450 h 6557032"/>
              <a:gd name="connsiteX24659" fmla="*/ 623185 w 4610101"/>
              <a:gd name="connsiteY24659" fmla="*/ 935628 h 6557032"/>
              <a:gd name="connsiteX24660" fmla="*/ 619539 w 4610101"/>
              <a:gd name="connsiteY24660" fmla="*/ 931983 h 6557032"/>
              <a:gd name="connsiteX24661" fmla="*/ 629333 w 4610101"/>
              <a:gd name="connsiteY24661" fmla="*/ 931983 h 6557032"/>
              <a:gd name="connsiteX24662" fmla="*/ 635113 w 4610101"/>
              <a:gd name="connsiteY24662" fmla="*/ 927883 h 6557032"/>
              <a:gd name="connsiteX24663" fmla="*/ 635494 w 4610101"/>
              <a:gd name="connsiteY24663" fmla="*/ 924728 h 6557032"/>
              <a:gd name="connsiteX24664" fmla="*/ 635939 w 4610101"/>
              <a:gd name="connsiteY24664" fmla="*/ 924695 h 6557032"/>
              <a:gd name="connsiteX24665" fmla="*/ 635939 w 4610101"/>
              <a:gd name="connsiteY24665" fmla="*/ 921049 h 6557032"/>
              <a:gd name="connsiteX24666" fmla="*/ 3239826 w 4610101"/>
              <a:gd name="connsiteY24666" fmla="*/ 919227 h 6557032"/>
              <a:gd name="connsiteX24667" fmla="*/ 3239826 w 4610101"/>
              <a:gd name="connsiteY24667" fmla="*/ 928339 h 6557032"/>
              <a:gd name="connsiteX24668" fmla="*/ 3239826 w 4610101"/>
              <a:gd name="connsiteY24668" fmla="*/ 919227 h 6557032"/>
              <a:gd name="connsiteX24669" fmla="*/ 2321450 w 4610101"/>
              <a:gd name="connsiteY24669" fmla="*/ 919227 h 6557032"/>
              <a:gd name="connsiteX24670" fmla="*/ 2323272 w 4610101"/>
              <a:gd name="connsiteY24670" fmla="*/ 928339 h 6557032"/>
              <a:gd name="connsiteX24671" fmla="*/ 2319628 w 4610101"/>
              <a:gd name="connsiteY24671" fmla="*/ 928339 h 6557032"/>
              <a:gd name="connsiteX24672" fmla="*/ 2332383 w 4610101"/>
              <a:gd name="connsiteY24672" fmla="*/ 941094 h 6557032"/>
              <a:gd name="connsiteX24673" fmla="*/ 2321450 w 4610101"/>
              <a:gd name="connsiteY24673" fmla="*/ 919227 h 6557032"/>
              <a:gd name="connsiteX24674" fmla="*/ 2168387 w 4610101"/>
              <a:gd name="connsiteY24674" fmla="*/ 919227 h 6557032"/>
              <a:gd name="connsiteX24675" fmla="*/ 2164743 w 4610101"/>
              <a:gd name="connsiteY24675" fmla="*/ 930160 h 6557032"/>
              <a:gd name="connsiteX24676" fmla="*/ 2172032 w 4610101"/>
              <a:gd name="connsiteY24676" fmla="*/ 924695 h 6557032"/>
              <a:gd name="connsiteX24677" fmla="*/ 2170210 w 4610101"/>
              <a:gd name="connsiteY24677" fmla="*/ 926516 h 6557032"/>
              <a:gd name="connsiteX24678" fmla="*/ 2168387 w 4610101"/>
              <a:gd name="connsiteY24678" fmla="*/ 919227 h 6557032"/>
              <a:gd name="connsiteX24679" fmla="*/ 1228146 w 4610101"/>
              <a:gd name="connsiteY24679" fmla="*/ 919227 h 6557032"/>
              <a:gd name="connsiteX24680" fmla="*/ 1217213 w 4610101"/>
              <a:gd name="connsiteY24680" fmla="*/ 930160 h 6557032"/>
              <a:gd name="connsiteX24681" fmla="*/ 1228146 w 4610101"/>
              <a:gd name="connsiteY24681" fmla="*/ 919227 h 6557032"/>
              <a:gd name="connsiteX24682" fmla="*/ 1124282 w 4610101"/>
              <a:gd name="connsiteY24682" fmla="*/ 919227 h 6557032"/>
              <a:gd name="connsiteX24683" fmla="*/ 1122699 w 4610101"/>
              <a:gd name="connsiteY24683" fmla="*/ 927140 h 6557032"/>
              <a:gd name="connsiteX24684" fmla="*/ 1121932 w 4610101"/>
              <a:gd name="connsiteY24684" fmla="*/ 927546 h 6557032"/>
              <a:gd name="connsiteX24685" fmla="*/ 1118815 w 4610101"/>
              <a:gd name="connsiteY24685" fmla="*/ 922872 h 6557032"/>
              <a:gd name="connsiteX24686" fmla="*/ 1120637 w 4610101"/>
              <a:gd name="connsiteY24686" fmla="*/ 921049 h 6557032"/>
              <a:gd name="connsiteX24687" fmla="*/ 1095127 w 4610101"/>
              <a:gd name="connsiteY24687" fmla="*/ 935628 h 6557032"/>
              <a:gd name="connsiteX24688" fmla="*/ 1086016 w 4610101"/>
              <a:gd name="connsiteY24688" fmla="*/ 928339 h 6557032"/>
              <a:gd name="connsiteX24689" fmla="*/ 1080711 w 4610101"/>
              <a:gd name="connsiteY24689" fmla="*/ 932506 h 6557032"/>
              <a:gd name="connsiteX24690" fmla="*/ 1081005 w 4610101"/>
              <a:gd name="connsiteY24690" fmla="*/ 930160 h 6557032"/>
              <a:gd name="connsiteX24691" fmla="*/ 1078727 w 4610101"/>
              <a:gd name="connsiteY24691" fmla="*/ 926516 h 6557032"/>
              <a:gd name="connsiteX24692" fmla="*/ 1080549 w 4610101"/>
              <a:gd name="connsiteY24692" fmla="*/ 924695 h 6557032"/>
              <a:gd name="connsiteX24693" fmla="*/ 1065972 w 4610101"/>
              <a:gd name="connsiteY24693" fmla="*/ 933804 h 6557032"/>
              <a:gd name="connsiteX24694" fmla="*/ 1076905 w 4610101"/>
              <a:gd name="connsiteY24694" fmla="*/ 933804 h 6557032"/>
              <a:gd name="connsiteX24695" fmla="*/ 1075083 w 4610101"/>
              <a:gd name="connsiteY24695" fmla="*/ 928339 h 6557032"/>
              <a:gd name="connsiteX24696" fmla="*/ 1078499 w 4610101"/>
              <a:gd name="connsiteY24696" fmla="*/ 931072 h 6557032"/>
              <a:gd name="connsiteX24697" fmla="*/ 1079996 w 4610101"/>
              <a:gd name="connsiteY24697" fmla="*/ 933068 h 6557032"/>
              <a:gd name="connsiteX24698" fmla="*/ 1079638 w 4610101"/>
              <a:gd name="connsiteY24698" fmla="*/ 933350 h 6557032"/>
              <a:gd name="connsiteX24699" fmla="*/ 1078727 w 4610101"/>
              <a:gd name="connsiteY24699" fmla="*/ 941094 h 6557032"/>
              <a:gd name="connsiteX24700" fmla="*/ 1100593 w 4610101"/>
              <a:gd name="connsiteY24700" fmla="*/ 941094 h 6557032"/>
              <a:gd name="connsiteX24701" fmla="*/ 1116993 w 4610101"/>
              <a:gd name="connsiteY24701" fmla="*/ 930160 h 6557032"/>
              <a:gd name="connsiteX24702" fmla="*/ 1121932 w 4610101"/>
              <a:gd name="connsiteY24702" fmla="*/ 927546 h 6557032"/>
              <a:gd name="connsiteX24703" fmla="*/ 1122459 w 4610101"/>
              <a:gd name="connsiteY24703" fmla="*/ 928339 h 6557032"/>
              <a:gd name="connsiteX24704" fmla="*/ 1122699 w 4610101"/>
              <a:gd name="connsiteY24704" fmla="*/ 927140 h 6557032"/>
              <a:gd name="connsiteX24705" fmla="*/ 1124737 w 4610101"/>
              <a:gd name="connsiteY24705" fmla="*/ 926061 h 6557032"/>
              <a:gd name="connsiteX24706" fmla="*/ 1124282 w 4610101"/>
              <a:gd name="connsiteY24706" fmla="*/ 919227 h 6557032"/>
              <a:gd name="connsiteX24707" fmla="*/ 701537 w 4610101"/>
              <a:gd name="connsiteY24707" fmla="*/ 919227 h 6557032"/>
              <a:gd name="connsiteX24708" fmla="*/ 692426 w 4610101"/>
              <a:gd name="connsiteY24708" fmla="*/ 924695 h 6557032"/>
              <a:gd name="connsiteX24709" fmla="*/ 692426 w 4610101"/>
              <a:gd name="connsiteY24709" fmla="*/ 942916 h 6557032"/>
              <a:gd name="connsiteX24710" fmla="*/ 712470 w 4610101"/>
              <a:gd name="connsiteY24710" fmla="*/ 922872 h 6557032"/>
              <a:gd name="connsiteX24711" fmla="*/ 701537 w 4610101"/>
              <a:gd name="connsiteY24711" fmla="*/ 919227 h 6557032"/>
              <a:gd name="connsiteX24712" fmla="*/ 608606 w 4610101"/>
              <a:gd name="connsiteY24712" fmla="*/ 919227 h 6557032"/>
              <a:gd name="connsiteX24713" fmla="*/ 604963 w 4610101"/>
              <a:gd name="connsiteY24713" fmla="*/ 921049 h 6557032"/>
              <a:gd name="connsiteX24714" fmla="*/ 608606 w 4610101"/>
              <a:gd name="connsiteY24714" fmla="*/ 919227 h 6557032"/>
              <a:gd name="connsiteX24715" fmla="*/ 499276 w 4610101"/>
              <a:gd name="connsiteY24715" fmla="*/ 919227 h 6557032"/>
              <a:gd name="connsiteX24716" fmla="*/ 495632 w 4610101"/>
              <a:gd name="connsiteY24716" fmla="*/ 921049 h 6557032"/>
              <a:gd name="connsiteX24717" fmla="*/ 501098 w 4610101"/>
              <a:gd name="connsiteY24717" fmla="*/ 922872 h 6557032"/>
              <a:gd name="connsiteX24718" fmla="*/ 499276 w 4610101"/>
              <a:gd name="connsiteY24718" fmla="*/ 919227 h 6557032"/>
              <a:gd name="connsiteX24719" fmla="*/ 300660 w 4610101"/>
              <a:gd name="connsiteY24719" fmla="*/ 919227 h 6557032"/>
              <a:gd name="connsiteX24720" fmla="*/ 306126 w 4610101"/>
              <a:gd name="connsiteY24720" fmla="*/ 931983 h 6557032"/>
              <a:gd name="connsiteX24721" fmla="*/ 304303 w 4610101"/>
              <a:gd name="connsiteY24721" fmla="*/ 922872 h 6557032"/>
              <a:gd name="connsiteX24722" fmla="*/ 300660 w 4610101"/>
              <a:gd name="connsiteY24722" fmla="*/ 919227 h 6557032"/>
              <a:gd name="connsiteX24723" fmla="*/ 2618009 w 4610101"/>
              <a:gd name="connsiteY24723" fmla="*/ 918544 h 6557032"/>
              <a:gd name="connsiteX24724" fmla="*/ 2614820 w 4610101"/>
              <a:gd name="connsiteY24724" fmla="*/ 922872 h 6557032"/>
              <a:gd name="connsiteX24725" fmla="*/ 2623931 w 4610101"/>
              <a:gd name="connsiteY24725" fmla="*/ 921049 h 6557032"/>
              <a:gd name="connsiteX24726" fmla="*/ 2618009 w 4610101"/>
              <a:gd name="connsiteY24726" fmla="*/ 918544 h 6557032"/>
              <a:gd name="connsiteX24727" fmla="*/ 3365556 w 4610101"/>
              <a:gd name="connsiteY24727" fmla="*/ 918129 h 6557032"/>
              <a:gd name="connsiteX24728" fmla="*/ 3365556 w 4610101"/>
              <a:gd name="connsiteY24728" fmla="*/ 919227 h 6557032"/>
              <a:gd name="connsiteX24729" fmla="*/ 3365224 w 4610101"/>
              <a:gd name="connsiteY24729" fmla="*/ 918229 h 6557032"/>
              <a:gd name="connsiteX24730" fmla="*/ 414766 w 4610101"/>
              <a:gd name="connsiteY24730" fmla="*/ 918046 h 6557032"/>
              <a:gd name="connsiteX24731" fmla="*/ 419100 w 4610101"/>
              <a:gd name="connsiteY24731" fmla="*/ 919227 h 6557032"/>
              <a:gd name="connsiteX24732" fmla="*/ 415193 w 4610101"/>
              <a:gd name="connsiteY24732" fmla="*/ 918401 h 6557032"/>
              <a:gd name="connsiteX24733" fmla="*/ 1991636 w 4610101"/>
              <a:gd name="connsiteY24733" fmla="*/ 917502 h 6557032"/>
              <a:gd name="connsiteX24734" fmla="*/ 2006214 w 4610101"/>
              <a:gd name="connsiteY24734" fmla="*/ 930258 h 6557032"/>
              <a:gd name="connsiteX24735" fmla="*/ 1997103 w 4610101"/>
              <a:gd name="connsiteY24735" fmla="*/ 937547 h 6557032"/>
              <a:gd name="connsiteX24736" fmla="*/ 1982525 w 4610101"/>
              <a:gd name="connsiteY24736" fmla="*/ 932081 h 6557032"/>
              <a:gd name="connsiteX24737" fmla="*/ 134841 w 4610101"/>
              <a:gd name="connsiteY24737" fmla="*/ 917447 h 6557032"/>
              <a:gd name="connsiteX24738" fmla="*/ 140308 w 4610101"/>
              <a:gd name="connsiteY24738" fmla="*/ 922915 h 6557032"/>
              <a:gd name="connsiteX24739" fmla="*/ 134841 w 4610101"/>
              <a:gd name="connsiteY24739" fmla="*/ 919269 h 6557032"/>
              <a:gd name="connsiteX24740" fmla="*/ 134841 w 4610101"/>
              <a:gd name="connsiteY24740" fmla="*/ 918055 h 6557032"/>
              <a:gd name="connsiteX24741" fmla="*/ 3412932 w 4610101"/>
              <a:gd name="connsiteY24741" fmla="*/ 917405 h 6557032"/>
              <a:gd name="connsiteX24742" fmla="*/ 3409288 w 4610101"/>
              <a:gd name="connsiteY24742" fmla="*/ 928339 h 6557032"/>
              <a:gd name="connsiteX24743" fmla="*/ 3412932 w 4610101"/>
              <a:gd name="connsiteY24743" fmla="*/ 917405 h 6557032"/>
              <a:gd name="connsiteX24744" fmla="*/ 408167 w 4610101"/>
              <a:gd name="connsiteY24744" fmla="*/ 917405 h 6557032"/>
              <a:gd name="connsiteX24745" fmla="*/ 415456 w 4610101"/>
              <a:gd name="connsiteY24745" fmla="*/ 928339 h 6557032"/>
              <a:gd name="connsiteX24746" fmla="*/ 411812 w 4610101"/>
              <a:gd name="connsiteY24746" fmla="*/ 922872 h 6557032"/>
              <a:gd name="connsiteX24747" fmla="*/ 424567 w 4610101"/>
              <a:gd name="connsiteY24747" fmla="*/ 928339 h 6557032"/>
              <a:gd name="connsiteX24748" fmla="*/ 408167 w 4610101"/>
              <a:gd name="connsiteY24748" fmla="*/ 917405 h 6557032"/>
              <a:gd name="connsiteX24749" fmla="*/ 315236 w 4610101"/>
              <a:gd name="connsiteY24749" fmla="*/ 917405 h 6557032"/>
              <a:gd name="connsiteX24750" fmla="*/ 338926 w 4610101"/>
              <a:gd name="connsiteY24750" fmla="*/ 926516 h 6557032"/>
              <a:gd name="connsiteX24751" fmla="*/ 315236 w 4610101"/>
              <a:gd name="connsiteY24751" fmla="*/ 917405 h 6557032"/>
              <a:gd name="connsiteX24752" fmla="*/ 291549 w 4610101"/>
              <a:gd name="connsiteY24752" fmla="*/ 917405 h 6557032"/>
              <a:gd name="connsiteX24753" fmla="*/ 289726 w 4610101"/>
              <a:gd name="connsiteY24753" fmla="*/ 921049 h 6557032"/>
              <a:gd name="connsiteX24754" fmla="*/ 298837 w 4610101"/>
              <a:gd name="connsiteY24754" fmla="*/ 930160 h 6557032"/>
              <a:gd name="connsiteX24755" fmla="*/ 298609 w 4610101"/>
              <a:gd name="connsiteY24755" fmla="*/ 923783 h 6557032"/>
              <a:gd name="connsiteX24756" fmla="*/ 296129 w 4610101"/>
              <a:gd name="connsiteY24756" fmla="*/ 921543 h 6557032"/>
              <a:gd name="connsiteX24757" fmla="*/ 3359449 w 4610101"/>
              <a:gd name="connsiteY24757" fmla="*/ 917307 h 6557032"/>
              <a:gd name="connsiteX24758" fmla="*/ 3360089 w 4610101"/>
              <a:gd name="connsiteY24758" fmla="*/ 919227 h 6557032"/>
              <a:gd name="connsiteX24759" fmla="*/ 3359005 w 4610101"/>
              <a:gd name="connsiteY24759" fmla="*/ 918714 h 6557032"/>
              <a:gd name="connsiteX24760" fmla="*/ 413697 w 4610101"/>
              <a:gd name="connsiteY24760" fmla="*/ 917154 h 6557032"/>
              <a:gd name="connsiteX24761" fmla="*/ 414766 w 4610101"/>
              <a:gd name="connsiteY24761" fmla="*/ 918046 h 6557032"/>
              <a:gd name="connsiteX24762" fmla="*/ 414089 w 4610101"/>
              <a:gd name="connsiteY24762" fmla="*/ 917861 h 6557032"/>
              <a:gd name="connsiteX24763" fmla="*/ 885576 w 4610101"/>
              <a:gd name="connsiteY24763" fmla="*/ 915638 h 6557032"/>
              <a:gd name="connsiteX24764" fmla="*/ 889222 w 4610101"/>
              <a:gd name="connsiteY24764" fmla="*/ 917461 h 6557032"/>
              <a:gd name="connsiteX24765" fmla="*/ 883754 w 4610101"/>
              <a:gd name="connsiteY24765" fmla="*/ 917461 h 6557032"/>
              <a:gd name="connsiteX24766" fmla="*/ 885576 w 4610101"/>
              <a:gd name="connsiteY24766" fmla="*/ 915638 h 6557032"/>
              <a:gd name="connsiteX24767" fmla="*/ 1342942 w 4610101"/>
              <a:gd name="connsiteY24767" fmla="*/ 915583 h 6557032"/>
              <a:gd name="connsiteX24768" fmla="*/ 1333832 w 4610101"/>
              <a:gd name="connsiteY24768" fmla="*/ 921049 h 6557032"/>
              <a:gd name="connsiteX24769" fmla="*/ 1337476 w 4610101"/>
              <a:gd name="connsiteY24769" fmla="*/ 919227 h 6557032"/>
              <a:gd name="connsiteX24770" fmla="*/ 1342942 w 4610101"/>
              <a:gd name="connsiteY24770" fmla="*/ 921049 h 6557032"/>
              <a:gd name="connsiteX24771" fmla="*/ 1342942 w 4610101"/>
              <a:gd name="connsiteY24771" fmla="*/ 915583 h 6557032"/>
              <a:gd name="connsiteX24772" fmla="*/ 1306499 w 4610101"/>
              <a:gd name="connsiteY24772" fmla="*/ 915583 h 6557032"/>
              <a:gd name="connsiteX24773" fmla="*/ 1297388 w 4610101"/>
              <a:gd name="connsiteY24773" fmla="*/ 928339 h 6557032"/>
              <a:gd name="connsiteX24774" fmla="*/ 1297271 w 4610101"/>
              <a:gd name="connsiteY24774" fmla="*/ 925640 h 6557032"/>
              <a:gd name="connsiteX24775" fmla="*/ 736159 w 4610101"/>
              <a:gd name="connsiteY24775" fmla="*/ 915583 h 6557032"/>
              <a:gd name="connsiteX24776" fmla="*/ 716115 w 4610101"/>
              <a:gd name="connsiteY24776" fmla="*/ 921049 h 6557032"/>
              <a:gd name="connsiteX24777" fmla="*/ 723404 w 4610101"/>
              <a:gd name="connsiteY24777" fmla="*/ 921049 h 6557032"/>
              <a:gd name="connsiteX24778" fmla="*/ 699715 w 4610101"/>
              <a:gd name="connsiteY24778" fmla="*/ 944738 h 6557032"/>
              <a:gd name="connsiteX24779" fmla="*/ 721581 w 4610101"/>
              <a:gd name="connsiteY24779" fmla="*/ 939272 h 6557032"/>
              <a:gd name="connsiteX24780" fmla="*/ 710648 w 4610101"/>
              <a:gd name="connsiteY24780" fmla="*/ 935628 h 6557032"/>
              <a:gd name="connsiteX24781" fmla="*/ 716115 w 4610101"/>
              <a:gd name="connsiteY24781" fmla="*/ 933804 h 6557032"/>
              <a:gd name="connsiteX24782" fmla="*/ 716115 w 4610101"/>
              <a:gd name="connsiteY24782" fmla="*/ 931983 h 6557032"/>
              <a:gd name="connsiteX24783" fmla="*/ 736159 w 4610101"/>
              <a:gd name="connsiteY24783" fmla="*/ 930160 h 6557032"/>
              <a:gd name="connsiteX24784" fmla="*/ 736159 w 4610101"/>
              <a:gd name="connsiteY24784" fmla="*/ 917405 h 6557032"/>
              <a:gd name="connsiteX24785" fmla="*/ 723404 w 4610101"/>
              <a:gd name="connsiteY24785" fmla="*/ 922872 h 6557032"/>
              <a:gd name="connsiteX24786" fmla="*/ 736159 w 4610101"/>
              <a:gd name="connsiteY24786" fmla="*/ 915583 h 6557032"/>
              <a:gd name="connsiteX24787" fmla="*/ 705182 w 4610101"/>
              <a:gd name="connsiteY24787" fmla="*/ 915583 h 6557032"/>
              <a:gd name="connsiteX24788" fmla="*/ 703359 w 4610101"/>
              <a:gd name="connsiteY24788" fmla="*/ 919227 h 6557032"/>
              <a:gd name="connsiteX24789" fmla="*/ 710648 w 4610101"/>
              <a:gd name="connsiteY24789" fmla="*/ 917405 h 6557032"/>
              <a:gd name="connsiteX24790" fmla="*/ 705182 w 4610101"/>
              <a:gd name="connsiteY24790" fmla="*/ 915583 h 6557032"/>
              <a:gd name="connsiteX24791" fmla="*/ 701537 w 4610101"/>
              <a:gd name="connsiteY24791" fmla="*/ 915583 h 6557032"/>
              <a:gd name="connsiteX24792" fmla="*/ 694249 w 4610101"/>
              <a:gd name="connsiteY24792" fmla="*/ 921049 h 6557032"/>
              <a:gd name="connsiteX24793" fmla="*/ 701537 w 4610101"/>
              <a:gd name="connsiteY24793" fmla="*/ 915583 h 6557032"/>
              <a:gd name="connsiteX24794" fmla="*/ 628650 w 4610101"/>
              <a:gd name="connsiteY24794" fmla="*/ 915583 h 6557032"/>
              <a:gd name="connsiteX24795" fmla="*/ 625006 w 4610101"/>
              <a:gd name="connsiteY24795" fmla="*/ 919227 h 6557032"/>
              <a:gd name="connsiteX24796" fmla="*/ 634117 w 4610101"/>
              <a:gd name="connsiteY24796" fmla="*/ 919227 h 6557032"/>
              <a:gd name="connsiteX24797" fmla="*/ 628650 w 4610101"/>
              <a:gd name="connsiteY24797" fmla="*/ 915583 h 6557032"/>
              <a:gd name="connsiteX24798" fmla="*/ 515676 w 4610101"/>
              <a:gd name="connsiteY24798" fmla="*/ 915583 h 6557032"/>
              <a:gd name="connsiteX24799" fmla="*/ 519320 w 4610101"/>
              <a:gd name="connsiteY24799" fmla="*/ 917405 h 6557032"/>
              <a:gd name="connsiteX24800" fmla="*/ 515676 w 4610101"/>
              <a:gd name="connsiteY24800" fmla="*/ 915583 h 6557032"/>
              <a:gd name="connsiteX24801" fmla="*/ 491987 w 4610101"/>
              <a:gd name="connsiteY24801" fmla="*/ 915583 h 6557032"/>
              <a:gd name="connsiteX24802" fmla="*/ 488343 w 4610101"/>
              <a:gd name="connsiteY24802" fmla="*/ 917405 h 6557032"/>
              <a:gd name="connsiteX24803" fmla="*/ 502920 w 4610101"/>
              <a:gd name="connsiteY24803" fmla="*/ 917405 h 6557032"/>
              <a:gd name="connsiteX24804" fmla="*/ 501098 w 4610101"/>
              <a:gd name="connsiteY24804" fmla="*/ 915583 h 6557032"/>
              <a:gd name="connsiteX24805" fmla="*/ 491987 w 4610101"/>
              <a:gd name="connsiteY24805" fmla="*/ 915583 h 6557032"/>
              <a:gd name="connsiteX24806" fmla="*/ 411812 w 4610101"/>
              <a:gd name="connsiteY24806" fmla="*/ 915583 h 6557032"/>
              <a:gd name="connsiteX24807" fmla="*/ 412927 w 4610101"/>
              <a:gd name="connsiteY24807" fmla="*/ 915770 h 6557032"/>
              <a:gd name="connsiteX24808" fmla="*/ 413697 w 4610101"/>
              <a:gd name="connsiteY24808" fmla="*/ 917154 h 6557032"/>
              <a:gd name="connsiteX24809" fmla="*/ 275149 w 4610101"/>
              <a:gd name="connsiteY24809" fmla="*/ 915583 h 6557032"/>
              <a:gd name="connsiteX24810" fmla="*/ 280615 w 4610101"/>
              <a:gd name="connsiteY24810" fmla="*/ 921049 h 6557032"/>
              <a:gd name="connsiteX24811" fmla="*/ 275149 w 4610101"/>
              <a:gd name="connsiteY24811" fmla="*/ 915583 h 6557032"/>
              <a:gd name="connsiteX24812" fmla="*/ 200439 w 4610101"/>
              <a:gd name="connsiteY24812" fmla="*/ 915583 h 6557032"/>
              <a:gd name="connsiteX24813" fmla="*/ 218661 w 4610101"/>
              <a:gd name="connsiteY24813" fmla="*/ 939272 h 6557032"/>
              <a:gd name="connsiteX24814" fmla="*/ 216839 w 4610101"/>
              <a:gd name="connsiteY24814" fmla="*/ 935628 h 6557032"/>
              <a:gd name="connsiteX24815" fmla="*/ 229594 w 4610101"/>
              <a:gd name="connsiteY24815" fmla="*/ 942916 h 6557032"/>
              <a:gd name="connsiteX24816" fmla="*/ 200439 w 4610101"/>
              <a:gd name="connsiteY24816" fmla="*/ 915583 h 6557032"/>
              <a:gd name="connsiteX24817" fmla="*/ 2154682 w 4610101"/>
              <a:gd name="connsiteY24817" fmla="*/ 914672 h 6557032"/>
              <a:gd name="connsiteX24818" fmla="*/ 2155632 w 4610101"/>
              <a:gd name="connsiteY24818" fmla="*/ 915355 h 6557032"/>
              <a:gd name="connsiteX24819" fmla="*/ 2157454 w 4610101"/>
              <a:gd name="connsiteY24819" fmla="*/ 924695 h 6557032"/>
              <a:gd name="connsiteX24820" fmla="*/ 2155632 w 4610101"/>
              <a:gd name="connsiteY24820" fmla="*/ 926517 h 6557032"/>
              <a:gd name="connsiteX24821" fmla="*/ 2155632 w 4610101"/>
              <a:gd name="connsiteY24821" fmla="*/ 922872 h 6557032"/>
              <a:gd name="connsiteX24822" fmla="*/ 2153810 w 4610101"/>
              <a:gd name="connsiteY24822" fmla="*/ 924695 h 6557032"/>
              <a:gd name="connsiteX24823" fmla="*/ 3363734 w 4610101"/>
              <a:gd name="connsiteY24823" fmla="*/ 913761 h 6557032"/>
              <a:gd name="connsiteX24824" fmla="*/ 3365224 w 4610101"/>
              <a:gd name="connsiteY24824" fmla="*/ 918229 h 6557032"/>
              <a:gd name="connsiteX24825" fmla="*/ 3361911 w 4610101"/>
              <a:gd name="connsiteY24825" fmla="*/ 919227 h 6557032"/>
              <a:gd name="connsiteX24826" fmla="*/ 3360670 w 4610101"/>
              <a:gd name="connsiteY24826" fmla="*/ 915974 h 6557032"/>
              <a:gd name="connsiteX24827" fmla="*/ 3234359 w 4610101"/>
              <a:gd name="connsiteY24827" fmla="*/ 913761 h 6557032"/>
              <a:gd name="connsiteX24828" fmla="*/ 3230715 w 4610101"/>
              <a:gd name="connsiteY24828" fmla="*/ 919227 h 6557032"/>
              <a:gd name="connsiteX24829" fmla="*/ 3232537 w 4610101"/>
              <a:gd name="connsiteY24829" fmla="*/ 917405 h 6557032"/>
              <a:gd name="connsiteX24830" fmla="*/ 3238003 w 4610101"/>
              <a:gd name="connsiteY24830" fmla="*/ 921049 h 6557032"/>
              <a:gd name="connsiteX24831" fmla="*/ 3234359 w 4610101"/>
              <a:gd name="connsiteY24831" fmla="*/ 913761 h 6557032"/>
              <a:gd name="connsiteX24832" fmla="*/ 1326543 w 4610101"/>
              <a:gd name="connsiteY24832" fmla="*/ 913761 h 6557032"/>
              <a:gd name="connsiteX24833" fmla="*/ 1324721 w 4610101"/>
              <a:gd name="connsiteY24833" fmla="*/ 919227 h 6557032"/>
              <a:gd name="connsiteX24834" fmla="*/ 1332009 w 4610101"/>
              <a:gd name="connsiteY24834" fmla="*/ 922872 h 6557032"/>
              <a:gd name="connsiteX24835" fmla="*/ 1339299 w 4610101"/>
              <a:gd name="connsiteY24835" fmla="*/ 915583 h 6557032"/>
              <a:gd name="connsiteX24836" fmla="*/ 1332009 w 4610101"/>
              <a:gd name="connsiteY24836" fmla="*/ 913761 h 6557032"/>
              <a:gd name="connsiteX24837" fmla="*/ 1330188 w 4610101"/>
              <a:gd name="connsiteY24837" fmla="*/ 919227 h 6557032"/>
              <a:gd name="connsiteX24838" fmla="*/ 1328365 w 4610101"/>
              <a:gd name="connsiteY24838" fmla="*/ 913761 h 6557032"/>
              <a:gd name="connsiteX24839" fmla="*/ 1326543 w 4610101"/>
              <a:gd name="connsiteY24839" fmla="*/ 913761 h 6557032"/>
              <a:gd name="connsiteX24840" fmla="*/ 1237256 w 4610101"/>
              <a:gd name="connsiteY24840" fmla="*/ 913761 h 6557032"/>
              <a:gd name="connsiteX24841" fmla="*/ 1231790 w 4610101"/>
              <a:gd name="connsiteY24841" fmla="*/ 919227 h 6557032"/>
              <a:gd name="connsiteX24842" fmla="*/ 1237256 w 4610101"/>
              <a:gd name="connsiteY24842" fmla="*/ 913761 h 6557032"/>
              <a:gd name="connsiteX24843" fmla="*/ 881933 w 4610101"/>
              <a:gd name="connsiteY24843" fmla="*/ 913761 h 6557032"/>
              <a:gd name="connsiteX24844" fmla="*/ 881933 w 4610101"/>
              <a:gd name="connsiteY24844" fmla="*/ 917405 h 6557032"/>
              <a:gd name="connsiteX24845" fmla="*/ 885577 w 4610101"/>
              <a:gd name="connsiteY24845" fmla="*/ 919227 h 6557032"/>
              <a:gd name="connsiteX24846" fmla="*/ 881933 w 4610101"/>
              <a:gd name="connsiteY24846" fmla="*/ 919227 h 6557032"/>
              <a:gd name="connsiteX24847" fmla="*/ 887399 w 4610101"/>
              <a:gd name="connsiteY24847" fmla="*/ 926516 h 6557032"/>
              <a:gd name="connsiteX24848" fmla="*/ 889222 w 4610101"/>
              <a:gd name="connsiteY24848" fmla="*/ 921049 h 6557032"/>
              <a:gd name="connsiteX24849" fmla="*/ 891043 w 4610101"/>
              <a:gd name="connsiteY24849" fmla="*/ 921049 h 6557032"/>
              <a:gd name="connsiteX24850" fmla="*/ 889222 w 4610101"/>
              <a:gd name="connsiteY24850" fmla="*/ 922872 h 6557032"/>
              <a:gd name="connsiteX24851" fmla="*/ 891043 w 4610101"/>
              <a:gd name="connsiteY24851" fmla="*/ 922872 h 6557032"/>
              <a:gd name="connsiteX24852" fmla="*/ 901976 w 4610101"/>
              <a:gd name="connsiteY24852" fmla="*/ 942916 h 6557032"/>
              <a:gd name="connsiteX24853" fmla="*/ 900154 w 4610101"/>
              <a:gd name="connsiteY24853" fmla="*/ 939272 h 6557032"/>
              <a:gd name="connsiteX24854" fmla="*/ 901976 w 4610101"/>
              <a:gd name="connsiteY24854" fmla="*/ 941094 h 6557032"/>
              <a:gd name="connsiteX24855" fmla="*/ 891043 w 4610101"/>
              <a:gd name="connsiteY24855" fmla="*/ 921049 h 6557032"/>
              <a:gd name="connsiteX24856" fmla="*/ 892866 w 4610101"/>
              <a:gd name="connsiteY24856" fmla="*/ 921049 h 6557032"/>
              <a:gd name="connsiteX24857" fmla="*/ 881933 w 4610101"/>
              <a:gd name="connsiteY24857" fmla="*/ 913761 h 6557032"/>
              <a:gd name="connsiteX24858" fmla="*/ 266038 w 4610101"/>
              <a:gd name="connsiteY24858" fmla="*/ 913761 h 6557032"/>
              <a:gd name="connsiteX24859" fmla="*/ 289726 w 4610101"/>
              <a:gd name="connsiteY24859" fmla="*/ 931983 h 6557032"/>
              <a:gd name="connsiteX24860" fmla="*/ 271504 w 4610101"/>
              <a:gd name="connsiteY24860" fmla="*/ 919227 h 6557032"/>
              <a:gd name="connsiteX24861" fmla="*/ 266038 w 4610101"/>
              <a:gd name="connsiteY24861" fmla="*/ 913761 h 6557032"/>
              <a:gd name="connsiteX24862" fmla="*/ 1319254 w 4610101"/>
              <a:gd name="connsiteY24862" fmla="*/ 911939 h 6557032"/>
              <a:gd name="connsiteX24863" fmla="*/ 1322899 w 4610101"/>
              <a:gd name="connsiteY24863" fmla="*/ 917405 h 6557032"/>
              <a:gd name="connsiteX24864" fmla="*/ 1319254 w 4610101"/>
              <a:gd name="connsiteY24864" fmla="*/ 911939 h 6557032"/>
              <a:gd name="connsiteX24865" fmla="*/ 1217213 w 4610101"/>
              <a:gd name="connsiteY24865" fmla="*/ 911939 h 6557032"/>
              <a:gd name="connsiteX24866" fmla="*/ 1178947 w 4610101"/>
              <a:gd name="connsiteY24866" fmla="*/ 926516 h 6557032"/>
              <a:gd name="connsiteX24867" fmla="*/ 1184414 w 4610101"/>
              <a:gd name="connsiteY24867" fmla="*/ 928339 h 6557032"/>
              <a:gd name="connsiteX24868" fmla="*/ 1186236 w 4610101"/>
              <a:gd name="connsiteY24868" fmla="*/ 924695 h 6557032"/>
              <a:gd name="connsiteX24869" fmla="*/ 1196941 w 4610101"/>
              <a:gd name="connsiteY24869" fmla="*/ 930389 h 6557032"/>
              <a:gd name="connsiteX24870" fmla="*/ 1199751 w 4610101"/>
              <a:gd name="connsiteY24870" fmla="*/ 929654 h 6557032"/>
              <a:gd name="connsiteX24871" fmla="*/ 1198991 w 4610101"/>
              <a:gd name="connsiteY24871" fmla="*/ 930160 h 6557032"/>
              <a:gd name="connsiteX24872" fmla="*/ 1203282 w 4610101"/>
              <a:gd name="connsiteY24872" fmla="*/ 928730 h 6557032"/>
              <a:gd name="connsiteX24873" fmla="*/ 1204408 w 4610101"/>
              <a:gd name="connsiteY24873" fmla="*/ 928435 h 6557032"/>
              <a:gd name="connsiteX24874" fmla="*/ 1202636 w 4610101"/>
              <a:gd name="connsiteY24874" fmla="*/ 931983 h 6557032"/>
              <a:gd name="connsiteX24875" fmla="*/ 1215390 w 4610101"/>
              <a:gd name="connsiteY24875" fmla="*/ 928339 h 6557032"/>
              <a:gd name="connsiteX24876" fmla="*/ 1204779 w 4610101"/>
              <a:gd name="connsiteY24876" fmla="*/ 928339 h 6557032"/>
              <a:gd name="connsiteX24877" fmla="*/ 1211747 w 4610101"/>
              <a:gd name="connsiteY24877" fmla="*/ 926516 h 6557032"/>
              <a:gd name="connsiteX24878" fmla="*/ 1211747 w 4610101"/>
              <a:gd name="connsiteY24878" fmla="*/ 922872 h 6557032"/>
              <a:gd name="connsiteX24879" fmla="*/ 1226323 w 4610101"/>
              <a:gd name="connsiteY24879" fmla="*/ 919227 h 6557032"/>
              <a:gd name="connsiteX24880" fmla="*/ 1217213 w 4610101"/>
              <a:gd name="connsiteY24880" fmla="*/ 911939 h 6557032"/>
              <a:gd name="connsiteX24881" fmla="*/ 506565 w 4610101"/>
              <a:gd name="connsiteY24881" fmla="*/ 911939 h 6557032"/>
              <a:gd name="connsiteX24882" fmla="*/ 512031 w 4610101"/>
              <a:gd name="connsiteY24882" fmla="*/ 915583 h 6557032"/>
              <a:gd name="connsiteX24883" fmla="*/ 506565 w 4610101"/>
              <a:gd name="connsiteY24883" fmla="*/ 911939 h 6557032"/>
              <a:gd name="connsiteX24884" fmla="*/ 258749 w 4610101"/>
              <a:gd name="connsiteY24884" fmla="*/ 911939 h 6557032"/>
              <a:gd name="connsiteX24885" fmla="*/ 287904 w 4610101"/>
              <a:gd name="connsiteY24885" fmla="*/ 941094 h 6557032"/>
              <a:gd name="connsiteX24886" fmla="*/ 273327 w 4610101"/>
              <a:gd name="connsiteY24886" fmla="*/ 930160 h 6557032"/>
              <a:gd name="connsiteX24887" fmla="*/ 258749 w 4610101"/>
              <a:gd name="connsiteY24887" fmla="*/ 911939 h 6557032"/>
              <a:gd name="connsiteX24888" fmla="*/ 3251215 w 4610101"/>
              <a:gd name="connsiteY24888" fmla="*/ 911711 h 6557032"/>
              <a:gd name="connsiteX24889" fmla="*/ 3239826 w 4610101"/>
              <a:gd name="connsiteY24889" fmla="*/ 911939 h 6557032"/>
              <a:gd name="connsiteX24890" fmla="*/ 3254403 w 4610101"/>
              <a:gd name="connsiteY24890" fmla="*/ 921049 h 6557032"/>
              <a:gd name="connsiteX24891" fmla="*/ 3251215 w 4610101"/>
              <a:gd name="connsiteY24891" fmla="*/ 911711 h 6557032"/>
              <a:gd name="connsiteX24892" fmla="*/ 3376261 w 4610101"/>
              <a:gd name="connsiteY24892" fmla="*/ 910572 h 6557032"/>
              <a:gd name="connsiteX24893" fmla="*/ 3380319 w 4610101"/>
              <a:gd name="connsiteY24893" fmla="*/ 911958 h 6557032"/>
              <a:gd name="connsiteX24894" fmla="*/ 3378539 w 4610101"/>
              <a:gd name="connsiteY24894" fmla="*/ 914217 h 6557032"/>
              <a:gd name="connsiteX24895" fmla="*/ 3365556 w 4610101"/>
              <a:gd name="connsiteY24895" fmla="*/ 918129 h 6557032"/>
              <a:gd name="connsiteX24896" fmla="*/ 3365556 w 4610101"/>
              <a:gd name="connsiteY24896" fmla="*/ 915583 h 6557032"/>
              <a:gd name="connsiteX24897" fmla="*/ 3376261 w 4610101"/>
              <a:gd name="connsiteY24897" fmla="*/ 910572 h 6557032"/>
              <a:gd name="connsiteX24898" fmla="*/ 909265 w 4610101"/>
              <a:gd name="connsiteY24898" fmla="*/ 910163 h 6557032"/>
              <a:gd name="connsiteX24899" fmla="*/ 912909 w 4610101"/>
              <a:gd name="connsiteY24899" fmla="*/ 911985 h 6557032"/>
              <a:gd name="connsiteX24900" fmla="*/ 912910 w 4610101"/>
              <a:gd name="connsiteY24900" fmla="*/ 911986 h 6557032"/>
              <a:gd name="connsiteX24901" fmla="*/ 912909 w 4610101"/>
              <a:gd name="connsiteY24901" fmla="*/ 911987 h 6557032"/>
              <a:gd name="connsiteX24902" fmla="*/ 911090 w 4610101"/>
              <a:gd name="connsiteY24902" fmla="*/ 913806 h 6557032"/>
              <a:gd name="connsiteX24903" fmla="*/ 920198 w 4610101"/>
              <a:gd name="connsiteY24903" fmla="*/ 919271 h 6557032"/>
              <a:gd name="connsiteX24904" fmla="*/ 918376 w 4610101"/>
              <a:gd name="connsiteY24904" fmla="*/ 932027 h 6557032"/>
              <a:gd name="connsiteX24905" fmla="*/ 911087 w 4610101"/>
              <a:gd name="connsiteY24905" fmla="*/ 915626 h 6557032"/>
              <a:gd name="connsiteX24906" fmla="*/ 911087 w 4610101"/>
              <a:gd name="connsiteY24906" fmla="*/ 913808 h 6557032"/>
              <a:gd name="connsiteX24907" fmla="*/ 909265 w 4610101"/>
              <a:gd name="connsiteY24907" fmla="*/ 911986 h 6557032"/>
              <a:gd name="connsiteX24908" fmla="*/ 909265 w 4610101"/>
              <a:gd name="connsiteY24908" fmla="*/ 910163 h 6557032"/>
              <a:gd name="connsiteX24909" fmla="*/ 1228146 w 4610101"/>
              <a:gd name="connsiteY24909" fmla="*/ 910117 h 6557032"/>
              <a:gd name="connsiteX24910" fmla="*/ 1229969 w 4610101"/>
              <a:gd name="connsiteY24910" fmla="*/ 911939 h 6557032"/>
              <a:gd name="connsiteX24911" fmla="*/ 1228146 w 4610101"/>
              <a:gd name="connsiteY24911" fmla="*/ 910117 h 6557032"/>
              <a:gd name="connsiteX24912" fmla="*/ 1228146 w 4610101"/>
              <a:gd name="connsiteY24912" fmla="*/ 910117 h 6557032"/>
              <a:gd name="connsiteX24913" fmla="*/ 1220858 w 4610101"/>
              <a:gd name="connsiteY24913" fmla="*/ 911939 h 6557032"/>
              <a:gd name="connsiteX24914" fmla="*/ 1229969 w 4610101"/>
              <a:gd name="connsiteY24914" fmla="*/ 913761 h 6557032"/>
              <a:gd name="connsiteX24915" fmla="*/ 1231790 w 4610101"/>
              <a:gd name="connsiteY24915" fmla="*/ 915583 h 6557032"/>
              <a:gd name="connsiteX24916" fmla="*/ 1237256 w 4610101"/>
              <a:gd name="connsiteY24916" fmla="*/ 911939 h 6557032"/>
              <a:gd name="connsiteX24917" fmla="*/ 1228146 w 4610101"/>
              <a:gd name="connsiteY24917" fmla="*/ 910117 h 6557032"/>
              <a:gd name="connsiteX24918" fmla="*/ 723404 w 4610101"/>
              <a:gd name="connsiteY24918" fmla="*/ 910117 h 6557032"/>
              <a:gd name="connsiteX24919" fmla="*/ 708826 w 4610101"/>
              <a:gd name="connsiteY24919" fmla="*/ 913761 h 6557032"/>
              <a:gd name="connsiteX24920" fmla="*/ 723404 w 4610101"/>
              <a:gd name="connsiteY24920" fmla="*/ 910117 h 6557032"/>
              <a:gd name="connsiteX24921" fmla="*/ 719759 w 4610101"/>
              <a:gd name="connsiteY24921" fmla="*/ 915583 h 6557032"/>
              <a:gd name="connsiteX24922" fmla="*/ 728870 w 4610101"/>
              <a:gd name="connsiteY24922" fmla="*/ 913761 h 6557032"/>
              <a:gd name="connsiteX24923" fmla="*/ 723404 w 4610101"/>
              <a:gd name="connsiteY24923" fmla="*/ 910117 h 6557032"/>
              <a:gd name="connsiteX24924" fmla="*/ 362613 w 4610101"/>
              <a:gd name="connsiteY24924" fmla="*/ 910117 h 6557032"/>
              <a:gd name="connsiteX24925" fmla="*/ 371724 w 4610101"/>
              <a:gd name="connsiteY24925" fmla="*/ 917405 h 6557032"/>
              <a:gd name="connsiteX24926" fmla="*/ 362613 w 4610101"/>
              <a:gd name="connsiteY24926" fmla="*/ 910117 h 6557032"/>
              <a:gd name="connsiteX24927" fmla="*/ 1204457 w 4610101"/>
              <a:gd name="connsiteY24927" fmla="*/ 909206 h 6557032"/>
              <a:gd name="connsiteX24928" fmla="*/ 1195346 w 4610101"/>
              <a:gd name="connsiteY24928" fmla="*/ 913761 h 6557032"/>
              <a:gd name="connsiteX24929" fmla="*/ 1213568 w 4610101"/>
              <a:gd name="connsiteY24929" fmla="*/ 910117 h 6557032"/>
              <a:gd name="connsiteX24930" fmla="*/ 1204457 w 4610101"/>
              <a:gd name="connsiteY24930" fmla="*/ 909206 h 6557032"/>
              <a:gd name="connsiteX24931" fmla="*/ 487432 w 4610101"/>
              <a:gd name="connsiteY24931" fmla="*/ 909206 h 6557032"/>
              <a:gd name="connsiteX24932" fmla="*/ 482876 w 4610101"/>
              <a:gd name="connsiteY24932" fmla="*/ 910117 h 6557032"/>
              <a:gd name="connsiteX24933" fmla="*/ 491987 w 4610101"/>
              <a:gd name="connsiteY24933" fmla="*/ 913761 h 6557032"/>
              <a:gd name="connsiteX24934" fmla="*/ 487432 w 4610101"/>
              <a:gd name="connsiteY24934" fmla="*/ 909206 h 6557032"/>
              <a:gd name="connsiteX24935" fmla="*/ 1304677 w 4610101"/>
              <a:gd name="connsiteY24935" fmla="*/ 908295 h 6557032"/>
              <a:gd name="connsiteX24936" fmla="*/ 1297388 w 4610101"/>
              <a:gd name="connsiteY24936" fmla="*/ 919227 h 6557032"/>
              <a:gd name="connsiteX24937" fmla="*/ 1301033 w 4610101"/>
              <a:gd name="connsiteY24937" fmla="*/ 919227 h 6557032"/>
              <a:gd name="connsiteX24938" fmla="*/ 1297161 w 4610101"/>
              <a:gd name="connsiteY24938" fmla="*/ 923100 h 6557032"/>
              <a:gd name="connsiteX24939" fmla="*/ 1297271 w 4610101"/>
              <a:gd name="connsiteY24939" fmla="*/ 925640 h 6557032"/>
              <a:gd name="connsiteX24940" fmla="*/ 1288733 w 4610101"/>
              <a:gd name="connsiteY24940" fmla="*/ 934944 h 6557032"/>
              <a:gd name="connsiteX24941" fmla="*/ 1262767 w 4610101"/>
              <a:gd name="connsiteY24941" fmla="*/ 950204 h 6557032"/>
              <a:gd name="connsiteX24942" fmla="*/ 1270056 w 4610101"/>
              <a:gd name="connsiteY24942" fmla="*/ 948383 h 6557032"/>
              <a:gd name="connsiteX24943" fmla="*/ 1306499 w 4610101"/>
              <a:gd name="connsiteY24943" fmla="*/ 946560 h 6557032"/>
              <a:gd name="connsiteX24944" fmla="*/ 1311966 w 4610101"/>
              <a:gd name="connsiteY24944" fmla="*/ 935628 h 6557032"/>
              <a:gd name="connsiteX24945" fmla="*/ 1311966 w 4610101"/>
              <a:gd name="connsiteY24945" fmla="*/ 942916 h 6557032"/>
              <a:gd name="connsiteX24946" fmla="*/ 1321761 w 4610101"/>
              <a:gd name="connsiteY24946" fmla="*/ 934260 h 6557032"/>
              <a:gd name="connsiteX24947" fmla="*/ 1323289 w 4610101"/>
              <a:gd name="connsiteY24947" fmla="*/ 928377 h 6557032"/>
              <a:gd name="connsiteX24948" fmla="*/ 1325176 w 4610101"/>
              <a:gd name="connsiteY24948" fmla="*/ 928566 h 6557032"/>
              <a:gd name="connsiteX24949" fmla="*/ 1324721 w 4610101"/>
              <a:gd name="connsiteY24949" fmla="*/ 924695 h 6557032"/>
              <a:gd name="connsiteX24950" fmla="*/ 1323734 w 4610101"/>
              <a:gd name="connsiteY24950" fmla="*/ 926669 h 6557032"/>
              <a:gd name="connsiteX24951" fmla="*/ 1324721 w 4610101"/>
              <a:gd name="connsiteY24951" fmla="*/ 922872 h 6557032"/>
              <a:gd name="connsiteX24952" fmla="*/ 1311966 w 4610101"/>
              <a:gd name="connsiteY24952" fmla="*/ 910117 h 6557032"/>
              <a:gd name="connsiteX24953" fmla="*/ 1304677 w 4610101"/>
              <a:gd name="connsiteY24953" fmla="*/ 908295 h 6557032"/>
              <a:gd name="connsiteX24954" fmla="*/ 1051395 w 4610101"/>
              <a:gd name="connsiteY24954" fmla="*/ 908295 h 6557032"/>
              <a:gd name="connsiteX24955" fmla="*/ 1044106 w 4610101"/>
              <a:gd name="connsiteY24955" fmla="*/ 917405 h 6557032"/>
              <a:gd name="connsiteX24956" fmla="*/ 1049573 w 4610101"/>
              <a:gd name="connsiteY24956" fmla="*/ 919227 h 6557032"/>
              <a:gd name="connsiteX24957" fmla="*/ 1051395 w 4610101"/>
              <a:gd name="connsiteY24957" fmla="*/ 908295 h 6557032"/>
              <a:gd name="connsiteX24958" fmla="*/ 743447 w 4610101"/>
              <a:gd name="connsiteY24958" fmla="*/ 908295 h 6557032"/>
              <a:gd name="connsiteX24959" fmla="*/ 739803 w 4610101"/>
              <a:gd name="connsiteY24959" fmla="*/ 910117 h 6557032"/>
              <a:gd name="connsiteX24960" fmla="*/ 743447 w 4610101"/>
              <a:gd name="connsiteY24960" fmla="*/ 908295 h 6557032"/>
              <a:gd name="connsiteX24961" fmla="*/ 736159 w 4610101"/>
              <a:gd name="connsiteY24961" fmla="*/ 908295 h 6557032"/>
              <a:gd name="connsiteX24962" fmla="*/ 727048 w 4610101"/>
              <a:gd name="connsiteY24962" fmla="*/ 910117 h 6557032"/>
              <a:gd name="connsiteX24963" fmla="*/ 736159 w 4610101"/>
              <a:gd name="connsiteY24963" fmla="*/ 908295 h 6557032"/>
              <a:gd name="connsiteX24964" fmla="*/ 614074 w 4610101"/>
              <a:gd name="connsiteY24964" fmla="*/ 908295 h 6557032"/>
              <a:gd name="connsiteX24965" fmla="*/ 625006 w 4610101"/>
              <a:gd name="connsiteY24965" fmla="*/ 910117 h 6557032"/>
              <a:gd name="connsiteX24966" fmla="*/ 614074 w 4610101"/>
              <a:gd name="connsiteY24966" fmla="*/ 908295 h 6557032"/>
              <a:gd name="connsiteX24967" fmla="*/ 612251 w 4610101"/>
              <a:gd name="connsiteY24967" fmla="*/ 908295 h 6557032"/>
              <a:gd name="connsiteX24968" fmla="*/ 608606 w 4610101"/>
              <a:gd name="connsiteY24968" fmla="*/ 910117 h 6557032"/>
              <a:gd name="connsiteX24969" fmla="*/ 612251 w 4610101"/>
              <a:gd name="connsiteY24969" fmla="*/ 908295 h 6557032"/>
              <a:gd name="connsiteX24970" fmla="*/ 424567 w 4610101"/>
              <a:gd name="connsiteY24970" fmla="*/ 908295 h 6557032"/>
              <a:gd name="connsiteX24971" fmla="*/ 431856 w 4610101"/>
              <a:gd name="connsiteY24971" fmla="*/ 915583 h 6557032"/>
              <a:gd name="connsiteX24972" fmla="*/ 424567 w 4610101"/>
              <a:gd name="connsiteY24972" fmla="*/ 908295 h 6557032"/>
              <a:gd name="connsiteX24973" fmla="*/ 349858 w 4610101"/>
              <a:gd name="connsiteY24973" fmla="*/ 908295 h 6557032"/>
              <a:gd name="connsiteX24974" fmla="*/ 371724 w 4610101"/>
              <a:gd name="connsiteY24974" fmla="*/ 921049 h 6557032"/>
              <a:gd name="connsiteX24975" fmla="*/ 355324 w 4610101"/>
              <a:gd name="connsiteY24975" fmla="*/ 910117 h 6557032"/>
              <a:gd name="connsiteX24976" fmla="*/ 351680 w 4610101"/>
              <a:gd name="connsiteY24976" fmla="*/ 908295 h 6557032"/>
              <a:gd name="connsiteX24977" fmla="*/ 349858 w 4610101"/>
              <a:gd name="connsiteY24977" fmla="*/ 908295 h 6557032"/>
              <a:gd name="connsiteX24978" fmla="*/ 335280 w 4610101"/>
              <a:gd name="connsiteY24978" fmla="*/ 908295 h 6557032"/>
              <a:gd name="connsiteX24979" fmla="*/ 346213 w 4610101"/>
              <a:gd name="connsiteY24979" fmla="*/ 924695 h 6557032"/>
              <a:gd name="connsiteX24980" fmla="*/ 346213 w 4610101"/>
              <a:gd name="connsiteY24980" fmla="*/ 921049 h 6557032"/>
              <a:gd name="connsiteX24981" fmla="*/ 355324 w 4610101"/>
              <a:gd name="connsiteY24981" fmla="*/ 926516 h 6557032"/>
              <a:gd name="connsiteX24982" fmla="*/ 349858 w 4610101"/>
              <a:gd name="connsiteY24982" fmla="*/ 922872 h 6557032"/>
              <a:gd name="connsiteX24983" fmla="*/ 368079 w 4610101"/>
              <a:gd name="connsiteY24983" fmla="*/ 924695 h 6557032"/>
              <a:gd name="connsiteX24984" fmla="*/ 342569 w 4610101"/>
              <a:gd name="connsiteY24984" fmla="*/ 908295 h 6557032"/>
              <a:gd name="connsiteX24985" fmla="*/ 338926 w 4610101"/>
              <a:gd name="connsiteY24985" fmla="*/ 911939 h 6557032"/>
              <a:gd name="connsiteX24986" fmla="*/ 335280 w 4610101"/>
              <a:gd name="connsiteY24986" fmla="*/ 908295 h 6557032"/>
              <a:gd name="connsiteX24987" fmla="*/ 693110 w 4610101"/>
              <a:gd name="connsiteY24987" fmla="*/ 907840 h 6557032"/>
              <a:gd name="connsiteX24988" fmla="*/ 686960 w 4610101"/>
              <a:gd name="connsiteY24988" fmla="*/ 908295 h 6557032"/>
              <a:gd name="connsiteX24989" fmla="*/ 683316 w 4610101"/>
              <a:gd name="connsiteY24989" fmla="*/ 913761 h 6557032"/>
              <a:gd name="connsiteX24990" fmla="*/ 697893 w 4610101"/>
              <a:gd name="connsiteY24990" fmla="*/ 910117 h 6557032"/>
              <a:gd name="connsiteX24991" fmla="*/ 693110 w 4610101"/>
              <a:gd name="connsiteY24991" fmla="*/ 907840 h 6557032"/>
              <a:gd name="connsiteX24992" fmla="*/ 1354951 w 4610101"/>
              <a:gd name="connsiteY24992" fmla="*/ 907650 h 6557032"/>
              <a:gd name="connsiteX24993" fmla="*/ 1353878 w 4610101"/>
              <a:gd name="connsiteY24993" fmla="*/ 908293 h 6557032"/>
              <a:gd name="connsiteX24994" fmla="*/ 1353876 w 4610101"/>
              <a:gd name="connsiteY24994" fmla="*/ 908294 h 6557032"/>
              <a:gd name="connsiteX24995" fmla="*/ 1353930 w 4610101"/>
              <a:gd name="connsiteY24995" fmla="*/ 908173 h 6557032"/>
              <a:gd name="connsiteX24996" fmla="*/ 1322899 w 4610101"/>
              <a:gd name="connsiteY24996" fmla="*/ 906473 h 6557032"/>
              <a:gd name="connsiteX24997" fmla="*/ 1319254 w 4610101"/>
              <a:gd name="connsiteY24997" fmla="*/ 910117 h 6557032"/>
              <a:gd name="connsiteX24998" fmla="*/ 1324721 w 4610101"/>
              <a:gd name="connsiteY24998" fmla="*/ 910117 h 6557032"/>
              <a:gd name="connsiteX24999" fmla="*/ 1322899 w 4610101"/>
              <a:gd name="connsiteY24999" fmla="*/ 906473 h 6557032"/>
              <a:gd name="connsiteX25000" fmla="*/ 1297388 w 4610101"/>
              <a:gd name="connsiteY25000" fmla="*/ 906473 h 6557032"/>
              <a:gd name="connsiteX25001" fmla="*/ 1284633 w 4610101"/>
              <a:gd name="connsiteY25001" fmla="*/ 921049 h 6557032"/>
              <a:gd name="connsiteX25002" fmla="*/ 1297388 w 4610101"/>
              <a:gd name="connsiteY25002" fmla="*/ 906473 h 6557032"/>
              <a:gd name="connsiteX25003" fmla="*/ 1295566 w 4610101"/>
              <a:gd name="connsiteY25003" fmla="*/ 906473 h 6557032"/>
              <a:gd name="connsiteX25004" fmla="*/ 1286455 w 4610101"/>
              <a:gd name="connsiteY25004" fmla="*/ 915583 h 6557032"/>
              <a:gd name="connsiteX25005" fmla="*/ 1295566 w 4610101"/>
              <a:gd name="connsiteY25005" fmla="*/ 906473 h 6557032"/>
              <a:gd name="connsiteX25006" fmla="*/ 1270056 w 4610101"/>
              <a:gd name="connsiteY25006" fmla="*/ 906473 h 6557032"/>
              <a:gd name="connsiteX25007" fmla="*/ 1268233 w 4610101"/>
              <a:gd name="connsiteY25007" fmla="*/ 910117 h 6557032"/>
              <a:gd name="connsiteX25008" fmla="*/ 1271878 w 4610101"/>
              <a:gd name="connsiteY25008" fmla="*/ 921049 h 6557032"/>
              <a:gd name="connsiteX25009" fmla="*/ 1275522 w 4610101"/>
              <a:gd name="connsiteY25009" fmla="*/ 922872 h 6557032"/>
              <a:gd name="connsiteX25010" fmla="*/ 1277344 w 4610101"/>
              <a:gd name="connsiteY25010" fmla="*/ 919227 h 6557032"/>
              <a:gd name="connsiteX25011" fmla="*/ 1282811 w 4610101"/>
              <a:gd name="connsiteY25011" fmla="*/ 917405 h 6557032"/>
              <a:gd name="connsiteX25012" fmla="*/ 1280989 w 4610101"/>
              <a:gd name="connsiteY25012" fmla="*/ 915583 h 6557032"/>
              <a:gd name="connsiteX25013" fmla="*/ 1280989 w 4610101"/>
              <a:gd name="connsiteY25013" fmla="*/ 908295 h 6557032"/>
              <a:gd name="connsiteX25014" fmla="*/ 1270056 w 4610101"/>
              <a:gd name="connsiteY25014" fmla="*/ 906473 h 6557032"/>
              <a:gd name="connsiteX25015" fmla="*/ 1080549 w 4610101"/>
              <a:gd name="connsiteY25015" fmla="*/ 906473 h 6557032"/>
              <a:gd name="connsiteX25016" fmla="*/ 1087838 w 4610101"/>
              <a:gd name="connsiteY25016" fmla="*/ 908295 h 6557032"/>
              <a:gd name="connsiteX25017" fmla="*/ 1080549 w 4610101"/>
              <a:gd name="connsiteY25017" fmla="*/ 906473 h 6557032"/>
              <a:gd name="connsiteX25018" fmla="*/ 1078727 w 4610101"/>
              <a:gd name="connsiteY25018" fmla="*/ 906473 h 6557032"/>
              <a:gd name="connsiteX25019" fmla="*/ 1067794 w 4610101"/>
              <a:gd name="connsiteY25019" fmla="*/ 913761 h 6557032"/>
              <a:gd name="connsiteX25020" fmla="*/ 1069616 w 4610101"/>
              <a:gd name="connsiteY25020" fmla="*/ 915583 h 6557032"/>
              <a:gd name="connsiteX25021" fmla="*/ 1055040 w 4610101"/>
              <a:gd name="connsiteY25021" fmla="*/ 942916 h 6557032"/>
              <a:gd name="connsiteX25022" fmla="*/ 1080549 w 4610101"/>
              <a:gd name="connsiteY25022" fmla="*/ 919227 h 6557032"/>
              <a:gd name="connsiteX25023" fmla="*/ 1082373 w 4610101"/>
              <a:gd name="connsiteY25023" fmla="*/ 915583 h 6557032"/>
              <a:gd name="connsiteX25024" fmla="*/ 1086016 w 4610101"/>
              <a:gd name="connsiteY25024" fmla="*/ 919227 h 6557032"/>
              <a:gd name="connsiteX25025" fmla="*/ 1084194 w 4610101"/>
              <a:gd name="connsiteY25025" fmla="*/ 911939 h 6557032"/>
              <a:gd name="connsiteX25026" fmla="*/ 1082373 w 4610101"/>
              <a:gd name="connsiteY25026" fmla="*/ 910117 h 6557032"/>
              <a:gd name="connsiteX25027" fmla="*/ 1078727 w 4610101"/>
              <a:gd name="connsiteY25027" fmla="*/ 906473 h 6557032"/>
              <a:gd name="connsiteX25028" fmla="*/ 1067794 w 4610101"/>
              <a:gd name="connsiteY25028" fmla="*/ 906473 h 6557032"/>
              <a:gd name="connsiteX25029" fmla="*/ 1065972 w 4610101"/>
              <a:gd name="connsiteY25029" fmla="*/ 910117 h 6557032"/>
              <a:gd name="connsiteX25030" fmla="*/ 1067794 w 4610101"/>
              <a:gd name="connsiteY25030" fmla="*/ 906473 h 6557032"/>
              <a:gd name="connsiteX25031" fmla="*/ 1056861 w 4610101"/>
              <a:gd name="connsiteY25031" fmla="*/ 906473 h 6557032"/>
              <a:gd name="connsiteX25032" fmla="*/ 1055040 w 4610101"/>
              <a:gd name="connsiteY25032" fmla="*/ 917405 h 6557032"/>
              <a:gd name="connsiteX25033" fmla="*/ 1065972 w 4610101"/>
              <a:gd name="connsiteY25033" fmla="*/ 908295 h 6557032"/>
              <a:gd name="connsiteX25034" fmla="*/ 1056861 w 4610101"/>
              <a:gd name="connsiteY25034" fmla="*/ 906473 h 6557032"/>
              <a:gd name="connsiteX25035" fmla="*/ 765313 w 4610101"/>
              <a:gd name="connsiteY25035" fmla="*/ 906473 h 6557032"/>
              <a:gd name="connsiteX25036" fmla="*/ 741626 w 4610101"/>
              <a:gd name="connsiteY25036" fmla="*/ 921049 h 6557032"/>
              <a:gd name="connsiteX25037" fmla="*/ 745269 w 4610101"/>
              <a:gd name="connsiteY25037" fmla="*/ 924695 h 6557032"/>
              <a:gd name="connsiteX25038" fmla="*/ 748914 w 4610101"/>
              <a:gd name="connsiteY25038" fmla="*/ 921049 h 6557032"/>
              <a:gd name="connsiteX25039" fmla="*/ 754380 w 4610101"/>
              <a:gd name="connsiteY25039" fmla="*/ 921049 h 6557032"/>
              <a:gd name="connsiteX25040" fmla="*/ 748914 w 4610101"/>
              <a:gd name="connsiteY25040" fmla="*/ 917405 h 6557032"/>
              <a:gd name="connsiteX25041" fmla="*/ 763491 w 4610101"/>
              <a:gd name="connsiteY25041" fmla="*/ 926516 h 6557032"/>
              <a:gd name="connsiteX25042" fmla="*/ 767136 w 4610101"/>
              <a:gd name="connsiteY25042" fmla="*/ 922872 h 6557032"/>
              <a:gd name="connsiteX25043" fmla="*/ 763491 w 4610101"/>
              <a:gd name="connsiteY25043" fmla="*/ 928339 h 6557032"/>
              <a:gd name="connsiteX25044" fmla="*/ 807223 w 4610101"/>
              <a:gd name="connsiteY25044" fmla="*/ 941094 h 6557032"/>
              <a:gd name="connsiteX25045" fmla="*/ 807223 w 4610101"/>
              <a:gd name="connsiteY25045" fmla="*/ 939272 h 6557032"/>
              <a:gd name="connsiteX25046" fmla="*/ 818156 w 4610101"/>
              <a:gd name="connsiteY25046" fmla="*/ 942916 h 6557032"/>
              <a:gd name="connsiteX25047" fmla="*/ 814512 w 4610101"/>
              <a:gd name="connsiteY25047" fmla="*/ 942916 h 6557032"/>
              <a:gd name="connsiteX25048" fmla="*/ 847311 w 4610101"/>
              <a:gd name="connsiteY25048" fmla="*/ 948383 h 6557032"/>
              <a:gd name="connsiteX25049" fmla="*/ 844944 w 4610101"/>
              <a:gd name="connsiteY25049" fmla="*/ 946197 h 6557032"/>
              <a:gd name="connsiteX25050" fmla="*/ 845489 w 4610101"/>
              <a:gd name="connsiteY25050" fmla="*/ 946560 h 6557032"/>
              <a:gd name="connsiteX25051" fmla="*/ 814512 w 4610101"/>
              <a:gd name="connsiteY25051" fmla="*/ 926516 h 6557032"/>
              <a:gd name="connsiteX25052" fmla="*/ 818156 w 4610101"/>
              <a:gd name="connsiteY25052" fmla="*/ 926516 h 6557032"/>
              <a:gd name="connsiteX25053" fmla="*/ 774424 w 4610101"/>
              <a:gd name="connsiteY25053" fmla="*/ 915583 h 6557032"/>
              <a:gd name="connsiteX25054" fmla="*/ 781713 w 4610101"/>
              <a:gd name="connsiteY25054" fmla="*/ 911939 h 6557032"/>
              <a:gd name="connsiteX25055" fmla="*/ 770781 w 4610101"/>
              <a:gd name="connsiteY25055" fmla="*/ 911939 h 6557032"/>
              <a:gd name="connsiteX25056" fmla="*/ 781713 w 4610101"/>
              <a:gd name="connsiteY25056" fmla="*/ 908295 h 6557032"/>
              <a:gd name="connsiteX25057" fmla="*/ 758025 w 4610101"/>
              <a:gd name="connsiteY25057" fmla="*/ 910117 h 6557032"/>
              <a:gd name="connsiteX25058" fmla="*/ 772602 w 4610101"/>
              <a:gd name="connsiteY25058" fmla="*/ 915583 h 6557032"/>
              <a:gd name="connsiteX25059" fmla="*/ 770781 w 4610101"/>
              <a:gd name="connsiteY25059" fmla="*/ 915583 h 6557032"/>
              <a:gd name="connsiteX25060" fmla="*/ 774424 w 4610101"/>
              <a:gd name="connsiteY25060" fmla="*/ 917405 h 6557032"/>
              <a:gd name="connsiteX25061" fmla="*/ 748914 w 4610101"/>
              <a:gd name="connsiteY25061" fmla="*/ 910117 h 6557032"/>
              <a:gd name="connsiteX25062" fmla="*/ 765313 w 4610101"/>
              <a:gd name="connsiteY25062" fmla="*/ 906473 h 6557032"/>
              <a:gd name="connsiteX25063" fmla="*/ 477410 w 4610101"/>
              <a:gd name="connsiteY25063" fmla="*/ 906473 h 6557032"/>
              <a:gd name="connsiteX25064" fmla="*/ 481054 w 4610101"/>
              <a:gd name="connsiteY25064" fmla="*/ 908295 h 6557032"/>
              <a:gd name="connsiteX25065" fmla="*/ 477410 w 4610101"/>
              <a:gd name="connsiteY25065" fmla="*/ 906473 h 6557032"/>
              <a:gd name="connsiteX25066" fmla="*/ 266038 w 4610101"/>
              <a:gd name="connsiteY25066" fmla="*/ 906473 h 6557032"/>
              <a:gd name="connsiteX25067" fmla="*/ 276971 w 4610101"/>
              <a:gd name="connsiteY25067" fmla="*/ 913761 h 6557032"/>
              <a:gd name="connsiteX25068" fmla="*/ 271504 w 4610101"/>
              <a:gd name="connsiteY25068" fmla="*/ 906473 h 6557032"/>
              <a:gd name="connsiteX25069" fmla="*/ 266038 w 4610101"/>
              <a:gd name="connsiteY25069" fmla="*/ 906473 h 6557032"/>
              <a:gd name="connsiteX25070" fmla="*/ 231416 w 4610101"/>
              <a:gd name="connsiteY25070" fmla="*/ 906473 h 6557032"/>
              <a:gd name="connsiteX25071" fmla="*/ 267860 w 4610101"/>
              <a:gd name="connsiteY25071" fmla="*/ 939272 h 6557032"/>
              <a:gd name="connsiteX25072" fmla="*/ 251460 w 4610101"/>
              <a:gd name="connsiteY25072" fmla="*/ 911939 h 6557032"/>
              <a:gd name="connsiteX25073" fmla="*/ 231416 w 4610101"/>
              <a:gd name="connsiteY25073" fmla="*/ 906473 h 6557032"/>
              <a:gd name="connsiteX25074" fmla="*/ 229594 w 4610101"/>
              <a:gd name="connsiteY25074" fmla="*/ 906473 h 6557032"/>
              <a:gd name="connsiteX25075" fmla="*/ 225950 w 4610101"/>
              <a:gd name="connsiteY25075" fmla="*/ 908295 h 6557032"/>
              <a:gd name="connsiteX25076" fmla="*/ 236883 w 4610101"/>
              <a:gd name="connsiteY25076" fmla="*/ 919227 h 6557032"/>
              <a:gd name="connsiteX25077" fmla="*/ 229594 w 4610101"/>
              <a:gd name="connsiteY25077" fmla="*/ 906473 h 6557032"/>
              <a:gd name="connsiteX25078" fmla="*/ 1263450 w 4610101"/>
              <a:gd name="connsiteY25078" fmla="*/ 906245 h 6557032"/>
              <a:gd name="connsiteX25079" fmla="*/ 1264589 w 4610101"/>
              <a:gd name="connsiteY25079" fmla="*/ 908294 h 6557032"/>
              <a:gd name="connsiteX25080" fmla="*/ 1262949 w 4610101"/>
              <a:gd name="connsiteY25080" fmla="*/ 906654 h 6557032"/>
              <a:gd name="connsiteX25081" fmla="*/ 2454863 w 4610101"/>
              <a:gd name="connsiteY25081" fmla="*/ 905457 h 6557032"/>
              <a:gd name="connsiteX25082" fmla="*/ 2455656 w 4610101"/>
              <a:gd name="connsiteY25082" fmla="*/ 905704 h 6557032"/>
              <a:gd name="connsiteX25083" fmla="*/ 2454469 w 4610101"/>
              <a:gd name="connsiteY25083" fmla="*/ 906473 h 6557032"/>
              <a:gd name="connsiteX25084" fmla="*/ 1299210 w 4610101"/>
              <a:gd name="connsiteY25084" fmla="*/ 904651 h 6557032"/>
              <a:gd name="connsiteX25085" fmla="*/ 1299210 w 4610101"/>
              <a:gd name="connsiteY25085" fmla="*/ 910117 h 6557032"/>
              <a:gd name="connsiteX25086" fmla="*/ 1302855 w 4610101"/>
              <a:gd name="connsiteY25086" fmla="*/ 906473 h 6557032"/>
              <a:gd name="connsiteX25087" fmla="*/ 1299210 w 4610101"/>
              <a:gd name="connsiteY25087" fmla="*/ 904651 h 6557032"/>
              <a:gd name="connsiteX25088" fmla="*/ 1158903 w 4610101"/>
              <a:gd name="connsiteY25088" fmla="*/ 904651 h 6557032"/>
              <a:gd name="connsiteX25089" fmla="*/ 1138859 w 4610101"/>
              <a:gd name="connsiteY25089" fmla="*/ 908295 h 6557032"/>
              <a:gd name="connsiteX25090" fmla="*/ 1135215 w 4610101"/>
              <a:gd name="connsiteY25090" fmla="*/ 913761 h 6557032"/>
              <a:gd name="connsiteX25091" fmla="*/ 1137037 w 4610101"/>
              <a:gd name="connsiteY25091" fmla="*/ 913761 h 6557032"/>
              <a:gd name="connsiteX25092" fmla="*/ 1131570 w 4610101"/>
              <a:gd name="connsiteY25092" fmla="*/ 919227 h 6557032"/>
              <a:gd name="connsiteX25093" fmla="*/ 1131570 w 4610101"/>
              <a:gd name="connsiteY25093" fmla="*/ 922872 h 6557032"/>
              <a:gd name="connsiteX25094" fmla="*/ 1127926 w 4610101"/>
              <a:gd name="connsiteY25094" fmla="*/ 926516 h 6557032"/>
              <a:gd name="connsiteX25095" fmla="*/ 1146148 w 4610101"/>
              <a:gd name="connsiteY25095" fmla="*/ 913761 h 6557032"/>
              <a:gd name="connsiteX25096" fmla="*/ 1146148 w 4610101"/>
              <a:gd name="connsiteY25096" fmla="*/ 915583 h 6557032"/>
              <a:gd name="connsiteX25097" fmla="*/ 1158903 w 4610101"/>
              <a:gd name="connsiteY25097" fmla="*/ 904651 h 6557032"/>
              <a:gd name="connsiteX25098" fmla="*/ 1095127 w 4610101"/>
              <a:gd name="connsiteY25098" fmla="*/ 904651 h 6557032"/>
              <a:gd name="connsiteX25099" fmla="*/ 1089660 w 4610101"/>
              <a:gd name="connsiteY25099" fmla="*/ 917405 h 6557032"/>
              <a:gd name="connsiteX25100" fmla="*/ 1095127 w 4610101"/>
              <a:gd name="connsiteY25100" fmla="*/ 904651 h 6557032"/>
              <a:gd name="connsiteX25101" fmla="*/ 123784 w 4610101"/>
              <a:gd name="connsiteY25101" fmla="*/ 904503 h 6557032"/>
              <a:gd name="connsiteX25102" fmla="*/ 123908 w 4610101"/>
              <a:gd name="connsiteY25102" fmla="*/ 904651 h 6557032"/>
              <a:gd name="connsiteX25103" fmla="*/ 123826 w 4610101"/>
              <a:gd name="connsiteY25103" fmla="*/ 904602 h 6557032"/>
              <a:gd name="connsiteX25104" fmla="*/ 1280988 w 4610101"/>
              <a:gd name="connsiteY25104" fmla="*/ 903967 h 6557032"/>
              <a:gd name="connsiteX25105" fmla="*/ 1277344 w 4610101"/>
              <a:gd name="connsiteY25105" fmla="*/ 904651 h 6557032"/>
              <a:gd name="connsiteX25106" fmla="*/ 1284633 w 4610101"/>
              <a:gd name="connsiteY25106" fmla="*/ 904651 h 6557032"/>
              <a:gd name="connsiteX25107" fmla="*/ 1280988 w 4610101"/>
              <a:gd name="connsiteY25107" fmla="*/ 903967 h 6557032"/>
              <a:gd name="connsiteX25108" fmla="*/ 2422125 w 4610101"/>
              <a:gd name="connsiteY25108" fmla="*/ 903966 h 6557032"/>
              <a:gd name="connsiteX25109" fmla="*/ 2414381 w 4610101"/>
              <a:gd name="connsiteY25109" fmla="*/ 908295 h 6557032"/>
              <a:gd name="connsiteX25110" fmla="*/ 2423492 w 4610101"/>
              <a:gd name="connsiteY25110" fmla="*/ 926516 h 6557032"/>
              <a:gd name="connsiteX25111" fmla="*/ 2427136 w 4610101"/>
              <a:gd name="connsiteY25111" fmla="*/ 911939 h 6557032"/>
              <a:gd name="connsiteX25112" fmla="*/ 2422125 w 4610101"/>
              <a:gd name="connsiteY25112" fmla="*/ 903966 h 6557032"/>
              <a:gd name="connsiteX25113" fmla="*/ 3493014 w 4610101"/>
              <a:gd name="connsiteY25113" fmla="*/ 903015 h 6557032"/>
              <a:gd name="connsiteX25114" fmla="*/ 3493791 w 4610101"/>
              <a:gd name="connsiteY25114" fmla="*/ 903056 h 6557032"/>
              <a:gd name="connsiteX25115" fmla="*/ 3496752 w 4610101"/>
              <a:gd name="connsiteY25115" fmla="*/ 904651 h 6557032"/>
              <a:gd name="connsiteX25116" fmla="*/ 3492124 w 4610101"/>
              <a:gd name="connsiteY25116" fmla="*/ 904795 h 6557032"/>
              <a:gd name="connsiteX25117" fmla="*/ 3429332 w 4610101"/>
              <a:gd name="connsiteY25117" fmla="*/ 902827 h 6557032"/>
              <a:gd name="connsiteX25118" fmla="*/ 3425687 w 4610101"/>
              <a:gd name="connsiteY25118" fmla="*/ 904651 h 6557032"/>
              <a:gd name="connsiteX25119" fmla="*/ 3436621 w 4610101"/>
              <a:gd name="connsiteY25119" fmla="*/ 913761 h 6557032"/>
              <a:gd name="connsiteX25120" fmla="*/ 3429332 w 4610101"/>
              <a:gd name="connsiteY25120" fmla="*/ 902827 h 6557032"/>
              <a:gd name="connsiteX25121" fmla="*/ 3387422 w 4610101"/>
              <a:gd name="connsiteY25121" fmla="*/ 902827 h 6557032"/>
              <a:gd name="connsiteX25122" fmla="*/ 3387422 w 4610101"/>
              <a:gd name="connsiteY25122" fmla="*/ 910117 h 6557032"/>
              <a:gd name="connsiteX25123" fmla="*/ 3387422 w 4610101"/>
              <a:gd name="connsiteY25123" fmla="*/ 902827 h 6557032"/>
              <a:gd name="connsiteX25124" fmla="*/ 3121384 w 4610101"/>
              <a:gd name="connsiteY25124" fmla="*/ 902827 h 6557032"/>
              <a:gd name="connsiteX25125" fmla="*/ 3095874 w 4610101"/>
              <a:gd name="connsiteY25125" fmla="*/ 928339 h 6557032"/>
              <a:gd name="connsiteX25126" fmla="*/ 3117740 w 4610101"/>
              <a:gd name="connsiteY25126" fmla="*/ 941094 h 6557032"/>
              <a:gd name="connsiteX25127" fmla="*/ 3117740 w 4610101"/>
              <a:gd name="connsiteY25127" fmla="*/ 935628 h 6557032"/>
              <a:gd name="connsiteX25128" fmla="*/ 3127534 w 4610101"/>
              <a:gd name="connsiteY25128" fmla="*/ 932211 h 6557032"/>
              <a:gd name="connsiteX25129" fmla="*/ 3128673 w 4610101"/>
              <a:gd name="connsiteY25129" fmla="*/ 937450 h 6557032"/>
              <a:gd name="connsiteX25130" fmla="*/ 3146895 w 4610101"/>
              <a:gd name="connsiteY25130" fmla="*/ 931983 h 6557032"/>
              <a:gd name="connsiteX25131" fmla="*/ 3135962 w 4610101"/>
              <a:gd name="connsiteY25131" fmla="*/ 928339 h 6557032"/>
              <a:gd name="connsiteX25132" fmla="*/ 3127534 w 4610101"/>
              <a:gd name="connsiteY25132" fmla="*/ 932210 h 6557032"/>
              <a:gd name="connsiteX25133" fmla="*/ 3125029 w 4610101"/>
              <a:gd name="connsiteY25133" fmla="*/ 919227 h 6557032"/>
              <a:gd name="connsiteX25134" fmla="*/ 3128673 w 4610101"/>
              <a:gd name="connsiteY25134" fmla="*/ 917405 h 6557032"/>
              <a:gd name="connsiteX25135" fmla="*/ 3121384 w 4610101"/>
              <a:gd name="connsiteY25135" fmla="*/ 902827 h 6557032"/>
              <a:gd name="connsiteX25136" fmla="*/ 2583843 w 4610101"/>
              <a:gd name="connsiteY25136" fmla="*/ 902827 h 6557032"/>
              <a:gd name="connsiteX25137" fmla="*/ 2589310 w 4610101"/>
              <a:gd name="connsiteY25137" fmla="*/ 937450 h 6557032"/>
              <a:gd name="connsiteX25138" fmla="*/ 2592954 w 4610101"/>
              <a:gd name="connsiteY25138" fmla="*/ 933804 h 6557032"/>
              <a:gd name="connsiteX25139" fmla="*/ 2618464 w 4610101"/>
              <a:gd name="connsiteY25139" fmla="*/ 957494 h 6557032"/>
              <a:gd name="connsiteX25140" fmla="*/ 2618464 w 4610101"/>
              <a:gd name="connsiteY25140" fmla="*/ 968427 h 6557032"/>
              <a:gd name="connsiteX25141" fmla="*/ 2614820 w 4610101"/>
              <a:gd name="connsiteY25141" fmla="*/ 970249 h 6557032"/>
              <a:gd name="connsiteX25142" fmla="*/ 2612998 w 4610101"/>
              <a:gd name="connsiteY25142" fmla="*/ 962960 h 6557032"/>
              <a:gd name="connsiteX25143" fmla="*/ 2602065 w 4610101"/>
              <a:gd name="connsiteY25143" fmla="*/ 964782 h 6557032"/>
              <a:gd name="connsiteX25144" fmla="*/ 2605709 w 4610101"/>
              <a:gd name="connsiteY25144" fmla="*/ 977538 h 6557032"/>
              <a:gd name="connsiteX25145" fmla="*/ 2602065 w 4610101"/>
              <a:gd name="connsiteY25145" fmla="*/ 970249 h 6557032"/>
              <a:gd name="connsiteX25146" fmla="*/ 2591132 w 4610101"/>
              <a:gd name="connsiteY25146" fmla="*/ 983004 h 6557032"/>
              <a:gd name="connsiteX25147" fmla="*/ 2607531 w 4610101"/>
              <a:gd name="connsiteY25147" fmla="*/ 983004 h 6557032"/>
              <a:gd name="connsiteX25148" fmla="*/ 2618464 w 4610101"/>
              <a:gd name="connsiteY25148" fmla="*/ 1004870 h 6557032"/>
              <a:gd name="connsiteX25149" fmla="*/ 2633042 w 4610101"/>
              <a:gd name="connsiteY25149" fmla="*/ 1008515 h 6557032"/>
              <a:gd name="connsiteX25150" fmla="*/ 2622109 w 4610101"/>
              <a:gd name="connsiteY25150" fmla="*/ 933804 h 6557032"/>
              <a:gd name="connsiteX25151" fmla="*/ 2616642 w 4610101"/>
              <a:gd name="connsiteY25151" fmla="*/ 948383 h 6557032"/>
              <a:gd name="connsiteX25152" fmla="*/ 2603887 w 4610101"/>
              <a:gd name="connsiteY25152" fmla="*/ 941094 h 6557032"/>
              <a:gd name="connsiteX25153" fmla="*/ 2603887 w 4610101"/>
              <a:gd name="connsiteY25153" fmla="*/ 933804 h 6557032"/>
              <a:gd name="connsiteX25154" fmla="*/ 2607531 w 4610101"/>
              <a:gd name="connsiteY25154" fmla="*/ 933804 h 6557032"/>
              <a:gd name="connsiteX25155" fmla="*/ 2607531 w 4610101"/>
              <a:gd name="connsiteY25155" fmla="*/ 941094 h 6557032"/>
              <a:gd name="connsiteX25156" fmla="*/ 2607531 w 4610101"/>
              <a:gd name="connsiteY25156" fmla="*/ 930160 h 6557032"/>
              <a:gd name="connsiteX25157" fmla="*/ 2605709 w 4610101"/>
              <a:gd name="connsiteY25157" fmla="*/ 931983 h 6557032"/>
              <a:gd name="connsiteX25158" fmla="*/ 2602065 w 4610101"/>
              <a:gd name="connsiteY25158" fmla="*/ 926516 h 6557032"/>
              <a:gd name="connsiteX25159" fmla="*/ 2583843 w 4610101"/>
              <a:gd name="connsiteY25159" fmla="*/ 902827 h 6557032"/>
              <a:gd name="connsiteX25160" fmla="*/ 2303228 w 4610101"/>
              <a:gd name="connsiteY25160" fmla="*/ 902827 h 6557032"/>
              <a:gd name="connsiteX25161" fmla="*/ 2303228 w 4610101"/>
              <a:gd name="connsiteY25161" fmla="*/ 910117 h 6557032"/>
              <a:gd name="connsiteX25162" fmla="*/ 2303228 w 4610101"/>
              <a:gd name="connsiteY25162" fmla="*/ 902827 h 6557032"/>
              <a:gd name="connsiteX25163" fmla="*/ 1362987 w 4610101"/>
              <a:gd name="connsiteY25163" fmla="*/ 902827 h 6557032"/>
              <a:gd name="connsiteX25164" fmla="*/ 1355470 w 4610101"/>
              <a:gd name="connsiteY25164" fmla="*/ 907383 h 6557032"/>
              <a:gd name="connsiteX25165" fmla="*/ 1354951 w 4610101"/>
              <a:gd name="connsiteY25165" fmla="*/ 907650 h 6557032"/>
              <a:gd name="connsiteX25166" fmla="*/ 1286455 w 4610101"/>
              <a:gd name="connsiteY25166" fmla="*/ 902827 h 6557032"/>
              <a:gd name="connsiteX25167" fmla="*/ 1286455 w 4610101"/>
              <a:gd name="connsiteY25167" fmla="*/ 906473 h 6557032"/>
              <a:gd name="connsiteX25168" fmla="*/ 1288277 w 4610101"/>
              <a:gd name="connsiteY25168" fmla="*/ 904651 h 6557032"/>
              <a:gd name="connsiteX25169" fmla="*/ 1286455 w 4610101"/>
              <a:gd name="connsiteY25169" fmla="*/ 902827 h 6557032"/>
              <a:gd name="connsiteX25170" fmla="*/ 1270056 w 4610101"/>
              <a:gd name="connsiteY25170" fmla="*/ 902827 h 6557032"/>
              <a:gd name="connsiteX25171" fmla="*/ 1280989 w 4610101"/>
              <a:gd name="connsiteY25171" fmla="*/ 902827 h 6557032"/>
              <a:gd name="connsiteX25172" fmla="*/ 1270056 w 4610101"/>
              <a:gd name="connsiteY25172" fmla="*/ 902827 h 6557032"/>
              <a:gd name="connsiteX25173" fmla="*/ 1259123 w 4610101"/>
              <a:gd name="connsiteY25173" fmla="*/ 902827 h 6557032"/>
              <a:gd name="connsiteX25174" fmla="*/ 1262949 w 4610101"/>
              <a:gd name="connsiteY25174" fmla="*/ 906654 h 6557032"/>
              <a:gd name="connsiteX25175" fmla="*/ 1260945 w 4610101"/>
              <a:gd name="connsiteY25175" fmla="*/ 908295 h 6557032"/>
              <a:gd name="connsiteX25176" fmla="*/ 1259123 w 4610101"/>
              <a:gd name="connsiteY25176" fmla="*/ 902827 h 6557032"/>
              <a:gd name="connsiteX25177" fmla="*/ 1259123 w 4610101"/>
              <a:gd name="connsiteY25177" fmla="*/ 902827 h 6557032"/>
              <a:gd name="connsiteX25178" fmla="*/ 1240901 w 4610101"/>
              <a:gd name="connsiteY25178" fmla="*/ 911939 h 6557032"/>
              <a:gd name="connsiteX25179" fmla="*/ 1244545 w 4610101"/>
              <a:gd name="connsiteY25179" fmla="*/ 924695 h 6557032"/>
              <a:gd name="connsiteX25180" fmla="*/ 1255478 w 4610101"/>
              <a:gd name="connsiteY25180" fmla="*/ 910117 h 6557032"/>
              <a:gd name="connsiteX25181" fmla="*/ 1255478 w 4610101"/>
              <a:gd name="connsiteY25181" fmla="*/ 922872 h 6557032"/>
              <a:gd name="connsiteX25182" fmla="*/ 1260945 w 4610101"/>
              <a:gd name="connsiteY25182" fmla="*/ 921049 h 6557032"/>
              <a:gd name="connsiteX25183" fmla="*/ 1257300 w 4610101"/>
              <a:gd name="connsiteY25183" fmla="*/ 915583 h 6557032"/>
              <a:gd name="connsiteX25184" fmla="*/ 1264589 w 4610101"/>
              <a:gd name="connsiteY25184" fmla="*/ 919227 h 6557032"/>
              <a:gd name="connsiteX25185" fmla="*/ 1266411 w 4610101"/>
              <a:gd name="connsiteY25185" fmla="*/ 910117 h 6557032"/>
              <a:gd name="connsiteX25186" fmla="*/ 1264589 w 4610101"/>
              <a:gd name="connsiteY25186" fmla="*/ 908294 h 6557032"/>
              <a:gd name="connsiteX25187" fmla="*/ 1263222 w 4610101"/>
              <a:gd name="connsiteY25187" fmla="*/ 904878 h 6557032"/>
              <a:gd name="connsiteX25188" fmla="*/ 1259123 w 4610101"/>
              <a:gd name="connsiteY25188" fmla="*/ 902827 h 6557032"/>
              <a:gd name="connsiteX25189" fmla="*/ 1124282 w 4610101"/>
              <a:gd name="connsiteY25189" fmla="*/ 902827 h 6557032"/>
              <a:gd name="connsiteX25190" fmla="*/ 1120637 w 4610101"/>
              <a:gd name="connsiteY25190" fmla="*/ 917405 h 6557032"/>
              <a:gd name="connsiteX25191" fmla="*/ 1127926 w 4610101"/>
              <a:gd name="connsiteY25191" fmla="*/ 910117 h 6557032"/>
              <a:gd name="connsiteX25192" fmla="*/ 1124282 w 4610101"/>
              <a:gd name="connsiteY25192" fmla="*/ 902827 h 6557032"/>
              <a:gd name="connsiteX25193" fmla="*/ 1113349 w 4610101"/>
              <a:gd name="connsiteY25193" fmla="*/ 902827 h 6557032"/>
              <a:gd name="connsiteX25194" fmla="*/ 1109704 w 4610101"/>
              <a:gd name="connsiteY25194" fmla="*/ 911939 h 6557032"/>
              <a:gd name="connsiteX25195" fmla="*/ 1093305 w 4610101"/>
              <a:gd name="connsiteY25195" fmla="*/ 930160 h 6557032"/>
              <a:gd name="connsiteX25196" fmla="*/ 1109704 w 4610101"/>
              <a:gd name="connsiteY25196" fmla="*/ 919227 h 6557032"/>
              <a:gd name="connsiteX25197" fmla="*/ 1106060 w 4610101"/>
              <a:gd name="connsiteY25197" fmla="*/ 924695 h 6557032"/>
              <a:gd name="connsiteX25198" fmla="*/ 1120637 w 4610101"/>
              <a:gd name="connsiteY25198" fmla="*/ 906473 h 6557032"/>
              <a:gd name="connsiteX25199" fmla="*/ 1113349 w 4610101"/>
              <a:gd name="connsiteY25199" fmla="*/ 902827 h 6557032"/>
              <a:gd name="connsiteX25200" fmla="*/ 1104238 w 4610101"/>
              <a:gd name="connsiteY25200" fmla="*/ 902827 h 6557032"/>
              <a:gd name="connsiteX25201" fmla="*/ 1104238 w 4610101"/>
              <a:gd name="connsiteY25201" fmla="*/ 911939 h 6557032"/>
              <a:gd name="connsiteX25202" fmla="*/ 1104238 w 4610101"/>
              <a:gd name="connsiteY25202" fmla="*/ 902827 h 6557032"/>
              <a:gd name="connsiteX25203" fmla="*/ 1102416 w 4610101"/>
              <a:gd name="connsiteY25203" fmla="*/ 902827 h 6557032"/>
              <a:gd name="connsiteX25204" fmla="*/ 1096949 w 4610101"/>
              <a:gd name="connsiteY25204" fmla="*/ 913761 h 6557032"/>
              <a:gd name="connsiteX25205" fmla="*/ 1102416 w 4610101"/>
              <a:gd name="connsiteY25205" fmla="*/ 902827 h 6557032"/>
              <a:gd name="connsiteX25206" fmla="*/ 422745 w 4610101"/>
              <a:gd name="connsiteY25206" fmla="*/ 902827 h 6557032"/>
              <a:gd name="connsiteX25207" fmla="*/ 439145 w 4610101"/>
              <a:gd name="connsiteY25207" fmla="*/ 915583 h 6557032"/>
              <a:gd name="connsiteX25208" fmla="*/ 437550 w 4610101"/>
              <a:gd name="connsiteY25208" fmla="*/ 913306 h 6557032"/>
              <a:gd name="connsiteX25209" fmla="*/ 439145 w 4610101"/>
              <a:gd name="connsiteY25209" fmla="*/ 910117 h 6557032"/>
              <a:gd name="connsiteX25210" fmla="*/ 442789 w 4610101"/>
              <a:gd name="connsiteY25210" fmla="*/ 911939 h 6557032"/>
              <a:gd name="connsiteX25211" fmla="*/ 439145 w 4610101"/>
              <a:gd name="connsiteY25211" fmla="*/ 908295 h 6557032"/>
              <a:gd name="connsiteX25212" fmla="*/ 437322 w 4610101"/>
              <a:gd name="connsiteY25212" fmla="*/ 910117 h 6557032"/>
              <a:gd name="connsiteX25213" fmla="*/ 422745 w 4610101"/>
              <a:gd name="connsiteY25213" fmla="*/ 902827 h 6557032"/>
              <a:gd name="connsiteX25214" fmla="*/ 304303 w 4610101"/>
              <a:gd name="connsiteY25214" fmla="*/ 902827 h 6557032"/>
              <a:gd name="connsiteX25215" fmla="*/ 313414 w 4610101"/>
              <a:gd name="connsiteY25215" fmla="*/ 906473 h 6557032"/>
              <a:gd name="connsiteX25216" fmla="*/ 309771 w 4610101"/>
              <a:gd name="connsiteY25216" fmla="*/ 902827 h 6557032"/>
              <a:gd name="connsiteX25217" fmla="*/ 304303 w 4610101"/>
              <a:gd name="connsiteY25217" fmla="*/ 902827 h 6557032"/>
              <a:gd name="connsiteX25218" fmla="*/ 147596 w 4610101"/>
              <a:gd name="connsiteY25218" fmla="*/ 902827 h 6557032"/>
              <a:gd name="connsiteX25219" fmla="*/ 167640 w 4610101"/>
              <a:gd name="connsiteY25219" fmla="*/ 921049 h 6557032"/>
              <a:gd name="connsiteX25220" fmla="*/ 147596 w 4610101"/>
              <a:gd name="connsiteY25220" fmla="*/ 902827 h 6557032"/>
              <a:gd name="connsiteX25221" fmla="*/ 3375247 w 4610101"/>
              <a:gd name="connsiteY25221" fmla="*/ 901450 h 6557032"/>
              <a:gd name="connsiteX25222" fmla="*/ 3367378 w 4610101"/>
              <a:gd name="connsiteY25222" fmla="*/ 904651 h 6557032"/>
              <a:gd name="connsiteX25223" fmla="*/ 3375122 w 4610101"/>
              <a:gd name="connsiteY25223" fmla="*/ 901461 h 6557032"/>
              <a:gd name="connsiteX25224" fmla="*/ 1194618 w 4610101"/>
              <a:gd name="connsiteY25224" fmla="*/ 901370 h 6557032"/>
              <a:gd name="connsiteX25225" fmla="*/ 1195346 w 4610101"/>
              <a:gd name="connsiteY25225" fmla="*/ 902827 h 6557032"/>
              <a:gd name="connsiteX25226" fmla="*/ 1194236 w 4610101"/>
              <a:gd name="connsiteY25226" fmla="*/ 904423 h 6557032"/>
              <a:gd name="connsiteX25227" fmla="*/ 3456664 w 4610101"/>
              <a:gd name="connsiteY25227" fmla="*/ 901005 h 6557032"/>
              <a:gd name="connsiteX25228" fmla="*/ 3447553 w 4610101"/>
              <a:gd name="connsiteY25228" fmla="*/ 908295 h 6557032"/>
              <a:gd name="connsiteX25229" fmla="*/ 3456664 w 4610101"/>
              <a:gd name="connsiteY25229" fmla="*/ 901005 h 6557032"/>
              <a:gd name="connsiteX25230" fmla="*/ 2582021 w 4610101"/>
              <a:gd name="connsiteY25230" fmla="*/ 901005 h 6557032"/>
              <a:gd name="connsiteX25231" fmla="*/ 2574732 w 4610101"/>
              <a:gd name="connsiteY25231" fmla="*/ 902827 h 6557032"/>
              <a:gd name="connsiteX25232" fmla="*/ 2580199 w 4610101"/>
              <a:gd name="connsiteY25232" fmla="*/ 919227 h 6557032"/>
              <a:gd name="connsiteX25233" fmla="*/ 2582021 w 4610101"/>
              <a:gd name="connsiteY25233" fmla="*/ 901005 h 6557032"/>
              <a:gd name="connsiteX25234" fmla="*/ 661449 w 4610101"/>
              <a:gd name="connsiteY25234" fmla="*/ 901005 h 6557032"/>
              <a:gd name="connsiteX25235" fmla="*/ 650516 w 4610101"/>
              <a:gd name="connsiteY25235" fmla="*/ 902827 h 6557032"/>
              <a:gd name="connsiteX25236" fmla="*/ 663272 w 4610101"/>
              <a:gd name="connsiteY25236" fmla="*/ 906473 h 6557032"/>
              <a:gd name="connsiteX25237" fmla="*/ 661449 w 4610101"/>
              <a:gd name="connsiteY25237" fmla="*/ 901005 h 6557032"/>
              <a:gd name="connsiteX25238" fmla="*/ 643228 w 4610101"/>
              <a:gd name="connsiteY25238" fmla="*/ 901005 h 6557032"/>
              <a:gd name="connsiteX25239" fmla="*/ 645050 w 4610101"/>
              <a:gd name="connsiteY25239" fmla="*/ 902827 h 6557032"/>
              <a:gd name="connsiteX25240" fmla="*/ 643228 w 4610101"/>
              <a:gd name="connsiteY25240" fmla="*/ 901005 h 6557032"/>
              <a:gd name="connsiteX25241" fmla="*/ 244172 w 4610101"/>
              <a:gd name="connsiteY25241" fmla="*/ 901005 h 6557032"/>
              <a:gd name="connsiteX25242" fmla="*/ 249448 w 4610101"/>
              <a:gd name="connsiteY25242" fmla="*/ 903267 h 6557032"/>
              <a:gd name="connsiteX25243" fmla="*/ 251460 w 4610101"/>
              <a:gd name="connsiteY25243" fmla="*/ 904651 h 6557032"/>
              <a:gd name="connsiteX25244" fmla="*/ 251391 w 4610101"/>
              <a:gd name="connsiteY25244" fmla="*/ 904100 h 6557032"/>
              <a:gd name="connsiteX25245" fmla="*/ 256927 w 4610101"/>
              <a:gd name="connsiteY25245" fmla="*/ 906473 h 6557032"/>
              <a:gd name="connsiteX25246" fmla="*/ 249638 w 4610101"/>
              <a:gd name="connsiteY25246" fmla="*/ 901005 h 6557032"/>
              <a:gd name="connsiteX25247" fmla="*/ 251232 w 4610101"/>
              <a:gd name="connsiteY25247" fmla="*/ 902828 h 6557032"/>
              <a:gd name="connsiteX25248" fmla="*/ 251391 w 4610101"/>
              <a:gd name="connsiteY25248" fmla="*/ 904100 h 6557032"/>
              <a:gd name="connsiteX25249" fmla="*/ 249448 w 4610101"/>
              <a:gd name="connsiteY25249" fmla="*/ 903267 h 6557032"/>
              <a:gd name="connsiteX25250" fmla="*/ 247816 w 4610101"/>
              <a:gd name="connsiteY25250" fmla="*/ 902145 h 6557032"/>
              <a:gd name="connsiteX25251" fmla="*/ 244172 w 4610101"/>
              <a:gd name="connsiteY25251" fmla="*/ 901005 h 6557032"/>
              <a:gd name="connsiteX25252" fmla="*/ 156707 w 4610101"/>
              <a:gd name="connsiteY25252" fmla="*/ 901005 h 6557032"/>
              <a:gd name="connsiteX25253" fmla="*/ 178573 w 4610101"/>
              <a:gd name="connsiteY25253" fmla="*/ 928339 h 6557032"/>
              <a:gd name="connsiteX25254" fmla="*/ 156707 w 4610101"/>
              <a:gd name="connsiteY25254" fmla="*/ 901005 h 6557032"/>
              <a:gd name="connsiteX25255" fmla="*/ 142130 w 4610101"/>
              <a:gd name="connsiteY25255" fmla="*/ 901005 h 6557032"/>
              <a:gd name="connsiteX25256" fmla="*/ 163996 w 4610101"/>
              <a:gd name="connsiteY25256" fmla="*/ 928339 h 6557032"/>
              <a:gd name="connsiteX25257" fmla="*/ 163996 w 4610101"/>
              <a:gd name="connsiteY25257" fmla="*/ 924695 h 6557032"/>
              <a:gd name="connsiteX25258" fmla="*/ 176751 w 4610101"/>
              <a:gd name="connsiteY25258" fmla="*/ 931983 h 6557032"/>
              <a:gd name="connsiteX25259" fmla="*/ 142130 w 4610101"/>
              <a:gd name="connsiteY25259" fmla="*/ 901005 h 6557032"/>
              <a:gd name="connsiteX25260" fmla="*/ 2591132 w 4610101"/>
              <a:gd name="connsiteY25260" fmla="*/ 899183 h 6557032"/>
              <a:gd name="connsiteX25261" fmla="*/ 2603887 w 4610101"/>
              <a:gd name="connsiteY25261" fmla="*/ 921049 h 6557032"/>
              <a:gd name="connsiteX25262" fmla="*/ 2611176 w 4610101"/>
              <a:gd name="connsiteY25262" fmla="*/ 921049 h 6557032"/>
              <a:gd name="connsiteX25263" fmla="*/ 2605709 w 4610101"/>
              <a:gd name="connsiteY25263" fmla="*/ 915583 h 6557032"/>
              <a:gd name="connsiteX25264" fmla="*/ 2607531 w 4610101"/>
              <a:gd name="connsiteY25264" fmla="*/ 913761 h 6557032"/>
              <a:gd name="connsiteX25265" fmla="*/ 2611176 w 4610101"/>
              <a:gd name="connsiteY25265" fmla="*/ 917405 h 6557032"/>
              <a:gd name="connsiteX25266" fmla="*/ 2605709 w 4610101"/>
              <a:gd name="connsiteY25266" fmla="*/ 908295 h 6557032"/>
              <a:gd name="connsiteX25267" fmla="*/ 2607531 w 4610101"/>
              <a:gd name="connsiteY25267" fmla="*/ 904651 h 6557032"/>
              <a:gd name="connsiteX25268" fmla="*/ 2591132 w 4610101"/>
              <a:gd name="connsiteY25268" fmla="*/ 899183 h 6557032"/>
              <a:gd name="connsiteX25269" fmla="*/ 2489090 w 4610101"/>
              <a:gd name="connsiteY25269" fmla="*/ 899183 h 6557032"/>
              <a:gd name="connsiteX25270" fmla="*/ 2478157 w 4610101"/>
              <a:gd name="connsiteY25270" fmla="*/ 919227 h 6557032"/>
              <a:gd name="connsiteX25271" fmla="*/ 2474513 w 4610101"/>
              <a:gd name="connsiteY25271" fmla="*/ 913761 h 6557032"/>
              <a:gd name="connsiteX25272" fmla="*/ 2481801 w 4610101"/>
              <a:gd name="connsiteY25272" fmla="*/ 944738 h 6557032"/>
              <a:gd name="connsiteX25273" fmla="*/ 2489090 w 4610101"/>
              <a:gd name="connsiteY25273" fmla="*/ 899183 h 6557032"/>
              <a:gd name="connsiteX25274" fmla="*/ 2474513 w 4610101"/>
              <a:gd name="connsiteY25274" fmla="*/ 899183 h 6557032"/>
              <a:gd name="connsiteX25275" fmla="*/ 2443536 w 4610101"/>
              <a:gd name="connsiteY25275" fmla="*/ 924695 h 6557032"/>
              <a:gd name="connsiteX25276" fmla="*/ 2445358 w 4610101"/>
              <a:gd name="connsiteY25276" fmla="*/ 931983 h 6557032"/>
              <a:gd name="connsiteX25277" fmla="*/ 2474513 w 4610101"/>
              <a:gd name="connsiteY25277" fmla="*/ 899183 h 6557032"/>
              <a:gd name="connsiteX25278" fmla="*/ 2408914 w 4610101"/>
              <a:gd name="connsiteY25278" fmla="*/ 899183 h 6557032"/>
              <a:gd name="connsiteX25279" fmla="*/ 2405270 w 4610101"/>
              <a:gd name="connsiteY25279" fmla="*/ 902827 h 6557032"/>
              <a:gd name="connsiteX25280" fmla="*/ 2410737 w 4610101"/>
              <a:gd name="connsiteY25280" fmla="*/ 908295 h 6557032"/>
              <a:gd name="connsiteX25281" fmla="*/ 2408914 w 4610101"/>
              <a:gd name="connsiteY25281" fmla="*/ 922872 h 6557032"/>
              <a:gd name="connsiteX25282" fmla="*/ 2403448 w 4610101"/>
              <a:gd name="connsiteY25282" fmla="*/ 910117 h 6557032"/>
              <a:gd name="connsiteX25283" fmla="*/ 2403448 w 4610101"/>
              <a:gd name="connsiteY25283" fmla="*/ 922872 h 6557032"/>
              <a:gd name="connsiteX25284" fmla="*/ 2399803 w 4610101"/>
              <a:gd name="connsiteY25284" fmla="*/ 922872 h 6557032"/>
              <a:gd name="connsiteX25285" fmla="*/ 2403448 w 4610101"/>
              <a:gd name="connsiteY25285" fmla="*/ 944738 h 6557032"/>
              <a:gd name="connsiteX25286" fmla="*/ 2418025 w 4610101"/>
              <a:gd name="connsiteY25286" fmla="*/ 931983 h 6557032"/>
              <a:gd name="connsiteX25287" fmla="*/ 2408914 w 4610101"/>
              <a:gd name="connsiteY25287" fmla="*/ 899183 h 6557032"/>
              <a:gd name="connsiteX25288" fmla="*/ 1344765 w 4610101"/>
              <a:gd name="connsiteY25288" fmla="*/ 899183 h 6557032"/>
              <a:gd name="connsiteX25289" fmla="*/ 1324721 w 4610101"/>
              <a:gd name="connsiteY25289" fmla="*/ 908295 h 6557032"/>
              <a:gd name="connsiteX25290" fmla="*/ 1328365 w 4610101"/>
              <a:gd name="connsiteY25290" fmla="*/ 911939 h 6557032"/>
              <a:gd name="connsiteX25291" fmla="*/ 1341120 w 4610101"/>
              <a:gd name="connsiteY25291" fmla="*/ 911939 h 6557032"/>
              <a:gd name="connsiteX25292" fmla="*/ 1341120 w 4610101"/>
              <a:gd name="connsiteY25292" fmla="*/ 906473 h 6557032"/>
              <a:gd name="connsiteX25293" fmla="*/ 1344765 w 4610101"/>
              <a:gd name="connsiteY25293" fmla="*/ 904651 h 6557032"/>
              <a:gd name="connsiteX25294" fmla="*/ 1344765 w 4610101"/>
              <a:gd name="connsiteY25294" fmla="*/ 908295 h 6557032"/>
              <a:gd name="connsiteX25295" fmla="*/ 1344765 w 4610101"/>
              <a:gd name="connsiteY25295" fmla="*/ 904651 h 6557032"/>
              <a:gd name="connsiteX25296" fmla="*/ 668738 w 4610101"/>
              <a:gd name="connsiteY25296" fmla="*/ 899183 h 6557032"/>
              <a:gd name="connsiteX25297" fmla="*/ 663272 w 4610101"/>
              <a:gd name="connsiteY25297" fmla="*/ 901005 h 6557032"/>
              <a:gd name="connsiteX25298" fmla="*/ 665094 w 4610101"/>
              <a:gd name="connsiteY25298" fmla="*/ 906473 h 6557032"/>
              <a:gd name="connsiteX25299" fmla="*/ 672383 w 4610101"/>
              <a:gd name="connsiteY25299" fmla="*/ 901005 h 6557032"/>
              <a:gd name="connsiteX25300" fmla="*/ 668738 w 4610101"/>
              <a:gd name="connsiteY25300" fmla="*/ 899183 h 6557032"/>
              <a:gd name="connsiteX25301" fmla="*/ 563052 w 4610101"/>
              <a:gd name="connsiteY25301" fmla="*/ 899183 h 6557032"/>
              <a:gd name="connsiteX25302" fmla="*/ 568519 w 4610101"/>
              <a:gd name="connsiteY25302" fmla="*/ 904651 h 6557032"/>
              <a:gd name="connsiteX25303" fmla="*/ 563052 w 4610101"/>
              <a:gd name="connsiteY25303" fmla="*/ 899183 h 6557032"/>
              <a:gd name="connsiteX25304" fmla="*/ 377190 w 4610101"/>
              <a:gd name="connsiteY25304" fmla="*/ 899183 h 6557032"/>
              <a:gd name="connsiteX25305" fmla="*/ 391768 w 4610101"/>
              <a:gd name="connsiteY25305" fmla="*/ 919227 h 6557032"/>
              <a:gd name="connsiteX25306" fmla="*/ 379012 w 4610101"/>
              <a:gd name="connsiteY25306" fmla="*/ 899183 h 6557032"/>
              <a:gd name="connsiteX25307" fmla="*/ 377190 w 4610101"/>
              <a:gd name="connsiteY25307" fmla="*/ 899183 h 6557032"/>
              <a:gd name="connsiteX25308" fmla="*/ 375368 w 4610101"/>
              <a:gd name="connsiteY25308" fmla="*/ 899183 h 6557032"/>
              <a:gd name="connsiteX25309" fmla="*/ 373546 w 4610101"/>
              <a:gd name="connsiteY25309" fmla="*/ 901005 h 6557032"/>
              <a:gd name="connsiteX25310" fmla="*/ 379012 w 4610101"/>
              <a:gd name="connsiteY25310" fmla="*/ 904651 h 6557032"/>
              <a:gd name="connsiteX25311" fmla="*/ 375368 w 4610101"/>
              <a:gd name="connsiteY25311" fmla="*/ 899183 h 6557032"/>
              <a:gd name="connsiteX25312" fmla="*/ 262393 w 4610101"/>
              <a:gd name="connsiteY25312" fmla="*/ 899183 h 6557032"/>
              <a:gd name="connsiteX25313" fmla="*/ 256927 w 4610101"/>
              <a:gd name="connsiteY25313" fmla="*/ 902827 h 6557032"/>
              <a:gd name="connsiteX25314" fmla="*/ 269682 w 4610101"/>
              <a:gd name="connsiteY25314" fmla="*/ 904651 h 6557032"/>
              <a:gd name="connsiteX25315" fmla="*/ 264216 w 4610101"/>
              <a:gd name="connsiteY25315" fmla="*/ 902827 h 6557032"/>
              <a:gd name="connsiteX25316" fmla="*/ 262393 w 4610101"/>
              <a:gd name="connsiteY25316" fmla="*/ 899183 h 6557032"/>
              <a:gd name="connsiteX25317" fmla="*/ 909265 w 4610101"/>
              <a:gd name="connsiteY25317" fmla="*/ 897401 h 6557032"/>
              <a:gd name="connsiteX25318" fmla="*/ 914732 w 4610101"/>
              <a:gd name="connsiteY25318" fmla="*/ 901046 h 6557032"/>
              <a:gd name="connsiteX25319" fmla="*/ 914732 w 4610101"/>
              <a:gd name="connsiteY25319" fmla="*/ 902868 h 6557032"/>
              <a:gd name="connsiteX25320" fmla="*/ 911087 w 4610101"/>
              <a:gd name="connsiteY25320" fmla="*/ 904700 h 6557032"/>
              <a:gd name="connsiteX25321" fmla="*/ 911087 w 4610101"/>
              <a:gd name="connsiteY25321" fmla="*/ 904699 h 6557032"/>
              <a:gd name="connsiteX25322" fmla="*/ 903799 w 4610101"/>
              <a:gd name="connsiteY25322" fmla="*/ 897397 h 6557032"/>
              <a:gd name="connsiteX25323" fmla="*/ 905621 w 4610101"/>
              <a:gd name="connsiteY25323" fmla="*/ 904694 h 6557032"/>
              <a:gd name="connsiteX25324" fmla="*/ 903799 w 4610101"/>
              <a:gd name="connsiteY25324" fmla="*/ 897397 h 6557032"/>
              <a:gd name="connsiteX25325" fmla="*/ 3427510 w 4610101"/>
              <a:gd name="connsiteY25325" fmla="*/ 897361 h 6557032"/>
              <a:gd name="connsiteX25326" fmla="*/ 3416577 w 4610101"/>
              <a:gd name="connsiteY25326" fmla="*/ 899183 h 6557032"/>
              <a:gd name="connsiteX25327" fmla="*/ 3427510 w 4610101"/>
              <a:gd name="connsiteY25327" fmla="*/ 901005 h 6557032"/>
              <a:gd name="connsiteX25328" fmla="*/ 3427510 w 4610101"/>
              <a:gd name="connsiteY25328" fmla="*/ 897361 h 6557032"/>
              <a:gd name="connsiteX25329" fmla="*/ 3135962 w 4610101"/>
              <a:gd name="connsiteY25329" fmla="*/ 897361 h 6557032"/>
              <a:gd name="connsiteX25330" fmla="*/ 3161472 w 4610101"/>
              <a:gd name="connsiteY25330" fmla="*/ 928339 h 6557032"/>
              <a:gd name="connsiteX25331" fmla="*/ 3150539 w 4610101"/>
              <a:gd name="connsiteY25331" fmla="*/ 964782 h 6557032"/>
              <a:gd name="connsiteX25332" fmla="*/ 3159650 w 4610101"/>
              <a:gd name="connsiteY25332" fmla="*/ 957494 h 6557032"/>
              <a:gd name="connsiteX25333" fmla="*/ 3174227 w 4610101"/>
              <a:gd name="connsiteY25333" fmla="*/ 948383 h 6557032"/>
              <a:gd name="connsiteX25334" fmla="*/ 3181516 w 4610101"/>
              <a:gd name="connsiteY25334" fmla="*/ 937450 h 6557032"/>
              <a:gd name="connsiteX25335" fmla="*/ 3183338 w 4610101"/>
              <a:gd name="connsiteY25335" fmla="*/ 942916 h 6557032"/>
              <a:gd name="connsiteX25336" fmla="*/ 3207027 w 4610101"/>
              <a:gd name="connsiteY25336" fmla="*/ 921049 h 6557032"/>
              <a:gd name="connsiteX25337" fmla="*/ 3168761 w 4610101"/>
              <a:gd name="connsiteY25337" fmla="*/ 910117 h 6557032"/>
              <a:gd name="connsiteX25338" fmla="*/ 3168761 w 4610101"/>
              <a:gd name="connsiteY25338" fmla="*/ 913761 h 6557032"/>
              <a:gd name="connsiteX25339" fmla="*/ 3163294 w 4610101"/>
              <a:gd name="connsiteY25339" fmla="*/ 906473 h 6557032"/>
              <a:gd name="connsiteX25340" fmla="*/ 3152361 w 4610101"/>
              <a:gd name="connsiteY25340" fmla="*/ 915583 h 6557032"/>
              <a:gd name="connsiteX25341" fmla="*/ 3150539 w 4610101"/>
              <a:gd name="connsiteY25341" fmla="*/ 904651 h 6557032"/>
              <a:gd name="connsiteX25342" fmla="*/ 3135962 w 4610101"/>
              <a:gd name="connsiteY25342" fmla="*/ 897361 h 6557032"/>
              <a:gd name="connsiteX25343" fmla="*/ 3134140 w 4610101"/>
              <a:gd name="connsiteY25343" fmla="*/ 897361 h 6557032"/>
              <a:gd name="connsiteX25344" fmla="*/ 3135962 w 4610101"/>
              <a:gd name="connsiteY25344" fmla="*/ 902827 h 6557032"/>
              <a:gd name="connsiteX25345" fmla="*/ 3134140 w 4610101"/>
              <a:gd name="connsiteY25345" fmla="*/ 897361 h 6557032"/>
              <a:gd name="connsiteX25346" fmla="*/ 2509134 w 4610101"/>
              <a:gd name="connsiteY25346" fmla="*/ 897361 h 6557032"/>
              <a:gd name="connsiteX25347" fmla="*/ 2503667 w 4610101"/>
              <a:gd name="connsiteY25347" fmla="*/ 910117 h 6557032"/>
              <a:gd name="connsiteX25348" fmla="*/ 2509134 w 4610101"/>
              <a:gd name="connsiteY25348" fmla="*/ 908295 h 6557032"/>
              <a:gd name="connsiteX25349" fmla="*/ 2509134 w 4610101"/>
              <a:gd name="connsiteY25349" fmla="*/ 897361 h 6557032"/>
              <a:gd name="connsiteX25350" fmla="*/ 1326543 w 4610101"/>
              <a:gd name="connsiteY25350" fmla="*/ 897361 h 6557032"/>
              <a:gd name="connsiteX25351" fmla="*/ 1326283 w 4610101"/>
              <a:gd name="connsiteY25351" fmla="*/ 899704 h 6557032"/>
              <a:gd name="connsiteX25352" fmla="*/ 1325983 w 4610101"/>
              <a:gd name="connsiteY25352" fmla="*/ 898202 h 6557032"/>
              <a:gd name="connsiteX25353" fmla="*/ 592207 w 4610101"/>
              <a:gd name="connsiteY25353" fmla="*/ 897361 h 6557032"/>
              <a:gd name="connsiteX25354" fmla="*/ 592207 w 4610101"/>
              <a:gd name="connsiteY25354" fmla="*/ 904651 h 6557032"/>
              <a:gd name="connsiteX25355" fmla="*/ 599496 w 4610101"/>
              <a:gd name="connsiteY25355" fmla="*/ 908295 h 6557032"/>
              <a:gd name="connsiteX25356" fmla="*/ 597673 w 4610101"/>
              <a:gd name="connsiteY25356" fmla="*/ 902827 h 6557032"/>
              <a:gd name="connsiteX25357" fmla="*/ 612251 w 4610101"/>
              <a:gd name="connsiteY25357" fmla="*/ 906473 h 6557032"/>
              <a:gd name="connsiteX25358" fmla="*/ 592207 w 4610101"/>
              <a:gd name="connsiteY25358" fmla="*/ 897361 h 6557032"/>
              <a:gd name="connsiteX25359" fmla="*/ 482876 w 4610101"/>
              <a:gd name="connsiteY25359" fmla="*/ 897361 h 6557032"/>
              <a:gd name="connsiteX25360" fmla="*/ 495632 w 4610101"/>
              <a:gd name="connsiteY25360" fmla="*/ 902827 h 6557032"/>
              <a:gd name="connsiteX25361" fmla="*/ 482876 w 4610101"/>
              <a:gd name="connsiteY25361" fmla="*/ 897361 h 6557032"/>
              <a:gd name="connsiteX25362" fmla="*/ 701537 w 4610101"/>
              <a:gd name="connsiteY25362" fmla="*/ 896906 h 6557032"/>
              <a:gd name="connsiteX25363" fmla="*/ 694249 w 4610101"/>
              <a:gd name="connsiteY25363" fmla="*/ 897361 h 6557032"/>
              <a:gd name="connsiteX25364" fmla="*/ 688782 w 4610101"/>
              <a:gd name="connsiteY25364" fmla="*/ 902827 h 6557032"/>
              <a:gd name="connsiteX25365" fmla="*/ 708826 w 4610101"/>
              <a:gd name="connsiteY25365" fmla="*/ 899183 h 6557032"/>
              <a:gd name="connsiteX25366" fmla="*/ 701537 w 4610101"/>
              <a:gd name="connsiteY25366" fmla="*/ 896906 h 6557032"/>
              <a:gd name="connsiteX25367" fmla="*/ 651428 w 4610101"/>
              <a:gd name="connsiteY25367" fmla="*/ 896906 h 6557032"/>
              <a:gd name="connsiteX25368" fmla="*/ 643228 w 4610101"/>
              <a:gd name="connsiteY25368" fmla="*/ 899183 h 6557032"/>
              <a:gd name="connsiteX25369" fmla="*/ 659627 w 4610101"/>
              <a:gd name="connsiteY25369" fmla="*/ 897361 h 6557032"/>
              <a:gd name="connsiteX25370" fmla="*/ 651428 w 4610101"/>
              <a:gd name="connsiteY25370" fmla="*/ 896906 h 6557032"/>
              <a:gd name="connsiteX25371" fmla="*/ 274465 w 4610101"/>
              <a:gd name="connsiteY25371" fmla="*/ 896223 h 6557032"/>
              <a:gd name="connsiteX25372" fmla="*/ 271504 w 4610101"/>
              <a:gd name="connsiteY25372" fmla="*/ 897361 h 6557032"/>
              <a:gd name="connsiteX25373" fmla="*/ 278793 w 4610101"/>
              <a:gd name="connsiteY25373" fmla="*/ 899183 h 6557032"/>
              <a:gd name="connsiteX25374" fmla="*/ 274465 w 4610101"/>
              <a:gd name="connsiteY25374" fmla="*/ 896223 h 6557032"/>
              <a:gd name="connsiteX25375" fmla="*/ 3196092 w 4610101"/>
              <a:gd name="connsiteY25375" fmla="*/ 895560 h 6557032"/>
              <a:gd name="connsiteX25376" fmla="*/ 3199737 w 4610101"/>
              <a:gd name="connsiteY25376" fmla="*/ 910141 h 6557032"/>
              <a:gd name="connsiteX25377" fmla="*/ 3194270 w 4610101"/>
              <a:gd name="connsiteY25377" fmla="*/ 910141 h 6557032"/>
              <a:gd name="connsiteX25378" fmla="*/ 3196092 w 4610101"/>
              <a:gd name="connsiteY25378" fmla="*/ 895560 h 6557032"/>
              <a:gd name="connsiteX25379" fmla="*/ 3310890 w 4610101"/>
              <a:gd name="connsiteY25379" fmla="*/ 895539 h 6557032"/>
              <a:gd name="connsiteX25380" fmla="*/ 3305424 w 4610101"/>
              <a:gd name="connsiteY25380" fmla="*/ 904651 h 6557032"/>
              <a:gd name="connsiteX25381" fmla="*/ 3314535 w 4610101"/>
              <a:gd name="connsiteY25381" fmla="*/ 899183 h 6557032"/>
              <a:gd name="connsiteX25382" fmla="*/ 3310890 w 4610101"/>
              <a:gd name="connsiteY25382" fmla="*/ 895539 h 6557032"/>
              <a:gd name="connsiteX25383" fmla="*/ 1297388 w 4610101"/>
              <a:gd name="connsiteY25383" fmla="*/ 895539 h 6557032"/>
              <a:gd name="connsiteX25384" fmla="*/ 1291922 w 4610101"/>
              <a:gd name="connsiteY25384" fmla="*/ 899183 h 6557032"/>
              <a:gd name="connsiteX25385" fmla="*/ 1297388 w 4610101"/>
              <a:gd name="connsiteY25385" fmla="*/ 902827 h 6557032"/>
              <a:gd name="connsiteX25386" fmla="*/ 1297388 w 4610101"/>
              <a:gd name="connsiteY25386" fmla="*/ 895539 h 6557032"/>
              <a:gd name="connsiteX25387" fmla="*/ 295193 w 4610101"/>
              <a:gd name="connsiteY25387" fmla="*/ 895539 h 6557032"/>
              <a:gd name="connsiteX25388" fmla="*/ 298837 w 4610101"/>
              <a:gd name="connsiteY25388" fmla="*/ 899183 h 6557032"/>
              <a:gd name="connsiteX25389" fmla="*/ 295193 w 4610101"/>
              <a:gd name="connsiteY25389" fmla="*/ 895539 h 6557032"/>
              <a:gd name="connsiteX25390" fmla="*/ 2698515 w 4610101"/>
              <a:gd name="connsiteY25390" fmla="*/ 894597 h 6557032"/>
              <a:gd name="connsiteX25391" fmla="*/ 2698811 w 4610101"/>
              <a:gd name="connsiteY25391" fmla="*/ 895386 h 6557032"/>
              <a:gd name="connsiteX25392" fmla="*/ 2698640 w 4610101"/>
              <a:gd name="connsiteY25392" fmla="*/ 895539 h 6557032"/>
              <a:gd name="connsiteX25393" fmla="*/ 3186072 w 4610101"/>
              <a:gd name="connsiteY25393" fmla="*/ 894172 h 6557032"/>
              <a:gd name="connsiteX25394" fmla="*/ 3176050 w 4610101"/>
              <a:gd name="connsiteY25394" fmla="*/ 895539 h 6557032"/>
              <a:gd name="connsiteX25395" fmla="*/ 3210671 w 4610101"/>
              <a:gd name="connsiteY25395" fmla="*/ 919227 h 6557032"/>
              <a:gd name="connsiteX25396" fmla="*/ 3196093 w 4610101"/>
              <a:gd name="connsiteY25396" fmla="*/ 895539 h 6557032"/>
              <a:gd name="connsiteX25397" fmla="*/ 3186072 w 4610101"/>
              <a:gd name="connsiteY25397" fmla="*/ 894172 h 6557032"/>
              <a:gd name="connsiteX25398" fmla="*/ 852778 w 4610101"/>
              <a:gd name="connsiteY25398" fmla="*/ 893717 h 6557032"/>
              <a:gd name="connsiteX25399" fmla="*/ 869177 w 4610101"/>
              <a:gd name="connsiteY25399" fmla="*/ 902827 h 6557032"/>
              <a:gd name="connsiteX25400" fmla="*/ 852778 w 4610101"/>
              <a:gd name="connsiteY25400" fmla="*/ 893717 h 6557032"/>
              <a:gd name="connsiteX25401" fmla="*/ 829089 w 4610101"/>
              <a:gd name="connsiteY25401" fmla="*/ 893717 h 6557032"/>
              <a:gd name="connsiteX25402" fmla="*/ 796290 w 4610101"/>
              <a:gd name="connsiteY25402" fmla="*/ 901005 h 6557032"/>
              <a:gd name="connsiteX25403" fmla="*/ 863711 w 4610101"/>
              <a:gd name="connsiteY25403" fmla="*/ 921049 h 6557032"/>
              <a:gd name="connsiteX25404" fmla="*/ 847311 w 4610101"/>
              <a:gd name="connsiteY25404" fmla="*/ 915583 h 6557032"/>
              <a:gd name="connsiteX25405" fmla="*/ 867355 w 4610101"/>
              <a:gd name="connsiteY25405" fmla="*/ 919227 h 6557032"/>
              <a:gd name="connsiteX25406" fmla="*/ 858244 w 4610101"/>
              <a:gd name="connsiteY25406" fmla="*/ 913761 h 6557032"/>
              <a:gd name="connsiteX25407" fmla="*/ 871000 w 4610101"/>
              <a:gd name="connsiteY25407" fmla="*/ 921049 h 6557032"/>
              <a:gd name="connsiteX25408" fmla="*/ 869177 w 4610101"/>
              <a:gd name="connsiteY25408" fmla="*/ 908295 h 6557032"/>
              <a:gd name="connsiteX25409" fmla="*/ 872822 w 4610101"/>
              <a:gd name="connsiteY25409" fmla="*/ 910117 h 6557032"/>
              <a:gd name="connsiteX25410" fmla="*/ 845489 w 4610101"/>
              <a:gd name="connsiteY25410" fmla="*/ 902827 h 6557032"/>
              <a:gd name="connsiteX25411" fmla="*/ 858244 w 4610101"/>
              <a:gd name="connsiteY25411" fmla="*/ 901005 h 6557032"/>
              <a:gd name="connsiteX25412" fmla="*/ 803579 w 4610101"/>
              <a:gd name="connsiteY25412" fmla="*/ 902827 h 6557032"/>
              <a:gd name="connsiteX25413" fmla="*/ 829089 w 4610101"/>
              <a:gd name="connsiteY25413" fmla="*/ 893717 h 6557032"/>
              <a:gd name="connsiteX25414" fmla="*/ 548475 w 4610101"/>
              <a:gd name="connsiteY25414" fmla="*/ 893717 h 6557032"/>
              <a:gd name="connsiteX25415" fmla="*/ 555763 w 4610101"/>
              <a:gd name="connsiteY25415" fmla="*/ 902827 h 6557032"/>
              <a:gd name="connsiteX25416" fmla="*/ 555763 w 4610101"/>
              <a:gd name="connsiteY25416" fmla="*/ 895539 h 6557032"/>
              <a:gd name="connsiteX25417" fmla="*/ 548475 w 4610101"/>
              <a:gd name="connsiteY25417" fmla="*/ 893717 h 6557032"/>
              <a:gd name="connsiteX25418" fmla="*/ 249638 w 4610101"/>
              <a:gd name="connsiteY25418" fmla="*/ 893717 h 6557032"/>
              <a:gd name="connsiteX25419" fmla="*/ 256927 w 4610101"/>
              <a:gd name="connsiteY25419" fmla="*/ 895539 h 6557032"/>
              <a:gd name="connsiteX25420" fmla="*/ 249638 w 4610101"/>
              <a:gd name="connsiteY25420" fmla="*/ 893717 h 6557032"/>
              <a:gd name="connsiteX25421" fmla="*/ 165818 w 4610101"/>
              <a:gd name="connsiteY25421" fmla="*/ 893717 h 6557032"/>
              <a:gd name="connsiteX25422" fmla="*/ 167578 w 4610101"/>
              <a:gd name="connsiteY25422" fmla="*/ 895037 h 6557032"/>
              <a:gd name="connsiteX25423" fmla="*/ 172195 w 4610101"/>
              <a:gd name="connsiteY25423" fmla="*/ 900095 h 6557032"/>
              <a:gd name="connsiteX25424" fmla="*/ 177297 w 4610101"/>
              <a:gd name="connsiteY25424" fmla="*/ 916532 h 6557032"/>
              <a:gd name="connsiteX25425" fmla="*/ 1066883 w 4610101"/>
              <a:gd name="connsiteY25425" fmla="*/ 892807 h 6557032"/>
              <a:gd name="connsiteX25426" fmla="*/ 1066200 w 4610101"/>
              <a:gd name="connsiteY25426" fmla="*/ 894856 h 6557032"/>
              <a:gd name="connsiteX25427" fmla="*/ 1064647 w 4610101"/>
              <a:gd name="connsiteY25427" fmla="*/ 895042 h 6557032"/>
              <a:gd name="connsiteX25428" fmla="*/ 3411110 w 4610101"/>
              <a:gd name="connsiteY25428" fmla="*/ 891894 h 6557032"/>
              <a:gd name="connsiteX25429" fmla="*/ 3409288 w 4610101"/>
              <a:gd name="connsiteY25429" fmla="*/ 897361 h 6557032"/>
              <a:gd name="connsiteX25430" fmla="*/ 3418399 w 4610101"/>
              <a:gd name="connsiteY25430" fmla="*/ 895539 h 6557032"/>
              <a:gd name="connsiteX25431" fmla="*/ 3411110 w 4610101"/>
              <a:gd name="connsiteY25431" fmla="*/ 891894 h 6557032"/>
              <a:gd name="connsiteX25432" fmla="*/ 3156006 w 4610101"/>
              <a:gd name="connsiteY25432" fmla="*/ 891894 h 6557032"/>
              <a:gd name="connsiteX25433" fmla="*/ 3146895 w 4610101"/>
              <a:gd name="connsiteY25433" fmla="*/ 897361 h 6557032"/>
              <a:gd name="connsiteX25434" fmla="*/ 3156006 w 4610101"/>
              <a:gd name="connsiteY25434" fmla="*/ 891894 h 6557032"/>
              <a:gd name="connsiteX25435" fmla="*/ 2421669 w 4610101"/>
              <a:gd name="connsiteY25435" fmla="*/ 891894 h 6557032"/>
              <a:gd name="connsiteX25436" fmla="*/ 2421669 w 4610101"/>
              <a:gd name="connsiteY25436" fmla="*/ 902827 h 6557032"/>
              <a:gd name="connsiteX25437" fmla="*/ 2421669 w 4610101"/>
              <a:gd name="connsiteY25437" fmla="*/ 891894 h 6557032"/>
              <a:gd name="connsiteX25438" fmla="*/ 1264589 w 4610101"/>
              <a:gd name="connsiteY25438" fmla="*/ 891894 h 6557032"/>
              <a:gd name="connsiteX25439" fmla="*/ 1257300 w 4610101"/>
              <a:gd name="connsiteY25439" fmla="*/ 899183 h 6557032"/>
              <a:gd name="connsiteX25440" fmla="*/ 1264589 w 4610101"/>
              <a:gd name="connsiteY25440" fmla="*/ 891894 h 6557032"/>
              <a:gd name="connsiteX25441" fmla="*/ 1160725 w 4610101"/>
              <a:gd name="connsiteY25441" fmla="*/ 891894 h 6557032"/>
              <a:gd name="connsiteX25442" fmla="*/ 1153436 w 4610101"/>
              <a:gd name="connsiteY25442" fmla="*/ 902827 h 6557032"/>
              <a:gd name="connsiteX25443" fmla="*/ 1160725 w 4610101"/>
              <a:gd name="connsiteY25443" fmla="*/ 891894 h 6557032"/>
              <a:gd name="connsiteX25444" fmla="*/ 1118815 w 4610101"/>
              <a:gd name="connsiteY25444" fmla="*/ 891894 h 6557032"/>
              <a:gd name="connsiteX25445" fmla="*/ 1118953 w 4610101"/>
              <a:gd name="connsiteY25445" fmla="*/ 892860 h 6557032"/>
              <a:gd name="connsiteX25446" fmla="*/ 1117676 w 4610101"/>
              <a:gd name="connsiteY25446" fmla="*/ 894400 h 6557032"/>
              <a:gd name="connsiteX25447" fmla="*/ 1115108 w 4610101"/>
              <a:gd name="connsiteY25447" fmla="*/ 896528 h 6557032"/>
              <a:gd name="connsiteX25448" fmla="*/ 650516 w 4610101"/>
              <a:gd name="connsiteY25448" fmla="*/ 891894 h 6557032"/>
              <a:gd name="connsiteX25449" fmla="*/ 646872 w 4610101"/>
              <a:gd name="connsiteY25449" fmla="*/ 895539 h 6557032"/>
              <a:gd name="connsiteX25450" fmla="*/ 657805 w 4610101"/>
              <a:gd name="connsiteY25450" fmla="*/ 895539 h 6557032"/>
              <a:gd name="connsiteX25451" fmla="*/ 650516 w 4610101"/>
              <a:gd name="connsiteY25451" fmla="*/ 891894 h 6557032"/>
              <a:gd name="connsiteX25452" fmla="*/ 625006 w 4610101"/>
              <a:gd name="connsiteY25452" fmla="*/ 891894 h 6557032"/>
              <a:gd name="connsiteX25453" fmla="*/ 637761 w 4610101"/>
              <a:gd name="connsiteY25453" fmla="*/ 897361 h 6557032"/>
              <a:gd name="connsiteX25454" fmla="*/ 625006 w 4610101"/>
              <a:gd name="connsiteY25454" fmla="*/ 891894 h 6557032"/>
              <a:gd name="connsiteX25455" fmla="*/ 404523 w 4610101"/>
              <a:gd name="connsiteY25455" fmla="*/ 891894 h 6557032"/>
              <a:gd name="connsiteX25456" fmla="*/ 417278 w 4610101"/>
              <a:gd name="connsiteY25456" fmla="*/ 902827 h 6557032"/>
              <a:gd name="connsiteX25457" fmla="*/ 382657 w 4610101"/>
              <a:gd name="connsiteY25457" fmla="*/ 895539 h 6557032"/>
              <a:gd name="connsiteX25458" fmla="*/ 397234 w 4610101"/>
              <a:gd name="connsiteY25458" fmla="*/ 910117 h 6557032"/>
              <a:gd name="connsiteX25459" fmla="*/ 395412 w 4610101"/>
              <a:gd name="connsiteY25459" fmla="*/ 910117 h 6557032"/>
              <a:gd name="connsiteX25460" fmla="*/ 400879 w 4610101"/>
              <a:gd name="connsiteY25460" fmla="*/ 919227 h 6557032"/>
              <a:gd name="connsiteX25461" fmla="*/ 397234 w 4610101"/>
              <a:gd name="connsiteY25461" fmla="*/ 911939 h 6557032"/>
              <a:gd name="connsiteX25462" fmla="*/ 395412 w 4610101"/>
              <a:gd name="connsiteY25462" fmla="*/ 910117 h 6557032"/>
              <a:gd name="connsiteX25463" fmla="*/ 398680 w 4610101"/>
              <a:gd name="connsiteY25463" fmla="*/ 911939 h 6557032"/>
              <a:gd name="connsiteX25464" fmla="*/ 407256 w 4610101"/>
              <a:gd name="connsiteY25464" fmla="*/ 916722 h 6557032"/>
              <a:gd name="connsiteX25465" fmla="*/ 415193 w 4610101"/>
              <a:gd name="connsiteY25465" fmla="*/ 918401 h 6557032"/>
              <a:gd name="connsiteX25466" fmla="*/ 422745 w 4610101"/>
              <a:gd name="connsiteY25466" fmla="*/ 924695 h 6557032"/>
              <a:gd name="connsiteX25467" fmla="*/ 422745 w 4610101"/>
              <a:gd name="connsiteY25467" fmla="*/ 917405 h 6557032"/>
              <a:gd name="connsiteX25468" fmla="*/ 412927 w 4610101"/>
              <a:gd name="connsiteY25468" fmla="*/ 915770 h 6557032"/>
              <a:gd name="connsiteX25469" fmla="*/ 411812 w 4610101"/>
              <a:gd name="connsiteY25469" fmla="*/ 913761 h 6557032"/>
              <a:gd name="connsiteX25470" fmla="*/ 409989 w 4610101"/>
              <a:gd name="connsiteY25470" fmla="*/ 915583 h 6557032"/>
              <a:gd name="connsiteX25471" fmla="*/ 404523 w 4610101"/>
              <a:gd name="connsiteY25471" fmla="*/ 902827 h 6557032"/>
              <a:gd name="connsiteX25472" fmla="*/ 422745 w 4610101"/>
              <a:gd name="connsiteY25472" fmla="*/ 915583 h 6557032"/>
              <a:gd name="connsiteX25473" fmla="*/ 417278 w 4610101"/>
              <a:gd name="connsiteY25473" fmla="*/ 904651 h 6557032"/>
              <a:gd name="connsiteX25474" fmla="*/ 419100 w 4610101"/>
              <a:gd name="connsiteY25474" fmla="*/ 897361 h 6557032"/>
              <a:gd name="connsiteX25475" fmla="*/ 404523 w 4610101"/>
              <a:gd name="connsiteY25475" fmla="*/ 891894 h 6557032"/>
              <a:gd name="connsiteX25476" fmla="*/ 338926 w 4610101"/>
              <a:gd name="connsiteY25476" fmla="*/ 891894 h 6557032"/>
              <a:gd name="connsiteX25477" fmla="*/ 348037 w 4610101"/>
              <a:gd name="connsiteY25477" fmla="*/ 895539 h 6557032"/>
              <a:gd name="connsiteX25478" fmla="*/ 338926 w 4610101"/>
              <a:gd name="connsiteY25478" fmla="*/ 891894 h 6557032"/>
              <a:gd name="connsiteX25479" fmla="*/ 118442 w 4610101"/>
              <a:gd name="connsiteY25479" fmla="*/ 891894 h 6557032"/>
              <a:gd name="connsiteX25480" fmla="*/ 123784 w 4610101"/>
              <a:gd name="connsiteY25480" fmla="*/ 904503 h 6557032"/>
              <a:gd name="connsiteX25481" fmla="*/ 119125 w 4610101"/>
              <a:gd name="connsiteY25481" fmla="*/ 898956 h 6557032"/>
              <a:gd name="connsiteX25482" fmla="*/ 118442 w 4610101"/>
              <a:gd name="connsiteY25482" fmla="*/ 891894 h 6557032"/>
              <a:gd name="connsiteX25483" fmla="*/ 3225248 w 4610101"/>
              <a:gd name="connsiteY25483" fmla="*/ 890072 h 6557032"/>
              <a:gd name="connsiteX25484" fmla="*/ 3219782 w 4610101"/>
              <a:gd name="connsiteY25484" fmla="*/ 895539 h 6557032"/>
              <a:gd name="connsiteX25485" fmla="*/ 3227071 w 4610101"/>
              <a:gd name="connsiteY25485" fmla="*/ 897361 h 6557032"/>
              <a:gd name="connsiteX25486" fmla="*/ 3225248 w 4610101"/>
              <a:gd name="connsiteY25486" fmla="*/ 890072 h 6557032"/>
              <a:gd name="connsiteX25487" fmla="*/ 3205204 w 4610101"/>
              <a:gd name="connsiteY25487" fmla="*/ 890072 h 6557032"/>
              <a:gd name="connsiteX25488" fmla="*/ 3210671 w 4610101"/>
              <a:gd name="connsiteY25488" fmla="*/ 897361 h 6557032"/>
              <a:gd name="connsiteX25489" fmla="*/ 3205204 w 4610101"/>
              <a:gd name="connsiteY25489" fmla="*/ 890072 h 6557032"/>
              <a:gd name="connsiteX25490" fmla="*/ 419100 w 4610101"/>
              <a:gd name="connsiteY25490" fmla="*/ 890072 h 6557032"/>
              <a:gd name="connsiteX25491" fmla="*/ 424567 w 4610101"/>
              <a:gd name="connsiteY25491" fmla="*/ 893717 h 6557032"/>
              <a:gd name="connsiteX25492" fmla="*/ 419100 w 4610101"/>
              <a:gd name="connsiteY25492" fmla="*/ 890072 h 6557032"/>
              <a:gd name="connsiteX25493" fmla="*/ 1303267 w 4610101"/>
              <a:gd name="connsiteY25493" fmla="*/ 889969 h 6557032"/>
              <a:gd name="connsiteX25494" fmla="*/ 1302855 w 4610101"/>
              <a:gd name="connsiteY25494" fmla="*/ 891894 h 6557032"/>
              <a:gd name="connsiteX25495" fmla="*/ 1302490 w 4610101"/>
              <a:gd name="connsiteY25495" fmla="*/ 891530 h 6557032"/>
              <a:gd name="connsiteX25496" fmla="*/ 1302855 w 4610101"/>
              <a:gd name="connsiteY25496" fmla="*/ 890072 h 6557032"/>
              <a:gd name="connsiteX25497" fmla="*/ 238846 w 4610101"/>
              <a:gd name="connsiteY25497" fmla="*/ 889477 h 6557032"/>
              <a:gd name="connsiteX25498" fmla="*/ 240251 w 4610101"/>
              <a:gd name="connsiteY25498" fmla="*/ 889784 h 6557032"/>
              <a:gd name="connsiteX25499" fmla="*/ 240527 w 4610101"/>
              <a:gd name="connsiteY25499" fmla="*/ 890072 h 6557032"/>
              <a:gd name="connsiteX25500" fmla="*/ 3161700 w 4610101"/>
              <a:gd name="connsiteY25500" fmla="*/ 889389 h 6557032"/>
              <a:gd name="connsiteX25501" fmla="*/ 3157828 w 4610101"/>
              <a:gd name="connsiteY25501" fmla="*/ 890072 h 6557032"/>
              <a:gd name="connsiteX25502" fmla="*/ 3165116 w 4610101"/>
              <a:gd name="connsiteY25502" fmla="*/ 897361 h 6557032"/>
              <a:gd name="connsiteX25503" fmla="*/ 3159650 w 4610101"/>
              <a:gd name="connsiteY25503" fmla="*/ 899183 h 6557032"/>
              <a:gd name="connsiteX25504" fmla="*/ 3168761 w 4610101"/>
              <a:gd name="connsiteY25504" fmla="*/ 904651 h 6557032"/>
              <a:gd name="connsiteX25505" fmla="*/ 3166939 w 4610101"/>
              <a:gd name="connsiteY25505" fmla="*/ 890072 h 6557032"/>
              <a:gd name="connsiteX25506" fmla="*/ 3161700 w 4610101"/>
              <a:gd name="connsiteY25506" fmla="*/ 889389 h 6557032"/>
              <a:gd name="connsiteX25507" fmla="*/ 1425404 w 4610101"/>
              <a:gd name="connsiteY25507" fmla="*/ 888343 h 6557032"/>
              <a:gd name="connsiteX25508" fmla="*/ 1427217 w 4610101"/>
              <a:gd name="connsiteY25508" fmla="*/ 888706 h 6557032"/>
              <a:gd name="connsiteX25509" fmla="*/ 1434051 w 4610101"/>
              <a:gd name="connsiteY25509" fmla="*/ 895539 h 6557032"/>
              <a:gd name="connsiteX25510" fmla="*/ 1423118 w 4610101"/>
              <a:gd name="connsiteY25510" fmla="*/ 895539 h 6557032"/>
              <a:gd name="connsiteX25511" fmla="*/ 1426763 w 4610101"/>
              <a:gd name="connsiteY25511" fmla="*/ 890072 h 6557032"/>
              <a:gd name="connsiteX25512" fmla="*/ 3429332 w 4610101"/>
              <a:gd name="connsiteY25512" fmla="*/ 888250 h 6557032"/>
              <a:gd name="connsiteX25513" fmla="*/ 3429332 w 4610101"/>
              <a:gd name="connsiteY25513" fmla="*/ 893717 h 6557032"/>
              <a:gd name="connsiteX25514" fmla="*/ 3440265 w 4610101"/>
              <a:gd name="connsiteY25514" fmla="*/ 897361 h 6557032"/>
              <a:gd name="connsiteX25515" fmla="*/ 3429332 w 4610101"/>
              <a:gd name="connsiteY25515" fmla="*/ 893717 h 6557032"/>
              <a:gd name="connsiteX25516" fmla="*/ 3436621 w 4610101"/>
              <a:gd name="connsiteY25516" fmla="*/ 890072 h 6557032"/>
              <a:gd name="connsiteX25517" fmla="*/ 3429332 w 4610101"/>
              <a:gd name="connsiteY25517" fmla="*/ 888250 h 6557032"/>
              <a:gd name="connsiteX25518" fmla="*/ 3254403 w 4610101"/>
              <a:gd name="connsiteY25518" fmla="*/ 888250 h 6557032"/>
              <a:gd name="connsiteX25519" fmla="*/ 3261692 w 4610101"/>
              <a:gd name="connsiteY25519" fmla="*/ 897361 h 6557032"/>
              <a:gd name="connsiteX25520" fmla="*/ 3254403 w 4610101"/>
              <a:gd name="connsiteY25520" fmla="*/ 888250 h 6557032"/>
              <a:gd name="connsiteX25521" fmla="*/ 2297762 w 4610101"/>
              <a:gd name="connsiteY25521" fmla="*/ 888250 h 6557032"/>
              <a:gd name="connsiteX25522" fmla="*/ 2290473 w 4610101"/>
              <a:gd name="connsiteY25522" fmla="*/ 893717 h 6557032"/>
              <a:gd name="connsiteX25523" fmla="*/ 2297762 w 4610101"/>
              <a:gd name="connsiteY25523" fmla="*/ 901005 h 6557032"/>
              <a:gd name="connsiteX25524" fmla="*/ 2292295 w 4610101"/>
              <a:gd name="connsiteY25524" fmla="*/ 901005 h 6557032"/>
              <a:gd name="connsiteX25525" fmla="*/ 2290473 w 4610101"/>
              <a:gd name="connsiteY25525" fmla="*/ 910117 h 6557032"/>
              <a:gd name="connsiteX25526" fmla="*/ 2301406 w 4610101"/>
              <a:gd name="connsiteY25526" fmla="*/ 897361 h 6557032"/>
              <a:gd name="connsiteX25527" fmla="*/ 2297762 w 4610101"/>
              <a:gd name="connsiteY25527" fmla="*/ 888250 h 6557032"/>
              <a:gd name="connsiteX25528" fmla="*/ 572163 w 4610101"/>
              <a:gd name="connsiteY25528" fmla="*/ 888250 h 6557032"/>
              <a:gd name="connsiteX25529" fmla="*/ 573985 w 4610101"/>
              <a:gd name="connsiteY25529" fmla="*/ 901005 h 6557032"/>
              <a:gd name="connsiteX25530" fmla="*/ 572163 w 4610101"/>
              <a:gd name="connsiteY25530" fmla="*/ 888250 h 6557032"/>
              <a:gd name="connsiteX25531" fmla="*/ 484700 w 4610101"/>
              <a:gd name="connsiteY25531" fmla="*/ 888250 h 6557032"/>
              <a:gd name="connsiteX25532" fmla="*/ 493809 w 4610101"/>
              <a:gd name="connsiteY25532" fmla="*/ 897361 h 6557032"/>
              <a:gd name="connsiteX25533" fmla="*/ 484700 w 4610101"/>
              <a:gd name="connsiteY25533" fmla="*/ 888250 h 6557032"/>
              <a:gd name="connsiteX25534" fmla="*/ 1425198 w 4610101"/>
              <a:gd name="connsiteY25534" fmla="*/ 888079 h 6557032"/>
              <a:gd name="connsiteX25535" fmla="*/ 1425404 w 4610101"/>
              <a:gd name="connsiteY25535" fmla="*/ 888343 h 6557032"/>
              <a:gd name="connsiteX25536" fmla="*/ 1424940 w 4610101"/>
              <a:gd name="connsiteY25536" fmla="*/ 888250 h 6557032"/>
              <a:gd name="connsiteX25537" fmla="*/ 596534 w 4610101"/>
              <a:gd name="connsiteY25537" fmla="*/ 887795 h 6557032"/>
              <a:gd name="connsiteX25538" fmla="*/ 595852 w 4610101"/>
              <a:gd name="connsiteY25538" fmla="*/ 893717 h 6557032"/>
              <a:gd name="connsiteX25539" fmla="*/ 630472 w 4610101"/>
              <a:gd name="connsiteY25539" fmla="*/ 904651 h 6557032"/>
              <a:gd name="connsiteX25540" fmla="*/ 608606 w 4610101"/>
              <a:gd name="connsiteY25540" fmla="*/ 901005 h 6557032"/>
              <a:gd name="connsiteX25541" fmla="*/ 623185 w 4610101"/>
              <a:gd name="connsiteY25541" fmla="*/ 901005 h 6557032"/>
              <a:gd name="connsiteX25542" fmla="*/ 604963 w 4610101"/>
              <a:gd name="connsiteY25542" fmla="*/ 891894 h 6557032"/>
              <a:gd name="connsiteX25543" fmla="*/ 606784 w 4610101"/>
              <a:gd name="connsiteY25543" fmla="*/ 890072 h 6557032"/>
              <a:gd name="connsiteX25544" fmla="*/ 596534 w 4610101"/>
              <a:gd name="connsiteY25544" fmla="*/ 887795 h 6557032"/>
              <a:gd name="connsiteX25545" fmla="*/ 2546944 w 4610101"/>
              <a:gd name="connsiteY25545" fmla="*/ 887567 h 6557032"/>
              <a:gd name="connsiteX25546" fmla="*/ 2541933 w 4610101"/>
              <a:gd name="connsiteY25546" fmla="*/ 891894 h 6557032"/>
              <a:gd name="connsiteX25547" fmla="*/ 2512778 w 4610101"/>
              <a:gd name="connsiteY25547" fmla="*/ 897361 h 6557032"/>
              <a:gd name="connsiteX25548" fmla="*/ 2516423 w 4610101"/>
              <a:gd name="connsiteY25548" fmla="*/ 904651 h 6557032"/>
              <a:gd name="connsiteX25549" fmla="*/ 2527356 w 4610101"/>
              <a:gd name="connsiteY25549" fmla="*/ 899183 h 6557032"/>
              <a:gd name="connsiteX25550" fmla="*/ 2516423 w 4610101"/>
              <a:gd name="connsiteY25550" fmla="*/ 908295 h 6557032"/>
              <a:gd name="connsiteX25551" fmla="*/ 2543755 w 4610101"/>
              <a:gd name="connsiteY25551" fmla="*/ 924695 h 6557032"/>
              <a:gd name="connsiteX25552" fmla="*/ 2554688 w 4610101"/>
              <a:gd name="connsiteY25552" fmla="*/ 919227 h 6557032"/>
              <a:gd name="connsiteX25553" fmla="*/ 2552866 w 4610101"/>
              <a:gd name="connsiteY25553" fmla="*/ 928339 h 6557032"/>
              <a:gd name="connsiteX25554" fmla="*/ 2571088 w 4610101"/>
              <a:gd name="connsiteY25554" fmla="*/ 939272 h 6557032"/>
              <a:gd name="connsiteX25555" fmla="*/ 2583843 w 4610101"/>
              <a:gd name="connsiteY25555" fmla="*/ 942916 h 6557032"/>
              <a:gd name="connsiteX25556" fmla="*/ 2580199 w 4610101"/>
              <a:gd name="connsiteY25556" fmla="*/ 922872 h 6557032"/>
              <a:gd name="connsiteX25557" fmla="*/ 2561977 w 4610101"/>
              <a:gd name="connsiteY25557" fmla="*/ 921049 h 6557032"/>
              <a:gd name="connsiteX25558" fmla="*/ 2565621 w 4610101"/>
              <a:gd name="connsiteY25558" fmla="*/ 910117 h 6557032"/>
              <a:gd name="connsiteX25559" fmla="*/ 2558332 w 4610101"/>
              <a:gd name="connsiteY25559" fmla="*/ 911939 h 6557032"/>
              <a:gd name="connsiteX25560" fmla="*/ 2565621 w 4610101"/>
              <a:gd name="connsiteY25560" fmla="*/ 897361 h 6557032"/>
              <a:gd name="connsiteX25561" fmla="*/ 2554688 w 4610101"/>
              <a:gd name="connsiteY25561" fmla="*/ 895539 h 6557032"/>
              <a:gd name="connsiteX25562" fmla="*/ 2558332 w 4610101"/>
              <a:gd name="connsiteY25562" fmla="*/ 906473 h 6557032"/>
              <a:gd name="connsiteX25563" fmla="*/ 2554688 w 4610101"/>
              <a:gd name="connsiteY25563" fmla="*/ 890072 h 6557032"/>
              <a:gd name="connsiteX25564" fmla="*/ 2546944 w 4610101"/>
              <a:gd name="connsiteY25564" fmla="*/ 887567 h 6557032"/>
              <a:gd name="connsiteX25565" fmla="*/ 667600 w 4610101"/>
              <a:gd name="connsiteY25565" fmla="*/ 887112 h 6557032"/>
              <a:gd name="connsiteX25566" fmla="*/ 663272 w 4610101"/>
              <a:gd name="connsiteY25566" fmla="*/ 888250 h 6557032"/>
              <a:gd name="connsiteX25567" fmla="*/ 668738 w 4610101"/>
              <a:gd name="connsiteY25567" fmla="*/ 893717 h 6557032"/>
              <a:gd name="connsiteX25568" fmla="*/ 665094 w 4610101"/>
              <a:gd name="connsiteY25568" fmla="*/ 890072 h 6557032"/>
              <a:gd name="connsiteX25569" fmla="*/ 670560 w 4610101"/>
              <a:gd name="connsiteY25569" fmla="*/ 890072 h 6557032"/>
              <a:gd name="connsiteX25570" fmla="*/ 667600 w 4610101"/>
              <a:gd name="connsiteY25570" fmla="*/ 887112 h 6557032"/>
              <a:gd name="connsiteX25571" fmla="*/ 906077 w 4610101"/>
              <a:gd name="connsiteY25571" fmla="*/ 886770 h 6557032"/>
              <a:gd name="connsiteX25572" fmla="*/ 894232 w 4610101"/>
              <a:gd name="connsiteY25572" fmla="*/ 887795 h 6557032"/>
              <a:gd name="connsiteX25573" fmla="*/ 869177 w 4610101"/>
              <a:gd name="connsiteY25573" fmla="*/ 891894 h 6557032"/>
              <a:gd name="connsiteX25574" fmla="*/ 881933 w 4610101"/>
              <a:gd name="connsiteY25574" fmla="*/ 911939 h 6557032"/>
              <a:gd name="connsiteX25575" fmla="*/ 901976 w 4610101"/>
              <a:gd name="connsiteY25575" fmla="*/ 928339 h 6557032"/>
              <a:gd name="connsiteX25576" fmla="*/ 911087 w 4610101"/>
              <a:gd name="connsiteY25576" fmla="*/ 917405 h 6557032"/>
              <a:gd name="connsiteX25577" fmla="*/ 918376 w 4610101"/>
              <a:gd name="connsiteY25577" fmla="*/ 941094 h 6557032"/>
              <a:gd name="connsiteX25578" fmla="*/ 918376 w 4610101"/>
              <a:gd name="connsiteY25578" fmla="*/ 933804 h 6557032"/>
              <a:gd name="connsiteX25579" fmla="*/ 920198 w 4610101"/>
              <a:gd name="connsiteY25579" fmla="*/ 928339 h 6557032"/>
              <a:gd name="connsiteX25580" fmla="*/ 927487 w 4610101"/>
              <a:gd name="connsiteY25580" fmla="*/ 939272 h 6557032"/>
              <a:gd name="connsiteX25581" fmla="*/ 923843 w 4610101"/>
              <a:gd name="connsiteY25581" fmla="*/ 924695 h 6557032"/>
              <a:gd name="connsiteX25582" fmla="*/ 923843 w 4610101"/>
              <a:gd name="connsiteY25582" fmla="*/ 919227 h 6557032"/>
              <a:gd name="connsiteX25583" fmla="*/ 927487 w 4610101"/>
              <a:gd name="connsiteY25583" fmla="*/ 924695 h 6557032"/>
              <a:gd name="connsiteX25584" fmla="*/ 922020 w 4610101"/>
              <a:gd name="connsiteY25584" fmla="*/ 913761 h 6557032"/>
              <a:gd name="connsiteX25585" fmla="*/ 923843 w 4610101"/>
              <a:gd name="connsiteY25585" fmla="*/ 919227 h 6557032"/>
              <a:gd name="connsiteX25586" fmla="*/ 914732 w 4610101"/>
              <a:gd name="connsiteY25586" fmla="*/ 908295 h 6557032"/>
              <a:gd name="connsiteX25587" fmla="*/ 920198 w 4610101"/>
              <a:gd name="connsiteY25587" fmla="*/ 910117 h 6557032"/>
              <a:gd name="connsiteX25588" fmla="*/ 918376 w 4610101"/>
              <a:gd name="connsiteY25588" fmla="*/ 904651 h 6557032"/>
              <a:gd name="connsiteX25589" fmla="*/ 916555 w 4610101"/>
              <a:gd name="connsiteY25589" fmla="*/ 891894 h 6557032"/>
              <a:gd name="connsiteX25590" fmla="*/ 906077 w 4610101"/>
              <a:gd name="connsiteY25590" fmla="*/ 886770 h 6557032"/>
              <a:gd name="connsiteX25591" fmla="*/ 1427567 w 4610101"/>
              <a:gd name="connsiteY25591" fmla="*/ 886499 h 6557032"/>
              <a:gd name="connsiteX25592" fmla="*/ 1434727 w 4610101"/>
              <a:gd name="connsiteY25592" fmla="*/ 886691 h 6557032"/>
              <a:gd name="connsiteX25593" fmla="*/ 1434051 w 4610101"/>
              <a:gd name="connsiteY25593" fmla="*/ 890072 h 6557032"/>
              <a:gd name="connsiteX25594" fmla="*/ 1427217 w 4610101"/>
              <a:gd name="connsiteY25594" fmla="*/ 888706 h 6557032"/>
              <a:gd name="connsiteX25595" fmla="*/ 1426033 w 4610101"/>
              <a:gd name="connsiteY25595" fmla="*/ 887522 h 6557032"/>
              <a:gd name="connsiteX25596" fmla="*/ 779892 w 4610101"/>
              <a:gd name="connsiteY25596" fmla="*/ 886428 h 6557032"/>
              <a:gd name="connsiteX25597" fmla="*/ 772602 w 4610101"/>
              <a:gd name="connsiteY25597" fmla="*/ 890072 h 6557032"/>
              <a:gd name="connsiteX25598" fmla="*/ 783535 w 4610101"/>
              <a:gd name="connsiteY25598" fmla="*/ 893717 h 6557032"/>
              <a:gd name="connsiteX25599" fmla="*/ 779892 w 4610101"/>
              <a:gd name="connsiteY25599" fmla="*/ 886428 h 6557032"/>
              <a:gd name="connsiteX25600" fmla="*/ 732515 w 4610101"/>
              <a:gd name="connsiteY25600" fmla="*/ 886428 h 6557032"/>
              <a:gd name="connsiteX25601" fmla="*/ 728870 w 4610101"/>
              <a:gd name="connsiteY25601" fmla="*/ 890072 h 6557032"/>
              <a:gd name="connsiteX25602" fmla="*/ 743447 w 4610101"/>
              <a:gd name="connsiteY25602" fmla="*/ 893717 h 6557032"/>
              <a:gd name="connsiteX25603" fmla="*/ 732515 w 4610101"/>
              <a:gd name="connsiteY25603" fmla="*/ 886428 h 6557032"/>
              <a:gd name="connsiteX25604" fmla="*/ 433678 w 4610101"/>
              <a:gd name="connsiteY25604" fmla="*/ 886428 h 6557032"/>
              <a:gd name="connsiteX25605" fmla="*/ 444611 w 4610101"/>
              <a:gd name="connsiteY25605" fmla="*/ 893717 h 6557032"/>
              <a:gd name="connsiteX25606" fmla="*/ 433678 w 4610101"/>
              <a:gd name="connsiteY25606" fmla="*/ 886428 h 6557032"/>
              <a:gd name="connsiteX25607" fmla="*/ 406082 w 4610101"/>
              <a:gd name="connsiteY25607" fmla="*/ 886208 h 6557032"/>
              <a:gd name="connsiteX25608" fmla="*/ 406345 w 4610101"/>
              <a:gd name="connsiteY25608" fmla="*/ 886428 h 6557032"/>
              <a:gd name="connsiteX25609" fmla="*/ 406210 w 4610101"/>
              <a:gd name="connsiteY25609" fmla="*/ 886407 h 6557032"/>
              <a:gd name="connsiteX25610" fmla="*/ 154233 w 4610101"/>
              <a:gd name="connsiteY25610" fmla="*/ 885574 h 6557032"/>
              <a:gd name="connsiteX25611" fmla="*/ 156707 w 4610101"/>
              <a:gd name="connsiteY25611" fmla="*/ 890072 h 6557032"/>
              <a:gd name="connsiteX25612" fmla="*/ 154570 w 4610101"/>
              <a:gd name="connsiteY25612" fmla="*/ 887427 h 6557032"/>
              <a:gd name="connsiteX25613" fmla="*/ 315773 w 4610101"/>
              <a:gd name="connsiteY25613" fmla="*/ 884820 h 6557032"/>
              <a:gd name="connsiteX25614" fmla="*/ 317059 w 4610101"/>
              <a:gd name="connsiteY25614" fmla="*/ 888250 h 6557032"/>
              <a:gd name="connsiteX25615" fmla="*/ 315377 w 4610101"/>
              <a:gd name="connsiteY25615" fmla="*/ 886007 h 6557032"/>
              <a:gd name="connsiteX25616" fmla="*/ 2702284 w 4610101"/>
              <a:gd name="connsiteY25616" fmla="*/ 884606 h 6557032"/>
              <a:gd name="connsiteX25617" fmla="*/ 2697729 w 4610101"/>
              <a:gd name="connsiteY25617" fmla="*/ 888706 h 6557032"/>
              <a:gd name="connsiteX25618" fmla="*/ 2698515 w 4610101"/>
              <a:gd name="connsiteY25618" fmla="*/ 894597 h 6557032"/>
              <a:gd name="connsiteX25619" fmla="*/ 2696818 w 4610101"/>
              <a:gd name="connsiteY25619" fmla="*/ 890072 h 6557032"/>
              <a:gd name="connsiteX25620" fmla="*/ 2693174 w 4610101"/>
              <a:gd name="connsiteY25620" fmla="*/ 901005 h 6557032"/>
              <a:gd name="connsiteX25621" fmla="*/ 2702284 w 4610101"/>
              <a:gd name="connsiteY25621" fmla="*/ 904651 h 6557032"/>
              <a:gd name="connsiteX25622" fmla="*/ 2698811 w 4610101"/>
              <a:gd name="connsiteY25622" fmla="*/ 895386 h 6557032"/>
              <a:gd name="connsiteX25623" fmla="*/ 2703195 w 4610101"/>
              <a:gd name="connsiteY25623" fmla="*/ 891439 h 6557032"/>
              <a:gd name="connsiteX25624" fmla="*/ 2702284 w 4610101"/>
              <a:gd name="connsiteY25624" fmla="*/ 884606 h 6557032"/>
              <a:gd name="connsiteX25625" fmla="*/ 2580199 w 4610101"/>
              <a:gd name="connsiteY25625" fmla="*/ 884606 h 6557032"/>
              <a:gd name="connsiteX25626" fmla="*/ 2578377 w 4610101"/>
              <a:gd name="connsiteY25626" fmla="*/ 891894 h 6557032"/>
              <a:gd name="connsiteX25627" fmla="*/ 2583843 w 4610101"/>
              <a:gd name="connsiteY25627" fmla="*/ 893717 h 6557032"/>
              <a:gd name="connsiteX25628" fmla="*/ 2583843 w 4610101"/>
              <a:gd name="connsiteY25628" fmla="*/ 886428 h 6557032"/>
              <a:gd name="connsiteX25629" fmla="*/ 2580199 w 4610101"/>
              <a:gd name="connsiteY25629" fmla="*/ 884606 h 6557032"/>
              <a:gd name="connsiteX25630" fmla="*/ 2483624 w 4610101"/>
              <a:gd name="connsiteY25630" fmla="*/ 884606 h 6557032"/>
              <a:gd name="connsiteX25631" fmla="*/ 2472690 w 4610101"/>
              <a:gd name="connsiteY25631" fmla="*/ 893717 h 6557032"/>
              <a:gd name="connsiteX25632" fmla="*/ 2479979 w 4610101"/>
              <a:gd name="connsiteY25632" fmla="*/ 893717 h 6557032"/>
              <a:gd name="connsiteX25633" fmla="*/ 2483624 w 4610101"/>
              <a:gd name="connsiteY25633" fmla="*/ 884606 h 6557032"/>
              <a:gd name="connsiteX25634" fmla="*/ 2394337 w 4610101"/>
              <a:gd name="connsiteY25634" fmla="*/ 884606 h 6557032"/>
              <a:gd name="connsiteX25635" fmla="*/ 2390693 w 4610101"/>
              <a:gd name="connsiteY25635" fmla="*/ 904651 h 6557032"/>
              <a:gd name="connsiteX25636" fmla="*/ 2394337 w 4610101"/>
              <a:gd name="connsiteY25636" fmla="*/ 884606 h 6557032"/>
              <a:gd name="connsiteX25637" fmla="*/ 632296 w 4610101"/>
              <a:gd name="connsiteY25637" fmla="*/ 884606 h 6557032"/>
              <a:gd name="connsiteX25638" fmla="*/ 630472 w 4610101"/>
              <a:gd name="connsiteY25638" fmla="*/ 888250 h 6557032"/>
              <a:gd name="connsiteX25639" fmla="*/ 637761 w 4610101"/>
              <a:gd name="connsiteY25639" fmla="*/ 890072 h 6557032"/>
              <a:gd name="connsiteX25640" fmla="*/ 632296 w 4610101"/>
              <a:gd name="connsiteY25640" fmla="*/ 884606 h 6557032"/>
              <a:gd name="connsiteX25641" fmla="*/ 579452 w 4610101"/>
              <a:gd name="connsiteY25641" fmla="*/ 884606 h 6557032"/>
              <a:gd name="connsiteX25642" fmla="*/ 583096 w 4610101"/>
              <a:gd name="connsiteY25642" fmla="*/ 890072 h 6557032"/>
              <a:gd name="connsiteX25643" fmla="*/ 584919 w 4610101"/>
              <a:gd name="connsiteY25643" fmla="*/ 886428 h 6557032"/>
              <a:gd name="connsiteX25644" fmla="*/ 579452 w 4610101"/>
              <a:gd name="connsiteY25644" fmla="*/ 884606 h 6557032"/>
              <a:gd name="connsiteX25645" fmla="*/ 360791 w 4610101"/>
              <a:gd name="connsiteY25645" fmla="*/ 884606 h 6557032"/>
              <a:gd name="connsiteX25646" fmla="*/ 368079 w 4610101"/>
              <a:gd name="connsiteY25646" fmla="*/ 886428 h 6557032"/>
              <a:gd name="connsiteX25647" fmla="*/ 360791 w 4610101"/>
              <a:gd name="connsiteY25647" fmla="*/ 884606 h 6557032"/>
              <a:gd name="connsiteX25648" fmla="*/ 224128 w 4610101"/>
              <a:gd name="connsiteY25648" fmla="*/ 884606 h 6557032"/>
              <a:gd name="connsiteX25649" fmla="*/ 235061 w 4610101"/>
              <a:gd name="connsiteY25649" fmla="*/ 895539 h 6557032"/>
              <a:gd name="connsiteX25650" fmla="*/ 224128 w 4610101"/>
              <a:gd name="connsiteY25650" fmla="*/ 884606 h 6557032"/>
              <a:gd name="connsiteX25651" fmla="*/ 792418 w 4610101"/>
              <a:gd name="connsiteY25651" fmla="*/ 884379 h 6557032"/>
              <a:gd name="connsiteX25652" fmla="*/ 783535 w 4610101"/>
              <a:gd name="connsiteY25652" fmla="*/ 886428 h 6557032"/>
              <a:gd name="connsiteX25653" fmla="*/ 807223 w 4610101"/>
              <a:gd name="connsiteY25653" fmla="*/ 890072 h 6557032"/>
              <a:gd name="connsiteX25654" fmla="*/ 794468 w 4610101"/>
              <a:gd name="connsiteY25654" fmla="*/ 886428 h 6557032"/>
              <a:gd name="connsiteX25655" fmla="*/ 792418 w 4610101"/>
              <a:gd name="connsiteY25655" fmla="*/ 884379 h 6557032"/>
              <a:gd name="connsiteX25656" fmla="*/ 3454842 w 4610101"/>
              <a:gd name="connsiteY25656" fmla="*/ 882784 h 6557032"/>
              <a:gd name="connsiteX25657" fmla="*/ 3443909 w 4610101"/>
              <a:gd name="connsiteY25657" fmla="*/ 891894 h 6557032"/>
              <a:gd name="connsiteX25658" fmla="*/ 3458487 w 4610101"/>
              <a:gd name="connsiteY25658" fmla="*/ 899183 h 6557032"/>
              <a:gd name="connsiteX25659" fmla="*/ 3460309 w 4610101"/>
              <a:gd name="connsiteY25659" fmla="*/ 897361 h 6557032"/>
              <a:gd name="connsiteX25660" fmla="*/ 3454842 w 4610101"/>
              <a:gd name="connsiteY25660" fmla="*/ 882784 h 6557032"/>
              <a:gd name="connsiteX25661" fmla="*/ 1366632 w 4610101"/>
              <a:gd name="connsiteY25661" fmla="*/ 882784 h 6557032"/>
              <a:gd name="connsiteX25662" fmla="*/ 1359570 w 4610101"/>
              <a:gd name="connsiteY25662" fmla="*/ 895539 h 6557032"/>
              <a:gd name="connsiteX25663" fmla="*/ 1353930 w 4610101"/>
              <a:gd name="connsiteY25663" fmla="*/ 908173 h 6557032"/>
              <a:gd name="connsiteX25664" fmla="*/ 1346587 w 4610101"/>
              <a:gd name="connsiteY25664" fmla="*/ 911939 h 6557032"/>
              <a:gd name="connsiteX25665" fmla="*/ 1353876 w 4610101"/>
              <a:gd name="connsiteY25665" fmla="*/ 908294 h 6557032"/>
              <a:gd name="connsiteX25666" fmla="*/ 1353876 w 4610101"/>
              <a:gd name="connsiteY25666" fmla="*/ 908295 h 6557032"/>
              <a:gd name="connsiteX25667" fmla="*/ 1353878 w 4610101"/>
              <a:gd name="connsiteY25667" fmla="*/ 908293 h 6557032"/>
              <a:gd name="connsiteX25668" fmla="*/ 1364809 w 4610101"/>
              <a:gd name="connsiteY25668" fmla="*/ 902828 h 6557032"/>
              <a:gd name="connsiteX25669" fmla="*/ 1366632 w 4610101"/>
              <a:gd name="connsiteY25669" fmla="*/ 882784 h 6557032"/>
              <a:gd name="connsiteX25670" fmla="*/ 796290 w 4610101"/>
              <a:gd name="connsiteY25670" fmla="*/ 882784 h 6557032"/>
              <a:gd name="connsiteX25671" fmla="*/ 809046 w 4610101"/>
              <a:gd name="connsiteY25671" fmla="*/ 888250 h 6557032"/>
              <a:gd name="connsiteX25672" fmla="*/ 796290 w 4610101"/>
              <a:gd name="connsiteY25672" fmla="*/ 882784 h 6557032"/>
              <a:gd name="connsiteX25673" fmla="*/ 657805 w 4610101"/>
              <a:gd name="connsiteY25673" fmla="*/ 882784 h 6557032"/>
              <a:gd name="connsiteX25674" fmla="*/ 666916 w 4610101"/>
              <a:gd name="connsiteY25674" fmla="*/ 886428 h 6557032"/>
              <a:gd name="connsiteX25675" fmla="*/ 661449 w 4610101"/>
              <a:gd name="connsiteY25675" fmla="*/ 882784 h 6557032"/>
              <a:gd name="connsiteX25676" fmla="*/ 657805 w 4610101"/>
              <a:gd name="connsiteY25676" fmla="*/ 882784 h 6557032"/>
              <a:gd name="connsiteX25677" fmla="*/ 461010 w 4610101"/>
              <a:gd name="connsiteY25677" fmla="*/ 882784 h 6557032"/>
              <a:gd name="connsiteX25678" fmla="*/ 475589 w 4610101"/>
              <a:gd name="connsiteY25678" fmla="*/ 897361 h 6557032"/>
              <a:gd name="connsiteX25679" fmla="*/ 473766 w 4610101"/>
              <a:gd name="connsiteY25679" fmla="*/ 897361 h 6557032"/>
              <a:gd name="connsiteX25680" fmla="*/ 477410 w 4610101"/>
              <a:gd name="connsiteY25680" fmla="*/ 901005 h 6557032"/>
              <a:gd name="connsiteX25681" fmla="*/ 461010 w 4610101"/>
              <a:gd name="connsiteY25681" fmla="*/ 890072 h 6557032"/>
              <a:gd name="connsiteX25682" fmla="*/ 473766 w 4610101"/>
              <a:gd name="connsiteY25682" fmla="*/ 904651 h 6557032"/>
              <a:gd name="connsiteX25683" fmla="*/ 481054 w 4610101"/>
              <a:gd name="connsiteY25683" fmla="*/ 897361 h 6557032"/>
              <a:gd name="connsiteX25684" fmla="*/ 475589 w 4610101"/>
              <a:gd name="connsiteY25684" fmla="*/ 897361 h 6557032"/>
              <a:gd name="connsiteX25685" fmla="*/ 461010 w 4610101"/>
              <a:gd name="connsiteY25685" fmla="*/ 882784 h 6557032"/>
              <a:gd name="connsiteX25686" fmla="*/ 129375 w 4610101"/>
              <a:gd name="connsiteY25686" fmla="*/ 882784 h 6557032"/>
              <a:gd name="connsiteX25687" fmla="*/ 151241 w 4610101"/>
              <a:gd name="connsiteY25687" fmla="*/ 901005 h 6557032"/>
              <a:gd name="connsiteX25688" fmla="*/ 129375 w 4610101"/>
              <a:gd name="connsiteY25688" fmla="*/ 882784 h 6557032"/>
              <a:gd name="connsiteX25689" fmla="*/ 1277344 w 4610101"/>
              <a:gd name="connsiteY25689" fmla="*/ 880961 h 6557032"/>
              <a:gd name="connsiteX25690" fmla="*/ 1271878 w 4610101"/>
              <a:gd name="connsiteY25690" fmla="*/ 891894 h 6557032"/>
              <a:gd name="connsiteX25691" fmla="*/ 1277344 w 4610101"/>
              <a:gd name="connsiteY25691" fmla="*/ 880961 h 6557032"/>
              <a:gd name="connsiteX25692" fmla="*/ 799935 w 4610101"/>
              <a:gd name="connsiteY25692" fmla="*/ 880961 h 6557032"/>
              <a:gd name="connsiteX25693" fmla="*/ 823623 w 4610101"/>
              <a:gd name="connsiteY25693" fmla="*/ 890072 h 6557032"/>
              <a:gd name="connsiteX25694" fmla="*/ 809046 w 4610101"/>
              <a:gd name="connsiteY25694" fmla="*/ 884606 h 6557032"/>
              <a:gd name="connsiteX25695" fmla="*/ 840022 w 4610101"/>
              <a:gd name="connsiteY25695" fmla="*/ 888250 h 6557032"/>
              <a:gd name="connsiteX25696" fmla="*/ 799935 w 4610101"/>
              <a:gd name="connsiteY25696" fmla="*/ 880961 h 6557032"/>
              <a:gd name="connsiteX25697" fmla="*/ 311592 w 4610101"/>
              <a:gd name="connsiteY25697" fmla="*/ 880961 h 6557032"/>
              <a:gd name="connsiteX25698" fmla="*/ 315377 w 4610101"/>
              <a:gd name="connsiteY25698" fmla="*/ 886007 h 6557032"/>
              <a:gd name="connsiteX25699" fmla="*/ 315236 w 4610101"/>
              <a:gd name="connsiteY25699" fmla="*/ 886428 h 6557032"/>
              <a:gd name="connsiteX25700" fmla="*/ 311592 w 4610101"/>
              <a:gd name="connsiteY25700" fmla="*/ 882784 h 6557032"/>
              <a:gd name="connsiteX25701" fmla="*/ 312958 w 4610101"/>
              <a:gd name="connsiteY25701" fmla="*/ 884151 h 6557032"/>
              <a:gd name="connsiteX25702" fmla="*/ 315236 w 4610101"/>
              <a:gd name="connsiteY25702" fmla="*/ 886428 h 6557032"/>
              <a:gd name="connsiteX25703" fmla="*/ 317059 w 4610101"/>
              <a:gd name="connsiteY25703" fmla="*/ 888250 h 6557032"/>
              <a:gd name="connsiteX25704" fmla="*/ 317059 w 4610101"/>
              <a:gd name="connsiteY25704" fmla="*/ 886428 h 6557032"/>
              <a:gd name="connsiteX25705" fmla="*/ 318882 w 4610101"/>
              <a:gd name="connsiteY25705" fmla="*/ 888250 h 6557032"/>
              <a:gd name="connsiteX25706" fmla="*/ 324347 w 4610101"/>
              <a:gd name="connsiteY25706" fmla="*/ 886428 h 6557032"/>
              <a:gd name="connsiteX25707" fmla="*/ 322525 w 4610101"/>
              <a:gd name="connsiteY25707" fmla="*/ 882784 h 6557032"/>
              <a:gd name="connsiteX25708" fmla="*/ 317059 w 4610101"/>
              <a:gd name="connsiteY25708" fmla="*/ 880961 h 6557032"/>
              <a:gd name="connsiteX25709" fmla="*/ 315773 w 4610101"/>
              <a:gd name="connsiteY25709" fmla="*/ 884820 h 6557032"/>
              <a:gd name="connsiteX25710" fmla="*/ 315692 w 4610101"/>
              <a:gd name="connsiteY25710" fmla="*/ 884606 h 6557032"/>
              <a:gd name="connsiteX25711" fmla="*/ 311592 w 4610101"/>
              <a:gd name="connsiteY25711" fmla="*/ 880961 h 6557032"/>
              <a:gd name="connsiteX25712" fmla="*/ 230277 w 4610101"/>
              <a:gd name="connsiteY25712" fmla="*/ 879367 h 6557032"/>
              <a:gd name="connsiteX25713" fmla="*/ 218661 w 4610101"/>
              <a:gd name="connsiteY25713" fmla="*/ 880961 h 6557032"/>
              <a:gd name="connsiteX25714" fmla="*/ 229594 w 4610101"/>
              <a:gd name="connsiteY25714" fmla="*/ 886201 h 6557032"/>
              <a:gd name="connsiteX25715" fmla="*/ 238846 w 4610101"/>
              <a:gd name="connsiteY25715" fmla="*/ 889477 h 6557032"/>
              <a:gd name="connsiteX25716" fmla="*/ 233239 w 4610101"/>
              <a:gd name="connsiteY25716" fmla="*/ 888250 h 6557032"/>
              <a:gd name="connsiteX25717" fmla="*/ 247816 w 4610101"/>
              <a:gd name="connsiteY25717" fmla="*/ 895539 h 6557032"/>
              <a:gd name="connsiteX25718" fmla="*/ 240527 w 4610101"/>
              <a:gd name="connsiteY25718" fmla="*/ 889845 h 6557032"/>
              <a:gd name="connsiteX25719" fmla="*/ 240251 w 4610101"/>
              <a:gd name="connsiteY25719" fmla="*/ 889784 h 6557032"/>
              <a:gd name="connsiteX25720" fmla="*/ 2563799 w 4610101"/>
              <a:gd name="connsiteY25720" fmla="*/ 879139 h 6557032"/>
              <a:gd name="connsiteX25721" fmla="*/ 2567443 w 4610101"/>
              <a:gd name="connsiteY25721" fmla="*/ 888250 h 6557032"/>
              <a:gd name="connsiteX25722" fmla="*/ 2563799 w 4610101"/>
              <a:gd name="connsiteY25722" fmla="*/ 879139 h 6557032"/>
              <a:gd name="connsiteX25723" fmla="*/ 2558332 w 4610101"/>
              <a:gd name="connsiteY25723" fmla="*/ 879139 h 6557032"/>
              <a:gd name="connsiteX25724" fmla="*/ 2565621 w 4610101"/>
              <a:gd name="connsiteY25724" fmla="*/ 888250 h 6557032"/>
              <a:gd name="connsiteX25725" fmla="*/ 2558332 w 4610101"/>
              <a:gd name="connsiteY25725" fmla="*/ 879139 h 6557032"/>
              <a:gd name="connsiteX25726" fmla="*/ 2552866 w 4610101"/>
              <a:gd name="connsiteY25726" fmla="*/ 879139 h 6557032"/>
              <a:gd name="connsiteX25727" fmla="*/ 2541933 w 4610101"/>
              <a:gd name="connsiteY25727" fmla="*/ 884606 h 6557032"/>
              <a:gd name="connsiteX25728" fmla="*/ 2554688 w 4610101"/>
              <a:gd name="connsiteY25728" fmla="*/ 884606 h 6557032"/>
              <a:gd name="connsiteX25729" fmla="*/ 2552866 w 4610101"/>
              <a:gd name="connsiteY25729" fmla="*/ 879139 h 6557032"/>
              <a:gd name="connsiteX25730" fmla="*/ 2290473 w 4610101"/>
              <a:gd name="connsiteY25730" fmla="*/ 879139 h 6557032"/>
              <a:gd name="connsiteX25731" fmla="*/ 2285007 w 4610101"/>
              <a:gd name="connsiteY25731" fmla="*/ 886428 h 6557032"/>
              <a:gd name="connsiteX25732" fmla="*/ 2290473 w 4610101"/>
              <a:gd name="connsiteY25732" fmla="*/ 886428 h 6557032"/>
              <a:gd name="connsiteX25733" fmla="*/ 2290473 w 4610101"/>
              <a:gd name="connsiteY25733" fmla="*/ 879139 h 6557032"/>
              <a:gd name="connsiteX25734" fmla="*/ 579452 w 4610101"/>
              <a:gd name="connsiteY25734" fmla="*/ 879139 h 6557032"/>
              <a:gd name="connsiteX25735" fmla="*/ 577630 w 4610101"/>
              <a:gd name="connsiteY25735" fmla="*/ 880961 h 6557032"/>
              <a:gd name="connsiteX25736" fmla="*/ 586741 w 4610101"/>
              <a:gd name="connsiteY25736" fmla="*/ 882784 h 6557032"/>
              <a:gd name="connsiteX25737" fmla="*/ 581274 w 4610101"/>
              <a:gd name="connsiteY25737" fmla="*/ 879139 h 6557032"/>
              <a:gd name="connsiteX25738" fmla="*/ 579452 w 4610101"/>
              <a:gd name="connsiteY25738" fmla="*/ 879139 h 6557032"/>
              <a:gd name="connsiteX25739" fmla="*/ 236883 w 4610101"/>
              <a:gd name="connsiteY25739" fmla="*/ 879139 h 6557032"/>
              <a:gd name="connsiteX25740" fmla="*/ 255105 w 4610101"/>
              <a:gd name="connsiteY25740" fmla="*/ 891894 h 6557032"/>
              <a:gd name="connsiteX25741" fmla="*/ 249638 w 4610101"/>
              <a:gd name="connsiteY25741" fmla="*/ 882784 h 6557032"/>
              <a:gd name="connsiteX25742" fmla="*/ 236883 w 4610101"/>
              <a:gd name="connsiteY25742" fmla="*/ 879139 h 6557032"/>
              <a:gd name="connsiteX25743" fmla="*/ 1264782 w 4610101"/>
              <a:gd name="connsiteY25743" fmla="*/ 879098 h 6557032"/>
              <a:gd name="connsiteX25744" fmla="*/ 1266411 w 4610101"/>
              <a:gd name="connsiteY25744" fmla="*/ 882784 h 6557032"/>
              <a:gd name="connsiteX25745" fmla="*/ 1265830 w 4610101"/>
              <a:gd name="connsiteY25745" fmla="*/ 883808 h 6557032"/>
              <a:gd name="connsiteX25746" fmla="*/ 2720962 w 4610101"/>
              <a:gd name="connsiteY25746" fmla="*/ 878912 h 6557032"/>
              <a:gd name="connsiteX25747" fmla="*/ 2722328 w 4610101"/>
              <a:gd name="connsiteY25747" fmla="*/ 880961 h 6557032"/>
              <a:gd name="connsiteX25748" fmla="*/ 2720791 w 4610101"/>
              <a:gd name="connsiteY25748" fmla="*/ 878997 h 6557032"/>
              <a:gd name="connsiteX25749" fmla="*/ 2515056 w 4610101"/>
              <a:gd name="connsiteY25749" fmla="*/ 878228 h 6557032"/>
              <a:gd name="connsiteX25750" fmla="*/ 2510956 w 4610101"/>
              <a:gd name="connsiteY25750" fmla="*/ 886428 h 6557032"/>
              <a:gd name="connsiteX25751" fmla="*/ 2521889 w 4610101"/>
              <a:gd name="connsiteY25751" fmla="*/ 880961 h 6557032"/>
              <a:gd name="connsiteX25752" fmla="*/ 2515056 w 4610101"/>
              <a:gd name="connsiteY25752" fmla="*/ 878228 h 6557032"/>
              <a:gd name="connsiteX25753" fmla="*/ 3298135 w 4610101"/>
              <a:gd name="connsiteY25753" fmla="*/ 877317 h 6557032"/>
              <a:gd name="connsiteX25754" fmla="*/ 3309068 w 4610101"/>
              <a:gd name="connsiteY25754" fmla="*/ 893717 h 6557032"/>
              <a:gd name="connsiteX25755" fmla="*/ 3298135 w 4610101"/>
              <a:gd name="connsiteY25755" fmla="*/ 877317 h 6557032"/>
              <a:gd name="connsiteX25756" fmla="*/ 2583843 w 4610101"/>
              <a:gd name="connsiteY25756" fmla="*/ 877317 h 6557032"/>
              <a:gd name="connsiteX25757" fmla="*/ 2587487 w 4610101"/>
              <a:gd name="connsiteY25757" fmla="*/ 890072 h 6557032"/>
              <a:gd name="connsiteX25758" fmla="*/ 2591132 w 4610101"/>
              <a:gd name="connsiteY25758" fmla="*/ 888250 h 6557032"/>
              <a:gd name="connsiteX25759" fmla="*/ 2589310 w 4610101"/>
              <a:gd name="connsiteY25759" fmla="*/ 882784 h 6557032"/>
              <a:gd name="connsiteX25760" fmla="*/ 2583843 w 4610101"/>
              <a:gd name="connsiteY25760" fmla="*/ 877317 h 6557032"/>
              <a:gd name="connsiteX25761" fmla="*/ 1313788 w 4610101"/>
              <a:gd name="connsiteY25761" fmla="*/ 877317 h 6557032"/>
              <a:gd name="connsiteX25762" fmla="*/ 1308321 w 4610101"/>
              <a:gd name="connsiteY25762" fmla="*/ 882784 h 6557032"/>
              <a:gd name="connsiteX25763" fmla="*/ 1313788 w 4610101"/>
              <a:gd name="connsiteY25763" fmla="*/ 877317 h 6557032"/>
              <a:gd name="connsiteX25764" fmla="*/ 759848 w 4610101"/>
              <a:gd name="connsiteY25764" fmla="*/ 877317 h 6557032"/>
              <a:gd name="connsiteX25765" fmla="*/ 761670 w 4610101"/>
              <a:gd name="connsiteY25765" fmla="*/ 882784 h 6557032"/>
              <a:gd name="connsiteX25766" fmla="*/ 765313 w 4610101"/>
              <a:gd name="connsiteY25766" fmla="*/ 877317 h 6557032"/>
              <a:gd name="connsiteX25767" fmla="*/ 759848 w 4610101"/>
              <a:gd name="connsiteY25767" fmla="*/ 877317 h 6557032"/>
              <a:gd name="connsiteX25768" fmla="*/ 750737 w 4610101"/>
              <a:gd name="connsiteY25768" fmla="*/ 877317 h 6557032"/>
              <a:gd name="connsiteX25769" fmla="*/ 754380 w 4610101"/>
              <a:gd name="connsiteY25769" fmla="*/ 882784 h 6557032"/>
              <a:gd name="connsiteX25770" fmla="*/ 758025 w 4610101"/>
              <a:gd name="connsiteY25770" fmla="*/ 879139 h 6557032"/>
              <a:gd name="connsiteX25771" fmla="*/ 750737 w 4610101"/>
              <a:gd name="connsiteY25771" fmla="*/ 877317 h 6557032"/>
              <a:gd name="connsiteX25772" fmla="*/ 543008 w 4610101"/>
              <a:gd name="connsiteY25772" fmla="*/ 877317 h 6557032"/>
              <a:gd name="connsiteX25773" fmla="*/ 541186 w 4610101"/>
              <a:gd name="connsiteY25773" fmla="*/ 882784 h 6557032"/>
              <a:gd name="connsiteX25774" fmla="*/ 543008 w 4610101"/>
              <a:gd name="connsiteY25774" fmla="*/ 880961 h 6557032"/>
              <a:gd name="connsiteX25775" fmla="*/ 544830 w 4610101"/>
              <a:gd name="connsiteY25775" fmla="*/ 886428 h 6557032"/>
              <a:gd name="connsiteX25776" fmla="*/ 543008 w 4610101"/>
              <a:gd name="connsiteY25776" fmla="*/ 877317 h 6557032"/>
              <a:gd name="connsiteX25777" fmla="*/ 326169 w 4610101"/>
              <a:gd name="connsiteY25777" fmla="*/ 877317 h 6557032"/>
              <a:gd name="connsiteX25778" fmla="*/ 337102 w 4610101"/>
              <a:gd name="connsiteY25778" fmla="*/ 880961 h 6557032"/>
              <a:gd name="connsiteX25779" fmla="*/ 326169 w 4610101"/>
              <a:gd name="connsiteY25779" fmla="*/ 877317 h 6557032"/>
              <a:gd name="connsiteX25780" fmla="*/ 260571 w 4610101"/>
              <a:gd name="connsiteY25780" fmla="*/ 877317 h 6557032"/>
              <a:gd name="connsiteX25781" fmla="*/ 276971 w 4610101"/>
              <a:gd name="connsiteY25781" fmla="*/ 890072 h 6557032"/>
              <a:gd name="connsiteX25782" fmla="*/ 260571 w 4610101"/>
              <a:gd name="connsiteY25782" fmla="*/ 877317 h 6557032"/>
              <a:gd name="connsiteX25783" fmla="*/ 258749 w 4610101"/>
              <a:gd name="connsiteY25783" fmla="*/ 877317 h 6557032"/>
              <a:gd name="connsiteX25784" fmla="*/ 264216 w 4610101"/>
              <a:gd name="connsiteY25784" fmla="*/ 882784 h 6557032"/>
              <a:gd name="connsiteX25785" fmla="*/ 258749 w 4610101"/>
              <a:gd name="connsiteY25785" fmla="*/ 877317 h 6557032"/>
              <a:gd name="connsiteX25786" fmla="*/ 665321 w 4610101"/>
              <a:gd name="connsiteY25786" fmla="*/ 877090 h 6557032"/>
              <a:gd name="connsiteX25787" fmla="*/ 665094 w 4610101"/>
              <a:gd name="connsiteY25787" fmla="*/ 880961 h 6557032"/>
              <a:gd name="connsiteX25788" fmla="*/ 666916 w 4610101"/>
              <a:gd name="connsiteY25788" fmla="*/ 877317 h 6557032"/>
              <a:gd name="connsiteX25789" fmla="*/ 665321 w 4610101"/>
              <a:gd name="connsiteY25789" fmla="*/ 877090 h 6557032"/>
              <a:gd name="connsiteX25790" fmla="*/ 778752 w 4610101"/>
              <a:gd name="connsiteY25790" fmla="*/ 876406 h 6557032"/>
              <a:gd name="connsiteX25791" fmla="*/ 772602 w 4610101"/>
              <a:gd name="connsiteY25791" fmla="*/ 877317 h 6557032"/>
              <a:gd name="connsiteX25792" fmla="*/ 778070 w 4610101"/>
              <a:gd name="connsiteY25792" fmla="*/ 880961 h 6557032"/>
              <a:gd name="connsiteX25793" fmla="*/ 778752 w 4610101"/>
              <a:gd name="connsiteY25793" fmla="*/ 876406 h 6557032"/>
              <a:gd name="connsiteX25794" fmla="*/ 160989 w 4610101"/>
              <a:gd name="connsiteY25794" fmla="*/ 876339 h 6557032"/>
              <a:gd name="connsiteX25795" fmla="*/ 165818 w 4610101"/>
              <a:gd name="connsiteY25795" fmla="*/ 884606 h 6557032"/>
              <a:gd name="connsiteX25796" fmla="*/ 164021 w 4610101"/>
              <a:gd name="connsiteY25796" fmla="*/ 883730 h 6557032"/>
              <a:gd name="connsiteX25797" fmla="*/ 162829 w 4610101"/>
              <a:gd name="connsiteY25797" fmla="*/ 881702 h 6557032"/>
              <a:gd name="connsiteX25798" fmla="*/ 2478157 w 4610101"/>
              <a:gd name="connsiteY25798" fmla="*/ 875495 h 6557032"/>
              <a:gd name="connsiteX25799" fmla="*/ 2467224 w 4610101"/>
              <a:gd name="connsiteY25799" fmla="*/ 888250 h 6557032"/>
              <a:gd name="connsiteX25800" fmla="*/ 2458797 w 4610101"/>
              <a:gd name="connsiteY25800" fmla="*/ 895311 h 6557032"/>
              <a:gd name="connsiteX25801" fmla="*/ 2454863 w 4610101"/>
              <a:gd name="connsiteY25801" fmla="*/ 905457 h 6557032"/>
              <a:gd name="connsiteX25802" fmla="*/ 2454469 w 4610101"/>
              <a:gd name="connsiteY25802" fmla="*/ 905333 h 6557032"/>
              <a:gd name="connsiteX25803" fmla="*/ 2450824 w 4610101"/>
              <a:gd name="connsiteY25803" fmla="*/ 908295 h 6557032"/>
              <a:gd name="connsiteX25804" fmla="*/ 2450824 w 4610101"/>
              <a:gd name="connsiteY25804" fmla="*/ 904651 h 6557032"/>
              <a:gd name="connsiteX25805" fmla="*/ 2438069 w 4610101"/>
              <a:gd name="connsiteY25805" fmla="*/ 922872 h 6557032"/>
              <a:gd name="connsiteX25806" fmla="*/ 2458113 w 4610101"/>
              <a:gd name="connsiteY25806" fmla="*/ 906473 h 6557032"/>
              <a:gd name="connsiteX25807" fmla="*/ 2455656 w 4610101"/>
              <a:gd name="connsiteY25807" fmla="*/ 905704 h 6557032"/>
              <a:gd name="connsiteX25808" fmla="*/ 2462213 w 4610101"/>
              <a:gd name="connsiteY25808" fmla="*/ 901461 h 6557032"/>
              <a:gd name="connsiteX25809" fmla="*/ 2467224 w 4610101"/>
              <a:gd name="connsiteY25809" fmla="*/ 893717 h 6557032"/>
              <a:gd name="connsiteX25810" fmla="*/ 2461757 w 4610101"/>
              <a:gd name="connsiteY25810" fmla="*/ 895539 h 6557032"/>
              <a:gd name="connsiteX25811" fmla="*/ 2478157 w 4610101"/>
              <a:gd name="connsiteY25811" fmla="*/ 875495 h 6557032"/>
              <a:gd name="connsiteX25812" fmla="*/ 2179320 w 4610101"/>
              <a:gd name="connsiteY25812" fmla="*/ 875495 h 6557032"/>
              <a:gd name="connsiteX25813" fmla="*/ 2175676 w 4610101"/>
              <a:gd name="connsiteY25813" fmla="*/ 897361 h 6557032"/>
              <a:gd name="connsiteX25814" fmla="*/ 2168387 w 4610101"/>
              <a:gd name="connsiteY25814" fmla="*/ 913761 h 6557032"/>
              <a:gd name="connsiteX25815" fmla="*/ 2177498 w 4610101"/>
              <a:gd name="connsiteY25815" fmla="*/ 911939 h 6557032"/>
              <a:gd name="connsiteX25816" fmla="*/ 2177498 w 4610101"/>
              <a:gd name="connsiteY25816" fmla="*/ 915583 h 6557032"/>
              <a:gd name="connsiteX25817" fmla="*/ 2179320 w 4610101"/>
              <a:gd name="connsiteY25817" fmla="*/ 875495 h 6557032"/>
              <a:gd name="connsiteX25818" fmla="*/ 1086016 w 4610101"/>
              <a:gd name="connsiteY25818" fmla="*/ 875495 h 6557032"/>
              <a:gd name="connsiteX25819" fmla="*/ 1084194 w 4610101"/>
              <a:gd name="connsiteY25819" fmla="*/ 879139 h 6557032"/>
              <a:gd name="connsiteX25820" fmla="*/ 1082373 w 4610101"/>
              <a:gd name="connsiteY25820" fmla="*/ 877317 h 6557032"/>
              <a:gd name="connsiteX25821" fmla="*/ 1066883 w 4610101"/>
              <a:gd name="connsiteY25821" fmla="*/ 892807 h 6557032"/>
              <a:gd name="connsiteX25822" fmla="*/ 1067794 w 4610101"/>
              <a:gd name="connsiteY25822" fmla="*/ 890072 h 6557032"/>
              <a:gd name="connsiteX25823" fmla="*/ 1060506 w 4610101"/>
              <a:gd name="connsiteY25823" fmla="*/ 895539 h 6557032"/>
              <a:gd name="connsiteX25824" fmla="*/ 1064647 w 4610101"/>
              <a:gd name="connsiteY25824" fmla="*/ 895042 h 6557032"/>
              <a:gd name="connsiteX25825" fmla="*/ 1055040 w 4610101"/>
              <a:gd name="connsiteY25825" fmla="*/ 904651 h 6557032"/>
              <a:gd name="connsiteX25826" fmla="*/ 1073262 w 4610101"/>
              <a:gd name="connsiteY25826" fmla="*/ 893717 h 6557032"/>
              <a:gd name="connsiteX25827" fmla="*/ 1075083 w 4610101"/>
              <a:gd name="connsiteY25827" fmla="*/ 895539 h 6557032"/>
              <a:gd name="connsiteX25828" fmla="*/ 1080549 w 4610101"/>
              <a:gd name="connsiteY25828" fmla="*/ 888250 h 6557032"/>
              <a:gd name="connsiteX25829" fmla="*/ 1080549 w 4610101"/>
              <a:gd name="connsiteY25829" fmla="*/ 891894 h 6557032"/>
              <a:gd name="connsiteX25830" fmla="*/ 1086016 w 4610101"/>
              <a:gd name="connsiteY25830" fmla="*/ 875495 h 6557032"/>
              <a:gd name="connsiteX25831" fmla="*/ 690604 w 4610101"/>
              <a:gd name="connsiteY25831" fmla="*/ 875495 h 6557032"/>
              <a:gd name="connsiteX25832" fmla="*/ 688782 w 4610101"/>
              <a:gd name="connsiteY25832" fmla="*/ 879139 h 6557032"/>
              <a:gd name="connsiteX25833" fmla="*/ 697893 w 4610101"/>
              <a:gd name="connsiteY25833" fmla="*/ 877317 h 6557032"/>
              <a:gd name="connsiteX25834" fmla="*/ 690604 w 4610101"/>
              <a:gd name="connsiteY25834" fmla="*/ 875495 h 6557032"/>
              <a:gd name="connsiteX25835" fmla="*/ 625006 w 4610101"/>
              <a:gd name="connsiteY25835" fmla="*/ 875495 h 6557032"/>
              <a:gd name="connsiteX25836" fmla="*/ 628650 w 4610101"/>
              <a:gd name="connsiteY25836" fmla="*/ 880961 h 6557032"/>
              <a:gd name="connsiteX25837" fmla="*/ 625006 w 4610101"/>
              <a:gd name="connsiteY25837" fmla="*/ 875495 h 6557032"/>
              <a:gd name="connsiteX25838" fmla="*/ 577630 w 4610101"/>
              <a:gd name="connsiteY25838" fmla="*/ 875495 h 6557032"/>
              <a:gd name="connsiteX25839" fmla="*/ 583096 w 4610101"/>
              <a:gd name="connsiteY25839" fmla="*/ 879139 h 6557032"/>
              <a:gd name="connsiteX25840" fmla="*/ 577630 w 4610101"/>
              <a:gd name="connsiteY25840" fmla="*/ 875495 h 6557032"/>
              <a:gd name="connsiteX25841" fmla="*/ 882142 w 4610101"/>
              <a:gd name="connsiteY25841" fmla="*/ 874389 h 6557032"/>
              <a:gd name="connsiteX25842" fmla="*/ 880794 w 4610101"/>
              <a:gd name="connsiteY25842" fmla="*/ 875040 h 6557032"/>
              <a:gd name="connsiteX25843" fmla="*/ 872822 w 4610101"/>
              <a:gd name="connsiteY25843" fmla="*/ 875495 h 6557032"/>
              <a:gd name="connsiteX25844" fmla="*/ 439143 w 4610101"/>
              <a:gd name="connsiteY25844" fmla="*/ 873799 h 6557032"/>
              <a:gd name="connsiteX25845" fmla="*/ 439373 w 4610101"/>
              <a:gd name="connsiteY25845" fmla="*/ 874129 h 6557032"/>
              <a:gd name="connsiteX25846" fmla="*/ 441405 w 4610101"/>
              <a:gd name="connsiteY25846" fmla="*/ 877012 h 6557032"/>
              <a:gd name="connsiteX25847" fmla="*/ 440511 w 4610101"/>
              <a:gd name="connsiteY25847" fmla="*/ 876634 h 6557032"/>
              <a:gd name="connsiteX25848" fmla="*/ 3367378 w 4610101"/>
              <a:gd name="connsiteY25848" fmla="*/ 873673 h 6557032"/>
              <a:gd name="connsiteX25849" fmla="*/ 3360089 w 4610101"/>
              <a:gd name="connsiteY25849" fmla="*/ 875495 h 6557032"/>
              <a:gd name="connsiteX25850" fmla="*/ 3365556 w 4610101"/>
              <a:gd name="connsiteY25850" fmla="*/ 879139 h 6557032"/>
              <a:gd name="connsiteX25851" fmla="*/ 3367378 w 4610101"/>
              <a:gd name="connsiteY25851" fmla="*/ 873673 h 6557032"/>
              <a:gd name="connsiteX25852" fmla="*/ 3077652 w 4610101"/>
              <a:gd name="connsiteY25852" fmla="*/ 873673 h 6557032"/>
              <a:gd name="connsiteX25853" fmla="*/ 3081297 w 4610101"/>
              <a:gd name="connsiteY25853" fmla="*/ 880961 h 6557032"/>
              <a:gd name="connsiteX25854" fmla="*/ 2999299 w 4610101"/>
              <a:gd name="connsiteY25854" fmla="*/ 891894 h 6557032"/>
              <a:gd name="connsiteX25855" fmla="*/ 3001121 w 4610101"/>
              <a:gd name="connsiteY25855" fmla="*/ 895539 h 6557032"/>
              <a:gd name="connsiteX25856" fmla="*/ 2968322 w 4610101"/>
              <a:gd name="connsiteY25856" fmla="*/ 906473 h 6557032"/>
              <a:gd name="connsiteX25857" fmla="*/ 2979255 w 4610101"/>
              <a:gd name="connsiteY25857" fmla="*/ 921049 h 6557032"/>
              <a:gd name="connsiteX25858" fmla="*/ 2966500 w 4610101"/>
              <a:gd name="connsiteY25858" fmla="*/ 910117 h 6557032"/>
              <a:gd name="connsiteX25859" fmla="*/ 2919123 w 4610101"/>
              <a:gd name="connsiteY25859" fmla="*/ 988471 h 6557032"/>
              <a:gd name="connsiteX25860" fmla="*/ 2935523 w 4610101"/>
              <a:gd name="connsiteY25860" fmla="*/ 984826 h 6557032"/>
              <a:gd name="connsiteX25861" fmla="*/ 2950100 w 4610101"/>
              <a:gd name="connsiteY25861" fmla="*/ 986649 h 6557032"/>
              <a:gd name="connsiteX25862" fmla="*/ 2942811 w 4610101"/>
              <a:gd name="connsiteY25862" fmla="*/ 966604 h 6557032"/>
              <a:gd name="connsiteX25863" fmla="*/ 2953744 w 4610101"/>
              <a:gd name="connsiteY25863" fmla="*/ 970249 h 6557032"/>
              <a:gd name="connsiteX25864" fmla="*/ 2959211 w 4610101"/>
              <a:gd name="connsiteY25864" fmla="*/ 988471 h 6557032"/>
              <a:gd name="connsiteX25865" fmla="*/ 2975610 w 4610101"/>
              <a:gd name="connsiteY25865" fmla="*/ 992115 h 6557032"/>
              <a:gd name="connsiteX25866" fmla="*/ 3004765 w 4610101"/>
              <a:gd name="connsiteY25866" fmla="*/ 979360 h 6557032"/>
              <a:gd name="connsiteX25867" fmla="*/ 3002943 w 4610101"/>
              <a:gd name="connsiteY25867" fmla="*/ 975715 h 6557032"/>
              <a:gd name="connsiteX25868" fmla="*/ 3013876 w 4610101"/>
              <a:gd name="connsiteY25868" fmla="*/ 968427 h 6557032"/>
              <a:gd name="connsiteX25869" fmla="*/ 3012054 w 4610101"/>
              <a:gd name="connsiteY25869" fmla="*/ 981182 h 6557032"/>
              <a:gd name="connsiteX25870" fmla="*/ 3013876 w 4610101"/>
              <a:gd name="connsiteY25870" fmla="*/ 968427 h 6557032"/>
              <a:gd name="connsiteX25871" fmla="*/ 3021165 w 4610101"/>
              <a:gd name="connsiteY25871" fmla="*/ 975715 h 6557032"/>
              <a:gd name="connsiteX25872" fmla="*/ 3032098 w 4610101"/>
              <a:gd name="connsiteY25872" fmla="*/ 975715 h 6557032"/>
              <a:gd name="connsiteX25873" fmla="*/ 3030276 w 4610101"/>
              <a:gd name="connsiteY25873" fmla="*/ 966604 h 6557032"/>
              <a:gd name="connsiteX25874" fmla="*/ 3063075 w 4610101"/>
              <a:gd name="connsiteY25874" fmla="*/ 966604 h 6557032"/>
              <a:gd name="connsiteX25875" fmla="*/ 3052142 w 4610101"/>
              <a:gd name="connsiteY25875" fmla="*/ 953848 h 6557032"/>
              <a:gd name="connsiteX25876" fmla="*/ 3075830 w 4610101"/>
              <a:gd name="connsiteY25876" fmla="*/ 944738 h 6557032"/>
              <a:gd name="connsiteX25877" fmla="*/ 3115918 w 4610101"/>
              <a:gd name="connsiteY25877" fmla="*/ 899183 h 6557032"/>
              <a:gd name="connsiteX25878" fmla="*/ 3108629 w 4610101"/>
              <a:gd name="connsiteY25878" fmla="*/ 891894 h 6557032"/>
              <a:gd name="connsiteX25879" fmla="*/ 3077652 w 4610101"/>
              <a:gd name="connsiteY25879" fmla="*/ 873673 h 6557032"/>
              <a:gd name="connsiteX25880" fmla="*/ 2467224 w 4610101"/>
              <a:gd name="connsiteY25880" fmla="*/ 873673 h 6557032"/>
              <a:gd name="connsiteX25881" fmla="*/ 2458113 w 4610101"/>
              <a:gd name="connsiteY25881" fmla="*/ 886428 h 6557032"/>
              <a:gd name="connsiteX25882" fmla="*/ 2467224 w 4610101"/>
              <a:gd name="connsiteY25882" fmla="*/ 873673 h 6557032"/>
              <a:gd name="connsiteX25883" fmla="*/ 849133 w 4610101"/>
              <a:gd name="connsiteY25883" fmla="*/ 873673 h 6557032"/>
              <a:gd name="connsiteX25884" fmla="*/ 849133 w 4610101"/>
              <a:gd name="connsiteY25884" fmla="*/ 875495 h 6557032"/>
              <a:gd name="connsiteX25885" fmla="*/ 819979 w 4610101"/>
              <a:gd name="connsiteY25885" fmla="*/ 877317 h 6557032"/>
              <a:gd name="connsiteX25886" fmla="*/ 858244 w 4610101"/>
              <a:gd name="connsiteY25886" fmla="*/ 884606 h 6557032"/>
              <a:gd name="connsiteX25887" fmla="*/ 849133 w 4610101"/>
              <a:gd name="connsiteY25887" fmla="*/ 877317 h 6557032"/>
              <a:gd name="connsiteX25888" fmla="*/ 852778 w 4610101"/>
              <a:gd name="connsiteY25888" fmla="*/ 877317 h 6557032"/>
              <a:gd name="connsiteX25889" fmla="*/ 849133 w 4610101"/>
              <a:gd name="connsiteY25889" fmla="*/ 873673 h 6557032"/>
              <a:gd name="connsiteX25890" fmla="*/ 641407 w 4610101"/>
              <a:gd name="connsiteY25890" fmla="*/ 873673 h 6557032"/>
              <a:gd name="connsiteX25891" fmla="*/ 641407 w 4610101"/>
              <a:gd name="connsiteY25891" fmla="*/ 879139 h 6557032"/>
              <a:gd name="connsiteX25892" fmla="*/ 650516 w 4610101"/>
              <a:gd name="connsiteY25892" fmla="*/ 880961 h 6557032"/>
              <a:gd name="connsiteX25893" fmla="*/ 646872 w 4610101"/>
              <a:gd name="connsiteY25893" fmla="*/ 877317 h 6557032"/>
              <a:gd name="connsiteX25894" fmla="*/ 641407 w 4610101"/>
              <a:gd name="connsiteY25894" fmla="*/ 873673 h 6557032"/>
              <a:gd name="connsiteX25895" fmla="*/ 544830 w 4610101"/>
              <a:gd name="connsiteY25895" fmla="*/ 873673 h 6557032"/>
              <a:gd name="connsiteX25896" fmla="*/ 553941 w 4610101"/>
              <a:gd name="connsiteY25896" fmla="*/ 891894 h 6557032"/>
              <a:gd name="connsiteX25897" fmla="*/ 544830 w 4610101"/>
              <a:gd name="connsiteY25897" fmla="*/ 873673 h 6557032"/>
              <a:gd name="connsiteX25898" fmla="*/ 495632 w 4610101"/>
              <a:gd name="connsiteY25898" fmla="*/ 873673 h 6557032"/>
              <a:gd name="connsiteX25899" fmla="*/ 502920 w 4610101"/>
              <a:gd name="connsiteY25899" fmla="*/ 882784 h 6557032"/>
              <a:gd name="connsiteX25900" fmla="*/ 495632 w 4610101"/>
              <a:gd name="connsiteY25900" fmla="*/ 873673 h 6557032"/>
              <a:gd name="connsiteX25901" fmla="*/ 215017 w 4610101"/>
              <a:gd name="connsiteY25901" fmla="*/ 873673 h 6557032"/>
              <a:gd name="connsiteX25902" fmla="*/ 220483 w 4610101"/>
              <a:gd name="connsiteY25902" fmla="*/ 875495 h 6557032"/>
              <a:gd name="connsiteX25903" fmla="*/ 215017 w 4610101"/>
              <a:gd name="connsiteY25903" fmla="*/ 873673 h 6557032"/>
              <a:gd name="connsiteX25904" fmla="*/ 2526445 w 4610101"/>
              <a:gd name="connsiteY25904" fmla="*/ 872078 h 6557032"/>
              <a:gd name="connsiteX25905" fmla="*/ 2521889 w 4610101"/>
              <a:gd name="connsiteY25905" fmla="*/ 877317 h 6557032"/>
              <a:gd name="connsiteX25906" fmla="*/ 2531000 w 4610101"/>
              <a:gd name="connsiteY25906" fmla="*/ 879139 h 6557032"/>
              <a:gd name="connsiteX25907" fmla="*/ 2526445 w 4610101"/>
              <a:gd name="connsiteY25907" fmla="*/ 872078 h 6557032"/>
              <a:gd name="connsiteX25908" fmla="*/ 1084194 w 4610101"/>
              <a:gd name="connsiteY25908" fmla="*/ 871851 h 6557032"/>
              <a:gd name="connsiteX25909" fmla="*/ 1064151 w 4610101"/>
              <a:gd name="connsiteY25909" fmla="*/ 890072 h 6557032"/>
              <a:gd name="connsiteX25910" fmla="*/ 1084194 w 4610101"/>
              <a:gd name="connsiteY25910" fmla="*/ 871851 h 6557032"/>
              <a:gd name="connsiteX25911" fmla="*/ 1056861 w 4610101"/>
              <a:gd name="connsiteY25911" fmla="*/ 871851 h 6557032"/>
              <a:gd name="connsiteX25912" fmla="*/ 1040462 w 4610101"/>
              <a:gd name="connsiteY25912" fmla="*/ 884606 h 6557032"/>
              <a:gd name="connsiteX25913" fmla="*/ 1045929 w 4610101"/>
              <a:gd name="connsiteY25913" fmla="*/ 888250 h 6557032"/>
              <a:gd name="connsiteX25914" fmla="*/ 1056861 w 4610101"/>
              <a:gd name="connsiteY25914" fmla="*/ 871851 h 6557032"/>
              <a:gd name="connsiteX25915" fmla="*/ 792646 w 4610101"/>
              <a:gd name="connsiteY25915" fmla="*/ 871851 h 6557032"/>
              <a:gd name="connsiteX25916" fmla="*/ 787179 w 4610101"/>
              <a:gd name="connsiteY25916" fmla="*/ 873673 h 6557032"/>
              <a:gd name="connsiteX25917" fmla="*/ 794468 w 4610101"/>
              <a:gd name="connsiteY25917" fmla="*/ 873673 h 6557032"/>
              <a:gd name="connsiteX25918" fmla="*/ 792646 w 4610101"/>
              <a:gd name="connsiteY25918" fmla="*/ 871851 h 6557032"/>
              <a:gd name="connsiteX25919" fmla="*/ 650516 w 4610101"/>
              <a:gd name="connsiteY25919" fmla="*/ 871851 h 6557032"/>
              <a:gd name="connsiteX25920" fmla="*/ 654161 w 4610101"/>
              <a:gd name="connsiteY25920" fmla="*/ 877317 h 6557032"/>
              <a:gd name="connsiteX25921" fmla="*/ 661449 w 4610101"/>
              <a:gd name="connsiteY25921" fmla="*/ 873673 h 6557032"/>
              <a:gd name="connsiteX25922" fmla="*/ 650516 w 4610101"/>
              <a:gd name="connsiteY25922" fmla="*/ 871851 h 6557032"/>
              <a:gd name="connsiteX25923" fmla="*/ 597673 w 4610101"/>
              <a:gd name="connsiteY25923" fmla="*/ 871851 h 6557032"/>
              <a:gd name="connsiteX25924" fmla="*/ 595852 w 4610101"/>
              <a:gd name="connsiteY25924" fmla="*/ 875495 h 6557032"/>
              <a:gd name="connsiteX25925" fmla="*/ 597673 w 4610101"/>
              <a:gd name="connsiteY25925" fmla="*/ 871851 h 6557032"/>
              <a:gd name="connsiteX25926" fmla="*/ 557586 w 4610101"/>
              <a:gd name="connsiteY25926" fmla="*/ 871851 h 6557032"/>
              <a:gd name="connsiteX25927" fmla="*/ 555763 w 4610101"/>
              <a:gd name="connsiteY25927" fmla="*/ 875495 h 6557032"/>
              <a:gd name="connsiteX25928" fmla="*/ 564874 w 4610101"/>
              <a:gd name="connsiteY25928" fmla="*/ 882784 h 6557032"/>
              <a:gd name="connsiteX25929" fmla="*/ 557586 w 4610101"/>
              <a:gd name="connsiteY25929" fmla="*/ 871851 h 6557032"/>
              <a:gd name="connsiteX25930" fmla="*/ 475589 w 4610101"/>
              <a:gd name="connsiteY25930" fmla="*/ 871851 h 6557032"/>
              <a:gd name="connsiteX25931" fmla="*/ 477410 w 4610101"/>
              <a:gd name="connsiteY25931" fmla="*/ 879139 h 6557032"/>
              <a:gd name="connsiteX25932" fmla="*/ 479232 w 4610101"/>
              <a:gd name="connsiteY25932" fmla="*/ 877317 h 6557032"/>
              <a:gd name="connsiteX25933" fmla="*/ 506565 w 4610101"/>
              <a:gd name="connsiteY25933" fmla="*/ 897361 h 6557032"/>
              <a:gd name="connsiteX25934" fmla="*/ 475589 w 4610101"/>
              <a:gd name="connsiteY25934" fmla="*/ 871851 h 6557032"/>
              <a:gd name="connsiteX25935" fmla="*/ 411812 w 4610101"/>
              <a:gd name="connsiteY25935" fmla="*/ 871851 h 6557032"/>
              <a:gd name="connsiteX25936" fmla="*/ 437322 w 4610101"/>
              <a:gd name="connsiteY25936" fmla="*/ 886428 h 6557032"/>
              <a:gd name="connsiteX25937" fmla="*/ 411812 w 4610101"/>
              <a:gd name="connsiteY25937" fmla="*/ 871851 h 6557032"/>
              <a:gd name="connsiteX25938" fmla="*/ 467616 w 4610101"/>
              <a:gd name="connsiteY25938" fmla="*/ 871623 h 6557032"/>
              <a:gd name="connsiteX25939" fmla="*/ 455544 w 4610101"/>
              <a:gd name="connsiteY25939" fmla="*/ 873673 h 6557032"/>
              <a:gd name="connsiteX25940" fmla="*/ 455544 w 4610101"/>
              <a:gd name="connsiteY25940" fmla="*/ 877317 h 6557032"/>
              <a:gd name="connsiteX25941" fmla="*/ 473766 w 4610101"/>
              <a:gd name="connsiteY25941" fmla="*/ 888250 h 6557032"/>
              <a:gd name="connsiteX25942" fmla="*/ 455544 w 4610101"/>
              <a:gd name="connsiteY25942" fmla="*/ 873673 h 6557032"/>
              <a:gd name="connsiteX25943" fmla="*/ 481054 w 4610101"/>
              <a:gd name="connsiteY25943" fmla="*/ 891894 h 6557032"/>
              <a:gd name="connsiteX25944" fmla="*/ 470121 w 4610101"/>
              <a:gd name="connsiteY25944" fmla="*/ 875495 h 6557032"/>
              <a:gd name="connsiteX25945" fmla="*/ 475589 w 4610101"/>
              <a:gd name="connsiteY25945" fmla="*/ 879139 h 6557032"/>
              <a:gd name="connsiteX25946" fmla="*/ 467616 w 4610101"/>
              <a:gd name="connsiteY25946" fmla="*/ 871623 h 6557032"/>
              <a:gd name="connsiteX25947" fmla="*/ 1998963 w 4610101"/>
              <a:gd name="connsiteY25947" fmla="*/ 870202 h 6557032"/>
              <a:gd name="connsiteX25948" fmla="*/ 2000064 w 4610101"/>
              <a:gd name="connsiteY25948" fmla="*/ 875267 h 6557032"/>
              <a:gd name="connsiteX25949" fmla="*/ 1997103 w 4610101"/>
              <a:gd name="connsiteY25949" fmla="*/ 879139 h 6557032"/>
              <a:gd name="connsiteX25950" fmla="*/ 1989814 w 4610101"/>
              <a:gd name="connsiteY25950" fmla="*/ 877317 h 6557032"/>
              <a:gd name="connsiteX25951" fmla="*/ 1998925 w 4610101"/>
              <a:gd name="connsiteY25951" fmla="*/ 870028 h 6557032"/>
              <a:gd name="connsiteX25952" fmla="*/ 1998983 w 4610101"/>
              <a:gd name="connsiteY25952" fmla="*/ 870186 h 6557032"/>
              <a:gd name="connsiteX25953" fmla="*/ 1998963 w 4610101"/>
              <a:gd name="connsiteY25953" fmla="*/ 870202 h 6557032"/>
              <a:gd name="connsiteX25954" fmla="*/ 1295566 w 4610101"/>
              <a:gd name="connsiteY25954" fmla="*/ 870028 h 6557032"/>
              <a:gd name="connsiteX25955" fmla="*/ 1301033 w 4610101"/>
              <a:gd name="connsiteY25955" fmla="*/ 873673 h 6557032"/>
              <a:gd name="connsiteX25956" fmla="*/ 1301033 w 4610101"/>
              <a:gd name="connsiteY25956" fmla="*/ 870028 h 6557032"/>
              <a:gd name="connsiteX25957" fmla="*/ 1295566 w 4610101"/>
              <a:gd name="connsiteY25957" fmla="*/ 870028 h 6557032"/>
              <a:gd name="connsiteX25958" fmla="*/ 1279166 w 4610101"/>
              <a:gd name="connsiteY25958" fmla="*/ 870028 h 6557032"/>
              <a:gd name="connsiteX25959" fmla="*/ 1275522 w 4610101"/>
              <a:gd name="connsiteY25959" fmla="*/ 879139 h 6557032"/>
              <a:gd name="connsiteX25960" fmla="*/ 1279166 w 4610101"/>
              <a:gd name="connsiteY25960" fmla="*/ 870028 h 6557032"/>
              <a:gd name="connsiteX25961" fmla="*/ 577630 w 4610101"/>
              <a:gd name="connsiteY25961" fmla="*/ 870028 h 6557032"/>
              <a:gd name="connsiteX25962" fmla="*/ 584919 w 4610101"/>
              <a:gd name="connsiteY25962" fmla="*/ 873673 h 6557032"/>
              <a:gd name="connsiteX25963" fmla="*/ 588562 w 4610101"/>
              <a:gd name="connsiteY25963" fmla="*/ 875495 h 6557032"/>
              <a:gd name="connsiteX25964" fmla="*/ 583096 w 4610101"/>
              <a:gd name="connsiteY25964" fmla="*/ 871851 h 6557032"/>
              <a:gd name="connsiteX25965" fmla="*/ 586741 w 4610101"/>
              <a:gd name="connsiteY25965" fmla="*/ 871851 h 6557032"/>
              <a:gd name="connsiteX25966" fmla="*/ 577630 w 4610101"/>
              <a:gd name="connsiteY25966" fmla="*/ 870028 h 6557032"/>
              <a:gd name="connsiteX25967" fmla="*/ 1257300 w 4610101"/>
              <a:gd name="connsiteY25967" fmla="*/ 868207 h 6557032"/>
              <a:gd name="connsiteX25968" fmla="*/ 1262083 w 4610101"/>
              <a:gd name="connsiteY25968" fmla="*/ 872990 h 6557032"/>
              <a:gd name="connsiteX25969" fmla="*/ 1262631 w 4610101"/>
              <a:gd name="connsiteY25969" fmla="*/ 874230 h 6557032"/>
              <a:gd name="connsiteX25970" fmla="*/ 1262767 w 4610101"/>
              <a:gd name="connsiteY25970" fmla="*/ 875495 h 6557032"/>
              <a:gd name="connsiteX25971" fmla="*/ 1260034 w 4610101"/>
              <a:gd name="connsiteY25971" fmla="*/ 873217 h 6557032"/>
              <a:gd name="connsiteX25972" fmla="*/ 3121384 w 4610101"/>
              <a:gd name="connsiteY25972" fmla="*/ 868206 h 6557032"/>
              <a:gd name="connsiteX25973" fmla="*/ 3123206 w 4610101"/>
              <a:gd name="connsiteY25973" fmla="*/ 888250 h 6557032"/>
              <a:gd name="connsiteX25974" fmla="*/ 3143250 w 4610101"/>
              <a:gd name="connsiteY25974" fmla="*/ 888250 h 6557032"/>
              <a:gd name="connsiteX25975" fmla="*/ 3170583 w 4610101"/>
              <a:gd name="connsiteY25975" fmla="*/ 877317 h 6557032"/>
              <a:gd name="connsiteX25976" fmla="*/ 3121384 w 4610101"/>
              <a:gd name="connsiteY25976" fmla="*/ 871851 h 6557032"/>
              <a:gd name="connsiteX25977" fmla="*/ 3121384 w 4610101"/>
              <a:gd name="connsiteY25977" fmla="*/ 868206 h 6557032"/>
              <a:gd name="connsiteX25978" fmla="*/ 2607531 w 4610101"/>
              <a:gd name="connsiteY25978" fmla="*/ 868206 h 6557032"/>
              <a:gd name="connsiteX25979" fmla="*/ 2614820 w 4610101"/>
              <a:gd name="connsiteY25979" fmla="*/ 897361 h 6557032"/>
              <a:gd name="connsiteX25980" fmla="*/ 2614820 w 4610101"/>
              <a:gd name="connsiteY25980" fmla="*/ 882784 h 6557032"/>
              <a:gd name="connsiteX25981" fmla="*/ 2609353 w 4610101"/>
              <a:gd name="connsiteY25981" fmla="*/ 884606 h 6557032"/>
              <a:gd name="connsiteX25982" fmla="*/ 2612998 w 4610101"/>
              <a:gd name="connsiteY25982" fmla="*/ 868206 h 6557032"/>
              <a:gd name="connsiteX25983" fmla="*/ 2607531 w 4610101"/>
              <a:gd name="connsiteY25983" fmla="*/ 868206 h 6557032"/>
              <a:gd name="connsiteX25984" fmla="*/ 2600243 w 4610101"/>
              <a:gd name="connsiteY25984" fmla="*/ 868206 h 6557032"/>
              <a:gd name="connsiteX25985" fmla="*/ 2592954 w 4610101"/>
              <a:gd name="connsiteY25985" fmla="*/ 870028 h 6557032"/>
              <a:gd name="connsiteX25986" fmla="*/ 2592954 w 4610101"/>
              <a:gd name="connsiteY25986" fmla="*/ 879139 h 6557032"/>
              <a:gd name="connsiteX25987" fmla="*/ 2600243 w 4610101"/>
              <a:gd name="connsiteY25987" fmla="*/ 886428 h 6557032"/>
              <a:gd name="connsiteX25988" fmla="*/ 2600243 w 4610101"/>
              <a:gd name="connsiteY25988" fmla="*/ 868206 h 6557032"/>
              <a:gd name="connsiteX25989" fmla="*/ 863711 w 4610101"/>
              <a:gd name="connsiteY25989" fmla="*/ 868206 h 6557032"/>
              <a:gd name="connsiteX25990" fmla="*/ 858244 w 4610101"/>
              <a:gd name="connsiteY25990" fmla="*/ 870028 h 6557032"/>
              <a:gd name="connsiteX25991" fmla="*/ 862345 w 4610101"/>
              <a:gd name="connsiteY25991" fmla="*/ 872990 h 6557032"/>
              <a:gd name="connsiteX25992" fmla="*/ 862719 w 4610101"/>
              <a:gd name="connsiteY25992" fmla="*/ 872927 h 6557032"/>
              <a:gd name="connsiteX25993" fmla="*/ 870060 w 4610101"/>
              <a:gd name="connsiteY25993" fmla="*/ 882443 h 6557032"/>
              <a:gd name="connsiteX25994" fmla="*/ 909265 w 4610101"/>
              <a:gd name="connsiteY25994" fmla="*/ 877317 h 6557032"/>
              <a:gd name="connsiteX25995" fmla="*/ 898333 w 4610101"/>
              <a:gd name="connsiteY25995" fmla="*/ 868206 h 6557032"/>
              <a:gd name="connsiteX25996" fmla="*/ 886261 w 4610101"/>
              <a:gd name="connsiteY25996" fmla="*/ 873900 h 6557032"/>
              <a:gd name="connsiteX25997" fmla="*/ 882142 w 4610101"/>
              <a:gd name="connsiteY25997" fmla="*/ 874389 h 6557032"/>
              <a:gd name="connsiteX25998" fmla="*/ 887399 w 4610101"/>
              <a:gd name="connsiteY25998" fmla="*/ 871851 h 6557032"/>
              <a:gd name="connsiteX25999" fmla="*/ 874643 w 4610101"/>
              <a:gd name="connsiteY25999" fmla="*/ 871851 h 6557032"/>
              <a:gd name="connsiteX26000" fmla="*/ 869177 w 4610101"/>
              <a:gd name="connsiteY26000" fmla="*/ 871851 h 6557032"/>
              <a:gd name="connsiteX26001" fmla="*/ 862719 w 4610101"/>
              <a:gd name="connsiteY26001" fmla="*/ 872927 h 6557032"/>
              <a:gd name="connsiteX26002" fmla="*/ 861889 w 4610101"/>
              <a:gd name="connsiteY26002" fmla="*/ 871851 h 6557032"/>
              <a:gd name="connsiteX26003" fmla="*/ 869176 w 4610101"/>
              <a:gd name="connsiteY26003" fmla="*/ 871851 h 6557032"/>
              <a:gd name="connsiteX26004" fmla="*/ 814512 w 4610101"/>
              <a:gd name="connsiteY26004" fmla="*/ 868206 h 6557032"/>
              <a:gd name="connsiteX26005" fmla="*/ 810868 w 4610101"/>
              <a:gd name="connsiteY26005" fmla="*/ 870028 h 6557032"/>
              <a:gd name="connsiteX26006" fmla="*/ 821801 w 4610101"/>
              <a:gd name="connsiteY26006" fmla="*/ 868206 h 6557032"/>
              <a:gd name="connsiteX26007" fmla="*/ 814512 w 4610101"/>
              <a:gd name="connsiteY26007" fmla="*/ 868206 h 6557032"/>
              <a:gd name="connsiteX26008" fmla="*/ 643228 w 4610101"/>
              <a:gd name="connsiteY26008" fmla="*/ 868206 h 6557032"/>
              <a:gd name="connsiteX26009" fmla="*/ 652339 w 4610101"/>
              <a:gd name="connsiteY26009" fmla="*/ 875495 h 6557032"/>
              <a:gd name="connsiteX26010" fmla="*/ 643228 w 4610101"/>
              <a:gd name="connsiteY26010" fmla="*/ 868206 h 6557032"/>
              <a:gd name="connsiteX26011" fmla="*/ 626828 w 4610101"/>
              <a:gd name="connsiteY26011" fmla="*/ 868206 h 6557032"/>
              <a:gd name="connsiteX26012" fmla="*/ 632296 w 4610101"/>
              <a:gd name="connsiteY26012" fmla="*/ 875495 h 6557032"/>
              <a:gd name="connsiteX26013" fmla="*/ 626828 w 4610101"/>
              <a:gd name="connsiteY26013" fmla="*/ 868206 h 6557032"/>
              <a:gd name="connsiteX26014" fmla="*/ 267860 w 4610101"/>
              <a:gd name="connsiteY26014" fmla="*/ 868206 h 6557032"/>
              <a:gd name="connsiteX26015" fmla="*/ 276971 w 4610101"/>
              <a:gd name="connsiteY26015" fmla="*/ 880961 h 6557032"/>
              <a:gd name="connsiteX26016" fmla="*/ 273327 w 4610101"/>
              <a:gd name="connsiteY26016" fmla="*/ 873673 h 6557032"/>
              <a:gd name="connsiteX26017" fmla="*/ 267860 w 4610101"/>
              <a:gd name="connsiteY26017" fmla="*/ 868206 h 6557032"/>
              <a:gd name="connsiteX26018" fmla="*/ 225950 w 4610101"/>
              <a:gd name="connsiteY26018" fmla="*/ 868206 h 6557032"/>
              <a:gd name="connsiteX26019" fmla="*/ 238705 w 4610101"/>
              <a:gd name="connsiteY26019" fmla="*/ 877317 h 6557032"/>
              <a:gd name="connsiteX26020" fmla="*/ 225950 w 4610101"/>
              <a:gd name="connsiteY26020" fmla="*/ 868206 h 6557032"/>
              <a:gd name="connsiteX26021" fmla="*/ 120264 w 4610101"/>
              <a:gd name="connsiteY26021" fmla="*/ 868206 h 6557032"/>
              <a:gd name="connsiteX26022" fmla="*/ 127552 w 4610101"/>
              <a:gd name="connsiteY26022" fmla="*/ 879139 h 6557032"/>
              <a:gd name="connsiteX26023" fmla="*/ 127552 w 4610101"/>
              <a:gd name="connsiteY26023" fmla="*/ 873673 h 6557032"/>
              <a:gd name="connsiteX26024" fmla="*/ 153063 w 4610101"/>
              <a:gd name="connsiteY26024" fmla="*/ 897361 h 6557032"/>
              <a:gd name="connsiteX26025" fmla="*/ 120264 w 4610101"/>
              <a:gd name="connsiteY26025" fmla="*/ 868206 h 6557032"/>
              <a:gd name="connsiteX26026" fmla="*/ 1405803 w 4610101"/>
              <a:gd name="connsiteY26026" fmla="*/ 868204 h 6557032"/>
              <a:gd name="connsiteX26027" fmla="*/ 1411730 w 4610101"/>
              <a:gd name="connsiteY26027" fmla="*/ 870940 h 6557032"/>
              <a:gd name="connsiteX26028" fmla="*/ 1412415 w 4610101"/>
              <a:gd name="connsiteY26028" fmla="*/ 871811 h 6557032"/>
              <a:gd name="connsiteX26029" fmla="*/ 2543755 w 4610101"/>
              <a:gd name="connsiteY26029" fmla="*/ 866384 h 6557032"/>
              <a:gd name="connsiteX26030" fmla="*/ 2536466 w 4610101"/>
              <a:gd name="connsiteY26030" fmla="*/ 875495 h 6557032"/>
              <a:gd name="connsiteX26031" fmla="*/ 2545577 w 4610101"/>
              <a:gd name="connsiteY26031" fmla="*/ 873673 h 6557032"/>
              <a:gd name="connsiteX26032" fmla="*/ 2543755 w 4610101"/>
              <a:gd name="connsiteY26032" fmla="*/ 866384 h 6557032"/>
              <a:gd name="connsiteX26033" fmla="*/ 2385226 w 4610101"/>
              <a:gd name="connsiteY26033" fmla="*/ 866384 h 6557032"/>
              <a:gd name="connsiteX26034" fmla="*/ 2381582 w 4610101"/>
              <a:gd name="connsiteY26034" fmla="*/ 890072 h 6557032"/>
              <a:gd name="connsiteX26035" fmla="*/ 2388871 w 4610101"/>
              <a:gd name="connsiteY26035" fmla="*/ 890072 h 6557032"/>
              <a:gd name="connsiteX26036" fmla="*/ 2401626 w 4610101"/>
              <a:gd name="connsiteY26036" fmla="*/ 875495 h 6557032"/>
              <a:gd name="connsiteX26037" fmla="*/ 2396159 w 4610101"/>
              <a:gd name="connsiteY26037" fmla="*/ 875495 h 6557032"/>
              <a:gd name="connsiteX26038" fmla="*/ 2397981 w 4610101"/>
              <a:gd name="connsiteY26038" fmla="*/ 870028 h 6557032"/>
              <a:gd name="connsiteX26039" fmla="*/ 2385226 w 4610101"/>
              <a:gd name="connsiteY26039" fmla="*/ 866384 h 6557032"/>
              <a:gd name="connsiteX26040" fmla="*/ 1319254 w 4610101"/>
              <a:gd name="connsiteY26040" fmla="*/ 866384 h 6557032"/>
              <a:gd name="connsiteX26041" fmla="*/ 1308321 w 4610101"/>
              <a:gd name="connsiteY26041" fmla="*/ 873673 h 6557032"/>
              <a:gd name="connsiteX26042" fmla="*/ 1319254 w 4610101"/>
              <a:gd name="connsiteY26042" fmla="*/ 866384 h 6557032"/>
              <a:gd name="connsiteX26043" fmla="*/ 577630 w 4610101"/>
              <a:gd name="connsiteY26043" fmla="*/ 866384 h 6557032"/>
              <a:gd name="connsiteX26044" fmla="*/ 584919 w 4610101"/>
              <a:gd name="connsiteY26044" fmla="*/ 870028 h 6557032"/>
              <a:gd name="connsiteX26045" fmla="*/ 577630 w 4610101"/>
              <a:gd name="connsiteY26045" fmla="*/ 866384 h 6557032"/>
              <a:gd name="connsiteX26046" fmla="*/ 442789 w 4610101"/>
              <a:gd name="connsiteY26046" fmla="*/ 866384 h 6557032"/>
              <a:gd name="connsiteX26047" fmla="*/ 451899 w 4610101"/>
              <a:gd name="connsiteY26047" fmla="*/ 880961 h 6557032"/>
              <a:gd name="connsiteX26048" fmla="*/ 442789 w 4610101"/>
              <a:gd name="connsiteY26048" fmla="*/ 866384 h 6557032"/>
              <a:gd name="connsiteX26049" fmla="*/ 258749 w 4610101"/>
              <a:gd name="connsiteY26049" fmla="*/ 866384 h 6557032"/>
              <a:gd name="connsiteX26050" fmla="*/ 269682 w 4610101"/>
              <a:gd name="connsiteY26050" fmla="*/ 877317 h 6557032"/>
              <a:gd name="connsiteX26051" fmla="*/ 258749 w 4610101"/>
              <a:gd name="connsiteY26051" fmla="*/ 866384 h 6557032"/>
              <a:gd name="connsiteX26052" fmla="*/ 227772 w 4610101"/>
              <a:gd name="connsiteY26052" fmla="*/ 866384 h 6557032"/>
              <a:gd name="connsiteX26053" fmla="*/ 244172 w 4610101"/>
              <a:gd name="connsiteY26053" fmla="*/ 879139 h 6557032"/>
              <a:gd name="connsiteX26054" fmla="*/ 227772 w 4610101"/>
              <a:gd name="connsiteY26054" fmla="*/ 866384 h 6557032"/>
              <a:gd name="connsiteX26055" fmla="*/ 200439 w 4610101"/>
              <a:gd name="connsiteY26055" fmla="*/ 866384 h 6557032"/>
              <a:gd name="connsiteX26056" fmla="*/ 205906 w 4610101"/>
              <a:gd name="connsiteY26056" fmla="*/ 873673 h 6557032"/>
              <a:gd name="connsiteX26057" fmla="*/ 205906 w 4610101"/>
              <a:gd name="connsiteY26057" fmla="*/ 870028 h 6557032"/>
              <a:gd name="connsiteX26058" fmla="*/ 200439 w 4610101"/>
              <a:gd name="connsiteY26058" fmla="*/ 866384 h 6557032"/>
              <a:gd name="connsiteX26059" fmla="*/ 1334098 w 4610101"/>
              <a:gd name="connsiteY26059" fmla="*/ 866044 h 6557032"/>
              <a:gd name="connsiteX26060" fmla="*/ 1330188 w 4610101"/>
              <a:gd name="connsiteY26060" fmla="*/ 869118 h 6557032"/>
              <a:gd name="connsiteX26061" fmla="*/ 1320342 w 4610101"/>
              <a:gd name="connsiteY26061" fmla="*/ 872634 h 6557032"/>
              <a:gd name="connsiteX26062" fmla="*/ 1322215 w 4610101"/>
              <a:gd name="connsiteY26062" fmla="*/ 870484 h 6557032"/>
              <a:gd name="connsiteX26063" fmla="*/ 1424472 w 4610101"/>
              <a:gd name="connsiteY26063" fmla="*/ 865792 h 6557032"/>
              <a:gd name="connsiteX26064" fmla="*/ 1434348 w 4610101"/>
              <a:gd name="connsiteY26064" fmla="*/ 867884 h 6557032"/>
              <a:gd name="connsiteX26065" fmla="*/ 1432229 w 4610101"/>
              <a:gd name="connsiteY26065" fmla="*/ 868890 h 6557032"/>
              <a:gd name="connsiteX26066" fmla="*/ 1423118 w 4610101"/>
              <a:gd name="connsiteY26066" fmla="*/ 866384 h 6557032"/>
              <a:gd name="connsiteX26067" fmla="*/ 876238 w 4610101"/>
              <a:gd name="connsiteY26067" fmla="*/ 865018 h 6557032"/>
              <a:gd name="connsiteX26068" fmla="*/ 869177 w 4610101"/>
              <a:gd name="connsiteY26068" fmla="*/ 866384 h 6557032"/>
              <a:gd name="connsiteX26069" fmla="*/ 881933 w 4610101"/>
              <a:gd name="connsiteY26069" fmla="*/ 866384 h 6557032"/>
              <a:gd name="connsiteX26070" fmla="*/ 876238 w 4610101"/>
              <a:gd name="connsiteY26070" fmla="*/ 865018 h 6557032"/>
              <a:gd name="connsiteX26071" fmla="*/ 2199364 w 4610101"/>
              <a:gd name="connsiteY26071" fmla="*/ 864562 h 6557032"/>
              <a:gd name="connsiteX26072" fmla="*/ 2195720 w 4610101"/>
              <a:gd name="connsiteY26072" fmla="*/ 877317 h 6557032"/>
              <a:gd name="connsiteX26073" fmla="*/ 2208475 w 4610101"/>
              <a:gd name="connsiteY26073" fmla="*/ 868206 h 6557032"/>
              <a:gd name="connsiteX26074" fmla="*/ 2210297 w 4610101"/>
              <a:gd name="connsiteY26074" fmla="*/ 864562 h 6557032"/>
              <a:gd name="connsiteX26075" fmla="*/ 1441340 w 4610101"/>
              <a:gd name="connsiteY26075" fmla="*/ 864562 h 6557032"/>
              <a:gd name="connsiteX26076" fmla="*/ 1441947 w 4610101"/>
              <a:gd name="connsiteY26076" fmla="*/ 865170 h 6557032"/>
              <a:gd name="connsiteX26077" fmla="*/ 1435873 w 4610101"/>
              <a:gd name="connsiteY26077" fmla="*/ 868206 h 6557032"/>
              <a:gd name="connsiteX26078" fmla="*/ 1434348 w 4610101"/>
              <a:gd name="connsiteY26078" fmla="*/ 867884 h 6557032"/>
              <a:gd name="connsiteX26079" fmla="*/ 1275522 w 4610101"/>
              <a:gd name="connsiteY26079" fmla="*/ 864562 h 6557032"/>
              <a:gd name="connsiteX26080" fmla="*/ 1275522 w 4610101"/>
              <a:gd name="connsiteY26080" fmla="*/ 871851 h 6557032"/>
              <a:gd name="connsiteX26081" fmla="*/ 1279166 w 4610101"/>
              <a:gd name="connsiteY26081" fmla="*/ 866384 h 6557032"/>
              <a:gd name="connsiteX26082" fmla="*/ 1275522 w 4610101"/>
              <a:gd name="connsiteY26082" fmla="*/ 864562 h 6557032"/>
              <a:gd name="connsiteX26083" fmla="*/ 799251 w 4610101"/>
              <a:gd name="connsiteY26083" fmla="*/ 864562 h 6557032"/>
              <a:gd name="connsiteX26084" fmla="*/ 792646 w 4610101"/>
              <a:gd name="connsiteY26084" fmla="*/ 868206 h 6557032"/>
              <a:gd name="connsiteX26085" fmla="*/ 807223 w 4610101"/>
              <a:gd name="connsiteY26085" fmla="*/ 866384 h 6557032"/>
              <a:gd name="connsiteX26086" fmla="*/ 799251 w 4610101"/>
              <a:gd name="connsiteY26086" fmla="*/ 864562 h 6557032"/>
              <a:gd name="connsiteX26087" fmla="*/ 637761 w 4610101"/>
              <a:gd name="connsiteY26087" fmla="*/ 864562 h 6557032"/>
              <a:gd name="connsiteX26088" fmla="*/ 634117 w 4610101"/>
              <a:gd name="connsiteY26088" fmla="*/ 866384 h 6557032"/>
              <a:gd name="connsiteX26089" fmla="*/ 637761 w 4610101"/>
              <a:gd name="connsiteY26089" fmla="*/ 864562 h 6557032"/>
              <a:gd name="connsiteX26090" fmla="*/ 626828 w 4610101"/>
              <a:gd name="connsiteY26090" fmla="*/ 864562 h 6557032"/>
              <a:gd name="connsiteX26091" fmla="*/ 632296 w 4610101"/>
              <a:gd name="connsiteY26091" fmla="*/ 870028 h 6557032"/>
              <a:gd name="connsiteX26092" fmla="*/ 626828 w 4610101"/>
              <a:gd name="connsiteY26092" fmla="*/ 864562 h 6557032"/>
              <a:gd name="connsiteX26093" fmla="*/ 603453 w 4610101"/>
              <a:gd name="connsiteY26093" fmla="*/ 864050 h 6557032"/>
              <a:gd name="connsiteX26094" fmla="*/ 597673 w 4610101"/>
              <a:gd name="connsiteY26094" fmla="*/ 866384 h 6557032"/>
              <a:gd name="connsiteX26095" fmla="*/ 621362 w 4610101"/>
              <a:gd name="connsiteY26095" fmla="*/ 888250 h 6557032"/>
              <a:gd name="connsiteX26096" fmla="*/ 621362 w 4610101"/>
              <a:gd name="connsiteY26096" fmla="*/ 886428 h 6557032"/>
              <a:gd name="connsiteX26097" fmla="*/ 628650 w 4610101"/>
              <a:gd name="connsiteY26097" fmla="*/ 888250 h 6557032"/>
              <a:gd name="connsiteX26098" fmla="*/ 623185 w 4610101"/>
              <a:gd name="connsiteY26098" fmla="*/ 880961 h 6557032"/>
              <a:gd name="connsiteX26099" fmla="*/ 603453 w 4610101"/>
              <a:gd name="connsiteY26099" fmla="*/ 864050 h 6557032"/>
              <a:gd name="connsiteX26100" fmla="*/ 3247114 w 4610101"/>
              <a:gd name="connsiteY26100" fmla="*/ 862740 h 6557032"/>
              <a:gd name="connsiteX26101" fmla="*/ 3254403 w 4610101"/>
              <a:gd name="connsiteY26101" fmla="*/ 862740 h 6557032"/>
              <a:gd name="connsiteX26102" fmla="*/ 3247114 w 4610101"/>
              <a:gd name="connsiteY26102" fmla="*/ 862740 h 6557032"/>
              <a:gd name="connsiteX26103" fmla="*/ 2496379 w 4610101"/>
              <a:gd name="connsiteY26103" fmla="*/ 862740 h 6557032"/>
              <a:gd name="connsiteX26104" fmla="*/ 2490912 w 4610101"/>
              <a:gd name="connsiteY26104" fmla="*/ 864562 h 6557032"/>
              <a:gd name="connsiteX26105" fmla="*/ 2494556 w 4610101"/>
              <a:gd name="connsiteY26105" fmla="*/ 880961 h 6557032"/>
              <a:gd name="connsiteX26106" fmla="*/ 2496379 w 4610101"/>
              <a:gd name="connsiteY26106" fmla="*/ 862740 h 6557032"/>
              <a:gd name="connsiteX26107" fmla="*/ 1270056 w 4610101"/>
              <a:gd name="connsiteY26107" fmla="*/ 862740 h 6557032"/>
              <a:gd name="connsiteX26108" fmla="*/ 1271878 w 4610101"/>
              <a:gd name="connsiteY26108" fmla="*/ 868206 h 6557032"/>
              <a:gd name="connsiteX26109" fmla="*/ 1273700 w 4610101"/>
              <a:gd name="connsiteY26109" fmla="*/ 864562 h 6557032"/>
              <a:gd name="connsiteX26110" fmla="*/ 1270056 w 4610101"/>
              <a:gd name="connsiteY26110" fmla="*/ 862740 h 6557032"/>
              <a:gd name="connsiteX26111" fmla="*/ 978508 w 4610101"/>
              <a:gd name="connsiteY26111" fmla="*/ 862740 h 6557032"/>
              <a:gd name="connsiteX26112" fmla="*/ 974863 w 4610101"/>
              <a:gd name="connsiteY26112" fmla="*/ 864562 h 6557032"/>
              <a:gd name="connsiteX26113" fmla="*/ 978508 w 4610101"/>
              <a:gd name="connsiteY26113" fmla="*/ 864562 h 6557032"/>
              <a:gd name="connsiteX26114" fmla="*/ 978508 w 4610101"/>
              <a:gd name="connsiteY26114" fmla="*/ 862740 h 6557032"/>
              <a:gd name="connsiteX26115" fmla="*/ 947531 w 4610101"/>
              <a:gd name="connsiteY26115" fmla="*/ 862740 h 6557032"/>
              <a:gd name="connsiteX26116" fmla="*/ 940242 w 4610101"/>
              <a:gd name="connsiteY26116" fmla="*/ 871851 h 6557032"/>
              <a:gd name="connsiteX26117" fmla="*/ 949353 w 4610101"/>
              <a:gd name="connsiteY26117" fmla="*/ 873673 h 6557032"/>
              <a:gd name="connsiteX26118" fmla="*/ 943886 w 4610101"/>
              <a:gd name="connsiteY26118" fmla="*/ 868206 h 6557032"/>
              <a:gd name="connsiteX26119" fmla="*/ 951175 w 4610101"/>
              <a:gd name="connsiteY26119" fmla="*/ 870028 h 6557032"/>
              <a:gd name="connsiteX26120" fmla="*/ 947531 w 4610101"/>
              <a:gd name="connsiteY26120" fmla="*/ 862740 h 6557032"/>
              <a:gd name="connsiteX26121" fmla="*/ 646872 w 4610101"/>
              <a:gd name="connsiteY26121" fmla="*/ 862740 h 6557032"/>
              <a:gd name="connsiteX26122" fmla="*/ 652339 w 4610101"/>
              <a:gd name="connsiteY26122" fmla="*/ 870028 h 6557032"/>
              <a:gd name="connsiteX26123" fmla="*/ 646872 w 4610101"/>
              <a:gd name="connsiteY26123" fmla="*/ 862740 h 6557032"/>
              <a:gd name="connsiteX26124" fmla="*/ 548475 w 4610101"/>
              <a:gd name="connsiteY26124" fmla="*/ 862740 h 6557032"/>
              <a:gd name="connsiteX26125" fmla="*/ 553941 w 4610101"/>
              <a:gd name="connsiteY26125" fmla="*/ 868206 h 6557032"/>
              <a:gd name="connsiteX26126" fmla="*/ 548475 w 4610101"/>
              <a:gd name="connsiteY26126" fmla="*/ 862740 h 6557032"/>
              <a:gd name="connsiteX26127" fmla="*/ 532075 w 4610101"/>
              <a:gd name="connsiteY26127" fmla="*/ 862740 h 6557032"/>
              <a:gd name="connsiteX26128" fmla="*/ 533897 w 4610101"/>
              <a:gd name="connsiteY26128" fmla="*/ 871851 h 6557032"/>
              <a:gd name="connsiteX26129" fmla="*/ 535719 w 4610101"/>
              <a:gd name="connsiteY26129" fmla="*/ 864562 h 6557032"/>
              <a:gd name="connsiteX26130" fmla="*/ 532075 w 4610101"/>
              <a:gd name="connsiteY26130" fmla="*/ 862740 h 6557032"/>
              <a:gd name="connsiteX26131" fmla="*/ 433678 w 4610101"/>
              <a:gd name="connsiteY26131" fmla="*/ 862740 h 6557032"/>
              <a:gd name="connsiteX26132" fmla="*/ 442789 w 4610101"/>
              <a:gd name="connsiteY26132" fmla="*/ 873673 h 6557032"/>
              <a:gd name="connsiteX26133" fmla="*/ 439145 w 4610101"/>
              <a:gd name="connsiteY26133" fmla="*/ 864562 h 6557032"/>
              <a:gd name="connsiteX26134" fmla="*/ 433678 w 4610101"/>
              <a:gd name="connsiteY26134" fmla="*/ 862740 h 6557032"/>
              <a:gd name="connsiteX26135" fmla="*/ 235061 w 4610101"/>
              <a:gd name="connsiteY26135" fmla="*/ 862740 h 6557032"/>
              <a:gd name="connsiteX26136" fmla="*/ 231416 w 4610101"/>
              <a:gd name="connsiteY26136" fmla="*/ 864562 h 6557032"/>
              <a:gd name="connsiteX26137" fmla="*/ 242349 w 4610101"/>
              <a:gd name="connsiteY26137" fmla="*/ 871851 h 6557032"/>
              <a:gd name="connsiteX26138" fmla="*/ 235061 w 4610101"/>
              <a:gd name="connsiteY26138" fmla="*/ 862740 h 6557032"/>
              <a:gd name="connsiteX26139" fmla="*/ 140308 w 4610101"/>
              <a:gd name="connsiteY26139" fmla="*/ 862740 h 6557032"/>
              <a:gd name="connsiteX26140" fmla="*/ 149419 w 4610101"/>
              <a:gd name="connsiteY26140" fmla="*/ 873673 h 6557032"/>
              <a:gd name="connsiteX26141" fmla="*/ 151241 w 4610101"/>
              <a:gd name="connsiteY26141" fmla="*/ 870028 h 6557032"/>
              <a:gd name="connsiteX26142" fmla="*/ 156479 w 4610101"/>
              <a:gd name="connsiteY26142" fmla="*/ 880051 h 6557032"/>
              <a:gd name="connsiteX26143" fmla="*/ 164021 w 4610101"/>
              <a:gd name="connsiteY26143" fmla="*/ 883730 h 6557032"/>
              <a:gd name="connsiteX26144" fmla="*/ 173107 w 4610101"/>
              <a:gd name="connsiteY26144" fmla="*/ 899183 h 6557032"/>
              <a:gd name="connsiteX26145" fmla="*/ 167578 w 4610101"/>
              <a:gd name="connsiteY26145" fmla="*/ 895037 h 6557032"/>
              <a:gd name="connsiteX26146" fmla="*/ 153063 w 4610101"/>
              <a:gd name="connsiteY26146" fmla="*/ 879139 h 6557032"/>
              <a:gd name="connsiteX26147" fmla="*/ 154233 w 4610101"/>
              <a:gd name="connsiteY26147" fmla="*/ 885574 h 6557032"/>
              <a:gd name="connsiteX26148" fmla="*/ 149191 w 4610101"/>
              <a:gd name="connsiteY26148" fmla="*/ 876406 h 6557032"/>
              <a:gd name="connsiteX26149" fmla="*/ 140308 w 4610101"/>
              <a:gd name="connsiteY26149" fmla="*/ 862740 h 6557032"/>
              <a:gd name="connsiteX26150" fmla="*/ 1177044 w 4610101"/>
              <a:gd name="connsiteY26150" fmla="*/ 861255 h 6557032"/>
              <a:gd name="connsiteX26151" fmla="*/ 1178947 w 4610101"/>
              <a:gd name="connsiteY26151" fmla="*/ 862740 h 6557032"/>
              <a:gd name="connsiteX26152" fmla="*/ 1175965 w 4610101"/>
              <a:gd name="connsiteY26152" fmla="*/ 865721 h 6557032"/>
              <a:gd name="connsiteX26153" fmla="*/ 3236181 w 4610101"/>
              <a:gd name="connsiteY26153" fmla="*/ 860918 h 6557032"/>
              <a:gd name="connsiteX26154" fmla="*/ 3232537 w 4610101"/>
              <a:gd name="connsiteY26154" fmla="*/ 862740 h 6557032"/>
              <a:gd name="connsiteX26155" fmla="*/ 3238003 w 4610101"/>
              <a:gd name="connsiteY26155" fmla="*/ 866384 h 6557032"/>
              <a:gd name="connsiteX26156" fmla="*/ 3236181 w 4610101"/>
              <a:gd name="connsiteY26156" fmla="*/ 860918 h 6557032"/>
              <a:gd name="connsiteX26157" fmla="*/ 3143250 w 4610101"/>
              <a:gd name="connsiteY26157" fmla="*/ 860918 h 6557032"/>
              <a:gd name="connsiteX26158" fmla="*/ 3152361 w 4610101"/>
              <a:gd name="connsiteY26158" fmla="*/ 864562 h 6557032"/>
              <a:gd name="connsiteX26159" fmla="*/ 3143250 w 4610101"/>
              <a:gd name="connsiteY26159" fmla="*/ 860918 h 6557032"/>
              <a:gd name="connsiteX26160" fmla="*/ 2649441 w 4610101"/>
              <a:gd name="connsiteY26160" fmla="*/ 860918 h 6557032"/>
              <a:gd name="connsiteX26161" fmla="*/ 2638508 w 4610101"/>
              <a:gd name="connsiteY26161" fmla="*/ 880961 h 6557032"/>
              <a:gd name="connsiteX26162" fmla="*/ 2631219 w 4610101"/>
              <a:gd name="connsiteY26162" fmla="*/ 879139 h 6557032"/>
              <a:gd name="connsiteX26163" fmla="*/ 2651263 w 4610101"/>
              <a:gd name="connsiteY26163" fmla="*/ 911939 h 6557032"/>
              <a:gd name="connsiteX26164" fmla="*/ 2658552 w 4610101"/>
              <a:gd name="connsiteY26164" fmla="*/ 931983 h 6557032"/>
              <a:gd name="connsiteX26165" fmla="*/ 2660374 w 4610101"/>
              <a:gd name="connsiteY26165" fmla="*/ 913761 h 6557032"/>
              <a:gd name="connsiteX26166" fmla="*/ 2671307 w 4610101"/>
              <a:gd name="connsiteY26166" fmla="*/ 924695 h 6557032"/>
              <a:gd name="connsiteX26167" fmla="*/ 2671307 w 4610101"/>
              <a:gd name="connsiteY26167" fmla="*/ 922872 h 6557032"/>
              <a:gd name="connsiteX26168" fmla="*/ 2673130 w 4610101"/>
              <a:gd name="connsiteY26168" fmla="*/ 921049 h 6557032"/>
              <a:gd name="connsiteX26169" fmla="*/ 2665841 w 4610101"/>
              <a:gd name="connsiteY26169" fmla="*/ 908295 h 6557032"/>
              <a:gd name="connsiteX26170" fmla="*/ 2667663 w 4610101"/>
              <a:gd name="connsiteY26170" fmla="*/ 906473 h 6557032"/>
              <a:gd name="connsiteX26171" fmla="*/ 2640330 w 4610101"/>
              <a:gd name="connsiteY26171" fmla="*/ 886428 h 6557032"/>
              <a:gd name="connsiteX26172" fmla="*/ 2660374 w 4610101"/>
              <a:gd name="connsiteY26172" fmla="*/ 895539 h 6557032"/>
              <a:gd name="connsiteX26173" fmla="*/ 2649441 w 4610101"/>
              <a:gd name="connsiteY26173" fmla="*/ 860918 h 6557032"/>
              <a:gd name="connsiteX26174" fmla="*/ 2283184 w 4610101"/>
              <a:gd name="connsiteY26174" fmla="*/ 860918 h 6557032"/>
              <a:gd name="connsiteX26175" fmla="*/ 2279540 w 4610101"/>
              <a:gd name="connsiteY26175" fmla="*/ 864562 h 6557032"/>
              <a:gd name="connsiteX26176" fmla="*/ 2281362 w 4610101"/>
              <a:gd name="connsiteY26176" fmla="*/ 873673 h 6557032"/>
              <a:gd name="connsiteX26177" fmla="*/ 2283184 w 4610101"/>
              <a:gd name="connsiteY26177" fmla="*/ 860918 h 6557032"/>
              <a:gd name="connsiteX26178" fmla="*/ 1259123 w 4610101"/>
              <a:gd name="connsiteY26178" fmla="*/ 860918 h 6557032"/>
              <a:gd name="connsiteX26179" fmla="*/ 1260021 w 4610101"/>
              <a:gd name="connsiteY26179" fmla="*/ 861091 h 6557032"/>
              <a:gd name="connsiteX26180" fmla="*/ 1260433 w 4610101"/>
              <a:gd name="connsiteY26180" fmla="*/ 861825 h 6557032"/>
              <a:gd name="connsiteX26181" fmla="*/ 809046 w 4610101"/>
              <a:gd name="connsiteY26181" fmla="*/ 860918 h 6557032"/>
              <a:gd name="connsiteX26182" fmla="*/ 803579 w 4610101"/>
              <a:gd name="connsiteY26182" fmla="*/ 862740 h 6557032"/>
              <a:gd name="connsiteX26183" fmla="*/ 811274 w 4610101"/>
              <a:gd name="connsiteY26183" fmla="*/ 862740 h 6557032"/>
              <a:gd name="connsiteX26184" fmla="*/ 811551 w 4610101"/>
              <a:gd name="connsiteY26184" fmla="*/ 862968 h 6557032"/>
              <a:gd name="connsiteX26185" fmla="*/ 811678 w 4610101"/>
              <a:gd name="connsiteY26185" fmla="*/ 862740 h 6557032"/>
              <a:gd name="connsiteX26186" fmla="*/ 814512 w 4610101"/>
              <a:gd name="connsiteY26186" fmla="*/ 862740 h 6557032"/>
              <a:gd name="connsiteX26187" fmla="*/ 812690 w 4610101"/>
              <a:gd name="connsiteY26187" fmla="*/ 860918 h 6557032"/>
              <a:gd name="connsiteX26188" fmla="*/ 811678 w 4610101"/>
              <a:gd name="connsiteY26188" fmla="*/ 862740 h 6557032"/>
              <a:gd name="connsiteX26189" fmla="*/ 811274 w 4610101"/>
              <a:gd name="connsiteY26189" fmla="*/ 862740 h 6557032"/>
              <a:gd name="connsiteX26190" fmla="*/ 794468 w 4610101"/>
              <a:gd name="connsiteY26190" fmla="*/ 860918 h 6557032"/>
              <a:gd name="connsiteX26191" fmla="*/ 787179 w 4610101"/>
              <a:gd name="connsiteY26191" fmla="*/ 864562 h 6557032"/>
              <a:gd name="connsiteX26192" fmla="*/ 794468 w 4610101"/>
              <a:gd name="connsiteY26192" fmla="*/ 860918 h 6557032"/>
              <a:gd name="connsiteX26193" fmla="*/ 770781 w 4610101"/>
              <a:gd name="connsiteY26193" fmla="*/ 860918 h 6557032"/>
              <a:gd name="connsiteX26194" fmla="*/ 783535 w 4610101"/>
              <a:gd name="connsiteY26194" fmla="*/ 864562 h 6557032"/>
              <a:gd name="connsiteX26195" fmla="*/ 770781 w 4610101"/>
              <a:gd name="connsiteY26195" fmla="*/ 860918 h 6557032"/>
              <a:gd name="connsiteX26196" fmla="*/ 650516 w 4610101"/>
              <a:gd name="connsiteY26196" fmla="*/ 860918 h 6557032"/>
              <a:gd name="connsiteX26197" fmla="*/ 663272 w 4610101"/>
              <a:gd name="connsiteY26197" fmla="*/ 868206 h 6557032"/>
              <a:gd name="connsiteX26198" fmla="*/ 650516 w 4610101"/>
              <a:gd name="connsiteY26198" fmla="*/ 860918 h 6557032"/>
              <a:gd name="connsiteX26199" fmla="*/ 606784 w 4610101"/>
              <a:gd name="connsiteY26199" fmla="*/ 860918 h 6557032"/>
              <a:gd name="connsiteX26200" fmla="*/ 617717 w 4610101"/>
              <a:gd name="connsiteY26200" fmla="*/ 868206 h 6557032"/>
              <a:gd name="connsiteX26201" fmla="*/ 606784 w 4610101"/>
              <a:gd name="connsiteY26201" fmla="*/ 860918 h 6557032"/>
              <a:gd name="connsiteX26202" fmla="*/ 501098 w 4610101"/>
              <a:gd name="connsiteY26202" fmla="*/ 860918 h 6557032"/>
              <a:gd name="connsiteX26203" fmla="*/ 504743 w 4610101"/>
              <a:gd name="connsiteY26203" fmla="*/ 864562 h 6557032"/>
              <a:gd name="connsiteX26204" fmla="*/ 501098 w 4610101"/>
              <a:gd name="connsiteY26204" fmla="*/ 860918 h 6557032"/>
              <a:gd name="connsiteX26205" fmla="*/ 468299 w 4610101"/>
              <a:gd name="connsiteY26205" fmla="*/ 860918 h 6557032"/>
              <a:gd name="connsiteX26206" fmla="*/ 470121 w 4610101"/>
              <a:gd name="connsiteY26206" fmla="*/ 862740 h 6557032"/>
              <a:gd name="connsiteX26207" fmla="*/ 470219 w 4610101"/>
              <a:gd name="connsiteY26207" fmla="*/ 862755 h 6557032"/>
              <a:gd name="connsiteX26208" fmla="*/ 478776 w 4610101"/>
              <a:gd name="connsiteY26208" fmla="*/ 870940 h 6557032"/>
              <a:gd name="connsiteX26209" fmla="*/ 491987 w 4610101"/>
              <a:gd name="connsiteY26209" fmla="*/ 875495 h 6557032"/>
              <a:gd name="connsiteX26210" fmla="*/ 485154 w 4610101"/>
              <a:gd name="connsiteY26210" fmla="*/ 865018 h 6557032"/>
              <a:gd name="connsiteX26211" fmla="*/ 470219 w 4610101"/>
              <a:gd name="connsiteY26211" fmla="*/ 862755 h 6557032"/>
              <a:gd name="connsiteX26212" fmla="*/ 291549 w 4610101"/>
              <a:gd name="connsiteY26212" fmla="*/ 860918 h 6557032"/>
              <a:gd name="connsiteX26213" fmla="*/ 295193 w 4610101"/>
              <a:gd name="connsiteY26213" fmla="*/ 864562 h 6557032"/>
              <a:gd name="connsiteX26214" fmla="*/ 291549 w 4610101"/>
              <a:gd name="connsiteY26214" fmla="*/ 860918 h 6557032"/>
              <a:gd name="connsiteX26215" fmla="*/ 116619 w 4610101"/>
              <a:gd name="connsiteY26215" fmla="*/ 860918 h 6557032"/>
              <a:gd name="connsiteX26216" fmla="*/ 131197 w 4610101"/>
              <a:gd name="connsiteY26216" fmla="*/ 873673 h 6557032"/>
              <a:gd name="connsiteX26217" fmla="*/ 116619 w 4610101"/>
              <a:gd name="connsiteY26217" fmla="*/ 860918 h 6557032"/>
              <a:gd name="connsiteX26218" fmla="*/ 587652 w 4610101"/>
              <a:gd name="connsiteY26218" fmla="*/ 860690 h 6557032"/>
              <a:gd name="connsiteX26219" fmla="*/ 583096 w 4610101"/>
              <a:gd name="connsiteY26219" fmla="*/ 862740 h 6557032"/>
              <a:gd name="connsiteX26220" fmla="*/ 588562 w 4610101"/>
              <a:gd name="connsiteY26220" fmla="*/ 868206 h 6557032"/>
              <a:gd name="connsiteX26221" fmla="*/ 592207 w 4610101"/>
              <a:gd name="connsiteY26221" fmla="*/ 862740 h 6557032"/>
              <a:gd name="connsiteX26222" fmla="*/ 587652 w 4610101"/>
              <a:gd name="connsiteY26222" fmla="*/ 860690 h 6557032"/>
              <a:gd name="connsiteX26223" fmla="*/ 3194271 w 4610101"/>
              <a:gd name="connsiteY26223" fmla="*/ 859095 h 6557032"/>
              <a:gd name="connsiteX26224" fmla="*/ 3192449 w 4610101"/>
              <a:gd name="connsiteY26224" fmla="*/ 860918 h 6557032"/>
              <a:gd name="connsiteX26225" fmla="*/ 3205204 w 4610101"/>
              <a:gd name="connsiteY26225" fmla="*/ 860918 h 6557032"/>
              <a:gd name="connsiteX26226" fmla="*/ 3194271 w 4610101"/>
              <a:gd name="connsiteY26226" fmla="*/ 859095 h 6557032"/>
              <a:gd name="connsiteX26227" fmla="*/ 2554688 w 4610101"/>
              <a:gd name="connsiteY26227" fmla="*/ 859095 h 6557032"/>
              <a:gd name="connsiteX26228" fmla="*/ 2545577 w 4610101"/>
              <a:gd name="connsiteY26228" fmla="*/ 871851 h 6557032"/>
              <a:gd name="connsiteX26229" fmla="*/ 2561977 w 4610101"/>
              <a:gd name="connsiteY26229" fmla="*/ 870028 h 6557032"/>
              <a:gd name="connsiteX26230" fmla="*/ 2561977 w 4610101"/>
              <a:gd name="connsiteY26230" fmla="*/ 864562 h 6557032"/>
              <a:gd name="connsiteX26231" fmla="*/ 2554688 w 4610101"/>
              <a:gd name="connsiteY26231" fmla="*/ 859095 h 6557032"/>
              <a:gd name="connsiteX26232" fmla="*/ 1452273 w 4610101"/>
              <a:gd name="connsiteY26232" fmla="*/ 859095 h 6557032"/>
              <a:gd name="connsiteX26233" fmla="*/ 1443162 w 4610101"/>
              <a:gd name="connsiteY26233" fmla="*/ 866384 h 6557032"/>
              <a:gd name="connsiteX26234" fmla="*/ 1441947 w 4610101"/>
              <a:gd name="connsiteY26234" fmla="*/ 865170 h 6557032"/>
              <a:gd name="connsiteX26235" fmla="*/ 1445895 w 4610101"/>
              <a:gd name="connsiteY26235" fmla="*/ 863196 h 6557032"/>
              <a:gd name="connsiteX26236" fmla="*/ 1448157 w 4610101"/>
              <a:gd name="connsiteY26236" fmla="*/ 859353 h 6557032"/>
              <a:gd name="connsiteX26237" fmla="*/ 1277344 w 4610101"/>
              <a:gd name="connsiteY26237" fmla="*/ 859095 h 6557032"/>
              <a:gd name="connsiteX26238" fmla="*/ 1275522 w 4610101"/>
              <a:gd name="connsiteY26238" fmla="*/ 860918 h 6557032"/>
              <a:gd name="connsiteX26239" fmla="*/ 1280989 w 4610101"/>
              <a:gd name="connsiteY26239" fmla="*/ 864562 h 6557032"/>
              <a:gd name="connsiteX26240" fmla="*/ 1277344 w 4610101"/>
              <a:gd name="connsiteY26240" fmla="*/ 859095 h 6557032"/>
              <a:gd name="connsiteX26241" fmla="*/ 847311 w 4610101"/>
              <a:gd name="connsiteY26241" fmla="*/ 859095 h 6557032"/>
              <a:gd name="connsiteX26242" fmla="*/ 850956 w 4610101"/>
              <a:gd name="connsiteY26242" fmla="*/ 862740 h 6557032"/>
              <a:gd name="connsiteX26243" fmla="*/ 847311 w 4610101"/>
              <a:gd name="connsiteY26243" fmla="*/ 859095 h 6557032"/>
              <a:gd name="connsiteX26244" fmla="*/ 725226 w 4610101"/>
              <a:gd name="connsiteY26244" fmla="*/ 859095 h 6557032"/>
              <a:gd name="connsiteX26245" fmla="*/ 723404 w 4610101"/>
              <a:gd name="connsiteY26245" fmla="*/ 864562 h 6557032"/>
              <a:gd name="connsiteX26246" fmla="*/ 728870 w 4610101"/>
              <a:gd name="connsiteY26246" fmla="*/ 860918 h 6557032"/>
              <a:gd name="connsiteX26247" fmla="*/ 725226 w 4610101"/>
              <a:gd name="connsiteY26247" fmla="*/ 859095 h 6557032"/>
              <a:gd name="connsiteX26248" fmla="*/ 189506 w 4610101"/>
              <a:gd name="connsiteY26248" fmla="*/ 859095 h 6557032"/>
              <a:gd name="connsiteX26249" fmla="*/ 204084 w 4610101"/>
              <a:gd name="connsiteY26249" fmla="*/ 875495 h 6557032"/>
              <a:gd name="connsiteX26250" fmla="*/ 189506 w 4610101"/>
              <a:gd name="connsiteY26250" fmla="*/ 859095 h 6557032"/>
              <a:gd name="connsiteX26251" fmla="*/ 830911 w 4610101"/>
              <a:gd name="connsiteY26251" fmla="*/ 858868 h 6557032"/>
              <a:gd name="connsiteX26252" fmla="*/ 825445 w 4610101"/>
              <a:gd name="connsiteY26252" fmla="*/ 862740 h 6557032"/>
              <a:gd name="connsiteX26253" fmla="*/ 836378 w 4610101"/>
              <a:gd name="connsiteY26253" fmla="*/ 862740 h 6557032"/>
              <a:gd name="connsiteX26254" fmla="*/ 836378 w 4610101"/>
              <a:gd name="connsiteY26254" fmla="*/ 859095 h 6557032"/>
              <a:gd name="connsiteX26255" fmla="*/ 830911 w 4610101"/>
              <a:gd name="connsiteY26255" fmla="*/ 858868 h 6557032"/>
              <a:gd name="connsiteX26256" fmla="*/ 907444 w 4610101"/>
              <a:gd name="connsiteY26256" fmla="*/ 858640 h 6557032"/>
              <a:gd name="connsiteX26257" fmla="*/ 898333 w 4610101"/>
              <a:gd name="connsiteY26257" fmla="*/ 859095 h 6557032"/>
              <a:gd name="connsiteX26258" fmla="*/ 911087 w 4610101"/>
              <a:gd name="connsiteY26258" fmla="*/ 866384 h 6557032"/>
              <a:gd name="connsiteX26259" fmla="*/ 907444 w 4610101"/>
              <a:gd name="connsiteY26259" fmla="*/ 858640 h 6557032"/>
              <a:gd name="connsiteX26260" fmla="*/ 3486732 w 4610101"/>
              <a:gd name="connsiteY26260" fmla="*/ 858531 h 6557032"/>
              <a:gd name="connsiteX26261" fmla="*/ 3488781 w 4610101"/>
              <a:gd name="connsiteY26261" fmla="*/ 860690 h 6557032"/>
              <a:gd name="connsiteX26262" fmla="*/ 3482175 w 4610101"/>
              <a:gd name="connsiteY26262" fmla="*/ 873673 h 6557032"/>
              <a:gd name="connsiteX26263" fmla="*/ 3471998 w 4610101"/>
              <a:gd name="connsiteY26263" fmla="*/ 875935 h 6557032"/>
              <a:gd name="connsiteX26264" fmla="*/ 3469419 w 4610101"/>
              <a:gd name="connsiteY26264" fmla="*/ 875495 h 6557032"/>
              <a:gd name="connsiteX26265" fmla="*/ 3462131 w 4610101"/>
              <a:gd name="connsiteY26265" fmla="*/ 871851 h 6557032"/>
              <a:gd name="connsiteX26266" fmla="*/ 3482175 w 4610101"/>
              <a:gd name="connsiteY26266" fmla="*/ 866384 h 6557032"/>
              <a:gd name="connsiteX26267" fmla="*/ 3486503 w 4610101"/>
              <a:gd name="connsiteY26267" fmla="*/ 859096 h 6557032"/>
              <a:gd name="connsiteX26268" fmla="*/ 1347353 w 4610101"/>
              <a:gd name="connsiteY26268" fmla="*/ 858213 h 6557032"/>
              <a:gd name="connsiteX26269" fmla="*/ 1342942 w 4610101"/>
              <a:gd name="connsiteY26269" fmla="*/ 862740 h 6557032"/>
              <a:gd name="connsiteX26270" fmla="*/ 1334098 w 4610101"/>
              <a:gd name="connsiteY26270" fmla="*/ 866044 h 6557032"/>
              <a:gd name="connsiteX26271" fmla="*/ 1342942 w 4610101"/>
              <a:gd name="connsiteY26271" fmla="*/ 859095 h 6557032"/>
              <a:gd name="connsiteX26272" fmla="*/ 3349840 w 4610101"/>
              <a:gd name="connsiteY26272" fmla="*/ 857957 h 6557032"/>
              <a:gd name="connsiteX26273" fmla="*/ 3345512 w 4610101"/>
              <a:gd name="connsiteY26273" fmla="*/ 859095 h 6557032"/>
              <a:gd name="connsiteX26274" fmla="*/ 3352800 w 4610101"/>
              <a:gd name="connsiteY26274" fmla="*/ 860918 h 6557032"/>
              <a:gd name="connsiteX26275" fmla="*/ 3349840 w 4610101"/>
              <a:gd name="connsiteY26275" fmla="*/ 857957 h 6557032"/>
              <a:gd name="connsiteX26276" fmla="*/ 2476335 w 4610101"/>
              <a:gd name="connsiteY26276" fmla="*/ 857273 h 6557032"/>
              <a:gd name="connsiteX26277" fmla="*/ 2478157 w 4610101"/>
              <a:gd name="connsiteY26277" fmla="*/ 864562 h 6557032"/>
              <a:gd name="connsiteX26278" fmla="*/ 2476335 w 4610101"/>
              <a:gd name="connsiteY26278" fmla="*/ 857273 h 6557032"/>
              <a:gd name="connsiteX26279" fmla="*/ 860066 w 4610101"/>
              <a:gd name="connsiteY26279" fmla="*/ 857273 h 6557032"/>
              <a:gd name="connsiteX26280" fmla="*/ 858244 w 4610101"/>
              <a:gd name="connsiteY26280" fmla="*/ 860918 h 6557032"/>
              <a:gd name="connsiteX26281" fmla="*/ 860066 w 4610101"/>
              <a:gd name="connsiteY26281" fmla="*/ 857273 h 6557032"/>
              <a:gd name="connsiteX26282" fmla="*/ 750737 w 4610101"/>
              <a:gd name="connsiteY26282" fmla="*/ 857273 h 6557032"/>
              <a:gd name="connsiteX26283" fmla="*/ 747092 w 4610101"/>
              <a:gd name="connsiteY26283" fmla="*/ 860918 h 6557032"/>
              <a:gd name="connsiteX26284" fmla="*/ 752558 w 4610101"/>
              <a:gd name="connsiteY26284" fmla="*/ 862740 h 6557032"/>
              <a:gd name="connsiteX26285" fmla="*/ 750737 w 4610101"/>
              <a:gd name="connsiteY26285" fmla="*/ 857273 h 6557032"/>
              <a:gd name="connsiteX26286" fmla="*/ 555763 w 4610101"/>
              <a:gd name="connsiteY26286" fmla="*/ 857273 h 6557032"/>
              <a:gd name="connsiteX26287" fmla="*/ 559408 w 4610101"/>
              <a:gd name="connsiteY26287" fmla="*/ 860918 h 6557032"/>
              <a:gd name="connsiteX26288" fmla="*/ 555763 w 4610101"/>
              <a:gd name="connsiteY26288" fmla="*/ 857273 h 6557032"/>
              <a:gd name="connsiteX26289" fmla="*/ 1348763 w 4610101"/>
              <a:gd name="connsiteY26289" fmla="*/ 856767 h 6557032"/>
              <a:gd name="connsiteX26290" fmla="*/ 1352053 w 4610101"/>
              <a:gd name="connsiteY26290" fmla="*/ 857273 h 6557032"/>
              <a:gd name="connsiteX26291" fmla="*/ 1347353 w 4610101"/>
              <a:gd name="connsiteY26291" fmla="*/ 858213 h 6557032"/>
              <a:gd name="connsiteX26292" fmla="*/ 3411110 w 4610101"/>
              <a:gd name="connsiteY26292" fmla="*/ 855451 h 6557032"/>
              <a:gd name="connsiteX26293" fmla="*/ 3411997 w 4610101"/>
              <a:gd name="connsiteY26293" fmla="*/ 855747 h 6557032"/>
              <a:gd name="connsiteX26294" fmla="*/ 3411054 w 4610101"/>
              <a:gd name="connsiteY26294" fmla="*/ 855808 h 6557032"/>
              <a:gd name="connsiteX26295" fmla="*/ 2257674 w 4610101"/>
              <a:gd name="connsiteY26295" fmla="*/ 855451 h 6557032"/>
              <a:gd name="connsiteX26296" fmla="*/ 2254030 w 4610101"/>
              <a:gd name="connsiteY26296" fmla="*/ 870028 h 6557032"/>
              <a:gd name="connsiteX26297" fmla="*/ 2259496 w 4610101"/>
              <a:gd name="connsiteY26297" fmla="*/ 871851 h 6557032"/>
              <a:gd name="connsiteX26298" fmla="*/ 2259496 w 4610101"/>
              <a:gd name="connsiteY26298" fmla="*/ 868206 h 6557032"/>
              <a:gd name="connsiteX26299" fmla="*/ 2275896 w 4610101"/>
              <a:gd name="connsiteY26299" fmla="*/ 873673 h 6557032"/>
              <a:gd name="connsiteX26300" fmla="*/ 2272251 w 4610101"/>
              <a:gd name="connsiteY26300" fmla="*/ 868206 h 6557032"/>
              <a:gd name="connsiteX26301" fmla="*/ 2270429 w 4610101"/>
              <a:gd name="connsiteY26301" fmla="*/ 866384 h 6557032"/>
              <a:gd name="connsiteX26302" fmla="*/ 2264963 w 4610101"/>
              <a:gd name="connsiteY26302" fmla="*/ 871851 h 6557032"/>
              <a:gd name="connsiteX26303" fmla="*/ 2264963 w 4610101"/>
              <a:gd name="connsiteY26303" fmla="*/ 862740 h 6557032"/>
              <a:gd name="connsiteX26304" fmla="*/ 2264963 w 4610101"/>
              <a:gd name="connsiteY26304" fmla="*/ 857273 h 6557032"/>
              <a:gd name="connsiteX26305" fmla="*/ 2257674 w 4610101"/>
              <a:gd name="connsiteY26305" fmla="*/ 855451 h 6557032"/>
              <a:gd name="connsiteX26306" fmla="*/ 2250385 w 4610101"/>
              <a:gd name="connsiteY26306" fmla="*/ 855451 h 6557032"/>
              <a:gd name="connsiteX26307" fmla="*/ 2204831 w 4610101"/>
              <a:gd name="connsiteY26307" fmla="*/ 880961 h 6557032"/>
              <a:gd name="connsiteX26308" fmla="*/ 2197542 w 4610101"/>
              <a:gd name="connsiteY26308" fmla="*/ 893717 h 6557032"/>
              <a:gd name="connsiteX26309" fmla="*/ 2192076 w 4610101"/>
              <a:gd name="connsiteY26309" fmla="*/ 893717 h 6557032"/>
              <a:gd name="connsiteX26310" fmla="*/ 2186609 w 4610101"/>
              <a:gd name="connsiteY26310" fmla="*/ 926516 h 6557032"/>
              <a:gd name="connsiteX26311" fmla="*/ 2190253 w 4610101"/>
              <a:gd name="connsiteY26311" fmla="*/ 921049 h 6557032"/>
              <a:gd name="connsiteX26312" fmla="*/ 2195720 w 4610101"/>
              <a:gd name="connsiteY26312" fmla="*/ 928339 h 6557032"/>
              <a:gd name="connsiteX26313" fmla="*/ 2210297 w 4610101"/>
              <a:gd name="connsiteY26313" fmla="*/ 913761 h 6557032"/>
              <a:gd name="connsiteX26314" fmla="*/ 2210297 w 4610101"/>
              <a:gd name="connsiteY26314" fmla="*/ 915583 h 6557032"/>
              <a:gd name="connsiteX26315" fmla="*/ 2232163 w 4610101"/>
              <a:gd name="connsiteY26315" fmla="*/ 908295 h 6557032"/>
              <a:gd name="connsiteX26316" fmla="*/ 2232163 w 4610101"/>
              <a:gd name="connsiteY26316" fmla="*/ 897361 h 6557032"/>
              <a:gd name="connsiteX26317" fmla="*/ 2237630 w 4610101"/>
              <a:gd name="connsiteY26317" fmla="*/ 911939 h 6557032"/>
              <a:gd name="connsiteX26318" fmla="*/ 2232163 w 4610101"/>
              <a:gd name="connsiteY26318" fmla="*/ 913761 h 6557032"/>
              <a:gd name="connsiteX26319" fmla="*/ 2233986 w 4610101"/>
              <a:gd name="connsiteY26319" fmla="*/ 924695 h 6557032"/>
              <a:gd name="connsiteX26320" fmla="*/ 2235808 w 4610101"/>
              <a:gd name="connsiteY26320" fmla="*/ 917405 h 6557032"/>
              <a:gd name="connsiteX26321" fmla="*/ 2257674 w 4610101"/>
              <a:gd name="connsiteY26321" fmla="*/ 910117 h 6557032"/>
              <a:gd name="connsiteX26322" fmla="*/ 2254030 w 4610101"/>
              <a:gd name="connsiteY26322" fmla="*/ 910117 h 6557032"/>
              <a:gd name="connsiteX26323" fmla="*/ 2255852 w 4610101"/>
              <a:gd name="connsiteY26323" fmla="*/ 913761 h 6557032"/>
              <a:gd name="connsiteX26324" fmla="*/ 2250385 w 4610101"/>
              <a:gd name="connsiteY26324" fmla="*/ 915583 h 6557032"/>
              <a:gd name="connsiteX26325" fmla="*/ 2250385 w 4610101"/>
              <a:gd name="connsiteY26325" fmla="*/ 913761 h 6557032"/>
              <a:gd name="connsiteX26326" fmla="*/ 2243096 w 4610101"/>
              <a:gd name="connsiteY26326" fmla="*/ 930160 h 6557032"/>
              <a:gd name="connsiteX26327" fmla="*/ 2270429 w 4610101"/>
              <a:gd name="connsiteY26327" fmla="*/ 915583 h 6557032"/>
              <a:gd name="connsiteX26328" fmla="*/ 2268607 w 4610101"/>
              <a:gd name="connsiteY26328" fmla="*/ 935628 h 6557032"/>
              <a:gd name="connsiteX26329" fmla="*/ 2276807 w 4610101"/>
              <a:gd name="connsiteY26329" fmla="*/ 932210 h 6557032"/>
              <a:gd name="connsiteX26330" fmla="*/ 2279412 w 4610101"/>
              <a:gd name="connsiteY26330" fmla="*/ 925047 h 6557032"/>
              <a:gd name="connsiteX26331" fmla="*/ 2281362 w 4610101"/>
              <a:gd name="connsiteY26331" fmla="*/ 930160 h 6557032"/>
              <a:gd name="connsiteX26332" fmla="*/ 2297762 w 4610101"/>
              <a:gd name="connsiteY26332" fmla="*/ 922872 h 6557032"/>
              <a:gd name="connsiteX26333" fmla="*/ 2295940 w 4610101"/>
              <a:gd name="connsiteY26333" fmla="*/ 931983 h 6557032"/>
              <a:gd name="connsiteX26334" fmla="*/ 2279540 w 4610101"/>
              <a:gd name="connsiteY26334" fmla="*/ 933804 h 6557032"/>
              <a:gd name="connsiteX26335" fmla="*/ 2277718 w 4610101"/>
              <a:gd name="connsiteY26335" fmla="*/ 941094 h 6557032"/>
              <a:gd name="connsiteX26336" fmla="*/ 2292295 w 4610101"/>
              <a:gd name="connsiteY26336" fmla="*/ 939272 h 6557032"/>
              <a:gd name="connsiteX26337" fmla="*/ 2286829 w 4610101"/>
              <a:gd name="connsiteY26337" fmla="*/ 941094 h 6557032"/>
              <a:gd name="connsiteX26338" fmla="*/ 2290473 w 4610101"/>
              <a:gd name="connsiteY26338" fmla="*/ 942916 h 6557032"/>
              <a:gd name="connsiteX26339" fmla="*/ 2286829 w 4610101"/>
              <a:gd name="connsiteY26339" fmla="*/ 946560 h 6557032"/>
              <a:gd name="connsiteX26340" fmla="*/ 2292295 w 4610101"/>
              <a:gd name="connsiteY26340" fmla="*/ 952026 h 6557032"/>
              <a:gd name="connsiteX26341" fmla="*/ 2292295 w 4610101"/>
              <a:gd name="connsiteY26341" fmla="*/ 941094 h 6557032"/>
              <a:gd name="connsiteX26342" fmla="*/ 2295940 w 4610101"/>
              <a:gd name="connsiteY26342" fmla="*/ 935628 h 6557032"/>
              <a:gd name="connsiteX26343" fmla="*/ 2308695 w 4610101"/>
              <a:gd name="connsiteY26343" fmla="*/ 937450 h 6557032"/>
              <a:gd name="connsiteX26344" fmla="*/ 2312339 w 4610101"/>
              <a:gd name="connsiteY26344" fmla="*/ 921049 h 6557032"/>
              <a:gd name="connsiteX26345" fmla="*/ 2314161 w 4610101"/>
              <a:gd name="connsiteY26345" fmla="*/ 921049 h 6557032"/>
              <a:gd name="connsiteX26346" fmla="*/ 2297762 w 4610101"/>
              <a:gd name="connsiteY26346" fmla="*/ 910117 h 6557032"/>
              <a:gd name="connsiteX26347" fmla="*/ 2278800 w 4610101"/>
              <a:gd name="connsiteY26347" fmla="*/ 923441 h 6557032"/>
              <a:gd name="connsiteX26348" fmla="*/ 2279250 w 4610101"/>
              <a:gd name="connsiteY26348" fmla="*/ 924622 h 6557032"/>
              <a:gd name="connsiteX26349" fmla="*/ 2272251 w 4610101"/>
              <a:gd name="connsiteY26349" fmla="*/ 922872 h 6557032"/>
              <a:gd name="connsiteX26350" fmla="*/ 2274074 w 4610101"/>
              <a:gd name="connsiteY26350" fmla="*/ 915583 h 6557032"/>
              <a:gd name="connsiteX26351" fmla="*/ 2290473 w 4610101"/>
              <a:gd name="connsiteY26351" fmla="*/ 908295 h 6557032"/>
              <a:gd name="connsiteX26352" fmla="*/ 2288651 w 4610101"/>
              <a:gd name="connsiteY26352" fmla="*/ 899183 h 6557032"/>
              <a:gd name="connsiteX26353" fmla="*/ 2283184 w 4610101"/>
              <a:gd name="connsiteY26353" fmla="*/ 901005 h 6557032"/>
              <a:gd name="connsiteX26354" fmla="*/ 2281362 w 4610101"/>
              <a:gd name="connsiteY26354" fmla="*/ 886428 h 6557032"/>
              <a:gd name="connsiteX26355" fmla="*/ 2274074 w 4610101"/>
              <a:gd name="connsiteY26355" fmla="*/ 893717 h 6557032"/>
              <a:gd name="connsiteX26356" fmla="*/ 2272251 w 4610101"/>
              <a:gd name="connsiteY26356" fmla="*/ 884606 h 6557032"/>
              <a:gd name="connsiteX26357" fmla="*/ 2274074 w 4610101"/>
              <a:gd name="connsiteY26357" fmla="*/ 888250 h 6557032"/>
              <a:gd name="connsiteX26358" fmla="*/ 2275896 w 4610101"/>
              <a:gd name="connsiteY26358" fmla="*/ 880961 h 6557032"/>
              <a:gd name="connsiteX26359" fmla="*/ 2263140 w 4610101"/>
              <a:gd name="connsiteY26359" fmla="*/ 880961 h 6557032"/>
              <a:gd name="connsiteX26360" fmla="*/ 2275896 w 4610101"/>
              <a:gd name="connsiteY26360" fmla="*/ 879139 h 6557032"/>
              <a:gd name="connsiteX26361" fmla="*/ 2241274 w 4610101"/>
              <a:gd name="connsiteY26361" fmla="*/ 890072 h 6557032"/>
              <a:gd name="connsiteX26362" fmla="*/ 2241274 w 4610101"/>
              <a:gd name="connsiteY26362" fmla="*/ 873673 h 6557032"/>
              <a:gd name="connsiteX26363" fmla="*/ 2244919 w 4610101"/>
              <a:gd name="connsiteY26363" fmla="*/ 879139 h 6557032"/>
              <a:gd name="connsiteX26364" fmla="*/ 2250385 w 4610101"/>
              <a:gd name="connsiteY26364" fmla="*/ 855451 h 6557032"/>
              <a:gd name="connsiteX26365" fmla="*/ 1475961 w 4610101"/>
              <a:gd name="connsiteY26365" fmla="*/ 855451 h 6557032"/>
              <a:gd name="connsiteX26366" fmla="*/ 1474139 w 4610101"/>
              <a:gd name="connsiteY26366" fmla="*/ 859095 h 6557032"/>
              <a:gd name="connsiteX26367" fmla="*/ 1483250 w 4610101"/>
              <a:gd name="connsiteY26367" fmla="*/ 855451 h 6557032"/>
              <a:gd name="connsiteX26368" fmla="*/ 1465028 w 4610101"/>
              <a:gd name="connsiteY26368" fmla="*/ 871851 h 6557032"/>
              <a:gd name="connsiteX26369" fmla="*/ 1443162 w 4610101"/>
              <a:gd name="connsiteY26369" fmla="*/ 886428 h 6557032"/>
              <a:gd name="connsiteX26370" fmla="*/ 1450451 w 4610101"/>
              <a:gd name="connsiteY26370" fmla="*/ 886428 h 6557032"/>
              <a:gd name="connsiteX26371" fmla="*/ 1474139 w 4610101"/>
              <a:gd name="connsiteY26371" fmla="*/ 877317 h 6557032"/>
              <a:gd name="connsiteX26372" fmla="*/ 1475961 w 4610101"/>
              <a:gd name="connsiteY26372" fmla="*/ 880961 h 6557032"/>
              <a:gd name="connsiteX26373" fmla="*/ 1450451 w 4610101"/>
              <a:gd name="connsiteY26373" fmla="*/ 887112 h 6557032"/>
              <a:gd name="connsiteX26374" fmla="*/ 1434727 w 4610101"/>
              <a:gd name="connsiteY26374" fmla="*/ 886691 h 6557032"/>
              <a:gd name="connsiteX26375" fmla="*/ 1435873 w 4610101"/>
              <a:gd name="connsiteY26375" fmla="*/ 880961 h 6557032"/>
              <a:gd name="connsiteX26376" fmla="*/ 1427567 w 4610101"/>
              <a:gd name="connsiteY26376" fmla="*/ 886499 h 6557032"/>
              <a:gd name="connsiteX26377" fmla="*/ 1424940 w 4610101"/>
              <a:gd name="connsiteY26377" fmla="*/ 886428 h 6557032"/>
              <a:gd name="connsiteX26378" fmla="*/ 1426033 w 4610101"/>
              <a:gd name="connsiteY26378" fmla="*/ 887522 h 6557032"/>
              <a:gd name="connsiteX26379" fmla="*/ 1425198 w 4610101"/>
              <a:gd name="connsiteY26379" fmla="*/ 888079 h 6557032"/>
              <a:gd name="connsiteX26380" fmla="*/ 1412415 w 4610101"/>
              <a:gd name="connsiteY26380" fmla="*/ 871811 h 6557032"/>
              <a:gd name="connsiteX26381" fmla="*/ 1415829 w 4610101"/>
              <a:gd name="connsiteY26381" fmla="*/ 873673 h 6557032"/>
              <a:gd name="connsiteX26382" fmla="*/ 1423118 w 4610101"/>
              <a:gd name="connsiteY26382" fmla="*/ 882784 h 6557032"/>
              <a:gd name="connsiteX26383" fmla="*/ 1441340 w 4610101"/>
              <a:gd name="connsiteY26383" fmla="*/ 873673 h 6557032"/>
              <a:gd name="connsiteX26384" fmla="*/ 1441340 w 4610101"/>
              <a:gd name="connsiteY26384" fmla="*/ 868206 h 6557032"/>
              <a:gd name="connsiteX26385" fmla="*/ 1443162 w 4610101"/>
              <a:gd name="connsiteY26385" fmla="*/ 873673 h 6557032"/>
              <a:gd name="connsiteX26386" fmla="*/ 1439518 w 4610101"/>
              <a:gd name="connsiteY26386" fmla="*/ 884606 h 6557032"/>
              <a:gd name="connsiteX26387" fmla="*/ 1468673 w 4610101"/>
              <a:gd name="connsiteY26387" fmla="*/ 860918 h 6557032"/>
              <a:gd name="connsiteX26388" fmla="*/ 1475961 w 4610101"/>
              <a:gd name="connsiteY26388" fmla="*/ 855451 h 6557032"/>
              <a:gd name="connsiteX26389" fmla="*/ 1014951 w 4610101"/>
              <a:gd name="connsiteY26389" fmla="*/ 855451 h 6557032"/>
              <a:gd name="connsiteX26390" fmla="*/ 1018596 w 4610101"/>
              <a:gd name="connsiteY26390" fmla="*/ 862740 h 6557032"/>
              <a:gd name="connsiteX26391" fmla="*/ 1014951 w 4610101"/>
              <a:gd name="connsiteY26391" fmla="*/ 855451 h 6557032"/>
              <a:gd name="connsiteX26392" fmla="*/ 1000374 w 4610101"/>
              <a:gd name="connsiteY26392" fmla="*/ 855451 h 6557032"/>
              <a:gd name="connsiteX26393" fmla="*/ 980330 w 4610101"/>
              <a:gd name="connsiteY26393" fmla="*/ 857273 h 6557032"/>
              <a:gd name="connsiteX26394" fmla="*/ 982152 w 4610101"/>
              <a:gd name="connsiteY26394" fmla="*/ 864562 h 6557032"/>
              <a:gd name="connsiteX26395" fmla="*/ 985796 w 4610101"/>
              <a:gd name="connsiteY26395" fmla="*/ 868206 h 6557032"/>
              <a:gd name="connsiteX26396" fmla="*/ 987619 w 4610101"/>
              <a:gd name="connsiteY26396" fmla="*/ 864562 h 6557032"/>
              <a:gd name="connsiteX26397" fmla="*/ 987619 w 4610101"/>
              <a:gd name="connsiteY26397" fmla="*/ 868206 h 6557032"/>
              <a:gd name="connsiteX26398" fmla="*/ 996729 w 4610101"/>
              <a:gd name="connsiteY26398" fmla="*/ 870028 h 6557032"/>
              <a:gd name="connsiteX26399" fmla="*/ 998552 w 4610101"/>
              <a:gd name="connsiteY26399" fmla="*/ 873673 h 6557032"/>
              <a:gd name="connsiteX26400" fmla="*/ 983974 w 4610101"/>
              <a:gd name="connsiteY26400" fmla="*/ 871851 h 6557032"/>
              <a:gd name="connsiteX26401" fmla="*/ 971219 w 4610101"/>
              <a:gd name="connsiteY26401" fmla="*/ 871851 h 6557032"/>
              <a:gd name="connsiteX26402" fmla="*/ 967575 w 4610101"/>
              <a:gd name="connsiteY26402" fmla="*/ 871851 h 6557032"/>
              <a:gd name="connsiteX26403" fmla="*/ 956642 w 4610101"/>
              <a:gd name="connsiteY26403" fmla="*/ 919227 h 6557032"/>
              <a:gd name="connsiteX26404" fmla="*/ 962108 w 4610101"/>
              <a:gd name="connsiteY26404" fmla="*/ 922872 h 6557032"/>
              <a:gd name="connsiteX26405" fmla="*/ 973041 w 4610101"/>
              <a:gd name="connsiteY26405" fmla="*/ 955672 h 6557032"/>
              <a:gd name="connsiteX26406" fmla="*/ 974863 w 4610101"/>
              <a:gd name="connsiteY26406" fmla="*/ 966604 h 6557032"/>
              <a:gd name="connsiteX26407" fmla="*/ 978508 w 4610101"/>
              <a:gd name="connsiteY26407" fmla="*/ 959316 h 6557032"/>
              <a:gd name="connsiteX26408" fmla="*/ 982152 w 4610101"/>
              <a:gd name="connsiteY26408" fmla="*/ 961138 h 6557032"/>
              <a:gd name="connsiteX26409" fmla="*/ 983974 w 4610101"/>
              <a:gd name="connsiteY26409" fmla="*/ 959316 h 6557032"/>
              <a:gd name="connsiteX26410" fmla="*/ 980330 w 4610101"/>
              <a:gd name="connsiteY26410" fmla="*/ 964782 h 6557032"/>
              <a:gd name="connsiteX26411" fmla="*/ 982152 w 4610101"/>
              <a:gd name="connsiteY26411" fmla="*/ 965693 h 6557032"/>
              <a:gd name="connsiteX26412" fmla="*/ 978508 w 4610101"/>
              <a:gd name="connsiteY26412" fmla="*/ 964782 h 6557032"/>
              <a:gd name="connsiteX26413" fmla="*/ 978508 w 4610101"/>
              <a:gd name="connsiteY26413" fmla="*/ 988471 h 6557032"/>
              <a:gd name="connsiteX26414" fmla="*/ 985796 w 4610101"/>
              <a:gd name="connsiteY26414" fmla="*/ 966604 h 6557032"/>
              <a:gd name="connsiteX26415" fmla="*/ 983366 w 4610101"/>
              <a:gd name="connsiteY26415" fmla="*/ 965997 h 6557032"/>
              <a:gd name="connsiteX26416" fmla="*/ 982152 w 4610101"/>
              <a:gd name="connsiteY26416" fmla="*/ 964782 h 6557032"/>
              <a:gd name="connsiteX26417" fmla="*/ 985796 w 4610101"/>
              <a:gd name="connsiteY26417" fmla="*/ 964782 h 6557032"/>
              <a:gd name="connsiteX26418" fmla="*/ 983974 w 4610101"/>
              <a:gd name="connsiteY26418" fmla="*/ 959316 h 6557032"/>
              <a:gd name="connsiteX26419" fmla="*/ 985796 w 4610101"/>
              <a:gd name="connsiteY26419" fmla="*/ 957494 h 6557032"/>
              <a:gd name="connsiteX26420" fmla="*/ 982152 w 4610101"/>
              <a:gd name="connsiteY26420" fmla="*/ 953848 h 6557032"/>
              <a:gd name="connsiteX26421" fmla="*/ 989441 w 4610101"/>
              <a:gd name="connsiteY26421" fmla="*/ 955672 h 6557032"/>
              <a:gd name="connsiteX26422" fmla="*/ 989441 w 4610101"/>
              <a:gd name="connsiteY26422" fmla="*/ 966604 h 6557032"/>
              <a:gd name="connsiteX26423" fmla="*/ 987619 w 4610101"/>
              <a:gd name="connsiteY26423" fmla="*/ 942916 h 6557032"/>
              <a:gd name="connsiteX26424" fmla="*/ 973041 w 4610101"/>
              <a:gd name="connsiteY26424" fmla="*/ 926516 h 6557032"/>
              <a:gd name="connsiteX26425" fmla="*/ 991263 w 4610101"/>
              <a:gd name="connsiteY26425" fmla="*/ 944738 h 6557032"/>
              <a:gd name="connsiteX26426" fmla="*/ 989441 w 4610101"/>
              <a:gd name="connsiteY26426" fmla="*/ 939272 h 6557032"/>
              <a:gd name="connsiteX26427" fmla="*/ 993085 w 4610101"/>
              <a:gd name="connsiteY26427" fmla="*/ 939272 h 6557032"/>
              <a:gd name="connsiteX26428" fmla="*/ 987619 w 4610101"/>
              <a:gd name="connsiteY26428" fmla="*/ 930160 h 6557032"/>
              <a:gd name="connsiteX26429" fmla="*/ 994907 w 4610101"/>
              <a:gd name="connsiteY26429" fmla="*/ 930160 h 6557032"/>
              <a:gd name="connsiteX26430" fmla="*/ 996729 w 4610101"/>
              <a:gd name="connsiteY26430" fmla="*/ 937450 h 6557032"/>
              <a:gd name="connsiteX26431" fmla="*/ 1005840 w 4610101"/>
              <a:gd name="connsiteY26431" fmla="*/ 955672 h 6557032"/>
              <a:gd name="connsiteX26432" fmla="*/ 1016774 w 4610101"/>
              <a:gd name="connsiteY26432" fmla="*/ 935628 h 6557032"/>
              <a:gd name="connsiteX26433" fmla="*/ 1020418 w 4610101"/>
              <a:gd name="connsiteY26433" fmla="*/ 933804 h 6557032"/>
              <a:gd name="connsiteX26434" fmla="*/ 1020418 w 4610101"/>
              <a:gd name="connsiteY26434" fmla="*/ 928339 h 6557032"/>
              <a:gd name="connsiteX26435" fmla="*/ 1022240 w 4610101"/>
              <a:gd name="connsiteY26435" fmla="*/ 906473 h 6557032"/>
              <a:gd name="connsiteX26436" fmla="*/ 1022240 w 4610101"/>
              <a:gd name="connsiteY26436" fmla="*/ 880961 h 6557032"/>
              <a:gd name="connsiteX26437" fmla="*/ 1000374 w 4610101"/>
              <a:gd name="connsiteY26437" fmla="*/ 855451 h 6557032"/>
              <a:gd name="connsiteX26438" fmla="*/ 840022 w 4610101"/>
              <a:gd name="connsiteY26438" fmla="*/ 855451 h 6557032"/>
              <a:gd name="connsiteX26439" fmla="*/ 843387 w 4610101"/>
              <a:gd name="connsiteY26439" fmla="*/ 861058 h 6557032"/>
              <a:gd name="connsiteX26440" fmla="*/ 836378 w 4610101"/>
              <a:gd name="connsiteY26440" fmla="*/ 864562 h 6557032"/>
              <a:gd name="connsiteX26441" fmla="*/ 845489 w 4610101"/>
              <a:gd name="connsiteY26441" fmla="*/ 864562 h 6557032"/>
              <a:gd name="connsiteX26442" fmla="*/ 843387 w 4610101"/>
              <a:gd name="connsiteY26442" fmla="*/ 861058 h 6557032"/>
              <a:gd name="connsiteX26443" fmla="*/ 843667 w 4610101"/>
              <a:gd name="connsiteY26443" fmla="*/ 860918 h 6557032"/>
              <a:gd name="connsiteX26444" fmla="*/ 840022 w 4610101"/>
              <a:gd name="connsiteY26444" fmla="*/ 855451 h 6557032"/>
              <a:gd name="connsiteX26445" fmla="*/ 787179 w 4610101"/>
              <a:gd name="connsiteY26445" fmla="*/ 855451 h 6557032"/>
              <a:gd name="connsiteX26446" fmla="*/ 787179 w 4610101"/>
              <a:gd name="connsiteY26446" fmla="*/ 862740 h 6557032"/>
              <a:gd name="connsiteX26447" fmla="*/ 798112 w 4610101"/>
              <a:gd name="connsiteY26447" fmla="*/ 859095 h 6557032"/>
              <a:gd name="connsiteX26448" fmla="*/ 787179 w 4610101"/>
              <a:gd name="connsiteY26448" fmla="*/ 855451 h 6557032"/>
              <a:gd name="connsiteX26449" fmla="*/ 603140 w 4610101"/>
              <a:gd name="connsiteY26449" fmla="*/ 855451 h 6557032"/>
              <a:gd name="connsiteX26450" fmla="*/ 601318 w 4610101"/>
              <a:gd name="connsiteY26450" fmla="*/ 859095 h 6557032"/>
              <a:gd name="connsiteX26451" fmla="*/ 606784 w 4610101"/>
              <a:gd name="connsiteY26451" fmla="*/ 859095 h 6557032"/>
              <a:gd name="connsiteX26452" fmla="*/ 603140 w 4610101"/>
              <a:gd name="connsiteY26452" fmla="*/ 855451 h 6557032"/>
              <a:gd name="connsiteX26453" fmla="*/ 448256 w 4610101"/>
              <a:gd name="connsiteY26453" fmla="*/ 855451 h 6557032"/>
              <a:gd name="connsiteX26454" fmla="*/ 468299 w 4610101"/>
              <a:gd name="connsiteY26454" fmla="*/ 864562 h 6557032"/>
              <a:gd name="connsiteX26455" fmla="*/ 459188 w 4610101"/>
              <a:gd name="connsiteY26455" fmla="*/ 860918 h 6557032"/>
              <a:gd name="connsiteX26456" fmla="*/ 466478 w 4610101"/>
              <a:gd name="connsiteY26456" fmla="*/ 860918 h 6557032"/>
              <a:gd name="connsiteX26457" fmla="*/ 448256 w 4610101"/>
              <a:gd name="connsiteY26457" fmla="*/ 855451 h 6557032"/>
              <a:gd name="connsiteX26458" fmla="*/ 883754 w 4610101"/>
              <a:gd name="connsiteY26458" fmla="*/ 854768 h 6557032"/>
              <a:gd name="connsiteX26459" fmla="*/ 880111 w 4610101"/>
              <a:gd name="connsiteY26459" fmla="*/ 855451 h 6557032"/>
              <a:gd name="connsiteX26460" fmla="*/ 887399 w 4610101"/>
              <a:gd name="connsiteY26460" fmla="*/ 855451 h 6557032"/>
              <a:gd name="connsiteX26461" fmla="*/ 883754 w 4610101"/>
              <a:gd name="connsiteY26461" fmla="*/ 854768 h 6557032"/>
              <a:gd name="connsiteX26462" fmla="*/ 3228893 w 4610101"/>
              <a:gd name="connsiteY26462" fmla="*/ 853629 h 6557032"/>
              <a:gd name="connsiteX26463" fmla="*/ 3219782 w 4610101"/>
              <a:gd name="connsiteY26463" fmla="*/ 857273 h 6557032"/>
              <a:gd name="connsiteX26464" fmla="*/ 3225248 w 4610101"/>
              <a:gd name="connsiteY26464" fmla="*/ 862740 h 6557032"/>
              <a:gd name="connsiteX26465" fmla="*/ 3228893 w 4610101"/>
              <a:gd name="connsiteY26465" fmla="*/ 853629 h 6557032"/>
              <a:gd name="connsiteX26466" fmla="*/ 2598421 w 4610101"/>
              <a:gd name="connsiteY26466" fmla="*/ 853629 h 6557032"/>
              <a:gd name="connsiteX26467" fmla="*/ 2592954 w 4610101"/>
              <a:gd name="connsiteY26467" fmla="*/ 855451 h 6557032"/>
              <a:gd name="connsiteX26468" fmla="*/ 2598421 w 4610101"/>
              <a:gd name="connsiteY26468" fmla="*/ 860918 h 6557032"/>
              <a:gd name="connsiteX26469" fmla="*/ 2598421 w 4610101"/>
              <a:gd name="connsiteY26469" fmla="*/ 853629 h 6557032"/>
              <a:gd name="connsiteX26470" fmla="*/ 1255478 w 4610101"/>
              <a:gd name="connsiteY26470" fmla="*/ 853629 h 6557032"/>
              <a:gd name="connsiteX26471" fmla="*/ 1259123 w 4610101"/>
              <a:gd name="connsiteY26471" fmla="*/ 857273 h 6557032"/>
              <a:gd name="connsiteX26472" fmla="*/ 1262767 w 4610101"/>
              <a:gd name="connsiteY26472" fmla="*/ 859095 h 6557032"/>
              <a:gd name="connsiteX26473" fmla="*/ 1262767 w 4610101"/>
              <a:gd name="connsiteY26473" fmla="*/ 853629 h 6557032"/>
              <a:gd name="connsiteX26474" fmla="*/ 1255478 w 4610101"/>
              <a:gd name="connsiteY26474" fmla="*/ 853629 h 6557032"/>
              <a:gd name="connsiteX26475" fmla="*/ 891043 w 4610101"/>
              <a:gd name="connsiteY26475" fmla="*/ 853629 h 6557032"/>
              <a:gd name="connsiteX26476" fmla="*/ 887399 w 4610101"/>
              <a:gd name="connsiteY26476" fmla="*/ 857273 h 6557032"/>
              <a:gd name="connsiteX26477" fmla="*/ 892866 w 4610101"/>
              <a:gd name="connsiteY26477" fmla="*/ 857273 h 6557032"/>
              <a:gd name="connsiteX26478" fmla="*/ 891043 w 4610101"/>
              <a:gd name="connsiteY26478" fmla="*/ 853629 h 6557032"/>
              <a:gd name="connsiteX26479" fmla="*/ 663272 w 4610101"/>
              <a:gd name="connsiteY26479" fmla="*/ 853629 h 6557032"/>
              <a:gd name="connsiteX26480" fmla="*/ 661449 w 4610101"/>
              <a:gd name="connsiteY26480" fmla="*/ 859095 h 6557032"/>
              <a:gd name="connsiteX26481" fmla="*/ 666916 w 4610101"/>
              <a:gd name="connsiteY26481" fmla="*/ 857273 h 6557032"/>
              <a:gd name="connsiteX26482" fmla="*/ 663272 w 4610101"/>
              <a:gd name="connsiteY26482" fmla="*/ 853629 h 6557032"/>
              <a:gd name="connsiteX26483" fmla="*/ 289726 w 4610101"/>
              <a:gd name="connsiteY26483" fmla="*/ 853629 h 6557032"/>
              <a:gd name="connsiteX26484" fmla="*/ 297015 w 4610101"/>
              <a:gd name="connsiteY26484" fmla="*/ 862740 h 6557032"/>
              <a:gd name="connsiteX26485" fmla="*/ 289726 w 4610101"/>
              <a:gd name="connsiteY26485" fmla="*/ 853629 h 6557032"/>
              <a:gd name="connsiteX26486" fmla="*/ 1189272 w 4610101"/>
              <a:gd name="connsiteY26486" fmla="*/ 853224 h 6557032"/>
              <a:gd name="connsiteX26487" fmla="*/ 1189880 w 4610101"/>
              <a:gd name="connsiteY26487" fmla="*/ 853629 h 6557032"/>
              <a:gd name="connsiteX26488" fmla="*/ 1186236 w 4610101"/>
              <a:gd name="connsiteY26488" fmla="*/ 855451 h 6557032"/>
              <a:gd name="connsiteX26489" fmla="*/ 1185520 w 4610101"/>
              <a:gd name="connsiteY26489" fmla="*/ 854475 h 6557032"/>
              <a:gd name="connsiteX26490" fmla="*/ 2522572 w 4610101"/>
              <a:gd name="connsiteY26490" fmla="*/ 853174 h 6557032"/>
              <a:gd name="connsiteX26491" fmla="*/ 2514600 w 4610101"/>
              <a:gd name="connsiteY26491" fmla="*/ 859095 h 6557032"/>
              <a:gd name="connsiteX26492" fmla="*/ 2507312 w 4610101"/>
              <a:gd name="connsiteY26492" fmla="*/ 871851 h 6557032"/>
              <a:gd name="connsiteX26493" fmla="*/ 2534644 w 4610101"/>
              <a:gd name="connsiteY26493" fmla="*/ 855451 h 6557032"/>
              <a:gd name="connsiteX26494" fmla="*/ 2522572 w 4610101"/>
              <a:gd name="connsiteY26494" fmla="*/ 853174 h 6557032"/>
              <a:gd name="connsiteX26495" fmla="*/ 3103533 w 4610101"/>
              <a:gd name="connsiteY26495" fmla="*/ 852804 h 6557032"/>
              <a:gd name="connsiteX26496" fmla="*/ 3077652 w 4610101"/>
              <a:gd name="connsiteY26496" fmla="*/ 866384 h 6557032"/>
              <a:gd name="connsiteX26497" fmla="*/ 3106807 w 4610101"/>
              <a:gd name="connsiteY26497" fmla="*/ 877317 h 6557032"/>
              <a:gd name="connsiteX26498" fmla="*/ 3110451 w 4610101"/>
              <a:gd name="connsiteY26498" fmla="*/ 859095 h 6557032"/>
              <a:gd name="connsiteX26499" fmla="*/ 3103533 w 4610101"/>
              <a:gd name="connsiteY26499" fmla="*/ 852804 h 6557032"/>
              <a:gd name="connsiteX26500" fmla="*/ 1404400 w 4610101"/>
              <a:gd name="connsiteY26500" fmla="*/ 852139 h 6557032"/>
              <a:gd name="connsiteX26501" fmla="*/ 1417652 w 4610101"/>
              <a:gd name="connsiteY26501" fmla="*/ 855451 h 6557032"/>
              <a:gd name="connsiteX26502" fmla="*/ 1406946 w 4610101"/>
              <a:gd name="connsiteY26502" fmla="*/ 854313 h 6557032"/>
              <a:gd name="connsiteX26503" fmla="*/ 3183338 w 4610101"/>
              <a:gd name="connsiteY26503" fmla="*/ 851807 h 6557032"/>
              <a:gd name="connsiteX26504" fmla="*/ 3196093 w 4610101"/>
              <a:gd name="connsiteY26504" fmla="*/ 857273 h 6557032"/>
              <a:gd name="connsiteX26505" fmla="*/ 3183338 w 4610101"/>
              <a:gd name="connsiteY26505" fmla="*/ 851807 h 6557032"/>
              <a:gd name="connsiteX26506" fmla="*/ 721581 w 4610101"/>
              <a:gd name="connsiteY26506" fmla="*/ 851807 h 6557032"/>
              <a:gd name="connsiteX26507" fmla="*/ 710648 w 4610101"/>
              <a:gd name="connsiteY26507" fmla="*/ 857273 h 6557032"/>
              <a:gd name="connsiteX26508" fmla="*/ 721581 w 4610101"/>
              <a:gd name="connsiteY26508" fmla="*/ 851807 h 6557032"/>
              <a:gd name="connsiteX26509" fmla="*/ 218661 w 4610101"/>
              <a:gd name="connsiteY26509" fmla="*/ 851807 h 6557032"/>
              <a:gd name="connsiteX26510" fmla="*/ 227772 w 4610101"/>
              <a:gd name="connsiteY26510" fmla="*/ 860918 h 6557032"/>
              <a:gd name="connsiteX26511" fmla="*/ 218661 w 4610101"/>
              <a:gd name="connsiteY26511" fmla="*/ 851807 h 6557032"/>
              <a:gd name="connsiteX26512" fmla="*/ 207728 w 4610101"/>
              <a:gd name="connsiteY26512" fmla="*/ 851807 h 6557032"/>
              <a:gd name="connsiteX26513" fmla="*/ 218661 w 4610101"/>
              <a:gd name="connsiteY26513" fmla="*/ 859095 h 6557032"/>
              <a:gd name="connsiteX26514" fmla="*/ 207728 w 4610101"/>
              <a:gd name="connsiteY26514" fmla="*/ 851807 h 6557032"/>
              <a:gd name="connsiteX26515" fmla="*/ 1403974 w 4610101"/>
              <a:gd name="connsiteY26515" fmla="*/ 851775 h 6557032"/>
              <a:gd name="connsiteX26516" fmla="*/ 1404400 w 4610101"/>
              <a:gd name="connsiteY26516" fmla="*/ 852139 h 6557032"/>
              <a:gd name="connsiteX26517" fmla="*/ 1403074 w 4610101"/>
              <a:gd name="connsiteY26517" fmla="*/ 851807 h 6557032"/>
              <a:gd name="connsiteX26518" fmla="*/ 2155051 w 4610101"/>
              <a:gd name="connsiteY26518" fmla="*/ 851767 h 6557032"/>
              <a:gd name="connsiteX26519" fmla="*/ 2150302 w 4610101"/>
              <a:gd name="connsiteY26519" fmla="*/ 866333 h 6557032"/>
              <a:gd name="connsiteX26520" fmla="*/ 2150166 w 4610101"/>
              <a:gd name="connsiteY26520" fmla="*/ 866384 h 6557032"/>
              <a:gd name="connsiteX26521" fmla="*/ 2150166 w 4610101"/>
              <a:gd name="connsiteY26521" fmla="*/ 859095 h 6557032"/>
              <a:gd name="connsiteX26522" fmla="*/ 3414754 w 4610101"/>
              <a:gd name="connsiteY26522" fmla="*/ 849985 h 6557032"/>
              <a:gd name="connsiteX26523" fmla="*/ 3416577 w 4610101"/>
              <a:gd name="connsiteY26523" fmla="*/ 857273 h 6557032"/>
              <a:gd name="connsiteX26524" fmla="*/ 3411997 w 4610101"/>
              <a:gd name="connsiteY26524" fmla="*/ 855747 h 6557032"/>
              <a:gd name="connsiteX26525" fmla="*/ 3416577 w 4610101"/>
              <a:gd name="connsiteY26525" fmla="*/ 855451 h 6557032"/>
              <a:gd name="connsiteX26526" fmla="*/ 3414754 w 4610101"/>
              <a:gd name="connsiteY26526" fmla="*/ 849985 h 6557032"/>
              <a:gd name="connsiteX26527" fmla="*/ 1457739 w 4610101"/>
              <a:gd name="connsiteY26527" fmla="*/ 849985 h 6557032"/>
              <a:gd name="connsiteX26528" fmla="*/ 1452273 w 4610101"/>
              <a:gd name="connsiteY26528" fmla="*/ 851807 h 6557032"/>
              <a:gd name="connsiteX26529" fmla="*/ 1457739 w 4610101"/>
              <a:gd name="connsiteY26529" fmla="*/ 849985 h 6557032"/>
              <a:gd name="connsiteX26530" fmla="*/ 1182592 w 4610101"/>
              <a:gd name="connsiteY26530" fmla="*/ 849985 h 6557032"/>
              <a:gd name="connsiteX26531" fmla="*/ 1183730 w 4610101"/>
              <a:gd name="connsiteY26531" fmla="*/ 850896 h 6557032"/>
              <a:gd name="connsiteX26532" fmla="*/ 1183189 w 4610101"/>
              <a:gd name="connsiteY26532" fmla="*/ 851063 h 6557032"/>
              <a:gd name="connsiteX26533" fmla="*/ 987619 w 4610101"/>
              <a:gd name="connsiteY26533" fmla="*/ 849985 h 6557032"/>
              <a:gd name="connsiteX26534" fmla="*/ 985796 w 4610101"/>
              <a:gd name="connsiteY26534" fmla="*/ 851807 h 6557032"/>
              <a:gd name="connsiteX26535" fmla="*/ 991263 w 4610101"/>
              <a:gd name="connsiteY26535" fmla="*/ 853629 h 6557032"/>
              <a:gd name="connsiteX26536" fmla="*/ 987619 w 4610101"/>
              <a:gd name="connsiteY26536" fmla="*/ 849985 h 6557032"/>
              <a:gd name="connsiteX26537" fmla="*/ 758025 w 4610101"/>
              <a:gd name="connsiteY26537" fmla="*/ 849985 h 6557032"/>
              <a:gd name="connsiteX26538" fmla="*/ 761670 w 4610101"/>
              <a:gd name="connsiteY26538" fmla="*/ 857273 h 6557032"/>
              <a:gd name="connsiteX26539" fmla="*/ 758025 w 4610101"/>
              <a:gd name="connsiteY26539" fmla="*/ 849985 h 6557032"/>
              <a:gd name="connsiteX26540" fmla="*/ 712470 w 4610101"/>
              <a:gd name="connsiteY26540" fmla="*/ 849985 h 6557032"/>
              <a:gd name="connsiteX26541" fmla="*/ 714293 w 4610101"/>
              <a:gd name="connsiteY26541" fmla="*/ 853629 h 6557032"/>
              <a:gd name="connsiteX26542" fmla="*/ 712470 w 4610101"/>
              <a:gd name="connsiteY26542" fmla="*/ 849985 h 6557032"/>
              <a:gd name="connsiteX26543" fmla="*/ 652339 w 4610101"/>
              <a:gd name="connsiteY26543" fmla="*/ 849985 h 6557032"/>
              <a:gd name="connsiteX26544" fmla="*/ 648694 w 4610101"/>
              <a:gd name="connsiteY26544" fmla="*/ 853629 h 6557032"/>
              <a:gd name="connsiteX26545" fmla="*/ 659627 w 4610101"/>
              <a:gd name="connsiteY26545" fmla="*/ 853629 h 6557032"/>
              <a:gd name="connsiteX26546" fmla="*/ 652339 w 4610101"/>
              <a:gd name="connsiteY26546" fmla="*/ 849985 h 6557032"/>
              <a:gd name="connsiteX26547" fmla="*/ 479232 w 4610101"/>
              <a:gd name="connsiteY26547" fmla="*/ 849985 h 6557032"/>
              <a:gd name="connsiteX26548" fmla="*/ 486521 w 4610101"/>
              <a:gd name="connsiteY26548" fmla="*/ 857273 h 6557032"/>
              <a:gd name="connsiteX26549" fmla="*/ 479232 w 4610101"/>
              <a:gd name="connsiteY26549" fmla="*/ 849985 h 6557032"/>
              <a:gd name="connsiteX26550" fmla="*/ 430034 w 4610101"/>
              <a:gd name="connsiteY26550" fmla="*/ 849985 h 6557032"/>
              <a:gd name="connsiteX26551" fmla="*/ 450077 w 4610101"/>
              <a:gd name="connsiteY26551" fmla="*/ 868206 h 6557032"/>
              <a:gd name="connsiteX26552" fmla="*/ 430034 w 4610101"/>
              <a:gd name="connsiteY26552" fmla="*/ 849985 h 6557032"/>
              <a:gd name="connsiteX26553" fmla="*/ 180396 w 4610101"/>
              <a:gd name="connsiteY26553" fmla="*/ 849985 h 6557032"/>
              <a:gd name="connsiteX26554" fmla="*/ 180497 w 4610101"/>
              <a:gd name="connsiteY26554" fmla="*/ 850013 h 6557032"/>
              <a:gd name="connsiteX26555" fmla="*/ 180605 w 4610101"/>
              <a:gd name="connsiteY26555" fmla="*/ 850146 h 6557032"/>
              <a:gd name="connsiteX26556" fmla="*/ 1174164 w 4610101"/>
              <a:gd name="connsiteY26556" fmla="*/ 849529 h 6557032"/>
              <a:gd name="connsiteX26557" fmla="*/ 1171658 w 4610101"/>
              <a:gd name="connsiteY26557" fmla="*/ 849985 h 6557032"/>
              <a:gd name="connsiteX26558" fmla="*/ 1175303 w 4610101"/>
              <a:gd name="connsiteY26558" fmla="*/ 851807 h 6557032"/>
              <a:gd name="connsiteX26559" fmla="*/ 1174164 w 4610101"/>
              <a:gd name="connsiteY26559" fmla="*/ 849529 h 6557032"/>
              <a:gd name="connsiteX26560" fmla="*/ 1359694 w 4610101"/>
              <a:gd name="connsiteY26560" fmla="*/ 848514 h 6557032"/>
              <a:gd name="connsiteX26561" fmla="*/ 1361164 w 4610101"/>
              <a:gd name="connsiteY26561" fmla="*/ 849985 h 6557032"/>
              <a:gd name="connsiteX26562" fmla="*/ 1355209 w 4610101"/>
              <a:gd name="connsiteY26562" fmla="*/ 851474 h 6557032"/>
              <a:gd name="connsiteX26563" fmla="*/ 3031414 w 4610101"/>
              <a:gd name="connsiteY26563" fmla="*/ 848163 h 6557032"/>
              <a:gd name="connsiteX26564" fmla="*/ 3032645 w 4610101"/>
              <a:gd name="connsiteY26564" fmla="*/ 848681 h 6557032"/>
              <a:gd name="connsiteX26565" fmla="*/ 3030103 w 4610101"/>
              <a:gd name="connsiteY26565" fmla="*/ 849777 h 6557032"/>
              <a:gd name="connsiteX26566" fmla="*/ 3217960 w 4610101"/>
              <a:gd name="connsiteY26566" fmla="*/ 848162 h 6557032"/>
              <a:gd name="connsiteX26567" fmla="*/ 3208849 w 4610101"/>
              <a:gd name="connsiteY26567" fmla="*/ 851807 h 6557032"/>
              <a:gd name="connsiteX26568" fmla="*/ 3217960 w 4610101"/>
              <a:gd name="connsiteY26568" fmla="*/ 848162 h 6557032"/>
              <a:gd name="connsiteX26569" fmla="*/ 2268607 w 4610101"/>
              <a:gd name="connsiteY26569" fmla="*/ 848162 h 6557032"/>
              <a:gd name="connsiteX26570" fmla="*/ 2264963 w 4610101"/>
              <a:gd name="connsiteY26570" fmla="*/ 849985 h 6557032"/>
              <a:gd name="connsiteX26571" fmla="*/ 2266785 w 4610101"/>
              <a:gd name="connsiteY26571" fmla="*/ 853629 h 6557032"/>
              <a:gd name="connsiteX26572" fmla="*/ 2268607 w 4610101"/>
              <a:gd name="connsiteY26572" fmla="*/ 848162 h 6557032"/>
              <a:gd name="connsiteX26573" fmla="*/ 2172032 w 4610101"/>
              <a:gd name="connsiteY26573" fmla="*/ 848162 h 6557032"/>
              <a:gd name="connsiteX26574" fmla="*/ 2170210 w 4610101"/>
              <a:gd name="connsiteY26574" fmla="*/ 868206 h 6557032"/>
              <a:gd name="connsiteX26575" fmla="*/ 2166565 w 4610101"/>
              <a:gd name="connsiteY26575" fmla="*/ 866384 h 6557032"/>
              <a:gd name="connsiteX26576" fmla="*/ 2170210 w 4610101"/>
              <a:gd name="connsiteY26576" fmla="*/ 871851 h 6557032"/>
              <a:gd name="connsiteX26577" fmla="*/ 2170210 w 4610101"/>
              <a:gd name="connsiteY26577" fmla="*/ 868206 h 6557032"/>
              <a:gd name="connsiteX26578" fmla="*/ 2172032 w 4610101"/>
              <a:gd name="connsiteY26578" fmla="*/ 873673 h 6557032"/>
              <a:gd name="connsiteX26579" fmla="*/ 2179320 w 4610101"/>
              <a:gd name="connsiteY26579" fmla="*/ 871851 h 6557032"/>
              <a:gd name="connsiteX26580" fmla="*/ 2179320 w 4610101"/>
              <a:gd name="connsiteY26580" fmla="*/ 870028 h 6557032"/>
              <a:gd name="connsiteX26581" fmla="*/ 2175676 w 4610101"/>
              <a:gd name="connsiteY26581" fmla="*/ 864562 h 6557032"/>
              <a:gd name="connsiteX26582" fmla="*/ 2173854 w 4610101"/>
              <a:gd name="connsiteY26582" fmla="*/ 864562 h 6557032"/>
              <a:gd name="connsiteX26583" fmla="*/ 2173854 w 4610101"/>
              <a:gd name="connsiteY26583" fmla="*/ 860918 h 6557032"/>
              <a:gd name="connsiteX26584" fmla="*/ 2179320 w 4610101"/>
              <a:gd name="connsiteY26584" fmla="*/ 848162 h 6557032"/>
              <a:gd name="connsiteX26585" fmla="*/ 707004 w 4610101"/>
              <a:gd name="connsiteY26585" fmla="*/ 848162 h 6557032"/>
              <a:gd name="connsiteX26586" fmla="*/ 707004 w 4610101"/>
              <a:gd name="connsiteY26586" fmla="*/ 857273 h 6557032"/>
              <a:gd name="connsiteX26587" fmla="*/ 707004 w 4610101"/>
              <a:gd name="connsiteY26587" fmla="*/ 848162 h 6557032"/>
              <a:gd name="connsiteX26588" fmla="*/ 559408 w 4610101"/>
              <a:gd name="connsiteY26588" fmla="*/ 848162 h 6557032"/>
              <a:gd name="connsiteX26589" fmla="*/ 555763 w 4610101"/>
              <a:gd name="connsiteY26589" fmla="*/ 849985 h 6557032"/>
              <a:gd name="connsiteX26590" fmla="*/ 563052 w 4610101"/>
              <a:gd name="connsiteY26590" fmla="*/ 857273 h 6557032"/>
              <a:gd name="connsiteX26591" fmla="*/ 559408 w 4610101"/>
              <a:gd name="connsiteY26591" fmla="*/ 848162 h 6557032"/>
              <a:gd name="connsiteX26592" fmla="*/ 470121 w 4610101"/>
              <a:gd name="connsiteY26592" fmla="*/ 848162 h 6557032"/>
              <a:gd name="connsiteX26593" fmla="*/ 481054 w 4610101"/>
              <a:gd name="connsiteY26593" fmla="*/ 855451 h 6557032"/>
              <a:gd name="connsiteX26594" fmla="*/ 470121 w 4610101"/>
              <a:gd name="connsiteY26594" fmla="*/ 848162 h 6557032"/>
              <a:gd name="connsiteX26595" fmla="*/ 351680 w 4610101"/>
              <a:gd name="connsiteY26595" fmla="*/ 848162 h 6557032"/>
              <a:gd name="connsiteX26596" fmla="*/ 357146 w 4610101"/>
              <a:gd name="connsiteY26596" fmla="*/ 859095 h 6557032"/>
              <a:gd name="connsiteX26597" fmla="*/ 368079 w 4610101"/>
              <a:gd name="connsiteY26597" fmla="*/ 882784 h 6557032"/>
              <a:gd name="connsiteX26598" fmla="*/ 358969 w 4610101"/>
              <a:gd name="connsiteY26598" fmla="*/ 877317 h 6557032"/>
              <a:gd name="connsiteX26599" fmla="*/ 368079 w 4610101"/>
              <a:gd name="connsiteY26599" fmla="*/ 884606 h 6557032"/>
              <a:gd name="connsiteX26600" fmla="*/ 391723 w 4610101"/>
              <a:gd name="connsiteY26600" fmla="*/ 888243 h 6557032"/>
              <a:gd name="connsiteX26601" fmla="*/ 388123 w 4610101"/>
              <a:gd name="connsiteY26601" fmla="*/ 884643 h 6557032"/>
              <a:gd name="connsiteX26602" fmla="*/ 393533 w 4610101"/>
              <a:gd name="connsiteY26602" fmla="*/ 888250 h 6557032"/>
              <a:gd name="connsiteX26603" fmla="*/ 400879 w 4610101"/>
              <a:gd name="connsiteY26603" fmla="*/ 888250 h 6557032"/>
              <a:gd name="connsiteX26604" fmla="*/ 389946 w 4610101"/>
              <a:gd name="connsiteY26604" fmla="*/ 879139 h 6557032"/>
              <a:gd name="connsiteX26605" fmla="*/ 396095 w 4610101"/>
              <a:gd name="connsiteY26605" fmla="*/ 884834 h 6557032"/>
              <a:gd name="connsiteX26606" fmla="*/ 406210 w 4610101"/>
              <a:gd name="connsiteY26606" fmla="*/ 886407 h 6557032"/>
              <a:gd name="connsiteX26607" fmla="*/ 409306 w 4610101"/>
              <a:gd name="connsiteY26607" fmla="*/ 891211 h 6557032"/>
              <a:gd name="connsiteX26608" fmla="*/ 417278 w 4610101"/>
              <a:gd name="connsiteY26608" fmla="*/ 891894 h 6557032"/>
              <a:gd name="connsiteX26609" fmla="*/ 402701 w 4610101"/>
              <a:gd name="connsiteY26609" fmla="*/ 880961 h 6557032"/>
              <a:gd name="connsiteX26610" fmla="*/ 406082 w 4610101"/>
              <a:gd name="connsiteY26610" fmla="*/ 886208 h 6557032"/>
              <a:gd name="connsiteX26611" fmla="*/ 381062 w 4610101"/>
              <a:gd name="connsiteY26611" fmla="*/ 865246 h 6557032"/>
              <a:gd name="connsiteX26612" fmla="*/ 351680 w 4610101"/>
              <a:gd name="connsiteY26612" fmla="*/ 848162 h 6557032"/>
              <a:gd name="connsiteX26613" fmla="*/ 251460 w 4610101"/>
              <a:gd name="connsiteY26613" fmla="*/ 848162 h 6557032"/>
              <a:gd name="connsiteX26614" fmla="*/ 256927 w 4610101"/>
              <a:gd name="connsiteY26614" fmla="*/ 853629 h 6557032"/>
              <a:gd name="connsiteX26615" fmla="*/ 251460 w 4610101"/>
              <a:gd name="connsiteY26615" fmla="*/ 848162 h 6557032"/>
              <a:gd name="connsiteX26616" fmla="*/ 2584526 w 4610101"/>
              <a:gd name="connsiteY26616" fmla="*/ 847480 h 6557032"/>
              <a:gd name="connsiteX26617" fmla="*/ 2580199 w 4610101"/>
              <a:gd name="connsiteY26617" fmla="*/ 848162 h 6557032"/>
              <a:gd name="connsiteX26618" fmla="*/ 2585665 w 4610101"/>
              <a:gd name="connsiteY26618" fmla="*/ 853629 h 6557032"/>
              <a:gd name="connsiteX26619" fmla="*/ 2587487 w 4610101"/>
              <a:gd name="connsiteY26619" fmla="*/ 860918 h 6557032"/>
              <a:gd name="connsiteX26620" fmla="*/ 2571088 w 4610101"/>
              <a:gd name="connsiteY26620" fmla="*/ 857273 h 6557032"/>
              <a:gd name="connsiteX26621" fmla="*/ 2567443 w 4610101"/>
              <a:gd name="connsiteY26621" fmla="*/ 866384 h 6557032"/>
              <a:gd name="connsiteX26622" fmla="*/ 2589310 w 4610101"/>
              <a:gd name="connsiteY26622" fmla="*/ 862740 h 6557032"/>
              <a:gd name="connsiteX26623" fmla="*/ 2587487 w 4610101"/>
              <a:gd name="connsiteY26623" fmla="*/ 848162 h 6557032"/>
              <a:gd name="connsiteX26624" fmla="*/ 2584526 w 4610101"/>
              <a:gd name="connsiteY26624" fmla="*/ 847480 h 6557032"/>
              <a:gd name="connsiteX26625" fmla="*/ 1349320 w 4610101"/>
              <a:gd name="connsiteY26625" fmla="*/ 847480 h 6557032"/>
              <a:gd name="connsiteX26626" fmla="*/ 1342942 w 4610101"/>
              <a:gd name="connsiteY26626" fmla="*/ 853629 h 6557032"/>
              <a:gd name="connsiteX26627" fmla="*/ 1355698 w 4610101"/>
              <a:gd name="connsiteY26627" fmla="*/ 848162 h 6557032"/>
              <a:gd name="connsiteX26628" fmla="*/ 1349320 w 4610101"/>
              <a:gd name="connsiteY26628" fmla="*/ 847480 h 6557032"/>
              <a:gd name="connsiteX26629" fmla="*/ 1362987 w 4610101"/>
              <a:gd name="connsiteY26629" fmla="*/ 846340 h 6557032"/>
              <a:gd name="connsiteX26630" fmla="*/ 1365207 w 4610101"/>
              <a:gd name="connsiteY26630" fmla="*/ 847365 h 6557032"/>
              <a:gd name="connsiteX26631" fmla="*/ 1364809 w 4610101"/>
              <a:gd name="connsiteY26631" fmla="*/ 848162 h 6557032"/>
              <a:gd name="connsiteX26632" fmla="*/ 1362529 w 4610101"/>
              <a:gd name="connsiteY26632" fmla="*/ 846643 h 6557032"/>
              <a:gd name="connsiteX26633" fmla="*/ 1193525 w 4610101"/>
              <a:gd name="connsiteY26633" fmla="*/ 846340 h 6557032"/>
              <a:gd name="connsiteX26634" fmla="*/ 1200814 w 4610101"/>
              <a:gd name="connsiteY26634" fmla="*/ 851807 h 6557032"/>
              <a:gd name="connsiteX26635" fmla="*/ 1222679 w 4610101"/>
              <a:gd name="connsiteY26635" fmla="*/ 855451 h 6557032"/>
              <a:gd name="connsiteX26636" fmla="*/ 1220858 w 4610101"/>
              <a:gd name="connsiteY26636" fmla="*/ 853629 h 6557032"/>
              <a:gd name="connsiteX26637" fmla="*/ 1229969 w 4610101"/>
              <a:gd name="connsiteY26637" fmla="*/ 853629 h 6557032"/>
              <a:gd name="connsiteX26638" fmla="*/ 1222679 w 4610101"/>
              <a:gd name="connsiteY26638" fmla="*/ 848162 h 6557032"/>
              <a:gd name="connsiteX26639" fmla="*/ 1220858 w 4610101"/>
              <a:gd name="connsiteY26639" fmla="*/ 853629 h 6557032"/>
              <a:gd name="connsiteX26640" fmla="*/ 1193525 w 4610101"/>
              <a:gd name="connsiteY26640" fmla="*/ 846340 h 6557032"/>
              <a:gd name="connsiteX26641" fmla="*/ 1002196 w 4610101"/>
              <a:gd name="connsiteY26641" fmla="*/ 846340 h 6557032"/>
              <a:gd name="connsiteX26642" fmla="*/ 1011307 w 4610101"/>
              <a:gd name="connsiteY26642" fmla="*/ 853629 h 6557032"/>
              <a:gd name="connsiteX26643" fmla="*/ 1011307 w 4610101"/>
              <a:gd name="connsiteY26643" fmla="*/ 849985 h 6557032"/>
              <a:gd name="connsiteX26644" fmla="*/ 1013129 w 4610101"/>
              <a:gd name="connsiteY26644" fmla="*/ 853629 h 6557032"/>
              <a:gd name="connsiteX26645" fmla="*/ 1016774 w 4610101"/>
              <a:gd name="connsiteY26645" fmla="*/ 853629 h 6557032"/>
              <a:gd name="connsiteX26646" fmla="*/ 1002196 w 4610101"/>
              <a:gd name="connsiteY26646" fmla="*/ 846340 h 6557032"/>
              <a:gd name="connsiteX26647" fmla="*/ 971219 w 4610101"/>
              <a:gd name="connsiteY26647" fmla="*/ 846340 h 6557032"/>
              <a:gd name="connsiteX26648" fmla="*/ 967575 w 4610101"/>
              <a:gd name="connsiteY26648" fmla="*/ 849985 h 6557032"/>
              <a:gd name="connsiteX26649" fmla="*/ 973041 w 4610101"/>
              <a:gd name="connsiteY26649" fmla="*/ 851807 h 6557032"/>
              <a:gd name="connsiteX26650" fmla="*/ 971219 w 4610101"/>
              <a:gd name="connsiteY26650" fmla="*/ 846340 h 6557032"/>
              <a:gd name="connsiteX26651" fmla="*/ 834556 w 4610101"/>
              <a:gd name="connsiteY26651" fmla="*/ 846340 h 6557032"/>
              <a:gd name="connsiteX26652" fmla="*/ 825445 w 4610101"/>
              <a:gd name="connsiteY26652" fmla="*/ 848162 h 6557032"/>
              <a:gd name="connsiteX26653" fmla="*/ 834556 w 4610101"/>
              <a:gd name="connsiteY26653" fmla="*/ 846340 h 6557032"/>
              <a:gd name="connsiteX26654" fmla="*/ 772602 w 4610101"/>
              <a:gd name="connsiteY26654" fmla="*/ 846340 h 6557032"/>
              <a:gd name="connsiteX26655" fmla="*/ 779892 w 4610101"/>
              <a:gd name="connsiteY26655" fmla="*/ 853629 h 6557032"/>
              <a:gd name="connsiteX26656" fmla="*/ 779892 w 4610101"/>
              <a:gd name="connsiteY26656" fmla="*/ 848162 h 6557032"/>
              <a:gd name="connsiteX26657" fmla="*/ 772602 w 4610101"/>
              <a:gd name="connsiteY26657" fmla="*/ 846340 h 6557032"/>
              <a:gd name="connsiteX26658" fmla="*/ 768959 w 4610101"/>
              <a:gd name="connsiteY26658" fmla="*/ 846340 h 6557032"/>
              <a:gd name="connsiteX26659" fmla="*/ 768959 w 4610101"/>
              <a:gd name="connsiteY26659" fmla="*/ 855451 h 6557032"/>
              <a:gd name="connsiteX26660" fmla="*/ 774424 w 4610101"/>
              <a:gd name="connsiteY26660" fmla="*/ 855451 h 6557032"/>
              <a:gd name="connsiteX26661" fmla="*/ 768959 w 4610101"/>
              <a:gd name="connsiteY26661" fmla="*/ 846340 h 6557032"/>
              <a:gd name="connsiteX26662" fmla="*/ 761670 w 4610101"/>
              <a:gd name="connsiteY26662" fmla="*/ 846340 h 6557032"/>
              <a:gd name="connsiteX26663" fmla="*/ 765313 w 4610101"/>
              <a:gd name="connsiteY26663" fmla="*/ 848162 h 6557032"/>
              <a:gd name="connsiteX26664" fmla="*/ 761670 w 4610101"/>
              <a:gd name="connsiteY26664" fmla="*/ 846340 h 6557032"/>
              <a:gd name="connsiteX26665" fmla="*/ 373546 w 4610101"/>
              <a:gd name="connsiteY26665" fmla="*/ 846340 h 6557032"/>
              <a:gd name="connsiteX26666" fmla="*/ 408167 w 4610101"/>
              <a:gd name="connsiteY26666" fmla="*/ 871851 h 6557032"/>
              <a:gd name="connsiteX26667" fmla="*/ 373546 w 4610101"/>
              <a:gd name="connsiteY26667" fmla="*/ 846340 h 6557032"/>
              <a:gd name="connsiteX26668" fmla="*/ 194973 w 4610101"/>
              <a:gd name="connsiteY26668" fmla="*/ 846340 h 6557032"/>
              <a:gd name="connsiteX26669" fmla="*/ 202262 w 4610101"/>
              <a:gd name="connsiteY26669" fmla="*/ 851807 h 6557032"/>
              <a:gd name="connsiteX26670" fmla="*/ 203173 w 4610101"/>
              <a:gd name="connsiteY26670" fmla="*/ 850896 h 6557032"/>
              <a:gd name="connsiteX26671" fmla="*/ 204084 w 4610101"/>
              <a:gd name="connsiteY26671" fmla="*/ 849985 h 6557032"/>
              <a:gd name="connsiteX26672" fmla="*/ 194973 w 4610101"/>
              <a:gd name="connsiteY26672" fmla="*/ 846340 h 6557032"/>
              <a:gd name="connsiteX26673" fmla="*/ 150048 w 4610101"/>
              <a:gd name="connsiteY26673" fmla="*/ 846063 h 6557032"/>
              <a:gd name="connsiteX26674" fmla="*/ 154658 w 4610101"/>
              <a:gd name="connsiteY26674" fmla="*/ 852491 h 6557032"/>
              <a:gd name="connsiteX26675" fmla="*/ 163996 w 4610101"/>
              <a:gd name="connsiteY26675" fmla="*/ 879139 h 6557032"/>
              <a:gd name="connsiteX26676" fmla="*/ 158788 w 4610101"/>
              <a:gd name="connsiteY26676" fmla="*/ 869926 h 6557032"/>
              <a:gd name="connsiteX26677" fmla="*/ 156479 w 4610101"/>
              <a:gd name="connsiteY26677" fmla="*/ 863196 h 6557032"/>
              <a:gd name="connsiteX26678" fmla="*/ 2153810 w 4610101"/>
              <a:gd name="connsiteY26678" fmla="*/ 844671 h 6557032"/>
              <a:gd name="connsiteX26679" fmla="*/ 2155061 w 4610101"/>
              <a:gd name="connsiteY26679" fmla="*/ 848318 h 6557032"/>
              <a:gd name="connsiteX26680" fmla="*/ 2153810 w 4610101"/>
              <a:gd name="connsiteY26680" fmla="*/ 849985 h 6557032"/>
              <a:gd name="connsiteX26681" fmla="*/ 2638508 w 4610101"/>
              <a:gd name="connsiteY26681" fmla="*/ 844518 h 6557032"/>
              <a:gd name="connsiteX26682" fmla="*/ 2633042 w 4610101"/>
              <a:gd name="connsiteY26682" fmla="*/ 855451 h 6557032"/>
              <a:gd name="connsiteX26683" fmla="*/ 2645797 w 4610101"/>
              <a:gd name="connsiteY26683" fmla="*/ 853629 h 6557032"/>
              <a:gd name="connsiteX26684" fmla="*/ 2643975 w 4610101"/>
              <a:gd name="connsiteY26684" fmla="*/ 844518 h 6557032"/>
              <a:gd name="connsiteX26685" fmla="*/ 2640330 w 4610101"/>
              <a:gd name="connsiteY26685" fmla="*/ 851807 h 6557032"/>
              <a:gd name="connsiteX26686" fmla="*/ 2638508 w 4610101"/>
              <a:gd name="connsiteY26686" fmla="*/ 844518 h 6557032"/>
              <a:gd name="connsiteX26687" fmla="*/ 2418025 w 4610101"/>
              <a:gd name="connsiteY26687" fmla="*/ 844518 h 6557032"/>
              <a:gd name="connsiteX26688" fmla="*/ 2412559 w 4610101"/>
              <a:gd name="connsiteY26688" fmla="*/ 849985 h 6557032"/>
              <a:gd name="connsiteX26689" fmla="*/ 2419847 w 4610101"/>
              <a:gd name="connsiteY26689" fmla="*/ 849985 h 6557032"/>
              <a:gd name="connsiteX26690" fmla="*/ 2153810 w 4610101"/>
              <a:gd name="connsiteY26690" fmla="*/ 844518 h 6557032"/>
              <a:gd name="connsiteX26691" fmla="*/ 2155860 w 4610101"/>
              <a:gd name="connsiteY26691" fmla="*/ 847252 h 6557032"/>
              <a:gd name="connsiteX26692" fmla="*/ 2155450 w 4610101"/>
              <a:gd name="connsiteY26692" fmla="*/ 847798 h 6557032"/>
              <a:gd name="connsiteX26693" fmla="*/ 1220858 w 4610101"/>
              <a:gd name="connsiteY26693" fmla="*/ 844518 h 6557032"/>
              <a:gd name="connsiteX26694" fmla="*/ 1211747 w 4610101"/>
              <a:gd name="connsiteY26694" fmla="*/ 846340 h 6557032"/>
              <a:gd name="connsiteX26695" fmla="*/ 1220858 w 4610101"/>
              <a:gd name="connsiteY26695" fmla="*/ 844518 h 6557032"/>
              <a:gd name="connsiteX26696" fmla="*/ 1155259 w 4610101"/>
              <a:gd name="connsiteY26696" fmla="*/ 844518 h 6557032"/>
              <a:gd name="connsiteX26697" fmla="*/ 1171658 w 4610101"/>
              <a:gd name="connsiteY26697" fmla="*/ 853629 h 6557032"/>
              <a:gd name="connsiteX26698" fmla="*/ 1175303 w 4610101"/>
              <a:gd name="connsiteY26698" fmla="*/ 859095 h 6557032"/>
              <a:gd name="connsiteX26699" fmla="*/ 1171658 w 4610101"/>
              <a:gd name="connsiteY26699" fmla="*/ 853629 h 6557032"/>
              <a:gd name="connsiteX26700" fmla="*/ 1160725 w 4610101"/>
              <a:gd name="connsiteY26700" fmla="*/ 844518 h 6557032"/>
              <a:gd name="connsiteX26701" fmla="*/ 688782 w 4610101"/>
              <a:gd name="connsiteY26701" fmla="*/ 844518 h 6557032"/>
              <a:gd name="connsiteX26702" fmla="*/ 683316 w 4610101"/>
              <a:gd name="connsiteY26702" fmla="*/ 849985 h 6557032"/>
              <a:gd name="connsiteX26703" fmla="*/ 688782 w 4610101"/>
              <a:gd name="connsiteY26703" fmla="*/ 844518 h 6557032"/>
              <a:gd name="connsiteX26704" fmla="*/ 632296 w 4610101"/>
              <a:gd name="connsiteY26704" fmla="*/ 844518 h 6557032"/>
              <a:gd name="connsiteX26705" fmla="*/ 637761 w 4610101"/>
              <a:gd name="connsiteY26705" fmla="*/ 851807 h 6557032"/>
              <a:gd name="connsiteX26706" fmla="*/ 632296 w 4610101"/>
              <a:gd name="connsiteY26706" fmla="*/ 844518 h 6557032"/>
              <a:gd name="connsiteX26707" fmla="*/ 610429 w 4610101"/>
              <a:gd name="connsiteY26707" fmla="*/ 844518 h 6557032"/>
              <a:gd name="connsiteX26708" fmla="*/ 630472 w 4610101"/>
              <a:gd name="connsiteY26708" fmla="*/ 862740 h 6557032"/>
              <a:gd name="connsiteX26709" fmla="*/ 623185 w 4610101"/>
              <a:gd name="connsiteY26709" fmla="*/ 853629 h 6557032"/>
              <a:gd name="connsiteX26710" fmla="*/ 625006 w 4610101"/>
              <a:gd name="connsiteY26710" fmla="*/ 849985 h 6557032"/>
              <a:gd name="connsiteX26711" fmla="*/ 610429 w 4610101"/>
              <a:gd name="connsiteY26711" fmla="*/ 844518 h 6557032"/>
              <a:gd name="connsiteX26712" fmla="*/ 608606 w 4610101"/>
              <a:gd name="connsiteY26712" fmla="*/ 844518 h 6557032"/>
              <a:gd name="connsiteX26713" fmla="*/ 612251 w 4610101"/>
              <a:gd name="connsiteY26713" fmla="*/ 859095 h 6557032"/>
              <a:gd name="connsiteX26714" fmla="*/ 612251 w 4610101"/>
              <a:gd name="connsiteY26714" fmla="*/ 855451 h 6557032"/>
              <a:gd name="connsiteX26715" fmla="*/ 615895 w 4610101"/>
              <a:gd name="connsiteY26715" fmla="*/ 857273 h 6557032"/>
              <a:gd name="connsiteX26716" fmla="*/ 614074 w 4610101"/>
              <a:gd name="connsiteY26716" fmla="*/ 859095 h 6557032"/>
              <a:gd name="connsiteX26717" fmla="*/ 617717 w 4610101"/>
              <a:gd name="connsiteY26717" fmla="*/ 862740 h 6557032"/>
              <a:gd name="connsiteX26718" fmla="*/ 608606 w 4610101"/>
              <a:gd name="connsiteY26718" fmla="*/ 844518 h 6557032"/>
              <a:gd name="connsiteX26719" fmla="*/ 504743 w 4610101"/>
              <a:gd name="connsiteY26719" fmla="*/ 844518 h 6557032"/>
              <a:gd name="connsiteX26720" fmla="*/ 510209 w 4610101"/>
              <a:gd name="connsiteY26720" fmla="*/ 846340 h 6557032"/>
              <a:gd name="connsiteX26721" fmla="*/ 504743 w 4610101"/>
              <a:gd name="connsiteY26721" fmla="*/ 844518 h 6557032"/>
              <a:gd name="connsiteX26722" fmla="*/ 703587 w 4610101"/>
              <a:gd name="connsiteY26722" fmla="*/ 844291 h 6557032"/>
              <a:gd name="connsiteX26723" fmla="*/ 701537 w 4610101"/>
              <a:gd name="connsiteY26723" fmla="*/ 848162 h 6557032"/>
              <a:gd name="connsiteX26724" fmla="*/ 707004 w 4610101"/>
              <a:gd name="connsiteY26724" fmla="*/ 844518 h 6557032"/>
              <a:gd name="connsiteX26725" fmla="*/ 703587 w 4610101"/>
              <a:gd name="connsiteY26725" fmla="*/ 844291 h 6557032"/>
              <a:gd name="connsiteX26726" fmla="*/ 1314441 w 4610101"/>
              <a:gd name="connsiteY26726" fmla="*/ 844224 h 6557032"/>
              <a:gd name="connsiteX26727" fmla="*/ 1317660 w 4610101"/>
              <a:gd name="connsiteY26727" fmla="*/ 846341 h 6557032"/>
              <a:gd name="connsiteX26728" fmla="*/ 1335654 w 4610101"/>
              <a:gd name="connsiteY26728" fmla="*/ 851807 h 6557032"/>
              <a:gd name="connsiteX26729" fmla="*/ 1332010 w 4610101"/>
              <a:gd name="connsiteY26729" fmla="*/ 853629 h 6557032"/>
              <a:gd name="connsiteX26730" fmla="*/ 1317432 w 4610101"/>
              <a:gd name="connsiteY26730" fmla="*/ 849985 h 6557032"/>
              <a:gd name="connsiteX26731" fmla="*/ 1313788 w 4610101"/>
              <a:gd name="connsiteY26731" fmla="*/ 844518 h 6557032"/>
              <a:gd name="connsiteX26732" fmla="*/ 499418 w 4610101"/>
              <a:gd name="connsiteY26732" fmla="*/ 843209 h 6557032"/>
              <a:gd name="connsiteX26733" fmla="*/ 508387 w 4610101"/>
              <a:gd name="connsiteY26733" fmla="*/ 859095 h 6557032"/>
              <a:gd name="connsiteX26734" fmla="*/ 501098 w 4610101"/>
              <a:gd name="connsiteY26734" fmla="*/ 846340 h 6557032"/>
              <a:gd name="connsiteX26735" fmla="*/ 499418 w 4610101"/>
              <a:gd name="connsiteY26735" fmla="*/ 843209 h 6557032"/>
              <a:gd name="connsiteX26736" fmla="*/ 2452647 w 4610101"/>
              <a:gd name="connsiteY26736" fmla="*/ 842696 h 6557032"/>
              <a:gd name="connsiteX26737" fmla="*/ 2430780 w 4610101"/>
              <a:gd name="connsiteY26737" fmla="*/ 855451 h 6557032"/>
              <a:gd name="connsiteX26738" fmla="*/ 2428958 w 4610101"/>
              <a:gd name="connsiteY26738" fmla="*/ 849985 h 6557032"/>
              <a:gd name="connsiteX26739" fmla="*/ 2425314 w 4610101"/>
              <a:gd name="connsiteY26739" fmla="*/ 853629 h 6557032"/>
              <a:gd name="connsiteX26740" fmla="*/ 2428958 w 4610101"/>
              <a:gd name="connsiteY26740" fmla="*/ 857273 h 6557032"/>
              <a:gd name="connsiteX26741" fmla="*/ 2428958 w 4610101"/>
              <a:gd name="connsiteY26741" fmla="*/ 915583 h 6557032"/>
              <a:gd name="connsiteX26742" fmla="*/ 2449002 w 4610101"/>
              <a:gd name="connsiteY26742" fmla="*/ 884606 h 6557032"/>
              <a:gd name="connsiteX26743" fmla="*/ 2445358 w 4610101"/>
              <a:gd name="connsiteY26743" fmla="*/ 888250 h 6557032"/>
              <a:gd name="connsiteX26744" fmla="*/ 2447180 w 4610101"/>
              <a:gd name="connsiteY26744" fmla="*/ 873673 h 6557032"/>
              <a:gd name="connsiteX26745" fmla="*/ 2458113 w 4610101"/>
              <a:gd name="connsiteY26745" fmla="*/ 857273 h 6557032"/>
              <a:gd name="connsiteX26746" fmla="*/ 2458113 w 4610101"/>
              <a:gd name="connsiteY26746" fmla="*/ 870028 h 6557032"/>
              <a:gd name="connsiteX26747" fmla="*/ 2463580 w 4610101"/>
              <a:gd name="connsiteY26747" fmla="*/ 870028 h 6557032"/>
              <a:gd name="connsiteX26748" fmla="*/ 2452647 w 4610101"/>
              <a:gd name="connsiteY26748" fmla="*/ 842696 h 6557032"/>
              <a:gd name="connsiteX26749" fmla="*/ 2377937 w 4610101"/>
              <a:gd name="connsiteY26749" fmla="*/ 842696 h 6557032"/>
              <a:gd name="connsiteX26750" fmla="*/ 2379760 w 4610101"/>
              <a:gd name="connsiteY26750" fmla="*/ 848162 h 6557032"/>
              <a:gd name="connsiteX26751" fmla="*/ 2376115 w 4610101"/>
              <a:gd name="connsiteY26751" fmla="*/ 848162 h 6557032"/>
              <a:gd name="connsiteX26752" fmla="*/ 2376115 w 4610101"/>
              <a:gd name="connsiteY26752" fmla="*/ 859095 h 6557032"/>
              <a:gd name="connsiteX26753" fmla="*/ 2377937 w 4610101"/>
              <a:gd name="connsiteY26753" fmla="*/ 842696 h 6557032"/>
              <a:gd name="connsiteX26754" fmla="*/ 969397 w 4610101"/>
              <a:gd name="connsiteY26754" fmla="*/ 842696 h 6557032"/>
              <a:gd name="connsiteX26755" fmla="*/ 960286 w 4610101"/>
              <a:gd name="connsiteY26755" fmla="*/ 844518 h 6557032"/>
              <a:gd name="connsiteX26756" fmla="*/ 969397 w 4610101"/>
              <a:gd name="connsiteY26756" fmla="*/ 842696 h 6557032"/>
              <a:gd name="connsiteX26757" fmla="*/ 655983 w 4610101"/>
              <a:gd name="connsiteY26757" fmla="*/ 842696 h 6557032"/>
              <a:gd name="connsiteX26758" fmla="*/ 652339 w 4610101"/>
              <a:gd name="connsiteY26758" fmla="*/ 846340 h 6557032"/>
              <a:gd name="connsiteX26759" fmla="*/ 661449 w 4610101"/>
              <a:gd name="connsiteY26759" fmla="*/ 849985 h 6557032"/>
              <a:gd name="connsiteX26760" fmla="*/ 655983 w 4610101"/>
              <a:gd name="connsiteY26760" fmla="*/ 842696 h 6557032"/>
              <a:gd name="connsiteX26761" fmla="*/ 586741 w 4610101"/>
              <a:gd name="connsiteY26761" fmla="*/ 842696 h 6557032"/>
              <a:gd name="connsiteX26762" fmla="*/ 588562 w 4610101"/>
              <a:gd name="connsiteY26762" fmla="*/ 848162 h 6557032"/>
              <a:gd name="connsiteX26763" fmla="*/ 586741 w 4610101"/>
              <a:gd name="connsiteY26763" fmla="*/ 842696 h 6557032"/>
              <a:gd name="connsiteX26764" fmla="*/ 564874 w 4610101"/>
              <a:gd name="connsiteY26764" fmla="*/ 842696 h 6557032"/>
              <a:gd name="connsiteX26765" fmla="*/ 561230 w 4610101"/>
              <a:gd name="connsiteY26765" fmla="*/ 844518 h 6557032"/>
              <a:gd name="connsiteX26766" fmla="*/ 564874 w 4610101"/>
              <a:gd name="connsiteY26766" fmla="*/ 848162 h 6557032"/>
              <a:gd name="connsiteX26767" fmla="*/ 564874 w 4610101"/>
              <a:gd name="connsiteY26767" fmla="*/ 842696 h 6557032"/>
              <a:gd name="connsiteX26768" fmla="*/ 464655 w 4610101"/>
              <a:gd name="connsiteY26768" fmla="*/ 842696 h 6557032"/>
              <a:gd name="connsiteX26769" fmla="*/ 470121 w 4610101"/>
              <a:gd name="connsiteY26769" fmla="*/ 846340 h 6557032"/>
              <a:gd name="connsiteX26770" fmla="*/ 464655 w 4610101"/>
              <a:gd name="connsiteY26770" fmla="*/ 842696 h 6557032"/>
              <a:gd name="connsiteX26771" fmla="*/ 1141364 w 4610101"/>
              <a:gd name="connsiteY26771" fmla="*/ 841558 h 6557032"/>
              <a:gd name="connsiteX26772" fmla="*/ 1116993 w 4610101"/>
              <a:gd name="connsiteY26772" fmla="*/ 849985 h 6557032"/>
              <a:gd name="connsiteX26773" fmla="*/ 1095127 w 4610101"/>
              <a:gd name="connsiteY26773" fmla="*/ 860918 h 6557032"/>
              <a:gd name="connsiteX26774" fmla="*/ 1091484 w 4610101"/>
              <a:gd name="connsiteY26774" fmla="*/ 860918 h 6557032"/>
              <a:gd name="connsiteX26775" fmla="*/ 1102416 w 4610101"/>
              <a:gd name="connsiteY26775" fmla="*/ 864562 h 6557032"/>
              <a:gd name="connsiteX26776" fmla="*/ 1095127 w 4610101"/>
              <a:gd name="connsiteY26776" fmla="*/ 862740 h 6557032"/>
              <a:gd name="connsiteX26777" fmla="*/ 1093305 w 4610101"/>
              <a:gd name="connsiteY26777" fmla="*/ 868206 h 6557032"/>
              <a:gd name="connsiteX26778" fmla="*/ 1098771 w 4610101"/>
              <a:gd name="connsiteY26778" fmla="*/ 868206 h 6557032"/>
              <a:gd name="connsiteX26779" fmla="*/ 1091484 w 4610101"/>
              <a:gd name="connsiteY26779" fmla="*/ 871851 h 6557032"/>
              <a:gd name="connsiteX26780" fmla="*/ 1091484 w 4610101"/>
              <a:gd name="connsiteY26780" fmla="*/ 886428 h 6557032"/>
              <a:gd name="connsiteX26781" fmla="*/ 1093305 w 4610101"/>
              <a:gd name="connsiteY26781" fmla="*/ 882784 h 6557032"/>
              <a:gd name="connsiteX26782" fmla="*/ 1086016 w 4610101"/>
              <a:gd name="connsiteY26782" fmla="*/ 897361 h 6557032"/>
              <a:gd name="connsiteX26783" fmla="*/ 1082373 w 4610101"/>
              <a:gd name="connsiteY26783" fmla="*/ 897361 h 6557032"/>
              <a:gd name="connsiteX26784" fmla="*/ 1078727 w 4610101"/>
              <a:gd name="connsiteY26784" fmla="*/ 902827 h 6557032"/>
              <a:gd name="connsiteX26785" fmla="*/ 1087838 w 4610101"/>
              <a:gd name="connsiteY26785" fmla="*/ 902827 h 6557032"/>
              <a:gd name="connsiteX26786" fmla="*/ 1098771 w 4610101"/>
              <a:gd name="connsiteY26786" fmla="*/ 901005 h 6557032"/>
              <a:gd name="connsiteX26787" fmla="*/ 1100593 w 4610101"/>
              <a:gd name="connsiteY26787" fmla="*/ 902827 h 6557032"/>
              <a:gd name="connsiteX26788" fmla="*/ 1106060 w 4610101"/>
              <a:gd name="connsiteY26788" fmla="*/ 901005 h 6557032"/>
              <a:gd name="connsiteX26789" fmla="*/ 1100593 w 4610101"/>
              <a:gd name="connsiteY26789" fmla="*/ 864562 h 6557032"/>
              <a:gd name="connsiteX26790" fmla="*/ 1106060 w 4610101"/>
              <a:gd name="connsiteY26790" fmla="*/ 870028 h 6557032"/>
              <a:gd name="connsiteX26791" fmla="*/ 1106060 w 4610101"/>
              <a:gd name="connsiteY26791" fmla="*/ 860918 h 6557032"/>
              <a:gd name="connsiteX26792" fmla="*/ 1111526 w 4610101"/>
              <a:gd name="connsiteY26792" fmla="*/ 891894 h 6557032"/>
              <a:gd name="connsiteX26793" fmla="*/ 1115171 w 4610101"/>
              <a:gd name="connsiteY26793" fmla="*/ 888250 h 6557032"/>
              <a:gd name="connsiteX26794" fmla="*/ 1109704 w 4610101"/>
              <a:gd name="connsiteY26794" fmla="*/ 901005 h 6557032"/>
              <a:gd name="connsiteX26795" fmla="*/ 1115108 w 4610101"/>
              <a:gd name="connsiteY26795" fmla="*/ 896528 h 6557032"/>
              <a:gd name="connsiteX26796" fmla="*/ 1111526 w 4610101"/>
              <a:gd name="connsiteY26796" fmla="*/ 901005 h 6557032"/>
              <a:gd name="connsiteX26797" fmla="*/ 1120637 w 4610101"/>
              <a:gd name="connsiteY26797" fmla="*/ 904651 h 6557032"/>
              <a:gd name="connsiteX26798" fmla="*/ 1118953 w 4610101"/>
              <a:gd name="connsiteY26798" fmla="*/ 892860 h 6557032"/>
              <a:gd name="connsiteX26799" fmla="*/ 1124282 w 4610101"/>
              <a:gd name="connsiteY26799" fmla="*/ 886428 h 6557032"/>
              <a:gd name="connsiteX26800" fmla="*/ 1124282 w 4610101"/>
              <a:gd name="connsiteY26800" fmla="*/ 891894 h 6557032"/>
              <a:gd name="connsiteX26801" fmla="*/ 1127926 w 4610101"/>
              <a:gd name="connsiteY26801" fmla="*/ 891894 h 6557032"/>
              <a:gd name="connsiteX26802" fmla="*/ 1131570 w 4610101"/>
              <a:gd name="connsiteY26802" fmla="*/ 911939 h 6557032"/>
              <a:gd name="connsiteX26803" fmla="*/ 1146148 w 4610101"/>
              <a:gd name="connsiteY26803" fmla="*/ 893717 h 6557032"/>
              <a:gd name="connsiteX26804" fmla="*/ 1155259 w 4610101"/>
              <a:gd name="connsiteY26804" fmla="*/ 884606 h 6557032"/>
              <a:gd name="connsiteX26805" fmla="*/ 1144326 w 4610101"/>
              <a:gd name="connsiteY26805" fmla="*/ 906473 h 6557032"/>
              <a:gd name="connsiteX26806" fmla="*/ 1160725 w 4610101"/>
              <a:gd name="connsiteY26806" fmla="*/ 871851 h 6557032"/>
              <a:gd name="connsiteX26807" fmla="*/ 1164370 w 4610101"/>
              <a:gd name="connsiteY26807" fmla="*/ 873673 h 6557032"/>
              <a:gd name="connsiteX26808" fmla="*/ 1166192 w 4610101"/>
              <a:gd name="connsiteY26808" fmla="*/ 870028 h 6557032"/>
              <a:gd name="connsiteX26809" fmla="*/ 1162547 w 4610101"/>
              <a:gd name="connsiteY26809" fmla="*/ 899183 h 6557032"/>
              <a:gd name="connsiteX26810" fmla="*/ 1173481 w 4610101"/>
              <a:gd name="connsiteY26810" fmla="*/ 868206 h 6557032"/>
              <a:gd name="connsiteX26811" fmla="*/ 1175530 w 4610101"/>
              <a:gd name="connsiteY26811" fmla="*/ 866157 h 6557032"/>
              <a:gd name="connsiteX26812" fmla="*/ 1175965 w 4610101"/>
              <a:gd name="connsiteY26812" fmla="*/ 865721 h 6557032"/>
              <a:gd name="connsiteX26813" fmla="*/ 1172342 w 4610101"/>
              <a:gd name="connsiteY26813" fmla="*/ 880734 h 6557032"/>
              <a:gd name="connsiteX26814" fmla="*/ 1166192 w 4610101"/>
              <a:gd name="connsiteY26814" fmla="*/ 899183 h 6557032"/>
              <a:gd name="connsiteX26815" fmla="*/ 1182592 w 4610101"/>
              <a:gd name="connsiteY26815" fmla="*/ 893717 h 6557032"/>
              <a:gd name="connsiteX26816" fmla="*/ 1180769 w 4610101"/>
              <a:gd name="connsiteY26816" fmla="*/ 888250 h 6557032"/>
              <a:gd name="connsiteX26817" fmla="*/ 1184414 w 4610101"/>
              <a:gd name="connsiteY26817" fmla="*/ 891894 h 6557032"/>
              <a:gd name="connsiteX26818" fmla="*/ 1189880 w 4610101"/>
              <a:gd name="connsiteY26818" fmla="*/ 882784 h 6557032"/>
              <a:gd name="connsiteX26819" fmla="*/ 1191703 w 4610101"/>
              <a:gd name="connsiteY26819" fmla="*/ 886428 h 6557032"/>
              <a:gd name="connsiteX26820" fmla="*/ 1195346 w 4610101"/>
              <a:gd name="connsiteY26820" fmla="*/ 882784 h 6557032"/>
              <a:gd name="connsiteX26821" fmla="*/ 1195346 w 4610101"/>
              <a:gd name="connsiteY26821" fmla="*/ 890072 h 6557032"/>
              <a:gd name="connsiteX26822" fmla="*/ 1193525 w 4610101"/>
              <a:gd name="connsiteY26822" fmla="*/ 888250 h 6557032"/>
              <a:gd name="connsiteX26823" fmla="*/ 1194891 w 4610101"/>
              <a:gd name="connsiteY26823" fmla="*/ 899183 h 6557032"/>
              <a:gd name="connsiteX26824" fmla="*/ 1194618 w 4610101"/>
              <a:gd name="connsiteY26824" fmla="*/ 901370 h 6557032"/>
              <a:gd name="connsiteX26825" fmla="*/ 1189880 w 4610101"/>
              <a:gd name="connsiteY26825" fmla="*/ 891894 h 6557032"/>
              <a:gd name="connsiteX26826" fmla="*/ 1188058 w 4610101"/>
              <a:gd name="connsiteY26826" fmla="*/ 897361 h 6557032"/>
              <a:gd name="connsiteX26827" fmla="*/ 1162547 w 4610101"/>
              <a:gd name="connsiteY26827" fmla="*/ 902827 h 6557032"/>
              <a:gd name="connsiteX26828" fmla="*/ 1146148 w 4610101"/>
              <a:gd name="connsiteY26828" fmla="*/ 922872 h 6557032"/>
              <a:gd name="connsiteX26829" fmla="*/ 1180769 w 4610101"/>
              <a:gd name="connsiteY26829" fmla="*/ 915583 h 6557032"/>
              <a:gd name="connsiteX26830" fmla="*/ 1188058 w 4610101"/>
              <a:gd name="connsiteY26830" fmla="*/ 913305 h 6557032"/>
              <a:gd name="connsiteX26831" fmla="*/ 1194236 w 4610101"/>
              <a:gd name="connsiteY26831" fmla="*/ 904423 h 6557032"/>
              <a:gd name="connsiteX26832" fmla="*/ 1193525 w 4610101"/>
              <a:gd name="connsiteY26832" fmla="*/ 910117 h 6557032"/>
              <a:gd name="connsiteX26833" fmla="*/ 1206279 w 4610101"/>
              <a:gd name="connsiteY26833" fmla="*/ 902827 h 6557032"/>
              <a:gd name="connsiteX26834" fmla="*/ 1200814 w 4610101"/>
              <a:gd name="connsiteY26834" fmla="*/ 897361 h 6557032"/>
              <a:gd name="connsiteX26835" fmla="*/ 1206279 w 4610101"/>
              <a:gd name="connsiteY26835" fmla="*/ 901005 h 6557032"/>
              <a:gd name="connsiteX26836" fmla="*/ 1204457 w 4610101"/>
              <a:gd name="connsiteY26836" fmla="*/ 897361 h 6557032"/>
              <a:gd name="connsiteX26837" fmla="*/ 1211747 w 4610101"/>
              <a:gd name="connsiteY26837" fmla="*/ 904651 h 6557032"/>
              <a:gd name="connsiteX26838" fmla="*/ 1217213 w 4610101"/>
              <a:gd name="connsiteY26838" fmla="*/ 895539 h 6557032"/>
              <a:gd name="connsiteX26839" fmla="*/ 1211747 w 4610101"/>
              <a:gd name="connsiteY26839" fmla="*/ 890072 h 6557032"/>
              <a:gd name="connsiteX26840" fmla="*/ 1217213 w 4610101"/>
              <a:gd name="connsiteY26840" fmla="*/ 893717 h 6557032"/>
              <a:gd name="connsiteX26841" fmla="*/ 1224501 w 4610101"/>
              <a:gd name="connsiteY26841" fmla="*/ 890072 h 6557032"/>
              <a:gd name="connsiteX26842" fmla="*/ 1213568 w 4610101"/>
              <a:gd name="connsiteY26842" fmla="*/ 906473 h 6557032"/>
              <a:gd name="connsiteX26843" fmla="*/ 1229969 w 4610101"/>
              <a:gd name="connsiteY26843" fmla="*/ 904651 h 6557032"/>
              <a:gd name="connsiteX26844" fmla="*/ 1228146 w 4610101"/>
              <a:gd name="connsiteY26844" fmla="*/ 901005 h 6557032"/>
              <a:gd name="connsiteX26845" fmla="*/ 1231790 w 4610101"/>
              <a:gd name="connsiteY26845" fmla="*/ 904651 h 6557032"/>
              <a:gd name="connsiteX26846" fmla="*/ 1239080 w 4610101"/>
              <a:gd name="connsiteY26846" fmla="*/ 902827 h 6557032"/>
              <a:gd name="connsiteX26847" fmla="*/ 1239080 w 4610101"/>
              <a:gd name="connsiteY26847" fmla="*/ 897361 h 6557032"/>
              <a:gd name="connsiteX26848" fmla="*/ 1242723 w 4610101"/>
              <a:gd name="connsiteY26848" fmla="*/ 897361 h 6557032"/>
              <a:gd name="connsiteX26849" fmla="*/ 1240901 w 4610101"/>
              <a:gd name="connsiteY26849" fmla="*/ 901005 h 6557032"/>
              <a:gd name="connsiteX26850" fmla="*/ 1248189 w 4610101"/>
              <a:gd name="connsiteY26850" fmla="*/ 899183 h 6557032"/>
              <a:gd name="connsiteX26851" fmla="*/ 1250012 w 4610101"/>
              <a:gd name="connsiteY26851" fmla="*/ 893717 h 6557032"/>
              <a:gd name="connsiteX26852" fmla="*/ 1251834 w 4610101"/>
              <a:gd name="connsiteY26852" fmla="*/ 899183 h 6557032"/>
              <a:gd name="connsiteX26853" fmla="*/ 1259806 w 4610101"/>
              <a:gd name="connsiteY26853" fmla="*/ 894400 h 6557032"/>
              <a:gd name="connsiteX26854" fmla="*/ 1265830 w 4610101"/>
              <a:gd name="connsiteY26854" fmla="*/ 883808 h 6557032"/>
              <a:gd name="connsiteX26855" fmla="*/ 1266411 w 4610101"/>
              <a:gd name="connsiteY26855" fmla="*/ 886428 h 6557032"/>
              <a:gd name="connsiteX26856" fmla="*/ 1270056 w 4610101"/>
              <a:gd name="connsiteY26856" fmla="*/ 873673 h 6557032"/>
              <a:gd name="connsiteX26857" fmla="*/ 1262767 w 4610101"/>
              <a:gd name="connsiteY26857" fmla="*/ 870028 h 6557032"/>
              <a:gd name="connsiteX26858" fmla="*/ 1264782 w 4610101"/>
              <a:gd name="connsiteY26858" fmla="*/ 879098 h 6557032"/>
              <a:gd name="connsiteX26859" fmla="*/ 1262631 w 4610101"/>
              <a:gd name="connsiteY26859" fmla="*/ 874230 h 6557032"/>
              <a:gd name="connsiteX26860" fmla="*/ 1262083 w 4610101"/>
              <a:gd name="connsiteY26860" fmla="*/ 869118 h 6557032"/>
              <a:gd name="connsiteX26861" fmla="*/ 1257300 w 4610101"/>
              <a:gd name="connsiteY26861" fmla="*/ 868207 h 6557032"/>
              <a:gd name="connsiteX26862" fmla="*/ 1255478 w 4610101"/>
              <a:gd name="connsiteY26862" fmla="*/ 866384 h 6557032"/>
              <a:gd name="connsiteX26863" fmla="*/ 1259123 w 4610101"/>
              <a:gd name="connsiteY26863" fmla="*/ 868206 h 6557032"/>
              <a:gd name="connsiteX26864" fmla="*/ 1257300 w 4610101"/>
              <a:gd name="connsiteY26864" fmla="*/ 864562 h 6557032"/>
              <a:gd name="connsiteX26865" fmla="*/ 1255478 w 4610101"/>
              <a:gd name="connsiteY26865" fmla="*/ 866384 h 6557032"/>
              <a:gd name="connsiteX26866" fmla="*/ 1253656 w 4610101"/>
              <a:gd name="connsiteY26866" fmla="*/ 864562 h 6557032"/>
              <a:gd name="connsiteX26867" fmla="*/ 1255478 w 4610101"/>
              <a:gd name="connsiteY26867" fmla="*/ 862740 h 6557032"/>
              <a:gd name="connsiteX26868" fmla="*/ 1250012 w 4610101"/>
              <a:gd name="connsiteY26868" fmla="*/ 859095 h 6557032"/>
              <a:gd name="connsiteX26869" fmla="*/ 1246367 w 4610101"/>
              <a:gd name="connsiteY26869" fmla="*/ 864562 h 6557032"/>
              <a:gd name="connsiteX26870" fmla="*/ 1248189 w 4610101"/>
              <a:gd name="connsiteY26870" fmla="*/ 857273 h 6557032"/>
              <a:gd name="connsiteX26871" fmla="*/ 1251834 w 4610101"/>
              <a:gd name="connsiteY26871" fmla="*/ 857273 h 6557032"/>
              <a:gd name="connsiteX26872" fmla="*/ 1251834 w 4610101"/>
              <a:gd name="connsiteY26872" fmla="*/ 855451 h 6557032"/>
              <a:gd name="connsiteX26873" fmla="*/ 1260945 w 4610101"/>
              <a:gd name="connsiteY26873" fmla="*/ 862740 h 6557032"/>
              <a:gd name="connsiteX26874" fmla="*/ 1260433 w 4610101"/>
              <a:gd name="connsiteY26874" fmla="*/ 861825 h 6557032"/>
              <a:gd name="connsiteX26875" fmla="*/ 1262084 w 4610101"/>
              <a:gd name="connsiteY26875" fmla="*/ 862968 h 6557032"/>
              <a:gd name="connsiteX26876" fmla="*/ 1260945 w 4610101"/>
              <a:gd name="connsiteY26876" fmla="*/ 866384 h 6557032"/>
              <a:gd name="connsiteX26877" fmla="*/ 1268233 w 4610101"/>
              <a:gd name="connsiteY26877" fmla="*/ 870028 h 6557032"/>
              <a:gd name="connsiteX26878" fmla="*/ 1265045 w 4610101"/>
              <a:gd name="connsiteY26878" fmla="*/ 862057 h 6557032"/>
              <a:gd name="connsiteX26879" fmla="*/ 1260021 w 4610101"/>
              <a:gd name="connsiteY26879" fmla="*/ 861091 h 6557032"/>
              <a:gd name="connsiteX26880" fmla="*/ 1257756 w 4610101"/>
              <a:gd name="connsiteY26880" fmla="*/ 857046 h 6557032"/>
              <a:gd name="connsiteX26881" fmla="*/ 1251834 w 4610101"/>
              <a:gd name="connsiteY26881" fmla="*/ 855451 h 6557032"/>
              <a:gd name="connsiteX26882" fmla="*/ 1251834 w 4610101"/>
              <a:gd name="connsiteY26882" fmla="*/ 853629 h 6557032"/>
              <a:gd name="connsiteX26883" fmla="*/ 1215390 w 4610101"/>
              <a:gd name="connsiteY26883" fmla="*/ 860918 h 6557032"/>
              <a:gd name="connsiteX26884" fmla="*/ 1224501 w 4610101"/>
              <a:gd name="connsiteY26884" fmla="*/ 860918 h 6557032"/>
              <a:gd name="connsiteX26885" fmla="*/ 1215390 w 4610101"/>
              <a:gd name="connsiteY26885" fmla="*/ 866384 h 6557032"/>
              <a:gd name="connsiteX26886" fmla="*/ 1217213 w 4610101"/>
              <a:gd name="connsiteY26886" fmla="*/ 868206 h 6557032"/>
              <a:gd name="connsiteX26887" fmla="*/ 1193525 w 4610101"/>
              <a:gd name="connsiteY26887" fmla="*/ 851807 h 6557032"/>
              <a:gd name="connsiteX26888" fmla="*/ 1189272 w 4610101"/>
              <a:gd name="connsiteY26888" fmla="*/ 853224 h 6557032"/>
              <a:gd name="connsiteX26889" fmla="*/ 1184414 w 4610101"/>
              <a:gd name="connsiteY26889" fmla="*/ 849985 h 6557032"/>
              <a:gd name="connsiteX26890" fmla="*/ 1173481 w 4610101"/>
              <a:gd name="connsiteY26890" fmla="*/ 842696 h 6557032"/>
              <a:gd name="connsiteX26891" fmla="*/ 1173481 w 4610101"/>
              <a:gd name="connsiteY26891" fmla="*/ 848162 h 6557032"/>
              <a:gd name="connsiteX26892" fmla="*/ 1177125 w 4610101"/>
              <a:gd name="connsiteY26892" fmla="*/ 849985 h 6557032"/>
              <a:gd name="connsiteX26893" fmla="*/ 1178947 w 4610101"/>
              <a:gd name="connsiteY26893" fmla="*/ 848162 h 6557032"/>
              <a:gd name="connsiteX26894" fmla="*/ 1180769 w 4610101"/>
              <a:gd name="connsiteY26894" fmla="*/ 851807 h 6557032"/>
              <a:gd name="connsiteX26895" fmla="*/ 1183189 w 4610101"/>
              <a:gd name="connsiteY26895" fmla="*/ 851063 h 6557032"/>
              <a:gd name="connsiteX26896" fmla="*/ 1183730 w 4610101"/>
              <a:gd name="connsiteY26896" fmla="*/ 852035 h 6557032"/>
              <a:gd name="connsiteX26897" fmla="*/ 1185520 w 4610101"/>
              <a:gd name="connsiteY26897" fmla="*/ 854475 h 6557032"/>
              <a:gd name="connsiteX26898" fmla="*/ 1182592 w 4610101"/>
              <a:gd name="connsiteY26898" fmla="*/ 855451 h 6557032"/>
              <a:gd name="connsiteX26899" fmla="*/ 1177125 w 4610101"/>
              <a:gd name="connsiteY26899" fmla="*/ 860918 h 6557032"/>
              <a:gd name="connsiteX26900" fmla="*/ 1177044 w 4610101"/>
              <a:gd name="connsiteY26900" fmla="*/ 861255 h 6557032"/>
              <a:gd name="connsiteX26901" fmla="*/ 1169608 w 4610101"/>
              <a:gd name="connsiteY26901" fmla="*/ 855452 h 6557032"/>
              <a:gd name="connsiteX26902" fmla="*/ 1158903 w 4610101"/>
              <a:gd name="connsiteY26902" fmla="*/ 853629 h 6557032"/>
              <a:gd name="connsiteX26903" fmla="*/ 1157081 w 4610101"/>
              <a:gd name="connsiteY26903" fmla="*/ 879139 h 6557032"/>
              <a:gd name="connsiteX26904" fmla="*/ 1158903 w 4610101"/>
              <a:gd name="connsiteY26904" fmla="*/ 870028 h 6557032"/>
              <a:gd name="connsiteX26905" fmla="*/ 1162547 w 4610101"/>
              <a:gd name="connsiteY26905" fmla="*/ 868206 h 6557032"/>
              <a:gd name="connsiteX26906" fmla="*/ 1157081 w 4610101"/>
              <a:gd name="connsiteY26906" fmla="*/ 855451 h 6557032"/>
              <a:gd name="connsiteX26907" fmla="*/ 1153436 w 4610101"/>
              <a:gd name="connsiteY26907" fmla="*/ 857273 h 6557032"/>
              <a:gd name="connsiteX26908" fmla="*/ 1151614 w 4610101"/>
              <a:gd name="connsiteY26908" fmla="*/ 853629 h 6557032"/>
              <a:gd name="connsiteX26909" fmla="*/ 1153436 w 4610101"/>
              <a:gd name="connsiteY26909" fmla="*/ 853629 h 6557032"/>
              <a:gd name="connsiteX26910" fmla="*/ 1141364 w 4610101"/>
              <a:gd name="connsiteY26910" fmla="*/ 841558 h 6557032"/>
              <a:gd name="connsiteX26911" fmla="*/ 1246367 w 4610101"/>
              <a:gd name="connsiteY26911" fmla="*/ 840874 h 6557032"/>
              <a:gd name="connsiteX26912" fmla="*/ 1250012 w 4610101"/>
              <a:gd name="connsiteY26912" fmla="*/ 842696 h 6557032"/>
              <a:gd name="connsiteX26913" fmla="*/ 1246783 w 4610101"/>
              <a:gd name="connsiteY26913" fmla="*/ 844310 h 6557032"/>
              <a:gd name="connsiteX26914" fmla="*/ 825445 w 4610101"/>
              <a:gd name="connsiteY26914" fmla="*/ 840874 h 6557032"/>
              <a:gd name="connsiteX26915" fmla="*/ 821801 w 4610101"/>
              <a:gd name="connsiteY26915" fmla="*/ 844518 h 6557032"/>
              <a:gd name="connsiteX26916" fmla="*/ 830912 w 4610101"/>
              <a:gd name="connsiteY26916" fmla="*/ 842696 h 6557032"/>
              <a:gd name="connsiteX26917" fmla="*/ 825445 w 4610101"/>
              <a:gd name="connsiteY26917" fmla="*/ 840874 h 6557032"/>
              <a:gd name="connsiteX26918" fmla="*/ 457367 w 4610101"/>
              <a:gd name="connsiteY26918" fmla="*/ 840874 h 6557032"/>
              <a:gd name="connsiteX26919" fmla="*/ 455544 w 4610101"/>
              <a:gd name="connsiteY26919" fmla="*/ 842696 h 6557032"/>
              <a:gd name="connsiteX26920" fmla="*/ 466478 w 4610101"/>
              <a:gd name="connsiteY26920" fmla="*/ 849985 h 6557032"/>
              <a:gd name="connsiteX26921" fmla="*/ 457367 w 4610101"/>
              <a:gd name="connsiteY26921" fmla="*/ 840874 h 6557032"/>
              <a:gd name="connsiteX26922" fmla="*/ 422745 w 4610101"/>
              <a:gd name="connsiteY26922" fmla="*/ 840874 h 6557032"/>
              <a:gd name="connsiteX26923" fmla="*/ 428211 w 4610101"/>
              <a:gd name="connsiteY26923" fmla="*/ 844518 h 6557032"/>
              <a:gd name="connsiteX26924" fmla="*/ 422745 w 4610101"/>
              <a:gd name="connsiteY26924" fmla="*/ 840874 h 6557032"/>
              <a:gd name="connsiteX26925" fmla="*/ 340747 w 4610101"/>
              <a:gd name="connsiteY26925" fmla="*/ 840874 h 6557032"/>
              <a:gd name="connsiteX26926" fmla="*/ 353502 w 4610101"/>
              <a:gd name="connsiteY26926" fmla="*/ 877317 h 6557032"/>
              <a:gd name="connsiteX26927" fmla="*/ 340747 w 4610101"/>
              <a:gd name="connsiteY26927" fmla="*/ 840874 h 6557032"/>
              <a:gd name="connsiteX26928" fmla="*/ 1478695 w 4610101"/>
              <a:gd name="connsiteY26928" fmla="*/ 840874 h 6557032"/>
              <a:gd name="connsiteX26929" fmla="*/ 1475961 w 4610101"/>
              <a:gd name="connsiteY26929" fmla="*/ 844518 h 6557032"/>
              <a:gd name="connsiteX26930" fmla="*/ 1477784 w 4610101"/>
              <a:gd name="connsiteY26930" fmla="*/ 842696 h 6557032"/>
              <a:gd name="connsiteX26931" fmla="*/ 1481428 w 4610101"/>
              <a:gd name="connsiteY26931" fmla="*/ 842696 h 6557032"/>
              <a:gd name="connsiteX26932" fmla="*/ 1478695 w 4610101"/>
              <a:gd name="connsiteY26932" fmla="*/ 840874 h 6557032"/>
              <a:gd name="connsiteX26933" fmla="*/ 268999 w 4610101"/>
              <a:gd name="connsiteY26933" fmla="*/ 840874 h 6557032"/>
              <a:gd name="connsiteX26934" fmla="*/ 267860 w 4610101"/>
              <a:gd name="connsiteY26934" fmla="*/ 840874 h 6557032"/>
              <a:gd name="connsiteX26935" fmla="*/ 275149 w 4610101"/>
              <a:gd name="connsiteY26935" fmla="*/ 846340 h 6557032"/>
              <a:gd name="connsiteX26936" fmla="*/ 271504 w 4610101"/>
              <a:gd name="connsiteY26936" fmla="*/ 840874 h 6557032"/>
              <a:gd name="connsiteX26937" fmla="*/ 268999 w 4610101"/>
              <a:gd name="connsiteY26937" fmla="*/ 840874 h 6557032"/>
              <a:gd name="connsiteX26938" fmla="*/ 1270388 w 4610101"/>
              <a:gd name="connsiteY26938" fmla="*/ 840044 h 6557032"/>
              <a:gd name="connsiteX26939" fmla="*/ 1270056 w 4610101"/>
              <a:gd name="connsiteY26939" fmla="*/ 840874 h 6557032"/>
              <a:gd name="connsiteX26940" fmla="*/ 1270056 w 4610101"/>
              <a:gd name="connsiteY26940" fmla="*/ 840509 h 6557032"/>
              <a:gd name="connsiteX26941" fmla="*/ 1169153 w 4610101"/>
              <a:gd name="connsiteY26941" fmla="*/ 839508 h 6557032"/>
              <a:gd name="connsiteX26942" fmla="*/ 1162547 w 4610101"/>
              <a:gd name="connsiteY26942" fmla="*/ 840874 h 6557032"/>
              <a:gd name="connsiteX26943" fmla="*/ 1171658 w 4610101"/>
              <a:gd name="connsiteY26943" fmla="*/ 846340 h 6557032"/>
              <a:gd name="connsiteX26944" fmla="*/ 1169153 w 4610101"/>
              <a:gd name="connsiteY26944" fmla="*/ 839508 h 6557032"/>
              <a:gd name="connsiteX26945" fmla="*/ 3245292 w 4610101"/>
              <a:gd name="connsiteY26945" fmla="*/ 839051 h 6557032"/>
              <a:gd name="connsiteX26946" fmla="*/ 3243470 w 4610101"/>
              <a:gd name="connsiteY26946" fmla="*/ 842696 h 6557032"/>
              <a:gd name="connsiteX26947" fmla="*/ 3250759 w 4610101"/>
              <a:gd name="connsiteY26947" fmla="*/ 842696 h 6557032"/>
              <a:gd name="connsiteX26948" fmla="*/ 3245292 w 4610101"/>
              <a:gd name="connsiteY26948" fmla="*/ 839051 h 6557032"/>
              <a:gd name="connsiteX26949" fmla="*/ 1257300 w 4610101"/>
              <a:gd name="connsiteY26949" fmla="*/ 839051 h 6557032"/>
              <a:gd name="connsiteX26950" fmla="*/ 1251834 w 4610101"/>
              <a:gd name="connsiteY26950" fmla="*/ 846340 h 6557032"/>
              <a:gd name="connsiteX26951" fmla="*/ 1257300 w 4610101"/>
              <a:gd name="connsiteY26951" fmla="*/ 839051 h 6557032"/>
              <a:gd name="connsiteX26952" fmla="*/ 1209925 w 4610101"/>
              <a:gd name="connsiteY26952" fmla="*/ 839051 h 6557032"/>
              <a:gd name="connsiteX26953" fmla="*/ 1219036 w 4610101"/>
              <a:gd name="connsiteY26953" fmla="*/ 844518 h 6557032"/>
              <a:gd name="connsiteX26954" fmla="*/ 1229969 w 4610101"/>
              <a:gd name="connsiteY26954" fmla="*/ 842696 h 6557032"/>
              <a:gd name="connsiteX26955" fmla="*/ 1228146 w 4610101"/>
              <a:gd name="connsiteY26955" fmla="*/ 846340 h 6557032"/>
              <a:gd name="connsiteX26956" fmla="*/ 1239080 w 4610101"/>
              <a:gd name="connsiteY26956" fmla="*/ 848162 h 6557032"/>
              <a:gd name="connsiteX26957" fmla="*/ 1229969 w 4610101"/>
              <a:gd name="connsiteY26957" fmla="*/ 842696 h 6557032"/>
              <a:gd name="connsiteX26958" fmla="*/ 1209925 w 4610101"/>
              <a:gd name="connsiteY26958" fmla="*/ 839051 h 6557032"/>
              <a:gd name="connsiteX26959" fmla="*/ 1200814 w 4610101"/>
              <a:gd name="connsiteY26959" fmla="*/ 839051 h 6557032"/>
              <a:gd name="connsiteX26960" fmla="*/ 1215390 w 4610101"/>
              <a:gd name="connsiteY26960" fmla="*/ 842696 h 6557032"/>
              <a:gd name="connsiteX26961" fmla="*/ 1200814 w 4610101"/>
              <a:gd name="connsiteY26961" fmla="*/ 839051 h 6557032"/>
              <a:gd name="connsiteX26962" fmla="*/ 1013129 w 4610101"/>
              <a:gd name="connsiteY26962" fmla="*/ 839051 h 6557032"/>
              <a:gd name="connsiteX26963" fmla="*/ 1007663 w 4610101"/>
              <a:gd name="connsiteY26963" fmla="*/ 840874 h 6557032"/>
              <a:gd name="connsiteX26964" fmla="*/ 1014951 w 4610101"/>
              <a:gd name="connsiteY26964" fmla="*/ 846340 h 6557032"/>
              <a:gd name="connsiteX26965" fmla="*/ 1013129 w 4610101"/>
              <a:gd name="connsiteY26965" fmla="*/ 839051 h 6557032"/>
              <a:gd name="connsiteX26966" fmla="*/ 971219 w 4610101"/>
              <a:gd name="connsiteY26966" fmla="*/ 839051 h 6557032"/>
              <a:gd name="connsiteX26967" fmla="*/ 976686 w 4610101"/>
              <a:gd name="connsiteY26967" fmla="*/ 848162 h 6557032"/>
              <a:gd name="connsiteX26968" fmla="*/ 978508 w 4610101"/>
              <a:gd name="connsiteY26968" fmla="*/ 844518 h 6557032"/>
              <a:gd name="connsiteX26969" fmla="*/ 976686 w 4610101"/>
              <a:gd name="connsiteY26969" fmla="*/ 840874 h 6557032"/>
              <a:gd name="connsiteX26970" fmla="*/ 982152 w 4610101"/>
              <a:gd name="connsiteY26970" fmla="*/ 842696 h 6557032"/>
              <a:gd name="connsiteX26971" fmla="*/ 971219 w 4610101"/>
              <a:gd name="connsiteY26971" fmla="*/ 839051 h 6557032"/>
              <a:gd name="connsiteX26972" fmla="*/ 894688 w 4610101"/>
              <a:gd name="connsiteY26972" fmla="*/ 839051 h 6557032"/>
              <a:gd name="connsiteX26973" fmla="*/ 889222 w 4610101"/>
              <a:gd name="connsiteY26973" fmla="*/ 842696 h 6557032"/>
              <a:gd name="connsiteX26974" fmla="*/ 900154 w 4610101"/>
              <a:gd name="connsiteY26974" fmla="*/ 846340 h 6557032"/>
              <a:gd name="connsiteX26975" fmla="*/ 894688 w 4610101"/>
              <a:gd name="connsiteY26975" fmla="*/ 839051 h 6557032"/>
              <a:gd name="connsiteX26976" fmla="*/ 889222 w 4610101"/>
              <a:gd name="connsiteY26976" fmla="*/ 839051 h 6557032"/>
              <a:gd name="connsiteX26977" fmla="*/ 883755 w 4610101"/>
              <a:gd name="connsiteY26977" fmla="*/ 842696 h 6557032"/>
              <a:gd name="connsiteX26978" fmla="*/ 889222 w 4610101"/>
              <a:gd name="connsiteY26978" fmla="*/ 839051 h 6557032"/>
              <a:gd name="connsiteX26979" fmla="*/ 204084 w 4610101"/>
              <a:gd name="connsiteY26979" fmla="*/ 839051 h 6557032"/>
              <a:gd name="connsiteX26980" fmla="*/ 215017 w 4610101"/>
              <a:gd name="connsiteY26980" fmla="*/ 846340 h 6557032"/>
              <a:gd name="connsiteX26981" fmla="*/ 204084 w 4610101"/>
              <a:gd name="connsiteY26981" fmla="*/ 839051 h 6557032"/>
              <a:gd name="connsiteX26982" fmla="*/ 173107 w 4610101"/>
              <a:gd name="connsiteY26982" fmla="*/ 839051 h 6557032"/>
              <a:gd name="connsiteX26983" fmla="*/ 185862 w 4610101"/>
              <a:gd name="connsiteY26983" fmla="*/ 848162 h 6557032"/>
              <a:gd name="connsiteX26984" fmla="*/ 173107 w 4610101"/>
              <a:gd name="connsiteY26984" fmla="*/ 839051 h 6557032"/>
              <a:gd name="connsiteX26985" fmla="*/ 1298032 w 4610101"/>
              <a:gd name="connsiteY26985" fmla="*/ 838409 h 6557032"/>
              <a:gd name="connsiteX26986" fmla="*/ 1299210 w 4610101"/>
              <a:gd name="connsiteY26986" fmla="*/ 839051 h 6557032"/>
              <a:gd name="connsiteX26987" fmla="*/ 1291923 w 4610101"/>
              <a:gd name="connsiteY26987" fmla="*/ 844518 h 6557032"/>
              <a:gd name="connsiteX26988" fmla="*/ 1353876 w 4610101"/>
              <a:gd name="connsiteY26988" fmla="*/ 837229 h 6557032"/>
              <a:gd name="connsiteX26989" fmla="*/ 1357521 w 4610101"/>
              <a:gd name="connsiteY26989" fmla="*/ 839051 h 6557032"/>
              <a:gd name="connsiteX26990" fmla="*/ 1353876 w 4610101"/>
              <a:gd name="connsiteY26990" fmla="*/ 837229 h 6557032"/>
              <a:gd name="connsiteX26991" fmla="*/ 1198991 w 4610101"/>
              <a:gd name="connsiteY26991" fmla="*/ 837229 h 6557032"/>
              <a:gd name="connsiteX26992" fmla="*/ 1197169 w 4610101"/>
              <a:gd name="connsiteY26992" fmla="*/ 840874 h 6557032"/>
              <a:gd name="connsiteX26993" fmla="*/ 1206279 w 4610101"/>
              <a:gd name="connsiteY26993" fmla="*/ 842696 h 6557032"/>
              <a:gd name="connsiteX26994" fmla="*/ 1198991 w 4610101"/>
              <a:gd name="connsiteY26994" fmla="*/ 837229 h 6557032"/>
              <a:gd name="connsiteX26995" fmla="*/ 1175303 w 4610101"/>
              <a:gd name="connsiteY26995" fmla="*/ 837229 h 6557032"/>
              <a:gd name="connsiteX26996" fmla="*/ 1191703 w 4610101"/>
              <a:gd name="connsiteY26996" fmla="*/ 844518 h 6557032"/>
              <a:gd name="connsiteX26997" fmla="*/ 1195346 w 4610101"/>
              <a:gd name="connsiteY26997" fmla="*/ 839051 h 6557032"/>
              <a:gd name="connsiteX26998" fmla="*/ 1175303 w 4610101"/>
              <a:gd name="connsiteY26998" fmla="*/ 837229 h 6557032"/>
              <a:gd name="connsiteX26999" fmla="*/ 1014951 w 4610101"/>
              <a:gd name="connsiteY26999" fmla="*/ 837229 h 6557032"/>
              <a:gd name="connsiteX27000" fmla="*/ 1016774 w 4610101"/>
              <a:gd name="connsiteY27000" fmla="*/ 846340 h 6557032"/>
              <a:gd name="connsiteX27001" fmla="*/ 1014951 w 4610101"/>
              <a:gd name="connsiteY27001" fmla="*/ 837229 h 6557032"/>
              <a:gd name="connsiteX27002" fmla="*/ 876466 w 4610101"/>
              <a:gd name="connsiteY27002" fmla="*/ 837229 h 6557032"/>
              <a:gd name="connsiteX27003" fmla="*/ 878288 w 4610101"/>
              <a:gd name="connsiteY27003" fmla="*/ 839051 h 6557032"/>
              <a:gd name="connsiteX27004" fmla="*/ 876466 w 4610101"/>
              <a:gd name="connsiteY27004" fmla="*/ 837229 h 6557032"/>
              <a:gd name="connsiteX27005" fmla="*/ 581274 w 4610101"/>
              <a:gd name="connsiteY27005" fmla="*/ 837229 h 6557032"/>
              <a:gd name="connsiteX27006" fmla="*/ 583096 w 4610101"/>
              <a:gd name="connsiteY27006" fmla="*/ 842696 h 6557032"/>
              <a:gd name="connsiteX27007" fmla="*/ 581274 w 4610101"/>
              <a:gd name="connsiteY27007" fmla="*/ 837229 h 6557032"/>
              <a:gd name="connsiteX27008" fmla="*/ 553941 w 4610101"/>
              <a:gd name="connsiteY27008" fmla="*/ 837229 h 6557032"/>
              <a:gd name="connsiteX27009" fmla="*/ 544830 w 4610101"/>
              <a:gd name="connsiteY27009" fmla="*/ 842696 h 6557032"/>
              <a:gd name="connsiteX27010" fmla="*/ 557586 w 4610101"/>
              <a:gd name="connsiteY27010" fmla="*/ 844518 h 6557032"/>
              <a:gd name="connsiteX27011" fmla="*/ 553941 w 4610101"/>
              <a:gd name="connsiteY27011" fmla="*/ 837229 h 6557032"/>
              <a:gd name="connsiteX27012" fmla="*/ 486521 w 4610101"/>
              <a:gd name="connsiteY27012" fmla="*/ 837229 h 6557032"/>
              <a:gd name="connsiteX27013" fmla="*/ 493809 w 4610101"/>
              <a:gd name="connsiteY27013" fmla="*/ 848162 h 6557032"/>
              <a:gd name="connsiteX27014" fmla="*/ 495632 w 4610101"/>
              <a:gd name="connsiteY27014" fmla="*/ 842696 h 6557032"/>
              <a:gd name="connsiteX27015" fmla="*/ 486521 w 4610101"/>
              <a:gd name="connsiteY27015" fmla="*/ 837229 h 6557032"/>
              <a:gd name="connsiteX27016" fmla="*/ 238705 w 4610101"/>
              <a:gd name="connsiteY27016" fmla="*/ 837229 h 6557032"/>
              <a:gd name="connsiteX27017" fmla="*/ 245994 w 4610101"/>
              <a:gd name="connsiteY27017" fmla="*/ 844518 h 6557032"/>
              <a:gd name="connsiteX27018" fmla="*/ 238705 w 4610101"/>
              <a:gd name="connsiteY27018" fmla="*/ 837229 h 6557032"/>
              <a:gd name="connsiteX27019" fmla="*/ 140308 w 4610101"/>
              <a:gd name="connsiteY27019" fmla="*/ 837229 h 6557032"/>
              <a:gd name="connsiteX27020" fmla="*/ 158788 w 4610101"/>
              <a:gd name="connsiteY27020" fmla="*/ 869926 h 6557032"/>
              <a:gd name="connsiteX27021" fmla="*/ 160989 w 4610101"/>
              <a:gd name="connsiteY27021" fmla="*/ 876339 h 6557032"/>
              <a:gd name="connsiteX27022" fmla="*/ 152380 w 4610101"/>
              <a:gd name="connsiteY27022" fmla="*/ 861601 h 6557032"/>
              <a:gd name="connsiteX27023" fmla="*/ 140308 w 4610101"/>
              <a:gd name="connsiteY27023" fmla="*/ 837229 h 6557032"/>
              <a:gd name="connsiteX27024" fmla="*/ 1303231 w 4610101"/>
              <a:gd name="connsiteY27024" fmla="*/ 836853 h 6557032"/>
              <a:gd name="connsiteX27025" fmla="*/ 1306818 w 4610101"/>
              <a:gd name="connsiteY27025" fmla="*/ 839212 h 6557032"/>
              <a:gd name="connsiteX27026" fmla="*/ 1302855 w 4610101"/>
              <a:gd name="connsiteY27026" fmla="*/ 837229 h 6557032"/>
              <a:gd name="connsiteX27027" fmla="*/ 750737 w 4610101"/>
              <a:gd name="connsiteY27027" fmla="*/ 836546 h 6557032"/>
              <a:gd name="connsiteX27028" fmla="*/ 743447 w 4610101"/>
              <a:gd name="connsiteY27028" fmla="*/ 839051 h 6557032"/>
              <a:gd name="connsiteX27029" fmla="*/ 752558 w 4610101"/>
              <a:gd name="connsiteY27029" fmla="*/ 840874 h 6557032"/>
              <a:gd name="connsiteX27030" fmla="*/ 750737 w 4610101"/>
              <a:gd name="connsiteY27030" fmla="*/ 836546 h 6557032"/>
              <a:gd name="connsiteX27031" fmla="*/ 787230 w 4610101"/>
              <a:gd name="connsiteY27031" fmla="*/ 835986 h 6557032"/>
              <a:gd name="connsiteX27032" fmla="*/ 791257 w 4610101"/>
              <a:gd name="connsiteY27032" fmla="*/ 837229 h 6557032"/>
              <a:gd name="connsiteX27033" fmla="*/ 788319 w 4610101"/>
              <a:gd name="connsiteY27033" fmla="*/ 837229 h 6557032"/>
              <a:gd name="connsiteX27034" fmla="*/ 3203382 w 4610101"/>
              <a:gd name="connsiteY27034" fmla="*/ 835407 h 6557032"/>
              <a:gd name="connsiteX27035" fmla="*/ 3207027 w 4610101"/>
              <a:gd name="connsiteY27035" fmla="*/ 846340 h 6557032"/>
              <a:gd name="connsiteX27036" fmla="*/ 3207027 w 4610101"/>
              <a:gd name="connsiteY27036" fmla="*/ 837229 h 6557032"/>
              <a:gd name="connsiteX27037" fmla="*/ 3203382 w 4610101"/>
              <a:gd name="connsiteY27037" fmla="*/ 835407 h 6557032"/>
              <a:gd name="connsiteX27038" fmla="*/ 1301033 w 4610101"/>
              <a:gd name="connsiteY27038" fmla="*/ 835407 h 6557032"/>
              <a:gd name="connsiteX27039" fmla="*/ 1301877 w 4610101"/>
              <a:gd name="connsiteY27039" fmla="*/ 835963 h 6557032"/>
              <a:gd name="connsiteX27040" fmla="*/ 1301033 w 4610101"/>
              <a:gd name="connsiteY27040" fmla="*/ 837229 h 6557032"/>
              <a:gd name="connsiteX27041" fmla="*/ 1299940 w 4610101"/>
              <a:gd name="connsiteY27041" fmla="*/ 836501 h 6557032"/>
              <a:gd name="connsiteX27042" fmla="*/ 1022240 w 4610101"/>
              <a:gd name="connsiteY27042" fmla="*/ 835407 h 6557032"/>
              <a:gd name="connsiteX27043" fmla="*/ 1022240 w 4610101"/>
              <a:gd name="connsiteY27043" fmla="*/ 839051 h 6557032"/>
              <a:gd name="connsiteX27044" fmla="*/ 1025884 w 4610101"/>
              <a:gd name="connsiteY27044" fmla="*/ 846340 h 6557032"/>
              <a:gd name="connsiteX27045" fmla="*/ 1022240 w 4610101"/>
              <a:gd name="connsiteY27045" fmla="*/ 835407 h 6557032"/>
              <a:gd name="connsiteX27046" fmla="*/ 973041 w 4610101"/>
              <a:gd name="connsiteY27046" fmla="*/ 835407 h 6557032"/>
              <a:gd name="connsiteX27047" fmla="*/ 973041 w 4610101"/>
              <a:gd name="connsiteY27047" fmla="*/ 839051 h 6557032"/>
              <a:gd name="connsiteX27048" fmla="*/ 978508 w 4610101"/>
              <a:gd name="connsiteY27048" fmla="*/ 835407 h 6557032"/>
              <a:gd name="connsiteX27049" fmla="*/ 973041 w 4610101"/>
              <a:gd name="connsiteY27049" fmla="*/ 835407 h 6557032"/>
              <a:gd name="connsiteX27050" fmla="*/ 685138 w 4610101"/>
              <a:gd name="connsiteY27050" fmla="*/ 835407 h 6557032"/>
              <a:gd name="connsiteX27051" fmla="*/ 685138 w 4610101"/>
              <a:gd name="connsiteY27051" fmla="*/ 842696 h 6557032"/>
              <a:gd name="connsiteX27052" fmla="*/ 688782 w 4610101"/>
              <a:gd name="connsiteY27052" fmla="*/ 839051 h 6557032"/>
              <a:gd name="connsiteX27053" fmla="*/ 685138 w 4610101"/>
              <a:gd name="connsiteY27053" fmla="*/ 835407 h 6557032"/>
              <a:gd name="connsiteX27054" fmla="*/ 532075 w 4610101"/>
              <a:gd name="connsiteY27054" fmla="*/ 835407 h 6557032"/>
              <a:gd name="connsiteX27055" fmla="*/ 535719 w 4610101"/>
              <a:gd name="connsiteY27055" fmla="*/ 840874 h 6557032"/>
              <a:gd name="connsiteX27056" fmla="*/ 532075 w 4610101"/>
              <a:gd name="connsiteY27056" fmla="*/ 835407 h 6557032"/>
              <a:gd name="connsiteX27057" fmla="*/ 322525 w 4610101"/>
              <a:gd name="connsiteY27057" fmla="*/ 835407 h 6557032"/>
              <a:gd name="connsiteX27058" fmla="*/ 333458 w 4610101"/>
              <a:gd name="connsiteY27058" fmla="*/ 849985 h 6557032"/>
              <a:gd name="connsiteX27059" fmla="*/ 326169 w 4610101"/>
              <a:gd name="connsiteY27059" fmla="*/ 837229 h 6557032"/>
              <a:gd name="connsiteX27060" fmla="*/ 333458 w 4610101"/>
              <a:gd name="connsiteY27060" fmla="*/ 842696 h 6557032"/>
              <a:gd name="connsiteX27061" fmla="*/ 322525 w 4610101"/>
              <a:gd name="connsiteY27061" fmla="*/ 835407 h 6557032"/>
              <a:gd name="connsiteX27062" fmla="*/ 961197 w 4610101"/>
              <a:gd name="connsiteY27062" fmla="*/ 835180 h 6557032"/>
              <a:gd name="connsiteX27063" fmla="*/ 956642 w 4610101"/>
              <a:gd name="connsiteY27063" fmla="*/ 837229 h 6557032"/>
              <a:gd name="connsiteX27064" fmla="*/ 958464 w 4610101"/>
              <a:gd name="connsiteY27064" fmla="*/ 839051 h 6557032"/>
              <a:gd name="connsiteX27065" fmla="*/ 965753 w 4610101"/>
              <a:gd name="connsiteY27065" fmla="*/ 837229 h 6557032"/>
              <a:gd name="connsiteX27066" fmla="*/ 961197 w 4610101"/>
              <a:gd name="connsiteY27066" fmla="*/ 835180 h 6557032"/>
              <a:gd name="connsiteX27067" fmla="*/ 3161472 w 4610101"/>
              <a:gd name="connsiteY27067" fmla="*/ 833585 h 6557032"/>
              <a:gd name="connsiteX27068" fmla="*/ 3156006 w 4610101"/>
              <a:gd name="connsiteY27068" fmla="*/ 846340 h 6557032"/>
              <a:gd name="connsiteX27069" fmla="*/ 3159650 w 4610101"/>
              <a:gd name="connsiteY27069" fmla="*/ 839051 h 6557032"/>
              <a:gd name="connsiteX27070" fmla="*/ 3168761 w 4610101"/>
              <a:gd name="connsiteY27070" fmla="*/ 840874 h 6557032"/>
              <a:gd name="connsiteX27071" fmla="*/ 3157828 w 4610101"/>
              <a:gd name="connsiteY27071" fmla="*/ 848162 h 6557032"/>
              <a:gd name="connsiteX27072" fmla="*/ 3177872 w 4610101"/>
              <a:gd name="connsiteY27072" fmla="*/ 857273 h 6557032"/>
              <a:gd name="connsiteX27073" fmla="*/ 3170583 w 4610101"/>
              <a:gd name="connsiteY27073" fmla="*/ 853629 h 6557032"/>
              <a:gd name="connsiteX27074" fmla="*/ 3176050 w 4610101"/>
              <a:gd name="connsiteY27074" fmla="*/ 846340 h 6557032"/>
              <a:gd name="connsiteX27075" fmla="*/ 3168761 w 4610101"/>
              <a:gd name="connsiteY27075" fmla="*/ 846340 h 6557032"/>
              <a:gd name="connsiteX27076" fmla="*/ 3161472 w 4610101"/>
              <a:gd name="connsiteY27076" fmla="*/ 833585 h 6557032"/>
              <a:gd name="connsiteX27077" fmla="*/ 3150539 w 4610101"/>
              <a:gd name="connsiteY27077" fmla="*/ 833585 h 6557032"/>
              <a:gd name="connsiteX27078" fmla="*/ 3130495 w 4610101"/>
              <a:gd name="connsiteY27078" fmla="*/ 844518 h 6557032"/>
              <a:gd name="connsiteX27079" fmla="*/ 3146895 w 4610101"/>
              <a:gd name="connsiteY27079" fmla="*/ 846340 h 6557032"/>
              <a:gd name="connsiteX27080" fmla="*/ 3150539 w 4610101"/>
              <a:gd name="connsiteY27080" fmla="*/ 837229 h 6557032"/>
              <a:gd name="connsiteX27081" fmla="*/ 3146895 w 4610101"/>
              <a:gd name="connsiteY27081" fmla="*/ 835407 h 6557032"/>
              <a:gd name="connsiteX27082" fmla="*/ 3150539 w 4610101"/>
              <a:gd name="connsiteY27082" fmla="*/ 833585 h 6557032"/>
              <a:gd name="connsiteX27083" fmla="*/ 2509134 w 4610101"/>
              <a:gd name="connsiteY27083" fmla="*/ 833585 h 6557032"/>
              <a:gd name="connsiteX27084" fmla="*/ 2505490 w 4610101"/>
              <a:gd name="connsiteY27084" fmla="*/ 849985 h 6557032"/>
              <a:gd name="connsiteX27085" fmla="*/ 2514600 w 4610101"/>
              <a:gd name="connsiteY27085" fmla="*/ 848162 h 6557032"/>
              <a:gd name="connsiteX27086" fmla="*/ 2509134 w 4610101"/>
              <a:gd name="connsiteY27086" fmla="*/ 833585 h 6557032"/>
              <a:gd name="connsiteX27087" fmla="*/ 1430407 w 4610101"/>
              <a:gd name="connsiteY27087" fmla="*/ 833585 h 6557032"/>
              <a:gd name="connsiteX27088" fmla="*/ 1415829 w 4610101"/>
              <a:gd name="connsiteY27088" fmla="*/ 847024 h 6557032"/>
              <a:gd name="connsiteX27089" fmla="*/ 1415235 w 4610101"/>
              <a:gd name="connsiteY27089" fmla="*/ 847070 h 6557032"/>
              <a:gd name="connsiteX27090" fmla="*/ 1335654 w 4610101"/>
              <a:gd name="connsiteY27090" fmla="*/ 833585 h 6557032"/>
              <a:gd name="connsiteX27091" fmla="*/ 1330188 w 4610101"/>
              <a:gd name="connsiteY27091" fmla="*/ 837229 h 6557032"/>
              <a:gd name="connsiteX27092" fmla="*/ 1344765 w 4610101"/>
              <a:gd name="connsiteY27092" fmla="*/ 840874 h 6557032"/>
              <a:gd name="connsiteX27093" fmla="*/ 1335654 w 4610101"/>
              <a:gd name="connsiteY27093" fmla="*/ 833585 h 6557032"/>
              <a:gd name="connsiteX27094" fmla="*/ 983974 w 4610101"/>
              <a:gd name="connsiteY27094" fmla="*/ 833585 h 6557032"/>
              <a:gd name="connsiteX27095" fmla="*/ 978508 w 4610101"/>
              <a:gd name="connsiteY27095" fmla="*/ 837229 h 6557032"/>
              <a:gd name="connsiteX27096" fmla="*/ 983974 w 4610101"/>
              <a:gd name="connsiteY27096" fmla="*/ 833585 h 6557032"/>
              <a:gd name="connsiteX27097" fmla="*/ 555763 w 4610101"/>
              <a:gd name="connsiteY27097" fmla="*/ 833585 h 6557032"/>
              <a:gd name="connsiteX27098" fmla="*/ 561230 w 4610101"/>
              <a:gd name="connsiteY27098" fmla="*/ 833585 h 6557032"/>
              <a:gd name="connsiteX27099" fmla="*/ 555763 w 4610101"/>
              <a:gd name="connsiteY27099" fmla="*/ 833585 h 6557032"/>
              <a:gd name="connsiteX27100" fmla="*/ 433678 w 4610101"/>
              <a:gd name="connsiteY27100" fmla="*/ 833585 h 6557032"/>
              <a:gd name="connsiteX27101" fmla="*/ 453722 w 4610101"/>
              <a:gd name="connsiteY27101" fmla="*/ 851807 h 6557032"/>
              <a:gd name="connsiteX27102" fmla="*/ 451899 w 4610101"/>
              <a:gd name="connsiteY27102" fmla="*/ 848162 h 6557032"/>
              <a:gd name="connsiteX27103" fmla="*/ 475589 w 4610101"/>
              <a:gd name="connsiteY27103" fmla="*/ 859095 h 6557032"/>
              <a:gd name="connsiteX27104" fmla="*/ 461010 w 4610101"/>
              <a:gd name="connsiteY27104" fmla="*/ 853629 h 6557032"/>
              <a:gd name="connsiteX27105" fmla="*/ 462832 w 4610101"/>
              <a:gd name="connsiteY27105" fmla="*/ 853629 h 6557032"/>
              <a:gd name="connsiteX27106" fmla="*/ 433678 w 4610101"/>
              <a:gd name="connsiteY27106" fmla="*/ 833585 h 6557032"/>
              <a:gd name="connsiteX27107" fmla="*/ 616806 w 4610101"/>
              <a:gd name="connsiteY27107" fmla="*/ 832446 h 6557032"/>
              <a:gd name="connsiteX27108" fmla="*/ 608606 w 4610101"/>
              <a:gd name="connsiteY27108" fmla="*/ 833585 h 6557032"/>
              <a:gd name="connsiteX27109" fmla="*/ 619539 w 4610101"/>
              <a:gd name="connsiteY27109" fmla="*/ 840874 h 6557032"/>
              <a:gd name="connsiteX27110" fmla="*/ 616806 w 4610101"/>
              <a:gd name="connsiteY27110" fmla="*/ 832446 h 6557032"/>
              <a:gd name="connsiteX27111" fmla="*/ 3217960 w 4610101"/>
              <a:gd name="connsiteY27111" fmla="*/ 831763 h 6557032"/>
              <a:gd name="connsiteX27112" fmla="*/ 3216137 w 4610101"/>
              <a:gd name="connsiteY27112" fmla="*/ 835407 h 6557032"/>
              <a:gd name="connsiteX27113" fmla="*/ 3207027 w 4610101"/>
              <a:gd name="connsiteY27113" fmla="*/ 835407 h 6557032"/>
              <a:gd name="connsiteX27114" fmla="*/ 3210671 w 4610101"/>
              <a:gd name="connsiteY27114" fmla="*/ 844518 h 6557032"/>
              <a:gd name="connsiteX27115" fmla="*/ 3217960 w 4610101"/>
              <a:gd name="connsiteY27115" fmla="*/ 831763 h 6557032"/>
              <a:gd name="connsiteX27116" fmla="*/ 1064151 w 4610101"/>
              <a:gd name="connsiteY27116" fmla="*/ 831763 h 6557032"/>
              <a:gd name="connsiteX27117" fmla="*/ 1056861 w 4610101"/>
              <a:gd name="connsiteY27117" fmla="*/ 837229 h 6557032"/>
              <a:gd name="connsiteX27118" fmla="*/ 1064151 w 4610101"/>
              <a:gd name="connsiteY27118" fmla="*/ 844518 h 6557032"/>
              <a:gd name="connsiteX27119" fmla="*/ 1055040 w 4610101"/>
              <a:gd name="connsiteY27119" fmla="*/ 835407 h 6557032"/>
              <a:gd name="connsiteX27120" fmla="*/ 1045929 w 4610101"/>
              <a:gd name="connsiteY27120" fmla="*/ 840874 h 6557032"/>
              <a:gd name="connsiteX27121" fmla="*/ 1049573 w 4610101"/>
              <a:gd name="connsiteY27121" fmla="*/ 842696 h 6557032"/>
              <a:gd name="connsiteX27122" fmla="*/ 1040462 w 4610101"/>
              <a:gd name="connsiteY27122" fmla="*/ 849985 h 6557032"/>
              <a:gd name="connsiteX27123" fmla="*/ 1044106 w 4610101"/>
              <a:gd name="connsiteY27123" fmla="*/ 849985 h 6557032"/>
              <a:gd name="connsiteX27124" fmla="*/ 1040462 w 4610101"/>
              <a:gd name="connsiteY27124" fmla="*/ 862740 h 6557032"/>
              <a:gd name="connsiteX27125" fmla="*/ 1044106 w 4610101"/>
              <a:gd name="connsiteY27125" fmla="*/ 859095 h 6557032"/>
              <a:gd name="connsiteX27126" fmla="*/ 1042284 w 4610101"/>
              <a:gd name="connsiteY27126" fmla="*/ 877317 h 6557032"/>
              <a:gd name="connsiteX27127" fmla="*/ 1060506 w 4610101"/>
              <a:gd name="connsiteY27127" fmla="*/ 866384 h 6557032"/>
              <a:gd name="connsiteX27128" fmla="*/ 1060506 w 4610101"/>
              <a:gd name="connsiteY27128" fmla="*/ 860918 h 6557032"/>
              <a:gd name="connsiteX27129" fmla="*/ 1064151 w 4610101"/>
              <a:gd name="connsiteY27129" fmla="*/ 844518 h 6557032"/>
              <a:gd name="connsiteX27130" fmla="*/ 1069616 w 4610101"/>
              <a:gd name="connsiteY27130" fmla="*/ 831763 h 6557032"/>
              <a:gd name="connsiteX27131" fmla="*/ 1064151 w 4610101"/>
              <a:gd name="connsiteY27131" fmla="*/ 831763 h 6557032"/>
              <a:gd name="connsiteX27132" fmla="*/ 736159 w 4610101"/>
              <a:gd name="connsiteY27132" fmla="*/ 831763 h 6557032"/>
              <a:gd name="connsiteX27133" fmla="*/ 734336 w 4610101"/>
              <a:gd name="connsiteY27133" fmla="*/ 839051 h 6557032"/>
              <a:gd name="connsiteX27134" fmla="*/ 741626 w 4610101"/>
              <a:gd name="connsiteY27134" fmla="*/ 835407 h 6557032"/>
              <a:gd name="connsiteX27135" fmla="*/ 736159 w 4610101"/>
              <a:gd name="connsiteY27135" fmla="*/ 831763 h 6557032"/>
              <a:gd name="connsiteX27136" fmla="*/ 717937 w 4610101"/>
              <a:gd name="connsiteY27136" fmla="*/ 831763 h 6557032"/>
              <a:gd name="connsiteX27137" fmla="*/ 716115 w 4610101"/>
              <a:gd name="connsiteY27137" fmla="*/ 837229 h 6557032"/>
              <a:gd name="connsiteX27138" fmla="*/ 717937 w 4610101"/>
              <a:gd name="connsiteY27138" fmla="*/ 831763 h 6557032"/>
              <a:gd name="connsiteX27139" fmla="*/ 382657 w 4610101"/>
              <a:gd name="connsiteY27139" fmla="*/ 831763 h 6557032"/>
              <a:gd name="connsiteX27140" fmla="*/ 409989 w 4610101"/>
              <a:gd name="connsiteY27140" fmla="*/ 868206 h 6557032"/>
              <a:gd name="connsiteX27141" fmla="*/ 408167 w 4610101"/>
              <a:gd name="connsiteY27141" fmla="*/ 864562 h 6557032"/>
              <a:gd name="connsiteX27142" fmla="*/ 419100 w 4610101"/>
              <a:gd name="connsiteY27142" fmla="*/ 868206 h 6557032"/>
              <a:gd name="connsiteX27143" fmla="*/ 409989 w 4610101"/>
              <a:gd name="connsiteY27143" fmla="*/ 857273 h 6557032"/>
              <a:gd name="connsiteX27144" fmla="*/ 440966 w 4610101"/>
              <a:gd name="connsiteY27144" fmla="*/ 884606 h 6557032"/>
              <a:gd name="connsiteX27145" fmla="*/ 439145 w 4610101"/>
              <a:gd name="connsiteY27145" fmla="*/ 879139 h 6557032"/>
              <a:gd name="connsiteX27146" fmla="*/ 451899 w 4610101"/>
              <a:gd name="connsiteY27146" fmla="*/ 891894 h 6557032"/>
              <a:gd name="connsiteX27147" fmla="*/ 441405 w 4610101"/>
              <a:gd name="connsiteY27147" fmla="*/ 877012 h 6557032"/>
              <a:gd name="connsiteX27148" fmla="*/ 446433 w 4610101"/>
              <a:gd name="connsiteY27148" fmla="*/ 879139 h 6557032"/>
              <a:gd name="connsiteX27149" fmla="*/ 437322 w 4610101"/>
              <a:gd name="connsiteY27149" fmla="*/ 870028 h 6557032"/>
              <a:gd name="connsiteX27150" fmla="*/ 439143 w 4610101"/>
              <a:gd name="connsiteY27150" fmla="*/ 873799 h 6557032"/>
              <a:gd name="connsiteX27151" fmla="*/ 433193 w 4610101"/>
              <a:gd name="connsiteY27151" fmla="*/ 865246 h 6557032"/>
              <a:gd name="connsiteX27152" fmla="*/ 422745 w 4610101"/>
              <a:gd name="connsiteY27152" fmla="*/ 859095 h 6557032"/>
              <a:gd name="connsiteX27153" fmla="*/ 428211 w 4610101"/>
              <a:gd name="connsiteY27153" fmla="*/ 859095 h 6557032"/>
              <a:gd name="connsiteX27154" fmla="*/ 411812 w 4610101"/>
              <a:gd name="connsiteY27154" fmla="*/ 844518 h 6557032"/>
              <a:gd name="connsiteX27155" fmla="*/ 417278 w 4610101"/>
              <a:gd name="connsiteY27155" fmla="*/ 846340 h 6557032"/>
              <a:gd name="connsiteX27156" fmla="*/ 400879 w 4610101"/>
              <a:gd name="connsiteY27156" fmla="*/ 844518 h 6557032"/>
              <a:gd name="connsiteX27157" fmla="*/ 411812 w 4610101"/>
              <a:gd name="connsiteY27157" fmla="*/ 840874 h 6557032"/>
              <a:gd name="connsiteX27158" fmla="*/ 382657 w 4610101"/>
              <a:gd name="connsiteY27158" fmla="*/ 831763 h 6557032"/>
              <a:gd name="connsiteX27159" fmla="*/ 338926 w 4610101"/>
              <a:gd name="connsiteY27159" fmla="*/ 831763 h 6557032"/>
              <a:gd name="connsiteX27160" fmla="*/ 344391 w 4610101"/>
              <a:gd name="connsiteY27160" fmla="*/ 839051 h 6557032"/>
              <a:gd name="connsiteX27161" fmla="*/ 338926 w 4610101"/>
              <a:gd name="connsiteY27161" fmla="*/ 831763 h 6557032"/>
              <a:gd name="connsiteX27162" fmla="*/ 3199738 w 4610101"/>
              <a:gd name="connsiteY27162" fmla="*/ 829941 h 6557032"/>
              <a:gd name="connsiteX27163" fmla="*/ 3199738 w 4610101"/>
              <a:gd name="connsiteY27163" fmla="*/ 835407 h 6557032"/>
              <a:gd name="connsiteX27164" fmla="*/ 3199738 w 4610101"/>
              <a:gd name="connsiteY27164" fmla="*/ 833585 h 6557032"/>
              <a:gd name="connsiteX27165" fmla="*/ 3208849 w 4610101"/>
              <a:gd name="connsiteY27165" fmla="*/ 833585 h 6557032"/>
              <a:gd name="connsiteX27166" fmla="*/ 3199738 w 4610101"/>
              <a:gd name="connsiteY27166" fmla="*/ 829941 h 6557032"/>
              <a:gd name="connsiteX27167" fmla="*/ 2337850 w 4610101"/>
              <a:gd name="connsiteY27167" fmla="*/ 829941 h 6557032"/>
              <a:gd name="connsiteX27168" fmla="*/ 2334205 w 4610101"/>
              <a:gd name="connsiteY27168" fmla="*/ 831763 h 6557032"/>
              <a:gd name="connsiteX27169" fmla="*/ 2337850 w 4610101"/>
              <a:gd name="connsiteY27169" fmla="*/ 835407 h 6557032"/>
              <a:gd name="connsiteX27170" fmla="*/ 2337850 w 4610101"/>
              <a:gd name="connsiteY27170" fmla="*/ 829941 h 6557032"/>
              <a:gd name="connsiteX27171" fmla="*/ 1109704 w 4610101"/>
              <a:gd name="connsiteY27171" fmla="*/ 829941 h 6557032"/>
              <a:gd name="connsiteX27172" fmla="*/ 1089660 w 4610101"/>
              <a:gd name="connsiteY27172" fmla="*/ 833585 h 6557032"/>
              <a:gd name="connsiteX27173" fmla="*/ 1076905 w 4610101"/>
              <a:gd name="connsiteY27173" fmla="*/ 835407 h 6557032"/>
              <a:gd name="connsiteX27174" fmla="*/ 1073262 w 4610101"/>
              <a:gd name="connsiteY27174" fmla="*/ 835407 h 6557032"/>
              <a:gd name="connsiteX27175" fmla="*/ 1067794 w 4610101"/>
              <a:gd name="connsiteY27175" fmla="*/ 846340 h 6557032"/>
              <a:gd name="connsiteX27176" fmla="*/ 1078727 w 4610101"/>
              <a:gd name="connsiteY27176" fmla="*/ 835407 h 6557032"/>
              <a:gd name="connsiteX27177" fmla="*/ 1076905 w 4610101"/>
              <a:gd name="connsiteY27177" fmla="*/ 840874 h 6557032"/>
              <a:gd name="connsiteX27178" fmla="*/ 1080549 w 4610101"/>
              <a:gd name="connsiteY27178" fmla="*/ 840874 h 6557032"/>
              <a:gd name="connsiteX27179" fmla="*/ 1065972 w 4610101"/>
              <a:gd name="connsiteY27179" fmla="*/ 848162 h 6557032"/>
              <a:gd name="connsiteX27180" fmla="*/ 1064151 w 4610101"/>
              <a:gd name="connsiteY27180" fmla="*/ 864562 h 6557032"/>
              <a:gd name="connsiteX27181" fmla="*/ 1082373 w 4610101"/>
              <a:gd name="connsiteY27181" fmla="*/ 849985 h 6557032"/>
              <a:gd name="connsiteX27182" fmla="*/ 1089660 w 4610101"/>
              <a:gd name="connsiteY27182" fmla="*/ 844518 h 6557032"/>
              <a:gd name="connsiteX27183" fmla="*/ 1109704 w 4610101"/>
              <a:gd name="connsiteY27183" fmla="*/ 829941 h 6557032"/>
              <a:gd name="connsiteX27184" fmla="*/ 1051395 w 4610101"/>
              <a:gd name="connsiteY27184" fmla="*/ 829941 h 6557032"/>
              <a:gd name="connsiteX27185" fmla="*/ 1047750 w 4610101"/>
              <a:gd name="connsiteY27185" fmla="*/ 835407 h 6557032"/>
              <a:gd name="connsiteX27186" fmla="*/ 1053217 w 4610101"/>
              <a:gd name="connsiteY27186" fmla="*/ 833585 h 6557032"/>
              <a:gd name="connsiteX27187" fmla="*/ 1051395 w 4610101"/>
              <a:gd name="connsiteY27187" fmla="*/ 829941 h 6557032"/>
              <a:gd name="connsiteX27188" fmla="*/ 1024062 w 4610101"/>
              <a:gd name="connsiteY27188" fmla="*/ 829941 h 6557032"/>
              <a:gd name="connsiteX27189" fmla="*/ 1016774 w 4610101"/>
              <a:gd name="connsiteY27189" fmla="*/ 833585 h 6557032"/>
              <a:gd name="connsiteX27190" fmla="*/ 1024062 w 4610101"/>
              <a:gd name="connsiteY27190" fmla="*/ 829941 h 6557032"/>
              <a:gd name="connsiteX27191" fmla="*/ 949353 w 4610101"/>
              <a:gd name="connsiteY27191" fmla="*/ 829941 h 6557032"/>
              <a:gd name="connsiteX27192" fmla="*/ 943886 w 4610101"/>
              <a:gd name="connsiteY27192" fmla="*/ 835407 h 6557032"/>
              <a:gd name="connsiteX27193" fmla="*/ 949353 w 4610101"/>
              <a:gd name="connsiteY27193" fmla="*/ 829941 h 6557032"/>
              <a:gd name="connsiteX27194" fmla="*/ 878288 w 4610101"/>
              <a:gd name="connsiteY27194" fmla="*/ 829941 h 6557032"/>
              <a:gd name="connsiteX27195" fmla="*/ 876466 w 4610101"/>
              <a:gd name="connsiteY27195" fmla="*/ 833585 h 6557032"/>
              <a:gd name="connsiteX27196" fmla="*/ 881933 w 4610101"/>
              <a:gd name="connsiteY27196" fmla="*/ 829941 h 6557032"/>
              <a:gd name="connsiteX27197" fmla="*/ 878288 w 4610101"/>
              <a:gd name="connsiteY27197" fmla="*/ 829941 h 6557032"/>
              <a:gd name="connsiteX27198" fmla="*/ 685138 w 4610101"/>
              <a:gd name="connsiteY27198" fmla="*/ 829941 h 6557032"/>
              <a:gd name="connsiteX27199" fmla="*/ 690604 w 4610101"/>
              <a:gd name="connsiteY27199" fmla="*/ 835407 h 6557032"/>
              <a:gd name="connsiteX27200" fmla="*/ 685138 w 4610101"/>
              <a:gd name="connsiteY27200" fmla="*/ 829941 h 6557032"/>
              <a:gd name="connsiteX27201" fmla="*/ 482876 w 4610101"/>
              <a:gd name="connsiteY27201" fmla="*/ 829941 h 6557032"/>
              <a:gd name="connsiteX27202" fmla="*/ 495632 w 4610101"/>
              <a:gd name="connsiteY27202" fmla="*/ 840874 h 6557032"/>
              <a:gd name="connsiteX27203" fmla="*/ 482876 w 4610101"/>
              <a:gd name="connsiteY27203" fmla="*/ 829941 h 6557032"/>
              <a:gd name="connsiteX27204" fmla="*/ 371724 w 4610101"/>
              <a:gd name="connsiteY27204" fmla="*/ 829941 h 6557032"/>
              <a:gd name="connsiteX27205" fmla="*/ 391768 w 4610101"/>
              <a:gd name="connsiteY27205" fmla="*/ 851807 h 6557032"/>
              <a:gd name="connsiteX27206" fmla="*/ 380835 w 4610101"/>
              <a:gd name="connsiteY27206" fmla="*/ 831763 h 6557032"/>
              <a:gd name="connsiteX27207" fmla="*/ 371724 w 4610101"/>
              <a:gd name="connsiteY27207" fmla="*/ 829941 h 6557032"/>
              <a:gd name="connsiteX27208" fmla="*/ 298837 w 4610101"/>
              <a:gd name="connsiteY27208" fmla="*/ 829941 h 6557032"/>
              <a:gd name="connsiteX27209" fmla="*/ 298837 w 4610101"/>
              <a:gd name="connsiteY27209" fmla="*/ 846340 h 6557032"/>
              <a:gd name="connsiteX27210" fmla="*/ 297015 w 4610101"/>
              <a:gd name="connsiteY27210" fmla="*/ 844518 h 6557032"/>
              <a:gd name="connsiteX27211" fmla="*/ 300660 w 4610101"/>
              <a:gd name="connsiteY27211" fmla="*/ 851807 h 6557032"/>
              <a:gd name="connsiteX27212" fmla="*/ 297015 w 4610101"/>
              <a:gd name="connsiteY27212" fmla="*/ 849985 h 6557032"/>
              <a:gd name="connsiteX27213" fmla="*/ 306126 w 4610101"/>
              <a:gd name="connsiteY27213" fmla="*/ 857273 h 6557032"/>
              <a:gd name="connsiteX27214" fmla="*/ 302481 w 4610101"/>
              <a:gd name="connsiteY27214" fmla="*/ 851807 h 6557032"/>
              <a:gd name="connsiteX27215" fmla="*/ 309771 w 4610101"/>
              <a:gd name="connsiteY27215" fmla="*/ 857273 h 6557032"/>
              <a:gd name="connsiteX27216" fmla="*/ 307948 w 4610101"/>
              <a:gd name="connsiteY27216" fmla="*/ 853629 h 6557032"/>
              <a:gd name="connsiteX27217" fmla="*/ 311592 w 4610101"/>
              <a:gd name="connsiteY27217" fmla="*/ 857273 h 6557032"/>
              <a:gd name="connsiteX27218" fmla="*/ 311592 w 4610101"/>
              <a:gd name="connsiteY27218" fmla="*/ 855451 h 6557032"/>
              <a:gd name="connsiteX27219" fmla="*/ 335280 w 4610101"/>
              <a:gd name="connsiteY27219" fmla="*/ 873673 h 6557032"/>
              <a:gd name="connsiteX27220" fmla="*/ 298837 w 4610101"/>
              <a:gd name="connsiteY27220" fmla="*/ 829941 h 6557032"/>
              <a:gd name="connsiteX27221" fmla="*/ 138486 w 4610101"/>
              <a:gd name="connsiteY27221" fmla="*/ 829941 h 6557032"/>
              <a:gd name="connsiteX27222" fmla="*/ 149789 w 4610101"/>
              <a:gd name="connsiteY27222" fmla="*/ 845373 h 6557032"/>
              <a:gd name="connsiteX27223" fmla="*/ 150048 w 4610101"/>
              <a:gd name="connsiteY27223" fmla="*/ 846063 h 6557032"/>
              <a:gd name="connsiteX27224" fmla="*/ 729782 w 4610101"/>
              <a:gd name="connsiteY27224" fmla="*/ 829941 h 6557032"/>
              <a:gd name="connsiteX27225" fmla="*/ 727048 w 4610101"/>
              <a:gd name="connsiteY27225" fmla="*/ 829941 h 6557032"/>
              <a:gd name="connsiteX27226" fmla="*/ 730692 w 4610101"/>
              <a:gd name="connsiteY27226" fmla="*/ 833585 h 6557032"/>
              <a:gd name="connsiteX27227" fmla="*/ 732515 w 4610101"/>
              <a:gd name="connsiteY27227" fmla="*/ 829941 h 6557032"/>
              <a:gd name="connsiteX27228" fmla="*/ 729782 w 4610101"/>
              <a:gd name="connsiteY27228" fmla="*/ 829941 h 6557032"/>
              <a:gd name="connsiteX27229" fmla="*/ 1279166 w 4610101"/>
              <a:gd name="connsiteY27229" fmla="*/ 828118 h 6557032"/>
              <a:gd name="connsiteX27230" fmla="*/ 1280989 w 4610101"/>
              <a:gd name="connsiteY27230" fmla="*/ 849985 h 6557032"/>
              <a:gd name="connsiteX27231" fmla="*/ 1290099 w 4610101"/>
              <a:gd name="connsiteY27231" fmla="*/ 845885 h 6557032"/>
              <a:gd name="connsiteX27232" fmla="*/ 1291923 w 4610101"/>
              <a:gd name="connsiteY27232" fmla="*/ 844518 h 6557032"/>
              <a:gd name="connsiteX27233" fmla="*/ 1280989 w 4610101"/>
              <a:gd name="connsiteY27233" fmla="*/ 855451 h 6557032"/>
              <a:gd name="connsiteX27234" fmla="*/ 1290100 w 4610101"/>
              <a:gd name="connsiteY27234" fmla="*/ 862740 h 6557032"/>
              <a:gd name="connsiteX27235" fmla="*/ 1291922 w 4610101"/>
              <a:gd name="connsiteY27235" fmla="*/ 860918 h 6557032"/>
              <a:gd name="connsiteX27236" fmla="*/ 1304677 w 4610101"/>
              <a:gd name="connsiteY27236" fmla="*/ 866384 h 6557032"/>
              <a:gd name="connsiteX27237" fmla="*/ 1302855 w 4610101"/>
              <a:gd name="connsiteY27237" fmla="*/ 859095 h 6557032"/>
              <a:gd name="connsiteX27238" fmla="*/ 1308321 w 4610101"/>
              <a:gd name="connsiteY27238" fmla="*/ 853629 h 6557032"/>
              <a:gd name="connsiteX27239" fmla="*/ 1310143 w 4610101"/>
              <a:gd name="connsiteY27239" fmla="*/ 862740 h 6557032"/>
              <a:gd name="connsiteX27240" fmla="*/ 1311966 w 4610101"/>
              <a:gd name="connsiteY27240" fmla="*/ 862740 h 6557032"/>
              <a:gd name="connsiteX27241" fmla="*/ 1313788 w 4610101"/>
              <a:gd name="connsiteY27241" fmla="*/ 859095 h 6557032"/>
              <a:gd name="connsiteX27242" fmla="*/ 1313788 w 4610101"/>
              <a:gd name="connsiteY27242" fmla="*/ 862740 h 6557032"/>
              <a:gd name="connsiteX27243" fmla="*/ 1332010 w 4610101"/>
              <a:gd name="connsiteY27243" fmla="*/ 853629 h 6557032"/>
              <a:gd name="connsiteX27244" fmla="*/ 1339299 w 4610101"/>
              <a:gd name="connsiteY27244" fmla="*/ 855451 h 6557032"/>
              <a:gd name="connsiteX27245" fmla="*/ 1350231 w 4610101"/>
              <a:gd name="connsiteY27245" fmla="*/ 842696 h 6557032"/>
              <a:gd name="connsiteX27246" fmla="*/ 1341120 w 4610101"/>
              <a:gd name="connsiteY27246" fmla="*/ 844518 h 6557032"/>
              <a:gd name="connsiteX27247" fmla="*/ 1327454 w 4610101"/>
              <a:gd name="connsiteY27247" fmla="*/ 838369 h 6557032"/>
              <a:gd name="connsiteX27248" fmla="*/ 1314441 w 4610101"/>
              <a:gd name="connsiteY27248" fmla="*/ 844224 h 6557032"/>
              <a:gd name="connsiteX27249" fmla="*/ 1306818 w 4610101"/>
              <a:gd name="connsiteY27249" fmla="*/ 839212 h 6557032"/>
              <a:gd name="connsiteX27250" fmla="*/ 1310143 w 4610101"/>
              <a:gd name="connsiteY27250" fmla="*/ 840874 h 6557032"/>
              <a:gd name="connsiteX27251" fmla="*/ 1319254 w 4610101"/>
              <a:gd name="connsiteY27251" fmla="*/ 835407 h 6557032"/>
              <a:gd name="connsiteX27252" fmla="*/ 1308321 w 4610101"/>
              <a:gd name="connsiteY27252" fmla="*/ 831763 h 6557032"/>
              <a:gd name="connsiteX27253" fmla="*/ 1303231 w 4610101"/>
              <a:gd name="connsiteY27253" fmla="*/ 836853 h 6557032"/>
              <a:gd name="connsiteX27254" fmla="*/ 1301877 w 4610101"/>
              <a:gd name="connsiteY27254" fmla="*/ 835963 h 6557032"/>
              <a:gd name="connsiteX27255" fmla="*/ 1304677 w 4610101"/>
              <a:gd name="connsiteY27255" fmla="*/ 831763 h 6557032"/>
              <a:gd name="connsiteX27256" fmla="*/ 1290100 w 4610101"/>
              <a:gd name="connsiteY27256" fmla="*/ 829941 h 6557032"/>
              <a:gd name="connsiteX27257" fmla="*/ 1299940 w 4610101"/>
              <a:gd name="connsiteY27257" fmla="*/ 836501 h 6557032"/>
              <a:gd name="connsiteX27258" fmla="*/ 1298032 w 4610101"/>
              <a:gd name="connsiteY27258" fmla="*/ 838409 h 6557032"/>
              <a:gd name="connsiteX27259" fmla="*/ 681493 w 4610101"/>
              <a:gd name="connsiteY27259" fmla="*/ 828118 h 6557032"/>
              <a:gd name="connsiteX27260" fmla="*/ 679671 w 4610101"/>
              <a:gd name="connsiteY27260" fmla="*/ 831763 h 6557032"/>
              <a:gd name="connsiteX27261" fmla="*/ 681493 w 4610101"/>
              <a:gd name="connsiteY27261" fmla="*/ 828118 h 6557032"/>
              <a:gd name="connsiteX27262" fmla="*/ 663272 w 4610101"/>
              <a:gd name="connsiteY27262" fmla="*/ 828118 h 6557032"/>
              <a:gd name="connsiteX27263" fmla="*/ 665094 w 4610101"/>
              <a:gd name="connsiteY27263" fmla="*/ 833585 h 6557032"/>
              <a:gd name="connsiteX27264" fmla="*/ 666916 w 4610101"/>
              <a:gd name="connsiteY27264" fmla="*/ 829941 h 6557032"/>
              <a:gd name="connsiteX27265" fmla="*/ 670560 w 4610101"/>
              <a:gd name="connsiteY27265" fmla="*/ 833585 h 6557032"/>
              <a:gd name="connsiteX27266" fmla="*/ 663272 w 4610101"/>
              <a:gd name="connsiteY27266" fmla="*/ 828118 h 6557032"/>
              <a:gd name="connsiteX27267" fmla="*/ 501098 w 4610101"/>
              <a:gd name="connsiteY27267" fmla="*/ 828118 h 6557032"/>
              <a:gd name="connsiteX27268" fmla="*/ 504743 w 4610101"/>
              <a:gd name="connsiteY27268" fmla="*/ 833585 h 6557032"/>
              <a:gd name="connsiteX27269" fmla="*/ 502920 w 4610101"/>
              <a:gd name="connsiteY27269" fmla="*/ 828118 h 6557032"/>
              <a:gd name="connsiteX27270" fmla="*/ 501098 w 4610101"/>
              <a:gd name="connsiteY27270" fmla="*/ 828118 h 6557032"/>
              <a:gd name="connsiteX27271" fmla="*/ 462832 w 4610101"/>
              <a:gd name="connsiteY27271" fmla="*/ 828118 h 6557032"/>
              <a:gd name="connsiteX27272" fmla="*/ 473766 w 4610101"/>
              <a:gd name="connsiteY27272" fmla="*/ 835407 h 6557032"/>
              <a:gd name="connsiteX27273" fmla="*/ 462832 w 4610101"/>
              <a:gd name="connsiteY27273" fmla="*/ 828118 h 6557032"/>
              <a:gd name="connsiteX27274" fmla="*/ 455544 w 4610101"/>
              <a:gd name="connsiteY27274" fmla="*/ 828118 h 6557032"/>
              <a:gd name="connsiteX27275" fmla="*/ 464655 w 4610101"/>
              <a:gd name="connsiteY27275" fmla="*/ 837229 h 6557032"/>
              <a:gd name="connsiteX27276" fmla="*/ 455544 w 4610101"/>
              <a:gd name="connsiteY27276" fmla="*/ 828118 h 6557032"/>
              <a:gd name="connsiteX27277" fmla="*/ 348037 w 4610101"/>
              <a:gd name="connsiteY27277" fmla="*/ 828118 h 6557032"/>
              <a:gd name="connsiteX27278" fmla="*/ 362157 w 4610101"/>
              <a:gd name="connsiteY27278" fmla="*/ 843151 h 6557032"/>
              <a:gd name="connsiteX27279" fmla="*/ 366372 w 4610101"/>
              <a:gd name="connsiteY27279" fmla="*/ 846226 h 6557032"/>
              <a:gd name="connsiteX27280" fmla="*/ 366257 w 4610101"/>
              <a:gd name="connsiteY27280" fmla="*/ 846340 h 6557032"/>
              <a:gd name="connsiteX27281" fmla="*/ 366876 w 4610101"/>
              <a:gd name="connsiteY27281" fmla="*/ 846596 h 6557032"/>
              <a:gd name="connsiteX27282" fmla="*/ 379012 w 4610101"/>
              <a:gd name="connsiteY27282" fmla="*/ 855451 h 6557032"/>
              <a:gd name="connsiteX27283" fmla="*/ 374002 w 4610101"/>
              <a:gd name="connsiteY27283" fmla="*/ 849529 h 6557032"/>
              <a:gd name="connsiteX27284" fmla="*/ 366876 w 4610101"/>
              <a:gd name="connsiteY27284" fmla="*/ 846596 h 6557032"/>
              <a:gd name="connsiteX27285" fmla="*/ 366372 w 4610101"/>
              <a:gd name="connsiteY27285" fmla="*/ 846226 h 6557032"/>
              <a:gd name="connsiteX27286" fmla="*/ 368079 w 4610101"/>
              <a:gd name="connsiteY27286" fmla="*/ 844518 h 6557032"/>
              <a:gd name="connsiteX27287" fmla="*/ 348037 w 4610101"/>
              <a:gd name="connsiteY27287" fmla="*/ 828118 h 6557032"/>
              <a:gd name="connsiteX27288" fmla="*/ 3449376 w 4610101"/>
              <a:gd name="connsiteY27288" fmla="*/ 826296 h 6557032"/>
              <a:gd name="connsiteX27289" fmla="*/ 3456664 w 4610101"/>
              <a:gd name="connsiteY27289" fmla="*/ 833585 h 6557032"/>
              <a:gd name="connsiteX27290" fmla="*/ 3449376 w 4610101"/>
              <a:gd name="connsiteY27290" fmla="*/ 826296 h 6557032"/>
              <a:gd name="connsiteX27291" fmla="*/ 3110451 w 4610101"/>
              <a:gd name="connsiteY27291" fmla="*/ 826296 h 6557032"/>
              <a:gd name="connsiteX27292" fmla="*/ 3114096 w 4610101"/>
              <a:gd name="connsiteY27292" fmla="*/ 835407 h 6557032"/>
              <a:gd name="connsiteX27293" fmla="*/ 3110451 w 4610101"/>
              <a:gd name="connsiteY27293" fmla="*/ 826296 h 6557032"/>
              <a:gd name="connsiteX27294" fmla="*/ 3068541 w 4610101"/>
              <a:gd name="connsiteY27294" fmla="*/ 826296 h 6557032"/>
              <a:gd name="connsiteX27295" fmla="*/ 3064897 w 4610101"/>
              <a:gd name="connsiteY27295" fmla="*/ 840874 h 6557032"/>
              <a:gd name="connsiteX27296" fmla="*/ 3068541 w 4610101"/>
              <a:gd name="connsiteY27296" fmla="*/ 826296 h 6557032"/>
              <a:gd name="connsiteX27297" fmla="*/ 2461757 w 4610101"/>
              <a:gd name="connsiteY27297" fmla="*/ 826296 h 6557032"/>
              <a:gd name="connsiteX27298" fmla="*/ 2463580 w 4610101"/>
              <a:gd name="connsiteY27298" fmla="*/ 842696 h 6557032"/>
              <a:gd name="connsiteX27299" fmla="*/ 2469046 w 4610101"/>
              <a:gd name="connsiteY27299" fmla="*/ 840874 h 6557032"/>
              <a:gd name="connsiteX27300" fmla="*/ 2469046 w 4610101"/>
              <a:gd name="connsiteY27300" fmla="*/ 853629 h 6557032"/>
              <a:gd name="connsiteX27301" fmla="*/ 2481801 w 4610101"/>
              <a:gd name="connsiteY27301" fmla="*/ 842696 h 6557032"/>
              <a:gd name="connsiteX27302" fmla="*/ 2479979 w 4610101"/>
              <a:gd name="connsiteY27302" fmla="*/ 853629 h 6557032"/>
              <a:gd name="connsiteX27303" fmla="*/ 2483624 w 4610101"/>
              <a:gd name="connsiteY27303" fmla="*/ 848162 h 6557032"/>
              <a:gd name="connsiteX27304" fmla="*/ 2483624 w 4610101"/>
              <a:gd name="connsiteY27304" fmla="*/ 857273 h 6557032"/>
              <a:gd name="connsiteX27305" fmla="*/ 2496379 w 4610101"/>
              <a:gd name="connsiteY27305" fmla="*/ 851807 h 6557032"/>
              <a:gd name="connsiteX27306" fmla="*/ 2496379 w 4610101"/>
              <a:gd name="connsiteY27306" fmla="*/ 837229 h 6557032"/>
              <a:gd name="connsiteX27307" fmla="*/ 2485446 w 4610101"/>
              <a:gd name="connsiteY27307" fmla="*/ 828118 h 6557032"/>
              <a:gd name="connsiteX27308" fmla="*/ 2463580 w 4610101"/>
              <a:gd name="connsiteY27308" fmla="*/ 826296 h 6557032"/>
              <a:gd name="connsiteX27309" fmla="*/ 2397981 w 4610101"/>
              <a:gd name="connsiteY27309" fmla="*/ 826296 h 6557032"/>
              <a:gd name="connsiteX27310" fmla="*/ 2401626 w 4610101"/>
              <a:gd name="connsiteY27310" fmla="*/ 840874 h 6557032"/>
              <a:gd name="connsiteX27311" fmla="*/ 2414381 w 4610101"/>
              <a:gd name="connsiteY27311" fmla="*/ 833585 h 6557032"/>
              <a:gd name="connsiteX27312" fmla="*/ 2412559 w 4610101"/>
              <a:gd name="connsiteY27312" fmla="*/ 829941 h 6557032"/>
              <a:gd name="connsiteX27313" fmla="*/ 2410737 w 4610101"/>
              <a:gd name="connsiteY27313" fmla="*/ 831763 h 6557032"/>
              <a:gd name="connsiteX27314" fmla="*/ 2410737 w 4610101"/>
              <a:gd name="connsiteY27314" fmla="*/ 826296 h 6557032"/>
              <a:gd name="connsiteX27315" fmla="*/ 2407092 w 4610101"/>
              <a:gd name="connsiteY27315" fmla="*/ 826296 h 6557032"/>
              <a:gd name="connsiteX27316" fmla="*/ 2397981 w 4610101"/>
              <a:gd name="connsiteY27316" fmla="*/ 826296 h 6557032"/>
              <a:gd name="connsiteX27317" fmla="*/ 1310143 w 4610101"/>
              <a:gd name="connsiteY27317" fmla="*/ 826296 h 6557032"/>
              <a:gd name="connsiteX27318" fmla="*/ 1302855 w 4610101"/>
              <a:gd name="connsiteY27318" fmla="*/ 828118 h 6557032"/>
              <a:gd name="connsiteX27319" fmla="*/ 1308321 w 4610101"/>
              <a:gd name="connsiteY27319" fmla="*/ 829941 h 6557032"/>
              <a:gd name="connsiteX27320" fmla="*/ 1310143 w 4610101"/>
              <a:gd name="connsiteY27320" fmla="*/ 826296 h 6557032"/>
              <a:gd name="connsiteX27321" fmla="*/ 1270056 w 4610101"/>
              <a:gd name="connsiteY27321" fmla="*/ 826296 h 6557032"/>
              <a:gd name="connsiteX27322" fmla="*/ 1262767 w 4610101"/>
              <a:gd name="connsiteY27322" fmla="*/ 835407 h 6557032"/>
              <a:gd name="connsiteX27323" fmla="*/ 1262767 w 4610101"/>
              <a:gd name="connsiteY27323" fmla="*/ 844518 h 6557032"/>
              <a:gd name="connsiteX27324" fmla="*/ 1270056 w 4610101"/>
              <a:gd name="connsiteY27324" fmla="*/ 835407 h 6557032"/>
              <a:gd name="connsiteX27325" fmla="*/ 1270055 w 4610101"/>
              <a:gd name="connsiteY27325" fmla="*/ 838141 h 6557032"/>
              <a:gd name="connsiteX27326" fmla="*/ 1270056 w 4610101"/>
              <a:gd name="connsiteY27326" fmla="*/ 840509 h 6557032"/>
              <a:gd name="connsiteX27327" fmla="*/ 1264589 w 4610101"/>
              <a:gd name="connsiteY27327" fmla="*/ 848162 h 6557032"/>
              <a:gd name="connsiteX27328" fmla="*/ 1279166 w 4610101"/>
              <a:gd name="connsiteY27328" fmla="*/ 848162 h 6557032"/>
              <a:gd name="connsiteX27329" fmla="*/ 1273700 w 4610101"/>
              <a:gd name="connsiteY27329" fmla="*/ 835407 h 6557032"/>
              <a:gd name="connsiteX27330" fmla="*/ 1270388 w 4610101"/>
              <a:gd name="connsiteY27330" fmla="*/ 840044 h 6557032"/>
              <a:gd name="connsiteX27331" fmla="*/ 1273700 w 4610101"/>
              <a:gd name="connsiteY27331" fmla="*/ 831763 h 6557032"/>
              <a:gd name="connsiteX27332" fmla="*/ 1270056 w 4610101"/>
              <a:gd name="connsiteY27332" fmla="*/ 826296 h 6557032"/>
              <a:gd name="connsiteX27333" fmla="*/ 832734 w 4610101"/>
              <a:gd name="connsiteY27333" fmla="*/ 826296 h 6557032"/>
              <a:gd name="connsiteX27334" fmla="*/ 836378 w 4610101"/>
              <a:gd name="connsiteY27334" fmla="*/ 827207 h 6557032"/>
              <a:gd name="connsiteX27335" fmla="*/ 836378 w 4610101"/>
              <a:gd name="connsiteY27335" fmla="*/ 828118 h 6557032"/>
              <a:gd name="connsiteX27336" fmla="*/ 832603 w 4610101"/>
              <a:gd name="connsiteY27336" fmla="*/ 826825 h 6557032"/>
              <a:gd name="connsiteX27337" fmla="*/ 781713 w 4610101"/>
              <a:gd name="connsiteY27337" fmla="*/ 826296 h 6557032"/>
              <a:gd name="connsiteX27338" fmla="*/ 779892 w 4610101"/>
              <a:gd name="connsiteY27338" fmla="*/ 829941 h 6557032"/>
              <a:gd name="connsiteX27339" fmla="*/ 783535 w 4610101"/>
              <a:gd name="connsiteY27339" fmla="*/ 829941 h 6557032"/>
              <a:gd name="connsiteX27340" fmla="*/ 783535 w 4610101"/>
              <a:gd name="connsiteY27340" fmla="*/ 831763 h 6557032"/>
              <a:gd name="connsiteX27341" fmla="*/ 787230 w 4610101"/>
              <a:gd name="connsiteY27341" fmla="*/ 835986 h 6557032"/>
              <a:gd name="connsiteX27342" fmla="*/ 785357 w 4610101"/>
              <a:gd name="connsiteY27342" fmla="*/ 835407 h 6557032"/>
              <a:gd name="connsiteX27343" fmla="*/ 810868 w 4610101"/>
              <a:gd name="connsiteY27343" fmla="*/ 846340 h 6557032"/>
              <a:gd name="connsiteX27344" fmla="*/ 800846 w 4610101"/>
              <a:gd name="connsiteY27344" fmla="*/ 840191 h 6557032"/>
              <a:gd name="connsiteX27345" fmla="*/ 791257 w 4610101"/>
              <a:gd name="connsiteY27345" fmla="*/ 837229 h 6557032"/>
              <a:gd name="connsiteX27346" fmla="*/ 799935 w 4610101"/>
              <a:gd name="connsiteY27346" fmla="*/ 837229 h 6557032"/>
              <a:gd name="connsiteX27347" fmla="*/ 799935 w 4610101"/>
              <a:gd name="connsiteY27347" fmla="*/ 833585 h 6557032"/>
              <a:gd name="connsiteX27348" fmla="*/ 785357 w 4610101"/>
              <a:gd name="connsiteY27348" fmla="*/ 829941 h 6557032"/>
              <a:gd name="connsiteX27349" fmla="*/ 787179 w 4610101"/>
              <a:gd name="connsiteY27349" fmla="*/ 829941 h 6557032"/>
              <a:gd name="connsiteX27350" fmla="*/ 781713 w 4610101"/>
              <a:gd name="connsiteY27350" fmla="*/ 826296 h 6557032"/>
              <a:gd name="connsiteX27351" fmla="*/ 584919 w 4610101"/>
              <a:gd name="connsiteY27351" fmla="*/ 826296 h 6557032"/>
              <a:gd name="connsiteX27352" fmla="*/ 579452 w 4610101"/>
              <a:gd name="connsiteY27352" fmla="*/ 831763 h 6557032"/>
              <a:gd name="connsiteX27353" fmla="*/ 592207 w 4610101"/>
              <a:gd name="connsiteY27353" fmla="*/ 839051 h 6557032"/>
              <a:gd name="connsiteX27354" fmla="*/ 584919 w 4610101"/>
              <a:gd name="connsiteY27354" fmla="*/ 826296 h 6557032"/>
              <a:gd name="connsiteX27355" fmla="*/ 552119 w 4610101"/>
              <a:gd name="connsiteY27355" fmla="*/ 826296 h 6557032"/>
              <a:gd name="connsiteX27356" fmla="*/ 550297 w 4610101"/>
              <a:gd name="connsiteY27356" fmla="*/ 828118 h 6557032"/>
              <a:gd name="connsiteX27357" fmla="*/ 559408 w 4610101"/>
              <a:gd name="connsiteY27357" fmla="*/ 829941 h 6557032"/>
              <a:gd name="connsiteX27358" fmla="*/ 552119 w 4610101"/>
              <a:gd name="connsiteY27358" fmla="*/ 826296 h 6557032"/>
              <a:gd name="connsiteX27359" fmla="*/ 417278 w 4610101"/>
              <a:gd name="connsiteY27359" fmla="*/ 826296 h 6557032"/>
              <a:gd name="connsiteX27360" fmla="*/ 424567 w 4610101"/>
              <a:gd name="connsiteY27360" fmla="*/ 839051 h 6557032"/>
              <a:gd name="connsiteX27361" fmla="*/ 422745 w 4610101"/>
              <a:gd name="connsiteY27361" fmla="*/ 831763 h 6557032"/>
              <a:gd name="connsiteX27362" fmla="*/ 442789 w 4610101"/>
              <a:gd name="connsiteY27362" fmla="*/ 849985 h 6557032"/>
              <a:gd name="connsiteX27363" fmla="*/ 417278 w 4610101"/>
              <a:gd name="connsiteY27363" fmla="*/ 826296 h 6557032"/>
              <a:gd name="connsiteX27364" fmla="*/ 393590 w 4610101"/>
              <a:gd name="connsiteY27364" fmla="*/ 826296 h 6557032"/>
              <a:gd name="connsiteX27365" fmla="*/ 389946 w 4610101"/>
              <a:gd name="connsiteY27365" fmla="*/ 829941 h 6557032"/>
              <a:gd name="connsiteX27366" fmla="*/ 402701 w 4610101"/>
              <a:gd name="connsiteY27366" fmla="*/ 835407 h 6557032"/>
              <a:gd name="connsiteX27367" fmla="*/ 393590 w 4610101"/>
              <a:gd name="connsiteY27367" fmla="*/ 826296 h 6557032"/>
              <a:gd name="connsiteX27368" fmla="*/ 3235271 w 4610101"/>
              <a:gd name="connsiteY27368" fmla="*/ 825841 h 6557032"/>
              <a:gd name="connsiteX27369" fmla="*/ 3221604 w 4610101"/>
              <a:gd name="connsiteY27369" fmla="*/ 826296 h 6557032"/>
              <a:gd name="connsiteX27370" fmla="*/ 3238003 w 4610101"/>
              <a:gd name="connsiteY27370" fmla="*/ 833585 h 6557032"/>
              <a:gd name="connsiteX27371" fmla="*/ 3235271 w 4610101"/>
              <a:gd name="connsiteY27371" fmla="*/ 825841 h 6557032"/>
              <a:gd name="connsiteX27372" fmla="*/ 3212266 w 4610101"/>
              <a:gd name="connsiteY27372" fmla="*/ 825613 h 6557032"/>
              <a:gd name="connsiteX27373" fmla="*/ 3205204 w 4610101"/>
              <a:gd name="connsiteY27373" fmla="*/ 826296 h 6557032"/>
              <a:gd name="connsiteX27374" fmla="*/ 3217960 w 4610101"/>
              <a:gd name="connsiteY27374" fmla="*/ 826296 h 6557032"/>
              <a:gd name="connsiteX27375" fmla="*/ 3212266 w 4610101"/>
              <a:gd name="connsiteY27375" fmla="*/ 825613 h 6557032"/>
              <a:gd name="connsiteX27376" fmla="*/ 3184477 w 4610101"/>
              <a:gd name="connsiteY27376" fmla="*/ 825613 h 6557032"/>
              <a:gd name="connsiteX27377" fmla="*/ 3174227 w 4610101"/>
              <a:gd name="connsiteY27377" fmla="*/ 826296 h 6557032"/>
              <a:gd name="connsiteX27378" fmla="*/ 3190627 w 4610101"/>
              <a:gd name="connsiteY27378" fmla="*/ 826296 h 6557032"/>
              <a:gd name="connsiteX27379" fmla="*/ 3184477 w 4610101"/>
              <a:gd name="connsiteY27379" fmla="*/ 825613 h 6557032"/>
              <a:gd name="connsiteX27380" fmla="*/ 968486 w 4610101"/>
              <a:gd name="connsiteY27380" fmla="*/ 824475 h 6557032"/>
              <a:gd name="connsiteX27381" fmla="*/ 960286 w 4610101"/>
              <a:gd name="connsiteY27381" fmla="*/ 831763 h 6557032"/>
              <a:gd name="connsiteX27382" fmla="*/ 982152 w 4610101"/>
              <a:gd name="connsiteY27382" fmla="*/ 828118 h 6557032"/>
              <a:gd name="connsiteX27383" fmla="*/ 968486 w 4610101"/>
              <a:gd name="connsiteY27383" fmla="*/ 824475 h 6557032"/>
              <a:gd name="connsiteX27384" fmla="*/ 3338223 w 4610101"/>
              <a:gd name="connsiteY27384" fmla="*/ 824474 h 6557032"/>
              <a:gd name="connsiteX27385" fmla="*/ 3340045 w 4610101"/>
              <a:gd name="connsiteY27385" fmla="*/ 831763 h 6557032"/>
              <a:gd name="connsiteX27386" fmla="*/ 3329112 w 4610101"/>
              <a:gd name="connsiteY27386" fmla="*/ 831763 h 6557032"/>
              <a:gd name="connsiteX27387" fmla="*/ 3321824 w 4610101"/>
              <a:gd name="connsiteY27387" fmla="*/ 839051 h 6557032"/>
              <a:gd name="connsiteX27388" fmla="*/ 3325468 w 4610101"/>
              <a:gd name="connsiteY27388" fmla="*/ 846340 h 6557032"/>
              <a:gd name="connsiteX27389" fmla="*/ 3336401 w 4610101"/>
              <a:gd name="connsiteY27389" fmla="*/ 860918 h 6557032"/>
              <a:gd name="connsiteX27390" fmla="*/ 3349156 w 4610101"/>
              <a:gd name="connsiteY27390" fmla="*/ 844518 h 6557032"/>
              <a:gd name="connsiteX27391" fmla="*/ 3350978 w 4610101"/>
              <a:gd name="connsiteY27391" fmla="*/ 855451 h 6557032"/>
              <a:gd name="connsiteX27392" fmla="*/ 3380133 w 4610101"/>
              <a:gd name="connsiteY27392" fmla="*/ 844518 h 6557032"/>
              <a:gd name="connsiteX27393" fmla="*/ 3369200 w 4610101"/>
              <a:gd name="connsiteY27393" fmla="*/ 828118 h 6557032"/>
              <a:gd name="connsiteX27394" fmla="*/ 3338223 w 4610101"/>
              <a:gd name="connsiteY27394" fmla="*/ 824474 h 6557032"/>
              <a:gd name="connsiteX27395" fmla="*/ 1373920 w 4610101"/>
              <a:gd name="connsiteY27395" fmla="*/ 824474 h 6557032"/>
              <a:gd name="connsiteX27396" fmla="*/ 1368453 w 4610101"/>
              <a:gd name="connsiteY27396" fmla="*/ 831763 h 6557032"/>
              <a:gd name="connsiteX27397" fmla="*/ 1372097 w 4610101"/>
              <a:gd name="connsiteY27397" fmla="*/ 826296 h 6557032"/>
              <a:gd name="connsiteX27398" fmla="*/ 1359342 w 4610101"/>
              <a:gd name="connsiteY27398" fmla="*/ 833585 h 6557032"/>
              <a:gd name="connsiteX27399" fmla="*/ 1366632 w 4610101"/>
              <a:gd name="connsiteY27399" fmla="*/ 837229 h 6557032"/>
              <a:gd name="connsiteX27400" fmla="*/ 1370275 w 4610101"/>
              <a:gd name="connsiteY27400" fmla="*/ 831763 h 6557032"/>
              <a:gd name="connsiteX27401" fmla="*/ 1368453 w 4610101"/>
              <a:gd name="connsiteY27401" fmla="*/ 837229 h 6557032"/>
              <a:gd name="connsiteX27402" fmla="*/ 1392141 w 4610101"/>
              <a:gd name="connsiteY27402" fmla="*/ 842696 h 6557032"/>
              <a:gd name="connsiteX27403" fmla="*/ 1396469 w 4610101"/>
              <a:gd name="connsiteY27403" fmla="*/ 834724 h 6557032"/>
              <a:gd name="connsiteX27404" fmla="*/ 1399280 w 4610101"/>
              <a:gd name="connsiteY27404" fmla="*/ 828453 h 6557032"/>
              <a:gd name="connsiteX27405" fmla="*/ 1399313 w 4610101"/>
              <a:gd name="connsiteY27405" fmla="*/ 828460 h 6557032"/>
              <a:gd name="connsiteX27406" fmla="*/ 1396697 w 4610101"/>
              <a:gd name="connsiteY27406" fmla="*/ 836091 h 6557032"/>
              <a:gd name="connsiteX27407" fmla="*/ 1393963 w 4610101"/>
              <a:gd name="connsiteY27407" fmla="*/ 842696 h 6557032"/>
              <a:gd name="connsiteX27408" fmla="*/ 1415829 w 4610101"/>
              <a:gd name="connsiteY27408" fmla="*/ 826296 h 6557032"/>
              <a:gd name="connsiteX27409" fmla="*/ 1406719 w 4610101"/>
              <a:gd name="connsiteY27409" fmla="*/ 829941 h 6557032"/>
              <a:gd name="connsiteX27410" fmla="*/ 1399313 w 4610101"/>
              <a:gd name="connsiteY27410" fmla="*/ 828460 h 6557032"/>
              <a:gd name="connsiteX27411" fmla="*/ 1399430 w 4610101"/>
              <a:gd name="connsiteY27411" fmla="*/ 828118 h 6557032"/>
              <a:gd name="connsiteX27412" fmla="*/ 1399280 w 4610101"/>
              <a:gd name="connsiteY27412" fmla="*/ 828453 h 6557032"/>
              <a:gd name="connsiteX27413" fmla="*/ 1397608 w 4610101"/>
              <a:gd name="connsiteY27413" fmla="*/ 828118 h 6557032"/>
              <a:gd name="connsiteX27414" fmla="*/ 1373920 w 4610101"/>
              <a:gd name="connsiteY27414" fmla="*/ 824474 h 6557032"/>
              <a:gd name="connsiteX27415" fmla="*/ 1313788 w 4610101"/>
              <a:gd name="connsiteY27415" fmla="*/ 824474 h 6557032"/>
              <a:gd name="connsiteX27416" fmla="*/ 1310143 w 4610101"/>
              <a:gd name="connsiteY27416" fmla="*/ 828118 h 6557032"/>
              <a:gd name="connsiteX27417" fmla="*/ 1315610 w 4610101"/>
              <a:gd name="connsiteY27417" fmla="*/ 826296 h 6557032"/>
              <a:gd name="connsiteX27418" fmla="*/ 1315610 w 4610101"/>
              <a:gd name="connsiteY27418" fmla="*/ 829941 h 6557032"/>
              <a:gd name="connsiteX27419" fmla="*/ 1326543 w 4610101"/>
              <a:gd name="connsiteY27419" fmla="*/ 829941 h 6557032"/>
              <a:gd name="connsiteX27420" fmla="*/ 1321077 w 4610101"/>
              <a:gd name="connsiteY27420" fmla="*/ 831763 h 6557032"/>
              <a:gd name="connsiteX27421" fmla="*/ 1326543 w 4610101"/>
              <a:gd name="connsiteY27421" fmla="*/ 833585 h 6557032"/>
              <a:gd name="connsiteX27422" fmla="*/ 1328365 w 4610101"/>
              <a:gd name="connsiteY27422" fmla="*/ 829941 h 6557032"/>
              <a:gd name="connsiteX27423" fmla="*/ 1313788 w 4610101"/>
              <a:gd name="connsiteY27423" fmla="*/ 824474 h 6557032"/>
              <a:gd name="connsiteX27424" fmla="*/ 1126104 w 4610101"/>
              <a:gd name="connsiteY27424" fmla="*/ 824474 h 6557032"/>
              <a:gd name="connsiteX27425" fmla="*/ 1122459 w 4610101"/>
              <a:gd name="connsiteY27425" fmla="*/ 829941 h 6557032"/>
              <a:gd name="connsiteX27426" fmla="*/ 1126104 w 4610101"/>
              <a:gd name="connsiteY27426" fmla="*/ 835407 h 6557032"/>
              <a:gd name="connsiteX27427" fmla="*/ 1137037 w 4610101"/>
              <a:gd name="connsiteY27427" fmla="*/ 831763 h 6557032"/>
              <a:gd name="connsiteX27428" fmla="*/ 1126104 w 4610101"/>
              <a:gd name="connsiteY27428" fmla="*/ 824474 h 6557032"/>
              <a:gd name="connsiteX27429" fmla="*/ 1031351 w 4610101"/>
              <a:gd name="connsiteY27429" fmla="*/ 824474 h 6557032"/>
              <a:gd name="connsiteX27430" fmla="*/ 1031351 w 4610101"/>
              <a:gd name="connsiteY27430" fmla="*/ 829941 h 6557032"/>
              <a:gd name="connsiteX27431" fmla="*/ 1034995 w 4610101"/>
              <a:gd name="connsiteY27431" fmla="*/ 829941 h 6557032"/>
              <a:gd name="connsiteX27432" fmla="*/ 1031351 w 4610101"/>
              <a:gd name="connsiteY27432" fmla="*/ 824474 h 6557032"/>
              <a:gd name="connsiteX27433" fmla="*/ 1014951 w 4610101"/>
              <a:gd name="connsiteY27433" fmla="*/ 824474 h 6557032"/>
              <a:gd name="connsiteX27434" fmla="*/ 1013129 w 4610101"/>
              <a:gd name="connsiteY27434" fmla="*/ 828118 h 6557032"/>
              <a:gd name="connsiteX27435" fmla="*/ 1014951 w 4610101"/>
              <a:gd name="connsiteY27435" fmla="*/ 824474 h 6557032"/>
              <a:gd name="connsiteX27436" fmla="*/ 1009485 w 4610101"/>
              <a:gd name="connsiteY27436" fmla="*/ 824474 h 6557032"/>
              <a:gd name="connsiteX27437" fmla="*/ 996729 w 4610101"/>
              <a:gd name="connsiteY27437" fmla="*/ 833585 h 6557032"/>
              <a:gd name="connsiteX27438" fmla="*/ 1009485 w 4610101"/>
              <a:gd name="connsiteY27438" fmla="*/ 824474 h 6557032"/>
              <a:gd name="connsiteX27439" fmla="*/ 994907 w 4610101"/>
              <a:gd name="connsiteY27439" fmla="*/ 824474 h 6557032"/>
              <a:gd name="connsiteX27440" fmla="*/ 994907 w 4610101"/>
              <a:gd name="connsiteY27440" fmla="*/ 829941 h 6557032"/>
              <a:gd name="connsiteX27441" fmla="*/ 996729 w 4610101"/>
              <a:gd name="connsiteY27441" fmla="*/ 826296 h 6557032"/>
              <a:gd name="connsiteX27442" fmla="*/ 994907 w 4610101"/>
              <a:gd name="connsiteY27442" fmla="*/ 824474 h 6557032"/>
              <a:gd name="connsiteX27443" fmla="*/ 836378 w 4610101"/>
              <a:gd name="connsiteY27443" fmla="*/ 824474 h 6557032"/>
              <a:gd name="connsiteX27444" fmla="*/ 830228 w 4610101"/>
              <a:gd name="connsiteY27444" fmla="*/ 826012 h 6557032"/>
              <a:gd name="connsiteX27445" fmla="*/ 832603 w 4610101"/>
              <a:gd name="connsiteY27445" fmla="*/ 826825 h 6557032"/>
              <a:gd name="connsiteX27446" fmla="*/ 830912 w 4610101"/>
              <a:gd name="connsiteY27446" fmla="*/ 833585 h 6557032"/>
              <a:gd name="connsiteX27447" fmla="*/ 840022 w 4610101"/>
              <a:gd name="connsiteY27447" fmla="*/ 828118 h 6557032"/>
              <a:gd name="connsiteX27448" fmla="*/ 836378 w 4610101"/>
              <a:gd name="connsiteY27448" fmla="*/ 827207 h 6557032"/>
              <a:gd name="connsiteX27449" fmla="*/ 829089 w 4610101"/>
              <a:gd name="connsiteY27449" fmla="*/ 824474 h 6557032"/>
              <a:gd name="connsiteX27450" fmla="*/ 821801 w 4610101"/>
              <a:gd name="connsiteY27450" fmla="*/ 826296 h 6557032"/>
              <a:gd name="connsiteX27451" fmla="*/ 821801 w 4610101"/>
              <a:gd name="connsiteY27451" fmla="*/ 829941 h 6557032"/>
              <a:gd name="connsiteX27452" fmla="*/ 829089 w 4610101"/>
              <a:gd name="connsiteY27452" fmla="*/ 824474 h 6557032"/>
              <a:gd name="connsiteX27453" fmla="*/ 758025 w 4610101"/>
              <a:gd name="connsiteY27453" fmla="*/ 824474 h 6557032"/>
              <a:gd name="connsiteX27454" fmla="*/ 756203 w 4610101"/>
              <a:gd name="connsiteY27454" fmla="*/ 828118 h 6557032"/>
              <a:gd name="connsiteX27455" fmla="*/ 758025 w 4610101"/>
              <a:gd name="connsiteY27455" fmla="*/ 824474 h 6557032"/>
              <a:gd name="connsiteX27456" fmla="*/ 752558 w 4610101"/>
              <a:gd name="connsiteY27456" fmla="*/ 824474 h 6557032"/>
              <a:gd name="connsiteX27457" fmla="*/ 748914 w 4610101"/>
              <a:gd name="connsiteY27457" fmla="*/ 828118 h 6557032"/>
              <a:gd name="connsiteX27458" fmla="*/ 756203 w 4610101"/>
              <a:gd name="connsiteY27458" fmla="*/ 829941 h 6557032"/>
              <a:gd name="connsiteX27459" fmla="*/ 752558 w 4610101"/>
              <a:gd name="connsiteY27459" fmla="*/ 824474 h 6557032"/>
              <a:gd name="connsiteX27460" fmla="*/ 699715 w 4610101"/>
              <a:gd name="connsiteY27460" fmla="*/ 824474 h 6557032"/>
              <a:gd name="connsiteX27461" fmla="*/ 701537 w 4610101"/>
              <a:gd name="connsiteY27461" fmla="*/ 831763 h 6557032"/>
              <a:gd name="connsiteX27462" fmla="*/ 705182 w 4610101"/>
              <a:gd name="connsiteY27462" fmla="*/ 826296 h 6557032"/>
              <a:gd name="connsiteX27463" fmla="*/ 699715 w 4610101"/>
              <a:gd name="connsiteY27463" fmla="*/ 824474 h 6557032"/>
              <a:gd name="connsiteX27464" fmla="*/ 586741 w 4610101"/>
              <a:gd name="connsiteY27464" fmla="*/ 824474 h 6557032"/>
              <a:gd name="connsiteX27465" fmla="*/ 595852 w 4610101"/>
              <a:gd name="connsiteY27465" fmla="*/ 835407 h 6557032"/>
              <a:gd name="connsiteX27466" fmla="*/ 586741 w 4610101"/>
              <a:gd name="connsiteY27466" fmla="*/ 824474 h 6557032"/>
              <a:gd name="connsiteX27467" fmla="*/ 266038 w 4610101"/>
              <a:gd name="connsiteY27467" fmla="*/ 824474 h 6557032"/>
              <a:gd name="connsiteX27468" fmla="*/ 269682 w 4610101"/>
              <a:gd name="connsiteY27468" fmla="*/ 828118 h 6557032"/>
              <a:gd name="connsiteX27469" fmla="*/ 266038 w 4610101"/>
              <a:gd name="connsiteY27469" fmla="*/ 824474 h 6557032"/>
              <a:gd name="connsiteX27470" fmla="*/ 3046675 w 4610101"/>
              <a:gd name="connsiteY27470" fmla="*/ 822652 h 6557032"/>
              <a:gd name="connsiteX27471" fmla="*/ 3044853 w 4610101"/>
              <a:gd name="connsiteY27471" fmla="*/ 839051 h 6557032"/>
              <a:gd name="connsiteX27472" fmla="*/ 3046675 w 4610101"/>
              <a:gd name="connsiteY27472" fmla="*/ 822652 h 6557032"/>
              <a:gd name="connsiteX27473" fmla="*/ 954819 w 4610101"/>
              <a:gd name="connsiteY27473" fmla="*/ 822652 h 6557032"/>
              <a:gd name="connsiteX27474" fmla="*/ 951175 w 4610101"/>
              <a:gd name="connsiteY27474" fmla="*/ 826296 h 6557032"/>
              <a:gd name="connsiteX27475" fmla="*/ 952997 w 4610101"/>
              <a:gd name="connsiteY27475" fmla="*/ 828118 h 6557032"/>
              <a:gd name="connsiteX27476" fmla="*/ 954819 w 4610101"/>
              <a:gd name="connsiteY27476" fmla="*/ 822652 h 6557032"/>
              <a:gd name="connsiteX27477" fmla="*/ 767136 w 4610101"/>
              <a:gd name="connsiteY27477" fmla="*/ 822652 h 6557032"/>
              <a:gd name="connsiteX27478" fmla="*/ 759848 w 4610101"/>
              <a:gd name="connsiteY27478" fmla="*/ 839051 h 6557032"/>
              <a:gd name="connsiteX27479" fmla="*/ 779892 w 4610101"/>
              <a:gd name="connsiteY27479" fmla="*/ 842696 h 6557032"/>
              <a:gd name="connsiteX27480" fmla="*/ 767136 w 4610101"/>
              <a:gd name="connsiteY27480" fmla="*/ 822652 h 6557032"/>
              <a:gd name="connsiteX27481" fmla="*/ 594030 w 4610101"/>
              <a:gd name="connsiteY27481" fmla="*/ 822652 h 6557032"/>
              <a:gd name="connsiteX27482" fmla="*/ 597673 w 4610101"/>
              <a:gd name="connsiteY27482" fmla="*/ 826296 h 6557032"/>
              <a:gd name="connsiteX27483" fmla="*/ 594030 w 4610101"/>
              <a:gd name="connsiteY27483" fmla="*/ 822652 h 6557032"/>
              <a:gd name="connsiteX27484" fmla="*/ 273327 w 4610101"/>
              <a:gd name="connsiteY27484" fmla="*/ 822652 h 6557032"/>
              <a:gd name="connsiteX27485" fmla="*/ 278810 w 4610101"/>
              <a:gd name="connsiteY27485" fmla="*/ 829416 h 6557032"/>
              <a:gd name="connsiteX27486" fmla="*/ 278793 w 4610101"/>
              <a:gd name="connsiteY27486" fmla="*/ 829941 h 6557032"/>
              <a:gd name="connsiteX27487" fmla="*/ 273327 w 4610101"/>
              <a:gd name="connsiteY27487" fmla="*/ 822652 h 6557032"/>
              <a:gd name="connsiteX27488" fmla="*/ 231416 w 4610101"/>
              <a:gd name="connsiteY27488" fmla="*/ 822652 h 6557032"/>
              <a:gd name="connsiteX27489" fmla="*/ 238705 w 4610101"/>
              <a:gd name="connsiteY27489" fmla="*/ 829941 h 6557032"/>
              <a:gd name="connsiteX27490" fmla="*/ 231416 w 4610101"/>
              <a:gd name="connsiteY27490" fmla="*/ 822652 h 6557032"/>
              <a:gd name="connsiteX27491" fmla="*/ 1429193 w 4610101"/>
              <a:gd name="connsiteY27491" fmla="*/ 822456 h 6557032"/>
              <a:gd name="connsiteX27492" fmla="*/ 1435241 w 4610101"/>
              <a:gd name="connsiteY27492" fmla="*/ 823701 h 6557032"/>
              <a:gd name="connsiteX27493" fmla="*/ 1433596 w 4610101"/>
              <a:gd name="connsiteY27493" fmla="*/ 824474 h 6557032"/>
              <a:gd name="connsiteX27494" fmla="*/ 1428585 w 4610101"/>
              <a:gd name="connsiteY27494" fmla="*/ 822652 h 6557032"/>
              <a:gd name="connsiteX27495" fmla="*/ 1214231 w 4610101"/>
              <a:gd name="connsiteY27495" fmla="*/ 821658 h 6557032"/>
              <a:gd name="connsiteX27496" fmla="*/ 1213568 w 4610101"/>
              <a:gd name="connsiteY27496" fmla="*/ 822652 h 6557032"/>
              <a:gd name="connsiteX27497" fmla="*/ 1213462 w 4610101"/>
              <a:gd name="connsiteY27497" fmla="*/ 822177 h 6557032"/>
              <a:gd name="connsiteX27498" fmla="*/ 536533 w 4610101"/>
              <a:gd name="connsiteY27498" fmla="*/ 821112 h 6557032"/>
              <a:gd name="connsiteX27499" fmla="*/ 536630 w 4610101"/>
              <a:gd name="connsiteY27499" fmla="*/ 821285 h 6557032"/>
              <a:gd name="connsiteX27500" fmla="*/ 536643 w 4610101"/>
              <a:gd name="connsiteY27500" fmla="*/ 821477 h 6557032"/>
              <a:gd name="connsiteX27501" fmla="*/ 3587118 w 4610101"/>
              <a:gd name="connsiteY27501" fmla="*/ 820856 h 6557032"/>
              <a:gd name="connsiteX27502" fmla="*/ 3589228 w 4610101"/>
              <a:gd name="connsiteY27502" fmla="*/ 821058 h 6557032"/>
              <a:gd name="connsiteX27503" fmla="*/ 3589609 w 4610101"/>
              <a:gd name="connsiteY27503" fmla="*/ 821239 h 6557032"/>
              <a:gd name="connsiteX27504" fmla="*/ 2379760 w 4610101"/>
              <a:gd name="connsiteY27504" fmla="*/ 820830 h 6557032"/>
              <a:gd name="connsiteX27505" fmla="*/ 2394337 w 4610101"/>
              <a:gd name="connsiteY27505" fmla="*/ 839051 h 6557032"/>
              <a:gd name="connsiteX27506" fmla="*/ 2390693 w 4610101"/>
              <a:gd name="connsiteY27506" fmla="*/ 824474 h 6557032"/>
              <a:gd name="connsiteX27507" fmla="*/ 2388871 w 4610101"/>
              <a:gd name="connsiteY27507" fmla="*/ 824474 h 6557032"/>
              <a:gd name="connsiteX27508" fmla="*/ 2387048 w 4610101"/>
              <a:gd name="connsiteY27508" fmla="*/ 828118 h 6557032"/>
              <a:gd name="connsiteX27509" fmla="*/ 2379760 w 4610101"/>
              <a:gd name="connsiteY27509" fmla="*/ 820830 h 6557032"/>
              <a:gd name="connsiteX27510" fmla="*/ 2370649 w 4610101"/>
              <a:gd name="connsiteY27510" fmla="*/ 820830 h 6557032"/>
              <a:gd name="connsiteX27511" fmla="*/ 2371965 w 4610101"/>
              <a:gd name="connsiteY27511" fmla="*/ 830042 h 6557032"/>
              <a:gd name="connsiteX27512" fmla="*/ 2370649 w 4610101"/>
              <a:gd name="connsiteY27512" fmla="*/ 831763 h 6557032"/>
              <a:gd name="connsiteX27513" fmla="*/ 2372232 w 4610101"/>
              <a:gd name="connsiteY27513" fmla="*/ 831907 h 6557032"/>
              <a:gd name="connsiteX27514" fmla="*/ 2372471 w 4610101"/>
              <a:gd name="connsiteY27514" fmla="*/ 833585 h 6557032"/>
              <a:gd name="connsiteX27515" fmla="*/ 2365182 w 4610101"/>
              <a:gd name="connsiteY27515" fmla="*/ 831763 h 6557032"/>
              <a:gd name="connsiteX27516" fmla="*/ 2367004 w 4610101"/>
              <a:gd name="connsiteY27516" fmla="*/ 846340 h 6557032"/>
              <a:gd name="connsiteX27517" fmla="*/ 2368827 w 4610101"/>
              <a:gd name="connsiteY27517" fmla="*/ 840874 h 6557032"/>
              <a:gd name="connsiteX27518" fmla="*/ 2370649 w 4610101"/>
              <a:gd name="connsiteY27518" fmla="*/ 841785 h 6557032"/>
              <a:gd name="connsiteX27519" fmla="*/ 2372289 w 4610101"/>
              <a:gd name="connsiteY27519" fmla="*/ 842605 h 6557032"/>
              <a:gd name="connsiteX27520" fmla="*/ 2370649 w 4610101"/>
              <a:gd name="connsiteY27520" fmla="*/ 849985 h 6557032"/>
              <a:gd name="connsiteX27521" fmla="*/ 2372471 w 4610101"/>
              <a:gd name="connsiteY27521" fmla="*/ 842696 h 6557032"/>
              <a:gd name="connsiteX27522" fmla="*/ 2372289 w 4610101"/>
              <a:gd name="connsiteY27522" fmla="*/ 842605 h 6557032"/>
              <a:gd name="connsiteX27523" fmla="*/ 2374293 w 4610101"/>
              <a:gd name="connsiteY27523" fmla="*/ 833585 h 6557032"/>
              <a:gd name="connsiteX27524" fmla="*/ 2373154 w 4610101"/>
              <a:gd name="connsiteY27524" fmla="*/ 831991 h 6557032"/>
              <a:gd name="connsiteX27525" fmla="*/ 2372232 w 4610101"/>
              <a:gd name="connsiteY27525" fmla="*/ 831907 h 6557032"/>
              <a:gd name="connsiteX27526" fmla="*/ 2371965 w 4610101"/>
              <a:gd name="connsiteY27526" fmla="*/ 830042 h 6557032"/>
              <a:gd name="connsiteX27527" fmla="*/ 2373610 w 4610101"/>
              <a:gd name="connsiteY27527" fmla="*/ 827891 h 6557032"/>
              <a:gd name="connsiteX27528" fmla="*/ 2377937 w 4610101"/>
              <a:gd name="connsiteY27528" fmla="*/ 828118 h 6557032"/>
              <a:gd name="connsiteX27529" fmla="*/ 2370649 w 4610101"/>
              <a:gd name="connsiteY27529" fmla="*/ 820830 h 6557032"/>
              <a:gd name="connsiteX27530" fmla="*/ 2146521 w 4610101"/>
              <a:gd name="connsiteY27530" fmla="*/ 820830 h 6557032"/>
              <a:gd name="connsiteX27531" fmla="*/ 2146521 w 4610101"/>
              <a:gd name="connsiteY27531" fmla="*/ 826296 h 6557032"/>
              <a:gd name="connsiteX27532" fmla="*/ 2150166 w 4610101"/>
              <a:gd name="connsiteY27532" fmla="*/ 826296 h 6557032"/>
              <a:gd name="connsiteX27533" fmla="*/ 2151988 w 4610101"/>
              <a:gd name="connsiteY27533" fmla="*/ 824474 h 6557032"/>
              <a:gd name="connsiteX27534" fmla="*/ 1333832 w 4610101"/>
              <a:gd name="connsiteY27534" fmla="*/ 820830 h 6557032"/>
              <a:gd name="connsiteX27535" fmla="*/ 1330188 w 4610101"/>
              <a:gd name="connsiteY27535" fmla="*/ 824474 h 6557032"/>
              <a:gd name="connsiteX27536" fmla="*/ 1333832 w 4610101"/>
              <a:gd name="connsiteY27536" fmla="*/ 826296 h 6557032"/>
              <a:gd name="connsiteX27537" fmla="*/ 1333832 w 4610101"/>
              <a:gd name="connsiteY27537" fmla="*/ 820830 h 6557032"/>
              <a:gd name="connsiteX27538" fmla="*/ 1262767 w 4610101"/>
              <a:gd name="connsiteY27538" fmla="*/ 820830 h 6557032"/>
              <a:gd name="connsiteX27539" fmla="*/ 1260945 w 4610101"/>
              <a:gd name="connsiteY27539" fmla="*/ 828118 h 6557032"/>
              <a:gd name="connsiteX27540" fmla="*/ 1262767 w 4610101"/>
              <a:gd name="connsiteY27540" fmla="*/ 829941 h 6557032"/>
              <a:gd name="connsiteX27541" fmla="*/ 1260945 w 4610101"/>
              <a:gd name="connsiteY27541" fmla="*/ 831763 h 6557032"/>
              <a:gd name="connsiteX27542" fmla="*/ 1262767 w 4610101"/>
              <a:gd name="connsiteY27542" fmla="*/ 820830 h 6557032"/>
              <a:gd name="connsiteX27543" fmla="*/ 1211747 w 4610101"/>
              <a:gd name="connsiteY27543" fmla="*/ 820830 h 6557032"/>
              <a:gd name="connsiteX27544" fmla="*/ 1164370 w 4610101"/>
              <a:gd name="connsiteY27544" fmla="*/ 833585 h 6557032"/>
              <a:gd name="connsiteX27545" fmla="*/ 1200814 w 4610101"/>
              <a:gd name="connsiteY27545" fmla="*/ 833585 h 6557032"/>
              <a:gd name="connsiteX27546" fmla="*/ 1211747 w 4610101"/>
              <a:gd name="connsiteY27546" fmla="*/ 820830 h 6557032"/>
              <a:gd name="connsiteX27547" fmla="*/ 1106060 w 4610101"/>
              <a:gd name="connsiteY27547" fmla="*/ 820830 h 6557032"/>
              <a:gd name="connsiteX27548" fmla="*/ 1102416 w 4610101"/>
              <a:gd name="connsiteY27548" fmla="*/ 822652 h 6557032"/>
              <a:gd name="connsiteX27549" fmla="*/ 1104238 w 4610101"/>
              <a:gd name="connsiteY27549" fmla="*/ 822652 h 6557032"/>
              <a:gd name="connsiteX27550" fmla="*/ 1098771 w 4610101"/>
              <a:gd name="connsiteY27550" fmla="*/ 824474 h 6557032"/>
              <a:gd name="connsiteX27551" fmla="*/ 1095127 w 4610101"/>
              <a:gd name="connsiteY27551" fmla="*/ 829941 h 6557032"/>
              <a:gd name="connsiteX27552" fmla="*/ 1115171 w 4610101"/>
              <a:gd name="connsiteY27552" fmla="*/ 820830 h 6557032"/>
              <a:gd name="connsiteX27553" fmla="*/ 1106060 w 4610101"/>
              <a:gd name="connsiteY27553" fmla="*/ 820830 h 6557032"/>
              <a:gd name="connsiteX27554" fmla="*/ 1040462 w 4610101"/>
              <a:gd name="connsiteY27554" fmla="*/ 820830 h 6557032"/>
              <a:gd name="connsiteX27555" fmla="*/ 1033173 w 4610101"/>
              <a:gd name="connsiteY27555" fmla="*/ 822652 h 6557032"/>
              <a:gd name="connsiteX27556" fmla="*/ 1036818 w 4610101"/>
              <a:gd name="connsiteY27556" fmla="*/ 826296 h 6557032"/>
              <a:gd name="connsiteX27557" fmla="*/ 1040462 w 4610101"/>
              <a:gd name="connsiteY27557" fmla="*/ 820830 h 6557032"/>
              <a:gd name="connsiteX27558" fmla="*/ 871000 w 4610101"/>
              <a:gd name="connsiteY27558" fmla="*/ 820830 h 6557032"/>
              <a:gd name="connsiteX27559" fmla="*/ 876466 w 4610101"/>
              <a:gd name="connsiteY27559" fmla="*/ 826296 h 6557032"/>
              <a:gd name="connsiteX27560" fmla="*/ 876466 w 4610101"/>
              <a:gd name="connsiteY27560" fmla="*/ 822652 h 6557032"/>
              <a:gd name="connsiteX27561" fmla="*/ 871000 w 4610101"/>
              <a:gd name="connsiteY27561" fmla="*/ 820830 h 6557032"/>
              <a:gd name="connsiteX27562" fmla="*/ 856422 w 4610101"/>
              <a:gd name="connsiteY27562" fmla="*/ 820830 h 6557032"/>
              <a:gd name="connsiteX27563" fmla="*/ 860066 w 4610101"/>
              <a:gd name="connsiteY27563" fmla="*/ 826296 h 6557032"/>
              <a:gd name="connsiteX27564" fmla="*/ 860066 w 4610101"/>
              <a:gd name="connsiteY27564" fmla="*/ 820830 h 6557032"/>
              <a:gd name="connsiteX27565" fmla="*/ 856422 w 4610101"/>
              <a:gd name="connsiteY27565" fmla="*/ 820830 h 6557032"/>
              <a:gd name="connsiteX27566" fmla="*/ 849133 w 4610101"/>
              <a:gd name="connsiteY27566" fmla="*/ 820830 h 6557032"/>
              <a:gd name="connsiteX27567" fmla="*/ 845489 w 4610101"/>
              <a:gd name="connsiteY27567" fmla="*/ 824474 h 6557032"/>
              <a:gd name="connsiteX27568" fmla="*/ 849133 w 4610101"/>
              <a:gd name="connsiteY27568" fmla="*/ 820830 h 6557032"/>
              <a:gd name="connsiteX27569" fmla="*/ 313414 w 4610101"/>
              <a:gd name="connsiteY27569" fmla="*/ 820830 h 6557032"/>
              <a:gd name="connsiteX27570" fmla="*/ 324347 w 4610101"/>
              <a:gd name="connsiteY27570" fmla="*/ 828118 h 6557032"/>
              <a:gd name="connsiteX27571" fmla="*/ 313414 w 4610101"/>
              <a:gd name="connsiteY27571" fmla="*/ 820830 h 6557032"/>
              <a:gd name="connsiteX27572" fmla="*/ 1435646 w 4610101"/>
              <a:gd name="connsiteY27572" fmla="*/ 820375 h 6557032"/>
              <a:gd name="connsiteX27573" fmla="*/ 1429193 w 4610101"/>
              <a:gd name="connsiteY27573" fmla="*/ 822456 h 6557032"/>
              <a:gd name="connsiteX27574" fmla="*/ 1421296 w 4610101"/>
              <a:gd name="connsiteY27574" fmla="*/ 820830 h 6557032"/>
              <a:gd name="connsiteX27575" fmla="*/ 1404896 w 4610101"/>
              <a:gd name="connsiteY27575" fmla="*/ 840874 h 6557032"/>
              <a:gd name="connsiteX27576" fmla="*/ 1404896 w 4610101"/>
              <a:gd name="connsiteY27576" fmla="*/ 844518 h 6557032"/>
              <a:gd name="connsiteX27577" fmla="*/ 1403074 w 4610101"/>
              <a:gd name="connsiteY27577" fmla="*/ 842696 h 6557032"/>
              <a:gd name="connsiteX27578" fmla="*/ 1399430 w 4610101"/>
              <a:gd name="connsiteY27578" fmla="*/ 844518 h 6557032"/>
              <a:gd name="connsiteX27579" fmla="*/ 1403074 w 4610101"/>
              <a:gd name="connsiteY27579" fmla="*/ 846340 h 6557032"/>
              <a:gd name="connsiteX27580" fmla="*/ 1401252 w 4610101"/>
              <a:gd name="connsiteY27580" fmla="*/ 848162 h 6557032"/>
              <a:gd name="connsiteX27581" fmla="*/ 1415235 w 4610101"/>
              <a:gd name="connsiteY27581" fmla="*/ 847070 h 6557032"/>
              <a:gd name="connsiteX27582" fmla="*/ 1414007 w 4610101"/>
              <a:gd name="connsiteY27582" fmla="*/ 848162 h 6557032"/>
              <a:gd name="connsiteX27583" fmla="*/ 1415829 w 4610101"/>
              <a:gd name="connsiteY27583" fmla="*/ 849985 h 6557032"/>
              <a:gd name="connsiteX27584" fmla="*/ 1409452 w 4610101"/>
              <a:gd name="connsiteY27584" fmla="*/ 851580 h 6557032"/>
              <a:gd name="connsiteX27585" fmla="*/ 1403974 w 4610101"/>
              <a:gd name="connsiteY27585" fmla="*/ 851775 h 6557032"/>
              <a:gd name="connsiteX27586" fmla="*/ 1397608 w 4610101"/>
              <a:gd name="connsiteY27586" fmla="*/ 846340 h 6557032"/>
              <a:gd name="connsiteX27587" fmla="*/ 1372097 w 4610101"/>
              <a:gd name="connsiteY27587" fmla="*/ 840874 h 6557032"/>
              <a:gd name="connsiteX27588" fmla="*/ 1368453 w 4610101"/>
              <a:gd name="connsiteY27588" fmla="*/ 844518 h 6557032"/>
              <a:gd name="connsiteX27589" fmla="*/ 1390319 w 4610101"/>
              <a:gd name="connsiteY27589" fmla="*/ 859095 h 6557032"/>
              <a:gd name="connsiteX27590" fmla="*/ 1419474 w 4610101"/>
              <a:gd name="connsiteY27590" fmla="*/ 860918 h 6557032"/>
              <a:gd name="connsiteX27591" fmla="*/ 1443162 w 4610101"/>
              <a:gd name="connsiteY27591" fmla="*/ 849985 h 6557032"/>
              <a:gd name="connsiteX27592" fmla="*/ 1446806 w 4610101"/>
              <a:gd name="connsiteY27592" fmla="*/ 849985 h 6557032"/>
              <a:gd name="connsiteX27593" fmla="*/ 1450451 w 4610101"/>
              <a:gd name="connsiteY27593" fmla="*/ 844518 h 6557032"/>
              <a:gd name="connsiteX27594" fmla="*/ 1452273 w 4610101"/>
              <a:gd name="connsiteY27594" fmla="*/ 848162 h 6557032"/>
              <a:gd name="connsiteX27595" fmla="*/ 1446806 w 4610101"/>
              <a:gd name="connsiteY27595" fmla="*/ 831763 h 6557032"/>
              <a:gd name="connsiteX27596" fmla="*/ 1454095 w 4610101"/>
              <a:gd name="connsiteY27596" fmla="*/ 846340 h 6557032"/>
              <a:gd name="connsiteX27597" fmla="*/ 1470495 w 4610101"/>
              <a:gd name="connsiteY27597" fmla="*/ 820830 h 6557032"/>
              <a:gd name="connsiteX27598" fmla="*/ 1444528 w 4610101"/>
              <a:gd name="connsiteY27598" fmla="*/ 825613 h 6557032"/>
              <a:gd name="connsiteX27599" fmla="*/ 1435241 w 4610101"/>
              <a:gd name="connsiteY27599" fmla="*/ 823701 h 6557032"/>
              <a:gd name="connsiteX27600" fmla="*/ 1441340 w 4610101"/>
              <a:gd name="connsiteY27600" fmla="*/ 820830 h 6557032"/>
              <a:gd name="connsiteX27601" fmla="*/ 1435646 w 4610101"/>
              <a:gd name="connsiteY27601" fmla="*/ 820375 h 6557032"/>
              <a:gd name="connsiteX27602" fmla="*/ 3529551 w 4610101"/>
              <a:gd name="connsiteY27602" fmla="*/ 819528 h 6557032"/>
              <a:gd name="connsiteX27603" fmla="*/ 3534115 w 4610101"/>
              <a:gd name="connsiteY27603" fmla="*/ 819746 h 6557032"/>
              <a:gd name="connsiteX27604" fmla="*/ 3533652 w 4610101"/>
              <a:gd name="connsiteY27604" fmla="*/ 821058 h 6557032"/>
              <a:gd name="connsiteX27605" fmla="*/ 3529551 w 4610101"/>
              <a:gd name="connsiteY27605" fmla="*/ 820830 h 6557032"/>
              <a:gd name="connsiteX27606" fmla="*/ 1144326 w 4610101"/>
              <a:gd name="connsiteY27606" fmla="*/ 819008 h 6557032"/>
              <a:gd name="connsiteX27607" fmla="*/ 1144326 w 4610101"/>
              <a:gd name="connsiteY27607" fmla="*/ 822652 h 6557032"/>
              <a:gd name="connsiteX27608" fmla="*/ 1147970 w 4610101"/>
              <a:gd name="connsiteY27608" fmla="*/ 820830 h 6557032"/>
              <a:gd name="connsiteX27609" fmla="*/ 1144326 w 4610101"/>
              <a:gd name="connsiteY27609" fmla="*/ 819008 h 6557032"/>
              <a:gd name="connsiteX27610" fmla="*/ 515676 w 4610101"/>
              <a:gd name="connsiteY27610" fmla="*/ 819008 h 6557032"/>
              <a:gd name="connsiteX27611" fmla="*/ 515676 w 4610101"/>
              <a:gd name="connsiteY27611" fmla="*/ 822652 h 6557032"/>
              <a:gd name="connsiteX27612" fmla="*/ 515676 w 4610101"/>
              <a:gd name="connsiteY27612" fmla="*/ 819008 h 6557032"/>
              <a:gd name="connsiteX27613" fmla="*/ 1293744 w 4610101"/>
              <a:gd name="connsiteY27613" fmla="*/ 818780 h 6557032"/>
              <a:gd name="connsiteX27614" fmla="*/ 1280989 w 4610101"/>
              <a:gd name="connsiteY27614" fmla="*/ 819008 h 6557032"/>
              <a:gd name="connsiteX27615" fmla="*/ 1306499 w 4610101"/>
              <a:gd name="connsiteY27615" fmla="*/ 822652 h 6557032"/>
              <a:gd name="connsiteX27616" fmla="*/ 1293744 w 4610101"/>
              <a:gd name="connsiteY27616" fmla="*/ 818780 h 6557032"/>
              <a:gd name="connsiteX27617" fmla="*/ 1217213 w 4610101"/>
              <a:gd name="connsiteY27617" fmla="*/ 817185 h 6557032"/>
              <a:gd name="connsiteX27618" fmla="*/ 1212657 w 4610101"/>
              <a:gd name="connsiteY27618" fmla="*/ 818552 h 6557032"/>
              <a:gd name="connsiteX27619" fmla="*/ 1213462 w 4610101"/>
              <a:gd name="connsiteY27619" fmla="*/ 822177 h 6557032"/>
              <a:gd name="connsiteX27620" fmla="*/ 1211747 w 4610101"/>
              <a:gd name="connsiteY27620" fmla="*/ 823335 h 6557032"/>
              <a:gd name="connsiteX27621" fmla="*/ 1202636 w 4610101"/>
              <a:gd name="connsiteY27621" fmla="*/ 833585 h 6557032"/>
              <a:gd name="connsiteX27622" fmla="*/ 1226323 w 4610101"/>
              <a:gd name="connsiteY27622" fmla="*/ 837229 h 6557032"/>
              <a:gd name="connsiteX27623" fmla="*/ 1231790 w 4610101"/>
              <a:gd name="connsiteY27623" fmla="*/ 833585 h 6557032"/>
              <a:gd name="connsiteX27624" fmla="*/ 1228146 w 4610101"/>
              <a:gd name="connsiteY27624" fmla="*/ 826296 h 6557032"/>
              <a:gd name="connsiteX27625" fmla="*/ 1231790 w 4610101"/>
              <a:gd name="connsiteY27625" fmla="*/ 826296 h 6557032"/>
              <a:gd name="connsiteX27626" fmla="*/ 1235434 w 4610101"/>
              <a:gd name="connsiteY27626" fmla="*/ 833585 h 6557032"/>
              <a:gd name="connsiteX27627" fmla="*/ 1240901 w 4610101"/>
              <a:gd name="connsiteY27627" fmla="*/ 828118 h 6557032"/>
              <a:gd name="connsiteX27628" fmla="*/ 1239080 w 4610101"/>
              <a:gd name="connsiteY27628" fmla="*/ 833585 h 6557032"/>
              <a:gd name="connsiteX27629" fmla="*/ 1233612 w 4610101"/>
              <a:gd name="connsiteY27629" fmla="*/ 835407 h 6557032"/>
              <a:gd name="connsiteX27630" fmla="*/ 1231790 w 4610101"/>
              <a:gd name="connsiteY27630" fmla="*/ 837229 h 6557032"/>
              <a:gd name="connsiteX27631" fmla="*/ 1235434 w 4610101"/>
              <a:gd name="connsiteY27631" fmla="*/ 837229 h 6557032"/>
              <a:gd name="connsiteX27632" fmla="*/ 1233612 w 4610101"/>
              <a:gd name="connsiteY27632" fmla="*/ 835407 h 6557032"/>
              <a:gd name="connsiteX27633" fmla="*/ 1242723 w 4610101"/>
              <a:gd name="connsiteY27633" fmla="*/ 839051 h 6557032"/>
              <a:gd name="connsiteX27634" fmla="*/ 1239080 w 4610101"/>
              <a:gd name="connsiteY27634" fmla="*/ 840874 h 6557032"/>
              <a:gd name="connsiteX27635" fmla="*/ 1242723 w 4610101"/>
              <a:gd name="connsiteY27635" fmla="*/ 846340 h 6557032"/>
              <a:gd name="connsiteX27636" fmla="*/ 1246783 w 4610101"/>
              <a:gd name="connsiteY27636" fmla="*/ 844310 h 6557032"/>
              <a:gd name="connsiteX27637" fmla="*/ 1247233 w 4610101"/>
              <a:gd name="connsiteY27637" fmla="*/ 848024 h 6557032"/>
              <a:gd name="connsiteX27638" fmla="*/ 1242723 w 4610101"/>
              <a:gd name="connsiteY27638" fmla="*/ 851807 h 6557032"/>
              <a:gd name="connsiteX27639" fmla="*/ 1247279 w 4610101"/>
              <a:gd name="connsiteY27639" fmla="*/ 848391 h 6557032"/>
              <a:gd name="connsiteX27640" fmla="*/ 1247233 w 4610101"/>
              <a:gd name="connsiteY27640" fmla="*/ 848024 h 6557032"/>
              <a:gd name="connsiteX27641" fmla="*/ 1249784 w 4610101"/>
              <a:gd name="connsiteY27641" fmla="*/ 845885 h 6557032"/>
              <a:gd name="connsiteX27642" fmla="*/ 1250012 w 4610101"/>
              <a:gd name="connsiteY27642" fmla="*/ 842696 h 6557032"/>
              <a:gd name="connsiteX27643" fmla="*/ 1253200 w 4610101"/>
              <a:gd name="connsiteY27643" fmla="*/ 831991 h 6557032"/>
              <a:gd name="connsiteX27644" fmla="*/ 1248941 w 4610101"/>
              <a:gd name="connsiteY27644" fmla="*/ 824054 h 6557032"/>
              <a:gd name="connsiteX27645" fmla="*/ 1250012 w 4610101"/>
              <a:gd name="connsiteY27645" fmla="*/ 824474 h 6557032"/>
              <a:gd name="connsiteX27646" fmla="*/ 1248793 w 4610101"/>
              <a:gd name="connsiteY27646" fmla="*/ 823778 h 6557032"/>
              <a:gd name="connsiteX27647" fmla="*/ 1248189 w 4610101"/>
              <a:gd name="connsiteY27647" fmla="*/ 822652 h 6557032"/>
              <a:gd name="connsiteX27648" fmla="*/ 1248417 w 4610101"/>
              <a:gd name="connsiteY27648" fmla="*/ 823563 h 6557032"/>
              <a:gd name="connsiteX27649" fmla="*/ 1248793 w 4610101"/>
              <a:gd name="connsiteY27649" fmla="*/ 823778 h 6557032"/>
              <a:gd name="connsiteX27650" fmla="*/ 1248941 w 4610101"/>
              <a:gd name="connsiteY27650" fmla="*/ 824054 h 6557032"/>
              <a:gd name="connsiteX27651" fmla="*/ 1237256 w 4610101"/>
              <a:gd name="connsiteY27651" fmla="*/ 819463 h 6557032"/>
              <a:gd name="connsiteX27652" fmla="*/ 1224501 w 4610101"/>
              <a:gd name="connsiteY27652" fmla="*/ 817185 h 6557032"/>
              <a:gd name="connsiteX27653" fmla="*/ 1220858 w 4610101"/>
              <a:gd name="connsiteY27653" fmla="*/ 817185 h 6557032"/>
              <a:gd name="connsiteX27654" fmla="*/ 1214231 w 4610101"/>
              <a:gd name="connsiteY27654" fmla="*/ 821658 h 6557032"/>
              <a:gd name="connsiteX27655" fmla="*/ 996729 w 4610101"/>
              <a:gd name="connsiteY27655" fmla="*/ 817185 h 6557032"/>
              <a:gd name="connsiteX27656" fmla="*/ 994907 w 4610101"/>
              <a:gd name="connsiteY27656" fmla="*/ 822652 h 6557032"/>
              <a:gd name="connsiteX27657" fmla="*/ 1000374 w 4610101"/>
              <a:gd name="connsiteY27657" fmla="*/ 824474 h 6557032"/>
              <a:gd name="connsiteX27658" fmla="*/ 996729 w 4610101"/>
              <a:gd name="connsiteY27658" fmla="*/ 817185 h 6557032"/>
              <a:gd name="connsiteX27659" fmla="*/ 843667 w 4610101"/>
              <a:gd name="connsiteY27659" fmla="*/ 817185 h 6557032"/>
              <a:gd name="connsiteX27660" fmla="*/ 840022 w 4610101"/>
              <a:gd name="connsiteY27660" fmla="*/ 820830 h 6557032"/>
              <a:gd name="connsiteX27661" fmla="*/ 843667 w 4610101"/>
              <a:gd name="connsiteY27661" fmla="*/ 817185 h 6557032"/>
              <a:gd name="connsiteX27662" fmla="*/ 657805 w 4610101"/>
              <a:gd name="connsiteY27662" fmla="*/ 817185 h 6557032"/>
              <a:gd name="connsiteX27663" fmla="*/ 654161 w 4610101"/>
              <a:gd name="connsiteY27663" fmla="*/ 819008 h 6557032"/>
              <a:gd name="connsiteX27664" fmla="*/ 661449 w 4610101"/>
              <a:gd name="connsiteY27664" fmla="*/ 819008 h 6557032"/>
              <a:gd name="connsiteX27665" fmla="*/ 657805 w 4610101"/>
              <a:gd name="connsiteY27665" fmla="*/ 817185 h 6557032"/>
              <a:gd name="connsiteX27666" fmla="*/ 448256 w 4610101"/>
              <a:gd name="connsiteY27666" fmla="*/ 817185 h 6557032"/>
              <a:gd name="connsiteX27667" fmla="*/ 468299 w 4610101"/>
              <a:gd name="connsiteY27667" fmla="*/ 826296 h 6557032"/>
              <a:gd name="connsiteX27668" fmla="*/ 448256 w 4610101"/>
              <a:gd name="connsiteY27668" fmla="*/ 817185 h 6557032"/>
              <a:gd name="connsiteX27669" fmla="*/ 431856 w 4610101"/>
              <a:gd name="connsiteY27669" fmla="*/ 817185 h 6557032"/>
              <a:gd name="connsiteX27670" fmla="*/ 442789 w 4610101"/>
              <a:gd name="connsiteY27670" fmla="*/ 828118 h 6557032"/>
              <a:gd name="connsiteX27671" fmla="*/ 431856 w 4610101"/>
              <a:gd name="connsiteY27671" fmla="*/ 817185 h 6557032"/>
              <a:gd name="connsiteX27672" fmla="*/ 298837 w 4610101"/>
              <a:gd name="connsiteY27672" fmla="*/ 817185 h 6557032"/>
              <a:gd name="connsiteX27673" fmla="*/ 315236 w 4610101"/>
              <a:gd name="connsiteY27673" fmla="*/ 835407 h 6557032"/>
              <a:gd name="connsiteX27674" fmla="*/ 298837 w 4610101"/>
              <a:gd name="connsiteY27674" fmla="*/ 817185 h 6557032"/>
              <a:gd name="connsiteX27675" fmla="*/ 275149 w 4610101"/>
              <a:gd name="connsiteY27675" fmla="*/ 817185 h 6557032"/>
              <a:gd name="connsiteX27676" fmla="*/ 266038 w 4610101"/>
              <a:gd name="connsiteY27676" fmla="*/ 819008 h 6557032"/>
              <a:gd name="connsiteX27677" fmla="*/ 284259 w 4610101"/>
              <a:gd name="connsiteY27677" fmla="*/ 840874 h 6557032"/>
              <a:gd name="connsiteX27678" fmla="*/ 280159 w 4610101"/>
              <a:gd name="connsiteY27678" fmla="*/ 831080 h 6557032"/>
              <a:gd name="connsiteX27679" fmla="*/ 278810 w 4610101"/>
              <a:gd name="connsiteY27679" fmla="*/ 829416 h 6557032"/>
              <a:gd name="connsiteX27680" fmla="*/ 279021 w 4610101"/>
              <a:gd name="connsiteY27680" fmla="*/ 822880 h 6557032"/>
              <a:gd name="connsiteX27681" fmla="*/ 275149 w 4610101"/>
              <a:gd name="connsiteY27681" fmla="*/ 817185 h 6557032"/>
              <a:gd name="connsiteX27682" fmla="*/ 671321 w 4610101"/>
              <a:gd name="connsiteY27682" fmla="*/ 816814 h 6557032"/>
              <a:gd name="connsiteX27683" fmla="*/ 672383 w 4610101"/>
              <a:gd name="connsiteY27683" fmla="*/ 817185 h 6557032"/>
              <a:gd name="connsiteX27684" fmla="*/ 671644 w 4610101"/>
              <a:gd name="connsiteY27684" fmla="*/ 817924 h 6557032"/>
              <a:gd name="connsiteX27685" fmla="*/ 671244 w 4610101"/>
              <a:gd name="connsiteY27685" fmla="*/ 817186 h 6557032"/>
              <a:gd name="connsiteX27686" fmla="*/ 3489463 w 4610101"/>
              <a:gd name="connsiteY27686" fmla="*/ 815363 h 6557032"/>
              <a:gd name="connsiteX27687" fmla="*/ 3493108 w 4610101"/>
              <a:gd name="connsiteY27687" fmla="*/ 819008 h 6557032"/>
              <a:gd name="connsiteX27688" fmla="*/ 3488601 w 4610101"/>
              <a:gd name="connsiteY27688" fmla="*/ 819204 h 6557032"/>
              <a:gd name="connsiteX27689" fmla="*/ 3488330 w 4610101"/>
              <a:gd name="connsiteY27689" fmla="*/ 818118 h 6557032"/>
              <a:gd name="connsiteX27690" fmla="*/ 3418399 w 4610101"/>
              <a:gd name="connsiteY27690" fmla="*/ 815363 h 6557032"/>
              <a:gd name="connsiteX27691" fmla="*/ 3422043 w 4610101"/>
              <a:gd name="connsiteY27691" fmla="*/ 822652 h 6557032"/>
              <a:gd name="connsiteX27692" fmla="*/ 3423865 w 4610101"/>
              <a:gd name="connsiteY27692" fmla="*/ 815363 h 6557032"/>
              <a:gd name="connsiteX27693" fmla="*/ 3418399 w 4610101"/>
              <a:gd name="connsiteY27693" fmla="*/ 815363 h 6557032"/>
              <a:gd name="connsiteX27694" fmla="*/ 3394710 w 4610101"/>
              <a:gd name="connsiteY27694" fmla="*/ 815363 h 6557032"/>
              <a:gd name="connsiteX27695" fmla="*/ 3411110 w 4610101"/>
              <a:gd name="connsiteY27695" fmla="*/ 820830 h 6557032"/>
              <a:gd name="connsiteX27696" fmla="*/ 3394710 w 4610101"/>
              <a:gd name="connsiteY27696" fmla="*/ 815363 h 6557032"/>
              <a:gd name="connsiteX27697" fmla="*/ 1330188 w 4610101"/>
              <a:gd name="connsiteY27697" fmla="*/ 815363 h 6557032"/>
              <a:gd name="connsiteX27698" fmla="*/ 1319254 w 4610101"/>
              <a:gd name="connsiteY27698" fmla="*/ 819008 h 6557032"/>
              <a:gd name="connsiteX27699" fmla="*/ 1328365 w 4610101"/>
              <a:gd name="connsiteY27699" fmla="*/ 824474 h 6557032"/>
              <a:gd name="connsiteX27700" fmla="*/ 1330188 w 4610101"/>
              <a:gd name="connsiteY27700" fmla="*/ 815363 h 6557032"/>
              <a:gd name="connsiteX27701" fmla="*/ 1262767 w 4610101"/>
              <a:gd name="connsiteY27701" fmla="*/ 815363 h 6557032"/>
              <a:gd name="connsiteX27702" fmla="*/ 1260945 w 4610101"/>
              <a:gd name="connsiteY27702" fmla="*/ 817185 h 6557032"/>
              <a:gd name="connsiteX27703" fmla="*/ 1268233 w 4610101"/>
              <a:gd name="connsiteY27703" fmla="*/ 820830 h 6557032"/>
              <a:gd name="connsiteX27704" fmla="*/ 1262767 w 4610101"/>
              <a:gd name="connsiteY27704" fmla="*/ 815363 h 6557032"/>
              <a:gd name="connsiteX27705" fmla="*/ 1014951 w 4610101"/>
              <a:gd name="connsiteY27705" fmla="*/ 815363 h 6557032"/>
              <a:gd name="connsiteX27706" fmla="*/ 1014951 w 4610101"/>
              <a:gd name="connsiteY27706" fmla="*/ 820830 h 6557032"/>
              <a:gd name="connsiteX27707" fmla="*/ 1020418 w 4610101"/>
              <a:gd name="connsiteY27707" fmla="*/ 822652 h 6557032"/>
              <a:gd name="connsiteX27708" fmla="*/ 1024062 w 4610101"/>
              <a:gd name="connsiteY27708" fmla="*/ 819008 h 6557032"/>
              <a:gd name="connsiteX27709" fmla="*/ 1014951 w 4610101"/>
              <a:gd name="connsiteY27709" fmla="*/ 820830 h 6557032"/>
              <a:gd name="connsiteX27710" fmla="*/ 1016774 w 4610101"/>
              <a:gd name="connsiteY27710" fmla="*/ 819008 h 6557032"/>
              <a:gd name="connsiteX27711" fmla="*/ 1014951 w 4610101"/>
              <a:gd name="connsiteY27711" fmla="*/ 815363 h 6557032"/>
              <a:gd name="connsiteX27712" fmla="*/ 781713 w 4610101"/>
              <a:gd name="connsiteY27712" fmla="*/ 815363 h 6557032"/>
              <a:gd name="connsiteX27713" fmla="*/ 790824 w 4610101"/>
              <a:gd name="connsiteY27713" fmla="*/ 828118 h 6557032"/>
              <a:gd name="connsiteX27714" fmla="*/ 790824 w 4610101"/>
              <a:gd name="connsiteY27714" fmla="*/ 826296 h 6557032"/>
              <a:gd name="connsiteX27715" fmla="*/ 796290 w 4610101"/>
              <a:gd name="connsiteY27715" fmla="*/ 829941 h 6557032"/>
              <a:gd name="connsiteX27716" fmla="*/ 799935 w 4610101"/>
              <a:gd name="connsiteY27716" fmla="*/ 829941 h 6557032"/>
              <a:gd name="connsiteX27717" fmla="*/ 803579 w 4610101"/>
              <a:gd name="connsiteY27717" fmla="*/ 828118 h 6557032"/>
              <a:gd name="connsiteX27718" fmla="*/ 781713 w 4610101"/>
              <a:gd name="connsiteY27718" fmla="*/ 815363 h 6557032"/>
              <a:gd name="connsiteX27719" fmla="*/ 750737 w 4610101"/>
              <a:gd name="connsiteY27719" fmla="*/ 815363 h 6557032"/>
              <a:gd name="connsiteX27720" fmla="*/ 741626 w 4610101"/>
              <a:gd name="connsiteY27720" fmla="*/ 822652 h 6557032"/>
              <a:gd name="connsiteX27721" fmla="*/ 747092 w 4610101"/>
              <a:gd name="connsiteY27721" fmla="*/ 826296 h 6557032"/>
              <a:gd name="connsiteX27722" fmla="*/ 750737 w 4610101"/>
              <a:gd name="connsiteY27722" fmla="*/ 819008 h 6557032"/>
              <a:gd name="connsiteX27723" fmla="*/ 750737 w 4610101"/>
              <a:gd name="connsiteY27723" fmla="*/ 815363 h 6557032"/>
              <a:gd name="connsiteX27724" fmla="*/ 564874 w 4610101"/>
              <a:gd name="connsiteY27724" fmla="*/ 815363 h 6557032"/>
              <a:gd name="connsiteX27725" fmla="*/ 568519 w 4610101"/>
              <a:gd name="connsiteY27725" fmla="*/ 824474 h 6557032"/>
              <a:gd name="connsiteX27726" fmla="*/ 566697 w 4610101"/>
              <a:gd name="connsiteY27726" fmla="*/ 815363 h 6557032"/>
              <a:gd name="connsiteX27727" fmla="*/ 564874 w 4610101"/>
              <a:gd name="connsiteY27727" fmla="*/ 815363 h 6557032"/>
              <a:gd name="connsiteX27728" fmla="*/ 333458 w 4610101"/>
              <a:gd name="connsiteY27728" fmla="*/ 815363 h 6557032"/>
              <a:gd name="connsiteX27729" fmla="*/ 335280 w 4610101"/>
              <a:gd name="connsiteY27729" fmla="*/ 820830 h 6557032"/>
              <a:gd name="connsiteX27730" fmla="*/ 333458 w 4610101"/>
              <a:gd name="connsiteY27730" fmla="*/ 815363 h 6557032"/>
              <a:gd name="connsiteX27731" fmla="*/ 3329568 w 4610101"/>
              <a:gd name="connsiteY27731" fmla="*/ 814680 h 6557032"/>
              <a:gd name="connsiteX27732" fmla="*/ 3323646 w 4610101"/>
              <a:gd name="connsiteY27732" fmla="*/ 815363 h 6557032"/>
              <a:gd name="connsiteX27733" fmla="*/ 3332756 w 4610101"/>
              <a:gd name="connsiteY27733" fmla="*/ 815363 h 6557032"/>
              <a:gd name="connsiteX27734" fmla="*/ 3329568 w 4610101"/>
              <a:gd name="connsiteY27734" fmla="*/ 814680 h 6557032"/>
              <a:gd name="connsiteX27735" fmla="*/ 1246823 w 4610101"/>
              <a:gd name="connsiteY27735" fmla="*/ 814453 h 6557032"/>
              <a:gd name="connsiteX27736" fmla="*/ 1237256 w 4610101"/>
              <a:gd name="connsiteY27736" fmla="*/ 815363 h 6557032"/>
              <a:gd name="connsiteX27737" fmla="*/ 1253656 w 4610101"/>
              <a:gd name="connsiteY27737" fmla="*/ 819008 h 6557032"/>
              <a:gd name="connsiteX27738" fmla="*/ 1246823 w 4610101"/>
              <a:gd name="connsiteY27738" fmla="*/ 814453 h 6557032"/>
              <a:gd name="connsiteX27739" fmla="*/ 2614820 w 4610101"/>
              <a:gd name="connsiteY27739" fmla="*/ 813541 h 6557032"/>
              <a:gd name="connsiteX27740" fmla="*/ 2614820 w 4610101"/>
              <a:gd name="connsiteY27740" fmla="*/ 824474 h 6557032"/>
              <a:gd name="connsiteX27741" fmla="*/ 2614820 w 4610101"/>
              <a:gd name="connsiteY27741" fmla="*/ 813541 h 6557032"/>
              <a:gd name="connsiteX27742" fmla="*/ 1133393 w 4610101"/>
              <a:gd name="connsiteY27742" fmla="*/ 813541 h 6557032"/>
              <a:gd name="connsiteX27743" fmla="*/ 1127926 w 4610101"/>
              <a:gd name="connsiteY27743" fmla="*/ 817185 h 6557032"/>
              <a:gd name="connsiteX27744" fmla="*/ 1126104 w 4610101"/>
              <a:gd name="connsiteY27744" fmla="*/ 819008 h 6557032"/>
              <a:gd name="connsiteX27745" fmla="*/ 1131570 w 4610101"/>
              <a:gd name="connsiteY27745" fmla="*/ 820830 h 6557032"/>
              <a:gd name="connsiteX27746" fmla="*/ 1140681 w 4610101"/>
              <a:gd name="connsiteY27746" fmla="*/ 826296 h 6557032"/>
              <a:gd name="connsiteX27747" fmla="*/ 1138859 w 4610101"/>
              <a:gd name="connsiteY27747" fmla="*/ 819008 h 6557032"/>
              <a:gd name="connsiteX27748" fmla="*/ 1135215 w 4610101"/>
              <a:gd name="connsiteY27748" fmla="*/ 820830 h 6557032"/>
              <a:gd name="connsiteX27749" fmla="*/ 1131570 w 4610101"/>
              <a:gd name="connsiteY27749" fmla="*/ 817185 h 6557032"/>
              <a:gd name="connsiteX27750" fmla="*/ 1133393 w 4610101"/>
              <a:gd name="connsiteY27750" fmla="*/ 813541 h 6557032"/>
              <a:gd name="connsiteX27751" fmla="*/ 767136 w 4610101"/>
              <a:gd name="connsiteY27751" fmla="*/ 813541 h 6557032"/>
              <a:gd name="connsiteX27752" fmla="*/ 765313 w 4610101"/>
              <a:gd name="connsiteY27752" fmla="*/ 819008 h 6557032"/>
              <a:gd name="connsiteX27753" fmla="*/ 778070 w 4610101"/>
              <a:gd name="connsiteY27753" fmla="*/ 828118 h 6557032"/>
              <a:gd name="connsiteX27754" fmla="*/ 776246 w 4610101"/>
              <a:gd name="connsiteY27754" fmla="*/ 815363 h 6557032"/>
              <a:gd name="connsiteX27755" fmla="*/ 767136 w 4610101"/>
              <a:gd name="connsiteY27755" fmla="*/ 813541 h 6557032"/>
              <a:gd name="connsiteX27756" fmla="*/ 754380 w 4610101"/>
              <a:gd name="connsiteY27756" fmla="*/ 813541 h 6557032"/>
              <a:gd name="connsiteX27757" fmla="*/ 759848 w 4610101"/>
              <a:gd name="connsiteY27757" fmla="*/ 824474 h 6557032"/>
              <a:gd name="connsiteX27758" fmla="*/ 763491 w 4610101"/>
              <a:gd name="connsiteY27758" fmla="*/ 819008 h 6557032"/>
              <a:gd name="connsiteX27759" fmla="*/ 754380 w 4610101"/>
              <a:gd name="connsiteY27759" fmla="*/ 813541 h 6557032"/>
              <a:gd name="connsiteX27760" fmla="*/ 568519 w 4610101"/>
              <a:gd name="connsiteY27760" fmla="*/ 813541 h 6557032"/>
              <a:gd name="connsiteX27761" fmla="*/ 572163 w 4610101"/>
              <a:gd name="connsiteY27761" fmla="*/ 824474 h 6557032"/>
              <a:gd name="connsiteX27762" fmla="*/ 573985 w 4610101"/>
              <a:gd name="connsiteY27762" fmla="*/ 817185 h 6557032"/>
              <a:gd name="connsiteX27763" fmla="*/ 568519 w 4610101"/>
              <a:gd name="connsiteY27763" fmla="*/ 813541 h 6557032"/>
              <a:gd name="connsiteX27764" fmla="*/ 335280 w 4610101"/>
              <a:gd name="connsiteY27764" fmla="*/ 813541 h 6557032"/>
              <a:gd name="connsiteX27765" fmla="*/ 338926 w 4610101"/>
              <a:gd name="connsiteY27765" fmla="*/ 820830 h 6557032"/>
              <a:gd name="connsiteX27766" fmla="*/ 337102 w 4610101"/>
              <a:gd name="connsiteY27766" fmla="*/ 813541 h 6557032"/>
              <a:gd name="connsiteX27767" fmla="*/ 335280 w 4610101"/>
              <a:gd name="connsiteY27767" fmla="*/ 813541 h 6557032"/>
              <a:gd name="connsiteX27768" fmla="*/ 409960 w 4610101"/>
              <a:gd name="connsiteY27768" fmla="*/ 813534 h 6557032"/>
              <a:gd name="connsiteX27769" fmla="*/ 409989 w 4610101"/>
              <a:gd name="connsiteY27769" fmla="*/ 813541 h 6557032"/>
              <a:gd name="connsiteX27770" fmla="*/ 409962 w 4610101"/>
              <a:gd name="connsiteY27770" fmla="*/ 813536 h 6557032"/>
              <a:gd name="connsiteX27771" fmla="*/ 409939 w 4610101"/>
              <a:gd name="connsiteY27771" fmla="*/ 813490 h 6557032"/>
              <a:gd name="connsiteX27772" fmla="*/ 409989 w 4610101"/>
              <a:gd name="connsiteY27772" fmla="*/ 813541 h 6557032"/>
              <a:gd name="connsiteX27773" fmla="*/ 409948 w 4610101"/>
              <a:gd name="connsiteY27773" fmla="*/ 813508 h 6557032"/>
              <a:gd name="connsiteX27774" fmla="*/ 2585665 w 4610101"/>
              <a:gd name="connsiteY27774" fmla="*/ 811719 h 6557032"/>
              <a:gd name="connsiteX27775" fmla="*/ 2587487 w 4610101"/>
              <a:gd name="connsiteY27775" fmla="*/ 819008 h 6557032"/>
              <a:gd name="connsiteX27776" fmla="*/ 2585665 w 4610101"/>
              <a:gd name="connsiteY27776" fmla="*/ 811719 h 6557032"/>
              <a:gd name="connsiteX27777" fmla="*/ 2582021 w 4610101"/>
              <a:gd name="connsiteY27777" fmla="*/ 811719 h 6557032"/>
              <a:gd name="connsiteX27778" fmla="*/ 2574732 w 4610101"/>
              <a:gd name="connsiteY27778" fmla="*/ 817185 h 6557032"/>
              <a:gd name="connsiteX27779" fmla="*/ 2583843 w 4610101"/>
              <a:gd name="connsiteY27779" fmla="*/ 829941 h 6557032"/>
              <a:gd name="connsiteX27780" fmla="*/ 2582021 w 4610101"/>
              <a:gd name="connsiteY27780" fmla="*/ 811719 h 6557032"/>
              <a:gd name="connsiteX27781" fmla="*/ 699715 w 4610101"/>
              <a:gd name="connsiteY27781" fmla="*/ 811719 h 6557032"/>
              <a:gd name="connsiteX27782" fmla="*/ 703359 w 4610101"/>
              <a:gd name="connsiteY27782" fmla="*/ 815363 h 6557032"/>
              <a:gd name="connsiteX27783" fmla="*/ 703359 w 4610101"/>
              <a:gd name="connsiteY27783" fmla="*/ 811719 h 6557032"/>
              <a:gd name="connsiteX27784" fmla="*/ 699715 w 4610101"/>
              <a:gd name="connsiteY27784" fmla="*/ 811719 h 6557032"/>
              <a:gd name="connsiteX27785" fmla="*/ 672383 w 4610101"/>
              <a:gd name="connsiteY27785" fmla="*/ 811719 h 6557032"/>
              <a:gd name="connsiteX27786" fmla="*/ 671321 w 4610101"/>
              <a:gd name="connsiteY27786" fmla="*/ 816814 h 6557032"/>
              <a:gd name="connsiteX27787" fmla="*/ 666688 w 4610101"/>
              <a:gd name="connsiteY27787" fmla="*/ 815193 h 6557032"/>
              <a:gd name="connsiteX27788" fmla="*/ 668738 w 4610101"/>
              <a:gd name="connsiteY27788" fmla="*/ 820830 h 6557032"/>
              <a:gd name="connsiteX27789" fmla="*/ 670560 w 4610101"/>
              <a:gd name="connsiteY27789" fmla="*/ 819008 h 6557032"/>
              <a:gd name="connsiteX27790" fmla="*/ 671644 w 4610101"/>
              <a:gd name="connsiteY27790" fmla="*/ 817924 h 6557032"/>
              <a:gd name="connsiteX27791" fmla="*/ 674205 w 4610101"/>
              <a:gd name="connsiteY27791" fmla="*/ 822652 h 6557032"/>
              <a:gd name="connsiteX27792" fmla="*/ 672383 w 4610101"/>
              <a:gd name="connsiteY27792" fmla="*/ 811719 h 6557032"/>
              <a:gd name="connsiteX27793" fmla="*/ 594030 w 4610101"/>
              <a:gd name="connsiteY27793" fmla="*/ 811719 h 6557032"/>
              <a:gd name="connsiteX27794" fmla="*/ 592207 w 4610101"/>
              <a:gd name="connsiteY27794" fmla="*/ 815363 h 6557032"/>
              <a:gd name="connsiteX27795" fmla="*/ 595852 w 4610101"/>
              <a:gd name="connsiteY27795" fmla="*/ 815363 h 6557032"/>
              <a:gd name="connsiteX27796" fmla="*/ 594030 w 4610101"/>
              <a:gd name="connsiteY27796" fmla="*/ 811719 h 6557032"/>
              <a:gd name="connsiteX27797" fmla="*/ 3078791 w 4610101"/>
              <a:gd name="connsiteY27797" fmla="*/ 811264 h 6557032"/>
              <a:gd name="connsiteX27798" fmla="*/ 3070363 w 4610101"/>
              <a:gd name="connsiteY27798" fmla="*/ 815363 h 6557032"/>
              <a:gd name="connsiteX27799" fmla="*/ 3074008 w 4610101"/>
              <a:gd name="connsiteY27799" fmla="*/ 829941 h 6557032"/>
              <a:gd name="connsiteX27800" fmla="*/ 3068541 w 4610101"/>
              <a:gd name="connsiteY27800" fmla="*/ 824474 h 6557032"/>
              <a:gd name="connsiteX27801" fmla="*/ 3072186 w 4610101"/>
              <a:gd name="connsiteY27801" fmla="*/ 837229 h 6557032"/>
              <a:gd name="connsiteX27802" fmla="*/ 3081297 w 4610101"/>
              <a:gd name="connsiteY27802" fmla="*/ 826296 h 6557032"/>
              <a:gd name="connsiteX27803" fmla="*/ 3084941 w 4610101"/>
              <a:gd name="connsiteY27803" fmla="*/ 828118 h 6557032"/>
              <a:gd name="connsiteX27804" fmla="*/ 3084941 w 4610101"/>
              <a:gd name="connsiteY27804" fmla="*/ 817185 h 6557032"/>
              <a:gd name="connsiteX27805" fmla="*/ 3083119 w 4610101"/>
              <a:gd name="connsiteY27805" fmla="*/ 820830 h 6557032"/>
              <a:gd name="connsiteX27806" fmla="*/ 3078791 w 4610101"/>
              <a:gd name="connsiteY27806" fmla="*/ 811264 h 6557032"/>
              <a:gd name="connsiteX27807" fmla="*/ 2609353 w 4610101"/>
              <a:gd name="connsiteY27807" fmla="*/ 809897 h 6557032"/>
              <a:gd name="connsiteX27808" fmla="*/ 2607531 w 4610101"/>
              <a:gd name="connsiteY27808" fmla="*/ 822652 h 6557032"/>
              <a:gd name="connsiteX27809" fmla="*/ 2609353 w 4610101"/>
              <a:gd name="connsiteY27809" fmla="*/ 809897 h 6557032"/>
              <a:gd name="connsiteX27810" fmla="*/ 2596598 w 4610101"/>
              <a:gd name="connsiteY27810" fmla="*/ 809897 h 6557032"/>
              <a:gd name="connsiteX27811" fmla="*/ 2592954 w 4610101"/>
              <a:gd name="connsiteY27811" fmla="*/ 822652 h 6557032"/>
              <a:gd name="connsiteX27812" fmla="*/ 2600243 w 4610101"/>
              <a:gd name="connsiteY27812" fmla="*/ 819008 h 6557032"/>
              <a:gd name="connsiteX27813" fmla="*/ 2596598 w 4610101"/>
              <a:gd name="connsiteY27813" fmla="*/ 809897 h 6557032"/>
              <a:gd name="connsiteX27814" fmla="*/ 1488716 w 4610101"/>
              <a:gd name="connsiteY27814" fmla="*/ 809897 h 6557032"/>
              <a:gd name="connsiteX27815" fmla="*/ 1468673 w 4610101"/>
              <a:gd name="connsiteY27815" fmla="*/ 824474 h 6557032"/>
              <a:gd name="connsiteX27816" fmla="*/ 1468673 w 4610101"/>
              <a:gd name="connsiteY27816" fmla="*/ 826296 h 6557032"/>
              <a:gd name="connsiteX27817" fmla="*/ 1468673 w 4610101"/>
              <a:gd name="connsiteY27817" fmla="*/ 826297 h 6557032"/>
              <a:gd name="connsiteX27818" fmla="*/ 1455917 w 4610101"/>
              <a:gd name="connsiteY27818" fmla="*/ 846340 h 6557032"/>
              <a:gd name="connsiteX27819" fmla="*/ 1465711 w 4610101"/>
              <a:gd name="connsiteY27819" fmla="*/ 839052 h 6557032"/>
              <a:gd name="connsiteX27820" fmla="*/ 1468673 w 4610101"/>
              <a:gd name="connsiteY27820" fmla="*/ 826297 h 6557032"/>
              <a:gd name="connsiteX27821" fmla="*/ 1468673 w 4610101"/>
              <a:gd name="connsiteY27821" fmla="*/ 835407 h 6557032"/>
              <a:gd name="connsiteX27822" fmla="*/ 1463206 w 4610101"/>
              <a:gd name="connsiteY27822" fmla="*/ 846340 h 6557032"/>
              <a:gd name="connsiteX27823" fmla="*/ 1488716 w 4610101"/>
              <a:gd name="connsiteY27823" fmla="*/ 809897 h 6557032"/>
              <a:gd name="connsiteX27824" fmla="*/ 1137037 w 4610101"/>
              <a:gd name="connsiteY27824" fmla="*/ 809897 h 6557032"/>
              <a:gd name="connsiteX27825" fmla="*/ 1133393 w 4610101"/>
              <a:gd name="connsiteY27825" fmla="*/ 811719 h 6557032"/>
              <a:gd name="connsiteX27826" fmla="*/ 1137037 w 4610101"/>
              <a:gd name="connsiteY27826" fmla="*/ 809897 h 6557032"/>
              <a:gd name="connsiteX27827" fmla="*/ 996729 w 4610101"/>
              <a:gd name="connsiteY27827" fmla="*/ 809897 h 6557032"/>
              <a:gd name="connsiteX27828" fmla="*/ 996836 w 4610101"/>
              <a:gd name="connsiteY27828" fmla="*/ 810112 h 6557032"/>
              <a:gd name="connsiteX27829" fmla="*/ 996547 w 4610101"/>
              <a:gd name="connsiteY27829" fmla="*/ 810080 h 6557032"/>
              <a:gd name="connsiteX27830" fmla="*/ 856422 w 4610101"/>
              <a:gd name="connsiteY27830" fmla="*/ 809897 h 6557032"/>
              <a:gd name="connsiteX27831" fmla="*/ 850956 w 4610101"/>
              <a:gd name="connsiteY27831" fmla="*/ 811719 h 6557032"/>
              <a:gd name="connsiteX27832" fmla="*/ 863711 w 4610101"/>
              <a:gd name="connsiteY27832" fmla="*/ 817185 h 6557032"/>
              <a:gd name="connsiteX27833" fmla="*/ 856422 w 4610101"/>
              <a:gd name="connsiteY27833" fmla="*/ 809897 h 6557032"/>
              <a:gd name="connsiteX27834" fmla="*/ 829089 w 4610101"/>
              <a:gd name="connsiteY27834" fmla="*/ 809897 h 6557032"/>
              <a:gd name="connsiteX27835" fmla="*/ 830912 w 4610101"/>
              <a:gd name="connsiteY27835" fmla="*/ 822652 h 6557032"/>
              <a:gd name="connsiteX27836" fmla="*/ 829089 w 4610101"/>
              <a:gd name="connsiteY27836" fmla="*/ 809897 h 6557032"/>
              <a:gd name="connsiteX27837" fmla="*/ 767136 w 4610101"/>
              <a:gd name="connsiteY27837" fmla="*/ 809897 h 6557032"/>
              <a:gd name="connsiteX27838" fmla="*/ 774424 w 4610101"/>
              <a:gd name="connsiteY27838" fmla="*/ 813541 h 6557032"/>
              <a:gd name="connsiteX27839" fmla="*/ 767136 w 4610101"/>
              <a:gd name="connsiteY27839" fmla="*/ 809897 h 6557032"/>
              <a:gd name="connsiteX27840" fmla="*/ 723404 w 4610101"/>
              <a:gd name="connsiteY27840" fmla="*/ 809897 h 6557032"/>
              <a:gd name="connsiteX27841" fmla="*/ 725226 w 4610101"/>
              <a:gd name="connsiteY27841" fmla="*/ 813541 h 6557032"/>
              <a:gd name="connsiteX27842" fmla="*/ 723404 w 4610101"/>
              <a:gd name="connsiteY27842" fmla="*/ 809897 h 6557032"/>
              <a:gd name="connsiteX27843" fmla="*/ 690604 w 4610101"/>
              <a:gd name="connsiteY27843" fmla="*/ 809897 h 6557032"/>
              <a:gd name="connsiteX27844" fmla="*/ 685138 w 4610101"/>
              <a:gd name="connsiteY27844" fmla="*/ 817185 h 6557032"/>
              <a:gd name="connsiteX27845" fmla="*/ 688782 w 4610101"/>
              <a:gd name="connsiteY27845" fmla="*/ 819008 h 6557032"/>
              <a:gd name="connsiteX27846" fmla="*/ 690604 w 4610101"/>
              <a:gd name="connsiteY27846" fmla="*/ 809897 h 6557032"/>
              <a:gd name="connsiteX27847" fmla="*/ 606784 w 4610101"/>
              <a:gd name="connsiteY27847" fmla="*/ 809897 h 6557032"/>
              <a:gd name="connsiteX27848" fmla="*/ 604963 w 4610101"/>
              <a:gd name="connsiteY27848" fmla="*/ 817185 h 6557032"/>
              <a:gd name="connsiteX27849" fmla="*/ 606784 w 4610101"/>
              <a:gd name="connsiteY27849" fmla="*/ 809897 h 6557032"/>
              <a:gd name="connsiteX27850" fmla="*/ 1029164 w 4610101"/>
              <a:gd name="connsiteY27850" fmla="*/ 809532 h 6557032"/>
              <a:gd name="connsiteX27851" fmla="*/ 1027707 w 4610101"/>
              <a:gd name="connsiteY27851" fmla="*/ 811719 h 6557032"/>
              <a:gd name="connsiteX27852" fmla="*/ 1027707 w 4610101"/>
              <a:gd name="connsiteY27852" fmla="*/ 810505 h 6557032"/>
              <a:gd name="connsiteX27853" fmla="*/ 1175804 w 4610101"/>
              <a:gd name="connsiteY27853" fmla="*/ 809122 h 6557032"/>
              <a:gd name="connsiteX27854" fmla="*/ 1175523 w 4610101"/>
              <a:gd name="connsiteY27854" fmla="*/ 809557 h 6557032"/>
              <a:gd name="connsiteX27855" fmla="*/ 1173481 w 4610101"/>
              <a:gd name="connsiteY27855" fmla="*/ 809897 h 6557032"/>
              <a:gd name="connsiteX27856" fmla="*/ 443564 w 4610101"/>
              <a:gd name="connsiteY27856" fmla="*/ 808278 h 6557032"/>
              <a:gd name="connsiteX27857" fmla="*/ 447116 w 4610101"/>
              <a:gd name="connsiteY27857" fmla="*/ 809214 h 6557032"/>
              <a:gd name="connsiteX27858" fmla="*/ 447708 w 4610101"/>
              <a:gd name="connsiteY27858" fmla="*/ 809714 h 6557032"/>
              <a:gd name="connsiteX27859" fmla="*/ 443843 w 4610101"/>
              <a:gd name="connsiteY27859" fmla="*/ 808426 h 6557032"/>
              <a:gd name="connsiteX27860" fmla="*/ 3437568 w 4610101"/>
              <a:gd name="connsiteY27860" fmla="*/ 808074 h 6557032"/>
              <a:gd name="connsiteX27861" fmla="*/ 3440265 w 4610101"/>
              <a:gd name="connsiteY27861" fmla="*/ 808074 h 6557032"/>
              <a:gd name="connsiteX27862" fmla="*/ 3438058 w 4610101"/>
              <a:gd name="connsiteY27862" fmla="*/ 810113 h 6557032"/>
              <a:gd name="connsiteX27863" fmla="*/ 732515 w 4610101"/>
              <a:gd name="connsiteY27863" fmla="*/ 808074 h 6557032"/>
              <a:gd name="connsiteX27864" fmla="*/ 732515 w 4610101"/>
              <a:gd name="connsiteY27864" fmla="*/ 815363 h 6557032"/>
              <a:gd name="connsiteX27865" fmla="*/ 736159 w 4610101"/>
              <a:gd name="connsiteY27865" fmla="*/ 811719 h 6557032"/>
              <a:gd name="connsiteX27866" fmla="*/ 732515 w 4610101"/>
              <a:gd name="connsiteY27866" fmla="*/ 808074 h 6557032"/>
              <a:gd name="connsiteX27867" fmla="*/ 610429 w 4610101"/>
              <a:gd name="connsiteY27867" fmla="*/ 808074 h 6557032"/>
              <a:gd name="connsiteX27868" fmla="*/ 619539 w 4610101"/>
              <a:gd name="connsiteY27868" fmla="*/ 826296 h 6557032"/>
              <a:gd name="connsiteX27869" fmla="*/ 610429 w 4610101"/>
              <a:gd name="connsiteY27869" fmla="*/ 808074 h 6557032"/>
              <a:gd name="connsiteX27870" fmla="*/ 3205204 w 4610101"/>
              <a:gd name="connsiteY27870" fmla="*/ 806252 h 6557032"/>
              <a:gd name="connsiteX27871" fmla="*/ 3207027 w 4610101"/>
              <a:gd name="connsiteY27871" fmla="*/ 813541 h 6557032"/>
              <a:gd name="connsiteX27872" fmla="*/ 3205204 w 4610101"/>
              <a:gd name="connsiteY27872" fmla="*/ 806252 h 6557032"/>
              <a:gd name="connsiteX27873" fmla="*/ 2106433 w 4610101"/>
              <a:gd name="connsiteY27873" fmla="*/ 806252 h 6557032"/>
              <a:gd name="connsiteX27874" fmla="*/ 2093679 w 4610101"/>
              <a:gd name="connsiteY27874" fmla="*/ 824474 h 6557032"/>
              <a:gd name="connsiteX27875" fmla="*/ 2106433 w 4610101"/>
              <a:gd name="connsiteY27875" fmla="*/ 819008 h 6557032"/>
              <a:gd name="connsiteX27876" fmla="*/ 2106433 w 4610101"/>
              <a:gd name="connsiteY27876" fmla="*/ 806252 h 6557032"/>
              <a:gd name="connsiteX27877" fmla="*/ 1295566 w 4610101"/>
              <a:gd name="connsiteY27877" fmla="*/ 806252 h 6557032"/>
              <a:gd name="connsiteX27878" fmla="*/ 1286455 w 4610101"/>
              <a:gd name="connsiteY27878" fmla="*/ 809897 h 6557032"/>
              <a:gd name="connsiteX27879" fmla="*/ 1290100 w 4610101"/>
              <a:gd name="connsiteY27879" fmla="*/ 811719 h 6557032"/>
              <a:gd name="connsiteX27880" fmla="*/ 1295566 w 4610101"/>
              <a:gd name="connsiteY27880" fmla="*/ 806252 h 6557032"/>
              <a:gd name="connsiteX27881" fmla="*/ 1217213 w 4610101"/>
              <a:gd name="connsiteY27881" fmla="*/ 806252 h 6557032"/>
              <a:gd name="connsiteX27882" fmla="*/ 1219036 w 4610101"/>
              <a:gd name="connsiteY27882" fmla="*/ 808074 h 6557032"/>
              <a:gd name="connsiteX27883" fmla="*/ 1219034 w 4610101"/>
              <a:gd name="connsiteY27883" fmla="*/ 808074 h 6557032"/>
              <a:gd name="connsiteX27884" fmla="*/ 845489 w 4610101"/>
              <a:gd name="connsiteY27884" fmla="*/ 806252 h 6557032"/>
              <a:gd name="connsiteX27885" fmla="*/ 840022 w 4610101"/>
              <a:gd name="connsiteY27885" fmla="*/ 813541 h 6557032"/>
              <a:gd name="connsiteX27886" fmla="*/ 836378 w 4610101"/>
              <a:gd name="connsiteY27886" fmla="*/ 815363 h 6557032"/>
              <a:gd name="connsiteX27887" fmla="*/ 840022 w 4610101"/>
              <a:gd name="connsiteY27887" fmla="*/ 813541 h 6557032"/>
              <a:gd name="connsiteX27888" fmla="*/ 845489 w 4610101"/>
              <a:gd name="connsiteY27888" fmla="*/ 815363 h 6557032"/>
              <a:gd name="connsiteX27889" fmla="*/ 845489 w 4610101"/>
              <a:gd name="connsiteY27889" fmla="*/ 806252 h 6557032"/>
              <a:gd name="connsiteX27890" fmla="*/ 758025 w 4610101"/>
              <a:gd name="connsiteY27890" fmla="*/ 806252 h 6557032"/>
              <a:gd name="connsiteX27891" fmla="*/ 754380 w 4610101"/>
              <a:gd name="connsiteY27891" fmla="*/ 809897 h 6557032"/>
              <a:gd name="connsiteX27892" fmla="*/ 761670 w 4610101"/>
              <a:gd name="connsiteY27892" fmla="*/ 811719 h 6557032"/>
              <a:gd name="connsiteX27893" fmla="*/ 761670 w 4610101"/>
              <a:gd name="connsiteY27893" fmla="*/ 808074 h 6557032"/>
              <a:gd name="connsiteX27894" fmla="*/ 758025 w 4610101"/>
              <a:gd name="connsiteY27894" fmla="*/ 806252 h 6557032"/>
              <a:gd name="connsiteX27895" fmla="*/ 712470 w 4610101"/>
              <a:gd name="connsiteY27895" fmla="*/ 806252 h 6557032"/>
              <a:gd name="connsiteX27896" fmla="*/ 714293 w 4610101"/>
              <a:gd name="connsiteY27896" fmla="*/ 811719 h 6557032"/>
              <a:gd name="connsiteX27897" fmla="*/ 719759 w 4610101"/>
              <a:gd name="connsiteY27897" fmla="*/ 806252 h 6557032"/>
              <a:gd name="connsiteX27898" fmla="*/ 712470 w 4610101"/>
              <a:gd name="connsiteY27898" fmla="*/ 806252 h 6557032"/>
              <a:gd name="connsiteX27899" fmla="*/ 612251 w 4610101"/>
              <a:gd name="connsiteY27899" fmla="*/ 806252 h 6557032"/>
              <a:gd name="connsiteX27900" fmla="*/ 618840 w 4610101"/>
              <a:gd name="connsiteY27900" fmla="*/ 816961 h 6557032"/>
              <a:gd name="connsiteX27901" fmla="*/ 617717 w 4610101"/>
              <a:gd name="connsiteY27901" fmla="*/ 817185 h 6557032"/>
              <a:gd name="connsiteX27902" fmla="*/ 619123 w 4610101"/>
              <a:gd name="connsiteY27902" fmla="*/ 817420 h 6557032"/>
              <a:gd name="connsiteX27903" fmla="*/ 625706 w 4610101"/>
              <a:gd name="connsiteY27903" fmla="*/ 828118 h 6557032"/>
              <a:gd name="connsiteX27904" fmla="*/ 625006 w 4610101"/>
              <a:gd name="connsiteY27904" fmla="*/ 828118 h 6557032"/>
              <a:gd name="connsiteX27905" fmla="*/ 626828 w 4610101"/>
              <a:gd name="connsiteY27905" fmla="*/ 829941 h 6557032"/>
              <a:gd name="connsiteX27906" fmla="*/ 625706 w 4610101"/>
              <a:gd name="connsiteY27906" fmla="*/ 828118 h 6557032"/>
              <a:gd name="connsiteX27907" fmla="*/ 634117 w 4610101"/>
              <a:gd name="connsiteY27907" fmla="*/ 828118 h 6557032"/>
              <a:gd name="connsiteX27908" fmla="*/ 630472 w 4610101"/>
              <a:gd name="connsiteY27908" fmla="*/ 829941 h 6557032"/>
              <a:gd name="connsiteX27909" fmla="*/ 635939 w 4610101"/>
              <a:gd name="connsiteY27909" fmla="*/ 833585 h 6557032"/>
              <a:gd name="connsiteX27910" fmla="*/ 635939 w 4610101"/>
              <a:gd name="connsiteY27910" fmla="*/ 831763 h 6557032"/>
              <a:gd name="connsiteX27911" fmla="*/ 640802 w 4610101"/>
              <a:gd name="connsiteY27911" fmla="*/ 833564 h 6557032"/>
              <a:gd name="connsiteX27912" fmla="*/ 641695 w 4610101"/>
              <a:gd name="connsiteY27912" fmla="*/ 836927 h 6557032"/>
              <a:gd name="connsiteX27913" fmla="*/ 641407 w 4610101"/>
              <a:gd name="connsiteY27913" fmla="*/ 839051 h 6557032"/>
              <a:gd name="connsiteX27914" fmla="*/ 625006 w 4610101"/>
              <a:gd name="connsiteY27914" fmla="*/ 829941 h 6557032"/>
              <a:gd name="connsiteX27915" fmla="*/ 643228 w 4610101"/>
              <a:gd name="connsiteY27915" fmla="*/ 842696 h 6557032"/>
              <a:gd name="connsiteX27916" fmla="*/ 641695 w 4610101"/>
              <a:gd name="connsiteY27916" fmla="*/ 836927 h 6557032"/>
              <a:gd name="connsiteX27917" fmla="*/ 642089 w 4610101"/>
              <a:gd name="connsiteY27917" fmla="*/ 834041 h 6557032"/>
              <a:gd name="connsiteX27918" fmla="*/ 640802 w 4610101"/>
              <a:gd name="connsiteY27918" fmla="*/ 833564 h 6557032"/>
              <a:gd name="connsiteX27919" fmla="*/ 639355 w 4610101"/>
              <a:gd name="connsiteY27919" fmla="*/ 828119 h 6557032"/>
              <a:gd name="connsiteX27920" fmla="*/ 628650 w 4610101"/>
              <a:gd name="connsiteY27920" fmla="*/ 819008 h 6557032"/>
              <a:gd name="connsiteX27921" fmla="*/ 619123 w 4610101"/>
              <a:gd name="connsiteY27921" fmla="*/ 817420 h 6557032"/>
              <a:gd name="connsiteX27922" fmla="*/ 618840 w 4610101"/>
              <a:gd name="connsiteY27922" fmla="*/ 816961 h 6557032"/>
              <a:gd name="connsiteX27923" fmla="*/ 626828 w 4610101"/>
              <a:gd name="connsiteY27923" fmla="*/ 815363 h 6557032"/>
              <a:gd name="connsiteX27924" fmla="*/ 612251 w 4610101"/>
              <a:gd name="connsiteY27924" fmla="*/ 806252 h 6557032"/>
              <a:gd name="connsiteX27925" fmla="*/ 400879 w 4610101"/>
              <a:gd name="connsiteY27925" fmla="*/ 806252 h 6557032"/>
              <a:gd name="connsiteX27926" fmla="*/ 409948 w 4610101"/>
              <a:gd name="connsiteY27926" fmla="*/ 813508 h 6557032"/>
              <a:gd name="connsiteX27927" fmla="*/ 409960 w 4610101"/>
              <a:gd name="connsiteY27927" fmla="*/ 813534 h 6557032"/>
              <a:gd name="connsiteX27928" fmla="*/ 402701 w 4610101"/>
              <a:gd name="connsiteY27928" fmla="*/ 811719 h 6557032"/>
              <a:gd name="connsiteX27929" fmla="*/ 400879 w 4610101"/>
              <a:gd name="connsiteY27929" fmla="*/ 806252 h 6557032"/>
              <a:gd name="connsiteX27930" fmla="*/ 255105 w 4610101"/>
              <a:gd name="connsiteY27930" fmla="*/ 806252 h 6557032"/>
              <a:gd name="connsiteX27931" fmla="*/ 269682 w 4610101"/>
              <a:gd name="connsiteY27931" fmla="*/ 813541 h 6557032"/>
              <a:gd name="connsiteX27932" fmla="*/ 262393 w 4610101"/>
              <a:gd name="connsiteY27932" fmla="*/ 809897 h 6557032"/>
              <a:gd name="connsiteX27933" fmla="*/ 255105 w 4610101"/>
              <a:gd name="connsiteY27933" fmla="*/ 806252 h 6557032"/>
              <a:gd name="connsiteX27934" fmla="*/ 356008 w 4610101"/>
              <a:gd name="connsiteY27934" fmla="*/ 805114 h 6557032"/>
              <a:gd name="connsiteX27935" fmla="*/ 340747 w 4610101"/>
              <a:gd name="connsiteY27935" fmla="*/ 815363 h 6557032"/>
              <a:gd name="connsiteX27936" fmla="*/ 355324 w 4610101"/>
              <a:gd name="connsiteY27936" fmla="*/ 829941 h 6557032"/>
              <a:gd name="connsiteX27937" fmla="*/ 346213 w 4610101"/>
              <a:gd name="connsiteY27937" fmla="*/ 813541 h 6557032"/>
              <a:gd name="connsiteX27938" fmla="*/ 349858 w 4610101"/>
              <a:gd name="connsiteY27938" fmla="*/ 811719 h 6557032"/>
              <a:gd name="connsiteX27939" fmla="*/ 377190 w 4610101"/>
              <a:gd name="connsiteY27939" fmla="*/ 844518 h 6557032"/>
              <a:gd name="connsiteX27940" fmla="*/ 364435 w 4610101"/>
              <a:gd name="connsiteY27940" fmla="*/ 831763 h 6557032"/>
              <a:gd name="connsiteX27941" fmla="*/ 368079 w 4610101"/>
              <a:gd name="connsiteY27941" fmla="*/ 831763 h 6557032"/>
              <a:gd name="connsiteX27942" fmla="*/ 362613 w 4610101"/>
              <a:gd name="connsiteY27942" fmla="*/ 826296 h 6557032"/>
              <a:gd name="connsiteX27943" fmla="*/ 371724 w 4610101"/>
              <a:gd name="connsiteY27943" fmla="*/ 828118 h 6557032"/>
              <a:gd name="connsiteX27944" fmla="*/ 360791 w 4610101"/>
              <a:gd name="connsiteY27944" fmla="*/ 817185 h 6557032"/>
              <a:gd name="connsiteX27945" fmla="*/ 368079 w 4610101"/>
              <a:gd name="connsiteY27945" fmla="*/ 817185 h 6557032"/>
              <a:gd name="connsiteX27946" fmla="*/ 364435 w 4610101"/>
              <a:gd name="connsiteY27946" fmla="*/ 815363 h 6557032"/>
              <a:gd name="connsiteX27947" fmla="*/ 369902 w 4610101"/>
              <a:gd name="connsiteY27947" fmla="*/ 809897 h 6557032"/>
              <a:gd name="connsiteX27948" fmla="*/ 371941 w 4610101"/>
              <a:gd name="connsiteY27948" fmla="*/ 815037 h 6557032"/>
              <a:gd name="connsiteX27949" fmla="*/ 371724 w 4610101"/>
              <a:gd name="connsiteY27949" fmla="*/ 815363 h 6557032"/>
              <a:gd name="connsiteX27950" fmla="*/ 372069 w 4610101"/>
              <a:gd name="connsiteY27950" fmla="*/ 815359 h 6557032"/>
              <a:gd name="connsiteX27951" fmla="*/ 375596 w 4610101"/>
              <a:gd name="connsiteY27951" fmla="*/ 824247 h 6557032"/>
              <a:gd name="connsiteX27952" fmla="*/ 388123 w 4610101"/>
              <a:gd name="connsiteY27952" fmla="*/ 831763 h 6557032"/>
              <a:gd name="connsiteX27953" fmla="*/ 402701 w 4610101"/>
              <a:gd name="connsiteY27953" fmla="*/ 824474 h 6557032"/>
              <a:gd name="connsiteX27954" fmla="*/ 389945 w 4610101"/>
              <a:gd name="connsiteY27954" fmla="*/ 815136 h 6557032"/>
              <a:gd name="connsiteX27955" fmla="*/ 372069 w 4610101"/>
              <a:gd name="connsiteY27955" fmla="*/ 815359 h 6557032"/>
              <a:gd name="connsiteX27956" fmla="*/ 371941 w 4610101"/>
              <a:gd name="connsiteY27956" fmla="*/ 815037 h 6557032"/>
              <a:gd name="connsiteX27957" fmla="*/ 375368 w 4610101"/>
              <a:gd name="connsiteY27957" fmla="*/ 809897 h 6557032"/>
              <a:gd name="connsiteX27958" fmla="*/ 356008 w 4610101"/>
              <a:gd name="connsiteY27958" fmla="*/ 805114 h 6557032"/>
              <a:gd name="connsiteX27959" fmla="*/ 1204457 w 4610101"/>
              <a:gd name="connsiteY27959" fmla="*/ 804472 h 6557032"/>
              <a:gd name="connsiteX27960" fmla="*/ 1186235 w 4610101"/>
              <a:gd name="connsiteY27960" fmla="*/ 813584 h 6557032"/>
              <a:gd name="connsiteX27961" fmla="*/ 1204457 w 4610101"/>
              <a:gd name="connsiteY27961" fmla="*/ 804472 h 6557032"/>
              <a:gd name="connsiteX27962" fmla="*/ 3210671 w 4610101"/>
              <a:gd name="connsiteY27962" fmla="*/ 804430 h 6557032"/>
              <a:gd name="connsiteX27963" fmla="*/ 3212493 w 4610101"/>
              <a:gd name="connsiteY27963" fmla="*/ 809897 h 6557032"/>
              <a:gd name="connsiteX27964" fmla="*/ 3216137 w 4610101"/>
              <a:gd name="connsiteY27964" fmla="*/ 804430 h 6557032"/>
              <a:gd name="connsiteX27965" fmla="*/ 3210671 w 4610101"/>
              <a:gd name="connsiteY27965" fmla="*/ 804430 h 6557032"/>
              <a:gd name="connsiteX27966" fmla="*/ 1315610 w 4610101"/>
              <a:gd name="connsiteY27966" fmla="*/ 804430 h 6557032"/>
              <a:gd name="connsiteX27967" fmla="*/ 1293744 w 4610101"/>
              <a:gd name="connsiteY27967" fmla="*/ 811719 h 6557032"/>
              <a:gd name="connsiteX27968" fmla="*/ 1310143 w 4610101"/>
              <a:gd name="connsiteY27968" fmla="*/ 817185 h 6557032"/>
              <a:gd name="connsiteX27969" fmla="*/ 1315610 w 4610101"/>
              <a:gd name="connsiteY27969" fmla="*/ 804430 h 6557032"/>
              <a:gd name="connsiteX27970" fmla="*/ 727048 w 4610101"/>
              <a:gd name="connsiteY27970" fmla="*/ 804430 h 6557032"/>
              <a:gd name="connsiteX27971" fmla="*/ 727048 w 4610101"/>
              <a:gd name="connsiteY27971" fmla="*/ 811719 h 6557032"/>
              <a:gd name="connsiteX27972" fmla="*/ 730692 w 4610101"/>
              <a:gd name="connsiteY27972" fmla="*/ 806252 h 6557032"/>
              <a:gd name="connsiteX27973" fmla="*/ 727048 w 4610101"/>
              <a:gd name="connsiteY27973" fmla="*/ 804430 h 6557032"/>
              <a:gd name="connsiteX27974" fmla="*/ 654161 w 4610101"/>
              <a:gd name="connsiteY27974" fmla="*/ 804430 h 6557032"/>
              <a:gd name="connsiteX27975" fmla="*/ 650516 w 4610101"/>
              <a:gd name="connsiteY27975" fmla="*/ 809897 h 6557032"/>
              <a:gd name="connsiteX27976" fmla="*/ 661449 w 4610101"/>
              <a:gd name="connsiteY27976" fmla="*/ 817185 h 6557032"/>
              <a:gd name="connsiteX27977" fmla="*/ 654161 w 4610101"/>
              <a:gd name="connsiteY27977" fmla="*/ 804430 h 6557032"/>
              <a:gd name="connsiteX27978" fmla="*/ 641407 w 4610101"/>
              <a:gd name="connsiteY27978" fmla="*/ 804430 h 6557032"/>
              <a:gd name="connsiteX27979" fmla="*/ 650516 w 4610101"/>
              <a:gd name="connsiteY27979" fmla="*/ 817185 h 6557032"/>
              <a:gd name="connsiteX27980" fmla="*/ 645050 w 4610101"/>
              <a:gd name="connsiteY27980" fmla="*/ 804430 h 6557032"/>
              <a:gd name="connsiteX27981" fmla="*/ 346213 w 4610101"/>
              <a:gd name="connsiteY27981" fmla="*/ 804203 h 6557032"/>
              <a:gd name="connsiteX27982" fmla="*/ 340747 w 4610101"/>
              <a:gd name="connsiteY27982" fmla="*/ 808074 h 6557032"/>
              <a:gd name="connsiteX27983" fmla="*/ 351680 w 4610101"/>
              <a:gd name="connsiteY27983" fmla="*/ 804430 h 6557032"/>
              <a:gd name="connsiteX27984" fmla="*/ 346213 w 4610101"/>
              <a:gd name="connsiteY27984" fmla="*/ 804203 h 6557032"/>
              <a:gd name="connsiteX27985" fmla="*/ 2596598 w 4610101"/>
              <a:gd name="connsiteY27985" fmla="*/ 802608 h 6557032"/>
              <a:gd name="connsiteX27986" fmla="*/ 2598421 w 4610101"/>
              <a:gd name="connsiteY27986" fmla="*/ 808074 h 6557032"/>
              <a:gd name="connsiteX27987" fmla="*/ 2602065 w 4610101"/>
              <a:gd name="connsiteY27987" fmla="*/ 806252 h 6557032"/>
              <a:gd name="connsiteX27988" fmla="*/ 2596598 w 4610101"/>
              <a:gd name="connsiteY27988" fmla="*/ 802608 h 6557032"/>
              <a:gd name="connsiteX27989" fmla="*/ 2343316 w 4610101"/>
              <a:gd name="connsiteY27989" fmla="*/ 802608 h 6557032"/>
              <a:gd name="connsiteX27990" fmla="*/ 2336027 w 4610101"/>
              <a:gd name="connsiteY27990" fmla="*/ 826296 h 6557032"/>
              <a:gd name="connsiteX27991" fmla="*/ 2343316 w 4610101"/>
              <a:gd name="connsiteY27991" fmla="*/ 802608 h 6557032"/>
              <a:gd name="connsiteX27992" fmla="*/ 1486895 w 4610101"/>
              <a:gd name="connsiteY27992" fmla="*/ 802608 h 6557032"/>
              <a:gd name="connsiteX27993" fmla="*/ 1446806 w 4610101"/>
              <a:gd name="connsiteY27993" fmla="*/ 820830 h 6557032"/>
              <a:gd name="connsiteX27994" fmla="*/ 1444984 w 4610101"/>
              <a:gd name="connsiteY27994" fmla="*/ 819008 h 6557032"/>
              <a:gd name="connsiteX27995" fmla="*/ 1439518 w 4610101"/>
              <a:gd name="connsiteY27995" fmla="*/ 822652 h 6557032"/>
              <a:gd name="connsiteX27996" fmla="*/ 1454095 w 4610101"/>
              <a:gd name="connsiteY27996" fmla="*/ 819008 h 6557032"/>
              <a:gd name="connsiteX27997" fmla="*/ 1455917 w 4610101"/>
              <a:gd name="connsiteY27997" fmla="*/ 822652 h 6557032"/>
              <a:gd name="connsiteX27998" fmla="*/ 1466850 w 4610101"/>
              <a:gd name="connsiteY27998" fmla="*/ 815363 h 6557032"/>
              <a:gd name="connsiteX27999" fmla="*/ 1461384 w 4610101"/>
              <a:gd name="connsiteY27999" fmla="*/ 820830 h 6557032"/>
              <a:gd name="connsiteX28000" fmla="*/ 1472317 w 4610101"/>
              <a:gd name="connsiteY28000" fmla="*/ 817185 h 6557032"/>
              <a:gd name="connsiteX28001" fmla="*/ 1470495 w 4610101"/>
              <a:gd name="connsiteY28001" fmla="*/ 815363 h 6557032"/>
              <a:gd name="connsiteX28002" fmla="*/ 1474139 w 4610101"/>
              <a:gd name="connsiteY28002" fmla="*/ 811719 h 6557032"/>
              <a:gd name="connsiteX28003" fmla="*/ 1474139 w 4610101"/>
              <a:gd name="connsiteY28003" fmla="*/ 817185 h 6557032"/>
              <a:gd name="connsiteX28004" fmla="*/ 1490539 w 4610101"/>
              <a:gd name="connsiteY28004" fmla="*/ 806252 h 6557032"/>
              <a:gd name="connsiteX28005" fmla="*/ 1486895 w 4610101"/>
              <a:gd name="connsiteY28005" fmla="*/ 802608 h 6557032"/>
              <a:gd name="connsiteX28006" fmla="*/ 1339299 w 4610101"/>
              <a:gd name="connsiteY28006" fmla="*/ 802608 h 6557032"/>
              <a:gd name="connsiteX28007" fmla="*/ 1333832 w 4610101"/>
              <a:gd name="connsiteY28007" fmla="*/ 808074 h 6557032"/>
              <a:gd name="connsiteX28008" fmla="*/ 1339299 w 4610101"/>
              <a:gd name="connsiteY28008" fmla="*/ 802608 h 6557032"/>
              <a:gd name="connsiteX28009" fmla="*/ 1333832 w 4610101"/>
              <a:gd name="connsiteY28009" fmla="*/ 802608 h 6557032"/>
              <a:gd name="connsiteX28010" fmla="*/ 1332009 w 4610101"/>
              <a:gd name="connsiteY28010" fmla="*/ 806252 h 6557032"/>
              <a:gd name="connsiteX28011" fmla="*/ 1315610 w 4610101"/>
              <a:gd name="connsiteY28011" fmla="*/ 819008 h 6557032"/>
              <a:gd name="connsiteX28012" fmla="*/ 1319254 w 4610101"/>
              <a:gd name="connsiteY28012" fmla="*/ 813541 h 6557032"/>
              <a:gd name="connsiteX28013" fmla="*/ 1317432 w 4610101"/>
              <a:gd name="connsiteY28013" fmla="*/ 817185 h 6557032"/>
              <a:gd name="connsiteX28014" fmla="*/ 1333832 w 4610101"/>
              <a:gd name="connsiteY28014" fmla="*/ 802608 h 6557032"/>
              <a:gd name="connsiteX28015" fmla="*/ 557586 w 4610101"/>
              <a:gd name="connsiteY28015" fmla="*/ 802608 h 6557032"/>
              <a:gd name="connsiteX28016" fmla="*/ 566697 w 4610101"/>
              <a:gd name="connsiteY28016" fmla="*/ 813541 h 6557032"/>
              <a:gd name="connsiteX28017" fmla="*/ 563052 w 4610101"/>
              <a:gd name="connsiteY28017" fmla="*/ 809897 h 6557032"/>
              <a:gd name="connsiteX28018" fmla="*/ 557586 w 4610101"/>
              <a:gd name="connsiteY28018" fmla="*/ 802608 h 6557032"/>
              <a:gd name="connsiteX28019" fmla="*/ 532075 w 4610101"/>
              <a:gd name="connsiteY28019" fmla="*/ 802608 h 6557032"/>
              <a:gd name="connsiteX28020" fmla="*/ 537542 w 4610101"/>
              <a:gd name="connsiteY28020" fmla="*/ 809897 h 6557032"/>
              <a:gd name="connsiteX28021" fmla="*/ 532075 w 4610101"/>
              <a:gd name="connsiteY28021" fmla="*/ 806252 h 6557032"/>
              <a:gd name="connsiteX28022" fmla="*/ 536533 w 4610101"/>
              <a:gd name="connsiteY28022" fmla="*/ 821112 h 6557032"/>
              <a:gd name="connsiteX28023" fmla="*/ 530253 w 4610101"/>
              <a:gd name="connsiteY28023" fmla="*/ 809897 h 6557032"/>
              <a:gd name="connsiteX28024" fmla="*/ 528431 w 4610101"/>
              <a:gd name="connsiteY28024" fmla="*/ 804430 h 6557032"/>
              <a:gd name="connsiteX28025" fmla="*/ 537542 w 4610101"/>
              <a:gd name="connsiteY28025" fmla="*/ 835407 h 6557032"/>
              <a:gd name="connsiteX28026" fmla="*/ 536643 w 4610101"/>
              <a:gd name="connsiteY28026" fmla="*/ 821477 h 6557032"/>
              <a:gd name="connsiteX28027" fmla="*/ 537542 w 4610101"/>
              <a:gd name="connsiteY28027" fmla="*/ 824474 h 6557032"/>
              <a:gd name="connsiteX28028" fmla="*/ 532075 w 4610101"/>
              <a:gd name="connsiteY28028" fmla="*/ 802608 h 6557032"/>
              <a:gd name="connsiteX28029" fmla="*/ 499276 w 4610101"/>
              <a:gd name="connsiteY28029" fmla="*/ 802608 h 6557032"/>
              <a:gd name="connsiteX28030" fmla="*/ 493809 w 4610101"/>
              <a:gd name="connsiteY28030" fmla="*/ 806252 h 6557032"/>
              <a:gd name="connsiteX28031" fmla="*/ 499276 w 4610101"/>
              <a:gd name="connsiteY28031" fmla="*/ 808074 h 6557032"/>
              <a:gd name="connsiteX28032" fmla="*/ 499276 w 4610101"/>
              <a:gd name="connsiteY28032" fmla="*/ 802608 h 6557032"/>
              <a:gd name="connsiteX28033" fmla="*/ 191329 w 4610101"/>
              <a:gd name="connsiteY28033" fmla="*/ 802608 h 6557032"/>
              <a:gd name="connsiteX28034" fmla="*/ 202262 w 4610101"/>
              <a:gd name="connsiteY28034" fmla="*/ 809897 h 6557032"/>
              <a:gd name="connsiteX28035" fmla="*/ 191329 w 4610101"/>
              <a:gd name="connsiteY28035" fmla="*/ 802608 h 6557032"/>
              <a:gd name="connsiteX28036" fmla="*/ 399056 w 4610101"/>
              <a:gd name="connsiteY28036" fmla="*/ 802380 h 6557032"/>
              <a:gd name="connsiteX28037" fmla="*/ 382657 w 4610101"/>
              <a:gd name="connsiteY28037" fmla="*/ 806252 h 6557032"/>
              <a:gd name="connsiteX28038" fmla="*/ 409989 w 4610101"/>
              <a:gd name="connsiteY28038" fmla="*/ 820830 h 6557032"/>
              <a:gd name="connsiteX28039" fmla="*/ 391768 w 4610101"/>
              <a:gd name="connsiteY28039" fmla="*/ 808074 h 6557032"/>
              <a:gd name="connsiteX28040" fmla="*/ 400195 w 4610101"/>
              <a:gd name="connsiteY28040" fmla="*/ 811491 h 6557032"/>
              <a:gd name="connsiteX28041" fmla="*/ 409962 w 4610101"/>
              <a:gd name="connsiteY28041" fmla="*/ 813536 h 6557032"/>
              <a:gd name="connsiteX28042" fmla="*/ 411243 w 4610101"/>
              <a:gd name="connsiteY28042" fmla="*/ 816133 h 6557032"/>
              <a:gd name="connsiteX28043" fmla="*/ 424567 w 4610101"/>
              <a:gd name="connsiteY28043" fmla="*/ 815363 h 6557032"/>
              <a:gd name="connsiteX28044" fmla="*/ 406345 w 4610101"/>
              <a:gd name="connsiteY28044" fmla="*/ 802608 h 6557032"/>
              <a:gd name="connsiteX28045" fmla="*/ 408167 w 4610101"/>
              <a:gd name="connsiteY28045" fmla="*/ 809897 h 6557032"/>
              <a:gd name="connsiteX28046" fmla="*/ 409939 w 4610101"/>
              <a:gd name="connsiteY28046" fmla="*/ 813490 h 6557032"/>
              <a:gd name="connsiteX28047" fmla="*/ 1108663 w 4610101"/>
              <a:gd name="connsiteY28047" fmla="*/ 802088 h 6557032"/>
              <a:gd name="connsiteX28048" fmla="*/ 1107882 w 4610101"/>
              <a:gd name="connsiteY28048" fmla="*/ 802608 h 6557032"/>
              <a:gd name="connsiteX28049" fmla="*/ 1107882 w 4610101"/>
              <a:gd name="connsiteY28049" fmla="*/ 802244 h 6557032"/>
              <a:gd name="connsiteX28050" fmla="*/ 3634916 w 4610101"/>
              <a:gd name="connsiteY28050" fmla="*/ 800786 h 6557032"/>
              <a:gd name="connsiteX28051" fmla="*/ 3635456 w 4610101"/>
              <a:gd name="connsiteY28051" fmla="*/ 800786 h 6557032"/>
              <a:gd name="connsiteX28052" fmla="*/ 3636600 w 4610101"/>
              <a:gd name="connsiteY28052" fmla="*/ 801977 h 6557032"/>
              <a:gd name="connsiteX28053" fmla="*/ 3633643 w 4610101"/>
              <a:gd name="connsiteY28053" fmla="*/ 803519 h 6557032"/>
              <a:gd name="connsiteX28054" fmla="*/ 3632348 w 4610101"/>
              <a:gd name="connsiteY28054" fmla="*/ 802605 h 6557032"/>
              <a:gd name="connsiteX28055" fmla="*/ 2363360 w 4610101"/>
              <a:gd name="connsiteY28055" fmla="*/ 800786 h 6557032"/>
              <a:gd name="connsiteX28056" fmla="*/ 2367004 w 4610101"/>
              <a:gd name="connsiteY28056" fmla="*/ 811719 h 6557032"/>
              <a:gd name="connsiteX28057" fmla="*/ 2368827 w 4610101"/>
              <a:gd name="connsiteY28057" fmla="*/ 802608 h 6557032"/>
              <a:gd name="connsiteX28058" fmla="*/ 2363360 w 4610101"/>
              <a:gd name="connsiteY28058" fmla="*/ 800786 h 6557032"/>
              <a:gd name="connsiteX28059" fmla="*/ 1390319 w 4610101"/>
              <a:gd name="connsiteY28059" fmla="*/ 800786 h 6557032"/>
              <a:gd name="connsiteX28060" fmla="*/ 1377564 w 4610101"/>
              <a:gd name="connsiteY28060" fmla="*/ 802608 h 6557032"/>
              <a:gd name="connsiteX28061" fmla="*/ 1381208 w 4610101"/>
              <a:gd name="connsiteY28061" fmla="*/ 804430 h 6557032"/>
              <a:gd name="connsiteX28062" fmla="*/ 1390319 w 4610101"/>
              <a:gd name="connsiteY28062" fmla="*/ 800786 h 6557032"/>
              <a:gd name="connsiteX28063" fmla="*/ 1138859 w 4610101"/>
              <a:gd name="connsiteY28063" fmla="*/ 800786 h 6557032"/>
              <a:gd name="connsiteX28064" fmla="*/ 1131570 w 4610101"/>
              <a:gd name="connsiteY28064" fmla="*/ 809897 h 6557032"/>
              <a:gd name="connsiteX28065" fmla="*/ 1140602 w 4610101"/>
              <a:gd name="connsiteY28065" fmla="*/ 806886 h 6557032"/>
              <a:gd name="connsiteX28066" fmla="*/ 1140884 w 4610101"/>
              <a:gd name="connsiteY28066" fmla="*/ 807872 h 6557032"/>
              <a:gd name="connsiteX28067" fmla="*/ 1138859 w 4610101"/>
              <a:gd name="connsiteY28067" fmla="*/ 809897 h 6557032"/>
              <a:gd name="connsiteX28068" fmla="*/ 1142503 w 4610101"/>
              <a:gd name="connsiteY28068" fmla="*/ 813541 h 6557032"/>
              <a:gd name="connsiteX28069" fmla="*/ 1140884 w 4610101"/>
              <a:gd name="connsiteY28069" fmla="*/ 807872 h 6557032"/>
              <a:gd name="connsiteX28070" fmla="*/ 1142503 w 4610101"/>
              <a:gd name="connsiteY28070" fmla="*/ 806252 h 6557032"/>
              <a:gd name="connsiteX28071" fmla="*/ 1140602 w 4610101"/>
              <a:gd name="connsiteY28071" fmla="*/ 806886 h 6557032"/>
              <a:gd name="connsiteX28072" fmla="*/ 1027707 w 4610101"/>
              <a:gd name="connsiteY28072" fmla="*/ 800786 h 6557032"/>
              <a:gd name="connsiteX28073" fmla="*/ 1027707 w 4610101"/>
              <a:gd name="connsiteY28073" fmla="*/ 810505 h 6557032"/>
              <a:gd name="connsiteX28074" fmla="*/ 1025884 w 4610101"/>
              <a:gd name="connsiteY28074" fmla="*/ 811719 h 6557032"/>
              <a:gd name="connsiteX28075" fmla="*/ 1031351 w 4610101"/>
              <a:gd name="connsiteY28075" fmla="*/ 808074 h 6557032"/>
              <a:gd name="connsiteX28076" fmla="*/ 1029164 w 4610101"/>
              <a:gd name="connsiteY28076" fmla="*/ 809532 h 6557032"/>
              <a:gd name="connsiteX28077" fmla="*/ 1031351 w 4610101"/>
              <a:gd name="connsiteY28077" fmla="*/ 806252 h 6557032"/>
              <a:gd name="connsiteX28078" fmla="*/ 1027707 w 4610101"/>
              <a:gd name="connsiteY28078" fmla="*/ 800786 h 6557032"/>
              <a:gd name="connsiteX28079" fmla="*/ 982152 w 4610101"/>
              <a:gd name="connsiteY28079" fmla="*/ 800786 h 6557032"/>
              <a:gd name="connsiteX28080" fmla="*/ 962108 w 4610101"/>
              <a:gd name="connsiteY28080" fmla="*/ 815363 h 6557032"/>
              <a:gd name="connsiteX28081" fmla="*/ 989441 w 4610101"/>
              <a:gd name="connsiteY28081" fmla="*/ 809897 h 6557032"/>
              <a:gd name="connsiteX28082" fmla="*/ 982152 w 4610101"/>
              <a:gd name="connsiteY28082" fmla="*/ 800786 h 6557032"/>
              <a:gd name="connsiteX28083" fmla="*/ 889222 w 4610101"/>
              <a:gd name="connsiteY28083" fmla="*/ 800786 h 6557032"/>
              <a:gd name="connsiteX28084" fmla="*/ 881933 w 4610101"/>
              <a:gd name="connsiteY28084" fmla="*/ 802608 h 6557032"/>
              <a:gd name="connsiteX28085" fmla="*/ 883755 w 4610101"/>
              <a:gd name="connsiteY28085" fmla="*/ 806252 h 6557032"/>
              <a:gd name="connsiteX28086" fmla="*/ 889222 w 4610101"/>
              <a:gd name="connsiteY28086" fmla="*/ 800786 h 6557032"/>
              <a:gd name="connsiteX28087" fmla="*/ 832734 w 4610101"/>
              <a:gd name="connsiteY28087" fmla="*/ 800786 h 6557032"/>
              <a:gd name="connsiteX28088" fmla="*/ 838200 w 4610101"/>
              <a:gd name="connsiteY28088" fmla="*/ 811719 h 6557032"/>
              <a:gd name="connsiteX28089" fmla="*/ 841845 w 4610101"/>
              <a:gd name="connsiteY28089" fmla="*/ 802608 h 6557032"/>
              <a:gd name="connsiteX28090" fmla="*/ 832734 w 4610101"/>
              <a:gd name="connsiteY28090" fmla="*/ 800786 h 6557032"/>
              <a:gd name="connsiteX28091" fmla="*/ 728870 w 4610101"/>
              <a:gd name="connsiteY28091" fmla="*/ 800786 h 6557032"/>
              <a:gd name="connsiteX28092" fmla="*/ 732515 w 4610101"/>
              <a:gd name="connsiteY28092" fmla="*/ 804430 h 6557032"/>
              <a:gd name="connsiteX28093" fmla="*/ 734336 w 4610101"/>
              <a:gd name="connsiteY28093" fmla="*/ 800786 h 6557032"/>
              <a:gd name="connsiteX28094" fmla="*/ 728870 w 4610101"/>
              <a:gd name="connsiteY28094" fmla="*/ 800786 h 6557032"/>
              <a:gd name="connsiteX28095" fmla="*/ 701537 w 4610101"/>
              <a:gd name="connsiteY28095" fmla="*/ 800786 h 6557032"/>
              <a:gd name="connsiteX28096" fmla="*/ 694249 w 4610101"/>
              <a:gd name="connsiteY28096" fmla="*/ 806252 h 6557032"/>
              <a:gd name="connsiteX28097" fmla="*/ 701537 w 4610101"/>
              <a:gd name="connsiteY28097" fmla="*/ 809897 h 6557032"/>
              <a:gd name="connsiteX28098" fmla="*/ 701537 w 4610101"/>
              <a:gd name="connsiteY28098" fmla="*/ 800786 h 6557032"/>
              <a:gd name="connsiteX28099" fmla="*/ 3389472 w 4610101"/>
              <a:gd name="connsiteY28099" fmla="*/ 799420 h 6557032"/>
              <a:gd name="connsiteX28100" fmla="*/ 3372844 w 4610101"/>
              <a:gd name="connsiteY28100" fmla="*/ 800786 h 6557032"/>
              <a:gd name="connsiteX28101" fmla="*/ 3371022 w 4610101"/>
              <a:gd name="connsiteY28101" fmla="*/ 804430 h 6557032"/>
              <a:gd name="connsiteX28102" fmla="*/ 3407466 w 4610101"/>
              <a:gd name="connsiteY28102" fmla="*/ 800786 h 6557032"/>
              <a:gd name="connsiteX28103" fmla="*/ 3389472 w 4610101"/>
              <a:gd name="connsiteY28103" fmla="*/ 799420 h 6557032"/>
              <a:gd name="connsiteX28104" fmla="*/ 3241648 w 4610101"/>
              <a:gd name="connsiteY28104" fmla="*/ 798964 h 6557032"/>
              <a:gd name="connsiteX28105" fmla="*/ 3243470 w 4610101"/>
              <a:gd name="connsiteY28105" fmla="*/ 806252 h 6557032"/>
              <a:gd name="connsiteX28106" fmla="*/ 3241648 w 4610101"/>
              <a:gd name="connsiteY28106" fmla="*/ 798964 h 6557032"/>
              <a:gd name="connsiteX28107" fmla="*/ 2552866 w 4610101"/>
              <a:gd name="connsiteY28107" fmla="*/ 798964 h 6557032"/>
              <a:gd name="connsiteX28108" fmla="*/ 2554688 w 4610101"/>
              <a:gd name="connsiteY28108" fmla="*/ 833585 h 6557032"/>
              <a:gd name="connsiteX28109" fmla="*/ 2561977 w 4610101"/>
              <a:gd name="connsiteY28109" fmla="*/ 831763 h 6557032"/>
              <a:gd name="connsiteX28110" fmla="*/ 2563799 w 4610101"/>
              <a:gd name="connsiteY28110" fmla="*/ 835407 h 6557032"/>
              <a:gd name="connsiteX28111" fmla="*/ 2567443 w 4610101"/>
              <a:gd name="connsiteY28111" fmla="*/ 833585 h 6557032"/>
              <a:gd name="connsiteX28112" fmla="*/ 2569266 w 4610101"/>
              <a:gd name="connsiteY28112" fmla="*/ 817185 h 6557032"/>
              <a:gd name="connsiteX28113" fmla="*/ 2563799 w 4610101"/>
              <a:gd name="connsiteY28113" fmla="*/ 808074 h 6557032"/>
              <a:gd name="connsiteX28114" fmla="*/ 2556510 w 4610101"/>
              <a:gd name="connsiteY28114" fmla="*/ 813541 h 6557032"/>
              <a:gd name="connsiteX28115" fmla="*/ 2552866 w 4610101"/>
              <a:gd name="connsiteY28115" fmla="*/ 798964 h 6557032"/>
              <a:gd name="connsiteX28116" fmla="*/ 1446806 w 4610101"/>
              <a:gd name="connsiteY28116" fmla="*/ 798964 h 6557032"/>
              <a:gd name="connsiteX28117" fmla="*/ 1446707 w 4610101"/>
              <a:gd name="connsiteY28117" fmla="*/ 799561 h 6557032"/>
              <a:gd name="connsiteX28118" fmla="*/ 1443855 w 4610101"/>
              <a:gd name="connsiteY28118" fmla="*/ 801369 h 6557032"/>
              <a:gd name="connsiteX28119" fmla="*/ 1025884 w 4610101"/>
              <a:gd name="connsiteY28119" fmla="*/ 798964 h 6557032"/>
              <a:gd name="connsiteX28120" fmla="*/ 1020418 w 4610101"/>
              <a:gd name="connsiteY28120" fmla="*/ 806252 h 6557032"/>
              <a:gd name="connsiteX28121" fmla="*/ 1020429 w 4610101"/>
              <a:gd name="connsiteY28121" fmla="*/ 806274 h 6557032"/>
              <a:gd name="connsiteX28122" fmla="*/ 1022239 w 4610101"/>
              <a:gd name="connsiteY28122" fmla="*/ 802653 h 6557032"/>
              <a:gd name="connsiteX28123" fmla="*/ 1022239 w 4610101"/>
              <a:gd name="connsiteY28123" fmla="*/ 806298 h 6557032"/>
              <a:gd name="connsiteX28124" fmla="*/ 1020442 w 4610101"/>
              <a:gd name="connsiteY28124" fmla="*/ 806298 h 6557032"/>
              <a:gd name="connsiteX28125" fmla="*/ 1022240 w 4610101"/>
              <a:gd name="connsiteY28125" fmla="*/ 809897 h 6557032"/>
              <a:gd name="connsiteX28126" fmla="*/ 1022240 w 4610101"/>
              <a:gd name="connsiteY28126" fmla="*/ 808074 h 6557032"/>
              <a:gd name="connsiteX28127" fmla="*/ 1022240 w 4610101"/>
              <a:gd name="connsiteY28127" fmla="*/ 802608 h 6557032"/>
              <a:gd name="connsiteX28128" fmla="*/ 1025884 w 4610101"/>
              <a:gd name="connsiteY28128" fmla="*/ 798964 h 6557032"/>
              <a:gd name="connsiteX28129" fmla="*/ 912909 w 4610101"/>
              <a:gd name="connsiteY28129" fmla="*/ 798964 h 6557032"/>
              <a:gd name="connsiteX28130" fmla="*/ 912909 w 4610101"/>
              <a:gd name="connsiteY28130" fmla="*/ 802608 h 6557032"/>
              <a:gd name="connsiteX28131" fmla="*/ 912909 w 4610101"/>
              <a:gd name="connsiteY28131" fmla="*/ 798964 h 6557032"/>
              <a:gd name="connsiteX28132" fmla="*/ 670560 w 4610101"/>
              <a:gd name="connsiteY28132" fmla="*/ 798964 h 6557032"/>
              <a:gd name="connsiteX28133" fmla="*/ 666916 w 4610101"/>
              <a:gd name="connsiteY28133" fmla="*/ 802608 h 6557032"/>
              <a:gd name="connsiteX28134" fmla="*/ 677849 w 4610101"/>
              <a:gd name="connsiteY28134" fmla="*/ 813541 h 6557032"/>
              <a:gd name="connsiteX28135" fmla="*/ 672383 w 4610101"/>
              <a:gd name="connsiteY28135" fmla="*/ 806252 h 6557032"/>
              <a:gd name="connsiteX28136" fmla="*/ 677849 w 4610101"/>
              <a:gd name="connsiteY28136" fmla="*/ 804430 h 6557032"/>
              <a:gd name="connsiteX28137" fmla="*/ 670560 w 4610101"/>
              <a:gd name="connsiteY28137" fmla="*/ 798964 h 6557032"/>
              <a:gd name="connsiteX28138" fmla="*/ 557586 w 4610101"/>
              <a:gd name="connsiteY28138" fmla="*/ 798964 h 6557032"/>
              <a:gd name="connsiteX28139" fmla="*/ 564874 w 4610101"/>
              <a:gd name="connsiteY28139" fmla="*/ 804430 h 6557032"/>
              <a:gd name="connsiteX28140" fmla="*/ 557586 w 4610101"/>
              <a:gd name="connsiteY28140" fmla="*/ 798964 h 6557032"/>
              <a:gd name="connsiteX28141" fmla="*/ 276971 w 4610101"/>
              <a:gd name="connsiteY28141" fmla="*/ 798964 h 6557032"/>
              <a:gd name="connsiteX28142" fmla="*/ 282438 w 4610101"/>
              <a:gd name="connsiteY28142" fmla="*/ 802608 h 6557032"/>
              <a:gd name="connsiteX28143" fmla="*/ 276971 w 4610101"/>
              <a:gd name="connsiteY28143" fmla="*/ 798964 h 6557032"/>
              <a:gd name="connsiteX28144" fmla="*/ 225950 w 4610101"/>
              <a:gd name="connsiteY28144" fmla="*/ 798964 h 6557032"/>
              <a:gd name="connsiteX28145" fmla="*/ 242349 w 4610101"/>
              <a:gd name="connsiteY28145" fmla="*/ 811719 h 6557032"/>
              <a:gd name="connsiteX28146" fmla="*/ 236883 w 4610101"/>
              <a:gd name="connsiteY28146" fmla="*/ 804430 h 6557032"/>
              <a:gd name="connsiteX28147" fmla="*/ 225950 w 4610101"/>
              <a:gd name="connsiteY28147" fmla="*/ 798964 h 6557032"/>
              <a:gd name="connsiteX28148" fmla="*/ 216839 w 4610101"/>
              <a:gd name="connsiteY28148" fmla="*/ 798964 h 6557032"/>
              <a:gd name="connsiteX28149" fmla="*/ 233239 w 4610101"/>
              <a:gd name="connsiteY28149" fmla="*/ 815363 h 6557032"/>
              <a:gd name="connsiteX28150" fmla="*/ 225950 w 4610101"/>
              <a:gd name="connsiteY28150" fmla="*/ 808074 h 6557032"/>
              <a:gd name="connsiteX28151" fmla="*/ 216839 w 4610101"/>
              <a:gd name="connsiteY28151" fmla="*/ 798964 h 6557032"/>
              <a:gd name="connsiteX28152" fmla="*/ 1448168 w 4610101"/>
              <a:gd name="connsiteY28152" fmla="*/ 798634 h 6557032"/>
              <a:gd name="connsiteX28153" fmla="*/ 1448629 w 4610101"/>
              <a:gd name="connsiteY28153" fmla="*/ 804430 h 6557032"/>
              <a:gd name="connsiteX28154" fmla="*/ 1444984 w 4610101"/>
              <a:gd name="connsiteY28154" fmla="*/ 809897 h 6557032"/>
              <a:gd name="connsiteX28155" fmla="*/ 1446707 w 4610101"/>
              <a:gd name="connsiteY28155" fmla="*/ 799561 h 6557032"/>
              <a:gd name="connsiteX28156" fmla="*/ 691288 w 4610101"/>
              <a:gd name="connsiteY28156" fmla="*/ 798280 h 6557032"/>
              <a:gd name="connsiteX28157" fmla="*/ 688782 w 4610101"/>
              <a:gd name="connsiteY28157" fmla="*/ 804430 h 6557032"/>
              <a:gd name="connsiteX28158" fmla="*/ 692426 w 4610101"/>
              <a:gd name="connsiteY28158" fmla="*/ 806252 h 6557032"/>
              <a:gd name="connsiteX28159" fmla="*/ 697893 w 4610101"/>
              <a:gd name="connsiteY28159" fmla="*/ 798964 h 6557032"/>
              <a:gd name="connsiteX28160" fmla="*/ 691288 w 4610101"/>
              <a:gd name="connsiteY28160" fmla="*/ 798280 h 6557032"/>
              <a:gd name="connsiteX28161" fmla="*/ 954990 w 4610101"/>
              <a:gd name="connsiteY28161" fmla="*/ 797882 h 6557032"/>
              <a:gd name="connsiteX28162" fmla="*/ 947986 w 4610101"/>
              <a:gd name="connsiteY28162" fmla="*/ 798964 h 6557032"/>
              <a:gd name="connsiteX28163" fmla="*/ 932953 w 4610101"/>
              <a:gd name="connsiteY28163" fmla="*/ 811719 h 6557032"/>
              <a:gd name="connsiteX28164" fmla="*/ 932953 w 4610101"/>
              <a:gd name="connsiteY28164" fmla="*/ 813541 h 6557032"/>
              <a:gd name="connsiteX28165" fmla="*/ 931131 w 4610101"/>
              <a:gd name="connsiteY28165" fmla="*/ 811719 h 6557032"/>
              <a:gd name="connsiteX28166" fmla="*/ 927487 w 4610101"/>
              <a:gd name="connsiteY28166" fmla="*/ 815363 h 6557032"/>
              <a:gd name="connsiteX28167" fmla="*/ 929309 w 4610101"/>
              <a:gd name="connsiteY28167" fmla="*/ 817185 h 6557032"/>
              <a:gd name="connsiteX28168" fmla="*/ 927487 w 4610101"/>
              <a:gd name="connsiteY28168" fmla="*/ 819008 h 6557032"/>
              <a:gd name="connsiteX28169" fmla="*/ 932953 w 4610101"/>
              <a:gd name="connsiteY28169" fmla="*/ 817185 h 6557032"/>
              <a:gd name="connsiteX28170" fmla="*/ 929309 w 4610101"/>
              <a:gd name="connsiteY28170" fmla="*/ 815363 h 6557032"/>
              <a:gd name="connsiteX28171" fmla="*/ 932953 w 4610101"/>
              <a:gd name="connsiteY28171" fmla="*/ 813541 h 6557032"/>
              <a:gd name="connsiteX28172" fmla="*/ 942064 w 4610101"/>
              <a:gd name="connsiteY28172" fmla="*/ 817185 h 6557032"/>
              <a:gd name="connsiteX28173" fmla="*/ 945709 w 4610101"/>
              <a:gd name="connsiteY28173" fmla="*/ 809897 h 6557032"/>
              <a:gd name="connsiteX28174" fmla="*/ 947531 w 4610101"/>
              <a:gd name="connsiteY28174" fmla="*/ 813541 h 6557032"/>
              <a:gd name="connsiteX28175" fmla="*/ 958464 w 4610101"/>
              <a:gd name="connsiteY28175" fmla="*/ 808074 h 6557032"/>
              <a:gd name="connsiteX28176" fmla="*/ 951175 w 4610101"/>
              <a:gd name="connsiteY28176" fmla="*/ 802608 h 6557032"/>
              <a:gd name="connsiteX28177" fmla="*/ 960286 w 4610101"/>
              <a:gd name="connsiteY28177" fmla="*/ 802608 h 6557032"/>
              <a:gd name="connsiteX28178" fmla="*/ 954990 w 4610101"/>
              <a:gd name="connsiteY28178" fmla="*/ 797882 h 6557032"/>
              <a:gd name="connsiteX28179" fmla="*/ 1322215 w 4610101"/>
              <a:gd name="connsiteY28179" fmla="*/ 797825 h 6557032"/>
              <a:gd name="connsiteX28180" fmla="*/ 1317432 w 4610101"/>
              <a:gd name="connsiteY28180" fmla="*/ 800786 h 6557032"/>
              <a:gd name="connsiteX28181" fmla="*/ 1328365 w 4610101"/>
              <a:gd name="connsiteY28181" fmla="*/ 798964 h 6557032"/>
              <a:gd name="connsiteX28182" fmla="*/ 1322215 w 4610101"/>
              <a:gd name="connsiteY28182" fmla="*/ 797825 h 6557032"/>
              <a:gd name="connsiteX28183" fmla="*/ 341202 w 4610101"/>
              <a:gd name="connsiteY28183" fmla="*/ 797825 h 6557032"/>
              <a:gd name="connsiteX28184" fmla="*/ 338926 w 4610101"/>
              <a:gd name="connsiteY28184" fmla="*/ 798964 h 6557032"/>
              <a:gd name="connsiteX28185" fmla="*/ 344470 w 4610101"/>
              <a:gd name="connsiteY28185" fmla="*/ 799757 h 6557032"/>
              <a:gd name="connsiteX28186" fmla="*/ 346213 w 4610101"/>
              <a:gd name="connsiteY28186" fmla="*/ 800786 h 6557032"/>
              <a:gd name="connsiteX28187" fmla="*/ 351680 w 4610101"/>
              <a:gd name="connsiteY28187" fmla="*/ 800786 h 6557032"/>
              <a:gd name="connsiteX28188" fmla="*/ 344470 w 4610101"/>
              <a:gd name="connsiteY28188" fmla="*/ 799757 h 6557032"/>
              <a:gd name="connsiteX28189" fmla="*/ 3645375 w 4610101"/>
              <a:gd name="connsiteY28189" fmla="*/ 797761 h 6557032"/>
              <a:gd name="connsiteX28190" fmla="*/ 3646171 w 4610101"/>
              <a:gd name="connsiteY28190" fmla="*/ 800786 h 6557032"/>
              <a:gd name="connsiteX28191" fmla="*/ 3643158 w 4610101"/>
              <a:gd name="connsiteY28191" fmla="*/ 801791 h 6557032"/>
              <a:gd name="connsiteX28192" fmla="*/ 1292068 w 4610101"/>
              <a:gd name="connsiteY28192" fmla="*/ 797734 h 6557032"/>
              <a:gd name="connsiteX28193" fmla="*/ 1297388 w 4610101"/>
              <a:gd name="connsiteY28193" fmla="*/ 800786 h 6557032"/>
              <a:gd name="connsiteX28194" fmla="*/ 1292149 w 4610101"/>
              <a:gd name="connsiteY28194" fmla="*/ 797825 h 6557032"/>
              <a:gd name="connsiteX28195" fmla="*/ 1217210 w 4610101"/>
              <a:gd name="connsiteY28195" fmla="*/ 797142 h 6557032"/>
              <a:gd name="connsiteX28196" fmla="*/ 1217212 w 4610101"/>
              <a:gd name="connsiteY28196" fmla="*/ 797142 h 6557032"/>
              <a:gd name="connsiteX28197" fmla="*/ 1209012 w 4610101"/>
              <a:gd name="connsiteY28197" fmla="*/ 801242 h 6557032"/>
              <a:gd name="connsiteX28198" fmla="*/ 1200814 w 4610101"/>
              <a:gd name="connsiteY28198" fmla="*/ 802608 h 6557032"/>
              <a:gd name="connsiteX28199" fmla="*/ 3540484 w 4610101"/>
              <a:gd name="connsiteY28199" fmla="*/ 797141 h 6557032"/>
              <a:gd name="connsiteX28200" fmla="*/ 3542306 w 4610101"/>
              <a:gd name="connsiteY28200" fmla="*/ 806252 h 6557032"/>
              <a:gd name="connsiteX28201" fmla="*/ 3540484 w 4610101"/>
              <a:gd name="connsiteY28201" fmla="*/ 804430 h 6557032"/>
              <a:gd name="connsiteX28202" fmla="*/ 3525907 w 4610101"/>
              <a:gd name="connsiteY28202" fmla="*/ 808074 h 6557032"/>
              <a:gd name="connsiteX28203" fmla="*/ 3549595 w 4610101"/>
              <a:gd name="connsiteY28203" fmla="*/ 815363 h 6557032"/>
              <a:gd name="connsiteX28204" fmla="*/ 3549595 w 4610101"/>
              <a:gd name="connsiteY28204" fmla="*/ 797141 h 6557032"/>
              <a:gd name="connsiteX28205" fmla="*/ 3540484 w 4610101"/>
              <a:gd name="connsiteY28205" fmla="*/ 797141 h 6557032"/>
              <a:gd name="connsiteX28206" fmla="*/ 3371022 w 4610101"/>
              <a:gd name="connsiteY28206" fmla="*/ 797141 h 6557032"/>
              <a:gd name="connsiteX28207" fmla="*/ 3356445 w 4610101"/>
              <a:gd name="connsiteY28207" fmla="*/ 800786 h 6557032"/>
              <a:gd name="connsiteX28208" fmla="*/ 3371022 w 4610101"/>
              <a:gd name="connsiteY28208" fmla="*/ 797141 h 6557032"/>
              <a:gd name="connsiteX28209" fmla="*/ 2786104 w 4610101"/>
              <a:gd name="connsiteY28209" fmla="*/ 797141 h 6557032"/>
              <a:gd name="connsiteX28210" fmla="*/ 2793393 w 4610101"/>
              <a:gd name="connsiteY28210" fmla="*/ 809897 h 6557032"/>
              <a:gd name="connsiteX28211" fmla="*/ 2786104 w 4610101"/>
              <a:gd name="connsiteY28211" fmla="*/ 797141 h 6557032"/>
              <a:gd name="connsiteX28212" fmla="*/ 2669485 w 4610101"/>
              <a:gd name="connsiteY28212" fmla="*/ 797141 h 6557032"/>
              <a:gd name="connsiteX28213" fmla="*/ 2662197 w 4610101"/>
              <a:gd name="connsiteY28213" fmla="*/ 800786 h 6557032"/>
              <a:gd name="connsiteX28214" fmla="*/ 2669485 w 4610101"/>
              <a:gd name="connsiteY28214" fmla="*/ 797141 h 6557032"/>
              <a:gd name="connsiteX28215" fmla="*/ 2638508 w 4610101"/>
              <a:gd name="connsiteY28215" fmla="*/ 797141 h 6557032"/>
              <a:gd name="connsiteX28216" fmla="*/ 2636686 w 4610101"/>
              <a:gd name="connsiteY28216" fmla="*/ 811719 h 6557032"/>
              <a:gd name="connsiteX28217" fmla="*/ 2627575 w 4610101"/>
              <a:gd name="connsiteY28217" fmla="*/ 822652 h 6557032"/>
              <a:gd name="connsiteX28218" fmla="*/ 2642153 w 4610101"/>
              <a:gd name="connsiteY28218" fmla="*/ 828118 h 6557032"/>
              <a:gd name="connsiteX28219" fmla="*/ 2638508 w 4610101"/>
              <a:gd name="connsiteY28219" fmla="*/ 797141 h 6557032"/>
              <a:gd name="connsiteX28220" fmla="*/ 2527356 w 4610101"/>
              <a:gd name="connsiteY28220" fmla="*/ 797141 h 6557032"/>
              <a:gd name="connsiteX28221" fmla="*/ 2534644 w 4610101"/>
              <a:gd name="connsiteY28221" fmla="*/ 808074 h 6557032"/>
              <a:gd name="connsiteX28222" fmla="*/ 2532822 w 4610101"/>
              <a:gd name="connsiteY28222" fmla="*/ 797141 h 6557032"/>
              <a:gd name="connsiteX28223" fmla="*/ 2527356 w 4610101"/>
              <a:gd name="connsiteY28223" fmla="*/ 797141 h 6557032"/>
              <a:gd name="connsiteX28224" fmla="*/ 2275896 w 4610101"/>
              <a:gd name="connsiteY28224" fmla="*/ 797141 h 6557032"/>
              <a:gd name="connsiteX28225" fmla="*/ 2279540 w 4610101"/>
              <a:gd name="connsiteY28225" fmla="*/ 806252 h 6557032"/>
              <a:gd name="connsiteX28226" fmla="*/ 2283184 w 4610101"/>
              <a:gd name="connsiteY28226" fmla="*/ 802608 h 6557032"/>
              <a:gd name="connsiteX28227" fmla="*/ 2275896 w 4610101"/>
              <a:gd name="connsiteY28227" fmla="*/ 797141 h 6557032"/>
              <a:gd name="connsiteX28228" fmla="*/ 1508760 w 4610101"/>
              <a:gd name="connsiteY28228" fmla="*/ 797141 h 6557032"/>
              <a:gd name="connsiteX28229" fmla="*/ 1501472 w 4610101"/>
              <a:gd name="connsiteY28229" fmla="*/ 801469 h 6557032"/>
              <a:gd name="connsiteX28230" fmla="*/ 1499606 w 4610101"/>
              <a:gd name="connsiteY28230" fmla="*/ 802227 h 6557032"/>
              <a:gd name="connsiteX28231" fmla="*/ 1341120 w 4610101"/>
              <a:gd name="connsiteY28231" fmla="*/ 797141 h 6557032"/>
              <a:gd name="connsiteX28232" fmla="*/ 1332009 w 4610101"/>
              <a:gd name="connsiteY28232" fmla="*/ 800786 h 6557032"/>
              <a:gd name="connsiteX28233" fmla="*/ 1341120 w 4610101"/>
              <a:gd name="connsiteY28233" fmla="*/ 797141 h 6557032"/>
              <a:gd name="connsiteX28234" fmla="*/ 707004 w 4610101"/>
              <a:gd name="connsiteY28234" fmla="*/ 797141 h 6557032"/>
              <a:gd name="connsiteX28235" fmla="*/ 701537 w 4610101"/>
              <a:gd name="connsiteY28235" fmla="*/ 798964 h 6557032"/>
              <a:gd name="connsiteX28236" fmla="*/ 708826 w 4610101"/>
              <a:gd name="connsiteY28236" fmla="*/ 808074 h 6557032"/>
              <a:gd name="connsiteX28237" fmla="*/ 707004 w 4610101"/>
              <a:gd name="connsiteY28237" fmla="*/ 797141 h 6557032"/>
              <a:gd name="connsiteX28238" fmla="*/ 635939 w 4610101"/>
              <a:gd name="connsiteY28238" fmla="*/ 797141 h 6557032"/>
              <a:gd name="connsiteX28239" fmla="*/ 639583 w 4610101"/>
              <a:gd name="connsiteY28239" fmla="*/ 804430 h 6557032"/>
              <a:gd name="connsiteX28240" fmla="*/ 643228 w 4610101"/>
              <a:gd name="connsiteY28240" fmla="*/ 800786 h 6557032"/>
              <a:gd name="connsiteX28241" fmla="*/ 635939 w 4610101"/>
              <a:gd name="connsiteY28241" fmla="*/ 797141 h 6557032"/>
              <a:gd name="connsiteX28242" fmla="*/ 402701 w 4610101"/>
              <a:gd name="connsiteY28242" fmla="*/ 797141 h 6557032"/>
              <a:gd name="connsiteX28243" fmla="*/ 406345 w 4610101"/>
              <a:gd name="connsiteY28243" fmla="*/ 800786 h 6557032"/>
              <a:gd name="connsiteX28244" fmla="*/ 402701 w 4610101"/>
              <a:gd name="connsiteY28244" fmla="*/ 797141 h 6557032"/>
              <a:gd name="connsiteX28245" fmla="*/ 311592 w 4610101"/>
              <a:gd name="connsiteY28245" fmla="*/ 797141 h 6557032"/>
              <a:gd name="connsiteX28246" fmla="*/ 320703 w 4610101"/>
              <a:gd name="connsiteY28246" fmla="*/ 806252 h 6557032"/>
              <a:gd name="connsiteX28247" fmla="*/ 317059 w 4610101"/>
              <a:gd name="connsiteY28247" fmla="*/ 802608 h 6557032"/>
              <a:gd name="connsiteX28248" fmla="*/ 318882 w 4610101"/>
              <a:gd name="connsiteY28248" fmla="*/ 802608 h 6557032"/>
              <a:gd name="connsiteX28249" fmla="*/ 311592 w 4610101"/>
              <a:gd name="connsiteY28249" fmla="*/ 797141 h 6557032"/>
              <a:gd name="connsiteX28250" fmla="*/ 200439 w 4610101"/>
              <a:gd name="connsiteY28250" fmla="*/ 797141 h 6557032"/>
              <a:gd name="connsiteX28251" fmla="*/ 215017 w 4610101"/>
              <a:gd name="connsiteY28251" fmla="*/ 815363 h 6557032"/>
              <a:gd name="connsiteX28252" fmla="*/ 215017 w 4610101"/>
              <a:gd name="connsiteY28252" fmla="*/ 811719 h 6557032"/>
              <a:gd name="connsiteX28253" fmla="*/ 224128 w 4610101"/>
              <a:gd name="connsiteY28253" fmla="*/ 819008 h 6557032"/>
              <a:gd name="connsiteX28254" fmla="*/ 200439 w 4610101"/>
              <a:gd name="connsiteY28254" fmla="*/ 797141 h 6557032"/>
              <a:gd name="connsiteX28255" fmla="*/ 1449855 w 4610101"/>
              <a:gd name="connsiteY28255" fmla="*/ 796779 h 6557032"/>
              <a:gd name="connsiteX28256" fmla="*/ 1449085 w 4610101"/>
              <a:gd name="connsiteY28256" fmla="*/ 798053 h 6557032"/>
              <a:gd name="connsiteX28257" fmla="*/ 1448168 w 4610101"/>
              <a:gd name="connsiteY28257" fmla="*/ 798634 h 6557032"/>
              <a:gd name="connsiteX28258" fmla="*/ 1448145 w 4610101"/>
              <a:gd name="connsiteY28258" fmla="*/ 798338 h 6557032"/>
              <a:gd name="connsiteX28259" fmla="*/ 2337850 w 4610101"/>
              <a:gd name="connsiteY28259" fmla="*/ 795319 h 6557032"/>
              <a:gd name="connsiteX28260" fmla="*/ 2332383 w 4610101"/>
              <a:gd name="connsiteY28260" fmla="*/ 797141 h 6557032"/>
              <a:gd name="connsiteX28261" fmla="*/ 2328739 w 4610101"/>
              <a:gd name="connsiteY28261" fmla="*/ 815363 h 6557032"/>
              <a:gd name="connsiteX28262" fmla="*/ 2337850 w 4610101"/>
              <a:gd name="connsiteY28262" fmla="*/ 795319 h 6557032"/>
              <a:gd name="connsiteX28263" fmla="*/ 1107882 w 4610101"/>
              <a:gd name="connsiteY28263" fmla="*/ 795319 h 6557032"/>
              <a:gd name="connsiteX28264" fmla="*/ 1107882 w 4610101"/>
              <a:gd name="connsiteY28264" fmla="*/ 802244 h 6557032"/>
              <a:gd name="connsiteX28265" fmla="*/ 1106060 w 4610101"/>
              <a:gd name="connsiteY28265" fmla="*/ 802608 h 6557032"/>
              <a:gd name="connsiteX28266" fmla="*/ 1106060 w 4610101"/>
              <a:gd name="connsiteY28266" fmla="*/ 809897 h 6557032"/>
              <a:gd name="connsiteX28267" fmla="*/ 1107882 w 4610101"/>
              <a:gd name="connsiteY28267" fmla="*/ 815363 h 6557032"/>
              <a:gd name="connsiteX28268" fmla="*/ 1115171 w 4610101"/>
              <a:gd name="connsiteY28268" fmla="*/ 813541 h 6557032"/>
              <a:gd name="connsiteX28269" fmla="*/ 1111526 w 4610101"/>
              <a:gd name="connsiteY28269" fmla="*/ 811719 h 6557032"/>
              <a:gd name="connsiteX28270" fmla="*/ 1115171 w 4610101"/>
              <a:gd name="connsiteY28270" fmla="*/ 811719 h 6557032"/>
              <a:gd name="connsiteX28271" fmla="*/ 1109704 w 4610101"/>
              <a:gd name="connsiteY28271" fmla="*/ 804430 h 6557032"/>
              <a:gd name="connsiteX28272" fmla="*/ 1115171 w 4610101"/>
              <a:gd name="connsiteY28272" fmla="*/ 808074 h 6557032"/>
              <a:gd name="connsiteX28273" fmla="*/ 1115171 w 4610101"/>
              <a:gd name="connsiteY28273" fmla="*/ 800786 h 6557032"/>
              <a:gd name="connsiteX28274" fmla="*/ 1108663 w 4610101"/>
              <a:gd name="connsiteY28274" fmla="*/ 802088 h 6557032"/>
              <a:gd name="connsiteX28275" fmla="*/ 1113349 w 4610101"/>
              <a:gd name="connsiteY28275" fmla="*/ 798964 h 6557032"/>
              <a:gd name="connsiteX28276" fmla="*/ 1107882 w 4610101"/>
              <a:gd name="connsiteY28276" fmla="*/ 795319 h 6557032"/>
              <a:gd name="connsiteX28277" fmla="*/ 1102416 w 4610101"/>
              <a:gd name="connsiteY28277" fmla="*/ 795319 h 6557032"/>
              <a:gd name="connsiteX28278" fmla="*/ 1102416 w 4610101"/>
              <a:gd name="connsiteY28278" fmla="*/ 800786 h 6557032"/>
              <a:gd name="connsiteX28279" fmla="*/ 1104238 w 4610101"/>
              <a:gd name="connsiteY28279" fmla="*/ 795319 h 6557032"/>
              <a:gd name="connsiteX28280" fmla="*/ 1102416 w 4610101"/>
              <a:gd name="connsiteY28280" fmla="*/ 795319 h 6557032"/>
              <a:gd name="connsiteX28281" fmla="*/ 719759 w 4610101"/>
              <a:gd name="connsiteY28281" fmla="*/ 795319 h 6557032"/>
              <a:gd name="connsiteX28282" fmla="*/ 717937 w 4610101"/>
              <a:gd name="connsiteY28282" fmla="*/ 804430 h 6557032"/>
              <a:gd name="connsiteX28283" fmla="*/ 725226 w 4610101"/>
              <a:gd name="connsiteY28283" fmla="*/ 798964 h 6557032"/>
              <a:gd name="connsiteX28284" fmla="*/ 719759 w 4610101"/>
              <a:gd name="connsiteY28284" fmla="*/ 795319 h 6557032"/>
              <a:gd name="connsiteX28285" fmla="*/ 666916 w 4610101"/>
              <a:gd name="connsiteY28285" fmla="*/ 795319 h 6557032"/>
              <a:gd name="connsiteX28286" fmla="*/ 666916 w 4610101"/>
              <a:gd name="connsiteY28286" fmla="*/ 798964 h 6557032"/>
              <a:gd name="connsiteX28287" fmla="*/ 670560 w 4610101"/>
              <a:gd name="connsiteY28287" fmla="*/ 797141 h 6557032"/>
              <a:gd name="connsiteX28288" fmla="*/ 666916 w 4610101"/>
              <a:gd name="connsiteY28288" fmla="*/ 795319 h 6557032"/>
              <a:gd name="connsiteX28289" fmla="*/ 648694 w 4610101"/>
              <a:gd name="connsiteY28289" fmla="*/ 795319 h 6557032"/>
              <a:gd name="connsiteX28290" fmla="*/ 650104 w 4610101"/>
              <a:gd name="connsiteY28290" fmla="*/ 799552 h 6557032"/>
              <a:gd name="connsiteX28291" fmla="*/ 648694 w 4610101"/>
              <a:gd name="connsiteY28291" fmla="*/ 798964 h 6557032"/>
              <a:gd name="connsiteX28292" fmla="*/ 650516 w 4610101"/>
              <a:gd name="connsiteY28292" fmla="*/ 800786 h 6557032"/>
              <a:gd name="connsiteX28293" fmla="*/ 650104 w 4610101"/>
              <a:gd name="connsiteY28293" fmla="*/ 799552 h 6557032"/>
              <a:gd name="connsiteX28294" fmla="*/ 651427 w 4610101"/>
              <a:gd name="connsiteY28294" fmla="*/ 800103 h 6557032"/>
              <a:gd name="connsiteX28295" fmla="*/ 654161 w 4610101"/>
              <a:gd name="connsiteY28295" fmla="*/ 802608 h 6557032"/>
              <a:gd name="connsiteX28296" fmla="*/ 655983 w 4610101"/>
              <a:gd name="connsiteY28296" fmla="*/ 795319 h 6557032"/>
              <a:gd name="connsiteX28297" fmla="*/ 648694 w 4610101"/>
              <a:gd name="connsiteY28297" fmla="*/ 795319 h 6557032"/>
              <a:gd name="connsiteX28298" fmla="*/ 532075 w 4610101"/>
              <a:gd name="connsiteY28298" fmla="*/ 795319 h 6557032"/>
              <a:gd name="connsiteX28299" fmla="*/ 543008 w 4610101"/>
              <a:gd name="connsiteY28299" fmla="*/ 808074 h 6557032"/>
              <a:gd name="connsiteX28300" fmla="*/ 532075 w 4610101"/>
              <a:gd name="connsiteY28300" fmla="*/ 795319 h 6557032"/>
              <a:gd name="connsiteX28301" fmla="*/ 3119428 w 4610101"/>
              <a:gd name="connsiteY28301" fmla="*/ 794617 h 6557032"/>
              <a:gd name="connsiteX28302" fmla="*/ 3119562 w 4610101"/>
              <a:gd name="connsiteY28302" fmla="*/ 795319 h 6557032"/>
              <a:gd name="connsiteX28303" fmla="*/ 3118119 w 4610101"/>
              <a:gd name="connsiteY28303" fmla="*/ 795079 h 6557032"/>
              <a:gd name="connsiteX28304" fmla="*/ 1022240 w 4610101"/>
              <a:gd name="connsiteY28304" fmla="*/ 793497 h 6557032"/>
              <a:gd name="connsiteX28305" fmla="*/ 1020418 w 4610101"/>
              <a:gd name="connsiteY28305" fmla="*/ 800786 h 6557032"/>
              <a:gd name="connsiteX28306" fmla="*/ 1024062 w 4610101"/>
              <a:gd name="connsiteY28306" fmla="*/ 795319 h 6557032"/>
              <a:gd name="connsiteX28307" fmla="*/ 1022240 w 4610101"/>
              <a:gd name="connsiteY28307" fmla="*/ 793497 h 6557032"/>
              <a:gd name="connsiteX28308" fmla="*/ 962108 w 4610101"/>
              <a:gd name="connsiteY28308" fmla="*/ 793497 h 6557032"/>
              <a:gd name="connsiteX28309" fmla="*/ 956642 w 4610101"/>
              <a:gd name="connsiteY28309" fmla="*/ 795319 h 6557032"/>
              <a:gd name="connsiteX28310" fmla="*/ 962108 w 4610101"/>
              <a:gd name="connsiteY28310" fmla="*/ 793497 h 6557032"/>
              <a:gd name="connsiteX28311" fmla="*/ 759848 w 4610101"/>
              <a:gd name="connsiteY28311" fmla="*/ 793497 h 6557032"/>
              <a:gd name="connsiteX28312" fmla="*/ 763491 w 4610101"/>
              <a:gd name="connsiteY28312" fmla="*/ 793497 h 6557032"/>
              <a:gd name="connsiteX28313" fmla="*/ 759848 w 4610101"/>
              <a:gd name="connsiteY28313" fmla="*/ 793497 h 6557032"/>
              <a:gd name="connsiteX28314" fmla="*/ 430034 w 4610101"/>
              <a:gd name="connsiteY28314" fmla="*/ 793497 h 6557032"/>
              <a:gd name="connsiteX28315" fmla="*/ 438005 w 4610101"/>
              <a:gd name="connsiteY28315" fmla="*/ 805342 h 6557032"/>
              <a:gd name="connsiteX28316" fmla="*/ 443564 w 4610101"/>
              <a:gd name="connsiteY28316" fmla="*/ 808278 h 6557032"/>
              <a:gd name="connsiteX28317" fmla="*/ 442789 w 4610101"/>
              <a:gd name="connsiteY28317" fmla="*/ 808074 h 6557032"/>
              <a:gd name="connsiteX28318" fmla="*/ 443843 w 4610101"/>
              <a:gd name="connsiteY28318" fmla="*/ 808426 h 6557032"/>
              <a:gd name="connsiteX28319" fmla="*/ 450077 w 4610101"/>
              <a:gd name="connsiteY28319" fmla="*/ 811719 h 6557032"/>
              <a:gd name="connsiteX28320" fmla="*/ 447708 w 4610101"/>
              <a:gd name="connsiteY28320" fmla="*/ 809714 h 6557032"/>
              <a:gd name="connsiteX28321" fmla="*/ 453722 w 4610101"/>
              <a:gd name="connsiteY28321" fmla="*/ 811719 h 6557032"/>
              <a:gd name="connsiteX28322" fmla="*/ 442789 w 4610101"/>
              <a:gd name="connsiteY28322" fmla="*/ 802608 h 6557032"/>
              <a:gd name="connsiteX28323" fmla="*/ 455544 w 4610101"/>
              <a:gd name="connsiteY28323" fmla="*/ 808074 h 6557032"/>
              <a:gd name="connsiteX28324" fmla="*/ 430034 w 4610101"/>
              <a:gd name="connsiteY28324" fmla="*/ 793497 h 6557032"/>
              <a:gd name="connsiteX28325" fmla="*/ 3324329 w 4610101"/>
              <a:gd name="connsiteY28325" fmla="*/ 792586 h 6557032"/>
              <a:gd name="connsiteX28326" fmla="*/ 3320001 w 4610101"/>
              <a:gd name="connsiteY28326" fmla="*/ 795319 h 6557032"/>
              <a:gd name="connsiteX28327" fmla="*/ 3327290 w 4610101"/>
              <a:gd name="connsiteY28327" fmla="*/ 795319 h 6557032"/>
              <a:gd name="connsiteX28328" fmla="*/ 3324329 w 4610101"/>
              <a:gd name="connsiteY28328" fmla="*/ 792586 h 6557032"/>
              <a:gd name="connsiteX28329" fmla="*/ 3460309 w 4610101"/>
              <a:gd name="connsiteY28329" fmla="*/ 791675 h 6557032"/>
              <a:gd name="connsiteX28330" fmla="*/ 3460309 w 4610101"/>
              <a:gd name="connsiteY28330" fmla="*/ 802608 h 6557032"/>
              <a:gd name="connsiteX28331" fmla="*/ 3467597 w 4610101"/>
              <a:gd name="connsiteY28331" fmla="*/ 798964 h 6557032"/>
              <a:gd name="connsiteX28332" fmla="*/ 3460309 w 4610101"/>
              <a:gd name="connsiteY28332" fmla="*/ 791675 h 6557032"/>
              <a:gd name="connsiteX28333" fmla="*/ 1131570 w 4610101"/>
              <a:gd name="connsiteY28333" fmla="*/ 791675 h 6557032"/>
              <a:gd name="connsiteX28334" fmla="*/ 1116993 w 4610101"/>
              <a:gd name="connsiteY28334" fmla="*/ 793497 h 6557032"/>
              <a:gd name="connsiteX28335" fmla="*/ 1122459 w 4610101"/>
              <a:gd name="connsiteY28335" fmla="*/ 800786 h 6557032"/>
              <a:gd name="connsiteX28336" fmla="*/ 1131570 w 4610101"/>
              <a:gd name="connsiteY28336" fmla="*/ 791675 h 6557032"/>
              <a:gd name="connsiteX28337" fmla="*/ 768959 w 4610101"/>
              <a:gd name="connsiteY28337" fmla="*/ 791675 h 6557032"/>
              <a:gd name="connsiteX28338" fmla="*/ 772602 w 4610101"/>
              <a:gd name="connsiteY28338" fmla="*/ 806252 h 6557032"/>
              <a:gd name="connsiteX28339" fmla="*/ 768959 w 4610101"/>
              <a:gd name="connsiteY28339" fmla="*/ 791675 h 6557032"/>
              <a:gd name="connsiteX28340" fmla="*/ 594030 w 4610101"/>
              <a:gd name="connsiteY28340" fmla="*/ 791675 h 6557032"/>
              <a:gd name="connsiteX28341" fmla="*/ 595852 w 4610101"/>
              <a:gd name="connsiteY28341" fmla="*/ 797141 h 6557032"/>
              <a:gd name="connsiteX28342" fmla="*/ 597673 w 4610101"/>
              <a:gd name="connsiteY28342" fmla="*/ 795319 h 6557032"/>
              <a:gd name="connsiteX28343" fmla="*/ 594030 w 4610101"/>
              <a:gd name="connsiteY28343" fmla="*/ 791675 h 6557032"/>
              <a:gd name="connsiteX28344" fmla="*/ 471943 w 4610101"/>
              <a:gd name="connsiteY28344" fmla="*/ 791675 h 6557032"/>
              <a:gd name="connsiteX28345" fmla="*/ 468299 w 4610101"/>
              <a:gd name="connsiteY28345" fmla="*/ 798964 h 6557032"/>
              <a:gd name="connsiteX28346" fmla="*/ 473766 w 4610101"/>
              <a:gd name="connsiteY28346" fmla="*/ 798964 h 6557032"/>
              <a:gd name="connsiteX28347" fmla="*/ 477410 w 4610101"/>
              <a:gd name="connsiteY28347" fmla="*/ 804430 h 6557032"/>
              <a:gd name="connsiteX28348" fmla="*/ 475589 w 4610101"/>
              <a:gd name="connsiteY28348" fmla="*/ 795319 h 6557032"/>
              <a:gd name="connsiteX28349" fmla="*/ 471943 w 4610101"/>
              <a:gd name="connsiteY28349" fmla="*/ 795319 h 6557032"/>
              <a:gd name="connsiteX28350" fmla="*/ 471943 w 4610101"/>
              <a:gd name="connsiteY28350" fmla="*/ 791675 h 6557032"/>
              <a:gd name="connsiteX28351" fmla="*/ 340747 w 4610101"/>
              <a:gd name="connsiteY28351" fmla="*/ 791675 h 6557032"/>
              <a:gd name="connsiteX28352" fmla="*/ 351680 w 4610101"/>
              <a:gd name="connsiteY28352" fmla="*/ 797141 h 6557032"/>
              <a:gd name="connsiteX28353" fmla="*/ 340747 w 4610101"/>
              <a:gd name="connsiteY28353" fmla="*/ 791675 h 6557032"/>
              <a:gd name="connsiteX28354" fmla="*/ 271504 w 4610101"/>
              <a:gd name="connsiteY28354" fmla="*/ 791675 h 6557032"/>
              <a:gd name="connsiteX28355" fmla="*/ 276971 w 4610101"/>
              <a:gd name="connsiteY28355" fmla="*/ 797141 h 6557032"/>
              <a:gd name="connsiteX28356" fmla="*/ 271504 w 4610101"/>
              <a:gd name="connsiteY28356" fmla="*/ 791675 h 6557032"/>
              <a:gd name="connsiteX28357" fmla="*/ 2682924 w 4610101"/>
              <a:gd name="connsiteY28357" fmla="*/ 791220 h 6557032"/>
              <a:gd name="connsiteX28358" fmla="*/ 2678596 w 4610101"/>
              <a:gd name="connsiteY28358" fmla="*/ 791675 h 6557032"/>
              <a:gd name="connsiteX28359" fmla="*/ 2685885 w 4610101"/>
              <a:gd name="connsiteY28359" fmla="*/ 793497 h 6557032"/>
              <a:gd name="connsiteX28360" fmla="*/ 2682924 w 4610101"/>
              <a:gd name="connsiteY28360" fmla="*/ 791220 h 6557032"/>
              <a:gd name="connsiteX28361" fmla="*/ 3247114 w 4610101"/>
              <a:gd name="connsiteY28361" fmla="*/ 789853 h 6557032"/>
              <a:gd name="connsiteX28362" fmla="*/ 3241648 w 4610101"/>
              <a:gd name="connsiteY28362" fmla="*/ 793497 h 6557032"/>
              <a:gd name="connsiteX28363" fmla="*/ 3248937 w 4610101"/>
              <a:gd name="connsiteY28363" fmla="*/ 795319 h 6557032"/>
              <a:gd name="connsiteX28364" fmla="*/ 3247114 w 4610101"/>
              <a:gd name="connsiteY28364" fmla="*/ 789853 h 6557032"/>
              <a:gd name="connsiteX28365" fmla="*/ 2645797 w 4610101"/>
              <a:gd name="connsiteY28365" fmla="*/ 789853 h 6557032"/>
              <a:gd name="connsiteX28366" fmla="*/ 2647619 w 4610101"/>
              <a:gd name="connsiteY28366" fmla="*/ 797141 h 6557032"/>
              <a:gd name="connsiteX28367" fmla="*/ 2645797 w 4610101"/>
              <a:gd name="connsiteY28367" fmla="*/ 789853 h 6557032"/>
              <a:gd name="connsiteX28368" fmla="*/ 2574732 w 4610101"/>
              <a:gd name="connsiteY28368" fmla="*/ 789853 h 6557032"/>
              <a:gd name="connsiteX28369" fmla="*/ 2576554 w 4610101"/>
              <a:gd name="connsiteY28369" fmla="*/ 802608 h 6557032"/>
              <a:gd name="connsiteX28370" fmla="*/ 2582021 w 4610101"/>
              <a:gd name="connsiteY28370" fmla="*/ 795319 h 6557032"/>
              <a:gd name="connsiteX28371" fmla="*/ 2574732 w 4610101"/>
              <a:gd name="connsiteY28371" fmla="*/ 789853 h 6557032"/>
              <a:gd name="connsiteX28372" fmla="*/ 1496006 w 4610101"/>
              <a:gd name="connsiteY28372" fmla="*/ 789853 h 6557032"/>
              <a:gd name="connsiteX28373" fmla="*/ 1465028 w 4610101"/>
              <a:gd name="connsiteY28373" fmla="*/ 809897 h 6557032"/>
              <a:gd name="connsiteX28374" fmla="*/ 1496006 w 4610101"/>
              <a:gd name="connsiteY28374" fmla="*/ 789853 h 6557032"/>
              <a:gd name="connsiteX28375" fmla="*/ 1204457 w 4610101"/>
              <a:gd name="connsiteY28375" fmla="*/ 789853 h 6557032"/>
              <a:gd name="connsiteX28376" fmla="*/ 1204254 w 4610101"/>
              <a:gd name="connsiteY28376" fmla="*/ 790461 h 6557032"/>
              <a:gd name="connsiteX28377" fmla="*/ 1203960 w 4610101"/>
              <a:gd name="connsiteY28377" fmla="*/ 790350 h 6557032"/>
              <a:gd name="connsiteX28378" fmla="*/ 854600 w 4610101"/>
              <a:gd name="connsiteY28378" fmla="*/ 789853 h 6557032"/>
              <a:gd name="connsiteX28379" fmla="*/ 860066 w 4610101"/>
              <a:gd name="connsiteY28379" fmla="*/ 802608 h 6557032"/>
              <a:gd name="connsiteX28380" fmla="*/ 865533 w 4610101"/>
              <a:gd name="connsiteY28380" fmla="*/ 804430 h 6557032"/>
              <a:gd name="connsiteX28381" fmla="*/ 863711 w 4610101"/>
              <a:gd name="connsiteY28381" fmla="*/ 798964 h 6557032"/>
              <a:gd name="connsiteX28382" fmla="*/ 860066 w 4610101"/>
              <a:gd name="connsiteY28382" fmla="*/ 802608 h 6557032"/>
              <a:gd name="connsiteX28383" fmla="*/ 863711 w 4610101"/>
              <a:gd name="connsiteY28383" fmla="*/ 793497 h 6557032"/>
              <a:gd name="connsiteX28384" fmla="*/ 854600 w 4610101"/>
              <a:gd name="connsiteY28384" fmla="*/ 789853 h 6557032"/>
              <a:gd name="connsiteX28385" fmla="*/ 634117 w 4610101"/>
              <a:gd name="connsiteY28385" fmla="*/ 789853 h 6557032"/>
              <a:gd name="connsiteX28386" fmla="*/ 645050 w 4610101"/>
              <a:gd name="connsiteY28386" fmla="*/ 798964 h 6557032"/>
              <a:gd name="connsiteX28387" fmla="*/ 634117 w 4610101"/>
              <a:gd name="connsiteY28387" fmla="*/ 789853 h 6557032"/>
              <a:gd name="connsiteX28388" fmla="*/ 235061 w 4610101"/>
              <a:gd name="connsiteY28388" fmla="*/ 789853 h 6557032"/>
              <a:gd name="connsiteX28389" fmla="*/ 238705 w 4610101"/>
              <a:gd name="connsiteY28389" fmla="*/ 795319 h 6557032"/>
              <a:gd name="connsiteX28390" fmla="*/ 235061 w 4610101"/>
              <a:gd name="connsiteY28390" fmla="*/ 789853 h 6557032"/>
              <a:gd name="connsiteX28391" fmla="*/ 2605709 w 4610101"/>
              <a:gd name="connsiteY28391" fmla="*/ 788031 h 6557032"/>
              <a:gd name="connsiteX28392" fmla="*/ 2607531 w 4610101"/>
              <a:gd name="connsiteY28392" fmla="*/ 797141 h 6557032"/>
              <a:gd name="connsiteX28393" fmla="*/ 2605709 w 4610101"/>
              <a:gd name="connsiteY28393" fmla="*/ 788031 h 6557032"/>
              <a:gd name="connsiteX28394" fmla="*/ 1339299 w 4610101"/>
              <a:gd name="connsiteY28394" fmla="*/ 788031 h 6557032"/>
              <a:gd name="connsiteX28395" fmla="*/ 1333832 w 4610101"/>
              <a:gd name="connsiteY28395" fmla="*/ 793497 h 6557032"/>
              <a:gd name="connsiteX28396" fmla="*/ 1342942 w 4610101"/>
              <a:gd name="connsiteY28396" fmla="*/ 791675 h 6557032"/>
              <a:gd name="connsiteX28397" fmla="*/ 1339299 w 4610101"/>
              <a:gd name="connsiteY28397" fmla="*/ 788031 h 6557032"/>
              <a:gd name="connsiteX28398" fmla="*/ 1332009 w 4610101"/>
              <a:gd name="connsiteY28398" fmla="*/ 788031 h 6557032"/>
              <a:gd name="connsiteX28399" fmla="*/ 1313788 w 4610101"/>
              <a:gd name="connsiteY28399" fmla="*/ 791675 h 6557032"/>
              <a:gd name="connsiteX28400" fmla="*/ 1328365 w 4610101"/>
              <a:gd name="connsiteY28400" fmla="*/ 795319 h 6557032"/>
              <a:gd name="connsiteX28401" fmla="*/ 1332009 w 4610101"/>
              <a:gd name="connsiteY28401" fmla="*/ 788031 h 6557032"/>
              <a:gd name="connsiteX28402" fmla="*/ 1164370 w 4610101"/>
              <a:gd name="connsiteY28402" fmla="*/ 788031 h 6557032"/>
              <a:gd name="connsiteX28403" fmla="*/ 1158903 w 4610101"/>
              <a:gd name="connsiteY28403" fmla="*/ 791675 h 6557032"/>
              <a:gd name="connsiteX28404" fmla="*/ 1164370 w 4610101"/>
              <a:gd name="connsiteY28404" fmla="*/ 788031 h 6557032"/>
              <a:gd name="connsiteX28405" fmla="*/ 1024062 w 4610101"/>
              <a:gd name="connsiteY28405" fmla="*/ 788031 h 6557032"/>
              <a:gd name="connsiteX28406" fmla="*/ 1024349 w 4610101"/>
              <a:gd name="connsiteY28406" fmla="*/ 788383 h 6557032"/>
              <a:gd name="connsiteX28407" fmla="*/ 1023843 w 4610101"/>
              <a:gd name="connsiteY28407" fmla="*/ 788299 h 6557032"/>
              <a:gd name="connsiteX28408" fmla="*/ 758025 w 4610101"/>
              <a:gd name="connsiteY28408" fmla="*/ 788031 h 6557032"/>
              <a:gd name="connsiteX28409" fmla="*/ 758025 w 4610101"/>
              <a:gd name="connsiteY28409" fmla="*/ 791675 h 6557032"/>
              <a:gd name="connsiteX28410" fmla="*/ 758025 w 4610101"/>
              <a:gd name="connsiteY28410" fmla="*/ 788031 h 6557032"/>
              <a:gd name="connsiteX28411" fmla="*/ 697893 w 4610101"/>
              <a:gd name="connsiteY28411" fmla="*/ 788031 h 6557032"/>
              <a:gd name="connsiteX28412" fmla="*/ 686960 w 4610101"/>
              <a:gd name="connsiteY28412" fmla="*/ 789853 h 6557032"/>
              <a:gd name="connsiteX28413" fmla="*/ 699715 w 4610101"/>
              <a:gd name="connsiteY28413" fmla="*/ 795319 h 6557032"/>
              <a:gd name="connsiteX28414" fmla="*/ 697893 w 4610101"/>
              <a:gd name="connsiteY28414" fmla="*/ 788031 h 6557032"/>
              <a:gd name="connsiteX28415" fmla="*/ 703359 w 4610101"/>
              <a:gd name="connsiteY28415" fmla="*/ 795319 h 6557032"/>
              <a:gd name="connsiteX28416" fmla="*/ 708826 w 4610101"/>
              <a:gd name="connsiteY28416" fmla="*/ 788031 h 6557032"/>
              <a:gd name="connsiteX28417" fmla="*/ 697893 w 4610101"/>
              <a:gd name="connsiteY28417" fmla="*/ 788031 h 6557032"/>
              <a:gd name="connsiteX28418" fmla="*/ 650516 w 4610101"/>
              <a:gd name="connsiteY28418" fmla="*/ 788031 h 6557032"/>
              <a:gd name="connsiteX28419" fmla="*/ 648694 w 4610101"/>
              <a:gd name="connsiteY28419" fmla="*/ 789853 h 6557032"/>
              <a:gd name="connsiteX28420" fmla="*/ 654161 w 4610101"/>
              <a:gd name="connsiteY28420" fmla="*/ 791675 h 6557032"/>
              <a:gd name="connsiteX28421" fmla="*/ 650516 w 4610101"/>
              <a:gd name="connsiteY28421" fmla="*/ 788031 h 6557032"/>
              <a:gd name="connsiteX28422" fmla="*/ 606784 w 4610101"/>
              <a:gd name="connsiteY28422" fmla="*/ 788031 h 6557032"/>
              <a:gd name="connsiteX28423" fmla="*/ 605825 w 4610101"/>
              <a:gd name="connsiteY28423" fmla="*/ 791867 h 6557032"/>
              <a:gd name="connsiteX28424" fmla="*/ 603140 w 4610101"/>
              <a:gd name="connsiteY28424" fmla="*/ 791675 h 6557032"/>
              <a:gd name="connsiteX28425" fmla="*/ 604963 w 4610101"/>
              <a:gd name="connsiteY28425" fmla="*/ 793497 h 6557032"/>
              <a:gd name="connsiteX28426" fmla="*/ 604963 w 4610101"/>
              <a:gd name="connsiteY28426" fmla="*/ 795319 h 6557032"/>
              <a:gd name="connsiteX28427" fmla="*/ 605825 w 4610101"/>
              <a:gd name="connsiteY28427" fmla="*/ 791867 h 6557032"/>
              <a:gd name="connsiteX28428" fmla="*/ 606328 w 4610101"/>
              <a:gd name="connsiteY28428" fmla="*/ 791903 h 6557032"/>
              <a:gd name="connsiteX28429" fmla="*/ 606784 w 4610101"/>
              <a:gd name="connsiteY28429" fmla="*/ 788031 h 6557032"/>
              <a:gd name="connsiteX28430" fmla="*/ 528431 w 4610101"/>
              <a:gd name="connsiteY28430" fmla="*/ 788031 h 6557032"/>
              <a:gd name="connsiteX28431" fmla="*/ 528939 w 4610101"/>
              <a:gd name="connsiteY28431" fmla="*/ 791421 h 6557032"/>
              <a:gd name="connsiteX28432" fmla="*/ 528431 w 4610101"/>
              <a:gd name="connsiteY28432" fmla="*/ 791675 h 6557032"/>
              <a:gd name="connsiteX28433" fmla="*/ 528978 w 4610101"/>
              <a:gd name="connsiteY28433" fmla="*/ 791675 h 6557032"/>
              <a:gd name="connsiteX28434" fmla="*/ 529114 w 4610101"/>
              <a:gd name="connsiteY28434" fmla="*/ 792586 h 6557032"/>
              <a:gd name="connsiteX28435" fmla="*/ 533897 w 4610101"/>
              <a:gd name="connsiteY28435" fmla="*/ 791675 h 6557032"/>
              <a:gd name="connsiteX28436" fmla="*/ 528978 w 4610101"/>
              <a:gd name="connsiteY28436" fmla="*/ 791675 h 6557032"/>
              <a:gd name="connsiteX28437" fmla="*/ 528939 w 4610101"/>
              <a:gd name="connsiteY28437" fmla="*/ 791421 h 6557032"/>
              <a:gd name="connsiteX28438" fmla="*/ 532075 w 4610101"/>
              <a:gd name="connsiteY28438" fmla="*/ 789853 h 6557032"/>
              <a:gd name="connsiteX28439" fmla="*/ 528431 w 4610101"/>
              <a:gd name="connsiteY28439" fmla="*/ 788031 h 6557032"/>
              <a:gd name="connsiteX28440" fmla="*/ 298837 w 4610101"/>
              <a:gd name="connsiteY28440" fmla="*/ 788031 h 6557032"/>
              <a:gd name="connsiteX28441" fmla="*/ 313414 w 4610101"/>
              <a:gd name="connsiteY28441" fmla="*/ 804430 h 6557032"/>
              <a:gd name="connsiteX28442" fmla="*/ 298837 w 4610101"/>
              <a:gd name="connsiteY28442" fmla="*/ 788031 h 6557032"/>
              <a:gd name="connsiteX28443" fmla="*/ 245994 w 4610101"/>
              <a:gd name="connsiteY28443" fmla="*/ 788031 h 6557032"/>
              <a:gd name="connsiteX28444" fmla="*/ 249638 w 4610101"/>
              <a:gd name="connsiteY28444" fmla="*/ 795319 h 6557032"/>
              <a:gd name="connsiteX28445" fmla="*/ 251460 w 4610101"/>
              <a:gd name="connsiteY28445" fmla="*/ 793497 h 6557032"/>
              <a:gd name="connsiteX28446" fmla="*/ 245994 w 4610101"/>
              <a:gd name="connsiteY28446" fmla="*/ 788031 h 6557032"/>
              <a:gd name="connsiteX28447" fmla="*/ 833190 w 4610101"/>
              <a:gd name="connsiteY28447" fmla="*/ 787576 h 6557032"/>
              <a:gd name="connsiteX28448" fmla="*/ 832734 w 4610101"/>
              <a:gd name="connsiteY28448" fmla="*/ 793497 h 6557032"/>
              <a:gd name="connsiteX28449" fmla="*/ 836378 w 4610101"/>
              <a:gd name="connsiteY28449" fmla="*/ 789853 h 6557032"/>
              <a:gd name="connsiteX28450" fmla="*/ 833190 w 4610101"/>
              <a:gd name="connsiteY28450" fmla="*/ 787576 h 6557032"/>
              <a:gd name="connsiteX28451" fmla="*/ 3119562 w 4610101"/>
              <a:gd name="connsiteY28451" fmla="*/ 786208 h 6557032"/>
              <a:gd name="connsiteX28452" fmla="*/ 3120018 w 4610101"/>
              <a:gd name="connsiteY28452" fmla="*/ 794409 h 6557032"/>
              <a:gd name="connsiteX28453" fmla="*/ 3119428 w 4610101"/>
              <a:gd name="connsiteY28453" fmla="*/ 794617 h 6557032"/>
              <a:gd name="connsiteX28454" fmla="*/ 3118651 w 4610101"/>
              <a:gd name="connsiteY28454" fmla="*/ 790537 h 6557032"/>
              <a:gd name="connsiteX28455" fmla="*/ 3112274 w 4610101"/>
              <a:gd name="connsiteY28455" fmla="*/ 789853 h 6557032"/>
              <a:gd name="connsiteX28456" fmla="*/ 3119562 w 4610101"/>
              <a:gd name="connsiteY28456" fmla="*/ 786208 h 6557032"/>
              <a:gd name="connsiteX28457" fmla="*/ 1361164 w 4610101"/>
              <a:gd name="connsiteY28457" fmla="*/ 786208 h 6557032"/>
              <a:gd name="connsiteX28458" fmla="*/ 1346587 w 4610101"/>
              <a:gd name="connsiteY28458" fmla="*/ 791675 h 6557032"/>
              <a:gd name="connsiteX28459" fmla="*/ 1350231 w 4610101"/>
              <a:gd name="connsiteY28459" fmla="*/ 791675 h 6557032"/>
              <a:gd name="connsiteX28460" fmla="*/ 1350231 w 4610101"/>
              <a:gd name="connsiteY28460" fmla="*/ 795319 h 6557032"/>
              <a:gd name="connsiteX28461" fmla="*/ 1361164 w 4610101"/>
              <a:gd name="connsiteY28461" fmla="*/ 786208 h 6557032"/>
              <a:gd name="connsiteX28462" fmla="*/ 1268233 w 4610101"/>
              <a:gd name="connsiteY28462" fmla="*/ 786208 h 6557032"/>
              <a:gd name="connsiteX28463" fmla="*/ 1271878 w 4610101"/>
              <a:gd name="connsiteY28463" fmla="*/ 806252 h 6557032"/>
              <a:gd name="connsiteX28464" fmla="*/ 1297388 w 4610101"/>
              <a:gd name="connsiteY28464" fmla="*/ 802608 h 6557032"/>
              <a:gd name="connsiteX28465" fmla="*/ 1304677 w 4610101"/>
              <a:gd name="connsiteY28465" fmla="*/ 800786 h 6557032"/>
              <a:gd name="connsiteX28466" fmla="*/ 1310143 w 4610101"/>
              <a:gd name="connsiteY28466" fmla="*/ 797141 h 6557032"/>
              <a:gd name="connsiteX28467" fmla="*/ 1317432 w 4610101"/>
              <a:gd name="connsiteY28467" fmla="*/ 795319 h 6557032"/>
              <a:gd name="connsiteX28468" fmla="*/ 1288277 w 4610101"/>
              <a:gd name="connsiteY28468" fmla="*/ 793497 h 6557032"/>
              <a:gd name="connsiteX28469" fmla="*/ 1292068 w 4610101"/>
              <a:gd name="connsiteY28469" fmla="*/ 797734 h 6557032"/>
              <a:gd name="connsiteX28470" fmla="*/ 1283495 w 4610101"/>
              <a:gd name="connsiteY28470" fmla="*/ 792814 h 6557032"/>
              <a:gd name="connsiteX28471" fmla="*/ 1268233 w 4610101"/>
              <a:gd name="connsiteY28471" fmla="*/ 786208 h 6557032"/>
              <a:gd name="connsiteX28472" fmla="*/ 849133 w 4610101"/>
              <a:gd name="connsiteY28472" fmla="*/ 786208 h 6557032"/>
              <a:gd name="connsiteX28473" fmla="*/ 847311 w 4610101"/>
              <a:gd name="connsiteY28473" fmla="*/ 789853 h 6557032"/>
              <a:gd name="connsiteX28474" fmla="*/ 849133 w 4610101"/>
              <a:gd name="connsiteY28474" fmla="*/ 791675 h 6557032"/>
              <a:gd name="connsiteX28475" fmla="*/ 851868 w 4610101"/>
              <a:gd name="connsiteY28475" fmla="*/ 788259 h 6557032"/>
              <a:gd name="connsiteX28476" fmla="*/ 849133 w 4610101"/>
              <a:gd name="connsiteY28476" fmla="*/ 786208 h 6557032"/>
              <a:gd name="connsiteX28477" fmla="*/ 781713 w 4610101"/>
              <a:gd name="connsiteY28477" fmla="*/ 786208 h 6557032"/>
              <a:gd name="connsiteX28478" fmla="*/ 778070 w 4610101"/>
              <a:gd name="connsiteY28478" fmla="*/ 800786 h 6557032"/>
              <a:gd name="connsiteX28479" fmla="*/ 785357 w 4610101"/>
              <a:gd name="connsiteY28479" fmla="*/ 788031 h 6557032"/>
              <a:gd name="connsiteX28480" fmla="*/ 781713 w 4610101"/>
              <a:gd name="connsiteY28480" fmla="*/ 786208 h 6557032"/>
              <a:gd name="connsiteX28481" fmla="*/ 501098 w 4610101"/>
              <a:gd name="connsiteY28481" fmla="*/ 786208 h 6557032"/>
              <a:gd name="connsiteX28482" fmla="*/ 507346 w 4610101"/>
              <a:gd name="connsiteY28482" fmla="*/ 803389 h 6557032"/>
              <a:gd name="connsiteX28483" fmla="*/ 506565 w 4610101"/>
              <a:gd name="connsiteY28483" fmla="*/ 802608 h 6557032"/>
              <a:gd name="connsiteX28484" fmla="*/ 508387 w 4610101"/>
              <a:gd name="connsiteY28484" fmla="*/ 806252 h 6557032"/>
              <a:gd name="connsiteX28485" fmla="*/ 507346 w 4610101"/>
              <a:gd name="connsiteY28485" fmla="*/ 803389 h 6557032"/>
              <a:gd name="connsiteX28486" fmla="*/ 510209 w 4610101"/>
              <a:gd name="connsiteY28486" fmla="*/ 806252 h 6557032"/>
              <a:gd name="connsiteX28487" fmla="*/ 510209 w 4610101"/>
              <a:gd name="connsiteY28487" fmla="*/ 793497 h 6557032"/>
              <a:gd name="connsiteX28488" fmla="*/ 501098 w 4610101"/>
              <a:gd name="connsiteY28488" fmla="*/ 786208 h 6557032"/>
              <a:gd name="connsiteX28489" fmla="*/ 3449376 w 4610101"/>
              <a:gd name="connsiteY28489" fmla="*/ 784386 h 6557032"/>
              <a:gd name="connsiteX28490" fmla="*/ 3447553 w 4610101"/>
              <a:gd name="connsiteY28490" fmla="*/ 789853 h 6557032"/>
              <a:gd name="connsiteX28491" fmla="*/ 3447751 w 4610101"/>
              <a:gd name="connsiteY28491" fmla="*/ 790073 h 6557032"/>
              <a:gd name="connsiteX28492" fmla="*/ 3445731 w 4610101"/>
              <a:gd name="connsiteY28492" fmla="*/ 797141 h 6557032"/>
              <a:gd name="connsiteX28493" fmla="*/ 3453020 w 4610101"/>
              <a:gd name="connsiteY28493" fmla="*/ 798964 h 6557032"/>
              <a:gd name="connsiteX28494" fmla="*/ 3451653 w 4610101"/>
              <a:gd name="connsiteY28494" fmla="*/ 794408 h 6557032"/>
              <a:gd name="connsiteX28495" fmla="*/ 3447751 w 4610101"/>
              <a:gd name="connsiteY28495" fmla="*/ 790073 h 6557032"/>
              <a:gd name="connsiteX28496" fmla="*/ 2540111 w 4610101"/>
              <a:gd name="connsiteY28496" fmla="*/ 784386 h 6557032"/>
              <a:gd name="connsiteX28497" fmla="*/ 2540111 w 4610101"/>
              <a:gd name="connsiteY28497" fmla="*/ 791675 h 6557032"/>
              <a:gd name="connsiteX28498" fmla="*/ 2536466 w 4610101"/>
              <a:gd name="connsiteY28498" fmla="*/ 788031 h 6557032"/>
              <a:gd name="connsiteX28499" fmla="*/ 2529178 w 4610101"/>
              <a:gd name="connsiteY28499" fmla="*/ 795319 h 6557032"/>
              <a:gd name="connsiteX28500" fmla="*/ 2540111 w 4610101"/>
              <a:gd name="connsiteY28500" fmla="*/ 804430 h 6557032"/>
              <a:gd name="connsiteX28501" fmla="*/ 2541933 w 4610101"/>
              <a:gd name="connsiteY28501" fmla="*/ 802608 h 6557032"/>
              <a:gd name="connsiteX28502" fmla="*/ 2536466 w 4610101"/>
              <a:gd name="connsiteY28502" fmla="*/ 811719 h 6557032"/>
              <a:gd name="connsiteX28503" fmla="*/ 2523711 w 4610101"/>
              <a:gd name="connsiteY28503" fmla="*/ 813541 h 6557032"/>
              <a:gd name="connsiteX28504" fmla="*/ 2518245 w 4610101"/>
              <a:gd name="connsiteY28504" fmla="*/ 804430 h 6557032"/>
              <a:gd name="connsiteX28505" fmla="*/ 2510956 w 4610101"/>
              <a:gd name="connsiteY28505" fmla="*/ 817185 h 6557032"/>
              <a:gd name="connsiteX28506" fmla="*/ 2514600 w 4610101"/>
              <a:gd name="connsiteY28506" fmla="*/ 835407 h 6557032"/>
              <a:gd name="connsiteX28507" fmla="*/ 2521889 w 4610101"/>
              <a:gd name="connsiteY28507" fmla="*/ 842696 h 6557032"/>
              <a:gd name="connsiteX28508" fmla="*/ 2538289 w 4610101"/>
              <a:gd name="connsiteY28508" fmla="*/ 819008 h 6557032"/>
              <a:gd name="connsiteX28509" fmla="*/ 2549222 w 4610101"/>
              <a:gd name="connsiteY28509" fmla="*/ 831763 h 6557032"/>
              <a:gd name="connsiteX28510" fmla="*/ 2543755 w 4610101"/>
              <a:gd name="connsiteY28510" fmla="*/ 813541 h 6557032"/>
              <a:gd name="connsiteX28511" fmla="*/ 2551044 w 4610101"/>
              <a:gd name="connsiteY28511" fmla="*/ 833585 h 6557032"/>
              <a:gd name="connsiteX28512" fmla="*/ 2547400 w 4610101"/>
              <a:gd name="connsiteY28512" fmla="*/ 811719 h 6557032"/>
              <a:gd name="connsiteX28513" fmla="*/ 2549222 w 4610101"/>
              <a:gd name="connsiteY28513" fmla="*/ 795319 h 6557032"/>
              <a:gd name="connsiteX28514" fmla="*/ 2552866 w 4610101"/>
              <a:gd name="connsiteY28514" fmla="*/ 797141 h 6557032"/>
              <a:gd name="connsiteX28515" fmla="*/ 2540111 w 4610101"/>
              <a:gd name="connsiteY28515" fmla="*/ 784386 h 6557032"/>
              <a:gd name="connsiteX28516" fmla="*/ 1423118 w 4610101"/>
              <a:gd name="connsiteY28516" fmla="*/ 784386 h 6557032"/>
              <a:gd name="connsiteX28517" fmla="*/ 1408541 w 4610101"/>
              <a:gd name="connsiteY28517" fmla="*/ 789853 h 6557032"/>
              <a:gd name="connsiteX28518" fmla="*/ 1423118 w 4610101"/>
              <a:gd name="connsiteY28518" fmla="*/ 784386 h 6557032"/>
              <a:gd name="connsiteX28519" fmla="*/ 836378 w 4610101"/>
              <a:gd name="connsiteY28519" fmla="*/ 784386 h 6557032"/>
              <a:gd name="connsiteX28520" fmla="*/ 838200 w 4610101"/>
              <a:gd name="connsiteY28520" fmla="*/ 795319 h 6557032"/>
              <a:gd name="connsiteX28521" fmla="*/ 832734 w 4610101"/>
              <a:gd name="connsiteY28521" fmla="*/ 797141 h 6557032"/>
              <a:gd name="connsiteX28522" fmla="*/ 841845 w 4610101"/>
              <a:gd name="connsiteY28522" fmla="*/ 797141 h 6557032"/>
              <a:gd name="connsiteX28523" fmla="*/ 838200 w 4610101"/>
              <a:gd name="connsiteY28523" fmla="*/ 793497 h 6557032"/>
              <a:gd name="connsiteX28524" fmla="*/ 847311 w 4610101"/>
              <a:gd name="connsiteY28524" fmla="*/ 793497 h 6557032"/>
              <a:gd name="connsiteX28525" fmla="*/ 845885 w 4610101"/>
              <a:gd name="connsiteY28525" fmla="*/ 789220 h 6557032"/>
              <a:gd name="connsiteX28526" fmla="*/ 847311 w 4610101"/>
              <a:gd name="connsiteY28526" fmla="*/ 791675 h 6557032"/>
              <a:gd name="connsiteX28527" fmla="*/ 845489 w 4610101"/>
              <a:gd name="connsiteY28527" fmla="*/ 788031 h 6557032"/>
              <a:gd name="connsiteX28528" fmla="*/ 845885 w 4610101"/>
              <a:gd name="connsiteY28528" fmla="*/ 789220 h 6557032"/>
              <a:gd name="connsiteX28529" fmla="*/ 843211 w 4610101"/>
              <a:gd name="connsiteY28529" fmla="*/ 784615 h 6557032"/>
              <a:gd name="connsiteX28530" fmla="*/ 836378 w 4610101"/>
              <a:gd name="connsiteY28530" fmla="*/ 784386 h 6557032"/>
              <a:gd name="connsiteX28531" fmla="*/ 581274 w 4610101"/>
              <a:gd name="connsiteY28531" fmla="*/ 784386 h 6557032"/>
              <a:gd name="connsiteX28532" fmla="*/ 588562 w 4610101"/>
              <a:gd name="connsiteY28532" fmla="*/ 793497 h 6557032"/>
              <a:gd name="connsiteX28533" fmla="*/ 588562 w 4610101"/>
              <a:gd name="connsiteY28533" fmla="*/ 786208 h 6557032"/>
              <a:gd name="connsiteX28534" fmla="*/ 581274 w 4610101"/>
              <a:gd name="connsiteY28534" fmla="*/ 784386 h 6557032"/>
              <a:gd name="connsiteX28535" fmla="*/ 1341803 w 4610101"/>
              <a:gd name="connsiteY28535" fmla="*/ 784159 h 6557032"/>
              <a:gd name="connsiteX28536" fmla="*/ 1342942 w 4610101"/>
              <a:gd name="connsiteY28536" fmla="*/ 788031 h 6557032"/>
              <a:gd name="connsiteX28537" fmla="*/ 1344765 w 4610101"/>
              <a:gd name="connsiteY28537" fmla="*/ 784386 h 6557032"/>
              <a:gd name="connsiteX28538" fmla="*/ 1341803 w 4610101"/>
              <a:gd name="connsiteY28538" fmla="*/ 784159 h 6557032"/>
              <a:gd name="connsiteX28539" fmla="*/ 1173481 w 4610101"/>
              <a:gd name="connsiteY28539" fmla="*/ 782564 h 6557032"/>
              <a:gd name="connsiteX28540" fmla="*/ 1164370 w 4610101"/>
              <a:gd name="connsiteY28540" fmla="*/ 791675 h 6557032"/>
              <a:gd name="connsiteX28541" fmla="*/ 1175303 w 4610101"/>
              <a:gd name="connsiteY28541" fmla="*/ 793497 h 6557032"/>
              <a:gd name="connsiteX28542" fmla="*/ 1175303 w 4610101"/>
              <a:gd name="connsiteY28542" fmla="*/ 788031 h 6557032"/>
              <a:gd name="connsiteX28543" fmla="*/ 1178947 w 4610101"/>
              <a:gd name="connsiteY28543" fmla="*/ 786208 h 6557032"/>
              <a:gd name="connsiteX28544" fmla="*/ 1173481 w 4610101"/>
              <a:gd name="connsiteY28544" fmla="*/ 782564 h 6557032"/>
              <a:gd name="connsiteX28545" fmla="*/ 810868 w 4610101"/>
              <a:gd name="connsiteY28545" fmla="*/ 782564 h 6557032"/>
              <a:gd name="connsiteX28546" fmla="*/ 819979 w 4610101"/>
              <a:gd name="connsiteY28546" fmla="*/ 793497 h 6557032"/>
              <a:gd name="connsiteX28547" fmla="*/ 823623 w 4610101"/>
              <a:gd name="connsiteY28547" fmla="*/ 782564 h 6557032"/>
              <a:gd name="connsiteX28548" fmla="*/ 810868 w 4610101"/>
              <a:gd name="connsiteY28548" fmla="*/ 782564 h 6557032"/>
              <a:gd name="connsiteX28549" fmla="*/ 796290 w 4610101"/>
              <a:gd name="connsiteY28549" fmla="*/ 782564 h 6557032"/>
              <a:gd name="connsiteX28550" fmla="*/ 783535 w 4610101"/>
              <a:gd name="connsiteY28550" fmla="*/ 806252 h 6557032"/>
              <a:gd name="connsiteX28551" fmla="*/ 789003 w 4610101"/>
              <a:gd name="connsiteY28551" fmla="*/ 811719 h 6557032"/>
              <a:gd name="connsiteX28552" fmla="*/ 801757 w 4610101"/>
              <a:gd name="connsiteY28552" fmla="*/ 820830 h 6557032"/>
              <a:gd name="connsiteX28553" fmla="*/ 794468 w 4610101"/>
              <a:gd name="connsiteY28553" fmla="*/ 815363 h 6557032"/>
              <a:gd name="connsiteX28554" fmla="*/ 816334 w 4610101"/>
              <a:gd name="connsiteY28554" fmla="*/ 826296 h 6557032"/>
              <a:gd name="connsiteX28555" fmla="*/ 816334 w 4610101"/>
              <a:gd name="connsiteY28555" fmla="*/ 819008 h 6557032"/>
              <a:gd name="connsiteX28556" fmla="*/ 825445 w 4610101"/>
              <a:gd name="connsiteY28556" fmla="*/ 811719 h 6557032"/>
              <a:gd name="connsiteX28557" fmla="*/ 821801 w 4610101"/>
              <a:gd name="connsiteY28557" fmla="*/ 800786 h 6557032"/>
              <a:gd name="connsiteX28558" fmla="*/ 812690 w 4610101"/>
              <a:gd name="connsiteY28558" fmla="*/ 798964 h 6557032"/>
              <a:gd name="connsiteX28559" fmla="*/ 816334 w 4610101"/>
              <a:gd name="connsiteY28559" fmla="*/ 797141 h 6557032"/>
              <a:gd name="connsiteX28560" fmla="*/ 799935 w 4610101"/>
              <a:gd name="connsiteY28560" fmla="*/ 789853 h 6557032"/>
              <a:gd name="connsiteX28561" fmla="*/ 809046 w 4610101"/>
              <a:gd name="connsiteY28561" fmla="*/ 791675 h 6557032"/>
              <a:gd name="connsiteX28562" fmla="*/ 796290 w 4610101"/>
              <a:gd name="connsiteY28562" fmla="*/ 782564 h 6557032"/>
              <a:gd name="connsiteX28563" fmla="*/ 490165 w 4610101"/>
              <a:gd name="connsiteY28563" fmla="*/ 782564 h 6557032"/>
              <a:gd name="connsiteX28564" fmla="*/ 493809 w 4610101"/>
              <a:gd name="connsiteY28564" fmla="*/ 788031 h 6557032"/>
              <a:gd name="connsiteX28565" fmla="*/ 495632 w 4610101"/>
              <a:gd name="connsiteY28565" fmla="*/ 784386 h 6557032"/>
              <a:gd name="connsiteX28566" fmla="*/ 490165 w 4610101"/>
              <a:gd name="connsiteY28566" fmla="*/ 782564 h 6557032"/>
              <a:gd name="connsiteX28567" fmla="*/ 461010 w 4610101"/>
              <a:gd name="connsiteY28567" fmla="*/ 782564 h 6557032"/>
              <a:gd name="connsiteX28568" fmla="*/ 462832 w 4610101"/>
              <a:gd name="connsiteY28568" fmla="*/ 789853 h 6557032"/>
              <a:gd name="connsiteX28569" fmla="*/ 464655 w 4610101"/>
              <a:gd name="connsiteY28569" fmla="*/ 786208 h 6557032"/>
              <a:gd name="connsiteX28570" fmla="*/ 461010 w 4610101"/>
              <a:gd name="connsiteY28570" fmla="*/ 782564 h 6557032"/>
              <a:gd name="connsiteX28571" fmla="*/ 424567 w 4610101"/>
              <a:gd name="connsiteY28571" fmla="*/ 782564 h 6557032"/>
              <a:gd name="connsiteX28572" fmla="*/ 426389 w 4610101"/>
              <a:gd name="connsiteY28572" fmla="*/ 789853 h 6557032"/>
              <a:gd name="connsiteX28573" fmla="*/ 437322 w 4610101"/>
              <a:gd name="connsiteY28573" fmla="*/ 791675 h 6557032"/>
              <a:gd name="connsiteX28574" fmla="*/ 424567 w 4610101"/>
              <a:gd name="connsiteY28574" fmla="*/ 782564 h 6557032"/>
              <a:gd name="connsiteX28575" fmla="*/ 337102 w 4610101"/>
              <a:gd name="connsiteY28575" fmla="*/ 782564 h 6557032"/>
              <a:gd name="connsiteX28576" fmla="*/ 337102 w 4610101"/>
              <a:gd name="connsiteY28576" fmla="*/ 788031 h 6557032"/>
              <a:gd name="connsiteX28577" fmla="*/ 340747 w 4610101"/>
              <a:gd name="connsiteY28577" fmla="*/ 788031 h 6557032"/>
              <a:gd name="connsiteX28578" fmla="*/ 337102 w 4610101"/>
              <a:gd name="connsiteY28578" fmla="*/ 782564 h 6557032"/>
              <a:gd name="connsiteX28579" fmla="*/ 309771 w 4610101"/>
              <a:gd name="connsiteY28579" fmla="*/ 782564 h 6557032"/>
              <a:gd name="connsiteX28580" fmla="*/ 320703 w 4610101"/>
              <a:gd name="connsiteY28580" fmla="*/ 795319 h 6557032"/>
              <a:gd name="connsiteX28581" fmla="*/ 320703 w 4610101"/>
              <a:gd name="connsiteY28581" fmla="*/ 791675 h 6557032"/>
              <a:gd name="connsiteX28582" fmla="*/ 309771 w 4610101"/>
              <a:gd name="connsiteY28582" fmla="*/ 782564 h 6557032"/>
              <a:gd name="connsiteX28583" fmla="*/ 255105 w 4610101"/>
              <a:gd name="connsiteY28583" fmla="*/ 782564 h 6557032"/>
              <a:gd name="connsiteX28584" fmla="*/ 260571 w 4610101"/>
              <a:gd name="connsiteY28584" fmla="*/ 788031 h 6557032"/>
              <a:gd name="connsiteX28585" fmla="*/ 260571 w 4610101"/>
              <a:gd name="connsiteY28585" fmla="*/ 782564 h 6557032"/>
              <a:gd name="connsiteX28586" fmla="*/ 255105 w 4610101"/>
              <a:gd name="connsiteY28586" fmla="*/ 782564 h 6557032"/>
              <a:gd name="connsiteX28587" fmla="*/ 235061 w 4610101"/>
              <a:gd name="connsiteY28587" fmla="*/ 782564 h 6557032"/>
              <a:gd name="connsiteX28588" fmla="*/ 242349 w 4610101"/>
              <a:gd name="connsiteY28588" fmla="*/ 786208 h 6557032"/>
              <a:gd name="connsiteX28589" fmla="*/ 235061 w 4610101"/>
              <a:gd name="connsiteY28589" fmla="*/ 782564 h 6557032"/>
              <a:gd name="connsiteX28590" fmla="*/ 1497827 w 4610101"/>
              <a:gd name="connsiteY28590" fmla="*/ 780742 h 6557032"/>
              <a:gd name="connsiteX28591" fmla="*/ 1492361 w 4610101"/>
              <a:gd name="connsiteY28591" fmla="*/ 786208 h 6557032"/>
              <a:gd name="connsiteX28592" fmla="*/ 1497827 w 4610101"/>
              <a:gd name="connsiteY28592" fmla="*/ 784386 h 6557032"/>
              <a:gd name="connsiteX28593" fmla="*/ 1497827 w 4610101"/>
              <a:gd name="connsiteY28593" fmla="*/ 789853 h 6557032"/>
              <a:gd name="connsiteX28594" fmla="*/ 1503294 w 4610101"/>
              <a:gd name="connsiteY28594" fmla="*/ 782564 h 6557032"/>
              <a:gd name="connsiteX28595" fmla="*/ 1497827 w 4610101"/>
              <a:gd name="connsiteY28595" fmla="*/ 780742 h 6557032"/>
              <a:gd name="connsiteX28596" fmla="*/ 1171658 w 4610101"/>
              <a:gd name="connsiteY28596" fmla="*/ 780742 h 6557032"/>
              <a:gd name="connsiteX28597" fmla="*/ 1153436 w 4610101"/>
              <a:gd name="connsiteY28597" fmla="*/ 789853 h 6557032"/>
              <a:gd name="connsiteX28598" fmla="*/ 1171658 w 4610101"/>
              <a:gd name="connsiteY28598" fmla="*/ 780742 h 6557032"/>
              <a:gd name="connsiteX28599" fmla="*/ 482876 w 4610101"/>
              <a:gd name="connsiteY28599" fmla="*/ 780742 h 6557032"/>
              <a:gd name="connsiteX28600" fmla="*/ 486521 w 4610101"/>
              <a:gd name="connsiteY28600" fmla="*/ 784386 h 6557032"/>
              <a:gd name="connsiteX28601" fmla="*/ 482876 w 4610101"/>
              <a:gd name="connsiteY28601" fmla="*/ 780742 h 6557032"/>
              <a:gd name="connsiteX28602" fmla="*/ 439145 w 4610101"/>
              <a:gd name="connsiteY28602" fmla="*/ 780742 h 6557032"/>
              <a:gd name="connsiteX28603" fmla="*/ 448256 w 4610101"/>
              <a:gd name="connsiteY28603" fmla="*/ 789853 h 6557032"/>
              <a:gd name="connsiteX28604" fmla="*/ 439145 w 4610101"/>
              <a:gd name="connsiteY28604" fmla="*/ 780742 h 6557032"/>
              <a:gd name="connsiteX28605" fmla="*/ 406345 w 4610101"/>
              <a:gd name="connsiteY28605" fmla="*/ 780742 h 6557032"/>
              <a:gd name="connsiteX28606" fmla="*/ 420923 w 4610101"/>
              <a:gd name="connsiteY28606" fmla="*/ 797141 h 6557032"/>
              <a:gd name="connsiteX28607" fmla="*/ 406345 w 4610101"/>
              <a:gd name="connsiteY28607" fmla="*/ 780742 h 6557032"/>
              <a:gd name="connsiteX28608" fmla="*/ 302481 w 4610101"/>
              <a:gd name="connsiteY28608" fmla="*/ 780742 h 6557032"/>
              <a:gd name="connsiteX28609" fmla="*/ 315236 w 4610101"/>
              <a:gd name="connsiteY28609" fmla="*/ 795319 h 6557032"/>
              <a:gd name="connsiteX28610" fmla="*/ 302481 w 4610101"/>
              <a:gd name="connsiteY28610" fmla="*/ 780742 h 6557032"/>
              <a:gd name="connsiteX28611" fmla="*/ 242349 w 4610101"/>
              <a:gd name="connsiteY28611" fmla="*/ 780742 h 6557032"/>
              <a:gd name="connsiteX28612" fmla="*/ 258749 w 4610101"/>
              <a:gd name="connsiteY28612" fmla="*/ 793497 h 6557032"/>
              <a:gd name="connsiteX28613" fmla="*/ 242349 w 4610101"/>
              <a:gd name="connsiteY28613" fmla="*/ 780742 h 6557032"/>
              <a:gd name="connsiteX28614" fmla="*/ 185862 w 4610101"/>
              <a:gd name="connsiteY28614" fmla="*/ 780742 h 6557032"/>
              <a:gd name="connsiteX28615" fmla="*/ 218661 w 4610101"/>
              <a:gd name="connsiteY28615" fmla="*/ 808074 h 6557032"/>
              <a:gd name="connsiteX28616" fmla="*/ 185862 w 4610101"/>
              <a:gd name="connsiteY28616" fmla="*/ 780742 h 6557032"/>
              <a:gd name="connsiteX28617" fmla="*/ 3639591 w 4610101"/>
              <a:gd name="connsiteY28617" fmla="*/ 780683 h 6557032"/>
              <a:gd name="connsiteX28618" fmla="*/ 3639565 w 4610101"/>
              <a:gd name="connsiteY28618" fmla="*/ 780742 h 6557032"/>
              <a:gd name="connsiteX28619" fmla="*/ 3638883 w 4610101"/>
              <a:gd name="connsiteY28619" fmla="*/ 780742 h 6557032"/>
              <a:gd name="connsiteX28620" fmla="*/ 1488455 w 4610101"/>
              <a:gd name="connsiteY28620" fmla="*/ 778922 h 6557032"/>
              <a:gd name="connsiteX28621" fmla="*/ 1486895 w 4610101"/>
              <a:gd name="connsiteY28621" fmla="*/ 782564 h 6557032"/>
              <a:gd name="connsiteX28622" fmla="*/ 1486752 w 4610101"/>
              <a:gd name="connsiteY28622" fmla="*/ 781902 h 6557032"/>
              <a:gd name="connsiteX28623" fmla="*/ 3205204 w 4610101"/>
              <a:gd name="connsiteY28623" fmla="*/ 778920 h 6557032"/>
              <a:gd name="connsiteX28624" fmla="*/ 3188805 w 4610101"/>
              <a:gd name="connsiteY28624" fmla="*/ 786208 h 6557032"/>
              <a:gd name="connsiteX28625" fmla="*/ 3188805 w 4610101"/>
              <a:gd name="connsiteY28625" fmla="*/ 808074 h 6557032"/>
              <a:gd name="connsiteX28626" fmla="*/ 3185160 w 4610101"/>
              <a:gd name="connsiteY28626" fmla="*/ 795319 h 6557032"/>
              <a:gd name="connsiteX28627" fmla="*/ 3170583 w 4610101"/>
              <a:gd name="connsiteY28627" fmla="*/ 804430 h 6557032"/>
              <a:gd name="connsiteX28628" fmla="*/ 3170583 w 4610101"/>
              <a:gd name="connsiteY28628" fmla="*/ 813541 h 6557032"/>
              <a:gd name="connsiteX28629" fmla="*/ 3197916 w 4610101"/>
              <a:gd name="connsiteY28629" fmla="*/ 809897 h 6557032"/>
              <a:gd name="connsiteX28630" fmla="*/ 3205204 w 4610101"/>
              <a:gd name="connsiteY28630" fmla="*/ 778920 h 6557032"/>
              <a:gd name="connsiteX28631" fmla="*/ 1149792 w 4610101"/>
              <a:gd name="connsiteY28631" fmla="*/ 778920 h 6557032"/>
              <a:gd name="connsiteX28632" fmla="*/ 1129748 w 4610101"/>
              <a:gd name="connsiteY28632" fmla="*/ 784386 h 6557032"/>
              <a:gd name="connsiteX28633" fmla="*/ 1149792 w 4610101"/>
              <a:gd name="connsiteY28633" fmla="*/ 778920 h 6557032"/>
              <a:gd name="connsiteX28634" fmla="*/ 794468 w 4610101"/>
              <a:gd name="connsiteY28634" fmla="*/ 778920 h 6557032"/>
              <a:gd name="connsiteX28635" fmla="*/ 783535 w 4610101"/>
              <a:gd name="connsiteY28635" fmla="*/ 782564 h 6557032"/>
              <a:gd name="connsiteX28636" fmla="*/ 794468 w 4610101"/>
              <a:gd name="connsiteY28636" fmla="*/ 778920 h 6557032"/>
              <a:gd name="connsiteX28637" fmla="*/ 714293 w 4610101"/>
              <a:gd name="connsiteY28637" fmla="*/ 778920 h 6557032"/>
              <a:gd name="connsiteX28638" fmla="*/ 717937 w 4610101"/>
              <a:gd name="connsiteY28638" fmla="*/ 782564 h 6557032"/>
              <a:gd name="connsiteX28639" fmla="*/ 714293 w 4610101"/>
              <a:gd name="connsiteY28639" fmla="*/ 778920 h 6557032"/>
              <a:gd name="connsiteX28640" fmla="*/ 522964 w 4610101"/>
              <a:gd name="connsiteY28640" fmla="*/ 778920 h 6557032"/>
              <a:gd name="connsiteX28641" fmla="*/ 522964 w 4610101"/>
              <a:gd name="connsiteY28641" fmla="*/ 782564 h 6557032"/>
              <a:gd name="connsiteX28642" fmla="*/ 537542 w 4610101"/>
              <a:gd name="connsiteY28642" fmla="*/ 789853 h 6557032"/>
              <a:gd name="connsiteX28643" fmla="*/ 522964 w 4610101"/>
              <a:gd name="connsiteY28643" fmla="*/ 778920 h 6557032"/>
              <a:gd name="connsiteX28644" fmla="*/ 473766 w 4610101"/>
              <a:gd name="connsiteY28644" fmla="*/ 778920 h 6557032"/>
              <a:gd name="connsiteX28645" fmla="*/ 479232 w 4610101"/>
              <a:gd name="connsiteY28645" fmla="*/ 786208 h 6557032"/>
              <a:gd name="connsiteX28646" fmla="*/ 473766 w 4610101"/>
              <a:gd name="connsiteY28646" fmla="*/ 778920 h 6557032"/>
              <a:gd name="connsiteX28647" fmla="*/ 249638 w 4610101"/>
              <a:gd name="connsiteY28647" fmla="*/ 778920 h 6557032"/>
              <a:gd name="connsiteX28648" fmla="*/ 256927 w 4610101"/>
              <a:gd name="connsiteY28648" fmla="*/ 786208 h 6557032"/>
              <a:gd name="connsiteX28649" fmla="*/ 249638 w 4610101"/>
              <a:gd name="connsiteY28649" fmla="*/ 778920 h 6557032"/>
              <a:gd name="connsiteX28650" fmla="*/ 1299379 w 4610101"/>
              <a:gd name="connsiteY28650" fmla="*/ 778902 h 6557032"/>
              <a:gd name="connsiteX28651" fmla="*/ 1299250 w 4610101"/>
              <a:gd name="connsiteY28651" fmla="*/ 779042 h 6557032"/>
              <a:gd name="connsiteX28652" fmla="*/ 1299210 w 4610101"/>
              <a:gd name="connsiteY28652" fmla="*/ 778920 h 6557032"/>
              <a:gd name="connsiteX28653" fmla="*/ 3238003 w 4610101"/>
              <a:gd name="connsiteY28653" fmla="*/ 777098 h 6557032"/>
              <a:gd name="connsiteX28654" fmla="*/ 3212493 w 4610101"/>
              <a:gd name="connsiteY28654" fmla="*/ 795319 h 6557032"/>
              <a:gd name="connsiteX28655" fmla="*/ 3208849 w 4610101"/>
              <a:gd name="connsiteY28655" fmla="*/ 784386 h 6557032"/>
              <a:gd name="connsiteX28656" fmla="*/ 3203382 w 4610101"/>
              <a:gd name="connsiteY28656" fmla="*/ 788031 h 6557032"/>
              <a:gd name="connsiteX28657" fmla="*/ 3217960 w 4610101"/>
              <a:gd name="connsiteY28657" fmla="*/ 797141 h 6557032"/>
              <a:gd name="connsiteX28658" fmla="*/ 3216137 w 4610101"/>
              <a:gd name="connsiteY28658" fmla="*/ 802608 h 6557032"/>
              <a:gd name="connsiteX28659" fmla="*/ 3238003 w 4610101"/>
              <a:gd name="connsiteY28659" fmla="*/ 813541 h 6557032"/>
              <a:gd name="connsiteX28660" fmla="*/ 3221604 w 4610101"/>
              <a:gd name="connsiteY28660" fmla="*/ 793497 h 6557032"/>
              <a:gd name="connsiteX28661" fmla="*/ 3245292 w 4610101"/>
              <a:gd name="connsiteY28661" fmla="*/ 784386 h 6557032"/>
              <a:gd name="connsiteX28662" fmla="*/ 3238003 w 4610101"/>
              <a:gd name="connsiteY28662" fmla="*/ 777098 h 6557032"/>
              <a:gd name="connsiteX28663" fmla="*/ 2596598 w 4610101"/>
              <a:gd name="connsiteY28663" fmla="*/ 777098 h 6557032"/>
              <a:gd name="connsiteX28664" fmla="*/ 2592954 w 4610101"/>
              <a:gd name="connsiteY28664" fmla="*/ 778920 h 6557032"/>
              <a:gd name="connsiteX28665" fmla="*/ 2592954 w 4610101"/>
              <a:gd name="connsiteY28665" fmla="*/ 782564 h 6557032"/>
              <a:gd name="connsiteX28666" fmla="*/ 2589310 w 4610101"/>
              <a:gd name="connsiteY28666" fmla="*/ 780742 h 6557032"/>
              <a:gd name="connsiteX28667" fmla="*/ 2583843 w 4610101"/>
              <a:gd name="connsiteY28667" fmla="*/ 778920 h 6557032"/>
              <a:gd name="connsiteX28668" fmla="*/ 2591132 w 4610101"/>
              <a:gd name="connsiteY28668" fmla="*/ 793497 h 6557032"/>
              <a:gd name="connsiteX28669" fmla="*/ 2583843 w 4610101"/>
              <a:gd name="connsiteY28669" fmla="*/ 789853 h 6557032"/>
              <a:gd name="connsiteX28670" fmla="*/ 2582021 w 4610101"/>
              <a:gd name="connsiteY28670" fmla="*/ 800786 h 6557032"/>
              <a:gd name="connsiteX28671" fmla="*/ 2602065 w 4610101"/>
              <a:gd name="connsiteY28671" fmla="*/ 798964 h 6557032"/>
              <a:gd name="connsiteX28672" fmla="*/ 2594776 w 4610101"/>
              <a:gd name="connsiteY28672" fmla="*/ 793497 h 6557032"/>
              <a:gd name="connsiteX28673" fmla="*/ 2596598 w 4610101"/>
              <a:gd name="connsiteY28673" fmla="*/ 777098 h 6557032"/>
              <a:gd name="connsiteX28674" fmla="*/ 2552866 w 4610101"/>
              <a:gd name="connsiteY28674" fmla="*/ 777098 h 6557032"/>
              <a:gd name="connsiteX28675" fmla="*/ 2547400 w 4610101"/>
              <a:gd name="connsiteY28675" fmla="*/ 778920 h 6557032"/>
              <a:gd name="connsiteX28676" fmla="*/ 2556510 w 4610101"/>
              <a:gd name="connsiteY28676" fmla="*/ 788031 h 6557032"/>
              <a:gd name="connsiteX28677" fmla="*/ 2558332 w 4610101"/>
              <a:gd name="connsiteY28677" fmla="*/ 780742 h 6557032"/>
              <a:gd name="connsiteX28678" fmla="*/ 2552866 w 4610101"/>
              <a:gd name="connsiteY28678" fmla="*/ 777098 h 6557032"/>
              <a:gd name="connsiteX28679" fmla="*/ 1301033 w 4610101"/>
              <a:gd name="connsiteY28679" fmla="*/ 777098 h 6557032"/>
              <a:gd name="connsiteX28680" fmla="*/ 1266411 w 4610101"/>
              <a:gd name="connsiteY28680" fmla="*/ 778920 h 6557032"/>
              <a:gd name="connsiteX28681" fmla="*/ 1291922 w 4610101"/>
              <a:gd name="connsiteY28681" fmla="*/ 788031 h 6557032"/>
              <a:gd name="connsiteX28682" fmla="*/ 1293744 w 4610101"/>
              <a:gd name="connsiteY28682" fmla="*/ 782564 h 6557032"/>
              <a:gd name="connsiteX28683" fmla="*/ 1297388 w 4610101"/>
              <a:gd name="connsiteY28683" fmla="*/ 782564 h 6557032"/>
              <a:gd name="connsiteX28684" fmla="*/ 1298527 w 4610101"/>
              <a:gd name="connsiteY28684" fmla="*/ 779831 h 6557032"/>
              <a:gd name="connsiteX28685" fmla="*/ 1299250 w 4610101"/>
              <a:gd name="connsiteY28685" fmla="*/ 779042 h 6557032"/>
              <a:gd name="connsiteX28686" fmla="*/ 1301033 w 4610101"/>
              <a:gd name="connsiteY28686" fmla="*/ 784386 h 6557032"/>
              <a:gd name="connsiteX28687" fmla="*/ 1299210 w 4610101"/>
              <a:gd name="connsiteY28687" fmla="*/ 780742 h 6557032"/>
              <a:gd name="connsiteX28688" fmla="*/ 1293744 w 4610101"/>
              <a:gd name="connsiteY28688" fmla="*/ 788031 h 6557032"/>
              <a:gd name="connsiteX28689" fmla="*/ 1301033 w 4610101"/>
              <a:gd name="connsiteY28689" fmla="*/ 786208 h 6557032"/>
              <a:gd name="connsiteX28690" fmla="*/ 1301033 w 4610101"/>
              <a:gd name="connsiteY28690" fmla="*/ 789853 h 6557032"/>
              <a:gd name="connsiteX28691" fmla="*/ 1315610 w 4610101"/>
              <a:gd name="connsiteY28691" fmla="*/ 777098 h 6557032"/>
              <a:gd name="connsiteX28692" fmla="*/ 1299379 w 4610101"/>
              <a:gd name="connsiteY28692" fmla="*/ 778902 h 6557032"/>
              <a:gd name="connsiteX28693" fmla="*/ 1186236 w 4610101"/>
              <a:gd name="connsiteY28693" fmla="*/ 777098 h 6557032"/>
              <a:gd name="connsiteX28694" fmla="*/ 1184414 w 4610101"/>
              <a:gd name="connsiteY28694" fmla="*/ 782564 h 6557032"/>
              <a:gd name="connsiteX28695" fmla="*/ 1186236 w 4610101"/>
              <a:gd name="connsiteY28695" fmla="*/ 777098 h 6557032"/>
              <a:gd name="connsiteX28696" fmla="*/ 699715 w 4610101"/>
              <a:gd name="connsiteY28696" fmla="*/ 777098 h 6557032"/>
              <a:gd name="connsiteX28697" fmla="*/ 703359 w 4610101"/>
              <a:gd name="connsiteY28697" fmla="*/ 782564 h 6557032"/>
              <a:gd name="connsiteX28698" fmla="*/ 699715 w 4610101"/>
              <a:gd name="connsiteY28698" fmla="*/ 777098 h 6557032"/>
              <a:gd name="connsiteX28699" fmla="*/ 685138 w 4610101"/>
              <a:gd name="connsiteY28699" fmla="*/ 777098 h 6557032"/>
              <a:gd name="connsiteX28700" fmla="*/ 683316 w 4610101"/>
              <a:gd name="connsiteY28700" fmla="*/ 788031 h 6557032"/>
              <a:gd name="connsiteX28701" fmla="*/ 697893 w 4610101"/>
              <a:gd name="connsiteY28701" fmla="*/ 784386 h 6557032"/>
              <a:gd name="connsiteX28702" fmla="*/ 685138 w 4610101"/>
              <a:gd name="connsiteY28702" fmla="*/ 777098 h 6557032"/>
              <a:gd name="connsiteX28703" fmla="*/ 632296 w 4610101"/>
              <a:gd name="connsiteY28703" fmla="*/ 777098 h 6557032"/>
              <a:gd name="connsiteX28704" fmla="*/ 634800 w 4610101"/>
              <a:gd name="connsiteY28704" fmla="*/ 783248 h 6557032"/>
              <a:gd name="connsiteX28705" fmla="*/ 635780 w 4610101"/>
              <a:gd name="connsiteY28705" fmla="*/ 787366 h 6557032"/>
              <a:gd name="connsiteX28706" fmla="*/ 634117 w 4610101"/>
              <a:gd name="connsiteY28706" fmla="*/ 788031 h 6557032"/>
              <a:gd name="connsiteX28707" fmla="*/ 635939 w 4610101"/>
              <a:gd name="connsiteY28707" fmla="*/ 788031 h 6557032"/>
              <a:gd name="connsiteX28708" fmla="*/ 635780 w 4610101"/>
              <a:gd name="connsiteY28708" fmla="*/ 787366 h 6557032"/>
              <a:gd name="connsiteX28709" fmla="*/ 643228 w 4610101"/>
              <a:gd name="connsiteY28709" fmla="*/ 784386 h 6557032"/>
              <a:gd name="connsiteX28710" fmla="*/ 643228 w 4610101"/>
              <a:gd name="connsiteY28710" fmla="*/ 789853 h 6557032"/>
              <a:gd name="connsiteX28711" fmla="*/ 646872 w 4610101"/>
              <a:gd name="connsiteY28711" fmla="*/ 784386 h 6557032"/>
              <a:gd name="connsiteX28712" fmla="*/ 632296 w 4610101"/>
              <a:gd name="connsiteY28712" fmla="*/ 777098 h 6557032"/>
              <a:gd name="connsiteX28713" fmla="*/ 439145 w 4610101"/>
              <a:gd name="connsiteY28713" fmla="*/ 777098 h 6557032"/>
              <a:gd name="connsiteX28714" fmla="*/ 440966 w 4610101"/>
              <a:gd name="connsiteY28714" fmla="*/ 780742 h 6557032"/>
              <a:gd name="connsiteX28715" fmla="*/ 439145 w 4610101"/>
              <a:gd name="connsiteY28715" fmla="*/ 777098 h 6557032"/>
              <a:gd name="connsiteX28716" fmla="*/ 1465031 w 4610101"/>
              <a:gd name="connsiteY28716" fmla="*/ 776414 h 6557032"/>
              <a:gd name="connsiteX28717" fmla="*/ 1463149 w 4610101"/>
              <a:gd name="connsiteY28717" fmla="*/ 778180 h 6557032"/>
              <a:gd name="connsiteX28718" fmla="*/ 1461384 w 4610101"/>
              <a:gd name="connsiteY28718" fmla="*/ 784386 h 6557032"/>
              <a:gd name="connsiteX28719" fmla="*/ 1457739 w 4610101"/>
              <a:gd name="connsiteY28719" fmla="*/ 784386 h 6557032"/>
              <a:gd name="connsiteX28720" fmla="*/ 1459562 w 4610101"/>
              <a:gd name="connsiteY28720" fmla="*/ 786208 h 6557032"/>
              <a:gd name="connsiteX28721" fmla="*/ 1454095 w 4610101"/>
              <a:gd name="connsiteY28721" fmla="*/ 793497 h 6557032"/>
              <a:gd name="connsiteX28722" fmla="*/ 1463206 w 4610101"/>
              <a:gd name="connsiteY28722" fmla="*/ 788031 h 6557032"/>
              <a:gd name="connsiteX28723" fmla="*/ 1466850 w 4610101"/>
              <a:gd name="connsiteY28723" fmla="*/ 791675 h 6557032"/>
              <a:gd name="connsiteX28724" fmla="*/ 1452956 w 4610101"/>
              <a:gd name="connsiteY28724" fmla="*/ 793953 h 6557032"/>
              <a:gd name="connsiteX28725" fmla="*/ 1449855 w 4610101"/>
              <a:gd name="connsiteY28725" fmla="*/ 796779 h 6557032"/>
              <a:gd name="connsiteX28726" fmla="*/ 1459562 w 4610101"/>
              <a:gd name="connsiteY28726" fmla="*/ 780742 h 6557032"/>
              <a:gd name="connsiteX28727" fmla="*/ 1461384 w 4610101"/>
              <a:gd name="connsiteY28727" fmla="*/ 782564 h 6557032"/>
              <a:gd name="connsiteX28728" fmla="*/ 1463206 w 4610101"/>
              <a:gd name="connsiteY28728" fmla="*/ 777098 h 6557032"/>
              <a:gd name="connsiteX28729" fmla="*/ 2722328 w 4610101"/>
              <a:gd name="connsiteY28729" fmla="*/ 775275 h 6557032"/>
              <a:gd name="connsiteX28730" fmla="*/ 2707751 w 4610101"/>
              <a:gd name="connsiteY28730" fmla="*/ 780742 h 6557032"/>
              <a:gd name="connsiteX28731" fmla="*/ 2724150 w 4610101"/>
              <a:gd name="connsiteY28731" fmla="*/ 784386 h 6557032"/>
              <a:gd name="connsiteX28732" fmla="*/ 2722328 w 4610101"/>
              <a:gd name="connsiteY28732" fmla="*/ 775275 h 6557032"/>
              <a:gd name="connsiteX28733" fmla="*/ 2323272 w 4610101"/>
              <a:gd name="connsiteY28733" fmla="*/ 775275 h 6557032"/>
              <a:gd name="connsiteX28734" fmla="*/ 2321450 w 4610101"/>
              <a:gd name="connsiteY28734" fmla="*/ 782564 h 6557032"/>
              <a:gd name="connsiteX28735" fmla="*/ 2326916 w 4610101"/>
              <a:gd name="connsiteY28735" fmla="*/ 797141 h 6557032"/>
              <a:gd name="connsiteX28736" fmla="*/ 2330561 w 4610101"/>
              <a:gd name="connsiteY28736" fmla="*/ 795319 h 6557032"/>
              <a:gd name="connsiteX28737" fmla="*/ 1362987 w 4610101"/>
              <a:gd name="connsiteY28737" fmla="*/ 775275 h 6557032"/>
              <a:gd name="connsiteX28738" fmla="*/ 1348410 w 4610101"/>
              <a:gd name="connsiteY28738" fmla="*/ 784386 h 6557032"/>
              <a:gd name="connsiteX28739" fmla="*/ 1361164 w 4610101"/>
              <a:gd name="connsiteY28739" fmla="*/ 780742 h 6557032"/>
              <a:gd name="connsiteX28740" fmla="*/ 1362987 w 4610101"/>
              <a:gd name="connsiteY28740" fmla="*/ 775275 h 6557032"/>
              <a:gd name="connsiteX28741" fmla="*/ 1033173 w 4610101"/>
              <a:gd name="connsiteY28741" fmla="*/ 775275 h 6557032"/>
              <a:gd name="connsiteX28742" fmla="*/ 1022240 w 4610101"/>
              <a:gd name="connsiteY28742" fmla="*/ 788031 h 6557032"/>
              <a:gd name="connsiteX28743" fmla="*/ 1023843 w 4610101"/>
              <a:gd name="connsiteY28743" fmla="*/ 788299 h 6557032"/>
              <a:gd name="connsiteX28744" fmla="*/ 1022012 w 4610101"/>
              <a:gd name="connsiteY28744" fmla="*/ 790537 h 6557032"/>
              <a:gd name="connsiteX28745" fmla="*/ 1024062 w 4610101"/>
              <a:gd name="connsiteY28745" fmla="*/ 791675 h 6557032"/>
              <a:gd name="connsiteX28746" fmla="*/ 1026113 w 4610101"/>
              <a:gd name="connsiteY28746" fmla="*/ 790537 h 6557032"/>
              <a:gd name="connsiteX28747" fmla="*/ 1024349 w 4610101"/>
              <a:gd name="connsiteY28747" fmla="*/ 788383 h 6557032"/>
              <a:gd name="connsiteX28748" fmla="*/ 1033173 w 4610101"/>
              <a:gd name="connsiteY28748" fmla="*/ 789853 h 6557032"/>
              <a:gd name="connsiteX28749" fmla="*/ 1033173 w 4610101"/>
              <a:gd name="connsiteY28749" fmla="*/ 791675 h 6557032"/>
              <a:gd name="connsiteX28750" fmla="*/ 1036818 w 4610101"/>
              <a:gd name="connsiteY28750" fmla="*/ 786208 h 6557032"/>
              <a:gd name="connsiteX28751" fmla="*/ 1033173 w 4610101"/>
              <a:gd name="connsiteY28751" fmla="*/ 775275 h 6557032"/>
              <a:gd name="connsiteX28752" fmla="*/ 741626 w 4610101"/>
              <a:gd name="connsiteY28752" fmla="*/ 775275 h 6557032"/>
              <a:gd name="connsiteX28753" fmla="*/ 737981 w 4610101"/>
              <a:gd name="connsiteY28753" fmla="*/ 780742 h 6557032"/>
              <a:gd name="connsiteX28754" fmla="*/ 741626 w 4610101"/>
              <a:gd name="connsiteY28754" fmla="*/ 775275 h 6557032"/>
              <a:gd name="connsiteX28755" fmla="*/ 677849 w 4610101"/>
              <a:gd name="connsiteY28755" fmla="*/ 775275 h 6557032"/>
              <a:gd name="connsiteX28756" fmla="*/ 677849 w 4610101"/>
              <a:gd name="connsiteY28756" fmla="*/ 784386 h 6557032"/>
              <a:gd name="connsiteX28757" fmla="*/ 683316 w 4610101"/>
              <a:gd name="connsiteY28757" fmla="*/ 777098 h 6557032"/>
              <a:gd name="connsiteX28758" fmla="*/ 677849 w 4610101"/>
              <a:gd name="connsiteY28758" fmla="*/ 775275 h 6557032"/>
              <a:gd name="connsiteX28759" fmla="*/ 455544 w 4610101"/>
              <a:gd name="connsiteY28759" fmla="*/ 775275 h 6557032"/>
              <a:gd name="connsiteX28760" fmla="*/ 455544 w 4610101"/>
              <a:gd name="connsiteY28760" fmla="*/ 780742 h 6557032"/>
              <a:gd name="connsiteX28761" fmla="*/ 462832 w 4610101"/>
              <a:gd name="connsiteY28761" fmla="*/ 780742 h 6557032"/>
              <a:gd name="connsiteX28762" fmla="*/ 459188 w 4610101"/>
              <a:gd name="connsiteY28762" fmla="*/ 777098 h 6557032"/>
              <a:gd name="connsiteX28763" fmla="*/ 455544 w 4610101"/>
              <a:gd name="connsiteY28763" fmla="*/ 775275 h 6557032"/>
              <a:gd name="connsiteX28764" fmla="*/ 395412 w 4610101"/>
              <a:gd name="connsiteY28764" fmla="*/ 775275 h 6557032"/>
              <a:gd name="connsiteX28765" fmla="*/ 402701 w 4610101"/>
              <a:gd name="connsiteY28765" fmla="*/ 780742 h 6557032"/>
              <a:gd name="connsiteX28766" fmla="*/ 395412 w 4610101"/>
              <a:gd name="connsiteY28766" fmla="*/ 775275 h 6557032"/>
              <a:gd name="connsiteX28767" fmla="*/ 566697 w 4610101"/>
              <a:gd name="connsiteY28767" fmla="*/ 774820 h 6557032"/>
              <a:gd name="connsiteX28768" fmla="*/ 561230 w 4610101"/>
              <a:gd name="connsiteY28768" fmla="*/ 784386 h 6557032"/>
              <a:gd name="connsiteX28769" fmla="*/ 566697 w 4610101"/>
              <a:gd name="connsiteY28769" fmla="*/ 778920 h 6557032"/>
              <a:gd name="connsiteX28770" fmla="*/ 568519 w 4610101"/>
              <a:gd name="connsiteY28770" fmla="*/ 782564 h 6557032"/>
              <a:gd name="connsiteX28771" fmla="*/ 563052 w 4610101"/>
              <a:gd name="connsiteY28771" fmla="*/ 784386 h 6557032"/>
              <a:gd name="connsiteX28772" fmla="*/ 575808 w 4610101"/>
              <a:gd name="connsiteY28772" fmla="*/ 793497 h 6557032"/>
              <a:gd name="connsiteX28773" fmla="*/ 579452 w 4610101"/>
              <a:gd name="connsiteY28773" fmla="*/ 798964 h 6557032"/>
              <a:gd name="connsiteX28774" fmla="*/ 575808 w 4610101"/>
              <a:gd name="connsiteY28774" fmla="*/ 793497 h 6557032"/>
              <a:gd name="connsiteX28775" fmla="*/ 568519 w 4610101"/>
              <a:gd name="connsiteY28775" fmla="*/ 788031 h 6557032"/>
              <a:gd name="connsiteX28776" fmla="*/ 575808 w 4610101"/>
              <a:gd name="connsiteY28776" fmla="*/ 789853 h 6557032"/>
              <a:gd name="connsiteX28777" fmla="*/ 570341 w 4610101"/>
              <a:gd name="connsiteY28777" fmla="*/ 778920 h 6557032"/>
              <a:gd name="connsiteX28778" fmla="*/ 577630 w 4610101"/>
              <a:gd name="connsiteY28778" fmla="*/ 784386 h 6557032"/>
              <a:gd name="connsiteX28779" fmla="*/ 577630 w 4610101"/>
              <a:gd name="connsiteY28779" fmla="*/ 778920 h 6557032"/>
              <a:gd name="connsiteX28780" fmla="*/ 566697 w 4610101"/>
              <a:gd name="connsiteY28780" fmla="*/ 774820 h 6557032"/>
              <a:gd name="connsiteX28781" fmla="*/ 1327226 w 4610101"/>
              <a:gd name="connsiteY28781" fmla="*/ 773681 h 6557032"/>
              <a:gd name="connsiteX28782" fmla="*/ 1319254 w 4610101"/>
              <a:gd name="connsiteY28782" fmla="*/ 777098 h 6557032"/>
              <a:gd name="connsiteX28783" fmla="*/ 1322899 w 4610101"/>
              <a:gd name="connsiteY28783" fmla="*/ 777098 h 6557032"/>
              <a:gd name="connsiteX28784" fmla="*/ 1310143 w 4610101"/>
              <a:gd name="connsiteY28784" fmla="*/ 788031 h 6557032"/>
              <a:gd name="connsiteX28785" fmla="*/ 1333832 w 4610101"/>
              <a:gd name="connsiteY28785" fmla="*/ 777098 h 6557032"/>
              <a:gd name="connsiteX28786" fmla="*/ 1327226 w 4610101"/>
              <a:gd name="connsiteY28786" fmla="*/ 773681 h 6557032"/>
              <a:gd name="connsiteX28787" fmla="*/ 625917 w 4610101"/>
              <a:gd name="connsiteY28787" fmla="*/ 773454 h 6557032"/>
              <a:gd name="connsiteX28788" fmla="*/ 630472 w 4610101"/>
              <a:gd name="connsiteY28788" fmla="*/ 782564 h 6557032"/>
              <a:gd name="connsiteX28789" fmla="*/ 632296 w 4610101"/>
              <a:gd name="connsiteY28789" fmla="*/ 780742 h 6557032"/>
              <a:gd name="connsiteX28790" fmla="*/ 625917 w 4610101"/>
              <a:gd name="connsiteY28790" fmla="*/ 773454 h 6557032"/>
              <a:gd name="connsiteX28791" fmla="*/ 2729617 w 4610101"/>
              <a:gd name="connsiteY28791" fmla="*/ 773453 h 6557032"/>
              <a:gd name="connsiteX28792" fmla="*/ 2746016 w 4610101"/>
              <a:gd name="connsiteY28792" fmla="*/ 782564 h 6557032"/>
              <a:gd name="connsiteX28793" fmla="*/ 2729617 w 4610101"/>
              <a:gd name="connsiteY28793" fmla="*/ 773453 h 6557032"/>
              <a:gd name="connsiteX28794" fmla="*/ 2571088 w 4610101"/>
              <a:gd name="connsiteY28794" fmla="*/ 773453 h 6557032"/>
              <a:gd name="connsiteX28795" fmla="*/ 2563799 w 4610101"/>
              <a:gd name="connsiteY28795" fmla="*/ 777098 h 6557032"/>
              <a:gd name="connsiteX28796" fmla="*/ 2560155 w 4610101"/>
              <a:gd name="connsiteY28796" fmla="*/ 793497 h 6557032"/>
              <a:gd name="connsiteX28797" fmla="*/ 2567443 w 4610101"/>
              <a:gd name="connsiteY28797" fmla="*/ 791675 h 6557032"/>
              <a:gd name="connsiteX28798" fmla="*/ 2565621 w 4610101"/>
              <a:gd name="connsiteY28798" fmla="*/ 786208 h 6557032"/>
              <a:gd name="connsiteX28799" fmla="*/ 2571088 w 4610101"/>
              <a:gd name="connsiteY28799" fmla="*/ 773453 h 6557032"/>
              <a:gd name="connsiteX28800" fmla="*/ 2317806 w 4610101"/>
              <a:gd name="connsiteY28800" fmla="*/ 773453 h 6557032"/>
              <a:gd name="connsiteX28801" fmla="*/ 2317806 w 4610101"/>
              <a:gd name="connsiteY28801" fmla="*/ 777098 h 6557032"/>
              <a:gd name="connsiteX28802" fmla="*/ 2321450 w 4610101"/>
              <a:gd name="connsiteY28802" fmla="*/ 775275 h 6557032"/>
              <a:gd name="connsiteX28803" fmla="*/ 2319628 w 4610101"/>
              <a:gd name="connsiteY28803" fmla="*/ 773453 h 6557032"/>
              <a:gd name="connsiteX28804" fmla="*/ 2317806 w 4610101"/>
              <a:gd name="connsiteY28804" fmla="*/ 773453 h 6557032"/>
              <a:gd name="connsiteX28805" fmla="*/ 1373920 w 4610101"/>
              <a:gd name="connsiteY28805" fmla="*/ 773453 h 6557032"/>
              <a:gd name="connsiteX28806" fmla="*/ 1366632 w 4610101"/>
              <a:gd name="connsiteY28806" fmla="*/ 775275 h 6557032"/>
              <a:gd name="connsiteX28807" fmla="*/ 1370275 w 4610101"/>
              <a:gd name="connsiteY28807" fmla="*/ 777098 h 6557032"/>
              <a:gd name="connsiteX28808" fmla="*/ 1373920 w 4610101"/>
              <a:gd name="connsiteY28808" fmla="*/ 773453 h 6557032"/>
              <a:gd name="connsiteX28809" fmla="*/ 1342942 w 4610101"/>
              <a:gd name="connsiteY28809" fmla="*/ 773453 h 6557032"/>
              <a:gd name="connsiteX28810" fmla="*/ 1341120 w 4610101"/>
              <a:gd name="connsiteY28810" fmla="*/ 778920 h 6557032"/>
              <a:gd name="connsiteX28811" fmla="*/ 1348410 w 4610101"/>
              <a:gd name="connsiteY28811" fmla="*/ 777098 h 6557032"/>
              <a:gd name="connsiteX28812" fmla="*/ 1342942 w 4610101"/>
              <a:gd name="connsiteY28812" fmla="*/ 773453 h 6557032"/>
              <a:gd name="connsiteX28813" fmla="*/ 1018596 w 4610101"/>
              <a:gd name="connsiteY28813" fmla="*/ 773453 h 6557032"/>
              <a:gd name="connsiteX28814" fmla="*/ 989441 w 4610101"/>
              <a:gd name="connsiteY28814" fmla="*/ 797141 h 6557032"/>
              <a:gd name="connsiteX28815" fmla="*/ 993085 w 4610101"/>
              <a:gd name="connsiteY28815" fmla="*/ 798964 h 6557032"/>
              <a:gd name="connsiteX28816" fmla="*/ 989441 w 4610101"/>
              <a:gd name="connsiteY28816" fmla="*/ 802608 h 6557032"/>
              <a:gd name="connsiteX28817" fmla="*/ 994907 w 4610101"/>
              <a:gd name="connsiteY28817" fmla="*/ 800786 h 6557032"/>
              <a:gd name="connsiteX28818" fmla="*/ 994907 w 4610101"/>
              <a:gd name="connsiteY28818" fmla="*/ 809897 h 6557032"/>
              <a:gd name="connsiteX28819" fmla="*/ 996547 w 4610101"/>
              <a:gd name="connsiteY28819" fmla="*/ 810080 h 6557032"/>
              <a:gd name="connsiteX28820" fmla="*/ 994679 w 4610101"/>
              <a:gd name="connsiteY28820" fmla="*/ 811947 h 6557032"/>
              <a:gd name="connsiteX28821" fmla="*/ 996729 w 4610101"/>
              <a:gd name="connsiteY28821" fmla="*/ 815363 h 6557032"/>
              <a:gd name="connsiteX28822" fmla="*/ 998096 w 4610101"/>
              <a:gd name="connsiteY28822" fmla="*/ 812630 h 6557032"/>
              <a:gd name="connsiteX28823" fmla="*/ 996836 w 4610101"/>
              <a:gd name="connsiteY28823" fmla="*/ 810112 h 6557032"/>
              <a:gd name="connsiteX28824" fmla="*/ 1010721 w 4610101"/>
              <a:gd name="connsiteY28824" fmla="*/ 811654 h 6557032"/>
              <a:gd name="connsiteX28825" fmla="*/ 1010544 w 4610101"/>
              <a:gd name="connsiteY28825" fmla="*/ 812190 h 6557032"/>
              <a:gd name="connsiteX28826" fmla="*/ 1005384 w 4610101"/>
              <a:gd name="connsiteY28826" fmla="*/ 815364 h 6557032"/>
              <a:gd name="connsiteX28827" fmla="*/ 1002196 w 4610101"/>
              <a:gd name="connsiteY28827" fmla="*/ 819008 h 6557032"/>
              <a:gd name="connsiteX28828" fmla="*/ 1004018 w 4610101"/>
              <a:gd name="connsiteY28828" fmla="*/ 820830 h 6557032"/>
              <a:gd name="connsiteX28829" fmla="*/ 1004018 w 4610101"/>
              <a:gd name="connsiteY28829" fmla="*/ 819048 h 6557032"/>
              <a:gd name="connsiteX28830" fmla="*/ 1007622 w 4610101"/>
              <a:gd name="connsiteY28830" fmla="*/ 820850 h 6557032"/>
              <a:gd name="connsiteX28831" fmla="*/ 1007663 w 4610101"/>
              <a:gd name="connsiteY28831" fmla="*/ 820830 h 6557032"/>
              <a:gd name="connsiteX28832" fmla="*/ 1005840 w 4610101"/>
              <a:gd name="connsiteY28832" fmla="*/ 819008 h 6557032"/>
              <a:gd name="connsiteX28833" fmla="*/ 1007663 w 4610101"/>
              <a:gd name="connsiteY28833" fmla="*/ 817185 h 6557032"/>
              <a:gd name="connsiteX28834" fmla="*/ 1007663 w 4610101"/>
              <a:gd name="connsiteY28834" fmla="*/ 815404 h 6557032"/>
              <a:gd name="connsiteX28835" fmla="*/ 1008553 w 4610101"/>
              <a:gd name="connsiteY28835" fmla="*/ 816295 h 6557032"/>
              <a:gd name="connsiteX28836" fmla="*/ 1009485 w 4610101"/>
              <a:gd name="connsiteY28836" fmla="*/ 815363 h 6557032"/>
              <a:gd name="connsiteX28837" fmla="*/ 1010544 w 4610101"/>
              <a:gd name="connsiteY28837" fmla="*/ 812190 h 6557032"/>
              <a:gd name="connsiteX28838" fmla="*/ 1011281 w 4610101"/>
              <a:gd name="connsiteY28838" fmla="*/ 811735 h 6557032"/>
              <a:gd name="connsiteX28839" fmla="*/ 1011260 w 4610101"/>
              <a:gd name="connsiteY28839" fmla="*/ 811714 h 6557032"/>
              <a:gd name="connsiteX28840" fmla="*/ 1010721 w 4610101"/>
              <a:gd name="connsiteY28840" fmla="*/ 811654 h 6557032"/>
              <a:gd name="connsiteX28841" fmla="*/ 1010841 w 4610101"/>
              <a:gd name="connsiteY28841" fmla="*/ 811295 h 6557032"/>
              <a:gd name="connsiteX28842" fmla="*/ 1009485 w 4610101"/>
              <a:gd name="connsiteY28842" fmla="*/ 809938 h 6557032"/>
              <a:gd name="connsiteX28843" fmla="*/ 1011035 w 4610101"/>
              <a:gd name="connsiteY28843" fmla="*/ 810714 h 6557032"/>
              <a:gd name="connsiteX28844" fmla="*/ 1011307 w 4610101"/>
              <a:gd name="connsiteY28844" fmla="*/ 809897 h 6557032"/>
              <a:gd name="connsiteX28845" fmla="*/ 1014951 w 4610101"/>
              <a:gd name="connsiteY28845" fmla="*/ 806252 h 6557032"/>
              <a:gd name="connsiteX28846" fmla="*/ 1013129 w 4610101"/>
              <a:gd name="connsiteY28846" fmla="*/ 797141 h 6557032"/>
              <a:gd name="connsiteX28847" fmla="*/ 1014951 w 4610101"/>
              <a:gd name="connsiteY28847" fmla="*/ 800786 h 6557032"/>
              <a:gd name="connsiteX28848" fmla="*/ 1025884 w 4610101"/>
              <a:gd name="connsiteY28848" fmla="*/ 773453 h 6557032"/>
              <a:gd name="connsiteX28849" fmla="*/ 1018596 w 4610101"/>
              <a:gd name="connsiteY28849" fmla="*/ 773453 h 6557032"/>
              <a:gd name="connsiteX28850" fmla="*/ 776246 w 4610101"/>
              <a:gd name="connsiteY28850" fmla="*/ 773453 h 6557032"/>
              <a:gd name="connsiteX28851" fmla="*/ 781713 w 4610101"/>
              <a:gd name="connsiteY28851" fmla="*/ 775275 h 6557032"/>
              <a:gd name="connsiteX28852" fmla="*/ 776246 w 4610101"/>
              <a:gd name="connsiteY28852" fmla="*/ 773453 h 6557032"/>
              <a:gd name="connsiteX28853" fmla="*/ 512031 w 4610101"/>
              <a:gd name="connsiteY28853" fmla="*/ 773453 h 6557032"/>
              <a:gd name="connsiteX28854" fmla="*/ 517498 w 4610101"/>
              <a:gd name="connsiteY28854" fmla="*/ 778920 h 6557032"/>
              <a:gd name="connsiteX28855" fmla="*/ 515676 w 4610101"/>
              <a:gd name="connsiteY28855" fmla="*/ 773453 h 6557032"/>
              <a:gd name="connsiteX28856" fmla="*/ 512031 w 4610101"/>
              <a:gd name="connsiteY28856" fmla="*/ 773453 h 6557032"/>
              <a:gd name="connsiteX28857" fmla="*/ 282438 w 4610101"/>
              <a:gd name="connsiteY28857" fmla="*/ 773453 h 6557032"/>
              <a:gd name="connsiteX28858" fmla="*/ 283804 w 4610101"/>
              <a:gd name="connsiteY28858" fmla="*/ 777098 h 6557032"/>
              <a:gd name="connsiteX28859" fmla="*/ 285169 w 4610101"/>
              <a:gd name="connsiteY28859" fmla="*/ 778312 h 6557032"/>
              <a:gd name="connsiteX28860" fmla="*/ 287904 w 4610101"/>
              <a:gd name="connsiteY28860" fmla="*/ 780742 h 6557032"/>
              <a:gd name="connsiteX28861" fmla="*/ 282438 w 4610101"/>
              <a:gd name="connsiteY28861" fmla="*/ 773453 h 6557032"/>
              <a:gd name="connsiteX28862" fmla="*/ 244172 w 4610101"/>
              <a:gd name="connsiteY28862" fmla="*/ 773453 h 6557032"/>
              <a:gd name="connsiteX28863" fmla="*/ 255105 w 4610101"/>
              <a:gd name="connsiteY28863" fmla="*/ 778920 h 6557032"/>
              <a:gd name="connsiteX28864" fmla="*/ 244172 w 4610101"/>
              <a:gd name="connsiteY28864" fmla="*/ 773453 h 6557032"/>
              <a:gd name="connsiteX28865" fmla="*/ 1406901 w 4610101"/>
              <a:gd name="connsiteY28865" fmla="*/ 771996 h 6557032"/>
              <a:gd name="connsiteX28866" fmla="*/ 1408541 w 4610101"/>
              <a:gd name="connsiteY28866" fmla="*/ 775275 h 6557032"/>
              <a:gd name="connsiteX28867" fmla="*/ 1403074 w 4610101"/>
              <a:gd name="connsiteY28867" fmla="*/ 777098 h 6557032"/>
              <a:gd name="connsiteX28868" fmla="*/ 1405807 w 4610101"/>
              <a:gd name="connsiteY28868" fmla="*/ 773454 h 6557032"/>
              <a:gd name="connsiteX28869" fmla="*/ 3480353 w 4610101"/>
              <a:gd name="connsiteY28869" fmla="*/ 771631 h 6557032"/>
              <a:gd name="connsiteX28870" fmla="*/ 3481437 w 4610101"/>
              <a:gd name="connsiteY28870" fmla="*/ 771812 h 6557032"/>
              <a:gd name="connsiteX28871" fmla="*/ 3480093 w 4610101"/>
              <a:gd name="connsiteY28871" fmla="*/ 772441 h 6557032"/>
              <a:gd name="connsiteX28872" fmla="*/ 1211747 w 4610101"/>
              <a:gd name="connsiteY28872" fmla="*/ 771631 h 6557032"/>
              <a:gd name="connsiteX28873" fmla="*/ 1206980 w 4610101"/>
              <a:gd name="connsiteY28873" fmla="*/ 773453 h 6557032"/>
              <a:gd name="connsiteX28874" fmla="*/ 1206279 w 4610101"/>
              <a:gd name="connsiteY28874" fmla="*/ 773453 h 6557032"/>
              <a:gd name="connsiteX28875" fmla="*/ 1206152 w 4610101"/>
              <a:gd name="connsiteY28875" fmla="*/ 773770 h 6557032"/>
              <a:gd name="connsiteX28876" fmla="*/ 1196257 w 4610101"/>
              <a:gd name="connsiteY28876" fmla="*/ 777553 h 6557032"/>
              <a:gd name="connsiteX28877" fmla="*/ 1186236 w 4610101"/>
              <a:gd name="connsiteY28877" fmla="*/ 786208 h 6557032"/>
              <a:gd name="connsiteX28878" fmla="*/ 1189880 w 4610101"/>
              <a:gd name="connsiteY28878" fmla="*/ 786208 h 6557032"/>
              <a:gd name="connsiteX28879" fmla="*/ 1186017 w 4610101"/>
              <a:gd name="connsiteY28879" fmla="*/ 790072 h 6557032"/>
              <a:gd name="connsiteX28880" fmla="*/ 1181681 w 4610101"/>
              <a:gd name="connsiteY28880" fmla="*/ 790536 h 6557032"/>
              <a:gd name="connsiteX28881" fmla="*/ 1180769 w 4610101"/>
              <a:gd name="connsiteY28881" fmla="*/ 795319 h 6557032"/>
              <a:gd name="connsiteX28882" fmla="*/ 1186017 w 4610101"/>
              <a:gd name="connsiteY28882" fmla="*/ 790072 h 6557032"/>
              <a:gd name="connsiteX28883" fmla="*/ 1188058 w 4610101"/>
              <a:gd name="connsiteY28883" fmla="*/ 789853 h 6557032"/>
              <a:gd name="connsiteX28884" fmla="*/ 1189880 w 4610101"/>
              <a:gd name="connsiteY28884" fmla="*/ 786208 h 6557032"/>
              <a:gd name="connsiteX28885" fmla="*/ 1189880 w 4610101"/>
              <a:gd name="connsiteY28885" fmla="*/ 786208 h 6557032"/>
              <a:gd name="connsiteX28886" fmla="*/ 1193525 w 4610101"/>
              <a:gd name="connsiteY28886" fmla="*/ 782564 h 6557032"/>
              <a:gd name="connsiteX28887" fmla="*/ 1180769 w 4610101"/>
              <a:gd name="connsiteY28887" fmla="*/ 797141 h 6557032"/>
              <a:gd name="connsiteX28888" fmla="*/ 1185831 w 4610101"/>
              <a:gd name="connsiteY28888" fmla="*/ 802203 h 6557032"/>
              <a:gd name="connsiteX28889" fmla="*/ 1184414 w 4610101"/>
              <a:gd name="connsiteY28889" fmla="*/ 802608 h 6557032"/>
              <a:gd name="connsiteX28890" fmla="*/ 1186236 w 4610101"/>
              <a:gd name="connsiteY28890" fmla="*/ 802608 h 6557032"/>
              <a:gd name="connsiteX28891" fmla="*/ 1185831 w 4610101"/>
              <a:gd name="connsiteY28891" fmla="*/ 802203 h 6557032"/>
              <a:gd name="connsiteX28892" fmla="*/ 1190791 w 4610101"/>
              <a:gd name="connsiteY28892" fmla="*/ 800786 h 6557032"/>
              <a:gd name="connsiteX28893" fmla="*/ 1197169 w 4610101"/>
              <a:gd name="connsiteY28893" fmla="*/ 793497 h 6557032"/>
              <a:gd name="connsiteX28894" fmla="*/ 1198991 w 4610101"/>
              <a:gd name="connsiteY28894" fmla="*/ 786208 h 6557032"/>
              <a:gd name="connsiteX28895" fmla="*/ 1204002 w 4610101"/>
              <a:gd name="connsiteY28895" fmla="*/ 779148 h 6557032"/>
              <a:gd name="connsiteX28896" fmla="*/ 1206152 w 4610101"/>
              <a:gd name="connsiteY28896" fmla="*/ 773770 h 6557032"/>
              <a:gd name="connsiteX28897" fmla="*/ 1206980 w 4610101"/>
              <a:gd name="connsiteY28897" fmla="*/ 773453 h 6557032"/>
              <a:gd name="connsiteX28898" fmla="*/ 1208102 w 4610101"/>
              <a:gd name="connsiteY28898" fmla="*/ 773453 h 6557032"/>
              <a:gd name="connsiteX28899" fmla="*/ 1200814 w 4610101"/>
              <a:gd name="connsiteY28899" fmla="*/ 786208 h 6557032"/>
              <a:gd name="connsiteX28900" fmla="*/ 1204457 w 4610101"/>
              <a:gd name="connsiteY28900" fmla="*/ 784386 h 6557032"/>
              <a:gd name="connsiteX28901" fmla="*/ 1202636 w 4610101"/>
              <a:gd name="connsiteY28901" fmla="*/ 789853 h 6557032"/>
              <a:gd name="connsiteX28902" fmla="*/ 1203960 w 4610101"/>
              <a:gd name="connsiteY28902" fmla="*/ 790350 h 6557032"/>
              <a:gd name="connsiteX28903" fmla="*/ 1200814 w 4610101"/>
              <a:gd name="connsiteY28903" fmla="*/ 793497 h 6557032"/>
              <a:gd name="connsiteX28904" fmla="*/ 1202636 w 4610101"/>
              <a:gd name="connsiteY28904" fmla="*/ 795319 h 6557032"/>
              <a:gd name="connsiteX28905" fmla="*/ 1204254 w 4610101"/>
              <a:gd name="connsiteY28905" fmla="*/ 790461 h 6557032"/>
              <a:gd name="connsiteX28906" fmla="*/ 1204457 w 4610101"/>
              <a:gd name="connsiteY28906" fmla="*/ 790537 h 6557032"/>
              <a:gd name="connsiteX28907" fmla="*/ 1206279 w 4610101"/>
              <a:gd name="connsiteY28907" fmla="*/ 789853 h 6557032"/>
              <a:gd name="connsiteX28908" fmla="*/ 1202636 w 4610101"/>
              <a:gd name="connsiteY28908" fmla="*/ 797141 h 6557032"/>
              <a:gd name="connsiteX28909" fmla="*/ 1220858 w 4610101"/>
              <a:gd name="connsiteY28909" fmla="*/ 778920 h 6557032"/>
              <a:gd name="connsiteX28910" fmla="*/ 1217213 w 4610101"/>
              <a:gd name="connsiteY28910" fmla="*/ 789853 h 6557032"/>
              <a:gd name="connsiteX28911" fmla="*/ 1228146 w 4610101"/>
              <a:gd name="connsiteY28911" fmla="*/ 784386 h 6557032"/>
              <a:gd name="connsiteX28912" fmla="*/ 1217213 w 4610101"/>
              <a:gd name="connsiteY28912" fmla="*/ 795319 h 6557032"/>
              <a:gd name="connsiteX28913" fmla="*/ 1231790 w 4610101"/>
              <a:gd name="connsiteY28913" fmla="*/ 793497 h 6557032"/>
              <a:gd name="connsiteX28914" fmla="*/ 1217212 w 4610101"/>
              <a:gd name="connsiteY28914" fmla="*/ 797142 h 6557032"/>
              <a:gd name="connsiteX28915" fmla="*/ 1217213 w 4610101"/>
              <a:gd name="connsiteY28915" fmla="*/ 797141 h 6557032"/>
              <a:gd name="connsiteX28916" fmla="*/ 1217210 w 4610101"/>
              <a:gd name="connsiteY28916" fmla="*/ 797142 h 6557032"/>
              <a:gd name="connsiteX28917" fmla="*/ 1188058 w 4610101"/>
              <a:gd name="connsiteY28917" fmla="*/ 804430 h 6557032"/>
              <a:gd name="connsiteX28918" fmla="*/ 1184414 w 4610101"/>
              <a:gd name="connsiteY28918" fmla="*/ 808074 h 6557032"/>
              <a:gd name="connsiteX28919" fmla="*/ 1184414 w 4610101"/>
              <a:gd name="connsiteY28919" fmla="*/ 806252 h 6557032"/>
              <a:gd name="connsiteX28920" fmla="*/ 1175804 w 4610101"/>
              <a:gd name="connsiteY28920" fmla="*/ 809122 h 6557032"/>
              <a:gd name="connsiteX28921" fmla="*/ 1177808 w 4610101"/>
              <a:gd name="connsiteY28921" fmla="*/ 806025 h 6557032"/>
              <a:gd name="connsiteX28922" fmla="*/ 1178947 w 4610101"/>
              <a:gd name="connsiteY28922" fmla="*/ 800786 h 6557032"/>
              <a:gd name="connsiteX28923" fmla="*/ 1168014 w 4610101"/>
              <a:gd name="connsiteY28923" fmla="*/ 802608 h 6557032"/>
              <a:gd name="connsiteX28924" fmla="*/ 1160725 w 4610101"/>
              <a:gd name="connsiteY28924" fmla="*/ 798964 h 6557032"/>
              <a:gd name="connsiteX28925" fmla="*/ 1162547 w 4610101"/>
              <a:gd name="connsiteY28925" fmla="*/ 800786 h 6557032"/>
              <a:gd name="connsiteX28926" fmla="*/ 1144326 w 4610101"/>
              <a:gd name="connsiteY28926" fmla="*/ 795319 h 6557032"/>
              <a:gd name="connsiteX28927" fmla="*/ 1146148 w 4610101"/>
              <a:gd name="connsiteY28927" fmla="*/ 806252 h 6557032"/>
              <a:gd name="connsiteX28928" fmla="*/ 1147970 w 4610101"/>
              <a:gd name="connsiteY28928" fmla="*/ 811719 h 6557032"/>
              <a:gd name="connsiteX28929" fmla="*/ 1166192 w 4610101"/>
              <a:gd name="connsiteY28929" fmla="*/ 806252 h 6557032"/>
              <a:gd name="connsiteX28930" fmla="*/ 1164370 w 4610101"/>
              <a:gd name="connsiteY28930" fmla="*/ 811719 h 6557032"/>
              <a:gd name="connsiteX28931" fmla="*/ 1175303 w 4610101"/>
              <a:gd name="connsiteY28931" fmla="*/ 809897 h 6557032"/>
              <a:gd name="connsiteX28932" fmla="*/ 1175523 w 4610101"/>
              <a:gd name="connsiteY28932" fmla="*/ 809557 h 6557032"/>
              <a:gd name="connsiteX28933" fmla="*/ 1176214 w 4610101"/>
              <a:gd name="connsiteY28933" fmla="*/ 809442 h 6557032"/>
              <a:gd name="connsiteX28934" fmla="*/ 1178947 w 4610101"/>
              <a:gd name="connsiteY28934" fmla="*/ 811719 h 6557032"/>
              <a:gd name="connsiteX28935" fmla="*/ 1180769 w 4610101"/>
              <a:gd name="connsiteY28935" fmla="*/ 809897 h 6557032"/>
              <a:gd name="connsiteX28936" fmla="*/ 1184414 w 4610101"/>
              <a:gd name="connsiteY28936" fmla="*/ 813541 h 6557032"/>
              <a:gd name="connsiteX28937" fmla="*/ 1158903 w 4610101"/>
              <a:gd name="connsiteY28937" fmla="*/ 817185 h 6557032"/>
              <a:gd name="connsiteX28938" fmla="*/ 1149792 w 4610101"/>
              <a:gd name="connsiteY28938" fmla="*/ 817185 h 6557032"/>
              <a:gd name="connsiteX28939" fmla="*/ 1147970 w 4610101"/>
              <a:gd name="connsiteY28939" fmla="*/ 826296 h 6557032"/>
              <a:gd name="connsiteX28940" fmla="*/ 1175303 w 4610101"/>
              <a:gd name="connsiteY28940" fmla="*/ 819008 h 6557032"/>
              <a:gd name="connsiteX28941" fmla="*/ 1219034 w 4610101"/>
              <a:gd name="connsiteY28941" fmla="*/ 808074 h 6557032"/>
              <a:gd name="connsiteX28942" fmla="*/ 1220858 w 4610101"/>
              <a:gd name="connsiteY28942" fmla="*/ 809897 h 6557032"/>
              <a:gd name="connsiteX28943" fmla="*/ 1228146 w 4610101"/>
              <a:gd name="connsiteY28943" fmla="*/ 804430 h 6557032"/>
              <a:gd name="connsiteX28944" fmla="*/ 1264589 w 4610101"/>
              <a:gd name="connsiteY28944" fmla="*/ 806252 h 6557032"/>
              <a:gd name="connsiteX28945" fmla="*/ 1262767 w 4610101"/>
              <a:gd name="connsiteY28945" fmla="*/ 802608 h 6557032"/>
              <a:gd name="connsiteX28946" fmla="*/ 1270056 w 4610101"/>
              <a:gd name="connsiteY28946" fmla="*/ 809897 h 6557032"/>
              <a:gd name="connsiteX28947" fmla="*/ 1266411 w 4610101"/>
              <a:gd name="connsiteY28947" fmla="*/ 786208 h 6557032"/>
              <a:gd name="connsiteX28948" fmla="*/ 1255478 w 4610101"/>
              <a:gd name="connsiteY28948" fmla="*/ 784386 h 6557032"/>
              <a:gd name="connsiteX28949" fmla="*/ 1233612 w 4610101"/>
              <a:gd name="connsiteY28949" fmla="*/ 775275 h 6557032"/>
              <a:gd name="connsiteX28950" fmla="*/ 1235434 w 4610101"/>
              <a:gd name="connsiteY28950" fmla="*/ 778920 h 6557032"/>
              <a:gd name="connsiteX28951" fmla="*/ 1229969 w 4610101"/>
              <a:gd name="connsiteY28951" fmla="*/ 775275 h 6557032"/>
              <a:gd name="connsiteX28952" fmla="*/ 1224501 w 4610101"/>
              <a:gd name="connsiteY28952" fmla="*/ 777098 h 6557032"/>
              <a:gd name="connsiteX28953" fmla="*/ 1211747 w 4610101"/>
              <a:gd name="connsiteY28953" fmla="*/ 771631 h 6557032"/>
              <a:gd name="connsiteX28954" fmla="*/ 925666 w 4610101"/>
              <a:gd name="connsiteY28954" fmla="*/ 771631 h 6557032"/>
              <a:gd name="connsiteX28955" fmla="*/ 909265 w 4610101"/>
              <a:gd name="connsiteY28955" fmla="*/ 786208 h 6557032"/>
              <a:gd name="connsiteX28956" fmla="*/ 912909 w 4610101"/>
              <a:gd name="connsiteY28956" fmla="*/ 787770 h 6557032"/>
              <a:gd name="connsiteX28957" fmla="*/ 922020 w 4610101"/>
              <a:gd name="connsiteY28957" fmla="*/ 791675 h 6557032"/>
              <a:gd name="connsiteX28958" fmla="*/ 925666 w 4610101"/>
              <a:gd name="connsiteY28958" fmla="*/ 788031 h 6557032"/>
              <a:gd name="connsiteX28959" fmla="*/ 922020 w 4610101"/>
              <a:gd name="connsiteY28959" fmla="*/ 797141 h 6557032"/>
              <a:gd name="connsiteX28960" fmla="*/ 925666 w 4610101"/>
              <a:gd name="connsiteY28960" fmla="*/ 771631 h 6557032"/>
              <a:gd name="connsiteX28961" fmla="*/ 823623 w 4610101"/>
              <a:gd name="connsiteY28961" fmla="*/ 771631 h 6557032"/>
              <a:gd name="connsiteX28962" fmla="*/ 823623 w 4610101"/>
              <a:gd name="connsiteY28962" fmla="*/ 777098 h 6557032"/>
              <a:gd name="connsiteX28963" fmla="*/ 825445 w 4610101"/>
              <a:gd name="connsiteY28963" fmla="*/ 773453 h 6557032"/>
              <a:gd name="connsiteX28964" fmla="*/ 823623 w 4610101"/>
              <a:gd name="connsiteY28964" fmla="*/ 771631 h 6557032"/>
              <a:gd name="connsiteX28965" fmla="*/ 810868 w 4610101"/>
              <a:gd name="connsiteY28965" fmla="*/ 771631 h 6557032"/>
              <a:gd name="connsiteX28966" fmla="*/ 818156 w 4610101"/>
              <a:gd name="connsiteY28966" fmla="*/ 775275 h 6557032"/>
              <a:gd name="connsiteX28967" fmla="*/ 810868 w 4610101"/>
              <a:gd name="connsiteY28967" fmla="*/ 771631 h 6557032"/>
              <a:gd name="connsiteX28968" fmla="*/ 772602 w 4610101"/>
              <a:gd name="connsiteY28968" fmla="*/ 771631 h 6557032"/>
              <a:gd name="connsiteX28969" fmla="*/ 771623 w 4610101"/>
              <a:gd name="connsiteY28969" fmla="*/ 774242 h 6557032"/>
              <a:gd name="connsiteX28970" fmla="*/ 768959 w 4610101"/>
              <a:gd name="connsiteY28970" fmla="*/ 777098 h 6557032"/>
              <a:gd name="connsiteX28971" fmla="*/ 770553 w 4610101"/>
              <a:gd name="connsiteY28971" fmla="*/ 777098 h 6557032"/>
              <a:gd name="connsiteX28972" fmla="*/ 767136 w 4610101"/>
              <a:gd name="connsiteY28972" fmla="*/ 786208 h 6557032"/>
              <a:gd name="connsiteX28973" fmla="*/ 779892 w 4610101"/>
              <a:gd name="connsiteY28973" fmla="*/ 777098 h 6557032"/>
              <a:gd name="connsiteX28974" fmla="*/ 770553 w 4610101"/>
              <a:gd name="connsiteY28974" fmla="*/ 777098 h 6557032"/>
              <a:gd name="connsiteX28975" fmla="*/ 771623 w 4610101"/>
              <a:gd name="connsiteY28975" fmla="*/ 774242 h 6557032"/>
              <a:gd name="connsiteX28976" fmla="*/ 772146 w 4610101"/>
              <a:gd name="connsiteY28976" fmla="*/ 773681 h 6557032"/>
              <a:gd name="connsiteX28977" fmla="*/ 772602 w 4610101"/>
              <a:gd name="connsiteY28977" fmla="*/ 771631 h 6557032"/>
              <a:gd name="connsiteX28978" fmla="*/ 748914 w 4610101"/>
              <a:gd name="connsiteY28978" fmla="*/ 771631 h 6557032"/>
              <a:gd name="connsiteX28979" fmla="*/ 743447 w 4610101"/>
              <a:gd name="connsiteY28979" fmla="*/ 773453 h 6557032"/>
              <a:gd name="connsiteX28980" fmla="*/ 748914 w 4610101"/>
              <a:gd name="connsiteY28980" fmla="*/ 771631 h 6557032"/>
              <a:gd name="connsiteX28981" fmla="*/ 677849 w 4610101"/>
              <a:gd name="connsiteY28981" fmla="*/ 771631 h 6557032"/>
              <a:gd name="connsiteX28982" fmla="*/ 679671 w 4610101"/>
              <a:gd name="connsiteY28982" fmla="*/ 775275 h 6557032"/>
              <a:gd name="connsiteX28983" fmla="*/ 677849 w 4610101"/>
              <a:gd name="connsiteY28983" fmla="*/ 771631 h 6557032"/>
              <a:gd name="connsiteX28984" fmla="*/ 482876 w 4610101"/>
              <a:gd name="connsiteY28984" fmla="*/ 771631 h 6557032"/>
              <a:gd name="connsiteX28985" fmla="*/ 484700 w 4610101"/>
              <a:gd name="connsiteY28985" fmla="*/ 777098 h 6557032"/>
              <a:gd name="connsiteX28986" fmla="*/ 482876 w 4610101"/>
              <a:gd name="connsiteY28986" fmla="*/ 771631 h 6557032"/>
              <a:gd name="connsiteX28987" fmla="*/ 411812 w 4610101"/>
              <a:gd name="connsiteY28987" fmla="*/ 771631 h 6557032"/>
              <a:gd name="connsiteX28988" fmla="*/ 413634 w 4610101"/>
              <a:gd name="connsiteY28988" fmla="*/ 777098 h 6557032"/>
              <a:gd name="connsiteX28989" fmla="*/ 411812 w 4610101"/>
              <a:gd name="connsiteY28989" fmla="*/ 771631 h 6557032"/>
              <a:gd name="connsiteX28990" fmla="*/ 238705 w 4610101"/>
              <a:gd name="connsiteY28990" fmla="*/ 771631 h 6557032"/>
              <a:gd name="connsiteX28991" fmla="*/ 251460 w 4610101"/>
              <a:gd name="connsiteY28991" fmla="*/ 784386 h 6557032"/>
              <a:gd name="connsiteX28992" fmla="*/ 238705 w 4610101"/>
              <a:gd name="connsiteY28992" fmla="*/ 771631 h 6557032"/>
              <a:gd name="connsiteX28993" fmla="*/ 222306 w 4610101"/>
              <a:gd name="connsiteY28993" fmla="*/ 771631 h 6557032"/>
              <a:gd name="connsiteX28994" fmla="*/ 229594 w 4610101"/>
              <a:gd name="connsiteY28994" fmla="*/ 778920 h 6557032"/>
              <a:gd name="connsiteX28995" fmla="*/ 222306 w 4610101"/>
              <a:gd name="connsiteY28995" fmla="*/ 771631 h 6557032"/>
              <a:gd name="connsiteX28996" fmla="*/ 1470470 w 4610101"/>
              <a:gd name="connsiteY28996" fmla="*/ 771533 h 6557032"/>
              <a:gd name="connsiteX28997" fmla="*/ 1470495 w 4610101"/>
              <a:gd name="connsiteY28997" fmla="*/ 771631 h 6557032"/>
              <a:gd name="connsiteX28998" fmla="*/ 1466850 w 4610101"/>
              <a:gd name="connsiteY28998" fmla="*/ 775731 h 6557032"/>
              <a:gd name="connsiteX28999" fmla="*/ 1465031 w 4610101"/>
              <a:gd name="connsiteY28999" fmla="*/ 776414 h 6557032"/>
              <a:gd name="connsiteX29000" fmla="*/ 1468673 w 4610101"/>
              <a:gd name="connsiteY29000" fmla="*/ 772998 h 6557032"/>
              <a:gd name="connsiteX29001" fmla="*/ 1408168 w 4610101"/>
              <a:gd name="connsiteY29001" fmla="*/ 770306 h 6557032"/>
              <a:gd name="connsiteX29002" fmla="*/ 1406901 w 4610101"/>
              <a:gd name="connsiteY29002" fmla="*/ 771996 h 6557032"/>
              <a:gd name="connsiteX29003" fmla="*/ 1406719 w 4610101"/>
              <a:gd name="connsiteY29003" fmla="*/ 771631 h 6557032"/>
              <a:gd name="connsiteX29004" fmla="*/ 3644348 w 4610101"/>
              <a:gd name="connsiteY29004" fmla="*/ 769809 h 6557032"/>
              <a:gd name="connsiteX29005" fmla="*/ 3658926 w 4610101"/>
              <a:gd name="connsiteY29005" fmla="*/ 784386 h 6557032"/>
              <a:gd name="connsiteX29006" fmla="*/ 3644348 w 4610101"/>
              <a:gd name="connsiteY29006" fmla="*/ 778920 h 6557032"/>
              <a:gd name="connsiteX29007" fmla="*/ 3641615 w 4610101"/>
              <a:gd name="connsiteY29007" fmla="*/ 780515 h 6557032"/>
              <a:gd name="connsiteX29008" fmla="*/ 3639591 w 4610101"/>
              <a:gd name="connsiteY29008" fmla="*/ 780683 h 6557032"/>
              <a:gd name="connsiteX29009" fmla="*/ 2656730 w 4610101"/>
              <a:gd name="connsiteY29009" fmla="*/ 769809 h 6557032"/>
              <a:gd name="connsiteX29010" fmla="*/ 2658552 w 4610101"/>
              <a:gd name="connsiteY29010" fmla="*/ 777098 h 6557032"/>
              <a:gd name="connsiteX29011" fmla="*/ 2656730 w 4610101"/>
              <a:gd name="connsiteY29011" fmla="*/ 769809 h 6557032"/>
              <a:gd name="connsiteX29012" fmla="*/ 1384854 w 4610101"/>
              <a:gd name="connsiteY29012" fmla="*/ 769809 h 6557032"/>
              <a:gd name="connsiteX29013" fmla="*/ 1379386 w 4610101"/>
              <a:gd name="connsiteY29013" fmla="*/ 773453 h 6557032"/>
              <a:gd name="connsiteX29014" fmla="*/ 1379386 w 4610101"/>
              <a:gd name="connsiteY29014" fmla="*/ 771631 h 6557032"/>
              <a:gd name="connsiteX29015" fmla="*/ 1377564 w 4610101"/>
              <a:gd name="connsiteY29015" fmla="*/ 775275 h 6557032"/>
              <a:gd name="connsiteX29016" fmla="*/ 1379386 w 4610101"/>
              <a:gd name="connsiteY29016" fmla="*/ 773453 h 6557032"/>
              <a:gd name="connsiteX29017" fmla="*/ 1381208 w 4610101"/>
              <a:gd name="connsiteY29017" fmla="*/ 775275 h 6557032"/>
              <a:gd name="connsiteX29018" fmla="*/ 1384854 w 4610101"/>
              <a:gd name="connsiteY29018" fmla="*/ 769809 h 6557032"/>
              <a:gd name="connsiteX29019" fmla="*/ 1259123 w 4610101"/>
              <a:gd name="connsiteY29019" fmla="*/ 769809 h 6557032"/>
              <a:gd name="connsiteX29020" fmla="*/ 1257300 w 4610101"/>
              <a:gd name="connsiteY29020" fmla="*/ 771631 h 6557032"/>
              <a:gd name="connsiteX29021" fmla="*/ 1259123 w 4610101"/>
              <a:gd name="connsiteY29021" fmla="*/ 769809 h 6557032"/>
              <a:gd name="connsiteX29022" fmla="*/ 963930 w 4610101"/>
              <a:gd name="connsiteY29022" fmla="*/ 769809 h 6557032"/>
              <a:gd name="connsiteX29023" fmla="*/ 929309 w 4610101"/>
              <a:gd name="connsiteY29023" fmla="*/ 806252 h 6557032"/>
              <a:gd name="connsiteX29024" fmla="*/ 931131 w 4610101"/>
              <a:gd name="connsiteY29024" fmla="*/ 806252 h 6557032"/>
              <a:gd name="connsiteX29025" fmla="*/ 925666 w 4610101"/>
              <a:gd name="connsiteY29025" fmla="*/ 811719 h 6557032"/>
              <a:gd name="connsiteX29026" fmla="*/ 932953 w 4610101"/>
              <a:gd name="connsiteY29026" fmla="*/ 808074 h 6557032"/>
              <a:gd name="connsiteX29027" fmla="*/ 931131 w 4610101"/>
              <a:gd name="connsiteY29027" fmla="*/ 804430 h 6557032"/>
              <a:gd name="connsiteX29028" fmla="*/ 932953 w 4610101"/>
              <a:gd name="connsiteY29028" fmla="*/ 802608 h 6557032"/>
              <a:gd name="connsiteX29029" fmla="*/ 958464 w 4610101"/>
              <a:gd name="connsiteY29029" fmla="*/ 775275 h 6557032"/>
              <a:gd name="connsiteX29030" fmla="*/ 963930 w 4610101"/>
              <a:gd name="connsiteY29030" fmla="*/ 769809 h 6557032"/>
              <a:gd name="connsiteX29031" fmla="*/ 758025 w 4610101"/>
              <a:gd name="connsiteY29031" fmla="*/ 769809 h 6557032"/>
              <a:gd name="connsiteX29032" fmla="*/ 758025 w 4610101"/>
              <a:gd name="connsiteY29032" fmla="*/ 780742 h 6557032"/>
              <a:gd name="connsiteX29033" fmla="*/ 758025 w 4610101"/>
              <a:gd name="connsiteY29033" fmla="*/ 769809 h 6557032"/>
              <a:gd name="connsiteX29034" fmla="*/ 619539 w 4610101"/>
              <a:gd name="connsiteY29034" fmla="*/ 769809 h 6557032"/>
              <a:gd name="connsiteX29035" fmla="*/ 623185 w 4610101"/>
              <a:gd name="connsiteY29035" fmla="*/ 784386 h 6557032"/>
              <a:gd name="connsiteX29036" fmla="*/ 619539 w 4610101"/>
              <a:gd name="connsiteY29036" fmla="*/ 769809 h 6557032"/>
              <a:gd name="connsiteX29037" fmla="*/ 572163 w 4610101"/>
              <a:gd name="connsiteY29037" fmla="*/ 769809 h 6557032"/>
              <a:gd name="connsiteX29038" fmla="*/ 572163 w 4610101"/>
              <a:gd name="connsiteY29038" fmla="*/ 773453 h 6557032"/>
              <a:gd name="connsiteX29039" fmla="*/ 572163 w 4610101"/>
              <a:gd name="connsiteY29039" fmla="*/ 769809 h 6557032"/>
              <a:gd name="connsiteX29040" fmla="*/ 553941 w 4610101"/>
              <a:gd name="connsiteY29040" fmla="*/ 769809 h 6557032"/>
              <a:gd name="connsiteX29041" fmla="*/ 553941 w 4610101"/>
              <a:gd name="connsiteY29041" fmla="*/ 769809 h 6557032"/>
              <a:gd name="connsiteX29042" fmla="*/ 404523 w 4610101"/>
              <a:gd name="connsiteY29042" fmla="*/ 769809 h 6557032"/>
              <a:gd name="connsiteX29043" fmla="*/ 411812 w 4610101"/>
              <a:gd name="connsiteY29043" fmla="*/ 780742 h 6557032"/>
              <a:gd name="connsiteX29044" fmla="*/ 404523 w 4610101"/>
              <a:gd name="connsiteY29044" fmla="*/ 769809 h 6557032"/>
              <a:gd name="connsiteX29045" fmla="*/ 149419 w 4610101"/>
              <a:gd name="connsiteY29045" fmla="*/ 769809 h 6557032"/>
              <a:gd name="connsiteX29046" fmla="*/ 156707 w 4610101"/>
              <a:gd name="connsiteY29046" fmla="*/ 771631 h 6557032"/>
              <a:gd name="connsiteX29047" fmla="*/ 149419 w 4610101"/>
              <a:gd name="connsiteY29047" fmla="*/ 769809 h 6557032"/>
              <a:gd name="connsiteX29048" fmla="*/ 1144325 w 4610101"/>
              <a:gd name="connsiteY29048" fmla="*/ 768670 h 6557032"/>
              <a:gd name="connsiteX29049" fmla="*/ 1138859 w 4610101"/>
              <a:gd name="connsiteY29049" fmla="*/ 771631 h 6557032"/>
              <a:gd name="connsiteX29050" fmla="*/ 1149792 w 4610101"/>
              <a:gd name="connsiteY29050" fmla="*/ 769809 h 6557032"/>
              <a:gd name="connsiteX29051" fmla="*/ 1144325 w 4610101"/>
              <a:gd name="connsiteY29051" fmla="*/ 768670 h 6557032"/>
              <a:gd name="connsiteX29052" fmla="*/ 1355698 w 4610101"/>
              <a:gd name="connsiteY29052" fmla="*/ 767987 h 6557032"/>
              <a:gd name="connsiteX29053" fmla="*/ 1353876 w 4610101"/>
              <a:gd name="connsiteY29053" fmla="*/ 771631 h 6557032"/>
              <a:gd name="connsiteX29054" fmla="*/ 1355698 w 4610101"/>
              <a:gd name="connsiteY29054" fmla="*/ 767987 h 6557032"/>
              <a:gd name="connsiteX29055" fmla="*/ 925666 w 4610101"/>
              <a:gd name="connsiteY29055" fmla="*/ 767987 h 6557032"/>
              <a:gd name="connsiteX29056" fmla="*/ 914732 w 4610101"/>
              <a:gd name="connsiteY29056" fmla="*/ 777098 h 6557032"/>
              <a:gd name="connsiteX29057" fmla="*/ 925666 w 4610101"/>
              <a:gd name="connsiteY29057" fmla="*/ 767987 h 6557032"/>
              <a:gd name="connsiteX29058" fmla="*/ 799935 w 4610101"/>
              <a:gd name="connsiteY29058" fmla="*/ 767987 h 6557032"/>
              <a:gd name="connsiteX29059" fmla="*/ 798112 w 4610101"/>
              <a:gd name="connsiteY29059" fmla="*/ 769809 h 6557032"/>
              <a:gd name="connsiteX29060" fmla="*/ 805401 w 4610101"/>
              <a:gd name="connsiteY29060" fmla="*/ 775275 h 6557032"/>
              <a:gd name="connsiteX29061" fmla="*/ 799935 w 4610101"/>
              <a:gd name="connsiteY29061" fmla="*/ 767987 h 6557032"/>
              <a:gd name="connsiteX29062" fmla="*/ 739803 w 4610101"/>
              <a:gd name="connsiteY29062" fmla="*/ 767987 h 6557032"/>
              <a:gd name="connsiteX29063" fmla="*/ 747092 w 4610101"/>
              <a:gd name="connsiteY29063" fmla="*/ 769809 h 6557032"/>
              <a:gd name="connsiteX29064" fmla="*/ 739803 w 4610101"/>
              <a:gd name="connsiteY29064" fmla="*/ 767987 h 6557032"/>
              <a:gd name="connsiteX29065" fmla="*/ 501098 w 4610101"/>
              <a:gd name="connsiteY29065" fmla="*/ 767987 h 6557032"/>
              <a:gd name="connsiteX29066" fmla="*/ 510209 w 4610101"/>
              <a:gd name="connsiteY29066" fmla="*/ 789853 h 6557032"/>
              <a:gd name="connsiteX29067" fmla="*/ 512031 w 4610101"/>
              <a:gd name="connsiteY29067" fmla="*/ 784386 h 6557032"/>
              <a:gd name="connsiteX29068" fmla="*/ 517801 w 4610101"/>
              <a:gd name="connsiteY29068" fmla="*/ 797369 h 6557032"/>
              <a:gd name="connsiteX29069" fmla="*/ 517498 w 4610101"/>
              <a:gd name="connsiteY29069" fmla="*/ 797141 h 6557032"/>
              <a:gd name="connsiteX29070" fmla="*/ 518314 w 4610101"/>
              <a:gd name="connsiteY29070" fmla="*/ 798522 h 6557032"/>
              <a:gd name="connsiteX29071" fmla="*/ 526609 w 4610101"/>
              <a:gd name="connsiteY29071" fmla="*/ 817185 h 6557032"/>
              <a:gd name="connsiteX29072" fmla="*/ 523420 w 4610101"/>
              <a:gd name="connsiteY29072" fmla="*/ 807164 h 6557032"/>
              <a:gd name="connsiteX29073" fmla="*/ 518314 w 4610101"/>
              <a:gd name="connsiteY29073" fmla="*/ 798522 h 6557032"/>
              <a:gd name="connsiteX29074" fmla="*/ 517801 w 4610101"/>
              <a:gd name="connsiteY29074" fmla="*/ 797369 h 6557032"/>
              <a:gd name="connsiteX29075" fmla="*/ 524786 w 4610101"/>
              <a:gd name="connsiteY29075" fmla="*/ 802608 h 6557032"/>
              <a:gd name="connsiteX29076" fmla="*/ 517498 w 4610101"/>
              <a:gd name="connsiteY29076" fmla="*/ 791675 h 6557032"/>
              <a:gd name="connsiteX29077" fmla="*/ 524786 w 4610101"/>
              <a:gd name="connsiteY29077" fmla="*/ 793497 h 6557032"/>
              <a:gd name="connsiteX29078" fmla="*/ 501098 w 4610101"/>
              <a:gd name="connsiteY29078" fmla="*/ 767987 h 6557032"/>
              <a:gd name="connsiteX29079" fmla="*/ 422745 w 4610101"/>
              <a:gd name="connsiteY29079" fmla="*/ 767987 h 6557032"/>
              <a:gd name="connsiteX29080" fmla="*/ 419100 w 4610101"/>
              <a:gd name="connsiteY29080" fmla="*/ 769809 h 6557032"/>
              <a:gd name="connsiteX29081" fmla="*/ 422745 w 4610101"/>
              <a:gd name="connsiteY29081" fmla="*/ 773453 h 6557032"/>
              <a:gd name="connsiteX29082" fmla="*/ 422745 w 4610101"/>
              <a:gd name="connsiteY29082" fmla="*/ 767987 h 6557032"/>
              <a:gd name="connsiteX29083" fmla="*/ 3205204 w 4610101"/>
              <a:gd name="connsiteY29083" fmla="*/ 766164 h 6557032"/>
              <a:gd name="connsiteX29084" fmla="*/ 3196093 w 4610101"/>
              <a:gd name="connsiteY29084" fmla="*/ 780742 h 6557032"/>
              <a:gd name="connsiteX29085" fmla="*/ 3207027 w 4610101"/>
              <a:gd name="connsiteY29085" fmla="*/ 775275 h 6557032"/>
              <a:gd name="connsiteX29086" fmla="*/ 3205204 w 4610101"/>
              <a:gd name="connsiteY29086" fmla="*/ 766164 h 6557032"/>
              <a:gd name="connsiteX29087" fmla="*/ 1155259 w 4610101"/>
              <a:gd name="connsiteY29087" fmla="*/ 766164 h 6557032"/>
              <a:gd name="connsiteX29088" fmla="*/ 1153436 w 4610101"/>
              <a:gd name="connsiteY29088" fmla="*/ 767987 h 6557032"/>
              <a:gd name="connsiteX29089" fmla="*/ 1158903 w 4610101"/>
              <a:gd name="connsiteY29089" fmla="*/ 767987 h 6557032"/>
              <a:gd name="connsiteX29090" fmla="*/ 1155259 w 4610101"/>
              <a:gd name="connsiteY29090" fmla="*/ 766164 h 6557032"/>
              <a:gd name="connsiteX29091" fmla="*/ 1004018 w 4610101"/>
              <a:gd name="connsiteY29091" fmla="*/ 766164 h 6557032"/>
              <a:gd name="connsiteX29092" fmla="*/ 989441 w 4610101"/>
              <a:gd name="connsiteY29092" fmla="*/ 782564 h 6557032"/>
              <a:gd name="connsiteX29093" fmla="*/ 1004018 w 4610101"/>
              <a:gd name="connsiteY29093" fmla="*/ 766164 h 6557032"/>
              <a:gd name="connsiteX29094" fmla="*/ 732515 w 4610101"/>
              <a:gd name="connsiteY29094" fmla="*/ 766164 h 6557032"/>
              <a:gd name="connsiteX29095" fmla="*/ 734336 w 4610101"/>
              <a:gd name="connsiteY29095" fmla="*/ 780742 h 6557032"/>
              <a:gd name="connsiteX29096" fmla="*/ 732515 w 4610101"/>
              <a:gd name="connsiteY29096" fmla="*/ 766164 h 6557032"/>
              <a:gd name="connsiteX29097" fmla="*/ 723404 w 4610101"/>
              <a:gd name="connsiteY29097" fmla="*/ 766164 h 6557032"/>
              <a:gd name="connsiteX29098" fmla="*/ 730692 w 4610101"/>
              <a:gd name="connsiteY29098" fmla="*/ 782564 h 6557032"/>
              <a:gd name="connsiteX29099" fmla="*/ 723404 w 4610101"/>
              <a:gd name="connsiteY29099" fmla="*/ 766164 h 6557032"/>
              <a:gd name="connsiteX29100" fmla="*/ 577630 w 4610101"/>
              <a:gd name="connsiteY29100" fmla="*/ 766164 h 6557032"/>
              <a:gd name="connsiteX29101" fmla="*/ 581274 w 4610101"/>
              <a:gd name="connsiteY29101" fmla="*/ 767987 h 6557032"/>
              <a:gd name="connsiteX29102" fmla="*/ 581780 w 4610101"/>
              <a:gd name="connsiteY29102" fmla="*/ 771145 h 6557032"/>
              <a:gd name="connsiteX29103" fmla="*/ 577630 w 4610101"/>
              <a:gd name="connsiteY29103" fmla="*/ 766164 h 6557032"/>
              <a:gd name="connsiteX29104" fmla="*/ 577630 w 4610101"/>
              <a:gd name="connsiteY29104" fmla="*/ 769809 h 6557032"/>
              <a:gd name="connsiteX29105" fmla="*/ 582185 w 4610101"/>
              <a:gd name="connsiteY29105" fmla="*/ 773681 h 6557032"/>
              <a:gd name="connsiteX29106" fmla="*/ 581780 w 4610101"/>
              <a:gd name="connsiteY29106" fmla="*/ 771145 h 6557032"/>
              <a:gd name="connsiteX29107" fmla="*/ 586741 w 4610101"/>
              <a:gd name="connsiteY29107" fmla="*/ 777098 h 6557032"/>
              <a:gd name="connsiteX29108" fmla="*/ 588562 w 4610101"/>
              <a:gd name="connsiteY29108" fmla="*/ 775275 h 6557032"/>
              <a:gd name="connsiteX29109" fmla="*/ 601318 w 4610101"/>
              <a:gd name="connsiteY29109" fmla="*/ 789853 h 6557032"/>
              <a:gd name="connsiteX29110" fmla="*/ 597673 w 4610101"/>
              <a:gd name="connsiteY29110" fmla="*/ 775275 h 6557032"/>
              <a:gd name="connsiteX29111" fmla="*/ 595852 w 4610101"/>
              <a:gd name="connsiteY29111" fmla="*/ 778920 h 6557032"/>
              <a:gd name="connsiteX29112" fmla="*/ 577630 w 4610101"/>
              <a:gd name="connsiteY29112" fmla="*/ 766164 h 6557032"/>
              <a:gd name="connsiteX29113" fmla="*/ 486521 w 4610101"/>
              <a:gd name="connsiteY29113" fmla="*/ 766164 h 6557032"/>
              <a:gd name="connsiteX29114" fmla="*/ 495632 w 4610101"/>
              <a:gd name="connsiteY29114" fmla="*/ 778920 h 6557032"/>
              <a:gd name="connsiteX29115" fmla="*/ 486521 w 4610101"/>
              <a:gd name="connsiteY29115" fmla="*/ 766164 h 6557032"/>
              <a:gd name="connsiteX29116" fmla="*/ 326169 w 4610101"/>
              <a:gd name="connsiteY29116" fmla="*/ 766164 h 6557032"/>
              <a:gd name="connsiteX29117" fmla="*/ 324347 w 4610101"/>
              <a:gd name="connsiteY29117" fmla="*/ 777098 h 6557032"/>
              <a:gd name="connsiteX29118" fmla="*/ 326169 w 4610101"/>
              <a:gd name="connsiteY29118" fmla="*/ 775275 h 6557032"/>
              <a:gd name="connsiteX29119" fmla="*/ 333458 w 4610101"/>
              <a:gd name="connsiteY29119" fmla="*/ 786208 h 6557032"/>
              <a:gd name="connsiteX29120" fmla="*/ 326169 w 4610101"/>
              <a:gd name="connsiteY29120" fmla="*/ 766164 h 6557032"/>
              <a:gd name="connsiteX29121" fmla="*/ 313414 w 4610101"/>
              <a:gd name="connsiteY29121" fmla="*/ 766164 h 6557032"/>
              <a:gd name="connsiteX29122" fmla="*/ 318882 w 4610101"/>
              <a:gd name="connsiteY29122" fmla="*/ 778920 h 6557032"/>
              <a:gd name="connsiteX29123" fmla="*/ 313414 w 4610101"/>
              <a:gd name="connsiteY29123" fmla="*/ 766164 h 6557032"/>
              <a:gd name="connsiteX29124" fmla="*/ 300660 w 4610101"/>
              <a:gd name="connsiteY29124" fmla="*/ 766164 h 6557032"/>
              <a:gd name="connsiteX29125" fmla="*/ 315236 w 4610101"/>
              <a:gd name="connsiteY29125" fmla="*/ 782564 h 6557032"/>
              <a:gd name="connsiteX29126" fmla="*/ 300660 w 4610101"/>
              <a:gd name="connsiteY29126" fmla="*/ 766164 h 6557032"/>
              <a:gd name="connsiteX29127" fmla="*/ 286082 w 4610101"/>
              <a:gd name="connsiteY29127" fmla="*/ 766164 h 6557032"/>
              <a:gd name="connsiteX29128" fmla="*/ 302481 w 4610101"/>
              <a:gd name="connsiteY29128" fmla="*/ 788031 h 6557032"/>
              <a:gd name="connsiteX29129" fmla="*/ 286082 w 4610101"/>
              <a:gd name="connsiteY29129" fmla="*/ 766164 h 6557032"/>
              <a:gd name="connsiteX29130" fmla="*/ 240527 w 4610101"/>
              <a:gd name="connsiteY29130" fmla="*/ 766164 h 6557032"/>
              <a:gd name="connsiteX29131" fmla="*/ 242349 w 4610101"/>
              <a:gd name="connsiteY29131" fmla="*/ 771631 h 6557032"/>
              <a:gd name="connsiteX29132" fmla="*/ 236883 w 4610101"/>
              <a:gd name="connsiteY29132" fmla="*/ 767987 h 6557032"/>
              <a:gd name="connsiteX29133" fmla="*/ 240527 w 4610101"/>
              <a:gd name="connsiteY29133" fmla="*/ 766164 h 6557032"/>
              <a:gd name="connsiteX29134" fmla="*/ 227772 w 4610101"/>
              <a:gd name="connsiteY29134" fmla="*/ 766164 h 6557032"/>
              <a:gd name="connsiteX29135" fmla="*/ 233239 w 4610101"/>
              <a:gd name="connsiteY29135" fmla="*/ 771631 h 6557032"/>
              <a:gd name="connsiteX29136" fmla="*/ 227772 w 4610101"/>
              <a:gd name="connsiteY29136" fmla="*/ 766164 h 6557032"/>
              <a:gd name="connsiteX29137" fmla="*/ 342399 w 4610101"/>
              <a:gd name="connsiteY29137" fmla="*/ 765738 h 6557032"/>
              <a:gd name="connsiteX29138" fmla="*/ 338926 w 4610101"/>
              <a:gd name="connsiteY29138" fmla="*/ 767987 h 6557032"/>
              <a:gd name="connsiteX29139" fmla="*/ 343252 w 4610101"/>
              <a:gd name="connsiteY29139" fmla="*/ 786209 h 6557032"/>
              <a:gd name="connsiteX29140" fmla="*/ 351537 w 4610101"/>
              <a:gd name="connsiteY29140" fmla="*/ 791667 h 6557032"/>
              <a:gd name="connsiteX29141" fmla="*/ 353957 w 4610101"/>
              <a:gd name="connsiteY29141" fmla="*/ 794181 h 6557032"/>
              <a:gd name="connsiteX29142" fmla="*/ 362613 w 4610101"/>
              <a:gd name="connsiteY29142" fmla="*/ 798964 h 6557032"/>
              <a:gd name="connsiteX29143" fmla="*/ 351537 w 4610101"/>
              <a:gd name="connsiteY29143" fmla="*/ 791667 h 6557032"/>
              <a:gd name="connsiteX29144" fmla="*/ 348037 w 4610101"/>
              <a:gd name="connsiteY29144" fmla="*/ 788031 h 6557032"/>
              <a:gd name="connsiteX29145" fmla="*/ 351680 w 4610101"/>
              <a:gd name="connsiteY29145" fmla="*/ 786208 h 6557032"/>
              <a:gd name="connsiteX29146" fmla="*/ 340747 w 4610101"/>
              <a:gd name="connsiteY29146" fmla="*/ 775275 h 6557032"/>
              <a:gd name="connsiteX29147" fmla="*/ 354185 w 4610101"/>
              <a:gd name="connsiteY29147" fmla="*/ 788486 h 6557032"/>
              <a:gd name="connsiteX29148" fmla="*/ 359184 w 4610101"/>
              <a:gd name="connsiteY29148" fmla="*/ 791473 h 6557032"/>
              <a:gd name="connsiteX29149" fmla="*/ 359196 w 4610101"/>
              <a:gd name="connsiteY29149" fmla="*/ 791675 h 6557032"/>
              <a:gd name="connsiteX29150" fmla="*/ 361598 w 4610101"/>
              <a:gd name="connsiteY29150" fmla="*/ 792915 h 6557032"/>
              <a:gd name="connsiteX29151" fmla="*/ 371724 w 4610101"/>
              <a:gd name="connsiteY29151" fmla="*/ 798964 h 6557032"/>
              <a:gd name="connsiteX29152" fmla="*/ 366257 w 4610101"/>
              <a:gd name="connsiteY29152" fmla="*/ 795319 h 6557032"/>
              <a:gd name="connsiteX29153" fmla="*/ 377190 w 4610101"/>
              <a:gd name="connsiteY29153" fmla="*/ 798964 h 6557032"/>
              <a:gd name="connsiteX29154" fmla="*/ 364435 w 4610101"/>
              <a:gd name="connsiteY29154" fmla="*/ 793497 h 6557032"/>
              <a:gd name="connsiteX29155" fmla="*/ 366257 w 4610101"/>
              <a:gd name="connsiteY29155" fmla="*/ 795319 h 6557032"/>
              <a:gd name="connsiteX29156" fmla="*/ 361598 w 4610101"/>
              <a:gd name="connsiteY29156" fmla="*/ 792915 h 6557032"/>
              <a:gd name="connsiteX29157" fmla="*/ 359184 w 4610101"/>
              <a:gd name="connsiteY29157" fmla="*/ 791473 h 6557032"/>
              <a:gd name="connsiteX29158" fmla="*/ 358969 w 4610101"/>
              <a:gd name="connsiteY29158" fmla="*/ 788031 h 6557032"/>
              <a:gd name="connsiteX29159" fmla="*/ 380835 w 4610101"/>
              <a:gd name="connsiteY29159" fmla="*/ 797141 h 6557032"/>
              <a:gd name="connsiteX29160" fmla="*/ 380835 w 4610101"/>
              <a:gd name="connsiteY29160" fmla="*/ 791675 h 6557032"/>
              <a:gd name="connsiteX29161" fmla="*/ 395412 w 4610101"/>
              <a:gd name="connsiteY29161" fmla="*/ 797141 h 6557032"/>
              <a:gd name="connsiteX29162" fmla="*/ 386301 w 4610101"/>
              <a:gd name="connsiteY29162" fmla="*/ 791675 h 6557032"/>
              <a:gd name="connsiteX29163" fmla="*/ 391768 w 4610101"/>
              <a:gd name="connsiteY29163" fmla="*/ 793497 h 6557032"/>
              <a:gd name="connsiteX29164" fmla="*/ 382657 w 4610101"/>
              <a:gd name="connsiteY29164" fmla="*/ 784386 h 6557032"/>
              <a:gd name="connsiteX29165" fmla="*/ 391768 w 4610101"/>
              <a:gd name="connsiteY29165" fmla="*/ 789853 h 6557032"/>
              <a:gd name="connsiteX29166" fmla="*/ 362613 w 4610101"/>
              <a:gd name="connsiteY29166" fmla="*/ 767987 h 6557032"/>
              <a:gd name="connsiteX29167" fmla="*/ 364435 w 4610101"/>
              <a:gd name="connsiteY29167" fmla="*/ 771631 h 6557032"/>
              <a:gd name="connsiteX29168" fmla="*/ 348946 w 4610101"/>
              <a:gd name="connsiteY29168" fmla="*/ 767759 h 6557032"/>
              <a:gd name="connsiteX29169" fmla="*/ 342399 w 4610101"/>
              <a:gd name="connsiteY29169" fmla="*/ 765738 h 6557032"/>
              <a:gd name="connsiteX29170" fmla="*/ 430489 w 4610101"/>
              <a:gd name="connsiteY29170" fmla="*/ 765026 h 6557032"/>
              <a:gd name="connsiteX29171" fmla="*/ 427300 w 4610101"/>
              <a:gd name="connsiteY29171" fmla="*/ 765710 h 6557032"/>
              <a:gd name="connsiteX29172" fmla="*/ 426389 w 4610101"/>
              <a:gd name="connsiteY29172" fmla="*/ 775275 h 6557032"/>
              <a:gd name="connsiteX29173" fmla="*/ 437322 w 4610101"/>
              <a:gd name="connsiteY29173" fmla="*/ 782564 h 6557032"/>
              <a:gd name="connsiteX29174" fmla="*/ 430034 w 4610101"/>
              <a:gd name="connsiteY29174" fmla="*/ 773453 h 6557032"/>
              <a:gd name="connsiteX29175" fmla="*/ 435500 w 4610101"/>
              <a:gd name="connsiteY29175" fmla="*/ 777098 h 6557032"/>
              <a:gd name="connsiteX29176" fmla="*/ 431856 w 4610101"/>
              <a:gd name="connsiteY29176" fmla="*/ 769809 h 6557032"/>
              <a:gd name="connsiteX29177" fmla="*/ 433678 w 4610101"/>
              <a:gd name="connsiteY29177" fmla="*/ 769809 h 6557032"/>
              <a:gd name="connsiteX29178" fmla="*/ 430489 w 4610101"/>
              <a:gd name="connsiteY29178" fmla="*/ 765026 h 6557032"/>
              <a:gd name="connsiteX29179" fmla="*/ 2744194 w 4610101"/>
              <a:gd name="connsiteY29179" fmla="*/ 764342 h 6557032"/>
              <a:gd name="connsiteX29180" fmla="*/ 2731439 w 4610101"/>
              <a:gd name="connsiteY29180" fmla="*/ 769809 h 6557032"/>
              <a:gd name="connsiteX29181" fmla="*/ 2746016 w 4610101"/>
              <a:gd name="connsiteY29181" fmla="*/ 778920 h 6557032"/>
              <a:gd name="connsiteX29182" fmla="*/ 2744194 w 4610101"/>
              <a:gd name="connsiteY29182" fmla="*/ 764342 h 6557032"/>
              <a:gd name="connsiteX29183" fmla="*/ 1468673 w 4610101"/>
              <a:gd name="connsiteY29183" fmla="*/ 764342 h 6557032"/>
              <a:gd name="connsiteX29184" fmla="*/ 1474139 w 4610101"/>
              <a:gd name="connsiteY29184" fmla="*/ 767987 h 6557032"/>
              <a:gd name="connsiteX29185" fmla="*/ 1475961 w 4610101"/>
              <a:gd name="connsiteY29185" fmla="*/ 764342 h 6557032"/>
              <a:gd name="connsiteX29186" fmla="*/ 1474196 w 4610101"/>
              <a:gd name="connsiteY29186" fmla="*/ 768499 h 6557032"/>
              <a:gd name="connsiteX29187" fmla="*/ 1470470 w 4610101"/>
              <a:gd name="connsiteY29187" fmla="*/ 771533 h 6557032"/>
              <a:gd name="connsiteX29188" fmla="*/ 1107882 w 4610101"/>
              <a:gd name="connsiteY29188" fmla="*/ 764342 h 6557032"/>
              <a:gd name="connsiteX29189" fmla="*/ 1102416 w 4610101"/>
              <a:gd name="connsiteY29189" fmla="*/ 771631 h 6557032"/>
              <a:gd name="connsiteX29190" fmla="*/ 1106060 w 4610101"/>
              <a:gd name="connsiteY29190" fmla="*/ 773453 h 6557032"/>
              <a:gd name="connsiteX29191" fmla="*/ 1107882 w 4610101"/>
              <a:gd name="connsiteY29191" fmla="*/ 764342 h 6557032"/>
              <a:gd name="connsiteX29192" fmla="*/ 931131 w 4610101"/>
              <a:gd name="connsiteY29192" fmla="*/ 764342 h 6557032"/>
              <a:gd name="connsiteX29193" fmla="*/ 932953 w 4610101"/>
              <a:gd name="connsiteY29193" fmla="*/ 782564 h 6557032"/>
              <a:gd name="connsiteX29194" fmla="*/ 931131 w 4610101"/>
              <a:gd name="connsiteY29194" fmla="*/ 764342 h 6557032"/>
              <a:gd name="connsiteX29195" fmla="*/ 783535 w 4610101"/>
              <a:gd name="connsiteY29195" fmla="*/ 764342 h 6557032"/>
              <a:gd name="connsiteX29196" fmla="*/ 783535 w 4610101"/>
              <a:gd name="connsiteY29196" fmla="*/ 767987 h 6557032"/>
              <a:gd name="connsiteX29197" fmla="*/ 787179 w 4610101"/>
              <a:gd name="connsiteY29197" fmla="*/ 766164 h 6557032"/>
              <a:gd name="connsiteX29198" fmla="*/ 783535 w 4610101"/>
              <a:gd name="connsiteY29198" fmla="*/ 764342 h 6557032"/>
              <a:gd name="connsiteX29199" fmla="*/ 167640 w 4610101"/>
              <a:gd name="connsiteY29199" fmla="*/ 764342 h 6557032"/>
              <a:gd name="connsiteX29200" fmla="*/ 170374 w 4610101"/>
              <a:gd name="connsiteY29200" fmla="*/ 766530 h 6557032"/>
              <a:gd name="connsiteX29201" fmla="*/ 169690 w 4610101"/>
              <a:gd name="connsiteY29201" fmla="*/ 766165 h 6557032"/>
              <a:gd name="connsiteX29202" fmla="*/ 167640 w 4610101"/>
              <a:gd name="connsiteY29202" fmla="*/ 764342 h 6557032"/>
              <a:gd name="connsiteX29203" fmla="*/ 1163458 w 4610101"/>
              <a:gd name="connsiteY29203" fmla="*/ 763887 h 6557032"/>
              <a:gd name="connsiteX29204" fmla="*/ 1158903 w 4610101"/>
              <a:gd name="connsiteY29204" fmla="*/ 764342 h 6557032"/>
              <a:gd name="connsiteX29205" fmla="*/ 1168014 w 4610101"/>
              <a:gd name="connsiteY29205" fmla="*/ 766164 h 6557032"/>
              <a:gd name="connsiteX29206" fmla="*/ 1163458 w 4610101"/>
              <a:gd name="connsiteY29206" fmla="*/ 763887 h 6557032"/>
              <a:gd name="connsiteX29207" fmla="*/ 1344372 w 4610101"/>
              <a:gd name="connsiteY29207" fmla="*/ 763727 h 6557032"/>
              <a:gd name="connsiteX29208" fmla="*/ 1342032 w 4610101"/>
              <a:gd name="connsiteY29208" fmla="*/ 765481 h 6557032"/>
              <a:gd name="connsiteX29209" fmla="*/ 1341207 w 4610101"/>
              <a:gd name="connsiteY29209" fmla="*/ 765570 h 6557032"/>
              <a:gd name="connsiteX29210" fmla="*/ 1342487 w 4610101"/>
              <a:gd name="connsiteY29210" fmla="*/ 764115 h 6557032"/>
              <a:gd name="connsiteX29211" fmla="*/ 3234359 w 4610101"/>
              <a:gd name="connsiteY29211" fmla="*/ 762520 h 6557032"/>
              <a:gd name="connsiteX29212" fmla="*/ 3234359 w 4610101"/>
              <a:gd name="connsiteY29212" fmla="*/ 775275 h 6557032"/>
              <a:gd name="connsiteX29213" fmla="*/ 3234359 w 4610101"/>
              <a:gd name="connsiteY29213" fmla="*/ 762520 h 6557032"/>
              <a:gd name="connsiteX29214" fmla="*/ 1093305 w 4610101"/>
              <a:gd name="connsiteY29214" fmla="*/ 762520 h 6557032"/>
              <a:gd name="connsiteX29215" fmla="*/ 1096949 w 4610101"/>
              <a:gd name="connsiteY29215" fmla="*/ 766164 h 6557032"/>
              <a:gd name="connsiteX29216" fmla="*/ 1100593 w 4610101"/>
              <a:gd name="connsiteY29216" fmla="*/ 762520 h 6557032"/>
              <a:gd name="connsiteX29217" fmla="*/ 1093305 w 4610101"/>
              <a:gd name="connsiteY29217" fmla="*/ 762520 h 6557032"/>
              <a:gd name="connsiteX29218" fmla="*/ 1091484 w 4610101"/>
              <a:gd name="connsiteY29218" fmla="*/ 762520 h 6557032"/>
              <a:gd name="connsiteX29219" fmla="*/ 1091484 w 4610101"/>
              <a:gd name="connsiteY29219" fmla="*/ 764342 h 6557032"/>
              <a:gd name="connsiteX29220" fmla="*/ 1095127 w 4610101"/>
              <a:gd name="connsiteY29220" fmla="*/ 769809 h 6557032"/>
              <a:gd name="connsiteX29221" fmla="*/ 1096949 w 4610101"/>
              <a:gd name="connsiteY29221" fmla="*/ 767987 h 6557032"/>
              <a:gd name="connsiteX29222" fmla="*/ 1091484 w 4610101"/>
              <a:gd name="connsiteY29222" fmla="*/ 762520 h 6557032"/>
              <a:gd name="connsiteX29223" fmla="*/ 1009485 w 4610101"/>
              <a:gd name="connsiteY29223" fmla="*/ 762520 h 6557032"/>
              <a:gd name="connsiteX29224" fmla="*/ 1013129 w 4610101"/>
              <a:gd name="connsiteY29224" fmla="*/ 767987 h 6557032"/>
              <a:gd name="connsiteX29225" fmla="*/ 1009485 w 4610101"/>
              <a:gd name="connsiteY29225" fmla="*/ 762520 h 6557032"/>
              <a:gd name="connsiteX29226" fmla="*/ 803579 w 4610101"/>
              <a:gd name="connsiteY29226" fmla="*/ 762520 h 6557032"/>
              <a:gd name="connsiteX29227" fmla="*/ 805401 w 4610101"/>
              <a:gd name="connsiteY29227" fmla="*/ 766164 h 6557032"/>
              <a:gd name="connsiteX29228" fmla="*/ 812690 w 4610101"/>
              <a:gd name="connsiteY29228" fmla="*/ 762520 h 6557032"/>
              <a:gd name="connsiteX29229" fmla="*/ 803579 w 4610101"/>
              <a:gd name="connsiteY29229" fmla="*/ 762520 h 6557032"/>
              <a:gd name="connsiteX29230" fmla="*/ 703359 w 4610101"/>
              <a:gd name="connsiteY29230" fmla="*/ 762520 h 6557032"/>
              <a:gd name="connsiteX29231" fmla="*/ 708826 w 4610101"/>
              <a:gd name="connsiteY29231" fmla="*/ 773453 h 6557032"/>
              <a:gd name="connsiteX29232" fmla="*/ 710648 w 4610101"/>
              <a:gd name="connsiteY29232" fmla="*/ 769809 h 6557032"/>
              <a:gd name="connsiteX29233" fmla="*/ 717937 w 4610101"/>
              <a:gd name="connsiteY29233" fmla="*/ 778920 h 6557032"/>
              <a:gd name="connsiteX29234" fmla="*/ 719759 w 4610101"/>
              <a:gd name="connsiteY29234" fmla="*/ 771631 h 6557032"/>
              <a:gd name="connsiteX29235" fmla="*/ 723404 w 4610101"/>
              <a:gd name="connsiteY29235" fmla="*/ 780742 h 6557032"/>
              <a:gd name="connsiteX29236" fmla="*/ 721581 w 4610101"/>
              <a:gd name="connsiteY29236" fmla="*/ 769809 h 6557032"/>
              <a:gd name="connsiteX29237" fmla="*/ 719759 w 4610101"/>
              <a:gd name="connsiteY29237" fmla="*/ 771631 h 6557032"/>
              <a:gd name="connsiteX29238" fmla="*/ 703359 w 4610101"/>
              <a:gd name="connsiteY29238" fmla="*/ 762520 h 6557032"/>
              <a:gd name="connsiteX29239" fmla="*/ 501098 w 4610101"/>
              <a:gd name="connsiteY29239" fmla="*/ 762520 h 6557032"/>
              <a:gd name="connsiteX29240" fmla="*/ 512031 w 4610101"/>
              <a:gd name="connsiteY29240" fmla="*/ 771631 h 6557032"/>
              <a:gd name="connsiteX29241" fmla="*/ 501098 w 4610101"/>
              <a:gd name="connsiteY29241" fmla="*/ 762520 h 6557032"/>
              <a:gd name="connsiteX29242" fmla="*/ 233239 w 4610101"/>
              <a:gd name="connsiteY29242" fmla="*/ 762520 h 6557032"/>
              <a:gd name="connsiteX29243" fmla="*/ 242349 w 4610101"/>
              <a:gd name="connsiteY29243" fmla="*/ 771631 h 6557032"/>
              <a:gd name="connsiteX29244" fmla="*/ 247816 w 4610101"/>
              <a:gd name="connsiteY29244" fmla="*/ 769809 h 6557032"/>
              <a:gd name="connsiteX29245" fmla="*/ 233239 w 4610101"/>
              <a:gd name="connsiteY29245" fmla="*/ 762520 h 6557032"/>
              <a:gd name="connsiteX29246" fmla="*/ 215017 w 4610101"/>
              <a:gd name="connsiteY29246" fmla="*/ 762520 h 6557032"/>
              <a:gd name="connsiteX29247" fmla="*/ 220483 w 4610101"/>
              <a:gd name="connsiteY29247" fmla="*/ 767987 h 6557032"/>
              <a:gd name="connsiteX29248" fmla="*/ 215017 w 4610101"/>
              <a:gd name="connsiteY29248" fmla="*/ 762520 h 6557032"/>
              <a:gd name="connsiteX29249" fmla="*/ 194151 w 4610101"/>
              <a:gd name="connsiteY29249" fmla="*/ 760876 h 6557032"/>
              <a:gd name="connsiteX29250" fmla="*/ 199245 w 4610101"/>
              <a:gd name="connsiteY29250" fmla="*/ 769014 h 6557032"/>
              <a:gd name="connsiteX29251" fmla="*/ 196340 w 4610101"/>
              <a:gd name="connsiteY29251" fmla="*/ 765254 h 6557032"/>
              <a:gd name="connsiteX29252" fmla="*/ 3212493 w 4610101"/>
              <a:gd name="connsiteY29252" fmla="*/ 760698 h 6557032"/>
              <a:gd name="connsiteX29253" fmla="*/ 3207027 w 4610101"/>
              <a:gd name="connsiteY29253" fmla="*/ 762520 h 6557032"/>
              <a:gd name="connsiteX29254" fmla="*/ 3212493 w 4610101"/>
              <a:gd name="connsiteY29254" fmla="*/ 760698 h 6557032"/>
              <a:gd name="connsiteX29255" fmla="*/ 3106807 w 4610101"/>
              <a:gd name="connsiteY29255" fmla="*/ 760698 h 6557032"/>
              <a:gd name="connsiteX29256" fmla="*/ 3106807 w 4610101"/>
              <a:gd name="connsiteY29256" fmla="*/ 767987 h 6557032"/>
              <a:gd name="connsiteX29257" fmla="*/ 3114096 w 4610101"/>
              <a:gd name="connsiteY29257" fmla="*/ 767987 h 6557032"/>
              <a:gd name="connsiteX29258" fmla="*/ 3106807 w 4610101"/>
              <a:gd name="connsiteY29258" fmla="*/ 760698 h 6557032"/>
              <a:gd name="connsiteX29259" fmla="*/ 1397608 w 4610101"/>
              <a:gd name="connsiteY29259" fmla="*/ 760698 h 6557032"/>
              <a:gd name="connsiteX29260" fmla="*/ 1393963 w 4610101"/>
              <a:gd name="connsiteY29260" fmla="*/ 771631 h 6557032"/>
              <a:gd name="connsiteX29261" fmla="*/ 1397608 w 4610101"/>
              <a:gd name="connsiteY29261" fmla="*/ 760698 h 6557032"/>
              <a:gd name="connsiteX29262" fmla="*/ 685138 w 4610101"/>
              <a:gd name="connsiteY29262" fmla="*/ 760698 h 6557032"/>
              <a:gd name="connsiteX29263" fmla="*/ 696071 w 4610101"/>
              <a:gd name="connsiteY29263" fmla="*/ 771631 h 6557032"/>
              <a:gd name="connsiteX29264" fmla="*/ 696071 w 4610101"/>
              <a:gd name="connsiteY29264" fmla="*/ 762520 h 6557032"/>
              <a:gd name="connsiteX29265" fmla="*/ 685138 w 4610101"/>
              <a:gd name="connsiteY29265" fmla="*/ 760698 h 6557032"/>
              <a:gd name="connsiteX29266" fmla="*/ 612251 w 4610101"/>
              <a:gd name="connsiteY29266" fmla="*/ 760698 h 6557032"/>
              <a:gd name="connsiteX29267" fmla="*/ 614074 w 4610101"/>
              <a:gd name="connsiteY29267" fmla="*/ 771631 h 6557032"/>
              <a:gd name="connsiteX29268" fmla="*/ 617717 w 4610101"/>
              <a:gd name="connsiteY29268" fmla="*/ 767987 h 6557032"/>
              <a:gd name="connsiteX29269" fmla="*/ 612251 w 4610101"/>
              <a:gd name="connsiteY29269" fmla="*/ 760698 h 6557032"/>
              <a:gd name="connsiteX29270" fmla="*/ 553941 w 4610101"/>
              <a:gd name="connsiteY29270" fmla="*/ 760698 h 6557032"/>
              <a:gd name="connsiteX29271" fmla="*/ 548475 w 4610101"/>
              <a:gd name="connsiteY29271" fmla="*/ 762520 h 6557032"/>
              <a:gd name="connsiteX29272" fmla="*/ 553941 w 4610101"/>
              <a:gd name="connsiteY29272" fmla="*/ 760698 h 6557032"/>
              <a:gd name="connsiteX29273" fmla="*/ 333458 w 4610101"/>
              <a:gd name="connsiteY29273" fmla="*/ 760698 h 6557032"/>
              <a:gd name="connsiteX29274" fmla="*/ 337102 w 4610101"/>
              <a:gd name="connsiteY29274" fmla="*/ 764342 h 6557032"/>
              <a:gd name="connsiteX29275" fmla="*/ 333458 w 4610101"/>
              <a:gd name="connsiteY29275" fmla="*/ 760698 h 6557032"/>
              <a:gd name="connsiteX29276" fmla="*/ 149805 w 4610101"/>
              <a:gd name="connsiteY29276" fmla="*/ 759198 h 6557032"/>
              <a:gd name="connsiteX29277" fmla="*/ 150603 w 4610101"/>
              <a:gd name="connsiteY29277" fmla="*/ 759863 h 6557032"/>
              <a:gd name="connsiteX29278" fmla="*/ 150604 w 4610101"/>
              <a:gd name="connsiteY29278" fmla="*/ 759864 h 6557032"/>
              <a:gd name="connsiteX29279" fmla="*/ 1286455 w 4610101"/>
              <a:gd name="connsiteY29279" fmla="*/ 758876 h 6557032"/>
              <a:gd name="connsiteX29280" fmla="*/ 1260945 w 4610101"/>
              <a:gd name="connsiteY29280" fmla="*/ 767987 h 6557032"/>
              <a:gd name="connsiteX29281" fmla="*/ 1262767 w 4610101"/>
              <a:gd name="connsiteY29281" fmla="*/ 771631 h 6557032"/>
              <a:gd name="connsiteX29282" fmla="*/ 1266411 w 4610101"/>
              <a:gd name="connsiteY29282" fmla="*/ 771631 h 6557032"/>
              <a:gd name="connsiteX29283" fmla="*/ 1266411 w 4610101"/>
              <a:gd name="connsiteY29283" fmla="*/ 766164 h 6557032"/>
              <a:gd name="connsiteX29284" fmla="*/ 1270056 w 4610101"/>
              <a:gd name="connsiteY29284" fmla="*/ 771631 h 6557032"/>
              <a:gd name="connsiteX29285" fmla="*/ 1286455 w 4610101"/>
              <a:gd name="connsiteY29285" fmla="*/ 758876 h 6557032"/>
              <a:gd name="connsiteX29286" fmla="*/ 982152 w 4610101"/>
              <a:gd name="connsiteY29286" fmla="*/ 758876 h 6557032"/>
              <a:gd name="connsiteX29287" fmla="*/ 963930 w 4610101"/>
              <a:gd name="connsiteY29287" fmla="*/ 786208 h 6557032"/>
              <a:gd name="connsiteX29288" fmla="*/ 967575 w 4610101"/>
              <a:gd name="connsiteY29288" fmla="*/ 784386 h 6557032"/>
              <a:gd name="connsiteX29289" fmla="*/ 969397 w 4610101"/>
              <a:gd name="connsiteY29289" fmla="*/ 777098 h 6557032"/>
              <a:gd name="connsiteX29290" fmla="*/ 971219 w 4610101"/>
              <a:gd name="connsiteY29290" fmla="*/ 782564 h 6557032"/>
              <a:gd name="connsiteX29291" fmla="*/ 989441 w 4610101"/>
              <a:gd name="connsiteY29291" fmla="*/ 758876 h 6557032"/>
              <a:gd name="connsiteX29292" fmla="*/ 985796 w 4610101"/>
              <a:gd name="connsiteY29292" fmla="*/ 758876 h 6557032"/>
              <a:gd name="connsiteX29293" fmla="*/ 982152 w 4610101"/>
              <a:gd name="connsiteY29293" fmla="*/ 758876 h 6557032"/>
              <a:gd name="connsiteX29294" fmla="*/ 852778 w 4610101"/>
              <a:gd name="connsiteY29294" fmla="*/ 758876 h 6557032"/>
              <a:gd name="connsiteX29295" fmla="*/ 860066 w 4610101"/>
              <a:gd name="connsiteY29295" fmla="*/ 764342 h 6557032"/>
              <a:gd name="connsiteX29296" fmla="*/ 852778 w 4610101"/>
              <a:gd name="connsiteY29296" fmla="*/ 758876 h 6557032"/>
              <a:gd name="connsiteX29297" fmla="*/ 564874 w 4610101"/>
              <a:gd name="connsiteY29297" fmla="*/ 758876 h 6557032"/>
              <a:gd name="connsiteX29298" fmla="*/ 564874 w 4610101"/>
              <a:gd name="connsiteY29298" fmla="*/ 762520 h 6557032"/>
              <a:gd name="connsiteX29299" fmla="*/ 566697 w 4610101"/>
              <a:gd name="connsiteY29299" fmla="*/ 760698 h 6557032"/>
              <a:gd name="connsiteX29300" fmla="*/ 564874 w 4610101"/>
              <a:gd name="connsiteY29300" fmla="*/ 758876 h 6557032"/>
              <a:gd name="connsiteX29301" fmla="*/ 451899 w 4610101"/>
              <a:gd name="connsiteY29301" fmla="*/ 758876 h 6557032"/>
              <a:gd name="connsiteX29302" fmla="*/ 461010 w 4610101"/>
              <a:gd name="connsiteY29302" fmla="*/ 775275 h 6557032"/>
              <a:gd name="connsiteX29303" fmla="*/ 464655 w 4610101"/>
              <a:gd name="connsiteY29303" fmla="*/ 769809 h 6557032"/>
              <a:gd name="connsiteX29304" fmla="*/ 451899 w 4610101"/>
              <a:gd name="connsiteY29304" fmla="*/ 758876 h 6557032"/>
              <a:gd name="connsiteX29305" fmla="*/ 311592 w 4610101"/>
              <a:gd name="connsiteY29305" fmla="*/ 758876 h 6557032"/>
              <a:gd name="connsiteX29306" fmla="*/ 315236 w 4610101"/>
              <a:gd name="connsiteY29306" fmla="*/ 769809 h 6557032"/>
              <a:gd name="connsiteX29307" fmla="*/ 311592 w 4610101"/>
              <a:gd name="connsiteY29307" fmla="*/ 758876 h 6557032"/>
              <a:gd name="connsiteX29308" fmla="*/ 222306 w 4610101"/>
              <a:gd name="connsiteY29308" fmla="*/ 758876 h 6557032"/>
              <a:gd name="connsiteX29309" fmla="*/ 225950 w 4610101"/>
              <a:gd name="connsiteY29309" fmla="*/ 764342 h 6557032"/>
              <a:gd name="connsiteX29310" fmla="*/ 222306 w 4610101"/>
              <a:gd name="connsiteY29310" fmla="*/ 758876 h 6557032"/>
              <a:gd name="connsiteX29311" fmla="*/ 176751 w 4610101"/>
              <a:gd name="connsiteY29311" fmla="*/ 758876 h 6557032"/>
              <a:gd name="connsiteX29312" fmla="*/ 185862 w 4610101"/>
              <a:gd name="connsiteY29312" fmla="*/ 766164 h 6557032"/>
              <a:gd name="connsiteX29313" fmla="*/ 180248 w 4610101"/>
              <a:gd name="connsiteY29313" fmla="*/ 761985 h 6557032"/>
              <a:gd name="connsiteX29314" fmla="*/ 149419 w 4610101"/>
              <a:gd name="connsiteY29314" fmla="*/ 758876 h 6557032"/>
              <a:gd name="connsiteX29315" fmla="*/ 149805 w 4610101"/>
              <a:gd name="connsiteY29315" fmla="*/ 759198 h 6557032"/>
              <a:gd name="connsiteX29316" fmla="*/ 149421 w 4610101"/>
              <a:gd name="connsiteY29316" fmla="*/ 758877 h 6557032"/>
              <a:gd name="connsiteX29317" fmla="*/ 2334205 w 4610101"/>
              <a:gd name="connsiteY29317" fmla="*/ 757054 h 6557032"/>
              <a:gd name="connsiteX29318" fmla="*/ 2336027 w 4610101"/>
              <a:gd name="connsiteY29318" fmla="*/ 764342 h 6557032"/>
              <a:gd name="connsiteX29319" fmla="*/ 2337850 w 4610101"/>
              <a:gd name="connsiteY29319" fmla="*/ 764342 h 6557032"/>
              <a:gd name="connsiteX29320" fmla="*/ 2334205 w 4610101"/>
              <a:gd name="connsiteY29320" fmla="*/ 757054 h 6557032"/>
              <a:gd name="connsiteX29321" fmla="*/ 1421296 w 4610101"/>
              <a:gd name="connsiteY29321" fmla="*/ 757054 h 6557032"/>
              <a:gd name="connsiteX29322" fmla="*/ 1414690 w 4610101"/>
              <a:gd name="connsiteY29322" fmla="*/ 764343 h 6557032"/>
              <a:gd name="connsiteX29323" fmla="*/ 1408168 w 4610101"/>
              <a:gd name="connsiteY29323" fmla="*/ 770306 h 6557032"/>
              <a:gd name="connsiteX29324" fmla="*/ 1408541 w 4610101"/>
              <a:gd name="connsiteY29324" fmla="*/ 769809 h 6557032"/>
              <a:gd name="connsiteX29325" fmla="*/ 1395787 w 4610101"/>
              <a:gd name="connsiteY29325" fmla="*/ 778920 h 6557032"/>
              <a:gd name="connsiteX29326" fmla="*/ 1388497 w 4610101"/>
              <a:gd name="connsiteY29326" fmla="*/ 782564 h 6557032"/>
              <a:gd name="connsiteX29327" fmla="*/ 1393963 w 4610101"/>
              <a:gd name="connsiteY29327" fmla="*/ 784386 h 6557032"/>
              <a:gd name="connsiteX29328" fmla="*/ 1366632 w 4610101"/>
              <a:gd name="connsiteY29328" fmla="*/ 786208 h 6557032"/>
              <a:gd name="connsiteX29329" fmla="*/ 1359342 w 4610101"/>
              <a:gd name="connsiteY29329" fmla="*/ 795319 h 6557032"/>
              <a:gd name="connsiteX29330" fmla="*/ 1370275 w 4610101"/>
              <a:gd name="connsiteY29330" fmla="*/ 791675 h 6557032"/>
              <a:gd name="connsiteX29331" fmla="*/ 1364809 w 4610101"/>
              <a:gd name="connsiteY29331" fmla="*/ 795319 h 6557032"/>
              <a:gd name="connsiteX29332" fmla="*/ 1379386 w 4610101"/>
              <a:gd name="connsiteY29332" fmla="*/ 793497 h 6557032"/>
              <a:gd name="connsiteX29333" fmla="*/ 1377564 w 4610101"/>
              <a:gd name="connsiteY29333" fmla="*/ 797141 h 6557032"/>
              <a:gd name="connsiteX29334" fmla="*/ 1421296 w 4610101"/>
              <a:gd name="connsiteY29334" fmla="*/ 757054 h 6557032"/>
              <a:gd name="connsiteX29335" fmla="*/ 1357521 w 4610101"/>
              <a:gd name="connsiteY29335" fmla="*/ 757054 h 6557032"/>
              <a:gd name="connsiteX29336" fmla="*/ 1353876 w 4610101"/>
              <a:gd name="connsiteY29336" fmla="*/ 762520 h 6557032"/>
              <a:gd name="connsiteX29337" fmla="*/ 1357521 w 4610101"/>
              <a:gd name="connsiteY29337" fmla="*/ 757054 h 6557032"/>
              <a:gd name="connsiteX29338" fmla="*/ 1118815 w 4610101"/>
              <a:gd name="connsiteY29338" fmla="*/ 757054 h 6557032"/>
              <a:gd name="connsiteX29339" fmla="*/ 1109704 w 4610101"/>
              <a:gd name="connsiteY29339" fmla="*/ 766164 h 6557032"/>
              <a:gd name="connsiteX29340" fmla="*/ 1118815 w 4610101"/>
              <a:gd name="connsiteY29340" fmla="*/ 757054 h 6557032"/>
              <a:gd name="connsiteX29341" fmla="*/ 1100593 w 4610101"/>
              <a:gd name="connsiteY29341" fmla="*/ 757054 h 6557032"/>
              <a:gd name="connsiteX29342" fmla="*/ 1104238 w 4610101"/>
              <a:gd name="connsiteY29342" fmla="*/ 760698 h 6557032"/>
              <a:gd name="connsiteX29343" fmla="*/ 1100593 w 4610101"/>
              <a:gd name="connsiteY29343" fmla="*/ 757054 h 6557032"/>
              <a:gd name="connsiteX29344" fmla="*/ 993085 w 4610101"/>
              <a:gd name="connsiteY29344" fmla="*/ 757054 h 6557032"/>
              <a:gd name="connsiteX29345" fmla="*/ 987619 w 4610101"/>
              <a:gd name="connsiteY29345" fmla="*/ 771631 h 6557032"/>
              <a:gd name="connsiteX29346" fmla="*/ 1000374 w 4610101"/>
              <a:gd name="connsiteY29346" fmla="*/ 758876 h 6557032"/>
              <a:gd name="connsiteX29347" fmla="*/ 993085 w 4610101"/>
              <a:gd name="connsiteY29347" fmla="*/ 757054 h 6557032"/>
              <a:gd name="connsiteX29348" fmla="*/ 963930 w 4610101"/>
              <a:gd name="connsiteY29348" fmla="*/ 757054 h 6557032"/>
              <a:gd name="connsiteX29349" fmla="*/ 958464 w 4610101"/>
              <a:gd name="connsiteY29349" fmla="*/ 766164 h 6557032"/>
              <a:gd name="connsiteX29350" fmla="*/ 965753 w 4610101"/>
              <a:gd name="connsiteY29350" fmla="*/ 762520 h 6557032"/>
              <a:gd name="connsiteX29351" fmla="*/ 963930 w 4610101"/>
              <a:gd name="connsiteY29351" fmla="*/ 757054 h 6557032"/>
              <a:gd name="connsiteX29352" fmla="*/ 945709 w 4610101"/>
              <a:gd name="connsiteY29352" fmla="*/ 757054 h 6557032"/>
              <a:gd name="connsiteX29353" fmla="*/ 942064 w 4610101"/>
              <a:gd name="connsiteY29353" fmla="*/ 773453 h 6557032"/>
              <a:gd name="connsiteX29354" fmla="*/ 945709 w 4610101"/>
              <a:gd name="connsiteY29354" fmla="*/ 757054 h 6557032"/>
              <a:gd name="connsiteX29355" fmla="*/ 674205 w 4610101"/>
              <a:gd name="connsiteY29355" fmla="*/ 757054 h 6557032"/>
              <a:gd name="connsiteX29356" fmla="*/ 678761 w 4610101"/>
              <a:gd name="connsiteY29356" fmla="*/ 764343 h 6557032"/>
              <a:gd name="connsiteX29357" fmla="*/ 686587 w 4610101"/>
              <a:gd name="connsiteY29357" fmla="*/ 770035 h 6557032"/>
              <a:gd name="connsiteX29358" fmla="*/ 686504 w 4610101"/>
              <a:gd name="connsiteY29358" fmla="*/ 770493 h 6557032"/>
              <a:gd name="connsiteX29359" fmla="*/ 688782 w 4610101"/>
              <a:gd name="connsiteY29359" fmla="*/ 771631 h 6557032"/>
              <a:gd name="connsiteX29360" fmla="*/ 686587 w 4610101"/>
              <a:gd name="connsiteY29360" fmla="*/ 770035 h 6557032"/>
              <a:gd name="connsiteX29361" fmla="*/ 686960 w 4610101"/>
              <a:gd name="connsiteY29361" fmla="*/ 767987 h 6557032"/>
              <a:gd name="connsiteX29362" fmla="*/ 694249 w 4610101"/>
              <a:gd name="connsiteY29362" fmla="*/ 773453 h 6557032"/>
              <a:gd name="connsiteX29363" fmla="*/ 674205 w 4610101"/>
              <a:gd name="connsiteY29363" fmla="*/ 757054 h 6557032"/>
              <a:gd name="connsiteX29364" fmla="*/ 561230 w 4610101"/>
              <a:gd name="connsiteY29364" fmla="*/ 757054 h 6557032"/>
              <a:gd name="connsiteX29365" fmla="*/ 555763 w 4610101"/>
              <a:gd name="connsiteY29365" fmla="*/ 760698 h 6557032"/>
              <a:gd name="connsiteX29366" fmla="*/ 559408 w 4610101"/>
              <a:gd name="connsiteY29366" fmla="*/ 764342 h 6557032"/>
              <a:gd name="connsiteX29367" fmla="*/ 561230 w 4610101"/>
              <a:gd name="connsiteY29367" fmla="*/ 757054 h 6557032"/>
              <a:gd name="connsiteX29368" fmla="*/ 459188 w 4610101"/>
              <a:gd name="connsiteY29368" fmla="*/ 757054 h 6557032"/>
              <a:gd name="connsiteX29369" fmla="*/ 464655 w 4610101"/>
              <a:gd name="connsiteY29369" fmla="*/ 764342 h 6557032"/>
              <a:gd name="connsiteX29370" fmla="*/ 459188 w 4610101"/>
              <a:gd name="connsiteY29370" fmla="*/ 757054 h 6557032"/>
              <a:gd name="connsiteX29371" fmla="*/ 360791 w 4610101"/>
              <a:gd name="connsiteY29371" fmla="*/ 757054 h 6557032"/>
              <a:gd name="connsiteX29372" fmla="*/ 389946 w 4610101"/>
              <a:gd name="connsiteY29372" fmla="*/ 775275 h 6557032"/>
              <a:gd name="connsiteX29373" fmla="*/ 382657 w 4610101"/>
              <a:gd name="connsiteY29373" fmla="*/ 767987 h 6557032"/>
              <a:gd name="connsiteX29374" fmla="*/ 360791 w 4610101"/>
              <a:gd name="connsiteY29374" fmla="*/ 757054 h 6557032"/>
              <a:gd name="connsiteX29375" fmla="*/ 249638 w 4610101"/>
              <a:gd name="connsiteY29375" fmla="*/ 757054 h 6557032"/>
              <a:gd name="connsiteX29376" fmla="*/ 256927 w 4610101"/>
              <a:gd name="connsiteY29376" fmla="*/ 769809 h 6557032"/>
              <a:gd name="connsiteX29377" fmla="*/ 255105 w 4610101"/>
              <a:gd name="connsiteY29377" fmla="*/ 762520 h 6557032"/>
              <a:gd name="connsiteX29378" fmla="*/ 249638 w 4610101"/>
              <a:gd name="connsiteY29378" fmla="*/ 757054 h 6557032"/>
              <a:gd name="connsiteX29379" fmla="*/ 2653911 w 4610101"/>
              <a:gd name="connsiteY29379" fmla="*/ 756428 h 6557032"/>
              <a:gd name="connsiteX29380" fmla="*/ 2651263 w 4610101"/>
              <a:gd name="connsiteY29380" fmla="*/ 762520 h 6557032"/>
              <a:gd name="connsiteX29381" fmla="*/ 2662197 w 4610101"/>
              <a:gd name="connsiteY29381" fmla="*/ 764342 h 6557032"/>
              <a:gd name="connsiteX29382" fmla="*/ 2662197 w 4610101"/>
              <a:gd name="connsiteY29382" fmla="*/ 769809 h 6557032"/>
              <a:gd name="connsiteX29383" fmla="*/ 2674952 w 4610101"/>
              <a:gd name="connsiteY29383" fmla="*/ 771631 h 6557032"/>
              <a:gd name="connsiteX29384" fmla="*/ 2673130 w 4610101"/>
              <a:gd name="connsiteY29384" fmla="*/ 762520 h 6557032"/>
              <a:gd name="connsiteX29385" fmla="*/ 2673130 w 4610101"/>
              <a:gd name="connsiteY29385" fmla="*/ 766164 h 6557032"/>
              <a:gd name="connsiteX29386" fmla="*/ 2653911 w 4610101"/>
              <a:gd name="connsiteY29386" fmla="*/ 756428 h 6557032"/>
              <a:gd name="connsiteX29387" fmla="*/ 1127244 w 4610101"/>
              <a:gd name="connsiteY29387" fmla="*/ 755915 h 6557032"/>
              <a:gd name="connsiteX29388" fmla="*/ 1118815 w 4610101"/>
              <a:gd name="connsiteY29388" fmla="*/ 767987 h 6557032"/>
              <a:gd name="connsiteX29389" fmla="*/ 1113349 w 4610101"/>
              <a:gd name="connsiteY29389" fmla="*/ 773453 h 6557032"/>
              <a:gd name="connsiteX29390" fmla="*/ 1124282 w 4610101"/>
              <a:gd name="connsiteY29390" fmla="*/ 766164 h 6557032"/>
              <a:gd name="connsiteX29391" fmla="*/ 1142503 w 4610101"/>
              <a:gd name="connsiteY29391" fmla="*/ 758876 h 6557032"/>
              <a:gd name="connsiteX29392" fmla="*/ 1127244 w 4610101"/>
              <a:gd name="connsiteY29392" fmla="*/ 755915 h 6557032"/>
              <a:gd name="connsiteX29393" fmla="*/ 1173481 w 4610101"/>
              <a:gd name="connsiteY29393" fmla="*/ 755231 h 6557032"/>
              <a:gd name="connsiteX29394" fmla="*/ 1168014 w 4610101"/>
              <a:gd name="connsiteY29394" fmla="*/ 757054 h 6557032"/>
              <a:gd name="connsiteX29395" fmla="*/ 1173481 w 4610101"/>
              <a:gd name="connsiteY29395" fmla="*/ 755231 h 6557032"/>
              <a:gd name="connsiteX29396" fmla="*/ 1096949 w 4610101"/>
              <a:gd name="connsiteY29396" fmla="*/ 755231 h 6557032"/>
              <a:gd name="connsiteX29397" fmla="*/ 1098771 w 4610101"/>
              <a:gd name="connsiteY29397" fmla="*/ 758876 h 6557032"/>
              <a:gd name="connsiteX29398" fmla="*/ 1098771 w 4610101"/>
              <a:gd name="connsiteY29398" fmla="*/ 755231 h 6557032"/>
              <a:gd name="connsiteX29399" fmla="*/ 1096949 w 4610101"/>
              <a:gd name="connsiteY29399" fmla="*/ 755231 h 6557032"/>
              <a:gd name="connsiteX29400" fmla="*/ 1093305 w 4610101"/>
              <a:gd name="connsiteY29400" fmla="*/ 755231 h 6557032"/>
              <a:gd name="connsiteX29401" fmla="*/ 1082373 w 4610101"/>
              <a:gd name="connsiteY29401" fmla="*/ 757054 h 6557032"/>
              <a:gd name="connsiteX29402" fmla="*/ 1084194 w 4610101"/>
              <a:gd name="connsiteY29402" fmla="*/ 757054 h 6557032"/>
              <a:gd name="connsiteX29403" fmla="*/ 1086016 w 4610101"/>
              <a:gd name="connsiteY29403" fmla="*/ 758876 h 6557032"/>
              <a:gd name="connsiteX29404" fmla="*/ 1096949 w 4610101"/>
              <a:gd name="connsiteY29404" fmla="*/ 760698 h 6557032"/>
              <a:gd name="connsiteX29405" fmla="*/ 1093305 w 4610101"/>
              <a:gd name="connsiteY29405" fmla="*/ 755231 h 6557032"/>
              <a:gd name="connsiteX29406" fmla="*/ 952997 w 4610101"/>
              <a:gd name="connsiteY29406" fmla="*/ 755231 h 6557032"/>
              <a:gd name="connsiteX29407" fmla="*/ 949353 w 4610101"/>
              <a:gd name="connsiteY29407" fmla="*/ 766164 h 6557032"/>
              <a:gd name="connsiteX29408" fmla="*/ 956642 w 4610101"/>
              <a:gd name="connsiteY29408" fmla="*/ 755231 h 6557032"/>
              <a:gd name="connsiteX29409" fmla="*/ 952997 w 4610101"/>
              <a:gd name="connsiteY29409" fmla="*/ 755231 h 6557032"/>
              <a:gd name="connsiteX29410" fmla="*/ 679671 w 4610101"/>
              <a:gd name="connsiteY29410" fmla="*/ 755231 h 6557032"/>
              <a:gd name="connsiteX29411" fmla="*/ 688782 w 4610101"/>
              <a:gd name="connsiteY29411" fmla="*/ 758876 h 6557032"/>
              <a:gd name="connsiteX29412" fmla="*/ 679671 w 4610101"/>
              <a:gd name="connsiteY29412" fmla="*/ 755231 h 6557032"/>
              <a:gd name="connsiteX29413" fmla="*/ 581274 w 4610101"/>
              <a:gd name="connsiteY29413" fmla="*/ 755231 h 6557032"/>
              <a:gd name="connsiteX29414" fmla="*/ 577630 w 4610101"/>
              <a:gd name="connsiteY29414" fmla="*/ 764342 h 6557032"/>
              <a:gd name="connsiteX29415" fmla="*/ 584919 w 4610101"/>
              <a:gd name="connsiteY29415" fmla="*/ 757054 h 6557032"/>
              <a:gd name="connsiteX29416" fmla="*/ 581274 w 4610101"/>
              <a:gd name="connsiteY29416" fmla="*/ 755231 h 6557032"/>
              <a:gd name="connsiteX29417" fmla="*/ 491987 w 4610101"/>
              <a:gd name="connsiteY29417" fmla="*/ 755231 h 6557032"/>
              <a:gd name="connsiteX29418" fmla="*/ 495632 w 4610101"/>
              <a:gd name="connsiteY29418" fmla="*/ 769809 h 6557032"/>
              <a:gd name="connsiteX29419" fmla="*/ 491987 w 4610101"/>
              <a:gd name="connsiteY29419" fmla="*/ 755231 h 6557032"/>
              <a:gd name="connsiteX29420" fmla="*/ 231416 w 4610101"/>
              <a:gd name="connsiteY29420" fmla="*/ 755231 h 6557032"/>
              <a:gd name="connsiteX29421" fmla="*/ 235061 w 4610101"/>
              <a:gd name="connsiteY29421" fmla="*/ 760698 h 6557032"/>
              <a:gd name="connsiteX29422" fmla="*/ 231416 w 4610101"/>
              <a:gd name="connsiteY29422" fmla="*/ 755231 h 6557032"/>
              <a:gd name="connsiteX29423" fmla="*/ 1310143 w 4610101"/>
              <a:gd name="connsiteY29423" fmla="*/ 753409 h 6557032"/>
              <a:gd name="connsiteX29424" fmla="*/ 1309874 w 4610101"/>
              <a:gd name="connsiteY29424" fmla="*/ 753563 h 6557032"/>
              <a:gd name="connsiteX29425" fmla="*/ 1309959 w 4610101"/>
              <a:gd name="connsiteY29425" fmla="*/ 753483 h 6557032"/>
              <a:gd name="connsiteX29426" fmla="*/ 1051395 w 4610101"/>
              <a:gd name="connsiteY29426" fmla="*/ 753409 h 6557032"/>
              <a:gd name="connsiteX29427" fmla="*/ 1044106 w 4610101"/>
              <a:gd name="connsiteY29427" fmla="*/ 758876 h 6557032"/>
              <a:gd name="connsiteX29428" fmla="*/ 1051395 w 4610101"/>
              <a:gd name="connsiteY29428" fmla="*/ 753409 h 6557032"/>
              <a:gd name="connsiteX29429" fmla="*/ 1033173 w 4610101"/>
              <a:gd name="connsiteY29429" fmla="*/ 753409 h 6557032"/>
              <a:gd name="connsiteX29430" fmla="*/ 1020418 w 4610101"/>
              <a:gd name="connsiteY29430" fmla="*/ 760698 h 6557032"/>
              <a:gd name="connsiteX29431" fmla="*/ 1033173 w 4610101"/>
              <a:gd name="connsiteY29431" fmla="*/ 753409 h 6557032"/>
              <a:gd name="connsiteX29432" fmla="*/ 814512 w 4610101"/>
              <a:gd name="connsiteY29432" fmla="*/ 753409 h 6557032"/>
              <a:gd name="connsiteX29433" fmla="*/ 809046 w 4610101"/>
              <a:gd name="connsiteY29433" fmla="*/ 757054 h 6557032"/>
              <a:gd name="connsiteX29434" fmla="*/ 814512 w 4610101"/>
              <a:gd name="connsiteY29434" fmla="*/ 760698 h 6557032"/>
              <a:gd name="connsiteX29435" fmla="*/ 814512 w 4610101"/>
              <a:gd name="connsiteY29435" fmla="*/ 753409 h 6557032"/>
              <a:gd name="connsiteX29436" fmla="*/ 634117 w 4610101"/>
              <a:gd name="connsiteY29436" fmla="*/ 753409 h 6557032"/>
              <a:gd name="connsiteX29437" fmla="*/ 625006 w 4610101"/>
              <a:gd name="connsiteY29437" fmla="*/ 773453 h 6557032"/>
              <a:gd name="connsiteX29438" fmla="*/ 634117 w 4610101"/>
              <a:gd name="connsiteY29438" fmla="*/ 753409 h 6557032"/>
              <a:gd name="connsiteX29439" fmla="*/ 369902 w 4610101"/>
              <a:gd name="connsiteY29439" fmla="*/ 753409 h 6557032"/>
              <a:gd name="connsiteX29440" fmla="*/ 379012 w 4610101"/>
              <a:gd name="connsiteY29440" fmla="*/ 762520 h 6557032"/>
              <a:gd name="connsiteX29441" fmla="*/ 369902 w 4610101"/>
              <a:gd name="connsiteY29441" fmla="*/ 753409 h 6557032"/>
              <a:gd name="connsiteX29442" fmla="*/ 1327200 w 4610101"/>
              <a:gd name="connsiteY29442" fmla="*/ 752020 h 6557032"/>
              <a:gd name="connsiteX29443" fmla="*/ 1324721 w 4610101"/>
              <a:gd name="connsiteY29443" fmla="*/ 760698 h 6557032"/>
              <a:gd name="connsiteX29444" fmla="*/ 1322362 w 4610101"/>
              <a:gd name="connsiteY29444" fmla="*/ 768952 h 6557032"/>
              <a:gd name="connsiteX29445" fmla="*/ 1321077 w 4610101"/>
              <a:gd name="connsiteY29445" fmla="*/ 769809 h 6557032"/>
              <a:gd name="connsiteX29446" fmla="*/ 1325176 w 4610101"/>
              <a:gd name="connsiteY29446" fmla="*/ 753182 h 6557032"/>
              <a:gd name="connsiteX29447" fmla="*/ 3329112 w 4610101"/>
              <a:gd name="connsiteY29447" fmla="*/ 751587 h 6557032"/>
              <a:gd name="connsiteX29448" fmla="*/ 3323646 w 4610101"/>
              <a:gd name="connsiteY29448" fmla="*/ 758876 h 6557032"/>
              <a:gd name="connsiteX29449" fmla="*/ 3329112 w 4610101"/>
              <a:gd name="connsiteY29449" fmla="*/ 757054 h 6557032"/>
              <a:gd name="connsiteX29450" fmla="*/ 3329112 w 4610101"/>
              <a:gd name="connsiteY29450" fmla="*/ 751587 h 6557032"/>
              <a:gd name="connsiteX29451" fmla="*/ 3227071 w 4610101"/>
              <a:gd name="connsiteY29451" fmla="*/ 751587 h 6557032"/>
              <a:gd name="connsiteX29452" fmla="*/ 3223426 w 4610101"/>
              <a:gd name="connsiteY29452" fmla="*/ 767987 h 6557032"/>
              <a:gd name="connsiteX29453" fmla="*/ 3227071 w 4610101"/>
              <a:gd name="connsiteY29453" fmla="*/ 751587 h 6557032"/>
              <a:gd name="connsiteX29454" fmla="*/ 2328739 w 4610101"/>
              <a:gd name="connsiteY29454" fmla="*/ 751587 h 6557032"/>
              <a:gd name="connsiteX29455" fmla="*/ 2326916 w 4610101"/>
              <a:gd name="connsiteY29455" fmla="*/ 758876 h 6557032"/>
              <a:gd name="connsiteX29456" fmla="*/ 2328739 w 4610101"/>
              <a:gd name="connsiteY29456" fmla="*/ 760698 h 6557032"/>
              <a:gd name="connsiteX29457" fmla="*/ 2328739 w 4610101"/>
              <a:gd name="connsiteY29457" fmla="*/ 751587 h 6557032"/>
              <a:gd name="connsiteX29458" fmla="*/ 1350231 w 4610101"/>
              <a:gd name="connsiteY29458" fmla="*/ 751587 h 6557032"/>
              <a:gd name="connsiteX29459" fmla="*/ 1353876 w 4610101"/>
              <a:gd name="connsiteY29459" fmla="*/ 755231 h 6557032"/>
              <a:gd name="connsiteX29460" fmla="*/ 1355698 w 4610101"/>
              <a:gd name="connsiteY29460" fmla="*/ 751587 h 6557032"/>
              <a:gd name="connsiteX29461" fmla="*/ 1350231 w 4610101"/>
              <a:gd name="connsiteY29461" fmla="*/ 751587 h 6557032"/>
              <a:gd name="connsiteX29462" fmla="*/ 1182592 w 4610101"/>
              <a:gd name="connsiteY29462" fmla="*/ 751587 h 6557032"/>
              <a:gd name="connsiteX29463" fmla="*/ 1175303 w 4610101"/>
              <a:gd name="connsiteY29463" fmla="*/ 753409 h 6557032"/>
              <a:gd name="connsiteX29464" fmla="*/ 1182592 w 4610101"/>
              <a:gd name="connsiteY29464" fmla="*/ 751587 h 6557032"/>
              <a:gd name="connsiteX29465" fmla="*/ 1111526 w 4610101"/>
              <a:gd name="connsiteY29465" fmla="*/ 751587 h 6557032"/>
              <a:gd name="connsiteX29466" fmla="*/ 1109704 w 4610101"/>
              <a:gd name="connsiteY29466" fmla="*/ 758876 h 6557032"/>
              <a:gd name="connsiteX29467" fmla="*/ 1116993 w 4610101"/>
              <a:gd name="connsiteY29467" fmla="*/ 755231 h 6557032"/>
              <a:gd name="connsiteX29468" fmla="*/ 1111526 w 4610101"/>
              <a:gd name="connsiteY29468" fmla="*/ 751587 h 6557032"/>
              <a:gd name="connsiteX29469" fmla="*/ 1084194 w 4610101"/>
              <a:gd name="connsiteY29469" fmla="*/ 751587 h 6557032"/>
              <a:gd name="connsiteX29470" fmla="*/ 1073262 w 4610101"/>
              <a:gd name="connsiteY29470" fmla="*/ 757054 h 6557032"/>
              <a:gd name="connsiteX29471" fmla="*/ 1070983 w 4610101"/>
              <a:gd name="connsiteY29471" fmla="*/ 754777 h 6557032"/>
              <a:gd name="connsiteX29472" fmla="*/ 1071439 w 4610101"/>
              <a:gd name="connsiteY29472" fmla="*/ 753409 h 6557032"/>
              <a:gd name="connsiteX29473" fmla="*/ 1069616 w 4610101"/>
              <a:gd name="connsiteY29473" fmla="*/ 753409 h 6557032"/>
              <a:gd name="connsiteX29474" fmla="*/ 1070983 w 4610101"/>
              <a:gd name="connsiteY29474" fmla="*/ 754777 h 6557032"/>
              <a:gd name="connsiteX29475" fmla="*/ 1069616 w 4610101"/>
              <a:gd name="connsiteY29475" fmla="*/ 758876 h 6557032"/>
              <a:gd name="connsiteX29476" fmla="*/ 1071439 w 4610101"/>
              <a:gd name="connsiteY29476" fmla="*/ 758876 h 6557032"/>
              <a:gd name="connsiteX29477" fmla="*/ 1073262 w 4610101"/>
              <a:gd name="connsiteY29477" fmla="*/ 757054 h 6557032"/>
              <a:gd name="connsiteX29478" fmla="*/ 1075083 w 4610101"/>
              <a:gd name="connsiteY29478" fmla="*/ 757054 h 6557032"/>
              <a:gd name="connsiteX29479" fmla="*/ 1075083 w 4610101"/>
              <a:gd name="connsiteY29479" fmla="*/ 758876 h 6557032"/>
              <a:gd name="connsiteX29480" fmla="*/ 1076905 w 4610101"/>
              <a:gd name="connsiteY29480" fmla="*/ 757054 h 6557032"/>
              <a:gd name="connsiteX29481" fmla="*/ 1084194 w 4610101"/>
              <a:gd name="connsiteY29481" fmla="*/ 751587 h 6557032"/>
              <a:gd name="connsiteX29482" fmla="*/ 595852 w 4610101"/>
              <a:gd name="connsiteY29482" fmla="*/ 751587 h 6557032"/>
              <a:gd name="connsiteX29483" fmla="*/ 604963 w 4610101"/>
              <a:gd name="connsiteY29483" fmla="*/ 769809 h 6557032"/>
              <a:gd name="connsiteX29484" fmla="*/ 595852 w 4610101"/>
              <a:gd name="connsiteY29484" fmla="*/ 751587 h 6557032"/>
              <a:gd name="connsiteX29485" fmla="*/ 532075 w 4610101"/>
              <a:gd name="connsiteY29485" fmla="*/ 751587 h 6557032"/>
              <a:gd name="connsiteX29486" fmla="*/ 532531 w 4610101"/>
              <a:gd name="connsiteY29486" fmla="*/ 752195 h 6557032"/>
              <a:gd name="connsiteX29487" fmla="*/ 532103 w 4610101"/>
              <a:gd name="connsiteY29487" fmla="*/ 751787 h 6557032"/>
              <a:gd name="connsiteX29488" fmla="*/ 415456 w 4610101"/>
              <a:gd name="connsiteY29488" fmla="*/ 751587 h 6557032"/>
              <a:gd name="connsiteX29489" fmla="*/ 428211 w 4610101"/>
              <a:gd name="connsiteY29489" fmla="*/ 762520 h 6557032"/>
              <a:gd name="connsiteX29490" fmla="*/ 415456 w 4610101"/>
              <a:gd name="connsiteY29490" fmla="*/ 751587 h 6557032"/>
              <a:gd name="connsiteX29491" fmla="*/ 273327 w 4610101"/>
              <a:gd name="connsiteY29491" fmla="*/ 751587 h 6557032"/>
              <a:gd name="connsiteX29492" fmla="*/ 282438 w 4610101"/>
              <a:gd name="connsiteY29492" fmla="*/ 767987 h 6557032"/>
              <a:gd name="connsiteX29493" fmla="*/ 273327 w 4610101"/>
              <a:gd name="connsiteY29493" fmla="*/ 751587 h 6557032"/>
              <a:gd name="connsiteX29494" fmla="*/ 215017 w 4610101"/>
              <a:gd name="connsiteY29494" fmla="*/ 751587 h 6557032"/>
              <a:gd name="connsiteX29495" fmla="*/ 225950 w 4610101"/>
              <a:gd name="connsiteY29495" fmla="*/ 769809 h 6557032"/>
              <a:gd name="connsiteX29496" fmla="*/ 215017 w 4610101"/>
              <a:gd name="connsiteY29496" fmla="*/ 751587 h 6557032"/>
              <a:gd name="connsiteX29497" fmla="*/ 720153 w 4610101"/>
              <a:gd name="connsiteY29497" fmla="*/ 749864 h 6557032"/>
              <a:gd name="connsiteX29498" fmla="*/ 723211 w 4610101"/>
              <a:gd name="connsiteY29498" fmla="*/ 750628 h 6557032"/>
              <a:gd name="connsiteX29499" fmla="*/ 722492 w 4610101"/>
              <a:gd name="connsiteY29499" fmla="*/ 751587 h 6557032"/>
              <a:gd name="connsiteX29500" fmla="*/ 720172 w 4610101"/>
              <a:gd name="connsiteY29500" fmla="*/ 750040 h 6557032"/>
              <a:gd name="connsiteX29501" fmla="*/ 2605709 w 4610101"/>
              <a:gd name="connsiteY29501" fmla="*/ 749765 h 6557032"/>
              <a:gd name="connsiteX29502" fmla="*/ 2603887 w 4610101"/>
              <a:gd name="connsiteY29502" fmla="*/ 764342 h 6557032"/>
              <a:gd name="connsiteX29503" fmla="*/ 2614820 w 4610101"/>
              <a:gd name="connsiteY29503" fmla="*/ 771631 h 6557032"/>
              <a:gd name="connsiteX29504" fmla="*/ 2611176 w 4610101"/>
              <a:gd name="connsiteY29504" fmla="*/ 773453 h 6557032"/>
              <a:gd name="connsiteX29505" fmla="*/ 2607531 w 4610101"/>
              <a:gd name="connsiteY29505" fmla="*/ 766164 h 6557032"/>
              <a:gd name="connsiteX29506" fmla="*/ 2611176 w 4610101"/>
              <a:gd name="connsiteY29506" fmla="*/ 795319 h 6557032"/>
              <a:gd name="connsiteX29507" fmla="*/ 2611176 w 4610101"/>
              <a:gd name="connsiteY29507" fmla="*/ 800786 h 6557032"/>
              <a:gd name="connsiteX29508" fmla="*/ 2622109 w 4610101"/>
              <a:gd name="connsiteY29508" fmla="*/ 789853 h 6557032"/>
              <a:gd name="connsiteX29509" fmla="*/ 2614820 w 4610101"/>
              <a:gd name="connsiteY29509" fmla="*/ 804430 h 6557032"/>
              <a:gd name="connsiteX29510" fmla="*/ 2622109 w 4610101"/>
              <a:gd name="connsiteY29510" fmla="*/ 775275 h 6557032"/>
              <a:gd name="connsiteX29511" fmla="*/ 2627575 w 4610101"/>
              <a:gd name="connsiteY29511" fmla="*/ 773453 h 6557032"/>
              <a:gd name="connsiteX29512" fmla="*/ 2627575 w 4610101"/>
              <a:gd name="connsiteY29512" fmla="*/ 780742 h 6557032"/>
              <a:gd name="connsiteX29513" fmla="*/ 2638508 w 4610101"/>
              <a:gd name="connsiteY29513" fmla="*/ 769809 h 6557032"/>
              <a:gd name="connsiteX29514" fmla="*/ 2653086 w 4610101"/>
              <a:gd name="connsiteY29514" fmla="*/ 778920 h 6557032"/>
              <a:gd name="connsiteX29515" fmla="*/ 2645797 w 4610101"/>
              <a:gd name="connsiteY29515" fmla="*/ 760698 h 6557032"/>
              <a:gd name="connsiteX29516" fmla="*/ 2605709 w 4610101"/>
              <a:gd name="connsiteY29516" fmla="*/ 749765 h 6557032"/>
              <a:gd name="connsiteX29517" fmla="*/ 1441340 w 4610101"/>
              <a:gd name="connsiteY29517" fmla="*/ 749765 h 6557032"/>
              <a:gd name="connsiteX29518" fmla="*/ 1435873 w 4610101"/>
              <a:gd name="connsiteY29518" fmla="*/ 753409 h 6557032"/>
              <a:gd name="connsiteX29519" fmla="*/ 1441340 w 4610101"/>
              <a:gd name="connsiteY29519" fmla="*/ 749765 h 6557032"/>
              <a:gd name="connsiteX29520" fmla="*/ 1102416 w 4610101"/>
              <a:gd name="connsiteY29520" fmla="*/ 749765 h 6557032"/>
              <a:gd name="connsiteX29521" fmla="*/ 1098771 w 4610101"/>
              <a:gd name="connsiteY29521" fmla="*/ 753409 h 6557032"/>
              <a:gd name="connsiteX29522" fmla="*/ 1104238 w 4610101"/>
              <a:gd name="connsiteY29522" fmla="*/ 755231 h 6557032"/>
              <a:gd name="connsiteX29523" fmla="*/ 1102416 w 4610101"/>
              <a:gd name="connsiteY29523" fmla="*/ 749765 h 6557032"/>
              <a:gd name="connsiteX29524" fmla="*/ 1060506 w 4610101"/>
              <a:gd name="connsiteY29524" fmla="*/ 749765 h 6557032"/>
              <a:gd name="connsiteX29525" fmla="*/ 1049573 w 4610101"/>
              <a:gd name="connsiteY29525" fmla="*/ 762520 h 6557032"/>
              <a:gd name="connsiteX29526" fmla="*/ 1060506 w 4610101"/>
              <a:gd name="connsiteY29526" fmla="*/ 749765 h 6557032"/>
              <a:gd name="connsiteX29527" fmla="*/ 1020418 w 4610101"/>
              <a:gd name="connsiteY29527" fmla="*/ 749765 h 6557032"/>
              <a:gd name="connsiteX29528" fmla="*/ 1016166 w 4610101"/>
              <a:gd name="connsiteY29528" fmla="*/ 752353 h 6557032"/>
              <a:gd name="connsiteX29529" fmla="*/ 1011307 w 4610101"/>
              <a:gd name="connsiteY29529" fmla="*/ 753409 h 6557032"/>
              <a:gd name="connsiteX29530" fmla="*/ 1015179 w 4610101"/>
              <a:gd name="connsiteY29530" fmla="*/ 752954 h 6557032"/>
              <a:gd name="connsiteX29531" fmla="*/ 1016166 w 4610101"/>
              <a:gd name="connsiteY29531" fmla="*/ 752353 h 6557032"/>
              <a:gd name="connsiteX29532" fmla="*/ 1016546 w 4610101"/>
              <a:gd name="connsiteY29532" fmla="*/ 752270 h 6557032"/>
              <a:gd name="connsiteX29533" fmla="*/ 1020418 w 4610101"/>
              <a:gd name="connsiteY29533" fmla="*/ 749765 h 6557032"/>
              <a:gd name="connsiteX29534" fmla="*/ 998552 w 4610101"/>
              <a:gd name="connsiteY29534" fmla="*/ 749765 h 6557032"/>
              <a:gd name="connsiteX29535" fmla="*/ 993085 w 4610101"/>
              <a:gd name="connsiteY29535" fmla="*/ 755231 h 6557032"/>
              <a:gd name="connsiteX29536" fmla="*/ 1000374 w 4610101"/>
              <a:gd name="connsiteY29536" fmla="*/ 757054 h 6557032"/>
              <a:gd name="connsiteX29537" fmla="*/ 998552 w 4610101"/>
              <a:gd name="connsiteY29537" fmla="*/ 749765 h 6557032"/>
              <a:gd name="connsiteX29538" fmla="*/ 918376 w 4610101"/>
              <a:gd name="connsiteY29538" fmla="*/ 749765 h 6557032"/>
              <a:gd name="connsiteX29539" fmla="*/ 911087 w 4610101"/>
              <a:gd name="connsiteY29539" fmla="*/ 757054 h 6557032"/>
              <a:gd name="connsiteX29540" fmla="*/ 918376 w 4610101"/>
              <a:gd name="connsiteY29540" fmla="*/ 749765 h 6557032"/>
              <a:gd name="connsiteX29541" fmla="*/ 825445 w 4610101"/>
              <a:gd name="connsiteY29541" fmla="*/ 749765 h 6557032"/>
              <a:gd name="connsiteX29542" fmla="*/ 819979 w 4610101"/>
              <a:gd name="connsiteY29542" fmla="*/ 755231 h 6557032"/>
              <a:gd name="connsiteX29543" fmla="*/ 825445 w 4610101"/>
              <a:gd name="connsiteY29543" fmla="*/ 749765 h 6557032"/>
              <a:gd name="connsiteX29544" fmla="*/ 734336 w 4610101"/>
              <a:gd name="connsiteY29544" fmla="*/ 749765 h 6557032"/>
              <a:gd name="connsiteX29545" fmla="*/ 734983 w 4610101"/>
              <a:gd name="connsiteY29545" fmla="*/ 749883 h 6557032"/>
              <a:gd name="connsiteX29546" fmla="*/ 735065 w 4610101"/>
              <a:gd name="connsiteY29546" fmla="*/ 750130 h 6557032"/>
              <a:gd name="connsiteX29547" fmla="*/ 309771 w 4610101"/>
              <a:gd name="connsiteY29547" fmla="*/ 749765 h 6557032"/>
              <a:gd name="connsiteX29548" fmla="*/ 329814 w 4610101"/>
              <a:gd name="connsiteY29548" fmla="*/ 760698 h 6557032"/>
              <a:gd name="connsiteX29549" fmla="*/ 326169 w 4610101"/>
              <a:gd name="connsiteY29549" fmla="*/ 751587 h 6557032"/>
              <a:gd name="connsiteX29550" fmla="*/ 309771 w 4610101"/>
              <a:gd name="connsiteY29550" fmla="*/ 749765 h 6557032"/>
              <a:gd name="connsiteX29551" fmla="*/ 298837 w 4610101"/>
              <a:gd name="connsiteY29551" fmla="*/ 749765 h 6557032"/>
              <a:gd name="connsiteX29552" fmla="*/ 309771 w 4610101"/>
              <a:gd name="connsiteY29552" fmla="*/ 757054 h 6557032"/>
              <a:gd name="connsiteX29553" fmla="*/ 298837 w 4610101"/>
              <a:gd name="connsiteY29553" fmla="*/ 749765 h 6557032"/>
              <a:gd name="connsiteX29554" fmla="*/ 153063 w 4610101"/>
              <a:gd name="connsiteY29554" fmla="*/ 749765 h 6557032"/>
              <a:gd name="connsiteX29555" fmla="*/ 176751 w 4610101"/>
              <a:gd name="connsiteY29555" fmla="*/ 773453 h 6557032"/>
              <a:gd name="connsiteX29556" fmla="*/ 180396 w 4610101"/>
              <a:gd name="connsiteY29556" fmla="*/ 777098 h 6557032"/>
              <a:gd name="connsiteX29557" fmla="*/ 184040 w 4610101"/>
              <a:gd name="connsiteY29557" fmla="*/ 780742 h 6557032"/>
              <a:gd name="connsiteX29558" fmla="*/ 180396 w 4610101"/>
              <a:gd name="connsiteY29558" fmla="*/ 777098 h 6557032"/>
              <a:gd name="connsiteX29559" fmla="*/ 176751 w 4610101"/>
              <a:gd name="connsiteY29559" fmla="*/ 771631 h 6557032"/>
              <a:gd name="connsiteX29560" fmla="*/ 170374 w 4610101"/>
              <a:gd name="connsiteY29560" fmla="*/ 766530 h 6557032"/>
              <a:gd name="connsiteX29561" fmla="*/ 173107 w 4610101"/>
              <a:gd name="connsiteY29561" fmla="*/ 767987 h 6557032"/>
              <a:gd name="connsiteX29562" fmla="*/ 153063 w 4610101"/>
              <a:gd name="connsiteY29562" fmla="*/ 749765 h 6557032"/>
              <a:gd name="connsiteX29563" fmla="*/ 653819 w 4610101"/>
              <a:gd name="connsiteY29563" fmla="*/ 749538 h 6557032"/>
              <a:gd name="connsiteX29564" fmla="*/ 643228 w 4610101"/>
              <a:gd name="connsiteY29564" fmla="*/ 750221 h 6557032"/>
              <a:gd name="connsiteX29565" fmla="*/ 632296 w 4610101"/>
              <a:gd name="connsiteY29565" fmla="*/ 767987 h 6557032"/>
              <a:gd name="connsiteX29566" fmla="*/ 637761 w 4610101"/>
              <a:gd name="connsiteY29566" fmla="*/ 771631 h 6557032"/>
              <a:gd name="connsiteX29567" fmla="*/ 639583 w 4610101"/>
              <a:gd name="connsiteY29567" fmla="*/ 769809 h 6557032"/>
              <a:gd name="connsiteX29568" fmla="*/ 648694 w 4610101"/>
              <a:gd name="connsiteY29568" fmla="*/ 780742 h 6557032"/>
              <a:gd name="connsiteX29569" fmla="*/ 650516 w 4610101"/>
              <a:gd name="connsiteY29569" fmla="*/ 777098 h 6557032"/>
              <a:gd name="connsiteX29570" fmla="*/ 659627 w 4610101"/>
              <a:gd name="connsiteY29570" fmla="*/ 789853 h 6557032"/>
              <a:gd name="connsiteX29571" fmla="*/ 665094 w 4610101"/>
              <a:gd name="connsiteY29571" fmla="*/ 788031 h 6557032"/>
              <a:gd name="connsiteX29572" fmla="*/ 661449 w 4610101"/>
              <a:gd name="connsiteY29572" fmla="*/ 780742 h 6557032"/>
              <a:gd name="connsiteX29573" fmla="*/ 668738 w 4610101"/>
              <a:gd name="connsiteY29573" fmla="*/ 777098 h 6557032"/>
              <a:gd name="connsiteX29574" fmla="*/ 668738 w 4610101"/>
              <a:gd name="connsiteY29574" fmla="*/ 786208 h 6557032"/>
              <a:gd name="connsiteX29575" fmla="*/ 670560 w 4610101"/>
              <a:gd name="connsiteY29575" fmla="*/ 784386 h 6557032"/>
              <a:gd name="connsiteX29576" fmla="*/ 670560 w 4610101"/>
              <a:gd name="connsiteY29576" fmla="*/ 791675 h 6557032"/>
              <a:gd name="connsiteX29577" fmla="*/ 677849 w 4610101"/>
              <a:gd name="connsiteY29577" fmla="*/ 788031 h 6557032"/>
              <a:gd name="connsiteX29578" fmla="*/ 674205 w 4610101"/>
              <a:gd name="connsiteY29578" fmla="*/ 766164 h 6557032"/>
              <a:gd name="connsiteX29579" fmla="*/ 672383 w 4610101"/>
              <a:gd name="connsiteY29579" fmla="*/ 773453 h 6557032"/>
              <a:gd name="connsiteX29580" fmla="*/ 665094 w 4610101"/>
              <a:gd name="connsiteY29580" fmla="*/ 758876 h 6557032"/>
              <a:gd name="connsiteX29581" fmla="*/ 650516 w 4610101"/>
              <a:gd name="connsiteY29581" fmla="*/ 753409 h 6557032"/>
              <a:gd name="connsiteX29582" fmla="*/ 665094 w 4610101"/>
              <a:gd name="connsiteY29582" fmla="*/ 757054 h 6557032"/>
              <a:gd name="connsiteX29583" fmla="*/ 653819 w 4610101"/>
              <a:gd name="connsiteY29583" fmla="*/ 749538 h 6557032"/>
              <a:gd name="connsiteX29584" fmla="*/ 3340045 w 4610101"/>
              <a:gd name="connsiteY29584" fmla="*/ 747943 h 6557032"/>
              <a:gd name="connsiteX29585" fmla="*/ 3334579 w 4610101"/>
              <a:gd name="connsiteY29585" fmla="*/ 753409 h 6557032"/>
              <a:gd name="connsiteX29586" fmla="*/ 3340045 w 4610101"/>
              <a:gd name="connsiteY29586" fmla="*/ 749765 h 6557032"/>
              <a:gd name="connsiteX29587" fmla="*/ 3340045 w 4610101"/>
              <a:gd name="connsiteY29587" fmla="*/ 747943 h 6557032"/>
              <a:gd name="connsiteX29588" fmla="*/ 2755127 w 4610101"/>
              <a:gd name="connsiteY29588" fmla="*/ 747943 h 6557032"/>
              <a:gd name="connsiteX29589" fmla="*/ 2749661 w 4610101"/>
              <a:gd name="connsiteY29589" fmla="*/ 755231 h 6557032"/>
              <a:gd name="connsiteX29590" fmla="*/ 2755127 w 4610101"/>
              <a:gd name="connsiteY29590" fmla="*/ 747943 h 6557032"/>
              <a:gd name="connsiteX29591" fmla="*/ 1403074 w 4610101"/>
              <a:gd name="connsiteY29591" fmla="*/ 747943 h 6557032"/>
              <a:gd name="connsiteX29592" fmla="*/ 1403074 w 4610101"/>
              <a:gd name="connsiteY29592" fmla="*/ 760698 h 6557032"/>
              <a:gd name="connsiteX29593" fmla="*/ 1397608 w 4610101"/>
              <a:gd name="connsiteY29593" fmla="*/ 767987 h 6557032"/>
              <a:gd name="connsiteX29594" fmla="*/ 1406719 w 4610101"/>
              <a:gd name="connsiteY29594" fmla="*/ 764342 h 6557032"/>
              <a:gd name="connsiteX29595" fmla="*/ 1404896 w 4610101"/>
              <a:gd name="connsiteY29595" fmla="*/ 758876 h 6557032"/>
              <a:gd name="connsiteX29596" fmla="*/ 1408541 w 4610101"/>
              <a:gd name="connsiteY29596" fmla="*/ 764342 h 6557032"/>
              <a:gd name="connsiteX29597" fmla="*/ 1417652 w 4610101"/>
              <a:gd name="connsiteY29597" fmla="*/ 757054 h 6557032"/>
              <a:gd name="connsiteX29598" fmla="*/ 1408541 w 4610101"/>
              <a:gd name="connsiteY29598" fmla="*/ 755231 h 6557032"/>
              <a:gd name="connsiteX29599" fmla="*/ 1403074 w 4610101"/>
              <a:gd name="connsiteY29599" fmla="*/ 747943 h 6557032"/>
              <a:gd name="connsiteX29600" fmla="*/ 1297388 w 4610101"/>
              <a:gd name="connsiteY29600" fmla="*/ 747943 h 6557032"/>
              <a:gd name="connsiteX29601" fmla="*/ 1255478 w 4610101"/>
              <a:gd name="connsiteY29601" fmla="*/ 753409 h 6557032"/>
              <a:gd name="connsiteX29602" fmla="*/ 1250012 w 4610101"/>
              <a:gd name="connsiteY29602" fmla="*/ 757054 h 6557032"/>
              <a:gd name="connsiteX29603" fmla="*/ 1231790 w 4610101"/>
              <a:gd name="connsiteY29603" fmla="*/ 764342 h 6557032"/>
              <a:gd name="connsiteX29604" fmla="*/ 1250012 w 4610101"/>
              <a:gd name="connsiteY29604" fmla="*/ 769809 h 6557032"/>
              <a:gd name="connsiteX29605" fmla="*/ 1251834 w 4610101"/>
              <a:gd name="connsiteY29605" fmla="*/ 766164 h 6557032"/>
              <a:gd name="connsiteX29606" fmla="*/ 1253656 w 4610101"/>
              <a:gd name="connsiteY29606" fmla="*/ 769809 h 6557032"/>
              <a:gd name="connsiteX29607" fmla="*/ 1260945 w 4610101"/>
              <a:gd name="connsiteY29607" fmla="*/ 762520 h 6557032"/>
              <a:gd name="connsiteX29608" fmla="*/ 1262767 w 4610101"/>
              <a:gd name="connsiteY29608" fmla="*/ 764342 h 6557032"/>
              <a:gd name="connsiteX29609" fmla="*/ 1297388 w 4610101"/>
              <a:gd name="connsiteY29609" fmla="*/ 747943 h 6557032"/>
              <a:gd name="connsiteX29610" fmla="*/ 1147970 w 4610101"/>
              <a:gd name="connsiteY29610" fmla="*/ 747943 h 6557032"/>
              <a:gd name="connsiteX29611" fmla="*/ 1146148 w 4610101"/>
              <a:gd name="connsiteY29611" fmla="*/ 751587 h 6557032"/>
              <a:gd name="connsiteX29612" fmla="*/ 1149792 w 4610101"/>
              <a:gd name="connsiteY29612" fmla="*/ 749765 h 6557032"/>
              <a:gd name="connsiteX29613" fmla="*/ 1147970 w 4610101"/>
              <a:gd name="connsiteY29613" fmla="*/ 747943 h 6557032"/>
              <a:gd name="connsiteX29614" fmla="*/ 1087838 w 4610101"/>
              <a:gd name="connsiteY29614" fmla="*/ 747943 h 6557032"/>
              <a:gd name="connsiteX29615" fmla="*/ 1078727 w 4610101"/>
              <a:gd name="connsiteY29615" fmla="*/ 749765 h 6557032"/>
              <a:gd name="connsiteX29616" fmla="*/ 1087838 w 4610101"/>
              <a:gd name="connsiteY29616" fmla="*/ 747943 h 6557032"/>
              <a:gd name="connsiteX29617" fmla="*/ 827267 w 4610101"/>
              <a:gd name="connsiteY29617" fmla="*/ 747943 h 6557032"/>
              <a:gd name="connsiteX29618" fmla="*/ 821801 w 4610101"/>
              <a:gd name="connsiteY29618" fmla="*/ 758876 h 6557032"/>
              <a:gd name="connsiteX29619" fmla="*/ 832734 w 4610101"/>
              <a:gd name="connsiteY29619" fmla="*/ 760698 h 6557032"/>
              <a:gd name="connsiteX29620" fmla="*/ 823623 w 4610101"/>
              <a:gd name="connsiteY29620" fmla="*/ 762520 h 6557032"/>
              <a:gd name="connsiteX29621" fmla="*/ 823623 w 4610101"/>
              <a:gd name="connsiteY29621" fmla="*/ 769809 h 6557032"/>
              <a:gd name="connsiteX29622" fmla="*/ 829089 w 4610101"/>
              <a:gd name="connsiteY29622" fmla="*/ 766164 h 6557032"/>
              <a:gd name="connsiteX29623" fmla="*/ 825445 w 4610101"/>
              <a:gd name="connsiteY29623" fmla="*/ 769809 h 6557032"/>
              <a:gd name="connsiteX29624" fmla="*/ 836378 w 4610101"/>
              <a:gd name="connsiteY29624" fmla="*/ 777098 h 6557032"/>
              <a:gd name="connsiteX29625" fmla="*/ 834556 w 4610101"/>
              <a:gd name="connsiteY29625" fmla="*/ 766164 h 6557032"/>
              <a:gd name="connsiteX29626" fmla="*/ 840022 w 4610101"/>
              <a:gd name="connsiteY29626" fmla="*/ 766164 h 6557032"/>
              <a:gd name="connsiteX29627" fmla="*/ 847311 w 4610101"/>
              <a:gd name="connsiteY29627" fmla="*/ 778920 h 6557032"/>
              <a:gd name="connsiteX29628" fmla="*/ 841845 w 4610101"/>
              <a:gd name="connsiteY29628" fmla="*/ 773453 h 6557032"/>
              <a:gd name="connsiteX29629" fmla="*/ 852778 w 4610101"/>
              <a:gd name="connsiteY29629" fmla="*/ 778920 h 6557032"/>
              <a:gd name="connsiteX29630" fmla="*/ 840022 w 4610101"/>
              <a:gd name="connsiteY29630" fmla="*/ 766164 h 6557032"/>
              <a:gd name="connsiteX29631" fmla="*/ 827267 w 4610101"/>
              <a:gd name="connsiteY29631" fmla="*/ 747943 h 6557032"/>
              <a:gd name="connsiteX29632" fmla="*/ 803579 w 4610101"/>
              <a:gd name="connsiteY29632" fmla="*/ 747943 h 6557032"/>
              <a:gd name="connsiteX29633" fmla="*/ 807223 w 4610101"/>
              <a:gd name="connsiteY29633" fmla="*/ 753409 h 6557032"/>
              <a:gd name="connsiteX29634" fmla="*/ 816334 w 4610101"/>
              <a:gd name="connsiteY29634" fmla="*/ 747943 h 6557032"/>
              <a:gd name="connsiteX29635" fmla="*/ 803579 w 4610101"/>
              <a:gd name="connsiteY29635" fmla="*/ 747943 h 6557032"/>
              <a:gd name="connsiteX29636" fmla="*/ 759848 w 4610101"/>
              <a:gd name="connsiteY29636" fmla="*/ 747943 h 6557032"/>
              <a:gd name="connsiteX29637" fmla="*/ 770781 w 4610101"/>
              <a:gd name="connsiteY29637" fmla="*/ 755231 h 6557032"/>
              <a:gd name="connsiteX29638" fmla="*/ 759848 w 4610101"/>
              <a:gd name="connsiteY29638" fmla="*/ 747943 h 6557032"/>
              <a:gd name="connsiteX29639" fmla="*/ 734336 w 4610101"/>
              <a:gd name="connsiteY29639" fmla="*/ 747943 h 6557032"/>
              <a:gd name="connsiteX29640" fmla="*/ 730692 w 4610101"/>
              <a:gd name="connsiteY29640" fmla="*/ 749765 h 6557032"/>
              <a:gd name="connsiteX29641" fmla="*/ 732515 w 4610101"/>
              <a:gd name="connsiteY29641" fmla="*/ 751587 h 6557032"/>
              <a:gd name="connsiteX29642" fmla="*/ 730692 w 4610101"/>
              <a:gd name="connsiteY29642" fmla="*/ 751587 h 6557032"/>
              <a:gd name="connsiteX29643" fmla="*/ 743447 w 4610101"/>
              <a:gd name="connsiteY29643" fmla="*/ 764342 h 6557032"/>
              <a:gd name="connsiteX29644" fmla="*/ 739803 w 4610101"/>
              <a:gd name="connsiteY29644" fmla="*/ 758876 h 6557032"/>
              <a:gd name="connsiteX29645" fmla="*/ 745269 w 4610101"/>
              <a:gd name="connsiteY29645" fmla="*/ 762520 h 6557032"/>
              <a:gd name="connsiteX29646" fmla="*/ 736159 w 4610101"/>
              <a:gd name="connsiteY29646" fmla="*/ 753409 h 6557032"/>
              <a:gd name="connsiteX29647" fmla="*/ 735065 w 4610101"/>
              <a:gd name="connsiteY29647" fmla="*/ 750130 h 6557032"/>
              <a:gd name="connsiteX29648" fmla="*/ 745269 w 4610101"/>
              <a:gd name="connsiteY29648" fmla="*/ 755231 h 6557032"/>
              <a:gd name="connsiteX29649" fmla="*/ 741852 w 4610101"/>
              <a:gd name="connsiteY29649" fmla="*/ 751132 h 6557032"/>
              <a:gd name="connsiteX29650" fmla="*/ 734983 w 4610101"/>
              <a:gd name="connsiteY29650" fmla="*/ 749883 h 6557032"/>
              <a:gd name="connsiteX29651" fmla="*/ 349858 w 4610101"/>
              <a:gd name="connsiteY29651" fmla="*/ 747943 h 6557032"/>
              <a:gd name="connsiteX29652" fmla="*/ 364435 w 4610101"/>
              <a:gd name="connsiteY29652" fmla="*/ 755231 h 6557032"/>
              <a:gd name="connsiteX29653" fmla="*/ 349858 w 4610101"/>
              <a:gd name="connsiteY29653" fmla="*/ 747943 h 6557032"/>
              <a:gd name="connsiteX29654" fmla="*/ 273327 w 4610101"/>
              <a:gd name="connsiteY29654" fmla="*/ 747943 h 6557032"/>
              <a:gd name="connsiteX29655" fmla="*/ 302481 w 4610101"/>
              <a:gd name="connsiteY29655" fmla="*/ 778920 h 6557032"/>
              <a:gd name="connsiteX29656" fmla="*/ 293370 w 4610101"/>
              <a:gd name="connsiteY29656" fmla="*/ 769809 h 6557032"/>
              <a:gd name="connsiteX29657" fmla="*/ 300660 w 4610101"/>
              <a:gd name="connsiteY29657" fmla="*/ 773453 h 6557032"/>
              <a:gd name="connsiteX29658" fmla="*/ 273327 w 4610101"/>
              <a:gd name="connsiteY29658" fmla="*/ 747943 h 6557032"/>
              <a:gd name="connsiteX29659" fmla="*/ 1395787 w 4610101"/>
              <a:gd name="connsiteY29659" fmla="*/ 746121 h 6557032"/>
              <a:gd name="connsiteX29660" fmla="*/ 1392141 w 4610101"/>
              <a:gd name="connsiteY29660" fmla="*/ 749083 h 6557032"/>
              <a:gd name="connsiteX29661" fmla="*/ 1392141 w 4610101"/>
              <a:gd name="connsiteY29661" fmla="*/ 747943 h 6557032"/>
              <a:gd name="connsiteX29662" fmla="*/ 1391392 w 4610101"/>
              <a:gd name="connsiteY29662" fmla="*/ 749691 h 6557032"/>
              <a:gd name="connsiteX29663" fmla="*/ 1388497 w 4610101"/>
              <a:gd name="connsiteY29663" fmla="*/ 752043 h 6557032"/>
              <a:gd name="connsiteX29664" fmla="*/ 1386676 w 4610101"/>
              <a:gd name="connsiteY29664" fmla="*/ 760698 h 6557032"/>
              <a:gd name="connsiteX29665" fmla="*/ 1391392 w 4610101"/>
              <a:gd name="connsiteY29665" fmla="*/ 749691 h 6557032"/>
              <a:gd name="connsiteX29666" fmla="*/ 1392141 w 4610101"/>
              <a:gd name="connsiteY29666" fmla="*/ 749083 h 6557032"/>
              <a:gd name="connsiteX29667" fmla="*/ 1392141 w 4610101"/>
              <a:gd name="connsiteY29667" fmla="*/ 751815 h 6557032"/>
              <a:gd name="connsiteX29668" fmla="*/ 1392141 w 4610101"/>
              <a:gd name="connsiteY29668" fmla="*/ 757054 h 6557032"/>
              <a:gd name="connsiteX29669" fmla="*/ 1384854 w 4610101"/>
              <a:gd name="connsiteY29669" fmla="*/ 773453 h 6557032"/>
              <a:gd name="connsiteX29670" fmla="*/ 1390319 w 4610101"/>
              <a:gd name="connsiteY29670" fmla="*/ 771631 h 6557032"/>
              <a:gd name="connsiteX29671" fmla="*/ 1395787 w 4610101"/>
              <a:gd name="connsiteY29671" fmla="*/ 746121 h 6557032"/>
              <a:gd name="connsiteX29672" fmla="*/ 1380297 w 4610101"/>
              <a:gd name="connsiteY29672" fmla="*/ 746121 h 6557032"/>
              <a:gd name="connsiteX29673" fmla="*/ 1372097 w 4610101"/>
              <a:gd name="connsiteY29673" fmla="*/ 749765 h 6557032"/>
              <a:gd name="connsiteX29674" fmla="*/ 1379386 w 4610101"/>
              <a:gd name="connsiteY29674" fmla="*/ 753409 h 6557032"/>
              <a:gd name="connsiteX29675" fmla="*/ 1368453 w 4610101"/>
              <a:gd name="connsiteY29675" fmla="*/ 753409 h 6557032"/>
              <a:gd name="connsiteX29676" fmla="*/ 1364809 w 4610101"/>
              <a:gd name="connsiteY29676" fmla="*/ 760698 h 6557032"/>
              <a:gd name="connsiteX29677" fmla="*/ 1359342 w 4610101"/>
              <a:gd name="connsiteY29677" fmla="*/ 769809 h 6557032"/>
              <a:gd name="connsiteX29678" fmla="*/ 1362987 w 4610101"/>
              <a:gd name="connsiteY29678" fmla="*/ 766164 h 6557032"/>
              <a:gd name="connsiteX29679" fmla="*/ 1357521 w 4610101"/>
              <a:gd name="connsiteY29679" fmla="*/ 773453 h 6557032"/>
              <a:gd name="connsiteX29680" fmla="*/ 1362987 w 4610101"/>
              <a:gd name="connsiteY29680" fmla="*/ 771631 h 6557032"/>
              <a:gd name="connsiteX29681" fmla="*/ 1359342 w 4610101"/>
              <a:gd name="connsiteY29681" fmla="*/ 775275 h 6557032"/>
              <a:gd name="connsiteX29682" fmla="*/ 1364809 w 4610101"/>
              <a:gd name="connsiteY29682" fmla="*/ 773453 h 6557032"/>
              <a:gd name="connsiteX29683" fmla="*/ 1364809 w 4610101"/>
              <a:gd name="connsiteY29683" fmla="*/ 769809 h 6557032"/>
              <a:gd name="connsiteX29684" fmla="*/ 1383030 w 4610101"/>
              <a:gd name="connsiteY29684" fmla="*/ 760698 h 6557032"/>
              <a:gd name="connsiteX29685" fmla="*/ 1384854 w 4610101"/>
              <a:gd name="connsiteY29685" fmla="*/ 762520 h 6557032"/>
              <a:gd name="connsiteX29686" fmla="*/ 1388497 w 4610101"/>
              <a:gd name="connsiteY29686" fmla="*/ 747943 h 6557032"/>
              <a:gd name="connsiteX29687" fmla="*/ 1380297 w 4610101"/>
              <a:gd name="connsiteY29687" fmla="*/ 746121 h 6557032"/>
              <a:gd name="connsiteX29688" fmla="*/ 1337476 w 4610101"/>
              <a:gd name="connsiteY29688" fmla="*/ 746121 h 6557032"/>
              <a:gd name="connsiteX29689" fmla="*/ 1327200 w 4610101"/>
              <a:gd name="connsiteY29689" fmla="*/ 752020 h 6557032"/>
              <a:gd name="connsiteX29690" fmla="*/ 1328365 w 4610101"/>
              <a:gd name="connsiteY29690" fmla="*/ 747943 h 6557032"/>
              <a:gd name="connsiteX29691" fmla="*/ 1311966 w 4610101"/>
              <a:gd name="connsiteY29691" fmla="*/ 751587 h 6557032"/>
              <a:gd name="connsiteX29692" fmla="*/ 1309959 w 4610101"/>
              <a:gd name="connsiteY29692" fmla="*/ 753483 h 6557032"/>
              <a:gd name="connsiteX29693" fmla="*/ 1295339 w 4610101"/>
              <a:gd name="connsiteY29693" fmla="*/ 759332 h 6557032"/>
              <a:gd name="connsiteX29694" fmla="*/ 1284633 w 4610101"/>
              <a:gd name="connsiteY29694" fmla="*/ 767987 h 6557032"/>
              <a:gd name="connsiteX29695" fmla="*/ 1309874 w 4610101"/>
              <a:gd name="connsiteY29695" fmla="*/ 753563 h 6557032"/>
              <a:gd name="connsiteX29696" fmla="*/ 1299666 w 4610101"/>
              <a:gd name="connsiteY29696" fmla="*/ 763203 h 6557032"/>
              <a:gd name="connsiteX29697" fmla="*/ 1284633 w 4610101"/>
              <a:gd name="connsiteY29697" fmla="*/ 773453 h 6557032"/>
              <a:gd name="connsiteX29698" fmla="*/ 1295566 w 4610101"/>
              <a:gd name="connsiteY29698" fmla="*/ 771631 h 6557032"/>
              <a:gd name="connsiteX29699" fmla="*/ 1293744 w 4610101"/>
              <a:gd name="connsiteY29699" fmla="*/ 773453 h 6557032"/>
              <a:gd name="connsiteX29700" fmla="*/ 1306499 w 4610101"/>
              <a:gd name="connsiteY29700" fmla="*/ 773453 h 6557032"/>
              <a:gd name="connsiteX29701" fmla="*/ 1321077 w 4610101"/>
              <a:gd name="connsiteY29701" fmla="*/ 773453 h 6557032"/>
              <a:gd name="connsiteX29702" fmla="*/ 1322362 w 4610101"/>
              <a:gd name="connsiteY29702" fmla="*/ 768952 h 6557032"/>
              <a:gd name="connsiteX29703" fmla="*/ 1326543 w 4610101"/>
              <a:gd name="connsiteY29703" fmla="*/ 766164 h 6557032"/>
              <a:gd name="connsiteX29704" fmla="*/ 1326543 w 4610101"/>
              <a:gd name="connsiteY29704" fmla="*/ 767987 h 6557032"/>
              <a:gd name="connsiteX29705" fmla="*/ 1332009 w 4610101"/>
              <a:gd name="connsiteY29705" fmla="*/ 766164 h 6557032"/>
              <a:gd name="connsiteX29706" fmla="*/ 1330188 w 4610101"/>
              <a:gd name="connsiteY29706" fmla="*/ 764342 h 6557032"/>
              <a:gd name="connsiteX29707" fmla="*/ 1339299 w 4610101"/>
              <a:gd name="connsiteY29707" fmla="*/ 753409 h 6557032"/>
              <a:gd name="connsiteX29708" fmla="*/ 1335654 w 4610101"/>
              <a:gd name="connsiteY29708" fmla="*/ 766164 h 6557032"/>
              <a:gd name="connsiteX29709" fmla="*/ 1341207 w 4610101"/>
              <a:gd name="connsiteY29709" fmla="*/ 765570 h 6557032"/>
              <a:gd name="connsiteX29710" fmla="*/ 1337476 w 4610101"/>
              <a:gd name="connsiteY29710" fmla="*/ 769809 h 6557032"/>
              <a:gd name="connsiteX29711" fmla="*/ 1350231 w 4610101"/>
              <a:gd name="connsiteY29711" fmla="*/ 762520 h 6557032"/>
              <a:gd name="connsiteX29712" fmla="*/ 1344372 w 4610101"/>
              <a:gd name="connsiteY29712" fmla="*/ 763727 h 6557032"/>
              <a:gd name="connsiteX29713" fmla="*/ 1348410 w 4610101"/>
              <a:gd name="connsiteY29713" fmla="*/ 760698 h 6557032"/>
              <a:gd name="connsiteX29714" fmla="*/ 1346587 w 4610101"/>
              <a:gd name="connsiteY29714" fmla="*/ 751587 h 6557032"/>
              <a:gd name="connsiteX29715" fmla="*/ 1341120 w 4610101"/>
              <a:gd name="connsiteY29715" fmla="*/ 747943 h 6557032"/>
              <a:gd name="connsiteX29716" fmla="*/ 1339299 w 4610101"/>
              <a:gd name="connsiteY29716" fmla="*/ 749765 h 6557032"/>
              <a:gd name="connsiteX29717" fmla="*/ 1337476 w 4610101"/>
              <a:gd name="connsiteY29717" fmla="*/ 746121 h 6557032"/>
              <a:gd name="connsiteX29718" fmla="*/ 1308321 w 4610101"/>
              <a:gd name="connsiteY29718" fmla="*/ 746121 h 6557032"/>
              <a:gd name="connsiteX29719" fmla="*/ 1290100 w 4610101"/>
              <a:gd name="connsiteY29719" fmla="*/ 757054 h 6557032"/>
              <a:gd name="connsiteX29720" fmla="*/ 1308321 w 4610101"/>
              <a:gd name="connsiteY29720" fmla="*/ 746121 h 6557032"/>
              <a:gd name="connsiteX29721" fmla="*/ 719759 w 4610101"/>
              <a:gd name="connsiteY29721" fmla="*/ 746121 h 6557032"/>
              <a:gd name="connsiteX29722" fmla="*/ 720153 w 4610101"/>
              <a:gd name="connsiteY29722" fmla="*/ 749864 h 6557032"/>
              <a:gd name="connsiteX29723" fmla="*/ 719759 w 4610101"/>
              <a:gd name="connsiteY29723" fmla="*/ 749765 h 6557032"/>
              <a:gd name="connsiteX29724" fmla="*/ 720172 w 4610101"/>
              <a:gd name="connsiteY29724" fmla="*/ 750040 h 6557032"/>
              <a:gd name="connsiteX29725" fmla="*/ 720214 w 4610101"/>
              <a:gd name="connsiteY29725" fmla="*/ 750449 h 6557032"/>
              <a:gd name="connsiteX29726" fmla="*/ 723404 w 4610101"/>
              <a:gd name="connsiteY29726" fmla="*/ 753409 h 6557032"/>
              <a:gd name="connsiteX29727" fmla="*/ 727048 w 4610101"/>
              <a:gd name="connsiteY29727" fmla="*/ 751587 h 6557032"/>
              <a:gd name="connsiteX29728" fmla="*/ 723211 w 4610101"/>
              <a:gd name="connsiteY29728" fmla="*/ 750628 h 6557032"/>
              <a:gd name="connsiteX29729" fmla="*/ 725226 w 4610101"/>
              <a:gd name="connsiteY29729" fmla="*/ 747943 h 6557032"/>
              <a:gd name="connsiteX29730" fmla="*/ 719759 w 4610101"/>
              <a:gd name="connsiteY29730" fmla="*/ 746121 h 6557032"/>
              <a:gd name="connsiteX29731" fmla="*/ 692426 w 4610101"/>
              <a:gd name="connsiteY29731" fmla="*/ 746121 h 6557032"/>
              <a:gd name="connsiteX29732" fmla="*/ 692914 w 4610101"/>
              <a:gd name="connsiteY29732" fmla="*/ 746300 h 6557032"/>
              <a:gd name="connsiteX29733" fmla="*/ 692367 w 4610101"/>
              <a:gd name="connsiteY29733" fmla="*/ 747121 h 6557032"/>
              <a:gd name="connsiteX29734" fmla="*/ 606784 w 4610101"/>
              <a:gd name="connsiteY29734" fmla="*/ 746121 h 6557032"/>
              <a:gd name="connsiteX29735" fmla="*/ 601318 w 4610101"/>
              <a:gd name="connsiteY29735" fmla="*/ 747943 h 6557032"/>
              <a:gd name="connsiteX29736" fmla="*/ 608606 w 4610101"/>
              <a:gd name="connsiteY29736" fmla="*/ 755231 h 6557032"/>
              <a:gd name="connsiteX29737" fmla="*/ 606784 w 4610101"/>
              <a:gd name="connsiteY29737" fmla="*/ 746121 h 6557032"/>
              <a:gd name="connsiteX29738" fmla="*/ 530253 w 4610101"/>
              <a:gd name="connsiteY29738" fmla="*/ 746121 h 6557032"/>
              <a:gd name="connsiteX29739" fmla="*/ 530937 w 4610101"/>
              <a:gd name="connsiteY29739" fmla="*/ 750676 h 6557032"/>
              <a:gd name="connsiteX29740" fmla="*/ 532103 w 4610101"/>
              <a:gd name="connsiteY29740" fmla="*/ 751787 h 6557032"/>
              <a:gd name="connsiteX29741" fmla="*/ 532758 w 4610101"/>
              <a:gd name="connsiteY29741" fmla="*/ 756598 h 6557032"/>
              <a:gd name="connsiteX29742" fmla="*/ 537542 w 4610101"/>
              <a:gd name="connsiteY29742" fmla="*/ 758876 h 6557032"/>
              <a:gd name="connsiteX29743" fmla="*/ 532531 w 4610101"/>
              <a:gd name="connsiteY29743" fmla="*/ 752195 h 6557032"/>
              <a:gd name="connsiteX29744" fmla="*/ 535719 w 4610101"/>
              <a:gd name="connsiteY29744" fmla="*/ 755231 h 6557032"/>
              <a:gd name="connsiteX29745" fmla="*/ 530253 w 4610101"/>
              <a:gd name="connsiteY29745" fmla="*/ 746121 h 6557032"/>
              <a:gd name="connsiteX29746" fmla="*/ 515676 w 4610101"/>
              <a:gd name="connsiteY29746" fmla="*/ 746121 h 6557032"/>
              <a:gd name="connsiteX29747" fmla="*/ 519320 w 4610101"/>
              <a:gd name="connsiteY29747" fmla="*/ 757054 h 6557032"/>
              <a:gd name="connsiteX29748" fmla="*/ 515676 w 4610101"/>
              <a:gd name="connsiteY29748" fmla="*/ 746121 h 6557032"/>
              <a:gd name="connsiteX29749" fmla="*/ 271504 w 4610101"/>
              <a:gd name="connsiteY29749" fmla="*/ 746121 h 6557032"/>
              <a:gd name="connsiteX29750" fmla="*/ 278793 w 4610101"/>
              <a:gd name="connsiteY29750" fmla="*/ 755231 h 6557032"/>
              <a:gd name="connsiteX29751" fmla="*/ 271504 w 4610101"/>
              <a:gd name="connsiteY29751" fmla="*/ 746121 h 6557032"/>
              <a:gd name="connsiteX29752" fmla="*/ 1397608 w 4610101"/>
              <a:gd name="connsiteY29752" fmla="*/ 744298 h 6557032"/>
              <a:gd name="connsiteX29753" fmla="*/ 1401252 w 4610101"/>
              <a:gd name="connsiteY29753" fmla="*/ 749765 h 6557032"/>
              <a:gd name="connsiteX29754" fmla="*/ 1401252 w 4610101"/>
              <a:gd name="connsiteY29754" fmla="*/ 744298 h 6557032"/>
              <a:gd name="connsiteX29755" fmla="*/ 1397608 w 4610101"/>
              <a:gd name="connsiteY29755" fmla="*/ 744298 h 6557032"/>
              <a:gd name="connsiteX29756" fmla="*/ 1352053 w 4610101"/>
              <a:gd name="connsiteY29756" fmla="*/ 744298 h 6557032"/>
              <a:gd name="connsiteX29757" fmla="*/ 1357521 w 4610101"/>
              <a:gd name="connsiteY29757" fmla="*/ 744298 h 6557032"/>
              <a:gd name="connsiteX29758" fmla="*/ 1352053 w 4610101"/>
              <a:gd name="connsiteY29758" fmla="*/ 744298 h 6557032"/>
              <a:gd name="connsiteX29759" fmla="*/ 1175303 w 4610101"/>
              <a:gd name="connsiteY29759" fmla="*/ 744298 h 6557032"/>
              <a:gd name="connsiteX29760" fmla="*/ 1175303 w 4610101"/>
              <a:gd name="connsiteY29760" fmla="*/ 749765 h 6557032"/>
              <a:gd name="connsiteX29761" fmla="*/ 1180769 w 4610101"/>
              <a:gd name="connsiteY29761" fmla="*/ 746121 h 6557032"/>
              <a:gd name="connsiteX29762" fmla="*/ 1175303 w 4610101"/>
              <a:gd name="connsiteY29762" fmla="*/ 744298 h 6557032"/>
              <a:gd name="connsiteX29763" fmla="*/ 1137037 w 4610101"/>
              <a:gd name="connsiteY29763" fmla="*/ 744298 h 6557032"/>
              <a:gd name="connsiteX29764" fmla="*/ 1127926 w 4610101"/>
              <a:gd name="connsiteY29764" fmla="*/ 749765 h 6557032"/>
              <a:gd name="connsiteX29765" fmla="*/ 1142503 w 4610101"/>
              <a:gd name="connsiteY29765" fmla="*/ 749765 h 6557032"/>
              <a:gd name="connsiteX29766" fmla="*/ 1137037 w 4610101"/>
              <a:gd name="connsiteY29766" fmla="*/ 744298 h 6557032"/>
              <a:gd name="connsiteX29767" fmla="*/ 916555 w 4610101"/>
              <a:gd name="connsiteY29767" fmla="*/ 744298 h 6557032"/>
              <a:gd name="connsiteX29768" fmla="*/ 912909 w 4610101"/>
              <a:gd name="connsiteY29768" fmla="*/ 747943 h 6557032"/>
              <a:gd name="connsiteX29769" fmla="*/ 916555 w 4610101"/>
              <a:gd name="connsiteY29769" fmla="*/ 744298 h 6557032"/>
              <a:gd name="connsiteX29770" fmla="*/ 909265 w 4610101"/>
              <a:gd name="connsiteY29770" fmla="*/ 744298 h 6557032"/>
              <a:gd name="connsiteX29771" fmla="*/ 905621 w 4610101"/>
              <a:gd name="connsiteY29771" fmla="*/ 747943 h 6557032"/>
              <a:gd name="connsiteX29772" fmla="*/ 909265 w 4610101"/>
              <a:gd name="connsiteY29772" fmla="*/ 744298 h 6557032"/>
              <a:gd name="connsiteX29773" fmla="*/ 557586 w 4610101"/>
              <a:gd name="connsiteY29773" fmla="*/ 744298 h 6557032"/>
              <a:gd name="connsiteX29774" fmla="*/ 552119 w 4610101"/>
              <a:gd name="connsiteY29774" fmla="*/ 755231 h 6557032"/>
              <a:gd name="connsiteX29775" fmla="*/ 557586 w 4610101"/>
              <a:gd name="connsiteY29775" fmla="*/ 744298 h 6557032"/>
              <a:gd name="connsiteX29776" fmla="*/ 362613 w 4610101"/>
              <a:gd name="connsiteY29776" fmla="*/ 744298 h 6557032"/>
              <a:gd name="connsiteX29777" fmla="*/ 369902 w 4610101"/>
              <a:gd name="connsiteY29777" fmla="*/ 747943 h 6557032"/>
              <a:gd name="connsiteX29778" fmla="*/ 362613 w 4610101"/>
              <a:gd name="connsiteY29778" fmla="*/ 744298 h 6557032"/>
              <a:gd name="connsiteX29779" fmla="*/ 3230715 w 4610101"/>
              <a:gd name="connsiteY29779" fmla="*/ 742476 h 6557032"/>
              <a:gd name="connsiteX29780" fmla="*/ 3223426 w 4610101"/>
              <a:gd name="connsiteY29780" fmla="*/ 744298 h 6557032"/>
              <a:gd name="connsiteX29781" fmla="*/ 3225248 w 4610101"/>
              <a:gd name="connsiteY29781" fmla="*/ 749765 h 6557032"/>
              <a:gd name="connsiteX29782" fmla="*/ 3230715 w 4610101"/>
              <a:gd name="connsiteY29782" fmla="*/ 742476 h 6557032"/>
              <a:gd name="connsiteX29783" fmla="*/ 1434051 w 4610101"/>
              <a:gd name="connsiteY29783" fmla="*/ 742476 h 6557032"/>
              <a:gd name="connsiteX29784" fmla="*/ 1404896 w 4610101"/>
              <a:gd name="connsiteY29784" fmla="*/ 746121 h 6557032"/>
              <a:gd name="connsiteX29785" fmla="*/ 1419474 w 4610101"/>
              <a:gd name="connsiteY29785" fmla="*/ 747943 h 6557032"/>
              <a:gd name="connsiteX29786" fmla="*/ 1421296 w 4610101"/>
              <a:gd name="connsiteY29786" fmla="*/ 749765 h 6557032"/>
              <a:gd name="connsiteX29787" fmla="*/ 1417652 w 4610101"/>
              <a:gd name="connsiteY29787" fmla="*/ 749765 h 6557032"/>
              <a:gd name="connsiteX29788" fmla="*/ 1421296 w 4610101"/>
              <a:gd name="connsiteY29788" fmla="*/ 755231 h 6557032"/>
              <a:gd name="connsiteX29789" fmla="*/ 1421296 w 4610101"/>
              <a:gd name="connsiteY29789" fmla="*/ 751587 h 6557032"/>
              <a:gd name="connsiteX29790" fmla="*/ 1424940 w 4610101"/>
              <a:gd name="connsiteY29790" fmla="*/ 751587 h 6557032"/>
              <a:gd name="connsiteX29791" fmla="*/ 1426763 w 4610101"/>
              <a:gd name="connsiteY29791" fmla="*/ 755231 h 6557032"/>
              <a:gd name="connsiteX29792" fmla="*/ 1428585 w 4610101"/>
              <a:gd name="connsiteY29792" fmla="*/ 751587 h 6557032"/>
              <a:gd name="connsiteX29793" fmla="*/ 1430407 w 4610101"/>
              <a:gd name="connsiteY29793" fmla="*/ 755231 h 6557032"/>
              <a:gd name="connsiteX29794" fmla="*/ 1439518 w 4610101"/>
              <a:gd name="connsiteY29794" fmla="*/ 747943 h 6557032"/>
              <a:gd name="connsiteX29795" fmla="*/ 1434051 w 4610101"/>
              <a:gd name="connsiteY29795" fmla="*/ 742476 h 6557032"/>
              <a:gd name="connsiteX29796" fmla="*/ 1364809 w 4610101"/>
              <a:gd name="connsiteY29796" fmla="*/ 742476 h 6557032"/>
              <a:gd name="connsiteX29797" fmla="*/ 1359342 w 4610101"/>
              <a:gd name="connsiteY29797" fmla="*/ 747943 h 6557032"/>
              <a:gd name="connsiteX29798" fmla="*/ 1361164 w 4610101"/>
              <a:gd name="connsiteY29798" fmla="*/ 747943 h 6557032"/>
              <a:gd name="connsiteX29799" fmla="*/ 1364809 w 4610101"/>
              <a:gd name="connsiteY29799" fmla="*/ 742476 h 6557032"/>
              <a:gd name="connsiteX29800" fmla="*/ 1211747 w 4610101"/>
              <a:gd name="connsiteY29800" fmla="*/ 742476 h 6557032"/>
              <a:gd name="connsiteX29801" fmla="*/ 1202636 w 4610101"/>
              <a:gd name="connsiteY29801" fmla="*/ 749765 h 6557032"/>
              <a:gd name="connsiteX29802" fmla="*/ 1211747 w 4610101"/>
              <a:gd name="connsiteY29802" fmla="*/ 746121 h 6557032"/>
              <a:gd name="connsiteX29803" fmla="*/ 1211747 w 4610101"/>
              <a:gd name="connsiteY29803" fmla="*/ 742476 h 6557032"/>
              <a:gd name="connsiteX29804" fmla="*/ 1142503 w 4610101"/>
              <a:gd name="connsiteY29804" fmla="*/ 742476 h 6557032"/>
              <a:gd name="connsiteX29805" fmla="*/ 1144326 w 4610101"/>
              <a:gd name="connsiteY29805" fmla="*/ 747943 h 6557032"/>
              <a:gd name="connsiteX29806" fmla="*/ 1146148 w 4610101"/>
              <a:gd name="connsiteY29806" fmla="*/ 746121 h 6557032"/>
              <a:gd name="connsiteX29807" fmla="*/ 1142503 w 4610101"/>
              <a:gd name="connsiteY29807" fmla="*/ 742476 h 6557032"/>
              <a:gd name="connsiteX29808" fmla="*/ 506565 w 4610101"/>
              <a:gd name="connsiteY29808" fmla="*/ 742476 h 6557032"/>
              <a:gd name="connsiteX29809" fmla="*/ 508387 w 4610101"/>
              <a:gd name="connsiteY29809" fmla="*/ 749765 h 6557032"/>
              <a:gd name="connsiteX29810" fmla="*/ 506565 w 4610101"/>
              <a:gd name="connsiteY29810" fmla="*/ 742476 h 6557032"/>
              <a:gd name="connsiteX29811" fmla="*/ 375368 w 4610101"/>
              <a:gd name="connsiteY29811" fmla="*/ 742476 h 6557032"/>
              <a:gd name="connsiteX29812" fmla="*/ 380835 w 4610101"/>
              <a:gd name="connsiteY29812" fmla="*/ 747943 h 6557032"/>
              <a:gd name="connsiteX29813" fmla="*/ 375368 w 4610101"/>
              <a:gd name="connsiteY29813" fmla="*/ 742476 h 6557032"/>
              <a:gd name="connsiteX29814" fmla="*/ 3522263 w 4610101"/>
              <a:gd name="connsiteY29814" fmla="*/ 740654 h 6557032"/>
              <a:gd name="connsiteX29815" fmla="*/ 3498574 w 4610101"/>
              <a:gd name="connsiteY29815" fmla="*/ 749765 h 6557032"/>
              <a:gd name="connsiteX29816" fmla="*/ 3509507 w 4610101"/>
              <a:gd name="connsiteY29816" fmla="*/ 749765 h 6557032"/>
              <a:gd name="connsiteX29817" fmla="*/ 3494930 w 4610101"/>
              <a:gd name="connsiteY29817" fmla="*/ 749765 h 6557032"/>
              <a:gd name="connsiteX29818" fmla="*/ 3498574 w 4610101"/>
              <a:gd name="connsiteY29818" fmla="*/ 757054 h 6557032"/>
              <a:gd name="connsiteX29819" fmla="*/ 3496752 w 4610101"/>
              <a:gd name="connsiteY29819" fmla="*/ 760698 h 6557032"/>
              <a:gd name="connsiteX29820" fmla="*/ 3493108 w 4610101"/>
              <a:gd name="connsiteY29820" fmla="*/ 758876 h 6557032"/>
              <a:gd name="connsiteX29821" fmla="*/ 3491286 w 4610101"/>
              <a:gd name="connsiteY29821" fmla="*/ 751587 h 6557032"/>
              <a:gd name="connsiteX29822" fmla="*/ 3456664 w 4610101"/>
              <a:gd name="connsiteY29822" fmla="*/ 778920 h 6557032"/>
              <a:gd name="connsiteX29823" fmla="*/ 3453020 w 4610101"/>
              <a:gd name="connsiteY29823" fmla="*/ 780742 h 6557032"/>
              <a:gd name="connsiteX29824" fmla="*/ 3467597 w 4610101"/>
              <a:gd name="connsiteY29824" fmla="*/ 788031 h 6557032"/>
              <a:gd name="connsiteX29825" fmla="*/ 3469419 w 4610101"/>
              <a:gd name="connsiteY29825" fmla="*/ 797141 h 6557032"/>
              <a:gd name="connsiteX29826" fmla="*/ 3456664 w 4610101"/>
              <a:gd name="connsiteY29826" fmla="*/ 778920 h 6557032"/>
              <a:gd name="connsiteX29827" fmla="*/ 3460309 w 4610101"/>
              <a:gd name="connsiteY29827" fmla="*/ 780742 h 6557032"/>
              <a:gd name="connsiteX29828" fmla="*/ 3476708 w 4610101"/>
              <a:gd name="connsiteY29828" fmla="*/ 780742 h 6557032"/>
              <a:gd name="connsiteX29829" fmla="*/ 3477079 w 4610101"/>
              <a:gd name="connsiteY29829" fmla="*/ 773852 h 6557032"/>
              <a:gd name="connsiteX29830" fmla="*/ 3480093 w 4610101"/>
              <a:gd name="connsiteY29830" fmla="*/ 772441 h 6557032"/>
              <a:gd name="connsiteX29831" fmla="*/ 3476253 w 4610101"/>
              <a:gd name="connsiteY29831" fmla="*/ 784387 h 6557032"/>
              <a:gd name="connsiteX29832" fmla="*/ 3474886 w 4610101"/>
              <a:gd name="connsiteY29832" fmla="*/ 797141 h 6557032"/>
              <a:gd name="connsiteX29833" fmla="*/ 3480353 w 4610101"/>
              <a:gd name="connsiteY29833" fmla="*/ 795319 h 6557032"/>
              <a:gd name="connsiteX29834" fmla="*/ 3487641 w 4610101"/>
              <a:gd name="connsiteY29834" fmla="*/ 802608 h 6557032"/>
              <a:gd name="connsiteX29835" fmla="*/ 3487641 w 4610101"/>
              <a:gd name="connsiteY29835" fmla="*/ 791675 h 6557032"/>
              <a:gd name="connsiteX29836" fmla="*/ 3513152 w 4610101"/>
              <a:gd name="connsiteY29836" fmla="*/ 806252 h 6557032"/>
              <a:gd name="connsiteX29837" fmla="*/ 3522263 w 4610101"/>
              <a:gd name="connsiteY29837" fmla="*/ 800786 h 6557032"/>
              <a:gd name="connsiteX29838" fmla="*/ 3518618 w 4610101"/>
              <a:gd name="connsiteY29838" fmla="*/ 798964 h 6557032"/>
              <a:gd name="connsiteX29839" fmla="*/ 3533196 w 4610101"/>
              <a:gd name="connsiteY29839" fmla="*/ 800786 h 6557032"/>
              <a:gd name="connsiteX29840" fmla="*/ 3516796 w 4610101"/>
              <a:gd name="connsiteY29840" fmla="*/ 795319 h 6557032"/>
              <a:gd name="connsiteX29841" fmla="*/ 3505863 w 4610101"/>
              <a:gd name="connsiteY29841" fmla="*/ 773453 h 6557032"/>
              <a:gd name="connsiteX29842" fmla="*/ 3498574 w 4610101"/>
              <a:gd name="connsiteY29842" fmla="*/ 773453 h 6557032"/>
              <a:gd name="connsiteX29843" fmla="*/ 3500397 w 4610101"/>
              <a:gd name="connsiteY29843" fmla="*/ 777098 h 6557032"/>
              <a:gd name="connsiteX29844" fmla="*/ 3496752 w 4610101"/>
              <a:gd name="connsiteY29844" fmla="*/ 778920 h 6557032"/>
              <a:gd name="connsiteX29845" fmla="*/ 3489919 w 4610101"/>
              <a:gd name="connsiteY29845" fmla="*/ 773226 h 6557032"/>
              <a:gd name="connsiteX29846" fmla="*/ 3481437 w 4610101"/>
              <a:gd name="connsiteY29846" fmla="*/ 771812 h 6557032"/>
              <a:gd name="connsiteX29847" fmla="*/ 3483770 w 4610101"/>
              <a:gd name="connsiteY29847" fmla="*/ 770720 h 6557032"/>
              <a:gd name="connsiteX29848" fmla="*/ 3500397 w 4610101"/>
              <a:gd name="connsiteY29848" fmla="*/ 766164 h 6557032"/>
              <a:gd name="connsiteX29849" fmla="*/ 3509507 w 4610101"/>
              <a:gd name="connsiteY29849" fmla="*/ 775275 h 6557032"/>
              <a:gd name="connsiteX29850" fmla="*/ 3514974 w 4610101"/>
              <a:gd name="connsiteY29850" fmla="*/ 773453 h 6557032"/>
              <a:gd name="connsiteX29851" fmla="*/ 3525907 w 4610101"/>
              <a:gd name="connsiteY29851" fmla="*/ 791675 h 6557032"/>
              <a:gd name="connsiteX29852" fmla="*/ 3529551 w 4610101"/>
              <a:gd name="connsiteY29852" fmla="*/ 788031 h 6557032"/>
              <a:gd name="connsiteX29853" fmla="*/ 3535018 w 4610101"/>
              <a:gd name="connsiteY29853" fmla="*/ 791675 h 6557032"/>
              <a:gd name="connsiteX29854" fmla="*/ 3527729 w 4610101"/>
              <a:gd name="connsiteY29854" fmla="*/ 769809 h 6557032"/>
              <a:gd name="connsiteX29855" fmla="*/ 3524085 w 4610101"/>
              <a:gd name="connsiteY29855" fmla="*/ 757054 h 6557032"/>
              <a:gd name="connsiteX29856" fmla="*/ 3522263 w 4610101"/>
              <a:gd name="connsiteY29856" fmla="*/ 760698 h 6557032"/>
              <a:gd name="connsiteX29857" fmla="*/ 3516796 w 4610101"/>
              <a:gd name="connsiteY29857" fmla="*/ 751587 h 6557032"/>
              <a:gd name="connsiteX29858" fmla="*/ 3522263 w 4610101"/>
              <a:gd name="connsiteY29858" fmla="*/ 740654 h 6557032"/>
              <a:gd name="connsiteX29859" fmla="*/ 2314161 w 4610101"/>
              <a:gd name="connsiteY29859" fmla="*/ 740654 h 6557032"/>
              <a:gd name="connsiteX29860" fmla="*/ 2315983 w 4610101"/>
              <a:gd name="connsiteY29860" fmla="*/ 751587 h 6557032"/>
              <a:gd name="connsiteX29861" fmla="*/ 2314161 w 4610101"/>
              <a:gd name="connsiteY29861" fmla="*/ 740654 h 6557032"/>
              <a:gd name="connsiteX29862" fmla="*/ 1240901 w 4610101"/>
              <a:gd name="connsiteY29862" fmla="*/ 740654 h 6557032"/>
              <a:gd name="connsiteX29863" fmla="*/ 1229969 w 4610101"/>
              <a:gd name="connsiteY29863" fmla="*/ 744298 h 6557032"/>
              <a:gd name="connsiteX29864" fmla="*/ 1240901 w 4610101"/>
              <a:gd name="connsiteY29864" fmla="*/ 740654 h 6557032"/>
              <a:gd name="connsiteX29865" fmla="*/ 1024062 w 4610101"/>
              <a:gd name="connsiteY29865" fmla="*/ 740654 h 6557032"/>
              <a:gd name="connsiteX29866" fmla="*/ 1018596 w 4610101"/>
              <a:gd name="connsiteY29866" fmla="*/ 749765 h 6557032"/>
              <a:gd name="connsiteX29867" fmla="*/ 1024062 w 4610101"/>
              <a:gd name="connsiteY29867" fmla="*/ 740654 h 6557032"/>
              <a:gd name="connsiteX29868" fmla="*/ 880111 w 4610101"/>
              <a:gd name="connsiteY29868" fmla="*/ 740654 h 6557032"/>
              <a:gd name="connsiteX29869" fmla="*/ 889222 w 4610101"/>
              <a:gd name="connsiteY29869" fmla="*/ 751587 h 6557032"/>
              <a:gd name="connsiteX29870" fmla="*/ 880111 w 4610101"/>
              <a:gd name="connsiteY29870" fmla="*/ 740654 h 6557032"/>
              <a:gd name="connsiteX29871" fmla="*/ 805401 w 4610101"/>
              <a:gd name="connsiteY29871" fmla="*/ 740654 h 6557032"/>
              <a:gd name="connsiteX29872" fmla="*/ 801757 w 4610101"/>
              <a:gd name="connsiteY29872" fmla="*/ 746121 h 6557032"/>
              <a:gd name="connsiteX29873" fmla="*/ 812690 w 4610101"/>
              <a:gd name="connsiteY29873" fmla="*/ 746121 h 6557032"/>
              <a:gd name="connsiteX29874" fmla="*/ 805401 w 4610101"/>
              <a:gd name="connsiteY29874" fmla="*/ 740654 h 6557032"/>
              <a:gd name="connsiteX29875" fmla="*/ 747092 w 4610101"/>
              <a:gd name="connsiteY29875" fmla="*/ 740654 h 6557032"/>
              <a:gd name="connsiteX29876" fmla="*/ 754380 w 4610101"/>
              <a:gd name="connsiteY29876" fmla="*/ 751587 h 6557032"/>
              <a:gd name="connsiteX29877" fmla="*/ 747092 w 4610101"/>
              <a:gd name="connsiteY29877" fmla="*/ 740654 h 6557032"/>
              <a:gd name="connsiteX29878" fmla="*/ 561230 w 4610101"/>
              <a:gd name="connsiteY29878" fmla="*/ 740654 h 6557032"/>
              <a:gd name="connsiteX29879" fmla="*/ 563052 w 4610101"/>
              <a:gd name="connsiteY29879" fmla="*/ 746121 h 6557032"/>
              <a:gd name="connsiteX29880" fmla="*/ 561230 w 4610101"/>
              <a:gd name="connsiteY29880" fmla="*/ 740654 h 6557032"/>
              <a:gd name="connsiteX29881" fmla="*/ 428211 w 4610101"/>
              <a:gd name="connsiteY29881" fmla="*/ 740654 h 6557032"/>
              <a:gd name="connsiteX29882" fmla="*/ 450077 w 4610101"/>
              <a:gd name="connsiteY29882" fmla="*/ 777098 h 6557032"/>
              <a:gd name="connsiteX29883" fmla="*/ 444611 w 4610101"/>
              <a:gd name="connsiteY29883" fmla="*/ 747943 h 6557032"/>
              <a:gd name="connsiteX29884" fmla="*/ 428211 w 4610101"/>
              <a:gd name="connsiteY29884" fmla="*/ 740654 h 6557032"/>
              <a:gd name="connsiteX29885" fmla="*/ 140308 w 4610101"/>
              <a:gd name="connsiteY29885" fmla="*/ 740654 h 6557032"/>
              <a:gd name="connsiteX29886" fmla="*/ 160352 w 4610101"/>
              <a:gd name="connsiteY29886" fmla="*/ 764342 h 6557032"/>
              <a:gd name="connsiteX29887" fmla="*/ 151241 w 4610101"/>
              <a:gd name="connsiteY29887" fmla="*/ 749765 h 6557032"/>
              <a:gd name="connsiteX29888" fmla="*/ 149419 w 4610101"/>
              <a:gd name="connsiteY29888" fmla="*/ 746121 h 6557032"/>
              <a:gd name="connsiteX29889" fmla="*/ 140308 w 4610101"/>
              <a:gd name="connsiteY29889" fmla="*/ 740654 h 6557032"/>
              <a:gd name="connsiteX29890" fmla="*/ 1184414 w 4610101"/>
              <a:gd name="connsiteY29890" fmla="*/ 739516 h 6557032"/>
              <a:gd name="connsiteX29891" fmla="*/ 1178947 w 4610101"/>
              <a:gd name="connsiteY29891" fmla="*/ 742476 h 6557032"/>
              <a:gd name="connsiteX29892" fmla="*/ 1184414 w 4610101"/>
              <a:gd name="connsiteY29892" fmla="*/ 744298 h 6557032"/>
              <a:gd name="connsiteX29893" fmla="*/ 1189880 w 4610101"/>
              <a:gd name="connsiteY29893" fmla="*/ 740654 h 6557032"/>
              <a:gd name="connsiteX29894" fmla="*/ 1184414 w 4610101"/>
              <a:gd name="connsiteY29894" fmla="*/ 739516 h 6557032"/>
              <a:gd name="connsiteX29895" fmla="*/ 3216137 w 4610101"/>
              <a:gd name="connsiteY29895" fmla="*/ 738832 h 6557032"/>
              <a:gd name="connsiteX29896" fmla="*/ 3210671 w 4610101"/>
              <a:gd name="connsiteY29896" fmla="*/ 744298 h 6557032"/>
              <a:gd name="connsiteX29897" fmla="*/ 3216137 w 4610101"/>
              <a:gd name="connsiteY29897" fmla="*/ 749765 h 6557032"/>
              <a:gd name="connsiteX29898" fmla="*/ 3219782 w 4610101"/>
              <a:gd name="connsiteY29898" fmla="*/ 744298 h 6557032"/>
              <a:gd name="connsiteX29899" fmla="*/ 3216137 w 4610101"/>
              <a:gd name="connsiteY29899" fmla="*/ 738832 h 6557032"/>
              <a:gd name="connsiteX29900" fmla="*/ 2658552 w 4610101"/>
              <a:gd name="connsiteY29900" fmla="*/ 738832 h 6557032"/>
              <a:gd name="connsiteX29901" fmla="*/ 2667663 w 4610101"/>
              <a:gd name="connsiteY29901" fmla="*/ 742476 h 6557032"/>
              <a:gd name="connsiteX29902" fmla="*/ 2658552 w 4610101"/>
              <a:gd name="connsiteY29902" fmla="*/ 738832 h 6557032"/>
              <a:gd name="connsiteX29903" fmla="*/ 1461384 w 4610101"/>
              <a:gd name="connsiteY29903" fmla="*/ 738832 h 6557032"/>
              <a:gd name="connsiteX29904" fmla="*/ 1452273 w 4610101"/>
              <a:gd name="connsiteY29904" fmla="*/ 742476 h 6557032"/>
              <a:gd name="connsiteX29905" fmla="*/ 1452728 w 4610101"/>
              <a:gd name="connsiteY29905" fmla="*/ 742021 h 6557032"/>
              <a:gd name="connsiteX29906" fmla="*/ 1461384 w 4610101"/>
              <a:gd name="connsiteY29906" fmla="*/ 738832 h 6557032"/>
              <a:gd name="connsiteX29907" fmla="*/ 1215390 w 4610101"/>
              <a:gd name="connsiteY29907" fmla="*/ 738832 h 6557032"/>
              <a:gd name="connsiteX29908" fmla="*/ 1217213 w 4610101"/>
              <a:gd name="connsiteY29908" fmla="*/ 742476 h 6557032"/>
              <a:gd name="connsiteX29909" fmla="*/ 1220858 w 4610101"/>
              <a:gd name="connsiteY29909" fmla="*/ 738832 h 6557032"/>
              <a:gd name="connsiteX29910" fmla="*/ 1215390 w 4610101"/>
              <a:gd name="connsiteY29910" fmla="*/ 738832 h 6557032"/>
              <a:gd name="connsiteX29911" fmla="*/ 1133393 w 4610101"/>
              <a:gd name="connsiteY29911" fmla="*/ 738832 h 6557032"/>
              <a:gd name="connsiteX29912" fmla="*/ 1135215 w 4610101"/>
              <a:gd name="connsiteY29912" fmla="*/ 740654 h 6557032"/>
              <a:gd name="connsiteX29913" fmla="*/ 1138859 w 4610101"/>
              <a:gd name="connsiteY29913" fmla="*/ 738832 h 6557032"/>
              <a:gd name="connsiteX29914" fmla="*/ 1133393 w 4610101"/>
              <a:gd name="connsiteY29914" fmla="*/ 738832 h 6557032"/>
              <a:gd name="connsiteX29915" fmla="*/ 1109704 w 4610101"/>
              <a:gd name="connsiteY29915" fmla="*/ 738832 h 6557032"/>
              <a:gd name="connsiteX29916" fmla="*/ 1111526 w 4610101"/>
              <a:gd name="connsiteY29916" fmla="*/ 744298 h 6557032"/>
              <a:gd name="connsiteX29917" fmla="*/ 1113349 w 4610101"/>
              <a:gd name="connsiteY29917" fmla="*/ 742476 h 6557032"/>
              <a:gd name="connsiteX29918" fmla="*/ 1111526 w 4610101"/>
              <a:gd name="connsiteY29918" fmla="*/ 749765 h 6557032"/>
              <a:gd name="connsiteX29919" fmla="*/ 1116993 w 4610101"/>
              <a:gd name="connsiteY29919" fmla="*/ 746121 h 6557032"/>
              <a:gd name="connsiteX29920" fmla="*/ 1120637 w 4610101"/>
              <a:gd name="connsiteY29920" fmla="*/ 751587 h 6557032"/>
              <a:gd name="connsiteX29921" fmla="*/ 1120637 w 4610101"/>
              <a:gd name="connsiteY29921" fmla="*/ 738832 h 6557032"/>
              <a:gd name="connsiteX29922" fmla="*/ 1109704 w 4610101"/>
              <a:gd name="connsiteY29922" fmla="*/ 738832 h 6557032"/>
              <a:gd name="connsiteX29923" fmla="*/ 949353 w 4610101"/>
              <a:gd name="connsiteY29923" fmla="*/ 738832 h 6557032"/>
              <a:gd name="connsiteX29924" fmla="*/ 942064 w 4610101"/>
              <a:gd name="connsiteY29924" fmla="*/ 747943 h 6557032"/>
              <a:gd name="connsiteX29925" fmla="*/ 949353 w 4610101"/>
              <a:gd name="connsiteY29925" fmla="*/ 738832 h 6557032"/>
              <a:gd name="connsiteX29926" fmla="*/ 818156 w 4610101"/>
              <a:gd name="connsiteY29926" fmla="*/ 738832 h 6557032"/>
              <a:gd name="connsiteX29927" fmla="*/ 818156 w 4610101"/>
              <a:gd name="connsiteY29927" fmla="*/ 746121 h 6557032"/>
              <a:gd name="connsiteX29928" fmla="*/ 823623 w 4610101"/>
              <a:gd name="connsiteY29928" fmla="*/ 740654 h 6557032"/>
              <a:gd name="connsiteX29929" fmla="*/ 818156 w 4610101"/>
              <a:gd name="connsiteY29929" fmla="*/ 738832 h 6557032"/>
              <a:gd name="connsiteX29930" fmla="*/ 739803 w 4610101"/>
              <a:gd name="connsiteY29930" fmla="*/ 738832 h 6557032"/>
              <a:gd name="connsiteX29931" fmla="*/ 747092 w 4610101"/>
              <a:gd name="connsiteY29931" fmla="*/ 744298 h 6557032"/>
              <a:gd name="connsiteX29932" fmla="*/ 739803 w 4610101"/>
              <a:gd name="connsiteY29932" fmla="*/ 738832 h 6557032"/>
              <a:gd name="connsiteX29933" fmla="*/ 648694 w 4610101"/>
              <a:gd name="connsiteY29933" fmla="*/ 738832 h 6557032"/>
              <a:gd name="connsiteX29934" fmla="*/ 645050 w 4610101"/>
              <a:gd name="connsiteY29934" fmla="*/ 746121 h 6557032"/>
              <a:gd name="connsiteX29935" fmla="*/ 663272 w 4610101"/>
              <a:gd name="connsiteY29935" fmla="*/ 751587 h 6557032"/>
              <a:gd name="connsiteX29936" fmla="*/ 648694 w 4610101"/>
              <a:gd name="connsiteY29936" fmla="*/ 738832 h 6557032"/>
              <a:gd name="connsiteX29937" fmla="*/ 590385 w 4610101"/>
              <a:gd name="connsiteY29937" fmla="*/ 738832 h 6557032"/>
              <a:gd name="connsiteX29938" fmla="*/ 592207 w 4610101"/>
              <a:gd name="connsiteY29938" fmla="*/ 749765 h 6557032"/>
              <a:gd name="connsiteX29939" fmla="*/ 590385 w 4610101"/>
              <a:gd name="connsiteY29939" fmla="*/ 738832 h 6557032"/>
              <a:gd name="connsiteX29940" fmla="*/ 322525 w 4610101"/>
              <a:gd name="connsiteY29940" fmla="*/ 738832 h 6557032"/>
              <a:gd name="connsiteX29941" fmla="*/ 329814 w 4610101"/>
              <a:gd name="connsiteY29941" fmla="*/ 753409 h 6557032"/>
              <a:gd name="connsiteX29942" fmla="*/ 331636 w 4610101"/>
              <a:gd name="connsiteY29942" fmla="*/ 746121 h 6557032"/>
              <a:gd name="connsiteX29943" fmla="*/ 357146 w 4610101"/>
              <a:gd name="connsiteY29943" fmla="*/ 762520 h 6557032"/>
              <a:gd name="connsiteX29944" fmla="*/ 344391 w 4610101"/>
              <a:gd name="connsiteY29944" fmla="*/ 751587 h 6557032"/>
              <a:gd name="connsiteX29945" fmla="*/ 335280 w 4610101"/>
              <a:gd name="connsiteY29945" fmla="*/ 747943 h 6557032"/>
              <a:gd name="connsiteX29946" fmla="*/ 340747 w 4610101"/>
              <a:gd name="connsiteY29946" fmla="*/ 747943 h 6557032"/>
              <a:gd name="connsiteX29947" fmla="*/ 322525 w 4610101"/>
              <a:gd name="connsiteY29947" fmla="*/ 738832 h 6557032"/>
              <a:gd name="connsiteX29948" fmla="*/ 1434232 w 4610101"/>
              <a:gd name="connsiteY29948" fmla="*/ 737497 h 6557032"/>
              <a:gd name="connsiteX29949" fmla="*/ 1432229 w 4610101"/>
              <a:gd name="connsiteY29949" fmla="*/ 738832 h 6557032"/>
              <a:gd name="connsiteX29950" fmla="*/ 1434006 w 4610101"/>
              <a:gd name="connsiteY29950" fmla="*/ 737529 h 6557032"/>
              <a:gd name="connsiteX29951" fmla="*/ 1311966 w 4610101"/>
              <a:gd name="connsiteY29951" fmla="*/ 737010 h 6557032"/>
              <a:gd name="connsiteX29952" fmla="*/ 1313788 w 4610101"/>
              <a:gd name="connsiteY29952" fmla="*/ 738832 h 6557032"/>
              <a:gd name="connsiteX29953" fmla="*/ 1311966 w 4610101"/>
              <a:gd name="connsiteY29953" fmla="*/ 737010 h 6557032"/>
              <a:gd name="connsiteX29954" fmla="*/ 1197169 w 4610101"/>
              <a:gd name="connsiteY29954" fmla="*/ 737010 h 6557032"/>
              <a:gd name="connsiteX29955" fmla="*/ 1195346 w 4610101"/>
              <a:gd name="connsiteY29955" fmla="*/ 740654 h 6557032"/>
              <a:gd name="connsiteX29956" fmla="*/ 1197169 w 4610101"/>
              <a:gd name="connsiteY29956" fmla="*/ 737010 h 6557032"/>
              <a:gd name="connsiteX29957" fmla="*/ 1155259 w 4610101"/>
              <a:gd name="connsiteY29957" fmla="*/ 737010 h 6557032"/>
              <a:gd name="connsiteX29958" fmla="*/ 1158903 w 4610101"/>
              <a:gd name="connsiteY29958" fmla="*/ 742476 h 6557032"/>
              <a:gd name="connsiteX29959" fmla="*/ 1160725 w 4610101"/>
              <a:gd name="connsiteY29959" fmla="*/ 738832 h 6557032"/>
              <a:gd name="connsiteX29960" fmla="*/ 1155259 w 4610101"/>
              <a:gd name="connsiteY29960" fmla="*/ 737010 h 6557032"/>
              <a:gd name="connsiteX29961" fmla="*/ 1149792 w 4610101"/>
              <a:gd name="connsiteY29961" fmla="*/ 737010 h 6557032"/>
              <a:gd name="connsiteX29962" fmla="*/ 1147970 w 4610101"/>
              <a:gd name="connsiteY29962" fmla="*/ 746121 h 6557032"/>
              <a:gd name="connsiteX29963" fmla="*/ 1149792 w 4610101"/>
              <a:gd name="connsiteY29963" fmla="*/ 747943 h 6557032"/>
              <a:gd name="connsiteX29964" fmla="*/ 1153436 w 4610101"/>
              <a:gd name="connsiteY29964" fmla="*/ 749765 h 6557032"/>
              <a:gd name="connsiteX29965" fmla="*/ 1153436 w 4610101"/>
              <a:gd name="connsiteY29965" fmla="*/ 746121 h 6557032"/>
              <a:gd name="connsiteX29966" fmla="*/ 1155259 w 4610101"/>
              <a:gd name="connsiteY29966" fmla="*/ 747943 h 6557032"/>
              <a:gd name="connsiteX29967" fmla="*/ 1157081 w 4610101"/>
              <a:gd name="connsiteY29967" fmla="*/ 744298 h 6557032"/>
              <a:gd name="connsiteX29968" fmla="*/ 1149792 w 4610101"/>
              <a:gd name="connsiteY29968" fmla="*/ 737010 h 6557032"/>
              <a:gd name="connsiteX29969" fmla="*/ 1144326 w 4610101"/>
              <a:gd name="connsiteY29969" fmla="*/ 737010 h 6557032"/>
              <a:gd name="connsiteX29970" fmla="*/ 1144326 w 4610101"/>
              <a:gd name="connsiteY29970" fmla="*/ 742476 h 6557032"/>
              <a:gd name="connsiteX29971" fmla="*/ 1147970 w 4610101"/>
              <a:gd name="connsiteY29971" fmla="*/ 737010 h 6557032"/>
              <a:gd name="connsiteX29972" fmla="*/ 1144326 w 4610101"/>
              <a:gd name="connsiteY29972" fmla="*/ 737010 h 6557032"/>
              <a:gd name="connsiteX29973" fmla="*/ 1129748 w 4610101"/>
              <a:gd name="connsiteY29973" fmla="*/ 737010 h 6557032"/>
              <a:gd name="connsiteX29974" fmla="*/ 1124282 w 4610101"/>
              <a:gd name="connsiteY29974" fmla="*/ 749765 h 6557032"/>
              <a:gd name="connsiteX29975" fmla="*/ 1133393 w 4610101"/>
              <a:gd name="connsiteY29975" fmla="*/ 742476 h 6557032"/>
              <a:gd name="connsiteX29976" fmla="*/ 1129748 w 4610101"/>
              <a:gd name="connsiteY29976" fmla="*/ 737010 h 6557032"/>
              <a:gd name="connsiteX29977" fmla="*/ 1053217 w 4610101"/>
              <a:gd name="connsiteY29977" fmla="*/ 737010 h 6557032"/>
              <a:gd name="connsiteX29978" fmla="*/ 1040462 w 4610101"/>
              <a:gd name="connsiteY29978" fmla="*/ 746121 h 6557032"/>
              <a:gd name="connsiteX29979" fmla="*/ 1053217 w 4610101"/>
              <a:gd name="connsiteY29979" fmla="*/ 737010 h 6557032"/>
              <a:gd name="connsiteX29980" fmla="*/ 801757 w 4610101"/>
              <a:gd name="connsiteY29980" fmla="*/ 737010 h 6557032"/>
              <a:gd name="connsiteX29981" fmla="*/ 814512 w 4610101"/>
              <a:gd name="connsiteY29981" fmla="*/ 744298 h 6557032"/>
              <a:gd name="connsiteX29982" fmla="*/ 801757 w 4610101"/>
              <a:gd name="connsiteY29982" fmla="*/ 737010 h 6557032"/>
              <a:gd name="connsiteX29983" fmla="*/ 779892 w 4610101"/>
              <a:gd name="connsiteY29983" fmla="*/ 737010 h 6557032"/>
              <a:gd name="connsiteX29984" fmla="*/ 785357 w 4610101"/>
              <a:gd name="connsiteY29984" fmla="*/ 738832 h 6557032"/>
              <a:gd name="connsiteX29985" fmla="*/ 779892 w 4610101"/>
              <a:gd name="connsiteY29985" fmla="*/ 737010 h 6557032"/>
              <a:gd name="connsiteX29986" fmla="*/ 313414 w 4610101"/>
              <a:gd name="connsiteY29986" fmla="*/ 737010 h 6557032"/>
              <a:gd name="connsiteX29987" fmla="*/ 326169 w 4610101"/>
              <a:gd name="connsiteY29987" fmla="*/ 749765 h 6557032"/>
              <a:gd name="connsiteX29988" fmla="*/ 322525 w 4610101"/>
              <a:gd name="connsiteY29988" fmla="*/ 740654 h 6557032"/>
              <a:gd name="connsiteX29989" fmla="*/ 313414 w 4610101"/>
              <a:gd name="connsiteY29989" fmla="*/ 737010 h 6557032"/>
              <a:gd name="connsiteX29990" fmla="*/ 304303 w 4610101"/>
              <a:gd name="connsiteY29990" fmla="*/ 737010 h 6557032"/>
              <a:gd name="connsiteX29991" fmla="*/ 317059 w 4610101"/>
              <a:gd name="connsiteY29991" fmla="*/ 749765 h 6557032"/>
              <a:gd name="connsiteX29992" fmla="*/ 304303 w 4610101"/>
              <a:gd name="connsiteY29992" fmla="*/ 737010 h 6557032"/>
              <a:gd name="connsiteX29993" fmla="*/ 242349 w 4610101"/>
              <a:gd name="connsiteY29993" fmla="*/ 737010 h 6557032"/>
              <a:gd name="connsiteX29994" fmla="*/ 244172 w 4610101"/>
              <a:gd name="connsiteY29994" fmla="*/ 738832 h 6557032"/>
              <a:gd name="connsiteX29995" fmla="*/ 242349 w 4610101"/>
              <a:gd name="connsiteY29995" fmla="*/ 737010 h 6557032"/>
              <a:gd name="connsiteX29996" fmla="*/ 213195 w 4610101"/>
              <a:gd name="connsiteY29996" fmla="*/ 737010 h 6557032"/>
              <a:gd name="connsiteX29997" fmla="*/ 231416 w 4610101"/>
              <a:gd name="connsiteY29997" fmla="*/ 766164 h 6557032"/>
              <a:gd name="connsiteX29998" fmla="*/ 213195 w 4610101"/>
              <a:gd name="connsiteY29998" fmla="*/ 737010 h 6557032"/>
              <a:gd name="connsiteX29999" fmla="*/ 601630 w 4610101"/>
              <a:gd name="connsiteY29999" fmla="*/ 736922 h 6557032"/>
              <a:gd name="connsiteX30000" fmla="*/ 601521 w 4610101"/>
              <a:gd name="connsiteY30000" fmla="*/ 737112 h 6557032"/>
              <a:gd name="connsiteX30001" fmla="*/ 601318 w 4610101"/>
              <a:gd name="connsiteY30001" fmla="*/ 737010 h 6557032"/>
              <a:gd name="connsiteX30002" fmla="*/ 1337476 w 4610101"/>
              <a:gd name="connsiteY30002" fmla="*/ 735188 h 6557032"/>
              <a:gd name="connsiteX30003" fmla="*/ 1311966 w 4610101"/>
              <a:gd name="connsiteY30003" fmla="*/ 737010 h 6557032"/>
              <a:gd name="connsiteX30004" fmla="*/ 1301033 w 4610101"/>
              <a:gd name="connsiteY30004" fmla="*/ 742476 h 6557032"/>
              <a:gd name="connsiteX30005" fmla="*/ 1313788 w 4610101"/>
              <a:gd name="connsiteY30005" fmla="*/ 740654 h 6557032"/>
              <a:gd name="connsiteX30006" fmla="*/ 1330188 w 4610101"/>
              <a:gd name="connsiteY30006" fmla="*/ 740654 h 6557032"/>
              <a:gd name="connsiteX30007" fmla="*/ 1332009 w 4610101"/>
              <a:gd name="connsiteY30007" fmla="*/ 737010 h 6557032"/>
              <a:gd name="connsiteX30008" fmla="*/ 1332009 w 4610101"/>
              <a:gd name="connsiteY30008" fmla="*/ 742476 h 6557032"/>
              <a:gd name="connsiteX30009" fmla="*/ 1337476 w 4610101"/>
              <a:gd name="connsiteY30009" fmla="*/ 735188 h 6557032"/>
              <a:gd name="connsiteX30010" fmla="*/ 1162547 w 4610101"/>
              <a:gd name="connsiteY30010" fmla="*/ 735188 h 6557032"/>
              <a:gd name="connsiteX30011" fmla="*/ 1168014 w 4610101"/>
              <a:gd name="connsiteY30011" fmla="*/ 738832 h 6557032"/>
              <a:gd name="connsiteX30012" fmla="*/ 1169836 w 4610101"/>
              <a:gd name="connsiteY30012" fmla="*/ 735188 h 6557032"/>
              <a:gd name="connsiteX30013" fmla="*/ 1162547 w 4610101"/>
              <a:gd name="connsiteY30013" fmla="*/ 735188 h 6557032"/>
              <a:gd name="connsiteX30014" fmla="*/ 1104238 w 4610101"/>
              <a:gd name="connsiteY30014" fmla="*/ 735188 h 6557032"/>
              <a:gd name="connsiteX30015" fmla="*/ 1107882 w 4610101"/>
              <a:gd name="connsiteY30015" fmla="*/ 747943 h 6557032"/>
              <a:gd name="connsiteX30016" fmla="*/ 1104238 w 4610101"/>
              <a:gd name="connsiteY30016" fmla="*/ 735188 h 6557032"/>
              <a:gd name="connsiteX30017" fmla="*/ 1062328 w 4610101"/>
              <a:gd name="connsiteY30017" fmla="*/ 735188 h 6557032"/>
              <a:gd name="connsiteX30018" fmla="*/ 1056861 w 4610101"/>
              <a:gd name="connsiteY30018" fmla="*/ 737010 h 6557032"/>
              <a:gd name="connsiteX30019" fmla="*/ 1062328 w 4610101"/>
              <a:gd name="connsiteY30019" fmla="*/ 735188 h 6557032"/>
              <a:gd name="connsiteX30020" fmla="*/ 1004018 w 4610101"/>
              <a:gd name="connsiteY30020" fmla="*/ 735188 h 6557032"/>
              <a:gd name="connsiteX30021" fmla="*/ 998552 w 4610101"/>
              <a:gd name="connsiteY30021" fmla="*/ 742476 h 6557032"/>
              <a:gd name="connsiteX30022" fmla="*/ 1002196 w 4610101"/>
              <a:gd name="connsiteY30022" fmla="*/ 746121 h 6557032"/>
              <a:gd name="connsiteX30023" fmla="*/ 1004018 w 4610101"/>
              <a:gd name="connsiteY30023" fmla="*/ 735188 h 6557032"/>
              <a:gd name="connsiteX30024" fmla="*/ 905621 w 4610101"/>
              <a:gd name="connsiteY30024" fmla="*/ 735188 h 6557032"/>
              <a:gd name="connsiteX30025" fmla="*/ 903799 w 4610101"/>
              <a:gd name="connsiteY30025" fmla="*/ 747943 h 6557032"/>
              <a:gd name="connsiteX30026" fmla="*/ 905621 w 4610101"/>
              <a:gd name="connsiteY30026" fmla="*/ 735188 h 6557032"/>
              <a:gd name="connsiteX30027" fmla="*/ 759848 w 4610101"/>
              <a:gd name="connsiteY30027" fmla="*/ 735188 h 6557032"/>
              <a:gd name="connsiteX30028" fmla="*/ 759848 w 4610101"/>
              <a:gd name="connsiteY30028" fmla="*/ 744298 h 6557032"/>
              <a:gd name="connsiteX30029" fmla="*/ 761670 w 4610101"/>
              <a:gd name="connsiteY30029" fmla="*/ 740654 h 6557032"/>
              <a:gd name="connsiteX30030" fmla="*/ 778070 w 4610101"/>
              <a:gd name="connsiteY30030" fmla="*/ 751587 h 6557032"/>
              <a:gd name="connsiteX30031" fmla="*/ 770781 w 4610101"/>
              <a:gd name="connsiteY30031" fmla="*/ 742476 h 6557032"/>
              <a:gd name="connsiteX30032" fmla="*/ 781713 w 4610101"/>
              <a:gd name="connsiteY30032" fmla="*/ 746121 h 6557032"/>
              <a:gd name="connsiteX30033" fmla="*/ 759848 w 4610101"/>
              <a:gd name="connsiteY30033" fmla="*/ 735188 h 6557032"/>
              <a:gd name="connsiteX30034" fmla="*/ 384479 w 4610101"/>
              <a:gd name="connsiteY30034" fmla="*/ 735188 h 6557032"/>
              <a:gd name="connsiteX30035" fmla="*/ 388123 w 4610101"/>
              <a:gd name="connsiteY30035" fmla="*/ 746121 h 6557032"/>
              <a:gd name="connsiteX30036" fmla="*/ 404523 w 4610101"/>
              <a:gd name="connsiteY30036" fmla="*/ 764342 h 6557032"/>
              <a:gd name="connsiteX30037" fmla="*/ 400879 w 4610101"/>
              <a:gd name="connsiteY30037" fmla="*/ 757054 h 6557032"/>
              <a:gd name="connsiteX30038" fmla="*/ 409989 w 4610101"/>
              <a:gd name="connsiteY30038" fmla="*/ 757054 h 6557032"/>
              <a:gd name="connsiteX30039" fmla="*/ 384479 w 4610101"/>
              <a:gd name="connsiteY30039" fmla="*/ 735188 h 6557032"/>
              <a:gd name="connsiteX30040" fmla="*/ 360791 w 4610101"/>
              <a:gd name="connsiteY30040" fmla="*/ 735188 h 6557032"/>
              <a:gd name="connsiteX30041" fmla="*/ 366257 w 4610101"/>
              <a:gd name="connsiteY30041" fmla="*/ 742476 h 6557032"/>
              <a:gd name="connsiteX30042" fmla="*/ 360791 w 4610101"/>
              <a:gd name="connsiteY30042" fmla="*/ 735188 h 6557032"/>
              <a:gd name="connsiteX30043" fmla="*/ 258749 w 4610101"/>
              <a:gd name="connsiteY30043" fmla="*/ 735188 h 6557032"/>
              <a:gd name="connsiteX30044" fmla="*/ 262393 w 4610101"/>
              <a:gd name="connsiteY30044" fmla="*/ 740654 h 6557032"/>
              <a:gd name="connsiteX30045" fmla="*/ 258749 w 4610101"/>
              <a:gd name="connsiteY30045" fmla="*/ 735188 h 6557032"/>
              <a:gd name="connsiteX30046" fmla="*/ 244172 w 4610101"/>
              <a:gd name="connsiteY30046" fmla="*/ 735188 h 6557032"/>
              <a:gd name="connsiteX30047" fmla="*/ 253282 w 4610101"/>
              <a:gd name="connsiteY30047" fmla="*/ 747943 h 6557032"/>
              <a:gd name="connsiteX30048" fmla="*/ 255105 w 4610101"/>
              <a:gd name="connsiteY30048" fmla="*/ 744298 h 6557032"/>
              <a:gd name="connsiteX30049" fmla="*/ 244172 w 4610101"/>
              <a:gd name="connsiteY30049" fmla="*/ 735188 h 6557032"/>
              <a:gd name="connsiteX30050" fmla="*/ 561914 w 4610101"/>
              <a:gd name="connsiteY30050" fmla="*/ 735188 h 6557032"/>
              <a:gd name="connsiteX30051" fmla="*/ 559408 w 4610101"/>
              <a:gd name="connsiteY30051" fmla="*/ 735188 h 6557032"/>
              <a:gd name="connsiteX30052" fmla="*/ 566697 w 4610101"/>
              <a:gd name="connsiteY30052" fmla="*/ 740654 h 6557032"/>
              <a:gd name="connsiteX30053" fmla="*/ 563052 w 4610101"/>
              <a:gd name="connsiteY30053" fmla="*/ 735188 h 6557032"/>
              <a:gd name="connsiteX30054" fmla="*/ 561914 w 4610101"/>
              <a:gd name="connsiteY30054" fmla="*/ 735188 h 6557032"/>
              <a:gd name="connsiteX30055" fmla="*/ 1452273 w 4610101"/>
              <a:gd name="connsiteY30055" fmla="*/ 733365 h 6557032"/>
              <a:gd name="connsiteX30056" fmla="*/ 1452035 w 4610101"/>
              <a:gd name="connsiteY30056" fmla="*/ 733762 h 6557032"/>
              <a:gd name="connsiteX30057" fmla="*/ 1447945 w 4610101"/>
              <a:gd name="connsiteY30057" fmla="*/ 736099 h 6557032"/>
              <a:gd name="connsiteX30058" fmla="*/ 1444588 w 4610101"/>
              <a:gd name="connsiteY30058" fmla="*/ 738415 h 6557032"/>
              <a:gd name="connsiteX30059" fmla="*/ 1446351 w 4610101"/>
              <a:gd name="connsiteY30059" fmla="*/ 735643 h 6557032"/>
              <a:gd name="connsiteX30060" fmla="*/ 1452273 w 4610101"/>
              <a:gd name="connsiteY30060" fmla="*/ 733365 h 6557032"/>
              <a:gd name="connsiteX30061" fmla="*/ 1434051 w 4610101"/>
              <a:gd name="connsiteY30061" fmla="*/ 733365 h 6557032"/>
              <a:gd name="connsiteX30062" fmla="*/ 1424940 w 4610101"/>
              <a:gd name="connsiteY30062" fmla="*/ 737010 h 6557032"/>
              <a:gd name="connsiteX30063" fmla="*/ 1434051 w 4610101"/>
              <a:gd name="connsiteY30063" fmla="*/ 733365 h 6557032"/>
              <a:gd name="connsiteX30064" fmla="*/ 962108 w 4610101"/>
              <a:gd name="connsiteY30064" fmla="*/ 733365 h 6557032"/>
              <a:gd name="connsiteX30065" fmla="*/ 952997 w 4610101"/>
              <a:gd name="connsiteY30065" fmla="*/ 738832 h 6557032"/>
              <a:gd name="connsiteX30066" fmla="*/ 942064 w 4610101"/>
              <a:gd name="connsiteY30066" fmla="*/ 751587 h 6557032"/>
              <a:gd name="connsiteX30067" fmla="*/ 949353 w 4610101"/>
              <a:gd name="connsiteY30067" fmla="*/ 749765 h 6557032"/>
              <a:gd name="connsiteX30068" fmla="*/ 952997 w 4610101"/>
              <a:gd name="connsiteY30068" fmla="*/ 738832 h 6557032"/>
              <a:gd name="connsiteX30069" fmla="*/ 951175 w 4610101"/>
              <a:gd name="connsiteY30069" fmla="*/ 747943 h 6557032"/>
              <a:gd name="connsiteX30070" fmla="*/ 969397 w 4610101"/>
              <a:gd name="connsiteY30070" fmla="*/ 733365 h 6557032"/>
              <a:gd name="connsiteX30071" fmla="*/ 962108 w 4610101"/>
              <a:gd name="connsiteY30071" fmla="*/ 738832 h 6557032"/>
              <a:gd name="connsiteX30072" fmla="*/ 962108 w 4610101"/>
              <a:gd name="connsiteY30072" fmla="*/ 733365 h 6557032"/>
              <a:gd name="connsiteX30073" fmla="*/ 898333 w 4610101"/>
              <a:gd name="connsiteY30073" fmla="*/ 733365 h 6557032"/>
              <a:gd name="connsiteX30074" fmla="*/ 898333 w 4610101"/>
              <a:gd name="connsiteY30074" fmla="*/ 742476 h 6557032"/>
              <a:gd name="connsiteX30075" fmla="*/ 898333 w 4610101"/>
              <a:gd name="connsiteY30075" fmla="*/ 733365 h 6557032"/>
              <a:gd name="connsiteX30076" fmla="*/ 819979 w 4610101"/>
              <a:gd name="connsiteY30076" fmla="*/ 733365 h 6557032"/>
              <a:gd name="connsiteX30077" fmla="*/ 818156 w 4610101"/>
              <a:gd name="connsiteY30077" fmla="*/ 737010 h 6557032"/>
              <a:gd name="connsiteX30078" fmla="*/ 825445 w 4610101"/>
              <a:gd name="connsiteY30078" fmla="*/ 738832 h 6557032"/>
              <a:gd name="connsiteX30079" fmla="*/ 819979 w 4610101"/>
              <a:gd name="connsiteY30079" fmla="*/ 733365 h 6557032"/>
              <a:gd name="connsiteX30080" fmla="*/ 794468 w 4610101"/>
              <a:gd name="connsiteY30080" fmla="*/ 733365 h 6557032"/>
              <a:gd name="connsiteX30081" fmla="*/ 792646 w 4610101"/>
              <a:gd name="connsiteY30081" fmla="*/ 740654 h 6557032"/>
              <a:gd name="connsiteX30082" fmla="*/ 794468 w 4610101"/>
              <a:gd name="connsiteY30082" fmla="*/ 733365 h 6557032"/>
              <a:gd name="connsiteX30083" fmla="*/ 745269 w 4610101"/>
              <a:gd name="connsiteY30083" fmla="*/ 733365 h 6557032"/>
              <a:gd name="connsiteX30084" fmla="*/ 745269 w 4610101"/>
              <a:gd name="connsiteY30084" fmla="*/ 738832 h 6557032"/>
              <a:gd name="connsiteX30085" fmla="*/ 752558 w 4610101"/>
              <a:gd name="connsiteY30085" fmla="*/ 738832 h 6557032"/>
              <a:gd name="connsiteX30086" fmla="*/ 745269 w 4610101"/>
              <a:gd name="connsiteY30086" fmla="*/ 733365 h 6557032"/>
              <a:gd name="connsiteX30087" fmla="*/ 453722 w 4610101"/>
              <a:gd name="connsiteY30087" fmla="*/ 733365 h 6557032"/>
              <a:gd name="connsiteX30088" fmla="*/ 462832 w 4610101"/>
              <a:gd name="connsiteY30088" fmla="*/ 746121 h 6557032"/>
              <a:gd name="connsiteX30089" fmla="*/ 453722 w 4610101"/>
              <a:gd name="connsiteY30089" fmla="*/ 733365 h 6557032"/>
              <a:gd name="connsiteX30090" fmla="*/ 448256 w 4610101"/>
              <a:gd name="connsiteY30090" fmla="*/ 733365 h 6557032"/>
              <a:gd name="connsiteX30091" fmla="*/ 448256 w 4610101"/>
              <a:gd name="connsiteY30091" fmla="*/ 742476 h 6557032"/>
              <a:gd name="connsiteX30092" fmla="*/ 450077 w 4610101"/>
              <a:gd name="connsiteY30092" fmla="*/ 742476 h 6557032"/>
              <a:gd name="connsiteX30093" fmla="*/ 453722 w 4610101"/>
              <a:gd name="connsiteY30093" fmla="*/ 738832 h 6557032"/>
              <a:gd name="connsiteX30094" fmla="*/ 448256 w 4610101"/>
              <a:gd name="connsiteY30094" fmla="*/ 733365 h 6557032"/>
              <a:gd name="connsiteX30095" fmla="*/ 220483 w 4610101"/>
              <a:gd name="connsiteY30095" fmla="*/ 733365 h 6557032"/>
              <a:gd name="connsiteX30096" fmla="*/ 222306 w 4610101"/>
              <a:gd name="connsiteY30096" fmla="*/ 737010 h 6557032"/>
              <a:gd name="connsiteX30097" fmla="*/ 223882 w 4610101"/>
              <a:gd name="connsiteY30097" fmla="*/ 738401 h 6557032"/>
              <a:gd name="connsiteX30098" fmla="*/ 232783 w 4610101"/>
              <a:gd name="connsiteY30098" fmla="*/ 751587 h 6557032"/>
              <a:gd name="connsiteX30099" fmla="*/ 253282 w 4610101"/>
              <a:gd name="connsiteY30099" fmla="*/ 764342 h 6557032"/>
              <a:gd name="connsiteX30100" fmla="*/ 223882 w 4610101"/>
              <a:gd name="connsiteY30100" fmla="*/ 738401 h 6557032"/>
              <a:gd name="connsiteX30101" fmla="*/ 171285 w 4610101"/>
              <a:gd name="connsiteY30101" fmla="*/ 733365 h 6557032"/>
              <a:gd name="connsiteX30102" fmla="*/ 207728 w 4610101"/>
              <a:gd name="connsiteY30102" fmla="*/ 782564 h 6557032"/>
              <a:gd name="connsiteX30103" fmla="*/ 199245 w 4610101"/>
              <a:gd name="connsiteY30103" fmla="*/ 769014 h 6557032"/>
              <a:gd name="connsiteX30104" fmla="*/ 204084 w 4610101"/>
              <a:gd name="connsiteY30104" fmla="*/ 775275 h 6557032"/>
              <a:gd name="connsiteX30105" fmla="*/ 209550 w 4610101"/>
              <a:gd name="connsiteY30105" fmla="*/ 777098 h 6557032"/>
              <a:gd name="connsiteX30106" fmla="*/ 207728 w 4610101"/>
              <a:gd name="connsiteY30106" fmla="*/ 777098 h 6557032"/>
              <a:gd name="connsiteX30107" fmla="*/ 222306 w 4610101"/>
              <a:gd name="connsiteY30107" fmla="*/ 791675 h 6557032"/>
              <a:gd name="connsiteX30108" fmla="*/ 213195 w 4610101"/>
              <a:gd name="connsiteY30108" fmla="*/ 784386 h 6557032"/>
              <a:gd name="connsiteX30109" fmla="*/ 229594 w 4610101"/>
              <a:gd name="connsiteY30109" fmla="*/ 793497 h 6557032"/>
              <a:gd name="connsiteX30110" fmla="*/ 209550 w 4610101"/>
              <a:gd name="connsiteY30110" fmla="*/ 775275 h 6557032"/>
              <a:gd name="connsiteX30111" fmla="*/ 211372 w 4610101"/>
              <a:gd name="connsiteY30111" fmla="*/ 775275 h 6557032"/>
              <a:gd name="connsiteX30112" fmla="*/ 191329 w 4610101"/>
              <a:gd name="connsiteY30112" fmla="*/ 755231 h 6557032"/>
              <a:gd name="connsiteX30113" fmla="*/ 194151 w 4610101"/>
              <a:gd name="connsiteY30113" fmla="*/ 760876 h 6557032"/>
              <a:gd name="connsiteX30114" fmla="*/ 190190 w 4610101"/>
              <a:gd name="connsiteY30114" fmla="*/ 754548 h 6557032"/>
              <a:gd name="connsiteX30115" fmla="*/ 171285 w 4610101"/>
              <a:gd name="connsiteY30115" fmla="*/ 733365 h 6557032"/>
              <a:gd name="connsiteX30116" fmla="*/ 1347042 w 4610101"/>
              <a:gd name="connsiteY30116" fmla="*/ 731771 h 6557032"/>
              <a:gd name="connsiteX30117" fmla="*/ 1335654 w 4610101"/>
              <a:gd name="connsiteY30117" fmla="*/ 740654 h 6557032"/>
              <a:gd name="connsiteX30118" fmla="*/ 1352053 w 4610101"/>
              <a:gd name="connsiteY30118" fmla="*/ 738832 h 6557032"/>
              <a:gd name="connsiteX30119" fmla="*/ 1353876 w 4610101"/>
              <a:gd name="connsiteY30119" fmla="*/ 740654 h 6557032"/>
              <a:gd name="connsiteX30120" fmla="*/ 1361164 w 4610101"/>
              <a:gd name="connsiteY30120" fmla="*/ 735188 h 6557032"/>
              <a:gd name="connsiteX30121" fmla="*/ 1347042 w 4610101"/>
              <a:gd name="connsiteY30121" fmla="*/ 731771 h 6557032"/>
              <a:gd name="connsiteX30122" fmla="*/ 1408541 w 4610101"/>
              <a:gd name="connsiteY30122" fmla="*/ 731543 h 6557032"/>
              <a:gd name="connsiteX30123" fmla="*/ 1404896 w 4610101"/>
              <a:gd name="connsiteY30123" fmla="*/ 735188 h 6557032"/>
              <a:gd name="connsiteX30124" fmla="*/ 1408541 w 4610101"/>
              <a:gd name="connsiteY30124" fmla="*/ 731543 h 6557032"/>
              <a:gd name="connsiteX30125" fmla="*/ 1375743 w 4610101"/>
              <a:gd name="connsiteY30125" fmla="*/ 731543 h 6557032"/>
              <a:gd name="connsiteX30126" fmla="*/ 1372097 w 4610101"/>
              <a:gd name="connsiteY30126" fmla="*/ 735188 h 6557032"/>
              <a:gd name="connsiteX30127" fmla="*/ 1377564 w 4610101"/>
              <a:gd name="connsiteY30127" fmla="*/ 737010 h 6557032"/>
              <a:gd name="connsiteX30128" fmla="*/ 1375743 w 4610101"/>
              <a:gd name="connsiteY30128" fmla="*/ 731543 h 6557032"/>
              <a:gd name="connsiteX30129" fmla="*/ 1277344 w 4610101"/>
              <a:gd name="connsiteY30129" fmla="*/ 731543 h 6557032"/>
              <a:gd name="connsiteX30130" fmla="*/ 1279166 w 4610101"/>
              <a:gd name="connsiteY30130" fmla="*/ 735188 h 6557032"/>
              <a:gd name="connsiteX30131" fmla="*/ 1282811 w 4610101"/>
              <a:gd name="connsiteY30131" fmla="*/ 731543 h 6557032"/>
              <a:gd name="connsiteX30132" fmla="*/ 1277344 w 4610101"/>
              <a:gd name="connsiteY30132" fmla="*/ 731543 h 6557032"/>
              <a:gd name="connsiteX30133" fmla="*/ 1273700 w 4610101"/>
              <a:gd name="connsiteY30133" fmla="*/ 731543 h 6557032"/>
              <a:gd name="connsiteX30134" fmla="*/ 1253656 w 4610101"/>
              <a:gd name="connsiteY30134" fmla="*/ 737010 h 6557032"/>
              <a:gd name="connsiteX30135" fmla="*/ 1250012 w 4610101"/>
              <a:gd name="connsiteY30135" fmla="*/ 740654 h 6557032"/>
              <a:gd name="connsiteX30136" fmla="*/ 1268233 w 4610101"/>
              <a:gd name="connsiteY30136" fmla="*/ 738832 h 6557032"/>
              <a:gd name="connsiteX30137" fmla="*/ 1266411 w 4610101"/>
              <a:gd name="connsiteY30137" fmla="*/ 742476 h 6557032"/>
              <a:gd name="connsiteX30138" fmla="*/ 1279166 w 4610101"/>
              <a:gd name="connsiteY30138" fmla="*/ 737010 h 6557032"/>
              <a:gd name="connsiteX30139" fmla="*/ 1273700 w 4610101"/>
              <a:gd name="connsiteY30139" fmla="*/ 731543 h 6557032"/>
              <a:gd name="connsiteX30140" fmla="*/ 994907 w 4610101"/>
              <a:gd name="connsiteY30140" fmla="*/ 731543 h 6557032"/>
              <a:gd name="connsiteX30141" fmla="*/ 965753 w 4610101"/>
              <a:gd name="connsiteY30141" fmla="*/ 751587 h 6557032"/>
              <a:gd name="connsiteX30142" fmla="*/ 974863 w 4610101"/>
              <a:gd name="connsiteY30142" fmla="*/ 746121 h 6557032"/>
              <a:gd name="connsiteX30143" fmla="*/ 971219 w 4610101"/>
              <a:gd name="connsiteY30143" fmla="*/ 749765 h 6557032"/>
              <a:gd name="connsiteX30144" fmla="*/ 989441 w 4610101"/>
              <a:gd name="connsiteY30144" fmla="*/ 747943 h 6557032"/>
              <a:gd name="connsiteX30145" fmla="*/ 985796 w 4610101"/>
              <a:gd name="connsiteY30145" fmla="*/ 738832 h 6557032"/>
              <a:gd name="connsiteX30146" fmla="*/ 993085 w 4610101"/>
              <a:gd name="connsiteY30146" fmla="*/ 742476 h 6557032"/>
              <a:gd name="connsiteX30147" fmla="*/ 994907 w 4610101"/>
              <a:gd name="connsiteY30147" fmla="*/ 731543 h 6557032"/>
              <a:gd name="connsiteX30148" fmla="*/ 907444 w 4610101"/>
              <a:gd name="connsiteY30148" fmla="*/ 731543 h 6557032"/>
              <a:gd name="connsiteX30149" fmla="*/ 911087 w 4610101"/>
              <a:gd name="connsiteY30149" fmla="*/ 738832 h 6557032"/>
              <a:gd name="connsiteX30150" fmla="*/ 907444 w 4610101"/>
              <a:gd name="connsiteY30150" fmla="*/ 731543 h 6557032"/>
              <a:gd name="connsiteX30151" fmla="*/ 805401 w 4610101"/>
              <a:gd name="connsiteY30151" fmla="*/ 731543 h 6557032"/>
              <a:gd name="connsiteX30152" fmla="*/ 803579 w 4610101"/>
              <a:gd name="connsiteY30152" fmla="*/ 733365 h 6557032"/>
              <a:gd name="connsiteX30153" fmla="*/ 809046 w 4610101"/>
              <a:gd name="connsiteY30153" fmla="*/ 735188 h 6557032"/>
              <a:gd name="connsiteX30154" fmla="*/ 805401 w 4610101"/>
              <a:gd name="connsiteY30154" fmla="*/ 731543 h 6557032"/>
              <a:gd name="connsiteX30155" fmla="*/ 719759 w 4610101"/>
              <a:gd name="connsiteY30155" fmla="*/ 731543 h 6557032"/>
              <a:gd name="connsiteX30156" fmla="*/ 727048 w 4610101"/>
              <a:gd name="connsiteY30156" fmla="*/ 744298 h 6557032"/>
              <a:gd name="connsiteX30157" fmla="*/ 719759 w 4610101"/>
              <a:gd name="connsiteY30157" fmla="*/ 731543 h 6557032"/>
              <a:gd name="connsiteX30158" fmla="*/ 539364 w 4610101"/>
              <a:gd name="connsiteY30158" fmla="*/ 731543 h 6557032"/>
              <a:gd name="connsiteX30159" fmla="*/ 541186 w 4610101"/>
              <a:gd name="connsiteY30159" fmla="*/ 735188 h 6557032"/>
              <a:gd name="connsiteX30160" fmla="*/ 539364 w 4610101"/>
              <a:gd name="connsiteY30160" fmla="*/ 731543 h 6557032"/>
              <a:gd name="connsiteX30161" fmla="*/ 344391 w 4610101"/>
              <a:gd name="connsiteY30161" fmla="*/ 731543 h 6557032"/>
              <a:gd name="connsiteX30162" fmla="*/ 360791 w 4610101"/>
              <a:gd name="connsiteY30162" fmla="*/ 742476 h 6557032"/>
              <a:gd name="connsiteX30163" fmla="*/ 344391 w 4610101"/>
              <a:gd name="connsiteY30163" fmla="*/ 731543 h 6557032"/>
              <a:gd name="connsiteX30164" fmla="*/ 280615 w 4610101"/>
              <a:gd name="connsiteY30164" fmla="*/ 731543 h 6557032"/>
              <a:gd name="connsiteX30165" fmla="*/ 311592 w 4610101"/>
              <a:gd name="connsiteY30165" fmla="*/ 757054 h 6557032"/>
              <a:gd name="connsiteX30166" fmla="*/ 300660 w 4610101"/>
              <a:gd name="connsiteY30166" fmla="*/ 737010 h 6557032"/>
              <a:gd name="connsiteX30167" fmla="*/ 280615 w 4610101"/>
              <a:gd name="connsiteY30167" fmla="*/ 731543 h 6557032"/>
              <a:gd name="connsiteX30168" fmla="*/ 2775171 w 4610101"/>
              <a:gd name="connsiteY30168" fmla="*/ 729721 h 6557032"/>
              <a:gd name="connsiteX30169" fmla="*/ 2760594 w 4610101"/>
              <a:gd name="connsiteY30169" fmla="*/ 733365 h 6557032"/>
              <a:gd name="connsiteX30170" fmla="*/ 2762416 w 4610101"/>
              <a:gd name="connsiteY30170" fmla="*/ 755231 h 6557032"/>
              <a:gd name="connsiteX30171" fmla="*/ 2769705 w 4610101"/>
              <a:gd name="connsiteY30171" fmla="*/ 753409 h 6557032"/>
              <a:gd name="connsiteX30172" fmla="*/ 2775171 w 4610101"/>
              <a:gd name="connsiteY30172" fmla="*/ 729721 h 6557032"/>
              <a:gd name="connsiteX30173" fmla="*/ 2598421 w 4610101"/>
              <a:gd name="connsiteY30173" fmla="*/ 729721 h 6557032"/>
              <a:gd name="connsiteX30174" fmla="*/ 2596598 w 4610101"/>
              <a:gd name="connsiteY30174" fmla="*/ 735188 h 6557032"/>
              <a:gd name="connsiteX30175" fmla="*/ 2600243 w 4610101"/>
              <a:gd name="connsiteY30175" fmla="*/ 738832 h 6557032"/>
              <a:gd name="connsiteX30176" fmla="*/ 2603887 w 4610101"/>
              <a:gd name="connsiteY30176" fmla="*/ 738832 h 6557032"/>
              <a:gd name="connsiteX30177" fmla="*/ 2598421 w 4610101"/>
              <a:gd name="connsiteY30177" fmla="*/ 729721 h 6557032"/>
              <a:gd name="connsiteX30178" fmla="*/ 1231790 w 4610101"/>
              <a:gd name="connsiteY30178" fmla="*/ 729721 h 6557032"/>
              <a:gd name="connsiteX30179" fmla="*/ 1224501 w 4610101"/>
              <a:gd name="connsiteY30179" fmla="*/ 737010 h 6557032"/>
              <a:gd name="connsiteX30180" fmla="*/ 1231790 w 4610101"/>
              <a:gd name="connsiteY30180" fmla="*/ 729721 h 6557032"/>
              <a:gd name="connsiteX30181" fmla="*/ 1007663 w 4610101"/>
              <a:gd name="connsiteY30181" fmla="*/ 729721 h 6557032"/>
              <a:gd name="connsiteX30182" fmla="*/ 1005840 w 4610101"/>
              <a:gd name="connsiteY30182" fmla="*/ 744298 h 6557032"/>
              <a:gd name="connsiteX30183" fmla="*/ 1013129 w 4610101"/>
              <a:gd name="connsiteY30183" fmla="*/ 733365 h 6557032"/>
              <a:gd name="connsiteX30184" fmla="*/ 1007663 w 4610101"/>
              <a:gd name="connsiteY30184" fmla="*/ 729721 h 6557032"/>
              <a:gd name="connsiteX30185" fmla="*/ 925666 w 4610101"/>
              <a:gd name="connsiteY30185" fmla="*/ 729721 h 6557032"/>
              <a:gd name="connsiteX30186" fmla="*/ 918376 w 4610101"/>
              <a:gd name="connsiteY30186" fmla="*/ 738832 h 6557032"/>
              <a:gd name="connsiteX30187" fmla="*/ 922020 w 4610101"/>
              <a:gd name="connsiteY30187" fmla="*/ 738832 h 6557032"/>
              <a:gd name="connsiteX30188" fmla="*/ 925666 w 4610101"/>
              <a:gd name="connsiteY30188" fmla="*/ 729721 h 6557032"/>
              <a:gd name="connsiteX30189" fmla="*/ 898333 w 4610101"/>
              <a:gd name="connsiteY30189" fmla="*/ 729721 h 6557032"/>
              <a:gd name="connsiteX30190" fmla="*/ 900154 w 4610101"/>
              <a:gd name="connsiteY30190" fmla="*/ 737010 h 6557032"/>
              <a:gd name="connsiteX30191" fmla="*/ 903799 w 4610101"/>
              <a:gd name="connsiteY30191" fmla="*/ 731543 h 6557032"/>
              <a:gd name="connsiteX30192" fmla="*/ 898333 w 4610101"/>
              <a:gd name="connsiteY30192" fmla="*/ 729721 h 6557032"/>
              <a:gd name="connsiteX30193" fmla="*/ 883755 w 4610101"/>
              <a:gd name="connsiteY30193" fmla="*/ 729721 h 6557032"/>
              <a:gd name="connsiteX30194" fmla="*/ 891043 w 4610101"/>
              <a:gd name="connsiteY30194" fmla="*/ 742476 h 6557032"/>
              <a:gd name="connsiteX30195" fmla="*/ 883755 w 4610101"/>
              <a:gd name="connsiteY30195" fmla="*/ 729721 h 6557032"/>
              <a:gd name="connsiteX30196" fmla="*/ 759848 w 4610101"/>
              <a:gd name="connsiteY30196" fmla="*/ 729721 h 6557032"/>
              <a:gd name="connsiteX30197" fmla="*/ 768959 w 4610101"/>
              <a:gd name="connsiteY30197" fmla="*/ 733365 h 6557032"/>
              <a:gd name="connsiteX30198" fmla="*/ 759848 w 4610101"/>
              <a:gd name="connsiteY30198" fmla="*/ 729721 h 6557032"/>
              <a:gd name="connsiteX30199" fmla="*/ 727048 w 4610101"/>
              <a:gd name="connsiteY30199" fmla="*/ 729721 h 6557032"/>
              <a:gd name="connsiteX30200" fmla="*/ 732515 w 4610101"/>
              <a:gd name="connsiteY30200" fmla="*/ 737010 h 6557032"/>
              <a:gd name="connsiteX30201" fmla="*/ 727048 w 4610101"/>
              <a:gd name="connsiteY30201" fmla="*/ 729721 h 6557032"/>
              <a:gd name="connsiteX30202" fmla="*/ 373546 w 4610101"/>
              <a:gd name="connsiteY30202" fmla="*/ 729721 h 6557032"/>
              <a:gd name="connsiteX30203" fmla="*/ 380835 w 4610101"/>
              <a:gd name="connsiteY30203" fmla="*/ 742476 h 6557032"/>
              <a:gd name="connsiteX30204" fmla="*/ 373546 w 4610101"/>
              <a:gd name="connsiteY30204" fmla="*/ 729721 h 6557032"/>
              <a:gd name="connsiteX30205" fmla="*/ 331636 w 4610101"/>
              <a:gd name="connsiteY30205" fmla="*/ 729721 h 6557032"/>
              <a:gd name="connsiteX30206" fmla="*/ 346213 w 4610101"/>
              <a:gd name="connsiteY30206" fmla="*/ 740654 h 6557032"/>
              <a:gd name="connsiteX30207" fmla="*/ 331636 w 4610101"/>
              <a:gd name="connsiteY30207" fmla="*/ 729721 h 6557032"/>
              <a:gd name="connsiteX30208" fmla="*/ 267860 w 4610101"/>
              <a:gd name="connsiteY30208" fmla="*/ 729721 h 6557032"/>
              <a:gd name="connsiteX30209" fmla="*/ 291549 w 4610101"/>
              <a:gd name="connsiteY30209" fmla="*/ 749765 h 6557032"/>
              <a:gd name="connsiteX30210" fmla="*/ 280615 w 4610101"/>
              <a:gd name="connsiteY30210" fmla="*/ 738832 h 6557032"/>
              <a:gd name="connsiteX30211" fmla="*/ 275149 w 4610101"/>
              <a:gd name="connsiteY30211" fmla="*/ 729721 h 6557032"/>
              <a:gd name="connsiteX30212" fmla="*/ 267860 w 4610101"/>
              <a:gd name="connsiteY30212" fmla="*/ 729721 h 6557032"/>
              <a:gd name="connsiteX30213" fmla="*/ 1251834 w 4610101"/>
              <a:gd name="connsiteY30213" fmla="*/ 727899 h 6557032"/>
              <a:gd name="connsiteX30214" fmla="*/ 1233612 w 4610101"/>
              <a:gd name="connsiteY30214" fmla="*/ 740654 h 6557032"/>
              <a:gd name="connsiteX30215" fmla="*/ 1251834 w 4610101"/>
              <a:gd name="connsiteY30215" fmla="*/ 727899 h 6557032"/>
              <a:gd name="connsiteX30216" fmla="*/ 1206279 w 4610101"/>
              <a:gd name="connsiteY30216" fmla="*/ 727899 h 6557032"/>
              <a:gd name="connsiteX30217" fmla="*/ 1202636 w 4610101"/>
              <a:gd name="connsiteY30217" fmla="*/ 733365 h 6557032"/>
              <a:gd name="connsiteX30218" fmla="*/ 1206279 w 4610101"/>
              <a:gd name="connsiteY30218" fmla="*/ 727899 h 6557032"/>
              <a:gd name="connsiteX30219" fmla="*/ 1131570 w 4610101"/>
              <a:gd name="connsiteY30219" fmla="*/ 727899 h 6557032"/>
              <a:gd name="connsiteX30220" fmla="*/ 1138859 w 4610101"/>
              <a:gd name="connsiteY30220" fmla="*/ 729721 h 6557032"/>
              <a:gd name="connsiteX30221" fmla="*/ 1131570 w 4610101"/>
              <a:gd name="connsiteY30221" fmla="*/ 727899 h 6557032"/>
              <a:gd name="connsiteX30222" fmla="*/ 1045929 w 4610101"/>
              <a:gd name="connsiteY30222" fmla="*/ 727899 h 6557032"/>
              <a:gd name="connsiteX30223" fmla="*/ 1042284 w 4610101"/>
              <a:gd name="connsiteY30223" fmla="*/ 733365 h 6557032"/>
              <a:gd name="connsiteX30224" fmla="*/ 1049573 w 4610101"/>
              <a:gd name="connsiteY30224" fmla="*/ 731543 h 6557032"/>
              <a:gd name="connsiteX30225" fmla="*/ 1045929 w 4610101"/>
              <a:gd name="connsiteY30225" fmla="*/ 727899 h 6557032"/>
              <a:gd name="connsiteX30226" fmla="*/ 998552 w 4610101"/>
              <a:gd name="connsiteY30226" fmla="*/ 727899 h 6557032"/>
              <a:gd name="connsiteX30227" fmla="*/ 994907 w 4610101"/>
              <a:gd name="connsiteY30227" fmla="*/ 740654 h 6557032"/>
              <a:gd name="connsiteX30228" fmla="*/ 1002196 w 4610101"/>
              <a:gd name="connsiteY30228" fmla="*/ 731543 h 6557032"/>
              <a:gd name="connsiteX30229" fmla="*/ 998552 w 4610101"/>
              <a:gd name="connsiteY30229" fmla="*/ 727899 h 6557032"/>
              <a:gd name="connsiteX30230" fmla="*/ 994907 w 4610101"/>
              <a:gd name="connsiteY30230" fmla="*/ 727899 h 6557032"/>
              <a:gd name="connsiteX30231" fmla="*/ 985796 w 4610101"/>
              <a:gd name="connsiteY30231" fmla="*/ 733365 h 6557032"/>
              <a:gd name="connsiteX30232" fmla="*/ 994907 w 4610101"/>
              <a:gd name="connsiteY30232" fmla="*/ 727899 h 6557032"/>
              <a:gd name="connsiteX30233" fmla="*/ 685138 w 4610101"/>
              <a:gd name="connsiteY30233" fmla="*/ 727899 h 6557032"/>
              <a:gd name="connsiteX30234" fmla="*/ 686439 w 4610101"/>
              <a:gd name="connsiteY30234" fmla="*/ 728550 h 6557032"/>
              <a:gd name="connsiteX30235" fmla="*/ 686960 w 4610101"/>
              <a:gd name="connsiteY30235" fmla="*/ 729721 h 6557032"/>
              <a:gd name="connsiteX30236" fmla="*/ 685465 w 4610101"/>
              <a:gd name="connsiteY30236" fmla="*/ 728787 h 6557032"/>
              <a:gd name="connsiteX30237" fmla="*/ 606784 w 4610101"/>
              <a:gd name="connsiteY30237" fmla="*/ 727899 h 6557032"/>
              <a:gd name="connsiteX30238" fmla="*/ 599496 w 4610101"/>
              <a:gd name="connsiteY30238" fmla="*/ 740654 h 6557032"/>
              <a:gd name="connsiteX30239" fmla="*/ 601521 w 4610101"/>
              <a:gd name="connsiteY30239" fmla="*/ 737112 h 6557032"/>
              <a:gd name="connsiteX30240" fmla="*/ 608606 w 4610101"/>
              <a:gd name="connsiteY30240" fmla="*/ 740654 h 6557032"/>
              <a:gd name="connsiteX30241" fmla="*/ 612251 w 4610101"/>
              <a:gd name="connsiteY30241" fmla="*/ 753409 h 6557032"/>
              <a:gd name="connsiteX30242" fmla="*/ 621362 w 4610101"/>
              <a:gd name="connsiteY30242" fmla="*/ 767987 h 6557032"/>
              <a:gd name="connsiteX30243" fmla="*/ 612251 w 4610101"/>
              <a:gd name="connsiteY30243" fmla="*/ 753409 h 6557032"/>
              <a:gd name="connsiteX30244" fmla="*/ 621362 w 4610101"/>
              <a:gd name="connsiteY30244" fmla="*/ 764342 h 6557032"/>
              <a:gd name="connsiteX30245" fmla="*/ 639583 w 4610101"/>
              <a:gd name="connsiteY30245" fmla="*/ 735188 h 6557032"/>
              <a:gd name="connsiteX30246" fmla="*/ 637761 w 4610101"/>
              <a:gd name="connsiteY30246" fmla="*/ 737010 h 6557032"/>
              <a:gd name="connsiteX30247" fmla="*/ 612251 w 4610101"/>
              <a:gd name="connsiteY30247" fmla="*/ 737010 h 6557032"/>
              <a:gd name="connsiteX30248" fmla="*/ 614074 w 4610101"/>
              <a:gd name="connsiteY30248" fmla="*/ 733365 h 6557032"/>
              <a:gd name="connsiteX30249" fmla="*/ 608606 w 4610101"/>
              <a:gd name="connsiteY30249" fmla="*/ 727899 h 6557032"/>
              <a:gd name="connsiteX30250" fmla="*/ 607695 w 4610101"/>
              <a:gd name="connsiteY30250" fmla="*/ 735188 h 6557032"/>
              <a:gd name="connsiteX30251" fmla="*/ 601630 w 4610101"/>
              <a:gd name="connsiteY30251" fmla="*/ 736922 h 6557032"/>
              <a:gd name="connsiteX30252" fmla="*/ 264216 w 4610101"/>
              <a:gd name="connsiteY30252" fmla="*/ 727899 h 6557032"/>
              <a:gd name="connsiteX30253" fmla="*/ 264216 w 4610101"/>
              <a:gd name="connsiteY30253" fmla="*/ 737010 h 6557032"/>
              <a:gd name="connsiteX30254" fmla="*/ 264216 w 4610101"/>
              <a:gd name="connsiteY30254" fmla="*/ 727899 h 6557032"/>
              <a:gd name="connsiteX30255" fmla="*/ 211372 w 4610101"/>
              <a:gd name="connsiteY30255" fmla="*/ 727899 h 6557032"/>
              <a:gd name="connsiteX30256" fmla="*/ 218661 w 4610101"/>
              <a:gd name="connsiteY30256" fmla="*/ 738832 h 6557032"/>
              <a:gd name="connsiteX30257" fmla="*/ 211372 w 4610101"/>
              <a:gd name="connsiteY30257" fmla="*/ 727899 h 6557032"/>
              <a:gd name="connsiteX30258" fmla="*/ 3586476 w 4610101"/>
              <a:gd name="connsiteY30258" fmla="*/ 727811 h 6557032"/>
              <a:gd name="connsiteX30259" fmla="*/ 3591505 w 4610101"/>
              <a:gd name="connsiteY30259" fmla="*/ 727899 h 6557032"/>
              <a:gd name="connsiteX30260" fmla="*/ 3587406 w 4610101"/>
              <a:gd name="connsiteY30260" fmla="*/ 728583 h 6557032"/>
              <a:gd name="connsiteX30261" fmla="*/ 3586039 w 4610101"/>
              <a:gd name="connsiteY30261" fmla="*/ 727899 h 6557032"/>
              <a:gd name="connsiteX30262" fmla="*/ 3557795 w 4610101"/>
              <a:gd name="connsiteY30262" fmla="*/ 727672 h 6557032"/>
              <a:gd name="connsiteX30263" fmla="*/ 3556884 w 4610101"/>
              <a:gd name="connsiteY30263" fmla="*/ 731543 h 6557032"/>
              <a:gd name="connsiteX30264" fmla="*/ 3564173 w 4610101"/>
              <a:gd name="connsiteY30264" fmla="*/ 731543 h 6557032"/>
              <a:gd name="connsiteX30265" fmla="*/ 3564173 w 4610101"/>
              <a:gd name="connsiteY30265" fmla="*/ 727899 h 6557032"/>
              <a:gd name="connsiteX30266" fmla="*/ 3557795 w 4610101"/>
              <a:gd name="connsiteY30266" fmla="*/ 727672 h 6557032"/>
              <a:gd name="connsiteX30267" fmla="*/ 185217 w 4610101"/>
              <a:gd name="connsiteY30267" fmla="*/ 727038 h 6557032"/>
              <a:gd name="connsiteX30268" fmla="*/ 191329 w 4610101"/>
              <a:gd name="connsiteY30268" fmla="*/ 739516 h 6557032"/>
              <a:gd name="connsiteX30269" fmla="*/ 195035 w 4610101"/>
              <a:gd name="connsiteY30269" fmla="*/ 744960 h 6557032"/>
              <a:gd name="connsiteX30270" fmla="*/ 192695 w 4610101"/>
              <a:gd name="connsiteY30270" fmla="*/ 742476 h 6557032"/>
              <a:gd name="connsiteX30271" fmla="*/ 324119 w 4610101"/>
              <a:gd name="connsiteY30271" fmla="*/ 726988 h 6557032"/>
              <a:gd name="connsiteX30272" fmla="*/ 324347 w 4610101"/>
              <a:gd name="connsiteY30272" fmla="*/ 727899 h 6557032"/>
              <a:gd name="connsiteX30273" fmla="*/ 325132 w 4610101"/>
              <a:gd name="connsiteY30273" fmla="*/ 728180 h 6557032"/>
              <a:gd name="connsiteX30274" fmla="*/ 327993 w 4610101"/>
              <a:gd name="connsiteY30274" fmla="*/ 731543 h 6557032"/>
              <a:gd name="connsiteX30275" fmla="*/ 327537 w 4610101"/>
              <a:gd name="connsiteY30275" fmla="*/ 729038 h 6557032"/>
              <a:gd name="connsiteX30276" fmla="*/ 325132 w 4610101"/>
              <a:gd name="connsiteY30276" fmla="*/ 728180 h 6557032"/>
              <a:gd name="connsiteX30277" fmla="*/ 3493108 w 4610101"/>
              <a:gd name="connsiteY30277" fmla="*/ 726077 h 6557032"/>
              <a:gd name="connsiteX30278" fmla="*/ 3491286 w 4610101"/>
              <a:gd name="connsiteY30278" fmla="*/ 737010 h 6557032"/>
              <a:gd name="connsiteX30279" fmla="*/ 3493108 w 4610101"/>
              <a:gd name="connsiteY30279" fmla="*/ 726077 h 6557032"/>
              <a:gd name="connsiteX30280" fmla="*/ 1372097 w 4610101"/>
              <a:gd name="connsiteY30280" fmla="*/ 726077 h 6557032"/>
              <a:gd name="connsiteX30281" fmla="*/ 1366632 w 4610101"/>
              <a:gd name="connsiteY30281" fmla="*/ 733365 h 6557032"/>
              <a:gd name="connsiteX30282" fmla="*/ 1368453 w 4610101"/>
              <a:gd name="connsiteY30282" fmla="*/ 735188 h 6557032"/>
              <a:gd name="connsiteX30283" fmla="*/ 1375743 w 4610101"/>
              <a:gd name="connsiteY30283" fmla="*/ 729721 h 6557032"/>
              <a:gd name="connsiteX30284" fmla="*/ 1372097 w 4610101"/>
              <a:gd name="connsiteY30284" fmla="*/ 726077 h 6557032"/>
              <a:gd name="connsiteX30285" fmla="*/ 1118815 w 4610101"/>
              <a:gd name="connsiteY30285" fmla="*/ 726077 h 6557032"/>
              <a:gd name="connsiteX30286" fmla="*/ 1109704 w 4610101"/>
              <a:gd name="connsiteY30286" fmla="*/ 731543 h 6557032"/>
              <a:gd name="connsiteX30287" fmla="*/ 1122459 w 4610101"/>
              <a:gd name="connsiteY30287" fmla="*/ 733365 h 6557032"/>
              <a:gd name="connsiteX30288" fmla="*/ 1118815 w 4610101"/>
              <a:gd name="connsiteY30288" fmla="*/ 726077 h 6557032"/>
              <a:gd name="connsiteX30289" fmla="*/ 841845 w 4610101"/>
              <a:gd name="connsiteY30289" fmla="*/ 726077 h 6557032"/>
              <a:gd name="connsiteX30290" fmla="*/ 850956 w 4610101"/>
              <a:gd name="connsiteY30290" fmla="*/ 746121 h 6557032"/>
              <a:gd name="connsiteX30291" fmla="*/ 849133 w 4610101"/>
              <a:gd name="connsiteY30291" fmla="*/ 731543 h 6557032"/>
              <a:gd name="connsiteX30292" fmla="*/ 841845 w 4610101"/>
              <a:gd name="connsiteY30292" fmla="*/ 726077 h 6557032"/>
              <a:gd name="connsiteX30293" fmla="*/ 814512 w 4610101"/>
              <a:gd name="connsiteY30293" fmla="*/ 726077 h 6557032"/>
              <a:gd name="connsiteX30294" fmla="*/ 809046 w 4610101"/>
              <a:gd name="connsiteY30294" fmla="*/ 727899 h 6557032"/>
              <a:gd name="connsiteX30295" fmla="*/ 818156 w 4610101"/>
              <a:gd name="connsiteY30295" fmla="*/ 735188 h 6557032"/>
              <a:gd name="connsiteX30296" fmla="*/ 814512 w 4610101"/>
              <a:gd name="connsiteY30296" fmla="*/ 726077 h 6557032"/>
              <a:gd name="connsiteX30297" fmla="*/ 761670 w 4610101"/>
              <a:gd name="connsiteY30297" fmla="*/ 726077 h 6557032"/>
              <a:gd name="connsiteX30298" fmla="*/ 765313 w 4610101"/>
              <a:gd name="connsiteY30298" fmla="*/ 729721 h 6557032"/>
              <a:gd name="connsiteX30299" fmla="*/ 761670 w 4610101"/>
              <a:gd name="connsiteY30299" fmla="*/ 726077 h 6557032"/>
              <a:gd name="connsiteX30300" fmla="*/ 628650 w 4610101"/>
              <a:gd name="connsiteY30300" fmla="*/ 726077 h 6557032"/>
              <a:gd name="connsiteX30301" fmla="*/ 619539 w 4610101"/>
              <a:gd name="connsiteY30301" fmla="*/ 729721 h 6557032"/>
              <a:gd name="connsiteX30302" fmla="*/ 632207 w 4610101"/>
              <a:gd name="connsiteY30302" fmla="*/ 732536 h 6557032"/>
              <a:gd name="connsiteX30303" fmla="*/ 632296 w 4610101"/>
              <a:gd name="connsiteY30303" fmla="*/ 733365 h 6557032"/>
              <a:gd name="connsiteX30304" fmla="*/ 635939 w 4610101"/>
              <a:gd name="connsiteY30304" fmla="*/ 733365 h 6557032"/>
              <a:gd name="connsiteX30305" fmla="*/ 632207 w 4610101"/>
              <a:gd name="connsiteY30305" fmla="*/ 732536 h 6557032"/>
              <a:gd name="connsiteX30306" fmla="*/ 631840 w 4610101"/>
              <a:gd name="connsiteY30306" fmla="*/ 729038 h 6557032"/>
              <a:gd name="connsiteX30307" fmla="*/ 628650 w 4610101"/>
              <a:gd name="connsiteY30307" fmla="*/ 726077 h 6557032"/>
              <a:gd name="connsiteX30308" fmla="*/ 519320 w 4610101"/>
              <a:gd name="connsiteY30308" fmla="*/ 726077 h 6557032"/>
              <a:gd name="connsiteX30309" fmla="*/ 522964 w 4610101"/>
              <a:gd name="connsiteY30309" fmla="*/ 731543 h 6557032"/>
              <a:gd name="connsiteX30310" fmla="*/ 524786 w 4610101"/>
              <a:gd name="connsiteY30310" fmla="*/ 740654 h 6557032"/>
              <a:gd name="connsiteX30311" fmla="*/ 532075 w 4610101"/>
              <a:gd name="connsiteY30311" fmla="*/ 731543 h 6557032"/>
              <a:gd name="connsiteX30312" fmla="*/ 524786 w 4610101"/>
              <a:gd name="connsiteY30312" fmla="*/ 726077 h 6557032"/>
              <a:gd name="connsiteX30313" fmla="*/ 522964 w 4610101"/>
              <a:gd name="connsiteY30313" fmla="*/ 731543 h 6557032"/>
              <a:gd name="connsiteX30314" fmla="*/ 521142 w 4610101"/>
              <a:gd name="connsiteY30314" fmla="*/ 726077 h 6557032"/>
              <a:gd name="connsiteX30315" fmla="*/ 519320 w 4610101"/>
              <a:gd name="connsiteY30315" fmla="*/ 726077 h 6557032"/>
              <a:gd name="connsiteX30316" fmla="*/ 495632 w 4610101"/>
              <a:gd name="connsiteY30316" fmla="*/ 726077 h 6557032"/>
              <a:gd name="connsiteX30317" fmla="*/ 495632 w 4610101"/>
              <a:gd name="connsiteY30317" fmla="*/ 731543 h 6557032"/>
              <a:gd name="connsiteX30318" fmla="*/ 495632 w 4610101"/>
              <a:gd name="connsiteY30318" fmla="*/ 726077 h 6557032"/>
              <a:gd name="connsiteX30319" fmla="*/ 307948 w 4610101"/>
              <a:gd name="connsiteY30319" fmla="*/ 726077 h 6557032"/>
              <a:gd name="connsiteX30320" fmla="*/ 315236 w 4610101"/>
              <a:gd name="connsiteY30320" fmla="*/ 731543 h 6557032"/>
              <a:gd name="connsiteX30321" fmla="*/ 307948 w 4610101"/>
              <a:gd name="connsiteY30321" fmla="*/ 726077 h 6557032"/>
              <a:gd name="connsiteX30322" fmla="*/ 240527 w 4610101"/>
              <a:gd name="connsiteY30322" fmla="*/ 726077 h 6557032"/>
              <a:gd name="connsiteX30323" fmla="*/ 244172 w 4610101"/>
              <a:gd name="connsiteY30323" fmla="*/ 726077 h 6557032"/>
              <a:gd name="connsiteX30324" fmla="*/ 240527 w 4610101"/>
              <a:gd name="connsiteY30324" fmla="*/ 726077 h 6557032"/>
              <a:gd name="connsiteX30325" fmla="*/ 3536840 w 4610101"/>
              <a:gd name="connsiteY30325" fmla="*/ 724254 h 6557032"/>
              <a:gd name="connsiteX30326" fmla="*/ 3533196 w 4610101"/>
              <a:gd name="connsiteY30326" fmla="*/ 727899 h 6557032"/>
              <a:gd name="connsiteX30327" fmla="*/ 3538662 w 4610101"/>
              <a:gd name="connsiteY30327" fmla="*/ 729721 h 6557032"/>
              <a:gd name="connsiteX30328" fmla="*/ 3538662 w 4610101"/>
              <a:gd name="connsiteY30328" fmla="*/ 726077 h 6557032"/>
              <a:gd name="connsiteX30329" fmla="*/ 3536840 w 4610101"/>
              <a:gd name="connsiteY30329" fmla="*/ 724254 h 6557032"/>
              <a:gd name="connsiteX30330" fmla="*/ 2660374 w 4610101"/>
              <a:gd name="connsiteY30330" fmla="*/ 724254 h 6557032"/>
              <a:gd name="connsiteX30331" fmla="*/ 2662197 w 4610101"/>
              <a:gd name="connsiteY30331" fmla="*/ 733365 h 6557032"/>
              <a:gd name="connsiteX30332" fmla="*/ 2660374 w 4610101"/>
              <a:gd name="connsiteY30332" fmla="*/ 724254 h 6557032"/>
              <a:gd name="connsiteX30333" fmla="*/ 2197542 w 4610101"/>
              <a:gd name="connsiteY30333" fmla="*/ 724254 h 6557032"/>
              <a:gd name="connsiteX30334" fmla="*/ 2175676 w 4610101"/>
              <a:gd name="connsiteY30334" fmla="*/ 735188 h 6557032"/>
              <a:gd name="connsiteX30335" fmla="*/ 2197542 w 4610101"/>
              <a:gd name="connsiteY30335" fmla="*/ 724254 h 6557032"/>
              <a:gd name="connsiteX30336" fmla="*/ 1432229 w 4610101"/>
              <a:gd name="connsiteY30336" fmla="*/ 724254 h 6557032"/>
              <a:gd name="connsiteX30337" fmla="*/ 1423118 w 4610101"/>
              <a:gd name="connsiteY30337" fmla="*/ 729721 h 6557032"/>
              <a:gd name="connsiteX30338" fmla="*/ 1425853 w 4610101"/>
              <a:gd name="connsiteY30338" fmla="*/ 727898 h 6557032"/>
              <a:gd name="connsiteX30339" fmla="*/ 1164370 w 4610101"/>
              <a:gd name="connsiteY30339" fmla="*/ 724254 h 6557032"/>
              <a:gd name="connsiteX30340" fmla="*/ 1162547 w 4610101"/>
              <a:gd name="connsiteY30340" fmla="*/ 727899 h 6557032"/>
              <a:gd name="connsiteX30341" fmla="*/ 1164370 w 4610101"/>
              <a:gd name="connsiteY30341" fmla="*/ 724254 h 6557032"/>
              <a:gd name="connsiteX30342" fmla="*/ 1013129 w 4610101"/>
              <a:gd name="connsiteY30342" fmla="*/ 724254 h 6557032"/>
              <a:gd name="connsiteX30343" fmla="*/ 1011307 w 4610101"/>
              <a:gd name="connsiteY30343" fmla="*/ 729721 h 6557032"/>
              <a:gd name="connsiteX30344" fmla="*/ 1013129 w 4610101"/>
              <a:gd name="connsiteY30344" fmla="*/ 724254 h 6557032"/>
              <a:gd name="connsiteX30345" fmla="*/ 976686 w 4610101"/>
              <a:gd name="connsiteY30345" fmla="*/ 724254 h 6557032"/>
              <a:gd name="connsiteX30346" fmla="*/ 974863 w 4610101"/>
              <a:gd name="connsiteY30346" fmla="*/ 727899 h 6557032"/>
              <a:gd name="connsiteX30347" fmla="*/ 980330 w 4610101"/>
              <a:gd name="connsiteY30347" fmla="*/ 724254 h 6557032"/>
              <a:gd name="connsiteX30348" fmla="*/ 976686 w 4610101"/>
              <a:gd name="connsiteY30348" fmla="*/ 724254 h 6557032"/>
              <a:gd name="connsiteX30349" fmla="*/ 674205 w 4610101"/>
              <a:gd name="connsiteY30349" fmla="*/ 724254 h 6557032"/>
              <a:gd name="connsiteX30350" fmla="*/ 681493 w 4610101"/>
              <a:gd name="connsiteY30350" fmla="*/ 729721 h 6557032"/>
              <a:gd name="connsiteX30351" fmla="*/ 674205 w 4610101"/>
              <a:gd name="connsiteY30351" fmla="*/ 724254 h 6557032"/>
              <a:gd name="connsiteX30352" fmla="*/ 512031 w 4610101"/>
              <a:gd name="connsiteY30352" fmla="*/ 724254 h 6557032"/>
              <a:gd name="connsiteX30353" fmla="*/ 515676 w 4610101"/>
              <a:gd name="connsiteY30353" fmla="*/ 731543 h 6557032"/>
              <a:gd name="connsiteX30354" fmla="*/ 512031 w 4610101"/>
              <a:gd name="connsiteY30354" fmla="*/ 724254 h 6557032"/>
              <a:gd name="connsiteX30355" fmla="*/ 661592 w 4610101"/>
              <a:gd name="connsiteY30355" fmla="*/ 723429 h 6557032"/>
              <a:gd name="connsiteX30356" fmla="*/ 654161 w 4610101"/>
              <a:gd name="connsiteY30356" fmla="*/ 731543 h 6557032"/>
              <a:gd name="connsiteX30357" fmla="*/ 657805 w 4610101"/>
              <a:gd name="connsiteY30357" fmla="*/ 727899 h 6557032"/>
              <a:gd name="connsiteX30358" fmla="*/ 662360 w 4610101"/>
              <a:gd name="connsiteY30358" fmla="*/ 728127 h 6557032"/>
              <a:gd name="connsiteX30359" fmla="*/ 666493 w 4610101"/>
              <a:gd name="connsiteY30359" fmla="*/ 724614 h 6557032"/>
              <a:gd name="connsiteX30360" fmla="*/ 666502 w 4610101"/>
              <a:gd name="connsiteY30360" fmla="*/ 724616 h 6557032"/>
              <a:gd name="connsiteX30361" fmla="*/ 659627 w 4610101"/>
              <a:gd name="connsiteY30361" fmla="*/ 730632 h 6557032"/>
              <a:gd name="connsiteX30362" fmla="*/ 652339 w 4610101"/>
              <a:gd name="connsiteY30362" fmla="*/ 737010 h 6557032"/>
              <a:gd name="connsiteX30363" fmla="*/ 659627 w 4610101"/>
              <a:gd name="connsiteY30363" fmla="*/ 742476 h 6557032"/>
              <a:gd name="connsiteX30364" fmla="*/ 657805 w 4610101"/>
              <a:gd name="connsiteY30364" fmla="*/ 737010 h 6557032"/>
              <a:gd name="connsiteX30365" fmla="*/ 672383 w 4610101"/>
              <a:gd name="connsiteY30365" fmla="*/ 751587 h 6557032"/>
              <a:gd name="connsiteX30366" fmla="*/ 672383 w 4610101"/>
              <a:gd name="connsiteY30366" fmla="*/ 747943 h 6557032"/>
              <a:gd name="connsiteX30367" fmla="*/ 694249 w 4610101"/>
              <a:gd name="connsiteY30367" fmla="*/ 755231 h 6557032"/>
              <a:gd name="connsiteX30368" fmla="*/ 691515 w 4610101"/>
              <a:gd name="connsiteY30368" fmla="*/ 748398 h 6557032"/>
              <a:gd name="connsiteX30369" fmla="*/ 692367 w 4610101"/>
              <a:gd name="connsiteY30369" fmla="*/ 747121 h 6557032"/>
              <a:gd name="connsiteX30370" fmla="*/ 692198 w 4610101"/>
              <a:gd name="connsiteY30370" fmla="*/ 749993 h 6557032"/>
              <a:gd name="connsiteX30371" fmla="*/ 696071 w 4610101"/>
              <a:gd name="connsiteY30371" fmla="*/ 749765 h 6557032"/>
              <a:gd name="connsiteX30372" fmla="*/ 717937 w 4610101"/>
              <a:gd name="connsiteY30372" fmla="*/ 760698 h 6557032"/>
              <a:gd name="connsiteX30373" fmla="*/ 708598 w 4610101"/>
              <a:gd name="connsiteY30373" fmla="*/ 752043 h 6557032"/>
              <a:gd name="connsiteX30374" fmla="*/ 692914 w 4610101"/>
              <a:gd name="connsiteY30374" fmla="*/ 746300 h 6557032"/>
              <a:gd name="connsiteX30375" fmla="*/ 694249 w 4610101"/>
              <a:gd name="connsiteY30375" fmla="*/ 744298 h 6557032"/>
              <a:gd name="connsiteX30376" fmla="*/ 710648 w 4610101"/>
              <a:gd name="connsiteY30376" fmla="*/ 751587 h 6557032"/>
              <a:gd name="connsiteX30377" fmla="*/ 672383 w 4610101"/>
              <a:gd name="connsiteY30377" fmla="*/ 738832 h 6557032"/>
              <a:gd name="connsiteX30378" fmla="*/ 686960 w 4610101"/>
              <a:gd name="connsiteY30378" fmla="*/ 737010 h 6557032"/>
              <a:gd name="connsiteX30379" fmla="*/ 674180 w 4610101"/>
              <a:gd name="connsiteY30379" fmla="*/ 726472 h 6557032"/>
              <a:gd name="connsiteX30380" fmla="*/ 666502 w 4610101"/>
              <a:gd name="connsiteY30380" fmla="*/ 724616 h 6557032"/>
              <a:gd name="connsiteX30381" fmla="*/ 666916 w 4610101"/>
              <a:gd name="connsiteY30381" fmla="*/ 724254 h 6557032"/>
              <a:gd name="connsiteX30382" fmla="*/ 666493 w 4610101"/>
              <a:gd name="connsiteY30382" fmla="*/ 724614 h 6557032"/>
              <a:gd name="connsiteX30383" fmla="*/ 1471406 w 4610101"/>
              <a:gd name="connsiteY30383" fmla="*/ 723344 h 6557032"/>
              <a:gd name="connsiteX30384" fmla="*/ 1465028 w 4610101"/>
              <a:gd name="connsiteY30384" fmla="*/ 727899 h 6557032"/>
              <a:gd name="connsiteX30385" fmla="*/ 1477784 w 4610101"/>
              <a:gd name="connsiteY30385" fmla="*/ 724254 h 6557032"/>
              <a:gd name="connsiteX30386" fmla="*/ 1471406 w 4610101"/>
              <a:gd name="connsiteY30386" fmla="*/ 723344 h 6557032"/>
              <a:gd name="connsiteX30387" fmla="*/ 1301887 w 4610101"/>
              <a:gd name="connsiteY30387" fmla="*/ 722661 h 6557032"/>
              <a:gd name="connsiteX30388" fmla="*/ 1296477 w 4610101"/>
              <a:gd name="connsiteY30388" fmla="*/ 724711 h 6557032"/>
              <a:gd name="connsiteX30389" fmla="*/ 1290258 w 4610101"/>
              <a:gd name="connsiteY30389" fmla="*/ 736705 h 6557032"/>
              <a:gd name="connsiteX30390" fmla="*/ 1282811 w 4610101"/>
              <a:gd name="connsiteY30390" fmla="*/ 738832 h 6557032"/>
              <a:gd name="connsiteX30391" fmla="*/ 1290100 w 4610101"/>
              <a:gd name="connsiteY30391" fmla="*/ 737010 h 6557032"/>
              <a:gd name="connsiteX30392" fmla="*/ 1290258 w 4610101"/>
              <a:gd name="connsiteY30392" fmla="*/ 736705 h 6557032"/>
              <a:gd name="connsiteX30393" fmla="*/ 1295566 w 4610101"/>
              <a:gd name="connsiteY30393" fmla="*/ 735188 h 6557032"/>
              <a:gd name="connsiteX30394" fmla="*/ 1308321 w 4610101"/>
              <a:gd name="connsiteY30394" fmla="*/ 726077 h 6557032"/>
              <a:gd name="connsiteX30395" fmla="*/ 1301887 w 4610101"/>
              <a:gd name="connsiteY30395" fmla="*/ 722661 h 6557032"/>
              <a:gd name="connsiteX30396" fmla="*/ 391768 w 4610101"/>
              <a:gd name="connsiteY30396" fmla="*/ 722432 h 6557032"/>
              <a:gd name="connsiteX30397" fmla="*/ 408167 w 4610101"/>
              <a:gd name="connsiteY30397" fmla="*/ 737010 h 6557032"/>
              <a:gd name="connsiteX30398" fmla="*/ 391768 w 4610101"/>
              <a:gd name="connsiteY30398" fmla="*/ 722432 h 6557032"/>
              <a:gd name="connsiteX30399" fmla="*/ 2207337 w 4610101"/>
              <a:gd name="connsiteY30399" fmla="*/ 722205 h 6557032"/>
              <a:gd name="connsiteX30400" fmla="*/ 2204831 w 4610101"/>
              <a:gd name="connsiteY30400" fmla="*/ 722432 h 6557032"/>
              <a:gd name="connsiteX30401" fmla="*/ 2208475 w 4610101"/>
              <a:gd name="connsiteY30401" fmla="*/ 726077 h 6557032"/>
              <a:gd name="connsiteX30402" fmla="*/ 2207337 w 4610101"/>
              <a:gd name="connsiteY30402" fmla="*/ 722205 h 6557032"/>
              <a:gd name="connsiteX30403" fmla="*/ 815313 w 4610101"/>
              <a:gd name="connsiteY30403" fmla="*/ 722007 h 6557032"/>
              <a:gd name="connsiteX30404" fmla="*/ 816334 w 4610101"/>
              <a:gd name="connsiteY30404" fmla="*/ 722432 h 6557032"/>
              <a:gd name="connsiteX30405" fmla="*/ 815615 w 4610101"/>
              <a:gd name="connsiteY30405" fmla="*/ 722672 h 6557032"/>
              <a:gd name="connsiteX30406" fmla="*/ 1235434 w 4610101"/>
              <a:gd name="connsiteY30406" fmla="*/ 721294 h 6557032"/>
              <a:gd name="connsiteX30407" fmla="*/ 1231790 w 4610101"/>
              <a:gd name="connsiteY30407" fmla="*/ 724254 h 6557032"/>
              <a:gd name="connsiteX30408" fmla="*/ 1239080 w 4610101"/>
              <a:gd name="connsiteY30408" fmla="*/ 722432 h 6557032"/>
              <a:gd name="connsiteX30409" fmla="*/ 1235434 w 4610101"/>
              <a:gd name="connsiteY30409" fmla="*/ 721294 h 6557032"/>
              <a:gd name="connsiteX30410" fmla="*/ 3500397 w 4610101"/>
              <a:gd name="connsiteY30410" fmla="*/ 720610 h 6557032"/>
              <a:gd name="connsiteX30411" fmla="*/ 3496752 w 4610101"/>
              <a:gd name="connsiteY30411" fmla="*/ 733365 h 6557032"/>
              <a:gd name="connsiteX30412" fmla="*/ 3511330 w 4610101"/>
              <a:gd name="connsiteY30412" fmla="*/ 722432 h 6557032"/>
              <a:gd name="connsiteX30413" fmla="*/ 3500397 w 4610101"/>
              <a:gd name="connsiteY30413" fmla="*/ 720610 h 6557032"/>
              <a:gd name="connsiteX30414" fmla="*/ 2609353 w 4610101"/>
              <a:gd name="connsiteY30414" fmla="*/ 720610 h 6557032"/>
              <a:gd name="connsiteX30415" fmla="*/ 2612998 w 4610101"/>
              <a:gd name="connsiteY30415" fmla="*/ 726077 h 6557032"/>
              <a:gd name="connsiteX30416" fmla="*/ 2609353 w 4610101"/>
              <a:gd name="connsiteY30416" fmla="*/ 720610 h 6557032"/>
              <a:gd name="connsiteX30417" fmla="*/ 2558332 w 4610101"/>
              <a:gd name="connsiteY30417" fmla="*/ 720610 h 6557032"/>
              <a:gd name="connsiteX30418" fmla="*/ 2558332 w 4610101"/>
              <a:gd name="connsiteY30418" fmla="*/ 727899 h 6557032"/>
              <a:gd name="connsiteX30419" fmla="*/ 2565621 w 4610101"/>
              <a:gd name="connsiteY30419" fmla="*/ 724254 h 6557032"/>
              <a:gd name="connsiteX30420" fmla="*/ 2571088 w 4610101"/>
              <a:gd name="connsiteY30420" fmla="*/ 722432 h 6557032"/>
              <a:gd name="connsiteX30421" fmla="*/ 2565621 w 4610101"/>
              <a:gd name="connsiteY30421" fmla="*/ 722432 h 6557032"/>
              <a:gd name="connsiteX30422" fmla="*/ 2565621 w 4610101"/>
              <a:gd name="connsiteY30422" fmla="*/ 724254 h 6557032"/>
              <a:gd name="connsiteX30423" fmla="*/ 2558332 w 4610101"/>
              <a:gd name="connsiteY30423" fmla="*/ 720610 h 6557032"/>
              <a:gd name="connsiteX30424" fmla="*/ 1171658 w 4610101"/>
              <a:gd name="connsiteY30424" fmla="*/ 720610 h 6557032"/>
              <a:gd name="connsiteX30425" fmla="*/ 1168014 w 4610101"/>
              <a:gd name="connsiteY30425" fmla="*/ 724254 h 6557032"/>
              <a:gd name="connsiteX30426" fmla="*/ 1171658 w 4610101"/>
              <a:gd name="connsiteY30426" fmla="*/ 720610 h 6557032"/>
              <a:gd name="connsiteX30427" fmla="*/ 1158903 w 4610101"/>
              <a:gd name="connsiteY30427" fmla="*/ 720610 h 6557032"/>
              <a:gd name="connsiteX30428" fmla="*/ 1149792 w 4610101"/>
              <a:gd name="connsiteY30428" fmla="*/ 727899 h 6557032"/>
              <a:gd name="connsiteX30429" fmla="*/ 1160725 w 4610101"/>
              <a:gd name="connsiteY30429" fmla="*/ 722432 h 6557032"/>
              <a:gd name="connsiteX30430" fmla="*/ 1158903 w 4610101"/>
              <a:gd name="connsiteY30430" fmla="*/ 720610 h 6557032"/>
              <a:gd name="connsiteX30431" fmla="*/ 1000374 w 4610101"/>
              <a:gd name="connsiteY30431" fmla="*/ 720610 h 6557032"/>
              <a:gd name="connsiteX30432" fmla="*/ 1000093 w 4610101"/>
              <a:gd name="connsiteY30432" fmla="*/ 722713 h 6557032"/>
              <a:gd name="connsiteX30433" fmla="*/ 996729 w 4610101"/>
              <a:gd name="connsiteY30433" fmla="*/ 726077 h 6557032"/>
              <a:gd name="connsiteX30434" fmla="*/ 999918 w 4610101"/>
              <a:gd name="connsiteY30434" fmla="*/ 724027 h 6557032"/>
              <a:gd name="connsiteX30435" fmla="*/ 1000093 w 4610101"/>
              <a:gd name="connsiteY30435" fmla="*/ 722713 h 6557032"/>
              <a:gd name="connsiteX30436" fmla="*/ 1002196 w 4610101"/>
              <a:gd name="connsiteY30436" fmla="*/ 720610 h 6557032"/>
              <a:gd name="connsiteX30437" fmla="*/ 1000374 w 4610101"/>
              <a:gd name="connsiteY30437" fmla="*/ 720610 h 6557032"/>
              <a:gd name="connsiteX30438" fmla="*/ 942064 w 4610101"/>
              <a:gd name="connsiteY30438" fmla="*/ 720610 h 6557032"/>
              <a:gd name="connsiteX30439" fmla="*/ 940242 w 4610101"/>
              <a:gd name="connsiteY30439" fmla="*/ 733365 h 6557032"/>
              <a:gd name="connsiteX30440" fmla="*/ 942064 w 4610101"/>
              <a:gd name="connsiteY30440" fmla="*/ 720610 h 6557032"/>
              <a:gd name="connsiteX30441" fmla="*/ 936598 w 4610101"/>
              <a:gd name="connsiteY30441" fmla="*/ 720610 h 6557032"/>
              <a:gd name="connsiteX30442" fmla="*/ 931131 w 4610101"/>
              <a:gd name="connsiteY30442" fmla="*/ 731543 h 6557032"/>
              <a:gd name="connsiteX30443" fmla="*/ 929309 w 4610101"/>
              <a:gd name="connsiteY30443" fmla="*/ 737010 h 6557032"/>
              <a:gd name="connsiteX30444" fmla="*/ 936598 w 4610101"/>
              <a:gd name="connsiteY30444" fmla="*/ 720610 h 6557032"/>
              <a:gd name="connsiteX30445" fmla="*/ 896510 w 4610101"/>
              <a:gd name="connsiteY30445" fmla="*/ 720610 h 6557032"/>
              <a:gd name="connsiteX30446" fmla="*/ 898333 w 4610101"/>
              <a:gd name="connsiteY30446" fmla="*/ 726077 h 6557032"/>
              <a:gd name="connsiteX30447" fmla="*/ 896510 w 4610101"/>
              <a:gd name="connsiteY30447" fmla="*/ 720610 h 6557032"/>
              <a:gd name="connsiteX30448" fmla="*/ 885577 w 4610101"/>
              <a:gd name="connsiteY30448" fmla="*/ 720610 h 6557032"/>
              <a:gd name="connsiteX30449" fmla="*/ 896510 w 4610101"/>
              <a:gd name="connsiteY30449" fmla="*/ 727899 h 6557032"/>
              <a:gd name="connsiteX30450" fmla="*/ 885577 w 4610101"/>
              <a:gd name="connsiteY30450" fmla="*/ 720610 h 6557032"/>
              <a:gd name="connsiteX30451" fmla="*/ 818156 w 4610101"/>
              <a:gd name="connsiteY30451" fmla="*/ 720610 h 6557032"/>
              <a:gd name="connsiteX30452" fmla="*/ 815196 w 4610101"/>
              <a:gd name="connsiteY30452" fmla="*/ 721749 h 6557032"/>
              <a:gd name="connsiteX30453" fmla="*/ 815313 w 4610101"/>
              <a:gd name="connsiteY30453" fmla="*/ 722007 h 6557032"/>
              <a:gd name="connsiteX30454" fmla="*/ 813601 w 4610101"/>
              <a:gd name="connsiteY30454" fmla="*/ 721294 h 6557032"/>
              <a:gd name="connsiteX30455" fmla="*/ 810868 w 4610101"/>
              <a:gd name="connsiteY30455" fmla="*/ 724254 h 6557032"/>
              <a:gd name="connsiteX30456" fmla="*/ 815615 w 4610101"/>
              <a:gd name="connsiteY30456" fmla="*/ 722672 h 6557032"/>
              <a:gd name="connsiteX30457" fmla="*/ 816334 w 4610101"/>
              <a:gd name="connsiteY30457" fmla="*/ 724254 h 6557032"/>
              <a:gd name="connsiteX30458" fmla="*/ 821801 w 4610101"/>
              <a:gd name="connsiteY30458" fmla="*/ 726077 h 6557032"/>
              <a:gd name="connsiteX30459" fmla="*/ 818156 w 4610101"/>
              <a:gd name="connsiteY30459" fmla="*/ 720610 h 6557032"/>
              <a:gd name="connsiteX30460" fmla="*/ 807223 w 4610101"/>
              <a:gd name="connsiteY30460" fmla="*/ 720610 h 6557032"/>
              <a:gd name="connsiteX30461" fmla="*/ 798112 w 4610101"/>
              <a:gd name="connsiteY30461" fmla="*/ 731543 h 6557032"/>
              <a:gd name="connsiteX30462" fmla="*/ 807223 w 4610101"/>
              <a:gd name="connsiteY30462" fmla="*/ 720610 h 6557032"/>
              <a:gd name="connsiteX30463" fmla="*/ 739803 w 4610101"/>
              <a:gd name="connsiteY30463" fmla="*/ 720610 h 6557032"/>
              <a:gd name="connsiteX30464" fmla="*/ 750737 w 4610101"/>
              <a:gd name="connsiteY30464" fmla="*/ 731543 h 6557032"/>
              <a:gd name="connsiteX30465" fmla="*/ 739803 w 4610101"/>
              <a:gd name="connsiteY30465" fmla="*/ 720610 h 6557032"/>
              <a:gd name="connsiteX30466" fmla="*/ 705182 w 4610101"/>
              <a:gd name="connsiteY30466" fmla="*/ 720610 h 6557032"/>
              <a:gd name="connsiteX30467" fmla="*/ 714293 w 4610101"/>
              <a:gd name="connsiteY30467" fmla="*/ 731543 h 6557032"/>
              <a:gd name="connsiteX30468" fmla="*/ 705182 w 4610101"/>
              <a:gd name="connsiteY30468" fmla="*/ 720610 h 6557032"/>
              <a:gd name="connsiteX30469" fmla="*/ 439145 w 4610101"/>
              <a:gd name="connsiteY30469" fmla="*/ 720610 h 6557032"/>
              <a:gd name="connsiteX30470" fmla="*/ 446433 w 4610101"/>
              <a:gd name="connsiteY30470" fmla="*/ 731543 h 6557032"/>
              <a:gd name="connsiteX30471" fmla="*/ 439145 w 4610101"/>
              <a:gd name="connsiteY30471" fmla="*/ 720610 h 6557032"/>
              <a:gd name="connsiteX30472" fmla="*/ 331636 w 4610101"/>
              <a:gd name="connsiteY30472" fmla="*/ 720610 h 6557032"/>
              <a:gd name="connsiteX30473" fmla="*/ 335280 w 4610101"/>
              <a:gd name="connsiteY30473" fmla="*/ 727899 h 6557032"/>
              <a:gd name="connsiteX30474" fmla="*/ 331636 w 4610101"/>
              <a:gd name="connsiteY30474" fmla="*/ 720610 h 6557032"/>
              <a:gd name="connsiteX30475" fmla="*/ 1224273 w 4610101"/>
              <a:gd name="connsiteY30475" fmla="*/ 719244 h 6557032"/>
              <a:gd name="connsiteX30476" fmla="*/ 1220858 w 4610101"/>
              <a:gd name="connsiteY30476" fmla="*/ 720610 h 6557032"/>
              <a:gd name="connsiteX30477" fmla="*/ 1226323 w 4610101"/>
              <a:gd name="connsiteY30477" fmla="*/ 720610 h 6557032"/>
              <a:gd name="connsiteX30478" fmla="*/ 1224273 w 4610101"/>
              <a:gd name="connsiteY30478" fmla="*/ 719244 h 6557032"/>
              <a:gd name="connsiteX30479" fmla="*/ 3418399 w 4610101"/>
              <a:gd name="connsiteY30479" fmla="*/ 718788 h 6557032"/>
              <a:gd name="connsiteX30480" fmla="*/ 3423865 w 4610101"/>
              <a:gd name="connsiteY30480" fmla="*/ 735188 h 6557032"/>
              <a:gd name="connsiteX30481" fmla="*/ 3453020 w 4610101"/>
              <a:gd name="connsiteY30481" fmla="*/ 747943 h 6557032"/>
              <a:gd name="connsiteX30482" fmla="*/ 3447553 w 4610101"/>
              <a:gd name="connsiteY30482" fmla="*/ 724254 h 6557032"/>
              <a:gd name="connsiteX30483" fmla="*/ 3434798 w 4610101"/>
              <a:gd name="connsiteY30483" fmla="*/ 726077 h 6557032"/>
              <a:gd name="connsiteX30484" fmla="*/ 3429332 w 4610101"/>
              <a:gd name="connsiteY30484" fmla="*/ 733365 h 6557032"/>
              <a:gd name="connsiteX30485" fmla="*/ 3431154 w 4610101"/>
              <a:gd name="connsiteY30485" fmla="*/ 726077 h 6557032"/>
              <a:gd name="connsiteX30486" fmla="*/ 3418399 w 4610101"/>
              <a:gd name="connsiteY30486" fmla="*/ 718788 h 6557032"/>
              <a:gd name="connsiteX30487" fmla="*/ 2618464 w 4610101"/>
              <a:gd name="connsiteY30487" fmla="*/ 718788 h 6557032"/>
              <a:gd name="connsiteX30488" fmla="*/ 2614820 w 4610101"/>
              <a:gd name="connsiteY30488" fmla="*/ 726077 h 6557032"/>
              <a:gd name="connsiteX30489" fmla="*/ 2622109 w 4610101"/>
              <a:gd name="connsiteY30489" fmla="*/ 731543 h 6557032"/>
              <a:gd name="connsiteX30490" fmla="*/ 2618464 w 4610101"/>
              <a:gd name="connsiteY30490" fmla="*/ 718788 h 6557032"/>
              <a:gd name="connsiteX30491" fmla="*/ 1459562 w 4610101"/>
              <a:gd name="connsiteY30491" fmla="*/ 718788 h 6557032"/>
              <a:gd name="connsiteX30492" fmla="*/ 1434006 w 4610101"/>
              <a:gd name="connsiteY30492" fmla="*/ 737529 h 6557032"/>
              <a:gd name="connsiteX30493" fmla="*/ 1423118 w 4610101"/>
              <a:gd name="connsiteY30493" fmla="*/ 739060 h 6557032"/>
              <a:gd name="connsiteX30494" fmla="*/ 1408541 w 4610101"/>
              <a:gd name="connsiteY30494" fmla="*/ 742476 h 6557032"/>
              <a:gd name="connsiteX30495" fmla="*/ 1437696 w 4610101"/>
              <a:gd name="connsiteY30495" fmla="*/ 737010 h 6557032"/>
              <a:gd name="connsiteX30496" fmla="*/ 1434232 w 4610101"/>
              <a:gd name="connsiteY30496" fmla="*/ 737497 h 6557032"/>
              <a:gd name="connsiteX30497" fmla="*/ 1437696 w 4610101"/>
              <a:gd name="connsiteY30497" fmla="*/ 735188 h 6557032"/>
              <a:gd name="connsiteX30498" fmla="*/ 1441340 w 4610101"/>
              <a:gd name="connsiteY30498" fmla="*/ 740654 h 6557032"/>
              <a:gd name="connsiteX30499" fmla="*/ 1444588 w 4610101"/>
              <a:gd name="connsiteY30499" fmla="*/ 738415 h 6557032"/>
              <a:gd name="connsiteX30500" fmla="*/ 1443162 w 4610101"/>
              <a:gd name="connsiteY30500" fmla="*/ 740654 h 6557032"/>
              <a:gd name="connsiteX30501" fmla="*/ 1446806 w 4610101"/>
              <a:gd name="connsiteY30501" fmla="*/ 742476 h 6557032"/>
              <a:gd name="connsiteX30502" fmla="*/ 1452035 w 4610101"/>
              <a:gd name="connsiteY30502" fmla="*/ 733762 h 6557032"/>
              <a:gd name="connsiteX30503" fmla="*/ 1455917 w 4610101"/>
              <a:gd name="connsiteY30503" fmla="*/ 731543 h 6557032"/>
              <a:gd name="connsiteX30504" fmla="*/ 1454095 w 4610101"/>
              <a:gd name="connsiteY30504" fmla="*/ 727899 h 6557032"/>
              <a:gd name="connsiteX30505" fmla="*/ 1457739 w 4610101"/>
              <a:gd name="connsiteY30505" fmla="*/ 727899 h 6557032"/>
              <a:gd name="connsiteX30506" fmla="*/ 1459562 w 4610101"/>
              <a:gd name="connsiteY30506" fmla="*/ 718788 h 6557032"/>
              <a:gd name="connsiteX30507" fmla="*/ 1198991 w 4610101"/>
              <a:gd name="connsiteY30507" fmla="*/ 718788 h 6557032"/>
              <a:gd name="connsiteX30508" fmla="*/ 1195346 w 4610101"/>
              <a:gd name="connsiteY30508" fmla="*/ 720610 h 6557032"/>
              <a:gd name="connsiteX30509" fmla="*/ 1198991 w 4610101"/>
              <a:gd name="connsiteY30509" fmla="*/ 720610 h 6557032"/>
              <a:gd name="connsiteX30510" fmla="*/ 1198991 w 4610101"/>
              <a:gd name="connsiteY30510" fmla="*/ 718788 h 6557032"/>
              <a:gd name="connsiteX30511" fmla="*/ 1104238 w 4610101"/>
              <a:gd name="connsiteY30511" fmla="*/ 718788 h 6557032"/>
              <a:gd name="connsiteX30512" fmla="*/ 1096949 w 4610101"/>
              <a:gd name="connsiteY30512" fmla="*/ 720610 h 6557032"/>
              <a:gd name="connsiteX30513" fmla="*/ 1098771 w 4610101"/>
              <a:gd name="connsiteY30513" fmla="*/ 722432 h 6557032"/>
              <a:gd name="connsiteX30514" fmla="*/ 1104238 w 4610101"/>
              <a:gd name="connsiteY30514" fmla="*/ 718788 h 6557032"/>
              <a:gd name="connsiteX30515" fmla="*/ 1045929 w 4610101"/>
              <a:gd name="connsiteY30515" fmla="*/ 718788 h 6557032"/>
              <a:gd name="connsiteX30516" fmla="*/ 1042284 w 4610101"/>
              <a:gd name="connsiteY30516" fmla="*/ 726077 h 6557032"/>
              <a:gd name="connsiteX30517" fmla="*/ 1047750 w 4610101"/>
              <a:gd name="connsiteY30517" fmla="*/ 720610 h 6557032"/>
              <a:gd name="connsiteX30518" fmla="*/ 1045929 w 4610101"/>
              <a:gd name="connsiteY30518" fmla="*/ 718788 h 6557032"/>
              <a:gd name="connsiteX30519" fmla="*/ 1014951 w 4610101"/>
              <a:gd name="connsiteY30519" fmla="*/ 718788 h 6557032"/>
              <a:gd name="connsiteX30520" fmla="*/ 1016774 w 4610101"/>
              <a:gd name="connsiteY30520" fmla="*/ 718788 h 6557032"/>
              <a:gd name="connsiteX30521" fmla="*/ 1014040 w 4610101"/>
              <a:gd name="connsiteY30521" fmla="*/ 719699 h 6557032"/>
              <a:gd name="connsiteX30522" fmla="*/ 1011307 w 4610101"/>
              <a:gd name="connsiteY30522" fmla="*/ 718788 h 6557032"/>
              <a:gd name="connsiteX30523" fmla="*/ 1005840 w 4610101"/>
              <a:gd name="connsiteY30523" fmla="*/ 722432 h 6557032"/>
              <a:gd name="connsiteX30524" fmla="*/ 1011307 w 4610101"/>
              <a:gd name="connsiteY30524" fmla="*/ 718788 h 6557032"/>
              <a:gd name="connsiteX30525" fmla="*/ 911087 w 4610101"/>
              <a:gd name="connsiteY30525" fmla="*/ 718788 h 6557032"/>
              <a:gd name="connsiteX30526" fmla="*/ 909265 w 4610101"/>
              <a:gd name="connsiteY30526" fmla="*/ 727899 h 6557032"/>
              <a:gd name="connsiteX30527" fmla="*/ 911087 w 4610101"/>
              <a:gd name="connsiteY30527" fmla="*/ 718788 h 6557032"/>
              <a:gd name="connsiteX30528" fmla="*/ 570341 w 4610101"/>
              <a:gd name="connsiteY30528" fmla="*/ 718788 h 6557032"/>
              <a:gd name="connsiteX30529" fmla="*/ 566697 w 4610101"/>
              <a:gd name="connsiteY30529" fmla="*/ 726077 h 6557032"/>
              <a:gd name="connsiteX30530" fmla="*/ 572163 w 4610101"/>
              <a:gd name="connsiteY30530" fmla="*/ 729721 h 6557032"/>
              <a:gd name="connsiteX30531" fmla="*/ 573985 w 4610101"/>
              <a:gd name="connsiteY30531" fmla="*/ 726077 h 6557032"/>
              <a:gd name="connsiteX30532" fmla="*/ 570341 w 4610101"/>
              <a:gd name="connsiteY30532" fmla="*/ 718788 h 6557032"/>
              <a:gd name="connsiteX30533" fmla="*/ 526609 w 4610101"/>
              <a:gd name="connsiteY30533" fmla="*/ 718788 h 6557032"/>
              <a:gd name="connsiteX30534" fmla="*/ 530253 w 4610101"/>
              <a:gd name="connsiteY30534" fmla="*/ 724254 h 6557032"/>
              <a:gd name="connsiteX30535" fmla="*/ 526609 w 4610101"/>
              <a:gd name="connsiteY30535" fmla="*/ 718788 h 6557032"/>
              <a:gd name="connsiteX30536" fmla="*/ 453722 w 4610101"/>
              <a:gd name="connsiteY30536" fmla="*/ 718788 h 6557032"/>
              <a:gd name="connsiteX30537" fmla="*/ 461010 w 4610101"/>
              <a:gd name="connsiteY30537" fmla="*/ 729721 h 6557032"/>
              <a:gd name="connsiteX30538" fmla="*/ 453722 w 4610101"/>
              <a:gd name="connsiteY30538" fmla="*/ 718788 h 6557032"/>
              <a:gd name="connsiteX30539" fmla="*/ 380835 w 4610101"/>
              <a:gd name="connsiteY30539" fmla="*/ 718788 h 6557032"/>
              <a:gd name="connsiteX30540" fmla="*/ 379012 w 4610101"/>
              <a:gd name="connsiteY30540" fmla="*/ 720610 h 6557032"/>
              <a:gd name="connsiteX30541" fmla="*/ 386301 w 4610101"/>
              <a:gd name="connsiteY30541" fmla="*/ 724254 h 6557032"/>
              <a:gd name="connsiteX30542" fmla="*/ 380835 w 4610101"/>
              <a:gd name="connsiteY30542" fmla="*/ 718788 h 6557032"/>
              <a:gd name="connsiteX30543" fmla="*/ 165818 w 4610101"/>
              <a:gd name="connsiteY30543" fmla="*/ 718788 h 6557032"/>
              <a:gd name="connsiteX30544" fmla="*/ 169462 w 4610101"/>
              <a:gd name="connsiteY30544" fmla="*/ 726077 h 6557032"/>
              <a:gd name="connsiteX30545" fmla="*/ 165818 w 4610101"/>
              <a:gd name="connsiteY30545" fmla="*/ 718788 h 6557032"/>
              <a:gd name="connsiteX30546" fmla="*/ 1347982 w 4610101"/>
              <a:gd name="connsiteY30546" fmla="*/ 717218 h 6557032"/>
              <a:gd name="connsiteX30547" fmla="*/ 1356608 w 4610101"/>
              <a:gd name="connsiteY30547" fmla="*/ 717650 h 6557032"/>
              <a:gd name="connsiteX30548" fmla="*/ 1356928 w 4610101"/>
              <a:gd name="connsiteY30548" fmla="*/ 717634 h 6557032"/>
              <a:gd name="connsiteX30549" fmla="*/ 1356381 w 4610101"/>
              <a:gd name="connsiteY30549" fmla="*/ 717877 h 6557032"/>
              <a:gd name="connsiteX30550" fmla="*/ 3394710 w 4610101"/>
              <a:gd name="connsiteY30550" fmla="*/ 716966 h 6557032"/>
              <a:gd name="connsiteX30551" fmla="*/ 3345512 w 4610101"/>
              <a:gd name="connsiteY30551" fmla="*/ 744298 h 6557032"/>
              <a:gd name="connsiteX30552" fmla="*/ 3394710 w 4610101"/>
              <a:gd name="connsiteY30552" fmla="*/ 716966 h 6557032"/>
              <a:gd name="connsiteX30553" fmla="*/ 2261318 w 4610101"/>
              <a:gd name="connsiteY30553" fmla="*/ 716966 h 6557032"/>
              <a:gd name="connsiteX30554" fmla="*/ 2263140 w 4610101"/>
              <a:gd name="connsiteY30554" fmla="*/ 733365 h 6557032"/>
              <a:gd name="connsiteX30555" fmla="*/ 2264963 w 4610101"/>
              <a:gd name="connsiteY30555" fmla="*/ 726077 h 6557032"/>
              <a:gd name="connsiteX30556" fmla="*/ 2261318 w 4610101"/>
              <a:gd name="connsiteY30556" fmla="*/ 716966 h 6557032"/>
              <a:gd name="connsiteX30557" fmla="*/ 1370275 w 4610101"/>
              <a:gd name="connsiteY30557" fmla="*/ 716966 h 6557032"/>
              <a:gd name="connsiteX30558" fmla="*/ 1369725 w 4610101"/>
              <a:gd name="connsiteY30558" fmla="*/ 718066 h 6557032"/>
              <a:gd name="connsiteX30559" fmla="*/ 1368453 w 4610101"/>
              <a:gd name="connsiteY30559" fmla="*/ 718788 h 6557032"/>
              <a:gd name="connsiteX30560" fmla="*/ 1368803 w 4610101"/>
              <a:gd name="connsiteY30560" fmla="*/ 717040 h 6557032"/>
              <a:gd name="connsiteX30561" fmla="*/ 1184414 w 4610101"/>
              <a:gd name="connsiteY30561" fmla="*/ 716966 h 6557032"/>
              <a:gd name="connsiteX30562" fmla="*/ 1178947 w 4610101"/>
              <a:gd name="connsiteY30562" fmla="*/ 720610 h 6557032"/>
              <a:gd name="connsiteX30563" fmla="*/ 1184414 w 4610101"/>
              <a:gd name="connsiteY30563" fmla="*/ 720610 h 6557032"/>
              <a:gd name="connsiteX30564" fmla="*/ 1184414 w 4610101"/>
              <a:gd name="connsiteY30564" fmla="*/ 716966 h 6557032"/>
              <a:gd name="connsiteX30565" fmla="*/ 871000 w 4610101"/>
              <a:gd name="connsiteY30565" fmla="*/ 716966 h 6557032"/>
              <a:gd name="connsiteX30566" fmla="*/ 880111 w 4610101"/>
              <a:gd name="connsiteY30566" fmla="*/ 760698 h 6557032"/>
              <a:gd name="connsiteX30567" fmla="*/ 883755 w 4610101"/>
              <a:gd name="connsiteY30567" fmla="*/ 753409 h 6557032"/>
              <a:gd name="connsiteX30568" fmla="*/ 896510 w 4610101"/>
              <a:gd name="connsiteY30568" fmla="*/ 766164 h 6557032"/>
              <a:gd name="connsiteX30569" fmla="*/ 869177 w 4610101"/>
              <a:gd name="connsiteY30569" fmla="*/ 733365 h 6557032"/>
              <a:gd name="connsiteX30570" fmla="*/ 876466 w 4610101"/>
              <a:gd name="connsiteY30570" fmla="*/ 733365 h 6557032"/>
              <a:gd name="connsiteX30571" fmla="*/ 871000 w 4610101"/>
              <a:gd name="connsiteY30571" fmla="*/ 716966 h 6557032"/>
              <a:gd name="connsiteX30572" fmla="*/ 719759 w 4610101"/>
              <a:gd name="connsiteY30572" fmla="*/ 716966 h 6557032"/>
              <a:gd name="connsiteX30573" fmla="*/ 727048 w 4610101"/>
              <a:gd name="connsiteY30573" fmla="*/ 727899 h 6557032"/>
              <a:gd name="connsiteX30574" fmla="*/ 719759 w 4610101"/>
              <a:gd name="connsiteY30574" fmla="*/ 716966 h 6557032"/>
              <a:gd name="connsiteX30575" fmla="*/ 655983 w 4610101"/>
              <a:gd name="connsiteY30575" fmla="*/ 716966 h 6557032"/>
              <a:gd name="connsiteX30576" fmla="*/ 658433 w 4610101"/>
              <a:gd name="connsiteY30576" fmla="*/ 718600 h 6557032"/>
              <a:gd name="connsiteX30577" fmla="*/ 655588 w 4610101"/>
              <a:gd name="connsiteY30577" fmla="*/ 718151 h 6557032"/>
              <a:gd name="connsiteX30578" fmla="*/ 599496 w 4610101"/>
              <a:gd name="connsiteY30578" fmla="*/ 716966 h 6557032"/>
              <a:gd name="connsiteX30579" fmla="*/ 595852 w 4610101"/>
              <a:gd name="connsiteY30579" fmla="*/ 718788 h 6557032"/>
              <a:gd name="connsiteX30580" fmla="*/ 597673 w 4610101"/>
              <a:gd name="connsiteY30580" fmla="*/ 724254 h 6557032"/>
              <a:gd name="connsiteX30581" fmla="*/ 601318 w 4610101"/>
              <a:gd name="connsiteY30581" fmla="*/ 727899 h 6557032"/>
              <a:gd name="connsiteX30582" fmla="*/ 597673 w 4610101"/>
              <a:gd name="connsiteY30582" fmla="*/ 724254 h 6557032"/>
              <a:gd name="connsiteX30583" fmla="*/ 599496 w 4610101"/>
              <a:gd name="connsiteY30583" fmla="*/ 716966 h 6557032"/>
              <a:gd name="connsiteX30584" fmla="*/ 515676 w 4610101"/>
              <a:gd name="connsiteY30584" fmla="*/ 716966 h 6557032"/>
              <a:gd name="connsiteX30585" fmla="*/ 522964 w 4610101"/>
              <a:gd name="connsiteY30585" fmla="*/ 722432 h 6557032"/>
              <a:gd name="connsiteX30586" fmla="*/ 515676 w 4610101"/>
              <a:gd name="connsiteY30586" fmla="*/ 716966 h 6557032"/>
              <a:gd name="connsiteX30587" fmla="*/ 362613 w 4610101"/>
              <a:gd name="connsiteY30587" fmla="*/ 716966 h 6557032"/>
              <a:gd name="connsiteX30588" fmla="*/ 369902 w 4610101"/>
              <a:gd name="connsiteY30588" fmla="*/ 737010 h 6557032"/>
              <a:gd name="connsiteX30589" fmla="*/ 362613 w 4610101"/>
              <a:gd name="connsiteY30589" fmla="*/ 716966 h 6557032"/>
              <a:gd name="connsiteX30590" fmla="*/ 297015 w 4610101"/>
              <a:gd name="connsiteY30590" fmla="*/ 716966 h 6557032"/>
              <a:gd name="connsiteX30591" fmla="*/ 306126 w 4610101"/>
              <a:gd name="connsiteY30591" fmla="*/ 726077 h 6557032"/>
              <a:gd name="connsiteX30592" fmla="*/ 297015 w 4610101"/>
              <a:gd name="connsiteY30592" fmla="*/ 716966 h 6557032"/>
              <a:gd name="connsiteX30593" fmla="*/ 1036818 w 4610101"/>
              <a:gd name="connsiteY30593" fmla="*/ 716511 h 6557032"/>
              <a:gd name="connsiteX30594" fmla="*/ 1031351 w 4610101"/>
              <a:gd name="connsiteY30594" fmla="*/ 718788 h 6557032"/>
              <a:gd name="connsiteX30595" fmla="*/ 1033173 w 4610101"/>
              <a:gd name="connsiteY30595" fmla="*/ 724254 h 6557032"/>
              <a:gd name="connsiteX30596" fmla="*/ 1036818 w 4610101"/>
              <a:gd name="connsiteY30596" fmla="*/ 718788 h 6557032"/>
              <a:gd name="connsiteX30597" fmla="*/ 1033173 w 4610101"/>
              <a:gd name="connsiteY30597" fmla="*/ 726077 h 6557032"/>
              <a:gd name="connsiteX30598" fmla="*/ 1036818 w 4610101"/>
              <a:gd name="connsiteY30598" fmla="*/ 729721 h 6557032"/>
              <a:gd name="connsiteX30599" fmla="*/ 1042284 w 4610101"/>
              <a:gd name="connsiteY30599" fmla="*/ 724254 h 6557032"/>
              <a:gd name="connsiteX30600" fmla="*/ 1042284 w 4610101"/>
              <a:gd name="connsiteY30600" fmla="*/ 716966 h 6557032"/>
              <a:gd name="connsiteX30601" fmla="*/ 1036818 w 4610101"/>
              <a:gd name="connsiteY30601" fmla="*/ 716511 h 6557032"/>
              <a:gd name="connsiteX30602" fmla="*/ 2241274 w 4610101"/>
              <a:gd name="connsiteY30602" fmla="*/ 715144 h 6557032"/>
              <a:gd name="connsiteX30603" fmla="*/ 2208475 w 4610101"/>
              <a:gd name="connsiteY30603" fmla="*/ 727899 h 6557032"/>
              <a:gd name="connsiteX30604" fmla="*/ 2217586 w 4610101"/>
              <a:gd name="connsiteY30604" fmla="*/ 735188 h 6557032"/>
              <a:gd name="connsiteX30605" fmla="*/ 2228519 w 4610101"/>
              <a:gd name="connsiteY30605" fmla="*/ 729721 h 6557032"/>
              <a:gd name="connsiteX30606" fmla="*/ 2230341 w 4610101"/>
              <a:gd name="connsiteY30606" fmla="*/ 727899 h 6557032"/>
              <a:gd name="connsiteX30607" fmla="*/ 2235808 w 4610101"/>
              <a:gd name="connsiteY30607" fmla="*/ 731543 h 6557032"/>
              <a:gd name="connsiteX30608" fmla="*/ 2243096 w 4610101"/>
              <a:gd name="connsiteY30608" fmla="*/ 726077 h 6557032"/>
              <a:gd name="connsiteX30609" fmla="*/ 2241274 w 4610101"/>
              <a:gd name="connsiteY30609" fmla="*/ 715144 h 6557032"/>
              <a:gd name="connsiteX30610" fmla="*/ 1191703 w 4610101"/>
              <a:gd name="connsiteY30610" fmla="*/ 715144 h 6557032"/>
              <a:gd name="connsiteX30611" fmla="*/ 1189880 w 4610101"/>
              <a:gd name="connsiteY30611" fmla="*/ 720610 h 6557032"/>
              <a:gd name="connsiteX30612" fmla="*/ 1191703 w 4610101"/>
              <a:gd name="connsiteY30612" fmla="*/ 715144 h 6557032"/>
              <a:gd name="connsiteX30613" fmla="*/ 1164370 w 4610101"/>
              <a:gd name="connsiteY30613" fmla="*/ 715144 h 6557032"/>
              <a:gd name="connsiteX30614" fmla="*/ 1162547 w 4610101"/>
              <a:gd name="connsiteY30614" fmla="*/ 716966 h 6557032"/>
              <a:gd name="connsiteX30615" fmla="*/ 1168014 w 4610101"/>
              <a:gd name="connsiteY30615" fmla="*/ 716966 h 6557032"/>
              <a:gd name="connsiteX30616" fmla="*/ 1164370 w 4610101"/>
              <a:gd name="connsiteY30616" fmla="*/ 715144 h 6557032"/>
              <a:gd name="connsiteX30617" fmla="*/ 1147970 w 4610101"/>
              <a:gd name="connsiteY30617" fmla="*/ 715144 h 6557032"/>
              <a:gd name="connsiteX30618" fmla="*/ 1140681 w 4610101"/>
              <a:gd name="connsiteY30618" fmla="*/ 720610 h 6557032"/>
              <a:gd name="connsiteX30619" fmla="*/ 1131570 w 4610101"/>
              <a:gd name="connsiteY30619" fmla="*/ 720610 h 6557032"/>
              <a:gd name="connsiteX30620" fmla="*/ 1142503 w 4610101"/>
              <a:gd name="connsiteY30620" fmla="*/ 726077 h 6557032"/>
              <a:gd name="connsiteX30621" fmla="*/ 1140681 w 4610101"/>
              <a:gd name="connsiteY30621" fmla="*/ 720610 h 6557032"/>
              <a:gd name="connsiteX30622" fmla="*/ 1142503 w 4610101"/>
              <a:gd name="connsiteY30622" fmla="*/ 722432 h 6557032"/>
              <a:gd name="connsiteX30623" fmla="*/ 1147970 w 4610101"/>
              <a:gd name="connsiteY30623" fmla="*/ 715144 h 6557032"/>
              <a:gd name="connsiteX30624" fmla="*/ 1018596 w 4610101"/>
              <a:gd name="connsiteY30624" fmla="*/ 715144 h 6557032"/>
              <a:gd name="connsiteX30625" fmla="*/ 1014951 w 4610101"/>
              <a:gd name="connsiteY30625" fmla="*/ 718788 h 6557032"/>
              <a:gd name="connsiteX30626" fmla="*/ 1013129 w 4610101"/>
              <a:gd name="connsiteY30626" fmla="*/ 718788 h 6557032"/>
              <a:gd name="connsiteX30627" fmla="*/ 1011307 w 4610101"/>
              <a:gd name="connsiteY30627" fmla="*/ 720610 h 6557032"/>
              <a:gd name="connsiteX30628" fmla="*/ 1014040 w 4610101"/>
              <a:gd name="connsiteY30628" fmla="*/ 719699 h 6557032"/>
              <a:gd name="connsiteX30629" fmla="*/ 1013129 w 4610101"/>
              <a:gd name="connsiteY30629" fmla="*/ 720610 h 6557032"/>
              <a:gd name="connsiteX30630" fmla="*/ 1016774 w 4610101"/>
              <a:gd name="connsiteY30630" fmla="*/ 737010 h 6557032"/>
              <a:gd name="connsiteX30631" fmla="*/ 1013129 w 4610101"/>
              <a:gd name="connsiteY30631" fmla="*/ 738832 h 6557032"/>
              <a:gd name="connsiteX30632" fmla="*/ 1027707 w 4610101"/>
              <a:gd name="connsiteY30632" fmla="*/ 715144 h 6557032"/>
              <a:gd name="connsiteX30633" fmla="*/ 1018596 w 4610101"/>
              <a:gd name="connsiteY30633" fmla="*/ 715144 h 6557032"/>
              <a:gd name="connsiteX30634" fmla="*/ 978508 w 4610101"/>
              <a:gd name="connsiteY30634" fmla="*/ 715144 h 6557032"/>
              <a:gd name="connsiteX30635" fmla="*/ 971219 w 4610101"/>
              <a:gd name="connsiteY30635" fmla="*/ 716966 h 6557032"/>
              <a:gd name="connsiteX30636" fmla="*/ 960286 w 4610101"/>
              <a:gd name="connsiteY30636" fmla="*/ 726077 h 6557032"/>
              <a:gd name="connsiteX30637" fmla="*/ 978508 w 4610101"/>
              <a:gd name="connsiteY30637" fmla="*/ 715144 h 6557032"/>
              <a:gd name="connsiteX30638" fmla="*/ 951175 w 4610101"/>
              <a:gd name="connsiteY30638" fmla="*/ 715144 h 6557032"/>
              <a:gd name="connsiteX30639" fmla="*/ 947531 w 4610101"/>
              <a:gd name="connsiteY30639" fmla="*/ 727899 h 6557032"/>
              <a:gd name="connsiteX30640" fmla="*/ 954819 w 4610101"/>
              <a:gd name="connsiteY30640" fmla="*/ 724254 h 6557032"/>
              <a:gd name="connsiteX30641" fmla="*/ 951175 w 4610101"/>
              <a:gd name="connsiteY30641" fmla="*/ 715144 h 6557032"/>
              <a:gd name="connsiteX30642" fmla="*/ 925666 w 4610101"/>
              <a:gd name="connsiteY30642" fmla="*/ 715144 h 6557032"/>
              <a:gd name="connsiteX30643" fmla="*/ 922020 w 4610101"/>
              <a:gd name="connsiteY30643" fmla="*/ 720610 h 6557032"/>
              <a:gd name="connsiteX30644" fmla="*/ 925666 w 4610101"/>
              <a:gd name="connsiteY30644" fmla="*/ 715144 h 6557032"/>
              <a:gd name="connsiteX30645" fmla="*/ 654161 w 4610101"/>
              <a:gd name="connsiteY30645" fmla="*/ 715144 h 6557032"/>
              <a:gd name="connsiteX30646" fmla="*/ 654078 w 4610101"/>
              <a:gd name="connsiteY30646" fmla="*/ 716132 h 6557032"/>
              <a:gd name="connsiteX30647" fmla="*/ 653718 w 4610101"/>
              <a:gd name="connsiteY30647" fmla="*/ 715549 h 6557032"/>
              <a:gd name="connsiteX30648" fmla="*/ 619539 w 4610101"/>
              <a:gd name="connsiteY30648" fmla="*/ 715144 h 6557032"/>
              <a:gd name="connsiteX30649" fmla="*/ 621815 w 4610101"/>
              <a:gd name="connsiteY30649" fmla="*/ 717420 h 6557032"/>
              <a:gd name="connsiteX30650" fmla="*/ 619169 w 4610101"/>
              <a:gd name="connsiteY30650" fmla="*/ 715588 h 6557032"/>
              <a:gd name="connsiteX30651" fmla="*/ 473766 w 4610101"/>
              <a:gd name="connsiteY30651" fmla="*/ 715144 h 6557032"/>
              <a:gd name="connsiteX30652" fmla="*/ 479232 w 4610101"/>
              <a:gd name="connsiteY30652" fmla="*/ 718788 h 6557032"/>
              <a:gd name="connsiteX30653" fmla="*/ 473766 w 4610101"/>
              <a:gd name="connsiteY30653" fmla="*/ 715144 h 6557032"/>
              <a:gd name="connsiteX30654" fmla="*/ 457367 w 4610101"/>
              <a:gd name="connsiteY30654" fmla="*/ 715144 h 6557032"/>
              <a:gd name="connsiteX30655" fmla="*/ 475589 w 4610101"/>
              <a:gd name="connsiteY30655" fmla="*/ 733365 h 6557032"/>
              <a:gd name="connsiteX30656" fmla="*/ 466478 w 4610101"/>
              <a:gd name="connsiteY30656" fmla="*/ 724254 h 6557032"/>
              <a:gd name="connsiteX30657" fmla="*/ 457367 w 4610101"/>
              <a:gd name="connsiteY30657" fmla="*/ 715144 h 6557032"/>
              <a:gd name="connsiteX30658" fmla="*/ 389946 w 4610101"/>
              <a:gd name="connsiteY30658" fmla="*/ 715144 h 6557032"/>
              <a:gd name="connsiteX30659" fmla="*/ 388123 w 4610101"/>
              <a:gd name="connsiteY30659" fmla="*/ 716966 h 6557032"/>
              <a:gd name="connsiteX30660" fmla="*/ 397234 w 4610101"/>
              <a:gd name="connsiteY30660" fmla="*/ 724254 h 6557032"/>
              <a:gd name="connsiteX30661" fmla="*/ 389946 w 4610101"/>
              <a:gd name="connsiteY30661" fmla="*/ 715144 h 6557032"/>
              <a:gd name="connsiteX30662" fmla="*/ 338926 w 4610101"/>
              <a:gd name="connsiteY30662" fmla="*/ 715144 h 6557032"/>
              <a:gd name="connsiteX30663" fmla="*/ 355324 w 4610101"/>
              <a:gd name="connsiteY30663" fmla="*/ 737010 h 6557032"/>
              <a:gd name="connsiteX30664" fmla="*/ 338926 w 4610101"/>
              <a:gd name="connsiteY30664" fmla="*/ 715144 h 6557032"/>
              <a:gd name="connsiteX30665" fmla="*/ 1456187 w 4610101"/>
              <a:gd name="connsiteY30665" fmla="*/ 713873 h 6557032"/>
              <a:gd name="connsiteX30666" fmla="*/ 1452956 w 4610101"/>
              <a:gd name="connsiteY30666" fmla="*/ 716739 h 6557032"/>
              <a:gd name="connsiteX30667" fmla="*/ 1439518 w 4610101"/>
              <a:gd name="connsiteY30667" fmla="*/ 720610 h 6557032"/>
              <a:gd name="connsiteX30668" fmla="*/ 1440216 w 4610101"/>
              <a:gd name="connsiteY30668" fmla="*/ 719248 h 6557032"/>
              <a:gd name="connsiteX30669" fmla="*/ 1447489 w 4610101"/>
              <a:gd name="connsiteY30669" fmla="*/ 716966 h 6557032"/>
              <a:gd name="connsiteX30670" fmla="*/ 2281362 w 4610101"/>
              <a:gd name="connsiteY30670" fmla="*/ 713321 h 6557032"/>
              <a:gd name="connsiteX30671" fmla="*/ 2268607 w 4610101"/>
              <a:gd name="connsiteY30671" fmla="*/ 740654 h 6557032"/>
              <a:gd name="connsiteX30672" fmla="*/ 2270429 w 4610101"/>
              <a:gd name="connsiteY30672" fmla="*/ 731543 h 6557032"/>
              <a:gd name="connsiteX30673" fmla="*/ 2274074 w 4610101"/>
              <a:gd name="connsiteY30673" fmla="*/ 749765 h 6557032"/>
              <a:gd name="connsiteX30674" fmla="*/ 2275896 w 4610101"/>
              <a:gd name="connsiteY30674" fmla="*/ 738832 h 6557032"/>
              <a:gd name="connsiteX30675" fmla="*/ 2279540 w 4610101"/>
              <a:gd name="connsiteY30675" fmla="*/ 746121 h 6557032"/>
              <a:gd name="connsiteX30676" fmla="*/ 2281362 w 4610101"/>
              <a:gd name="connsiteY30676" fmla="*/ 713321 h 6557032"/>
              <a:gd name="connsiteX30677" fmla="*/ 1366632 w 4610101"/>
              <a:gd name="connsiteY30677" fmla="*/ 713321 h 6557032"/>
              <a:gd name="connsiteX30678" fmla="*/ 1369281 w 4610101"/>
              <a:gd name="connsiteY30678" fmla="*/ 714647 h 6557032"/>
              <a:gd name="connsiteX30679" fmla="*/ 1368803 w 4610101"/>
              <a:gd name="connsiteY30679" fmla="*/ 717040 h 6557032"/>
              <a:gd name="connsiteX30680" fmla="*/ 1356928 w 4610101"/>
              <a:gd name="connsiteY30680" fmla="*/ 717634 h 6557032"/>
              <a:gd name="connsiteX30681" fmla="*/ 1188058 w 4610101"/>
              <a:gd name="connsiteY30681" fmla="*/ 713321 h 6557032"/>
              <a:gd name="connsiteX30682" fmla="*/ 1188058 w 4610101"/>
              <a:gd name="connsiteY30682" fmla="*/ 716966 h 6557032"/>
              <a:gd name="connsiteX30683" fmla="*/ 1189880 w 4610101"/>
              <a:gd name="connsiteY30683" fmla="*/ 713321 h 6557032"/>
              <a:gd name="connsiteX30684" fmla="*/ 1188058 w 4610101"/>
              <a:gd name="connsiteY30684" fmla="*/ 713321 h 6557032"/>
              <a:gd name="connsiteX30685" fmla="*/ 1153436 w 4610101"/>
              <a:gd name="connsiteY30685" fmla="*/ 713321 h 6557032"/>
              <a:gd name="connsiteX30686" fmla="*/ 1146148 w 4610101"/>
              <a:gd name="connsiteY30686" fmla="*/ 726077 h 6557032"/>
              <a:gd name="connsiteX30687" fmla="*/ 1157081 w 4610101"/>
              <a:gd name="connsiteY30687" fmla="*/ 718788 h 6557032"/>
              <a:gd name="connsiteX30688" fmla="*/ 1153436 w 4610101"/>
              <a:gd name="connsiteY30688" fmla="*/ 713321 h 6557032"/>
              <a:gd name="connsiteX30689" fmla="*/ 1073262 w 4610101"/>
              <a:gd name="connsiteY30689" fmla="*/ 713321 h 6557032"/>
              <a:gd name="connsiteX30690" fmla="*/ 1062328 w 4610101"/>
              <a:gd name="connsiteY30690" fmla="*/ 724254 h 6557032"/>
              <a:gd name="connsiteX30691" fmla="*/ 1073262 w 4610101"/>
              <a:gd name="connsiteY30691" fmla="*/ 713321 h 6557032"/>
              <a:gd name="connsiteX30692" fmla="*/ 679671 w 4610101"/>
              <a:gd name="connsiteY30692" fmla="*/ 713321 h 6557032"/>
              <a:gd name="connsiteX30693" fmla="*/ 665094 w 4610101"/>
              <a:gd name="connsiteY30693" fmla="*/ 718788 h 6557032"/>
              <a:gd name="connsiteX30694" fmla="*/ 676026 w 4610101"/>
              <a:gd name="connsiteY30694" fmla="*/ 722888 h 6557032"/>
              <a:gd name="connsiteX30695" fmla="*/ 685465 w 4610101"/>
              <a:gd name="connsiteY30695" fmla="*/ 728787 h 6557032"/>
              <a:gd name="connsiteX30696" fmla="*/ 686732 w 4610101"/>
              <a:gd name="connsiteY30696" fmla="*/ 732227 h 6557032"/>
              <a:gd name="connsiteX30697" fmla="*/ 692426 w 4610101"/>
              <a:gd name="connsiteY30697" fmla="*/ 735188 h 6557032"/>
              <a:gd name="connsiteX30698" fmla="*/ 692426 w 4610101"/>
              <a:gd name="connsiteY30698" fmla="*/ 731543 h 6557032"/>
              <a:gd name="connsiteX30699" fmla="*/ 686439 w 4610101"/>
              <a:gd name="connsiteY30699" fmla="*/ 728550 h 6557032"/>
              <a:gd name="connsiteX30700" fmla="*/ 683315 w 4610101"/>
              <a:gd name="connsiteY30700" fmla="*/ 721521 h 6557032"/>
              <a:gd name="connsiteX30701" fmla="*/ 679671 w 4610101"/>
              <a:gd name="connsiteY30701" fmla="*/ 713321 h 6557032"/>
              <a:gd name="connsiteX30702" fmla="*/ 526609 w 4610101"/>
              <a:gd name="connsiteY30702" fmla="*/ 713321 h 6557032"/>
              <a:gd name="connsiteX30703" fmla="*/ 532075 w 4610101"/>
              <a:gd name="connsiteY30703" fmla="*/ 720610 h 6557032"/>
              <a:gd name="connsiteX30704" fmla="*/ 526609 w 4610101"/>
              <a:gd name="connsiteY30704" fmla="*/ 713321 h 6557032"/>
              <a:gd name="connsiteX30705" fmla="*/ 211372 w 4610101"/>
              <a:gd name="connsiteY30705" fmla="*/ 713321 h 6557032"/>
              <a:gd name="connsiteX30706" fmla="*/ 215017 w 4610101"/>
              <a:gd name="connsiteY30706" fmla="*/ 720610 h 6557032"/>
              <a:gd name="connsiteX30707" fmla="*/ 213195 w 4610101"/>
              <a:gd name="connsiteY30707" fmla="*/ 713321 h 6557032"/>
              <a:gd name="connsiteX30708" fmla="*/ 211372 w 4610101"/>
              <a:gd name="connsiteY30708" fmla="*/ 713321 h 6557032"/>
              <a:gd name="connsiteX30709" fmla="*/ 2622109 w 4610101"/>
              <a:gd name="connsiteY30709" fmla="*/ 711499 h 6557032"/>
              <a:gd name="connsiteX30710" fmla="*/ 2627575 w 4610101"/>
              <a:gd name="connsiteY30710" fmla="*/ 731543 h 6557032"/>
              <a:gd name="connsiteX30711" fmla="*/ 2622109 w 4610101"/>
              <a:gd name="connsiteY30711" fmla="*/ 711499 h 6557032"/>
              <a:gd name="connsiteX30712" fmla="*/ 2268607 w 4610101"/>
              <a:gd name="connsiteY30712" fmla="*/ 711499 h 6557032"/>
              <a:gd name="connsiteX30713" fmla="*/ 2266785 w 4610101"/>
              <a:gd name="connsiteY30713" fmla="*/ 724254 h 6557032"/>
              <a:gd name="connsiteX30714" fmla="*/ 2268607 w 4610101"/>
              <a:gd name="connsiteY30714" fmla="*/ 711499 h 6557032"/>
              <a:gd name="connsiteX30715" fmla="*/ 1197169 w 4610101"/>
              <a:gd name="connsiteY30715" fmla="*/ 711499 h 6557032"/>
              <a:gd name="connsiteX30716" fmla="*/ 1193525 w 4610101"/>
              <a:gd name="connsiteY30716" fmla="*/ 715144 h 6557032"/>
              <a:gd name="connsiteX30717" fmla="*/ 1197169 w 4610101"/>
              <a:gd name="connsiteY30717" fmla="*/ 711499 h 6557032"/>
              <a:gd name="connsiteX30718" fmla="*/ 1169836 w 4610101"/>
              <a:gd name="connsiteY30718" fmla="*/ 711499 h 6557032"/>
              <a:gd name="connsiteX30719" fmla="*/ 1166192 w 4610101"/>
              <a:gd name="connsiteY30719" fmla="*/ 713321 h 6557032"/>
              <a:gd name="connsiteX30720" fmla="*/ 1169836 w 4610101"/>
              <a:gd name="connsiteY30720" fmla="*/ 716966 h 6557032"/>
              <a:gd name="connsiteX30721" fmla="*/ 1169836 w 4610101"/>
              <a:gd name="connsiteY30721" fmla="*/ 711499 h 6557032"/>
              <a:gd name="connsiteX30722" fmla="*/ 1091484 w 4610101"/>
              <a:gd name="connsiteY30722" fmla="*/ 711499 h 6557032"/>
              <a:gd name="connsiteX30723" fmla="*/ 1091484 w 4610101"/>
              <a:gd name="connsiteY30723" fmla="*/ 713321 h 6557032"/>
              <a:gd name="connsiteX30724" fmla="*/ 1091484 w 4610101"/>
              <a:gd name="connsiteY30724" fmla="*/ 711499 h 6557032"/>
              <a:gd name="connsiteX30725" fmla="*/ 1058683 w 4610101"/>
              <a:gd name="connsiteY30725" fmla="*/ 711499 h 6557032"/>
              <a:gd name="connsiteX30726" fmla="*/ 1051395 w 4610101"/>
              <a:gd name="connsiteY30726" fmla="*/ 715144 h 6557032"/>
              <a:gd name="connsiteX30727" fmla="*/ 1056861 w 4610101"/>
              <a:gd name="connsiteY30727" fmla="*/ 716966 h 6557032"/>
              <a:gd name="connsiteX30728" fmla="*/ 1055040 w 4610101"/>
              <a:gd name="connsiteY30728" fmla="*/ 716966 h 6557032"/>
              <a:gd name="connsiteX30729" fmla="*/ 1058683 w 4610101"/>
              <a:gd name="connsiteY30729" fmla="*/ 720610 h 6557032"/>
              <a:gd name="connsiteX30730" fmla="*/ 1056861 w 4610101"/>
              <a:gd name="connsiteY30730" fmla="*/ 716966 h 6557032"/>
              <a:gd name="connsiteX30731" fmla="*/ 1058683 w 4610101"/>
              <a:gd name="connsiteY30731" fmla="*/ 711499 h 6557032"/>
              <a:gd name="connsiteX30732" fmla="*/ 1040462 w 4610101"/>
              <a:gd name="connsiteY30732" fmla="*/ 711499 h 6557032"/>
              <a:gd name="connsiteX30733" fmla="*/ 1042284 w 4610101"/>
              <a:gd name="connsiteY30733" fmla="*/ 715144 h 6557032"/>
              <a:gd name="connsiteX30734" fmla="*/ 1040462 w 4610101"/>
              <a:gd name="connsiteY30734" fmla="*/ 711499 h 6557032"/>
              <a:gd name="connsiteX30735" fmla="*/ 985796 w 4610101"/>
              <a:gd name="connsiteY30735" fmla="*/ 711499 h 6557032"/>
              <a:gd name="connsiteX30736" fmla="*/ 978508 w 4610101"/>
              <a:gd name="connsiteY30736" fmla="*/ 720610 h 6557032"/>
              <a:gd name="connsiteX30737" fmla="*/ 985796 w 4610101"/>
              <a:gd name="connsiteY30737" fmla="*/ 711499 h 6557032"/>
              <a:gd name="connsiteX30738" fmla="*/ 563052 w 4610101"/>
              <a:gd name="connsiteY30738" fmla="*/ 711499 h 6557032"/>
              <a:gd name="connsiteX30739" fmla="*/ 563052 w 4610101"/>
              <a:gd name="connsiteY30739" fmla="*/ 718788 h 6557032"/>
              <a:gd name="connsiteX30740" fmla="*/ 568519 w 4610101"/>
              <a:gd name="connsiteY30740" fmla="*/ 716966 h 6557032"/>
              <a:gd name="connsiteX30741" fmla="*/ 566697 w 4610101"/>
              <a:gd name="connsiteY30741" fmla="*/ 715144 h 6557032"/>
              <a:gd name="connsiteX30742" fmla="*/ 563052 w 4610101"/>
              <a:gd name="connsiteY30742" fmla="*/ 711499 h 6557032"/>
              <a:gd name="connsiteX30743" fmla="*/ 457367 w 4610101"/>
              <a:gd name="connsiteY30743" fmla="*/ 711499 h 6557032"/>
              <a:gd name="connsiteX30744" fmla="*/ 473766 w 4610101"/>
              <a:gd name="connsiteY30744" fmla="*/ 718788 h 6557032"/>
              <a:gd name="connsiteX30745" fmla="*/ 457367 w 4610101"/>
              <a:gd name="connsiteY30745" fmla="*/ 711499 h 6557032"/>
              <a:gd name="connsiteX30746" fmla="*/ 235061 w 4610101"/>
              <a:gd name="connsiteY30746" fmla="*/ 711499 h 6557032"/>
              <a:gd name="connsiteX30747" fmla="*/ 240527 w 4610101"/>
              <a:gd name="connsiteY30747" fmla="*/ 718788 h 6557032"/>
              <a:gd name="connsiteX30748" fmla="*/ 235061 w 4610101"/>
              <a:gd name="connsiteY30748" fmla="*/ 711499 h 6557032"/>
              <a:gd name="connsiteX30749" fmla="*/ 215017 w 4610101"/>
              <a:gd name="connsiteY30749" fmla="*/ 711499 h 6557032"/>
              <a:gd name="connsiteX30750" fmla="*/ 227772 w 4610101"/>
              <a:gd name="connsiteY30750" fmla="*/ 729721 h 6557032"/>
              <a:gd name="connsiteX30751" fmla="*/ 225950 w 4610101"/>
              <a:gd name="connsiteY30751" fmla="*/ 724254 h 6557032"/>
              <a:gd name="connsiteX30752" fmla="*/ 229594 w 4610101"/>
              <a:gd name="connsiteY30752" fmla="*/ 726077 h 6557032"/>
              <a:gd name="connsiteX30753" fmla="*/ 215017 w 4610101"/>
              <a:gd name="connsiteY30753" fmla="*/ 711499 h 6557032"/>
              <a:gd name="connsiteX30754" fmla="*/ 198617 w 4610101"/>
              <a:gd name="connsiteY30754" fmla="*/ 711499 h 6557032"/>
              <a:gd name="connsiteX30755" fmla="*/ 205906 w 4610101"/>
              <a:gd name="connsiteY30755" fmla="*/ 722432 h 6557032"/>
              <a:gd name="connsiteX30756" fmla="*/ 198617 w 4610101"/>
              <a:gd name="connsiteY30756" fmla="*/ 711499 h 6557032"/>
              <a:gd name="connsiteX30757" fmla="*/ 1206052 w 4610101"/>
              <a:gd name="connsiteY30757" fmla="*/ 711044 h 6557032"/>
              <a:gd name="connsiteX30758" fmla="*/ 1204457 w 4610101"/>
              <a:gd name="connsiteY30758" fmla="*/ 716966 h 6557032"/>
              <a:gd name="connsiteX30759" fmla="*/ 1211747 w 4610101"/>
              <a:gd name="connsiteY30759" fmla="*/ 713321 h 6557032"/>
              <a:gd name="connsiteX30760" fmla="*/ 1206052 w 4610101"/>
              <a:gd name="connsiteY30760" fmla="*/ 711044 h 6557032"/>
              <a:gd name="connsiteX30761" fmla="*/ 960286 w 4610101"/>
              <a:gd name="connsiteY30761" fmla="*/ 709677 h 6557032"/>
              <a:gd name="connsiteX30762" fmla="*/ 960286 w 4610101"/>
              <a:gd name="connsiteY30762" fmla="*/ 716966 h 6557032"/>
              <a:gd name="connsiteX30763" fmla="*/ 962108 w 4610101"/>
              <a:gd name="connsiteY30763" fmla="*/ 716966 h 6557032"/>
              <a:gd name="connsiteX30764" fmla="*/ 960286 w 4610101"/>
              <a:gd name="connsiteY30764" fmla="*/ 709677 h 6557032"/>
              <a:gd name="connsiteX30765" fmla="*/ 911087 w 4610101"/>
              <a:gd name="connsiteY30765" fmla="*/ 709677 h 6557032"/>
              <a:gd name="connsiteX30766" fmla="*/ 914732 w 4610101"/>
              <a:gd name="connsiteY30766" fmla="*/ 716966 h 6557032"/>
              <a:gd name="connsiteX30767" fmla="*/ 914732 w 4610101"/>
              <a:gd name="connsiteY30767" fmla="*/ 711499 h 6557032"/>
              <a:gd name="connsiteX30768" fmla="*/ 911087 w 4610101"/>
              <a:gd name="connsiteY30768" fmla="*/ 709677 h 6557032"/>
              <a:gd name="connsiteX30769" fmla="*/ 770781 w 4610101"/>
              <a:gd name="connsiteY30769" fmla="*/ 709677 h 6557032"/>
              <a:gd name="connsiteX30770" fmla="*/ 770325 w 4610101"/>
              <a:gd name="connsiteY30770" fmla="*/ 712866 h 6557032"/>
              <a:gd name="connsiteX30771" fmla="*/ 769471 w 4610101"/>
              <a:gd name="connsiteY30771" fmla="*/ 712988 h 6557032"/>
              <a:gd name="connsiteX30772" fmla="*/ 770781 w 4610101"/>
              <a:gd name="connsiteY30772" fmla="*/ 709677 h 6557032"/>
              <a:gd name="connsiteX30773" fmla="*/ 767136 w 4610101"/>
              <a:gd name="connsiteY30773" fmla="*/ 713321 h 6557032"/>
              <a:gd name="connsiteX30774" fmla="*/ 769471 w 4610101"/>
              <a:gd name="connsiteY30774" fmla="*/ 712988 h 6557032"/>
              <a:gd name="connsiteX30775" fmla="*/ 766907 w 4610101"/>
              <a:gd name="connsiteY30775" fmla="*/ 719472 h 6557032"/>
              <a:gd name="connsiteX30776" fmla="*/ 772602 w 4610101"/>
              <a:gd name="connsiteY30776" fmla="*/ 727899 h 6557032"/>
              <a:gd name="connsiteX30777" fmla="*/ 770781 w 4610101"/>
              <a:gd name="connsiteY30777" fmla="*/ 718788 h 6557032"/>
              <a:gd name="connsiteX30778" fmla="*/ 779892 w 4610101"/>
              <a:gd name="connsiteY30778" fmla="*/ 724254 h 6557032"/>
              <a:gd name="connsiteX30779" fmla="*/ 770781 w 4610101"/>
              <a:gd name="connsiteY30779" fmla="*/ 709677 h 6557032"/>
              <a:gd name="connsiteX30780" fmla="*/ 437322 w 4610101"/>
              <a:gd name="connsiteY30780" fmla="*/ 709677 h 6557032"/>
              <a:gd name="connsiteX30781" fmla="*/ 444611 w 4610101"/>
              <a:gd name="connsiteY30781" fmla="*/ 720610 h 6557032"/>
              <a:gd name="connsiteX30782" fmla="*/ 437322 w 4610101"/>
              <a:gd name="connsiteY30782" fmla="*/ 709677 h 6557032"/>
              <a:gd name="connsiteX30783" fmla="*/ 162174 w 4610101"/>
              <a:gd name="connsiteY30783" fmla="*/ 709677 h 6557032"/>
              <a:gd name="connsiteX30784" fmla="*/ 165818 w 4610101"/>
              <a:gd name="connsiteY30784" fmla="*/ 715144 h 6557032"/>
              <a:gd name="connsiteX30785" fmla="*/ 162174 w 4610101"/>
              <a:gd name="connsiteY30785" fmla="*/ 709677 h 6557032"/>
              <a:gd name="connsiteX30786" fmla="*/ 3432976 w 4610101"/>
              <a:gd name="connsiteY30786" fmla="*/ 707855 h 6557032"/>
              <a:gd name="connsiteX30787" fmla="*/ 3434798 w 4610101"/>
              <a:gd name="connsiteY30787" fmla="*/ 713321 h 6557032"/>
              <a:gd name="connsiteX30788" fmla="*/ 3436621 w 4610101"/>
              <a:gd name="connsiteY30788" fmla="*/ 713321 h 6557032"/>
              <a:gd name="connsiteX30789" fmla="*/ 3436621 w 4610101"/>
              <a:gd name="connsiteY30789" fmla="*/ 707855 h 6557032"/>
              <a:gd name="connsiteX30790" fmla="*/ 3432976 w 4610101"/>
              <a:gd name="connsiteY30790" fmla="*/ 707855 h 6557032"/>
              <a:gd name="connsiteX30791" fmla="*/ 3431154 w 4610101"/>
              <a:gd name="connsiteY30791" fmla="*/ 707855 h 6557032"/>
              <a:gd name="connsiteX30792" fmla="*/ 3407466 w 4610101"/>
              <a:gd name="connsiteY30792" fmla="*/ 727899 h 6557032"/>
              <a:gd name="connsiteX30793" fmla="*/ 3420221 w 4610101"/>
              <a:gd name="connsiteY30793" fmla="*/ 713321 h 6557032"/>
              <a:gd name="connsiteX30794" fmla="*/ 3425687 w 4610101"/>
              <a:gd name="connsiteY30794" fmla="*/ 716966 h 6557032"/>
              <a:gd name="connsiteX30795" fmla="*/ 3431154 w 4610101"/>
              <a:gd name="connsiteY30795" fmla="*/ 707855 h 6557032"/>
              <a:gd name="connsiteX30796" fmla="*/ 1302855 w 4610101"/>
              <a:gd name="connsiteY30796" fmla="*/ 707855 h 6557032"/>
              <a:gd name="connsiteX30797" fmla="*/ 1291922 w 4610101"/>
              <a:gd name="connsiteY30797" fmla="*/ 715144 h 6557032"/>
              <a:gd name="connsiteX30798" fmla="*/ 1302855 w 4610101"/>
              <a:gd name="connsiteY30798" fmla="*/ 707855 h 6557032"/>
              <a:gd name="connsiteX30799" fmla="*/ 1264589 w 4610101"/>
              <a:gd name="connsiteY30799" fmla="*/ 707855 h 6557032"/>
              <a:gd name="connsiteX30800" fmla="*/ 1255478 w 4610101"/>
              <a:gd name="connsiteY30800" fmla="*/ 715144 h 6557032"/>
              <a:gd name="connsiteX30801" fmla="*/ 1264589 w 4610101"/>
              <a:gd name="connsiteY30801" fmla="*/ 707855 h 6557032"/>
              <a:gd name="connsiteX30802" fmla="*/ 1231790 w 4610101"/>
              <a:gd name="connsiteY30802" fmla="*/ 707855 h 6557032"/>
              <a:gd name="connsiteX30803" fmla="*/ 1224501 w 4610101"/>
              <a:gd name="connsiteY30803" fmla="*/ 713321 h 6557032"/>
              <a:gd name="connsiteX30804" fmla="*/ 1228146 w 4610101"/>
              <a:gd name="connsiteY30804" fmla="*/ 715144 h 6557032"/>
              <a:gd name="connsiteX30805" fmla="*/ 1231790 w 4610101"/>
              <a:gd name="connsiteY30805" fmla="*/ 707855 h 6557032"/>
              <a:gd name="connsiteX30806" fmla="*/ 1147970 w 4610101"/>
              <a:gd name="connsiteY30806" fmla="*/ 707855 h 6557032"/>
              <a:gd name="connsiteX30807" fmla="*/ 1146148 w 4610101"/>
              <a:gd name="connsiteY30807" fmla="*/ 713321 h 6557032"/>
              <a:gd name="connsiteX30808" fmla="*/ 1151614 w 4610101"/>
              <a:gd name="connsiteY30808" fmla="*/ 709677 h 6557032"/>
              <a:gd name="connsiteX30809" fmla="*/ 1147970 w 4610101"/>
              <a:gd name="connsiteY30809" fmla="*/ 707855 h 6557032"/>
              <a:gd name="connsiteX30810" fmla="*/ 1146148 w 4610101"/>
              <a:gd name="connsiteY30810" fmla="*/ 707855 h 6557032"/>
              <a:gd name="connsiteX30811" fmla="*/ 1133392 w 4610101"/>
              <a:gd name="connsiteY30811" fmla="*/ 712411 h 6557032"/>
              <a:gd name="connsiteX30812" fmla="*/ 1131570 w 4610101"/>
              <a:gd name="connsiteY30812" fmla="*/ 711499 h 6557032"/>
              <a:gd name="connsiteX30813" fmla="*/ 1128446 w 4610101"/>
              <a:gd name="connsiteY30813" fmla="*/ 714178 h 6557032"/>
              <a:gd name="connsiteX30814" fmla="*/ 1120637 w 4610101"/>
              <a:gd name="connsiteY30814" fmla="*/ 716966 h 6557032"/>
              <a:gd name="connsiteX30815" fmla="*/ 1126787 w 4610101"/>
              <a:gd name="connsiteY30815" fmla="*/ 715600 h 6557032"/>
              <a:gd name="connsiteX30816" fmla="*/ 1128446 w 4610101"/>
              <a:gd name="connsiteY30816" fmla="*/ 714178 h 6557032"/>
              <a:gd name="connsiteX30817" fmla="*/ 1133392 w 4610101"/>
              <a:gd name="connsiteY30817" fmla="*/ 712411 h 6557032"/>
              <a:gd name="connsiteX30818" fmla="*/ 1138859 w 4610101"/>
              <a:gd name="connsiteY30818" fmla="*/ 715144 h 6557032"/>
              <a:gd name="connsiteX30819" fmla="*/ 1146148 w 4610101"/>
              <a:gd name="connsiteY30819" fmla="*/ 707855 h 6557032"/>
              <a:gd name="connsiteX30820" fmla="*/ 1064151 w 4610101"/>
              <a:gd name="connsiteY30820" fmla="*/ 707855 h 6557032"/>
              <a:gd name="connsiteX30821" fmla="*/ 1062328 w 4610101"/>
              <a:gd name="connsiteY30821" fmla="*/ 709677 h 6557032"/>
              <a:gd name="connsiteX30822" fmla="*/ 1064151 w 4610101"/>
              <a:gd name="connsiteY30822" fmla="*/ 715144 h 6557032"/>
              <a:gd name="connsiteX30823" fmla="*/ 1064151 w 4610101"/>
              <a:gd name="connsiteY30823" fmla="*/ 707855 h 6557032"/>
              <a:gd name="connsiteX30824" fmla="*/ 947531 w 4610101"/>
              <a:gd name="connsiteY30824" fmla="*/ 707855 h 6557032"/>
              <a:gd name="connsiteX30825" fmla="*/ 945709 w 4610101"/>
              <a:gd name="connsiteY30825" fmla="*/ 715144 h 6557032"/>
              <a:gd name="connsiteX30826" fmla="*/ 947531 w 4610101"/>
              <a:gd name="connsiteY30826" fmla="*/ 707855 h 6557032"/>
              <a:gd name="connsiteX30827" fmla="*/ 313414 w 4610101"/>
              <a:gd name="connsiteY30827" fmla="*/ 707855 h 6557032"/>
              <a:gd name="connsiteX30828" fmla="*/ 329814 w 4610101"/>
              <a:gd name="connsiteY30828" fmla="*/ 726077 h 6557032"/>
              <a:gd name="connsiteX30829" fmla="*/ 313414 w 4610101"/>
              <a:gd name="connsiteY30829" fmla="*/ 707855 h 6557032"/>
              <a:gd name="connsiteX30830" fmla="*/ 271504 w 4610101"/>
              <a:gd name="connsiteY30830" fmla="*/ 707855 h 6557032"/>
              <a:gd name="connsiteX30831" fmla="*/ 273327 w 4610101"/>
              <a:gd name="connsiteY30831" fmla="*/ 713321 h 6557032"/>
              <a:gd name="connsiteX30832" fmla="*/ 266038 w 4610101"/>
              <a:gd name="connsiteY30832" fmla="*/ 720610 h 6557032"/>
              <a:gd name="connsiteX30833" fmla="*/ 284259 w 4610101"/>
              <a:gd name="connsiteY30833" fmla="*/ 724254 h 6557032"/>
              <a:gd name="connsiteX30834" fmla="*/ 271504 w 4610101"/>
              <a:gd name="connsiteY30834" fmla="*/ 716966 h 6557032"/>
              <a:gd name="connsiteX30835" fmla="*/ 282438 w 4610101"/>
              <a:gd name="connsiteY30835" fmla="*/ 720610 h 6557032"/>
              <a:gd name="connsiteX30836" fmla="*/ 276971 w 4610101"/>
              <a:gd name="connsiteY30836" fmla="*/ 716966 h 6557032"/>
              <a:gd name="connsiteX30837" fmla="*/ 271504 w 4610101"/>
              <a:gd name="connsiteY30837" fmla="*/ 707855 h 6557032"/>
              <a:gd name="connsiteX30838" fmla="*/ 227772 w 4610101"/>
              <a:gd name="connsiteY30838" fmla="*/ 707855 h 6557032"/>
              <a:gd name="connsiteX30839" fmla="*/ 233239 w 4610101"/>
              <a:gd name="connsiteY30839" fmla="*/ 716966 h 6557032"/>
              <a:gd name="connsiteX30840" fmla="*/ 227772 w 4610101"/>
              <a:gd name="connsiteY30840" fmla="*/ 707855 h 6557032"/>
              <a:gd name="connsiteX30841" fmla="*/ 3449376 w 4610101"/>
              <a:gd name="connsiteY30841" fmla="*/ 706033 h 6557032"/>
              <a:gd name="connsiteX30842" fmla="*/ 3456664 w 4610101"/>
              <a:gd name="connsiteY30842" fmla="*/ 724254 h 6557032"/>
              <a:gd name="connsiteX30843" fmla="*/ 3458487 w 4610101"/>
              <a:gd name="connsiteY30843" fmla="*/ 751587 h 6557032"/>
              <a:gd name="connsiteX30844" fmla="*/ 3422043 w 4610101"/>
              <a:gd name="connsiteY30844" fmla="*/ 737010 h 6557032"/>
              <a:gd name="connsiteX30845" fmla="*/ 3422043 w 4610101"/>
              <a:gd name="connsiteY30845" fmla="*/ 746121 h 6557032"/>
              <a:gd name="connsiteX30846" fmla="*/ 3409288 w 4610101"/>
              <a:gd name="connsiteY30846" fmla="*/ 735188 h 6557032"/>
              <a:gd name="connsiteX30847" fmla="*/ 3330934 w 4610101"/>
              <a:gd name="connsiteY30847" fmla="*/ 780742 h 6557032"/>
              <a:gd name="connsiteX30848" fmla="*/ 3325468 w 4610101"/>
              <a:gd name="connsiteY30848" fmla="*/ 780742 h 6557032"/>
              <a:gd name="connsiteX30849" fmla="*/ 3329112 w 4610101"/>
              <a:gd name="connsiteY30849" fmla="*/ 791675 h 6557032"/>
              <a:gd name="connsiteX30850" fmla="*/ 3338223 w 4610101"/>
              <a:gd name="connsiteY30850" fmla="*/ 789853 h 6557032"/>
              <a:gd name="connsiteX30851" fmla="*/ 3336401 w 4610101"/>
              <a:gd name="connsiteY30851" fmla="*/ 788031 h 6557032"/>
              <a:gd name="connsiteX30852" fmla="*/ 3372844 w 4610101"/>
              <a:gd name="connsiteY30852" fmla="*/ 786208 h 6557032"/>
              <a:gd name="connsiteX30853" fmla="*/ 3369200 w 4610101"/>
              <a:gd name="connsiteY30853" fmla="*/ 778920 h 6557032"/>
              <a:gd name="connsiteX30854" fmla="*/ 3378311 w 4610101"/>
              <a:gd name="connsiteY30854" fmla="*/ 775275 h 6557032"/>
              <a:gd name="connsiteX30855" fmla="*/ 3380133 w 4610101"/>
              <a:gd name="connsiteY30855" fmla="*/ 780742 h 6557032"/>
              <a:gd name="connsiteX30856" fmla="*/ 3389244 w 4610101"/>
              <a:gd name="connsiteY30856" fmla="*/ 775275 h 6557032"/>
              <a:gd name="connsiteX30857" fmla="*/ 3389244 w 4610101"/>
              <a:gd name="connsiteY30857" fmla="*/ 786208 h 6557032"/>
              <a:gd name="connsiteX30858" fmla="*/ 3431154 w 4610101"/>
              <a:gd name="connsiteY30858" fmla="*/ 782564 h 6557032"/>
              <a:gd name="connsiteX30859" fmla="*/ 3427510 w 4610101"/>
              <a:gd name="connsiteY30859" fmla="*/ 771631 h 6557032"/>
              <a:gd name="connsiteX30860" fmla="*/ 3429332 w 4610101"/>
              <a:gd name="connsiteY30860" fmla="*/ 780742 h 6557032"/>
              <a:gd name="connsiteX30861" fmla="*/ 3432976 w 4610101"/>
              <a:gd name="connsiteY30861" fmla="*/ 777098 h 6557032"/>
              <a:gd name="connsiteX30862" fmla="*/ 3434798 w 4610101"/>
              <a:gd name="connsiteY30862" fmla="*/ 782564 h 6557032"/>
              <a:gd name="connsiteX30863" fmla="*/ 3462131 w 4610101"/>
              <a:gd name="connsiteY30863" fmla="*/ 755231 h 6557032"/>
              <a:gd name="connsiteX30864" fmla="*/ 3487641 w 4610101"/>
              <a:gd name="connsiteY30864" fmla="*/ 727899 h 6557032"/>
              <a:gd name="connsiteX30865" fmla="*/ 3482175 w 4610101"/>
              <a:gd name="connsiteY30865" fmla="*/ 715144 h 6557032"/>
              <a:gd name="connsiteX30866" fmla="*/ 3474886 w 4610101"/>
              <a:gd name="connsiteY30866" fmla="*/ 738832 h 6557032"/>
              <a:gd name="connsiteX30867" fmla="*/ 3471242 w 4610101"/>
              <a:gd name="connsiteY30867" fmla="*/ 727899 h 6557032"/>
              <a:gd name="connsiteX30868" fmla="*/ 3462131 w 4610101"/>
              <a:gd name="connsiteY30868" fmla="*/ 724254 h 6557032"/>
              <a:gd name="connsiteX30869" fmla="*/ 3465775 w 4610101"/>
              <a:gd name="connsiteY30869" fmla="*/ 707855 h 6557032"/>
              <a:gd name="connsiteX30870" fmla="*/ 3462131 w 4610101"/>
              <a:gd name="connsiteY30870" fmla="*/ 706033 h 6557032"/>
              <a:gd name="connsiteX30871" fmla="*/ 3458487 w 4610101"/>
              <a:gd name="connsiteY30871" fmla="*/ 711499 h 6557032"/>
              <a:gd name="connsiteX30872" fmla="*/ 3460309 w 4610101"/>
              <a:gd name="connsiteY30872" fmla="*/ 715144 h 6557032"/>
              <a:gd name="connsiteX30873" fmla="*/ 3458487 w 4610101"/>
              <a:gd name="connsiteY30873" fmla="*/ 718788 h 6557032"/>
              <a:gd name="connsiteX30874" fmla="*/ 3458487 w 4610101"/>
              <a:gd name="connsiteY30874" fmla="*/ 707855 h 6557032"/>
              <a:gd name="connsiteX30875" fmla="*/ 3449376 w 4610101"/>
              <a:gd name="connsiteY30875" fmla="*/ 706033 h 6557032"/>
              <a:gd name="connsiteX30876" fmla="*/ 2587487 w 4610101"/>
              <a:gd name="connsiteY30876" fmla="*/ 706033 h 6557032"/>
              <a:gd name="connsiteX30877" fmla="*/ 2592954 w 4610101"/>
              <a:gd name="connsiteY30877" fmla="*/ 716966 h 6557032"/>
              <a:gd name="connsiteX30878" fmla="*/ 2591132 w 4610101"/>
              <a:gd name="connsiteY30878" fmla="*/ 706033 h 6557032"/>
              <a:gd name="connsiteX30879" fmla="*/ 2587487 w 4610101"/>
              <a:gd name="connsiteY30879" fmla="*/ 706033 h 6557032"/>
              <a:gd name="connsiteX30880" fmla="*/ 2015325 w 4610101"/>
              <a:gd name="connsiteY30880" fmla="*/ 706033 h 6557032"/>
              <a:gd name="connsiteX30881" fmla="*/ 2015528 w 4610101"/>
              <a:gd name="connsiteY30881" fmla="*/ 706198 h 6557032"/>
              <a:gd name="connsiteX30882" fmla="*/ 2015325 w 4610101"/>
              <a:gd name="connsiteY30882" fmla="*/ 713321 h 6557032"/>
              <a:gd name="connsiteX30883" fmla="*/ 2015325 w 4610101"/>
              <a:gd name="connsiteY30883" fmla="*/ 706033 h 6557032"/>
              <a:gd name="connsiteX30884" fmla="*/ 1372097 w 4610101"/>
              <a:gd name="connsiteY30884" fmla="*/ 706033 h 6557032"/>
              <a:gd name="connsiteX30885" fmla="*/ 1370275 w 4610101"/>
              <a:gd name="connsiteY30885" fmla="*/ 715144 h 6557032"/>
              <a:gd name="connsiteX30886" fmla="*/ 1369281 w 4610101"/>
              <a:gd name="connsiteY30886" fmla="*/ 714647 h 6557032"/>
              <a:gd name="connsiteX30887" fmla="*/ 1370908 w 4610101"/>
              <a:gd name="connsiteY30887" fmla="*/ 706509 h 6557032"/>
              <a:gd name="connsiteX30888" fmla="*/ 1242723 w 4610101"/>
              <a:gd name="connsiteY30888" fmla="*/ 706033 h 6557032"/>
              <a:gd name="connsiteX30889" fmla="*/ 1246367 w 4610101"/>
              <a:gd name="connsiteY30889" fmla="*/ 709677 h 6557032"/>
              <a:gd name="connsiteX30890" fmla="*/ 1248189 w 4610101"/>
              <a:gd name="connsiteY30890" fmla="*/ 706033 h 6557032"/>
              <a:gd name="connsiteX30891" fmla="*/ 1242723 w 4610101"/>
              <a:gd name="connsiteY30891" fmla="*/ 706033 h 6557032"/>
              <a:gd name="connsiteX30892" fmla="*/ 1239080 w 4610101"/>
              <a:gd name="connsiteY30892" fmla="*/ 706033 h 6557032"/>
              <a:gd name="connsiteX30893" fmla="*/ 1233612 w 4610101"/>
              <a:gd name="connsiteY30893" fmla="*/ 715144 h 6557032"/>
              <a:gd name="connsiteX30894" fmla="*/ 1242723 w 4610101"/>
              <a:gd name="connsiteY30894" fmla="*/ 709677 h 6557032"/>
              <a:gd name="connsiteX30895" fmla="*/ 1239080 w 4610101"/>
              <a:gd name="connsiteY30895" fmla="*/ 706033 h 6557032"/>
              <a:gd name="connsiteX30896" fmla="*/ 1166192 w 4610101"/>
              <a:gd name="connsiteY30896" fmla="*/ 706033 h 6557032"/>
              <a:gd name="connsiteX30897" fmla="*/ 1160725 w 4610101"/>
              <a:gd name="connsiteY30897" fmla="*/ 709677 h 6557032"/>
              <a:gd name="connsiteX30898" fmla="*/ 1160725 w 4610101"/>
              <a:gd name="connsiteY30898" fmla="*/ 713321 h 6557032"/>
              <a:gd name="connsiteX30899" fmla="*/ 1158903 w 4610101"/>
              <a:gd name="connsiteY30899" fmla="*/ 707855 h 6557032"/>
              <a:gd name="connsiteX30900" fmla="*/ 1155259 w 4610101"/>
              <a:gd name="connsiteY30900" fmla="*/ 711499 h 6557032"/>
              <a:gd name="connsiteX30901" fmla="*/ 1158903 w 4610101"/>
              <a:gd name="connsiteY30901" fmla="*/ 715144 h 6557032"/>
              <a:gd name="connsiteX30902" fmla="*/ 1160725 w 4610101"/>
              <a:gd name="connsiteY30902" fmla="*/ 713321 h 6557032"/>
              <a:gd name="connsiteX30903" fmla="*/ 1164370 w 4610101"/>
              <a:gd name="connsiteY30903" fmla="*/ 709677 h 6557032"/>
              <a:gd name="connsiteX30904" fmla="*/ 1171658 w 4610101"/>
              <a:gd name="connsiteY30904" fmla="*/ 707855 h 6557032"/>
              <a:gd name="connsiteX30905" fmla="*/ 1166192 w 4610101"/>
              <a:gd name="connsiteY30905" fmla="*/ 706033 h 6557032"/>
              <a:gd name="connsiteX30906" fmla="*/ 1122459 w 4610101"/>
              <a:gd name="connsiteY30906" fmla="*/ 706033 h 6557032"/>
              <a:gd name="connsiteX30907" fmla="*/ 1115171 w 4610101"/>
              <a:gd name="connsiteY30907" fmla="*/ 711499 h 6557032"/>
              <a:gd name="connsiteX30908" fmla="*/ 1122459 w 4610101"/>
              <a:gd name="connsiteY30908" fmla="*/ 706033 h 6557032"/>
              <a:gd name="connsiteX30909" fmla="*/ 1056861 w 4610101"/>
              <a:gd name="connsiteY30909" fmla="*/ 706033 h 6557032"/>
              <a:gd name="connsiteX30910" fmla="*/ 1045929 w 4610101"/>
              <a:gd name="connsiteY30910" fmla="*/ 713321 h 6557032"/>
              <a:gd name="connsiteX30911" fmla="*/ 1056861 w 4610101"/>
              <a:gd name="connsiteY30911" fmla="*/ 706033 h 6557032"/>
              <a:gd name="connsiteX30912" fmla="*/ 1002196 w 4610101"/>
              <a:gd name="connsiteY30912" fmla="*/ 706033 h 6557032"/>
              <a:gd name="connsiteX30913" fmla="*/ 994907 w 4610101"/>
              <a:gd name="connsiteY30913" fmla="*/ 715144 h 6557032"/>
              <a:gd name="connsiteX30914" fmla="*/ 1002196 w 4610101"/>
              <a:gd name="connsiteY30914" fmla="*/ 706033 h 6557032"/>
              <a:gd name="connsiteX30915" fmla="*/ 861889 w 4610101"/>
              <a:gd name="connsiteY30915" fmla="*/ 706033 h 6557032"/>
              <a:gd name="connsiteX30916" fmla="*/ 856422 w 4610101"/>
              <a:gd name="connsiteY30916" fmla="*/ 716966 h 6557032"/>
              <a:gd name="connsiteX30917" fmla="*/ 861889 w 4610101"/>
              <a:gd name="connsiteY30917" fmla="*/ 706033 h 6557032"/>
              <a:gd name="connsiteX30918" fmla="*/ 539364 w 4610101"/>
              <a:gd name="connsiteY30918" fmla="*/ 706033 h 6557032"/>
              <a:gd name="connsiteX30919" fmla="*/ 535719 w 4610101"/>
              <a:gd name="connsiteY30919" fmla="*/ 713321 h 6557032"/>
              <a:gd name="connsiteX30920" fmla="*/ 546653 w 4610101"/>
              <a:gd name="connsiteY30920" fmla="*/ 718788 h 6557032"/>
              <a:gd name="connsiteX30921" fmla="*/ 544830 w 4610101"/>
              <a:gd name="connsiteY30921" fmla="*/ 709677 h 6557032"/>
              <a:gd name="connsiteX30922" fmla="*/ 539364 w 4610101"/>
              <a:gd name="connsiteY30922" fmla="*/ 706033 h 6557032"/>
              <a:gd name="connsiteX30923" fmla="*/ 442789 w 4610101"/>
              <a:gd name="connsiteY30923" fmla="*/ 706033 h 6557032"/>
              <a:gd name="connsiteX30924" fmla="*/ 448256 w 4610101"/>
              <a:gd name="connsiteY30924" fmla="*/ 709677 h 6557032"/>
              <a:gd name="connsiteX30925" fmla="*/ 448256 w 4610101"/>
              <a:gd name="connsiteY30925" fmla="*/ 706033 h 6557032"/>
              <a:gd name="connsiteX30926" fmla="*/ 442789 w 4610101"/>
              <a:gd name="connsiteY30926" fmla="*/ 706033 h 6557032"/>
              <a:gd name="connsiteX30927" fmla="*/ 399056 w 4610101"/>
              <a:gd name="connsiteY30927" fmla="*/ 706033 h 6557032"/>
              <a:gd name="connsiteX30928" fmla="*/ 400879 w 4610101"/>
              <a:gd name="connsiteY30928" fmla="*/ 715144 h 6557032"/>
              <a:gd name="connsiteX30929" fmla="*/ 399056 w 4610101"/>
              <a:gd name="connsiteY30929" fmla="*/ 706033 h 6557032"/>
              <a:gd name="connsiteX30930" fmla="*/ 1482662 w 4610101"/>
              <a:gd name="connsiteY30930" fmla="*/ 704799 h 6557032"/>
              <a:gd name="connsiteX30931" fmla="*/ 1481401 w 4610101"/>
              <a:gd name="connsiteY30931" fmla="*/ 707146 h 6557032"/>
              <a:gd name="connsiteX30932" fmla="*/ 1481428 w 4610101"/>
              <a:gd name="connsiteY30932" fmla="*/ 706033 h 6557032"/>
              <a:gd name="connsiteX30933" fmla="*/ 3588813 w 4610101"/>
              <a:gd name="connsiteY30933" fmla="*/ 704455 h 6557032"/>
              <a:gd name="connsiteX30934" fmla="*/ 3591505 w 4610101"/>
              <a:gd name="connsiteY30934" fmla="*/ 720610 h 6557032"/>
              <a:gd name="connsiteX30935" fmla="*/ 3587646 w 4610101"/>
              <a:gd name="connsiteY30935" fmla="*/ 721085 h 6557032"/>
              <a:gd name="connsiteX30936" fmla="*/ 3586039 w 4610101"/>
              <a:gd name="connsiteY30936" fmla="*/ 711044 h 6557032"/>
              <a:gd name="connsiteX30937" fmla="*/ 2275896 w 4610101"/>
              <a:gd name="connsiteY30937" fmla="*/ 704211 h 6557032"/>
              <a:gd name="connsiteX30938" fmla="*/ 2274074 w 4610101"/>
              <a:gd name="connsiteY30938" fmla="*/ 713321 h 6557032"/>
              <a:gd name="connsiteX30939" fmla="*/ 2275896 w 4610101"/>
              <a:gd name="connsiteY30939" fmla="*/ 704211 h 6557032"/>
              <a:gd name="connsiteX30940" fmla="*/ 1313788 w 4610101"/>
              <a:gd name="connsiteY30940" fmla="*/ 704211 h 6557032"/>
              <a:gd name="connsiteX30941" fmla="*/ 1302855 w 4610101"/>
              <a:gd name="connsiteY30941" fmla="*/ 713321 h 6557032"/>
              <a:gd name="connsiteX30942" fmla="*/ 1313788 w 4610101"/>
              <a:gd name="connsiteY30942" fmla="*/ 704211 h 6557032"/>
              <a:gd name="connsiteX30943" fmla="*/ 1051395 w 4610101"/>
              <a:gd name="connsiteY30943" fmla="*/ 704211 h 6557032"/>
              <a:gd name="connsiteX30944" fmla="*/ 1047750 w 4610101"/>
              <a:gd name="connsiteY30944" fmla="*/ 707855 h 6557032"/>
              <a:gd name="connsiteX30945" fmla="*/ 1051395 w 4610101"/>
              <a:gd name="connsiteY30945" fmla="*/ 704211 h 6557032"/>
              <a:gd name="connsiteX30946" fmla="*/ 1036818 w 4610101"/>
              <a:gd name="connsiteY30946" fmla="*/ 704211 h 6557032"/>
              <a:gd name="connsiteX30947" fmla="*/ 1013129 w 4610101"/>
              <a:gd name="connsiteY30947" fmla="*/ 713321 h 6557032"/>
              <a:gd name="connsiteX30948" fmla="*/ 1036818 w 4610101"/>
              <a:gd name="connsiteY30948" fmla="*/ 704211 h 6557032"/>
              <a:gd name="connsiteX30949" fmla="*/ 991263 w 4610101"/>
              <a:gd name="connsiteY30949" fmla="*/ 704211 h 6557032"/>
              <a:gd name="connsiteX30950" fmla="*/ 983974 w 4610101"/>
              <a:gd name="connsiteY30950" fmla="*/ 709677 h 6557032"/>
              <a:gd name="connsiteX30951" fmla="*/ 991263 w 4610101"/>
              <a:gd name="connsiteY30951" fmla="*/ 704211 h 6557032"/>
              <a:gd name="connsiteX30952" fmla="*/ 801757 w 4610101"/>
              <a:gd name="connsiteY30952" fmla="*/ 704211 h 6557032"/>
              <a:gd name="connsiteX30953" fmla="*/ 803579 w 4610101"/>
              <a:gd name="connsiteY30953" fmla="*/ 713321 h 6557032"/>
              <a:gd name="connsiteX30954" fmla="*/ 807223 w 4610101"/>
              <a:gd name="connsiteY30954" fmla="*/ 706033 h 6557032"/>
              <a:gd name="connsiteX30955" fmla="*/ 801757 w 4610101"/>
              <a:gd name="connsiteY30955" fmla="*/ 704211 h 6557032"/>
              <a:gd name="connsiteX30956" fmla="*/ 692426 w 4610101"/>
              <a:gd name="connsiteY30956" fmla="*/ 704211 h 6557032"/>
              <a:gd name="connsiteX30957" fmla="*/ 681493 w 4610101"/>
              <a:gd name="connsiteY30957" fmla="*/ 707855 h 6557032"/>
              <a:gd name="connsiteX30958" fmla="*/ 708826 w 4610101"/>
              <a:gd name="connsiteY30958" fmla="*/ 737010 h 6557032"/>
              <a:gd name="connsiteX30959" fmla="*/ 692426 w 4610101"/>
              <a:gd name="connsiteY30959" fmla="*/ 715144 h 6557032"/>
              <a:gd name="connsiteX30960" fmla="*/ 705182 w 4610101"/>
              <a:gd name="connsiteY30960" fmla="*/ 718788 h 6557032"/>
              <a:gd name="connsiteX30961" fmla="*/ 692426 w 4610101"/>
              <a:gd name="connsiteY30961" fmla="*/ 704211 h 6557032"/>
              <a:gd name="connsiteX30962" fmla="*/ 497454 w 4610101"/>
              <a:gd name="connsiteY30962" fmla="*/ 704211 h 6557032"/>
              <a:gd name="connsiteX30963" fmla="*/ 495632 w 4610101"/>
              <a:gd name="connsiteY30963" fmla="*/ 709677 h 6557032"/>
              <a:gd name="connsiteX30964" fmla="*/ 497454 w 4610101"/>
              <a:gd name="connsiteY30964" fmla="*/ 704211 h 6557032"/>
              <a:gd name="connsiteX30965" fmla="*/ 415456 w 4610101"/>
              <a:gd name="connsiteY30965" fmla="*/ 704211 h 6557032"/>
              <a:gd name="connsiteX30966" fmla="*/ 439145 w 4610101"/>
              <a:gd name="connsiteY30966" fmla="*/ 742476 h 6557032"/>
              <a:gd name="connsiteX30967" fmla="*/ 437322 w 4610101"/>
              <a:gd name="connsiteY30967" fmla="*/ 738832 h 6557032"/>
              <a:gd name="connsiteX30968" fmla="*/ 444611 w 4610101"/>
              <a:gd name="connsiteY30968" fmla="*/ 742476 h 6557032"/>
              <a:gd name="connsiteX30969" fmla="*/ 439145 w 4610101"/>
              <a:gd name="connsiteY30969" fmla="*/ 737010 h 6557032"/>
              <a:gd name="connsiteX30970" fmla="*/ 415456 w 4610101"/>
              <a:gd name="connsiteY30970" fmla="*/ 704211 h 6557032"/>
              <a:gd name="connsiteX30971" fmla="*/ 344391 w 4610101"/>
              <a:gd name="connsiteY30971" fmla="*/ 704211 h 6557032"/>
              <a:gd name="connsiteX30972" fmla="*/ 362613 w 4610101"/>
              <a:gd name="connsiteY30972" fmla="*/ 731543 h 6557032"/>
              <a:gd name="connsiteX30973" fmla="*/ 344391 w 4610101"/>
              <a:gd name="connsiteY30973" fmla="*/ 704211 h 6557032"/>
              <a:gd name="connsiteX30974" fmla="*/ 291549 w 4610101"/>
              <a:gd name="connsiteY30974" fmla="*/ 704211 h 6557032"/>
              <a:gd name="connsiteX30975" fmla="*/ 295193 w 4610101"/>
              <a:gd name="connsiteY30975" fmla="*/ 711499 h 6557032"/>
              <a:gd name="connsiteX30976" fmla="*/ 300660 w 4610101"/>
              <a:gd name="connsiteY30976" fmla="*/ 715144 h 6557032"/>
              <a:gd name="connsiteX30977" fmla="*/ 291549 w 4610101"/>
              <a:gd name="connsiteY30977" fmla="*/ 704211 h 6557032"/>
              <a:gd name="connsiteX30978" fmla="*/ 83820 w 4610101"/>
              <a:gd name="connsiteY30978" fmla="*/ 704211 h 6557032"/>
              <a:gd name="connsiteX30979" fmla="*/ 149421 w 4610101"/>
              <a:gd name="connsiteY30979" fmla="*/ 758877 h 6557032"/>
              <a:gd name="connsiteX30980" fmla="*/ 151241 w 4610101"/>
              <a:gd name="connsiteY30980" fmla="*/ 760698 h 6557032"/>
              <a:gd name="connsiteX30981" fmla="*/ 150604 w 4610101"/>
              <a:gd name="connsiteY30981" fmla="*/ 759864 h 6557032"/>
              <a:gd name="connsiteX30982" fmla="*/ 160352 w 4610101"/>
              <a:gd name="connsiteY30982" fmla="*/ 767987 h 6557032"/>
              <a:gd name="connsiteX30983" fmla="*/ 150603 w 4610101"/>
              <a:gd name="connsiteY30983" fmla="*/ 759863 h 6557032"/>
              <a:gd name="connsiteX30984" fmla="*/ 138030 w 4610101"/>
              <a:gd name="connsiteY30984" fmla="*/ 743388 h 6557032"/>
              <a:gd name="connsiteX30985" fmla="*/ 122086 w 4610101"/>
              <a:gd name="connsiteY30985" fmla="*/ 731543 h 6557032"/>
              <a:gd name="connsiteX30986" fmla="*/ 83820 w 4610101"/>
              <a:gd name="connsiteY30986" fmla="*/ 704211 h 6557032"/>
              <a:gd name="connsiteX30987" fmla="*/ 1483068 w 4610101"/>
              <a:gd name="connsiteY30987" fmla="*/ 704043 h 6557032"/>
              <a:gd name="connsiteX30988" fmla="*/ 1483084 w 4610101"/>
              <a:gd name="connsiteY30988" fmla="*/ 704377 h 6557032"/>
              <a:gd name="connsiteX30989" fmla="*/ 1482662 w 4610101"/>
              <a:gd name="connsiteY30989" fmla="*/ 704799 h 6557032"/>
              <a:gd name="connsiteX30990" fmla="*/ 3502219 w 4610101"/>
              <a:gd name="connsiteY30990" fmla="*/ 702388 h 6557032"/>
              <a:gd name="connsiteX30991" fmla="*/ 3504041 w 4610101"/>
              <a:gd name="connsiteY30991" fmla="*/ 706033 h 6557032"/>
              <a:gd name="connsiteX30992" fmla="*/ 3509507 w 4610101"/>
              <a:gd name="connsiteY30992" fmla="*/ 706033 h 6557032"/>
              <a:gd name="connsiteX30993" fmla="*/ 3502219 w 4610101"/>
              <a:gd name="connsiteY30993" fmla="*/ 702388 h 6557032"/>
              <a:gd name="connsiteX30994" fmla="*/ 2330561 w 4610101"/>
              <a:gd name="connsiteY30994" fmla="*/ 702388 h 6557032"/>
              <a:gd name="connsiteX30995" fmla="*/ 2326916 w 4610101"/>
              <a:gd name="connsiteY30995" fmla="*/ 724254 h 6557032"/>
              <a:gd name="connsiteX30996" fmla="*/ 2326916 w 4610101"/>
              <a:gd name="connsiteY30996" fmla="*/ 707855 h 6557032"/>
              <a:gd name="connsiteX30997" fmla="*/ 2321450 w 4610101"/>
              <a:gd name="connsiteY30997" fmla="*/ 731543 h 6557032"/>
              <a:gd name="connsiteX30998" fmla="*/ 2323272 w 4610101"/>
              <a:gd name="connsiteY30998" fmla="*/ 729721 h 6557032"/>
              <a:gd name="connsiteX30999" fmla="*/ 2317806 w 4610101"/>
              <a:gd name="connsiteY30999" fmla="*/ 735188 h 6557032"/>
              <a:gd name="connsiteX31000" fmla="*/ 2319628 w 4610101"/>
              <a:gd name="connsiteY31000" fmla="*/ 742476 h 6557032"/>
              <a:gd name="connsiteX31001" fmla="*/ 2337850 w 4610101"/>
              <a:gd name="connsiteY31001" fmla="*/ 751587 h 6557032"/>
              <a:gd name="connsiteX31002" fmla="*/ 2341494 w 4610101"/>
              <a:gd name="connsiteY31002" fmla="*/ 744298 h 6557032"/>
              <a:gd name="connsiteX31003" fmla="*/ 2341494 w 4610101"/>
              <a:gd name="connsiteY31003" fmla="*/ 742476 h 6557032"/>
              <a:gd name="connsiteX31004" fmla="*/ 2341494 w 4610101"/>
              <a:gd name="connsiteY31004" fmla="*/ 737010 h 6557032"/>
              <a:gd name="connsiteX31005" fmla="*/ 2341494 w 4610101"/>
              <a:gd name="connsiteY31005" fmla="*/ 733365 h 6557032"/>
              <a:gd name="connsiteX31006" fmla="*/ 2339672 w 4610101"/>
              <a:gd name="connsiteY31006" fmla="*/ 715144 h 6557032"/>
              <a:gd name="connsiteX31007" fmla="*/ 2334205 w 4610101"/>
              <a:gd name="connsiteY31007" fmla="*/ 716966 h 6557032"/>
              <a:gd name="connsiteX31008" fmla="*/ 2330561 w 4610101"/>
              <a:gd name="connsiteY31008" fmla="*/ 702388 h 6557032"/>
              <a:gd name="connsiteX31009" fmla="*/ 1277344 w 4610101"/>
              <a:gd name="connsiteY31009" fmla="*/ 702388 h 6557032"/>
              <a:gd name="connsiteX31010" fmla="*/ 1259123 w 4610101"/>
              <a:gd name="connsiteY31010" fmla="*/ 718788 h 6557032"/>
              <a:gd name="connsiteX31011" fmla="*/ 1273700 w 4610101"/>
              <a:gd name="connsiteY31011" fmla="*/ 706033 h 6557032"/>
              <a:gd name="connsiteX31012" fmla="*/ 1271878 w 4610101"/>
              <a:gd name="connsiteY31012" fmla="*/ 711499 h 6557032"/>
              <a:gd name="connsiteX31013" fmla="*/ 1277344 w 4610101"/>
              <a:gd name="connsiteY31013" fmla="*/ 702388 h 6557032"/>
              <a:gd name="connsiteX31014" fmla="*/ 925666 w 4610101"/>
              <a:gd name="connsiteY31014" fmla="*/ 702388 h 6557032"/>
              <a:gd name="connsiteX31015" fmla="*/ 920198 w 4610101"/>
              <a:gd name="connsiteY31015" fmla="*/ 707855 h 6557032"/>
              <a:gd name="connsiteX31016" fmla="*/ 925666 w 4610101"/>
              <a:gd name="connsiteY31016" fmla="*/ 702388 h 6557032"/>
              <a:gd name="connsiteX31017" fmla="*/ 903799 w 4610101"/>
              <a:gd name="connsiteY31017" fmla="*/ 702388 h 6557032"/>
              <a:gd name="connsiteX31018" fmla="*/ 905621 w 4610101"/>
              <a:gd name="connsiteY31018" fmla="*/ 709677 h 6557032"/>
              <a:gd name="connsiteX31019" fmla="*/ 903799 w 4610101"/>
              <a:gd name="connsiteY31019" fmla="*/ 702388 h 6557032"/>
              <a:gd name="connsiteX31020" fmla="*/ 896510 w 4610101"/>
              <a:gd name="connsiteY31020" fmla="*/ 702388 h 6557032"/>
              <a:gd name="connsiteX31021" fmla="*/ 885577 w 4610101"/>
              <a:gd name="connsiteY31021" fmla="*/ 718788 h 6557032"/>
              <a:gd name="connsiteX31022" fmla="*/ 894688 w 4610101"/>
              <a:gd name="connsiteY31022" fmla="*/ 720610 h 6557032"/>
              <a:gd name="connsiteX31023" fmla="*/ 891043 w 4610101"/>
              <a:gd name="connsiteY31023" fmla="*/ 713321 h 6557032"/>
              <a:gd name="connsiteX31024" fmla="*/ 901976 w 4610101"/>
              <a:gd name="connsiteY31024" fmla="*/ 724254 h 6557032"/>
              <a:gd name="connsiteX31025" fmla="*/ 896510 w 4610101"/>
              <a:gd name="connsiteY31025" fmla="*/ 702388 h 6557032"/>
              <a:gd name="connsiteX31026" fmla="*/ 699715 w 4610101"/>
              <a:gd name="connsiteY31026" fmla="*/ 702388 h 6557032"/>
              <a:gd name="connsiteX31027" fmla="*/ 712470 w 4610101"/>
              <a:gd name="connsiteY31027" fmla="*/ 716966 h 6557032"/>
              <a:gd name="connsiteX31028" fmla="*/ 699715 w 4610101"/>
              <a:gd name="connsiteY31028" fmla="*/ 702388 h 6557032"/>
              <a:gd name="connsiteX31029" fmla="*/ 244172 w 4610101"/>
              <a:gd name="connsiteY31029" fmla="*/ 702388 h 6557032"/>
              <a:gd name="connsiteX31030" fmla="*/ 240527 w 4610101"/>
              <a:gd name="connsiteY31030" fmla="*/ 704211 h 6557032"/>
              <a:gd name="connsiteX31031" fmla="*/ 251460 w 4610101"/>
              <a:gd name="connsiteY31031" fmla="*/ 713321 h 6557032"/>
              <a:gd name="connsiteX31032" fmla="*/ 244172 w 4610101"/>
              <a:gd name="connsiteY31032" fmla="*/ 702388 h 6557032"/>
              <a:gd name="connsiteX31033" fmla="*/ 178573 w 4610101"/>
              <a:gd name="connsiteY31033" fmla="*/ 702388 h 6557032"/>
              <a:gd name="connsiteX31034" fmla="*/ 189506 w 4610101"/>
              <a:gd name="connsiteY31034" fmla="*/ 716966 h 6557032"/>
              <a:gd name="connsiteX31035" fmla="*/ 178573 w 4610101"/>
              <a:gd name="connsiteY31035" fmla="*/ 702388 h 6557032"/>
              <a:gd name="connsiteX31036" fmla="*/ 2315983 w 4610101"/>
              <a:gd name="connsiteY31036" fmla="*/ 700566 h 6557032"/>
              <a:gd name="connsiteX31037" fmla="*/ 2315983 w 4610101"/>
              <a:gd name="connsiteY31037" fmla="*/ 709677 h 6557032"/>
              <a:gd name="connsiteX31038" fmla="*/ 2319628 w 4610101"/>
              <a:gd name="connsiteY31038" fmla="*/ 706033 h 6557032"/>
              <a:gd name="connsiteX31039" fmla="*/ 2315983 w 4610101"/>
              <a:gd name="connsiteY31039" fmla="*/ 700566 h 6557032"/>
              <a:gd name="connsiteX31040" fmla="*/ 1062328 w 4610101"/>
              <a:gd name="connsiteY31040" fmla="*/ 700566 h 6557032"/>
              <a:gd name="connsiteX31041" fmla="*/ 1049573 w 4610101"/>
              <a:gd name="connsiteY31041" fmla="*/ 707855 h 6557032"/>
              <a:gd name="connsiteX31042" fmla="*/ 1062328 w 4610101"/>
              <a:gd name="connsiteY31042" fmla="*/ 700566 h 6557032"/>
              <a:gd name="connsiteX31043" fmla="*/ 768959 w 4610101"/>
              <a:gd name="connsiteY31043" fmla="*/ 700566 h 6557032"/>
              <a:gd name="connsiteX31044" fmla="*/ 770325 w 4610101"/>
              <a:gd name="connsiteY31044" fmla="*/ 706033 h 6557032"/>
              <a:gd name="connsiteX31045" fmla="*/ 772602 w 4610101"/>
              <a:gd name="connsiteY31045" fmla="*/ 704211 h 6557032"/>
              <a:gd name="connsiteX31046" fmla="*/ 768959 w 4610101"/>
              <a:gd name="connsiteY31046" fmla="*/ 700566 h 6557032"/>
              <a:gd name="connsiteX31047" fmla="*/ 433678 w 4610101"/>
              <a:gd name="connsiteY31047" fmla="*/ 700566 h 6557032"/>
              <a:gd name="connsiteX31048" fmla="*/ 439145 w 4610101"/>
              <a:gd name="connsiteY31048" fmla="*/ 706033 h 6557032"/>
              <a:gd name="connsiteX31049" fmla="*/ 433678 w 4610101"/>
              <a:gd name="connsiteY31049" fmla="*/ 700566 h 6557032"/>
              <a:gd name="connsiteX31050" fmla="*/ 397598 w 4610101"/>
              <a:gd name="connsiteY31050" fmla="*/ 699473 h 6557032"/>
              <a:gd name="connsiteX31051" fmla="*/ 398680 w 4610101"/>
              <a:gd name="connsiteY31051" fmla="*/ 699833 h 6557032"/>
              <a:gd name="connsiteX31052" fmla="*/ 399056 w 4610101"/>
              <a:gd name="connsiteY31052" fmla="*/ 700566 h 6557032"/>
              <a:gd name="connsiteX31053" fmla="*/ 3587861 w 4610101"/>
              <a:gd name="connsiteY31053" fmla="*/ 698745 h 6557032"/>
              <a:gd name="connsiteX31054" fmla="*/ 3589683 w 4610101"/>
              <a:gd name="connsiteY31054" fmla="*/ 702388 h 6557032"/>
              <a:gd name="connsiteX31055" fmla="*/ 3588813 w 4610101"/>
              <a:gd name="connsiteY31055" fmla="*/ 704455 h 6557032"/>
              <a:gd name="connsiteX31056" fmla="*/ 2886324 w 4610101"/>
              <a:gd name="connsiteY31056" fmla="*/ 698744 h 6557032"/>
              <a:gd name="connsiteX31057" fmla="*/ 2902724 w 4610101"/>
              <a:gd name="connsiteY31057" fmla="*/ 722432 h 6557032"/>
              <a:gd name="connsiteX31058" fmla="*/ 2899079 w 4610101"/>
              <a:gd name="connsiteY31058" fmla="*/ 711499 h 6557032"/>
              <a:gd name="connsiteX31059" fmla="*/ 2911834 w 4610101"/>
              <a:gd name="connsiteY31059" fmla="*/ 724254 h 6557032"/>
              <a:gd name="connsiteX31060" fmla="*/ 2910012 w 4610101"/>
              <a:gd name="connsiteY31060" fmla="*/ 716966 h 6557032"/>
              <a:gd name="connsiteX31061" fmla="*/ 2920945 w 4610101"/>
              <a:gd name="connsiteY31061" fmla="*/ 716966 h 6557032"/>
              <a:gd name="connsiteX31062" fmla="*/ 2895435 w 4610101"/>
              <a:gd name="connsiteY31062" fmla="*/ 709677 h 6557032"/>
              <a:gd name="connsiteX31063" fmla="*/ 2891790 w 4610101"/>
              <a:gd name="connsiteY31063" fmla="*/ 698744 h 6557032"/>
              <a:gd name="connsiteX31064" fmla="*/ 2891790 w 4610101"/>
              <a:gd name="connsiteY31064" fmla="*/ 706033 h 6557032"/>
              <a:gd name="connsiteX31065" fmla="*/ 2886324 w 4610101"/>
              <a:gd name="connsiteY31065" fmla="*/ 698744 h 6557032"/>
              <a:gd name="connsiteX31066" fmla="*/ 1157081 w 4610101"/>
              <a:gd name="connsiteY31066" fmla="*/ 698744 h 6557032"/>
              <a:gd name="connsiteX31067" fmla="*/ 1137037 w 4610101"/>
              <a:gd name="connsiteY31067" fmla="*/ 704211 h 6557032"/>
              <a:gd name="connsiteX31068" fmla="*/ 1157081 w 4610101"/>
              <a:gd name="connsiteY31068" fmla="*/ 698744 h 6557032"/>
              <a:gd name="connsiteX31069" fmla="*/ 960286 w 4610101"/>
              <a:gd name="connsiteY31069" fmla="*/ 698744 h 6557032"/>
              <a:gd name="connsiteX31070" fmla="*/ 962108 w 4610101"/>
              <a:gd name="connsiteY31070" fmla="*/ 700566 h 6557032"/>
              <a:gd name="connsiteX31071" fmla="*/ 960286 w 4610101"/>
              <a:gd name="connsiteY31071" fmla="*/ 698744 h 6557032"/>
              <a:gd name="connsiteX31072" fmla="*/ 949353 w 4610101"/>
              <a:gd name="connsiteY31072" fmla="*/ 698744 h 6557032"/>
              <a:gd name="connsiteX31073" fmla="*/ 942064 w 4610101"/>
              <a:gd name="connsiteY31073" fmla="*/ 713321 h 6557032"/>
              <a:gd name="connsiteX31074" fmla="*/ 949353 w 4610101"/>
              <a:gd name="connsiteY31074" fmla="*/ 698744 h 6557032"/>
              <a:gd name="connsiteX31075" fmla="*/ 799935 w 4610101"/>
              <a:gd name="connsiteY31075" fmla="*/ 698744 h 6557032"/>
              <a:gd name="connsiteX31076" fmla="*/ 803579 w 4610101"/>
              <a:gd name="connsiteY31076" fmla="*/ 704211 h 6557032"/>
              <a:gd name="connsiteX31077" fmla="*/ 799935 w 4610101"/>
              <a:gd name="connsiteY31077" fmla="*/ 698744 h 6557032"/>
              <a:gd name="connsiteX31078" fmla="*/ 623185 w 4610101"/>
              <a:gd name="connsiteY31078" fmla="*/ 698744 h 6557032"/>
              <a:gd name="connsiteX31079" fmla="*/ 610429 w 4610101"/>
              <a:gd name="connsiteY31079" fmla="*/ 709677 h 6557032"/>
              <a:gd name="connsiteX31080" fmla="*/ 604963 w 4610101"/>
              <a:gd name="connsiteY31080" fmla="*/ 713321 h 6557032"/>
              <a:gd name="connsiteX31081" fmla="*/ 612251 w 4610101"/>
              <a:gd name="connsiteY31081" fmla="*/ 715144 h 6557032"/>
              <a:gd name="connsiteX31082" fmla="*/ 610429 w 4610101"/>
              <a:gd name="connsiteY31082" fmla="*/ 709677 h 6557032"/>
              <a:gd name="connsiteX31083" fmla="*/ 621362 w 4610101"/>
              <a:gd name="connsiteY31083" fmla="*/ 706033 h 6557032"/>
              <a:gd name="connsiteX31084" fmla="*/ 615895 w 4610101"/>
              <a:gd name="connsiteY31084" fmla="*/ 713321 h 6557032"/>
              <a:gd name="connsiteX31085" fmla="*/ 619169 w 4610101"/>
              <a:gd name="connsiteY31085" fmla="*/ 715588 h 6557032"/>
              <a:gd name="connsiteX31086" fmla="*/ 610429 w 4610101"/>
              <a:gd name="connsiteY31086" fmla="*/ 726077 h 6557032"/>
              <a:gd name="connsiteX31087" fmla="*/ 628650 w 4610101"/>
              <a:gd name="connsiteY31087" fmla="*/ 724254 h 6557032"/>
              <a:gd name="connsiteX31088" fmla="*/ 621815 w 4610101"/>
              <a:gd name="connsiteY31088" fmla="*/ 717420 h 6557032"/>
              <a:gd name="connsiteX31089" fmla="*/ 639583 w 4610101"/>
              <a:gd name="connsiteY31089" fmla="*/ 729721 h 6557032"/>
              <a:gd name="connsiteX31090" fmla="*/ 626828 w 4610101"/>
              <a:gd name="connsiteY31090" fmla="*/ 711499 h 6557032"/>
              <a:gd name="connsiteX31091" fmla="*/ 632296 w 4610101"/>
              <a:gd name="connsiteY31091" fmla="*/ 716966 h 6557032"/>
              <a:gd name="connsiteX31092" fmla="*/ 623185 w 4610101"/>
              <a:gd name="connsiteY31092" fmla="*/ 698744 h 6557032"/>
              <a:gd name="connsiteX31093" fmla="*/ 522964 w 4610101"/>
              <a:gd name="connsiteY31093" fmla="*/ 698744 h 6557032"/>
              <a:gd name="connsiteX31094" fmla="*/ 524786 w 4610101"/>
              <a:gd name="connsiteY31094" fmla="*/ 702388 h 6557032"/>
              <a:gd name="connsiteX31095" fmla="*/ 522964 w 4610101"/>
              <a:gd name="connsiteY31095" fmla="*/ 698744 h 6557032"/>
              <a:gd name="connsiteX31096" fmla="*/ 258749 w 4610101"/>
              <a:gd name="connsiteY31096" fmla="*/ 698744 h 6557032"/>
              <a:gd name="connsiteX31097" fmla="*/ 264216 w 4610101"/>
              <a:gd name="connsiteY31097" fmla="*/ 715144 h 6557032"/>
              <a:gd name="connsiteX31098" fmla="*/ 258749 w 4610101"/>
              <a:gd name="connsiteY31098" fmla="*/ 698744 h 6557032"/>
              <a:gd name="connsiteX31099" fmla="*/ 202262 w 4610101"/>
              <a:gd name="connsiteY31099" fmla="*/ 698744 h 6557032"/>
              <a:gd name="connsiteX31100" fmla="*/ 209550 w 4610101"/>
              <a:gd name="connsiteY31100" fmla="*/ 707855 h 6557032"/>
              <a:gd name="connsiteX31101" fmla="*/ 202262 w 4610101"/>
              <a:gd name="connsiteY31101" fmla="*/ 698744 h 6557032"/>
              <a:gd name="connsiteX31102" fmla="*/ 3489463 w 4610101"/>
              <a:gd name="connsiteY31102" fmla="*/ 696922 h 6557032"/>
              <a:gd name="connsiteX31103" fmla="*/ 3478530 w 4610101"/>
              <a:gd name="connsiteY31103" fmla="*/ 704211 h 6557032"/>
              <a:gd name="connsiteX31104" fmla="*/ 3480353 w 4610101"/>
              <a:gd name="connsiteY31104" fmla="*/ 706033 h 6557032"/>
              <a:gd name="connsiteX31105" fmla="*/ 3489463 w 4610101"/>
              <a:gd name="connsiteY31105" fmla="*/ 706033 h 6557032"/>
              <a:gd name="connsiteX31106" fmla="*/ 3491286 w 4610101"/>
              <a:gd name="connsiteY31106" fmla="*/ 700566 h 6557032"/>
              <a:gd name="connsiteX31107" fmla="*/ 3489463 w 4610101"/>
              <a:gd name="connsiteY31107" fmla="*/ 696922 h 6557032"/>
              <a:gd name="connsiteX31108" fmla="*/ 2911834 w 4610101"/>
              <a:gd name="connsiteY31108" fmla="*/ 696922 h 6557032"/>
              <a:gd name="connsiteX31109" fmla="*/ 2919123 w 4610101"/>
              <a:gd name="connsiteY31109" fmla="*/ 713321 h 6557032"/>
              <a:gd name="connsiteX31110" fmla="*/ 2917301 w 4610101"/>
              <a:gd name="connsiteY31110" fmla="*/ 700566 h 6557032"/>
              <a:gd name="connsiteX31111" fmla="*/ 2911834 w 4610101"/>
              <a:gd name="connsiteY31111" fmla="*/ 696922 h 6557032"/>
              <a:gd name="connsiteX31112" fmla="*/ 1486895 w 4610101"/>
              <a:gd name="connsiteY31112" fmla="*/ 696922 h 6557032"/>
              <a:gd name="connsiteX31113" fmla="*/ 1483068 w 4610101"/>
              <a:gd name="connsiteY31113" fmla="*/ 704043 h 6557032"/>
              <a:gd name="connsiteX31114" fmla="*/ 1483022 w 4610101"/>
              <a:gd name="connsiteY31114" fmla="*/ 703072 h 6557032"/>
              <a:gd name="connsiteX31115" fmla="*/ 1486895 w 4610101"/>
              <a:gd name="connsiteY31115" fmla="*/ 696922 h 6557032"/>
              <a:gd name="connsiteX31116" fmla="*/ 1335654 w 4610101"/>
              <a:gd name="connsiteY31116" fmla="*/ 696922 h 6557032"/>
              <a:gd name="connsiteX31117" fmla="*/ 1328365 w 4610101"/>
              <a:gd name="connsiteY31117" fmla="*/ 702388 h 6557032"/>
              <a:gd name="connsiteX31118" fmla="*/ 1335654 w 4610101"/>
              <a:gd name="connsiteY31118" fmla="*/ 696922 h 6557032"/>
              <a:gd name="connsiteX31119" fmla="*/ 1071439 w 4610101"/>
              <a:gd name="connsiteY31119" fmla="*/ 696922 h 6557032"/>
              <a:gd name="connsiteX31120" fmla="*/ 1067794 w 4610101"/>
              <a:gd name="connsiteY31120" fmla="*/ 702388 h 6557032"/>
              <a:gd name="connsiteX31121" fmla="*/ 1071439 w 4610101"/>
              <a:gd name="connsiteY31121" fmla="*/ 696922 h 6557032"/>
              <a:gd name="connsiteX31122" fmla="*/ 993085 w 4610101"/>
              <a:gd name="connsiteY31122" fmla="*/ 696922 h 6557032"/>
              <a:gd name="connsiteX31123" fmla="*/ 989441 w 4610101"/>
              <a:gd name="connsiteY31123" fmla="*/ 702388 h 6557032"/>
              <a:gd name="connsiteX31124" fmla="*/ 993085 w 4610101"/>
              <a:gd name="connsiteY31124" fmla="*/ 696922 h 6557032"/>
              <a:gd name="connsiteX31125" fmla="*/ 854600 w 4610101"/>
              <a:gd name="connsiteY31125" fmla="*/ 696922 h 6557032"/>
              <a:gd name="connsiteX31126" fmla="*/ 852778 w 4610101"/>
              <a:gd name="connsiteY31126" fmla="*/ 700566 h 6557032"/>
              <a:gd name="connsiteX31127" fmla="*/ 858244 w 4610101"/>
              <a:gd name="connsiteY31127" fmla="*/ 702388 h 6557032"/>
              <a:gd name="connsiteX31128" fmla="*/ 854600 w 4610101"/>
              <a:gd name="connsiteY31128" fmla="*/ 696922 h 6557032"/>
              <a:gd name="connsiteX31129" fmla="*/ 703359 w 4610101"/>
              <a:gd name="connsiteY31129" fmla="*/ 696922 h 6557032"/>
              <a:gd name="connsiteX31130" fmla="*/ 701537 w 4610101"/>
              <a:gd name="connsiteY31130" fmla="*/ 698744 h 6557032"/>
              <a:gd name="connsiteX31131" fmla="*/ 707004 w 4610101"/>
              <a:gd name="connsiteY31131" fmla="*/ 704211 h 6557032"/>
              <a:gd name="connsiteX31132" fmla="*/ 703359 w 4610101"/>
              <a:gd name="connsiteY31132" fmla="*/ 696922 h 6557032"/>
              <a:gd name="connsiteX31133" fmla="*/ 592207 w 4610101"/>
              <a:gd name="connsiteY31133" fmla="*/ 696922 h 6557032"/>
              <a:gd name="connsiteX31134" fmla="*/ 590385 w 4610101"/>
              <a:gd name="connsiteY31134" fmla="*/ 707855 h 6557032"/>
              <a:gd name="connsiteX31135" fmla="*/ 594030 w 4610101"/>
              <a:gd name="connsiteY31135" fmla="*/ 704211 h 6557032"/>
              <a:gd name="connsiteX31136" fmla="*/ 592207 w 4610101"/>
              <a:gd name="connsiteY31136" fmla="*/ 696922 h 6557032"/>
              <a:gd name="connsiteX31137" fmla="*/ 409989 w 4610101"/>
              <a:gd name="connsiteY31137" fmla="*/ 696922 h 6557032"/>
              <a:gd name="connsiteX31138" fmla="*/ 409989 w 4610101"/>
              <a:gd name="connsiteY31138" fmla="*/ 707855 h 6557032"/>
              <a:gd name="connsiteX31139" fmla="*/ 409989 w 4610101"/>
              <a:gd name="connsiteY31139" fmla="*/ 696922 h 6557032"/>
              <a:gd name="connsiteX31140" fmla="*/ 389946 w 4610101"/>
              <a:gd name="connsiteY31140" fmla="*/ 696922 h 6557032"/>
              <a:gd name="connsiteX31141" fmla="*/ 393460 w 4610101"/>
              <a:gd name="connsiteY31141" fmla="*/ 698094 h 6557032"/>
              <a:gd name="connsiteX31142" fmla="*/ 393590 w 4610101"/>
              <a:gd name="connsiteY31142" fmla="*/ 698744 h 6557032"/>
              <a:gd name="connsiteX31143" fmla="*/ 389946 w 4610101"/>
              <a:gd name="connsiteY31143" fmla="*/ 696922 h 6557032"/>
              <a:gd name="connsiteX31144" fmla="*/ 344391 w 4610101"/>
              <a:gd name="connsiteY31144" fmla="*/ 696922 h 6557032"/>
              <a:gd name="connsiteX31145" fmla="*/ 355324 w 4610101"/>
              <a:gd name="connsiteY31145" fmla="*/ 704211 h 6557032"/>
              <a:gd name="connsiteX31146" fmla="*/ 344391 w 4610101"/>
              <a:gd name="connsiteY31146" fmla="*/ 696922 h 6557032"/>
              <a:gd name="connsiteX31147" fmla="*/ 337102 w 4610101"/>
              <a:gd name="connsiteY31147" fmla="*/ 696922 h 6557032"/>
              <a:gd name="connsiteX31148" fmla="*/ 340747 w 4610101"/>
              <a:gd name="connsiteY31148" fmla="*/ 706033 h 6557032"/>
              <a:gd name="connsiteX31149" fmla="*/ 342569 w 4610101"/>
              <a:gd name="connsiteY31149" fmla="*/ 702388 h 6557032"/>
              <a:gd name="connsiteX31150" fmla="*/ 337102 w 4610101"/>
              <a:gd name="connsiteY31150" fmla="*/ 696922 h 6557032"/>
              <a:gd name="connsiteX31151" fmla="*/ 331636 w 4610101"/>
              <a:gd name="connsiteY31151" fmla="*/ 696922 h 6557032"/>
              <a:gd name="connsiteX31152" fmla="*/ 338926 w 4610101"/>
              <a:gd name="connsiteY31152" fmla="*/ 709677 h 6557032"/>
              <a:gd name="connsiteX31153" fmla="*/ 331636 w 4610101"/>
              <a:gd name="connsiteY31153" fmla="*/ 696922 h 6557032"/>
              <a:gd name="connsiteX31154" fmla="*/ 236883 w 4610101"/>
              <a:gd name="connsiteY31154" fmla="*/ 696922 h 6557032"/>
              <a:gd name="connsiteX31155" fmla="*/ 236883 w 4610101"/>
              <a:gd name="connsiteY31155" fmla="*/ 702388 h 6557032"/>
              <a:gd name="connsiteX31156" fmla="*/ 240527 w 4610101"/>
              <a:gd name="connsiteY31156" fmla="*/ 702388 h 6557032"/>
              <a:gd name="connsiteX31157" fmla="*/ 236883 w 4610101"/>
              <a:gd name="connsiteY31157" fmla="*/ 696922 h 6557032"/>
              <a:gd name="connsiteX31158" fmla="*/ 2861497 w 4610101"/>
              <a:gd name="connsiteY31158" fmla="*/ 696695 h 6557032"/>
              <a:gd name="connsiteX31159" fmla="*/ 2857169 w 4610101"/>
              <a:gd name="connsiteY31159" fmla="*/ 700566 h 6557032"/>
              <a:gd name="connsiteX31160" fmla="*/ 2868102 w 4610101"/>
              <a:gd name="connsiteY31160" fmla="*/ 709677 h 6557032"/>
              <a:gd name="connsiteX31161" fmla="*/ 2869924 w 4610101"/>
              <a:gd name="connsiteY31161" fmla="*/ 696922 h 6557032"/>
              <a:gd name="connsiteX31162" fmla="*/ 2861497 w 4610101"/>
              <a:gd name="connsiteY31162" fmla="*/ 696695 h 6557032"/>
              <a:gd name="connsiteX31163" fmla="*/ 3545951 w 4610101"/>
              <a:gd name="connsiteY31163" fmla="*/ 695100 h 6557032"/>
              <a:gd name="connsiteX31164" fmla="*/ 3544129 w 4610101"/>
              <a:gd name="connsiteY31164" fmla="*/ 702388 h 6557032"/>
              <a:gd name="connsiteX31165" fmla="*/ 3547773 w 4610101"/>
              <a:gd name="connsiteY31165" fmla="*/ 707855 h 6557032"/>
              <a:gd name="connsiteX31166" fmla="*/ 3551417 w 4610101"/>
              <a:gd name="connsiteY31166" fmla="*/ 707855 h 6557032"/>
              <a:gd name="connsiteX31167" fmla="*/ 3553240 w 4610101"/>
              <a:gd name="connsiteY31167" fmla="*/ 696922 h 6557032"/>
              <a:gd name="connsiteX31168" fmla="*/ 3545951 w 4610101"/>
              <a:gd name="connsiteY31168" fmla="*/ 695100 h 6557032"/>
              <a:gd name="connsiteX31169" fmla="*/ 2337850 w 4610101"/>
              <a:gd name="connsiteY31169" fmla="*/ 695100 h 6557032"/>
              <a:gd name="connsiteX31170" fmla="*/ 2337850 w 4610101"/>
              <a:gd name="connsiteY31170" fmla="*/ 706033 h 6557032"/>
              <a:gd name="connsiteX31171" fmla="*/ 2339672 w 4610101"/>
              <a:gd name="connsiteY31171" fmla="*/ 706033 h 6557032"/>
              <a:gd name="connsiteX31172" fmla="*/ 2343316 w 4610101"/>
              <a:gd name="connsiteY31172" fmla="*/ 706033 h 6557032"/>
              <a:gd name="connsiteX31173" fmla="*/ 2341494 w 4610101"/>
              <a:gd name="connsiteY31173" fmla="*/ 700566 h 6557032"/>
              <a:gd name="connsiteX31174" fmla="*/ 2339672 w 4610101"/>
              <a:gd name="connsiteY31174" fmla="*/ 706033 h 6557032"/>
              <a:gd name="connsiteX31175" fmla="*/ 2337850 w 4610101"/>
              <a:gd name="connsiteY31175" fmla="*/ 695100 h 6557032"/>
              <a:gd name="connsiteX31176" fmla="*/ 1311966 w 4610101"/>
              <a:gd name="connsiteY31176" fmla="*/ 695100 h 6557032"/>
              <a:gd name="connsiteX31177" fmla="*/ 1297388 w 4610101"/>
              <a:gd name="connsiteY31177" fmla="*/ 698744 h 6557032"/>
              <a:gd name="connsiteX31178" fmla="*/ 1295566 w 4610101"/>
              <a:gd name="connsiteY31178" fmla="*/ 704211 h 6557032"/>
              <a:gd name="connsiteX31179" fmla="*/ 1311966 w 4610101"/>
              <a:gd name="connsiteY31179" fmla="*/ 695100 h 6557032"/>
              <a:gd name="connsiteX31180" fmla="*/ 1186236 w 4610101"/>
              <a:gd name="connsiteY31180" fmla="*/ 695100 h 6557032"/>
              <a:gd name="connsiteX31181" fmla="*/ 1169836 w 4610101"/>
              <a:gd name="connsiteY31181" fmla="*/ 702388 h 6557032"/>
              <a:gd name="connsiteX31182" fmla="*/ 1180769 w 4610101"/>
              <a:gd name="connsiteY31182" fmla="*/ 704211 h 6557032"/>
              <a:gd name="connsiteX31183" fmla="*/ 1186236 w 4610101"/>
              <a:gd name="connsiteY31183" fmla="*/ 695100 h 6557032"/>
              <a:gd name="connsiteX31184" fmla="*/ 914732 w 4610101"/>
              <a:gd name="connsiteY31184" fmla="*/ 695100 h 6557032"/>
              <a:gd name="connsiteX31185" fmla="*/ 911087 w 4610101"/>
              <a:gd name="connsiteY31185" fmla="*/ 704211 h 6557032"/>
              <a:gd name="connsiteX31186" fmla="*/ 918376 w 4610101"/>
              <a:gd name="connsiteY31186" fmla="*/ 706033 h 6557032"/>
              <a:gd name="connsiteX31187" fmla="*/ 914732 w 4610101"/>
              <a:gd name="connsiteY31187" fmla="*/ 695100 h 6557032"/>
              <a:gd name="connsiteX31188" fmla="*/ 798112 w 4610101"/>
              <a:gd name="connsiteY31188" fmla="*/ 695100 h 6557032"/>
              <a:gd name="connsiteX31189" fmla="*/ 798112 w 4610101"/>
              <a:gd name="connsiteY31189" fmla="*/ 700566 h 6557032"/>
              <a:gd name="connsiteX31190" fmla="*/ 798112 w 4610101"/>
              <a:gd name="connsiteY31190" fmla="*/ 695100 h 6557032"/>
              <a:gd name="connsiteX31191" fmla="*/ 765313 w 4610101"/>
              <a:gd name="connsiteY31191" fmla="*/ 695100 h 6557032"/>
              <a:gd name="connsiteX31192" fmla="*/ 761670 w 4610101"/>
              <a:gd name="connsiteY31192" fmla="*/ 698744 h 6557032"/>
              <a:gd name="connsiteX31193" fmla="*/ 767136 w 4610101"/>
              <a:gd name="connsiteY31193" fmla="*/ 702388 h 6557032"/>
              <a:gd name="connsiteX31194" fmla="*/ 765313 w 4610101"/>
              <a:gd name="connsiteY31194" fmla="*/ 695100 h 6557032"/>
              <a:gd name="connsiteX31195" fmla="*/ 422745 w 4610101"/>
              <a:gd name="connsiteY31195" fmla="*/ 695100 h 6557032"/>
              <a:gd name="connsiteX31196" fmla="*/ 426389 w 4610101"/>
              <a:gd name="connsiteY31196" fmla="*/ 704211 h 6557032"/>
              <a:gd name="connsiteX31197" fmla="*/ 422745 w 4610101"/>
              <a:gd name="connsiteY31197" fmla="*/ 695100 h 6557032"/>
              <a:gd name="connsiteX31198" fmla="*/ 391768 w 4610101"/>
              <a:gd name="connsiteY31198" fmla="*/ 695100 h 6557032"/>
              <a:gd name="connsiteX31199" fmla="*/ 397598 w 4610101"/>
              <a:gd name="connsiteY31199" fmla="*/ 699473 h 6557032"/>
              <a:gd name="connsiteX31200" fmla="*/ 393460 w 4610101"/>
              <a:gd name="connsiteY31200" fmla="*/ 698094 h 6557032"/>
              <a:gd name="connsiteX31201" fmla="*/ 393362 w 4610101"/>
              <a:gd name="connsiteY31201" fmla="*/ 697606 h 6557032"/>
              <a:gd name="connsiteX31202" fmla="*/ 391768 w 4610101"/>
              <a:gd name="connsiteY31202" fmla="*/ 695100 h 6557032"/>
              <a:gd name="connsiteX31203" fmla="*/ 353502 w 4610101"/>
              <a:gd name="connsiteY31203" fmla="*/ 695100 h 6557032"/>
              <a:gd name="connsiteX31204" fmla="*/ 368079 w 4610101"/>
              <a:gd name="connsiteY31204" fmla="*/ 709677 h 6557032"/>
              <a:gd name="connsiteX31205" fmla="*/ 362613 w 4610101"/>
              <a:gd name="connsiteY31205" fmla="*/ 700566 h 6557032"/>
              <a:gd name="connsiteX31206" fmla="*/ 366410 w 4610101"/>
              <a:gd name="connsiteY31206" fmla="*/ 701766 h 6557032"/>
              <a:gd name="connsiteX31207" fmla="*/ 369902 w 4610101"/>
              <a:gd name="connsiteY31207" fmla="*/ 706033 h 6557032"/>
              <a:gd name="connsiteX31208" fmla="*/ 366940 w 4610101"/>
              <a:gd name="connsiteY31208" fmla="*/ 701933 h 6557032"/>
              <a:gd name="connsiteX31209" fmla="*/ 366410 w 4610101"/>
              <a:gd name="connsiteY31209" fmla="*/ 701766 h 6557032"/>
              <a:gd name="connsiteX31210" fmla="*/ 363752 w 4610101"/>
              <a:gd name="connsiteY31210" fmla="*/ 698517 h 6557032"/>
              <a:gd name="connsiteX31211" fmla="*/ 353502 w 4610101"/>
              <a:gd name="connsiteY31211" fmla="*/ 695100 h 6557032"/>
              <a:gd name="connsiteX31212" fmla="*/ 209550 w 4610101"/>
              <a:gd name="connsiteY31212" fmla="*/ 695100 h 6557032"/>
              <a:gd name="connsiteX31213" fmla="*/ 215017 w 4610101"/>
              <a:gd name="connsiteY31213" fmla="*/ 700566 h 6557032"/>
              <a:gd name="connsiteX31214" fmla="*/ 211372 w 4610101"/>
              <a:gd name="connsiteY31214" fmla="*/ 702388 h 6557032"/>
              <a:gd name="connsiteX31215" fmla="*/ 216611 w 4610101"/>
              <a:gd name="connsiteY31215" fmla="*/ 707627 h 6557032"/>
              <a:gd name="connsiteX31216" fmla="*/ 216611 w 4610101"/>
              <a:gd name="connsiteY31216" fmla="*/ 707628 h 6557032"/>
              <a:gd name="connsiteX31217" fmla="*/ 220483 w 4610101"/>
              <a:gd name="connsiteY31217" fmla="*/ 711499 h 6557032"/>
              <a:gd name="connsiteX31218" fmla="*/ 216611 w 4610101"/>
              <a:gd name="connsiteY31218" fmla="*/ 707627 h 6557032"/>
              <a:gd name="connsiteX31219" fmla="*/ 216839 w 4610101"/>
              <a:gd name="connsiteY31219" fmla="*/ 702388 h 6557032"/>
              <a:gd name="connsiteX31220" fmla="*/ 219603 w 4610101"/>
              <a:gd name="connsiteY31220" fmla="*/ 703310 h 6557032"/>
              <a:gd name="connsiteX31221" fmla="*/ 222306 w 4610101"/>
              <a:gd name="connsiteY31221" fmla="*/ 707855 h 6557032"/>
              <a:gd name="connsiteX31222" fmla="*/ 220939 w 4610101"/>
              <a:gd name="connsiteY31222" fmla="*/ 703755 h 6557032"/>
              <a:gd name="connsiteX31223" fmla="*/ 219603 w 4610101"/>
              <a:gd name="connsiteY31223" fmla="*/ 703310 h 6557032"/>
              <a:gd name="connsiteX31224" fmla="*/ 217295 w 4610101"/>
              <a:gd name="connsiteY31224" fmla="*/ 699428 h 6557032"/>
              <a:gd name="connsiteX31225" fmla="*/ 209550 w 4610101"/>
              <a:gd name="connsiteY31225" fmla="*/ 695100 h 6557032"/>
              <a:gd name="connsiteX31226" fmla="*/ 887855 w 4610101"/>
              <a:gd name="connsiteY31226" fmla="*/ 693961 h 6557032"/>
              <a:gd name="connsiteX31227" fmla="*/ 880111 w 4610101"/>
              <a:gd name="connsiteY31227" fmla="*/ 695100 h 6557032"/>
              <a:gd name="connsiteX31228" fmla="*/ 880111 w 4610101"/>
              <a:gd name="connsiteY31228" fmla="*/ 696922 h 6557032"/>
              <a:gd name="connsiteX31229" fmla="*/ 876466 w 4610101"/>
              <a:gd name="connsiteY31229" fmla="*/ 695100 h 6557032"/>
              <a:gd name="connsiteX31230" fmla="*/ 880111 w 4610101"/>
              <a:gd name="connsiteY31230" fmla="*/ 716966 h 6557032"/>
              <a:gd name="connsiteX31231" fmla="*/ 881933 w 4610101"/>
              <a:gd name="connsiteY31231" fmla="*/ 711499 h 6557032"/>
              <a:gd name="connsiteX31232" fmla="*/ 885577 w 4610101"/>
              <a:gd name="connsiteY31232" fmla="*/ 713321 h 6557032"/>
              <a:gd name="connsiteX31233" fmla="*/ 894688 w 4610101"/>
              <a:gd name="connsiteY31233" fmla="*/ 700566 h 6557032"/>
              <a:gd name="connsiteX31234" fmla="*/ 889222 w 4610101"/>
              <a:gd name="connsiteY31234" fmla="*/ 696922 h 6557032"/>
              <a:gd name="connsiteX31235" fmla="*/ 892866 w 4610101"/>
              <a:gd name="connsiteY31235" fmla="*/ 696922 h 6557032"/>
              <a:gd name="connsiteX31236" fmla="*/ 887855 w 4610101"/>
              <a:gd name="connsiteY31236" fmla="*/ 693961 h 6557032"/>
              <a:gd name="connsiteX31237" fmla="*/ 3585432 w 4610101"/>
              <a:gd name="connsiteY31237" fmla="*/ 693886 h 6557032"/>
              <a:gd name="connsiteX31238" fmla="*/ 3587861 w 4610101"/>
              <a:gd name="connsiteY31238" fmla="*/ 698744 h 6557032"/>
              <a:gd name="connsiteX31239" fmla="*/ 3585128 w 4610101"/>
              <a:gd name="connsiteY31239" fmla="*/ 697833 h 6557032"/>
              <a:gd name="connsiteX31240" fmla="*/ 3582394 w 4610101"/>
              <a:gd name="connsiteY31240" fmla="*/ 696922 h 6557032"/>
              <a:gd name="connsiteX31241" fmla="*/ 3525907 w 4610101"/>
              <a:gd name="connsiteY31241" fmla="*/ 693278 h 6557032"/>
              <a:gd name="connsiteX31242" fmla="*/ 3527729 w 4610101"/>
              <a:gd name="connsiteY31242" fmla="*/ 702388 h 6557032"/>
              <a:gd name="connsiteX31243" fmla="*/ 3529551 w 4610101"/>
              <a:gd name="connsiteY31243" fmla="*/ 695100 h 6557032"/>
              <a:gd name="connsiteX31244" fmla="*/ 3525907 w 4610101"/>
              <a:gd name="connsiteY31244" fmla="*/ 693278 h 6557032"/>
              <a:gd name="connsiteX31245" fmla="*/ 1188058 w 4610101"/>
              <a:gd name="connsiteY31245" fmla="*/ 693278 h 6557032"/>
              <a:gd name="connsiteX31246" fmla="*/ 1182592 w 4610101"/>
              <a:gd name="connsiteY31246" fmla="*/ 704211 h 6557032"/>
              <a:gd name="connsiteX31247" fmla="*/ 1188058 w 4610101"/>
              <a:gd name="connsiteY31247" fmla="*/ 693278 h 6557032"/>
              <a:gd name="connsiteX31248" fmla="*/ 1080549 w 4610101"/>
              <a:gd name="connsiteY31248" fmla="*/ 693278 h 6557032"/>
              <a:gd name="connsiteX31249" fmla="*/ 1073262 w 4610101"/>
              <a:gd name="connsiteY31249" fmla="*/ 698744 h 6557032"/>
              <a:gd name="connsiteX31250" fmla="*/ 1066635 w 4610101"/>
              <a:gd name="connsiteY31250" fmla="*/ 703714 h 6557032"/>
              <a:gd name="connsiteX31251" fmla="*/ 1065972 w 4610101"/>
              <a:gd name="connsiteY31251" fmla="*/ 702388 h 6557032"/>
              <a:gd name="connsiteX31252" fmla="*/ 1064151 w 4610101"/>
              <a:gd name="connsiteY31252" fmla="*/ 702388 h 6557032"/>
              <a:gd name="connsiteX31253" fmla="*/ 1065972 w 4610101"/>
              <a:gd name="connsiteY31253" fmla="*/ 704211 h 6557032"/>
              <a:gd name="connsiteX31254" fmla="*/ 1066635 w 4610101"/>
              <a:gd name="connsiteY31254" fmla="*/ 703714 h 6557032"/>
              <a:gd name="connsiteX31255" fmla="*/ 1067065 w 4610101"/>
              <a:gd name="connsiteY31255" fmla="*/ 704576 h 6557032"/>
              <a:gd name="connsiteX31256" fmla="*/ 1065973 w 4610101"/>
              <a:gd name="connsiteY31256" fmla="*/ 704212 h 6557032"/>
              <a:gd name="connsiteX31257" fmla="*/ 1067794 w 4610101"/>
              <a:gd name="connsiteY31257" fmla="*/ 706033 h 6557032"/>
              <a:gd name="connsiteX31258" fmla="*/ 1067794 w 4610101"/>
              <a:gd name="connsiteY31258" fmla="*/ 713321 h 6557032"/>
              <a:gd name="connsiteX31259" fmla="*/ 1071439 w 4610101"/>
              <a:gd name="connsiteY31259" fmla="*/ 707855 h 6557032"/>
              <a:gd name="connsiteX31260" fmla="*/ 1067794 w 4610101"/>
              <a:gd name="connsiteY31260" fmla="*/ 706033 h 6557032"/>
              <a:gd name="connsiteX31261" fmla="*/ 1067065 w 4610101"/>
              <a:gd name="connsiteY31261" fmla="*/ 704576 h 6557032"/>
              <a:gd name="connsiteX31262" fmla="*/ 1069798 w 4610101"/>
              <a:gd name="connsiteY31262" fmla="*/ 705487 h 6557032"/>
              <a:gd name="connsiteX31263" fmla="*/ 1069616 w 4610101"/>
              <a:gd name="connsiteY31263" fmla="*/ 706033 h 6557032"/>
              <a:gd name="connsiteX31264" fmla="*/ 1071439 w 4610101"/>
              <a:gd name="connsiteY31264" fmla="*/ 706033 h 6557032"/>
              <a:gd name="connsiteX31265" fmla="*/ 1069798 w 4610101"/>
              <a:gd name="connsiteY31265" fmla="*/ 705487 h 6557032"/>
              <a:gd name="connsiteX31266" fmla="*/ 1071439 w 4610101"/>
              <a:gd name="connsiteY31266" fmla="*/ 700566 h 6557032"/>
              <a:gd name="connsiteX31267" fmla="*/ 1073262 w 4610101"/>
              <a:gd name="connsiteY31267" fmla="*/ 704211 h 6557032"/>
              <a:gd name="connsiteX31268" fmla="*/ 1080549 w 4610101"/>
              <a:gd name="connsiteY31268" fmla="*/ 693278 h 6557032"/>
              <a:gd name="connsiteX31269" fmla="*/ 1029529 w 4610101"/>
              <a:gd name="connsiteY31269" fmla="*/ 693278 h 6557032"/>
              <a:gd name="connsiteX31270" fmla="*/ 1024062 w 4610101"/>
              <a:gd name="connsiteY31270" fmla="*/ 698744 h 6557032"/>
              <a:gd name="connsiteX31271" fmla="*/ 1029529 w 4610101"/>
              <a:gd name="connsiteY31271" fmla="*/ 693278 h 6557032"/>
              <a:gd name="connsiteX31272" fmla="*/ 942064 w 4610101"/>
              <a:gd name="connsiteY31272" fmla="*/ 693278 h 6557032"/>
              <a:gd name="connsiteX31273" fmla="*/ 934777 w 4610101"/>
              <a:gd name="connsiteY31273" fmla="*/ 704211 h 6557032"/>
              <a:gd name="connsiteX31274" fmla="*/ 942064 w 4610101"/>
              <a:gd name="connsiteY31274" fmla="*/ 693278 h 6557032"/>
              <a:gd name="connsiteX31275" fmla="*/ 832734 w 4610101"/>
              <a:gd name="connsiteY31275" fmla="*/ 693278 h 6557032"/>
              <a:gd name="connsiteX31276" fmla="*/ 827267 w 4610101"/>
              <a:gd name="connsiteY31276" fmla="*/ 696922 h 6557032"/>
              <a:gd name="connsiteX31277" fmla="*/ 830912 w 4610101"/>
              <a:gd name="connsiteY31277" fmla="*/ 700566 h 6557032"/>
              <a:gd name="connsiteX31278" fmla="*/ 832734 w 4610101"/>
              <a:gd name="connsiteY31278" fmla="*/ 693278 h 6557032"/>
              <a:gd name="connsiteX31279" fmla="*/ 3044853 w 4610101"/>
              <a:gd name="connsiteY31279" fmla="*/ 693278 h 6557032"/>
              <a:gd name="connsiteX31280" fmla="*/ 3041209 w 4610101"/>
              <a:gd name="connsiteY31280" fmla="*/ 693278 h 6557032"/>
              <a:gd name="connsiteX31281" fmla="*/ 3053964 w 4610101"/>
              <a:gd name="connsiteY31281" fmla="*/ 698744 h 6557032"/>
              <a:gd name="connsiteX31282" fmla="*/ 3048497 w 4610101"/>
              <a:gd name="connsiteY31282" fmla="*/ 693278 h 6557032"/>
              <a:gd name="connsiteX31283" fmla="*/ 3044853 w 4610101"/>
              <a:gd name="connsiteY31283" fmla="*/ 693278 h 6557032"/>
              <a:gd name="connsiteX31284" fmla="*/ 773285 w 4610101"/>
              <a:gd name="connsiteY31284" fmla="*/ 692139 h 6557032"/>
              <a:gd name="connsiteX31285" fmla="*/ 768959 w 4610101"/>
              <a:gd name="connsiteY31285" fmla="*/ 693278 h 6557032"/>
              <a:gd name="connsiteX31286" fmla="*/ 772602 w 4610101"/>
              <a:gd name="connsiteY31286" fmla="*/ 698744 h 6557032"/>
              <a:gd name="connsiteX31287" fmla="*/ 776246 w 4610101"/>
              <a:gd name="connsiteY31287" fmla="*/ 695100 h 6557032"/>
              <a:gd name="connsiteX31288" fmla="*/ 781713 w 4610101"/>
              <a:gd name="connsiteY31288" fmla="*/ 709677 h 6557032"/>
              <a:gd name="connsiteX31289" fmla="*/ 783535 w 4610101"/>
              <a:gd name="connsiteY31289" fmla="*/ 707855 h 6557032"/>
              <a:gd name="connsiteX31290" fmla="*/ 787179 w 4610101"/>
              <a:gd name="connsiteY31290" fmla="*/ 716966 h 6557032"/>
              <a:gd name="connsiteX31291" fmla="*/ 781713 w 4610101"/>
              <a:gd name="connsiteY31291" fmla="*/ 706033 h 6557032"/>
              <a:gd name="connsiteX31292" fmla="*/ 787179 w 4610101"/>
              <a:gd name="connsiteY31292" fmla="*/ 702388 h 6557032"/>
              <a:gd name="connsiteX31293" fmla="*/ 776246 w 4610101"/>
              <a:gd name="connsiteY31293" fmla="*/ 695100 h 6557032"/>
              <a:gd name="connsiteX31294" fmla="*/ 773285 w 4610101"/>
              <a:gd name="connsiteY31294" fmla="*/ 692139 h 6557032"/>
              <a:gd name="connsiteX31295" fmla="*/ 3584278 w 4610101"/>
              <a:gd name="connsiteY31295" fmla="*/ 691578 h 6557032"/>
              <a:gd name="connsiteX31296" fmla="*/ 3586039 w 4610101"/>
              <a:gd name="connsiteY31296" fmla="*/ 693278 h 6557032"/>
              <a:gd name="connsiteX31297" fmla="*/ 3585432 w 4610101"/>
              <a:gd name="connsiteY31297" fmla="*/ 693886 h 6557032"/>
              <a:gd name="connsiteX31298" fmla="*/ 2817081 w 4610101"/>
              <a:gd name="connsiteY31298" fmla="*/ 691455 h 6557032"/>
              <a:gd name="connsiteX31299" fmla="*/ 2818903 w 4610101"/>
              <a:gd name="connsiteY31299" fmla="*/ 696922 h 6557032"/>
              <a:gd name="connsiteX31300" fmla="*/ 2822548 w 4610101"/>
              <a:gd name="connsiteY31300" fmla="*/ 693278 h 6557032"/>
              <a:gd name="connsiteX31301" fmla="*/ 2817081 w 4610101"/>
              <a:gd name="connsiteY31301" fmla="*/ 691455 h 6557032"/>
              <a:gd name="connsiteX31302" fmla="*/ 2627575 w 4610101"/>
              <a:gd name="connsiteY31302" fmla="*/ 691455 h 6557032"/>
              <a:gd name="connsiteX31303" fmla="*/ 2638508 w 4610101"/>
              <a:gd name="connsiteY31303" fmla="*/ 704211 h 6557032"/>
              <a:gd name="connsiteX31304" fmla="*/ 2636686 w 4610101"/>
              <a:gd name="connsiteY31304" fmla="*/ 691455 h 6557032"/>
              <a:gd name="connsiteX31305" fmla="*/ 2631219 w 4610101"/>
              <a:gd name="connsiteY31305" fmla="*/ 696922 h 6557032"/>
              <a:gd name="connsiteX31306" fmla="*/ 2627575 w 4610101"/>
              <a:gd name="connsiteY31306" fmla="*/ 691455 h 6557032"/>
              <a:gd name="connsiteX31307" fmla="*/ 1073262 w 4610101"/>
              <a:gd name="connsiteY31307" fmla="*/ 691455 h 6557032"/>
              <a:gd name="connsiteX31308" fmla="*/ 1065972 w 4610101"/>
              <a:gd name="connsiteY31308" fmla="*/ 695100 h 6557032"/>
              <a:gd name="connsiteX31309" fmla="*/ 1073262 w 4610101"/>
              <a:gd name="connsiteY31309" fmla="*/ 691455 h 6557032"/>
              <a:gd name="connsiteX31310" fmla="*/ 730692 w 4610101"/>
              <a:gd name="connsiteY31310" fmla="*/ 691455 h 6557032"/>
              <a:gd name="connsiteX31311" fmla="*/ 734944 w 4610101"/>
              <a:gd name="connsiteY31311" fmla="*/ 693886 h 6557032"/>
              <a:gd name="connsiteX31312" fmla="*/ 736159 w 4610101"/>
              <a:gd name="connsiteY31312" fmla="*/ 695100 h 6557032"/>
              <a:gd name="connsiteX31313" fmla="*/ 730692 w 4610101"/>
              <a:gd name="connsiteY31313" fmla="*/ 691455 h 6557032"/>
              <a:gd name="connsiteX31314" fmla="*/ 2809793 w 4610101"/>
              <a:gd name="connsiteY31314" fmla="*/ 689633 h 6557032"/>
              <a:gd name="connsiteX31315" fmla="*/ 2813437 w 4610101"/>
              <a:gd name="connsiteY31315" fmla="*/ 695100 h 6557032"/>
              <a:gd name="connsiteX31316" fmla="*/ 2815259 w 4610101"/>
              <a:gd name="connsiteY31316" fmla="*/ 689633 h 6557032"/>
              <a:gd name="connsiteX31317" fmla="*/ 2809793 w 4610101"/>
              <a:gd name="connsiteY31317" fmla="*/ 689633 h 6557032"/>
              <a:gd name="connsiteX31318" fmla="*/ 1211747 w 4610101"/>
              <a:gd name="connsiteY31318" fmla="*/ 689633 h 6557032"/>
              <a:gd name="connsiteX31319" fmla="*/ 1200814 w 4610101"/>
              <a:gd name="connsiteY31319" fmla="*/ 698744 h 6557032"/>
              <a:gd name="connsiteX31320" fmla="*/ 1209925 w 4610101"/>
              <a:gd name="connsiteY31320" fmla="*/ 691455 h 6557032"/>
              <a:gd name="connsiteX31321" fmla="*/ 1200814 w 4610101"/>
              <a:gd name="connsiteY31321" fmla="*/ 700566 h 6557032"/>
              <a:gd name="connsiteX31322" fmla="*/ 1211747 w 4610101"/>
              <a:gd name="connsiteY31322" fmla="*/ 689633 h 6557032"/>
              <a:gd name="connsiteX31323" fmla="*/ 1104238 w 4610101"/>
              <a:gd name="connsiteY31323" fmla="*/ 689633 h 6557032"/>
              <a:gd name="connsiteX31324" fmla="*/ 1091484 w 4610101"/>
              <a:gd name="connsiteY31324" fmla="*/ 702388 h 6557032"/>
              <a:gd name="connsiteX31325" fmla="*/ 1104238 w 4610101"/>
              <a:gd name="connsiteY31325" fmla="*/ 689633 h 6557032"/>
              <a:gd name="connsiteX31326" fmla="*/ 1022240 w 4610101"/>
              <a:gd name="connsiteY31326" fmla="*/ 689633 h 6557032"/>
              <a:gd name="connsiteX31327" fmla="*/ 1018596 w 4610101"/>
              <a:gd name="connsiteY31327" fmla="*/ 695100 h 6557032"/>
              <a:gd name="connsiteX31328" fmla="*/ 1022240 w 4610101"/>
              <a:gd name="connsiteY31328" fmla="*/ 689633 h 6557032"/>
              <a:gd name="connsiteX31329" fmla="*/ 932953 w 4610101"/>
              <a:gd name="connsiteY31329" fmla="*/ 689633 h 6557032"/>
              <a:gd name="connsiteX31330" fmla="*/ 932953 w 4610101"/>
              <a:gd name="connsiteY31330" fmla="*/ 700566 h 6557032"/>
              <a:gd name="connsiteX31331" fmla="*/ 938420 w 4610101"/>
              <a:gd name="connsiteY31331" fmla="*/ 691455 h 6557032"/>
              <a:gd name="connsiteX31332" fmla="*/ 932953 w 4610101"/>
              <a:gd name="connsiteY31332" fmla="*/ 689633 h 6557032"/>
              <a:gd name="connsiteX31333" fmla="*/ 911087 w 4610101"/>
              <a:gd name="connsiteY31333" fmla="*/ 689633 h 6557032"/>
              <a:gd name="connsiteX31334" fmla="*/ 911087 w 4610101"/>
              <a:gd name="connsiteY31334" fmla="*/ 689634 h 6557032"/>
              <a:gd name="connsiteX31335" fmla="*/ 911086 w 4610101"/>
              <a:gd name="connsiteY31335" fmla="*/ 689634 h 6557032"/>
              <a:gd name="connsiteX31336" fmla="*/ 900154 w 4610101"/>
              <a:gd name="connsiteY31336" fmla="*/ 689633 h 6557032"/>
              <a:gd name="connsiteX31337" fmla="*/ 896510 w 4610101"/>
              <a:gd name="connsiteY31337" fmla="*/ 693278 h 6557032"/>
              <a:gd name="connsiteX31338" fmla="*/ 894688 w 4610101"/>
              <a:gd name="connsiteY31338" fmla="*/ 691455 h 6557032"/>
              <a:gd name="connsiteX31339" fmla="*/ 892866 w 4610101"/>
              <a:gd name="connsiteY31339" fmla="*/ 691455 h 6557032"/>
              <a:gd name="connsiteX31340" fmla="*/ 898333 w 4610101"/>
              <a:gd name="connsiteY31340" fmla="*/ 695100 h 6557032"/>
              <a:gd name="connsiteX31341" fmla="*/ 896510 w 4610101"/>
              <a:gd name="connsiteY31341" fmla="*/ 700566 h 6557032"/>
              <a:gd name="connsiteX31342" fmla="*/ 903799 w 4610101"/>
              <a:gd name="connsiteY31342" fmla="*/ 700566 h 6557032"/>
              <a:gd name="connsiteX31343" fmla="*/ 900154 w 4610101"/>
              <a:gd name="connsiteY31343" fmla="*/ 693278 h 6557032"/>
              <a:gd name="connsiteX31344" fmla="*/ 898333 w 4610101"/>
              <a:gd name="connsiteY31344" fmla="*/ 695100 h 6557032"/>
              <a:gd name="connsiteX31345" fmla="*/ 900154 w 4610101"/>
              <a:gd name="connsiteY31345" fmla="*/ 689633 h 6557032"/>
              <a:gd name="connsiteX31346" fmla="*/ 856422 w 4610101"/>
              <a:gd name="connsiteY31346" fmla="*/ 689633 h 6557032"/>
              <a:gd name="connsiteX31347" fmla="*/ 860066 w 4610101"/>
              <a:gd name="connsiteY31347" fmla="*/ 698744 h 6557032"/>
              <a:gd name="connsiteX31348" fmla="*/ 856422 w 4610101"/>
              <a:gd name="connsiteY31348" fmla="*/ 689633 h 6557032"/>
              <a:gd name="connsiteX31349" fmla="*/ 827267 w 4610101"/>
              <a:gd name="connsiteY31349" fmla="*/ 689633 h 6557032"/>
              <a:gd name="connsiteX31350" fmla="*/ 821801 w 4610101"/>
              <a:gd name="connsiteY31350" fmla="*/ 696922 h 6557032"/>
              <a:gd name="connsiteX31351" fmla="*/ 827267 w 4610101"/>
              <a:gd name="connsiteY31351" fmla="*/ 689633 h 6557032"/>
              <a:gd name="connsiteX31352" fmla="*/ 437322 w 4610101"/>
              <a:gd name="connsiteY31352" fmla="*/ 689633 h 6557032"/>
              <a:gd name="connsiteX31353" fmla="*/ 440283 w 4610101"/>
              <a:gd name="connsiteY31353" fmla="*/ 692367 h 6557032"/>
              <a:gd name="connsiteX31354" fmla="*/ 440216 w 4610101"/>
              <a:gd name="connsiteY31354" fmla="*/ 692528 h 6557032"/>
              <a:gd name="connsiteX31355" fmla="*/ 282438 w 4610101"/>
              <a:gd name="connsiteY31355" fmla="*/ 689633 h 6557032"/>
              <a:gd name="connsiteX31356" fmla="*/ 287904 w 4610101"/>
              <a:gd name="connsiteY31356" fmla="*/ 707855 h 6557032"/>
              <a:gd name="connsiteX31357" fmla="*/ 280615 w 4610101"/>
              <a:gd name="connsiteY31357" fmla="*/ 700566 h 6557032"/>
              <a:gd name="connsiteX31358" fmla="*/ 289726 w 4610101"/>
              <a:gd name="connsiteY31358" fmla="*/ 706033 h 6557032"/>
              <a:gd name="connsiteX31359" fmla="*/ 282438 w 4610101"/>
              <a:gd name="connsiteY31359" fmla="*/ 689633 h 6557032"/>
              <a:gd name="connsiteX31360" fmla="*/ 242349 w 4610101"/>
              <a:gd name="connsiteY31360" fmla="*/ 689633 h 6557032"/>
              <a:gd name="connsiteX31361" fmla="*/ 255105 w 4610101"/>
              <a:gd name="connsiteY31361" fmla="*/ 709677 h 6557032"/>
              <a:gd name="connsiteX31362" fmla="*/ 253282 w 4610101"/>
              <a:gd name="connsiteY31362" fmla="*/ 702388 h 6557032"/>
              <a:gd name="connsiteX31363" fmla="*/ 260571 w 4610101"/>
              <a:gd name="connsiteY31363" fmla="*/ 716966 h 6557032"/>
              <a:gd name="connsiteX31364" fmla="*/ 242349 w 4610101"/>
              <a:gd name="connsiteY31364" fmla="*/ 689633 h 6557032"/>
              <a:gd name="connsiteX31365" fmla="*/ 158529 w 4610101"/>
              <a:gd name="connsiteY31365" fmla="*/ 689633 h 6557032"/>
              <a:gd name="connsiteX31366" fmla="*/ 213195 w 4610101"/>
              <a:gd name="connsiteY31366" fmla="*/ 771631 h 6557032"/>
              <a:gd name="connsiteX31367" fmla="*/ 195035 w 4610101"/>
              <a:gd name="connsiteY31367" fmla="*/ 744960 h 6557032"/>
              <a:gd name="connsiteX31368" fmla="*/ 205082 w 4610101"/>
              <a:gd name="connsiteY31368" fmla="*/ 755621 h 6557032"/>
              <a:gd name="connsiteX31369" fmla="*/ 206361 w 4610101"/>
              <a:gd name="connsiteY31369" fmla="*/ 757737 h 6557032"/>
              <a:gd name="connsiteX31370" fmla="*/ 215017 w 4610101"/>
              <a:gd name="connsiteY31370" fmla="*/ 766164 h 6557032"/>
              <a:gd name="connsiteX31371" fmla="*/ 205082 w 4610101"/>
              <a:gd name="connsiteY31371" fmla="*/ 755621 h 6557032"/>
              <a:gd name="connsiteX31372" fmla="*/ 200439 w 4610101"/>
              <a:gd name="connsiteY31372" fmla="*/ 747943 h 6557032"/>
              <a:gd name="connsiteX31373" fmla="*/ 202262 w 4610101"/>
              <a:gd name="connsiteY31373" fmla="*/ 744298 h 6557032"/>
              <a:gd name="connsiteX31374" fmla="*/ 211372 w 4610101"/>
              <a:gd name="connsiteY31374" fmla="*/ 753409 h 6557032"/>
              <a:gd name="connsiteX31375" fmla="*/ 211372 w 4610101"/>
              <a:gd name="connsiteY31375" fmla="*/ 747943 h 6557032"/>
              <a:gd name="connsiteX31376" fmla="*/ 215017 w 4610101"/>
              <a:gd name="connsiteY31376" fmla="*/ 749765 h 6557032"/>
              <a:gd name="connsiteX31377" fmla="*/ 178573 w 4610101"/>
              <a:gd name="connsiteY31377" fmla="*/ 713321 h 6557032"/>
              <a:gd name="connsiteX31378" fmla="*/ 185217 w 4610101"/>
              <a:gd name="connsiteY31378" fmla="*/ 727038 h 6557032"/>
              <a:gd name="connsiteX31379" fmla="*/ 174929 w 4610101"/>
              <a:gd name="connsiteY31379" fmla="*/ 706033 h 6557032"/>
              <a:gd name="connsiteX31380" fmla="*/ 158529 w 4610101"/>
              <a:gd name="connsiteY31380" fmla="*/ 689633 h 6557032"/>
              <a:gd name="connsiteX31381" fmla="*/ 1308321 w 4610101"/>
              <a:gd name="connsiteY31381" fmla="*/ 689178 h 6557032"/>
              <a:gd name="connsiteX31382" fmla="*/ 1304677 w 4610101"/>
              <a:gd name="connsiteY31382" fmla="*/ 691455 h 6557032"/>
              <a:gd name="connsiteX31383" fmla="*/ 1311966 w 4610101"/>
              <a:gd name="connsiteY31383" fmla="*/ 689633 h 6557032"/>
              <a:gd name="connsiteX31384" fmla="*/ 1308321 w 4610101"/>
              <a:gd name="connsiteY31384" fmla="*/ 689178 h 6557032"/>
              <a:gd name="connsiteX31385" fmla="*/ 2948876 w 4610101"/>
              <a:gd name="connsiteY31385" fmla="*/ 688523 h 6557032"/>
              <a:gd name="connsiteX31386" fmla="*/ 2939167 w 4610101"/>
              <a:gd name="connsiteY31386" fmla="*/ 693278 h 6557032"/>
              <a:gd name="connsiteX31387" fmla="*/ 2948278 w 4610101"/>
              <a:gd name="connsiteY31387" fmla="*/ 704211 h 6557032"/>
              <a:gd name="connsiteX31388" fmla="*/ 2957389 w 4610101"/>
              <a:gd name="connsiteY31388" fmla="*/ 693278 h 6557032"/>
              <a:gd name="connsiteX31389" fmla="*/ 2959211 w 4610101"/>
              <a:gd name="connsiteY31389" fmla="*/ 696922 h 6557032"/>
              <a:gd name="connsiteX31390" fmla="*/ 2950100 w 4610101"/>
              <a:gd name="connsiteY31390" fmla="*/ 713321 h 6557032"/>
              <a:gd name="connsiteX31391" fmla="*/ 2957389 w 4610101"/>
              <a:gd name="connsiteY31391" fmla="*/ 715144 h 6557032"/>
              <a:gd name="connsiteX31392" fmla="*/ 2948278 w 4610101"/>
              <a:gd name="connsiteY31392" fmla="*/ 720610 h 6557032"/>
              <a:gd name="connsiteX31393" fmla="*/ 2955566 w 4610101"/>
              <a:gd name="connsiteY31393" fmla="*/ 733365 h 6557032"/>
              <a:gd name="connsiteX31394" fmla="*/ 2917301 w 4610101"/>
              <a:gd name="connsiteY31394" fmla="*/ 740654 h 6557032"/>
              <a:gd name="connsiteX31395" fmla="*/ 2913656 w 4610101"/>
              <a:gd name="connsiteY31395" fmla="*/ 735188 h 6557032"/>
              <a:gd name="connsiteX31396" fmla="*/ 2917301 w 4610101"/>
              <a:gd name="connsiteY31396" fmla="*/ 764342 h 6557032"/>
              <a:gd name="connsiteX31397" fmla="*/ 2902724 w 4610101"/>
              <a:gd name="connsiteY31397" fmla="*/ 769809 h 6557032"/>
              <a:gd name="connsiteX31398" fmla="*/ 2902724 w 4610101"/>
              <a:gd name="connsiteY31398" fmla="*/ 777098 h 6557032"/>
              <a:gd name="connsiteX31399" fmla="*/ 2904546 w 4610101"/>
              <a:gd name="connsiteY31399" fmla="*/ 757054 h 6557032"/>
              <a:gd name="connsiteX31400" fmla="*/ 2888146 w 4610101"/>
              <a:gd name="connsiteY31400" fmla="*/ 742476 h 6557032"/>
              <a:gd name="connsiteX31401" fmla="*/ 2889968 w 4610101"/>
              <a:gd name="connsiteY31401" fmla="*/ 738832 h 6557032"/>
              <a:gd name="connsiteX31402" fmla="*/ 2900901 w 4610101"/>
              <a:gd name="connsiteY31402" fmla="*/ 746121 h 6557032"/>
              <a:gd name="connsiteX31403" fmla="*/ 2880857 w 4610101"/>
              <a:gd name="connsiteY31403" fmla="*/ 704211 h 6557032"/>
              <a:gd name="connsiteX31404" fmla="*/ 2868102 w 4610101"/>
              <a:gd name="connsiteY31404" fmla="*/ 731543 h 6557032"/>
              <a:gd name="connsiteX31405" fmla="*/ 2858991 w 4610101"/>
              <a:gd name="connsiteY31405" fmla="*/ 737010 h 6557032"/>
              <a:gd name="connsiteX31406" fmla="*/ 2855347 w 4610101"/>
              <a:gd name="connsiteY31406" fmla="*/ 720610 h 6557032"/>
              <a:gd name="connsiteX31407" fmla="*/ 2866280 w 4610101"/>
              <a:gd name="connsiteY31407" fmla="*/ 724254 h 6557032"/>
              <a:gd name="connsiteX31408" fmla="*/ 2862636 w 4610101"/>
              <a:gd name="connsiteY31408" fmla="*/ 709677 h 6557032"/>
              <a:gd name="connsiteX31409" fmla="*/ 2833481 w 4610101"/>
              <a:gd name="connsiteY31409" fmla="*/ 704211 h 6557032"/>
              <a:gd name="connsiteX31410" fmla="*/ 2835303 w 4610101"/>
              <a:gd name="connsiteY31410" fmla="*/ 707855 h 6557032"/>
              <a:gd name="connsiteX31411" fmla="*/ 2824370 w 4610101"/>
              <a:gd name="connsiteY31411" fmla="*/ 707855 h 6557032"/>
              <a:gd name="connsiteX31412" fmla="*/ 2800682 w 4610101"/>
              <a:gd name="connsiteY31412" fmla="*/ 715144 h 6557032"/>
              <a:gd name="connsiteX31413" fmla="*/ 2787927 w 4610101"/>
              <a:gd name="connsiteY31413" fmla="*/ 751587 h 6557032"/>
              <a:gd name="connsiteX31414" fmla="*/ 2820726 w 4610101"/>
              <a:gd name="connsiteY31414" fmla="*/ 744298 h 6557032"/>
              <a:gd name="connsiteX31415" fmla="*/ 2818903 w 4610101"/>
              <a:gd name="connsiteY31415" fmla="*/ 755231 h 6557032"/>
              <a:gd name="connsiteX31416" fmla="*/ 2815259 w 4610101"/>
              <a:gd name="connsiteY31416" fmla="*/ 753409 h 6557032"/>
              <a:gd name="connsiteX31417" fmla="*/ 2775171 w 4610101"/>
              <a:gd name="connsiteY31417" fmla="*/ 767987 h 6557032"/>
              <a:gd name="connsiteX31418" fmla="*/ 2775171 w 4610101"/>
              <a:gd name="connsiteY31418" fmla="*/ 773453 h 6557032"/>
              <a:gd name="connsiteX31419" fmla="*/ 2771527 w 4610101"/>
              <a:gd name="connsiteY31419" fmla="*/ 771631 h 6557032"/>
              <a:gd name="connsiteX31420" fmla="*/ 2778816 w 4610101"/>
              <a:gd name="connsiteY31420" fmla="*/ 784386 h 6557032"/>
              <a:gd name="connsiteX31421" fmla="*/ 2762416 w 4610101"/>
              <a:gd name="connsiteY31421" fmla="*/ 775275 h 6557032"/>
              <a:gd name="connsiteX31422" fmla="*/ 2773349 w 4610101"/>
              <a:gd name="connsiteY31422" fmla="*/ 789853 h 6557032"/>
              <a:gd name="connsiteX31423" fmla="*/ 2780638 w 4610101"/>
              <a:gd name="connsiteY31423" fmla="*/ 784386 h 6557032"/>
              <a:gd name="connsiteX31424" fmla="*/ 2793393 w 4610101"/>
              <a:gd name="connsiteY31424" fmla="*/ 793497 h 6557032"/>
              <a:gd name="connsiteX31425" fmla="*/ 2793393 w 4610101"/>
              <a:gd name="connsiteY31425" fmla="*/ 797141 h 6557032"/>
              <a:gd name="connsiteX31426" fmla="*/ 2787927 w 4610101"/>
              <a:gd name="connsiteY31426" fmla="*/ 797141 h 6557032"/>
              <a:gd name="connsiteX31427" fmla="*/ 2798860 w 4610101"/>
              <a:gd name="connsiteY31427" fmla="*/ 820830 h 6557032"/>
              <a:gd name="connsiteX31428" fmla="*/ 2786104 w 4610101"/>
              <a:gd name="connsiteY31428" fmla="*/ 815363 h 6557032"/>
              <a:gd name="connsiteX31429" fmla="*/ 2764238 w 4610101"/>
              <a:gd name="connsiteY31429" fmla="*/ 789853 h 6557032"/>
              <a:gd name="connsiteX31430" fmla="*/ 2784282 w 4610101"/>
              <a:gd name="connsiteY31430" fmla="*/ 813541 h 6557032"/>
              <a:gd name="connsiteX31431" fmla="*/ 2756950 w 4610101"/>
              <a:gd name="connsiteY31431" fmla="*/ 795319 h 6557032"/>
              <a:gd name="connsiteX31432" fmla="*/ 2755127 w 4610101"/>
              <a:gd name="connsiteY31432" fmla="*/ 800786 h 6557032"/>
              <a:gd name="connsiteX31433" fmla="*/ 2722328 w 4610101"/>
              <a:gd name="connsiteY31433" fmla="*/ 797141 h 6557032"/>
              <a:gd name="connsiteX31434" fmla="*/ 2687707 w 4610101"/>
              <a:gd name="connsiteY31434" fmla="*/ 791675 h 6557032"/>
              <a:gd name="connsiteX31435" fmla="*/ 2691351 w 4610101"/>
              <a:gd name="connsiteY31435" fmla="*/ 808074 h 6557032"/>
              <a:gd name="connsiteX31436" fmla="*/ 2673130 w 4610101"/>
              <a:gd name="connsiteY31436" fmla="*/ 802608 h 6557032"/>
              <a:gd name="connsiteX31437" fmla="*/ 2662197 w 4610101"/>
              <a:gd name="connsiteY31437" fmla="*/ 839051 h 6557032"/>
              <a:gd name="connsiteX31438" fmla="*/ 2691351 w 4610101"/>
              <a:gd name="connsiteY31438" fmla="*/ 826296 h 6557032"/>
              <a:gd name="connsiteX31439" fmla="*/ 2698640 w 4610101"/>
              <a:gd name="connsiteY31439" fmla="*/ 829941 h 6557032"/>
              <a:gd name="connsiteX31440" fmla="*/ 2680418 w 4610101"/>
              <a:gd name="connsiteY31440" fmla="*/ 844518 h 6557032"/>
              <a:gd name="connsiteX31441" fmla="*/ 2665841 w 4610101"/>
              <a:gd name="connsiteY31441" fmla="*/ 848162 h 6557032"/>
              <a:gd name="connsiteX31442" fmla="*/ 2678596 w 4610101"/>
              <a:gd name="connsiteY31442" fmla="*/ 873673 h 6557032"/>
              <a:gd name="connsiteX31443" fmla="*/ 2685885 w 4610101"/>
              <a:gd name="connsiteY31443" fmla="*/ 879139 h 6557032"/>
              <a:gd name="connsiteX31444" fmla="*/ 2685885 w 4610101"/>
              <a:gd name="connsiteY31444" fmla="*/ 886428 h 6557032"/>
              <a:gd name="connsiteX31445" fmla="*/ 2676774 w 4610101"/>
              <a:gd name="connsiteY31445" fmla="*/ 882784 h 6557032"/>
              <a:gd name="connsiteX31446" fmla="*/ 2685885 w 4610101"/>
              <a:gd name="connsiteY31446" fmla="*/ 893717 h 6557032"/>
              <a:gd name="connsiteX31447" fmla="*/ 2696818 w 4610101"/>
              <a:gd name="connsiteY31447" fmla="*/ 886428 h 6557032"/>
              <a:gd name="connsiteX31448" fmla="*/ 2687707 w 4610101"/>
              <a:gd name="connsiteY31448" fmla="*/ 877317 h 6557032"/>
              <a:gd name="connsiteX31449" fmla="*/ 2696818 w 4610101"/>
              <a:gd name="connsiteY31449" fmla="*/ 880961 h 6557032"/>
              <a:gd name="connsiteX31450" fmla="*/ 2711395 w 4610101"/>
              <a:gd name="connsiteY31450" fmla="*/ 877317 h 6557032"/>
              <a:gd name="connsiteX31451" fmla="*/ 2711395 w 4610101"/>
              <a:gd name="connsiteY31451" fmla="*/ 871851 h 6557032"/>
              <a:gd name="connsiteX31452" fmla="*/ 2718229 w 4610101"/>
              <a:gd name="connsiteY31452" fmla="*/ 875723 h 6557032"/>
              <a:gd name="connsiteX31453" fmla="*/ 2720791 w 4610101"/>
              <a:gd name="connsiteY31453" fmla="*/ 878997 h 6557032"/>
              <a:gd name="connsiteX31454" fmla="*/ 2716862 w 4610101"/>
              <a:gd name="connsiteY31454" fmla="*/ 880961 h 6557032"/>
              <a:gd name="connsiteX31455" fmla="*/ 2724150 w 4610101"/>
              <a:gd name="connsiteY31455" fmla="*/ 886428 h 6557032"/>
              <a:gd name="connsiteX31456" fmla="*/ 2715040 w 4610101"/>
              <a:gd name="connsiteY31456" fmla="*/ 880961 h 6557032"/>
              <a:gd name="connsiteX31457" fmla="*/ 2705929 w 4610101"/>
              <a:gd name="connsiteY31457" fmla="*/ 882784 h 6557032"/>
              <a:gd name="connsiteX31458" fmla="*/ 2716862 w 4610101"/>
              <a:gd name="connsiteY31458" fmla="*/ 906473 h 6557032"/>
              <a:gd name="connsiteX31459" fmla="*/ 2707751 w 4610101"/>
              <a:gd name="connsiteY31459" fmla="*/ 899183 h 6557032"/>
              <a:gd name="connsiteX31460" fmla="*/ 2709573 w 4610101"/>
              <a:gd name="connsiteY31460" fmla="*/ 913761 h 6557032"/>
              <a:gd name="connsiteX31461" fmla="*/ 2720506 w 4610101"/>
              <a:gd name="connsiteY31461" fmla="*/ 921049 h 6557032"/>
              <a:gd name="connsiteX31462" fmla="*/ 2727795 w 4610101"/>
              <a:gd name="connsiteY31462" fmla="*/ 911939 h 6557032"/>
              <a:gd name="connsiteX31463" fmla="*/ 2735084 w 4610101"/>
              <a:gd name="connsiteY31463" fmla="*/ 880961 h 6557032"/>
              <a:gd name="connsiteX31464" fmla="*/ 2749661 w 4610101"/>
              <a:gd name="connsiteY31464" fmla="*/ 893717 h 6557032"/>
              <a:gd name="connsiteX31465" fmla="*/ 2742372 w 4610101"/>
              <a:gd name="connsiteY31465" fmla="*/ 888250 h 6557032"/>
              <a:gd name="connsiteX31466" fmla="*/ 2746016 w 4610101"/>
              <a:gd name="connsiteY31466" fmla="*/ 886428 h 6557032"/>
              <a:gd name="connsiteX31467" fmla="*/ 2744194 w 4610101"/>
              <a:gd name="connsiteY31467" fmla="*/ 884606 h 6557032"/>
              <a:gd name="connsiteX31468" fmla="*/ 2755127 w 4610101"/>
              <a:gd name="connsiteY31468" fmla="*/ 893717 h 6557032"/>
              <a:gd name="connsiteX31469" fmla="*/ 2727795 w 4610101"/>
              <a:gd name="connsiteY31469" fmla="*/ 924695 h 6557032"/>
              <a:gd name="connsiteX31470" fmla="*/ 2738728 w 4610101"/>
              <a:gd name="connsiteY31470" fmla="*/ 926516 h 6557032"/>
              <a:gd name="connsiteX31471" fmla="*/ 2735084 w 4610101"/>
              <a:gd name="connsiteY31471" fmla="*/ 926516 h 6557032"/>
              <a:gd name="connsiteX31472" fmla="*/ 2744194 w 4610101"/>
              <a:gd name="connsiteY31472" fmla="*/ 928339 h 6557032"/>
              <a:gd name="connsiteX31473" fmla="*/ 2742372 w 4610101"/>
              <a:gd name="connsiteY31473" fmla="*/ 931983 h 6557032"/>
              <a:gd name="connsiteX31474" fmla="*/ 2751483 w 4610101"/>
              <a:gd name="connsiteY31474" fmla="*/ 933804 h 6557032"/>
              <a:gd name="connsiteX31475" fmla="*/ 2744194 w 4610101"/>
              <a:gd name="connsiteY31475" fmla="*/ 922872 h 6557032"/>
              <a:gd name="connsiteX31476" fmla="*/ 2764238 w 4610101"/>
              <a:gd name="connsiteY31476" fmla="*/ 931983 h 6557032"/>
              <a:gd name="connsiteX31477" fmla="*/ 2764238 w 4610101"/>
              <a:gd name="connsiteY31477" fmla="*/ 952026 h 6557032"/>
              <a:gd name="connsiteX31478" fmla="*/ 2755127 w 4610101"/>
              <a:gd name="connsiteY31478" fmla="*/ 948383 h 6557032"/>
              <a:gd name="connsiteX31479" fmla="*/ 2762416 w 4610101"/>
              <a:gd name="connsiteY31479" fmla="*/ 968427 h 6557032"/>
              <a:gd name="connsiteX31480" fmla="*/ 2795215 w 4610101"/>
              <a:gd name="connsiteY31480" fmla="*/ 1008515 h 6557032"/>
              <a:gd name="connsiteX31481" fmla="*/ 2795215 w 4610101"/>
              <a:gd name="connsiteY31481" fmla="*/ 999403 h 6557032"/>
              <a:gd name="connsiteX31482" fmla="*/ 2806148 w 4610101"/>
              <a:gd name="connsiteY31482" fmla="*/ 1010337 h 6557032"/>
              <a:gd name="connsiteX31483" fmla="*/ 2800682 w 4610101"/>
              <a:gd name="connsiteY31483" fmla="*/ 1008515 h 6557032"/>
              <a:gd name="connsiteX31484" fmla="*/ 2813437 w 4610101"/>
              <a:gd name="connsiteY31484" fmla="*/ 1015803 h 6557032"/>
              <a:gd name="connsiteX31485" fmla="*/ 2813437 w 4610101"/>
              <a:gd name="connsiteY31485" fmla="*/ 1010337 h 6557032"/>
              <a:gd name="connsiteX31486" fmla="*/ 2818903 w 4610101"/>
              <a:gd name="connsiteY31486" fmla="*/ 1012159 h 6557032"/>
              <a:gd name="connsiteX31487" fmla="*/ 2833481 w 4610101"/>
              <a:gd name="connsiteY31487" fmla="*/ 1021270 h 6557032"/>
              <a:gd name="connsiteX31488" fmla="*/ 2835303 w 4610101"/>
              <a:gd name="connsiteY31488" fmla="*/ 1006692 h 6557032"/>
              <a:gd name="connsiteX31489" fmla="*/ 2837125 w 4610101"/>
              <a:gd name="connsiteY31489" fmla="*/ 1030381 h 6557032"/>
              <a:gd name="connsiteX31490" fmla="*/ 2836045 w 4610101"/>
              <a:gd name="connsiteY31490" fmla="*/ 1030150 h 6557032"/>
              <a:gd name="connsiteX31491" fmla="*/ 2833481 w 4610101"/>
              <a:gd name="connsiteY31491" fmla="*/ 1024914 h 6557032"/>
              <a:gd name="connsiteX31492" fmla="*/ 2833937 w 4610101"/>
              <a:gd name="connsiteY31492" fmla="*/ 1029698 h 6557032"/>
              <a:gd name="connsiteX31493" fmla="*/ 2836045 w 4610101"/>
              <a:gd name="connsiteY31493" fmla="*/ 1030150 h 6557032"/>
              <a:gd name="connsiteX31494" fmla="*/ 2838947 w 4610101"/>
              <a:gd name="connsiteY31494" fmla="*/ 1036075 h 6557032"/>
              <a:gd name="connsiteX31495" fmla="*/ 2849880 w 4610101"/>
              <a:gd name="connsiteY31495" fmla="*/ 1043136 h 6557032"/>
              <a:gd name="connsiteX31496" fmla="*/ 2849880 w 4610101"/>
              <a:gd name="connsiteY31496" fmla="*/ 1028559 h 6557032"/>
              <a:gd name="connsiteX31497" fmla="*/ 2860813 w 4610101"/>
              <a:gd name="connsiteY31497" fmla="*/ 1013981 h 6557032"/>
              <a:gd name="connsiteX31498" fmla="*/ 2884502 w 4610101"/>
              <a:gd name="connsiteY31498" fmla="*/ 970249 h 6557032"/>
              <a:gd name="connsiteX31499" fmla="*/ 2888146 w 4610101"/>
              <a:gd name="connsiteY31499" fmla="*/ 972071 h 6557032"/>
              <a:gd name="connsiteX31500" fmla="*/ 2891790 w 4610101"/>
              <a:gd name="connsiteY31500" fmla="*/ 957494 h 6557032"/>
              <a:gd name="connsiteX31501" fmla="*/ 2831659 w 4610101"/>
              <a:gd name="connsiteY31501" fmla="*/ 890072 h 6557032"/>
              <a:gd name="connsiteX31502" fmla="*/ 2826192 w 4610101"/>
              <a:gd name="connsiteY31502" fmla="*/ 888250 h 6557032"/>
              <a:gd name="connsiteX31503" fmla="*/ 2822548 w 4610101"/>
              <a:gd name="connsiteY31503" fmla="*/ 851807 h 6557032"/>
              <a:gd name="connsiteX31504" fmla="*/ 2829837 w 4610101"/>
              <a:gd name="connsiteY31504" fmla="*/ 848162 h 6557032"/>
              <a:gd name="connsiteX31505" fmla="*/ 2831659 w 4610101"/>
              <a:gd name="connsiteY31505" fmla="*/ 884606 h 6557032"/>
              <a:gd name="connsiteX31506" fmla="*/ 2886324 w 4610101"/>
              <a:gd name="connsiteY31506" fmla="*/ 921049 h 6557032"/>
              <a:gd name="connsiteX31507" fmla="*/ 2888146 w 4610101"/>
              <a:gd name="connsiteY31507" fmla="*/ 915583 h 6557032"/>
              <a:gd name="connsiteX31508" fmla="*/ 2889968 w 4610101"/>
              <a:gd name="connsiteY31508" fmla="*/ 917405 h 6557032"/>
              <a:gd name="connsiteX31509" fmla="*/ 2897257 w 4610101"/>
              <a:gd name="connsiteY31509" fmla="*/ 937450 h 6557032"/>
              <a:gd name="connsiteX31510" fmla="*/ 2908190 w 4610101"/>
              <a:gd name="connsiteY31510" fmla="*/ 913761 h 6557032"/>
              <a:gd name="connsiteX31511" fmla="*/ 2920945 w 4610101"/>
              <a:gd name="connsiteY31511" fmla="*/ 899183 h 6557032"/>
              <a:gd name="connsiteX31512" fmla="*/ 2913656 w 4610101"/>
              <a:gd name="connsiteY31512" fmla="*/ 895539 h 6557032"/>
              <a:gd name="connsiteX31513" fmla="*/ 2922767 w 4610101"/>
              <a:gd name="connsiteY31513" fmla="*/ 897361 h 6557032"/>
              <a:gd name="connsiteX31514" fmla="*/ 2915479 w 4610101"/>
              <a:gd name="connsiteY31514" fmla="*/ 884606 h 6557032"/>
              <a:gd name="connsiteX31515" fmla="*/ 2930056 w 4610101"/>
              <a:gd name="connsiteY31515" fmla="*/ 895539 h 6557032"/>
              <a:gd name="connsiteX31516" fmla="*/ 2897257 w 4610101"/>
              <a:gd name="connsiteY31516" fmla="*/ 877317 h 6557032"/>
              <a:gd name="connsiteX31517" fmla="*/ 2886324 w 4610101"/>
              <a:gd name="connsiteY31517" fmla="*/ 870028 h 6557032"/>
              <a:gd name="connsiteX31518" fmla="*/ 2880857 w 4610101"/>
              <a:gd name="connsiteY31518" fmla="*/ 871851 h 6557032"/>
              <a:gd name="connsiteX31519" fmla="*/ 2838947 w 4610101"/>
              <a:gd name="connsiteY31519" fmla="*/ 849985 h 6557032"/>
              <a:gd name="connsiteX31520" fmla="*/ 2858991 w 4610101"/>
              <a:gd name="connsiteY31520" fmla="*/ 853629 h 6557032"/>
              <a:gd name="connsiteX31521" fmla="*/ 2930056 w 4610101"/>
              <a:gd name="connsiteY31521" fmla="*/ 882784 h 6557032"/>
              <a:gd name="connsiteX31522" fmla="*/ 2937345 w 4610101"/>
              <a:gd name="connsiteY31522" fmla="*/ 891894 h 6557032"/>
              <a:gd name="connsiteX31523" fmla="*/ 3026631 w 4610101"/>
              <a:gd name="connsiteY31523" fmla="*/ 855451 h 6557032"/>
              <a:gd name="connsiteX31524" fmla="*/ 3017521 w 4610101"/>
              <a:gd name="connsiteY31524" fmla="*/ 853629 h 6557032"/>
              <a:gd name="connsiteX31525" fmla="*/ 3019343 w 4610101"/>
              <a:gd name="connsiteY31525" fmla="*/ 848162 h 6557032"/>
              <a:gd name="connsiteX31526" fmla="*/ 3021165 w 4610101"/>
              <a:gd name="connsiteY31526" fmla="*/ 853629 h 6557032"/>
              <a:gd name="connsiteX31527" fmla="*/ 3030103 w 4610101"/>
              <a:gd name="connsiteY31527" fmla="*/ 849777 h 6557032"/>
              <a:gd name="connsiteX31528" fmla="*/ 3028453 w 4610101"/>
              <a:gd name="connsiteY31528" fmla="*/ 851807 h 6557032"/>
              <a:gd name="connsiteX31529" fmla="*/ 3035742 w 4610101"/>
              <a:gd name="connsiteY31529" fmla="*/ 849985 h 6557032"/>
              <a:gd name="connsiteX31530" fmla="*/ 3032645 w 4610101"/>
              <a:gd name="connsiteY31530" fmla="*/ 848681 h 6557032"/>
              <a:gd name="connsiteX31531" fmla="*/ 3034376 w 4610101"/>
              <a:gd name="connsiteY31531" fmla="*/ 847935 h 6557032"/>
              <a:gd name="connsiteX31532" fmla="*/ 3039387 w 4610101"/>
              <a:gd name="connsiteY31532" fmla="*/ 835407 h 6557032"/>
              <a:gd name="connsiteX31533" fmla="*/ 3032098 w 4610101"/>
              <a:gd name="connsiteY31533" fmla="*/ 820830 h 6557032"/>
              <a:gd name="connsiteX31534" fmla="*/ 3037564 w 4610101"/>
              <a:gd name="connsiteY31534" fmla="*/ 822652 h 6557032"/>
              <a:gd name="connsiteX31535" fmla="*/ 3035742 w 4610101"/>
              <a:gd name="connsiteY31535" fmla="*/ 811719 h 6557032"/>
              <a:gd name="connsiteX31536" fmla="*/ 3050319 w 4610101"/>
              <a:gd name="connsiteY31536" fmla="*/ 835407 h 6557032"/>
              <a:gd name="connsiteX31537" fmla="*/ 3055786 w 4610101"/>
              <a:gd name="connsiteY31537" fmla="*/ 837229 h 6557032"/>
              <a:gd name="connsiteX31538" fmla="*/ 3052142 w 4610101"/>
              <a:gd name="connsiteY31538" fmla="*/ 840874 h 6557032"/>
              <a:gd name="connsiteX31539" fmla="*/ 3059430 w 4610101"/>
              <a:gd name="connsiteY31539" fmla="*/ 844518 h 6557032"/>
              <a:gd name="connsiteX31540" fmla="*/ 3057608 w 4610101"/>
              <a:gd name="connsiteY31540" fmla="*/ 833585 h 6557032"/>
              <a:gd name="connsiteX31541" fmla="*/ 3063075 w 4610101"/>
              <a:gd name="connsiteY31541" fmla="*/ 831763 h 6557032"/>
              <a:gd name="connsiteX31542" fmla="*/ 3059430 w 4610101"/>
              <a:gd name="connsiteY31542" fmla="*/ 804430 h 6557032"/>
              <a:gd name="connsiteX31543" fmla="*/ 3064897 w 4610101"/>
              <a:gd name="connsiteY31543" fmla="*/ 809897 h 6557032"/>
              <a:gd name="connsiteX31544" fmla="*/ 3083119 w 4610101"/>
              <a:gd name="connsiteY31544" fmla="*/ 809897 h 6557032"/>
              <a:gd name="connsiteX31545" fmla="*/ 3088585 w 4610101"/>
              <a:gd name="connsiteY31545" fmla="*/ 808074 h 6557032"/>
              <a:gd name="connsiteX31546" fmla="*/ 3055786 w 4610101"/>
              <a:gd name="connsiteY31546" fmla="*/ 722432 h 6557032"/>
              <a:gd name="connsiteX31547" fmla="*/ 3039387 w 4610101"/>
              <a:gd name="connsiteY31547" fmla="*/ 724254 h 6557032"/>
              <a:gd name="connsiteX31548" fmla="*/ 3046675 w 4610101"/>
              <a:gd name="connsiteY31548" fmla="*/ 720610 h 6557032"/>
              <a:gd name="connsiteX31549" fmla="*/ 3004765 w 4610101"/>
              <a:gd name="connsiteY31549" fmla="*/ 706033 h 6557032"/>
              <a:gd name="connsiteX31550" fmla="*/ 2988366 w 4610101"/>
              <a:gd name="connsiteY31550" fmla="*/ 698744 h 6557032"/>
              <a:gd name="connsiteX31551" fmla="*/ 2990188 w 4610101"/>
              <a:gd name="connsiteY31551" fmla="*/ 709677 h 6557032"/>
              <a:gd name="connsiteX31552" fmla="*/ 2981077 w 4610101"/>
              <a:gd name="connsiteY31552" fmla="*/ 704211 h 6557032"/>
              <a:gd name="connsiteX31553" fmla="*/ 2986543 w 4610101"/>
              <a:gd name="connsiteY31553" fmla="*/ 700566 h 6557032"/>
              <a:gd name="connsiteX31554" fmla="*/ 2948876 w 4610101"/>
              <a:gd name="connsiteY31554" fmla="*/ 688523 h 6557032"/>
              <a:gd name="connsiteX31555" fmla="*/ 3449376 w 4610101"/>
              <a:gd name="connsiteY31555" fmla="*/ 687811 h 6557032"/>
              <a:gd name="connsiteX31556" fmla="*/ 3442087 w 4610101"/>
              <a:gd name="connsiteY31556" fmla="*/ 693278 h 6557032"/>
              <a:gd name="connsiteX31557" fmla="*/ 3447553 w 4610101"/>
              <a:gd name="connsiteY31557" fmla="*/ 695100 h 6557032"/>
              <a:gd name="connsiteX31558" fmla="*/ 3449376 w 4610101"/>
              <a:gd name="connsiteY31558" fmla="*/ 687811 h 6557032"/>
              <a:gd name="connsiteX31559" fmla="*/ 2822548 w 4610101"/>
              <a:gd name="connsiteY31559" fmla="*/ 687811 h 6557032"/>
              <a:gd name="connsiteX31560" fmla="*/ 2828014 w 4610101"/>
              <a:gd name="connsiteY31560" fmla="*/ 693278 h 6557032"/>
              <a:gd name="connsiteX31561" fmla="*/ 2828014 w 4610101"/>
              <a:gd name="connsiteY31561" fmla="*/ 687811 h 6557032"/>
              <a:gd name="connsiteX31562" fmla="*/ 2822548 w 4610101"/>
              <a:gd name="connsiteY31562" fmla="*/ 687811 h 6557032"/>
              <a:gd name="connsiteX31563" fmla="*/ 2554688 w 4610101"/>
              <a:gd name="connsiteY31563" fmla="*/ 687811 h 6557032"/>
              <a:gd name="connsiteX31564" fmla="*/ 2554688 w 4610101"/>
              <a:gd name="connsiteY31564" fmla="*/ 691455 h 6557032"/>
              <a:gd name="connsiteX31565" fmla="*/ 2554688 w 4610101"/>
              <a:gd name="connsiteY31565" fmla="*/ 696922 h 6557032"/>
              <a:gd name="connsiteX31566" fmla="*/ 2558332 w 4610101"/>
              <a:gd name="connsiteY31566" fmla="*/ 687811 h 6557032"/>
              <a:gd name="connsiteX31567" fmla="*/ 2554688 w 4610101"/>
              <a:gd name="connsiteY31567" fmla="*/ 687811 h 6557032"/>
              <a:gd name="connsiteX31568" fmla="*/ 1202636 w 4610101"/>
              <a:gd name="connsiteY31568" fmla="*/ 687811 h 6557032"/>
              <a:gd name="connsiteX31569" fmla="*/ 1195346 w 4610101"/>
              <a:gd name="connsiteY31569" fmla="*/ 689633 h 6557032"/>
              <a:gd name="connsiteX31570" fmla="*/ 1202355 w 4610101"/>
              <a:gd name="connsiteY31570" fmla="*/ 688232 h 6557032"/>
              <a:gd name="connsiteX31571" fmla="*/ 1199446 w 4610101"/>
              <a:gd name="connsiteY31571" fmla="*/ 692595 h 6557032"/>
              <a:gd name="connsiteX31572" fmla="*/ 1193525 w 4610101"/>
              <a:gd name="connsiteY31572" fmla="*/ 693278 h 6557032"/>
              <a:gd name="connsiteX31573" fmla="*/ 1188058 w 4610101"/>
              <a:gd name="connsiteY31573" fmla="*/ 704211 h 6557032"/>
              <a:gd name="connsiteX31574" fmla="*/ 1195346 w 4610101"/>
              <a:gd name="connsiteY31574" fmla="*/ 698744 h 6557032"/>
              <a:gd name="connsiteX31575" fmla="*/ 1193525 w 4610101"/>
              <a:gd name="connsiteY31575" fmla="*/ 693278 h 6557032"/>
              <a:gd name="connsiteX31576" fmla="*/ 1195346 w 4610101"/>
              <a:gd name="connsiteY31576" fmla="*/ 693278 h 6557032"/>
              <a:gd name="connsiteX31577" fmla="*/ 1195346 w 4610101"/>
              <a:gd name="connsiteY31577" fmla="*/ 696922 h 6557032"/>
              <a:gd name="connsiteX31578" fmla="*/ 1204457 w 4610101"/>
              <a:gd name="connsiteY31578" fmla="*/ 687811 h 6557032"/>
              <a:gd name="connsiteX31579" fmla="*/ 1202355 w 4610101"/>
              <a:gd name="connsiteY31579" fmla="*/ 688232 h 6557032"/>
              <a:gd name="connsiteX31580" fmla="*/ 1147970 w 4610101"/>
              <a:gd name="connsiteY31580" fmla="*/ 687811 h 6557032"/>
              <a:gd name="connsiteX31581" fmla="*/ 1144326 w 4610101"/>
              <a:gd name="connsiteY31581" fmla="*/ 691455 h 6557032"/>
              <a:gd name="connsiteX31582" fmla="*/ 1147970 w 4610101"/>
              <a:gd name="connsiteY31582" fmla="*/ 687811 h 6557032"/>
              <a:gd name="connsiteX31583" fmla="*/ 1129748 w 4610101"/>
              <a:gd name="connsiteY31583" fmla="*/ 687811 h 6557032"/>
              <a:gd name="connsiteX31584" fmla="*/ 1120637 w 4610101"/>
              <a:gd name="connsiteY31584" fmla="*/ 693278 h 6557032"/>
              <a:gd name="connsiteX31585" fmla="*/ 1126104 w 4610101"/>
              <a:gd name="connsiteY31585" fmla="*/ 693278 h 6557032"/>
              <a:gd name="connsiteX31586" fmla="*/ 1129748 w 4610101"/>
              <a:gd name="connsiteY31586" fmla="*/ 687811 h 6557032"/>
              <a:gd name="connsiteX31587" fmla="*/ 991263 w 4610101"/>
              <a:gd name="connsiteY31587" fmla="*/ 687811 h 6557032"/>
              <a:gd name="connsiteX31588" fmla="*/ 987619 w 4610101"/>
              <a:gd name="connsiteY31588" fmla="*/ 691455 h 6557032"/>
              <a:gd name="connsiteX31589" fmla="*/ 991263 w 4610101"/>
              <a:gd name="connsiteY31589" fmla="*/ 687811 h 6557032"/>
              <a:gd name="connsiteX31590" fmla="*/ 770781 w 4610101"/>
              <a:gd name="connsiteY31590" fmla="*/ 687811 h 6557032"/>
              <a:gd name="connsiteX31591" fmla="*/ 777584 w 4610101"/>
              <a:gd name="connsiteY31591" fmla="*/ 688783 h 6557032"/>
              <a:gd name="connsiteX31592" fmla="*/ 776246 w 4610101"/>
              <a:gd name="connsiteY31592" fmla="*/ 691455 h 6557032"/>
              <a:gd name="connsiteX31593" fmla="*/ 790824 w 4610101"/>
              <a:gd name="connsiteY31593" fmla="*/ 700566 h 6557032"/>
              <a:gd name="connsiteX31594" fmla="*/ 787179 w 4610101"/>
              <a:gd name="connsiteY31594" fmla="*/ 693278 h 6557032"/>
              <a:gd name="connsiteX31595" fmla="*/ 792646 w 4610101"/>
              <a:gd name="connsiteY31595" fmla="*/ 693278 h 6557032"/>
              <a:gd name="connsiteX31596" fmla="*/ 779892 w 4610101"/>
              <a:gd name="connsiteY31596" fmla="*/ 691455 h 6557032"/>
              <a:gd name="connsiteX31597" fmla="*/ 783535 w 4610101"/>
              <a:gd name="connsiteY31597" fmla="*/ 689633 h 6557032"/>
              <a:gd name="connsiteX31598" fmla="*/ 777584 w 4610101"/>
              <a:gd name="connsiteY31598" fmla="*/ 688783 h 6557032"/>
              <a:gd name="connsiteX31599" fmla="*/ 778070 w 4610101"/>
              <a:gd name="connsiteY31599" fmla="*/ 687811 h 6557032"/>
              <a:gd name="connsiteX31600" fmla="*/ 770781 w 4610101"/>
              <a:gd name="connsiteY31600" fmla="*/ 687811 h 6557032"/>
              <a:gd name="connsiteX31601" fmla="*/ 564874 w 4610101"/>
              <a:gd name="connsiteY31601" fmla="*/ 687811 h 6557032"/>
              <a:gd name="connsiteX31602" fmla="*/ 568519 w 4610101"/>
              <a:gd name="connsiteY31602" fmla="*/ 696922 h 6557032"/>
              <a:gd name="connsiteX31603" fmla="*/ 572163 w 4610101"/>
              <a:gd name="connsiteY31603" fmla="*/ 695100 h 6557032"/>
              <a:gd name="connsiteX31604" fmla="*/ 568519 w 4610101"/>
              <a:gd name="connsiteY31604" fmla="*/ 698744 h 6557032"/>
              <a:gd name="connsiteX31605" fmla="*/ 575808 w 4610101"/>
              <a:gd name="connsiteY31605" fmla="*/ 706033 h 6557032"/>
              <a:gd name="connsiteX31606" fmla="*/ 570341 w 4610101"/>
              <a:gd name="connsiteY31606" fmla="*/ 700566 h 6557032"/>
              <a:gd name="connsiteX31607" fmla="*/ 573985 w 4610101"/>
              <a:gd name="connsiteY31607" fmla="*/ 702388 h 6557032"/>
              <a:gd name="connsiteX31608" fmla="*/ 572163 w 4610101"/>
              <a:gd name="connsiteY31608" fmla="*/ 695100 h 6557032"/>
              <a:gd name="connsiteX31609" fmla="*/ 564874 w 4610101"/>
              <a:gd name="connsiteY31609" fmla="*/ 687811 h 6557032"/>
              <a:gd name="connsiteX31610" fmla="*/ 477410 w 4610101"/>
              <a:gd name="connsiteY31610" fmla="*/ 687811 h 6557032"/>
              <a:gd name="connsiteX31611" fmla="*/ 479232 w 4610101"/>
              <a:gd name="connsiteY31611" fmla="*/ 691455 h 6557032"/>
              <a:gd name="connsiteX31612" fmla="*/ 477410 w 4610101"/>
              <a:gd name="connsiteY31612" fmla="*/ 687811 h 6557032"/>
              <a:gd name="connsiteX31613" fmla="*/ 766892 w 4610101"/>
              <a:gd name="connsiteY31613" fmla="*/ 687726 h 6557032"/>
              <a:gd name="connsiteX31614" fmla="*/ 767136 w 4610101"/>
              <a:gd name="connsiteY31614" fmla="*/ 687811 h 6557032"/>
              <a:gd name="connsiteX31615" fmla="*/ 767093 w 4610101"/>
              <a:gd name="connsiteY31615" fmla="*/ 687948 h 6557032"/>
              <a:gd name="connsiteX31616" fmla="*/ 917596 w 4610101"/>
              <a:gd name="connsiteY31616" fmla="*/ 687290 h 6557032"/>
              <a:gd name="connsiteX31617" fmla="*/ 914276 w 4610101"/>
              <a:gd name="connsiteY31617" fmla="*/ 689634 h 6557032"/>
              <a:gd name="connsiteX31618" fmla="*/ 912909 w 4610101"/>
              <a:gd name="connsiteY31618" fmla="*/ 689634 h 6557032"/>
              <a:gd name="connsiteX31619" fmla="*/ 912909 w 4610101"/>
              <a:gd name="connsiteY31619" fmla="*/ 689633 h 6557032"/>
              <a:gd name="connsiteX31620" fmla="*/ 2784282 w 4610101"/>
              <a:gd name="connsiteY31620" fmla="*/ 685989 h 6557032"/>
              <a:gd name="connsiteX31621" fmla="*/ 2793393 w 4610101"/>
              <a:gd name="connsiteY31621" fmla="*/ 704211 h 6557032"/>
              <a:gd name="connsiteX31622" fmla="*/ 2811615 w 4610101"/>
              <a:gd name="connsiteY31622" fmla="*/ 698744 h 6557032"/>
              <a:gd name="connsiteX31623" fmla="*/ 2784282 w 4610101"/>
              <a:gd name="connsiteY31623" fmla="*/ 685989 h 6557032"/>
              <a:gd name="connsiteX31624" fmla="*/ 2612998 w 4610101"/>
              <a:gd name="connsiteY31624" fmla="*/ 685989 h 6557032"/>
              <a:gd name="connsiteX31625" fmla="*/ 2618464 w 4610101"/>
              <a:gd name="connsiteY31625" fmla="*/ 698744 h 6557032"/>
              <a:gd name="connsiteX31626" fmla="*/ 2612998 w 4610101"/>
              <a:gd name="connsiteY31626" fmla="*/ 685989 h 6557032"/>
              <a:gd name="connsiteX31627" fmla="*/ 1386676 w 4610101"/>
              <a:gd name="connsiteY31627" fmla="*/ 685989 h 6557032"/>
              <a:gd name="connsiteX31628" fmla="*/ 1375743 w 4610101"/>
              <a:gd name="connsiteY31628" fmla="*/ 691455 h 6557032"/>
              <a:gd name="connsiteX31629" fmla="*/ 1341120 w 4610101"/>
              <a:gd name="connsiteY31629" fmla="*/ 695100 h 6557032"/>
              <a:gd name="connsiteX31630" fmla="*/ 1313788 w 4610101"/>
              <a:gd name="connsiteY31630" fmla="*/ 709677 h 6557032"/>
              <a:gd name="connsiteX31631" fmla="*/ 1310143 w 4610101"/>
              <a:gd name="connsiteY31631" fmla="*/ 715144 h 6557032"/>
              <a:gd name="connsiteX31632" fmla="*/ 1308321 w 4610101"/>
              <a:gd name="connsiteY31632" fmla="*/ 713321 h 6557032"/>
              <a:gd name="connsiteX31633" fmla="*/ 1297388 w 4610101"/>
              <a:gd name="connsiteY31633" fmla="*/ 720610 h 6557032"/>
              <a:gd name="connsiteX31634" fmla="*/ 1311966 w 4610101"/>
              <a:gd name="connsiteY31634" fmla="*/ 720610 h 6557032"/>
              <a:gd name="connsiteX31635" fmla="*/ 1339299 w 4610101"/>
              <a:gd name="connsiteY31635" fmla="*/ 709677 h 6557032"/>
              <a:gd name="connsiteX31636" fmla="*/ 1344765 w 4610101"/>
              <a:gd name="connsiteY31636" fmla="*/ 700566 h 6557032"/>
              <a:gd name="connsiteX31637" fmla="*/ 1348410 w 4610101"/>
              <a:gd name="connsiteY31637" fmla="*/ 700566 h 6557032"/>
              <a:gd name="connsiteX31638" fmla="*/ 1344765 w 4610101"/>
              <a:gd name="connsiteY31638" fmla="*/ 707855 h 6557032"/>
              <a:gd name="connsiteX31639" fmla="*/ 1364809 w 4610101"/>
              <a:gd name="connsiteY31639" fmla="*/ 702388 h 6557032"/>
              <a:gd name="connsiteX31640" fmla="*/ 1362987 w 4610101"/>
              <a:gd name="connsiteY31640" fmla="*/ 698744 h 6557032"/>
              <a:gd name="connsiteX31641" fmla="*/ 1368453 w 4610101"/>
              <a:gd name="connsiteY31641" fmla="*/ 695100 h 6557032"/>
              <a:gd name="connsiteX31642" fmla="*/ 1368453 w 4610101"/>
              <a:gd name="connsiteY31642" fmla="*/ 702388 h 6557032"/>
              <a:gd name="connsiteX31643" fmla="*/ 1372097 w 4610101"/>
              <a:gd name="connsiteY31643" fmla="*/ 696922 h 6557032"/>
              <a:gd name="connsiteX31644" fmla="*/ 1373920 w 4610101"/>
              <a:gd name="connsiteY31644" fmla="*/ 698744 h 6557032"/>
              <a:gd name="connsiteX31645" fmla="*/ 1377564 w 4610101"/>
              <a:gd name="connsiteY31645" fmla="*/ 696922 h 6557032"/>
              <a:gd name="connsiteX31646" fmla="*/ 1386676 w 4610101"/>
              <a:gd name="connsiteY31646" fmla="*/ 685989 h 6557032"/>
              <a:gd name="connsiteX31647" fmla="*/ 922020 w 4610101"/>
              <a:gd name="connsiteY31647" fmla="*/ 685989 h 6557032"/>
              <a:gd name="connsiteX31648" fmla="*/ 920198 w 4610101"/>
              <a:gd name="connsiteY31648" fmla="*/ 698744 h 6557032"/>
              <a:gd name="connsiteX31649" fmla="*/ 925666 w 4610101"/>
              <a:gd name="connsiteY31649" fmla="*/ 693278 h 6557032"/>
              <a:gd name="connsiteX31650" fmla="*/ 922020 w 4610101"/>
              <a:gd name="connsiteY31650" fmla="*/ 685989 h 6557032"/>
              <a:gd name="connsiteX31651" fmla="*/ 504743 w 4610101"/>
              <a:gd name="connsiteY31651" fmla="*/ 685989 h 6557032"/>
              <a:gd name="connsiteX31652" fmla="*/ 504743 w 4610101"/>
              <a:gd name="connsiteY31652" fmla="*/ 691455 h 6557032"/>
              <a:gd name="connsiteX31653" fmla="*/ 504743 w 4610101"/>
              <a:gd name="connsiteY31653" fmla="*/ 685989 h 6557032"/>
              <a:gd name="connsiteX31654" fmla="*/ 388123 w 4610101"/>
              <a:gd name="connsiteY31654" fmla="*/ 685989 h 6557032"/>
              <a:gd name="connsiteX31655" fmla="*/ 395412 w 4610101"/>
              <a:gd name="connsiteY31655" fmla="*/ 706033 h 6557032"/>
              <a:gd name="connsiteX31656" fmla="*/ 400879 w 4610101"/>
              <a:gd name="connsiteY31656" fmla="*/ 700566 h 6557032"/>
              <a:gd name="connsiteX31657" fmla="*/ 398680 w 4610101"/>
              <a:gd name="connsiteY31657" fmla="*/ 699833 h 6557032"/>
              <a:gd name="connsiteX31658" fmla="*/ 394956 w 4610101"/>
              <a:gd name="connsiteY31658" fmla="*/ 692595 h 6557032"/>
              <a:gd name="connsiteX31659" fmla="*/ 388123 w 4610101"/>
              <a:gd name="connsiteY31659" fmla="*/ 685989 h 6557032"/>
              <a:gd name="connsiteX31660" fmla="*/ 235061 w 4610101"/>
              <a:gd name="connsiteY31660" fmla="*/ 685989 h 6557032"/>
              <a:gd name="connsiteX31661" fmla="*/ 253282 w 4610101"/>
              <a:gd name="connsiteY31661" fmla="*/ 711499 h 6557032"/>
              <a:gd name="connsiteX31662" fmla="*/ 235061 w 4610101"/>
              <a:gd name="connsiteY31662" fmla="*/ 685989 h 6557032"/>
              <a:gd name="connsiteX31663" fmla="*/ 3177189 w 4610101"/>
              <a:gd name="connsiteY31663" fmla="*/ 685534 h 6557032"/>
              <a:gd name="connsiteX31664" fmla="*/ 3163294 w 4610101"/>
              <a:gd name="connsiteY31664" fmla="*/ 689633 h 6557032"/>
              <a:gd name="connsiteX31665" fmla="*/ 3139606 w 4610101"/>
              <a:gd name="connsiteY31665" fmla="*/ 689633 h 6557032"/>
              <a:gd name="connsiteX31666" fmla="*/ 3154184 w 4610101"/>
              <a:gd name="connsiteY31666" fmla="*/ 706033 h 6557032"/>
              <a:gd name="connsiteX31667" fmla="*/ 3152361 w 4610101"/>
              <a:gd name="connsiteY31667" fmla="*/ 698744 h 6557032"/>
              <a:gd name="connsiteX31668" fmla="*/ 3163294 w 4610101"/>
              <a:gd name="connsiteY31668" fmla="*/ 713321 h 6557032"/>
              <a:gd name="connsiteX31669" fmla="*/ 3156006 w 4610101"/>
              <a:gd name="connsiteY31669" fmla="*/ 718788 h 6557032"/>
              <a:gd name="connsiteX31670" fmla="*/ 3143250 w 4610101"/>
              <a:gd name="connsiteY31670" fmla="*/ 709677 h 6557032"/>
              <a:gd name="connsiteX31671" fmla="*/ 3137784 w 4610101"/>
              <a:gd name="connsiteY31671" fmla="*/ 709677 h 6557032"/>
              <a:gd name="connsiteX31672" fmla="*/ 3139606 w 4610101"/>
              <a:gd name="connsiteY31672" fmla="*/ 693278 h 6557032"/>
              <a:gd name="connsiteX31673" fmla="*/ 3137784 w 4610101"/>
              <a:gd name="connsiteY31673" fmla="*/ 716966 h 6557032"/>
              <a:gd name="connsiteX31674" fmla="*/ 3117740 w 4610101"/>
              <a:gd name="connsiteY31674" fmla="*/ 709677 h 6557032"/>
              <a:gd name="connsiteX31675" fmla="*/ 3117740 w 4610101"/>
              <a:gd name="connsiteY31675" fmla="*/ 718788 h 6557032"/>
              <a:gd name="connsiteX31676" fmla="*/ 3115918 w 4610101"/>
              <a:gd name="connsiteY31676" fmla="*/ 715144 h 6557032"/>
              <a:gd name="connsiteX31677" fmla="*/ 3114096 w 4610101"/>
              <a:gd name="connsiteY31677" fmla="*/ 726077 h 6557032"/>
              <a:gd name="connsiteX31678" fmla="*/ 3101340 w 4610101"/>
              <a:gd name="connsiteY31678" fmla="*/ 722432 h 6557032"/>
              <a:gd name="connsiteX31679" fmla="*/ 3103163 w 4610101"/>
              <a:gd name="connsiteY31679" fmla="*/ 733365 h 6557032"/>
              <a:gd name="connsiteX31680" fmla="*/ 3094052 w 4610101"/>
              <a:gd name="connsiteY31680" fmla="*/ 731543 h 6557032"/>
              <a:gd name="connsiteX31681" fmla="*/ 3094052 w 4610101"/>
              <a:gd name="connsiteY31681" fmla="*/ 742476 h 6557032"/>
              <a:gd name="connsiteX31682" fmla="*/ 3110451 w 4610101"/>
              <a:gd name="connsiteY31682" fmla="*/ 758876 h 6557032"/>
              <a:gd name="connsiteX31683" fmla="*/ 3117740 w 4610101"/>
              <a:gd name="connsiteY31683" fmla="*/ 755231 h 6557032"/>
              <a:gd name="connsiteX31684" fmla="*/ 3134140 w 4610101"/>
              <a:gd name="connsiteY31684" fmla="*/ 769809 h 6557032"/>
              <a:gd name="connsiteX31685" fmla="*/ 3119562 w 4610101"/>
              <a:gd name="connsiteY31685" fmla="*/ 769809 h 6557032"/>
              <a:gd name="connsiteX31686" fmla="*/ 3126851 w 4610101"/>
              <a:gd name="connsiteY31686" fmla="*/ 771631 h 6557032"/>
              <a:gd name="connsiteX31687" fmla="*/ 3121384 w 4610101"/>
              <a:gd name="connsiteY31687" fmla="*/ 778920 h 6557032"/>
              <a:gd name="connsiteX31688" fmla="*/ 3115463 w 4610101"/>
              <a:gd name="connsiteY31688" fmla="*/ 772543 h 6557032"/>
              <a:gd name="connsiteX31689" fmla="*/ 3107027 w 4610101"/>
              <a:gd name="connsiteY31689" fmla="*/ 771655 h 6557032"/>
              <a:gd name="connsiteX31690" fmla="*/ 3108629 w 4610101"/>
              <a:gd name="connsiteY31690" fmla="*/ 769809 h 6557032"/>
              <a:gd name="connsiteX31691" fmla="*/ 3106807 w 4610101"/>
              <a:gd name="connsiteY31691" fmla="*/ 771631 h 6557032"/>
              <a:gd name="connsiteX31692" fmla="*/ 3107027 w 4610101"/>
              <a:gd name="connsiteY31692" fmla="*/ 771655 h 6557032"/>
              <a:gd name="connsiteX31693" fmla="*/ 3105070 w 4610101"/>
              <a:gd name="connsiteY31693" fmla="*/ 773909 h 6557032"/>
              <a:gd name="connsiteX31694" fmla="*/ 3110451 w 4610101"/>
              <a:gd name="connsiteY31694" fmla="*/ 786208 h 6557032"/>
              <a:gd name="connsiteX31695" fmla="*/ 3108629 w 4610101"/>
              <a:gd name="connsiteY31695" fmla="*/ 793497 h 6557032"/>
              <a:gd name="connsiteX31696" fmla="*/ 3118119 w 4610101"/>
              <a:gd name="connsiteY31696" fmla="*/ 795079 h 6557032"/>
              <a:gd name="connsiteX31697" fmla="*/ 3112274 w 4610101"/>
              <a:gd name="connsiteY31697" fmla="*/ 797141 h 6557032"/>
              <a:gd name="connsiteX31698" fmla="*/ 3117740 w 4610101"/>
              <a:gd name="connsiteY31698" fmla="*/ 826296 h 6557032"/>
              <a:gd name="connsiteX31699" fmla="*/ 3115918 w 4610101"/>
              <a:gd name="connsiteY31699" fmla="*/ 831763 h 6557032"/>
              <a:gd name="connsiteX31700" fmla="*/ 3128673 w 4610101"/>
              <a:gd name="connsiteY31700" fmla="*/ 826296 h 6557032"/>
              <a:gd name="connsiteX31701" fmla="*/ 3123206 w 4610101"/>
              <a:gd name="connsiteY31701" fmla="*/ 824474 h 6557032"/>
              <a:gd name="connsiteX31702" fmla="*/ 3130495 w 4610101"/>
              <a:gd name="connsiteY31702" fmla="*/ 813541 h 6557032"/>
              <a:gd name="connsiteX31703" fmla="*/ 3141428 w 4610101"/>
              <a:gd name="connsiteY31703" fmla="*/ 820830 h 6557032"/>
              <a:gd name="connsiteX31704" fmla="*/ 3145073 w 4610101"/>
              <a:gd name="connsiteY31704" fmla="*/ 793497 h 6557032"/>
              <a:gd name="connsiteX31705" fmla="*/ 3150539 w 4610101"/>
              <a:gd name="connsiteY31705" fmla="*/ 797141 h 6557032"/>
              <a:gd name="connsiteX31706" fmla="*/ 3152361 w 4610101"/>
              <a:gd name="connsiteY31706" fmla="*/ 795319 h 6557032"/>
              <a:gd name="connsiteX31707" fmla="*/ 3146895 w 4610101"/>
              <a:gd name="connsiteY31707" fmla="*/ 819008 h 6557032"/>
              <a:gd name="connsiteX31708" fmla="*/ 3165116 w 4610101"/>
              <a:gd name="connsiteY31708" fmla="*/ 811719 h 6557032"/>
              <a:gd name="connsiteX31709" fmla="*/ 3159650 w 4610101"/>
              <a:gd name="connsiteY31709" fmla="*/ 813541 h 6557032"/>
              <a:gd name="connsiteX31710" fmla="*/ 3159650 w 4610101"/>
              <a:gd name="connsiteY31710" fmla="*/ 804430 h 6557032"/>
              <a:gd name="connsiteX31711" fmla="*/ 3168761 w 4610101"/>
              <a:gd name="connsiteY31711" fmla="*/ 804430 h 6557032"/>
              <a:gd name="connsiteX31712" fmla="*/ 3168761 w 4610101"/>
              <a:gd name="connsiteY31712" fmla="*/ 798964 h 6557032"/>
              <a:gd name="connsiteX31713" fmla="*/ 3172405 w 4610101"/>
              <a:gd name="connsiteY31713" fmla="*/ 798964 h 6557032"/>
              <a:gd name="connsiteX31714" fmla="*/ 3172405 w 4610101"/>
              <a:gd name="connsiteY31714" fmla="*/ 788031 h 6557032"/>
              <a:gd name="connsiteX31715" fmla="*/ 3179694 w 4610101"/>
              <a:gd name="connsiteY31715" fmla="*/ 789853 h 6557032"/>
              <a:gd name="connsiteX31716" fmla="*/ 3179694 w 4610101"/>
              <a:gd name="connsiteY31716" fmla="*/ 782564 h 6557032"/>
              <a:gd name="connsiteX31717" fmla="*/ 3186982 w 4610101"/>
              <a:gd name="connsiteY31717" fmla="*/ 788031 h 6557032"/>
              <a:gd name="connsiteX31718" fmla="*/ 3181516 w 4610101"/>
              <a:gd name="connsiteY31718" fmla="*/ 775275 h 6557032"/>
              <a:gd name="connsiteX31719" fmla="*/ 3177872 w 4610101"/>
              <a:gd name="connsiteY31719" fmla="*/ 782564 h 6557032"/>
              <a:gd name="connsiteX31720" fmla="*/ 3176050 w 4610101"/>
              <a:gd name="connsiteY31720" fmla="*/ 762520 h 6557032"/>
              <a:gd name="connsiteX31721" fmla="*/ 3185160 w 4610101"/>
              <a:gd name="connsiteY31721" fmla="*/ 764342 h 6557032"/>
              <a:gd name="connsiteX31722" fmla="*/ 3192449 w 4610101"/>
              <a:gd name="connsiteY31722" fmla="*/ 757054 h 6557032"/>
              <a:gd name="connsiteX31723" fmla="*/ 3190627 w 4610101"/>
              <a:gd name="connsiteY31723" fmla="*/ 755231 h 6557032"/>
              <a:gd name="connsiteX31724" fmla="*/ 3174227 w 4610101"/>
              <a:gd name="connsiteY31724" fmla="*/ 758876 h 6557032"/>
              <a:gd name="connsiteX31725" fmla="*/ 3194271 w 4610101"/>
              <a:gd name="connsiteY31725" fmla="*/ 751587 h 6557032"/>
              <a:gd name="connsiteX31726" fmla="*/ 3192449 w 4610101"/>
              <a:gd name="connsiteY31726" fmla="*/ 755231 h 6557032"/>
              <a:gd name="connsiteX31727" fmla="*/ 3199738 w 4610101"/>
              <a:gd name="connsiteY31727" fmla="*/ 742476 h 6557032"/>
              <a:gd name="connsiteX31728" fmla="*/ 3183338 w 4610101"/>
              <a:gd name="connsiteY31728" fmla="*/ 747943 h 6557032"/>
              <a:gd name="connsiteX31729" fmla="*/ 3185160 w 4610101"/>
              <a:gd name="connsiteY31729" fmla="*/ 740654 h 6557032"/>
              <a:gd name="connsiteX31730" fmla="*/ 3172405 w 4610101"/>
              <a:gd name="connsiteY31730" fmla="*/ 744298 h 6557032"/>
              <a:gd name="connsiteX31731" fmla="*/ 3170583 w 4610101"/>
              <a:gd name="connsiteY31731" fmla="*/ 738832 h 6557032"/>
              <a:gd name="connsiteX31732" fmla="*/ 3177872 w 4610101"/>
              <a:gd name="connsiteY31732" fmla="*/ 740654 h 6557032"/>
              <a:gd name="connsiteX31733" fmla="*/ 3177872 w 4610101"/>
              <a:gd name="connsiteY31733" fmla="*/ 727899 h 6557032"/>
              <a:gd name="connsiteX31734" fmla="*/ 3212493 w 4610101"/>
              <a:gd name="connsiteY31734" fmla="*/ 729721 h 6557032"/>
              <a:gd name="connsiteX31735" fmla="*/ 3214315 w 4610101"/>
              <a:gd name="connsiteY31735" fmla="*/ 718788 h 6557032"/>
              <a:gd name="connsiteX31736" fmla="*/ 3192449 w 4610101"/>
              <a:gd name="connsiteY31736" fmla="*/ 689633 h 6557032"/>
              <a:gd name="connsiteX31737" fmla="*/ 3177189 w 4610101"/>
              <a:gd name="connsiteY31737" fmla="*/ 685534 h 6557032"/>
              <a:gd name="connsiteX31738" fmla="*/ 3074008 w 4610101"/>
              <a:gd name="connsiteY31738" fmla="*/ 684167 h 6557032"/>
              <a:gd name="connsiteX31739" fmla="*/ 3072186 w 4610101"/>
              <a:gd name="connsiteY31739" fmla="*/ 689633 h 6557032"/>
              <a:gd name="connsiteX31740" fmla="*/ 3081297 w 4610101"/>
              <a:gd name="connsiteY31740" fmla="*/ 689633 h 6557032"/>
              <a:gd name="connsiteX31741" fmla="*/ 3074008 w 4610101"/>
              <a:gd name="connsiteY31741" fmla="*/ 684167 h 6557032"/>
              <a:gd name="connsiteX31742" fmla="*/ 1322899 w 4610101"/>
              <a:gd name="connsiteY31742" fmla="*/ 684167 h 6557032"/>
              <a:gd name="connsiteX31743" fmla="*/ 1317432 w 4610101"/>
              <a:gd name="connsiteY31743" fmla="*/ 689633 h 6557032"/>
              <a:gd name="connsiteX31744" fmla="*/ 1322899 w 4610101"/>
              <a:gd name="connsiteY31744" fmla="*/ 684167 h 6557032"/>
              <a:gd name="connsiteX31745" fmla="*/ 1315610 w 4610101"/>
              <a:gd name="connsiteY31745" fmla="*/ 684167 h 6557032"/>
              <a:gd name="connsiteX31746" fmla="*/ 1311966 w 4610101"/>
              <a:gd name="connsiteY31746" fmla="*/ 685989 h 6557032"/>
              <a:gd name="connsiteX31747" fmla="*/ 1313788 w 4610101"/>
              <a:gd name="connsiteY31747" fmla="*/ 689633 h 6557032"/>
              <a:gd name="connsiteX31748" fmla="*/ 1315610 w 4610101"/>
              <a:gd name="connsiteY31748" fmla="*/ 684167 h 6557032"/>
              <a:gd name="connsiteX31749" fmla="*/ 1264589 w 4610101"/>
              <a:gd name="connsiteY31749" fmla="*/ 684167 h 6557032"/>
              <a:gd name="connsiteX31750" fmla="*/ 1262767 w 4610101"/>
              <a:gd name="connsiteY31750" fmla="*/ 687811 h 6557032"/>
              <a:gd name="connsiteX31751" fmla="*/ 1264589 w 4610101"/>
              <a:gd name="connsiteY31751" fmla="*/ 684167 h 6557032"/>
              <a:gd name="connsiteX31752" fmla="*/ 1228146 w 4610101"/>
              <a:gd name="connsiteY31752" fmla="*/ 684167 h 6557032"/>
              <a:gd name="connsiteX31753" fmla="*/ 1228146 w 4610101"/>
              <a:gd name="connsiteY31753" fmla="*/ 687811 h 6557032"/>
              <a:gd name="connsiteX31754" fmla="*/ 1229969 w 4610101"/>
              <a:gd name="connsiteY31754" fmla="*/ 685989 h 6557032"/>
              <a:gd name="connsiteX31755" fmla="*/ 1228146 w 4610101"/>
              <a:gd name="connsiteY31755" fmla="*/ 684167 h 6557032"/>
              <a:gd name="connsiteX31756" fmla="*/ 1211747 w 4610101"/>
              <a:gd name="connsiteY31756" fmla="*/ 684167 h 6557032"/>
              <a:gd name="connsiteX31757" fmla="*/ 1204457 w 4610101"/>
              <a:gd name="connsiteY31757" fmla="*/ 689633 h 6557032"/>
              <a:gd name="connsiteX31758" fmla="*/ 1211747 w 4610101"/>
              <a:gd name="connsiteY31758" fmla="*/ 684167 h 6557032"/>
              <a:gd name="connsiteX31759" fmla="*/ 1102416 w 4610101"/>
              <a:gd name="connsiteY31759" fmla="*/ 684167 h 6557032"/>
              <a:gd name="connsiteX31760" fmla="*/ 1087838 w 4610101"/>
              <a:gd name="connsiteY31760" fmla="*/ 696922 h 6557032"/>
              <a:gd name="connsiteX31761" fmla="*/ 1102416 w 4610101"/>
              <a:gd name="connsiteY31761" fmla="*/ 684167 h 6557032"/>
              <a:gd name="connsiteX31762" fmla="*/ 1082373 w 4610101"/>
              <a:gd name="connsiteY31762" fmla="*/ 684167 h 6557032"/>
              <a:gd name="connsiteX31763" fmla="*/ 1075083 w 4610101"/>
              <a:gd name="connsiteY31763" fmla="*/ 689633 h 6557032"/>
              <a:gd name="connsiteX31764" fmla="*/ 1082373 w 4610101"/>
              <a:gd name="connsiteY31764" fmla="*/ 689633 h 6557032"/>
              <a:gd name="connsiteX31765" fmla="*/ 1082373 w 4610101"/>
              <a:gd name="connsiteY31765" fmla="*/ 684167 h 6557032"/>
              <a:gd name="connsiteX31766" fmla="*/ 1038639 w 4610101"/>
              <a:gd name="connsiteY31766" fmla="*/ 684167 h 6557032"/>
              <a:gd name="connsiteX31767" fmla="*/ 1033173 w 4610101"/>
              <a:gd name="connsiteY31767" fmla="*/ 691455 h 6557032"/>
              <a:gd name="connsiteX31768" fmla="*/ 1038639 w 4610101"/>
              <a:gd name="connsiteY31768" fmla="*/ 684167 h 6557032"/>
              <a:gd name="connsiteX31769" fmla="*/ 799935 w 4610101"/>
              <a:gd name="connsiteY31769" fmla="*/ 684167 h 6557032"/>
              <a:gd name="connsiteX31770" fmla="*/ 809046 w 4610101"/>
              <a:gd name="connsiteY31770" fmla="*/ 696922 h 6557032"/>
              <a:gd name="connsiteX31771" fmla="*/ 810868 w 4610101"/>
              <a:gd name="connsiteY31771" fmla="*/ 687811 h 6557032"/>
              <a:gd name="connsiteX31772" fmla="*/ 799935 w 4610101"/>
              <a:gd name="connsiteY31772" fmla="*/ 684167 h 6557032"/>
              <a:gd name="connsiteX31773" fmla="*/ 535719 w 4610101"/>
              <a:gd name="connsiteY31773" fmla="*/ 684167 h 6557032"/>
              <a:gd name="connsiteX31774" fmla="*/ 534922 w 4610101"/>
              <a:gd name="connsiteY31774" fmla="*/ 688950 h 6557032"/>
              <a:gd name="connsiteX31775" fmla="*/ 533897 w 4610101"/>
              <a:gd name="connsiteY31775" fmla="*/ 689633 h 6557032"/>
              <a:gd name="connsiteX31776" fmla="*/ 533897 w 4610101"/>
              <a:gd name="connsiteY31776" fmla="*/ 695100 h 6557032"/>
              <a:gd name="connsiteX31777" fmla="*/ 534922 w 4610101"/>
              <a:gd name="connsiteY31777" fmla="*/ 688950 h 6557032"/>
              <a:gd name="connsiteX31778" fmla="*/ 539364 w 4610101"/>
              <a:gd name="connsiteY31778" fmla="*/ 685989 h 6557032"/>
              <a:gd name="connsiteX31779" fmla="*/ 535719 w 4610101"/>
              <a:gd name="connsiteY31779" fmla="*/ 684167 h 6557032"/>
              <a:gd name="connsiteX31780" fmla="*/ 187684 w 4610101"/>
              <a:gd name="connsiteY31780" fmla="*/ 684167 h 6557032"/>
              <a:gd name="connsiteX31781" fmla="*/ 193151 w 4610101"/>
              <a:gd name="connsiteY31781" fmla="*/ 691455 h 6557032"/>
              <a:gd name="connsiteX31782" fmla="*/ 187684 w 4610101"/>
              <a:gd name="connsiteY31782" fmla="*/ 684167 h 6557032"/>
              <a:gd name="connsiteX31783" fmla="*/ 1446806 w 4610101"/>
              <a:gd name="connsiteY31783" fmla="*/ 682345 h 6557032"/>
              <a:gd name="connsiteX31784" fmla="*/ 1403074 w 4610101"/>
              <a:gd name="connsiteY31784" fmla="*/ 687811 h 6557032"/>
              <a:gd name="connsiteX31785" fmla="*/ 1393963 w 4610101"/>
              <a:gd name="connsiteY31785" fmla="*/ 695100 h 6557032"/>
              <a:gd name="connsiteX31786" fmla="*/ 1395787 w 4610101"/>
              <a:gd name="connsiteY31786" fmla="*/ 695100 h 6557032"/>
              <a:gd name="connsiteX31787" fmla="*/ 1372097 w 4610101"/>
              <a:gd name="connsiteY31787" fmla="*/ 700566 h 6557032"/>
              <a:gd name="connsiteX31788" fmla="*/ 1370908 w 4610101"/>
              <a:gd name="connsiteY31788" fmla="*/ 706509 h 6557032"/>
              <a:gd name="connsiteX31789" fmla="*/ 1344765 w 4610101"/>
              <a:gd name="connsiteY31789" fmla="*/ 716966 h 6557032"/>
              <a:gd name="connsiteX31790" fmla="*/ 1347982 w 4610101"/>
              <a:gd name="connsiteY31790" fmla="*/ 717218 h 6557032"/>
              <a:gd name="connsiteX31791" fmla="*/ 1342942 w 4610101"/>
              <a:gd name="connsiteY31791" fmla="*/ 716966 h 6557032"/>
              <a:gd name="connsiteX31792" fmla="*/ 1332008 w 4610101"/>
              <a:gd name="connsiteY31792" fmla="*/ 719153 h 6557032"/>
              <a:gd name="connsiteX31793" fmla="*/ 1324721 w 4610101"/>
              <a:gd name="connsiteY31793" fmla="*/ 720610 h 6557032"/>
              <a:gd name="connsiteX31794" fmla="*/ 1317432 w 4610101"/>
              <a:gd name="connsiteY31794" fmla="*/ 724254 h 6557032"/>
              <a:gd name="connsiteX31795" fmla="*/ 1322899 w 4610101"/>
              <a:gd name="connsiteY31795" fmla="*/ 727899 h 6557032"/>
              <a:gd name="connsiteX31796" fmla="*/ 1341120 w 4610101"/>
              <a:gd name="connsiteY31796" fmla="*/ 724254 h 6557032"/>
              <a:gd name="connsiteX31797" fmla="*/ 1342942 w 4610101"/>
              <a:gd name="connsiteY31797" fmla="*/ 727899 h 6557032"/>
              <a:gd name="connsiteX31798" fmla="*/ 1344765 w 4610101"/>
              <a:gd name="connsiteY31798" fmla="*/ 726077 h 6557032"/>
              <a:gd name="connsiteX31799" fmla="*/ 1362987 w 4610101"/>
              <a:gd name="connsiteY31799" fmla="*/ 726077 h 6557032"/>
              <a:gd name="connsiteX31800" fmla="*/ 1370275 w 4610101"/>
              <a:gd name="connsiteY31800" fmla="*/ 722432 h 6557032"/>
              <a:gd name="connsiteX31801" fmla="*/ 1368908 w 4610101"/>
              <a:gd name="connsiteY31801" fmla="*/ 719699 h 6557032"/>
              <a:gd name="connsiteX31802" fmla="*/ 1369725 w 4610101"/>
              <a:gd name="connsiteY31802" fmla="*/ 718066 h 6557032"/>
              <a:gd name="connsiteX31803" fmla="*/ 1376881 w 4610101"/>
              <a:gd name="connsiteY31803" fmla="*/ 714005 h 6557032"/>
              <a:gd name="connsiteX31804" fmla="*/ 1375743 w 4610101"/>
              <a:gd name="connsiteY31804" fmla="*/ 707855 h 6557032"/>
              <a:gd name="connsiteX31805" fmla="*/ 1381208 w 4610101"/>
              <a:gd name="connsiteY31805" fmla="*/ 711499 h 6557032"/>
              <a:gd name="connsiteX31806" fmla="*/ 1388497 w 4610101"/>
              <a:gd name="connsiteY31806" fmla="*/ 709677 h 6557032"/>
              <a:gd name="connsiteX31807" fmla="*/ 1390319 w 4610101"/>
              <a:gd name="connsiteY31807" fmla="*/ 713321 h 6557032"/>
              <a:gd name="connsiteX31808" fmla="*/ 1377564 w 4610101"/>
              <a:gd name="connsiteY31808" fmla="*/ 733365 h 6557032"/>
              <a:gd name="connsiteX31809" fmla="*/ 1379386 w 4610101"/>
              <a:gd name="connsiteY31809" fmla="*/ 731543 h 6557032"/>
              <a:gd name="connsiteX31810" fmla="*/ 1377564 w 4610101"/>
              <a:gd name="connsiteY31810" fmla="*/ 735188 h 6557032"/>
              <a:gd name="connsiteX31811" fmla="*/ 1392141 w 4610101"/>
              <a:gd name="connsiteY31811" fmla="*/ 735188 h 6557032"/>
              <a:gd name="connsiteX31812" fmla="*/ 1392141 w 4610101"/>
              <a:gd name="connsiteY31812" fmla="*/ 731543 h 6557032"/>
              <a:gd name="connsiteX31813" fmla="*/ 1399430 w 4610101"/>
              <a:gd name="connsiteY31813" fmla="*/ 731543 h 6557032"/>
              <a:gd name="connsiteX31814" fmla="*/ 1417652 w 4610101"/>
              <a:gd name="connsiteY31814" fmla="*/ 718788 h 6557032"/>
              <a:gd name="connsiteX31815" fmla="*/ 1412185 w 4610101"/>
              <a:gd name="connsiteY31815" fmla="*/ 707855 h 6557032"/>
              <a:gd name="connsiteX31816" fmla="*/ 1417652 w 4610101"/>
              <a:gd name="connsiteY31816" fmla="*/ 711499 h 6557032"/>
              <a:gd name="connsiteX31817" fmla="*/ 1419474 w 4610101"/>
              <a:gd name="connsiteY31817" fmla="*/ 704211 h 6557032"/>
              <a:gd name="connsiteX31818" fmla="*/ 1426763 w 4610101"/>
              <a:gd name="connsiteY31818" fmla="*/ 707855 h 6557032"/>
              <a:gd name="connsiteX31819" fmla="*/ 1426763 w 4610101"/>
              <a:gd name="connsiteY31819" fmla="*/ 711499 h 6557032"/>
              <a:gd name="connsiteX31820" fmla="*/ 1424940 w 4610101"/>
              <a:gd name="connsiteY31820" fmla="*/ 707855 h 6557032"/>
              <a:gd name="connsiteX31821" fmla="*/ 1421296 w 4610101"/>
              <a:gd name="connsiteY31821" fmla="*/ 720610 h 6557032"/>
              <a:gd name="connsiteX31822" fmla="*/ 1426763 w 4610101"/>
              <a:gd name="connsiteY31822" fmla="*/ 713321 h 6557032"/>
              <a:gd name="connsiteX31823" fmla="*/ 1432229 w 4610101"/>
              <a:gd name="connsiteY31823" fmla="*/ 713321 h 6557032"/>
              <a:gd name="connsiteX31824" fmla="*/ 1421296 w 4610101"/>
              <a:gd name="connsiteY31824" fmla="*/ 722432 h 6557032"/>
              <a:gd name="connsiteX31825" fmla="*/ 1406719 w 4610101"/>
              <a:gd name="connsiteY31825" fmla="*/ 737010 h 6557032"/>
              <a:gd name="connsiteX31826" fmla="*/ 1421296 w 4610101"/>
              <a:gd name="connsiteY31826" fmla="*/ 722432 h 6557032"/>
              <a:gd name="connsiteX31827" fmla="*/ 1423118 w 4610101"/>
              <a:gd name="connsiteY31827" fmla="*/ 727899 h 6557032"/>
              <a:gd name="connsiteX31828" fmla="*/ 1437696 w 4610101"/>
              <a:gd name="connsiteY31828" fmla="*/ 707855 h 6557032"/>
              <a:gd name="connsiteX31829" fmla="*/ 1439518 w 4610101"/>
              <a:gd name="connsiteY31829" fmla="*/ 691455 h 6557032"/>
              <a:gd name="connsiteX31830" fmla="*/ 1444984 w 4610101"/>
              <a:gd name="connsiteY31830" fmla="*/ 700566 h 6557032"/>
              <a:gd name="connsiteX31831" fmla="*/ 1446806 w 4610101"/>
              <a:gd name="connsiteY31831" fmla="*/ 682345 h 6557032"/>
              <a:gd name="connsiteX31832" fmla="*/ 1406719 w 4610101"/>
              <a:gd name="connsiteY31832" fmla="*/ 682345 h 6557032"/>
              <a:gd name="connsiteX31833" fmla="*/ 1388497 w 4610101"/>
              <a:gd name="connsiteY31833" fmla="*/ 695100 h 6557032"/>
              <a:gd name="connsiteX31834" fmla="*/ 1406719 w 4610101"/>
              <a:gd name="connsiteY31834" fmla="*/ 682345 h 6557032"/>
              <a:gd name="connsiteX31835" fmla="*/ 1377564 w 4610101"/>
              <a:gd name="connsiteY31835" fmla="*/ 682345 h 6557032"/>
              <a:gd name="connsiteX31836" fmla="*/ 1370275 w 4610101"/>
              <a:gd name="connsiteY31836" fmla="*/ 684167 h 6557032"/>
              <a:gd name="connsiteX31837" fmla="*/ 1377564 w 4610101"/>
              <a:gd name="connsiteY31837" fmla="*/ 682345 h 6557032"/>
              <a:gd name="connsiteX31838" fmla="*/ 1293744 w 4610101"/>
              <a:gd name="connsiteY31838" fmla="*/ 682345 h 6557032"/>
              <a:gd name="connsiteX31839" fmla="*/ 1290100 w 4610101"/>
              <a:gd name="connsiteY31839" fmla="*/ 684167 h 6557032"/>
              <a:gd name="connsiteX31840" fmla="*/ 1290100 w 4610101"/>
              <a:gd name="connsiteY31840" fmla="*/ 689633 h 6557032"/>
              <a:gd name="connsiteX31841" fmla="*/ 1293744 w 4610101"/>
              <a:gd name="connsiteY31841" fmla="*/ 682345 h 6557032"/>
              <a:gd name="connsiteX31842" fmla="*/ 1248189 w 4610101"/>
              <a:gd name="connsiteY31842" fmla="*/ 682345 h 6557032"/>
              <a:gd name="connsiteX31843" fmla="*/ 1244545 w 4610101"/>
              <a:gd name="connsiteY31843" fmla="*/ 685989 h 6557032"/>
              <a:gd name="connsiteX31844" fmla="*/ 1248189 w 4610101"/>
              <a:gd name="connsiteY31844" fmla="*/ 682345 h 6557032"/>
              <a:gd name="connsiteX31845" fmla="*/ 1106060 w 4610101"/>
              <a:gd name="connsiteY31845" fmla="*/ 682345 h 6557032"/>
              <a:gd name="connsiteX31846" fmla="*/ 1100593 w 4610101"/>
              <a:gd name="connsiteY31846" fmla="*/ 689633 h 6557032"/>
              <a:gd name="connsiteX31847" fmla="*/ 1106060 w 4610101"/>
              <a:gd name="connsiteY31847" fmla="*/ 682345 h 6557032"/>
              <a:gd name="connsiteX31848" fmla="*/ 1069616 w 4610101"/>
              <a:gd name="connsiteY31848" fmla="*/ 682345 h 6557032"/>
              <a:gd name="connsiteX31849" fmla="*/ 1064151 w 4610101"/>
              <a:gd name="connsiteY31849" fmla="*/ 687811 h 6557032"/>
              <a:gd name="connsiteX31850" fmla="*/ 1069616 w 4610101"/>
              <a:gd name="connsiteY31850" fmla="*/ 682345 h 6557032"/>
              <a:gd name="connsiteX31851" fmla="*/ 1000374 w 4610101"/>
              <a:gd name="connsiteY31851" fmla="*/ 682345 h 6557032"/>
              <a:gd name="connsiteX31852" fmla="*/ 1000374 w 4610101"/>
              <a:gd name="connsiteY31852" fmla="*/ 685989 h 6557032"/>
              <a:gd name="connsiteX31853" fmla="*/ 999332 w 4610101"/>
              <a:gd name="connsiteY31853" fmla="*/ 683907 h 6557032"/>
              <a:gd name="connsiteX31854" fmla="*/ 967575 w 4610101"/>
              <a:gd name="connsiteY31854" fmla="*/ 682345 h 6557032"/>
              <a:gd name="connsiteX31855" fmla="*/ 955730 w 4610101"/>
              <a:gd name="connsiteY31855" fmla="*/ 682573 h 6557032"/>
              <a:gd name="connsiteX31856" fmla="*/ 955150 w 4610101"/>
              <a:gd name="connsiteY31856" fmla="*/ 690556 h 6557032"/>
              <a:gd name="connsiteX31857" fmla="*/ 952997 w 4610101"/>
              <a:gd name="connsiteY31857" fmla="*/ 689633 h 6557032"/>
              <a:gd name="connsiteX31858" fmla="*/ 955139 w 4610101"/>
              <a:gd name="connsiteY31858" fmla="*/ 690705 h 6557032"/>
              <a:gd name="connsiteX31859" fmla="*/ 954819 w 4610101"/>
              <a:gd name="connsiteY31859" fmla="*/ 695100 h 6557032"/>
              <a:gd name="connsiteX31860" fmla="*/ 963930 w 4610101"/>
              <a:gd name="connsiteY31860" fmla="*/ 695100 h 6557032"/>
              <a:gd name="connsiteX31861" fmla="*/ 955139 w 4610101"/>
              <a:gd name="connsiteY31861" fmla="*/ 690705 h 6557032"/>
              <a:gd name="connsiteX31862" fmla="*/ 955150 w 4610101"/>
              <a:gd name="connsiteY31862" fmla="*/ 690556 h 6557032"/>
              <a:gd name="connsiteX31863" fmla="*/ 965753 w 4610101"/>
              <a:gd name="connsiteY31863" fmla="*/ 695100 h 6557032"/>
              <a:gd name="connsiteX31864" fmla="*/ 965753 w 4610101"/>
              <a:gd name="connsiteY31864" fmla="*/ 685989 h 6557032"/>
              <a:gd name="connsiteX31865" fmla="*/ 967575 w 4610101"/>
              <a:gd name="connsiteY31865" fmla="*/ 689633 h 6557032"/>
              <a:gd name="connsiteX31866" fmla="*/ 967575 w 4610101"/>
              <a:gd name="connsiteY31866" fmla="*/ 682345 h 6557032"/>
              <a:gd name="connsiteX31867" fmla="*/ 892866 w 4610101"/>
              <a:gd name="connsiteY31867" fmla="*/ 682345 h 6557032"/>
              <a:gd name="connsiteX31868" fmla="*/ 887399 w 4610101"/>
              <a:gd name="connsiteY31868" fmla="*/ 687811 h 6557032"/>
              <a:gd name="connsiteX31869" fmla="*/ 891043 w 4610101"/>
              <a:gd name="connsiteY31869" fmla="*/ 689633 h 6557032"/>
              <a:gd name="connsiteX31870" fmla="*/ 892866 w 4610101"/>
              <a:gd name="connsiteY31870" fmla="*/ 682345 h 6557032"/>
              <a:gd name="connsiteX31871" fmla="*/ 863711 w 4610101"/>
              <a:gd name="connsiteY31871" fmla="*/ 682345 h 6557032"/>
              <a:gd name="connsiteX31872" fmla="*/ 858244 w 4610101"/>
              <a:gd name="connsiteY31872" fmla="*/ 685989 h 6557032"/>
              <a:gd name="connsiteX31873" fmla="*/ 861889 w 4610101"/>
              <a:gd name="connsiteY31873" fmla="*/ 689633 h 6557032"/>
              <a:gd name="connsiteX31874" fmla="*/ 865533 w 4610101"/>
              <a:gd name="connsiteY31874" fmla="*/ 685989 h 6557032"/>
              <a:gd name="connsiteX31875" fmla="*/ 863711 w 4610101"/>
              <a:gd name="connsiteY31875" fmla="*/ 682345 h 6557032"/>
              <a:gd name="connsiteX31876" fmla="*/ 697893 w 4610101"/>
              <a:gd name="connsiteY31876" fmla="*/ 682345 h 6557032"/>
              <a:gd name="connsiteX31877" fmla="*/ 699715 w 4610101"/>
              <a:gd name="connsiteY31877" fmla="*/ 695100 h 6557032"/>
              <a:gd name="connsiteX31878" fmla="*/ 710648 w 4610101"/>
              <a:gd name="connsiteY31878" fmla="*/ 684167 h 6557032"/>
              <a:gd name="connsiteX31879" fmla="*/ 697893 w 4610101"/>
              <a:gd name="connsiteY31879" fmla="*/ 682345 h 6557032"/>
              <a:gd name="connsiteX31880" fmla="*/ 977633 w 4610101"/>
              <a:gd name="connsiteY31880" fmla="*/ 680547 h 6557032"/>
              <a:gd name="connsiteX31881" fmla="*/ 982184 w 4610101"/>
              <a:gd name="connsiteY31881" fmla="*/ 680667 h 6557032"/>
              <a:gd name="connsiteX31882" fmla="*/ 980330 w 4610101"/>
              <a:gd name="connsiteY31882" fmla="*/ 682345 h 6557032"/>
              <a:gd name="connsiteX31883" fmla="*/ 1310143 w 4610101"/>
              <a:gd name="connsiteY31883" fmla="*/ 680522 h 6557032"/>
              <a:gd name="connsiteX31884" fmla="*/ 1304677 w 4610101"/>
              <a:gd name="connsiteY31884" fmla="*/ 685989 h 6557032"/>
              <a:gd name="connsiteX31885" fmla="*/ 1310143 w 4610101"/>
              <a:gd name="connsiteY31885" fmla="*/ 680522 h 6557032"/>
              <a:gd name="connsiteX31886" fmla="*/ 1286455 w 4610101"/>
              <a:gd name="connsiteY31886" fmla="*/ 680522 h 6557032"/>
              <a:gd name="connsiteX31887" fmla="*/ 1275522 w 4610101"/>
              <a:gd name="connsiteY31887" fmla="*/ 683712 h 6557032"/>
              <a:gd name="connsiteX31888" fmla="*/ 1269931 w 4610101"/>
              <a:gd name="connsiteY31888" fmla="*/ 686740 h 6557032"/>
              <a:gd name="connsiteX31889" fmla="*/ 1270056 w 4610101"/>
              <a:gd name="connsiteY31889" fmla="*/ 685989 h 6557032"/>
              <a:gd name="connsiteX31890" fmla="*/ 1264589 w 4610101"/>
              <a:gd name="connsiteY31890" fmla="*/ 689633 h 6557032"/>
              <a:gd name="connsiteX31891" fmla="*/ 1269931 w 4610101"/>
              <a:gd name="connsiteY31891" fmla="*/ 686740 h 6557032"/>
              <a:gd name="connsiteX31892" fmla="*/ 1269144 w 4610101"/>
              <a:gd name="connsiteY31892" fmla="*/ 691456 h 6557032"/>
              <a:gd name="connsiteX31893" fmla="*/ 1268233 w 4610101"/>
              <a:gd name="connsiteY31893" fmla="*/ 696922 h 6557032"/>
              <a:gd name="connsiteX31894" fmla="*/ 1286455 w 4610101"/>
              <a:gd name="connsiteY31894" fmla="*/ 680522 h 6557032"/>
              <a:gd name="connsiteX31895" fmla="*/ 1186236 w 4610101"/>
              <a:gd name="connsiteY31895" fmla="*/ 680522 h 6557032"/>
              <a:gd name="connsiteX31896" fmla="*/ 1177125 w 4610101"/>
              <a:gd name="connsiteY31896" fmla="*/ 689633 h 6557032"/>
              <a:gd name="connsiteX31897" fmla="*/ 1184414 w 4610101"/>
              <a:gd name="connsiteY31897" fmla="*/ 682345 h 6557032"/>
              <a:gd name="connsiteX31898" fmla="*/ 1180769 w 4610101"/>
              <a:gd name="connsiteY31898" fmla="*/ 687811 h 6557032"/>
              <a:gd name="connsiteX31899" fmla="*/ 1188058 w 4610101"/>
              <a:gd name="connsiteY31899" fmla="*/ 685989 h 6557032"/>
              <a:gd name="connsiteX31900" fmla="*/ 1186236 w 4610101"/>
              <a:gd name="connsiteY31900" fmla="*/ 680522 h 6557032"/>
              <a:gd name="connsiteX31901" fmla="*/ 1140681 w 4610101"/>
              <a:gd name="connsiteY31901" fmla="*/ 680522 h 6557032"/>
              <a:gd name="connsiteX31902" fmla="*/ 1133393 w 4610101"/>
              <a:gd name="connsiteY31902" fmla="*/ 684167 h 6557032"/>
              <a:gd name="connsiteX31903" fmla="*/ 1135215 w 4610101"/>
              <a:gd name="connsiteY31903" fmla="*/ 687811 h 6557032"/>
              <a:gd name="connsiteX31904" fmla="*/ 1140681 w 4610101"/>
              <a:gd name="connsiteY31904" fmla="*/ 680522 h 6557032"/>
              <a:gd name="connsiteX31905" fmla="*/ 1018596 w 4610101"/>
              <a:gd name="connsiteY31905" fmla="*/ 680522 h 6557032"/>
              <a:gd name="connsiteX31906" fmla="*/ 1005840 w 4610101"/>
              <a:gd name="connsiteY31906" fmla="*/ 691455 h 6557032"/>
              <a:gd name="connsiteX31907" fmla="*/ 1018596 w 4610101"/>
              <a:gd name="connsiteY31907" fmla="*/ 680522 h 6557032"/>
              <a:gd name="connsiteX31908" fmla="*/ 1005840 w 4610101"/>
              <a:gd name="connsiteY31908" fmla="*/ 680522 h 6557032"/>
              <a:gd name="connsiteX31909" fmla="*/ 1005785 w 4610101"/>
              <a:gd name="connsiteY31909" fmla="*/ 680742 h 6557032"/>
              <a:gd name="connsiteX31910" fmla="*/ 1005203 w 4610101"/>
              <a:gd name="connsiteY31910" fmla="*/ 681307 h 6557032"/>
              <a:gd name="connsiteX31911" fmla="*/ 993085 w 4610101"/>
              <a:gd name="connsiteY31911" fmla="*/ 680522 h 6557032"/>
              <a:gd name="connsiteX31912" fmla="*/ 996729 w 4610101"/>
              <a:gd name="connsiteY31912" fmla="*/ 684167 h 6557032"/>
              <a:gd name="connsiteX31913" fmla="*/ 993085 w 4610101"/>
              <a:gd name="connsiteY31913" fmla="*/ 680522 h 6557032"/>
              <a:gd name="connsiteX31914" fmla="*/ 936598 w 4610101"/>
              <a:gd name="connsiteY31914" fmla="*/ 680522 h 6557032"/>
              <a:gd name="connsiteX31915" fmla="*/ 937509 w 4610101"/>
              <a:gd name="connsiteY31915" fmla="*/ 684167 h 6557032"/>
              <a:gd name="connsiteX31916" fmla="*/ 937053 w 4610101"/>
              <a:gd name="connsiteY31916" fmla="*/ 685078 h 6557032"/>
              <a:gd name="connsiteX31917" fmla="*/ 938420 w 4610101"/>
              <a:gd name="connsiteY31917" fmla="*/ 687811 h 6557032"/>
              <a:gd name="connsiteX31918" fmla="*/ 937509 w 4610101"/>
              <a:gd name="connsiteY31918" fmla="*/ 684167 h 6557032"/>
              <a:gd name="connsiteX31919" fmla="*/ 938420 w 4610101"/>
              <a:gd name="connsiteY31919" fmla="*/ 682345 h 6557032"/>
              <a:gd name="connsiteX31920" fmla="*/ 936598 w 4610101"/>
              <a:gd name="connsiteY31920" fmla="*/ 680522 h 6557032"/>
              <a:gd name="connsiteX31921" fmla="*/ 615895 w 4610101"/>
              <a:gd name="connsiteY31921" fmla="*/ 680522 h 6557032"/>
              <a:gd name="connsiteX31922" fmla="*/ 599496 w 4610101"/>
              <a:gd name="connsiteY31922" fmla="*/ 704211 h 6557032"/>
              <a:gd name="connsiteX31923" fmla="*/ 608606 w 4610101"/>
              <a:gd name="connsiteY31923" fmla="*/ 687811 h 6557032"/>
              <a:gd name="connsiteX31924" fmla="*/ 615895 w 4610101"/>
              <a:gd name="connsiteY31924" fmla="*/ 680522 h 6557032"/>
              <a:gd name="connsiteX31925" fmla="*/ 499276 w 4610101"/>
              <a:gd name="connsiteY31925" fmla="*/ 680522 h 6557032"/>
              <a:gd name="connsiteX31926" fmla="*/ 499276 w 4610101"/>
              <a:gd name="connsiteY31926" fmla="*/ 687811 h 6557032"/>
              <a:gd name="connsiteX31927" fmla="*/ 499276 w 4610101"/>
              <a:gd name="connsiteY31927" fmla="*/ 680522 h 6557032"/>
              <a:gd name="connsiteX31928" fmla="*/ 433678 w 4610101"/>
              <a:gd name="connsiteY31928" fmla="*/ 680522 h 6557032"/>
              <a:gd name="connsiteX31929" fmla="*/ 428211 w 4610101"/>
              <a:gd name="connsiteY31929" fmla="*/ 687811 h 6557032"/>
              <a:gd name="connsiteX31930" fmla="*/ 439145 w 4610101"/>
              <a:gd name="connsiteY31930" fmla="*/ 695100 h 6557032"/>
              <a:gd name="connsiteX31931" fmla="*/ 440216 w 4610101"/>
              <a:gd name="connsiteY31931" fmla="*/ 692528 h 6557032"/>
              <a:gd name="connsiteX31932" fmla="*/ 440966 w 4610101"/>
              <a:gd name="connsiteY31932" fmla="*/ 693278 h 6557032"/>
              <a:gd name="connsiteX31933" fmla="*/ 444611 w 4610101"/>
              <a:gd name="connsiteY31933" fmla="*/ 696922 h 6557032"/>
              <a:gd name="connsiteX31934" fmla="*/ 439145 w 4610101"/>
              <a:gd name="connsiteY31934" fmla="*/ 684167 h 6557032"/>
              <a:gd name="connsiteX31935" fmla="*/ 433678 w 4610101"/>
              <a:gd name="connsiteY31935" fmla="*/ 680522 h 6557032"/>
              <a:gd name="connsiteX31936" fmla="*/ 386301 w 4610101"/>
              <a:gd name="connsiteY31936" fmla="*/ 680522 h 6557032"/>
              <a:gd name="connsiteX31937" fmla="*/ 389946 w 4610101"/>
              <a:gd name="connsiteY31937" fmla="*/ 685989 h 6557032"/>
              <a:gd name="connsiteX31938" fmla="*/ 386301 w 4610101"/>
              <a:gd name="connsiteY31938" fmla="*/ 680522 h 6557032"/>
              <a:gd name="connsiteX31939" fmla="*/ 327993 w 4610101"/>
              <a:gd name="connsiteY31939" fmla="*/ 680522 h 6557032"/>
              <a:gd name="connsiteX31940" fmla="*/ 342569 w 4610101"/>
              <a:gd name="connsiteY31940" fmla="*/ 693278 h 6557032"/>
              <a:gd name="connsiteX31941" fmla="*/ 327993 w 4610101"/>
              <a:gd name="connsiteY31941" fmla="*/ 680522 h 6557032"/>
              <a:gd name="connsiteX31942" fmla="*/ 218661 w 4610101"/>
              <a:gd name="connsiteY31942" fmla="*/ 680522 h 6557032"/>
              <a:gd name="connsiteX31943" fmla="*/ 229594 w 4610101"/>
              <a:gd name="connsiteY31943" fmla="*/ 695100 h 6557032"/>
              <a:gd name="connsiteX31944" fmla="*/ 227435 w 4610101"/>
              <a:gd name="connsiteY31944" fmla="*/ 687541 h 6557032"/>
              <a:gd name="connsiteX31945" fmla="*/ 227772 w 4610101"/>
              <a:gd name="connsiteY31945" fmla="*/ 687811 h 6557032"/>
              <a:gd name="connsiteX31946" fmla="*/ 227100 w 4610101"/>
              <a:gd name="connsiteY31946" fmla="*/ 686372 h 6557032"/>
              <a:gd name="connsiteX31947" fmla="*/ 225950 w 4610101"/>
              <a:gd name="connsiteY31947" fmla="*/ 682345 h 6557032"/>
              <a:gd name="connsiteX31948" fmla="*/ 226178 w 4610101"/>
              <a:gd name="connsiteY31948" fmla="*/ 684395 h 6557032"/>
              <a:gd name="connsiteX31949" fmla="*/ 227100 w 4610101"/>
              <a:gd name="connsiteY31949" fmla="*/ 686372 h 6557032"/>
              <a:gd name="connsiteX31950" fmla="*/ 227435 w 4610101"/>
              <a:gd name="connsiteY31950" fmla="*/ 687541 h 6557032"/>
              <a:gd name="connsiteX31951" fmla="*/ 189506 w 4610101"/>
              <a:gd name="connsiteY31951" fmla="*/ 680522 h 6557032"/>
              <a:gd name="connsiteX31952" fmla="*/ 205906 w 4610101"/>
              <a:gd name="connsiteY31952" fmla="*/ 700566 h 6557032"/>
              <a:gd name="connsiteX31953" fmla="*/ 205906 w 4610101"/>
              <a:gd name="connsiteY31953" fmla="*/ 693278 h 6557032"/>
              <a:gd name="connsiteX31954" fmla="*/ 189506 w 4610101"/>
              <a:gd name="connsiteY31954" fmla="*/ 680522 h 6557032"/>
              <a:gd name="connsiteX31955" fmla="*/ 169462 w 4610101"/>
              <a:gd name="connsiteY31955" fmla="*/ 680522 h 6557032"/>
              <a:gd name="connsiteX31956" fmla="*/ 173107 w 4610101"/>
              <a:gd name="connsiteY31956" fmla="*/ 687811 h 6557032"/>
              <a:gd name="connsiteX31957" fmla="*/ 173107 w 4610101"/>
              <a:gd name="connsiteY31957" fmla="*/ 685989 h 6557032"/>
              <a:gd name="connsiteX31958" fmla="*/ 174929 w 4610101"/>
              <a:gd name="connsiteY31958" fmla="*/ 693278 h 6557032"/>
              <a:gd name="connsiteX31959" fmla="*/ 169462 w 4610101"/>
              <a:gd name="connsiteY31959" fmla="*/ 680522 h 6557032"/>
              <a:gd name="connsiteX31960" fmla="*/ 976640 w 4610101"/>
              <a:gd name="connsiteY31960" fmla="*/ 679886 h 6557032"/>
              <a:gd name="connsiteX31961" fmla="*/ 977633 w 4610101"/>
              <a:gd name="connsiteY31961" fmla="*/ 680547 h 6557032"/>
              <a:gd name="connsiteX31962" fmla="*/ 976686 w 4610101"/>
              <a:gd name="connsiteY31962" fmla="*/ 680522 h 6557032"/>
              <a:gd name="connsiteX31963" fmla="*/ 2920945 w 4610101"/>
              <a:gd name="connsiteY31963" fmla="*/ 678700 h 6557032"/>
              <a:gd name="connsiteX31964" fmla="*/ 2924590 w 4610101"/>
              <a:gd name="connsiteY31964" fmla="*/ 685989 h 6557032"/>
              <a:gd name="connsiteX31965" fmla="*/ 2930056 w 4610101"/>
              <a:gd name="connsiteY31965" fmla="*/ 680522 h 6557032"/>
              <a:gd name="connsiteX31966" fmla="*/ 2920945 w 4610101"/>
              <a:gd name="connsiteY31966" fmla="*/ 678700 h 6557032"/>
              <a:gd name="connsiteX31967" fmla="*/ 2835303 w 4610101"/>
              <a:gd name="connsiteY31967" fmla="*/ 678700 h 6557032"/>
              <a:gd name="connsiteX31968" fmla="*/ 2835303 w 4610101"/>
              <a:gd name="connsiteY31968" fmla="*/ 693278 h 6557032"/>
              <a:gd name="connsiteX31969" fmla="*/ 2842592 w 4610101"/>
              <a:gd name="connsiteY31969" fmla="*/ 687811 h 6557032"/>
              <a:gd name="connsiteX31970" fmla="*/ 2835303 w 4610101"/>
              <a:gd name="connsiteY31970" fmla="*/ 678700 h 6557032"/>
              <a:gd name="connsiteX31971" fmla="*/ 1448629 w 4610101"/>
              <a:gd name="connsiteY31971" fmla="*/ 678700 h 6557032"/>
              <a:gd name="connsiteX31972" fmla="*/ 1444984 w 4610101"/>
              <a:gd name="connsiteY31972" fmla="*/ 680522 h 6557032"/>
              <a:gd name="connsiteX31973" fmla="*/ 1450451 w 4610101"/>
              <a:gd name="connsiteY31973" fmla="*/ 680522 h 6557032"/>
              <a:gd name="connsiteX31974" fmla="*/ 1448629 w 4610101"/>
              <a:gd name="connsiteY31974" fmla="*/ 678700 h 6557032"/>
              <a:gd name="connsiteX31975" fmla="*/ 1403074 w 4610101"/>
              <a:gd name="connsiteY31975" fmla="*/ 678700 h 6557032"/>
              <a:gd name="connsiteX31976" fmla="*/ 1384854 w 4610101"/>
              <a:gd name="connsiteY31976" fmla="*/ 691455 h 6557032"/>
              <a:gd name="connsiteX31977" fmla="*/ 1403074 w 4610101"/>
              <a:gd name="connsiteY31977" fmla="*/ 678700 h 6557032"/>
              <a:gd name="connsiteX31978" fmla="*/ 1362987 w 4610101"/>
              <a:gd name="connsiteY31978" fmla="*/ 678700 h 6557032"/>
              <a:gd name="connsiteX31979" fmla="*/ 1350231 w 4610101"/>
              <a:gd name="connsiteY31979" fmla="*/ 685989 h 6557032"/>
              <a:gd name="connsiteX31980" fmla="*/ 1362987 w 4610101"/>
              <a:gd name="connsiteY31980" fmla="*/ 678700 h 6557032"/>
              <a:gd name="connsiteX31981" fmla="*/ 1178947 w 4610101"/>
              <a:gd name="connsiteY31981" fmla="*/ 678700 h 6557032"/>
              <a:gd name="connsiteX31982" fmla="*/ 1171658 w 4610101"/>
              <a:gd name="connsiteY31982" fmla="*/ 682345 h 6557032"/>
              <a:gd name="connsiteX31983" fmla="*/ 1178947 w 4610101"/>
              <a:gd name="connsiteY31983" fmla="*/ 678700 h 6557032"/>
              <a:gd name="connsiteX31984" fmla="*/ 1038639 w 4610101"/>
              <a:gd name="connsiteY31984" fmla="*/ 678700 h 6557032"/>
              <a:gd name="connsiteX31985" fmla="*/ 1034995 w 4610101"/>
              <a:gd name="connsiteY31985" fmla="*/ 682345 h 6557032"/>
              <a:gd name="connsiteX31986" fmla="*/ 1038639 w 4610101"/>
              <a:gd name="connsiteY31986" fmla="*/ 678700 h 6557032"/>
              <a:gd name="connsiteX31987" fmla="*/ 829089 w 4610101"/>
              <a:gd name="connsiteY31987" fmla="*/ 678700 h 6557032"/>
              <a:gd name="connsiteX31988" fmla="*/ 830912 w 4610101"/>
              <a:gd name="connsiteY31988" fmla="*/ 684167 h 6557032"/>
              <a:gd name="connsiteX31989" fmla="*/ 834556 w 4610101"/>
              <a:gd name="connsiteY31989" fmla="*/ 678700 h 6557032"/>
              <a:gd name="connsiteX31990" fmla="*/ 829089 w 4610101"/>
              <a:gd name="connsiteY31990" fmla="*/ 678700 h 6557032"/>
              <a:gd name="connsiteX31991" fmla="*/ 681493 w 4610101"/>
              <a:gd name="connsiteY31991" fmla="*/ 678700 h 6557032"/>
              <a:gd name="connsiteX31992" fmla="*/ 688782 w 4610101"/>
              <a:gd name="connsiteY31992" fmla="*/ 689633 h 6557032"/>
              <a:gd name="connsiteX31993" fmla="*/ 690604 w 4610101"/>
              <a:gd name="connsiteY31993" fmla="*/ 682345 h 6557032"/>
              <a:gd name="connsiteX31994" fmla="*/ 681493 w 4610101"/>
              <a:gd name="connsiteY31994" fmla="*/ 678700 h 6557032"/>
              <a:gd name="connsiteX31995" fmla="*/ 573985 w 4610101"/>
              <a:gd name="connsiteY31995" fmla="*/ 678700 h 6557032"/>
              <a:gd name="connsiteX31996" fmla="*/ 579452 w 4610101"/>
              <a:gd name="connsiteY31996" fmla="*/ 695100 h 6557032"/>
              <a:gd name="connsiteX31997" fmla="*/ 573985 w 4610101"/>
              <a:gd name="connsiteY31997" fmla="*/ 678700 h 6557032"/>
              <a:gd name="connsiteX31998" fmla="*/ 512031 w 4610101"/>
              <a:gd name="connsiteY31998" fmla="*/ 678700 h 6557032"/>
              <a:gd name="connsiteX31999" fmla="*/ 519320 w 4610101"/>
              <a:gd name="connsiteY31999" fmla="*/ 693278 h 6557032"/>
              <a:gd name="connsiteX32000" fmla="*/ 521142 w 4610101"/>
              <a:gd name="connsiteY32000" fmla="*/ 687811 h 6557032"/>
              <a:gd name="connsiteX32001" fmla="*/ 512031 w 4610101"/>
              <a:gd name="connsiteY32001" fmla="*/ 678700 h 6557032"/>
              <a:gd name="connsiteX32002" fmla="*/ 470121 w 4610101"/>
              <a:gd name="connsiteY32002" fmla="*/ 678700 h 6557032"/>
              <a:gd name="connsiteX32003" fmla="*/ 471943 w 4610101"/>
              <a:gd name="connsiteY32003" fmla="*/ 687811 h 6557032"/>
              <a:gd name="connsiteX32004" fmla="*/ 475589 w 4610101"/>
              <a:gd name="connsiteY32004" fmla="*/ 685989 h 6557032"/>
              <a:gd name="connsiteX32005" fmla="*/ 470121 w 4610101"/>
              <a:gd name="connsiteY32005" fmla="*/ 678700 h 6557032"/>
              <a:gd name="connsiteX32006" fmla="*/ 415456 w 4610101"/>
              <a:gd name="connsiteY32006" fmla="*/ 678700 h 6557032"/>
              <a:gd name="connsiteX32007" fmla="*/ 420923 w 4610101"/>
              <a:gd name="connsiteY32007" fmla="*/ 678700 h 6557032"/>
              <a:gd name="connsiteX32008" fmla="*/ 415456 w 4610101"/>
              <a:gd name="connsiteY32008" fmla="*/ 678700 h 6557032"/>
              <a:gd name="connsiteX32009" fmla="*/ 355324 w 4610101"/>
              <a:gd name="connsiteY32009" fmla="*/ 678700 h 6557032"/>
              <a:gd name="connsiteX32010" fmla="*/ 366257 w 4610101"/>
              <a:gd name="connsiteY32010" fmla="*/ 689633 h 6557032"/>
              <a:gd name="connsiteX32011" fmla="*/ 355324 w 4610101"/>
              <a:gd name="connsiteY32011" fmla="*/ 678700 h 6557032"/>
              <a:gd name="connsiteX32012" fmla="*/ 976550 w 4610101"/>
              <a:gd name="connsiteY32012" fmla="*/ 678627 h 6557032"/>
              <a:gd name="connsiteX32013" fmla="*/ 976640 w 4610101"/>
              <a:gd name="connsiteY32013" fmla="*/ 679886 h 6557032"/>
              <a:gd name="connsiteX32014" fmla="*/ 974863 w 4610101"/>
              <a:gd name="connsiteY32014" fmla="*/ 678700 h 6557032"/>
              <a:gd name="connsiteX32015" fmla="*/ 3663026 w 4610101"/>
              <a:gd name="connsiteY32015" fmla="*/ 678473 h 6557032"/>
              <a:gd name="connsiteX32016" fmla="*/ 3677147 w 4610101"/>
              <a:gd name="connsiteY32016" fmla="*/ 685989 h 6557032"/>
              <a:gd name="connsiteX32017" fmla="*/ 3669775 w 4610101"/>
              <a:gd name="connsiteY32017" fmla="*/ 686954 h 6557032"/>
              <a:gd name="connsiteX32018" fmla="*/ 3669859 w 4610101"/>
              <a:gd name="connsiteY32018" fmla="*/ 684167 h 6557032"/>
              <a:gd name="connsiteX32019" fmla="*/ 3655044 w 4610101"/>
              <a:gd name="connsiteY32019" fmla="*/ 679443 h 6557032"/>
              <a:gd name="connsiteX32020" fmla="*/ 739803 w 4610101"/>
              <a:gd name="connsiteY32020" fmla="*/ 678245 h 6557032"/>
              <a:gd name="connsiteX32021" fmla="*/ 717937 w 4610101"/>
              <a:gd name="connsiteY32021" fmla="*/ 687811 h 6557032"/>
              <a:gd name="connsiteX32022" fmla="*/ 716115 w 4610101"/>
              <a:gd name="connsiteY32022" fmla="*/ 700566 h 6557032"/>
              <a:gd name="connsiteX32023" fmla="*/ 710648 w 4610101"/>
              <a:gd name="connsiteY32023" fmla="*/ 693278 h 6557032"/>
              <a:gd name="connsiteX32024" fmla="*/ 705182 w 4610101"/>
              <a:gd name="connsiteY32024" fmla="*/ 696922 h 6557032"/>
              <a:gd name="connsiteX32025" fmla="*/ 717937 w 4610101"/>
              <a:gd name="connsiteY32025" fmla="*/ 709677 h 6557032"/>
              <a:gd name="connsiteX32026" fmla="*/ 717937 w 4610101"/>
              <a:gd name="connsiteY32026" fmla="*/ 706033 h 6557032"/>
              <a:gd name="connsiteX32027" fmla="*/ 741626 w 4610101"/>
              <a:gd name="connsiteY32027" fmla="*/ 735188 h 6557032"/>
              <a:gd name="connsiteX32028" fmla="*/ 732515 w 4610101"/>
              <a:gd name="connsiteY32028" fmla="*/ 715144 h 6557032"/>
              <a:gd name="connsiteX32029" fmla="*/ 736159 w 4610101"/>
              <a:gd name="connsiteY32029" fmla="*/ 713321 h 6557032"/>
              <a:gd name="connsiteX32030" fmla="*/ 728870 w 4610101"/>
              <a:gd name="connsiteY32030" fmla="*/ 709677 h 6557032"/>
              <a:gd name="connsiteX32031" fmla="*/ 748914 w 4610101"/>
              <a:gd name="connsiteY32031" fmla="*/ 722432 h 6557032"/>
              <a:gd name="connsiteX32032" fmla="*/ 750737 w 4610101"/>
              <a:gd name="connsiteY32032" fmla="*/ 720610 h 6557032"/>
              <a:gd name="connsiteX32033" fmla="*/ 754381 w 4610101"/>
              <a:gd name="connsiteY32033" fmla="*/ 727899 h 6557032"/>
              <a:gd name="connsiteX32034" fmla="*/ 754380 w 4610101"/>
              <a:gd name="connsiteY32034" fmla="*/ 727899 h 6557032"/>
              <a:gd name="connsiteX32035" fmla="*/ 756203 w 4610101"/>
              <a:gd name="connsiteY32035" fmla="*/ 731543 h 6557032"/>
              <a:gd name="connsiteX32036" fmla="*/ 754381 w 4610101"/>
              <a:gd name="connsiteY32036" fmla="*/ 727899 h 6557032"/>
              <a:gd name="connsiteX32037" fmla="*/ 759848 w 4610101"/>
              <a:gd name="connsiteY32037" fmla="*/ 727899 h 6557032"/>
              <a:gd name="connsiteX32038" fmla="*/ 752558 w 4610101"/>
              <a:gd name="connsiteY32038" fmla="*/ 722432 h 6557032"/>
              <a:gd name="connsiteX32039" fmla="*/ 761670 w 4610101"/>
              <a:gd name="connsiteY32039" fmla="*/ 720610 h 6557032"/>
              <a:gd name="connsiteX32040" fmla="*/ 750737 w 4610101"/>
              <a:gd name="connsiteY32040" fmla="*/ 711499 h 6557032"/>
              <a:gd name="connsiteX32041" fmla="*/ 752558 w 4610101"/>
              <a:gd name="connsiteY32041" fmla="*/ 709677 h 6557032"/>
              <a:gd name="connsiteX32042" fmla="*/ 741626 w 4610101"/>
              <a:gd name="connsiteY32042" fmla="*/ 698744 h 6557032"/>
              <a:gd name="connsiteX32043" fmla="*/ 745269 w 4610101"/>
              <a:gd name="connsiteY32043" fmla="*/ 700566 h 6557032"/>
              <a:gd name="connsiteX32044" fmla="*/ 738664 w 4610101"/>
              <a:gd name="connsiteY32044" fmla="*/ 696011 h 6557032"/>
              <a:gd name="connsiteX32045" fmla="*/ 734944 w 4610101"/>
              <a:gd name="connsiteY32045" fmla="*/ 693886 h 6557032"/>
              <a:gd name="connsiteX32046" fmla="*/ 730692 w 4610101"/>
              <a:gd name="connsiteY32046" fmla="*/ 689633 h 6557032"/>
              <a:gd name="connsiteX32047" fmla="*/ 743447 w 4610101"/>
              <a:gd name="connsiteY32047" fmla="*/ 696922 h 6557032"/>
              <a:gd name="connsiteX32048" fmla="*/ 748914 w 4610101"/>
              <a:gd name="connsiteY32048" fmla="*/ 689633 h 6557032"/>
              <a:gd name="connsiteX32049" fmla="*/ 761670 w 4610101"/>
              <a:gd name="connsiteY32049" fmla="*/ 707855 h 6557032"/>
              <a:gd name="connsiteX32050" fmla="*/ 752558 w 4610101"/>
              <a:gd name="connsiteY32050" fmla="*/ 693278 h 6557032"/>
              <a:gd name="connsiteX32051" fmla="*/ 763491 w 4610101"/>
              <a:gd name="connsiteY32051" fmla="*/ 695100 h 6557032"/>
              <a:gd name="connsiteX32052" fmla="*/ 765997 w 4610101"/>
              <a:gd name="connsiteY32052" fmla="*/ 691456 h 6557032"/>
              <a:gd name="connsiteX32053" fmla="*/ 767093 w 4610101"/>
              <a:gd name="connsiteY32053" fmla="*/ 687948 h 6557032"/>
              <a:gd name="connsiteX32054" fmla="*/ 767591 w 4610101"/>
              <a:gd name="connsiteY32054" fmla="*/ 688495 h 6557032"/>
              <a:gd name="connsiteX32055" fmla="*/ 772602 w 4610101"/>
              <a:gd name="connsiteY32055" fmla="*/ 689633 h 6557032"/>
              <a:gd name="connsiteX32056" fmla="*/ 765313 w 4610101"/>
              <a:gd name="connsiteY32056" fmla="*/ 685989 h 6557032"/>
              <a:gd name="connsiteX32057" fmla="*/ 766892 w 4610101"/>
              <a:gd name="connsiteY32057" fmla="*/ 687726 h 6557032"/>
              <a:gd name="connsiteX32058" fmla="*/ 985113 w 4610101"/>
              <a:gd name="connsiteY32058" fmla="*/ 678017 h 6557032"/>
              <a:gd name="connsiteX32059" fmla="*/ 990123 w 4610101"/>
              <a:gd name="connsiteY32059" fmla="*/ 680058 h 6557032"/>
              <a:gd name="connsiteX32060" fmla="*/ 989612 w 4610101"/>
              <a:gd name="connsiteY32060" fmla="*/ 681486 h 6557032"/>
              <a:gd name="connsiteX32061" fmla="*/ 989197 w 4610101"/>
              <a:gd name="connsiteY32061" fmla="*/ 681728 h 6557032"/>
              <a:gd name="connsiteX32062" fmla="*/ 985341 w 4610101"/>
              <a:gd name="connsiteY32062" fmla="*/ 680751 h 6557032"/>
              <a:gd name="connsiteX32063" fmla="*/ 982184 w 4610101"/>
              <a:gd name="connsiteY32063" fmla="*/ 680667 h 6557032"/>
              <a:gd name="connsiteX32064" fmla="*/ 974518 w 4610101"/>
              <a:gd name="connsiteY32064" fmla="*/ 677051 h 6557032"/>
              <a:gd name="connsiteX32065" fmla="*/ 974635 w 4610101"/>
              <a:gd name="connsiteY32065" fmla="*/ 677790 h 6557032"/>
              <a:gd name="connsiteX32066" fmla="*/ 971197 w 4610101"/>
              <a:gd name="connsiteY32066" fmla="*/ 680781 h 6557032"/>
              <a:gd name="connsiteX32067" fmla="*/ 971788 w 4610101"/>
              <a:gd name="connsiteY32067" fmla="*/ 678843 h 6557032"/>
              <a:gd name="connsiteX32068" fmla="*/ 2953744 w 4610101"/>
              <a:gd name="connsiteY32068" fmla="*/ 676878 h 6557032"/>
              <a:gd name="connsiteX32069" fmla="*/ 3002943 w 4610101"/>
              <a:gd name="connsiteY32069" fmla="*/ 693278 h 6557032"/>
              <a:gd name="connsiteX32070" fmla="*/ 2953744 w 4610101"/>
              <a:gd name="connsiteY32070" fmla="*/ 676878 h 6557032"/>
              <a:gd name="connsiteX32071" fmla="*/ 1423118 w 4610101"/>
              <a:gd name="connsiteY32071" fmla="*/ 676878 h 6557032"/>
              <a:gd name="connsiteX32072" fmla="*/ 1406719 w 4610101"/>
              <a:gd name="connsiteY32072" fmla="*/ 684167 h 6557032"/>
              <a:gd name="connsiteX32073" fmla="*/ 1412185 w 4610101"/>
              <a:gd name="connsiteY32073" fmla="*/ 680522 h 6557032"/>
              <a:gd name="connsiteX32074" fmla="*/ 1414007 w 4610101"/>
              <a:gd name="connsiteY32074" fmla="*/ 682345 h 6557032"/>
              <a:gd name="connsiteX32075" fmla="*/ 1423118 w 4610101"/>
              <a:gd name="connsiteY32075" fmla="*/ 676878 h 6557032"/>
              <a:gd name="connsiteX32076" fmla="*/ 1390319 w 4610101"/>
              <a:gd name="connsiteY32076" fmla="*/ 676878 h 6557032"/>
              <a:gd name="connsiteX32077" fmla="*/ 1379386 w 4610101"/>
              <a:gd name="connsiteY32077" fmla="*/ 682345 h 6557032"/>
              <a:gd name="connsiteX32078" fmla="*/ 1390319 w 4610101"/>
              <a:gd name="connsiteY32078" fmla="*/ 676878 h 6557032"/>
              <a:gd name="connsiteX32079" fmla="*/ 1373920 w 4610101"/>
              <a:gd name="connsiteY32079" fmla="*/ 676878 h 6557032"/>
              <a:gd name="connsiteX32080" fmla="*/ 1364809 w 4610101"/>
              <a:gd name="connsiteY32080" fmla="*/ 682345 h 6557032"/>
              <a:gd name="connsiteX32081" fmla="*/ 1373920 w 4610101"/>
              <a:gd name="connsiteY32081" fmla="*/ 676878 h 6557032"/>
              <a:gd name="connsiteX32082" fmla="*/ 907444 w 4610101"/>
              <a:gd name="connsiteY32082" fmla="*/ 676878 h 6557032"/>
              <a:gd name="connsiteX32083" fmla="*/ 903799 w 4610101"/>
              <a:gd name="connsiteY32083" fmla="*/ 684167 h 6557032"/>
              <a:gd name="connsiteX32084" fmla="*/ 907444 w 4610101"/>
              <a:gd name="connsiteY32084" fmla="*/ 676878 h 6557032"/>
              <a:gd name="connsiteX32085" fmla="*/ 816334 w 4610101"/>
              <a:gd name="connsiteY32085" fmla="*/ 676878 h 6557032"/>
              <a:gd name="connsiteX32086" fmla="*/ 816334 w 4610101"/>
              <a:gd name="connsiteY32086" fmla="*/ 682345 h 6557032"/>
              <a:gd name="connsiteX32087" fmla="*/ 819979 w 4610101"/>
              <a:gd name="connsiteY32087" fmla="*/ 676878 h 6557032"/>
              <a:gd name="connsiteX32088" fmla="*/ 816334 w 4610101"/>
              <a:gd name="connsiteY32088" fmla="*/ 676878 h 6557032"/>
              <a:gd name="connsiteX32089" fmla="*/ 461579 w 4610101"/>
              <a:gd name="connsiteY32089" fmla="*/ 676422 h 6557032"/>
              <a:gd name="connsiteX32090" fmla="*/ 464655 w 4610101"/>
              <a:gd name="connsiteY32090" fmla="*/ 680522 h 6557032"/>
              <a:gd name="connsiteX32091" fmla="*/ 462149 w 4610101"/>
              <a:gd name="connsiteY32091" fmla="*/ 677789 h 6557032"/>
              <a:gd name="connsiteX32092" fmla="*/ 3289024 w 4610101"/>
              <a:gd name="connsiteY32092" fmla="*/ 675056 h 6557032"/>
              <a:gd name="connsiteX32093" fmla="*/ 3283558 w 4610101"/>
              <a:gd name="connsiteY32093" fmla="*/ 682345 h 6557032"/>
              <a:gd name="connsiteX32094" fmla="*/ 3287202 w 4610101"/>
              <a:gd name="connsiteY32094" fmla="*/ 682345 h 6557032"/>
              <a:gd name="connsiteX32095" fmla="*/ 3289024 w 4610101"/>
              <a:gd name="connsiteY32095" fmla="*/ 675056 h 6557032"/>
              <a:gd name="connsiteX32096" fmla="*/ 2607531 w 4610101"/>
              <a:gd name="connsiteY32096" fmla="*/ 675056 h 6557032"/>
              <a:gd name="connsiteX32097" fmla="*/ 2605709 w 4610101"/>
              <a:gd name="connsiteY32097" fmla="*/ 695100 h 6557032"/>
              <a:gd name="connsiteX32098" fmla="*/ 2605709 w 4610101"/>
              <a:gd name="connsiteY32098" fmla="*/ 685989 h 6557032"/>
              <a:gd name="connsiteX32099" fmla="*/ 2609353 w 4610101"/>
              <a:gd name="connsiteY32099" fmla="*/ 685989 h 6557032"/>
              <a:gd name="connsiteX32100" fmla="*/ 2607531 w 4610101"/>
              <a:gd name="connsiteY32100" fmla="*/ 675056 h 6557032"/>
              <a:gd name="connsiteX32101" fmla="*/ 2589310 w 4610101"/>
              <a:gd name="connsiteY32101" fmla="*/ 675056 h 6557032"/>
              <a:gd name="connsiteX32102" fmla="*/ 2583843 w 4610101"/>
              <a:gd name="connsiteY32102" fmla="*/ 684167 h 6557032"/>
              <a:gd name="connsiteX32103" fmla="*/ 2582021 w 4610101"/>
              <a:gd name="connsiteY32103" fmla="*/ 678700 h 6557032"/>
              <a:gd name="connsiteX32104" fmla="*/ 2582021 w 4610101"/>
              <a:gd name="connsiteY32104" fmla="*/ 685989 h 6557032"/>
              <a:gd name="connsiteX32105" fmla="*/ 2572910 w 4610101"/>
              <a:gd name="connsiteY32105" fmla="*/ 682345 h 6557032"/>
              <a:gd name="connsiteX32106" fmla="*/ 2561977 w 4610101"/>
              <a:gd name="connsiteY32106" fmla="*/ 700566 h 6557032"/>
              <a:gd name="connsiteX32107" fmla="*/ 2585665 w 4610101"/>
              <a:gd name="connsiteY32107" fmla="*/ 709677 h 6557032"/>
              <a:gd name="connsiteX32108" fmla="*/ 2591132 w 4610101"/>
              <a:gd name="connsiteY32108" fmla="*/ 702388 h 6557032"/>
              <a:gd name="connsiteX32109" fmla="*/ 2598421 w 4610101"/>
              <a:gd name="connsiteY32109" fmla="*/ 676878 h 6557032"/>
              <a:gd name="connsiteX32110" fmla="*/ 2592954 w 4610101"/>
              <a:gd name="connsiteY32110" fmla="*/ 675056 h 6557032"/>
              <a:gd name="connsiteX32111" fmla="*/ 2592954 w 4610101"/>
              <a:gd name="connsiteY32111" fmla="*/ 680522 h 6557032"/>
              <a:gd name="connsiteX32112" fmla="*/ 2589310 w 4610101"/>
              <a:gd name="connsiteY32112" fmla="*/ 675056 h 6557032"/>
              <a:gd name="connsiteX32113" fmla="*/ 173107 w 4610101"/>
              <a:gd name="connsiteY32113" fmla="*/ 675056 h 6557032"/>
              <a:gd name="connsiteX32114" fmla="*/ 187684 w 4610101"/>
              <a:gd name="connsiteY32114" fmla="*/ 695100 h 6557032"/>
              <a:gd name="connsiteX32115" fmla="*/ 178573 w 4610101"/>
              <a:gd name="connsiteY32115" fmla="*/ 685989 h 6557032"/>
              <a:gd name="connsiteX32116" fmla="*/ 173107 w 4610101"/>
              <a:gd name="connsiteY32116" fmla="*/ 675056 h 6557032"/>
              <a:gd name="connsiteX32117" fmla="*/ 167640 w 4610101"/>
              <a:gd name="connsiteY32117" fmla="*/ 675056 h 6557032"/>
              <a:gd name="connsiteX32118" fmla="*/ 171285 w 4610101"/>
              <a:gd name="connsiteY32118" fmla="*/ 680522 h 6557032"/>
              <a:gd name="connsiteX32119" fmla="*/ 167640 w 4610101"/>
              <a:gd name="connsiteY32119" fmla="*/ 675056 h 6557032"/>
              <a:gd name="connsiteX32120" fmla="*/ 2858991 w 4610101"/>
              <a:gd name="connsiteY32120" fmla="*/ 673234 h 6557032"/>
              <a:gd name="connsiteX32121" fmla="*/ 2860063 w 4610101"/>
              <a:gd name="connsiteY32121" fmla="*/ 679665 h 6557032"/>
              <a:gd name="connsiteX32122" fmla="*/ 2858991 w 4610101"/>
              <a:gd name="connsiteY32122" fmla="*/ 680067 h 6557032"/>
              <a:gd name="connsiteX32123" fmla="*/ 2860813 w 4610101"/>
              <a:gd name="connsiteY32123" fmla="*/ 684167 h 6557032"/>
              <a:gd name="connsiteX32124" fmla="*/ 2860063 w 4610101"/>
              <a:gd name="connsiteY32124" fmla="*/ 679665 h 6557032"/>
              <a:gd name="connsiteX32125" fmla="*/ 2862636 w 4610101"/>
              <a:gd name="connsiteY32125" fmla="*/ 678700 h 6557032"/>
              <a:gd name="connsiteX32126" fmla="*/ 2858991 w 4610101"/>
              <a:gd name="connsiteY32126" fmla="*/ 673234 h 6557032"/>
              <a:gd name="connsiteX32127" fmla="*/ 1446806 w 4610101"/>
              <a:gd name="connsiteY32127" fmla="*/ 673234 h 6557032"/>
              <a:gd name="connsiteX32128" fmla="*/ 1437696 w 4610101"/>
              <a:gd name="connsiteY32128" fmla="*/ 680522 h 6557032"/>
              <a:gd name="connsiteX32129" fmla="*/ 1437696 w 4610101"/>
              <a:gd name="connsiteY32129" fmla="*/ 676878 h 6557032"/>
              <a:gd name="connsiteX32130" fmla="*/ 1412185 w 4610101"/>
              <a:gd name="connsiteY32130" fmla="*/ 685989 h 6557032"/>
              <a:gd name="connsiteX32131" fmla="*/ 1424940 w 4610101"/>
              <a:gd name="connsiteY32131" fmla="*/ 684167 h 6557032"/>
              <a:gd name="connsiteX32132" fmla="*/ 1441340 w 4610101"/>
              <a:gd name="connsiteY32132" fmla="*/ 680522 h 6557032"/>
              <a:gd name="connsiteX32133" fmla="*/ 1444984 w 4610101"/>
              <a:gd name="connsiteY32133" fmla="*/ 675056 h 6557032"/>
              <a:gd name="connsiteX32134" fmla="*/ 1444984 w 4610101"/>
              <a:gd name="connsiteY32134" fmla="*/ 676878 h 6557032"/>
              <a:gd name="connsiteX32135" fmla="*/ 1446806 w 4610101"/>
              <a:gd name="connsiteY32135" fmla="*/ 673234 h 6557032"/>
              <a:gd name="connsiteX32136" fmla="*/ 1222679 w 4610101"/>
              <a:gd name="connsiteY32136" fmla="*/ 673234 h 6557032"/>
              <a:gd name="connsiteX32137" fmla="*/ 1211747 w 4610101"/>
              <a:gd name="connsiteY32137" fmla="*/ 680522 h 6557032"/>
              <a:gd name="connsiteX32138" fmla="*/ 1215390 w 4610101"/>
              <a:gd name="connsiteY32138" fmla="*/ 682345 h 6557032"/>
              <a:gd name="connsiteX32139" fmla="*/ 1219036 w 4610101"/>
              <a:gd name="connsiteY32139" fmla="*/ 676878 h 6557032"/>
              <a:gd name="connsiteX32140" fmla="*/ 1220858 w 4610101"/>
              <a:gd name="connsiteY32140" fmla="*/ 678700 h 6557032"/>
              <a:gd name="connsiteX32141" fmla="*/ 1222679 w 4610101"/>
              <a:gd name="connsiteY32141" fmla="*/ 673234 h 6557032"/>
              <a:gd name="connsiteX32142" fmla="*/ 1195346 w 4610101"/>
              <a:gd name="connsiteY32142" fmla="*/ 673234 h 6557032"/>
              <a:gd name="connsiteX32143" fmla="*/ 1194925 w 4610101"/>
              <a:gd name="connsiteY32143" fmla="*/ 673795 h 6557032"/>
              <a:gd name="connsiteX32144" fmla="*/ 1193333 w 4610101"/>
              <a:gd name="connsiteY32144" fmla="*/ 674193 h 6557032"/>
              <a:gd name="connsiteX32145" fmla="*/ 1142503 w 4610101"/>
              <a:gd name="connsiteY32145" fmla="*/ 673234 h 6557032"/>
              <a:gd name="connsiteX32146" fmla="*/ 1133393 w 4610101"/>
              <a:gd name="connsiteY32146" fmla="*/ 676878 h 6557032"/>
              <a:gd name="connsiteX32147" fmla="*/ 1118133 w 4610101"/>
              <a:gd name="connsiteY32147" fmla="*/ 681890 h 6557032"/>
              <a:gd name="connsiteX32148" fmla="*/ 1113511 w 4610101"/>
              <a:gd name="connsiteY32148" fmla="*/ 689134 h 6557032"/>
              <a:gd name="connsiteX32149" fmla="*/ 1111526 w 4610101"/>
              <a:gd name="connsiteY32149" fmla="*/ 687811 h 6557032"/>
              <a:gd name="connsiteX32150" fmla="*/ 1109704 w 4610101"/>
              <a:gd name="connsiteY32150" fmla="*/ 695100 h 6557032"/>
              <a:gd name="connsiteX32151" fmla="*/ 1113511 w 4610101"/>
              <a:gd name="connsiteY32151" fmla="*/ 689134 h 6557032"/>
              <a:gd name="connsiteX32152" fmla="*/ 1116993 w 4610101"/>
              <a:gd name="connsiteY32152" fmla="*/ 691455 h 6557032"/>
              <a:gd name="connsiteX32153" fmla="*/ 1131570 w 4610101"/>
              <a:gd name="connsiteY32153" fmla="*/ 680522 h 6557032"/>
              <a:gd name="connsiteX32154" fmla="*/ 1142503 w 4610101"/>
              <a:gd name="connsiteY32154" fmla="*/ 673234 h 6557032"/>
              <a:gd name="connsiteX32155" fmla="*/ 1106060 w 4610101"/>
              <a:gd name="connsiteY32155" fmla="*/ 673234 h 6557032"/>
              <a:gd name="connsiteX32156" fmla="*/ 1102416 w 4610101"/>
              <a:gd name="connsiteY32156" fmla="*/ 680522 h 6557032"/>
              <a:gd name="connsiteX32157" fmla="*/ 1106060 w 4610101"/>
              <a:gd name="connsiteY32157" fmla="*/ 673234 h 6557032"/>
              <a:gd name="connsiteX32158" fmla="*/ 1093305 w 4610101"/>
              <a:gd name="connsiteY32158" fmla="*/ 673234 h 6557032"/>
              <a:gd name="connsiteX32159" fmla="*/ 1089660 w 4610101"/>
              <a:gd name="connsiteY32159" fmla="*/ 676878 h 6557032"/>
              <a:gd name="connsiteX32160" fmla="*/ 1093305 w 4610101"/>
              <a:gd name="connsiteY32160" fmla="*/ 673234 h 6557032"/>
              <a:gd name="connsiteX32161" fmla="*/ 1022240 w 4610101"/>
              <a:gd name="connsiteY32161" fmla="*/ 673234 h 6557032"/>
              <a:gd name="connsiteX32162" fmla="*/ 1014951 w 4610101"/>
              <a:gd name="connsiteY32162" fmla="*/ 676878 h 6557032"/>
              <a:gd name="connsiteX32163" fmla="*/ 1022240 w 4610101"/>
              <a:gd name="connsiteY32163" fmla="*/ 673234 h 6557032"/>
              <a:gd name="connsiteX32164" fmla="*/ 980330 w 4610101"/>
              <a:gd name="connsiteY32164" fmla="*/ 673234 h 6557032"/>
              <a:gd name="connsiteX32165" fmla="*/ 983974 w 4610101"/>
              <a:gd name="connsiteY32165" fmla="*/ 676878 h 6557032"/>
              <a:gd name="connsiteX32166" fmla="*/ 980102 w 4610101"/>
              <a:gd name="connsiteY32166" fmla="*/ 678473 h 6557032"/>
              <a:gd name="connsiteX32167" fmla="*/ 976550 w 4610101"/>
              <a:gd name="connsiteY32167" fmla="*/ 678627 h 6557032"/>
              <a:gd name="connsiteX32168" fmla="*/ 976351 w 4610101"/>
              <a:gd name="connsiteY32168" fmla="*/ 675847 h 6557032"/>
              <a:gd name="connsiteX32169" fmla="*/ 914732 w 4610101"/>
              <a:gd name="connsiteY32169" fmla="*/ 673234 h 6557032"/>
              <a:gd name="connsiteX32170" fmla="*/ 911087 w 4610101"/>
              <a:gd name="connsiteY32170" fmla="*/ 678700 h 6557032"/>
              <a:gd name="connsiteX32171" fmla="*/ 914732 w 4610101"/>
              <a:gd name="connsiteY32171" fmla="*/ 678700 h 6557032"/>
              <a:gd name="connsiteX32172" fmla="*/ 912909 w 4610101"/>
              <a:gd name="connsiteY32172" fmla="*/ 685989 h 6557032"/>
              <a:gd name="connsiteX32173" fmla="*/ 909265 w 4610101"/>
              <a:gd name="connsiteY32173" fmla="*/ 684167 h 6557032"/>
              <a:gd name="connsiteX32174" fmla="*/ 903799 w 4610101"/>
              <a:gd name="connsiteY32174" fmla="*/ 689633 h 6557032"/>
              <a:gd name="connsiteX32175" fmla="*/ 911086 w 4610101"/>
              <a:gd name="connsiteY32175" fmla="*/ 689634 h 6557032"/>
              <a:gd name="connsiteX32176" fmla="*/ 903799 w 4610101"/>
              <a:gd name="connsiteY32176" fmla="*/ 693278 h 6557032"/>
              <a:gd name="connsiteX32177" fmla="*/ 909265 w 4610101"/>
              <a:gd name="connsiteY32177" fmla="*/ 696922 h 6557032"/>
              <a:gd name="connsiteX32178" fmla="*/ 911087 w 4610101"/>
              <a:gd name="connsiteY32178" fmla="*/ 689634 h 6557032"/>
              <a:gd name="connsiteX32179" fmla="*/ 912909 w 4610101"/>
              <a:gd name="connsiteY32179" fmla="*/ 689634 h 6557032"/>
              <a:gd name="connsiteX32180" fmla="*/ 916555 w 4610101"/>
              <a:gd name="connsiteY32180" fmla="*/ 698744 h 6557032"/>
              <a:gd name="connsiteX32181" fmla="*/ 920198 w 4610101"/>
              <a:gd name="connsiteY32181" fmla="*/ 685989 h 6557032"/>
              <a:gd name="connsiteX32182" fmla="*/ 917596 w 4610101"/>
              <a:gd name="connsiteY32182" fmla="*/ 687290 h 6557032"/>
              <a:gd name="connsiteX32183" fmla="*/ 922020 w 4610101"/>
              <a:gd name="connsiteY32183" fmla="*/ 684167 h 6557032"/>
              <a:gd name="connsiteX32184" fmla="*/ 914732 w 4610101"/>
              <a:gd name="connsiteY32184" fmla="*/ 678700 h 6557032"/>
              <a:gd name="connsiteX32185" fmla="*/ 914732 w 4610101"/>
              <a:gd name="connsiteY32185" fmla="*/ 673234 h 6557032"/>
              <a:gd name="connsiteX32186" fmla="*/ 767136 w 4610101"/>
              <a:gd name="connsiteY32186" fmla="*/ 673234 h 6557032"/>
              <a:gd name="connsiteX32187" fmla="*/ 774424 w 4610101"/>
              <a:gd name="connsiteY32187" fmla="*/ 678700 h 6557032"/>
              <a:gd name="connsiteX32188" fmla="*/ 767136 w 4610101"/>
              <a:gd name="connsiteY32188" fmla="*/ 673234 h 6557032"/>
              <a:gd name="connsiteX32189" fmla="*/ 524786 w 4610101"/>
              <a:gd name="connsiteY32189" fmla="*/ 673234 h 6557032"/>
              <a:gd name="connsiteX32190" fmla="*/ 526609 w 4610101"/>
              <a:gd name="connsiteY32190" fmla="*/ 682345 h 6557032"/>
              <a:gd name="connsiteX32191" fmla="*/ 528431 w 4610101"/>
              <a:gd name="connsiteY32191" fmla="*/ 676878 h 6557032"/>
              <a:gd name="connsiteX32192" fmla="*/ 524786 w 4610101"/>
              <a:gd name="connsiteY32192" fmla="*/ 673234 h 6557032"/>
              <a:gd name="connsiteX32193" fmla="*/ 459188 w 4610101"/>
              <a:gd name="connsiteY32193" fmla="*/ 673234 h 6557032"/>
              <a:gd name="connsiteX32194" fmla="*/ 464655 w 4610101"/>
              <a:gd name="connsiteY32194" fmla="*/ 680522 h 6557032"/>
              <a:gd name="connsiteX32195" fmla="*/ 461010 w 4610101"/>
              <a:gd name="connsiteY32195" fmla="*/ 675056 h 6557032"/>
              <a:gd name="connsiteX32196" fmla="*/ 461579 w 4610101"/>
              <a:gd name="connsiteY32196" fmla="*/ 676422 h 6557032"/>
              <a:gd name="connsiteX32197" fmla="*/ 413634 w 4610101"/>
              <a:gd name="connsiteY32197" fmla="*/ 673234 h 6557032"/>
              <a:gd name="connsiteX32198" fmla="*/ 420923 w 4610101"/>
              <a:gd name="connsiteY32198" fmla="*/ 676878 h 6557032"/>
              <a:gd name="connsiteX32199" fmla="*/ 413634 w 4610101"/>
              <a:gd name="connsiteY32199" fmla="*/ 673234 h 6557032"/>
              <a:gd name="connsiteX32200" fmla="*/ 256927 w 4610101"/>
              <a:gd name="connsiteY32200" fmla="*/ 673234 h 6557032"/>
              <a:gd name="connsiteX32201" fmla="*/ 262393 w 4610101"/>
              <a:gd name="connsiteY32201" fmla="*/ 678700 h 6557032"/>
              <a:gd name="connsiteX32202" fmla="*/ 256927 w 4610101"/>
              <a:gd name="connsiteY32202" fmla="*/ 673234 h 6557032"/>
              <a:gd name="connsiteX32203" fmla="*/ 202262 w 4610101"/>
              <a:gd name="connsiteY32203" fmla="*/ 673234 h 6557032"/>
              <a:gd name="connsiteX32204" fmla="*/ 216839 w 4610101"/>
              <a:gd name="connsiteY32204" fmla="*/ 698744 h 6557032"/>
              <a:gd name="connsiteX32205" fmla="*/ 202262 w 4610101"/>
              <a:gd name="connsiteY32205" fmla="*/ 673234 h 6557032"/>
              <a:gd name="connsiteX32206" fmla="*/ 1439974 w 4610101"/>
              <a:gd name="connsiteY32206" fmla="*/ 673006 h 6557032"/>
              <a:gd name="connsiteX32207" fmla="*/ 1435873 w 4610101"/>
              <a:gd name="connsiteY32207" fmla="*/ 675056 h 6557032"/>
              <a:gd name="connsiteX32208" fmla="*/ 1441340 w 4610101"/>
              <a:gd name="connsiteY32208" fmla="*/ 675056 h 6557032"/>
              <a:gd name="connsiteX32209" fmla="*/ 1439974 w 4610101"/>
              <a:gd name="connsiteY32209" fmla="*/ 673006 h 6557032"/>
              <a:gd name="connsiteX32210" fmla="*/ 962381 w 4610101"/>
              <a:gd name="connsiteY32210" fmla="*/ 671798 h 6557032"/>
              <a:gd name="connsiteX32211" fmla="*/ 964841 w 4610101"/>
              <a:gd name="connsiteY32211" fmla="*/ 675284 h 6557032"/>
              <a:gd name="connsiteX32212" fmla="*/ 966769 w 4610101"/>
              <a:gd name="connsiteY32212" fmla="*/ 678979 h 6557032"/>
              <a:gd name="connsiteX32213" fmla="*/ 962108 w 4610101"/>
              <a:gd name="connsiteY32213" fmla="*/ 673007 h 6557032"/>
              <a:gd name="connsiteX32214" fmla="*/ 3157828 w 4610101"/>
              <a:gd name="connsiteY32214" fmla="*/ 671411 h 6557032"/>
              <a:gd name="connsiteX32215" fmla="*/ 3154184 w 4610101"/>
              <a:gd name="connsiteY32215" fmla="*/ 676878 h 6557032"/>
              <a:gd name="connsiteX32216" fmla="*/ 3157828 w 4610101"/>
              <a:gd name="connsiteY32216" fmla="*/ 671411 h 6557032"/>
              <a:gd name="connsiteX32217" fmla="*/ 2558332 w 4610101"/>
              <a:gd name="connsiteY32217" fmla="*/ 671411 h 6557032"/>
              <a:gd name="connsiteX32218" fmla="*/ 2561977 w 4610101"/>
              <a:gd name="connsiteY32218" fmla="*/ 687811 h 6557032"/>
              <a:gd name="connsiteX32219" fmla="*/ 2567443 w 4610101"/>
              <a:gd name="connsiteY32219" fmla="*/ 682345 h 6557032"/>
              <a:gd name="connsiteX32220" fmla="*/ 2558332 w 4610101"/>
              <a:gd name="connsiteY32220" fmla="*/ 671411 h 6557032"/>
              <a:gd name="connsiteX32221" fmla="*/ 1086016 w 4610101"/>
              <a:gd name="connsiteY32221" fmla="*/ 671411 h 6557032"/>
              <a:gd name="connsiteX32222" fmla="*/ 1073262 w 4610101"/>
              <a:gd name="connsiteY32222" fmla="*/ 678700 h 6557032"/>
              <a:gd name="connsiteX32223" fmla="*/ 1069616 w 4610101"/>
              <a:gd name="connsiteY32223" fmla="*/ 685989 h 6557032"/>
              <a:gd name="connsiteX32224" fmla="*/ 1086016 w 4610101"/>
              <a:gd name="connsiteY32224" fmla="*/ 671411 h 6557032"/>
              <a:gd name="connsiteX32225" fmla="*/ 1065972 w 4610101"/>
              <a:gd name="connsiteY32225" fmla="*/ 671411 h 6557032"/>
              <a:gd name="connsiteX32226" fmla="*/ 1062328 w 4610101"/>
              <a:gd name="connsiteY32226" fmla="*/ 675056 h 6557032"/>
              <a:gd name="connsiteX32227" fmla="*/ 1065972 w 4610101"/>
              <a:gd name="connsiteY32227" fmla="*/ 671411 h 6557032"/>
              <a:gd name="connsiteX32228" fmla="*/ 923843 w 4610101"/>
              <a:gd name="connsiteY32228" fmla="*/ 671411 h 6557032"/>
              <a:gd name="connsiteX32229" fmla="*/ 920198 w 4610101"/>
              <a:gd name="connsiteY32229" fmla="*/ 678700 h 6557032"/>
              <a:gd name="connsiteX32230" fmla="*/ 925186 w 4610101"/>
              <a:gd name="connsiteY32230" fmla="*/ 672051 h 6557032"/>
              <a:gd name="connsiteX32231" fmla="*/ 925494 w 4610101"/>
              <a:gd name="connsiteY32231" fmla="*/ 672198 h 6557032"/>
              <a:gd name="connsiteX32232" fmla="*/ 924526 w 4610101"/>
              <a:gd name="connsiteY32232" fmla="*/ 676651 h 6557032"/>
              <a:gd name="connsiteX32233" fmla="*/ 922020 w 4610101"/>
              <a:gd name="connsiteY32233" fmla="*/ 680522 h 6557032"/>
              <a:gd name="connsiteX32234" fmla="*/ 922020 w 4610101"/>
              <a:gd name="connsiteY32234" fmla="*/ 682345 h 6557032"/>
              <a:gd name="connsiteX32235" fmla="*/ 927487 w 4610101"/>
              <a:gd name="connsiteY32235" fmla="*/ 684167 h 6557032"/>
              <a:gd name="connsiteX32236" fmla="*/ 927487 w 4610101"/>
              <a:gd name="connsiteY32236" fmla="*/ 680522 h 6557032"/>
              <a:gd name="connsiteX32237" fmla="*/ 925666 w 4610101"/>
              <a:gd name="connsiteY32237" fmla="*/ 680522 h 6557032"/>
              <a:gd name="connsiteX32238" fmla="*/ 929309 w 4610101"/>
              <a:gd name="connsiteY32238" fmla="*/ 678700 h 6557032"/>
              <a:gd name="connsiteX32239" fmla="*/ 928626 w 4610101"/>
              <a:gd name="connsiteY32239" fmla="*/ 673689 h 6557032"/>
              <a:gd name="connsiteX32240" fmla="*/ 925494 w 4610101"/>
              <a:gd name="connsiteY32240" fmla="*/ 672198 h 6557032"/>
              <a:gd name="connsiteX32241" fmla="*/ 925666 w 4610101"/>
              <a:gd name="connsiteY32241" fmla="*/ 671411 h 6557032"/>
              <a:gd name="connsiteX32242" fmla="*/ 925186 w 4610101"/>
              <a:gd name="connsiteY32242" fmla="*/ 672051 h 6557032"/>
              <a:gd name="connsiteX32243" fmla="*/ 475589 w 4610101"/>
              <a:gd name="connsiteY32243" fmla="*/ 671411 h 6557032"/>
              <a:gd name="connsiteX32244" fmla="*/ 475589 w 4610101"/>
              <a:gd name="connsiteY32244" fmla="*/ 676878 h 6557032"/>
              <a:gd name="connsiteX32245" fmla="*/ 475589 w 4610101"/>
              <a:gd name="connsiteY32245" fmla="*/ 671411 h 6557032"/>
              <a:gd name="connsiteX32246" fmla="*/ 448256 w 4610101"/>
              <a:gd name="connsiteY32246" fmla="*/ 671411 h 6557032"/>
              <a:gd name="connsiteX32247" fmla="*/ 451898 w 4610101"/>
              <a:gd name="connsiteY32247" fmla="*/ 675055 h 6557032"/>
              <a:gd name="connsiteX32248" fmla="*/ 451899 w 4610101"/>
              <a:gd name="connsiteY32248" fmla="*/ 675056 h 6557032"/>
              <a:gd name="connsiteX32249" fmla="*/ 451899 w 4610101"/>
              <a:gd name="connsiteY32249" fmla="*/ 675055 h 6557032"/>
              <a:gd name="connsiteX32250" fmla="*/ 453722 w 4610101"/>
              <a:gd name="connsiteY32250" fmla="*/ 676878 h 6557032"/>
              <a:gd name="connsiteX32251" fmla="*/ 451899 w 4610101"/>
              <a:gd name="connsiteY32251" fmla="*/ 671411 h 6557032"/>
              <a:gd name="connsiteX32252" fmla="*/ 451899 w 4610101"/>
              <a:gd name="connsiteY32252" fmla="*/ 672551 h 6557032"/>
              <a:gd name="connsiteX32253" fmla="*/ 451899 w 4610101"/>
              <a:gd name="connsiteY32253" fmla="*/ 675055 h 6557032"/>
              <a:gd name="connsiteX32254" fmla="*/ 451898 w 4610101"/>
              <a:gd name="connsiteY32254" fmla="*/ 675055 h 6557032"/>
              <a:gd name="connsiteX32255" fmla="*/ 450760 w 4610101"/>
              <a:gd name="connsiteY32255" fmla="*/ 672551 h 6557032"/>
              <a:gd name="connsiteX32256" fmla="*/ 448256 w 4610101"/>
              <a:gd name="connsiteY32256" fmla="*/ 671411 h 6557032"/>
              <a:gd name="connsiteX32257" fmla="*/ 420923 w 4610101"/>
              <a:gd name="connsiteY32257" fmla="*/ 671411 h 6557032"/>
              <a:gd name="connsiteX32258" fmla="*/ 415456 w 4610101"/>
              <a:gd name="connsiteY32258" fmla="*/ 673234 h 6557032"/>
              <a:gd name="connsiteX32259" fmla="*/ 420923 w 4610101"/>
              <a:gd name="connsiteY32259" fmla="*/ 671411 h 6557032"/>
              <a:gd name="connsiteX32260" fmla="*/ 393590 w 4610101"/>
              <a:gd name="connsiteY32260" fmla="*/ 671411 h 6557032"/>
              <a:gd name="connsiteX32261" fmla="*/ 397234 w 4610101"/>
              <a:gd name="connsiteY32261" fmla="*/ 675056 h 6557032"/>
              <a:gd name="connsiteX32262" fmla="*/ 393590 w 4610101"/>
              <a:gd name="connsiteY32262" fmla="*/ 671411 h 6557032"/>
              <a:gd name="connsiteX32263" fmla="*/ 284259 w 4610101"/>
              <a:gd name="connsiteY32263" fmla="*/ 671411 h 6557032"/>
              <a:gd name="connsiteX32264" fmla="*/ 307948 w 4610101"/>
              <a:gd name="connsiteY32264" fmla="*/ 716966 h 6557032"/>
              <a:gd name="connsiteX32265" fmla="*/ 300660 w 4610101"/>
              <a:gd name="connsiteY32265" fmla="*/ 702388 h 6557032"/>
              <a:gd name="connsiteX32266" fmla="*/ 307948 w 4610101"/>
              <a:gd name="connsiteY32266" fmla="*/ 711499 h 6557032"/>
              <a:gd name="connsiteX32267" fmla="*/ 284259 w 4610101"/>
              <a:gd name="connsiteY32267" fmla="*/ 671411 h 6557032"/>
              <a:gd name="connsiteX32268" fmla="*/ 618856 w 4610101"/>
              <a:gd name="connsiteY32268" fmla="*/ 670956 h 6557032"/>
              <a:gd name="connsiteX32269" fmla="*/ 617717 w 4610101"/>
              <a:gd name="connsiteY32269" fmla="*/ 673234 h 6557032"/>
              <a:gd name="connsiteX32270" fmla="*/ 619539 w 4610101"/>
              <a:gd name="connsiteY32270" fmla="*/ 676878 h 6557032"/>
              <a:gd name="connsiteX32271" fmla="*/ 621362 w 4610101"/>
              <a:gd name="connsiteY32271" fmla="*/ 671411 h 6557032"/>
              <a:gd name="connsiteX32272" fmla="*/ 618856 w 4610101"/>
              <a:gd name="connsiteY32272" fmla="*/ 670956 h 6557032"/>
              <a:gd name="connsiteX32273" fmla="*/ 1421296 w 4610101"/>
              <a:gd name="connsiteY32273" fmla="*/ 669589 h 6557032"/>
              <a:gd name="connsiteX32274" fmla="*/ 1412185 w 4610101"/>
              <a:gd name="connsiteY32274" fmla="*/ 673234 h 6557032"/>
              <a:gd name="connsiteX32275" fmla="*/ 1414007 w 4610101"/>
              <a:gd name="connsiteY32275" fmla="*/ 675056 h 6557032"/>
              <a:gd name="connsiteX32276" fmla="*/ 1421296 w 4610101"/>
              <a:gd name="connsiteY32276" fmla="*/ 669589 h 6557032"/>
              <a:gd name="connsiteX32277" fmla="*/ 1213568 w 4610101"/>
              <a:gd name="connsiteY32277" fmla="*/ 669589 h 6557032"/>
              <a:gd name="connsiteX32278" fmla="*/ 1209925 w 4610101"/>
              <a:gd name="connsiteY32278" fmla="*/ 673234 h 6557032"/>
              <a:gd name="connsiteX32279" fmla="*/ 1213568 w 4610101"/>
              <a:gd name="connsiteY32279" fmla="*/ 669589 h 6557032"/>
              <a:gd name="connsiteX32280" fmla="*/ 1149792 w 4610101"/>
              <a:gd name="connsiteY32280" fmla="*/ 669589 h 6557032"/>
              <a:gd name="connsiteX32281" fmla="*/ 1138859 w 4610101"/>
              <a:gd name="connsiteY32281" fmla="*/ 689633 h 6557032"/>
              <a:gd name="connsiteX32282" fmla="*/ 1151614 w 4610101"/>
              <a:gd name="connsiteY32282" fmla="*/ 675056 h 6557032"/>
              <a:gd name="connsiteX32283" fmla="*/ 1149792 w 4610101"/>
              <a:gd name="connsiteY32283" fmla="*/ 669589 h 6557032"/>
              <a:gd name="connsiteX32284" fmla="*/ 1067794 w 4610101"/>
              <a:gd name="connsiteY32284" fmla="*/ 669589 h 6557032"/>
              <a:gd name="connsiteX32285" fmla="*/ 1045929 w 4610101"/>
              <a:gd name="connsiteY32285" fmla="*/ 675056 h 6557032"/>
              <a:gd name="connsiteX32286" fmla="*/ 1042284 w 4610101"/>
              <a:gd name="connsiteY32286" fmla="*/ 678700 h 6557032"/>
              <a:gd name="connsiteX32287" fmla="*/ 1049573 w 4610101"/>
              <a:gd name="connsiteY32287" fmla="*/ 678700 h 6557032"/>
              <a:gd name="connsiteX32288" fmla="*/ 1022240 w 4610101"/>
              <a:gd name="connsiteY32288" fmla="*/ 704211 h 6557032"/>
              <a:gd name="connsiteX32289" fmla="*/ 1040462 w 4610101"/>
              <a:gd name="connsiteY32289" fmla="*/ 700566 h 6557032"/>
              <a:gd name="connsiteX32290" fmla="*/ 1044106 w 4610101"/>
              <a:gd name="connsiteY32290" fmla="*/ 687811 h 6557032"/>
              <a:gd name="connsiteX32291" fmla="*/ 1042284 w 4610101"/>
              <a:gd name="connsiteY32291" fmla="*/ 698744 h 6557032"/>
              <a:gd name="connsiteX32292" fmla="*/ 1049573 w 4610101"/>
              <a:gd name="connsiteY32292" fmla="*/ 687811 h 6557032"/>
              <a:gd name="connsiteX32293" fmla="*/ 1047750 w 4610101"/>
              <a:gd name="connsiteY32293" fmla="*/ 696922 h 6557032"/>
              <a:gd name="connsiteX32294" fmla="*/ 1054479 w 4610101"/>
              <a:gd name="connsiteY32294" fmla="*/ 691035 h 6557032"/>
              <a:gd name="connsiteX32295" fmla="*/ 1055950 w 4610101"/>
              <a:gd name="connsiteY32295" fmla="*/ 690545 h 6557032"/>
              <a:gd name="connsiteX32296" fmla="*/ 1058683 w 4610101"/>
              <a:gd name="connsiteY32296" fmla="*/ 689633 h 6557032"/>
              <a:gd name="connsiteX32297" fmla="*/ 1054479 w 4610101"/>
              <a:gd name="connsiteY32297" fmla="*/ 691035 h 6557032"/>
              <a:gd name="connsiteX32298" fmla="*/ 1062328 w 4610101"/>
              <a:gd name="connsiteY32298" fmla="*/ 684167 h 6557032"/>
              <a:gd name="connsiteX32299" fmla="*/ 1056861 w 4610101"/>
              <a:gd name="connsiteY32299" fmla="*/ 676878 h 6557032"/>
              <a:gd name="connsiteX32300" fmla="*/ 1053217 w 4610101"/>
              <a:gd name="connsiteY32300" fmla="*/ 678700 h 6557032"/>
              <a:gd name="connsiteX32301" fmla="*/ 1067794 w 4610101"/>
              <a:gd name="connsiteY32301" fmla="*/ 669589 h 6557032"/>
              <a:gd name="connsiteX32302" fmla="*/ 931131 w 4610101"/>
              <a:gd name="connsiteY32302" fmla="*/ 669589 h 6557032"/>
              <a:gd name="connsiteX32303" fmla="*/ 932953 w 4610101"/>
              <a:gd name="connsiteY32303" fmla="*/ 675056 h 6557032"/>
              <a:gd name="connsiteX32304" fmla="*/ 931131 w 4610101"/>
              <a:gd name="connsiteY32304" fmla="*/ 669589 h 6557032"/>
              <a:gd name="connsiteX32305" fmla="*/ 903799 w 4610101"/>
              <a:gd name="connsiteY32305" fmla="*/ 669589 h 6557032"/>
              <a:gd name="connsiteX32306" fmla="*/ 894688 w 4610101"/>
              <a:gd name="connsiteY32306" fmla="*/ 687811 h 6557032"/>
              <a:gd name="connsiteX32307" fmla="*/ 903799 w 4610101"/>
              <a:gd name="connsiteY32307" fmla="*/ 669589 h 6557032"/>
              <a:gd name="connsiteX32308" fmla="*/ 819979 w 4610101"/>
              <a:gd name="connsiteY32308" fmla="*/ 669589 h 6557032"/>
              <a:gd name="connsiteX32309" fmla="*/ 818156 w 4610101"/>
              <a:gd name="connsiteY32309" fmla="*/ 671411 h 6557032"/>
              <a:gd name="connsiteX32310" fmla="*/ 819979 w 4610101"/>
              <a:gd name="connsiteY32310" fmla="*/ 675056 h 6557032"/>
              <a:gd name="connsiteX32311" fmla="*/ 819979 w 4610101"/>
              <a:gd name="connsiteY32311" fmla="*/ 669589 h 6557032"/>
              <a:gd name="connsiteX32312" fmla="*/ 486521 w 4610101"/>
              <a:gd name="connsiteY32312" fmla="*/ 669589 h 6557032"/>
              <a:gd name="connsiteX32313" fmla="*/ 488343 w 4610101"/>
              <a:gd name="connsiteY32313" fmla="*/ 682345 h 6557032"/>
              <a:gd name="connsiteX32314" fmla="*/ 486521 w 4610101"/>
              <a:gd name="connsiteY32314" fmla="*/ 669589 h 6557032"/>
              <a:gd name="connsiteX32315" fmla="*/ 369902 w 4610101"/>
              <a:gd name="connsiteY32315" fmla="*/ 669589 h 6557032"/>
              <a:gd name="connsiteX32316" fmla="*/ 382657 w 4610101"/>
              <a:gd name="connsiteY32316" fmla="*/ 693278 h 6557032"/>
              <a:gd name="connsiteX32317" fmla="*/ 375368 w 4610101"/>
              <a:gd name="connsiteY32317" fmla="*/ 676878 h 6557032"/>
              <a:gd name="connsiteX32318" fmla="*/ 369902 w 4610101"/>
              <a:gd name="connsiteY32318" fmla="*/ 669589 h 6557032"/>
              <a:gd name="connsiteX32319" fmla="*/ 349858 w 4610101"/>
              <a:gd name="connsiteY32319" fmla="*/ 669589 h 6557032"/>
              <a:gd name="connsiteX32320" fmla="*/ 353502 w 4610101"/>
              <a:gd name="connsiteY32320" fmla="*/ 680522 h 6557032"/>
              <a:gd name="connsiteX32321" fmla="*/ 355324 w 4610101"/>
              <a:gd name="connsiteY32321" fmla="*/ 676878 h 6557032"/>
              <a:gd name="connsiteX32322" fmla="*/ 349858 w 4610101"/>
              <a:gd name="connsiteY32322" fmla="*/ 669589 h 6557032"/>
              <a:gd name="connsiteX32323" fmla="*/ 3558706 w 4610101"/>
              <a:gd name="connsiteY32323" fmla="*/ 667767 h 6557032"/>
              <a:gd name="connsiteX32324" fmla="*/ 3556884 w 4610101"/>
              <a:gd name="connsiteY32324" fmla="*/ 682345 h 6557032"/>
              <a:gd name="connsiteX32325" fmla="*/ 3564173 w 4610101"/>
              <a:gd name="connsiteY32325" fmla="*/ 676878 h 6557032"/>
              <a:gd name="connsiteX32326" fmla="*/ 3562350 w 4610101"/>
              <a:gd name="connsiteY32326" fmla="*/ 667767 h 6557032"/>
              <a:gd name="connsiteX32327" fmla="*/ 3558706 w 4610101"/>
              <a:gd name="connsiteY32327" fmla="*/ 667767 h 6557032"/>
              <a:gd name="connsiteX32328" fmla="*/ 3473064 w 4610101"/>
              <a:gd name="connsiteY32328" fmla="*/ 667767 h 6557032"/>
              <a:gd name="connsiteX32329" fmla="*/ 3474886 w 4610101"/>
              <a:gd name="connsiteY32329" fmla="*/ 685989 h 6557032"/>
              <a:gd name="connsiteX32330" fmla="*/ 3482175 w 4610101"/>
              <a:gd name="connsiteY32330" fmla="*/ 684167 h 6557032"/>
              <a:gd name="connsiteX32331" fmla="*/ 3473064 w 4610101"/>
              <a:gd name="connsiteY32331" fmla="*/ 667767 h 6557032"/>
              <a:gd name="connsiteX32332" fmla="*/ 3442087 w 4610101"/>
              <a:gd name="connsiteY32332" fmla="*/ 667767 h 6557032"/>
              <a:gd name="connsiteX32333" fmla="*/ 3440265 w 4610101"/>
              <a:gd name="connsiteY32333" fmla="*/ 675056 h 6557032"/>
              <a:gd name="connsiteX32334" fmla="*/ 3431154 w 4610101"/>
              <a:gd name="connsiteY32334" fmla="*/ 673234 h 6557032"/>
              <a:gd name="connsiteX32335" fmla="*/ 3432976 w 4610101"/>
              <a:gd name="connsiteY32335" fmla="*/ 687811 h 6557032"/>
              <a:gd name="connsiteX32336" fmla="*/ 3449376 w 4610101"/>
              <a:gd name="connsiteY32336" fmla="*/ 678700 h 6557032"/>
              <a:gd name="connsiteX32337" fmla="*/ 3451198 w 4610101"/>
              <a:gd name="connsiteY32337" fmla="*/ 667767 h 6557032"/>
              <a:gd name="connsiteX32338" fmla="*/ 3442087 w 4610101"/>
              <a:gd name="connsiteY32338" fmla="*/ 667767 h 6557032"/>
              <a:gd name="connsiteX32339" fmla="*/ 3301780 w 4610101"/>
              <a:gd name="connsiteY32339" fmla="*/ 667767 h 6557032"/>
              <a:gd name="connsiteX32340" fmla="*/ 3298135 w 4610101"/>
              <a:gd name="connsiteY32340" fmla="*/ 678700 h 6557032"/>
              <a:gd name="connsiteX32341" fmla="*/ 3301780 w 4610101"/>
              <a:gd name="connsiteY32341" fmla="*/ 667767 h 6557032"/>
              <a:gd name="connsiteX32342" fmla="*/ 973041 w 4610101"/>
              <a:gd name="connsiteY32342" fmla="*/ 667767 h 6557032"/>
              <a:gd name="connsiteX32343" fmla="*/ 976230 w 4610101"/>
              <a:gd name="connsiteY32343" fmla="*/ 674145 h 6557032"/>
              <a:gd name="connsiteX32344" fmla="*/ 976351 w 4610101"/>
              <a:gd name="connsiteY32344" fmla="*/ 675847 h 6557032"/>
              <a:gd name="connsiteX32345" fmla="*/ 974518 w 4610101"/>
              <a:gd name="connsiteY32345" fmla="*/ 677051 h 6557032"/>
              <a:gd name="connsiteX32346" fmla="*/ 945709 w 4610101"/>
              <a:gd name="connsiteY32346" fmla="*/ 667767 h 6557032"/>
              <a:gd name="connsiteX32347" fmla="*/ 942064 w 4610101"/>
              <a:gd name="connsiteY32347" fmla="*/ 676878 h 6557032"/>
              <a:gd name="connsiteX32348" fmla="*/ 945709 w 4610101"/>
              <a:gd name="connsiteY32348" fmla="*/ 667767 h 6557032"/>
              <a:gd name="connsiteX32349" fmla="*/ 843667 w 4610101"/>
              <a:gd name="connsiteY32349" fmla="*/ 667767 h 6557032"/>
              <a:gd name="connsiteX32350" fmla="*/ 838200 w 4610101"/>
              <a:gd name="connsiteY32350" fmla="*/ 671411 h 6557032"/>
              <a:gd name="connsiteX32351" fmla="*/ 841845 w 4610101"/>
              <a:gd name="connsiteY32351" fmla="*/ 673234 h 6557032"/>
              <a:gd name="connsiteX32352" fmla="*/ 843667 w 4610101"/>
              <a:gd name="connsiteY32352" fmla="*/ 667767 h 6557032"/>
              <a:gd name="connsiteX32353" fmla="*/ 829089 w 4610101"/>
              <a:gd name="connsiteY32353" fmla="*/ 667767 h 6557032"/>
              <a:gd name="connsiteX32354" fmla="*/ 834556 w 4610101"/>
              <a:gd name="connsiteY32354" fmla="*/ 673234 h 6557032"/>
              <a:gd name="connsiteX32355" fmla="*/ 836378 w 4610101"/>
              <a:gd name="connsiteY32355" fmla="*/ 675056 h 6557032"/>
              <a:gd name="connsiteX32356" fmla="*/ 834556 w 4610101"/>
              <a:gd name="connsiteY32356" fmla="*/ 671411 h 6557032"/>
              <a:gd name="connsiteX32357" fmla="*/ 830912 w 4610101"/>
              <a:gd name="connsiteY32357" fmla="*/ 667767 h 6557032"/>
              <a:gd name="connsiteX32358" fmla="*/ 829089 w 4610101"/>
              <a:gd name="connsiteY32358" fmla="*/ 667767 h 6557032"/>
              <a:gd name="connsiteX32359" fmla="*/ 581274 w 4610101"/>
              <a:gd name="connsiteY32359" fmla="*/ 667767 h 6557032"/>
              <a:gd name="connsiteX32360" fmla="*/ 581274 w 4610101"/>
              <a:gd name="connsiteY32360" fmla="*/ 680522 h 6557032"/>
              <a:gd name="connsiteX32361" fmla="*/ 581274 w 4610101"/>
              <a:gd name="connsiteY32361" fmla="*/ 667767 h 6557032"/>
              <a:gd name="connsiteX32362" fmla="*/ 291549 w 4610101"/>
              <a:gd name="connsiteY32362" fmla="*/ 667767 h 6557032"/>
              <a:gd name="connsiteX32363" fmla="*/ 302481 w 4610101"/>
              <a:gd name="connsiteY32363" fmla="*/ 687811 h 6557032"/>
              <a:gd name="connsiteX32364" fmla="*/ 304303 w 4610101"/>
              <a:gd name="connsiteY32364" fmla="*/ 685989 h 6557032"/>
              <a:gd name="connsiteX32365" fmla="*/ 324347 w 4610101"/>
              <a:gd name="connsiteY32365" fmla="*/ 713321 h 6557032"/>
              <a:gd name="connsiteX32366" fmla="*/ 324347 w 4610101"/>
              <a:gd name="connsiteY32366" fmla="*/ 706033 h 6557032"/>
              <a:gd name="connsiteX32367" fmla="*/ 337102 w 4610101"/>
              <a:gd name="connsiteY32367" fmla="*/ 726077 h 6557032"/>
              <a:gd name="connsiteX32368" fmla="*/ 326169 w 4610101"/>
              <a:gd name="connsiteY32368" fmla="*/ 707855 h 6557032"/>
              <a:gd name="connsiteX32369" fmla="*/ 331636 w 4610101"/>
              <a:gd name="connsiteY32369" fmla="*/ 707855 h 6557032"/>
              <a:gd name="connsiteX32370" fmla="*/ 317059 w 4610101"/>
              <a:gd name="connsiteY32370" fmla="*/ 693278 h 6557032"/>
              <a:gd name="connsiteX32371" fmla="*/ 326169 w 4610101"/>
              <a:gd name="connsiteY32371" fmla="*/ 693278 h 6557032"/>
              <a:gd name="connsiteX32372" fmla="*/ 326169 w 4610101"/>
              <a:gd name="connsiteY32372" fmla="*/ 689633 h 6557032"/>
              <a:gd name="connsiteX32373" fmla="*/ 306126 w 4610101"/>
              <a:gd name="connsiteY32373" fmla="*/ 680522 h 6557032"/>
              <a:gd name="connsiteX32374" fmla="*/ 304303 w 4610101"/>
              <a:gd name="connsiteY32374" fmla="*/ 682345 h 6557032"/>
              <a:gd name="connsiteX32375" fmla="*/ 291549 w 4610101"/>
              <a:gd name="connsiteY32375" fmla="*/ 667767 h 6557032"/>
              <a:gd name="connsiteX32376" fmla="*/ 176751 w 4610101"/>
              <a:gd name="connsiteY32376" fmla="*/ 667767 h 6557032"/>
              <a:gd name="connsiteX32377" fmla="*/ 184040 w 4610101"/>
              <a:gd name="connsiteY32377" fmla="*/ 680522 h 6557032"/>
              <a:gd name="connsiteX32378" fmla="*/ 176751 w 4610101"/>
              <a:gd name="connsiteY32378" fmla="*/ 667767 h 6557032"/>
              <a:gd name="connsiteX32379" fmla="*/ 138486 w 4610101"/>
              <a:gd name="connsiteY32379" fmla="*/ 667767 h 6557032"/>
              <a:gd name="connsiteX32380" fmla="*/ 140991 w 4610101"/>
              <a:gd name="connsiteY32380" fmla="*/ 671640 h 6557032"/>
              <a:gd name="connsiteX32381" fmla="*/ 141095 w 4610101"/>
              <a:gd name="connsiteY32381" fmla="*/ 672116 h 6557032"/>
              <a:gd name="connsiteX32382" fmla="*/ 63776 w 4610101"/>
              <a:gd name="connsiteY32382" fmla="*/ 667767 h 6557032"/>
              <a:gd name="connsiteX32383" fmla="*/ 83488 w 4610101"/>
              <a:gd name="connsiteY32383" fmla="*/ 685617 h 6557032"/>
              <a:gd name="connsiteX32384" fmla="*/ 83365 w 4610101"/>
              <a:gd name="connsiteY32384" fmla="*/ 685534 h 6557032"/>
              <a:gd name="connsiteX32385" fmla="*/ 63776 w 4610101"/>
              <a:gd name="connsiteY32385" fmla="*/ 667767 h 6557032"/>
              <a:gd name="connsiteX32386" fmla="*/ 375213 w 4610101"/>
              <a:gd name="connsiteY32386" fmla="*/ 667535 h 6557032"/>
              <a:gd name="connsiteX32387" fmla="*/ 375368 w 4610101"/>
              <a:gd name="connsiteY32387" fmla="*/ 667767 h 6557032"/>
              <a:gd name="connsiteX32388" fmla="*/ 375205 w 4610101"/>
              <a:gd name="connsiteY32388" fmla="*/ 667704 h 6557032"/>
              <a:gd name="connsiteX32389" fmla="*/ 2104556 w 4610101"/>
              <a:gd name="connsiteY32389" fmla="*/ 667325 h 6557032"/>
              <a:gd name="connsiteX32390" fmla="*/ 2104803 w 4610101"/>
              <a:gd name="connsiteY32390" fmla="*/ 667671 h 6557032"/>
              <a:gd name="connsiteX32391" fmla="*/ 2104611 w 4610101"/>
              <a:gd name="connsiteY32391" fmla="*/ 667767 h 6557032"/>
              <a:gd name="connsiteX32392" fmla="*/ 1234523 w 4610101"/>
              <a:gd name="connsiteY32392" fmla="*/ 666401 h 6557032"/>
              <a:gd name="connsiteX32393" fmla="*/ 1228146 w 4610101"/>
              <a:gd name="connsiteY32393" fmla="*/ 678700 h 6557032"/>
              <a:gd name="connsiteX32394" fmla="*/ 1231790 w 4610101"/>
              <a:gd name="connsiteY32394" fmla="*/ 682345 h 6557032"/>
              <a:gd name="connsiteX32395" fmla="*/ 1246367 w 4610101"/>
              <a:gd name="connsiteY32395" fmla="*/ 667767 h 6557032"/>
              <a:gd name="connsiteX32396" fmla="*/ 1234523 w 4610101"/>
              <a:gd name="connsiteY32396" fmla="*/ 666401 h 6557032"/>
              <a:gd name="connsiteX32397" fmla="*/ 2933700 w 4610101"/>
              <a:gd name="connsiteY32397" fmla="*/ 665945 h 6557032"/>
              <a:gd name="connsiteX32398" fmla="*/ 2946456 w 4610101"/>
              <a:gd name="connsiteY32398" fmla="*/ 675056 h 6557032"/>
              <a:gd name="connsiteX32399" fmla="*/ 2933700 w 4610101"/>
              <a:gd name="connsiteY32399" fmla="*/ 665945 h 6557032"/>
              <a:gd name="connsiteX32400" fmla="*/ 2620287 w 4610101"/>
              <a:gd name="connsiteY32400" fmla="*/ 665945 h 6557032"/>
              <a:gd name="connsiteX32401" fmla="*/ 2618464 w 4610101"/>
              <a:gd name="connsiteY32401" fmla="*/ 678700 h 6557032"/>
              <a:gd name="connsiteX32402" fmla="*/ 2614820 w 4610101"/>
              <a:gd name="connsiteY32402" fmla="*/ 673234 h 6557032"/>
              <a:gd name="connsiteX32403" fmla="*/ 2614820 w 4610101"/>
              <a:gd name="connsiteY32403" fmla="*/ 684167 h 6557032"/>
              <a:gd name="connsiteX32404" fmla="*/ 2622109 w 4610101"/>
              <a:gd name="connsiteY32404" fmla="*/ 687811 h 6557032"/>
              <a:gd name="connsiteX32405" fmla="*/ 2627575 w 4610101"/>
              <a:gd name="connsiteY32405" fmla="*/ 689633 h 6557032"/>
              <a:gd name="connsiteX32406" fmla="*/ 2627575 w 4610101"/>
              <a:gd name="connsiteY32406" fmla="*/ 680522 h 6557032"/>
              <a:gd name="connsiteX32407" fmla="*/ 2634864 w 4610101"/>
              <a:gd name="connsiteY32407" fmla="*/ 689633 h 6557032"/>
              <a:gd name="connsiteX32408" fmla="*/ 2620287 w 4610101"/>
              <a:gd name="connsiteY32408" fmla="*/ 665945 h 6557032"/>
              <a:gd name="connsiteX32409" fmla="*/ 1355698 w 4610101"/>
              <a:gd name="connsiteY32409" fmla="*/ 665945 h 6557032"/>
              <a:gd name="connsiteX32410" fmla="*/ 1333832 w 4610101"/>
              <a:gd name="connsiteY32410" fmla="*/ 684167 h 6557032"/>
              <a:gd name="connsiteX32411" fmla="*/ 1341120 w 4610101"/>
              <a:gd name="connsiteY32411" fmla="*/ 680522 h 6557032"/>
              <a:gd name="connsiteX32412" fmla="*/ 1344765 w 4610101"/>
              <a:gd name="connsiteY32412" fmla="*/ 682345 h 6557032"/>
              <a:gd name="connsiteX32413" fmla="*/ 1355698 w 4610101"/>
              <a:gd name="connsiteY32413" fmla="*/ 665945 h 6557032"/>
              <a:gd name="connsiteX32414" fmla="*/ 1268233 w 4610101"/>
              <a:gd name="connsiteY32414" fmla="*/ 665945 h 6557032"/>
              <a:gd name="connsiteX32415" fmla="*/ 1262767 w 4610101"/>
              <a:gd name="connsiteY32415" fmla="*/ 669589 h 6557032"/>
              <a:gd name="connsiteX32416" fmla="*/ 1268233 w 4610101"/>
              <a:gd name="connsiteY32416" fmla="*/ 665945 h 6557032"/>
              <a:gd name="connsiteX32417" fmla="*/ 1120637 w 4610101"/>
              <a:gd name="connsiteY32417" fmla="*/ 665945 h 6557032"/>
              <a:gd name="connsiteX32418" fmla="*/ 1118815 w 4610101"/>
              <a:gd name="connsiteY32418" fmla="*/ 671411 h 6557032"/>
              <a:gd name="connsiteX32419" fmla="*/ 1120637 w 4610101"/>
              <a:gd name="connsiteY32419" fmla="*/ 665945 h 6557032"/>
              <a:gd name="connsiteX32420" fmla="*/ 1078727 w 4610101"/>
              <a:gd name="connsiteY32420" fmla="*/ 665945 h 6557032"/>
              <a:gd name="connsiteX32421" fmla="*/ 1069616 w 4610101"/>
              <a:gd name="connsiteY32421" fmla="*/ 669589 h 6557032"/>
              <a:gd name="connsiteX32422" fmla="*/ 1073262 w 4610101"/>
              <a:gd name="connsiteY32422" fmla="*/ 669589 h 6557032"/>
              <a:gd name="connsiteX32423" fmla="*/ 1064151 w 4610101"/>
              <a:gd name="connsiteY32423" fmla="*/ 684167 h 6557032"/>
              <a:gd name="connsiteX32424" fmla="*/ 1078727 w 4610101"/>
              <a:gd name="connsiteY32424" fmla="*/ 665945 h 6557032"/>
              <a:gd name="connsiteX32425" fmla="*/ 696071 w 4610101"/>
              <a:gd name="connsiteY32425" fmla="*/ 665945 h 6557032"/>
              <a:gd name="connsiteX32426" fmla="*/ 694249 w 4610101"/>
              <a:gd name="connsiteY32426" fmla="*/ 673234 h 6557032"/>
              <a:gd name="connsiteX32427" fmla="*/ 696071 w 4610101"/>
              <a:gd name="connsiteY32427" fmla="*/ 665945 h 6557032"/>
              <a:gd name="connsiteX32428" fmla="*/ 668738 w 4610101"/>
              <a:gd name="connsiteY32428" fmla="*/ 665945 h 6557032"/>
              <a:gd name="connsiteX32429" fmla="*/ 679671 w 4610101"/>
              <a:gd name="connsiteY32429" fmla="*/ 673234 h 6557032"/>
              <a:gd name="connsiteX32430" fmla="*/ 677849 w 4610101"/>
              <a:gd name="connsiteY32430" fmla="*/ 675056 h 6557032"/>
              <a:gd name="connsiteX32431" fmla="*/ 688782 w 4610101"/>
              <a:gd name="connsiteY32431" fmla="*/ 678700 h 6557032"/>
              <a:gd name="connsiteX32432" fmla="*/ 679671 w 4610101"/>
              <a:gd name="connsiteY32432" fmla="*/ 673234 h 6557032"/>
              <a:gd name="connsiteX32433" fmla="*/ 668738 w 4610101"/>
              <a:gd name="connsiteY32433" fmla="*/ 665945 h 6557032"/>
              <a:gd name="connsiteX32434" fmla="*/ 590385 w 4610101"/>
              <a:gd name="connsiteY32434" fmla="*/ 665945 h 6557032"/>
              <a:gd name="connsiteX32435" fmla="*/ 588562 w 4610101"/>
              <a:gd name="connsiteY32435" fmla="*/ 680522 h 6557032"/>
              <a:gd name="connsiteX32436" fmla="*/ 590385 w 4610101"/>
              <a:gd name="connsiteY32436" fmla="*/ 665945 h 6557032"/>
              <a:gd name="connsiteX32437" fmla="*/ 581274 w 4610101"/>
              <a:gd name="connsiteY32437" fmla="*/ 665945 h 6557032"/>
              <a:gd name="connsiteX32438" fmla="*/ 575808 w 4610101"/>
              <a:gd name="connsiteY32438" fmla="*/ 671411 h 6557032"/>
              <a:gd name="connsiteX32439" fmla="*/ 581274 w 4610101"/>
              <a:gd name="connsiteY32439" fmla="*/ 665945 h 6557032"/>
              <a:gd name="connsiteX32440" fmla="*/ 510209 w 4610101"/>
              <a:gd name="connsiteY32440" fmla="*/ 665945 h 6557032"/>
              <a:gd name="connsiteX32441" fmla="*/ 519320 w 4610101"/>
              <a:gd name="connsiteY32441" fmla="*/ 682345 h 6557032"/>
              <a:gd name="connsiteX32442" fmla="*/ 510209 w 4610101"/>
              <a:gd name="connsiteY32442" fmla="*/ 665945 h 6557032"/>
              <a:gd name="connsiteX32443" fmla="*/ 215017 w 4610101"/>
              <a:gd name="connsiteY32443" fmla="*/ 665945 h 6557032"/>
              <a:gd name="connsiteX32444" fmla="*/ 224128 w 4610101"/>
              <a:gd name="connsiteY32444" fmla="*/ 678700 h 6557032"/>
              <a:gd name="connsiteX32445" fmla="*/ 215017 w 4610101"/>
              <a:gd name="connsiteY32445" fmla="*/ 665945 h 6557032"/>
              <a:gd name="connsiteX32446" fmla="*/ 1175217 w 4610101"/>
              <a:gd name="connsiteY32446" fmla="*/ 664949 h 6557032"/>
              <a:gd name="connsiteX32447" fmla="*/ 1153436 w 4610101"/>
              <a:gd name="connsiteY32447" fmla="*/ 684167 h 6557032"/>
              <a:gd name="connsiteX32448" fmla="*/ 1157081 w 4610101"/>
              <a:gd name="connsiteY32448" fmla="*/ 682345 h 6557032"/>
              <a:gd name="connsiteX32449" fmla="*/ 1155259 w 4610101"/>
              <a:gd name="connsiteY32449" fmla="*/ 689633 h 6557032"/>
              <a:gd name="connsiteX32450" fmla="*/ 1160725 w 4610101"/>
              <a:gd name="connsiteY32450" fmla="*/ 685989 h 6557032"/>
              <a:gd name="connsiteX32451" fmla="*/ 1158903 w 4610101"/>
              <a:gd name="connsiteY32451" fmla="*/ 689633 h 6557032"/>
              <a:gd name="connsiteX32452" fmla="*/ 1164370 w 4610101"/>
              <a:gd name="connsiteY32452" fmla="*/ 685989 h 6557032"/>
              <a:gd name="connsiteX32453" fmla="*/ 1168014 w 4610101"/>
              <a:gd name="connsiteY32453" fmla="*/ 685989 h 6557032"/>
              <a:gd name="connsiteX32454" fmla="*/ 1168014 w 4610101"/>
              <a:gd name="connsiteY32454" fmla="*/ 678700 h 6557032"/>
              <a:gd name="connsiteX32455" fmla="*/ 1166192 w 4610101"/>
              <a:gd name="connsiteY32455" fmla="*/ 680522 h 6557032"/>
              <a:gd name="connsiteX32456" fmla="*/ 1166192 w 4610101"/>
              <a:gd name="connsiteY32456" fmla="*/ 675056 h 6557032"/>
              <a:gd name="connsiteX32457" fmla="*/ 1171658 w 4610101"/>
              <a:gd name="connsiteY32457" fmla="*/ 675056 h 6557032"/>
              <a:gd name="connsiteX32458" fmla="*/ 1171658 w 4610101"/>
              <a:gd name="connsiteY32458" fmla="*/ 671411 h 6557032"/>
              <a:gd name="connsiteX32459" fmla="*/ 1175303 w 4610101"/>
              <a:gd name="connsiteY32459" fmla="*/ 669589 h 6557032"/>
              <a:gd name="connsiteX32460" fmla="*/ 1178947 w 4610101"/>
              <a:gd name="connsiteY32460" fmla="*/ 675056 h 6557032"/>
              <a:gd name="connsiteX32461" fmla="*/ 1182592 w 4610101"/>
              <a:gd name="connsiteY32461" fmla="*/ 669589 h 6557032"/>
              <a:gd name="connsiteX32462" fmla="*/ 1175217 w 4610101"/>
              <a:gd name="connsiteY32462" fmla="*/ 664949 h 6557032"/>
              <a:gd name="connsiteX32463" fmla="*/ 725522 w 4610101"/>
              <a:gd name="connsiteY32463" fmla="*/ 664632 h 6557032"/>
              <a:gd name="connsiteX32464" fmla="*/ 729097 w 4610101"/>
              <a:gd name="connsiteY32464" fmla="*/ 665490 h 6557032"/>
              <a:gd name="connsiteX32465" fmla="*/ 729941 w 4610101"/>
              <a:gd name="connsiteY32465" fmla="*/ 667660 h 6557032"/>
              <a:gd name="connsiteX32466" fmla="*/ 727503 w 4610101"/>
              <a:gd name="connsiteY32466" fmla="*/ 667312 h 6557032"/>
              <a:gd name="connsiteX32467" fmla="*/ 3422043 w 4610101"/>
              <a:gd name="connsiteY32467" fmla="*/ 664123 h 6557032"/>
              <a:gd name="connsiteX32468" fmla="*/ 3420221 w 4610101"/>
              <a:gd name="connsiteY32468" fmla="*/ 673234 h 6557032"/>
              <a:gd name="connsiteX32469" fmla="*/ 3427510 w 4610101"/>
              <a:gd name="connsiteY32469" fmla="*/ 667767 h 6557032"/>
              <a:gd name="connsiteX32470" fmla="*/ 3425687 w 4610101"/>
              <a:gd name="connsiteY32470" fmla="*/ 667767 h 6557032"/>
              <a:gd name="connsiteX32471" fmla="*/ 3422043 w 4610101"/>
              <a:gd name="connsiteY32471" fmla="*/ 664123 h 6557032"/>
              <a:gd name="connsiteX32472" fmla="*/ 3225248 w 4610101"/>
              <a:gd name="connsiteY32472" fmla="*/ 664123 h 6557032"/>
              <a:gd name="connsiteX32473" fmla="*/ 3214315 w 4610101"/>
              <a:gd name="connsiteY32473" fmla="*/ 671411 h 6557032"/>
              <a:gd name="connsiteX32474" fmla="*/ 3219782 w 4610101"/>
              <a:gd name="connsiteY32474" fmla="*/ 675056 h 6557032"/>
              <a:gd name="connsiteX32475" fmla="*/ 3225248 w 4610101"/>
              <a:gd name="connsiteY32475" fmla="*/ 664123 h 6557032"/>
              <a:gd name="connsiteX32476" fmla="*/ 1328365 w 4610101"/>
              <a:gd name="connsiteY32476" fmla="*/ 664123 h 6557032"/>
              <a:gd name="connsiteX32477" fmla="*/ 1315610 w 4610101"/>
              <a:gd name="connsiteY32477" fmla="*/ 680522 h 6557032"/>
              <a:gd name="connsiteX32478" fmla="*/ 1321077 w 4610101"/>
              <a:gd name="connsiteY32478" fmla="*/ 673234 h 6557032"/>
              <a:gd name="connsiteX32479" fmla="*/ 1322899 w 4610101"/>
              <a:gd name="connsiteY32479" fmla="*/ 675056 h 6557032"/>
              <a:gd name="connsiteX32480" fmla="*/ 1328365 w 4610101"/>
              <a:gd name="connsiteY32480" fmla="*/ 664123 h 6557032"/>
              <a:gd name="connsiteX32481" fmla="*/ 1297388 w 4610101"/>
              <a:gd name="connsiteY32481" fmla="*/ 664123 h 6557032"/>
              <a:gd name="connsiteX32482" fmla="*/ 1293744 w 4610101"/>
              <a:gd name="connsiteY32482" fmla="*/ 669589 h 6557032"/>
              <a:gd name="connsiteX32483" fmla="*/ 1297388 w 4610101"/>
              <a:gd name="connsiteY32483" fmla="*/ 664123 h 6557032"/>
              <a:gd name="connsiteX32484" fmla="*/ 1115171 w 4610101"/>
              <a:gd name="connsiteY32484" fmla="*/ 664123 h 6557032"/>
              <a:gd name="connsiteX32485" fmla="*/ 1111526 w 4610101"/>
              <a:gd name="connsiteY32485" fmla="*/ 667767 h 6557032"/>
              <a:gd name="connsiteX32486" fmla="*/ 1116993 w 4610101"/>
              <a:gd name="connsiteY32486" fmla="*/ 664123 h 6557032"/>
              <a:gd name="connsiteX32487" fmla="*/ 1115171 w 4610101"/>
              <a:gd name="connsiteY32487" fmla="*/ 664123 h 6557032"/>
              <a:gd name="connsiteX32488" fmla="*/ 949353 w 4610101"/>
              <a:gd name="connsiteY32488" fmla="*/ 664123 h 6557032"/>
              <a:gd name="connsiteX32489" fmla="*/ 949353 w 4610101"/>
              <a:gd name="connsiteY32489" fmla="*/ 665945 h 6557032"/>
              <a:gd name="connsiteX32490" fmla="*/ 949244 w 4610101"/>
              <a:gd name="connsiteY32490" fmla="*/ 664852 h 6557032"/>
              <a:gd name="connsiteX32491" fmla="*/ 940242 w 4610101"/>
              <a:gd name="connsiteY32491" fmla="*/ 664123 h 6557032"/>
              <a:gd name="connsiteX32492" fmla="*/ 938420 w 4610101"/>
              <a:gd name="connsiteY32492" fmla="*/ 669589 h 6557032"/>
              <a:gd name="connsiteX32493" fmla="*/ 940242 w 4610101"/>
              <a:gd name="connsiteY32493" fmla="*/ 664123 h 6557032"/>
              <a:gd name="connsiteX32494" fmla="*/ 789003 w 4610101"/>
              <a:gd name="connsiteY32494" fmla="*/ 664123 h 6557032"/>
              <a:gd name="connsiteX32495" fmla="*/ 792646 w 4610101"/>
              <a:gd name="connsiteY32495" fmla="*/ 676878 h 6557032"/>
              <a:gd name="connsiteX32496" fmla="*/ 789003 w 4610101"/>
              <a:gd name="connsiteY32496" fmla="*/ 664123 h 6557032"/>
              <a:gd name="connsiteX32497" fmla="*/ 759848 w 4610101"/>
              <a:gd name="connsiteY32497" fmla="*/ 664123 h 6557032"/>
              <a:gd name="connsiteX32498" fmla="*/ 768959 w 4610101"/>
              <a:gd name="connsiteY32498" fmla="*/ 673234 h 6557032"/>
              <a:gd name="connsiteX32499" fmla="*/ 759848 w 4610101"/>
              <a:gd name="connsiteY32499" fmla="*/ 664123 h 6557032"/>
              <a:gd name="connsiteX32500" fmla="*/ 561230 w 4610101"/>
              <a:gd name="connsiteY32500" fmla="*/ 664123 h 6557032"/>
              <a:gd name="connsiteX32501" fmla="*/ 563052 w 4610101"/>
              <a:gd name="connsiteY32501" fmla="*/ 669589 h 6557032"/>
              <a:gd name="connsiteX32502" fmla="*/ 566697 w 4610101"/>
              <a:gd name="connsiteY32502" fmla="*/ 665945 h 6557032"/>
              <a:gd name="connsiteX32503" fmla="*/ 561230 w 4610101"/>
              <a:gd name="connsiteY32503" fmla="*/ 664123 h 6557032"/>
              <a:gd name="connsiteX32504" fmla="*/ 501098 w 4610101"/>
              <a:gd name="connsiteY32504" fmla="*/ 664123 h 6557032"/>
              <a:gd name="connsiteX32505" fmla="*/ 499320 w 4610101"/>
              <a:gd name="connsiteY32505" fmla="*/ 669678 h 6557032"/>
              <a:gd name="connsiteX32506" fmla="*/ 499276 w 4610101"/>
              <a:gd name="connsiteY32506" fmla="*/ 669817 h 6557032"/>
              <a:gd name="connsiteX32507" fmla="*/ 502920 w 4610101"/>
              <a:gd name="connsiteY32507" fmla="*/ 676878 h 6557032"/>
              <a:gd name="connsiteX32508" fmla="*/ 504743 w 4610101"/>
              <a:gd name="connsiteY32508" fmla="*/ 673234 h 6557032"/>
              <a:gd name="connsiteX32509" fmla="*/ 506565 w 4610101"/>
              <a:gd name="connsiteY32509" fmla="*/ 676878 h 6557032"/>
              <a:gd name="connsiteX32510" fmla="*/ 501098 w 4610101"/>
              <a:gd name="connsiteY32510" fmla="*/ 664123 h 6557032"/>
              <a:gd name="connsiteX32511" fmla="*/ 493809 w 4610101"/>
              <a:gd name="connsiteY32511" fmla="*/ 664123 h 6557032"/>
              <a:gd name="connsiteX32512" fmla="*/ 488343 w 4610101"/>
              <a:gd name="connsiteY32512" fmla="*/ 665945 h 6557032"/>
              <a:gd name="connsiteX32513" fmla="*/ 493809 w 4610101"/>
              <a:gd name="connsiteY32513" fmla="*/ 676878 h 6557032"/>
              <a:gd name="connsiteX32514" fmla="*/ 493809 w 4610101"/>
              <a:gd name="connsiteY32514" fmla="*/ 664123 h 6557032"/>
              <a:gd name="connsiteX32515" fmla="*/ 349858 w 4610101"/>
              <a:gd name="connsiteY32515" fmla="*/ 664123 h 6557032"/>
              <a:gd name="connsiteX32516" fmla="*/ 375368 w 4610101"/>
              <a:gd name="connsiteY32516" fmla="*/ 693278 h 6557032"/>
              <a:gd name="connsiteX32517" fmla="*/ 349858 w 4610101"/>
              <a:gd name="connsiteY32517" fmla="*/ 664123 h 6557032"/>
              <a:gd name="connsiteX32518" fmla="*/ 344391 w 4610101"/>
              <a:gd name="connsiteY32518" fmla="*/ 664123 h 6557032"/>
              <a:gd name="connsiteX32519" fmla="*/ 346213 w 4610101"/>
              <a:gd name="connsiteY32519" fmla="*/ 669589 h 6557032"/>
              <a:gd name="connsiteX32520" fmla="*/ 348037 w 4610101"/>
              <a:gd name="connsiteY32520" fmla="*/ 665945 h 6557032"/>
              <a:gd name="connsiteX32521" fmla="*/ 344391 w 4610101"/>
              <a:gd name="connsiteY32521" fmla="*/ 664123 h 6557032"/>
              <a:gd name="connsiteX32522" fmla="*/ 284259 w 4610101"/>
              <a:gd name="connsiteY32522" fmla="*/ 664123 h 6557032"/>
              <a:gd name="connsiteX32523" fmla="*/ 293370 w 4610101"/>
              <a:gd name="connsiteY32523" fmla="*/ 680522 h 6557032"/>
              <a:gd name="connsiteX32524" fmla="*/ 284259 w 4610101"/>
              <a:gd name="connsiteY32524" fmla="*/ 664123 h 6557032"/>
              <a:gd name="connsiteX32525" fmla="*/ 3609307 w 4610101"/>
              <a:gd name="connsiteY32525" fmla="*/ 662582 h 6557032"/>
              <a:gd name="connsiteX32526" fmla="*/ 3612460 w 4610101"/>
              <a:gd name="connsiteY32526" fmla="*/ 663212 h 6557032"/>
              <a:gd name="connsiteX32527" fmla="*/ 3611549 w 4610101"/>
              <a:gd name="connsiteY32527" fmla="*/ 664123 h 6557032"/>
              <a:gd name="connsiteX32528" fmla="*/ 1428585 w 4610101"/>
              <a:gd name="connsiteY32528" fmla="*/ 662301 h 6557032"/>
              <a:gd name="connsiteX32529" fmla="*/ 1419474 w 4610101"/>
              <a:gd name="connsiteY32529" fmla="*/ 667767 h 6557032"/>
              <a:gd name="connsiteX32530" fmla="*/ 1428585 w 4610101"/>
              <a:gd name="connsiteY32530" fmla="*/ 662301 h 6557032"/>
              <a:gd name="connsiteX32531" fmla="*/ 1086016 w 4610101"/>
              <a:gd name="connsiteY32531" fmla="*/ 662301 h 6557032"/>
              <a:gd name="connsiteX32532" fmla="*/ 1078727 w 4610101"/>
              <a:gd name="connsiteY32532" fmla="*/ 673234 h 6557032"/>
              <a:gd name="connsiteX32533" fmla="*/ 1086016 w 4610101"/>
              <a:gd name="connsiteY32533" fmla="*/ 662301 h 6557032"/>
              <a:gd name="connsiteX32534" fmla="*/ 639583 w 4610101"/>
              <a:gd name="connsiteY32534" fmla="*/ 662301 h 6557032"/>
              <a:gd name="connsiteX32535" fmla="*/ 626828 w 4610101"/>
              <a:gd name="connsiteY32535" fmla="*/ 680522 h 6557032"/>
              <a:gd name="connsiteX32536" fmla="*/ 632296 w 4610101"/>
              <a:gd name="connsiteY32536" fmla="*/ 676878 h 6557032"/>
              <a:gd name="connsiteX32537" fmla="*/ 612251 w 4610101"/>
              <a:gd name="connsiteY32537" fmla="*/ 702388 h 6557032"/>
              <a:gd name="connsiteX32538" fmla="*/ 628650 w 4610101"/>
              <a:gd name="connsiteY32538" fmla="*/ 689633 h 6557032"/>
              <a:gd name="connsiteX32539" fmla="*/ 635939 w 4610101"/>
              <a:gd name="connsiteY32539" fmla="*/ 722432 h 6557032"/>
              <a:gd name="connsiteX32540" fmla="*/ 641407 w 4610101"/>
              <a:gd name="connsiteY32540" fmla="*/ 722432 h 6557032"/>
              <a:gd name="connsiteX32541" fmla="*/ 645050 w 4610101"/>
              <a:gd name="connsiteY32541" fmla="*/ 722432 h 6557032"/>
              <a:gd name="connsiteX32542" fmla="*/ 641407 w 4610101"/>
              <a:gd name="connsiteY32542" fmla="*/ 718788 h 6557032"/>
              <a:gd name="connsiteX32543" fmla="*/ 635939 w 4610101"/>
              <a:gd name="connsiteY32543" fmla="*/ 713321 h 6557032"/>
              <a:gd name="connsiteX32544" fmla="*/ 639583 w 4610101"/>
              <a:gd name="connsiteY32544" fmla="*/ 713321 h 6557032"/>
              <a:gd name="connsiteX32545" fmla="*/ 632296 w 4610101"/>
              <a:gd name="connsiteY32545" fmla="*/ 702388 h 6557032"/>
              <a:gd name="connsiteX32546" fmla="*/ 643228 w 4610101"/>
              <a:gd name="connsiteY32546" fmla="*/ 713321 h 6557032"/>
              <a:gd name="connsiteX32547" fmla="*/ 641407 w 4610101"/>
              <a:gd name="connsiteY32547" fmla="*/ 709677 h 6557032"/>
              <a:gd name="connsiteX32548" fmla="*/ 650516 w 4610101"/>
              <a:gd name="connsiteY32548" fmla="*/ 704211 h 6557032"/>
              <a:gd name="connsiteX32549" fmla="*/ 650516 w 4610101"/>
              <a:gd name="connsiteY32549" fmla="*/ 711499 h 6557032"/>
              <a:gd name="connsiteX32550" fmla="*/ 657805 w 4610101"/>
              <a:gd name="connsiteY32550" fmla="*/ 707855 h 6557032"/>
              <a:gd name="connsiteX32551" fmla="*/ 652339 w 4610101"/>
              <a:gd name="connsiteY32551" fmla="*/ 713321 h 6557032"/>
              <a:gd name="connsiteX32552" fmla="*/ 653718 w 4610101"/>
              <a:gd name="connsiteY32552" fmla="*/ 715549 h 6557032"/>
              <a:gd name="connsiteX32553" fmla="*/ 648922 w 4610101"/>
              <a:gd name="connsiteY32553" fmla="*/ 719927 h 6557032"/>
              <a:gd name="connsiteX32554" fmla="*/ 650516 w 4610101"/>
              <a:gd name="connsiteY32554" fmla="*/ 726077 h 6557032"/>
              <a:gd name="connsiteX32555" fmla="*/ 653705 w 4610101"/>
              <a:gd name="connsiteY32555" fmla="*/ 720611 h 6557032"/>
              <a:gd name="connsiteX32556" fmla="*/ 654078 w 4610101"/>
              <a:gd name="connsiteY32556" fmla="*/ 716132 h 6557032"/>
              <a:gd name="connsiteX32557" fmla="*/ 655300 w 4610101"/>
              <a:gd name="connsiteY32557" fmla="*/ 718105 h 6557032"/>
              <a:gd name="connsiteX32558" fmla="*/ 655588 w 4610101"/>
              <a:gd name="connsiteY32558" fmla="*/ 718151 h 6557032"/>
              <a:gd name="connsiteX32559" fmla="*/ 652339 w 4610101"/>
              <a:gd name="connsiteY32559" fmla="*/ 727899 h 6557032"/>
              <a:gd name="connsiteX32560" fmla="*/ 661449 w 4610101"/>
              <a:gd name="connsiteY32560" fmla="*/ 720610 h 6557032"/>
              <a:gd name="connsiteX32561" fmla="*/ 658433 w 4610101"/>
              <a:gd name="connsiteY32561" fmla="*/ 718600 h 6557032"/>
              <a:gd name="connsiteX32562" fmla="*/ 659627 w 4610101"/>
              <a:gd name="connsiteY32562" fmla="*/ 718788 h 6557032"/>
              <a:gd name="connsiteX32563" fmla="*/ 663272 w 4610101"/>
              <a:gd name="connsiteY32563" fmla="*/ 700566 h 6557032"/>
              <a:gd name="connsiteX32564" fmla="*/ 663272 w 4610101"/>
              <a:gd name="connsiteY32564" fmla="*/ 713321 h 6557032"/>
              <a:gd name="connsiteX32565" fmla="*/ 676027 w 4610101"/>
              <a:gd name="connsiteY32565" fmla="*/ 704211 h 6557032"/>
              <a:gd name="connsiteX32566" fmla="*/ 679671 w 4610101"/>
              <a:gd name="connsiteY32566" fmla="*/ 707855 h 6557032"/>
              <a:gd name="connsiteX32567" fmla="*/ 672383 w 4610101"/>
              <a:gd name="connsiteY32567" fmla="*/ 685989 h 6557032"/>
              <a:gd name="connsiteX32568" fmla="*/ 668738 w 4610101"/>
              <a:gd name="connsiteY32568" fmla="*/ 685989 h 6557032"/>
              <a:gd name="connsiteX32569" fmla="*/ 666919 w 4610101"/>
              <a:gd name="connsiteY32569" fmla="*/ 684809 h 6557032"/>
              <a:gd name="connsiteX32570" fmla="*/ 663271 w 4610101"/>
              <a:gd name="connsiteY32570" fmla="*/ 686025 h 6557032"/>
              <a:gd name="connsiteX32571" fmla="*/ 665093 w 4610101"/>
              <a:gd name="connsiteY32571" fmla="*/ 695136 h 6557032"/>
              <a:gd name="connsiteX32572" fmla="*/ 655982 w 4610101"/>
              <a:gd name="connsiteY32572" fmla="*/ 682381 h 6557032"/>
              <a:gd name="connsiteX32573" fmla="*/ 662360 w 4610101"/>
              <a:gd name="connsiteY32573" fmla="*/ 681926 h 6557032"/>
              <a:gd name="connsiteX32574" fmla="*/ 662623 w 4610101"/>
              <a:gd name="connsiteY32574" fmla="*/ 682019 h 6557032"/>
              <a:gd name="connsiteX32575" fmla="*/ 655755 w 4610101"/>
              <a:gd name="connsiteY32575" fmla="*/ 677562 h 6557032"/>
              <a:gd name="connsiteX32576" fmla="*/ 641407 w 4610101"/>
              <a:gd name="connsiteY32576" fmla="*/ 673234 h 6557032"/>
              <a:gd name="connsiteX32577" fmla="*/ 655983 w 4610101"/>
              <a:gd name="connsiteY32577" fmla="*/ 675056 h 6557032"/>
              <a:gd name="connsiteX32578" fmla="*/ 635939 w 4610101"/>
              <a:gd name="connsiteY32578" fmla="*/ 673234 h 6557032"/>
              <a:gd name="connsiteX32579" fmla="*/ 643228 w 4610101"/>
              <a:gd name="connsiteY32579" fmla="*/ 665945 h 6557032"/>
              <a:gd name="connsiteX32580" fmla="*/ 639583 w 4610101"/>
              <a:gd name="connsiteY32580" fmla="*/ 662301 h 6557032"/>
              <a:gd name="connsiteX32581" fmla="*/ 371724 w 4610101"/>
              <a:gd name="connsiteY32581" fmla="*/ 662301 h 6557032"/>
              <a:gd name="connsiteX32582" fmla="*/ 370129 w 4610101"/>
              <a:gd name="connsiteY32582" fmla="*/ 665718 h 6557032"/>
              <a:gd name="connsiteX32583" fmla="*/ 375205 w 4610101"/>
              <a:gd name="connsiteY32583" fmla="*/ 667704 h 6557032"/>
              <a:gd name="connsiteX32584" fmla="*/ 375140 w 4610101"/>
              <a:gd name="connsiteY32584" fmla="*/ 669134 h 6557032"/>
              <a:gd name="connsiteX32585" fmla="*/ 379012 w 4610101"/>
              <a:gd name="connsiteY32585" fmla="*/ 671411 h 6557032"/>
              <a:gd name="connsiteX32586" fmla="*/ 375368 w 4610101"/>
              <a:gd name="connsiteY32586" fmla="*/ 664123 h 6557032"/>
              <a:gd name="connsiteX32587" fmla="*/ 375213 w 4610101"/>
              <a:gd name="connsiteY32587" fmla="*/ 667535 h 6557032"/>
              <a:gd name="connsiteX32588" fmla="*/ 271504 w 4610101"/>
              <a:gd name="connsiteY32588" fmla="*/ 662301 h 6557032"/>
              <a:gd name="connsiteX32589" fmla="*/ 276971 w 4610101"/>
              <a:gd name="connsiteY32589" fmla="*/ 673234 h 6557032"/>
              <a:gd name="connsiteX32590" fmla="*/ 273327 w 4610101"/>
              <a:gd name="connsiteY32590" fmla="*/ 664123 h 6557032"/>
              <a:gd name="connsiteX32591" fmla="*/ 278793 w 4610101"/>
              <a:gd name="connsiteY32591" fmla="*/ 676878 h 6557032"/>
              <a:gd name="connsiteX32592" fmla="*/ 282438 w 4610101"/>
              <a:gd name="connsiteY32592" fmla="*/ 667767 h 6557032"/>
              <a:gd name="connsiteX32593" fmla="*/ 271504 w 4610101"/>
              <a:gd name="connsiteY32593" fmla="*/ 662301 h 6557032"/>
              <a:gd name="connsiteX32594" fmla="*/ 269682 w 4610101"/>
              <a:gd name="connsiteY32594" fmla="*/ 662301 h 6557032"/>
              <a:gd name="connsiteX32595" fmla="*/ 270019 w 4610101"/>
              <a:gd name="connsiteY32595" fmla="*/ 663365 h 6557032"/>
              <a:gd name="connsiteX32596" fmla="*/ 271504 w 4610101"/>
              <a:gd name="connsiteY32596" fmla="*/ 675056 h 6557032"/>
              <a:gd name="connsiteX32597" fmla="*/ 268941 w 4610101"/>
              <a:gd name="connsiteY32597" fmla="*/ 669076 h 6557032"/>
              <a:gd name="connsiteX32598" fmla="*/ 200439 w 4610101"/>
              <a:gd name="connsiteY32598" fmla="*/ 662301 h 6557032"/>
              <a:gd name="connsiteX32599" fmla="*/ 227772 w 4610101"/>
              <a:gd name="connsiteY32599" fmla="*/ 700566 h 6557032"/>
              <a:gd name="connsiteX32600" fmla="*/ 200439 w 4610101"/>
              <a:gd name="connsiteY32600" fmla="*/ 662301 h 6557032"/>
              <a:gd name="connsiteX32601" fmla="*/ 794923 w 4610101"/>
              <a:gd name="connsiteY32601" fmla="*/ 662073 h 6557032"/>
              <a:gd name="connsiteX32602" fmla="*/ 790824 w 4610101"/>
              <a:gd name="connsiteY32602" fmla="*/ 662301 h 6557032"/>
              <a:gd name="connsiteX32603" fmla="*/ 796290 w 4610101"/>
              <a:gd name="connsiteY32603" fmla="*/ 665945 h 6557032"/>
              <a:gd name="connsiteX32604" fmla="*/ 794923 w 4610101"/>
              <a:gd name="connsiteY32604" fmla="*/ 662073 h 6557032"/>
              <a:gd name="connsiteX32605" fmla="*/ 2955111 w 4610101"/>
              <a:gd name="connsiteY32605" fmla="*/ 660650 h 6557032"/>
              <a:gd name="connsiteX32606" fmla="*/ 2951922 w 4610101"/>
              <a:gd name="connsiteY32606" fmla="*/ 665945 h 6557032"/>
              <a:gd name="connsiteX32607" fmla="*/ 2975610 w 4610101"/>
              <a:gd name="connsiteY32607" fmla="*/ 671411 h 6557032"/>
              <a:gd name="connsiteX32608" fmla="*/ 2955111 w 4610101"/>
              <a:gd name="connsiteY32608" fmla="*/ 660650 h 6557032"/>
              <a:gd name="connsiteX32609" fmla="*/ 3217960 w 4610101"/>
              <a:gd name="connsiteY32609" fmla="*/ 660478 h 6557032"/>
              <a:gd name="connsiteX32610" fmla="*/ 3203382 w 4610101"/>
              <a:gd name="connsiteY32610" fmla="*/ 662301 h 6557032"/>
              <a:gd name="connsiteX32611" fmla="*/ 3205204 w 4610101"/>
              <a:gd name="connsiteY32611" fmla="*/ 667767 h 6557032"/>
              <a:gd name="connsiteX32612" fmla="*/ 3217960 w 4610101"/>
              <a:gd name="connsiteY32612" fmla="*/ 660478 h 6557032"/>
              <a:gd name="connsiteX32613" fmla="*/ 2880857 w 4610101"/>
              <a:gd name="connsiteY32613" fmla="*/ 660478 h 6557032"/>
              <a:gd name="connsiteX32614" fmla="*/ 2877213 w 4610101"/>
              <a:gd name="connsiteY32614" fmla="*/ 675056 h 6557032"/>
              <a:gd name="connsiteX32615" fmla="*/ 2880857 w 4610101"/>
              <a:gd name="connsiteY32615" fmla="*/ 660478 h 6557032"/>
              <a:gd name="connsiteX32616" fmla="*/ 2605709 w 4610101"/>
              <a:gd name="connsiteY32616" fmla="*/ 660478 h 6557032"/>
              <a:gd name="connsiteX32617" fmla="*/ 2605709 w 4610101"/>
              <a:gd name="connsiteY32617" fmla="*/ 671411 h 6557032"/>
              <a:gd name="connsiteX32618" fmla="*/ 2609353 w 4610101"/>
              <a:gd name="connsiteY32618" fmla="*/ 667767 h 6557032"/>
              <a:gd name="connsiteX32619" fmla="*/ 2605709 w 4610101"/>
              <a:gd name="connsiteY32619" fmla="*/ 660478 h 6557032"/>
              <a:gd name="connsiteX32620" fmla="*/ 1414007 w 4610101"/>
              <a:gd name="connsiteY32620" fmla="*/ 660478 h 6557032"/>
              <a:gd name="connsiteX32621" fmla="*/ 1406719 w 4610101"/>
              <a:gd name="connsiteY32621" fmla="*/ 667767 h 6557032"/>
              <a:gd name="connsiteX32622" fmla="*/ 1414007 w 4610101"/>
              <a:gd name="connsiteY32622" fmla="*/ 660478 h 6557032"/>
              <a:gd name="connsiteX32623" fmla="*/ 1024062 w 4610101"/>
              <a:gd name="connsiteY32623" fmla="*/ 660478 h 6557032"/>
              <a:gd name="connsiteX32624" fmla="*/ 1018596 w 4610101"/>
              <a:gd name="connsiteY32624" fmla="*/ 669589 h 6557032"/>
              <a:gd name="connsiteX32625" fmla="*/ 1024062 w 4610101"/>
              <a:gd name="connsiteY32625" fmla="*/ 660478 h 6557032"/>
              <a:gd name="connsiteX32626" fmla="*/ 816334 w 4610101"/>
              <a:gd name="connsiteY32626" fmla="*/ 660478 h 6557032"/>
              <a:gd name="connsiteX32627" fmla="*/ 810868 w 4610101"/>
              <a:gd name="connsiteY32627" fmla="*/ 667767 h 6557032"/>
              <a:gd name="connsiteX32628" fmla="*/ 816334 w 4610101"/>
              <a:gd name="connsiteY32628" fmla="*/ 660478 h 6557032"/>
              <a:gd name="connsiteX32629" fmla="*/ 652339 w 4610101"/>
              <a:gd name="connsiteY32629" fmla="*/ 660478 h 6557032"/>
              <a:gd name="connsiteX32630" fmla="*/ 676027 w 4610101"/>
              <a:gd name="connsiteY32630" fmla="*/ 678700 h 6557032"/>
              <a:gd name="connsiteX32631" fmla="*/ 652339 w 4610101"/>
              <a:gd name="connsiteY32631" fmla="*/ 660478 h 6557032"/>
              <a:gd name="connsiteX32632" fmla="*/ 586741 w 4610101"/>
              <a:gd name="connsiteY32632" fmla="*/ 660478 h 6557032"/>
              <a:gd name="connsiteX32633" fmla="*/ 584919 w 4610101"/>
              <a:gd name="connsiteY32633" fmla="*/ 669589 h 6557032"/>
              <a:gd name="connsiteX32634" fmla="*/ 586741 w 4610101"/>
              <a:gd name="connsiteY32634" fmla="*/ 660478 h 6557032"/>
              <a:gd name="connsiteX32635" fmla="*/ 488343 w 4610101"/>
              <a:gd name="connsiteY32635" fmla="*/ 660478 h 6557032"/>
              <a:gd name="connsiteX32636" fmla="*/ 490165 w 4610101"/>
              <a:gd name="connsiteY32636" fmla="*/ 664123 h 6557032"/>
              <a:gd name="connsiteX32637" fmla="*/ 488343 w 4610101"/>
              <a:gd name="connsiteY32637" fmla="*/ 660478 h 6557032"/>
              <a:gd name="connsiteX32638" fmla="*/ 413634 w 4610101"/>
              <a:gd name="connsiteY32638" fmla="*/ 660478 h 6557032"/>
              <a:gd name="connsiteX32639" fmla="*/ 419100 w 4610101"/>
              <a:gd name="connsiteY32639" fmla="*/ 664123 h 6557032"/>
              <a:gd name="connsiteX32640" fmla="*/ 413634 w 4610101"/>
              <a:gd name="connsiteY32640" fmla="*/ 660478 h 6557032"/>
              <a:gd name="connsiteX32641" fmla="*/ 397234 w 4610101"/>
              <a:gd name="connsiteY32641" fmla="*/ 660478 h 6557032"/>
              <a:gd name="connsiteX32642" fmla="*/ 400879 w 4610101"/>
              <a:gd name="connsiteY32642" fmla="*/ 665945 h 6557032"/>
              <a:gd name="connsiteX32643" fmla="*/ 397234 w 4610101"/>
              <a:gd name="connsiteY32643" fmla="*/ 660478 h 6557032"/>
              <a:gd name="connsiteX32644" fmla="*/ 385162 w 4610101"/>
              <a:gd name="connsiteY32644" fmla="*/ 660023 h 6557032"/>
              <a:gd name="connsiteX32645" fmla="*/ 380835 w 4610101"/>
              <a:gd name="connsiteY32645" fmla="*/ 662301 h 6557032"/>
              <a:gd name="connsiteX32646" fmla="*/ 386301 w 4610101"/>
              <a:gd name="connsiteY32646" fmla="*/ 665945 h 6557032"/>
              <a:gd name="connsiteX32647" fmla="*/ 388123 w 4610101"/>
              <a:gd name="connsiteY32647" fmla="*/ 660478 h 6557032"/>
              <a:gd name="connsiteX32648" fmla="*/ 385162 w 4610101"/>
              <a:gd name="connsiteY32648" fmla="*/ 660023 h 6557032"/>
              <a:gd name="connsiteX32649" fmla="*/ 3529551 w 4610101"/>
              <a:gd name="connsiteY32649" fmla="*/ 658656 h 6557032"/>
              <a:gd name="connsiteX32650" fmla="*/ 3529551 w 4610101"/>
              <a:gd name="connsiteY32650" fmla="*/ 669589 h 6557032"/>
              <a:gd name="connsiteX32651" fmla="*/ 3535018 w 4610101"/>
              <a:gd name="connsiteY32651" fmla="*/ 667767 h 6557032"/>
              <a:gd name="connsiteX32652" fmla="*/ 3533196 w 4610101"/>
              <a:gd name="connsiteY32652" fmla="*/ 658656 h 6557032"/>
              <a:gd name="connsiteX32653" fmla="*/ 3529551 w 4610101"/>
              <a:gd name="connsiteY32653" fmla="*/ 658656 h 6557032"/>
              <a:gd name="connsiteX32654" fmla="*/ 3489463 w 4610101"/>
              <a:gd name="connsiteY32654" fmla="*/ 658656 h 6557032"/>
              <a:gd name="connsiteX32655" fmla="*/ 3491286 w 4610101"/>
              <a:gd name="connsiteY32655" fmla="*/ 665945 h 6557032"/>
              <a:gd name="connsiteX32656" fmla="*/ 3474886 w 4610101"/>
              <a:gd name="connsiteY32656" fmla="*/ 660478 h 6557032"/>
              <a:gd name="connsiteX32657" fmla="*/ 3500397 w 4610101"/>
              <a:gd name="connsiteY32657" fmla="*/ 675056 h 6557032"/>
              <a:gd name="connsiteX32658" fmla="*/ 3502219 w 4610101"/>
              <a:gd name="connsiteY32658" fmla="*/ 682345 h 6557032"/>
              <a:gd name="connsiteX32659" fmla="*/ 3509507 w 4610101"/>
              <a:gd name="connsiteY32659" fmla="*/ 680522 h 6557032"/>
              <a:gd name="connsiteX32660" fmla="*/ 3505863 w 4610101"/>
              <a:gd name="connsiteY32660" fmla="*/ 678700 h 6557032"/>
              <a:gd name="connsiteX32661" fmla="*/ 3507685 w 4610101"/>
              <a:gd name="connsiteY32661" fmla="*/ 676878 h 6557032"/>
              <a:gd name="connsiteX32662" fmla="*/ 3513152 w 4610101"/>
              <a:gd name="connsiteY32662" fmla="*/ 678700 h 6557032"/>
              <a:gd name="connsiteX32663" fmla="*/ 3502219 w 4610101"/>
              <a:gd name="connsiteY32663" fmla="*/ 662301 h 6557032"/>
              <a:gd name="connsiteX32664" fmla="*/ 3494930 w 4610101"/>
              <a:gd name="connsiteY32664" fmla="*/ 658656 h 6557032"/>
              <a:gd name="connsiteX32665" fmla="*/ 3489463 w 4610101"/>
              <a:gd name="connsiteY32665" fmla="*/ 658656 h 6557032"/>
              <a:gd name="connsiteX32666" fmla="*/ 2541933 w 4610101"/>
              <a:gd name="connsiteY32666" fmla="*/ 658656 h 6557032"/>
              <a:gd name="connsiteX32667" fmla="*/ 2543755 w 4610101"/>
              <a:gd name="connsiteY32667" fmla="*/ 675056 h 6557032"/>
              <a:gd name="connsiteX32668" fmla="*/ 2552866 w 4610101"/>
              <a:gd name="connsiteY32668" fmla="*/ 665945 h 6557032"/>
              <a:gd name="connsiteX32669" fmla="*/ 2541933 w 4610101"/>
              <a:gd name="connsiteY32669" fmla="*/ 658656 h 6557032"/>
              <a:gd name="connsiteX32670" fmla="*/ 1364809 w 4610101"/>
              <a:gd name="connsiteY32670" fmla="*/ 658656 h 6557032"/>
              <a:gd name="connsiteX32671" fmla="*/ 1355698 w 4610101"/>
              <a:gd name="connsiteY32671" fmla="*/ 669589 h 6557032"/>
              <a:gd name="connsiteX32672" fmla="*/ 1364809 w 4610101"/>
              <a:gd name="connsiteY32672" fmla="*/ 658656 h 6557032"/>
              <a:gd name="connsiteX32673" fmla="*/ 1310143 w 4610101"/>
              <a:gd name="connsiteY32673" fmla="*/ 658656 h 6557032"/>
              <a:gd name="connsiteX32674" fmla="*/ 1302855 w 4610101"/>
              <a:gd name="connsiteY32674" fmla="*/ 673234 h 6557032"/>
              <a:gd name="connsiteX32675" fmla="*/ 1304677 w 4610101"/>
              <a:gd name="connsiteY32675" fmla="*/ 664123 h 6557032"/>
              <a:gd name="connsiteX32676" fmla="*/ 1310143 w 4610101"/>
              <a:gd name="connsiteY32676" fmla="*/ 658656 h 6557032"/>
              <a:gd name="connsiteX32677" fmla="*/ 1275522 w 4610101"/>
              <a:gd name="connsiteY32677" fmla="*/ 658656 h 6557032"/>
              <a:gd name="connsiteX32678" fmla="*/ 1271878 w 4610101"/>
              <a:gd name="connsiteY32678" fmla="*/ 660478 h 6557032"/>
              <a:gd name="connsiteX32679" fmla="*/ 1275522 w 4610101"/>
              <a:gd name="connsiteY32679" fmla="*/ 660478 h 6557032"/>
              <a:gd name="connsiteX32680" fmla="*/ 1240901 w 4610101"/>
              <a:gd name="connsiteY32680" fmla="*/ 658656 h 6557032"/>
              <a:gd name="connsiteX32681" fmla="*/ 1237256 w 4610101"/>
              <a:gd name="connsiteY32681" fmla="*/ 662301 h 6557032"/>
              <a:gd name="connsiteX32682" fmla="*/ 1248189 w 4610101"/>
              <a:gd name="connsiteY32682" fmla="*/ 664123 h 6557032"/>
              <a:gd name="connsiteX32683" fmla="*/ 1242723 w 4610101"/>
              <a:gd name="connsiteY32683" fmla="*/ 658656 h 6557032"/>
              <a:gd name="connsiteX32684" fmla="*/ 1239080 w 4610101"/>
              <a:gd name="connsiteY32684" fmla="*/ 662301 h 6557032"/>
              <a:gd name="connsiteX32685" fmla="*/ 1240901 w 4610101"/>
              <a:gd name="connsiteY32685" fmla="*/ 658656 h 6557032"/>
              <a:gd name="connsiteX32686" fmla="*/ 1200814 w 4610101"/>
              <a:gd name="connsiteY32686" fmla="*/ 658656 h 6557032"/>
              <a:gd name="connsiteX32687" fmla="*/ 1186353 w 4610101"/>
              <a:gd name="connsiteY32687" fmla="*/ 669902 h 6557032"/>
              <a:gd name="connsiteX32688" fmla="*/ 1186236 w 4610101"/>
              <a:gd name="connsiteY32688" fmla="*/ 669589 h 6557032"/>
              <a:gd name="connsiteX32689" fmla="*/ 1185821 w 4610101"/>
              <a:gd name="connsiteY32689" fmla="*/ 670317 h 6557032"/>
              <a:gd name="connsiteX32690" fmla="*/ 1184414 w 4610101"/>
              <a:gd name="connsiteY32690" fmla="*/ 671411 h 6557032"/>
              <a:gd name="connsiteX32691" fmla="*/ 1185325 w 4610101"/>
              <a:gd name="connsiteY32691" fmla="*/ 671184 h 6557032"/>
              <a:gd name="connsiteX32692" fmla="*/ 1185821 w 4610101"/>
              <a:gd name="connsiteY32692" fmla="*/ 670317 h 6557032"/>
              <a:gd name="connsiteX32693" fmla="*/ 1186353 w 4610101"/>
              <a:gd name="connsiteY32693" fmla="*/ 669902 h 6557032"/>
              <a:gd name="connsiteX32694" fmla="*/ 1186919 w 4610101"/>
              <a:gd name="connsiteY32694" fmla="*/ 671412 h 6557032"/>
              <a:gd name="connsiteX32695" fmla="*/ 1186236 w 4610101"/>
              <a:gd name="connsiteY32695" fmla="*/ 673234 h 6557032"/>
              <a:gd name="connsiteX32696" fmla="*/ 1191703 w 4610101"/>
              <a:gd name="connsiteY32696" fmla="*/ 674601 h 6557032"/>
              <a:gd name="connsiteX32697" fmla="*/ 1193333 w 4610101"/>
              <a:gd name="connsiteY32697" fmla="*/ 674193 h 6557032"/>
              <a:gd name="connsiteX32698" fmla="*/ 1190563 w 4610101"/>
              <a:gd name="connsiteY32698" fmla="*/ 675512 h 6557032"/>
              <a:gd name="connsiteX32699" fmla="*/ 1189880 w 4610101"/>
              <a:gd name="connsiteY32699" fmla="*/ 680522 h 6557032"/>
              <a:gd name="connsiteX32700" fmla="*/ 1194925 w 4610101"/>
              <a:gd name="connsiteY32700" fmla="*/ 673795 h 6557032"/>
              <a:gd name="connsiteX32701" fmla="*/ 1197169 w 4610101"/>
              <a:gd name="connsiteY32701" fmla="*/ 673234 h 6557032"/>
              <a:gd name="connsiteX32702" fmla="*/ 1200814 w 4610101"/>
              <a:gd name="connsiteY32702" fmla="*/ 658656 h 6557032"/>
              <a:gd name="connsiteX32703" fmla="*/ 929309 w 4610101"/>
              <a:gd name="connsiteY32703" fmla="*/ 658656 h 6557032"/>
              <a:gd name="connsiteX32704" fmla="*/ 931131 w 4610101"/>
              <a:gd name="connsiteY32704" fmla="*/ 660478 h 6557032"/>
              <a:gd name="connsiteX32705" fmla="*/ 929309 w 4610101"/>
              <a:gd name="connsiteY32705" fmla="*/ 658656 h 6557032"/>
              <a:gd name="connsiteX32706" fmla="*/ 510209 w 4610101"/>
              <a:gd name="connsiteY32706" fmla="*/ 658656 h 6557032"/>
              <a:gd name="connsiteX32707" fmla="*/ 519320 w 4610101"/>
              <a:gd name="connsiteY32707" fmla="*/ 673234 h 6557032"/>
              <a:gd name="connsiteX32708" fmla="*/ 510209 w 4610101"/>
              <a:gd name="connsiteY32708" fmla="*/ 658656 h 6557032"/>
              <a:gd name="connsiteX32709" fmla="*/ 475589 w 4610101"/>
              <a:gd name="connsiteY32709" fmla="*/ 658656 h 6557032"/>
              <a:gd name="connsiteX32710" fmla="*/ 475589 w 4610101"/>
              <a:gd name="connsiteY32710" fmla="*/ 664123 h 6557032"/>
              <a:gd name="connsiteX32711" fmla="*/ 477410 w 4610101"/>
              <a:gd name="connsiteY32711" fmla="*/ 662301 h 6557032"/>
              <a:gd name="connsiteX32712" fmla="*/ 481054 w 4610101"/>
              <a:gd name="connsiteY32712" fmla="*/ 673234 h 6557032"/>
              <a:gd name="connsiteX32713" fmla="*/ 475589 w 4610101"/>
              <a:gd name="connsiteY32713" fmla="*/ 658656 h 6557032"/>
              <a:gd name="connsiteX32714" fmla="*/ 440966 w 4610101"/>
              <a:gd name="connsiteY32714" fmla="*/ 658656 h 6557032"/>
              <a:gd name="connsiteX32715" fmla="*/ 442789 w 4610101"/>
              <a:gd name="connsiteY32715" fmla="*/ 665945 h 6557032"/>
              <a:gd name="connsiteX32716" fmla="*/ 440966 w 4610101"/>
              <a:gd name="connsiteY32716" fmla="*/ 658656 h 6557032"/>
              <a:gd name="connsiteX32717" fmla="*/ 3591798 w 4610101"/>
              <a:gd name="connsiteY32717" fmla="*/ 658480 h 6557032"/>
              <a:gd name="connsiteX32718" fmla="*/ 3595150 w 4610101"/>
              <a:gd name="connsiteY32718" fmla="*/ 658656 h 6557032"/>
              <a:gd name="connsiteX32719" fmla="*/ 3595096 w 4610101"/>
              <a:gd name="connsiteY32719" fmla="*/ 659037 h 6557032"/>
              <a:gd name="connsiteX32720" fmla="*/ 3594011 w 4610101"/>
              <a:gd name="connsiteY32720" fmla="*/ 659112 h 6557032"/>
              <a:gd name="connsiteX32721" fmla="*/ 2892930 w 4610101"/>
              <a:gd name="connsiteY32721" fmla="*/ 657974 h 6557032"/>
              <a:gd name="connsiteX32722" fmla="*/ 2889968 w 4610101"/>
              <a:gd name="connsiteY32722" fmla="*/ 658656 h 6557032"/>
              <a:gd name="connsiteX32723" fmla="*/ 2882680 w 4610101"/>
              <a:gd name="connsiteY32723" fmla="*/ 671411 h 6557032"/>
              <a:gd name="connsiteX32724" fmla="*/ 2897257 w 4610101"/>
              <a:gd name="connsiteY32724" fmla="*/ 675056 h 6557032"/>
              <a:gd name="connsiteX32725" fmla="*/ 2910012 w 4610101"/>
              <a:gd name="connsiteY32725" fmla="*/ 689633 h 6557032"/>
              <a:gd name="connsiteX32726" fmla="*/ 2920945 w 4610101"/>
              <a:gd name="connsiteY32726" fmla="*/ 691455 h 6557032"/>
              <a:gd name="connsiteX32727" fmla="*/ 2906368 w 4610101"/>
              <a:gd name="connsiteY32727" fmla="*/ 671411 h 6557032"/>
              <a:gd name="connsiteX32728" fmla="*/ 2908190 w 4610101"/>
              <a:gd name="connsiteY32728" fmla="*/ 684167 h 6557032"/>
              <a:gd name="connsiteX32729" fmla="*/ 2902724 w 4610101"/>
              <a:gd name="connsiteY32729" fmla="*/ 684167 h 6557032"/>
              <a:gd name="connsiteX32730" fmla="*/ 2902724 w 4610101"/>
              <a:gd name="connsiteY32730" fmla="*/ 675056 h 6557032"/>
              <a:gd name="connsiteX32731" fmla="*/ 2899079 w 4610101"/>
              <a:gd name="connsiteY32731" fmla="*/ 676878 h 6557032"/>
              <a:gd name="connsiteX32732" fmla="*/ 2891790 w 4610101"/>
              <a:gd name="connsiteY32732" fmla="*/ 664123 h 6557032"/>
              <a:gd name="connsiteX32733" fmla="*/ 2897257 w 4610101"/>
              <a:gd name="connsiteY32733" fmla="*/ 658656 h 6557032"/>
              <a:gd name="connsiteX32734" fmla="*/ 2892930 w 4610101"/>
              <a:gd name="connsiteY32734" fmla="*/ 657974 h 6557032"/>
              <a:gd name="connsiteX32735" fmla="*/ 3589921 w 4610101"/>
              <a:gd name="connsiteY32735" fmla="*/ 657944 h 6557032"/>
              <a:gd name="connsiteX32736" fmla="*/ 3591798 w 4610101"/>
              <a:gd name="connsiteY32736" fmla="*/ 658480 h 6557032"/>
              <a:gd name="connsiteX32737" fmla="*/ 3590822 w 4610101"/>
              <a:gd name="connsiteY32737" fmla="*/ 658429 h 6557032"/>
              <a:gd name="connsiteX32738" fmla="*/ 3587861 w 4610101"/>
              <a:gd name="connsiteY32738" fmla="*/ 656834 h 6557032"/>
              <a:gd name="connsiteX32739" fmla="*/ 3589921 w 4610101"/>
              <a:gd name="connsiteY32739" fmla="*/ 657944 h 6557032"/>
              <a:gd name="connsiteX32740" fmla="*/ 3588037 w 4610101"/>
              <a:gd name="connsiteY32740" fmla="*/ 657405 h 6557032"/>
              <a:gd name="connsiteX32741" fmla="*/ 2917301 w 4610101"/>
              <a:gd name="connsiteY32741" fmla="*/ 656834 h 6557032"/>
              <a:gd name="connsiteX32742" fmla="*/ 2915479 w 4610101"/>
              <a:gd name="connsiteY32742" fmla="*/ 662301 h 6557032"/>
              <a:gd name="connsiteX32743" fmla="*/ 2920945 w 4610101"/>
              <a:gd name="connsiteY32743" fmla="*/ 660478 h 6557032"/>
              <a:gd name="connsiteX32744" fmla="*/ 2917301 w 4610101"/>
              <a:gd name="connsiteY32744" fmla="*/ 656834 h 6557032"/>
              <a:gd name="connsiteX32745" fmla="*/ 2585665 w 4610101"/>
              <a:gd name="connsiteY32745" fmla="*/ 656834 h 6557032"/>
              <a:gd name="connsiteX32746" fmla="*/ 2569266 w 4610101"/>
              <a:gd name="connsiteY32746" fmla="*/ 662301 h 6557032"/>
              <a:gd name="connsiteX32747" fmla="*/ 2596598 w 4610101"/>
              <a:gd name="connsiteY32747" fmla="*/ 671411 h 6557032"/>
              <a:gd name="connsiteX32748" fmla="*/ 2585665 w 4610101"/>
              <a:gd name="connsiteY32748" fmla="*/ 656834 h 6557032"/>
              <a:gd name="connsiteX32749" fmla="*/ 1302855 w 4610101"/>
              <a:gd name="connsiteY32749" fmla="*/ 656834 h 6557032"/>
              <a:gd name="connsiteX32750" fmla="*/ 1303176 w 4610101"/>
              <a:gd name="connsiteY32750" fmla="*/ 658764 h 6557032"/>
              <a:gd name="connsiteX32751" fmla="*/ 1303083 w 4610101"/>
              <a:gd name="connsiteY32751" fmla="*/ 658656 h 6557032"/>
              <a:gd name="connsiteX32752" fmla="*/ 1302855 w 4610101"/>
              <a:gd name="connsiteY32752" fmla="*/ 656834 h 6557032"/>
              <a:gd name="connsiteX32753" fmla="*/ 1259123 w 4610101"/>
              <a:gd name="connsiteY32753" fmla="*/ 656834 h 6557032"/>
              <a:gd name="connsiteX32754" fmla="*/ 1251834 w 4610101"/>
              <a:gd name="connsiteY32754" fmla="*/ 662301 h 6557032"/>
              <a:gd name="connsiteX32755" fmla="*/ 1253656 w 4610101"/>
              <a:gd name="connsiteY32755" fmla="*/ 667767 h 6557032"/>
              <a:gd name="connsiteX32756" fmla="*/ 1259123 w 4610101"/>
              <a:gd name="connsiteY32756" fmla="*/ 656834 h 6557032"/>
              <a:gd name="connsiteX32757" fmla="*/ 1213568 w 4610101"/>
              <a:gd name="connsiteY32757" fmla="*/ 656834 h 6557032"/>
              <a:gd name="connsiteX32758" fmla="*/ 1204457 w 4610101"/>
              <a:gd name="connsiteY32758" fmla="*/ 660478 h 6557032"/>
              <a:gd name="connsiteX32759" fmla="*/ 1208102 w 4610101"/>
              <a:gd name="connsiteY32759" fmla="*/ 665945 h 6557032"/>
              <a:gd name="connsiteX32760" fmla="*/ 1213568 w 4610101"/>
              <a:gd name="connsiteY32760" fmla="*/ 656834 h 6557032"/>
              <a:gd name="connsiteX32761" fmla="*/ 1075083 w 4610101"/>
              <a:gd name="connsiteY32761" fmla="*/ 656834 h 6557032"/>
              <a:gd name="connsiteX32762" fmla="*/ 1053217 w 4610101"/>
              <a:gd name="connsiteY32762" fmla="*/ 667767 h 6557032"/>
              <a:gd name="connsiteX32763" fmla="*/ 1075083 w 4610101"/>
              <a:gd name="connsiteY32763" fmla="*/ 656834 h 6557032"/>
              <a:gd name="connsiteX32764" fmla="*/ 903799 w 4610101"/>
              <a:gd name="connsiteY32764" fmla="*/ 656834 h 6557032"/>
              <a:gd name="connsiteX32765" fmla="*/ 896510 w 4610101"/>
              <a:gd name="connsiteY32765" fmla="*/ 675056 h 6557032"/>
              <a:gd name="connsiteX32766" fmla="*/ 901976 w 4610101"/>
              <a:gd name="connsiteY32766" fmla="*/ 667767 h 6557032"/>
              <a:gd name="connsiteX32767" fmla="*/ 901976 w 4610101"/>
              <a:gd name="connsiteY32767" fmla="*/ 669589 h 6557032"/>
              <a:gd name="connsiteX32768" fmla="*/ 903799 w 4610101"/>
              <a:gd name="connsiteY32768" fmla="*/ 656834 h 6557032"/>
              <a:gd name="connsiteX32769" fmla="*/ 557586 w 4610101"/>
              <a:gd name="connsiteY32769" fmla="*/ 656834 h 6557032"/>
              <a:gd name="connsiteX32770" fmla="*/ 557586 w 4610101"/>
              <a:gd name="connsiteY32770" fmla="*/ 662301 h 6557032"/>
              <a:gd name="connsiteX32771" fmla="*/ 561230 w 4610101"/>
              <a:gd name="connsiteY32771" fmla="*/ 660478 h 6557032"/>
              <a:gd name="connsiteX32772" fmla="*/ 557586 w 4610101"/>
              <a:gd name="connsiteY32772" fmla="*/ 656834 h 6557032"/>
              <a:gd name="connsiteX32773" fmla="*/ 318882 w 4610101"/>
              <a:gd name="connsiteY32773" fmla="*/ 656834 h 6557032"/>
              <a:gd name="connsiteX32774" fmla="*/ 333458 w 4610101"/>
              <a:gd name="connsiteY32774" fmla="*/ 676878 h 6557032"/>
              <a:gd name="connsiteX32775" fmla="*/ 318882 w 4610101"/>
              <a:gd name="connsiteY32775" fmla="*/ 656834 h 6557032"/>
              <a:gd name="connsiteX32776" fmla="*/ 194973 w 4610101"/>
              <a:gd name="connsiteY32776" fmla="*/ 656834 h 6557032"/>
              <a:gd name="connsiteX32777" fmla="*/ 200439 w 4610101"/>
              <a:gd name="connsiteY32777" fmla="*/ 669589 h 6557032"/>
              <a:gd name="connsiteX32778" fmla="*/ 194973 w 4610101"/>
              <a:gd name="connsiteY32778" fmla="*/ 656834 h 6557032"/>
              <a:gd name="connsiteX32779" fmla="*/ 3374666 w 4610101"/>
              <a:gd name="connsiteY32779" fmla="*/ 655012 h 6557032"/>
              <a:gd name="connsiteX32780" fmla="*/ 3374666 w 4610101"/>
              <a:gd name="connsiteY32780" fmla="*/ 658656 h 6557032"/>
              <a:gd name="connsiteX32781" fmla="*/ 3380133 w 4610101"/>
              <a:gd name="connsiteY32781" fmla="*/ 655012 h 6557032"/>
              <a:gd name="connsiteX32782" fmla="*/ 3374666 w 4610101"/>
              <a:gd name="connsiteY32782" fmla="*/ 655012 h 6557032"/>
              <a:gd name="connsiteX32783" fmla="*/ 2521889 w 4610101"/>
              <a:gd name="connsiteY32783" fmla="*/ 655012 h 6557032"/>
              <a:gd name="connsiteX32784" fmla="*/ 2518245 w 4610101"/>
              <a:gd name="connsiteY32784" fmla="*/ 660478 h 6557032"/>
              <a:gd name="connsiteX32785" fmla="*/ 2525534 w 4610101"/>
              <a:gd name="connsiteY32785" fmla="*/ 665945 h 6557032"/>
              <a:gd name="connsiteX32786" fmla="*/ 2521889 w 4610101"/>
              <a:gd name="connsiteY32786" fmla="*/ 655012 h 6557032"/>
              <a:gd name="connsiteX32787" fmla="*/ 1403074 w 4610101"/>
              <a:gd name="connsiteY32787" fmla="*/ 655012 h 6557032"/>
              <a:gd name="connsiteX32788" fmla="*/ 1392141 w 4610101"/>
              <a:gd name="connsiteY32788" fmla="*/ 665945 h 6557032"/>
              <a:gd name="connsiteX32789" fmla="*/ 1395787 w 4610101"/>
              <a:gd name="connsiteY32789" fmla="*/ 664123 h 6557032"/>
              <a:gd name="connsiteX32790" fmla="*/ 1403074 w 4610101"/>
              <a:gd name="connsiteY32790" fmla="*/ 655012 h 6557032"/>
              <a:gd name="connsiteX32791" fmla="*/ 743447 w 4610101"/>
              <a:gd name="connsiteY32791" fmla="*/ 655012 h 6557032"/>
              <a:gd name="connsiteX32792" fmla="*/ 758025 w 4610101"/>
              <a:gd name="connsiteY32792" fmla="*/ 662301 h 6557032"/>
              <a:gd name="connsiteX32793" fmla="*/ 750737 w 4610101"/>
              <a:gd name="connsiteY32793" fmla="*/ 658656 h 6557032"/>
              <a:gd name="connsiteX32794" fmla="*/ 754380 w 4610101"/>
              <a:gd name="connsiteY32794" fmla="*/ 656834 h 6557032"/>
              <a:gd name="connsiteX32795" fmla="*/ 743447 w 4610101"/>
              <a:gd name="connsiteY32795" fmla="*/ 655012 h 6557032"/>
              <a:gd name="connsiteX32796" fmla="*/ 628650 w 4610101"/>
              <a:gd name="connsiteY32796" fmla="*/ 655012 h 6557032"/>
              <a:gd name="connsiteX32797" fmla="*/ 626828 w 4610101"/>
              <a:gd name="connsiteY32797" fmla="*/ 660478 h 6557032"/>
              <a:gd name="connsiteX32798" fmla="*/ 632296 w 4610101"/>
              <a:gd name="connsiteY32798" fmla="*/ 658656 h 6557032"/>
              <a:gd name="connsiteX32799" fmla="*/ 628650 w 4610101"/>
              <a:gd name="connsiteY32799" fmla="*/ 655012 h 6557032"/>
              <a:gd name="connsiteX32800" fmla="*/ 626828 w 4610101"/>
              <a:gd name="connsiteY32800" fmla="*/ 655012 h 6557032"/>
              <a:gd name="connsiteX32801" fmla="*/ 623185 w 4610101"/>
              <a:gd name="connsiteY32801" fmla="*/ 662301 h 6557032"/>
              <a:gd name="connsiteX32802" fmla="*/ 626828 w 4610101"/>
              <a:gd name="connsiteY32802" fmla="*/ 655012 h 6557032"/>
              <a:gd name="connsiteX32803" fmla="*/ 610429 w 4610101"/>
              <a:gd name="connsiteY32803" fmla="*/ 655012 h 6557032"/>
              <a:gd name="connsiteX32804" fmla="*/ 606784 w 4610101"/>
              <a:gd name="connsiteY32804" fmla="*/ 660478 h 6557032"/>
              <a:gd name="connsiteX32805" fmla="*/ 610429 w 4610101"/>
              <a:gd name="connsiteY32805" fmla="*/ 655012 h 6557032"/>
              <a:gd name="connsiteX32806" fmla="*/ 140308 w 4610101"/>
              <a:gd name="connsiteY32806" fmla="*/ 655012 h 6557032"/>
              <a:gd name="connsiteX32807" fmla="*/ 143952 w 4610101"/>
              <a:gd name="connsiteY32807" fmla="*/ 662301 h 6557032"/>
              <a:gd name="connsiteX32808" fmla="*/ 149419 w 4610101"/>
              <a:gd name="connsiteY32808" fmla="*/ 678700 h 6557032"/>
              <a:gd name="connsiteX32809" fmla="*/ 149419 w 4610101"/>
              <a:gd name="connsiteY32809" fmla="*/ 676878 h 6557032"/>
              <a:gd name="connsiteX32810" fmla="*/ 154885 w 4610101"/>
              <a:gd name="connsiteY32810" fmla="*/ 678700 h 6557032"/>
              <a:gd name="connsiteX32811" fmla="*/ 143952 w 4610101"/>
              <a:gd name="connsiteY32811" fmla="*/ 662301 h 6557032"/>
              <a:gd name="connsiteX32812" fmla="*/ 145774 w 4610101"/>
              <a:gd name="connsiteY32812" fmla="*/ 664123 h 6557032"/>
              <a:gd name="connsiteX32813" fmla="*/ 140308 w 4610101"/>
              <a:gd name="connsiteY32813" fmla="*/ 655012 h 6557032"/>
              <a:gd name="connsiteX32814" fmla="*/ 685024 w 4610101"/>
              <a:gd name="connsiteY32814" fmla="*/ 654030 h 6557032"/>
              <a:gd name="connsiteX32815" fmla="*/ 685138 w 4610101"/>
              <a:gd name="connsiteY32815" fmla="*/ 654329 h 6557032"/>
              <a:gd name="connsiteX32816" fmla="*/ 681974 w 4610101"/>
              <a:gd name="connsiteY32816" fmla="*/ 659666 h 6557032"/>
              <a:gd name="connsiteX32817" fmla="*/ 681493 w 4610101"/>
              <a:gd name="connsiteY32817" fmla="*/ 658885 h 6557032"/>
              <a:gd name="connsiteX32818" fmla="*/ 3509507 w 4610101"/>
              <a:gd name="connsiteY32818" fmla="*/ 653190 h 6557032"/>
              <a:gd name="connsiteX32819" fmla="*/ 3507685 w 4610101"/>
              <a:gd name="connsiteY32819" fmla="*/ 660478 h 6557032"/>
              <a:gd name="connsiteX32820" fmla="*/ 3516796 w 4610101"/>
              <a:gd name="connsiteY32820" fmla="*/ 658656 h 6557032"/>
              <a:gd name="connsiteX32821" fmla="*/ 3509507 w 4610101"/>
              <a:gd name="connsiteY32821" fmla="*/ 653190 h 6557032"/>
              <a:gd name="connsiteX32822" fmla="*/ 3398355 w 4610101"/>
              <a:gd name="connsiteY32822" fmla="*/ 653190 h 6557032"/>
              <a:gd name="connsiteX32823" fmla="*/ 3371022 w 4610101"/>
              <a:gd name="connsiteY32823" fmla="*/ 667767 h 6557032"/>
              <a:gd name="connsiteX32824" fmla="*/ 3347334 w 4610101"/>
              <a:gd name="connsiteY32824" fmla="*/ 673234 h 6557032"/>
              <a:gd name="connsiteX32825" fmla="*/ 3345512 w 4610101"/>
              <a:gd name="connsiteY32825" fmla="*/ 669589 h 6557032"/>
              <a:gd name="connsiteX32826" fmla="*/ 3334579 w 4610101"/>
              <a:gd name="connsiteY32826" fmla="*/ 673234 h 6557032"/>
              <a:gd name="connsiteX32827" fmla="*/ 3327290 w 4610101"/>
              <a:gd name="connsiteY32827" fmla="*/ 687811 h 6557032"/>
              <a:gd name="connsiteX32828" fmla="*/ 3332756 w 4610101"/>
              <a:gd name="connsiteY32828" fmla="*/ 687811 h 6557032"/>
              <a:gd name="connsiteX32829" fmla="*/ 3330934 w 4610101"/>
              <a:gd name="connsiteY32829" fmla="*/ 680522 h 6557032"/>
              <a:gd name="connsiteX32830" fmla="*/ 3332756 w 4610101"/>
              <a:gd name="connsiteY32830" fmla="*/ 689633 h 6557032"/>
              <a:gd name="connsiteX32831" fmla="*/ 3321824 w 4610101"/>
              <a:gd name="connsiteY32831" fmla="*/ 682345 h 6557032"/>
              <a:gd name="connsiteX32832" fmla="*/ 3305424 w 4610101"/>
              <a:gd name="connsiteY32832" fmla="*/ 680522 h 6557032"/>
              <a:gd name="connsiteX32833" fmla="*/ 3303602 w 4610101"/>
              <a:gd name="connsiteY32833" fmla="*/ 687811 h 6557032"/>
              <a:gd name="connsiteX32834" fmla="*/ 3299957 w 4610101"/>
              <a:gd name="connsiteY32834" fmla="*/ 680522 h 6557032"/>
              <a:gd name="connsiteX32835" fmla="*/ 3292669 w 4610101"/>
              <a:gd name="connsiteY32835" fmla="*/ 680522 h 6557032"/>
              <a:gd name="connsiteX32836" fmla="*/ 3289024 w 4610101"/>
              <a:gd name="connsiteY32836" fmla="*/ 685989 h 6557032"/>
              <a:gd name="connsiteX32837" fmla="*/ 3276269 w 4610101"/>
              <a:gd name="connsiteY32837" fmla="*/ 696922 h 6557032"/>
              <a:gd name="connsiteX32838" fmla="*/ 3272625 w 4610101"/>
              <a:gd name="connsiteY32838" fmla="*/ 695100 h 6557032"/>
              <a:gd name="connsiteX32839" fmla="*/ 3268980 w 4610101"/>
              <a:gd name="connsiteY32839" fmla="*/ 678700 h 6557032"/>
              <a:gd name="connsiteX32840" fmla="*/ 3261692 w 4610101"/>
              <a:gd name="connsiteY32840" fmla="*/ 678700 h 6557032"/>
              <a:gd name="connsiteX32841" fmla="*/ 3261692 w 4610101"/>
              <a:gd name="connsiteY32841" fmla="*/ 676878 h 6557032"/>
              <a:gd name="connsiteX32842" fmla="*/ 3258047 w 4610101"/>
              <a:gd name="connsiteY32842" fmla="*/ 678700 h 6557032"/>
              <a:gd name="connsiteX32843" fmla="*/ 3248937 w 4610101"/>
              <a:gd name="connsiteY32843" fmla="*/ 669589 h 6557032"/>
              <a:gd name="connsiteX32844" fmla="*/ 3223426 w 4610101"/>
              <a:gd name="connsiteY32844" fmla="*/ 675056 h 6557032"/>
              <a:gd name="connsiteX32845" fmla="*/ 3247114 w 4610101"/>
              <a:gd name="connsiteY32845" fmla="*/ 716966 h 6557032"/>
              <a:gd name="connsiteX32846" fmla="*/ 3245292 w 4610101"/>
              <a:gd name="connsiteY32846" fmla="*/ 726077 h 6557032"/>
              <a:gd name="connsiteX32847" fmla="*/ 3250759 w 4610101"/>
              <a:gd name="connsiteY32847" fmla="*/ 727899 h 6557032"/>
              <a:gd name="connsiteX32848" fmla="*/ 3258047 w 4610101"/>
              <a:gd name="connsiteY32848" fmla="*/ 740654 h 6557032"/>
              <a:gd name="connsiteX32849" fmla="*/ 3274447 w 4610101"/>
              <a:gd name="connsiteY32849" fmla="*/ 738832 h 6557032"/>
              <a:gd name="connsiteX32850" fmla="*/ 3263514 w 4610101"/>
              <a:gd name="connsiteY32850" fmla="*/ 749765 h 6557032"/>
              <a:gd name="connsiteX32851" fmla="*/ 3278091 w 4610101"/>
              <a:gd name="connsiteY32851" fmla="*/ 758876 h 6557032"/>
              <a:gd name="connsiteX32852" fmla="*/ 3287202 w 4610101"/>
              <a:gd name="connsiteY32852" fmla="*/ 753409 h 6557032"/>
              <a:gd name="connsiteX32853" fmla="*/ 3287202 w 4610101"/>
              <a:gd name="connsiteY32853" fmla="*/ 762520 h 6557032"/>
              <a:gd name="connsiteX32854" fmla="*/ 3296313 w 4610101"/>
              <a:gd name="connsiteY32854" fmla="*/ 758876 h 6557032"/>
              <a:gd name="connsiteX32855" fmla="*/ 3290847 w 4610101"/>
              <a:gd name="connsiteY32855" fmla="*/ 755231 h 6557032"/>
              <a:gd name="connsiteX32856" fmla="*/ 3301780 w 4610101"/>
              <a:gd name="connsiteY32856" fmla="*/ 737010 h 6557032"/>
              <a:gd name="connsiteX32857" fmla="*/ 3345512 w 4610101"/>
              <a:gd name="connsiteY32857" fmla="*/ 722432 h 6557032"/>
              <a:gd name="connsiteX32858" fmla="*/ 3338223 w 4610101"/>
              <a:gd name="connsiteY32858" fmla="*/ 700566 h 6557032"/>
              <a:gd name="connsiteX32859" fmla="*/ 3350978 w 4610101"/>
              <a:gd name="connsiteY32859" fmla="*/ 707855 h 6557032"/>
              <a:gd name="connsiteX32860" fmla="*/ 3349156 w 4610101"/>
              <a:gd name="connsiteY32860" fmla="*/ 718788 h 6557032"/>
              <a:gd name="connsiteX32861" fmla="*/ 3360089 w 4610101"/>
              <a:gd name="connsiteY32861" fmla="*/ 700566 h 6557032"/>
              <a:gd name="connsiteX32862" fmla="*/ 3371022 w 4610101"/>
              <a:gd name="connsiteY32862" fmla="*/ 698744 h 6557032"/>
              <a:gd name="connsiteX32863" fmla="*/ 3371450 w 4610101"/>
              <a:gd name="connsiteY32863" fmla="*/ 703870 h 6557032"/>
              <a:gd name="connsiteX32864" fmla="*/ 3371022 w 4610101"/>
              <a:gd name="connsiteY32864" fmla="*/ 704211 h 6557032"/>
              <a:gd name="connsiteX32865" fmla="*/ 3371271 w 4610101"/>
              <a:gd name="connsiteY32865" fmla="*/ 704708 h 6557032"/>
              <a:gd name="connsiteX32866" fmla="*/ 3369200 w 4610101"/>
              <a:gd name="connsiteY32866" fmla="*/ 709677 h 6557032"/>
              <a:gd name="connsiteX32867" fmla="*/ 3372844 w 4610101"/>
              <a:gd name="connsiteY32867" fmla="*/ 707855 h 6557032"/>
              <a:gd name="connsiteX32868" fmla="*/ 3371271 w 4610101"/>
              <a:gd name="connsiteY32868" fmla="*/ 704708 h 6557032"/>
              <a:gd name="connsiteX32869" fmla="*/ 3371478 w 4610101"/>
              <a:gd name="connsiteY32869" fmla="*/ 704211 h 6557032"/>
              <a:gd name="connsiteX32870" fmla="*/ 3371450 w 4610101"/>
              <a:gd name="connsiteY32870" fmla="*/ 703870 h 6557032"/>
              <a:gd name="connsiteX32871" fmla="*/ 3380133 w 4610101"/>
              <a:gd name="connsiteY32871" fmla="*/ 696922 h 6557032"/>
              <a:gd name="connsiteX32872" fmla="*/ 3378311 w 4610101"/>
              <a:gd name="connsiteY32872" fmla="*/ 680522 h 6557032"/>
              <a:gd name="connsiteX32873" fmla="*/ 3372844 w 4610101"/>
              <a:gd name="connsiteY32873" fmla="*/ 678700 h 6557032"/>
              <a:gd name="connsiteX32874" fmla="*/ 3371022 w 4610101"/>
              <a:gd name="connsiteY32874" fmla="*/ 667767 h 6557032"/>
              <a:gd name="connsiteX32875" fmla="*/ 3383777 w 4610101"/>
              <a:gd name="connsiteY32875" fmla="*/ 671411 h 6557032"/>
              <a:gd name="connsiteX32876" fmla="*/ 3383777 w 4610101"/>
              <a:gd name="connsiteY32876" fmla="*/ 678700 h 6557032"/>
              <a:gd name="connsiteX32877" fmla="*/ 3392888 w 4610101"/>
              <a:gd name="connsiteY32877" fmla="*/ 680522 h 6557032"/>
              <a:gd name="connsiteX32878" fmla="*/ 3400177 w 4610101"/>
              <a:gd name="connsiteY32878" fmla="*/ 658656 h 6557032"/>
              <a:gd name="connsiteX32879" fmla="*/ 3398355 w 4610101"/>
              <a:gd name="connsiteY32879" fmla="*/ 653190 h 6557032"/>
              <a:gd name="connsiteX32880" fmla="*/ 2822548 w 4610101"/>
              <a:gd name="connsiteY32880" fmla="*/ 653190 h 6557032"/>
              <a:gd name="connsiteX32881" fmla="*/ 2826192 w 4610101"/>
              <a:gd name="connsiteY32881" fmla="*/ 662301 h 6557032"/>
              <a:gd name="connsiteX32882" fmla="*/ 2822548 w 4610101"/>
              <a:gd name="connsiteY32882" fmla="*/ 653190 h 6557032"/>
              <a:gd name="connsiteX32883" fmla="*/ 2762416 w 4610101"/>
              <a:gd name="connsiteY32883" fmla="*/ 653190 h 6557032"/>
              <a:gd name="connsiteX32884" fmla="*/ 2769341 w 4610101"/>
              <a:gd name="connsiteY32884" fmla="*/ 656291 h 6557032"/>
              <a:gd name="connsiteX32885" fmla="*/ 2771527 w 4610101"/>
              <a:gd name="connsiteY32885" fmla="*/ 667767 h 6557032"/>
              <a:gd name="connsiteX32886" fmla="*/ 2766789 w 4610101"/>
              <a:gd name="connsiteY32886" fmla="*/ 667767 h 6557032"/>
              <a:gd name="connsiteX32887" fmla="*/ 2332383 w 4610101"/>
              <a:gd name="connsiteY32887" fmla="*/ 653190 h 6557032"/>
              <a:gd name="connsiteX32888" fmla="*/ 2337850 w 4610101"/>
              <a:gd name="connsiteY32888" fmla="*/ 678700 h 6557032"/>
              <a:gd name="connsiteX32889" fmla="*/ 2332383 w 4610101"/>
              <a:gd name="connsiteY32889" fmla="*/ 653190 h 6557032"/>
              <a:gd name="connsiteX32890" fmla="*/ 1439518 w 4610101"/>
              <a:gd name="connsiteY32890" fmla="*/ 653190 h 6557032"/>
              <a:gd name="connsiteX32891" fmla="*/ 1432229 w 4610101"/>
              <a:gd name="connsiteY32891" fmla="*/ 665945 h 6557032"/>
              <a:gd name="connsiteX32892" fmla="*/ 1439518 w 4610101"/>
              <a:gd name="connsiteY32892" fmla="*/ 653190 h 6557032"/>
              <a:gd name="connsiteX32893" fmla="*/ 1341120 w 4610101"/>
              <a:gd name="connsiteY32893" fmla="*/ 653190 h 6557032"/>
              <a:gd name="connsiteX32894" fmla="*/ 1332009 w 4610101"/>
              <a:gd name="connsiteY32894" fmla="*/ 658656 h 6557032"/>
              <a:gd name="connsiteX32895" fmla="*/ 1326543 w 4610101"/>
              <a:gd name="connsiteY32895" fmla="*/ 685989 h 6557032"/>
              <a:gd name="connsiteX32896" fmla="*/ 1335654 w 4610101"/>
              <a:gd name="connsiteY32896" fmla="*/ 673234 h 6557032"/>
              <a:gd name="connsiteX32897" fmla="*/ 1335654 w 4610101"/>
              <a:gd name="connsiteY32897" fmla="*/ 675056 h 6557032"/>
              <a:gd name="connsiteX32898" fmla="*/ 1341120 w 4610101"/>
              <a:gd name="connsiteY32898" fmla="*/ 653190 h 6557032"/>
              <a:gd name="connsiteX32899" fmla="*/ 1297388 w 4610101"/>
              <a:gd name="connsiteY32899" fmla="*/ 653190 h 6557032"/>
              <a:gd name="connsiteX32900" fmla="*/ 1291922 w 4610101"/>
              <a:gd name="connsiteY32900" fmla="*/ 660478 h 6557032"/>
              <a:gd name="connsiteX32901" fmla="*/ 1277344 w 4610101"/>
              <a:gd name="connsiteY32901" fmla="*/ 680522 h 6557032"/>
              <a:gd name="connsiteX32902" fmla="*/ 1288277 w 4610101"/>
              <a:gd name="connsiteY32902" fmla="*/ 676878 h 6557032"/>
              <a:gd name="connsiteX32903" fmla="*/ 1297388 w 4610101"/>
              <a:gd name="connsiteY32903" fmla="*/ 653190 h 6557032"/>
              <a:gd name="connsiteX32904" fmla="*/ 1246367 w 4610101"/>
              <a:gd name="connsiteY32904" fmla="*/ 653190 h 6557032"/>
              <a:gd name="connsiteX32905" fmla="*/ 1242723 w 4610101"/>
              <a:gd name="connsiteY32905" fmla="*/ 655012 h 6557032"/>
              <a:gd name="connsiteX32906" fmla="*/ 1250012 w 4610101"/>
              <a:gd name="connsiteY32906" fmla="*/ 662301 h 6557032"/>
              <a:gd name="connsiteX32907" fmla="*/ 1246367 w 4610101"/>
              <a:gd name="connsiteY32907" fmla="*/ 653190 h 6557032"/>
              <a:gd name="connsiteX32908" fmla="*/ 1186236 w 4610101"/>
              <a:gd name="connsiteY32908" fmla="*/ 653190 h 6557032"/>
              <a:gd name="connsiteX32909" fmla="*/ 1182592 w 4610101"/>
              <a:gd name="connsiteY32909" fmla="*/ 658656 h 6557032"/>
              <a:gd name="connsiteX32910" fmla="*/ 1186236 w 4610101"/>
              <a:gd name="connsiteY32910" fmla="*/ 653190 h 6557032"/>
              <a:gd name="connsiteX32911" fmla="*/ 1115171 w 4610101"/>
              <a:gd name="connsiteY32911" fmla="*/ 653190 h 6557032"/>
              <a:gd name="connsiteX32912" fmla="*/ 1096949 w 4610101"/>
              <a:gd name="connsiteY32912" fmla="*/ 676878 h 6557032"/>
              <a:gd name="connsiteX32913" fmla="*/ 1113349 w 4610101"/>
              <a:gd name="connsiteY32913" fmla="*/ 658656 h 6557032"/>
              <a:gd name="connsiteX32914" fmla="*/ 1115171 w 4610101"/>
              <a:gd name="connsiteY32914" fmla="*/ 653190 h 6557032"/>
              <a:gd name="connsiteX32915" fmla="*/ 1100593 w 4610101"/>
              <a:gd name="connsiteY32915" fmla="*/ 653190 h 6557032"/>
              <a:gd name="connsiteX32916" fmla="*/ 1095127 w 4610101"/>
              <a:gd name="connsiteY32916" fmla="*/ 658656 h 6557032"/>
              <a:gd name="connsiteX32917" fmla="*/ 1096949 w 4610101"/>
              <a:gd name="connsiteY32917" fmla="*/ 656834 h 6557032"/>
              <a:gd name="connsiteX32918" fmla="*/ 1096949 w 4610101"/>
              <a:gd name="connsiteY32918" fmla="*/ 662301 h 6557032"/>
              <a:gd name="connsiteX32919" fmla="*/ 1100593 w 4610101"/>
              <a:gd name="connsiteY32919" fmla="*/ 653190 h 6557032"/>
              <a:gd name="connsiteX32920" fmla="*/ 444611 w 4610101"/>
              <a:gd name="connsiteY32920" fmla="*/ 653190 h 6557032"/>
              <a:gd name="connsiteX32921" fmla="*/ 459188 w 4610101"/>
              <a:gd name="connsiteY32921" fmla="*/ 667767 h 6557032"/>
              <a:gd name="connsiteX32922" fmla="*/ 444611 w 4610101"/>
              <a:gd name="connsiteY32922" fmla="*/ 653190 h 6557032"/>
              <a:gd name="connsiteX32923" fmla="*/ 415456 w 4610101"/>
              <a:gd name="connsiteY32923" fmla="*/ 653190 h 6557032"/>
              <a:gd name="connsiteX32924" fmla="*/ 424567 w 4610101"/>
              <a:gd name="connsiteY32924" fmla="*/ 664123 h 6557032"/>
              <a:gd name="connsiteX32925" fmla="*/ 415456 w 4610101"/>
              <a:gd name="connsiteY32925" fmla="*/ 653190 h 6557032"/>
              <a:gd name="connsiteX32926" fmla="*/ 493582 w 4610101"/>
              <a:gd name="connsiteY32926" fmla="*/ 652962 h 6557032"/>
              <a:gd name="connsiteX32927" fmla="*/ 490165 w 4610101"/>
              <a:gd name="connsiteY32927" fmla="*/ 655012 h 6557032"/>
              <a:gd name="connsiteX32928" fmla="*/ 493809 w 4610101"/>
              <a:gd name="connsiteY32928" fmla="*/ 658656 h 6557032"/>
              <a:gd name="connsiteX32929" fmla="*/ 495632 w 4610101"/>
              <a:gd name="connsiteY32929" fmla="*/ 655012 h 6557032"/>
              <a:gd name="connsiteX32930" fmla="*/ 493582 w 4610101"/>
              <a:gd name="connsiteY32930" fmla="*/ 652962 h 6557032"/>
              <a:gd name="connsiteX32931" fmla="*/ 3592645 w 4610101"/>
              <a:gd name="connsiteY32931" fmla="*/ 652962 h 6557032"/>
              <a:gd name="connsiteX32932" fmla="*/ 3586039 w 4610101"/>
              <a:gd name="connsiteY32932" fmla="*/ 656834 h 6557032"/>
              <a:gd name="connsiteX32933" fmla="*/ 3588037 w 4610101"/>
              <a:gd name="connsiteY32933" fmla="*/ 657405 h 6557032"/>
              <a:gd name="connsiteX32934" fmla="*/ 3588772 w 4610101"/>
              <a:gd name="connsiteY32934" fmla="*/ 659795 h 6557032"/>
              <a:gd name="connsiteX32935" fmla="*/ 3589683 w 4610101"/>
              <a:gd name="connsiteY32935" fmla="*/ 664123 h 6557032"/>
              <a:gd name="connsiteX32936" fmla="*/ 3594467 w 4610101"/>
              <a:gd name="connsiteY32936" fmla="*/ 663440 h 6557032"/>
              <a:gd name="connsiteX32937" fmla="*/ 3595096 w 4610101"/>
              <a:gd name="connsiteY32937" fmla="*/ 659037 h 6557032"/>
              <a:gd name="connsiteX32938" fmla="*/ 3600616 w 4610101"/>
              <a:gd name="connsiteY32938" fmla="*/ 658656 h 6557032"/>
              <a:gd name="connsiteX32939" fmla="*/ 3592645 w 4610101"/>
              <a:gd name="connsiteY32939" fmla="*/ 652962 h 6557032"/>
              <a:gd name="connsiteX32940" fmla="*/ 1412185 w 4610101"/>
              <a:gd name="connsiteY32940" fmla="*/ 651368 h 6557032"/>
              <a:gd name="connsiteX32941" fmla="*/ 1404896 w 4610101"/>
              <a:gd name="connsiteY32941" fmla="*/ 661572 h 6557032"/>
              <a:gd name="connsiteX32942" fmla="*/ 1404896 w 4610101"/>
              <a:gd name="connsiteY32942" fmla="*/ 658656 h 6557032"/>
              <a:gd name="connsiteX32943" fmla="*/ 1403074 w 4610101"/>
              <a:gd name="connsiteY32943" fmla="*/ 664123 h 6557032"/>
              <a:gd name="connsiteX32944" fmla="*/ 1404896 w 4610101"/>
              <a:gd name="connsiteY32944" fmla="*/ 661572 h 6557032"/>
              <a:gd name="connsiteX32945" fmla="*/ 1404896 w 4610101"/>
              <a:gd name="connsiteY32945" fmla="*/ 665945 h 6557032"/>
              <a:gd name="connsiteX32946" fmla="*/ 1412185 w 4610101"/>
              <a:gd name="connsiteY32946" fmla="*/ 651368 h 6557032"/>
              <a:gd name="connsiteX32947" fmla="*/ 1326543 w 4610101"/>
              <a:gd name="connsiteY32947" fmla="*/ 651368 h 6557032"/>
              <a:gd name="connsiteX32948" fmla="*/ 1319254 w 4610101"/>
              <a:gd name="connsiteY32948" fmla="*/ 662301 h 6557032"/>
              <a:gd name="connsiteX32949" fmla="*/ 1330188 w 4610101"/>
              <a:gd name="connsiteY32949" fmla="*/ 656834 h 6557032"/>
              <a:gd name="connsiteX32950" fmla="*/ 1326543 w 4610101"/>
              <a:gd name="connsiteY32950" fmla="*/ 651368 h 6557032"/>
              <a:gd name="connsiteX32951" fmla="*/ 1107882 w 4610101"/>
              <a:gd name="connsiteY32951" fmla="*/ 651368 h 6557032"/>
              <a:gd name="connsiteX32952" fmla="*/ 1104238 w 4610101"/>
              <a:gd name="connsiteY32952" fmla="*/ 656834 h 6557032"/>
              <a:gd name="connsiteX32953" fmla="*/ 1107882 w 4610101"/>
              <a:gd name="connsiteY32953" fmla="*/ 651368 h 6557032"/>
              <a:gd name="connsiteX32954" fmla="*/ 1022240 w 4610101"/>
              <a:gd name="connsiteY32954" fmla="*/ 651368 h 6557032"/>
              <a:gd name="connsiteX32955" fmla="*/ 1018483 w 4610101"/>
              <a:gd name="connsiteY32955" fmla="*/ 662637 h 6557032"/>
              <a:gd name="connsiteX32956" fmla="*/ 1018368 w 4610101"/>
              <a:gd name="connsiteY32956" fmla="*/ 662757 h 6557032"/>
              <a:gd name="connsiteX32957" fmla="*/ 1014951 w 4610101"/>
              <a:gd name="connsiteY32957" fmla="*/ 673234 h 6557032"/>
              <a:gd name="connsiteX32958" fmla="*/ 1018483 w 4610101"/>
              <a:gd name="connsiteY32958" fmla="*/ 662637 h 6557032"/>
              <a:gd name="connsiteX32959" fmla="*/ 1025884 w 4610101"/>
              <a:gd name="connsiteY32959" fmla="*/ 655012 h 6557032"/>
              <a:gd name="connsiteX32960" fmla="*/ 1022240 w 4610101"/>
              <a:gd name="connsiteY32960" fmla="*/ 651368 h 6557032"/>
              <a:gd name="connsiteX32961" fmla="*/ 805401 w 4610101"/>
              <a:gd name="connsiteY32961" fmla="*/ 651368 h 6557032"/>
              <a:gd name="connsiteX32962" fmla="*/ 807223 w 4610101"/>
              <a:gd name="connsiteY32962" fmla="*/ 665945 h 6557032"/>
              <a:gd name="connsiteX32963" fmla="*/ 805401 w 4610101"/>
              <a:gd name="connsiteY32963" fmla="*/ 651368 h 6557032"/>
              <a:gd name="connsiteX32964" fmla="*/ 652339 w 4610101"/>
              <a:gd name="connsiteY32964" fmla="*/ 651368 h 6557032"/>
              <a:gd name="connsiteX32965" fmla="*/ 650516 w 4610101"/>
              <a:gd name="connsiteY32965" fmla="*/ 653190 h 6557032"/>
              <a:gd name="connsiteX32966" fmla="*/ 655983 w 4610101"/>
              <a:gd name="connsiteY32966" fmla="*/ 656834 h 6557032"/>
              <a:gd name="connsiteX32967" fmla="*/ 652339 w 4610101"/>
              <a:gd name="connsiteY32967" fmla="*/ 651368 h 6557032"/>
              <a:gd name="connsiteX32968" fmla="*/ 337102 w 4610101"/>
              <a:gd name="connsiteY32968" fmla="*/ 651368 h 6557032"/>
              <a:gd name="connsiteX32969" fmla="*/ 344391 w 4610101"/>
              <a:gd name="connsiteY32969" fmla="*/ 658656 h 6557032"/>
              <a:gd name="connsiteX32970" fmla="*/ 346213 w 4610101"/>
              <a:gd name="connsiteY32970" fmla="*/ 655012 h 6557032"/>
              <a:gd name="connsiteX32971" fmla="*/ 337102 w 4610101"/>
              <a:gd name="connsiteY32971" fmla="*/ 651368 h 6557032"/>
              <a:gd name="connsiteX32972" fmla="*/ 333458 w 4610101"/>
              <a:gd name="connsiteY32972" fmla="*/ 651368 h 6557032"/>
              <a:gd name="connsiteX32973" fmla="*/ 338926 w 4610101"/>
              <a:gd name="connsiteY32973" fmla="*/ 660478 h 6557032"/>
              <a:gd name="connsiteX32974" fmla="*/ 337102 w 4610101"/>
              <a:gd name="connsiteY32974" fmla="*/ 655012 h 6557032"/>
              <a:gd name="connsiteX32975" fmla="*/ 333458 w 4610101"/>
              <a:gd name="connsiteY32975" fmla="*/ 651368 h 6557032"/>
              <a:gd name="connsiteX32976" fmla="*/ 1056541 w 4610101"/>
              <a:gd name="connsiteY32976" fmla="*/ 650939 h 6557032"/>
              <a:gd name="connsiteX32977" fmla="*/ 1055040 w 4610101"/>
              <a:gd name="connsiteY32977" fmla="*/ 653190 h 6557032"/>
              <a:gd name="connsiteX32978" fmla="*/ 1055195 w 4610101"/>
              <a:gd name="connsiteY32978" fmla="*/ 652587 h 6557032"/>
              <a:gd name="connsiteX32979" fmla="*/ 3381955 w 4610101"/>
              <a:gd name="connsiteY32979" fmla="*/ 649545 h 6557032"/>
              <a:gd name="connsiteX32980" fmla="*/ 3380133 w 4610101"/>
              <a:gd name="connsiteY32980" fmla="*/ 653190 h 6557032"/>
              <a:gd name="connsiteX32981" fmla="*/ 3389244 w 4610101"/>
              <a:gd name="connsiteY32981" fmla="*/ 655012 h 6557032"/>
              <a:gd name="connsiteX32982" fmla="*/ 3387422 w 4610101"/>
              <a:gd name="connsiteY32982" fmla="*/ 649545 h 6557032"/>
              <a:gd name="connsiteX32983" fmla="*/ 3381955 w 4610101"/>
              <a:gd name="connsiteY32983" fmla="*/ 649545 h 6557032"/>
              <a:gd name="connsiteX32984" fmla="*/ 2616642 w 4610101"/>
              <a:gd name="connsiteY32984" fmla="*/ 649545 h 6557032"/>
              <a:gd name="connsiteX32985" fmla="*/ 2616642 w 4610101"/>
              <a:gd name="connsiteY32985" fmla="*/ 658656 h 6557032"/>
              <a:gd name="connsiteX32986" fmla="*/ 2620287 w 4610101"/>
              <a:gd name="connsiteY32986" fmla="*/ 655012 h 6557032"/>
              <a:gd name="connsiteX32987" fmla="*/ 2616642 w 4610101"/>
              <a:gd name="connsiteY32987" fmla="*/ 649545 h 6557032"/>
              <a:gd name="connsiteX32988" fmla="*/ 2563799 w 4610101"/>
              <a:gd name="connsiteY32988" fmla="*/ 649545 h 6557032"/>
              <a:gd name="connsiteX32989" fmla="*/ 2560155 w 4610101"/>
              <a:gd name="connsiteY32989" fmla="*/ 662301 h 6557032"/>
              <a:gd name="connsiteX32990" fmla="*/ 2565621 w 4610101"/>
              <a:gd name="connsiteY32990" fmla="*/ 662301 h 6557032"/>
              <a:gd name="connsiteX32991" fmla="*/ 2563799 w 4610101"/>
              <a:gd name="connsiteY32991" fmla="*/ 649545 h 6557032"/>
              <a:gd name="connsiteX32992" fmla="*/ 2545577 w 4610101"/>
              <a:gd name="connsiteY32992" fmla="*/ 649545 h 6557032"/>
              <a:gd name="connsiteX32993" fmla="*/ 2542302 w 4610101"/>
              <a:gd name="connsiteY32993" fmla="*/ 651380 h 6557032"/>
              <a:gd name="connsiteX32994" fmla="*/ 2541933 w 4610101"/>
              <a:gd name="connsiteY32994" fmla="*/ 651368 h 6557032"/>
              <a:gd name="connsiteX32995" fmla="*/ 2545577 w 4610101"/>
              <a:gd name="connsiteY32995" fmla="*/ 649545 h 6557032"/>
              <a:gd name="connsiteX32996" fmla="*/ 519320 w 4610101"/>
              <a:gd name="connsiteY32996" fmla="*/ 649545 h 6557032"/>
              <a:gd name="connsiteX32997" fmla="*/ 517498 w 4610101"/>
              <a:gd name="connsiteY32997" fmla="*/ 651368 h 6557032"/>
              <a:gd name="connsiteX32998" fmla="*/ 519320 w 4610101"/>
              <a:gd name="connsiteY32998" fmla="*/ 649545 h 6557032"/>
              <a:gd name="connsiteX32999" fmla="*/ 360791 w 4610101"/>
              <a:gd name="connsiteY32999" fmla="*/ 649545 h 6557032"/>
              <a:gd name="connsiteX33000" fmla="*/ 358969 w 4610101"/>
              <a:gd name="connsiteY33000" fmla="*/ 655012 h 6557032"/>
              <a:gd name="connsiteX33001" fmla="*/ 362613 w 4610101"/>
              <a:gd name="connsiteY33001" fmla="*/ 655012 h 6557032"/>
              <a:gd name="connsiteX33002" fmla="*/ 360791 w 4610101"/>
              <a:gd name="connsiteY33002" fmla="*/ 649545 h 6557032"/>
              <a:gd name="connsiteX33003" fmla="*/ 198617 w 4610101"/>
              <a:gd name="connsiteY33003" fmla="*/ 649545 h 6557032"/>
              <a:gd name="connsiteX33004" fmla="*/ 211372 w 4610101"/>
              <a:gd name="connsiteY33004" fmla="*/ 671411 h 6557032"/>
              <a:gd name="connsiteX33005" fmla="*/ 198617 w 4610101"/>
              <a:gd name="connsiteY33005" fmla="*/ 649545 h 6557032"/>
              <a:gd name="connsiteX33006" fmla="*/ 1210379 w 4610101"/>
              <a:gd name="connsiteY33006" fmla="*/ 648407 h 6557032"/>
              <a:gd name="connsiteX33007" fmla="*/ 1208102 w 4610101"/>
              <a:gd name="connsiteY33007" fmla="*/ 655012 h 6557032"/>
              <a:gd name="connsiteX33008" fmla="*/ 1215390 w 4610101"/>
              <a:gd name="connsiteY33008" fmla="*/ 651368 h 6557032"/>
              <a:gd name="connsiteX33009" fmla="*/ 1219036 w 4610101"/>
              <a:gd name="connsiteY33009" fmla="*/ 660478 h 6557032"/>
              <a:gd name="connsiteX33010" fmla="*/ 1220858 w 4610101"/>
              <a:gd name="connsiteY33010" fmla="*/ 658656 h 6557032"/>
              <a:gd name="connsiteX33011" fmla="*/ 1217213 w 4610101"/>
              <a:gd name="connsiteY33011" fmla="*/ 669589 h 6557032"/>
              <a:gd name="connsiteX33012" fmla="*/ 1235434 w 4610101"/>
              <a:gd name="connsiteY33012" fmla="*/ 653190 h 6557032"/>
              <a:gd name="connsiteX33013" fmla="*/ 1215390 w 4610101"/>
              <a:gd name="connsiteY33013" fmla="*/ 651368 h 6557032"/>
              <a:gd name="connsiteX33014" fmla="*/ 1210379 w 4610101"/>
              <a:gd name="connsiteY33014" fmla="*/ 648407 h 6557032"/>
              <a:gd name="connsiteX33015" fmla="*/ 3596972 w 4610101"/>
              <a:gd name="connsiteY33015" fmla="*/ 647723 h 6557032"/>
              <a:gd name="connsiteX33016" fmla="*/ 3602438 w 4610101"/>
              <a:gd name="connsiteY33016" fmla="*/ 653190 h 6557032"/>
              <a:gd name="connsiteX33017" fmla="*/ 3595150 w 4610101"/>
              <a:gd name="connsiteY33017" fmla="*/ 651368 h 6557032"/>
              <a:gd name="connsiteX33018" fmla="*/ 3596972 w 4610101"/>
              <a:gd name="connsiteY33018" fmla="*/ 647723 h 6557032"/>
              <a:gd name="connsiteX33019" fmla="*/ 3208849 w 4610101"/>
              <a:gd name="connsiteY33019" fmla="*/ 647723 h 6557032"/>
              <a:gd name="connsiteX33020" fmla="*/ 3203382 w 4610101"/>
              <a:gd name="connsiteY33020" fmla="*/ 655012 h 6557032"/>
              <a:gd name="connsiteX33021" fmla="*/ 3208849 w 4610101"/>
              <a:gd name="connsiteY33021" fmla="*/ 647723 h 6557032"/>
              <a:gd name="connsiteX33022" fmla="*/ 2866280 w 4610101"/>
              <a:gd name="connsiteY33022" fmla="*/ 647723 h 6557032"/>
              <a:gd name="connsiteX33023" fmla="*/ 2857169 w 4610101"/>
              <a:gd name="connsiteY33023" fmla="*/ 653190 h 6557032"/>
              <a:gd name="connsiteX33024" fmla="*/ 2869924 w 4610101"/>
              <a:gd name="connsiteY33024" fmla="*/ 656834 h 6557032"/>
              <a:gd name="connsiteX33025" fmla="*/ 2866280 w 4610101"/>
              <a:gd name="connsiteY33025" fmla="*/ 647723 h 6557032"/>
              <a:gd name="connsiteX33026" fmla="*/ 1386676 w 4610101"/>
              <a:gd name="connsiteY33026" fmla="*/ 647723 h 6557032"/>
              <a:gd name="connsiteX33027" fmla="*/ 1375743 w 4610101"/>
              <a:gd name="connsiteY33027" fmla="*/ 662301 h 6557032"/>
              <a:gd name="connsiteX33028" fmla="*/ 1388497 w 4610101"/>
              <a:gd name="connsiteY33028" fmla="*/ 653190 h 6557032"/>
              <a:gd name="connsiteX33029" fmla="*/ 1386676 w 4610101"/>
              <a:gd name="connsiteY33029" fmla="*/ 647723 h 6557032"/>
              <a:gd name="connsiteX33030" fmla="*/ 1353876 w 4610101"/>
              <a:gd name="connsiteY33030" fmla="*/ 647723 h 6557032"/>
              <a:gd name="connsiteX33031" fmla="*/ 1344765 w 4610101"/>
              <a:gd name="connsiteY33031" fmla="*/ 660478 h 6557032"/>
              <a:gd name="connsiteX33032" fmla="*/ 1353876 w 4610101"/>
              <a:gd name="connsiteY33032" fmla="*/ 647723 h 6557032"/>
              <a:gd name="connsiteX33033" fmla="*/ 1321077 w 4610101"/>
              <a:gd name="connsiteY33033" fmla="*/ 647723 h 6557032"/>
              <a:gd name="connsiteX33034" fmla="*/ 1308321 w 4610101"/>
              <a:gd name="connsiteY33034" fmla="*/ 669589 h 6557032"/>
              <a:gd name="connsiteX33035" fmla="*/ 1310143 w 4610101"/>
              <a:gd name="connsiteY33035" fmla="*/ 673234 h 6557032"/>
              <a:gd name="connsiteX33036" fmla="*/ 1313788 w 4610101"/>
              <a:gd name="connsiteY33036" fmla="*/ 669589 h 6557032"/>
              <a:gd name="connsiteX33037" fmla="*/ 1310143 w 4610101"/>
              <a:gd name="connsiteY33037" fmla="*/ 667767 h 6557032"/>
              <a:gd name="connsiteX33038" fmla="*/ 1311966 w 4610101"/>
              <a:gd name="connsiteY33038" fmla="*/ 664123 h 6557032"/>
              <a:gd name="connsiteX33039" fmla="*/ 1313788 w 4610101"/>
              <a:gd name="connsiteY33039" fmla="*/ 667767 h 6557032"/>
              <a:gd name="connsiteX33040" fmla="*/ 1321077 w 4610101"/>
              <a:gd name="connsiteY33040" fmla="*/ 647723 h 6557032"/>
              <a:gd name="connsiteX33041" fmla="*/ 1304677 w 4610101"/>
              <a:gd name="connsiteY33041" fmla="*/ 647723 h 6557032"/>
              <a:gd name="connsiteX33042" fmla="*/ 1301033 w 4610101"/>
              <a:gd name="connsiteY33042" fmla="*/ 662301 h 6557032"/>
              <a:gd name="connsiteX33043" fmla="*/ 1303311 w 4610101"/>
              <a:gd name="connsiteY33043" fmla="*/ 659568 h 6557032"/>
              <a:gd name="connsiteX33044" fmla="*/ 1303176 w 4610101"/>
              <a:gd name="connsiteY33044" fmla="*/ 658764 h 6557032"/>
              <a:gd name="connsiteX33045" fmla="*/ 1304677 w 4610101"/>
              <a:gd name="connsiteY33045" fmla="*/ 660478 h 6557032"/>
              <a:gd name="connsiteX33046" fmla="*/ 1310143 w 4610101"/>
              <a:gd name="connsiteY33046" fmla="*/ 656834 h 6557032"/>
              <a:gd name="connsiteX33047" fmla="*/ 1304677 w 4610101"/>
              <a:gd name="connsiteY33047" fmla="*/ 647723 h 6557032"/>
              <a:gd name="connsiteX33048" fmla="*/ 1193525 w 4610101"/>
              <a:gd name="connsiteY33048" fmla="*/ 647723 h 6557032"/>
              <a:gd name="connsiteX33049" fmla="*/ 1180769 w 4610101"/>
              <a:gd name="connsiteY33049" fmla="*/ 660478 h 6557032"/>
              <a:gd name="connsiteX33050" fmla="*/ 1195346 w 4610101"/>
              <a:gd name="connsiteY33050" fmla="*/ 656834 h 6557032"/>
              <a:gd name="connsiteX33051" fmla="*/ 1202636 w 4610101"/>
              <a:gd name="connsiteY33051" fmla="*/ 656834 h 6557032"/>
              <a:gd name="connsiteX33052" fmla="*/ 1193525 w 4610101"/>
              <a:gd name="connsiteY33052" fmla="*/ 647723 h 6557032"/>
              <a:gd name="connsiteX33053" fmla="*/ 1169836 w 4610101"/>
              <a:gd name="connsiteY33053" fmla="*/ 647723 h 6557032"/>
              <a:gd name="connsiteX33054" fmla="*/ 1158903 w 4610101"/>
              <a:gd name="connsiteY33054" fmla="*/ 658656 h 6557032"/>
              <a:gd name="connsiteX33055" fmla="*/ 1155259 w 4610101"/>
              <a:gd name="connsiteY33055" fmla="*/ 671411 h 6557032"/>
              <a:gd name="connsiteX33056" fmla="*/ 1169836 w 4610101"/>
              <a:gd name="connsiteY33056" fmla="*/ 647723 h 6557032"/>
              <a:gd name="connsiteX33057" fmla="*/ 1091484 w 4610101"/>
              <a:gd name="connsiteY33057" fmla="*/ 647723 h 6557032"/>
              <a:gd name="connsiteX33058" fmla="*/ 1093305 w 4610101"/>
              <a:gd name="connsiteY33058" fmla="*/ 651368 h 6557032"/>
              <a:gd name="connsiteX33059" fmla="*/ 1091484 w 4610101"/>
              <a:gd name="connsiteY33059" fmla="*/ 647723 h 6557032"/>
              <a:gd name="connsiteX33060" fmla="*/ 1025884 w 4610101"/>
              <a:gd name="connsiteY33060" fmla="*/ 647723 h 6557032"/>
              <a:gd name="connsiteX33061" fmla="*/ 1025884 w 4610101"/>
              <a:gd name="connsiteY33061" fmla="*/ 653190 h 6557032"/>
              <a:gd name="connsiteX33062" fmla="*/ 1025884 w 4610101"/>
              <a:gd name="connsiteY33062" fmla="*/ 647723 h 6557032"/>
              <a:gd name="connsiteX33063" fmla="*/ 945709 w 4610101"/>
              <a:gd name="connsiteY33063" fmla="*/ 647723 h 6557032"/>
              <a:gd name="connsiteX33064" fmla="*/ 932953 w 4610101"/>
              <a:gd name="connsiteY33064" fmla="*/ 662301 h 6557032"/>
              <a:gd name="connsiteX33065" fmla="*/ 938420 w 4610101"/>
              <a:gd name="connsiteY33065" fmla="*/ 655012 h 6557032"/>
              <a:gd name="connsiteX33066" fmla="*/ 942064 w 4610101"/>
              <a:gd name="connsiteY33066" fmla="*/ 660478 h 6557032"/>
              <a:gd name="connsiteX33067" fmla="*/ 945709 w 4610101"/>
              <a:gd name="connsiteY33067" fmla="*/ 647723 h 6557032"/>
              <a:gd name="connsiteX33068" fmla="*/ 659627 w 4610101"/>
              <a:gd name="connsiteY33068" fmla="*/ 647723 h 6557032"/>
              <a:gd name="connsiteX33069" fmla="*/ 661449 w 4610101"/>
              <a:gd name="connsiteY33069" fmla="*/ 658656 h 6557032"/>
              <a:gd name="connsiteX33070" fmla="*/ 659627 w 4610101"/>
              <a:gd name="connsiteY33070" fmla="*/ 647723 h 6557032"/>
              <a:gd name="connsiteX33071" fmla="*/ 368079 w 4610101"/>
              <a:gd name="connsiteY33071" fmla="*/ 647723 h 6557032"/>
              <a:gd name="connsiteX33072" fmla="*/ 373546 w 4610101"/>
              <a:gd name="connsiteY33072" fmla="*/ 656834 h 6557032"/>
              <a:gd name="connsiteX33073" fmla="*/ 368079 w 4610101"/>
              <a:gd name="connsiteY33073" fmla="*/ 647723 h 6557032"/>
              <a:gd name="connsiteX33074" fmla="*/ 1266820 w 4610101"/>
              <a:gd name="connsiteY33074" fmla="*/ 647246 h 6557032"/>
              <a:gd name="connsiteX33075" fmla="*/ 1266836 w 4610101"/>
              <a:gd name="connsiteY33075" fmla="*/ 647298 h 6557032"/>
              <a:gd name="connsiteX33076" fmla="*/ 1266411 w 4610101"/>
              <a:gd name="connsiteY33076" fmla="*/ 647723 h 6557032"/>
              <a:gd name="connsiteX33077" fmla="*/ 65787 w 4610101"/>
              <a:gd name="connsiteY33077" fmla="*/ 646176 h 6557032"/>
              <a:gd name="connsiteX33078" fmla="*/ 77721 w 4610101"/>
              <a:gd name="connsiteY33078" fmla="*/ 662445 h 6557032"/>
              <a:gd name="connsiteX33079" fmla="*/ 70154 w 4610101"/>
              <a:gd name="connsiteY33079" fmla="*/ 654101 h 6557032"/>
              <a:gd name="connsiteX33080" fmla="*/ 2791571 w 4610101"/>
              <a:gd name="connsiteY33080" fmla="*/ 645901 h 6557032"/>
              <a:gd name="connsiteX33081" fmla="*/ 2813437 w 4610101"/>
              <a:gd name="connsiteY33081" fmla="*/ 655012 h 6557032"/>
              <a:gd name="connsiteX33082" fmla="*/ 2791571 w 4610101"/>
              <a:gd name="connsiteY33082" fmla="*/ 645901 h 6557032"/>
              <a:gd name="connsiteX33083" fmla="*/ 2780638 w 4610101"/>
              <a:gd name="connsiteY33083" fmla="*/ 645901 h 6557032"/>
              <a:gd name="connsiteX33084" fmla="*/ 2797037 w 4610101"/>
              <a:gd name="connsiteY33084" fmla="*/ 680522 h 6557032"/>
              <a:gd name="connsiteX33085" fmla="*/ 2795215 w 4610101"/>
              <a:gd name="connsiteY33085" fmla="*/ 671411 h 6557032"/>
              <a:gd name="connsiteX33086" fmla="*/ 2820726 w 4610101"/>
              <a:gd name="connsiteY33086" fmla="*/ 687811 h 6557032"/>
              <a:gd name="connsiteX33087" fmla="*/ 2824370 w 4610101"/>
              <a:gd name="connsiteY33087" fmla="*/ 682345 h 6557032"/>
              <a:gd name="connsiteX33088" fmla="*/ 2818903 w 4610101"/>
              <a:gd name="connsiteY33088" fmla="*/ 665945 h 6557032"/>
              <a:gd name="connsiteX33089" fmla="*/ 2807971 w 4610101"/>
              <a:gd name="connsiteY33089" fmla="*/ 673234 h 6557032"/>
              <a:gd name="connsiteX33090" fmla="*/ 2804326 w 4610101"/>
              <a:gd name="connsiteY33090" fmla="*/ 664123 h 6557032"/>
              <a:gd name="connsiteX33091" fmla="*/ 2797037 w 4610101"/>
              <a:gd name="connsiteY33091" fmla="*/ 665945 h 6557032"/>
              <a:gd name="connsiteX33092" fmla="*/ 2787927 w 4610101"/>
              <a:gd name="connsiteY33092" fmla="*/ 645901 h 6557032"/>
              <a:gd name="connsiteX33093" fmla="*/ 2780638 w 4610101"/>
              <a:gd name="connsiteY33093" fmla="*/ 645901 h 6557032"/>
              <a:gd name="connsiteX33094" fmla="*/ 2591132 w 4610101"/>
              <a:gd name="connsiteY33094" fmla="*/ 645901 h 6557032"/>
              <a:gd name="connsiteX33095" fmla="*/ 2587487 w 4610101"/>
              <a:gd name="connsiteY33095" fmla="*/ 649545 h 6557032"/>
              <a:gd name="connsiteX33096" fmla="*/ 2594776 w 4610101"/>
              <a:gd name="connsiteY33096" fmla="*/ 662301 h 6557032"/>
              <a:gd name="connsiteX33097" fmla="*/ 2591132 w 4610101"/>
              <a:gd name="connsiteY33097" fmla="*/ 645901 h 6557032"/>
              <a:gd name="connsiteX33098" fmla="*/ 1362987 w 4610101"/>
              <a:gd name="connsiteY33098" fmla="*/ 645901 h 6557032"/>
              <a:gd name="connsiteX33099" fmla="*/ 1342942 w 4610101"/>
              <a:gd name="connsiteY33099" fmla="*/ 671411 h 6557032"/>
              <a:gd name="connsiteX33100" fmla="*/ 1362987 w 4610101"/>
              <a:gd name="connsiteY33100" fmla="*/ 645901 h 6557032"/>
              <a:gd name="connsiteX33101" fmla="*/ 1266411 w 4610101"/>
              <a:gd name="connsiteY33101" fmla="*/ 645901 h 6557032"/>
              <a:gd name="connsiteX33102" fmla="*/ 1267697 w 4610101"/>
              <a:gd name="connsiteY33102" fmla="*/ 646115 h 6557032"/>
              <a:gd name="connsiteX33103" fmla="*/ 1267723 w 4610101"/>
              <a:gd name="connsiteY33103" fmla="*/ 646193 h 6557032"/>
              <a:gd name="connsiteX33104" fmla="*/ 1266820 w 4610101"/>
              <a:gd name="connsiteY33104" fmla="*/ 647246 h 6557032"/>
              <a:gd name="connsiteX33105" fmla="*/ 1255478 w 4610101"/>
              <a:gd name="connsiteY33105" fmla="*/ 645901 h 6557032"/>
              <a:gd name="connsiteX33106" fmla="*/ 1251834 w 4610101"/>
              <a:gd name="connsiteY33106" fmla="*/ 660478 h 6557032"/>
              <a:gd name="connsiteX33107" fmla="*/ 1259123 w 4610101"/>
              <a:gd name="connsiteY33107" fmla="*/ 653190 h 6557032"/>
              <a:gd name="connsiteX33108" fmla="*/ 1255478 w 4610101"/>
              <a:gd name="connsiteY33108" fmla="*/ 645901 h 6557032"/>
              <a:gd name="connsiteX33109" fmla="*/ 1244545 w 4610101"/>
              <a:gd name="connsiteY33109" fmla="*/ 645901 h 6557032"/>
              <a:gd name="connsiteX33110" fmla="*/ 1237256 w 4610101"/>
              <a:gd name="connsiteY33110" fmla="*/ 649545 h 6557032"/>
              <a:gd name="connsiteX33111" fmla="*/ 1240901 w 4610101"/>
              <a:gd name="connsiteY33111" fmla="*/ 653190 h 6557032"/>
              <a:gd name="connsiteX33112" fmla="*/ 1244545 w 4610101"/>
              <a:gd name="connsiteY33112" fmla="*/ 645901 h 6557032"/>
              <a:gd name="connsiteX33113" fmla="*/ 1071439 w 4610101"/>
              <a:gd name="connsiteY33113" fmla="*/ 645901 h 6557032"/>
              <a:gd name="connsiteX33114" fmla="*/ 1070463 w 4610101"/>
              <a:gd name="connsiteY33114" fmla="*/ 647073 h 6557032"/>
              <a:gd name="connsiteX33115" fmla="*/ 1068863 w 4610101"/>
              <a:gd name="connsiteY33115" fmla="*/ 646007 h 6557032"/>
              <a:gd name="connsiteX33116" fmla="*/ 911087 w 4610101"/>
              <a:gd name="connsiteY33116" fmla="*/ 645901 h 6557032"/>
              <a:gd name="connsiteX33117" fmla="*/ 909265 w 4610101"/>
              <a:gd name="connsiteY33117" fmla="*/ 653190 h 6557032"/>
              <a:gd name="connsiteX33118" fmla="*/ 911087 w 4610101"/>
              <a:gd name="connsiteY33118" fmla="*/ 645901 h 6557032"/>
              <a:gd name="connsiteX33119" fmla="*/ 887399 w 4610101"/>
              <a:gd name="connsiteY33119" fmla="*/ 645901 h 6557032"/>
              <a:gd name="connsiteX33120" fmla="*/ 880111 w 4610101"/>
              <a:gd name="connsiteY33120" fmla="*/ 660478 h 6557032"/>
              <a:gd name="connsiteX33121" fmla="*/ 891043 w 4610101"/>
              <a:gd name="connsiteY33121" fmla="*/ 647723 h 6557032"/>
              <a:gd name="connsiteX33122" fmla="*/ 887399 w 4610101"/>
              <a:gd name="connsiteY33122" fmla="*/ 645901 h 6557032"/>
              <a:gd name="connsiteX33123" fmla="*/ 805401 w 4610101"/>
              <a:gd name="connsiteY33123" fmla="*/ 645901 h 6557032"/>
              <a:gd name="connsiteX33124" fmla="*/ 809046 w 4610101"/>
              <a:gd name="connsiteY33124" fmla="*/ 653190 h 6557032"/>
              <a:gd name="connsiteX33125" fmla="*/ 807223 w 4610101"/>
              <a:gd name="connsiteY33125" fmla="*/ 645901 h 6557032"/>
              <a:gd name="connsiteX33126" fmla="*/ 805401 w 4610101"/>
              <a:gd name="connsiteY33126" fmla="*/ 645901 h 6557032"/>
              <a:gd name="connsiteX33127" fmla="*/ 606784 w 4610101"/>
              <a:gd name="connsiteY33127" fmla="*/ 645901 h 6557032"/>
              <a:gd name="connsiteX33128" fmla="*/ 603140 w 4610101"/>
              <a:gd name="connsiteY33128" fmla="*/ 658656 h 6557032"/>
              <a:gd name="connsiteX33129" fmla="*/ 606784 w 4610101"/>
              <a:gd name="connsiteY33129" fmla="*/ 645901 h 6557032"/>
              <a:gd name="connsiteX33130" fmla="*/ 561230 w 4610101"/>
              <a:gd name="connsiteY33130" fmla="*/ 645901 h 6557032"/>
              <a:gd name="connsiteX33131" fmla="*/ 561230 w 4610101"/>
              <a:gd name="connsiteY33131" fmla="*/ 651368 h 6557032"/>
              <a:gd name="connsiteX33132" fmla="*/ 561230 w 4610101"/>
              <a:gd name="connsiteY33132" fmla="*/ 645901 h 6557032"/>
              <a:gd name="connsiteX33133" fmla="*/ 502920 w 4610101"/>
              <a:gd name="connsiteY33133" fmla="*/ 645901 h 6557032"/>
              <a:gd name="connsiteX33134" fmla="*/ 506565 w 4610101"/>
              <a:gd name="connsiteY33134" fmla="*/ 655012 h 6557032"/>
              <a:gd name="connsiteX33135" fmla="*/ 502920 w 4610101"/>
              <a:gd name="connsiteY33135" fmla="*/ 645901 h 6557032"/>
              <a:gd name="connsiteX33136" fmla="*/ 455544 w 4610101"/>
              <a:gd name="connsiteY33136" fmla="*/ 645901 h 6557032"/>
              <a:gd name="connsiteX33137" fmla="*/ 461010 w 4610101"/>
              <a:gd name="connsiteY33137" fmla="*/ 655012 h 6557032"/>
              <a:gd name="connsiteX33138" fmla="*/ 455544 w 4610101"/>
              <a:gd name="connsiteY33138" fmla="*/ 645901 h 6557032"/>
              <a:gd name="connsiteX33139" fmla="*/ 444611 w 4610101"/>
              <a:gd name="connsiteY33139" fmla="*/ 645901 h 6557032"/>
              <a:gd name="connsiteX33140" fmla="*/ 448256 w 4610101"/>
              <a:gd name="connsiteY33140" fmla="*/ 649545 h 6557032"/>
              <a:gd name="connsiteX33141" fmla="*/ 444611 w 4610101"/>
              <a:gd name="connsiteY33141" fmla="*/ 645901 h 6557032"/>
              <a:gd name="connsiteX33142" fmla="*/ 320703 w 4610101"/>
              <a:gd name="connsiteY33142" fmla="*/ 645901 h 6557032"/>
              <a:gd name="connsiteX33143" fmla="*/ 348037 w 4610101"/>
              <a:gd name="connsiteY33143" fmla="*/ 685989 h 6557032"/>
              <a:gd name="connsiteX33144" fmla="*/ 326169 w 4610101"/>
              <a:gd name="connsiteY33144" fmla="*/ 655012 h 6557032"/>
              <a:gd name="connsiteX33145" fmla="*/ 331636 w 4610101"/>
              <a:gd name="connsiteY33145" fmla="*/ 653190 h 6557032"/>
              <a:gd name="connsiteX33146" fmla="*/ 320703 w 4610101"/>
              <a:gd name="connsiteY33146" fmla="*/ 645901 h 6557032"/>
              <a:gd name="connsiteX33147" fmla="*/ 2962855 w 4610101"/>
              <a:gd name="connsiteY33147" fmla="*/ 644079 h 6557032"/>
              <a:gd name="connsiteX33148" fmla="*/ 2962858 w 4610101"/>
              <a:gd name="connsiteY33148" fmla="*/ 644083 h 6557032"/>
              <a:gd name="connsiteX33149" fmla="*/ 2966500 w 4610101"/>
              <a:gd name="connsiteY33149" fmla="*/ 649545 h 6557032"/>
              <a:gd name="connsiteX33150" fmla="*/ 2962855 w 4610101"/>
              <a:gd name="connsiteY33150" fmla="*/ 644079 h 6557032"/>
              <a:gd name="connsiteX33151" fmla="*/ 1432229 w 4610101"/>
              <a:gd name="connsiteY33151" fmla="*/ 644079 h 6557032"/>
              <a:gd name="connsiteX33152" fmla="*/ 1417652 w 4610101"/>
              <a:gd name="connsiteY33152" fmla="*/ 658656 h 6557032"/>
              <a:gd name="connsiteX33153" fmla="*/ 1432229 w 4610101"/>
              <a:gd name="connsiteY33153" fmla="*/ 644079 h 6557032"/>
              <a:gd name="connsiteX33154" fmla="*/ 1390319 w 4610101"/>
              <a:gd name="connsiteY33154" fmla="*/ 644079 h 6557032"/>
              <a:gd name="connsiteX33155" fmla="*/ 1388497 w 4610101"/>
              <a:gd name="connsiteY33155" fmla="*/ 647723 h 6557032"/>
              <a:gd name="connsiteX33156" fmla="*/ 1388497 w 4610101"/>
              <a:gd name="connsiteY33156" fmla="*/ 649545 h 6557032"/>
              <a:gd name="connsiteX33157" fmla="*/ 1390319 w 4610101"/>
              <a:gd name="connsiteY33157" fmla="*/ 644079 h 6557032"/>
              <a:gd name="connsiteX33158" fmla="*/ 1229969 w 4610101"/>
              <a:gd name="connsiteY33158" fmla="*/ 644079 h 6557032"/>
              <a:gd name="connsiteX33159" fmla="*/ 1231790 w 4610101"/>
              <a:gd name="connsiteY33159" fmla="*/ 647723 h 6557032"/>
              <a:gd name="connsiteX33160" fmla="*/ 1233612 w 4610101"/>
              <a:gd name="connsiteY33160" fmla="*/ 645901 h 6557032"/>
              <a:gd name="connsiteX33161" fmla="*/ 1229969 w 4610101"/>
              <a:gd name="connsiteY33161" fmla="*/ 644079 h 6557032"/>
              <a:gd name="connsiteX33162" fmla="*/ 1197169 w 4610101"/>
              <a:gd name="connsiteY33162" fmla="*/ 644079 h 6557032"/>
              <a:gd name="connsiteX33163" fmla="*/ 1193525 w 4610101"/>
              <a:gd name="connsiteY33163" fmla="*/ 645901 h 6557032"/>
              <a:gd name="connsiteX33164" fmla="*/ 1198991 w 4610101"/>
              <a:gd name="connsiteY33164" fmla="*/ 651368 h 6557032"/>
              <a:gd name="connsiteX33165" fmla="*/ 1198991 w 4610101"/>
              <a:gd name="connsiteY33165" fmla="*/ 647723 h 6557032"/>
              <a:gd name="connsiteX33166" fmla="*/ 1202636 w 4610101"/>
              <a:gd name="connsiteY33166" fmla="*/ 653190 h 6557032"/>
              <a:gd name="connsiteX33167" fmla="*/ 1206279 w 4610101"/>
              <a:gd name="connsiteY33167" fmla="*/ 645901 h 6557032"/>
              <a:gd name="connsiteX33168" fmla="*/ 1202636 w 4610101"/>
              <a:gd name="connsiteY33168" fmla="*/ 644079 h 6557032"/>
              <a:gd name="connsiteX33169" fmla="*/ 1202636 w 4610101"/>
              <a:gd name="connsiteY33169" fmla="*/ 651368 h 6557032"/>
              <a:gd name="connsiteX33170" fmla="*/ 1197169 w 4610101"/>
              <a:gd name="connsiteY33170" fmla="*/ 644079 h 6557032"/>
              <a:gd name="connsiteX33171" fmla="*/ 798112 w 4610101"/>
              <a:gd name="connsiteY33171" fmla="*/ 644079 h 6557032"/>
              <a:gd name="connsiteX33172" fmla="*/ 799935 w 4610101"/>
              <a:gd name="connsiteY33172" fmla="*/ 645901 h 6557032"/>
              <a:gd name="connsiteX33173" fmla="*/ 796290 w 4610101"/>
              <a:gd name="connsiteY33173" fmla="*/ 645901 h 6557032"/>
              <a:gd name="connsiteX33174" fmla="*/ 798112 w 4610101"/>
              <a:gd name="connsiteY33174" fmla="*/ 644079 h 6557032"/>
              <a:gd name="connsiteX33175" fmla="*/ 750737 w 4610101"/>
              <a:gd name="connsiteY33175" fmla="*/ 644079 h 6557032"/>
              <a:gd name="connsiteX33176" fmla="*/ 754380 w 4610101"/>
              <a:gd name="connsiteY33176" fmla="*/ 649545 h 6557032"/>
              <a:gd name="connsiteX33177" fmla="*/ 750737 w 4610101"/>
              <a:gd name="connsiteY33177" fmla="*/ 644079 h 6557032"/>
              <a:gd name="connsiteX33178" fmla="*/ 668738 w 4610101"/>
              <a:gd name="connsiteY33178" fmla="*/ 644079 h 6557032"/>
              <a:gd name="connsiteX33179" fmla="*/ 666916 w 4610101"/>
              <a:gd name="connsiteY33179" fmla="*/ 651368 h 6557032"/>
              <a:gd name="connsiteX33180" fmla="*/ 670560 w 4610101"/>
              <a:gd name="connsiteY33180" fmla="*/ 651368 h 6557032"/>
              <a:gd name="connsiteX33181" fmla="*/ 665094 w 4610101"/>
              <a:gd name="connsiteY33181" fmla="*/ 660478 h 6557032"/>
              <a:gd name="connsiteX33182" fmla="*/ 688782 w 4610101"/>
              <a:gd name="connsiteY33182" fmla="*/ 673234 h 6557032"/>
              <a:gd name="connsiteX33183" fmla="*/ 670560 w 4610101"/>
              <a:gd name="connsiteY33183" fmla="*/ 645901 h 6557032"/>
              <a:gd name="connsiteX33184" fmla="*/ 668738 w 4610101"/>
              <a:gd name="connsiteY33184" fmla="*/ 647723 h 6557032"/>
              <a:gd name="connsiteX33185" fmla="*/ 668738 w 4610101"/>
              <a:gd name="connsiteY33185" fmla="*/ 644079 h 6557032"/>
              <a:gd name="connsiteX33186" fmla="*/ 594030 w 4610101"/>
              <a:gd name="connsiteY33186" fmla="*/ 644079 h 6557032"/>
              <a:gd name="connsiteX33187" fmla="*/ 595852 w 4610101"/>
              <a:gd name="connsiteY33187" fmla="*/ 651368 h 6557032"/>
              <a:gd name="connsiteX33188" fmla="*/ 597673 w 4610101"/>
              <a:gd name="connsiteY33188" fmla="*/ 649545 h 6557032"/>
              <a:gd name="connsiteX33189" fmla="*/ 594030 w 4610101"/>
              <a:gd name="connsiteY33189" fmla="*/ 644079 h 6557032"/>
              <a:gd name="connsiteX33190" fmla="*/ 424567 w 4610101"/>
              <a:gd name="connsiteY33190" fmla="*/ 644079 h 6557032"/>
              <a:gd name="connsiteX33191" fmla="*/ 430034 w 4610101"/>
              <a:gd name="connsiteY33191" fmla="*/ 658656 h 6557032"/>
              <a:gd name="connsiteX33192" fmla="*/ 424567 w 4610101"/>
              <a:gd name="connsiteY33192" fmla="*/ 649545 h 6557032"/>
              <a:gd name="connsiteX33193" fmla="*/ 428211 w 4610101"/>
              <a:gd name="connsiteY33193" fmla="*/ 649545 h 6557032"/>
              <a:gd name="connsiteX33194" fmla="*/ 424567 w 4610101"/>
              <a:gd name="connsiteY33194" fmla="*/ 644079 h 6557032"/>
              <a:gd name="connsiteX33195" fmla="*/ 411812 w 4610101"/>
              <a:gd name="connsiteY33195" fmla="*/ 644079 h 6557032"/>
              <a:gd name="connsiteX33196" fmla="*/ 417188 w 4610101"/>
              <a:gd name="connsiteY33196" fmla="*/ 651249 h 6557032"/>
              <a:gd name="connsiteX33197" fmla="*/ 417191 w 4610101"/>
              <a:gd name="connsiteY33197" fmla="*/ 651303 h 6557032"/>
              <a:gd name="connsiteX33198" fmla="*/ 413633 w 4610101"/>
              <a:gd name="connsiteY33198" fmla="*/ 648635 h 6557032"/>
              <a:gd name="connsiteX33199" fmla="*/ 410799 w 4610101"/>
              <a:gd name="connsiteY33199" fmla="*/ 645092 h 6557032"/>
              <a:gd name="connsiteX33200" fmla="*/ 236883 w 4610101"/>
              <a:gd name="connsiteY33200" fmla="*/ 644079 h 6557032"/>
              <a:gd name="connsiteX33201" fmla="*/ 242349 w 4610101"/>
              <a:gd name="connsiteY33201" fmla="*/ 662301 h 6557032"/>
              <a:gd name="connsiteX33202" fmla="*/ 236883 w 4610101"/>
              <a:gd name="connsiteY33202" fmla="*/ 644079 h 6557032"/>
              <a:gd name="connsiteX33203" fmla="*/ 165818 w 4610101"/>
              <a:gd name="connsiteY33203" fmla="*/ 644079 h 6557032"/>
              <a:gd name="connsiteX33204" fmla="*/ 169132 w 4610101"/>
              <a:gd name="connsiteY33204" fmla="*/ 645736 h 6557032"/>
              <a:gd name="connsiteX33205" fmla="*/ 173107 w 4610101"/>
              <a:gd name="connsiteY33205" fmla="*/ 655012 h 6557032"/>
              <a:gd name="connsiteX33206" fmla="*/ 168325 w 4610101"/>
              <a:gd name="connsiteY33206" fmla="*/ 648257 h 6557032"/>
              <a:gd name="connsiteX33207" fmla="*/ 1220858 w 4610101"/>
              <a:gd name="connsiteY33207" fmla="*/ 643168 h 6557032"/>
              <a:gd name="connsiteX33208" fmla="*/ 1211747 w 4610101"/>
              <a:gd name="connsiteY33208" fmla="*/ 644079 h 6557032"/>
              <a:gd name="connsiteX33209" fmla="*/ 1229969 w 4610101"/>
              <a:gd name="connsiteY33209" fmla="*/ 647723 h 6557032"/>
              <a:gd name="connsiteX33210" fmla="*/ 1220858 w 4610101"/>
              <a:gd name="connsiteY33210" fmla="*/ 643168 h 6557032"/>
              <a:gd name="connsiteX33211" fmla="*/ 3265336 w 4610101"/>
              <a:gd name="connsiteY33211" fmla="*/ 642257 h 6557032"/>
              <a:gd name="connsiteX33212" fmla="*/ 3261692 w 4610101"/>
              <a:gd name="connsiteY33212" fmla="*/ 649545 h 6557032"/>
              <a:gd name="connsiteX33213" fmla="*/ 3265336 w 4610101"/>
              <a:gd name="connsiteY33213" fmla="*/ 642257 h 6557032"/>
              <a:gd name="connsiteX33214" fmla="*/ 2880857 w 4610101"/>
              <a:gd name="connsiteY33214" fmla="*/ 642257 h 6557032"/>
              <a:gd name="connsiteX33215" fmla="*/ 2875391 w 4610101"/>
              <a:gd name="connsiteY33215" fmla="*/ 644079 h 6557032"/>
              <a:gd name="connsiteX33216" fmla="*/ 2880857 w 4610101"/>
              <a:gd name="connsiteY33216" fmla="*/ 642257 h 6557032"/>
              <a:gd name="connsiteX33217" fmla="*/ 1454095 w 4610101"/>
              <a:gd name="connsiteY33217" fmla="*/ 642257 h 6557032"/>
              <a:gd name="connsiteX33218" fmla="*/ 1449995 w 4610101"/>
              <a:gd name="connsiteY33218" fmla="*/ 649318 h 6557032"/>
              <a:gd name="connsiteX33219" fmla="*/ 1448365 w 4610101"/>
              <a:gd name="connsiteY33219" fmla="*/ 650676 h 6557032"/>
              <a:gd name="connsiteX33220" fmla="*/ 1437696 w 4610101"/>
              <a:gd name="connsiteY33220" fmla="*/ 642257 h 6557032"/>
              <a:gd name="connsiteX33221" fmla="*/ 1434051 w 4610101"/>
              <a:gd name="connsiteY33221" fmla="*/ 647723 h 6557032"/>
              <a:gd name="connsiteX33222" fmla="*/ 1437696 w 4610101"/>
              <a:gd name="connsiteY33222" fmla="*/ 642257 h 6557032"/>
              <a:gd name="connsiteX33223" fmla="*/ 1366632 w 4610101"/>
              <a:gd name="connsiteY33223" fmla="*/ 642257 h 6557032"/>
              <a:gd name="connsiteX33224" fmla="*/ 1370275 w 4610101"/>
              <a:gd name="connsiteY33224" fmla="*/ 656834 h 6557032"/>
              <a:gd name="connsiteX33225" fmla="*/ 1366632 w 4610101"/>
              <a:gd name="connsiteY33225" fmla="*/ 642257 h 6557032"/>
              <a:gd name="connsiteX33226" fmla="*/ 1319254 w 4610101"/>
              <a:gd name="connsiteY33226" fmla="*/ 642257 h 6557032"/>
              <a:gd name="connsiteX33227" fmla="*/ 1313788 w 4610101"/>
              <a:gd name="connsiteY33227" fmla="*/ 649545 h 6557032"/>
              <a:gd name="connsiteX33228" fmla="*/ 1319254 w 4610101"/>
              <a:gd name="connsiteY33228" fmla="*/ 642257 h 6557032"/>
              <a:gd name="connsiteX33229" fmla="*/ 1306499 w 4610101"/>
              <a:gd name="connsiteY33229" fmla="*/ 642257 h 6557032"/>
              <a:gd name="connsiteX33230" fmla="*/ 1304677 w 4610101"/>
              <a:gd name="connsiteY33230" fmla="*/ 644079 h 6557032"/>
              <a:gd name="connsiteX33231" fmla="*/ 1308321 w 4610101"/>
              <a:gd name="connsiteY33231" fmla="*/ 644079 h 6557032"/>
              <a:gd name="connsiteX33232" fmla="*/ 1306499 w 4610101"/>
              <a:gd name="connsiteY33232" fmla="*/ 642257 h 6557032"/>
              <a:gd name="connsiteX33233" fmla="*/ 1266411 w 4610101"/>
              <a:gd name="connsiteY33233" fmla="*/ 642257 h 6557032"/>
              <a:gd name="connsiteX33234" fmla="*/ 1260945 w 4610101"/>
              <a:gd name="connsiteY33234" fmla="*/ 651368 h 6557032"/>
              <a:gd name="connsiteX33235" fmla="*/ 1266411 w 4610101"/>
              <a:gd name="connsiteY33235" fmla="*/ 651368 h 6557032"/>
              <a:gd name="connsiteX33236" fmla="*/ 1268233 w 4610101"/>
              <a:gd name="connsiteY33236" fmla="*/ 655012 h 6557032"/>
              <a:gd name="connsiteX33237" fmla="*/ 1268005 w 4610101"/>
              <a:gd name="connsiteY33237" fmla="*/ 651140 h 6557032"/>
              <a:gd name="connsiteX33238" fmla="*/ 1266836 w 4610101"/>
              <a:gd name="connsiteY33238" fmla="*/ 647298 h 6557032"/>
              <a:gd name="connsiteX33239" fmla="*/ 1267777 w 4610101"/>
              <a:gd name="connsiteY33239" fmla="*/ 646357 h 6557032"/>
              <a:gd name="connsiteX33240" fmla="*/ 1267723 w 4610101"/>
              <a:gd name="connsiteY33240" fmla="*/ 646193 h 6557032"/>
              <a:gd name="connsiteX33241" fmla="*/ 1267778 w 4610101"/>
              <a:gd name="connsiteY33241" fmla="*/ 646129 h 6557032"/>
              <a:gd name="connsiteX33242" fmla="*/ 1267697 w 4610101"/>
              <a:gd name="connsiteY33242" fmla="*/ 646115 h 6557032"/>
              <a:gd name="connsiteX33243" fmla="*/ 193151 w 4610101"/>
              <a:gd name="connsiteY33243" fmla="*/ 642257 h 6557032"/>
              <a:gd name="connsiteX33244" fmla="*/ 200439 w 4610101"/>
              <a:gd name="connsiteY33244" fmla="*/ 658656 h 6557032"/>
              <a:gd name="connsiteX33245" fmla="*/ 193151 w 4610101"/>
              <a:gd name="connsiteY33245" fmla="*/ 642257 h 6557032"/>
              <a:gd name="connsiteX33246" fmla="*/ 3538662 w 4610101"/>
              <a:gd name="connsiteY33246" fmla="*/ 640435 h 6557032"/>
              <a:gd name="connsiteX33247" fmla="*/ 3536840 w 4610101"/>
              <a:gd name="connsiteY33247" fmla="*/ 645901 h 6557032"/>
              <a:gd name="connsiteX33248" fmla="*/ 3529551 w 4610101"/>
              <a:gd name="connsiteY33248" fmla="*/ 642257 h 6557032"/>
              <a:gd name="connsiteX33249" fmla="*/ 3529551 w 4610101"/>
              <a:gd name="connsiteY33249" fmla="*/ 653190 h 6557032"/>
              <a:gd name="connsiteX33250" fmla="*/ 3535018 w 4610101"/>
              <a:gd name="connsiteY33250" fmla="*/ 649545 h 6557032"/>
              <a:gd name="connsiteX33251" fmla="*/ 3540484 w 4610101"/>
              <a:gd name="connsiteY33251" fmla="*/ 664123 h 6557032"/>
              <a:gd name="connsiteX33252" fmla="*/ 3542306 w 4610101"/>
              <a:gd name="connsiteY33252" fmla="*/ 678700 h 6557032"/>
              <a:gd name="connsiteX33253" fmla="*/ 3535018 w 4610101"/>
              <a:gd name="connsiteY33253" fmla="*/ 675056 h 6557032"/>
              <a:gd name="connsiteX33254" fmla="*/ 3536840 w 4610101"/>
              <a:gd name="connsiteY33254" fmla="*/ 682345 h 6557032"/>
              <a:gd name="connsiteX33255" fmla="*/ 3553240 w 4610101"/>
              <a:gd name="connsiteY33255" fmla="*/ 684167 h 6557032"/>
              <a:gd name="connsiteX33256" fmla="*/ 3545951 w 4610101"/>
              <a:gd name="connsiteY33256" fmla="*/ 682345 h 6557032"/>
              <a:gd name="connsiteX33257" fmla="*/ 3544129 w 4610101"/>
              <a:gd name="connsiteY33257" fmla="*/ 662301 h 6557032"/>
              <a:gd name="connsiteX33258" fmla="*/ 3549595 w 4610101"/>
              <a:gd name="connsiteY33258" fmla="*/ 664123 h 6557032"/>
              <a:gd name="connsiteX33259" fmla="*/ 3551417 w 4610101"/>
              <a:gd name="connsiteY33259" fmla="*/ 645901 h 6557032"/>
              <a:gd name="connsiteX33260" fmla="*/ 3542306 w 4610101"/>
              <a:gd name="connsiteY33260" fmla="*/ 647723 h 6557032"/>
              <a:gd name="connsiteX33261" fmla="*/ 3538662 w 4610101"/>
              <a:gd name="connsiteY33261" fmla="*/ 640435 h 6557032"/>
              <a:gd name="connsiteX33262" fmla="*/ 2760594 w 4610101"/>
              <a:gd name="connsiteY33262" fmla="*/ 640435 h 6557032"/>
              <a:gd name="connsiteX33263" fmla="*/ 2763371 w 4610101"/>
              <a:gd name="connsiteY33263" fmla="*/ 644832 h 6557032"/>
              <a:gd name="connsiteX33264" fmla="*/ 2764238 w 4610101"/>
              <a:gd name="connsiteY33264" fmla="*/ 647723 h 6557032"/>
              <a:gd name="connsiteX33265" fmla="*/ 2760594 w 4610101"/>
              <a:gd name="connsiteY33265" fmla="*/ 643229 h 6557032"/>
              <a:gd name="connsiteX33266" fmla="*/ 2627575 w 4610101"/>
              <a:gd name="connsiteY33266" fmla="*/ 640435 h 6557032"/>
              <a:gd name="connsiteX33267" fmla="*/ 2633042 w 4610101"/>
              <a:gd name="connsiteY33267" fmla="*/ 647723 h 6557032"/>
              <a:gd name="connsiteX33268" fmla="*/ 2627575 w 4610101"/>
              <a:gd name="connsiteY33268" fmla="*/ 640435 h 6557032"/>
              <a:gd name="connsiteX33269" fmla="*/ 2352427 w 4610101"/>
              <a:gd name="connsiteY33269" fmla="*/ 640435 h 6557032"/>
              <a:gd name="connsiteX33270" fmla="*/ 2337850 w 4610101"/>
              <a:gd name="connsiteY33270" fmla="*/ 665945 h 6557032"/>
              <a:gd name="connsiteX33271" fmla="*/ 2339672 w 4610101"/>
              <a:gd name="connsiteY33271" fmla="*/ 655012 h 6557032"/>
              <a:gd name="connsiteX33272" fmla="*/ 2346960 w 4610101"/>
              <a:gd name="connsiteY33272" fmla="*/ 676878 h 6557032"/>
              <a:gd name="connsiteX33273" fmla="*/ 2343316 w 4610101"/>
              <a:gd name="connsiteY33273" fmla="*/ 669589 h 6557032"/>
              <a:gd name="connsiteX33274" fmla="*/ 2356071 w 4610101"/>
              <a:gd name="connsiteY33274" fmla="*/ 693278 h 6557032"/>
              <a:gd name="connsiteX33275" fmla="*/ 2354249 w 4610101"/>
              <a:gd name="connsiteY33275" fmla="*/ 684167 h 6557032"/>
              <a:gd name="connsiteX33276" fmla="*/ 2376115 w 4610101"/>
              <a:gd name="connsiteY33276" fmla="*/ 658656 h 6557032"/>
              <a:gd name="connsiteX33277" fmla="*/ 2368827 w 4610101"/>
              <a:gd name="connsiteY33277" fmla="*/ 645901 h 6557032"/>
              <a:gd name="connsiteX33278" fmla="*/ 2372471 w 4610101"/>
              <a:gd name="connsiteY33278" fmla="*/ 645901 h 6557032"/>
              <a:gd name="connsiteX33279" fmla="*/ 2352427 w 4610101"/>
              <a:gd name="connsiteY33279" fmla="*/ 640435 h 6557032"/>
              <a:gd name="connsiteX33280" fmla="*/ 1423118 w 4610101"/>
              <a:gd name="connsiteY33280" fmla="*/ 640435 h 6557032"/>
              <a:gd name="connsiteX33281" fmla="*/ 1419474 w 4610101"/>
              <a:gd name="connsiteY33281" fmla="*/ 647723 h 6557032"/>
              <a:gd name="connsiteX33282" fmla="*/ 1423118 w 4610101"/>
              <a:gd name="connsiteY33282" fmla="*/ 640435 h 6557032"/>
              <a:gd name="connsiteX33283" fmla="*/ 1195346 w 4610101"/>
              <a:gd name="connsiteY33283" fmla="*/ 640435 h 6557032"/>
              <a:gd name="connsiteX33284" fmla="*/ 1186600 w 4610101"/>
              <a:gd name="connsiteY33284" fmla="*/ 644808 h 6557032"/>
              <a:gd name="connsiteX33285" fmla="*/ 1184414 w 4610101"/>
              <a:gd name="connsiteY33285" fmla="*/ 644079 h 6557032"/>
              <a:gd name="connsiteX33286" fmla="*/ 1186017 w 4610101"/>
              <a:gd name="connsiteY33286" fmla="*/ 645100 h 6557032"/>
              <a:gd name="connsiteX33287" fmla="*/ 1173481 w 4610101"/>
              <a:gd name="connsiteY33287" fmla="*/ 651368 h 6557032"/>
              <a:gd name="connsiteX33288" fmla="*/ 1175303 w 4610101"/>
              <a:gd name="connsiteY33288" fmla="*/ 651368 h 6557032"/>
              <a:gd name="connsiteX33289" fmla="*/ 1162547 w 4610101"/>
              <a:gd name="connsiteY33289" fmla="*/ 664123 h 6557032"/>
              <a:gd name="connsiteX33290" fmla="*/ 1188058 w 4610101"/>
              <a:gd name="connsiteY33290" fmla="*/ 645901 h 6557032"/>
              <a:gd name="connsiteX33291" fmla="*/ 1186919 w 4610101"/>
              <a:gd name="connsiteY33291" fmla="*/ 645674 h 6557032"/>
              <a:gd name="connsiteX33292" fmla="*/ 1186017 w 4610101"/>
              <a:gd name="connsiteY33292" fmla="*/ 645100 h 6557032"/>
              <a:gd name="connsiteX33293" fmla="*/ 1186600 w 4610101"/>
              <a:gd name="connsiteY33293" fmla="*/ 644808 h 6557032"/>
              <a:gd name="connsiteX33294" fmla="*/ 1189880 w 4610101"/>
              <a:gd name="connsiteY33294" fmla="*/ 645901 h 6557032"/>
              <a:gd name="connsiteX33295" fmla="*/ 1195346 w 4610101"/>
              <a:gd name="connsiteY33295" fmla="*/ 640435 h 6557032"/>
              <a:gd name="connsiteX33296" fmla="*/ 1127926 w 4610101"/>
              <a:gd name="connsiteY33296" fmla="*/ 640435 h 6557032"/>
              <a:gd name="connsiteX33297" fmla="*/ 1127926 w 4610101"/>
              <a:gd name="connsiteY33297" fmla="*/ 644079 h 6557032"/>
              <a:gd name="connsiteX33298" fmla="*/ 1127926 w 4610101"/>
              <a:gd name="connsiteY33298" fmla="*/ 640435 h 6557032"/>
              <a:gd name="connsiteX33299" fmla="*/ 841845 w 4610101"/>
              <a:gd name="connsiteY33299" fmla="*/ 640435 h 6557032"/>
              <a:gd name="connsiteX33300" fmla="*/ 836378 w 4610101"/>
              <a:gd name="connsiteY33300" fmla="*/ 647723 h 6557032"/>
              <a:gd name="connsiteX33301" fmla="*/ 841845 w 4610101"/>
              <a:gd name="connsiteY33301" fmla="*/ 640435 h 6557032"/>
              <a:gd name="connsiteX33302" fmla="*/ 761670 w 4610101"/>
              <a:gd name="connsiteY33302" fmla="*/ 640435 h 6557032"/>
              <a:gd name="connsiteX33303" fmla="*/ 767136 w 4610101"/>
              <a:gd name="connsiteY33303" fmla="*/ 653190 h 6557032"/>
              <a:gd name="connsiteX33304" fmla="*/ 761670 w 4610101"/>
              <a:gd name="connsiteY33304" fmla="*/ 640435 h 6557032"/>
              <a:gd name="connsiteX33305" fmla="*/ 657805 w 4610101"/>
              <a:gd name="connsiteY33305" fmla="*/ 640435 h 6557032"/>
              <a:gd name="connsiteX33306" fmla="*/ 655983 w 4610101"/>
              <a:gd name="connsiteY33306" fmla="*/ 647723 h 6557032"/>
              <a:gd name="connsiteX33307" fmla="*/ 661449 w 4610101"/>
              <a:gd name="connsiteY33307" fmla="*/ 644079 h 6557032"/>
              <a:gd name="connsiteX33308" fmla="*/ 657805 w 4610101"/>
              <a:gd name="connsiteY33308" fmla="*/ 640435 h 6557032"/>
              <a:gd name="connsiteX33309" fmla="*/ 479232 w 4610101"/>
              <a:gd name="connsiteY33309" fmla="*/ 640435 h 6557032"/>
              <a:gd name="connsiteX33310" fmla="*/ 486521 w 4610101"/>
              <a:gd name="connsiteY33310" fmla="*/ 653190 h 6557032"/>
              <a:gd name="connsiteX33311" fmla="*/ 479232 w 4610101"/>
              <a:gd name="connsiteY33311" fmla="*/ 640435 h 6557032"/>
              <a:gd name="connsiteX33312" fmla="*/ 455544 w 4610101"/>
              <a:gd name="connsiteY33312" fmla="*/ 640435 h 6557032"/>
              <a:gd name="connsiteX33313" fmla="*/ 462832 w 4610101"/>
              <a:gd name="connsiteY33313" fmla="*/ 645901 h 6557032"/>
              <a:gd name="connsiteX33314" fmla="*/ 455544 w 4610101"/>
              <a:gd name="connsiteY33314" fmla="*/ 640435 h 6557032"/>
              <a:gd name="connsiteX33315" fmla="*/ 220483 w 4610101"/>
              <a:gd name="connsiteY33315" fmla="*/ 640435 h 6557032"/>
              <a:gd name="connsiteX33316" fmla="*/ 224128 w 4610101"/>
              <a:gd name="connsiteY33316" fmla="*/ 656834 h 6557032"/>
              <a:gd name="connsiteX33317" fmla="*/ 245994 w 4610101"/>
              <a:gd name="connsiteY33317" fmla="*/ 687811 h 6557032"/>
              <a:gd name="connsiteX33318" fmla="*/ 220483 w 4610101"/>
              <a:gd name="connsiteY33318" fmla="*/ 640435 h 6557032"/>
              <a:gd name="connsiteX33319" fmla="*/ 138486 w 4610101"/>
              <a:gd name="connsiteY33319" fmla="*/ 640435 h 6557032"/>
              <a:gd name="connsiteX33320" fmla="*/ 147596 w 4610101"/>
              <a:gd name="connsiteY33320" fmla="*/ 655012 h 6557032"/>
              <a:gd name="connsiteX33321" fmla="*/ 145774 w 4610101"/>
              <a:gd name="connsiteY33321" fmla="*/ 655012 h 6557032"/>
              <a:gd name="connsiteX33322" fmla="*/ 162174 w 4610101"/>
              <a:gd name="connsiteY33322" fmla="*/ 678700 h 6557032"/>
              <a:gd name="connsiteX33323" fmla="*/ 167640 w 4610101"/>
              <a:gd name="connsiteY33323" fmla="*/ 682345 h 6557032"/>
              <a:gd name="connsiteX33324" fmla="*/ 160352 w 4610101"/>
              <a:gd name="connsiteY33324" fmla="*/ 665945 h 6557032"/>
              <a:gd name="connsiteX33325" fmla="*/ 173107 w 4610101"/>
              <a:gd name="connsiteY33325" fmla="*/ 678700 h 6557032"/>
              <a:gd name="connsiteX33326" fmla="*/ 138486 w 4610101"/>
              <a:gd name="connsiteY33326" fmla="*/ 640435 h 6557032"/>
              <a:gd name="connsiteX33327" fmla="*/ 125730 w 4610101"/>
              <a:gd name="connsiteY33327" fmla="*/ 640435 h 6557032"/>
              <a:gd name="connsiteX33328" fmla="*/ 142130 w 4610101"/>
              <a:gd name="connsiteY33328" fmla="*/ 676878 h 6557032"/>
              <a:gd name="connsiteX33329" fmla="*/ 149944 w 4610101"/>
              <a:gd name="connsiteY33329" fmla="*/ 693216 h 6557032"/>
              <a:gd name="connsiteX33330" fmla="*/ 147596 w 4610101"/>
              <a:gd name="connsiteY33330" fmla="*/ 691455 h 6557032"/>
              <a:gd name="connsiteX33331" fmla="*/ 151505 w 4610101"/>
              <a:gd name="connsiteY33331" fmla="*/ 696482 h 6557032"/>
              <a:gd name="connsiteX33332" fmla="*/ 162174 w 4610101"/>
              <a:gd name="connsiteY33332" fmla="*/ 718788 h 6557032"/>
              <a:gd name="connsiteX33333" fmla="*/ 156707 w 4610101"/>
              <a:gd name="connsiteY33333" fmla="*/ 706033 h 6557032"/>
              <a:gd name="connsiteX33334" fmla="*/ 160352 w 4610101"/>
              <a:gd name="connsiteY33334" fmla="*/ 707855 h 6557032"/>
              <a:gd name="connsiteX33335" fmla="*/ 151505 w 4610101"/>
              <a:gd name="connsiteY33335" fmla="*/ 696482 h 6557032"/>
              <a:gd name="connsiteX33336" fmla="*/ 149944 w 4610101"/>
              <a:gd name="connsiteY33336" fmla="*/ 693216 h 6557032"/>
              <a:gd name="connsiteX33337" fmla="*/ 154885 w 4610101"/>
              <a:gd name="connsiteY33337" fmla="*/ 696922 h 6557032"/>
              <a:gd name="connsiteX33338" fmla="*/ 149419 w 4610101"/>
              <a:gd name="connsiteY33338" fmla="*/ 684167 h 6557032"/>
              <a:gd name="connsiteX33339" fmla="*/ 149419 w 4610101"/>
              <a:gd name="connsiteY33339" fmla="*/ 689633 h 6557032"/>
              <a:gd name="connsiteX33340" fmla="*/ 142130 w 4610101"/>
              <a:gd name="connsiteY33340" fmla="*/ 676878 h 6557032"/>
              <a:gd name="connsiteX33341" fmla="*/ 141095 w 4610101"/>
              <a:gd name="connsiteY33341" fmla="*/ 672116 h 6557032"/>
              <a:gd name="connsiteX33342" fmla="*/ 143269 w 4610101"/>
              <a:gd name="connsiteY33342" fmla="*/ 675739 h 6557032"/>
              <a:gd name="connsiteX33343" fmla="*/ 149419 w 4610101"/>
              <a:gd name="connsiteY33343" fmla="*/ 682345 h 6557032"/>
              <a:gd name="connsiteX33344" fmla="*/ 125730 w 4610101"/>
              <a:gd name="connsiteY33344" fmla="*/ 640435 h 6557032"/>
              <a:gd name="connsiteX33345" fmla="*/ 2775784 w 4610101"/>
              <a:gd name="connsiteY33345" fmla="*/ 640330 h 6557032"/>
              <a:gd name="connsiteX33346" fmla="*/ 2776993 w 4610101"/>
              <a:gd name="connsiteY33346" fmla="*/ 640435 h 6557032"/>
              <a:gd name="connsiteX33347" fmla="*/ 2777479 w 4610101"/>
              <a:gd name="connsiteY33347" fmla="*/ 643350 h 6557032"/>
              <a:gd name="connsiteX33348" fmla="*/ 2776993 w 4610101"/>
              <a:gd name="connsiteY33348" fmla="*/ 644079 h 6557032"/>
              <a:gd name="connsiteX33349" fmla="*/ 2385682 w 4610101"/>
              <a:gd name="connsiteY33349" fmla="*/ 639751 h 6557032"/>
              <a:gd name="connsiteX33350" fmla="*/ 2381582 w 4610101"/>
              <a:gd name="connsiteY33350" fmla="*/ 642257 h 6557032"/>
              <a:gd name="connsiteX33351" fmla="*/ 2387048 w 4610101"/>
              <a:gd name="connsiteY33351" fmla="*/ 644079 h 6557032"/>
              <a:gd name="connsiteX33352" fmla="*/ 2385682 w 4610101"/>
              <a:gd name="connsiteY33352" fmla="*/ 639751 h 6557032"/>
              <a:gd name="connsiteX33353" fmla="*/ 941812 w 4610101"/>
              <a:gd name="connsiteY33353" fmla="*/ 639144 h 6557032"/>
              <a:gd name="connsiteX33354" fmla="*/ 943886 w 4610101"/>
              <a:gd name="connsiteY33354" fmla="*/ 642257 h 6557032"/>
              <a:gd name="connsiteX33355" fmla="*/ 942018 w 4610101"/>
              <a:gd name="connsiteY33355" fmla="*/ 643191 h 6557032"/>
              <a:gd name="connsiteX33356" fmla="*/ 3254403 w 4610101"/>
              <a:gd name="connsiteY33356" fmla="*/ 638612 h 6557032"/>
              <a:gd name="connsiteX33357" fmla="*/ 3259869 w 4610101"/>
              <a:gd name="connsiteY33357" fmla="*/ 644079 h 6557032"/>
              <a:gd name="connsiteX33358" fmla="*/ 3254403 w 4610101"/>
              <a:gd name="connsiteY33358" fmla="*/ 638612 h 6557032"/>
              <a:gd name="connsiteX33359" fmla="*/ 3053964 w 4610101"/>
              <a:gd name="connsiteY33359" fmla="*/ 638612 h 6557032"/>
              <a:gd name="connsiteX33360" fmla="*/ 3057608 w 4610101"/>
              <a:gd name="connsiteY33360" fmla="*/ 644079 h 6557032"/>
              <a:gd name="connsiteX33361" fmla="*/ 3057608 w 4610101"/>
              <a:gd name="connsiteY33361" fmla="*/ 638612 h 6557032"/>
              <a:gd name="connsiteX33362" fmla="*/ 3053964 w 4610101"/>
              <a:gd name="connsiteY33362" fmla="*/ 638612 h 6557032"/>
              <a:gd name="connsiteX33363" fmla="*/ 2510956 w 4610101"/>
              <a:gd name="connsiteY33363" fmla="*/ 638612 h 6557032"/>
              <a:gd name="connsiteX33364" fmla="*/ 2510956 w 4610101"/>
              <a:gd name="connsiteY33364" fmla="*/ 640435 h 6557032"/>
              <a:gd name="connsiteX33365" fmla="*/ 2514600 w 4610101"/>
              <a:gd name="connsiteY33365" fmla="*/ 642257 h 6557032"/>
              <a:gd name="connsiteX33366" fmla="*/ 2510956 w 4610101"/>
              <a:gd name="connsiteY33366" fmla="*/ 638612 h 6557032"/>
              <a:gd name="connsiteX33367" fmla="*/ 1239080 w 4610101"/>
              <a:gd name="connsiteY33367" fmla="*/ 638612 h 6557032"/>
              <a:gd name="connsiteX33368" fmla="*/ 1237256 w 4610101"/>
              <a:gd name="connsiteY33368" fmla="*/ 642257 h 6557032"/>
              <a:gd name="connsiteX33369" fmla="*/ 1240901 w 4610101"/>
              <a:gd name="connsiteY33369" fmla="*/ 642257 h 6557032"/>
              <a:gd name="connsiteX33370" fmla="*/ 1239080 w 4610101"/>
              <a:gd name="connsiteY33370" fmla="*/ 638612 h 6557032"/>
              <a:gd name="connsiteX33371" fmla="*/ 1146148 w 4610101"/>
              <a:gd name="connsiteY33371" fmla="*/ 638612 h 6557032"/>
              <a:gd name="connsiteX33372" fmla="*/ 1135215 w 4610101"/>
              <a:gd name="connsiteY33372" fmla="*/ 649545 h 6557032"/>
              <a:gd name="connsiteX33373" fmla="*/ 1146148 w 4610101"/>
              <a:gd name="connsiteY33373" fmla="*/ 638612 h 6557032"/>
              <a:gd name="connsiteX33374" fmla="*/ 1098771 w 4610101"/>
              <a:gd name="connsiteY33374" fmla="*/ 638612 h 6557032"/>
              <a:gd name="connsiteX33375" fmla="*/ 1095127 w 4610101"/>
              <a:gd name="connsiteY33375" fmla="*/ 645901 h 6557032"/>
              <a:gd name="connsiteX33376" fmla="*/ 1098771 w 4610101"/>
              <a:gd name="connsiteY33376" fmla="*/ 638612 h 6557032"/>
              <a:gd name="connsiteX33377" fmla="*/ 767136 w 4610101"/>
              <a:gd name="connsiteY33377" fmla="*/ 638612 h 6557032"/>
              <a:gd name="connsiteX33378" fmla="*/ 770781 w 4610101"/>
              <a:gd name="connsiteY33378" fmla="*/ 649545 h 6557032"/>
              <a:gd name="connsiteX33379" fmla="*/ 767136 w 4610101"/>
              <a:gd name="connsiteY33379" fmla="*/ 638612 h 6557032"/>
              <a:gd name="connsiteX33380" fmla="*/ 655983 w 4610101"/>
              <a:gd name="connsiteY33380" fmla="*/ 638612 h 6557032"/>
              <a:gd name="connsiteX33381" fmla="*/ 652339 w 4610101"/>
              <a:gd name="connsiteY33381" fmla="*/ 642257 h 6557032"/>
              <a:gd name="connsiteX33382" fmla="*/ 655983 w 4610101"/>
              <a:gd name="connsiteY33382" fmla="*/ 638612 h 6557032"/>
              <a:gd name="connsiteX33383" fmla="*/ 331636 w 4610101"/>
              <a:gd name="connsiteY33383" fmla="*/ 638612 h 6557032"/>
              <a:gd name="connsiteX33384" fmla="*/ 338926 w 4610101"/>
              <a:gd name="connsiteY33384" fmla="*/ 645901 h 6557032"/>
              <a:gd name="connsiteX33385" fmla="*/ 331636 w 4610101"/>
              <a:gd name="connsiteY33385" fmla="*/ 638612 h 6557032"/>
              <a:gd name="connsiteX33386" fmla="*/ 282438 w 4610101"/>
              <a:gd name="connsiteY33386" fmla="*/ 638612 h 6557032"/>
              <a:gd name="connsiteX33387" fmla="*/ 283803 w 4610101"/>
              <a:gd name="connsiteY33387" fmla="*/ 646813 h 6557032"/>
              <a:gd name="connsiteX33388" fmla="*/ 283463 w 4610101"/>
              <a:gd name="connsiteY33388" fmla="*/ 646129 h 6557032"/>
              <a:gd name="connsiteX33389" fmla="*/ 282666 w 4610101"/>
              <a:gd name="connsiteY33389" fmla="*/ 642712 h 6557032"/>
              <a:gd name="connsiteX33390" fmla="*/ 282438 w 4610101"/>
              <a:gd name="connsiteY33390" fmla="*/ 638612 h 6557032"/>
              <a:gd name="connsiteX33391" fmla="*/ 2757726 w 4610101"/>
              <a:gd name="connsiteY33391" fmla="*/ 637002 h 6557032"/>
              <a:gd name="connsiteX33392" fmla="*/ 2757405 w 4610101"/>
              <a:gd name="connsiteY33392" fmla="*/ 639296 h 6557032"/>
              <a:gd name="connsiteX33393" fmla="*/ 2760594 w 4610101"/>
              <a:gd name="connsiteY33393" fmla="*/ 643229 h 6557032"/>
              <a:gd name="connsiteX33394" fmla="*/ 2760594 w 4610101"/>
              <a:gd name="connsiteY33394" fmla="*/ 647723 h 6557032"/>
              <a:gd name="connsiteX33395" fmla="*/ 2756950 w 4610101"/>
              <a:gd name="connsiteY33395" fmla="*/ 640435 h 6557032"/>
              <a:gd name="connsiteX33396" fmla="*/ 2341494 w 4610101"/>
              <a:gd name="connsiteY33396" fmla="*/ 636790 h 6557032"/>
              <a:gd name="connsiteX33397" fmla="*/ 2334205 w 4610101"/>
              <a:gd name="connsiteY33397" fmla="*/ 640435 h 6557032"/>
              <a:gd name="connsiteX33398" fmla="*/ 2341494 w 4610101"/>
              <a:gd name="connsiteY33398" fmla="*/ 636790 h 6557032"/>
              <a:gd name="connsiteX33399" fmla="*/ 1273700 w 4610101"/>
              <a:gd name="connsiteY33399" fmla="*/ 636790 h 6557032"/>
              <a:gd name="connsiteX33400" fmla="*/ 1271878 w 4610101"/>
              <a:gd name="connsiteY33400" fmla="*/ 647723 h 6557032"/>
              <a:gd name="connsiteX33401" fmla="*/ 1275522 w 4610101"/>
              <a:gd name="connsiteY33401" fmla="*/ 651368 h 6557032"/>
              <a:gd name="connsiteX33402" fmla="*/ 1277344 w 4610101"/>
              <a:gd name="connsiteY33402" fmla="*/ 649545 h 6557032"/>
              <a:gd name="connsiteX33403" fmla="*/ 1278710 w 4610101"/>
              <a:gd name="connsiteY33403" fmla="*/ 652279 h 6557032"/>
              <a:gd name="connsiteX33404" fmla="*/ 1278255 w 4610101"/>
              <a:gd name="connsiteY33404" fmla="*/ 653190 h 6557032"/>
              <a:gd name="connsiteX33405" fmla="*/ 1275522 w 4610101"/>
              <a:gd name="connsiteY33405" fmla="*/ 653190 h 6557032"/>
              <a:gd name="connsiteX33406" fmla="*/ 1277344 w 4610101"/>
              <a:gd name="connsiteY33406" fmla="*/ 655012 h 6557032"/>
              <a:gd name="connsiteX33407" fmla="*/ 1278255 w 4610101"/>
              <a:gd name="connsiteY33407" fmla="*/ 653190 h 6557032"/>
              <a:gd name="connsiteX33408" fmla="*/ 1279166 w 4610101"/>
              <a:gd name="connsiteY33408" fmla="*/ 653190 h 6557032"/>
              <a:gd name="connsiteX33409" fmla="*/ 1278710 w 4610101"/>
              <a:gd name="connsiteY33409" fmla="*/ 652279 h 6557032"/>
              <a:gd name="connsiteX33410" fmla="*/ 1279166 w 4610101"/>
              <a:gd name="connsiteY33410" fmla="*/ 651368 h 6557032"/>
              <a:gd name="connsiteX33411" fmla="*/ 1282811 w 4610101"/>
              <a:gd name="connsiteY33411" fmla="*/ 636790 h 6557032"/>
              <a:gd name="connsiteX33412" fmla="*/ 1273700 w 4610101"/>
              <a:gd name="connsiteY33412" fmla="*/ 636790 h 6557032"/>
              <a:gd name="connsiteX33413" fmla="*/ 1237256 w 4610101"/>
              <a:gd name="connsiteY33413" fmla="*/ 636790 h 6557032"/>
              <a:gd name="connsiteX33414" fmla="*/ 1215390 w 4610101"/>
              <a:gd name="connsiteY33414" fmla="*/ 642257 h 6557032"/>
              <a:gd name="connsiteX33415" fmla="*/ 1231790 w 4610101"/>
              <a:gd name="connsiteY33415" fmla="*/ 642257 h 6557032"/>
              <a:gd name="connsiteX33416" fmla="*/ 1229969 w 4610101"/>
              <a:gd name="connsiteY33416" fmla="*/ 638612 h 6557032"/>
              <a:gd name="connsiteX33417" fmla="*/ 1233612 w 4610101"/>
              <a:gd name="connsiteY33417" fmla="*/ 644079 h 6557032"/>
              <a:gd name="connsiteX33418" fmla="*/ 1237256 w 4610101"/>
              <a:gd name="connsiteY33418" fmla="*/ 636790 h 6557032"/>
              <a:gd name="connsiteX33419" fmla="*/ 1215390 w 4610101"/>
              <a:gd name="connsiteY33419" fmla="*/ 636790 h 6557032"/>
              <a:gd name="connsiteX33420" fmla="*/ 1211747 w 4610101"/>
              <a:gd name="connsiteY33420" fmla="*/ 638612 h 6557032"/>
              <a:gd name="connsiteX33421" fmla="*/ 1213568 w 4610101"/>
              <a:gd name="connsiteY33421" fmla="*/ 640435 h 6557032"/>
              <a:gd name="connsiteX33422" fmla="*/ 1215390 w 4610101"/>
              <a:gd name="connsiteY33422" fmla="*/ 636790 h 6557032"/>
              <a:gd name="connsiteX33423" fmla="*/ 1166192 w 4610101"/>
              <a:gd name="connsiteY33423" fmla="*/ 636790 h 6557032"/>
              <a:gd name="connsiteX33424" fmla="*/ 1158903 w 4610101"/>
              <a:gd name="connsiteY33424" fmla="*/ 655012 h 6557032"/>
              <a:gd name="connsiteX33425" fmla="*/ 1166192 w 4610101"/>
              <a:gd name="connsiteY33425" fmla="*/ 636790 h 6557032"/>
              <a:gd name="connsiteX33426" fmla="*/ 1164370 w 4610101"/>
              <a:gd name="connsiteY33426" fmla="*/ 636790 h 6557032"/>
              <a:gd name="connsiteX33427" fmla="*/ 1157081 w 4610101"/>
              <a:gd name="connsiteY33427" fmla="*/ 645901 h 6557032"/>
              <a:gd name="connsiteX33428" fmla="*/ 1158903 w 4610101"/>
              <a:gd name="connsiteY33428" fmla="*/ 649545 h 6557032"/>
              <a:gd name="connsiteX33429" fmla="*/ 1164370 w 4610101"/>
              <a:gd name="connsiteY33429" fmla="*/ 636790 h 6557032"/>
              <a:gd name="connsiteX33430" fmla="*/ 1157081 w 4610101"/>
              <a:gd name="connsiteY33430" fmla="*/ 636790 h 6557032"/>
              <a:gd name="connsiteX33431" fmla="*/ 1158903 w 4610101"/>
              <a:gd name="connsiteY33431" fmla="*/ 640435 h 6557032"/>
              <a:gd name="connsiteX33432" fmla="*/ 1160725 w 4610101"/>
              <a:gd name="connsiteY33432" fmla="*/ 638612 h 6557032"/>
              <a:gd name="connsiteX33433" fmla="*/ 1157081 w 4610101"/>
              <a:gd name="connsiteY33433" fmla="*/ 636790 h 6557032"/>
              <a:gd name="connsiteX33434" fmla="*/ 1153436 w 4610101"/>
              <a:gd name="connsiteY33434" fmla="*/ 636790 h 6557032"/>
              <a:gd name="connsiteX33435" fmla="*/ 1138859 w 4610101"/>
              <a:gd name="connsiteY33435" fmla="*/ 647723 h 6557032"/>
              <a:gd name="connsiteX33436" fmla="*/ 1140681 w 4610101"/>
              <a:gd name="connsiteY33436" fmla="*/ 649545 h 6557032"/>
              <a:gd name="connsiteX33437" fmla="*/ 1122459 w 4610101"/>
              <a:gd name="connsiteY33437" fmla="*/ 671411 h 6557032"/>
              <a:gd name="connsiteX33438" fmla="*/ 1127926 w 4610101"/>
              <a:gd name="connsiteY33438" fmla="*/ 667767 h 6557032"/>
              <a:gd name="connsiteX33439" fmla="*/ 1126104 w 4610101"/>
              <a:gd name="connsiteY33439" fmla="*/ 669589 h 6557032"/>
              <a:gd name="connsiteX33440" fmla="*/ 1133393 w 4610101"/>
              <a:gd name="connsiteY33440" fmla="*/ 664123 h 6557032"/>
              <a:gd name="connsiteX33441" fmla="*/ 1133393 w 4610101"/>
              <a:gd name="connsiteY33441" fmla="*/ 667767 h 6557032"/>
              <a:gd name="connsiteX33442" fmla="*/ 1142503 w 4610101"/>
              <a:gd name="connsiteY33442" fmla="*/ 656834 h 6557032"/>
              <a:gd name="connsiteX33443" fmla="*/ 1146148 w 4610101"/>
              <a:gd name="connsiteY33443" fmla="*/ 658656 h 6557032"/>
              <a:gd name="connsiteX33444" fmla="*/ 1144326 w 4610101"/>
              <a:gd name="connsiteY33444" fmla="*/ 649545 h 6557032"/>
              <a:gd name="connsiteX33445" fmla="*/ 1149792 w 4610101"/>
              <a:gd name="connsiteY33445" fmla="*/ 655012 h 6557032"/>
              <a:gd name="connsiteX33446" fmla="*/ 1155259 w 4610101"/>
              <a:gd name="connsiteY33446" fmla="*/ 640435 h 6557032"/>
              <a:gd name="connsiteX33447" fmla="*/ 1153436 w 4610101"/>
              <a:gd name="connsiteY33447" fmla="*/ 636790 h 6557032"/>
              <a:gd name="connsiteX33448" fmla="*/ 1100593 w 4610101"/>
              <a:gd name="connsiteY33448" fmla="*/ 636790 h 6557032"/>
              <a:gd name="connsiteX33449" fmla="*/ 1100593 w 4610101"/>
              <a:gd name="connsiteY33449" fmla="*/ 642257 h 6557032"/>
              <a:gd name="connsiteX33450" fmla="*/ 1096949 w 4610101"/>
              <a:gd name="connsiteY33450" fmla="*/ 647723 h 6557032"/>
              <a:gd name="connsiteX33451" fmla="*/ 1102416 w 4610101"/>
              <a:gd name="connsiteY33451" fmla="*/ 642257 h 6557032"/>
              <a:gd name="connsiteX33452" fmla="*/ 1100593 w 4610101"/>
              <a:gd name="connsiteY33452" fmla="*/ 636790 h 6557032"/>
              <a:gd name="connsiteX33453" fmla="*/ 1051395 w 4610101"/>
              <a:gd name="connsiteY33453" fmla="*/ 636790 h 6557032"/>
              <a:gd name="connsiteX33454" fmla="*/ 1045929 w 4610101"/>
              <a:gd name="connsiteY33454" fmla="*/ 645901 h 6557032"/>
              <a:gd name="connsiteX33455" fmla="*/ 1051395 w 4610101"/>
              <a:gd name="connsiteY33455" fmla="*/ 636790 h 6557032"/>
              <a:gd name="connsiteX33456" fmla="*/ 597673 w 4610101"/>
              <a:gd name="connsiteY33456" fmla="*/ 636790 h 6557032"/>
              <a:gd name="connsiteX33457" fmla="*/ 595852 w 4610101"/>
              <a:gd name="connsiteY33457" fmla="*/ 640435 h 6557032"/>
              <a:gd name="connsiteX33458" fmla="*/ 597673 w 4610101"/>
              <a:gd name="connsiteY33458" fmla="*/ 636790 h 6557032"/>
              <a:gd name="connsiteX33459" fmla="*/ 384479 w 4610101"/>
              <a:gd name="connsiteY33459" fmla="*/ 636790 h 6557032"/>
              <a:gd name="connsiteX33460" fmla="*/ 389946 w 4610101"/>
              <a:gd name="connsiteY33460" fmla="*/ 644079 h 6557032"/>
              <a:gd name="connsiteX33461" fmla="*/ 389946 w 4610101"/>
              <a:gd name="connsiteY33461" fmla="*/ 642257 h 6557032"/>
              <a:gd name="connsiteX33462" fmla="*/ 384479 w 4610101"/>
              <a:gd name="connsiteY33462" fmla="*/ 636790 h 6557032"/>
              <a:gd name="connsiteX33463" fmla="*/ 340747 w 4610101"/>
              <a:gd name="connsiteY33463" fmla="*/ 636790 h 6557032"/>
              <a:gd name="connsiteX33464" fmla="*/ 342569 w 4610101"/>
              <a:gd name="connsiteY33464" fmla="*/ 642257 h 6557032"/>
              <a:gd name="connsiteX33465" fmla="*/ 340747 w 4610101"/>
              <a:gd name="connsiteY33465" fmla="*/ 636790 h 6557032"/>
              <a:gd name="connsiteX33466" fmla="*/ 1043665 w 4610101"/>
              <a:gd name="connsiteY33466" fmla="*/ 636515 h 6557032"/>
              <a:gd name="connsiteX33467" fmla="*/ 1043821 w 4610101"/>
              <a:gd name="connsiteY33467" fmla="*/ 638539 h 6557032"/>
              <a:gd name="connsiteX33468" fmla="*/ 1043650 w 4610101"/>
              <a:gd name="connsiteY33468" fmla="*/ 640663 h 6557032"/>
              <a:gd name="connsiteX33469" fmla="*/ 1043359 w 4610101"/>
              <a:gd name="connsiteY33469" fmla="*/ 641309 h 6557032"/>
              <a:gd name="connsiteX33470" fmla="*/ 1042578 w 4610101"/>
              <a:gd name="connsiteY33470" fmla="*/ 640318 h 6557032"/>
              <a:gd name="connsiteX33471" fmla="*/ 2586491 w 4610101"/>
              <a:gd name="connsiteY33471" fmla="*/ 636392 h 6557032"/>
              <a:gd name="connsiteX33472" fmla="*/ 2572910 w 4610101"/>
              <a:gd name="connsiteY33472" fmla="*/ 644079 h 6557032"/>
              <a:gd name="connsiteX33473" fmla="*/ 2591132 w 4610101"/>
              <a:gd name="connsiteY33473" fmla="*/ 642257 h 6557032"/>
              <a:gd name="connsiteX33474" fmla="*/ 2586491 w 4610101"/>
              <a:gd name="connsiteY33474" fmla="*/ 636392 h 6557032"/>
              <a:gd name="connsiteX33475" fmla="*/ 3343690 w 4610101"/>
              <a:gd name="connsiteY33475" fmla="*/ 634968 h 6557032"/>
              <a:gd name="connsiteX33476" fmla="*/ 3354623 w 4610101"/>
              <a:gd name="connsiteY33476" fmla="*/ 638612 h 6557032"/>
              <a:gd name="connsiteX33477" fmla="*/ 3343690 w 4610101"/>
              <a:gd name="connsiteY33477" fmla="*/ 634968 h 6557032"/>
              <a:gd name="connsiteX33478" fmla="*/ 3258047 w 4610101"/>
              <a:gd name="connsiteY33478" fmla="*/ 634968 h 6557032"/>
              <a:gd name="connsiteX33479" fmla="*/ 3263514 w 4610101"/>
              <a:gd name="connsiteY33479" fmla="*/ 640435 h 6557032"/>
              <a:gd name="connsiteX33480" fmla="*/ 3265336 w 4610101"/>
              <a:gd name="connsiteY33480" fmla="*/ 636790 h 6557032"/>
              <a:gd name="connsiteX33481" fmla="*/ 3258047 w 4610101"/>
              <a:gd name="connsiteY33481" fmla="*/ 634968 h 6557032"/>
              <a:gd name="connsiteX33482" fmla="*/ 635939 w 4610101"/>
              <a:gd name="connsiteY33482" fmla="*/ 634968 h 6557032"/>
              <a:gd name="connsiteX33483" fmla="*/ 626828 w 4610101"/>
              <a:gd name="connsiteY33483" fmla="*/ 645901 h 6557032"/>
              <a:gd name="connsiteX33484" fmla="*/ 639583 w 4610101"/>
              <a:gd name="connsiteY33484" fmla="*/ 651368 h 6557032"/>
              <a:gd name="connsiteX33485" fmla="*/ 645050 w 4610101"/>
              <a:gd name="connsiteY33485" fmla="*/ 638612 h 6557032"/>
              <a:gd name="connsiteX33486" fmla="*/ 635939 w 4610101"/>
              <a:gd name="connsiteY33486" fmla="*/ 634968 h 6557032"/>
              <a:gd name="connsiteX33487" fmla="*/ 451899 w 4610101"/>
              <a:gd name="connsiteY33487" fmla="*/ 634968 h 6557032"/>
              <a:gd name="connsiteX33488" fmla="*/ 450077 w 4610101"/>
              <a:gd name="connsiteY33488" fmla="*/ 640435 h 6557032"/>
              <a:gd name="connsiteX33489" fmla="*/ 451899 w 4610101"/>
              <a:gd name="connsiteY33489" fmla="*/ 640435 h 6557032"/>
              <a:gd name="connsiteX33490" fmla="*/ 451899 w 4610101"/>
              <a:gd name="connsiteY33490" fmla="*/ 634968 h 6557032"/>
              <a:gd name="connsiteX33491" fmla="*/ 349858 w 4610101"/>
              <a:gd name="connsiteY33491" fmla="*/ 634968 h 6557032"/>
              <a:gd name="connsiteX33492" fmla="*/ 353502 w 4610101"/>
              <a:gd name="connsiteY33492" fmla="*/ 647723 h 6557032"/>
              <a:gd name="connsiteX33493" fmla="*/ 357146 w 4610101"/>
              <a:gd name="connsiteY33493" fmla="*/ 638612 h 6557032"/>
              <a:gd name="connsiteX33494" fmla="*/ 349858 w 4610101"/>
              <a:gd name="connsiteY33494" fmla="*/ 634968 h 6557032"/>
              <a:gd name="connsiteX33495" fmla="*/ 218661 w 4610101"/>
              <a:gd name="connsiteY33495" fmla="*/ 634968 h 6557032"/>
              <a:gd name="connsiteX33496" fmla="*/ 218739 w 4610101"/>
              <a:gd name="connsiteY33496" fmla="*/ 635202 h 6557032"/>
              <a:gd name="connsiteX33497" fmla="*/ 219298 w 4610101"/>
              <a:gd name="connsiteY33497" fmla="*/ 639799 h 6557032"/>
              <a:gd name="connsiteX33498" fmla="*/ 218661 w 4610101"/>
              <a:gd name="connsiteY33498" fmla="*/ 640435 h 6557032"/>
              <a:gd name="connsiteX33499" fmla="*/ 218661 w 4610101"/>
              <a:gd name="connsiteY33499" fmla="*/ 634968 h 6557032"/>
              <a:gd name="connsiteX33500" fmla="*/ 145774 w 4610101"/>
              <a:gd name="connsiteY33500" fmla="*/ 634968 h 6557032"/>
              <a:gd name="connsiteX33501" fmla="*/ 163996 w 4610101"/>
              <a:gd name="connsiteY33501" fmla="*/ 660478 h 6557032"/>
              <a:gd name="connsiteX33502" fmla="*/ 145774 w 4610101"/>
              <a:gd name="connsiteY33502" fmla="*/ 634968 h 6557032"/>
              <a:gd name="connsiteX33503" fmla="*/ 2951011 w 4610101"/>
              <a:gd name="connsiteY33503" fmla="*/ 634513 h 6557032"/>
              <a:gd name="connsiteX33504" fmla="*/ 2946456 w 4610101"/>
              <a:gd name="connsiteY33504" fmla="*/ 634968 h 6557032"/>
              <a:gd name="connsiteX33505" fmla="*/ 2970144 w 4610101"/>
              <a:gd name="connsiteY33505" fmla="*/ 662301 h 6557032"/>
              <a:gd name="connsiteX33506" fmla="*/ 2969916 w 4610101"/>
              <a:gd name="connsiteY33506" fmla="*/ 651824 h 6557032"/>
              <a:gd name="connsiteX33507" fmla="*/ 2962858 w 4610101"/>
              <a:gd name="connsiteY33507" fmla="*/ 644083 h 6557032"/>
              <a:gd name="connsiteX33508" fmla="*/ 2959211 w 4610101"/>
              <a:gd name="connsiteY33508" fmla="*/ 638612 h 6557032"/>
              <a:gd name="connsiteX33509" fmla="*/ 2955566 w 4610101"/>
              <a:gd name="connsiteY33509" fmla="*/ 636790 h 6557032"/>
              <a:gd name="connsiteX33510" fmla="*/ 2951011 w 4610101"/>
              <a:gd name="connsiteY33510" fmla="*/ 634513 h 6557032"/>
              <a:gd name="connsiteX33511" fmla="*/ 163997 w 4610101"/>
              <a:gd name="connsiteY33511" fmla="*/ 633147 h 6557032"/>
              <a:gd name="connsiteX33512" fmla="*/ 164482 w 4610101"/>
              <a:gd name="connsiteY33512" fmla="*/ 633593 h 6557032"/>
              <a:gd name="connsiteX33513" fmla="*/ 165477 w 4610101"/>
              <a:gd name="connsiteY33513" fmla="*/ 635749 h 6557032"/>
              <a:gd name="connsiteX33514" fmla="*/ 163997 w 4610101"/>
              <a:gd name="connsiteY33514" fmla="*/ 633149 h 6557032"/>
              <a:gd name="connsiteX33515" fmla="*/ 3006587 w 4610101"/>
              <a:gd name="connsiteY33515" fmla="*/ 633146 h 6557032"/>
              <a:gd name="connsiteX33516" fmla="*/ 3010232 w 4610101"/>
              <a:gd name="connsiteY33516" fmla="*/ 640435 h 6557032"/>
              <a:gd name="connsiteX33517" fmla="*/ 3006587 w 4610101"/>
              <a:gd name="connsiteY33517" fmla="*/ 633146 h 6557032"/>
              <a:gd name="connsiteX33518" fmla="*/ 2922767 w 4610101"/>
              <a:gd name="connsiteY33518" fmla="*/ 633146 h 6557032"/>
              <a:gd name="connsiteX33519" fmla="*/ 2924590 w 4610101"/>
              <a:gd name="connsiteY33519" fmla="*/ 640435 h 6557032"/>
              <a:gd name="connsiteX33520" fmla="*/ 2922767 w 4610101"/>
              <a:gd name="connsiteY33520" fmla="*/ 633146 h 6557032"/>
              <a:gd name="connsiteX33521" fmla="*/ 2500023 w 4610101"/>
              <a:gd name="connsiteY33521" fmla="*/ 633146 h 6557032"/>
              <a:gd name="connsiteX33522" fmla="*/ 2503667 w 4610101"/>
              <a:gd name="connsiteY33522" fmla="*/ 636790 h 6557032"/>
              <a:gd name="connsiteX33523" fmla="*/ 2507312 w 4610101"/>
              <a:gd name="connsiteY33523" fmla="*/ 638612 h 6557032"/>
              <a:gd name="connsiteX33524" fmla="*/ 2507312 w 4610101"/>
              <a:gd name="connsiteY33524" fmla="*/ 633146 h 6557032"/>
              <a:gd name="connsiteX33525" fmla="*/ 2500023 w 4610101"/>
              <a:gd name="connsiteY33525" fmla="*/ 633146 h 6557032"/>
              <a:gd name="connsiteX33526" fmla="*/ 1290100 w 4610101"/>
              <a:gd name="connsiteY33526" fmla="*/ 633146 h 6557032"/>
              <a:gd name="connsiteX33527" fmla="*/ 1284633 w 4610101"/>
              <a:gd name="connsiteY33527" fmla="*/ 647723 h 6557032"/>
              <a:gd name="connsiteX33528" fmla="*/ 1282811 w 4610101"/>
              <a:gd name="connsiteY33528" fmla="*/ 655012 h 6557032"/>
              <a:gd name="connsiteX33529" fmla="*/ 1291922 w 4610101"/>
              <a:gd name="connsiteY33529" fmla="*/ 633146 h 6557032"/>
              <a:gd name="connsiteX33530" fmla="*/ 1290100 w 4610101"/>
              <a:gd name="connsiteY33530" fmla="*/ 633146 h 6557032"/>
              <a:gd name="connsiteX33531" fmla="*/ 1195346 w 4610101"/>
              <a:gd name="connsiteY33531" fmla="*/ 633146 h 6557032"/>
              <a:gd name="connsiteX33532" fmla="*/ 1197169 w 4610101"/>
              <a:gd name="connsiteY33532" fmla="*/ 636790 h 6557032"/>
              <a:gd name="connsiteX33533" fmla="*/ 1200814 w 4610101"/>
              <a:gd name="connsiteY33533" fmla="*/ 634968 h 6557032"/>
              <a:gd name="connsiteX33534" fmla="*/ 1195346 w 4610101"/>
              <a:gd name="connsiteY33534" fmla="*/ 633146 h 6557032"/>
              <a:gd name="connsiteX33535" fmla="*/ 1062328 w 4610101"/>
              <a:gd name="connsiteY33535" fmla="*/ 633146 h 6557032"/>
              <a:gd name="connsiteX33536" fmla="*/ 1060506 w 4610101"/>
              <a:gd name="connsiteY33536" fmla="*/ 636790 h 6557032"/>
              <a:gd name="connsiteX33537" fmla="*/ 1062328 w 4610101"/>
              <a:gd name="connsiteY33537" fmla="*/ 633146 h 6557032"/>
              <a:gd name="connsiteX33538" fmla="*/ 1031351 w 4610101"/>
              <a:gd name="connsiteY33538" fmla="*/ 633146 h 6557032"/>
              <a:gd name="connsiteX33539" fmla="*/ 1033173 w 4610101"/>
              <a:gd name="connsiteY33539" fmla="*/ 649545 h 6557032"/>
              <a:gd name="connsiteX33540" fmla="*/ 1031351 w 4610101"/>
              <a:gd name="connsiteY33540" fmla="*/ 633146 h 6557032"/>
              <a:gd name="connsiteX33541" fmla="*/ 883755 w 4610101"/>
              <a:gd name="connsiteY33541" fmla="*/ 633146 h 6557032"/>
              <a:gd name="connsiteX33542" fmla="*/ 876466 w 4610101"/>
              <a:gd name="connsiteY33542" fmla="*/ 649545 h 6557032"/>
              <a:gd name="connsiteX33543" fmla="*/ 878288 w 4610101"/>
              <a:gd name="connsiteY33543" fmla="*/ 640435 h 6557032"/>
              <a:gd name="connsiteX33544" fmla="*/ 883755 w 4610101"/>
              <a:gd name="connsiteY33544" fmla="*/ 633146 h 6557032"/>
              <a:gd name="connsiteX33545" fmla="*/ 728870 w 4610101"/>
              <a:gd name="connsiteY33545" fmla="*/ 633146 h 6557032"/>
              <a:gd name="connsiteX33546" fmla="*/ 745269 w 4610101"/>
              <a:gd name="connsiteY33546" fmla="*/ 642257 h 6557032"/>
              <a:gd name="connsiteX33547" fmla="*/ 736159 w 4610101"/>
              <a:gd name="connsiteY33547" fmla="*/ 634968 h 6557032"/>
              <a:gd name="connsiteX33548" fmla="*/ 736159 w 4610101"/>
              <a:gd name="connsiteY33548" fmla="*/ 638612 h 6557032"/>
              <a:gd name="connsiteX33549" fmla="*/ 728870 w 4610101"/>
              <a:gd name="connsiteY33549" fmla="*/ 633146 h 6557032"/>
              <a:gd name="connsiteX33550" fmla="*/ 590385 w 4610101"/>
              <a:gd name="connsiteY33550" fmla="*/ 633146 h 6557032"/>
              <a:gd name="connsiteX33551" fmla="*/ 590385 w 4610101"/>
              <a:gd name="connsiteY33551" fmla="*/ 640435 h 6557032"/>
              <a:gd name="connsiteX33552" fmla="*/ 588562 w 4610101"/>
              <a:gd name="connsiteY33552" fmla="*/ 642257 h 6557032"/>
              <a:gd name="connsiteX33553" fmla="*/ 584919 w 4610101"/>
              <a:gd name="connsiteY33553" fmla="*/ 638612 h 6557032"/>
              <a:gd name="connsiteX33554" fmla="*/ 586741 w 4610101"/>
              <a:gd name="connsiteY33554" fmla="*/ 645901 h 6557032"/>
              <a:gd name="connsiteX33555" fmla="*/ 590385 w 4610101"/>
              <a:gd name="connsiteY33555" fmla="*/ 640435 h 6557032"/>
              <a:gd name="connsiteX33556" fmla="*/ 592207 w 4610101"/>
              <a:gd name="connsiteY33556" fmla="*/ 636790 h 6557032"/>
              <a:gd name="connsiteX33557" fmla="*/ 590385 w 4610101"/>
              <a:gd name="connsiteY33557" fmla="*/ 633146 h 6557032"/>
              <a:gd name="connsiteX33558" fmla="*/ 424567 w 4610101"/>
              <a:gd name="connsiteY33558" fmla="*/ 633146 h 6557032"/>
              <a:gd name="connsiteX33559" fmla="*/ 426389 w 4610101"/>
              <a:gd name="connsiteY33559" fmla="*/ 640435 h 6557032"/>
              <a:gd name="connsiteX33560" fmla="*/ 424567 w 4610101"/>
              <a:gd name="connsiteY33560" fmla="*/ 633146 h 6557032"/>
              <a:gd name="connsiteX33561" fmla="*/ 284259 w 4610101"/>
              <a:gd name="connsiteY33561" fmla="*/ 633146 h 6557032"/>
              <a:gd name="connsiteX33562" fmla="*/ 285385 w 4610101"/>
              <a:gd name="connsiteY33562" fmla="*/ 633837 h 6557032"/>
              <a:gd name="connsiteX33563" fmla="*/ 284902 w 4610101"/>
              <a:gd name="connsiteY33563" fmla="*/ 639801 h 6557032"/>
              <a:gd name="connsiteX33564" fmla="*/ 284487 w 4610101"/>
              <a:gd name="connsiteY33564" fmla="*/ 637019 h 6557032"/>
              <a:gd name="connsiteX33565" fmla="*/ 284259 w 4610101"/>
              <a:gd name="connsiteY33565" fmla="*/ 633146 h 6557032"/>
              <a:gd name="connsiteX33566" fmla="*/ 163996 w 4610101"/>
              <a:gd name="connsiteY33566" fmla="*/ 633146 h 6557032"/>
              <a:gd name="connsiteX33567" fmla="*/ 163997 w 4610101"/>
              <a:gd name="connsiteY33567" fmla="*/ 633147 h 6557032"/>
              <a:gd name="connsiteX33568" fmla="*/ 163996 w 4610101"/>
              <a:gd name="connsiteY33568" fmla="*/ 633147 h 6557032"/>
              <a:gd name="connsiteX33569" fmla="*/ 3332415 w 4610101"/>
              <a:gd name="connsiteY33569" fmla="*/ 632235 h 6557032"/>
              <a:gd name="connsiteX33570" fmla="*/ 3325468 w 4610101"/>
              <a:gd name="connsiteY33570" fmla="*/ 634968 h 6557032"/>
              <a:gd name="connsiteX33571" fmla="*/ 3329112 w 4610101"/>
              <a:gd name="connsiteY33571" fmla="*/ 640435 h 6557032"/>
              <a:gd name="connsiteX33572" fmla="*/ 3309068 w 4610101"/>
              <a:gd name="connsiteY33572" fmla="*/ 642257 h 6557032"/>
              <a:gd name="connsiteX33573" fmla="*/ 3323646 w 4610101"/>
              <a:gd name="connsiteY33573" fmla="*/ 662301 h 6557032"/>
              <a:gd name="connsiteX33574" fmla="*/ 3332756 w 4610101"/>
              <a:gd name="connsiteY33574" fmla="*/ 664123 h 6557032"/>
              <a:gd name="connsiteX33575" fmla="*/ 3330934 w 4610101"/>
              <a:gd name="connsiteY33575" fmla="*/ 656834 h 6557032"/>
              <a:gd name="connsiteX33576" fmla="*/ 3338223 w 4610101"/>
              <a:gd name="connsiteY33576" fmla="*/ 662301 h 6557032"/>
              <a:gd name="connsiteX33577" fmla="*/ 3340045 w 4610101"/>
              <a:gd name="connsiteY33577" fmla="*/ 647723 h 6557032"/>
              <a:gd name="connsiteX33578" fmla="*/ 3340045 w 4610101"/>
              <a:gd name="connsiteY33578" fmla="*/ 655012 h 6557032"/>
              <a:gd name="connsiteX33579" fmla="*/ 3343690 w 4610101"/>
              <a:gd name="connsiteY33579" fmla="*/ 640435 h 6557032"/>
              <a:gd name="connsiteX33580" fmla="*/ 3332415 w 4610101"/>
              <a:gd name="connsiteY33580" fmla="*/ 632235 h 6557032"/>
              <a:gd name="connsiteX33581" fmla="*/ 3555062 w 4610101"/>
              <a:gd name="connsiteY33581" fmla="*/ 631324 h 6557032"/>
              <a:gd name="connsiteX33582" fmla="*/ 3549595 w 4610101"/>
              <a:gd name="connsiteY33582" fmla="*/ 633146 h 6557032"/>
              <a:gd name="connsiteX33583" fmla="*/ 3556884 w 4610101"/>
              <a:gd name="connsiteY33583" fmla="*/ 634968 h 6557032"/>
              <a:gd name="connsiteX33584" fmla="*/ 3555062 w 4610101"/>
              <a:gd name="connsiteY33584" fmla="*/ 631324 h 6557032"/>
              <a:gd name="connsiteX33585" fmla="*/ 2598421 w 4610101"/>
              <a:gd name="connsiteY33585" fmla="*/ 631324 h 6557032"/>
              <a:gd name="connsiteX33586" fmla="*/ 2598421 w 4610101"/>
              <a:gd name="connsiteY33586" fmla="*/ 638612 h 6557032"/>
              <a:gd name="connsiteX33587" fmla="*/ 2598421 w 4610101"/>
              <a:gd name="connsiteY33587" fmla="*/ 631324 h 6557032"/>
              <a:gd name="connsiteX33588" fmla="*/ 1410363 w 4610101"/>
              <a:gd name="connsiteY33588" fmla="*/ 631324 h 6557032"/>
              <a:gd name="connsiteX33589" fmla="*/ 1401252 w 4610101"/>
              <a:gd name="connsiteY33589" fmla="*/ 653190 h 6557032"/>
              <a:gd name="connsiteX33590" fmla="*/ 1410363 w 4610101"/>
              <a:gd name="connsiteY33590" fmla="*/ 631324 h 6557032"/>
              <a:gd name="connsiteX33591" fmla="*/ 1297388 w 4610101"/>
              <a:gd name="connsiteY33591" fmla="*/ 631324 h 6557032"/>
              <a:gd name="connsiteX33592" fmla="*/ 1291922 w 4610101"/>
              <a:gd name="connsiteY33592" fmla="*/ 644079 h 6557032"/>
              <a:gd name="connsiteX33593" fmla="*/ 1295566 w 4610101"/>
              <a:gd name="connsiteY33593" fmla="*/ 647723 h 6557032"/>
              <a:gd name="connsiteX33594" fmla="*/ 1297388 w 4610101"/>
              <a:gd name="connsiteY33594" fmla="*/ 631324 h 6557032"/>
              <a:gd name="connsiteX33595" fmla="*/ 1073262 w 4610101"/>
              <a:gd name="connsiteY33595" fmla="*/ 631324 h 6557032"/>
              <a:gd name="connsiteX33596" fmla="*/ 1065972 w 4610101"/>
              <a:gd name="connsiteY33596" fmla="*/ 638612 h 6557032"/>
              <a:gd name="connsiteX33597" fmla="*/ 1073262 w 4610101"/>
              <a:gd name="connsiteY33597" fmla="*/ 631324 h 6557032"/>
              <a:gd name="connsiteX33598" fmla="*/ 663272 w 4610101"/>
              <a:gd name="connsiteY33598" fmla="*/ 631324 h 6557032"/>
              <a:gd name="connsiteX33599" fmla="*/ 665094 w 4610101"/>
              <a:gd name="connsiteY33599" fmla="*/ 638612 h 6557032"/>
              <a:gd name="connsiteX33600" fmla="*/ 663272 w 4610101"/>
              <a:gd name="connsiteY33600" fmla="*/ 631324 h 6557032"/>
              <a:gd name="connsiteX33601" fmla="*/ 641407 w 4610101"/>
              <a:gd name="connsiteY33601" fmla="*/ 631324 h 6557032"/>
              <a:gd name="connsiteX33602" fmla="*/ 637761 w 4610101"/>
              <a:gd name="connsiteY33602" fmla="*/ 634968 h 6557032"/>
              <a:gd name="connsiteX33603" fmla="*/ 643228 w 4610101"/>
              <a:gd name="connsiteY33603" fmla="*/ 634968 h 6557032"/>
              <a:gd name="connsiteX33604" fmla="*/ 641407 w 4610101"/>
              <a:gd name="connsiteY33604" fmla="*/ 631324 h 6557032"/>
              <a:gd name="connsiteX33605" fmla="*/ 123908 w 4610101"/>
              <a:gd name="connsiteY33605" fmla="*/ 631324 h 6557032"/>
              <a:gd name="connsiteX33606" fmla="*/ 134841 w 4610101"/>
              <a:gd name="connsiteY33606" fmla="*/ 645901 h 6557032"/>
              <a:gd name="connsiteX33607" fmla="*/ 123908 w 4610101"/>
              <a:gd name="connsiteY33607" fmla="*/ 631324 h 6557032"/>
              <a:gd name="connsiteX33608" fmla="*/ 2374749 w 4610101"/>
              <a:gd name="connsiteY33608" fmla="*/ 631324 h 6557032"/>
              <a:gd name="connsiteX33609" fmla="*/ 2365182 w 4610101"/>
              <a:gd name="connsiteY33609" fmla="*/ 634968 h 6557032"/>
              <a:gd name="connsiteX33610" fmla="*/ 2379760 w 4610101"/>
              <a:gd name="connsiteY33610" fmla="*/ 642257 h 6557032"/>
              <a:gd name="connsiteX33611" fmla="*/ 2381582 w 4610101"/>
              <a:gd name="connsiteY33611" fmla="*/ 633146 h 6557032"/>
              <a:gd name="connsiteX33612" fmla="*/ 2374749 w 4610101"/>
              <a:gd name="connsiteY33612" fmla="*/ 631324 h 6557032"/>
              <a:gd name="connsiteX33613" fmla="*/ 92569 w 4610101"/>
              <a:gd name="connsiteY33613" fmla="*/ 630493 h 6557032"/>
              <a:gd name="connsiteX33614" fmla="*/ 116427 w 4610101"/>
              <a:gd name="connsiteY33614" fmla="*/ 663855 h 6557032"/>
              <a:gd name="connsiteX33615" fmla="*/ 118442 w 4610101"/>
              <a:gd name="connsiteY33615" fmla="*/ 669589 h 6557032"/>
              <a:gd name="connsiteX33616" fmla="*/ 122086 w 4610101"/>
              <a:gd name="connsiteY33616" fmla="*/ 676878 h 6557032"/>
              <a:gd name="connsiteX33617" fmla="*/ 3274447 w 4610101"/>
              <a:gd name="connsiteY33617" fmla="*/ 629501 h 6557032"/>
              <a:gd name="connsiteX33618" fmla="*/ 3276269 w 4610101"/>
              <a:gd name="connsiteY33618" fmla="*/ 631324 h 6557032"/>
              <a:gd name="connsiteX33619" fmla="*/ 3274447 w 4610101"/>
              <a:gd name="connsiteY33619" fmla="*/ 629502 h 6557032"/>
              <a:gd name="connsiteX33620" fmla="*/ 2758772 w 4610101"/>
              <a:gd name="connsiteY33620" fmla="*/ 629501 h 6557032"/>
              <a:gd name="connsiteX33621" fmla="*/ 2759141 w 4610101"/>
              <a:gd name="connsiteY33621" fmla="*/ 630732 h 6557032"/>
              <a:gd name="connsiteX33622" fmla="*/ 2757726 w 4610101"/>
              <a:gd name="connsiteY33622" fmla="*/ 637002 h 6557032"/>
              <a:gd name="connsiteX33623" fmla="*/ 2428958 w 4610101"/>
              <a:gd name="connsiteY33623" fmla="*/ 629501 h 6557032"/>
              <a:gd name="connsiteX33624" fmla="*/ 2425314 w 4610101"/>
              <a:gd name="connsiteY33624" fmla="*/ 636790 h 6557032"/>
              <a:gd name="connsiteX33625" fmla="*/ 2427136 w 4610101"/>
              <a:gd name="connsiteY33625" fmla="*/ 636790 h 6557032"/>
              <a:gd name="connsiteX33626" fmla="*/ 2428958 w 4610101"/>
              <a:gd name="connsiteY33626" fmla="*/ 633146 h 6557032"/>
              <a:gd name="connsiteX33627" fmla="*/ 2428958 w 4610101"/>
              <a:gd name="connsiteY33627" fmla="*/ 629501 h 6557032"/>
              <a:gd name="connsiteX33628" fmla="*/ 2396159 w 4610101"/>
              <a:gd name="connsiteY33628" fmla="*/ 629501 h 6557032"/>
              <a:gd name="connsiteX33629" fmla="*/ 2390693 w 4610101"/>
              <a:gd name="connsiteY33629" fmla="*/ 642257 h 6557032"/>
              <a:gd name="connsiteX33630" fmla="*/ 2394337 w 4610101"/>
              <a:gd name="connsiteY33630" fmla="*/ 642257 h 6557032"/>
              <a:gd name="connsiteX33631" fmla="*/ 2396159 w 4610101"/>
              <a:gd name="connsiteY33631" fmla="*/ 629501 h 6557032"/>
              <a:gd name="connsiteX33632" fmla="*/ 1439518 w 4610101"/>
              <a:gd name="connsiteY33632" fmla="*/ 629501 h 6557032"/>
              <a:gd name="connsiteX33633" fmla="*/ 1435873 w 4610101"/>
              <a:gd name="connsiteY33633" fmla="*/ 634968 h 6557032"/>
              <a:gd name="connsiteX33634" fmla="*/ 1439518 w 4610101"/>
              <a:gd name="connsiteY33634" fmla="*/ 629501 h 6557032"/>
              <a:gd name="connsiteX33635" fmla="*/ 1370275 w 4610101"/>
              <a:gd name="connsiteY33635" fmla="*/ 629501 h 6557032"/>
              <a:gd name="connsiteX33636" fmla="*/ 1366632 w 4610101"/>
              <a:gd name="connsiteY33636" fmla="*/ 634968 h 6557032"/>
              <a:gd name="connsiteX33637" fmla="*/ 1368453 w 4610101"/>
              <a:gd name="connsiteY33637" fmla="*/ 633146 h 6557032"/>
              <a:gd name="connsiteX33638" fmla="*/ 1370275 w 4610101"/>
              <a:gd name="connsiteY33638" fmla="*/ 645901 h 6557032"/>
              <a:gd name="connsiteX33639" fmla="*/ 1370275 w 4610101"/>
              <a:gd name="connsiteY33639" fmla="*/ 629501 h 6557032"/>
              <a:gd name="connsiteX33640" fmla="*/ 512031 w 4610101"/>
              <a:gd name="connsiteY33640" fmla="*/ 629501 h 6557032"/>
              <a:gd name="connsiteX33641" fmla="*/ 508387 w 4610101"/>
              <a:gd name="connsiteY33641" fmla="*/ 636790 h 6557032"/>
              <a:gd name="connsiteX33642" fmla="*/ 513853 w 4610101"/>
              <a:gd name="connsiteY33642" fmla="*/ 640435 h 6557032"/>
              <a:gd name="connsiteX33643" fmla="*/ 512031 w 4610101"/>
              <a:gd name="connsiteY33643" fmla="*/ 629501 h 6557032"/>
              <a:gd name="connsiteX33644" fmla="*/ 406345 w 4610101"/>
              <a:gd name="connsiteY33644" fmla="*/ 629501 h 6557032"/>
              <a:gd name="connsiteX33645" fmla="*/ 409050 w 4610101"/>
              <a:gd name="connsiteY33645" fmla="*/ 634910 h 6557032"/>
              <a:gd name="connsiteX33646" fmla="*/ 406752 w 4610101"/>
              <a:gd name="connsiteY33646" fmla="*/ 632141 h 6557032"/>
              <a:gd name="connsiteX33647" fmla="*/ 313414 w 4610101"/>
              <a:gd name="connsiteY33647" fmla="*/ 629501 h 6557032"/>
              <a:gd name="connsiteX33648" fmla="*/ 327993 w 4610101"/>
              <a:gd name="connsiteY33648" fmla="*/ 644079 h 6557032"/>
              <a:gd name="connsiteX33649" fmla="*/ 327993 w 4610101"/>
              <a:gd name="connsiteY33649" fmla="*/ 638612 h 6557032"/>
              <a:gd name="connsiteX33650" fmla="*/ 313414 w 4610101"/>
              <a:gd name="connsiteY33650" fmla="*/ 629501 h 6557032"/>
              <a:gd name="connsiteX33651" fmla="*/ 1180086 w 4610101"/>
              <a:gd name="connsiteY33651" fmla="*/ 629046 h 6557032"/>
              <a:gd name="connsiteX33652" fmla="*/ 1175303 w 4610101"/>
              <a:gd name="connsiteY33652" fmla="*/ 629501 h 6557032"/>
              <a:gd name="connsiteX33653" fmla="*/ 1180769 w 4610101"/>
              <a:gd name="connsiteY33653" fmla="*/ 631324 h 6557032"/>
              <a:gd name="connsiteX33654" fmla="*/ 1180086 w 4610101"/>
              <a:gd name="connsiteY33654" fmla="*/ 629046 h 6557032"/>
              <a:gd name="connsiteX33655" fmla="*/ 1403074 w 4610101"/>
              <a:gd name="connsiteY33655" fmla="*/ 627679 h 6557032"/>
              <a:gd name="connsiteX33656" fmla="*/ 1399430 w 4610101"/>
              <a:gd name="connsiteY33656" fmla="*/ 634968 h 6557032"/>
              <a:gd name="connsiteX33657" fmla="*/ 1397608 w 4610101"/>
              <a:gd name="connsiteY33657" fmla="*/ 633146 h 6557032"/>
              <a:gd name="connsiteX33658" fmla="*/ 1395787 w 4610101"/>
              <a:gd name="connsiteY33658" fmla="*/ 642257 h 6557032"/>
              <a:gd name="connsiteX33659" fmla="*/ 1401252 w 4610101"/>
              <a:gd name="connsiteY33659" fmla="*/ 640435 h 6557032"/>
              <a:gd name="connsiteX33660" fmla="*/ 1406719 w 4610101"/>
              <a:gd name="connsiteY33660" fmla="*/ 631324 h 6557032"/>
              <a:gd name="connsiteX33661" fmla="*/ 1403074 w 4610101"/>
              <a:gd name="connsiteY33661" fmla="*/ 627679 h 6557032"/>
              <a:gd name="connsiteX33662" fmla="*/ 1191703 w 4610101"/>
              <a:gd name="connsiteY33662" fmla="*/ 627679 h 6557032"/>
              <a:gd name="connsiteX33663" fmla="*/ 1188058 w 4610101"/>
              <a:gd name="connsiteY33663" fmla="*/ 631324 h 6557032"/>
              <a:gd name="connsiteX33664" fmla="*/ 1191703 w 4610101"/>
              <a:gd name="connsiteY33664" fmla="*/ 627679 h 6557032"/>
              <a:gd name="connsiteX33665" fmla="*/ 1137037 w 4610101"/>
              <a:gd name="connsiteY33665" fmla="*/ 627679 h 6557032"/>
              <a:gd name="connsiteX33666" fmla="*/ 1131570 w 4610101"/>
              <a:gd name="connsiteY33666" fmla="*/ 634968 h 6557032"/>
              <a:gd name="connsiteX33667" fmla="*/ 1137037 w 4610101"/>
              <a:gd name="connsiteY33667" fmla="*/ 627679 h 6557032"/>
              <a:gd name="connsiteX33668" fmla="*/ 936598 w 4610101"/>
              <a:gd name="connsiteY33668" fmla="*/ 627679 h 6557032"/>
              <a:gd name="connsiteX33669" fmla="*/ 936442 w 4610101"/>
              <a:gd name="connsiteY33669" fmla="*/ 636691 h 6557032"/>
              <a:gd name="connsiteX33670" fmla="*/ 935231 w 4610101"/>
              <a:gd name="connsiteY33670" fmla="*/ 638157 h 6557032"/>
              <a:gd name="connsiteX33671" fmla="*/ 929309 w 4610101"/>
              <a:gd name="connsiteY33671" fmla="*/ 640435 h 6557032"/>
              <a:gd name="connsiteX33672" fmla="*/ 936504 w 4610101"/>
              <a:gd name="connsiteY33672" fmla="*/ 627737 h 6557032"/>
              <a:gd name="connsiteX33673" fmla="*/ 854600 w 4610101"/>
              <a:gd name="connsiteY33673" fmla="*/ 627679 h 6557032"/>
              <a:gd name="connsiteX33674" fmla="*/ 845489 w 4610101"/>
              <a:gd name="connsiteY33674" fmla="*/ 642257 h 6557032"/>
              <a:gd name="connsiteX33675" fmla="*/ 854600 w 4610101"/>
              <a:gd name="connsiteY33675" fmla="*/ 647723 h 6557032"/>
              <a:gd name="connsiteX33676" fmla="*/ 854600 w 4610101"/>
              <a:gd name="connsiteY33676" fmla="*/ 627679 h 6557032"/>
              <a:gd name="connsiteX33677" fmla="*/ 845489 w 4610101"/>
              <a:gd name="connsiteY33677" fmla="*/ 627679 h 6557032"/>
              <a:gd name="connsiteX33678" fmla="*/ 841845 w 4610101"/>
              <a:gd name="connsiteY33678" fmla="*/ 636790 h 6557032"/>
              <a:gd name="connsiteX33679" fmla="*/ 845489 w 4610101"/>
              <a:gd name="connsiteY33679" fmla="*/ 627679 h 6557032"/>
              <a:gd name="connsiteX33680" fmla="*/ 756203 w 4610101"/>
              <a:gd name="connsiteY33680" fmla="*/ 627679 h 6557032"/>
              <a:gd name="connsiteX33681" fmla="*/ 756203 w 4610101"/>
              <a:gd name="connsiteY33681" fmla="*/ 638612 h 6557032"/>
              <a:gd name="connsiteX33682" fmla="*/ 761670 w 4610101"/>
              <a:gd name="connsiteY33682" fmla="*/ 631324 h 6557032"/>
              <a:gd name="connsiteX33683" fmla="*/ 756203 w 4610101"/>
              <a:gd name="connsiteY33683" fmla="*/ 627679 h 6557032"/>
              <a:gd name="connsiteX33684" fmla="*/ 697893 w 4610101"/>
              <a:gd name="connsiteY33684" fmla="*/ 627679 h 6557032"/>
              <a:gd name="connsiteX33685" fmla="*/ 699715 w 4610101"/>
              <a:gd name="connsiteY33685" fmla="*/ 642257 h 6557032"/>
              <a:gd name="connsiteX33686" fmla="*/ 708826 w 4610101"/>
              <a:gd name="connsiteY33686" fmla="*/ 627679 h 6557032"/>
              <a:gd name="connsiteX33687" fmla="*/ 697893 w 4610101"/>
              <a:gd name="connsiteY33687" fmla="*/ 627679 h 6557032"/>
              <a:gd name="connsiteX33688" fmla="*/ 158529 w 4610101"/>
              <a:gd name="connsiteY33688" fmla="*/ 627679 h 6557032"/>
              <a:gd name="connsiteX33689" fmla="*/ 162174 w 4610101"/>
              <a:gd name="connsiteY33689" fmla="*/ 631324 h 6557032"/>
              <a:gd name="connsiteX33690" fmla="*/ 165818 w 4610101"/>
              <a:gd name="connsiteY33690" fmla="*/ 640435 h 6557032"/>
              <a:gd name="connsiteX33691" fmla="*/ 158529 w 4610101"/>
              <a:gd name="connsiteY33691" fmla="*/ 627679 h 6557032"/>
              <a:gd name="connsiteX33692" fmla="*/ 2771389 w 4610101"/>
              <a:gd name="connsiteY33692" fmla="*/ 627633 h 6557032"/>
              <a:gd name="connsiteX33693" fmla="*/ 2771527 w 4610101"/>
              <a:gd name="connsiteY33693" fmla="*/ 627679 h 6557032"/>
              <a:gd name="connsiteX33694" fmla="*/ 2771414 w 4610101"/>
              <a:gd name="connsiteY33694" fmla="*/ 627980 h 6557032"/>
              <a:gd name="connsiteX33695" fmla="*/ 1225958 w 4610101"/>
              <a:gd name="connsiteY33695" fmla="*/ 626587 h 6557032"/>
              <a:gd name="connsiteX33696" fmla="*/ 1224501 w 4610101"/>
              <a:gd name="connsiteY33696" fmla="*/ 629501 h 6557032"/>
              <a:gd name="connsiteX33697" fmla="*/ 1222585 w 4610101"/>
              <a:gd name="connsiteY33697" fmla="*/ 629354 h 6557032"/>
              <a:gd name="connsiteX33698" fmla="*/ 1224956 w 4610101"/>
              <a:gd name="connsiteY33698" fmla="*/ 627680 h 6557032"/>
              <a:gd name="connsiteX33699" fmla="*/ 2961033 w 4610101"/>
              <a:gd name="connsiteY33699" fmla="*/ 625857 h 6557032"/>
              <a:gd name="connsiteX33700" fmla="*/ 2961033 w 4610101"/>
              <a:gd name="connsiteY33700" fmla="*/ 633146 h 6557032"/>
              <a:gd name="connsiteX33701" fmla="*/ 2990188 w 4610101"/>
              <a:gd name="connsiteY33701" fmla="*/ 653190 h 6557032"/>
              <a:gd name="connsiteX33702" fmla="*/ 2982899 w 4610101"/>
              <a:gd name="connsiteY33702" fmla="*/ 653190 h 6557032"/>
              <a:gd name="connsiteX33703" fmla="*/ 2984721 w 4610101"/>
              <a:gd name="connsiteY33703" fmla="*/ 655012 h 6557032"/>
              <a:gd name="connsiteX33704" fmla="*/ 2975610 w 4610101"/>
              <a:gd name="connsiteY33704" fmla="*/ 658656 h 6557032"/>
              <a:gd name="connsiteX33705" fmla="*/ 2984721 w 4610101"/>
              <a:gd name="connsiteY33705" fmla="*/ 664123 h 6557032"/>
              <a:gd name="connsiteX33706" fmla="*/ 2986543 w 4610101"/>
              <a:gd name="connsiteY33706" fmla="*/ 660478 h 6557032"/>
              <a:gd name="connsiteX33707" fmla="*/ 2992010 w 4610101"/>
              <a:gd name="connsiteY33707" fmla="*/ 664123 h 6557032"/>
              <a:gd name="connsiteX33708" fmla="*/ 2981077 w 4610101"/>
              <a:gd name="connsiteY33708" fmla="*/ 665945 h 6557032"/>
              <a:gd name="connsiteX33709" fmla="*/ 2992010 w 4610101"/>
              <a:gd name="connsiteY33709" fmla="*/ 675056 h 6557032"/>
              <a:gd name="connsiteX33710" fmla="*/ 3001121 w 4610101"/>
              <a:gd name="connsiteY33710" fmla="*/ 675056 h 6557032"/>
              <a:gd name="connsiteX33711" fmla="*/ 3026631 w 4610101"/>
              <a:gd name="connsiteY33711" fmla="*/ 680522 h 6557032"/>
              <a:gd name="connsiteX33712" fmla="*/ 3030276 w 4610101"/>
              <a:gd name="connsiteY33712" fmla="*/ 685989 h 6557032"/>
              <a:gd name="connsiteX33713" fmla="*/ 3033920 w 4610101"/>
              <a:gd name="connsiteY33713" fmla="*/ 684167 h 6557032"/>
              <a:gd name="connsiteX33714" fmla="*/ 3032098 w 4610101"/>
              <a:gd name="connsiteY33714" fmla="*/ 680522 h 6557032"/>
              <a:gd name="connsiteX33715" fmla="*/ 3052142 w 4610101"/>
              <a:gd name="connsiteY33715" fmla="*/ 687811 h 6557032"/>
              <a:gd name="connsiteX33716" fmla="*/ 3053964 w 4610101"/>
              <a:gd name="connsiteY33716" fmla="*/ 684167 h 6557032"/>
              <a:gd name="connsiteX33717" fmla="*/ 3044853 w 4610101"/>
              <a:gd name="connsiteY33717" fmla="*/ 675056 h 6557032"/>
              <a:gd name="connsiteX33718" fmla="*/ 3077652 w 4610101"/>
              <a:gd name="connsiteY33718" fmla="*/ 680522 h 6557032"/>
              <a:gd name="connsiteX33719" fmla="*/ 3075830 w 4610101"/>
              <a:gd name="connsiteY33719" fmla="*/ 684167 h 6557032"/>
              <a:gd name="connsiteX33720" fmla="*/ 3081297 w 4610101"/>
              <a:gd name="connsiteY33720" fmla="*/ 680522 h 6557032"/>
              <a:gd name="connsiteX33721" fmla="*/ 3081297 w 4610101"/>
              <a:gd name="connsiteY33721" fmla="*/ 684167 h 6557032"/>
              <a:gd name="connsiteX33722" fmla="*/ 3092230 w 4610101"/>
              <a:gd name="connsiteY33722" fmla="*/ 673234 h 6557032"/>
              <a:gd name="connsiteX33723" fmla="*/ 3097696 w 4610101"/>
              <a:gd name="connsiteY33723" fmla="*/ 678700 h 6557032"/>
              <a:gd name="connsiteX33724" fmla="*/ 3112274 w 4610101"/>
              <a:gd name="connsiteY33724" fmla="*/ 678700 h 6557032"/>
              <a:gd name="connsiteX33725" fmla="*/ 3126851 w 4610101"/>
              <a:gd name="connsiteY33725" fmla="*/ 667767 h 6557032"/>
              <a:gd name="connsiteX33726" fmla="*/ 3108629 w 4610101"/>
              <a:gd name="connsiteY33726" fmla="*/ 653190 h 6557032"/>
              <a:gd name="connsiteX33727" fmla="*/ 3112274 w 4610101"/>
              <a:gd name="connsiteY33727" fmla="*/ 647723 h 6557032"/>
              <a:gd name="connsiteX33728" fmla="*/ 3132317 w 4610101"/>
              <a:gd name="connsiteY33728" fmla="*/ 658656 h 6557032"/>
              <a:gd name="connsiteX33729" fmla="*/ 3128673 w 4610101"/>
              <a:gd name="connsiteY33729" fmla="*/ 649545 h 6557032"/>
              <a:gd name="connsiteX33730" fmla="*/ 3130495 w 4610101"/>
              <a:gd name="connsiteY33730" fmla="*/ 655012 h 6557032"/>
              <a:gd name="connsiteX33731" fmla="*/ 3110451 w 4610101"/>
              <a:gd name="connsiteY33731" fmla="*/ 644079 h 6557032"/>
              <a:gd name="connsiteX33732" fmla="*/ 3075830 w 4610101"/>
              <a:gd name="connsiteY33732" fmla="*/ 644079 h 6557032"/>
              <a:gd name="connsiteX33733" fmla="*/ 3068541 w 4610101"/>
              <a:gd name="connsiteY33733" fmla="*/ 640435 h 6557032"/>
              <a:gd name="connsiteX33734" fmla="*/ 3074008 w 4610101"/>
              <a:gd name="connsiteY33734" fmla="*/ 649545 h 6557032"/>
              <a:gd name="connsiteX33735" fmla="*/ 3094052 w 4610101"/>
              <a:gd name="connsiteY33735" fmla="*/ 651368 h 6557032"/>
              <a:gd name="connsiteX33736" fmla="*/ 3095874 w 4610101"/>
              <a:gd name="connsiteY33736" fmla="*/ 667767 h 6557032"/>
              <a:gd name="connsiteX33737" fmla="*/ 3079474 w 4610101"/>
              <a:gd name="connsiteY33737" fmla="*/ 675056 h 6557032"/>
              <a:gd name="connsiteX33738" fmla="*/ 3077652 w 4610101"/>
              <a:gd name="connsiteY33738" fmla="*/ 660478 h 6557032"/>
              <a:gd name="connsiteX33739" fmla="*/ 3083119 w 4610101"/>
              <a:gd name="connsiteY33739" fmla="*/ 660478 h 6557032"/>
              <a:gd name="connsiteX33740" fmla="*/ 3048497 w 4610101"/>
              <a:gd name="connsiteY33740" fmla="*/ 653190 h 6557032"/>
              <a:gd name="connsiteX33741" fmla="*/ 3024809 w 4610101"/>
              <a:gd name="connsiteY33741" fmla="*/ 638612 h 6557032"/>
              <a:gd name="connsiteX33742" fmla="*/ 3026631 w 4610101"/>
              <a:gd name="connsiteY33742" fmla="*/ 644079 h 6557032"/>
              <a:gd name="connsiteX33743" fmla="*/ 3022987 w 4610101"/>
              <a:gd name="connsiteY33743" fmla="*/ 644079 h 6557032"/>
              <a:gd name="connsiteX33744" fmla="*/ 3010232 w 4610101"/>
              <a:gd name="connsiteY33744" fmla="*/ 636790 h 6557032"/>
              <a:gd name="connsiteX33745" fmla="*/ 3026631 w 4610101"/>
              <a:gd name="connsiteY33745" fmla="*/ 658656 h 6557032"/>
              <a:gd name="connsiteX33746" fmla="*/ 3019343 w 4610101"/>
              <a:gd name="connsiteY33746" fmla="*/ 662301 h 6557032"/>
              <a:gd name="connsiteX33747" fmla="*/ 3006587 w 4610101"/>
              <a:gd name="connsiteY33747" fmla="*/ 644079 h 6557032"/>
              <a:gd name="connsiteX33748" fmla="*/ 3006587 w 4610101"/>
              <a:gd name="connsiteY33748" fmla="*/ 660478 h 6557032"/>
              <a:gd name="connsiteX33749" fmla="*/ 3001121 w 4610101"/>
              <a:gd name="connsiteY33749" fmla="*/ 658656 h 6557032"/>
              <a:gd name="connsiteX33750" fmla="*/ 3002943 w 4610101"/>
              <a:gd name="connsiteY33750" fmla="*/ 671411 h 6557032"/>
              <a:gd name="connsiteX33751" fmla="*/ 2992010 w 4610101"/>
              <a:gd name="connsiteY33751" fmla="*/ 664123 h 6557032"/>
              <a:gd name="connsiteX33752" fmla="*/ 2995654 w 4610101"/>
              <a:gd name="connsiteY33752" fmla="*/ 658656 h 6557032"/>
              <a:gd name="connsiteX33753" fmla="*/ 2990188 w 4610101"/>
              <a:gd name="connsiteY33753" fmla="*/ 655012 h 6557032"/>
              <a:gd name="connsiteX33754" fmla="*/ 2986543 w 4610101"/>
              <a:gd name="connsiteY33754" fmla="*/ 642257 h 6557032"/>
              <a:gd name="connsiteX33755" fmla="*/ 2995654 w 4610101"/>
              <a:gd name="connsiteY33755" fmla="*/ 642257 h 6557032"/>
              <a:gd name="connsiteX33756" fmla="*/ 2984721 w 4610101"/>
              <a:gd name="connsiteY33756" fmla="*/ 627679 h 6557032"/>
              <a:gd name="connsiteX33757" fmla="*/ 2961033 w 4610101"/>
              <a:gd name="connsiteY33757" fmla="*/ 625857 h 6557032"/>
              <a:gd name="connsiteX33758" fmla="*/ 2578377 w 4610101"/>
              <a:gd name="connsiteY33758" fmla="*/ 625857 h 6557032"/>
              <a:gd name="connsiteX33759" fmla="*/ 2572910 w 4610101"/>
              <a:gd name="connsiteY33759" fmla="*/ 636790 h 6557032"/>
              <a:gd name="connsiteX33760" fmla="*/ 2580199 w 4610101"/>
              <a:gd name="connsiteY33760" fmla="*/ 636790 h 6557032"/>
              <a:gd name="connsiteX33761" fmla="*/ 2578377 w 4610101"/>
              <a:gd name="connsiteY33761" fmla="*/ 625857 h 6557032"/>
              <a:gd name="connsiteX33762" fmla="*/ 1291922 w 4610101"/>
              <a:gd name="connsiteY33762" fmla="*/ 625857 h 6557032"/>
              <a:gd name="connsiteX33763" fmla="*/ 1291922 w 4610101"/>
              <a:gd name="connsiteY33763" fmla="*/ 631324 h 6557032"/>
              <a:gd name="connsiteX33764" fmla="*/ 1293744 w 4610101"/>
              <a:gd name="connsiteY33764" fmla="*/ 627679 h 6557032"/>
              <a:gd name="connsiteX33765" fmla="*/ 1291922 w 4610101"/>
              <a:gd name="connsiteY33765" fmla="*/ 625857 h 6557032"/>
              <a:gd name="connsiteX33766" fmla="*/ 1200814 w 4610101"/>
              <a:gd name="connsiteY33766" fmla="*/ 625857 h 6557032"/>
              <a:gd name="connsiteX33767" fmla="*/ 1198991 w 4610101"/>
              <a:gd name="connsiteY33767" fmla="*/ 629501 h 6557032"/>
              <a:gd name="connsiteX33768" fmla="*/ 1200814 w 4610101"/>
              <a:gd name="connsiteY33768" fmla="*/ 625857 h 6557032"/>
              <a:gd name="connsiteX33769" fmla="*/ 1118815 w 4610101"/>
              <a:gd name="connsiteY33769" fmla="*/ 625857 h 6557032"/>
              <a:gd name="connsiteX33770" fmla="*/ 1116993 w 4610101"/>
              <a:gd name="connsiteY33770" fmla="*/ 642257 h 6557032"/>
              <a:gd name="connsiteX33771" fmla="*/ 1122459 w 4610101"/>
              <a:gd name="connsiteY33771" fmla="*/ 638612 h 6557032"/>
              <a:gd name="connsiteX33772" fmla="*/ 1118815 w 4610101"/>
              <a:gd name="connsiteY33772" fmla="*/ 625857 h 6557032"/>
              <a:gd name="connsiteX33773" fmla="*/ 1040462 w 4610101"/>
              <a:gd name="connsiteY33773" fmla="*/ 625857 h 6557032"/>
              <a:gd name="connsiteX33774" fmla="*/ 1038639 w 4610101"/>
              <a:gd name="connsiteY33774" fmla="*/ 634968 h 6557032"/>
              <a:gd name="connsiteX33775" fmla="*/ 1038200 w 4610101"/>
              <a:gd name="connsiteY33775" fmla="*/ 634684 h 6557032"/>
              <a:gd name="connsiteX33776" fmla="*/ 907444 w 4610101"/>
              <a:gd name="connsiteY33776" fmla="*/ 625857 h 6557032"/>
              <a:gd name="connsiteX33777" fmla="*/ 905621 w 4610101"/>
              <a:gd name="connsiteY33777" fmla="*/ 633146 h 6557032"/>
              <a:gd name="connsiteX33778" fmla="*/ 907444 w 4610101"/>
              <a:gd name="connsiteY33778" fmla="*/ 625857 h 6557032"/>
              <a:gd name="connsiteX33779" fmla="*/ 736159 w 4610101"/>
              <a:gd name="connsiteY33779" fmla="*/ 625857 h 6557032"/>
              <a:gd name="connsiteX33780" fmla="*/ 741626 w 4610101"/>
              <a:gd name="connsiteY33780" fmla="*/ 633146 h 6557032"/>
              <a:gd name="connsiteX33781" fmla="*/ 736159 w 4610101"/>
              <a:gd name="connsiteY33781" fmla="*/ 625857 h 6557032"/>
              <a:gd name="connsiteX33782" fmla="*/ 717937 w 4610101"/>
              <a:gd name="connsiteY33782" fmla="*/ 625857 h 6557032"/>
              <a:gd name="connsiteX33783" fmla="*/ 719759 w 4610101"/>
              <a:gd name="connsiteY33783" fmla="*/ 629501 h 6557032"/>
              <a:gd name="connsiteX33784" fmla="*/ 710648 w 4610101"/>
              <a:gd name="connsiteY33784" fmla="*/ 627679 h 6557032"/>
              <a:gd name="connsiteX33785" fmla="*/ 699715 w 4610101"/>
              <a:gd name="connsiteY33785" fmla="*/ 669589 h 6557032"/>
              <a:gd name="connsiteX33786" fmla="*/ 705182 w 4610101"/>
              <a:gd name="connsiteY33786" fmla="*/ 660478 h 6557032"/>
              <a:gd name="connsiteX33787" fmla="*/ 699715 w 4610101"/>
              <a:gd name="connsiteY33787" fmla="*/ 675056 h 6557032"/>
              <a:gd name="connsiteX33788" fmla="*/ 717937 w 4610101"/>
              <a:gd name="connsiteY33788" fmla="*/ 669589 h 6557032"/>
              <a:gd name="connsiteX33789" fmla="*/ 710648 w 4610101"/>
              <a:gd name="connsiteY33789" fmla="*/ 665945 h 6557032"/>
              <a:gd name="connsiteX33790" fmla="*/ 714293 w 4610101"/>
              <a:gd name="connsiteY33790" fmla="*/ 658656 h 6557032"/>
              <a:gd name="connsiteX33791" fmla="*/ 716115 w 4610101"/>
              <a:gd name="connsiteY33791" fmla="*/ 662301 h 6557032"/>
              <a:gd name="connsiteX33792" fmla="*/ 719759 w 4610101"/>
              <a:gd name="connsiteY33792" fmla="*/ 656834 h 6557032"/>
              <a:gd name="connsiteX33793" fmla="*/ 725522 w 4610101"/>
              <a:gd name="connsiteY33793" fmla="*/ 664632 h 6557032"/>
              <a:gd name="connsiteX33794" fmla="*/ 723404 w 4610101"/>
              <a:gd name="connsiteY33794" fmla="*/ 664123 h 6557032"/>
              <a:gd name="connsiteX33795" fmla="*/ 750737 w 4610101"/>
              <a:gd name="connsiteY33795" fmla="*/ 676878 h 6557032"/>
              <a:gd name="connsiteX33796" fmla="*/ 730692 w 4610101"/>
              <a:gd name="connsiteY33796" fmla="*/ 669589 h 6557032"/>
              <a:gd name="connsiteX33797" fmla="*/ 729941 w 4610101"/>
              <a:gd name="connsiteY33797" fmla="*/ 667660 h 6557032"/>
              <a:gd name="connsiteX33798" fmla="*/ 743447 w 4610101"/>
              <a:gd name="connsiteY33798" fmla="*/ 669589 h 6557032"/>
              <a:gd name="connsiteX33799" fmla="*/ 737981 w 4610101"/>
              <a:gd name="connsiteY33799" fmla="*/ 665945 h 6557032"/>
              <a:gd name="connsiteX33800" fmla="*/ 765313 w 4610101"/>
              <a:gd name="connsiteY33800" fmla="*/ 676878 h 6557032"/>
              <a:gd name="connsiteX33801" fmla="*/ 732515 w 4610101"/>
              <a:gd name="connsiteY33801" fmla="*/ 655012 h 6557032"/>
              <a:gd name="connsiteX33802" fmla="*/ 734336 w 4610101"/>
              <a:gd name="connsiteY33802" fmla="*/ 653190 h 6557032"/>
              <a:gd name="connsiteX33803" fmla="*/ 728870 w 4610101"/>
              <a:gd name="connsiteY33803" fmla="*/ 649545 h 6557032"/>
              <a:gd name="connsiteX33804" fmla="*/ 734336 w 4610101"/>
              <a:gd name="connsiteY33804" fmla="*/ 649545 h 6557032"/>
              <a:gd name="connsiteX33805" fmla="*/ 737981 w 4610101"/>
              <a:gd name="connsiteY33805" fmla="*/ 649545 h 6557032"/>
              <a:gd name="connsiteX33806" fmla="*/ 717937 w 4610101"/>
              <a:gd name="connsiteY33806" fmla="*/ 638612 h 6557032"/>
              <a:gd name="connsiteX33807" fmla="*/ 739803 w 4610101"/>
              <a:gd name="connsiteY33807" fmla="*/ 645901 h 6557032"/>
              <a:gd name="connsiteX33808" fmla="*/ 717937 w 4610101"/>
              <a:gd name="connsiteY33808" fmla="*/ 631324 h 6557032"/>
              <a:gd name="connsiteX33809" fmla="*/ 725226 w 4610101"/>
              <a:gd name="connsiteY33809" fmla="*/ 627679 h 6557032"/>
              <a:gd name="connsiteX33810" fmla="*/ 717937 w 4610101"/>
              <a:gd name="connsiteY33810" fmla="*/ 625857 h 6557032"/>
              <a:gd name="connsiteX33811" fmla="*/ 692426 w 4610101"/>
              <a:gd name="connsiteY33811" fmla="*/ 625857 h 6557032"/>
              <a:gd name="connsiteX33812" fmla="*/ 686960 w 4610101"/>
              <a:gd name="connsiteY33812" fmla="*/ 651368 h 6557032"/>
              <a:gd name="connsiteX33813" fmla="*/ 685024 w 4610101"/>
              <a:gd name="connsiteY33813" fmla="*/ 654030 h 6557032"/>
              <a:gd name="connsiteX33814" fmla="*/ 683316 w 4610101"/>
              <a:gd name="connsiteY33814" fmla="*/ 649545 h 6557032"/>
              <a:gd name="connsiteX33815" fmla="*/ 679671 w 4610101"/>
              <a:gd name="connsiteY33815" fmla="*/ 633146 h 6557032"/>
              <a:gd name="connsiteX33816" fmla="*/ 686960 w 4610101"/>
              <a:gd name="connsiteY33816" fmla="*/ 636790 h 6557032"/>
              <a:gd name="connsiteX33817" fmla="*/ 690604 w 4610101"/>
              <a:gd name="connsiteY33817" fmla="*/ 627679 h 6557032"/>
              <a:gd name="connsiteX33818" fmla="*/ 679671 w 4610101"/>
              <a:gd name="connsiteY33818" fmla="*/ 627679 h 6557032"/>
              <a:gd name="connsiteX33819" fmla="*/ 681493 w 4610101"/>
              <a:gd name="connsiteY33819" fmla="*/ 660478 h 6557032"/>
              <a:gd name="connsiteX33820" fmla="*/ 681974 w 4610101"/>
              <a:gd name="connsiteY33820" fmla="*/ 659666 h 6557032"/>
              <a:gd name="connsiteX33821" fmla="*/ 686960 w 4610101"/>
              <a:gd name="connsiteY33821" fmla="*/ 667767 h 6557032"/>
              <a:gd name="connsiteX33822" fmla="*/ 688782 w 4610101"/>
              <a:gd name="connsiteY33822" fmla="*/ 656834 h 6557032"/>
              <a:gd name="connsiteX33823" fmla="*/ 692426 w 4610101"/>
              <a:gd name="connsiteY33823" fmla="*/ 658656 h 6557032"/>
              <a:gd name="connsiteX33824" fmla="*/ 692426 w 4610101"/>
              <a:gd name="connsiteY33824" fmla="*/ 625857 h 6557032"/>
              <a:gd name="connsiteX33825" fmla="*/ 338926 w 4610101"/>
              <a:gd name="connsiteY33825" fmla="*/ 625857 h 6557032"/>
              <a:gd name="connsiteX33826" fmla="*/ 346213 w 4610101"/>
              <a:gd name="connsiteY33826" fmla="*/ 631324 h 6557032"/>
              <a:gd name="connsiteX33827" fmla="*/ 344391 w 4610101"/>
              <a:gd name="connsiteY33827" fmla="*/ 625857 h 6557032"/>
              <a:gd name="connsiteX33828" fmla="*/ 338926 w 4610101"/>
              <a:gd name="connsiteY33828" fmla="*/ 625857 h 6557032"/>
              <a:gd name="connsiteX33829" fmla="*/ 331636 w 4610101"/>
              <a:gd name="connsiteY33829" fmla="*/ 625857 h 6557032"/>
              <a:gd name="connsiteX33830" fmla="*/ 338926 w 4610101"/>
              <a:gd name="connsiteY33830" fmla="*/ 638612 h 6557032"/>
              <a:gd name="connsiteX33831" fmla="*/ 331636 w 4610101"/>
              <a:gd name="connsiteY33831" fmla="*/ 625857 h 6557032"/>
              <a:gd name="connsiteX33832" fmla="*/ 2902724 w 4610101"/>
              <a:gd name="connsiteY33832" fmla="*/ 624035 h 6557032"/>
              <a:gd name="connsiteX33833" fmla="*/ 2900901 w 4610101"/>
              <a:gd name="connsiteY33833" fmla="*/ 629501 h 6557032"/>
              <a:gd name="connsiteX33834" fmla="*/ 2893613 w 4610101"/>
              <a:gd name="connsiteY33834" fmla="*/ 625857 h 6557032"/>
              <a:gd name="connsiteX33835" fmla="*/ 2902724 w 4610101"/>
              <a:gd name="connsiteY33835" fmla="*/ 636790 h 6557032"/>
              <a:gd name="connsiteX33836" fmla="*/ 2908190 w 4610101"/>
              <a:gd name="connsiteY33836" fmla="*/ 631324 h 6557032"/>
              <a:gd name="connsiteX33837" fmla="*/ 2902724 w 4610101"/>
              <a:gd name="connsiteY33837" fmla="*/ 624035 h 6557032"/>
              <a:gd name="connsiteX33838" fmla="*/ 1434051 w 4610101"/>
              <a:gd name="connsiteY33838" fmla="*/ 624035 h 6557032"/>
              <a:gd name="connsiteX33839" fmla="*/ 1430407 w 4610101"/>
              <a:gd name="connsiteY33839" fmla="*/ 625857 h 6557032"/>
              <a:gd name="connsiteX33840" fmla="*/ 1432229 w 4610101"/>
              <a:gd name="connsiteY33840" fmla="*/ 631324 h 6557032"/>
              <a:gd name="connsiteX33841" fmla="*/ 1428585 w 4610101"/>
              <a:gd name="connsiteY33841" fmla="*/ 636790 h 6557032"/>
              <a:gd name="connsiteX33842" fmla="*/ 1432229 w 4610101"/>
              <a:gd name="connsiteY33842" fmla="*/ 634968 h 6557032"/>
              <a:gd name="connsiteX33843" fmla="*/ 1432229 w 4610101"/>
              <a:gd name="connsiteY33843" fmla="*/ 631324 h 6557032"/>
              <a:gd name="connsiteX33844" fmla="*/ 1434051 w 4610101"/>
              <a:gd name="connsiteY33844" fmla="*/ 624035 h 6557032"/>
              <a:gd name="connsiteX33845" fmla="*/ 643228 w 4610101"/>
              <a:gd name="connsiteY33845" fmla="*/ 624035 h 6557032"/>
              <a:gd name="connsiteX33846" fmla="*/ 648694 w 4610101"/>
              <a:gd name="connsiteY33846" fmla="*/ 636790 h 6557032"/>
              <a:gd name="connsiteX33847" fmla="*/ 646872 w 4610101"/>
              <a:gd name="connsiteY33847" fmla="*/ 629501 h 6557032"/>
              <a:gd name="connsiteX33848" fmla="*/ 650516 w 4610101"/>
              <a:gd name="connsiteY33848" fmla="*/ 633146 h 6557032"/>
              <a:gd name="connsiteX33849" fmla="*/ 643228 w 4610101"/>
              <a:gd name="connsiteY33849" fmla="*/ 624035 h 6557032"/>
              <a:gd name="connsiteX33850" fmla="*/ 628650 w 4610101"/>
              <a:gd name="connsiteY33850" fmla="*/ 624035 h 6557032"/>
              <a:gd name="connsiteX33851" fmla="*/ 629105 w 4610101"/>
              <a:gd name="connsiteY33851" fmla="*/ 624946 h 6557032"/>
              <a:gd name="connsiteX33852" fmla="*/ 628315 w 4610101"/>
              <a:gd name="connsiteY33852" fmla="*/ 625262 h 6557032"/>
              <a:gd name="connsiteX33853" fmla="*/ 590385 w 4610101"/>
              <a:gd name="connsiteY33853" fmla="*/ 624035 h 6557032"/>
              <a:gd name="connsiteX33854" fmla="*/ 586741 w 4610101"/>
              <a:gd name="connsiteY33854" fmla="*/ 627679 h 6557032"/>
              <a:gd name="connsiteX33855" fmla="*/ 594030 w 4610101"/>
              <a:gd name="connsiteY33855" fmla="*/ 631324 h 6557032"/>
              <a:gd name="connsiteX33856" fmla="*/ 590385 w 4610101"/>
              <a:gd name="connsiteY33856" fmla="*/ 624035 h 6557032"/>
              <a:gd name="connsiteX33857" fmla="*/ 504743 w 4610101"/>
              <a:gd name="connsiteY33857" fmla="*/ 624035 h 6557032"/>
              <a:gd name="connsiteX33858" fmla="*/ 502920 w 4610101"/>
              <a:gd name="connsiteY33858" fmla="*/ 634968 h 6557032"/>
              <a:gd name="connsiteX33859" fmla="*/ 504743 w 4610101"/>
              <a:gd name="connsiteY33859" fmla="*/ 624035 h 6557032"/>
              <a:gd name="connsiteX33860" fmla="*/ 475589 w 4610101"/>
              <a:gd name="connsiteY33860" fmla="*/ 624035 h 6557032"/>
              <a:gd name="connsiteX33861" fmla="*/ 486521 w 4610101"/>
              <a:gd name="connsiteY33861" fmla="*/ 638612 h 6557032"/>
              <a:gd name="connsiteX33862" fmla="*/ 486521 w 4610101"/>
              <a:gd name="connsiteY33862" fmla="*/ 631324 h 6557032"/>
              <a:gd name="connsiteX33863" fmla="*/ 475589 w 4610101"/>
              <a:gd name="connsiteY33863" fmla="*/ 624035 h 6557032"/>
              <a:gd name="connsiteX33864" fmla="*/ 455544 w 4610101"/>
              <a:gd name="connsiteY33864" fmla="*/ 624035 h 6557032"/>
              <a:gd name="connsiteX33865" fmla="*/ 453722 w 4610101"/>
              <a:gd name="connsiteY33865" fmla="*/ 634968 h 6557032"/>
              <a:gd name="connsiteX33866" fmla="*/ 459188 w 4610101"/>
              <a:gd name="connsiteY33866" fmla="*/ 636790 h 6557032"/>
              <a:gd name="connsiteX33867" fmla="*/ 455544 w 4610101"/>
              <a:gd name="connsiteY33867" fmla="*/ 624035 h 6557032"/>
              <a:gd name="connsiteX33868" fmla="*/ 349858 w 4610101"/>
              <a:gd name="connsiteY33868" fmla="*/ 624035 h 6557032"/>
              <a:gd name="connsiteX33869" fmla="*/ 358969 w 4610101"/>
              <a:gd name="connsiteY33869" fmla="*/ 634968 h 6557032"/>
              <a:gd name="connsiteX33870" fmla="*/ 349858 w 4610101"/>
              <a:gd name="connsiteY33870" fmla="*/ 624035 h 6557032"/>
              <a:gd name="connsiteX33871" fmla="*/ 306126 w 4610101"/>
              <a:gd name="connsiteY33871" fmla="*/ 624035 h 6557032"/>
              <a:gd name="connsiteX33872" fmla="*/ 313414 w 4610101"/>
              <a:gd name="connsiteY33872" fmla="*/ 640435 h 6557032"/>
              <a:gd name="connsiteX33873" fmla="*/ 306126 w 4610101"/>
              <a:gd name="connsiteY33873" fmla="*/ 624035 h 6557032"/>
              <a:gd name="connsiteX33874" fmla="*/ 2565621 w 4610101"/>
              <a:gd name="connsiteY33874" fmla="*/ 622213 h 6557032"/>
              <a:gd name="connsiteX33875" fmla="*/ 2551044 w 4610101"/>
              <a:gd name="connsiteY33875" fmla="*/ 642257 h 6557032"/>
              <a:gd name="connsiteX33876" fmla="*/ 2534644 w 4610101"/>
              <a:gd name="connsiteY33876" fmla="*/ 636790 h 6557032"/>
              <a:gd name="connsiteX33877" fmla="*/ 2534644 w 4610101"/>
              <a:gd name="connsiteY33877" fmla="*/ 645901 h 6557032"/>
              <a:gd name="connsiteX33878" fmla="*/ 2529178 w 4610101"/>
              <a:gd name="connsiteY33878" fmla="*/ 640435 h 6557032"/>
              <a:gd name="connsiteX33879" fmla="*/ 2538289 w 4610101"/>
              <a:gd name="connsiteY33879" fmla="*/ 658656 h 6557032"/>
              <a:gd name="connsiteX33880" fmla="*/ 2539883 w 4610101"/>
              <a:gd name="connsiteY33880" fmla="*/ 652734 h 6557032"/>
              <a:gd name="connsiteX33881" fmla="*/ 2542302 w 4610101"/>
              <a:gd name="connsiteY33881" fmla="*/ 651380 h 6557032"/>
              <a:gd name="connsiteX33882" fmla="*/ 2549450 w 4610101"/>
              <a:gd name="connsiteY33882" fmla="*/ 651596 h 6557032"/>
              <a:gd name="connsiteX33883" fmla="*/ 2558332 w 4610101"/>
              <a:gd name="connsiteY33883" fmla="*/ 647723 h 6557032"/>
              <a:gd name="connsiteX33884" fmla="*/ 2558332 w 4610101"/>
              <a:gd name="connsiteY33884" fmla="*/ 642257 h 6557032"/>
              <a:gd name="connsiteX33885" fmla="*/ 2560155 w 4610101"/>
              <a:gd name="connsiteY33885" fmla="*/ 644079 h 6557032"/>
              <a:gd name="connsiteX33886" fmla="*/ 2571088 w 4610101"/>
              <a:gd name="connsiteY33886" fmla="*/ 640435 h 6557032"/>
              <a:gd name="connsiteX33887" fmla="*/ 2565621 w 4610101"/>
              <a:gd name="connsiteY33887" fmla="*/ 622213 h 6557032"/>
              <a:gd name="connsiteX33888" fmla="*/ 2337850 w 4610101"/>
              <a:gd name="connsiteY33888" fmla="*/ 622213 h 6557032"/>
              <a:gd name="connsiteX33889" fmla="*/ 2334205 w 4610101"/>
              <a:gd name="connsiteY33889" fmla="*/ 629501 h 6557032"/>
              <a:gd name="connsiteX33890" fmla="*/ 2337850 w 4610101"/>
              <a:gd name="connsiteY33890" fmla="*/ 622213 h 6557032"/>
              <a:gd name="connsiteX33891" fmla="*/ 1410363 w 4610101"/>
              <a:gd name="connsiteY33891" fmla="*/ 622213 h 6557032"/>
              <a:gd name="connsiteX33892" fmla="*/ 1412185 w 4610101"/>
              <a:gd name="connsiteY33892" fmla="*/ 624035 h 6557032"/>
              <a:gd name="connsiteX33893" fmla="*/ 1410363 w 4610101"/>
              <a:gd name="connsiteY33893" fmla="*/ 622213 h 6557032"/>
              <a:gd name="connsiteX33894" fmla="*/ 1089660 w 4610101"/>
              <a:gd name="connsiteY33894" fmla="*/ 622213 h 6557032"/>
              <a:gd name="connsiteX33895" fmla="*/ 1095582 w 4610101"/>
              <a:gd name="connsiteY33895" fmla="*/ 626313 h 6557032"/>
              <a:gd name="connsiteX33896" fmla="*/ 1096221 w 4610101"/>
              <a:gd name="connsiteY33896" fmla="*/ 627681 h 6557032"/>
              <a:gd name="connsiteX33897" fmla="*/ 697893 w 4610101"/>
              <a:gd name="connsiteY33897" fmla="*/ 622213 h 6557032"/>
              <a:gd name="connsiteX33898" fmla="*/ 707004 w 4610101"/>
              <a:gd name="connsiteY33898" fmla="*/ 625857 h 6557032"/>
              <a:gd name="connsiteX33899" fmla="*/ 697893 w 4610101"/>
              <a:gd name="connsiteY33899" fmla="*/ 622213 h 6557032"/>
              <a:gd name="connsiteX33900" fmla="*/ 641407 w 4610101"/>
              <a:gd name="connsiteY33900" fmla="*/ 622213 h 6557032"/>
              <a:gd name="connsiteX33901" fmla="*/ 637761 w 4610101"/>
              <a:gd name="connsiteY33901" fmla="*/ 624035 h 6557032"/>
              <a:gd name="connsiteX33902" fmla="*/ 641407 w 4610101"/>
              <a:gd name="connsiteY33902" fmla="*/ 622213 h 6557032"/>
              <a:gd name="connsiteX33903" fmla="*/ 559408 w 4610101"/>
              <a:gd name="connsiteY33903" fmla="*/ 622213 h 6557032"/>
              <a:gd name="connsiteX33904" fmla="*/ 555763 w 4610101"/>
              <a:gd name="connsiteY33904" fmla="*/ 629501 h 6557032"/>
              <a:gd name="connsiteX33905" fmla="*/ 559408 w 4610101"/>
              <a:gd name="connsiteY33905" fmla="*/ 634968 h 6557032"/>
              <a:gd name="connsiteX33906" fmla="*/ 559408 w 4610101"/>
              <a:gd name="connsiteY33906" fmla="*/ 627679 h 6557032"/>
              <a:gd name="connsiteX33907" fmla="*/ 559408 w 4610101"/>
              <a:gd name="connsiteY33907" fmla="*/ 622213 h 6557032"/>
              <a:gd name="connsiteX33908" fmla="*/ 535719 w 4610101"/>
              <a:gd name="connsiteY33908" fmla="*/ 622213 h 6557032"/>
              <a:gd name="connsiteX33909" fmla="*/ 541186 w 4610101"/>
              <a:gd name="connsiteY33909" fmla="*/ 636790 h 6557032"/>
              <a:gd name="connsiteX33910" fmla="*/ 535719 w 4610101"/>
              <a:gd name="connsiteY33910" fmla="*/ 622213 h 6557032"/>
              <a:gd name="connsiteX33911" fmla="*/ 526609 w 4610101"/>
              <a:gd name="connsiteY33911" fmla="*/ 622213 h 6557032"/>
              <a:gd name="connsiteX33912" fmla="*/ 532075 w 4610101"/>
              <a:gd name="connsiteY33912" fmla="*/ 627679 h 6557032"/>
              <a:gd name="connsiteX33913" fmla="*/ 526609 w 4610101"/>
              <a:gd name="connsiteY33913" fmla="*/ 622213 h 6557032"/>
              <a:gd name="connsiteX33914" fmla="*/ 459188 w 4610101"/>
              <a:gd name="connsiteY33914" fmla="*/ 622213 h 6557032"/>
              <a:gd name="connsiteX33915" fmla="*/ 481054 w 4610101"/>
              <a:gd name="connsiteY33915" fmla="*/ 649545 h 6557032"/>
              <a:gd name="connsiteX33916" fmla="*/ 459188 w 4610101"/>
              <a:gd name="connsiteY33916" fmla="*/ 622213 h 6557032"/>
              <a:gd name="connsiteX33917" fmla="*/ 101564 w 4610101"/>
              <a:gd name="connsiteY33917" fmla="*/ 621555 h 6557032"/>
              <a:gd name="connsiteX33918" fmla="*/ 105230 w 4610101"/>
              <a:gd name="connsiteY33918" fmla="*/ 629473 h 6557032"/>
              <a:gd name="connsiteX33919" fmla="*/ 116619 w 4610101"/>
              <a:gd name="connsiteY33919" fmla="*/ 664123 h 6557032"/>
              <a:gd name="connsiteX33920" fmla="*/ 116427 w 4610101"/>
              <a:gd name="connsiteY33920" fmla="*/ 663855 h 6557032"/>
              <a:gd name="connsiteX33921" fmla="*/ 106597 w 4610101"/>
              <a:gd name="connsiteY33921" fmla="*/ 635879 h 6557032"/>
              <a:gd name="connsiteX33922" fmla="*/ 3232537 w 4610101"/>
              <a:gd name="connsiteY33922" fmla="*/ 620391 h 6557032"/>
              <a:gd name="connsiteX33923" fmla="*/ 3237812 w 4610101"/>
              <a:gd name="connsiteY33923" fmla="*/ 622501 h 6557032"/>
              <a:gd name="connsiteX33924" fmla="*/ 3237776 w 4610101"/>
              <a:gd name="connsiteY33924" fmla="*/ 622897 h 6557032"/>
              <a:gd name="connsiteX33925" fmla="*/ 3241648 w 4610101"/>
              <a:gd name="connsiteY33925" fmla="*/ 624035 h 6557032"/>
              <a:gd name="connsiteX33926" fmla="*/ 3237812 w 4610101"/>
              <a:gd name="connsiteY33926" fmla="*/ 622501 h 6557032"/>
              <a:gd name="connsiteX33927" fmla="*/ 3238003 w 4610101"/>
              <a:gd name="connsiteY33927" fmla="*/ 620391 h 6557032"/>
              <a:gd name="connsiteX33928" fmla="*/ 3232537 w 4610101"/>
              <a:gd name="connsiteY33928" fmla="*/ 620391 h 6557032"/>
              <a:gd name="connsiteX33929" fmla="*/ 3225248 w 4610101"/>
              <a:gd name="connsiteY33929" fmla="*/ 620391 h 6557032"/>
              <a:gd name="connsiteX33930" fmla="*/ 3227071 w 4610101"/>
              <a:gd name="connsiteY33930" fmla="*/ 625857 h 6557032"/>
              <a:gd name="connsiteX33931" fmla="*/ 3225248 w 4610101"/>
              <a:gd name="connsiteY33931" fmla="*/ 620391 h 6557032"/>
              <a:gd name="connsiteX33932" fmla="*/ 3055786 w 4610101"/>
              <a:gd name="connsiteY33932" fmla="*/ 620391 h 6557032"/>
              <a:gd name="connsiteX33933" fmla="*/ 3064897 w 4610101"/>
              <a:gd name="connsiteY33933" fmla="*/ 629501 h 6557032"/>
              <a:gd name="connsiteX33934" fmla="*/ 3055786 w 4610101"/>
              <a:gd name="connsiteY33934" fmla="*/ 620391 h 6557032"/>
              <a:gd name="connsiteX33935" fmla="*/ 2879035 w 4610101"/>
              <a:gd name="connsiteY33935" fmla="*/ 620391 h 6557032"/>
              <a:gd name="connsiteX33936" fmla="*/ 2869924 w 4610101"/>
              <a:gd name="connsiteY33936" fmla="*/ 644079 h 6557032"/>
              <a:gd name="connsiteX33937" fmla="*/ 2882680 w 4610101"/>
              <a:gd name="connsiteY33937" fmla="*/ 633146 h 6557032"/>
              <a:gd name="connsiteX33938" fmla="*/ 2879035 w 4610101"/>
              <a:gd name="connsiteY33938" fmla="*/ 620391 h 6557032"/>
              <a:gd name="connsiteX33939" fmla="*/ 1055040 w 4610101"/>
              <a:gd name="connsiteY33939" fmla="*/ 620391 h 6557032"/>
              <a:gd name="connsiteX33940" fmla="*/ 1055950 w 4610101"/>
              <a:gd name="connsiteY33940" fmla="*/ 620999 h 6557032"/>
              <a:gd name="connsiteX33941" fmla="*/ 1055040 w 4610101"/>
              <a:gd name="connsiteY33941" fmla="*/ 622213 h 6557032"/>
              <a:gd name="connsiteX33942" fmla="*/ 1054431 w 4610101"/>
              <a:gd name="connsiteY33942" fmla="*/ 621606 h 6557032"/>
              <a:gd name="connsiteX33943" fmla="*/ 712470 w 4610101"/>
              <a:gd name="connsiteY33943" fmla="*/ 620391 h 6557032"/>
              <a:gd name="connsiteX33944" fmla="*/ 716115 w 4610101"/>
              <a:gd name="connsiteY33944" fmla="*/ 622213 h 6557032"/>
              <a:gd name="connsiteX33945" fmla="*/ 712470 w 4610101"/>
              <a:gd name="connsiteY33945" fmla="*/ 620391 h 6557032"/>
              <a:gd name="connsiteX33946" fmla="*/ 519320 w 4610101"/>
              <a:gd name="connsiteY33946" fmla="*/ 620391 h 6557032"/>
              <a:gd name="connsiteX33947" fmla="*/ 515676 w 4610101"/>
              <a:gd name="connsiteY33947" fmla="*/ 625857 h 6557032"/>
              <a:gd name="connsiteX33948" fmla="*/ 513853 w 4610101"/>
              <a:gd name="connsiteY33948" fmla="*/ 624035 h 6557032"/>
              <a:gd name="connsiteX33949" fmla="*/ 515676 w 4610101"/>
              <a:gd name="connsiteY33949" fmla="*/ 629501 h 6557032"/>
              <a:gd name="connsiteX33950" fmla="*/ 519320 w 4610101"/>
              <a:gd name="connsiteY33950" fmla="*/ 620391 h 6557032"/>
              <a:gd name="connsiteX33951" fmla="*/ 399056 w 4610101"/>
              <a:gd name="connsiteY33951" fmla="*/ 620391 h 6557032"/>
              <a:gd name="connsiteX33952" fmla="*/ 399056 w 4610101"/>
              <a:gd name="connsiteY33952" fmla="*/ 633146 h 6557032"/>
              <a:gd name="connsiteX33953" fmla="*/ 399056 w 4610101"/>
              <a:gd name="connsiteY33953" fmla="*/ 620391 h 6557032"/>
              <a:gd name="connsiteX33954" fmla="*/ 369902 w 4610101"/>
              <a:gd name="connsiteY33954" fmla="*/ 620391 h 6557032"/>
              <a:gd name="connsiteX33955" fmla="*/ 369902 w 4610101"/>
              <a:gd name="connsiteY33955" fmla="*/ 624035 h 6557032"/>
              <a:gd name="connsiteX33956" fmla="*/ 369902 w 4610101"/>
              <a:gd name="connsiteY33956" fmla="*/ 620391 h 6557032"/>
              <a:gd name="connsiteX33957" fmla="*/ 366257 w 4610101"/>
              <a:gd name="connsiteY33957" fmla="*/ 620391 h 6557032"/>
              <a:gd name="connsiteX33958" fmla="*/ 369902 w 4610101"/>
              <a:gd name="connsiteY33958" fmla="*/ 627679 h 6557032"/>
              <a:gd name="connsiteX33959" fmla="*/ 366257 w 4610101"/>
              <a:gd name="connsiteY33959" fmla="*/ 620391 h 6557032"/>
              <a:gd name="connsiteX33960" fmla="*/ 3538662 w 4610101"/>
              <a:gd name="connsiteY33960" fmla="*/ 618568 h 6557032"/>
              <a:gd name="connsiteX33961" fmla="*/ 3538662 w 4610101"/>
              <a:gd name="connsiteY33961" fmla="*/ 627679 h 6557032"/>
              <a:gd name="connsiteX33962" fmla="*/ 3547773 w 4610101"/>
              <a:gd name="connsiteY33962" fmla="*/ 631324 h 6557032"/>
              <a:gd name="connsiteX33963" fmla="*/ 3538662 w 4610101"/>
              <a:gd name="connsiteY33963" fmla="*/ 618568 h 6557032"/>
              <a:gd name="connsiteX33964" fmla="*/ 3270803 w 4610101"/>
              <a:gd name="connsiteY33964" fmla="*/ 618568 h 6557032"/>
              <a:gd name="connsiteX33965" fmla="*/ 3259869 w 4610101"/>
              <a:gd name="connsiteY33965" fmla="*/ 627679 h 6557032"/>
              <a:gd name="connsiteX33966" fmla="*/ 3272625 w 4610101"/>
              <a:gd name="connsiteY33966" fmla="*/ 622213 h 6557032"/>
              <a:gd name="connsiteX33967" fmla="*/ 3270803 w 4610101"/>
              <a:gd name="connsiteY33967" fmla="*/ 618568 h 6557032"/>
              <a:gd name="connsiteX33968" fmla="*/ 2767882 w 4610101"/>
              <a:gd name="connsiteY33968" fmla="*/ 618568 h 6557032"/>
              <a:gd name="connsiteX33969" fmla="*/ 2771071 w 4610101"/>
              <a:gd name="connsiteY33969" fmla="*/ 623352 h 6557032"/>
              <a:gd name="connsiteX33970" fmla="*/ 2771389 w 4610101"/>
              <a:gd name="connsiteY33970" fmla="*/ 627633 h 6557032"/>
              <a:gd name="connsiteX33971" fmla="*/ 2766060 w 4610101"/>
              <a:gd name="connsiteY33971" fmla="*/ 625857 h 6557032"/>
              <a:gd name="connsiteX33972" fmla="*/ 2766060 w 4610101"/>
              <a:gd name="connsiteY33972" fmla="*/ 629501 h 6557032"/>
              <a:gd name="connsiteX33973" fmla="*/ 2770161 w 4610101"/>
              <a:gd name="connsiteY33973" fmla="*/ 631324 h 6557032"/>
              <a:gd name="connsiteX33974" fmla="*/ 2771414 w 4610101"/>
              <a:gd name="connsiteY33974" fmla="*/ 627980 h 6557032"/>
              <a:gd name="connsiteX33975" fmla="*/ 2771527 w 4610101"/>
              <a:gd name="connsiteY33975" fmla="*/ 629501 h 6557032"/>
              <a:gd name="connsiteX33976" fmla="*/ 2773349 w 4610101"/>
              <a:gd name="connsiteY33976" fmla="*/ 627679 h 6557032"/>
              <a:gd name="connsiteX33977" fmla="*/ 2776993 w 4610101"/>
              <a:gd name="connsiteY33977" fmla="*/ 633146 h 6557032"/>
              <a:gd name="connsiteX33978" fmla="*/ 2769705 w 4610101"/>
              <a:gd name="connsiteY33978" fmla="*/ 636790 h 6557032"/>
              <a:gd name="connsiteX33979" fmla="*/ 2774716 w 4610101"/>
              <a:gd name="connsiteY33979" fmla="*/ 637019 h 6557032"/>
              <a:gd name="connsiteX33980" fmla="*/ 2775784 w 4610101"/>
              <a:gd name="connsiteY33980" fmla="*/ 640330 h 6557032"/>
              <a:gd name="connsiteX33981" fmla="*/ 2771755 w 4610101"/>
              <a:gd name="connsiteY33981" fmla="*/ 639979 h 6557032"/>
              <a:gd name="connsiteX33982" fmla="*/ 2767882 w 4610101"/>
              <a:gd name="connsiteY33982" fmla="*/ 636790 h 6557032"/>
              <a:gd name="connsiteX33983" fmla="*/ 2778816 w 4610101"/>
              <a:gd name="connsiteY33983" fmla="*/ 651368 h 6557032"/>
              <a:gd name="connsiteX33984" fmla="*/ 2777479 w 4610101"/>
              <a:gd name="connsiteY33984" fmla="*/ 643350 h 6557032"/>
              <a:gd name="connsiteX33985" fmla="*/ 2781093 w 4610101"/>
              <a:gd name="connsiteY33985" fmla="*/ 637929 h 6557032"/>
              <a:gd name="connsiteX33986" fmla="*/ 2787927 w 4610101"/>
              <a:gd name="connsiteY33986" fmla="*/ 638612 h 6557032"/>
              <a:gd name="connsiteX33987" fmla="*/ 2786104 w 4610101"/>
              <a:gd name="connsiteY33987" fmla="*/ 624035 h 6557032"/>
              <a:gd name="connsiteX33988" fmla="*/ 2789749 w 4610101"/>
              <a:gd name="connsiteY33988" fmla="*/ 638612 h 6557032"/>
              <a:gd name="connsiteX33989" fmla="*/ 2795215 w 4610101"/>
              <a:gd name="connsiteY33989" fmla="*/ 634968 h 6557032"/>
              <a:gd name="connsiteX33990" fmla="*/ 2778816 w 4610101"/>
              <a:gd name="connsiteY33990" fmla="*/ 618568 h 6557032"/>
              <a:gd name="connsiteX33991" fmla="*/ 2780638 w 4610101"/>
              <a:gd name="connsiteY33991" fmla="*/ 625857 h 6557032"/>
              <a:gd name="connsiteX33992" fmla="*/ 2775171 w 4610101"/>
              <a:gd name="connsiteY33992" fmla="*/ 620391 h 6557032"/>
              <a:gd name="connsiteX33993" fmla="*/ 2767882 w 4610101"/>
              <a:gd name="connsiteY33993" fmla="*/ 618568 h 6557032"/>
              <a:gd name="connsiteX33994" fmla="*/ 2430780 w 4610101"/>
              <a:gd name="connsiteY33994" fmla="*/ 618568 h 6557032"/>
              <a:gd name="connsiteX33995" fmla="*/ 2430780 w 4610101"/>
              <a:gd name="connsiteY33995" fmla="*/ 625857 h 6557032"/>
              <a:gd name="connsiteX33996" fmla="*/ 2430780 w 4610101"/>
              <a:gd name="connsiteY33996" fmla="*/ 618568 h 6557032"/>
              <a:gd name="connsiteX33997" fmla="*/ 2414381 w 4610101"/>
              <a:gd name="connsiteY33997" fmla="*/ 618568 h 6557032"/>
              <a:gd name="connsiteX33998" fmla="*/ 2396159 w 4610101"/>
              <a:gd name="connsiteY33998" fmla="*/ 625857 h 6557032"/>
              <a:gd name="connsiteX33999" fmla="*/ 2397981 w 4610101"/>
              <a:gd name="connsiteY33999" fmla="*/ 636790 h 6557032"/>
              <a:gd name="connsiteX34000" fmla="*/ 2403448 w 4610101"/>
              <a:gd name="connsiteY34000" fmla="*/ 636790 h 6557032"/>
              <a:gd name="connsiteX34001" fmla="*/ 2414381 w 4610101"/>
              <a:gd name="connsiteY34001" fmla="*/ 618568 h 6557032"/>
              <a:gd name="connsiteX34002" fmla="*/ 1406719 w 4610101"/>
              <a:gd name="connsiteY34002" fmla="*/ 618568 h 6557032"/>
              <a:gd name="connsiteX34003" fmla="*/ 1404896 w 4610101"/>
              <a:gd name="connsiteY34003" fmla="*/ 624035 h 6557032"/>
              <a:gd name="connsiteX34004" fmla="*/ 1406719 w 4610101"/>
              <a:gd name="connsiteY34004" fmla="*/ 618568 h 6557032"/>
              <a:gd name="connsiteX34005" fmla="*/ 630472 w 4610101"/>
              <a:gd name="connsiteY34005" fmla="*/ 618568 h 6557032"/>
              <a:gd name="connsiteX34006" fmla="*/ 626828 w 4610101"/>
              <a:gd name="connsiteY34006" fmla="*/ 625857 h 6557032"/>
              <a:gd name="connsiteX34007" fmla="*/ 628315 w 4610101"/>
              <a:gd name="connsiteY34007" fmla="*/ 625262 h 6557032"/>
              <a:gd name="connsiteX34008" fmla="*/ 623185 w 4610101"/>
              <a:gd name="connsiteY34008" fmla="*/ 644079 h 6557032"/>
              <a:gd name="connsiteX34009" fmla="*/ 630472 w 4610101"/>
              <a:gd name="connsiteY34009" fmla="*/ 618568 h 6557032"/>
              <a:gd name="connsiteX34010" fmla="*/ 594030 w 4610101"/>
              <a:gd name="connsiteY34010" fmla="*/ 618568 h 6557032"/>
              <a:gd name="connsiteX34011" fmla="*/ 594030 w 4610101"/>
              <a:gd name="connsiteY34011" fmla="*/ 624035 h 6557032"/>
              <a:gd name="connsiteX34012" fmla="*/ 594030 w 4610101"/>
              <a:gd name="connsiteY34012" fmla="*/ 618568 h 6557032"/>
              <a:gd name="connsiteX34013" fmla="*/ 470121 w 4610101"/>
              <a:gd name="connsiteY34013" fmla="*/ 618568 h 6557032"/>
              <a:gd name="connsiteX34014" fmla="*/ 486521 w 4610101"/>
              <a:gd name="connsiteY34014" fmla="*/ 640435 h 6557032"/>
              <a:gd name="connsiteX34015" fmla="*/ 470121 w 4610101"/>
              <a:gd name="connsiteY34015" fmla="*/ 618568 h 6557032"/>
              <a:gd name="connsiteX34016" fmla="*/ 435500 w 4610101"/>
              <a:gd name="connsiteY34016" fmla="*/ 618568 h 6557032"/>
              <a:gd name="connsiteX34017" fmla="*/ 437550 w 4610101"/>
              <a:gd name="connsiteY34017" fmla="*/ 621302 h 6557032"/>
              <a:gd name="connsiteX34018" fmla="*/ 436981 w 4610101"/>
              <a:gd name="connsiteY34018" fmla="*/ 622061 h 6557032"/>
              <a:gd name="connsiteX34019" fmla="*/ 435500 w 4610101"/>
              <a:gd name="connsiteY34019" fmla="*/ 620708 h 6557032"/>
              <a:gd name="connsiteX34020" fmla="*/ 664866 w 4610101"/>
              <a:gd name="connsiteY34020" fmla="*/ 618113 h 6557032"/>
              <a:gd name="connsiteX34021" fmla="*/ 659627 w 4610101"/>
              <a:gd name="connsiteY34021" fmla="*/ 624035 h 6557032"/>
              <a:gd name="connsiteX34022" fmla="*/ 663272 w 4610101"/>
              <a:gd name="connsiteY34022" fmla="*/ 625857 h 6557032"/>
              <a:gd name="connsiteX34023" fmla="*/ 664866 w 4610101"/>
              <a:gd name="connsiteY34023" fmla="*/ 618113 h 6557032"/>
              <a:gd name="connsiteX34024" fmla="*/ 1318343 w 4610101"/>
              <a:gd name="connsiteY34024" fmla="*/ 617658 h 6557032"/>
              <a:gd name="connsiteX34025" fmla="*/ 1319254 w 4610101"/>
              <a:gd name="connsiteY34025" fmla="*/ 620391 h 6557032"/>
              <a:gd name="connsiteX34026" fmla="*/ 1311282 w 4610101"/>
              <a:gd name="connsiteY34026" fmla="*/ 630641 h 6557032"/>
              <a:gd name="connsiteX34027" fmla="*/ 1310293 w 4610101"/>
              <a:gd name="connsiteY34027" fmla="*/ 631562 h 6557032"/>
              <a:gd name="connsiteX34028" fmla="*/ 460413 w 4610101"/>
              <a:gd name="connsiteY34028" fmla="*/ 617563 h 6557032"/>
              <a:gd name="connsiteX34029" fmla="*/ 464536 w 4610101"/>
              <a:gd name="connsiteY34029" fmla="*/ 620312 h 6557032"/>
              <a:gd name="connsiteX34030" fmla="*/ 464536 w 4610101"/>
              <a:gd name="connsiteY34030" fmla="*/ 620316 h 6557032"/>
              <a:gd name="connsiteX34031" fmla="*/ 460327 w 4610101"/>
              <a:gd name="connsiteY34031" fmla="*/ 617658 h 6557032"/>
              <a:gd name="connsiteX34032" fmla="*/ 3048497 w 4610101"/>
              <a:gd name="connsiteY34032" fmla="*/ 616746 h 6557032"/>
              <a:gd name="connsiteX34033" fmla="*/ 3050319 w 4610101"/>
              <a:gd name="connsiteY34033" fmla="*/ 631324 h 6557032"/>
              <a:gd name="connsiteX34034" fmla="*/ 3048497 w 4610101"/>
              <a:gd name="connsiteY34034" fmla="*/ 616746 h 6557032"/>
              <a:gd name="connsiteX34035" fmla="*/ 1335654 w 4610101"/>
              <a:gd name="connsiteY34035" fmla="*/ 616746 h 6557032"/>
              <a:gd name="connsiteX34036" fmla="*/ 1330188 w 4610101"/>
              <a:gd name="connsiteY34036" fmla="*/ 629501 h 6557032"/>
              <a:gd name="connsiteX34037" fmla="*/ 1324721 w 4610101"/>
              <a:gd name="connsiteY34037" fmla="*/ 645901 h 6557032"/>
              <a:gd name="connsiteX34038" fmla="*/ 1332009 w 4610101"/>
              <a:gd name="connsiteY34038" fmla="*/ 627679 h 6557032"/>
              <a:gd name="connsiteX34039" fmla="*/ 1335654 w 4610101"/>
              <a:gd name="connsiteY34039" fmla="*/ 616746 h 6557032"/>
              <a:gd name="connsiteX34040" fmla="*/ 1301033 w 4610101"/>
              <a:gd name="connsiteY34040" fmla="*/ 616746 h 6557032"/>
              <a:gd name="connsiteX34041" fmla="*/ 1293744 w 4610101"/>
              <a:gd name="connsiteY34041" fmla="*/ 620391 h 6557032"/>
              <a:gd name="connsiteX34042" fmla="*/ 1297388 w 4610101"/>
              <a:gd name="connsiteY34042" fmla="*/ 622213 h 6557032"/>
              <a:gd name="connsiteX34043" fmla="*/ 1301033 w 4610101"/>
              <a:gd name="connsiteY34043" fmla="*/ 616746 h 6557032"/>
              <a:gd name="connsiteX34044" fmla="*/ 1284633 w 4610101"/>
              <a:gd name="connsiteY34044" fmla="*/ 616746 h 6557032"/>
              <a:gd name="connsiteX34045" fmla="*/ 1273700 w 4610101"/>
              <a:gd name="connsiteY34045" fmla="*/ 633146 h 6557032"/>
              <a:gd name="connsiteX34046" fmla="*/ 1282811 w 4610101"/>
              <a:gd name="connsiteY34046" fmla="*/ 631324 h 6557032"/>
              <a:gd name="connsiteX34047" fmla="*/ 1286455 w 4610101"/>
              <a:gd name="connsiteY34047" fmla="*/ 633146 h 6557032"/>
              <a:gd name="connsiteX34048" fmla="*/ 1288277 w 4610101"/>
              <a:gd name="connsiteY34048" fmla="*/ 625857 h 6557032"/>
              <a:gd name="connsiteX34049" fmla="*/ 1273700 w 4610101"/>
              <a:gd name="connsiteY34049" fmla="*/ 633146 h 6557032"/>
              <a:gd name="connsiteX34050" fmla="*/ 1277344 w 4610101"/>
              <a:gd name="connsiteY34050" fmla="*/ 624035 h 6557032"/>
              <a:gd name="connsiteX34051" fmla="*/ 1277344 w 4610101"/>
              <a:gd name="connsiteY34051" fmla="*/ 629501 h 6557032"/>
              <a:gd name="connsiteX34052" fmla="*/ 1282811 w 4610101"/>
              <a:gd name="connsiteY34052" fmla="*/ 625857 h 6557032"/>
              <a:gd name="connsiteX34053" fmla="*/ 1280989 w 4610101"/>
              <a:gd name="connsiteY34053" fmla="*/ 622213 h 6557032"/>
              <a:gd name="connsiteX34054" fmla="*/ 1284633 w 4610101"/>
              <a:gd name="connsiteY34054" fmla="*/ 620391 h 6557032"/>
              <a:gd name="connsiteX34055" fmla="*/ 1284633 w 4610101"/>
              <a:gd name="connsiteY34055" fmla="*/ 624035 h 6557032"/>
              <a:gd name="connsiteX34056" fmla="*/ 1290100 w 4610101"/>
              <a:gd name="connsiteY34056" fmla="*/ 620391 h 6557032"/>
              <a:gd name="connsiteX34057" fmla="*/ 1284633 w 4610101"/>
              <a:gd name="connsiteY34057" fmla="*/ 616746 h 6557032"/>
              <a:gd name="connsiteX34058" fmla="*/ 1257300 w 4610101"/>
              <a:gd name="connsiteY34058" fmla="*/ 616746 h 6557032"/>
              <a:gd name="connsiteX34059" fmla="*/ 1257300 w 4610101"/>
              <a:gd name="connsiteY34059" fmla="*/ 622213 h 6557032"/>
              <a:gd name="connsiteX34060" fmla="*/ 1259123 w 4610101"/>
              <a:gd name="connsiteY34060" fmla="*/ 620391 h 6557032"/>
              <a:gd name="connsiteX34061" fmla="*/ 1257300 w 4610101"/>
              <a:gd name="connsiteY34061" fmla="*/ 629501 h 6557032"/>
              <a:gd name="connsiteX34062" fmla="*/ 1260945 w 4610101"/>
              <a:gd name="connsiteY34062" fmla="*/ 627679 h 6557032"/>
              <a:gd name="connsiteX34063" fmla="*/ 1260945 w 4610101"/>
              <a:gd name="connsiteY34063" fmla="*/ 631324 h 6557032"/>
              <a:gd name="connsiteX34064" fmla="*/ 1264589 w 4610101"/>
              <a:gd name="connsiteY34064" fmla="*/ 625857 h 6557032"/>
              <a:gd name="connsiteX34065" fmla="*/ 1257300 w 4610101"/>
              <a:gd name="connsiteY34065" fmla="*/ 616746 h 6557032"/>
              <a:gd name="connsiteX34066" fmla="*/ 1229969 w 4610101"/>
              <a:gd name="connsiteY34066" fmla="*/ 616746 h 6557032"/>
              <a:gd name="connsiteX34067" fmla="*/ 1229969 w 4610101"/>
              <a:gd name="connsiteY34067" fmla="*/ 622213 h 6557032"/>
              <a:gd name="connsiteX34068" fmla="*/ 1225958 w 4610101"/>
              <a:gd name="connsiteY34068" fmla="*/ 626587 h 6557032"/>
              <a:gd name="connsiteX34069" fmla="*/ 1226323 w 4610101"/>
              <a:gd name="connsiteY34069" fmla="*/ 625857 h 6557032"/>
              <a:gd name="connsiteX34070" fmla="*/ 1224501 w 4610101"/>
              <a:gd name="connsiteY34070" fmla="*/ 624035 h 6557032"/>
              <a:gd name="connsiteX34071" fmla="*/ 1215390 w 4610101"/>
              <a:gd name="connsiteY34071" fmla="*/ 631324 h 6557032"/>
              <a:gd name="connsiteX34072" fmla="*/ 1218579 w 4610101"/>
              <a:gd name="connsiteY34072" fmla="*/ 629046 h 6557032"/>
              <a:gd name="connsiteX34073" fmla="*/ 1222585 w 4610101"/>
              <a:gd name="connsiteY34073" fmla="*/ 629354 h 6557032"/>
              <a:gd name="connsiteX34074" fmla="*/ 1217213 w 4610101"/>
              <a:gd name="connsiteY34074" fmla="*/ 633146 h 6557032"/>
              <a:gd name="connsiteX34075" fmla="*/ 1239080 w 4610101"/>
              <a:gd name="connsiteY34075" fmla="*/ 633146 h 6557032"/>
              <a:gd name="connsiteX34076" fmla="*/ 1229969 w 4610101"/>
              <a:gd name="connsiteY34076" fmla="*/ 616746 h 6557032"/>
              <a:gd name="connsiteX34077" fmla="*/ 1175303 w 4610101"/>
              <a:gd name="connsiteY34077" fmla="*/ 616746 h 6557032"/>
              <a:gd name="connsiteX34078" fmla="*/ 1157081 w 4610101"/>
              <a:gd name="connsiteY34078" fmla="*/ 631324 h 6557032"/>
              <a:gd name="connsiteX34079" fmla="*/ 1173481 w 4610101"/>
              <a:gd name="connsiteY34079" fmla="*/ 627679 h 6557032"/>
              <a:gd name="connsiteX34080" fmla="*/ 1171658 w 4610101"/>
              <a:gd name="connsiteY34080" fmla="*/ 624035 h 6557032"/>
              <a:gd name="connsiteX34081" fmla="*/ 1175303 w 4610101"/>
              <a:gd name="connsiteY34081" fmla="*/ 625857 h 6557032"/>
              <a:gd name="connsiteX34082" fmla="*/ 1175303 w 4610101"/>
              <a:gd name="connsiteY34082" fmla="*/ 616746 h 6557032"/>
              <a:gd name="connsiteX34083" fmla="*/ 1116993 w 4610101"/>
              <a:gd name="connsiteY34083" fmla="*/ 616746 h 6557032"/>
              <a:gd name="connsiteX34084" fmla="*/ 1109704 w 4610101"/>
              <a:gd name="connsiteY34084" fmla="*/ 629501 h 6557032"/>
              <a:gd name="connsiteX34085" fmla="*/ 1116993 w 4610101"/>
              <a:gd name="connsiteY34085" fmla="*/ 616746 h 6557032"/>
              <a:gd name="connsiteX34086" fmla="*/ 603140 w 4610101"/>
              <a:gd name="connsiteY34086" fmla="*/ 616746 h 6557032"/>
              <a:gd name="connsiteX34087" fmla="*/ 599496 w 4610101"/>
              <a:gd name="connsiteY34087" fmla="*/ 627679 h 6557032"/>
              <a:gd name="connsiteX34088" fmla="*/ 599496 w 4610101"/>
              <a:gd name="connsiteY34088" fmla="*/ 625857 h 6557032"/>
              <a:gd name="connsiteX34089" fmla="*/ 597673 w 4610101"/>
              <a:gd name="connsiteY34089" fmla="*/ 633146 h 6557032"/>
              <a:gd name="connsiteX34090" fmla="*/ 599496 w 4610101"/>
              <a:gd name="connsiteY34090" fmla="*/ 631324 h 6557032"/>
              <a:gd name="connsiteX34091" fmla="*/ 610429 w 4610101"/>
              <a:gd name="connsiteY34091" fmla="*/ 638612 h 6557032"/>
              <a:gd name="connsiteX34092" fmla="*/ 603140 w 4610101"/>
              <a:gd name="connsiteY34092" fmla="*/ 616746 h 6557032"/>
              <a:gd name="connsiteX34093" fmla="*/ 306126 w 4610101"/>
              <a:gd name="connsiteY34093" fmla="*/ 616746 h 6557032"/>
              <a:gd name="connsiteX34094" fmla="*/ 309771 w 4610101"/>
              <a:gd name="connsiteY34094" fmla="*/ 622213 h 6557032"/>
              <a:gd name="connsiteX34095" fmla="*/ 306126 w 4610101"/>
              <a:gd name="connsiteY34095" fmla="*/ 616746 h 6557032"/>
              <a:gd name="connsiteX34096" fmla="*/ 297015 w 4610101"/>
              <a:gd name="connsiteY34096" fmla="*/ 616746 h 6557032"/>
              <a:gd name="connsiteX34097" fmla="*/ 302481 w 4610101"/>
              <a:gd name="connsiteY34097" fmla="*/ 627679 h 6557032"/>
              <a:gd name="connsiteX34098" fmla="*/ 297015 w 4610101"/>
              <a:gd name="connsiteY34098" fmla="*/ 616746 h 6557032"/>
              <a:gd name="connsiteX34099" fmla="*/ 218675 w 4610101"/>
              <a:gd name="connsiteY34099" fmla="*/ 616680 h 6557032"/>
              <a:gd name="connsiteX34100" fmla="*/ 219572 w 4610101"/>
              <a:gd name="connsiteY34100" fmla="*/ 618540 h 6557032"/>
              <a:gd name="connsiteX34101" fmla="*/ 217448 w 4610101"/>
              <a:gd name="connsiteY34101" fmla="*/ 622810 h 6557032"/>
              <a:gd name="connsiteX34102" fmla="*/ 400879 w 4610101"/>
              <a:gd name="connsiteY34102" fmla="*/ 616201 h 6557032"/>
              <a:gd name="connsiteX34103" fmla="*/ 401335 w 4610101"/>
              <a:gd name="connsiteY34103" fmla="*/ 617430 h 6557032"/>
              <a:gd name="connsiteX34104" fmla="*/ 401052 w 4610101"/>
              <a:gd name="connsiteY34104" fmla="*/ 620391 h 6557032"/>
              <a:gd name="connsiteX34105" fmla="*/ 400879 w 4610101"/>
              <a:gd name="connsiteY34105" fmla="*/ 620391 h 6557032"/>
              <a:gd name="connsiteX34106" fmla="*/ 2480161 w 4610101"/>
              <a:gd name="connsiteY34106" fmla="*/ 615836 h 6557032"/>
              <a:gd name="connsiteX34107" fmla="*/ 2480207 w 4610101"/>
              <a:gd name="connsiteY34107" fmla="*/ 617430 h 6557032"/>
              <a:gd name="connsiteX34108" fmla="*/ 2481801 w 4610101"/>
              <a:gd name="connsiteY34108" fmla="*/ 624035 h 6557032"/>
              <a:gd name="connsiteX34109" fmla="*/ 2479751 w 4610101"/>
              <a:gd name="connsiteY34109" fmla="*/ 616974 h 6557032"/>
              <a:gd name="connsiteX34110" fmla="*/ 3214315 w 4610101"/>
              <a:gd name="connsiteY34110" fmla="*/ 614924 h 6557032"/>
              <a:gd name="connsiteX34111" fmla="*/ 3188805 w 4610101"/>
              <a:gd name="connsiteY34111" fmla="*/ 616746 h 6557032"/>
              <a:gd name="connsiteX34112" fmla="*/ 3181516 w 4610101"/>
              <a:gd name="connsiteY34112" fmla="*/ 627679 h 6557032"/>
              <a:gd name="connsiteX34113" fmla="*/ 3188805 w 4610101"/>
              <a:gd name="connsiteY34113" fmla="*/ 629501 h 6557032"/>
              <a:gd name="connsiteX34114" fmla="*/ 3186982 w 4610101"/>
              <a:gd name="connsiteY34114" fmla="*/ 624035 h 6557032"/>
              <a:gd name="connsiteX34115" fmla="*/ 3194271 w 4610101"/>
              <a:gd name="connsiteY34115" fmla="*/ 629501 h 6557032"/>
              <a:gd name="connsiteX34116" fmla="*/ 3190627 w 4610101"/>
              <a:gd name="connsiteY34116" fmla="*/ 638612 h 6557032"/>
              <a:gd name="connsiteX34117" fmla="*/ 3205204 w 4610101"/>
              <a:gd name="connsiteY34117" fmla="*/ 634968 h 6557032"/>
              <a:gd name="connsiteX34118" fmla="*/ 3203382 w 4610101"/>
              <a:gd name="connsiteY34118" fmla="*/ 624035 h 6557032"/>
              <a:gd name="connsiteX34119" fmla="*/ 3219782 w 4610101"/>
              <a:gd name="connsiteY34119" fmla="*/ 622213 h 6557032"/>
              <a:gd name="connsiteX34120" fmla="*/ 3214315 w 4610101"/>
              <a:gd name="connsiteY34120" fmla="*/ 614924 h 6557032"/>
              <a:gd name="connsiteX34121" fmla="*/ 3028453 w 4610101"/>
              <a:gd name="connsiteY34121" fmla="*/ 614924 h 6557032"/>
              <a:gd name="connsiteX34122" fmla="*/ 3028455 w 4610101"/>
              <a:gd name="connsiteY34122" fmla="*/ 614924 h 6557032"/>
              <a:gd name="connsiteX34123" fmla="*/ 3028453 w 4610101"/>
              <a:gd name="connsiteY34123" fmla="*/ 614926 h 6557032"/>
              <a:gd name="connsiteX34124" fmla="*/ 2880857 w 4610101"/>
              <a:gd name="connsiteY34124" fmla="*/ 614924 h 6557032"/>
              <a:gd name="connsiteX34125" fmla="*/ 2882680 w 4610101"/>
              <a:gd name="connsiteY34125" fmla="*/ 622213 h 6557032"/>
              <a:gd name="connsiteX34126" fmla="*/ 2880857 w 4610101"/>
              <a:gd name="connsiteY34126" fmla="*/ 614924 h 6557032"/>
              <a:gd name="connsiteX34127" fmla="*/ 2376115 w 4610101"/>
              <a:gd name="connsiteY34127" fmla="*/ 614924 h 6557032"/>
              <a:gd name="connsiteX34128" fmla="*/ 2368827 w 4610101"/>
              <a:gd name="connsiteY34128" fmla="*/ 624035 h 6557032"/>
              <a:gd name="connsiteX34129" fmla="*/ 2376115 w 4610101"/>
              <a:gd name="connsiteY34129" fmla="*/ 614924 h 6557032"/>
              <a:gd name="connsiteX34130" fmla="*/ 2137410 w 4610101"/>
              <a:gd name="connsiteY34130" fmla="*/ 614924 h 6557032"/>
              <a:gd name="connsiteX34131" fmla="*/ 2139233 w 4610101"/>
              <a:gd name="connsiteY34131" fmla="*/ 620391 h 6557032"/>
              <a:gd name="connsiteX34132" fmla="*/ 2137376 w 4610101"/>
              <a:gd name="connsiteY34132" fmla="*/ 614963 h 6557032"/>
              <a:gd name="connsiteX34133" fmla="*/ 1122459 w 4610101"/>
              <a:gd name="connsiteY34133" fmla="*/ 614924 h 6557032"/>
              <a:gd name="connsiteX34134" fmla="*/ 1116993 w 4610101"/>
              <a:gd name="connsiteY34134" fmla="*/ 624035 h 6557032"/>
              <a:gd name="connsiteX34135" fmla="*/ 1122231 w 4610101"/>
              <a:gd name="connsiteY34135" fmla="*/ 621302 h 6557032"/>
              <a:gd name="connsiteX34136" fmla="*/ 1126104 w 4610101"/>
              <a:gd name="connsiteY34136" fmla="*/ 618569 h 6557032"/>
              <a:gd name="connsiteX34137" fmla="*/ 1127926 w 4610101"/>
              <a:gd name="connsiteY34137" fmla="*/ 620391 h 6557032"/>
              <a:gd name="connsiteX34138" fmla="*/ 1127926 w 4610101"/>
              <a:gd name="connsiteY34138" fmla="*/ 629501 h 6557032"/>
              <a:gd name="connsiteX34139" fmla="*/ 1131570 w 4610101"/>
              <a:gd name="connsiteY34139" fmla="*/ 625857 h 6557032"/>
              <a:gd name="connsiteX34140" fmla="*/ 1131570 w 4610101"/>
              <a:gd name="connsiteY34140" fmla="*/ 622213 h 6557032"/>
              <a:gd name="connsiteX34141" fmla="*/ 1129748 w 4610101"/>
              <a:gd name="connsiteY34141" fmla="*/ 618568 h 6557032"/>
              <a:gd name="connsiteX34142" fmla="*/ 1127926 w 4610101"/>
              <a:gd name="connsiteY34142" fmla="*/ 620391 h 6557032"/>
              <a:gd name="connsiteX34143" fmla="*/ 1126104 w 4610101"/>
              <a:gd name="connsiteY34143" fmla="*/ 618568 h 6557032"/>
              <a:gd name="connsiteX34144" fmla="*/ 1126104 w 4610101"/>
              <a:gd name="connsiteY34144" fmla="*/ 618569 h 6557032"/>
              <a:gd name="connsiteX34145" fmla="*/ 1124282 w 4610101"/>
              <a:gd name="connsiteY34145" fmla="*/ 616746 h 6557032"/>
              <a:gd name="connsiteX34146" fmla="*/ 1122459 w 4610101"/>
              <a:gd name="connsiteY34146" fmla="*/ 614924 h 6557032"/>
              <a:gd name="connsiteX34147" fmla="*/ 1093305 w 4610101"/>
              <a:gd name="connsiteY34147" fmla="*/ 614924 h 6557032"/>
              <a:gd name="connsiteX34148" fmla="*/ 1091484 w 4610101"/>
              <a:gd name="connsiteY34148" fmla="*/ 618568 h 6557032"/>
              <a:gd name="connsiteX34149" fmla="*/ 1082373 w 4610101"/>
              <a:gd name="connsiteY34149" fmla="*/ 618568 h 6557032"/>
              <a:gd name="connsiteX34150" fmla="*/ 1065972 w 4610101"/>
              <a:gd name="connsiteY34150" fmla="*/ 644079 h 6557032"/>
              <a:gd name="connsiteX34151" fmla="*/ 1068863 w 4610101"/>
              <a:gd name="connsiteY34151" fmla="*/ 646007 h 6557032"/>
              <a:gd name="connsiteX34152" fmla="*/ 1060278 w 4610101"/>
              <a:gd name="connsiteY34152" fmla="*/ 646357 h 6557032"/>
              <a:gd name="connsiteX34153" fmla="*/ 1056541 w 4610101"/>
              <a:gd name="connsiteY34153" fmla="*/ 650939 h 6557032"/>
              <a:gd name="connsiteX34154" fmla="*/ 1062328 w 4610101"/>
              <a:gd name="connsiteY34154" fmla="*/ 642257 h 6557032"/>
              <a:gd name="connsiteX34155" fmla="*/ 1056633 w 4610101"/>
              <a:gd name="connsiteY34155" fmla="*/ 647040 h 6557032"/>
              <a:gd name="connsiteX34156" fmla="*/ 1055195 w 4610101"/>
              <a:gd name="connsiteY34156" fmla="*/ 652587 h 6557032"/>
              <a:gd name="connsiteX34157" fmla="*/ 1053217 w 4610101"/>
              <a:gd name="connsiteY34157" fmla="*/ 655012 h 6557032"/>
              <a:gd name="connsiteX34158" fmla="*/ 1062328 w 4610101"/>
              <a:gd name="connsiteY34158" fmla="*/ 655012 h 6557032"/>
              <a:gd name="connsiteX34159" fmla="*/ 1055040 w 4610101"/>
              <a:gd name="connsiteY34159" fmla="*/ 664123 h 6557032"/>
              <a:gd name="connsiteX34160" fmla="*/ 1078727 w 4610101"/>
              <a:gd name="connsiteY34160" fmla="*/ 651368 h 6557032"/>
              <a:gd name="connsiteX34161" fmla="*/ 1075083 w 4610101"/>
              <a:gd name="connsiteY34161" fmla="*/ 649545 h 6557032"/>
              <a:gd name="connsiteX34162" fmla="*/ 1062328 w 4610101"/>
              <a:gd name="connsiteY34162" fmla="*/ 656834 h 6557032"/>
              <a:gd name="connsiteX34163" fmla="*/ 1070463 w 4610101"/>
              <a:gd name="connsiteY34163" fmla="*/ 647073 h 6557032"/>
              <a:gd name="connsiteX34164" fmla="*/ 1071439 w 4610101"/>
              <a:gd name="connsiteY34164" fmla="*/ 647723 h 6557032"/>
              <a:gd name="connsiteX34165" fmla="*/ 1078727 w 4610101"/>
              <a:gd name="connsiteY34165" fmla="*/ 636790 h 6557032"/>
              <a:gd name="connsiteX34166" fmla="*/ 1073262 w 4610101"/>
              <a:gd name="connsiteY34166" fmla="*/ 645901 h 6557032"/>
              <a:gd name="connsiteX34167" fmla="*/ 1082373 w 4610101"/>
              <a:gd name="connsiteY34167" fmla="*/ 649545 h 6557032"/>
              <a:gd name="connsiteX34168" fmla="*/ 1084194 w 4610101"/>
              <a:gd name="connsiteY34168" fmla="*/ 644079 h 6557032"/>
              <a:gd name="connsiteX34169" fmla="*/ 1087838 w 4610101"/>
              <a:gd name="connsiteY34169" fmla="*/ 642257 h 6557032"/>
              <a:gd name="connsiteX34170" fmla="*/ 1084194 w 4610101"/>
              <a:gd name="connsiteY34170" fmla="*/ 644079 h 6557032"/>
              <a:gd name="connsiteX34171" fmla="*/ 1084194 w 4610101"/>
              <a:gd name="connsiteY34171" fmla="*/ 638612 h 6557032"/>
              <a:gd name="connsiteX34172" fmla="*/ 1098771 w 4610101"/>
              <a:gd name="connsiteY34172" fmla="*/ 633146 h 6557032"/>
              <a:gd name="connsiteX34173" fmla="*/ 1096221 w 4610101"/>
              <a:gd name="connsiteY34173" fmla="*/ 627681 h 6557032"/>
              <a:gd name="connsiteX34174" fmla="*/ 1100593 w 4610101"/>
              <a:gd name="connsiteY34174" fmla="*/ 631324 h 6557032"/>
              <a:gd name="connsiteX34175" fmla="*/ 1096949 w 4610101"/>
              <a:gd name="connsiteY34175" fmla="*/ 620391 h 6557032"/>
              <a:gd name="connsiteX34176" fmla="*/ 1102416 w 4610101"/>
              <a:gd name="connsiteY34176" fmla="*/ 620391 h 6557032"/>
              <a:gd name="connsiteX34177" fmla="*/ 1093305 w 4610101"/>
              <a:gd name="connsiteY34177" fmla="*/ 614924 h 6557032"/>
              <a:gd name="connsiteX34178" fmla="*/ 918376 w 4610101"/>
              <a:gd name="connsiteY34178" fmla="*/ 614924 h 6557032"/>
              <a:gd name="connsiteX34179" fmla="*/ 912909 w 4610101"/>
              <a:gd name="connsiteY34179" fmla="*/ 629501 h 6557032"/>
              <a:gd name="connsiteX34180" fmla="*/ 918376 w 4610101"/>
              <a:gd name="connsiteY34180" fmla="*/ 620391 h 6557032"/>
              <a:gd name="connsiteX34181" fmla="*/ 918376 w 4610101"/>
              <a:gd name="connsiteY34181" fmla="*/ 614924 h 6557032"/>
              <a:gd name="connsiteX34182" fmla="*/ 869177 w 4610101"/>
              <a:gd name="connsiteY34182" fmla="*/ 614924 h 6557032"/>
              <a:gd name="connsiteX34183" fmla="*/ 860066 w 4610101"/>
              <a:gd name="connsiteY34183" fmla="*/ 622213 h 6557032"/>
              <a:gd name="connsiteX34184" fmla="*/ 861889 w 4610101"/>
              <a:gd name="connsiteY34184" fmla="*/ 636790 h 6557032"/>
              <a:gd name="connsiteX34185" fmla="*/ 869177 w 4610101"/>
              <a:gd name="connsiteY34185" fmla="*/ 614924 h 6557032"/>
              <a:gd name="connsiteX34186" fmla="*/ 634117 w 4610101"/>
              <a:gd name="connsiteY34186" fmla="*/ 614924 h 6557032"/>
              <a:gd name="connsiteX34187" fmla="*/ 639583 w 4610101"/>
              <a:gd name="connsiteY34187" fmla="*/ 620391 h 6557032"/>
              <a:gd name="connsiteX34188" fmla="*/ 634117 w 4610101"/>
              <a:gd name="connsiteY34188" fmla="*/ 614924 h 6557032"/>
              <a:gd name="connsiteX34189" fmla="*/ 462832 w 4610101"/>
              <a:gd name="connsiteY34189" fmla="*/ 614924 h 6557032"/>
              <a:gd name="connsiteX34190" fmla="*/ 460413 w 4610101"/>
              <a:gd name="connsiteY34190" fmla="*/ 617563 h 6557032"/>
              <a:gd name="connsiteX34191" fmla="*/ 459188 w 4610101"/>
              <a:gd name="connsiteY34191" fmla="*/ 616746 h 6557032"/>
              <a:gd name="connsiteX34192" fmla="*/ 464655 w 4610101"/>
              <a:gd name="connsiteY34192" fmla="*/ 622213 h 6557032"/>
              <a:gd name="connsiteX34193" fmla="*/ 464536 w 4610101"/>
              <a:gd name="connsiteY34193" fmla="*/ 620316 h 6557032"/>
              <a:gd name="connsiteX34194" fmla="*/ 464655 w 4610101"/>
              <a:gd name="connsiteY34194" fmla="*/ 620391 h 6557032"/>
              <a:gd name="connsiteX34195" fmla="*/ 464536 w 4610101"/>
              <a:gd name="connsiteY34195" fmla="*/ 620312 h 6557032"/>
              <a:gd name="connsiteX34196" fmla="*/ 464427 w 4610101"/>
              <a:gd name="connsiteY34196" fmla="*/ 618569 h 6557032"/>
              <a:gd name="connsiteX34197" fmla="*/ 462832 w 4610101"/>
              <a:gd name="connsiteY34197" fmla="*/ 614924 h 6557032"/>
              <a:gd name="connsiteX34198" fmla="*/ 313414 w 4610101"/>
              <a:gd name="connsiteY34198" fmla="*/ 614924 h 6557032"/>
              <a:gd name="connsiteX34199" fmla="*/ 335280 w 4610101"/>
              <a:gd name="connsiteY34199" fmla="*/ 638612 h 6557032"/>
              <a:gd name="connsiteX34200" fmla="*/ 318882 w 4610101"/>
              <a:gd name="connsiteY34200" fmla="*/ 618568 h 6557032"/>
              <a:gd name="connsiteX34201" fmla="*/ 322525 w 4610101"/>
              <a:gd name="connsiteY34201" fmla="*/ 629501 h 6557032"/>
              <a:gd name="connsiteX34202" fmla="*/ 313414 w 4610101"/>
              <a:gd name="connsiteY34202" fmla="*/ 614924 h 6557032"/>
              <a:gd name="connsiteX34203" fmla="*/ 72887 w 4610101"/>
              <a:gd name="connsiteY34203" fmla="*/ 614924 h 6557032"/>
              <a:gd name="connsiteX34204" fmla="*/ 74707 w 4610101"/>
              <a:gd name="connsiteY34204" fmla="*/ 620385 h 6557032"/>
              <a:gd name="connsiteX34205" fmla="*/ 74709 w 4610101"/>
              <a:gd name="connsiteY34205" fmla="*/ 620391 h 6557032"/>
              <a:gd name="connsiteX34206" fmla="*/ 72887 w 4610101"/>
              <a:gd name="connsiteY34206" fmla="*/ 614924 h 6557032"/>
              <a:gd name="connsiteX34207" fmla="*/ 903343 w 4610101"/>
              <a:gd name="connsiteY34207" fmla="*/ 614697 h 6557032"/>
              <a:gd name="connsiteX34208" fmla="*/ 900154 w 4610101"/>
              <a:gd name="connsiteY34208" fmla="*/ 616746 h 6557032"/>
              <a:gd name="connsiteX34209" fmla="*/ 891043 w 4610101"/>
              <a:gd name="connsiteY34209" fmla="*/ 625857 h 6557032"/>
              <a:gd name="connsiteX34210" fmla="*/ 905621 w 4610101"/>
              <a:gd name="connsiteY34210" fmla="*/ 624035 h 6557032"/>
              <a:gd name="connsiteX34211" fmla="*/ 903799 w 4610101"/>
              <a:gd name="connsiteY34211" fmla="*/ 620391 h 6557032"/>
              <a:gd name="connsiteX34212" fmla="*/ 901976 w 4610101"/>
              <a:gd name="connsiteY34212" fmla="*/ 622213 h 6557032"/>
              <a:gd name="connsiteX34213" fmla="*/ 900154 w 4610101"/>
              <a:gd name="connsiteY34213" fmla="*/ 616746 h 6557032"/>
              <a:gd name="connsiteX34214" fmla="*/ 903799 w 4610101"/>
              <a:gd name="connsiteY34214" fmla="*/ 616746 h 6557032"/>
              <a:gd name="connsiteX34215" fmla="*/ 903343 w 4610101"/>
              <a:gd name="connsiteY34215" fmla="*/ 614697 h 6557032"/>
              <a:gd name="connsiteX34216" fmla="*/ 177264 w 4610101"/>
              <a:gd name="connsiteY34216" fmla="*/ 613911 h 6557032"/>
              <a:gd name="connsiteX34217" fmla="*/ 178288 w 4610101"/>
              <a:gd name="connsiteY34217" fmla="*/ 615178 h 6557032"/>
              <a:gd name="connsiteX34218" fmla="*/ 178573 w 4610101"/>
              <a:gd name="connsiteY34218" fmla="*/ 616746 h 6557032"/>
              <a:gd name="connsiteX34219" fmla="*/ 2868102 w 4610101"/>
              <a:gd name="connsiteY34219" fmla="*/ 613103 h 6557032"/>
              <a:gd name="connsiteX34220" fmla="*/ 2864458 w 4610101"/>
              <a:gd name="connsiteY34220" fmla="*/ 620391 h 6557032"/>
              <a:gd name="connsiteX34221" fmla="*/ 2868102 w 4610101"/>
              <a:gd name="connsiteY34221" fmla="*/ 613103 h 6557032"/>
              <a:gd name="connsiteX34222" fmla="*/ 2315983 w 4610101"/>
              <a:gd name="connsiteY34222" fmla="*/ 613103 h 6557032"/>
              <a:gd name="connsiteX34223" fmla="*/ 2317806 w 4610101"/>
              <a:gd name="connsiteY34223" fmla="*/ 620391 h 6557032"/>
              <a:gd name="connsiteX34224" fmla="*/ 2315983 w 4610101"/>
              <a:gd name="connsiteY34224" fmla="*/ 613103 h 6557032"/>
              <a:gd name="connsiteX34225" fmla="*/ 1146148 w 4610101"/>
              <a:gd name="connsiteY34225" fmla="*/ 613103 h 6557032"/>
              <a:gd name="connsiteX34226" fmla="*/ 1137037 w 4610101"/>
              <a:gd name="connsiteY34226" fmla="*/ 629501 h 6557032"/>
              <a:gd name="connsiteX34227" fmla="*/ 1146148 w 4610101"/>
              <a:gd name="connsiteY34227" fmla="*/ 613103 h 6557032"/>
              <a:gd name="connsiteX34228" fmla="*/ 1073262 w 4610101"/>
              <a:gd name="connsiteY34228" fmla="*/ 613103 h 6557032"/>
              <a:gd name="connsiteX34229" fmla="*/ 1075083 w 4610101"/>
              <a:gd name="connsiteY34229" fmla="*/ 620391 h 6557032"/>
              <a:gd name="connsiteX34230" fmla="*/ 1078727 w 4610101"/>
              <a:gd name="connsiteY34230" fmla="*/ 616746 h 6557032"/>
              <a:gd name="connsiteX34231" fmla="*/ 1073262 w 4610101"/>
              <a:gd name="connsiteY34231" fmla="*/ 613103 h 6557032"/>
              <a:gd name="connsiteX34232" fmla="*/ 1053217 w 4610101"/>
              <a:gd name="connsiteY34232" fmla="*/ 613103 h 6557032"/>
              <a:gd name="connsiteX34233" fmla="*/ 1058757 w 4610101"/>
              <a:gd name="connsiteY34233" fmla="*/ 617257 h 6557032"/>
              <a:gd name="connsiteX34234" fmla="*/ 1056477 w 4610101"/>
              <a:gd name="connsiteY34234" fmla="*/ 620295 h 6557032"/>
              <a:gd name="connsiteX34235" fmla="*/ 1055040 w 4610101"/>
              <a:gd name="connsiteY34235" fmla="*/ 620391 h 6557032"/>
              <a:gd name="connsiteX34236" fmla="*/ 1053824 w 4610101"/>
              <a:gd name="connsiteY34236" fmla="*/ 620999 h 6557032"/>
              <a:gd name="connsiteX34237" fmla="*/ 1053217 w 4610101"/>
              <a:gd name="connsiteY34237" fmla="*/ 620391 h 6557032"/>
              <a:gd name="connsiteX34238" fmla="*/ 1052611 w 4610101"/>
              <a:gd name="connsiteY34238" fmla="*/ 621606 h 6557032"/>
              <a:gd name="connsiteX34239" fmla="*/ 1051395 w 4610101"/>
              <a:gd name="connsiteY34239" fmla="*/ 622213 h 6557032"/>
              <a:gd name="connsiteX34240" fmla="*/ 1053217 w 4610101"/>
              <a:gd name="connsiteY34240" fmla="*/ 613103 h 6557032"/>
              <a:gd name="connsiteX34241" fmla="*/ 677849 w 4610101"/>
              <a:gd name="connsiteY34241" fmla="*/ 613103 h 6557032"/>
              <a:gd name="connsiteX34242" fmla="*/ 674205 w 4610101"/>
              <a:gd name="connsiteY34242" fmla="*/ 616746 h 6557032"/>
              <a:gd name="connsiteX34243" fmla="*/ 681493 w 4610101"/>
              <a:gd name="connsiteY34243" fmla="*/ 618568 h 6557032"/>
              <a:gd name="connsiteX34244" fmla="*/ 677849 w 4610101"/>
              <a:gd name="connsiteY34244" fmla="*/ 613103 h 6557032"/>
              <a:gd name="connsiteX34245" fmla="*/ 623185 w 4610101"/>
              <a:gd name="connsiteY34245" fmla="*/ 613103 h 6557032"/>
              <a:gd name="connsiteX34246" fmla="*/ 619539 w 4610101"/>
              <a:gd name="connsiteY34246" fmla="*/ 620391 h 6557032"/>
              <a:gd name="connsiteX34247" fmla="*/ 623185 w 4610101"/>
              <a:gd name="connsiteY34247" fmla="*/ 613103 h 6557032"/>
              <a:gd name="connsiteX34248" fmla="*/ 116619 w 4610101"/>
              <a:gd name="connsiteY34248" fmla="*/ 613103 h 6557032"/>
              <a:gd name="connsiteX34249" fmla="*/ 125730 w 4610101"/>
              <a:gd name="connsiteY34249" fmla="*/ 629501 h 6557032"/>
              <a:gd name="connsiteX34250" fmla="*/ 116619 w 4610101"/>
              <a:gd name="connsiteY34250" fmla="*/ 613103 h 6557032"/>
              <a:gd name="connsiteX34251" fmla="*/ 3306449 w 4610101"/>
              <a:gd name="connsiteY34251" fmla="*/ 613074 h 6557032"/>
              <a:gd name="connsiteX34252" fmla="*/ 3272625 w 4610101"/>
              <a:gd name="connsiteY34252" fmla="*/ 627679 h 6557032"/>
              <a:gd name="connsiteX34253" fmla="*/ 3274447 w 4610101"/>
              <a:gd name="connsiteY34253" fmla="*/ 629502 h 6557032"/>
              <a:gd name="connsiteX34254" fmla="*/ 3272625 w 4610101"/>
              <a:gd name="connsiteY34254" fmla="*/ 644079 h 6557032"/>
              <a:gd name="connsiteX34255" fmla="*/ 3279913 w 4610101"/>
              <a:gd name="connsiteY34255" fmla="*/ 644079 h 6557032"/>
              <a:gd name="connsiteX34256" fmla="*/ 3292669 w 4610101"/>
              <a:gd name="connsiteY34256" fmla="*/ 633146 h 6557032"/>
              <a:gd name="connsiteX34257" fmla="*/ 3296313 w 4610101"/>
              <a:gd name="connsiteY34257" fmla="*/ 638612 h 6557032"/>
              <a:gd name="connsiteX34258" fmla="*/ 3294491 w 4610101"/>
              <a:gd name="connsiteY34258" fmla="*/ 642257 h 6557032"/>
              <a:gd name="connsiteX34259" fmla="*/ 3289024 w 4610101"/>
              <a:gd name="connsiteY34259" fmla="*/ 640435 h 6557032"/>
              <a:gd name="connsiteX34260" fmla="*/ 3289024 w 4610101"/>
              <a:gd name="connsiteY34260" fmla="*/ 647723 h 6557032"/>
              <a:gd name="connsiteX34261" fmla="*/ 3296313 w 4610101"/>
              <a:gd name="connsiteY34261" fmla="*/ 647723 h 6557032"/>
              <a:gd name="connsiteX34262" fmla="*/ 3298135 w 4610101"/>
              <a:gd name="connsiteY34262" fmla="*/ 640435 h 6557032"/>
              <a:gd name="connsiteX34263" fmla="*/ 3301780 w 4610101"/>
              <a:gd name="connsiteY34263" fmla="*/ 640435 h 6557032"/>
              <a:gd name="connsiteX34264" fmla="*/ 3299957 w 4610101"/>
              <a:gd name="connsiteY34264" fmla="*/ 634968 h 6557032"/>
              <a:gd name="connsiteX34265" fmla="*/ 3330934 w 4610101"/>
              <a:gd name="connsiteY34265" fmla="*/ 627679 h 6557032"/>
              <a:gd name="connsiteX34266" fmla="*/ 3325468 w 4610101"/>
              <a:gd name="connsiteY34266" fmla="*/ 618568 h 6557032"/>
              <a:gd name="connsiteX34267" fmla="*/ 3318179 w 4610101"/>
              <a:gd name="connsiteY34267" fmla="*/ 620391 h 6557032"/>
              <a:gd name="connsiteX34268" fmla="*/ 3306449 w 4610101"/>
              <a:gd name="connsiteY34268" fmla="*/ 613074 h 6557032"/>
              <a:gd name="connsiteX34269" fmla="*/ 2997477 w 4610101"/>
              <a:gd name="connsiteY34269" fmla="*/ 612360 h 6557032"/>
              <a:gd name="connsiteX34270" fmla="*/ 2997477 w 4610101"/>
              <a:gd name="connsiteY34270" fmla="*/ 613103 h 6557032"/>
              <a:gd name="connsiteX34271" fmla="*/ 2996195 w 4610101"/>
              <a:gd name="connsiteY34271" fmla="*/ 612740 h 6557032"/>
              <a:gd name="connsiteX34272" fmla="*/ 330624 w 4610101"/>
              <a:gd name="connsiteY34272" fmla="*/ 611281 h 6557032"/>
              <a:gd name="connsiteX34273" fmla="*/ 331636 w 4610101"/>
              <a:gd name="connsiteY34273" fmla="*/ 613103 h 6557032"/>
              <a:gd name="connsiteX34274" fmla="*/ 331275 w 4610101"/>
              <a:gd name="connsiteY34274" fmla="*/ 612793 h 6557032"/>
              <a:gd name="connsiteX34275" fmla="*/ 3457803 w 4610101"/>
              <a:gd name="connsiteY34275" fmla="*/ 611280 h 6557032"/>
              <a:gd name="connsiteX34276" fmla="*/ 3454842 w 4610101"/>
              <a:gd name="connsiteY34276" fmla="*/ 616746 h 6557032"/>
              <a:gd name="connsiteX34277" fmla="*/ 3462131 w 4610101"/>
              <a:gd name="connsiteY34277" fmla="*/ 611280 h 6557032"/>
              <a:gd name="connsiteX34278" fmla="*/ 3457803 w 4610101"/>
              <a:gd name="connsiteY34278" fmla="*/ 611280 h 6557032"/>
              <a:gd name="connsiteX34279" fmla="*/ 3361911 w 4610101"/>
              <a:gd name="connsiteY34279" fmla="*/ 611280 h 6557032"/>
              <a:gd name="connsiteX34280" fmla="*/ 3358267 w 4610101"/>
              <a:gd name="connsiteY34280" fmla="*/ 622213 h 6557032"/>
              <a:gd name="connsiteX34281" fmla="*/ 3361911 w 4610101"/>
              <a:gd name="connsiteY34281" fmla="*/ 611280 h 6557032"/>
              <a:gd name="connsiteX34282" fmla="*/ 2933700 w 4610101"/>
              <a:gd name="connsiteY34282" fmla="*/ 611280 h 6557032"/>
              <a:gd name="connsiteX34283" fmla="*/ 2946456 w 4610101"/>
              <a:gd name="connsiteY34283" fmla="*/ 629501 h 6557032"/>
              <a:gd name="connsiteX34284" fmla="*/ 2953744 w 4610101"/>
              <a:gd name="connsiteY34284" fmla="*/ 620391 h 6557032"/>
              <a:gd name="connsiteX34285" fmla="*/ 2933700 w 4610101"/>
              <a:gd name="connsiteY34285" fmla="*/ 611280 h 6557032"/>
              <a:gd name="connsiteX34286" fmla="*/ 2800682 w 4610101"/>
              <a:gd name="connsiteY34286" fmla="*/ 611280 h 6557032"/>
              <a:gd name="connsiteX34287" fmla="*/ 2817081 w 4610101"/>
              <a:gd name="connsiteY34287" fmla="*/ 636790 h 6557032"/>
              <a:gd name="connsiteX34288" fmla="*/ 2800682 w 4610101"/>
              <a:gd name="connsiteY34288" fmla="*/ 638612 h 6557032"/>
              <a:gd name="connsiteX34289" fmla="*/ 2811615 w 4610101"/>
              <a:gd name="connsiteY34289" fmla="*/ 651368 h 6557032"/>
              <a:gd name="connsiteX34290" fmla="*/ 2817081 w 4610101"/>
              <a:gd name="connsiteY34290" fmla="*/ 640435 h 6557032"/>
              <a:gd name="connsiteX34291" fmla="*/ 2822548 w 4610101"/>
              <a:gd name="connsiteY34291" fmla="*/ 647723 h 6557032"/>
              <a:gd name="connsiteX34292" fmla="*/ 2826192 w 4610101"/>
              <a:gd name="connsiteY34292" fmla="*/ 634968 h 6557032"/>
              <a:gd name="connsiteX34293" fmla="*/ 2826192 w 4610101"/>
              <a:gd name="connsiteY34293" fmla="*/ 638612 h 6557032"/>
              <a:gd name="connsiteX34294" fmla="*/ 2831659 w 4610101"/>
              <a:gd name="connsiteY34294" fmla="*/ 634968 h 6557032"/>
              <a:gd name="connsiteX34295" fmla="*/ 2848058 w 4610101"/>
              <a:gd name="connsiteY34295" fmla="*/ 645901 h 6557032"/>
              <a:gd name="connsiteX34296" fmla="*/ 2838947 w 4610101"/>
              <a:gd name="connsiteY34296" fmla="*/ 629501 h 6557032"/>
              <a:gd name="connsiteX34297" fmla="*/ 2835303 w 4610101"/>
              <a:gd name="connsiteY34297" fmla="*/ 627679 h 6557032"/>
              <a:gd name="connsiteX34298" fmla="*/ 2833481 w 4610101"/>
              <a:gd name="connsiteY34298" fmla="*/ 614924 h 6557032"/>
              <a:gd name="connsiteX34299" fmla="*/ 2833481 w 4610101"/>
              <a:gd name="connsiteY34299" fmla="*/ 620391 h 6557032"/>
              <a:gd name="connsiteX34300" fmla="*/ 2815259 w 4610101"/>
              <a:gd name="connsiteY34300" fmla="*/ 625857 h 6557032"/>
              <a:gd name="connsiteX34301" fmla="*/ 2807971 w 4610101"/>
              <a:gd name="connsiteY34301" fmla="*/ 614924 h 6557032"/>
              <a:gd name="connsiteX34302" fmla="*/ 2807971 w 4610101"/>
              <a:gd name="connsiteY34302" fmla="*/ 622213 h 6557032"/>
              <a:gd name="connsiteX34303" fmla="*/ 2804326 w 4610101"/>
              <a:gd name="connsiteY34303" fmla="*/ 616746 h 6557032"/>
              <a:gd name="connsiteX34304" fmla="*/ 2802504 w 4610101"/>
              <a:gd name="connsiteY34304" fmla="*/ 618568 h 6557032"/>
              <a:gd name="connsiteX34305" fmla="*/ 2800682 w 4610101"/>
              <a:gd name="connsiteY34305" fmla="*/ 611280 h 6557032"/>
              <a:gd name="connsiteX34306" fmla="*/ 1304677 w 4610101"/>
              <a:gd name="connsiteY34306" fmla="*/ 611280 h 6557032"/>
              <a:gd name="connsiteX34307" fmla="*/ 1299210 w 4610101"/>
              <a:gd name="connsiteY34307" fmla="*/ 624035 h 6557032"/>
              <a:gd name="connsiteX34308" fmla="*/ 1304677 w 4610101"/>
              <a:gd name="connsiteY34308" fmla="*/ 611280 h 6557032"/>
              <a:gd name="connsiteX34309" fmla="*/ 1122459 w 4610101"/>
              <a:gd name="connsiteY34309" fmla="*/ 611280 h 6557032"/>
              <a:gd name="connsiteX34310" fmla="*/ 1118815 w 4610101"/>
              <a:gd name="connsiteY34310" fmla="*/ 614924 h 6557032"/>
              <a:gd name="connsiteX34311" fmla="*/ 1122459 w 4610101"/>
              <a:gd name="connsiteY34311" fmla="*/ 611280 h 6557032"/>
              <a:gd name="connsiteX34312" fmla="*/ 1086016 w 4610101"/>
              <a:gd name="connsiteY34312" fmla="*/ 611280 h 6557032"/>
              <a:gd name="connsiteX34313" fmla="*/ 1082373 w 4610101"/>
              <a:gd name="connsiteY34313" fmla="*/ 614924 h 6557032"/>
              <a:gd name="connsiteX34314" fmla="*/ 1087838 w 4610101"/>
              <a:gd name="connsiteY34314" fmla="*/ 613103 h 6557032"/>
              <a:gd name="connsiteX34315" fmla="*/ 1084194 w 4610101"/>
              <a:gd name="connsiteY34315" fmla="*/ 613103 h 6557032"/>
              <a:gd name="connsiteX34316" fmla="*/ 1086016 w 4610101"/>
              <a:gd name="connsiteY34316" fmla="*/ 611280 h 6557032"/>
              <a:gd name="connsiteX34317" fmla="*/ 663272 w 4610101"/>
              <a:gd name="connsiteY34317" fmla="*/ 611280 h 6557032"/>
              <a:gd name="connsiteX34318" fmla="*/ 666916 w 4610101"/>
              <a:gd name="connsiteY34318" fmla="*/ 614924 h 6557032"/>
              <a:gd name="connsiteX34319" fmla="*/ 663272 w 4610101"/>
              <a:gd name="connsiteY34319" fmla="*/ 611280 h 6557032"/>
              <a:gd name="connsiteX34320" fmla="*/ 657805 w 4610101"/>
              <a:gd name="connsiteY34320" fmla="*/ 611280 h 6557032"/>
              <a:gd name="connsiteX34321" fmla="*/ 654161 w 4610101"/>
              <a:gd name="connsiteY34321" fmla="*/ 613103 h 6557032"/>
              <a:gd name="connsiteX34322" fmla="*/ 657385 w 4610101"/>
              <a:gd name="connsiteY34322" fmla="*/ 616326 h 6557032"/>
              <a:gd name="connsiteX34323" fmla="*/ 657350 w 4610101"/>
              <a:gd name="connsiteY34323" fmla="*/ 616746 h 6557032"/>
              <a:gd name="connsiteX34324" fmla="*/ 654161 w 4610101"/>
              <a:gd name="connsiteY34324" fmla="*/ 616746 h 6557032"/>
              <a:gd name="connsiteX34325" fmla="*/ 650516 w 4610101"/>
              <a:gd name="connsiteY34325" fmla="*/ 616746 h 6557032"/>
              <a:gd name="connsiteX34326" fmla="*/ 655983 w 4610101"/>
              <a:gd name="connsiteY34326" fmla="*/ 633146 h 6557032"/>
              <a:gd name="connsiteX34327" fmla="*/ 657350 w 4610101"/>
              <a:gd name="connsiteY34327" fmla="*/ 616746 h 6557032"/>
              <a:gd name="connsiteX34328" fmla="*/ 657805 w 4610101"/>
              <a:gd name="connsiteY34328" fmla="*/ 616746 h 6557032"/>
              <a:gd name="connsiteX34329" fmla="*/ 657385 w 4610101"/>
              <a:gd name="connsiteY34329" fmla="*/ 616326 h 6557032"/>
              <a:gd name="connsiteX34330" fmla="*/ 597673 w 4610101"/>
              <a:gd name="connsiteY34330" fmla="*/ 611280 h 6557032"/>
              <a:gd name="connsiteX34331" fmla="*/ 597673 w 4610101"/>
              <a:gd name="connsiteY34331" fmla="*/ 620391 h 6557032"/>
              <a:gd name="connsiteX34332" fmla="*/ 597673 w 4610101"/>
              <a:gd name="connsiteY34332" fmla="*/ 611280 h 6557032"/>
              <a:gd name="connsiteX34333" fmla="*/ 524786 w 4610101"/>
              <a:gd name="connsiteY34333" fmla="*/ 611280 h 6557032"/>
              <a:gd name="connsiteX34334" fmla="*/ 521142 w 4610101"/>
              <a:gd name="connsiteY34334" fmla="*/ 616746 h 6557032"/>
              <a:gd name="connsiteX34335" fmla="*/ 526609 w 4610101"/>
              <a:gd name="connsiteY34335" fmla="*/ 613103 h 6557032"/>
              <a:gd name="connsiteX34336" fmla="*/ 524786 w 4610101"/>
              <a:gd name="connsiteY34336" fmla="*/ 611280 h 6557032"/>
              <a:gd name="connsiteX34337" fmla="*/ 479232 w 4610101"/>
              <a:gd name="connsiteY34337" fmla="*/ 611280 h 6557032"/>
              <a:gd name="connsiteX34338" fmla="*/ 482876 w 4610101"/>
              <a:gd name="connsiteY34338" fmla="*/ 620391 h 6557032"/>
              <a:gd name="connsiteX34339" fmla="*/ 479232 w 4610101"/>
              <a:gd name="connsiteY34339" fmla="*/ 611280 h 6557032"/>
              <a:gd name="connsiteX34340" fmla="*/ 400879 w 4610101"/>
              <a:gd name="connsiteY34340" fmla="*/ 611280 h 6557032"/>
              <a:gd name="connsiteX34341" fmla="*/ 400879 w 4610101"/>
              <a:gd name="connsiteY34341" fmla="*/ 616201 h 6557032"/>
              <a:gd name="connsiteX34342" fmla="*/ 399707 w 4610101"/>
              <a:gd name="connsiteY34342" fmla="*/ 613038 h 6557032"/>
              <a:gd name="connsiteX34343" fmla="*/ 2458175 w 4610101"/>
              <a:gd name="connsiteY34343" fmla="*/ 610908 h 6557032"/>
              <a:gd name="connsiteX34344" fmla="*/ 2458113 w 4610101"/>
              <a:gd name="connsiteY34344" fmla="*/ 611280 h 6557032"/>
              <a:gd name="connsiteX34345" fmla="*/ 2450841 w 4610101"/>
              <a:gd name="connsiteY34345" fmla="*/ 616516 h 6557032"/>
              <a:gd name="connsiteX34346" fmla="*/ 2453330 w 4610101"/>
              <a:gd name="connsiteY34346" fmla="*/ 613103 h 6557032"/>
              <a:gd name="connsiteX34347" fmla="*/ 279037 w 4610101"/>
              <a:gd name="connsiteY34347" fmla="*/ 610047 h 6557032"/>
              <a:gd name="connsiteX34348" fmla="*/ 286082 w 4610101"/>
              <a:gd name="connsiteY34348" fmla="*/ 618568 h 6557032"/>
              <a:gd name="connsiteX34349" fmla="*/ 282171 w 4610101"/>
              <a:gd name="connsiteY34349" fmla="*/ 617591 h 6557032"/>
              <a:gd name="connsiteX34350" fmla="*/ 880111 w 4610101"/>
              <a:gd name="connsiteY34350" fmla="*/ 609459 h 6557032"/>
              <a:gd name="connsiteX34351" fmla="*/ 869177 w 4610101"/>
              <a:gd name="connsiteY34351" fmla="*/ 640435 h 6557032"/>
              <a:gd name="connsiteX34352" fmla="*/ 883755 w 4610101"/>
              <a:gd name="connsiteY34352" fmla="*/ 624035 h 6557032"/>
              <a:gd name="connsiteX34353" fmla="*/ 880111 w 4610101"/>
              <a:gd name="connsiteY34353" fmla="*/ 609459 h 6557032"/>
              <a:gd name="connsiteX34354" fmla="*/ 841845 w 4610101"/>
              <a:gd name="connsiteY34354" fmla="*/ 609459 h 6557032"/>
              <a:gd name="connsiteX34355" fmla="*/ 836378 w 4610101"/>
              <a:gd name="connsiteY34355" fmla="*/ 616746 h 6557032"/>
              <a:gd name="connsiteX34356" fmla="*/ 838200 w 4610101"/>
              <a:gd name="connsiteY34356" fmla="*/ 616746 h 6557032"/>
              <a:gd name="connsiteX34357" fmla="*/ 836378 w 4610101"/>
              <a:gd name="connsiteY34357" fmla="*/ 625857 h 6557032"/>
              <a:gd name="connsiteX34358" fmla="*/ 838200 w 4610101"/>
              <a:gd name="connsiteY34358" fmla="*/ 616746 h 6557032"/>
              <a:gd name="connsiteX34359" fmla="*/ 841845 w 4610101"/>
              <a:gd name="connsiteY34359" fmla="*/ 614924 h 6557032"/>
              <a:gd name="connsiteX34360" fmla="*/ 841845 w 4610101"/>
              <a:gd name="connsiteY34360" fmla="*/ 609459 h 6557032"/>
              <a:gd name="connsiteX34361" fmla="*/ 488343 w 4610101"/>
              <a:gd name="connsiteY34361" fmla="*/ 609459 h 6557032"/>
              <a:gd name="connsiteX34362" fmla="*/ 490165 w 4610101"/>
              <a:gd name="connsiteY34362" fmla="*/ 620391 h 6557032"/>
              <a:gd name="connsiteX34363" fmla="*/ 495632 w 4610101"/>
              <a:gd name="connsiteY34363" fmla="*/ 614924 h 6557032"/>
              <a:gd name="connsiteX34364" fmla="*/ 488343 w 4610101"/>
              <a:gd name="connsiteY34364" fmla="*/ 609459 h 6557032"/>
              <a:gd name="connsiteX34365" fmla="*/ 379012 w 4610101"/>
              <a:gd name="connsiteY34365" fmla="*/ 609459 h 6557032"/>
              <a:gd name="connsiteX34366" fmla="*/ 379012 w 4610101"/>
              <a:gd name="connsiteY34366" fmla="*/ 622213 h 6557032"/>
              <a:gd name="connsiteX34367" fmla="*/ 379012 w 4610101"/>
              <a:gd name="connsiteY34367" fmla="*/ 609459 h 6557032"/>
              <a:gd name="connsiteX34368" fmla="*/ 278793 w 4610101"/>
              <a:gd name="connsiteY34368" fmla="*/ 609459 h 6557032"/>
              <a:gd name="connsiteX34369" fmla="*/ 279037 w 4610101"/>
              <a:gd name="connsiteY34369" fmla="*/ 610047 h 6557032"/>
              <a:gd name="connsiteX34370" fmla="*/ 278898 w 4610101"/>
              <a:gd name="connsiteY34370" fmla="*/ 609878 h 6557032"/>
              <a:gd name="connsiteX34371" fmla="*/ 1234345 w 4610101"/>
              <a:gd name="connsiteY34371" fmla="*/ 609417 h 6557032"/>
              <a:gd name="connsiteX34372" fmla="*/ 1234028 w 4610101"/>
              <a:gd name="connsiteY34372" fmla="*/ 610221 h 6557032"/>
              <a:gd name="connsiteX34373" fmla="*/ 1233612 w 4610101"/>
              <a:gd name="connsiteY34373" fmla="*/ 609459 h 6557032"/>
              <a:gd name="connsiteX34374" fmla="*/ 1243316 w 4610101"/>
              <a:gd name="connsiteY34374" fmla="*/ 608166 h 6557032"/>
              <a:gd name="connsiteX34375" fmla="*/ 1240901 w 4610101"/>
              <a:gd name="connsiteY34375" fmla="*/ 611280 h 6557032"/>
              <a:gd name="connsiteX34376" fmla="*/ 1240685 w 4610101"/>
              <a:gd name="connsiteY34376" fmla="*/ 609054 h 6557032"/>
              <a:gd name="connsiteX34377" fmla="*/ 1241584 w 4610101"/>
              <a:gd name="connsiteY34377" fmla="*/ 609003 h 6557032"/>
              <a:gd name="connsiteX34378" fmla="*/ 78055 w 4610101"/>
              <a:gd name="connsiteY34378" fmla="*/ 607686 h 6557032"/>
              <a:gd name="connsiteX34379" fmla="*/ 92569 w 4610101"/>
              <a:gd name="connsiteY34379" fmla="*/ 630493 h 6557032"/>
              <a:gd name="connsiteX34380" fmla="*/ 89742 w 4610101"/>
              <a:gd name="connsiteY34380" fmla="*/ 626541 h 6557032"/>
              <a:gd name="connsiteX34381" fmla="*/ 3482175 w 4610101"/>
              <a:gd name="connsiteY34381" fmla="*/ 607635 h 6557032"/>
              <a:gd name="connsiteX34382" fmla="*/ 3493108 w 4610101"/>
              <a:gd name="connsiteY34382" fmla="*/ 616746 h 6557032"/>
              <a:gd name="connsiteX34383" fmla="*/ 3494930 w 4610101"/>
              <a:gd name="connsiteY34383" fmla="*/ 613103 h 6557032"/>
              <a:gd name="connsiteX34384" fmla="*/ 3493108 w 4610101"/>
              <a:gd name="connsiteY34384" fmla="*/ 613103 h 6557032"/>
              <a:gd name="connsiteX34385" fmla="*/ 3482175 w 4610101"/>
              <a:gd name="connsiteY34385" fmla="*/ 607635 h 6557032"/>
              <a:gd name="connsiteX34386" fmla="*/ 2540111 w 4610101"/>
              <a:gd name="connsiteY34386" fmla="*/ 607635 h 6557032"/>
              <a:gd name="connsiteX34387" fmla="*/ 2536466 w 4610101"/>
              <a:gd name="connsiteY34387" fmla="*/ 616746 h 6557032"/>
              <a:gd name="connsiteX34388" fmla="*/ 2547400 w 4610101"/>
              <a:gd name="connsiteY34388" fmla="*/ 614924 h 6557032"/>
              <a:gd name="connsiteX34389" fmla="*/ 2540111 w 4610101"/>
              <a:gd name="connsiteY34389" fmla="*/ 607635 h 6557032"/>
              <a:gd name="connsiteX34390" fmla="*/ 2405270 w 4610101"/>
              <a:gd name="connsiteY34390" fmla="*/ 607635 h 6557032"/>
              <a:gd name="connsiteX34391" fmla="*/ 2407092 w 4610101"/>
              <a:gd name="connsiteY34391" fmla="*/ 614924 h 6557032"/>
              <a:gd name="connsiteX34392" fmla="*/ 2408914 w 4610101"/>
              <a:gd name="connsiteY34392" fmla="*/ 609459 h 6557032"/>
              <a:gd name="connsiteX34393" fmla="*/ 2405270 w 4610101"/>
              <a:gd name="connsiteY34393" fmla="*/ 607635 h 6557032"/>
              <a:gd name="connsiteX34394" fmla="*/ 2385226 w 4610101"/>
              <a:gd name="connsiteY34394" fmla="*/ 607635 h 6557032"/>
              <a:gd name="connsiteX34395" fmla="*/ 2383404 w 4610101"/>
              <a:gd name="connsiteY34395" fmla="*/ 620391 h 6557032"/>
              <a:gd name="connsiteX34396" fmla="*/ 2385226 w 4610101"/>
              <a:gd name="connsiteY34396" fmla="*/ 607635 h 6557032"/>
              <a:gd name="connsiteX34397" fmla="*/ 1301033 w 4610101"/>
              <a:gd name="connsiteY34397" fmla="*/ 607635 h 6557032"/>
              <a:gd name="connsiteX34398" fmla="*/ 1299210 w 4610101"/>
              <a:gd name="connsiteY34398" fmla="*/ 616746 h 6557032"/>
              <a:gd name="connsiteX34399" fmla="*/ 1301033 w 4610101"/>
              <a:gd name="connsiteY34399" fmla="*/ 607635 h 6557032"/>
              <a:gd name="connsiteX34400" fmla="*/ 1293744 w 4610101"/>
              <a:gd name="connsiteY34400" fmla="*/ 607635 h 6557032"/>
              <a:gd name="connsiteX34401" fmla="*/ 1293516 w 4610101"/>
              <a:gd name="connsiteY34401" fmla="*/ 610369 h 6557032"/>
              <a:gd name="connsiteX34402" fmla="*/ 1293274 w 4610101"/>
              <a:gd name="connsiteY34402" fmla="*/ 610786 h 6557032"/>
              <a:gd name="connsiteX34403" fmla="*/ 1293077 w 4610101"/>
              <a:gd name="connsiteY34403" fmla="*/ 608302 h 6557032"/>
              <a:gd name="connsiteX34404" fmla="*/ 927487 w 4610101"/>
              <a:gd name="connsiteY34404" fmla="*/ 607635 h 6557032"/>
              <a:gd name="connsiteX34405" fmla="*/ 923843 w 4610101"/>
              <a:gd name="connsiteY34405" fmla="*/ 609459 h 6557032"/>
              <a:gd name="connsiteX34406" fmla="*/ 922020 w 4610101"/>
              <a:gd name="connsiteY34406" fmla="*/ 622213 h 6557032"/>
              <a:gd name="connsiteX34407" fmla="*/ 927487 w 4610101"/>
              <a:gd name="connsiteY34407" fmla="*/ 607635 h 6557032"/>
              <a:gd name="connsiteX34408" fmla="*/ 869177 w 4610101"/>
              <a:gd name="connsiteY34408" fmla="*/ 607635 h 6557032"/>
              <a:gd name="connsiteX34409" fmla="*/ 860066 w 4610101"/>
              <a:gd name="connsiteY34409" fmla="*/ 616746 h 6557032"/>
              <a:gd name="connsiteX34410" fmla="*/ 869177 w 4610101"/>
              <a:gd name="connsiteY34410" fmla="*/ 607635 h 6557032"/>
              <a:gd name="connsiteX34411" fmla="*/ 710648 w 4610101"/>
              <a:gd name="connsiteY34411" fmla="*/ 607635 h 6557032"/>
              <a:gd name="connsiteX34412" fmla="*/ 732515 w 4610101"/>
              <a:gd name="connsiteY34412" fmla="*/ 627679 h 6557032"/>
              <a:gd name="connsiteX34413" fmla="*/ 723404 w 4610101"/>
              <a:gd name="connsiteY34413" fmla="*/ 622213 h 6557032"/>
              <a:gd name="connsiteX34414" fmla="*/ 728870 w 4610101"/>
              <a:gd name="connsiteY34414" fmla="*/ 622213 h 6557032"/>
              <a:gd name="connsiteX34415" fmla="*/ 710648 w 4610101"/>
              <a:gd name="connsiteY34415" fmla="*/ 607635 h 6557032"/>
              <a:gd name="connsiteX34416" fmla="*/ 3238232 w 4610101"/>
              <a:gd name="connsiteY34416" fmla="*/ 605814 h 6557032"/>
              <a:gd name="connsiteX34417" fmla="*/ 3228893 w 4610101"/>
              <a:gd name="connsiteY34417" fmla="*/ 607635 h 6557032"/>
              <a:gd name="connsiteX34418" fmla="*/ 3243470 w 4610101"/>
              <a:gd name="connsiteY34418" fmla="*/ 609459 h 6557032"/>
              <a:gd name="connsiteX34419" fmla="*/ 3238232 w 4610101"/>
              <a:gd name="connsiteY34419" fmla="*/ 605814 h 6557032"/>
              <a:gd name="connsiteX34420" fmla="*/ 2396159 w 4610101"/>
              <a:gd name="connsiteY34420" fmla="*/ 605813 h 6557032"/>
              <a:gd name="connsiteX34421" fmla="*/ 2394337 w 4610101"/>
              <a:gd name="connsiteY34421" fmla="*/ 618568 h 6557032"/>
              <a:gd name="connsiteX34422" fmla="*/ 2403448 w 4610101"/>
              <a:gd name="connsiteY34422" fmla="*/ 616746 h 6557032"/>
              <a:gd name="connsiteX34423" fmla="*/ 2396159 w 4610101"/>
              <a:gd name="connsiteY34423" fmla="*/ 605813 h 6557032"/>
              <a:gd name="connsiteX34424" fmla="*/ 1419474 w 4610101"/>
              <a:gd name="connsiteY34424" fmla="*/ 605813 h 6557032"/>
              <a:gd name="connsiteX34425" fmla="*/ 1408541 w 4610101"/>
              <a:gd name="connsiteY34425" fmla="*/ 613103 h 6557032"/>
              <a:gd name="connsiteX34426" fmla="*/ 1408541 w 4610101"/>
              <a:gd name="connsiteY34426" fmla="*/ 616746 h 6557032"/>
              <a:gd name="connsiteX34427" fmla="*/ 1410363 w 4610101"/>
              <a:gd name="connsiteY34427" fmla="*/ 620391 h 6557032"/>
              <a:gd name="connsiteX34428" fmla="*/ 1412185 w 4610101"/>
              <a:gd name="connsiteY34428" fmla="*/ 613103 h 6557032"/>
              <a:gd name="connsiteX34429" fmla="*/ 1415829 w 4610101"/>
              <a:gd name="connsiteY34429" fmla="*/ 613103 h 6557032"/>
              <a:gd name="connsiteX34430" fmla="*/ 1416369 w 4610101"/>
              <a:gd name="connsiteY34430" fmla="*/ 616881 h 6557032"/>
              <a:gd name="connsiteX34431" fmla="*/ 1415829 w 4610101"/>
              <a:gd name="connsiteY34431" fmla="*/ 616746 h 6557032"/>
              <a:gd name="connsiteX34432" fmla="*/ 1417044 w 4610101"/>
              <a:gd name="connsiteY34432" fmla="*/ 621602 h 6557032"/>
              <a:gd name="connsiteX34433" fmla="*/ 1417424 w 4610101"/>
              <a:gd name="connsiteY34433" fmla="*/ 624263 h 6557032"/>
              <a:gd name="connsiteX34434" fmla="*/ 1415829 w 4610101"/>
              <a:gd name="connsiteY34434" fmla="*/ 625857 h 6557032"/>
              <a:gd name="connsiteX34435" fmla="*/ 1418089 w 4610101"/>
              <a:gd name="connsiteY34435" fmla="*/ 628913 h 6557032"/>
              <a:gd name="connsiteX34436" fmla="*/ 1419143 w 4610101"/>
              <a:gd name="connsiteY34436" fmla="*/ 636294 h 6557032"/>
              <a:gd name="connsiteX34437" fmla="*/ 1417652 w 4610101"/>
              <a:gd name="connsiteY34437" fmla="*/ 642257 h 6557032"/>
              <a:gd name="connsiteX34438" fmla="*/ 1419474 w 4610101"/>
              <a:gd name="connsiteY34438" fmla="*/ 638612 h 6557032"/>
              <a:gd name="connsiteX34439" fmla="*/ 1419143 w 4610101"/>
              <a:gd name="connsiteY34439" fmla="*/ 636294 h 6557032"/>
              <a:gd name="connsiteX34440" fmla="*/ 1419474 w 4610101"/>
              <a:gd name="connsiteY34440" fmla="*/ 634968 h 6557032"/>
              <a:gd name="connsiteX34441" fmla="*/ 1419702 w 4610101"/>
              <a:gd name="connsiteY34441" fmla="*/ 631096 h 6557032"/>
              <a:gd name="connsiteX34442" fmla="*/ 1418089 w 4610101"/>
              <a:gd name="connsiteY34442" fmla="*/ 628913 h 6557032"/>
              <a:gd name="connsiteX34443" fmla="*/ 1417424 w 4610101"/>
              <a:gd name="connsiteY34443" fmla="*/ 624263 h 6557032"/>
              <a:gd name="connsiteX34444" fmla="*/ 1417652 w 4610101"/>
              <a:gd name="connsiteY34444" fmla="*/ 624035 h 6557032"/>
              <a:gd name="connsiteX34445" fmla="*/ 1417044 w 4610101"/>
              <a:gd name="connsiteY34445" fmla="*/ 621602 h 6557032"/>
              <a:gd name="connsiteX34446" fmla="*/ 1416369 w 4610101"/>
              <a:gd name="connsiteY34446" fmla="*/ 616881 h 6557032"/>
              <a:gd name="connsiteX34447" fmla="*/ 1417652 w 4610101"/>
              <a:gd name="connsiteY34447" fmla="*/ 617202 h 6557032"/>
              <a:gd name="connsiteX34448" fmla="*/ 1419474 w 4610101"/>
              <a:gd name="connsiteY34448" fmla="*/ 620391 h 6557032"/>
              <a:gd name="connsiteX34449" fmla="*/ 1419474 w 4610101"/>
              <a:gd name="connsiteY34449" fmla="*/ 605813 h 6557032"/>
              <a:gd name="connsiteX34450" fmla="*/ 1404896 w 4610101"/>
              <a:gd name="connsiteY34450" fmla="*/ 605813 h 6557032"/>
              <a:gd name="connsiteX34451" fmla="*/ 1405807 w 4610101"/>
              <a:gd name="connsiteY34451" fmla="*/ 605813 h 6557032"/>
              <a:gd name="connsiteX34452" fmla="*/ 1404896 w 4610101"/>
              <a:gd name="connsiteY34452" fmla="*/ 607635 h 6557032"/>
              <a:gd name="connsiteX34453" fmla="*/ 1355698 w 4610101"/>
              <a:gd name="connsiteY34453" fmla="*/ 605813 h 6557032"/>
              <a:gd name="connsiteX34454" fmla="*/ 1361164 w 4610101"/>
              <a:gd name="connsiteY34454" fmla="*/ 611280 h 6557032"/>
              <a:gd name="connsiteX34455" fmla="*/ 1359342 w 4610101"/>
              <a:gd name="connsiteY34455" fmla="*/ 614924 h 6557032"/>
              <a:gd name="connsiteX34456" fmla="*/ 1355698 w 4610101"/>
              <a:gd name="connsiteY34456" fmla="*/ 605813 h 6557032"/>
              <a:gd name="connsiteX34457" fmla="*/ 1275522 w 4610101"/>
              <a:gd name="connsiteY34457" fmla="*/ 605813 h 6557032"/>
              <a:gd name="connsiteX34458" fmla="*/ 1271878 w 4610101"/>
              <a:gd name="connsiteY34458" fmla="*/ 622213 h 6557032"/>
              <a:gd name="connsiteX34459" fmla="*/ 1277344 w 4610101"/>
              <a:gd name="connsiteY34459" fmla="*/ 618568 h 6557032"/>
              <a:gd name="connsiteX34460" fmla="*/ 1273700 w 4610101"/>
              <a:gd name="connsiteY34460" fmla="*/ 611280 h 6557032"/>
              <a:gd name="connsiteX34461" fmla="*/ 1279166 w 4610101"/>
              <a:gd name="connsiteY34461" fmla="*/ 611280 h 6557032"/>
              <a:gd name="connsiteX34462" fmla="*/ 1275522 w 4610101"/>
              <a:gd name="connsiteY34462" fmla="*/ 605813 h 6557032"/>
              <a:gd name="connsiteX34463" fmla="*/ 1147970 w 4610101"/>
              <a:gd name="connsiteY34463" fmla="*/ 605813 h 6557032"/>
              <a:gd name="connsiteX34464" fmla="*/ 1146148 w 4610101"/>
              <a:gd name="connsiteY34464" fmla="*/ 609459 h 6557032"/>
              <a:gd name="connsiteX34465" fmla="*/ 1147970 w 4610101"/>
              <a:gd name="connsiteY34465" fmla="*/ 605813 h 6557032"/>
              <a:gd name="connsiteX34466" fmla="*/ 1137037 w 4610101"/>
              <a:gd name="connsiteY34466" fmla="*/ 605813 h 6557032"/>
              <a:gd name="connsiteX34467" fmla="*/ 1127926 w 4610101"/>
              <a:gd name="connsiteY34467" fmla="*/ 614924 h 6557032"/>
              <a:gd name="connsiteX34468" fmla="*/ 1137037 w 4610101"/>
              <a:gd name="connsiteY34468" fmla="*/ 605813 h 6557032"/>
              <a:gd name="connsiteX34469" fmla="*/ 821801 w 4610101"/>
              <a:gd name="connsiteY34469" fmla="*/ 605813 h 6557032"/>
              <a:gd name="connsiteX34470" fmla="*/ 819979 w 4610101"/>
              <a:gd name="connsiteY34470" fmla="*/ 614924 h 6557032"/>
              <a:gd name="connsiteX34471" fmla="*/ 823623 w 4610101"/>
              <a:gd name="connsiteY34471" fmla="*/ 618568 h 6557032"/>
              <a:gd name="connsiteX34472" fmla="*/ 823623 w 4610101"/>
              <a:gd name="connsiteY34472" fmla="*/ 614924 h 6557032"/>
              <a:gd name="connsiteX34473" fmla="*/ 819979 w 4610101"/>
              <a:gd name="connsiteY34473" fmla="*/ 614924 h 6557032"/>
              <a:gd name="connsiteX34474" fmla="*/ 823623 w 4610101"/>
              <a:gd name="connsiteY34474" fmla="*/ 611280 h 6557032"/>
              <a:gd name="connsiteX34475" fmla="*/ 821801 w 4610101"/>
              <a:gd name="connsiteY34475" fmla="*/ 605813 h 6557032"/>
              <a:gd name="connsiteX34476" fmla="*/ 512031 w 4610101"/>
              <a:gd name="connsiteY34476" fmla="*/ 605813 h 6557032"/>
              <a:gd name="connsiteX34477" fmla="*/ 508387 w 4610101"/>
              <a:gd name="connsiteY34477" fmla="*/ 609459 h 6557032"/>
              <a:gd name="connsiteX34478" fmla="*/ 513853 w 4610101"/>
              <a:gd name="connsiteY34478" fmla="*/ 613103 h 6557032"/>
              <a:gd name="connsiteX34479" fmla="*/ 515676 w 4610101"/>
              <a:gd name="connsiteY34479" fmla="*/ 609459 h 6557032"/>
              <a:gd name="connsiteX34480" fmla="*/ 512031 w 4610101"/>
              <a:gd name="connsiteY34480" fmla="*/ 605813 h 6557032"/>
              <a:gd name="connsiteX34481" fmla="*/ 386301 w 4610101"/>
              <a:gd name="connsiteY34481" fmla="*/ 605813 h 6557032"/>
              <a:gd name="connsiteX34482" fmla="*/ 388123 w 4610101"/>
              <a:gd name="connsiteY34482" fmla="*/ 609459 h 6557032"/>
              <a:gd name="connsiteX34483" fmla="*/ 386301 w 4610101"/>
              <a:gd name="connsiteY34483" fmla="*/ 605813 h 6557032"/>
              <a:gd name="connsiteX34484" fmla="*/ 1080549 w 4610101"/>
              <a:gd name="connsiteY34484" fmla="*/ 604904 h 6557032"/>
              <a:gd name="connsiteX34485" fmla="*/ 1080549 w 4610101"/>
              <a:gd name="connsiteY34485" fmla="*/ 607635 h 6557032"/>
              <a:gd name="connsiteX34486" fmla="*/ 1079288 w 4610101"/>
              <a:gd name="connsiteY34486" fmla="*/ 606795 h 6557032"/>
              <a:gd name="connsiteX34487" fmla="*/ 2762416 w 4610101"/>
              <a:gd name="connsiteY34487" fmla="*/ 604903 h 6557032"/>
              <a:gd name="connsiteX34488" fmla="*/ 2762645 w 4610101"/>
              <a:gd name="connsiteY34488" fmla="*/ 605246 h 6557032"/>
              <a:gd name="connsiteX34489" fmla="*/ 2762717 w 4610101"/>
              <a:gd name="connsiteY34489" fmla="*/ 605981 h 6557032"/>
              <a:gd name="connsiteX34490" fmla="*/ 2762416 w 4610101"/>
              <a:gd name="connsiteY34490" fmla="*/ 605813 h 6557032"/>
              <a:gd name="connsiteX34491" fmla="*/ 1191342 w 4610101"/>
              <a:gd name="connsiteY34491" fmla="*/ 604724 h 6557032"/>
              <a:gd name="connsiteX34492" fmla="*/ 1189504 w 4610101"/>
              <a:gd name="connsiteY34492" fmla="*/ 617784 h 6557032"/>
              <a:gd name="connsiteX34493" fmla="*/ 1189241 w 4610101"/>
              <a:gd name="connsiteY34493" fmla="*/ 618505 h 6557032"/>
              <a:gd name="connsiteX34494" fmla="*/ 1188264 w 4610101"/>
              <a:gd name="connsiteY34494" fmla="*/ 619375 h 6557032"/>
              <a:gd name="connsiteX34495" fmla="*/ 1191019 w 4610101"/>
              <a:gd name="connsiteY34495" fmla="*/ 605814 h 6557032"/>
              <a:gd name="connsiteX34496" fmla="*/ 3471242 w 4610101"/>
              <a:gd name="connsiteY34496" fmla="*/ 603991 h 6557032"/>
              <a:gd name="connsiteX34497" fmla="*/ 3463953 w 4610101"/>
              <a:gd name="connsiteY34497" fmla="*/ 611280 h 6557032"/>
              <a:gd name="connsiteX34498" fmla="*/ 3465775 w 4610101"/>
              <a:gd name="connsiteY34498" fmla="*/ 618568 h 6557032"/>
              <a:gd name="connsiteX34499" fmla="*/ 3474886 w 4610101"/>
              <a:gd name="connsiteY34499" fmla="*/ 613103 h 6557032"/>
              <a:gd name="connsiteX34500" fmla="*/ 3471242 w 4610101"/>
              <a:gd name="connsiteY34500" fmla="*/ 603991 h 6557032"/>
              <a:gd name="connsiteX34501" fmla="*/ 3369200 w 4610101"/>
              <a:gd name="connsiteY34501" fmla="*/ 603991 h 6557032"/>
              <a:gd name="connsiteX34502" fmla="*/ 3361911 w 4610101"/>
              <a:gd name="connsiteY34502" fmla="*/ 609459 h 6557032"/>
              <a:gd name="connsiteX34503" fmla="*/ 3367378 w 4610101"/>
              <a:gd name="connsiteY34503" fmla="*/ 609459 h 6557032"/>
              <a:gd name="connsiteX34504" fmla="*/ 3369200 w 4610101"/>
              <a:gd name="connsiteY34504" fmla="*/ 603991 h 6557032"/>
              <a:gd name="connsiteX34505" fmla="*/ 2975610 w 4610101"/>
              <a:gd name="connsiteY34505" fmla="*/ 603991 h 6557032"/>
              <a:gd name="connsiteX34506" fmla="*/ 2964677 w 4610101"/>
              <a:gd name="connsiteY34506" fmla="*/ 616746 h 6557032"/>
              <a:gd name="connsiteX34507" fmla="*/ 2975383 w 4610101"/>
              <a:gd name="connsiteY34507" fmla="*/ 614241 h 6557032"/>
              <a:gd name="connsiteX34508" fmla="*/ 2978687 w 4610101"/>
              <a:gd name="connsiteY34508" fmla="*/ 608606 h 6557032"/>
              <a:gd name="connsiteX34509" fmla="*/ 2979255 w 4610101"/>
              <a:gd name="connsiteY34509" fmla="*/ 609459 h 6557032"/>
              <a:gd name="connsiteX34510" fmla="*/ 2979255 w 4610101"/>
              <a:gd name="connsiteY34510" fmla="*/ 607635 h 6557032"/>
              <a:gd name="connsiteX34511" fmla="*/ 2978687 w 4610101"/>
              <a:gd name="connsiteY34511" fmla="*/ 608606 h 6557032"/>
              <a:gd name="connsiteX34512" fmla="*/ 2944634 w 4610101"/>
              <a:gd name="connsiteY34512" fmla="*/ 603991 h 6557032"/>
              <a:gd name="connsiteX34513" fmla="*/ 2957389 w 4610101"/>
              <a:gd name="connsiteY34513" fmla="*/ 609459 h 6557032"/>
              <a:gd name="connsiteX34514" fmla="*/ 2944634 w 4610101"/>
              <a:gd name="connsiteY34514" fmla="*/ 603991 h 6557032"/>
              <a:gd name="connsiteX34515" fmla="*/ 668738 w 4610101"/>
              <a:gd name="connsiteY34515" fmla="*/ 603991 h 6557032"/>
              <a:gd name="connsiteX34516" fmla="*/ 670560 w 4610101"/>
              <a:gd name="connsiteY34516" fmla="*/ 616746 h 6557032"/>
              <a:gd name="connsiteX34517" fmla="*/ 674205 w 4610101"/>
              <a:gd name="connsiteY34517" fmla="*/ 613103 h 6557032"/>
              <a:gd name="connsiteX34518" fmla="*/ 668738 w 4610101"/>
              <a:gd name="connsiteY34518" fmla="*/ 603991 h 6557032"/>
              <a:gd name="connsiteX34519" fmla="*/ 461010 w 4610101"/>
              <a:gd name="connsiteY34519" fmla="*/ 603991 h 6557032"/>
              <a:gd name="connsiteX34520" fmla="*/ 466478 w 4610101"/>
              <a:gd name="connsiteY34520" fmla="*/ 613103 h 6557032"/>
              <a:gd name="connsiteX34521" fmla="*/ 461010 w 4610101"/>
              <a:gd name="connsiteY34521" fmla="*/ 603991 h 6557032"/>
              <a:gd name="connsiteX34522" fmla="*/ 340747 w 4610101"/>
              <a:gd name="connsiteY34522" fmla="*/ 603991 h 6557032"/>
              <a:gd name="connsiteX34523" fmla="*/ 346213 w 4610101"/>
              <a:gd name="connsiteY34523" fmla="*/ 611280 h 6557032"/>
              <a:gd name="connsiteX34524" fmla="*/ 344391 w 4610101"/>
              <a:gd name="connsiteY34524" fmla="*/ 607635 h 6557032"/>
              <a:gd name="connsiteX34525" fmla="*/ 348037 w 4610101"/>
              <a:gd name="connsiteY34525" fmla="*/ 611280 h 6557032"/>
              <a:gd name="connsiteX34526" fmla="*/ 346213 w 4610101"/>
              <a:gd name="connsiteY34526" fmla="*/ 605813 h 6557032"/>
              <a:gd name="connsiteX34527" fmla="*/ 340747 w 4610101"/>
              <a:gd name="connsiteY34527" fmla="*/ 603991 h 6557032"/>
              <a:gd name="connsiteX34528" fmla="*/ 304303 w 4610101"/>
              <a:gd name="connsiteY34528" fmla="*/ 603991 h 6557032"/>
              <a:gd name="connsiteX34529" fmla="*/ 307948 w 4610101"/>
              <a:gd name="connsiteY34529" fmla="*/ 611280 h 6557032"/>
              <a:gd name="connsiteX34530" fmla="*/ 309771 w 4610101"/>
              <a:gd name="connsiteY34530" fmla="*/ 605813 h 6557032"/>
              <a:gd name="connsiteX34531" fmla="*/ 304303 w 4610101"/>
              <a:gd name="connsiteY34531" fmla="*/ 603991 h 6557032"/>
              <a:gd name="connsiteX34532" fmla="*/ 2997072 w 4610101"/>
              <a:gd name="connsiteY34532" fmla="*/ 603876 h 6557032"/>
              <a:gd name="connsiteX34533" fmla="*/ 2997477 w 4610101"/>
              <a:gd name="connsiteY34533" fmla="*/ 603991 h 6557032"/>
              <a:gd name="connsiteX34534" fmla="*/ 2997477 w 4610101"/>
              <a:gd name="connsiteY34534" fmla="*/ 604304 h 6557032"/>
              <a:gd name="connsiteX34535" fmla="*/ 2856942 w 4610101"/>
              <a:gd name="connsiteY34535" fmla="*/ 603166 h 6557032"/>
              <a:gd name="connsiteX34536" fmla="*/ 2842592 w 4610101"/>
              <a:gd name="connsiteY34536" fmla="*/ 616746 h 6557032"/>
              <a:gd name="connsiteX34537" fmla="*/ 2866280 w 4610101"/>
              <a:gd name="connsiteY34537" fmla="*/ 642257 h 6557032"/>
              <a:gd name="connsiteX34538" fmla="*/ 2862636 w 4610101"/>
              <a:gd name="connsiteY34538" fmla="*/ 618568 h 6557032"/>
              <a:gd name="connsiteX34539" fmla="*/ 2860813 w 4610101"/>
              <a:gd name="connsiteY34539" fmla="*/ 624035 h 6557032"/>
              <a:gd name="connsiteX34540" fmla="*/ 2860813 w 4610101"/>
              <a:gd name="connsiteY34540" fmla="*/ 613103 h 6557032"/>
              <a:gd name="connsiteX34541" fmla="*/ 2851703 w 4610101"/>
              <a:gd name="connsiteY34541" fmla="*/ 609459 h 6557032"/>
              <a:gd name="connsiteX34542" fmla="*/ 2862636 w 4610101"/>
              <a:gd name="connsiteY34542" fmla="*/ 607635 h 6557032"/>
              <a:gd name="connsiteX34543" fmla="*/ 2856942 w 4610101"/>
              <a:gd name="connsiteY34543" fmla="*/ 603166 h 6557032"/>
              <a:gd name="connsiteX34544" fmla="*/ 3516796 w 4610101"/>
              <a:gd name="connsiteY34544" fmla="*/ 602169 h 6557032"/>
              <a:gd name="connsiteX34545" fmla="*/ 3518618 w 4610101"/>
              <a:gd name="connsiteY34545" fmla="*/ 616746 h 6557032"/>
              <a:gd name="connsiteX34546" fmla="*/ 3527729 w 4610101"/>
              <a:gd name="connsiteY34546" fmla="*/ 614924 h 6557032"/>
              <a:gd name="connsiteX34547" fmla="*/ 3516796 w 4610101"/>
              <a:gd name="connsiteY34547" fmla="*/ 602169 h 6557032"/>
              <a:gd name="connsiteX34548" fmla="*/ 3283558 w 4610101"/>
              <a:gd name="connsiteY34548" fmla="*/ 602169 h 6557032"/>
              <a:gd name="connsiteX34549" fmla="*/ 3283558 w 4610101"/>
              <a:gd name="connsiteY34549" fmla="*/ 611280 h 6557032"/>
              <a:gd name="connsiteX34550" fmla="*/ 3283558 w 4610101"/>
              <a:gd name="connsiteY34550" fmla="*/ 602169 h 6557032"/>
              <a:gd name="connsiteX34551" fmla="*/ 2961033 w 4610101"/>
              <a:gd name="connsiteY34551" fmla="*/ 602169 h 6557032"/>
              <a:gd name="connsiteX34552" fmla="*/ 2961033 w 4610101"/>
              <a:gd name="connsiteY34552" fmla="*/ 609459 h 6557032"/>
              <a:gd name="connsiteX34553" fmla="*/ 2961033 w 4610101"/>
              <a:gd name="connsiteY34553" fmla="*/ 602169 h 6557032"/>
              <a:gd name="connsiteX34554" fmla="*/ 1415829 w 4610101"/>
              <a:gd name="connsiteY34554" fmla="*/ 602169 h 6557032"/>
              <a:gd name="connsiteX34555" fmla="*/ 1412185 w 4610101"/>
              <a:gd name="connsiteY34555" fmla="*/ 605813 h 6557032"/>
              <a:gd name="connsiteX34556" fmla="*/ 1415829 w 4610101"/>
              <a:gd name="connsiteY34556" fmla="*/ 602169 h 6557032"/>
              <a:gd name="connsiteX34557" fmla="*/ 1299210 w 4610101"/>
              <a:gd name="connsiteY34557" fmla="*/ 602169 h 6557032"/>
              <a:gd name="connsiteX34558" fmla="*/ 1293062 w 4610101"/>
              <a:gd name="connsiteY34558" fmla="*/ 608091 h 6557032"/>
              <a:gd name="connsiteX34559" fmla="*/ 1293077 w 4610101"/>
              <a:gd name="connsiteY34559" fmla="*/ 608302 h 6557032"/>
              <a:gd name="connsiteX34560" fmla="*/ 1288277 w 4610101"/>
              <a:gd name="connsiteY34560" fmla="*/ 613103 h 6557032"/>
              <a:gd name="connsiteX34561" fmla="*/ 1291922 w 4610101"/>
              <a:gd name="connsiteY34561" fmla="*/ 613103 h 6557032"/>
              <a:gd name="connsiteX34562" fmla="*/ 1293274 w 4610101"/>
              <a:gd name="connsiteY34562" fmla="*/ 610786 h 6557032"/>
              <a:gd name="connsiteX34563" fmla="*/ 1293744 w 4610101"/>
              <a:gd name="connsiteY34563" fmla="*/ 616746 h 6557032"/>
              <a:gd name="connsiteX34564" fmla="*/ 1299210 w 4610101"/>
              <a:gd name="connsiteY34564" fmla="*/ 602169 h 6557032"/>
              <a:gd name="connsiteX34565" fmla="*/ 1275522 w 4610101"/>
              <a:gd name="connsiteY34565" fmla="*/ 602169 h 6557032"/>
              <a:gd name="connsiteX34566" fmla="*/ 1277344 w 4610101"/>
              <a:gd name="connsiteY34566" fmla="*/ 607635 h 6557032"/>
              <a:gd name="connsiteX34567" fmla="*/ 1280989 w 4610101"/>
              <a:gd name="connsiteY34567" fmla="*/ 614924 h 6557032"/>
              <a:gd name="connsiteX34568" fmla="*/ 1286455 w 4610101"/>
              <a:gd name="connsiteY34568" fmla="*/ 611280 h 6557032"/>
              <a:gd name="connsiteX34569" fmla="*/ 1280989 w 4610101"/>
              <a:gd name="connsiteY34569" fmla="*/ 605813 h 6557032"/>
              <a:gd name="connsiteX34570" fmla="*/ 1286455 w 4610101"/>
              <a:gd name="connsiteY34570" fmla="*/ 605813 h 6557032"/>
              <a:gd name="connsiteX34571" fmla="*/ 1275522 w 4610101"/>
              <a:gd name="connsiteY34571" fmla="*/ 602169 h 6557032"/>
              <a:gd name="connsiteX34572" fmla="*/ 1080549 w 4610101"/>
              <a:gd name="connsiteY34572" fmla="*/ 602169 h 6557032"/>
              <a:gd name="connsiteX34573" fmla="*/ 1082373 w 4610101"/>
              <a:gd name="connsiteY34573" fmla="*/ 602169 h 6557032"/>
              <a:gd name="connsiteX34574" fmla="*/ 1080549 w 4610101"/>
              <a:gd name="connsiteY34574" fmla="*/ 604904 h 6557032"/>
              <a:gd name="connsiteX34575" fmla="*/ 916555 w 4610101"/>
              <a:gd name="connsiteY34575" fmla="*/ 602169 h 6557032"/>
              <a:gd name="connsiteX34576" fmla="*/ 905621 w 4610101"/>
              <a:gd name="connsiteY34576" fmla="*/ 620391 h 6557032"/>
              <a:gd name="connsiteX34577" fmla="*/ 916555 w 4610101"/>
              <a:gd name="connsiteY34577" fmla="*/ 602169 h 6557032"/>
              <a:gd name="connsiteX34578" fmla="*/ 530253 w 4610101"/>
              <a:gd name="connsiteY34578" fmla="*/ 602169 h 6557032"/>
              <a:gd name="connsiteX34579" fmla="*/ 528431 w 4610101"/>
              <a:gd name="connsiteY34579" fmla="*/ 613103 h 6557032"/>
              <a:gd name="connsiteX34580" fmla="*/ 535719 w 4610101"/>
              <a:gd name="connsiteY34580" fmla="*/ 616746 h 6557032"/>
              <a:gd name="connsiteX34581" fmla="*/ 533897 w 4610101"/>
              <a:gd name="connsiteY34581" fmla="*/ 609459 h 6557032"/>
              <a:gd name="connsiteX34582" fmla="*/ 528431 w 4610101"/>
              <a:gd name="connsiteY34582" fmla="*/ 613103 h 6557032"/>
              <a:gd name="connsiteX34583" fmla="*/ 530253 w 4610101"/>
              <a:gd name="connsiteY34583" fmla="*/ 605813 h 6557032"/>
              <a:gd name="connsiteX34584" fmla="*/ 532075 w 4610101"/>
              <a:gd name="connsiteY34584" fmla="*/ 609459 h 6557032"/>
              <a:gd name="connsiteX34585" fmla="*/ 530253 w 4610101"/>
              <a:gd name="connsiteY34585" fmla="*/ 602169 h 6557032"/>
              <a:gd name="connsiteX34586" fmla="*/ 457367 w 4610101"/>
              <a:gd name="connsiteY34586" fmla="*/ 602169 h 6557032"/>
              <a:gd name="connsiteX34587" fmla="*/ 459188 w 4610101"/>
              <a:gd name="connsiteY34587" fmla="*/ 607635 h 6557032"/>
              <a:gd name="connsiteX34588" fmla="*/ 457367 w 4610101"/>
              <a:gd name="connsiteY34588" fmla="*/ 602169 h 6557032"/>
              <a:gd name="connsiteX34589" fmla="*/ 400879 w 4610101"/>
              <a:gd name="connsiteY34589" fmla="*/ 602169 h 6557032"/>
              <a:gd name="connsiteX34590" fmla="*/ 399056 w 4610101"/>
              <a:gd name="connsiteY34590" fmla="*/ 611280 h 6557032"/>
              <a:gd name="connsiteX34591" fmla="*/ 399707 w 4610101"/>
              <a:gd name="connsiteY34591" fmla="*/ 613038 h 6557032"/>
              <a:gd name="connsiteX34592" fmla="*/ 398061 w 4610101"/>
              <a:gd name="connsiteY34592" fmla="*/ 615506 h 6557032"/>
              <a:gd name="connsiteX34593" fmla="*/ 396893 w 4610101"/>
              <a:gd name="connsiteY34593" fmla="*/ 612724 h 6557032"/>
              <a:gd name="connsiteX34594" fmla="*/ 396647 w 4610101"/>
              <a:gd name="connsiteY34594" fmla="*/ 609826 h 6557032"/>
              <a:gd name="connsiteX34595" fmla="*/ 272054 w 4610101"/>
              <a:gd name="connsiteY34595" fmla="*/ 601598 h 6557032"/>
              <a:gd name="connsiteX34596" fmla="*/ 278898 w 4610101"/>
              <a:gd name="connsiteY34596" fmla="*/ 609878 h 6557032"/>
              <a:gd name="connsiteX34597" fmla="*/ 280615 w 4610101"/>
              <a:gd name="connsiteY34597" fmla="*/ 616746 h 6557032"/>
              <a:gd name="connsiteX34598" fmla="*/ 3303602 w 4610101"/>
              <a:gd name="connsiteY34598" fmla="*/ 600347 h 6557032"/>
              <a:gd name="connsiteX34599" fmla="*/ 3296313 w 4610101"/>
              <a:gd name="connsiteY34599" fmla="*/ 605813 h 6557032"/>
              <a:gd name="connsiteX34600" fmla="*/ 3303602 w 4610101"/>
              <a:gd name="connsiteY34600" fmla="*/ 603991 h 6557032"/>
              <a:gd name="connsiteX34601" fmla="*/ 3329112 w 4610101"/>
              <a:gd name="connsiteY34601" fmla="*/ 607635 h 6557032"/>
              <a:gd name="connsiteX34602" fmla="*/ 3329112 w 4610101"/>
              <a:gd name="connsiteY34602" fmla="*/ 603991 h 6557032"/>
              <a:gd name="connsiteX34603" fmla="*/ 3303602 w 4610101"/>
              <a:gd name="connsiteY34603" fmla="*/ 603991 h 6557032"/>
              <a:gd name="connsiteX34604" fmla="*/ 3303602 w 4610101"/>
              <a:gd name="connsiteY34604" fmla="*/ 600347 h 6557032"/>
              <a:gd name="connsiteX34605" fmla="*/ 2534644 w 4610101"/>
              <a:gd name="connsiteY34605" fmla="*/ 600347 h 6557032"/>
              <a:gd name="connsiteX34606" fmla="*/ 2529178 w 4610101"/>
              <a:gd name="connsiteY34606" fmla="*/ 618568 h 6557032"/>
              <a:gd name="connsiteX34607" fmla="*/ 2534644 w 4610101"/>
              <a:gd name="connsiteY34607" fmla="*/ 607635 h 6557032"/>
              <a:gd name="connsiteX34608" fmla="*/ 2534644 w 4610101"/>
              <a:gd name="connsiteY34608" fmla="*/ 600347 h 6557032"/>
              <a:gd name="connsiteX34609" fmla="*/ 1173481 w 4610101"/>
              <a:gd name="connsiteY34609" fmla="*/ 600347 h 6557032"/>
              <a:gd name="connsiteX34610" fmla="*/ 1168014 w 4610101"/>
              <a:gd name="connsiteY34610" fmla="*/ 607635 h 6557032"/>
              <a:gd name="connsiteX34611" fmla="*/ 1173481 w 4610101"/>
              <a:gd name="connsiteY34611" fmla="*/ 600347 h 6557032"/>
              <a:gd name="connsiteX34612" fmla="*/ 714293 w 4610101"/>
              <a:gd name="connsiteY34612" fmla="*/ 600347 h 6557032"/>
              <a:gd name="connsiteX34613" fmla="*/ 739803 w 4610101"/>
              <a:gd name="connsiteY34613" fmla="*/ 622213 h 6557032"/>
              <a:gd name="connsiteX34614" fmla="*/ 714293 w 4610101"/>
              <a:gd name="connsiteY34614" fmla="*/ 600347 h 6557032"/>
              <a:gd name="connsiteX34615" fmla="*/ 686960 w 4610101"/>
              <a:gd name="connsiteY34615" fmla="*/ 600347 h 6557032"/>
              <a:gd name="connsiteX34616" fmla="*/ 683316 w 4610101"/>
              <a:gd name="connsiteY34616" fmla="*/ 613103 h 6557032"/>
              <a:gd name="connsiteX34617" fmla="*/ 688782 w 4610101"/>
              <a:gd name="connsiteY34617" fmla="*/ 603991 h 6557032"/>
              <a:gd name="connsiteX34618" fmla="*/ 696071 w 4610101"/>
              <a:gd name="connsiteY34618" fmla="*/ 622213 h 6557032"/>
              <a:gd name="connsiteX34619" fmla="*/ 692654 w 4610101"/>
              <a:gd name="connsiteY34619" fmla="*/ 611280 h 6557032"/>
              <a:gd name="connsiteX34620" fmla="*/ 690827 w 4610101"/>
              <a:gd name="connsiteY34620" fmla="*/ 601537 h 6557032"/>
              <a:gd name="connsiteX34621" fmla="*/ 691255 w 4610101"/>
              <a:gd name="connsiteY34621" fmla="*/ 601669 h 6557032"/>
              <a:gd name="connsiteX34622" fmla="*/ 698348 w 4610101"/>
              <a:gd name="connsiteY34622" fmla="*/ 616063 h 6557032"/>
              <a:gd name="connsiteX34623" fmla="*/ 708826 w 4610101"/>
              <a:gd name="connsiteY34623" fmla="*/ 616746 h 6557032"/>
              <a:gd name="connsiteX34624" fmla="*/ 694249 w 4610101"/>
              <a:gd name="connsiteY34624" fmla="*/ 605813 h 6557032"/>
              <a:gd name="connsiteX34625" fmla="*/ 707004 w 4610101"/>
              <a:gd name="connsiteY34625" fmla="*/ 614924 h 6557032"/>
              <a:gd name="connsiteX34626" fmla="*/ 701765 w 4610101"/>
              <a:gd name="connsiteY34626" fmla="*/ 604903 h 6557032"/>
              <a:gd name="connsiteX34627" fmla="*/ 691255 w 4610101"/>
              <a:gd name="connsiteY34627" fmla="*/ 601669 h 6557032"/>
              <a:gd name="connsiteX34628" fmla="*/ 690604 w 4610101"/>
              <a:gd name="connsiteY34628" fmla="*/ 600347 h 6557032"/>
              <a:gd name="connsiteX34629" fmla="*/ 690827 w 4610101"/>
              <a:gd name="connsiteY34629" fmla="*/ 601537 h 6557032"/>
              <a:gd name="connsiteX34630" fmla="*/ 683316 w 4610101"/>
              <a:gd name="connsiteY34630" fmla="*/ 600347 h 6557032"/>
              <a:gd name="connsiteX34631" fmla="*/ 677849 w 4610101"/>
              <a:gd name="connsiteY34631" fmla="*/ 607635 h 6557032"/>
              <a:gd name="connsiteX34632" fmla="*/ 683316 w 4610101"/>
              <a:gd name="connsiteY34632" fmla="*/ 600347 h 6557032"/>
              <a:gd name="connsiteX34633" fmla="*/ 466478 w 4610101"/>
              <a:gd name="connsiteY34633" fmla="*/ 600347 h 6557032"/>
              <a:gd name="connsiteX34634" fmla="*/ 475589 w 4610101"/>
              <a:gd name="connsiteY34634" fmla="*/ 609459 h 6557032"/>
              <a:gd name="connsiteX34635" fmla="*/ 473766 w 4610101"/>
              <a:gd name="connsiteY34635" fmla="*/ 602169 h 6557032"/>
              <a:gd name="connsiteX34636" fmla="*/ 466478 w 4610101"/>
              <a:gd name="connsiteY34636" fmla="*/ 600347 h 6557032"/>
              <a:gd name="connsiteX34637" fmla="*/ 211372 w 4610101"/>
              <a:gd name="connsiteY34637" fmla="*/ 600347 h 6557032"/>
              <a:gd name="connsiteX34638" fmla="*/ 219379 w 4610101"/>
              <a:gd name="connsiteY34638" fmla="*/ 613158 h 6557032"/>
              <a:gd name="connsiteX34639" fmla="*/ 218675 w 4610101"/>
              <a:gd name="connsiteY34639" fmla="*/ 616680 h 6557032"/>
              <a:gd name="connsiteX34640" fmla="*/ 216839 w 4610101"/>
              <a:gd name="connsiteY34640" fmla="*/ 612875 h 6557032"/>
              <a:gd name="connsiteX34641" fmla="*/ 211372 w 4610101"/>
              <a:gd name="connsiteY34641" fmla="*/ 600347 h 6557032"/>
              <a:gd name="connsiteX34642" fmla="*/ 173107 w 4610101"/>
              <a:gd name="connsiteY34642" fmla="*/ 600347 h 6557032"/>
              <a:gd name="connsiteX34643" fmla="*/ 177207 w 4610101"/>
              <a:gd name="connsiteY34643" fmla="*/ 609230 h 6557032"/>
              <a:gd name="connsiteX34644" fmla="*/ 177340 w 4610101"/>
              <a:gd name="connsiteY34644" fmla="*/ 609961 h 6557032"/>
              <a:gd name="connsiteX34645" fmla="*/ 174254 w 4610101"/>
              <a:gd name="connsiteY34645" fmla="*/ 606659 h 6557032"/>
              <a:gd name="connsiteX34646" fmla="*/ 3355306 w 4610101"/>
              <a:gd name="connsiteY34646" fmla="*/ 599664 h 6557032"/>
              <a:gd name="connsiteX34647" fmla="*/ 3352800 w 4610101"/>
              <a:gd name="connsiteY34647" fmla="*/ 605813 h 6557032"/>
              <a:gd name="connsiteX34648" fmla="*/ 3361911 w 4610101"/>
              <a:gd name="connsiteY34648" fmla="*/ 600347 h 6557032"/>
              <a:gd name="connsiteX34649" fmla="*/ 3355306 w 4610101"/>
              <a:gd name="connsiteY34649" fmla="*/ 599664 h 6557032"/>
              <a:gd name="connsiteX34650" fmla="*/ 1251834 w 4610101"/>
              <a:gd name="connsiteY34650" fmla="*/ 598524 h 6557032"/>
              <a:gd name="connsiteX34651" fmla="*/ 1253656 w 4610101"/>
              <a:gd name="connsiteY34651" fmla="*/ 602169 h 6557032"/>
              <a:gd name="connsiteX34652" fmla="*/ 1251834 w 4610101"/>
              <a:gd name="connsiteY34652" fmla="*/ 600347 h 6557032"/>
              <a:gd name="connsiteX34653" fmla="*/ 1248189 w 4610101"/>
              <a:gd name="connsiteY34653" fmla="*/ 605813 h 6557032"/>
              <a:gd name="connsiteX34654" fmla="*/ 1243316 w 4610101"/>
              <a:gd name="connsiteY34654" fmla="*/ 608166 h 6557032"/>
              <a:gd name="connsiteX34655" fmla="*/ 1248357 w 4610101"/>
              <a:gd name="connsiteY34655" fmla="*/ 601665 h 6557032"/>
              <a:gd name="connsiteX34656" fmla="*/ 1248189 w 4610101"/>
              <a:gd name="connsiteY34656" fmla="*/ 602169 h 6557032"/>
              <a:gd name="connsiteX34657" fmla="*/ 3165116 w 4610101"/>
              <a:gd name="connsiteY34657" fmla="*/ 598524 h 6557032"/>
              <a:gd name="connsiteX34658" fmla="*/ 3165116 w 4610101"/>
              <a:gd name="connsiteY34658" fmla="*/ 607635 h 6557032"/>
              <a:gd name="connsiteX34659" fmla="*/ 3165116 w 4610101"/>
              <a:gd name="connsiteY34659" fmla="*/ 598524 h 6557032"/>
              <a:gd name="connsiteX34660" fmla="*/ 2421669 w 4610101"/>
              <a:gd name="connsiteY34660" fmla="*/ 598524 h 6557032"/>
              <a:gd name="connsiteX34661" fmla="*/ 2412559 w 4610101"/>
              <a:gd name="connsiteY34661" fmla="*/ 600347 h 6557032"/>
              <a:gd name="connsiteX34662" fmla="*/ 2410737 w 4610101"/>
              <a:gd name="connsiteY34662" fmla="*/ 609459 h 6557032"/>
              <a:gd name="connsiteX34663" fmla="*/ 2421669 w 4610101"/>
              <a:gd name="connsiteY34663" fmla="*/ 598524 h 6557032"/>
              <a:gd name="connsiteX34664" fmla="*/ 2374293 w 4610101"/>
              <a:gd name="connsiteY34664" fmla="*/ 598524 h 6557032"/>
              <a:gd name="connsiteX34665" fmla="*/ 2372471 w 4610101"/>
              <a:gd name="connsiteY34665" fmla="*/ 605813 h 6557032"/>
              <a:gd name="connsiteX34666" fmla="*/ 2376115 w 4610101"/>
              <a:gd name="connsiteY34666" fmla="*/ 603991 h 6557032"/>
              <a:gd name="connsiteX34667" fmla="*/ 2374293 w 4610101"/>
              <a:gd name="connsiteY34667" fmla="*/ 598524 h 6557032"/>
              <a:gd name="connsiteX34668" fmla="*/ 1240901 w 4610101"/>
              <a:gd name="connsiteY34668" fmla="*/ 598524 h 6557032"/>
              <a:gd name="connsiteX34669" fmla="*/ 1240217 w 4610101"/>
              <a:gd name="connsiteY34669" fmla="*/ 604219 h 6557032"/>
              <a:gd name="connsiteX34670" fmla="*/ 1240685 w 4610101"/>
              <a:gd name="connsiteY34670" fmla="*/ 609054 h 6557032"/>
              <a:gd name="connsiteX34671" fmla="*/ 1234345 w 4610101"/>
              <a:gd name="connsiteY34671" fmla="*/ 609417 h 6557032"/>
              <a:gd name="connsiteX34672" fmla="*/ 1236117 w 4610101"/>
              <a:gd name="connsiteY34672" fmla="*/ 604903 h 6557032"/>
              <a:gd name="connsiteX34673" fmla="*/ 1237256 w 4610101"/>
              <a:gd name="connsiteY34673" fmla="*/ 603991 h 6557032"/>
              <a:gd name="connsiteX34674" fmla="*/ 1240901 w 4610101"/>
              <a:gd name="connsiteY34674" fmla="*/ 598524 h 6557032"/>
              <a:gd name="connsiteX34675" fmla="*/ 734336 w 4610101"/>
              <a:gd name="connsiteY34675" fmla="*/ 598524 h 6557032"/>
              <a:gd name="connsiteX34676" fmla="*/ 737981 w 4610101"/>
              <a:gd name="connsiteY34676" fmla="*/ 602169 h 6557032"/>
              <a:gd name="connsiteX34677" fmla="*/ 734336 w 4610101"/>
              <a:gd name="connsiteY34677" fmla="*/ 598524 h 6557032"/>
              <a:gd name="connsiteX34678" fmla="*/ 493809 w 4610101"/>
              <a:gd name="connsiteY34678" fmla="*/ 598524 h 6557032"/>
              <a:gd name="connsiteX34679" fmla="*/ 499276 w 4610101"/>
              <a:gd name="connsiteY34679" fmla="*/ 603991 h 6557032"/>
              <a:gd name="connsiteX34680" fmla="*/ 493809 w 4610101"/>
              <a:gd name="connsiteY34680" fmla="*/ 598524 h 6557032"/>
              <a:gd name="connsiteX34681" fmla="*/ 315236 w 4610101"/>
              <a:gd name="connsiteY34681" fmla="*/ 598524 h 6557032"/>
              <a:gd name="connsiteX34682" fmla="*/ 327993 w 4610101"/>
              <a:gd name="connsiteY34682" fmla="*/ 622213 h 6557032"/>
              <a:gd name="connsiteX34683" fmla="*/ 326169 w 4610101"/>
              <a:gd name="connsiteY34683" fmla="*/ 620391 h 6557032"/>
              <a:gd name="connsiteX34684" fmla="*/ 329814 w 4610101"/>
              <a:gd name="connsiteY34684" fmla="*/ 616746 h 6557032"/>
              <a:gd name="connsiteX34685" fmla="*/ 315236 w 4610101"/>
              <a:gd name="connsiteY34685" fmla="*/ 598524 h 6557032"/>
              <a:gd name="connsiteX34686" fmla="*/ 222306 w 4610101"/>
              <a:gd name="connsiteY34686" fmla="*/ 598524 h 6557032"/>
              <a:gd name="connsiteX34687" fmla="*/ 223350 w 4610101"/>
              <a:gd name="connsiteY34687" fmla="*/ 603459 h 6557032"/>
              <a:gd name="connsiteX34688" fmla="*/ 220483 w 4610101"/>
              <a:gd name="connsiteY34688" fmla="*/ 614924 h 6557032"/>
              <a:gd name="connsiteX34689" fmla="*/ 219379 w 4610101"/>
              <a:gd name="connsiteY34689" fmla="*/ 613158 h 6557032"/>
              <a:gd name="connsiteX34690" fmla="*/ 1251834 w 4610101"/>
              <a:gd name="connsiteY34690" fmla="*/ 598524 h 6557032"/>
              <a:gd name="connsiteX34691" fmla="*/ 1251834 w 4610101"/>
              <a:gd name="connsiteY34691" fmla="*/ 598524 h 6557032"/>
              <a:gd name="connsiteX34692" fmla="*/ 1251834 w 4610101"/>
              <a:gd name="connsiteY34692" fmla="*/ 598524 h 6557032"/>
              <a:gd name="connsiteX34693" fmla="*/ 1249631 w 4610101"/>
              <a:gd name="connsiteY34693" fmla="*/ 598044 h 6557032"/>
              <a:gd name="connsiteX34694" fmla="*/ 1249556 w 4610101"/>
              <a:gd name="connsiteY34694" fmla="*/ 600119 h 6557032"/>
              <a:gd name="connsiteX34695" fmla="*/ 1248357 w 4610101"/>
              <a:gd name="connsiteY34695" fmla="*/ 601665 h 6557032"/>
              <a:gd name="connsiteX34696" fmla="*/ 1249556 w 4610101"/>
              <a:gd name="connsiteY34696" fmla="*/ 598069 h 6557032"/>
              <a:gd name="connsiteX34697" fmla="*/ 2092252 w 4610101"/>
              <a:gd name="connsiteY34697" fmla="*/ 597574 h 6557032"/>
              <a:gd name="connsiteX34698" fmla="*/ 2094851 w 4610101"/>
              <a:gd name="connsiteY34698" fmla="*/ 599306 h 6557032"/>
              <a:gd name="connsiteX34699" fmla="*/ 2093679 w 4610101"/>
              <a:gd name="connsiteY34699" fmla="*/ 603991 h 6557032"/>
              <a:gd name="connsiteX34700" fmla="*/ 2091629 w 4610101"/>
              <a:gd name="connsiteY34700" fmla="*/ 598753 h 6557032"/>
              <a:gd name="connsiteX34701" fmla="*/ 2363360 w 4610101"/>
              <a:gd name="connsiteY34701" fmla="*/ 596702 h 6557032"/>
              <a:gd name="connsiteX34702" fmla="*/ 2361538 w 4610101"/>
              <a:gd name="connsiteY34702" fmla="*/ 609459 h 6557032"/>
              <a:gd name="connsiteX34703" fmla="*/ 2367004 w 4610101"/>
              <a:gd name="connsiteY34703" fmla="*/ 609459 h 6557032"/>
              <a:gd name="connsiteX34704" fmla="*/ 2363360 w 4610101"/>
              <a:gd name="connsiteY34704" fmla="*/ 596702 h 6557032"/>
              <a:gd name="connsiteX34705" fmla="*/ 1424940 w 4610101"/>
              <a:gd name="connsiteY34705" fmla="*/ 596702 h 6557032"/>
              <a:gd name="connsiteX34706" fmla="*/ 1430407 w 4610101"/>
              <a:gd name="connsiteY34706" fmla="*/ 600347 h 6557032"/>
              <a:gd name="connsiteX34707" fmla="*/ 1424940 w 4610101"/>
              <a:gd name="connsiteY34707" fmla="*/ 596702 h 6557032"/>
              <a:gd name="connsiteX34708" fmla="*/ 1158903 w 4610101"/>
              <a:gd name="connsiteY34708" fmla="*/ 596702 h 6557032"/>
              <a:gd name="connsiteX34709" fmla="*/ 1151614 w 4610101"/>
              <a:gd name="connsiteY34709" fmla="*/ 607635 h 6557032"/>
              <a:gd name="connsiteX34710" fmla="*/ 1158903 w 4610101"/>
              <a:gd name="connsiteY34710" fmla="*/ 596702 h 6557032"/>
              <a:gd name="connsiteX34711" fmla="*/ 654161 w 4610101"/>
              <a:gd name="connsiteY34711" fmla="*/ 596702 h 6557032"/>
              <a:gd name="connsiteX34712" fmla="*/ 655983 w 4610101"/>
              <a:gd name="connsiteY34712" fmla="*/ 603991 h 6557032"/>
              <a:gd name="connsiteX34713" fmla="*/ 654161 w 4610101"/>
              <a:gd name="connsiteY34713" fmla="*/ 596702 h 6557032"/>
              <a:gd name="connsiteX34714" fmla="*/ 650516 w 4610101"/>
              <a:gd name="connsiteY34714" fmla="*/ 596702 h 6557032"/>
              <a:gd name="connsiteX34715" fmla="*/ 646872 w 4610101"/>
              <a:gd name="connsiteY34715" fmla="*/ 613103 h 6557032"/>
              <a:gd name="connsiteX34716" fmla="*/ 652339 w 4610101"/>
              <a:gd name="connsiteY34716" fmla="*/ 611280 h 6557032"/>
              <a:gd name="connsiteX34717" fmla="*/ 650516 w 4610101"/>
              <a:gd name="connsiteY34717" fmla="*/ 596702 h 6557032"/>
              <a:gd name="connsiteX34718" fmla="*/ 324347 w 4610101"/>
              <a:gd name="connsiteY34718" fmla="*/ 596702 h 6557032"/>
              <a:gd name="connsiteX34719" fmla="*/ 330624 w 4610101"/>
              <a:gd name="connsiteY34719" fmla="*/ 611281 h 6557032"/>
              <a:gd name="connsiteX34720" fmla="*/ 330497 w 4610101"/>
              <a:gd name="connsiteY34720" fmla="*/ 611053 h 6557032"/>
              <a:gd name="connsiteX34721" fmla="*/ 327993 w 4610101"/>
              <a:gd name="connsiteY34721" fmla="*/ 607635 h 6557032"/>
              <a:gd name="connsiteX34722" fmla="*/ 328447 w 4610101"/>
              <a:gd name="connsiteY34722" fmla="*/ 610369 h 6557032"/>
              <a:gd name="connsiteX34723" fmla="*/ 331275 w 4610101"/>
              <a:gd name="connsiteY34723" fmla="*/ 612793 h 6557032"/>
              <a:gd name="connsiteX34724" fmla="*/ 331408 w 4610101"/>
              <a:gd name="connsiteY34724" fmla="*/ 613102 h 6557032"/>
              <a:gd name="connsiteX34725" fmla="*/ 342569 w 4610101"/>
              <a:gd name="connsiteY34725" fmla="*/ 624035 h 6557032"/>
              <a:gd name="connsiteX34726" fmla="*/ 333458 w 4610101"/>
              <a:gd name="connsiteY34726" fmla="*/ 613103 h 6557032"/>
              <a:gd name="connsiteX34727" fmla="*/ 340747 w 4610101"/>
              <a:gd name="connsiteY34727" fmla="*/ 616746 h 6557032"/>
              <a:gd name="connsiteX34728" fmla="*/ 324347 w 4610101"/>
              <a:gd name="connsiteY34728" fmla="*/ 596702 h 6557032"/>
              <a:gd name="connsiteX34729" fmla="*/ 2758336 w 4610101"/>
              <a:gd name="connsiteY34729" fmla="*/ 595164 h 6557032"/>
              <a:gd name="connsiteX34730" fmla="*/ 2762075 w 4610101"/>
              <a:gd name="connsiteY34730" fmla="*/ 599436 h 6557032"/>
              <a:gd name="connsiteX34731" fmla="*/ 2762416 w 4610101"/>
              <a:gd name="connsiteY34731" fmla="*/ 602914 h 6557032"/>
              <a:gd name="connsiteX34732" fmla="*/ 2762416 w 4610101"/>
              <a:gd name="connsiteY34732" fmla="*/ 604903 h 6557032"/>
              <a:gd name="connsiteX34733" fmla="*/ 2761050 w 4610101"/>
              <a:gd name="connsiteY34733" fmla="*/ 602853 h 6557032"/>
              <a:gd name="connsiteX34734" fmla="*/ 3083119 w 4610101"/>
              <a:gd name="connsiteY34734" fmla="*/ 594880 h 6557032"/>
              <a:gd name="connsiteX34735" fmla="*/ 3083119 w 4610101"/>
              <a:gd name="connsiteY34735" fmla="*/ 602169 h 6557032"/>
              <a:gd name="connsiteX34736" fmla="*/ 3083119 w 4610101"/>
              <a:gd name="connsiteY34736" fmla="*/ 594880 h 6557032"/>
              <a:gd name="connsiteX34737" fmla="*/ 2512778 w 4610101"/>
              <a:gd name="connsiteY34737" fmla="*/ 594880 h 6557032"/>
              <a:gd name="connsiteX34738" fmla="*/ 2509134 w 4610101"/>
              <a:gd name="connsiteY34738" fmla="*/ 616746 h 6557032"/>
              <a:gd name="connsiteX34739" fmla="*/ 2512778 w 4610101"/>
              <a:gd name="connsiteY34739" fmla="*/ 614924 h 6557032"/>
              <a:gd name="connsiteX34740" fmla="*/ 2514600 w 4610101"/>
              <a:gd name="connsiteY34740" fmla="*/ 620391 h 6557032"/>
              <a:gd name="connsiteX34741" fmla="*/ 2523711 w 4610101"/>
              <a:gd name="connsiteY34741" fmla="*/ 602169 h 6557032"/>
              <a:gd name="connsiteX34742" fmla="*/ 2520067 w 4610101"/>
              <a:gd name="connsiteY34742" fmla="*/ 602169 h 6557032"/>
              <a:gd name="connsiteX34743" fmla="*/ 2520067 w 4610101"/>
              <a:gd name="connsiteY34743" fmla="*/ 611280 h 6557032"/>
              <a:gd name="connsiteX34744" fmla="*/ 2514600 w 4610101"/>
              <a:gd name="connsiteY34744" fmla="*/ 596702 h 6557032"/>
              <a:gd name="connsiteX34745" fmla="*/ 2512778 w 4610101"/>
              <a:gd name="connsiteY34745" fmla="*/ 594880 h 6557032"/>
              <a:gd name="connsiteX34746" fmla="*/ 2354249 w 4610101"/>
              <a:gd name="connsiteY34746" fmla="*/ 594880 h 6557032"/>
              <a:gd name="connsiteX34747" fmla="*/ 2352427 w 4610101"/>
              <a:gd name="connsiteY34747" fmla="*/ 603991 h 6557032"/>
              <a:gd name="connsiteX34748" fmla="*/ 2354249 w 4610101"/>
              <a:gd name="connsiteY34748" fmla="*/ 594880 h 6557032"/>
              <a:gd name="connsiteX34749" fmla="*/ 1969770 w 4610101"/>
              <a:gd name="connsiteY34749" fmla="*/ 594880 h 6557032"/>
              <a:gd name="connsiteX34750" fmla="*/ 1960732 w 4610101"/>
              <a:gd name="connsiteY34750" fmla="*/ 607442 h 6557032"/>
              <a:gd name="connsiteX34751" fmla="*/ 1963849 w 4610101"/>
              <a:gd name="connsiteY34751" fmla="*/ 599208 h 6557032"/>
              <a:gd name="connsiteX34752" fmla="*/ 1969770 w 4610101"/>
              <a:gd name="connsiteY34752" fmla="*/ 594880 h 6557032"/>
              <a:gd name="connsiteX34753" fmla="*/ 1255478 w 4610101"/>
              <a:gd name="connsiteY34753" fmla="*/ 594880 h 6557032"/>
              <a:gd name="connsiteX34754" fmla="*/ 1255604 w 4610101"/>
              <a:gd name="connsiteY34754" fmla="*/ 595039 h 6557032"/>
              <a:gd name="connsiteX34755" fmla="*/ 1255478 w 4610101"/>
              <a:gd name="connsiteY34755" fmla="*/ 596702 h 6557032"/>
              <a:gd name="connsiteX34756" fmla="*/ 1255170 w 4610101"/>
              <a:gd name="connsiteY34756" fmla="*/ 596112 h 6557032"/>
              <a:gd name="connsiteX34757" fmla="*/ 1124282 w 4610101"/>
              <a:gd name="connsiteY34757" fmla="*/ 594880 h 6557032"/>
              <a:gd name="connsiteX34758" fmla="*/ 1116993 w 4610101"/>
              <a:gd name="connsiteY34758" fmla="*/ 605813 h 6557032"/>
              <a:gd name="connsiteX34759" fmla="*/ 1124282 w 4610101"/>
              <a:gd name="connsiteY34759" fmla="*/ 594880 h 6557032"/>
              <a:gd name="connsiteX34760" fmla="*/ 767136 w 4610101"/>
              <a:gd name="connsiteY34760" fmla="*/ 594880 h 6557032"/>
              <a:gd name="connsiteX34761" fmla="*/ 765313 w 4610101"/>
              <a:gd name="connsiteY34761" fmla="*/ 598524 h 6557032"/>
              <a:gd name="connsiteX34762" fmla="*/ 779892 w 4610101"/>
              <a:gd name="connsiteY34762" fmla="*/ 603991 h 6557032"/>
              <a:gd name="connsiteX34763" fmla="*/ 767136 w 4610101"/>
              <a:gd name="connsiteY34763" fmla="*/ 594880 h 6557032"/>
              <a:gd name="connsiteX34764" fmla="*/ 743447 w 4610101"/>
              <a:gd name="connsiteY34764" fmla="*/ 594880 h 6557032"/>
              <a:gd name="connsiteX34765" fmla="*/ 745269 w 4610101"/>
              <a:gd name="connsiteY34765" fmla="*/ 611280 h 6557032"/>
              <a:gd name="connsiteX34766" fmla="*/ 743447 w 4610101"/>
              <a:gd name="connsiteY34766" fmla="*/ 594880 h 6557032"/>
              <a:gd name="connsiteX34767" fmla="*/ 668738 w 4610101"/>
              <a:gd name="connsiteY34767" fmla="*/ 594880 h 6557032"/>
              <a:gd name="connsiteX34768" fmla="*/ 670300 w 4610101"/>
              <a:gd name="connsiteY34768" fmla="*/ 599566 h 6557032"/>
              <a:gd name="connsiteX34769" fmla="*/ 668738 w 4610101"/>
              <a:gd name="connsiteY34769" fmla="*/ 598524 h 6557032"/>
              <a:gd name="connsiteX34770" fmla="*/ 672383 w 4610101"/>
              <a:gd name="connsiteY34770" fmla="*/ 605813 h 6557032"/>
              <a:gd name="connsiteX34771" fmla="*/ 670300 w 4610101"/>
              <a:gd name="connsiteY34771" fmla="*/ 599566 h 6557032"/>
              <a:gd name="connsiteX34772" fmla="*/ 674205 w 4610101"/>
              <a:gd name="connsiteY34772" fmla="*/ 602169 h 6557032"/>
              <a:gd name="connsiteX34773" fmla="*/ 676027 w 4610101"/>
              <a:gd name="connsiteY34773" fmla="*/ 598524 h 6557032"/>
              <a:gd name="connsiteX34774" fmla="*/ 668738 w 4610101"/>
              <a:gd name="connsiteY34774" fmla="*/ 594880 h 6557032"/>
              <a:gd name="connsiteX34775" fmla="*/ 444611 w 4610101"/>
              <a:gd name="connsiteY34775" fmla="*/ 594880 h 6557032"/>
              <a:gd name="connsiteX34776" fmla="*/ 453722 w 4610101"/>
              <a:gd name="connsiteY34776" fmla="*/ 614924 h 6557032"/>
              <a:gd name="connsiteX34777" fmla="*/ 446433 w 4610101"/>
              <a:gd name="connsiteY34777" fmla="*/ 600347 h 6557032"/>
              <a:gd name="connsiteX34778" fmla="*/ 451899 w 4610101"/>
              <a:gd name="connsiteY34778" fmla="*/ 603991 h 6557032"/>
              <a:gd name="connsiteX34779" fmla="*/ 444611 w 4610101"/>
              <a:gd name="connsiteY34779" fmla="*/ 594880 h 6557032"/>
              <a:gd name="connsiteX34780" fmla="*/ 364435 w 4610101"/>
              <a:gd name="connsiteY34780" fmla="*/ 594880 h 6557032"/>
              <a:gd name="connsiteX34781" fmla="*/ 366257 w 4610101"/>
              <a:gd name="connsiteY34781" fmla="*/ 598524 h 6557032"/>
              <a:gd name="connsiteX34782" fmla="*/ 364435 w 4610101"/>
              <a:gd name="connsiteY34782" fmla="*/ 594880 h 6557032"/>
              <a:gd name="connsiteX34783" fmla="*/ 307948 w 4610101"/>
              <a:gd name="connsiteY34783" fmla="*/ 594880 h 6557032"/>
              <a:gd name="connsiteX34784" fmla="*/ 307948 w 4610101"/>
              <a:gd name="connsiteY34784" fmla="*/ 603991 h 6557032"/>
              <a:gd name="connsiteX34785" fmla="*/ 307948 w 4610101"/>
              <a:gd name="connsiteY34785" fmla="*/ 594880 h 6557032"/>
              <a:gd name="connsiteX34786" fmla="*/ 1426104 w 4610101"/>
              <a:gd name="connsiteY34786" fmla="*/ 594625 h 6557032"/>
              <a:gd name="connsiteX34787" fmla="*/ 1426080 w 4610101"/>
              <a:gd name="connsiteY34787" fmla="*/ 594880 h 6557032"/>
              <a:gd name="connsiteX34788" fmla="*/ 1425269 w 4610101"/>
              <a:gd name="connsiteY34788" fmla="*/ 596116 h 6557032"/>
              <a:gd name="connsiteX34789" fmla="*/ 1404896 w 4610101"/>
              <a:gd name="connsiteY34789" fmla="*/ 594197 h 6557032"/>
              <a:gd name="connsiteX34790" fmla="*/ 1404896 w 4610101"/>
              <a:gd name="connsiteY34790" fmla="*/ 605813 h 6557032"/>
              <a:gd name="connsiteX34791" fmla="*/ 1403074 w 4610101"/>
              <a:gd name="connsiteY34791" fmla="*/ 605813 h 6557032"/>
              <a:gd name="connsiteX34792" fmla="*/ 1403074 w 4610101"/>
              <a:gd name="connsiteY34792" fmla="*/ 594880 h 6557032"/>
              <a:gd name="connsiteX34793" fmla="*/ 2343316 w 4610101"/>
              <a:gd name="connsiteY34793" fmla="*/ 593058 h 6557032"/>
              <a:gd name="connsiteX34794" fmla="*/ 2345138 w 4610101"/>
              <a:gd name="connsiteY34794" fmla="*/ 609459 h 6557032"/>
              <a:gd name="connsiteX34795" fmla="*/ 2348782 w 4610101"/>
              <a:gd name="connsiteY34795" fmla="*/ 600347 h 6557032"/>
              <a:gd name="connsiteX34796" fmla="*/ 2343316 w 4610101"/>
              <a:gd name="connsiteY34796" fmla="*/ 593058 h 6557032"/>
              <a:gd name="connsiteX34797" fmla="*/ 1306499 w 4610101"/>
              <a:gd name="connsiteY34797" fmla="*/ 593058 h 6557032"/>
              <a:gd name="connsiteX34798" fmla="*/ 1304677 w 4610101"/>
              <a:gd name="connsiteY34798" fmla="*/ 602169 h 6557032"/>
              <a:gd name="connsiteX34799" fmla="*/ 1306499 w 4610101"/>
              <a:gd name="connsiteY34799" fmla="*/ 593058 h 6557032"/>
              <a:gd name="connsiteX34800" fmla="*/ 758025 w 4610101"/>
              <a:gd name="connsiteY34800" fmla="*/ 593058 h 6557032"/>
              <a:gd name="connsiteX34801" fmla="*/ 761670 w 4610101"/>
              <a:gd name="connsiteY34801" fmla="*/ 596702 h 6557032"/>
              <a:gd name="connsiteX34802" fmla="*/ 757249 w 4610101"/>
              <a:gd name="connsiteY34802" fmla="*/ 595772 h 6557032"/>
              <a:gd name="connsiteX34803" fmla="*/ 614074 w 4610101"/>
              <a:gd name="connsiteY34803" fmla="*/ 593058 h 6557032"/>
              <a:gd name="connsiteX34804" fmla="*/ 608169 w 4610101"/>
              <a:gd name="connsiteY34804" fmla="*/ 609459 h 6557032"/>
              <a:gd name="connsiteX34805" fmla="*/ 606784 w 4610101"/>
              <a:gd name="connsiteY34805" fmla="*/ 609459 h 6557032"/>
              <a:gd name="connsiteX34806" fmla="*/ 607819 w 4610101"/>
              <a:gd name="connsiteY34806" fmla="*/ 610430 h 6557032"/>
              <a:gd name="connsiteX34807" fmla="*/ 605873 w 4610101"/>
              <a:gd name="connsiteY34807" fmla="*/ 615835 h 6557032"/>
              <a:gd name="connsiteX34808" fmla="*/ 614074 w 4610101"/>
              <a:gd name="connsiteY34808" fmla="*/ 638612 h 6557032"/>
              <a:gd name="connsiteX34809" fmla="*/ 617945 w 4610101"/>
              <a:gd name="connsiteY34809" fmla="*/ 619936 h 6557032"/>
              <a:gd name="connsiteX34810" fmla="*/ 607819 w 4610101"/>
              <a:gd name="connsiteY34810" fmla="*/ 610430 h 6557032"/>
              <a:gd name="connsiteX34811" fmla="*/ 608169 w 4610101"/>
              <a:gd name="connsiteY34811" fmla="*/ 609459 h 6557032"/>
              <a:gd name="connsiteX34812" fmla="*/ 617717 w 4610101"/>
              <a:gd name="connsiteY34812" fmla="*/ 609459 h 6557032"/>
              <a:gd name="connsiteX34813" fmla="*/ 614074 w 4610101"/>
              <a:gd name="connsiteY34813" fmla="*/ 593058 h 6557032"/>
              <a:gd name="connsiteX34814" fmla="*/ 3391066 w 4610101"/>
              <a:gd name="connsiteY34814" fmla="*/ 591236 h 6557032"/>
              <a:gd name="connsiteX34815" fmla="*/ 3385600 w 4610101"/>
              <a:gd name="connsiteY34815" fmla="*/ 598524 h 6557032"/>
              <a:gd name="connsiteX34816" fmla="*/ 3372844 w 4610101"/>
              <a:gd name="connsiteY34816" fmla="*/ 600347 h 6557032"/>
              <a:gd name="connsiteX34817" fmla="*/ 3376489 w 4610101"/>
              <a:gd name="connsiteY34817" fmla="*/ 611280 h 6557032"/>
              <a:gd name="connsiteX34818" fmla="*/ 3387422 w 4610101"/>
              <a:gd name="connsiteY34818" fmla="*/ 618568 h 6557032"/>
              <a:gd name="connsiteX34819" fmla="*/ 3391066 w 4610101"/>
              <a:gd name="connsiteY34819" fmla="*/ 603991 h 6557032"/>
              <a:gd name="connsiteX34820" fmla="*/ 3398355 w 4610101"/>
              <a:gd name="connsiteY34820" fmla="*/ 636790 h 6557032"/>
              <a:gd name="connsiteX34821" fmla="*/ 3398355 w 4610101"/>
              <a:gd name="connsiteY34821" fmla="*/ 625857 h 6557032"/>
              <a:gd name="connsiteX34822" fmla="*/ 3384461 w 4610101"/>
              <a:gd name="connsiteY34822" fmla="*/ 618569 h 6557032"/>
              <a:gd name="connsiteX34823" fmla="*/ 3378376 w 4610101"/>
              <a:gd name="connsiteY34823" fmla="*/ 624229 h 6557032"/>
              <a:gd name="connsiteX34824" fmla="*/ 3378311 w 4610101"/>
              <a:gd name="connsiteY34824" fmla="*/ 624035 h 6557032"/>
              <a:gd name="connsiteX34825" fmla="*/ 3374666 w 4610101"/>
              <a:gd name="connsiteY34825" fmla="*/ 627679 h 6557032"/>
              <a:gd name="connsiteX34826" fmla="*/ 3378376 w 4610101"/>
              <a:gd name="connsiteY34826" fmla="*/ 624229 h 6557032"/>
              <a:gd name="connsiteX34827" fmla="*/ 3380133 w 4610101"/>
              <a:gd name="connsiteY34827" fmla="*/ 629501 h 6557032"/>
              <a:gd name="connsiteX34828" fmla="*/ 3383777 w 4610101"/>
              <a:gd name="connsiteY34828" fmla="*/ 627679 h 6557032"/>
              <a:gd name="connsiteX34829" fmla="*/ 3374666 w 4610101"/>
              <a:gd name="connsiteY34829" fmla="*/ 642257 h 6557032"/>
              <a:gd name="connsiteX34830" fmla="*/ 3378311 w 4610101"/>
              <a:gd name="connsiteY34830" fmla="*/ 640435 h 6557032"/>
              <a:gd name="connsiteX34831" fmla="*/ 3396532 w 4610101"/>
              <a:gd name="connsiteY34831" fmla="*/ 649545 h 6557032"/>
              <a:gd name="connsiteX34832" fmla="*/ 3416577 w 4610101"/>
              <a:gd name="connsiteY34832" fmla="*/ 640435 h 6557032"/>
              <a:gd name="connsiteX34833" fmla="*/ 3407466 w 4610101"/>
              <a:gd name="connsiteY34833" fmla="*/ 634968 h 6557032"/>
              <a:gd name="connsiteX34834" fmla="*/ 3411110 w 4610101"/>
              <a:gd name="connsiteY34834" fmla="*/ 620391 h 6557032"/>
              <a:gd name="connsiteX34835" fmla="*/ 3423865 w 4610101"/>
              <a:gd name="connsiteY34835" fmla="*/ 627679 h 6557032"/>
              <a:gd name="connsiteX34836" fmla="*/ 3429332 w 4610101"/>
              <a:gd name="connsiteY34836" fmla="*/ 613103 h 6557032"/>
              <a:gd name="connsiteX34837" fmla="*/ 3427510 w 4610101"/>
              <a:gd name="connsiteY34837" fmla="*/ 603991 h 6557032"/>
              <a:gd name="connsiteX34838" fmla="*/ 3423865 w 4610101"/>
              <a:gd name="connsiteY34838" fmla="*/ 600347 h 6557032"/>
              <a:gd name="connsiteX34839" fmla="*/ 3422043 w 4610101"/>
              <a:gd name="connsiteY34839" fmla="*/ 611280 h 6557032"/>
              <a:gd name="connsiteX34840" fmla="*/ 3405643 w 4610101"/>
              <a:gd name="connsiteY34840" fmla="*/ 613103 h 6557032"/>
              <a:gd name="connsiteX34841" fmla="*/ 3405643 w 4610101"/>
              <a:gd name="connsiteY34841" fmla="*/ 602169 h 6557032"/>
              <a:gd name="connsiteX34842" fmla="*/ 3412932 w 4610101"/>
              <a:gd name="connsiteY34842" fmla="*/ 600347 h 6557032"/>
              <a:gd name="connsiteX34843" fmla="*/ 3411110 w 4610101"/>
              <a:gd name="connsiteY34843" fmla="*/ 593058 h 6557032"/>
              <a:gd name="connsiteX34844" fmla="*/ 3396532 w 4610101"/>
              <a:gd name="connsiteY34844" fmla="*/ 591236 h 6557032"/>
              <a:gd name="connsiteX34845" fmla="*/ 3394710 w 4610101"/>
              <a:gd name="connsiteY34845" fmla="*/ 598524 h 6557032"/>
              <a:gd name="connsiteX34846" fmla="*/ 3392888 w 4610101"/>
              <a:gd name="connsiteY34846" fmla="*/ 593058 h 6557032"/>
              <a:gd name="connsiteX34847" fmla="*/ 3389244 w 4610101"/>
              <a:gd name="connsiteY34847" fmla="*/ 596702 h 6557032"/>
              <a:gd name="connsiteX34848" fmla="*/ 3391066 w 4610101"/>
              <a:gd name="connsiteY34848" fmla="*/ 591236 h 6557032"/>
              <a:gd name="connsiteX34849" fmla="*/ 3192449 w 4610101"/>
              <a:gd name="connsiteY34849" fmla="*/ 591236 h 6557032"/>
              <a:gd name="connsiteX34850" fmla="*/ 3186982 w 4610101"/>
              <a:gd name="connsiteY34850" fmla="*/ 607635 h 6557032"/>
              <a:gd name="connsiteX34851" fmla="*/ 3196093 w 4610101"/>
              <a:gd name="connsiteY34851" fmla="*/ 602169 h 6557032"/>
              <a:gd name="connsiteX34852" fmla="*/ 3192449 w 4610101"/>
              <a:gd name="connsiteY34852" fmla="*/ 591236 h 6557032"/>
              <a:gd name="connsiteX34853" fmla="*/ 2915479 w 4610101"/>
              <a:gd name="connsiteY34853" fmla="*/ 591236 h 6557032"/>
              <a:gd name="connsiteX34854" fmla="*/ 2908190 w 4610101"/>
              <a:gd name="connsiteY34854" fmla="*/ 600347 h 6557032"/>
              <a:gd name="connsiteX34855" fmla="*/ 2919123 w 4610101"/>
              <a:gd name="connsiteY34855" fmla="*/ 602169 h 6557032"/>
              <a:gd name="connsiteX34856" fmla="*/ 2915479 w 4610101"/>
              <a:gd name="connsiteY34856" fmla="*/ 594880 h 6557032"/>
              <a:gd name="connsiteX34857" fmla="*/ 2922767 w 4610101"/>
              <a:gd name="connsiteY34857" fmla="*/ 596702 h 6557032"/>
              <a:gd name="connsiteX34858" fmla="*/ 2915479 w 4610101"/>
              <a:gd name="connsiteY34858" fmla="*/ 591236 h 6557032"/>
              <a:gd name="connsiteX34859" fmla="*/ 1404896 w 4610101"/>
              <a:gd name="connsiteY34859" fmla="*/ 591236 h 6557032"/>
              <a:gd name="connsiteX34860" fmla="*/ 1406117 w 4610101"/>
              <a:gd name="connsiteY34860" fmla="*/ 594655 h 6557032"/>
              <a:gd name="connsiteX34861" fmla="*/ 1404896 w 4610101"/>
              <a:gd name="connsiteY34861" fmla="*/ 594197 h 6557032"/>
              <a:gd name="connsiteX34862" fmla="*/ 1111526 w 4610101"/>
              <a:gd name="connsiteY34862" fmla="*/ 591236 h 6557032"/>
              <a:gd name="connsiteX34863" fmla="*/ 1091484 w 4610101"/>
              <a:gd name="connsiteY34863" fmla="*/ 609459 h 6557032"/>
              <a:gd name="connsiteX34864" fmla="*/ 1100593 w 4610101"/>
              <a:gd name="connsiteY34864" fmla="*/ 611280 h 6557032"/>
              <a:gd name="connsiteX34865" fmla="*/ 1096949 w 4610101"/>
              <a:gd name="connsiteY34865" fmla="*/ 616746 h 6557032"/>
              <a:gd name="connsiteX34866" fmla="*/ 1107882 w 4610101"/>
              <a:gd name="connsiteY34866" fmla="*/ 624035 h 6557032"/>
              <a:gd name="connsiteX34867" fmla="*/ 1113349 w 4610101"/>
              <a:gd name="connsiteY34867" fmla="*/ 609459 h 6557032"/>
              <a:gd name="connsiteX34868" fmla="*/ 1106060 w 4610101"/>
              <a:gd name="connsiteY34868" fmla="*/ 609459 h 6557032"/>
              <a:gd name="connsiteX34869" fmla="*/ 1111526 w 4610101"/>
              <a:gd name="connsiteY34869" fmla="*/ 591236 h 6557032"/>
              <a:gd name="connsiteX34870" fmla="*/ 838200 w 4610101"/>
              <a:gd name="connsiteY34870" fmla="*/ 591236 h 6557032"/>
              <a:gd name="connsiteX34871" fmla="*/ 836378 w 4610101"/>
              <a:gd name="connsiteY34871" fmla="*/ 603991 h 6557032"/>
              <a:gd name="connsiteX34872" fmla="*/ 841845 w 4610101"/>
              <a:gd name="connsiteY34872" fmla="*/ 596702 h 6557032"/>
              <a:gd name="connsiteX34873" fmla="*/ 838200 w 4610101"/>
              <a:gd name="connsiteY34873" fmla="*/ 591236 h 6557032"/>
              <a:gd name="connsiteX34874" fmla="*/ 834556 w 4610101"/>
              <a:gd name="connsiteY34874" fmla="*/ 591236 h 6557032"/>
              <a:gd name="connsiteX34875" fmla="*/ 829089 w 4610101"/>
              <a:gd name="connsiteY34875" fmla="*/ 605813 h 6557032"/>
              <a:gd name="connsiteX34876" fmla="*/ 834556 w 4610101"/>
              <a:gd name="connsiteY34876" fmla="*/ 591236 h 6557032"/>
              <a:gd name="connsiteX34877" fmla="*/ 779892 w 4610101"/>
              <a:gd name="connsiteY34877" fmla="*/ 591236 h 6557032"/>
              <a:gd name="connsiteX34878" fmla="*/ 783535 w 4610101"/>
              <a:gd name="connsiteY34878" fmla="*/ 598524 h 6557032"/>
              <a:gd name="connsiteX34879" fmla="*/ 785357 w 4610101"/>
              <a:gd name="connsiteY34879" fmla="*/ 594880 h 6557032"/>
              <a:gd name="connsiteX34880" fmla="*/ 779892 w 4610101"/>
              <a:gd name="connsiteY34880" fmla="*/ 591236 h 6557032"/>
              <a:gd name="connsiteX34881" fmla="*/ 522964 w 4610101"/>
              <a:gd name="connsiteY34881" fmla="*/ 591236 h 6557032"/>
              <a:gd name="connsiteX34882" fmla="*/ 519320 w 4610101"/>
              <a:gd name="connsiteY34882" fmla="*/ 603991 h 6557032"/>
              <a:gd name="connsiteX34883" fmla="*/ 522964 w 4610101"/>
              <a:gd name="connsiteY34883" fmla="*/ 591236 h 6557032"/>
              <a:gd name="connsiteX34884" fmla="*/ 391768 w 4610101"/>
              <a:gd name="connsiteY34884" fmla="*/ 591236 h 6557032"/>
              <a:gd name="connsiteX34885" fmla="*/ 390629 w 4610101"/>
              <a:gd name="connsiteY34885" fmla="*/ 594653 h 6557032"/>
              <a:gd name="connsiteX34886" fmla="*/ 389670 w 4610101"/>
              <a:gd name="connsiteY34886" fmla="*/ 595437 h 6557032"/>
              <a:gd name="connsiteX34887" fmla="*/ 389300 w 4610101"/>
              <a:gd name="connsiteY34887" fmla="*/ 593929 h 6557032"/>
              <a:gd name="connsiteX34888" fmla="*/ 331636 w 4610101"/>
              <a:gd name="connsiteY34888" fmla="*/ 591236 h 6557032"/>
              <a:gd name="connsiteX34889" fmla="*/ 342569 w 4610101"/>
              <a:gd name="connsiteY34889" fmla="*/ 603991 h 6557032"/>
              <a:gd name="connsiteX34890" fmla="*/ 331636 w 4610101"/>
              <a:gd name="connsiteY34890" fmla="*/ 591236 h 6557032"/>
              <a:gd name="connsiteX34891" fmla="*/ 2161099 w 4610101"/>
              <a:gd name="connsiteY34891" fmla="*/ 589435 h 6557032"/>
              <a:gd name="connsiteX34892" fmla="*/ 2166565 w 4610101"/>
              <a:gd name="connsiteY34892" fmla="*/ 600368 h 6557032"/>
              <a:gd name="connsiteX34893" fmla="*/ 2161099 w 4610101"/>
              <a:gd name="connsiteY34893" fmla="*/ 589435 h 6557032"/>
              <a:gd name="connsiteX34894" fmla="*/ 3364645 w 4610101"/>
              <a:gd name="connsiteY34894" fmla="*/ 589414 h 6557032"/>
              <a:gd name="connsiteX34895" fmla="*/ 3360089 w 4610101"/>
              <a:gd name="connsiteY34895" fmla="*/ 593058 h 6557032"/>
              <a:gd name="connsiteX34896" fmla="*/ 3361911 w 4610101"/>
              <a:gd name="connsiteY34896" fmla="*/ 596702 h 6557032"/>
              <a:gd name="connsiteX34897" fmla="*/ 3369200 w 4610101"/>
              <a:gd name="connsiteY34897" fmla="*/ 591236 h 6557032"/>
              <a:gd name="connsiteX34898" fmla="*/ 3364645 w 4610101"/>
              <a:gd name="connsiteY34898" fmla="*/ 589414 h 6557032"/>
              <a:gd name="connsiteX34899" fmla="*/ 1113349 w 4610101"/>
              <a:gd name="connsiteY34899" fmla="*/ 589414 h 6557032"/>
              <a:gd name="connsiteX34900" fmla="*/ 1115171 w 4610101"/>
              <a:gd name="connsiteY34900" fmla="*/ 600347 h 6557032"/>
              <a:gd name="connsiteX34901" fmla="*/ 1113349 w 4610101"/>
              <a:gd name="connsiteY34901" fmla="*/ 589414 h 6557032"/>
              <a:gd name="connsiteX34902" fmla="*/ 1096949 w 4610101"/>
              <a:gd name="connsiteY34902" fmla="*/ 589414 h 6557032"/>
              <a:gd name="connsiteX34903" fmla="*/ 1089660 w 4610101"/>
              <a:gd name="connsiteY34903" fmla="*/ 602169 h 6557032"/>
              <a:gd name="connsiteX34904" fmla="*/ 1102416 w 4610101"/>
              <a:gd name="connsiteY34904" fmla="*/ 591236 h 6557032"/>
              <a:gd name="connsiteX34905" fmla="*/ 1096949 w 4610101"/>
              <a:gd name="connsiteY34905" fmla="*/ 589414 h 6557032"/>
              <a:gd name="connsiteX34906" fmla="*/ 943886 w 4610101"/>
              <a:gd name="connsiteY34906" fmla="*/ 589414 h 6557032"/>
              <a:gd name="connsiteX34907" fmla="*/ 927487 w 4610101"/>
              <a:gd name="connsiteY34907" fmla="*/ 618568 h 6557032"/>
              <a:gd name="connsiteX34908" fmla="*/ 934777 w 4610101"/>
              <a:gd name="connsiteY34908" fmla="*/ 605813 h 6557032"/>
              <a:gd name="connsiteX34909" fmla="*/ 934777 w 4610101"/>
              <a:gd name="connsiteY34909" fmla="*/ 611280 h 6557032"/>
              <a:gd name="connsiteX34910" fmla="*/ 943886 w 4610101"/>
              <a:gd name="connsiteY34910" fmla="*/ 589414 h 6557032"/>
              <a:gd name="connsiteX34911" fmla="*/ 927487 w 4610101"/>
              <a:gd name="connsiteY34911" fmla="*/ 589414 h 6557032"/>
              <a:gd name="connsiteX34912" fmla="*/ 923843 w 4610101"/>
              <a:gd name="connsiteY34912" fmla="*/ 593058 h 6557032"/>
              <a:gd name="connsiteX34913" fmla="*/ 927487 w 4610101"/>
              <a:gd name="connsiteY34913" fmla="*/ 589414 h 6557032"/>
              <a:gd name="connsiteX34914" fmla="*/ 911087 w 4610101"/>
              <a:gd name="connsiteY34914" fmla="*/ 589414 h 6557032"/>
              <a:gd name="connsiteX34915" fmla="*/ 903799 w 4610101"/>
              <a:gd name="connsiteY34915" fmla="*/ 594880 h 6557032"/>
              <a:gd name="connsiteX34916" fmla="*/ 905818 w 4610101"/>
              <a:gd name="connsiteY34916" fmla="*/ 596002 h 6557032"/>
              <a:gd name="connsiteX34917" fmla="*/ 903799 w 4610101"/>
              <a:gd name="connsiteY34917" fmla="*/ 598524 h 6557032"/>
              <a:gd name="connsiteX34918" fmla="*/ 905849 w 4610101"/>
              <a:gd name="connsiteY34918" fmla="*/ 596019 h 6557032"/>
              <a:gd name="connsiteX34919" fmla="*/ 905818 w 4610101"/>
              <a:gd name="connsiteY34919" fmla="*/ 596002 h 6557032"/>
              <a:gd name="connsiteX34920" fmla="*/ 905621 w 4610101"/>
              <a:gd name="connsiteY34920" fmla="*/ 589414 h 6557032"/>
              <a:gd name="connsiteX34921" fmla="*/ 901976 w 4610101"/>
              <a:gd name="connsiteY34921" fmla="*/ 593058 h 6557032"/>
              <a:gd name="connsiteX34922" fmla="*/ 905621 w 4610101"/>
              <a:gd name="connsiteY34922" fmla="*/ 589414 h 6557032"/>
              <a:gd name="connsiteX34923" fmla="*/ 348037 w 4610101"/>
              <a:gd name="connsiteY34923" fmla="*/ 589414 h 6557032"/>
              <a:gd name="connsiteX34924" fmla="*/ 353502 w 4610101"/>
              <a:gd name="connsiteY34924" fmla="*/ 600347 h 6557032"/>
              <a:gd name="connsiteX34925" fmla="*/ 349858 w 4610101"/>
              <a:gd name="connsiteY34925" fmla="*/ 593058 h 6557032"/>
              <a:gd name="connsiteX34926" fmla="*/ 348037 w 4610101"/>
              <a:gd name="connsiteY34926" fmla="*/ 589414 h 6557032"/>
              <a:gd name="connsiteX34927" fmla="*/ 317059 w 4610101"/>
              <a:gd name="connsiteY34927" fmla="*/ 589414 h 6557032"/>
              <a:gd name="connsiteX34928" fmla="*/ 326169 w 4610101"/>
              <a:gd name="connsiteY34928" fmla="*/ 605813 h 6557032"/>
              <a:gd name="connsiteX34929" fmla="*/ 317059 w 4610101"/>
              <a:gd name="connsiteY34929" fmla="*/ 589414 h 6557032"/>
              <a:gd name="connsiteX34930" fmla="*/ 1090086 w 4610101"/>
              <a:gd name="connsiteY34930" fmla="*/ 589206 h 6557032"/>
              <a:gd name="connsiteX34931" fmla="*/ 1090397 w 4610101"/>
              <a:gd name="connsiteY34931" fmla="*/ 590991 h 6557032"/>
              <a:gd name="connsiteX34932" fmla="*/ 1087838 w 4610101"/>
              <a:gd name="connsiteY34932" fmla="*/ 593058 h 6557032"/>
              <a:gd name="connsiteX34933" fmla="*/ 664951 w 4610101"/>
              <a:gd name="connsiteY34933" fmla="*/ 588521 h 6557032"/>
              <a:gd name="connsiteX34934" fmla="*/ 665094 w 4610101"/>
              <a:gd name="connsiteY34934" fmla="*/ 589414 h 6557032"/>
              <a:gd name="connsiteX34935" fmla="*/ 664998 w 4610101"/>
              <a:gd name="connsiteY34935" fmla="*/ 589414 h 6557032"/>
              <a:gd name="connsiteX34936" fmla="*/ 2491595 w 4610101"/>
              <a:gd name="connsiteY34936" fmla="*/ 588048 h 6557032"/>
              <a:gd name="connsiteX34937" fmla="*/ 2487268 w 4610101"/>
              <a:gd name="connsiteY34937" fmla="*/ 589414 h 6557032"/>
              <a:gd name="connsiteX34938" fmla="*/ 2489090 w 4610101"/>
              <a:gd name="connsiteY34938" fmla="*/ 600347 h 6557032"/>
              <a:gd name="connsiteX34939" fmla="*/ 2494556 w 4610101"/>
              <a:gd name="connsiteY34939" fmla="*/ 589414 h 6557032"/>
              <a:gd name="connsiteX34940" fmla="*/ 2491595 w 4610101"/>
              <a:gd name="connsiteY34940" fmla="*/ 588048 h 6557032"/>
              <a:gd name="connsiteX34941" fmla="*/ 3493108 w 4610101"/>
              <a:gd name="connsiteY34941" fmla="*/ 587591 h 6557032"/>
              <a:gd name="connsiteX34942" fmla="*/ 3485819 w 4610101"/>
              <a:gd name="connsiteY34942" fmla="*/ 594880 h 6557032"/>
              <a:gd name="connsiteX34943" fmla="*/ 3491286 w 4610101"/>
              <a:gd name="connsiteY34943" fmla="*/ 596702 h 6557032"/>
              <a:gd name="connsiteX34944" fmla="*/ 3485819 w 4610101"/>
              <a:gd name="connsiteY34944" fmla="*/ 600347 h 6557032"/>
              <a:gd name="connsiteX34945" fmla="*/ 3493108 w 4610101"/>
              <a:gd name="connsiteY34945" fmla="*/ 602169 h 6557032"/>
              <a:gd name="connsiteX34946" fmla="*/ 3493108 w 4610101"/>
              <a:gd name="connsiteY34946" fmla="*/ 587591 h 6557032"/>
              <a:gd name="connsiteX34947" fmla="*/ 2585665 w 4610101"/>
              <a:gd name="connsiteY34947" fmla="*/ 587591 h 6557032"/>
              <a:gd name="connsiteX34948" fmla="*/ 2585665 w 4610101"/>
              <a:gd name="connsiteY34948" fmla="*/ 613103 h 6557032"/>
              <a:gd name="connsiteX34949" fmla="*/ 2583843 w 4610101"/>
              <a:gd name="connsiteY34949" fmla="*/ 602169 h 6557032"/>
              <a:gd name="connsiteX34950" fmla="*/ 2587487 w 4610101"/>
              <a:gd name="connsiteY34950" fmla="*/ 605813 h 6557032"/>
              <a:gd name="connsiteX34951" fmla="*/ 2589310 w 4610101"/>
              <a:gd name="connsiteY34951" fmla="*/ 598524 h 6557032"/>
              <a:gd name="connsiteX34952" fmla="*/ 2585665 w 4610101"/>
              <a:gd name="connsiteY34952" fmla="*/ 602169 h 6557032"/>
              <a:gd name="connsiteX34953" fmla="*/ 2585665 w 4610101"/>
              <a:gd name="connsiteY34953" fmla="*/ 587591 h 6557032"/>
              <a:gd name="connsiteX34954" fmla="*/ 1253656 w 4610101"/>
              <a:gd name="connsiteY34954" fmla="*/ 587591 h 6557032"/>
              <a:gd name="connsiteX34955" fmla="*/ 1255478 w 4610101"/>
              <a:gd name="connsiteY34955" fmla="*/ 594880 h 6557032"/>
              <a:gd name="connsiteX34956" fmla="*/ 1253890 w 4610101"/>
              <a:gd name="connsiteY34956" fmla="*/ 593659 h 6557032"/>
              <a:gd name="connsiteX34957" fmla="*/ 1252766 w 4610101"/>
              <a:gd name="connsiteY34957" fmla="*/ 591505 h 6557032"/>
              <a:gd name="connsiteX34958" fmla="*/ 1250012 w 4610101"/>
              <a:gd name="connsiteY34958" fmla="*/ 587591 h 6557032"/>
              <a:gd name="connsiteX34959" fmla="*/ 1252745 w 4610101"/>
              <a:gd name="connsiteY34959" fmla="*/ 591464 h 6557032"/>
              <a:gd name="connsiteX34960" fmla="*/ 1252766 w 4610101"/>
              <a:gd name="connsiteY34960" fmla="*/ 591505 h 6557032"/>
              <a:gd name="connsiteX34961" fmla="*/ 1252517 w 4610101"/>
              <a:gd name="connsiteY34961" fmla="*/ 592603 h 6557032"/>
              <a:gd name="connsiteX34962" fmla="*/ 1253890 w 4610101"/>
              <a:gd name="connsiteY34962" fmla="*/ 593659 h 6557032"/>
              <a:gd name="connsiteX34963" fmla="*/ 1255170 w 4610101"/>
              <a:gd name="connsiteY34963" fmla="*/ 596112 h 6557032"/>
              <a:gd name="connsiteX34964" fmla="*/ 1255022 w 4610101"/>
              <a:gd name="connsiteY34964" fmla="*/ 596702 h 6557032"/>
              <a:gd name="connsiteX34965" fmla="*/ 1251834 w 4610101"/>
              <a:gd name="connsiteY34965" fmla="*/ 598524 h 6557032"/>
              <a:gd name="connsiteX34966" fmla="*/ 1253656 w 4610101"/>
              <a:gd name="connsiteY34966" fmla="*/ 596702 h 6557032"/>
              <a:gd name="connsiteX34967" fmla="*/ 1249631 w 4610101"/>
              <a:gd name="connsiteY34967" fmla="*/ 598044 h 6557032"/>
              <a:gd name="connsiteX34968" fmla="*/ 878288 w 4610101"/>
              <a:gd name="connsiteY34968" fmla="*/ 587591 h 6557032"/>
              <a:gd name="connsiteX34969" fmla="*/ 871000 w 4610101"/>
              <a:gd name="connsiteY34969" fmla="*/ 600347 h 6557032"/>
              <a:gd name="connsiteX34970" fmla="*/ 880111 w 4610101"/>
              <a:gd name="connsiteY34970" fmla="*/ 591236 h 6557032"/>
              <a:gd name="connsiteX34971" fmla="*/ 878288 w 4610101"/>
              <a:gd name="connsiteY34971" fmla="*/ 587591 h 6557032"/>
              <a:gd name="connsiteX34972" fmla="*/ 860066 w 4610101"/>
              <a:gd name="connsiteY34972" fmla="*/ 587591 h 6557032"/>
              <a:gd name="connsiteX34973" fmla="*/ 845489 w 4610101"/>
              <a:gd name="connsiteY34973" fmla="*/ 602169 h 6557032"/>
              <a:gd name="connsiteX34974" fmla="*/ 849133 w 4610101"/>
              <a:gd name="connsiteY34974" fmla="*/ 596702 h 6557032"/>
              <a:gd name="connsiteX34975" fmla="*/ 849133 w 4610101"/>
              <a:gd name="connsiteY34975" fmla="*/ 614924 h 6557032"/>
              <a:gd name="connsiteX34976" fmla="*/ 856422 w 4610101"/>
              <a:gd name="connsiteY34976" fmla="*/ 605813 h 6557032"/>
              <a:gd name="connsiteX34977" fmla="*/ 852778 w 4610101"/>
              <a:gd name="connsiteY34977" fmla="*/ 622213 h 6557032"/>
              <a:gd name="connsiteX34978" fmla="*/ 860066 w 4610101"/>
              <a:gd name="connsiteY34978" fmla="*/ 587591 h 6557032"/>
              <a:gd name="connsiteX34979" fmla="*/ 548475 w 4610101"/>
              <a:gd name="connsiteY34979" fmla="*/ 587591 h 6557032"/>
              <a:gd name="connsiteX34980" fmla="*/ 550297 w 4610101"/>
              <a:gd name="connsiteY34980" fmla="*/ 602169 h 6557032"/>
              <a:gd name="connsiteX34981" fmla="*/ 555763 w 4610101"/>
              <a:gd name="connsiteY34981" fmla="*/ 600347 h 6557032"/>
              <a:gd name="connsiteX34982" fmla="*/ 548475 w 4610101"/>
              <a:gd name="connsiteY34982" fmla="*/ 587591 h 6557032"/>
              <a:gd name="connsiteX34983" fmla="*/ 3292669 w 4610101"/>
              <a:gd name="connsiteY34983" fmla="*/ 585769 h 6557032"/>
              <a:gd name="connsiteX34984" fmla="*/ 3287202 w 4610101"/>
              <a:gd name="connsiteY34984" fmla="*/ 591236 h 6557032"/>
              <a:gd name="connsiteX34985" fmla="*/ 3283558 w 4610101"/>
              <a:gd name="connsiteY34985" fmla="*/ 587591 h 6557032"/>
              <a:gd name="connsiteX34986" fmla="*/ 3276269 w 4610101"/>
              <a:gd name="connsiteY34986" fmla="*/ 594880 h 6557032"/>
              <a:gd name="connsiteX34987" fmla="*/ 3299957 w 4610101"/>
              <a:gd name="connsiteY34987" fmla="*/ 591236 h 6557032"/>
              <a:gd name="connsiteX34988" fmla="*/ 3292669 w 4610101"/>
              <a:gd name="connsiteY34988" fmla="*/ 585769 h 6557032"/>
              <a:gd name="connsiteX34989" fmla="*/ 3064897 w 4610101"/>
              <a:gd name="connsiteY34989" fmla="*/ 585769 h 6557032"/>
              <a:gd name="connsiteX34990" fmla="*/ 3059430 w 4610101"/>
              <a:gd name="connsiteY34990" fmla="*/ 589414 h 6557032"/>
              <a:gd name="connsiteX34991" fmla="*/ 3053964 w 4610101"/>
              <a:gd name="connsiteY34991" fmla="*/ 598524 h 6557032"/>
              <a:gd name="connsiteX34992" fmla="*/ 3053964 w 4610101"/>
              <a:gd name="connsiteY34992" fmla="*/ 611280 h 6557032"/>
              <a:gd name="connsiteX34993" fmla="*/ 3066719 w 4610101"/>
              <a:gd name="connsiteY34993" fmla="*/ 611280 h 6557032"/>
              <a:gd name="connsiteX34994" fmla="*/ 3066719 w 4610101"/>
              <a:gd name="connsiteY34994" fmla="*/ 605813 h 6557032"/>
              <a:gd name="connsiteX34995" fmla="*/ 3070363 w 4610101"/>
              <a:gd name="connsiteY34995" fmla="*/ 589414 h 6557032"/>
              <a:gd name="connsiteX34996" fmla="*/ 3064897 w 4610101"/>
              <a:gd name="connsiteY34996" fmla="*/ 585769 h 6557032"/>
              <a:gd name="connsiteX34997" fmla="*/ 2875391 w 4610101"/>
              <a:gd name="connsiteY34997" fmla="*/ 585769 h 6557032"/>
              <a:gd name="connsiteX34998" fmla="*/ 2869924 w 4610101"/>
              <a:gd name="connsiteY34998" fmla="*/ 600347 h 6557032"/>
              <a:gd name="connsiteX34999" fmla="*/ 2884502 w 4610101"/>
              <a:gd name="connsiteY34999" fmla="*/ 596702 h 6557032"/>
              <a:gd name="connsiteX35000" fmla="*/ 2886324 w 4610101"/>
              <a:gd name="connsiteY35000" fmla="*/ 600347 h 6557032"/>
              <a:gd name="connsiteX35001" fmla="*/ 2891790 w 4610101"/>
              <a:gd name="connsiteY35001" fmla="*/ 594880 h 6557032"/>
              <a:gd name="connsiteX35002" fmla="*/ 2875391 w 4610101"/>
              <a:gd name="connsiteY35002" fmla="*/ 585769 h 6557032"/>
              <a:gd name="connsiteX35003" fmla="*/ 2121011 w 4610101"/>
              <a:gd name="connsiteY35003" fmla="*/ 585769 h 6557032"/>
              <a:gd name="connsiteX35004" fmla="*/ 2115544 w 4610101"/>
              <a:gd name="connsiteY35004" fmla="*/ 596702 h 6557032"/>
              <a:gd name="connsiteX35005" fmla="*/ 2111900 w 4610101"/>
              <a:gd name="connsiteY35005" fmla="*/ 594880 h 6557032"/>
              <a:gd name="connsiteX35006" fmla="*/ 2115544 w 4610101"/>
              <a:gd name="connsiteY35006" fmla="*/ 607635 h 6557032"/>
              <a:gd name="connsiteX35007" fmla="*/ 2121011 w 4610101"/>
              <a:gd name="connsiteY35007" fmla="*/ 596702 h 6557032"/>
              <a:gd name="connsiteX35008" fmla="*/ 2128300 w 4610101"/>
              <a:gd name="connsiteY35008" fmla="*/ 602169 h 6557032"/>
              <a:gd name="connsiteX35009" fmla="*/ 2121011 w 4610101"/>
              <a:gd name="connsiteY35009" fmla="*/ 585769 h 6557032"/>
              <a:gd name="connsiteX35010" fmla="*/ 909265 w 4610101"/>
              <a:gd name="connsiteY35010" fmla="*/ 585769 h 6557032"/>
              <a:gd name="connsiteX35011" fmla="*/ 905621 w 4610101"/>
              <a:gd name="connsiteY35011" fmla="*/ 591236 h 6557032"/>
              <a:gd name="connsiteX35012" fmla="*/ 911087 w 4610101"/>
              <a:gd name="connsiteY35012" fmla="*/ 587591 h 6557032"/>
              <a:gd name="connsiteX35013" fmla="*/ 909265 w 4610101"/>
              <a:gd name="connsiteY35013" fmla="*/ 585769 h 6557032"/>
              <a:gd name="connsiteX35014" fmla="*/ 696071 w 4610101"/>
              <a:gd name="connsiteY35014" fmla="*/ 585769 h 6557032"/>
              <a:gd name="connsiteX35015" fmla="*/ 690604 w 4610101"/>
              <a:gd name="connsiteY35015" fmla="*/ 593058 h 6557032"/>
              <a:gd name="connsiteX35016" fmla="*/ 716115 w 4610101"/>
              <a:gd name="connsiteY35016" fmla="*/ 605813 h 6557032"/>
              <a:gd name="connsiteX35017" fmla="*/ 697893 w 4610101"/>
              <a:gd name="connsiteY35017" fmla="*/ 598524 h 6557032"/>
              <a:gd name="connsiteX35018" fmla="*/ 708826 w 4610101"/>
              <a:gd name="connsiteY35018" fmla="*/ 600347 h 6557032"/>
              <a:gd name="connsiteX35019" fmla="*/ 696071 w 4610101"/>
              <a:gd name="connsiteY35019" fmla="*/ 585769 h 6557032"/>
              <a:gd name="connsiteX35020" fmla="*/ 654161 w 4610101"/>
              <a:gd name="connsiteY35020" fmla="*/ 585769 h 6557032"/>
              <a:gd name="connsiteX35021" fmla="*/ 650516 w 4610101"/>
              <a:gd name="connsiteY35021" fmla="*/ 593058 h 6557032"/>
              <a:gd name="connsiteX35022" fmla="*/ 657805 w 4610101"/>
              <a:gd name="connsiteY35022" fmla="*/ 593058 h 6557032"/>
              <a:gd name="connsiteX35023" fmla="*/ 654161 w 4610101"/>
              <a:gd name="connsiteY35023" fmla="*/ 585769 h 6557032"/>
              <a:gd name="connsiteX35024" fmla="*/ 588562 w 4610101"/>
              <a:gd name="connsiteY35024" fmla="*/ 585769 h 6557032"/>
              <a:gd name="connsiteX35025" fmla="*/ 584919 w 4610101"/>
              <a:gd name="connsiteY35025" fmla="*/ 589414 h 6557032"/>
              <a:gd name="connsiteX35026" fmla="*/ 588562 w 4610101"/>
              <a:gd name="connsiteY35026" fmla="*/ 585769 h 6557032"/>
              <a:gd name="connsiteX35027" fmla="*/ 255105 w 4610101"/>
              <a:gd name="connsiteY35027" fmla="*/ 585769 h 6557032"/>
              <a:gd name="connsiteX35028" fmla="*/ 270442 w 4610101"/>
              <a:gd name="connsiteY35028" fmla="*/ 598746 h 6557032"/>
              <a:gd name="connsiteX35029" fmla="*/ 272054 w 4610101"/>
              <a:gd name="connsiteY35029" fmla="*/ 601598 h 6557032"/>
              <a:gd name="connsiteX35030" fmla="*/ 271960 w 4610101"/>
              <a:gd name="connsiteY35030" fmla="*/ 601486 h 6557032"/>
              <a:gd name="connsiteX35031" fmla="*/ 255105 w 4610101"/>
              <a:gd name="connsiteY35031" fmla="*/ 585769 h 6557032"/>
              <a:gd name="connsiteX35032" fmla="*/ 3529551 w 4610101"/>
              <a:gd name="connsiteY35032" fmla="*/ 583947 h 6557032"/>
              <a:gd name="connsiteX35033" fmla="*/ 3529551 w 4610101"/>
              <a:gd name="connsiteY35033" fmla="*/ 594880 h 6557032"/>
              <a:gd name="connsiteX35034" fmla="*/ 3529551 w 4610101"/>
              <a:gd name="connsiteY35034" fmla="*/ 583947 h 6557032"/>
              <a:gd name="connsiteX35035" fmla="*/ 2866280 w 4610101"/>
              <a:gd name="connsiteY35035" fmla="*/ 583947 h 6557032"/>
              <a:gd name="connsiteX35036" fmla="*/ 2857169 w 4610101"/>
              <a:gd name="connsiteY35036" fmla="*/ 591236 h 6557032"/>
              <a:gd name="connsiteX35037" fmla="*/ 2862636 w 4610101"/>
              <a:gd name="connsiteY35037" fmla="*/ 594880 h 6557032"/>
              <a:gd name="connsiteX35038" fmla="*/ 2866280 w 4610101"/>
              <a:gd name="connsiteY35038" fmla="*/ 589414 h 6557032"/>
              <a:gd name="connsiteX35039" fmla="*/ 2866280 w 4610101"/>
              <a:gd name="connsiteY35039" fmla="*/ 583947 h 6557032"/>
              <a:gd name="connsiteX35040" fmla="*/ 1109704 w 4610101"/>
              <a:gd name="connsiteY35040" fmla="*/ 583947 h 6557032"/>
              <a:gd name="connsiteX35041" fmla="*/ 1102416 w 4610101"/>
              <a:gd name="connsiteY35041" fmla="*/ 587591 h 6557032"/>
              <a:gd name="connsiteX35042" fmla="*/ 1102416 w 4610101"/>
              <a:gd name="connsiteY35042" fmla="*/ 589414 h 6557032"/>
              <a:gd name="connsiteX35043" fmla="*/ 1109704 w 4610101"/>
              <a:gd name="connsiteY35043" fmla="*/ 583947 h 6557032"/>
              <a:gd name="connsiteX35044" fmla="*/ 798112 w 4610101"/>
              <a:gd name="connsiteY35044" fmla="*/ 583947 h 6557032"/>
              <a:gd name="connsiteX35045" fmla="*/ 799935 w 4610101"/>
              <a:gd name="connsiteY35045" fmla="*/ 593058 h 6557032"/>
              <a:gd name="connsiteX35046" fmla="*/ 798112 w 4610101"/>
              <a:gd name="connsiteY35046" fmla="*/ 583947 h 6557032"/>
              <a:gd name="connsiteX35047" fmla="*/ 770781 w 4610101"/>
              <a:gd name="connsiteY35047" fmla="*/ 583947 h 6557032"/>
              <a:gd name="connsiteX35048" fmla="*/ 770781 w 4610101"/>
              <a:gd name="connsiteY35048" fmla="*/ 591236 h 6557032"/>
              <a:gd name="connsiteX35049" fmla="*/ 770781 w 4610101"/>
              <a:gd name="connsiteY35049" fmla="*/ 583947 h 6557032"/>
              <a:gd name="connsiteX35050" fmla="*/ 776246 w 4610101"/>
              <a:gd name="connsiteY35050" fmla="*/ 594880 h 6557032"/>
              <a:gd name="connsiteX35051" fmla="*/ 770781 w 4610101"/>
              <a:gd name="connsiteY35051" fmla="*/ 583947 h 6557032"/>
              <a:gd name="connsiteX35052" fmla="*/ 701537 w 4610101"/>
              <a:gd name="connsiteY35052" fmla="*/ 583947 h 6557032"/>
              <a:gd name="connsiteX35053" fmla="*/ 725226 w 4610101"/>
              <a:gd name="connsiteY35053" fmla="*/ 600347 h 6557032"/>
              <a:gd name="connsiteX35054" fmla="*/ 701537 w 4610101"/>
              <a:gd name="connsiteY35054" fmla="*/ 583947 h 6557032"/>
              <a:gd name="connsiteX35055" fmla="*/ 546653 w 4610101"/>
              <a:gd name="connsiteY35055" fmla="*/ 583947 h 6557032"/>
              <a:gd name="connsiteX35056" fmla="*/ 544830 w 4610101"/>
              <a:gd name="connsiteY35056" fmla="*/ 589414 h 6557032"/>
              <a:gd name="connsiteX35057" fmla="*/ 548475 w 4610101"/>
              <a:gd name="connsiteY35057" fmla="*/ 585769 h 6557032"/>
              <a:gd name="connsiteX35058" fmla="*/ 546653 w 4610101"/>
              <a:gd name="connsiteY35058" fmla="*/ 583947 h 6557032"/>
              <a:gd name="connsiteX35059" fmla="*/ 501098 w 4610101"/>
              <a:gd name="connsiteY35059" fmla="*/ 583947 h 6557032"/>
              <a:gd name="connsiteX35060" fmla="*/ 504743 w 4610101"/>
              <a:gd name="connsiteY35060" fmla="*/ 593058 h 6557032"/>
              <a:gd name="connsiteX35061" fmla="*/ 502920 w 4610101"/>
              <a:gd name="connsiteY35061" fmla="*/ 583947 h 6557032"/>
              <a:gd name="connsiteX35062" fmla="*/ 501098 w 4610101"/>
              <a:gd name="connsiteY35062" fmla="*/ 583947 h 6557032"/>
              <a:gd name="connsiteX35063" fmla="*/ 439145 w 4610101"/>
              <a:gd name="connsiteY35063" fmla="*/ 583947 h 6557032"/>
              <a:gd name="connsiteX35064" fmla="*/ 446433 w 4610101"/>
              <a:gd name="connsiteY35064" fmla="*/ 589414 h 6557032"/>
              <a:gd name="connsiteX35065" fmla="*/ 439145 w 4610101"/>
              <a:gd name="connsiteY35065" fmla="*/ 583947 h 6557032"/>
              <a:gd name="connsiteX35066" fmla="*/ 153063 w 4610101"/>
              <a:gd name="connsiteY35066" fmla="*/ 583947 h 6557032"/>
              <a:gd name="connsiteX35067" fmla="*/ 160303 w 4610101"/>
              <a:gd name="connsiteY35067" fmla="*/ 592911 h 6557032"/>
              <a:gd name="connsiteX35068" fmla="*/ 160352 w 4610101"/>
              <a:gd name="connsiteY35068" fmla="*/ 593058 h 6557032"/>
              <a:gd name="connsiteX35069" fmla="*/ 153063 w 4610101"/>
              <a:gd name="connsiteY35069" fmla="*/ 583947 h 6557032"/>
              <a:gd name="connsiteX35070" fmla="*/ 664110 w 4610101"/>
              <a:gd name="connsiteY35070" fmla="*/ 583266 h 6557032"/>
              <a:gd name="connsiteX35071" fmla="*/ 664687 w 4610101"/>
              <a:gd name="connsiteY35071" fmla="*/ 583513 h 6557032"/>
              <a:gd name="connsiteX35072" fmla="*/ 664951 w 4610101"/>
              <a:gd name="connsiteY35072" fmla="*/ 588521 h 6557032"/>
              <a:gd name="connsiteX35073" fmla="*/ 3044853 w 4610101"/>
              <a:gd name="connsiteY35073" fmla="*/ 582125 h 6557032"/>
              <a:gd name="connsiteX35074" fmla="*/ 3039387 w 4610101"/>
              <a:gd name="connsiteY35074" fmla="*/ 591236 h 6557032"/>
              <a:gd name="connsiteX35075" fmla="*/ 3052142 w 4610101"/>
              <a:gd name="connsiteY35075" fmla="*/ 585769 h 6557032"/>
              <a:gd name="connsiteX35076" fmla="*/ 3044853 w 4610101"/>
              <a:gd name="connsiteY35076" fmla="*/ 582125 h 6557032"/>
              <a:gd name="connsiteX35077" fmla="*/ 2414381 w 4610101"/>
              <a:gd name="connsiteY35077" fmla="*/ 582125 h 6557032"/>
              <a:gd name="connsiteX35078" fmla="*/ 2412559 w 4610101"/>
              <a:gd name="connsiteY35078" fmla="*/ 593058 h 6557032"/>
              <a:gd name="connsiteX35079" fmla="*/ 2414381 w 4610101"/>
              <a:gd name="connsiteY35079" fmla="*/ 582125 h 6557032"/>
              <a:gd name="connsiteX35080" fmla="*/ 1118815 w 4610101"/>
              <a:gd name="connsiteY35080" fmla="*/ 582125 h 6557032"/>
              <a:gd name="connsiteX35081" fmla="*/ 1113349 w 4610101"/>
              <a:gd name="connsiteY35081" fmla="*/ 587591 h 6557032"/>
              <a:gd name="connsiteX35082" fmla="*/ 1118815 w 4610101"/>
              <a:gd name="connsiteY35082" fmla="*/ 594880 h 6557032"/>
              <a:gd name="connsiteX35083" fmla="*/ 1120637 w 4610101"/>
              <a:gd name="connsiteY35083" fmla="*/ 591236 h 6557032"/>
              <a:gd name="connsiteX35084" fmla="*/ 1118815 w 4610101"/>
              <a:gd name="connsiteY35084" fmla="*/ 582125 h 6557032"/>
              <a:gd name="connsiteX35085" fmla="*/ 1096949 w 4610101"/>
              <a:gd name="connsiteY35085" fmla="*/ 582125 h 6557032"/>
              <a:gd name="connsiteX35086" fmla="*/ 1095935 w 4610101"/>
              <a:gd name="connsiteY35086" fmla="*/ 584080 h 6557032"/>
              <a:gd name="connsiteX35087" fmla="*/ 1095542 w 4610101"/>
              <a:gd name="connsiteY35087" fmla="*/ 583424 h 6557032"/>
              <a:gd name="connsiteX35088" fmla="*/ 942064 w 4610101"/>
              <a:gd name="connsiteY35088" fmla="*/ 582125 h 6557032"/>
              <a:gd name="connsiteX35089" fmla="*/ 920198 w 4610101"/>
              <a:gd name="connsiteY35089" fmla="*/ 607635 h 6557032"/>
              <a:gd name="connsiteX35090" fmla="*/ 942064 w 4610101"/>
              <a:gd name="connsiteY35090" fmla="*/ 582125 h 6557032"/>
              <a:gd name="connsiteX35091" fmla="*/ 920198 w 4610101"/>
              <a:gd name="connsiteY35091" fmla="*/ 582125 h 6557032"/>
              <a:gd name="connsiteX35092" fmla="*/ 911087 w 4610101"/>
              <a:gd name="connsiteY35092" fmla="*/ 596702 h 6557032"/>
              <a:gd name="connsiteX35093" fmla="*/ 920198 w 4610101"/>
              <a:gd name="connsiteY35093" fmla="*/ 591236 h 6557032"/>
              <a:gd name="connsiteX35094" fmla="*/ 920198 w 4610101"/>
              <a:gd name="connsiteY35094" fmla="*/ 582125 h 6557032"/>
              <a:gd name="connsiteX35095" fmla="*/ 710648 w 4610101"/>
              <a:gd name="connsiteY35095" fmla="*/ 582125 h 6557032"/>
              <a:gd name="connsiteX35096" fmla="*/ 723404 w 4610101"/>
              <a:gd name="connsiteY35096" fmla="*/ 596702 h 6557032"/>
              <a:gd name="connsiteX35097" fmla="*/ 710648 w 4610101"/>
              <a:gd name="connsiteY35097" fmla="*/ 582125 h 6557032"/>
              <a:gd name="connsiteX35098" fmla="*/ 690604 w 4610101"/>
              <a:gd name="connsiteY35098" fmla="*/ 582125 h 6557032"/>
              <a:gd name="connsiteX35099" fmla="*/ 688782 w 4610101"/>
              <a:gd name="connsiteY35099" fmla="*/ 591236 h 6557032"/>
              <a:gd name="connsiteX35100" fmla="*/ 694249 w 4610101"/>
              <a:gd name="connsiteY35100" fmla="*/ 583947 h 6557032"/>
              <a:gd name="connsiteX35101" fmla="*/ 690604 w 4610101"/>
              <a:gd name="connsiteY35101" fmla="*/ 582125 h 6557032"/>
              <a:gd name="connsiteX35102" fmla="*/ 599496 w 4610101"/>
              <a:gd name="connsiteY35102" fmla="*/ 582125 h 6557032"/>
              <a:gd name="connsiteX35103" fmla="*/ 597673 w 4610101"/>
              <a:gd name="connsiteY35103" fmla="*/ 600347 h 6557032"/>
              <a:gd name="connsiteX35104" fmla="*/ 599496 w 4610101"/>
              <a:gd name="connsiteY35104" fmla="*/ 589414 h 6557032"/>
              <a:gd name="connsiteX35105" fmla="*/ 601318 w 4610101"/>
              <a:gd name="connsiteY35105" fmla="*/ 594880 h 6557032"/>
              <a:gd name="connsiteX35106" fmla="*/ 599496 w 4610101"/>
              <a:gd name="connsiteY35106" fmla="*/ 582125 h 6557032"/>
              <a:gd name="connsiteX35107" fmla="*/ 320703 w 4610101"/>
              <a:gd name="connsiteY35107" fmla="*/ 582125 h 6557032"/>
              <a:gd name="connsiteX35108" fmla="*/ 329814 w 4610101"/>
              <a:gd name="connsiteY35108" fmla="*/ 598524 h 6557032"/>
              <a:gd name="connsiteX35109" fmla="*/ 320703 w 4610101"/>
              <a:gd name="connsiteY35109" fmla="*/ 582125 h 6557032"/>
              <a:gd name="connsiteX35110" fmla="*/ 156707 w 4610101"/>
              <a:gd name="connsiteY35110" fmla="*/ 582125 h 6557032"/>
              <a:gd name="connsiteX35111" fmla="*/ 165590 w 4610101"/>
              <a:gd name="connsiteY35111" fmla="*/ 597386 h 6557032"/>
              <a:gd name="connsiteX35112" fmla="*/ 174254 w 4610101"/>
              <a:gd name="connsiteY35112" fmla="*/ 606659 h 6557032"/>
              <a:gd name="connsiteX35113" fmla="*/ 174473 w 4610101"/>
              <a:gd name="connsiteY35113" fmla="*/ 607864 h 6557032"/>
              <a:gd name="connsiteX35114" fmla="*/ 177264 w 4610101"/>
              <a:gd name="connsiteY35114" fmla="*/ 613911 h 6557032"/>
              <a:gd name="connsiteX35115" fmla="*/ 160303 w 4610101"/>
              <a:gd name="connsiteY35115" fmla="*/ 592911 h 6557032"/>
              <a:gd name="connsiteX35116" fmla="*/ 1208170 w 4610101"/>
              <a:gd name="connsiteY35116" fmla="*/ 582057 h 6557032"/>
              <a:gd name="connsiteX35117" fmla="*/ 1216757 w 4610101"/>
              <a:gd name="connsiteY35117" fmla="*/ 590325 h 6557032"/>
              <a:gd name="connsiteX35118" fmla="*/ 1218533 w 4610101"/>
              <a:gd name="connsiteY35118" fmla="*/ 592525 h 6557032"/>
              <a:gd name="connsiteX35119" fmla="*/ 1216529 w 4610101"/>
              <a:gd name="connsiteY35119" fmla="*/ 591919 h 6557032"/>
              <a:gd name="connsiteX35120" fmla="*/ 1208102 w 4610101"/>
              <a:gd name="connsiteY35120" fmla="*/ 582125 h 6557032"/>
              <a:gd name="connsiteX35121" fmla="*/ 663744 w 4610101"/>
              <a:gd name="connsiteY35121" fmla="*/ 580978 h 6557032"/>
              <a:gd name="connsiteX35122" fmla="*/ 664110 w 4610101"/>
              <a:gd name="connsiteY35122" fmla="*/ 583266 h 6557032"/>
              <a:gd name="connsiteX35123" fmla="*/ 661449 w 4610101"/>
              <a:gd name="connsiteY35123" fmla="*/ 582125 h 6557032"/>
              <a:gd name="connsiteX35124" fmla="*/ 394409 w 4610101"/>
              <a:gd name="connsiteY35124" fmla="*/ 580524 h 6557032"/>
              <a:gd name="connsiteX35125" fmla="*/ 394956 w 4610101"/>
              <a:gd name="connsiteY35125" fmla="*/ 581670 h 6557032"/>
              <a:gd name="connsiteX35126" fmla="*/ 391768 w 4610101"/>
              <a:gd name="connsiteY35126" fmla="*/ 589414 h 6557032"/>
              <a:gd name="connsiteX35127" fmla="*/ 391185 w 4610101"/>
              <a:gd name="connsiteY35127" fmla="*/ 587082 h 6557032"/>
              <a:gd name="connsiteX35128" fmla="*/ 3498574 w 4610101"/>
              <a:gd name="connsiteY35128" fmla="*/ 580303 h 6557032"/>
              <a:gd name="connsiteX35129" fmla="*/ 3498574 w 4610101"/>
              <a:gd name="connsiteY35129" fmla="*/ 587591 h 6557032"/>
              <a:gd name="connsiteX35130" fmla="*/ 3505863 w 4610101"/>
              <a:gd name="connsiteY35130" fmla="*/ 593058 h 6557032"/>
              <a:gd name="connsiteX35131" fmla="*/ 3511330 w 4610101"/>
              <a:gd name="connsiteY35131" fmla="*/ 589414 h 6557032"/>
              <a:gd name="connsiteX35132" fmla="*/ 3505863 w 4610101"/>
              <a:gd name="connsiteY35132" fmla="*/ 587591 h 6557032"/>
              <a:gd name="connsiteX35133" fmla="*/ 3507685 w 4610101"/>
              <a:gd name="connsiteY35133" fmla="*/ 582125 h 6557032"/>
              <a:gd name="connsiteX35134" fmla="*/ 3498574 w 4610101"/>
              <a:gd name="connsiteY35134" fmla="*/ 580303 h 6557032"/>
              <a:gd name="connsiteX35135" fmla="*/ 2359716 w 4610101"/>
              <a:gd name="connsiteY35135" fmla="*/ 580303 h 6557032"/>
              <a:gd name="connsiteX35136" fmla="*/ 2354249 w 4610101"/>
              <a:gd name="connsiteY35136" fmla="*/ 582125 h 6557032"/>
              <a:gd name="connsiteX35137" fmla="*/ 2356071 w 4610101"/>
              <a:gd name="connsiteY35137" fmla="*/ 594880 h 6557032"/>
              <a:gd name="connsiteX35138" fmla="*/ 2359716 w 4610101"/>
              <a:gd name="connsiteY35138" fmla="*/ 593058 h 6557032"/>
              <a:gd name="connsiteX35139" fmla="*/ 2359716 w 4610101"/>
              <a:gd name="connsiteY35139" fmla="*/ 580303 h 6557032"/>
              <a:gd name="connsiteX35140" fmla="*/ 1158903 w 4610101"/>
              <a:gd name="connsiteY35140" fmla="*/ 580303 h 6557032"/>
              <a:gd name="connsiteX35141" fmla="*/ 1157081 w 4610101"/>
              <a:gd name="connsiteY35141" fmla="*/ 585769 h 6557032"/>
              <a:gd name="connsiteX35142" fmla="*/ 1158903 w 4610101"/>
              <a:gd name="connsiteY35142" fmla="*/ 580303 h 6557032"/>
              <a:gd name="connsiteX35143" fmla="*/ 592207 w 4610101"/>
              <a:gd name="connsiteY35143" fmla="*/ 580303 h 6557032"/>
              <a:gd name="connsiteX35144" fmla="*/ 592374 w 4610101"/>
              <a:gd name="connsiteY35144" fmla="*/ 580805 h 6557032"/>
              <a:gd name="connsiteX35145" fmla="*/ 591959 w 4610101"/>
              <a:gd name="connsiteY35145" fmla="*/ 581462 h 6557032"/>
              <a:gd name="connsiteX35146" fmla="*/ 506565 w 4610101"/>
              <a:gd name="connsiteY35146" fmla="*/ 580303 h 6557032"/>
              <a:gd name="connsiteX35147" fmla="*/ 515676 w 4610101"/>
              <a:gd name="connsiteY35147" fmla="*/ 603991 h 6557032"/>
              <a:gd name="connsiteX35148" fmla="*/ 517498 w 4610101"/>
              <a:gd name="connsiteY35148" fmla="*/ 587591 h 6557032"/>
              <a:gd name="connsiteX35149" fmla="*/ 506565 w 4610101"/>
              <a:gd name="connsiteY35149" fmla="*/ 580303 h 6557032"/>
              <a:gd name="connsiteX35150" fmla="*/ 3545951 w 4610101"/>
              <a:gd name="connsiteY35150" fmla="*/ 578481 h 6557032"/>
              <a:gd name="connsiteX35151" fmla="*/ 3546634 w 4610101"/>
              <a:gd name="connsiteY35151" fmla="*/ 582581 h 6557032"/>
              <a:gd name="connsiteX35152" fmla="*/ 3546047 w 4610101"/>
              <a:gd name="connsiteY35152" fmla="*/ 588455 h 6557032"/>
              <a:gd name="connsiteX35153" fmla="*/ 3545496 w 4610101"/>
              <a:gd name="connsiteY35153" fmla="*/ 588731 h 6557032"/>
              <a:gd name="connsiteX35154" fmla="*/ 3543750 w 4610101"/>
              <a:gd name="connsiteY35154" fmla="*/ 586113 h 6557032"/>
              <a:gd name="connsiteX35155" fmla="*/ 3543238 w 4610101"/>
              <a:gd name="connsiteY35155" fmla="*/ 581647 h 6557032"/>
              <a:gd name="connsiteX35156" fmla="*/ 2966500 w 4610101"/>
              <a:gd name="connsiteY35156" fmla="*/ 578481 h 6557032"/>
              <a:gd name="connsiteX35157" fmla="*/ 2959211 w 4610101"/>
              <a:gd name="connsiteY35157" fmla="*/ 583947 h 6557032"/>
              <a:gd name="connsiteX35158" fmla="*/ 2966500 w 4610101"/>
              <a:gd name="connsiteY35158" fmla="*/ 585769 h 6557032"/>
              <a:gd name="connsiteX35159" fmla="*/ 2966500 w 4610101"/>
              <a:gd name="connsiteY35159" fmla="*/ 578481 h 6557032"/>
              <a:gd name="connsiteX35160" fmla="*/ 2487268 w 4610101"/>
              <a:gd name="connsiteY35160" fmla="*/ 578481 h 6557032"/>
              <a:gd name="connsiteX35161" fmla="*/ 2485446 w 4610101"/>
              <a:gd name="connsiteY35161" fmla="*/ 583947 h 6557032"/>
              <a:gd name="connsiteX35162" fmla="*/ 2490912 w 4610101"/>
              <a:gd name="connsiteY35162" fmla="*/ 583947 h 6557032"/>
              <a:gd name="connsiteX35163" fmla="*/ 2487268 w 4610101"/>
              <a:gd name="connsiteY35163" fmla="*/ 578481 h 6557032"/>
              <a:gd name="connsiteX35164" fmla="*/ 2450824 w 4610101"/>
              <a:gd name="connsiteY35164" fmla="*/ 578481 h 6557032"/>
              <a:gd name="connsiteX35165" fmla="*/ 2434425 w 4610101"/>
              <a:gd name="connsiteY35165" fmla="*/ 611280 h 6557032"/>
              <a:gd name="connsiteX35166" fmla="*/ 2428958 w 4610101"/>
              <a:gd name="connsiteY35166" fmla="*/ 614924 h 6557032"/>
              <a:gd name="connsiteX35167" fmla="*/ 2434425 w 4610101"/>
              <a:gd name="connsiteY35167" fmla="*/ 622213 h 6557032"/>
              <a:gd name="connsiteX35168" fmla="*/ 2438069 w 4610101"/>
              <a:gd name="connsiteY35168" fmla="*/ 603991 h 6557032"/>
              <a:gd name="connsiteX35169" fmla="*/ 2441713 w 4610101"/>
              <a:gd name="connsiteY35169" fmla="*/ 614924 h 6557032"/>
              <a:gd name="connsiteX35170" fmla="*/ 2438069 w 4610101"/>
              <a:gd name="connsiteY35170" fmla="*/ 616746 h 6557032"/>
              <a:gd name="connsiteX35171" fmla="*/ 2446724 w 4610101"/>
              <a:gd name="connsiteY35171" fmla="*/ 619480 h 6557032"/>
              <a:gd name="connsiteX35172" fmla="*/ 2450841 w 4610101"/>
              <a:gd name="connsiteY35172" fmla="*/ 616516 h 6557032"/>
              <a:gd name="connsiteX35173" fmla="*/ 2445358 w 4610101"/>
              <a:gd name="connsiteY35173" fmla="*/ 624035 h 6557032"/>
              <a:gd name="connsiteX35174" fmla="*/ 2461757 w 4610101"/>
              <a:gd name="connsiteY35174" fmla="*/ 629501 h 6557032"/>
              <a:gd name="connsiteX35175" fmla="*/ 2469046 w 4610101"/>
              <a:gd name="connsiteY35175" fmla="*/ 614924 h 6557032"/>
              <a:gd name="connsiteX35176" fmla="*/ 2472690 w 4610101"/>
              <a:gd name="connsiteY35176" fmla="*/ 622213 h 6557032"/>
              <a:gd name="connsiteX35177" fmla="*/ 2467224 w 4610101"/>
              <a:gd name="connsiteY35177" fmla="*/ 631324 h 6557032"/>
              <a:gd name="connsiteX35178" fmla="*/ 2470868 w 4610101"/>
              <a:gd name="connsiteY35178" fmla="*/ 631324 h 6557032"/>
              <a:gd name="connsiteX35179" fmla="*/ 2481801 w 4610101"/>
              <a:gd name="connsiteY35179" fmla="*/ 627679 h 6557032"/>
              <a:gd name="connsiteX35180" fmla="*/ 2483624 w 4610101"/>
              <a:gd name="connsiteY35180" fmla="*/ 633146 h 6557032"/>
              <a:gd name="connsiteX35181" fmla="*/ 2483624 w 4610101"/>
              <a:gd name="connsiteY35181" fmla="*/ 631324 h 6557032"/>
              <a:gd name="connsiteX35182" fmla="*/ 2489090 w 4610101"/>
              <a:gd name="connsiteY35182" fmla="*/ 611280 h 6557032"/>
              <a:gd name="connsiteX35183" fmla="*/ 2496379 w 4610101"/>
              <a:gd name="connsiteY35183" fmla="*/ 611280 h 6557032"/>
              <a:gd name="connsiteX35184" fmla="*/ 2494556 w 4610101"/>
              <a:gd name="connsiteY35184" fmla="*/ 602169 h 6557032"/>
              <a:gd name="connsiteX35185" fmla="*/ 2483624 w 4610101"/>
              <a:gd name="connsiteY35185" fmla="*/ 605813 h 6557032"/>
              <a:gd name="connsiteX35186" fmla="*/ 2483624 w 4610101"/>
              <a:gd name="connsiteY35186" fmla="*/ 624035 h 6557032"/>
              <a:gd name="connsiteX35187" fmla="*/ 2481801 w 4610101"/>
              <a:gd name="connsiteY35187" fmla="*/ 611280 h 6557032"/>
              <a:gd name="connsiteX35188" fmla="*/ 2480161 w 4610101"/>
              <a:gd name="connsiteY35188" fmla="*/ 615836 h 6557032"/>
              <a:gd name="connsiteX35189" fmla="*/ 2479979 w 4610101"/>
              <a:gd name="connsiteY35189" fmla="*/ 609459 h 6557032"/>
              <a:gd name="connsiteX35190" fmla="*/ 2469046 w 4610101"/>
              <a:gd name="connsiteY35190" fmla="*/ 607635 h 6557032"/>
              <a:gd name="connsiteX35191" fmla="*/ 2467224 w 4610101"/>
              <a:gd name="connsiteY35191" fmla="*/ 614924 h 6557032"/>
              <a:gd name="connsiteX35192" fmla="*/ 2465402 w 4610101"/>
              <a:gd name="connsiteY35192" fmla="*/ 607635 h 6557032"/>
              <a:gd name="connsiteX35193" fmla="*/ 2458175 w 4610101"/>
              <a:gd name="connsiteY35193" fmla="*/ 610908 h 6557032"/>
              <a:gd name="connsiteX35194" fmla="*/ 2461757 w 4610101"/>
              <a:gd name="connsiteY35194" fmla="*/ 589414 h 6557032"/>
              <a:gd name="connsiteX35195" fmla="*/ 2452647 w 4610101"/>
              <a:gd name="connsiteY35195" fmla="*/ 593058 h 6557032"/>
              <a:gd name="connsiteX35196" fmla="*/ 2452647 w 4610101"/>
              <a:gd name="connsiteY35196" fmla="*/ 585769 h 6557032"/>
              <a:gd name="connsiteX35197" fmla="*/ 2450824 w 4610101"/>
              <a:gd name="connsiteY35197" fmla="*/ 589414 h 6557032"/>
              <a:gd name="connsiteX35198" fmla="*/ 2450824 w 4610101"/>
              <a:gd name="connsiteY35198" fmla="*/ 578481 h 6557032"/>
              <a:gd name="connsiteX35199" fmla="*/ 2077279 w 4610101"/>
              <a:gd name="connsiteY35199" fmla="*/ 578481 h 6557032"/>
              <a:gd name="connsiteX35200" fmla="*/ 2079101 w 4610101"/>
              <a:gd name="connsiteY35200" fmla="*/ 585769 h 6557032"/>
              <a:gd name="connsiteX35201" fmla="*/ 2082745 w 4610101"/>
              <a:gd name="connsiteY35201" fmla="*/ 583947 h 6557032"/>
              <a:gd name="connsiteX35202" fmla="*/ 2077279 w 4610101"/>
              <a:gd name="connsiteY35202" fmla="*/ 578481 h 6557032"/>
              <a:gd name="connsiteX35203" fmla="*/ 852778 w 4610101"/>
              <a:gd name="connsiteY35203" fmla="*/ 578481 h 6557032"/>
              <a:gd name="connsiteX35204" fmla="*/ 853142 w 4610101"/>
              <a:gd name="connsiteY35204" fmla="*/ 578845 h 6557032"/>
              <a:gd name="connsiteX35205" fmla="*/ 851749 w 4610101"/>
              <a:gd name="connsiteY35205" fmla="*/ 580935 h 6557032"/>
              <a:gd name="connsiteX35206" fmla="*/ 588562 w 4610101"/>
              <a:gd name="connsiteY35206" fmla="*/ 578481 h 6557032"/>
              <a:gd name="connsiteX35207" fmla="*/ 583096 w 4610101"/>
              <a:gd name="connsiteY35207" fmla="*/ 582125 h 6557032"/>
              <a:gd name="connsiteX35208" fmla="*/ 588562 w 4610101"/>
              <a:gd name="connsiteY35208" fmla="*/ 580303 h 6557032"/>
              <a:gd name="connsiteX35209" fmla="*/ 588562 w 4610101"/>
              <a:gd name="connsiteY35209" fmla="*/ 578481 h 6557032"/>
              <a:gd name="connsiteX35210" fmla="*/ 395412 w 4610101"/>
              <a:gd name="connsiteY35210" fmla="*/ 578481 h 6557032"/>
              <a:gd name="connsiteX35211" fmla="*/ 394409 w 4610101"/>
              <a:gd name="connsiteY35211" fmla="*/ 580524 h 6557032"/>
              <a:gd name="connsiteX35212" fmla="*/ 393643 w 4610101"/>
              <a:gd name="connsiteY35212" fmla="*/ 578924 h 6557032"/>
              <a:gd name="connsiteX35213" fmla="*/ 2072040 w 4610101"/>
              <a:gd name="connsiteY35213" fmla="*/ 577342 h 6557032"/>
              <a:gd name="connsiteX35214" fmla="*/ 2069990 w 4610101"/>
              <a:gd name="connsiteY35214" fmla="*/ 582125 h 6557032"/>
              <a:gd name="connsiteX35215" fmla="*/ 2075457 w 4610101"/>
              <a:gd name="connsiteY35215" fmla="*/ 582125 h 6557032"/>
              <a:gd name="connsiteX35216" fmla="*/ 2072040 w 4610101"/>
              <a:gd name="connsiteY35216" fmla="*/ 577342 h 6557032"/>
              <a:gd name="connsiteX35217" fmla="*/ 2538289 w 4610101"/>
              <a:gd name="connsiteY35217" fmla="*/ 576658 h 6557032"/>
              <a:gd name="connsiteX35218" fmla="*/ 2540111 w 4610101"/>
              <a:gd name="connsiteY35218" fmla="*/ 582125 h 6557032"/>
              <a:gd name="connsiteX35219" fmla="*/ 2545577 w 4610101"/>
              <a:gd name="connsiteY35219" fmla="*/ 576658 h 6557032"/>
              <a:gd name="connsiteX35220" fmla="*/ 2538289 w 4610101"/>
              <a:gd name="connsiteY35220" fmla="*/ 576658 h 6557032"/>
              <a:gd name="connsiteX35221" fmla="*/ 2421669 w 4610101"/>
              <a:gd name="connsiteY35221" fmla="*/ 576658 h 6557032"/>
              <a:gd name="connsiteX35222" fmla="*/ 2419847 w 4610101"/>
              <a:gd name="connsiteY35222" fmla="*/ 580303 h 6557032"/>
              <a:gd name="connsiteX35223" fmla="*/ 2418025 w 4610101"/>
              <a:gd name="connsiteY35223" fmla="*/ 578481 h 6557032"/>
              <a:gd name="connsiteX35224" fmla="*/ 2419847 w 4610101"/>
              <a:gd name="connsiteY35224" fmla="*/ 583947 h 6557032"/>
              <a:gd name="connsiteX35225" fmla="*/ 2421669 w 4610101"/>
              <a:gd name="connsiteY35225" fmla="*/ 576658 h 6557032"/>
              <a:gd name="connsiteX35226" fmla="*/ 2343316 w 4610101"/>
              <a:gd name="connsiteY35226" fmla="*/ 576658 h 6557032"/>
              <a:gd name="connsiteX35227" fmla="*/ 2343316 w 4610101"/>
              <a:gd name="connsiteY35227" fmla="*/ 578481 h 6557032"/>
              <a:gd name="connsiteX35228" fmla="*/ 2343468 w 4610101"/>
              <a:gd name="connsiteY35228" fmla="*/ 578679 h 6557032"/>
              <a:gd name="connsiteX35229" fmla="*/ 2344000 w 4610101"/>
              <a:gd name="connsiteY35229" fmla="*/ 585770 h 6557032"/>
              <a:gd name="connsiteX35230" fmla="*/ 2348782 w 4610101"/>
              <a:gd name="connsiteY35230" fmla="*/ 594880 h 6557032"/>
              <a:gd name="connsiteX35231" fmla="*/ 2352427 w 4610101"/>
              <a:gd name="connsiteY35231" fmla="*/ 583947 h 6557032"/>
              <a:gd name="connsiteX35232" fmla="*/ 2348555 w 4610101"/>
              <a:gd name="connsiteY35232" fmla="*/ 585314 h 6557032"/>
              <a:gd name="connsiteX35233" fmla="*/ 2343468 w 4610101"/>
              <a:gd name="connsiteY35233" fmla="*/ 578679 h 6557032"/>
              <a:gd name="connsiteX35234" fmla="*/ 2321450 w 4610101"/>
              <a:gd name="connsiteY35234" fmla="*/ 576658 h 6557032"/>
              <a:gd name="connsiteX35235" fmla="*/ 2325094 w 4610101"/>
              <a:gd name="connsiteY35235" fmla="*/ 589414 h 6557032"/>
              <a:gd name="connsiteX35236" fmla="*/ 2328739 w 4610101"/>
              <a:gd name="connsiteY35236" fmla="*/ 582125 h 6557032"/>
              <a:gd name="connsiteX35237" fmla="*/ 2321450 w 4610101"/>
              <a:gd name="connsiteY35237" fmla="*/ 576658 h 6557032"/>
              <a:gd name="connsiteX35238" fmla="*/ 1375743 w 4610101"/>
              <a:gd name="connsiteY35238" fmla="*/ 576658 h 6557032"/>
              <a:gd name="connsiteX35239" fmla="*/ 1377337 w 4610101"/>
              <a:gd name="connsiteY35239" fmla="*/ 578709 h 6557032"/>
              <a:gd name="connsiteX35240" fmla="*/ 1377341 w 4610101"/>
              <a:gd name="connsiteY35240" fmla="*/ 578776 h 6557032"/>
              <a:gd name="connsiteX35241" fmla="*/ 1149792 w 4610101"/>
              <a:gd name="connsiteY35241" fmla="*/ 576658 h 6557032"/>
              <a:gd name="connsiteX35242" fmla="*/ 1153436 w 4610101"/>
              <a:gd name="connsiteY35242" fmla="*/ 582125 h 6557032"/>
              <a:gd name="connsiteX35243" fmla="*/ 1149792 w 4610101"/>
              <a:gd name="connsiteY35243" fmla="*/ 576658 h 6557032"/>
              <a:gd name="connsiteX35244" fmla="*/ 648694 w 4610101"/>
              <a:gd name="connsiteY35244" fmla="*/ 576658 h 6557032"/>
              <a:gd name="connsiteX35245" fmla="*/ 645050 w 4610101"/>
              <a:gd name="connsiteY35245" fmla="*/ 598524 h 6557032"/>
              <a:gd name="connsiteX35246" fmla="*/ 648011 w 4610101"/>
              <a:gd name="connsiteY35246" fmla="*/ 594425 h 6557032"/>
              <a:gd name="connsiteX35247" fmla="*/ 650833 w 4610101"/>
              <a:gd name="connsiteY35247" fmla="*/ 589969 h 6557032"/>
              <a:gd name="connsiteX35248" fmla="*/ 650516 w 4610101"/>
              <a:gd name="connsiteY35248" fmla="*/ 591236 h 6557032"/>
              <a:gd name="connsiteX35249" fmla="*/ 652339 w 4610101"/>
              <a:gd name="connsiteY35249" fmla="*/ 587591 h 6557032"/>
              <a:gd name="connsiteX35250" fmla="*/ 650833 w 4610101"/>
              <a:gd name="connsiteY35250" fmla="*/ 589969 h 6557032"/>
              <a:gd name="connsiteX35251" fmla="*/ 652339 w 4610101"/>
              <a:gd name="connsiteY35251" fmla="*/ 583947 h 6557032"/>
              <a:gd name="connsiteX35252" fmla="*/ 648694 w 4610101"/>
              <a:gd name="connsiteY35252" fmla="*/ 576658 h 6557032"/>
              <a:gd name="connsiteX35253" fmla="*/ 573985 w 4610101"/>
              <a:gd name="connsiteY35253" fmla="*/ 576658 h 6557032"/>
              <a:gd name="connsiteX35254" fmla="*/ 573985 w 4610101"/>
              <a:gd name="connsiteY35254" fmla="*/ 583947 h 6557032"/>
              <a:gd name="connsiteX35255" fmla="*/ 573985 w 4610101"/>
              <a:gd name="connsiteY35255" fmla="*/ 576658 h 6557032"/>
              <a:gd name="connsiteX35256" fmla="*/ 552119 w 4610101"/>
              <a:gd name="connsiteY35256" fmla="*/ 576658 h 6557032"/>
              <a:gd name="connsiteX35257" fmla="*/ 561230 w 4610101"/>
              <a:gd name="connsiteY35257" fmla="*/ 593058 h 6557032"/>
              <a:gd name="connsiteX35258" fmla="*/ 561230 w 4610101"/>
              <a:gd name="connsiteY35258" fmla="*/ 585769 h 6557032"/>
              <a:gd name="connsiteX35259" fmla="*/ 552119 w 4610101"/>
              <a:gd name="connsiteY35259" fmla="*/ 576658 h 6557032"/>
              <a:gd name="connsiteX35260" fmla="*/ 278793 w 4610101"/>
              <a:gd name="connsiteY35260" fmla="*/ 576658 h 6557032"/>
              <a:gd name="connsiteX35261" fmla="*/ 302481 w 4610101"/>
              <a:gd name="connsiteY35261" fmla="*/ 618568 h 6557032"/>
              <a:gd name="connsiteX35262" fmla="*/ 278793 w 4610101"/>
              <a:gd name="connsiteY35262" fmla="*/ 576658 h 6557032"/>
              <a:gd name="connsiteX35263" fmla="*/ 3010232 w 4610101"/>
              <a:gd name="connsiteY35263" fmla="*/ 574836 h 6557032"/>
              <a:gd name="connsiteX35264" fmla="*/ 3010232 w 4610101"/>
              <a:gd name="connsiteY35264" fmla="*/ 582125 h 6557032"/>
              <a:gd name="connsiteX35265" fmla="*/ 2971966 w 4610101"/>
              <a:gd name="connsiteY35265" fmla="*/ 589414 h 6557032"/>
              <a:gd name="connsiteX35266" fmla="*/ 2992010 w 4610101"/>
              <a:gd name="connsiteY35266" fmla="*/ 593058 h 6557032"/>
              <a:gd name="connsiteX35267" fmla="*/ 2993832 w 4610101"/>
              <a:gd name="connsiteY35267" fmla="*/ 587591 h 6557032"/>
              <a:gd name="connsiteX35268" fmla="*/ 2992010 w 4610101"/>
              <a:gd name="connsiteY35268" fmla="*/ 598524 h 6557032"/>
              <a:gd name="connsiteX35269" fmla="*/ 2997072 w 4610101"/>
              <a:gd name="connsiteY35269" fmla="*/ 603876 h 6557032"/>
              <a:gd name="connsiteX35270" fmla="*/ 2991099 w 4610101"/>
              <a:gd name="connsiteY35270" fmla="*/ 602169 h 6557032"/>
              <a:gd name="connsiteX35271" fmla="*/ 2984721 w 4610101"/>
              <a:gd name="connsiteY35271" fmla="*/ 600347 h 6557032"/>
              <a:gd name="connsiteX35272" fmla="*/ 2986999 w 4610101"/>
              <a:gd name="connsiteY35272" fmla="*/ 610141 h 6557032"/>
              <a:gd name="connsiteX35273" fmla="*/ 2996195 w 4610101"/>
              <a:gd name="connsiteY35273" fmla="*/ 612740 h 6557032"/>
              <a:gd name="connsiteX35274" fmla="*/ 2994971 w 4610101"/>
              <a:gd name="connsiteY35274" fmla="*/ 613103 h 6557032"/>
              <a:gd name="connsiteX35275" fmla="*/ 2995654 w 4610101"/>
              <a:gd name="connsiteY35275" fmla="*/ 620391 h 6557032"/>
              <a:gd name="connsiteX35276" fmla="*/ 2977432 w 4610101"/>
              <a:gd name="connsiteY35276" fmla="*/ 618568 h 6557032"/>
              <a:gd name="connsiteX35277" fmla="*/ 3002943 w 4610101"/>
              <a:gd name="connsiteY35277" fmla="*/ 624035 h 6557032"/>
              <a:gd name="connsiteX35278" fmla="*/ 3001121 w 4610101"/>
              <a:gd name="connsiteY35278" fmla="*/ 611280 h 6557032"/>
              <a:gd name="connsiteX35279" fmla="*/ 2997477 w 4610101"/>
              <a:gd name="connsiteY35279" fmla="*/ 612360 h 6557032"/>
              <a:gd name="connsiteX35280" fmla="*/ 2997477 w 4610101"/>
              <a:gd name="connsiteY35280" fmla="*/ 604304 h 6557032"/>
              <a:gd name="connsiteX35281" fmla="*/ 2999982 w 4610101"/>
              <a:gd name="connsiteY35281" fmla="*/ 606952 h 6557032"/>
              <a:gd name="connsiteX35282" fmla="*/ 3006587 w 4610101"/>
              <a:gd name="connsiteY35282" fmla="*/ 616746 h 6557032"/>
              <a:gd name="connsiteX35283" fmla="*/ 3037564 w 4610101"/>
              <a:gd name="connsiteY35283" fmla="*/ 629501 h 6557032"/>
              <a:gd name="connsiteX35284" fmla="*/ 3022987 w 4610101"/>
              <a:gd name="connsiteY35284" fmla="*/ 620391 h 6557032"/>
              <a:gd name="connsiteX35285" fmla="*/ 3028453 w 4610101"/>
              <a:gd name="connsiteY35285" fmla="*/ 614926 h 6557032"/>
              <a:gd name="connsiteX35286" fmla="*/ 3028453 w 4610101"/>
              <a:gd name="connsiteY35286" fmla="*/ 622213 h 6557032"/>
              <a:gd name="connsiteX35287" fmla="*/ 3035742 w 4610101"/>
              <a:gd name="connsiteY35287" fmla="*/ 616746 h 6557032"/>
              <a:gd name="connsiteX35288" fmla="*/ 3033465 w 4610101"/>
              <a:gd name="connsiteY35288" fmla="*/ 615152 h 6557032"/>
              <a:gd name="connsiteX35289" fmla="*/ 3028455 w 4610101"/>
              <a:gd name="connsiteY35289" fmla="*/ 614924 h 6557032"/>
              <a:gd name="connsiteX35290" fmla="*/ 3033920 w 4610101"/>
              <a:gd name="connsiteY35290" fmla="*/ 609459 h 6557032"/>
              <a:gd name="connsiteX35291" fmla="*/ 3035742 w 4610101"/>
              <a:gd name="connsiteY35291" fmla="*/ 614924 h 6557032"/>
              <a:gd name="connsiteX35292" fmla="*/ 3037564 w 4610101"/>
              <a:gd name="connsiteY35292" fmla="*/ 600347 h 6557032"/>
              <a:gd name="connsiteX35293" fmla="*/ 3026631 w 4610101"/>
              <a:gd name="connsiteY35293" fmla="*/ 593058 h 6557032"/>
              <a:gd name="connsiteX35294" fmla="*/ 3029137 w 4610101"/>
              <a:gd name="connsiteY35294" fmla="*/ 591009 h 6557032"/>
              <a:gd name="connsiteX35295" fmla="*/ 3030219 w 4610101"/>
              <a:gd name="connsiteY35295" fmla="*/ 587763 h 6557032"/>
              <a:gd name="connsiteX35296" fmla="*/ 3030825 w 4610101"/>
              <a:gd name="connsiteY35296" fmla="*/ 588140 h 6557032"/>
              <a:gd name="connsiteX35297" fmla="*/ 3041209 w 4610101"/>
              <a:gd name="connsiteY35297" fmla="*/ 598524 h 6557032"/>
              <a:gd name="connsiteX35298" fmla="*/ 3033237 w 4610101"/>
              <a:gd name="connsiteY35298" fmla="*/ 589642 h 6557032"/>
              <a:gd name="connsiteX35299" fmla="*/ 3030825 w 4610101"/>
              <a:gd name="connsiteY35299" fmla="*/ 588140 h 6557032"/>
              <a:gd name="connsiteX35300" fmla="*/ 3030276 w 4610101"/>
              <a:gd name="connsiteY35300" fmla="*/ 587591 h 6557032"/>
              <a:gd name="connsiteX35301" fmla="*/ 3030219 w 4610101"/>
              <a:gd name="connsiteY35301" fmla="*/ 587763 h 6557032"/>
              <a:gd name="connsiteX35302" fmla="*/ 3021165 w 4610101"/>
              <a:gd name="connsiteY35302" fmla="*/ 582125 h 6557032"/>
              <a:gd name="connsiteX35303" fmla="*/ 3024809 w 4610101"/>
              <a:gd name="connsiteY35303" fmla="*/ 580303 h 6557032"/>
              <a:gd name="connsiteX35304" fmla="*/ 3010232 w 4610101"/>
              <a:gd name="connsiteY35304" fmla="*/ 574836 h 6557032"/>
              <a:gd name="connsiteX35305" fmla="*/ 912909 w 4610101"/>
              <a:gd name="connsiteY35305" fmla="*/ 574836 h 6557032"/>
              <a:gd name="connsiteX35306" fmla="*/ 911087 w 4610101"/>
              <a:gd name="connsiteY35306" fmla="*/ 582125 h 6557032"/>
              <a:gd name="connsiteX35307" fmla="*/ 916555 w 4610101"/>
              <a:gd name="connsiteY35307" fmla="*/ 578481 h 6557032"/>
              <a:gd name="connsiteX35308" fmla="*/ 912909 w 4610101"/>
              <a:gd name="connsiteY35308" fmla="*/ 574836 h 6557032"/>
              <a:gd name="connsiteX35309" fmla="*/ 635939 w 4610101"/>
              <a:gd name="connsiteY35309" fmla="*/ 574836 h 6557032"/>
              <a:gd name="connsiteX35310" fmla="*/ 634117 w 4610101"/>
              <a:gd name="connsiteY35310" fmla="*/ 580303 h 6557032"/>
              <a:gd name="connsiteX35311" fmla="*/ 635939 w 4610101"/>
              <a:gd name="connsiteY35311" fmla="*/ 574836 h 6557032"/>
              <a:gd name="connsiteX35312" fmla="*/ 477410 w 4610101"/>
              <a:gd name="connsiteY35312" fmla="*/ 574836 h 6557032"/>
              <a:gd name="connsiteX35313" fmla="*/ 482876 w 4610101"/>
              <a:gd name="connsiteY35313" fmla="*/ 589414 h 6557032"/>
              <a:gd name="connsiteX35314" fmla="*/ 477410 w 4610101"/>
              <a:gd name="connsiteY35314" fmla="*/ 574836 h 6557032"/>
              <a:gd name="connsiteX35315" fmla="*/ 256927 w 4610101"/>
              <a:gd name="connsiteY35315" fmla="*/ 574836 h 6557032"/>
              <a:gd name="connsiteX35316" fmla="*/ 263958 w 4610101"/>
              <a:gd name="connsiteY35316" fmla="*/ 580696 h 6557032"/>
              <a:gd name="connsiteX35317" fmla="*/ 278793 w 4610101"/>
              <a:gd name="connsiteY35317" fmla="*/ 605813 h 6557032"/>
              <a:gd name="connsiteX35318" fmla="*/ 270442 w 4610101"/>
              <a:gd name="connsiteY35318" fmla="*/ 598746 h 6557032"/>
              <a:gd name="connsiteX35319" fmla="*/ 308999 w 4610101"/>
              <a:gd name="connsiteY35319" fmla="*/ 574276 h 6557032"/>
              <a:gd name="connsiteX35320" fmla="*/ 309771 w 4610101"/>
              <a:gd name="connsiteY35320" fmla="*/ 578481 h 6557032"/>
              <a:gd name="connsiteX35321" fmla="*/ 308421 w 4610101"/>
              <a:gd name="connsiteY35321" fmla="*/ 576587 h 6557032"/>
              <a:gd name="connsiteX35322" fmla="*/ 2065505 w 4610101"/>
              <a:gd name="connsiteY35322" fmla="*/ 573295 h 6557032"/>
              <a:gd name="connsiteX35323" fmla="*/ 2066346 w 4610101"/>
              <a:gd name="connsiteY35323" fmla="*/ 573925 h 6557032"/>
              <a:gd name="connsiteX35324" fmla="*/ 2066346 w 4610101"/>
              <a:gd name="connsiteY35324" fmla="*/ 575984 h 6557032"/>
              <a:gd name="connsiteX35325" fmla="*/ 2063840 w 4610101"/>
              <a:gd name="connsiteY35325" fmla="*/ 575520 h 6557032"/>
              <a:gd name="connsiteX35326" fmla="*/ 2060879 w 4610101"/>
              <a:gd name="connsiteY35326" fmla="*/ 577353 h 6557032"/>
              <a:gd name="connsiteX35327" fmla="*/ 2060879 w 4610101"/>
              <a:gd name="connsiteY35327" fmla="*/ 574836 h 6557032"/>
              <a:gd name="connsiteX35328" fmla="*/ 3316357 w 4610101"/>
              <a:gd name="connsiteY35328" fmla="*/ 573014 h 6557032"/>
              <a:gd name="connsiteX35329" fmla="*/ 3310890 w 4610101"/>
              <a:gd name="connsiteY35329" fmla="*/ 578481 h 6557032"/>
              <a:gd name="connsiteX35330" fmla="*/ 3316357 w 4610101"/>
              <a:gd name="connsiteY35330" fmla="*/ 583947 h 6557032"/>
              <a:gd name="connsiteX35331" fmla="*/ 3316357 w 4610101"/>
              <a:gd name="connsiteY35331" fmla="*/ 573014 h 6557032"/>
              <a:gd name="connsiteX35332" fmla="*/ 3172405 w 4610101"/>
              <a:gd name="connsiteY35332" fmla="*/ 573014 h 6557032"/>
              <a:gd name="connsiteX35333" fmla="*/ 3150539 w 4610101"/>
              <a:gd name="connsiteY35333" fmla="*/ 596702 h 6557032"/>
              <a:gd name="connsiteX35334" fmla="*/ 3157828 w 4610101"/>
              <a:gd name="connsiteY35334" fmla="*/ 598524 h 6557032"/>
              <a:gd name="connsiteX35335" fmla="*/ 3159650 w 4610101"/>
              <a:gd name="connsiteY35335" fmla="*/ 587591 h 6557032"/>
              <a:gd name="connsiteX35336" fmla="*/ 3161472 w 4610101"/>
              <a:gd name="connsiteY35336" fmla="*/ 594880 h 6557032"/>
              <a:gd name="connsiteX35337" fmla="*/ 3163294 w 4610101"/>
              <a:gd name="connsiteY35337" fmla="*/ 591236 h 6557032"/>
              <a:gd name="connsiteX35338" fmla="*/ 3165116 w 4610101"/>
              <a:gd name="connsiteY35338" fmla="*/ 596702 h 6557032"/>
              <a:gd name="connsiteX35339" fmla="*/ 3172405 w 4610101"/>
              <a:gd name="connsiteY35339" fmla="*/ 573014 h 6557032"/>
              <a:gd name="connsiteX35340" fmla="*/ 2884502 w 4610101"/>
              <a:gd name="connsiteY35340" fmla="*/ 573014 h 6557032"/>
              <a:gd name="connsiteX35341" fmla="*/ 2882680 w 4610101"/>
              <a:gd name="connsiteY35341" fmla="*/ 585769 h 6557032"/>
              <a:gd name="connsiteX35342" fmla="*/ 2884502 w 4610101"/>
              <a:gd name="connsiteY35342" fmla="*/ 582125 h 6557032"/>
              <a:gd name="connsiteX35343" fmla="*/ 2889968 w 4610101"/>
              <a:gd name="connsiteY35343" fmla="*/ 587591 h 6557032"/>
              <a:gd name="connsiteX35344" fmla="*/ 2889968 w 4610101"/>
              <a:gd name="connsiteY35344" fmla="*/ 582125 h 6557032"/>
              <a:gd name="connsiteX35345" fmla="*/ 2895435 w 4610101"/>
              <a:gd name="connsiteY35345" fmla="*/ 585769 h 6557032"/>
              <a:gd name="connsiteX35346" fmla="*/ 2897257 w 4610101"/>
              <a:gd name="connsiteY35346" fmla="*/ 576658 h 6557032"/>
              <a:gd name="connsiteX35347" fmla="*/ 2884502 w 4610101"/>
              <a:gd name="connsiteY35347" fmla="*/ 573014 h 6557032"/>
              <a:gd name="connsiteX35348" fmla="*/ 2390693 w 4610101"/>
              <a:gd name="connsiteY35348" fmla="*/ 573014 h 6557032"/>
              <a:gd name="connsiteX35349" fmla="*/ 2385226 w 4610101"/>
              <a:gd name="connsiteY35349" fmla="*/ 582125 h 6557032"/>
              <a:gd name="connsiteX35350" fmla="*/ 2381582 w 4610101"/>
              <a:gd name="connsiteY35350" fmla="*/ 574836 h 6557032"/>
              <a:gd name="connsiteX35351" fmla="*/ 2379760 w 4610101"/>
              <a:gd name="connsiteY35351" fmla="*/ 585769 h 6557032"/>
              <a:gd name="connsiteX35352" fmla="*/ 2377937 w 4610101"/>
              <a:gd name="connsiteY35352" fmla="*/ 578481 h 6557032"/>
              <a:gd name="connsiteX35353" fmla="*/ 2377937 w 4610101"/>
              <a:gd name="connsiteY35353" fmla="*/ 602169 h 6557032"/>
              <a:gd name="connsiteX35354" fmla="*/ 2394337 w 4610101"/>
              <a:gd name="connsiteY35354" fmla="*/ 587591 h 6557032"/>
              <a:gd name="connsiteX35355" fmla="*/ 2396159 w 4610101"/>
              <a:gd name="connsiteY35355" fmla="*/ 593058 h 6557032"/>
              <a:gd name="connsiteX35356" fmla="*/ 2390693 w 4610101"/>
              <a:gd name="connsiteY35356" fmla="*/ 573014 h 6557032"/>
              <a:gd name="connsiteX35357" fmla="*/ 1106060 w 4610101"/>
              <a:gd name="connsiteY35357" fmla="*/ 573014 h 6557032"/>
              <a:gd name="connsiteX35358" fmla="*/ 1100593 w 4610101"/>
              <a:gd name="connsiteY35358" fmla="*/ 587591 h 6557032"/>
              <a:gd name="connsiteX35359" fmla="*/ 1106060 w 4610101"/>
              <a:gd name="connsiteY35359" fmla="*/ 573014 h 6557032"/>
              <a:gd name="connsiteX35360" fmla="*/ 945709 w 4610101"/>
              <a:gd name="connsiteY35360" fmla="*/ 573014 h 6557032"/>
              <a:gd name="connsiteX35361" fmla="*/ 932953 w 4610101"/>
              <a:gd name="connsiteY35361" fmla="*/ 587591 h 6557032"/>
              <a:gd name="connsiteX35362" fmla="*/ 945709 w 4610101"/>
              <a:gd name="connsiteY35362" fmla="*/ 573014 h 6557032"/>
              <a:gd name="connsiteX35363" fmla="*/ 843667 w 4610101"/>
              <a:gd name="connsiteY35363" fmla="*/ 573014 h 6557032"/>
              <a:gd name="connsiteX35364" fmla="*/ 841845 w 4610101"/>
              <a:gd name="connsiteY35364" fmla="*/ 583947 h 6557032"/>
              <a:gd name="connsiteX35365" fmla="*/ 843667 w 4610101"/>
              <a:gd name="connsiteY35365" fmla="*/ 580303 h 6557032"/>
              <a:gd name="connsiteX35366" fmla="*/ 847311 w 4610101"/>
              <a:gd name="connsiteY35366" fmla="*/ 587591 h 6557032"/>
              <a:gd name="connsiteX35367" fmla="*/ 851749 w 4610101"/>
              <a:gd name="connsiteY35367" fmla="*/ 580935 h 6557032"/>
              <a:gd name="connsiteX35368" fmla="*/ 849817 w 4610101"/>
              <a:gd name="connsiteY35368" fmla="*/ 585542 h 6557032"/>
              <a:gd name="connsiteX35369" fmla="*/ 845489 w 4610101"/>
              <a:gd name="connsiteY35369" fmla="*/ 591236 h 6557032"/>
              <a:gd name="connsiteX35370" fmla="*/ 854600 w 4610101"/>
              <a:gd name="connsiteY35370" fmla="*/ 580303 h 6557032"/>
              <a:gd name="connsiteX35371" fmla="*/ 853142 w 4610101"/>
              <a:gd name="connsiteY35371" fmla="*/ 578845 h 6557032"/>
              <a:gd name="connsiteX35372" fmla="*/ 854600 w 4610101"/>
              <a:gd name="connsiteY35372" fmla="*/ 576658 h 6557032"/>
              <a:gd name="connsiteX35373" fmla="*/ 843667 w 4610101"/>
              <a:gd name="connsiteY35373" fmla="*/ 573014 h 6557032"/>
              <a:gd name="connsiteX35374" fmla="*/ 821801 w 4610101"/>
              <a:gd name="connsiteY35374" fmla="*/ 573014 h 6557032"/>
              <a:gd name="connsiteX35375" fmla="*/ 821801 w 4610101"/>
              <a:gd name="connsiteY35375" fmla="*/ 578481 h 6557032"/>
              <a:gd name="connsiteX35376" fmla="*/ 825445 w 4610101"/>
              <a:gd name="connsiteY35376" fmla="*/ 574836 h 6557032"/>
              <a:gd name="connsiteX35377" fmla="*/ 821801 w 4610101"/>
              <a:gd name="connsiteY35377" fmla="*/ 573014 h 6557032"/>
              <a:gd name="connsiteX35378" fmla="*/ 809046 w 4610101"/>
              <a:gd name="connsiteY35378" fmla="*/ 573014 h 6557032"/>
              <a:gd name="connsiteX35379" fmla="*/ 812690 w 4610101"/>
              <a:gd name="connsiteY35379" fmla="*/ 576658 h 6557032"/>
              <a:gd name="connsiteX35380" fmla="*/ 809046 w 4610101"/>
              <a:gd name="connsiteY35380" fmla="*/ 573014 h 6557032"/>
              <a:gd name="connsiteX35381" fmla="*/ 736159 w 4610101"/>
              <a:gd name="connsiteY35381" fmla="*/ 573014 h 6557032"/>
              <a:gd name="connsiteX35382" fmla="*/ 734154 w 4610101"/>
              <a:gd name="connsiteY35382" fmla="*/ 583038 h 6557032"/>
              <a:gd name="connsiteX35383" fmla="*/ 734108 w 4610101"/>
              <a:gd name="connsiteY35383" fmla="*/ 580531 h 6557032"/>
              <a:gd name="connsiteX35384" fmla="*/ 732515 w 4610101"/>
              <a:gd name="connsiteY35384" fmla="*/ 591236 h 6557032"/>
              <a:gd name="connsiteX35385" fmla="*/ 734154 w 4610101"/>
              <a:gd name="connsiteY35385" fmla="*/ 583038 h 6557032"/>
              <a:gd name="connsiteX35386" fmla="*/ 734336 w 4610101"/>
              <a:gd name="connsiteY35386" fmla="*/ 593058 h 6557032"/>
              <a:gd name="connsiteX35387" fmla="*/ 743447 w 4610101"/>
              <a:gd name="connsiteY35387" fmla="*/ 578481 h 6557032"/>
              <a:gd name="connsiteX35388" fmla="*/ 736159 w 4610101"/>
              <a:gd name="connsiteY35388" fmla="*/ 573014 h 6557032"/>
              <a:gd name="connsiteX35389" fmla="*/ 477410 w 4610101"/>
              <a:gd name="connsiteY35389" fmla="*/ 573014 h 6557032"/>
              <a:gd name="connsiteX35390" fmla="*/ 488343 w 4610101"/>
              <a:gd name="connsiteY35390" fmla="*/ 587591 h 6557032"/>
              <a:gd name="connsiteX35391" fmla="*/ 486521 w 4610101"/>
              <a:gd name="connsiteY35391" fmla="*/ 573014 h 6557032"/>
              <a:gd name="connsiteX35392" fmla="*/ 477410 w 4610101"/>
              <a:gd name="connsiteY35392" fmla="*/ 573014 h 6557032"/>
              <a:gd name="connsiteX35393" fmla="*/ 1164048 w 4610101"/>
              <a:gd name="connsiteY35393" fmla="*/ 572909 h 6557032"/>
              <a:gd name="connsiteX35394" fmla="*/ 1163962 w 4610101"/>
              <a:gd name="connsiteY35394" fmla="*/ 573365 h 6557032"/>
              <a:gd name="connsiteX35395" fmla="*/ 1163914 w 4610101"/>
              <a:gd name="connsiteY35395" fmla="*/ 573214 h 6557032"/>
              <a:gd name="connsiteX35396" fmla="*/ 2680802 w 4610101"/>
              <a:gd name="connsiteY35396" fmla="*/ 571672 h 6557032"/>
              <a:gd name="connsiteX35397" fmla="*/ 2687707 w 4610101"/>
              <a:gd name="connsiteY35397" fmla="*/ 580303 h 6557032"/>
              <a:gd name="connsiteX35398" fmla="*/ 2689529 w 4610101"/>
              <a:gd name="connsiteY35398" fmla="*/ 574836 h 6557032"/>
              <a:gd name="connsiteX35399" fmla="*/ 2685885 w 4610101"/>
              <a:gd name="connsiteY35399" fmla="*/ 603991 h 6557032"/>
              <a:gd name="connsiteX35400" fmla="*/ 2678596 w 4610101"/>
              <a:gd name="connsiteY35400" fmla="*/ 583947 h 6557032"/>
              <a:gd name="connsiteX35401" fmla="*/ 2665841 w 4610101"/>
              <a:gd name="connsiteY35401" fmla="*/ 596702 h 6557032"/>
              <a:gd name="connsiteX35402" fmla="*/ 2664019 w 4610101"/>
              <a:gd name="connsiteY35402" fmla="*/ 583947 h 6557032"/>
              <a:gd name="connsiteX35403" fmla="*/ 2662197 w 4610101"/>
              <a:gd name="connsiteY35403" fmla="*/ 594880 h 6557032"/>
              <a:gd name="connsiteX35404" fmla="*/ 2665841 w 4610101"/>
              <a:gd name="connsiteY35404" fmla="*/ 574836 h 6557032"/>
              <a:gd name="connsiteX35405" fmla="*/ 2682240 w 4610101"/>
              <a:gd name="connsiteY35405" fmla="*/ 580303 h 6557032"/>
              <a:gd name="connsiteX35406" fmla="*/ 580819 w 4610101"/>
              <a:gd name="connsiteY35406" fmla="*/ 571647 h 6557032"/>
              <a:gd name="connsiteX35407" fmla="*/ 579623 w 4610101"/>
              <a:gd name="connsiteY35407" fmla="*/ 574438 h 6557032"/>
              <a:gd name="connsiteX35408" fmla="*/ 579460 w 4610101"/>
              <a:gd name="connsiteY35408" fmla="*/ 574470 h 6557032"/>
              <a:gd name="connsiteX35409" fmla="*/ 579492 w 4610101"/>
              <a:gd name="connsiteY35409" fmla="*/ 572974 h 6557032"/>
              <a:gd name="connsiteX35410" fmla="*/ 2937345 w 4610101"/>
              <a:gd name="connsiteY35410" fmla="*/ 571192 h 6557032"/>
              <a:gd name="connsiteX35411" fmla="*/ 2944223 w 4610101"/>
              <a:gd name="connsiteY35411" fmla="*/ 579481 h 6557032"/>
              <a:gd name="connsiteX35412" fmla="*/ 2944634 w 4610101"/>
              <a:gd name="connsiteY35412" fmla="*/ 580303 h 6557032"/>
              <a:gd name="connsiteX35413" fmla="*/ 2931878 w 4610101"/>
              <a:gd name="connsiteY35413" fmla="*/ 580303 h 6557032"/>
              <a:gd name="connsiteX35414" fmla="*/ 2942811 w 4610101"/>
              <a:gd name="connsiteY35414" fmla="*/ 596702 h 6557032"/>
              <a:gd name="connsiteX35415" fmla="*/ 2946228 w 4610101"/>
              <a:gd name="connsiteY35415" fmla="*/ 581897 h 6557032"/>
              <a:gd name="connsiteX35416" fmla="*/ 2944223 w 4610101"/>
              <a:gd name="connsiteY35416" fmla="*/ 579481 h 6557032"/>
              <a:gd name="connsiteX35417" fmla="*/ 2942356 w 4610101"/>
              <a:gd name="connsiteY35417" fmla="*/ 575747 h 6557032"/>
              <a:gd name="connsiteX35418" fmla="*/ 2937345 w 4610101"/>
              <a:gd name="connsiteY35418" fmla="*/ 571192 h 6557032"/>
              <a:gd name="connsiteX35419" fmla="*/ 2549222 w 4610101"/>
              <a:gd name="connsiteY35419" fmla="*/ 571192 h 6557032"/>
              <a:gd name="connsiteX35420" fmla="*/ 2551044 w 4610101"/>
              <a:gd name="connsiteY35420" fmla="*/ 591236 h 6557032"/>
              <a:gd name="connsiteX35421" fmla="*/ 2545577 w 4610101"/>
              <a:gd name="connsiteY35421" fmla="*/ 587591 h 6557032"/>
              <a:gd name="connsiteX35422" fmla="*/ 2551044 w 4610101"/>
              <a:gd name="connsiteY35422" fmla="*/ 613103 h 6557032"/>
              <a:gd name="connsiteX35423" fmla="*/ 2563799 w 4610101"/>
              <a:gd name="connsiteY35423" fmla="*/ 614924 h 6557032"/>
              <a:gd name="connsiteX35424" fmla="*/ 2572910 w 4610101"/>
              <a:gd name="connsiteY35424" fmla="*/ 607635 h 6557032"/>
              <a:gd name="connsiteX35425" fmla="*/ 2560155 w 4610101"/>
              <a:gd name="connsiteY35425" fmla="*/ 587591 h 6557032"/>
              <a:gd name="connsiteX35426" fmla="*/ 2549222 w 4610101"/>
              <a:gd name="connsiteY35426" fmla="*/ 571192 h 6557032"/>
              <a:gd name="connsiteX35427" fmla="*/ 703359 w 4610101"/>
              <a:gd name="connsiteY35427" fmla="*/ 571192 h 6557032"/>
              <a:gd name="connsiteX35428" fmla="*/ 697893 w 4610101"/>
              <a:gd name="connsiteY35428" fmla="*/ 582125 h 6557032"/>
              <a:gd name="connsiteX35429" fmla="*/ 707004 w 4610101"/>
              <a:gd name="connsiteY35429" fmla="*/ 583947 h 6557032"/>
              <a:gd name="connsiteX35430" fmla="*/ 703359 w 4610101"/>
              <a:gd name="connsiteY35430" fmla="*/ 571192 h 6557032"/>
              <a:gd name="connsiteX35431" fmla="*/ 491987 w 4610101"/>
              <a:gd name="connsiteY35431" fmla="*/ 571192 h 6557032"/>
              <a:gd name="connsiteX35432" fmla="*/ 491987 w 4610101"/>
              <a:gd name="connsiteY35432" fmla="*/ 583947 h 6557032"/>
              <a:gd name="connsiteX35433" fmla="*/ 501098 w 4610101"/>
              <a:gd name="connsiteY35433" fmla="*/ 598524 h 6557032"/>
              <a:gd name="connsiteX35434" fmla="*/ 493809 w 4610101"/>
              <a:gd name="connsiteY35434" fmla="*/ 580303 h 6557032"/>
              <a:gd name="connsiteX35435" fmla="*/ 501098 w 4610101"/>
              <a:gd name="connsiteY35435" fmla="*/ 582125 h 6557032"/>
              <a:gd name="connsiteX35436" fmla="*/ 491987 w 4610101"/>
              <a:gd name="connsiteY35436" fmla="*/ 571192 h 6557032"/>
              <a:gd name="connsiteX35437" fmla="*/ 468299 w 4610101"/>
              <a:gd name="connsiteY35437" fmla="*/ 571192 h 6557032"/>
              <a:gd name="connsiteX35438" fmla="*/ 470121 w 4610101"/>
              <a:gd name="connsiteY35438" fmla="*/ 576658 h 6557032"/>
              <a:gd name="connsiteX35439" fmla="*/ 468299 w 4610101"/>
              <a:gd name="connsiteY35439" fmla="*/ 571192 h 6557032"/>
              <a:gd name="connsiteX35440" fmla="*/ 389946 w 4610101"/>
              <a:gd name="connsiteY35440" fmla="*/ 571192 h 6557032"/>
              <a:gd name="connsiteX35441" fmla="*/ 393643 w 4610101"/>
              <a:gd name="connsiteY35441" fmla="*/ 578924 h 6557032"/>
              <a:gd name="connsiteX35442" fmla="*/ 389507 w 4610101"/>
              <a:gd name="connsiteY35442" fmla="*/ 579957 h 6557032"/>
              <a:gd name="connsiteX35443" fmla="*/ 322525 w 4610101"/>
              <a:gd name="connsiteY35443" fmla="*/ 571192 h 6557032"/>
              <a:gd name="connsiteX35444" fmla="*/ 327993 w 4610101"/>
              <a:gd name="connsiteY35444" fmla="*/ 585769 h 6557032"/>
              <a:gd name="connsiteX35445" fmla="*/ 329814 w 4610101"/>
              <a:gd name="connsiteY35445" fmla="*/ 582125 h 6557032"/>
              <a:gd name="connsiteX35446" fmla="*/ 322525 w 4610101"/>
              <a:gd name="connsiteY35446" fmla="*/ 571192 h 6557032"/>
              <a:gd name="connsiteX35447" fmla="*/ 2680558 w 4610101"/>
              <a:gd name="connsiteY35447" fmla="*/ 570211 h 6557032"/>
              <a:gd name="connsiteX35448" fmla="*/ 2680802 w 4610101"/>
              <a:gd name="connsiteY35448" fmla="*/ 571672 h 6557032"/>
              <a:gd name="connsiteX35449" fmla="*/ 2680418 w 4610101"/>
              <a:gd name="connsiteY35449" fmla="*/ 571192 h 6557032"/>
              <a:gd name="connsiteX35450" fmla="*/ 3482175 w 4610101"/>
              <a:gd name="connsiteY35450" fmla="*/ 569370 h 6557032"/>
              <a:gd name="connsiteX35451" fmla="*/ 3483997 w 4610101"/>
              <a:gd name="connsiteY35451" fmla="*/ 574836 h 6557032"/>
              <a:gd name="connsiteX35452" fmla="*/ 3484838 w 4610101"/>
              <a:gd name="connsiteY35452" fmla="*/ 572403 h 6557032"/>
              <a:gd name="connsiteX35453" fmla="*/ 3484470 w 4610101"/>
              <a:gd name="connsiteY35453" fmla="*/ 575864 h 6557032"/>
              <a:gd name="connsiteX35454" fmla="*/ 3482175 w 4610101"/>
              <a:gd name="connsiteY35454" fmla="*/ 576658 h 6557032"/>
              <a:gd name="connsiteX35455" fmla="*/ 3482663 w 4610101"/>
              <a:gd name="connsiteY35455" fmla="*/ 581045 h 6557032"/>
              <a:gd name="connsiteX35456" fmla="*/ 3478917 w 4610101"/>
              <a:gd name="connsiteY35456" fmla="*/ 583126 h 6557032"/>
              <a:gd name="connsiteX35457" fmla="*/ 832734 w 4610101"/>
              <a:gd name="connsiteY35457" fmla="*/ 569370 h 6557032"/>
              <a:gd name="connsiteX35458" fmla="*/ 830912 w 4610101"/>
              <a:gd name="connsiteY35458" fmla="*/ 582125 h 6557032"/>
              <a:gd name="connsiteX35459" fmla="*/ 838200 w 4610101"/>
              <a:gd name="connsiteY35459" fmla="*/ 571192 h 6557032"/>
              <a:gd name="connsiteX35460" fmla="*/ 832734 w 4610101"/>
              <a:gd name="connsiteY35460" fmla="*/ 569370 h 6557032"/>
              <a:gd name="connsiteX35461" fmla="*/ 776246 w 4610101"/>
              <a:gd name="connsiteY35461" fmla="*/ 569370 h 6557032"/>
              <a:gd name="connsiteX35462" fmla="*/ 781713 w 4610101"/>
              <a:gd name="connsiteY35462" fmla="*/ 587591 h 6557032"/>
              <a:gd name="connsiteX35463" fmla="*/ 783535 w 4610101"/>
              <a:gd name="connsiteY35463" fmla="*/ 587591 h 6557032"/>
              <a:gd name="connsiteX35464" fmla="*/ 789003 w 4610101"/>
              <a:gd name="connsiteY35464" fmla="*/ 594880 h 6557032"/>
              <a:gd name="connsiteX35465" fmla="*/ 790824 w 4610101"/>
              <a:gd name="connsiteY35465" fmla="*/ 587591 h 6557032"/>
              <a:gd name="connsiteX35466" fmla="*/ 792646 w 4610101"/>
              <a:gd name="connsiteY35466" fmla="*/ 593058 h 6557032"/>
              <a:gd name="connsiteX35467" fmla="*/ 790824 w 4610101"/>
              <a:gd name="connsiteY35467" fmla="*/ 587591 h 6557032"/>
              <a:gd name="connsiteX35468" fmla="*/ 776246 w 4610101"/>
              <a:gd name="connsiteY35468" fmla="*/ 569370 h 6557032"/>
              <a:gd name="connsiteX35469" fmla="*/ 701537 w 4610101"/>
              <a:gd name="connsiteY35469" fmla="*/ 569370 h 6557032"/>
              <a:gd name="connsiteX35470" fmla="*/ 694249 w 4610101"/>
              <a:gd name="connsiteY35470" fmla="*/ 582125 h 6557032"/>
              <a:gd name="connsiteX35471" fmla="*/ 701537 w 4610101"/>
              <a:gd name="connsiteY35471" fmla="*/ 569370 h 6557032"/>
              <a:gd name="connsiteX35472" fmla="*/ 632296 w 4610101"/>
              <a:gd name="connsiteY35472" fmla="*/ 569370 h 6557032"/>
              <a:gd name="connsiteX35473" fmla="*/ 632296 w 4610101"/>
              <a:gd name="connsiteY35473" fmla="*/ 580303 h 6557032"/>
              <a:gd name="connsiteX35474" fmla="*/ 632296 w 4610101"/>
              <a:gd name="connsiteY35474" fmla="*/ 569370 h 6557032"/>
              <a:gd name="connsiteX35475" fmla="*/ 544830 w 4610101"/>
              <a:gd name="connsiteY35475" fmla="*/ 569370 h 6557032"/>
              <a:gd name="connsiteX35476" fmla="*/ 544830 w 4610101"/>
              <a:gd name="connsiteY35476" fmla="*/ 580303 h 6557032"/>
              <a:gd name="connsiteX35477" fmla="*/ 548475 w 4610101"/>
              <a:gd name="connsiteY35477" fmla="*/ 574836 h 6557032"/>
              <a:gd name="connsiteX35478" fmla="*/ 544830 w 4610101"/>
              <a:gd name="connsiteY35478" fmla="*/ 569370 h 6557032"/>
              <a:gd name="connsiteX35479" fmla="*/ 2871767 w 4610101"/>
              <a:gd name="connsiteY35479" fmla="*/ 569311 h 6557032"/>
              <a:gd name="connsiteX35480" fmla="*/ 2871809 w 4610101"/>
              <a:gd name="connsiteY35480" fmla="*/ 569340 h 6557032"/>
              <a:gd name="connsiteX35481" fmla="*/ 2871747 w 4610101"/>
              <a:gd name="connsiteY35481" fmla="*/ 569370 h 6557032"/>
              <a:gd name="connsiteX35482" fmla="*/ 2613909 w 4610101"/>
              <a:gd name="connsiteY35482" fmla="*/ 568004 h 6557032"/>
              <a:gd name="connsiteX35483" fmla="*/ 2615428 w 4610101"/>
              <a:gd name="connsiteY35483" fmla="*/ 568763 h 6557032"/>
              <a:gd name="connsiteX35484" fmla="*/ 2616642 w 4610101"/>
              <a:gd name="connsiteY35484" fmla="*/ 574836 h 6557032"/>
              <a:gd name="connsiteX35485" fmla="*/ 2613298 w 4610101"/>
              <a:gd name="connsiteY35485" fmla="*/ 570655 h 6557032"/>
              <a:gd name="connsiteX35486" fmla="*/ 2613210 w 4610101"/>
              <a:gd name="connsiteY35486" fmla="*/ 569750 h 6557032"/>
              <a:gd name="connsiteX35487" fmla="*/ 436761 w 4610101"/>
              <a:gd name="connsiteY35487" fmla="*/ 567827 h 6557032"/>
              <a:gd name="connsiteX35488" fmla="*/ 437309 w 4610101"/>
              <a:gd name="connsiteY35488" fmla="*/ 568740 h 6557032"/>
              <a:gd name="connsiteX35489" fmla="*/ 437322 w 4610101"/>
              <a:gd name="connsiteY35489" fmla="*/ 569370 h 6557032"/>
              <a:gd name="connsiteX35490" fmla="*/ 648580 w 4610101"/>
              <a:gd name="connsiteY35490" fmla="*/ 567777 h 6557032"/>
              <a:gd name="connsiteX35491" fmla="*/ 648466 w 4610101"/>
              <a:gd name="connsiteY35491" fmla="*/ 569826 h 6557032"/>
              <a:gd name="connsiteX35492" fmla="*/ 646872 w 4610101"/>
              <a:gd name="connsiteY35492" fmla="*/ 571192 h 6557032"/>
              <a:gd name="connsiteX35493" fmla="*/ 2875391 w 4610101"/>
              <a:gd name="connsiteY35493" fmla="*/ 567548 h 6557032"/>
              <a:gd name="connsiteX35494" fmla="*/ 2877578 w 4610101"/>
              <a:gd name="connsiteY35494" fmla="*/ 571921 h 6557032"/>
              <a:gd name="connsiteX35495" fmla="*/ 2877213 w 4610101"/>
              <a:gd name="connsiteY35495" fmla="*/ 573014 h 6557032"/>
              <a:gd name="connsiteX35496" fmla="*/ 2871809 w 4610101"/>
              <a:gd name="connsiteY35496" fmla="*/ 569340 h 6557032"/>
              <a:gd name="connsiteX35497" fmla="*/ 2430780 w 4610101"/>
              <a:gd name="connsiteY35497" fmla="*/ 567548 h 6557032"/>
              <a:gd name="connsiteX35498" fmla="*/ 2432603 w 4610101"/>
              <a:gd name="connsiteY35498" fmla="*/ 580303 h 6557032"/>
              <a:gd name="connsiteX35499" fmla="*/ 2438069 w 4610101"/>
              <a:gd name="connsiteY35499" fmla="*/ 567548 h 6557032"/>
              <a:gd name="connsiteX35500" fmla="*/ 2435792 w 4610101"/>
              <a:gd name="connsiteY35500" fmla="*/ 567548 h 6557032"/>
              <a:gd name="connsiteX35501" fmla="*/ 2430780 w 4610101"/>
              <a:gd name="connsiteY35501" fmla="*/ 567548 h 6557032"/>
              <a:gd name="connsiteX35502" fmla="*/ 2401626 w 4610101"/>
              <a:gd name="connsiteY35502" fmla="*/ 567548 h 6557032"/>
              <a:gd name="connsiteX35503" fmla="*/ 2399803 w 4610101"/>
              <a:gd name="connsiteY35503" fmla="*/ 580303 h 6557032"/>
              <a:gd name="connsiteX35504" fmla="*/ 2401626 w 4610101"/>
              <a:gd name="connsiteY35504" fmla="*/ 567548 h 6557032"/>
              <a:gd name="connsiteX35505" fmla="*/ 1989814 w 4610101"/>
              <a:gd name="connsiteY35505" fmla="*/ 567548 h 6557032"/>
              <a:gd name="connsiteX35506" fmla="*/ 1973416 w 4610101"/>
              <a:gd name="connsiteY35506" fmla="*/ 589414 h 6557032"/>
              <a:gd name="connsiteX35507" fmla="*/ 1995281 w 4610101"/>
              <a:gd name="connsiteY35507" fmla="*/ 576658 h 6557032"/>
              <a:gd name="connsiteX35508" fmla="*/ 1989814 w 4610101"/>
              <a:gd name="connsiteY35508" fmla="*/ 567548 h 6557032"/>
              <a:gd name="connsiteX35509" fmla="*/ 843667 w 4610101"/>
              <a:gd name="connsiteY35509" fmla="*/ 567548 h 6557032"/>
              <a:gd name="connsiteX35510" fmla="*/ 841845 w 4610101"/>
              <a:gd name="connsiteY35510" fmla="*/ 569370 h 6557032"/>
              <a:gd name="connsiteX35511" fmla="*/ 847311 w 4610101"/>
              <a:gd name="connsiteY35511" fmla="*/ 573014 h 6557032"/>
              <a:gd name="connsiteX35512" fmla="*/ 843667 w 4610101"/>
              <a:gd name="connsiteY35512" fmla="*/ 567548 h 6557032"/>
              <a:gd name="connsiteX35513" fmla="*/ 756203 w 4610101"/>
              <a:gd name="connsiteY35513" fmla="*/ 567548 h 6557032"/>
              <a:gd name="connsiteX35514" fmla="*/ 758025 w 4610101"/>
              <a:gd name="connsiteY35514" fmla="*/ 582125 h 6557032"/>
              <a:gd name="connsiteX35515" fmla="*/ 752345 w 4610101"/>
              <a:gd name="connsiteY35515" fmla="*/ 572129 h 6557032"/>
              <a:gd name="connsiteX35516" fmla="*/ 313414 w 4610101"/>
              <a:gd name="connsiteY35516" fmla="*/ 567548 h 6557032"/>
              <a:gd name="connsiteX35517" fmla="*/ 317059 w 4610101"/>
              <a:gd name="connsiteY35517" fmla="*/ 582125 h 6557032"/>
              <a:gd name="connsiteX35518" fmla="*/ 313414 w 4610101"/>
              <a:gd name="connsiteY35518" fmla="*/ 567548 h 6557032"/>
              <a:gd name="connsiteX35519" fmla="*/ 666202 w 4610101"/>
              <a:gd name="connsiteY35519" fmla="*/ 566252 h 6557032"/>
              <a:gd name="connsiteX35520" fmla="*/ 666688 w 4610101"/>
              <a:gd name="connsiteY35520" fmla="*/ 566865 h 6557032"/>
              <a:gd name="connsiteX35521" fmla="*/ 665094 w 4610101"/>
              <a:gd name="connsiteY35521" fmla="*/ 574836 h 6557032"/>
              <a:gd name="connsiteX35522" fmla="*/ 664321 w 4610101"/>
              <a:gd name="connsiteY35522" fmla="*/ 573401 h 6557032"/>
              <a:gd name="connsiteX35523" fmla="*/ 2622109 w 4610101"/>
              <a:gd name="connsiteY35523" fmla="*/ 565725 h 6557032"/>
              <a:gd name="connsiteX35524" fmla="*/ 2629397 w 4610101"/>
              <a:gd name="connsiteY35524" fmla="*/ 574836 h 6557032"/>
              <a:gd name="connsiteX35525" fmla="*/ 2622109 w 4610101"/>
              <a:gd name="connsiteY35525" fmla="*/ 565725 h 6557032"/>
              <a:gd name="connsiteX35526" fmla="*/ 2592954 w 4610101"/>
              <a:gd name="connsiteY35526" fmla="*/ 565725 h 6557032"/>
              <a:gd name="connsiteX35527" fmla="*/ 2589310 w 4610101"/>
              <a:gd name="connsiteY35527" fmla="*/ 580303 h 6557032"/>
              <a:gd name="connsiteX35528" fmla="*/ 2588854 w 4610101"/>
              <a:gd name="connsiteY35528" fmla="*/ 589414 h 6557032"/>
              <a:gd name="connsiteX35529" fmla="*/ 2590043 w 4610101"/>
              <a:gd name="connsiteY35529" fmla="*/ 594169 h 6557032"/>
              <a:gd name="connsiteX35530" fmla="*/ 2589310 w 4610101"/>
              <a:gd name="connsiteY35530" fmla="*/ 593058 h 6557032"/>
              <a:gd name="connsiteX35531" fmla="*/ 2591132 w 4610101"/>
              <a:gd name="connsiteY35531" fmla="*/ 598524 h 6557032"/>
              <a:gd name="connsiteX35532" fmla="*/ 2590043 w 4610101"/>
              <a:gd name="connsiteY35532" fmla="*/ 594169 h 6557032"/>
              <a:gd name="connsiteX35533" fmla="*/ 2596826 w 4610101"/>
              <a:gd name="connsiteY35533" fmla="*/ 604447 h 6557032"/>
              <a:gd name="connsiteX35534" fmla="*/ 2605709 w 4610101"/>
              <a:gd name="connsiteY35534" fmla="*/ 613103 h 6557032"/>
              <a:gd name="connsiteX35535" fmla="*/ 2607531 w 4610101"/>
              <a:gd name="connsiteY35535" fmla="*/ 600347 h 6557032"/>
              <a:gd name="connsiteX35536" fmla="*/ 2609353 w 4610101"/>
              <a:gd name="connsiteY35536" fmla="*/ 602169 h 6557032"/>
              <a:gd name="connsiteX35537" fmla="*/ 2614820 w 4610101"/>
              <a:gd name="connsiteY35537" fmla="*/ 614924 h 6557032"/>
              <a:gd name="connsiteX35538" fmla="*/ 2609353 w 4610101"/>
              <a:gd name="connsiteY35538" fmla="*/ 602169 h 6557032"/>
              <a:gd name="connsiteX35539" fmla="*/ 2600243 w 4610101"/>
              <a:gd name="connsiteY35539" fmla="*/ 589414 h 6557032"/>
              <a:gd name="connsiteX35540" fmla="*/ 2592954 w 4610101"/>
              <a:gd name="connsiteY35540" fmla="*/ 565725 h 6557032"/>
              <a:gd name="connsiteX35541" fmla="*/ 922020 w 4610101"/>
              <a:gd name="connsiteY35541" fmla="*/ 565725 h 6557032"/>
              <a:gd name="connsiteX35542" fmla="*/ 914732 w 4610101"/>
              <a:gd name="connsiteY35542" fmla="*/ 573014 h 6557032"/>
              <a:gd name="connsiteX35543" fmla="*/ 920198 w 4610101"/>
              <a:gd name="connsiteY35543" fmla="*/ 576658 h 6557032"/>
              <a:gd name="connsiteX35544" fmla="*/ 922020 w 4610101"/>
              <a:gd name="connsiteY35544" fmla="*/ 565725 h 6557032"/>
              <a:gd name="connsiteX35545" fmla="*/ 712470 w 4610101"/>
              <a:gd name="connsiteY35545" fmla="*/ 565725 h 6557032"/>
              <a:gd name="connsiteX35546" fmla="*/ 716570 w 4610101"/>
              <a:gd name="connsiteY35546" fmla="*/ 570281 h 6557032"/>
              <a:gd name="connsiteX35547" fmla="*/ 717198 w 4610101"/>
              <a:gd name="connsiteY35547" fmla="*/ 572376 h 6557032"/>
              <a:gd name="connsiteX35548" fmla="*/ 716798 w 4610101"/>
              <a:gd name="connsiteY35548" fmla="*/ 571420 h 6557032"/>
              <a:gd name="connsiteX35549" fmla="*/ 712470 w 4610101"/>
              <a:gd name="connsiteY35549" fmla="*/ 565725 h 6557032"/>
              <a:gd name="connsiteX35550" fmla="*/ 561230 w 4610101"/>
              <a:gd name="connsiteY35550" fmla="*/ 565725 h 6557032"/>
              <a:gd name="connsiteX35551" fmla="*/ 557586 w 4610101"/>
              <a:gd name="connsiteY35551" fmla="*/ 569370 h 6557032"/>
              <a:gd name="connsiteX35552" fmla="*/ 561230 w 4610101"/>
              <a:gd name="connsiteY35552" fmla="*/ 573014 h 6557032"/>
              <a:gd name="connsiteX35553" fmla="*/ 561230 w 4610101"/>
              <a:gd name="connsiteY35553" fmla="*/ 565725 h 6557032"/>
              <a:gd name="connsiteX35554" fmla="*/ 435500 w 4610101"/>
              <a:gd name="connsiteY35554" fmla="*/ 565725 h 6557032"/>
              <a:gd name="connsiteX35555" fmla="*/ 436411 w 4610101"/>
              <a:gd name="connsiteY35555" fmla="*/ 566864 h 6557032"/>
              <a:gd name="connsiteX35556" fmla="*/ 436761 w 4610101"/>
              <a:gd name="connsiteY35556" fmla="*/ 567827 h 6557032"/>
              <a:gd name="connsiteX35557" fmla="*/ 1121293 w 4610101"/>
              <a:gd name="connsiteY35557" fmla="*/ 564672 h 6557032"/>
              <a:gd name="connsiteX35558" fmla="*/ 1122388 w 4610101"/>
              <a:gd name="connsiteY35558" fmla="*/ 565726 h 6557032"/>
              <a:gd name="connsiteX35559" fmla="*/ 1120638 w 4610101"/>
              <a:gd name="connsiteY35559" fmla="*/ 565726 h 6557032"/>
              <a:gd name="connsiteX35560" fmla="*/ 1120220 w 4610101"/>
              <a:gd name="connsiteY35560" fmla="*/ 565726 h 6557032"/>
              <a:gd name="connsiteX35561" fmla="*/ 2870625 w 4610101"/>
              <a:gd name="connsiteY35561" fmla="*/ 564184 h 6557032"/>
              <a:gd name="connsiteX35562" fmla="*/ 2873140 w 4610101"/>
              <a:gd name="connsiteY35562" fmla="*/ 565190 h 6557032"/>
              <a:gd name="connsiteX35563" fmla="*/ 2871767 w 4610101"/>
              <a:gd name="connsiteY35563" fmla="*/ 569311 h 6557032"/>
              <a:gd name="connsiteX35564" fmla="*/ 2871519 w 4610101"/>
              <a:gd name="connsiteY35564" fmla="*/ 569143 h 6557032"/>
              <a:gd name="connsiteX35565" fmla="*/ 2870661 w 4610101"/>
              <a:gd name="connsiteY35565" fmla="*/ 566323 h 6557032"/>
              <a:gd name="connsiteX35566" fmla="*/ 2871747 w 4610101"/>
              <a:gd name="connsiteY35566" fmla="*/ 567548 h 6557032"/>
              <a:gd name="connsiteX35567" fmla="*/ 3261692 w 4610101"/>
              <a:gd name="connsiteY35567" fmla="*/ 563904 h 6557032"/>
              <a:gd name="connsiteX35568" fmla="*/ 3254403 w 4610101"/>
              <a:gd name="connsiteY35568" fmla="*/ 567548 h 6557032"/>
              <a:gd name="connsiteX35569" fmla="*/ 3261692 w 4610101"/>
              <a:gd name="connsiteY35569" fmla="*/ 571192 h 6557032"/>
              <a:gd name="connsiteX35570" fmla="*/ 3261692 w 4610101"/>
              <a:gd name="connsiteY35570" fmla="*/ 563904 h 6557032"/>
              <a:gd name="connsiteX35571" fmla="*/ 2587487 w 4610101"/>
              <a:gd name="connsiteY35571" fmla="*/ 563904 h 6557032"/>
              <a:gd name="connsiteX35572" fmla="*/ 2583843 w 4610101"/>
              <a:gd name="connsiteY35572" fmla="*/ 576658 h 6557032"/>
              <a:gd name="connsiteX35573" fmla="*/ 2587487 w 4610101"/>
              <a:gd name="connsiteY35573" fmla="*/ 563904 h 6557032"/>
              <a:gd name="connsiteX35574" fmla="*/ 2139233 w 4610101"/>
              <a:gd name="connsiteY35574" fmla="*/ 563904 h 6557032"/>
              <a:gd name="connsiteX35575" fmla="*/ 2144699 w 4610101"/>
              <a:gd name="connsiteY35575" fmla="*/ 576658 h 6557032"/>
              <a:gd name="connsiteX35576" fmla="*/ 2139233 w 4610101"/>
              <a:gd name="connsiteY35576" fmla="*/ 563904 h 6557032"/>
              <a:gd name="connsiteX35577" fmla="*/ 1131570 w 4610101"/>
              <a:gd name="connsiteY35577" fmla="*/ 563904 h 6557032"/>
              <a:gd name="connsiteX35578" fmla="*/ 1126104 w 4610101"/>
              <a:gd name="connsiteY35578" fmla="*/ 580303 h 6557032"/>
              <a:gd name="connsiteX35579" fmla="*/ 1137037 w 4610101"/>
              <a:gd name="connsiteY35579" fmla="*/ 583947 h 6557032"/>
              <a:gd name="connsiteX35580" fmla="*/ 1126104 w 4610101"/>
              <a:gd name="connsiteY35580" fmla="*/ 585769 h 6557032"/>
              <a:gd name="connsiteX35581" fmla="*/ 1131570 w 4610101"/>
              <a:gd name="connsiteY35581" fmla="*/ 589414 h 6557032"/>
              <a:gd name="connsiteX35582" fmla="*/ 1116993 w 4610101"/>
              <a:gd name="connsiteY35582" fmla="*/ 609459 h 6557032"/>
              <a:gd name="connsiteX35583" fmla="*/ 1127926 w 4610101"/>
              <a:gd name="connsiteY35583" fmla="*/ 596702 h 6557032"/>
              <a:gd name="connsiteX35584" fmla="*/ 1126104 w 4610101"/>
              <a:gd name="connsiteY35584" fmla="*/ 602169 h 6557032"/>
              <a:gd name="connsiteX35585" fmla="*/ 1131570 w 4610101"/>
              <a:gd name="connsiteY35585" fmla="*/ 605813 h 6557032"/>
              <a:gd name="connsiteX35586" fmla="*/ 1137037 w 4610101"/>
              <a:gd name="connsiteY35586" fmla="*/ 598524 h 6557032"/>
              <a:gd name="connsiteX35587" fmla="*/ 1133393 w 4610101"/>
              <a:gd name="connsiteY35587" fmla="*/ 596702 h 6557032"/>
              <a:gd name="connsiteX35588" fmla="*/ 1142503 w 4610101"/>
              <a:gd name="connsiteY35588" fmla="*/ 598524 h 6557032"/>
              <a:gd name="connsiteX35589" fmla="*/ 1138859 w 4610101"/>
              <a:gd name="connsiteY35589" fmla="*/ 603991 h 6557032"/>
              <a:gd name="connsiteX35590" fmla="*/ 1146148 w 4610101"/>
              <a:gd name="connsiteY35590" fmla="*/ 591236 h 6557032"/>
              <a:gd name="connsiteX35591" fmla="*/ 1138859 w 4610101"/>
              <a:gd name="connsiteY35591" fmla="*/ 585769 h 6557032"/>
              <a:gd name="connsiteX35592" fmla="*/ 1146148 w 4610101"/>
              <a:gd name="connsiteY35592" fmla="*/ 587591 h 6557032"/>
              <a:gd name="connsiteX35593" fmla="*/ 1131570 w 4610101"/>
              <a:gd name="connsiteY35593" fmla="*/ 563904 h 6557032"/>
              <a:gd name="connsiteX35594" fmla="*/ 907444 w 4610101"/>
              <a:gd name="connsiteY35594" fmla="*/ 563904 h 6557032"/>
              <a:gd name="connsiteX35595" fmla="*/ 898333 w 4610101"/>
              <a:gd name="connsiteY35595" fmla="*/ 578481 h 6557032"/>
              <a:gd name="connsiteX35596" fmla="*/ 901976 w 4610101"/>
              <a:gd name="connsiteY35596" fmla="*/ 569370 h 6557032"/>
              <a:gd name="connsiteX35597" fmla="*/ 901976 w 4610101"/>
              <a:gd name="connsiteY35597" fmla="*/ 576658 h 6557032"/>
              <a:gd name="connsiteX35598" fmla="*/ 907444 w 4610101"/>
              <a:gd name="connsiteY35598" fmla="*/ 563904 h 6557032"/>
              <a:gd name="connsiteX35599" fmla="*/ 887399 w 4610101"/>
              <a:gd name="connsiteY35599" fmla="*/ 563904 h 6557032"/>
              <a:gd name="connsiteX35600" fmla="*/ 885577 w 4610101"/>
              <a:gd name="connsiteY35600" fmla="*/ 571192 h 6557032"/>
              <a:gd name="connsiteX35601" fmla="*/ 881933 w 4610101"/>
              <a:gd name="connsiteY35601" fmla="*/ 591236 h 6557032"/>
              <a:gd name="connsiteX35602" fmla="*/ 891043 w 4610101"/>
              <a:gd name="connsiteY35602" fmla="*/ 578481 h 6557032"/>
              <a:gd name="connsiteX35603" fmla="*/ 885577 w 4610101"/>
              <a:gd name="connsiteY35603" fmla="*/ 585769 h 6557032"/>
              <a:gd name="connsiteX35604" fmla="*/ 885577 w 4610101"/>
              <a:gd name="connsiteY35604" fmla="*/ 571192 h 6557032"/>
              <a:gd name="connsiteX35605" fmla="*/ 887399 w 4610101"/>
              <a:gd name="connsiteY35605" fmla="*/ 576658 h 6557032"/>
              <a:gd name="connsiteX35606" fmla="*/ 887399 w 4610101"/>
              <a:gd name="connsiteY35606" fmla="*/ 563904 h 6557032"/>
              <a:gd name="connsiteX35607" fmla="*/ 537542 w 4610101"/>
              <a:gd name="connsiteY35607" fmla="*/ 563904 h 6557032"/>
              <a:gd name="connsiteX35608" fmla="*/ 543008 w 4610101"/>
              <a:gd name="connsiteY35608" fmla="*/ 576658 h 6557032"/>
              <a:gd name="connsiteX35609" fmla="*/ 543008 w 4610101"/>
              <a:gd name="connsiteY35609" fmla="*/ 565725 h 6557032"/>
              <a:gd name="connsiteX35610" fmla="*/ 537542 w 4610101"/>
              <a:gd name="connsiteY35610" fmla="*/ 563904 h 6557032"/>
              <a:gd name="connsiteX35611" fmla="*/ 2574049 w 4610101"/>
              <a:gd name="connsiteY35611" fmla="*/ 563448 h 6557032"/>
              <a:gd name="connsiteX35612" fmla="*/ 2571088 w 4610101"/>
              <a:gd name="connsiteY35612" fmla="*/ 565725 h 6557032"/>
              <a:gd name="connsiteX35613" fmla="*/ 2572910 w 4610101"/>
              <a:gd name="connsiteY35613" fmla="*/ 578481 h 6557032"/>
              <a:gd name="connsiteX35614" fmla="*/ 2571088 w 4610101"/>
              <a:gd name="connsiteY35614" fmla="*/ 576658 h 6557032"/>
              <a:gd name="connsiteX35615" fmla="*/ 2576554 w 4610101"/>
              <a:gd name="connsiteY35615" fmla="*/ 593058 h 6557032"/>
              <a:gd name="connsiteX35616" fmla="*/ 2576554 w 4610101"/>
              <a:gd name="connsiteY35616" fmla="*/ 574836 h 6557032"/>
              <a:gd name="connsiteX35617" fmla="*/ 2578377 w 4610101"/>
              <a:gd name="connsiteY35617" fmla="*/ 563904 h 6557032"/>
              <a:gd name="connsiteX35618" fmla="*/ 2574049 w 4610101"/>
              <a:gd name="connsiteY35618" fmla="*/ 563448 h 6557032"/>
              <a:gd name="connsiteX35619" fmla="*/ 602576 w 4610101"/>
              <a:gd name="connsiteY35619" fmla="*/ 562819 h 6557032"/>
              <a:gd name="connsiteX35620" fmla="*/ 602371 w 4610101"/>
              <a:gd name="connsiteY35620" fmla="*/ 565014 h 6557032"/>
              <a:gd name="connsiteX35621" fmla="*/ 595267 w 4610101"/>
              <a:gd name="connsiteY35621" fmla="*/ 576236 h 6557032"/>
              <a:gd name="connsiteX35622" fmla="*/ 597218 w 4610101"/>
              <a:gd name="connsiteY35622" fmla="*/ 569826 h 6557032"/>
              <a:gd name="connsiteX35623" fmla="*/ 2866923 w 4610101"/>
              <a:gd name="connsiteY35623" fmla="*/ 562105 h 6557032"/>
              <a:gd name="connsiteX35624" fmla="*/ 2869970 w 4610101"/>
              <a:gd name="connsiteY35624" fmla="*/ 562218 h 6557032"/>
              <a:gd name="connsiteX35625" fmla="*/ 2870625 w 4610101"/>
              <a:gd name="connsiteY35625" fmla="*/ 564184 h 6557032"/>
              <a:gd name="connsiteX35626" fmla="*/ 2869924 w 4610101"/>
              <a:gd name="connsiteY35626" fmla="*/ 563904 h 6557032"/>
              <a:gd name="connsiteX35627" fmla="*/ 2870661 w 4610101"/>
              <a:gd name="connsiteY35627" fmla="*/ 566323 h 6557032"/>
              <a:gd name="connsiteX35628" fmla="*/ 3320001 w 4610101"/>
              <a:gd name="connsiteY35628" fmla="*/ 562081 h 6557032"/>
              <a:gd name="connsiteX35629" fmla="*/ 3329112 w 4610101"/>
              <a:gd name="connsiteY35629" fmla="*/ 565725 h 6557032"/>
              <a:gd name="connsiteX35630" fmla="*/ 3323646 w 4610101"/>
              <a:gd name="connsiteY35630" fmla="*/ 571192 h 6557032"/>
              <a:gd name="connsiteX35631" fmla="*/ 3320001 w 4610101"/>
              <a:gd name="connsiteY35631" fmla="*/ 567548 h 6557032"/>
              <a:gd name="connsiteX35632" fmla="*/ 3321824 w 4610101"/>
              <a:gd name="connsiteY35632" fmla="*/ 591236 h 6557032"/>
              <a:gd name="connsiteX35633" fmla="*/ 3320001 w 4610101"/>
              <a:gd name="connsiteY35633" fmla="*/ 589414 h 6557032"/>
              <a:gd name="connsiteX35634" fmla="*/ 3325468 w 4610101"/>
              <a:gd name="connsiteY35634" fmla="*/ 589414 h 6557032"/>
              <a:gd name="connsiteX35635" fmla="*/ 3321824 w 4610101"/>
              <a:gd name="connsiteY35635" fmla="*/ 593058 h 6557032"/>
              <a:gd name="connsiteX35636" fmla="*/ 3340045 w 4610101"/>
              <a:gd name="connsiteY35636" fmla="*/ 596702 h 6557032"/>
              <a:gd name="connsiteX35637" fmla="*/ 3345512 w 4610101"/>
              <a:gd name="connsiteY35637" fmla="*/ 589414 h 6557032"/>
              <a:gd name="connsiteX35638" fmla="*/ 3334579 w 4610101"/>
              <a:gd name="connsiteY35638" fmla="*/ 585769 h 6557032"/>
              <a:gd name="connsiteX35639" fmla="*/ 3336401 w 4610101"/>
              <a:gd name="connsiteY35639" fmla="*/ 573014 h 6557032"/>
              <a:gd name="connsiteX35640" fmla="*/ 3343690 w 4610101"/>
              <a:gd name="connsiteY35640" fmla="*/ 573014 h 6557032"/>
              <a:gd name="connsiteX35641" fmla="*/ 3341867 w 4610101"/>
              <a:gd name="connsiteY35641" fmla="*/ 580303 h 6557032"/>
              <a:gd name="connsiteX35642" fmla="*/ 3352800 w 4610101"/>
              <a:gd name="connsiteY35642" fmla="*/ 580303 h 6557032"/>
              <a:gd name="connsiteX35643" fmla="*/ 3356445 w 4610101"/>
              <a:gd name="connsiteY35643" fmla="*/ 593058 h 6557032"/>
              <a:gd name="connsiteX35644" fmla="*/ 3363734 w 4610101"/>
              <a:gd name="connsiteY35644" fmla="*/ 576658 h 6557032"/>
              <a:gd name="connsiteX35645" fmla="*/ 3350978 w 4610101"/>
              <a:gd name="connsiteY35645" fmla="*/ 565725 h 6557032"/>
              <a:gd name="connsiteX35646" fmla="*/ 3320001 w 4610101"/>
              <a:gd name="connsiteY35646" fmla="*/ 562081 h 6557032"/>
              <a:gd name="connsiteX35647" fmla="*/ 2869924 w 4610101"/>
              <a:gd name="connsiteY35647" fmla="*/ 562081 h 6557032"/>
              <a:gd name="connsiteX35648" fmla="*/ 2870216 w 4610101"/>
              <a:gd name="connsiteY35648" fmla="*/ 562227 h 6557032"/>
              <a:gd name="connsiteX35649" fmla="*/ 2869970 w 4610101"/>
              <a:gd name="connsiteY35649" fmla="*/ 562218 h 6557032"/>
              <a:gd name="connsiteX35650" fmla="*/ 2463580 w 4610101"/>
              <a:gd name="connsiteY35650" fmla="*/ 562081 h 6557032"/>
              <a:gd name="connsiteX35651" fmla="*/ 2454469 w 4610101"/>
              <a:gd name="connsiteY35651" fmla="*/ 571192 h 6557032"/>
              <a:gd name="connsiteX35652" fmla="*/ 2467224 w 4610101"/>
              <a:gd name="connsiteY35652" fmla="*/ 563904 h 6557032"/>
              <a:gd name="connsiteX35653" fmla="*/ 2463580 w 4610101"/>
              <a:gd name="connsiteY35653" fmla="*/ 562081 h 6557032"/>
              <a:gd name="connsiteX35654" fmla="*/ 2370649 w 4610101"/>
              <a:gd name="connsiteY35654" fmla="*/ 562081 h 6557032"/>
              <a:gd name="connsiteX35655" fmla="*/ 2368827 w 4610101"/>
              <a:gd name="connsiteY35655" fmla="*/ 580303 h 6557032"/>
              <a:gd name="connsiteX35656" fmla="*/ 2370649 w 4610101"/>
              <a:gd name="connsiteY35656" fmla="*/ 562081 h 6557032"/>
              <a:gd name="connsiteX35657" fmla="*/ 2352427 w 4610101"/>
              <a:gd name="connsiteY35657" fmla="*/ 562081 h 6557032"/>
              <a:gd name="connsiteX35658" fmla="*/ 2346960 w 4610101"/>
              <a:gd name="connsiteY35658" fmla="*/ 573014 h 6557032"/>
              <a:gd name="connsiteX35659" fmla="*/ 2357893 w 4610101"/>
              <a:gd name="connsiteY35659" fmla="*/ 573014 h 6557032"/>
              <a:gd name="connsiteX35660" fmla="*/ 2352427 w 4610101"/>
              <a:gd name="connsiteY35660" fmla="*/ 562081 h 6557032"/>
              <a:gd name="connsiteX35661" fmla="*/ 739803 w 4610101"/>
              <a:gd name="connsiteY35661" fmla="*/ 562081 h 6557032"/>
              <a:gd name="connsiteX35662" fmla="*/ 740002 w 4610101"/>
              <a:gd name="connsiteY35662" fmla="*/ 562456 h 6557032"/>
              <a:gd name="connsiteX35663" fmla="*/ 739739 w 4610101"/>
              <a:gd name="connsiteY35663" fmla="*/ 562306 h 6557032"/>
              <a:gd name="connsiteX35664" fmla="*/ 2866311 w 4610101"/>
              <a:gd name="connsiteY35664" fmla="*/ 561415 h 6557032"/>
              <a:gd name="connsiteX35665" fmla="*/ 2866923 w 4610101"/>
              <a:gd name="connsiteY35665" fmla="*/ 562105 h 6557032"/>
              <a:gd name="connsiteX35666" fmla="*/ 2866280 w 4610101"/>
              <a:gd name="connsiteY35666" fmla="*/ 562081 h 6557032"/>
              <a:gd name="connsiteX35667" fmla="*/ 972050 w 4610101"/>
              <a:gd name="connsiteY35667" fmla="*/ 561344 h 6557032"/>
              <a:gd name="connsiteX35668" fmla="*/ 970536 w 4610101"/>
              <a:gd name="connsiteY35668" fmla="*/ 563220 h 6557032"/>
              <a:gd name="connsiteX35669" fmla="*/ 964088 w 4610101"/>
              <a:gd name="connsiteY35669" fmla="*/ 568420 h 6557032"/>
              <a:gd name="connsiteX35670" fmla="*/ 3239826 w 4610101"/>
              <a:gd name="connsiteY35670" fmla="*/ 560260 h 6557032"/>
              <a:gd name="connsiteX35671" fmla="*/ 3234359 w 4610101"/>
              <a:gd name="connsiteY35671" fmla="*/ 562081 h 6557032"/>
              <a:gd name="connsiteX35672" fmla="*/ 3238003 w 4610101"/>
              <a:gd name="connsiteY35672" fmla="*/ 567548 h 6557032"/>
              <a:gd name="connsiteX35673" fmla="*/ 3239826 w 4610101"/>
              <a:gd name="connsiteY35673" fmla="*/ 560260 h 6557032"/>
              <a:gd name="connsiteX35674" fmla="*/ 1188058 w 4610101"/>
              <a:gd name="connsiteY35674" fmla="*/ 560260 h 6557032"/>
              <a:gd name="connsiteX35675" fmla="*/ 1173481 w 4610101"/>
              <a:gd name="connsiteY35675" fmla="*/ 587591 h 6557032"/>
              <a:gd name="connsiteX35676" fmla="*/ 1177125 w 4610101"/>
              <a:gd name="connsiteY35676" fmla="*/ 585769 h 6557032"/>
              <a:gd name="connsiteX35677" fmla="*/ 1171658 w 4610101"/>
              <a:gd name="connsiteY35677" fmla="*/ 593058 h 6557032"/>
              <a:gd name="connsiteX35678" fmla="*/ 1180769 w 4610101"/>
              <a:gd name="connsiteY35678" fmla="*/ 585769 h 6557032"/>
              <a:gd name="connsiteX35679" fmla="*/ 1173481 w 4610101"/>
              <a:gd name="connsiteY35679" fmla="*/ 596702 h 6557032"/>
              <a:gd name="connsiteX35680" fmla="*/ 1175303 w 4610101"/>
              <a:gd name="connsiteY35680" fmla="*/ 602169 h 6557032"/>
              <a:gd name="connsiteX35681" fmla="*/ 1177125 w 4610101"/>
              <a:gd name="connsiteY35681" fmla="*/ 603991 h 6557032"/>
              <a:gd name="connsiteX35682" fmla="*/ 1186236 w 4610101"/>
              <a:gd name="connsiteY35682" fmla="*/ 587591 h 6557032"/>
              <a:gd name="connsiteX35683" fmla="*/ 1188058 w 4610101"/>
              <a:gd name="connsiteY35683" fmla="*/ 560260 h 6557032"/>
              <a:gd name="connsiteX35684" fmla="*/ 1180769 w 4610101"/>
              <a:gd name="connsiteY35684" fmla="*/ 560260 h 6557032"/>
              <a:gd name="connsiteX35685" fmla="*/ 1171658 w 4610101"/>
              <a:gd name="connsiteY35685" fmla="*/ 578481 h 6557032"/>
              <a:gd name="connsiteX35686" fmla="*/ 1180769 w 4610101"/>
              <a:gd name="connsiteY35686" fmla="*/ 560260 h 6557032"/>
              <a:gd name="connsiteX35687" fmla="*/ 1164370 w 4610101"/>
              <a:gd name="connsiteY35687" fmla="*/ 560260 h 6557032"/>
              <a:gd name="connsiteX35688" fmla="*/ 1164370 w 4610101"/>
              <a:gd name="connsiteY35688" fmla="*/ 565725 h 6557032"/>
              <a:gd name="connsiteX35689" fmla="*/ 1163993 w 4610101"/>
              <a:gd name="connsiteY35689" fmla="*/ 564971 h 6557032"/>
              <a:gd name="connsiteX35690" fmla="*/ 1163545 w 4610101"/>
              <a:gd name="connsiteY35690" fmla="*/ 561910 h 6557032"/>
              <a:gd name="connsiteX35691" fmla="*/ 1120637 w 4610101"/>
              <a:gd name="connsiteY35691" fmla="*/ 560260 h 6557032"/>
              <a:gd name="connsiteX35692" fmla="*/ 1115171 w 4610101"/>
              <a:gd name="connsiteY35692" fmla="*/ 565725 h 6557032"/>
              <a:gd name="connsiteX35693" fmla="*/ 1113349 w 4610101"/>
              <a:gd name="connsiteY35693" fmla="*/ 567548 h 6557032"/>
              <a:gd name="connsiteX35694" fmla="*/ 1113349 w 4610101"/>
              <a:gd name="connsiteY35694" fmla="*/ 573014 h 6557032"/>
              <a:gd name="connsiteX35695" fmla="*/ 1115171 w 4610101"/>
              <a:gd name="connsiteY35695" fmla="*/ 565725 h 6557032"/>
              <a:gd name="connsiteX35696" fmla="*/ 1120220 w 4610101"/>
              <a:gd name="connsiteY35696" fmla="*/ 565726 h 6557032"/>
              <a:gd name="connsiteX35697" fmla="*/ 1118132 w 4610101"/>
              <a:gd name="connsiteY35697" fmla="*/ 567776 h 6557032"/>
              <a:gd name="connsiteX35698" fmla="*/ 1113349 w 4610101"/>
              <a:gd name="connsiteY35698" fmla="*/ 580303 h 6557032"/>
              <a:gd name="connsiteX35699" fmla="*/ 1111526 w 4610101"/>
              <a:gd name="connsiteY35699" fmla="*/ 582125 h 6557032"/>
              <a:gd name="connsiteX35700" fmla="*/ 1118815 w 4610101"/>
              <a:gd name="connsiteY35700" fmla="*/ 576658 h 6557032"/>
              <a:gd name="connsiteX35701" fmla="*/ 1120637 w 4610101"/>
              <a:gd name="connsiteY35701" fmla="*/ 582125 h 6557032"/>
              <a:gd name="connsiteX35702" fmla="*/ 1124282 w 4610101"/>
              <a:gd name="connsiteY35702" fmla="*/ 573014 h 6557032"/>
              <a:gd name="connsiteX35703" fmla="*/ 1122459 w 4610101"/>
              <a:gd name="connsiteY35703" fmla="*/ 574836 h 6557032"/>
              <a:gd name="connsiteX35704" fmla="*/ 1124282 w 4610101"/>
              <a:gd name="connsiteY35704" fmla="*/ 567548 h 6557032"/>
              <a:gd name="connsiteX35705" fmla="*/ 1122388 w 4610101"/>
              <a:gd name="connsiteY35705" fmla="*/ 565726 h 6557032"/>
              <a:gd name="connsiteX35706" fmla="*/ 1126104 w 4610101"/>
              <a:gd name="connsiteY35706" fmla="*/ 565725 h 6557032"/>
              <a:gd name="connsiteX35707" fmla="*/ 1120637 w 4610101"/>
              <a:gd name="connsiteY35707" fmla="*/ 560260 h 6557032"/>
              <a:gd name="connsiteX35708" fmla="*/ 559408 w 4610101"/>
              <a:gd name="connsiteY35708" fmla="*/ 560260 h 6557032"/>
              <a:gd name="connsiteX35709" fmla="*/ 557586 w 4610101"/>
              <a:gd name="connsiteY35709" fmla="*/ 565725 h 6557032"/>
              <a:gd name="connsiteX35710" fmla="*/ 561230 w 4610101"/>
              <a:gd name="connsiteY35710" fmla="*/ 562081 h 6557032"/>
              <a:gd name="connsiteX35711" fmla="*/ 559408 w 4610101"/>
              <a:gd name="connsiteY35711" fmla="*/ 560260 h 6557032"/>
              <a:gd name="connsiteX35712" fmla="*/ 2663651 w 4610101"/>
              <a:gd name="connsiteY35712" fmla="*/ 560175 h 6557032"/>
              <a:gd name="connsiteX35713" fmla="*/ 2664019 w 4610101"/>
              <a:gd name="connsiteY35713" fmla="*/ 560260 h 6557032"/>
              <a:gd name="connsiteX35714" fmla="*/ 2662828 w 4610101"/>
              <a:gd name="connsiteY35714" fmla="*/ 566217 h 6557032"/>
              <a:gd name="connsiteX35715" fmla="*/ 2662425 w 4610101"/>
              <a:gd name="connsiteY35715" fmla="*/ 565954 h 6557032"/>
              <a:gd name="connsiteX35716" fmla="*/ 1998925 w 4610101"/>
              <a:gd name="connsiteY35716" fmla="*/ 558437 h 6557032"/>
              <a:gd name="connsiteX35717" fmla="*/ 2000747 w 4610101"/>
              <a:gd name="connsiteY35717" fmla="*/ 567548 h 6557032"/>
              <a:gd name="connsiteX35718" fmla="*/ 1998925 w 4610101"/>
              <a:gd name="connsiteY35718" fmla="*/ 558437 h 6557032"/>
              <a:gd name="connsiteX35719" fmla="*/ 1344765 w 4610101"/>
              <a:gd name="connsiteY35719" fmla="*/ 558437 h 6557032"/>
              <a:gd name="connsiteX35720" fmla="*/ 1344765 w 4610101"/>
              <a:gd name="connsiteY35720" fmla="*/ 568277 h 6557032"/>
              <a:gd name="connsiteX35721" fmla="*/ 1344309 w 4610101"/>
              <a:gd name="connsiteY35721" fmla="*/ 566637 h 6557032"/>
              <a:gd name="connsiteX35722" fmla="*/ 1344765 w 4610101"/>
              <a:gd name="connsiteY35722" fmla="*/ 558437 h 6557032"/>
              <a:gd name="connsiteX35723" fmla="*/ 1080549 w 4610101"/>
              <a:gd name="connsiteY35723" fmla="*/ 558437 h 6557032"/>
              <a:gd name="connsiteX35724" fmla="*/ 1095542 w 4610101"/>
              <a:gd name="connsiteY35724" fmla="*/ 583424 h 6557032"/>
              <a:gd name="connsiteX35725" fmla="*/ 1091028 w 4610101"/>
              <a:gd name="connsiteY35725" fmla="*/ 587592 h 6557032"/>
              <a:gd name="connsiteX35726" fmla="*/ 1090086 w 4610101"/>
              <a:gd name="connsiteY35726" fmla="*/ 589206 h 6557032"/>
              <a:gd name="connsiteX35727" fmla="*/ 1089205 w 4610101"/>
              <a:gd name="connsiteY35727" fmla="*/ 584175 h 6557032"/>
              <a:gd name="connsiteX35728" fmla="*/ 1071439 w 4610101"/>
              <a:gd name="connsiteY35728" fmla="*/ 567548 h 6557032"/>
              <a:gd name="connsiteX35729" fmla="*/ 1084194 w 4610101"/>
              <a:gd name="connsiteY35729" fmla="*/ 573014 h 6557032"/>
              <a:gd name="connsiteX35730" fmla="*/ 1080549 w 4610101"/>
              <a:gd name="connsiteY35730" fmla="*/ 558437 h 6557032"/>
              <a:gd name="connsiteX35731" fmla="*/ 903799 w 4610101"/>
              <a:gd name="connsiteY35731" fmla="*/ 558437 h 6557032"/>
              <a:gd name="connsiteX35732" fmla="*/ 901976 w 4610101"/>
              <a:gd name="connsiteY35732" fmla="*/ 565725 h 6557032"/>
              <a:gd name="connsiteX35733" fmla="*/ 907444 w 4610101"/>
              <a:gd name="connsiteY35733" fmla="*/ 560260 h 6557032"/>
              <a:gd name="connsiteX35734" fmla="*/ 905621 w 4610101"/>
              <a:gd name="connsiteY35734" fmla="*/ 560260 h 6557032"/>
              <a:gd name="connsiteX35735" fmla="*/ 903799 w 4610101"/>
              <a:gd name="connsiteY35735" fmla="*/ 558437 h 6557032"/>
              <a:gd name="connsiteX35736" fmla="*/ 741626 w 4610101"/>
              <a:gd name="connsiteY35736" fmla="*/ 558437 h 6557032"/>
              <a:gd name="connsiteX35737" fmla="*/ 747092 w 4610101"/>
              <a:gd name="connsiteY35737" fmla="*/ 562765 h 6557032"/>
              <a:gd name="connsiteX35738" fmla="*/ 747370 w 4610101"/>
              <a:gd name="connsiteY35738" fmla="*/ 562915 h 6557032"/>
              <a:gd name="connsiteX35739" fmla="*/ 748914 w 4610101"/>
              <a:gd name="connsiteY35739" fmla="*/ 567548 h 6557032"/>
              <a:gd name="connsiteX35740" fmla="*/ 743581 w 4610101"/>
              <a:gd name="connsiteY35740" fmla="*/ 564501 h 6557032"/>
              <a:gd name="connsiteX35741" fmla="*/ 710648 w 4610101"/>
              <a:gd name="connsiteY35741" fmla="*/ 558437 h 6557032"/>
              <a:gd name="connsiteX35742" fmla="*/ 712470 w 4610101"/>
              <a:gd name="connsiteY35742" fmla="*/ 576658 h 6557032"/>
              <a:gd name="connsiteX35743" fmla="*/ 717937 w 4610101"/>
              <a:gd name="connsiteY35743" fmla="*/ 574836 h 6557032"/>
              <a:gd name="connsiteX35744" fmla="*/ 717198 w 4610101"/>
              <a:gd name="connsiteY35744" fmla="*/ 572376 h 6557032"/>
              <a:gd name="connsiteX35745" fmla="*/ 719759 w 4610101"/>
              <a:gd name="connsiteY35745" fmla="*/ 578481 h 6557032"/>
              <a:gd name="connsiteX35746" fmla="*/ 710648 w 4610101"/>
              <a:gd name="connsiteY35746" fmla="*/ 558437 h 6557032"/>
              <a:gd name="connsiteX35747" fmla="*/ 544830 w 4610101"/>
              <a:gd name="connsiteY35747" fmla="*/ 558437 h 6557032"/>
              <a:gd name="connsiteX35748" fmla="*/ 544830 w 4610101"/>
              <a:gd name="connsiteY35748" fmla="*/ 565725 h 6557032"/>
              <a:gd name="connsiteX35749" fmla="*/ 550297 w 4610101"/>
              <a:gd name="connsiteY35749" fmla="*/ 567548 h 6557032"/>
              <a:gd name="connsiteX35750" fmla="*/ 544830 w 4610101"/>
              <a:gd name="connsiteY35750" fmla="*/ 558437 h 6557032"/>
              <a:gd name="connsiteX35751" fmla="*/ 508387 w 4610101"/>
              <a:gd name="connsiteY35751" fmla="*/ 558437 h 6557032"/>
              <a:gd name="connsiteX35752" fmla="*/ 514427 w 4610101"/>
              <a:gd name="connsiteY35752" fmla="*/ 562320 h 6557032"/>
              <a:gd name="connsiteX35753" fmla="*/ 514992 w 4610101"/>
              <a:gd name="connsiteY35753" fmla="*/ 562992 h 6557032"/>
              <a:gd name="connsiteX35754" fmla="*/ 519320 w 4610101"/>
              <a:gd name="connsiteY35754" fmla="*/ 573014 h 6557032"/>
              <a:gd name="connsiteX35755" fmla="*/ 512802 w 4610101"/>
              <a:gd name="connsiteY35755" fmla="*/ 567758 h 6557032"/>
              <a:gd name="connsiteX35756" fmla="*/ 1114602 w 4610101"/>
              <a:gd name="connsiteY35756" fmla="*/ 557980 h 6557032"/>
              <a:gd name="connsiteX35757" fmla="*/ 1114032 w 4610101"/>
              <a:gd name="connsiteY35757" fmla="*/ 559348 h 6557032"/>
              <a:gd name="connsiteX35758" fmla="*/ 1111526 w 4610101"/>
              <a:gd name="connsiteY35758" fmla="*/ 562081 h 6557032"/>
              <a:gd name="connsiteX35759" fmla="*/ 653522 w 4610101"/>
              <a:gd name="connsiteY35759" fmla="*/ 557896 h 6557032"/>
              <a:gd name="connsiteX35760" fmla="*/ 654161 w 4610101"/>
              <a:gd name="connsiteY35760" fmla="*/ 559576 h 6557032"/>
              <a:gd name="connsiteX35761" fmla="*/ 650516 w 4610101"/>
              <a:gd name="connsiteY35761" fmla="*/ 565725 h 6557032"/>
              <a:gd name="connsiteX35762" fmla="*/ 650972 w 4610101"/>
              <a:gd name="connsiteY35762" fmla="*/ 562994 h 6557032"/>
              <a:gd name="connsiteX35763" fmla="*/ 1147242 w 4610101"/>
              <a:gd name="connsiteY35763" fmla="*/ 557709 h 6557032"/>
              <a:gd name="connsiteX35764" fmla="*/ 1147742 w 4610101"/>
              <a:gd name="connsiteY35764" fmla="*/ 558210 h 6557032"/>
              <a:gd name="connsiteX35765" fmla="*/ 1147970 w 4610101"/>
              <a:gd name="connsiteY35765" fmla="*/ 558437 h 6557032"/>
              <a:gd name="connsiteX35766" fmla="*/ 1142503 w 4610101"/>
              <a:gd name="connsiteY35766" fmla="*/ 556616 h 6557032"/>
              <a:gd name="connsiteX35767" fmla="*/ 1137037 w 4610101"/>
              <a:gd name="connsiteY35767" fmla="*/ 560260 h 6557032"/>
              <a:gd name="connsiteX35768" fmla="*/ 1142503 w 4610101"/>
              <a:gd name="connsiteY35768" fmla="*/ 563904 h 6557032"/>
              <a:gd name="connsiteX35769" fmla="*/ 1142503 w 4610101"/>
              <a:gd name="connsiteY35769" fmla="*/ 556616 h 6557032"/>
              <a:gd name="connsiteX35770" fmla="*/ 470121 w 4610101"/>
              <a:gd name="connsiteY35770" fmla="*/ 556616 h 6557032"/>
              <a:gd name="connsiteX35771" fmla="*/ 486521 w 4610101"/>
              <a:gd name="connsiteY35771" fmla="*/ 569370 h 6557032"/>
              <a:gd name="connsiteX35772" fmla="*/ 477410 w 4610101"/>
              <a:gd name="connsiteY35772" fmla="*/ 563904 h 6557032"/>
              <a:gd name="connsiteX35773" fmla="*/ 477410 w 4610101"/>
              <a:gd name="connsiteY35773" fmla="*/ 558437 h 6557032"/>
              <a:gd name="connsiteX35774" fmla="*/ 475589 w 4610101"/>
              <a:gd name="connsiteY35774" fmla="*/ 558437 h 6557032"/>
              <a:gd name="connsiteX35775" fmla="*/ 475589 w 4610101"/>
              <a:gd name="connsiteY35775" fmla="*/ 565725 h 6557032"/>
              <a:gd name="connsiteX35776" fmla="*/ 470121 w 4610101"/>
              <a:gd name="connsiteY35776" fmla="*/ 556616 h 6557032"/>
              <a:gd name="connsiteX35777" fmla="*/ 464655 w 4610101"/>
              <a:gd name="connsiteY35777" fmla="*/ 556616 h 6557032"/>
              <a:gd name="connsiteX35778" fmla="*/ 468299 w 4610101"/>
              <a:gd name="connsiteY35778" fmla="*/ 565725 h 6557032"/>
              <a:gd name="connsiteX35779" fmla="*/ 464655 w 4610101"/>
              <a:gd name="connsiteY35779" fmla="*/ 556616 h 6557032"/>
              <a:gd name="connsiteX35780" fmla="*/ 442789 w 4610101"/>
              <a:gd name="connsiteY35780" fmla="*/ 556616 h 6557032"/>
              <a:gd name="connsiteX35781" fmla="*/ 444594 w 4610101"/>
              <a:gd name="connsiteY35781" fmla="*/ 558381 h 6557032"/>
              <a:gd name="connsiteX35782" fmla="*/ 444611 w 4610101"/>
              <a:gd name="connsiteY35782" fmla="*/ 558437 h 6557032"/>
              <a:gd name="connsiteX35783" fmla="*/ 2419354 w 4610101"/>
              <a:gd name="connsiteY35783" fmla="*/ 555156 h 6557032"/>
              <a:gd name="connsiteX35784" fmla="*/ 2419303 w 4610101"/>
              <a:gd name="connsiteY35784" fmla="*/ 556864 h 6557032"/>
              <a:gd name="connsiteX35785" fmla="*/ 2417342 w 4610101"/>
              <a:gd name="connsiteY35785" fmla="*/ 557071 h 6557032"/>
              <a:gd name="connsiteX35786" fmla="*/ 2415616 w 4610101"/>
              <a:gd name="connsiteY35786" fmla="*/ 555742 h 6557032"/>
              <a:gd name="connsiteX35787" fmla="*/ 2930056 w 4610101"/>
              <a:gd name="connsiteY35787" fmla="*/ 554792 h 6557032"/>
              <a:gd name="connsiteX35788" fmla="*/ 2930056 w 4610101"/>
              <a:gd name="connsiteY35788" fmla="*/ 560260 h 6557032"/>
              <a:gd name="connsiteX35789" fmla="*/ 2933700 w 4610101"/>
              <a:gd name="connsiteY35789" fmla="*/ 567548 h 6557032"/>
              <a:gd name="connsiteX35790" fmla="*/ 2942811 w 4610101"/>
              <a:gd name="connsiteY35790" fmla="*/ 563904 h 6557032"/>
              <a:gd name="connsiteX35791" fmla="*/ 2930056 w 4610101"/>
              <a:gd name="connsiteY35791" fmla="*/ 554792 h 6557032"/>
              <a:gd name="connsiteX35792" fmla="*/ 2640330 w 4610101"/>
              <a:gd name="connsiteY35792" fmla="*/ 554792 h 6557032"/>
              <a:gd name="connsiteX35793" fmla="*/ 2645797 w 4610101"/>
              <a:gd name="connsiteY35793" fmla="*/ 563904 h 6557032"/>
              <a:gd name="connsiteX35794" fmla="*/ 2645797 w 4610101"/>
              <a:gd name="connsiteY35794" fmla="*/ 554792 h 6557032"/>
              <a:gd name="connsiteX35795" fmla="*/ 2640330 w 4610101"/>
              <a:gd name="connsiteY35795" fmla="*/ 554792 h 6557032"/>
              <a:gd name="connsiteX35796" fmla="*/ 2314161 w 4610101"/>
              <a:gd name="connsiteY35796" fmla="*/ 554792 h 6557032"/>
              <a:gd name="connsiteX35797" fmla="*/ 2315983 w 4610101"/>
              <a:gd name="connsiteY35797" fmla="*/ 565725 h 6557032"/>
              <a:gd name="connsiteX35798" fmla="*/ 2321450 w 4610101"/>
              <a:gd name="connsiteY35798" fmla="*/ 560260 h 6557032"/>
              <a:gd name="connsiteX35799" fmla="*/ 2314161 w 4610101"/>
              <a:gd name="connsiteY35799" fmla="*/ 554792 h 6557032"/>
              <a:gd name="connsiteX35800" fmla="*/ 1198991 w 4610101"/>
              <a:gd name="connsiteY35800" fmla="*/ 554792 h 6557032"/>
              <a:gd name="connsiteX35801" fmla="*/ 1195346 w 4610101"/>
              <a:gd name="connsiteY35801" fmla="*/ 562081 h 6557032"/>
              <a:gd name="connsiteX35802" fmla="*/ 1198991 w 4610101"/>
              <a:gd name="connsiteY35802" fmla="*/ 560260 h 6557032"/>
              <a:gd name="connsiteX35803" fmla="*/ 1195346 w 4610101"/>
              <a:gd name="connsiteY35803" fmla="*/ 583947 h 6557032"/>
              <a:gd name="connsiteX35804" fmla="*/ 1197169 w 4610101"/>
              <a:gd name="connsiteY35804" fmla="*/ 580303 h 6557032"/>
              <a:gd name="connsiteX35805" fmla="*/ 1195346 w 4610101"/>
              <a:gd name="connsiteY35805" fmla="*/ 585769 h 6557032"/>
              <a:gd name="connsiteX35806" fmla="*/ 1200814 w 4610101"/>
              <a:gd name="connsiteY35806" fmla="*/ 578481 h 6557032"/>
              <a:gd name="connsiteX35807" fmla="*/ 1193525 w 4610101"/>
              <a:gd name="connsiteY35807" fmla="*/ 571192 h 6557032"/>
              <a:gd name="connsiteX35808" fmla="*/ 1200814 w 4610101"/>
              <a:gd name="connsiteY35808" fmla="*/ 576658 h 6557032"/>
              <a:gd name="connsiteX35809" fmla="*/ 1206279 w 4610101"/>
              <a:gd name="connsiteY35809" fmla="*/ 571192 h 6557032"/>
              <a:gd name="connsiteX35810" fmla="*/ 1198991 w 4610101"/>
              <a:gd name="connsiteY35810" fmla="*/ 554792 h 6557032"/>
              <a:gd name="connsiteX35811" fmla="*/ 1182592 w 4610101"/>
              <a:gd name="connsiteY35811" fmla="*/ 554792 h 6557032"/>
              <a:gd name="connsiteX35812" fmla="*/ 1182592 w 4610101"/>
              <a:gd name="connsiteY35812" fmla="*/ 565725 h 6557032"/>
              <a:gd name="connsiteX35813" fmla="*/ 1186236 w 4610101"/>
              <a:gd name="connsiteY35813" fmla="*/ 560260 h 6557032"/>
              <a:gd name="connsiteX35814" fmla="*/ 1182592 w 4610101"/>
              <a:gd name="connsiteY35814" fmla="*/ 554792 h 6557032"/>
              <a:gd name="connsiteX35815" fmla="*/ 1124282 w 4610101"/>
              <a:gd name="connsiteY35815" fmla="*/ 554792 h 6557032"/>
              <a:gd name="connsiteX35816" fmla="*/ 1129748 w 4610101"/>
              <a:gd name="connsiteY35816" fmla="*/ 560260 h 6557032"/>
              <a:gd name="connsiteX35817" fmla="*/ 1124282 w 4610101"/>
              <a:gd name="connsiteY35817" fmla="*/ 554792 h 6557032"/>
              <a:gd name="connsiteX35818" fmla="*/ 1116993 w 4610101"/>
              <a:gd name="connsiteY35818" fmla="*/ 554792 h 6557032"/>
              <a:gd name="connsiteX35819" fmla="*/ 1114602 w 4610101"/>
              <a:gd name="connsiteY35819" fmla="*/ 557980 h 6557032"/>
              <a:gd name="connsiteX35820" fmla="*/ 1115171 w 4610101"/>
              <a:gd name="connsiteY35820" fmla="*/ 556616 h 6557032"/>
              <a:gd name="connsiteX35821" fmla="*/ 1111526 w 4610101"/>
              <a:gd name="connsiteY35821" fmla="*/ 562081 h 6557032"/>
              <a:gd name="connsiteX35822" fmla="*/ 1116993 w 4610101"/>
              <a:gd name="connsiteY35822" fmla="*/ 554792 h 6557032"/>
              <a:gd name="connsiteX35823" fmla="*/ 829089 w 4610101"/>
              <a:gd name="connsiteY35823" fmla="*/ 554792 h 6557032"/>
              <a:gd name="connsiteX35824" fmla="*/ 829187 w 4610101"/>
              <a:gd name="connsiteY35824" fmla="*/ 554923 h 6557032"/>
              <a:gd name="connsiteX35825" fmla="*/ 829089 w 4610101"/>
              <a:gd name="connsiteY35825" fmla="*/ 558437 h 6557032"/>
              <a:gd name="connsiteX35826" fmla="*/ 828144 w 4610101"/>
              <a:gd name="connsiteY35826" fmla="*/ 558437 h 6557032"/>
              <a:gd name="connsiteX35827" fmla="*/ 3436621 w 4610101"/>
              <a:gd name="connsiteY35827" fmla="*/ 554565 h 6557032"/>
              <a:gd name="connsiteX35828" fmla="*/ 3432976 w 4610101"/>
              <a:gd name="connsiteY35828" fmla="*/ 554792 h 6557032"/>
              <a:gd name="connsiteX35829" fmla="*/ 3434798 w 4610101"/>
              <a:gd name="connsiteY35829" fmla="*/ 560260 h 6557032"/>
              <a:gd name="connsiteX35830" fmla="*/ 3440265 w 4610101"/>
              <a:gd name="connsiteY35830" fmla="*/ 558437 h 6557032"/>
              <a:gd name="connsiteX35831" fmla="*/ 3436621 w 4610101"/>
              <a:gd name="connsiteY35831" fmla="*/ 554565 h 6557032"/>
              <a:gd name="connsiteX35832" fmla="*/ 778791 w 4610101"/>
              <a:gd name="connsiteY35832" fmla="*/ 554174 h 6557032"/>
              <a:gd name="connsiteX35833" fmla="*/ 780056 w 4610101"/>
              <a:gd name="connsiteY35833" fmla="*/ 556284 h 6557032"/>
              <a:gd name="connsiteX35834" fmla="*/ 778659 w 4610101"/>
              <a:gd name="connsiteY35834" fmla="*/ 555236 h 6557032"/>
              <a:gd name="connsiteX35835" fmla="*/ 778457 w 4610101"/>
              <a:gd name="connsiteY35835" fmla="*/ 554460 h 6557032"/>
              <a:gd name="connsiteX35836" fmla="*/ 2374293 w 4610101"/>
              <a:gd name="connsiteY35836" fmla="*/ 552970 h 6557032"/>
              <a:gd name="connsiteX35837" fmla="*/ 2377937 w 4610101"/>
              <a:gd name="connsiteY35837" fmla="*/ 573014 h 6557032"/>
              <a:gd name="connsiteX35838" fmla="*/ 2381582 w 4610101"/>
              <a:gd name="connsiteY35838" fmla="*/ 562081 h 6557032"/>
              <a:gd name="connsiteX35839" fmla="*/ 2374293 w 4610101"/>
              <a:gd name="connsiteY35839" fmla="*/ 552970 h 6557032"/>
              <a:gd name="connsiteX35840" fmla="*/ 1893239 w 4610101"/>
              <a:gd name="connsiteY35840" fmla="*/ 552970 h 6557032"/>
              <a:gd name="connsiteX35841" fmla="*/ 1893239 w 4610101"/>
              <a:gd name="connsiteY35841" fmla="*/ 560260 h 6557032"/>
              <a:gd name="connsiteX35842" fmla="*/ 1904172 w 4610101"/>
              <a:gd name="connsiteY35842" fmla="*/ 554792 h 6557032"/>
              <a:gd name="connsiteX35843" fmla="*/ 1893239 w 4610101"/>
              <a:gd name="connsiteY35843" fmla="*/ 552970 h 6557032"/>
              <a:gd name="connsiteX35844" fmla="*/ 1127926 w 4610101"/>
              <a:gd name="connsiteY35844" fmla="*/ 552970 h 6557032"/>
              <a:gd name="connsiteX35845" fmla="*/ 1131570 w 4610101"/>
              <a:gd name="connsiteY35845" fmla="*/ 556616 h 6557032"/>
              <a:gd name="connsiteX35846" fmla="*/ 1127926 w 4610101"/>
              <a:gd name="connsiteY35846" fmla="*/ 552970 h 6557032"/>
              <a:gd name="connsiteX35847" fmla="*/ 916555 w 4610101"/>
              <a:gd name="connsiteY35847" fmla="*/ 552970 h 6557032"/>
              <a:gd name="connsiteX35848" fmla="*/ 905621 w 4610101"/>
              <a:gd name="connsiteY35848" fmla="*/ 574836 h 6557032"/>
              <a:gd name="connsiteX35849" fmla="*/ 916555 w 4610101"/>
              <a:gd name="connsiteY35849" fmla="*/ 565725 h 6557032"/>
              <a:gd name="connsiteX35850" fmla="*/ 912909 w 4610101"/>
              <a:gd name="connsiteY35850" fmla="*/ 562081 h 6557032"/>
              <a:gd name="connsiteX35851" fmla="*/ 918376 w 4610101"/>
              <a:gd name="connsiteY35851" fmla="*/ 556616 h 6557032"/>
              <a:gd name="connsiteX35852" fmla="*/ 920198 w 4610101"/>
              <a:gd name="connsiteY35852" fmla="*/ 563904 h 6557032"/>
              <a:gd name="connsiteX35853" fmla="*/ 918376 w 4610101"/>
              <a:gd name="connsiteY35853" fmla="*/ 556616 h 6557032"/>
              <a:gd name="connsiteX35854" fmla="*/ 916555 w 4610101"/>
              <a:gd name="connsiteY35854" fmla="*/ 552970 h 6557032"/>
              <a:gd name="connsiteX35855" fmla="*/ 2566504 w 4610101"/>
              <a:gd name="connsiteY35855" fmla="*/ 551746 h 6557032"/>
              <a:gd name="connsiteX35856" fmla="*/ 2565621 w 4610101"/>
              <a:gd name="connsiteY35856" fmla="*/ 556616 h 6557032"/>
              <a:gd name="connsiteX35857" fmla="*/ 2572910 w 4610101"/>
              <a:gd name="connsiteY35857" fmla="*/ 556616 h 6557032"/>
              <a:gd name="connsiteX35858" fmla="*/ 2568583 w 4610101"/>
              <a:gd name="connsiteY35858" fmla="*/ 551832 h 6557032"/>
              <a:gd name="connsiteX35859" fmla="*/ 2566504 w 4610101"/>
              <a:gd name="connsiteY35859" fmla="*/ 551746 h 6557032"/>
              <a:gd name="connsiteX35860" fmla="*/ 2924590 w 4610101"/>
              <a:gd name="connsiteY35860" fmla="*/ 551148 h 6557032"/>
              <a:gd name="connsiteX35861" fmla="*/ 2910012 w 4610101"/>
              <a:gd name="connsiteY35861" fmla="*/ 567548 h 6557032"/>
              <a:gd name="connsiteX35862" fmla="*/ 2922767 w 4610101"/>
              <a:gd name="connsiteY35862" fmla="*/ 567548 h 6557032"/>
              <a:gd name="connsiteX35863" fmla="*/ 2924590 w 4610101"/>
              <a:gd name="connsiteY35863" fmla="*/ 551148 h 6557032"/>
              <a:gd name="connsiteX35864" fmla="*/ 2667663 w 4610101"/>
              <a:gd name="connsiteY35864" fmla="*/ 551148 h 6557032"/>
              <a:gd name="connsiteX35865" fmla="*/ 2665841 w 4610101"/>
              <a:gd name="connsiteY35865" fmla="*/ 560260 h 6557032"/>
              <a:gd name="connsiteX35866" fmla="*/ 2667663 w 4610101"/>
              <a:gd name="connsiteY35866" fmla="*/ 551148 h 6557032"/>
              <a:gd name="connsiteX35867" fmla="*/ 2478157 w 4610101"/>
              <a:gd name="connsiteY35867" fmla="*/ 551148 h 6557032"/>
              <a:gd name="connsiteX35868" fmla="*/ 2472690 w 4610101"/>
              <a:gd name="connsiteY35868" fmla="*/ 556616 h 6557032"/>
              <a:gd name="connsiteX35869" fmla="*/ 2478157 w 4610101"/>
              <a:gd name="connsiteY35869" fmla="*/ 551148 h 6557032"/>
              <a:gd name="connsiteX35870" fmla="*/ 2088212 w 4610101"/>
              <a:gd name="connsiteY35870" fmla="*/ 551148 h 6557032"/>
              <a:gd name="connsiteX35871" fmla="*/ 2084568 w 4610101"/>
              <a:gd name="connsiteY35871" fmla="*/ 552970 h 6557032"/>
              <a:gd name="connsiteX35872" fmla="*/ 2091856 w 4610101"/>
              <a:gd name="connsiteY35872" fmla="*/ 565725 h 6557032"/>
              <a:gd name="connsiteX35873" fmla="*/ 2088212 w 4610101"/>
              <a:gd name="connsiteY35873" fmla="*/ 551148 h 6557032"/>
              <a:gd name="connsiteX35874" fmla="*/ 1876839 w 4610101"/>
              <a:gd name="connsiteY35874" fmla="*/ 551148 h 6557032"/>
              <a:gd name="connsiteX35875" fmla="*/ 1875017 w 4610101"/>
              <a:gd name="connsiteY35875" fmla="*/ 552970 h 6557032"/>
              <a:gd name="connsiteX35876" fmla="*/ 1875017 w 4610101"/>
              <a:gd name="connsiteY35876" fmla="*/ 558437 h 6557032"/>
              <a:gd name="connsiteX35877" fmla="*/ 1878662 w 4610101"/>
              <a:gd name="connsiteY35877" fmla="*/ 560260 h 6557032"/>
              <a:gd name="connsiteX35878" fmla="*/ 1876839 w 4610101"/>
              <a:gd name="connsiteY35878" fmla="*/ 551148 h 6557032"/>
              <a:gd name="connsiteX35879" fmla="*/ 1111526 w 4610101"/>
              <a:gd name="connsiteY35879" fmla="*/ 551148 h 6557032"/>
              <a:gd name="connsiteX35880" fmla="*/ 1106060 w 4610101"/>
              <a:gd name="connsiteY35880" fmla="*/ 558437 h 6557032"/>
              <a:gd name="connsiteX35881" fmla="*/ 1111526 w 4610101"/>
              <a:gd name="connsiteY35881" fmla="*/ 551148 h 6557032"/>
              <a:gd name="connsiteX35882" fmla="*/ 491039 w 4610101"/>
              <a:gd name="connsiteY35882" fmla="*/ 551105 h 6557032"/>
              <a:gd name="connsiteX35883" fmla="*/ 496707 w 4610101"/>
              <a:gd name="connsiteY35883" fmla="*/ 557668 h 6557032"/>
              <a:gd name="connsiteX35884" fmla="*/ 501098 w 4610101"/>
              <a:gd name="connsiteY35884" fmla="*/ 567548 h 6557032"/>
              <a:gd name="connsiteX35885" fmla="*/ 734686 w 4610101"/>
              <a:gd name="connsiteY35885" fmla="*/ 549954 h 6557032"/>
              <a:gd name="connsiteX35886" fmla="*/ 735475 w 4610101"/>
              <a:gd name="connsiteY35886" fmla="*/ 551148 h 6557032"/>
              <a:gd name="connsiteX35887" fmla="*/ 735237 w 4610101"/>
              <a:gd name="connsiteY35887" fmla="*/ 553813 h 6557032"/>
              <a:gd name="connsiteX35888" fmla="*/ 263953 w 4610101"/>
              <a:gd name="connsiteY35888" fmla="*/ 549819 h 6557032"/>
              <a:gd name="connsiteX35889" fmla="*/ 266721 w 4610101"/>
              <a:gd name="connsiteY35889" fmla="*/ 553654 h 6557032"/>
              <a:gd name="connsiteX35890" fmla="*/ 271889 w 4610101"/>
              <a:gd name="connsiteY35890" fmla="*/ 566622 h 6557032"/>
              <a:gd name="connsiteX35891" fmla="*/ 271049 w 4610101"/>
              <a:gd name="connsiteY35891" fmla="*/ 565726 h 6557032"/>
              <a:gd name="connsiteX35892" fmla="*/ 263875 w 4610101"/>
              <a:gd name="connsiteY35892" fmla="*/ 553255 h 6557032"/>
              <a:gd name="connsiteX35893" fmla="*/ 3392888 w 4610101"/>
              <a:gd name="connsiteY35893" fmla="*/ 549326 h 6557032"/>
              <a:gd name="connsiteX35894" fmla="*/ 3378311 w 4610101"/>
              <a:gd name="connsiteY35894" fmla="*/ 562081 h 6557032"/>
              <a:gd name="connsiteX35895" fmla="*/ 3385600 w 4610101"/>
              <a:gd name="connsiteY35895" fmla="*/ 576658 h 6557032"/>
              <a:gd name="connsiteX35896" fmla="*/ 3392888 w 4610101"/>
              <a:gd name="connsiteY35896" fmla="*/ 573014 h 6557032"/>
              <a:gd name="connsiteX35897" fmla="*/ 3392888 w 4610101"/>
              <a:gd name="connsiteY35897" fmla="*/ 576658 h 6557032"/>
              <a:gd name="connsiteX35898" fmla="*/ 3400177 w 4610101"/>
              <a:gd name="connsiteY35898" fmla="*/ 563904 h 6557032"/>
              <a:gd name="connsiteX35899" fmla="*/ 3400177 w 4610101"/>
              <a:gd name="connsiteY35899" fmla="*/ 574836 h 6557032"/>
              <a:gd name="connsiteX35900" fmla="*/ 3416577 w 4610101"/>
              <a:gd name="connsiteY35900" fmla="*/ 585769 h 6557032"/>
              <a:gd name="connsiteX35901" fmla="*/ 3427510 w 4610101"/>
              <a:gd name="connsiteY35901" fmla="*/ 583947 h 6557032"/>
              <a:gd name="connsiteX35902" fmla="*/ 3425687 w 4610101"/>
              <a:gd name="connsiteY35902" fmla="*/ 587591 h 6557032"/>
              <a:gd name="connsiteX35903" fmla="*/ 3463953 w 4610101"/>
              <a:gd name="connsiteY35903" fmla="*/ 554792 h 6557032"/>
              <a:gd name="connsiteX35904" fmla="*/ 3453020 w 4610101"/>
              <a:gd name="connsiteY35904" fmla="*/ 567548 h 6557032"/>
              <a:gd name="connsiteX35905" fmla="*/ 3447553 w 4610101"/>
              <a:gd name="connsiteY35905" fmla="*/ 562081 h 6557032"/>
              <a:gd name="connsiteX35906" fmla="*/ 3427510 w 4610101"/>
              <a:gd name="connsiteY35906" fmla="*/ 573014 h 6557032"/>
              <a:gd name="connsiteX35907" fmla="*/ 3432976 w 4610101"/>
              <a:gd name="connsiteY35907" fmla="*/ 571192 h 6557032"/>
              <a:gd name="connsiteX35908" fmla="*/ 3429332 w 4610101"/>
              <a:gd name="connsiteY35908" fmla="*/ 560260 h 6557032"/>
              <a:gd name="connsiteX35909" fmla="*/ 3422043 w 4610101"/>
              <a:gd name="connsiteY35909" fmla="*/ 567548 h 6557032"/>
              <a:gd name="connsiteX35910" fmla="*/ 3418399 w 4610101"/>
              <a:gd name="connsiteY35910" fmla="*/ 551148 h 6557032"/>
              <a:gd name="connsiteX35911" fmla="*/ 3396532 w 4610101"/>
              <a:gd name="connsiteY35911" fmla="*/ 556616 h 6557032"/>
              <a:gd name="connsiteX35912" fmla="*/ 3394710 w 4610101"/>
              <a:gd name="connsiteY35912" fmla="*/ 565725 h 6557032"/>
              <a:gd name="connsiteX35913" fmla="*/ 3392888 w 4610101"/>
              <a:gd name="connsiteY35913" fmla="*/ 549326 h 6557032"/>
              <a:gd name="connsiteX35914" fmla="*/ 3208849 w 4610101"/>
              <a:gd name="connsiteY35914" fmla="*/ 549326 h 6557032"/>
              <a:gd name="connsiteX35915" fmla="*/ 3196093 w 4610101"/>
              <a:gd name="connsiteY35915" fmla="*/ 587591 h 6557032"/>
              <a:gd name="connsiteX35916" fmla="*/ 3207027 w 4610101"/>
              <a:gd name="connsiteY35916" fmla="*/ 585769 h 6557032"/>
              <a:gd name="connsiteX35917" fmla="*/ 3205204 w 4610101"/>
              <a:gd name="connsiteY35917" fmla="*/ 589414 h 6557032"/>
              <a:gd name="connsiteX35918" fmla="*/ 3197916 w 4610101"/>
              <a:gd name="connsiteY35918" fmla="*/ 589414 h 6557032"/>
              <a:gd name="connsiteX35919" fmla="*/ 3199738 w 4610101"/>
              <a:gd name="connsiteY35919" fmla="*/ 593058 h 6557032"/>
              <a:gd name="connsiteX35920" fmla="*/ 3203382 w 4610101"/>
              <a:gd name="connsiteY35920" fmla="*/ 593058 h 6557032"/>
              <a:gd name="connsiteX35921" fmla="*/ 3203382 w 4610101"/>
              <a:gd name="connsiteY35921" fmla="*/ 600347 h 6557032"/>
              <a:gd name="connsiteX35922" fmla="*/ 3205204 w 4610101"/>
              <a:gd name="connsiteY35922" fmla="*/ 591236 h 6557032"/>
              <a:gd name="connsiteX35923" fmla="*/ 3217960 w 4610101"/>
              <a:gd name="connsiteY35923" fmla="*/ 593058 h 6557032"/>
              <a:gd name="connsiteX35924" fmla="*/ 3207027 w 4610101"/>
              <a:gd name="connsiteY35924" fmla="*/ 603991 h 6557032"/>
              <a:gd name="connsiteX35925" fmla="*/ 3217960 w 4610101"/>
              <a:gd name="connsiteY35925" fmla="*/ 602169 h 6557032"/>
              <a:gd name="connsiteX35926" fmla="*/ 3219782 w 4610101"/>
              <a:gd name="connsiteY35926" fmla="*/ 605813 h 6557032"/>
              <a:gd name="connsiteX35927" fmla="*/ 3243470 w 4610101"/>
              <a:gd name="connsiteY35927" fmla="*/ 578481 h 6557032"/>
              <a:gd name="connsiteX35928" fmla="*/ 3234359 w 4610101"/>
              <a:gd name="connsiteY35928" fmla="*/ 576658 h 6557032"/>
              <a:gd name="connsiteX35929" fmla="*/ 3234359 w 4610101"/>
              <a:gd name="connsiteY35929" fmla="*/ 582125 h 6557032"/>
              <a:gd name="connsiteX35930" fmla="*/ 3214315 w 4610101"/>
              <a:gd name="connsiteY35930" fmla="*/ 563904 h 6557032"/>
              <a:gd name="connsiteX35931" fmla="*/ 3219782 w 4610101"/>
              <a:gd name="connsiteY35931" fmla="*/ 554792 h 6557032"/>
              <a:gd name="connsiteX35932" fmla="*/ 3208849 w 4610101"/>
              <a:gd name="connsiteY35932" fmla="*/ 549326 h 6557032"/>
              <a:gd name="connsiteX35933" fmla="*/ 2868102 w 4610101"/>
              <a:gd name="connsiteY35933" fmla="*/ 549326 h 6557032"/>
              <a:gd name="connsiteX35934" fmla="*/ 2868649 w 4610101"/>
              <a:gd name="connsiteY35934" fmla="*/ 550055 h 6557032"/>
              <a:gd name="connsiteX35935" fmla="*/ 2868102 w 4610101"/>
              <a:gd name="connsiteY35935" fmla="*/ 556616 h 6557032"/>
              <a:gd name="connsiteX35936" fmla="*/ 2866764 w 4610101"/>
              <a:gd name="connsiteY35936" fmla="*/ 555828 h 6557032"/>
              <a:gd name="connsiteX35937" fmla="*/ 2527356 w 4610101"/>
              <a:gd name="connsiteY35937" fmla="*/ 549326 h 6557032"/>
              <a:gd name="connsiteX35938" fmla="*/ 2521889 w 4610101"/>
              <a:gd name="connsiteY35938" fmla="*/ 554792 h 6557032"/>
              <a:gd name="connsiteX35939" fmla="*/ 2527356 w 4610101"/>
              <a:gd name="connsiteY35939" fmla="*/ 549326 h 6557032"/>
              <a:gd name="connsiteX35940" fmla="*/ 2441713 w 4610101"/>
              <a:gd name="connsiteY35940" fmla="*/ 549326 h 6557032"/>
              <a:gd name="connsiteX35941" fmla="*/ 2432603 w 4610101"/>
              <a:gd name="connsiteY35941" fmla="*/ 551148 h 6557032"/>
              <a:gd name="connsiteX35942" fmla="*/ 2438069 w 4610101"/>
              <a:gd name="connsiteY35942" fmla="*/ 560260 h 6557032"/>
              <a:gd name="connsiteX35943" fmla="*/ 2441713 w 4610101"/>
              <a:gd name="connsiteY35943" fmla="*/ 549326 h 6557032"/>
              <a:gd name="connsiteX35944" fmla="*/ 2381582 w 4610101"/>
              <a:gd name="connsiteY35944" fmla="*/ 549326 h 6557032"/>
              <a:gd name="connsiteX35945" fmla="*/ 2383404 w 4610101"/>
              <a:gd name="connsiteY35945" fmla="*/ 558437 h 6557032"/>
              <a:gd name="connsiteX35946" fmla="*/ 2383404 w 4610101"/>
              <a:gd name="connsiteY35946" fmla="*/ 549326 h 6557032"/>
              <a:gd name="connsiteX35947" fmla="*/ 2381582 w 4610101"/>
              <a:gd name="connsiteY35947" fmla="*/ 549326 h 6557032"/>
              <a:gd name="connsiteX35948" fmla="*/ 2365182 w 4610101"/>
              <a:gd name="connsiteY35948" fmla="*/ 549326 h 6557032"/>
              <a:gd name="connsiteX35949" fmla="*/ 2357893 w 4610101"/>
              <a:gd name="connsiteY35949" fmla="*/ 554792 h 6557032"/>
              <a:gd name="connsiteX35950" fmla="*/ 2361538 w 4610101"/>
              <a:gd name="connsiteY35950" fmla="*/ 578481 h 6557032"/>
              <a:gd name="connsiteX35951" fmla="*/ 2367004 w 4610101"/>
              <a:gd name="connsiteY35951" fmla="*/ 580303 h 6557032"/>
              <a:gd name="connsiteX35952" fmla="*/ 2367004 w 4610101"/>
              <a:gd name="connsiteY35952" fmla="*/ 558437 h 6557032"/>
              <a:gd name="connsiteX35953" fmla="*/ 2365182 w 4610101"/>
              <a:gd name="connsiteY35953" fmla="*/ 549326 h 6557032"/>
              <a:gd name="connsiteX35954" fmla="*/ 987143 w 4610101"/>
              <a:gd name="connsiteY35954" fmla="*/ 549239 h 6557032"/>
              <a:gd name="connsiteX35955" fmla="*/ 986333 w 4610101"/>
              <a:gd name="connsiteY35955" fmla="*/ 552194 h 6557032"/>
              <a:gd name="connsiteX35956" fmla="*/ 985796 w 4610101"/>
              <a:gd name="connsiteY35956" fmla="*/ 552970 h 6557032"/>
              <a:gd name="connsiteX35957" fmla="*/ 2937345 w 4610101"/>
              <a:gd name="connsiteY35957" fmla="*/ 547504 h 6557032"/>
              <a:gd name="connsiteX35958" fmla="*/ 2951922 w 4610101"/>
              <a:gd name="connsiteY35958" fmla="*/ 563904 h 6557032"/>
              <a:gd name="connsiteX35959" fmla="*/ 2950100 w 4610101"/>
              <a:gd name="connsiteY35959" fmla="*/ 552970 h 6557032"/>
              <a:gd name="connsiteX35960" fmla="*/ 2937345 w 4610101"/>
              <a:gd name="connsiteY35960" fmla="*/ 547504 h 6557032"/>
              <a:gd name="connsiteX35961" fmla="*/ 2512778 w 4610101"/>
              <a:gd name="connsiteY35961" fmla="*/ 547504 h 6557032"/>
              <a:gd name="connsiteX35962" fmla="*/ 2510956 w 4610101"/>
              <a:gd name="connsiteY35962" fmla="*/ 554792 h 6557032"/>
              <a:gd name="connsiteX35963" fmla="*/ 2520067 w 4610101"/>
              <a:gd name="connsiteY35963" fmla="*/ 556616 h 6557032"/>
              <a:gd name="connsiteX35964" fmla="*/ 2512778 w 4610101"/>
              <a:gd name="connsiteY35964" fmla="*/ 547504 h 6557032"/>
              <a:gd name="connsiteX35965" fmla="*/ 1233612 w 4610101"/>
              <a:gd name="connsiteY35965" fmla="*/ 547504 h 6557032"/>
              <a:gd name="connsiteX35966" fmla="*/ 1229969 w 4610101"/>
              <a:gd name="connsiteY35966" fmla="*/ 551148 h 6557032"/>
              <a:gd name="connsiteX35967" fmla="*/ 1233612 w 4610101"/>
              <a:gd name="connsiteY35967" fmla="*/ 547504 h 6557032"/>
              <a:gd name="connsiteX35968" fmla="*/ 1213568 w 4610101"/>
              <a:gd name="connsiteY35968" fmla="*/ 547504 h 6557032"/>
              <a:gd name="connsiteX35969" fmla="*/ 1211747 w 4610101"/>
              <a:gd name="connsiteY35969" fmla="*/ 554792 h 6557032"/>
              <a:gd name="connsiteX35970" fmla="*/ 1213568 w 4610101"/>
              <a:gd name="connsiteY35970" fmla="*/ 547504 h 6557032"/>
              <a:gd name="connsiteX35971" fmla="*/ 1102416 w 4610101"/>
              <a:gd name="connsiteY35971" fmla="*/ 547504 h 6557032"/>
              <a:gd name="connsiteX35972" fmla="*/ 1106060 w 4610101"/>
              <a:gd name="connsiteY35972" fmla="*/ 549326 h 6557032"/>
              <a:gd name="connsiteX35973" fmla="*/ 1102416 w 4610101"/>
              <a:gd name="connsiteY35973" fmla="*/ 547504 h 6557032"/>
              <a:gd name="connsiteX35974" fmla="*/ 982152 w 4610101"/>
              <a:gd name="connsiteY35974" fmla="*/ 547504 h 6557032"/>
              <a:gd name="connsiteX35975" fmla="*/ 976230 w 4610101"/>
              <a:gd name="connsiteY35975" fmla="*/ 553427 h 6557032"/>
              <a:gd name="connsiteX35976" fmla="*/ 971636 w 4610101"/>
              <a:gd name="connsiteY35976" fmla="*/ 555120 h 6557032"/>
              <a:gd name="connsiteX35977" fmla="*/ 936598 w 4610101"/>
              <a:gd name="connsiteY35977" fmla="*/ 547504 h 6557032"/>
              <a:gd name="connsiteX35978" fmla="*/ 922020 w 4610101"/>
              <a:gd name="connsiteY35978" fmla="*/ 587591 h 6557032"/>
              <a:gd name="connsiteX35979" fmla="*/ 936598 w 4610101"/>
              <a:gd name="connsiteY35979" fmla="*/ 547504 h 6557032"/>
              <a:gd name="connsiteX35980" fmla="*/ 816334 w 4610101"/>
              <a:gd name="connsiteY35980" fmla="*/ 547504 h 6557032"/>
              <a:gd name="connsiteX35981" fmla="*/ 816334 w 4610101"/>
              <a:gd name="connsiteY35981" fmla="*/ 562081 h 6557032"/>
              <a:gd name="connsiteX35982" fmla="*/ 819979 w 4610101"/>
              <a:gd name="connsiteY35982" fmla="*/ 558437 h 6557032"/>
              <a:gd name="connsiteX35983" fmla="*/ 816334 w 4610101"/>
              <a:gd name="connsiteY35983" fmla="*/ 547504 h 6557032"/>
              <a:gd name="connsiteX35984" fmla="*/ 734336 w 4610101"/>
              <a:gd name="connsiteY35984" fmla="*/ 547504 h 6557032"/>
              <a:gd name="connsiteX35985" fmla="*/ 734686 w 4610101"/>
              <a:gd name="connsiteY35985" fmla="*/ 549954 h 6557032"/>
              <a:gd name="connsiteX35986" fmla="*/ 733383 w 4610101"/>
              <a:gd name="connsiteY35986" fmla="*/ 547981 h 6557032"/>
              <a:gd name="connsiteX35987" fmla="*/ 317059 w 4610101"/>
              <a:gd name="connsiteY35987" fmla="*/ 547504 h 6557032"/>
              <a:gd name="connsiteX35988" fmla="*/ 317059 w 4610101"/>
              <a:gd name="connsiteY35988" fmla="*/ 573014 h 6557032"/>
              <a:gd name="connsiteX35989" fmla="*/ 318882 w 4610101"/>
              <a:gd name="connsiteY35989" fmla="*/ 558437 h 6557032"/>
              <a:gd name="connsiteX35990" fmla="*/ 335280 w 4610101"/>
              <a:gd name="connsiteY35990" fmla="*/ 587591 h 6557032"/>
              <a:gd name="connsiteX35991" fmla="*/ 320703 w 4610101"/>
              <a:gd name="connsiteY35991" fmla="*/ 552970 h 6557032"/>
              <a:gd name="connsiteX35992" fmla="*/ 317059 w 4610101"/>
              <a:gd name="connsiteY35992" fmla="*/ 547504 h 6557032"/>
              <a:gd name="connsiteX35993" fmla="*/ 2334661 w 4610101"/>
              <a:gd name="connsiteY35993" fmla="*/ 547276 h 6557032"/>
              <a:gd name="connsiteX35994" fmla="*/ 2332383 w 4610101"/>
              <a:gd name="connsiteY35994" fmla="*/ 554792 h 6557032"/>
              <a:gd name="connsiteX35995" fmla="*/ 2339672 w 4610101"/>
              <a:gd name="connsiteY35995" fmla="*/ 549326 h 6557032"/>
              <a:gd name="connsiteX35996" fmla="*/ 2334661 w 4610101"/>
              <a:gd name="connsiteY35996" fmla="*/ 547276 h 6557032"/>
              <a:gd name="connsiteX35997" fmla="*/ 820202 w 4610101"/>
              <a:gd name="connsiteY35997" fmla="*/ 546426 h 6557032"/>
              <a:gd name="connsiteX35998" fmla="*/ 821345 w 4610101"/>
              <a:gd name="connsiteY35998" fmla="*/ 550237 h 6557032"/>
              <a:gd name="connsiteX35999" fmla="*/ 820340 w 4610101"/>
              <a:gd name="connsiteY35999" fmla="*/ 553589 h 6557032"/>
              <a:gd name="connsiteX36000" fmla="*/ 819751 w 4610101"/>
              <a:gd name="connsiteY36000" fmla="*/ 550237 h 6557032"/>
              <a:gd name="connsiteX36001" fmla="*/ 731950 w 4610101"/>
              <a:gd name="connsiteY36001" fmla="*/ 545812 h 6557032"/>
              <a:gd name="connsiteX36002" fmla="*/ 733383 w 4610101"/>
              <a:gd name="connsiteY36002" fmla="*/ 547981 h 6557032"/>
              <a:gd name="connsiteX36003" fmla="*/ 730692 w 4610101"/>
              <a:gd name="connsiteY36003" fmla="*/ 549326 h 6557032"/>
              <a:gd name="connsiteX36004" fmla="*/ 731831 w 4610101"/>
              <a:gd name="connsiteY36004" fmla="*/ 545910 h 6557032"/>
              <a:gd name="connsiteX36005" fmla="*/ 2421669 w 4610101"/>
              <a:gd name="connsiteY36005" fmla="*/ 545681 h 6557032"/>
              <a:gd name="connsiteX36006" fmla="*/ 2421846 w 4610101"/>
              <a:gd name="connsiteY36006" fmla="*/ 547446 h 6557032"/>
              <a:gd name="connsiteX36007" fmla="*/ 2421669 w 4610101"/>
              <a:gd name="connsiteY36007" fmla="*/ 547504 h 6557032"/>
              <a:gd name="connsiteX36008" fmla="*/ 2422167 w 4610101"/>
              <a:gd name="connsiteY36008" fmla="*/ 550658 h 6557032"/>
              <a:gd name="connsiteX36009" fmla="*/ 2422305 w 4610101"/>
              <a:gd name="connsiteY36009" fmla="*/ 552037 h 6557032"/>
              <a:gd name="connsiteX36010" fmla="*/ 2421669 w 4610101"/>
              <a:gd name="connsiteY36010" fmla="*/ 554792 h 6557032"/>
              <a:gd name="connsiteX36011" fmla="*/ 2419354 w 4610101"/>
              <a:gd name="connsiteY36011" fmla="*/ 555156 h 6557032"/>
              <a:gd name="connsiteX36012" fmla="*/ 2419392 w 4610101"/>
              <a:gd name="connsiteY36012" fmla="*/ 553882 h 6557032"/>
              <a:gd name="connsiteX36013" fmla="*/ 2418352 w 4610101"/>
              <a:gd name="connsiteY36013" fmla="*/ 550613 h 6557032"/>
              <a:gd name="connsiteX36014" fmla="*/ 2418708 w 4610101"/>
              <a:gd name="connsiteY36014" fmla="*/ 550237 h 6557032"/>
              <a:gd name="connsiteX36015" fmla="*/ 2421669 w 4610101"/>
              <a:gd name="connsiteY36015" fmla="*/ 545681 h 6557032"/>
              <a:gd name="connsiteX36016" fmla="*/ 2172032 w 4610101"/>
              <a:gd name="connsiteY36016" fmla="*/ 545681 h 6557032"/>
              <a:gd name="connsiteX36017" fmla="*/ 2170210 w 4610101"/>
              <a:gd name="connsiteY36017" fmla="*/ 558437 h 6557032"/>
              <a:gd name="connsiteX36018" fmla="*/ 2173854 w 4610101"/>
              <a:gd name="connsiteY36018" fmla="*/ 551148 h 6557032"/>
              <a:gd name="connsiteX36019" fmla="*/ 2172032 w 4610101"/>
              <a:gd name="connsiteY36019" fmla="*/ 545681 h 6557032"/>
              <a:gd name="connsiteX36020" fmla="*/ 1987992 w 4610101"/>
              <a:gd name="connsiteY36020" fmla="*/ 545681 h 6557032"/>
              <a:gd name="connsiteX36021" fmla="*/ 1988199 w 4610101"/>
              <a:gd name="connsiteY36021" fmla="*/ 546927 h 6557032"/>
              <a:gd name="connsiteX36022" fmla="*/ 1986788 w 4610101"/>
              <a:gd name="connsiteY36022" fmla="*/ 547806 h 6557032"/>
              <a:gd name="connsiteX36023" fmla="*/ 716115 w 4610101"/>
              <a:gd name="connsiteY36023" fmla="*/ 545681 h 6557032"/>
              <a:gd name="connsiteX36024" fmla="*/ 719759 w 4610101"/>
              <a:gd name="connsiteY36024" fmla="*/ 565725 h 6557032"/>
              <a:gd name="connsiteX36025" fmla="*/ 716115 w 4610101"/>
              <a:gd name="connsiteY36025" fmla="*/ 545681 h 6557032"/>
              <a:gd name="connsiteX36026" fmla="*/ 258749 w 4610101"/>
              <a:gd name="connsiteY36026" fmla="*/ 545681 h 6557032"/>
              <a:gd name="connsiteX36027" fmla="*/ 260571 w 4610101"/>
              <a:gd name="connsiteY36027" fmla="*/ 552970 h 6557032"/>
              <a:gd name="connsiteX36028" fmla="*/ 258749 w 4610101"/>
              <a:gd name="connsiteY36028" fmla="*/ 545681 h 6557032"/>
              <a:gd name="connsiteX36029" fmla="*/ 1139107 w 4610101"/>
              <a:gd name="connsiteY36029" fmla="*/ 544301 h 6557032"/>
              <a:gd name="connsiteX36030" fmla="*/ 1137529 w 4610101"/>
              <a:gd name="connsiteY36030" fmla="*/ 546421 h 6557032"/>
              <a:gd name="connsiteX36031" fmla="*/ 1137037 w 4610101"/>
              <a:gd name="connsiteY36031" fmla="*/ 545681 h 6557032"/>
              <a:gd name="connsiteX36032" fmla="*/ 3323646 w 4610101"/>
              <a:gd name="connsiteY36032" fmla="*/ 543860 h 6557032"/>
              <a:gd name="connsiteX36033" fmla="*/ 3320001 w 4610101"/>
              <a:gd name="connsiteY36033" fmla="*/ 549326 h 6557032"/>
              <a:gd name="connsiteX36034" fmla="*/ 3354623 w 4610101"/>
              <a:gd name="connsiteY36034" fmla="*/ 554792 h 6557032"/>
              <a:gd name="connsiteX36035" fmla="*/ 3349156 w 4610101"/>
              <a:gd name="connsiteY36035" fmla="*/ 551148 h 6557032"/>
              <a:gd name="connsiteX36036" fmla="*/ 3347334 w 4610101"/>
              <a:gd name="connsiteY36036" fmla="*/ 554792 h 6557032"/>
              <a:gd name="connsiteX36037" fmla="*/ 3327290 w 4610101"/>
              <a:gd name="connsiteY36037" fmla="*/ 551148 h 6557032"/>
              <a:gd name="connsiteX36038" fmla="*/ 3329112 w 4610101"/>
              <a:gd name="connsiteY36038" fmla="*/ 547504 h 6557032"/>
              <a:gd name="connsiteX36039" fmla="*/ 3323646 w 4610101"/>
              <a:gd name="connsiteY36039" fmla="*/ 543860 h 6557032"/>
              <a:gd name="connsiteX36040" fmla="*/ 3261692 w 4610101"/>
              <a:gd name="connsiteY36040" fmla="*/ 543860 h 6557032"/>
              <a:gd name="connsiteX36041" fmla="*/ 3252581 w 4610101"/>
              <a:gd name="connsiteY36041" fmla="*/ 549326 h 6557032"/>
              <a:gd name="connsiteX36042" fmla="*/ 3258047 w 4610101"/>
              <a:gd name="connsiteY36042" fmla="*/ 552970 h 6557032"/>
              <a:gd name="connsiteX36043" fmla="*/ 3261692 w 4610101"/>
              <a:gd name="connsiteY36043" fmla="*/ 543860 h 6557032"/>
              <a:gd name="connsiteX36044" fmla="*/ 3232537 w 4610101"/>
              <a:gd name="connsiteY36044" fmla="*/ 543860 h 6557032"/>
              <a:gd name="connsiteX36045" fmla="*/ 3232537 w 4610101"/>
              <a:gd name="connsiteY36045" fmla="*/ 558437 h 6557032"/>
              <a:gd name="connsiteX36046" fmla="*/ 3243470 w 4610101"/>
              <a:gd name="connsiteY36046" fmla="*/ 543860 h 6557032"/>
              <a:gd name="connsiteX36047" fmla="*/ 3232537 w 4610101"/>
              <a:gd name="connsiteY36047" fmla="*/ 543860 h 6557032"/>
              <a:gd name="connsiteX36048" fmla="*/ 3201560 w 4610101"/>
              <a:gd name="connsiteY36048" fmla="*/ 543860 h 6557032"/>
              <a:gd name="connsiteX36049" fmla="*/ 3201560 w 4610101"/>
              <a:gd name="connsiteY36049" fmla="*/ 549326 h 6557032"/>
              <a:gd name="connsiteX36050" fmla="*/ 3201560 w 4610101"/>
              <a:gd name="connsiteY36050" fmla="*/ 543860 h 6557032"/>
              <a:gd name="connsiteX36051" fmla="*/ 2864458 w 4610101"/>
              <a:gd name="connsiteY36051" fmla="*/ 543860 h 6557032"/>
              <a:gd name="connsiteX36052" fmla="*/ 2864230 w 4610101"/>
              <a:gd name="connsiteY36052" fmla="*/ 554337 h 6557032"/>
              <a:gd name="connsiteX36053" fmla="*/ 2866764 w 4610101"/>
              <a:gd name="connsiteY36053" fmla="*/ 555828 h 6557032"/>
              <a:gd name="connsiteX36054" fmla="*/ 2866508 w 4610101"/>
              <a:gd name="connsiteY36054" fmla="*/ 557070 h 6557032"/>
              <a:gd name="connsiteX36055" fmla="*/ 2866311 w 4610101"/>
              <a:gd name="connsiteY36055" fmla="*/ 561415 h 6557032"/>
              <a:gd name="connsiteX36056" fmla="*/ 2862864 w 4610101"/>
              <a:gd name="connsiteY36056" fmla="*/ 557526 h 6557032"/>
              <a:gd name="connsiteX36057" fmla="*/ 2855347 w 4610101"/>
              <a:gd name="connsiteY36057" fmla="*/ 552970 h 6557032"/>
              <a:gd name="connsiteX36058" fmla="*/ 2864458 w 4610101"/>
              <a:gd name="connsiteY36058" fmla="*/ 543860 h 6557032"/>
              <a:gd name="connsiteX36059" fmla="*/ 2642153 w 4610101"/>
              <a:gd name="connsiteY36059" fmla="*/ 543860 h 6557032"/>
              <a:gd name="connsiteX36060" fmla="*/ 2640330 w 4610101"/>
              <a:gd name="connsiteY36060" fmla="*/ 547504 h 6557032"/>
              <a:gd name="connsiteX36061" fmla="*/ 2645797 w 4610101"/>
              <a:gd name="connsiteY36061" fmla="*/ 547504 h 6557032"/>
              <a:gd name="connsiteX36062" fmla="*/ 2642153 w 4610101"/>
              <a:gd name="connsiteY36062" fmla="*/ 543860 h 6557032"/>
              <a:gd name="connsiteX36063" fmla="*/ 2494556 w 4610101"/>
              <a:gd name="connsiteY36063" fmla="*/ 543860 h 6557032"/>
              <a:gd name="connsiteX36064" fmla="*/ 2483624 w 4610101"/>
              <a:gd name="connsiteY36064" fmla="*/ 549326 h 6557032"/>
              <a:gd name="connsiteX36065" fmla="*/ 2490912 w 4610101"/>
              <a:gd name="connsiteY36065" fmla="*/ 563904 h 6557032"/>
              <a:gd name="connsiteX36066" fmla="*/ 2492734 w 4610101"/>
              <a:gd name="connsiteY36066" fmla="*/ 556616 h 6557032"/>
              <a:gd name="connsiteX36067" fmla="*/ 2505490 w 4610101"/>
              <a:gd name="connsiteY36067" fmla="*/ 554792 h 6557032"/>
              <a:gd name="connsiteX36068" fmla="*/ 2505490 w 4610101"/>
              <a:gd name="connsiteY36068" fmla="*/ 547504 h 6557032"/>
              <a:gd name="connsiteX36069" fmla="*/ 2494556 w 4610101"/>
              <a:gd name="connsiteY36069" fmla="*/ 543860 h 6557032"/>
              <a:gd name="connsiteX36070" fmla="*/ 1142897 w 4610101"/>
              <a:gd name="connsiteY36070" fmla="*/ 542875 h 6557032"/>
              <a:gd name="connsiteX36071" fmla="*/ 1144326 w 4610101"/>
              <a:gd name="connsiteY36071" fmla="*/ 545910 h 6557032"/>
              <a:gd name="connsiteX36072" fmla="*/ 1142503 w 4610101"/>
              <a:gd name="connsiteY36072" fmla="*/ 548530 h 6557032"/>
              <a:gd name="connsiteX36073" fmla="*/ 1142503 w 4610101"/>
              <a:gd name="connsiteY36073" fmla="*/ 543860 h 6557032"/>
              <a:gd name="connsiteX36074" fmla="*/ 1140681 w 4610101"/>
              <a:gd name="connsiteY36074" fmla="*/ 545681 h 6557032"/>
              <a:gd name="connsiteX36075" fmla="*/ 2891790 w 4610101"/>
              <a:gd name="connsiteY36075" fmla="*/ 542037 h 6557032"/>
              <a:gd name="connsiteX36076" fmla="*/ 2888146 w 4610101"/>
              <a:gd name="connsiteY36076" fmla="*/ 567548 h 6557032"/>
              <a:gd name="connsiteX36077" fmla="*/ 2895435 w 4610101"/>
              <a:gd name="connsiteY36077" fmla="*/ 562081 h 6557032"/>
              <a:gd name="connsiteX36078" fmla="*/ 2891790 w 4610101"/>
              <a:gd name="connsiteY36078" fmla="*/ 542037 h 6557032"/>
              <a:gd name="connsiteX36079" fmla="*/ 2583843 w 4610101"/>
              <a:gd name="connsiteY36079" fmla="*/ 542037 h 6557032"/>
              <a:gd name="connsiteX36080" fmla="*/ 2580199 w 4610101"/>
              <a:gd name="connsiteY36080" fmla="*/ 554792 h 6557032"/>
              <a:gd name="connsiteX36081" fmla="*/ 2583843 w 4610101"/>
              <a:gd name="connsiteY36081" fmla="*/ 549326 h 6557032"/>
              <a:gd name="connsiteX36082" fmla="*/ 2583843 w 4610101"/>
              <a:gd name="connsiteY36082" fmla="*/ 542037 h 6557032"/>
              <a:gd name="connsiteX36083" fmla="*/ 1229969 w 4610101"/>
              <a:gd name="connsiteY36083" fmla="*/ 542037 h 6557032"/>
              <a:gd name="connsiteX36084" fmla="*/ 1222679 w 4610101"/>
              <a:gd name="connsiteY36084" fmla="*/ 552970 h 6557032"/>
              <a:gd name="connsiteX36085" fmla="*/ 1229969 w 4610101"/>
              <a:gd name="connsiteY36085" fmla="*/ 542037 h 6557032"/>
              <a:gd name="connsiteX36086" fmla="*/ 1124282 w 4610101"/>
              <a:gd name="connsiteY36086" fmla="*/ 542037 h 6557032"/>
              <a:gd name="connsiteX36087" fmla="*/ 1122459 w 4610101"/>
              <a:gd name="connsiteY36087" fmla="*/ 552970 h 6557032"/>
              <a:gd name="connsiteX36088" fmla="*/ 1127926 w 4610101"/>
              <a:gd name="connsiteY36088" fmla="*/ 547504 h 6557032"/>
              <a:gd name="connsiteX36089" fmla="*/ 1124282 w 4610101"/>
              <a:gd name="connsiteY36089" fmla="*/ 542037 h 6557032"/>
              <a:gd name="connsiteX36090" fmla="*/ 987619 w 4610101"/>
              <a:gd name="connsiteY36090" fmla="*/ 542037 h 6557032"/>
              <a:gd name="connsiteX36091" fmla="*/ 988854 w 4610101"/>
              <a:gd name="connsiteY36091" fmla="*/ 544505 h 6557032"/>
              <a:gd name="connsiteX36092" fmla="*/ 987143 w 4610101"/>
              <a:gd name="connsiteY36092" fmla="*/ 549239 h 6557032"/>
              <a:gd name="connsiteX36093" fmla="*/ 987619 w 4610101"/>
              <a:gd name="connsiteY36093" fmla="*/ 547504 h 6557032"/>
              <a:gd name="connsiteX36094" fmla="*/ 972050 w 4610101"/>
              <a:gd name="connsiteY36094" fmla="*/ 561344 h 6557032"/>
              <a:gd name="connsiteX36095" fmla="*/ 909265 w 4610101"/>
              <a:gd name="connsiteY36095" fmla="*/ 542037 h 6557032"/>
              <a:gd name="connsiteX36096" fmla="*/ 910635 w 4610101"/>
              <a:gd name="connsiteY36096" fmla="*/ 543065 h 6557032"/>
              <a:gd name="connsiteX36097" fmla="*/ 909845 w 4610101"/>
              <a:gd name="connsiteY36097" fmla="*/ 546676 h 6557032"/>
              <a:gd name="connsiteX36098" fmla="*/ 871000 w 4610101"/>
              <a:gd name="connsiteY36098" fmla="*/ 542037 h 6557032"/>
              <a:gd name="connsiteX36099" fmla="*/ 869177 w 4610101"/>
              <a:gd name="connsiteY36099" fmla="*/ 583947 h 6557032"/>
              <a:gd name="connsiteX36100" fmla="*/ 872822 w 4610101"/>
              <a:gd name="connsiteY36100" fmla="*/ 582125 h 6557032"/>
              <a:gd name="connsiteX36101" fmla="*/ 872822 w 4610101"/>
              <a:gd name="connsiteY36101" fmla="*/ 587591 h 6557032"/>
              <a:gd name="connsiteX36102" fmla="*/ 885577 w 4610101"/>
              <a:gd name="connsiteY36102" fmla="*/ 556616 h 6557032"/>
              <a:gd name="connsiteX36103" fmla="*/ 871000 w 4610101"/>
              <a:gd name="connsiteY36103" fmla="*/ 542037 h 6557032"/>
              <a:gd name="connsiteX36104" fmla="*/ 548475 w 4610101"/>
              <a:gd name="connsiteY36104" fmla="*/ 542037 h 6557032"/>
              <a:gd name="connsiteX36105" fmla="*/ 553941 w 4610101"/>
              <a:gd name="connsiteY36105" fmla="*/ 563904 h 6557032"/>
              <a:gd name="connsiteX36106" fmla="*/ 555763 w 4610101"/>
              <a:gd name="connsiteY36106" fmla="*/ 547504 h 6557032"/>
              <a:gd name="connsiteX36107" fmla="*/ 548475 w 4610101"/>
              <a:gd name="connsiteY36107" fmla="*/ 542037 h 6557032"/>
              <a:gd name="connsiteX36108" fmla="*/ 3383777 w 4610101"/>
              <a:gd name="connsiteY36108" fmla="*/ 540215 h 6557032"/>
              <a:gd name="connsiteX36109" fmla="*/ 3383777 w 4610101"/>
              <a:gd name="connsiteY36109" fmla="*/ 558437 h 6557032"/>
              <a:gd name="connsiteX36110" fmla="*/ 3383777 w 4610101"/>
              <a:gd name="connsiteY36110" fmla="*/ 540215 h 6557032"/>
              <a:gd name="connsiteX36111" fmla="*/ 2988366 w 4610101"/>
              <a:gd name="connsiteY36111" fmla="*/ 540215 h 6557032"/>
              <a:gd name="connsiteX36112" fmla="*/ 2992010 w 4610101"/>
              <a:gd name="connsiteY36112" fmla="*/ 549326 h 6557032"/>
              <a:gd name="connsiteX36113" fmla="*/ 2984721 w 4610101"/>
              <a:gd name="connsiteY36113" fmla="*/ 560260 h 6557032"/>
              <a:gd name="connsiteX36114" fmla="*/ 2975610 w 4610101"/>
              <a:gd name="connsiteY36114" fmla="*/ 552970 h 6557032"/>
              <a:gd name="connsiteX36115" fmla="*/ 2982899 w 4610101"/>
              <a:gd name="connsiteY36115" fmla="*/ 562081 h 6557032"/>
              <a:gd name="connsiteX36116" fmla="*/ 2984721 w 4610101"/>
              <a:gd name="connsiteY36116" fmla="*/ 569370 h 6557032"/>
              <a:gd name="connsiteX36117" fmla="*/ 2979255 w 4610101"/>
              <a:gd name="connsiteY36117" fmla="*/ 563904 h 6557032"/>
              <a:gd name="connsiteX36118" fmla="*/ 2961033 w 4610101"/>
              <a:gd name="connsiteY36118" fmla="*/ 562081 h 6557032"/>
              <a:gd name="connsiteX36119" fmla="*/ 2990188 w 4610101"/>
              <a:gd name="connsiteY36119" fmla="*/ 571192 h 6557032"/>
              <a:gd name="connsiteX36120" fmla="*/ 2988366 w 4610101"/>
              <a:gd name="connsiteY36120" fmla="*/ 563904 h 6557032"/>
              <a:gd name="connsiteX36121" fmla="*/ 3004765 w 4610101"/>
              <a:gd name="connsiteY36121" fmla="*/ 567548 h 6557032"/>
              <a:gd name="connsiteX36122" fmla="*/ 3004765 w 4610101"/>
              <a:gd name="connsiteY36122" fmla="*/ 554792 h 6557032"/>
              <a:gd name="connsiteX36123" fmla="*/ 2999299 w 4610101"/>
              <a:gd name="connsiteY36123" fmla="*/ 549326 h 6557032"/>
              <a:gd name="connsiteX36124" fmla="*/ 3001121 w 4610101"/>
              <a:gd name="connsiteY36124" fmla="*/ 554792 h 6557032"/>
              <a:gd name="connsiteX36125" fmla="*/ 2995654 w 4610101"/>
              <a:gd name="connsiteY36125" fmla="*/ 556616 h 6557032"/>
              <a:gd name="connsiteX36126" fmla="*/ 2988366 w 4610101"/>
              <a:gd name="connsiteY36126" fmla="*/ 540215 h 6557032"/>
              <a:gd name="connsiteX36127" fmla="*/ 2671307 w 4610101"/>
              <a:gd name="connsiteY36127" fmla="*/ 540215 h 6557032"/>
              <a:gd name="connsiteX36128" fmla="*/ 2669485 w 4610101"/>
              <a:gd name="connsiteY36128" fmla="*/ 551148 h 6557032"/>
              <a:gd name="connsiteX36129" fmla="*/ 2684063 w 4610101"/>
              <a:gd name="connsiteY36129" fmla="*/ 554792 h 6557032"/>
              <a:gd name="connsiteX36130" fmla="*/ 2680418 w 4610101"/>
              <a:gd name="connsiteY36130" fmla="*/ 543860 h 6557032"/>
              <a:gd name="connsiteX36131" fmla="*/ 2671307 w 4610101"/>
              <a:gd name="connsiteY36131" fmla="*/ 540215 h 6557032"/>
              <a:gd name="connsiteX36132" fmla="*/ 2540111 w 4610101"/>
              <a:gd name="connsiteY36132" fmla="*/ 540215 h 6557032"/>
              <a:gd name="connsiteX36133" fmla="*/ 2540111 w 4610101"/>
              <a:gd name="connsiteY36133" fmla="*/ 549326 h 6557032"/>
              <a:gd name="connsiteX36134" fmla="*/ 2540111 w 4610101"/>
              <a:gd name="connsiteY36134" fmla="*/ 540215 h 6557032"/>
              <a:gd name="connsiteX36135" fmla="*/ 2312339 w 4610101"/>
              <a:gd name="connsiteY36135" fmla="*/ 540215 h 6557032"/>
              <a:gd name="connsiteX36136" fmla="*/ 2312881 w 4610101"/>
              <a:gd name="connsiteY36136" fmla="*/ 540937 h 6557032"/>
              <a:gd name="connsiteX36137" fmla="*/ 2312629 w 4610101"/>
              <a:gd name="connsiteY36137" fmla="*/ 541662 h 6557032"/>
              <a:gd name="connsiteX36138" fmla="*/ 1102416 w 4610101"/>
              <a:gd name="connsiteY36138" fmla="*/ 540215 h 6557032"/>
              <a:gd name="connsiteX36139" fmla="*/ 1107882 w 4610101"/>
              <a:gd name="connsiteY36139" fmla="*/ 547504 h 6557032"/>
              <a:gd name="connsiteX36140" fmla="*/ 1111526 w 4610101"/>
              <a:gd name="connsiteY36140" fmla="*/ 542037 h 6557032"/>
              <a:gd name="connsiteX36141" fmla="*/ 1102416 w 4610101"/>
              <a:gd name="connsiteY36141" fmla="*/ 540215 h 6557032"/>
              <a:gd name="connsiteX36142" fmla="*/ 940242 w 4610101"/>
              <a:gd name="connsiteY36142" fmla="*/ 540215 h 6557032"/>
              <a:gd name="connsiteX36143" fmla="*/ 939513 w 4610101"/>
              <a:gd name="connsiteY36143" fmla="*/ 542766 h 6557032"/>
              <a:gd name="connsiteX36144" fmla="*/ 938420 w 4610101"/>
              <a:gd name="connsiteY36144" fmla="*/ 543860 h 6557032"/>
              <a:gd name="connsiteX36145" fmla="*/ 938875 w 4610101"/>
              <a:gd name="connsiteY36145" fmla="*/ 544998 h 6557032"/>
              <a:gd name="connsiteX36146" fmla="*/ 938420 w 4610101"/>
              <a:gd name="connsiteY36146" fmla="*/ 546593 h 6557032"/>
              <a:gd name="connsiteX36147" fmla="*/ 942064 w 4610101"/>
              <a:gd name="connsiteY36147" fmla="*/ 552970 h 6557032"/>
              <a:gd name="connsiteX36148" fmla="*/ 938875 w 4610101"/>
              <a:gd name="connsiteY36148" fmla="*/ 544998 h 6557032"/>
              <a:gd name="connsiteX36149" fmla="*/ 939513 w 4610101"/>
              <a:gd name="connsiteY36149" fmla="*/ 542766 h 6557032"/>
              <a:gd name="connsiteX36150" fmla="*/ 940242 w 4610101"/>
              <a:gd name="connsiteY36150" fmla="*/ 542037 h 6557032"/>
              <a:gd name="connsiteX36151" fmla="*/ 940242 w 4610101"/>
              <a:gd name="connsiteY36151" fmla="*/ 540215 h 6557032"/>
              <a:gd name="connsiteX36152" fmla="*/ 575808 w 4610101"/>
              <a:gd name="connsiteY36152" fmla="*/ 540215 h 6557032"/>
              <a:gd name="connsiteX36153" fmla="*/ 568519 w 4610101"/>
              <a:gd name="connsiteY36153" fmla="*/ 551148 h 6557032"/>
              <a:gd name="connsiteX36154" fmla="*/ 575808 w 4610101"/>
              <a:gd name="connsiteY36154" fmla="*/ 569370 h 6557032"/>
              <a:gd name="connsiteX36155" fmla="*/ 575808 w 4610101"/>
              <a:gd name="connsiteY36155" fmla="*/ 540215 h 6557032"/>
              <a:gd name="connsiteX36156" fmla="*/ 2532822 w 4610101"/>
              <a:gd name="connsiteY36156" fmla="*/ 538393 h 6557032"/>
              <a:gd name="connsiteX36157" fmla="*/ 2531000 w 4610101"/>
              <a:gd name="connsiteY36157" fmla="*/ 549326 h 6557032"/>
              <a:gd name="connsiteX36158" fmla="*/ 2536466 w 4610101"/>
              <a:gd name="connsiteY36158" fmla="*/ 549326 h 6557032"/>
              <a:gd name="connsiteX36159" fmla="*/ 2532822 w 4610101"/>
              <a:gd name="connsiteY36159" fmla="*/ 538393 h 6557032"/>
              <a:gd name="connsiteX36160" fmla="*/ 2215764 w 4610101"/>
              <a:gd name="connsiteY36160" fmla="*/ 538393 h 6557032"/>
              <a:gd name="connsiteX36161" fmla="*/ 2226697 w 4610101"/>
              <a:gd name="connsiteY36161" fmla="*/ 542037 h 6557032"/>
              <a:gd name="connsiteX36162" fmla="*/ 2215764 w 4610101"/>
              <a:gd name="connsiteY36162" fmla="*/ 538393 h 6557032"/>
              <a:gd name="connsiteX36163" fmla="*/ 2168387 w 4610101"/>
              <a:gd name="connsiteY36163" fmla="*/ 538393 h 6557032"/>
              <a:gd name="connsiteX36164" fmla="*/ 2164743 w 4610101"/>
              <a:gd name="connsiteY36164" fmla="*/ 551148 h 6557032"/>
              <a:gd name="connsiteX36165" fmla="*/ 2168387 w 4610101"/>
              <a:gd name="connsiteY36165" fmla="*/ 538393 h 6557032"/>
              <a:gd name="connsiteX36166" fmla="*/ 865533 w 4610101"/>
              <a:gd name="connsiteY36166" fmla="*/ 538393 h 6557032"/>
              <a:gd name="connsiteX36167" fmla="*/ 865533 w 4610101"/>
              <a:gd name="connsiteY36167" fmla="*/ 547504 h 6557032"/>
              <a:gd name="connsiteX36168" fmla="*/ 865533 w 4610101"/>
              <a:gd name="connsiteY36168" fmla="*/ 538393 h 6557032"/>
              <a:gd name="connsiteX36169" fmla="*/ 860066 w 4610101"/>
              <a:gd name="connsiteY36169" fmla="*/ 538393 h 6557032"/>
              <a:gd name="connsiteX36170" fmla="*/ 860066 w 4610101"/>
              <a:gd name="connsiteY36170" fmla="*/ 554792 h 6557032"/>
              <a:gd name="connsiteX36171" fmla="*/ 860066 w 4610101"/>
              <a:gd name="connsiteY36171" fmla="*/ 538393 h 6557032"/>
              <a:gd name="connsiteX36172" fmla="*/ 727048 w 4610101"/>
              <a:gd name="connsiteY36172" fmla="*/ 538393 h 6557032"/>
              <a:gd name="connsiteX36173" fmla="*/ 730328 w 4610101"/>
              <a:gd name="connsiteY36173" fmla="*/ 540580 h 6557032"/>
              <a:gd name="connsiteX36174" fmla="*/ 730692 w 4610101"/>
              <a:gd name="connsiteY36174" fmla="*/ 542037 h 6557032"/>
              <a:gd name="connsiteX36175" fmla="*/ 730335 w 4610101"/>
              <a:gd name="connsiteY36175" fmla="*/ 540585 h 6557032"/>
              <a:gd name="connsiteX36176" fmla="*/ 732515 w 4610101"/>
              <a:gd name="connsiteY36176" fmla="*/ 542037 h 6557032"/>
              <a:gd name="connsiteX36177" fmla="*/ 732679 w 4610101"/>
              <a:gd name="connsiteY36177" fmla="*/ 540133 h 6557032"/>
              <a:gd name="connsiteX36178" fmla="*/ 736159 w 4610101"/>
              <a:gd name="connsiteY36178" fmla="*/ 538393 h 6557032"/>
              <a:gd name="connsiteX36179" fmla="*/ 734336 w 4610101"/>
              <a:gd name="connsiteY36179" fmla="*/ 545681 h 6557032"/>
              <a:gd name="connsiteX36180" fmla="*/ 734336 w 4610101"/>
              <a:gd name="connsiteY36180" fmla="*/ 543860 h 6557032"/>
              <a:gd name="connsiteX36181" fmla="*/ 731950 w 4610101"/>
              <a:gd name="connsiteY36181" fmla="*/ 545812 h 6557032"/>
              <a:gd name="connsiteX36182" fmla="*/ 639583 w 4610101"/>
              <a:gd name="connsiteY36182" fmla="*/ 538393 h 6557032"/>
              <a:gd name="connsiteX36183" fmla="*/ 639583 w 4610101"/>
              <a:gd name="connsiteY36183" fmla="*/ 551148 h 6557032"/>
              <a:gd name="connsiteX36184" fmla="*/ 639583 w 4610101"/>
              <a:gd name="connsiteY36184" fmla="*/ 538393 h 6557032"/>
              <a:gd name="connsiteX36185" fmla="*/ 528431 w 4610101"/>
              <a:gd name="connsiteY36185" fmla="*/ 538393 h 6557032"/>
              <a:gd name="connsiteX36186" fmla="*/ 533897 w 4610101"/>
              <a:gd name="connsiteY36186" fmla="*/ 558437 h 6557032"/>
              <a:gd name="connsiteX36187" fmla="*/ 528431 w 4610101"/>
              <a:gd name="connsiteY36187" fmla="*/ 538393 h 6557032"/>
              <a:gd name="connsiteX36188" fmla="*/ 524786 w 4610101"/>
              <a:gd name="connsiteY36188" fmla="*/ 538393 h 6557032"/>
              <a:gd name="connsiteX36189" fmla="*/ 530253 w 4610101"/>
              <a:gd name="connsiteY36189" fmla="*/ 567548 h 6557032"/>
              <a:gd name="connsiteX36190" fmla="*/ 530253 w 4610101"/>
              <a:gd name="connsiteY36190" fmla="*/ 554792 h 6557032"/>
              <a:gd name="connsiteX36191" fmla="*/ 524786 w 4610101"/>
              <a:gd name="connsiteY36191" fmla="*/ 538393 h 6557032"/>
              <a:gd name="connsiteX36192" fmla="*/ 3427510 w 4610101"/>
              <a:gd name="connsiteY36192" fmla="*/ 536571 h 6557032"/>
              <a:gd name="connsiteX36193" fmla="*/ 3429332 w 4610101"/>
              <a:gd name="connsiteY36193" fmla="*/ 547504 h 6557032"/>
              <a:gd name="connsiteX36194" fmla="*/ 3427510 w 4610101"/>
              <a:gd name="connsiteY36194" fmla="*/ 536571 h 6557032"/>
              <a:gd name="connsiteX36195" fmla="*/ 3332756 w 4610101"/>
              <a:gd name="connsiteY36195" fmla="*/ 536571 h 6557032"/>
              <a:gd name="connsiteX36196" fmla="*/ 3340045 w 4610101"/>
              <a:gd name="connsiteY36196" fmla="*/ 536571 h 6557032"/>
              <a:gd name="connsiteX36197" fmla="*/ 3332756 w 4610101"/>
              <a:gd name="connsiteY36197" fmla="*/ 536571 h 6557032"/>
              <a:gd name="connsiteX36198" fmla="*/ 3032098 w 4610101"/>
              <a:gd name="connsiteY36198" fmla="*/ 536571 h 6557032"/>
              <a:gd name="connsiteX36199" fmla="*/ 3032638 w 4610101"/>
              <a:gd name="connsiteY36199" fmla="*/ 537921 h 6557032"/>
              <a:gd name="connsiteX36200" fmla="*/ 3030237 w 4610101"/>
              <a:gd name="connsiteY36200" fmla="*/ 537037 h 6557032"/>
              <a:gd name="connsiteX36201" fmla="*/ 2656730 w 4610101"/>
              <a:gd name="connsiteY36201" fmla="*/ 536571 h 6557032"/>
              <a:gd name="connsiteX36202" fmla="*/ 2656730 w 4610101"/>
              <a:gd name="connsiteY36202" fmla="*/ 545681 h 6557032"/>
              <a:gd name="connsiteX36203" fmla="*/ 2656730 w 4610101"/>
              <a:gd name="connsiteY36203" fmla="*/ 536571 h 6557032"/>
              <a:gd name="connsiteX36204" fmla="*/ 2594776 w 4610101"/>
              <a:gd name="connsiteY36204" fmla="*/ 536571 h 6557032"/>
              <a:gd name="connsiteX36205" fmla="*/ 2589310 w 4610101"/>
              <a:gd name="connsiteY36205" fmla="*/ 552970 h 6557032"/>
              <a:gd name="connsiteX36206" fmla="*/ 2594776 w 4610101"/>
              <a:gd name="connsiteY36206" fmla="*/ 558437 h 6557032"/>
              <a:gd name="connsiteX36207" fmla="*/ 2594776 w 4610101"/>
              <a:gd name="connsiteY36207" fmla="*/ 540215 h 6557032"/>
              <a:gd name="connsiteX36208" fmla="*/ 2600243 w 4610101"/>
              <a:gd name="connsiteY36208" fmla="*/ 542037 h 6557032"/>
              <a:gd name="connsiteX36209" fmla="*/ 2594776 w 4610101"/>
              <a:gd name="connsiteY36209" fmla="*/ 536571 h 6557032"/>
              <a:gd name="connsiteX36210" fmla="*/ 2503667 w 4610101"/>
              <a:gd name="connsiteY36210" fmla="*/ 536571 h 6557032"/>
              <a:gd name="connsiteX36211" fmla="*/ 2498201 w 4610101"/>
              <a:gd name="connsiteY36211" fmla="*/ 538393 h 6557032"/>
              <a:gd name="connsiteX36212" fmla="*/ 2503667 w 4610101"/>
              <a:gd name="connsiteY36212" fmla="*/ 542037 h 6557032"/>
              <a:gd name="connsiteX36213" fmla="*/ 2503667 w 4610101"/>
              <a:gd name="connsiteY36213" fmla="*/ 536571 h 6557032"/>
              <a:gd name="connsiteX36214" fmla="*/ 1240901 w 4610101"/>
              <a:gd name="connsiteY36214" fmla="*/ 536571 h 6557032"/>
              <a:gd name="connsiteX36215" fmla="*/ 1239080 w 4610101"/>
              <a:gd name="connsiteY36215" fmla="*/ 545681 h 6557032"/>
              <a:gd name="connsiteX36216" fmla="*/ 1240901 w 4610101"/>
              <a:gd name="connsiteY36216" fmla="*/ 536571 h 6557032"/>
              <a:gd name="connsiteX36217" fmla="*/ 858244 w 4610101"/>
              <a:gd name="connsiteY36217" fmla="*/ 536571 h 6557032"/>
              <a:gd name="connsiteX36218" fmla="*/ 852778 w 4610101"/>
              <a:gd name="connsiteY36218" fmla="*/ 542037 h 6557032"/>
              <a:gd name="connsiteX36219" fmla="*/ 856422 w 4610101"/>
              <a:gd name="connsiteY36219" fmla="*/ 540215 h 6557032"/>
              <a:gd name="connsiteX36220" fmla="*/ 850956 w 4610101"/>
              <a:gd name="connsiteY36220" fmla="*/ 556616 h 6557032"/>
              <a:gd name="connsiteX36221" fmla="*/ 858244 w 4610101"/>
              <a:gd name="connsiteY36221" fmla="*/ 554792 h 6557032"/>
              <a:gd name="connsiteX36222" fmla="*/ 858244 w 4610101"/>
              <a:gd name="connsiteY36222" fmla="*/ 536571 h 6557032"/>
              <a:gd name="connsiteX36223" fmla="*/ 719759 w 4610101"/>
              <a:gd name="connsiteY36223" fmla="*/ 536571 h 6557032"/>
              <a:gd name="connsiteX36224" fmla="*/ 717937 w 4610101"/>
              <a:gd name="connsiteY36224" fmla="*/ 542037 h 6557032"/>
              <a:gd name="connsiteX36225" fmla="*/ 720852 w 4610101"/>
              <a:gd name="connsiteY36225" fmla="*/ 542037 h 6557032"/>
              <a:gd name="connsiteX36226" fmla="*/ 721389 w 4610101"/>
              <a:gd name="connsiteY36226" fmla="*/ 544723 h 6557032"/>
              <a:gd name="connsiteX36227" fmla="*/ 721126 w 4610101"/>
              <a:gd name="connsiteY36227" fmla="*/ 548415 h 6557032"/>
              <a:gd name="connsiteX36228" fmla="*/ 723404 w 4610101"/>
              <a:gd name="connsiteY36228" fmla="*/ 554792 h 6557032"/>
              <a:gd name="connsiteX36229" fmla="*/ 721389 w 4610101"/>
              <a:gd name="connsiteY36229" fmla="*/ 544723 h 6557032"/>
              <a:gd name="connsiteX36230" fmla="*/ 721581 w 4610101"/>
              <a:gd name="connsiteY36230" fmla="*/ 542037 h 6557032"/>
              <a:gd name="connsiteX36231" fmla="*/ 720852 w 4610101"/>
              <a:gd name="connsiteY36231" fmla="*/ 542037 h 6557032"/>
              <a:gd name="connsiteX36232" fmla="*/ 485579 w 4610101"/>
              <a:gd name="connsiteY36232" fmla="*/ 536245 h 6557032"/>
              <a:gd name="connsiteX36233" fmla="*/ 487887 w 4610101"/>
              <a:gd name="connsiteY36233" fmla="*/ 537937 h 6557032"/>
              <a:gd name="connsiteX36234" fmla="*/ 488204 w 4610101"/>
              <a:gd name="connsiteY36234" fmla="*/ 538536 h 6557032"/>
              <a:gd name="connsiteX36235" fmla="*/ 491071 w 4610101"/>
              <a:gd name="connsiteY36235" fmla="*/ 544988 h 6557032"/>
              <a:gd name="connsiteX36236" fmla="*/ 487418 w 4610101"/>
              <a:gd name="connsiteY36236" fmla="*/ 542220 h 6557032"/>
              <a:gd name="connsiteX36237" fmla="*/ 729057 w 4610101"/>
              <a:gd name="connsiteY36237" fmla="*/ 535380 h 6557032"/>
              <a:gd name="connsiteX36238" fmla="*/ 730335 w 4610101"/>
              <a:gd name="connsiteY36238" fmla="*/ 540585 h 6557032"/>
              <a:gd name="connsiteX36239" fmla="*/ 730328 w 4610101"/>
              <a:gd name="connsiteY36239" fmla="*/ 540580 h 6557032"/>
              <a:gd name="connsiteX36240" fmla="*/ 729035 w 4610101"/>
              <a:gd name="connsiteY36240" fmla="*/ 535412 h 6557032"/>
              <a:gd name="connsiteX36241" fmla="*/ 3460309 w 4610101"/>
              <a:gd name="connsiteY36241" fmla="*/ 534749 h 6557032"/>
              <a:gd name="connsiteX36242" fmla="*/ 3454842 w 4610101"/>
              <a:gd name="connsiteY36242" fmla="*/ 542037 h 6557032"/>
              <a:gd name="connsiteX36243" fmla="*/ 3463953 w 4610101"/>
              <a:gd name="connsiteY36243" fmla="*/ 543860 h 6557032"/>
              <a:gd name="connsiteX36244" fmla="*/ 3460309 w 4610101"/>
              <a:gd name="connsiteY36244" fmla="*/ 534749 h 6557032"/>
              <a:gd name="connsiteX36245" fmla="*/ 2336027 w 4610101"/>
              <a:gd name="connsiteY36245" fmla="*/ 534749 h 6557032"/>
              <a:gd name="connsiteX36246" fmla="*/ 2332383 w 4610101"/>
              <a:gd name="connsiteY36246" fmla="*/ 536571 h 6557032"/>
              <a:gd name="connsiteX36247" fmla="*/ 2337850 w 4610101"/>
              <a:gd name="connsiteY36247" fmla="*/ 540215 h 6557032"/>
              <a:gd name="connsiteX36248" fmla="*/ 2336027 w 4610101"/>
              <a:gd name="connsiteY36248" fmla="*/ 534749 h 6557032"/>
              <a:gd name="connsiteX36249" fmla="*/ 2144699 w 4610101"/>
              <a:gd name="connsiteY36249" fmla="*/ 534749 h 6557032"/>
              <a:gd name="connsiteX36250" fmla="*/ 2144699 w 4610101"/>
              <a:gd name="connsiteY36250" fmla="*/ 545681 h 6557032"/>
              <a:gd name="connsiteX36251" fmla="*/ 2135588 w 4610101"/>
              <a:gd name="connsiteY36251" fmla="*/ 543860 h 6557032"/>
              <a:gd name="connsiteX36252" fmla="*/ 2130122 w 4610101"/>
              <a:gd name="connsiteY36252" fmla="*/ 554792 h 6557032"/>
              <a:gd name="connsiteX36253" fmla="*/ 2131944 w 4610101"/>
              <a:gd name="connsiteY36253" fmla="*/ 558437 h 6557032"/>
              <a:gd name="connsiteX36254" fmla="*/ 2148344 w 4610101"/>
              <a:gd name="connsiteY36254" fmla="*/ 542037 h 6557032"/>
              <a:gd name="connsiteX36255" fmla="*/ 2144699 w 4610101"/>
              <a:gd name="connsiteY36255" fmla="*/ 534749 h 6557032"/>
              <a:gd name="connsiteX36256" fmla="*/ 1122459 w 4610101"/>
              <a:gd name="connsiteY36256" fmla="*/ 534749 h 6557032"/>
              <a:gd name="connsiteX36257" fmla="*/ 1116993 w 4610101"/>
              <a:gd name="connsiteY36257" fmla="*/ 545681 h 6557032"/>
              <a:gd name="connsiteX36258" fmla="*/ 1122459 w 4610101"/>
              <a:gd name="connsiteY36258" fmla="*/ 534749 h 6557032"/>
              <a:gd name="connsiteX36259" fmla="*/ 1113349 w 4610101"/>
              <a:gd name="connsiteY36259" fmla="*/ 534749 h 6557032"/>
              <a:gd name="connsiteX36260" fmla="*/ 1113515 w 4610101"/>
              <a:gd name="connsiteY36260" fmla="*/ 535660 h 6557032"/>
              <a:gd name="connsiteX36261" fmla="*/ 1113450 w 4610101"/>
              <a:gd name="connsiteY36261" fmla="*/ 537431 h 6557032"/>
              <a:gd name="connsiteX36262" fmla="*/ 1111774 w 4610101"/>
              <a:gd name="connsiteY36262" fmla="*/ 538270 h 6557032"/>
              <a:gd name="connsiteX36263" fmla="*/ 1111659 w 4610101"/>
              <a:gd name="connsiteY36263" fmla="*/ 538128 h 6557032"/>
              <a:gd name="connsiteX36264" fmla="*/ 573985 w 4610101"/>
              <a:gd name="connsiteY36264" fmla="*/ 534749 h 6557032"/>
              <a:gd name="connsiteX36265" fmla="*/ 568519 w 4610101"/>
              <a:gd name="connsiteY36265" fmla="*/ 538393 h 6557032"/>
              <a:gd name="connsiteX36266" fmla="*/ 568519 w 4610101"/>
              <a:gd name="connsiteY36266" fmla="*/ 546523 h 6557032"/>
              <a:gd name="connsiteX36267" fmla="*/ 568218 w 4610101"/>
              <a:gd name="connsiteY36267" fmla="*/ 546904 h 6557032"/>
              <a:gd name="connsiteX36268" fmla="*/ 566697 w 4610101"/>
              <a:gd name="connsiteY36268" fmla="*/ 543860 h 6557032"/>
              <a:gd name="connsiteX36269" fmla="*/ 564874 w 4610101"/>
              <a:gd name="connsiteY36269" fmla="*/ 551148 h 6557032"/>
              <a:gd name="connsiteX36270" fmla="*/ 568218 w 4610101"/>
              <a:gd name="connsiteY36270" fmla="*/ 546904 h 6557032"/>
              <a:gd name="connsiteX36271" fmla="*/ 568519 w 4610101"/>
              <a:gd name="connsiteY36271" fmla="*/ 547504 h 6557032"/>
              <a:gd name="connsiteX36272" fmla="*/ 568519 w 4610101"/>
              <a:gd name="connsiteY36272" fmla="*/ 546523 h 6557032"/>
              <a:gd name="connsiteX36273" fmla="*/ 570796 w 4610101"/>
              <a:gd name="connsiteY36273" fmla="*/ 543632 h 6557032"/>
              <a:gd name="connsiteX36274" fmla="*/ 573985 w 4610101"/>
              <a:gd name="connsiteY36274" fmla="*/ 534749 h 6557032"/>
              <a:gd name="connsiteX36275" fmla="*/ 457367 w 4610101"/>
              <a:gd name="connsiteY36275" fmla="*/ 534749 h 6557032"/>
              <a:gd name="connsiteX36276" fmla="*/ 464655 w 4610101"/>
              <a:gd name="connsiteY36276" fmla="*/ 554792 h 6557032"/>
              <a:gd name="connsiteX36277" fmla="*/ 457367 w 4610101"/>
              <a:gd name="connsiteY36277" fmla="*/ 534749 h 6557032"/>
              <a:gd name="connsiteX36278" fmla="*/ 1147677 w 4610101"/>
              <a:gd name="connsiteY36278" fmla="*/ 533577 h 6557032"/>
              <a:gd name="connsiteX36279" fmla="*/ 1147714 w 4610101"/>
              <a:gd name="connsiteY36279" fmla="*/ 533638 h 6557032"/>
              <a:gd name="connsiteX36280" fmla="*/ 1147697 w 4610101"/>
              <a:gd name="connsiteY36280" fmla="*/ 533659 h 6557032"/>
              <a:gd name="connsiteX36281" fmla="*/ 1147899 w 4610101"/>
              <a:gd name="connsiteY36281" fmla="*/ 533412 h 6557032"/>
              <a:gd name="connsiteX36282" fmla="*/ 1147930 w 4610101"/>
              <a:gd name="connsiteY36282" fmla="*/ 533986 h 6557032"/>
              <a:gd name="connsiteX36283" fmla="*/ 1147714 w 4610101"/>
              <a:gd name="connsiteY36283" fmla="*/ 533638 h 6557032"/>
              <a:gd name="connsiteX36284" fmla="*/ 3252581 w 4610101"/>
              <a:gd name="connsiteY36284" fmla="*/ 532926 h 6557032"/>
              <a:gd name="connsiteX36285" fmla="*/ 3241648 w 4610101"/>
              <a:gd name="connsiteY36285" fmla="*/ 536571 h 6557032"/>
              <a:gd name="connsiteX36286" fmla="*/ 3252581 w 4610101"/>
              <a:gd name="connsiteY36286" fmla="*/ 540215 h 6557032"/>
              <a:gd name="connsiteX36287" fmla="*/ 3252581 w 4610101"/>
              <a:gd name="connsiteY36287" fmla="*/ 532926 h 6557032"/>
              <a:gd name="connsiteX36288" fmla="*/ 3219782 w 4610101"/>
              <a:gd name="connsiteY36288" fmla="*/ 532926 h 6557032"/>
              <a:gd name="connsiteX36289" fmla="*/ 3208849 w 4610101"/>
              <a:gd name="connsiteY36289" fmla="*/ 545681 h 6557032"/>
              <a:gd name="connsiteX36290" fmla="*/ 3223426 w 4610101"/>
              <a:gd name="connsiteY36290" fmla="*/ 538393 h 6557032"/>
              <a:gd name="connsiteX36291" fmla="*/ 3219782 w 4610101"/>
              <a:gd name="connsiteY36291" fmla="*/ 532926 h 6557032"/>
              <a:gd name="connsiteX36292" fmla="*/ 3205204 w 4610101"/>
              <a:gd name="connsiteY36292" fmla="*/ 532926 h 6557032"/>
              <a:gd name="connsiteX36293" fmla="*/ 3205204 w 4610101"/>
              <a:gd name="connsiteY36293" fmla="*/ 540215 h 6557032"/>
              <a:gd name="connsiteX36294" fmla="*/ 3205204 w 4610101"/>
              <a:gd name="connsiteY36294" fmla="*/ 532926 h 6557032"/>
              <a:gd name="connsiteX36295" fmla="*/ 2565621 w 4610101"/>
              <a:gd name="connsiteY36295" fmla="*/ 532926 h 6557032"/>
              <a:gd name="connsiteX36296" fmla="*/ 2578377 w 4610101"/>
              <a:gd name="connsiteY36296" fmla="*/ 554792 h 6557032"/>
              <a:gd name="connsiteX36297" fmla="*/ 2578377 w 4610101"/>
              <a:gd name="connsiteY36297" fmla="*/ 547504 h 6557032"/>
              <a:gd name="connsiteX36298" fmla="*/ 2565621 w 4610101"/>
              <a:gd name="connsiteY36298" fmla="*/ 532926 h 6557032"/>
              <a:gd name="connsiteX36299" fmla="*/ 2372471 w 4610101"/>
              <a:gd name="connsiteY36299" fmla="*/ 532926 h 6557032"/>
              <a:gd name="connsiteX36300" fmla="*/ 2374293 w 4610101"/>
              <a:gd name="connsiteY36300" fmla="*/ 540215 h 6557032"/>
              <a:gd name="connsiteX36301" fmla="*/ 2372471 w 4610101"/>
              <a:gd name="connsiteY36301" fmla="*/ 532926 h 6557032"/>
              <a:gd name="connsiteX36302" fmla="*/ 1140681 w 4610101"/>
              <a:gd name="connsiteY36302" fmla="*/ 532926 h 6557032"/>
              <a:gd name="connsiteX36303" fmla="*/ 1140681 w 4610101"/>
              <a:gd name="connsiteY36303" fmla="*/ 538393 h 6557032"/>
              <a:gd name="connsiteX36304" fmla="*/ 1137037 w 4610101"/>
              <a:gd name="connsiteY36304" fmla="*/ 536571 h 6557032"/>
              <a:gd name="connsiteX36305" fmla="*/ 1140681 w 4610101"/>
              <a:gd name="connsiteY36305" fmla="*/ 532926 h 6557032"/>
              <a:gd name="connsiteX36306" fmla="*/ 945709 w 4610101"/>
              <a:gd name="connsiteY36306" fmla="*/ 532926 h 6557032"/>
              <a:gd name="connsiteX36307" fmla="*/ 945709 w 4610101"/>
              <a:gd name="connsiteY36307" fmla="*/ 545681 h 6557032"/>
              <a:gd name="connsiteX36308" fmla="*/ 945709 w 4610101"/>
              <a:gd name="connsiteY36308" fmla="*/ 532926 h 6557032"/>
              <a:gd name="connsiteX36309" fmla="*/ 730692 w 4610101"/>
              <a:gd name="connsiteY36309" fmla="*/ 532926 h 6557032"/>
              <a:gd name="connsiteX36310" fmla="*/ 732969 w 4610101"/>
              <a:gd name="connsiteY36310" fmla="*/ 536799 h 6557032"/>
              <a:gd name="connsiteX36311" fmla="*/ 732679 w 4610101"/>
              <a:gd name="connsiteY36311" fmla="*/ 540133 h 6557032"/>
              <a:gd name="connsiteX36312" fmla="*/ 732515 w 4610101"/>
              <a:gd name="connsiteY36312" fmla="*/ 540215 h 6557032"/>
              <a:gd name="connsiteX36313" fmla="*/ 730340 w 4610101"/>
              <a:gd name="connsiteY36313" fmla="*/ 533454 h 6557032"/>
              <a:gd name="connsiteX36314" fmla="*/ 3029282 w 4610101"/>
              <a:gd name="connsiteY36314" fmla="*/ 531934 h 6557032"/>
              <a:gd name="connsiteX36315" fmla="*/ 3029592 w 4610101"/>
              <a:gd name="connsiteY36315" fmla="*/ 532927 h 6557032"/>
              <a:gd name="connsiteX36316" fmla="*/ 3028840 w 4610101"/>
              <a:gd name="connsiteY36316" fmla="*/ 532464 h 6557032"/>
              <a:gd name="connsiteX36317" fmla="*/ 2948762 w 4610101"/>
              <a:gd name="connsiteY36317" fmla="*/ 531247 h 6557032"/>
              <a:gd name="connsiteX36318" fmla="*/ 2946456 w 4610101"/>
              <a:gd name="connsiteY36318" fmla="*/ 540215 h 6557032"/>
              <a:gd name="connsiteX36319" fmla="*/ 2939167 w 4610101"/>
              <a:gd name="connsiteY36319" fmla="*/ 538393 h 6557032"/>
              <a:gd name="connsiteX36320" fmla="*/ 2946456 w 4610101"/>
              <a:gd name="connsiteY36320" fmla="*/ 549326 h 6557032"/>
              <a:gd name="connsiteX36321" fmla="*/ 2953744 w 4610101"/>
              <a:gd name="connsiteY36321" fmla="*/ 532926 h 6557032"/>
              <a:gd name="connsiteX36322" fmla="*/ 2948762 w 4610101"/>
              <a:gd name="connsiteY36322" fmla="*/ 531247 h 6557032"/>
              <a:gd name="connsiteX36323" fmla="*/ 3352800 w 4610101"/>
              <a:gd name="connsiteY36323" fmla="*/ 531105 h 6557032"/>
              <a:gd name="connsiteX36324" fmla="*/ 3341867 w 4610101"/>
              <a:gd name="connsiteY36324" fmla="*/ 540215 h 6557032"/>
              <a:gd name="connsiteX36325" fmla="*/ 3329112 w 4610101"/>
              <a:gd name="connsiteY36325" fmla="*/ 540215 h 6557032"/>
              <a:gd name="connsiteX36326" fmla="*/ 3352800 w 4610101"/>
              <a:gd name="connsiteY36326" fmla="*/ 551148 h 6557032"/>
              <a:gd name="connsiteX36327" fmla="*/ 3345512 w 4610101"/>
              <a:gd name="connsiteY36327" fmla="*/ 540215 h 6557032"/>
              <a:gd name="connsiteX36328" fmla="*/ 3352800 w 4610101"/>
              <a:gd name="connsiteY36328" fmla="*/ 531105 h 6557032"/>
              <a:gd name="connsiteX36329" fmla="*/ 3026631 w 4610101"/>
              <a:gd name="connsiteY36329" fmla="*/ 531105 h 6557032"/>
              <a:gd name="connsiteX36330" fmla="*/ 3028840 w 4610101"/>
              <a:gd name="connsiteY36330" fmla="*/ 532464 h 6557032"/>
              <a:gd name="connsiteX36331" fmla="*/ 3028453 w 4610101"/>
              <a:gd name="connsiteY36331" fmla="*/ 532926 h 6557032"/>
              <a:gd name="connsiteX36332" fmla="*/ 3027448 w 4610101"/>
              <a:gd name="connsiteY36332" fmla="*/ 532675 h 6557032"/>
              <a:gd name="connsiteX36333" fmla="*/ 2685885 w 4610101"/>
              <a:gd name="connsiteY36333" fmla="*/ 531105 h 6557032"/>
              <a:gd name="connsiteX36334" fmla="*/ 2689529 w 4610101"/>
              <a:gd name="connsiteY36334" fmla="*/ 549326 h 6557032"/>
              <a:gd name="connsiteX36335" fmla="*/ 2691351 w 4610101"/>
              <a:gd name="connsiteY36335" fmla="*/ 536571 h 6557032"/>
              <a:gd name="connsiteX36336" fmla="*/ 2685885 w 4610101"/>
              <a:gd name="connsiteY36336" fmla="*/ 531105 h 6557032"/>
              <a:gd name="connsiteX36337" fmla="*/ 2153810 w 4610101"/>
              <a:gd name="connsiteY36337" fmla="*/ 531105 h 6557032"/>
              <a:gd name="connsiteX36338" fmla="*/ 2157454 w 4610101"/>
              <a:gd name="connsiteY36338" fmla="*/ 540215 h 6557032"/>
              <a:gd name="connsiteX36339" fmla="*/ 2161099 w 4610101"/>
              <a:gd name="connsiteY36339" fmla="*/ 532926 h 6557032"/>
              <a:gd name="connsiteX36340" fmla="*/ 2153810 w 4610101"/>
              <a:gd name="connsiteY36340" fmla="*/ 531105 h 6557032"/>
              <a:gd name="connsiteX36341" fmla="*/ 2113722 w 4610101"/>
              <a:gd name="connsiteY36341" fmla="*/ 531105 h 6557032"/>
              <a:gd name="connsiteX36342" fmla="*/ 2119189 w 4610101"/>
              <a:gd name="connsiteY36342" fmla="*/ 540215 h 6557032"/>
              <a:gd name="connsiteX36343" fmla="*/ 2119189 w 4610101"/>
              <a:gd name="connsiteY36343" fmla="*/ 531105 h 6557032"/>
              <a:gd name="connsiteX36344" fmla="*/ 2113722 w 4610101"/>
              <a:gd name="connsiteY36344" fmla="*/ 531105 h 6557032"/>
              <a:gd name="connsiteX36345" fmla="*/ 2104611 w 4610101"/>
              <a:gd name="connsiteY36345" fmla="*/ 531105 h 6557032"/>
              <a:gd name="connsiteX36346" fmla="*/ 2108256 w 4610101"/>
              <a:gd name="connsiteY36346" fmla="*/ 543860 h 6557032"/>
              <a:gd name="connsiteX36347" fmla="*/ 2104611 w 4610101"/>
              <a:gd name="connsiteY36347" fmla="*/ 531105 h 6557032"/>
              <a:gd name="connsiteX36348" fmla="*/ 1443162 w 4610101"/>
              <a:gd name="connsiteY36348" fmla="*/ 531105 h 6557032"/>
              <a:gd name="connsiteX36349" fmla="*/ 1442001 w 4610101"/>
              <a:gd name="connsiteY36349" fmla="*/ 541554 h 6557032"/>
              <a:gd name="connsiteX36350" fmla="*/ 1441112 w 4610101"/>
              <a:gd name="connsiteY36350" fmla="*/ 538393 h 6557032"/>
              <a:gd name="connsiteX36351" fmla="*/ 1443162 w 4610101"/>
              <a:gd name="connsiteY36351" fmla="*/ 531105 h 6557032"/>
              <a:gd name="connsiteX36352" fmla="*/ 1428585 w 4610101"/>
              <a:gd name="connsiteY36352" fmla="*/ 531105 h 6557032"/>
              <a:gd name="connsiteX36353" fmla="*/ 1428130 w 4610101"/>
              <a:gd name="connsiteY36353" fmla="*/ 547048 h 6557032"/>
              <a:gd name="connsiteX36354" fmla="*/ 1426886 w 4610101"/>
              <a:gd name="connsiteY36354" fmla="*/ 548947 h 6557032"/>
              <a:gd name="connsiteX36355" fmla="*/ 1237256 w 4610101"/>
              <a:gd name="connsiteY36355" fmla="*/ 531105 h 6557032"/>
              <a:gd name="connsiteX36356" fmla="*/ 1231790 w 4610101"/>
              <a:gd name="connsiteY36356" fmla="*/ 543860 h 6557032"/>
              <a:gd name="connsiteX36357" fmla="*/ 1237256 w 4610101"/>
              <a:gd name="connsiteY36357" fmla="*/ 531105 h 6557032"/>
              <a:gd name="connsiteX36358" fmla="*/ 1146637 w 4610101"/>
              <a:gd name="connsiteY36358" fmla="*/ 529416 h 6557032"/>
              <a:gd name="connsiteX36359" fmla="*/ 1147677 w 4610101"/>
              <a:gd name="connsiteY36359" fmla="*/ 533577 h 6557032"/>
              <a:gd name="connsiteX36360" fmla="*/ 1146148 w 4610101"/>
              <a:gd name="connsiteY36360" fmla="*/ 531105 h 6557032"/>
              <a:gd name="connsiteX36361" fmla="*/ 3028453 w 4610101"/>
              <a:gd name="connsiteY36361" fmla="*/ 529282 h 6557032"/>
              <a:gd name="connsiteX36362" fmla="*/ 3030408 w 4610101"/>
              <a:gd name="connsiteY36362" fmla="*/ 530586 h 6557032"/>
              <a:gd name="connsiteX36363" fmla="*/ 3029282 w 4610101"/>
              <a:gd name="connsiteY36363" fmla="*/ 531934 h 6557032"/>
              <a:gd name="connsiteX36364" fmla="*/ 2676774 w 4610101"/>
              <a:gd name="connsiteY36364" fmla="*/ 529282 h 6557032"/>
              <a:gd name="connsiteX36365" fmla="*/ 2667663 w 4610101"/>
              <a:gd name="connsiteY36365" fmla="*/ 531105 h 6557032"/>
              <a:gd name="connsiteX36366" fmla="*/ 2678596 w 4610101"/>
              <a:gd name="connsiteY36366" fmla="*/ 538393 h 6557032"/>
              <a:gd name="connsiteX36367" fmla="*/ 2676774 w 4610101"/>
              <a:gd name="connsiteY36367" fmla="*/ 529282 h 6557032"/>
              <a:gd name="connsiteX36368" fmla="*/ 2458113 w 4610101"/>
              <a:gd name="connsiteY36368" fmla="*/ 529282 h 6557032"/>
              <a:gd name="connsiteX36369" fmla="*/ 2456291 w 4610101"/>
              <a:gd name="connsiteY36369" fmla="*/ 540215 h 6557032"/>
              <a:gd name="connsiteX36370" fmla="*/ 2461757 w 4610101"/>
              <a:gd name="connsiteY36370" fmla="*/ 536571 h 6557032"/>
              <a:gd name="connsiteX36371" fmla="*/ 2459935 w 4610101"/>
              <a:gd name="connsiteY36371" fmla="*/ 531105 h 6557032"/>
              <a:gd name="connsiteX36372" fmla="*/ 2467224 w 4610101"/>
              <a:gd name="connsiteY36372" fmla="*/ 545681 h 6557032"/>
              <a:gd name="connsiteX36373" fmla="*/ 2474513 w 4610101"/>
              <a:gd name="connsiteY36373" fmla="*/ 540215 h 6557032"/>
              <a:gd name="connsiteX36374" fmla="*/ 2465402 w 4610101"/>
              <a:gd name="connsiteY36374" fmla="*/ 531105 h 6557032"/>
              <a:gd name="connsiteX36375" fmla="*/ 2458113 w 4610101"/>
              <a:gd name="connsiteY36375" fmla="*/ 529282 h 6557032"/>
              <a:gd name="connsiteX36376" fmla="*/ 2441713 w 4610101"/>
              <a:gd name="connsiteY36376" fmla="*/ 529282 h 6557032"/>
              <a:gd name="connsiteX36377" fmla="*/ 2449002 w 4610101"/>
              <a:gd name="connsiteY36377" fmla="*/ 556616 h 6557032"/>
              <a:gd name="connsiteX36378" fmla="*/ 2443536 w 4610101"/>
              <a:gd name="connsiteY36378" fmla="*/ 563904 h 6557032"/>
              <a:gd name="connsiteX36379" fmla="*/ 2441713 w 4610101"/>
              <a:gd name="connsiteY36379" fmla="*/ 562081 h 6557032"/>
              <a:gd name="connsiteX36380" fmla="*/ 2445358 w 4610101"/>
              <a:gd name="connsiteY36380" fmla="*/ 574836 h 6557032"/>
              <a:gd name="connsiteX36381" fmla="*/ 2445358 w 4610101"/>
              <a:gd name="connsiteY36381" fmla="*/ 569370 h 6557032"/>
              <a:gd name="connsiteX36382" fmla="*/ 2461757 w 4610101"/>
              <a:gd name="connsiteY36382" fmla="*/ 540215 h 6557032"/>
              <a:gd name="connsiteX36383" fmla="*/ 2456291 w 4610101"/>
              <a:gd name="connsiteY36383" fmla="*/ 549326 h 6557032"/>
              <a:gd name="connsiteX36384" fmla="*/ 2452647 w 4610101"/>
              <a:gd name="connsiteY36384" fmla="*/ 534749 h 6557032"/>
              <a:gd name="connsiteX36385" fmla="*/ 2445358 w 4610101"/>
              <a:gd name="connsiteY36385" fmla="*/ 534749 h 6557032"/>
              <a:gd name="connsiteX36386" fmla="*/ 2447180 w 4610101"/>
              <a:gd name="connsiteY36386" fmla="*/ 532926 h 6557032"/>
              <a:gd name="connsiteX36387" fmla="*/ 2441713 w 4610101"/>
              <a:gd name="connsiteY36387" fmla="*/ 529282 h 6557032"/>
              <a:gd name="connsiteX36388" fmla="*/ 2091856 w 4610101"/>
              <a:gd name="connsiteY36388" fmla="*/ 529282 h 6557032"/>
              <a:gd name="connsiteX36389" fmla="*/ 2097323 w 4610101"/>
              <a:gd name="connsiteY36389" fmla="*/ 536571 h 6557032"/>
              <a:gd name="connsiteX36390" fmla="*/ 2091856 w 4610101"/>
              <a:gd name="connsiteY36390" fmla="*/ 529282 h 6557032"/>
              <a:gd name="connsiteX36391" fmla="*/ 1100593 w 4610101"/>
              <a:gd name="connsiteY36391" fmla="*/ 529282 h 6557032"/>
              <a:gd name="connsiteX36392" fmla="*/ 1107882 w 4610101"/>
              <a:gd name="connsiteY36392" fmla="*/ 536571 h 6557032"/>
              <a:gd name="connsiteX36393" fmla="*/ 1100593 w 4610101"/>
              <a:gd name="connsiteY36393" fmla="*/ 529282 h 6557032"/>
              <a:gd name="connsiteX36394" fmla="*/ 863711 w 4610101"/>
              <a:gd name="connsiteY36394" fmla="*/ 529282 h 6557032"/>
              <a:gd name="connsiteX36395" fmla="*/ 861889 w 4610101"/>
              <a:gd name="connsiteY36395" fmla="*/ 536571 h 6557032"/>
              <a:gd name="connsiteX36396" fmla="*/ 863711 w 4610101"/>
              <a:gd name="connsiteY36396" fmla="*/ 529282 h 6557032"/>
              <a:gd name="connsiteX36397" fmla="*/ 847311 w 4610101"/>
              <a:gd name="connsiteY36397" fmla="*/ 529282 h 6557032"/>
              <a:gd name="connsiteX36398" fmla="*/ 845489 w 4610101"/>
              <a:gd name="connsiteY36398" fmla="*/ 536571 h 6557032"/>
              <a:gd name="connsiteX36399" fmla="*/ 847311 w 4610101"/>
              <a:gd name="connsiteY36399" fmla="*/ 529282 h 6557032"/>
              <a:gd name="connsiteX36400" fmla="*/ 484373 w 4610101"/>
              <a:gd name="connsiteY36400" fmla="*/ 528632 h 6557032"/>
              <a:gd name="connsiteX36401" fmla="*/ 488115 w 4610101"/>
              <a:gd name="connsiteY36401" fmla="*/ 531560 h 6557032"/>
              <a:gd name="connsiteX36402" fmla="*/ 491987 w 4610101"/>
              <a:gd name="connsiteY36402" fmla="*/ 538393 h 6557032"/>
              <a:gd name="connsiteX36403" fmla="*/ 486065 w 4610101"/>
              <a:gd name="connsiteY36403" fmla="*/ 532016 h 6557032"/>
              <a:gd name="connsiteX36404" fmla="*/ 2578377 w 4610101"/>
              <a:gd name="connsiteY36404" fmla="*/ 527461 h 6557032"/>
              <a:gd name="connsiteX36405" fmla="*/ 2578377 w 4610101"/>
              <a:gd name="connsiteY36405" fmla="*/ 540215 h 6557032"/>
              <a:gd name="connsiteX36406" fmla="*/ 2578377 w 4610101"/>
              <a:gd name="connsiteY36406" fmla="*/ 527461 h 6557032"/>
              <a:gd name="connsiteX36407" fmla="*/ 2520067 w 4610101"/>
              <a:gd name="connsiteY36407" fmla="*/ 527461 h 6557032"/>
              <a:gd name="connsiteX36408" fmla="*/ 2512778 w 4610101"/>
              <a:gd name="connsiteY36408" fmla="*/ 545681 h 6557032"/>
              <a:gd name="connsiteX36409" fmla="*/ 2527356 w 4610101"/>
              <a:gd name="connsiteY36409" fmla="*/ 532926 h 6557032"/>
              <a:gd name="connsiteX36410" fmla="*/ 2520067 w 4610101"/>
              <a:gd name="connsiteY36410" fmla="*/ 527461 h 6557032"/>
              <a:gd name="connsiteX36411" fmla="*/ 2006214 w 4610101"/>
              <a:gd name="connsiteY36411" fmla="*/ 527461 h 6557032"/>
              <a:gd name="connsiteX36412" fmla="*/ 2002570 w 4610101"/>
              <a:gd name="connsiteY36412" fmla="*/ 542037 h 6557032"/>
              <a:gd name="connsiteX36413" fmla="*/ 2006214 w 4610101"/>
              <a:gd name="connsiteY36413" fmla="*/ 527461 h 6557032"/>
              <a:gd name="connsiteX36414" fmla="*/ 1146148 w 4610101"/>
              <a:gd name="connsiteY36414" fmla="*/ 527461 h 6557032"/>
              <a:gd name="connsiteX36415" fmla="*/ 1146834 w 4610101"/>
              <a:gd name="connsiteY36415" fmla="*/ 528735 h 6557032"/>
              <a:gd name="connsiteX36416" fmla="*/ 1146637 w 4610101"/>
              <a:gd name="connsiteY36416" fmla="*/ 529416 h 6557032"/>
              <a:gd name="connsiteX36417" fmla="*/ 952997 w 4610101"/>
              <a:gd name="connsiteY36417" fmla="*/ 527461 h 6557032"/>
              <a:gd name="connsiteX36418" fmla="*/ 947531 w 4610101"/>
              <a:gd name="connsiteY36418" fmla="*/ 529282 h 6557032"/>
              <a:gd name="connsiteX36419" fmla="*/ 949353 w 4610101"/>
              <a:gd name="connsiteY36419" fmla="*/ 536571 h 6557032"/>
              <a:gd name="connsiteX36420" fmla="*/ 952997 w 4610101"/>
              <a:gd name="connsiteY36420" fmla="*/ 527461 h 6557032"/>
              <a:gd name="connsiteX36421" fmla="*/ 1147484 w 4610101"/>
              <a:gd name="connsiteY36421" fmla="*/ 526488 h 6557032"/>
              <a:gd name="connsiteX36422" fmla="*/ 1149792 w 4610101"/>
              <a:gd name="connsiteY36422" fmla="*/ 531105 h 6557032"/>
              <a:gd name="connsiteX36423" fmla="*/ 1147899 w 4610101"/>
              <a:gd name="connsiteY36423" fmla="*/ 533412 h 6557032"/>
              <a:gd name="connsiteX36424" fmla="*/ 1147742 w 4610101"/>
              <a:gd name="connsiteY36424" fmla="*/ 530421 h 6557032"/>
              <a:gd name="connsiteX36425" fmla="*/ 1146834 w 4610101"/>
              <a:gd name="connsiteY36425" fmla="*/ 528735 h 6557032"/>
              <a:gd name="connsiteX36426" fmla="*/ 932624 w 4610101"/>
              <a:gd name="connsiteY36426" fmla="*/ 526204 h 6557032"/>
              <a:gd name="connsiteX36427" fmla="*/ 934549 w 4610101"/>
              <a:gd name="connsiteY36427" fmla="*/ 529282 h 6557032"/>
              <a:gd name="connsiteX36428" fmla="*/ 936598 w 4610101"/>
              <a:gd name="connsiteY36428" fmla="*/ 534749 h 6557032"/>
              <a:gd name="connsiteX36429" fmla="*/ 937371 w 4610101"/>
              <a:gd name="connsiteY36429" fmla="*/ 534749 h 6557032"/>
              <a:gd name="connsiteX36430" fmla="*/ 936598 w 4610101"/>
              <a:gd name="connsiteY36430" fmla="*/ 538393 h 6557032"/>
              <a:gd name="connsiteX36431" fmla="*/ 929537 w 4610101"/>
              <a:gd name="connsiteY36431" fmla="*/ 532244 h 6557032"/>
              <a:gd name="connsiteX36432" fmla="*/ 2308695 w 4610101"/>
              <a:gd name="connsiteY36432" fmla="*/ 525638 h 6557032"/>
              <a:gd name="connsiteX36433" fmla="*/ 2311633 w 4610101"/>
              <a:gd name="connsiteY36433" fmla="*/ 531882 h 6557032"/>
              <a:gd name="connsiteX36434" fmla="*/ 2307120 w 4610101"/>
              <a:gd name="connsiteY36434" fmla="*/ 527213 h 6557032"/>
              <a:gd name="connsiteX36435" fmla="*/ 996729 w 4610101"/>
              <a:gd name="connsiteY36435" fmla="*/ 525638 h 6557032"/>
              <a:gd name="connsiteX36436" fmla="*/ 989441 w 4610101"/>
              <a:gd name="connsiteY36436" fmla="*/ 545681 h 6557032"/>
              <a:gd name="connsiteX36437" fmla="*/ 988854 w 4610101"/>
              <a:gd name="connsiteY36437" fmla="*/ 544505 h 6557032"/>
              <a:gd name="connsiteX36438" fmla="*/ 995004 w 4610101"/>
              <a:gd name="connsiteY36438" fmla="*/ 527471 h 6557032"/>
              <a:gd name="connsiteX36439" fmla="*/ 971219 w 4610101"/>
              <a:gd name="connsiteY36439" fmla="*/ 525638 h 6557032"/>
              <a:gd name="connsiteX36440" fmla="*/ 971015 w 4610101"/>
              <a:gd name="connsiteY36440" fmla="*/ 526659 h 6557032"/>
              <a:gd name="connsiteX36441" fmla="*/ 970694 w 4610101"/>
              <a:gd name="connsiteY36441" fmla="*/ 527081 h 6557032"/>
              <a:gd name="connsiteX36442" fmla="*/ 482876 w 4610101"/>
              <a:gd name="connsiteY36442" fmla="*/ 525638 h 6557032"/>
              <a:gd name="connsiteX36443" fmla="*/ 484373 w 4610101"/>
              <a:gd name="connsiteY36443" fmla="*/ 528632 h 6557032"/>
              <a:gd name="connsiteX36444" fmla="*/ 482876 w 4610101"/>
              <a:gd name="connsiteY36444" fmla="*/ 527461 h 6557032"/>
              <a:gd name="connsiteX36445" fmla="*/ 2332383 w 4610101"/>
              <a:gd name="connsiteY36445" fmla="*/ 523815 h 6557032"/>
              <a:gd name="connsiteX36446" fmla="*/ 2332383 w 4610101"/>
              <a:gd name="connsiteY36446" fmla="*/ 532926 h 6557032"/>
              <a:gd name="connsiteX36447" fmla="*/ 2332383 w 4610101"/>
              <a:gd name="connsiteY36447" fmla="*/ 523815 h 6557032"/>
              <a:gd name="connsiteX36448" fmla="*/ 1215390 w 4610101"/>
              <a:gd name="connsiteY36448" fmla="*/ 523815 h 6557032"/>
              <a:gd name="connsiteX36449" fmla="*/ 1215390 w 4610101"/>
              <a:gd name="connsiteY36449" fmla="*/ 554792 h 6557032"/>
              <a:gd name="connsiteX36450" fmla="*/ 1215390 w 4610101"/>
              <a:gd name="connsiteY36450" fmla="*/ 523815 h 6557032"/>
              <a:gd name="connsiteX36451" fmla="*/ 1146148 w 4610101"/>
              <a:gd name="connsiteY36451" fmla="*/ 523815 h 6557032"/>
              <a:gd name="connsiteX36452" fmla="*/ 1147916 w 4610101"/>
              <a:gd name="connsiteY36452" fmla="*/ 524995 h 6557032"/>
              <a:gd name="connsiteX36453" fmla="*/ 1147484 w 4610101"/>
              <a:gd name="connsiteY36453" fmla="*/ 526488 h 6557032"/>
              <a:gd name="connsiteX36454" fmla="*/ 1016774 w 4610101"/>
              <a:gd name="connsiteY36454" fmla="*/ 523815 h 6557032"/>
              <a:gd name="connsiteX36455" fmla="*/ 1011307 w 4610101"/>
              <a:gd name="connsiteY36455" fmla="*/ 531105 h 6557032"/>
              <a:gd name="connsiteX36456" fmla="*/ 1016774 w 4610101"/>
              <a:gd name="connsiteY36456" fmla="*/ 523815 h 6557032"/>
              <a:gd name="connsiteX36457" fmla="*/ 867355 w 4610101"/>
              <a:gd name="connsiteY36457" fmla="*/ 523815 h 6557032"/>
              <a:gd name="connsiteX36458" fmla="*/ 871000 w 4610101"/>
              <a:gd name="connsiteY36458" fmla="*/ 540215 h 6557032"/>
              <a:gd name="connsiteX36459" fmla="*/ 867355 w 4610101"/>
              <a:gd name="connsiteY36459" fmla="*/ 523815 h 6557032"/>
              <a:gd name="connsiteX36460" fmla="*/ 256927 w 4610101"/>
              <a:gd name="connsiteY36460" fmla="*/ 523815 h 6557032"/>
              <a:gd name="connsiteX36461" fmla="*/ 261482 w 4610101"/>
              <a:gd name="connsiteY36461" fmla="*/ 532927 h 6557032"/>
              <a:gd name="connsiteX36462" fmla="*/ 261420 w 4610101"/>
              <a:gd name="connsiteY36462" fmla="*/ 533544 h 6557032"/>
              <a:gd name="connsiteX36463" fmla="*/ 258033 w 4610101"/>
              <a:gd name="connsiteY36463" fmla="*/ 529346 h 6557032"/>
              <a:gd name="connsiteX36464" fmla="*/ 1116993 w 4610101"/>
              <a:gd name="connsiteY36464" fmla="*/ 522803 h 6557032"/>
              <a:gd name="connsiteX36465" fmla="*/ 1117221 w 4610101"/>
              <a:gd name="connsiteY36465" fmla="*/ 523132 h 6557032"/>
              <a:gd name="connsiteX36466" fmla="*/ 1116993 w 4610101"/>
              <a:gd name="connsiteY36466" fmla="*/ 523613 h 6557032"/>
              <a:gd name="connsiteX36467" fmla="*/ 468804 w 4610101"/>
              <a:gd name="connsiteY36467" fmla="*/ 522708 h 6557032"/>
              <a:gd name="connsiteX36468" fmla="*/ 482876 w 4610101"/>
              <a:gd name="connsiteY36468" fmla="*/ 532926 h 6557032"/>
              <a:gd name="connsiteX36469" fmla="*/ 482876 w 4610101"/>
              <a:gd name="connsiteY36469" fmla="*/ 529282 h 6557032"/>
              <a:gd name="connsiteX36470" fmla="*/ 482876 w 4610101"/>
              <a:gd name="connsiteY36470" fmla="*/ 527461 h 6557032"/>
              <a:gd name="connsiteX36471" fmla="*/ 485579 w 4610101"/>
              <a:gd name="connsiteY36471" fmla="*/ 536245 h 6557032"/>
              <a:gd name="connsiteX36472" fmla="*/ 481054 w 4610101"/>
              <a:gd name="connsiteY36472" fmla="*/ 532926 h 6557032"/>
              <a:gd name="connsiteX36473" fmla="*/ 484472 w 4610101"/>
              <a:gd name="connsiteY36473" fmla="*/ 539988 h 6557032"/>
              <a:gd name="connsiteX36474" fmla="*/ 487418 w 4610101"/>
              <a:gd name="connsiteY36474" fmla="*/ 542220 h 6557032"/>
              <a:gd name="connsiteX36475" fmla="*/ 489254 w 4610101"/>
              <a:gd name="connsiteY36475" fmla="*/ 548187 h 6557032"/>
              <a:gd name="connsiteX36476" fmla="*/ 491039 w 4610101"/>
              <a:gd name="connsiteY36476" fmla="*/ 551105 h 6557032"/>
              <a:gd name="connsiteX36477" fmla="*/ 478093 w 4610101"/>
              <a:gd name="connsiteY36477" fmla="*/ 536116 h 6557032"/>
              <a:gd name="connsiteX36478" fmla="*/ 2192076 w 4610101"/>
              <a:gd name="connsiteY36478" fmla="*/ 521993 h 6557032"/>
              <a:gd name="connsiteX36479" fmla="*/ 2186609 w 4610101"/>
              <a:gd name="connsiteY36479" fmla="*/ 523815 h 6557032"/>
              <a:gd name="connsiteX36480" fmla="*/ 2192076 w 4610101"/>
              <a:gd name="connsiteY36480" fmla="*/ 527461 h 6557032"/>
              <a:gd name="connsiteX36481" fmla="*/ 2192076 w 4610101"/>
              <a:gd name="connsiteY36481" fmla="*/ 521993 h 6557032"/>
              <a:gd name="connsiteX36482" fmla="*/ 962108 w 4610101"/>
              <a:gd name="connsiteY36482" fmla="*/ 521993 h 6557032"/>
              <a:gd name="connsiteX36483" fmla="*/ 952997 w 4610101"/>
              <a:gd name="connsiteY36483" fmla="*/ 547504 h 6557032"/>
              <a:gd name="connsiteX36484" fmla="*/ 949353 w 4610101"/>
              <a:gd name="connsiteY36484" fmla="*/ 545681 h 6557032"/>
              <a:gd name="connsiteX36485" fmla="*/ 947531 w 4610101"/>
              <a:gd name="connsiteY36485" fmla="*/ 551148 h 6557032"/>
              <a:gd name="connsiteX36486" fmla="*/ 952997 w 4610101"/>
              <a:gd name="connsiteY36486" fmla="*/ 547504 h 6557032"/>
              <a:gd name="connsiteX36487" fmla="*/ 958464 w 4610101"/>
              <a:gd name="connsiteY36487" fmla="*/ 542037 h 6557032"/>
              <a:gd name="connsiteX36488" fmla="*/ 960286 w 4610101"/>
              <a:gd name="connsiteY36488" fmla="*/ 529282 h 6557032"/>
              <a:gd name="connsiteX36489" fmla="*/ 962108 w 4610101"/>
              <a:gd name="connsiteY36489" fmla="*/ 531105 h 6557032"/>
              <a:gd name="connsiteX36490" fmla="*/ 962108 w 4610101"/>
              <a:gd name="connsiteY36490" fmla="*/ 521993 h 6557032"/>
              <a:gd name="connsiteX36491" fmla="*/ 925666 w 4610101"/>
              <a:gd name="connsiteY36491" fmla="*/ 521993 h 6557032"/>
              <a:gd name="connsiteX36492" fmla="*/ 925666 w 4610101"/>
              <a:gd name="connsiteY36492" fmla="*/ 525638 h 6557032"/>
              <a:gd name="connsiteX36493" fmla="*/ 925666 w 4610101"/>
              <a:gd name="connsiteY36493" fmla="*/ 521993 h 6557032"/>
              <a:gd name="connsiteX36494" fmla="*/ 621362 w 4610101"/>
              <a:gd name="connsiteY36494" fmla="*/ 521993 h 6557032"/>
              <a:gd name="connsiteX36495" fmla="*/ 621590 w 4610101"/>
              <a:gd name="connsiteY36495" fmla="*/ 522358 h 6557032"/>
              <a:gd name="connsiteX36496" fmla="*/ 620922 w 4610101"/>
              <a:gd name="connsiteY36496" fmla="*/ 523634 h 6557032"/>
              <a:gd name="connsiteX36497" fmla="*/ 3442087 w 4610101"/>
              <a:gd name="connsiteY36497" fmla="*/ 520171 h 6557032"/>
              <a:gd name="connsiteX36498" fmla="*/ 3442087 w 4610101"/>
              <a:gd name="connsiteY36498" fmla="*/ 532926 h 6557032"/>
              <a:gd name="connsiteX36499" fmla="*/ 3438443 w 4610101"/>
              <a:gd name="connsiteY36499" fmla="*/ 529282 h 6557032"/>
              <a:gd name="connsiteX36500" fmla="*/ 3445731 w 4610101"/>
              <a:gd name="connsiteY36500" fmla="*/ 558437 h 6557032"/>
              <a:gd name="connsiteX36501" fmla="*/ 3453020 w 4610101"/>
              <a:gd name="connsiteY36501" fmla="*/ 554792 h 6557032"/>
              <a:gd name="connsiteX36502" fmla="*/ 3442087 w 4610101"/>
              <a:gd name="connsiteY36502" fmla="*/ 520171 h 6557032"/>
              <a:gd name="connsiteX36503" fmla="*/ 3239826 w 4610101"/>
              <a:gd name="connsiteY36503" fmla="*/ 520171 h 6557032"/>
              <a:gd name="connsiteX36504" fmla="*/ 3234359 w 4610101"/>
              <a:gd name="connsiteY36504" fmla="*/ 532926 h 6557032"/>
              <a:gd name="connsiteX36505" fmla="*/ 3241648 w 4610101"/>
              <a:gd name="connsiteY36505" fmla="*/ 531105 h 6557032"/>
              <a:gd name="connsiteX36506" fmla="*/ 3239826 w 4610101"/>
              <a:gd name="connsiteY36506" fmla="*/ 520171 h 6557032"/>
              <a:gd name="connsiteX36507" fmla="*/ 2993832 w 4610101"/>
              <a:gd name="connsiteY36507" fmla="*/ 520171 h 6557032"/>
              <a:gd name="connsiteX36508" fmla="*/ 2992010 w 4610101"/>
              <a:gd name="connsiteY36508" fmla="*/ 529282 h 6557032"/>
              <a:gd name="connsiteX36509" fmla="*/ 2993832 w 4610101"/>
              <a:gd name="connsiteY36509" fmla="*/ 520171 h 6557032"/>
              <a:gd name="connsiteX36510" fmla="*/ 2986543 w 4610101"/>
              <a:gd name="connsiteY36510" fmla="*/ 520171 h 6557032"/>
              <a:gd name="connsiteX36511" fmla="*/ 2981077 w 4610101"/>
              <a:gd name="connsiteY36511" fmla="*/ 540215 h 6557032"/>
              <a:gd name="connsiteX36512" fmla="*/ 2988366 w 4610101"/>
              <a:gd name="connsiteY36512" fmla="*/ 534749 h 6557032"/>
              <a:gd name="connsiteX36513" fmla="*/ 2986543 w 4610101"/>
              <a:gd name="connsiteY36513" fmla="*/ 520171 h 6557032"/>
              <a:gd name="connsiteX36514" fmla="*/ 2879035 w 4610101"/>
              <a:gd name="connsiteY36514" fmla="*/ 520171 h 6557032"/>
              <a:gd name="connsiteX36515" fmla="*/ 2884502 w 4610101"/>
              <a:gd name="connsiteY36515" fmla="*/ 527461 h 6557032"/>
              <a:gd name="connsiteX36516" fmla="*/ 2884502 w 4610101"/>
              <a:gd name="connsiteY36516" fmla="*/ 520171 h 6557032"/>
              <a:gd name="connsiteX36517" fmla="*/ 2879035 w 4610101"/>
              <a:gd name="connsiteY36517" fmla="*/ 520171 h 6557032"/>
              <a:gd name="connsiteX36518" fmla="*/ 2671307 w 4610101"/>
              <a:gd name="connsiteY36518" fmla="*/ 520171 h 6557032"/>
              <a:gd name="connsiteX36519" fmla="*/ 2671307 w 4610101"/>
              <a:gd name="connsiteY36519" fmla="*/ 525638 h 6557032"/>
              <a:gd name="connsiteX36520" fmla="*/ 2671307 w 4610101"/>
              <a:gd name="connsiteY36520" fmla="*/ 520171 h 6557032"/>
              <a:gd name="connsiteX36521" fmla="*/ 2501845 w 4610101"/>
              <a:gd name="connsiteY36521" fmla="*/ 520171 h 6557032"/>
              <a:gd name="connsiteX36522" fmla="*/ 2496379 w 4610101"/>
              <a:gd name="connsiteY36522" fmla="*/ 527461 h 6557032"/>
              <a:gd name="connsiteX36523" fmla="*/ 2509134 w 4610101"/>
              <a:gd name="connsiteY36523" fmla="*/ 540215 h 6557032"/>
              <a:gd name="connsiteX36524" fmla="*/ 2501845 w 4610101"/>
              <a:gd name="connsiteY36524" fmla="*/ 520171 h 6557032"/>
              <a:gd name="connsiteX36525" fmla="*/ 2489090 w 4610101"/>
              <a:gd name="connsiteY36525" fmla="*/ 520171 h 6557032"/>
              <a:gd name="connsiteX36526" fmla="*/ 2485446 w 4610101"/>
              <a:gd name="connsiteY36526" fmla="*/ 521993 h 6557032"/>
              <a:gd name="connsiteX36527" fmla="*/ 2487268 w 4610101"/>
              <a:gd name="connsiteY36527" fmla="*/ 527461 h 6557032"/>
              <a:gd name="connsiteX36528" fmla="*/ 2489090 w 4610101"/>
              <a:gd name="connsiteY36528" fmla="*/ 520171 h 6557032"/>
              <a:gd name="connsiteX36529" fmla="*/ 1248189 w 4610101"/>
              <a:gd name="connsiteY36529" fmla="*/ 520171 h 6557032"/>
              <a:gd name="connsiteX36530" fmla="*/ 1246367 w 4610101"/>
              <a:gd name="connsiteY36530" fmla="*/ 545681 h 6557032"/>
              <a:gd name="connsiteX36531" fmla="*/ 1250012 w 4610101"/>
              <a:gd name="connsiteY36531" fmla="*/ 543860 h 6557032"/>
              <a:gd name="connsiteX36532" fmla="*/ 1217213 w 4610101"/>
              <a:gd name="connsiteY36532" fmla="*/ 569370 h 6557032"/>
              <a:gd name="connsiteX36533" fmla="*/ 1229969 w 4610101"/>
              <a:gd name="connsiteY36533" fmla="*/ 563904 h 6557032"/>
              <a:gd name="connsiteX36534" fmla="*/ 1226323 w 4610101"/>
              <a:gd name="connsiteY36534" fmla="*/ 569370 h 6557032"/>
              <a:gd name="connsiteX36535" fmla="*/ 1229969 w 4610101"/>
              <a:gd name="connsiteY36535" fmla="*/ 569370 h 6557032"/>
              <a:gd name="connsiteX36536" fmla="*/ 1219036 w 4610101"/>
              <a:gd name="connsiteY36536" fmla="*/ 573014 h 6557032"/>
              <a:gd name="connsiteX36537" fmla="*/ 1222679 w 4610101"/>
              <a:gd name="connsiteY36537" fmla="*/ 578481 h 6557032"/>
              <a:gd name="connsiteX36538" fmla="*/ 1217213 w 4610101"/>
              <a:gd name="connsiteY36538" fmla="*/ 573014 h 6557032"/>
              <a:gd name="connsiteX36539" fmla="*/ 1208170 w 4610101"/>
              <a:gd name="connsiteY36539" fmla="*/ 582057 h 6557032"/>
              <a:gd name="connsiteX36540" fmla="*/ 1204457 w 4610101"/>
              <a:gd name="connsiteY36540" fmla="*/ 578481 h 6557032"/>
              <a:gd name="connsiteX36541" fmla="*/ 1197169 w 4610101"/>
              <a:gd name="connsiteY36541" fmla="*/ 598524 h 6557032"/>
              <a:gd name="connsiteX36542" fmla="*/ 1195346 w 4610101"/>
              <a:gd name="connsiteY36542" fmla="*/ 591236 h 6557032"/>
              <a:gd name="connsiteX36543" fmla="*/ 1191703 w 4610101"/>
              <a:gd name="connsiteY36543" fmla="*/ 583947 h 6557032"/>
              <a:gd name="connsiteX36544" fmla="*/ 1189880 w 4610101"/>
              <a:gd name="connsiteY36544" fmla="*/ 593058 h 6557032"/>
              <a:gd name="connsiteX36545" fmla="*/ 1195346 w 4610101"/>
              <a:gd name="connsiteY36545" fmla="*/ 591236 h 6557032"/>
              <a:gd name="connsiteX36546" fmla="*/ 1191342 w 4610101"/>
              <a:gd name="connsiteY36546" fmla="*/ 604724 h 6557032"/>
              <a:gd name="connsiteX36547" fmla="*/ 1191703 w 4610101"/>
              <a:gd name="connsiteY36547" fmla="*/ 602169 h 6557032"/>
              <a:gd name="connsiteX36548" fmla="*/ 1178947 w 4610101"/>
              <a:gd name="connsiteY36548" fmla="*/ 622213 h 6557032"/>
              <a:gd name="connsiteX36549" fmla="*/ 1180769 w 4610101"/>
              <a:gd name="connsiteY36549" fmla="*/ 618568 h 6557032"/>
              <a:gd name="connsiteX36550" fmla="*/ 1178947 w 4610101"/>
              <a:gd name="connsiteY36550" fmla="*/ 627679 h 6557032"/>
              <a:gd name="connsiteX36551" fmla="*/ 1188264 w 4610101"/>
              <a:gd name="connsiteY36551" fmla="*/ 619375 h 6557032"/>
              <a:gd name="connsiteX36552" fmla="*/ 1188058 w 4610101"/>
              <a:gd name="connsiteY36552" fmla="*/ 620391 h 6557032"/>
              <a:gd name="connsiteX36553" fmla="*/ 1188969 w 4610101"/>
              <a:gd name="connsiteY36553" fmla="*/ 619252 h 6557032"/>
              <a:gd name="connsiteX36554" fmla="*/ 1189241 w 4610101"/>
              <a:gd name="connsiteY36554" fmla="*/ 618505 h 6557032"/>
              <a:gd name="connsiteX36555" fmla="*/ 1189424 w 4610101"/>
              <a:gd name="connsiteY36555" fmla="*/ 618341 h 6557032"/>
              <a:gd name="connsiteX36556" fmla="*/ 1189504 w 4610101"/>
              <a:gd name="connsiteY36556" fmla="*/ 617784 h 6557032"/>
              <a:gd name="connsiteX36557" fmla="*/ 1189880 w 4610101"/>
              <a:gd name="connsiteY36557" fmla="*/ 616746 h 6557032"/>
              <a:gd name="connsiteX36558" fmla="*/ 1189880 w 4610101"/>
              <a:gd name="connsiteY36558" fmla="*/ 622213 h 6557032"/>
              <a:gd name="connsiteX36559" fmla="*/ 1195346 w 4610101"/>
              <a:gd name="connsiteY36559" fmla="*/ 607635 h 6557032"/>
              <a:gd name="connsiteX36560" fmla="*/ 1191703 w 4610101"/>
              <a:gd name="connsiteY36560" fmla="*/ 603991 h 6557032"/>
              <a:gd name="connsiteX36561" fmla="*/ 1197169 w 4610101"/>
              <a:gd name="connsiteY36561" fmla="*/ 603991 h 6557032"/>
              <a:gd name="connsiteX36562" fmla="*/ 1200814 w 4610101"/>
              <a:gd name="connsiteY36562" fmla="*/ 596702 h 6557032"/>
              <a:gd name="connsiteX36563" fmla="*/ 1193525 w 4610101"/>
              <a:gd name="connsiteY36563" fmla="*/ 620391 h 6557032"/>
              <a:gd name="connsiteX36564" fmla="*/ 1198991 w 4610101"/>
              <a:gd name="connsiteY36564" fmla="*/ 613103 h 6557032"/>
              <a:gd name="connsiteX36565" fmla="*/ 1193525 w 4610101"/>
              <a:gd name="connsiteY36565" fmla="*/ 625857 h 6557032"/>
              <a:gd name="connsiteX36566" fmla="*/ 1204457 w 4610101"/>
              <a:gd name="connsiteY36566" fmla="*/ 620391 h 6557032"/>
              <a:gd name="connsiteX36567" fmla="*/ 1204457 w 4610101"/>
              <a:gd name="connsiteY36567" fmla="*/ 627679 h 6557032"/>
              <a:gd name="connsiteX36568" fmla="*/ 1209925 w 4610101"/>
              <a:gd name="connsiteY36568" fmla="*/ 624035 h 6557032"/>
              <a:gd name="connsiteX36569" fmla="*/ 1206279 w 4610101"/>
              <a:gd name="connsiteY36569" fmla="*/ 620391 h 6557032"/>
              <a:gd name="connsiteX36570" fmla="*/ 1211747 w 4610101"/>
              <a:gd name="connsiteY36570" fmla="*/ 624035 h 6557032"/>
              <a:gd name="connsiteX36571" fmla="*/ 1217213 w 4610101"/>
              <a:gd name="connsiteY36571" fmla="*/ 613103 h 6557032"/>
              <a:gd name="connsiteX36572" fmla="*/ 1220858 w 4610101"/>
              <a:gd name="connsiteY36572" fmla="*/ 618568 h 6557032"/>
              <a:gd name="connsiteX36573" fmla="*/ 1222679 w 4610101"/>
              <a:gd name="connsiteY36573" fmla="*/ 618568 h 6557032"/>
              <a:gd name="connsiteX36574" fmla="*/ 1226323 w 4610101"/>
              <a:gd name="connsiteY36574" fmla="*/ 613103 h 6557032"/>
              <a:gd name="connsiteX36575" fmla="*/ 1226323 w 4610101"/>
              <a:gd name="connsiteY36575" fmla="*/ 602169 h 6557032"/>
              <a:gd name="connsiteX36576" fmla="*/ 1218533 w 4610101"/>
              <a:gd name="connsiteY36576" fmla="*/ 592525 h 6557032"/>
              <a:gd name="connsiteX36577" fmla="*/ 1226323 w 4610101"/>
              <a:gd name="connsiteY36577" fmla="*/ 594880 h 6557032"/>
              <a:gd name="connsiteX36578" fmla="*/ 1233612 w 4610101"/>
              <a:gd name="connsiteY36578" fmla="*/ 611280 h 6557032"/>
              <a:gd name="connsiteX36579" fmla="*/ 1234028 w 4610101"/>
              <a:gd name="connsiteY36579" fmla="*/ 610221 h 6557032"/>
              <a:gd name="connsiteX36580" fmla="*/ 1244545 w 4610101"/>
              <a:gd name="connsiteY36580" fmla="*/ 629501 h 6557032"/>
              <a:gd name="connsiteX36581" fmla="*/ 1248189 w 4610101"/>
              <a:gd name="connsiteY36581" fmla="*/ 627679 h 6557032"/>
              <a:gd name="connsiteX36582" fmla="*/ 1244545 w 4610101"/>
              <a:gd name="connsiteY36582" fmla="*/ 625857 h 6557032"/>
              <a:gd name="connsiteX36583" fmla="*/ 1248189 w 4610101"/>
              <a:gd name="connsiteY36583" fmla="*/ 625857 h 6557032"/>
              <a:gd name="connsiteX36584" fmla="*/ 1240901 w 4610101"/>
              <a:gd name="connsiteY36584" fmla="*/ 618568 h 6557032"/>
              <a:gd name="connsiteX36585" fmla="*/ 1244545 w 4610101"/>
              <a:gd name="connsiteY36585" fmla="*/ 620391 h 6557032"/>
              <a:gd name="connsiteX36586" fmla="*/ 1242723 w 4610101"/>
              <a:gd name="connsiteY36586" fmla="*/ 616746 h 6557032"/>
              <a:gd name="connsiteX36587" fmla="*/ 1250012 w 4610101"/>
              <a:gd name="connsiteY36587" fmla="*/ 620391 h 6557032"/>
              <a:gd name="connsiteX36588" fmla="*/ 1248189 w 4610101"/>
              <a:gd name="connsiteY36588" fmla="*/ 622213 h 6557032"/>
              <a:gd name="connsiteX36589" fmla="*/ 1251834 w 4610101"/>
              <a:gd name="connsiteY36589" fmla="*/ 625857 h 6557032"/>
              <a:gd name="connsiteX36590" fmla="*/ 1251834 w 4610101"/>
              <a:gd name="connsiteY36590" fmla="*/ 618568 h 6557032"/>
              <a:gd name="connsiteX36591" fmla="*/ 1255478 w 4610101"/>
              <a:gd name="connsiteY36591" fmla="*/ 614924 h 6557032"/>
              <a:gd name="connsiteX36592" fmla="*/ 1255478 w 4610101"/>
              <a:gd name="connsiteY36592" fmla="*/ 605813 h 6557032"/>
              <a:gd name="connsiteX36593" fmla="*/ 1260945 w 4610101"/>
              <a:gd name="connsiteY36593" fmla="*/ 620391 h 6557032"/>
              <a:gd name="connsiteX36594" fmla="*/ 1259123 w 4610101"/>
              <a:gd name="connsiteY36594" fmla="*/ 600347 h 6557032"/>
              <a:gd name="connsiteX36595" fmla="*/ 1262767 w 4610101"/>
              <a:gd name="connsiteY36595" fmla="*/ 616746 h 6557032"/>
              <a:gd name="connsiteX36596" fmla="*/ 1265273 w 4610101"/>
              <a:gd name="connsiteY36596" fmla="*/ 607180 h 6557032"/>
              <a:gd name="connsiteX36597" fmla="*/ 1255604 w 4610101"/>
              <a:gd name="connsiteY36597" fmla="*/ 595039 h 6557032"/>
              <a:gd name="connsiteX36598" fmla="*/ 1256247 w 4610101"/>
              <a:gd name="connsiteY36598" fmla="*/ 586538 h 6557032"/>
              <a:gd name="connsiteX36599" fmla="*/ 1239080 w 4610101"/>
              <a:gd name="connsiteY36599" fmla="*/ 552970 h 6557032"/>
              <a:gd name="connsiteX36600" fmla="*/ 1242723 w 4610101"/>
              <a:gd name="connsiteY36600" fmla="*/ 552970 h 6557032"/>
              <a:gd name="connsiteX36601" fmla="*/ 1242723 w 4610101"/>
              <a:gd name="connsiteY36601" fmla="*/ 556616 h 6557032"/>
              <a:gd name="connsiteX36602" fmla="*/ 1271878 w 4610101"/>
              <a:gd name="connsiteY36602" fmla="*/ 609459 h 6557032"/>
              <a:gd name="connsiteX36603" fmla="*/ 1270056 w 4610101"/>
              <a:gd name="connsiteY36603" fmla="*/ 574836 h 6557032"/>
              <a:gd name="connsiteX36604" fmla="*/ 1250012 w 4610101"/>
              <a:gd name="connsiteY36604" fmla="*/ 527461 h 6557032"/>
              <a:gd name="connsiteX36605" fmla="*/ 1248189 w 4610101"/>
              <a:gd name="connsiteY36605" fmla="*/ 520171 h 6557032"/>
              <a:gd name="connsiteX36606" fmla="*/ 1115171 w 4610101"/>
              <a:gd name="connsiteY36606" fmla="*/ 520171 h 6557032"/>
              <a:gd name="connsiteX36607" fmla="*/ 1115724 w 4610101"/>
              <a:gd name="connsiteY36607" fmla="*/ 520969 h 6557032"/>
              <a:gd name="connsiteX36608" fmla="*/ 1115171 w 4610101"/>
              <a:gd name="connsiteY36608" fmla="*/ 522904 h 6557032"/>
              <a:gd name="connsiteX36609" fmla="*/ 641407 w 4610101"/>
              <a:gd name="connsiteY36609" fmla="*/ 520171 h 6557032"/>
              <a:gd name="connsiteX36610" fmla="*/ 637761 w 4610101"/>
              <a:gd name="connsiteY36610" fmla="*/ 525638 h 6557032"/>
              <a:gd name="connsiteX36611" fmla="*/ 641407 w 4610101"/>
              <a:gd name="connsiteY36611" fmla="*/ 520171 h 6557032"/>
              <a:gd name="connsiteX36612" fmla="*/ 660350 w 4610101"/>
              <a:gd name="connsiteY36612" fmla="*/ 518504 h 6557032"/>
              <a:gd name="connsiteX36613" fmla="*/ 660994 w 4610101"/>
              <a:gd name="connsiteY36613" fmla="*/ 521766 h 6557032"/>
              <a:gd name="connsiteX36614" fmla="*/ 655983 w 4610101"/>
              <a:gd name="connsiteY36614" fmla="*/ 536571 h 6557032"/>
              <a:gd name="connsiteX36615" fmla="*/ 655830 w 4610101"/>
              <a:gd name="connsiteY36615" fmla="*/ 536263 h 6557032"/>
              <a:gd name="connsiteX36616" fmla="*/ 658033 w 4610101"/>
              <a:gd name="connsiteY36616" fmla="*/ 523816 h 6557032"/>
              <a:gd name="connsiteX36617" fmla="*/ 3216137 w 4610101"/>
              <a:gd name="connsiteY36617" fmla="*/ 518349 h 6557032"/>
              <a:gd name="connsiteX36618" fmla="*/ 3208849 w 4610101"/>
              <a:gd name="connsiteY36618" fmla="*/ 534749 h 6557032"/>
              <a:gd name="connsiteX36619" fmla="*/ 3216137 w 4610101"/>
              <a:gd name="connsiteY36619" fmla="*/ 518349 h 6557032"/>
              <a:gd name="connsiteX36620" fmla="*/ 1000374 w 4610101"/>
              <a:gd name="connsiteY36620" fmla="*/ 518349 h 6557032"/>
              <a:gd name="connsiteX36621" fmla="*/ 996729 w 4610101"/>
              <a:gd name="connsiteY36621" fmla="*/ 531105 h 6557032"/>
              <a:gd name="connsiteX36622" fmla="*/ 1000374 w 4610101"/>
              <a:gd name="connsiteY36622" fmla="*/ 518349 h 6557032"/>
              <a:gd name="connsiteX36623" fmla="*/ 632296 w 4610101"/>
              <a:gd name="connsiteY36623" fmla="*/ 518349 h 6557032"/>
              <a:gd name="connsiteX36624" fmla="*/ 635939 w 4610101"/>
              <a:gd name="connsiteY36624" fmla="*/ 531105 h 6557032"/>
              <a:gd name="connsiteX36625" fmla="*/ 632296 w 4610101"/>
              <a:gd name="connsiteY36625" fmla="*/ 518349 h 6557032"/>
              <a:gd name="connsiteX36626" fmla="*/ 2968384 w 4610101"/>
              <a:gd name="connsiteY36626" fmla="*/ 517738 h 6557032"/>
              <a:gd name="connsiteX36627" fmla="*/ 2968322 w 4610101"/>
              <a:gd name="connsiteY36627" fmla="*/ 520171 h 6557032"/>
              <a:gd name="connsiteX36628" fmla="*/ 2966851 w 4610101"/>
              <a:gd name="connsiteY36628" fmla="*/ 519719 h 6557032"/>
              <a:gd name="connsiteX36629" fmla="*/ 3261692 w 4610101"/>
              <a:gd name="connsiteY36629" fmla="*/ 516527 h 6557032"/>
              <a:gd name="connsiteX36630" fmla="*/ 3261692 w 4610101"/>
              <a:gd name="connsiteY36630" fmla="*/ 527461 h 6557032"/>
              <a:gd name="connsiteX36631" fmla="*/ 3261692 w 4610101"/>
              <a:gd name="connsiteY36631" fmla="*/ 516527 h 6557032"/>
              <a:gd name="connsiteX36632" fmla="*/ 2585665 w 4610101"/>
              <a:gd name="connsiteY36632" fmla="*/ 516527 h 6557032"/>
              <a:gd name="connsiteX36633" fmla="*/ 2589310 w 4610101"/>
              <a:gd name="connsiteY36633" fmla="*/ 523815 h 6557032"/>
              <a:gd name="connsiteX36634" fmla="*/ 2585665 w 4610101"/>
              <a:gd name="connsiteY36634" fmla="*/ 516527 h 6557032"/>
              <a:gd name="connsiteX36635" fmla="*/ 2115544 w 4610101"/>
              <a:gd name="connsiteY36635" fmla="*/ 516527 h 6557032"/>
              <a:gd name="connsiteX36636" fmla="*/ 2118733 w 4610101"/>
              <a:gd name="connsiteY36636" fmla="*/ 520399 h 6557032"/>
              <a:gd name="connsiteX36637" fmla="*/ 2118788 w 4610101"/>
              <a:gd name="connsiteY36637" fmla="*/ 521032 h 6557032"/>
              <a:gd name="connsiteX36638" fmla="*/ 1155259 w 4610101"/>
              <a:gd name="connsiteY36638" fmla="*/ 516527 h 6557032"/>
              <a:gd name="connsiteX36639" fmla="*/ 1155935 w 4610101"/>
              <a:gd name="connsiteY36639" fmla="*/ 519901 h 6557032"/>
              <a:gd name="connsiteX36640" fmla="*/ 1151614 w 4610101"/>
              <a:gd name="connsiteY36640" fmla="*/ 527461 h 6557032"/>
              <a:gd name="connsiteX36641" fmla="*/ 1147916 w 4610101"/>
              <a:gd name="connsiteY36641" fmla="*/ 524995 h 6557032"/>
              <a:gd name="connsiteX36642" fmla="*/ 1148653 w 4610101"/>
              <a:gd name="connsiteY36642" fmla="*/ 522449 h 6557032"/>
              <a:gd name="connsiteX36643" fmla="*/ 1155259 w 4610101"/>
              <a:gd name="connsiteY36643" fmla="*/ 516527 h 6557032"/>
              <a:gd name="connsiteX36644" fmla="*/ 1116993 w 4610101"/>
              <a:gd name="connsiteY36644" fmla="*/ 516527 h 6557032"/>
              <a:gd name="connsiteX36645" fmla="*/ 1116993 w 4610101"/>
              <a:gd name="connsiteY36645" fmla="*/ 522803 h 6557032"/>
              <a:gd name="connsiteX36646" fmla="*/ 1115724 w 4610101"/>
              <a:gd name="connsiteY36646" fmla="*/ 520969 h 6557032"/>
              <a:gd name="connsiteX36647" fmla="*/ 2678369 w 4610101"/>
              <a:gd name="connsiteY36647" fmla="*/ 514933 h 6557032"/>
              <a:gd name="connsiteX36648" fmla="*/ 2676774 w 4610101"/>
              <a:gd name="connsiteY36648" fmla="*/ 520171 h 6557032"/>
              <a:gd name="connsiteX36649" fmla="*/ 2680418 w 4610101"/>
              <a:gd name="connsiteY36649" fmla="*/ 521993 h 6557032"/>
              <a:gd name="connsiteX36650" fmla="*/ 2680418 w 4610101"/>
              <a:gd name="connsiteY36650" fmla="*/ 520171 h 6557032"/>
              <a:gd name="connsiteX36651" fmla="*/ 2684063 w 4610101"/>
              <a:gd name="connsiteY36651" fmla="*/ 516527 h 6557032"/>
              <a:gd name="connsiteX36652" fmla="*/ 2678369 w 4610101"/>
              <a:gd name="connsiteY36652" fmla="*/ 514933 h 6557032"/>
              <a:gd name="connsiteX36653" fmla="*/ 1177125 w 4610101"/>
              <a:gd name="connsiteY36653" fmla="*/ 514706 h 6557032"/>
              <a:gd name="connsiteX36654" fmla="*/ 1177125 w 4610101"/>
              <a:gd name="connsiteY36654" fmla="*/ 514933 h 6557032"/>
              <a:gd name="connsiteX36655" fmla="*/ 1176977 w 4610101"/>
              <a:gd name="connsiteY36655" fmla="*/ 514927 h 6557032"/>
              <a:gd name="connsiteX36656" fmla="*/ 3352800 w 4610101"/>
              <a:gd name="connsiteY36656" fmla="*/ 514705 h 6557032"/>
              <a:gd name="connsiteX36657" fmla="*/ 3345512 w 4610101"/>
              <a:gd name="connsiteY36657" fmla="*/ 516527 h 6557032"/>
              <a:gd name="connsiteX36658" fmla="*/ 3352800 w 4610101"/>
              <a:gd name="connsiteY36658" fmla="*/ 514705 h 6557032"/>
              <a:gd name="connsiteX36659" fmla="*/ 2982899 w 4610101"/>
              <a:gd name="connsiteY36659" fmla="*/ 514705 h 6557032"/>
              <a:gd name="connsiteX36660" fmla="*/ 2982899 w 4610101"/>
              <a:gd name="connsiteY36660" fmla="*/ 520171 h 6557032"/>
              <a:gd name="connsiteX36661" fmla="*/ 2982899 w 4610101"/>
              <a:gd name="connsiteY36661" fmla="*/ 514705 h 6557032"/>
              <a:gd name="connsiteX36662" fmla="*/ 2203009 w 4610101"/>
              <a:gd name="connsiteY36662" fmla="*/ 514705 h 6557032"/>
              <a:gd name="connsiteX36663" fmla="*/ 2192076 w 4610101"/>
              <a:gd name="connsiteY36663" fmla="*/ 520171 h 6557032"/>
              <a:gd name="connsiteX36664" fmla="*/ 2195720 w 4610101"/>
              <a:gd name="connsiteY36664" fmla="*/ 531105 h 6557032"/>
              <a:gd name="connsiteX36665" fmla="*/ 2208475 w 4610101"/>
              <a:gd name="connsiteY36665" fmla="*/ 516527 h 6557032"/>
              <a:gd name="connsiteX36666" fmla="*/ 2203009 w 4610101"/>
              <a:gd name="connsiteY36666" fmla="*/ 514705 h 6557032"/>
              <a:gd name="connsiteX36667" fmla="*/ 2108256 w 4610101"/>
              <a:gd name="connsiteY36667" fmla="*/ 514705 h 6557032"/>
              <a:gd name="connsiteX36668" fmla="*/ 2111900 w 4610101"/>
              <a:gd name="connsiteY36668" fmla="*/ 525638 h 6557032"/>
              <a:gd name="connsiteX36669" fmla="*/ 2108256 w 4610101"/>
              <a:gd name="connsiteY36669" fmla="*/ 514705 h 6557032"/>
              <a:gd name="connsiteX36670" fmla="*/ 1202636 w 4610101"/>
              <a:gd name="connsiteY36670" fmla="*/ 514705 h 6557032"/>
              <a:gd name="connsiteX36671" fmla="*/ 1204457 w 4610101"/>
              <a:gd name="connsiteY36671" fmla="*/ 520171 h 6557032"/>
              <a:gd name="connsiteX36672" fmla="*/ 1202636 w 4610101"/>
              <a:gd name="connsiteY36672" fmla="*/ 514705 h 6557032"/>
              <a:gd name="connsiteX36673" fmla="*/ 843667 w 4610101"/>
              <a:gd name="connsiteY36673" fmla="*/ 514705 h 6557032"/>
              <a:gd name="connsiteX36674" fmla="*/ 844123 w 4610101"/>
              <a:gd name="connsiteY36674" fmla="*/ 521766 h 6557032"/>
              <a:gd name="connsiteX36675" fmla="*/ 843170 w 4610101"/>
              <a:gd name="connsiteY36675" fmla="*/ 524148 h 6557032"/>
              <a:gd name="connsiteX36676" fmla="*/ 727048 w 4610101"/>
              <a:gd name="connsiteY36676" fmla="*/ 514705 h 6557032"/>
              <a:gd name="connsiteX36677" fmla="*/ 728414 w 4610101"/>
              <a:gd name="connsiteY36677" fmla="*/ 527460 h 6557032"/>
              <a:gd name="connsiteX36678" fmla="*/ 730340 w 4610101"/>
              <a:gd name="connsiteY36678" fmla="*/ 533454 h 6557032"/>
              <a:gd name="connsiteX36679" fmla="*/ 729057 w 4610101"/>
              <a:gd name="connsiteY36679" fmla="*/ 535380 h 6557032"/>
              <a:gd name="connsiteX36680" fmla="*/ 727503 w 4610101"/>
              <a:gd name="connsiteY36680" fmla="*/ 529055 h 6557032"/>
              <a:gd name="connsiteX36681" fmla="*/ 727322 w 4610101"/>
              <a:gd name="connsiteY36681" fmla="*/ 528553 h 6557032"/>
              <a:gd name="connsiteX36682" fmla="*/ 727048 w 4610101"/>
              <a:gd name="connsiteY36682" fmla="*/ 527461 h 6557032"/>
              <a:gd name="connsiteX36683" fmla="*/ 726953 w 4610101"/>
              <a:gd name="connsiteY36683" fmla="*/ 527539 h 6557032"/>
              <a:gd name="connsiteX36684" fmla="*/ 725055 w 4610101"/>
              <a:gd name="connsiteY36684" fmla="*/ 522307 h 6557032"/>
              <a:gd name="connsiteX36685" fmla="*/ 727048 w 4610101"/>
              <a:gd name="connsiteY36685" fmla="*/ 514705 h 6557032"/>
              <a:gd name="connsiteX36686" fmla="*/ 625006 w 4610101"/>
              <a:gd name="connsiteY36686" fmla="*/ 514705 h 6557032"/>
              <a:gd name="connsiteX36687" fmla="*/ 626828 w 4610101"/>
              <a:gd name="connsiteY36687" fmla="*/ 523815 h 6557032"/>
              <a:gd name="connsiteX36688" fmla="*/ 625006 w 4610101"/>
              <a:gd name="connsiteY36688" fmla="*/ 514705 h 6557032"/>
              <a:gd name="connsiteX36689" fmla="*/ 599496 w 4610101"/>
              <a:gd name="connsiteY36689" fmla="*/ 514705 h 6557032"/>
              <a:gd name="connsiteX36690" fmla="*/ 606784 w 4610101"/>
              <a:gd name="connsiteY36690" fmla="*/ 536571 h 6557032"/>
              <a:gd name="connsiteX36691" fmla="*/ 599496 w 4610101"/>
              <a:gd name="connsiteY36691" fmla="*/ 514705 h 6557032"/>
              <a:gd name="connsiteX36692" fmla="*/ 528431 w 4610101"/>
              <a:gd name="connsiteY36692" fmla="*/ 514705 h 6557032"/>
              <a:gd name="connsiteX36693" fmla="*/ 535719 w 4610101"/>
              <a:gd name="connsiteY36693" fmla="*/ 529282 h 6557032"/>
              <a:gd name="connsiteX36694" fmla="*/ 528431 w 4610101"/>
              <a:gd name="connsiteY36694" fmla="*/ 514705 h 6557032"/>
              <a:gd name="connsiteX36695" fmla="*/ 2095291 w 4610101"/>
              <a:gd name="connsiteY36695" fmla="*/ 513654 h 6557032"/>
              <a:gd name="connsiteX36696" fmla="*/ 2096640 w 4610101"/>
              <a:gd name="connsiteY36696" fmla="*/ 515388 h 6557032"/>
              <a:gd name="connsiteX36697" fmla="*/ 2096959 w 4610101"/>
              <a:gd name="connsiteY36697" fmla="*/ 517621 h 6557032"/>
              <a:gd name="connsiteX36698" fmla="*/ 2095956 w 4610101"/>
              <a:gd name="connsiteY36698" fmla="*/ 516983 h 6557032"/>
              <a:gd name="connsiteX36699" fmla="*/ 2020791 w 4610101"/>
              <a:gd name="connsiteY36699" fmla="*/ 512882 h 6557032"/>
              <a:gd name="connsiteX36700" fmla="*/ 2015325 w 4610101"/>
              <a:gd name="connsiteY36700" fmla="*/ 527461 h 6557032"/>
              <a:gd name="connsiteX36701" fmla="*/ 2020791 w 4610101"/>
              <a:gd name="connsiteY36701" fmla="*/ 512882 h 6557032"/>
              <a:gd name="connsiteX36702" fmla="*/ 461671 w 4610101"/>
              <a:gd name="connsiteY36702" fmla="*/ 512410 h 6557032"/>
              <a:gd name="connsiteX36703" fmla="*/ 468804 w 4610101"/>
              <a:gd name="connsiteY36703" fmla="*/ 522708 h 6557032"/>
              <a:gd name="connsiteX36704" fmla="*/ 463743 w 4610101"/>
              <a:gd name="connsiteY36704" fmla="*/ 519032 h 6557032"/>
              <a:gd name="connsiteX36705" fmla="*/ 217427 w 4610101"/>
              <a:gd name="connsiteY36705" fmla="*/ 511706 h 6557032"/>
              <a:gd name="connsiteX36706" fmla="*/ 227690 w 4610101"/>
              <a:gd name="connsiteY36706" fmla="*/ 528667 h 6557032"/>
              <a:gd name="connsiteX36707" fmla="*/ 223416 w 4610101"/>
              <a:gd name="connsiteY36707" fmla="*/ 524186 h 6557032"/>
              <a:gd name="connsiteX36708" fmla="*/ 3378311 w 4610101"/>
              <a:gd name="connsiteY36708" fmla="*/ 511061 h 6557032"/>
              <a:gd name="connsiteX36709" fmla="*/ 3369200 w 4610101"/>
              <a:gd name="connsiteY36709" fmla="*/ 514705 h 6557032"/>
              <a:gd name="connsiteX36710" fmla="*/ 3378311 w 4610101"/>
              <a:gd name="connsiteY36710" fmla="*/ 511061 h 6557032"/>
              <a:gd name="connsiteX36711" fmla="*/ 2172032 w 4610101"/>
              <a:gd name="connsiteY36711" fmla="*/ 511061 h 6557032"/>
              <a:gd name="connsiteX36712" fmla="*/ 2166565 w 4610101"/>
              <a:gd name="connsiteY36712" fmla="*/ 514705 h 6557032"/>
              <a:gd name="connsiteX36713" fmla="*/ 2172032 w 4610101"/>
              <a:gd name="connsiteY36713" fmla="*/ 514705 h 6557032"/>
              <a:gd name="connsiteX36714" fmla="*/ 2172032 w 4610101"/>
              <a:gd name="connsiteY36714" fmla="*/ 511061 h 6557032"/>
              <a:gd name="connsiteX36715" fmla="*/ 931131 w 4610101"/>
              <a:gd name="connsiteY36715" fmla="*/ 511061 h 6557032"/>
              <a:gd name="connsiteX36716" fmla="*/ 929309 w 4610101"/>
              <a:gd name="connsiteY36716" fmla="*/ 518349 h 6557032"/>
              <a:gd name="connsiteX36717" fmla="*/ 931131 w 4610101"/>
              <a:gd name="connsiteY36717" fmla="*/ 511061 h 6557032"/>
              <a:gd name="connsiteX36718" fmla="*/ 2866608 w 4610101"/>
              <a:gd name="connsiteY36718" fmla="*/ 509479 h 6557032"/>
              <a:gd name="connsiteX36719" fmla="*/ 2866280 w 4610101"/>
              <a:gd name="connsiteY36719" fmla="*/ 511061 h 6557032"/>
              <a:gd name="connsiteX36720" fmla="*/ 2865715 w 4610101"/>
              <a:gd name="connsiteY36720" fmla="*/ 510244 h 6557032"/>
              <a:gd name="connsiteX36721" fmla="*/ 3629771 w 4610101"/>
              <a:gd name="connsiteY36721" fmla="*/ 509238 h 6557032"/>
              <a:gd name="connsiteX36722" fmla="*/ 3634782 w 4610101"/>
              <a:gd name="connsiteY36722" fmla="*/ 514022 h 6557032"/>
              <a:gd name="connsiteX36723" fmla="*/ 3633735 w 4610101"/>
              <a:gd name="connsiteY36723" fmla="*/ 516042 h 6557032"/>
              <a:gd name="connsiteX36724" fmla="*/ 3631246 w 4610101"/>
              <a:gd name="connsiteY36724" fmla="*/ 514926 h 6557032"/>
              <a:gd name="connsiteX36725" fmla="*/ 3287202 w 4610101"/>
              <a:gd name="connsiteY36725" fmla="*/ 509238 h 6557032"/>
              <a:gd name="connsiteX36726" fmla="*/ 3281736 w 4610101"/>
              <a:gd name="connsiteY36726" fmla="*/ 516527 h 6557032"/>
              <a:gd name="connsiteX36727" fmla="*/ 3287202 w 4610101"/>
              <a:gd name="connsiteY36727" fmla="*/ 516527 h 6557032"/>
              <a:gd name="connsiteX36728" fmla="*/ 3287202 w 4610101"/>
              <a:gd name="connsiteY36728" fmla="*/ 509238 h 6557032"/>
              <a:gd name="connsiteX36729" fmla="*/ 1193525 w 4610101"/>
              <a:gd name="connsiteY36729" fmla="*/ 509238 h 6557032"/>
              <a:gd name="connsiteX36730" fmla="*/ 1193815 w 4610101"/>
              <a:gd name="connsiteY36730" fmla="*/ 516527 h 6557032"/>
              <a:gd name="connsiteX36731" fmla="*/ 1191703 w 4610101"/>
              <a:gd name="connsiteY36731" fmla="*/ 516527 h 6557032"/>
              <a:gd name="connsiteX36732" fmla="*/ 1193525 w 4610101"/>
              <a:gd name="connsiteY36732" fmla="*/ 521993 h 6557032"/>
              <a:gd name="connsiteX36733" fmla="*/ 1193752 w 4610101"/>
              <a:gd name="connsiteY36733" fmla="*/ 519488 h 6557032"/>
              <a:gd name="connsiteX36734" fmla="*/ 1193929 w 4610101"/>
              <a:gd name="connsiteY36734" fmla="*/ 519362 h 6557032"/>
              <a:gd name="connsiteX36735" fmla="*/ 1195346 w 4610101"/>
              <a:gd name="connsiteY36735" fmla="*/ 554792 h 6557032"/>
              <a:gd name="connsiteX36736" fmla="*/ 1198991 w 4610101"/>
              <a:gd name="connsiteY36736" fmla="*/ 529282 h 6557032"/>
              <a:gd name="connsiteX36737" fmla="*/ 1197169 w 4610101"/>
              <a:gd name="connsiteY36737" fmla="*/ 531105 h 6557032"/>
              <a:gd name="connsiteX36738" fmla="*/ 1195346 w 4610101"/>
              <a:gd name="connsiteY36738" fmla="*/ 521993 h 6557032"/>
              <a:gd name="connsiteX36739" fmla="*/ 1198991 w 4610101"/>
              <a:gd name="connsiteY36739" fmla="*/ 526777 h 6557032"/>
              <a:gd name="connsiteX36740" fmla="*/ 1202511 w 4610101"/>
              <a:gd name="connsiteY36740" fmla="*/ 527437 h 6557032"/>
              <a:gd name="connsiteX36741" fmla="*/ 1202590 w 4610101"/>
              <a:gd name="connsiteY36741" fmla="*/ 527640 h 6557032"/>
              <a:gd name="connsiteX36742" fmla="*/ 1195346 w 4610101"/>
              <a:gd name="connsiteY36742" fmla="*/ 556616 h 6557032"/>
              <a:gd name="connsiteX36743" fmla="*/ 1198991 w 4610101"/>
              <a:gd name="connsiteY36743" fmla="*/ 551148 h 6557032"/>
              <a:gd name="connsiteX36744" fmla="*/ 1204457 w 4610101"/>
              <a:gd name="connsiteY36744" fmla="*/ 556616 h 6557032"/>
              <a:gd name="connsiteX36745" fmla="*/ 1206279 w 4610101"/>
              <a:gd name="connsiteY36745" fmla="*/ 567548 h 6557032"/>
              <a:gd name="connsiteX36746" fmla="*/ 1208785 w 4610101"/>
              <a:gd name="connsiteY36746" fmla="*/ 543632 h 6557032"/>
              <a:gd name="connsiteX36747" fmla="*/ 1202590 w 4610101"/>
              <a:gd name="connsiteY36747" fmla="*/ 527640 h 6557032"/>
              <a:gd name="connsiteX36748" fmla="*/ 1202636 w 4610101"/>
              <a:gd name="connsiteY36748" fmla="*/ 527461 h 6557032"/>
              <a:gd name="connsiteX36749" fmla="*/ 1202511 w 4610101"/>
              <a:gd name="connsiteY36749" fmla="*/ 527437 h 6557032"/>
              <a:gd name="connsiteX36750" fmla="*/ 1198991 w 4610101"/>
              <a:gd name="connsiteY36750" fmla="*/ 518349 h 6557032"/>
              <a:gd name="connsiteX36751" fmla="*/ 1195346 w 4610101"/>
              <a:gd name="connsiteY36751" fmla="*/ 518349 h 6557032"/>
              <a:gd name="connsiteX36752" fmla="*/ 1193929 w 4610101"/>
              <a:gd name="connsiteY36752" fmla="*/ 519362 h 6557032"/>
              <a:gd name="connsiteX36753" fmla="*/ 1193815 w 4610101"/>
              <a:gd name="connsiteY36753" fmla="*/ 516527 h 6557032"/>
              <a:gd name="connsiteX36754" fmla="*/ 1197169 w 4610101"/>
              <a:gd name="connsiteY36754" fmla="*/ 516527 h 6557032"/>
              <a:gd name="connsiteX36755" fmla="*/ 1193525 w 4610101"/>
              <a:gd name="connsiteY36755" fmla="*/ 509238 h 6557032"/>
              <a:gd name="connsiteX36756" fmla="*/ 521142 w 4610101"/>
              <a:gd name="connsiteY36756" fmla="*/ 509238 h 6557032"/>
              <a:gd name="connsiteX36757" fmla="*/ 517498 w 4610101"/>
              <a:gd name="connsiteY36757" fmla="*/ 511061 h 6557032"/>
              <a:gd name="connsiteX36758" fmla="*/ 522964 w 4610101"/>
              <a:gd name="connsiteY36758" fmla="*/ 536571 h 6557032"/>
              <a:gd name="connsiteX36759" fmla="*/ 521142 w 4610101"/>
              <a:gd name="connsiteY36759" fmla="*/ 509238 h 6557032"/>
              <a:gd name="connsiteX36760" fmla="*/ 1002082 w 4610101"/>
              <a:gd name="connsiteY36760" fmla="*/ 507872 h 6557032"/>
              <a:gd name="connsiteX36761" fmla="*/ 1000374 w 4610101"/>
              <a:gd name="connsiteY36761" fmla="*/ 514705 h 6557032"/>
              <a:gd name="connsiteX36762" fmla="*/ 999986 w 4610101"/>
              <a:gd name="connsiteY36762" fmla="*/ 513676 h 6557032"/>
              <a:gd name="connsiteX36763" fmla="*/ 1184414 w 4610101"/>
              <a:gd name="connsiteY36763" fmla="*/ 507417 h 6557032"/>
              <a:gd name="connsiteX36764" fmla="*/ 1178947 w 4610101"/>
              <a:gd name="connsiteY36764" fmla="*/ 518349 h 6557032"/>
              <a:gd name="connsiteX36765" fmla="*/ 1177125 w 4610101"/>
              <a:gd name="connsiteY36765" fmla="*/ 514705 h 6557032"/>
              <a:gd name="connsiteX36766" fmla="*/ 1177125 w 4610101"/>
              <a:gd name="connsiteY36766" fmla="*/ 511061 h 6557032"/>
              <a:gd name="connsiteX36767" fmla="*/ 1171658 w 4610101"/>
              <a:gd name="connsiteY36767" fmla="*/ 514705 h 6557032"/>
              <a:gd name="connsiteX36768" fmla="*/ 1176977 w 4610101"/>
              <a:gd name="connsiteY36768" fmla="*/ 514927 h 6557032"/>
              <a:gd name="connsiteX36769" fmla="*/ 1173481 w 4610101"/>
              <a:gd name="connsiteY36769" fmla="*/ 520171 h 6557032"/>
              <a:gd name="connsiteX36770" fmla="*/ 1168014 w 4610101"/>
              <a:gd name="connsiteY36770" fmla="*/ 516527 h 6557032"/>
              <a:gd name="connsiteX36771" fmla="*/ 1173481 w 4610101"/>
              <a:gd name="connsiteY36771" fmla="*/ 529282 h 6557032"/>
              <a:gd name="connsiteX36772" fmla="*/ 1175303 w 4610101"/>
              <a:gd name="connsiteY36772" fmla="*/ 523815 h 6557032"/>
              <a:gd name="connsiteX36773" fmla="*/ 1189880 w 4610101"/>
              <a:gd name="connsiteY36773" fmla="*/ 556616 h 6557032"/>
              <a:gd name="connsiteX36774" fmla="*/ 1184414 w 4610101"/>
              <a:gd name="connsiteY36774" fmla="*/ 507417 h 6557032"/>
              <a:gd name="connsiteX36775" fmla="*/ 1002196 w 4610101"/>
              <a:gd name="connsiteY36775" fmla="*/ 507417 h 6557032"/>
              <a:gd name="connsiteX36776" fmla="*/ 1002196 w 4610101"/>
              <a:gd name="connsiteY36776" fmla="*/ 507557 h 6557032"/>
              <a:gd name="connsiteX36777" fmla="*/ 1002082 w 4610101"/>
              <a:gd name="connsiteY36777" fmla="*/ 507872 h 6557032"/>
              <a:gd name="connsiteX36778" fmla="*/ 956642 w 4610101"/>
              <a:gd name="connsiteY36778" fmla="*/ 507417 h 6557032"/>
              <a:gd name="connsiteX36779" fmla="*/ 949353 w 4610101"/>
              <a:gd name="connsiteY36779" fmla="*/ 527461 h 6557032"/>
              <a:gd name="connsiteX36780" fmla="*/ 962108 w 4610101"/>
              <a:gd name="connsiteY36780" fmla="*/ 514705 h 6557032"/>
              <a:gd name="connsiteX36781" fmla="*/ 956642 w 4610101"/>
              <a:gd name="connsiteY36781" fmla="*/ 507417 h 6557032"/>
              <a:gd name="connsiteX36782" fmla="*/ 641407 w 4610101"/>
              <a:gd name="connsiteY36782" fmla="*/ 507417 h 6557032"/>
              <a:gd name="connsiteX36783" fmla="*/ 639583 w 4610101"/>
              <a:gd name="connsiteY36783" fmla="*/ 518349 h 6557032"/>
              <a:gd name="connsiteX36784" fmla="*/ 645050 w 4610101"/>
              <a:gd name="connsiteY36784" fmla="*/ 512882 h 6557032"/>
              <a:gd name="connsiteX36785" fmla="*/ 641407 w 4610101"/>
              <a:gd name="connsiteY36785" fmla="*/ 507417 h 6557032"/>
              <a:gd name="connsiteX36786" fmla="*/ 900154 w 4610101"/>
              <a:gd name="connsiteY36786" fmla="*/ 506080 h 6557032"/>
              <a:gd name="connsiteX36787" fmla="*/ 900154 w 4610101"/>
              <a:gd name="connsiteY36787" fmla="*/ 507417 h 6557032"/>
              <a:gd name="connsiteX36788" fmla="*/ 899904 w 4610101"/>
              <a:gd name="connsiteY36788" fmla="*/ 506896 h 6557032"/>
              <a:gd name="connsiteX36789" fmla="*/ 3394710 w 4610101"/>
              <a:gd name="connsiteY36789" fmla="*/ 505594 h 6557032"/>
              <a:gd name="connsiteX36790" fmla="*/ 3389244 w 4610101"/>
              <a:gd name="connsiteY36790" fmla="*/ 516527 h 6557032"/>
              <a:gd name="connsiteX36791" fmla="*/ 3400177 w 4610101"/>
              <a:gd name="connsiteY36791" fmla="*/ 516527 h 6557032"/>
              <a:gd name="connsiteX36792" fmla="*/ 3394710 w 4610101"/>
              <a:gd name="connsiteY36792" fmla="*/ 520171 h 6557032"/>
              <a:gd name="connsiteX36793" fmla="*/ 3401999 w 4610101"/>
              <a:gd name="connsiteY36793" fmla="*/ 516527 h 6557032"/>
              <a:gd name="connsiteX36794" fmla="*/ 3411110 w 4610101"/>
              <a:gd name="connsiteY36794" fmla="*/ 514705 h 6557032"/>
              <a:gd name="connsiteX36795" fmla="*/ 3394710 w 4610101"/>
              <a:gd name="connsiteY36795" fmla="*/ 505594 h 6557032"/>
              <a:gd name="connsiteX36796" fmla="*/ 1969528 w 4610101"/>
              <a:gd name="connsiteY36796" fmla="*/ 504738 h 6557032"/>
              <a:gd name="connsiteX36797" fmla="*/ 1967037 w 4610101"/>
              <a:gd name="connsiteY36797" fmla="*/ 514705 h 6557032"/>
              <a:gd name="connsiteX36798" fmla="*/ 1961372 w 4610101"/>
              <a:gd name="connsiteY36798" fmla="*/ 518482 h 6557032"/>
              <a:gd name="connsiteX36799" fmla="*/ 1964759 w 4610101"/>
              <a:gd name="connsiteY36799" fmla="*/ 510377 h 6557032"/>
              <a:gd name="connsiteX36800" fmla="*/ 1226115 w 4610101"/>
              <a:gd name="connsiteY36800" fmla="*/ 504119 h 6557032"/>
              <a:gd name="connsiteX36801" fmla="*/ 1226096 w 4610101"/>
              <a:gd name="connsiteY36801" fmla="*/ 504227 h 6557032"/>
              <a:gd name="connsiteX36802" fmla="*/ 1225986 w 4610101"/>
              <a:gd name="connsiteY36802" fmla="*/ 504334 h 6557032"/>
              <a:gd name="connsiteX36803" fmla="*/ 2662197 w 4610101"/>
              <a:gd name="connsiteY36803" fmla="*/ 503771 h 6557032"/>
              <a:gd name="connsiteX36804" fmla="*/ 2664019 w 4610101"/>
              <a:gd name="connsiteY36804" fmla="*/ 511061 h 6557032"/>
              <a:gd name="connsiteX36805" fmla="*/ 2662197 w 4610101"/>
              <a:gd name="connsiteY36805" fmla="*/ 503771 h 6557032"/>
              <a:gd name="connsiteX36806" fmla="*/ 2474513 w 4610101"/>
              <a:gd name="connsiteY36806" fmla="*/ 503771 h 6557032"/>
              <a:gd name="connsiteX36807" fmla="*/ 2459935 w 4610101"/>
              <a:gd name="connsiteY36807" fmla="*/ 507417 h 6557032"/>
              <a:gd name="connsiteX36808" fmla="*/ 2476335 w 4610101"/>
              <a:gd name="connsiteY36808" fmla="*/ 523815 h 6557032"/>
              <a:gd name="connsiteX36809" fmla="*/ 2465402 w 4610101"/>
              <a:gd name="connsiteY36809" fmla="*/ 521993 h 6557032"/>
              <a:gd name="connsiteX36810" fmla="*/ 2478157 w 4610101"/>
              <a:gd name="connsiteY36810" fmla="*/ 532926 h 6557032"/>
              <a:gd name="connsiteX36811" fmla="*/ 2479979 w 4610101"/>
              <a:gd name="connsiteY36811" fmla="*/ 507417 h 6557032"/>
              <a:gd name="connsiteX36812" fmla="*/ 2474513 w 4610101"/>
              <a:gd name="connsiteY36812" fmla="*/ 503771 h 6557032"/>
              <a:gd name="connsiteX36813" fmla="*/ 994907 w 4610101"/>
              <a:gd name="connsiteY36813" fmla="*/ 503771 h 6557032"/>
              <a:gd name="connsiteX36814" fmla="*/ 973041 w 4610101"/>
              <a:gd name="connsiteY36814" fmla="*/ 547504 h 6557032"/>
              <a:gd name="connsiteX36815" fmla="*/ 987619 w 4610101"/>
              <a:gd name="connsiteY36815" fmla="*/ 521993 h 6557032"/>
              <a:gd name="connsiteX36816" fmla="*/ 987619 w 4610101"/>
              <a:gd name="connsiteY36816" fmla="*/ 531105 h 6557032"/>
              <a:gd name="connsiteX36817" fmla="*/ 994907 w 4610101"/>
              <a:gd name="connsiteY36817" fmla="*/ 503771 h 6557032"/>
              <a:gd name="connsiteX36818" fmla="*/ 987619 w 4610101"/>
              <a:gd name="connsiteY36818" fmla="*/ 503771 h 6557032"/>
              <a:gd name="connsiteX36819" fmla="*/ 974863 w 4610101"/>
              <a:gd name="connsiteY36819" fmla="*/ 523815 h 6557032"/>
              <a:gd name="connsiteX36820" fmla="*/ 976686 w 4610101"/>
              <a:gd name="connsiteY36820" fmla="*/ 527461 h 6557032"/>
              <a:gd name="connsiteX36821" fmla="*/ 987619 w 4610101"/>
              <a:gd name="connsiteY36821" fmla="*/ 503771 h 6557032"/>
              <a:gd name="connsiteX36822" fmla="*/ 548475 w 4610101"/>
              <a:gd name="connsiteY36822" fmla="*/ 503771 h 6557032"/>
              <a:gd name="connsiteX36823" fmla="*/ 556902 w 4610101"/>
              <a:gd name="connsiteY36823" fmla="*/ 527688 h 6557032"/>
              <a:gd name="connsiteX36824" fmla="*/ 559303 w 4610101"/>
              <a:gd name="connsiteY36824" fmla="*/ 541706 h 6557032"/>
              <a:gd name="connsiteX36825" fmla="*/ 547948 w 4610101"/>
              <a:gd name="connsiteY36825" fmla="*/ 506228 h 6557032"/>
              <a:gd name="connsiteX36826" fmla="*/ 3507685 w 4610101"/>
              <a:gd name="connsiteY36826" fmla="*/ 501949 h 6557032"/>
              <a:gd name="connsiteX36827" fmla="*/ 3504041 w 4610101"/>
              <a:gd name="connsiteY36827" fmla="*/ 509238 h 6557032"/>
              <a:gd name="connsiteX36828" fmla="*/ 3507685 w 4610101"/>
              <a:gd name="connsiteY36828" fmla="*/ 501949 h 6557032"/>
              <a:gd name="connsiteX36829" fmla="*/ 3434798 w 4610101"/>
              <a:gd name="connsiteY36829" fmla="*/ 501949 h 6557032"/>
              <a:gd name="connsiteX36830" fmla="*/ 3434798 w 4610101"/>
              <a:gd name="connsiteY36830" fmla="*/ 512882 h 6557032"/>
              <a:gd name="connsiteX36831" fmla="*/ 3434798 w 4610101"/>
              <a:gd name="connsiteY36831" fmla="*/ 501949 h 6557032"/>
              <a:gd name="connsiteX36832" fmla="*/ 3414754 w 4610101"/>
              <a:gd name="connsiteY36832" fmla="*/ 501949 h 6557032"/>
              <a:gd name="connsiteX36833" fmla="*/ 3409288 w 4610101"/>
              <a:gd name="connsiteY36833" fmla="*/ 503771 h 6557032"/>
              <a:gd name="connsiteX36834" fmla="*/ 3418399 w 4610101"/>
              <a:gd name="connsiteY36834" fmla="*/ 507417 h 6557032"/>
              <a:gd name="connsiteX36835" fmla="*/ 3414754 w 4610101"/>
              <a:gd name="connsiteY36835" fmla="*/ 501949 h 6557032"/>
              <a:gd name="connsiteX36836" fmla="*/ 2731439 w 4610101"/>
              <a:gd name="connsiteY36836" fmla="*/ 501949 h 6557032"/>
              <a:gd name="connsiteX36837" fmla="*/ 2731439 w 4610101"/>
              <a:gd name="connsiteY36837" fmla="*/ 516527 h 6557032"/>
              <a:gd name="connsiteX36838" fmla="*/ 2736906 w 4610101"/>
              <a:gd name="connsiteY36838" fmla="*/ 505594 h 6557032"/>
              <a:gd name="connsiteX36839" fmla="*/ 2731439 w 4610101"/>
              <a:gd name="connsiteY36839" fmla="*/ 501949 h 6557032"/>
              <a:gd name="connsiteX36840" fmla="*/ 1198991 w 4610101"/>
              <a:gd name="connsiteY36840" fmla="*/ 501949 h 6557032"/>
              <a:gd name="connsiteX36841" fmla="*/ 1209925 w 4610101"/>
              <a:gd name="connsiteY36841" fmla="*/ 529282 h 6557032"/>
              <a:gd name="connsiteX36842" fmla="*/ 1211747 w 4610101"/>
              <a:gd name="connsiteY36842" fmla="*/ 516527 h 6557032"/>
              <a:gd name="connsiteX36843" fmla="*/ 1202636 w 4610101"/>
              <a:gd name="connsiteY36843" fmla="*/ 505594 h 6557032"/>
              <a:gd name="connsiteX36844" fmla="*/ 1200814 w 4610101"/>
              <a:gd name="connsiteY36844" fmla="*/ 507417 h 6557032"/>
              <a:gd name="connsiteX36845" fmla="*/ 1198991 w 4610101"/>
              <a:gd name="connsiteY36845" fmla="*/ 501949 h 6557032"/>
              <a:gd name="connsiteX36846" fmla="*/ 389946 w 4610101"/>
              <a:gd name="connsiteY36846" fmla="*/ 501949 h 6557032"/>
              <a:gd name="connsiteX36847" fmla="*/ 413634 w 4610101"/>
              <a:gd name="connsiteY36847" fmla="*/ 549326 h 6557032"/>
              <a:gd name="connsiteX36848" fmla="*/ 413634 w 4610101"/>
              <a:gd name="connsiteY36848" fmla="*/ 547504 h 6557032"/>
              <a:gd name="connsiteX36849" fmla="*/ 424567 w 4610101"/>
              <a:gd name="connsiteY36849" fmla="*/ 556616 h 6557032"/>
              <a:gd name="connsiteX36850" fmla="*/ 389946 w 4610101"/>
              <a:gd name="connsiteY36850" fmla="*/ 501949 h 6557032"/>
              <a:gd name="connsiteX36851" fmla="*/ 711840 w 4610101"/>
              <a:gd name="connsiteY36851" fmla="*/ 500992 h 6557032"/>
              <a:gd name="connsiteX36852" fmla="*/ 717937 w 4610101"/>
              <a:gd name="connsiteY36852" fmla="*/ 524044 h 6557032"/>
              <a:gd name="connsiteX36853" fmla="*/ 715139 w 4610101"/>
              <a:gd name="connsiteY36853" fmla="*/ 532928 h 6557032"/>
              <a:gd name="connsiteX36854" fmla="*/ 713076 w 4610101"/>
              <a:gd name="connsiteY36854" fmla="*/ 525230 h 6557032"/>
              <a:gd name="connsiteX36855" fmla="*/ 713153 w 4610101"/>
              <a:gd name="connsiteY36855" fmla="*/ 524727 h 6557032"/>
              <a:gd name="connsiteX36856" fmla="*/ 711739 w 4610101"/>
              <a:gd name="connsiteY36856" fmla="*/ 508768 h 6557032"/>
              <a:gd name="connsiteX36857" fmla="*/ 711787 w 4610101"/>
              <a:gd name="connsiteY36857" fmla="*/ 502861 h 6557032"/>
              <a:gd name="connsiteX36858" fmla="*/ 1162746 w 4610101"/>
              <a:gd name="connsiteY36858" fmla="*/ 500916 h 6557032"/>
              <a:gd name="connsiteX36859" fmla="*/ 1166192 w 4610101"/>
              <a:gd name="connsiteY36859" fmla="*/ 501949 h 6557032"/>
              <a:gd name="connsiteX36860" fmla="*/ 1164066 w 4610101"/>
              <a:gd name="connsiteY36860" fmla="*/ 505670 h 6557032"/>
              <a:gd name="connsiteX36861" fmla="*/ 1162547 w 4610101"/>
              <a:gd name="connsiteY36861" fmla="*/ 503771 h 6557032"/>
              <a:gd name="connsiteX36862" fmla="*/ 1163969 w 4610101"/>
              <a:gd name="connsiteY36862" fmla="*/ 505840 h 6557032"/>
              <a:gd name="connsiteX36863" fmla="*/ 1157288 w 4610101"/>
              <a:gd name="connsiteY36863" fmla="*/ 517531 h 6557032"/>
              <a:gd name="connsiteX36864" fmla="*/ 1157992 w 4610101"/>
              <a:gd name="connsiteY36864" fmla="*/ 508555 h 6557032"/>
              <a:gd name="connsiteX36865" fmla="*/ 3657103 w 4610101"/>
              <a:gd name="connsiteY36865" fmla="*/ 500127 h 6557032"/>
              <a:gd name="connsiteX36866" fmla="*/ 3657103 w 4610101"/>
              <a:gd name="connsiteY36866" fmla="*/ 511061 h 6557032"/>
              <a:gd name="connsiteX36867" fmla="*/ 3652336 w 4610101"/>
              <a:gd name="connsiteY36867" fmla="*/ 507246 h 6557032"/>
              <a:gd name="connsiteX36868" fmla="*/ 3652940 w 4610101"/>
              <a:gd name="connsiteY36868" fmla="*/ 500477 h 6557032"/>
              <a:gd name="connsiteX36869" fmla="*/ 3653004 w 4610101"/>
              <a:gd name="connsiteY36869" fmla="*/ 500583 h 6557032"/>
              <a:gd name="connsiteX36870" fmla="*/ 3657103 w 4610101"/>
              <a:gd name="connsiteY36870" fmla="*/ 500127 h 6557032"/>
              <a:gd name="connsiteX36871" fmla="*/ 2487268 w 4610101"/>
              <a:gd name="connsiteY36871" fmla="*/ 500127 h 6557032"/>
              <a:gd name="connsiteX36872" fmla="*/ 2489090 w 4610101"/>
              <a:gd name="connsiteY36872" fmla="*/ 516527 h 6557032"/>
              <a:gd name="connsiteX36873" fmla="*/ 2487268 w 4610101"/>
              <a:gd name="connsiteY36873" fmla="*/ 500127 h 6557032"/>
              <a:gd name="connsiteX36874" fmla="*/ 1195346 w 4610101"/>
              <a:gd name="connsiteY36874" fmla="*/ 500127 h 6557032"/>
              <a:gd name="connsiteX36875" fmla="*/ 1193525 w 4610101"/>
              <a:gd name="connsiteY36875" fmla="*/ 505594 h 6557032"/>
              <a:gd name="connsiteX36876" fmla="*/ 1198991 w 4610101"/>
              <a:gd name="connsiteY36876" fmla="*/ 505594 h 6557032"/>
              <a:gd name="connsiteX36877" fmla="*/ 1195346 w 4610101"/>
              <a:gd name="connsiteY36877" fmla="*/ 500127 h 6557032"/>
              <a:gd name="connsiteX36878" fmla="*/ 901976 w 4610101"/>
              <a:gd name="connsiteY36878" fmla="*/ 500127 h 6557032"/>
              <a:gd name="connsiteX36879" fmla="*/ 900154 w 4610101"/>
              <a:gd name="connsiteY36879" fmla="*/ 506080 h 6557032"/>
              <a:gd name="connsiteX36880" fmla="*/ 900154 w 4610101"/>
              <a:gd name="connsiteY36880" fmla="*/ 503772 h 6557032"/>
              <a:gd name="connsiteX36881" fmla="*/ 863711 w 4610101"/>
              <a:gd name="connsiteY36881" fmla="*/ 500127 h 6557032"/>
              <a:gd name="connsiteX36882" fmla="*/ 871000 w 4610101"/>
              <a:gd name="connsiteY36882" fmla="*/ 525638 h 6557032"/>
              <a:gd name="connsiteX36883" fmla="*/ 872822 w 4610101"/>
              <a:gd name="connsiteY36883" fmla="*/ 518349 h 6557032"/>
              <a:gd name="connsiteX36884" fmla="*/ 872822 w 4610101"/>
              <a:gd name="connsiteY36884" fmla="*/ 512882 h 6557032"/>
              <a:gd name="connsiteX36885" fmla="*/ 876466 w 4610101"/>
              <a:gd name="connsiteY36885" fmla="*/ 543860 h 6557032"/>
              <a:gd name="connsiteX36886" fmla="*/ 876466 w 4610101"/>
              <a:gd name="connsiteY36886" fmla="*/ 529282 h 6557032"/>
              <a:gd name="connsiteX36887" fmla="*/ 881933 w 4610101"/>
              <a:gd name="connsiteY36887" fmla="*/ 545681 h 6557032"/>
              <a:gd name="connsiteX36888" fmla="*/ 885577 w 4610101"/>
              <a:gd name="connsiteY36888" fmla="*/ 531105 h 6557032"/>
              <a:gd name="connsiteX36889" fmla="*/ 889222 w 4610101"/>
              <a:gd name="connsiteY36889" fmla="*/ 538393 h 6557032"/>
              <a:gd name="connsiteX36890" fmla="*/ 876466 w 4610101"/>
              <a:gd name="connsiteY36890" fmla="*/ 507417 h 6557032"/>
              <a:gd name="connsiteX36891" fmla="*/ 891043 w 4610101"/>
              <a:gd name="connsiteY36891" fmla="*/ 527461 h 6557032"/>
              <a:gd name="connsiteX36892" fmla="*/ 863711 w 4610101"/>
              <a:gd name="connsiteY36892" fmla="*/ 500127 h 6557032"/>
              <a:gd name="connsiteX36893" fmla="*/ 2950100 w 4610101"/>
              <a:gd name="connsiteY36893" fmla="*/ 498306 h 6557032"/>
              <a:gd name="connsiteX36894" fmla="*/ 2950853 w 4610101"/>
              <a:gd name="connsiteY36894" fmla="*/ 498306 h 6557032"/>
              <a:gd name="connsiteX36895" fmla="*/ 2961067 w 4610101"/>
              <a:gd name="connsiteY36895" fmla="*/ 505534 h 6557032"/>
              <a:gd name="connsiteX36896" fmla="*/ 2961033 w 4610101"/>
              <a:gd name="connsiteY36896" fmla="*/ 505594 h 6557032"/>
              <a:gd name="connsiteX36897" fmla="*/ 2950100 w 4610101"/>
              <a:gd name="connsiteY36897" fmla="*/ 498306 h 6557032"/>
              <a:gd name="connsiteX36898" fmla="*/ 2232163 w 4610101"/>
              <a:gd name="connsiteY36898" fmla="*/ 498306 h 6557032"/>
              <a:gd name="connsiteX36899" fmla="*/ 2212120 w 4610101"/>
              <a:gd name="connsiteY36899" fmla="*/ 507417 h 6557032"/>
              <a:gd name="connsiteX36900" fmla="*/ 2212120 w 4610101"/>
              <a:gd name="connsiteY36900" fmla="*/ 520171 h 6557032"/>
              <a:gd name="connsiteX36901" fmla="*/ 2221230 w 4610101"/>
              <a:gd name="connsiteY36901" fmla="*/ 520171 h 6557032"/>
              <a:gd name="connsiteX36902" fmla="*/ 2228519 w 4610101"/>
              <a:gd name="connsiteY36902" fmla="*/ 531105 h 6557032"/>
              <a:gd name="connsiteX36903" fmla="*/ 2224875 w 4610101"/>
              <a:gd name="connsiteY36903" fmla="*/ 523815 h 6557032"/>
              <a:gd name="connsiteX36904" fmla="*/ 2237630 w 4610101"/>
              <a:gd name="connsiteY36904" fmla="*/ 531105 h 6557032"/>
              <a:gd name="connsiteX36905" fmla="*/ 2237630 w 4610101"/>
              <a:gd name="connsiteY36905" fmla="*/ 523815 h 6557032"/>
              <a:gd name="connsiteX36906" fmla="*/ 2232163 w 4610101"/>
              <a:gd name="connsiteY36906" fmla="*/ 498306 h 6557032"/>
              <a:gd name="connsiteX36907" fmla="*/ 1005577 w 4610101"/>
              <a:gd name="connsiteY36907" fmla="*/ 498193 h 6557032"/>
              <a:gd name="connsiteX36908" fmla="*/ 1005612 w 4610101"/>
              <a:gd name="connsiteY36908" fmla="*/ 498305 h 6557032"/>
              <a:gd name="connsiteX36909" fmla="*/ 1002196 w 4610101"/>
              <a:gd name="connsiteY36909" fmla="*/ 509238 h 6557032"/>
              <a:gd name="connsiteX36910" fmla="*/ 1002196 w 4610101"/>
              <a:gd name="connsiteY36910" fmla="*/ 507557 h 6557032"/>
              <a:gd name="connsiteX36911" fmla="*/ 887058 w 4610101"/>
              <a:gd name="connsiteY36911" fmla="*/ 497964 h 6557032"/>
              <a:gd name="connsiteX36912" fmla="*/ 888538 w 4610101"/>
              <a:gd name="connsiteY36912" fmla="*/ 499444 h 6557032"/>
              <a:gd name="connsiteX36913" fmla="*/ 888712 w 4610101"/>
              <a:gd name="connsiteY36913" fmla="*/ 501012 h 6557032"/>
              <a:gd name="connsiteX36914" fmla="*/ 608008 w 4610101"/>
              <a:gd name="connsiteY36914" fmla="*/ 497784 h 6557032"/>
              <a:gd name="connsiteX36915" fmla="*/ 611340 w 4610101"/>
              <a:gd name="connsiteY36915" fmla="*/ 504911 h 6557032"/>
              <a:gd name="connsiteX36916" fmla="*/ 609584 w 4610101"/>
              <a:gd name="connsiteY36916" fmla="*/ 513543 h 6557032"/>
              <a:gd name="connsiteX36917" fmla="*/ 1147970 w 4610101"/>
              <a:gd name="connsiteY36917" fmla="*/ 496483 h 6557032"/>
              <a:gd name="connsiteX36918" fmla="*/ 1158903 w 4610101"/>
              <a:gd name="connsiteY36918" fmla="*/ 499763 h 6557032"/>
              <a:gd name="connsiteX36919" fmla="*/ 1157992 w 4610101"/>
              <a:gd name="connsiteY36919" fmla="*/ 499672 h 6557032"/>
              <a:gd name="connsiteX36920" fmla="*/ 1147970 w 4610101"/>
              <a:gd name="connsiteY36920" fmla="*/ 496483 h 6557032"/>
              <a:gd name="connsiteX36921" fmla="*/ 980330 w 4610101"/>
              <a:gd name="connsiteY36921" fmla="*/ 496483 h 6557032"/>
              <a:gd name="connsiteX36922" fmla="*/ 982152 w 4610101"/>
              <a:gd name="connsiteY36922" fmla="*/ 503771 h 6557032"/>
              <a:gd name="connsiteX36923" fmla="*/ 983974 w 4610101"/>
              <a:gd name="connsiteY36923" fmla="*/ 498306 h 6557032"/>
              <a:gd name="connsiteX36924" fmla="*/ 980330 w 4610101"/>
              <a:gd name="connsiteY36924" fmla="*/ 496483 h 6557032"/>
              <a:gd name="connsiteX36925" fmla="*/ 945709 w 4610101"/>
              <a:gd name="connsiteY36925" fmla="*/ 496483 h 6557032"/>
              <a:gd name="connsiteX36926" fmla="*/ 945709 w 4610101"/>
              <a:gd name="connsiteY36926" fmla="*/ 503771 h 6557032"/>
              <a:gd name="connsiteX36927" fmla="*/ 949353 w 4610101"/>
              <a:gd name="connsiteY36927" fmla="*/ 503771 h 6557032"/>
              <a:gd name="connsiteX36928" fmla="*/ 945709 w 4610101"/>
              <a:gd name="connsiteY36928" fmla="*/ 496483 h 6557032"/>
              <a:gd name="connsiteX36929" fmla="*/ 2193901 w 4610101"/>
              <a:gd name="connsiteY36929" fmla="*/ 494663 h 6557032"/>
              <a:gd name="connsiteX36930" fmla="*/ 2195948 w 4610101"/>
              <a:gd name="connsiteY36930" fmla="*/ 496028 h 6557032"/>
              <a:gd name="connsiteX36931" fmla="*/ 2199364 w 4610101"/>
              <a:gd name="connsiteY36931" fmla="*/ 500127 h 6557032"/>
              <a:gd name="connsiteX36932" fmla="*/ 3181516 w 4610101"/>
              <a:gd name="connsiteY36932" fmla="*/ 494662 h 6557032"/>
              <a:gd name="connsiteX36933" fmla="*/ 3196093 w 4610101"/>
              <a:gd name="connsiteY36933" fmla="*/ 511061 h 6557032"/>
              <a:gd name="connsiteX36934" fmla="*/ 3194271 w 4610101"/>
              <a:gd name="connsiteY36934" fmla="*/ 494662 h 6557032"/>
              <a:gd name="connsiteX36935" fmla="*/ 3181516 w 4610101"/>
              <a:gd name="connsiteY36935" fmla="*/ 494662 h 6557032"/>
              <a:gd name="connsiteX36936" fmla="*/ 900154 w 4610101"/>
              <a:gd name="connsiteY36936" fmla="*/ 494662 h 6557032"/>
              <a:gd name="connsiteX36937" fmla="*/ 900154 w 4610101"/>
              <a:gd name="connsiteY36937" fmla="*/ 503772 h 6557032"/>
              <a:gd name="connsiteX36938" fmla="*/ 899261 w 4610101"/>
              <a:gd name="connsiteY36938" fmla="*/ 505557 h 6557032"/>
              <a:gd name="connsiteX36939" fmla="*/ 897560 w 4610101"/>
              <a:gd name="connsiteY36939" fmla="*/ 502011 h 6557032"/>
              <a:gd name="connsiteX36940" fmla="*/ 897492 w 4610101"/>
              <a:gd name="connsiteY36940" fmla="*/ 501538 h 6557032"/>
              <a:gd name="connsiteX36941" fmla="*/ 513853 w 4610101"/>
              <a:gd name="connsiteY36941" fmla="*/ 494662 h 6557032"/>
              <a:gd name="connsiteX36942" fmla="*/ 517498 w 4610101"/>
              <a:gd name="connsiteY36942" fmla="*/ 509238 h 6557032"/>
              <a:gd name="connsiteX36943" fmla="*/ 513853 w 4610101"/>
              <a:gd name="connsiteY36943" fmla="*/ 494662 h 6557032"/>
              <a:gd name="connsiteX36944" fmla="*/ 3350978 w 4610101"/>
              <a:gd name="connsiteY36944" fmla="*/ 493750 h 6557032"/>
              <a:gd name="connsiteX36945" fmla="*/ 3325468 w 4610101"/>
              <a:gd name="connsiteY36945" fmla="*/ 494662 h 6557032"/>
              <a:gd name="connsiteX36946" fmla="*/ 3330934 w 4610101"/>
              <a:gd name="connsiteY36946" fmla="*/ 498306 h 6557032"/>
              <a:gd name="connsiteX36947" fmla="*/ 3312713 w 4610101"/>
              <a:gd name="connsiteY36947" fmla="*/ 501949 h 6557032"/>
              <a:gd name="connsiteX36948" fmla="*/ 3327290 w 4610101"/>
              <a:gd name="connsiteY36948" fmla="*/ 507417 h 6557032"/>
              <a:gd name="connsiteX36949" fmla="*/ 3312713 w 4610101"/>
              <a:gd name="connsiteY36949" fmla="*/ 514705 h 6557032"/>
              <a:gd name="connsiteX36950" fmla="*/ 3343690 w 4610101"/>
              <a:gd name="connsiteY36950" fmla="*/ 516527 h 6557032"/>
              <a:gd name="connsiteX36951" fmla="*/ 3338223 w 4610101"/>
              <a:gd name="connsiteY36951" fmla="*/ 514705 h 6557032"/>
              <a:gd name="connsiteX36952" fmla="*/ 3345512 w 4610101"/>
              <a:gd name="connsiteY36952" fmla="*/ 512882 h 6557032"/>
              <a:gd name="connsiteX36953" fmla="*/ 3341867 w 4610101"/>
              <a:gd name="connsiteY36953" fmla="*/ 511061 h 6557032"/>
              <a:gd name="connsiteX36954" fmla="*/ 3352800 w 4610101"/>
              <a:gd name="connsiteY36954" fmla="*/ 501949 h 6557032"/>
              <a:gd name="connsiteX36955" fmla="*/ 3374666 w 4610101"/>
              <a:gd name="connsiteY36955" fmla="*/ 511061 h 6557032"/>
              <a:gd name="connsiteX36956" fmla="*/ 3361911 w 4610101"/>
              <a:gd name="connsiteY36956" fmla="*/ 501949 h 6557032"/>
              <a:gd name="connsiteX36957" fmla="*/ 3356445 w 4610101"/>
              <a:gd name="connsiteY36957" fmla="*/ 500127 h 6557032"/>
              <a:gd name="connsiteX36958" fmla="*/ 3383777 w 4610101"/>
              <a:gd name="connsiteY36958" fmla="*/ 511061 h 6557032"/>
              <a:gd name="connsiteX36959" fmla="*/ 3381955 w 4610101"/>
              <a:gd name="connsiteY36959" fmla="*/ 501949 h 6557032"/>
              <a:gd name="connsiteX36960" fmla="*/ 3376489 w 4610101"/>
              <a:gd name="connsiteY36960" fmla="*/ 503771 h 6557032"/>
              <a:gd name="connsiteX36961" fmla="*/ 3350978 w 4610101"/>
              <a:gd name="connsiteY36961" fmla="*/ 493750 h 6557032"/>
              <a:gd name="connsiteX36962" fmla="*/ 3225248 w 4610101"/>
              <a:gd name="connsiteY36962" fmla="*/ 492838 h 6557032"/>
              <a:gd name="connsiteX36963" fmla="*/ 3234359 w 4610101"/>
              <a:gd name="connsiteY36963" fmla="*/ 500127 h 6557032"/>
              <a:gd name="connsiteX36964" fmla="*/ 3234359 w 4610101"/>
              <a:gd name="connsiteY36964" fmla="*/ 492838 h 6557032"/>
              <a:gd name="connsiteX36965" fmla="*/ 3225248 w 4610101"/>
              <a:gd name="connsiteY36965" fmla="*/ 492838 h 6557032"/>
              <a:gd name="connsiteX36966" fmla="*/ 2479979 w 4610101"/>
              <a:gd name="connsiteY36966" fmla="*/ 492838 h 6557032"/>
              <a:gd name="connsiteX36967" fmla="*/ 2485446 w 4610101"/>
              <a:gd name="connsiteY36967" fmla="*/ 511061 h 6557032"/>
              <a:gd name="connsiteX36968" fmla="*/ 2479979 w 4610101"/>
              <a:gd name="connsiteY36968" fmla="*/ 492838 h 6557032"/>
              <a:gd name="connsiteX36969" fmla="*/ 865533 w 4610101"/>
              <a:gd name="connsiteY36969" fmla="*/ 492838 h 6557032"/>
              <a:gd name="connsiteX36970" fmla="*/ 868635 w 4610101"/>
              <a:gd name="connsiteY36970" fmla="*/ 495054 h 6557032"/>
              <a:gd name="connsiteX36971" fmla="*/ 869177 w 4610101"/>
              <a:gd name="connsiteY36971" fmla="*/ 498306 h 6557032"/>
              <a:gd name="connsiteX36972" fmla="*/ 867611 w 4610101"/>
              <a:gd name="connsiteY36972" fmla="*/ 497384 h 6557032"/>
              <a:gd name="connsiteX36973" fmla="*/ 3646171 w 4610101"/>
              <a:gd name="connsiteY36973" fmla="*/ 491017 h 6557032"/>
              <a:gd name="connsiteX36974" fmla="*/ 3653459 w 4610101"/>
              <a:gd name="connsiteY36974" fmla="*/ 494662 h 6557032"/>
              <a:gd name="connsiteX36975" fmla="*/ 3652940 w 4610101"/>
              <a:gd name="connsiteY36975" fmla="*/ 500477 h 6557032"/>
              <a:gd name="connsiteX36976" fmla="*/ 3651637 w 4610101"/>
              <a:gd name="connsiteY36976" fmla="*/ 498306 h 6557032"/>
              <a:gd name="connsiteX36977" fmla="*/ 3647993 w 4610101"/>
              <a:gd name="connsiteY36977" fmla="*/ 500127 h 6557032"/>
              <a:gd name="connsiteX36978" fmla="*/ 3647993 w 4610101"/>
              <a:gd name="connsiteY36978" fmla="*/ 501949 h 6557032"/>
              <a:gd name="connsiteX36979" fmla="*/ 3646171 w 4610101"/>
              <a:gd name="connsiteY36979" fmla="*/ 491017 h 6557032"/>
              <a:gd name="connsiteX36980" fmla="*/ 2254030 w 4610101"/>
              <a:gd name="connsiteY36980" fmla="*/ 491017 h 6557032"/>
              <a:gd name="connsiteX36981" fmla="*/ 2261318 w 4610101"/>
              <a:gd name="connsiteY36981" fmla="*/ 540215 h 6557032"/>
              <a:gd name="connsiteX36982" fmla="*/ 2264963 w 4610101"/>
              <a:gd name="connsiteY36982" fmla="*/ 503771 h 6557032"/>
              <a:gd name="connsiteX36983" fmla="*/ 2254030 w 4610101"/>
              <a:gd name="connsiteY36983" fmla="*/ 491017 h 6557032"/>
              <a:gd name="connsiteX36984" fmla="*/ 519320 w 4610101"/>
              <a:gd name="connsiteY36984" fmla="*/ 491017 h 6557032"/>
              <a:gd name="connsiteX36985" fmla="*/ 523571 w 4610101"/>
              <a:gd name="connsiteY36985" fmla="*/ 495268 h 6557032"/>
              <a:gd name="connsiteX36986" fmla="*/ 524786 w 4610101"/>
              <a:gd name="connsiteY36986" fmla="*/ 501949 h 6557032"/>
              <a:gd name="connsiteX36987" fmla="*/ 520811 w 4610101"/>
              <a:gd name="connsiteY36987" fmla="*/ 496484 h 6557032"/>
              <a:gd name="connsiteX36988" fmla="*/ 2576554 w 4610101"/>
              <a:gd name="connsiteY36988" fmla="*/ 489194 h 6557032"/>
              <a:gd name="connsiteX36989" fmla="*/ 2580199 w 4610101"/>
              <a:gd name="connsiteY36989" fmla="*/ 494662 h 6557032"/>
              <a:gd name="connsiteX36990" fmla="*/ 2580199 w 4610101"/>
              <a:gd name="connsiteY36990" fmla="*/ 489194 h 6557032"/>
              <a:gd name="connsiteX36991" fmla="*/ 2576554 w 4610101"/>
              <a:gd name="connsiteY36991" fmla="*/ 489194 h 6557032"/>
              <a:gd name="connsiteX36992" fmla="*/ 2100967 w 4610101"/>
              <a:gd name="connsiteY36992" fmla="*/ 489194 h 6557032"/>
              <a:gd name="connsiteX36993" fmla="*/ 2106433 w 4610101"/>
              <a:gd name="connsiteY36993" fmla="*/ 507417 h 6557032"/>
              <a:gd name="connsiteX36994" fmla="*/ 2119189 w 4610101"/>
              <a:gd name="connsiteY36994" fmla="*/ 525638 h 6557032"/>
              <a:gd name="connsiteX36995" fmla="*/ 2118788 w 4610101"/>
              <a:gd name="connsiteY36995" fmla="*/ 521032 h 6557032"/>
              <a:gd name="connsiteX36996" fmla="*/ 2119645 w 4610101"/>
              <a:gd name="connsiteY36996" fmla="*/ 522222 h 6557032"/>
              <a:gd name="connsiteX36997" fmla="*/ 2126477 w 4610101"/>
              <a:gd name="connsiteY36997" fmla="*/ 523815 h 6557032"/>
              <a:gd name="connsiteX36998" fmla="*/ 2100967 w 4610101"/>
              <a:gd name="connsiteY36998" fmla="*/ 489194 h 6557032"/>
              <a:gd name="connsiteX36999" fmla="*/ 878288 w 4610101"/>
              <a:gd name="connsiteY36999" fmla="*/ 489194 h 6557032"/>
              <a:gd name="connsiteX37000" fmla="*/ 880040 w 4610101"/>
              <a:gd name="connsiteY37000" fmla="*/ 490947 h 6557032"/>
              <a:gd name="connsiteX37001" fmla="*/ 879883 w 4610101"/>
              <a:gd name="connsiteY37001" fmla="*/ 491244 h 6557032"/>
              <a:gd name="connsiteX37002" fmla="*/ 881132 w 4610101"/>
              <a:gd name="connsiteY37002" fmla="*/ 494438 h 6557032"/>
              <a:gd name="connsiteX37003" fmla="*/ 880460 w 4610101"/>
              <a:gd name="connsiteY37003" fmla="*/ 495782 h 6557032"/>
              <a:gd name="connsiteX37004" fmla="*/ 879863 w 4610101"/>
              <a:gd name="connsiteY37004" fmla="*/ 495498 h 6557032"/>
              <a:gd name="connsiteX37005" fmla="*/ 650516 w 4610101"/>
              <a:gd name="connsiteY37005" fmla="*/ 489194 h 6557032"/>
              <a:gd name="connsiteX37006" fmla="*/ 652339 w 4610101"/>
              <a:gd name="connsiteY37006" fmla="*/ 492838 h 6557032"/>
              <a:gd name="connsiteX37007" fmla="*/ 652339 w 4610101"/>
              <a:gd name="connsiteY37007" fmla="*/ 503771 h 6557032"/>
              <a:gd name="connsiteX37008" fmla="*/ 650516 w 4610101"/>
              <a:gd name="connsiteY37008" fmla="*/ 489194 h 6557032"/>
              <a:gd name="connsiteX37009" fmla="*/ 663854 w 4610101"/>
              <a:gd name="connsiteY37009" fmla="*/ 488313 h 6557032"/>
              <a:gd name="connsiteX37010" fmla="*/ 665094 w 4610101"/>
              <a:gd name="connsiteY37010" fmla="*/ 494433 h 6557032"/>
              <a:gd name="connsiteX37011" fmla="*/ 664720 w 4610101"/>
              <a:gd name="connsiteY37011" fmla="*/ 497841 h 6557032"/>
              <a:gd name="connsiteX37012" fmla="*/ 2931878 w 4610101"/>
              <a:gd name="connsiteY37012" fmla="*/ 487392 h 6557032"/>
              <a:gd name="connsiteX37013" fmla="*/ 2931878 w 4610101"/>
              <a:gd name="connsiteY37013" fmla="*/ 491037 h 6557032"/>
              <a:gd name="connsiteX37014" fmla="*/ 2928233 w 4610101"/>
              <a:gd name="connsiteY37014" fmla="*/ 489214 h 6557032"/>
              <a:gd name="connsiteX37015" fmla="*/ 2931878 w 4610101"/>
              <a:gd name="connsiteY37015" fmla="*/ 487392 h 6557032"/>
              <a:gd name="connsiteX37016" fmla="*/ 2685885 w 4610101"/>
              <a:gd name="connsiteY37016" fmla="*/ 487373 h 6557032"/>
              <a:gd name="connsiteX37017" fmla="*/ 2678596 w 4610101"/>
              <a:gd name="connsiteY37017" fmla="*/ 496483 h 6557032"/>
              <a:gd name="connsiteX37018" fmla="*/ 2685885 w 4610101"/>
              <a:gd name="connsiteY37018" fmla="*/ 491017 h 6557032"/>
              <a:gd name="connsiteX37019" fmla="*/ 2694996 w 4610101"/>
              <a:gd name="connsiteY37019" fmla="*/ 491017 h 6557032"/>
              <a:gd name="connsiteX37020" fmla="*/ 2685885 w 4610101"/>
              <a:gd name="connsiteY37020" fmla="*/ 487373 h 6557032"/>
              <a:gd name="connsiteX37021" fmla="*/ 371724 w 4610101"/>
              <a:gd name="connsiteY37021" fmla="*/ 487373 h 6557032"/>
              <a:gd name="connsiteX37022" fmla="*/ 384479 w 4610101"/>
              <a:gd name="connsiteY37022" fmla="*/ 571192 h 6557032"/>
              <a:gd name="connsiteX37023" fmla="*/ 388123 w 4610101"/>
              <a:gd name="connsiteY37023" fmla="*/ 569370 h 6557032"/>
              <a:gd name="connsiteX37024" fmla="*/ 389034 w 4610101"/>
              <a:gd name="connsiteY37024" fmla="*/ 580076 h 6557032"/>
              <a:gd name="connsiteX37025" fmla="*/ 389507 w 4610101"/>
              <a:gd name="connsiteY37025" fmla="*/ 579957 h 6557032"/>
              <a:gd name="connsiteX37026" fmla="*/ 389490 w 4610101"/>
              <a:gd name="connsiteY37026" fmla="*/ 580303 h 6557032"/>
              <a:gd name="connsiteX37027" fmla="*/ 391185 w 4610101"/>
              <a:gd name="connsiteY37027" fmla="*/ 587082 h 6557032"/>
              <a:gd name="connsiteX37028" fmla="*/ 388807 w 4610101"/>
              <a:gd name="connsiteY37028" fmla="*/ 591919 h 6557032"/>
              <a:gd name="connsiteX37029" fmla="*/ 389300 w 4610101"/>
              <a:gd name="connsiteY37029" fmla="*/ 593929 h 6557032"/>
              <a:gd name="connsiteX37030" fmla="*/ 389262 w 4610101"/>
              <a:gd name="connsiteY37030" fmla="*/ 593969 h 6557032"/>
              <a:gd name="connsiteX37031" fmla="*/ 388123 w 4610101"/>
              <a:gd name="connsiteY37031" fmla="*/ 596702 h 6557032"/>
              <a:gd name="connsiteX37032" fmla="*/ 389670 w 4610101"/>
              <a:gd name="connsiteY37032" fmla="*/ 595437 h 6557032"/>
              <a:gd name="connsiteX37033" fmla="*/ 391768 w 4610101"/>
              <a:gd name="connsiteY37033" fmla="*/ 603991 h 6557032"/>
              <a:gd name="connsiteX37034" fmla="*/ 393590 w 4610101"/>
              <a:gd name="connsiteY37034" fmla="*/ 591236 h 6557032"/>
              <a:gd name="connsiteX37035" fmla="*/ 396095 w 4610101"/>
              <a:gd name="connsiteY37035" fmla="*/ 603308 h 6557032"/>
              <a:gd name="connsiteX37036" fmla="*/ 396647 w 4610101"/>
              <a:gd name="connsiteY37036" fmla="*/ 609826 h 6557032"/>
              <a:gd name="connsiteX37037" fmla="*/ 396095 w 4610101"/>
              <a:gd name="connsiteY37037" fmla="*/ 610825 h 6557032"/>
              <a:gd name="connsiteX37038" fmla="*/ 396893 w 4610101"/>
              <a:gd name="connsiteY37038" fmla="*/ 612724 h 6557032"/>
              <a:gd name="connsiteX37039" fmla="*/ 397234 w 4610101"/>
              <a:gd name="connsiteY37039" fmla="*/ 616746 h 6557032"/>
              <a:gd name="connsiteX37040" fmla="*/ 398061 w 4610101"/>
              <a:gd name="connsiteY37040" fmla="*/ 615506 h 6557032"/>
              <a:gd name="connsiteX37041" fmla="*/ 400879 w 4610101"/>
              <a:gd name="connsiteY37041" fmla="*/ 622213 h 6557032"/>
              <a:gd name="connsiteX37042" fmla="*/ 401052 w 4610101"/>
              <a:gd name="connsiteY37042" fmla="*/ 620391 h 6557032"/>
              <a:gd name="connsiteX37043" fmla="*/ 402701 w 4610101"/>
              <a:gd name="connsiteY37043" fmla="*/ 620391 h 6557032"/>
              <a:gd name="connsiteX37044" fmla="*/ 404750 w 4610101"/>
              <a:gd name="connsiteY37044" fmla="*/ 629730 h 6557032"/>
              <a:gd name="connsiteX37045" fmla="*/ 406752 w 4610101"/>
              <a:gd name="connsiteY37045" fmla="*/ 632141 h 6557032"/>
              <a:gd name="connsiteX37046" fmla="*/ 406800 w 4610101"/>
              <a:gd name="connsiteY37046" fmla="*/ 632463 h 6557032"/>
              <a:gd name="connsiteX37047" fmla="*/ 409989 w 4610101"/>
              <a:gd name="connsiteY37047" fmla="*/ 636790 h 6557032"/>
              <a:gd name="connsiteX37048" fmla="*/ 409050 w 4610101"/>
              <a:gd name="connsiteY37048" fmla="*/ 634910 h 6557032"/>
              <a:gd name="connsiteX37049" fmla="*/ 413634 w 4610101"/>
              <a:gd name="connsiteY37049" fmla="*/ 640435 h 6557032"/>
              <a:gd name="connsiteX37050" fmla="*/ 409989 w 4610101"/>
              <a:gd name="connsiteY37050" fmla="*/ 644079 h 6557032"/>
              <a:gd name="connsiteX37051" fmla="*/ 410799 w 4610101"/>
              <a:gd name="connsiteY37051" fmla="*/ 645092 h 6557032"/>
              <a:gd name="connsiteX37052" fmla="*/ 409989 w 4610101"/>
              <a:gd name="connsiteY37052" fmla="*/ 645901 h 6557032"/>
              <a:gd name="connsiteX37053" fmla="*/ 413633 w 4610101"/>
              <a:gd name="connsiteY37053" fmla="*/ 648635 h 6557032"/>
              <a:gd name="connsiteX37054" fmla="*/ 417278 w 4610101"/>
              <a:gd name="connsiteY37054" fmla="*/ 653190 h 6557032"/>
              <a:gd name="connsiteX37055" fmla="*/ 417191 w 4610101"/>
              <a:gd name="connsiteY37055" fmla="*/ 651303 h 6557032"/>
              <a:gd name="connsiteX37056" fmla="*/ 417278 w 4610101"/>
              <a:gd name="connsiteY37056" fmla="*/ 651368 h 6557032"/>
              <a:gd name="connsiteX37057" fmla="*/ 417188 w 4610101"/>
              <a:gd name="connsiteY37057" fmla="*/ 651249 h 6557032"/>
              <a:gd name="connsiteX37058" fmla="*/ 415911 w 4610101"/>
              <a:gd name="connsiteY37058" fmla="*/ 623580 h 6557032"/>
              <a:gd name="connsiteX37059" fmla="*/ 400879 w 4610101"/>
              <a:gd name="connsiteY37059" fmla="*/ 602169 h 6557032"/>
              <a:gd name="connsiteX37060" fmla="*/ 417278 w 4610101"/>
              <a:gd name="connsiteY37060" fmla="*/ 614924 h 6557032"/>
              <a:gd name="connsiteX37061" fmla="*/ 409989 w 4610101"/>
              <a:gd name="connsiteY37061" fmla="*/ 596702 h 6557032"/>
              <a:gd name="connsiteX37062" fmla="*/ 426389 w 4610101"/>
              <a:gd name="connsiteY37062" fmla="*/ 616746 h 6557032"/>
              <a:gd name="connsiteX37063" fmla="*/ 430034 w 4610101"/>
              <a:gd name="connsiteY37063" fmla="*/ 613103 h 6557032"/>
              <a:gd name="connsiteX37064" fmla="*/ 433905 w 4610101"/>
              <a:gd name="connsiteY37064" fmla="*/ 619252 h 6557032"/>
              <a:gd name="connsiteX37065" fmla="*/ 435500 w 4610101"/>
              <a:gd name="connsiteY37065" fmla="*/ 620708 h 6557032"/>
              <a:gd name="connsiteX37066" fmla="*/ 435500 w 4610101"/>
              <a:gd name="connsiteY37066" fmla="*/ 624035 h 6557032"/>
              <a:gd name="connsiteX37067" fmla="*/ 436981 w 4610101"/>
              <a:gd name="connsiteY37067" fmla="*/ 622061 h 6557032"/>
              <a:gd name="connsiteX37068" fmla="*/ 439145 w 4610101"/>
              <a:gd name="connsiteY37068" fmla="*/ 624035 h 6557032"/>
              <a:gd name="connsiteX37069" fmla="*/ 419100 w 4610101"/>
              <a:gd name="connsiteY37069" fmla="*/ 582125 h 6557032"/>
              <a:gd name="connsiteX37070" fmla="*/ 435500 w 4610101"/>
              <a:gd name="connsiteY37070" fmla="*/ 603991 h 6557032"/>
              <a:gd name="connsiteX37071" fmla="*/ 413634 w 4610101"/>
              <a:gd name="connsiteY37071" fmla="*/ 576658 h 6557032"/>
              <a:gd name="connsiteX37072" fmla="*/ 422745 w 4610101"/>
              <a:gd name="connsiteY37072" fmla="*/ 576658 h 6557032"/>
              <a:gd name="connsiteX37073" fmla="*/ 420923 w 4610101"/>
              <a:gd name="connsiteY37073" fmla="*/ 573014 h 6557032"/>
              <a:gd name="connsiteX37074" fmla="*/ 428211 w 4610101"/>
              <a:gd name="connsiteY37074" fmla="*/ 578481 h 6557032"/>
              <a:gd name="connsiteX37075" fmla="*/ 419100 w 4610101"/>
              <a:gd name="connsiteY37075" fmla="*/ 565725 h 6557032"/>
              <a:gd name="connsiteX37076" fmla="*/ 439145 w 4610101"/>
              <a:gd name="connsiteY37076" fmla="*/ 580303 h 6557032"/>
              <a:gd name="connsiteX37077" fmla="*/ 422745 w 4610101"/>
              <a:gd name="connsiteY37077" fmla="*/ 560260 h 6557032"/>
              <a:gd name="connsiteX37078" fmla="*/ 371724 w 4610101"/>
              <a:gd name="connsiteY37078" fmla="*/ 487373 h 6557032"/>
              <a:gd name="connsiteX37079" fmla="*/ 3057316 w 4610101"/>
              <a:gd name="connsiteY37079" fmla="*/ 487238 h 6557032"/>
              <a:gd name="connsiteX37080" fmla="*/ 3058114 w 4610101"/>
              <a:gd name="connsiteY37080" fmla="*/ 487775 h 6557032"/>
              <a:gd name="connsiteX37081" fmla="*/ 3059430 w 4610101"/>
              <a:gd name="connsiteY37081" fmla="*/ 498306 h 6557032"/>
              <a:gd name="connsiteX37082" fmla="*/ 3048497 w 4610101"/>
              <a:gd name="connsiteY37082" fmla="*/ 531105 h 6557032"/>
              <a:gd name="connsiteX37083" fmla="*/ 3055786 w 4610101"/>
              <a:gd name="connsiteY37083" fmla="*/ 523815 h 6557032"/>
              <a:gd name="connsiteX37084" fmla="*/ 3039387 w 4610101"/>
              <a:gd name="connsiteY37084" fmla="*/ 547504 h 6557032"/>
              <a:gd name="connsiteX37085" fmla="*/ 3035742 w 4610101"/>
              <a:gd name="connsiteY37085" fmla="*/ 556616 h 6557032"/>
              <a:gd name="connsiteX37086" fmla="*/ 3061253 w 4610101"/>
              <a:gd name="connsiteY37086" fmla="*/ 549326 h 6557032"/>
              <a:gd name="connsiteX37087" fmla="*/ 3053964 w 4610101"/>
              <a:gd name="connsiteY37087" fmla="*/ 563904 h 6557032"/>
              <a:gd name="connsiteX37088" fmla="*/ 3035742 w 4610101"/>
              <a:gd name="connsiteY37088" fmla="*/ 560260 h 6557032"/>
              <a:gd name="connsiteX37089" fmla="*/ 3035742 w 4610101"/>
              <a:gd name="connsiteY37089" fmla="*/ 552970 h 6557032"/>
              <a:gd name="connsiteX37090" fmla="*/ 3032098 w 4610101"/>
              <a:gd name="connsiteY37090" fmla="*/ 552970 h 6557032"/>
              <a:gd name="connsiteX37091" fmla="*/ 3032098 w 4610101"/>
              <a:gd name="connsiteY37091" fmla="*/ 558437 h 6557032"/>
              <a:gd name="connsiteX37092" fmla="*/ 3030276 w 4610101"/>
              <a:gd name="connsiteY37092" fmla="*/ 551148 h 6557032"/>
              <a:gd name="connsiteX37093" fmla="*/ 3035287 w 4610101"/>
              <a:gd name="connsiteY37093" fmla="*/ 544543 h 6557032"/>
              <a:gd name="connsiteX37094" fmla="*/ 3032638 w 4610101"/>
              <a:gd name="connsiteY37094" fmla="*/ 537921 h 6557032"/>
              <a:gd name="connsiteX37095" fmla="*/ 3033920 w 4610101"/>
              <a:gd name="connsiteY37095" fmla="*/ 538393 h 6557032"/>
              <a:gd name="connsiteX37096" fmla="*/ 3033237 w 4610101"/>
              <a:gd name="connsiteY37096" fmla="*/ 532471 h 6557032"/>
              <a:gd name="connsiteX37097" fmla="*/ 3030408 w 4610101"/>
              <a:gd name="connsiteY37097" fmla="*/ 530586 h 6557032"/>
              <a:gd name="connsiteX37098" fmla="*/ 3034660 w 4610101"/>
              <a:gd name="connsiteY37098" fmla="*/ 525495 h 6557032"/>
              <a:gd name="connsiteX37099" fmla="*/ 3032098 w 4610101"/>
              <a:gd name="connsiteY37099" fmla="*/ 500127 h 6557032"/>
              <a:gd name="connsiteX37100" fmla="*/ 3035742 w 4610101"/>
              <a:gd name="connsiteY37100" fmla="*/ 501949 h 6557032"/>
              <a:gd name="connsiteX37101" fmla="*/ 3033920 w 4610101"/>
              <a:gd name="connsiteY37101" fmla="*/ 509238 h 6557032"/>
              <a:gd name="connsiteX37102" fmla="*/ 3046675 w 4610101"/>
              <a:gd name="connsiteY37102" fmla="*/ 511061 h 6557032"/>
              <a:gd name="connsiteX37103" fmla="*/ 3048497 w 4610101"/>
              <a:gd name="connsiteY37103" fmla="*/ 503771 h 6557032"/>
              <a:gd name="connsiteX37104" fmla="*/ 3041209 w 4610101"/>
              <a:gd name="connsiteY37104" fmla="*/ 501949 h 6557032"/>
              <a:gd name="connsiteX37105" fmla="*/ 3048497 w 4610101"/>
              <a:gd name="connsiteY37105" fmla="*/ 496483 h 6557032"/>
              <a:gd name="connsiteX37106" fmla="*/ 3050319 w 4610101"/>
              <a:gd name="connsiteY37106" fmla="*/ 500127 h 6557032"/>
              <a:gd name="connsiteX37107" fmla="*/ 3056697 w 4610101"/>
              <a:gd name="connsiteY37107" fmla="*/ 494661 h 6557032"/>
              <a:gd name="connsiteX37108" fmla="*/ 3352800 w 4610101"/>
              <a:gd name="connsiteY37108" fmla="*/ 485550 h 6557032"/>
              <a:gd name="connsiteX37109" fmla="*/ 3350978 w 4610101"/>
              <a:gd name="connsiteY37109" fmla="*/ 489194 h 6557032"/>
              <a:gd name="connsiteX37110" fmla="*/ 3360089 w 4610101"/>
              <a:gd name="connsiteY37110" fmla="*/ 489194 h 6557032"/>
              <a:gd name="connsiteX37111" fmla="*/ 3352800 w 4610101"/>
              <a:gd name="connsiteY37111" fmla="*/ 485550 h 6557032"/>
              <a:gd name="connsiteX37112" fmla="*/ 2020791 w 4610101"/>
              <a:gd name="connsiteY37112" fmla="*/ 485550 h 6557032"/>
              <a:gd name="connsiteX37113" fmla="*/ 2022613 w 4610101"/>
              <a:gd name="connsiteY37113" fmla="*/ 498306 h 6557032"/>
              <a:gd name="connsiteX37114" fmla="*/ 2017147 w 4610101"/>
              <a:gd name="connsiteY37114" fmla="*/ 489194 h 6557032"/>
              <a:gd name="connsiteX37115" fmla="*/ 2018969 w 4610101"/>
              <a:gd name="connsiteY37115" fmla="*/ 509238 h 6557032"/>
              <a:gd name="connsiteX37116" fmla="*/ 2020791 w 4610101"/>
              <a:gd name="connsiteY37116" fmla="*/ 501949 h 6557032"/>
              <a:gd name="connsiteX37117" fmla="*/ 2029902 w 4610101"/>
              <a:gd name="connsiteY37117" fmla="*/ 514705 h 6557032"/>
              <a:gd name="connsiteX37118" fmla="*/ 2022613 w 4610101"/>
              <a:gd name="connsiteY37118" fmla="*/ 518349 h 6557032"/>
              <a:gd name="connsiteX37119" fmla="*/ 2024436 w 4610101"/>
              <a:gd name="connsiteY37119" fmla="*/ 525638 h 6557032"/>
              <a:gd name="connsiteX37120" fmla="*/ 2020791 w 4610101"/>
              <a:gd name="connsiteY37120" fmla="*/ 523815 h 6557032"/>
              <a:gd name="connsiteX37121" fmla="*/ 2024436 w 4610101"/>
              <a:gd name="connsiteY37121" fmla="*/ 538393 h 6557032"/>
              <a:gd name="connsiteX37122" fmla="*/ 2018969 w 4610101"/>
              <a:gd name="connsiteY37122" fmla="*/ 536571 h 6557032"/>
              <a:gd name="connsiteX37123" fmla="*/ 2018969 w 4610101"/>
              <a:gd name="connsiteY37123" fmla="*/ 540215 h 6557032"/>
              <a:gd name="connsiteX37124" fmla="*/ 2006214 w 4610101"/>
              <a:gd name="connsiteY37124" fmla="*/ 536571 h 6557032"/>
              <a:gd name="connsiteX37125" fmla="*/ 2011680 w 4610101"/>
              <a:gd name="connsiteY37125" fmla="*/ 558437 h 6557032"/>
              <a:gd name="connsiteX37126" fmla="*/ 2008036 w 4610101"/>
              <a:gd name="connsiteY37126" fmla="*/ 551148 h 6557032"/>
              <a:gd name="connsiteX37127" fmla="*/ 2017147 w 4610101"/>
              <a:gd name="connsiteY37127" fmla="*/ 551148 h 6557032"/>
              <a:gd name="connsiteX37128" fmla="*/ 2015325 w 4610101"/>
              <a:gd name="connsiteY37128" fmla="*/ 556616 h 6557032"/>
              <a:gd name="connsiteX37129" fmla="*/ 2028080 w 4610101"/>
              <a:gd name="connsiteY37129" fmla="*/ 554792 h 6557032"/>
              <a:gd name="connsiteX37130" fmla="*/ 2028080 w 4610101"/>
              <a:gd name="connsiteY37130" fmla="*/ 551148 h 6557032"/>
              <a:gd name="connsiteX37131" fmla="*/ 2057235 w 4610101"/>
              <a:gd name="connsiteY37131" fmla="*/ 547504 h 6557032"/>
              <a:gd name="connsiteX37132" fmla="*/ 2055413 w 4610101"/>
              <a:gd name="connsiteY37132" fmla="*/ 540215 h 6557032"/>
              <a:gd name="connsiteX37133" fmla="*/ 2059057 w 4610101"/>
              <a:gd name="connsiteY37133" fmla="*/ 543860 h 6557032"/>
              <a:gd name="connsiteX37134" fmla="*/ 2062701 w 4610101"/>
              <a:gd name="connsiteY37134" fmla="*/ 536571 h 6557032"/>
              <a:gd name="connsiteX37135" fmla="*/ 2071812 w 4610101"/>
              <a:gd name="connsiteY37135" fmla="*/ 540215 h 6557032"/>
              <a:gd name="connsiteX37136" fmla="*/ 2075457 w 4610101"/>
              <a:gd name="connsiteY37136" fmla="*/ 551148 h 6557032"/>
              <a:gd name="connsiteX37137" fmla="*/ 2077279 w 4610101"/>
              <a:gd name="connsiteY37137" fmla="*/ 538393 h 6557032"/>
              <a:gd name="connsiteX37138" fmla="*/ 2093679 w 4610101"/>
              <a:gd name="connsiteY37138" fmla="*/ 549326 h 6557032"/>
              <a:gd name="connsiteX37139" fmla="*/ 2086390 w 4610101"/>
              <a:gd name="connsiteY37139" fmla="*/ 529282 h 6557032"/>
              <a:gd name="connsiteX37140" fmla="*/ 2073634 w 4610101"/>
              <a:gd name="connsiteY37140" fmla="*/ 531105 h 6557032"/>
              <a:gd name="connsiteX37141" fmla="*/ 2079101 w 4610101"/>
              <a:gd name="connsiteY37141" fmla="*/ 523815 h 6557032"/>
              <a:gd name="connsiteX37142" fmla="*/ 2046302 w 4610101"/>
              <a:gd name="connsiteY37142" fmla="*/ 487373 h 6557032"/>
              <a:gd name="connsiteX37143" fmla="*/ 2048124 w 4610101"/>
              <a:gd name="connsiteY37143" fmla="*/ 507417 h 6557032"/>
              <a:gd name="connsiteX37144" fmla="*/ 2031724 w 4610101"/>
              <a:gd name="connsiteY37144" fmla="*/ 487373 h 6557032"/>
              <a:gd name="connsiteX37145" fmla="*/ 2029902 w 4610101"/>
              <a:gd name="connsiteY37145" fmla="*/ 492838 h 6557032"/>
              <a:gd name="connsiteX37146" fmla="*/ 2026258 w 4610101"/>
              <a:gd name="connsiteY37146" fmla="*/ 491017 h 6557032"/>
              <a:gd name="connsiteX37147" fmla="*/ 2031724 w 4610101"/>
              <a:gd name="connsiteY37147" fmla="*/ 507417 h 6557032"/>
              <a:gd name="connsiteX37148" fmla="*/ 2026258 w 4610101"/>
              <a:gd name="connsiteY37148" fmla="*/ 489194 h 6557032"/>
              <a:gd name="connsiteX37149" fmla="*/ 2020791 w 4610101"/>
              <a:gd name="connsiteY37149" fmla="*/ 485550 h 6557032"/>
              <a:gd name="connsiteX37150" fmla="*/ 2731439 w 4610101"/>
              <a:gd name="connsiteY37150" fmla="*/ 484184 h 6557032"/>
              <a:gd name="connsiteX37151" fmla="*/ 2725973 w 4610101"/>
              <a:gd name="connsiteY37151" fmla="*/ 491017 h 6557032"/>
              <a:gd name="connsiteX37152" fmla="*/ 2735084 w 4610101"/>
              <a:gd name="connsiteY37152" fmla="*/ 496483 h 6557032"/>
              <a:gd name="connsiteX37153" fmla="*/ 2742372 w 4610101"/>
              <a:gd name="connsiteY37153" fmla="*/ 485550 h 6557032"/>
              <a:gd name="connsiteX37154" fmla="*/ 2731439 w 4610101"/>
              <a:gd name="connsiteY37154" fmla="*/ 484184 h 6557032"/>
              <a:gd name="connsiteX37155" fmla="*/ 3272625 w 4610101"/>
              <a:gd name="connsiteY37155" fmla="*/ 483728 h 6557032"/>
              <a:gd name="connsiteX37156" fmla="*/ 3283558 w 4610101"/>
              <a:gd name="connsiteY37156" fmla="*/ 489194 h 6557032"/>
              <a:gd name="connsiteX37157" fmla="*/ 3272625 w 4610101"/>
              <a:gd name="connsiteY37157" fmla="*/ 483728 h 6557032"/>
              <a:gd name="connsiteX37158" fmla="*/ 3268980 w 4610101"/>
              <a:gd name="connsiteY37158" fmla="*/ 483728 h 6557032"/>
              <a:gd name="connsiteX37159" fmla="*/ 3261692 w 4610101"/>
              <a:gd name="connsiteY37159" fmla="*/ 492838 h 6557032"/>
              <a:gd name="connsiteX37160" fmla="*/ 3270803 w 4610101"/>
              <a:gd name="connsiteY37160" fmla="*/ 492838 h 6557032"/>
              <a:gd name="connsiteX37161" fmla="*/ 3268980 w 4610101"/>
              <a:gd name="connsiteY37161" fmla="*/ 483728 h 6557032"/>
              <a:gd name="connsiteX37162" fmla="*/ 2955566 w 4610101"/>
              <a:gd name="connsiteY37162" fmla="*/ 483728 h 6557032"/>
              <a:gd name="connsiteX37163" fmla="*/ 2959211 w 4610101"/>
              <a:gd name="connsiteY37163" fmla="*/ 486461 h 6557032"/>
              <a:gd name="connsiteX37164" fmla="*/ 2961814 w 4610101"/>
              <a:gd name="connsiteY37164" fmla="*/ 488414 h 6557032"/>
              <a:gd name="connsiteX37165" fmla="*/ 2962280 w 4610101"/>
              <a:gd name="connsiteY37165" fmla="*/ 489578 h 6557032"/>
              <a:gd name="connsiteX37166" fmla="*/ 2961293 w 4610101"/>
              <a:gd name="connsiteY37166" fmla="*/ 490236 h 6557032"/>
              <a:gd name="connsiteX37167" fmla="*/ 2957113 w 4610101"/>
              <a:gd name="connsiteY37167" fmla="*/ 488146 h 6557032"/>
              <a:gd name="connsiteX37168" fmla="*/ 2055413 w 4610101"/>
              <a:gd name="connsiteY37168" fmla="*/ 483728 h 6557032"/>
              <a:gd name="connsiteX37169" fmla="*/ 2059057 w 4610101"/>
              <a:gd name="connsiteY37169" fmla="*/ 492838 h 6557032"/>
              <a:gd name="connsiteX37170" fmla="*/ 2055413 w 4610101"/>
              <a:gd name="connsiteY37170" fmla="*/ 483728 h 6557032"/>
              <a:gd name="connsiteX37171" fmla="*/ 1253656 w 4610101"/>
              <a:gd name="connsiteY37171" fmla="*/ 483728 h 6557032"/>
              <a:gd name="connsiteX37172" fmla="*/ 1244545 w 4610101"/>
              <a:gd name="connsiteY37172" fmla="*/ 512882 h 6557032"/>
              <a:gd name="connsiteX37173" fmla="*/ 1253656 w 4610101"/>
              <a:gd name="connsiteY37173" fmla="*/ 483728 h 6557032"/>
              <a:gd name="connsiteX37174" fmla="*/ 1202636 w 4610101"/>
              <a:gd name="connsiteY37174" fmla="*/ 483728 h 6557032"/>
              <a:gd name="connsiteX37175" fmla="*/ 1198991 w 4610101"/>
              <a:gd name="connsiteY37175" fmla="*/ 491017 h 6557032"/>
              <a:gd name="connsiteX37176" fmla="*/ 1208102 w 4610101"/>
              <a:gd name="connsiteY37176" fmla="*/ 503771 h 6557032"/>
              <a:gd name="connsiteX37177" fmla="*/ 1202636 w 4610101"/>
              <a:gd name="connsiteY37177" fmla="*/ 483728 h 6557032"/>
              <a:gd name="connsiteX37178" fmla="*/ 1189880 w 4610101"/>
              <a:gd name="connsiteY37178" fmla="*/ 483728 h 6557032"/>
              <a:gd name="connsiteX37179" fmla="*/ 1188058 w 4610101"/>
              <a:gd name="connsiteY37179" fmla="*/ 491017 h 6557032"/>
              <a:gd name="connsiteX37180" fmla="*/ 1189880 w 4610101"/>
              <a:gd name="connsiteY37180" fmla="*/ 483728 h 6557032"/>
              <a:gd name="connsiteX37181" fmla="*/ 2122833 w 4610101"/>
              <a:gd name="connsiteY37181" fmla="*/ 481906 h 6557032"/>
              <a:gd name="connsiteX37182" fmla="*/ 2157454 w 4610101"/>
              <a:gd name="connsiteY37182" fmla="*/ 511061 h 6557032"/>
              <a:gd name="connsiteX37183" fmla="*/ 2130122 w 4610101"/>
              <a:gd name="connsiteY37183" fmla="*/ 481906 h 6557032"/>
              <a:gd name="connsiteX37184" fmla="*/ 2126477 w 4610101"/>
              <a:gd name="connsiteY37184" fmla="*/ 485550 h 6557032"/>
              <a:gd name="connsiteX37185" fmla="*/ 2122833 w 4610101"/>
              <a:gd name="connsiteY37185" fmla="*/ 481906 h 6557032"/>
              <a:gd name="connsiteX37186" fmla="*/ 1962482 w 4610101"/>
              <a:gd name="connsiteY37186" fmla="*/ 481906 h 6557032"/>
              <a:gd name="connsiteX37187" fmla="*/ 1965215 w 4610101"/>
              <a:gd name="connsiteY37187" fmla="*/ 481906 h 6557032"/>
              <a:gd name="connsiteX37188" fmla="*/ 1964305 w 4610101"/>
              <a:gd name="connsiteY37188" fmla="*/ 489194 h 6557032"/>
              <a:gd name="connsiteX37189" fmla="*/ 1962482 w 4610101"/>
              <a:gd name="connsiteY37189" fmla="*/ 481906 h 6557032"/>
              <a:gd name="connsiteX37190" fmla="*/ 1965303 w 4610101"/>
              <a:gd name="connsiteY37190" fmla="*/ 481204 h 6557032"/>
              <a:gd name="connsiteX37191" fmla="*/ 1966126 w 4610101"/>
              <a:gd name="connsiteY37191" fmla="*/ 481906 h 6557032"/>
              <a:gd name="connsiteX37192" fmla="*/ 1965215 w 4610101"/>
              <a:gd name="connsiteY37192" fmla="*/ 481906 h 6557032"/>
              <a:gd name="connsiteX37193" fmla="*/ 1939462 w 4610101"/>
              <a:gd name="connsiteY37193" fmla="*/ 481191 h 6557032"/>
              <a:gd name="connsiteX37194" fmla="*/ 1945399 w 4610101"/>
              <a:gd name="connsiteY37194" fmla="*/ 491017 h 6557032"/>
              <a:gd name="connsiteX37195" fmla="*/ 1953371 w 4610101"/>
              <a:gd name="connsiteY37195" fmla="*/ 501949 h 6557032"/>
              <a:gd name="connsiteX37196" fmla="*/ 1941071 w 4610101"/>
              <a:gd name="connsiteY37196" fmla="*/ 488967 h 6557032"/>
              <a:gd name="connsiteX37197" fmla="*/ 3044853 w 4610101"/>
              <a:gd name="connsiteY37197" fmla="*/ 480083 h 6557032"/>
              <a:gd name="connsiteX37198" fmla="*/ 3046675 w 4610101"/>
              <a:gd name="connsiteY37198" fmla="*/ 480083 h 6557032"/>
              <a:gd name="connsiteX37199" fmla="*/ 3044853 w 4610101"/>
              <a:gd name="connsiteY37199" fmla="*/ 491017 h 6557032"/>
              <a:gd name="connsiteX37200" fmla="*/ 3044853 w 4610101"/>
              <a:gd name="connsiteY37200" fmla="*/ 480083 h 6557032"/>
              <a:gd name="connsiteX37201" fmla="*/ 2075457 w 4610101"/>
              <a:gd name="connsiteY37201" fmla="*/ 480083 h 6557032"/>
              <a:gd name="connsiteX37202" fmla="*/ 2069990 w 4610101"/>
              <a:gd name="connsiteY37202" fmla="*/ 481906 h 6557032"/>
              <a:gd name="connsiteX37203" fmla="*/ 2075457 w 4610101"/>
              <a:gd name="connsiteY37203" fmla="*/ 505594 h 6557032"/>
              <a:gd name="connsiteX37204" fmla="*/ 2080923 w 4610101"/>
              <a:gd name="connsiteY37204" fmla="*/ 516527 h 6557032"/>
              <a:gd name="connsiteX37205" fmla="*/ 2097323 w 4610101"/>
              <a:gd name="connsiteY37205" fmla="*/ 520171 h 6557032"/>
              <a:gd name="connsiteX37206" fmla="*/ 2096959 w 4610101"/>
              <a:gd name="connsiteY37206" fmla="*/ 517621 h 6557032"/>
              <a:gd name="connsiteX37207" fmla="*/ 2100967 w 4610101"/>
              <a:gd name="connsiteY37207" fmla="*/ 520171 h 6557032"/>
              <a:gd name="connsiteX37208" fmla="*/ 2099145 w 4610101"/>
              <a:gd name="connsiteY37208" fmla="*/ 507417 h 6557032"/>
              <a:gd name="connsiteX37209" fmla="*/ 2094363 w 4610101"/>
              <a:gd name="connsiteY37209" fmla="*/ 509011 h 6557032"/>
              <a:gd name="connsiteX37210" fmla="*/ 2093679 w 4610101"/>
              <a:gd name="connsiteY37210" fmla="*/ 505594 h 6557032"/>
              <a:gd name="connsiteX37211" fmla="*/ 2093679 w 4610101"/>
              <a:gd name="connsiteY37211" fmla="*/ 509238 h 6557032"/>
              <a:gd name="connsiteX37212" fmla="*/ 2094363 w 4610101"/>
              <a:gd name="connsiteY37212" fmla="*/ 509011 h 6557032"/>
              <a:gd name="connsiteX37213" fmla="*/ 2095291 w 4610101"/>
              <a:gd name="connsiteY37213" fmla="*/ 513654 h 6557032"/>
              <a:gd name="connsiteX37214" fmla="*/ 2091856 w 4610101"/>
              <a:gd name="connsiteY37214" fmla="*/ 509238 h 6557032"/>
              <a:gd name="connsiteX37215" fmla="*/ 2086390 w 4610101"/>
              <a:gd name="connsiteY37215" fmla="*/ 511061 h 6557032"/>
              <a:gd name="connsiteX37216" fmla="*/ 2088212 w 4610101"/>
              <a:gd name="connsiteY37216" fmla="*/ 520171 h 6557032"/>
              <a:gd name="connsiteX37217" fmla="*/ 2080923 w 4610101"/>
              <a:gd name="connsiteY37217" fmla="*/ 501949 h 6557032"/>
              <a:gd name="connsiteX37218" fmla="*/ 2084568 w 4610101"/>
              <a:gd name="connsiteY37218" fmla="*/ 503771 h 6557032"/>
              <a:gd name="connsiteX37219" fmla="*/ 2082745 w 4610101"/>
              <a:gd name="connsiteY37219" fmla="*/ 492838 h 6557032"/>
              <a:gd name="connsiteX37220" fmla="*/ 2073634 w 4610101"/>
              <a:gd name="connsiteY37220" fmla="*/ 481906 h 6557032"/>
              <a:gd name="connsiteX37221" fmla="*/ 2077279 w 4610101"/>
              <a:gd name="connsiteY37221" fmla="*/ 485550 h 6557032"/>
              <a:gd name="connsiteX37222" fmla="*/ 2075457 w 4610101"/>
              <a:gd name="connsiteY37222" fmla="*/ 480083 h 6557032"/>
              <a:gd name="connsiteX37223" fmla="*/ 951073 w 4610101"/>
              <a:gd name="connsiteY37223" fmla="*/ 479880 h 6557032"/>
              <a:gd name="connsiteX37224" fmla="*/ 951175 w 4610101"/>
              <a:gd name="connsiteY37224" fmla="*/ 480083 h 6557032"/>
              <a:gd name="connsiteX37225" fmla="*/ 951133 w 4610101"/>
              <a:gd name="connsiteY37225" fmla="*/ 480059 h 6557032"/>
              <a:gd name="connsiteX37226" fmla="*/ 1939186 w 4610101"/>
              <a:gd name="connsiteY37226" fmla="*/ 479857 h 6557032"/>
              <a:gd name="connsiteX37227" fmla="*/ 1939462 w 4610101"/>
              <a:gd name="connsiteY37227" fmla="*/ 481191 h 6557032"/>
              <a:gd name="connsiteX37228" fmla="*/ 1938793 w 4610101"/>
              <a:gd name="connsiteY37228" fmla="*/ 480083 h 6557032"/>
              <a:gd name="connsiteX37229" fmla="*/ 3250759 w 4610101"/>
              <a:gd name="connsiteY37229" fmla="*/ 478262 h 6557032"/>
              <a:gd name="connsiteX37230" fmla="*/ 3245292 w 4610101"/>
              <a:gd name="connsiteY37230" fmla="*/ 485550 h 6557032"/>
              <a:gd name="connsiteX37231" fmla="*/ 3247114 w 4610101"/>
              <a:gd name="connsiteY37231" fmla="*/ 483728 h 6557032"/>
              <a:gd name="connsiteX37232" fmla="*/ 3250759 w 4610101"/>
              <a:gd name="connsiteY37232" fmla="*/ 478262 h 6557032"/>
              <a:gd name="connsiteX37233" fmla="*/ 2263140 w 4610101"/>
              <a:gd name="connsiteY37233" fmla="*/ 476439 h 6557032"/>
              <a:gd name="connsiteX37234" fmla="*/ 2259496 w 4610101"/>
              <a:gd name="connsiteY37234" fmla="*/ 492838 h 6557032"/>
              <a:gd name="connsiteX37235" fmla="*/ 2263140 w 4610101"/>
              <a:gd name="connsiteY37235" fmla="*/ 476439 h 6557032"/>
              <a:gd name="connsiteX37236" fmla="*/ 980330 w 4610101"/>
              <a:gd name="connsiteY37236" fmla="*/ 476439 h 6557032"/>
              <a:gd name="connsiteX37237" fmla="*/ 984885 w 4610101"/>
              <a:gd name="connsiteY37237" fmla="*/ 484184 h 6557032"/>
              <a:gd name="connsiteX37238" fmla="*/ 984637 w 4610101"/>
              <a:gd name="connsiteY37238" fmla="*/ 487035 h 6557032"/>
              <a:gd name="connsiteX37239" fmla="*/ 980330 w 4610101"/>
              <a:gd name="connsiteY37239" fmla="*/ 481830 h 6557032"/>
              <a:gd name="connsiteX37240" fmla="*/ 2414355 w 4610101"/>
              <a:gd name="connsiteY37240" fmla="*/ 475330 h 6557032"/>
              <a:gd name="connsiteX37241" fmla="*/ 2414381 w 4610101"/>
              <a:gd name="connsiteY37241" fmla="*/ 475528 h 6557032"/>
              <a:gd name="connsiteX37242" fmla="*/ 2412877 w 4610101"/>
              <a:gd name="connsiteY37242" fmla="*/ 481168 h 6557032"/>
              <a:gd name="connsiteX37243" fmla="*/ 2413015 w 4610101"/>
              <a:gd name="connsiteY37243" fmla="*/ 478489 h 6557032"/>
              <a:gd name="connsiteX37244" fmla="*/ 534199 w 4610101"/>
              <a:gd name="connsiteY37244" fmla="*/ 475260 h 6557032"/>
              <a:gd name="connsiteX37245" fmla="*/ 536785 w 4610101"/>
              <a:gd name="connsiteY37245" fmla="*/ 478259 h 6557032"/>
              <a:gd name="connsiteX37246" fmla="*/ 535719 w 4610101"/>
              <a:gd name="connsiteY37246" fmla="*/ 483728 h 6557032"/>
              <a:gd name="connsiteX37247" fmla="*/ 2915478 w 4610101"/>
              <a:gd name="connsiteY37247" fmla="*/ 474637 h 6557032"/>
              <a:gd name="connsiteX37248" fmla="*/ 2930056 w 4610101"/>
              <a:gd name="connsiteY37248" fmla="*/ 491037 h 6557032"/>
              <a:gd name="connsiteX37249" fmla="*/ 2911834 w 4610101"/>
              <a:gd name="connsiteY37249" fmla="*/ 481926 h 6557032"/>
              <a:gd name="connsiteX37250" fmla="*/ 2915478 w 4610101"/>
              <a:gd name="connsiteY37250" fmla="*/ 474637 h 6557032"/>
              <a:gd name="connsiteX37251" fmla="*/ 2055413 w 4610101"/>
              <a:gd name="connsiteY37251" fmla="*/ 474618 h 6557032"/>
              <a:gd name="connsiteX37252" fmla="*/ 2064524 w 4610101"/>
              <a:gd name="connsiteY37252" fmla="*/ 494662 h 6557032"/>
              <a:gd name="connsiteX37253" fmla="*/ 2064524 w 4610101"/>
              <a:gd name="connsiteY37253" fmla="*/ 485550 h 6557032"/>
              <a:gd name="connsiteX37254" fmla="*/ 2066263 w 4610101"/>
              <a:gd name="connsiteY37254" fmla="*/ 485985 h 6557032"/>
              <a:gd name="connsiteX37255" fmla="*/ 2068168 w 4610101"/>
              <a:gd name="connsiteY37255" fmla="*/ 489194 h 6557032"/>
              <a:gd name="connsiteX37256" fmla="*/ 2066346 w 4610101"/>
              <a:gd name="connsiteY37256" fmla="*/ 486006 h 6557032"/>
              <a:gd name="connsiteX37257" fmla="*/ 2066263 w 4610101"/>
              <a:gd name="connsiteY37257" fmla="*/ 485985 h 6557032"/>
              <a:gd name="connsiteX37258" fmla="*/ 2063841 w 4610101"/>
              <a:gd name="connsiteY37258" fmla="*/ 481906 h 6557032"/>
              <a:gd name="connsiteX37259" fmla="*/ 2055413 w 4610101"/>
              <a:gd name="connsiteY37259" fmla="*/ 474618 h 6557032"/>
              <a:gd name="connsiteX37260" fmla="*/ 1171658 w 4610101"/>
              <a:gd name="connsiteY37260" fmla="*/ 474618 h 6557032"/>
              <a:gd name="connsiteX37261" fmla="*/ 1171658 w 4610101"/>
              <a:gd name="connsiteY37261" fmla="*/ 485550 h 6557032"/>
              <a:gd name="connsiteX37262" fmla="*/ 1182592 w 4610101"/>
              <a:gd name="connsiteY37262" fmla="*/ 505594 h 6557032"/>
              <a:gd name="connsiteX37263" fmla="*/ 1175303 w 4610101"/>
              <a:gd name="connsiteY37263" fmla="*/ 500127 h 6557032"/>
              <a:gd name="connsiteX37264" fmla="*/ 1175303 w 4610101"/>
              <a:gd name="connsiteY37264" fmla="*/ 496483 h 6557032"/>
              <a:gd name="connsiteX37265" fmla="*/ 1180769 w 4610101"/>
              <a:gd name="connsiteY37265" fmla="*/ 500127 h 6557032"/>
              <a:gd name="connsiteX37266" fmla="*/ 1171658 w 4610101"/>
              <a:gd name="connsiteY37266" fmla="*/ 474618 h 6557032"/>
              <a:gd name="connsiteX37267" fmla="*/ 949353 w 4610101"/>
              <a:gd name="connsiteY37267" fmla="*/ 474618 h 6557032"/>
              <a:gd name="connsiteX37268" fmla="*/ 951073 w 4610101"/>
              <a:gd name="connsiteY37268" fmla="*/ 479880 h 6557032"/>
              <a:gd name="connsiteX37269" fmla="*/ 949353 w 4610101"/>
              <a:gd name="connsiteY37269" fmla="*/ 476439 h 6557032"/>
              <a:gd name="connsiteX37270" fmla="*/ 948779 w 4610101"/>
              <a:gd name="connsiteY37270" fmla="*/ 478736 h 6557032"/>
              <a:gd name="connsiteX37271" fmla="*/ 947531 w 4610101"/>
              <a:gd name="connsiteY37271" fmla="*/ 478034 h 6557032"/>
              <a:gd name="connsiteX37272" fmla="*/ 949353 w 4610101"/>
              <a:gd name="connsiteY37272" fmla="*/ 474618 h 6557032"/>
              <a:gd name="connsiteX37273" fmla="*/ 2120100 w 4610101"/>
              <a:gd name="connsiteY37273" fmla="*/ 474389 h 6557032"/>
              <a:gd name="connsiteX37274" fmla="*/ 2121011 w 4610101"/>
              <a:gd name="connsiteY37274" fmla="*/ 481906 h 6557032"/>
              <a:gd name="connsiteX37275" fmla="*/ 2124655 w 4610101"/>
              <a:gd name="connsiteY37275" fmla="*/ 476439 h 6557032"/>
              <a:gd name="connsiteX37276" fmla="*/ 2120100 w 4610101"/>
              <a:gd name="connsiteY37276" fmla="*/ 474389 h 6557032"/>
              <a:gd name="connsiteX37277" fmla="*/ 3124574 w 4610101"/>
              <a:gd name="connsiteY37277" fmla="*/ 473706 h 6557032"/>
              <a:gd name="connsiteX37278" fmla="*/ 3103163 w 4610101"/>
              <a:gd name="connsiteY37278" fmla="*/ 476439 h 6557032"/>
              <a:gd name="connsiteX37279" fmla="*/ 3115918 w 4610101"/>
              <a:gd name="connsiteY37279" fmla="*/ 552970 h 6557032"/>
              <a:gd name="connsiteX37280" fmla="*/ 3119562 w 4610101"/>
              <a:gd name="connsiteY37280" fmla="*/ 551148 h 6557032"/>
              <a:gd name="connsiteX37281" fmla="*/ 3148717 w 4610101"/>
              <a:gd name="connsiteY37281" fmla="*/ 587591 h 6557032"/>
              <a:gd name="connsiteX37282" fmla="*/ 3177872 w 4610101"/>
              <a:gd name="connsiteY37282" fmla="*/ 562081 h 6557032"/>
              <a:gd name="connsiteX37283" fmla="*/ 3181516 w 4610101"/>
              <a:gd name="connsiteY37283" fmla="*/ 531105 h 6557032"/>
              <a:gd name="connsiteX37284" fmla="*/ 3166939 w 4610101"/>
              <a:gd name="connsiteY37284" fmla="*/ 505594 h 6557032"/>
              <a:gd name="connsiteX37285" fmla="*/ 3156006 w 4610101"/>
              <a:gd name="connsiteY37285" fmla="*/ 511061 h 6557032"/>
              <a:gd name="connsiteX37286" fmla="*/ 3146895 w 4610101"/>
              <a:gd name="connsiteY37286" fmla="*/ 503771 h 6557032"/>
              <a:gd name="connsiteX37287" fmla="*/ 3145073 w 4610101"/>
              <a:gd name="connsiteY37287" fmla="*/ 496483 h 6557032"/>
              <a:gd name="connsiteX37288" fmla="*/ 3152361 w 4610101"/>
              <a:gd name="connsiteY37288" fmla="*/ 501949 h 6557032"/>
              <a:gd name="connsiteX37289" fmla="*/ 3159650 w 4610101"/>
              <a:gd name="connsiteY37289" fmla="*/ 494662 h 6557032"/>
              <a:gd name="connsiteX37290" fmla="*/ 3154184 w 4610101"/>
              <a:gd name="connsiteY37290" fmla="*/ 487373 h 6557032"/>
              <a:gd name="connsiteX37291" fmla="*/ 3124574 w 4610101"/>
              <a:gd name="connsiteY37291" fmla="*/ 473706 h 6557032"/>
              <a:gd name="connsiteX37292" fmla="*/ 3378311 w 4610101"/>
              <a:gd name="connsiteY37292" fmla="*/ 472795 h 6557032"/>
              <a:gd name="connsiteX37293" fmla="*/ 3380133 w 4610101"/>
              <a:gd name="connsiteY37293" fmla="*/ 478262 h 6557032"/>
              <a:gd name="connsiteX37294" fmla="*/ 3378311 w 4610101"/>
              <a:gd name="connsiteY37294" fmla="*/ 472795 h 6557032"/>
              <a:gd name="connsiteX37295" fmla="*/ 2091856 w 4610101"/>
              <a:gd name="connsiteY37295" fmla="*/ 472795 h 6557032"/>
              <a:gd name="connsiteX37296" fmla="*/ 2099145 w 4610101"/>
              <a:gd name="connsiteY37296" fmla="*/ 483728 h 6557032"/>
              <a:gd name="connsiteX37297" fmla="*/ 2100967 w 4610101"/>
              <a:gd name="connsiteY37297" fmla="*/ 481906 h 6557032"/>
              <a:gd name="connsiteX37298" fmla="*/ 2091856 w 4610101"/>
              <a:gd name="connsiteY37298" fmla="*/ 472795 h 6557032"/>
              <a:gd name="connsiteX37299" fmla="*/ 2028080 w 4610101"/>
              <a:gd name="connsiteY37299" fmla="*/ 472795 h 6557032"/>
              <a:gd name="connsiteX37300" fmla="*/ 2035369 w 4610101"/>
              <a:gd name="connsiteY37300" fmla="*/ 481906 h 6557032"/>
              <a:gd name="connsiteX37301" fmla="*/ 2040835 w 4610101"/>
              <a:gd name="connsiteY37301" fmla="*/ 483728 h 6557032"/>
              <a:gd name="connsiteX37302" fmla="*/ 2042657 w 4610101"/>
              <a:gd name="connsiteY37302" fmla="*/ 478262 h 6557032"/>
              <a:gd name="connsiteX37303" fmla="*/ 2028080 w 4610101"/>
              <a:gd name="connsiteY37303" fmla="*/ 472795 h 6557032"/>
              <a:gd name="connsiteX37304" fmla="*/ 2022613 w 4610101"/>
              <a:gd name="connsiteY37304" fmla="*/ 472795 h 6557032"/>
              <a:gd name="connsiteX37305" fmla="*/ 2028080 w 4610101"/>
              <a:gd name="connsiteY37305" fmla="*/ 481906 h 6557032"/>
              <a:gd name="connsiteX37306" fmla="*/ 2022613 w 4610101"/>
              <a:gd name="connsiteY37306" fmla="*/ 472795 h 6557032"/>
              <a:gd name="connsiteX37307" fmla="*/ 1198991 w 4610101"/>
              <a:gd name="connsiteY37307" fmla="*/ 472795 h 6557032"/>
              <a:gd name="connsiteX37308" fmla="*/ 1193525 w 4610101"/>
              <a:gd name="connsiteY37308" fmla="*/ 481906 h 6557032"/>
              <a:gd name="connsiteX37309" fmla="*/ 1195346 w 4610101"/>
              <a:gd name="connsiteY37309" fmla="*/ 485550 h 6557032"/>
              <a:gd name="connsiteX37310" fmla="*/ 1198991 w 4610101"/>
              <a:gd name="connsiteY37310" fmla="*/ 472795 h 6557032"/>
              <a:gd name="connsiteX37311" fmla="*/ 974863 w 4610101"/>
              <a:gd name="connsiteY37311" fmla="*/ 472795 h 6557032"/>
              <a:gd name="connsiteX37312" fmla="*/ 965753 w 4610101"/>
              <a:gd name="connsiteY37312" fmla="*/ 509238 h 6557032"/>
              <a:gd name="connsiteX37313" fmla="*/ 969397 w 4610101"/>
              <a:gd name="connsiteY37313" fmla="*/ 507417 h 6557032"/>
              <a:gd name="connsiteX37314" fmla="*/ 971219 w 4610101"/>
              <a:gd name="connsiteY37314" fmla="*/ 512882 h 6557032"/>
              <a:gd name="connsiteX37315" fmla="*/ 965753 w 4610101"/>
              <a:gd name="connsiteY37315" fmla="*/ 512882 h 6557032"/>
              <a:gd name="connsiteX37316" fmla="*/ 962792 w 4610101"/>
              <a:gd name="connsiteY37316" fmla="*/ 523133 h 6557032"/>
              <a:gd name="connsiteX37317" fmla="*/ 969178 w 4610101"/>
              <a:gd name="connsiteY37317" fmla="*/ 529079 h 6557032"/>
              <a:gd name="connsiteX37318" fmla="*/ 969024 w 4610101"/>
              <a:gd name="connsiteY37318" fmla="*/ 529282 h 6557032"/>
              <a:gd name="connsiteX37319" fmla="*/ 963930 w 4610101"/>
              <a:gd name="connsiteY37319" fmla="*/ 529282 h 6557032"/>
              <a:gd name="connsiteX37320" fmla="*/ 962108 w 4610101"/>
              <a:gd name="connsiteY37320" fmla="*/ 538393 h 6557032"/>
              <a:gd name="connsiteX37321" fmla="*/ 969024 w 4610101"/>
              <a:gd name="connsiteY37321" fmla="*/ 529282 h 6557032"/>
              <a:gd name="connsiteX37322" fmla="*/ 969397 w 4610101"/>
              <a:gd name="connsiteY37322" fmla="*/ 529282 h 6557032"/>
              <a:gd name="connsiteX37323" fmla="*/ 969178 w 4610101"/>
              <a:gd name="connsiteY37323" fmla="*/ 529079 h 6557032"/>
              <a:gd name="connsiteX37324" fmla="*/ 970694 w 4610101"/>
              <a:gd name="connsiteY37324" fmla="*/ 527081 h 6557032"/>
              <a:gd name="connsiteX37325" fmla="*/ 963930 w 4610101"/>
              <a:gd name="connsiteY37325" fmla="*/ 545681 h 6557032"/>
              <a:gd name="connsiteX37326" fmla="*/ 969397 w 4610101"/>
              <a:gd name="connsiteY37326" fmla="*/ 534749 h 6557032"/>
              <a:gd name="connsiteX37327" fmla="*/ 971015 w 4610101"/>
              <a:gd name="connsiteY37327" fmla="*/ 526659 h 6557032"/>
              <a:gd name="connsiteX37328" fmla="*/ 976457 w 4610101"/>
              <a:gd name="connsiteY37328" fmla="*/ 519488 h 6557032"/>
              <a:gd name="connsiteX37329" fmla="*/ 978508 w 4610101"/>
              <a:gd name="connsiteY37329" fmla="*/ 496483 h 6557032"/>
              <a:gd name="connsiteX37330" fmla="*/ 969397 w 4610101"/>
              <a:gd name="connsiteY37330" fmla="*/ 491017 h 6557032"/>
              <a:gd name="connsiteX37331" fmla="*/ 976686 w 4610101"/>
              <a:gd name="connsiteY37331" fmla="*/ 494662 h 6557032"/>
              <a:gd name="connsiteX37332" fmla="*/ 973041 w 4610101"/>
              <a:gd name="connsiteY37332" fmla="*/ 478262 h 6557032"/>
              <a:gd name="connsiteX37333" fmla="*/ 976686 w 4610101"/>
              <a:gd name="connsiteY37333" fmla="*/ 480083 h 6557032"/>
              <a:gd name="connsiteX37334" fmla="*/ 974863 w 4610101"/>
              <a:gd name="connsiteY37334" fmla="*/ 472795 h 6557032"/>
              <a:gd name="connsiteX37335" fmla="*/ 972542 w 4610101"/>
              <a:gd name="connsiteY37335" fmla="*/ 471298 h 6557032"/>
              <a:gd name="connsiteX37336" fmla="*/ 972642 w 4610101"/>
              <a:gd name="connsiteY37336" fmla="*/ 471599 h 6557032"/>
              <a:gd name="connsiteX37337" fmla="*/ 972004 w 4610101"/>
              <a:gd name="connsiteY37337" fmla="*/ 472601 h 6557032"/>
              <a:gd name="connsiteX37338" fmla="*/ 970872 w 4610101"/>
              <a:gd name="connsiteY37338" fmla="*/ 472389 h 6557032"/>
              <a:gd name="connsiteX37339" fmla="*/ 3323099 w 4610101"/>
              <a:gd name="connsiteY37339" fmla="*/ 471155 h 6557032"/>
              <a:gd name="connsiteX37340" fmla="*/ 3323646 w 4610101"/>
              <a:gd name="connsiteY37340" fmla="*/ 472795 h 6557032"/>
              <a:gd name="connsiteX37341" fmla="*/ 3319905 w 4610101"/>
              <a:gd name="connsiteY37341" fmla="*/ 471767 h 6557032"/>
              <a:gd name="connsiteX37342" fmla="*/ 3259869 w 4610101"/>
              <a:gd name="connsiteY37342" fmla="*/ 470972 h 6557032"/>
              <a:gd name="connsiteX37343" fmla="*/ 3256225 w 4610101"/>
              <a:gd name="connsiteY37343" fmla="*/ 472795 h 6557032"/>
              <a:gd name="connsiteX37344" fmla="*/ 3270803 w 4610101"/>
              <a:gd name="connsiteY37344" fmla="*/ 478262 h 6557032"/>
              <a:gd name="connsiteX37345" fmla="*/ 3268980 w 4610101"/>
              <a:gd name="connsiteY37345" fmla="*/ 470972 h 6557032"/>
              <a:gd name="connsiteX37346" fmla="*/ 3259869 w 4610101"/>
              <a:gd name="connsiteY37346" fmla="*/ 470972 h 6557032"/>
              <a:gd name="connsiteX37347" fmla="*/ 1186236 w 4610101"/>
              <a:gd name="connsiteY37347" fmla="*/ 470972 h 6557032"/>
              <a:gd name="connsiteX37348" fmla="*/ 1186236 w 4610101"/>
              <a:gd name="connsiteY37348" fmla="*/ 476439 h 6557032"/>
              <a:gd name="connsiteX37349" fmla="*/ 1188058 w 4610101"/>
              <a:gd name="connsiteY37349" fmla="*/ 480083 h 6557032"/>
              <a:gd name="connsiteX37350" fmla="*/ 1186236 w 4610101"/>
              <a:gd name="connsiteY37350" fmla="*/ 470972 h 6557032"/>
              <a:gd name="connsiteX37351" fmla="*/ 1002196 w 4610101"/>
              <a:gd name="connsiteY37351" fmla="*/ 470972 h 6557032"/>
              <a:gd name="connsiteX37352" fmla="*/ 1000374 w 4610101"/>
              <a:gd name="connsiteY37352" fmla="*/ 481906 h 6557032"/>
              <a:gd name="connsiteX37353" fmla="*/ 1002196 w 4610101"/>
              <a:gd name="connsiteY37353" fmla="*/ 470972 h 6557032"/>
              <a:gd name="connsiteX37354" fmla="*/ 3197916 w 4610101"/>
              <a:gd name="connsiteY37354" fmla="*/ 469150 h 6557032"/>
              <a:gd name="connsiteX37355" fmla="*/ 3201560 w 4610101"/>
              <a:gd name="connsiteY37355" fmla="*/ 478262 h 6557032"/>
              <a:gd name="connsiteX37356" fmla="*/ 3197916 w 4610101"/>
              <a:gd name="connsiteY37356" fmla="*/ 469150 h 6557032"/>
              <a:gd name="connsiteX37357" fmla="*/ 3186982 w 4610101"/>
              <a:gd name="connsiteY37357" fmla="*/ 469150 h 6557032"/>
              <a:gd name="connsiteX37358" fmla="*/ 3190627 w 4610101"/>
              <a:gd name="connsiteY37358" fmla="*/ 474618 h 6557032"/>
              <a:gd name="connsiteX37359" fmla="*/ 3188836 w 4610101"/>
              <a:gd name="connsiteY37359" fmla="*/ 476409 h 6557032"/>
              <a:gd name="connsiteX37360" fmla="*/ 2959211 w 4610101"/>
              <a:gd name="connsiteY37360" fmla="*/ 469150 h 6557032"/>
              <a:gd name="connsiteX37361" fmla="*/ 2962855 w 4610101"/>
              <a:gd name="connsiteY37361" fmla="*/ 489194 h 6557032"/>
              <a:gd name="connsiteX37362" fmla="*/ 2961814 w 4610101"/>
              <a:gd name="connsiteY37362" fmla="*/ 488414 h 6557032"/>
              <a:gd name="connsiteX37363" fmla="*/ 2960122 w 4610101"/>
              <a:gd name="connsiteY37363" fmla="*/ 484183 h 6557032"/>
              <a:gd name="connsiteX37364" fmla="*/ 2957389 w 4610101"/>
              <a:gd name="connsiteY37364" fmla="*/ 480083 h 6557032"/>
              <a:gd name="connsiteX37365" fmla="*/ 2940989 w 4610101"/>
              <a:gd name="connsiteY37365" fmla="*/ 487373 h 6557032"/>
              <a:gd name="connsiteX37366" fmla="*/ 2942811 w 4610101"/>
              <a:gd name="connsiteY37366" fmla="*/ 485550 h 6557032"/>
              <a:gd name="connsiteX37367" fmla="*/ 2928234 w 4610101"/>
              <a:gd name="connsiteY37367" fmla="*/ 483728 h 6557032"/>
              <a:gd name="connsiteX37368" fmla="*/ 2947595 w 4610101"/>
              <a:gd name="connsiteY37368" fmla="*/ 477351 h 6557032"/>
              <a:gd name="connsiteX37369" fmla="*/ 2951568 w 4610101"/>
              <a:gd name="connsiteY37369" fmla="*/ 471957 h 6557032"/>
              <a:gd name="connsiteX37370" fmla="*/ 2950100 w 4610101"/>
              <a:gd name="connsiteY37370" fmla="*/ 478262 h 6557032"/>
              <a:gd name="connsiteX37371" fmla="*/ 2951922 w 4610101"/>
              <a:gd name="connsiteY37371" fmla="*/ 481906 h 6557032"/>
              <a:gd name="connsiteX37372" fmla="*/ 2959211 w 4610101"/>
              <a:gd name="connsiteY37372" fmla="*/ 469150 h 6557032"/>
              <a:gd name="connsiteX37373" fmla="*/ 2645797 w 4610101"/>
              <a:gd name="connsiteY37373" fmla="*/ 469150 h 6557032"/>
              <a:gd name="connsiteX37374" fmla="*/ 2642153 w 4610101"/>
              <a:gd name="connsiteY37374" fmla="*/ 485550 h 6557032"/>
              <a:gd name="connsiteX37375" fmla="*/ 2649441 w 4610101"/>
              <a:gd name="connsiteY37375" fmla="*/ 483728 h 6557032"/>
              <a:gd name="connsiteX37376" fmla="*/ 2645797 w 4610101"/>
              <a:gd name="connsiteY37376" fmla="*/ 469150 h 6557032"/>
              <a:gd name="connsiteX37377" fmla="*/ 998552 w 4610101"/>
              <a:gd name="connsiteY37377" fmla="*/ 469150 h 6557032"/>
              <a:gd name="connsiteX37378" fmla="*/ 991263 w 4610101"/>
              <a:gd name="connsiteY37378" fmla="*/ 487373 h 6557032"/>
              <a:gd name="connsiteX37379" fmla="*/ 998552 w 4610101"/>
              <a:gd name="connsiteY37379" fmla="*/ 472795 h 6557032"/>
              <a:gd name="connsiteX37380" fmla="*/ 998552 w 4610101"/>
              <a:gd name="connsiteY37380" fmla="*/ 469150 h 6557032"/>
              <a:gd name="connsiteX37381" fmla="*/ 1283118 w 4610101"/>
              <a:gd name="connsiteY37381" fmla="*/ 468186 h 6557032"/>
              <a:gd name="connsiteX37382" fmla="*/ 1282583 w 4610101"/>
              <a:gd name="connsiteY37382" fmla="*/ 469378 h 6557032"/>
              <a:gd name="connsiteX37383" fmla="*/ 1281232 w 4610101"/>
              <a:gd name="connsiteY37383" fmla="*/ 470729 h 6557032"/>
              <a:gd name="connsiteX37384" fmla="*/ 3371022 w 4610101"/>
              <a:gd name="connsiteY37384" fmla="*/ 467328 h 6557032"/>
              <a:gd name="connsiteX37385" fmla="*/ 3372275 w 4610101"/>
              <a:gd name="connsiteY37385" fmla="*/ 470112 h 6557032"/>
              <a:gd name="connsiteX37386" fmla="*/ 3371022 w 4610101"/>
              <a:gd name="connsiteY37386" fmla="*/ 470972 h 6557032"/>
              <a:gd name="connsiteX37387" fmla="*/ 3369585 w 4610101"/>
              <a:gd name="connsiteY37387" fmla="*/ 467667 h 6557032"/>
              <a:gd name="connsiteX37388" fmla="*/ 3055786 w 4610101"/>
              <a:gd name="connsiteY37388" fmla="*/ 467328 h 6557032"/>
              <a:gd name="connsiteX37389" fmla="*/ 3081297 w 4610101"/>
              <a:gd name="connsiteY37389" fmla="*/ 509238 h 6557032"/>
              <a:gd name="connsiteX37390" fmla="*/ 3074008 w 4610101"/>
              <a:gd name="connsiteY37390" fmla="*/ 472795 h 6557032"/>
              <a:gd name="connsiteX37391" fmla="*/ 3055786 w 4610101"/>
              <a:gd name="connsiteY37391" fmla="*/ 467328 h 6557032"/>
              <a:gd name="connsiteX37392" fmla="*/ 2592954 w 4610101"/>
              <a:gd name="connsiteY37392" fmla="*/ 467328 h 6557032"/>
              <a:gd name="connsiteX37393" fmla="*/ 2583843 w 4610101"/>
              <a:gd name="connsiteY37393" fmla="*/ 478262 h 6557032"/>
              <a:gd name="connsiteX37394" fmla="*/ 2594776 w 4610101"/>
              <a:gd name="connsiteY37394" fmla="*/ 476439 h 6557032"/>
              <a:gd name="connsiteX37395" fmla="*/ 2592954 w 4610101"/>
              <a:gd name="connsiteY37395" fmla="*/ 467328 h 6557032"/>
              <a:gd name="connsiteX37396" fmla="*/ 2576554 w 4610101"/>
              <a:gd name="connsiteY37396" fmla="*/ 467328 h 6557032"/>
              <a:gd name="connsiteX37397" fmla="*/ 2572910 w 4610101"/>
              <a:gd name="connsiteY37397" fmla="*/ 481906 h 6557032"/>
              <a:gd name="connsiteX37398" fmla="*/ 2578377 w 4610101"/>
              <a:gd name="connsiteY37398" fmla="*/ 474618 h 6557032"/>
              <a:gd name="connsiteX37399" fmla="*/ 2576554 w 4610101"/>
              <a:gd name="connsiteY37399" fmla="*/ 467328 h 6557032"/>
              <a:gd name="connsiteX37400" fmla="*/ 2084568 w 4610101"/>
              <a:gd name="connsiteY37400" fmla="*/ 467328 h 6557032"/>
              <a:gd name="connsiteX37401" fmla="*/ 2088212 w 4610101"/>
              <a:gd name="connsiteY37401" fmla="*/ 480083 h 6557032"/>
              <a:gd name="connsiteX37402" fmla="*/ 2088212 w 4610101"/>
              <a:gd name="connsiteY37402" fmla="*/ 469150 h 6557032"/>
              <a:gd name="connsiteX37403" fmla="*/ 2084568 w 4610101"/>
              <a:gd name="connsiteY37403" fmla="*/ 467328 h 6557032"/>
              <a:gd name="connsiteX37404" fmla="*/ 1260945 w 4610101"/>
              <a:gd name="connsiteY37404" fmla="*/ 467328 h 6557032"/>
              <a:gd name="connsiteX37405" fmla="*/ 1261085 w 4610101"/>
              <a:gd name="connsiteY37405" fmla="*/ 467750 h 6557032"/>
              <a:gd name="connsiteX37406" fmla="*/ 1260945 w 4610101"/>
              <a:gd name="connsiteY37406" fmla="*/ 468208 h 6557032"/>
              <a:gd name="connsiteX37407" fmla="*/ 1164370 w 4610101"/>
              <a:gd name="connsiteY37407" fmla="*/ 467328 h 6557032"/>
              <a:gd name="connsiteX37408" fmla="*/ 1164370 w 4610101"/>
              <a:gd name="connsiteY37408" fmla="*/ 474618 h 6557032"/>
              <a:gd name="connsiteX37409" fmla="*/ 1164370 w 4610101"/>
              <a:gd name="connsiteY37409" fmla="*/ 467328 h 6557032"/>
              <a:gd name="connsiteX37410" fmla="*/ 2952739 w 4610101"/>
              <a:gd name="connsiteY37410" fmla="*/ 466928 h 6557032"/>
              <a:gd name="connsiteX37411" fmla="*/ 2953090 w 4610101"/>
              <a:gd name="connsiteY37411" fmla="*/ 469891 h 6557032"/>
              <a:gd name="connsiteX37412" fmla="*/ 2951568 w 4610101"/>
              <a:gd name="connsiteY37412" fmla="*/ 471957 h 6557032"/>
              <a:gd name="connsiteX37413" fmla="*/ 406345 w 4610101"/>
              <a:gd name="connsiteY37413" fmla="*/ 465530 h 6557032"/>
              <a:gd name="connsiteX37414" fmla="*/ 428211 w 4610101"/>
              <a:gd name="connsiteY37414" fmla="*/ 494685 h 6557032"/>
              <a:gd name="connsiteX37415" fmla="*/ 430034 w 4610101"/>
              <a:gd name="connsiteY37415" fmla="*/ 500152 h 6557032"/>
              <a:gd name="connsiteX37416" fmla="*/ 406345 w 4610101"/>
              <a:gd name="connsiteY37416" fmla="*/ 465530 h 6557032"/>
              <a:gd name="connsiteX37417" fmla="*/ 901976 w 4610101"/>
              <a:gd name="connsiteY37417" fmla="*/ 465506 h 6557032"/>
              <a:gd name="connsiteX37418" fmla="*/ 901976 w 4610101"/>
              <a:gd name="connsiteY37418" fmla="*/ 476439 h 6557032"/>
              <a:gd name="connsiteX37419" fmla="*/ 901976 w 4610101"/>
              <a:gd name="connsiteY37419" fmla="*/ 465506 h 6557032"/>
              <a:gd name="connsiteX37420" fmla="*/ 194973 w 4610101"/>
              <a:gd name="connsiteY37420" fmla="*/ 465506 h 6557032"/>
              <a:gd name="connsiteX37421" fmla="*/ 209290 w 4610101"/>
              <a:gd name="connsiteY37421" fmla="*/ 494750 h 6557032"/>
              <a:gd name="connsiteX37422" fmla="*/ 217427 w 4610101"/>
              <a:gd name="connsiteY37422" fmla="*/ 511706 h 6557032"/>
              <a:gd name="connsiteX37423" fmla="*/ 215245 w 4610101"/>
              <a:gd name="connsiteY37423" fmla="*/ 508100 h 6557032"/>
              <a:gd name="connsiteX37424" fmla="*/ 194973 w 4610101"/>
              <a:gd name="connsiteY37424" fmla="*/ 465506 h 6557032"/>
              <a:gd name="connsiteX37425" fmla="*/ 2163224 w 4610101"/>
              <a:gd name="connsiteY37425" fmla="*/ 464393 h 6557032"/>
              <a:gd name="connsiteX37426" fmla="*/ 2166565 w 4610101"/>
              <a:gd name="connsiteY37426" fmla="*/ 465506 h 6557032"/>
              <a:gd name="connsiteX37427" fmla="*/ 2170437 w 4610101"/>
              <a:gd name="connsiteY37427" fmla="*/ 477578 h 6557032"/>
              <a:gd name="connsiteX37428" fmla="*/ 2168083 w 4610101"/>
              <a:gd name="connsiteY37428" fmla="*/ 480874 h 6557032"/>
              <a:gd name="connsiteX37429" fmla="*/ 3163067 w 4610101"/>
              <a:gd name="connsiteY37429" fmla="*/ 463912 h 6557032"/>
              <a:gd name="connsiteX37430" fmla="*/ 3148717 w 4610101"/>
              <a:gd name="connsiteY37430" fmla="*/ 467328 h 6557032"/>
              <a:gd name="connsiteX37431" fmla="*/ 3185160 w 4610101"/>
              <a:gd name="connsiteY37431" fmla="*/ 491017 h 6557032"/>
              <a:gd name="connsiteX37432" fmla="*/ 3181516 w 4610101"/>
              <a:gd name="connsiteY37432" fmla="*/ 467328 h 6557032"/>
              <a:gd name="connsiteX37433" fmla="*/ 3163067 w 4610101"/>
              <a:gd name="connsiteY37433" fmla="*/ 463912 h 6557032"/>
              <a:gd name="connsiteX37434" fmla="*/ 3186982 w 4610101"/>
              <a:gd name="connsiteY37434" fmla="*/ 463684 h 6557032"/>
              <a:gd name="connsiteX37435" fmla="*/ 3186982 w 4610101"/>
              <a:gd name="connsiteY37435" fmla="*/ 469150 h 6557032"/>
              <a:gd name="connsiteX37436" fmla="*/ 3186982 w 4610101"/>
              <a:gd name="connsiteY37436" fmla="*/ 478262 h 6557032"/>
              <a:gd name="connsiteX37437" fmla="*/ 3188805 w 4610101"/>
              <a:gd name="connsiteY37437" fmla="*/ 476439 h 6557032"/>
              <a:gd name="connsiteX37438" fmla="*/ 3188836 w 4610101"/>
              <a:gd name="connsiteY37438" fmla="*/ 476409 h 6557032"/>
              <a:gd name="connsiteX37439" fmla="*/ 3189716 w 4610101"/>
              <a:gd name="connsiteY37439" fmla="*/ 479856 h 6557032"/>
              <a:gd name="connsiteX37440" fmla="*/ 3190941 w 4610101"/>
              <a:gd name="connsiteY37440" fmla="*/ 484042 h 6557032"/>
              <a:gd name="connsiteX37441" fmla="*/ 3190627 w 4610101"/>
              <a:gd name="connsiteY37441" fmla="*/ 483728 h 6557032"/>
              <a:gd name="connsiteX37442" fmla="*/ 3192449 w 4610101"/>
              <a:gd name="connsiteY37442" fmla="*/ 489194 h 6557032"/>
              <a:gd name="connsiteX37443" fmla="*/ 3190941 w 4610101"/>
              <a:gd name="connsiteY37443" fmla="*/ 484042 h 6557032"/>
              <a:gd name="connsiteX37444" fmla="*/ 3196093 w 4610101"/>
              <a:gd name="connsiteY37444" fmla="*/ 489194 h 6557032"/>
              <a:gd name="connsiteX37445" fmla="*/ 3192449 w 4610101"/>
              <a:gd name="connsiteY37445" fmla="*/ 463684 h 6557032"/>
              <a:gd name="connsiteX37446" fmla="*/ 3186982 w 4610101"/>
              <a:gd name="connsiteY37446" fmla="*/ 463684 h 6557032"/>
              <a:gd name="connsiteX37447" fmla="*/ 1211747 w 4610101"/>
              <a:gd name="connsiteY37447" fmla="*/ 463684 h 6557032"/>
              <a:gd name="connsiteX37448" fmla="*/ 1212202 w 4610101"/>
              <a:gd name="connsiteY37448" fmla="*/ 465278 h 6557032"/>
              <a:gd name="connsiteX37449" fmla="*/ 1212146 w 4610101"/>
              <a:gd name="connsiteY37449" fmla="*/ 465284 h 6557032"/>
              <a:gd name="connsiteX37450" fmla="*/ 1160725 w 4610101"/>
              <a:gd name="connsiteY37450" fmla="*/ 463684 h 6557032"/>
              <a:gd name="connsiteX37451" fmla="*/ 1162547 w 4610101"/>
              <a:gd name="connsiteY37451" fmla="*/ 469150 h 6557032"/>
              <a:gd name="connsiteX37452" fmla="*/ 1160725 w 4610101"/>
              <a:gd name="connsiteY37452" fmla="*/ 463684 h 6557032"/>
              <a:gd name="connsiteX37453" fmla="*/ 3509507 w 4610101"/>
              <a:gd name="connsiteY37453" fmla="*/ 461862 h 6557032"/>
              <a:gd name="connsiteX37454" fmla="*/ 3511330 w 4610101"/>
              <a:gd name="connsiteY37454" fmla="*/ 467328 h 6557032"/>
              <a:gd name="connsiteX37455" fmla="*/ 3509507 w 4610101"/>
              <a:gd name="connsiteY37455" fmla="*/ 461862 h 6557032"/>
              <a:gd name="connsiteX37456" fmla="*/ 2374293 w 4610101"/>
              <a:gd name="connsiteY37456" fmla="*/ 461862 h 6557032"/>
              <a:gd name="connsiteX37457" fmla="*/ 2372471 w 4610101"/>
              <a:gd name="connsiteY37457" fmla="*/ 474618 h 6557032"/>
              <a:gd name="connsiteX37458" fmla="*/ 2374293 w 4610101"/>
              <a:gd name="connsiteY37458" fmla="*/ 461862 h 6557032"/>
              <a:gd name="connsiteX37459" fmla="*/ 1186236 w 4610101"/>
              <a:gd name="connsiteY37459" fmla="*/ 460039 h 6557032"/>
              <a:gd name="connsiteX37460" fmla="*/ 1188058 w 4610101"/>
              <a:gd name="connsiteY37460" fmla="*/ 469150 h 6557032"/>
              <a:gd name="connsiteX37461" fmla="*/ 1186236 w 4610101"/>
              <a:gd name="connsiteY37461" fmla="*/ 460039 h 6557032"/>
              <a:gd name="connsiteX37462" fmla="*/ 1263453 w 4610101"/>
              <a:gd name="connsiteY37462" fmla="*/ 460036 h 6557032"/>
              <a:gd name="connsiteX37463" fmla="*/ 1263451 w 4610101"/>
              <a:gd name="connsiteY37463" fmla="*/ 460043 h 6557032"/>
              <a:gd name="connsiteX37464" fmla="*/ 1263450 w 4610101"/>
              <a:gd name="connsiteY37464" fmla="*/ 460040 h 6557032"/>
              <a:gd name="connsiteX37465" fmla="*/ 2099145 w 4610101"/>
              <a:gd name="connsiteY37465" fmla="*/ 458218 h 6557032"/>
              <a:gd name="connsiteX37466" fmla="*/ 2095500 w 4610101"/>
              <a:gd name="connsiteY37466" fmla="*/ 461862 h 6557032"/>
              <a:gd name="connsiteX37467" fmla="*/ 2104611 w 4610101"/>
              <a:gd name="connsiteY37467" fmla="*/ 469150 h 6557032"/>
              <a:gd name="connsiteX37468" fmla="*/ 2099145 w 4610101"/>
              <a:gd name="connsiteY37468" fmla="*/ 458218 h 6557032"/>
              <a:gd name="connsiteX37469" fmla="*/ 2560155 w 4610101"/>
              <a:gd name="connsiteY37469" fmla="*/ 456395 h 6557032"/>
              <a:gd name="connsiteX37470" fmla="*/ 2558332 w 4610101"/>
              <a:gd name="connsiteY37470" fmla="*/ 472795 h 6557032"/>
              <a:gd name="connsiteX37471" fmla="*/ 2565621 w 4610101"/>
              <a:gd name="connsiteY37471" fmla="*/ 470972 h 6557032"/>
              <a:gd name="connsiteX37472" fmla="*/ 2560155 w 4610101"/>
              <a:gd name="connsiteY37472" fmla="*/ 456395 h 6557032"/>
              <a:gd name="connsiteX37473" fmla="*/ 3239826 w 4610101"/>
              <a:gd name="connsiteY37473" fmla="*/ 454574 h 6557032"/>
              <a:gd name="connsiteX37474" fmla="*/ 3241648 w 4610101"/>
              <a:gd name="connsiteY37474" fmla="*/ 469150 h 6557032"/>
              <a:gd name="connsiteX37475" fmla="*/ 3245292 w 4610101"/>
              <a:gd name="connsiteY37475" fmla="*/ 458218 h 6557032"/>
              <a:gd name="connsiteX37476" fmla="*/ 3239826 w 4610101"/>
              <a:gd name="connsiteY37476" fmla="*/ 454574 h 6557032"/>
              <a:gd name="connsiteX37477" fmla="*/ 2383404 w 4610101"/>
              <a:gd name="connsiteY37477" fmla="*/ 454574 h 6557032"/>
              <a:gd name="connsiteX37478" fmla="*/ 2379760 w 4610101"/>
              <a:gd name="connsiteY37478" fmla="*/ 463684 h 6557032"/>
              <a:gd name="connsiteX37479" fmla="*/ 2383404 w 4610101"/>
              <a:gd name="connsiteY37479" fmla="*/ 463684 h 6557032"/>
              <a:gd name="connsiteX37480" fmla="*/ 2383404 w 4610101"/>
              <a:gd name="connsiteY37480" fmla="*/ 454574 h 6557032"/>
              <a:gd name="connsiteX37481" fmla="*/ 2121011 w 4610101"/>
              <a:gd name="connsiteY37481" fmla="*/ 454574 h 6557032"/>
              <a:gd name="connsiteX37482" fmla="*/ 2126477 w 4610101"/>
              <a:gd name="connsiteY37482" fmla="*/ 470972 h 6557032"/>
              <a:gd name="connsiteX37483" fmla="*/ 2121011 w 4610101"/>
              <a:gd name="connsiteY37483" fmla="*/ 454574 h 6557032"/>
              <a:gd name="connsiteX37484" fmla="*/ 2040835 w 4610101"/>
              <a:gd name="connsiteY37484" fmla="*/ 454574 h 6557032"/>
              <a:gd name="connsiteX37485" fmla="*/ 2048124 w 4610101"/>
              <a:gd name="connsiteY37485" fmla="*/ 480083 h 6557032"/>
              <a:gd name="connsiteX37486" fmla="*/ 2040835 w 4610101"/>
              <a:gd name="connsiteY37486" fmla="*/ 454574 h 6557032"/>
              <a:gd name="connsiteX37487" fmla="*/ 2203009 w 4610101"/>
              <a:gd name="connsiteY37487" fmla="*/ 452751 h 6557032"/>
              <a:gd name="connsiteX37488" fmla="*/ 2188431 w 4610101"/>
              <a:gd name="connsiteY37488" fmla="*/ 467328 h 6557032"/>
              <a:gd name="connsiteX37489" fmla="*/ 2181143 w 4610101"/>
              <a:gd name="connsiteY37489" fmla="*/ 483955 h 6557032"/>
              <a:gd name="connsiteX37490" fmla="*/ 2183451 w 4610101"/>
              <a:gd name="connsiteY37490" fmla="*/ 487130 h 6557032"/>
              <a:gd name="connsiteX37491" fmla="*/ 2182965 w 4610101"/>
              <a:gd name="connsiteY37491" fmla="*/ 487373 h 6557032"/>
              <a:gd name="connsiteX37492" fmla="*/ 2183867 w 4610101"/>
              <a:gd name="connsiteY37492" fmla="*/ 487701 h 6557032"/>
              <a:gd name="connsiteX37493" fmla="*/ 2190253 w 4610101"/>
              <a:gd name="connsiteY37493" fmla="*/ 496483 h 6557032"/>
              <a:gd name="connsiteX37494" fmla="*/ 2187976 w 4610101"/>
              <a:gd name="connsiteY37494" fmla="*/ 489195 h 6557032"/>
              <a:gd name="connsiteX37495" fmla="*/ 2183867 w 4610101"/>
              <a:gd name="connsiteY37495" fmla="*/ 487701 h 6557032"/>
              <a:gd name="connsiteX37496" fmla="*/ 2183451 w 4610101"/>
              <a:gd name="connsiteY37496" fmla="*/ 487130 h 6557032"/>
              <a:gd name="connsiteX37497" fmla="*/ 2186609 w 4610101"/>
              <a:gd name="connsiteY37497" fmla="*/ 485550 h 6557032"/>
              <a:gd name="connsiteX37498" fmla="*/ 2184787 w 4610101"/>
              <a:gd name="connsiteY37498" fmla="*/ 480083 h 6557032"/>
              <a:gd name="connsiteX37499" fmla="*/ 2197542 w 4610101"/>
              <a:gd name="connsiteY37499" fmla="*/ 485550 h 6557032"/>
              <a:gd name="connsiteX37500" fmla="*/ 2192076 w 4610101"/>
              <a:gd name="connsiteY37500" fmla="*/ 492838 h 6557032"/>
              <a:gd name="connsiteX37501" fmla="*/ 2193901 w 4610101"/>
              <a:gd name="connsiteY37501" fmla="*/ 494663 h 6557032"/>
              <a:gd name="connsiteX37502" fmla="*/ 2193898 w 4610101"/>
              <a:gd name="connsiteY37502" fmla="*/ 494662 h 6557032"/>
              <a:gd name="connsiteX37503" fmla="*/ 2195720 w 4610101"/>
              <a:gd name="connsiteY37503" fmla="*/ 505594 h 6557032"/>
              <a:gd name="connsiteX37504" fmla="*/ 2190937 w 4610101"/>
              <a:gd name="connsiteY37504" fmla="*/ 502178 h 6557032"/>
              <a:gd name="connsiteX37505" fmla="*/ 2188957 w 4610101"/>
              <a:gd name="connsiteY37505" fmla="*/ 501518 h 6557032"/>
              <a:gd name="connsiteX37506" fmla="*/ 2188431 w 4610101"/>
              <a:gd name="connsiteY37506" fmla="*/ 500127 h 6557032"/>
              <a:gd name="connsiteX37507" fmla="*/ 2188151 w 4610101"/>
              <a:gd name="connsiteY37507" fmla="*/ 501249 h 6557032"/>
              <a:gd name="connsiteX37508" fmla="*/ 2184787 w 4610101"/>
              <a:gd name="connsiteY37508" fmla="*/ 500127 h 6557032"/>
              <a:gd name="connsiteX37509" fmla="*/ 2186609 w 4610101"/>
              <a:gd name="connsiteY37509" fmla="*/ 507417 h 6557032"/>
              <a:gd name="connsiteX37510" fmla="*/ 2188151 w 4610101"/>
              <a:gd name="connsiteY37510" fmla="*/ 501249 h 6557032"/>
              <a:gd name="connsiteX37511" fmla="*/ 2188957 w 4610101"/>
              <a:gd name="connsiteY37511" fmla="*/ 501518 h 6557032"/>
              <a:gd name="connsiteX37512" fmla="*/ 2191620 w 4610101"/>
              <a:gd name="connsiteY37512" fmla="*/ 508555 h 6557032"/>
              <a:gd name="connsiteX37513" fmla="*/ 2197542 w 4610101"/>
              <a:gd name="connsiteY37513" fmla="*/ 512882 h 6557032"/>
              <a:gd name="connsiteX37514" fmla="*/ 2195720 w 4610101"/>
              <a:gd name="connsiteY37514" fmla="*/ 505594 h 6557032"/>
              <a:gd name="connsiteX37515" fmla="*/ 2199364 w 4610101"/>
              <a:gd name="connsiteY37515" fmla="*/ 507417 h 6557032"/>
              <a:gd name="connsiteX37516" fmla="*/ 2233986 w 4610101"/>
              <a:gd name="connsiteY37516" fmla="*/ 492838 h 6557032"/>
              <a:gd name="connsiteX37517" fmla="*/ 2232163 w 4610101"/>
              <a:gd name="connsiteY37517" fmla="*/ 485550 h 6557032"/>
              <a:gd name="connsiteX37518" fmla="*/ 2239452 w 4610101"/>
              <a:gd name="connsiteY37518" fmla="*/ 491017 h 6557032"/>
              <a:gd name="connsiteX37519" fmla="*/ 2235808 w 4610101"/>
              <a:gd name="connsiteY37519" fmla="*/ 470972 h 6557032"/>
              <a:gd name="connsiteX37520" fmla="*/ 2232163 w 4610101"/>
              <a:gd name="connsiteY37520" fmla="*/ 474618 h 6557032"/>
              <a:gd name="connsiteX37521" fmla="*/ 2224875 w 4610101"/>
              <a:gd name="connsiteY37521" fmla="*/ 460039 h 6557032"/>
              <a:gd name="connsiteX37522" fmla="*/ 2226697 w 4610101"/>
              <a:gd name="connsiteY37522" fmla="*/ 467328 h 6557032"/>
              <a:gd name="connsiteX37523" fmla="*/ 2206653 w 4610101"/>
              <a:gd name="connsiteY37523" fmla="*/ 452751 h 6557032"/>
              <a:gd name="connsiteX37524" fmla="*/ 2204831 w 4610101"/>
              <a:gd name="connsiteY37524" fmla="*/ 458218 h 6557032"/>
              <a:gd name="connsiteX37525" fmla="*/ 2203009 w 4610101"/>
              <a:gd name="connsiteY37525" fmla="*/ 452751 h 6557032"/>
              <a:gd name="connsiteX37526" fmla="*/ 495632 w 4610101"/>
              <a:gd name="connsiteY37526" fmla="*/ 452751 h 6557032"/>
              <a:gd name="connsiteX37527" fmla="*/ 506565 w 4610101"/>
              <a:gd name="connsiteY37527" fmla="*/ 472795 h 6557032"/>
              <a:gd name="connsiteX37528" fmla="*/ 501098 w 4610101"/>
              <a:gd name="connsiteY37528" fmla="*/ 469150 h 6557032"/>
              <a:gd name="connsiteX37529" fmla="*/ 501520 w 4610101"/>
              <a:gd name="connsiteY37529" fmla="*/ 469958 h 6557032"/>
              <a:gd name="connsiteX37530" fmla="*/ 500985 w 4610101"/>
              <a:gd name="connsiteY37530" fmla="*/ 469222 h 6557032"/>
              <a:gd name="connsiteX37531" fmla="*/ 3606747 w 4610101"/>
              <a:gd name="connsiteY37531" fmla="*/ 451012 h 6557032"/>
              <a:gd name="connsiteX37532" fmla="*/ 3607905 w 4610101"/>
              <a:gd name="connsiteY37532" fmla="*/ 458218 h 6557032"/>
              <a:gd name="connsiteX37533" fmla="*/ 3606315 w 4610101"/>
              <a:gd name="connsiteY37533" fmla="*/ 459755 h 6557032"/>
              <a:gd name="connsiteX37534" fmla="*/ 3605400 w 4610101"/>
              <a:gd name="connsiteY37534" fmla="*/ 454345 h 6557032"/>
              <a:gd name="connsiteX37535" fmla="*/ 3010033 w 4610101"/>
              <a:gd name="connsiteY37535" fmla="*/ 450616 h 6557032"/>
              <a:gd name="connsiteX37536" fmla="*/ 3002943 w 4610101"/>
              <a:gd name="connsiteY37536" fmla="*/ 454574 h 6557032"/>
              <a:gd name="connsiteX37537" fmla="*/ 3010232 w 4610101"/>
              <a:gd name="connsiteY37537" fmla="*/ 489194 h 6557032"/>
              <a:gd name="connsiteX37538" fmla="*/ 3013876 w 4610101"/>
              <a:gd name="connsiteY37538" fmla="*/ 474618 h 6557032"/>
              <a:gd name="connsiteX37539" fmla="*/ 3028453 w 4610101"/>
              <a:gd name="connsiteY37539" fmla="*/ 480083 h 6557032"/>
              <a:gd name="connsiteX37540" fmla="*/ 3028453 w 4610101"/>
              <a:gd name="connsiteY37540" fmla="*/ 474618 h 6557032"/>
              <a:gd name="connsiteX37541" fmla="*/ 3030276 w 4610101"/>
              <a:gd name="connsiteY37541" fmla="*/ 481906 h 6557032"/>
              <a:gd name="connsiteX37542" fmla="*/ 3028453 w 4610101"/>
              <a:gd name="connsiteY37542" fmla="*/ 501949 h 6557032"/>
              <a:gd name="connsiteX37543" fmla="*/ 3012054 w 4610101"/>
              <a:gd name="connsiteY37543" fmla="*/ 500127 h 6557032"/>
              <a:gd name="connsiteX37544" fmla="*/ 2995654 w 4610101"/>
              <a:gd name="connsiteY37544" fmla="*/ 536571 h 6557032"/>
              <a:gd name="connsiteX37545" fmla="*/ 3021165 w 4610101"/>
              <a:gd name="connsiteY37545" fmla="*/ 538393 h 6557032"/>
              <a:gd name="connsiteX37546" fmla="*/ 3021165 w 4610101"/>
              <a:gd name="connsiteY37546" fmla="*/ 531105 h 6557032"/>
              <a:gd name="connsiteX37547" fmla="*/ 3027448 w 4610101"/>
              <a:gd name="connsiteY37547" fmla="*/ 532675 h 6557032"/>
              <a:gd name="connsiteX37548" fmla="*/ 3029593 w 4610101"/>
              <a:gd name="connsiteY37548" fmla="*/ 536799 h 6557032"/>
              <a:gd name="connsiteX37549" fmla="*/ 3030237 w 4610101"/>
              <a:gd name="connsiteY37549" fmla="*/ 537037 h 6557032"/>
              <a:gd name="connsiteX37550" fmla="*/ 3024809 w 4610101"/>
              <a:gd name="connsiteY37550" fmla="*/ 538393 h 6557032"/>
              <a:gd name="connsiteX37551" fmla="*/ 3017521 w 4610101"/>
              <a:gd name="connsiteY37551" fmla="*/ 549326 h 6557032"/>
              <a:gd name="connsiteX37552" fmla="*/ 3019343 w 4610101"/>
              <a:gd name="connsiteY37552" fmla="*/ 565725 h 6557032"/>
              <a:gd name="connsiteX37553" fmla="*/ 3064897 w 4610101"/>
              <a:gd name="connsiteY37553" fmla="*/ 567548 h 6557032"/>
              <a:gd name="connsiteX37554" fmla="*/ 3066719 w 4610101"/>
              <a:gd name="connsiteY37554" fmla="*/ 578481 h 6557032"/>
              <a:gd name="connsiteX37555" fmla="*/ 3074008 w 4610101"/>
              <a:gd name="connsiteY37555" fmla="*/ 573014 h 6557032"/>
              <a:gd name="connsiteX37556" fmla="*/ 3077652 w 4610101"/>
              <a:gd name="connsiteY37556" fmla="*/ 580303 h 6557032"/>
              <a:gd name="connsiteX37557" fmla="*/ 3081297 w 4610101"/>
              <a:gd name="connsiteY37557" fmla="*/ 576658 h 6557032"/>
              <a:gd name="connsiteX37558" fmla="*/ 3083119 w 4610101"/>
              <a:gd name="connsiteY37558" fmla="*/ 583947 h 6557032"/>
              <a:gd name="connsiteX37559" fmla="*/ 3092230 w 4610101"/>
              <a:gd name="connsiteY37559" fmla="*/ 582125 h 6557032"/>
              <a:gd name="connsiteX37560" fmla="*/ 3097696 w 4610101"/>
              <a:gd name="connsiteY37560" fmla="*/ 591236 h 6557032"/>
              <a:gd name="connsiteX37561" fmla="*/ 3101340 w 4610101"/>
              <a:gd name="connsiteY37561" fmla="*/ 591236 h 6557032"/>
              <a:gd name="connsiteX37562" fmla="*/ 3094052 w 4610101"/>
              <a:gd name="connsiteY37562" fmla="*/ 580303 h 6557032"/>
              <a:gd name="connsiteX37563" fmla="*/ 3106807 w 4610101"/>
              <a:gd name="connsiteY37563" fmla="*/ 600347 h 6557032"/>
              <a:gd name="connsiteX37564" fmla="*/ 3099518 w 4610101"/>
              <a:gd name="connsiteY37564" fmla="*/ 598524 h 6557032"/>
              <a:gd name="connsiteX37565" fmla="*/ 3108629 w 4610101"/>
              <a:gd name="connsiteY37565" fmla="*/ 609459 h 6557032"/>
              <a:gd name="connsiteX37566" fmla="*/ 3106807 w 4610101"/>
              <a:gd name="connsiteY37566" fmla="*/ 607635 h 6557032"/>
              <a:gd name="connsiteX37567" fmla="*/ 3088585 w 4610101"/>
              <a:gd name="connsiteY37567" fmla="*/ 622213 h 6557032"/>
              <a:gd name="connsiteX37568" fmla="*/ 3090407 w 4610101"/>
              <a:gd name="connsiteY37568" fmla="*/ 609459 h 6557032"/>
              <a:gd name="connsiteX37569" fmla="*/ 3094052 w 4610101"/>
              <a:gd name="connsiteY37569" fmla="*/ 611280 h 6557032"/>
              <a:gd name="connsiteX37570" fmla="*/ 3092230 w 4610101"/>
              <a:gd name="connsiteY37570" fmla="*/ 603991 h 6557032"/>
              <a:gd name="connsiteX37571" fmla="*/ 3079474 w 4610101"/>
              <a:gd name="connsiteY37571" fmla="*/ 609459 h 6557032"/>
              <a:gd name="connsiteX37572" fmla="*/ 3079474 w 4610101"/>
              <a:gd name="connsiteY37572" fmla="*/ 620391 h 6557032"/>
              <a:gd name="connsiteX37573" fmla="*/ 3106807 w 4610101"/>
              <a:gd name="connsiteY37573" fmla="*/ 627679 h 6557032"/>
              <a:gd name="connsiteX37574" fmla="*/ 3104985 w 4610101"/>
              <a:gd name="connsiteY37574" fmla="*/ 616746 h 6557032"/>
              <a:gd name="connsiteX37575" fmla="*/ 3108629 w 4610101"/>
              <a:gd name="connsiteY37575" fmla="*/ 622213 h 6557032"/>
              <a:gd name="connsiteX37576" fmla="*/ 3110451 w 4610101"/>
              <a:gd name="connsiteY37576" fmla="*/ 618568 h 6557032"/>
              <a:gd name="connsiteX37577" fmla="*/ 3117740 w 4610101"/>
              <a:gd name="connsiteY37577" fmla="*/ 622213 h 6557032"/>
              <a:gd name="connsiteX37578" fmla="*/ 3119562 w 4610101"/>
              <a:gd name="connsiteY37578" fmla="*/ 613103 h 6557032"/>
              <a:gd name="connsiteX37579" fmla="*/ 3121384 w 4610101"/>
              <a:gd name="connsiteY37579" fmla="*/ 620391 h 6557032"/>
              <a:gd name="connsiteX37580" fmla="*/ 3123206 w 4610101"/>
              <a:gd name="connsiteY37580" fmla="*/ 605813 h 6557032"/>
              <a:gd name="connsiteX37581" fmla="*/ 3119562 w 4610101"/>
              <a:gd name="connsiteY37581" fmla="*/ 609459 h 6557032"/>
              <a:gd name="connsiteX37582" fmla="*/ 3079474 w 4610101"/>
              <a:gd name="connsiteY37582" fmla="*/ 543860 h 6557032"/>
              <a:gd name="connsiteX37583" fmla="*/ 3083119 w 4610101"/>
              <a:gd name="connsiteY37583" fmla="*/ 545681 h 6557032"/>
              <a:gd name="connsiteX37584" fmla="*/ 3066719 w 4610101"/>
              <a:gd name="connsiteY37584" fmla="*/ 501949 h 6557032"/>
              <a:gd name="connsiteX37585" fmla="*/ 3064897 w 4610101"/>
              <a:gd name="connsiteY37585" fmla="*/ 507417 h 6557032"/>
              <a:gd name="connsiteX37586" fmla="*/ 3059886 w 4610101"/>
              <a:gd name="connsiteY37586" fmla="*/ 488967 h 6557032"/>
              <a:gd name="connsiteX37587" fmla="*/ 3058114 w 4610101"/>
              <a:gd name="connsiteY37587" fmla="*/ 487775 h 6557032"/>
              <a:gd name="connsiteX37588" fmla="*/ 3057608 w 4610101"/>
              <a:gd name="connsiteY37588" fmla="*/ 483728 h 6557032"/>
              <a:gd name="connsiteX37589" fmla="*/ 3057316 w 4610101"/>
              <a:gd name="connsiteY37589" fmla="*/ 487238 h 6557032"/>
              <a:gd name="connsiteX37590" fmla="*/ 3046675 w 4610101"/>
              <a:gd name="connsiteY37590" fmla="*/ 480083 h 6557032"/>
              <a:gd name="connsiteX37591" fmla="*/ 3052142 w 4610101"/>
              <a:gd name="connsiteY37591" fmla="*/ 480083 h 6557032"/>
              <a:gd name="connsiteX37592" fmla="*/ 3037564 w 4610101"/>
              <a:gd name="connsiteY37592" fmla="*/ 467328 h 6557032"/>
              <a:gd name="connsiteX37593" fmla="*/ 3030276 w 4610101"/>
              <a:gd name="connsiteY37593" fmla="*/ 476439 h 6557032"/>
              <a:gd name="connsiteX37594" fmla="*/ 3030276 w 4610101"/>
              <a:gd name="connsiteY37594" fmla="*/ 463684 h 6557032"/>
              <a:gd name="connsiteX37595" fmla="*/ 3017293 w 4610101"/>
              <a:gd name="connsiteY37595" fmla="*/ 452979 h 6557032"/>
              <a:gd name="connsiteX37596" fmla="*/ 3010033 w 4610101"/>
              <a:gd name="connsiteY37596" fmla="*/ 450616 h 6557032"/>
              <a:gd name="connsiteX37597" fmla="*/ 2283184 w 4610101"/>
              <a:gd name="connsiteY37597" fmla="*/ 449107 h 6557032"/>
              <a:gd name="connsiteX37598" fmla="*/ 2286829 w 4610101"/>
              <a:gd name="connsiteY37598" fmla="*/ 458218 h 6557032"/>
              <a:gd name="connsiteX37599" fmla="*/ 2288651 w 4610101"/>
              <a:gd name="connsiteY37599" fmla="*/ 452751 h 6557032"/>
              <a:gd name="connsiteX37600" fmla="*/ 2283184 w 4610101"/>
              <a:gd name="connsiteY37600" fmla="*/ 449107 h 6557032"/>
              <a:gd name="connsiteX37601" fmla="*/ 3256225 w 4610101"/>
              <a:gd name="connsiteY37601" fmla="*/ 447284 h 6557032"/>
              <a:gd name="connsiteX37602" fmla="*/ 3254403 w 4610101"/>
              <a:gd name="connsiteY37602" fmla="*/ 467328 h 6557032"/>
              <a:gd name="connsiteX37603" fmla="*/ 3256225 w 4610101"/>
              <a:gd name="connsiteY37603" fmla="*/ 447284 h 6557032"/>
              <a:gd name="connsiteX37604" fmla="*/ 3232537 w 4610101"/>
              <a:gd name="connsiteY37604" fmla="*/ 447284 h 6557032"/>
              <a:gd name="connsiteX37605" fmla="*/ 3236181 w 4610101"/>
              <a:gd name="connsiteY37605" fmla="*/ 452751 h 6557032"/>
              <a:gd name="connsiteX37606" fmla="*/ 3232537 w 4610101"/>
              <a:gd name="connsiteY37606" fmla="*/ 447284 h 6557032"/>
              <a:gd name="connsiteX37607" fmla="*/ 3079474 w 4610101"/>
              <a:gd name="connsiteY37607" fmla="*/ 447284 h 6557032"/>
              <a:gd name="connsiteX37608" fmla="*/ 3081297 w 4610101"/>
              <a:gd name="connsiteY37608" fmla="*/ 456395 h 6557032"/>
              <a:gd name="connsiteX37609" fmla="*/ 3079474 w 4610101"/>
              <a:gd name="connsiteY37609" fmla="*/ 447284 h 6557032"/>
              <a:gd name="connsiteX37610" fmla="*/ 3053964 w 4610101"/>
              <a:gd name="connsiteY37610" fmla="*/ 447284 h 6557032"/>
              <a:gd name="connsiteX37611" fmla="*/ 3052142 w 4610101"/>
              <a:gd name="connsiteY37611" fmla="*/ 456395 h 6557032"/>
              <a:gd name="connsiteX37612" fmla="*/ 3063075 w 4610101"/>
              <a:gd name="connsiteY37612" fmla="*/ 456395 h 6557032"/>
              <a:gd name="connsiteX37613" fmla="*/ 3053964 w 4610101"/>
              <a:gd name="connsiteY37613" fmla="*/ 447284 h 6557032"/>
              <a:gd name="connsiteX37614" fmla="*/ 1075083 w 4610101"/>
              <a:gd name="connsiteY37614" fmla="*/ 446744 h 6557032"/>
              <a:gd name="connsiteX37615" fmla="*/ 1075083 w 4610101"/>
              <a:gd name="connsiteY37615" fmla="*/ 450928 h 6557032"/>
              <a:gd name="connsiteX37616" fmla="*/ 1074368 w 4610101"/>
              <a:gd name="connsiteY37616" fmla="*/ 449498 h 6557032"/>
              <a:gd name="connsiteX37617" fmla="*/ 3415723 w 4610101"/>
              <a:gd name="connsiteY37617" fmla="*/ 446601 h 6557032"/>
              <a:gd name="connsiteX37618" fmla="*/ 3411110 w 4610101"/>
              <a:gd name="connsiteY37618" fmla="*/ 449107 h 6557032"/>
              <a:gd name="connsiteX37619" fmla="*/ 3412932 w 4610101"/>
              <a:gd name="connsiteY37619" fmla="*/ 460039 h 6557032"/>
              <a:gd name="connsiteX37620" fmla="*/ 3425687 w 4610101"/>
              <a:gd name="connsiteY37620" fmla="*/ 458218 h 6557032"/>
              <a:gd name="connsiteX37621" fmla="*/ 3409288 w 4610101"/>
              <a:gd name="connsiteY37621" fmla="*/ 469150 h 6557032"/>
              <a:gd name="connsiteX37622" fmla="*/ 3407466 w 4610101"/>
              <a:gd name="connsiteY37622" fmla="*/ 461862 h 6557032"/>
              <a:gd name="connsiteX37623" fmla="*/ 3411110 w 4610101"/>
              <a:gd name="connsiteY37623" fmla="*/ 465506 h 6557032"/>
              <a:gd name="connsiteX37624" fmla="*/ 3400177 w 4610101"/>
              <a:gd name="connsiteY37624" fmla="*/ 454574 h 6557032"/>
              <a:gd name="connsiteX37625" fmla="*/ 3407466 w 4610101"/>
              <a:gd name="connsiteY37625" fmla="*/ 470972 h 6557032"/>
              <a:gd name="connsiteX37626" fmla="*/ 3383777 w 4610101"/>
              <a:gd name="connsiteY37626" fmla="*/ 463684 h 6557032"/>
              <a:gd name="connsiteX37627" fmla="*/ 3383777 w 4610101"/>
              <a:gd name="connsiteY37627" fmla="*/ 481906 h 6557032"/>
              <a:gd name="connsiteX37628" fmla="*/ 3367378 w 4610101"/>
              <a:gd name="connsiteY37628" fmla="*/ 485550 h 6557032"/>
              <a:gd name="connsiteX37629" fmla="*/ 3378311 w 4610101"/>
              <a:gd name="connsiteY37629" fmla="*/ 496483 h 6557032"/>
              <a:gd name="connsiteX37630" fmla="*/ 3389244 w 4610101"/>
              <a:gd name="connsiteY37630" fmla="*/ 492838 h 6557032"/>
              <a:gd name="connsiteX37631" fmla="*/ 3389244 w 4610101"/>
              <a:gd name="connsiteY37631" fmla="*/ 498306 h 6557032"/>
              <a:gd name="connsiteX37632" fmla="*/ 3436621 w 4610101"/>
              <a:gd name="connsiteY37632" fmla="*/ 470972 h 6557032"/>
              <a:gd name="connsiteX37633" fmla="*/ 3411110 w 4610101"/>
              <a:gd name="connsiteY37633" fmla="*/ 492838 h 6557032"/>
              <a:gd name="connsiteX37634" fmla="*/ 3409288 w 4610101"/>
              <a:gd name="connsiteY37634" fmla="*/ 498306 h 6557032"/>
              <a:gd name="connsiteX37635" fmla="*/ 3416577 w 4610101"/>
              <a:gd name="connsiteY37635" fmla="*/ 501949 h 6557032"/>
              <a:gd name="connsiteX37636" fmla="*/ 3436621 w 4610101"/>
              <a:gd name="connsiteY37636" fmla="*/ 500127 h 6557032"/>
              <a:gd name="connsiteX37637" fmla="*/ 3442087 w 4610101"/>
              <a:gd name="connsiteY37637" fmla="*/ 498306 h 6557032"/>
              <a:gd name="connsiteX37638" fmla="*/ 3462131 w 4610101"/>
              <a:gd name="connsiteY37638" fmla="*/ 512882 h 6557032"/>
              <a:gd name="connsiteX37639" fmla="*/ 3473064 w 4610101"/>
              <a:gd name="connsiteY37639" fmla="*/ 509238 h 6557032"/>
              <a:gd name="connsiteX37640" fmla="*/ 3471242 w 4610101"/>
              <a:gd name="connsiteY37640" fmla="*/ 516527 h 6557032"/>
              <a:gd name="connsiteX37641" fmla="*/ 3463953 w 4610101"/>
              <a:gd name="connsiteY37641" fmla="*/ 527461 h 6557032"/>
              <a:gd name="connsiteX37642" fmla="*/ 3451198 w 4610101"/>
              <a:gd name="connsiteY37642" fmla="*/ 516527 h 6557032"/>
              <a:gd name="connsiteX37643" fmla="*/ 3463953 w 4610101"/>
              <a:gd name="connsiteY37643" fmla="*/ 536571 h 6557032"/>
              <a:gd name="connsiteX37644" fmla="*/ 3465775 w 4610101"/>
              <a:gd name="connsiteY37644" fmla="*/ 532926 h 6557032"/>
              <a:gd name="connsiteX37645" fmla="*/ 3467597 w 4610101"/>
              <a:gd name="connsiteY37645" fmla="*/ 549326 h 6557032"/>
              <a:gd name="connsiteX37646" fmla="*/ 3469419 w 4610101"/>
              <a:gd name="connsiteY37646" fmla="*/ 554792 h 6557032"/>
              <a:gd name="connsiteX37647" fmla="*/ 3496752 w 4610101"/>
              <a:gd name="connsiteY37647" fmla="*/ 512882 h 6557032"/>
              <a:gd name="connsiteX37648" fmla="*/ 3487641 w 4610101"/>
              <a:gd name="connsiteY37648" fmla="*/ 480083 h 6557032"/>
              <a:gd name="connsiteX37649" fmla="*/ 3463953 w 4610101"/>
              <a:gd name="connsiteY37649" fmla="*/ 461862 h 6557032"/>
              <a:gd name="connsiteX37650" fmla="*/ 3458487 w 4610101"/>
              <a:gd name="connsiteY37650" fmla="*/ 463684 h 6557032"/>
              <a:gd name="connsiteX37651" fmla="*/ 3447553 w 4610101"/>
              <a:gd name="connsiteY37651" fmla="*/ 456395 h 6557032"/>
              <a:gd name="connsiteX37652" fmla="*/ 3449376 w 4610101"/>
              <a:gd name="connsiteY37652" fmla="*/ 461862 h 6557032"/>
              <a:gd name="connsiteX37653" fmla="*/ 3440265 w 4610101"/>
              <a:gd name="connsiteY37653" fmla="*/ 447284 h 6557032"/>
              <a:gd name="connsiteX37654" fmla="*/ 3438443 w 4610101"/>
              <a:gd name="connsiteY37654" fmla="*/ 450928 h 6557032"/>
              <a:gd name="connsiteX37655" fmla="*/ 3438443 w 4610101"/>
              <a:gd name="connsiteY37655" fmla="*/ 463684 h 6557032"/>
              <a:gd name="connsiteX37656" fmla="*/ 3427510 w 4610101"/>
              <a:gd name="connsiteY37656" fmla="*/ 452751 h 6557032"/>
              <a:gd name="connsiteX37657" fmla="*/ 3415723 w 4610101"/>
              <a:gd name="connsiteY37657" fmla="*/ 446601 h 6557032"/>
              <a:gd name="connsiteX37658" fmla="*/ 3039387 w 4610101"/>
              <a:gd name="connsiteY37658" fmla="*/ 445463 h 6557032"/>
              <a:gd name="connsiteX37659" fmla="*/ 3030276 w 4610101"/>
              <a:gd name="connsiteY37659" fmla="*/ 450928 h 6557032"/>
              <a:gd name="connsiteX37660" fmla="*/ 3039387 w 4610101"/>
              <a:gd name="connsiteY37660" fmla="*/ 452751 h 6557032"/>
              <a:gd name="connsiteX37661" fmla="*/ 3039387 w 4610101"/>
              <a:gd name="connsiteY37661" fmla="*/ 445463 h 6557032"/>
              <a:gd name="connsiteX37662" fmla="*/ 2658552 w 4610101"/>
              <a:gd name="connsiteY37662" fmla="*/ 445463 h 6557032"/>
              <a:gd name="connsiteX37663" fmla="*/ 2662197 w 4610101"/>
              <a:gd name="connsiteY37663" fmla="*/ 461862 h 6557032"/>
              <a:gd name="connsiteX37664" fmla="*/ 2662197 w 4610101"/>
              <a:gd name="connsiteY37664" fmla="*/ 449107 h 6557032"/>
              <a:gd name="connsiteX37665" fmla="*/ 2658552 w 4610101"/>
              <a:gd name="connsiteY37665" fmla="*/ 445463 h 6557032"/>
              <a:gd name="connsiteX37666" fmla="*/ 2354249 w 4610101"/>
              <a:gd name="connsiteY37666" fmla="*/ 445463 h 6557032"/>
              <a:gd name="connsiteX37667" fmla="*/ 2345138 w 4610101"/>
              <a:gd name="connsiteY37667" fmla="*/ 460039 h 6557032"/>
              <a:gd name="connsiteX37668" fmla="*/ 2341494 w 4610101"/>
              <a:gd name="connsiteY37668" fmla="*/ 458218 h 6557032"/>
              <a:gd name="connsiteX37669" fmla="*/ 2345138 w 4610101"/>
              <a:gd name="connsiteY37669" fmla="*/ 469150 h 6557032"/>
              <a:gd name="connsiteX37670" fmla="*/ 2346960 w 4610101"/>
              <a:gd name="connsiteY37670" fmla="*/ 467328 h 6557032"/>
              <a:gd name="connsiteX37671" fmla="*/ 2346960 w 4610101"/>
              <a:gd name="connsiteY37671" fmla="*/ 474618 h 6557032"/>
              <a:gd name="connsiteX37672" fmla="*/ 2332383 w 4610101"/>
              <a:gd name="connsiteY37672" fmla="*/ 489194 h 6557032"/>
              <a:gd name="connsiteX37673" fmla="*/ 2330561 w 4610101"/>
              <a:gd name="connsiteY37673" fmla="*/ 469150 h 6557032"/>
              <a:gd name="connsiteX37674" fmla="*/ 2326916 w 4610101"/>
              <a:gd name="connsiteY37674" fmla="*/ 491017 h 6557032"/>
              <a:gd name="connsiteX37675" fmla="*/ 2317806 w 4610101"/>
              <a:gd name="connsiteY37675" fmla="*/ 465506 h 6557032"/>
              <a:gd name="connsiteX37676" fmla="*/ 2319628 w 4610101"/>
              <a:gd name="connsiteY37676" fmla="*/ 474618 h 6557032"/>
              <a:gd name="connsiteX37677" fmla="*/ 2315983 w 4610101"/>
              <a:gd name="connsiteY37677" fmla="*/ 454574 h 6557032"/>
              <a:gd name="connsiteX37678" fmla="*/ 2306873 w 4610101"/>
              <a:gd name="connsiteY37678" fmla="*/ 480083 h 6557032"/>
              <a:gd name="connsiteX37679" fmla="*/ 2303228 w 4610101"/>
              <a:gd name="connsiteY37679" fmla="*/ 472795 h 6557032"/>
              <a:gd name="connsiteX37680" fmla="*/ 2295940 w 4610101"/>
              <a:gd name="connsiteY37680" fmla="*/ 481906 h 6557032"/>
              <a:gd name="connsiteX37681" fmla="*/ 2295029 w 4610101"/>
              <a:gd name="connsiteY37681" fmla="*/ 514705 h 6557032"/>
              <a:gd name="connsiteX37682" fmla="*/ 2307120 w 4610101"/>
              <a:gd name="connsiteY37682" fmla="*/ 527213 h 6557032"/>
              <a:gd name="connsiteX37683" fmla="*/ 2303228 w 4610101"/>
              <a:gd name="connsiteY37683" fmla="*/ 531105 h 6557032"/>
              <a:gd name="connsiteX37684" fmla="*/ 2286829 w 4610101"/>
              <a:gd name="connsiteY37684" fmla="*/ 518349 h 6557032"/>
              <a:gd name="connsiteX37685" fmla="*/ 2292295 w 4610101"/>
              <a:gd name="connsiteY37685" fmla="*/ 569370 h 6557032"/>
              <a:gd name="connsiteX37686" fmla="*/ 2297762 w 4610101"/>
              <a:gd name="connsiteY37686" fmla="*/ 574836 h 6557032"/>
              <a:gd name="connsiteX37687" fmla="*/ 2302909 w 4610101"/>
              <a:gd name="connsiteY37687" fmla="*/ 567116 h 6557032"/>
              <a:gd name="connsiteX37688" fmla="*/ 2303228 w 4610101"/>
              <a:gd name="connsiteY37688" fmla="*/ 567548 h 6557032"/>
              <a:gd name="connsiteX37689" fmla="*/ 2305050 w 4610101"/>
              <a:gd name="connsiteY37689" fmla="*/ 563904 h 6557032"/>
              <a:gd name="connsiteX37690" fmla="*/ 2302909 w 4610101"/>
              <a:gd name="connsiteY37690" fmla="*/ 567116 h 6557032"/>
              <a:gd name="connsiteX37691" fmla="*/ 2299356 w 4610101"/>
              <a:gd name="connsiteY37691" fmla="*/ 562309 h 6557032"/>
              <a:gd name="connsiteX37692" fmla="*/ 2294117 w 4610101"/>
              <a:gd name="connsiteY37692" fmla="*/ 558437 h 6557032"/>
              <a:gd name="connsiteX37693" fmla="*/ 2299584 w 4610101"/>
              <a:gd name="connsiteY37693" fmla="*/ 552970 h 6557032"/>
              <a:gd name="connsiteX37694" fmla="*/ 2305050 w 4610101"/>
              <a:gd name="connsiteY37694" fmla="*/ 562081 h 6557032"/>
              <a:gd name="connsiteX37695" fmla="*/ 2306873 w 4610101"/>
              <a:gd name="connsiteY37695" fmla="*/ 549326 h 6557032"/>
              <a:gd name="connsiteX37696" fmla="*/ 2308695 w 4610101"/>
              <a:gd name="connsiteY37696" fmla="*/ 552970 h 6557032"/>
              <a:gd name="connsiteX37697" fmla="*/ 2312629 w 4610101"/>
              <a:gd name="connsiteY37697" fmla="*/ 541662 h 6557032"/>
              <a:gd name="connsiteX37698" fmla="*/ 2313250 w 4610101"/>
              <a:gd name="connsiteY37698" fmla="*/ 544771 h 6557032"/>
              <a:gd name="connsiteX37699" fmla="*/ 2314161 w 4610101"/>
              <a:gd name="connsiteY37699" fmla="*/ 549326 h 6557032"/>
              <a:gd name="connsiteX37700" fmla="*/ 2317806 w 4610101"/>
              <a:gd name="connsiteY37700" fmla="*/ 547504 h 6557032"/>
              <a:gd name="connsiteX37701" fmla="*/ 2312881 w 4610101"/>
              <a:gd name="connsiteY37701" fmla="*/ 540937 h 6557032"/>
              <a:gd name="connsiteX37702" fmla="*/ 2314162 w 4610101"/>
              <a:gd name="connsiteY37702" fmla="*/ 537254 h 6557032"/>
              <a:gd name="connsiteX37703" fmla="*/ 2311633 w 4610101"/>
              <a:gd name="connsiteY37703" fmla="*/ 531882 h 6557032"/>
              <a:gd name="connsiteX37704" fmla="*/ 2321450 w 4610101"/>
              <a:gd name="connsiteY37704" fmla="*/ 542037 h 6557032"/>
              <a:gd name="connsiteX37705" fmla="*/ 2319628 w 4610101"/>
              <a:gd name="connsiteY37705" fmla="*/ 531105 h 6557032"/>
              <a:gd name="connsiteX37706" fmla="*/ 2317806 w 4610101"/>
              <a:gd name="connsiteY37706" fmla="*/ 529282 h 6557032"/>
              <a:gd name="connsiteX37707" fmla="*/ 2315983 w 4610101"/>
              <a:gd name="connsiteY37707" fmla="*/ 532926 h 6557032"/>
              <a:gd name="connsiteX37708" fmla="*/ 2315983 w 4610101"/>
              <a:gd name="connsiteY37708" fmla="*/ 509238 h 6557032"/>
              <a:gd name="connsiteX37709" fmla="*/ 2325094 w 4610101"/>
              <a:gd name="connsiteY37709" fmla="*/ 523815 h 6557032"/>
              <a:gd name="connsiteX37710" fmla="*/ 2326916 w 4610101"/>
              <a:gd name="connsiteY37710" fmla="*/ 516527 h 6557032"/>
              <a:gd name="connsiteX37711" fmla="*/ 2328739 w 4610101"/>
              <a:gd name="connsiteY37711" fmla="*/ 527461 h 6557032"/>
              <a:gd name="connsiteX37712" fmla="*/ 2330561 w 4610101"/>
              <a:gd name="connsiteY37712" fmla="*/ 523815 h 6557032"/>
              <a:gd name="connsiteX37713" fmla="*/ 2341494 w 4610101"/>
              <a:gd name="connsiteY37713" fmla="*/ 512882 h 6557032"/>
              <a:gd name="connsiteX37714" fmla="*/ 2348782 w 4610101"/>
              <a:gd name="connsiteY37714" fmla="*/ 520171 h 6557032"/>
              <a:gd name="connsiteX37715" fmla="*/ 2352427 w 4610101"/>
              <a:gd name="connsiteY37715" fmla="*/ 496483 h 6557032"/>
              <a:gd name="connsiteX37716" fmla="*/ 2354249 w 4610101"/>
              <a:gd name="connsiteY37716" fmla="*/ 507417 h 6557032"/>
              <a:gd name="connsiteX37717" fmla="*/ 2361538 w 4610101"/>
              <a:gd name="connsiteY37717" fmla="*/ 472795 h 6557032"/>
              <a:gd name="connsiteX37718" fmla="*/ 2363360 w 4610101"/>
              <a:gd name="connsiteY37718" fmla="*/ 487373 h 6557032"/>
              <a:gd name="connsiteX37719" fmla="*/ 2352427 w 4610101"/>
              <a:gd name="connsiteY37719" fmla="*/ 461862 h 6557032"/>
              <a:gd name="connsiteX37720" fmla="*/ 2354249 w 4610101"/>
              <a:gd name="connsiteY37720" fmla="*/ 463684 h 6557032"/>
              <a:gd name="connsiteX37721" fmla="*/ 2354249 w 4610101"/>
              <a:gd name="connsiteY37721" fmla="*/ 445463 h 6557032"/>
              <a:gd name="connsiteX37722" fmla="*/ 2294117 w 4610101"/>
              <a:gd name="connsiteY37722" fmla="*/ 445463 h 6557032"/>
              <a:gd name="connsiteX37723" fmla="*/ 2292295 w 4610101"/>
              <a:gd name="connsiteY37723" fmla="*/ 456395 h 6557032"/>
              <a:gd name="connsiteX37724" fmla="*/ 2294117 w 4610101"/>
              <a:gd name="connsiteY37724" fmla="*/ 445463 h 6557032"/>
              <a:gd name="connsiteX37725" fmla="*/ 1290100 w 4610101"/>
              <a:gd name="connsiteY37725" fmla="*/ 445463 h 6557032"/>
              <a:gd name="connsiteX37726" fmla="*/ 1290100 w 4610101"/>
              <a:gd name="connsiteY37726" fmla="*/ 460039 h 6557032"/>
              <a:gd name="connsiteX37727" fmla="*/ 1299210 w 4610101"/>
              <a:gd name="connsiteY37727" fmla="*/ 456395 h 6557032"/>
              <a:gd name="connsiteX37728" fmla="*/ 1286455 w 4610101"/>
              <a:gd name="connsiteY37728" fmla="*/ 463684 h 6557032"/>
              <a:gd name="connsiteX37729" fmla="*/ 1283118 w 4610101"/>
              <a:gd name="connsiteY37729" fmla="*/ 468186 h 6557032"/>
              <a:gd name="connsiteX37730" fmla="*/ 1287167 w 4610101"/>
              <a:gd name="connsiteY37730" fmla="*/ 459157 h 6557032"/>
              <a:gd name="connsiteX37731" fmla="*/ 1286455 w 4610101"/>
              <a:gd name="connsiteY37731" fmla="*/ 449107 h 6557032"/>
              <a:gd name="connsiteX37732" fmla="*/ 1290100 w 4610101"/>
              <a:gd name="connsiteY37732" fmla="*/ 445463 h 6557032"/>
              <a:gd name="connsiteX37733" fmla="*/ 2325003 w 4610101"/>
              <a:gd name="connsiteY37733" fmla="*/ 444583 h 6557032"/>
              <a:gd name="connsiteX37734" fmla="*/ 2326916 w 4610101"/>
              <a:gd name="connsiteY37734" fmla="*/ 447284 h 6557032"/>
              <a:gd name="connsiteX37735" fmla="*/ 2323914 w 4610101"/>
              <a:gd name="connsiteY37735" fmla="*/ 448576 h 6557032"/>
              <a:gd name="connsiteX37736" fmla="*/ 3349156 w 4610101"/>
              <a:gd name="connsiteY37736" fmla="*/ 443640 h 6557032"/>
              <a:gd name="connsiteX37737" fmla="*/ 3329112 w 4610101"/>
              <a:gd name="connsiteY37737" fmla="*/ 467328 h 6557032"/>
              <a:gd name="connsiteX37738" fmla="*/ 3325240 w 4610101"/>
              <a:gd name="connsiteY37738" fmla="*/ 470745 h 6557032"/>
              <a:gd name="connsiteX37739" fmla="*/ 3323099 w 4610101"/>
              <a:gd name="connsiteY37739" fmla="*/ 471155 h 6557032"/>
              <a:gd name="connsiteX37740" fmla="*/ 3321824 w 4610101"/>
              <a:gd name="connsiteY37740" fmla="*/ 467329 h 6557032"/>
              <a:gd name="connsiteX37741" fmla="*/ 3320001 w 4610101"/>
              <a:gd name="connsiteY37741" fmla="*/ 461862 h 6557032"/>
              <a:gd name="connsiteX37742" fmla="*/ 3310890 w 4610101"/>
              <a:gd name="connsiteY37742" fmla="*/ 463684 h 6557032"/>
              <a:gd name="connsiteX37743" fmla="*/ 3314535 w 4610101"/>
              <a:gd name="connsiteY37743" fmla="*/ 470290 h 6557032"/>
              <a:gd name="connsiteX37744" fmla="*/ 3319905 w 4610101"/>
              <a:gd name="connsiteY37744" fmla="*/ 471767 h 6557032"/>
              <a:gd name="connsiteX37745" fmla="*/ 3314535 w 4610101"/>
              <a:gd name="connsiteY37745" fmla="*/ 472795 h 6557032"/>
              <a:gd name="connsiteX37746" fmla="*/ 3323646 w 4610101"/>
              <a:gd name="connsiteY37746" fmla="*/ 483728 h 6557032"/>
              <a:gd name="connsiteX37747" fmla="*/ 3327290 w 4610101"/>
              <a:gd name="connsiteY37747" fmla="*/ 481906 h 6557032"/>
              <a:gd name="connsiteX37748" fmla="*/ 3329112 w 4610101"/>
              <a:gd name="connsiteY37748" fmla="*/ 487373 h 6557032"/>
              <a:gd name="connsiteX37749" fmla="*/ 3343690 w 4610101"/>
              <a:gd name="connsiteY37749" fmla="*/ 476439 h 6557032"/>
              <a:gd name="connsiteX37750" fmla="*/ 3341867 w 4610101"/>
              <a:gd name="connsiteY37750" fmla="*/ 487373 h 6557032"/>
              <a:gd name="connsiteX37751" fmla="*/ 3356445 w 4610101"/>
              <a:gd name="connsiteY37751" fmla="*/ 480083 h 6557032"/>
              <a:gd name="connsiteX37752" fmla="*/ 3354623 w 4610101"/>
              <a:gd name="connsiteY37752" fmla="*/ 474618 h 6557032"/>
              <a:gd name="connsiteX37753" fmla="*/ 3363734 w 4610101"/>
              <a:gd name="connsiteY37753" fmla="*/ 483728 h 6557032"/>
              <a:gd name="connsiteX37754" fmla="*/ 3369200 w 4610101"/>
              <a:gd name="connsiteY37754" fmla="*/ 474618 h 6557032"/>
              <a:gd name="connsiteX37755" fmla="*/ 3371022 w 4610101"/>
              <a:gd name="connsiteY37755" fmla="*/ 476439 h 6557032"/>
              <a:gd name="connsiteX37756" fmla="*/ 3373072 w 4610101"/>
              <a:gd name="connsiteY37756" fmla="*/ 471884 h 6557032"/>
              <a:gd name="connsiteX37757" fmla="*/ 3372275 w 4610101"/>
              <a:gd name="connsiteY37757" fmla="*/ 470112 h 6557032"/>
              <a:gd name="connsiteX37758" fmla="*/ 3374667 w 4610101"/>
              <a:gd name="connsiteY37758" fmla="*/ 468467 h 6557032"/>
              <a:gd name="connsiteX37759" fmla="*/ 3378311 w 4610101"/>
              <a:gd name="connsiteY37759" fmla="*/ 467328 h 6557032"/>
              <a:gd name="connsiteX37760" fmla="*/ 3369200 w 4610101"/>
              <a:gd name="connsiteY37760" fmla="*/ 461862 h 6557032"/>
              <a:gd name="connsiteX37761" fmla="*/ 3368745 w 4610101"/>
              <a:gd name="connsiteY37761" fmla="*/ 465734 h 6557032"/>
              <a:gd name="connsiteX37762" fmla="*/ 3369585 w 4610101"/>
              <a:gd name="connsiteY37762" fmla="*/ 467667 h 6557032"/>
              <a:gd name="connsiteX37763" fmla="*/ 3367150 w 4610101"/>
              <a:gd name="connsiteY37763" fmla="*/ 468239 h 6557032"/>
              <a:gd name="connsiteX37764" fmla="*/ 3361911 w 4610101"/>
              <a:gd name="connsiteY37764" fmla="*/ 469150 h 6557032"/>
              <a:gd name="connsiteX37765" fmla="*/ 3349156 w 4610101"/>
              <a:gd name="connsiteY37765" fmla="*/ 443640 h 6557032"/>
              <a:gd name="connsiteX37766" fmla="*/ 3196093 w 4610101"/>
              <a:gd name="connsiteY37766" fmla="*/ 443640 h 6557032"/>
              <a:gd name="connsiteX37767" fmla="*/ 3199738 w 4610101"/>
              <a:gd name="connsiteY37767" fmla="*/ 450928 h 6557032"/>
              <a:gd name="connsiteX37768" fmla="*/ 3196093 w 4610101"/>
              <a:gd name="connsiteY37768" fmla="*/ 443640 h 6557032"/>
              <a:gd name="connsiteX37769" fmla="*/ 2527356 w 4610101"/>
              <a:gd name="connsiteY37769" fmla="*/ 443640 h 6557032"/>
              <a:gd name="connsiteX37770" fmla="*/ 2523711 w 4610101"/>
              <a:gd name="connsiteY37770" fmla="*/ 450928 h 6557032"/>
              <a:gd name="connsiteX37771" fmla="*/ 2529178 w 4610101"/>
              <a:gd name="connsiteY37771" fmla="*/ 460039 h 6557032"/>
              <a:gd name="connsiteX37772" fmla="*/ 2532822 w 4610101"/>
              <a:gd name="connsiteY37772" fmla="*/ 445463 h 6557032"/>
              <a:gd name="connsiteX37773" fmla="*/ 2534644 w 4610101"/>
              <a:gd name="connsiteY37773" fmla="*/ 454574 h 6557032"/>
              <a:gd name="connsiteX37774" fmla="*/ 2538289 w 4610101"/>
              <a:gd name="connsiteY37774" fmla="*/ 443640 h 6557032"/>
              <a:gd name="connsiteX37775" fmla="*/ 2527356 w 4610101"/>
              <a:gd name="connsiteY37775" fmla="*/ 443640 h 6557032"/>
              <a:gd name="connsiteX37776" fmla="*/ 1075895 w 4610101"/>
              <a:gd name="connsiteY37776" fmla="*/ 443618 h 6557032"/>
              <a:gd name="connsiteX37777" fmla="*/ 1075083 w 4610101"/>
              <a:gd name="connsiteY37777" fmla="*/ 446744 h 6557032"/>
              <a:gd name="connsiteX37778" fmla="*/ 1075083 w 4610101"/>
              <a:gd name="connsiteY37778" fmla="*/ 445463 h 6557032"/>
              <a:gd name="connsiteX37779" fmla="*/ 3360089 w 4610101"/>
              <a:gd name="connsiteY37779" fmla="*/ 441819 h 6557032"/>
              <a:gd name="connsiteX37780" fmla="*/ 3363734 w 4610101"/>
              <a:gd name="connsiteY37780" fmla="*/ 450928 h 6557032"/>
              <a:gd name="connsiteX37781" fmla="*/ 3367378 w 4610101"/>
              <a:gd name="connsiteY37781" fmla="*/ 441819 h 6557032"/>
              <a:gd name="connsiteX37782" fmla="*/ 3360089 w 4610101"/>
              <a:gd name="connsiteY37782" fmla="*/ 441819 h 6557032"/>
              <a:gd name="connsiteX37783" fmla="*/ 2518245 w 4610101"/>
              <a:gd name="connsiteY37783" fmla="*/ 441819 h 6557032"/>
              <a:gd name="connsiteX37784" fmla="*/ 2516423 w 4610101"/>
              <a:gd name="connsiteY37784" fmla="*/ 454574 h 6557032"/>
              <a:gd name="connsiteX37785" fmla="*/ 2518245 w 4610101"/>
              <a:gd name="connsiteY37785" fmla="*/ 441819 h 6557032"/>
              <a:gd name="connsiteX37786" fmla="*/ 2470868 w 4610101"/>
              <a:gd name="connsiteY37786" fmla="*/ 441819 h 6557032"/>
              <a:gd name="connsiteX37787" fmla="*/ 2472690 w 4610101"/>
              <a:gd name="connsiteY37787" fmla="*/ 474618 h 6557032"/>
              <a:gd name="connsiteX37788" fmla="*/ 2470868 w 4610101"/>
              <a:gd name="connsiteY37788" fmla="*/ 441819 h 6557032"/>
              <a:gd name="connsiteX37789" fmla="*/ 2139233 w 4610101"/>
              <a:gd name="connsiteY37789" fmla="*/ 441819 h 6557032"/>
              <a:gd name="connsiteX37790" fmla="*/ 2137410 w 4610101"/>
              <a:gd name="connsiteY37790" fmla="*/ 478262 h 6557032"/>
              <a:gd name="connsiteX37791" fmla="*/ 2139233 w 4610101"/>
              <a:gd name="connsiteY37791" fmla="*/ 472795 h 6557032"/>
              <a:gd name="connsiteX37792" fmla="*/ 2139233 w 4610101"/>
              <a:gd name="connsiteY37792" fmla="*/ 480083 h 6557032"/>
              <a:gd name="connsiteX37793" fmla="*/ 2142877 w 4610101"/>
              <a:gd name="connsiteY37793" fmla="*/ 491017 h 6557032"/>
              <a:gd name="connsiteX37794" fmla="*/ 2150166 w 4610101"/>
              <a:gd name="connsiteY37794" fmla="*/ 494662 h 6557032"/>
              <a:gd name="connsiteX37795" fmla="*/ 2148344 w 4610101"/>
              <a:gd name="connsiteY37795" fmla="*/ 483728 h 6557032"/>
              <a:gd name="connsiteX37796" fmla="*/ 2166565 w 4610101"/>
              <a:gd name="connsiteY37796" fmla="*/ 500127 h 6557032"/>
              <a:gd name="connsiteX37797" fmla="*/ 2151988 w 4610101"/>
              <a:gd name="connsiteY37797" fmla="*/ 485550 h 6557032"/>
              <a:gd name="connsiteX37798" fmla="*/ 2164743 w 4610101"/>
              <a:gd name="connsiteY37798" fmla="*/ 485550 h 6557032"/>
              <a:gd name="connsiteX37799" fmla="*/ 2168083 w 4610101"/>
              <a:gd name="connsiteY37799" fmla="*/ 480874 h 6557032"/>
              <a:gd name="connsiteX37800" fmla="*/ 2168387 w 4610101"/>
              <a:gd name="connsiteY37800" fmla="*/ 481906 h 6557032"/>
              <a:gd name="connsiteX37801" fmla="*/ 2186609 w 4610101"/>
              <a:gd name="connsiteY37801" fmla="*/ 447284 h 6557032"/>
              <a:gd name="connsiteX37802" fmla="*/ 2182965 w 4610101"/>
              <a:gd name="connsiteY37802" fmla="*/ 452751 h 6557032"/>
              <a:gd name="connsiteX37803" fmla="*/ 2179320 w 4610101"/>
              <a:gd name="connsiteY37803" fmla="*/ 441819 h 6557032"/>
              <a:gd name="connsiteX37804" fmla="*/ 2172032 w 4610101"/>
              <a:gd name="connsiteY37804" fmla="*/ 450928 h 6557032"/>
              <a:gd name="connsiteX37805" fmla="*/ 2170210 w 4610101"/>
              <a:gd name="connsiteY37805" fmla="*/ 445463 h 6557032"/>
              <a:gd name="connsiteX37806" fmla="*/ 2172032 w 4610101"/>
              <a:gd name="connsiteY37806" fmla="*/ 463684 h 6557032"/>
              <a:gd name="connsiteX37807" fmla="*/ 2164743 w 4610101"/>
              <a:gd name="connsiteY37807" fmla="*/ 449107 h 6557032"/>
              <a:gd name="connsiteX37808" fmla="*/ 2163149 w 4610101"/>
              <a:gd name="connsiteY37808" fmla="*/ 464139 h 6557032"/>
              <a:gd name="connsiteX37809" fmla="*/ 2163224 w 4610101"/>
              <a:gd name="connsiteY37809" fmla="*/ 464393 h 6557032"/>
              <a:gd name="connsiteX37810" fmla="*/ 2161099 w 4610101"/>
              <a:gd name="connsiteY37810" fmla="*/ 463684 h 6557032"/>
              <a:gd name="connsiteX37811" fmla="*/ 2153810 w 4610101"/>
              <a:gd name="connsiteY37811" fmla="*/ 443640 h 6557032"/>
              <a:gd name="connsiteX37812" fmla="*/ 2151988 w 4610101"/>
              <a:gd name="connsiteY37812" fmla="*/ 458218 h 6557032"/>
              <a:gd name="connsiteX37813" fmla="*/ 2139233 w 4610101"/>
              <a:gd name="connsiteY37813" fmla="*/ 441819 h 6557032"/>
              <a:gd name="connsiteX37814" fmla="*/ 3604712 w 4610101"/>
              <a:gd name="connsiteY37814" fmla="*/ 441197 h 6557032"/>
              <a:gd name="connsiteX37815" fmla="*/ 3609727 w 4610101"/>
              <a:gd name="connsiteY37815" fmla="*/ 443640 h 6557032"/>
              <a:gd name="connsiteX37816" fmla="*/ 3606747 w 4610101"/>
              <a:gd name="connsiteY37816" fmla="*/ 451012 h 6557032"/>
              <a:gd name="connsiteX37817" fmla="*/ 3605855 w 4610101"/>
              <a:gd name="connsiteY37817" fmla="*/ 445463 h 6557032"/>
              <a:gd name="connsiteX37818" fmla="*/ 3400177 w 4610101"/>
              <a:gd name="connsiteY37818" fmla="*/ 439995 h 6557032"/>
              <a:gd name="connsiteX37819" fmla="*/ 3394710 w 4610101"/>
              <a:gd name="connsiteY37819" fmla="*/ 458218 h 6557032"/>
              <a:gd name="connsiteX37820" fmla="*/ 3401999 w 4610101"/>
              <a:gd name="connsiteY37820" fmla="*/ 447284 h 6557032"/>
              <a:gd name="connsiteX37821" fmla="*/ 3407466 w 4610101"/>
              <a:gd name="connsiteY37821" fmla="*/ 450928 h 6557032"/>
              <a:gd name="connsiteX37822" fmla="*/ 3400177 w 4610101"/>
              <a:gd name="connsiteY37822" fmla="*/ 439995 h 6557032"/>
              <a:gd name="connsiteX37823" fmla="*/ 2465402 w 4610101"/>
              <a:gd name="connsiteY37823" fmla="*/ 439995 h 6557032"/>
              <a:gd name="connsiteX37824" fmla="*/ 2465402 w 4610101"/>
              <a:gd name="connsiteY37824" fmla="*/ 449107 h 6557032"/>
              <a:gd name="connsiteX37825" fmla="*/ 2465402 w 4610101"/>
              <a:gd name="connsiteY37825" fmla="*/ 439995 h 6557032"/>
              <a:gd name="connsiteX37826" fmla="*/ 1017766 w 4610101"/>
              <a:gd name="connsiteY37826" fmla="*/ 439484 h 6557032"/>
              <a:gd name="connsiteX37827" fmla="*/ 1021556 w 4610101"/>
              <a:gd name="connsiteY37827" fmla="*/ 442046 h 6557032"/>
              <a:gd name="connsiteX37828" fmla="*/ 1024625 w 4610101"/>
              <a:gd name="connsiteY37828" fmla="*/ 447053 h 6557032"/>
              <a:gd name="connsiteX37829" fmla="*/ 1018140 w 4610101"/>
              <a:gd name="connsiteY37829" fmla="*/ 442729 h 6557032"/>
              <a:gd name="connsiteX37830" fmla="*/ 3248937 w 4610101"/>
              <a:gd name="connsiteY37830" fmla="*/ 438174 h 6557032"/>
              <a:gd name="connsiteX37831" fmla="*/ 3243470 w 4610101"/>
              <a:gd name="connsiteY37831" fmla="*/ 443640 h 6557032"/>
              <a:gd name="connsiteX37832" fmla="*/ 3250759 w 4610101"/>
              <a:gd name="connsiteY37832" fmla="*/ 443640 h 6557032"/>
              <a:gd name="connsiteX37833" fmla="*/ 3248937 w 4610101"/>
              <a:gd name="connsiteY37833" fmla="*/ 438174 h 6557032"/>
              <a:gd name="connsiteX37834" fmla="*/ 2199364 w 4610101"/>
              <a:gd name="connsiteY37834" fmla="*/ 438174 h 6557032"/>
              <a:gd name="connsiteX37835" fmla="*/ 2206653 w 4610101"/>
              <a:gd name="connsiteY37835" fmla="*/ 443640 h 6557032"/>
              <a:gd name="connsiteX37836" fmla="*/ 2206653 w 4610101"/>
              <a:gd name="connsiteY37836" fmla="*/ 439995 h 6557032"/>
              <a:gd name="connsiteX37837" fmla="*/ 2199364 w 4610101"/>
              <a:gd name="connsiteY37837" fmla="*/ 438174 h 6557032"/>
              <a:gd name="connsiteX37838" fmla="*/ 1051894 w 4610101"/>
              <a:gd name="connsiteY37838" fmla="*/ 436873 h 6557032"/>
              <a:gd name="connsiteX37839" fmla="*/ 1054098 w 4610101"/>
              <a:gd name="connsiteY37839" fmla="*/ 439173 h 6557032"/>
              <a:gd name="connsiteX37840" fmla="*/ 1051395 w 4610101"/>
              <a:gd name="connsiteY37840" fmla="*/ 447284 h 6557032"/>
              <a:gd name="connsiteX37841" fmla="*/ 1047750 w 4610101"/>
              <a:gd name="connsiteY37841" fmla="*/ 438174 h 6557032"/>
              <a:gd name="connsiteX37842" fmla="*/ 1049937 w 4610101"/>
              <a:gd name="connsiteY37842" fmla="*/ 439267 h 6557032"/>
              <a:gd name="connsiteX37843" fmla="*/ 1051395 w 4610101"/>
              <a:gd name="connsiteY37843" fmla="*/ 439995 h 6557032"/>
              <a:gd name="connsiteX37844" fmla="*/ 3165116 w 4610101"/>
              <a:gd name="connsiteY37844" fmla="*/ 436351 h 6557032"/>
              <a:gd name="connsiteX37845" fmla="*/ 3166939 w 4610101"/>
              <a:gd name="connsiteY37845" fmla="*/ 449107 h 6557032"/>
              <a:gd name="connsiteX37846" fmla="*/ 3165116 w 4610101"/>
              <a:gd name="connsiteY37846" fmla="*/ 443640 h 6557032"/>
              <a:gd name="connsiteX37847" fmla="*/ 3156006 w 4610101"/>
              <a:gd name="connsiteY37847" fmla="*/ 460039 h 6557032"/>
              <a:gd name="connsiteX37848" fmla="*/ 3179694 w 4610101"/>
              <a:gd name="connsiteY37848" fmla="*/ 460039 h 6557032"/>
              <a:gd name="connsiteX37849" fmla="*/ 3165116 w 4610101"/>
              <a:gd name="connsiteY37849" fmla="*/ 436351 h 6557032"/>
              <a:gd name="connsiteX37850" fmla="*/ 2512778 w 4610101"/>
              <a:gd name="connsiteY37850" fmla="*/ 436351 h 6557032"/>
              <a:gd name="connsiteX37851" fmla="*/ 2492734 w 4610101"/>
              <a:gd name="connsiteY37851" fmla="*/ 441819 h 6557032"/>
              <a:gd name="connsiteX37852" fmla="*/ 2490912 w 4610101"/>
              <a:gd name="connsiteY37852" fmla="*/ 454574 h 6557032"/>
              <a:gd name="connsiteX37853" fmla="*/ 2490912 w 4610101"/>
              <a:gd name="connsiteY37853" fmla="*/ 441819 h 6557032"/>
              <a:gd name="connsiteX37854" fmla="*/ 2479979 w 4610101"/>
              <a:gd name="connsiteY37854" fmla="*/ 454574 h 6557032"/>
              <a:gd name="connsiteX37855" fmla="*/ 2474513 w 4610101"/>
              <a:gd name="connsiteY37855" fmla="*/ 447284 h 6557032"/>
              <a:gd name="connsiteX37856" fmla="*/ 2481801 w 4610101"/>
              <a:gd name="connsiteY37856" fmla="*/ 480083 h 6557032"/>
              <a:gd name="connsiteX37857" fmla="*/ 2485446 w 4610101"/>
              <a:gd name="connsiteY37857" fmla="*/ 458218 h 6557032"/>
              <a:gd name="connsiteX37858" fmla="*/ 2490912 w 4610101"/>
              <a:gd name="connsiteY37858" fmla="*/ 461862 h 6557032"/>
              <a:gd name="connsiteX37859" fmla="*/ 2485446 w 4610101"/>
              <a:gd name="connsiteY37859" fmla="*/ 489194 h 6557032"/>
              <a:gd name="connsiteX37860" fmla="*/ 2494556 w 4610101"/>
              <a:gd name="connsiteY37860" fmla="*/ 492838 h 6557032"/>
              <a:gd name="connsiteX37861" fmla="*/ 2496379 w 4610101"/>
              <a:gd name="connsiteY37861" fmla="*/ 467328 h 6557032"/>
              <a:gd name="connsiteX37862" fmla="*/ 2496379 w 4610101"/>
              <a:gd name="connsiteY37862" fmla="*/ 472795 h 6557032"/>
              <a:gd name="connsiteX37863" fmla="*/ 2501845 w 4610101"/>
              <a:gd name="connsiteY37863" fmla="*/ 449107 h 6557032"/>
              <a:gd name="connsiteX37864" fmla="*/ 2510956 w 4610101"/>
              <a:gd name="connsiteY37864" fmla="*/ 467328 h 6557032"/>
              <a:gd name="connsiteX37865" fmla="*/ 2509134 w 4610101"/>
              <a:gd name="connsiteY37865" fmla="*/ 454574 h 6557032"/>
              <a:gd name="connsiteX37866" fmla="*/ 2516423 w 4610101"/>
              <a:gd name="connsiteY37866" fmla="*/ 438174 h 6557032"/>
              <a:gd name="connsiteX37867" fmla="*/ 2512778 w 4610101"/>
              <a:gd name="connsiteY37867" fmla="*/ 436351 h 6557032"/>
              <a:gd name="connsiteX37868" fmla="*/ 2381582 w 4610101"/>
              <a:gd name="connsiteY37868" fmla="*/ 436351 h 6557032"/>
              <a:gd name="connsiteX37869" fmla="*/ 2383404 w 4610101"/>
              <a:gd name="connsiteY37869" fmla="*/ 445463 h 6557032"/>
              <a:gd name="connsiteX37870" fmla="*/ 2381582 w 4610101"/>
              <a:gd name="connsiteY37870" fmla="*/ 436351 h 6557032"/>
              <a:gd name="connsiteX37871" fmla="*/ 1122459 w 4610101"/>
              <a:gd name="connsiteY37871" fmla="*/ 436351 h 6557032"/>
              <a:gd name="connsiteX37872" fmla="*/ 1142503 w 4610101"/>
              <a:gd name="connsiteY37872" fmla="*/ 447284 h 6557032"/>
              <a:gd name="connsiteX37873" fmla="*/ 1140759 w 4610101"/>
              <a:gd name="connsiteY37873" fmla="*/ 446897 h 6557032"/>
              <a:gd name="connsiteX37874" fmla="*/ 1055040 w 4610101"/>
              <a:gd name="connsiteY37874" fmla="*/ 436351 h 6557032"/>
              <a:gd name="connsiteX37875" fmla="*/ 1055561 w 4610101"/>
              <a:gd name="connsiteY37875" fmla="*/ 440699 h 6557032"/>
              <a:gd name="connsiteX37876" fmla="*/ 1054098 w 4610101"/>
              <a:gd name="connsiteY37876" fmla="*/ 439173 h 6557032"/>
              <a:gd name="connsiteX37877" fmla="*/ 431856 w 4610101"/>
              <a:gd name="connsiteY37877" fmla="*/ 436351 h 6557032"/>
              <a:gd name="connsiteX37878" fmla="*/ 451899 w 4610101"/>
              <a:gd name="connsiteY37878" fmla="*/ 494662 h 6557032"/>
              <a:gd name="connsiteX37879" fmla="*/ 455544 w 4610101"/>
              <a:gd name="connsiteY37879" fmla="*/ 492838 h 6557032"/>
              <a:gd name="connsiteX37880" fmla="*/ 461671 w 4610101"/>
              <a:gd name="connsiteY37880" fmla="*/ 512410 h 6557032"/>
              <a:gd name="connsiteX37881" fmla="*/ 451899 w 4610101"/>
              <a:gd name="connsiteY37881" fmla="*/ 498306 h 6557032"/>
              <a:gd name="connsiteX37882" fmla="*/ 437322 w 4610101"/>
              <a:gd name="connsiteY37882" fmla="*/ 481906 h 6557032"/>
              <a:gd name="connsiteX37883" fmla="*/ 448256 w 4610101"/>
              <a:gd name="connsiteY37883" fmla="*/ 492838 h 6557032"/>
              <a:gd name="connsiteX37884" fmla="*/ 437322 w 4610101"/>
              <a:gd name="connsiteY37884" fmla="*/ 469150 h 6557032"/>
              <a:gd name="connsiteX37885" fmla="*/ 442789 w 4610101"/>
              <a:gd name="connsiteY37885" fmla="*/ 480083 h 6557032"/>
              <a:gd name="connsiteX37886" fmla="*/ 431856 w 4610101"/>
              <a:gd name="connsiteY37886" fmla="*/ 436351 h 6557032"/>
              <a:gd name="connsiteX37887" fmla="*/ 544553 w 4610101"/>
              <a:gd name="connsiteY37887" fmla="*/ 435318 h 6557032"/>
              <a:gd name="connsiteX37888" fmla="*/ 544830 w 4610101"/>
              <a:gd name="connsiteY37888" fmla="*/ 438174 h 6557032"/>
              <a:gd name="connsiteX37889" fmla="*/ 544319 w 4610101"/>
              <a:gd name="connsiteY37889" fmla="*/ 437663 h 6557032"/>
              <a:gd name="connsiteX37890" fmla="*/ 3341867 w 4610101"/>
              <a:gd name="connsiteY37890" fmla="*/ 434530 h 6557032"/>
              <a:gd name="connsiteX37891" fmla="*/ 3343690 w 4610101"/>
              <a:gd name="connsiteY37891" fmla="*/ 439995 h 6557032"/>
              <a:gd name="connsiteX37892" fmla="*/ 3341867 w 4610101"/>
              <a:gd name="connsiteY37892" fmla="*/ 434530 h 6557032"/>
              <a:gd name="connsiteX37893" fmla="*/ 3019343 w 4610101"/>
              <a:gd name="connsiteY37893" fmla="*/ 434530 h 6557032"/>
              <a:gd name="connsiteX37894" fmla="*/ 3013876 w 4610101"/>
              <a:gd name="connsiteY37894" fmla="*/ 445463 h 6557032"/>
              <a:gd name="connsiteX37895" fmla="*/ 3019343 w 4610101"/>
              <a:gd name="connsiteY37895" fmla="*/ 434530 h 6557032"/>
              <a:gd name="connsiteX37896" fmla="*/ 2190253 w 4610101"/>
              <a:gd name="connsiteY37896" fmla="*/ 434530 h 6557032"/>
              <a:gd name="connsiteX37897" fmla="*/ 2195720 w 4610101"/>
              <a:gd name="connsiteY37897" fmla="*/ 441819 h 6557032"/>
              <a:gd name="connsiteX37898" fmla="*/ 2193898 w 4610101"/>
              <a:gd name="connsiteY37898" fmla="*/ 434530 h 6557032"/>
              <a:gd name="connsiteX37899" fmla="*/ 2190253 w 4610101"/>
              <a:gd name="connsiteY37899" fmla="*/ 434530 h 6557032"/>
              <a:gd name="connsiteX37900" fmla="*/ 2186609 w 4610101"/>
              <a:gd name="connsiteY37900" fmla="*/ 434530 h 6557032"/>
              <a:gd name="connsiteX37901" fmla="*/ 2186609 w 4610101"/>
              <a:gd name="connsiteY37901" fmla="*/ 441819 h 6557032"/>
              <a:gd name="connsiteX37902" fmla="*/ 2186609 w 4610101"/>
              <a:gd name="connsiteY37902" fmla="*/ 434530 h 6557032"/>
              <a:gd name="connsiteX37903" fmla="*/ 2179320 w 4610101"/>
              <a:gd name="connsiteY37903" fmla="*/ 434530 h 6557032"/>
              <a:gd name="connsiteX37904" fmla="*/ 2177498 w 4610101"/>
              <a:gd name="connsiteY37904" fmla="*/ 441819 h 6557032"/>
              <a:gd name="connsiteX37905" fmla="*/ 2179320 w 4610101"/>
              <a:gd name="connsiteY37905" fmla="*/ 434530 h 6557032"/>
              <a:gd name="connsiteX37906" fmla="*/ 692426 w 4610101"/>
              <a:gd name="connsiteY37906" fmla="*/ 434530 h 6557032"/>
              <a:gd name="connsiteX37907" fmla="*/ 708826 w 4610101"/>
              <a:gd name="connsiteY37907" fmla="*/ 472795 h 6557032"/>
              <a:gd name="connsiteX37908" fmla="*/ 708826 w 4610101"/>
              <a:gd name="connsiteY37908" fmla="*/ 469150 h 6557032"/>
              <a:gd name="connsiteX37909" fmla="*/ 712271 w 4610101"/>
              <a:gd name="connsiteY37909" fmla="*/ 485835 h 6557032"/>
              <a:gd name="connsiteX37910" fmla="*/ 711840 w 4610101"/>
              <a:gd name="connsiteY37910" fmla="*/ 500992 h 6557032"/>
              <a:gd name="connsiteX37911" fmla="*/ 710648 w 4610101"/>
              <a:gd name="connsiteY37911" fmla="*/ 496483 h 6557032"/>
              <a:gd name="connsiteX37912" fmla="*/ 701537 w 4610101"/>
              <a:gd name="connsiteY37912" fmla="*/ 467328 h 6557032"/>
              <a:gd name="connsiteX37913" fmla="*/ 705182 w 4610101"/>
              <a:gd name="connsiteY37913" fmla="*/ 467328 h 6557032"/>
              <a:gd name="connsiteX37914" fmla="*/ 692426 w 4610101"/>
              <a:gd name="connsiteY37914" fmla="*/ 434530 h 6557032"/>
              <a:gd name="connsiteX37915" fmla="*/ 1050501 w 4610101"/>
              <a:gd name="connsiteY37915" fmla="*/ 433670 h 6557032"/>
              <a:gd name="connsiteX37916" fmla="*/ 1052306 w 4610101"/>
              <a:gd name="connsiteY37916" fmla="*/ 434302 h 6557032"/>
              <a:gd name="connsiteX37917" fmla="*/ 1051894 w 4610101"/>
              <a:gd name="connsiteY37917" fmla="*/ 436873 h 6557032"/>
              <a:gd name="connsiteX37918" fmla="*/ 1051395 w 4610101"/>
              <a:gd name="connsiteY37918" fmla="*/ 436351 h 6557032"/>
              <a:gd name="connsiteX37919" fmla="*/ 2447807 w 4610101"/>
              <a:gd name="connsiteY37919" fmla="*/ 433590 h 6557032"/>
              <a:gd name="connsiteX37920" fmla="*/ 2439891 w 4610101"/>
              <a:gd name="connsiteY37920" fmla="*/ 434530 h 6557032"/>
              <a:gd name="connsiteX37921" fmla="*/ 2439891 w 4610101"/>
              <a:gd name="connsiteY37921" fmla="*/ 441819 h 6557032"/>
              <a:gd name="connsiteX37922" fmla="*/ 2434425 w 4610101"/>
              <a:gd name="connsiteY37922" fmla="*/ 441819 h 6557032"/>
              <a:gd name="connsiteX37923" fmla="*/ 2434425 w 4610101"/>
              <a:gd name="connsiteY37923" fmla="*/ 447284 h 6557032"/>
              <a:gd name="connsiteX37924" fmla="*/ 2432603 w 4610101"/>
              <a:gd name="connsiteY37924" fmla="*/ 443640 h 6557032"/>
              <a:gd name="connsiteX37925" fmla="*/ 2432603 w 4610101"/>
              <a:gd name="connsiteY37925" fmla="*/ 458218 h 6557032"/>
              <a:gd name="connsiteX37926" fmla="*/ 2421669 w 4610101"/>
              <a:gd name="connsiteY37926" fmla="*/ 449107 h 6557032"/>
              <a:gd name="connsiteX37927" fmla="*/ 2419847 w 4610101"/>
              <a:gd name="connsiteY37927" fmla="*/ 461862 h 6557032"/>
              <a:gd name="connsiteX37928" fmla="*/ 2423492 w 4610101"/>
              <a:gd name="connsiteY37928" fmla="*/ 458218 h 6557032"/>
              <a:gd name="connsiteX37929" fmla="*/ 2430780 w 4610101"/>
              <a:gd name="connsiteY37929" fmla="*/ 481906 h 6557032"/>
              <a:gd name="connsiteX37930" fmla="*/ 2432603 w 4610101"/>
              <a:gd name="connsiteY37930" fmla="*/ 478262 h 6557032"/>
              <a:gd name="connsiteX37931" fmla="*/ 2428958 w 4610101"/>
              <a:gd name="connsiteY37931" fmla="*/ 489194 h 6557032"/>
              <a:gd name="connsiteX37932" fmla="*/ 2428958 w 4610101"/>
              <a:gd name="connsiteY37932" fmla="*/ 485550 h 6557032"/>
              <a:gd name="connsiteX37933" fmla="*/ 2427136 w 4610101"/>
              <a:gd name="connsiteY37933" fmla="*/ 492838 h 6557032"/>
              <a:gd name="connsiteX37934" fmla="*/ 2431009 w 4610101"/>
              <a:gd name="connsiteY37934" fmla="*/ 503544 h 6557032"/>
              <a:gd name="connsiteX37935" fmla="*/ 2430805 w 4610101"/>
              <a:gd name="connsiteY37935" fmla="*/ 503878 h 6557032"/>
              <a:gd name="connsiteX37936" fmla="*/ 2430780 w 4610101"/>
              <a:gd name="connsiteY37936" fmla="*/ 503771 h 6557032"/>
              <a:gd name="connsiteX37937" fmla="*/ 2430746 w 4610101"/>
              <a:gd name="connsiteY37937" fmla="*/ 503974 h 6557032"/>
              <a:gd name="connsiteX37938" fmla="*/ 2425314 w 4610101"/>
              <a:gd name="connsiteY37938" fmla="*/ 512882 h 6557032"/>
              <a:gd name="connsiteX37939" fmla="*/ 2423492 w 4610101"/>
              <a:gd name="connsiteY37939" fmla="*/ 505594 h 6557032"/>
              <a:gd name="connsiteX37940" fmla="*/ 2407092 w 4610101"/>
              <a:gd name="connsiteY37940" fmla="*/ 511061 h 6557032"/>
              <a:gd name="connsiteX37941" fmla="*/ 2408914 w 4610101"/>
              <a:gd name="connsiteY37941" fmla="*/ 496483 h 6557032"/>
              <a:gd name="connsiteX37942" fmla="*/ 2408914 w 4610101"/>
              <a:gd name="connsiteY37942" fmla="*/ 501949 h 6557032"/>
              <a:gd name="connsiteX37943" fmla="*/ 2410737 w 4610101"/>
              <a:gd name="connsiteY37943" fmla="*/ 491017 h 6557032"/>
              <a:gd name="connsiteX37944" fmla="*/ 2408914 w 4610101"/>
              <a:gd name="connsiteY37944" fmla="*/ 521993 h 6557032"/>
              <a:gd name="connsiteX37945" fmla="*/ 2414381 w 4610101"/>
              <a:gd name="connsiteY37945" fmla="*/ 518349 h 6557032"/>
              <a:gd name="connsiteX37946" fmla="*/ 2419847 w 4610101"/>
              <a:gd name="connsiteY37946" fmla="*/ 536571 h 6557032"/>
              <a:gd name="connsiteX37947" fmla="*/ 2421669 w 4610101"/>
              <a:gd name="connsiteY37947" fmla="*/ 523815 h 6557032"/>
              <a:gd name="connsiteX37948" fmla="*/ 2425314 w 4610101"/>
              <a:gd name="connsiteY37948" fmla="*/ 543860 h 6557032"/>
              <a:gd name="connsiteX37949" fmla="*/ 2416203 w 4610101"/>
              <a:gd name="connsiteY37949" fmla="*/ 543860 h 6557032"/>
              <a:gd name="connsiteX37950" fmla="*/ 2418352 w 4610101"/>
              <a:gd name="connsiteY37950" fmla="*/ 550613 h 6557032"/>
              <a:gd name="connsiteX37951" fmla="*/ 2414381 w 4610101"/>
              <a:gd name="connsiteY37951" fmla="*/ 554792 h 6557032"/>
              <a:gd name="connsiteX37952" fmla="*/ 2415616 w 4610101"/>
              <a:gd name="connsiteY37952" fmla="*/ 555742 h 6557032"/>
              <a:gd name="connsiteX37953" fmla="*/ 2413222 w 4610101"/>
              <a:gd name="connsiteY37953" fmla="*/ 556118 h 6557032"/>
              <a:gd name="connsiteX37954" fmla="*/ 2410737 w 4610101"/>
              <a:gd name="connsiteY37954" fmla="*/ 551148 h 6557032"/>
              <a:gd name="connsiteX37955" fmla="*/ 2408914 w 4610101"/>
              <a:gd name="connsiteY37955" fmla="*/ 525638 h 6557032"/>
              <a:gd name="connsiteX37956" fmla="*/ 2401626 w 4610101"/>
              <a:gd name="connsiteY37956" fmla="*/ 534749 h 6557032"/>
              <a:gd name="connsiteX37957" fmla="*/ 2397981 w 4610101"/>
              <a:gd name="connsiteY37957" fmla="*/ 507417 h 6557032"/>
              <a:gd name="connsiteX37958" fmla="*/ 2401420 w 4610101"/>
              <a:gd name="connsiteY37958" fmla="*/ 510091 h 6557032"/>
              <a:gd name="connsiteX37959" fmla="*/ 2403448 w 4610101"/>
              <a:gd name="connsiteY37959" fmla="*/ 516527 h 6557032"/>
              <a:gd name="connsiteX37960" fmla="*/ 2402082 w 4610101"/>
              <a:gd name="connsiteY37960" fmla="*/ 510605 h 6557032"/>
              <a:gd name="connsiteX37961" fmla="*/ 2401420 w 4610101"/>
              <a:gd name="connsiteY37961" fmla="*/ 510091 h 6557032"/>
              <a:gd name="connsiteX37962" fmla="*/ 2398209 w 4610101"/>
              <a:gd name="connsiteY37962" fmla="*/ 499900 h 6557032"/>
              <a:gd name="connsiteX37963" fmla="*/ 2399803 w 4610101"/>
              <a:gd name="connsiteY37963" fmla="*/ 481906 h 6557032"/>
              <a:gd name="connsiteX37964" fmla="*/ 2403448 w 4610101"/>
              <a:gd name="connsiteY37964" fmla="*/ 487373 h 6557032"/>
              <a:gd name="connsiteX37965" fmla="*/ 2408914 w 4610101"/>
              <a:gd name="connsiteY37965" fmla="*/ 474618 h 6557032"/>
              <a:gd name="connsiteX37966" fmla="*/ 2410737 w 4610101"/>
              <a:gd name="connsiteY37966" fmla="*/ 489194 h 6557032"/>
              <a:gd name="connsiteX37967" fmla="*/ 2412877 w 4610101"/>
              <a:gd name="connsiteY37967" fmla="*/ 481168 h 6557032"/>
              <a:gd name="connsiteX37968" fmla="*/ 2412559 w 4610101"/>
              <a:gd name="connsiteY37968" fmla="*/ 487373 h 6557032"/>
              <a:gd name="connsiteX37969" fmla="*/ 2418025 w 4610101"/>
              <a:gd name="connsiteY37969" fmla="*/ 489194 h 6557032"/>
              <a:gd name="connsiteX37970" fmla="*/ 2419847 w 4610101"/>
              <a:gd name="connsiteY37970" fmla="*/ 476439 h 6557032"/>
              <a:gd name="connsiteX37971" fmla="*/ 2416203 w 4610101"/>
              <a:gd name="connsiteY37971" fmla="*/ 470972 h 6557032"/>
              <a:gd name="connsiteX37972" fmla="*/ 2414355 w 4610101"/>
              <a:gd name="connsiteY37972" fmla="*/ 475330 h 6557032"/>
              <a:gd name="connsiteX37973" fmla="*/ 2412559 w 4610101"/>
              <a:gd name="connsiteY37973" fmla="*/ 461862 h 6557032"/>
              <a:gd name="connsiteX37974" fmla="*/ 2405270 w 4610101"/>
              <a:gd name="connsiteY37974" fmla="*/ 470972 h 6557032"/>
              <a:gd name="connsiteX37975" fmla="*/ 2399803 w 4610101"/>
              <a:gd name="connsiteY37975" fmla="*/ 467328 h 6557032"/>
              <a:gd name="connsiteX37976" fmla="*/ 2392515 w 4610101"/>
              <a:gd name="connsiteY37976" fmla="*/ 494662 h 6557032"/>
              <a:gd name="connsiteX37977" fmla="*/ 2385226 w 4610101"/>
              <a:gd name="connsiteY37977" fmla="*/ 485550 h 6557032"/>
              <a:gd name="connsiteX37978" fmla="*/ 2372471 w 4610101"/>
              <a:gd name="connsiteY37978" fmla="*/ 518349 h 6557032"/>
              <a:gd name="connsiteX37979" fmla="*/ 2374293 w 4610101"/>
              <a:gd name="connsiteY37979" fmla="*/ 512882 h 6557032"/>
              <a:gd name="connsiteX37980" fmla="*/ 2374293 w 4610101"/>
              <a:gd name="connsiteY37980" fmla="*/ 523815 h 6557032"/>
              <a:gd name="connsiteX37981" fmla="*/ 2370649 w 4610101"/>
              <a:gd name="connsiteY37981" fmla="*/ 521993 h 6557032"/>
              <a:gd name="connsiteX37982" fmla="*/ 2377937 w 4610101"/>
              <a:gd name="connsiteY37982" fmla="*/ 531105 h 6557032"/>
              <a:gd name="connsiteX37983" fmla="*/ 2377937 w 4610101"/>
              <a:gd name="connsiteY37983" fmla="*/ 521993 h 6557032"/>
              <a:gd name="connsiteX37984" fmla="*/ 2387048 w 4610101"/>
              <a:gd name="connsiteY37984" fmla="*/ 545681 h 6557032"/>
              <a:gd name="connsiteX37985" fmla="*/ 2385226 w 4610101"/>
              <a:gd name="connsiteY37985" fmla="*/ 536571 h 6557032"/>
              <a:gd name="connsiteX37986" fmla="*/ 2388871 w 4610101"/>
              <a:gd name="connsiteY37986" fmla="*/ 547504 h 6557032"/>
              <a:gd name="connsiteX37987" fmla="*/ 2396159 w 4610101"/>
              <a:gd name="connsiteY37987" fmla="*/ 540215 h 6557032"/>
              <a:gd name="connsiteX37988" fmla="*/ 2396159 w 4610101"/>
              <a:gd name="connsiteY37988" fmla="*/ 554792 h 6557032"/>
              <a:gd name="connsiteX37989" fmla="*/ 2396159 w 4610101"/>
              <a:gd name="connsiteY37989" fmla="*/ 565725 h 6557032"/>
              <a:gd name="connsiteX37990" fmla="*/ 2396159 w 4610101"/>
              <a:gd name="connsiteY37990" fmla="*/ 554792 h 6557032"/>
              <a:gd name="connsiteX37991" fmla="*/ 2401626 w 4610101"/>
              <a:gd name="connsiteY37991" fmla="*/ 556616 h 6557032"/>
              <a:gd name="connsiteX37992" fmla="*/ 2399803 w 4610101"/>
              <a:gd name="connsiteY37992" fmla="*/ 547504 h 6557032"/>
              <a:gd name="connsiteX37993" fmla="*/ 2410053 w 4610101"/>
              <a:gd name="connsiteY37993" fmla="*/ 556615 h 6557032"/>
              <a:gd name="connsiteX37994" fmla="*/ 2413222 w 4610101"/>
              <a:gd name="connsiteY37994" fmla="*/ 556118 h 6557032"/>
              <a:gd name="connsiteX37995" fmla="*/ 2414381 w 4610101"/>
              <a:gd name="connsiteY37995" fmla="*/ 558437 h 6557032"/>
              <a:gd name="connsiteX37996" fmla="*/ 2419278 w 4610101"/>
              <a:gd name="connsiteY37996" fmla="*/ 557697 h 6557032"/>
              <a:gd name="connsiteX37997" fmla="*/ 2419303 w 4610101"/>
              <a:gd name="connsiteY37997" fmla="*/ 556864 h 6557032"/>
              <a:gd name="connsiteX37998" fmla="*/ 2421669 w 4610101"/>
              <a:gd name="connsiteY37998" fmla="*/ 556616 h 6557032"/>
              <a:gd name="connsiteX37999" fmla="*/ 2422353 w 4610101"/>
              <a:gd name="connsiteY37999" fmla="*/ 552515 h 6557032"/>
              <a:gd name="connsiteX38000" fmla="*/ 2422305 w 4610101"/>
              <a:gd name="connsiteY38000" fmla="*/ 552037 h 6557032"/>
              <a:gd name="connsiteX38001" fmla="*/ 2422353 w 4610101"/>
              <a:gd name="connsiteY38001" fmla="*/ 551831 h 6557032"/>
              <a:gd name="connsiteX38002" fmla="*/ 2422167 w 4610101"/>
              <a:gd name="connsiteY38002" fmla="*/ 550658 h 6557032"/>
              <a:gd name="connsiteX38003" fmla="*/ 2421846 w 4610101"/>
              <a:gd name="connsiteY38003" fmla="*/ 547446 h 6557032"/>
              <a:gd name="connsiteX38004" fmla="*/ 2427136 w 4610101"/>
              <a:gd name="connsiteY38004" fmla="*/ 545681 h 6557032"/>
              <a:gd name="connsiteX38005" fmla="*/ 2427136 w 4610101"/>
              <a:gd name="connsiteY38005" fmla="*/ 512882 h 6557032"/>
              <a:gd name="connsiteX38006" fmla="*/ 2428958 w 4610101"/>
              <a:gd name="connsiteY38006" fmla="*/ 514705 h 6557032"/>
              <a:gd name="connsiteX38007" fmla="*/ 2430746 w 4610101"/>
              <a:gd name="connsiteY38007" fmla="*/ 503974 h 6557032"/>
              <a:gd name="connsiteX38008" fmla="*/ 2430805 w 4610101"/>
              <a:gd name="connsiteY38008" fmla="*/ 503878 h 6557032"/>
              <a:gd name="connsiteX38009" fmla="*/ 2436247 w 4610101"/>
              <a:gd name="connsiteY38009" fmla="*/ 527461 h 6557032"/>
              <a:gd name="connsiteX38010" fmla="*/ 2432603 w 4610101"/>
              <a:gd name="connsiteY38010" fmla="*/ 527461 h 6557032"/>
              <a:gd name="connsiteX38011" fmla="*/ 2439891 w 4610101"/>
              <a:gd name="connsiteY38011" fmla="*/ 527461 h 6557032"/>
              <a:gd name="connsiteX38012" fmla="*/ 2436247 w 4610101"/>
              <a:gd name="connsiteY38012" fmla="*/ 527461 h 6557032"/>
              <a:gd name="connsiteX38013" fmla="*/ 2438069 w 4610101"/>
              <a:gd name="connsiteY38013" fmla="*/ 514705 h 6557032"/>
              <a:gd name="connsiteX38014" fmla="*/ 2447180 w 4610101"/>
              <a:gd name="connsiteY38014" fmla="*/ 529282 h 6557032"/>
              <a:gd name="connsiteX38015" fmla="*/ 2450824 w 4610101"/>
              <a:gd name="connsiteY38015" fmla="*/ 523815 h 6557032"/>
              <a:gd name="connsiteX38016" fmla="*/ 2450824 w 4610101"/>
              <a:gd name="connsiteY38016" fmla="*/ 529282 h 6557032"/>
              <a:gd name="connsiteX38017" fmla="*/ 2452647 w 4610101"/>
              <a:gd name="connsiteY38017" fmla="*/ 521993 h 6557032"/>
              <a:gd name="connsiteX38018" fmla="*/ 2452647 w 4610101"/>
              <a:gd name="connsiteY38018" fmla="*/ 500127 h 6557032"/>
              <a:gd name="connsiteX38019" fmla="*/ 2458113 w 4610101"/>
              <a:gd name="connsiteY38019" fmla="*/ 494662 h 6557032"/>
              <a:gd name="connsiteX38020" fmla="*/ 2463580 w 4610101"/>
              <a:gd name="connsiteY38020" fmla="*/ 505594 h 6557032"/>
              <a:gd name="connsiteX38021" fmla="*/ 2469046 w 4610101"/>
              <a:gd name="connsiteY38021" fmla="*/ 503771 h 6557032"/>
              <a:gd name="connsiteX38022" fmla="*/ 2467224 w 4610101"/>
              <a:gd name="connsiteY38022" fmla="*/ 496483 h 6557032"/>
              <a:gd name="connsiteX38023" fmla="*/ 2463580 w 4610101"/>
              <a:gd name="connsiteY38023" fmla="*/ 496483 h 6557032"/>
              <a:gd name="connsiteX38024" fmla="*/ 2467224 w 4610101"/>
              <a:gd name="connsiteY38024" fmla="*/ 485550 h 6557032"/>
              <a:gd name="connsiteX38025" fmla="*/ 2459935 w 4610101"/>
              <a:gd name="connsiteY38025" fmla="*/ 485550 h 6557032"/>
              <a:gd name="connsiteX38026" fmla="*/ 2461757 w 4610101"/>
              <a:gd name="connsiteY38026" fmla="*/ 474618 h 6557032"/>
              <a:gd name="connsiteX38027" fmla="*/ 2469046 w 4610101"/>
              <a:gd name="connsiteY38027" fmla="*/ 476439 h 6557032"/>
              <a:gd name="connsiteX38028" fmla="*/ 2469046 w 4610101"/>
              <a:gd name="connsiteY38028" fmla="*/ 465506 h 6557032"/>
              <a:gd name="connsiteX38029" fmla="*/ 2465402 w 4610101"/>
              <a:gd name="connsiteY38029" fmla="*/ 470972 h 6557032"/>
              <a:gd name="connsiteX38030" fmla="*/ 2463580 w 4610101"/>
              <a:gd name="connsiteY38030" fmla="*/ 463684 h 6557032"/>
              <a:gd name="connsiteX38031" fmla="*/ 2452647 w 4610101"/>
              <a:gd name="connsiteY38031" fmla="*/ 456395 h 6557032"/>
              <a:gd name="connsiteX38032" fmla="*/ 2454377 w 4610101"/>
              <a:gd name="connsiteY38032" fmla="*/ 455531 h 6557032"/>
              <a:gd name="connsiteX38033" fmla="*/ 2454469 w 4610101"/>
              <a:gd name="connsiteY38033" fmla="*/ 456395 h 6557032"/>
              <a:gd name="connsiteX38034" fmla="*/ 2454730 w 4610101"/>
              <a:gd name="connsiteY38034" fmla="*/ 455354 h 6557032"/>
              <a:gd name="connsiteX38035" fmla="*/ 2456291 w 4610101"/>
              <a:gd name="connsiteY38035" fmla="*/ 454574 h 6557032"/>
              <a:gd name="connsiteX38036" fmla="*/ 2465402 w 4610101"/>
              <a:gd name="connsiteY38036" fmla="*/ 461862 h 6557032"/>
              <a:gd name="connsiteX38037" fmla="*/ 2456291 w 4610101"/>
              <a:gd name="connsiteY38037" fmla="*/ 443640 h 6557032"/>
              <a:gd name="connsiteX38038" fmla="*/ 2456747 w 4610101"/>
              <a:gd name="connsiteY38038" fmla="*/ 447285 h 6557032"/>
              <a:gd name="connsiteX38039" fmla="*/ 2454730 w 4610101"/>
              <a:gd name="connsiteY38039" fmla="*/ 455354 h 6557032"/>
              <a:gd name="connsiteX38040" fmla="*/ 2454377 w 4610101"/>
              <a:gd name="connsiteY38040" fmla="*/ 455531 h 6557032"/>
              <a:gd name="connsiteX38041" fmla="*/ 2452647 w 4610101"/>
              <a:gd name="connsiteY38041" fmla="*/ 439313 h 6557032"/>
              <a:gd name="connsiteX38042" fmla="*/ 2447807 w 4610101"/>
              <a:gd name="connsiteY38042" fmla="*/ 433590 h 6557032"/>
              <a:gd name="connsiteX38043" fmla="*/ 3602438 w 4610101"/>
              <a:gd name="connsiteY38043" fmla="*/ 432707 h 6557032"/>
              <a:gd name="connsiteX38044" fmla="*/ 3604712 w 4610101"/>
              <a:gd name="connsiteY38044" fmla="*/ 441197 h 6557032"/>
              <a:gd name="connsiteX38045" fmla="*/ 3600844 w 4610101"/>
              <a:gd name="connsiteY38045" fmla="*/ 439312 h 6557032"/>
              <a:gd name="connsiteX38046" fmla="*/ 3599421 w 4610101"/>
              <a:gd name="connsiteY38046" fmla="*/ 433462 h 6557032"/>
              <a:gd name="connsiteX38047" fmla="*/ 3578750 w 4610101"/>
              <a:gd name="connsiteY38047" fmla="*/ 432707 h 6557032"/>
              <a:gd name="connsiteX38048" fmla="*/ 3576928 w 4610101"/>
              <a:gd name="connsiteY38048" fmla="*/ 439995 h 6557032"/>
              <a:gd name="connsiteX38049" fmla="*/ 3578750 w 4610101"/>
              <a:gd name="connsiteY38049" fmla="*/ 432707 h 6557032"/>
              <a:gd name="connsiteX38050" fmla="*/ 3092230 w 4610101"/>
              <a:gd name="connsiteY38050" fmla="*/ 432707 h 6557032"/>
              <a:gd name="connsiteX38051" fmla="*/ 3097696 w 4610101"/>
              <a:gd name="connsiteY38051" fmla="*/ 447284 h 6557032"/>
              <a:gd name="connsiteX38052" fmla="*/ 3094052 w 4610101"/>
              <a:gd name="connsiteY38052" fmla="*/ 447284 h 6557032"/>
              <a:gd name="connsiteX38053" fmla="*/ 3099518 w 4610101"/>
              <a:gd name="connsiteY38053" fmla="*/ 454574 h 6557032"/>
              <a:gd name="connsiteX38054" fmla="*/ 3103163 w 4610101"/>
              <a:gd name="connsiteY38054" fmla="*/ 434530 h 6557032"/>
              <a:gd name="connsiteX38055" fmla="*/ 3092230 w 4610101"/>
              <a:gd name="connsiteY38055" fmla="*/ 432707 h 6557032"/>
              <a:gd name="connsiteX38056" fmla="*/ 2106433 w 4610101"/>
              <a:gd name="connsiteY38056" fmla="*/ 432707 h 6557032"/>
              <a:gd name="connsiteX38057" fmla="*/ 2100967 w 4610101"/>
              <a:gd name="connsiteY38057" fmla="*/ 436351 h 6557032"/>
              <a:gd name="connsiteX38058" fmla="*/ 2104611 w 4610101"/>
              <a:gd name="connsiteY38058" fmla="*/ 439995 h 6557032"/>
              <a:gd name="connsiteX38059" fmla="*/ 2106433 w 4610101"/>
              <a:gd name="connsiteY38059" fmla="*/ 432707 h 6557032"/>
              <a:gd name="connsiteX38060" fmla="*/ 1078727 w 4610101"/>
              <a:gd name="connsiteY38060" fmla="*/ 432707 h 6557032"/>
              <a:gd name="connsiteX38061" fmla="*/ 1077589 w 4610101"/>
              <a:gd name="connsiteY38061" fmla="*/ 439768 h 6557032"/>
              <a:gd name="connsiteX38062" fmla="*/ 1075895 w 4610101"/>
              <a:gd name="connsiteY38062" fmla="*/ 443618 h 6557032"/>
              <a:gd name="connsiteX38063" fmla="*/ 1047750 w 4610101"/>
              <a:gd name="connsiteY38063" fmla="*/ 432707 h 6557032"/>
              <a:gd name="connsiteX38064" fmla="*/ 1048243 w 4610101"/>
              <a:gd name="connsiteY38064" fmla="*/ 432880 h 6557032"/>
              <a:gd name="connsiteX38065" fmla="*/ 1045929 w 4610101"/>
              <a:gd name="connsiteY38065" fmla="*/ 436351 h 6557032"/>
              <a:gd name="connsiteX38066" fmla="*/ 1046811 w 4610101"/>
              <a:gd name="connsiteY38066" fmla="*/ 433333 h 6557032"/>
              <a:gd name="connsiteX38067" fmla="*/ 2276807 w 4610101"/>
              <a:gd name="connsiteY38067" fmla="*/ 432480 h 6557032"/>
              <a:gd name="connsiteX38068" fmla="*/ 2272251 w 4610101"/>
              <a:gd name="connsiteY38068" fmla="*/ 432707 h 6557032"/>
              <a:gd name="connsiteX38069" fmla="*/ 2275896 w 4610101"/>
              <a:gd name="connsiteY38069" fmla="*/ 436351 h 6557032"/>
              <a:gd name="connsiteX38070" fmla="*/ 2276807 w 4610101"/>
              <a:gd name="connsiteY38070" fmla="*/ 432480 h 6557032"/>
              <a:gd name="connsiteX38071" fmla="*/ 2124655 w 4610101"/>
              <a:gd name="connsiteY38071" fmla="*/ 430886 h 6557032"/>
              <a:gd name="connsiteX38072" fmla="*/ 2126477 w 4610101"/>
              <a:gd name="connsiteY38072" fmla="*/ 441819 h 6557032"/>
              <a:gd name="connsiteX38073" fmla="*/ 2128300 w 4610101"/>
              <a:gd name="connsiteY38073" fmla="*/ 430886 h 6557032"/>
              <a:gd name="connsiteX38074" fmla="*/ 2124655 w 4610101"/>
              <a:gd name="connsiteY38074" fmla="*/ 430886 h 6557032"/>
              <a:gd name="connsiteX38075" fmla="*/ 1049573 w 4610101"/>
              <a:gd name="connsiteY38075" fmla="*/ 430886 h 6557032"/>
              <a:gd name="connsiteX38076" fmla="*/ 1050501 w 4610101"/>
              <a:gd name="connsiteY38076" fmla="*/ 433670 h 6557032"/>
              <a:gd name="connsiteX38077" fmla="*/ 1048243 w 4610101"/>
              <a:gd name="connsiteY38077" fmla="*/ 432880 h 6557032"/>
              <a:gd name="connsiteX38078" fmla="*/ 3498574 w 4610101"/>
              <a:gd name="connsiteY38078" fmla="*/ 429063 h 6557032"/>
              <a:gd name="connsiteX38079" fmla="*/ 3493108 w 4610101"/>
              <a:gd name="connsiteY38079" fmla="*/ 449107 h 6557032"/>
              <a:gd name="connsiteX38080" fmla="*/ 3511330 w 4610101"/>
              <a:gd name="connsiteY38080" fmla="*/ 463684 h 6557032"/>
              <a:gd name="connsiteX38081" fmla="*/ 3518618 w 4610101"/>
              <a:gd name="connsiteY38081" fmla="*/ 465506 h 6557032"/>
              <a:gd name="connsiteX38082" fmla="*/ 3520440 w 4610101"/>
              <a:gd name="connsiteY38082" fmla="*/ 500127 h 6557032"/>
              <a:gd name="connsiteX38083" fmla="*/ 3514974 w 4610101"/>
              <a:gd name="connsiteY38083" fmla="*/ 432707 h 6557032"/>
              <a:gd name="connsiteX38084" fmla="*/ 3509507 w 4610101"/>
              <a:gd name="connsiteY38084" fmla="*/ 445463 h 6557032"/>
              <a:gd name="connsiteX38085" fmla="*/ 3498574 w 4610101"/>
              <a:gd name="connsiteY38085" fmla="*/ 429063 h 6557032"/>
              <a:gd name="connsiteX38086" fmla="*/ 3391066 w 4610101"/>
              <a:gd name="connsiteY38086" fmla="*/ 429063 h 6557032"/>
              <a:gd name="connsiteX38087" fmla="*/ 3400177 w 4610101"/>
              <a:gd name="connsiteY38087" fmla="*/ 434530 h 6557032"/>
              <a:gd name="connsiteX38088" fmla="*/ 3391066 w 4610101"/>
              <a:gd name="connsiteY38088" fmla="*/ 429063 h 6557032"/>
              <a:gd name="connsiteX38089" fmla="*/ 3112274 w 4610101"/>
              <a:gd name="connsiteY38089" fmla="*/ 429063 h 6557032"/>
              <a:gd name="connsiteX38090" fmla="*/ 3104985 w 4610101"/>
              <a:gd name="connsiteY38090" fmla="*/ 430886 h 6557032"/>
              <a:gd name="connsiteX38091" fmla="*/ 3112274 w 4610101"/>
              <a:gd name="connsiteY38091" fmla="*/ 441819 h 6557032"/>
              <a:gd name="connsiteX38092" fmla="*/ 3112274 w 4610101"/>
              <a:gd name="connsiteY38092" fmla="*/ 429063 h 6557032"/>
              <a:gd name="connsiteX38093" fmla="*/ 3330934 w 4610101"/>
              <a:gd name="connsiteY38093" fmla="*/ 427240 h 6557032"/>
              <a:gd name="connsiteX38094" fmla="*/ 3314535 w 4610101"/>
              <a:gd name="connsiteY38094" fmla="*/ 443640 h 6557032"/>
              <a:gd name="connsiteX38095" fmla="*/ 3336401 w 4610101"/>
              <a:gd name="connsiteY38095" fmla="*/ 432707 h 6557032"/>
              <a:gd name="connsiteX38096" fmla="*/ 3330934 w 4610101"/>
              <a:gd name="connsiteY38096" fmla="*/ 427240 h 6557032"/>
              <a:gd name="connsiteX38097" fmla="*/ 3152361 w 4610101"/>
              <a:gd name="connsiteY38097" fmla="*/ 427240 h 6557032"/>
              <a:gd name="connsiteX38098" fmla="*/ 3112274 w 4610101"/>
              <a:gd name="connsiteY38098" fmla="*/ 463684 h 6557032"/>
              <a:gd name="connsiteX38099" fmla="*/ 3152361 w 4610101"/>
              <a:gd name="connsiteY38099" fmla="*/ 427240 h 6557032"/>
              <a:gd name="connsiteX38100" fmla="*/ 2177498 w 4610101"/>
              <a:gd name="connsiteY38100" fmla="*/ 427240 h 6557032"/>
              <a:gd name="connsiteX38101" fmla="*/ 2181143 w 4610101"/>
              <a:gd name="connsiteY38101" fmla="*/ 434530 h 6557032"/>
              <a:gd name="connsiteX38102" fmla="*/ 2182965 w 4610101"/>
              <a:gd name="connsiteY38102" fmla="*/ 429063 h 6557032"/>
              <a:gd name="connsiteX38103" fmla="*/ 2177498 w 4610101"/>
              <a:gd name="connsiteY38103" fmla="*/ 427240 h 6557032"/>
              <a:gd name="connsiteX38104" fmla="*/ 1488944 w 4610101"/>
              <a:gd name="connsiteY38104" fmla="*/ 426885 h 6557032"/>
              <a:gd name="connsiteX38105" fmla="*/ 1506938 w 4610101"/>
              <a:gd name="connsiteY38105" fmla="*/ 427341 h 6557032"/>
              <a:gd name="connsiteX38106" fmla="*/ 1521516 w 4610101"/>
              <a:gd name="connsiteY38106" fmla="*/ 449207 h 6557032"/>
              <a:gd name="connsiteX38107" fmla="*/ 1506938 w 4610101"/>
              <a:gd name="connsiteY38107" fmla="*/ 449207 h 6557032"/>
              <a:gd name="connsiteX38108" fmla="*/ 1477784 w 4610101"/>
              <a:gd name="connsiteY38108" fmla="*/ 440096 h 6557032"/>
              <a:gd name="connsiteX38109" fmla="*/ 1488944 w 4610101"/>
              <a:gd name="connsiteY38109" fmla="*/ 426885 h 6557032"/>
              <a:gd name="connsiteX38110" fmla="*/ 3332756 w 4610101"/>
              <a:gd name="connsiteY38110" fmla="*/ 425419 h 6557032"/>
              <a:gd name="connsiteX38111" fmla="*/ 3349156 w 4610101"/>
              <a:gd name="connsiteY38111" fmla="*/ 434530 h 6557032"/>
              <a:gd name="connsiteX38112" fmla="*/ 3332756 w 4610101"/>
              <a:gd name="connsiteY38112" fmla="*/ 425419 h 6557032"/>
              <a:gd name="connsiteX38113" fmla="*/ 2521889 w 4610101"/>
              <a:gd name="connsiteY38113" fmla="*/ 425419 h 6557032"/>
              <a:gd name="connsiteX38114" fmla="*/ 2521889 w 4610101"/>
              <a:gd name="connsiteY38114" fmla="*/ 438174 h 6557032"/>
              <a:gd name="connsiteX38115" fmla="*/ 2525534 w 4610101"/>
              <a:gd name="connsiteY38115" fmla="*/ 432707 h 6557032"/>
              <a:gd name="connsiteX38116" fmla="*/ 2536466 w 4610101"/>
              <a:gd name="connsiteY38116" fmla="*/ 438174 h 6557032"/>
              <a:gd name="connsiteX38117" fmla="*/ 2536466 w 4610101"/>
              <a:gd name="connsiteY38117" fmla="*/ 427240 h 6557032"/>
              <a:gd name="connsiteX38118" fmla="*/ 2521889 w 4610101"/>
              <a:gd name="connsiteY38118" fmla="*/ 425419 h 6557032"/>
              <a:gd name="connsiteX38119" fmla="*/ 2516423 w 4610101"/>
              <a:gd name="connsiteY38119" fmla="*/ 425419 h 6557032"/>
              <a:gd name="connsiteX38120" fmla="*/ 2512778 w 4610101"/>
              <a:gd name="connsiteY38120" fmla="*/ 432707 h 6557032"/>
              <a:gd name="connsiteX38121" fmla="*/ 2518245 w 4610101"/>
              <a:gd name="connsiteY38121" fmla="*/ 432707 h 6557032"/>
              <a:gd name="connsiteX38122" fmla="*/ 2516423 w 4610101"/>
              <a:gd name="connsiteY38122" fmla="*/ 425419 h 6557032"/>
              <a:gd name="connsiteX38123" fmla="*/ 2463580 w 4610101"/>
              <a:gd name="connsiteY38123" fmla="*/ 425419 h 6557032"/>
              <a:gd name="connsiteX38124" fmla="*/ 2459935 w 4610101"/>
              <a:gd name="connsiteY38124" fmla="*/ 432707 h 6557032"/>
              <a:gd name="connsiteX38125" fmla="*/ 2467224 w 4610101"/>
              <a:gd name="connsiteY38125" fmla="*/ 434530 h 6557032"/>
              <a:gd name="connsiteX38126" fmla="*/ 2467224 w 4610101"/>
              <a:gd name="connsiteY38126" fmla="*/ 427240 h 6557032"/>
              <a:gd name="connsiteX38127" fmla="*/ 2463580 w 4610101"/>
              <a:gd name="connsiteY38127" fmla="*/ 425419 h 6557032"/>
              <a:gd name="connsiteX38128" fmla="*/ 3595150 w 4610101"/>
              <a:gd name="connsiteY38128" fmla="*/ 423596 h 6557032"/>
              <a:gd name="connsiteX38129" fmla="*/ 3598794 w 4610101"/>
              <a:gd name="connsiteY38129" fmla="*/ 423596 h 6557032"/>
              <a:gd name="connsiteX38130" fmla="*/ 3600616 w 4610101"/>
              <a:gd name="connsiteY38130" fmla="*/ 429063 h 6557032"/>
              <a:gd name="connsiteX38131" fmla="*/ 3595150 w 4610101"/>
              <a:gd name="connsiteY38131" fmla="*/ 423596 h 6557032"/>
              <a:gd name="connsiteX38132" fmla="*/ 3170583 w 4610101"/>
              <a:gd name="connsiteY38132" fmla="*/ 423596 h 6557032"/>
              <a:gd name="connsiteX38133" fmla="*/ 3166939 w 4610101"/>
              <a:gd name="connsiteY38133" fmla="*/ 430886 h 6557032"/>
              <a:gd name="connsiteX38134" fmla="*/ 3174227 w 4610101"/>
              <a:gd name="connsiteY38134" fmla="*/ 434530 h 6557032"/>
              <a:gd name="connsiteX38135" fmla="*/ 3185160 w 4610101"/>
              <a:gd name="connsiteY38135" fmla="*/ 449107 h 6557032"/>
              <a:gd name="connsiteX38136" fmla="*/ 3196093 w 4610101"/>
              <a:gd name="connsiteY38136" fmla="*/ 430886 h 6557032"/>
              <a:gd name="connsiteX38137" fmla="*/ 3170583 w 4610101"/>
              <a:gd name="connsiteY38137" fmla="*/ 423596 h 6557032"/>
              <a:gd name="connsiteX38138" fmla="*/ 2157910 w 4610101"/>
              <a:gd name="connsiteY38138" fmla="*/ 422457 h 6557032"/>
              <a:gd name="connsiteX38139" fmla="*/ 2148344 w 4610101"/>
              <a:gd name="connsiteY38139" fmla="*/ 423596 h 6557032"/>
              <a:gd name="connsiteX38140" fmla="*/ 2164743 w 4610101"/>
              <a:gd name="connsiteY38140" fmla="*/ 425419 h 6557032"/>
              <a:gd name="connsiteX38141" fmla="*/ 2157910 w 4610101"/>
              <a:gd name="connsiteY38141" fmla="*/ 422457 h 6557032"/>
              <a:gd name="connsiteX38142" fmla="*/ 2240819 w 4610101"/>
              <a:gd name="connsiteY38142" fmla="*/ 422002 h 6557032"/>
              <a:gd name="connsiteX38143" fmla="*/ 2235808 w 4610101"/>
              <a:gd name="connsiteY38143" fmla="*/ 423596 h 6557032"/>
              <a:gd name="connsiteX38144" fmla="*/ 2243096 w 4610101"/>
              <a:gd name="connsiteY38144" fmla="*/ 427240 h 6557032"/>
              <a:gd name="connsiteX38145" fmla="*/ 2240819 w 4610101"/>
              <a:gd name="connsiteY38145" fmla="*/ 422002 h 6557032"/>
              <a:gd name="connsiteX38146" fmla="*/ 3591505 w 4610101"/>
              <a:gd name="connsiteY38146" fmla="*/ 421775 h 6557032"/>
              <a:gd name="connsiteX38147" fmla="*/ 3593327 w 4610101"/>
              <a:gd name="connsiteY38147" fmla="*/ 427240 h 6557032"/>
              <a:gd name="connsiteX38148" fmla="*/ 3589430 w 4610101"/>
              <a:gd name="connsiteY38148" fmla="*/ 427240 h 6557032"/>
              <a:gd name="connsiteX38149" fmla="*/ 3588889 w 4610101"/>
              <a:gd name="connsiteY38149" fmla="*/ 423344 h 6557032"/>
              <a:gd name="connsiteX38150" fmla="*/ 3571461 w 4610101"/>
              <a:gd name="connsiteY38150" fmla="*/ 421775 h 6557032"/>
              <a:gd name="connsiteX38151" fmla="*/ 3576928 w 4610101"/>
              <a:gd name="connsiteY38151" fmla="*/ 427240 h 6557032"/>
              <a:gd name="connsiteX38152" fmla="*/ 3580572 w 4610101"/>
              <a:gd name="connsiteY38152" fmla="*/ 421775 h 6557032"/>
              <a:gd name="connsiteX38153" fmla="*/ 3571461 w 4610101"/>
              <a:gd name="connsiteY38153" fmla="*/ 421775 h 6557032"/>
              <a:gd name="connsiteX38154" fmla="*/ 2383404 w 4610101"/>
              <a:gd name="connsiteY38154" fmla="*/ 421775 h 6557032"/>
              <a:gd name="connsiteX38155" fmla="*/ 2387048 w 4610101"/>
              <a:gd name="connsiteY38155" fmla="*/ 430886 h 6557032"/>
              <a:gd name="connsiteX38156" fmla="*/ 2383404 w 4610101"/>
              <a:gd name="connsiteY38156" fmla="*/ 421775 h 6557032"/>
              <a:gd name="connsiteX38157" fmla="*/ 3371022 w 4610101"/>
              <a:gd name="connsiteY38157" fmla="*/ 419952 h 6557032"/>
              <a:gd name="connsiteX38158" fmla="*/ 3365556 w 4610101"/>
              <a:gd name="connsiteY38158" fmla="*/ 427240 h 6557032"/>
              <a:gd name="connsiteX38159" fmla="*/ 3376489 w 4610101"/>
              <a:gd name="connsiteY38159" fmla="*/ 429063 h 6557032"/>
              <a:gd name="connsiteX38160" fmla="*/ 3371022 w 4610101"/>
              <a:gd name="connsiteY38160" fmla="*/ 419952 h 6557032"/>
              <a:gd name="connsiteX38161" fmla="*/ 2397981 w 4610101"/>
              <a:gd name="connsiteY38161" fmla="*/ 419952 h 6557032"/>
              <a:gd name="connsiteX38162" fmla="*/ 2401626 w 4610101"/>
              <a:gd name="connsiteY38162" fmla="*/ 439995 h 6557032"/>
              <a:gd name="connsiteX38163" fmla="*/ 2418025 w 4610101"/>
              <a:gd name="connsiteY38163" fmla="*/ 423596 h 6557032"/>
              <a:gd name="connsiteX38164" fmla="*/ 2397981 w 4610101"/>
              <a:gd name="connsiteY38164" fmla="*/ 419952 h 6557032"/>
              <a:gd name="connsiteX38165" fmla="*/ 2108256 w 4610101"/>
              <a:gd name="connsiteY38165" fmla="*/ 419952 h 6557032"/>
              <a:gd name="connsiteX38166" fmla="*/ 2102790 w 4610101"/>
              <a:gd name="connsiteY38166" fmla="*/ 421775 h 6557032"/>
              <a:gd name="connsiteX38167" fmla="*/ 2100967 w 4610101"/>
              <a:gd name="connsiteY38167" fmla="*/ 425419 h 6557032"/>
              <a:gd name="connsiteX38168" fmla="*/ 2102790 w 4610101"/>
              <a:gd name="connsiteY38168" fmla="*/ 425419 h 6557032"/>
              <a:gd name="connsiteX38169" fmla="*/ 2108256 w 4610101"/>
              <a:gd name="connsiteY38169" fmla="*/ 419952 h 6557032"/>
              <a:gd name="connsiteX38170" fmla="*/ 1271878 w 4610101"/>
              <a:gd name="connsiteY38170" fmla="*/ 419952 h 6557032"/>
              <a:gd name="connsiteX38171" fmla="*/ 1266411 w 4610101"/>
              <a:gd name="connsiteY38171" fmla="*/ 452751 h 6557032"/>
              <a:gd name="connsiteX38172" fmla="*/ 1270056 w 4610101"/>
              <a:gd name="connsiteY38172" fmla="*/ 450928 h 6557032"/>
              <a:gd name="connsiteX38173" fmla="*/ 1263453 w 4610101"/>
              <a:gd name="connsiteY38173" fmla="*/ 460036 h 6557032"/>
              <a:gd name="connsiteX38174" fmla="*/ 1264361 w 4610101"/>
              <a:gd name="connsiteY38174" fmla="*/ 457079 h 6557032"/>
              <a:gd name="connsiteX38175" fmla="*/ 1264589 w 4610101"/>
              <a:gd name="connsiteY38175" fmla="*/ 432707 h 6557032"/>
              <a:gd name="connsiteX38176" fmla="*/ 1268233 w 4610101"/>
              <a:gd name="connsiteY38176" fmla="*/ 436351 h 6557032"/>
              <a:gd name="connsiteX38177" fmla="*/ 1271878 w 4610101"/>
              <a:gd name="connsiteY38177" fmla="*/ 419952 h 6557032"/>
              <a:gd name="connsiteX38178" fmla="*/ 532075 w 4610101"/>
              <a:gd name="connsiteY38178" fmla="*/ 419952 h 6557032"/>
              <a:gd name="connsiteX38179" fmla="*/ 537086 w 4610101"/>
              <a:gd name="connsiteY38179" fmla="*/ 430430 h 6557032"/>
              <a:gd name="connsiteX38180" fmla="*/ 544319 w 4610101"/>
              <a:gd name="connsiteY38180" fmla="*/ 437663 h 6557032"/>
              <a:gd name="connsiteX38181" fmla="*/ 539364 w 4610101"/>
              <a:gd name="connsiteY38181" fmla="*/ 487373 h 6557032"/>
              <a:gd name="connsiteX38182" fmla="*/ 537769 w 4610101"/>
              <a:gd name="connsiteY38182" fmla="*/ 479400 h 6557032"/>
              <a:gd name="connsiteX38183" fmla="*/ 536785 w 4610101"/>
              <a:gd name="connsiteY38183" fmla="*/ 478259 h 6557032"/>
              <a:gd name="connsiteX38184" fmla="*/ 540958 w 4610101"/>
              <a:gd name="connsiteY38184" fmla="*/ 456851 h 6557032"/>
              <a:gd name="connsiteX38185" fmla="*/ 533897 w 4610101"/>
              <a:gd name="connsiteY38185" fmla="*/ 432707 h 6557032"/>
              <a:gd name="connsiteX38186" fmla="*/ 533897 w 4610101"/>
              <a:gd name="connsiteY38186" fmla="*/ 438174 h 6557032"/>
              <a:gd name="connsiteX38187" fmla="*/ 532075 w 4610101"/>
              <a:gd name="connsiteY38187" fmla="*/ 419952 h 6557032"/>
              <a:gd name="connsiteX38188" fmla="*/ 2797038 w 4610101"/>
              <a:gd name="connsiteY38188" fmla="*/ 418221 h 6557032"/>
              <a:gd name="connsiteX38189" fmla="*/ 2775172 w 4610101"/>
              <a:gd name="connsiteY38189" fmla="*/ 449198 h 6557032"/>
              <a:gd name="connsiteX38190" fmla="*/ 2797038 w 4610101"/>
              <a:gd name="connsiteY38190" fmla="*/ 418221 h 6557032"/>
              <a:gd name="connsiteX38191" fmla="*/ 3360089 w 4610101"/>
              <a:gd name="connsiteY38191" fmla="*/ 418129 h 6557032"/>
              <a:gd name="connsiteX38192" fmla="*/ 3350978 w 4610101"/>
              <a:gd name="connsiteY38192" fmla="*/ 421775 h 6557032"/>
              <a:gd name="connsiteX38193" fmla="*/ 3347334 w 4610101"/>
              <a:gd name="connsiteY38193" fmla="*/ 419952 h 6557032"/>
              <a:gd name="connsiteX38194" fmla="*/ 3352800 w 4610101"/>
              <a:gd name="connsiteY38194" fmla="*/ 430886 h 6557032"/>
              <a:gd name="connsiteX38195" fmla="*/ 3360089 w 4610101"/>
              <a:gd name="connsiteY38195" fmla="*/ 418129 h 6557032"/>
              <a:gd name="connsiteX38196" fmla="*/ 3279913 w 4610101"/>
              <a:gd name="connsiteY38196" fmla="*/ 418129 h 6557032"/>
              <a:gd name="connsiteX38197" fmla="*/ 3276269 w 4610101"/>
              <a:gd name="connsiteY38197" fmla="*/ 425419 h 6557032"/>
              <a:gd name="connsiteX38198" fmla="*/ 3298135 w 4610101"/>
              <a:gd name="connsiteY38198" fmla="*/ 432707 h 6557032"/>
              <a:gd name="connsiteX38199" fmla="*/ 3279913 w 4610101"/>
              <a:gd name="connsiteY38199" fmla="*/ 418129 h 6557032"/>
              <a:gd name="connsiteX38200" fmla="*/ 3232537 w 4610101"/>
              <a:gd name="connsiteY38200" fmla="*/ 418129 h 6557032"/>
              <a:gd name="connsiteX38201" fmla="*/ 3232537 w 4610101"/>
              <a:gd name="connsiteY38201" fmla="*/ 423596 h 6557032"/>
              <a:gd name="connsiteX38202" fmla="*/ 3239826 w 4610101"/>
              <a:gd name="connsiteY38202" fmla="*/ 423596 h 6557032"/>
              <a:gd name="connsiteX38203" fmla="*/ 3232537 w 4610101"/>
              <a:gd name="connsiteY38203" fmla="*/ 418129 h 6557032"/>
              <a:gd name="connsiteX38204" fmla="*/ 2385226 w 4610101"/>
              <a:gd name="connsiteY38204" fmla="*/ 418129 h 6557032"/>
              <a:gd name="connsiteX38205" fmla="*/ 2387048 w 4610101"/>
              <a:gd name="connsiteY38205" fmla="*/ 427240 h 6557032"/>
              <a:gd name="connsiteX38206" fmla="*/ 2394337 w 4610101"/>
              <a:gd name="connsiteY38206" fmla="*/ 438174 h 6557032"/>
              <a:gd name="connsiteX38207" fmla="*/ 2385226 w 4610101"/>
              <a:gd name="connsiteY38207" fmla="*/ 418129 h 6557032"/>
              <a:gd name="connsiteX38208" fmla="*/ 1971592 w 4610101"/>
              <a:gd name="connsiteY38208" fmla="*/ 418129 h 6557032"/>
              <a:gd name="connsiteX38209" fmla="*/ 1971447 w 4610101"/>
              <a:gd name="connsiteY38209" fmla="*/ 418711 h 6557032"/>
              <a:gd name="connsiteX38210" fmla="*/ 1975237 w 4610101"/>
              <a:gd name="connsiteY38210" fmla="*/ 419974 h 6557032"/>
              <a:gd name="connsiteX38211" fmla="*/ 1975638 w 4610101"/>
              <a:gd name="connsiteY38211" fmla="*/ 419478 h 6557032"/>
              <a:gd name="connsiteX38212" fmla="*/ 3587218 w 4610101"/>
              <a:gd name="connsiteY38212" fmla="*/ 416522 h 6557032"/>
              <a:gd name="connsiteX38213" fmla="*/ 3591505 w 4610101"/>
              <a:gd name="connsiteY38213" fmla="*/ 419952 h 6557032"/>
              <a:gd name="connsiteX38214" fmla="*/ 3588055 w 4610101"/>
              <a:gd name="connsiteY38214" fmla="*/ 419262 h 6557032"/>
              <a:gd name="connsiteX38215" fmla="*/ 3329112 w 4610101"/>
              <a:gd name="connsiteY38215" fmla="*/ 416308 h 6557032"/>
              <a:gd name="connsiteX38216" fmla="*/ 3330934 w 4610101"/>
              <a:gd name="connsiteY38216" fmla="*/ 423596 h 6557032"/>
              <a:gd name="connsiteX38217" fmla="*/ 3336401 w 4610101"/>
              <a:gd name="connsiteY38217" fmla="*/ 421775 h 6557032"/>
              <a:gd name="connsiteX38218" fmla="*/ 3329112 w 4610101"/>
              <a:gd name="connsiteY38218" fmla="*/ 416308 h 6557032"/>
              <a:gd name="connsiteX38219" fmla="*/ 3064897 w 4610101"/>
              <a:gd name="connsiteY38219" fmla="*/ 416308 h 6557032"/>
              <a:gd name="connsiteX38220" fmla="*/ 3061253 w 4610101"/>
              <a:gd name="connsiteY38220" fmla="*/ 418129 h 6557032"/>
              <a:gd name="connsiteX38221" fmla="*/ 3070363 w 4610101"/>
              <a:gd name="connsiteY38221" fmla="*/ 430886 h 6557032"/>
              <a:gd name="connsiteX38222" fmla="*/ 3064897 w 4610101"/>
              <a:gd name="connsiteY38222" fmla="*/ 416308 h 6557032"/>
              <a:gd name="connsiteX38223" fmla="*/ 2246741 w 4610101"/>
              <a:gd name="connsiteY38223" fmla="*/ 416308 h 6557032"/>
              <a:gd name="connsiteX38224" fmla="*/ 2254030 w 4610101"/>
              <a:gd name="connsiteY38224" fmla="*/ 427240 h 6557032"/>
              <a:gd name="connsiteX38225" fmla="*/ 2252207 w 4610101"/>
              <a:gd name="connsiteY38225" fmla="*/ 418129 h 6557032"/>
              <a:gd name="connsiteX38226" fmla="*/ 2246741 w 4610101"/>
              <a:gd name="connsiteY38226" fmla="*/ 416308 h 6557032"/>
              <a:gd name="connsiteX38227" fmla="*/ 3220921 w 4610101"/>
              <a:gd name="connsiteY38227" fmla="*/ 415624 h 6557032"/>
              <a:gd name="connsiteX38228" fmla="*/ 3212493 w 4610101"/>
              <a:gd name="connsiteY38228" fmla="*/ 418129 h 6557032"/>
              <a:gd name="connsiteX38229" fmla="*/ 3216137 w 4610101"/>
              <a:gd name="connsiteY38229" fmla="*/ 418129 h 6557032"/>
              <a:gd name="connsiteX38230" fmla="*/ 3219782 w 4610101"/>
              <a:gd name="connsiteY38230" fmla="*/ 429063 h 6557032"/>
              <a:gd name="connsiteX38231" fmla="*/ 3214315 w 4610101"/>
              <a:gd name="connsiteY38231" fmla="*/ 423596 h 6557032"/>
              <a:gd name="connsiteX38232" fmla="*/ 3212493 w 4610101"/>
              <a:gd name="connsiteY38232" fmla="*/ 432707 h 6557032"/>
              <a:gd name="connsiteX38233" fmla="*/ 3223426 w 4610101"/>
              <a:gd name="connsiteY38233" fmla="*/ 436351 h 6557032"/>
              <a:gd name="connsiteX38234" fmla="*/ 3210671 w 4610101"/>
              <a:gd name="connsiteY38234" fmla="*/ 436351 h 6557032"/>
              <a:gd name="connsiteX38235" fmla="*/ 3239826 w 4610101"/>
              <a:gd name="connsiteY38235" fmla="*/ 430886 h 6557032"/>
              <a:gd name="connsiteX38236" fmla="*/ 3230715 w 4610101"/>
              <a:gd name="connsiteY38236" fmla="*/ 436351 h 6557032"/>
              <a:gd name="connsiteX38237" fmla="*/ 3230715 w 4610101"/>
              <a:gd name="connsiteY38237" fmla="*/ 419952 h 6557032"/>
              <a:gd name="connsiteX38238" fmla="*/ 3220921 w 4610101"/>
              <a:gd name="connsiteY38238" fmla="*/ 415624 h 6557032"/>
              <a:gd name="connsiteX38239" fmla="*/ 2208020 w 4610101"/>
              <a:gd name="connsiteY38239" fmla="*/ 413347 h 6557032"/>
              <a:gd name="connsiteX38240" fmla="*/ 2201187 w 4610101"/>
              <a:gd name="connsiteY38240" fmla="*/ 414485 h 6557032"/>
              <a:gd name="connsiteX38241" fmla="*/ 2212120 w 4610101"/>
              <a:gd name="connsiteY38241" fmla="*/ 416308 h 6557032"/>
              <a:gd name="connsiteX38242" fmla="*/ 2208020 w 4610101"/>
              <a:gd name="connsiteY38242" fmla="*/ 413347 h 6557032"/>
              <a:gd name="connsiteX38243" fmla="*/ 3494930 w 4610101"/>
              <a:gd name="connsiteY38243" fmla="*/ 412664 h 6557032"/>
              <a:gd name="connsiteX38244" fmla="*/ 3487641 w 4610101"/>
              <a:gd name="connsiteY38244" fmla="*/ 418129 h 6557032"/>
              <a:gd name="connsiteX38245" fmla="*/ 3494930 w 4610101"/>
              <a:gd name="connsiteY38245" fmla="*/ 419952 h 6557032"/>
              <a:gd name="connsiteX38246" fmla="*/ 3494930 w 4610101"/>
              <a:gd name="connsiteY38246" fmla="*/ 412664 h 6557032"/>
              <a:gd name="connsiteX38247" fmla="*/ 2374293 w 4610101"/>
              <a:gd name="connsiteY38247" fmla="*/ 412664 h 6557032"/>
              <a:gd name="connsiteX38248" fmla="*/ 2365182 w 4610101"/>
              <a:gd name="connsiteY38248" fmla="*/ 441819 h 6557032"/>
              <a:gd name="connsiteX38249" fmla="*/ 2365182 w 4610101"/>
              <a:gd name="connsiteY38249" fmla="*/ 432707 h 6557032"/>
              <a:gd name="connsiteX38250" fmla="*/ 2367004 w 4610101"/>
              <a:gd name="connsiteY38250" fmla="*/ 429063 h 6557032"/>
              <a:gd name="connsiteX38251" fmla="*/ 2374293 w 4610101"/>
              <a:gd name="connsiteY38251" fmla="*/ 412664 h 6557032"/>
              <a:gd name="connsiteX38252" fmla="*/ 2361538 w 4610101"/>
              <a:gd name="connsiteY38252" fmla="*/ 412664 h 6557032"/>
              <a:gd name="connsiteX38253" fmla="*/ 2356071 w 4610101"/>
              <a:gd name="connsiteY38253" fmla="*/ 421775 h 6557032"/>
              <a:gd name="connsiteX38254" fmla="*/ 2354249 w 4610101"/>
              <a:gd name="connsiteY38254" fmla="*/ 416308 h 6557032"/>
              <a:gd name="connsiteX38255" fmla="*/ 2323272 w 4610101"/>
              <a:gd name="connsiteY38255" fmla="*/ 434530 h 6557032"/>
              <a:gd name="connsiteX38256" fmla="*/ 2325322 w 4610101"/>
              <a:gd name="connsiteY38256" fmla="*/ 443413 h 6557032"/>
              <a:gd name="connsiteX38257" fmla="*/ 2325003 w 4610101"/>
              <a:gd name="connsiteY38257" fmla="*/ 444583 h 6557032"/>
              <a:gd name="connsiteX38258" fmla="*/ 2323044 w 4610101"/>
              <a:gd name="connsiteY38258" fmla="*/ 441818 h 6557032"/>
              <a:gd name="connsiteX38259" fmla="*/ 2317806 w 4610101"/>
              <a:gd name="connsiteY38259" fmla="*/ 447284 h 6557032"/>
              <a:gd name="connsiteX38260" fmla="*/ 2321450 w 4610101"/>
              <a:gd name="connsiteY38260" fmla="*/ 461862 h 6557032"/>
              <a:gd name="connsiteX38261" fmla="*/ 2322218 w 4610101"/>
              <a:gd name="connsiteY38261" fmla="*/ 449306 h 6557032"/>
              <a:gd name="connsiteX38262" fmla="*/ 2323914 w 4610101"/>
              <a:gd name="connsiteY38262" fmla="*/ 448576 h 6557032"/>
              <a:gd name="connsiteX38263" fmla="*/ 2323272 w 4610101"/>
              <a:gd name="connsiteY38263" fmla="*/ 450928 h 6557032"/>
              <a:gd name="connsiteX38264" fmla="*/ 2325094 w 4610101"/>
              <a:gd name="connsiteY38264" fmla="*/ 461862 h 6557032"/>
              <a:gd name="connsiteX38265" fmla="*/ 2328739 w 4610101"/>
              <a:gd name="connsiteY38265" fmla="*/ 454574 h 6557032"/>
              <a:gd name="connsiteX38266" fmla="*/ 2337850 w 4610101"/>
              <a:gd name="connsiteY38266" fmla="*/ 465506 h 6557032"/>
              <a:gd name="connsiteX38267" fmla="*/ 2328739 w 4610101"/>
              <a:gd name="connsiteY38267" fmla="*/ 449107 h 6557032"/>
              <a:gd name="connsiteX38268" fmla="*/ 2339672 w 4610101"/>
              <a:gd name="connsiteY38268" fmla="*/ 438174 h 6557032"/>
              <a:gd name="connsiteX38269" fmla="*/ 2345138 w 4610101"/>
              <a:gd name="connsiteY38269" fmla="*/ 441819 h 6557032"/>
              <a:gd name="connsiteX38270" fmla="*/ 2345138 w 4610101"/>
              <a:gd name="connsiteY38270" fmla="*/ 429063 h 6557032"/>
              <a:gd name="connsiteX38271" fmla="*/ 2357893 w 4610101"/>
              <a:gd name="connsiteY38271" fmla="*/ 423596 h 6557032"/>
              <a:gd name="connsiteX38272" fmla="*/ 2359716 w 4610101"/>
              <a:gd name="connsiteY38272" fmla="*/ 427240 h 6557032"/>
              <a:gd name="connsiteX38273" fmla="*/ 2361538 w 4610101"/>
              <a:gd name="connsiteY38273" fmla="*/ 412664 h 6557032"/>
              <a:gd name="connsiteX38274" fmla="*/ 2259496 w 4610101"/>
              <a:gd name="connsiteY38274" fmla="*/ 412664 h 6557032"/>
              <a:gd name="connsiteX38275" fmla="*/ 2266785 w 4610101"/>
              <a:gd name="connsiteY38275" fmla="*/ 419952 h 6557032"/>
              <a:gd name="connsiteX38276" fmla="*/ 2259496 w 4610101"/>
              <a:gd name="connsiteY38276" fmla="*/ 412664 h 6557032"/>
              <a:gd name="connsiteX38277" fmla="*/ 2611176 w 4610101"/>
              <a:gd name="connsiteY38277" fmla="*/ 410841 h 6557032"/>
              <a:gd name="connsiteX38278" fmla="*/ 2609353 w 4610101"/>
              <a:gd name="connsiteY38278" fmla="*/ 418129 h 6557032"/>
              <a:gd name="connsiteX38279" fmla="*/ 2611176 w 4610101"/>
              <a:gd name="connsiteY38279" fmla="*/ 410841 h 6557032"/>
              <a:gd name="connsiteX38280" fmla="*/ 2162921 w 4610101"/>
              <a:gd name="connsiteY38280" fmla="*/ 410841 h 6557032"/>
              <a:gd name="connsiteX38281" fmla="*/ 2157454 w 4610101"/>
              <a:gd name="connsiteY38281" fmla="*/ 414485 h 6557032"/>
              <a:gd name="connsiteX38282" fmla="*/ 2162921 w 4610101"/>
              <a:gd name="connsiteY38282" fmla="*/ 412664 h 6557032"/>
              <a:gd name="connsiteX38283" fmla="*/ 2162921 w 4610101"/>
              <a:gd name="connsiteY38283" fmla="*/ 410841 h 6557032"/>
              <a:gd name="connsiteX38284" fmla="*/ 2119189 w 4610101"/>
              <a:gd name="connsiteY38284" fmla="*/ 410841 h 6557032"/>
              <a:gd name="connsiteX38285" fmla="*/ 2122833 w 4610101"/>
              <a:gd name="connsiteY38285" fmla="*/ 421775 h 6557032"/>
              <a:gd name="connsiteX38286" fmla="*/ 2128300 w 4610101"/>
              <a:gd name="connsiteY38286" fmla="*/ 414485 h 6557032"/>
              <a:gd name="connsiteX38287" fmla="*/ 2126477 w 4610101"/>
              <a:gd name="connsiteY38287" fmla="*/ 412664 h 6557032"/>
              <a:gd name="connsiteX38288" fmla="*/ 2119189 w 4610101"/>
              <a:gd name="connsiteY38288" fmla="*/ 410841 h 6557032"/>
              <a:gd name="connsiteX38289" fmla="*/ 475589 w 4610101"/>
              <a:gd name="connsiteY38289" fmla="*/ 410841 h 6557032"/>
              <a:gd name="connsiteX38290" fmla="*/ 487454 w 4610101"/>
              <a:gd name="connsiteY38290" fmla="*/ 425455 h 6557032"/>
              <a:gd name="connsiteX38291" fmla="*/ 485154 w 4610101"/>
              <a:gd name="connsiteY38291" fmla="*/ 423368 h 6557032"/>
              <a:gd name="connsiteX38292" fmla="*/ 475589 w 4610101"/>
              <a:gd name="connsiteY38292" fmla="*/ 410841 h 6557032"/>
              <a:gd name="connsiteX38293" fmla="*/ 2171577 w 4610101"/>
              <a:gd name="connsiteY38293" fmla="*/ 410158 h 6557032"/>
              <a:gd name="connsiteX38294" fmla="*/ 2166565 w 4610101"/>
              <a:gd name="connsiteY38294" fmla="*/ 410841 h 6557032"/>
              <a:gd name="connsiteX38295" fmla="*/ 2173854 w 4610101"/>
              <a:gd name="connsiteY38295" fmla="*/ 416308 h 6557032"/>
              <a:gd name="connsiteX38296" fmla="*/ 2171577 w 4610101"/>
              <a:gd name="connsiteY38296" fmla="*/ 410158 h 6557032"/>
              <a:gd name="connsiteX38297" fmla="*/ 1887772 w 4610101"/>
              <a:gd name="connsiteY38297" fmla="*/ 409037 h 6557032"/>
              <a:gd name="connsiteX38298" fmla="*/ 1891417 w 4610101"/>
              <a:gd name="connsiteY38298" fmla="*/ 416325 h 6557032"/>
              <a:gd name="connsiteX38299" fmla="*/ 1887772 w 4610101"/>
              <a:gd name="connsiteY38299" fmla="*/ 409037 h 6557032"/>
              <a:gd name="connsiteX38300" fmla="*/ 2139233 w 4610101"/>
              <a:gd name="connsiteY38300" fmla="*/ 409019 h 6557032"/>
              <a:gd name="connsiteX38301" fmla="*/ 2141055 w 4610101"/>
              <a:gd name="connsiteY38301" fmla="*/ 418129 h 6557032"/>
              <a:gd name="connsiteX38302" fmla="*/ 2139233 w 4610101"/>
              <a:gd name="connsiteY38302" fmla="*/ 409019 h 6557032"/>
              <a:gd name="connsiteX38303" fmla="*/ 3050319 w 4610101"/>
              <a:gd name="connsiteY38303" fmla="*/ 407196 h 6557032"/>
              <a:gd name="connsiteX38304" fmla="*/ 3048497 w 4610101"/>
              <a:gd name="connsiteY38304" fmla="*/ 418129 h 6557032"/>
              <a:gd name="connsiteX38305" fmla="*/ 3050319 w 4610101"/>
              <a:gd name="connsiteY38305" fmla="*/ 407196 h 6557032"/>
              <a:gd name="connsiteX38306" fmla="*/ 2097323 w 4610101"/>
              <a:gd name="connsiteY38306" fmla="*/ 407196 h 6557032"/>
              <a:gd name="connsiteX38307" fmla="*/ 2099145 w 4610101"/>
              <a:gd name="connsiteY38307" fmla="*/ 418129 h 6557032"/>
              <a:gd name="connsiteX38308" fmla="*/ 2102790 w 4610101"/>
              <a:gd name="connsiteY38308" fmla="*/ 419952 h 6557032"/>
              <a:gd name="connsiteX38309" fmla="*/ 2104611 w 4610101"/>
              <a:gd name="connsiteY38309" fmla="*/ 412664 h 6557032"/>
              <a:gd name="connsiteX38310" fmla="*/ 2100967 w 4610101"/>
              <a:gd name="connsiteY38310" fmla="*/ 407196 h 6557032"/>
              <a:gd name="connsiteX38311" fmla="*/ 2097323 w 4610101"/>
              <a:gd name="connsiteY38311" fmla="*/ 407196 h 6557032"/>
              <a:gd name="connsiteX38312" fmla="*/ 2080923 w 4610101"/>
              <a:gd name="connsiteY38312" fmla="*/ 407196 h 6557032"/>
              <a:gd name="connsiteX38313" fmla="*/ 2081290 w 4610101"/>
              <a:gd name="connsiteY38313" fmla="*/ 407930 h 6557032"/>
              <a:gd name="connsiteX38314" fmla="*/ 2081033 w 4610101"/>
              <a:gd name="connsiteY38314" fmla="*/ 409128 h 6557032"/>
              <a:gd name="connsiteX38315" fmla="*/ 2080923 w 4610101"/>
              <a:gd name="connsiteY38315" fmla="*/ 409019 h 6557032"/>
              <a:gd name="connsiteX38316" fmla="*/ 2079101 w 4610101"/>
              <a:gd name="connsiteY38316" fmla="*/ 410841 h 6557032"/>
              <a:gd name="connsiteX38317" fmla="*/ 2080923 w 4610101"/>
              <a:gd name="connsiteY38317" fmla="*/ 407196 h 6557032"/>
              <a:gd name="connsiteX38318" fmla="*/ 3349156 w 4610101"/>
              <a:gd name="connsiteY38318" fmla="*/ 405375 h 6557032"/>
              <a:gd name="connsiteX38319" fmla="*/ 3350978 w 4610101"/>
              <a:gd name="connsiteY38319" fmla="*/ 414485 h 6557032"/>
              <a:gd name="connsiteX38320" fmla="*/ 3349156 w 4610101"/>
              <a:gd name="connsiteY38320" fmla="*/ 405375 h 6557032"/>
              <a:gd name="connsiteX38321" fmla="*/ 2592954 w 4610101"/>
              <a:gd name="connsiteY38321" fmla="*/ 405375 h 6557032"/>
              <a:gd name="connsiteX38322" fmla="*/ 2589310 w 4610101"/>
              <a:gd name="connsiteY38322" fmla="*/ 410841 h 6557032"/>
              <a:gd name="connsiteX38323" fmla="*/ 2589310 w 4610101"/>
              <a:gd name="connsiteY38323" fmla="*/ 421775 h 6557032"/>
              <a:gd name="connsiteX38324" fmla="*/ 2585665 w 4610101"/>
              <a:gd name="connsiteY38324" fmla="*/ 418129 h 6557032"/>
              <a:gd name="connsiteX38325" fmla="*/ 2585665 w 4610101"/>
              <a:gd name="connsiteY38325" fmla="*/ 429063 h 6557032"/>
              <a:gd name="connsiteX38326" fmla="*/ 2594776 w 4610101"/>
              <a:gd name="connsiteY38326" fmla="*/ 419952 h 6557032"/>
              <a:gd name="connsiteX38327" fmla="*/ 2592954 w 4610101"/>
              <a:gd name="connsiteY38327" fmla="*/ 405375 h 6557032"/>
              <a:gd name="connsiteX38328" fmla="*/ 2582021 w 4610101"/>
              <a:gd name="connsiteY38328" fmla="*/ 403552 h 6557032"/>
              <a:gd name="connsiteX38329" fmla="*/ 2583843 w 4610101"/>
              <a:gd name="connsiteY38329" fmla="*/ 412664 h 6557032"/>
              <a:gd name="connsiteX38330" fmla="*/ 2585665 w 4610101"/>
              <a:gd name="connsiteY38330" fmla="*/ 403552 h 6557032"/>
              <a:gd name="connsiteX38331" fmla="*/ 2582021 w 4610101"/>
              <a:gd name="connsiteY38331" fmla="*/ 403552 h 6557032"/>
              <a:gd name="connsiteX38332" fmla="*/ 2104611 w 4610101"/>
              <a:gd name="connsiteY38332" fmla="*/ 403552 h 6557032"/>
              <a:gd name="connsiteX38333" fmla="*/ 2108256 w 4610101"/>
              <a:gd name="connsiteY38333" fmla="*/ 418129 h 6557032"/>
              <a:gd name="connsiteX38334" fmla="*/ 2111900 w 4610101"/>
              <a:gd name="connsiteY38334" fmla="*/ 407196 h 6557032"/>
              <a:gd name="connsiteX38335" fmla="*/ 2104611 w 4610101"/>
              <a:gd name="connsiteY38335" fmla="*/ 403552 h 6557032"/>
              <a:gd name="connsiteX38336" fmla="*/ 3035742 w 4610101"/>
              <a:gd name="connsiteY38336" fmla="*/ 401731 h 6557032"/>
              <a:gd name="connsiteX38337" fmla="*/ 3032098 w 4610101"/>
              <a:gd name="connsiteY38337" fmla="*/ 409019 h 6557032"/>
              <a:gd name="connsiteX38338" fmla="*/ 3035742 w 4610101"/>
              <a:gd name="connsiteY38338" fmla="*/ 401731 h 6557032"/>
              <a:gd name="connsiteX38339" fmla="*/ 2232163 w 4610101"/>
              <a:gd name="connsiteY38339" fmla="*/ 401731 h 6557032"/>
              <a:gd name="connsiteX38340" fmla="*/ 2232163 w 4610101"/>
              <a:gd name="connsiteY38340" fmla="*/ 409019 h 6557032"/>
              <a:gd name="connsiteX38341" fmla="*/ 2230341 w 4610101"/>
              <a:gd name="connsiteY38341" fmla="*/ 405375 h 6557032"/>
              <a:gd name="connsiteX38342" fmla="*/ 2224875 w 4610101"/>
              <a:gd name="connsiteY38342" fmla="*/ 409019 h 6557032"/>
              <a:gd name="connsiteX38343" fmla="*/ 2208475 w 4610101"/>
              <a:gd name="connsiteY38343" fmla="*/ 410841 h 6557032"/>
              <a:gd name="connsiteX38344" fmla="*/ 2226697 w 4610101"/>
              <a:gd name="connsiteY38344" fmla="*/ 418129 h 6557032"/>
              <a:gd name="connsiteX38345" fmla="*/ 2228519 w 4610101"/>
              <a:gd name="connsiteY38345" fmla="*/ 409019 h 6557032"/>
              <a:gd name="connsiteX38346" fmla="*/ 2233986 w 4610101"/>
              <a:gd name="connsiteY38346" fmla="*/ 412664 h 6557032"/>
              <a:gd name="connsiteX38347" fmla="*/ 2232163 w 4610101"/>
              <a:gd name="connsiteY38347" fmla="*/ 401731 h 6557032"/>
              <a:gd name="connsiteX38348" fmla="*/ 3290391 w 4610101"/>
              <a:gd name="connsiteY38348" fmla="*/ 401275 h 6557032"/>
              <a:gd name="connsiteX38349" fmla="*/ 3290847 w 4610101"/>
              <a:gd name="connsiteY38349" fmla="*/ 409019 h 6557032"/>
              <a:gd name="connsiteX38350" fmla="*/ 3298135 w 4610101"/>
              <a:gd name="connsiteY38350" fmla="*/ 401731 h 6557032"/>
              <a:gd name="connsiteX38351" fmla="*/ 3290391 w 4610101"/>
              <a:gd name="connsiteY38351" fmla="*/ 401275 h 6557032"/>
              <a:gd name="connsiteX38352" fmla="*/ 2561977 w 4610101"/>
              <a:gd name="connsiteY38352" fmla="*/ 399908 h 6557032"/>
              <a:gd name="connsiteX38353" fmla="*/ 2554688 w 4610101"/>
              <a:gd name="connsiteY38353" fmla="*/ 416308 h 6557032"/>
              <a:gd name="connsiteX38354" fmla="*/ 2560155 w 4610101"/>
              <a:gd name="connsiteY38354" fmla="*/ 410841 h 6557032"/>
              <a:gd name="connsiteX38355" fmla="*/ 2563799 w 4610101"/>
              <a:gd name="connsiteY38355" fmla="*/ 416308 h 6557032"/>
              <a:gd name="connsiteX38356" fmla="*/ 2567443 w 4610101"/>
              <a:gd name="connsiteY38356" fmla="*/ 410841 h 6557032"/>
              <a:gd name="connsiteX38357" fmla="*/ 2561977 w 4610101"/>
              <a:gd name="connsiteY38357" fmla="*/ 399908 h 6557032"/>
              <a:gd name="connsiteX38358" fmla="*/ 2128644 w 4610101"/>
              <a:gd name="connsiteY38358" fmla="*/ 398241 h 6557032"/>
              <a:gd name="connsiteX38359" fmla="*/ 2128374 w 4610101"/>
              <a:gd name="connsiteY38359" fmla="*/ 405272 h 6557032"/>
              <a:gd name="connsiteX38360" fmla="*/ 2128300 w 4610101"/>
              <a:gd name="connsiteY38360" fmla="*/ 405375 h 6557032"/>
              <a:gd name="connsiteX38361" fmla="*/ 2128528 w 4610101"/>
              <a:gd name="connsiteY38361" fmla="*/ 398541 h 6557032"/>
              <a:gd name="connsiteX38362" fmla="*/ 3279913 w 4610101"/>
              <a:gd name="connsiteY38362" fmla="*/ 398085 h 6557032"/>
              <a:gd name="connsiteX38363" fmla="*/ 3280856 w 4610101"/>
              <a:gd name="connsiteY38363" fmla="*/ 398400 h 6557032"/>
              <a:gd name="connsiteX38364" fmla="*/ 3281736 w 4610101"/>
              <a:gd name="connsiteY38364" fmla="*/ 399908 h 6557032"/>
              <a:gd name="connsiteX38365" fmla="*/ 3279913 w 4610101"/>
              <a:gd name="connsiteY38365" fmla="*/ 398085 h 6557032"/>
              <a:gd name="connsiteX38366" fmla="*/ 1968512 w 4610101"/>
              <a:gd name="connsiteY38366" fmla="*/ 397522 h 6557032"/>
              <a:gd name="connsiteX38367" fmla="*/ 1970909 w 4610101"/>
              <a:gd name="connsiteY38367" fmla="*/ 402869 h 6557032"/>
              <a:gd name="connsiteX38368" fmla="*/ 1969770 w 4610101"/>
              <a:gd name="connsiteY38368" fmla="*/ 410841 h 6557032"/>
              <a:gd name="connsiteX38369" fmla="*/ 1968631 w 4610101"/>
              <a:gd name="connsiteY38369" fmla="*/ 402869 h 6557032"/>
              <a:gd name="connsiteX38370" fmla="*/ 1967128 w 4610101"/>
              <a:gd name="connsiteY38370" fmla="*/ 398906 h 6557032"/>
              <a:gd name="connsiteX38371" fmla="*/ 3563945 w 4610101"/>
              <a:gd name="connsiteY38371" fmla="*/ 397175 h 6557032"/>
              <a:gd name="connsiteX38372" fmla="*/ 3564173 w 4610101"/>
              <a:gd name="connsiteY38372" fmla="*/ 401731 h 6557032"/>
              <a:gd name="connsiteX38373" fmla="*/ 3567817 w 4610101"/>
              <a:gd name="connsiteY38373" fmla="*/ 398085 h 6557032"/>
              <a:gd name="connsiteX38374" fmla="*/ 3563945 w 4610101"/>
              <a:gd name="connsiteY38374" fmla="*/ 397175 h 6557032"/>
              <a:gd name="connsiteX38375" fmla="*/ 1904171 w 4610101"/>
              <a:gd name="connsiteY38375" fmla="*/ 396281 h 6557032"/>
              <a:gd name="connsiteX38376" fmla="*/ 1905993 w 4610101"/>
              <a:gd name="connsiteY38376" fmla="*/ 398103 h 6557032"/>
              <a:gd name="connsiteX38377" fmla="*/ 1907816 w 4610101"/>
              <a:gd name="connsiteY38377" fmla="*/ 396281 h 6557032"/>
              <a:gd name="connsiteX38378" fmla="*/ 1918750 w 4610101"/>
              <a:gd name="connsiteY38378" fmla="*/ 410859 h 6557032"/>
              <a:gd name="connsiteX38379" fmla="*/ 1946081 w 4610101"/>
              <a:gd name="connsiteY38379" fmla="*/ 398103 h 6557032"/>
              <a:gd name="connsiteX38380" fmla="*/ 1949726 w 4610101"/>
              <a:gd name="connsiteY38380" fmla="*/ 401748 h 6557032"/>
              <a:gd name="connsiteX38381" fmla="*/ 1940615 w 4610101"/>
              <a:gd name="connsiteY38381" fmla="*/ 416325 h 6557032"/>
              <a:gd name="connsiteX38382" fmla="*/ 1935148 w 4610101"/>
              <a:gd name="connsiteY38382" fmla="*/ 410859 h 6557032"/>
              <a:gd name="connsiteX38383" fmla="*/ 1915104 w 4610101"/>
              <a:gd name="connsiteY38383" fmla="*/ 440013 h 6557032"/>
              <a:gd name="connsiteX38384" fmla="*/ 1935148 w 4610101"/>
              <a:gd name="connsiteY38384" fmla="*/ 432725 h 6557032"/>
              <a:gd name="connsiteX38385" fmla="*/ 1924215 w 4610101"/>
              <a:gd name="connsiteY38385" fmla="*/ 445480 h 6557032"/>
              <a:gd name="connsiteX38386" fmla="*/ 1918750 w 4610101"/>
              <a:gd name="connsiteY38386" fmla="*/ 441836 h 6557032"/>
              <a:gd name="connsiteX38387" fmla="*/ 1926037 w 4610101"/>
              <a:gd name="connsiteY38387" fmla="*/ 465524 h 6557032"/>
              <a:gd name="connsiteX38388" fmla="*/ 1913282 w 4610101"/>
              <a:gd name="connsiteY38388" fmla="*/ 445480 h 6557032"/>
              <a:gd name="connsiteX38389" fmla="*/ 1909639 w 4610101"/>
              <a:gd name="connsiteY38389" fmla="*/ 452769 h 6557032"/>
              <a:gd name="connsiteX38390" fmla="*/ 1904171 w 4610101"/>
              <a:gd name="connsiteY38390" fmla="*/ 449124 h 6557032"/>
              <a:gd name="connsiteX38391" fmla="*/ 1902349 w 4610101"/>
              <a:gd name="connsiteY38391" fmla="*/ 463702 h 6557032"/>
              <a:gd name="connsiteX38392" fmla="*/ 1882306 w 4610101"/>
              <a:gd name="connsiteY38392" fmla="*/ 438191 h 6557032"/>
              <a:gd name="connsiteX38393" fmla="*/ 1885950 w 4610101"/>
              <a:gd name="connsiteY38393" fmla="*/ 432725 h 6557032"/>
              <a:gd name="connsiteX38394" fmla="*/ 1911460 w 4610101"/>
              <a:gd name="connsiteY38394" fmla="*/ 443658 h 6557032"/>
              <a:gd name="connsiteX38395" fmla="*/ 1911460 w 4610101"/>
              <a:gd name="connsiteY38395" fmla="*/ 436369 h 6557032"/>
              <a:gd name="connsiteX38396" fmla="*/ 1905993 w 4610101"/>
              <a:gd name="connsiteY38396" fmla="*/ 440013 h 6557032"/>
              <a:gd name="connsiteX38397" fmla="*/ 1904171 w 4610101"/>
              <a:gd name="connsiteY38397" fmla="*/ 434547 h 6557032"/>
              <a:gd name="connsiteX38398" fmla="*/ 1909639 w 4610101"/>
              <a:gd name="connsiteY38398" fmla="*/ 434547 h 6557032"/>
              <a:gd name="connsiteX38399" fmla="*/ 1913282 w 4610101"/>
              <a:gd name="connsiteY38399" fmla="*/ 416325 h 6557032"/>
              <a:gd name="connsiteX38400" fmla="*/ 1909639 w 4610101"/>
              <a:gd name="connsiteY38400" fmla="*/ 418147 h 6557032"/>
              <a:gd name="connsiteX38401" fmla="*/ 1904171 w 4610101"/>
              <a:gd name="connsiteY38401" fmla="*/ 398103 h 6557032"/>
              <a:gd name="connsiteX38402" fmla="*/ 1902349 w 4610101"/>
              <a:gd name="connsiteY38402" fmla="*/ 403570 h 6557032"/>
              <a:gd name="connsiteX38403" fmla="*/ 1904171 w 4610101"/>
              <a:gd name="connsiteY38403" fmla="*/ 396281 h 6557032"/>
              <a:gd name="connsiteX38404" fmla="*/ 1967948 w 4610101"/>
              <a:gd name="connsiteY38404" fmla="*/ 396264 h 6557032"/>
              <a:gd name="connsiteX38405" fmla="*/ 1968859 w 4610101"/>
              <a:gd name="connsiteY38405" fmla="*/ 397175 h 6557032"/>
              <a:gd name="connsiteX38406" fmla="*/ 1968512 w 4610101"/>
              <a:gd name="connsiteY38406" fmla="*/ 397522 h 6557032"/>
              <a:gd name="connsiteX38407" fmla="*/ 1966126 w 4610101"/>
              <a:gd name="connsiteY38407" fmla="*/ 396264 h 6557032"/>
              <a:gd name="connsiteX38408" fmla="*/ 1967128 w 4610101"/>
              <a:gd name="connsiteY38408" fmla="*/ 398906 h 6557032"/>
              <a:gd name="connsiteX38409" fmla="*/ 1966126 w 4610101"/>
              <a:gd name="connsiteY38409" fmla="*/ 399908 h 6557032"/>
              <a:gd name="connsiteX38410" fmla="*/ 1965397 w 4610101"/>
              <a:gd name="connsiteY38410" fmla="*/ 396992 h 6557032"/>
              <a:gd name="connsiteX38411" fmla="*/ 3305424 w 4610101"/>
              <a:gd name="connsiteY38411" fmla="*/ 394441 h 6557032"/>
              <a:gd name="connsiteX38412" fmla="*/ 3306010 w 4610101"/>
              <a:gd name="connsiteY38412" fmla="*/ 394637 h 6557032"/>
              <a:gd name="connsiteX38413" fmla="*/ 3302918 w 4610101"/>
              <a:gd name="connsiteY38413" fmla="*/ 395125 h 6557032"/>
              <a:gd name="connsiteX38414" fmla="*/ 3301679 w 4610101"/>
              <a:gd name="connsiteY38414" fmla="*/ 394839 h 6557032"/>
              <a:gd name="connsiteX38415" fmla="*/ 3299957 w 4610101"/>
              <a:gd name="connsiteY38415" fmla="*/ 394441 h 6557032"/>
              <a:gd name="connsiteX38416" fmla="*/ 3301679 w 4610101"/>
              <a:gd name="connsiteY38416" fmla="*/ 394839 h 6557032"/>
              <a:gd name="connsiteX38417" fmla="*/ 3299828 w 4610101"/>
              <a:gd name="connsiteY38417" fmla="*/ 395035 h 6557032"/>
              <a:gd name="connsiteX38418" fmla="*/ 2572910 w 4610101"/>
              <a:gd name="connsiteY38418" fmla="*/ 394441 h 6557032"/>
              <a:gd name="connsiteX38419" fmla="*/ 2565621 w 4610101"/>
              <a:gd name="connsiteY38419" fmla="*/ 398085 h 6557032"/>
              <a:gd name="connsiteX38420" fmla="*/ 2574732 w 4610101"/>
              <a:gd name="connsiteY38420" fmla="*/ 405375 h 6557032"/>
              <a:gd name="connsiteX38421" fmla="*/ 2576554 w 4610101"/>
              <a:gd name="connsiteY38421" fmla="*/ 399908 h 6557032"/>
              <a:gd name="connsiteX38422" fmla="*/ 2571088 w 4610101"/>
              <a:gd name="connsiteY38422" fmla="*/ 401731 h 6557032"/>
              <a:gd name="connsiteX38423" fmla="*/ 2572910 w 4610101"/>
              <a:gd name="connsiteY38423" fmla="*/ 394441 h 6557032"/>
              <a:gd name="connsiteX38424" fmla="*/ 2541933 w 4610101"/>
              <a:gd name="connsiteY38424" fmla="*/ 394441 h 6557032"/>
              <a:gd name="connsiteX38425" fmla="*/ 2523711 w 4610101"/>
              <a:gd name="connsiteY38425" fmla="*/ 405375 h 6557032"/>
              <a:gd name="connsiteX38426" fmla="*/ 2541933 w 4610101"/>
              <a:gd name="connsiteY38426" fmla="*/ 409019 h 6557032"/>
              <a:gd name="connsiteX38427" fmla="*/ 2541933 w 4610101"/>
              <a:gd name="connsiteY38427" fmla="*/ 394441 h 6557032"/>
              <a:gd name="connsiteX38428" fmla="*/ 3520941 w 4610101"/>
              <a:gd name="connsiteY38428" fmla="*/ 394262 h 6557032"/>
              <a:gd name="connsiteX38429" fmla="*/ 3520440 w 4610101"/>
              <a:gd name="connsiteY38429" fmla="*/ 396264 h 6557032"/>
              <a:gd name="connsiteX38430" fmla="*/ 3520340 w 4610101"/>
              <a:gd name="connsiteY38430" fmla="*/ 395005 h 6557032"/>
              <a:gd name="connsiteX38431" fmla="*/ 3520440 w 4610101"/>
              <a:gd name="connsiteY38431" fmla="*/ 394441 h 6557032"/>
              <a:gd name="connsiteX38432" fmla="*/ 3338223 w 4610101"/>
              <a:gd name="connsiteY38432" fmla="*/ 392620 h 6557032"/>
              <a:gd name="connsiteX38433" fmla="*/ 3325468 w 4610101"/>
              <a:gd name="connsiteY38433" fmla="*/ 407196 h 6557032"/>
              <a:gd name="connsiteX38434" fmla="*/ 3341867 w 4610101"/>
              <a:gd name="connsiteY38434" fmla="*/ 414485 h 6557032"/>
              <a:gd name="connsiteX38435" fmla="*/ 3338223 w 4610101"/>
              <a:gd name="connsiteY38435" fmla="*/ 392620 h 6557032"/>
              <a:gd name="connsiteX38436" fmla="*/ 3203382 w 4610101"/>
              <a:gd name="connsiteY38436" fmla="*/ 392620 h 6557032"/>
              <a:gd name="connsiteX38437" fmla="*/ 3201560 w 4610101"/>
              <a:gd name="connsiteY38437" fmla="*/ 399908 h 6557032"/>
              <a:gd name="connsiteX38438" fmla="*/ 3203382 w 4610101"/>
              <a:gd name="connsiteY38438" fmla="*/ 392620 h 6557032"/>
              <a:gd name="connsiteX38439" fmla="*/ 2348782 w 4610101"/>
              <a:gd name="connsiteY38439" fmla="*/ 392620 h 6557032"/>
              <a:gd name="connsiteX38440" fmla="*/ 2343316 w 4610101"/>
              <a:gd name="connsiteY38440" fmla="*/ 403552 h 6557032"/>
              <a:gd name="connsiteX38441" fmla="*/ 2350605 w 4610101"/>
              <a:gd name="connsiteY38441" fmla="*/ 403552 h 6557032"/>
              <a:gd name="connsiteX38442" fmla="*/ 2348782 w 4610101"/>
              <a:gd name="connsiteY38442" fmla="*/ 392620 h 6557032"/>
              <a:gd name="connsiteX38443" fmla="*/ 1964305 w 4610101"/>
              <a:gd name="connsiteY38443" fmla="*/ 392620 h 6557032"/>
              <a:gd name="connsiteX38444" fmla="*/ 1965397 w 4610101"/>
              <a:gd name="connsiteY38444" fmla="*/ 396992 h 6557032"/>
              <a:gd name="connsiteX38445" fmla="*/ 1960659 w 4610101"/>
              <a:gd name="connsiteY38445" fmla="*/ 401731 h 6557032"/>
              <a:gd name="connsiteX38446" fmla="*/ 1960659 w 4610101"/>
              <a:gd name="connsiteY38446" fmla="*/ 396264 h 6557032"/>
              <a:gd name="connsiteX38447" fmla="*/ 1962482 w 4610101"/>
              <a:gd name="connsiteY38447" fmla="*/ 394441 h 6557032"/>
              <a:gd name="connsiteX38448" fmla="*/ 1964305 w 4610101"/>
              <a:gd name="connsiteY38448" fmla="*/ 392620 h 6557032"/>
              <a:gd name="connsiteX38449" fmla="*/ 2361994 w 4610101"/>
              <a:gd name="connsiteY38449" fmla="*/ 392392 h 6557032"/>
              <a:gd name="connsiteX38450" fmla="*/ 2356071 w 4610101"/>
              <a:gd name="connsiteY38450" fmla="*/ 392620 h 6557032"/>
              <a:gd name="connsiteX38451" fmla="*/ 2354249 w 4610101"/>
              <a:gd name="connsiteY38451" fmla="*/ 399908 h 6557032"/>
              <a:gd name="connsiteX38452" fmla="*/ 2365182 w 4610101"/>
              <a:gd name="connsiteY38452" fmla="*/ 396264 h 6557032"/>
              <a:gd name="connsiteX38453" fmla="*/ 2361994 w 4610101"/>
              <a:gd name="connsiteY38453" fmla="*/ 392392 h 6557032"/>
              <a:gd name="connsiteX38454" fmla="*/ 3522263 w 4610101"/>
              <a:gd name="connsiteY38454" fmla="*/ 388976 h 6557032"/>
              <a:gd name="connsiteX38455" fmla="*/ 3519985 w 4610101"/>
              <a:gd name="connsiteY38455" fmla="*/ 390569 h 6557032"/>
              <a:gd name="connsiteX38456" fmla="*/ 3520340 w 4610101"/>
              <a:gd name="connsiteY38456" fmla="*/ 395005 h 6557032"/>
              <a:gd name="connsiteX38457" fmla="*/ 3519302 w 4610101"/>
              <a:gd name="connsiteY38457" fmla="*/ 400819 h 6557032"/>
              <a:gd name="connsiteX38458" fmla="*/ 3522263 w 4610101"/>
              <a:gd name="connsiteY38458" fmla="*/ 407196 h 6557032"/>
              <a:gd name="connsiteX38459" fmla="*/ 3531374 w 4610101"/>
              <a:gd name="connsiteY38459" fmla="*/ 414485 h 6557032"/>
              <a:gd name="connsiteX38460" fmla="*/ 3524085 w 4610101"/>
              <a:gd name="connsiteY38460" fmla="*/ 410841 h 6557032"/>
              <a:gd name="connsiteX38461" fmla="*/ 3531374 w 4610101"/>
              <a:gd name="connsiteY38461" fmla="*/ 423596 h 6557032"/>
              <a:gd name="connsiteX38462" fmla="*/ 3547773 w 4610101"/>
              <a:gd name="connsiteY38462" fmla="*/ 421775 h 6557032"/>
              <a:gd name="connsiteX38463" fmla="*/ 3564173 w 4610101"/>
              <a:gd name="connsiteY38463" fmla="*/ 414485 h 6557032"/>
              <a:gd name="connsiteX38464" fmla="*/ 3536840 w 4610101"/>
              <a:gd name="connsiteY38464" fmla="*/ 407196 h 6557032"/>
              <a:gd name="connsiteX38465" fmla="*/ 3536840 w 4610101"/>
              <a:gd name="connsiteY38465" fmla="*/ 390797 h 6557032"/>
              <a:gd name="connsiteX38466" fmla="*/ 3529324 w 4610101"/>
              <a:gd name="connsiteY38466" fmla="*/ 391253 h 6557032"/>
              <a:gd name="connsiteX38467" fmla="*/ 3520941 w 4610101"/>
              <a:gd name="connsiteY38467" fmla="*/ 394262 h 6557032"/>
              <a:gd name="connsiteX38468" fmla="*/ 2556226 w 4610101"/>
              <a:gd name="connsiteY38468" fmla="*/ 387922 h 6557032"/>
              <a:gd name="connsiteX38469" fmla="*/ 2551044 w 4610101"/>
              <a:gd name="connsiteY38469" fmla="*/ 390797 h 6557032"/>
              <a:gd name="connsiteX38470" fmla="*/ 2554688 w 4610101"/>
              <a:gd name="connsiteY38470" fmla="*/ 403552 h 6557032"/>
              <a:gd name="connsiteX38471" fmla="*/ 2556226 w 4610101"/>
              <a:gd name="connsiteY38471" fmla="*/ 387922 h 6557032"/>
              <a:gd name="connsiteX38472" fmla="*/ 3196093 w 4610101"/>
              <a:gd name="connsiteY38472" fmla="*/ 387152 h 6557032"/>
              <a:gd name="connsiteX38473" fmla="*/ 3192449 w 4610101"/>
              <a:gd name="connsiteY38473" fmla="*/ 394441 h 6557032"/>
              <a:gd name="connsiteX38474" fmla="*/ 3196093 w 4610101"/>
              <a:gd name="connsiteY38474" fmla="*/ 387152 h 6557032"/>
              <a:gd name="connsiteX38475" fmla="*/ 3013876 w 4610101"/>
              <a:gd name="connsiteY38475" fmla="*/ 387152 h 6557032"/>
              <a:gd name="connsiteX38476" fmla="*/ 3028453 w 4610101"/>
              <a:gd name="connsiteY38476" fmla="*/ 401731 h 6557032"/>
              <a:gd name="connsiteX38477" fmla="*/ 3032098 w 4610101"/>
              <a:gd name="connsiteY38477" fmla="*/ 396264 h 6557032"/>
              <a:gd name="connsiteX38478" fmla="*/ 3028453 w 4610101"/>
              <a:gd name="connsiteY38478" fmla="*/ 387152 h 6557032"/>
              <a:gd name="connsiteX38479" fmla="*/ 3013876 w 4610101"/>
              <a:gd name="connsiteY38479" fmla="*/ 387152 h 6557032"/>
              <a:gd name="connsiteX38480" fmla="*/ 2627575 w 4610101"/>
              <a:gd name="connsiteY38480" fmla="*/ 387152 h 6557032"/>
              <a:gd name="connsiteX38481" fmla="*/ 2618464 w 4610101"/>
              <a:gd name="connsiteY38481" fmla="*/ 390797 h 6557032"/>
              <a:gd name="connsiteX38482" fmla="*/ 2620287 w 4610101"/>
              <a:gd name="connsiteY38482" fmla="*/ 399908 h 6557032"/>
              <a:gd name="connsiteX38483" fmla="*/ 2627575 w 4610101"/>
              <a:gd name="connsiteY38483" fmla="*/ 396264 h 6557032"/>
              <a:gd name="connsiteX38484" fmla="*/ 2627575 w 4610101"/>
              <a:gd name="connsiteY38484" fmla="*/ 387152 h 6557032"/>
              <a:gd name="connsiteX38485" fmla="*/ 2481801 w 4610101"/>
              <a:gd name="connsiteY38485" fmla="*/ 387152 h 6557032"/>
              <a:gd name="connsiteX38486" fmla="*/ 2474513 w 4610101"/>
              <a:gd name="connsiteY38486" fmla="*/ 398085 h 6557032"/>
              <a:gd name="connsiteX38487" fmla="*/ 2485446 w 4610101"/>
              <a:gd name="connsiteY38487" fmla="*/ 392620 h 6557032"/>
              <a:gd name="connsiteX38488" fmla="*/ 2481801 w 4610101"/>
              <a:gd name="connsiteY38488" fmla="*/ 387152 h 6557032"/>
              <a:gd name="connsiteX38489" fmla="*/ 2454469 w 4610101"/>
              <a:gd name="connsiteY38489" fmla="*/ 387152 h 6557032"/>
              <a:gd name="connsiteX38490" fmla="*/ 2447180 w 4610101"/>
              <a:gd name="connsiteY38490" fmla="*/ 388976 h 6557032"/>
              <a:gd name="connsiteX38491" fmla="*/ 2452647 w 4610101"/>
              <a:gd name="connsiteY38491" fmla="*/ 394441 h 6557032"/>
              <a:gd name="connsiteX38492" fmla="*/ 2456291 w 4610101"/>
              <a:gd name="connsiteY38492" fmla="*/ 399908 h 6557032"/>
              <a:gd name="connsiteX38493" fmla="*/ 2454469 w 4610101"/>
              <a:gd name="connsiteY38493" fmla="*/ 387152 h 6557032"/>
              <a:gd name="connsiteX38494" fmla="*/ 2536467 w 4610101"/>
              <a:gd name="connsiteY38494" fmla="*/ 384875 h 6557032"/>
              <a:gd name="connsiteX38495" fmla="*/ 2531000 w 4610101"/>
              <a:gd name="connsiteY38495" fmla="*/ 392620 h 6557032"/>
              <a:gd name="connsiteX38496" fmla="*/ 2541933 w 4610101"/>
              <a:gd name="connsiteY38496" fmla="*/ 390797 h 6557032"/>
              <a:gd name="connsiteX38497" fmla="*/ 2536467 w 4610101"/>
              <a:gd name="connsiteY38497" fmla="*/ 384875 h 6557032"/>
              <a:gd name="connsiteX38498" fmla="*/ 3317496 w 4610101"/>
              <a:gd name="connsiteY38498" fmla="*/ 384192 h 6557032"/>
              <a:gd name="connsiteX38499" fmla="*/ 3310890 w 4610101"/>
              <a:gd name="connsiteY38499" fmla="*/ 388976 h 6557032"/>
              <a:gd name="connsiteX38500" fmla="*/ 3320001 w 4610101"/>
              <a:gd name="connsiteY38500" fmla="*/ 401731 h 6557032"/>
              <a:gd name="connsiteX38501" fmla="*/ 3329112 w 4610101"/>
              <a:gd name="connsiteY38501" fmla="*/ 385331 h 6557032"/>
              <a:gd name="connsiteX38502" fmla="*/ 3325468 w 4610101"/>
              <a:gd name="connsiteY38502" fmla="*/ 388976 h 6557032"/>
              <a:gd name="connsiteX38503" fmla="*/ 3317496 w 4610101"/>
              <a:gd name="connsiteY38503" fmla="*/ 384192 h 6557032"/>
              <a:gd name="connsiteX38504" fmla="*/ 3050319 w 4610101"/>
              <a:gd name="connsiteY38504" fmla="*/ 383509 h 6557032"/>
              <a:gd name="connsiteX38505" fmla="*/ 3050092 w 4610101"/>
              <a:gd name="connsiteY38505" fmla="*/ 389203 h 6557032"/>
              <a:gd name="connsiteX38506" fmla="*/ 3051453 w 4610101"/>
              <a:gd name="connsiteY38506" fmla="*/ 391684 h 6557032"/>
              <a:gd name="connsiteX38507" fmla="*/ 3050319 w 4610101"/>
              <a:gd name="connsiteY38507" fmla="*/ 390797 h 6557032"/>
              <a:gd name="connsiteX38508" fmla="*/ 3053964 w 4610101"/>
              <a:gd name="connsiteY38508" fmla="*/ 396264 h 6557032"/>
              <a:gd name="connsiteX38509" fmla="*/ 3051453 w 4610101"/>
              <a:gd name="connsiteY38509" fmla="*/ 391684 h 6557032"/>
              <a:gd name="connsiteX38510" fmla="*/ 3055558 w 4610101"/>
              <a:gd name="connsiteY38510" fmla="*/ 394897 h 6557032"/>
              <a:gd name="connsiteX38511" fmla="*/ 3059430 w 4610101"/>
              <a:gd name="connsiteY38511" fmla="*/ 401731 h 6557032"/>
              <a:gd name="connsiteX38512" fmla="*/ 3050319 w 4610101"/>
              <a:gd name="connsiteY38512" fmla="*/ 383509 h 6557032"/>
              <a:gd name="connsiteX38513" fmla="*/ 3469419 w 4610101"/>
              <a:gd name="connsiteY38513" fmla="*/ 379865 h 6557032"/>
              <a:gd name="connsiteX38514" fmla="*/ 3478530 w 4610101"/>
              <a:gd name="connsiteY38514" fmla="*/ 388976 h 6557032"/>
              <a:gd name="connsiteX38515" fmla="*/ 3463953 w 4610101"/>
              <a:gd name="connsiteY38515" fmla="*/ 396264 h 6557032"/>
              <a:gd name="connsiteX38516" fmla="*/ 3456664 w 4610101"/>
              <a:gd name="connsiteY38516" fmla="*/ 390797 h 6557032"/>
              <a:gd name="connsiteX38517" fmla="*/ 3463953 w 4610101"/>
              <a:gd name="connsiteY38517" fmla="*/ 398085 h 6557032"/>
              <a:gd name="connsiteX38518" fmla="*/ 3463953 w 4610101"/>
              <a:gd name="connsiteY38518" fmla="*/ 396264 h 6557032"/>
              <a:gd name="connsiteX38519" fmla="*/ 3480353 w 4610101"/>
              <a:gd name="connsiteY38519" fmla="*/ 405375 h 6557032"/>
              <a:gd name="connsiteX38520" fmla="*/ 3483997 w 4610101"/>
              <a:gd name="connsiteY38520" fmla="*/ 409019 h 6557032"/>
              <a:gd name="connsiteX38521" fmla="*/ 3485819 w 4610101"/>
              <a:gd name="connsiteY38521" fmla="*/ 401731 h 6557032"/>
              <a:gd name="connsiteX38522" fmla="*/ 3493108 w 4610101"/>
              <a:gd name="connsiteY38522" fmla="*/ 407196 h 6557032"/>
              <a:gd name="connsiteX38523" fmla="*/ 3494930 w 4610101"/>
              <a:gd name="connsiteY38523" fmla="*/ 403552 h 6557032"/>
              <a:gd name="connsiteX38524" fmla="*/ 3507685 w 4610101"/>
              <a:gd name="connsiteY38524" fmla="*/ 410841 h 6557032"/>
              <a:gd name="connsiteX38525" fmla="*/ 3493108 w 4610101"/>
              <a:gd name="connsiteY38525" fmla="*/ 398085 h 6557032"/>
              <a:gd name="connsiteX38526" fmla="*/ 3491286 w 4610101"/>
              <a:gd name="connsiteY38526" fmla="*/ 403552 h 6557032"/>
              <a:gd name="connsiteX38527" fmla="*/ 3469419 w 4610101"/>
              <a:gd name="connsiteY38527" fmla="*/ 379865 h 6557032"/>
              <a:gd name="connsiteX38528" fmla="*/ 3358267 w 4610101"/>
              <a:gd name="connsiteY38528" fmla="*/ 379865 h 6557032"/>
              <a:gd name="connsiteX38529" fmla="*/ 3361911 w 4610101"/>
              <a:gd name="connsiteY38529" fmla="*/ 394441 h 6557032"/>
              <a:gd name="connsiteX38530" fmla="*/ 3358267 w 4610101"/>
              <a:gd name="connsiteY38530" fmla="*/ 379865 h 6557032"/>
              <a:gd name="connsiteX38531" fmla="*/ 3239826 w 4610101"/>
              <a:gd name="connsiteY38531" fmla="*/ 379865 h 6557032"/>
              <a:gd name="connsiteX38532" fmla="*/ 3247114 w 4610101"/>
              <a:gd name="connsiteY38532" fmla="*/ 387152 h 6557032"/>
              <a:gd name="connsiteX38533" fmla="*/ 3239826 w 4610101"/>
              <a:gd name="connsiteY38533" fmla="*/ 379865 h 6557032"/>
              <a:gd name="connsiteX38534" fmla="*/ 2438069 w 4610101"/>
              <a:gd name="connsiteY38534" fmla="*/ 379865 h 6557032"/>
              <a:gd name="connsiteX38535" fmla="*/ 2425314 w 4610101"/>
              <a:gd name="connsiteY38535" fmla="*/ 396264 h 6557032"/>
              <a:gd name="connsiteX38536" fmla="*/ 2430780 w 4610101"/>
              <a:gd name="connsiteY38536" fmla="*/ 390797 h 6557032"/>
              <a:gd name="connsiteX38537" fmla="*/ 2428958 w 4610101"/>
              <a:gd name="connsiteY38537" fmla="*/ 407196 h 6557032"/>
              <a:gd name="connsiteX38538" fmla="*/ 2449002 w 4610101"/>
              <a:gd name="connsiteY38538" fmla="*/ 403552 h 6557032"/>
              <a:gd name="connsiteX38539" fmla="*/ 2434425 w 4610101"/>
              <a:gd name="connsiteY38539" fmla="*/ 390797 h 6557032"/>
              <a:gd name="connsiteX38540" fmla="*/ 2438069 w 4610101"/>
              <a:gd name="connsiteY38540" fmla="*/ 379865 h 6557032"/>
              <a:gd name="connsiteX38541" fmla="*/ 2352427 w 4610101"/>
              <a:gd name="connsiteY38541" fmla="*/ 379865 h 6557032"/>
              <a:gd name="connsiteX38542" fmla="*/ 2354249 w 4610101"/>
              <a:gd name="connsiteY38542" fmla="*/ 388976 h 6557032"/>
              <a:gd name="connsiteX38543" fmla="*/ 2352427 w 4610101"/>
              <a:gd name="connsiteY38543" fmla="*/ 379865 h 6557032"/>
              <a:gd name="connsiteX38544" fmla="*/ 1009485 w 4610101"/>
              <a:gd name="connsiteY38544" fmla="*/ 379865 h 6557032"/>
              <a:gd name="connsiteX38545" fmla="*/ 1010851 w 4610101"/>
              <a:gd name="connsiteY38545" fmla="*/ 385103 h 6557032"/>
              <a:gd name="connsiteX38546" fmla="*/ 1010516 w 4610101"/>
              <a:gd name="connsiteY38546" fmla="*/ 386052 h 6557032"/>
              <a:gd name="connsiteX38547" fmla="*/ 3489463 w 4610101"/>
              <a:gd name="connsiteY38547" fmla="*/ 378041 h 6557032"/>
              <a:gd name="connsiteX38548" fmla="*/ 3491286 w 4610101"/>
              <a:gd name="connsiteY38548" fmla="*/ 381687 h 6557032"/>
              <a:gd name="connsiteX38549" fmla="*/ 3489463 w 4610101"/>
              <a:gd name="connsiteY38549" fmla="*/ 378041 h 6557032"/>
              <a:gd name="connsiteX38550" fmla="*/ 1940616 w 4610101"/>
              <a:gd name="connsiteY38550" fmla="*/ 378041 h 6557032"/>
              <a:gd name="connsiteX38551" fmla="*/ 1944260 w 4610101"/>
              <a:gd name="connsiteY38551" fmla="*/ 381687 h 6557032"/>
              <a:gd name="connsiteX38552" fmla="*/ 1942438 w 4610101"/>
              <a:gd name="connsiteY38552" fmla="*/ 383509 h 6557032"/>
              <a:gd name="connsiteX38553" fmla="*/ 1940616 w 4610101"/>
              <a:gd name="connsiteY38553" fmla="*/ 378041 h 6557032"/>
              <a:gd name="connsiteX38554" fmla="*/ 3518618 w 4610101"/>
              <a:gd name="connsiteY38554" fmla="*/ 376220 h 6557032"/>
              <a:gd name="connsiteX38555" fmla="*/ 3509507 w 4610101"/>
              <a:gd name="connsiteY38555" fmla="*/ 381687 h 6557032"/>
              <a:gd name="connsiteX38556" fmla="*/ 3524085 w 4610101"/>
              <a:gd name="connsiteY38556" fmla="*/ 385331 h 6557032"/>
              <a:gd name="connsiteX38557" fmla="*/ 3518618 w 4610101"/>
              <a:gd name="connsiteY38557" fmla="*/ 376220 h 6557032"/>
              <a:gd name="connsiteX38558" fmla="*/ 3449376 w 4610101"/>
              <a:gd name="connsiteY38558" fmla="*/ 376220 h 6557032"/>
              <a:gd name="connsiteX38559" fmla="*/ 3453020 w 4610101"/>
              <a:gd name="connsiteY38559" fmla="*/ 381687 h 6557032"/>
              <a:gd name="connsiteX38560" fmla="*/ 3463953 w 4610101"/>
              <a:gd name="connsiteY38560" fmla="*/ 376220 h 6557032"/>
              <a:gd name="connsiteX38561" fmla="*/ 3449376 w 4610101"/>
              <a:gd name="connsiteY38561" fmla="*/ 376220 h 6557032"/>
              <a:gd name="connsiteX38562" fmla="*/ 3212493 w 4610101"/>
              <a:gd name="connsiteY38562" fmla="*/ 376220 h 6557032"/>
              <a:gd name="connsiteX38563" fmla="*/ 3227071 w 4610101"/>
              <a:gd name="connsiteY38563" fmla="*/ 385331 h 6557032"/>
              <a:gd name="connsiteX38564" fmla="*/ 3219782 w 4610101"/>
              <a:gd name="connsiteY38564" fmla="*/ 376220 h 6557032"/>
              <a:gd name="connsiteX38565" fmla="*/ 3212493 w 4610101"/>
              <a:gd name="connsiteY38565" fmla="*/ 376220 h 6557032"/>
              <a:gd name="connsiteX38566" fmla="*/ 2583843 w 4610101"/>
              <a:gd name="connsiteY38566" fmla="*/ 376220 h 6557032"/>
              <a:gd name="connsiteX38567" fmla="*/ 2578377 w 4610101"/>
              <a:gd name="connsiteY38567" fmla="*/ 379865 h 6557032"/>
              <a:gd name="connsiteX38568" fmla="*/ 2583843 w 4610101"/>
              <a:gd name="connsiteY38568" fmla="*/ 381687 h 6557032"/>
              <a:gd name="connsiteX38569" fmla="*/ 2583843 w 4610101"/>
              <a:gd name="connsiteY38569" fmla="*/ 376220 h 6557032"/>
              <a:gd name="connsiteX38570" fmla="*/ 2337850 w 4610101"/>
              <a:gd name="connsiteY38570" fmla="*/ 376220 h 6557032"/>
              <a:gd name="connsiteX38571" fmla="*/ 2325094 w 4610101"/>
              <a:gd name="connsiteY38571" fmla="*/ 387152 h 6557032"/>
              <a:gd name="connsiteX38572" fmla="*/ 2337850 w 4610101"/>
              <a:gd name="connsiteY38572" fmla="*/ 376220 h 6557032"/>
              <a:gd name="connsiteX38573" fmla="*/ 2210297 w 4610101"/>
              <a:gd name="connsiteY38573" fmla="*/ 376220 h 6557032"/>
              <a:gd name="connsiteX38574" fmla="*/ 2195720 w 4610101"/>
              <a:gd name="connsiteY38574" fmla="*/ 399908 h 6557032"/>
              <a:gd name="connsiteX38575" fmla="*/ 2199364 w 4610101"/>
              <a:gd name="connsiteY38575" fmla="*/ 399908 h 6557032"/>
              <a:gd name="connsiteX38576" fmla="*/ 2197542 w 4610101"/>
              <a:gd name="connsiteY38576" fmla="*/ 410841 h 6557032"/>
              <a:gd name="connsiteX38577" fmla="*/ 2215764 w 4610101"/>
              <a:gd name="connsiteY38577" fmla="*/ 403552 h 6557032"/>
              <a:gd name="connsiteX38578" fmla="*/ 2212120 w 4610101"/>
              <a:gd name="connsiteY38578" fmla="*/ 388976 h 6557032"/>
              <a:gd name="connsiteX38579" fmla="*/ 2217586 w 4610101"/>
              <a:gd name="connsiteY38579" fmla="*/ 398085 h 6557032"/>
              <a:gd name="connsiteX38580" fmla="*/ 2221230 w 4610101"/>
              <a:gd name="connsiteY38580" fmla="*/ 399908 h 6557032"/>
              <a:gd name="connsiteX38581" fmla="*/ 2221230 w 4610101"/>
              <a:gd name="connsiteY38581" fmla="*/ 388976 h 6557032"/>
              <a:gd name="connsiteX38582" fmla="*/ 2230341 w 4610101"/>
              <a:gd name="connsiteY38582" fmla="*/ 390797 h 6557032"/>
              <a:gd name="connsiteX38583" fmla="*/ 2230341 w 4610101"/>
              <a:gd name="connsiteY38583" fmla="*/ 376220 h 6557032"/>
              <a:gd name="connsiteX38584" fmla="*/ 2210297 w 4610101"/>
              <a:gd name="connsiteY38584" fmla="*/ 376220 h 6557032"/>
              <a:gd name="connsiteX38585" fmla="*/ 3374666 w 4610101"/>
              <a:gd name="connsiteY38585" fmla="*/ 374397 h 6557032"/>
              <a:gd name="connsiteX38586" fmla="*/ 3371022 w 4610101"/>
              <a:gd name="connsiteY38586" fmla="*/ 381687 h 6557032"/>
              <a:gd name="connsiteX38587" fmla="*/ 3367378 w 4610101"/>
              <a:gd name="connsiteY38587" fmla="*/ 376220 h 6557032"/>
              <a:gd name="connsiteX38588" fmla="*/ 3363734 w 4610101"/>
              <a:gd name="connsiteY38588" fmla="*/ 376220 h 6557032"/>
              <a:gd name="connsiteX38589" fmla="*/ 3361911 w 4610101"/>
              <a:gd name="connsiteY38589" fmla="*/ 379865 h 6557032"/>
              <a:gd name="connsiteX38590" fmla="*/ 3371022 w 4610101"/>
              <a:gd name="connsiteY38590" fmla="*/ 387152 h 6557032"/>
              <a:gd name="connsiteX38591" fmla="*/ 3370567 w 4610101"/>
              <a:gd name="connsiteY38591" fmla="*/ 395808 h 6557032"/>
              <a:gd name="connsiteX38592" fmla="*/ 3367527 w 4610101"/>
              <a:gd name="connsiteY38592" fmla="*/ 401455 h 6557032"/>
              <a:gd name="connsiteX38593" fmla="*/ 3366996 w 4610101"/>
              <a:gd name="connsiteY38593" fmla="*/ 401136 h 6557032"/>
              <a:gd name="connsiteX38594" fmla="*/ 3365328 w 4610101"/>
              <a:gd name="connsiteY38594" fmla="*/ 398542 h 6557032"/>
              <a:gd name="connsiteX38595" fmla="*/ 3361911 w 4610101"/>
              <a:gd name="connsiteY38595" fmla="*/ 398085 h 6557032"/>
              <a:gd name="connsiteX38596" fmla="*/ 3366996 w 4610101"/>
              <a:gd name="connsiteY38596" fmla="*/ 401136 h 6557032"/>
              <a:gd name="connsiteX38597" fmla="*/ 3367378 w 4610101"/>
              <a:gd name="connsiteY38597" fmla="*/ 401731 h 6557032"/>
              <a:gd name="connsiteX38598" fmla="*/ 3367527 w 4610101"/>
              <a:gd name="connsiteY38598" fmla="*/ 401455 h 6557032"/>
              <a:gd name="connsiteX38599" fmla="*/ 3371022 w 4610101"/>
              <a:gd name="connsiteY38599" fmla="*/ 403552 h 6557032"/>
              <a:gd name="connsiteX38600" fmla="*/ 3361911 w 4610101"/>
              <a:gd name="connsiteY38600" fmla="*/ 407196 h 6557032"/>
              <a:gd name="connsiteX38601" fmla="*/ 3363734 w 4610101"/>
              <a:gd name="connsiteY38601" fmla="*/ 410841 h 6557032"/>
              <a:gd name="connsiteX38602" fmla="*/ 3374666 w 4610101"/>
              <a:gd name="connsiteY38602" fmla="*/ 374397 h 6557032"/>
              <a:gd name="connsiteX38603" fmla="*/ 3314535 w 4610101"/>
              <a:gd name="connsiteY38603" fmla="*/ 374397 h 6557032"/>
              <a:gd name="connsiteX38604" fmla="*/ 3314535 w 4610101"/>
              <a:gd name="connsiteY38604" fmla="*/ 381687 h 6557032"/>
              <a:gd name="connsiteX38605" fmla="*/ 3314535 w 4610101"/>
              <a:gd name="connsiteY38605" fmla="*/ 374397 h 6557032"/>
              <a:gd name="connsiteX38606" fmla="*/ 3139606 w 4610101"/>
              <a:gd name="connsiteY38606" fmla="*/ 374397 h 6557032"/>
              <a:gd name="connsiteX38607" fmla="*/ 3135962 w 4610101"/>
              <a:gd name="connsiteY38607" fmla="*/ 385331 h 6557032"/>
              <a:gd name="connsiteX38608" fmla="*/ 3139606 w 4610101"/>
              <a:gd name="connsiteY38608" fmla="*/ 374397 h 6557032"/>
              <a:gd name="connsiteX38609" fmla="*/ 3010232 w 4610101"/>
              <a:gd name="connsiteY38609" fmla="*/ 374397 h 6557032"/>
              <a:gd name="connsiteX38610" fmla="*/ 3002943 w 4610101"/>
              <a:gd name="connsiteY38610" fmla="*/ 378041 h 6557032"/>
              <a:gd name="connsiteX38611" fmla="*/ 3008410 w 4610101"/>
              <a:gd name="connsiteY38611" fmla="*/ 385331 h 6557032"/>
              <a:gd name="connsiteX38612" fmla="*/ 3010232 w 4610101"/>
              <a:gd name="connsiteY38612" fmla="*/ 381687 h 6557032"/>
              <a:gd name="connsiteX38613" fmla="*/ 3010232 w 4610101"/>
              <a:gd name="connsiteY38613" fmla="*/ 374397 h 6557032"/>
              <a:gd name="connsiteX38614" fmla="*/ 2199364 w 4610101"/>
              <a:gd name="connsiteY38614" fmla="*/ 374397 h 6557032"/>
              <a:gd name="connsiteX38615" fmla="*/ 2201187 w 4610101"/>
              <a:gd name="connsiteY38615" fmla="*/ 387152 h 6557032"/>
              <a:gd name="connsiteX38616" fmla="*/ 2199364 w 4610101"/>
              <a:gd name="connsiteY38616" fmla="*/ 374397 h 6557032"/>
              <a:gd name="connsiteX38617" fmla="*/ 2075574 w 4610101"/>
              <a:gd name="connsiteY38617" fmla="*/ 374376 h 6557032"/>
              <a:gd name="connsiteX38618" fmla="*/ 2079785 w 4610101"/>
              <a:gd name="connsiteY38618" fmla="*/ 378725 h 6557032"/>
              <a:gd name="connsiteX38619" fmla="*/ 2083457 w 4610101"/>
              <a:gd name="connsiteY38619" fmla="*/ 397829 h 6557032"/>
              <a:gd name="connsiteX38620" fmla="*/ 2083145 w 4610101"/>
              <a:gd name="connsiteY38620" fmla="*/ 399285 h 6557032"/>
              <a:gd name="connsiteX38621" fmla="*/ 2082745 w 4610101"/>
              <a:gd name="connsiteY38621" fmla="*/ 398085 h 6557032"/>
              <a:gd name="connsiteX38622" fmla="*/ 3289024 w 4610101"/>
              <a:gd name="connsiteY38622" fmla="*/ 372576 h 6557032"/>
              <a:gd name="connsiteX38623" fmla="*/ 3265336 w 4610101"/>
              <a:gd name="connsiteY38623" fmla="*/ 376220 h 6557032"/>
              <a:gd name="connsiteX38624" fmla="*/ 3267158 w 4610101"/>
              <a:gd name="connsiteY38624" fmla="*/ 392620 h 6557032"/>
              <a:gd name="connsiteX38625" fmla="*/ 3259869 w 4610101"/>
              <a:gd name="connsiteY38625" fmla="*/ 388976 h 6557032"/>
              <a:gd name="connsiteX38626" fmla="*/ 3285380 w 4610101"/>
              <a:gd name="connsiteY38626" fmla="*/ 399908 h 6557032"/>
              <a:gd name="connsiteX38627" fmla="*/ 3280856 w 4610101"/>
              <a:gd name="connsiteY38627" fmla="*/ 398400 h 6557032"/>
              <a:gd name="connsiteX38628" fmla="*/ 3280141 w 4610101"/>
              <a:gd name="connsiteY38628" fmla="*/ 397175 h 6557032"/>
              <a:gd name="connsiteX38629" fmla="*/ 3279913 w 4610101"/>
              <a:gd name="connsiteY38629" fmla="*/ 394441 h 6557032"/>
              <a:gd name="connsiteX38630" fmla="*/ 3283558 w 4610101"/>
              <a:gd name="connsiteY38630" fmla="*/ 394441 h 6557032"/>
              <a:gd name="connsiteX38631" fmla="*/ 3283558 w 4610101"/>
              <a:gd name="connsiteY38631" fmla="*/ 390797 h 6557032"/>
              <a:gd name="connsiteX38632" fmla="*/ 3290391 w 4610101"/>
              <a:gd name="connsiteY38632" fmla="*/ 396036 h 6557032"/>
              <a:gd name="connsiteX38633" fmla="*/ 3299828 w 4610101"/>
              <a:gd name="connsiteY38633" fmla="*/ 395035 h 6557032"/>
              <a:gd name="connsiteX38634" fmla="*/ 3298819 w 4610101"/>
              <a:gd name="connsiteY38634" fmla="*/ 399680 h 6557032"/>
              <a:gd name="connsiteX38635" fmla="*/ 3301780 w 4610101"/>
              <a:gd name="connsiteY38635" fmla="*/ 403552 h 6557032"/>
              <a:gd name="connsiteX38636" fmla="*/ 3305880 w 4610101"/>
              <a:gd name="connsiteY38636" fmla="*/ 401047 h 6557032"/>
              <a:gd name="connsiteX38637" fmla="*/ 3307129 w 4610101"/>
              <a:gd name="connsiteY38637" fmla="*/ 395010 h 6557032"/>
              <a:gd name="connsiteX38638" fmla="*/ 3310890 w 4610101"/>
              <a:gd name="connsiteY38638" fmla="*/ 396264 h 6557032"/>
              <a:gd name="connsiteX38639" fmla="*/ 3307246 w 4610101"/>
              <a:gd name="connsiteY38639" fmla="*/ 394442 h 6557032"/>
              <a:gd name="connsiteX38640" fmla="*/ 3307129 w 4610101"/>
              <a:gd name="connsiteY38640" fmla="*/ 395010 h 6557032"/>
              <a:gd name="connsiteX38641" fmla="*/ 3306010 w 4610101"/>
              <a:gd name="connsiteY38641" fmla="*/ 394637 h 6557032"/>
              <a:gd name="connsiteX38642" fmla="*/ 3307246 w 4610101"/>
              <a:gd name="connsiteY38642" fmla="*/ 394441 h 6557032"/>
              <a:gd name="connsiteX38643" fmla="*/ 3303602 w 4610101"/>
              <a:gd name="connsiteY38643" fmla="*/ 392620 h 6557032"/>
              <a:gd name="connsiteX38644" fmla="*/ 3298135 w 4610101"/>
              <a:gd name="connsiteY38644" fmla="*/ 374397 h 6557032"/>
              <a:gd name="connsiteX38645" fmla="*/ 3298135 w 4610101"/>
              <a:gd name="connsiteY38645" fmla="*/ 378041 h 6557032"/>
              <a:gd name="connsiteX38646" fmla="*/ 3289024 w 4610101"/>
              <a:gd name="connsiteY38646" fmla="*/ 372576 h 6557032"/>
              <a:gd name="connsiteX38647" fmla="*/ 3037564 w 4610101"/>
              <a:gd name="connsiteY38647" fmla="*/ 372576 h 6557032"/>
              <a:gd name="connsiteX38648" fmla="*/ 3039387 w 4610101"/>
              <a:gd name="connsiteY38648" fmla="*/ 383509 h 6557032"/>
              <a:gd name="connsiteX38649" fmla="*/ 3037564 w 4610101"/>
              <a:gd name="connsiteY38649" fmla="*/ 372576 h 6557032"/>
              <a:gd name="connsiteX38650" fmla="*/ 2600243 w 4610101"/>
              <a:gd name="connsiteY38650" fmla="*/ 370754 h 6557032"/>
              <a:gd name="connsiteX38651" fmla="*/ 2591132 w 4610101"/>
              <a:gd name="connsiteY38651" fmla="*/ 379865 h 6557032"/>
              <a:gd name="connsiteX38652" fmla="*/ 2598421 w 4610101"/>
              <a:gd name="connsiteY38652" fmla="*/ 381687 h 6557032"/>
              <a:gd name="connsiteX38653" fmla="*/ 2609353 w 4610101"/>
              <a:gd name="connsiteY38653" fmla="*/ 390797 h 6557032"/>
              <a:gd name="connsiteX38654" fmla="*/ 2605709 w 4610101"/>
              <a:gd name="connsiteY38654" fmla="*/ 378041 h 6557032"/>
              <a:gd name="connsiteX38655" fmla="*/ 2602065 w 4610101"/>
              <a:gd name="connsiteY38655" fmla="*/ 381687 h 6557032"/>
              <a:gd name="connsiteX38656" fmla="*/ 2600243 w 4610101"/>
              <a:gd name="connsiteY38656" fmla="*/ 370754 h 6557032"/>
              <a:gd name="connsiteX38657" fmla="*/ 3243470 w 4610101"/>
              <a:gd name="connsiteY38657" fmla="*/ 368932 h 6557032"/>
              <a:gd name="connsiteX38658" fmla="*/ 3243470 w 4610101"/>
              <a:gd name="connsiteY38658" fmla="*/ 376220 h 6557032"/>
              <a:gd name="connsiteX38659" fmla="*/ 3248937 w 4610101"/>
              <a:gd name="connsiteY38659" fmla="*/ 374397 h 6557032"/>
              <a:gd name="connsiteX38660" fmla="*/ 3243470 w 4610101"/>
              <a:gd name="connsiteY38660" fmla="*/ 368932 h 6557032"/>
              <a:gd name="connsiteX38661" fmla="*/ 2399803 w 4610101"/>
              <a:gd name="connsiteY38661" fmla="*/ 368932 h 6557032"/>
              <a:gd name="connsiteX38662" fmla="*/ 2399600 w 4610101"/>
              <a:gd name="connsiteY38662" fmla="*/ 369898 h 6557032"/>
              <a:gd name="connsiteX38663" fmla="*/ 2392970 w 4610101"/>
              <a:gd name="connsiteY38663" fmla="*/ 370753 h 6557032"/>
              <a:gd name="connsiteX38664" fmla="*/ 2387048 w 4610101"/>
              <a:gd name="connsiteY38664" fmla="*/ 378041 h 6557032"/>
              <a:gd name="connsiteX38665" fmla="*/ 2374293 w 4610101"/>
              <a:gd name="connsiteY38665" fmla="*/ 381687 h 6557032"/>
              <a:gd name="connsiteX38666" fmla="*/ 2377937 w 4610101"/>
              <a:gd name="connsiteY38666" fmla="*/ 387152 h 6557032"/>
              <a:gd name="connsiteX38667" fmla="*/ 2379760 w 4610101"/>
              <a:gd name="connsiteY38667" fmla="*/ 379865 h 6557032"/>
              <a:gd name="connsiteX38668" fmla="*/ 2387048 w 4610101"/>
              <a:gd name="connsiteY38668" fmla="*/ 390797 h 6557032"/>
              <a:gd name="connsiteX38669" fmla="*/ 2388871 w 4610101"/>
              <a:gd name="connsiteY38669" fmla="*/ 376220 h 6557032"/>
              <a:gd name="connsiteX38670" fmla="*/ 2392515 w 4610101"/>
              <a:gd name="connsiteY38670" fmla="*/ 376220 h 6557032"/>
              <a:gd name="connsiteX38671" fmla="*/ 2390693 w 4610101"/>
              <a:gd name="connsiteY38671" fmla="*/ 383509 h 6557032"/>
              <a:gd name="connsiteX38672" fmla="*/ 2397982 w 4610101"/>
              <a:gd name="connsiteY38672" fmla="*/ 377587 h 6557032"/>
              <a:gd name="connsiteX38673" fmla="*/ 2399600 w 4610101"/>
              <a:gd name="connsiteY38673" fmla="*/ 369898 h 6557032"/>
              <a:gd name="connsiteX38674" fmla="*/ 2402284 w 4610101"/>
              <a:gd name="connsiteY38674" fmla="*/ 369552 h 6557032"/>
              <a:gd name="connsiteX38675" fmla="*/ 2407092 w 4610101"/>
              <a:gd name="connsiteY38675" fmla="*/ 370754 h 6557032"/>
              <a:gd name="connsiteX38676" fmla="*/ 2397981 w 4610101"/>
              <a:gd name="connsiteY38676" fmla="*/ 399908 h 6557032"/>
              <a:gd name="connsiteX38677" fmla="*/ 2408914 w 4610101"/>
              <a:gd name="connsiteY38677" fmla="*/ 390797 h 6557032"/>
              <a:gd name="connsiteX38678" fmla="*/ 2418025 w 4610101"/>
              <a:gd name="connsiteY38678" fmla="*/ 405375 h 6557032"/>
              <a:gd name="connsiteX38679" fmla="*/ 2425314 w 4610101"/>
              <a:gd name="connsiteY38679" fmla="*/ 403552 h 6557032"/>
              <a:gd name="connsiteX38680" fmla="*/ 2423492 w 4610101"/>
              <a:gd name="connsiteY38680" fmla="*/ 394441 h 6557032"/>
              <a:gd name="connsiteX38681" fmla="*/ 2421669 w 4610101"/>
              <a:gd name="connsiteY38681" fmla="*/ 401731 h 6557032"/>
              <a:gd name="connsiteX38682" fmla="*/ 2418025 w 4610101"/>
              <a:gd name="connsiteY38682" fmla="*/ 396264 h 6557032"/>
              <a:gd name="connsiteX38683" fmla="*/ 2418025 w 4610101"/>
              <a:gd name="connsiteY38683" fmla="*/ 376220 h 6557032"/>
              <a:gd name="connsiteX38684" fmla="*/ 2418025 w 4610101"/>
              <a:gd name="connsiteY38684" fmla="*/ 385331 h 6557032"/>
              <a:gd name="connsiteX38685" fmla="*/ 2410737 w 4610101"/>
              <a:gd name="connsiteY38685" fmla="*/ 383509 h 6557032"/>
              <a:gd name="connsiteX38686" fmla="*/ 2407092 w 4610101"/>
              <a:gd name="connsiteY38686" fmla="*/ 368932 h 6557032"/>
              <a:gd name="connsiteX38687" fmla="*/ 2402284 w 4610101"/>
              <a:gd name="connsiteY38687" fmla="*/ 369552 h 6557032"/>
              <a:gd name="connsiteX38688" fmla="*/ 2257674 w 4610101"/>
              <a:gd name="connsiteY38688" fmla="*/ 368932 h 6557032"/>
              <a:gd name="connsiteX38689" fmla="*/ 2248563 w 4610101"/>
              <a:gd name="connsiteY38689" fmla="*/ 385331 h 6557032"/>
              <a:gd name="connsiteX38690" fmla="*/ 2244919 w 4610101"/>
              <a:gd name="connsiteY38690" fmla="*/ 378041 h 6557032"/>
              <a:gd name="connsiteX38691" fmla="*/ 2237630 w 4610101"/>
              <a:gd name="connsiteY38691" fmla="*/ 390797 h 6557032"/>
              <a:gd name="connsiteX38692" fmla="*/ 2246741 w 4610101"/>
              <a:gd name="connsiteY38692" fmla="*/ 394441 h 6557032"/>
              <a:gd name="connsiteX38693" fmla="*/ 2254030 w 4610101"/>
              <a:gd name="connsiteY38693" fmla="*/ 399908 h 6557032"/>
              <a:gd name="connsiteX38694" fmla="*/ 2252207 w 4610101"/>
              <a:gd name="connsiteY38694" fmla="*/ 401731 h 6557032"/>
              <a:gd name="connsiteX38695" fmla="*/ 2254030 w 4610101"/>
              <a:gd name="connsiteY38695" fmla="*/ 401731 h 6557032"/>
              <a:gd name="connsiteX38696" fmla="*/ 2254030 w 4610101"/>
              <a:gd name="connsiteY38696" fmla="*/ 379865 h 6557032"/>
              <a:gd name="connsiteX38697" fmla="*/ 2259496 w 4610101"/>
              <a:gd name="connsiteY38697" fmla="*/ 376220 h 6557032"/>
              <a:gd name="connsiteX38698" fmla="*/ 2257674 w 4610101"/>
              <a:gd name="connsiteY38698" fmla="*/ 368932 h 6557032"/>
              <a:gd name="connsiteX38699" fmla="*/ 3469419 w 4610101"/>
              <a:gd name="connsiteY38699" fmla="*/ 367109 h 6557032"/>
              <a:gd name="connsiteX38700" fmla="*/ 3476708 w 4610101"/>
              <a:gd name="connsiteY38700" fmla="*/ 372576 h 6557032"/>
              <a:gd name="connsiteX38701" fmla="*/ 3473064 w 4610101"/>
              <a:gd name="connsiteY38701" fmla="*/ 367109 h 6557032"/>
              <a:gd name="connsiteX38702" fmla="*/ 3469419 w 4610101"/>
              <a:gd name="connsiteY38702" fmla="*/ 367109 h 6557032"/>
              <a:gd name="connsiteX38703" fmla="*/ 3423865 w 4610101"/>
              <a:gd name="connsiteY38703" fmla="*/ 367109 h 6557032"/>
              <a:gd name="connsiteX38704" fmla="*/ 3414754 w 4610101"/>
              <a:gd name="connsiteY38704" fmla="*/ 381687 h 6557032"/>
              <a:gd name="connsiteX38705" fmla="*/ 3411110 w 4610101"/>
              <a:gd name="connsiteY38705" fmla="*/ 376220 h 6557032"/>
              <a:gd name="connsiteX38706" fmla="*/ 3391066 w 4610101"/>
              <a:gd name="connsiteY38706" fmla="*/ 385331 h 6557032"/>
              <a:gd name="connsiteX38707" fmla="*/ 3380133 w 4610101"/>
              <a:gd name="connsiteY38707" fmla="*/ 378041 h 6557032"/>
              <a:gd name="connsiteX38708" fmla="*/ 3385600 w 4610101"/>
              <a:gd name="connsiteY38708" fmla="*/ 396264 h 6557032"/>
              <a:gd name="connsiteX38709" fmla="*/ 3396532 w 4610101"/>
              <a:gd name="connsiteY38709" fmla="*/ 392620 h 6557032"/>
              <a:gd name="connsiteX38710" fmla="*/ 3396532 w 4610101"/>
              <a:gd name="connsiteY38710" fmla="*/ 387152 h 6557032"/>
              <a:gd name="connsiteX38711" fmla="*/ 3412932 w 4610101"/>
              <a:gd name="connsiteY38711" fmla="*/ 399908 h 6557032"/>
              <a:gd name="connsiteX38712" fmla="*/ 3416577 w 4610101"/>
              <a:gd name="connsiteY38712" fmla="*/ 392620 h 6557032"/>
              <a:gd name="connsiteX38713" fmla="*/ 3438443 w 4610101"/>
              <a:gd name="connsiteY38713" fmla="*/ 390797 h 6557032"/>
              <a:gd name="connsiteX38714" fmla="*/ 3438443 w 4610101"/>
              <a:gd name="connsiteY38714" fmla="*/ 403552 h 6557032"/>
              <a:gd name="connsiteX38715" fmla="*/ 3449376 w 4610101"/>
              <a:gd name="connsiteY38715" fmla="*/ 399908 h 6557032"/>
              <a:gd name="connsiteX38716" fmla="*/ 3442087 w 4610101"/>
              <a:gd name="connsiteY38716" fmla="*/ 412664 h 6557032"/>
              <a:gd name="connsiteX38717" fmla="*/ 3438443 w 4610101"/>
              <a:gd name="connsiteY38717" fmla="*/ 407196 h 6557032"/>
              <a:gd name="connsiteX38718" fmla="*/ 3434798 w 4610101"/>
              <a:gd name="connsiteY38718" fmla="*/ 410841 h 6557032"/>
              <a:gd name="connsiteX38719" fmla="*/ 3431154 w 4610101"/>
              <a:gd name="connsiteY38719" fmla="*/ 401731 h 6557032"/>
              <a:gd name="connsiteX38720" fmla="*/ 3412932 w 4610101"/>
              <a:gd name="connsiteY38720" fmla="*/ 403552 h 6557032"/>
              <a:gd name="connsiteX38721" fmla="*/ 3416577 w 4610101"/>
              <a:gd name="connsiteY38721" fmla="*/ 410841 h 6557032"/>
              <a:gd name="connsiteX38722" fmla="*/ 3425687 w 4610101"/>
              <a:gd name="connsiteY38722" fmla="*/ 407196 h 6557032"/>
              <a:gd name="connsiteX38723" fmla="*/ 3432976 w 4610101"/>
              <a:gd name="connsiteY38723" fmla="*/ 434530 h 6557032"/>
              <a:gd name="connsiteX38724" fmla="*/ 3423865 w 4610101"/>
              <a:gd name="connsiteY38724" fmla="*/ 439995 h 6557032"/>
              <a:gd name="connsiteX38725" fmla="*/ 3434798 w 4610101"/>
              <a:gd name="connsiteY38725" fmla="*/ 427240 h 6557032"/>
              <a:gd name="connsiteX38726" fmla="*/ 3460309 w 4610101"/>
              <a:gd name="connsiteY38726" fmla="*/ 438174 h 6557032"/>
              <a:gd name="connsiteX38727" fmla="*/ 3458487 w 4610101"/>
              <a:gd name="connsiteY38727" fmla="*/ 443640 h 6557032"/>
              <a:gd name="connsiteX38728" fmla="*/ 3449376 w 4610101"/>
              <a:gd name="connsiteY38728" fmla="*/ 441819 h 6557032"/>
              <a:gd name="connsiteX38729" fmla="*/ 3462131 w 4610101"/>
              <a:gd name="connsiteY38729" fmla="*/ 449107 h 6557032"/>
              <a:gd name="connsiteX38730" fmla="*/ 3460309 w 4610101"/>
              <a:gd name="connsiteY38730" fmla="*/ 454574 h 6557032"/>
              <a:gd name="connsiteX38731" fmla="*/ 3480353 w 4610101"/>
              <a:gd name="connsiteY38731" fmla="*/ 460039 h 6557032"/>
              <a:gd name="connsiteX38732" fmla="*/ 3485819 w 4610101"/>
              <a:gd name="connsiteY38732" fmla="*/ 456395 h 6557032"/>
              <a:gd name="connsiteX38733" fmla="*/ 3480353 w 4610101"/>
              <a:gd name="connsiteY38733" fmla="*/ 423596 h 6557032"/>
              <a:gd name="connsiteX38734" fmla="*/ 3471242 w 4610101"/>
              <a:gd name="connsiteY38734" fmla="*/ 425419 h 6557032"/>
              <a:gd name="connsiteX38735" fmla="*/ 3471242 w 4610101"/>
              <a:gd name="connsiteY38735" fmla="*/ 418129 h 6557032"/>
              <a:gd name="connsiteX38736" fmla="*/ 3440265 w 4610101"/>
              <a:gd name="connsiteY38736" fmla="*/ 390797 h 6557032"/>
              <a:gd name="connsiteX38737" fmla="*/ 3442087 w 4610101"/>
              <a:gd name="connsiteY38737" fmla="*/ 383509 h 6557032"/>
              <a:gd name="connsiteX38738" fmla="*/ 3423865 w 4610101"/>
              <a:gd name="connsiteY38738" fmla="*/ 367109 h 6557032"/>
              <a:gd name="connsiteX38739" fmla="*/ 3232537 w 4610101"/>
              <a:gd name="connsiteY38739" fmla="*/ 367109 h 6557032"/>
              <a:gd name="connsiteX38740" fmla="*/ 3245292 w 4610101"/>
              <a:gd name="connsiteY38740" fmla="*/ 379865 h 6557032"/>
              <a:gd name="connsiteX38741" fmla="*/ 3239826 w 4610101"/>
              <a:gd name="connsiteY38741" fmla="*/ 367109 h 6557032"/>
              <a:gd name="connsiteX38742" fmla="*/ 3232537 w 4610101"/>
              <a:gd name="connsiteY38742" fmla="*/ 367109 h 6557032"/>
              <a:gd name="connsiteX38743" fmla="*/ 2321222 w 4610101"/>
              <a:gd name="connsiteY38743" fmla="*/ 366882 h 6557032"/>
              <a:gd name="connsiteX38744" fmla="*/ 2317806 w 4610101"/>
              <a:gd name="connsiteY38744" fmla="*/ 368932 h 6557032"/>
              <a:gd name="connsiteX38745" fmla="*/ 2317806 w 4610101"/>
              <a:gd name="connsiteY38745" fmla="*/ 370754 h 6557032"/>
              <a:gd name="connsiteX38746" fmla="*/ 2323272 w 4610101"/>
              <a:gd name="connsiteY38746" fmla="*/ 368932 h 6557032"/>
              <a:gd name="connsiteX38747" fmla="*/ 2321222 w 4610101"/>
              <a:gd name="connsiteY38747" fmla="*/ 366882 h 6557032"/>
              <a:gd name="connsiteX38748" fmla="*/ 2441031 w 4610101"/>
              <a:gd name="connsiteY38748" fmla="*/ 366653 h 6557032"/>
              <a:gd name="connsiteX38749" fmla="*/ 2434425 w 4610101"/>
              <a:gd name="connsiteY38749" fmla="*/ 368932 h 6557032"/>
              <a:gd name="connsiteX38750" fmla="*/ 2443536 w 4610101"/>
              <a:gd name="connsiteY38750" fmla="*/ 372576 h 6557032"/>
              <a:gd name="connsiteX38751" fmla="*/ 2441031 w 4610101"/>
              <a:gd name="connsiteY38751" fmla="*/ 366653 h 6557032"/>
              <a:gd name="connsiteX38752" fmla="*/ 3176050 w 4610101"/>
              <a:gd name="connsiteY38752" fmla="*/ 365287 h 6557032"/>
              <a:gd name="connsiteX38753" fmla="*/ 3181516 w 4610101"/>
              <a:gd name="connsiteY38753" fmla="*/ 372576 h 6557032"/>
              <a:gd name="connsiteX38754" fmla="*/ 3176050 w 4610101"/>
              <a:gd name="connsiteY38754" fmla="*/ 365287 h 6557032"/>
              <a:gd name="connsiteX38755" fmla="*/ 2977432 w 4610101"/>
              <a:gd name="connsiteY38755" fmla="*/ 365287 h 6557032"/>
              <a:gd name="connsiteX38756" fmla="*/ 2973788 w 4610101"/>
              <a:gd name="connsiteY38756" fmla="*/ 370754 h 6557032"/>
              <a:gd name="connsiteX38757" fmla="*/ 2979255 w 4610101"/>
              <a:gd name="connsiteY38757" fmla="*/ 370754 h 6557032"/>
              <a:gd name="connsiteX38758" fmla="*/ 2977432 w 4610101"/>
              <a:gd name="connsiteY38758" fmla="*/ 365287 h 6557032"/>
              <a:gd name="connsiteX38759" fmla="*/ 3387422 w 4610101"/>
              <a:gd name="connsiteY38759" fmla="*/ 363465 h 6557032"/>
              <a:gd name="connsiteX38760" fmla="*/ 3376489 w 4610101"/>
              <a:gd name="connsiteY38760" fmla="*/ 372576 h 6557032"/>
              <a:gd name="connsiteX38761" fmla="*/ 3387422 w 4610101"/>
              <a:gd name="connsiteY38761" fmla="*/ 374397 h 6557032"/>
              <a:gd name="connsiteX38762" fmla="*/ 3387422 w 4610101"/>
              <a:gd name="connsiteY38762" fmla="*/ 363465 h 6557032"/>
              <a:gd name="connsiteX38763" fmla="*/ 2509134 w 4610101"/>
              <a:gd name="connsiteY38763" fmla="*/ 363465 h 6557032"/>
              <a:gd name="connsiteX38764" fmla="*/ 2507312 w 4610101"/>
              <a:gd name="connsiteY38764" fmla="*/ 372576 h 6557032"/>
              <a:gd name="connsiteX38765" fmla="*/ 2509134 w 4610101"/>
              <a:gd name="connsiteY38765" fmla="*/ 363465 h 6557032"/>
              <a:gd name="connsiteX38766" fmla="*/ 2385226 w 4610101"/>
              <a:gd name="connsiteY38766" fmla="*/ 363465 h 6557032"/>
              <a:gd name="connsiteX38767" fmla="*/ 2394337 w 4610101"/>
              <a:gd name="connsiteY38767" fmla="*/ 363465 h 6557032"/>
              <a:gd name="connsiteX38768" fmla="*/ 2385226 w 4610101"/>
              <a:gd name="connsiteY38768" fmla="*/ 363465 h 6557032"/>
              <a:gd name="connsiteX38769" fmla="*/ 2161099 w 4610101"/>
              <a:gd name="connsiteY38769" fmla="*/ 363465 h 6557032"/>
              <a:gd name="connsiteX38770" fmla="*/ 2159277 w 4610101"/>
              <a:gd name="connsiteY38770" fmla="*/ 374397 h 6557032"/>
              <a:gd name="connsiteX38771" fmla="*/ 2170210 w 4610101"/>
              <a:gd name="connsiteY38771" fmla="*/ 381687 h 6557032"/>
              <a:gd name="connsiteX38772" fmla="*/ 2172032 w 4610101"/>
              <a:gd name="connsiteY38772" fmla="*/ 376220 h 6557032"/>
              <a:gd name="connsiteX38773" fmla="*/ 2173854 w 4610101"/>
              <a:gd name="connsiteY38773" fmla="*/ 378041 h 6557032"/>
              <a:gd name="connsiteX38774" fmla="*/ 2170210 w 4610101"/>
              <a:gd name="connsiteY38774" fmla="*/ 396264 h 6557032"/>
              <a:gd name="connsiteX38775" fmla="*/ 2168387 w 4610101"/>
              <a:gd name="connsiteY38775" fmla="*/ 394441 h 6557032"/>
              <a:gd name="connsiteX38776" fmla="*/ 2166565 w 4610101"/>
              <a:gd name="connsiteY38776" fmla="*/ 399908 h 6557032"/>
              <a:gd name="connsiteX38777" fmla="*/ 2168387 w 4610101"/>
              <a:gd name="connsiteY38777" fmla="*/ 405375 h 6557032"/>
              <a:gd name="connsiteX38778" fmla="*/ 2170210 w 4610101"/>
              <a:gd name="connsiteY38778" fmla="*/ 405375 h 6557032"/>
              <a:gd name="connsiteX38779" fmla="*/ 2173854 w 4610101"/>
              <a:gd name="connsiteY38779" fmla="*/ 394441 h 6557032"/>
              <a:gd name="connsiteX38780" fmla="*/ 2179320 w 4610101"/>
              <a:gd name="connsiteY38780" fmla="*/ 396264 h 6557032"/>
              <a:gd name="connsiteX38781" fmla="*/ 2179320 w 4610101"/>
              <a:gd name="connsiteY38781" fmla="*/ 367109 h 6557032"/>
              <a:gd name="connsiteX38782" fmla="*/ 2175676 w 4610101"/>
              <a:gd name="connsiteY38782" fmla="*/ 365287 h 6557032"/>
              <a:gd name="connsiteX38783" fmla="*/ 2177498 w 4610101"/>
              <a:gd name="connsiteY38783" fmla="*/ 374397 h 6557032"/>
              <a:gd name="connsiteX38784" fmla="*/ 2170210 w 4610101"/>
              <a:gd name="connsiteY38784" fmla="*/ 365287 h 6557032"/>
              <a:gd name="connsiteX38785" fmla="*/ 2168387 w 4610101"/>
              <a:gd name="connsiteY38785" fmla="*/ 370754 h 6557032"/>
              <a:gd name="connsiteX38786" fmla="*/ 2161099 w 4610101"/>
              <a:gd name="connsiteY38786" fmla="*/ 363465 h 6557032"/>
              <a:gd name="connsiteX38787" fmla="*/ 2379760 w 4610101"/>
              <a:gd name="connsiteY38787" fmla="*/ 361642 h 6557032"/>
              <a:gd name="connsiteX38788" fmla="*/ 2368827 w 4610101"/>
              <a:gd name="connsiteY38788" fmla="*/ 383509 h 6557032"/>
              <a:gd name="connsiteX38789" fmla="*/ 2374293 w 4610101"/>
              <a:gd name="connsiteY38789" fmla="*/ 376220 h 6557032"/>
              <a:gd name="connsiteX38790" fmla="*/ 2376115 w 4610101"/>
              <a:gd name="connsiteY38790" fmla="*/ 379865 h 6557032"/>
              <a:gd name="connsiteX38791" fmla="*/ 2379760 w 4610101"/>
              <a:gd name="connsiteY38791" fmla="*/ 361642 h 6557032"/>
              <a:gd name="connsiteX38792" fmla="*/ 3436621 w 4610101"/>
              <a:gd name="connsiteY38792" fmla="*/ 359821 h 6557032"/>
              <a:gd name="connsiteX38793" fmla="*/ 3440265 w 4610101"/>
              <a:gd name="connsiteY38793" fmla="*/ 370754 h 6557032"/>
              <a:gd name="connsiteX38794" fmla="*/ 3436621 w 4610101"/>
              <a:gd name="connsiteY38794" fmla="*/ 359821 h 6557032"/>
              <a:gd name="connsiteX38795" fmla="*/ 3405643 w 4610101"/>
              <a:gd name="connsiteY38795" fmla="*/ 359821 h 6557032"/>
              <a:gd name="connsiteX38796" fmla="*/ 3405643 w 4610101"/>
              <a:gd name="connsiteY38796" fmla="*/ 378041 h 6557032"/>
              <a:gd name="connsiteX38797" fmla="*/ 3405643 w 4610101"/>
              <a:gd name="connsiteY38797" fmla="*/ 359821 h 6557032"/>
              <a:gd name="connsiteX38798" fmla="*/ 3139606 w 4610101"/>
              <a:gd name="connsiteY38798" fmla="*/ 359821 h 6557032"/>
              <a:gd name="connsiteX38799" fmla="*/ 3134140 w 4610101"/>
              <a:gd name="connsiteY38799" fmla="*/ 361642 h 6557032"/>
              <a:gd name="connsiteX38800" fmla="*/ 3139606 w 4610101"/>
              <a:gd name="connsiteY38800" fmla="*/ 368932 h 6557032"/>
              <a:gd name="connsiteX38801" fmla="*/ 3139606 w 4610101"/>
              <a:gd name="connsiteY38801" fmla="*/ 359821 h 6557032"/>
              <a:gd name="connsiteX38802" fmla="*/ 2443536 w 4610101"/>
              <a:gd name="connsiteY38802" fmla="*/ 359821 h 6557032"/>
              <a:gd name="connsiteX38803" fmla="*/ 2450824 w 4610101"/>
              <a:gd name="connsiteY38803" fmla="*/ 367109 h 6557032"/>
              <a:gd name="connsiteX38804" fmla="*/ 2443536 w 4610101"/>
              <a:gd name="connsiteY38804" fmla="*/ 359821 h 6557032"/>
              <a:gd name="connsiteX38805" fmla="*/ 2157454 w 4610101"/>
              <a:gd name="connsiteY38805" fmla="*/ 357998 h 6557032"/>
              <a:gd name="connsiteX38806" fmla="*/ 2162921 w 4610101"/>
              <a:gd name="connsiteY38806" fmla="*/ 357998 h 6557032"/>
              <a:gd name="connsiteX38807" fmla="*/ 2157454 w 4610101"/>
              <a:gd name="connsiteY38807" fmla="*/ 357998 h 6557032"/>
              <a:gd name="connsiteX38808" fmla="*/ 3050319 w 4610101"/>
              <a:gd name="connsiteY38808" fmla="*/ 356176 h 6557032"/>
              <a:gd name="connsiteX38809" fmla="*/ 3055786 w 4610101"/>
              <a:gd name="connsiteY38809" fmla="*/ 365287 h 6557032"/>
              <a:gd name="connsiteX38810" fmla="*/ 3050319 w 4610101"/>
              <a:gd name="connsiteY38810" fmla="*/ 356176 h 6557032"/>
              <a:gd name="connsiteX38811" fmla="*/ 2458683 w 4610101"/>
              <a:gd name="connsiteY38811" fmla="*/ 355891 h 6557032"/>
              <a:gd name="connsiteX38812" fmla="*/ 2460136 w 4610101"/>
              <a:gd name="connsiteY38812" fmla="*/ 355976 h 6557032"/>
              <a:gd name="connsiteX38813" fmla="*/ 2458113 w 4610101"/>
              <a:gd name="connsiteY38813" fmla="*/ 357998 h 6557032"/>
              <a:gd name="connsiteX38814" fmla="*/ 2458023 w 4610101"/>
              <a:gd name="connsiteY38814" fmla="*/ 356864 h 6557032"/>
              <a:gd name="connsiteX38815" fmla="*/ 3008097 w 4610101"/>
              <a:gd name="connsiteY38815" fmla="*/ 355465 h 6557032"/>
              <a:gd name="connsiteX38816" fmla="*/ 3004765 w 4610101"/>
              <a:gd name="connsiteY38816" fmla="*/ 359821 h 6557032"/>
              <a:gd name="connsiteX38817" fmla="*/ 3010232 w 4610101"/>
              <a:gd name="connsiteY38817" fmla="*/ 363465 h 6557032"/>
              <a:gd name="connsiteX38818" fmla="*/ 3008410 w 4610101"/>
              <a:gd name="connsiteY38818" fmla="*/ 356176 h 6557032"/>
              <a:gd name="connsiteX38819" fmla="*/ 3008097 w 4610101"/>
              <a:gd name="connsiteY38819" fmla="*/ 355465 h 6557032"/>
              <a:gd name="connsiteX38820" fmla="*/ 1069616 w 4610101"/>
              <a:gd name="connsiteY38820" fmla="*/ 354379 h 6557032"/>
              <a:gd name="connsiteX38821" fmla="*/ 1069616 w 4610101"/>
              <a:gd name="connsiteY38821" fmla="*/ 367134 h 6557032"/>
              <a:gd name="connsiteX38822" fmla="*/ 1067794 w 4610101"/>
              <a:gd name="connsiteY38822" fmla="*/ 374422 h 6557032"/>
              <a:gd name="connsiteX38823" fmla="*/ 1069616 w 4610101"/>
              <a:gd name="connsiteY38823" fmla="*/ 354379 h 6557032"/>
              <a:gd name="connsiteX38824" fmla="*/ 2611176 w 4610101"/>
              <a:gd name="connsiteY38824" fmla="*/ 354354 h 6557032"/>
              <a:gd name="connsiteX38825" fmla="*/ 2609353 w 4610101"/>
              <a:gd name="connsiteY38825" fmla="*/ 367109 h 6557032"/>
              <a:gd name="connsiteX38826" fmla="*/ 2603887 w 4610101"/>
              <a:gd name="connsiteY38826" fmla="*/ 367109 h 6557032"/>
              <a:gd name="connsiteX38827" fmla="*/ 2618464 w 4610101"/>
              <a:gd name="connsiteY38827" fmla="*/ 370754 h 6557032"/>
              <a:gd name="connsiteX38828" fmla="*/ 2611176 w 4610101"/>
              <a:gd name="connsiteY38828" fmla="*/ 354354 h 6557032"/>
              <a:gd name="connsiteX38829" fmla="*/ 2274074 w 4610101"/>
              <a:gd name="connsiteY38829" fmla="*/ 354354 h 6557032"/>
              <a:gd name="connsiteX38830" fmla="*/ 2268607 w 4610101"/>
              <a:gd name="connsiteY38830" fmla="*/ 359821 h 6557032"/>
              <a:gd name="connsiteX38831" fmla="*/ 2272251 w 4610101"/>
              <a:gd name="connsiteY38831" fmla="*/ 365287 h 6557032"/>
              <a:gd name="connsiteX38832" fmla="*/ 2274074 w 4610101"/>
              <a:gd name="connsiteY38832" fmla="*/ 363465 h 6557032"/>
              <a:gd name="connsiteX38833" fmla="*/ 2274074 w 4610101"/>
              <a:gd name="connsiteY38833" fmla="*/ 354354 h 6557032"/>
              <a:gd name="connsiteX38834" fmla="*/ 3183338 w 4610101"/>
              <a:gd name="connsiteY38834" fmla="*/ 352532 h 6557032"/>
              <a:gd name="connsiteX38835" fmla="*/ 3188805 w 4610101"/>
              <a:gd name="connsiteY38835" fmla="*/ 363465 h 6557032"/>
              <a:gd name="connsiteX38836" fmla="*/ 3183338 w 4610101"/>
              <a:gd name="connsiteY38836" fmla="*/ 352532 h 6557032"/>
              <a:gd name="connsiteX38837" fmla="*/ 1909639 w 4610101"/>
              <a:gd name="connsiteY38837" fmla="*/ 350728 h 6557032"/>
              <a:gd name="connsiteX38838" fmla="*/ 1914378 w 4610101"/>
              <a:gd name="connsiteY38838" fmla="*/ 360204 h 6557032"/>
              <a:gd name="connsiteX38839" fmla="*/ 1918750 w 4610101"/>
              <a:gd name="connsiteY38839" fmla="*/ 354374 h 6557032"/>
              <a:gd name="connsiteX38840" fmla="*/ 1920571 w 4610101"/>
              <a:gd name="connsiteY38840" fmla="*/ 356196 h 6557032"/>
              <a:gd name="connsiteX38841" fmla="*/ 1915716 w 4610101"/>
              <a:gd name="connsiteY38841" fmla="*/ 359837 h 6557032"/>
              <a:gd name="connsiteX38842" fmla="*/ 1914610 w 4610101"/>
              <a:gd name="connsiteY38842" fmla="*/ 360668 h 6557032"/>
              <a:gd name="connsiteX38843" fmla="*/ 1915105 w 4610101"/>
              <a:gd name="connsiteY38843" fmla="*/ 361661 h 6557032"/>
              <a:gd name="connsiteX38844" fmla="*/ 1925127 w 4610101"/>
              <a:gd name="connsiteY38844" fmla="*/ 367811 h 6557032"/>
              <a:gd name="connsiteX38845" fmla="*/ 1929682 w 4610101"/>
              <a:gd name="connsiteY38845" fmla="*/ 378060 h 6557032"/>
              <a:gd name="connsiteX38846" fmla="*/ 1929682 w 4610101"/>
              <a:gd name="connsiteY38846" fmla="*/ 378059 h 6557032"/>
              <a:gd name="connsiteX38847" fmla="*/ 1935149 w 4610101"/>
              <a:gd name="connsiteY38847" fmla="*/ 376237 h 6557032"/>
              <a:gd name="connsiteX38848" fmla="*/ 1935149 w 4610101"/>
              <a:gd name="connsiteY38848" fmla="*/ 378059 h 6557032"/>
              <a:gd name="connsiteX38849" fmla="*/ 1929682 w 4610101"/>
              <a:gd name="connsiteY38849" fmla="*/ 379882 h 6557032"/>
              <a:gd name="connsiteX38850" fmla="*/ 1929682 w 4610101"/>
              <a:gd name="connsiteY38850" fmla="*/ 378061 h 6557032"/>
              <a:gd name="connsiteX38851" fmla="*/ 1916927 w 4610101"/>
              <a:gd name="connsiteY38851" fmla="*/ 370772 h 6557032"/>
              <a:gd name="connsiteX38852" fmla="*/ 1909639 w 4610101"/>
              <a:gd name="connsiteY38852" fmla="*/ 350728 h 6557032"/>
              <a:gd name="connsiteX38853" fmla="*/ 2550890 w 4610101"/>
              <a:gd name="connsiteY38853" fmla="*/ 348651 h 6557032"/>
              <a:gd name="connsiteX38854" fmla="*/ 2551011 w 4610101"/>
              <a:gd name="connsiteY38854" fmla="*/ 348678 h 6557032"/>
              <a:gd name="connsiteX38855" fmla="*/ 2551044 w 4610101"/>
              <a:gd name="connsiteY38855" fmla="*/ 348888 h 6557032"/>
              <a:gd name="connsiteX38856" fmla="*/ 1918750 w 4610101"/>
              <a:gd name="connsiteY38856" fmla="*/ 347085 h 6557032"/>
              <a:gd name="connsiteX38857" fmla="*/ 1920571 w 4610101"/>
              <a:gd name="connsiteY38857" fmla="*/ 348907 h 6557032"/>
              <a:gd name="connsiteX38858" fmla="*/ 1909639 w 4610101"/>
              <a:gd name="connsiteY38858" fmla="*/ 348907 h 6557032"/>
              <a:gd name="connsiteX38859" fmla="*/ 1918750 w 4610101"/>
              <a:gd name="connsiteY38859" fmla="*/ 347085 h 6557032"/>
              <a:gd name="connsiteX38860" fmla="*/ 530253 w 4610101"/>
              <a:gd name="connsiteY38860" fmla="*/ 347066 h 6557032"/>
              <a:gd name="connsiteX38861" fmla="*/ 546425 w 4610101"/>
              <a:gd name="connsiteY38861" fmla="*/ 416536 h 6557032"/>
              <a:gd name="connsiteX38862" fmla="*/ 544553 w 4610101"/>
              <a:gd name="connsiteY38862" fmla="*/ 435318 h 6557032"/>
              <a:gd name="connsiteX38863" fmla="*/ 540275 w 4610101"/>
              <a:gd name="connsiteY38863" fmla="*/ 391253 h 6557032"/>
              <a:gd name="connsiteX38864" fmla="*/ 530253 w 4610101"/>
              <a:gd name="connsiteY38864" fmla="*/ 347066 h 6557032"/>
              <a:gd name="connsiteX38865" fmla="*/ 3197916 w 4610101"/>
              <a:gd name="connsiteY38865" fmla="*/ 345242 h 6557032"/>
              <a:gd name="connsiteX38866" fmla="*/ 3197916 w 4610101"/>
              <a:gd name="connsiteY38866" fmla="*/ 352532 h 6557032"/>
              <a:gd name="connsiteX38867" fmla="*/ 3201560 w 4610101"/>
              <a:gd name="connsiteY38867" fmla="*/ 354354 h 6557032"/>
              <a:gd name="connsiteX38868" fmla="*/ 3197916 w 4610101"/>
              <a:gd name="connsiteY38868" fmla="*/ 345242 h 6557032"/>
              <a:gd name="connsiteX38869" fmla="*/ 2405270 w 4610101"/>
              <a:gd name="connsiteY38869" fmla="*/ 345242 h 6557032"/>
              <a:gd name="connsiteX38870" fmla="*/ 2397981 w 4610101"/>
              <a:gd name="connsiteY38870" fmla="*/ 354354 h 6557032"/>
              <a:gd name="connsiteX38871" fmla="*/ 2403448 w 4610101"/>
              <a:gd name="connsiteY38871" fmla="*/ 361642 h 6557032"/>
              <a:gd name="connsiteX38872" fmla="*/ 2405270 w 4610101"/>
              <a:gd name="connsiteY38872" fmla="*/ 345242 h 6557032"/>
              <a:gd name="connsiteX38873" fmla="*/ 2996793 w 4610101"/>
              <a:gd name="connsiteY38873" fmla="*/ 344787 h 6557032"/>
              <a:gd name="connsiteX38874" fmla="*/ 2993832 w 4610101"/>
              <a:gd name="connsiteY38874" fmla="*/ 347066 h 6557032"/>
              <a:gd name="connsiteX38875" fmla="*/ 3001121 w 4610101"/>
              <a:gd name="connsiteY38875" fmla="*/ 345242 h 6557032"/>
              <a:gd name="connsiteX38876" fmla="*/ 2996793 w 4610101"/>
              <a:gd name="connsiteY38876" fmla="*/ 344787 h 6557032"/>
              <a:gd name="connsiteX38877" fmla="*/ 3389244 w 4610101"/>
              <a:gd name="connsiteY38877" fmla="*/ 343421 h 6557032"/>
              <a:gd name="connsiteX38878" fmla="*/ 3381955 w 4610101"/>
              <a:gd name="connsiteY38878" fmla="*/ 359821 h 6557032"/>
              <a:gd name="connsiteX38879" fmla="*/ 3392888 w 4610101"/>
              <a:gd name="connsiteY38879" fmla="*/ 359821 h 6557032"/>
              <a:gd name="connsiteX38880" fmla="*/ 3398355 w 4610101"/>
              <a:gd name="connsiteY38880" fmla="*/ 345242 h 6557032"/>
              <a:gd name="connsiteX38881" fmla="*/ 3389244 w 4610101"/>
              <a:gd name="connsiteY38881" fmla="*/ 343421 h 6557032"/>
              <a:gd name="connsiteX38882" fmla="*/ 3097696 w 4610101"/>
              <a:gd name="connsiteY38882" fmla="*/ 343421 h 6557032"/>
              <a:gd name="connsiteX38883" fmla="*/ 3097696 w 4610101"/>
              <a:gd name="connsiteY38883" fmla="*/ 348888 h 6557032"/>
              <a:gd name="connsiteX38884" fmla="*/ 3103163 w 4610101"/>
              <a:gd name="connsiteY38884" fmla="*/ 348888 h 6557032"/>
              <a:gd name="connsiteX38885" fmla="*/ 3097696 w 4610101"/>
              <a:gd name="connsiteY38885" fmla="*/ 343421 h 6557032"/>
              <a:gd name="connsiteX38886" fmla="*/ 2425314 w 4610101"/>
              <a:gd name="connsiteY38886" fmla="*/ 343421 h 6557032"/>
              <a:gd name="connsiteX38887" fmla="*/ 2425314 w 4610101"/>
              <a:gd name="connsiteY38887" fmla="*/ 365287 h 6557032"/>
              <a:gd name="connsiteX38888" fmla="*/ 2427136 w 4610101"/>
              <a:gd name="connsiteY38888" fmla="*/ 356176 h 6557032"/>
              <a:gd name="connsiteX38889" fmla="*/ 2432603 w 4610101"/>
              <a:gd name="connsiteY38889" fmla="*/ 357998 h 6557032"/>
              <a:gd name="connsiteX38890" fmla="*/ 2434425 w 4610101"/>
              <a:gd name="connsiteY38890" fmla="*/ 345242 h 6557032"/>
              <a:gd name="connsiteX38891" fmla="*/ 2425314 w 4610101"/>
              <a:gd name="connsiteY38891" fmla="*/ 343421 h 6557032"/>
              <a:gd name="connsiteX38892" fmla="*/ 2008036 w 4610101"/>
              <a:gd name="connsiteY38892" fmla="*/ 343421 h 6557032"/>
              <a:gd name="connsiteX38893" fmla="*/ 2020680 w 4610101"/>
              <a:gd name="connsiteY38893" fmla="*/ 356064 h 6557032"/>
              <a:gd name="connsiteX38894" fmla="*/ 2018969 w 4610101"/>
              <a:gd name="connsiteY38894" fmla="*/ 356176 h 6557032"/>
              <a:gd name="connsiteX38895" fmla="*/ 2007445 w 4610101"/>
              <a:gd name="connsiteY38895" fmla="*/ 345932 h 6557032"/>
              <a:gd name="connsiteX38896" fmla="*/ 3068541 w 4610101"/>
              <a:gd name="connsiteY38896" fmla="*/ 341598 h 6557032"/>
              <a:gd name="connsiteX38897" fmla="*/ 3074008 w 4610101"/>
              <a:gd name="connsiteY38897" fmla="*/ 352532 h 6557032"/>
              <a:gd name="connsiteX38898" fmla="*/ 3074008 w 4610101"/>
              <a:gd name="connsiteY38898" fmla="*/ 345242 h 6557032"/>
              <a:gd name="connsiteX38899" fmla="*/ 3068541 w 4610101"/>
              <a:gd name="connsiteY38899" fmla="*/ 341598 h 6557032"/>
              <a:gd name="connsiteX38900" fmla="*/ 1745643 w 4610101"/>
              <a:gd name="connsiteY38900" fmla="*/ 341598 h 6557032"/>
              <a:gd name="connsiteX38901" fmla="*/ 1762043 w 4610101"/>
              <a:gd name="connsiteY38901" fmla="*/ 356176 h 6557032"/>
              <a:gd name="connsiteX38902" fmla="*/ 1783909 w 4610101"/>
              <a:gd name="connsiteY38902" fmla="*/ 361642 h 6557032"/>
              <a:gd name="connsiteX38903" fmla="*/ 1798487 w 4610101"/>
              <a:gd name="connsiteY38903" fmla="*/ 357998 h 6557032"/>
              <a:gd name="connsiteX38904" fmla="*/ 1845864 w 4610101"/>
              <a:gd name="connsiteY38904" fmla="*/ 409019 h 6557032"/>
              <a:gd name="connsiteX38905" fmla="*/ 1865906 w 4610101"/>
              <a:gd name="connsiteY38905" fmla="*/ 441819 h 6557032"/>
              <a:gd name="connsiteX38906" fmla="*/ 1887773 w 4610101"/>
              <a:gd name="connsiteY38906" fmla="*/ 463684 h 6557032"/>
              <a:gd name="connsiteX38907" fmla="*/ 1884128 w 4610101"/>
              <a:gd name="connsiteY38907" fmla="*/ 547504 h 6557032"/>
              <a:gd name="connsiteX38908" fmla="*/ 1887773 w 4610101"/>
              <a:gd name="connsiteY38908" fmla="*/ 545681 h 6557032"/>
              <a:gd name="connsiteX38909" fmla="*/ 1895061 w 4610101"/>
              <a:gd name="connsiteY38909" fmla="*/ 551148 h 6557032"/>
              <a:gd name="connsiteX38910" fmla="*/ 1922394 w 4610101"/>
              <a:gd name="connsiteY38910" fmla="*/ 543860 h 6557032"/>
              <a:gd name="connsiteX38911" fmla="*/ 1957015 w 4610101"/>
              <a:gd name="connsiteY38911" fmla="*/ 514705 h 6557032"/>
              <a:gd name="connsiteX38912" fmla="*/ 1958837 w 4610101"/>
              <a:gd name="connsiteY38912" fmla="*/ 520171 h 6557032"/>
              <a:gd name="connsiteX38913" fmla="*/ 1961372 w 4610101"/>
              <a:gd name="connsiteY38913" fmla="*/ 518482 h 6557032"/>
              <a:gd name="connsiteX38914" fmla="*/ 1956559 w 4610101"/>
              <a:gd name="connsiteY38914" fmla="*/ 529994 h 6557032"/>
              <a:gd name="connsiteX38915" fmla="*/ 1960659 w 4610101"/>
              <a:gd name="connsiteY38915" fmla="*/ 551148 h 6557032"/>
              <a:gd name="connsiteX38916" fmla="*/ 1947904 w 4610101"/>
              <a:gd name="connsiteY38916" fmla="*/ 536571 h 6557032"/>
              <a:gd name="connsiteX38917" fmla="*/ 1949726 w 4610101"/>
              <a:gd name="connsiteY38917" fmla="*/ 560260 h 6557032"/>
              <a:gd name="connsiteX38918" fmla="*/ 1951549 w 4610101"/>
              <a:gd name="connsiteY38918" fmla="*/ 552970 h 6557032"/>
              <a:gd name="connsiteX38919" fmla="*/ 1949726 w 4610101"/>
              <a:gd name="connsiteY38919" fmla="*/ 574836 h 6557032"/>
              <a:gd name="connsiteX38920" fmla="*/ 1942438 w 4610101"/>
              <a:gd name="connsiteY38920" fmla="*/ 567548 h 6557032"/>
              <a:gd name="connsiteX38921" fmla="*/ 1940616 w 4610101"/>
              <a:gd name="connsiteY38921" fmla="*/ 545681 h 6557032"/>
              <a:gd name="connsiteX38922" fmla="*/ 1940616 w 4610101"/>
              <a:gd name="connsiteY38922" fmla="*/ 558437 h 6557032"/>
              <a:gd name="connsiteX38923" fmla="*/ 1933327 w 4610101"/>
              <a:gd name="connsiteY38923" fmla="*/ 552970 h 6557032"/>
              <a:gd name="connsiteX38924" fmla="*/ 1895061 w 4610101"/>
              <a:gd name="connsiteY38924" fmla="*/ 582125 h 6557032"/>
              <a:gd name="connsiteX38925" fmla="*/ 1882306 w 4610101"/>
              <a:gd name="connsiteY38925" fmla="*/ 576658 h 6557032"/>
              <a:gd name="connsiteX38926" fmla="*/ 1884128 w 4610101"/>
              <a:gd name="connsiteY38926" fmla="*/ 583947 h 6557032"/>
              <a:gd name="connsiteX38927" fmla="*/ 1875017 w 4610101"/>
              <a:gd name="connsiteY38927" fmla="*/ 582125 h 6557032"/>
              <a:gd name="connsiteX38928" fmla="*/ 1873195 w 4610101"/>
              <a:gd name="connsiteY38928" fmla="*/ 593058 h 6557032"/>
              <a:gd name="connsiteX38929" fmla="*/ 1880484 w 4610101"/>
              <a:gd name="connsiteY38929" fmla="*/ 569370 h 6557032"/>
              <a:gd name="connsiteX38930" fmla="*/ 1887773 w 4610101"/>
              <a:gd name="connsiteY38930" fmla="*/ 571192 h 6557032"/>
              <a:gd name="connsiteX38931" fmla="*/ 1885950 w 4610101"/>
              <a:gd name="connsiteY38931" fmla="*/ 563904 h 6557032"/>
              <a:gd name="connsiteX38932" fmla="*/ 1871373 w 4610101"/>
              <a:gd name="connsiteY38932" fmla="*/ 563904 h 6557032"/>
              <a:gd name="connsiteX38933" fmla="*/ 1871373 w 4610101"/>
              <a:gd name="connsiteY38933" fmla="*/ 565725 h 6557032"/>
              <a:gd name="connsiteX38934" fmla="*/ 1862262 w 4610101"/>
              <a:gd name="connsiteY38934" fmla="*/ 573014 h 6557032"/>
              <a:gd name="connsiteX38935" fmla="*/ 1862262 w 4610101"/>
              <a:gd name="connsiteY38935" fmla="*/ 576658 h 6557032"/>
              <a:gd name="connsiteX38936" fmla="*/ 1860440 w 4610101"/>
              <a:gd name="connsiteY38936" fmla="*/ 574836 h 6557032"/>
              <a:gd name="connsiteX38937" fmla="*/ 1860440 w 4610101"/>
              <a:gd name="connsiteY38937" fmla="*/ 596702 h 6557032"/>
              <a:gd name="connsiteX38938" fmla="*/ 1838574 w 4610101"/>
              <a:gd name="connsiteY38938" fmla="*/ 613103 h 6557032"/>
              <a:gd name="connsiteX38939" fmla="*/ 1845864 w 4610101"/>
              <a:gd name="connsiteY38939" fmla="*/ 625857 h 6557032"/>
              <a:gd name="connsiteX38940" fmla="*/ 1822174 w 4610101"/>
              <a:gd name="connsiteY38940" fmla="*/ 625857 h 6557032"/>
              <a:gd name="connsiteX38941" fmla="*/ 1829463 w 4610101"/>
              <a:gd name="connsiteY38941" fmla="*/ 640435 h 6557032"/>
              <a:gd name="connsiteX38942" fmla="*/ 1796664 w 4610101"/>
              <a:gd name="connsiteY38942" fmla="*/ 669589 h 6557032"/>
              <a:gd name="connsiteX38943" fmla="*/ 1783909 w 4610101"/>
              <a:gd name="connsiteY38943" fmla="*/ 662301 h 6557032"/>
              <a:gd name="connsiteX38944" fmla="*/ 1774798 w 4610101"/>
              <a:gd name="connsiteY38944" fmla="*/ 676878 h 6557032"/>
              <a:gd name="connsiteX38945" fmla="*/ 1752932 w 4610101"/>
              <a:gd name="connsiteY38945" fmla="*/ 676878 h 6557032"/>
              <a:gd name="connsiteX38946" fmla="*/ 1738354 w 4610101"/>
              <a:gd name="connsiteY38946" fmla="*/ 669589 h 6557032"/>
              <a:gd name="connsiteX38947" fmla="*/ 1723777 w 4610101"/>
              <a:gd name="connsiteY38947" fmla="*/ 669589 h 6557032"/>
              <a:gd name="connsiteX38948" fmla="*/ 1709200 w 4610101"/>
              <a:gd name="connsiteY38948" fmla="*/ 676878 h 6557032"/>
              <a:gd name="connsiteX38949" fmla="*/ 1694622 w 4610101"/>
              <a:gd name="connsiteY38949" fmla="*/ 667767 h 6557032"/>
              <a:gd name="connsiteX38950" fmla="*/ 1680046 w 4610101"/>
              <a:gd name="connsiteY38950" fmla="*/ 667767 h 6557032"/>
              <a:gd name="connsiteX38951" fmla="*/ 1658179 w 4610101"/>
              <a:gd name="connsiteY38951" fmla="*/ 667767 h 6557032"/>
              <a:gd name="connsiteX38952" fmla="*/ 1567070 w 4610101"/>
              <a:gd name="connsiteY38952" fmla="*/ 593058 h 6557032"/>
              <a:gd name="connsiteX38953" fmla="*/ 1574359 w 4610101"/>
              <a:gd name="connsiteY38953" fmla="*/ 576658 h 6557032"/>
              <a:gd name="connsiteX38954" fmla="*/ 1554315 w 4610101"/>
              <a:gd name="connsiteY38954" fmla="*/ 529282 h 6557032"/>
              <a:gd name="connsiteX38955" fmla="*/ 1550670 w 4610101"/>
              <a:gd name="connsiteY38955" fmla="*/ 507417 h 6557032"/>
              <a:gd name="connsiteX38956" fmla="*/ 1557959 w 4610101"/>
              <a:gd name="connsiteY38956" fmla="*/ 492838 h 6557032"/>
              <a:gd name="connsiteX38957" fmla="*/ 1557959 w 4610101"/>
              <a:gd name="connsiteY38957" fmla="*/ 485550 h 6557032"/>
              <a:gd name="connsiteX38958" fmla="*/ 1543382 w 4610101"/>
              <a:gd name="connsiteY38958" fmla="*/ 454574 h 6557032"/>
              <a:gd name="connsiteX38959" fmla="*/ 1521516 w 4610101"/>
              <a:gd name="connsiteY38959" fmla="*/ 447284 h 6557032"/>
              <a:gd name="connsiteX38960" fmla="*/ 1567070 w 4610101"/>
              <a:gd name="connsiteY38960" fmla="*/ 425419 h 6557032"/>
              <a:gd name="connsiteX38961" fmla="*/ 1567070 w 4610101"/>
              <a:gd name="connsiteY38961" fmla="*/ 418129 h 6557032"/>
              <a:gd name="connsiteX38962" fmla="*/ 1567070 w 4610101"/>
              <a:gd name="connsiteY38962" fmla="*/ 403552 h 6557032"/>
              <a:gd name="connsiteX38963" fmla="*/ 1585292 w 4610101"/>
              <a:gd name="connsiteY38963" fmla="*/ 390797 h 6557032"/>
              <a:gd name="connsiteX38964" fmla="*/ 1605336 w 4610101"/>
              <a:gd name="connsiteY38964" fmla="*/ 405375 h 6557032"/>
              <a:gd name="connsiteX38965" fmla="*/ 1645423 w 4610101"/>
              <a:gd name="connsiteY38965" fmla="*/ 359821 h 6557032"/>
              <a:gd name="connsiteX38966" fmla="*/ 1658179 w 4610101"/>
              <a:gd name="connsiteY38966" fmla="*/ 367109 h 6557032"/>
              <a:gd name="connsiteX38967" fmla="*/ 1705555 w 4610101"/>
              <a:gd name="connsiteY38967" fmla="*/ 345242 h 6557032"/>
              <a:gd name="connsiteX38968" fmla="*/ 1718310 w 4610101"/>
              <a:gd name="connsiteY38968" fmla="*/ 350710 h 6557032"/>
              <a:gd name="connsiteX38969" fmla="*/ 3043031 w 4610101"/>
              <a:gd name="connsiteY38969" fmla="*/ 339777 h 6557032"/>
              <a:gd name="connsiteX38970" fmla="*/ 3039387 w 4610101"/>
              <a:gd name="connsiteY38970" fmla="*/ 348888 h 6557032"/>
              <a:gd name="connsiteX38971" fmla="*/ 3043031 w 4610101"/>
              <a:gd name="connsiteY38971" fmla="*/ 339777 h 6557032"/>
              <a:gd name="connsiteX38972" fmla="*/ 3084941 w 4610101"/>
              <a:gd name="connsiteY38972" fmla="*/ 337954 h 6557032"/>
              <a:gd name="connsiteX38973" fmla="*/ 3088585 w 4610101"/>
              <a:gd name="connsiteY38973" fmla="*/ 343421 h 6557032"/>
              <a:gd name="connsiteX38974" fmla="*/ 3084941 w 4610101"/>
              <a:gd name="connsiteY38974" fmla="*/ 337954 h 6557032"/>
              <a:gd name="connsiteX38975" fmla="*/ 2979255 w 4610101"/>
              <a:gd name="connsiteY38975" fmla="*/ 337954 h 6557032"/>
              <a:gd name="connsiteX38976" fmla="*/ 2982899 w 4610101"/>
              <a:gd name="connsiteY38976" fmla="*/ 347066 h 6557032"/>
              <a:gd name="connsiteX38977" fmla="*/ 2979255 w 4610101"/>
              <a:gd name="connsiteY38977" fmla="*/ 337954 h 6557032"/>
              <a:gd name="connsiteX38978" fmla="*/ 3435659 w 4610101"/>
              <a:gd name="connsiteY38978" fmla="*/ 337070 h 6557032"/>
              <a:gd name="connsiteX38979" fmla="*/ 3435938 w 4610101"/>
              <a:gd name="connsiteY38979" fmla="*/ 337271 h 6557032"/>
              <a:gd name="connsiteX38980" fmla="*/ 3436621 w 4610101"/>
              <a:gd name="connsiteY38980" fmla="*/ 338949 h 6557032"/>
              <a:gd name="connsiteX38981" fmla="*/ 3436621 w 4610101"/>
              <a:gd name="connsiteY38981" fmla="*/ 339777 h 6557032"/>
              <a:gd name="connsiteX38982" fmla="*/ 3383777 w 4610101"/>
              <a:gd name="connsiteY38982" fmla="*/ 336133 h 6557032"/>
              <a:gd name="connsiteX38983" fmla="*/ 3381955 w 4610101"/>
              <a:gd name="connsiteY38983" fmla="*/ 343421 h 6557032"/>
              <a:gd name="connsiteX38984" fmla="*/ 3385600 w 4610101"/>
              <a:gd name="connsiteY38984" fmla="*/ 341598 h 6557032"/>
              <a:gd name="connsiteX38985" fmla="*/ 3383777 w 4610101"/>
              <a:gd name="connsiteY38985" fmla="*/ 336133 h 6557032"/>
              <a:gd name="connsiteX38986" fmla="*/ 3168761 w 4610101"/>
              <a:gd name="connsiteY38986" fmla="*/ 336133 h 6557032"/>
              <a:gd name="connsiteX38987" fmla="*/ 3177872 w 4610101"/>
              <a:gd name="connsiteY38987" fmla="*/ 339777 h 6557032"/>
              <a:gd name="connsiteX38988" fmla="*/ 3168761 w 4610101"/>
              <a:gd name="connsiteY38988" fmla="*/ 336133 h 6557032"/>
              <a:gd name="connsiteX38989" fmla="*/ 2361538 w 4610101"/>
              <a:gd name="connsiteY38989" fmla="*/ 334310 h 6557032"/>
              <a:gd name="connsiteX38990" fmla="*/ 2356071 w 4610101"/>
              <a:gd name="connsiteY38990" fmla="*/ 339777 h 6557032"/>
              <a:gd name="connsiteX38991" fmla="*/ 2359716 w 4610101"/>
              <a:gd name="connsiteY38991" fmla="*/ 337954 h 6557032"/>
              <a:gd name="connsiteX38992" fmla="*/ 2359716 w 4610101"/>
              <a:gd name="connsiteY38992" fmla="*/ 345242 h 6557032"/>
              <a:gd name="connsiteX38993" fmla="*/ 2361538 w 4610101"/>
              <a:gd name="connsiteY38993" fmla="*/ 334310 h 6557032"/>
              <a:gd name="connsiteX38994" fmla="*/ 3330934 w 4610101"/>
              <a:gd name="connsiteY38994" fmla="*/ 332488 h 6557032"/>
              <a:gd name="connsiteX38995" fmla="*/ 3332756 w 4610101"/>
              <a:gd name="connsiteY38995" fmla="*/ 352532 h 6557032"/>
              <a:gd name="connsiteX38996" fmla="*/ 3336401 w 4610101"/>
              <a:gd name="connsiteY38996" fmla="*/ 343421 h 6557032"/>
              <a:gd name="connsiteX38997" fmla="*/ 3330934 w 4610101"/>
              <a:gd name="connsiteY38997" fmla="*/ 332488 h 6557032"/>
              <a:gd name="connsiteX38998" fmla="*/ 2544122 w 4610101"/>
              <a:gd name="connsiteY38998" fmla="*/ 330784 h 6557032"/>
              <a:gd name="connsiteX38999" fmla="*/ 2544666 w 4610101"/>
              <a:gd name="connsiteY38999" fmla="*/ 339093 h 6557032"/>
              <a:gd name="connsiteX39000" fmla="*/ 2550890 w 4610101"/>
              <a:gd name="connsiteY39000" fmla="*/ 348651 h 6557032"/>
              <a:gd name="connsiteX39001" fmla="*/ 2543755 w 4610101"/>
              <a:gd name="connsiteY39001" fmla="*/ 347066 h 6557032"/>
              <a:gd name="connsiteX39002" fmla="*/ 3349156 w 4610101"/>
              <a:gd name="connsiteY39002" fmla="*/ 330666 h 6557032"/>
              <a:gd name="connsiteX39003" fmla="*/ 3338223 w 4610101"/>
              <a:gd name="connsiteY39003" fmla="*/ 356176 h 6557032"/>
              <a:gd name="connsiteX39004" fmla="*/ 3347334 w 4610101"/>
              <a:gd name="connsiteY39004" fmla="*/ 361642 h 6557032"/>
              <a:gd name="connsiteX39005" fmla="*/ 3347334 w 4610101"/>
              <a:gd name="connsiteY39005" fmla="*/ 356176 h 6557032"/>
              <a:gd name="connsiteX39006" fmla="*/ 3365556 w 4610101"/>
              <a:gd name="connsiteY39006" fmla="*/ 370754 h 6557032"/>
              <a:gd name="connsiteX39007" fmla="*/ 3360089 w 4610101"/>
              <a:gd name="connsiteY39007" fmla="*/ 332488 h 6557032"/>
              <a:gd name="connsiteX39008" fmla="*/ 3365556 w 4610101"/>
              <a:gd name="connsiteY39008" fmla="*/ 352532 h 6557032"/>
              <a:gd name="connsiteX39009" fmla="*/ 3356445 w 4610101"/>
              <a:gd name="connsiteY39009" fmla="*/ 343421 h 6557032"/>
              <a:gd name="connsiteX39010" fmla="*/ 3347334 w 4610101"/>
              <a:gd name="connsiteY39010" fmla="*/ 347066 h 6557032"/>
              <a:gd name="connsiteX39011" fmla="*/ 3349156 w 4610101"/>
              <a:gd name="connsiteY39011" fmla="*/ 330666 h 6557032"/>
              <a:gd name="connsiteX39012" fmla="*/ 1987992 w 4610101"/>
              <a:gd name="connsiteY39012" fmla="*/ 330666 h 6557032"/>
              <a:gd name="connsiteX39013" fmla="*/ 1997103 w 4610101"/>
              <a:gd name="connsiteY39013" fmla="*/ 336133 h 6557032"/>
              <a:gd name="connsiteX39014" fmla="*/ 1995281 w 4610101"/>
              <a:gd name="connsiteY39014" fmla="*/ 332488 h 6557032"/>
              <a:gd name="connsiteX39015" fmla="*/ 2002570 w 4610101"/>
              <a:gd name="connsiteY39015" fmla="*/ 332488 h 6557032"/>
              <a:gd name="connsiteX39016" fmla="*/ 2002570 w 4610101"/>
              <a:gd name="connsiteY39016" fmla="*/ 341598 h 6557032"/>
              <a:gd name="connsiteX39017" fmla="*/ 2007445 w 4610101"/>
              <a:gd name="connsiteY39017" fmla="*/ 345932 h 6557032"/>
              <a:gd name="connsiteX39018" fmla="*/ 2007125 w 4610101"/>
              <a:gd name="connsiteY39018" fmla="*/ 347293 h 6557032"/>
              <a:gd name="connsiteX39019" fmla="*/ 2006214 w 4610101"/>
              <a:gd name="connsiteY39019" fmla="*/ 352532 h 6557032"/>
              <a:gd name="connsiteX39020" fmla="*/ 1998925 w 4610101"/>
              <a:gd name="connsiteY39020" fmla="*/ 337954 h 6557032"/>
              <a:gd name="connsiteX39021" fmla="*/ 1989814 w 4610101"/>
              <a:gd name="connsiteY39021" fmla="*/ 332488 h 6557032"/>
              <a:gd name="connsiteX39022" fmla="*/ 1989814 w 4610101"/>
              <a:gd name="connsiteY39022" fmla="*/ 343421 h 6557032"/>
              <a:gd name="connsiteX39023" fmla="*/ 1987992 w 4610101"/>
              <a:gd name="connsiteY39023" fmla="*/ 330666 h 6557032"/>
              <a:gd name="connsiteX39024" fmla="*/ 3301780 w 4610101"/>
              <a:gd name="connsiteY39024" fmla="*/ 328844 h 6557032"/>
              <a:gd name="connsiteX39025" fmla="*/ 3305424 w 4610101"/>
              <a:gd name="connsiteY39025" fmla="*/ 336133 h 6557032"/>
              <a:gd name="connsiteX39026" fmla="*/ 3301780 w 4610101"/>
              <a:gd name="connsiteY39026" fmla="*/ 328844 h 6557032"/>
              <a:gd name="connsiteX39027" fmla="*/ 2365182 w 4610101"/>
              <a:gd name="connsiteY39027" fmla="*/ 328844 h 6557032"/>
              <a:gd name="connsiteX39028" fmla="*/ 2366631 w 4610101"/>
              <a:gd name="connsiteY39028" fmla="*/ 333190 h 6557032"/>
              <a:gd name="connsiteX39029" fmla="*/ 2363198 w 4610101"/>
              <a:gd name="connsiteY39029" fmla="*/ 333630 h 6557032"/>
              <a:gd name="connsiteX39030" fmla="*/ 3265336 w 4610101"/>
              <a:gd name="connsiteY39030" fmla="*/ 327022 h 6557032"/>
              <a:gd name="connsiteX39031" fmla="*/ 3261692 w 4610101"/>
              <a:gd name="connsiteY39031" fmla="*/ 343421 h 6557032"/>
              <a:gd name="connsiteX39032" fmla="*/ 3270803 w 4610101"/>
              <a:gd name="connsiteY39032" fmla="*/ 330666 h 6557032"/>
              <a:gd name="connsiteX39033" fmla="*/ 3265336 w 4610101"/>
              <a:gd name="connsiteY39033" fmla="*/ 327022 h 6557032"/>
              <a:gd name="connsiteX39034" fmla="*/ 3106807 w 4610101"/>
              <a:gd name="connsiteY39034" fmla="*/ 327022 h 6557032"/>
              <a:gd name="connsiteX39035" fmla="*/ 3104985 w 4610101"/>
              <a:gd name="connsiteY39035" fmla="*/ 332488 h 6557032"/>
              <a:gd name="connsiteX39036" fmla="*/ 3110451 w 4610101"/>
              <a:gd name="connsiteY39036" fmla="*/ 334310 h 6557032"/>
              <a:gd name="connsiteX39037" fmla="*/ 3106807 w 4610101"/>
              <a:gd name="connsiteY39037" fmla="*/ 327022 h 6557032"/>
              <a:gd name="connsiteX39038" fmla="*/ 2321450 w 4610101"/>
              <a:gd name="connsiteY39038" fmla="*/ 327022 h 6557032"/>
              <a:gd name="connsiteX39039" fmla="*/ 2301406 w 4610101"/>
              <a:gd name="connsiteY39039" fmla="*/ 347066 h 6557032"/>
              <a:gd name="connsiteX39040" fmla="*/ 2301406 w 4610101"/>
              <a:gd name="connsiteY39040" fmla="*/ 339777 h 6557032"/>
              <a:gd name="connsiteX39041" fmla="*/ 2292295 w 4610101"/>
              <a:gd name="connsiteY39041" fmla="*/ 347066 h 6557032"/>
              <a:gd name="connsiteX39042" fmla="*/ 2290473 w 4610101"/>
              <a:gd name="connsiteY39042" fmla="*/ 339777 h 6557032"/>
              <a:gd name="connsiteX39043" fmla="*/ 2283184 w 4610101"/>
              <a:gd name="connsiteY39043" fmla="*/ 359821 h 6557032"/>
              <a:gd name="connsiteX39044" fmla="*/ 2290473 w 4610101"/>
              <a:gd name="connsiteY39044" fmla="*/ 359821 h 6557032"/>
              <a:gd name="connsiteX39045" fmla="*/ 2297762 w 4610101"/>
              <a:gd name="connsiteY39045" fmla="*/ 359821 h 6557032"/>
              <a:gd name="connsiteX39046" fmla="*/ 2303228 w 4610101"/>
              <a:gd name="connsiteY39046" fmla="*/ 345242 h 6557032"/>
              <a:gd name="connsiteX39047" fmla="*/ 2306873 w 4610101"/>
              <a:gd name="connsiteY39047" fmla="*/ 352532 h 6557032"/>
              <a:gd name="connsiteX39048" fmla="*/ 2306873 w 4610101"/>
              <a:gd name="connsiteY39048" fmla="*/ 343421 h 6557032"/>
              <a:gd name="connsiteX39049" fmla="*/ 2312339 w 4610101"/>
              <a:gd name="connsiteY39049" fmla="*/ 345242 h 6557032"/>
              <a:gd name="connsiteX39050" fmla="*/ 2305050 w 4610101"/>
              <a:gd name="connsiteY39050" fmla="*/ 359821 h 6557032"/>
              <a:gd name="connsiteX39051" fmla="*/ 2310517 w 4610101"/>
              <a:gd name="connsiteY39051" fmla="*/ 359821 h 6557032"/>
              <a:gd name="connsiteX39052" fmla="*/ 2315983 w 4610101"/>
              <a:gd name="connsiteY39052" fmla="*/ 352532 h 6557032"/>
              <a:gd name="connsiteX39053" fmla="*/ 2323272 w 4610101"/>
              <a:gd name="connsiteY39053" fmla="*/ 357998 h 6557032"/>
              <a:gd name="connsiteX39054" fmla="*/ 2325094 w 4610101"/>
              <a:gd name="connsiteY39054" fmla="*/ 354354 h 6557032"/>
              <a:gd name="connsiteX39055" fmla="*/ 2326916 w 4610101"/>
              <a:gd name="connsiteY39055" fmla="*/ 363465 h 6557032"/>
              <a:gd name="connsiteX39056" fmla="*/ 2330561 w 4610101"/>
              <a:gd name="connsiteY39056" fmla="*/ 348888 h 6557032"/>
              <a:gd name="connsiteX39057" fmla="*/ 2328739 w 4610101"/>
              <a:gd name="connsiteY39057" fmla="*/ 354354 h 6557032"/>
              <a:gd name="connsiteX39058" fmla="*/ 2314161 w 4610101"/>
              <a:gd name="connsiteY39058" fmla="*/ 343421 h 6557032"/>
              <a:gd name="connsiteX39059" fmla="*/ 2323272 w 4610101"/>
              <a:gd name="connsiteY39059" fmla="*/ 334310 h 6557032"/>
              <a:gd name="connsiteX39060" fmla="*/ 2343316 w 4610101"/>
              <a:gd name="connsiteY39060" fmla="*/ 336133 h 6557032"/>
              <a:gd name="connsiteX39061" fmla="*/ 2341494 w 4610101"/>
              <a:gd name="connsiteY39061" fmla="*/ 330666 h 6557032"/>
              <a:gd name="connsiteX39062" fmla="*/ 2337850 w 4610101"/>
              <a:gd name="connsiteY39062" fmla="*/ 334310 h 6557032"/>
              <a:gd name="connsiteX39063" fmla="*/ 2336027 w 4610101"/>
              <a:gd name="connsiteY39063" fmla="*/ 327022 h 6557032"/>
              <a:gd name="connsiteX39064" fmla="*/ 2321450 w 4610101"/>
              <a:gd name="connsiteY39064" fmla="*/ 327022 h 6557032"/>
              <a:gd name="connsiteX39065" fmla="*/ 3363734 w 4610101"/>
              <a:gd name="connsiteY39065" fmla="*/ 325199 h 6557032"/>
              <a:gd name="connsiteX39066" fmla="*/ 3363734 w 4610101"/>
              <a:gd name="connsiteY39066" fmla="*/ 330666 h 6557032"/>
              <a:gd name="connsiteX39067" fmla="*/ 3365556 w 4610101"/>
              <a:gd name="connsiteY39067" fmla="*/ 330666 h 6557032"/>
              <a:gd name="connsiteX39068" fmla="*/ 3363734 w 4610101"/>
              <a:gd name="connsiteY39068" fmla="*/ 325199 h 6557032"/>
              <a:gd name="connsiteX39069" fmla="*/ 3238003 w 4610101"/>
              <a:gd name="connsiteY39069" fmla="*/ 325199 h 6557032"/>
              <a:gd name="connsiteX39070" fmla="*/ 3232537 w 4610101"/>
              <a:gd name="connsiteY39070" fmla="*/ 339777 h 6557032"/>
              <a:gd name="connsiteX39071" fmla="*/ 3238003 w 4610101"/>
              <a:gd name="connsiteY39071" fmla="*/ 325199 h 6557032"/>
              <a:gd name="connsiteX39072" fmla="*/ 2543755 w 4610101"/>
              <a:gd name="connsiteY39072" fmla="*/ 325199 h 6557032"/>
              <a:gd name="connsiteX39073" fmla="*/ 2544392 w 4610101"/>
              <a:gd name="connsiteY39073" fmla="*/ 325570 h 6557032"/>
              <a:gd name="connsiteX39074" fmla="*/ 2544211 w 4610101"/>
              <a:gd name="connsiteY39074" fmla="*/ 326793 h 6557032"/>
              <a:gd name="connsiteX39075" fmla="*/ 2544122 w 4610101"/>
              <a:gd name="connsiteY39075" fmla="*/ 330784 h 6557032"/>
              <a:gd name="connsiteX39076" fmla="*/ 3356771 w 4610101"/>
              <a:gd name="connsiteY39076" fmla="*/ 323606 h 6557032"/>
              <a:gd name="connsiteX39077" fmla="*/ 3357513 w 4610101"/>
              <a:gd name="connsiteY39077" fmla="*/ 324131 h 6557032"/>
              <a:gd name="connsiteX39078" fmla="*/ 3356445 w 4610101"/>
              <a:gd name="connsiteY39078" fmla="*/ 325199 h 6557032"/>
              <a:gd name="connsiteX39079" fmla="*/ 3414754 w 4610101"/>
              <a:gd name="connsiteY39079" fmla="*/ 323377 h 6557032"/>
              <a:gd name="connsiteX39080" fmla="*/ 3398355 w 4610101"/>
              <a:gd name="connsiteY39080" fmla="*/ 337954 h 6557032"/>
              <a:gd name="connsiteX39081" fmla="*/ 3412932 w 4610101"/>
              <a:gd name="connsiteY39081" fmla="*/ 334310 h 6557032"/>
              <a:gd name="connsiteX39082" fmla="*/ 3409288 w 4610101"/>
              <a:gd name="connsiteY39082" fmla="*/ 330666 h 6557032"/>
              <a:gd name="connsiteX39083" fmla="*/ 3416577 w 4610101"/>
              <a:gd name="connsiteY39083" fmla="*/ 332488 h 6557032"/>
              <a:gd name="connsiteX39084" fmla="*/ 3325468 w 4610101"/>
              <a:gd name="connsiteY39084" fmla="*/ 323377 h 6557032"/>
              <a:gd name="connsiteX39085" fmla="*/ 3321824 w 4610101"/>
              <a:gd name="connsiteY39085" fmla="*/ 332488 h 6557032"/>
              <a:gd name="connsiteX39086" fmla="*/ 3325468 w 4610101"/>
              <a:gd name="connsiteY39086" fmla="*/ 330666 h 6557032"/>
              <a:gd name="connsiteX39087" fmla="*/ 3325468 w 4610101"/>
              <a:gd name="connsiteY39087" fmla="*/ 323377 h 6557032"/>
              <a:gd name="connsiteX39088" fmla="*/ 3450637 w 4610101"/>
              <a:gd name="connsiteY39088" fmla="*/ 322536 h 6557032"/>
              <a:gd name="connsiteX39089" fmla="*/ 3453476 w 4610101"/>
              <a:gd name="connsiteY39089" fmla="*/ 326793 h 6557032"/>
              <a:gd name="connsiteX39090" fmla="*/ 3456671 w 4610101"/>
              <a:gd name="connsiteY39090" fmla="*/ 329568 h 6557032"/>
              <a:gd name="connsiteX39091" fmla="*/ 3454842 w 4610101"/>
              <a:gd name="connsiteY39091" fmla="*/ 330666 h 6557032"/>
              <a:gd name="connsiteX39092" fmla="*/ 3449376 w 4610101"/>
              <a:gd name="connsiteY39092" fmla="*/ 323377 h 6557032"/>
              <a:gd name="connsiteX39093" fmla="*/ 3010232 w 4610101"/>
              <a:gd name="connsiteY39093" fmla="*/ 321555 h 6557032"/>
              <a:gd name="connsiteX39094" fmla="*/ 3012054 w 4610101"/>
              <a:gd name="connsiteY39094" fmla="*/ 341598 h 6557032"/>
              <a:gd name="connsiteX39095" fmla="*/ 3010232 w 4610101"/>
              <a:gd name="connsiteY39095" fmla="*/ 321555 h 6557032"/>
              <a:gd name="connsiteX39096" fmla="*/ 2314161 w 4610101"/>
              <a:gd name="connsiteY39096" fmla="*/ 321555 h 6557032"/>
              <a:gd name="connsiteX39097" fmla="*/ 2305050 w 4610101"/>
              <a:gd name="connsiteY39097" fmla="*/ 323377 h 6557032"/>
              <a:gd name="connsiteX39098" fmla="*/ 2306873 w 4610101"/>
              <a:gd name="connsiteY39098" fmla="*/ 328844 h 6557032"/>
              <a:gd name="connsiteX39099" fmla="*/ 2314161 w 4610101"/>
              <a:gd name="connsiteY39099" fmla="*/ 321555 h 6557032"/>
              <a:gd name="connsiteX39100" fmla="*/ 2521889 w 4610101"/>
              <a:gd name="connsiteY39100" fmla="*/ 319733 h 6557032"/>
              <a:gd name="connsiteX39101" fmla="*/ 2512778 w 4610101"/>
              <a:gd name="connsiteY39101" fmla="*/ 325199 h 6557032"/>
              <a:gd name="connsiteX39102" fmla="*/ 2521889 w 4610101"/>
              <a:gd name="connsiteY39102" fmla="*/ 327022 h 6557032"/>
              <a:gd name="connsiteX39103" fmla="*/ 2521889 w 4610101"/>
              <a:gd name="connsiteY39103" fmla="*/ 319733 h 6557032"/>
              <a:gd name="connsiteX39104" fmla="*/ 1973416 w 4610101"/>
              <a:gd name="connsiteY39104" fmla="*/ 319733 h 6557032"/>
              <a:gd name="connsiteX39105" fmla="*/ 1982527 w 4610101"/>
              <a:gd name="connsiteY39105" fmla="*/ 327022 h 6557032"/>
              <a:gd name="connsiteX39106" fmla="*/ 1973416 w 4610101"/>
              <a:gd name="connsiteY39106" fmla="*/ 319733 h 6557032"/>
              <a:gd name="connsiteX39107" fmla="*/ 1929682 w 4610101"/>
              <a:gd name="connsiteY39107" fmla="*/ 317928 h 6557032"/>
              <a:gd name="connsiteX39108" fmla="*/ 1933327 w 4610101"/>
              <a:gd name="connsiteY39108" fmla="*/ 319750 h 6557032"/>
              <a:gd name="connsiteX39109" fmla="*/ 1935149 w 4610101"/>
              <a:gd name="connsiteY39109" fmla="*/ 330683 h 6557032"/>
              <a:gd name="connsiteX39110" fmla="*/ 1927861 w 4610101"/>
              <a:gd name="connsiteY39110" fmla="*/ 334328 h 6557032"/>
              <a:gd name="connsiteX39111" fmla="*/ 1929682 w 4610101"/>
              <a:gd name="connsiteY39111" fmla="*/ 317928 h 6557032"/>
              <a:gd name="connsiteX39112" fmla="*/ 2664019 w 4610101"/>
              <a:gd name="connsiteY39112" fmla="*/ 316089 h 6557032"/>
              <a:gd name="connsiteX39113" fmla="*/ 2669485 w 4610101"/>
              <a:gd name="connsiteY39113" fmla="*/ 316089 h 6557032"/>
              <a:gd name="connsiteX39114" fmla="*/ 2669485 w 4610101"/>
              <a:gd name="connsiteY39114" fmla="*/ 321555 h 6557032"/>
              <a:gd name="connsiteX39115" fmla="*/ 2664019 w 4610101"/>
              <a:gd name="connsiteY39115" fmla="*/ 316089 h 6557032"/>
              <a:gd name="connsiteX39116" fmla="*/ 2108256 w 4610101"/>
              <a:gd name="connsiteY39116" fmla="*/ 316089 h 6557032"/>
              <a:gd name="connsiteX39117" fmla="*/ 2099145 w 4610101"/>
              <a:gd name="connsiteY39117" fmla="*/ 327022 h 6557032"/>
              <a:gd name="connsiteX39118" fmla="*/ 2106433 w 4610101"/>
              <a:gd name="connsiteY39118" fmla="*/ 325199 h 6557032"/>
              <a:gd name="connsiteX39119" fmla="*/ 2097323 w 4610101"/>
              <a:gd name="connsiteY39119" fmla="*/ 336133 h 6557032"/>
              <a:gd name="connsiteX39120" fmla="*/ 2100967 w 4610101"/>
              <a:gd name="connsiteY39120" fmla="*/ 341598 h 6557032"/>
              <a:gd name="connsiteX39121" fmla="*/ 2168387 w 4610101"/>
              <a:gd name="connsiteY39121" fmla="*/ 350710 h 6557032"/>
              <a:gd name="connsiteX39122" fmla="*/ 2142877 w 4610101"/>
              <a:gd name="connsiteY39122" fmla="*/ 321555 h 6557032"/>
              <a:gd name="connsiteX39123" fmla="*/ 2128300 w 4610101"/>
              <a:gd name="connsiteY39123" fmla="*/ 317911 h 6557032"/>
              <a:gd name="connsiteX39124" fmla="*/ 2121011 w 4610101"/>
              <a:gd name="connsiteY39124" fmla="*/ 323377 h 6557032"/>
              <a:gd name="connsiteX39125" fmla="*/ 2122833 w 4610101"/>
              <a:gd name="connsiteY39125" fmla="*/ 330666 h 6557032"/>
              <a:gd name="connsiteX39126" fmla="*/ 2115544 w 4610101"/>
              <a:gd name="connsiteY39126" fmla="*/ 319733 h 6557032"/>
              <a:gd name="connsiteX39127" fmla="*/ 2108256 w 4610101"/>
              <a:gd name="connsiteY39127" fmla="*/ 323377 h 6557032"/>
              <a:gd name="connsiteX39128" fmla="*/ 2108256 w 4610101"/>
              <a:gd name="connsiteY39128" fmla="*/ 316089 h 6557032"/>
              <a:gd name="connsiteX39129" fmla="*/ 3245292 w 4610101"/>
              <a:gd name="connsiteY39129" fmla="*/ 312444 h 6557032"/>
              <a:gd name="connsiteX39130" fmla="*/ 3250759 w 4610101"/>
              <a:gd name="connsiteY39130" fmla="*/ 325199 h 6557032"/>
              <a:gd name="connsiteX39131" fmla="*/ 3254403 w 4610101"/>
              <a:gd name="connsiteY39131" fmla="*/ 325199 h 6557032"/>
              <a:gd name="connsiteX39132" fmla="*/ 3245292 w 4610101"/>
              <a:gd name="connsiteY39132" fmla="*/ 312444 h 6557032"/>
              <a:gd name="connsiteX39133" fmla="*/ 2674952 w 4610101"/>
              <a:gd name="connsiteY39133" fmla="*/ 312444 h 6557032"/>
              <a:gd name="connsiteX39134" fmla="*/ 2680418 w 4610101"/>
              <a:gd name="connsiteY39134" fmla="*/ 314266 h 6557032"/>
              <a:gd name="connsiteX39135" fmla="*/ 2674952 w 4610101"/>
              <a:gd name="connsiteY39135" fmla="*/ 312444 h 6557032"/>
              <a:gd name="connsiteX39136" fmla="*/ 2150166 w 4610101"/>
              <a:gd name="connsiteY39136" fmla="*/ 312444 h 6557032"/>
              <a:gd name="connsiteX39137" fmla="*/ 2144699 w 4610101"/>
              <a:gd name="connsiteY39137" fmla="*/ 314266 h 6557032"/>
              <a:gd name="connsiteX39138" fmla="*/ 2151988 w 4610101"/>
              <a:gd name="connsiteY39138" fmla="*/ 319733 h 6557032"/>
              <a:gd name="connsiteX39139" fmla="*/ 2150166 w 4610101"/>
              <a:gd name="connsiteY39139" fmla="*/ 312444 h 6557032"/>
              <a:gd name="connsiteX39140" fmla="*/ 2294573 w 4610101"/>
              <a:gd name="connsiteY39140" fmla="*/ 310394 h 6557032"/>
              <a:gd name="connsiteX39141" fmla="*/ 2288651 w 4610101"/>
              <a:gd name="connsiteY39141" fmla="*/ 312444 h 6557032"/>
              <a:gd name="connsiteX39142" fmla="*/ 2288651 w 4610101"/>
              <a:gd name="connsiteY39142" fmla="*/ 316089 h 6557032"/>
              <a:gd name="connsiteX39143" fmla="*/ 2281362 w 4610101"/>
              <a:gd name="connsiteY39143" fmla="*/ 312444 h 6557032"/>
              <a:gd name="connsiteX39144" fmla="*/ 2275896 w 4610101"/>
              <a:gd name="connsiteY39144" fmla="*/ 316089 h 6557032"/>
              <a:gd name="connsiteX39145" fmla="*/ 2285007 w 4610101"/>
              <a:gd name="connsiteY39145" fmla="*/ 327022 h 6557032"/>
              <a:gd name="connsiteX39146" fmla="*/ 2295940 w 4610101"/>
              <a:gd name="connsiteY39146" fmla="*/ 323377 h 6557032"/>
              <a:gd name="connsiteX39147" fmla="*/ 2297762 w 4610101"/>
              <a:gd name="connsiteY39147" fmla="*/ 316089 h 6557032"/>
              <a:gd name="connsiteX39148" fmla="*/ 2294117 w 4610101"/>
              <a:gd name="connsiteY39148" fmla="*/ 321555 h 6557032"/>
              <a:gd name="connsiteX39149" fmla="*/ 2297762 w 4610101"/>
              <a:gd name="connsiteY39149" fmla="*/ 312444 h 6557032"/>
              <a:gd name="connsiteX39150" fmla="*/ 2294573 w 4610101"/>
              <a:gd name="connsiteY39150" fmla="*/ 310394 h 6557032"/>
              <a:gd name="connsiteX39151" fmla="*/ 3453020 w 4610101"/>
              <a:gd name="connsiteY39151" fmla="*/ 308800 h 6557032"/>
              <a:gd name="connsiteX39152" fmla="*/ 3460309 w 4610101"/>
              <a:gd name="connsiteY39152" fmla="*/ 316089 h 6557032"/>
              <a:gd name="connsiteX39153" fmla="*/ 3450637 w 4610101"/>
              <a:gd name="connsiteY39153" fmla="*/ 322536 h 6557032"/>
              <a:gd name="connsiteX39154" fmla="*/ 3447553 w 4610101"/>
              <a:gd name="connsiteY39154" fmla="*/ 317911 h 6557032"/>
              <a:gd name="connsiteX39155" fmla="*/ 3451198 w 4610101"/>
              <a:gd name="connsiteY39155" fmla="*/ 319733 h 6557032"/>
              <a:gd name="connsiteX39156" fmla="*/ 3453020 w 4610101"/>
              <a:gd name="connsiteY39156" fmla="*/ 308800 h 6557032"/>
              <a:gd name="connsiteX39157" fmla="*/ 2964677 w 4610101"/>
              <a:gd name="connsiteY39157" fmla="*/ 308800 h 6557032"/>
              <a:gd name="connsiteX39158" fmla="*/ 2962855 w 4610101"/>
              <a:gd name="connsiteY39158" fmla="*/ 319733 h 6557032"/>
              <a:gd name="connsiteX39159" fmla="*/ 2964677 w 4610101"/>
              <a:gd name="connsiteY39159" fmla="*/ 308800 h 6557032"/>
              <a:gd name="connsiteX39160" fmla="*/ 3336401 w 4610101"/>
              <a:gd name="connsiteY39160" fmla="*/ 306978 h 6557032"/>
              <a:gd name="connsiteX39161" fmla="*/ 3329112 w 4610101"/>
              <a:gd name="connsiteY39161" fmla="*/ 323377 h 6557032"/>
              <a:gd name="connsiteX39162" fmla="*/ 3332756 w 4610101"/>
              <a:gd name="connsiteY39162" fmla="*/ 310622 h 6557032"/>
              <a:gd name="connsiteX39163" fmla="*/ 3340045 w 4610101"/>
              <a:gd name="connsiteY39163" fmla="*/ 319733 h 6557032"/>
              <a:gd name="connsiteX39164" fmla="*/ 3336401 w 4610101"/>
              <a:gd name="connsiteY39164" fmla="*/ 306978 h 6557032"/>
              <a:gd name="connsiteX39165" fmla="*/ 2968322 w 4610101"/>
              <a:gd name="connsiteY39165" fmla="*/ 306978 h 6557032"/>
              <a:gd name="connsiteX39166" fmla="*/ 2970144 w 4610101"/>
              <a:gd name="connsiteY39166" fmla="*/ 323377 h 6557032"/>
              <a:gd name="connsiteX39167" fmla="*/ 2975610 w 4610101"/>
              <a:gd name="connsiteY39167" fmla="*/ 323377 h 6557032"/>
              <a:gd name="connsiteX39168" fmla="*/ 2968322 w 4610101"/>
              <a:gd name="connsiteY39168" fmla="*/ 306978 h 6557032"/>
              <a:gd name="connsiteX39169" fmla="*/ 2951922 w 4610101"/>
              <a:gd name="connsiteY39169" fmla="*/ 306978 h 6557032"/>
              <a:gd name="connsiteX39170" fmla="*/ 2950100 w 4610101"/>
              <a:gd name="connsiteY39170" fmla="*/ 323377 h 6557032"/>
              <a:gd name="connsiteX39171" fmla="*/ 2951922 w 4610101"/>
              <a:gd name="connsiteY39171" fmla="*/ 306978 h 6557032"/>
              <a:gd name="connsiteX39172" fmla="*/ 3361911 w 4610101"/>
              <a:gd name="connsiteY39172" fmla="*/ 305155 h 6557032"/>
              <a:gd name="connsiteX39173" fmla="*/ 3363594 w 4610101"/>
              <a:gd name="connsiteY39173" fmla="*/ 310201 h 6557032"/>
              <a:gd name="connsiteX39174" fmla="*/ 3362376 w 4610101"/>
              <a:gd name="connsiteY39174" fmla="*/ 310066 h 6557032"/>
              <a:gd name="connsiteX39175" fmla="*/ 3358723 w 4610101"/>
              <a:gd name="connsiteY39175" fmla="*/ 308571 h 6557032"/>
              <a:gd name="connsiteX39176" fmla="*/ 3361911 w 4610101"/>
              <a:gd name="connsiteY39176" fmla="*/ 305155 h 6557032"/>
              <a:gd name="connsiteX39177" fmla="*/ 3185160 w 4610101"/>
              <a:gd name="connsiteY39177" fmla="*/ 305155 h 6557032"/>
              <a:gd name="connsiteX39178" fmla="*/ 3177872 w 4610101"/>
              <a:gd name="connsiteY39178" fmla="*/ 317911 h 6557032"/>
              <a:gd name="connsiteX39179" fmla="*/ 3185160 w 4610101"/>
              <a:gd name="connsiteY39179" fmla="*/ 305155 h 6557032"/>
              <a:gd name="connsiteX39180" fmla="*/ 2328511 w 4610101"/>
              <a:gd name="connsiteY39180" fmla="*/ 304472 h 6557032"/>
              <a:gd name="connsiteX39181" fmla="*/ 2321874 w 4610101"/>
              <a:gd name="connsiteY39181" fmla="*/ 305799 h 6557032"/>
              <a:gd name="connsiteX39182" fmla="*/ 2321450 w 4610101"/>
              <a:gd name="connsiteY39182" fmla="*/ 305155 h 6557032"/>
              <a:gd name="connsiteX39183" fmla="*/ 2321259 w 4610101"/>
              <a:gd name="connsiteY39183" fmla="*/ 305922 h 6557032"/>
              <a:gd name="connsiteX39184" fmla="*/ 2315983 w 4610101"/>
              <a:gd name="connsiteY39184" fmla="*/ 306978 h 6557032"/>
              <a:gd name="connsiteX39185" fmla="*/ 2323272 w 4610101"/>
              <a:gd name="connsiteY39185" fmla="*/ 321555 h 6557032"/>
              <a:gd name="connsiteX39186" fmla="*/ 2319628 w 4610101"/>
              <a:gd name="connsiteY39186" fmla="*/ 312444 h 6557032"/>
              <a:gd name="connsiteX39187" fmla="*/ 2321259 w 4610101"/>
              <a:gd name="connsiteY39187" fmla="*/ 305922 h 6557032"/>
              <a:gd name="connsiteX39188" fmla="*/ 2321874 w 4610101"/>
              <a:gd name="connsiteY39188" fmla="*/ 305799 h 6557032"/>
              <a:gd name="connsiteX39189" fmla="*/ 2327144 w 4610101"/>
              <a:gd name="connsiteY39189" fmla="*/ 313810 h 6557032"/>
              <a:gd name="connsiteX39190" fmla="*/ 2334205 w 4610101"/>
              <a:gd name="connsiteY39190" fmla="*/ 314266 h 6557032"/>
              <a:gd name="connsiteX39191" fmla="*/ 2328511 w 4610101"/>
              <a:gd name="connsiteY39191" fmla="*/ 304472 h 6557032"/>
              <a:gd name="connsiteX39192" fmla="*/ 1911641 w 4610101"/>
              <a:gd name="connsiteY39192" fmla="*/ 304433 h 6557032"/>
              <a:gd name="connsiteX39193" fmla="*/ 1911786 w 4610101"/>
              <a:gd name="connsiteY39193" fmla="*/ 304614 h 6557032"/>
              <a:gd name="connsiteX39194" fmla="*/ 1911461 w 4610101"/>
              <a:gd name="connsiteY39194" fmla="*/ 305155 h 6557032"/>
              <a:gd name="connsiteX39195" fmla="*/ 2503668 w 4610101"/>
              <a:gd name="connsiteY39195" fmla="*/ 304244 h 6557032"/>
              <a:gd name="connsiteX39196" fmla="*/ 2494556 w 4610101"/>
              <a:gd name="connsiteY39196" fmla="*/ 306978 h 6557032"/>
              <a:gd name="connsiteX39197" fmla="*/ 2492714 w 4610101"/>
              <a:gd name="connsiteY39197" fmla="*/ 309346 h 6557032"/>
              <a:gd name="connsiteX39198" fmla="*/ 2490912 w 4610101"/>
              <a:gd name="connsiteY39198" fmla="*/ 308800 h 6557032"/>
              <a:gd name="connsiteX39199" fmla="*/ 2490511 w 4610101"/>
              <a:gd name="connsiteY39199" fmla="*/ 312178 h 6557032"/>
              <a:gd name="connsiteX39200" fmla="*/ 2481801 w 4610101"/>
              <a:gd name="connsiteY39200" fmla="*/ 323377 h 6557032"/>
              <a:gd name="connsiteX39201" fmla="*/ 2472690 w 4610101"/>
              <a:gd name="connsiteY39201" fmla="*/ 316089 h 6557032"/>
              <a:gd name="connsiteX39202" fmla="*/ 2436247 w 4610101"/>
              <a:gd name="connsiteY39202" fmla="*/ 357998 h 6557032"/>
              <a:gd name="connsiteX39203" fmla="*/ 2443536 w 4610101"/>
              <a:gd name="connsiteY39203" fmla="*/ 350710 h 6557032"/>
              <a:gd name="connsiteX39204" fmla="*/ 2450824 w 4610101"/>
              <a:gd name="connsiteY39204" fmla="*/ 361642 h 6557032"/>
              <a:gd name="connsiteX39205" fmla="*/ 2454469 w 4610101"/>
              <a:gd name="connsiteY39205" fmla="*/ 350710 h 6557032"/>
              <a:gd name="connsiteX39206" fmla="*/ 2457658 w 4610101"/>
              <a:gd name="connsiteY39206" fmla="*/ 352304 h 6557032"/>
              <a:gd name="connsiteX39207" fmla="*/ 2458023 w 4610101"/>
              <a:gd name="connsiteY39207" fmla="*/ 356864 h 6557032"/>
              <a:gd name="connsiteX39208" fmla="*/ 2454469 w 4610101"/>
              <a:gd name="connsiteY39208" fmla="*/ 362098 h 6557032"/>
              <a:gd name="connsiteX39209" fmla="*/ 2445358 w 4610101"/>
              <a:gd name="connsiteY39209" fmla="*/ 370754 h 6557032"/>
              <a:gd name="connsiteX39210" fmla="*/ 2452647 w 4610101"/>
              <a:gd name="connsiteY39210" fmla="*/ 379865 h 6557032"/>
              <a:gd name="connsiteX39211" fmla="*/ 2452647 w 4610101"/>
              <a:gd name="connsiteY39211" fmla="*/ 374397 h 6557032"/>
              <a:gd name="connsiteX39212" fmla="*/ 2458113 w 4610101"/>
              <a:gd name="connsiteY39212" fmla="*/ 370754 h 6557032"/>
              <a:gd name="connsiteX39213" fmla="*/ 2463580 w 4610101"/>
              <a:gd name="connsiteY39213" fmla="*/ 372576 h 6557032"/>
              <a:gd name="connsiteX39214" fmla="*/ 2463580 w 4610101"/>
              <a:gd name="connsiteY39214" fmla="*/ 367109 h 6557032"/>
              <a:gd name="connsiteX39215" fmla="*/ 2469046 w 4610101"/>
              <a:gd name="connsiteY39215" fmla="*/ 368932 h 6557032"/>
              <a:gd name="connsiteX39216" fmla="*/ 2467224 w 4610101"/>
              <a:gd name="connsiteY39216" fmla="*/ 357998 h 6557032"/>
              <a:gd name="connsiteX39217" fmla="*/ 2474513 w 4610101"/>
              <a:gd name="connsiteY39217" fmla="*/ 374397 h 6557032"/>
              <a:gd name="connsiteX39218" fmla="*/ 2478157 w 4610101"/>
              <a:gd name="connsiteY39218" fmla="*/ 376220 h 6557032"/>
              <a:gd name="connsiteX39219" fmla="*/ 2487268 w 4610101"/>
              <a:gd name="connsiteY39219" fmla="*/ 370754 h 6557032"/>
              <a:gd name="connsiteX39220" fmla="*/ 2492734 w 4610101"/>
              <a:gd name="connsiteY39220" fmla="*/ 361642 h 6557032"/>
              <a:gd name="connsiteX39221" fmla="*/ 2487268 w 4610101"/>
              <a:gd name="connsiteY39221" fmla="*/ 352532 h 6557032"/>
              <a:gd name="connsiteX39222" fmla="*/ 2483624 w 4610101"/>
              <a:gd name="connsiteY39222" fmla="*/ 356176 h 6557032"/>
              <a:gd name="connsiteX39223" fmla="*/ 2479979 w 4610101"/>
              <a:gd name="connsiteY39223" fmla="*/ 354354 h 6557032"/>
              <a:gd name="connsiteX39224" fmla="*/ 2481801 w 4610101"/>
              <a:gd name="connsiteY39224" fmla="*/ 345242 h 6557032"/>
              <a:gd name="connsiteX39225" fmla="*/ 2472690 w 4610101"/>
              <a:gd name="connsiteY39225" fmla="*/ 345242 h 6557032"/>
              <a:gd name="connsiteX39226" fmla="*/ 2463580 w 4610101"/>
              <a:gd name="connsiteY39226" fmla="*/ 356176 h 6557032"/>
              <a:gd name="connsiteX39227" fmla="*/ 2460136 w 4610101"/>
              <a:gd name="connsiteY39227" fmla="*/ 355976 h 6557032"/>
              <a:gd name="connsiteX39228" fmla="*/ 2461985 w 4610101"/>
              <a:gd name="connsiteY39228" fmla="*/ 354126 h 6557032"/>
              <a:gd name="connsiteX39229" fmla="*/ 2461757 w 4610101"/>
              <a:gd name="connsiteY39229" fmla="*/ 348888 h 6557032"/>
              <a:gd name="connsiteX39230" fmla="*/ 2472690 w 4610101"/>
              <a:gd name="connsiteY39230" fmla="*/ 339777 h 6557032"/>
              <a:gd name="connsiteX39231" fmla="*/ 2472690 w 4610101"/>
              <a:gd name="connsiteY39231" fmla="*/ 343421 h 6557032"/>
              <a:gd name="connsiteX39232" fmla="*/ 2489090 w 4610101"/>
              <a:gd name="connsiteY39232" fmla="*/ 336133 h 6557032"/>
              <a:gd name="connsiteX39233" fmla="*/ 2490912 w 4610101"/>
              <a:gd name="connsiteY39233" fmla="*/ 339777 h 6557032"/>
              <a:gd name="connsiteX39234" fmla="*/ 2498201 w 4610101"/>
              <a:gd name="connsiteY39234" fmla="*/ 327022 h 6557032"/>
              <a:gd name="connsiteX39235" fmla="*/ 2494556 w 4610101"/>
              <a:gd name="connsiteY39235" fmla="*/ 334310 h 6557032"/>
              <a:gd name="connsiteX39236" fmla="*/ 2489318 w 4610101"/>
              <a:gd name="connsiteY39236" fmla="*/ 322238 h 6557032"/>
              <a:gd name="connsiteX39237" fmla="*/ 2490511 w 4610101"/>
              <a:gd name="connsiteY39237" fmla="*/ 312178 h 6557032"/>
              <a:gd name="connsiteX39238" fmla="*/ 2492714 w 4610101"/>
              <a:gd name="connsiteY39238" fmla="*/ 309346 h 6557032"/>
              <a:gd name="connsiteX39239" fmla="*/ 2498429 w 4610101"/>
              <a:gd name="connsiteY39239" fmla="*/ 311077 h 6557032"/>
              <a:gd name="connsiteX39240" fmla="*/ 2507124 w 4610101"/>
              <a:gd name="connsiteY39240" fmla="*/ 305281 h 6557032"/>
              <a:gd name="connsiteX39241" fmla="*/ 2507312 w 4610101"/>
              <a:gd name="connsiteY39241" fmla="*/ 305338 h 6557032"/>
              <a:gd name="connsiteX39242" fmla="*/ 2507312 w 4610101"/>
              <a:gd name="connsiteY39242" fmla="*/ 310622 h 6557032"/>
              <a:gd name="connsiteX39243" fmla="*/ 2512778 w 4610101"/>
              <a:gd name="connsiteY39243" fmla="*/ 306978 h 6557032"/>
              <a:gd name="connsiteX39244" fmla="*/ 2507312 w 4610101"/>
              <a:gd name="connsiteY39244" fmla="*/ 305338 h 6557032"/>
              <a:gd name="connsiteX39245" fmla="*/ 2507312 w 4610101"/>
              <a:gd name="connsiteY39245" fmla="*/ 305155 h 6557032"/>
              <a:gd name="connsiteX39246" fmla="*/ 2507124 w 4610101"/>
              <a:gd name="connsiteY39246" fmla="*/ 305281 h 6557032"/>
              <a:gd name="connsiteX39247" fmla="*/ 1919163 w 4610101"/>
              <a:gd name="connsiteY39247" fmla="*/ 303996 h 6557032"/>
              <a:gd name="connsiteX39248" fmla="*/ 1920364 w 4610101"/>
              <a:gd name="connsiteY39248" fmla="*/ 305329 h 6557032"/>
              <a:gd name="connsiteX39249" fmla="*/ 1920344 w 4610101"/>
              <a:gd name="connsiteY39249" fmla="*/ 305383 h 6557032"/>
              <a:gd name="connsiteX39250" fmla="*/ 1916927 w 4610101"/>
              <a:gd name="connsiteY39250" fmla="*/ 306978 h 6557032"/>
              <a:gd name="connsiteX39251" fmla="*/ 2264963 w 4610101"/>
              <a:gd name="connsiteY39251" fmla="*/ 301511 h 6557032"/>
              <a:gd name="connsiteX39252" fmla="*/ 2266785 w 4610101"/>
              <a:gd name="connsiteY39252" fmla="*/ 308800 h 6557032"/>
              <a:gd name="connsiteX39253" fmla="*/ 2264963 w 4610101"/>
              <a:gd name="connsiteY39253" fmla="*/ 301511 h 6557032"/>
              <a:gd name="connsiteX39254" fmla="*/ 3163294 w 4610101"/>
              <a:gd name="connsiteY39254" fmla="*/ 299689 h 6557032"/>
              <a:gd name="connsiteX39255" fmla="*/ 3159650 w 4610101"/>
              <a:gd name="connsiteY39255" fmla="*/ 303333 h 6557032"/>
              <a:gd name="connsiteX39256" fmla="*/ 3165116 w 4610101"/>
              <a:gd name="connsiteY39256" fmla="*/ 308800 h 6557032"/>
              <a:gd name="connsiteX39257" fmla="*/ 3163294 w 4610101"/>
              <a:gd name="connsiteY39257" fmla="*/ 299689 h 6557032"/>
              <a:gd name="connsiteX39258" fmla="*/ 3006587 w 4610101"/>
              <a:gd name="connsiteY39258" fmla="*/ 299689 h 6557032"/>
              <a:gd name="connsiteX39259" fmla="*/ 3013876 w 4610101"/>
              <a:gd name="connsiteY39259" fmla="*/ 316089 h 6557032"/>
              <a:gd name="connsiteX39260" fmla="*/ 3006587 w 4610101"/>
              <a:gd name="connsiteY39260" fmla="*/ 299689 h 6557032"/>
              <a:gd name="connsiteX39261" fmla="*/ 2997477 w 4610101"/>
              <a:gd name="connsiteY39261" fmla="*/ 299689 h 6557032"/>
              <a:gd name="connsiteX39262" fmla="*/ 2993832 w 4610101"/>
              <a:gd name="connsiteY39262" fmla="*/ 316089 h 6557032"/>
              <a:gd name="connsiteX39263" fmla="*/ 3004765 w 4610101"/>
              <a:gd name="connsiteY39263" fmla="*/ 312444 h 6557032"/>
              <a:gd name="connsiteX39264" fmla="*/ 2997477 w 4610101"/>
              <a:gd name="connsiteY39264" fmla="*/ 299689 h 6557032"/>
              <a:gd name="connsiteX39265" fmla="*/ 3146895 w 4610101"/>
              <a:gd name="connsiteY39265" fmla="*/ 297867 h 6557032"/>
              <a:gd name="connsiteX39266" fmla="*/ 3148717 w 4610101"/>
              <a:gd name="connsiteY39266" fmla="*/ 305155 h 6557032"/>
              <a:gd name="connsiteX39267" fmla="*/ 3146895 w 4610101"/>
              <a:gd name="connsiteY39267" fmla="*/ 297867 h 6557032"/>
              <a:gd name="connsiteX39268" fmla="*/ 3121384 w 4610101"/>
              <a:gd name="connsiteY39268" fmla="*/ 297867 h 6557032"/>
              <a:gd name="connsiteX39269" fmla="*/ 3110451 w 4610101"/>
              <a:gd name="connsiteY39269" fmla="*/ 317911 h 6557032"/>
              <a:gd name="connsiteX39270" fmla="*/ 3114096 w 4610101"/>
              <a:gd name="connsiteY39270" fmla="*/ 323377 h 6557032"/>
              <a:gd name="connsiteX39271" fmla="*/ 3115918 w 4610101"/>
              <a:gd name="connsiteY39271" fmla="*/ 314266 h 6557032"/>
              <a:gd name="connsiteX39272" fmla="*/ 3117740 w 4610101"/>
              <a:gd name="connsiteY39272" fmla="*/ 321555 h 6557032"/>
              <a:gd name="connsiteX39273" fmla="*/ 3126851 w 4610101"/>
              <a:gd name="connsiteY39273" fmla="*/ 350710 h 6557032"/>
              <a:gd name="connsiteX39274" fmla="*/ 3128673 w 4610101"/>
              <a:gd name="connsiteY39274" fmla="*/ 327022 h 6557032"/>
              <a:gd name="connsiteX39275" fmla="*/ 3125029 w 4610101"/>
              <a:gd name="connsiteY39275" fmla="*/ 330666 h 6557032"/>
              <a:gd name="connsiteX39276" fmla="*/ 3126851 w 4610101"/>
              <a:gd name="connsiteY39276" fmla="*/ 317911 h 6557032"/>
              <a:gd name="connsiteX39277" fmla="*/ 3137784 w 4610101"/>
              <a:gd name="connsiteY39277" fmla="*/ 332488 h 6557032"/>
              <a:gd name="connsiteX39278" fmla="*/ 3141428 w 4610101"/>
              <a:gd name="connsiteY39278" fmla="*/ 308800 h 6557032"/>
              <a:gd name="connsiteX39279" fmla="*/ 3134140 w 4610101"/>
              <a:gd name="connsiteY39279" fmla="*/ 312444 h 6557032"/>
              <a:gd name="connsiteX39280" fmla="*/ 3132317 w 4610101"/>
              <a:gd name="connsiteY39280" fmla="*/ 308800 h 6557032"/>
              <a:gd name="connsiteX39281" fmla="*/ 3130495 w 4610101"/>
              <a:gd name="connsiteY39281" fmla="*/ 312444 h 6557032"/>
              <a:gd name="connsiteX39282" fmla="*/ 3121384 w 4610101"/>
              <a:gd name="connsiteY39282" fmla="*/ 297867 h 6557032"/>
              <a:gd name="connsiteX39283" fmla="*/ 1960659 w 4610101"/>
              <a:gd name="connsiteY39283" fmla="*/ 297867 h 6557032"/>
              <a:gd name="connsiteX39284" fmla="*/ 1960659 w 4610101"/>
              <a:gd name="connsiteY39284" fmla="*/ 303333 h 6557032"/>
              <a:gd name="connsiteX39285" fmla="*/ 1967948 w 4610101"/>
              <a:gd name="connsiteY39285" fmla="*/ 299689 h 6557032"/>
              <a:gd name="connsiteX39286" fmla="*/ 1960659 w 4610101"/>
              <a:gd name="connsiteY39286" fmla="*/ 297867 h 6557032"/>
              <a:gd name="connsiteX39287" fmla="*/ 2421669 w 4610101"/>
              <a:gd name="connsiteY39287" fmla="*/ 296045 h 6557032"/>
              <a:gd name="connsiteX39288" fmla="*/ 2430780 w 4610101"/>
              <a:gd name="connsiteY39288" fmla="*/ 299689 h 6557032"/>
              <a:gd name="connsiteX39289" fmla="*/ 2430643 w 4610101"/>
              <a:gd name="connsiteY39289" fmla="*/ 300376 h 6557032"/>
              <a:gd name="connsiteX39290" fmla="*/ 2423349 w 4610101"/>
              <a:gd name="connsiteY39290" fmla="*/ 299261 h 6557032"/>
              <a:gd name="connsiteX39291" fmla="*/ 2409142 w 4610101"/>
              <a:gd name="connsiteY39291" fmla="*/ 305383 h 6557032"/>
              <a:gd name="connsiteX39292" fmla="*/ 2391848 w 4610101"/>
              <a:gd name="connsiteY39292" fmla="*/ 315531 h 6557032"/>
              <a:gd name="connsiteX39293" fmla="*/ 2399120 w 4610101"/>
              <a:gd name="connsiteY39293" fmla="*/ 307205 h 6557032"/>
              <a:gd name="connsiteX39294" fmla="*/ 2421669 w 4610101"/>
              <a:gd name="connsiteY39294" fmla="*/ 296045 h 6557032"/>
              <a:gd name="connsiteX39295" fmla="*/ 2281362 w 4610101"/>
              <a:gd name="connsiteY39295" fmla="*/ 296045 h 6557032"/>
              <a:gd name="connsiteX39296" fmla="*/ 2275896 w 4610101"/>
              <a:gd name="connsiteY39296" fmla="*/ 310622 h 6557032"/>
              <a:gd name="connsiteX39297" fmla="*/ 2281362 w 4610101"/>
              <a:gd name="connsiteY39297" fmla="*/ 296045 h 6557032"/>
              <a:gd name="connsiteX39298" fmla="*/ 1977059 w 4610101"/>
              <a:gd name="connsiteY39298" fmla="*/ 296045 h 6557032"/>
              <a:gd name="connsiteX39299" fmla="*/ 1977059 w 4610101"/>
              <a:gd name="connsiteY39299" fmla="*/ 297867 h 6557032"/>
              <a:gd name="connsiteX39300" fmla="*/ 1973416 w 4610101"/>
              <a:gd name="connsiteY39300" fmla="*/ 299689 h 6557032"/>
              <a:gd name="connsiteX39301" fmla="*/ 1978881 w 4610101"/>
              <a:gd name="connsiteY39301" fmla="*/ 305155 h 6557032"/>
              <a:gd name="connsiteX39302" fmla="*/ 1980703 w 4610101"/>
              <a:gd name="connsiteY39302" fmla="*/ 296045 h 6557032"/>
              <a:gd name="connsiteX39303" fmla="*/ 1977059 w 4610101"/>
              <a:gd name="connsiteY39303" fmla="*/ 296045 h 6557032"/>
              <a:gd name="connsiteX39304" fmla="*/ 2659552 w 4610101"/>
              <a:gd name="connsiteY39304" fmla="*/ 295888 h 6557032"/>
              <a:gd name="connsiteX39305" fmla="*/ 2660795 w 4610101"/>
              <a:gd name="connsiteY39305" fmla="*/ 297960 h 6557032"/>
              <a:gd name="connsiteX39306" fmla="*/ 2658552 w 4610101"/>
              <a:gd name="connsiteY39306" fmla="*/ 301511 h 6557032"/>
              <a:gd name="connsiteX39307" fmla="*/ 2951922 w 4610101"/>
              <a:gd name="connsiteY39307" fmla="*/ 295640 h 6557032"/>
              <a:gd name="connsiteX39308" fmla="*/ 2953744 w 4610101"/>
              <a:gd name="connsiteY39308" fmla="*/ 296045 h 6557032"/>
              <a:gd name="connsiteX39309" fmla="*/ 2951922 w 4610101"/>
              <a:gd name="connsiteY39309" fmla="*/ 299992 h 6557032"/>
              <a:gd name="connsiteX39310" fmla="*/ 3346962 w 4610101"/>
              <a:gd name="connsiteY39310" fmla="*/ 293256 h 6557032"/>
              <a:gd name="connsiteX39311" fmla="*/ 3345512 w 4610101"/>
              <a:gd name="connsiteY39311" fmla="*/ 296045 h 6557032"/>
              <a:gd name="connsiteX39312" fmla="*/ 3345301 w 4610101"/>
              <a:gd name="connsiteY39312" fmla="*/ 295563 h 6557032"/>
              <a:gd name="connsiteX39313" fmla="*/ 3345512 w 4610101"/>
              <a:gd name="connsiteY39313" fmla="*/ 294223 h 6557032"/>
              <a:gd name="connsiteX39314" fmla="*/ 1997103 w 4610101"/>
              <a:gd name="connsiteY39314" fmla="*/ 292400 h 6557032"/>
              <a:gd name="connsiteX39315" fmla="*/ 1993459 w 4610101"/>
              <a:gd name="connsiteY39315" fmla="*/ 299689 h 6557032"/>
              <a:gd name="connsiteX39316" fmla="*/ 1997103 w 4610101"/>
              <a:gd name="connsiteY39316" fmla="*/ 305155 h 6557032"/>
              <a:gd name="connsiteX39317" fmla="*/ 2002570 w 4610101"/>
              <a:gd name="connsiteY39317" fmla="*/ 294223 h 6557032"/>
              <a:gd name="connsiteX39318" fmla="*/ 1997103 w 4610101"/>
              <a:gd name="connsiteY39318" fmla="*/ 292400 h 6557032"/>
              <a:gd name="connsiteX39319" fmla="*/ 973041 w 4610101"/>
              <a:gd name="connsiteY39319" fmla="*/ 290688 h 6557032"/>
              <a:gd name="connsiteX39320" fmla="*/ 994907 w 4610101"/>
              <a:gd name="connsiteY39320" fmla="*/ 290688 h 6557032"/>
              <a:gd name="connsiteX39321" fmla="*/ 1009485 w 4610101"/>
              <a:gd name="connsiteY39321" fmla="*/ 299799 h 6557032"/>
              <a:gd name="connsiteX39322" fmla="*/ 987618 w 4610101"/>
              <a:gd name="connsiteY39322" fmla="*/ 336243 h 6557032"/>
              <a:gd name="connsiteX39323" fmla="*/ 973041 w 4610101"/>
              <a:gd name="connsiteY39323" fmla="*/ 312554 h 6557032"/>
              <a:gd name="connsiteX39324" fmla="*/ 2676774 w 4610101"/>
              <a:gd name="connsiteY39324" fmla="*/ 290578 h 6557032"/>
              <a:gd name="connsiteX39325" fmla="*/ 2682240 w 4610101"/>
              <a:gd name="connsiteY39325" fmla="*/ 303333 h 6557032"/>
              <a:gd name="connsiteX39326" fmla="*/ 2680418 w 4610101"/>
              <a:gd name="connsiteY39326" fmla="*/ 290578 h 6557032"/>
              <a:gd name="connsiteX39327" fmla="*/ 2676774 w 4610101"/>
              <a:gd name="connsiteY39327" fmla="*/ 290578 h 6557032"/>
              <a:gd name="connsiteX39328" fmla="*/ 1909639 w 4610101"/>
              <a:gd name="connsiteY39328" fmla="*/ 288773 h 6557032"/>
              <a:gd name="connsiteX39329" fmla="*/ 1913273 w 4610101"/>
              <a:gd name="connsiteY39329" fmla="*/ 292409 h 6557032"/>
              <a:gd name="connsiteX39330" fmla="*/ 1913283 w 4610101"/>
              <a:gd name="connsiteY39330" fmla="*/ 292400 h 6557032"/>
              <a:gd name="connsiteX39331" fmla="*/ 1913283 w 4610101"/>
              <a:gd name="connsiteY39331" fmla="*/ 292418 h 6557032"/>
              <a:gd name="connsiteX39332" fmla="*/ 1913283 w 4610101"/>
              <a:gd name="connsiteY39332" fmla="*/ 294240 h 6557032"/>
              <a:gd name="connsiteX39333" fmla="*/ 1913283 w 4610101"/>
              <a:gd name="connsiteY39333" fmla="*/ 297867 h 6557032"/>
              <a:gd name="connsiteX39334" fmla="*/ 1911641 w 4610101"/>
              <a:gd name="connsiteY39334" fmla="*/ 304433 h 6557032"/>
              <a:gd name="connsiteX39335" fmla="*/ 1909867 w 4610101"/>
              <a:gd name="connsiteY39335" fmla="*/ 302194 h 6557032"/>
              <a:gd name="connsiteX39336" fmla="*/ 1905994 w 4610101"/>
              <a:gd name="connsiteY39336" fmla="*/ 294223 h 6557032"/>
              <a:gd name="connsiteX39337" fmla="*/ 1909639 w 4610101"/>
              <a:gd name="connsiteY39337" fmla="*/ 295181 h 6557032"/>
              <a:gd name="connsiteX39338" fmla="*/ 3228893 w 4610101"/>
              <a:gd name="connsiteY39338" fmla="*/ 288756 h 6557032"/>
              <a:gd name="connsiteX39339" fmla="*/ 3228893 w 4610101"/>
              <a:gd name="connsiteY39339" fmla="*/ 290578 h 6557032"/>
              <a:gd name="connsiteX39340" fmla="*/ 3228268 w 4610101"/>
              <a:gd name="connsiteY39340" fmla="*/ 289416 h 6557032"/>
              <a:gd name="connsiteX39341" fmla="*/ 3348035 w 4610101"/>
              <a:gd name="connsiteY39341" fmla="*/ 287634 h 6557032"/>
              <a:gd name="connsiteX39342" fmla="*/ 3350978 w 4610101"/>
              <a:gd name="connsiteY39342" fmla="*/ 290578 h 6557032"/>
              <a:gd name="connsiteX39343" fmla="*/ 3346962 w 4610101"/>
              <a:gd name="connsiteY39343" fmla="*/ 293256 h 6557032"/>
              <a:gd name="connsiteX39344" fmla="*/ 3348473 w 4610101"/>
              <a:gd name="connsiteY39344" fmla="*/ 290350 h 6557032"/>
              <a:gd name="connsiteX39345" fmla="*/ 2319628 w 4610101"/>
              <a:gd name="connsiteY39345" fmla="*/ 286934 h 6557032"/>
              <a:gd name="connsiteX39346" fmla="*/ 2320381 w 4610101"/>
              <a:gd name="connsiteY39346" fmla="*/ 287626 h 6557032"/>
              <a:gd name="connsiteX39347" fmla="*/ 2319628 w 4610101"/>
              <a:gd name="connsiteY39347" fmla="*/ 288756 h 6557032"/>
              <a:gd name="connsiteX39348" fmla="*/ 2319535 w 4610101"/>
              <a:gd name="connsiteY39348" fmla="*/ 286996 h 6557032"/>
              <a:gd name="connsiteX39349" fmla="*/ 3347855 w 4610101"/>
              <a:gd name="connsiteY39349" fmla="*/ 286517 h 6557032"/>
              <a:gd name="connsiteX39350" fmla="*/ 3348035 w 4610101"/>
              <a:gd name="connsiteY39350" fmla="*/ 287634 h 6557032"/>
              <a:gd name="connsiteX39351" fmla="*/ 3347334 w 4610101"/>
              <a:gd name="connsiteY39351" fmla="*/ 286934 h 6557032"/>
              <a:gd name="connsiteX39352" fmla="*/ 3083119 w 4610101"/>
              <a:gd name="connsiteY39352" fmla="*/ 285112 h 6557032"/>
              <a:gd name="connsiteX39353" fmla="*/ 3081297 w 4610101"/>
              <a:gd name="connsiteY39353" fmla="*/ 294223 h 6557032"/>
              <a:gd name="connsiteX39354" fmla="*/ 3083119 w 4610101"/>
              <a:gd name="connsiteY39354" fmla="*/ 285112 h 6557032"/>
              <a:gd name="connsiteX39355" fmla="*/ 3043031 w 4610101"/>
              <a:gd name="connsiteY39355" fmla="*/ 285112 h 6557032"/>
              <a:gd name="connsiteX39356" fmla="*/ 3041209 w 4610101"/>
              <a:gd name="connsiteY39356" fmla="*/ 292400 h 6557032"/>
              <a:gd name="connsiteX39357" fmla="*/ 3046675 w 4610101"/>
              <a:gd name="connsiteY39357" fmla="*/ 286934 h 6557032"/>
              <a:gd name="connsiteX39358" fmla="*/ 3043031 w 4610101"/>
              <a:gd name="connsiteY39358" fmla="*/ 285112 h 6557032"/>
              <a:gd name="connsiteX39359" fmla="*/ 2977432 w 4610101"/>
              <a:gd name="connsiteY39359" fmla="*/ 285112 h 6557032"/>
              <a:gd name="connsiteX39360" fmla="*/ 2971966 w 4610101"/>
              <a:gd name="connsiteY39360" fmla="*/ 286934 h 6557032"/>
              <a:gd name="connsiteX39361" fmla="*/ 2977432 w 4610101"/>
              <a:gd name="connsiteY39361" fmla="*/ 292400 h 6557032"/>
              <a:gd name="connsiteX39362" fmla="*/ 2977432 w 4610101"/>
              <a:gd name="connsiteY39362" fmla="*/ 285112 h 6557032"/>
              <a:gd name="connsiteX39363" fmla="*/ 2946456 w 4610101"/>
              <a:gd name="connsiteY39363" fmla="*/ 285112 h 6557032"/>
              <a:gd name="connsiteX39364" fmla="*/ 2955566 w 4610101"/>
              <a:gd name="connsiteY39364" fmla="*/ 290578 h 6557032"/>
              <a:gd name="connsiteX39365" fmla="*/ 2946456 w 4610101"/>
              <a:gd name="connsiteY39365" fmla="*/ 285112 h 6557032"/>
              <a:gd name="connsiteX39366" fmla="*/ 3055786 w 4610101"/>
              <a:gd name="connsiteY39366" fmla="*/ 283289 h 6557032"/>
              <a:gd name="connsiteX39367" fmla="*/ 3052142 w 4610101"/>
              <a:gd name="connsiteY39367" fmla="*/ 292400 h 6557032"/>
              <a:gd name="connsiteX39368" fmla="*/ 3055786 w 4610101"/>
              <a:gd name="connsiteY39368" fmla="*/ 283289 h 6557032"/>
              <a:gd name="connsiteX39369" fmla="*/ 3032098 w 4610101"/>
              <a:gd name="connsiteY39369" fmla="*/ 283289 h 6557032"/>
              <a:gd name="connsiteX39370" fmla="*/ 3028453 w 4610101"/>
              <a:gd name="connsiteY39370" fmla="*/ 299689 h 6557032"/>
              <a:gd name="connsiteX39371" fmla="*/ 3032098 w 4610101"/>
              <a:gd name="connsiteY39371" fmla="*/ 283289 h 6557032"/>
              <a:gd name="connsiteX39372" fmla="*/ 2986543 w 4610101"/>
              <a:gd name="connsiteY39372" fmla="*/ 283289 h 6557032"/>
              <a:gd name="connsiteX39373" fmla="*/ 2981077 w 4610101"/>
              <a:gd name="connsiteY39373" fmla="*/ 296045 h 6557032"/>
              <a:gd name="connsiteX39374" fmla="*/ 2986543 w 4610101"/>
              <a:gd name="connsiteY39374" fmla="*/ 294223 h 6557032"/>
              <a:gd name="connsiteX39375" fmla="*/ 2986543 w 4610101"/>
              <a:gd name="connsiteY39375" fmla="*/ 283289 h 6557032"/>
              <a:gd name="connsiteX39376" fmla="*/ 2552866 w 4610101"/>
              <a:gd name="connsiteY39376" fmla="*/ 283289 h 6557032"/>
              <a:gd name="connsiteX39377" fmla="*/ 2531000 w 4610101"/>
              <a:gd name="connsiteY39377" fmla="*/ 294223 h 6557032"/>
              <a:gd name="connsiteX39378" fmla="*/ 2561977 w 4610101"/>
              <a:gd name="connsiteY39378" fmla="*/ 297867 h 6557032"/>
              <a:gd name="connsiteX39379" fmla="*/ 2558332 w 4610101"/>
              <a:gd name="connsiteY39379" fmla="*/ 285112 h 6557032"/>
              <a:gd name="connsiteX39380" fmla="*/ 2554688 w 4610101"/>
              <a:gd name="connsiteY39380" fmla="*/ 294223 h 6557032"/>
              <a:gd name="connsiteX39381" fmla="*/ 2552866 w 4610101"/>
              <a:gd name="connsiteY39381" fmla="*/ 283289 h 6557032"/>
              <a:gd name="connsiteX39382" fmla="*/ 1926038 w 4610101"/>
              <a:gd name="connsiteY39382" fmla="*/ 283289 h 6557032"/>
              <a:gd name="connsiteX39383" fmla="*/ 1922394 w 4610101"/>
              <a:gd name="connsiteY39383" fmla="*/ 296045 h 6557032"/>
              <a:gd name="connsiteX39384" fmla="*/ 1929683 w 4610101"/>
              <a:gd name="connsiteY39384" fmla="*/ 286934 h 6557032"/>
              <a:gd name="connsiteX39385" fmla="*/ 1929683 w 4610101"/>
              <a:gd name="connsiteY39385" fmla="*/ 294223 h 6557032"/>
              <a:gd name="connsiteX39386" fmla="*/ 1936972 w 4610101"/>
              <a:gd name="connsiteY39386" fmla="*/ 294223 h 6557032"/>
              <a:gd name="connsiteX39387" fmla="*/ 1929683 w 4610101"/>
              <a:gd name="connsiteY39387" fmla="*/ 286934 h 6557032"/>
              <a:gd name="connsiteX39388" fmla="*/ 1927861 w 4610101"/>
              <a:gd name="connsiteY39388" fmla="*/ 285112 h 6557032"/>
              <a:gd name="connsiteX39389" fmla="*/ 1926038 w 4610101"/>
              <a:gd name="connsiteY39389" fmla="*/ 283289 h 6557032"/>
              <a:gd name="connsiteX39390" fmla="*/ 3329112 w 4610101"/>
              <a:gd name="connsiteY39390" fmla="*/ 281467 h 6557032"/>
              <a:gd name="connsiteX39391" fmla="*/ 3323646 w 4610101"/>
              <a:gd name="connsiteY39391" fmla="*/ 285112 h 6557032"/>
              <a:gd name="connsiteX39392" fmla="*/ 3332756 w 4610101"/>
              <a:gd name="connsiteY39392" fmla="*/ 303333 h 6557032"/>
              <a:gd name="connsiteX39393" fmla="*/ 3338223 w 4610101"/>
              <a:gd name="connsiteY39393" fmla="*/ 281467 h 6557032"/>
              <a:gd name="connsiteX39394" fmla="*/ 3332756 w 4610101"/>
              <a:gd name="connsiteY39394" fmla="*/ 286934 h 6557032"/>
              <a:gd name="connsiteX39395" fmla="*/ 3329112 w 4610101"/>
              <a:gd name="connsiteY39395" fmla="*/ 281467 h 6557032"/>
              <a:gd name="connsiteX39396" fmla="*/ 1980703 w 4610101"/>
              <a:gd name="connsiteY39396" fmla="*/ 281467 h 6557032"/>
              <a:gd name="connsiteX39397" fmla="*/ 1987992 w 4610101"/>
              <a:gd name="connsiteY39397" fmla="*/ 292400 h 6557032"/>
              <a:gd name="connsiteX39398" fmla="*/ 1986170 w 4610101"/>
              <a:gd name="connsiteY39398" fmla="*/ 281467 h 6557032"/>
              <a:gd name="connsiteX39399" fmla="*/ 1980703 w 4610101"/>
              <a:gd name="connsiteY39399" fmla="*/ 281467 h 6557032"/>
              <a:gd name="connsiteX39400" fmla="*/ 1960659 w 4610101"/>
              <a:gd name="connsiteY39400" fmla="*/ 281467 h 6557032"/>
              <a:gd name="connsiteX39401" fmla="*/ 1962482 w 4610101"/>
              <a:gd name="connsiteY39401" fmla="*/ 288756 h 6557032"/>
              <a:gd name="connsiteX39402" fmla="*/ 1960659 w 4610101"/>
              <a:gd name="connsiteY39402" fmla="*/ 281467 h 6557032"/>
              <a:gd name="connsiteX39403" fmla="*/ 2626721 w 4610101"/>
              <a:gd name="connsiteY39403" fmla="*/ 279474 h 6557032"/>
              <a:gd name="connsiteX39404" fmla="*/ 2628320 w 4610101"/>
              <a:gd name="connsiteY39404" fmla="*/ 280350 h 6557032"/>
              <a:gd name="connsiteX39405" fmla="*/ 2627575 w 4610101"/>
              <a:gd name="connsiteY39405" fmla="*/ 281467 h 6557032"/>
              <a:gd name="connsiteX39406" fmla="*/ 2622898 w 4610101"/>
              <a:gd name="connsiteY39406" fmla="*/ 280114 h 6557032"/>
              <a:gd name="connsiteX39407" fmla="*/ 3125029 w 4610101"/>
              <a:gd name="connsiteY39407" fmla="*/ 277823 h 6557032"/>
              <a:gd name="connsiteX39408" fmla="*/ 3125029 w 4610101"/>
              <a:gd name="connsiteY39408" fmla="*/ 294223 h 6557032"/>
              <a:gd name="connsiteX39409" fmla="*/ 3135962 w 4610101"/>
              <a:gd name="connsiteY39409" fmla="*/ 288756 h 6557032"/>
              <a:gd name="connsiteX39410" fmla="*/ 3125029 w 4610101"/>
              <a:gd name="connsiteY39410" fmla="*/ 277823 h 6557032"/>
              <a:gd name="connsiteX39411" fmla="*/ 2694996 w 4610101"/>
              <a:gd name="connsiteY39411" fmla="*/ 277823 h 6557032"/>
              <a:gd name="connsiteX39412" fmla="*/ 2696500 w 4610101"/>
              <a:gd name="connsiteY39412" fmla="*/ 278972 h 6557032"/>
              <a:gd name="connsiteX39413" fmla="*/ 2695033 w 4610101"/>
              <a:gd name="connsiteY39413" fmla="*/ 280073 h 6557032"/>
              <a:gd name="connsiteX39414" fmla="*/ 1936972 w 4610101"/>
              <a:gd name="connsiteY39414" fmla="*/ 277823 h 6557032"/>
              <a:gd name="connsiteX39415" fmla="*/ 1940616 w 4610101"/>
              <a:gd name="connsiteY39415" fmla="*/ 279645 h 6557032"/>
              <a:gd name="connsiteX39416" fmla="*/ 1935377 w 4610101"/>
              <a:gd name="connsiteY39416" fmla="*/ 280783 h 6557032"/>
              <a:gd name="connsiteX39417" fmla="*/ 1933570 w 4610101"/>
              <a:gd name="connsiteY39417" fmla="*/ 281953 h 6557032"/>
              <a:gd name="connsiteX39418" fmla="*/ 1933327 w 4610101"/>
              <a:gd name="connsiteY39418" fmla="*/ 281467 h 6557032"/>
              <a:gd name="connsiteX39419" fmla="*/ 1931505 w 4610101"/>
              <a:gd name="connsiteY39419" fmla="*/ 283289 h 6557032"/>
              <a:gd name="connsiteX39420" fmla="*/ 1933570 w 4610101"/>
              <a:gd name="connsiteY39420" fmla="*/ 281953 h 6557032"/>
              <a:gd name="connsiteX39421" fmla="*/ 1935149 w 4610101"/>
              <a:gd name="connsiteY39421" fmla="*/ 285112 h 6557032"/>
              <a:gd name="connsiteX39422" fmla="*/ 1944260 w 4610101"/>
              <a:gd name="connsiteY39422" fmla="*/ 279645 h 6557032"/>
              <a:gd name="connsiteX39423" fmla="*/ 1936972 w 4610101"/>
              <a:gd name="connsiteY39423" fmla="*/ 277823 h 6557032"/>
              <a:gd name="connsiteX39424" fmla="*/ 3006587 w 4610101"/>
              <a:gd name="connsiteY39424" fmla="*/ 276001 h 6557032"/>
              <a:gd name="connsiteX39425" fmla="*/ 3006587 w 4610101"/>
              <a:gd name="connsiteY39425" fmla="*/ 283289 h 6557032"/>
              <a:gd name="connsiteX39426" fmla="*/ 3006587 w 4610101"/>
              <a:gd name="connsiteY39426" fmla="*/ 276001 h 6557032"/>
              <a:gd name="connsiteX39427" fmla="*/ 3015698 w 4610101"/>
              <a:gd name="connsiteY39427" fmla="*/ 274179 h 6557032"/>
              <a:gd name="connsiteX39428" fmla="*/ 3017521 w 4610101"/>
              <a:gd name="connsiteY39428" fmla="*/ 283289 h 6557032"/>
              <a:gd name="connsiteX39429" fmla="*/ 3015698 w 4610101"/>
              <a:gd name="connsiteY39429" fmla="*/ 274179 h 6557032"/>
              <a:gd name="connsiteX39430" fmla="*/ 3152361 w 4610101"/>
              <a:gd name="connsiteY39430" fmla="*/ 272356 h 6557032"/>
              <a:gd name="connsiteX39431" fmla="*/ 3154184 w 4610101"/>
              <a:gd name="connsiteY39431" fmla="*/ 281467 h 6557032"/>
              <a:gd name="connsiteX39432" fmla="*/ 3156006 w 4610101"/>
              <a:gd name="connsiteY39432" fmla="*/ 272356 h 6557032"/>
              <a:gd name="connsiteX39433" fmla="*/ 3152361 w 4610101"/>
              <a:gd name="connsiteY39433" fmla="*/ 272356 h 6557032"/>
              <a:gd name="connsiteX39434" fmla="*/ 3033920 w 4610101"/>
              <a:gd name="connsiteY39434" fmla="*/ 272356 h 6557032"/>
              <a:gd name="connsiteX39435" fmla="*/ 3037564 w 4610101"/>
              <a:gd name="connsiteY39435" fmla="*/ 283289 h 6557032"/>
              <a:gd name="connsiteX39436" fmla="*/ 3039387 w 4610101"/>
              <a:gd name="connsiteY39436" fmla="*/ 277823 h 6557032"/>
              <a:gd name="connsiteX39437" fmla="*/ 3035742 w 4610101"/>
              <a:gd name="connsiteY39437" fmla="*/ 277823 h 6557032"/>
              <a:gd name="connsiteX39438" fmla="*/ 3033920 w 4610101"/>
              <a:gd name="connsiteY39438" fmla="*/ 272356 h 6557032"/>
              <a:gd name="connsiteX39439" fmla="*/ 3057608 w 4610101"/>
              <a:gd name="connsiteY39439" fmla="*/ 268712 h 6557032"/>
              <a:gd name="connsiteX39440" fmla="*/ 3061253 w 4610101"/>
              <a:gd name="connsiteY39440" fmla="*/ 279645 h 6557032"/>
              <a:gd name="connsiteX39441" fmla="*/ 3057608 w 4610101"/>
              <a:gd name="connsiteY39441" fmla="*/ 268712 h 6557032"/>
              <a:gd name="connsiteX39442" fmla="*/ 2691253 w 4610101"/>
              <a:gd name="connsiteY39442" fmla="*/ 268023 h 6557032"/>
              <a:gd name="connsiteX39443" fmla="*/ 2691351 w 4610101"/>
              <a:gd name="connsiteY39443" fmla="*/ 268712 h 6557032"/>
              <a:gd name="connsiteX39444" fmla="*/ 2691013 w 4610101"/>
              <a:gd name="connsiteY39444" fmla="*/ 268562 h 6557032"/>
              <a:gd name="connsiteX39445" fmla="*/ 3021165 w 4610101"/>
              <a:gd name="connsiteY39445" fmla="*/ 266890 h 6557032"/>
              <a:gd name="connsiteX39446" fmla="*/ 3032098 w 4610101"/>
              <a:gd name="connsiteY39446" fmla="*/ 279645 h 6557032"/>
              <a:gd name="connsiteX39447" fmla="*/ 3026631 w 4610101"/>
              <a:gd name="connsiteY39447" fmla="*/ 266890 h 6557032"/>
              <a:gd name="connsiteX39448" fmla="*/ 3021165 w 4610101"/>
              <a:gd name="connsiteY39448" fmla="*/ 266890 h 6557032"/>
              <a:gd name="connsiteX39449" fmla="*/ 2751483 w 4610101"/>
              <a:gd name="connsiteY39449" fmla="*/ 266890 h 6557032"/>
              <a:gd name="connsiteX39450" fmla="*/ 2753305 w 4610101"/>
              <a:gd name="connsiteY39450" fmla="*/ 274179 h 6557032"/>
              <a:gd name="connsiteX39451" fmla="*/ 2751483 w 4610101"/>
              <a:gd name="connsiteY39451" fmla="*/ 266890 h 6557032"/>
              <a:gd name="connsiteX39452" fmla="*/ 2301406 w 4610101"/>
              <a:gd name="connsiteY39452" fmla="*/ 266890 h 6557032"/>
              <a:gd name="connsiteX39453" fmla="*/ 2303228 w 4610101"/>
              <a:gd name="connsiteY39453" fmla="*/ 290578 h 6557032"/>
              <a:gd name="connsiteX39454" fmla="*/ 2306873 w 4610101"/>
              <a:gd name="connsiteY39454" fmla="*/ 276001 h 6557032"/>
              <a:gd name="connsiteX39455" fmla="*/ 2299584 w 4610101"/>
              <a:gd name="connsiteY39455" fmla="*/ 279645 h 6557032"/>
              <a:gd name="connsiteX39456" fmla="*/ 2301406 w 4610101"/>
              <a:gd name="connsiteY39456" fmla="*/ 266890 h 6557032"/>
              <a:gd name="connsiteX39457" fmla="*/ 2658299 w 4610101"/>
              <a:gd name="connsiteY39457" fmla="*/ 264185 h 6557032"/>
              <a:gd name="connsiteX39458" fmla="*/ 2650928 w 4610101"/>
              <a:gd name="connsiteY39458" fmla="*/ 276113 h 6557032"/>
              <a:gd name="connsiteX39459" fmla="*/ 2650723 w 4610101"/>
              <a:gd name="connsiteY39459" fmla="*/ 275744 h 6557032"/>
              <a:gd name="connsiteX39460" fmla="*/ 2654225 w 4610101"/>
              <a:gd name="connsiteY39460" fmla="*/ 266662 h 6557032"/>
              <a:gd name="connsiteX39461" fmla="*/ 2334205 w 4610101"/>
              <a:gd name="connsiteY39461" fmla="*/ 263246 h 6557032"/>
              <a:gd name="connsiteX39462" fmla="*/ 2332383 w 4610101"/>
              <a:gd name="connsiteY39462" fmla="*/ 272356 h 6557032"/>
              <a:gd name="connsiteX39463" fmla="*/ 2335846 w 4610101"/>
              <a:gd name="connsiteY39463" fmla="*/ 277625 h 6557032"/>
              <a:gd name="connsiteX39464" fmla="*/ 2335800 w 4610101"/>
              <a:gd name="connsiteY39464" fmla="*/ 278961 h 6557032"/>
              <a:gd name="connsiteX39465" fmla="*/ 2337407 w 4610101"/>
              <a:gd name="connsiteY39465" fmla="*/ 280001 h 6557032"/>
              <a:gd name="connsiteX39466" fmla="*/ 2337622 w 4610101"/>
              <a:gd name="connsiteY39466" fmla="*/ 280328 h 6557032"/>
              <a:gd name="connsiteX39467" fmla="*/ 2330561 w 4610101"/>
              <a:gd name="connsiteY39467" fmla="*/ 286934 h 6557032"/>
              <a:gd name="connsiteX39468" fmla="*/ 2319628 w 4610101"/>
              <a:gd name="connsiteY39468" fmla="*/ 277823 h 6557032"/>
              <a:gd name="connsiteX39469" fmla="*/ 2312339 w 4610101"/>
              <a:gd name="connsiteY39469" fmla="*/ 281467 h 6557032"/>
              <a:gd name="connsiteX39470" fmla="*/ 2319400 w 4610101"/>
              <a:gd name="connsiteY39470" fmla="*/ 284428 h 6557032"/>
              <a:gd name="connsiteX39471" fmla="*/ 2319535 w 4610101"/>
              <a:gd name="connsiteY39471" fmla="*/ 286996 h 6557032"/>
              <a:gd name="connsiteX39472" fmla="*/ 2314161 w 4610101"/>
              <a:gd name="connsiteY39472" fmla="*/ 290578 h 6557032"/>
              <a:gd name="connsiteX39473" fmla="*/ 2308695 w 4610101"/>
              <a:gd name="connsiteY39473" fmla="*/ 294223 h 6557032"/>
              <a:gd name="connsiteX39474" fmla="*/ 2312339 w 4610101"/>
              <a:gd name="connsiteY39474" fmla="*/ 299689 h 6557032"/>
              <a:gd name="connsiteX39475" fmla="*/ 2326916 w 4610101"/>
              <a:gd name="connsiteY39475" fmla="*/ 301511 h 6557032"/>
              <a:gd name="connsiteX39476" fmla="*/ 2325322 w 4610101"/>
              <a:gd name="connsiteY39476" fmla="*/ 292172 h 6557032"/>
              <a:gd name="connsiteX39477" fmla="*/ 2320381 w 4610101"/>
              <a:gd name="connsiteY39477" fmla="*/ 287626 h 6557032"/>
              <a:gd name="connsiteX39478" fmla="*/ 2323272 w 4610101"/>
              <a:gd name="connsiteY39478" fmla="*/ 283289 h 6557032"/>
              <a:gd name="connsiteX39479" fmla="*/ 2330561 w 4610101"/>
              <a:gd name="connsiteY39479" fmla="*/ 305155 h 6557032"/>
              <a:gd name="connsiteX39480" fmla="*/ 2337850 w 4610101"/>
              <a:gd name="connsiteY39480" fmla="*/ 305155 h 6557032"/>
              <a:gd name="connsiteX39481" fmla="*/ 2339672 w 4610101"/>
              <a:gd name="connsiteY39481" fmla="*/ 281467 h 6557032"/>
              <a:gd name="connsiteX39482" fmla="*/ 2337407 w 4610101"/>
              <a:gd name="connsiteY39482" fmla="*/ 280001 h 6557032"/>
              <a:gd name="connsiteX39483" fmla="*/ 2335846 w 4610101"/>
              <a:gd name="connsiteY39483" fmla="*/ 277625 h 6557032"/>
              <a:gd name="connsiteX39484" fmla="*/ 2336027 w 4610101"/>
              <a:gd name="connsiteY39484" fmla="*/ 272356 h 6557032"/>
              <a:gd name="connsiteX39485" fmla="*/ 2345138 w 4610101"/>
              <a:gd name="connsiteY39485" fmla="*/ 277823 h 6557032"/>
              <a:gd name="connsiteX39486" fmla="*/ 2348782 w 4610101"/>
              <a:gd name="connsiteY39486" fmla="*/ 272356 h 6557032"/>
              <a:gd name="connsiteX39487" fmla="*/ 2346960 w 4610101"/>
              <a:gd name="connsiteY39487" fmla="*/ 266890 h 6557032"/>
              <a:gd name="connsiteX39488" fmla="*/ 2332383 w 4610101"/>
              <a:gd name="connsiteY39488" fmla="*/ 272356 h 6557032"/>
              <a:gd name="connsiteX39489" fmla="*/ 2334205 w 4610101"/>
              <a:gd name="connsiteY39489" fmla="*/ 263246 h 6557032"/>
              <a:gd name="connsiteX39490" fmla="*/ 2287541 w 4610101"/>
              <a:gd name="connsiteY39490" fmla="*/ 262776 h 6557032"/>
              <a:gd name="connsiteX39491" fmla="*/ 2285636 w 4610101"/>
              <a:gd name="connsiteY39491" fmla="*/ 271351 h 6557032"/>
              <a:gd name="connsiteX39492" fmla="*/ 2284551 w 4610101"/>
              <a:gd name="connsiteY39492" fmla="*/ 270989 h 6557032"/>
              <a:gd name="connsiteX39493" fmla="*/ 2283184 w 4610101"/>
              <a:gd name="connsiteY39493" fmla="*/ 266890 h 6557032"/>
              <a:gd name="connsiteX39494" fmla="*/ 2287512 w 4610101"/>
              <a:gd name="connsiteY39494" fmla="*/ 262790 h 6557032"/>
              <a:gd name="connsiteX39495" fmla="*/ 3044853 w 4610101"/>
              <a:gd name="connsiteY39495" fmla="*/ 261423 h 6557032"/>
              <a:gd name="connsiteX39496" fmla="*/ 3048497 w 4610101"/>
              <a:gd name="connsiteY39496" fmla="*/ 272356 h 6557032"/>
              <a:gd name="connsiteX39497" fmla="*/ 3044853 w 4610101"/>
              <a:gd name="connsiteY39497" fmla="*/ 261423 h 6557032"/>
              <a:gd name="connsiteX39498" fmla="*/ 2665182 w 4610101"/>
              <a:gd name="connsiteY39498" fmla="*/ 260001 h 6557032"/>
              <a:gd name="connsiteX39499" fmla="*/ 2658299 w 4610101"/>
              <a:gd name="connsiteY39499" fmla="*/ 264185 h 6557032"/>
              <a:gd name="connsiteX39500" fmla="*/ 2660147 w 4610101"/>
              <a:gd name="connsiteY39500" fmla="*/ 261195 h 6557032"/>
              <a:gd name="connsiteX39501" fmla="*/ 3028453 w 4610101"/>
              <a:gd name="connsiteY39501" fmla="*/ 259601 h 6557032"/>
              <a:gd name="connsiteX39502" fmla="*/ 3028453 w 4610101"/>
              <a:gd name="connsiteY39502" fmla="*/ 265068 h 6557032"/>
              <a:gd name="connsiteX39503" fmla="*/ 3033920 w 4610101"/>
              <a:gd name="connsiteY39503" fmla="*/ 265068 h 6557032"/>
              <a:gd name="connsiteX39504" fmla="*/ 3028453 w 4610101"/>
              <a:gd name="connsiteY39504" fmla="*/ 259601 h 6557032"/>
              <a:gd name="connsiteX39505" fmla="*/ 2665841 w 4610101"/>
              <a:gd name="connsiteY39505" fmla="*/ 259601 h 6557032"/>
              <a:gd name="connsiteX39506" fmla="*/ 2665725 w 4610101"/>
              <a:gd name="connsiteY39506" fmla="*/ 259873 h 6557032"/>
              <a:gd name="connsiteX39507" fmla="*/ 2665182 w 4610101"/>
              <a:gd name="connsiteY39507" fmla="*/ 260001 h 6557032"/>
              <a:gd name="connsiteX39508" fmla="*/ 2571088 w 4610101"/>
              <a:gd name="connsiteY39508" fmla="*/ 259601 h 6557032"/>
              <a:gd name="connsiteX39509" fmla="*/ 2569266 w 4610101"/>
              <a:gd name="connsiteY39509" fmla="*/ 265068 h 6557032"/>
              <a:gd name="connsiteX39510" fmla="*/ 2567760 w 4610101"/>
              <a:gd name="connsiteY39510" fmla="*/ 264692 h 6557032"/>
              <a:gd name="connsiteX39511" fmla="*/ 2350605 w 4610101"/>
              <a:gd name="connsiteY39511" fmla="*/ 259601 h 6557032"/>
              <a:gd name="connsiteX39512" fmla="*/ 2350605 w 4610101"/>
              <a:gd name="connsiteY39512" fmla="*/ 270534 h 6557032"/>
              <a:gd name="connsiteX39513" fmla="*/ 2350605 w 4610101"/>
              <a:gd name="connsiteY39513" fmla="*/ 259601 h 6557032"/>
              <a:gd name="connsiteX39514" fmla="*/ 2681529 w 4610101"/>
              <a:gd name="connsiteY39514" fmla="*/ 256125 h 6557032"/>
              <a:gd name="connsiteX39515" fmla="*/ 2681102 w 4610101"/>
              <a:gd name="connsiteY39515" fmla="*/ 257323 h 6557032"/>
              <a:gd name="connsiteX39516" fmla="*/ 2678596 w 4610101"/>
              <a:gd name="connsiteY39516" fmla="*/ 257779 h 6557032"/>
              <a:gd name="connsiteX39517" fmla="*/ 2683607 w 4610101"/>
              <a:gd name="connsiteY39517" fmla="*/ 265295 h 6557032"/>
              <a:gd name="connsiteX39518" fmla="*/ 2691013 w 4610101"/>
              <a:gd name="connsiteY39518" fmla="*/ 268562 h 6557032"/>
              <a:gd name="connsiteX39519" fmla="*/ 2687707 w 4610101"/>
              <a:gd name="connsiteY39519" fmla="*/ 276001 h 6557032"/>
              <a:gd name="connsiteX39520" fmla="*/ 2693174 w 4610101"/>
              <a:gd name="connsiteY39520" fmla="*/ 281467 h 6557032"/>
              <a:gd name="connsiteX39521" fmla="*/ 2695033 w 4610101"/>
              <a:gd name="connsiteY39521" fmla="*/ 280073 h 6557032"/>
              <a:gd name="connsiteX39522" fmla="*/ 2695224 w 4610101"/>
              <a:gd name="connsiteY39522" fmla="*/ 291944 h 6557032"/>
              <a:gd name="connsiteX39523" fmla="*/ 2702284 w 4610101"/>
              <a:gd name="connsiteY39523" fmla="*/ 303333 h 6557032"/>
              <a:gd name="connsiteX39524" fmla="*/ 2691351 w 4610101"/>
              <a:gd name="connsiteY39524" fmla="*/ 316089 h 6557032"/>
              <a:gd name="connsiteX39525" fmla="*/ 2694996 w 4610101"/>
              <a:gd name="connsiteY39525" fmla="*/ 317911 h 6557032"/>
              <a:gd name="connsiteX39526" fmla="*/ 2687707 w 4610101"/>
              <a:gd name="connsiteY39526" fmla="*/ 327022 h 6557032"/>
              <a:gd name="connsiteX39527" fmla="*/ 2685885 w 4610101"/>
              <a:gd name="connsiteY39527" fmla="*/ 319733 h 6557032"/>
              <a:gd name="connsiteX39528" fmla="*/ 2682240 w 4610101"/>
              <a:gd name="connsiteY39528" fmla="*/ 325199 h 6557032"/>
              <a:gd name="connsiteX39529" fmla="*/ 2682240 w 4610101"/>
              <a:gd name="connsiteY39529" fmla="*/ 319733 h 6557032"/>
              <a:gd name="connsiteX39530" fmla="*/ 2676774 w 4610101"/>
              <a:gd name="connsiteY39530" fmla="*/ 323377 h 6557032"/>
              <a:gd name="connsiteX39531" fmla="*/ 2669485 w 4610101"/>
              <a:gd name="connsiteY39531" fmla="*/ 308800 h 6557032"/>
              <a:gd name="connsiteX39532" fmla="*/ 2663336 w 4610101"/>
              <a:gd name="connsiteY39532" fmla="*/ 302194 h 6557032"/>
              <a:gd name="connsiteX39533" fmla="*/ 2660795 w 4610101"/>
              <a:gd name="connsiteY39533" fmla="*/ 297960 h 6557032"/>
              <a:gd name="connsiteX39534" fmla="*/ 2661286 w 4610101"/>
              <a:gd name="connsiteY39534" fmla="*/ 297183 h 6557032"/>
              <a:gd name="connsiteX39535" fmla="*/ 2664019 w 4610101"/>
              <a:gd name="connsiteY39535" fmla="*/ 299689 h 6557032"/>
              <a:gd name="connsiteX39536" fmla="*/ 2667663 w 4610101"/>
              <a:gd name="connsiteY39536" fmla="*/ 285112 h 6557032"/>
              <a:gd name="connsiteX39537" fmla="*/ 2660375 w 4610101"/>
              <a:gd name="connsiteY39537" fmla="*/ 291261 h 6557032"/>
              <a:gd name="connsiteX39538" fmla="*/ 2659552 w 4610101"/>
              <a:gd name="connsiteY39538" fmla="*/ 295888 h 6557032"/>
              <a:gd name="connsiteX39539" fmla="*/ 2658552 w 4610101"/>
              <a:gd name="connsiteY39539" fmla="*/ 294223 h 6557032"/>
              <a:gd name="connsiteX39540" fmla="*/ 2653086 w 4610101"/>
              <a:gd name="connsiteY39540" fmla="*/ 296045 h 6557032"/>
              <a:gd name="connsiteX39541" fmla="*/ 2651263 w 4610101"/>
              <a:gd name="connsiteY39541" fmla="*/ 286934 h 6557032"/>
              <a:gd name="connsiteX39542" fmla="*/ 2649441 w 4610101"/>
              <a:gd name="connsiteY39542" fmla="*/ 292400 h 6557032"/>
              <a:gd name="connsiteX39543" fmla="*/ 2643975 w 4610101"/>
              <a:gd name="connsiteY39543" fmla="*/ 285112 h 6557032"/>
              <a:gd name="connsiteX39544" fmla="*/ 2640330 w 4610101"/>
              <a:gd name="connsiteY39544" fmla="*/ 286934 h 6557032"/>
              <a:gd name="connsiteX39545" fmla="*/ 2628320 w 4610101"/>
              <a:gd name="connsiteY39545" fmla="*/ 280350 h 6557032"/>
              <a:gd name="connsiteX39546" fmla="*/ 2631219 w 4610101"/>
              <a:gd name="connsiteY39546" fmla="*/ 276001 h 6557032"/>
              <a:gd name="connsiteX39547" fmla="*/ 2647619 w 4610101"/>
              <a:gd name="connsiteY39547" fmla="*/ 281467 h 6557032"/>
              <a:gd name="connsiteX39548" fmla="*/ 2650928 w 4610101"/>
              <a:gd name="connsiteY39548" fmla="*/ 276113 h 6557032"/>
              <a:gd name="connsiteX39549" fmla="*/ 2654908 w 4610101"/>
              <a:gd name="connsiteY39549" fmla="*/ 283289 h 6557032"/>
              <a:gd name="connsiteX39550" fmla="*/ 2662197 w 4610101"/>
              <a:gd name="connsiteY39550" fmla="*/ 283289 h 6557032"/>
              <a:gd name="connsiteX39551" fmla="*/ 2664019 w 4610101"/>
              <a:gd name="connsiteY39551" fmla="*/ 276001 h 6557032"/>
              <a:gd name="connsiteX39552" fmla="*/ 2669485 w 4610101"/>
              <a:gd name="connsiteY39552" fmla="*/ 281467 h 6557032"/>
              <a:gd name="connsiteX39553" fmla="*/ 2673130 w 4610101"/>
              <a:gd name="connsiteY39553" fmla="*/ 290578 h 6557032"/>
              <a:gd name="connsiteX39554" fmla="*/ 2678596 w 4610101"/>
              <a:gd name="connsiteY39554" fmla="*/ 272356 h 6557032"/>
              <a:gd name="connsiteX39555" fmla="*/ 2665841 w 4610101"/>
              <a:gd name="connsiteY39555" fmla="*/ 263246 h 6557032"/>
              <a:gd name="connsiteX39556" fmla="*/ 2660374 w 4610101"/>
              <a:gd name="connsiteY39556" fmla="*/ 272356 h 6557032"/>
              <a:gd name="connsiteX39557" fmla="*/ 2665725 w 4610101"/>
              <a:gd name="connsiteY39557" fmla="*/ 259873 h 6557032"/>
              <a:gd name="connsiteX39558" fmla="*/ 2323272 w 4610101"/>
              <a:gd name="connsiteY39558" fmla="*/ 255957 h 6557032"/>
              <a:gd name="connsiteX39559" fmla="*/ 2319628 w 4610101"/>
              <a:gd name="connsiteY39559" fmla="*/ 257779 h 6557032"/>
              <a:gd name="connsiteX39560" fmla="*/ 2314161 w 4610101"/>
              <a:gd name="connsiteY39560" fmla="*/ 261423 h 6557032"/>
              <a:gd name="connsiteX39561" fmla="*/ 2323272 w 4610101"/>
              <a:gd name="connsiteY39561" fmla="*/ 263246 h 6557032"/>
              <a:gd name="connsiteX39562" fmla="*/ 2323272 w 4610101"/>
              <a:gd name="connsiteY39562" fmla="*/ 255957 h 6557032"/>
              <a:gd name="connsiteX39563" fmla="*/ 2681764 w 4610101"/>
              <a:gd name="connsiteY39563" fmla="*/ 255469 h 6557032"/>
              <a:gd name="connsiteX39564" fmla="*/ 2682240 w 4610101"/>
              <a:gd name="connsiteY39564" fmla="*/ 255957 h 6557032"/>
              <a:gd name="connsiteX39565" fmla="*/ 2681529 w 4610101"/>
              <a:gd name="connsiteY39565" fmla="*/ 256125 h 6557032"/>
              <a:gd name="connsiteX39566" fmla="*/ 1951549 w 4610101"/>
              <a:gd name="connsiteY39566" fmla="*/ 254135 h 6557032"/>
              <a:gd name="connsiteX39567" fmla="*/ 1954586 w 4610101"/>
              <a:gd name="connsiteY39567" fmla="*/ 257171 h 6557032"/>
              <a:gd name="connsiteX39568" fmla="*/ 1954972 w 4610101"/>
              <a:gd name="connsiteY39568" fmla="*/ 259877 h 6557032"/>
              <a:gd name="connsiteX39569" fmla="*/ 1949726 w 4610101"/>
              <a:gd name="connsiteY39569" fmla="*/ 259601 h 6557032"/>
              <a:gd name="connsiteX39570" fmla="*/ 1951549 w 4610101"/>
              <a:gd name="connsiteY39570" fmla="*/ 254135 h 6557032"/>
              <a:gd name="connsiteX39571" fmla="*/ 3239826 w 4610101"/>
              <a:gd name="connsiteY39571" fmla="*/ 252313 h 6557032"/>
              <a:gd name="connsiteX39572" fmla="*/ 3240964 w 4610101"/>
              <a:gd name="connsiteY39572" fmla="*/ 255209 h 6557032"/>
              <a:gd name="connsiteX39573" fmla="*/ 3238744 w 4610101"/>
              <a:gd name="connsiteY39573" fmla="*/ 258698 h 6557032"/>
              <a:gd name="connsiteX39574" fmla="*/ 3238232 w 4610101"/>
              <a:gd name="connsiteY39574" fmla="*/ 258007 h 6557032"/>
              <a:gd name="connsiteX39575" fmla="*/ 3239826 w 4610101"/>
              <a:gd name="connsiteY39575" fmla="*/ 252313 h 6557032"/>
              <a:gd name="connsiteX39576" fmla="*/ 3094052 w 4610101"/>
              <a:gd name="connsiteY39576" fmla="*/ 252313 h 6557032"/>
              <a:gd name="connsiteX39577" fmla="*/ 3095874 w 4610101"/>
              <a:gd name="connsiteY39577" fmla="*/ 279645 h 6557032"/>
              <a:gd name="connsiteX39578" fmla="*/ 3090407 w 4610101"/>
              <a:gd name="connsiteY39578" fmla="*/ 308800 h 6557032"/>
              <a:gd name="connsiteX39579" fmla="*/ 3094052 w 4610101"/>
              <a:gd name="connsiteY39579" fmla="*/ 310622 h 6557032"/>
              <a:gd name="connsiteX39580" fmla="*/ 3094052 w 4610101"/>
              <a:gd name="connsiteY39580" fmla="*/ 306978 h 6557032"/>
              <a:gd name="connsiteX39581" fmla="*/ 3103163 w 4610101"/>
              <a:gd name="connsiteY39581" fmla="*/ 319733 h 6557032"/>
              <a:gd name="connsiteX39582" fmla="*/ 3115918 w 4610101"/>
              <a:gd name="connsiteY39582" fmla="*/ 277823 h 6557032"/>
              <a:gd name="connsiteX39583" fmla="*/ 3121384 w 4610101"/>
              <a:gd name="connsiteY39583" fmla="*/ 288756 h 6557032"/>
              <a:gd name="connsiteX39584" fmla="*/ 3123206 w 4610101"/>
              <a:gd name="connsiteY39584" fmla="*/ 265068 h 6557032"/>
              <a:gd name="connsiteX39585" fmla="*/ 3106807 w 4610101"/>
              <a:gd name="connsiteY39585" fmla="*/ 263246 h 6557032"/>
              <a:gd name="connsiteX39586" fmla="*/ 3095874 w 4610101"/>
              <a:gd name="connsiteY39586" fmla="*/ 252313 h 6557032"/>
              <a:gd name="connsiteX39587" fmla="*/ 3094052 w 4610101"/>
              <a:gd name="connsiteY39587" fmla="*/ 259601 h 6557032"/>
              <a:gd name="connsiteX39588" fmla="*/ 3094052 w 4610101"/>
              <a:gd name="connsiteY39588" fmla="*/ 252313 h 6557032"/>
              <a:gd name="connsiteX39589" fmla="*/ 3068541 w 4610101"/>
              <a:gd name="connsiteY39589" fmla="*/ 252313 h 6557032"/>
              <a:gd name="connsiteX39590" fmla="*/ 3068541 w 4610101"/>
              <a:gd name="connsiteY39590" fmla="*/ 277823 h 6557032"/>
              <a:gd name="connsiteX39591" fmla="*/ 3064897 w 4610101"/>
              <a:gd name="connsiteY39591" fmla="*/ 274179 h 6557032"/>
              <a:gd name="connsiteX39592" fmla="*/ 3063075 w 4610101"/>
              <a:gd name="connsiteY39592" fmla="*/ 286934 h 6557032"/>
              <a:gd name="connsiteX39593" fmla="*/ 3074008 w 4610101"/>
              <a:gd name="connsiteY39593" fmla="*/ 288756 h 6557032"/>
              <a:gd name="connsiteX39594" fmla="*/ 3077652 w 4610101"/>
              <a:gd name="connsiteY39594" fmla="*/ 259601 h 6557032"/>
              <a:gd name="connsiteX39595" fmla="*/ 3068541 w 4610101"/>
              <a:gd name="connsiteY39595" fmla="*/ 259601 h 6557032"/>
              <a:gd name="connsiteX39596" fmla="*/ 3068541 w 4610101"/>
              <a:gd name="connsiteY39596" fmla="*/ 252313 h 6557032"/>
              <a:gd name="connsiteX39597" fmla="*/ 2288196 w 4610101"/>
              <a:gd name="connsiteY39597" fmla="*/ 252084 h 6557032"/>
              <a:gd name="connsiteX39598" fmla="*/ 2283184 w 4610101"/>
              <a:gd name="connsiteY39598" fmla="*/ 252313 h 6557032"/>
              <a:gd name="connsiteX39599" fmla="*/ 2290473 w 4610101"/>
              <a:gd name="connsiteY39599" fmla="*/ 255957 h 6557032"/>
              <a:gd name="connsiteX39600" fmla="*/ 2288196 w 4610101"/>
              <a:gd name="connsiteY39600" fmla="*/ 252084 h 6557032"/>
              <a:gd name="connsiteX39601" fmla="*/ 2282274 w 4610101"/>
              <a:gd name="connsiteY39601" fmla="*/ 251857 h 6557032"/>
              <a:gd name="connsiteX39602" fmla="*/ 2274074 w 4610101"/>
              <a:gd name="connsiteY39602" fmla="*/ 254135 h 6557032"/>
              <a:gd name="connsiteX39603" fmla="*/ 2274074 w 4610101"/>
              <a:gd name="connsiteY39603" fmla="*/ 261423 h 6557032"/>
              <a:gd name="connsiteX39604" fmla="*/ 2281362 w 4610101"/>
              <a:gd name="connsiteY39604" fmla="*/ 263246 h 6557032"/>
              <a:gd name="connsiteX39605" fmla="*/ 2272251 w 4610101"/>
              <a:gd name="connsiteY39605" fmla="*/ 268712 h 6557032"/>
              <a:gd name="connsiteX39606" fmla="*/ 2270429 w 4610101"/>
              <a:gd name="connsiteY39606" fmla="*/ 263246 h 6557032"/>
              <a:gd name="connsiteX39607" fmla="*/ 2272251 w 4610101"/>
              <a:gd name="connsiteY39607" fmla="*/ 252313 h 6557032"/>
              <a:gd name="connsiteX39608" fmla="*/ 2237630 w 4610101"/>
              <a:gd name="connsiteY39608" fmla="*/ 261423 h 6557032"/>
              <a:gd name="connsiteX39609" fmla="*/ 2215764 w 4610101"/>
              <a:gd name="connsiteY39609" fmla="*/ 257779 h 6557032"/>
              <a:gd name="connsiteX39610" fmla="*/ 2210297 w 4610101"/>
              <a:gd name="connsiteY39610" fmla="*/ 308800 h 6557032"/>
              <a:gd name="connsiteX39611" fmla="*/ 2213942 w 4610101"/>
              <a:gd name="connsiteY39611" fmla="*/ 301511 h 6557032"/>
              <a:gd name="connsiteX39612" fmla="*/ 2215764 w 4610101"/>
              <a:gd name="connsiteY39612" fmla="*/ 310622 h 6557032"/>
              <a:gd name="connsiteX39613" fmla="*/ 2233986 w 4610101"/>
              <a:gd name="connsiteY39613" fmla="*/ 316089 h 6557032"/>
              <a:gd name="connsiteX39614" fmla="*/ 2235808 w 4610101"/>
              <a:gd name="connsiteY39614" fmla="*/ 310622 h 6557032"/>
              <a:gd name="connsiteX39615" fmla="*/ 2246741 w 4610101"/>
              <a:gd name="connsiteY39615" fmla="*/ 314266 h 6557032"/>
              <a:gd name="connsiteX39616" fmla="*/ 2248563 w 4610101"/>
              <a:gd name="connsiteY39616" fmla="*/ 323377 h 6557032"/>
              <a:gd name="connsiteX39617" fmla="*/ 2232163 w 4610101"/>
              <a:gd name="connsiteY39617" fmla="*/ 319733 h 6557032"/>
              <a:gd name="connsiteX39618" fmla="*/ 2232163 w 4610101"/>
              <a:gd name="connsiteY39618" fmla="*/ 327022 h 6557032"/>
              <a:gd name="connsiteX39619" fmla="*/ 2213942 w 4610101"/>
              <a:gd name="connsiteY39619" fmla="*/ 314266 h 6557032"/>
              <a:gd name="connsiteX39620" fmla="*/ 2215764 w 4610101"/>
              <a:gd name="connsiteY39620" fmla="*/ 317911 h 6557032"/>
              <a:gd name="connsiteX39621" fmla="*/ 2208475 w 4610101"/>
              <a:gd name="connsiteY39621" fmla="*/ 312444 h 6557032"/>
              <a:gd name="connsiteX39622" fmla="*/ 2210297 w 4610101"/>
              <a:gd name="connsiteY39622" fmla="*/ 332488 h 6557032"/>
              <a:gd name="connsiteX39623" fmla="*/ 2213942 w 4610101"/>
              <a:gd name="connsiteY39623" fmla="*/ 319733 h 6557032"/>
              <a:gd name="connsiteX39624" fmla="*/ 2221230 w 4610101"/>
              <a:gd name="connsiteY39624" fmla="*/ 332488 h 6557032"/>
              <a:gd name="connsiteX39625" fmla="*/ 2213942 w 4610101"/>
              <a:gd name="connsiteY39625" fmla="*/ 332488 h 6557032"/>
              <a:gd name="connsiteX39626" fmla="*/ 2203009 w 4610101"/>
              <a:gd name="connsiteY39626" fmla="*/ 336133 h 6557032"/>
              <a:gd name="connsiteX39627" fmla="*/ 2204831 w 4610101"/>
              <a:gd name="connsiteY39627" fmla="*/ 325199 h 6557032"/>
              <a:gd name="connsiteX39628" fmla="*/ 2208475 w 4610101"/>
              <a:gd name="connsiteY39628" fmla="*/ 370754 h 6557032"/>
              <a:gd name="connsiteX39629" fmla="*/ 2210297 w 4610101"/>
              <a:gd name="connsiteY39629" fmla="*/ 367109 h 6557032"/>
              <a:gd name="connsiteX39630" fmla="*/ 2230341 w 4610101"/>
              <a:gd name="connsiteY39630" fmla="*/ 359821 h 6557032"/>
              <a:gd name="connsiteX39631" fmla="*/ 2230341 w 4610101"/>
              <a:gd name="connsiteY39631" fmla="*/ 368932 h 6557032"/>
              <a:gd name="connsiteX39632" fmla="*/ 2243096 w 4610101"/>
              <a:gd name="connsiteY39632" fmla="*/ 350710 h 6557032"/>
              <a:gd name="connsiteX39633" fmla="*/ 2248563 w 4610101"/>
              <a:gd name="connsiteY39633" fmla="*/ 359821 h 6557032"/>
              <a:gd name="connsiteX39634" fmla="*/ 2254030 w 4610101"/>
              <a:gd name="connsiteY39634" fmla="*/ 352532 h 6557032"/>
              <a:gd name="connsiteX39635" fmla="*/ 2257674 w 4610101"/>
              <a:gd name="connsiteY39635" fmla="*/ 359821 h 6557032"/>
              <a:gd name="connsiteX39636" fmla="*/ 2264963 w 4610101"/>
              <a:gd name="connsiteY39636" fmla="*/ 352532 h 6557032"/>
              <a:gd name="connsiteX39637" fmla="*/ 2252207 w 4610101"/>
              <a:gd name="connsiteY39637" fmla="*/ 348888 h 6557032"/>
              <a:gd name="connsiteX39638" fmla="*/ 2259496 w 4610101"/>
              <a:gd name="connsiteY39638" fmla="*/ 336133 h 6557032"/>
              <a:gd name="connsiteX39639" fmla="*/ 2261318 w 4610101"/>
              <a:gd name="connsiteY39639" fmla="*/ 341598 h 6557032"/>
              <a:gd name="connsiteX39640" fmla="*/ 2263140 w 4610101"/>
              <a:gd name="connsiteY39640" fmla="*/ 339777 h 6557032"/>
              <a:gd name="connsiteX39641" fmla="*/ 2261318 w 4610101"/>
              <a:gd name="connsiteY39641" fmla="*/ 347066 h 6557032"/>
              <a:gd name="connsiteX39642" fmla="*/ 2268607 w 4610101"/>
              <a:gd name="connsiteY39642" fmla="*/ 348888 h 6557032"/>
              <a:gd name="connsiteX39643" fmla="*/ 2275896 w 4610101"/>
              <a:gd name="connsiteY39643" fmla="*/ 341598 h 6557032"/>
              <a:gd name="connsiteX39644" fmla="*/ 2274074 w 4610101"/>
              <a:gd name="connsiteY39644" fmla="*/ 334310 h 6557032"/>
              <a:gd name="connsiteX39645" fmla="*/ 2266785 w 4610101"/>
              <a:gd name="connsiteY39645" fmla="*/ 341598 h 6557032"/>
              <a:gd name="connsiteX39646" fmla="*/ 2264963 w 4610101"/>
              <a:gd name="connsiteY39646" fmla="*/ 334310 h 6557032"/>
              <a:gd name="connsiteX39647" fmla="*/ 2270429 w 4610101"/>
              <a:gd name="connsiteY39647" fmla="*/ 305155 h 6557032"/>
              <a:gd name="connsiteX39648" fmla="*/ 2264963 w 4610101"/>
              <a:gd name="connsiteY39648" fmla="*/ 312444 h 6557032"/>
              <a:gd name="connsiteX39649" fmla="*/ 2263140 w 4610101"/>
              <a:gd name="connsiteY39649" fmla="*/ 332488 h 6557032"/>
              <a:gd name="connsiteX39650" fmla="*/ 2261318 w 4610101"/>
              <a:gd name="connsiteY39650" fmla="*/ 325199 h 6557032"/>
              <a:gd name="connsiteX39651" fmla="*/ 2254030 w 4610101"/>
              <a:gd name="connsiteY39651" fmla="*/ 332488 h 6557032"/>
              <a:gd name="connsiteX39652" fmla="*/ 2255852 w 4610101"/>
              <a:gd name="connsiteY39652" fmla="*/ 321555 h 6557032"/>
              <a:gd name="connsiteX39653" fmla="*/ 2261318 w 4610101"/>
              <a:gd name="connsiteY39653" fmla="*/ 314266 h 6557032"/>
              <a:gd name="connsiteX39654" fmla="*/ 2257674 w 4610101"/>
              <a:gd name="connsiteY39654" fmla="*/ 312444 h 6557032"/>
              <a:gd name="connsiteX39655" fmla="*/ 2255852 w 4610101"/>
              <a:gd name="connsiteY39655" fmla="*/ 316089 h 6557032"/>
              <a:gd name="connsiteX39656" fmla="*/ 2255852 w 4610101"/>
              <a:gd name="connsiteY39656" fmla="*/ 301511 h 6557032"/>
              <a:gd name="connsiteX39657" fmla="*/ 2246741 w 4610101"/>
              <a:gd name="connsiteY39657" fmla="*/ 299689 h 6557032"/>
              <a:gd name="connsiteX39658" fmla="*/ 2250385 w 4610101"/>
              <a:gd name="connsiteY39658" fmla="*/ 292400 h 6557032"/>
              <a:gd name="connsiteX39659" fmla="*/ 2254030 w 4610101"/>
              <a:gd name="connsiteY39659" fmla="*/ 274179 h 6557032"/>
              <a:gd name="connsiteX39660" fmla="*/ 2266785 w 4610101"/>
              <a:gd name="connsiteY39660" fmla="*/ 292400 h 6557032"/>
              <a:gd name="connsiteX39661" fmla="*/ 2274074 w 4610101"/>
              <a:gd name="connsiteY39661" fmla="*/ 286934 h 6557032"/>
              <a:gd name="connsiteX39662" fmla="*/ 2277718 w 4610101"/>
              <a:gd name="connsiteY39662" fmla="*/ 294223 h 6557032"/>
              <a:gd name="connsiteX39663" fmla="*/ 2275896 w 4610101"/>
              <a:gd name="connsiteY39663" fmla="*/ 272356 h 6557032"/>
              <a:gd name="connsiteX39664" fmla="*/ 2283184 w 4610101"/>
              <a:gd name="connsiteY39664" fmla="*/ 270534 h 6557032"/>
              <a:gd name="connsiteX39665" fmla="*/ 2285007 w 4610101"/>
              <a:gd name="connsiteY39665" fmla="*/ 274179 h 6557032"/>
              <a:gd name="connsiteX39666" fmla="*/ 2285636 w 4610101"/>
              <a:gd name="connsiteY39666" fmla="*/ 271351 h 6557032"/>
              <a:gd name="connsiteX39667" fmla="*/ 2288651 w 4610101"/>
              <a:gd name="connsiteY39667" fmla="*/ 272356 h 6557032"/>
              <a:gd name="connsiteX39668" fmla="*/ 2290473 w 4610101"/>
              <a:gd name="connsiteY39668" fmla="*/ 261423 h 6557032"/>
              <a:gd name="connsiteX39669" fmla="*/ 2287541 w 4610101"/>
              <a:gd name="connsiteY39669" fmla="*/ 262776 h 6557032"/>
              <a:gd name="connsiteX39670" fmla="*/ 2288651 w 4610101"/>
              <a:gd name="connsiteY39670" fmla="*/ 257779 h 6557032"/>
              <a:gd name="connsiteX39671" fmla="*/ 2285007 w 4610101"/>
              <a:gd name="connsiteY39671" fmla="*/ 257779 h 6557032"/>
              <a:gd name="connsiteX39672" fmla="*/ 2282274 w 4610101"/>
              <a:gd name="connsiteY39672" fmla="*/ 251857 h 6557032"/>
              <a:gd name="connsiteX39673" fmla="*/ 1953632 w 4610101"/>
              <a:gd name="connsiteY39673" fmla="*/ 250494 h 6557032"/>
              <a:gd name="connsiteX39674" fmla="*/ 1955194 w 4610101"/>
              <a:gd name="connsiteY39674" fmla="*/ 257779 h 6557032"/>
              <a:gd name="connsiteX39675" fmla="*/ 1954586 w 4610101"/>
              <a:gd name="connsiteY39675" fmla="*/ 257171 h 6557032"/>
              <a:gd name="connsiteX39676" fmla="*/ 3296313 w 4610101"/>
              <a:gd name="connsiteY39676" fmla="*/ 250490 h 6557032"/>
              <a:gd name="connsiteX39677" fmla="*/ 3299046 w 4610101"/>
              <a:gd name="connsiteY39677" fmla="*/ 251173 h 6557032"/>
              <a:gd name="connsiteX39678" fmla="*/ 3299958 w 4610101"/>
              <a:gd name="connsiteY39678" fmla="*/ 250945 h 6557032"/>
              <a:gd name="connsiteX39679" fmla="*/ 3299957 w 4610101"/>
              <a:gd name="connsiteY39679" fmla="*/ 252312 h 6557032"/>
              <a:gd name="connsiteX39680" fmla="*/ 3296886 w 4610101"/>
              <a:gd name="connsiteY39680" fmla="*/ 255384 h 6557032"/>
              <a:gd name="connsiteX39681" fmla="*/ 3295383 w 4610101"/>
              <a:gd name="connsiteY39681" fmla="*/ 254212 h 6557032"/>
              <a:gd name="connsiteX39682" fmla="*/ 3004765 w 4610101"/>
              <a:gd name="connsiteY39682" fmla="*/ 246846 h 6557032"/>
              <a:gd name="connsiteX39683" fmla="*/ 3004765 w 4610101"/>
              <a:gd name="connsiteY39683" fmla="*/ 255957 h 6557032"/>
              <a:gd name="connsiteX39684" fmla="*/ 3002943 w 4610101"/>
              <a:gd name="connsiteY39684" fmla="*/ 254135 h 6557032"/>
              <a:gd name="connsiteX39685" fmla="*/ 3006587 w 4610101"/>
              <a:gd name="connsiteY39685" fmla="*/ 257779 h 6557032"/>
              <a:gd name="connsiteX39686" fmla="*/ 3008410 w 4610101"/>
              <a:gd name="connsiteY39686" fmla="*/ 252313 h 6557032"/>
              <a:gd name="connsiteX39687" fmla="*/ 3004765 w 4610101"/>
              <a:gd name="connsiteY39687" fmla="*/ 246846 h 6557032"/>
              <a:gd name="connsiteX39688" fmla="*/ 2308695 w 4610101"/>
              <a:gd name="connsiteY39688" fmla="*/ 246846 h 6557032"/>
              <a:gd name="connsiteX39689" fmla="*/ 2310517 w 4610101"/>
              <a:gd name="connsiteY39689" fmla="*/ 255957 h 6557032"/>
              <a:gd name="connsiteX39690" fmla="*/ 2314161 w 4610101"/>
              <a:gd name="connsiteY39690" fmla="*/ 246846 h 6557032"/>
              <a:gd name="connsiteX39691" fmla="*/ 2308695 w 4610101"/>
              <a:gd name="connsiteY39691" fmla="*/ 246846 h 6557032"/>
              <a:gd name="connsiteX39692" fmla="*/ 3423562 w 4610101"/>
              <a:gd name="connsiteY39692" fmla="*/ 246238 h 6557032"/>
              <a:gd name="connsiteX39693" fmla="*/ 3423826 w 4610101"/>
              <a:gd name="connsiteY39693" fmla="*/ 246767 h 6557032"/>
              <a:gd name="connsiteX39694" fmla="*/ 3423638 w 4610101"/>
              <a:gd name="connsiteY39694" fmla="*/ 255046 h 6557032"/>
              <a:gd name="connsiteX39695" fmla="*/ 3422043 w 4610101"/>
              <a:gd name="connsiteY39695" fmla="*/ 265068 h 6557032"/>
              <a:gd name="connsiteX39696" fmla="*/ 3415894 w 4610101"/>
              <a:gd name="connsiteY39696" fmla="*/ 265978 h 6557032"/>
              <a:gd name="connsiteX39697" fmla="*/ 3412465 w 4610101"/>
              <a:gd name="connsiteY39697" fmla="*/ 262713 h 6557032"/>
              <a:gd name="connsiteX39698" fmla="*/ 3418695 w 4610101"/>
              <a:gd name="connsiteY39698" fmla="*/ 250022 h 6557032"/>
              <a:gd name="connsiteX39699" fmla="*/ 3422043 w 4610101"/>
              <a:gd name="connsiteY39699" fmla="*/ 252313 h 6557032"/>
              <a:gd name="connsiteX39700" fmla="*/ 3400177 w 4610101"/>
              <a:gd name="connsiteY39700" fmla="*/ 243202 h 6557032"/>
              <a:gd name="connsiteX39701" fmla="*/ 3401999 w 4610101"/>
              <a:gd name="connsiteY39701" fmla="*/ 252313 h 6557032"/>
              <a:gd name="connsiteX39702" fmla="*/ 3400177 w 4610101"/>
              <a:gd name="connsiteY39702" fmla="*/ 243202 h 6557032"/>
              <a:gd name="connsiteX39703" fmla="*/ 2006214 w 4610101"/>
              <a:gd name="connsiteY39703" fmla="*/ 241379 h 6557032"/>
              <a:gd name="connsiteX39704" fmla="*/ 2004392 w 4610101"/>
              <a:gd name="connsiteY39704" fmla="*/ 255957 h 6557032"/>
              <a:gd name="connsiteX39705" fmla="*/ 1987992 w 4610101"/>
              <a:gd name="connsiteY39705" fmla="*/ 246846 h 6557032"/>
              <a:gd name="connsiteX39706" fmla="*/ 1987992 w 4610101"/>
              <a:gd name="connsiteY39706" fmla="*/ 250490 h 6557032"/>
              <a:gd name="connsiteX39707" fmla="*/ 1984348 w 4610101"/>
              <a:gd name="connsiteY39707" fmla="*/ 250490 h 6557032"/>
              <a:gd name="connsiteX39708" fmla="*/ 1987992 w 4610101"/>
              <a:gd name="connsiteY39708" fmla="*/ 255957 h 6557032"/>
              <a:gd name="connsiteX39709" fmla="*/ 1980703 w 4610101"/>
              <a:gd name="connsiteY39709" fmla="*/ 255957 h 6557032"/>
              <a:gd name="connsiteX39710" fmla="*/ 2013503 w 4610101"/>
              <a:gd name="connsiteY39710" fmla="*/ 259601 h 6557032"/>
              <a:gd name="connsiteX39711" fmla="*/ 2011680 w 4610101"/>
              <a:gd name="connsiteY39711" fmla="*/ 254135 h 6557032"/>
              <a:gd name="connsiteX39712" fmla="*/ 2006214 w 4610101"/>
              <a:gd name="connsiteY39712" fmla="*/ 241379 h 6557032"/>
              <a:gd name="connsiteX39713" fmla="*/ 3141428 w 4610101"/>
              <a:gd name="connsiteY39713" fmla="*/ 237735 h 6557032"/>
              <a:gd name="connsiteX39714" fmla="*/ 3137784 w 4610101"/>
              <a:gd name="connsiteY39714" fmla="*/ 268712 h 6557032"/>
              <a:gd name="connsiteX39715" fmla="*/ 3141428 w 4610101"/>
              <a:gd name="connsiteY39715" fmla="*/ 237735 h 6557032"/>
              <a:gd name="connsiteX39716" fmla="*/ 3077652 w 4610101"/>
              <a:gd name="connsiteY39716" fmla="*/ 237735 h 6557032"/>
              <a:gd name="connsiteX39717" fmla="*/ 3078369 w 4610101"/>
              <a:gd name="connsiteY39717" fmla="*/ 238212 h 6557032"/>
              <a:gd name="connsiteX39718" fmla="*/ 3078305 w 4610101"/>
              <a:gd name="connsiteY39718" fmla="*/ 238822 h 6557032"/>
              <a:gd name="connsiteX39719" fmla="*/ 1951549 w 4610101"/>
              <a:gd name="connsiteY39719" fmla="*/ 237735 h 6557032"/>
              <a:gd name="connsiteX39720" fmla="*/ 1953371 w 4610101"/>
              <a:gd name="connsiteY39720" fmla="*/ 248668 h 6557032"/>
              <a:gd name="connsiteX39721" fmla="*/ 1953632 w 4610101"/>
              <a:gd name="connsiteY39721" fmla="*/ 250494 h 6557032"/>
              <a:gd name="connsiteX39722" fmla="*/ 1951153 w 4610101"/>
              <a:gd name="connsiteY39722" fmla="*/ 238924 h 6557032"/>
              <a:gd name="connsiteX39723" fmla="*/ 1950872 w 4610101"/>
              <a:gd name="connsiteY39723" fmla="*/ 237616 h 6557032"/>
              <a:gd name="connsiteX39724" fmla="*/ 1951153 w 4610101"/>
              <a:gd name="connsiteY39724" fmla="*/ 238924 h 6557032"/>
              <a:gd name="connsiteX39725" fmla="*/ 1949726 w 4610101"/>
              <a:gd name="connsiteY39725" fmla="*/ 243202 h 6557032"/>
              <a:gd name="connsiteX39726" fmla="*/ 1980703 w 4610101"/>
              <a:gd name="connsiteY39726" fmla="*/ 234091 h 6557032"/>
              <a:gd name="connsiteX39727" fmla="*/ 1982527 w 4610101"/>
              <a:gd name="connsiteY39727" fmla="*/ 246846 h 6557032"/>
              <a:gd name="connsiteX39728" fmla="*/ 1980703 w 4610101"/>
              <a:gd name="connsiteY39728" fmla="*/ 234091 h 6557032"/>
              <a:gd name="connsiteX39729" fmla="*/ 1964305 w 4610101"/>
              <a:gd name="connsiteY39729" fmla="*/ 234091 h 6557032"/>
              <a:gd name="connsiteX39730" fmla="*/ 1977059 w 4610101"/>
              <a:gd name="connsiteY39730" fmla="*/ 254135 h 6557032"/>
              <a:gd name="connsiteX39731" fmla="*/ 1975237 w 4610101"/>
              <a:gd name="connsiteY39731" fmla="*/ 243202 h 6557032"/>
              <a:gd name="connsiteX39732" fmla="*/ 1964305 w 4610101"/>
              <a:gd name="connsiteY39732" fmla="*/ 234091 h 6557032"/>
              <a:gd name="connsiteX39733" fmla="*/ 1949726 w 4610101"/>
              <a:gd name="connsiteY39733" fmla="*/ 232269 h 6557032"/>
              <a:gd name="connsiteX39734" fmla="*/ 1951435 w 4610101"/>
              <a:gd name="connsiteY39734" fmla="*/ 234084 h 6557032"/>
              <a:gd name="connsiteX39735" fmla="*/ 1951548 w 4610101"/>
              <a:gd name="connsiteY39735" fmla="*/ 234318 h 6557032"/>
              <a:gd name="connsiteX39736" fmla="*/ 1950872 w 4610101"/>
              <a:gd name="connsiteY39736" fmla="*/ 237616 h 6557032"/>
              <a:gd name="connsiteX39737" fmla="*/ 2971768 w 4610101"/>
              <a:gd name="connsiteY39737" fmla="*/ 232085 h 6557032"/>
              <a:gd name="connsiteX39738" fmla="*/ 2974853 w 4610101"/>
              <a:gd name="connsiteY39738" fmla="*/ 236815 h 6557032"/>
              <a:gd name="connsiteX39739" fmla="*/ 2973788 w 4610101"/>
              <a:gd name="connsiteY39739" fmla="*/ 243202 h 6557032"/>
              <a:gd name="connsiteX39740" fmla="*/ 2973788 w 4610101"/>
              <a:gd name="connsiteY39740" fmla="*/ 241379 h 6557032"/>
              <a:gd name="connsiteX39741" fmla="*/ 2971966 w 4610101"/>
              <a:gd name="connsiteY39741" fmla="*/ 245024 h 6557032"/>
              <a:gd name="connsiteX39742" fmla="*/ 2970828 w 4610101"/>
              <a:gd name="connsiteY39742" fmla="*/ 234546 h 6557032"/>
              <a:gd name="connsiteX39743" fmla="*/ 3445731 w 4610101"/>
              <a:gd name="connsiteY39743" fmla="*/ 230446 h 6557032"/>
              <a:gd name="connsiteX39744" fmla="*/ 3449376 w 4610101"/>
              <a:gd name="connsiteY39744" fmla="*/ 239557 h 6557032"/>
              <a:gd name="connsiteX39745" fmla="*/ 3445731 w 4610101"/>
              <a:gd name="connsiteY39745" fmla="*/ 230446 h 6557032"/>
              <a:gd name="connsiteX39746" fmla="*/ 3019343 w 4610101"/>
              <a:gd name="connsiteY39746" fmla="*/ 228624 h 6557032"/>
              <a:gd name="connsiteX39747" fmla="*/ 3021165 w 4610101"/>
              <a:gd name="connsiteY39747" fmla="*/ 235913 h 6557032"/>
              <a:gd name="connsiteX39748" fmla="*/ 3019343 w 4610101"/>
              <a:gd name="connsiteY39748" fmla="*/ 228624 h 6557032"/>
              <a:gd name="connsiteX39749" fmla="*/ 3143250 w 4610101"/>
              <a:gd name="connsiteY39749" fmla="*/ 224980 h 6557032"/>
              <a:gd name="connsiteX39750" fmla="*/ 3150539 w 4610101"/>
              <a:gd name="connsiteY39750" fmla="*/ 234091 h 6557032"/>
              <a:gd name="connsiteX39751" fmla="*/ 3150539 w 4610101"/>
              <a:gd name="connsiteY39751" fmla="*/ 226802 h 6557032"/>
              <a:gd name="connsiteX39752" fmla="*/ 3143250 w 4610101"/>
              <a:gd name="connsiteY39752" fmla="*/ 224980 h 6557032"/>
              <a:gd name="connsiteX39753" fmla="*/ 3114096 w 4610101"/>
              <a:gd name="connsiteY39753" fmla="*/ 224980 h 6557032"/>
              <a:gd name="connsiteX39754" fmla="*/ 3112274 w 4610101"/>
              <a:gd name="connsiteY39754" fmla="*/ 235913 h 6557032"/>
              <a:gd name="connsiteX39755" fmla="*/ 3114096 w 4610101"/>
              <a:gd name="connsiteY39755" fmla="*/ 224980 h 6557032"/>
              <a:gd name="connsiteX39756" fmla="*/ 3035742 w 4610101"/>
              <a:gd name="connsiteY39756" fmla="*/ 224980 h 6557032"/>
              <a:gd name="connsiteX39757" fmla="*/ 3033920 w 4610101"/>
              <a:gd name="connsiteY39757" fmla="*/ 235913 h 6557032"/>
              <a:gd name="connsiteX39758" fmla="*/ 3039387 w 4610101"/>
              <a:gd name="connsiteY39758" fmla="*/ 230446 h 6557032"/>
              <a:gd name="connsiteX39759" fmla="*/ 3035742 w 4610101"/>
              <a:gd name="connsiteY39759" fmla="*/ 224980 h 6557032"/>
              <a:gd name="connsiteX39760" fmla="*/ 2345821 w 4610101"/>
              <a:gd name="connsiteY39760" fmla="*/ 224980 h 6557032"/>
              <a:gd name="connsiteX39761" fmla="*/ 2341494 w 4610101"/>
              <a:gd name="connsiteY39761" fmla="*/ 226802 h 6557032"/>
              <a:gd name="connsiteX39762" fmla="*/ 2348782 w 4610101"/>
              <a:gd name="connsiteY39762" fmla="*/ 228624 h 6557032"/>
              <a:gd name="connsiteX39763" fmla="*/ 2345821 w 4610101"/>
              <a:gd name="connsiteY39763" fmla="*/ 224980 h 6557032"/>
              <a:gd name="connsiteX39764" fmla="*/ 3192256 w 4610101"/>
              <a:gd name="connsiteY39764" fmla="*/ 223889 h 6557032"/>
              <a:gd name="connsiteX39765" fmla="*/ 3194271 w 4610101"/>
              <a:gd name="connsiteY39765" fmla="*/ 229307 h 6557032"/>
              <a:gd name="connsiteX39766" fmla="*/ 3197916 w 4610101"/>
              <a:gd name="connsiteY39766" fmla="*/ 237735 h 6557032"/>
              <a:gd name="connsiteX39767" fmla="*/ 3197592 w 4610101"/>
              <a:gd name="connsiteY39767" fmla="*/ 238221 h 6557032"/>
              <a:gd name="connsiteX39768" fmla="*/ 3192449 w 4610101"/>
              <a:gd name="connsiteY39768" fmla="*/ 235913 h 6557032"/>
              <a:gd name="connsiteX39769" fmla="*/ 3190627 w 4610101"/>
              <a:gd name="connsiteY39769" fmla="*/ 239557 h 6557032"/>
              <a:gd name="connsiteX39770" fmla="*/ 3194271 w 4610101"/>
              <a:gd name="connsiteY39770" fmla="*/ 241379 h 6557032"/>
              <a:gd name="connsiteX39771" fmla="*/ 3192449 w 4610101"/>
              <a:gd name="connsiteY39771" fmla="*/ 254135 h 6557032"/>
              <a:gd name="connsiteX39772" fmla="*/ 3188349 w 4610101"/>
              <a:gd name="connsiteY39772" fmla="*/ 238646 h 6557032"/>
              <a:gd name="connsiteX39773" fmla="*/ 3191917 w 4610101"/>
              <a:gd name="connsiteY39773" fmla="*/ 222980 h 6557032"/>
              <a:gd name="connsiteX39774" fmla="*/ 3192449 w 4610101"/>
              <a:gd name="connsiteY39774" fmla="*/ 223158 h 6557032"/>
              <a:gd name="connsiteX39775" fmla="*/ 3192256 w 4610101"/>
              <a:gd name="connsiteY39775" fmla="*/ 223889 h 6557032"/>
              <a:gd name="connsiteX39776" fmla="*/ 3170583 w 4610101"/>
              <a:gd name="connsiteY39776" fmla="*/ 221336 h 6557032"/>
              <a:gd name="connsiteX39777" fmla="*/ 3159650 w 4610101"/>
              <a:gd name="connsiteY39777" fmla="*/ 232269 h 6557032"/>
              <a:gd name="connsiteX39778" fmla="*/ 3159650 w 4610101"/>
              <a:gd name="connsiteY39778" fmla="*/ 245024 h 6557032"/>
              <a:gd name="connsiteX39779" fmla="*/ 3168761 w 4610101"/>
              <a:gd name="connsiteY39779" fmla="*/ 235913 h 6557032"/>
              <a:gd name="connsiteX39780" fmla="*/ 3168761 w 4610101"/>
              <a:gd name="connsiteY39780" fmla="*/ 246846 h 6557032"/>
              <a:gd name="connsiteX39781" fmla="*/ 3174227 w 4610101"/>
              <a:gd name="connsiteY39781" fmla="*/ 239557 h 6557032"/>
              <a:gd name="connsiteX39782" fmla="*/ 3176050 w 4610101"/>
              <a:gd name="connsiteY39782" fmla="*/ 252313 h 6557032"/>
              <a:gd name="connsiteX39783" fmla="*/ 3170583 w 4610101"/>
              <a:gd name="connsiteY39783" fmla="*/ 221336 h 6557032"/>
              <a:gd name="connsiteX39784" fmla="*/ 2658552 w 4610101"/>
              <a:gd name="connsiteY39784" fmla="*/ 221336 h 6557032"/>
              <a:gd name="connsiteX39785" fmla="*/ 2662197 w 4610101"/>
              <a:gd name="connsiteY39785" fmla="*/ 226802 h 6557032"/>
              <a:gd name="connsiteX39786" fmla="*/ 2662197 w 4610101"/>
              <a:gd name="connsiteY39786" fmla="*/ 221336 h 6557032"/>
              <a:gd name="connsiteX39787" fmla="*/ 2658552 w 4610101"/>
              <a:gd name="connsiteY39787" fmla="*/ 221336 h 6557032"/>
              <a:gd name="connsiteX39788" fmla="*/ 3086864 w 4610101"/>
              <a:gd name="connsiteY39788" fmla="*/ 221313 h 6557032"/>
              <a:gd name="connsiteX39789" fmla="*/ 3086829 w 4610101"/>
              <a:gd name="connsiteY39789" fmla="*/ 221477 h 6557032"/>
              <a:gd name="connsiteX39790" fmla="*/ 3086763 w 4610101"/>
              <a:gd name="connsiteY39790" fmla="*/ 221336 h 6557032"/>
              <a:gd name="connsiteX39791" fmla="*/ 3125029 w 4610101"/>
              <a:gd name="connsiteY39791" fmla="*/ 215869 h 6557032"/>
              <a:gd name="connsiteX39792" fmla="*/ 3117740 w 4610101"/>
              <a:gd name="connsiteY39792" fmla="*/ 241379 h 6557032"/>
              <a:gd name="connsiteX39793" fmla="*/ 3128673 w 4610101"/>
              <a:gd name="connsiteY39793" fmla="*/ 248668 h 6557032"/>
              <a:gd name="connsiteX39794" fmla="*/ 3137784 w 4610101"/>
              <a:gd name="connsiteY39794" fmla="*/ 223158 h 6557032"/>
              <a:gd name="connsiteX39795" fmla="*/ 3125029 w 4610101"/>
              <a:gd name="connsiteY39795" fmla="*/ 215869 h 6557032"/>
              <a:gd name="connsiteX39796" fmla="*/ 2288651 w 4610101"/>
              <a:gd name="connsiteY39796" fmla="*/ 215869 h 6557032"/>
              <a:gd name="connsiteX39797" fmla="*/ 2291284 w 4610101"/>
              <a:gd name="connsiteY39797" fmla="*/ 217623 h 6557032"/>
              <a:gd name="connsiteX39798" fmla="*/ 2289488 w 4610101"/>
              <a:gd name="connsiteY39798" fmla="*/ 219120 h 6557032"/>
              <a:gd name="connsiteX39799" fmla="*/ 2979255 w 4610101"/>
              <a:gd name="connsiteY39799" fmla="*/ 214047 h 6557032"/>
              <a:gd name="connsiteX39800" fmla="*/ 2973788 w 4610101"/>
              <a:gd name="connsiteY39800" fmla="*/ 219513 h 6557032"/>
              <a:gd name="connsiteX39801" fmla="*/ 2979255 w 4610101"/>
              <a:gd name="connsiteY39801" fmla="*/ 221336 h 6557032"/>
              <a:gd name="connsiteX39802" fmla="*/ 2979255 w 4610101"/>
              <a:gd name="connsiteY39802" fmla="*/ 214047 h 6557032"/>
              <a:gd name="connsiteX39803" fmla="*/ 2966884 w 4610101"/>
              <a:gd name="connsiteY39803" fmla="*/ 212971 h 6557032"/>
              <a:gd name="connsiteX39804" fmla="*/ 2967717 w 4610101"/>
              <a:gd name="connsiteY39804" fmla="*/ 213825 h 6557032"/>
              <a:gd name="connsiteX39805" fmla="*/ 2966500 w 4610101"/>
              <a:gd name="connsiteY39805" fmla="*/ 214047 h 6557032"/>
              <a:gd name="connsiteX39806" fmla="*/ 2654908 w 4610101"/>
              <a:gd name="connsiteY39806" fmla="*/ 212225 h 6557032"/>
              <a:gd name="connsiteX39807" fmla="*/ 2660374 w 4610101"/>
              <a:gd name="connsiteY39807" fmla="*/ 217691 h 6557032"/>
              <a:gd name="connsiteX39808" fmla="*/ 2662197 w 4610101"/>
              <a:gd name="connsiteY39808" fmla="*/ 212225 h 6557032"/>
              <a:gd name="connsiteX39809" fmla="*/ 2654908 w 4610101"/>
              <a:gd name="connsiteY39809" fmla="*/ 212225 h 6557032"/>
              <a:gd name="connsiteX39810" fmla="*/ 2297762 w 4610101"/>
              <a:gd name="connsiteY39810" fmla="*/ 212225 h 6557032"/>
              <a:gd name="connsiteX39811" fmla="*/ 2299584 w 4610101"/>
              <a:gd name="connsiteY39811" fmla="*/ 219513 h 6557032"/>
              <a:gd name="connsiteX39812" fmla="*/ 2293435 w 4610101"/>
              <a:gd name="connsiteY39812" fmla="*/ 219057 h 6557032"/>
              <a:gd name="connsiteX39813" fmla="*/ 2291284 w 4610101"/>
              <a:gd name="connsiteY39813" fmla="*/ 217623 h 6557032"/>
              <a:gd name="connsiteX39814" fmla="*/ 2532822 w 4610101"/>
              <a:gd name="connsiteY39814" fmla="*/ 210403 h 6557032"/>
              <a:gd name="connsiteX39815" fmla="*/ 2536466 w 4610101"/>
              <a:gd name="connsiteY39815" fmla="*/ 217691 h 6557032"/>
              <a:gd name="connsiteX39816" fmla="*/ 2538289 w 4610101"/>
              <a:gd name="connsiteY39816" fmla="*/ 210403 h 6557032"/>
              <a:gd name="connsiteX39817" fmla="*/ 2532822 w 4610101"/>
              <a:gd name="connsiteY39817" fmla="*/ 210403 h 6557032"/>
              <a:gd name="connsiteX39818" fmla="*/ 2463580 w 4610101"/>
              <a:gd name="connsiteY39818" fmla="*/ 210403 h 6557032"/>
              <a:gd name="connsiteX39819" fmla="*/ 2461757 w 4610101"/>
              <a:gd name="connsiteY39819" fmla="*/ 217691 h 6557032"/>
              <a:gd name="connsiteX39820" fmla="*/ 2459935 w 4610101"/>
              <a:gd name="connsiteY39820" fmla="*/ 214047 h 6557032"/>
              <a:gd name="connsiteX39821" fmla="*/ 2456291 w 4610101"/>
              <a:gd name="connsiteY39821" fmla="*/ 232269 h 6557032"/>
              <a:gd name="connsiteX39822" fmla="*/ 2469046 w 4610101"/>
              <a:gd name="connsiteY39822" fmla="*/ 230446 h 6557032"/>
              <a:gd name="connsiteX39823" fmla="*/ 2463580 w 4610101"/>
              <a:gd name="connsiteY39823" fmla="*/ 210403 h 6557032"/>
              <a:gd name="connsiteX39824" fmla="*/ 3166939 w 4610101"/>
              <a:gd name="connsiteY39824" fmla="*/ 208580 h 6557032"/>
              <a:gd name="connsiteX39825" fmla="*/ 3163294 w 4610101"/>
              <a:gd name="connsiteY39825" fmla="*/ 223158 h 6557032"/>
              <a:gd name="connsiteX39826" fmla="*/ 3166939 w 4610101"/>
              <a:gd name="connsiteY39826" fmla="*/ 208580 h 6557032"/>
              <a:gd name="connsiteX39827" fmla="*/ 3695369 w 4610101"/>
              <a:gd name="connsiteY39827" fmla="*/ 206869 h 6557032"/>
              <a:gd name="connsiteX39828" fmla="*/ 3719058 w 4610101"/>
              <a:gd name="connsiteY39828" fmla="*/ 228734 h 6557032"/>
              <a:gd name="connsiteX39829" fmla="*/ 3702658 w 4610101"/>
              <a:gd name="connsiteY39829" fmla="*/ 243312 h 6557032"/>
              <a:gd name="connsiteX39830" fmla="*/ 3673503 w 4610101"/>
              <a:gd name="connsiteY39830" fmla="*/ 252423 h 6557032"/>
              <a:gd name="connsiteX39831" fmla="*/ 3695369 w 4610101"/>
              <a:gd name="connsiteY39831" fmla="*/ 206869 h 6557032"/>
              <a:gd name="connsiteX39832" fmla="*/ 3125029 w 4610101"/>
              <a:gd name="connsiteY39832" fmla="*/ 206758 h 6557032"/>
              <a:gd name="connsiteX39833" fmla="*/ 3119562 w 4610101"/>
              <a:gd name="connsiteY39833" fmla="*/ 214047 h 6557032"/>
              <a:gd name="connsiteX39834" fmla="*/ 3125029 w 4610101"/>
              <a:gd name="connsiteY39834" fmla="*/ 206758 h 6557032"/>
              <a:gd name="connsiteX39835" fmla="*/ 2973788 w 4610101"/>
              <a:gd name="connsiteY39835" fmla="*/ 206758 h 6557032"/>
              <a:gd name="connsiteX39836" fmla="*/ 2973685 w 4610101"/>
              <a:gd name="connsiteY39836" fmla="*/ 207047 h 6557032"/>
              <a:gd name="connsiteX39837" fmla="*/ 2973408 w 4610101"/>
              <a:gd name="connsiteY39837" fmla="*/ 206827 h 6557032"/>
              <a:gd name="connsiteX39838" fmla="*/ 2662197 w 4610101"/>
              <a:gd name="connsiteY39838" fmla="*/ 206758 h 6557032"/>
              <a:gd name="connsiteX39839" fmla="*/ 2664019 w 4610101"/>
              <a:gd name="connsiteY39839" fmla="*/ 219513 h 6557032"/>
              <a:gd name="connsiteX39840" fmla="*/ 2671307 w 4610101"/>
              <a:gd name="connsiteY39840" fmla="*/ 223158 h 6557032"/>
              <a:gd name="connsiteX39841" fmla="*/ 2662197 w 4610101"/>
              <a:gd name="connsiteY39841" fmla="*/ 206758 h 6557032"/>
              <a:gd name="connsiteX39842" fmla="*/ 3106807 w 4610101"/>
              <a:gd name="connsiteY39842" fmla="*/ 204936 h 6557032"/>
              <a:gd name="connsiteX39843" fmla="*/ 3104985 w 4610101"/>
              <a:gd name="connsiteY39843" fmla="*/ 212225 h 6557032"/>
              <a:gd name="connsiteX39844" fmla="*/ 3110451 w 4610101"/>
              <a:gd name="connsiteY39844" fmla="*/ 210403 h 6557032"/>
              <a:gd name="connsiteX39845" fmla="*/ 3106807 w 4610101"/>
              <a:gd name="connsiteY39845" fmla="*/ 204936 h 6557032"/>
              <a:gd name="connsiteX39846" fmla="*/ 3197916 w 4610101"/>
              <a:gd name="connsiteY39846" fmla="*/ 203114 h 6557032"/>
              <a:gd name="connsiteX39847" fmla="*/ 3208849 w 4610101"/>
              <a:gd name="connsiteY39847" fmla="*/ 219513 h 6557032"/>
              <a:gd name="connsiteX39848" fmla="*/ 3205204 w 4610101"/>
              <a:gd name="connsiteY39848" fmla="*/ 235913 h 6557032"/>
              <a:gd name="connsiteX39849" fmla="*/ 3196093 w 4610101"/>
              <a:gd name="connsiteY39849" fmla="*/ 210403 h 6557032"/>
              <a:gd name="connsiteX39850" fmla="*/ 3190627 w 4610101"/>
              <a:gd name="connsiteY39850" fmla="*/ 219513 h 6557032"/>
              <a:gd name="connsiteX39851" fmla="*/ 3191917 w 4610101"/>
              <a:gd name="connsiteY39851" fmla="*/ 222980 h 6557032"/>
              <a:gd name="connsiteX39852" fmla="*/ 3187520 w 4610101"/>
              <a:gd name="connsiteY39852" fmla="*/ 221515 h 6557032"/>
              <a:gd name="connsiteX39853" fmla="*/ 3187182 w 4610101"/>
              <a:gd name="connsiteY39853" fmla="*/ 220675 h 6557032"/>
              <a:gd name="connsiteX39854" fmla="*/ 3189944 w 4610101"/>
              <a:gd name="connsiteY39854" fmla="*/ 211541 h 6557032"/>
              <a:gd name="connsiteX39855" fmla="*/ 3199738 w 4610101"/>
              <a:gd name="connsiteY39855" fmla="*/ 208580 h 6557032"/>
              <a:gd name="connsiteX39856" fmla="*/ 3197916 w 4610101"/>
              <a:gd name="connsiteY39856" fmla="*/ 206751 h 6557032"/>
              <a:gd name="connsiteX39857" fmla="*/ 2520067 w 4610101"/>
              <a:gd name="connsiteY39857" fmla="*/ 203114 h 6557032"/>
              <a:gd name="connsiteX39858" fmla="*/ 2527356 w 4610101"/>
              <a:gd name="connsiteY39858" fmla="*/ 208580 h 6557032"/>
              <a:gd name="connsiteX39859" fmla="*/ 2520067 w 4610101"/>
              <a:gd name="connsiteY39859" fmla="*/ 203114 h 6557032"/>
              <a:gd name="connsiteX39860" fmla="*/ 2449002 w 4610101"/>
              <a:gd name="connsiteY39860" fmla="*/ 203114 h 6557032"/>
              <a:gd name="connsiteX39861" fmla="*/ 2449894 w 4610101"/>
              <a:gd name="connsiteY39861" fmla="*/ 206680 h 6557032"/>
              <a:gd name="connsiteX39862" fmla="*/ 2449458 w 4610101"/>
              <a:gd name="connsiteY39862" fmla="*/ 206302 h 6557032"/>
              <a:gd name="connsiteX39863" fmla="*/ 2444751 w 4610101"/>
              <a:gd name="connsiteY39863" fmla="*/ 207423 h 6557032"/>
              <a:gd name="connsiteX39864" fmla="*/ 2444675 w 4610101"/>
              <a:gd name="connsiteY39864" fmla="*/ 207213 h 6557032"/>
              <a:gd name="connsiteX39865" fmla="*/ 2449002 w 4610101"/>
              <a:gd name="connsiteY39865" fmla="*/ 203114 h 6557032"/>
              <a:gd name="connsiteX39866" fmla="*/ 2106434 w 4610101"/>
              <a:gd name="connsiteY39866" fmla="*/ 201292 h 6557032"/>
              <a:gd name="connsiteX39867" fmla="*/ 2109395 w 4610101"/>
              <a:gd name="connsiteY39867" fmla="*/ 203341 h 6557032"/>
              <a:gd name="connsiteX39868" fmla="*/ 2108256 w 4610101"/>
              <a:gd name="connsiteY39868" fmla="*/ 206758 h 6557032"/>
              <a:gd name="connsiteX39869" fmla="*/ 3301780 w 4610101"/>
              <a:gd name="connsiteY39869" fmla="*/ 197732 h 6557032"/>
              <a:gd name="connsiteX39870" fmla="*/ 3309069 w 4610101"/>
              <a:gd name="connsiteY39870" fmla="*/ 208665 h 6557032"/>
              <a:gd name="connsiteX39871" fmla="*/ 3301780 w 4610101"/>
              <a:gd name="connsiteY39871" fmla="*/ 223243 h 6557032"/>
              <a:gd name="connsiteX39872" fmla="*/ 3287202 w 4610101"/>
              <a:gd name="connsiteY39872" fmla="*/ 214132 h 6557032"/>
              <a:gd name="connsiteX39873" fmla="*/ 2540111 w 4610101"/>
              <a:gd name="connsiteY39873" fmla="*/ 197647 h 6557032"/>
              <a:gd name="connsiteX39874" fmla="*/ 2540111 w 4610101"/>
              <a:gd name="connsiteY39874" fmla="*/ 208580 h 6557032"/>
              <a:gd name="connsiteX39875" fmla="*/ 2540111 w 4610101"/>
              <a:gd name="connsiteY39875" fmla="*/ 197647 h 6557032"/>
              <a:gd name="connsiteX39876" fmla="*/ 2518245 w 4610101"/>
              <a:gd name="connsiteY39876" fmla="*/ 194003 h 6557032"/>
              <a:gd name="connsiteX39877" fmla="*/ 2510956 w 4610101"/>
              <a:gd name="connsiteY39877" fmla="*/ 195825 h 6557032"/>
              <a:gd name="connsiteX39878" fmla="*/ 2516423 w 4610101"/>
              <a:gd name="connsiteY39878" fmla="*/ 203114 h 6557032"/>
              <a:gd name="connsiteX39879" fmla="*/ 2518245 w 4610101"/>
              <a:gd name="connsiteY39879" fmla="*/ 194003 h 6557032"/>
              <a:gd name="connsiteX39880" fmla="*/ 2369952 w 4610101"/>
              <a:gd name="connsiteY39880" fmla="*/ 193743 h 6557032"/>
              <a:gd name="connsiteX39881" fmla="*/ 2374293 w 4610101"/>
              <a:gd name="connsiteY39881" fmla="*/ 199469 h 6557032"/>
              <a:gd name="connsiteX39882" fmla="*/ 2374320 w 4610101"/>
              <a:gd name="connsiteY39882" fmla="*/ 199849 h 6557032"/>
              <a:gd name="connsiteX39883" fmla="*/ 2370649 w 4610101"/>
              <a:gd name="connsiteY39883" fmla="*/ 197647 h 6557032"/>
              <a:gd name="connsiteX39884" fmla="*/ 2871748 w 4610101"/>
              <a:gd name="connsiteY39884" fmla="*/ 190465 h 6557032"/>
              <a:gd name="connsiteX39885" fmla="*/ 2889969 w 4610101"/>
              <a:gd name="connsiteY39885" fmla="*/ 214153 h 6557032"/>
              <a:gd name="connsiteX39886" fmla="*/ 2871748 w 4610101"/>
              <a:gd name="connsiteY39886" fmla="*/ 228731 h 6557032"/>
              <a:gd name="connsiteX39887" fmla="*/ 2848059 w 4610101"/>
              <a:gd name="connsiteY39887" fmla="*/ 214153 h 6557032"/>
              <a:gd name="connsiteX39888" fmla="*/ 2971966 w 4610101"/>
              <a:gd name="connsiteY39888" fmla="*/ 190359 h 6557032"/>
              <a:gd name="connsiteX39889" fmla="*/ 2975272 w 4610101"/>
              <a:gd name="connsiteY39889" fmla="*/ 192011 h 6557032"/>
              <a:gd name="connsiteX39890" fmla="*/ 2971966 w 4610101"/>
              <a:gd name="connsiteY39890" fmla="*/ 199469 h 6557032"/>
              <a:gd name="connsiteX39891" fmla="*/ 2971966 w 4610101"/>
              <a:gd name="connsiteY39891" fmla="*/ 190359 h 6557032"/>
              <a:gd name="connsiteX39892" fmla="*/ 3004253 w 4610101"/>
              <a:gd name="connsiteY39892" fmla="*/ 187255 h 6557032"/>
              <a:gd name="connsiteX39893" fmla="*/ 2999299 w 4610101"/>
              <a:gd name="connsiteY39893" fmla="*/ 192181 h 6557032"/>
              <a:gd name="connsiteX39894" fmla="*/ 2995654 w 4610101"/>
              <a:gd name="connsiteY39894" fmla="*/ 188536 h 6557032"/>
              <a:gd name="connsiteX39895" fmla="*/ 2997477 w 4610101"/>
              <a:gd name="connsiteY39895" fmla="*/ 210403 h 6557032"/>
              <a:gd name="connsiteX39896" fmla="*/ 2997477 w 4610101"/>
              <a:gd name="connsiteY39896" fmla="*/ 206758 h 6557032"/>
              <a:gd name="connsiteX39897" fmla="*/ 3004765 w 4610101"/>
              <a:gd name="connsiteY39897" fmla="*/ 214047 h 6557032"/>
              <a:gd name="connsiteX39898" fmla="*/ 3021165 w 4610101"/>
              <a:gd name="connsiteY39898" fmla="*/ 204936 h 6557032"/>
              <a:gd name="connsiteX39899" fmla="*/ 3004253 w 4610101"/>
              <a:gd name="connsiteY39899" fmla="*/ 187255 h 6557032"/>
              <a:gd name="connsiteX39900" fmla="*/ 2363841 w 4610101"/>
              <a:gd name="connsiteY39900" fmla="*/ 185684 h 6557032"/>
              <a:gd name="connsiteX39901" fmla="*/ 2365778 w 4610101"/>
              <a:gd name="connsiteY39901" fmla="*/ 188238 h 6557032"/>
              <a:gd name="connsiteX39902" fmla="*/ 2365182 w 4610101"/>
              <a:gd name="connsiteY39902" fmla="*/ 188536 h 6557032"/>
              <a:gd name="connsiteX39903" fmla="*/ 2372471 w 4610101"/>
              <a:gd name="connsiteY39903" fmla="*/ 184892 h 6557032"/>
              <a:gd name="connsiteX39904" fmla="*/ 2369510 w 4610101"/>
              <a:gd name="connsiteY39904" fmla="*/ 191269 h 6557032"/>
              <a:gd name="connsiteX39905" fmla="*/ 2369952 w 4610101"/>
              <a:gd name="connsiteY39905" fmla="*/ 193743 h 6557032"/>
              <a:gd name="connsiteX39906" fmla="*/ 2365778 w 4610101"/>
              <a:gd name="connsiteY39906" fmla="*/ 188238 h 6557032"/>
              <a:gd name="connsiteX39907" fmla="*/ 2745853 w 4610101"/>
              <a:gd name="connsiteY39907" fmla="*/ 183723 h 6557032"/>
              <a:gd name="connsiteX39908" fmla="*/ 2744194 w 4610101"/>
              <a:gd name="connsiteY39908" fmla="*/ 190359 h 6557032"/>
              <a:gd name="connsiteX39909" fmla="*/ 2743562 w 4610101"/>
              <a:gd name="connsiteY39909" fmla="*/ 185211 h 6557032"/>
              <a:gd name="connsiteX39910" fmla="*/ 2746016 w 4610101"/>
              <a:gd name="connsiteY39910" fmla="*/ 183070 h 6557032"/>
              <a:gd name="connsiteX39911" fmla="*/ 2746624 w 4610101"/>
              <a:gd name="connsiteY39911" fmla="*/ 183222 h 6557032"/>
              <a:gd name="connsiteX39912" fmla="*/ 2745853 w 4610101"/>
              <a:gd name="connsiteY39912" fmla="*/ 183723 h 6557032"/>
              <a:gd name="connsiteX39913" fmla="*/ 2099145 w 4610101"/>
              <a:gd name="connsiteY39913" fmla="*/ 183070 h 6557032"/>
              <a:gd name="connsiteX39914" fmla="*/ 2102790 w 4610101"/>
              <a:gd name="connsiteY39914" fmla="*/ 192181 h 6557032"/>
              <a:gd name="connsiteX39915" fmla="*/ 2106433 w 4610101"/>
              <a:gd name="connsiteY39915" fmla="*/ 194003 h 6557032"/>
              <a:gd name="connsiteX39916" fmla="*/ 2111900 w 4610101"/>
              <a:gd name="connsiteY39916" fmla="*/ 188536 h 6557032"/>
              <a:gd name="connsiteX39917" fmla="*/ 2099145 w 4610101"/>
              <a:gd name="connsiteY39917" fmla="*/ 183070 h 6557032"/>
              <a:gd name="connsiteX39918" fmla="*/ 2138550 w 4610101"/>
              <a:gd name="connsiteY39918" fmla="*/ 181703 h 6557032"/>
              <a:gd name="connsiteX39919" fmla="*/ 2135588 w 4610101"/>
              <a:gd name="connsiteY39919" fmla="*/ 183070 h 6557032"/>
              <a:gd name="connsiteX39920" fmla="*/ 2142877 w 4610101"/>
              <a:gd name="connsiteY39920" fmla="*/ 183070 h 6557032"/>
              <a:gd name="connsiteX39921" fmla="*/ 2138550 w 4610101"/>
              <a:gd name="connsiteY39921" fmla="*/ 181703 h 6557032"/>
              <a:gd name="connsiteX39922" fmla="*/ 2749661 w 4610101"/>
              <a:gd name="connsiteY39922" fmla="*/ 181248 h 6557032"/>
              <a:gd name="connsiteX39923" fmla="*/ 2749914 w 4610101"/>
              <a:gd name="connsiteY39923" fmla="*/ 183082 h 6557032"/>
              <a:gd name="connsiteX39924" fmla="*/ 2749433 w 4610101"/>
              <a:gd name="connsiteY39924" fmla="*/ 183924 h 6557032"/>
              <a:gd name="connsiteX39925" fmla="*/ 2746624 w 4610101"/>
              <a:gd name="connsiteY39925" fmla="*/ 183222 h 6557032"/>
              <a:gd name="connsiteX39926" fmla="*/ 2662197 w 4610101"/>
              <a:gd name="connsiteY39926" fmla="*/ 179426 h 6557032"/>
              <a:gd name="connsiteX39927" fmla="*/ 2666134 w 4610101"/>
              <a:gd name="connsiteY39927" fmla="*/ 184347 h 6557032"/>
              <a:gd name="connsiteX39928" fmla="*/ 2665841 w 4610101"/>
              <a:gd name="connsiteY39928" fmla="*/ 184892 h 6557032"/>
              <a:gd name="connsiteX39929" fmla="*/ 2664077 w 4610101"/>
              <a:gd name="connsiteY39929" fmla="*/ 184040 h 6557032"/>
              <a:gd name="connsiteX39930" fmla="*/ 2093679 w 4610101"/>
              <a:gd name="connsiteY39930" fmla="*/ 179426 h 6557032"/>
              <a:gd name="connsiteX39931" fmla="*/ 2091856 w 4610101"/>
              <a:gd name="connsiteY39931" fmla="*/ 184892 h 6557032"/>
              <a:gd name="connsiteX39932" fmla="*/ 2097323 w 4610101"/>
              <a:gd name="connsiteY39932" fmla="*/ 186714 h 6557032"/>
              <a:gd name="connsiteX39933" fmla="*/ 2093679 w 4610101"/>
              <a:gd name="connsiteY39933" fmla="*/ 179426 h 6557032"/>
              <a:gd name="connsiteX39934" fmla="*/ 3041209 w 4610101"/>
              <a:gd name="connsiteY39934" fmla="*/ 177603 h 6557032"/>
              <a:gd name="connsiteX39935" fmla="*/ 3032098 w 4610101"/>
              <a:gd name="connsiteY39935" fmla="*/ 199469 h 6557032"/>
              <a:gd name="connsiteX39936" fmla="*/ 3044853 w 4610101"/>
              <a:gd name="connsiteY39936" fmla="*/ 195825 h 6557032"/>
              <a:gd name="connsiteX39937" fmla="*/ 3041209 w 4610101"/>
              <a:gd name="connsiteY39937" fmla="*/ 177603 h 6557032"/>
              <a:gd name="connsiteX39938" fmla="*/ 2959211 w 4610101"/>
              <a:gd name="connsiteY39938" fmla="*/ 177603 h 6557032"/>
              <a:gd name="connsiteX39939" fmla="*/ 2953744 w 4610101"/>
              <a:gd name="connsiteY39939" fmla="*/ 194003 h 6557032"/>
              <a:gd name="connsiteX39940" fmla="*/ 2959211 w 4610101"/>
              <a:gd name="connsiteY39940" fmla="*/ 195825 h 6557032"/>
              <a:gd name="connsiteX39941" fmla="*/ 2957389 w 4610101"/>
              <a:gd name="connsiteY39941" fmla="*/ 186714 h 6557032"/>
              <a:gd name="connsiteX39942" fmla="*/ 2964450 w 4610101"/>
              <a:gd name="connsiteY39942" fmla="*/ 199697 h 6557032"/>
              <a:gd name="connsiteX39943" fmla="*/ 2973408 w 4610101"/>
              <a:gd name="connsiteY39943" fmla="*/ 206827 h 6557032"/>
              <a:gd name="connsiteX39944" fmla="*/ 2968778 w 4610101"/>
              <a:gd name="connsiteY39944" fmla="*/ 207669 h 6557032"/>
              <a:gd name="connsiteX39945" fmla="*/ 2966884 w 4610101"/>
              <a:gd name="connsiteY39945" fmla="*/ 212971 h 6557032"/>
              <a:gd name="connsiteX39946" fmla="*/ 2961716 w 4610101"/>
              <a:gd name="connsiteY39946" fmla="*/ 207669 h 6557032"/>
              <a:gd name="connsiteX39947" fmla="*/ 2937345 w 4610101"/>
              <a:gd name="connsiteY39947" fmla="*/ 194003 h 6557032"/>
              <a:gd name="connsiteX39948" fmla="*/ 2933700 w 4610101"/>
              <a:gd name="connsiteY39948" fmla="*/ 179426 h 6557032"/>
              <a:gd name="connsiteX39949" fmla="*/ 2944634 w 4610101"/>
              <a:gd name="connsiteY39949" fmla="*/ 195825 h 6557032"/>
              <a:gd name="connsiteX39950" fmla="*/ 2959211 w 4610101"/>
              <a:gd name="connsiteY39950" fmla="*/ 177603 h 6557032"/>
              <a:gd name="connsiteX39951" fmla="*/ 2438069 w 4610101"/>
              <a:gd name="connsiteY39951" fmla="*/ 177603 h 6557032"/>
              <a:gd name="connsiteX39952" fmla="*/ 2408914 w 4610101"/>
              <a:gd name="connsiteY39952" fmla="*/ 188536 h 6557032"/>
              <a:gd name="connsiteX39953" fmla="*/ 2410737 w 4610101"/>
              <a:gd name="connsiteY39953" fmla="*/ 194003 h 6557032"/>
              <a:gd name="connsiteX39954" fmla="*/ 2407092 w 4610101"/>
              <a:gd name="connsiteY39954" fmla="*/ 190359 h 6557032"/>
              <a:gd name="connsiteX39955" fmla="*/ 2397981 w 4610101"/>
              <a:gd name="connsiteY39955" fmla="*/ 194003 h 6557032"/>
              <a:gd name="connsiteX39956" fmla="*/ 2376115 w 4610101"/>
              <a:gd name="connsiteY39956" fmla="*/ 266890 h 6557032"/>
              <a:gd name="connsiteX39957" fmla="*/ 2374293 w 4610101"/>
              <a:gd name="connsiteY39957" fmla="*/ 270534 h 6557032"/>
              <a:gd name="connsiteX39958" fmla="*/ 2367004 w 4610101"/>
              <a:gd name="connsiteY39958" fmla="*/ 259601 h 6557032"/>
              <a:gd name="connsiteX39959" fmla="*/ 2368827 w 4610101"/>
              <a:gd name="connsiteY39959" fmla="*/ 274179 h 6557032"/>
              <a:gd name="connsiteX39960" fmla="*/ 2363360 w 4610101"/>
              <a:gd name="connsiteY39960" fmla="*/ 268712 h 6557032"/>
              <a:gd name="connsiteX39961" fmla="*/ 2365182 w 4610101"/>
              <a:gd name="connsiteY39961" fmla="*/ 277823 h 6557032"/>
              <a:gd name="connsiteX39962" fmla="*/ 2365182 w 4610101"/>
              <a:gd name="connsiteY39962" fmla="*/ 279645 h 6557032"/>
              <a:gd name="connsiteX39963" fmla="*/ 2357893 w 4610101"/>
              <a:gd name="connsiteY39963" fmla="*/ 334310 h 6557032"/>
              <a:gd name="connsiteX39964" fmla="*/ 2363198 w 4610101"/>
              <a:gd name="connsiteY39964" fmla="*/ 333630 h 6557032"/>
              <a:gd name="connsiteX39965" fmla="*/ 2361310 w 4610101"/>
              <a:gd name="connsiteY39965" fmla="*/ 338182 h 6557032"/>
              <a:gd name="connsiteX39966" fmla="*/ 2361538 w 4610101"/>
              <a:gd name="connsiteY39966" fmla="*/ 348888 h 6557032"/>
              <a:gd name="connsiteX39967" fmla="*/ 2368827 w 4610101"/>
              <a:gd name="connsiteY39967" fmla="*/ 339777 h 6557032"/>
              <a:gd name="connsiteX39968" fmla="*/ 2366631 w 4610101"/>
              <a:gd name="connsiteY39968" fmla="*/ 333190 h 6557032"/>
              <a:gd name="connsiteX39969" fmla="*/ 2366777 w 4610101"/>
              <a:gd name="connsiteY39969" fmla="*/ 333171 h 6557032"/>
              <a:gd name="connsiteX39970" fmla="*/ 2374293 w 4610101"/>
              <a:gd name="connsiteY39970" fmla="*/ 330666 h 6557032"/>
              <a:gd name="connsiteX39971" fmla="*/ 2372471 w 4610101"/>
              <a:gd name="connsiteY39971" fmla="*/ 319733 h 6557032"/>
              <a:gd name="connsiteX39972" fmla="*/ 2379760 w 4610101"/>
              <a:gd name="connsiteY39972" fmla="*/ 328844 h 6557032"/>
              <a:gd name="connsiteX39973" fmla="*/ 2381582 w 4610101"/>
              <a:gd name="connsiteY39973" fmla="*/ 321555 h 6557032"/>
              <a:gd name="connsiteX39974" fmla="*/ 2391848 w 4610101"/>
              <a:gd name="connsiteY39974" fmla="*/ 315531 h 6557032"/>
              <a:gd name="connsiteX39975" fmla="*/ 2383404 w 4610101"/>
              <a:gd name="connsiteY39975" fmla="*/ 325199 h 6557032"/>
              <a:gd name="connsiteX39976" fmla="*/ 2385226 w 4610101"/>
              <a:gd name="connsiteY39976" fmla="*/ 339777 h 6557032"/>
              <a:gd name="connsiteX39977" fmla="*/ 2387048 w 4610101"/>
              <a:gd name="connsiteY39977" fmla="*/ 325199 h 6557032"/>
              <a:gd name="connsiteX39978" fmla="*/ 2410737 w 4610101"/>
              <a:gd name="connsiteY39978" fmla="*/ 325199 h 6557032"/>
              <a:gd name="connsiteX39979" fmla="*/ 2408914 w 4610101"/>
              <a:gd name="connsiteY39979" fmla="*/ 312444 h 6557032"/>
              <a:gd name="connsiteX39980" fmla="*/ 2416203 w 4610101"/>
              <a:gd name="connsiteY39980" fmla="*/ 308800 h 6557032"/>
              <a:gd name="connsiteX39981" fmla="*/ 2414381 w 4610101"/>
              <a:gd name="connsiteY39981" fmla="*/ 323377 h 6557032"/>
              <a:gd name="connsiteX39982" fmla="*/ 2423492 w 4610101"/>
              <a:gd name="connsiteY39982" fmla="*/ 303333 h 6557032"/>
              <a:gd name="connsiteX39983" fmla="*/ 2428958 w 4610101"/>
              <a:gd name="connsiteY39983" fmla="*/ 308800 h 6557032"/>
              <a:gd name="connsiteX39984" fmla="*/ 2430643 w 4610101"/>
              <a:gd name="connsiteY39984" fmla="*/ 300376 h 6557032"/>
              <a:gd name="connsiteX39985" fmla="*/ 2438069 w 4610101"/>
              <a:gd name="connsiteY39985" fmla="*/ 301511 h 6557032"/>
              <a:gd name="connsiteX39986" fmla="*/ 2439891 w 4610101"/>
              <a:gd name="connsiteY39986" fmla="*/ 297867 h 6557032"/>
              <a:gd name="connsiteX39987" fmla="*/ 2447180 w 4610101"/>
              <a:gd name="connsiteY39987" fmla="*/ 321555 h 6557032"/>
              <a:gd name="connsiteX39988" fmla="*/ 2459935 w 4610101"/>
              <a:gd name="connsiteY39988" fmla="*/ 319733 h 6557032"/>
              <a:gd name="connsiteX39989" fmla="*/ 2469046 w 4610101"/>
              <a:gd name="connsiteY39989" fmla="*/ 312444 h 6557032"/>
              <a:gd name="connsiteX39990" fmla="*/ 2461757 w 4610101"/>
              <a:gd name="connsiteY39990" fmla="*/ 305155 h 6557032"/>
              <a:gd name="connsiteX39991" fmla="*/ 2470868 w 4610101"/>
              <a:gd name="connsiteY39991" fmla="*/ 288756 h 6557032"/>
              <a:gd name="connsiteX39992" fmla="*/ 2461757 w 4610101"/>
              <a:gd name="connsiteY39992" fmla="*/ 274179 h 6557032"/>
              <a:gd name="connsiteX39993" fmla="*/ 2487268 w 4610101"/>
              <a:gd name="connsiteY39993" fmla="*/ 274179 h 6557032"/>
              <a:gd name="connsiteX39994" fmla="*/ 2479979 w 4610101"/>
              <a:gd name="connsiteY39994" fmla="*/ 257779 h 6557032"/>
              <a:gd name="connsiteX39995" fmla="*/ 2474513 w 4610101"/>
              <a:gd name="connsiteY39995" fmla="*/ 255957 h 6557032"/>
              <a:gd name="connsiteX39996" fmla="*/ 2469046 w 4610101"/>
              <a:gd name="connsiteY39996" fmla="*/ 241379 h 6557032"/>
              <a:gd name="connsiteX39997" fmla="*/ 2459935 w 4610101"/>
              <a:gd name="connsiteY39997" fmla="*/ 243202 h 6557032"/>
              <a:gd name="connsiteX39998" fmla="*/ 2459935 w 4610101"/>
              <a:gd name="connsiteY39998" fmla="*/ 235913 h 6557032"/>
              <a:gd name="connsiteX39999" fmla="*/ 2454469 w 4610101"/>
              <a:gd name="connsiteY39999" fmla="*/ 235913 h 6557032"/>
              <a:gd name="connsiteX40000" fmla="*/ 2458113 w 4610101"/>
              <a:gd name="connsiteY40000" fmla="*/ 221336 h 6557032"/>
              <a:gd name="connsiteX40001" fmla="*/ 2438069 w 4610101"/>
              <a:gd name="connsiteY40001" fmla="*/ 228624 h 6557032"/>
              <a:gd name="connsiteX40002" fmla="*/ 2436247 w 4610101"/>
              <a:gd name="connsiteY40002" fmla="*/ 226802 h 6557032"/>
              <a:gd name="connsiteX40003" fmla="*/ 2432603 w 4610101"/>
              <a:gd name="connsiteY40003" fmla="*/ 228624 h 6557032"/>
              <a:gd name="connsiteX40004" fmla="*/ 2438069 w 4610101"/>
              <a:gd name="connsiteY40004" fmla="*/ 221336 h 6557032"/>
              <a:gd name="connsiteX40005" fmla="*/ 2430780 w 4610101"/>
              <a:gd name="connsiteY40005" fmla="*/ 228624 h 6557032"/>
              <a:gd name="connsiteX40006" fmla="*/ 2428958 w 4610101"/>
              <a:gd name="connsiteY40006" fmla="*/ 221336 h 6557032"/>
              <a:gd name="connsiteX40007" fmla="*/ 2414381 w 4610101"/>
              <a:gd name="connsiteY40007" fmla="*/ 215869 h 6557032"/>
              <a:gd name="connsiteX40008" fmla="*/ 2412559 w 4610101"/>
              <a:gd name="connsiteY40008" fmla="*/ 210403 h 6557032"/>
              <a:gd name="connsiteX40009" fmla="*/ 2438069 w 4610101"/>
              <a:gd name="connsiteY40009" fmla="*/ 210403 h 6557032"/>
              <a:gd name="connsiteX40010" fmla="*/ 2436247 w 4610101"/>
              <a:gd name="connsiteY40010" fmla="*/ 203114 h 6557032"/>
              <a:gd name="connsiteX40011" fmla="*/ 2439891 w 4610101"/>
              <a:gd name="connsiteY40011" fmla="*/ 208580 h 6557032"/>
              <a:gd name="connsiteX40012" fmla="*/ 2444751 w 4610101"/>
              <a:gd name="connsiteY40012" fmla="*/ 207423 h 6557032"/>
              <a:gd name="connsiteX40013" fmla="*/ 2447180 w 4610101"/>
              <a:gd name="connsiteY40013" fmla="*/ 214047 h 6557032"/>
              <a:gd name="connsiteX40014" fmla="*/ 2452647 w 4610101"/>
              <a:gd name="connsiteY40014" fmla="*/ 212225 h 6557032"/>
              <a:gd name="connsiteX40015" fmla="*/ 2450142 w 4610101"/>
              <a:gd name="connsiteY40015" fmla="*/ 207669 h 6557032"/>
              <a:gd name="connsiteX40016" fmla="*/ 2449894 w 4610101"/>
              <a:gd name="connsiteY40016" fmla="*/ 206680 h 6557032"/>
              <a:gd name="connsiteX40017" fmla="*/ 2456291 w 4610101"/>
              <a:gd name="connsiteY40017" fmla="*/ 212225 h 6557032"/>
              <a:gd name="connsiteX40018" fmla="*/ 2458113 w 4610101"/>
              <a:gd name="connsiteY40018" fmla="*/ 197647 h 6557032"/>
              <a:gd name="connsiteX40019" fmla="*/ 2438069 w 4610101"/>
              <a:gd name="connsiteY40019" fmla="*/ 177603 h 6557032"/>
              <a:gd name="connsiteX40020" fmla="*/ 2193898 w 4610101"/>
              <a:gd name="connsiteY40020" fmla="*/ 177603 h 6557032"/>
              <a:gd name="connsiteX40021" fmla="*/ 2181143 w 4610101"/>
              <a:gd name="connsiteY40021" fmla="*/ 181248 h 6557032"/>
              <a:gd name="connsiteX40022" fmla="*/ 2199364 w 4610101"/>
              <a:gd name="connsiteY40022" fmla="*/ 195825 h 6557032"/>
              <a:gd name="connsiteX40023" fmla="*/ 2204831 w 4610101"/>
              <a:gd name="connsiteY40023" fmla="*/ 184892 h 6557032"/>
              <a:gd name="connsiteX40024" fmla="*/ 2193898 w 4610101"/>
              <a:gd name="connsiteY40024" fmla="*/ 177603 h 6557032"/>
              <a:gd name="connsiteX40025" fmla="*/ 2292295 w 4610101"/>
              <a:gd name="connsiteY40025" fmla="*/ 175781 h 6557032"/>
              <a:gd name="connsiteX40026" fmla="*/ 2301406 w 4610101"/>
              <a:gd name="connsiteY40026" fmla="*/ 181248 h 6557032"/>
              <a:gd name="connsiteX40027" fmla="*/ 2292295 w 4610101"/>
              <a:gd name="connsiteY40027" fmla="*/ 175781 h 6557032"/>
              <a:gd name="connsiteX40028" fmla="*/ 2170210 w 4610101"/>
              <a:gd name="connsiteY40028" fmla="*/ 175781 h 6557032"/>
              <a:gd name="connsiteX40029" fmla="*/ 2153810 w 4610101"/>
              <a:gd name="connsiteY40029" fmla="*/ 183070 h 6557032"/>
              <a:gd name="connsiteX40030" fmla="*/ 2168387 w 4610101"/>
              <a:gd name="connsiteY40030" fmla="*/ 183070 h 6557032"/>
              <a:gd name="connsiteX40031" fmla="*/ 2170210 w 4610101"/>
              <a:gd name="connsiteY40031" fmla="*/ 175781 h 6557032"/>
              <a:gd name="connsiteX40032" fmla="*/ 2645342 w 4610101"/>
              <a:gd name="connsiteY40032" fmla="*/ 175667 h 6557032"/>
              <a:gd name="connsiteX40033" fmla="*/ 2652631 w 4610101"/>
              <a:gd name="connsiteY40033" fmla="*/ 178514 h 6557032"/>
              <a:gd name="connsiteX40034" fmla="*/ 2664077 w 4610101"/>
              <a:gd name="connsiteY40034" fmla="*/ 184040 h 6557032"/>
              <a:gd name="connsiteX40035" fmla="*/ 2664702 w 4610101"/>
              <a:gd name="connsiteY40035" fmla="*/ 185575 h 6557032"/>
              <a:gd name="connsiteX40036" fmla="*/ 2660374 w 4610101"/>
              <a:gd name="connsiteY40036" fmla="*/ 190359 h 6557032"/>
              <a:gd name="connsiteX40037" fmla="*/ 2660374 w 4610101"/>
              <a:gd name="connsiteY40037" fmla="*/ 186714 h 6557032"/>
              <a:gd name="connsiteX40038" fmla="*/ 2658552 w 4610101"/>
              <a:gd name="connsiteY40038" fmla="*/ 188536 h 6557032"/>
              <a:gd name="connsiteX40039" fmla="*/ 2656730 w 4610101"/>
              <a:gd name="connsiteY40039" fmla="*/ 184892 h 6557032"/>
              <a:gd name="connsiteX40040" fmla="*/ 2653086 w 4610101"/>
              <a:gd name="connsiteY40040" fmla="*/ 197647 h 6557032"/>
              <a:gd name="connsiteX40041" fmla="*/ 2649441 w 4610101"/>
              <a:gd name="connsiteY40041" fmla="*/ 197647 h 6557032"/>
              <a:gd name="connsiteX40042" fmla="*/ 2651263 w 4610101"/>
              <a:gd name="connsiteY40042" fmla="*/ 190359 h 6557032"/>
              <a:gd name="connsiteX40043" fmla="*/ 2643975 w 4610101"/>
              <a:gd name="connsiteY40043" fmla="*/ 190359 h 6557032"/>
              <a:gd name="connsiteX40044" fmla="*/ 2638508 w 4610101"/>
              <a:gd name="connsiteY40044" fmla="*/ 208580 h 6557032"/>
              <a:gd name="connsiteX40045" fmla="*/ 2638508 w 4610101"/>
              <a:gd name="connsiteY40045" fmla="*/ 183070 h 6557032"/>
              <a:gd name="connsiteX40046" fmla="*/ 2647619 w 4610101"/>
              <a:gd name="connsiteY40046" fmla="*/ 188536 h 6557032"/>
              <a:gd name="connsiteX40047" fmla="*/ 2642153 w 4610101"/>
              <a:gd name="connsiteY40047" fmla="*/ 177603 h 6557032"/>
              <a:gd name="connsiteX40048" fmla="*/ 2645342 w 4610101"/>
              <a:gd name="connsiteY40048" fmla="*/ 175667 h 6557032"/>
              <a:gd name="connsiteX40049" fmla="*/ 3129748 w 4610101"/>
              <a:gd name="connsiteY40049" fmla="*/ 175624 h 6557032"/>
              <a:gd name="connsiteX40050" fmla="*/ 3131635 w 4610101"/>
              <a:gd name="connsiteY40050" fmla="*/ 176464 h 6557032"/>
              <a:gd name="connsiteX40051" fmla="*/ 3133135 w 4610101"/>
              <a:gd name="connsiteY40051" fmla="*/ 179328 h 6557032"/>
              <a:gd name="connsiteX40052" fmla="*/ 3132510 w 4610101"/>
              <a:gd name="connsiteY40052" fmla="*/ 179617 h 6557032"/>
              <a:gd name="connsiteX40053" fmla="*/ 3130495 w 4610101"/>
              <a:gd name="connsiteY40053" fmla="*/ 177603 h 6557032"/>
              <a:gd name="connsiteX40054" fmla="*/ 3129663 w 4610101"/>
              <a:gd name="connsiteY40054" fmla="*/ 180931 h 6557032"/>
              <a:gd name="connsiteX40055" fmla="*/ 3127888 w 4610101"/>
              <a:gd name="connsiteY40055" fmla="*/ 181750 h 6557032"/>
              <a:gd name="connsiteX40056" fmla="*/ 3126951 w 4610101"/>
              <a:gd name="connsiteY40056" fmla="*/ 178002 h 6557032"/>
              <a:gd name="connsiteX40057" fmla="*/ 3127534 w 4610101"/>
              <a:gd name="connsiteY40057" fmla="*/ 176464 h 6557032"/>
              <a:gd name="connsiteX40058" fmla="*/ 3012054 w 4610101"/>
              <a:gd name="connsiteY40058" fmla="*/ 173959 h 6557032"/>
              <a:gd name="connsiteX40059" fmla="*/ 3012054 w 4610101"/>
              <a:gd name="connsiteY40059" fmla="*/ 181248 h 6557032"/>
              <a:gd name="connsiteX40060" fmla="*/ 3012054 w 4610101"/>
              <a:gd name="connsiteY40060" fmla="*/ 173959 h 6557032"/>
              <a:gd name="connsiteX40061" fmla="*/ 2305050 w 4610101"/>
              <a:gd name="connsiteY40061" fmla="*/ 173959 h 6557032"/>
              <a:gd name="connsiteX40062" fmla="*/ 2306873 w 4610101"/>
              <a:gd name="connsiteY40062" fmla="*/ 181248 h 6557032"/>
              <a:gd name="connsiteX40063" fmla="*/ 2305050 w 4610101"/>
              <a:gd name="connsiteY40063" fmla="*/ 173959 h 6557032"/>
              <a:gd name="connsiteX40064" fmla="*/ 2348412 w 4610101"/>
              <a:gd name="connsiteY40064" fmla="*/ 173076 h 6557032"/>
              <a:gd name="connsiteX40065" fmla="*/ 2355355 w 4610101"/>
              <a:gd name="connsiteY40065" fmla="*/ 176946 h 6557032"/>
              <a:gd name="connsiteX40066" fmla="*/ 2354249 w 4610101"/>
              <a:gd name="connsiteY40066" fmla="*/ 177603 h 6557032"/>
              <a:gd name="connsiteX40067" fmla="*/ 2347644 w 4610101"/>
              <a:gd name="connsiteY40067" fmla="*/ 175097 h 6557032"/>
              <a:gd name="connsiteX40068" fmla="*/ 2342512 w 4610101"/>
              <a:gd name="connsiteY40068" fmla="*/ 174364 h 6557032"/>
              <a:gd name="connsiteX40069" fmla="*/ 2733261 w 4610101"/>
              <a:gd name="connsiteY40069" fmla="*/ 172137 h 6557032"/>
              <a:gd name="connsiteX40070" fmla="*/ 2725973 w 4610101"/>
              <a:gd name="connsiteY40070" fmla="*/ 183070 h 6557032"/>
              <a:gd name="connsiteX40071" fmla="*/ 2733261 w 4610101"/>
              <a:gd name="connsiteY40071" fmla="*/ 172137 h 6557032"/>
              <a:gd name="connsiteX40072" fmla="*/ 3114096 w 4610101"/>
              <a:gd name="connsiteY40072" fmla="*/ 170315 h 6557032"/>
              <a:gd name="connsiteX40073" fmla="*/ 3134140 w 4610101"/>
              <a:gd name="connsiteY40073" fmla="*/ 173959 h 6557032"/>
              <a:gd name="connsiteX40074" fmla="*/ 3129748 w 4610101"/>
              <a:gd name="connsiteY40074" fmla="*/ 175624 h 6557032"/>
              <a:gd name="connsiteX40075" fmla="*/ 3125684 w 4610101"/>
              <a:gd name="connsiteY40075" fmla="*/ 173816 h 6557032"/>
              <a:gd name="connsiteX40076" fmla="*/ 3114096 w 4610101"/>
              <a:gd name="connsiteY40076" fmla="*/ 170315 h 6557032"/>
              <a:gd name="connsiteX40077" fmla="*/ 3041209 w 4610101"/>
              <a:gd name="connsiteY40077" fmla="*/ 170315 h 6557032"/>
              <a:gd name="connsiteX40078" fmla="*/ 3035742 w 4610101"/>
              <a:gd name="connsiteY40078" fmla="*/ 179426 h 6557032"/>
              <a:gd name="connsiteX40079" fmla="*/ 3043031 w 4610101"/>
              <a:gd name="connsiteY40079" fmla="*/ 177603 h 6557032"/>
              <a:gd name="connsiteX40080" fmla="*/ 3041209 w 4610101"/>
              <a:gd name="connsiteY40080" fmla="*/ 170315 h 6557032"/>
              <a:gd name="connsiteX40081" fmla="*/ 2154949 w 4610101"/>
              <a:gd name="connsiteY40081" fmla="*/ 169859 h 6557032"/>
              <a:gd name="connsiteX40082" fmla="*/ 2144699 w 4610101"/>
              <a:gd name="connsiteY40082" fmla="*/ 172137 h 6557032"/>
              <a:gd name="connsiteX40083" fmla="*/ 2148344 w 4610101"/>
              <a:gd name="connsiteY40083" fmla="*/ 179426 h 6557032"/>
              <a:gd name="connsiteX40084" fmla="*/ 2166565 w 4610101"/>
              <a:gd name="connsiteY40084" fmla="*/ 170315 h 6557032"/>
              <a:gd name="connsiteX40085" fmla="*/ 2154949 w 4610101"/>
              <a:gd name="connsiteY40085" fmla="*/ 169859 h 6557032"/>
              <a:gd name="connsiteX40086" fmla="*/ 2266557 w 4610101"/>
              <a:gd name="connsiteY40086" fmla="*/ 168948 h 6557032"/>
              <a:gd name="connsiteX40087" fmla="*/ 2268078 w 4610101"/>
              <a:gd name="connsiteY40087" fmla="*/ 170060 h 6557032"/>
              <a:gd name="connsiteX40088" fmla="*/ 2264963 w 4610101"/>
              <a:gd name="connsiteY40088" fmla="*/ 170315 h 6557032"/>
              <a:gd name="connsiteX40089" fmla="*/ 2265368 w 4610101"/>
              <a:gd name="connsiteY40089" fmla="*/ 169100 h 6557032"/>
              <a:gd name="connsiteX40090" fmla="*/ 2102023 w 4610101"/>
              <a:gd name="connsiteY40090" fmla="*/ 167189 h 6557032"/>
              <a:gd name="connsiteX40091" fmla="*/ 2102790 w 4610101"/>
              <a:gd name="connsiteY40091" fmla="*/ 167416 h 6557032"/>
              <a:gd name="connsiteX40092" fmla="*/ 2102790 w 4610101"/>
              <a:gd name="connsiteY40092" fmla="*/ 168493 h 6557032"/>
              <a:gd name="connsiteX40093" fmla="*/ 2392515 w 4610101"/>
              <a:gd name="connsiteY40093" fmla="*/ 164848 h 6557032"/>
              <a:gd name="connsiteX40094" fmla="*/ 2392060 w 4610101"/>
              <a:gd name="connsiteY40094" fmla="*/ 169176 h 6557032"/>
              <a:gd name="connsiteX40095" fmla="*/ 2390974 w 4610101"/>
              <a:gd name="connsiteY40095" fmla="*/ 170184 h 6557032"/>
              <a:gd name="connsiteX40096" fmla="*/ 2391435 w 4610101"/>
              <a:gd name="connsiteY40096" fmla="*/ 165865 h 6557032"/>
              <a:gd name="connsiteX40097" fmla="*/ 2729617 w 4610101"/>
              <a:gd name="connsiteY40097" fmla="*/ 163026 h 6557032"/>
              <a:gd name="connsiteX40098" fmla="*/ 2724150 w 4610101"/>
              <a:gd name="connsiteY40098" fmla="*/ 175781 h 6557032"/>
              <a:gd name="connsiteX40099" fmla="*/ 2731439 w 4610101"/>
              <a:gd name="connsiteY40099" fmla="*/ 172137 h 6557032"/>
              <a:gd name="connsiteX40100" fmla="*/ 2729617 w 4610101"/>
              <a:gd name="connsiteY40100" fmla="*/ 163026 h 6557032"/>
              <a:gd name="connsiteX40101" fmla="*/ 2582021 w 4610101"/>
              <a:gd name="connsiteY40101" fmla="*/ 163026 h 6557032"/>
              <a:gd name="connsiteX40102" fmla="*/ 2587487 w 4610101"/>
              <a:gd name="connsiteY40102" fmla="*/ 179426 h 6557032"/>
              <a:gd name="connsiteX40103" fmla="*/ 2585665 w 4610101"/>
              <a:gd name="connsiteY40103" fmla="*/ 168493 h 6557032"/>
              <a:gd name="connsiteX40104" fmla="*/ 2582021 w 4610101"/>
              <a:gd name="connsiteY40104" fmla="*/ 163026 h 6557032"/>
              <a:gd name="connsiteX40105" fmla="*/ 2102790 w 4610101"/>
              <a:gd name="connsiteY40105" fmla="*/ 163026 h 6557032"/>
              <a:gd name="connsiteX40106" fmla="*/ 2106433 w 4610101"/>
              <a:gd name="connsiteY40106" fmla="*/ 168493 h 6557032"/>
              <a:gd name="connsiteX40107" fmla="*/ 2102790 w 4610101"/>
              <a:gd name="connsiteY40107" fmla="*/ 167416 h 6557032"/>
              <a:gd name="connsiteX40108" fmla="*/ 2705929 w 4610101"/>
              <a:gd name="connsiteY40108" fmla="*/ 161646 h 6557032"/>
              <a:gd name="connsiteX40109" fmla="*/ 2705929 w 4610101"/>
              <a:gd name="connsiteY40109" fmla="*/ 172137 h 6557032"/>
              <a:gd name="connsiteX40110" fmla="*/ 2698640 w 4610101"/>
              <a:gd name="connsiteY40110" fmla="*/ 168493 h 6557032"/>
              <a:gd name="connsiteX40111" fmla="*/ 2687707 w 4610101"/>
              <a:gd name="connsiteY40111" fmla="*/ 190359 h 6557032"/>
              <a:gd name="connsiteX40112" fmla="*/ 2684776 w 4610101"/>
              <a:gd name="connsiteY40112" fmla="*/ 185278 h 6557032"/>
              <a:gd name="connsiteX40113" fmla="*/ 2693401 w 4610101"/>
              <a:gd name="connsiteY40113" fmla="*/ 172820 h 6557032"/>
              <a:gd name="connsiteX40114" fmla="*/ 3039387 w 4610101"/>
              <a:gd name="connsiteY40114" fmla="*/ 161204 h 6557032"/>
              <a:gd name="connsiteX40115" fmla="*/ 3030276 w 4610101"/>
              <a:gd name="connsiteY40115" fmla="*/ 172137 h 6557032"/>
              <a:gd name="connsiteX40116" fmla="*/ 3039387 w 4610101"/>
              <a:gd name="connsiteY40116" fmla="*/ 161204 h 6557032"/>
              <a:gd name="connsiteX40117" fmla="*/ 2186609 w 4610101"/>
              <a:gd name="connsiteY40117" fmla="*/ 159382 h 6557032"/>
              <a:gd name="connsiteX40118" fmla="*/ 2190253 w 4610101"/>
              <a:gd name="connsiteY40118" fmla="*/ 172137 h 6557032"/>
              <a:gd name="connsiteX40119" fmla="*/ 2203009 w 4610101"/>
              <a:gd name="connsiteY40119" fmla="*/ 163026 h 6557032"/>
              <a:gd name="connsiteX40120" fmla="*/ 2186609 w 4610101"/>
              <a:gd name="connsiteY40120" fmla="*/ 159382 h 6557032"/>
              <a:gd name="connsiteX40121" fmla="*/ 2962856 w 4610101"/>
              <a:gd name="connsiteY40121" fmla="*/ 157559 h 6557032"/>
              <a:gd name="connsiteX40122" fmla="*/ 2965816 w 4610101"/>
              <a:gd name="connsiteY40122" fmla="*/ 163026 h 6557032"/>
              <a:gd name="connsiteX40123" fmla="*/ 2964677 w 4610101"/>
              <a:gd name="connsiteY40123" fmla="*/ 168493 h 6557032"/>
              <a:gd name="connsiteX40124" fmla="*/ 2961489 w 4610101"/>
              <a:gd name="connsiteY40124" fmla="*/ 159609 h 6557032"/>
              <a:gd name="connsiteX40125" fmla="*/ 2705929 w 4610101"/>
              <a:gd name="connsiteY40125" fmla="*/ 157559 h 6557032"/>
              <a:gd name="connsiteX40126" fmla="*/ 2708090 w 4610101"/>
              <a:gd name="connsiteY40126" fmla="*/ 159720 h 6557032"/>
              <a:gd name="connsiteX40127" fmla="*/ 2705929 w 4610101"/>
              <a:gd name="connsiteY40127" fmla="*/ 161646 h 6557032"/>
              <a:gd name="connsiteX40128" fmla="*/ 2244919 w 4610101"/>
              <a:gd name="connsiteY40128" fmla="*/ 157559 h 6557032"/>
              <a:gd name="connsiteX40129" fmla="*/ 2239452 w 4610101"/>
              <a:gd name="connsiteY40129" fmla="*/ 164848 h 6557032"/>
              <a:gd name="connsiteX40130" fmla="*/ 2244919 w 4610101"/>
              <a:gd name="connsiteY40130" fmla="*/ 164848 h 6557032"/>
              <a:gd name="connsiteX40131" fmla="*/ 2244919 w 4610101"/>
              <a:gd name="connsiteY40131" fmla="*/ 157559 h 6557032"/>
              <a:gd name="connsiteX40132" fmla="*/ 2710961 w 4610101"/>
              <a:gd name="connsiteY40132" fmla="*/ 157159 h 6557032"/>
              <a:gd name="connsiteX40133" fmla="*/ 2711395 w 4610101"/>
              <a:gd name="connsiteY40133" fmla="*/ 163026 h 6557032"/>
              <a:gd name="connsiteX40134" fmla="*/ 2708090 w 4610101"/>
              <a:gd name="connsiteY40134" fmla="*/ 159720 h 6557032"/>
              <a:gd name="connsiteX40135" fmla="*/ 3024809 w 4610101"/>
              <a:gd name="connsiteY40135" fmla="*/ 155737 h 6557032"/>
              <a:gd name="connsiteX40136" fmla="*/ 3019343 w 4610101"/>
              <a:gd name="connsiteY40136" fmla="*/ 190359 h 6557032"/>
              <a:gd name="connsiteX40137" fmla="*/ 3024809 w 4610101"/>
              <a:gd name="connsiteY40137" fmla="*/ 155737 h 6557032"/>
              <a:gd name="connsiteX40138" fmla="*/ 3004765 w 4610101"/>
              <a:gd name="connsiteY40138" fmla="*/ 155737 h 6557032"/>
              <a:gd name="connsiteX40139" fmla="*/ 3001121 w 4610101"/>
              <a:gd name="connsiteY40139" fmla="*/ 168493 h 6557032"/>
              <a:gd name="connsiteX40140" fmla="*/ 3008410 w 4610101"/>
              <a:gd name="connsiteY40140" fmla="*/ 166670 h 6557032"/>
              <a:gd name="connsiteX40141" fmla="*/ 3004765 w 4610101"/>
              <a:gd name="connsiteY40141" fmla="*/ 155737 h 6557032"/>
              <a:gd name="connsiteX40142" fmla="*/ 2567443 w 4610101"/>
              <a:gd name="connsiteY40142" fmla="*/ 153915 h 6557032"/>
              <a:gd name="connsiteX40143" fmla="*/ 2571088 w 4610101"/>
              <a:gd name="connsiteY40143" fmla="*/ 164848 h 6557032"/>
              <a:gd name="connsiteX40144" fmla="*/ 2567443 w 4610101"/>
              <a:gd name="connsiteY40144" fmla="*/ 153915 h 6557032"/>
              <a:gd name="connsiteX40145" fmla="*/ 2552866 w 4610101"/>
              <a:gd name="connsiteY40145" fmla="*/ 153915 h 6557032"/>
              <a:gd name="connsiteX40146" fmla="*/ 2561977 w 4610101"/>
              <a:gd name="connsiteY40146" fmla="*/ 163026 h 6557032"/>
              <a:gd name="connsiteX40147" fmla="*/ 2552866 w 4610101"/>
              <a:gd name="connsiteY40147" fmla="*/ 153915 h 6557032"/>
              <a:gd name="connsiteX40148" fmla="*/ 2294117 w 4610101"/>
              <a:gd name="connsiteY40148" fmla="*/ 153915 h 6557032"/>
              <a:gd name="connsiteX40149" fmla="*/ 2288651 w 4610101"/>
              <a:gd name="connsiteY40149" fmla="*/ 166670 h 6557032"/>
              <a:gd name="connsiteX40150" fmla="*/ 2294117 w 4610101"/>
              <a:gd name="connsiteY40150" fmla="*/ 153915 h 6557032"/>
              <a:gd name="connsiteX40151" fmla="*/ 2175676 w 4610101"/>
              <a:gd name="connsiteY40151" fmla="*/ 153915 h 6557032"/>
              <a:gd name="connsiteX40152" fmla="*/ 2177498 w 4610101"/>
              <a:gd name="connsiteY40152" fmla="*/ 163026 h 6557032"/>
              <a:gd name="connsiteX40153" fmla="*/ 2172032 w 4610101"/>
              <a:gd name="connsiteY40153" fmla="*/ 164848 h 6557032"/>
              <a:gd name="connsiteX40154" fmla="*/ 2188431 w 4610101"/>
              <a:gd name="connsiteY40154" fmla="*/ 170315 h 6557032"/>
              <a:gd name="connsiteX40155" fmla="*/ 2175676 w 4610101"/>
              <a:gd name="connsiteY40155" fmla="*/ 153915 h 6557032"/>
              <a:gd name="connsiteX40156" fmla="*/ 2086390 w 4610101"/>
              <a:gd name="connsiteY40156" fmla="*/ 153915 h 6557032"/>
              <a:gd name="connsiteX40157" fmla="*/ 2086390 w 4610101"/>
              <a:gd name="connsiteY40157" fmla="*/ 164848 h 6557032"/>
              <a:gd name="connsiteX40158" fmla="*/ 2090034 w 4610101"/>
              <a:gd name="connsiteY40158" fmla="*/ 159382 h 6557032"/>
              <a:gd name="connsiteX40159" fmla="*/ 2086390 w 4610101"/>
              <a:gd name="connsiteY40159" fmla="*/ 153915 h 6557032"/>
              <a:gd name="connsiteX40160" fmla="*/ 3062415 w 4610101"/>
              <a:gd name="connsiteY40160" fmla="*/ 152753 h 6557032"/>
              <a:gd name="connsiteX40161" fmla="*/ 3061936 w 4610101"/>
              <a:gd name="connsiteY40161" fmla="*/ 153345 h 6557032"/>
              <a:gd name="connsiteX40162" fmla="*/ 3061816 w 4610101"/>
              <a:gd name="connsiteY40162" fmla="*/ 153352 h 6557032"/>
              <a:gd name="connsiteX40163" fmla="*/ 2308695 w 4610101"/>
              <a:gd name="connsiteY40163" fmla="*/ 152548 h 6557032"/>
              <a:gd name="connsiteX40164" fmla="*/ 2309689 w 4610101"/>
              <a:gd name="connsiteY40164" fmla="*/ 152921 h 6557032"/>
              <a:gd name="connsiteX40165" fmla="*/ 2302621 w 4610101"/>
              <a:gd name="connsiteY40165" fmla="*/ 159989 h 6557032"/>
              <a:gd name="connsiteX40166" fmla="*/ 2305050 w 4610101"/>
              <a:gd name="connsiteY40166" fmla="*/ 153915 h 6557032"/>
              <a:gd name="connsiteX40167" fmla="*/ 2308695 w 4610101"/>
              <a:gd name="connsiteY40167" fmla="*/ 152548 h 6557032"/>
              <a:gd name="connsiteX40168" fmla="*/ 2713217 w 4610101"/>
              <a:gd name="connsiteY40168" fmla="*/ 152093 h 6557032"/>
              <a:gd name="connsiteX40169" fmla="*/ 2715066 w 4610101"/>
              <a:gd name="connsiteY40169" fmla="*/ 153498 h 6557032"/>
              <a:gd name="connsiteX40170" fmla="*/ 2710961 w 4610101"/>
              <a:gd name="connsiteY40170" fmla="*/ 157159 h 6557032"/>
              <a:gd name="connsiteX40171" fmla="*/ 2710940 w 4610101"/>
              <a:gd name="connsiteY40171" fmla="*/ 156876 h 6557032"/>
              <a:gd name="connsiteX40172" fmla="*/ 2713217 w 4610101"/>
              <a:gd name="connsiteY40172" fmla="*/ 152093 h 6557032"/>
              <a:gd name="connsiteX40173" fmla="*/ 2277718 w 4610101"/>
              <a:gd name="connsiteY40173" fmla="*/ 152093 h 6557032"/>
              <a:gd name="connsiteX40174" fmla="*/ 2279540 w 4610101"/>
              <a:gd name="connsiteY40174" fmla="*/ 159382 h 6557032"/>
              <a:gd name="connsiteX40175" fmla="*/ 2277718 w 4610101"/>
              <a:gd name="connsiteY40175" fmla="*/ 152093 h 6557032"/>
              <a:gd name="connsiteX40176" fmla="*/ 2099145 w 4610101"/>
              <a:gd name="connsiteY40176" fmla="*/ 152093 h 6557032"/>
              <a:gd name="connsiteX40177" fmla="*/ 2104611 w 4610101"/>
              <a:gd name="connsiteY40177" fmla="*/ 157559 h 6557032"/>
              <a:gd name="connsiteX40178" fmla="*/ 2099145 w 4610101"/>
              <a:gd name="connsiteY40178" fmla="*/ 152093 h 6557032"/>
              <a:gd name="connsiteX40179" fmla="*/ 2718684 w 4610101"/>
              <a:gd name="connsiteY40179" fmla="*/ 150271 h 6557032"/>
              <a:gd name="connsiteX40180" fmla="*/ 2719531 w 4610101"/>
              <a:gd name="connsiteY40180" fmla="*/ 156200 h 6557032"/>
              <a:gd name="connsiteX40181" fmla="*/ 2718912 w 4610101"/>
              <a:gd name="connsiteY40181" fmla="*/ 156420 h 6557032"/>
              <a:gd name="connsiteX40182" fmla="*/ 2715066 w 4610101"/>
              <a:gd name="connsiteY40182" fmla="*/ 153498 h 6557032"/>
              <a:gd name="connsiteX40183" fmla="*/ 2463580 w 4610101"/>
              <a:gd name="connsiteY40183" fmla="*/ 150271 h 6557032"/>
              <a:gd name="connsiteX40184" fmla="*/ 2445358 w 4610101"/>
              <a:gd name="connsiteY40184" fmla="*/ 170315 h 6557032"/>
              <a:gd name="connsiteX40185" fmla="*/ 2456291 w 4610101"/>
              <a:gd name="connsiteY40185" fmla="*/ 179426 h 6557032"/>
              <a:gd name="connsiteX40186" fmla="*/ 2463580 w 4610101"/>
              <a:gd name="connsiteY40186" fmla="*/ 150271 h 6557032"/>
              <a:gd name="connsiteX40187" fmla="*/ 2084568 w 4610101"/>
              <a:gd name="connsiteY40187" fmla="*/ 150271 h 6557032"/>
              <a:gd name="connsiteX40188" fmla="*/ 2086390 w 4610101"/>
              <a:gd name="connsiteY40188" fmla="*/ 166670 h 6557032"/>
              <a:gd name="connsiteX40189" fmla="*/ 2099145 w 4610101"/>
              <a:gd name="connsiteY40189" fmla="*/ 177603 h 6557032"/>
              <a:gd name="connsiteX40190" fmla="*/ 2104611 w 4610101"/>
              <a:gd name="connsiteY40190" fmla="*/ 175781 h 6557032"/>
              <a:gd name="connsiteX40191" fmla="*/ 2117366 w 4610101"/>
              <a:gd name="connsiteY40191" fmla="*/ 184892 h 6557032"/>
              <a:gd name="connsiteX40192" fmla="*/ 2131944 w 4610101"/>
              <a:gd name="connsiteY40192" fmla="*/ 183070 h 6557032"/>
              <a:gd name="connsiteX40193" fmla="*/ 2135588 w 4610101"/>
              <a:gd name="connsiteY40193" fmla="*/ 179426 h 6557032"/>
              <a:gd name="connsiteX40194" fmla="*/ 2115544 w 4610101"/>
              <a:gd name="connsiteY40194" fmla="*/ 181248 h 6557032"/>
              <a:gd name="connsiteX40195" fmla="*/ 2111900 w 4610101"/>
              <a:gd name="connsiteY40195" fmla="*/ 179426 h 6557032"/>
              <a:gd name="connsiteX40196" fmla="*/ 2117366 w 4610101"/>
              <a:gd name="connsiteY40196" fmla="*/ 175781 h 6557032"/>
              <a:gd name="connsiteX40197" fmla="*/ 2111900 w 4610101"/>
              <a:gd name="connsiteY40197" fmla="*/ 170315 h 6557032"/>
              <a:gd name="connsiteX40198" fmla="*/ 2117366 w 4610101"/>
              <a:gd name="connsiteY40198" fmla="*/ 164848 h 6557032"/>
              <a:gd name="connsiteX40199" fmla="*/ 2100967 w 4610101"/>
              <a:gd name="connsiteY40199" fmla="*/ 159382 h 6557032"/>
              <a:gd name="connsiteX40200" fmla="*/ 2100512 w 4610101"/>
              <a:gd name="connsiteY40200" fmla="*/ 164620 h 6557032"/>
              <a:gd name="connsiteX40201" fmla="*/ 2102023 w 4610101"/>
              <a:gd name="connsiteY40201" fmla="*/ 167189 h 6557032"/>
              <a:gd name="connsiteX40202" fmla="*/ 2096412 w 4610101"/>
              <a:gd name="connsiteY40202" fmla="*/ 165531 h 6557032"/>
              <a:gd name="connsiteX40203" fmla="*/ 2091856 w 4610101"/>
              <a:gd name="connsiteY40203" fmla="*/ 150271 h 6557032"/>
              <a:gd name="connsiteX40204" fmla="*/ 2084568 w 4610101"/>
              <a:gd name="connsiteY40204" fmla="*/ 150271 h 6557032"/>
              <a:gd name="connsiteX40205" fmla="*/ 2747839 w 4610101"/>
              <a:gd name="connsiteY40205" fmla="*/ 148449 h 6557032"/>
              <a:gd name="connsiteX40206" fmla="*/ 2749661 w 4610101"/>
              <a:gd name="connsiteY40206" fmla="*/ 155737 h 6557032"/>
              <a:gd name="connsiteX40207" fmla="*/ 2747839 w 4610101"/>
              <a:gd name="connsiteY40207" fmla="*/ 148449 h 6557032"/>
              <a:gd name="connsiteX40208" fmla="*/ 2390693 w 4610101"/>
              <a:gd name="connsiteY40208" fmla="*/ 148449 h 6557032"/>
              <a:gd name="connsiteX40209" fmla="*/ 2381582 w 4610101"/>
              <a:gd name="connsiteY40209" fmla="*/ 164848 h 6557032"/>
              <a:gd name="connsiteX40210" fmla="*/ 2387048 w 4610101"/>
              <a:gd name="connsiteY40210" fmla="*/ 153915 h 6557032"/>
              <a:gd name="connsiteX40211" fmla="*/ 2392515 w 4610101"/>
              <a:gd name="connsiteY40211" fmla="*/ 155737 h 6557032"/>
              <a:gd name="connsiteX40212" fmla="*/ 2391435 w 4610101"/>
              <a:gd name="connsiteY40212" fmla="*/ 165865 h 6557032"/>
              <a:gd name="connsiteX40213" fmla="*/ 2388643 w 4610101"/>
              <a:gd name="connsiteY40213" fmla="*/ 168493 h 6557032"/>
              <a:gd name="connsiteX40214" fmla="*/ 2388871 w 4610101"/>
              <a:gd name="connsiteY40214" fmla="*/ 172137 h 6557032"/>
              <a:gd name="connsiteX40215" fmla="*/ 2390974 w 4610101"/>
              <a:gd name="connsiteY40215" fmla="*/ 170184 h 6557032"/>
              <a:gd name="connsiteX40216" fmla="*/ 2390693 w 4610101"/>
              <a:gd name="connsiteY40216" fmla="*/ 172820 h 6557032"/>
              <a:gd name="connsiteX40217" fmla="*/ 2372471 w 4610101"/>
              <a:gd name="connsiteY40217" fmla="*/ 183070 h 6557032"/>
              <a:gd name="connsiteX40218" fmla="*/ 2379760 w 4610101"/>
              <a:gd name="connsiteY40218" fmla="*/ 172137 h 6557032"/>
              <a:gd name="connsiteX40219" fmla="*/ 2361566 w 4610101"/>
              <a:gd name="connsiteY40219" fmla="*/ 180848 h 6557032"/>
              <a:gd name="connsiteX40220" fmla="*/ 2363841 w 4610101"/>
              <a:gd name="connsiteY40220" fmla="*/ 185684 h 6557032"/>
              <a:gd name="connsiteX40221" fmla="*/ 2358577 w 4610101"/>
              <a:gd name="connsiteY40221" fmla="*/ 178742 h 6557032"/>
              <a:gd name="connsiteX40222" fmla="*/ 2355355 w 4610101"/>
              <a:gd name="connsiteY40222" fmla="*/ 176946 h 6557032"/>
              <a:gd name="connsiteX40223" fmla="*/ 2361538 w 4610101"/>
              <a:gd name="connsiteY40223" fmla="*/ 173276 h 6557032"/>
              <a:gd name="connsiteX40224" fmla="*/ 2368827 w 4610101"/>
              <a:gd name="connsiteY40224" fmla="*/ 164848 h 6557032"/>
              <a:gd name="connsiteX40225" fmla="*/ 2377937 w 4610101"/>
              <a:gd name="connsiteY40225" fmla="*/ 170315 h 6557032"/>
              <a:gd name="connsiteX40226" fmla="*/ 2376115 w 4610101"/>
              <a:gd name="connsiteY40226" fmla="*/ 159382 h 6557032"/>
              <a:gd name="connsiteX40227" fmla="*/ 2370649 w 4610101"/>
              <a:gd name="connsiteY40227" fmla="*/ 163026 h 6557032"/>
              <a:gd name="connsiteX40228" fmla="*/ 2390693 w 4610101"/>
              <a:gd name="connsiteY40228" fmla="*/ 148449 h 6557032"/>
              <a:gd name="connsiteX40229" fmla="*/ 2722328 w 4610101"/>
              <a:gd name="connsiteY40229" fmla="*/ 146626 h 6557032"/>
              <a:gd name="connsiteX40230" fmla="*/ 2724606 w 4610101"/>
              <a:gd name="connsiteY40230" fmla="*/ 148448 h 6557032"/>
              <a:gd name="connsiteX40231" fmla="*/ 2724225 w 4610101"/>
              <a:gd name="connsiteY40231" fmla="*/ 154535 h 6557032"/>
              <a:gd name="connsiteX40232" fmla="*/ 2723481 w 4610101"/>
              <a:gd name="connsiteY40232" fmla="*/ 154799 h 6557032"/>
              <a:gd name="connsiteX40233" fmla="*/ 2721873 w 4610101"/>
              <a:gd name="connsiteY40233" fmla="*/ 152548 h 6557032"/>
              <a:gd name="connsiteX40234" fmla="*/ 2722328 w 4610101"/>
              <a:gd name="connsiteY40234" fmla="*/ 146626 h 6557032"/>
              <a:gd name="connsiteX40235" fmla="*/ 2541933 w 4610101"/>
              <a:gd name="connsiteY40235" fmla="*/ 144804 h 6557032"/>
              <a:gd name="connsiteX40236" fmla="*/ 2549222 w 4610101"/>
              <a:gd name="connsiteY40236" fmla="*/ 153915 h 6557032"/>
              <a:gd name="connsiteX40237" fmla="*/ 2541933 w 4610101"/>
              <a:gd name="connsiteY40237" fmla="*/ 144804 h 6557032"/>
              <a:gd name="connsiteX40238" fmla="*/ 2261318 w 4610101"/>
              <a:gd name="connsiteY40238" fmla="*/ 144804 h 6557032"/>
              <a:gd name="connsiteX40239" fmla="*/ 2264963 w 4610101"/>
              <a:gd name="connsiteY40239" fmla="*/ 150271 h 6557032"/>
              <a:gd name="connsiteX40240" fmla="*/ 2270429 w 4610101"/>
              <a:gd name="connsiteY40240" fmla="*/ 144804 h 6557032"/>
              <a:gd name="connsiteX40241" fmla="*/ 2261318 w 4610101"/>
              <a:gd name="connsiteY40241" fmla="*/ 144804 h 6557032"/>
              <a:gd name="connsiteX40242" fmla="*/ 2113722 w 4610101"/>
              <a:gd name="connsiteY40242" fmla="*/ 144804 h 6557032"/>
              <a:gd name="connsiteX40243" fmla="*/ 2119189 w 4610101"/>
              <a:gd name="connsiteY40243" fmla="*/ 159382 h 6557032"/>
              <a:gd name="connsiteX40244" fmla="*/ 2113722 w 4610101"/>
              <a:gd name="connsiteY40244" fmla="*/ 144804 h 6557032"/>
              <a:gd name="connsiteX40245" fmla="*/ 2146521 w 4610101"/>
              <a:gd name="connsiteY40245" fmla="*/ 142982 h 6557032"/>
              <a:gd name="connsiteX40246" fmla="*/ 2148344 w 4610101"/>
              <a:gd name="connsiteY40246" fmla="*/ 150271 h 6557032"/>
              <a:gd name="connsiteX40247" fmla="*/ 2166565 w 4610101"/>
              <a:gd name="connsiteY40247" fmla="*/ 153915 h 6557032"/>
              <a:gd name="connsiteX40248" fmla="*/ 2146521 w 4610101"/>
              <a:gd name="connsiteY40248" fmla="*/ 142982 h 6557032"/>
              <a:gd name="connsiteX40249" fmla="*/ 3008410 w 4610101"/>
              <a:gd name="connsiteY40249" fmla="*/ 141160 h 6557032"/>
              <a:gd name="connsiteX40250" fmla="*/ 3008858 w 4610101"/>
              <a:gd name="connsiteY40250" fmla="*/ 143250 h 6557032"/>
              <a:gd name="connsiteX40251" fmla="*/ 3008410 w 4610101"/>
              <a:gd name="connsiteY40251" fmla="*/ 143818 h 6557032"/>
              <a:gd name="connsiteX40252" fmla="*/ 2470868 w 4610101"/>
              <a:gd name="connsiteY40252" fmla="*/ 139338 h 6557032"/>
              <a:gd name="connsiteX40253" fmla="*/ 2469046 w 4610101"/>
              <a:gd name="connsiteY40253" fmla="*/ 146626 h 6557032"/>
              <a:gd name="connsiteX40254" fmla="*/ 2476335 w 4610101"/>
              <a:gd name="connsiteY40254" fmla="*/ 146626 h 6557032"/>
              <a:gd name="connsiteX40255" fmla="*/ 2470868 w 4610101"/>
              <a:gd name="connsiteY40255" fmla="*/ 139338 h 6557032"/>
              <a:gd name="connsiteX40256" fmla="*/ 2121011 w 4610101"/>
              <a:gd name="connsiteY40256" fmla="*/ 139338 h 6557032"/>
              <a:gd name="connsiteX40257" fmla="*/ 2133766 w 4610101"/>
              <a:gd name="connsiteY40257" fmla="*/ 163026 h 6557032"/>
              <a:gd name="connsiteX40258" fmla="*/ 2124655 w 4610101"/>
              <a:gd name="connsiteY40258" fmla="*/ 155737 h 6557032"/>
              <a:gd name="connsiteX40259" fmla="*/ 2121011 w 4610101"/>
              <a:gd name="connsiteY40259" fmla="*/ 139338 h 6557032"/>
              <a:gd name="connsiteX40260" fmla="*/ 2174764 w 4610101"/>
              <a:gd name="connsiteY40260" fmla="*/ 137878 h 6557032"/>
              <a:gd name="connsiteX40261" fmla="*/ 2177726 w 4610101"/>
              <a:gd name="connsiteY40261" fmla="*/ 140248 h 6557032"/>
              <a:gd name="connsiteX40262" fmla="*/ 2175990 w 4610101"/>
              <a:gd name="connsiteY40262" fmla="*/ 142290 h 6557032"/>
              <a:gd name="connsiteX40263" fmla="*/ 2173855 w 4610101"/>
              <a:gd name="connsiteY40263" fmla="*/ 139338 h 6557032"/>
              <a:gd name="connsiteX40264" fmla="*/ 2173854 w 4610101"/>
              <a:gd name="connsiteY40264" fmla="*/ 139337 h 6557032"/>
              <a:gd name="connsiteX40265" fmla="*/ 2170210 w 4610101"/>
              <a:gd name="connsiteY40265" fmla="*/ 137516 h 6557032"/>
              <a:gd name="connsiteX40266" fmla="*/ 2169352 w 4610101"/>
              <a:gd name="connsiteY40266" fmla="*/ 140945 h 6557032"/>
              <a:gd name="connsiteX40267" fmla="*/ 2162921 w 4610101"/>
              <a:gd name="connsiteY40267" fmla="*/ 139338 h 6557032"/>
              <a:gd name="connsiteX40268" fmla="*/ 2173854 w 4610101"/>
              <a:gd name="connsiteY40268" fmla="*/ 150271 h 6557032"/>
              <a:gd name="connsiteX40269" fmla="*/ 2168387 w 4610101"/>
              <a:gd name="connsiteY40269" fmla="*/ 144804 h 6557032"/>
              <a:gd name="connsiteX40270" fmla="*/ 2169352 w 4610101"/>
              <a:gd name="connsiteY40270" fmla="*/ 140945 h 6557032"/>
              <a:gd name="connsiteX40271" fmla="*/ 2170210 w 4610101"/>
              <a:gd name="connsiteY40271" fmla="*/ 141160 h 6557032"/>
              <a:gd name="connsiteX40272" fmla="*/ 2170210 w 4610101"/>
              <a:gd name="connsiteY40272" fmla="*/ 137516 h 6557032"/>
              <a:gd name="connsiteX40273" fmla="*/ 2133766 w 4610101"/>
              <a:gd name="connsiteY40273" fmla="*/ 137516 h 6557032"/>
              <a:gd name="connsiteX40274" fmla="*/ 2141055 w 4610101"/>
              <a:gd name="connsiteY40274" fmla="*/ 146626 h 6557032"/>
              <a:gd name="connsiteX40275" fmla="*/ 2133766 w 4610101"/>
              <a:gd name="connsiteY40275" fmla="*/ 137516 h 6557032"/>
              <a:gd name="connsiteX40276" fmla="*/ 2066346 w 4610101"/>
              <a:gd name="connsiteY40276" fmla="*/ 137516 h 6557032"/>
              <a:gd name="connsiteX40277" fmla="*/ 2075457 w 4610101"/>
              <a:gd name="connsiteY40277" fmla="*/ 146626 h 6557032"/>
              <a:gd name="connsiteX40278" fmla="*/ 2073634 w 4610101"/>
              <a:gd name="connsiteY40278" fmla="*/ 142982 h 6557032"/>
              <a:gd name="connsiteX40279" fmla="*/ 2082745 w 4610101"/>
              <a:gd name="connsiteY40279" fmla="*/ 146626 h 6557032"/>
              <a:gd name="connsiteX40280" fmla="*/ 2066346 w 4610101"/>
              <a:gd name="connsiteY40280" fmla="*/ 137516 h 6557032"/>
              <a:gd name="connsiteX40281" fmla="*/ 2520347 w 4610101"/>
              <a:gd name="connsiteY40281" fmla="*/ 136917 h 6557032"/>
              <a:gd name="connsiteX40282" fmla="*/ 2524395 w 4610101"/>
              <a:gd name="connsiteY40282" fmla="*/ 137828 h 6557032"/>
              <a:gd name="connsiteX40283" fmla="*/ 2525051 w 4610101"/>
              <a:gd name="connsiteY40283" fmla="*/ 138513 h 6557032"/>
              <a:gd name="connsiteX40284" fmla="*/ 2520067 w 4610101"/>
              <a:gd name="connsiteY40284" fmla="*/ 137516 h 6557032"/>
              <a:gd name="connsiteX40285" fmla="*/ 2310517 w 4610101"/>
              <a:gd name="connsiteY40285" fmla="*/ 135693 h 6557032"/>
              <a:gd name="connsiteX40286" fmla="*/ 2299584 w 4610101"/>
              <a:gd name="connsiteY40286" fmla="*/ 141160 h 6557032"/>
              <a:gd name="connsiteX40287" fmla="*/ 2312339 w 4610101"/>
              <a:gd name="connsiteY40287" fmla="*/ 141160 h 6557032"/>
              <a:gd name="connsiteX40288" fmla="*/ 2310517 w 4610101"/>
              <a:gd name="connsiteY40288" fmla="*/ 135693 h 6557032"/>
              <a:gd name="connsiteX40289" fmla="*/ 2128300 w 4610101"/>
              <a:gd name="connsiteY40289" fmla="*/ 135693 h 6557032"/>
              <a:gd name="connsiteX40290" fmla="*/ 2126477 w 4610101"/>
              <a:gd name="connsiteY40290" fmla="*/ 137516 h 6557032"/>
              <a:gd name="connsiteX40291" fmla="*/ 2130122 w 4610101"/>
              <a:gd name="connsiteY40291" fmla="*/ 150271 h 6557032"/>
              <a:gd name="connsiteX40292" fmla="*/ 2141055 w 4610101"/>
              <a:gd name="connsiteY40292" fmla="*/ 166670 h 6557032"/>
              <a:gd name="connsiteX40293" fmla="*/ 2159277 w 4610101"/>
              <a:gd name="connsiteY40293" fmla="*/ 161204 h 6557032"/>
              <a:gd name="connsiteX40294" fmla="*/ 2151988 w 4610101"/>
              <a:gd name="connsiteY40294" fmla="*/ 161204 h 6557032"/>
              <a:gd name="connsiteX40295" fmla="*/ 2155632 w 4610101"/>
              <a:gd name="connsiteY40295" fmla="*/ 157559 h 6557032"/>
              <a:gd name="connsiteX40296" fmla="*/ 2166565 w 4610101"/>
              <a:gd name="connsiteY40296" fmla="*/ 164848 h 6557032"/>
              <a:gd name="connsiteX40297" fmla="*/ 2166565 w 4610101"/>
              <a:gd name="connsiteY40297" fmla="*/ 155737 h 6557032"/>
              <a:gd name="connsiteX40298" fmla="*/ 2150166 w 4610101"/>
              <a:gd name="connsiteY40298" fmla="*/ 157559 h 6557032"/>
              <a:gd name="connsiteX40299" fmla="*/ 2150166 w 4610101"/>
              <a:gd name="connsiteY40299" fmla="*/ 152093 h 6557032"/>
              <a:gd name="connsiteX40300" fmla="*/ 2128300 w 4610101"/>
              <a:gd name="connsiteY40300" fmla="*/ 135693 h 6557032"/>
              <a:gd name="connsiteX40301" fmla="*/ 2793272 w 4610101"/>
              <a:gd name="connsiteY40301" fmla="*/ 135086 h 6557032"/>
              <a:gd name="connsiteX40302" fmla="*/ 2797949 w 4610101"/>
              <a:gd name="connsiteY40302" fmla="*/ 138427 h 6557032"/>
              <a:gd name="connsiteX40303" fmla="*/ 2798860 w 4610101"/>
              <a:gd name="connsiteY40303" fmla="*/ 148449 h 6557032"/>
              <a:gd name="connsiteX40304" fmla="*/ 2970752 w 4610101"/>
              <a:gd name="connsiteY40304" fmla="*/ 135085 h 6557032"/>
              <a:gd name="connsiteX40305" fmla="*/ 2970144 w 4610101"/>
              <a:gd name="connsiteY40305" fmla="*/ 137516 h 6557032"/>
              <a:gd name="connsiteX40306" fmla="*/ 2969476 w 4610101"/>
              <a:gd name="connsiteY40306" fmla="*/ 136361 h 6557032"/>
              <a:gd name="connsiteX40307" fmla="*/ 2302090 w 4610101"/>
              <a:gd name="connsiteY40307" fmla="*/ 132732 h 6557032"/>
              <a:gd name="connsiteX40308" fmla="*/ 2295940 w 4610101"/>
              <a:gd name="connsiteY40308" fmla="*/ 133871 h 6557032"/>
              <a:gd name="connsiteX40309" fmla="*/ 2306873 w 4610101"/>
              <a:gd name="connsiteY40309" fmla="*/ 135693 h 6557032"/>
              <a:gd name="connsiteX40310" fmla="*/ 2302090 w 4610101"/>
              <a:gd name="connsiteY40310" fmla="*/ 132732 h 6557032"/>
              <a:gd name="connsiteX40311" fmla="*/ 2792143 w 4610101"/>
              <a:gd name="connsiteY40311" fmla="*/ 132385 h 6557032"/>
              <a:gd name="connsiteX40312" fmla="*/ 2793272 w 4610101"/>
              <a:gd name="connsiteY40312" fmla="*/ 135086 h 6557032"/>
              <a:gd name="connsiteX40313" fmla="*/ 2791571 w 4610101"/>
              <a:gd name="connsiteY40313" fmla="*/ 133871 h 6557032"/>
              <a:gd name="connsiteX40314" fmla="*/ 3081297 w 4610101"/>
              <a:gd name="connsiteY40314" fmla="*/ 132049 h 6557032"/>
              <a:gd name="connsiteX40315" fmla="*/ 3088585 w 4610101"/>
              <a:gd name="connsiteY40315" fmla="*/ 146626 h 6557032"/>
              <a:gd name="connsiteX40316" fmla="*/ 3086763 w 4610101"/>
              <a:gd name="connsiteY40316" fmla="*/ 139338 h 6557032"/>
              <a:gd name="connsiteX40317" fmla="*/ 3090407 w 4610101"/>
              <a:gd name="connsiteY40317" fmla="*/ 141160 h 6557032"/>
              <a:gd name="connsiteX40318" fmla="*/ 3083119 w 4610101"/>
              <a:gd name="connsiteY40318" fmla="*/ 168493 h 6557032"/>
              <a:gd name="connsiteX40319" fmla="*/ 3063075 w 4610101"/>
              <a:gd name="connsiteY40319" fmla="*/ 152093 h 6557032"/>
              <a:gd name="connsiteX40320" fmla="*/ 3062415 w 4610101"/>
              <a:gd name="connsiteY40320" fmla="*/ 152753 h 6557032"/>
              <a:gd name="connsiteX40321" fmla="*/ 3066264 w 4610101"/>
              <a:gd name="connsiteY40321" fmla="*/ 147992 h 6557032"/>
              <a:gd name="connsiteX40322" fmla="*/ 3072186 w 4610101"/>
              <a:gd name="connsiteY40322" fmla="*/ 133871 h 6557032"/>
              <a:gd name="connsiteX40323" fmla="*/ 3081297 w 4610101"/>
              <a:gd name="connsiteY40323" fmla="*/ 139338 h 6557032"/>
              <a:gd name="connsiteX40324" fmla="*/ 3081297 w 4610101"/>
              <a:gd name="connsiteY40324" fmla="*/ 132049 h 6557032"/>
              <a:gd name="connsiteX40325" fmla="*/ 2549222 w 4610101"/>
              <a:gd name="connsiteY40325" fmla="*/ 132049 h 6557032"/>
              <a:gd name="connsiteX40326" fmla="*/ 2541933 w 4610101"/>
              <a:gd name="connsiteY40326" fmla="*/ 141160 h 6557032"/>
              <a:gd name="connsiteX40327" fmla="*/ 2551044 w 4610101"/>
              <a:gd name="connsiteY40327" fmla="*/ 139338 h 6557032"/>
              <a:gd name="connsiteX40328" fmla="*/ 2549222 w 4610101"/>
              <a:gd name="connsiteY40328" fmla="*/ 132049 h 6557032"/>
              <a:gd name="connsiteX40329" fmla="*/ 2315983 w 4610101"/>
              <a:gd name="connsiteY40329" fmla="*/ 132049 h 6557032"/>
              <a:gd name="connsiteX40330" fmla="*/ 2315983 w 4610101"/>
              <a:gd name="connsiteY40330" fmla="*/ 139338 h 6557032"/>
              <a:gd name="connsiteX40331" fmla="*/ 2315983 w 4610101"/>
              <a:gd name="connsiteY40331" fmla="*/ 132049 h 6557032"/>
              <a:gd name="connsiteX40332" fmla="*/ 2971966 w 4610101"/>
              <a:gd name="connsiteY40332" fmla="*/ 130227 h 6557032"/>
              <a:gd name="connsiteX40333" fmla="*/ 2971530 w 4610101"/>
              <a:gd name="connsiteY40333" fmla="*/ 131971 h 6557032"/>
              <a:gd name="connsiteX40334" fmla="*/ 2969852 w 4610101"/>
              <a:gd name="connsiteY40334" fmla="*/ 131673 h 6557032"/>
              <a:gd name="connsiteX40335" fmla="*/ 2961717 w 4610101"/>
              <a:gd name="connsiteY40335" fmla="*/ 130226 h 6557032"/>
              <a:gd name="connsiteX40336" fmla="*/ 2969852 w 4610101"/>
              <a:gd name="connsiteY40336" fmla="*/ 131673 h 6557032"/>
              <a:gd name="connsiteX40337" fmla="*/ 2967639 w 4610101"/>
              <a:gd name="connsiteY40337" fmla="*/ 133187 h 6557032"/>
              <a:gd name="connsiteX40338" fmla="*/ 2969476 w 4610101"/>
              <a:gd name="connsiteY40338" fmla="*/ 136361 h 6557032"/>
              <a:gd name="connsiteX40339" fmla="*/ 2966727 w 4610101"/>
              <a:gd name="connsiteY40339" fmla="*/ 139110 h 6557032"/>
              <a:gd name="connsiteX40340" fmla="*/ 2955566 w 4610101"/>
              <a:gd name="connsiteY40340" fmla="*/ 139338 h 6557032"/>
              <a:gd name="connsiteX40341" fmla="*/ 2961717 w 4610101"/>
              <a:gd name="connsiteY40341" fmla="*/ 130226 h 6557032"/>
              <a:gd name="connsiteX40342" fmla="*/ 2536466 w 4610101"/>
              <a:gd name="connsiteY40342" fmla="*/ 126583 h 6557032"/>
              <a:gd name="connsiteX40343" fmla="*/ 2524850 w 4610101"/>
              <a:gd name="connsiteY40343" fmla="*/ 127266 h 6557032"/>
              <a:gd name="connsiteX40344" fmla="*/ 2520347 w 4610101"/>
              <a:gd name="connsiteY40344" fmla="*/ 136917 h 6557032"/>
              <a:gd name="connsiteX40345" fmla="*/ 2511868 w 4610101"/>
              <a:gd name="connsiteY40345" fmla="*/ 135010 h 6557032"/>
              <a:gd name="connsiteX40346" fmla="*/ 2485446 w 4610101"/>
              <a:gd name="connsiteY40346" fmla="*/ 141160 h 6557032"/>
              <a:gd name="connsiteX40347" fmla="*/ 2485446 w 4610101"/>
              <a:gd name="connsiteY40347" fmla="*/ 137516 h 6557032"/>
              <a:gd name="connsiteX40348" fmla="*/ 2485446 w 4610101"/>
              <a:gd name="connsiteY40348" fmla="*/ 146626 h 6557032"/>
              <a:gd name="connsiteX40349" fmla="*/ 2479979 w 4610101"/>
              <a:gd name="connsiteY40349" fmla="*/ 153915 h 6557032"/>
              <a:gd name="connsiteX40350" fmla="*/ 2478157 w 4610101"/>
              <a:gd name="connsiteY40350" fmla="*/ 148449 h 6557032"/>
              <a:gd name="connsiteX40351" fmla="*/ 2469046 w 4610101"/>
              <a:gd name="connsiteY40351" fmla="*/ 190359 h 6557032"/>
              <a:gd name="connsiteX40352" fmla="*/ 2470868 w 4610101"/>
              <a:gd name="connsiteY40352" fmla="*/ 183070 h 6557032"/>
              <a:gd name="connsiteX40353" fmla="*/ 2487268 w 4610101"/>
              <a:gd name="connsiteY40353" fmla="*/ 190359 h 6557032"/>
              <a:gd name="connsiteX40354" fmla="*/ 2485446 w 4610101"/>
              <a:gd name="connsiteY40354" fmla="*/ 168493 h 6557032"/>
              <a:gd name="connsiteX40355" fmla="*/ 2501845 w 4610101"/>
              <a:gd name="connsiteY40355" fmla="*/ 183070 h 6557032"/>
              <a:gd name="connsiteX40356" fmla="*/ 2510956 w 4610101"/>
              <a:gd name="connsiteY40356" fmla="*/ 192181 h 6557032"/>
              <a:gd name="connsiteX40357" fmla="*/ 2510956 w 4610101"/>
              <a:gd name="connsiteY40357" fmla="*/ 173959 h 6557032"/>
              <a:gd name="connsiteX40358" fmla="*/ 2501845 w 4610101"/>
              <a:gd name="connsiteY40358" fmla="*/ 146626 h 6557032"/>
              <a:gd name="connsiteX40359" fmla="*/ 2523711 w 4610101"/>
              <a:gd name="connsiteY40359" fmla="*/ 146626 h 6557032"/>
              <a:gd name="connsiteX40360" fmla="*/ 2523711 w 4610101"/>
              <a:gd name="connsiteY40360" fmla="*/ 164848 h 6557032"/>
              <a:gd name="connsiteX40361" fmla="*/ 2538289 w 4610101"/>
              <a:gd name="connsiteY40361" fmla="*/ 183070 h 6557032"/>
              <a:gd name="connsiteX40362" fmla="*/ 2545577 w 4610101"/>
              <a:gd name="connsiteY40362" fmla="*/ 184892 h 6557032"/>
              <a:gd name="connsiteX40363" fmla="*/ 2543755 w 4610101"/>
              <a:gd name="connsiteY40363" fmla="*/ 163026 h 6557032"/>
              <a:gd name="connsiteX40364" fmla="*/ 2552945 w 4610101"/>
              <a:gd name="connsiteY40364" fmla="*/ 167060 h 6557032"/>
              <a:gd name="connsiteX40365" fmla="*/ 2553112 w 4610101"/>
              <a:gd name="connsiteY40365" fmla="*/ 167148 h 6557032"/>
              <a:gd name="connsiteX40366" fmla="*/ 2558332 w 4610101"/>
              <a:gd name="connsiteY40366" fmla="*/ 173959 h 6557032"/>
              <a:gd name="connsiteX40367" fmla="*/ 2551044 w 4610101"/>
              <a:gd name="connsiteY40367" fmla="*/ 179426 h 6557032"/>
              <a:gd name="connsiteX40368" fmla="*/ 2549222 w 4610101"/>
              <a:gd name="connsiteY40368" fmla="*/ 173959 h 6557032"/>
              <a:gd name="connsiteX40369" fmla="*/ 2547400 w 4610101"/>
              <a:gd name="connsiteY40369" fmla="*/ 208580 h 6557032"/>
              <a:gd name="connsiteX40370" fmla="*/ 2545577 w 4610101"/>
              <a:gd name="connsiteY40370" fmla="*/ 204936 h 6557032"/>
              <a:gd name="connsiteX40371" fmla="*/ 2541933 w 4610101"/>
              <a:gd name="connsiteY40371" fmla="*/ 214047 h 6557032"/>
              <a:gd name="connsiteX40372" fmla="*/ 2549222 w 4610101"/>
              <a:gd name="connsiteY40372" fmla="*/ 215869 h 6557032"/>
              <a:gd name="connsiteX40373" fmla="*/ 2540111 w 4610101"/>
              <a:gd name="connsiteY40373" fmla="*/ 219513 h 6557032"/>
              <a:gd name="connsiteX40374" fmla="*/ 2545577 w 4610101"/>
              <a:gd name="connsiteY40374" fmla="*/ 221336 h 6557032"/>
              <a:gd name="connsiteX40375" fmla="*/ 2536466 w 4610101"/>
              <a:gd name="connsiteY40375" fmla="*/ 241379 h 6557032"/>
              <a:gd name="connsiteX40376" fmla="*/ 2507312 w 4610101"/>
              <a:gd name="connsiteY40376" fmla="*/ 234091 h 6557032"/>
              <a:gd name="connsiteX40377" fmla="*/ 2523711 w 4610101"/>
              <a:gd name="connsiteY40377" fmla="*/ 214047 h 6557032"/>
              <a:gd name="connsiteX40378" fmla="*/ 2532822 w 4610101"/>
              <a:gd name="connsiteY40378" fmla="*/ 217691 h 6557032"/>
              <a:gd name="connsiteX40379" fmla="*/ 2512778 w 4610101"/>
              <a:gd name="connsiteY40379" fmla="*/ 210403 h 6557032"/>
              <a:gd name="connsiteX40380" fmla="*/ 2507312 w 4610101"/>
              <a:gd name="connsiteY40380" fmla="*/ 219513 h 6557032"/>
              <a:gd name="connsiteX40381" fmla="*/ 2509134 w 4610101"/>
              <a:gd name="connsiteY40381" fmla="*/ 212225 h 6557032"/>
              <a:gd name="connsiteX40382" fmla="*/ 2503667 w 4610101"/>
              <a:gd name="connsiteY40382" fmla="*/ 210403 h 6557032"/>
              <a:gd name="connsiteX40383" fmla="*/ 2500023 w 4610101"/>
              <a:gd name="connsiteY40383" fmla="*/ 214046 h 6557032"/>
              <a:gd name="connsiteX40384" fmla="*/ 2503667 w 4610101"/>
              <a:gd name="connsiteY40384" fmla="*/ 206758 h 6557032"/>
              <a:gd name="connsiteX40385" fmla="*/ 2500479 w 4610101"/>
              <a:gd name="connsiteY40385" fmla="*/ 209036 h 6557032"/>
              <a:gd name="connsiteX40386" fmla="*/ 2500023 w 4610101"/>
              <a:gd name="connsiteY40386" fmla="*/ 214046 h 6557032"/>
              <a:gd name="connsiteX40387" fmla="*/ 2500023 w 4610101"/>
              <a:gd name="connsiteY40387" fmla="*/ 214047 h 6557032"/>
              <a:gd name="connsiteX40388" fmla="*/ 2492507 w 4610101"/>
              <a:gd name="connsiteY40388" fmla="*/ 221563 h 6557032"/>
              <a:gd name="connsiteX40389" fmla="*/ 2490912 w 4610101"/>
              <a:gd name="connsiteY40389" fmla="*/ 239557 h 6557032"/>
              <a:gd name="connsiteX40390" fmla="*/ 2485446 w 4610101"/>
              <a:gd name="connsiteY40390" fmla="*/ 237735 h 6557032"/>
              <a:gd name="connsiteX40391" fmla="*/ 2478157 w 4610101"/>
              <a:gd name="connsiteY40391" fmla="*/ 226802 h 6557032"/>
              <a:gd name="connsiteX40392" fmla="*/ 2476335 w 4610101"/>
              <a:gd name="connsiteY40392" fmla="*/ 234091 h 6557032"/>
              <a:gd name="connsiteX40393" fmla="*/ 2485446 w 4610101"/>
              <a:gd name="connsiteY40393" fmla="*/ 239557 h 6557032"/>
              <a:gd name="connsiteX40394" fmla="*/ 2483624 w 4610101"/>
              <a:gd name="connsiteY40394" fmla="*/ 254135 h 6557032"/>
              <a:gd name="connsiteX40395" fmla="*/ 2489090 w 4610101"/>
              <a:gd name="connsiteY40395" fmla="*/ 268712 h 6557032"/>
              <a:gd name="connsiteX40396" fmla="*/ 2494556 w 4610101"/>
              <a:gd name="connsiteY40396" fmla="*/ 268712 h 6557032"/>
              <a:gd name="connsiteX40397" fmla="*/ 2494556 w 4610101"/>
              <a:gd name="connsiteY40397" fmla="*/ 290578 h 6557032"/>
              <a:gd name="connsiteX40398" fmla="*/ 2561977 w 4610101"/>
              <a:gd name="connsiteY40398" fmla="*/ 263246 h 6557032"/>
              <a:gd name="connsiteX40399" fmla="*/ 2567760 w 4610101"/>
              <a:gd name="connsiteY40399" fmla="*/ 264692 h 6557032"/>
              <a:gd name="connsiteX40400" fmla="*/ 2563344 w 4610101"/>
              <a:gd name="connsiteY40400" fmla="*/ 271445 h 6557032"/>
              <a:gd name="connsiteX40401" fmla="*/ 2558332 w 4610101"/>
              <a:gd name="connsiteY40401" fmla="*/ 283289 h 6557032"/>
              <a:gd name="connsiteX40402" fmla="*/ 2569266 w 4610101"/>
              <a:gd name="connsiteY40402" fmla="*/ 283289 h 6557032"/>
              <a:gd name="connsiteX40403" fmla="*/ 2571088 w 4610101"/>
              <a:gd name="connsiteY40403" fmla="*/ 286934 h 6557032"/>
              <a:gd name="connsiteX40404" fmla="*/ 2567443 w 4610101"/>
              <a:gd name="connsiteY40404" fmla="*/ 285112 h 6557032"/>
              <a:gd name="connsiteX40405" fmla="*/ 2565621 w 4610101"/>
              <a:gd name="connsiteY40405" fmla="*/ 296045 h 6557032"/>
              <a:gd name="connsiteX40406" fmla="*/ 2607531 w 4610101"/>
              <a:gd name="connsiteY40406" fmla="*/ 259601 h 6557032"/>
              <a:gd name="connsiteX40407" fmla="*/ 2603887 w 4610101"/>
              <a:gd name="connsiteY40407" fmla="*/ 259601 h 6557032"/>
              <a:gd name="connsiteX40408" fmla="*/ 2611176 w 4610101"/>
              <a:gd name="connsiteY40408" fmla="*/ 245024 h 6557032"/>
              <a:gd name="connsiteX40409" fmla="*/ 2596598 w 4610101"/>
              <a:gd name="connsiteY40409" fmla="*/ 239557 h 6557032"/>
              <a:gd name="connsiteX40410" fmla="*/ 2578377 w 4610101"/>
              <a:gd name="connsiteY40410" fmla="*/ 245024 h 6557032"/>
              <a:gd name="connsiteX40411" fmla="*/ 2582021 w 4610101"/>
              <a:gd name="connsiteY40411" fmla="*/ 232269 h 6557032"/>
              <a:gd name="connsiteX40412" fmla="*/ 2580199 w 4610101"/>
              <a:gd name="connsiteY40412" fmla="*/ 234091 h 6557032"/>
              <a:gd name="connsiteX40413" fmla="*/ 2594776 w 4610101"/>
              <a:gd name="connsiteY40413" fmla="*/ 232269 h 6557032"/>
              <a:gd name="connsiteX40414" fmla="*/ 2591132 w 4610101"/>
              <a:gd name="connsiteY40414" fmla="*/ 235913 h 6557032"/>
              <a:gd name="connsiteX40415" fmla="*/ 2594776 w 4610101"/>
              <a:gd name="connsiteY40415" fmla="*/ 234091 h 6557032"/>
              <a:gd name="connsiteX40416" fmla="*/ 2594776 w 4610101"/>
              <a:gd name="connsiteY40416" fmla="*/ 232269 h 6557032"/>
              <a:gd name="connsiteX40417" fmla="*/ 2594776 w 4610101"/>
              <a:gd name="connsiteY40417" fmla="*/ 230446 h 6557032"/>
              <a:gd name="connsiteX40418" fmla="*/ 2605709 w 4610101"/>
              <a:gd name="connsiteY40418" fmla="*/ 214047 h 6557032"/>
              <a:gd name="connsiteX40419" fmla="*/ 2581338 w 4610101"/>
              <a:gd name="connsiteY40419" fmla="*/ 182159 h 6557032"/>
              <a:gd name="connsiteX40420" fmla="*/ 2553112 w 4610101"/>
              <a:gd name="connsiteY40420" fmla="*/ 167148 h 6557032"/>
              <a:gd name="connsiteX40421" fmla="*/ 2553094 w 4610101"/>
              <a:gd name="connsiteY40421" fmla="*/ 167125 h 6557032"/>
              <a:gd name="connsiteX40422" fmla="*/ 2552945 w 4610101"/>
              <a:gd name="connsiteY40422" fmla="*/ 167060 h 6557032"/>
              <a:gd name="connsiteX40423" fmla="*/ 2541933 w 4610101"/>
              <a:gd name="connsiteY40423" fmla="*/ 161204 h 6557032"/>
              <a:gd name="connsiteX40424" fmla="*/ 2540111 w 4610101"/>
              <a:gd name="connsiteY40424" fmla="*/ 153915 h 6557032"/>
              <a:gd name="connsiteX40425" fmla="*/ 2527356 w 4610101"/>
              <a:gd name="connsiteY40425" fmla="*/ 164848 h 6557032"/>
              <a:gd name="connsiteX40426" fmla="*/ 2532822 w 4610101"/>
              <a:gd name="connsiteY40426" fmla="*/ 146626 h 6557032"/>
              <a:gd name="connsiteX40427" fmla="*/ 2525051 w 4610101"/>
              <a:gd name="connsiteY40427" fmla="*/ 138513 h 6557032"/>
              <a:gd name="connsiteX40428" fmla="*/ 2538289 w 4610101"/>
              <a:gd name="connsiteY40428" fmla="*/ 141160 h 6557032"/>
              <a:gd name="connsiteX40429" fmla="*/ 2541933 w 4610101"/>
              <a:gd name="connsiteY40429" fmla="*/ 128405 h 6557032"/>
              <a:gd name="connsiteX40430" fmla="*/ 2536466 w 4610101"/>
              <a:gd name="connsiteY40430" fmla="*/ 133871 h 6557032"/>
              <a:gd name="connsiteX40431" fmla="*/ 2536466 w 4610101"/>
              <a:gd name="connsiteY40431" fmla="*/ 126583 h 6557032"/>
              <a:gd name="connsiteX40432" fmla="*/ 2334205 w 4610101"/>
              <a:gd name="connsiteY40432" fmla="*/ 126583 h 6557032"/>
              <a:gd name="connsiteX40433" fmla="*/ 2321450 w 4610101"/>
              <a:gd name="connsiteY40433" fmla="*/ 141160 h 6557032"/>
              <a:gd name="connsiteX40434" fmla="*/ 2343316 w 4610101"/>
              <a:gd name="connsiteY40434" fmla="*/ 141160 h 6557032"/>
              <a:gd name="connsiteX40435" fmla="*/ 2334205 w 4610101"/>
              <a:gd name="connsiteY40435" fmla="*/ 126583 h 6557032"/>
              <a:gd name="connsiteX40436" fmla="*/ 2277718 w 4610101"/>
              <a:gd name="connsiteY40436" fmla="*/ 126583 h 6557032"/>
              <a:gd name="connsiteX40437" fmla="*/ 2277718 w 4610101"/>
              <a:gd name="connsiteY40437" fmla="*/ 135693 h 6557032"/>
              <a:gd name="connsiteX40438" fmla="*/ 2277718 w 4610101"/>
              <a:gd name="connsiteY40438" fmla="*/ 126583 h 6557032"/>
              <a:gd name="connsiteX40439" fmla="*/ 2753860 w 4610101"/>
              <a:gd name="connsiteY40439" fmla="*/ 125315 h 6557032"/>
              <a:gd name="connsiteX40440" fmla="*/ 2756950 w 4610101"/>
              <a:gd name="connsiteY40440" fmla="*/ 128405 h 6557032"/>
              <a:gd name="connsiteX40441" fmla="*/ 2753078 w 4610101"/>
              <a:gd name="connsiteY40441" fmla="*/ 128632 h 6557032"/>
              <a:gd name="connsiteX40442" fmla="*/ 2752250 w 4610101"/>
              <a:gd name="connsiteY40442" fmla="*/ 128884 h 6557032"/>
              <a:gd name="connsiteX40443" fmla="*/ 2751483 w 4610101"/>
              <a:gd name="connsiteY40443" fmla="*/ 126583 h 6557032"/>
              <a:gd name="connsiteX40444" fmla="*/ 2356071 w 4610101"/>
              <a:gd name="connsiteY40444" fmla="*/ 124760 h 6557032"/>
              <a:gd name="connsiteX40445" fmla="*/ 2359716 w 4610101"/>
              <a:gd name="connsiteY40445" fmla="*/ 133871 h 6557032"/>
              <a:gd name="connsiteX40446" fmla="*/ 2368827 w 4610101"/>
              <a:gd name="connsiteY40446" fmla="*/ 130227 h 6557032"/>
              <a:gd name="connsiteX40447" fmla="*/ 2356071 w 4610101"/>
              <a:gd name="connsiteY40447" fmla="*/ 124760 h 6557032"/>
              <a:gd name="connsiteX40448" fmla="*/ 2285007 w 4610101"/>
              <a:gd name="connsiteY40448" fmla="*/ 124760 h 6557032"/>
              <a:gd name="connsiteX40449" fmla="*/ 2286829 w 4610101"/>
              <a:gd name="connsiteY40449" fmla="*/ 135693 h 6557032"/>
              <a:gd name="connsiteX40450" fmla="*/ 2285007 w 4610101"/>
              <a:gd name="connsiteY40450" fmla="*/ 124760 h 6557032"/>
              <a:gd name="connsiteX40451" fmla="*/ 2423492 w 4610101"/>
              <a:gd name="connsiteY40451" fmla="*/ 122938 h 6557032"/>
              <a:gd name="connsiteX40452" fmla="*/ 2416203 w 4610101"/>
              <a:gd name="connsiteY40452" fmla="*/ 132049 h 6557032"/>
              <a:gd name="connsiteX40453" fmla="*/ 2427136 w 4610101"/>
              <a:gd name="connsiteY40453" fmla="*/ 133871 h 6557032"/>
              <a:gd name="connsiteX40454" fmla="*/ 2399803 w 4610101"/>
              <a:gd name="connsiteY40454" fmla="*/ 126583 h 6557032"/>
              <a:gd name="connsiteX40455" fmla="*/ 2394337 w 4610101"/>
              <a:gd name="connsiteY40455" fmla="*/ 141160 h 6557032"/>
              <a:gd name="connsiteX40456" fmla="*/ 2390693 w 4610101"/>
              <a:gd name="connsiteY40456" fmla="*/ 130227 h 6557032"/>
              <a:gd name="connsiteX40457" fmla="*/ 2365182 w 4610101"/>
              <a:gd name="connsiteY40457" fmla="*/ 141160 h 6557032"/>
              <a:gd name="connsiteX40458" fmla="*/ 2363360 w 4610101"/>
              <a:gd name="connsiteY40458" fmla="*/ 135693 h 6557032"/>
              <a:gd name="connsiteX40459" fmla="*/ 2361538 w 4610101"/>
              <a:gd name="connsiteY40459" fmla="*/ 148449 h 6557032"/>
              <a:gd name="connsiteX40460" fmla="*/ 2357893 w 4610101"/>
              <a:gd name="connsiteY40460" fmla="*/ 139338 h 6557032"/>
              <a:gd name="connsiteX40461" fmla="*/ 2341494 w 4610101"/>
              <a:gd name="connsiteY40461" fmla="*/ 153915 h 6557032"/>
              <a:gd name="connsiteX40462" fmla="*/ 2339672 w 4610101"/>
              <a:gd name="connsiteY40462" fmla="*/ 142982 h 6557032"/>
              <a:gd name="connsiteX40463" fmla="*/ 2321450 w 4610101"/>
              <a:gd name="connsiteY40463" fmla="*/ 144804 h 6557032"/>
              <a:gd name="connsiteX40464" fmla="*/ 2312339 w 4610101"/>
              <a:gd name="connsiteY40464" fmla="*/ 153915 h 6557032"/>
              <a:gd name="connsiteX40465" fmla="*/ 2309689 w 4610101"/>
              <a:gd name="connsiteY40465" fmla="*/ 152921 h 6557032"/>
              <a:gd name="connsiteX40466" fmla="*/ 2314161 w 4610101"/>
              <a:gd name="connsiteY40466" fmla="*/ 148449 h 6557032"/>
              <a:gd name="connsiteX40467" fmla="*/ 2297762 w 4610101"/>
              <a:gd name="connsiteY40467" fmla="*/ 164848 h 6557032"/>
              <a:gd name="connsiteX40468" fmla="*/ 2302621 w 4610101"/>
              <a:gd name="connsiteY40468" fmla="*/ 159989 h 6557032"/>
              <a:gd name="connsiteX40469" fmla="*/ 2301406 w 4610101"/>
              <a:gd name="connsiteY40469" fmla="*/ 163026 h 6557032"/>
              <a:gd name="connsiteX40470" fmla="*/ 2314161 w 4610101"/>
              <a:gd name="connsiteY40470" fmla="*/ 177603 h 6557032"/>
              <a:gd name="connsiteX40471" fmla="*/ 2345138 w 4610101"/>
              <a:gd name="connsiteY40471" fmla="*/ 163026 h 6557032"/>
              <a:gd name="connsiteX40472" fmla="*/ 2339672 w 4610101"/>
              <a:gd name="connsiteY40472" fmla="*/ 173959 h 6557032"/>
              <a:gd name="connsiteX40473" fmla="*/ 2342512 w 4610101"/>
              <a:gd name="connsiteY40473" fmla="*/ 174364 h 6557032"/>
              <a:gd name="connsiteX40474" fmla="*/ 2336027 w 4610101"/>
              <a:gd name="connsiteY40474" fmla="*/ 175781 h 6557032"/>
              <a:gd name="connsiteX40475" fmla="*/ 2332383 w 4610101"/>
              <a:gd name="connsiteY40475" fmla="*/ 183070 h 6557032"/>
              <a:gd name="connsiteX40476" fmla="*/ 2334205 w 4610101"/>
              <a:gd name="connsiteY40476" fmla="*/ 175781 h 6557032"/>
              <a:gd name="connsiteX40477" fmla="*/ 2314161 w 4610101"/>
              <a:gd name="connsiteY40477" fmla="*/ 186714 h 6557032"/>
              <a:gd name="connsiteX40478" fmla="*/ 2315983 w 4610101"/>
              <a:gd name="connsiteY40478" fmla="*/ 184892 h 6557032"/>
              <a:gd name="connsiteX40479" fmla="*/ 2285007 w 4610101"/>
              <a:gd name="connsiteY40479" fmla="*/ 173959 h 6557032"/>
              <a:gd name="connsiteX40480" fmla="*/ 2281362 w 4610101"/>
              <a:gd name="connsiteY40480" fmla="*/ 177603 h 6557032"/>
              <a:gd name="connsiteX40481" fmla="*/ 2274074 w 4610101"/>
              <a:gd name="connsiteY40481" fmla="*/ 172137 h 6557032"/>
              <a:gd name="connsiteX40482" fmla="*/ 2275896 w 4610101"/>
              <a:gd name="connsiteY40482" fmla="*/ 175781 h 6557032"/>
              <a:gd name="connsiteX40483" fmla="*/ 2268078 w 4610101"/>
              <a:gd name="connsiteY40483" fmla="*/ 170060 h 6557032"/>
              <a:gd name="connsiteX40484" fmla="*/ 2276124 w 4610101"/>
              <a:gd name="connsiteY40484" fmla="*/ 169403 h 6557032"/>
              <a:gd name="connsiteX40485" fmla="*/ 2277718 w 4610101"/>
              <a:gd name="connsiteY40485" fmla="*/ 163026 h 6557032"/>
              <a:gd name="connsiteX40486" fmla="*/ 2268607 w 4610101"/>
              <a:gd name="connsiteY40486" fmla="*/ 159382 h 6557032"/>
              <a:gd name="connsiteX40487" fmla="*/ 2265368 w 4610101"/>
              <a:gd name="connsiteY40487" fmla="*/ 169100 h 6557032"/>
              <a:gd name="connsiteX40488" fmla="*/ 2255852 w 4610101"/>
              <a:gd name="connsiteY40488" fmla="*/ 170315 h 6557032"/>
              <a:gd name="connsiteX40489" fmla="*/ 2257674 w 4610101"/>
              <a:gd name="connsiteY40489" fmla="*/ 177603 h 6557032"/>
              <a:gd name="connsiteX40490" fmla="*/ 2253574 w 4610101"/>
              <a:gd name="connsiteY40490" fmla="*/ 172820 h 6557032"/>
              <a:gd name="connsiteX40491" fmla="*/ 2252223 w 4610101"/>
              <a:gd name="connsiteY40491" fmla="*/ 166738 h 6557032"/>
              <a:gd name="connsiteX40492" fmla="*/ 2252301 w 4610101"/>
              <a:gd name="connsiteY40492" fmla="*/ 166679 h 6557032"/>
              <a:gd name="connsiteX40493" fmla="*/ 2259269 w 4610101"/>
              <a:gd name="connsiteY40493" fmla="*/ 167353 h 6557032"/>
              <a:gd name="connsiteX40494" fmla="*/ 2264963 w 4610101"/>
              <a:gd name="connsiteY40494" fmla="*/ 166670 h 6557032"/>
              <a:gd name="connsiteX40495" fmla="*/ 2259496 w 4610101"/>
              <a:gd name="connsiteY40495" fmla="*/ 161204 h 6557032"/>
              <a:gd name="connsiteX40496" fmla="*/ 2252301 w 4610101"/>
              <a:gd name="connsiteY40496" fmla="*/ 166679 h 6557032"/>
              <a:gd name="connsiteX40497" fmla="*/ 2252207 w 4610101"/>
              <a:gd name="connsiteY40497" fmla="*/ 166670 h 6557032"/>
              <a:gd name="connsiteX40498" fmla="*/ 2252223 w 4610101"/>
              <a:gd name="connsiteY40498" fmla="*/ 166738 h 6557032"/>
              <a:gd name="connsiteX40499" fmla="*/ 2249019 w 4610101"/>
              <a:gd name="connsiteY40499" fmla="*/ 169175 h 6557032"/>
              <a:gd name="connsiteX40500" fmla="*/ 2252207 w 4610101"/>
              <a:gd name="connsiteY40500" fmla="*/ 181248 h 6557032"/>
              <a:gd name="connsiteX40501" fmla="*/ 2230341 w 4610101"/>
              <a:gd name="connsiteY40501" fmla="*/ 181248 h 6557032"/>
              <a:gd name="connsiteX40502" fmla="*/ 2228519 w 4610101"/>
              <a:gd name="connsiteY40502" fmla="*/ 172137 h 6557032"/>
              <a:gd name="connsiteX40503" fmla="*/ 2223053 w 4610101"/>
              <a:gd name="connsiteY40503" fmla="*/ 172137 h 6557032"/>
              <a:gd name="connsiteX40504" fmla="*/ 2228519 w 4610101"/>
              <a:gd name="connsiteY40504" fmla="*/ 188536 h 6557032"/>
              <a:gd name="connsiteX40505" fmla="*/ 2219408 w 4610101"/>
              <a:gd name="connsiteY40505" fmla="*/ 181248 h 6557032"/>
              <a:gd name="connsiteX40506" fmla="*/ 2217586 w 4610101"/>
              <a:gd name="connsiteY40506" fmla="*/ 194003 h 6557032"/>
              <a:gd name="connsiteX40507" fmla="*/ 2237630 w 4610101"/>
              <a:gd name="connsiteY40507" fmla="*/ 192181 h 6557032"/>
              <a:gd name="connsiteX40508" fmla="*/ 2243096 w 4610101"/>
              <a:gd name="connsiteY40508" fmla="*/ 195825 h 6557032"/>
              <a:gd name="connsiteX40509" fmla="*/ 2244919 w 4610101"/>
              <a:gd name="connsiteY40509" fmla="*/ 190359 h 6557032"/>
              <a:gd name="connsiteX40510" fmla="*/ 2261318 w 4610101"/>
              <a:gd name="connsiteY40510" fmla="*/ 179426 h 6557032"/>
              <a:gd name="connsiteX40511" fmla="*/ 2263140 w 4610101"/>
              <a:gd name="connsiteY40511" fmla="*/ 183070 h 6557032"/>
              <a:gd name="connsiteX40512" fmla="*/ 2250385 w 4610101"/>
              <a:gd name="connsiteY40512" fmla="*/ 201292 h 6557032"/>
              <a:gd name="connsiteX40513" fmla="*/ 2252207 w 4610101"/>
              <a:gd name="connsiteY40513" fmla="*/ 199469 h 6557032"/>
              <a:gd name="connsiteX40514" fmla="*/ 2248563 w 4610101"/>
              <a:gd name="connsiteY40514" fmla="*/ 214047 h 6557032"/>
              <a:gd name="connsiteX40515" fmla="*/ 2243096 w 4610101"/>
              <a:gd name="connsiteY40515" fmla="*/ 206758 h 6557032"/>
              <a:gd name="connsiteX40516" fmla="*/ 2244919 w 4610101"/>
              <a:gd name="connsiteY40516" fmla="*/ 210403 h 6557032"/>
              <a:gd name="connsiteX40517" fmla="*/ 2215764 w 4610101"/>
              <a:gd name="connsiteY40517" fmla="*/ 206758 h 6557032"/>
              <a:gd name="connsiteX40518" fmla="*/ 2219408 w 4610101"/>
              <a:gd name="connsiteY40518" fmla="*/ 214047 h 6557032"/>
              <a:gd name="connsiteX40519" fmla="*/ 2217586 w 4610101"/>
              <a:gd name="connsiteY40519" fmla="*/ 243202 h 6557032"/>
              <a:gd name="connsiteX40520" fmla="*/ 2219408 w 4610101"/>
              <a:gd name="connsiteY40520" fmla="*/ 230446 h 6557032"/>
              <a:gd name="connsiteX40521" fmla="*/ 2219408 w 4610101"/>
              <a:gd name="connsiteY40521" fmla="*/ 245024 h 6557032"/>
              <a:gd name="connsiteX40522" fmla="*/ 2250385 w 4610101"/>
              <a:gd name="connsiteY40522" fmla="*/ 224980 h 6557032"/>
              <a:gd name="connsiteX40523" fmla="*/ 2241274 w 4610101"/>
              <a:gd name="connsiteY40523" fmla="*/ 243202 h 6557032"/>
              <a:gd name="connsiteX40524" fmla="*/ 2243096 w 4610101"/>
              <a:gd name="connsiteY40524" fmla="*/ 237735 h 6557032"/>
              <a:gd name="connsiteX40525" fmla="*/ 2252207 w 4610101"/>
              <a:gd name="connsiteY40525" fmla="*/ 245024 h 6557032"/>
              <a:gd name="connsiteX40526" fmla="*/ 2254030 w 4610101"/>
              <a:gd name="connsiteY40526" fmla="*/ 235913 h 6557032"/>
              <a:gd name="connsiteX40527" fmla="*/ 2288651 w 4610101"/>
              <a:gd name="connsiteY40527" fmla="*/ 239557 h 6557032"/>
              <a:gd name="connsiteX40528" fmla="*/ 2286829 w 4610101"/>
              <a:gd name="connsiteY40528" fmla="*/ 232269 h 6557032"/>
              <a:gd name="connsiteX40529" fmla="*/ 2275896 w 4610101"/>
              <a:gd name="connsiteY40529" fmla="*/ 239557 h 6557032"/>
              <a:gd name="connsiteX40530" fmla="*/ 2285462 w 4610101"/>
              <a:gd name="connsiteY40530" fmla="*/ 222474 h 6557032"/>
              <a:gd name="connsiteX40531" fmla="*/ 2289488 w 4610101"/>
              <a:gd name="connsiteY40531" fmla="*/ 219120 h 6557032"/>
              <a:gd name="connsiteX40532" fmla="*/ 2292751 w 4610101"/>
              <a:gd name="connsiteY40532" fmla="*/ 231813 h 6557032"/>
              <a:gd name="connsiteX40533" fmla="*/ 2305050 w 4610101"/>
              <a:gd name="connsiteY40533" fmla="*/ 245024 h 6557032"/>
              <a:gd name="connsiteX40534" fmla="*/ 2310517 w 4610101"/>
              <a:gd name="connsiteY40534" fmla="*/ 230446 h 6557032"/>
              <a:gd name="connsiteX40535" fmla="*/ 2336027 w 4610101"/>
              <a:gd name="connsiteY40535" fmla="*/ 232269 h 6557032"/>
              <a:gd name="connsiteX40536" fmla="*/ 2337850 w 4610101"/>
              <a:gd name="connsiteY40536" fmla="*/ 237735 h 6557032"/>
              <a:gd name="connsiteX40537" fmla="*/ 2343316 w 4610101"/>
              <a:gd name="connsiteY40537" fmla="*/ 214047 h 6557032"/>
              <a:gd name="connsiteX40538" fmla="*/ 2350605 w 4610101"/>
              <a:gd name="connsiteY40538" fmla="*/ 215869 h 6557032"/>
              <a:gd name="connsiteX40539" fmla="*/ 2350605 w 4610101"/>
              <a:gd name="connsiteY40539" fmla="*/ 226802 h 6557032"/>
              <a:gd name="connsiteX40540" fmla="*/ 2357893 w 4610101"/>
              <a:gd name="connsiteY40540" fmla="*/ 217691 h 6557032"/>
              <a:gd name="connsiteX40541" fmla="*/ 2368827 w 4610101"/>
              <a:gd name="connsiteY40541" fmla="*/ 215869 h 6557032"/>
              <a:gd name="connsiteX40542" fmla="*/ 2374976 w 4610101"/>
              <a:gd name="connsiteY40542" fmla="*/ 209035 h 6557032"/>
              <a:gd name="connsiteX40543" fmla="*/ 2374320 w 4610101"/>
              <a:gd name="connsiteY40543" fmla="*/ 199849 h 6557032"/>
              <a:gd name="connsiteX40544" fmla="*/ 2379760 w 4610101"/>
              <a:gd name="connsiteY40544" fmla="*/ 203114 h 6557032"/>
              <a:gd name="connsiteX40545" fmla="*/ 2392515 w 4610101"/>
              <a:gd name="connsiteY40545" fmla="*/ 183070 h 6557032"/>
              <a:gd name="connsiteX40546" fmla="*/ 2385226 w 4610101"/>
              <a:gd name="connsiteY40546" fmla="*/ 199469 h 6557032"/>
              <a:gd name="connsiteX40547" fmla="*/ 2416203 w 4610101"/>
              <a:gd name="connsiteY40547" fmla="*/ 175781 h 6557032"/>
              <a:gd name="connsiteX40548" fmla="*/ 2405270 w 4610101"/>
              <a:gd name="connsiteY40548" fmla="*/ 177603 h 6557032"/>
              <a:gd name="connsiteX40549" fmla="*/ 2407092 w 4610101"/>
              <a:gd name="connsiteY40549" fmla="*/ 172137 h 6557032"/>
              <a:gd name="connsiteX40550" fmla="*/ 2450824 w 4610101"/>
              <a:gd name="connsiteY40550" fmla="*/ 150271 h 6557032"/>
              <a:gd name="connsiteX40551" fmla="*/ 2418025 w 4610101"/>
              <a:gd name="connsiteY40551" fmla="*/ 159382 h 6557032"/>
              <a:gd name="connsiteX40552" fmla="*/ 2452647 w 4610101"/>
              <a:gd name="connsiteY40552" fmla="*/ 141160 h 6557032"/>
              <a:gd name="connsiteX40553" fmla="*/ 2450824 w 4610101"/>
              <a:gd name="connsiteY40553" fmla="*/ 124760 h 6557032"/>
              <a:gd name="connsiteX40554" fmla="*/ 2445358 w 4610101"/>
              <a:gd name="connsiteY40554" fmla="*/ 141160 h 6557032"/>
              <a:gd name="connsiteX40555" fmla="*/ 2438069 w 4610101"/>
              <a:gd name="connsiteY40555" fmla="*/ 135693 h 6557032"/>
              <a:gd name="connsiteX40556" fmla="*/ 2438069 w 4610101"/>
              <a:gd name="connsiteY40556" fmla="*/ 141160 h 6557032"/>
              <a:gd name="connsiteX40557" fmla="*/ 2436247 w 4610101"/>
              <a:gd name="connsiteY40557" fmla="*/ 128405 h 6557032"/>
              <a:gd name="connsiteX40558" fmla="*/ 2425314 w 4610101"/>
              <a:gd name="connsiteY40558" fmla="*/ 130227 h 6557032"/>
              <a:gd name="connsiteX40559" fmla="*/ 2423492 w 4610101"/>
              <a:gd name="connsiteY40559" fmla="*/ 122938 h 6557032"/>
              <a:gd name="connsiteX40560" fmla="*/ 2233986 w 4610101"/>
              <a:gd name="connsiteY40560" fmla="*/ 122938 h 6557032"/>
              <a:gd name="connsiteX40561" fmla="*/ 2226697 w 4610101"/>
              <a:gd name="connsiteY40561" fmla="*/ 130227 h 6557032"/>
              <a:gd name="connsiteX40562" fmla="*/ 2228519 w 4610101"/>
              <a:gd name="connsiteY40562" fmla="*/ 141160 h 6557032"/>
              <a:gd name="connsiteX40563" fmla="*/ 2223053 w 4610101"/>
              <a:gd name="connsiteY40563" fmla="*/ 137516 h 6557032"/>
              <a:gd name="connsiteX40564" fmla="*/ 2224875 w 4610101"/>
              <a:gd name="connsiteY40564" fmla="*/ 144804 h 6557032"/>
              <a:gd name="connsiteX40565" fmla="*/ 2232163 w 4610101"/>
              <a:gd name="connsiteY40565" fmla="*/ 139338 h 6557032"/>
              <a:gd name="connsiteX40566" fmla="*/ 2235808 w 4610101"/>
              <a:gd name="connsiteY40566" fmla="*/ 130227 h 6557032"/>
              <a:gd name="connsiteX40567" fmla="*/ 2233986 w 4610101"/>
              <a:gd name="connsiteY40567" fmla="*/ 122938 h 6557032"/>
              <a:gd name="connsiteX40568" fmla="*/ 2130122 w 4610101"/>
              <a:gd name="connsiteY40568" fmla="*/ 122938 h 6557032"/>
              <a:gd name="connsiteX40569" fmla="*/ 2128300 w 4610101"/>
              <a:gd name="connsiteY40569" fmla="*/ 128405 h 6557032"/>
              <a:gd name="connsiteX40570" fmla="*/ 2130122 w 4610101"/>
              <a:gd name="connsiteY40570" fmla="*/ 122938 h 6557032"/>
              <a:gd name="connsiteX40571" fmla="*/ 2072935 w 4610101"/>
              <a:gd name="connsiteY40571" fmla="*/ 122798 h 6557032"/>
              <a:gd name="connsiteX40572" fmla="*/ 2073114 w 4610101"/>
              <a:gd name="connsiteY40572" fmla="*/ 124239 h 6557032"/>
              <a:gd name="connsiteX40573" fmla="*/ 2072723 w 4610101"/>
              <a:gd name="connsiteY40573" fmla="*/ 123849 h 6557032"/>
              <a:gd name="connsiteX40574" fmla="*/ 2089123 w 4610101"/>
              <a:gd name="connsiteY40574" fmla="*/ 120661 h 6557032"/>
              <a:gd name="connsiteX40575" fmla="*/ 2086390 w 4610101"/>
              <a:gd name="connsiteY40575" fmla="*/ 122938 h 6557032"/>
              <a:gd name="connsiteX40576" fmla="*/ 2099145 w 4610101"/>
              <a:gd name="connsiteY40576" fmla="*/ 135693 h 6557032"/>
              <a:gd name="connsiteX40577" fmla="*/ 2091856 w 4610101"/>
              <a:gd name="connsiteY40577" fmla="*/ 121116 h 6557032"/>
              <a:gd name="connsiteX40578" fmla="*/ 2089123 w 4610101"/>
              <a:gd name="connsiteY40578" fmla="*/ 120661 h 6557032"/>
              <a:gd name="connsiteX40579" fmla="*/ 2173854 w 4610101"/>
              <a:gd name="connsiteY40579" fmla="*/ 119294 h 6557032"/>
              <a:gd name="connsiteX40580" fmla="*/ 2179320 w 4610101"/>
              <a:gd name="connsiteY40580" fmla="*/ 130227 h 6557032"/>
              <a:gd name="connsiteX40581" fmla="*/ 2179320 w 4610101"/>
              <a:gd name="connsiteY40581" fmla="*/ 119294 h 6557032"/>
              <a:gd name="connsiteX40582" fmla="*/ 2173854 w 4610101"/>
              <a:gd name="connsiteY40582" fmla="*/ 119294 h 6557032"/>
              <a:gd name="connsiteX40583" fmla="*/ 2285007 w 4610101"/>
              <a:gd name="connsiteY40583" fmla="*/ 117472 h 6557032"/>
              <a:gd name="connsiteX40584" fmla="*/ 2279540 w 4610101"/>
              <a:gd name="connsiteY40584" fmla="*/ 121116 h 6557032"/>
              <a:gd name="connsiteX40585" fmla="*/ 2286829 w 4610101"/>
              <a:gd name="connsiteY40585" fmla="*/ 122938 h 6557032"/>
              <a:gd name="connsiteX40586" fmla="*/ 2285007 w 4610101"/>
              <a:gd name="connsiteY40586" fmla="*/ 117472 h 6557032"/>
              <a:gd name="connsiteX40587" fmla="*/ 2270429 w 4610101"/>
              <a:gd name="connsiteY40587" fmla="*/ 117472 h 6557032"/>
              <a:gd name="connsiteX40588" fmla="*/ 2264963 w 4610101"/>
              <a:gd name="connsiteY40588" fmla="*/ 126583 h 6557032"/>
              <a:gd name="connsiteX40589" fmla="*/ 2274074 w 4610101"/>
              <a:gd name="connsiteY40589" fmla="*/ 124760 h 6557032"/>
              <a:gd name="connsiteX40590" fmla="*/ 2270429 w 4610101"/>
              <a:gd name="connsiteY40590" fmla="*/ 117472 h 6557032"/>
              <a:gd name="connsiteX40591" fmla="*/ 2550860 w 4610101"/>
              <a:gd name="connsiteY40591" fmla="*/ 116154 h 6557032"/>
              <a:gd name="connsiteX40592" fmla="*/ 2550361 w 4610101"/>
              <a:gd name="connsiteY40592" fmla="*/ 122482 h 6557032"/>
              <a:gd name="connsiteX40593" fmla="*/ 2548002 w 4610101"/>
              <a:gd name="connsiteY40593" fmla="*/ 125403 h 6557032"/>
              <a:gd name="connsiteX40594" fmla="*/ 2547713 w 4610101"/>
              <a:gd name="connsiteY40594" fmla="*/ 124817 h 6557032"/>
              <a:gd name="connsiteX40595" fmla="*/ 2186609 w 4610101"/>
              <a:gd name="connsiteY40595" fmla="*/ 115649 h 6557032"/>
              <a:gd name="connsiteX40596" fmla="*/ 2188431 w 4610101"/>
              <a:gd name="connsiteY40596" fmla="*/ 124760 h 6557032"/>
              <a:gd name="connsiteX40597" fmla="*/ 2186609 w 4610101"/>
              <a:gd name="connsiteY40597" fmla="*/ 115649 h 6557032"/>
              <a:gd name="connsiteX40598" fmla="*/ 2294117 w 4610101"/>
              <a:gd name="connsiteY40598" fmla="*/ 113827 h 6557032"/>
              <a:gd name="connsiteX40599" fmla="*/ 2299584 w 4610101"/>
              <a:gd name="connsiteY40599" fmla="*/ 121116 h 6557032"/>
              <a:gd name="connsiteX40600" fmla="*/ 2294117 w 4610101"/>
              <a:gd name="connsiteY40600" fmla="*/ 113827 h 6557032"/>
              <a:gd name="connsiteX40601" fmla="*/ 2259496 w 4610101"/>
              <a:gd name="connsiteY40601" fmla="*/ 110183 h 6557032"/>
              <a:gd name="connsiteX40602" fmla="*/ 2255852 w 4610101"/>
              <a:gd name="connsiteY40602" fmla="*/ 115649 h 6557032"/>
              <a:gd name="connsiteX40603" fmla="*/ 2261318 w 4610101"/>
              <a:gd name="connsiteY40603" fmla="*/ 115649 h 6557032"/>
              <a:gd name="connsiteX40604" fmla="*/ 2259496 w 4610101"/>
              <a:gd name="connsiteY40604" fmla="*/ 110183 h 6557032"/>
              <a:gd name="connsiteX40605" fmla="*/ 2150166 w 4610101"/>
              <a:gd name="connsiteY40605" fmla="*/ 110183 h 6557032"/>
              <a:gd name="connsiteX40606" fmla="*/ 2146521 w 4610101"/>
              <a:gd name="connsiteY40606" fmla="*/ 113827 h 6557032"/>
              <a:gd name="connsiteX40607" fmla="*/ 2153810 w 4610101"/>
              <a:gd name="connsiteY40607" fmla="*/ 112005 h 6557032"/>
              <a:gd name="connsiteX40608" fmla="*/ 2150166 w 4610101"/>
              <a:gd name="connsiteY40608" fmla="*/ 110183 h 6557032"/>
              <a:gd name="connsiteX40609" fmla="*/ 2095500 w 4610101"/>
              <a:gd name="connsiteY40609" fmla="*/ 110183 h 6557032"/>
              <a:gd name="connsiteX40610" fmla="*/ 2093679 w 4610101"/>
              <a:gd name="connsiteY40610" fmla="*/ 117472 h 6557032"/>
              <a:gd name="connsiteX40611" fmla="*/ 2099145 w 4610101"/>
              <a:gd name="connsiteY40611" fmla="*/ 119294 h 6557032"/>
              <a:gd name="connsiteX40612" fmla="*/ 2108256 w 4610101"/>
              <a:gd name="connsiteY40612" fmla="*/ 137516 h 6557032"/>
              <a:gd name="connsiteX40613" fmla="*/ 2108256 w 4610101"/>
              <a:gd name="connsiteY40613" fmla="*/ 128405 h 6557032"/>
              <a:gd name="connsiteX40614" fmla="*/ 2117366 w 4610101"/>
              <a:gd name="connsiteY40614" fmla="*/ 133871 h 6557032"/>
              <a:gd name="connsiteX40615" fmla="*/ 2102790 w 4610101"/>
              <a:gd name="connsiteY40615" fmla="*/ 113827 h 6557032"/>
              <a:gd name="connsiteX40616" fmla="*/ 2106433 w 4610101"/>
              <a:gd name="connsiteY40616" fmla="*/ 115649 h 6557032"/>
              <a:gd name="connsiteX40617" fmla="*/ 2095500 w 4610101"/>
              <a:gd name="connsiteY40617" fmla="*/ 110183 h 6557032"/>
              <a:gd name="connsiteX40618" fmla="*/ 2263140 w 4610101"/>
              <a:gd name="connsiteY40618" fmla="*/ 108361 h 6557032"/>
              <a:gd name="connsiteX40619" fmla="*/ 2264963 w 4610101"/>
              <a:gd name="connsiteY40619" fmla="*/ 115649 h 6557032"/>
              <a:gd name="connsiteX40620" fmla="*/ 2263140 w 4610101"/>
              <a:gd name="connsiteY40620" fmla="*/ 108361 h 6557032"/>
              <a:gd name="connsiteX40621" fmla="*/ 2496379 w 4610101"/>
              <a:gd name="connsiteY40621" fmla="*/ 106539 h 6557032"/>
              <a:gd name="connsiteX40622" fmla="*/ 2503667 w 4610101"/>
              <a:gd name="connsiteY40622" fmla="*/ 108361 h 6557032"/>
              <a:gd name="connsiteX40623" fmla="*/ 2496379 w 4610101"/>
              <a:gd name="connsiteY40623" fmla="*/ 110183 h 6557032"/>
              <a:gd name="connsiteX40624" fmla="*/ 2496379 w 4610101"/>
              <a:gd name="connsiteY40624" fmla="*/ 106539 h 6557032"/>
              <a:gd name="connsiteX40625" fmla="*/ 2394337 w 4610101"/>
              <a:gd name="connsiteY40625" fmla="*/ 106539 h 6557032"/>
              <a:gd name="connsiteX40626" fmla="*/ 2385226 w 4610101"/>
              <a:gd name="connsiteY40626" fmla="*/ 110183 h 6557032"/>
              <a:gd name="connsiteX40627" fmla="*/ 2387048 w 4610101"/>
              <a:gd name="connsiteY40627" fmla="*/ 117472 h 6557032"/>
              <a:gd name="connsiteX40628" fmla="*/ 2392515 w 4610101"/>
              <a:gd name="connsiteY40628" fmla="*/ 115649 h 6557032"/>
              <a:gd name="connsiteX40629" fmla="*/ 2403448 w 4610101"/>
              <a:gd name="connsiteY40629" fmla="*/ 122938 h 6557032"/>
              <a:gd name="connsiteX40630" fmla="*/ 2394337 w 4610101"/>
              <a:gd name="connsiteY40630" fmla="*/ 106539 h 6557032"/>
              <a:gd name="connsiteX40631" fmla="*/ 2478157 w 4610101"/>
              <a:gd name="connsiteY40631" fmla="*/ 102894 h 6557032"/>
              <a:gd name="connsiteX40632" fmla="*/ 2478157 w 4610101"/>
              <a:gd name="connsiteY40632" fmla="*/ 112005 h 6557032"/>
              <a:gd name="connsiteX40633" fmla="*/ 2478157 w 4610101"/>
              <a:gd name="connsiteY40633" fmla="*/ 102894 h 6557032"/>
              <a:gd name="connsiteX40634" fmla="*/ 2385226 w 4610101"/>
              <a:gd name="connsiteY40634" fmla="*/ 102894 h 6557032"/>
              <a:gd name="connsiteX40635" fmla="*/ 2377937 w 4610101"/>
              <a:gd name="connsiteY40635" fmla="*/ 121116 h 6557032"/>
              <a:gd name="connsiteX40636" fmla="*/ 2385226 w 4610101"/>
              <a:gd name="connsiteY40636" fmla="*/ 102894 h 6557032"/>
              <a:gd name="connsiteX40637" fmla="*/ 2263140 w 4610101"/>
              <a:gd name="connsiteY40637" fmla="*/ 102894 h 6557032"/>
              <a:gd name="connsiteX40638" fmla="*/ 2270429 w 4610101"/>
              <a:gd name="connsiteY40638" fmla="*/ 110183 h 6557032"/>
              <a:gd name="connsiteX40639" fmla="*/ 2270429 w 4610101"/>
              <a:gd name="connsiteY40639" fmla="*/ 104716 h 6557032"/>
              <a:gd name="connsiteX40640" fmla="*/ 2263140 w 4610101"/>
              <a:gd name="connsiteY40640" fmla="*/ 102894 h 6557032"/>
              <a:gd name="connsiteX40641" fmla="*/ 2128300 w 4610101"/>
              <a:gd name="connsiteY40641" fmla="*/ 102894 h 6557032"/>
              <a:gd name="connsiteX40642" fmla="*/ 2129758 w 4610101"/>
              <a:gd name="connsiteY40642" fmla="*/ 107267 h 6557032"/>
              <a:gd name="connsiteX40643" fmla="*/ 2129149 w 4610101"/>
              <a:gd name="connsiteY40643" fmla="*/ 108485 h 6557032"/>
              <a:gd name="connsiteX40644" fmla="*/ 2127659 w 4610101"/>
              <a:gd name="connsiteY40644" fmla="*/ 108676 h 6557032"/>
              <a:gd name="connsiteX40645" fmla="*/ 2125461 w 4610101"/>
              <a:gd name="connsiteY40645" fmla="*/ 103511 h 6557032"/>
              <a:gd name="connsiteX40646" fmla="*/ 2458113 w 4610101"/>
              <a:gd name="connsiteY40646" fmla="*/ 101072 h 6557032"/>
              <a:gd name="connsiteX40647" fmla="*/ 2454469 w 4610101"/>
              <a:gd name="connsiteY40647" fmla="*/ 102894 h 6557032"/>
              <a:gd name="connsiteX40648" fmla="*/ 2445358 w 4610101"/>
              <a:gd name="connsiteY40648" fmla="*/ 113827 h 6557032"/>
              <a:gd name="connsiteX40649" fmla="*/ 2449002 w 4610101"/>
              <a:gd name="connsiteY40649" fmla="*/ 117472 h 6557032"/>
              <a:gd name="connsiteX40650" fmla="*/ 2458113 w 4610101"/>
              <a:gd name="connsiteY40650" fmla="*/ 112005 h 6557032"/>
              <a:gd name="connsiteX40651" fmla="*/ 2461757 w 4610101"/>
              <a:gd name="connsiteY40651" fmla="*/ 117472 h 6557032"/>
              <a:gd name="connsiteX40652" fmla="*/ 2467224 w 4610101"/>
              <a:gd name="connsiteY40652" fmla="*/ 104716 h 6557032"/>
              <a:gd name="connsiteX40653" fmla="*/ 2465402 w 4610101"/>
              <a:gd name="connsiteY40653" fmla="*/ 110183 h 6557032"/>
              <a:gd name="connsiteX40654" fmla="*/ 2458113 w 4610101"/>
              <a:gd name="connsiteY40654" fmla="*/ 106539 h 6557032"/>
              <a:gd name="connsiteX40655" fmla="*/ 2458113 w 4610101"/>
              <a:gd name="connsiteY40655" fmla="*/ 101072 h 6557032"/>
              <a:gd name="connsiteX40656" fmla="*/ 2560155 w 4610101"/>
              <a:gd name="connsiteY40656" fmla="*/ 99250 h 6557032"/>
              <a:gd name="connsiteX40657" fmla="*/ 2554688 w 4610101"/>
              <a:gd name="connsiteY40657" fmla="*/ 108361 h 6557032"/>
              <a:gd name="connsiteX40658" fmla="*/ 2560155 w 4610101"/>
              <a:gd name="connsiteY40658" fmla="*/ 99250 h 6557032"/>
              <a:gd name="connsiteX40659" fmla="*/ 2370649 w 4610101"/>
              <a:gd name="connsiteY40659" fmla="*/ 99250 h 6557032"/>
              <a:gd name="connsiteX40660" fmla="*/ 2352427 w 4610101"/>
              <a:gd name="connsiteY40660" fmla="*/ 110183 h 6557032"/>
              <a:gd name="connsiteX40661" fmla="*/ 2363360 w 4610101"/>
              <a:gd name="connsiteY40661" fmla="*/ 112005 h 6557032"/>
              <a:gd name="connsiteX40662" fmla="*/ 2376115 w 4610101"/>
              <a:gd name="connsiteY40662" fmla="*/ 121116 h 6557032"/>
              <a:gd name="connsiteX40663" fmla="*/ 2363360 w 4610101"/>
              <a:gd name="connsiteY40663" fmla="*/ 106539 h 6557032"/>
              <a:gd name="connsiteX40664" fmla="*/ 2370649 w 4610101"/>
              <a:gd name="connsiteY40664" fmla="*/ 99250 h 6557032"/>
              <a:gd name="connsiteX40665" fmla="*/ 2098689 w 4610101"/>
              <a:gd name="connsiteY40665" fmla="*/ 98794 h 6557032"/>
              <a:gd name="connsiteX40666" fmla="*/ 2099116 w 4610101"/>
              <a:gd name="connsiteY40666" fmla="*/ 98958 h 6557032"/>
              <a:gd name="connsiteX40667" fmla="*/ 2099145 w 4610101"/>
              <a:gd name="connsiteY40667" fmla="*/ 99250 h 6557032"/>
              <a:gd name="connsiteX40668" fmla="*/ 2098523 w 4610101"/>
              <a:gd name="connsiteY40668" fmla="*/ 98818 h 6557032"/>
              <a:gd name="connsiteX40669" fmla="*/ 2159277 w 4610101"/>
              <a:gd name="connsiteY40669" fmla="*/ 97428 h 6557032"/>
              <a:gd name="connsiteX40670" fmla="*/ 2161099 w 4610101"/>
              <a:gd name="connsiteY40670" fmla="*/ 112005 h 6557032"/>
              <a:gd name="connsiteX40671" fmla="*/ 2161099 w 4610101"/>
              <a:gd name="connsiteY40671" fmla="*/ 110183 h 6557032"/>
              <a:gd name="connsiteX40672" fmla="*/ 2164743 w 4610101"/>
              <a:gd name="connsiteY40672" fmla="*/ 108361 h 6557032"/>
              <a:gd name="connsiteX40673" fmla="*/ 2159277 w 4610101"/>
              <a:gd name="connsiteY40673" fmla="*/ 97428 h 6557032"/>
              <a:gd name="connsiteX40674" fmla="*/ 2363360 w 4610101"/>
              <a:gd name="connsiteY40674" fmla="*/ 95606 h 6557032"/>
              <a:gd name="connsiteX40675" fmla="*/ 2343316 w 4610101"/>
              <a:gd name="connsiteY40675" fmla="*/ 97428 h 6557032"/>
              <a:gd name="connsiteX40676" fmla="*/ 2343316 w 4610101"/>
              <a:gd name="connsiteY40676" fmla="*/ 106539 h 6557032"/>
              <a:gd name="connsiteX40677" fmla="*/ 2346960 w 4610101"/>
              <a:gd name="connsiteY40677" fmla="*/ 99250 h 6557032"/>
              <a:gd name="connsiteX40678" fmla="*/ 2356071 w 4610101"/>
              <a:gd name="connsiteY40678" fmla="*/ 99250 h 6557032"/>
              <a:gd name="connsiteX40679" fmla="*/ 2357893 w 4610101"/>
              <a:gd name="connsiteY40679" fmla="*/ 102894 h 6557032"/>
              <a:gd name="connsiteX40680" fmla="*/ 2363360 w 4610101"/>
              <a:gd name="connsiteY40680" fmla="*/ 95606 h 6557032"/>
              <a:gd name="connsiteX40681" fmla="*/ 2213942 w 4610101"/>
              <a:gd name="connsiteY40681" fmla="*/ 95606 h 6557032"/>
              <a:gd name="connsiteX40682" fmla="*/ 2215764 w 4610101"/>
              <a:gd name="connsiteY40682" fmla="*/ 102894 h 6557032"/>
              <a:gd name="connsiteX40683" fmla="*/ 2223053 w 4610101"/>
              <a:gd name="connsiteY40683" fmla="*/ 101072 h 6557032"/>
              <a:gd name="connsiteX40684" fmla="*/ 2223053 w 4610101"/>
              <a:gd name="connsiteY40684" fmla="*/ 104716 h 6557032"/>
              <a:gd name="connsiteX40685" fmla="*/ 2206653 w 4610101"/>
              <a:gd name="connsiteY40685" fmla="*/ 112005 h 6557032"/>
              <a:gd name="connsiteX40686" fmla="*/ 2213942 w 4610101"/>
              <a:gd name="connsiteY40686" fmla="*/ 95606 h 6557032"/>
              <a:gd name="connsiteX40687" fmla="*/ 2567443 w 4610101"/>
              <a:gd name="connsiteY40687" fmla="*/ 93783 h 6557032"/>
              <a:gd name="connsiteX40688" fmla="*/ 2561977 w 4610101"/>
              <a:gd name="connsiteY40688" fmla="*/ 95606 h 6557032"/>
              <a:gd name="connsiteX40689" fmla="*/ 2569266 w 4610101"/>
              <a:gd name="connsiteY40689" fmla="*/ 97428 h 6557032"/>
              <a:gd name="connsiteX40690" fmla="*/ 2567443 w 4610101"/>
              <a:gd name="connsiteY40690" fmla="*/ 93783 h 6557032"/>
              <a:gd name="connsiteX40691" fmla="*/ 2111605 w 4610101"/>
              <a:gd name="connsiteY40691" fmla="*/ 93561 h 6557032"/>
              <a:gd name="connsiteX40692" fmla="*/ 2111900 w 4610101"/>
              <a:gd name="connsiteY40692" fmla="*/ 93783 h 6557032"/>
              <a:gd name="connsiteX40693" fmla="*/ 2111918 w 4610101"/>
              <a:gd name="connsiteY40693" fmla="*/ 93863 h 6557032"/>
              <a:gd name="connsiteX40694" fmla="*/ 2616642 w 4610101"/>
              <a:gd name="connsiteY40694" fmla="*/ 91961 h 6557032"/>
              <a:gd name="connsiteX40695" fmla="*/ 2620287 w 4610101"/>
              <a:gd name="connsiteY40695" fmla="*/ 97428 h 6557032"/>
              <a:gd name="connsiteX40696" fmla="*/ 2620287 w 4610101"/>
              <a:gd name="connsiteY40696" fmla="*/ 93783 h 6557032"/>
              <a:gd name="connsiteX40697" fmla="*/ 2616642 w 4610101"/>
              <a:gd name="connsiteY40697" fmla="*/ 91961 h 6557032"/>
              <a:gd name="connsiteX40698" fmla="*/ 2308695 w 4610101"/>
              <a:gd name="connsiteY40698" fmla="*/ 91961 h 6557032"/>
              <a:gd name="connsiteX40699" fmla="*/ 2303228 w 4610101"/>
              <a:gd name="connsiteY40699" fmla="*/ 97428 h 6557032"/>
              <a:gd name="connsiteX40700" fmla="*/ 2312339 w 4610101"/>
              <a:gd name="connsiteY40700" fmla="*/ 102894 h 6557032"/>
              <a:gd name="connsiteX40701" fmla="*/ 2305050 w 4610101"/>
              <a:gd name="connsiteY40701" fmla="*/ 97428 h 6557032"/>
              <a:gd name="connsiteX40702" fmla="*/ 2308695 w 4610101"/>
              <a:gd name="connsiteY40702" fmla="*/ 97428 h 6557032"/>
              <a:gd name="connsiteX40703" fmla="*/ 2308695 w 4610101"/>
              <a:gd name="connsiteY40703" fmla="*/ 91961 h 6557032"/>
              <a:gd name="connsiteX40704" fmla="*/ 2279540 w 4610101"/>
              <a:gd name="connsiteY40704" fmla="*/ 91961 h 6557032"/>
              <a:gd name="connsiteX40705" fmla="*/ 2275896 w 4610101"/>
              <a:gd name="connsiteY40705" fmla="*/ 102894 h 6557032"/>
              <a:gd name="connsiteX40706" fmla="*/ 2281362 w 4610101"/>
              <a:gd name="connsiteY40706" fmla="*/ 95606 h 6557032"/>
              <a:gd name="connsiteX40707" fmla="*/ 2279540 w 4610101"/>
              <a:gd name="connsiteY40707" fmla="*/ 91961 h 6557032"/>
              <a:gd name="connsiteX40708" fmla="*/ 2403448 w 4610101"/>
              <a:gd name="connsiteY40708" fmla="*/ 90139 h 6557032"/>
              <a:gd name="connsiteX40709" fmla="*/ 2399803 w 4610101"/>
              <a:gd name="connsiteY40709" fmla="*/ 101072 h 6557032"/>
              <a:gd name="connsiteX40710" fmla="*/ 2403448 w 4610101"/>
              <a:gd name="connsiteY40710" fmla="*/ 90139 h 6557032"/>
              <a:gd name="connsiteX40711" fmla="*/ 2263140 w 4610101"/>
              <a:gd name="connsiteY40711" fmla="*/ 90139 h 6557032"/>
              <a:gd name="connsiteX40712" fmla="*/ 2257674 w 4610101"/>
              <a:gd name="connsiteY40712" fmla="*/ 97428 h 6557032"/>
              <a:gd name="connsiteX40713" fmla="*/ 2264963 w 4610101"/>
              <a:gd name="connsiteY40713" fmla="*/ 95606 h 6557032"/>
              <a:gd name="connsiteX40714" fmla="*/ 2263140 w 4610101"/>
              <a:gd name="connsiteY40714" fmla="*/ 90139 h 6557032"/>
              <a:gd name="connsiteX40715" fmla="*/ 2105594 w 4610101"/>
              <a:gd name="connsiteY40715" fmla="*/ 89054 h 6557032"/>
              <a:gd name="connsiteX40716" fmla="*/ 2107117 w 4610101"/>
              <a:gd name="connsiteY40716" fmla="*/ 89228 h 6557032"/>
              <a:gd name="connsiteX40717" fmla="*/ 2111605 w 4610101"/>
              <a:gd name="connsiteY40717" fmla="*/ 93561 h 6557032"/>
              <a:gd name="connsiteX40718" fmla="*/ 2598421 w 4610101"/>
              <a:gd name="connsiteY40718" fmla="*/ 88317 h 6557032"/>
              <a:gd name="connsiteX40719" fmla="*/ 2598421 w 4610101"/>
              <a:gd name="connsiteY40719" fmla="*/ 93783 h 6557032"/>
              <a:gd name="connsiteX40720" fmla="*/ 2598421 w 4610101"/>
              <a:gd name="connsiteY40720" fmla="*/ 88317 h 6557032"/>
              <a:gd name="connsiteX40721" fmla="*/ 2248563 w 4610101"/>
              <a:gd name="connsiteY40721" fmla="*/ 88317 h 6557032"/>
              <a:gd name="connsiteX40722" fmla="*/ 2246741 w 4610101"/>
              <a:gd name="connsiteY40722" fmla="*/ 93783 h 6557032"/>
              <a:gd name="connsiteX40723" fmla="*/ 2255852 w 4610101"/>
              <a:gd name="connsiteY40723" fmla="*/ 93783 h 6557032"/>
              <a:gd name="connsiteX40724" fmla="*/ 2248563 w 4610101"/>
              <a:gd name="connsiteY40724" fmla="*/ 88317 h 6557032"/>
              <a:gd name="connsiteX40725" fmla="*/ 2113722 w 4610101"/>
              <a:gd name="connsiteY40725" fmla="*/ 88317 h 6557032"/>
              <a:gd name="connsiteX40726" fmla="*/ 2130122 w 4610101"/>
              <a:gd name="connsiteY40726" fmla="*/ 90139 h 6557032"/>
              <a:gd name="connsiteX40727" fmla="*/ 2123745 w 4610101"/>
              <a:gd name="connsiteY40727" fmla="*/ 99477 h 6557032"/>
              <a:gd name="connsiteX40728" fmla="*/ 2125461 w 4610101"/>
              <a:gd name="connsiteY40728" fmla="*/ 103511 h 6557032"/>
              <a:gd name="connsiteX40729" fmla="*/ 2123061 w 4610101"/>
              <a:gd name="connsiteY40729" fmla="*/ 104033 h 6557032"/>
              <a:gd name="connsiteX40730" fmla="*/ 2119189 w 4610101"/>
              <a:gd name="connsiteY40730" fmla="*/ 101072 h 6557032"/>
              <a:gd name="connsiteX40731" fmla="*/ 2121011 w 4610101"/>
              <a:gd name="connsiteY40731" fmla="*/ 106539 h 6557032"/>
              <a:gd name="connsiteX40732" fmla="*/ 2113722 w 4610101"/>
              <a:gd name="connsiteY40732" fmla="*/ 102210 h 6557032"/>
              <a:gd name="connsiteX40733" fmla="*/ 2111918 w 4610101"/>
              <a:gd name="connsiteY40733" fmla="*/ 93863 h 6557032"/>
              <a:gd name="connsiteX40734" fmla="*/ 2113722 w 4610101"/>
              <a:gd name="connsiteY40734" fmla="*/ 95606 h 6557032"/>
              <a:gd name="connsiteX40735" fmla="*/ 2113722 w 4610101"/>
              <a:gd name="connsiteY40735" fmla="*/ 88317 h 6557032"/>
              <a:gd name="connsiteX40736" fmla="*/ 2104611 w 4610101"/>
              <a:gd name="connsiteY40736" fmla="*/ 88317 h 6557032"/>
              <a:gd name="connsiteX40737" fmla="*/ 2105594 w 4610101"/>
              <a:gd name="connsiteY40737" fmla="*/ 89054 h 6557032"/>
              <a:gd name="connsiteX40738" fmla="*/ 2104312 w 4610101"/>
              <a:gd name="connsiteY40738" fmla="*/ 88907 h 6557032"/>
              <a:gd name="connsiteX40739" fmla="*/ 2099145 w 4610101"/>
              <a:gd name="connsiteY40739" fmla="*/ 88317 h 6557032"/>
              <a:gd name="connsiteX40740" fmla="*/ 2104312 w 4610101"/>
              <a:gd name="connsiteY40740" fmla="*/ 88907 h 6557032"/>
              <a:gd name="connsiteX40741" fmla="*/ 2102562 w 4610101"/>
              <a:gd name="connsiteY40741" fmla="*/ 92359 h 6557032"/>
              <a:gd name="connsiteX40742" fmla="*/ 2104611 w 4610101"/>
              <a:gd name="connsiteY40742" fmla="*/ 101072 h 6557032"/>
              <a:gd name="connsiteX40743" fmla="*/ 2099116 w 4610101"/>
              <a:gd name="connsiteY40743" fmla="*/ 98958 h 6557032"/>
              <a:gd name="connsiteX40744" fmla="*/ 2098462 w 4610101"/>
              <a:gd name="connsiteY40744" fmla="*/ 92417 h 6557032"/>
              <a:gd name="connsiteX40745" fmla="*/ 2099145 w 4610101"/>
              <a:gd name="connsiteY40745" fmla="*/ 88317 h 6557032"/>
              <a:gd name="connsiteX40746" fmla="*/ 2787927 w 4610101"/>
              <a:gd name="connsiteY40746" fmla="*/ 86495 h 6557032"/>
              <a:gd name="connsiteX40747" fmla="*/ 2787927 w 4610101"/>
              <a:gd name="connsiteY40747" fmla="*/ 94663 h 6557032"/>
              <a:gd name="connsiteX40748" fmla="*/ 2784282 w 4610101"/>
              <a:gd name="connsiteY40748" fmla="*/ 97428 h 6557032"/>
              <a:gd name="connsiteX40749" fmla="*/ 2782460 w 4610101"/>
              <a:gd name="connsiteY40749" fmla="*/ 93783 h 6557032"/>
              <a:gd name="connsiteX40750" fmla="*/ 2781640 w 4610101"/>
              <a:gd name="connsiteY40750" fmla="*/ 94837 h 6557032"/>
              <a:gd name="connsiteX40751" fmla="*/ 2780638 w 4610101"/>
              <a:gd name="connsiteY40751" fmla="*/ 93783 h 6557032"/>
              <a:gd name="connsiteX40752" fmla="*/ 2787927 w 4610101"/>
              <a:gd name="connsiteY40752" fmla="*/ 86495 h 6557032"/>
              <a:gd name="connsiteX40753" fmla="*/ 2600243 w 4610101"/>
              <a:gd name="connsiteY40753" fmla="*/ 86495 h 6557032"/>
              <a:gd name="connsiteX40754" fmla="*/ 2607531 w 4610101"/>
              <a:gd name="connsiteY40754" fmla="*/ 91961 h 6557032"/>
              <a:gd name="connsiteX40755" fmla="*/ 2603887 w 4610101"/>
              <a:gd name="connsiteY40755" fmla="*/ 88317 h 6557032"/>
              <a:gd name="connsiteX40756" fmla="*/ 2600243 w 4610101"/>
              <a:gd name="connsiteY40756" fmla="*/ 86495 h 6557032"/>
              <a:gd name="connsiteX40757" fmla="*/ 2461757 w 4610101"/>
              <a:gd name="connsiteY40757" fmla="*/ 86495 h 6557032"/>
              <a:gd name="connsiteX40758" fmla="*/ 2465402 w 4610101"/>
              <a:gd name="connsiteY40758" fmla="*/ 102894 h 6557032"/>
              <a:gd name="connsiteX40759" fmla="*/ 2476335 w 4610101"/>
              <a:gd name="connsiteY40759" fmla="*/ 99250 h 6557032"/>
              <a:gd name="connsiteX40760" fmla="*/ 2465402 w 4610101"/>
              <a:gd name="connsiteY40760" fmla="*/ 86495 h 6557032"/>
              <a:gd name="connsiteX40761" fmla="*/ 2461757 w 4610101"/>
              <a:gd name="connsiteY40761" fmla="*/ 86495 h 6557032"/>
              <a:gd name="connsiteX40762" fmla="*/ 2793393 w 4610101"/>
              <a:gd name="connsiteY40762" fmla="*/ 84673 h 6557032"/>
              <a:gd name="connsiteX40763" fmla="*/ 2794789 w 4610101"/>
              <a:gd name="connsiteY40763" fmla="*/ 89457 h 6557032"/>
              <a:gd name="connsiteX40764" fmla="*/ 2791738 w 4610101"/>
              <a:gd name="connsiteY40764" fmla="*/ 91772 h 6557032"/>
              <a:gd name="connsiteX40765" fmla="*/ 2791799 w 4610101"/>
              <a:gd name="connsiteY40765" fmla="*/ 89683 h 6557032"/>
              <a:gd name="connsiteX40766" fmla="*/ 2793393 w 4610101"/>
              <a:gd name="connsiteY40766" fmla="*/ 84673 h 6557032"/>
              <a:gd name="connsiteX40767" fmla="*/ 2330561 w 4610101"/>
              <a:gd name="connsiteY40767" fmla="*/ 84673 h 6557032"/>
              <a:gd name="connsiteX40768" fmla="*/ 2326916 w 4610101"/>
              <a:gd name="connsiteY40768" fmla="*/ 90139 h 6557032"/>
              <a:gd name="connsiteX40769" fmla="*/ 2330561 w 4610101"/>
              <a:gd name="connsiteY40769" fmla="*/ 84673 h 6557032"/>
              <a:gd name="connsiteX40770" fmla="*/ 2561977 w 4610101"/>
              <a:gd name="connsiteY40770" fmla="*/ 82850 h 6557032"/>
              <a:gd name="connsiteX40771" fmla="*/ 2536466 w 4610101"/>
              <a:gd name="connsiteY40771" fmla="*/ 110183 h 6557032"/>
              <a:gd name="connsiteX40772" fmla="*/ 2552866 w 4610101"/>
              <a:gd name="connsiteY40772" fmla="*/ 113827 h 6557032"/>
              <a:gd name="connsiteX40773" fmla="*/ 2560155 w 4610101"/>
              <a:gd name="connsiteY40773" fmla="*/ 95606 h 6557032"/>
              <a:gd name="connsiteX40774" fmla="*/ 2561977 w 4610101"/>
              <a:gd name="connsiteY40774" fmla="*/ 82850 h 6557032"/>
              <a:gd name="connsiteX40775" fmla="*/ 2503667 w 4610101"/>
              <a:gd name="connsiteY40775" fmla="*/ 82850 h 6557032"/>
              <a:gd name="connsiteX40776" fmla="*/ 2505490 w 4610101"/>
              <a:gd name="connsiteY40776" fmla="*/ 90139 h 6557032"/>
              <a:gd name="connsiteX40777" fmla="*/ 2503667 w 4610101"/>
              <a:gd name="connsiteY40777" fmla="*/ 82850 h 6557032"/>
              <a:gd name="connsiteX40778" fmla="*/ 2524623 w 4610101"/>
              <a:gd name="connsiteY40778" fmla="*/ 81939 h 6557032"/>
              <a:gd name="connsiteX40779" fmla="*/ 2521889 w 4610101"/>
              <a:gd name="connsiteY40779" fmla="*/ 84673 h 6557032"/>
              <a:gd name="connsiteX40780" fmla="*/ 2527356 w 4610101"/>
              <a:gd name="connsiteY40780" fmla="*/ 84673 h 6557032"/>
              <a:gd name="connsiteX40781" fmla="*/ 2524623 w 4610101"/>
              <a:gd name="connsiteY40781" fmla="*/ 81939 h 6557032"/>
              <a:gd name="connsiteX40782" fmla="*/ 2576554 w 4610101"/>
              <a:gd name="connsiteY40782" fmla="*/ 81028 h 6557032"/>
              <a:gd name="connsiteX40783" fmla="*/ 2563799 w 4610101"/>
              <a:gd name="connsiteY40783" fmla="*/ 90139 h 6557032"/>
              <a:gd name="connsiteX40784" fmla="*/ 2571088 w 4610101"/>
              <a:gd name="connsiteY40784" fmla="*/ 95606 h 6557032"/>
              <a:gd name="connsiteX40785" fmla="*/ 2576554 w 4610101"/>
              <a:gd name="connsiteY40785" fmla="*/ 81028 h 6557032"/>
              <a:gd name="connsiteX40786" fmla="*/ 2339444 w 4610101"/>
              <a:gd name="connsiteY40786" fmla="*/ 80800 h 6557032"/>
              <a:gd name="connsiteX40787" fmla="*/ 2332383 w 4610101"/>
              <a:gd name="connsiteY40787" fmla="*/ 81028 h 6557032"/>
              <a:gd name="connsiteX40788" fmla="*/ 2339672 w 4610101"/>
              <a:gd name="connsiteY40788" fmla="*/ 84673 h 6557032"/>
              <a:gd name="connsiteX40789" fmla="*/ 2343316 w 4610101"/>
              <a:gd name="connsiteY40789" fmla="*/ 91961 h 6557032"/>
              <a:gd name="connsiteX40790" fmla="*/ 2341494 w 4610101"/>
              <a:gd name="connsiteY40790" fmla="*/ 81028 h 6557032"/>
              <a:gd name="connsiteX40791" fmla="*/ 2339672 w 4610101"/>
              <a:gd name="connsiteY40791" fmla="*/ 84673 h 6557032"/>
              <a:gd name="connsiteX40792" fmla="*/ 2339444 w 4610101"/>
              <a:gd name="connsiteY40792" fmla="*/ 80800 h 6557032"/>
              <a:gd name="connsiteX40793" fmla="*/ 2326006 w 4610101"/>
              <a:gd name="connsiteY40793" fmla="*/ 78751 h 6557032"/>
              <a:gd name="connsiteX40794" fmla="*/ 2319628 w 4610101"/>
              <a:gd name="connsiteY40794" fmla="*/ 81028 h 6557032"/>
              <a:gd name="connsiteX40795" fmla="*/ 2332383 w 4610101"/>
              <a:gd name="connsiteY40795" fmla="*/ 79206 h 6557032"/>
              <a:gd name="connsiteX40796" fmla="*/ 2326006 w 4610101"/>
              <a:gd name="connsiteY40796" fmla="*/ 78751 h 6557032"/>
              <a:gd name="connsiteX40797" fmla="*/ 2449002 w 4610101"/>
              <a:gd name="connsiteY40797" fmla="*/ 77384 h 6557032"/>
              <a:gd name="connsiteX40798" fmla="*/ 2447180 w 4610101"/>
              <a:gd name="connsiteY40798" fmla="*/ 86495 h 6557032"/>
              <a:gd name="connsiteX40799" fmla="*/ 2458113 w 4610101"/>
              <a:gd name="connsiteY40799" fmla="*/ 79206 h 6557032"/>
              <a:gd name="connsiteX40800" fmla="*/ 2449002 w 4610101"/>
              <a:gd name="connsiteY40800" fmla="*/ 77384 h 6557032"/>
              <a:gd name="connsiteX40801" fmla="*/ 2470868 w 4610101"/>
              <a:gd name="connsiteY40801" fmla="*/ 75562 h 6557032"/>
              <a:gd name="connsiteX40802" fmla="*/ 2463580 w 4610101"/>
              <a:gd name="connsiteY40802" fmla="*/ 77384 h 6557032"/>
              <a:gd name="connsiteX40803" fmla="*/ 2476335 w 4610101"/>
              <a:gd name="connsiteY40803" fmla="*/ 93783 h 6557032"/>
              <a:gd name="connsiteX40804" fmla="*/ 2478157 w 4610101"/>
              <a:gd name="connsiteY40804" fmla="*/ 84673 h 6557032"/>
              <a:gd name="connsiteX40805" fmla="*/ 2470868 w 4610101"/>
              <a:gd name="connsiteY40805" fmla="*/ 75562 h 6557032"/>
              <a:gd name="connsiteX40806" fmla="*/ 2551044 w 4610101"/>
              <a:gd name="connsiteY40806" fmla="*/ 73739 h 6557032"/>
              <a:gd name="connsiteX40807" fmla="*/ 2558332 w 4610101"/>
              <a:gd name="connsiteY40807" fmla="*/ 77384 h 6557032"/>
              <a:gd name="connsiteX40808" fmla="*/ 2551044 w 4610101"/>
              <a:gd name="connsiteY40808" fmla="*/ 73739 h 6557032"/>
              <a:gd name="connsiteX40809" fmla="*/ 2540111 w 4610101"/>
              <a:gd name="connsiteY40809" fmla="*/ 73739 h 6557032"/>
              <a:gd name="connsiteX40810" fmla="*/ 2529178 w 4610101"/>
              <a:gd name="connsiteY40810" fmla="*/ 88317 h 6557032"/>
              <a:gd name="connsiteX40811" fmla="*/ 2525534 w 4610101"/>
              <a:gd name="connsiteY40811" fmla="*/ 101072 h 6557032"/>
              <a:gd name="connsiteX40812" fmla="*/ 2527356 w 4610101"/>
              <a:gd name="connsiteY40812" fmla="*/ 90139 h 6557032"/>
              <a:gd name="connsiteX40813" fmla="*/ 2516423 w 4610101"/>
              <a:gd name="connsiteY40813" fmla="*/ 95606 h 6557032"/>
              <a:gd name="connsiteX40814" fmla="*/ 2516423 w 4610101"/>
              <a:gd name="connsiteY40814" fmla="*/ 88317 h 6557032"/>
              <a:gd name="connsiteX40815" fmla="*/ 2509134 w 4610101"/>
              <a:gd name="connsiteY40815" fmla="*/ 110183 h 6557032"/>
              <a:gd name="connsiteX40816" fmla="*/ 2514600 w 4610101"/>
              <a:gd name="connsiteY40816" fmla="*/ 106539 h 6557032"/>
              <a:gd name="connsiteX40817" fmla="*/ 2510956 w 4610101"/>
              <a:gd name="connsiteY40817" fmla="*/ 122938 h 6557032"/>
              <a:gd name="connsiteX40818" fmla="*/ 2503667 w 4610101"/>
              <a:gd name="connsiteY40818" fmla="*/ 108361 h 6557032"/>
              <a:gd name="connsiteX40819" fmla="*/ 2505490 w 4610101"/>
              <a:gd name="connsiteY40819" fmla="*/ 97428 h 6557032"/>
              <a:gd name="connsiteX40820" fmla="*/ 2485446 w 4610101"/>
              <a:gd name="connsiteY40820" fmla="*/ 110183 h 6557032"/>
              <a:gd name="connsiteX40821" fmla="*/ 2485446 w 4610101"/>
              <a:gd name="connsiteY40821" fmla="*/ 112005 h 6557032"/>
              <a:gd name="connsiteX40822" fmla="*/ 2487268 w 4610101"/>
              <a:gd name="connsiteY40822" fmla="*/ 110183 h 6557032"/>
              <a:gd name="connsiteX40823" fmla="*/ 2489090 w 4610101"/>
              <a:gd name="connsiteY40823" fmla="*/ 113827 h 6557032"/>
              <a:gd name="connsiteX40824" fmla="*/ 2503667 w 4610101"/>
              <a:gd name="connsiteY40824" fmla="*/ 117472 h 6557032"/>
              <a:gd name="connsiteX40825" fmla="*/ 2494556 w 4610101"/>
              <a:gd name="connsiteY40825" fmla="*/ 128405 h 6557032"/>
              <a:gd name="connsiteX40826" fmla="*/ 2505490 w 4610101"/>
              <a:gd name="connsiteY40826" fmla="*/ 126583 h 6557032"/>
              <a:gd name="connsiteX40827" fmla="*/ 2505490 w 4610101"/>
              <a:gd name="connsiteY40827" fmla="*/ 130227 h 6557032"/>
              <a:gd name="connsiteX40828" fmla="*/ 2509134 w 4610101"/>
              <a:gd name="connsiteY40828" fmla="*/ 128405 h 6557032"/>
              <a:gd name="connsiteX40829" fmla="*/ 2498201 w 4610101"/>
              <a:gd name="connsiteY40829" fmla="*/ 133871 h 6557032"/>
              <a:gd name="connsiteX40830" fmla="*/ 2540111 w 4610101"/>
              <a:gd name="connsiteY40830" fmla="*/ 73739 h 6557032"/>
              <a:gd name="connsiteX40831" fmla="*/ 2500023 w 4610101"/>
              <a:gd name="connsiteY40831" fmla="*/ 73739 h 6557032"/>
              <a:gd name="connsiteX40832" fmla="*/ 2498201 w 4610101"/>
              <a:gd name="connsiteY40832" fmla="*/ 79206 h 6557032"/>
              <a:gd name="connsiteX40833" fmla="*/ 2496379 w 4610101"/>
              <a:gd name="connsiteY40833" fmla="*/ 77384 h 6557032"/>
              <a:gd name="connsiteX40834" fmla="*/ 2498201 w 4610101"/>
              <a:gd name="connsiteY40834" fmla="*/ 84673 h 6557032"/>
              <a:gd name="connsiteX40835" fmla="*/ 2501845 w 4610101"/>
              <a:gd name="connsiteY40835" fmla="*/ 81028 h 6557032"/>
              <a:gd name="connsiteX40836" fmla="*/ 2500023 w 4610101"/>
              <a:gd name="connsiteY40836" fmla="*/ 73739 h 6557032"/>
              <a:gd name="connsiteX40837" fmla="*/ 2738728 w 4610101"/>
              <a:gd name="connsiteY40837" fmla="*/ 71937 h 6557032"/>
              <a:gd name="connsiteX40838" fmla="*/ 2735084 w 4610101"/>
              <a:gd name="connsiteY40838" fmla="*/ 79226 h 6557032"/>
              <a:gd name="connsiteX40839" fmla="*/ 2738728 w 4610101"/>
              <a:gd name="connsiteY40839" fmla="*/ 71937 h 6557032"/>
              <a:gd name="connsiteX40840" fmla="*/ 2582021 w 4610101"/>
              <a:gd name="connsiteY40840" fmla="*/ 71917 h 6557032"/>
              <a:gd name="connsiteX40841" fmla="*/ 2582021 w 4610101"/>
              <a:gd name="connsiteY40841" fmla="*/ 82850 h 6557032"/>
              <a:gd name="connsiteX40842" fmla="*/ 2583843 w 4610101"/>
              <a:gd name="connsiteY40842" fmla="*/ 77384 h 6557032"/>
              <a:gd name="connsiteX40843" fmla="*/ 2587487 w 4610101"/>
              <a:gd name="connsiteY40843" fmla="*/ 79206 h 6557032"/>
              <a:gd name="connsiteX40844" fmla="*/ 2582021 w 4610101"/>
              <a:gd name="connsiteY40844" fmla="*/ 71917 h 6557032"/>
              <a:gd name="connsiteX40845" fmla="*/ 2436247 w 4610101"/>
              <a:gd name="connsiteY40845" fmla="*/ 70095 h 6557032"/>
              <a:gd name="connsiteX40846" fmla="*/ 2418025 w 4610101"/>
              <a:gd name="connsiteY40846" fmla="*/ 79206 h 6557032"/>
              <a:gd name="connsiteX40847" fmla="*/ 2425314 w 4610101"/>
              <a:gd name="connsiteY40847" fmla="*/ 90139 h 6557032"/>
              <a:gd name="connsiteX40848" fmla="*/ 2418025 w 4610101"/>
              <a:gd name="connsiteY40848" fmla="*/ 97428 h 6557032"/>
              <a:gd name="connsiteX40849" fmla="*/ 2425314 w 4610101"/>
              <a:gd name="connsiteY40849" fmla="*/ 95606 h 6557032"/>
              <a:gd name="connsiteX40850" fmla="*/ 2421669 w 4610101"/>
              <a:gd name="connsiteY40850" fmla="*/ 108361 h 6557032"/>
              <a:gd name="connsiteX40851" fmla="*/ 2414381 w 4610101"/>
              <a:gd name="connsiteY40851" fmla="*/ 99250 h 6557032"/>
              <a:gd name="connsiteX40852" fmla="*/ 2408914 w 4610101"/>
              <a:gd name="connsiteY40852" fmla="*/ 113827 h 6557032"/>
              <a:gd name="connsiteX40853" fmla="*/ 2414381 w 4610101"/>
              <a:gd name="connsiteY40853" fmla="*/ 110183 h 6557032"/>
              <a:gd name="connsiteX40854" fmla="*/ 2416203 w 4610101"/>
              <a:gd name="connsiteY40854" fmla="*/ 117472 h 6557032"/>
              <a:gd name="connsiteX40855" fmla="*/ 2439891 w 4610101"/>
              <a:gd name="connsiteY40855" fmla="*/ 99250 h 6557032"/>
              <a:gd name="connsiteX40856" fmla="*/ 2445358 w 4610101"/>
              <a:gd name="connsiteY40856" fmla="*/ 99250 h 6557032"/>
              <a:gd name="connsiteX40857" fmla="*/ 2445358 w 4610101"/>
              <a:gd name="connsiteY40857" fmla="*/ 79206 h 6557032"/>
              <a:gd name="connsiteX40858" fmla="*/ 2436247 w 4610101"/>
              <a:gd name="connsiteY40858" fmla="*/ 81028 h 6557032"/>
              <a:gd name="connsiteX40859" fmla="*/ 2436247 w 4610101"/>
              <a:gd name="connsiteY40859" fmla="*/ 70095 h 6557032"/>
              <a:gd name="connsiteX40860" fmla="*/ 2254030 w 4610101"/>
              <a:gd name="connsiteY40860" fmla="*/ 70095 h 6557032"/>
              <a:gd name="connsiteX40861" fmla="*/ 2252207 w 4610101"/>
              <a:gd name="connsiteY40861" fmla="*/ 79206 h 6557032"/>
              <a:gd name="connsiteX40862" fmla="*/ 2259496 w 4610101"/>
              <a:gd name="connsiteY40862" fmla="*/ 73739 h 6557032"/>
              <a:gd name="connsiteX40863" fmla="*/ 2254030 w 4610101"/>
              <a:gd name="connsiteY40863" fmla="*/ 70095 h 6557032"/>
              <a:gd name="connsiteX40864" fmla="*/ 2556510 w 4610101"/>
              <a:gd name="connsiteY40864" fmla="*/ 68273 h 6557032"/>
              <a:gd name="connsiteX40865" fmla="*/ 2558332 w 4610101"/>
              <a:gd name="connsiteY40865" fmla="*/ 73739 h 6557032"/>
              <a:gd name="connsiteX40866" fmla="*/ 2556510 w 4610101"/>
              <a:gd name="connsiteY40866" fmla="*/ 68273 h 6557032"/>
              <a:gd name="connsiteX40867" fmla="*/ 2585665 w 4610101"/>
              <a:gd name="connsiteY40867" fmla="*/ 66451 h 6557032"/>
              <a:gd name="connsiteX40868" fmla="*/ 2591132 w 4610101"/>
              <a:gd name="connsiteY40868" fmla="*/ 71917 h 6557032"/>
              <a:gd name="connsiteX40869" fmla="*/ 2589310 w 4610101"/>
              <a:gd name="connsiteY40869" fmla="*/ 66451 h 6557032"/>
              <a:gd name="connsiteX40870" fmla="*/ 2585665 w 4610101"/>
              <a:gd name="connsiteY40870" fmla="*/ 66451 h 6557032"/>
              <a:gd name="connsiteX40871" fmla="*/ 2394337 w 4610101"/>
              <a:gd name="connsiteY40871" fmla="*/ 64629 h 6557032"/>
              <a:gd name="connsiteX40872" fmla="*/ 2394337 w 4610101"/>
              <a:gd name="connsiteY40872" fmla="*/ 70095 h 6557032"/>
              <a:gd name="connsiteX40873" fmla="*/ 2397981 w 4610101"/>
              <a:gd name="connsiteY40873" fmla="*/ 64629 h 6557032"/>
              <a:gd name="connsiteX40874" fmla="*/ 2394337 w 4610101"/>
              <a:gd name="connsiteY40874" fmla="*/ 64629 h 6557032"/>
              <a:gd name="connsiteX40875" fmla="*/ 2377937 w 4610101"/>
              <a:gd name="connsiteY40875" fmla="*/ 64629 h 6557032"/>
              <a:gd name="connsiteX40876" fmla="*/ 2368827 w 4610101"/>
              <a:gd name="connsiteY40876" fmla="*/ 66451 h 6557032"/>
              <a:gd name="connsiteX40877" fmla="*/ 2365182 w 4610101"/>
              <a:gd name="connsiteY40877" fmla="*/ 70095 h 6557032"/>
              <a:gd name="connsiteX40878" fmla="*/ 2361538 w 4610101"/>
              <a:gd name="connsiteY40878" fmla="*/ 79206 h 6557032"/>
              <a:gd name="connsiteX40879" fmla="*/ 2379760 w 4610101"/>
              <a:gd name="connsiteY40879" fmla="*/ 75562 h 6557032"/>
              <a:gd name="connsiteX40880" fmla="*/ 2377937 w 4610101"/>
              <a:gd name="connsiteY40880" fmla="*/ 64629 h 6557032"/>
              <a:gd name="connsiteX40881" fmla="*/ 2154473 w 4610101"/>
              <a:gd name="connsiteY40881" fmla="*/ 64131 h 6557032"/>
              <a:gd name="connsiteX40882" fmla="*/ 2157454 w 4610101"/>
              <a:gd name="connsiteY40882" fmla="*/ 64629 h 6557032"/>
              <a:gd name="connsiteX40883" fmla="*/ 2155632 w 4610101"/>
              <a:gd name="connsiteY40883" fmla="*/ 66451 h 6557032"/>
              <a:gd name="connsiteX40884" fmla="*/ 2505490 w 4610101"/>
              <a:gd name="connsiteY40884" fmla="*/ 62806 h 6557032"/>
              <a:gd name="connsiteX40885" fmla="*/ 2501845 w 4610101"/>
              <a:gd name="connsiteY40885" fmla="*/ 71917 h 6557032"/>
              <a:gd name="connsiteX40886" fmla="*/ 2507312 w 4610101"/>
              <a:gd name="connsiteY40886" fmla="*/ 66451 h 6557032"/>
              <a:gd name="connsiteX40887" fmla="*/ 2507312 w 4610101"/>
              <a:gd name="connsiteY40887" fmla="*/ 77384 h 6557032"/>
              <a:gd name="connsiteX40888" fmla="*/ 2512778 w 4610101"/>
              <a:gd name="connsiteY40888" fmla="*/ 64629 h 6557032"/>
              <a:gd name="connsiteX40889" fmla="*/ 2510956 w 4610101"/>
              <a:gd name="connsiteY40889" fmla="*/ 66451 h 6557032"/>
              <a:gd name="connsiteX40890" fmla="*/ 2505490 w 4610101"/>
              <a:gd name="connsiteY40890" fmla="*/ 62806 h 6557032"/>
              <a:gd name="connsiteX40891" fmla="*/ 2153810 w 4610101"/>
              <a:gd name="connsiteY40891" fmla="*/ 62806 h 6557032"/>
              <a:gd name="connsiteX40892" fmla="*/ 2154473 w 4610101"/>
              <a:gd name="connsiteY40892" fmla="*/ 64131 h 6557032"/>
              <a:gd name="connsiteX40893" fmla="*/ 2153427 w 4610101"/>
              <a:gd name="connsiteY40893" fmla="*/ 63957 h 6557032"/>
              <a:gd name="connsiteX40894" fmla="*/ 2439891 w 4610101"/>
              <a:gd name="connsiteY40894" fmla="*/ 60984 h 6557032"/>
              <a:gd name="connsiteX40895" fmla="*/ 2432603 w 4610101"/>
              <a:gd name="connsiteY40895" fmla="*/ 62806 h 6557032"/>
              <a:gd name="connsiteX40896" fmla="*/ 2436247 w 4610101"/>
              <a:gd name="connsiteY40896" fmla="*/ 68273 h 6557032"/>
              <a:gd name="connsiteX40897" fmla="*/ 2439891 w 4610101"/>
              <a:gd name="connsiteY40897" fmla="*/ 60984 h 6557032"/>
              <a:gd name="connsiteX40898" fmla="*/ 2405270 w 4610101"/>
              <a:gd name="connsiteY40898" fmla="*/ 60984 h 6557032"/>
              <a:gd name="connsiteX40899" fmla="*/ 2408914 w 4610101"/>
              <a:gd name="connsiteY40899" fmla="*/ 66451 h 6557032"/>
              <a:gd name="connsiteX40900" fmla="*/ 2414381 w 4610101"/>
              <a:gd name="connsiteY40900" fmla="*/ 60984 h 6557032"/>
              <a:gd name="connsiteX40901" fmla="*/ 2405270 w 4610101"/>
              <a:gd name="connsiteY40901" fmla="*/ 60984 h 6557032"/>
              <a:gd name="connsiteX40902" fmla="*/ 2281362 w 4610101"/>
              <a:gd name="connsiteY40902" fmla="*/ 59162 h 6557032"/>
              <a:gd name="connsiteX40903" fmla="*/ 2281806 w 4610101"/>
              <a:gd name="connsiteY40903" fmla="*/ 59309 h 6557032"/>
              <a:gd name="connsiteX40904" fmla="*/ 2281923 w 4610101"/>
              <a:gd name="connsiteY40904" fmla="*/ 59451 h 6557032"/>
              <a:gd name="connsiteX40905" fmla="*/ 2259496 w 4610101"/>
              <a:gd name="connsiteY40905" fmla="*/ 59162 h 6557032"/>
              <a:gd name="connsiteX40906" fmla="*/ 2254030 w 4610101"/>
              <a:gd name="connsiteY40906" fmla="*/ 68273 h 6557032"/>
              <a:gd name="connsiteX40907" fmla="*/ 2268607 w 4610101"/>
              <a:gd name="connsiteY40907" fmla="*/ 64629 h 6557032"/>
              <a:gd name="connsiteX40908" fmla="*/ 2259496 w 4610101"/>
              <a:gd name="connsiteY40908" fmla="*/ 59162 h 6557032"/>
              <a:gd name="connsiteX40909" fmla="*/ 2736906 w 4610101"/>
              <a:gd name="connsiteY40909" fmla="*/ 57360 h 6557032"/>
              <a:gd name="connsiteX40910" fmla="*/ 2738728 w 4610101"/>
              <a:gd name="connsiteY40910" fmla="*/ 68293 h 6557032"/>
              <a:gd name="connsiteX40911" fmla="*/ 2736906 w 4610101"/>
              <a:gd name="connsiteY40911" fmla="*/ 57360 h 6557032"/>
              <a:gd name="connsiteX40912" fmla="*/ 2691351 w 4610101"/>
              <a:gd name="connsiteY40912" fmla="*/ 55538 h 6557032"/>
              <a:gd name="connsiteX40913" fmla="*/ 2687707 w 4610101"/>
              <a:gd name="connsiteY40913" fmla="*/ 61004 h 6557032"/>
              <a:gd name="connsiteX40914" fmla="*/ 2691351 w 4610101"/>
              <a:gd name="connsiteY40914" fmla="*/ 61004 h 6557032"/>
              <a:gd name="connsiteX40915" fmla="*/ 2691351 w 4610101"/>
              <a:gd name="connsiteY40915" fmla="*/ 55538 h 6557032"/>
              <a:gd name="connsiteX40916" fmla="*/ 2495240 w 4610101"/>
              <a:gd name="connsiteY40916" fmla="*/ 55517 h 6557032"/>
              <a:gd name="connsiteX40917" fmla="*/ 2489090 w 4610101"/>
              <a:gd name="connsiteY40917" fmla="*/ 55518 h 6557032"/>
              <a:gd name="connsiteX40918" fmla="*/ 2490912 w 4610101"/>
              <a:gd name="connsiteY40918" fmla="*/ 60984 h 6557032"/>
              <a:gd name="connsiteX40919" fmla="*/ 2481801 w 4610101"/>
              <a:gd name="connsiteY40919" fmla="*/ 60984 h 6557032"/>
              <a:gd name="connsiteX40920" fmla="*/ 2485446 w 4610101"/>
              <a:gd name="connsiteY40920" fmla="*/ 75562 h 6557032"/>
              <a:gd name="connsiteX40921" fmla="*/ 2481801 w 4610101"/>
              <a:gd name="connsiteY40921" fmla="*/ 71917 h 6557032"/>
              <a:gd name="connsiteX40922" fmla="*/ 2489090 w 4610101"/>
              <a:gd name="connsiteY40922" fmla="*/ 81028 h 6557032"/>
              <a:gd name="connsiteX40923" fmla="*/ 2501845 w 4610101"/>
              <a:gd name="connsiteY40923" fmla="*/ 59162 h 6557032"/>
              <a:gd name="connsiteX40924" fmla="*/ 2496379 w 4610101"/>
              <a:gd name="connsiteY40924" fmla="*/ 60984 h 6557032"/>
              <a:gd name="connsiteX40925" fmla="*/ 2500023 w 4610101"/>
              <a:gd name="connsiteY40925" fmla="*/ 55518 h 6557032"/>
              <a:gd name="connsiteX40926" fmla="*/ 2495240 w 4610101"/>
              <a:gd name="connsiteY40926" fmla="*/ 55517 h 6557032"/>
              <a:gd name="connsiteX40927" fmla="*/ 2747839 w 4610101"/>
              <a:gd name="connsiteY40927" fmla="*/ 53716 h 6557032"/>
              <a:gd name="connsiteX40928" fmla="*/ 2742372 w 4610101"/>
              <a:gd name="connsiteY40928" fmla="*/ 55538 h 6557032"/>
              <a:gd name="connsiteX40929" fmla="*/ 2744195 w 4610101"/>
              <a:gd name="connsiteY40929" fmla="*/ 55538 h 6557032"/>
              <a:gd name="connsiteX40930" fmla="*/ 2747839 w 4610101"/>
              <a:gd name="connsiteY40930" fmla="*/ 68293 h 6557032"/>
              <a:gd name="connsiteX40931" fmla="*/ 2747839 w 4610101"/>
              <a:gd name="connsiteY40931" fmla="*/ 53716 h 6557032"/>
              <a:gd name="connsiteX40932" fmla="*/ 2199364 w 4610101"/>
              <a:gd name="connsiteY40932" fmla="*/ 50051 h 6557032"/>
              <a:gd name="connsiteX40933" fmla="*/ 2199364 w 4610101"/>
              <a:gd name="connsiteY40933" fmla="*/ 53696 h 6557032"/>
              <a:gd name="connsiteX40934" fmla="*/ 2206653 w 4610101"/>
              <a:gd name="connsiteY40934" fmla="*/ 53696 h 6557032"/>
              <a:gd name="connsiteX40935" fmla="*/ 2199364 w 4610101"/>
              <a:gd name="connsiteY40935" fmla="*/ 50051 h 6557032"/>
              <a:gd name="connsiteX40936" fmla="*/ 2432603 w 4610101"/>
              <a:gd name="connsiteY40936" fmla="*/ 48229 h 6557032"/>
              <a:gd name="connsiteX40937" fmla="*/ 2436247 w 4610101"/>
              <a:gd name="connsiteY40937" fmla="*/ 55518 h 6557032"/>
              <a:gd name="connsiteX40938" fmla="*/ 2432603 w 4610101"/>
              <a:gd name="connsiteY40938" fmla="*/ 48229 h 6557032"/>
              <a:gd name="connsiteX40939" fmla="*/ 2448547 w 4610101"/>
              <a:gd name="connsiteY40939" fmla="*/ 45951 h 6557032"/>
              <a:gd name="connsiteX40940" fmla="*/ 2449002 w 4610101"/>
              <a:gd name="connsiteY40940" fmla="*/ 46030 h 6557032"/>
              <a:gd name="connsiteX40941" fmla="*/ 2449002 w 4610101"/>
              <a:gd name="connsiteY40941" fmla="*/ 55518 h 6557032"/>
              <a:gd name="connsiteX40942" fmla="*/ 2446725 w 4610101"/>
              <a:gd name="connsiteY40942" fmla="*/ 49368 h 6557032"/>
              <a:gd name="connsiteX40943" fmla="*/ 2443380 w 4610101"/>
              <a:gd name="connsiteY40943" fmla="*/ 46176 h 6557032"/>
              <a:gd name="connsiteX40944" fmla="*/ 2507768 w 4610101"/>
              <a:gd name="connsiteY40944" fmla="*/ 45723 h 6557032"/>
              <a:gd name="connsiteX40945" fmla="*/ 2500023 w 4610101"/>
              <a:gd name="connsiteY40945" fmla="*/ 46407 h 6557032"/>
              <a:gd name="connsiteX40946" fmla="*/ 2500023 w 4610101"/>
              <a:gd name="connsiteY40946" fmla="*/ 51873 h 6557032"/>
              <a:gd name="connsiteX40947" fmla="*/ 2507312 w 4610101"/>
              <a:gd name="connsiteY40947" fmla="*/ 51873 h 6557032"/>
              <a:gd name="connsiteX40948" fmla="*/ 2507768 w 4610101"/>
              <a:gd name="connsiteY40948" fmla="*/ 45723 h 6557032"/>
              <a:gd name="connsiteX40949" fmla="*/ 2449002 w 4610101"/>
              <a:gd name="connsiteY40949" fmla="*/ 44585 h 6557032"/>
              <a:gd name="connsiteX40950" fmla="*/ 2453414 w 4610101"/>
              <a:gd name="connsiteY40950" fmla="*/ 46790 h 6557032"/>
              <a:gd name="connsiteX40951" fmla="*/ 2449002 w 4610101"/>
              <a:gd name="connsiteY40951" fmla="*/ 46030 h 6557032"/>
              <a:gd name="connsiteX40952" fmla="*/ 2441713 w 4610101"/>
              <a:gd name="connsiteY40952" fmla="*/ 44585 h 6557032"/>
              <a:gd name="connsiteX40953" fmla="*/ 2443380 w 4610101"/>
              <a:gd name="connsiteY40953" fmla="*/ 46176 h 6557032"/>
              <a:gd name="connsiteX40954" fmla="*/ 2438938 w 4610101"/>
              <a:gd name="connsiteY40954" fmla="*/ 46369 h 6557032"/>
              <a:gd name="connsiteX40955" fmla="*/ 2270429 w 4610101"/>
              <a:gd name="connsiteY40955" fmla="*/ 44585 h 6557032"/>
              <a:gd name="connsiteX40956" fmla="*/ 2270429 w 4610101"/>
              <a:gd name="connsiteY40956" fmla="*/ 47269 h 6557032"/>
              <a:gd name="connsiteX40957" fmla="*/ 2269083 w 4610101"/>
              <a:gd name="connsiteY40957" fmla="*/ 50671 h 6557032"/>
              <a:gd name="connsiteX40958" fmla="*/ 2268894 w 4610101"/>
              <a:gd name="connsiteY40958" fmla="*/ 50727 h 6557032"/>
              <a:gd name="connsiteX40959" fmla="*/ 2546033 w 4610101"/>
              <a:gd name="connsiteY40959" fmla="*/ 43218 h 6557032"/>
              <a:gd name="connsiteX40960" fmla="*/ 2540111 w 4610101"/>
              <a:gd name="connsiteY40960" fmla="*/ 44585 h 6557032"/>
              <a:gd name="connsiteX40961" fmla="*/ 2541933 w 4610101"/>
              <a:gd name="connsiteY40961" fmla="*/ 50051 h 6557032"/>
              <a:gd name="connsiteX40962" fmla="*/ 2549222 w 4610101"/>
              <a:gd name="connsiteY40962" fmla="*/ 44585 h 6557032"/>
              <a:gd name="connsiteX40963" fmla="*/ 2546033 w 4610101"/>
              <a:gd name="connsiteY40963" fmla="*/ 43218 h 6557032"/>
              <a:gd name="connsiteX40964" fmla="*/ 2707751 w 4610101"/>
              <a:gd name="connsiteY40964" fmla="*/ 42783 h 6557032"/>
              <a:gd name="connsiteX40965" fmla="*/ 2711395 w 4610101"/>
              <a:gd name="connsiteY40965" fmla="*/ 51894 h 6557032"/>
              <a:gd name="connsiteX40966" fmla="*/ 2707751 w 4610101"/>
              <a:gd name="connsiteY40966" fmla="*/ 42783 h 6557032"/>
              <a:gd name="connsiteX40967" fmla="*/ 2427136 w 4610101"/>
              <a:gd name="connsiteY40967" fmla="*/ 42763 h 6557032"/>
              <a:gd name="connsiteX40968" fmla="*/ 2425314 w 4610101"/>
              <a:gd name="connsiteY40968" fmla="*/ 53696 h 6557032"/>
              <a:gd name="connsiteX40969" fmla="*/ 2428958 w 4610101"/>
              <a:gd name="connsiteY40969" fmla="*/ 48229 h 6557032"/>
              <a:gd name="connsiteX40970" fmla="*/ 2427136 w 4610101"/>
              <a:gd name="connsiteY40970" fmla="*/ 42763 h 6557032"/>
              <a:gd name="connsiteX40971" fmla="*/ 2410312 w 4610101"/>
              <a:gd name="connsiteY40971" fmla="*/ 33782 h 6557032"/>
              <a:gd name="connsiteX40972" fmla="*/ 2410053 w 4610101"/>
              <a:gd name="connsiteY40972" fmla="*/ 34107 h 6557032"/>
              <a:gd name="connsiteX40973" fmla="*/ 2409351 w 4610101"/>
              <a:gd name="connsiteY40973" fmla="*/ 34076 h 6557032"/>
              <a:gd name="connsiteX40974" fmla="*/ 2694996 w 4610101"/>
              <a:gd name="connsiteY40974" fmla="*/ 31850 h 6557032"/>
              <a:gd name="connsiteX40975" fmla="*/ 2704106 w 4610101"/>
              <a:gd name="connsiteY40975" fmla="*/ 42783 h 6557032"/>
              <a:gd name="connsiteX40976" fmla="*/ 2705929 w 4610101"/>
              <a:gd name="connsiteY40976" fmla="*/ 33672 h 6557032"/>
              <a:gd name="connsiteX40977" fmla="*/ 2716862 w 4610101"/>
              <a:gd name="connsiteY40977" fmla="*/ 57360 h 6557032"/>
              <a:gd name="connsiteX40978" fmla="*/ 2735084 w 4610101"/>
              <a:gd name="connsiteY40978" fmla="*/ 55538 h 6557032"/>
              <a:gd name="connsiteX40979" fmla="*/ 2731439 w 4610101"/>
              <a:gd name="connsiteY40979" fmla="*/ 62827 h 6557032"/>
              <a:gd name="connsiteX40980" fmla="*/ 2736906 w 4610101"/>
              <a:gd name="connsiteY40980" fmla="*/ 64649 h 6557032"/>
              <a:gd name="connsiteX40981" fmla="*/ 2742372 w 4610101"/>
              <a:gd name="connsiteY40981" fmla="*/ 50071 h 6557032"/>
              <a:gd name="connsiteX40982" fmla="*/ 2756950 w 4610101"/>
              <a:gd name="connsiteY40982" fmla="*/ 71937 h 6557032"/>
              <a:gd name="connsiteX40983" fmla="*/ 2749661 w 4610101"/>
              <a:gd name="connsiteY40983" fmla="*/ 70115 h 6557032"/>
              <a:gd name="connsiteX40984" fmla="*/ 2749661 w 4610101"/>
              <a:gd name="connsiteY40984" fmla="*/ 77404 h 6557032"/>
              <a:gd name="connsiteX40985" fmla="*/ 2725973 w 4610101"/>
              <a:gd name="connsiteY40985" fmla="*/ 101092 h 6557032"/>
              <a:gd name="connsiteX40986" fmla="*/ 2729617 w 4610101"/>
              <a:gd name="connsiteY40986" fmla="*/ 81048 h 6557032"/>
              <a:gd name="connsiteX40987" fmla="*/ 2718684 w 4610101"/>
              <a:gd name="connsiteY40987" fmla="*/ 62827 h 6557032"/>
              <a:gd name="connsiteX40988" fmla="*/ 2727795 w 4610101"/>
              <a:gd name="connsiteY40988" fmla="*/ 75582 h 6557032"/>
              <a:gd name="connsiteX40989" fmla="*/ 2727795 w 4610101"/>
              <a:gd name="connsiteY40989" fmla="*/ 64649 h 6557032"/>
              <a:gd name="connsiteX40990" fmla="*/ 2718684 w 4610101"/>
              <a:gd name="connsiteY40990" fmla="*/ 62827 h 6557032"/>
              <a:gd name="connsiteX40991" fmla="*/ 2704106 w 4610101"/>
              <a:gd name="connsiteY40991" fmla="*/ 68293 h 6557032"/>
              <a:gd name="connsiteX40992" fmla="*/ 2702284 w 4610101"/>
              <a:gd name="connsiteY40992" fmla="*/ 64649 h 6557032"/>
              <a:gd name="connsiteX40993" fmla="*/ 2698640 w 4610101"/>
              <a:gd name="connsiteY40993" fmla="*/ 37316 h 6557032"/>
              <a:gd name="connsiteX40994" fmla="*/ 2693174 w 4610101"/>
              <a:gd name="connsiteY40994" fmla="*/ 42783 h 6557032"/>
              <a:gd name="connsiteX40995" fmla="*/ 2689529 w 4610101"/>
              <a:gd name="connsiteY40995" fmla="*/ 39138 h 6557032"/>
              <a:gd name="connsiteX40996" fmla="*/ 2685885 w 4610101"/>
              <a:gd name="connsiteY40996" fmla="*/ 53716 h 6557032"/>
              <a:gd name="connsiteX40997" fmla="*/ 2700462 w 4610101"/>
              <a:gd name="connsiteY40997" fmla="*/ 51894 h 6557032"/>
              <a:gd name="connsiteX40998" fmla="*/ 2678596 w 4610101"/>
              <a:gd name="connsiteY40998" fmla="*/ 66471 h 6557032"/>
              <a:gd name="connsiteX40999" fmla="*/ 2682240 w 4610101"/>
              <a:gd name="connsiteY40999" fmla="*/ 57360 h 6557032"/>
              <a:gd name="connsiteX41000" fmla="*/ 2694996 w 4610101"/>
              <a:gd name="connsiteY41000" fmla="*/ 31850 h 6557032"/>
              <a:gd name="connsiteX41001" fmla="*/ 2399348 w 4610101"/>
              <a:gd name="connsiteY41001" fmla="*/ 23174 h 6557032"/>
              <a:gd name="connsiteX41002" fmla="*/ 2408914 w 4610101"/>
              <a:gd name="connsiteY41002" fmla="*/ 26363 h 6557032"/>
              <a:gd name="connsiteX41003" fmla="*/ 2399803 w 4610101"/>
              <a:gd name="connsiteY41003" fmla="*/ 33652 h 6557032"/>
              <a:gd name="connsiteX41004" fmla="*/ 2409351 w 4610101"/>
              <a:gd name="connsiteY41004" fmla="*/ 34076 h 6557032"/>
              <a:gd name="connsiteX41005" fmla="*/ 2399576 w 4610101"/>
              <a:gd name="connsiteY41005" fmla="*/ 37068 h 6557032"/>
              <a:gd name="connsiteX41006" fmla="*/ 2392515 w 4610101"/>
              <a:gd name="connsiteY41006" fmla="*/ 28185 h 6557032"/>
              <a:gd name="connsiteX41007" fmla="*/ 2399348 w 4610101"/>
              <a:gd name="connsiteY41007" fmla="*/ 23174 h 6557032"/>
              <a:gd name="connsiteX41008" fmla="*/ 2565621 w 4610101"/>
              <a:gd name="connsiteY41008" fmla="*/ 19074 h 6557032"/>
              <a:gd name="connsiteX41009" fmla="*/ 2565621 w 4610101"/>
              <a:gd name="connsiteY41009" fmla="*/ 30007 h 6557032"/>
              <a:gd name="connsiteX41010" fmla="*/ 2565621 w 4610101"/>
              <a:gd name="connsiteY41010" fmla="*/ 19074 h 6557032"/>
              <a:gd name="connsiteX41011" fmla="*/ 2560155 w 4610101"/>
              <a:gd name="connsiteY41011" fmla="*/ 11786 h 6557032"/>
              <a:gd name="connsiteX41012" fmla="*/ 2556510 w 4610101"/>
              <a:gd name="connsiteY41012" fmla="*/ 19074 h 6557032"/>
              <a:gd name="connsiteX41013" fmla="*/ 2560155 w 4610101"/>
              <a:gd name="connsiteY41013" fmla="*/ 11786 h 6557032"/>
              <a:gd name="connsiteX41014" fmla="*/ 2540111 w 4610101"/>
              <a:gd name="connsiteY41014" fmla="*/ 853 h 6557032"/>
              <a:gd name="connsiteX41015" fmla="*/ 2561977 w 4610101"/>
              <a:gd name="connsiteY41015" fmla="*/ 8141 h 6557032"/>
              <a:gd name="connsiteX41016" fmla="*/ 2567443 w 4610101"/>
              <a:gd name="connsiteY41016" fmla="*/ 6319 h 6557032"/>
              <a:gd name="connsiteX41017" fmla="*/ 2583843 w 4610101"/>
              <a:gd name="connsiteY41017" fmla="*/ 24541 h 6557032"/>
              <a:gd name="connsiteX41018" fmla="*/ 2582021 w 4610101"/>
              <a:gd name="connsiteY41018" fmla="*/ 19074 h 6557032"/>
              <a:gd name="connsiteX41019" fmla="*/ 2589310 w 4610101"/>
              <a:gd name="connsiteY41019" fmla="*/ 19074 h 6557032"/>
              <a:gd name="connsiteX41020" fmla="*/ 2587487 w 4610101"/>
              <a:gd name="connsiteY41020" fmla="*/ 24541 h 6557032"/>
              <a:gd name="connsiteX41021" fmla="*/ 2607531 w 4610101"/>
              <a:gd name="connsiteY41021" fmla="*/ 15430 h 6557032"/>
              <a:gd name="connsiteX41022" fmla="*/ 2602065 w 4610101"/>
              <a:gd name="connsiteY41022" fmla="*/ 17252 h 6557032"/>
              <a:gd name="connsiteX41023" fmla="*/ 2609353 w 4610101"/>
              <a:gd name="connsiteY41023" fmla="*/ 28185 h 6557032"/>
              <a:gd name="connsiteX41024" fmla="*/ 2589310 w 4610101"/>
              <a:gd name="connsiteY41024" fmla="*/ 30007 h 6557032"/>
              <a:gd name="connsiteX41025" fmla="*/ 2607531 w 4610101"/>
              <a:gd name="connsiteY41025" fmla="*/ 37296 h 6557032"/>
              <a:gd name="connsiteX41026" fmla="*/ 2598421 w 4610101"/>
              <a:gd name="connsiteY41026" fmla="*/ 44585 h 6557032"/>
              <a:gd name="connsiteX41027" fmla="*/ 2609353 w 4610101"/>
              <a:gd name="connsiteY41027" fmla="*/ 50051 h 6557032"/>
              <a:gd name="connsiteX41028" fmla="*/ 2607531 w 4610101"/>
              <a:gd name="connsiteY41028" fmla="*/ 55518 h 6557032"/>
              <a:gd name="connsiteX41029" fmla="*/ 2614820 w 4610101"/>
              <a:gd name="connsiteY41029" fmla="*/ 60984 h 6557032"/>
              <a:gd name="connsiteX41030" fmla="*/ 2620287 w 4610101"/>
              <a:gd name="connsiteY41030" fmla="*/ 55518 h 6557032"/>
              <a:gd name="connsiteX41031" fmla="*/ 2640330 w 4610101"/>
              <a:gd name="connsiteY41031" fmla="*/ 70095 h 6557032"/>
              <a:gd name="connsiteX41032" fmla="*/ 2642153 w 4610101"/>
              <a:gd name="connsiteY41032" fmla="*/ 91961 h 6557032"/>
              <a:gd name="connsiteX41033" fmla="*/ 2620287 w 4610101"/>
              <a:gd name="connsiteY41033" fmla="*/ 91961 h 6557032"/>
              <a:gd name="connsiteX41034" fmla="*/ 2614820 w 4610101"/>
              <a:gd name="connsiteY41034" fmla="*/ 110183 h 6557032"/>
              <a:gd name="connsiteX41035" fmla="*/ 2611176 w 4610101"/>
              <a:gd name="connsiteY41035" fmla="*/ 97428 h 6557032"/>
              <a:gd name="connsiteX41036" fmla="*/ 2587487 w 4610101"/>
              <a:gd name="connsiteY41036" fmla="*/ 88317 h 6557032"/>
              <a:gd name="connsiteX41037" fmla="*/ 2583843 w 4610101"/>
              <a:gd name="connsiteY41037" fmla="*/ 95606 h 6557032"/>
              <a:gd name="connsiteX41038" fmla="*/ 2554688 w 4610101"/>
              <a:gd name="connsiteY41038" fmla="*/ 112005 h 6557032"/>
              <a:gd name="connsiteX41039" fmla="*/ 2567443 w 4610101"/>
              <a:gd name="connsiteY41039" fmla="*/ 101072 h 6557032"/>
              <a:gd name="connsiteX41040" fmla="*/ 2558332 w 4610101"/>
              <a:gd name="connsiteY41040" fmla="*/ 121116 h 6557032"/>
              <a:gd name="connsiteX41041" fmla="*/ 2551044 w 4610101"/>
              <a:gd name="connsiteY41041" fmla="*/ 115649 h 6557032"/>
              <a:gd name="connsiteX41042" fmla="*/ 2550860 w 4610101"/>
              <a:gd name="connsiteY41042" fmla="*/ 116154 h 6557032"/>
              <a:gd name="connsiteX41043" fmla="*/ 2551044 w 4610101"/>
              <a:gd name="connsiteY41043" fmla="*/ 113827 h 6557032"/>
              <a:gd name="connsiteX41044" fmla="*/ 2538289 w 4610101"/>
              <a:gd name="connsiteY41044" fmla="*/ 112005 h 6557032"/>
              <a:gd name="connsiteX41045" fmla="*/ 2536466 w 4610101"/>
              <a:gd name="connsiteY41045" fmla="*/ 122938 h 6557032"/>
              <a:gd name="connsiteX41046" fmla="*/ 2540111 w 4610101"/>
              <a:gd name="connsiteY41046" fmla="*/ 119294 h 6557032"/>
              <a:gd name="connsiteX41047" fmla="*/ 2545577 w 4610101"/>
              <a:gd name="connsiteY41047" fmla="*/ 128405 h 6557032"/>
              <a:gd name="connsiteX41048" fmla="*/ 2548002 w 4610101"/>
              <a:gd name="connsiteY41048" fmla="*/ 125403 h 6557032"/>
              <a:gd name="connsiteX41049" fmla="*/ 2551727 w 4610101"/>
              <a:gd name="connsiteY41049" fmla="*/ 132960 h 6557032"/>
              <a:gd name="connsiteX41050" fmla="*/ 2567443 w 4610101"/>
              <a:gd name="connsiteY41050" fmla="*/ 144804 h 6557032"/>
              <a:gd name="connsiteX41051" fmla="*/ 2569266 w 4610101"/>
              <a:gd name="connsiteY41051" fmla="*/ 141160 h 6557032"/>
              <a:gd name="connsiteX41052" fmla="*/ 2587487 w 4610101"/>
              <a:gd name="connsiteY41052" fmla="*/ 153915 h 6557032"/>
              <a:gd name="connsiteX41053" fmla="*/ 2569266 w 4610101"/>
              <a:gd name="connsiteY41053" fmla="*/ 150271 h 6557032"/>
              <a:gd name="connsiteX41054" fmla="*/ 2571088 w 4610101"/>
              <a:gd name="connsiteY41054" fmla="*/ 159382 h 6557032"/>
              <a:gd name="connsiteX41055" fmla="*/ 2587487 w 4610101"/>
              <a:gd name="connsiteY41055" fmla="*/ 159382 h 6557032"/>
              <a:gd name="connsiteX41056" fmla="*/ 2602065 w 4610101"/>
              <a:gd name="connsiteY41056" fmla="*/ 186714 h 6557032"/>
              <a:gd name="connsiteX41057" fmla="*/ 2596598 w 4610101"/>
              <a:gd name="connsiteY41057" fmla="*/ 188536 h 6557032"/>
              <a:gd name="connsiteX41058" fmla="*/ 2612998 w 4610101"/>
              <a:gd name="connsiteY41058" fmla="*/ 201292 h 6557032"/>
              <a:gd name="connsiteX41059" fmla="*/ 2607531 w 4610101"/>
              <a:gd name="connsiteY41059" fmla="*/ 206758 h 6557032"/>
              <a:gd name="connsiteX41060" fmla="*/ 2609353 w 4610101"/>
              <a:gd name="connsiteY41060" fmla="*/ 210403 h 6557032"/>
              <a:gd name="connsiteX41061" fmla="*/ 2616642 w 4610101"/>
              <a:gd name="connsiteY41061" fmla="*/ 206758 h 6557032"/>
              <a:gd name="connsiteX41062" fmla="*/ 2616642 w 4610101"/>
              <a:gd name="connsiteY41062" fmla="*/ 219513 h 6557032"/>
              <a:gd name="connsiteX41063" fmla="*/ 2627575 w 4610101"/>
              <a:gd name="connsiteY41063" fmla="*/ 221336 h 6557032"/>
              <a:gd name="connsiteX41064" fmla="*/ 2633042 w 4610101"/>
              <a:gd name="connsiteY41064" fmla="*/ 208580 h 6557032"/>
              <a:gd name="connsiteX41065" fmla="*/ 2633042 w 4610101"/>
              <a:gd name="connsiteY41065" fmla="*/ 215869 h 6557032"/>
              <a:gd name="connsiteX41066" fmla="*/ 2651263 w 4610101"/>
              <a:gd name="connsiteY41066" fmla="*/ 201292 h 6557032"/>
              <a:gd name="connsiteX41067" fmla="*/ 2658552 w 4610101"/>
              <a:gd name="connsiteY41067" fmla="*/ 204936 h 6557032"/>
              <a:gd name="connsiteX41068" fmla="*/ 2669485 w 4610101"/>
              <a:gd name="connsiteY41068" fmla="*/ 188536 h 6557032"/>
              <a:gd name="connsiteX41069" fmla="*/ 2666134 w 4610101"/>
              <a:gd name="connsiteY41069" fmla="*/ 184347 h 6557032"/>
              <a:gd name="connsiteX41070" fmla="*/ 2667436 w 4610101"/>
              <a:gd name="connsiteY41070" fmla="*/ 181931 h 6557032"/>
              <a:gd name="connsiteX41071" fmla="*/ 2667663 w 4610101"/>
              <a:gd name="connsiteY41071" fmla="*/ 177603 h 6557032"/>
              <a:gd name="connsiteX41072" fmla="*/ 2674952 w 4610101"/>
              <a:gd name="connsiteY41072" fmla="*/ 179426 h 6557032"/>
              <a:gd name="connsiteX41073" fmla="*/ 2676774 w 4610101"/>
              <a:gd name="connsiteY41073" fmla="*/ 166670 h 6557032"/>
              <a:gd name="connsiteX41074" fmla="*/ 2680874 w 4610101"/>
              <a:gd name="connsiteY41074" fmla="*/ 178514 h 6557032"/>
              <a:gd name="connsiteX41075" fmla="*/ 2684776 w 4610101"/>
              <a:gd name="connsiteY41075" fmla="*/ 185278 h 6557032"/>
              <a:gd name="connsiteX41076" fmla="*/ 2674952 w 4610101"/>
              <a:gd name="connsiteY41076" fmla="*/ 199469 h 6557032"/>
              <a:gd name="connsiteX41077" fmla="*/ 2673130 w 4610101"/>
              <a:gd name="connsiteY41077" fmla="*/ 195825 h 6557032"/>
              <a:gd name="connsiteX41078" fmla="*/ 2676774 w 4610101"/>
              <a:gd name="connsiteY41078" fmla="*/ 210403 h 6557032"/>
              <a:gd name="connsiteX41079" fmla="*/ 2696818 w 4610101"/>
              <a:gd name="connsiteY41079" fmla="*/ 203114 h 6557032"/>
              <a:gd name="connsiteX41080" fmla="*/ 2720506 w 4610101"/>
              <a:gd name="connsiteY41080" fmla="*/ 190359 h 6557032"/>
              <a:gd name="connsiteX41081" fmla="*/ 2724150 w 4610101"/>
              <a:gd name="connsiteY41081" fmla="*/ 166670 h 6557032"/>
              <a:gd name="connsiteX41082" fmla="*/ 2720051 w 4610101"/>
              <a:gd name="connsiteY41082" fmla="*/ 159837 h 6557032"/>
              <a:gd name="connsiteX41083" fmla="*/ 2719531 w 4610101"/>
              <a:gd name="connsiteY41083" fmla="*/ 156200 h 6557032"/>
              <a:gd name="connsiteX41084" fmla="*/ 2723481 w 4610101"/>
              <a:gd name="connsiteY41084" fmla="*/ 154799 h 6557032"/>
              <a:gd name="connsiteX41085" fmla="*/ 2724150 w 4610101"/>
              <a:gd name="connsiteY41085" fmla="*/ 155737 h 6557032"/>
              <a:gd name="connsiteX41086" fmla="*/ 2724225 w 4610101"/>
              <a:gd name="connsiteY41086" fmla="*/ 154535 h 6557032"/>
              <a:gd name="connsiteX41087" fmla="*/ 2725973 w 4610101"/>
              <a:gd name="connsiteY41087" fmla="*/ 153915 h 6557032"/>
              <a:gd name="connsiteX41088" fmla="*/ 2733261 w 4610101"/>
              <a:gd name="connsiteY41088" fmla="*/ 128405 h 6557032"/>
              <a:gd name="connsiteX41089" fmla="*/ 2736906 w 4610101"/>
              <a:gd name="connsiteY41089" fmla="*/ 130227 h 6557032"/>
              <a:gd name="connsiteX41090" fmla="*/ 2736906 w 4610101"/>
              <a:gd name="connsiteY41090" fmla="*/ 119294 h 6557032"/>
              <a:gd name="connsiteX41091" fmla="*/ 2742372 w 4610101"/>
              <a:gd name="connsiteY41091" fmla="*/ 124760 h 6557032"/>
              <a:gd name="connsiteX41092" fmla="*/ 2749661 w 4610101"/>
              <a:gd name="connsiteY41092" fmla="*/ 126583 h 6557032"/>
              <a:gd name="connsiteX41093" fmla="*/ 2747839 w 4610101"/>
              <a:gd name="connsiteY41093" fmla="*/ 130227 h 6557032"/>
              <a:gd name="connsiteX41094" fmla="*/ 2752250 w 4610101"/>
              <a:gd name="connsiteY41094" fmla="*/ 128884 h 6557032"/>
              <a:gd name="connsiteX41095" fmla="*/ 2753305 w 4610101"/>
              <a:gd name="connsiteY41095" fmla="*/ 132049 h 6557032"/>
              <a:gd name="connsiteX41096" fmla="*/ 2762416 w 4610101"/>
              <a:gd name="connsiteY41096" fmla="*/ 130227 h 6557032"/>
              <a:gd name="connsiteX41097" fmla="*/ 2762416 w 4610101"/>
              <a:gd name="connsiteY41097" fmla="*/ 113827 h 6557032"/>
              <a:gd name="connsiteX41098" fmla="*/ 2758316 w 4610101"/>
              <a:gd name="connsiteY41098" fmla="*/ 122938 h 6557032"/>
              <a:gd name="connsiteX41099" fmla="*/ 2753860 w 4610101"/>
              <a:gd name="connsiteY41099" fmla="*/ 125315 h 6557032"/>
              <a:gd name="connsiteX41100" fmla="*/ 2753305 w 4610101"/>
              <a:gd name="connsiteY41100" fmla="*/ 124760 h 6557032"/>
              <a:gd name="connsiteX41101" fmla="*/ 2764238 w 4610101"/>
              <a:gd name="connsiteY41101" fmla="*/ 97428 h 6557032"/>
              <a:gd name="connsiteX41102" fmla="*/ 2771527 w 4610101"/>
              <a:gd name="connsiteY41102" fmla="*/ 99250 h 6557032"/>
              <a:gd name="connsiteX41103" fmla="*/ 2777677 w 4610101"/>
              <a:gd name="connsiteY41103" fmla="*/ 99933 h 6557032"/>
              <a:gd name="connsiteX41104" fmla="*/ 2781640 w 4610101"/>
              <a:gd name="connsiteY41104" fmla="*/ 94837 h 6557032"/>
              <a:gd name="connsiteX41105" fmla="*/ 2784966 w 4610101"/>
              <a:gd name="connsiteY41105" fmla="*/ 98338 h 6557032"/>
              <a:gd name="connsiteX41106" fmla="*/ 2787927 w 4610101"/>
              <a:gd name="connsiteY41106" fmla="*/ 97428 h 6557032"/>
              <a:gd name="connsiteX41107" fmla="*/ 2787927 w 4610101"/>
              <a:gd name="connsiteY41107" fmla="*/ 94663 h 6557032"/>
              <a:gd name="connsiteX41108" fmla="*/ 2791738 w 4610101"/>
              <a:gd name="connsiteY41108" fmla="*/ 91772 h 6557032"/>
              <a:gd name="connsiteX41109" fmla="*/ 2791571 w 4610101"/>
              <a:gd name="connsiteY41109" fmla="*/ 97428 h 6557032"/>
              <a:gd name="connsiteX41110" fmla="*/ 2795215 w 4610101"/>
              <a:gd name="connsiteY41110" fmla="*/ 95606 h 6557032"/>
              <a:gd name="connsiteX41111" fmla="*/ 2794988 w 4610101"/>
              <a:gd name="connsiteY41111" fmla="*/ 90139 h 6557032"/>
              <a:gd name="connsiteX41112" fmla="*/ 2794789 w 4610101"/>
              <a:gd name="connsiteY41112" fmla="*/ 89457 h 6557032"/>
              <a:gd name="connsiteX41113" fmla="*/ 2797493 w 4610101"/>
              <a:gd name="connsiteY41113" fmla="*/ 87405 h 6557032"/>
              <a:gd name="connsiteX41114" fmla="*/ 2813437 w 4610101"/>
              <a:gd name="connsiteY41114" fmla="*/ 88317 h 6557032"/>
              <a:gd name="connsiteX41115" fmla="*/ 2815259 w 4610101"/>
              <a:gd name="connsiteY41115" fmla="*/ 115649 h 6557032"/>
              <a:gd name="connsiteX41116" fmla="*/ 2811615 w 4610101"/>
              <a:gd name="connsiteY41116" fmla="*/ 115649 h 6557032"/>
              <a:gd name="connsiteX41117" fmla="*/ 2809793 w 4610101"/>
              <a:gd name="connsiteY41117" fmla="*/ 108361 h 6557032"/>
              <a:gd name="connsiteX41118" fmla="*/ 2806148 w 4610101"/>
              <a:gd name="connsiteY41118" fmla="*/ 115649 h 6557032"/>
              <a:gd name="connsiteX41119" fmla="*/ 2806148 w 4610101"/>
              <a:gd name="connsiteY41119" fmla="*/ 112005 h 6557032"/>
              <a:gd name="connsiteX41120" fmla="*/ 2804326 w 4610101"/>
              <a:gd name="connsiteY41120" fmla="*/ 117472 h 6557032"/>
              <a:gd name="connsiteX41121" fmla="*/ 2807971 w 4610101"/>
              <a:gd name="connsiteY41121" fmla="*/ 135693 h 6557032"/>
              <a:gd name="connsiteX41122" fmla="*/ 2800682 w 4610101"/>
              <a:gd name="connsiteY41122" fmla="*/ 110183 h 6557032"/>
              <a:gd name="connsiteX41123" fmla="*/ 2792143 w 4610101"/>
              <a:gd name="connsiteY41123" fmla="*/ 132385 h 6557032"/>
              <a:gd name="connsiteX41124" fmla="*/ 2788382 w 4610101"/>
              <a:gd name="connsiteY41124" fmla="*/ 123394 h 6557032"/>
              <a:gd name="connsiteX41125" fmla="*/ 2791571 w 4610101"/>
              <a:gd name="connsiteY41125" fmla="*/ 95606 h 6557032"/>
              <a:gd name="connsiteX41126" fmla="*/ 2784282 w 4610101"/>
              <a:gd name="connsiteY41126" fmla="*/ 102894 h 6557032"/>
              <a:gd name="connsiteX41127" fmla="*/ 2773349 w 4610101"/>
              <a:gd name="connsiteY41127" fmla="*/ 153915 h 6557032"/>
              <a:gd name="connsiteX41128" fmla="*/ 2767882 w 4610101"/>
              <a:gd name="connsiteY41128" fmla="*/ 141160 h 6557032"/>
              <a:gd name="connsiteX41129" fmla="*/ 2764238 w 4610101"/>
              <a:gd name="connsiteY41129" fmla="*/ 148449 h 6557032"/>
              <a:gd name="connsiteX41130" fmla="*/ 2764238 w 4610101"/>
              <a:gd name="connsiteY41130" fmla="*/ 142982 h 6557032"/>
              <a:gd name="connsiteX41131" fmla="*/ 2760594 w 4610101"/>
              <a:gd name="connsiteY41131" fmla="*/ 144804 h 6557032"/>
              <a:gd name="connsiteX41132" fmla="*/ 2767882 w 4610101"/>
              <a:gd name="connsiteY41132" fmla="*/ 159382 h 6557032"/>
              <a:gd name="connsiteX41133" fmla="*/ 2769705 w 4610101"/>
              <a:gd name="connsiteY41133" fmla="*/ 153915 h 6557032"/>
              <a:gd name="connsiteX41134" fmla="*/ 2776993 w 4610101"/>
              <a:gd name="connsiteY41134" fmla="*/ 177603 h 6557032"/>
              <a:gd name="connsiteX41135" fmla="*/ 2775171 w 4610101"/>
              <a:gd name="connsiteY41135" fmla="*/ 175781 h 6557032"/>
              <a:gd name="connsiteX41136" fmla="*/ 2767882 w 4610101"/>
              <a:gd name="connsiteY41136" fmla="*/ 179426 h 6557032"/>
              <a:gd name="connsiteX41137" fmla="*/ 2775171 w 4610101"/>
              <a:gd name="connsiteY41137" fmla="*/ 188536 h 6557032"/>
              <a:gd name="connsiteX41138" fmla="*/ 2769705 w 4610101"/>
              <a:gd name="connsiteY41138" fmla="*/ 195825 h 6557032"/>
              <a:gd name="connsiteX41139" fmla="*/ 2776993 w 4610101"/>
              <a:gd name="connsiteY41139" fmla="*/ 217691 h 6557032"/>
              <a:gd name="connsiteX41140" fmla="*/ 2770367 w 4610101"/>
              <a:gd name="connsiteY41140" fmla="*/ 210256 h 6557032"/>
              <a:gd name="connsiteX41141" fmla="*/ 2767882 w 4610101"/>
              <a:gd name="connsiteY41141" fmla="*/ 214066 h 6557032"/>
              <a:gd name="connsiteX41142" fmla="*/ 2766060 w 4610101"/>
              <a:gd name="connsiteY41142" fmla="*/ 214066 h 6557032"/>
              <a:gd name="connsiteX41143" fmla="*/ 2767655 w 4610101"/>
              <a:gd name="connsiteY41143" fmla="*/ 207460 h 6557032"/>
              <a:gd name="connsiteX41144" fmla="*/ 2767662 w 4610101"/>
              <a:gd name="connsiteY41144" fmla="*/ 207221 h 6557032"/>
              <a:gd name="connsiteX41145" fmla="*/ 2767655 w 4610101"/>
              <a:gd name="connsiteY41145" fmla="*/ 207213 h 6557032"/>
              <a:gd name="connsiteX41146" fmla="*/ 2756950 w 4610101"/>
              <a:gd name="connsiteY41146" fmla="*/ 194003 h 6557032"/>
              <a:gd name="connsiteX41147" fmla="*/ 2747839 w 4610101"/>
              <a:gd name="connsiteY41147" fmla="*/ 195825 h 6557032"/>
              <a:gd name="connsiteX41148" fmla="*/ 2746016 w 4610101"/>
              <a:gd name="connsiteY41148" fmla="*/ 190359 h 6557032"/>
              <a:gd name="connsiteX41149" fmla="*/ 2750572 w 4610101"/>
              <a:gd name="connsiteY41149" fmla="*/ 187853 h 6557032"/>
              <a:gd name="connsiteX41150" fmla="*/ 2749914 w 4610101"/>
              <a:gd name="connsiteY41150" fmla="*/ 183082 h 6557032"/>
              <a:gd name="connsiteX41151" fmla="*/ 2751483 w 4610101"/>
              <a:gd name="connsiteY41151" fmla="*/ 180337 h 6557032"/>
              <a:gd name="connsiteX41152" fmla="*/ 2751483 w 4610101"/>
              <a:gd name="connsiteY41152" fmla="*/ 172137 h 6557032"/>
              <a:gd name="connsiteX41153" fmla="*/ 2747839 w 4610101"/>
              <a:gd name="connsiteY41153" fmla="*/ 179426 h 6557032"/>
              <a:gd name="connsiteX41154" fmla="*/ 2747839 w 4610101"/>
              <a:gd name="connsiteY41154" fmla="*/ 168493 h 6557032"/>
              <a:gd name="connsiteX41155" fmla="*/ 2742600 w 4610101"/>
              <a:gd name="connsiteY41155" fmla="*/ 177375 h 6557032"/>
              <a:gd name="connsiteX41156" fmla="*/ 2743562 w 4610101"/>
              <a:gd name="connsiteY41156" fmla="*/ 185211 h 6557032"/>
              <a:gd name="connsiteX41157" fmla="*/ 2740550 w 4610101"/>
              <a:gd name="connsiteY41157" fmla="*/ 187169 h 6557032"/>
              <a:gd name="connsiteX41158" fmla="*/ 2736906 w 4610101"/>
              <a:gd name="connsiteY41158" fmla="*/ 195825 h 6557032"/>
              <a:gd name="connsiteX41159" fmla="*/ 2742372 w 4610101"/>
              <a:gd name="connsiteY41159" fmla="*/ 195825 h 6557032"/>
              <a:gd name="connsiteX41160" fmla="*/ 2733261 w 4610101"/>
              <a:gd name="connsiteY41160" fmla="*/ 204936 h 6557032"/>
              <a:gd name="connsiteX41161" fmla="*/ 2735084 w 4610101"/>
              <a:gd name="connsiteY41161" fmla="*/ 199469 h 6557032"/>
              <a:gd name="connsiteX41162" fmla="*/ 2715040 w 4610101"/>
              <a:gd name="connsiteY41162" fmla="*/ 214047 h 6557032"/>
              <a:gd name="connsiteX41163" fmla="*/ 2713217 w 4610101"/>
              <a:gd name="connsiteY41163" fmla="*/ 210403 h 6557032"/>
              <a:gd name="connsiteX41164" fmla="*/ 2700462 w 4610101"/>
              <a:gd name="connsiteY41164" fmla="*/ 212225 h 6557032"/>
              <a:gd name="connsiteX41165" fmla="*/ 2689529 w 4610101"/>
              <a:gd name="connsiteY41165" fmla="*/ 219513 h 6557032"/>
              <a:gd name="connsiteX41166" fmla="*/ 2731439 w 4610101"/>
              <a:gd name="connsiteY41166" fmla="*/ 265068 h 6557032"/>
              <a:gd name="connsiteX41167" fmla="*/ 2731439 w 4610101"/>
              <a:gd name="connsiteY41167" fmla="*/ 272356 h 6557032"/>
              <a:gd name="connsiteX41168" fmla="*/ 2724150 w 4610101"/>
              <a:gd name="connsiteY41168" fmla="*/ 272356 h 6557032"/>
              <a:gd name="connsiteX41169" fmla="*/ 2722328 w 4610101"/>
              <a:gd name="connsiteY41169" fmla="*/ 266890 h 6557032"/>
              <a:gd name="connsiteX41170" fmla="*/ 2724150 w 4610101"/>
              <a:gd name="connsiteY41170" fmla="*/ 279645 h 6557032"/>
              <a:gd name="connsiteX41171" fmla="*/ 2725973 w 4610101"/>
              <a:gd name="connsiteY41171" fmla="*/ 274179 h 6557032"/>
              <a:gd name="connsiteX41172" fmla="*/ 2729617 w 4610101"/>
              <a:gd name="connsiteY41172" fmla="*/ 281467 h 6557032"/>
              <a:gd name="connsiteX41173" fmla="*/ 2756950 w 4610101"/>
              <a:gd name="connsiteY41173" fmla="*/ 276001 h 6557032"/>
              <a:gd name="connsiteX41174" fmla="*/ 2756950 w 4610101"/>
              <a:gd name="connsiteY41174" fmla="*/ 268712 h 6557032"/>
              <a:gd name="connsiteX41175" fmla="*/ 2760594 w 4610101"/>
              <a:gd name="connsiteY41175" fmla="*/ 270534 h 6557032"/>
              <a:gd name="connsiteX41176" fmla="*/ 2760594 w 4610101"/>
              <a:gd name="connsiteY41176" fmla="*/ 263246 h 6557032"/>
              <a:gd name="connsiteX41177" fmla="*/ 2744194 w 4610101"/>
              <a:gd name="connsiteY41177" fmla="*/ 263246 h 6557032"/>
              <a:gd name="connsiteX41178" fmla="*/ 2778816 w 4610101"/>
              <a:gd name="connsiteY41178" fmla="*/ 261423 h 6557032"/>
              <a:gd name="connsiteX41179" fmla="*/ 2782460 w 4610101"/>
              <a:gd name="connsiteY41179" fmla="*/ 259601 h 6557032"/>
              <a:gd name="connsiteX41180" fmla="*/ 2776993 w 4610101"/>
              <a:gd name="connsiteY41180" fmla="*/ 270534 h 6557032"/>
              <a:gd name="connsiteX41181" fmla="*/ 2775171 w 4610101"/>
              <a:gd name="connsiteY41181" fmla="*/ 265068 h 6557032"/>
              <a:gd name="connsiteX41182" fmla="*/ 2771527 w 4610101"/>
              <a:gd name="connsiteY41182" fmla="*/ 266890 h 6557032"/>
              <a:gd name="connsiteX41183" fmla="*/ 2771527 w 4610101"/>
              <a:gd name="connsiteY41183" fmla="*/ 277823 h 6557032"/>
              <a:gd name="connsiteX41184" fmla="*/ 2766060 w 4610101"/>
              <a:gd name="connsiteY41184" fmla="*/ 274179 h 6557032"/>
              <a:gd name="connsiteX41185" fmla="*/ 2767882 w 4610101"/>
              <a:gd name="connsiteY41185" fmla="*/ 285112 h 6557032"/>
              <a:gd name="connsiteX41186" fmla="*/ 2762416 w 4610101"/>
              <a:gd name="connsiteY41186" fmla="*/ 296045 h 6557032"/>
              <a:gd name="connsiteX41187" fmla="*/ 2762416 w 4610101"/>
              <a:gd name="connsiteY41187" fmla="*/ 292400 h 6557032"/>
              <a:gd name="connsiteX41188" fmla="*/ 2758772 w 4610101"/>
              <a:gd name="connsiteY41188" fmla="*/ 292400 h 6557032"/>
              <a:gd name="connsiteX41189" fmla="*/ 2758772 w 4610101"/>
              <a:gd name="connsiteY41189" fmla="*/ 276001 h 6557032"/>
              <a:gd name="connsiteX41190" fmla="*/ 2753305 w 4610101"/>
              <a:gd name="connsiteY41190" fmla="*/ 294223 h 6557032"/>
              <a:gd name="connsiteX41191" fmla="*/ 2755127 w 4610101"/>
              <a:gd name="connsiteY41191" fmla="*/ 294223 h 6557032"/>
              <a:gd name="connsiteX41192" fmla="*/ 2751483 w 4610101"/>
              <a:gd name="connsiteY41192" fmla="*/ 303333 h 6557032"/>
              <a:gd name="connsiteX41193" fmla="*/ 2749661 w 4610101"/>
              <a:gd name="connsiteY41193" fmla="*/ 297867 h 6557032"/>
              <a:gd name="connsiteX41194" fmla="*/ 2746016 w 4610101"/>
              <a:gd name="connsiteY41194" fmla="*/ 299689 h 6557032"/>
              <a:gd name="connsiteX41195" fmla="*/ 2746016 w 4610101"/>
              <a:gd name="connsiteY41195" fmla="*/ 283289 h 6557032"/>
              <a:gd name="connsiteX41196" fmla="*/ 2740550 w 4610101"/>
              <a:gd name="connsiteY41196" fmla="*/ 288756 h 6557032"/>
              <a:gd name="connsiteX41197" fmla="*/ 2711395 w 4610101"/>
              <a:gd name="connsiteY41197" fmla="*/ 299689 h 6557032"/>
              <a:gd name="connsiteX41198" fmla="*/ 2706612 w 4610101"/>
              <a:gd name="connsiteY41198" fmla="*/ 286705 h 6557032"/>
              <a:gd name="connsiteX41199" fmla="*/ 2696500 w 4610101"/>
              <a:gd name="connsiteY41199" fmla="*/ 278972 h 6557032"/>
              <a:gd name="connsiteX41200" fmla="*/ 2700462 w 4610101"/>
              <a:gd name="connsiteY41200" fmla="*/ 276001 h 6557032"/>
              <a:gd name="connsiteX41201" fmla="*/ 2693174 w 4610101"/>
              <a:gd name="connsiteY41201" fmla="*/ 277823 h 6557032"/>
              <a:gd name="connsiteX41202" fmla="*/ 2698640 w 4610101"/>
              <a:gd name="connsiteY41202" fmla="*/ 265068 h 6557032"/>
              <a:gd name="connsiteX41203" fmla="*/ 2704106 w 4610101"/>
              <a:gd name="connsiteY41203" fmla="*/ 272356 h 6557032"/>
              <a:gd name="connsiteX41204" fmla="*/ 2705929 w 4610101"/>
              <a:gd name="connsiteY41204" fmla="*/ 261423 h 6557032"/>
              <a:gd name="connsiteX41205" fmla="*/ 2694996 w 4610101"/>
              <a:gd name="connsiteY41205" fmla="*/ 259601 h 6557032"/>
              <a:gd name="connsiteX41206" fmla="*/ 2691253 w 4610101"/>
              <a:gd name="connsiteY41206" fmla="*/ 268023 h 6557032"/>
              <a:gd name="connsiteX41207" fmla="*/ 2690213 w 4610101"/>
              <a:gd name="connsiteY41207" fmla="*/ 260740 h 6557032"/>
              <a:gd name="connsiteX41208" fmla="*/ 2682240 w 4610101"/>
              <a:gd name="connsiteY41208" fmla="*/ 254135 h 6557032"/>
              <a:gd name="connsiteX41209" fmla="*/ 2681764 w 4610101"/>
              <a:gd name="connsiteY41209" fmla="*/ 255469 h 6557032"/>
              <a:gd name="connsiteX41210" fmla="*/ 2661741 w 4610101"/>
              <a:gd name="connsiteY41210" fmla="*/ 235001 h 6557032"/>
              <a:gd name="connsiteX41211" fmla="*/ 2641705 w 4610101"/>
              <a:gd name="connsiteY41211" fmla="*/ 231821 h 6557032"/>
              <a:gd name="connsiteX41212" fmla="*/ 2640330 w 4610101"/>
              <a:gd name="connsiteY41212" fmla="*/ 230446 h 6557032"/>
              <a:gd name="connsiteX41213" fmla="*/ 2640330 w 4610101"/>
              <a:gd name="connsiteY41213" fmla="*/ 231603 h 6557032"/>
              <a:gd name="connsiteX41214" fmla="*/ 2633042 w 4610101"/>
              <a:gd name="connsiteY41214" fmla="*/ 230446 h 6557032"/>
              <a:gd name="connsiteX41215" fmla="*/ 2640330 w 4610101"/>
              <a:gd name="connsiteY41215" fmla="*/ 235913 h 6557032"/>
              <a:gd name="connsiteX41216" fmla="*/ 2640331 w 4610101"/>
              <a:gd name="connsiteY41216" fmla="*/ 233179 h 6557032"/>
              <a:gd name="connsiteX41217" fmla="*/ 2640330 w 4610101"/>
              <a:gd name="connsiteY41217" fmla="*/ 231603 h 6557032"/>
              <a:gd name="connsiteX41218" fmla="*/ 2641705 w 4610101"/>
              <a:gd name="connsiteY41218" fmla="*/ 231821 h 6557032"/>
              <a:gd name="connsiteX41219" fmla="*/ 2643975 w 4610101"/>
              <a:gd name="connsiteY41219" fmla="*/ 234091 h 6557032"/>
              <a:gd name="connsiteX41220" fmla="*/ 2636686 w 4610101"/>
              <a:gd name="connsiteY41220" fmla="*/ 245024 h 6557032"/>
              <a:gd name="connsiteX41221" fmla="*/ 2640330 w 4610101"/>
              <a:gd name="connsiteY41221" fmla="*/ 243202 h 6557032"/>
              <a:gd name="connsiteX41222" fmla="*/ 2634864 w 4610101"/>
              <a:gd name="connsiteY41222" fmla="*/ 252313 h 6557032"/>
              <a:gd name="connsiteX41223" fmla="*/ 2629397 w 4610101"/>
              <a:gd name="connsiteY41223" fmla="*/ 248668 h 6557032"/>
              <a:gd name="connsiteX41224" fmla="*/ 2623931 w 4610101"/>
              <a:gd name="connsiteY41224" fmla="*/ 257779 h 6557032"/>
              <a:gd name="connsiteX41225" fmla="*/ 2623931 w 4610101"/>
              <a:gd name="connsiteY41225" fmla="*/ 248668 h 6557032"/>
              <a:gd name="connsiteX41226" fmla="*/ 2618464 w 4610101"/>
              <a:gd name="connsiteY41226" fmla="*/ 250490 h 6557032"/>
              <a:gd name="connsiteX41227" fmla="*/ 2616158 w 4610101"/>
              <a:gd name="connsiteY41227" fmla="*/ 278164 h 6557032"/>
              <a:gd name="connsiteX41228" fmla="*/ 2622898 w 4610101"/>
              <a:gd name="connsiteY41228" fmla="*/ 280114 h 6557032"/>
              <a:gd name="connsiteX41229" fmla="*/ 2612087 w 4610101"/>
              <a:gd name="connsiteY41229" fmla="*/ 281922 h 6557032"/>
              <a:gd name="connsiteX41230" fmla="*/ 2589310 w 4610101"/>
              <a:gd name="connsiteY41230" fmla="*/ 301511 h 6557032"/>
              <a:gd name="connsiteX41231" fmla="*/ 2582021 w 4610101"/>
              <a:gd name="connsiteY41231" fmla="*/ 301511 h 6557032"/>
              <a:gd name="connsiteX41232" fmla="*/ 2585665 w 4610101"/>
              <a:gd name="connsiteY41232" fmla="*/ 328844 h 6557032"/>
              <a:gd name="connsiteX41233" fmla="*/ 2592954 w 4610101"/>
              <a:gd name="connsiteY41233" fmla="*/ 327022 h 6557032"/>
              <a:gd name="connsiteX41234" fmla="*/ 2585665 w 4610101"/>
              <a:gd name="connsiteY41234" fmla="*/ 336133 h 6557032"/>
              <a:gd name="connsiteX41235" fmla="*/ 2578832 w 4610101"/>
              <a:gd name="connsiteY41235" fmla="*/ 323604 h 6557032"/>
              <a:gd name="connsiteX41236" fmla="*/ 2572341 w 4610101"/>
              <a:gd name="connsiteY41236" fmla="*/ 316031 h 6557032"/>
              <a:gd name="connsiteX41237" fmla="*/ 2572910 w 4610101"/>
              <a:gd name="connsiteY41237" fmla="*/ 315177 h 6557032"/>
              <a:gd name="connsiteX41238" fmla="*/ 2569266 w 4610101"/>
              <a:gd name="connsiteY41238" fmla="*/ 312444 h 6557032"/>
              <a:gd name="connsiteX41239" fmla="*/ 2572341 w 4610101"/>
              <a:gd name="connsiteY41239" fmla="*/ 316031 h 6557032"/>
              <a:gd name="connsiteX41240" fmla="*/ 2571088 w 4610101"/>
              <a:gd name="connsiteY41240" fmla="*/ 317911 h 6557032"/>
              <a:gd name="connsiteX41241" fmla="*/ 2567443 w 4610101"/>
              <a:gd name="connsiteY41241" fmla="*/ 316089 h 6557032"/>
              <a:gd name="connsiteX41242" fmla="*/ 2569266 w 4610101"/>
              <a:gd name="connsiteY41242" fmla="*/ 323377 h 6557032"/>
              <a:gd name="connsiteX41243" fmla="*/ 2571088 w 4610101"/>
              <a:gd name="connsiteY41243" fmla="*/ 321555 h 6557032"/>
              <a:gd name="connsiteX41244" fmla="*/ 2565621 w 4610101"/>
              <a:gd name="connsiteY41244" fmla="*/ 354354 h 6557032"/>
              <a:gd name="connsiteX41245" fmla="*/ 2563799 w 4610101"/>
              <a:gd name="connsiteY41245" fmla="*/ 352532 h 6557032"/>
              <a:gd name="connsiteX41246" fmla="*/ 2554688 w 4610101"/>
              <a:gd name="connsiteY41246" fmla="*/ 372576 h 6557032"/>
              <a:gd name="connsiteX41247" fmla="*/ 2552866 w 4610101"/>
              <a:gd name="connsiteY41247" fmla="*/ 370754 h 6557032"/>
              <a:gd name="connsiteX41248" fmla="*/ 2549222 w 4610101"/>
              <a:gd name="connsiteY41248" fmla="*/ 372576 h 6557032"/>
              <a:gd name="connsiteX41249" fmla="*/ 2551044 w 4610101"/>
              <a:gd name="connsiteY41249" fmla="*/ 354354 h 6557032"/>
              <a:gd name="connsiteX41250" fmla="*/ 2554688 w 4610101"/>
              <a:gd name="connsiteY41250" fmla="*/ 356176 h 6557032"/>
              <a:gd name="connsiteX41251" fmla="*/ 2551955 w 4610101"/>
              <a:gd name="connsiteY41251" fmla="*/ 348888 h 6557032"/>
              <a:gd name="connsiteX41252" fmla="*/ 2551011 w 4610101"/>
              <a:gd name="connsiteY41252" fmla="*/ 348678 h 6557032"/>
              <a:gd name="connsiteX41253" fmla="*/ 2549678 w 4610101"/>
              <a:gd name="connsiteY41253" fmla="*/ 340232 h 6557032"/>
              <a:gd name="connsiteX41254" fmla="*/ 2551044 w 4610101"/>
              <a:gd name="connsiteY41254" fmla="*/ 328844 h 6557032"/>
              <a:gd name="connsiteX41255" fmla="*/ 2545577 w 4610101"/>
              <a:gd name="connsiteY41255" fmla="*/ 330666 h 6557032"/>
              <a:gd name="connsiteX41256" fmla="*/ 2549222 w 4610101"/>
              <a:gd name="connsiteY41256" fmla="*/ 327022 h 6557032"/>
              <a:gd name="connsiteX41257" fmla="*/ 2546489 w 4610101"/>
              <a:gd name="connsiteY41257" fmla="*/ 326793 h 6557032"/>
              <a:gd name="connsiteX41258" fmla="*/ 2544392 w 4610101"/>
              <a:gd name="connsiteY41258" fmla="*/ 325570 h 6557032"/>
              <a:gd name="connsiteX41259" fmla="*/ 2547400 w 4610101"/>
              <a:gd name="connsiteY41259" fmla="*/ 305155 h 6557032"/>
              <a:gd name="connsiteX41260" fmla="*/ 2536466 w 4610101"/>
              <a:gd name="connsiteY41260" fmla="*/ 303333 h 6557032"/>
              <a:gd name="connsiteX41261" fmla="*/ 2534644 w 4610101"/>
              <a:gd name="connsiteY41261" fmla="*/ 312444 h 6557032"/>
              <a:gd name="connsiteX41262" fmla="*/ 2531000 w 4610101"/>
              <a:gd name="connsiteY41262" fmla="*/ 301511 h 6557032"/>
              <a:gd name="connsiteX41263" fmla="*/ 2523711 w 4610101"/>
              <a:gd name="connsiteY41263" fmla="*/ 308800 h 6557032"/>
              <a:gd name="connsiteX41264" fmla="*/ 2532822 w 4610101"/>
              <a:gd name="connsiteY41264" fmla="*/ 323377 h 6557032"/>
              <a:gd name="connsiteX41265" fmla="*/ 2534644 w 4610101"/>
              <a:gd name="connsiteY41265" fmla="*/ 314266 h 6557032"/>
              <a:gd name="connsiteX41266" fmla="*/ 2523711 w 4610101"/>
              <a:gd name="connsiteY41266" fmla="*/ 337954 h 6557032"/>
              <a:gd name="connsiteX41267" fmla="*/ 2534644 w 4610101"/>
              <a:gd name="connsiteY41267" fmla="*/ 341598 h 6557032"/>
              <a:gd name="connsiteX41268" fmla="*/ 2532822 w 4610101"/>
              <a:gd name="connsiteY41268" fmla="*/ 348888 h 6557032"/>
              <a:gd name="connsiteX41269" fmla="*/ 2538289 w 4610101"/>
              <a:gd name="connsiteY41269" fmla="*/ 350710 h 6557032"/>
              <a:gd name="connsiteX41270" fmla="*/ 2531000 w 4610101"/>
              <a:gd name="connsiteY41270" fmla="*/ 361642 h 6557032"/>
              <a:gd name="connsiteX41271" fmla="*/ 2525534 w 4610101"/>
              <a:gd name="connsiteY41271" fmla="*/ 350710 h 6557032"/>
              <a:gd name="connsiteX41272" fmla="*/ 2518245 w 4610101"/>
              <a:gd name="connsiteY41272" fmla="*/ 354354 h 6557032"/>
              <a:gd name="connsiteX41273" fmla="*/ 2516423 w 4610101"/>
              <a:gd name="connsiteY41273" fmla="*/ 365059 h 6557032"/>
              <a:gd name="connsiteX41274" fmla="*/ 2515227 w 4610101"/>
              <a:gd name="connsiteY41274" fmla="*/ 371185 h 6557032"/>
              <a:gd name="connsiteX41275" fmla="*/ 2515056 w 4610101"/>
              <a:gd name="connsiteY41275" fmla="*/ 371209 h 6557032"/>
              <a:gd name="connsiteX41276" fmla="*/ 2514600 w 4610101"/>
              <a:gd name="connsiteY41276" fmla="*/ 374397 h 6557032"/>
              <a:gd name="connsiteX41277" fmla="*/ 2515227 w 4610101"/>
              <a:gd name="connsiteY41277" fmla="*/ 371185 h 6557032"/>
              <a:gd name="connsiteX41278" fmla="*/ 2518245 w 4610101"/>
              <a:gd name="connsiteY41278" fmla="*/ 370754 h 6557032"/>
              <a:gd name="connsiteX41279" fmla="*/ 2523711 w 4610101"/>
              <a:gd name="connsiteY41279" fmla="*/ 396264 h 6557032"/>
              <a:gd name="connsiteX41280" fmla="*/ 2525534 w 4610101"/>
              <a:gd name="connsiteY41280" fmla="*/ 387152 h 6557032"/>
              <a:gd name="connsiteX41281" fmla="*/ 2523711 w 4610101"/>
              <a:gd name="connsiteY41281" fmla="*/ 390797 h 6557032"/>
              <a:gd name="connsiteX41282" fmla="*/ 2523711 w 4610101"/>
              <a:gd name="connsiteY41282" fmla="*/ 370754 h 6557032"/>
              <a:gd name="connsiteX41283" fmla="*/ 2531000 w 4610101"/>
              <a:gd name="connsiteY41283" fmla="*/ 388976 h 6557032"/>
              <a:gd name="connsiteX41284" fmla="*/ 2529178 w 4610101"/>
              <a:gd name="connsiteY41284" fmla="*/ 368932 h 6557032"/>
              <a:gd name="connsiteX41285" fmla="*/ 2534644 w 4610101"/>
              <a:gd name="connsiteY41285" fmla="*/ 374397 h 6557032"/>
              <a:gd name="connsiteX41286" fmla="*/ 2538289 w 4610101"/>
              <a:gd name="connsiteY41286" fmla="*/ 359821 h 6557032"/>
              <a:gd name="connsiteX41287" fmla="*/ 2543755 w 4610101"/>
              <a:gd name="connsiteY41287" fmla="*/ 361642 h 6557032"/>
              <a:gd name="connsiteX41288" fmla="*/ 2536466 w 4610101"/>
              <a:gd name="connsiteY41288" fmla="*/ 368932 h 6557032"/>
              <a:gd name="connsiteX41289" fmla="*/ 2534644 w 4610101"/>
              <a:gd name="connsiteY41289" fmla="*/ 365287 h 6557032"/>
              <a:gd name="connsiteX41290" fmla="*/ 2538289 w 4610101"/>
              <a:gd name="connsiteY41290" fmla="*/ 376220 h 6557032"/>
              <a:gd name="connsiteX41291" fmla="*/ 2565621 w 4610101"/>
              <a:gd name="connsiteY41291" fmla="*/ 372576 h 6557032"/>
              <a:gd name="connsiteX41292" fmla="*/ 2560155 w 4610101"/>
              <a:gd name="connsiteY41292" fmla="*/ 372576 h 6557032"/>
              <a:gd name="connsiteX41293" fmla="*/ 2561977 w 4610101"/>
              <a:gd name="connsiteY41293" fmla="*/ 363465 h 6557032"/>
              <a:gd name="connsiteX41294" fmla="*/ 2572910 w 4610101"/>
              <a:gd name="connsiteY41294" fmla="*/ 376220 h 6557032"/>
              <a:gd name="connsiteX41295" fmla="*/ 2574732 w 4610101"/>
              <a:gd name="connsiteY41295" fmla="*/ 385331 h 6557032"/>
              <a:gd name="connsiteX41296" fmla="*/ 2580199 w 4610101"/>
              <a:gd name="connsiteY41296" fmla="*/ 367109 h 6557032"/>
              <a:gd name="connsiteX41297" fmla="*/ 2576554 w 4610101"/>
              <a:gd name="connsiteY41297" fmla="*/ 368932 h 6557032"/>
              <a:gd name="connsiteX41298" fmla="*/ 2578377 w 4610101"/>
              <a:gd name="connsiteY41298" fmla="*/ 357998 h 6557032"/>
              <a:gd name="connsiteX41299" fmla="*/ 2600243 w 4610101"/>
              <a:gd name="connsiteY41299" fmla="*/ 343421 h 6557032"/>
              <a:gd name="connsiteX41300" fmla="*/ 2594776 w 4610101"/>
              <a:gd name="connsiteY41300" fmla="*/ 356176 h 6557032"/>
              <a:gd name="connsiteX41301" fmla="*/ 2600243 w 4610101"/>
              <a:gd name="connsiteY41301" fmla="*/ 356176 h 6557032"/>
              <a:gd name="connsiteX41302" fmla="*/ 2607531 w 4610101"/>
              <a:gd name="connsiteY41302" fmla="*/ 341598 h 6557032"/>
              <a:gd name="connsiteX41303" fmla="*/ 2623931 w 4610101"/>
              <a:gd name="connsiteY41303" fmla="*/ 370754 h 6557032"/>
              <a:gd name="connsiteX41304" fmla="*/ 2633042 w 4610101"/>
              <a:gd name="connsiteY41304" fmla="*/ 357998 h 6557032"/>
              <a:gd name="connsiteX41305" fmla="*/ 2634864 w 4610101"/>
              <a:gd name="connsiteY41305" fmla="*/ 385331 h 6557032"/>
              <a:gd name="connsiteX41306" fmla="*/ 2636686 w 4610101"/>
              <a:gd name="connsiteY41306" fmla="*/ 372576 h 6557032"/>
              <a:gd name="connsiteX41307" fmla="*/ 2643975 w 4610101"/>
              <a:gd name="connsiteY41307" fmla="*/ 385331 h 6557032"/>
              <a:gd name="connsiteX41308" fmla="*/ 2645797 w 4610101"/>
              <a:gd name="connsiteY41308" fmla="*/ 374397 h 6557032"/>
              <a:gd name="connsiteX41309" fmla="*/ 2653086 w 4610101"/>
              <a:gd name="connsiteY41309" fmla="*/ 385331 h 6557032"/>
              <a:gd name="connsiteX41310" fmla="*/ 2654908 w 4610101"/>
              <a:gd name="connsiteY41310" fmla="*/ 356176 h 6557032"/>
              <a:gd name="connsiteX41311" fmla="*/ 2665841 w 4610101"/>
              <a:gd name="connsiteY41311" fmla="*/ 399908 h 6557032"/>
              <a:gd name="connsiteX41312" fmla="*/ 2651263 w 4610101"/>
              <a:gd name="connsiteY41312" fmla="*/ 388976 h 6557032"/>
              <a:gd name="connsiteX41313" fmla="*/ 2649441 w 4610101"/>
              <a:gd name="connsiteY41313" fmla="*/ 398085 h 6557032"/>
              <a:gd name="connsiteX41314" fmla="*/ 2645797 w 4610101"/>
              <a:gd name="connsiteY41314" fmla="*/ 396264 h 6557032"/>
              <a:gd name="connsiteX41315" fmla="*/ 2645797 w 4610101"/>
              <a:gd name="connsiteY41315" fmla="*/ 403552 h 6557032"/>
              <a:gd name="connsiteX41316" fmla="*/ 2642153 w 4610101"/>
              <a:gd name="connsiteY41316" fmla="*/ 392620 h 6557032"/>
              <a:gd name="connsiteX41317" fmla="*/ 2638508 w 4610101"/>
              <a:gd name="connsiteY41317" fmla="*/ 394441 h 6557032"/>
              <a:gd name="connsiteX41318" fmla="*/ 2656730 w 4610101"/>
              <a:gd name="connsiteY41318" fmla="*/ 409019 h 6557032"/>
              <a:gd name="connsiteX41319" fmla="*/ 2658552 w 4610101"/>
              <a:gd name="connsiteY41319" fmla="*/ 423596 h 6557032"/>
              <a:gd name="connsiteX41320" fmla="*/ 2651263 w 4610101"/>
              <a:gd name="connsiteY41320" fmla="*/ 423596 h 6557032"/>
              <a:gd name="connsiteX41321" fmla="*/ 2654908 w 4610101"/>
              <a:gd name="connsiteY41321" fmla="*/ 429063 h 6557032"/>
              <a:gd name="connsiteX41322" fmla="*/ 2642153 w 4610101"/>
              <a:gd name="connsiteY41322" fmla="*/ 432707 h 6557032"/>
              <a:gd name="connsiteX41323" fmla="*/ 2653086 w 4610101"/>
              <a:gd name="connsiteY41323" fmla="*/ 434530 h 6557032"/>
              <a:gd name="connsiteX41324" fmla="*/ 2651263 w 4610101"/>
              <a:gd name="connsiteY41324" fmla="*/ 441819 h 6557032"/>
              <a:gd name="connsiteX41325" fmla="*/ 2660374 w 4610101"/>
              <a:gd name="connsiteY41325" fmla="*/ 434530 h 6557032"/>
              <a:gd name="connsiteX41326" fmla="*/ 2665841 w 4610101"/>
              <a:gd name="connsiteY41326" fmla="*/ 441819 h 6557032"/>
              <a:gd name="connsiteX41327" fmla="*/ 2662197 w 4610101"/>
              <a:gd name="connsiteY41327" fmla="*/ 427240 h 6557032"/>
              <a:gd name="connsiteX41328" fmla="*/ 2673130 w 4610101"/>
              <a:gd name="connsiteY41328" fmla="*/ 450928 h 6557032"/>
              <a:gd name="connsiteX41329" fmla="*/ 2665841 w 4610101"/>
              <a:gd name="connsiteY41329" fmla="*/ 458218 h 6557032"/>
              <a:gd name="connsiteX41330" fmla="*/ 2671307 w 4610101"/>
              <a:gd name="connsiteY41330" fmla="*/ 460039 h 6557032"/>
              <a:gd name="connsiteX41331" fmla="*/ 2676774 w 4610101"/>
              <a:gd name="connsiteY41331" fmla="*/ 427240 h 6557032"/>
              <a:gd name="connsiteX41332" fmla="*/ 2680418 w 4610101"/>
              <a:gd name="connsiteY41332" fmla="*/ 452751 h 6557032"/>
              <a:gd name="connsiteX41333" fmla="*/ 2691351 w 4610101"/>
              <a:gd name="connsiteY41333" fmla="*/ 445463 h 6557032"/>
              <a:gd name="connsiteX41334" fmla="*/ 2682240 w 4610101"/>
              <a:gd name="connsiteY41334" fmla="*/ 456395 h 6557032"/>
              <a:gd name="connsiteX41335" fmla="*/ 2689529 w 4610101"/>
              <a:gd name="connsiteY41335" fmla="*/ 467328 h 6557032"/>
              <a:gd name="connsiteX41336" fmla="*/ 2687707 w 4610101"/>
              <a:gd name="connsiteY41336" fmla="*/ 461862 h 6557032"/>
              <a:gd name="connsiteX41337" fmla="*/ 2682240 w 4610101"/>
              <a:gd name="connsiteY41337" fmla="*/ 461862 h 6557032"/>
              <a:gd name="connsiteX41338" fmla="*/ 2689529 w 4610101"/>
              <a:gd name="connsiteY41338" fmla="*/ 476439 h 6557032"/>
              <a:gd name="connsiteX41339" fmla="*/ 2700462 w 4610101"/>
              <a:gd name="connsiteY41339" fmla="*/ 469150 h 6557032"/>
              <a:gd name="connsiteX41340" fmla="*/ 2702284 w 4610101"/>
              <a:gd name="connsiteY41340" fmla="*/ 452751 h 6557032"/>
              <a:gd name="connsiteX41341" fmla="*/ 2713217 w 4610101"/>
              <a:gd name="connsiteY41341" fmla="*/ 456395 h 6557032"/>
              <a:gd name="connsiteX41342" fmla="*/ 2713217 w 4610101"/>
              <a:gd name="connsiteY41342" fmla="*/ 466144 h 6557032"/>
              <a:gd name="connsiteX41343" fmla="*/ 2711395 w 4610101"/>
              <a:gd name="connsiteY41343" fmla="*/ 467328 h 6557032"/>
              <a:gd name="connsiteX41344" fmla="*/ 2713217 w 4610101"/>
              <a:gd name="connsiteY41344" fmla="*/ 468191 h 6557032"/>
              <a:gd name="connsiteX41345" fmla="*/ 2713217 w 4610101"/>
              <a:gd name="connsiteY41345" fmla="*/ 474618 h 6557032"/>
              <a:gd name="connsiteX41346" fmla="*/ 2716862 w 4610101"/>
              <a:gd name="connsiteY41346" fmla="*/ 476439 h 6557032"/>
              <a:gd name="connsiteX41347" fmla="*/ 2718684 w 4610101"/>
              <a:gd name="connsiteY41347" fmla="*/ 472795 h 6557032"/>
              <a:gd name="connsiteX41348" fmla="*/ 2715723 w 4610101"/>
              <a:gd name="connsiteY41348" fmla="*/ 469378 h 6557032"/>
              <a:gd name="connsiteX41349" fmla="*/ 2713217 w 4610101"/>
              <a:gd name="connsiteY41349" fmla="*/ 468191 h 6557032"/>
              <a:gd name="connsiteX41350" fmla="*/ 2713217 w 4610101"/>
              <a:gd name="connsiteY41350" fmla="*/ 467328 h 6557032"/>
              <a:gd name="connsiteX41351" fmla="*/ 2713217 w 4610101"/>
              <a:gd name="connsiteY41351" fmla="*/ 466144 h 6557032"/>
              <a:gd name="connsiteX41352" fmla="*/ 2715951 w 4610101"/>
              <a:gd name="connsiteY41352" fmla="*/ 464368 h 6557032"/>
              <a:gd name="connsiteX41353" fmla="*/ 2720506 w 4610101"/>
              <a:gd name="connsiteY41353" fmla="*/ 460039 h 6557032"/>
              <a:gd name="connsiteX41354" fmla="*/ 2724150 w 4610101"/>
              <a:gd name="connsiteY41354" fmla="*/ 474618 h 6557032"/>
              <a:gd name="connsiteX41355" fmla="*/ 2729617 w 4610101"/>
              <a:gd name="connsiteY41355" fmla="*/ 472795 h 6557032"/>
              <a:gd name="connsiteX41356" fmla="*/ 2735084 w 4610101"/>
              <a:gd name="connsiteY41356" fmla="*/ 458218 h 6557032"/>
              <a:gd name="connsiteX41357" fmla="*/ 2738728 w 4610101"/>
              <a:gd name="connsiteY41357" fmla="*/ 467328 h 6557032"/>
              <a:gd name="connsiteX41358" fmla="*/ 2735084 w 4610101"/>
              <a:gd name="connsiteY41358" fmla="*/ 465506 h 6557032"/>
              <a:gd name="connsiteX41359" fmla="*/ 2746016 w 4610101"/>
              <a:gd name="connsiteY41359" fmla="*/ 476439 h 6557032"/>
              <a:gd name="connsiteX41360" fmla="*/ 2751483 w 4610101"/>
              <a:gd name="connsiteY41360" fmla="*/ 472795 h 6557032"/>
              <a:gd name="connsiteX41361" fmla="*/ 2766060 w 4610101"/>
              <a:gd name="connsiteY41361" fmla="*/ 483728 h 6557032"/>
              <a:gd name="connsiteX41362" fmla="*/ 2751483 w 4610101"/>
              <a:gd name="connsiteY41362" fmla="*/ 487373 h 6557032"/>
              <a:gd name="connsiteX41363" fmla="*/ 2747839 w 4610101"/>
              <a:gd name="connsiteY41363" fmla="*/ 478262 h 6557032"/>
              <a:gd name="connsiteX41364" fmla="*/ 2746016 w 4610101"/>
              <a:gd name="connsiteY41364" fmla="*/ 511061 h 6557032"/>
              <a:gd name="connsiteX41365" fmla="*/ 2740550 w 4610101"/>
              <a:gd name="connsiteY41365" fmla="*/ 500127 h 6557032"/>
              <a:gd name="connsiteX41366" fmla="*/ 2733261 w 4610101"/>
              <a:gd name="connsiteY41366" fmla="*/ 520171 h 6557032"/>
              <a:gd name="connsiteX41367" fmla="*/ 2729617 w 4610101"/>
              <a:gd name="connsiteY41367" fmla="*/ 518349 h 6557032"/>
              <a:gd name="connsiteX41368" fmla="*/ 2727795 w 4610101"/>
              <a:gd name="connsiteY41368" fmla="*/ 503771 h 6557032"/>
              <a:gd name="connsiteX41369" fmla="*/ 2725973 w 4610101"/>
              <a:gd name="connsiteY41369" fmla="*/ 511061 h 6557032"/>
              <a:gd name="connsiteX41370" fmla="*/ 2718684 w 4610101"/>
              <a:gd name="connsiteY41370" fmla="*/ 509238 h 6557032"/>
              <a:gd name="connsiteX41371" fmla="*/ 2722328 w 4610101"/>
              <a:gd name="connsiteY41371" fmla="*/ 523815 h 6557032"/>
              <a:gd name="connsiteX41372" fmla="*/ 2718684 w 4610101"/>
              <a:gd name="connsiteY41372" fmla="*/ 525638 h 6557032"/>
              <a:gd name="connsiteX41373" fmla="*/ 2715040 w 4610101"/>
              <a:gd name="connsiteY41373" fmla="*/ 518349 h 6557032"/>
              <a:gd name="connsiteX41374" fmla="*/ 2713217 w 4610101"/>
              <a:gd name="connsiteY41374" fmla="*/ 525638 h 6557032"/>
              <a:gd name="connsiteX41375" fmla="*/ 2711395 w 4610101"/>
              <a:gd name="connsiteY41375" fmla="*/ 523815 h 6557032"/>
              <a:gd name="connsiteX41376" fmla="*/ 2709573 w 4610101"/>
              <a:gd name="connsiteY41376" fmla="*/ 536571 h 6557032"/>
              <a:gd name="connsiteX41377" fmla="*/ 2707751 w 4610101"/>
              <a:gd name="connsiteY41377" fmla="*/ 525638 h 6557032"/>
              <a:gd name="connsiteX41378" fmla="*/ 2698640 w 4610101"/>
              <a:gd name="connsiteY41378" fmla="*/ 573014 h 6557032"/>
              <a:gd name="connsiteX41379" fmla="*/ 2696818 w 4610101"/>
              <a:gd name="connsiteY41379" fmla="*/ 571192 h 6557032"/>
              <a:gd name="connsiteX41380" fmla="*/ 2696818 w 4610101"/>
              <a:gd name="connsiteY41380" fmla="*/ 578481 h 6557032"/>
              <a:gd name="connsiteX41381" fmla="*/ 2694996 w 4610101"/>
              <a:gd name="connsiteY41381" fmla="*/ 573014 h 6557032"/>
              <a:gd name="connsiteX41382" fmla="*/ 2693174 w 4610101"/>
              <a:gd name="connsiteY41382" fmla="*/ 576658 h 6557032"/>
              <a:gd name="connsiteX41383" fmla="*/ 2691351 w 4610101"/>
              <a:gd name="connsiteY41383" fmla="*/ 563904 h 6557032"/>
              <a:gd name="connsiteX41384" fmla="*/ 2684063 w 4610101"/>
              <a:gd name="connsiteY41384" fmla="*/ 573014 h 6557032"/>
              <a:gd name="connsiteX41385" fmla="*/ 2682240 w 4610101"/>
              <a:gd name="connsiteY41385" fmla="*/ 569370 h 6557032"/>
              <a:gd name="connsiteX41386" fmla="*/ 2680646 w 4610101"/>
              <a:gd name="connsiteY41386" fmla="*/ 569598 h 6557032"/>
              <a:gd name="connsiteX41387" fmla="*/ 2680558 w 4610101"/>
              <a:gd name="connsiteY41387" fmla="*/ 570211 h 6557032"/>
              <a:gd name="connsiteX41388" fmla="*/ 2680418 w 4610101"/>
              <a:gd name="connsiteY41388" fmla="*/ 569370 h 6557032"/>
              <a:gd name="connsiteX41389" fmla="*/ 2673130 w 4610101"/>
              <a:gd name="connsiteY41389" fmla="*/ 578481 h 6557032"/>
              <a:gd name="connsiteX41390" fmla="*/ 2662197 w 4610101"/>
              <a:gd name="connsiteY41390" fmla="*/ 569370 h 6557032"/>
              <a:gd name="connsiteX41391" fmla="*/ 2662828 w 4610101"/>
              <a:gd name="connsiteY41391" fmla="*/ 566217 h 6557032"/>
              <a:gd name="connsiteX41392" fmla="*/ 2667663 w 4610101"/>
              <a:gd name="connsiteY41392" fmla="*/ 569370 h 6557032"/>
              <a:gd name="connsiteX41393" fmla="*/ 2664019 w 4610101"/>
              <a:gd name="connsiteY41393" fmla="*/ 558437 h 6557032"/>
              <a:gd name="connsiteX41394" fmla="*/ 2663651 w 4610101"/>
              <a:gd name="connsiteY41394" fmla="*/ 560175 h 6557032"/>
              <a:gd name="connsiteX41395" fmla="*/ 2658097 w 4610101"/>
              <a:gd name="connsiteY41395" fmla="*/ 558893 h 6557032"/>
              <a:gd name="connsiteX41396" fmla="*/ 2654908 w 4610101"/>
              <a:gd name="connsiteY41396" fmla="*/ 554792 h 6557032"/>
              <a:gd name="connsiteX41397" fmla="*/ 2654908 w 4610101"/>
              <a:gd name="connsiteY41397" fmla="*/ 569370 h 6557032"/>
              <a:gd name="connsiteX41398" fmla="*/ 2662197 w 4610101"/>
              <a:gd name="connsiteY41398" fmla="*/ 571192 h 6557032"/>
              <a:gd name="connsiteX41399" fmla="*/ 2660374 w 4610101"/>
              <a:gd name="connsiteY41399" fmla="*/ 576658 h 6557032"/>
              <a:gd name="connsiteX41400" fmla="*/ 2649441 w 4610101"/>
              <a:gd name="connsiteY41400" fmla="*/ 576658 h 6557032"/>
              <a:gd name="connsiteX41401" fmla="*/ 2647619 w 4610101"/>
              <a:gd name="connsiteY41401" fmla="*/ 571192 h 6557032"/>
              <a:gd name="connsiteX41402" fmla="*/ 2636686 w 4610101"/>
              <a:gd name="connsiteY41402" fmla="*/ 582125 h 6557032"/>
              <a:gd name="connsiteX41403" fmla="*/ 2631219 w 4610101"/>
              <a:gd name="connsiteY41403" fmla="*/ 578481 h 6557032"/>
              <a:gd name="connsiteX41404" fmla="*/ 2627575 w 4610101"/>
              <a:gd name="connsiteY41404" fmla="*/ 585769 h 6557032"/>
              <a:gd name="connsiteX41405" fmla="*/ 2625753 w 4610101"/>
              <a:gd name="connsiteY41405" fmla="*/ 580303 h 6557032"/>
              <a:gd name="connsiteX41406" fmla="*/ 2616642 w 4610101"/>
              <a:gd name="connsiteY41406" fmla="*/ 569370 h 6557032"/>
              <a:gd name="connsiteX41407" fmla="*/ 2615428 w 4610101"/>
              <a:gd name="connsiteY41407" fmla="*/ 568763 h 6557032"/>
              <a:gd name="connsiteX41408" fmla="*/ 2614820 w 4610101"/>
              <a:gd name="connsiteY41408" fmla="*/ 565725 h 6557032"/>
              <a:gd name="connsiteX41409" fmla="*/ 2613909 w 4610101"/>
              <a:gd name="connsiteY41409" fmla="*/ 568004 h 6557032"/>
              <a:gd name="connsiteX41410" fmla="*/ 2612998 w 4610101"/>
              <a:gd name="connsiteY41410" fmla="*/ 567548 h 6557032"/>
              <a:gd name="connsiteX41411" fmla="*/ 2613210 w 4610101"/>
              <a:gd name="connsiteY41411" fmla="*/ 569750 h 6557032"/>
              <a:gd name="connsiteX41412" fmla="*/ 2612998 w 4610101"/>
              <a:gd name="connsiteY41412" fmla="*/ 570281 h 6557032"/>
              <a:gd name="connsiteX41413" fmla="*/ 2613298 w 4610101"/>
              <a:gd name="connsiteY41413" fmla="*/ 570655 h 6557032"/>
              <a:gd name="connsiteX41414" fmla="*/ 2614820 w 4610101"/>
              <a:gd name="connsiteY41414" fmla="*/ 586453 h 6557032"/>
              <a:gd name="connsiteX41415" fmla="*/ 2627575 w 4610101"/>
              <a:gd name="connsiteY41415" fmla="*/ 603991 h 6557032"/>
              <a:gd name="connsiteX41416" fmla="*/ 2627575 w 4610101"/>
              <a:gd name="connsiteY41416" fmla="*/ 614924 h 6557032"/>
              <a:gd name="connsiteX41417" fmla="*/ 2631219 w 4610101"/>
              <a:gd name="connsiteY41417" fmla="*/ 613103 h 6557032"/>
              <a:gd name="connsiteX41418" fmla="*/ 2627575 w 4610101"/>
              <a:gd name="connsiteY41418" fmla="*/ 624035 h 6557032"/>
              <a:gd name="connsiteX41419" fmla="*/ 2616642 w 4610101"/>
              <a:gd name="connsiteY41419" fmla="*/ 614924 h 6557032"/>
              <a:gd name="connsiteX41420" fmla="*/ 2620287 w 4610101"/>
              <a:gd name="connsiteY41420" fmla="*/ 629501 h 6557032"/>
              <a:gd name="connsiteX41421" fmla="*/ 2618464 w 4610101"/>
              <a:gd name="connsiteY41421" fmla="*/ 625857 h 6557032"/>
              <a:gd name="connsiteX41422" fmla="*/ 2616642 w 4610101"/>
              <a:gd name="connsiteY41422" fmla="*/ 627679 h 6557032"/>
              <a:gd name="connsiteX41423" fmla="*/ 2634864 w 4610101"/>
              <a:gd name="connsiteY41423" fmla="*/ 634968 h 6557032"/>
              <a:gd name="connsiteX41424" fmla="*/ 2636686 w 4610101"/>
              <a:gd name="connsiteY41424" fmla="*/ 627679 h 6557032"/>
              <a:gd name="connsiteX41425" fmla="*/ 2660374 w 4610101"/>
              <a:gd name="connsiteY41425" fmla="*/ 629501 h 6557032"/>
              <a:gd name="connsiteX41426" fmla="*/ 2667663 w 4610101"/>
              <a:gd name="connsiteY41426" fmla="*/ 624035 h 6557032"/>
              <a:gd name="connsiteX41427" fmla="*/ 2671307 w 4610101"/>
              <a:gd name="connsiteY41427" fmla="*/ 631324 h 6557032"/>
              <a:gd name="connsiteX41428" fmla="*/ 2660374 w 4610101"/>
              <a:gd name="connsiteY41428" fmla="*/ 638612 h 6557032"/>
              <a:gd name="connsiteX41429" fmla="*/ 2653086 w 4610101"/>
              <a:gd name="connsiteY41429" fmla="*/ 634968 h 6557032"/>
              <a:gd name="connsiteX41430" fmla="*/ 2654908 w 4610101"/>
              <a:gd name="connsiteY41430" fmla="*/ 647723 h 6557032"/>
              <a:gd name="connsiteX41431" fmla="*/ 2645797 w 4610101"/>
              <a:gd name="connsiteY41431" fmla="*/ 636790 h 6557032"/>
              <a:gd name="connsiteX41432" fmla="*/ 2648360 w 4610101"/>
              <a:gd name="connsiteY41432" fmla="*/ 645503 h 6557032"/>
              <a:gd name="connsiteX41433" fmla="*/ 2647798 w 4610101"/>
              <a:gd name="connsiteY41433" fmla="*/ 648569 h 6557032"/>
              <a:gd name="connsiteX41434" fmla="*/ 2645797 w 4610101"/>
              <a:gd name="connsiteY41434" fmla="*/ 645901 h 6557032"/>
              <a:gd name="connsiteX41435" fmla="*/ 2647619 w 4610101"/>
              <a:gd name="connsiteY41435" fmla="*/ 649545 h 6557032"/>
              <a:gd name="connsiteX41436" fmla="*/ 2647798 w 4610101"/>
              <a:gd name="connsiteY41436" fmla="*/ 648569 h 6557032"/>
              <a:gd name="connsiteX41437" fmla="*/ 2656730 w 4610101"/>
              <a:gd name="connsiteY41437" fmla="*/ 660478 h 6557032"/>
              <a:gd name="connsiteX41438" fmla="*/ 2658552 w 4610101"/>
              <a:gd name="connsiteY41438" fmla="*/ 653190 h 6557032"/>
              <a:gd name="connsiteX41439" fmla="*/ 2660374 w 4610101"/>
              <a:gd name="connsiteY41439" fmla="*/ 665945 h 6557032"/>
              <a:gd name="connsiteX41440" fmla="*/ 2642153 w 4610101"/>
              <a:gd name="connsiteY41440" fmla="*/ 656834 h 6557032"/>
              <a:gd name="connsiteX41441" fmla="*/ 2640330 w 4610101"/>
              <a:gd name="connsiteY41441" fmla="*/ 667767 h 6557032"/>
              <a:gd name="connsiteX41442" fmla="*/ 2638508 w 4610101"/>
              <a:gd name="connsiteY41442" fmla="*/ 665945 h 6557032"/>
              <a:gd name="connsiteX41443" fmla="*/ 2656730 w 4610101"/>
              <a:gd name="connsiteY41443" fmla="*/ 702388 h 6557032"/>
              <a:gd name="connsiteX41444" fmla="*/ 2656730 w 4610101"/>
              <a:gd name="connsiteY41444" fmla="*/ 695100 h 6557032"/>
              <a:gd name="connsiteX41445" fmla="*/ 2670624 w 4610101"/>
              <a:gd name="connsiteY41445" fmla="*/ 711727 h 6557032"/>
              <a:gd name="connsiteX41446" fmla="*/ 2673283 w 4610101"/>
              <a:gd name="connsiteY41446" fmla="*/ 726139 h 6557032"/>
              <a:gd name="connsiteX41447" fmla="*/ 2673130 w 4610101"/>
              <a:gd name="connsiteY41447" fmla="*/ 726077 h 6557032"/>
              <a:gd name="connsiteX41448" fmla="*/ 2673294 w 4610101"/>
              <a:gd name="connsiteY41448" fmla="*/ 726200 h 6557032"/>
              <a:gd name="connsiteX41449" fmla="*/ 2674952 w 4610101"/>
              <a:gd name="connsiteY41449" fmla="*/ 735188 h 6557032"/>
              <a:gd name="connsiteX41450" fmla="*/ 2665841 w 4610101"/>
              <a:gd name="connsiteY41450" fmla="*/ 731543 h 6557032"/>
              <a:gd name="connsiteX41451" fmla="*/ 2649441 w 4610101"/>
              <a:gd name="connsiteY41451" fmla="*/ 707855 h 6557032"/>
              <a:gd name="connsiteX41452" fmla="*/ 2656730 w 4610101"/>
              <a:gd name="connsiteY41452" fmla="*/ 718788 h 6557032"/>
              <a:gd name="connsiteX41453" fmla="*/ 2651263 w 4610101"/>
              <a:gd name="connsiteY41453" fmla="*/ 716966 h 6557032"/>
              <a:gd name="connsiteX41454" fmla="*/ 2653086 w 4610101"/>
              <a:gd name="connsiteY41454" fmla="*/ 729721 h 6557032"/>
              <a:gd name="connsiteX41455" fmla="*/ 2642153 w 4610101"/>
              <a:gd name="connsiteY41455" fmla="*/ 715144 h 6557032"/>
              <a:gd name="connsiteX41456" fmla="*/ 2638508 w 4610101"/>
              <a:gd name="connsiteY41456" fmla="*/ 726077 h 6557032"/>
              <a:gd name="connsiteX41457" fmla="*/ 2674952 w 4610101"/>
              <a:gd name="connsiteY41457" fmla="*/ 735188 h 6557032"/>
              <a:gd name="connsiteX41458" fmla="*/ 2678596 w 4610101"/>
              <a:gd name="connsiteY41458" fmla="*/ 740654 h 6557032"/>
              <a:gd name="connsiteX41459" fmla="*/ 2676774 w 4610101"/>
              <a:gd name="connsiteY41459" fmla="*/ 742476 h 6557032"/>
              <a:gd name="connsiteX41460" fmla="*/ 2691351 w 4610101"/>
              <a:gd name="connsiteY41460" fmla="*/ 746121 h 6557032"/>
              <a:gd name="connsiteX41461" fmla="*/ 2684063 w 4610101"/>
              <a:gd name="connsiteY41461" fmla="*/ 738832 h 6557032"/>
              <a:gd name="connsiteX41462" fmla="*/ 2687707 w 4610101"/>
              <a:gd name="connsiteY41462" fmla="*/ 742476 h 6557032"/>
              <a:gd name="connsiteX41463" fmla="*/ 2683152 w 4610101"/>
              <a:gd name="connsiteY41463" fmla="*/ 733594 h 6557032"/>
              <a:gd name="connsiteX41464" fmla="*/ 2673294 w 4610101"/>
              <a:gd name="connsiteY41464" fmla="*/ 726200 h 6557032"/>
              <a:gd name="connsiteX41465" fmla="*/ 2673283 w 4610101"/>
              <a:gd name="connsiteY41465" fmla="*/ 726139 h 6557032"/>
              <a:gd name="connsiteX41466" fmla="*/ 2691124 w 4610101"/>
              <a:gd name="connsiteY41466" fmla="*/ 733366 h 6557032"/>
              <a:gd name="connsiteX41467" fmla="*/ 2702284 w 4610101"/>
              <a:gd name="connsiteY41467" fmla="*/ 746121 h 6557032"/>
              <a:gd name="connsiteX41468" fmla="*/ 2693174 w 4610101"/>
              <a:gd name="connsiteY41468" fmla="*/ 744298 h 6557032"/>
              <a:gd name="connsiteX41469" fmla="*/ 2693174 w 4610101"/>
              <a:gd name="connsiteY41469" fmla="*/ 747943 h 6557032"/>
              <a:gd name="connsiteX41470" fmla="*/ 2707751 w 4610101"/>
              <a:gd name="connsiteY41470" fmla="*/ 746121 h 6557032"/>
              <a:gd name="connsiteX41471" fmla="*/ 2707751 w 4610101"/>
              <a:gd name="connsiteY41471" fmla="*/ 742476 h 6557032"/>
              <a:gd name="connsiteX41472" fmla="*/ 2713217 w 4610101"/>
              <a:gd name="connsiteY41472" fmla="*/ 746121 h 6557032"/>
              <a:gd name="connsiteX41473" fmla="*/ 2707751 w 4610101"/>
              <a:gd name="connsiteY41473" fmla="*/ 747943 h 6557032"/>
              <a:gd name="connsiteX41474" fmla="*/ 2727795 w 4610101"/>
              <a:gd name="connsiteY41474" fmla="*/ 758876 h 6557032"/>
              <a:gd name="connsiteX41475" fmla="*/ 2725973 w 4610101"/>
              <a:gd name="connsiteY41475" fmla="*/ 751587 h 6557032"/>
              <a:gd name="connsiteX41476" fmla="*/ 2733261 w 4610101"/>
              <a:gd name="connsiteY41476" fmla="*/ 753409 h 6557032"/>
              <a:gd name="connsiteX41477" fmla="*/ 2744194 w 4610101"/>
              <a:gd name="connsiteY41477" fmla="*/ 746121 h 6557032"/>
              <a:gd name="connsiteX41478" fmla="*/ 2711395 w 4610101"/>
              <a:gd name="connsiteY41478" fmla="*/ 691455 h 6557032"/>
              <a:gd name="connsiteX41479" fmla="*/ 2707751 w 4610101"/>
              <a:gd name="connsiteY41479" fmla="*/ 678700 h 6557032"/>
              <a:gd name="connsiteX41480" fmla="*/ 2715040 w 4610101"/>
              <a:gd name="connsiteY41480" fmla="*/ 680522 h 6557032"/>
              <a:gd name="connsiteX41481" fmla="*/ 2724150 w 4610101"/>
              <a:gd name="connsiteY41481" fmla="*/ 669589 h 6557032"/>
              <a:gd name="connsiteX41482" fmla="*/ 2751483 w 4610101"/>
              <a:gd name="connsiteY41482" fmla="*/ 735188 h 6557032"/>
              <a:gd name="connsiteX41483" fmla="*/ 2782460 w 4610101"/>
              <a:gd name="connsiteY41483" fmla="*/ 706033 h 6557032"/>
              <a:gd name="connsiteX41484" fmla="*/ 2776993 w 4610101"/>
              <a:gd name="connsiteY41484" fmla="*/ 695100 h 6557032"/>
              <a:gd name="connsiteX41485" fmla="*/ 2775171 w 4610101"/>
              <a:gd name="connsiteY41485" fmla="*/ 698744 h 6557032"/>
              <a:gd name="connsiteX41486" fmla="*/ 2764238 w 4610101"/>
              <a:gd name="connsiteY41486" fmla="*/ 695100 h 6557032"/>
              <a:gd name="connsiteX41487" fmla="*/ 2775171 w 4610101"/>
              <a:gd name="connsiteY41487" fmla="*/ 685989 h 6557032"/>
              <a:gd name="connsiteX41488" fmla="*/ 2766060 w 4610101"/>
              <a:gd name="connsiteY41488" fmla="*/ 667767 h 6557032"/>
              <a:gd name="connsiteX41489" fmla="*/ 2766789 w 4610101"/>
              <a:gd name="connsiteY41489" fmla="*/ 667767 h 6557032"/>
              <a:gd name="connsiteX41490" fmla="*/ 2767199 w 4610101"/>
              <a:gd name="connsiteY41490" fmla="*/ 669134 h 6557032"/>
              <a:gd name="connsiteX41491" fmla="*/ 2778816 w 4610101"/>
              <a:gd name="connsiteY41491" fmla="*/ 682345 h 6557032"/>
              <a:gd name="connsiteX41492" fmla="*/ 2775171 w 4610101"/>
              <a:gd name="connsiteY41492" fmla="*/ 669589 h 6557032"/>
              <a:gd name="connsiteX41493" fmla="*/ 2777677 w 4610101"/>
              <a:gd name="connsiteY41493" fmla="*/ 660023 h 6557032"/>
              <a:gd name="connsiteX41494" fmla="*/ 2769341 w 4610101"/>
              <a:gd name="connsiteY41494" fmla="*/ 656291 h 6557032"/>
              <a:gd name="connsiteX41495" fmla="*/ 2768794 w 4610101"/>
              <a:gd name="connsiteY41495" fmla="*/ 653418 h 6557032"/>
              <a:gd name="connsiteX41496" fmla="*/ 2763371 w 4610101"/>
              <a:gd name="connsiteY41496" fmla="*/ 644832 h 6557032"/>
              <a:gd name="connsiteX41497" fmla="*/ 2759141 w 4610101"/>
              <a:gd name="connsiteY41497" fmla="*/ 630732 h 6557032"/>
              <a:gd name="connsiteX41498" fmla="*/ 2763328 w 4610101"/>
              <a:gd name="connsiteY41498" fmla="*/ 612192 h 6557032"/>
              <a:gd name="connsiteX41499" fmla="*/ 2762717 w 4610101"/>
              <a:gd name="connsiteY41499" fmla="*/ 605981 h 6557032"/>
              <a:gd name="connsiteX41500" fmla="*/ 2763381 w 4610101"/>
              <a:gd name="connsiteY41500" fmla="*/ 606349 h 6557032"/>
              <a:gd name="connsiteX41501" fmla="*/ 2767882 w 4610101"/>
              <a:gd name="connsiteY41501" fmla="*/ 613103 h 6557032"/>
              <a:gd name="connsiteX41502" fmla="*/ 2766516 w 4610101"/>
              <a:gd name="connsiteY41502" fmla="*/ 608091 h 6557032"/>
              <a:gd name="connsiteX41503" fmla="*/ 2763381 w 4610101"/>
              <a:gd name="connsiteY41503" fmla="*/ 606349 h 6557032"/>
              <a:gd name="connsiteX41504" fmla="*/ 2762645 w 4610101"/>
              <a:gd name="connsiteY41504" fmla="*/ 605246 h 6557032"/>
              <a:gd name="connsiteX41505" fmla="*/ 2762416 w 4610101"/>
              <a:gd name="connsiteY41505" fmla="*/ 602914 h 6557032"/>
              <a:gd name="connsiteX41506" fmla="*/ 2762416 w 4610101"/>
              <a:gd name="connsiteY41506" fmla="*/ 589414 h 6557032"/>
              <a:gd name="connsiteX41507" fmla="*/ 2756950 w 4610101"/>
              <a:gd name="connsiteY41507" fmla="*/ 591236 h 6557032"/>
              <a:gd name="connsiteX41508" fmla="*/ 2758336 w 4610101"/>
              <a:gd name="connsiteY41508" fmla="*/ 595164 h 6557032"/>
              <a:gd name="connsiteX41509" fmla="*/ 2753305 w 4610101"/>
              <a:gd name="connsiteY41509" fmla="*/ 589414 h 6557032"/>
              <a:gd name="connsiteX41510" fmla="*/ 2755127 w 4610101"/>
              <a:gd name="connsiteY41510" fmla="*/ 582125 h 6557032"/>
              <a:gd name="connsiteX41511" fmla="*/ 2762416 w 4610101"/>
              <a:gd name="connsiteY41511" fmla="*/ 583947 h 6557032"/>
              <a:gd name="connsiteX41512" fmla="*/ 2764238 w 4610101"/>
              <a:gd name="connsiteY41512" fmla="*/ 576658 h 6557032"/>
              <a:gd name="connsiteX41513" fmla="*/ 2758772 w 4610101"/>
              <a:gd name="connsiteY41513" fmla="*/ 576658 h 6557032"/>
              <a:gd name="connsiteX41514" fmla="*/ 2760594 w 4610101"/>
              <a:gd name="connsiteY41514" fmla="*/ 571192 h 6557032"/>
              <a:gd name="connsiteX41515" fmla="*/ 2771527 w 4610101"/>
              <a:gd name="connsiteY41515" fmla="*/ 583947 h 6557032"/>
              <a:gd name="connsiteX41516" fmla="*/ 2776993 w 4610101"/>
              <a:gd name="connsiteY41516" fmla="*/ 580303 h 6557032"/>
              <a:gd name="connsiteX41517" fmla="*/ 2780638 w 4610101"/>
              <a:gd name="connsiteY41517" fmla="*/ 587591 h 6557032"/>
              <a:gd name="connsiteX41518" fmla="*/ 2784282 w 4610101"/>
              <a:gd name="connsiteY41518" fmla="*/ 582125 h 6557032"/>
              <a:gd name="connsiteX41519" fmla="*/ 2776993 w 4610101"/>
              <a:gd name="connsiteY41519" fmla="*/ 567548 h 6557032"/>
              <a:gd name="connsiteX41520" fmla="*/ 2780638 w 4610101"/>
              <a:gd name="connsiteY41520" fmla="*/ 569370 h 6557032"/>
              <a:gd name="connsiteX41521" fmla="*/ 2778816 w 4610101"/>
              <a:gd name="connsiteY41521" fmla="*/ 574836 h 6557032"/>
              <a:gd name="connsiteX41522" fmla="*/ 2784282 w 4610101"/>
              <a:gd name="connsiteY41522" fmla="*/ 574836 h 6557032"/>
              <a:gd name="connsiteX41523" fmla="*/ 2784282 w 4610101"/>
              <a:gd name="connsiteY41523" fmla="*/ 565725 h 6557032"/>
              <a:gd name="connsiteX41524" fmla="*/ 2804326 w 4610101"/>
              <a:gd name="connsiteY41524" fmla="*/ 587591 h 6557032"/>
              <a:gd name="connsiteX41525" fmla="*/ 2806148 w 4610101"/>
              <a:gd name="connsiteY41525" fmla="*/ 582125 h 6557032"/>
              <a:gd name="connsiteX41526" fmla="*/ 2807326 w 4610101"/>
              <a:gd name="connsiteY41526" fmla="*/ 584480 h 6557032"/>
              <a:gd name="connsiteX41527" fmla="*/ 2806148 w 4610101"/>
              <a:gd name="connsiteY41527" fmla="*/ 585769 h 6557032"/>
              <a:gd name="connsiteX41528" fmla="*/ 2807401 w 4610101"/>
              <a:gd name="connsiteY41528" fmla="*/ 586161 h 6557032"/>
              <a:gd name="connsiteX41529" fmla="*/ 2796355 w 4610101"/>
              <a:gd name="connsiteY41529" fmla="*/ 593742 h 6557032"/>
              <a:gd name="connsiteX41530" fmla="*/ 2797037 w 4610101"/>
              <a:gd name="connsiteY41530" fmla="*/ 605813 h 6557032"/>
              <a:gd name="connsiteX41531" fmla="*/ 2782460 w 4610101"/>
              <a:gd name="connsiteY41531" fmla="*/ 596702 h 6557032"/>
              <a:gd name="connsiteX41532" fmla="*/ 2789749 w 4610101"/>
              <a:gd name="connsiteY41532" fmla="*/ 605813 h 6557032"/>
              <a:gd name="connsiteX41533" fmla="*/ 2787927 w 4610101"/>
              <a:gd name="connsiteY41533" fmla="*/ 609459 h 6557032"/>
              <a:gd name="connsiteX41534" fmla="*/ 2791571 w 4610101"/>
              <a:gd name="connsiteY41534" fmla="*/ 611280 h 6557032"/>
              <a:gd name="connsiteX41535" fmla="*/ 2793393 w 4610101"/>
              <a:gd name="connsiteY41535" fmla="*/ 607635 h 6557032"/>
              <a:gd name="connsiteX41536" fmla="*/ 2800682 w 4610101"/>
              <a:gd name="connsiteY41536" fmla="*/ 613103 h 6557032"/>
              <a:gd name="connsiteX41537" fmla="*/ 2798860 w 4610101"/>
              <a:gd name="connsiteY41537" fmla="*/ 598524 h 6557032"/>
              <a:gd name="connsiteX41538" fmla="*/ 2815259 w 4610101"/>
              <a:gd name="connsiteY41538" fmla="*/ 600347 h 6557032"/>
              <a:gd name="connsiteX41539" fmla="*/ 2822548 w 4610101"/>
              <a:gd name="connsiteY41539" fmla="*/ 609459 h 6557032"/>
              <a:gd name="connsiteX41540" fmla="*/ 2824370 w 4610101"/>
              <a:gd name="connsiteY41540" fmla="*/ 600347 h 6557032"/>
              <a:gd name="connsiteX41541" fmla="*/ 2824370 w 4610101"/>
              <a:gd name="connsiteY41541" fmla="*/ 607635 h 6557032"/>
              <a:gd name="connsiteX41542" fmla="*/ 2828014 w 4610101"/>
              <a:gd name="connsiteY41542" fmla="*/ 607635 h 6557032"/>
              <a:gd name="connsiteX41543" fmla="*/ 2829837 w 4610101"/>
              <a:gd name="connsiteY41543" fmla="*/ 602169 h 6557032"/>
              <a:gd name="connsiteX41544" fmla="*/ 2851703 w 4610101"/>
              <a:gd name="connsiteY41544" fmla="*/ 594880 h 6557032"/>
              <a:gd name="connsiteX41545" fmla="*/ 2858991 w 4610101"/>
              <a:gd name="connsiteY41545" fmla="*/ 594880 h 6557032"/>
              <a:gd name="connsiteX41546" fmla="*/ 2820726 w 4610101"/>
              <a:gd name="connsiteY41546" fmla="*/ 574836 h 6557032"/>
              <a:gd name="connsiteX41547" fmla="*/ 2822548 w 4610101"/>
              <a:gd name="connsiteY41547" fmla="*/ 585769 h 6557032"/>
              <a:gd name="connsiteX41548" fmla="*/ 2813437 w 4610101"/>
              <a:gd name="connsiteY41548" fmla="*/ 583947 h 6557032"/>
              <a:gd name="connsiteX41549" fmla="*/ 2813437 w 4610101"/>
              <a:gd name="connsiteY41549" fmla="*/ 589414 h 6557032"/>
              <a:gd name="connsiteX41550" fmla="*/ 2809793 w 4610101"/>
              <a:gd name="connsiteY41550" fmla="*/ 586908 h 6557032"/>
              <a:gd name="connsiteX41551" fmla="*/ 2807401 w 4610101"/>
              <a:gd name="connsiteY41551" fmla="*/ 586161 h 6557032"/>
              <a:gd name="connsiteX41552" fmla="*/ 2807971 w 4610101"/>
              <a:gd name="connsiteY41552" fmla="*/ 585769 h 6557032"/>
              <a:gd name="connsiteX41553" fmla="*/ 2807326 w 4610101"/>
              <a:gd name="connsiteY41553" fmla="*/ 584480 h 6557032"/>
              <a:gd name="connsiteX41554" fmla="*/ 2810931 w 4610101"/>
              <a:gd name="connsiteY41554" fmla="*/ 580531 h 6557032"/>
              <a:gd name="connsiteX41555" fmla="*/ 2817081 w 4610101"/>
              <a:gd name="connsiteY41555" fmla="*/ 576658 h 6557032"/>
              <a:gd name="connsiteX41556" fmla="*/ 2784282 w 4610101"/>
              <a:gd name="connsiteY41556" fmla="*/ 543860 h 6557032"/>
              <a:gd name="connsiteX41557" fmla="*/ 2787927 w 4610101"/>
              <a:gd name="connsiteY41557" fmla="*/ 542037 h 6557032"/>
              <a:gd name="connsiteX41558" fmla="*/ 2795215 w 4610101"/>
              <a:gd name="connsiteY41558" fmla="*/ 554792 h 6557032"/>
              <a:gd name="connsiteX41559" fmla="*/ 2802504 w 4610101"/>
              <a:gd name="connsiteY41559" fmla="*/ 552970 h 6557032"/>
              <a:gd name="connsiteX41560" fmla="*/ 2813437 w 4610101"/>
              <a:gd name="connsiteY41560" fmla="*/ 569370 h 6557032"/>
              <a:gd name="connsiteX41561" fmla="*/ 2820726 w 4610101"/>
              <a:gd name="connsiteY41561" fmla="*/ 554792 h 6557032"/>
              <a:gd name="connsiteX41562" fmla="*/ 2818903 w 4610101"/>
              <a:gd name="connsiteY41562" fmla="*/ 543860 h 6557032"/>
              <a:gd name="connsiteX41563" fmla="*/ 2820726 w 4610101"/>
              <a:gd name="connsiteY41563" fmla="*/ 543860 h 6557032"/>
              <a:gd name="connsiteX41564" fmla="*/ 2818903 w 4610101"/>
              <a:gd name="connsiteY41564" fmla="*/ 525638 h 6557032"/>
              <a:gd name="connsiteX41565" fmla="*/ 2824370 w 4610101"/>
              <a:gd name="connsiteY41565" fmla="*/ 527461 h 6557032"/>
              <a:gd name="connsiteX41566" fmla="*/ 2829837 w 4610101"/>
              <a:gd name="connsiteY41566" fmla="*/ 554792 h 6557032"/>
              <a:gd name="connsiteX41567" fmla="*/ 2824370 w 4610101"/>
              <a:gd name="connsiteY41567" fmla="*/ 556616 h 6557032"/>
              <a:gd name="connsiteX41568" fmla="*/ 2831659 w 4610101"/>
              <a:gd name="connsiteY41568" fmla="*/ 565725 h 6557032"/>
              <a:gd name="connsiteX41569" fmla="*/ 2820726 w 4610101"/>
              <a:gd name="connsiteY41569" fmla="*/ 567548 h 6557032"/>
              <a:gd name="connsiteX41570" fmla="*/ 2855347 w 4610101"/>
              <a:gd name="connsiteY41570" fmla="*/ 583947 h 6557032"/>
              <a:gd name="connsiteX41571" fmla="*/ 2862636 w 4610101"/>
              <a:gd name="connsiteY41571" fmla="*/ 576658 h 6557032"/>
              <a:gd name="connsiteX41572" fmla="*/ 2860813 w 4610101"/>
              <a:gd name="connsiteY41572" fmla="*/ 571192 h 6557032"/>
              <a:gd name="connsiteX41573" fmla="*/ 2880857 w 4610101"/>
              <a:gd name="connsiteY41573" fmla="*/ 578481 h 6557032"/>
              <a:gd name="connsiteX41574" fmla="*/ 2880857 w 4610101"/>
              <a:gd name="connsiteY41574" fmla="*/ 585769 h 6557032"/>
              <a:gd name="connsiteX41575" fmla="*/ 2880857 w 4610101"/>
              <a:gd name="connsiteY41575" fmla="*/ 578481 h 6557032"/>
              <a:gd name="connsiteX41576" fmla="*/ 2877578 w 4610101"/>
              <a:gd name="connsiteY41576" fmla="*/ 571921 h 6557032"/>
              <a:gd name="connsiteX41577" fmla="*/ 2879035 w 4610101"/>
              <a:gd name="connsiteY41577" fmla="*/ 567548 h 6557032"/>
              <a:gd name="connsiteX41578" fmla="*/ 2873140 w 4610101"/>
              <a:gd name="connsiteY41578" fmla="*/ 565190 h 6557032"/>
              <a:gd name="connsiteX41579" fmla="*/ 2873569 w 4610101"/>
              <a:gd name="connsiteY41579" fmla="*/ 563904 h 6557032"/>
              <a:gd name="connsiteX41580" fmla="*/ 2870216 w 4610101"/>
              <a:gd name="connsiteY41580" fmla="*/ 562227 h 6557032"/>
              <a:gd name="connsiteX41581" fmla="*/ 2872430 w 4610101"/>
              <a:gd name="connsiteY41581" fmla="*/ 562310 h 6557032"/>
              <a:gd name="connsiteX41582" fmla="*/ 2877213 w 4610101"/>
              <a:gd name="connsiteY41582" fmla="*/ 552970 h 6557032"/>
              <a:gd name="connsiteX41583" fmla="*/ 2873569 w 4610101"/>
              <a:gd name="connsiteY41583" fmla="*/ 556616 h 6557032"/>
              <a:gd name="connsiteX41584" fmla="*/ 2868649 w 4610101"/>
              <a:gd name="connsiteY41584" fmla="*/ 550055 h 6557032"/>
              <a:gd name="connsiteX41585" fmla="*/ 2869924 w 4610101"/>
              <a:gd name="connsiteY41585" fmla="*/ 534749 h 6557032"/>
              <a:gd name="connsiteX41586" fmla="*/ 2877213 w 4610101"/>
              <a:gd name="connsiteY41586" fmla="*/ 532926 h 6557032"/>
              <a:gd name="connsiteX41587" fmla="*/ 2873569 w 4610101"/>
              <a:gd name="connsiteY41587" fmla="*/ 523815 h 6557032"/>
              <a:gd name="connsiteX41588" fmla="*/ 2869924 w 4610101"/>
              <a:gd name="connsiteY41588" fmla="*/ 532926 h 6557032"/>
              <a:gd name="connsiteX41589" fmla="*/ 2862636 w 4610101"/>
              <a:gd name="connsiteY41589" fmla="*/ 521993 h 6557032"/>
              <a:gd name="connsiteX41590" fmla="*/ 2855347 w 4610101"/>
              <a:gd name="connsiteY41590" fmla="*/ 531105 h 6557032"/>
              <a:gd name="connsiteX41591" fmla="*/ 2846236 w 4610101"/>
              <a:gd name="connsiteY41591" fmla="*/ 514705 h 6557032"/>
              <a:gd name="connsiteX41592" fmla="*/ 2857169 w 4610101"/>
              <a:gd name="connsiteY41592" fmla="*/ 514705 h 6557032"/>
              <a:gd name="connsiteX41593" fmla="*/ 2858991 w 4610101"/>
              <a:gd name="connsiteY41593" fmla="*/ 521993 h 6557032"/>
              <a:gd name="connsiteX41594" fmla="*/ 2855347 w 4610101"/>
              <a:gd name="connsiteY41594" fmla="*/ 512882 h 6557032"/>
              <a:gd name="connsiteX41595" fmla="*/ 2860813 w 4610101"/>
              <a:gd name="connsiteY41595" fmla="*/ 503771 h 6557032"/>
              <a:gd name="connsiteX41596" fmla="*/ 2864230 w 4610101"/>
              <a:gd name="connsiteY41596" fmla="*/ 508099 h 6557032"/>
              <a:gd name="connsiteX41597" fmla="*/ 2865715 w 4610101"/>
              <a:gd name="connsiteY41597" fmla="*/ 510244 h 6557032"/>
              <a:gd name="connsiteX41598" fmla="*/ 2862636 w 4610101"/>
              <a:gd name="connsiteY41598" fmla="*/ 512882 h 6557032"/>
              <a:gd name="connsiteX41599" fmla="*/ 2871747 w 4610101"/>
              <a:gd name="connsiteY41599" fmla="*/ 521993 h 6557032"/>
              <a:gd name="connsiteX41600" fmla="*/ 2873569 w 4610101"/>
              <a:gd name="connsiteY41600" fmla="*/ 507417 h 6557032"/>
              <a:gd name="connsiteX41601" fmla="*/ 2867419 w 4610101"/>
              <a:gd name="connsiteY41601" fmla="*/ 508783 h 6557032"/>
              <a:gd name="connsiteX41602" fmla="*/ 2866608 w 4610101"/>
              <a:gd name="connsiteY41602" fmla="*/ 509479 h 6557032"/>
              <a:gd name="connsiteX41603" fmla="*/ 2867647 w 4610101"/>
              <a:gd name="connsiteY41603" fmla="*/ 504455 h 6557032"/>
              <a:gd name="connsiteX41604" fmla="*/ 2871747 w 4610101"/>
              <a:gd name="connsiteY41604" fmla="*/ 496483 h 6557032"/>
              <a:gd name="connsiteX41605" fmla="*/ 2884502 w 4610101"/>
              <a:gd name="connsiteY41605" fmla="*/ 496483 h 6557032"/>
              <a:gd name="connsiteX41606" fmla="*/ 2882680 w 4610101"/>
              <a:gd name="connsiteY41606" fmla="*/ 483728 h 6557032"/>
              <a:gd name="connsiteX41607" fmla="*/ 2897257 w 4610101"/>
              <a:gd name="connsiteY41607" fmla="*/ 507417 h 6557032"/>
              <a:gd name="connsiteX41608" fmla="*/ 2899079 w 4610101"/>
              <a:gd name="connsiteY41608" fmla="*/ 500127 h 6557032"/>
              <a:gd name="connsiteX41609" fmla="*/ 2911834 w 4610101"/>
              <a:gd name="connsiteY41609" fmla="*/ 507417 h 6557032"/>
              <a:gd name="connsiteX41610" fmla="*/ 2904546 w 4610101"/>
              <a:gd name="connsiteY41610" fmla="*/ 503771 h 6557032"/>
              <a:gd name="connsiteX41611" fmla="*/ 2900901 w 4610101"/>
              <a:gd name="connsiteY41611" fmla="*/ 505594 h 6557032"/>
              <a:gd name="connsiteX41612" fmla="*/ 2900901 w 4610101"/>
              <a:gd name="connsiteY41612" fmla="*/ 512882 h 6557032"/>
              <a:gd name="connsiteX41613" fmla="*/ 2928234 w 4610101"/>
              <a:gd name="connsiteY41613" fmla="*/ 534749 h 6557032"/>
              <a:gd name="connsiteX41614" fmla="*/ 2939167 w 4610101"/>
              <a:gd name="connsiteY41614" fmla="*/ 532926 h 6557032"/>
              <a:gd name="connsiteX41615" fmla="*/ 2946456 w 4610101"/>
              <a:gd name="connsiteY41615" fmla="*/ 523815 h 6557032"/>
              <a:gd name="connsiteX41616" fmla="*/ 2942811 w 4610101"/>
              <a:gd name="connsiteY41616" fmla="*/ 520171 h 6557032"/>
              <a:gd name="connsiteX41617" fmla="*/ 2944634 w 4610101"/>
              <a:gd name="connsiteY41617" fmla="*/ 521993 h 6557032"/>
              <a:gd name="connsiteX41618" fmla="*/ 2948278 w 4610101"/>
              <a:gd name="connsiteY41618" fmla="*/ 518349 h 6557032"/>
              <a:gd name="connsiteX41619" fmla="*/ 2951922 w 4610101"/>
              <a:gd name="connsiteY41619" fmla="*/ 520171 h 6557032"/>
              <a:gd name="connsiteX41620" fmla="*/ 2950100 w 4610101"/>
              <a:gd name="connsiteY41620" fmla="*/ 527461 h 6557032"/>
              <a:gd name="connsiteX41621" fmla="*/ 2961033 w 4610101"/>
              <a:gd name="connsiteY41621" fmla="*/ 512882 h 6557032"/>
              <a:gd name="connsiteX41622" fmla="*/ 2965361 w 4610101"/>
              <a:gd name="connsiteY41622" fmla="*/ 519260 h 6557032"/>
              <a:gd name="connsiteX41623" fmla="*/ 2966851 w 4610101"/>
              <a:gd name="connsiteY41623" fmla="*/ 519719 h 6557032"/>
              <a:gd name="connsiteX41624" fmla="*/ 2966500 w 4610101"/>
              <a:gd name="connsiteY41624" fmla="*/ 520171 h 6557032"/>
              <a:gd name="connsiteX41625" fmla="*/ 2977432 w 4610101"/>
              <a:gd name="connsiteY41625" fmla="*/ 521993 h 6557032"/>
              <a:gd name="connsiteX41626" fmla="*/ 2977432 w 4610101"/>
              <a:gd name="connsiteY41626" fmla="*/ 507417 h 6557032"/>
              <a:gd name="connsiteX41627" fmla="*/ 2971966 w 4610101"/>
              <a:gd name="connsiteY41627" fmla="*/ 513111 h 6557032"/>
              <a:gd name="connsiteX41628" fmla="*/ 2968384 w 4610101"/>
              <a:gd name="connsiteY41628" fmla="*/ 517738 h 6557032"/>
              <a:gd name="connsiteX41629" fmla="*/ 2968521 w 4610101"/>
              <a:gd name="connsiteY41629" fmla="*/ 512370 h 6557032"/>
              <a:gd name="connsiteX41630" fmla="*/ 2963083 w 4610101"/>
              <a:gd name="connsiteY41630" fmla="*/ 506961 h 6557032"/>
              <a:gd name="connsiteX41631" fmla="*/ 2961067 w 4610101"/>
              <a:gd name="connsiteY41631" fmla="*/ 505534 h 6557032"/>
              <a:gd name="connsiteX41632" fmla="*/ 2963083 w 4610101"/>
              <a:gd name="connsiteY41632" fmla="*/ 501950 h 6557032"/>
              <a:gd name="connsiteX41633" fmla="*/ 2961033 w 4610101"/>
              <a:gd name="connsiteY41633" fmla="*/ 498306 h 6557032"/>
              <a:gd name="connsiteX41634" fmla="*/ 2950853 w 4610101"/>
              <a:gd name="connsiteY41634" fmla="*/ 498306 h 6557032"/>
              <a:gd name="connsiteX41635" fmla="*/ 2948278 w 4610101"/>
              <a:gd name="connsiteY41635" fmla="*/ 496483 h 6557032"/>
              <a:gd name="connsiteX41636" fmla="*/ 2955566 w 4610101"/>
              <a:gd name="connsiteY41636" fmla="*/ 487373 h 6557032"/>
              <a:gd name="connsiteX41637" fmla="*/ 2957113 w 4610101"/>
              <a:gd name="connsiteY41637" fmla="*/ 488146 h 6557032"/>
              <a:gd name="connsiteX41638" fmla="*/ 2957161 w 4610101"/>
              <a:gd name="connsiteY41638" fmla="*/ 488283 h 6557032"/>
              <a:gd name="connsiteX41639" fmla="*/ 2957389 w 4610101"/>
              <a:gd name="connsiteY41639" fmla="*/ 492838 h 6557032"/>
              <a:gd name="connsiteX41640" fmla="*/ 2961293 w 4610101"/>
              <a:gd name="connsiteY41640" fmla="*/ 490236 h 6557032"/>
              <a:gd name="connsiteX41641" fmla="*/ 2962855 w 4610101"/>
              <a:gd name="connsiteY41641" fmla="*/ 491017 h 6557032"/>
              <a:gd name="connsiteX41642" fmla="*/ 2962280 w 4610101"/>
              <a:gd name="connsiteY41642" fmla="*/ 489578 h 6557032"/>
              <a:gd name="connsiteX41643" fmla="*/ 2962855 w 4610101"/>
              <a:gd name="connsiteY41643" fmla="*/ 489194 h 6557032"/>
              <a:gd name="connsiteX41644" fmla="*/ 2979255 w 4610101"/>
              <a:gd name="connsiteY41644" fmla="*/ 489194 h 6557032"/>
              <a:gd name="connsiteX41645" fmla="*/ 2971966 w 4610101"/>
              <a:gd name="connsiteY41645" fmla="*/ 474618 h 6557032"/>
              <a:gd name="connsiteX41646" fmla="*/ 2975610 w 4610101"/>
              <a:gd name="connsiteY41646" fmla="*/ 470972 h 6557032"/>
              <a:gd name="connsiteX41647" fmla="*/ 2977432 w 4610101"/>
              <a:gd name="connsiteY41647" fmla="*/ 474618 h 6557032"/>
              <a:gd name="connsiteX41648" fmla="*/ 2982899 w 4610101"/>
              <a:gd name="connsiteY41648" fmla="*/ 467328 h 6557032"/>
              <a:gd name="connsiteX41649" fmla="*/ 2986543 w 4610101"/>
              <a:gd name="connsiteY41649" fmla="*/ 474618 h 6557032"/>
              <a:gd name="connsiteX41650" fmla="*/ 2999299 w 4610101"/>
              <a:gd name="connsiteY41650" fmla="*/ 452751 h 6557032"/>
              <a:gd name="connsiteX41651" fmla="*/ 2953175 w 4610101"/>
              <a:gd name="connsiteY41651" fmla="*/ 465051 h 6557032"/>
              <a:gd name="connsiteX41652" fmla="*/ 2952739 w 4610101"/>
              <a:gd name="connsiteY41652" fmla="*/ 466928 h 6557032"/>
              <a:gd name="connsiteX41653" fmla="*/ 2951922 w 4610101"/>
              <a:gd name="connsiteY41653" fmla="*/ 460039 h 6557032"/>
              <a:gd name="connsiteX41654" fmla="*/ 3008410 w 4610101"/>
              <a:gd name="connsiteY41654" fmla="*/ 434530 h 6557032"/>
              <a:gd name="connsiteX41655" fmla="*/ 3002943 w 4610101"/>
              <a:gd name="connsiteY41655" fmla="*/ 432707 h 6557032"/>
              <a:gd name="connsiteX41656" fmla="*/ 3010232 w 4610101"/>
              <a:gd name="connsiteY41656" fmla="*/ 432707 h 6557032"/>
              <a:gd name="connsiteX41657" fmla="*/ 3013876 w 4610101"/>
              <a:gd name="connsiteY41657" fmla="*/ 399908 h 6557032"/>
              <a:gd name="connsiteX41658" fmla="*/ 3015698 w 4610101"/>
              <a:gd name="connsiteY41658" fmla="*/ 399908 h 6557032"/>
              <a:gd name="connsiteX41659" fmla="*/ 2995654 w 4610101"/>
              <a:gd name="connsiteY41659" fmla="*/ 390797 h 6557032"/>
              <a:gd name="connsiteX41660" fmla="*/ 2992010 w 4610101"/>
              <a:gd name="connsiteY41660" fmla="*/ 383509 h 6557032"/>
              <a:gd name="connsiteX41661" fmla="*/ 2981077 w 4610101"/>
              <a:gd name="connsiteY41661" fmla="*/ 390797 h 6557032"/>
              <a:gd name="connsiteX41662" fmla="*/ 2959211 w 4610101"/>
              <a:gd name="connsiteY41662" fmla="*/ 367109 h 6557032"/>
              <a:gd name="connsiteX41663" fmla="*/ 2957389 w 4610101"/>
              <a:gd name="connsiteY41663" fmla="*/ 359821 h 6557032"/>
              <a:gd name="connsiteX41664" fmla="*/ 2959211 w 4610101"/>
              <a:gd name="connsiteY41664" fmla="*/ 359821 h 6557032"/>
              <a:gd name="connsiteX41665" fmla="*/ 2953744 w 4610101"/>
              <a:gd name="connsiteY41665" fmla="*/ 345242 h 6557032"/>
              <a:gd name="connsiteX41666" fmla="*/ 2950100 w 4610101"/>
              <a:gd name="connsiteY41666" fmla="*/ 348888 h 6557032"/>
              <a:gd name="connsiteX41667" fmla="*/ 2951922 w 4610101"/>
              <a:gd name="connsiteY41667" fmla="*/ 356176 h 6557032"/>
              <a:gd name="connsiteX41668" fmla="*/ 2939167 w 4610101"/>
              <a:gd name="connsiteY41668" fmla="*/ 354354 h 6557032"/>
              <a:gd name="connsiteX41669" fmla="*/ 2933700 w 4610101"/>
              <a:gd name="connsiteY41669" fmla="*/ 337954 h 6557032"/>
              <a:gd name="connsiteX41670" fmla="*/ 2931878 w 4610101"/>
              <a:gd name="connsiteY41670" fmla="*/ 339777 h 6557032"/>
              <a:gd name="connsiteX41671" fmla="*/ 2930056 w 4610101"/>
              <a:gd name="connsiteY41671" fmla="*/ 321555 h 6557032"/>
              <a:gd name="connsiteX41672" fmla="*/ 2928234 w 4610101"/>
              <a:gd name="connsiteY41672" fmla="*/ 328844 h 6557032"/>
              <a:gd name="connsiteX41673" fmla="*/ 2930056 w 4610101"/>
              <a:gd name="connsiteY41673" fmla="*/ 308800 h 6557032"/>
              <a:gd name="connsiteX41674" fmla="*/ 2942811 w 4610101"/>
              <a:gd name="connsiteY41674" fmla="*/ 319733 h 6557032"/>
              <a:gd name="connsiteX41675" fmla="*/ 2951922 w 4610101"/>
              <a:gd name="connsiteY41675" fmla="*/ 299992 h 6557032"/>
              <a:gd name="connsiteX41676" fmla="*/ 2951922 w 4610101"/>
              <a:gd name="connsiteY41676" fmla="*/ 305155 h 6557032"/>
              <a:gd name="connsiteX41677" fmla="*/ 2955566 w 4610101"/>
              <a:gd name="connsiteY41677" fmla="*/ 303333 h 6557032"/>
              <a:gd name="connsiteX41678" fmla="*/ 2953744 w 4610101"/>
              <a:gd name="connsiteY41678" fmla="*/ 308800 h 6557032"/>
              <a:gd name="connsiteX41679" fmla="*/ 2959211 w 4610101"/>
              <a:gd name="connsiteY41679" fmla="*/ 301511 h 6557032"/>
              <a:gd name="connsiteX41680" fmla="*/ 2959211 w 4610101"/>
              <a:gd name="connsiteY41680" fmla="*/ 297867 h 6557032"/>
              <a:gd name="connsiteX41681" fmla="*/ 2951922 w 4610101"/>
              <a:gd name="connsiteY41681" fmla="*/ 294223 h 6557032"/>
              <a:gd name="connsiteX41682" fmla="*/ 2951922 w 4610101"/>
              <a:gd name="connsiteY41682" fmla="*/ 295640 h 6557032"/>
              <a:gd name="connsiteX41683" fmla="*/ 2937345 w 4610101"/>
              <a:gd name="connsiteY41683" fmla="*/ 292400 h 6557032"/>
              <a:gd name="connsiteX41684" fmla="*/ 2920945 w 4610101"/>
              <a:gd name="connsiteY41684" fmla="*/ 294223 h 6557032"/>
              <a:gd name="connsiteX41685" fmla="*/ 2913656 w 4610101"/>
              <a:gd name="connsiteY41685" fmla="*/ 286934 h 6557032"/>
              <a:gd name="connsiteX41686" fmla="*/ 2913656 w 4610101"/>
              <a:gd name="connsiteY41686" fmla="*/ 294223 h 6557032"/>
              <a:gd name="connsiteX41687" fmla="*/ 2906368 w 4610101"/>
              <a:gd name="connsiteY41687" fmla="*/ 285112 h 6557032"/>
              <a:gd name="connsiteX41688" fmla="*/ 2897257 w 4610101"/>
              <a:gd name="connsiteY41688" fmla="*/ 305155 h 6557032"/>
              <a:gd name="connsiteX41689" fmla="*/ 2893613 w 4610101"/>
              <a:gd name="connsiteY41689" fmla="*/ 299689 h 6557032"/>
              <a:gd name="connsiteX41690" fmla="*/ 2893613 w 4610101"/>
              <a:gd name="connsiteY41690" fmla="*/ 285112 h 6557032"/>
              <a:gd name="connsiteX41691" fmla="*/ 2893613 w 4610101"/>
              <a:gd name="connsiteY41691" fmla="*/ 294223 h 6557032"/>
              <a:gd name="connsiteX41692" fmla="*/ 2886324 w 4610101"/>
              <a:gd name="connsiteY41692" fmla="*/ 279645 h 6557032"/>
              <a:gd name="connsiteX41693" fmla="*/ 2882680 w 4610101"/>
              <a:gd name="connsiteY41693" fmla="*/ 281467 h 6557032"/>
              <a:gd name="connsiteX41694" fmla="*/ 2884502 w 4610101"/>
              <a:gd name="connsiteY41694" fmla="*/ 276001 h 6557032"/>
              <a:gd name="connsiteX41695" fmla="*/ 2893613 w 4610101"/>
              <a:gd name="connsiteY41695" fmla="*/ 265068 h 6557032"/>
              <a:gd name="connsiteX41696" fmla="*/ 2900901 w 4610101"/>
              <a:gd name="connsiteY41696" fmla="*/ 281467 h 6557032"/>
              <a:gd name="connsiteX41697" fmla="*/ 2919123 w 4610101"/>
              <a:gd name="connsiteY41697" fmla="*/ 272356 h 6557032"/>
              <a:gd name="connsiteX41698" fmla="*/ 2926412 w 4610101"/>
              <a:gd name="connsiteY41698" fmla="*/ 283289 h 6557032"/>
              <a:gd name="connsiteX41699" fmla="*/ 2924590 w 4610101"/>
              <a:gd name="connsiteY41699" fmla="*/ 276001 h 6557032"/>
              <a:gd name="connsiteX41700" fmla="*/ 2933700 w 4610101"/>
              <a:gd name="connsiteY41700" fmla="*/ 276001 h 6557032"/>
              <a:gd name="connsiteX41701" fmla="*/ 2930056 w 4610101"/>
              <a:gd name="connsiteY41701" fmla="*/ 279645 h 6557032"/>
              <a:gd name="connsiteX41702" fmla="*/ 2937345 w 4610101"/>
              <a:gd name="connsiteY41702" fmla="*/ 286934 h 6557032"/>
              <a:gd name="connsiteX41703" fmla="*/ 2942811 w 4610101"/>
              <a:gd name="connsiteY41703" fmla="*/ 283289 h 6557032"/>
              <a:gd name="connsiteX41704" fmla="*/ 2939167 w 4610101"/>
              <a:gd name="connsiteY41704" fmla="*/ 276001 h 6557032"/>
              <a:gd name="connsiteX41705" fmla="*/ 2948278 w 4610101"/>
              <a:gd name="connsiteY41705" fmla="*/ 285112 h 6557032"/>
              <a:gd name="connsiteX41706" fmla="*/ 2953744 w 4610101"/>
              <a:gd name="connsiteY41706" fmla="*/ 274179 h 6557032"/>
              <a:gd name="connsiteX41707" fmla="*/ 2959211 w 4610101"/>
              <a:gd name="connsiteY41707" fmla="*/ 277823 h 6557032"/>
              <a:gd name="connsiteX41708" fmla="*/ 2975610 w 4610101"/>
              <a:gd name="connsiteY41708" fmla="*/ 270534 h 6557032"/>
              <a:gd name="connsiteX41709" fmla="*/ 2975610 w 4610101"/>
              <a:gd name="connsiteY41709" fmla="*/ 263246 h 6557032"/>
              <a:gd name="connsiteX41710" fmla="*/ 2977432 w 4610101"/>
              <a:gd name="connsiteY41710" fmla="*/ 268712 h 6557032"/>
              <a:gd name="connsiteX41711" fmla="*/ 2984721 w 4610101"/>
              <a:gd name="connsiteY41711" fmla="*/ 255957 h 6557032"/>
              <a:gd name="connsiteX41712" fmla="*/ 2973788 w 4610101"/>
              <a:gd name="connsiteY41712" fmla="*/ 250490 h 6557032"/>
              <a:gd name="connsiteX41713" fmla="*/ 2979255 w 4610101"/>
              <a:gd name="connsiteY41713" fmla="*/ 246846 h 6557032"/>
              <a:gd name="connsiteX41714" fmla="*/ 2973788 w 4610101"/>
              <a:gd name="connsiteY41714" fmla="*/ 250490 h 6557032"/>
              <a:gd name="connsiteX41715" fmla="*/ 2975155 w 4610101"/>
              <a:gd name="connsiteY41715" fmla="*/ 237279 h 6557032"/>
              <a:gd name="connsiteX41716" fmla="*/ 2974853 w 4610101"/>
              <a:gd name="connsiteY41716" fmla="*/ 236815 h 6557032"/>
              <a:gd name="connsiteX41717" fmla="*/ 2975155 w 4610101"/>
              <a:gd name="connsiteY41717" fmla="*/ 235001 h 6557032"/>
              <a:gd name="connsiteX41718" fmla="*/ 2973788 w 4610101"/>
              <a:gd name="connsiteY41718" fmla="*/ 226802 h 6557032"/>
              <a:gd name="connsiteX41719" fmla="*/ 2971768 w 4610101"/>
              <a:gd name="connsiteY41719" fmla="*/ 232085 h 6557032"/>
              <a:gd name="connsiteX41720" fmla="*/ 2968322 w 4610101"/>
              <a:gd name="connsiteY41720" fmla="*/ 226802 h 6557032"/>
              <a:gd name="connsiteX41721" fmla="*/ 2969375 w 4610101"/>
              <a:gd name="connsiteY41721" fmla="*/ 215527 h 6557032"/>
              <a:gd name="connsiteX41722" fmla="*/ 2967717 w 4610101"/>
              <a:gd name="connsiteY41722" fmla="*/ 213825 h 6557032"/>
              <a:gd name="connsiteX41723" fmla="*/ 2971511 w 4610101"/>
              <a:gd name="connsiteY41723" fmla="*/ 213135 h 6557032"/>
              <a:gd name="connsiteX41724" fmla="*/ 2973685 w 4610101"/>
              <a:gd name="connsiteY41724" fmla="*/ 207047 h 6557032"/>
              <a:gd name="connsiteX41725" fmla="*/ 2975610 w 4610101"/>
              <a:gd name="connsiteY41725" fmla="*/ 208580 h 6557032"/>
              <a:gd name="connsiteX41726" fmla="*/ 2971966 w 4610101"/>
              <a:gd name="connsiteY41726" fmla="*/ 199469 h 6557032"/>
              <a:gd name="connsiteX41727" fmla="*/ 2975610 w 4610101"/>
              <a:gd name="connsiteY41727" fmla="*/ 192181 h 6557032"/>
              <a:gd name="connsiteX41728" fmla="*/ 2975272 w 4610101"/>
              <a:gd name="connsiteY41728" fmla="*/ 192011 h 6557032"/>
              <a:gd name="connsiteX41729" fmla="*/ 2981760 w 4610101"/>
              <a:gd name="connsiteY41729" fmla="*/ 177375 h 6557032"/>
              <a:gd name="connsiteX41730" fmla="*/ 2979255 w 4610101"/>
              <a:gd name="connsiteY41730" fmla="*/ 153915 h 6557032"/>
              <a:gd name="connsiteX41731" fmla="*/ 2979255 w 4610101"/>
              <a:gd name="connsiteY41731" fmla="*/ 164848 h 6557032"/>
              <a:gd name="connsiteX41732" fmla="*/ 2962856 w 4610101"/>
              <a:gd name="connsiteY41732" fmla="*/ 157559 h 6557032"/>
              <a:gd name="connsiteX41733" fmla="*/ 2966500 w 4610101"/>
              <a:gd name="connsiteY41733" fmla="*/ 152093 h 6557032"/>
              <a:gd name="connsiteX41734" fmla="*/ 2968322 w 4610101"/>
              <a:gd name="connsiteY41734" fmla="*/ 157559 h 6557032"/>
              <a:gd name="connsiteX41735" fmla="*/ 2970144 w 4610101"/>
              <a:gd name="connsiteY41735" fmla="*/ 144804 h 6557032"/>
              <a:gd name="connsiteX41736" fmla="*/ 2975610 w 4610101"/>
              <a:gd name="connsiteY41736" fmla="*/ 152093 h 6557032"/>
              <a:gd name="connsiteX41737" fmla="*/ 2973788 w 4610101"/>
              <a:gd name="connsiteY41737" fmla="*/ 132049 h 6557032"/>
              <a:gd name="connsiteX41738" fmla="*/ 2970752 w 4610101"/>
              <a:gd name="connsiteY41738" fmla="*/ 135085 h 6557032"/>
              <a:gd name="connsiteX41739" fmla="*/ 2971530 w 4610101"/>
              <a:gd name="connsiteY41739" fmla="*/ 131971 h 6557032"/>
              <a:gd name="connsiteX41740" fmla="*/ 2971966 w 4610101"/>
              <a:gd name="connsiteY41740" fmla="*/ 132049 h 6557032"/>
              <a:gd name="connsiteX41741" fmla="*/ 2986543 w 4610101"/>
              <a:gd name="connsiteY41741" fmla="*/ 106539 h 6557032"/>
              <a:gd name="connsiteX41742" fmla="*/ 2992010 w 4610101"/>
              <a:gd name="connsiteY41742" fmla="*/ 130227 h 6557032"/>
              <a:gd name="connsiteX41743" fmla="*/ 2986543 w 4610101"/>
              <a:gd name="connsiteY41743" fmla="*/ 159382 h 6557032"/>
              <a:gd name="connsiteX41744" fmla="*/ 2986543 w 4610101"/>
              <a:gd name="connsiteY41744" fmla="*/ 146626 h 6557032"/>
              <a:gd name="connsiteX41745" fmla="*/ 2997477 w 4610101"/>
              <a:gd name="connsiteY41745" fmla="*/ 152093 h 6557032"/>
              <a:gd name="connsiteX41746" fmla="*/ 2992010 w 4610101"/>
              <a:gd name="connsiteY41746" fmla="*/ 137516 h 6557032"/>
              <a:gd name="connsiteX41747" fmla="*/ 2995654 w 4610101"/>
              <a:gd name="connsiteY41747" fmla="*/ 139338 h 6557032"/>
              <a:gd name="connsiteX41748" fmla="*/ 2997477 w 4610101"/>
              <a:gd name="connsiteY41748" fmla="*/ 132049 h 6557032"/>
              <a:gd name="connsiteX41749" fmla="*/ 3004765 w 4610101"/>
              <a:gd name="connsiteY41749" fmla="*/ 142982 h 6557032"/>
              <a:gd name="connsiteX41750" fmla="*/ 3006587 w 4610101"/>
              <a:gd name="connsiteY41750" fmla="*/ 137516 h 6557032"/>
              <a:gd name="connsiteX41751" fmla="*/ 3004765 w 4610101"/>
              <a:gd name="connsiteY41751" fmla="*/ 148449 h 6557032"/>
              <a:gd name="connsiteX41752" fmla="*/ 3008410 w 4610101"/>
              <a:gd name="connsiteY41752" fmla="*/ 143818 h 6557032"/>
              <a:gd name="connsiteX41753" fmla="*/ 3008410 w 4610101"/>
              <a:gd name="connsiteY41753" fmla="*/ 153915 h 6557032"/>
              <a:gd name="connsiteX41754" fmla="*/ 3009777 w 4610101"/>
              <a:gd name="connsiteY41754" fmla="*/ 147537 h 6557032"/>
              <a:gd name="connsiteX41755" fmla="*/ 3008858 w 4610101"/>
              <a:gd name="connsiteY41755" fmla="*/ 143250 h 6557032"/>
              <a:gd name="connsiteX41756" fmla="*/ 3013193 w 4610101"/>
              <a:gd name="connsiteY41756" fmla="*/ 137743 h 6557032"/>
              <a:gd name="connsiteX41757" fmla="*/ 3006587 w 4610101"/>
              <a:gd name="connsiteY41757" fmla="*/ 122938 h 6557032"/>
              <a:gd name="connsiteX41758" fmla="*/ 3022987 w 4610101"/>
              <a:gd name="connsiteY41758" fmla="*/ 119294 h 6557032"/>
              <a:gd name="connsiteX41759" fmla="*/ 3021165 w 4610101"/>
              <a:gd name="connsiteY41759" fmla="*/ 130227 h 6557032"/>
              <a:gd name="connsiteX41760" fmla="*/ 3037564 w 4610101"/>
              <a:gd name="connsiteY41760" fmla="*/ 152093 h 6557032"/>
              <a:gd name="connsiteX41761" fmla="*/ 3050319 w 4610101"/>
              <a:gd name="connsiteY41761" fmla="*/ 144804 h 6557032"/>
              <a:gd name="connsiteX41762" fmla="*/ 3052142 w 4610101"/>
              <a:gd name="connsiteY41762" fmla="*/ 153915 h 6557032"/>
              <a:gd name="connsiteX41763" fmla="*/ 3061816 w 4610101"/>
              <a:gd name="connsiteY41763" fmla="*/ 153352 h 6557032"/>
              <a:gd name="connsiteX41764" fmla="*/ 3055786 w 4610101"/>
              <a:gd name="connsiteY41764" fmla="*/ 159382 h 6557032"/>
              <a:gd name="connsiteX41765" fmla="*/ 3063075 w 4610101"/>
              <a:gd name="connsiteY41765" fmla="*/ 155737 h 6557032"/>
              <a:gd name="connsiteX41766" fmla="*/ 3063075 w 4610101"/>
              <a:gd name="connsiteY41766" fmla="*/ 157559 h 6557032"/>
              <a:gd name="connsiteX41767" fmla="*/ 3066719 w 4610101"/>
              <a:gd name="connsiteY41767" fmla="*/ 155737 h 6557032"/>
              <a:gd name="connsiteX41768" fmla="*/ 3068541 w 4610101"/>
              <a:gd name="connsiteY41768" fmla="*/ 164848 h 6557032"/>
              <a:gd name="connsiteX41769" fmla="*/ 3075830 w 4610101"/>
              <a:gd name="connsiteY41769" fmla="*/ 161204 h 6557032"/>
              <a:gd name="connsiteX41770" fmla="*/ 3075830 w 4610101"/>
              <a:gd name="connsiteY41770" fmla="*/ 186714 h 6557032"/>
              <a:gd name="connsiteX41771" fmla="*/ 3070363 w 4610101"/>
              <a:gd name="connsiteY41771" fmla="*/ 184892 h 6557032"/>
              <a:gd name="connsiteX41772" fmla="*/ 3070363 w 4610101"/>
              <a:gd name="connsiteY41772" fmla="*/ 190359 h 6557032"/>
              <a:gd name="connsiteX41773" fmla="*/ 3064897 w 4610101"/>
              <a:gd name="connsiteY41773" fmla="*/ 188536 h 6557032"/>
              <a:gd name="connsiteX41774" fmla="*/ 3063075 w 4610101"/>
              <a:gd name="connsiteY41774" fmla="*/ 204936 h 6557032"/>
              <a:gd name="connsiteX41775" fmla="*/ 3079474 w 4610101"/>
              <a:gd name="connsiteY41775" fmla="*/ 208580 h 6557032"/>
              <a:gd name="connsiteX41776" fmla="*/ 3077652 w 4610101"/>
              <a:gd name="connsiteY41776" fmla="*/ 223158 h 6557032"/>
              <a:gd name="connsiteX41777" fmla="*/ 3053964 w 4610101"/>
              <a:gd name="connsiteY41777" fmla="*/ 212225 h 6557032"/>
              <a:gd name="connsiteX41778" fmla="*/ 3048497 w 4610101"/>
              <a:gd name="connsiteY41778" fmla="*/ 219513 h 6557032"/>
              <a:gd name="connsiteX41779" fmla="*/ 3055786 w 4610101"/>
              <a:gd name="connsiteY41779" fmla="*/ 239557 h 6557032"/>
              <a:gd name="connsiteX41780" fmla="*/ 3061253 w 4610101"/>
              <a:gd name="connsiteY41780" fmla="*/ 230446 h 6557032"/>
              <a:gd name="connsiteX41781" fmla="*/ 3063075 w 4610101"/>
              <a:gd name="connsiteY41781" fmla="*/ 232269 h 6557032"/>
              <a:gd name="connsiteX41782" fmla="*/ 3064897 w 4610101"/>
              <a:gd name="connsiteY41782" fmla="*/ 230446 h 6557032"/>
              <a:gd name="connsiteX41783" fmla="*/ 3063075 w 4610101"/>
              <a:gd name="connsiteY41783" fmla="*/ 234091 h 6557032"/>
              <a:gd name="connsiteX41784" fmla="*/ 3064897 w 4610101"/>
              <a:gd name="connsiteY41784" fmla="*/ 235913 h 6557032"/>
              <a:gd name="connsiteX41785" fmla="*/ 3072186 w 4610101"/>
              <a:gd name="connsiteY41785" fmla="*/ 230446 h 6557032"/>
              <a:gd name="connsiteX41786" fmla="*/ 3077652 w 4610101"/>
              <a:gd name="connsiteY41786" fmla="*/ 245024 h 6557032"/>
              <a:gd name="connsiteX41787" fmla="*/ 3078305 w 4610101"/>
              <a:gd name="connsiteY41787" fmla="*/ 238822 h 6557032"/>
              <a:gd name="connsiteX41788" fmla="*/ 3083119 w 4610101"/>
              <a:gd name="connsiteY41788" fmla="*/ 246846 h 6557032"/>
              <a:gd name="connsiteX41789" fmla="*/ 3083119 w 4610101"/>
              <a:gd name="connsiteY41789" fmla="*/ 241379 h 6557032"/>
              <a:gd name="connsiteX41790" fmla="*/ 3078369 w 4610101"/>
              <a:gd name="connsiteY41790" fmla="*/ 238212 h 6557032"/>
              <a:gd name="connsiteX41791" fmla="*/ 3078563 w 4610101"/>
              <a:gd name="connsiteY41791" fmla="*/ 236368 h 6557032"/>
              <a:gd name="connsiteX41792" fmla="*/ 3084941 w 4610101"/>
              <a:gd name="connsiteY41792" fmla="*/ 230446 h 6557032"/>
              <a:gd name="connsiteX41793" fmla="*/ 3086829 w 4610101"/>
              <a:gd name="connsiteY41793" fmla="*/ 221477 h 6557032"/>
              <a:gd name="connsiteX41794" fmla="*/ 3091091 w 4610101"/>
              <a:gd name="connsiteY41794" fmla="*/ 230674 h 6557032"/>
              <a:gd name="connsiteX41795" fmla="*/ 3099518 w 4610101"/>
              <a:gd name="connsiteY41795" fmla="*/ 230446 h 6557032"/>
              <a:gd name="connsiteX41796" fmla="*/ 3090407 w 4610101"/>
              <a:gd name="connsiteY41796" fmla="*/ 228624 h 6557032"/>
              <a:gd name="connsiteX41797" fmla="*/ 3095874 w 4610101"/>
              <a:gd name="connsiteY41797" fmla="*/ 226802 h 6557032"/>
              <a:gd name="connsiteX41798" fmla="*/ 3092230 w 4610101"/>
              <a:gd name="connsiteY41798" fmla="*/ 217691 h 6557032"/>
              <a:gd name="connsiteX41799" fmla="*/ 3092230 w 4610101"/>
              <a:gd name="connsiteY41799" fmla="*/ 223158 h 6557032"/>
              <a:gd name="connsiteX41800" fmla="*/ 3088813 w 4610101"/>
              <a:gd name="connsiteY41800" fmla="*/ 220880 h 6557032"/>
              <a:gd name="connsiteX41801" fmla="*/ 3086864 w 4610101"/>
              <a:gd name="connsiteY41801" fmla="*/ 221313 h 6557032"/>
              <a:gd name="connsiteX41802" fmla="*/ 3087674 w 4610101"/>
              <a:gd name="connsiteY41802" fmla="*/ 217463 h 6557032"/>
              <a:gd name="connsiteX41803" fmla="*/ 3079474 w 4610101"/>
              <a:gd name="connsiteY41803" fmla="*/ 208580 h 6557032"/>
              <a:gd name="connsiteX41804" fmla="*/ 3095874 w 4610101"/>
              <a:gd name="connsiteY41804" fmla="*/ 195825 h 6557032"/>
              <a:gd name="connsiteX41805" fmla="*/ 3099518 w 4610101"/>
              <a:gd name="connsiteY41805" fmla="*/ 203114 h 6557032"/>
              <a:gd name="connsiteX41806" fmla="*/ 3101340 w 4610101"/>
              <a:gd name="connsiteY41806" fmla="*/ 194003 h 6557032"/>
              <a:gd name="connsiteX41807" fmla="*/ 3108629 w 4610101"/>
              <a:gd name="connsiteY41807" fmla="*/ 203114 h 6557032"/>
              <a:gd name="connsiteX41808" fmla="*/ 3106807 w 4610101"/>
              <a:gd name="connsiteY41808" fmla="*/ 179426 h 6557032"/>
              <a:gd name="connsiteX41809" fmla="*/ 3104985 w 4610101"/>
              <a:gd name="connsiteY41809" fmla="*/ 190359 h 6557032"/>
              <a:gd name="connsiteX41810" fmla="*/ 3099518 w 4610101"/>
              <a:gd name="connsiteY41810" fmla="*/ 188536 h 6557032"/>
              <a:gd name="connsiteX41811" fmla="*/ 3101340 w 4610101"/>
              <a:gd name="connsiteY41811" fmla="*/ 173959 h 6557032"/>
              <a:gd name="connsiteX41812" fmla="*/ 3099518 w 4610101"/>
              <a:gd name="connsiteY41812" fmla="*/ 175781 h 6557032"/>
              <a:gd name="connsiteX41813" fmla="*/ 3110451 w 4610101"/>
              <a:gd name="connsiteY41813" fmla="*/ 173959 h 6557032"/>
              <a:gd name="connsiteX41814" fmla="*/ 3114096 w 4610101"/>
              <a:gd name="connsiteY41814" fmla="*/ 188536 h 6557032"/>
              <a:gd name="connsiteX41815" fmla="*/ 3126851 w 4610101"/>
              <a:gd name="connsiteY41815" fmla="*/ 177603 h 6557032"/>
              <a:gd name="connsiteX41816" fmla="*/ 3126951 w 4610101"/>
              <a:gd name="connsiteY41816" fmla="*/ 178002 h 6557032"/>
              <a:gd name="connsiteX41817" fmla="*/ 3125029 w 4610101"/>
              <a:gd name="connsiteY41817" fmla="*/ 183070 h 6557032"/>
              <a:gd name="connsiteX41818" fmla="*/ 3127888 w 4610101"/>
              <a:gd name="connsiteY41818" fmla="*/ 181750 h 6557032"/>
              <a:gd name="connsiteX41819" fmla="*/ 3128673 w 4610101"/>
              <a:gd name="connsiteY41819" fmla="*/ 184892 h 6557032"/>
              <a:gd name="connsiteX41820" fmla="*/ 3129663 w 4610101"/>
              <a:gd name="connsiteY41820" fmla="*/ 180931 h 6557032"/>
              <a:gd name="connsiteX41821" fmla="*/ 3132510 w 4610101"/>
              <a:gd name="connsiteY41821" fmla="*/ 179617 h 6557032"/>
              <a:gd name="connsiteX41822" fmla="*/ 3134140 w 4610101"/>
              <a:gd name="connsiteY41822" fmla="*/ 181248 h 6557032"/>
              <a:gd name="connsiteX41823" fmla="*/ 3133135 w 4610101"/>
              <a:gd name="connsiteY41823" fmla="*/ 179328 h 6557032"/>
              <a:gd name="connsiteX41824" fmla="*/ 3136873 w 4610101"/>
              <a:gd name="connsiteY41824" fmla="*/ 177603 h 6557032"/>
              <a:gd name="connsiteX41825" fmla="*/ 3143250 w 4610101"/>
              <a:gd name="connsiteY41825" fmla="*/ 166670 h 6557032"/>
              <a:gd name="connsiteX41826" fmla="*/ 3143250 w 4610101"/>
              <a:gd name="connsiteY41826" fmla="*/ 181248 h 6557032"/>
              <a:gd name="connsiteX41827" fmla="*/ 3156006 w 4610101"/>
              <a:gd name="connsiteY41827" fmla="*/ 170315 h 6557032"/>
              <a:gd name="connsiteX41828" fmla="*/ 3159650 w 4610101"/>
              <a:gd name="connsiteY41828" fmla="*/ 175781 h 6557032"/>
              <a:gd name="connsiteX41829" fmla="*/ 3157828 w 4610101"/>
              <a:gd name="connsiteY41829" fmla="*/ 184892 h 6557032"/>
              <a:gd name="connsiteX41830" fmla="*/ 3152361 w 4610101"/>
              <a:gd name="connsiteY41830" fmla="*/ 181248 h 6557032"/>
              <a:gd name="connsiteX41831" fmla="*/ 3161472 w 4610101"/>
              <a:gd name="connsiteY41831" fmla="*/ 201292 h 6557032"/>
              <a:gd name="connsiteX41832" fmla="*/ 3192478 w 4610101"/>
              <a:gd name="connsiteY41832" fmla="*/ 201291 h 6557032"/>
              <a:gd name="connsiteX41833" fmla="*/ 3197916 w 4610101"/>
              <a:gd name="connsiteY41833" fmla="*/ 206751 h 6557032"/>
              <a:gd name="connsiteX41834" fmla="*/ 3197916 w 4610101"/>
              <a:gd name="connsiteY41834" fmla="*/ 208580 h 6557032"/>
              <a:gd name="connsiteX41835" fmla="*/ 3192449 w 4610101"/>
              <a:gd name="connsiteY41835" fmla="*/ 204936 h 6557032"/>
              <a:gd name="connsiteX41836" fmla="*/ 3192449 w 4610101"/>
              <a:gd name="connsiteY41836" fmla="*/ 210403 h 6557032"/>
              <a:gd name="connsiteX41837" fmla="*/ 3188805 w 4610101"/>
              <a:gd name="connsiteY41837" fmla="*/ 206758 h 6557032"/>
              <a:gd name="connsiteX41838" fmla="*/ 3186072 w 4610101"/>
              <a:gd name="connsiteY41838" fmla="*/ 217919 h 6557032"/>
              <a:gd name="connsiteX41839" fmla="*/ 3187182 w 4610101"/>
              <a:gd name="connsiteY41839" fmla="*/ 220675 h 6557032"/>
              <a:gd name="connsiteX41840" fmla="*/ 3186982 w 4610101"/>
              <a:gd name="connsiteY41840" fmla="*/ 221336 h 6557032"/>
              <a:gd name="connsiteX41841" fmla="*/ 3187520 w 4610101"/>
              <a:gd name="connsiteY41841" fmla="*/ 221515 h 6557032"/>
              <a:gd name="connsiteX41842" fmla="*/ 3189318 w 4610101"/>
              <a:gd name="connsiteY41842" fmla="*/ 225976 h 6557032"/>
              <a:gd name="connsiteX41843" fmla="*/ 3188805 w 4610101"/>
              <a:gd name="connsiteY41843" fmla="*/ 235913 h 6557032"/>
              <a:gd name="connsiteX41844" fmla="*/ 3181516 w 4610101"/>
              <a:gd name="connsiteY41844" fmla="*/ 232269 h 6557032"/>
              <a:gd name="connsiteX41845" fmla="*/ 3179694 w 4610101"/>
              <a:gd name="connsiteY41845" fmla="*/ 224980 h 6557032"/>
              <a:gd name="connsiteX41846" fmla="*/ 3201560 w 4610101"/>
              <a:gd name="connsiteY41846" fmla="*/ 261423 h 6557032"/>
              <a:gd name="connsiteX41847" fmla="*/ 3210671 w 4610101"/>
              <a:gd name="connsiteY41847" fmla="*/ 261423 h 6557032"/>
              <a:gd name="connsiteX41848" fmla="*/ 3210671 w 4610101"/>
              <a:gd name="connsiteY41848" fmla="*/ 245024 h 6557032"/>
              <a:gd name="connsiteX41849" fmla="*/ 3201560 w 4610101"/>
              <a:gd name="connsiteY41849" fmla="*/ 241379 h 6557032"/>
              <a:gd name="connsiteX41850" fmla="*/ 3196093 w 4610101"/>
              <a:gd name="connsiteY41850" fmla="*/ 248668 h 6557032"/>
              <a:gd name="connsiteX41851" fmla="*/ 3194271 w 4610101"/>
              <a:gd name="connsiteY41851" fmla="*/ 243201 h 6557032"/>
              <a:gd name="connsiteX41852" fmla="*/ 3197592 w 4610101"/>
              <a:gd name="connsiteY41852" fmla="*/ 238221 h 6557032"/>
              <a:gd name="connsiteX41853" fmla="*/ 3203610 w 4610101"/>
              <a:gd name="connsiteY41853" fmla="*/ 240924 h 6557032"/>
              <a:gd name="connsiteX41854" fmla="*/ 3216137 w 4610101"/>
              <a:gd name="connsiteY41854" fmla="*/ 243202 h 6557032"/>
              <a:gd name="connsiteX41855" fmla="*/ 3212493 w 4610101"/>
              <a:gd name="connsiteY41855" fmla="*/ 237735 h 6557032"/>
              <a:gd name="connsiteX41856" fmla="*/ 3223223 w 4610101"/>
              <a:gd name="connsiteY41856" fmla="*/ 247724 h 6557032"/>
              <a:gd name="connsiteX41857" fmla="*/ 3225704 w 4610101"/>
              <a:gd name="connsiteY41857" fmla="*/ 250034 h 6557032"/>
              <a:gd name="connsiteX41858" fmla="*/ 3236181 w 4610101"/>
              <a:gd name="connsiteY41858" fmla="*/ 270534 h 6557032"/>
              <a:gd name="connsiteX41859" fmla="*/ 3219782 w 4610101"/>
              <a:gd name="connsiteY41859" fmla="*/ 281467 h 6557032"/>
              <a:gd name="connsiteX41860" fmla="*/ 3225704 w 4610101"/>
              <a:gd name="connsiteY41860" fmla="*/ 284656 h 6557032"/>
              <a:gd name="connsiteX41861" fmla="*/ 3228268 w 4610101"/>
              <a:gd name="connsiteY41861" fmla="*/ 289416 h 6557032"/>
              <a:gd name="connsiteX41862" fmla="*/ 3224793 w 4610101"/>
              <a:gd name="connsiteY41862" fmla="*/ 293083 h 6557032"/>
              <a:gd name="connsiteX41863" fmla="*/ 3228893 w 4610101"/>
              <a:gd name="connsiteY41863" fmla="*/ 296045 h 6557032"/>
              <a:gd name="connsiteX41864" fmla="*/ 3228893 w 4610101"/>
              <a:gd name="connsiteY41864" fmla="*/ 290578 h 6557032"/>
              <a:gd name="connsiteX41865" fmla="*/ 3236181 w 4610101"/>
              <a:gd name="connsiteY41865" fmla="*/ 270534 h 6557032"/>
              <a:gd name="connsiteX41866" fmla="*/ 3236865 w 4610101"/>
              <a:gd name="connsiteY41866" fmla="*/ 261651 h 6557032"/>
              <a:gd name="connsiteX41867" fmla="*/ 3238744 w 4610101"/>
              <a:gd name="connsiteY41867" fmla="*/ 258698 h 6557032"/>
              <a:gd name="connsiteX41868" fmla="*/ 3243470 w 4610101"/>
              <a:gd name="connsiteY41868" fmla="*/ 265068 h 6557032"/>
              <a:gd name="connsiteX41869" fmla="*/ 3242331 w 4610101"/>
              <a:gd name="connsiteY41869" fmla="*/ 258690 h 6557032"/>
              <a:gd name="connsiteX41870" fmla="*/ 3240964 w 4610101"/>
              <a:gd name="connsiteY41870" fmla="*/ 255209 h 6557032"/>
              <a:gd name="connsiteX41871" fmla="*/ 3241648 w 4610101"/>
              <a:gd name="connsiteY41871" fmla="*/ 254135 h 6557032"/>
              <a:gd name="connsiteX41872" fmla="*/ 3250759 w 4610101"/>
              <a:gd name="connsiteY41872" fmla="*/ 261423 h 6557032"/>
              <a:gd name="connsiteX41873" fmla="*/ 3258047 w 4610101"/>
              <a:gd name="connsiteY41873" fmla="*/ 254135 h 6557032"/>
              <a:gd name="connsiteX41874" fmla="*/ 3278091 w 4610101"/>
              <a:gd name="connsiteY41874" fmla="*/ 268712 h 6557032"/>
              <a:gd name="connsiteX41875" fmla="*/ 3274447 w 4610101"/>
              <a:gd name="connsiteY41875" fmla="*/ 232269 h 6557032"/>
              <a:gd name="connsiteX41876" fmla="*/ 3276269 w 4610101"/>
              <a:gd name="connsiteY41876" fmla="*/ 246846 h 6557032"/>
              <a:gd name="connsiteX41877" fmla="*/ 3279913 w 4610101"/>
              <a:gd name="connsiteY41877" fmla="*/ 234091 h 6557032"/>
              <a:gd name="connsiteX41878" fmla="*/ 3286519 w 4610101"/>
              <a:gd name="connsiteY41878" fmla="*/ 247301 h 6557032"/>
              <a:gd name="connsiteX41879" fmla="*/ 3295383 w 4610101"/>
              <a:gd name="connsiteY41879" fmla="*/ 254212 h 6557032"/>
              <a:gd name="connsiteX41880" fmla="*/ 3294491 w 4610101"/>
              <a:gd name="connsiteY41880" fmla="*/ 257779 h 6557032"/>
              <a:gd name="connsiteX41881" fmla="*/ 3296886 w 4610101"/>
              <a:gd name="connsiteY41881" fmla="*/ 255384 h 6557032"/>
              <a:gd name="connsiteX41882" fmla="*/ 3299957 w 4610101"/>
              <a:gd name="connsiteY41882" fmla="*/ 257779 h 6557032"/>
              <a:gd name="connsiteX41883" fmla="*/ 3299957 w 4610101"/>
              <a:gd name="connsiteY41883" fmla="*/ 252312 h 6557032"/>
              <a:gd name="connsiteX41884" fmla="*/ 3301780 w 4610101"/>
              <a:gd name="connsiteY41884" fmla="*/ 250490 h 6557032"/>
              <a:gd name="connsiteX41885" fmla="*/ 3299958 w 4610101"/>
              <a:gd name="connsiteY41885" fmla="*/ 250945 h 6557032"/>
              <a:gd name="connsiteX41886" fmla="*/ 3299958 w 4610101"/>
              <a:gd name="connsiteY41886" fmla="*/ 248668 h 6557032"/>
              <a:gd name="connsiteX41887" fmla="*/ 3299957 w 4610101"/>
              <a:gd name="connsiteY41887" fmla="*/ 239557 h 6557032"/>
              <a:gd name="connsiteX41888" fmla="*/ 3307246 w 4610101"/>
              <a:gd name="connsiteY41888" fmla="*/ 246846 h 6557032"/>
              <a:gd name="connsiteX41889" fmla="*/ 3309068 w 4610101"/>
              <a:gd name="connsiteY41889" fmla="*/ 243202 h 6557032"/>
              <a:gd name="connsiteX41890" fmla="*/ 3314535 w 4610101"/>
              <a:gd name="connsiteY41890" fmla="*/ 268712 h 6557032"/>
              <a:gd name="connsiteX41891" fmla="*/ 3320001 w 4610101"/>
              <a:gd name="connsiteY41891" fmla="*/ 265068 h 6557032"/>
              <a:gd name="connsiteX41892" fmla="*/ 3318179 w 4610101"/>
              <a:gd name="connsiteY41892" fmla="*/ 276001 h 6557032"/>
              <a:gd name="connsiteX41893" fmla="*/ 3330934 w 4610101"/>
              <a:gd name="connsiteY41893" fmla="*/ 272356 h 6557032"/>
              <a:gd name="connsiteX41894" fmla="*/ 3325468 w 4610101"/>
              <a:gd name="connsiteY41894" fmla="*/ 265068 h 6557032"/>
              <a:gd name="connsiteX41895" fmla="*/ 3323646 w 4610101"/>
              <a:gd name="connsiteY41895" fmla="*/ 268712 h 6557032"/>
              <a:gd name="connsiteX41896" fmla="*/ 3330934 w 4610101"/>
              <a:gd name="connsiteY41896" fmla="*/ 257779 h 6557032"/>
              <a:gd name="connsiteX41897" fmla="*/ 3341867 w 4610101"/>
              <a:gd name="connsiteY41897" fmla="*/ 286934 h 6557032"/>
              <a:gd name="connsiteX41898" fmla="*/ 3345512 w 4610101"/>
              <a:gd name="connsiteY41898" fmla="*/ 266890 h 6557032"/>
              <a:gd name="connsiteX41899" fmla="*/ 3356445 w 4610101"/>
              <a:gd name="connsiteY41899" fmla="*/ 279645 h 6557032"/>
              <a:gd name="connsiteX41900" fmla="*/ 3347855 w 4610101"/>
              <a:gd name="connsiteY41900" fmla="*/ 286517 h 6557032"/>
              <a:gd name="connsiteX41901" fmla="*/ 3347334 w 4610101"/>
              <a:gd name="connsiteY41901" fmla="*/ 283289 h 6557032"/>
              <a:gd name="connsiteX41902" fmla="*/ 3343007 w 4610101"/>
              <a:gd name="connsiteY41902" fmla="*/ 290350 h 6557032"/>
              <a:gd name="connsiteX41903" fmla="*/ 3345301 w 4610101"/>
              <a:gd name="connsiteY41903" fmla="*/ 295563 h 6557032"/>
              <a:gd name="connsiteX41904" fmla="*/ 3344145 w 4610101"/>
              <a:gd name="connsiteY41904" fmla="*/ 302878 h 6557032"/>
              <a:gd name="connsiteX41905" fmla="*/ 3350978 w 4610101"/>
              <a:gd name="connsiteY41905" fmla="*/ 308800 h 6557032"/>
              <a:gd name="connsiteX41906" fmla="*/ 3362376 w 4610101"/>
              <a:gd name="connsiteY41906" fmla="*/ 310066 h 6557032"/>
              <a:gd name="connsiteX41907" fmla="*/ 3363734 w 4610101"/>
              <a:gd name="connsiteY41907" fmla="*/ 310622 h 6557032"/>
              <a:gd name="connsiteX41908" fmla="*/ 3363594 w 4610101"/>
              <a:gd name="connsiteY41908" fmla="*/ 310201 h 6557032"/>
              <a:gd name="connsiteX41909" fmla="*/ 3367378 w 4610101"/>
              <a:gd name="connsiteY41909" fmla="*/ 310622 h 6557032"/>
              <a:gd name="connsiteX41910" fmla="*/ 3358495 w 4610101"/>
              <a:gd name="connsiteY41910" fmla="*/ 315177 h 6557032"/>
              <a:gd name="connsiteX41911" fmla="*/ 3356771 w 4610101"/>
              <a:gd name="connsiteY41911" fmla="*/ 323606 h 6557032"/>
              <a:gd name="connsiteX41912" fmla="*/ 3356445 w 4610101"/>
              <a:gd name="connsiteY41912" fmla="*/ 323377 h 6557032"/>
              <a:gd name="connsiteX41913" fmla="*/ 3354623 w 4610101"/>
              <a:gd name="connsiteY41913" fmla="*/ 327022 h 6557032"/>
              <a:gd name="connsiteX41914" fmla="*/ 3360089 w 4610101"/>
              <a:gd name="connsiteY41914" fmla="*/ 328844 h 6557032"/>
              <a:gd name="connsiteX41915" fmla="*/ 3360317 w 4610101"/>
              <a:gd name="connsiteY41915" fmla="*/ 326110 h 6557032"/>
              <a:gd name="connsiteX41916" fmla="*/ 3357513 w 4610101"/>
              <a:gd name="connsiteY41916" fmla="*/ 324131 h 6557032"/>
              <a:gd name="connsiteX41917" fmla="*/ 3363734 w 4610101"/>
              <a:gd name="connsiteY41917" fmla="*/ 317911 h 6557032"/>
              <a:gd name="connsiteX41918" fmla="*/ 3383777 w 4610101"/>
              <a:gd name="connsiteY41918" fmla="*/ 319733 h 6557032"/>
              <a:gd name="connsiteX41919" fmla="*/ 3381955 w 4610101"/>
              <a:gd name="connsiteY41919" fmla="*/ 285112 h 6557032"/>
              <a:gd name="connsiteX41920" fmla="*/ 3383777 w 4610101"/>
              <a:gd name="connsiteY41920" fmla="*/ 279645 h 6557032"/>
              <a:gd name="connsiteX41921" fmla="*/ 3389244 w 4610101"/>
              <a:gd name="connsiteY41921" fmla="*/ 294223 h 6557032"/>
              <a:gd name="connsiteX41922" fmla="*/ 3394710 w 4610101"/>
              <a:gd name="connsiteY41922" fmla="*/ 279645 h 6557032"/>
              <a:gd name="connsiteX41923" fmla="*/ 3387422 w 4610101"/>
              <a:gd name="connsiteY41923" fmla="*/ 274179 h 6557032"/>
              <a:gd name="connsiteX41924" fmla="*/ 3385600 w 4610101"/>
              <a:gd name="connsiteY41924" fmla="*/ 277823 h 6557032"/>
              <a:gd name="connsiteX41925" fmla="*/ 3374666 w 4610101"/>
              <a:gd name="connsiteY41925" fmla="*/ 268712 h 6557032"/>
              <a:gd name="connsiteX41926" fmla="*/ 3374666 w 4610101"/>
              <a:gd name="connsiteY41926" fmla="*/ 257779 h 6557032"/>
              <a:gd name="connsiteX41927" fmla="*/ 3381955 w 4610101"/>
              <a:gd name="connsiteY41927" fmla="*/ 261423 h 6557032"/>
              <a:gd name="connsiteX41928" fmla="*/ 3369200 w 4610101"/>
              <a:gd name="connsiteY41928" fmla="*/ 245024 h 6557032"/>
              <a:gd name="connsiteX41929" fmla="*/ 3378311 w 4610101"/>
              <a:gd name="connsiteY41929" fmla="*/ 237735 h 6557032"/>
              <a:gd name="connsiteX41930" fmla="*/ 3387422 w 4610101"/>
              <a:gd name="connsiteY41930" fmla="*/ 239557 h 6557032"/>
              <a:gd name="connsiteX41931" fmla="*/ 3391066 w 4610101"/>
              <a:gd name="connsiteY41931" fmla="*/ 224980 h 6557032"/>
              <a:gd name="connsiteX41932" fmla="*/ 3400177 w 4610101"/>
              <a:gd name="connsiteY41932" fmla="*/ 235913 h 6557032"/>
              <a:gd name="connsiteX41933" fmla="*/ 3394710 w 4610101"/>
              <a:gd name="connsiteY41933" fmla="*/ 223158 h 6557032"/>
              <a:gd name="connsiteX41934" fmla="*/ 3407466 w 4610101"/>
              <a:gd name="connsiteY41934" fmla="*/ 212225 h 6557032"/>
              <a:gd name="connsiteX41935" fmla="*/ 3418399 w 4610101"/>
              <a:gd name="connsiteY41935" fmla="*/ 208580 h 6557032"/>
              <a:gd name="connsiteX41936" fmla="*/ 3420221 w 4610101"/>
              <a:gd name="connsiteY41936" fmla="*/ 195825 h 6557032"/>
              <a:gd name="connsiteX41937" fmla="*/ 3414754 w 4610101"/>
              <a:gd name="connsiteY41937" fmla="*/ 197647 h 6557032"/>
              <a:gd name="connsiteX41938" fmla="*/ 3414754 w 4610101"/>
              <a:gd name="connsiteY41938" fmla="*/ 183070 h 6557032"/>
              <a:gd name="connsiteX41939" fmla="*/ 3418399 w 4610101"/>
              <a:gd name="connsiteY41939" fmla="*/ 188536 h 6557032"/>
              <a:gd name="connsiteX41940" fmla="*/ 3420221 w 4610101"/>
              <a:gd name="connsiteY41940" fmla="*/ 172137 h 6557032"/>
              <a:gd name="connsiteX41941" fmla="*/ 3431154 w 4610101"/>
              <a:gd name="connsiteY41941" fmla="*/ 175781 h 6557032"/>
              <a:gd name="connsiteX41942" fmla="*/ 3425687 w 4610101"/>
              <a:gd name="connsiteY41942" fmla="*/ 175781 h 6557032"/>
              <a:gd name="connsiteX41943" fmla="*/ 3425687 w 4610101"/>
              <a:gd name="connsiteY41943" fmla="*/ 181248 h 6557032"/>
              <a:gd name="connsiteX41944" fmla="*/ 3442087 w 4610101"/>
              <a:gd name="connsiteY41944" fmla="*/ 192181 h 6557032"/>
              <a:gd name="connsiteX41945" fmla="*/ 3438443 w 4610101"/>
              <a:gd name="connsiteY41945" fmla="*/ 194003 h 6557032"/>
              <a:gd name="connsiteX41946" fmla="*/ 3431154 w 4610101"/>
              <a:gd name="connsiteY41946" fmla="*/ 183070 h 6557032"/>
              <a:gd name="connsiteX41947" fmla="*/ 3438443 w 4610101"/>
              <a:gd name="connsiteY41947" fmla="*/ 199469 h 6557032"/>
              <a:gd name="connsiteX41948" fmla="*/ 3447553 w 4610101"/>
              <a:gd name="connsiteY41948" fmla="*/ 197647 h 6557032"/>
              <a:gd name="connsiteX41949" fmla="*/ 3443909 w 4610101"/>
              <a:gd name="connsiteY41949" fmla="*/ 188536 h 6557032"/>
              <a:gd name="connsiteX41950" fmla="*/ 3449376 w 4610101"/>
              <a:gd name="connsiteY41950" fmla="*/ 186714 h 6557032"/>
              <a:gd name="connsiteX41951" fmla="*/ 3451198 w 4610101"/>
              <a:gd name="connsiteY41951" fmla="*/ 197647 h 6557032"/>
              <a:gd name="connsiteX41952" fmla="*/ 3456664 w 4610101"/>
              <a:gd name="connsiteY41952" fmla="*/ 195825 h 6557032"/>
              <a:gd name="connsiteX41953" fmla="*/ 3456664 w 4610101"/>
              <a:gd name="connsiteY41953" fmla="*/ 204936 h 6557032"/>
              <a:gd name="connsiteX41954" fmla="*/ 3458487 w 4610101"/>
              <a:gd name="connsiteY41954" fmla="*/ 234091 h 6557032"/>
              <a:gd name="connsiteX41955" fmla="*/ 3460309 w 4610101"/>
              <a:gd name="connsiteY41955" fmla="*/ 219513 h 6557032"/>
              <a:gd name="connsiteX41956" fmla="*/ 3471242 w 4610101"/>
              <a:gd name="connsiteY41956" fmla="*/ 250490 h 6557032"/>
              <a:gd name="connsiteX41957" fmla="*/ 3462131 w 4610101"/>
              <a:gd name="connsiteY41957" fmla="*/ 254135 h 6557032"/>
              <a:gd name="connsiteX41958" fmla="*/ 3449376 w 4610101"/>
              <a:gd name="connsiteY41958" fmla="*/ 243202 h 6557032"/>
              <a:gd name="connsiteX41959" fmla="*/ 3447553 w 4610101"/>
              <a:gd name="connsiteY41959" fmla="*/ 250490 h 6557032"/>
              <a:gd name="connsiteX41960" fmla="*/ 3436621 w 4610101"/>
              <a:gd name="connsiteY41960" fmla="*/ 248668 h 6557032"/>
              <a:gd name="connsiteX41961" fmla="*/ 3425687 w 4610101"/>
              <a:gd name="connsiteY41961" fmla="*/ 268712 h 6557032"/>
              <a:gd name="connsiteX41962" fmla="*/ 3427510 w 4610101"/>
              <a:gd name="connsiteY41962" fmla="*/ 234091 h 6557032"/>
              <a:gd name="connsiteX41963" fmla="*/ 3422043 w 4610101"/>
              <a:gd name="connsiteY41963" fmla="*/ 235913 h 6557032"/>
              <a:gd name="connsiteX41964" fmla="*/ 3425687 w 4610101"/>
              <a:gd name="connsiteY41964" fmla="*/ 250490 h 6557032"/>
              <a:gd name="connsiteX41965" fmla="*/ 3423826 w 4610101"/>
              <a:gd name="connsiteY41965" fmla="*/ 246767 h 6557032"/>
              <a:gd name="connsiteX41966" fmla="*/ 3423865 w 4610101"/>
              <a:gd name="connsiteY41966" fmla="*/ 245024 h 6557032"/>
              <a:gd name="connsiteX41967" fmla="*/ 3423562 w 4610101"/>
              <a:gd name="connsiteY41967" fmla="*/ 246238 h 6557032"/>
              <a:gd name="connsiteX41968" fmla="*/ 3422043 w 4610101"/>
              <a:gd name="connsiteY41968" fmla="*/ 243202 h 6557032"/>
              <a:gd name="connsiteX41969" fmla="*/ 3418695 w 4610101"/>
              <a:gd name="connsiteY41969" fmla="*/ 250022 h 6557032"/>
              <a:gd name="connsiteX41970" fmla="*/ 3417716 w 4610101"/>
              <a:gd name="connsiteY41970" fmla="*/ 249351 h 6557032"/>
              <a:gd name="connsiteX41971" fmla="*/ 3420221 w 4610101"/>
              <a:gd name="connsiteY41971" fmla="*/ 245024 h 6557032"/>
              <a:gd name="connsiteX41972" fmla="*/ 3411110 w 4610101"/>
              <a:gd name="connsiteY41972" fmla="*/ 261423 h 6557032"/>
              <a:gd name="connsiteX41973" fmla="*/ 3412465 w 4610101"/>
              <a:gd name="connsiteY41973" fmla="*/ 262713 h 6557032"/>
              <a:gd name="connsiteX41974" fmla="*/ 3409744 w 4610101"/>
              <a:gd name="connsiteY41974" fmla="*/ 268256 h 6557032"/>
              <a:gd name="connsiteX41975" fmla="*/ 3410483 w 4610101"/>
              <a:gd name="connsiteY41975" fmla="*/ 283289 h 6557032"/>
              <a:gd name="connsiteX41976" fmla="*/ 3409288 w 4610101"/>
              <a:gd name="connsiteY41976" fmla="*/ 283289 h 6557032"/>
              <a:gd name="connsiteX41977" fmla="*/ 3410606 w 4610101"/>
              <a:gd name="connsiteY41977" fmla="*/ 285793 h 6557032"/>
              <a:gd name="connsiteX41978" fmla="*/ 3411110 w 4610101"/>
              <a:gd name="connsiteY41978" fmla="*/ 296045 h 6557032"/>
              <a:gd name="connsiteX41979" fmla="*/ 3405643 w 4610101"/>
              <a:gd name="connsiteY41979" fmla="*/ 294223 h 6557032"/>
              <a:gd name="connsiteX41980" fmla="*/ 3403821 w 4610101"/>
              <a:gd name="connsiteY41980" fmla="*/ 312444 h 6557032"/>
              <a:gd name="connsiteX41981" fmla="*/ 3422043 w 4610101"/>
              <a:gd name="connsiteY41981" fmla="*/ 325199 h 6557032"/>
              <a:gd name="connsiteX41982" fmla="*/ 3412932 w 4610101"/>
              <a:gd name="connsiteY41982" fmla="*/ 299689 h 6557032"/>
              <a:gd name="connsiteX41983" fmla="*/ 3416577 w 4610101"/>
              <a:gd name="connsiteY41983" fmla="*/ 305155 h 6557032"/>
              <a:gd name="connsiteX41984" fmla="*/ 3416577 w 4610101"/>
              <a:gd name="connsiteY41984" fmla="*/ 290578 h 6557032"/>
              <a:gd name="connsiteX41985" fmla="*/ 3411566 w 4610101"/>
              <a:gd name="connsiteY41985" fmla="*/ 287617 h 6557032"/>
              <a:gd name="connsiteX41986" fmla="*/ 3410606 w 4610101"/>
              <a:gd name="connsiteY41986" fmla="*/ 285793 h 6557032"/>
              <a:gd name="connsiteX41987" fmla="*/ 3410483 w 4610101"/>
              <a:gd name="connsiteY41987" fmla="*/ 283289 h 6557032"/>
              <a:gd name="connsiteX41988" fmla="*/ 3423865 w 4610101"/>
              <a:gd name="connsiteY41988" fmla="*/ 283289 h 6557032"/>
              <a:gd name="connsiteX41989" fmla="*/ 3426827 w 4610101"/>
              <a:gd name="connsiteY41989" fmla="*/ 312216 h 6557032"/>
              <a:gd name="connsiteX41990" fmla="*/ 3435659 w 4610101"/>
              <a:gd name="connsiteY41990" fmla="*/ 337070 h 6557032"/>
              <a:gd name="connsiteX41991" fmla="*/ 3429332 w 4610101"/>
              <a:gd name="connsiteY41991" fmla="*/ 332488 h 6557032"/>
              <a:gd name="connsiteX41992" fmla="*/ 3438443 w 4610101"/>
              <a:gd name="connsiteY41992" fmla="*/ 343421 h 6557032"/>
              <a:gd name="connsiteX41993" fmla="*/ 3436621 w 4610101"/>
              <a:gd name="connsiteY41993" fmla="*/ 338949 h 6557032"/>
              <a:gd name="connsiteX41994" fmla="*/ 3436621 w 4610101"/>
              <a:gd name="connsiteY41994" fmla="*/ 337954 h 6557032"/>
              <a:gd name="connsiteX41995" fmla="*/ 3443909 w 4610101"/>
              <a:gd name="connsiteY41995" fmla="*/ 337954 h 6557032"/>
              <a:gd name="connsiteX41996" fmla="*/ 3453020 w 4610101"/>
              <a:gd name="connsiteY41996" fmla="*/ 345242 h 6557032"/>
              <a:gd name="connsiteX41997" fmla="*/ 3451198 w 4610101"/>
              <a:gd name="connsiteY41997" fmla="*/ 334310 h 6557032"/>
              <a:gd name="connsiteX41998" fmla="*/ 3462131 w 4610101"/>
              <a:gd name="connsiteY41998" fmla="*/ 334310 h 6557032"/>
              <a:gd name="connsiteX41999" fmla="*/ 3456671 w 4610101"/>
              <a:gd name="connsiteY41999" fmla="*/ 329568 h 6557032"/>
              <a:gd name="connsiteX42000" fmla="*/ 3457120 w 4610101"/>
              <a:gd name="connsiteY42000" fmla="*/ 329299 h 6557032"/>
              <a:gd name="connsiteX42001" fmla="*/ 3456664 w 4610101"/>
              <a:gd name="connsiteY42001" fmla="*/ 325199 h 6557032"/>
              <a:gd name="connsiteX42002" fmla="*/ 3483997 w 4610101"/>
              <a:gd name="connsiteY42002" fmla="*/ 339777 h 6557032"/>
              <a:gd name="connsiteX42003" fmla="*/ 3482175 w 4610101"/>
              <a:gd name="connsiteY42003" fmla="*/ 328844 h 6557032"/>
              <a:gd name="connsiteX42004" fmla="*/ 3485819 w 4610101"/>
              <a:gd name="connsiteY42004" fmla="*/ 347066 h 6557032"/>
              <a:gd name="connsiteX42005" fmla="*/ 3478530 w 4610101"/>
              <a:gd name="connsiteY42005" fmla="*/ 345242 h 6557032"/>
              <a:gd name="connsiteX42006" fmla="*/ 3476708 w 4610101"/>
              <a:gd name="connsiteY42006" fmla="*/ 350710 h 6557032"/>
              <a:gd name="connsiteX42007" fmla="*/ 3474886 w 4610101"/>
              <a:gd name="connsiteY42007" fmla="*/ 339777 h 6557032"/>
              <a:gd name="connsiteX42008" fmla="*/ 3463953 w 4610101"/>
              <a:gd name="connsiteY42008" fmla="*/ 332488 h 6557032"/>
              <a:gd name="connsiteX42009" fmla="*/ 3456664 w 4610101"/>
              <a:gd name="connsiteY42009" fmla="*/ 341598 h 6557032"/>
              <a:gd name="connsiteX42010" fmla="*/ 3474886 w 4610101"/>
              <a:gd name="connsiteY42010" fmla="*/ 357998 h 6557032"/>
              <a:gd name="connsiteX42011" fmla="*/ 3478530 w 4610101"/>
              <a:gd name="connsiteY42011" fmla="*/ 350710 h 6557032"/>
              <a:gd name="connsiteX42012" fmla="*/ 3500397 w 4610101"/>
              <a:gd name="connsiteY42012" fmla="*/ 367109 h 6557032"/>
              <a:gd name="connsiteX42013" fmla="*/ 3498574 w 4610101"/>
              <a:gd name="connsiteY42013" fmla="*/ 363465 h 6557032"/>
              <a:gd name="connsiteX42014" fmla="*/ 3509507 w 4610101"/>
              <a:gd name="connsiteY42014" fmla="*/ 372576 h 6557032"/>
              <a:gd name="connsiteX42015" fmla="*/ 3507685 w 4610101"/>
              <a:gd name="connsiteY42015" fmla="*/ 352532 h 6557032"/>
              <a:gd name="connsiteX42016" fmla="*/ 3522263 w 4610101"/>
              <a:gd name="connsiteY42016" fmla="*/ 376220 h 6557032"/>
              <a:gd name="connsiteX42017" fmla="*/ 3533196 w 4610101"/>
              <a:gd name="connsiteY42017" fmla="*/ 374397 h 6557032"/>
              <a:gd name="connsiteX42018" fmla="*/ 3529551 w 4610101"/>
              <a:gd name="connsiteY42018" fmla="*/ 368932 h 6557032"/>
              <a:gd name="connsiteX42019" fmla="*/ 3531374 w 4610101"/>
              <a:gd name="connsiteY42019" fmla="*/ 372576 h 6557032"/>
              <a:gd name="connsiteX42020" fmla="*/ 3522263 w 4610101"/>
              <a:gd name="connsiteY42020" fmla="*/ 363465 h 6557032"/>
              <a:gd name="connsiteX42021" fmla="*/ 3525907 w 4610101"/>
              <a:gd name="connsiteY42021" fmla="*/ 361642 h 6557032"/>
              <a:gd name="connsiteX42022" fmla="*/ 3505863 w 4610101"/>
              <a:gd name="connsiteY42022" fmla="*/ 339777 h 6557032"/>
              <a:gd name="connsiteX42023" fmla="*/ 3504041 w 4610101"/>
              <a:gd name="connsiteY42023" fmla="*/ 357998 h 6557032"/>
              <a:gd name="connsiteX42024" fmla="*/ 3498574 w 4610101"/>
              <a:gd name="connsiteY42024" fmla="*/ 337954 h 6557032"/>
              <a:gd name="connsiteX42025" fmla="*/ 3491286 w 4610101"/>
              <a:gd name="connsiteY42025" fmla="*/ 321555 h 6557032"/>
              <a:gd name="connsiteX42026" fmla="*/ 3498574 w 4610101"/>
              <a:gd name="connsiteY42026" fmla="*/ 319733 h 6557032"/>
              <a:gd name="connsiteX42027" fmla="*/ 3509507 w 4610101"/>
              <a:gd name="connsiteY42027" fmla="*/ 332488 h 6557032"/>
              <a:gd name="connsiteX42028" fmla="*/ 3511330 w 4610101"/>
              <a:gd name="connsiteY42028" fmla="*/ 325199 h 6557032"/>
              <a:gd name="connsiteX42029" fmla="*/ 3513152 w 4610101"/>
              <a:gd name="connsiteY42029" fmla="*/ 332488 h 6557032"/>
              <a:gd name="connsiteX42030" fmla="*/ 3529551 w 4610101"/>
              <a:gd name="connsiteY42030" fmla="*/ 330666 h 6557032"/>
              <a:gd name="connsiteX42031" fmla="*/ 3527729 w 4610101"/>
              <a:gd name="connsiteY42031" fmla="*/ 339777 h 6557032"/>
              <a:gd name="connsiteX42032" fmla="*/ 3545951 w 4610101"/>
              <a:gd name="connsiteY42032" fmla="*/ 347066 h 6557032"/>
              <a:gd name="connsiteX42033" fmla="*/ 3540484 w 4610101"/>
              <a:gd name="connsiteY42033" fmla="*/ 356176 h 6557032"/>
              <a:gd name="connsiteX42034" fmla="*/ 3529551 w 4610101"/>
              <a:gd name="connsiteY42034" fmla="*/ 345242 h 6557032"/>
              <a:gd name="connsiteX42035" fmla="*/ 3544129 w 4610101"/>
              <a:gd name="connsiteY42035" fmla="*/ 365287 h 6557032"/>
              <a:gd name="connsiteX42036" fmla="*/ 3573284 w 4610101"/>
              <a:gd name="connsiteY42036" fmla="*/ 376220 h 6557032"/>
              <a:gd name="connsiteX42037" fmla="*/ 3571461 w 4610101"/>
              <a:gd name="connsiteY42037" fmla="*/ 374397 h 6557032"/>
              <a:gd name="connsiteX42038" fmla="*/ 3596972 w 4610101"/>
              <a:gd name="connsiteY42038" fmla="*/ 394441 h 6557032"/>
              <a:gd name="connsiteX42039" fmla="*/ 3602438 w 4610101"/>
              <a:gd name="connsiteY42039" fmla="*/ 396264 h 6557032"/>
              <a:gd name="connsiteX42040" fmla="*/ 3600616 w 4610101"/>
              <a:gd name="connsiteY42040" fmla="*/ 416308 h 6557032"/>
              <a:gd name="connsiteX42041" fmla="*/ 3595150 w 4610101"/>
              <a:gd name="connsiteY42041" fmla="*/ 409019 h 6557032"/>
              <a:gd name="connsiteX42042" fmla="*/ 3596972 w 4610101"/>
              <a:gd name="connsiteY42042" fmla="*/ 412664 h 6557032"/>
              <a:gd name="connsiteX42043" fmla="*/ 3587861 w 4610101"/>
              <a:gd name="connsiteY42043" fmla="*/ 412664 h 6557032"/>
              <a:gd name="connsiteX42044" fmla="*/ 3582394 w 4610101"/>
              <a:gd name="connsiteY42044" fmla="*/ 403552 h 6557032"/>
              <a:gd name="connsiteX42045" fmla="*/ 3578750 w 4610101"/>
              <a:gd name="connsiteY42045" fmla="*/ 405375 h 6557032"/>
              <a:gd name="connsiteX42046" fmla="*/ 3587861 w 4610101"/>
              <a:gd name="connsiteY42046" fmla="*/ 412664 h 6557032"/>
              <a:gd name="connsiteX42047" fmla="*/ 3586039 w 4610101"/>
              <a:gd name="connsiteY42047" fmla="*/ 412664 h 6557032"/>
              <a:gd name="connsiteX42048" fmla="*/ 3587218 w 4610101"/>
              <a:gd name="connsiteY42048" fmla="*/ 416522 h 6557032"/>
              <a:gd name="connsiteX42049" fmla="*/ 3582394 w 4610101"/>
              <a:gd name="connsiteY42049" fmla="*/ 412664 h 6557032"/>
              <a:gd name="connsiteX42050" fmla="*/ 3583533 w 4610101"/>
              <a:gd name="connsiteY42050" fmla="*/ 418358 h 6557032"/>
              <a:gd name="connsiteX42051" fmla="*/ 3588055 w 4610101"/>
              <a:gd name="connsiteY42051" fmla="*/ 419262 h 6557032"/>
              <a:gd name="connsiteX42052" fmla="*/ 3588544 w 4610101"/>
              <a:gd name="connsiteY42052" fmla="*/ 420863 h 6557032"/>
              <a:gd name="connsiteX42053" fmla="*/ 3588889 w 4610101"/>
              <a:gd name="connsiteY42053" fmla="*/ 423344 h 6557032"/>
              <a:gd name="connsiteX42054" fmla="*/ 3582394 w 4610101"/>
              <a:gd name="connsiteY42054" fmla="*/ 427240 h 6557032"/>
              <a:gd name="connsiteX42055" fmla="*/ 3589430 w 4610101"/>
              <a:gd name="connsiteY42055" fmla="*/ 427240 h 6557032"/>
              <a:gd name="connsiteX42056" fmla="*/ 3589683 w 4610101"/>
              <a:gd name="connsiteY42056" fmla="*/ 429063 h 6557032"/>
              <a:gd name="connsiteX42057" fmla="*/ 3598794 w 4610101"/>
              <a:gd name="connsiteY42057" fmla="*/ 430886 h 6557032"/>
              <a:gd name="connsiteX42058" fmla="*/ 3599421 w 4610101"/>
              <a:gd name="connsiteY42058" fmla="*/ 433462 h 6557032"/>
              <a:gd name="connsiteX42059" fmla="*/ 3595150 w 4610101"/>
              <a:gd name="connsiteY42059" fmla="*/ 434530 h 6557032"/>
              <a:gd name="connsiteX42060" fmla="*/ 3591505 w 4610101"/>
              <a:gd name="connsiteY42060" fmla="*/ 441819 h 6557032"/>
              <a:gd name="connsiteX42061" fmla="*/ 3584216 w 4610101"/>
              <a:gd name="connsiteY42061" fmla="*/ 434530 h 6557032"/>
              <a:gd name="connsiteX42062" fmla="*/ 3587861 w 4610101"/>
              <a:gd name="connsiteY42062" fmla="*/ 449107 h 6557032"/>
              <a:gd name="connsiteX42063" fmla="*/ 3584216 w 4610101"/>
              <a:gd name="connsiteY42063" fmla="*/ 450928 h 6557032"/>
              <a:gd name="connsiteX42064" fmla="*/ 3573284 w 4610101"/>
              <a:gd name="connsiteY42064" fmla="*/ 441819 h 6557032"/>
              <a:gd name="connsiteX42065" fmla="*/ 3570323 w 4610101"/>
              <a:gd name="connsiteY42065" fmla="*/ 436580 h 6557032"/>
              <a:gd name="connsiteX42066" fmla="*/ 3567684 w 4610101"/>
              <a:gd name="connsiteY42066" fmla="*/ 430886 h 6557032"/>
              <a:gd name="connsiteX42067" fmla="*/ 3567817 w 4610101"/>
              <a:gd name="connsiteY42067" fmla="*/ 430886 h 6557032"/>
              <a:gd name="connsiteX42068" fmla="*/ 3565995 w 4610101"/>
              <a:gd name="connsiteY42068" fmla="*/ 427240 h 6557032"/>
              <a:gd name="connsiteX42069" fmla="*/ 3567684 w 4610101"/>
              <a:gd name="connsiteY42069" fmla="*/ 430886 h 6557032"/>
              <a:gd name="connsiteX42070" fmla="*/ 3564173 w 4610101"/>
              <a:gd name="connsiteY42070" fmla="*/ 430886 h 6557032"/>
              <a:gd name="connsiteX42071" fmla="*/ 3547773 w 4610101"/>
              <a:gd name="connsiteY42071" fmla="*/ 423596 h 6557032"/>
              <a:gd name="connsiteX42072" fmla="*/ 3549595 w 4610101"/>
              <a:gd name="connsiteY42072" fmla="*/ 429063 h 6557032"/>
              <a:gd name="connsiteX42073" fmla="*/ 3529551 w 4610101"/>
              <a:gd name="connsiteY42073" fmla="*/ 429063 h 6557032"/>
              <a:gd name="connsiteX42074" fmla="*/ 3538662 w 4610101"/>
              <a:gd name="connsiteY42074" fmla="*/ 436351 h 6557032"/>
              <a:gd name="connsiteX42075" fmla="*/ 3536840 w 4610101"/>
              <a:gd name="connsiteY42075" fmla="*/ 445463 h 6557032"/>
              <a:gd name="connsiteX42076" fmla="*/ 3527729 w 4610101"/>
              <a:gd name="connsiteY42076" fmla="*/ 436351 h 6557032"/>
              <a:gd name="connsiteX42077" fmla="*/ 3540484 w 4610101"/>
              <a:gd name="connsiteY42077" fmla="*/ 481906 h 6557032"/>
              <a:gd name="connsiteX42078" fmla="*/ 3591505 w 4610101"/>
              <a:gd name="connsiteY42078" fmla="*/ 467328 h 6557032"/>
              <a:gd name="connsiteX42079" fmla="*/ 3601072 w 4610101"/>
              <a:gd name="connsiteY42079" fmla="*/ 464823 h 6557032"/>
              <a:gd name="connsiteX42080" fmla="*/ 3606315 w 4610101"/>
              <a:gd name="connsiteY42080" fmla="*/ 459755 h 6557032"/>
              <a:gd name="connsiteX42081" fmla="*/ 3607905 w 4610101"/>
              <a:gd name="connsiteY42081" fmla="*/ 469150 h 6557032"/>
              <a:gd name="connsiteX42082" fmla="*/ 3615193 w 4610101"/>
              <a:gd name="connsiteY42082" fmla="*/ 470972 h 6557032"/>
              <a:gd name="connsiteX42083" fmla="*/ 3607905 w 4610101"/>
              <a:gd name="connsiteY42083" fmla="*/ 470972 h 6557032"/>
              <a:gd name="connsiteX42084" fmla="*/ 3569639 w 4610101"/>
              <a:gd name="connsiteY42084" fmla="*/ 485550 h 6557032"/>
              <a:gd name="connsiteX42085" fmla="*/ 3586039 w 4610101"/>
              <a:gd name="connsiteY42085" fmla="*/ 489194 h 6557032"/>
              <a:gd name="connsiteX42086" fmla="*/ 3587861 w 4610101"/>
              <a:gd name="connsiteY42086" fmla="*/ 492838 h 6557032"/>
              <a:gd name="connsiteX42087" fmla="*/ 3591505 w 4610101"/>
              <a:gd name="connsiteY42087" fmla="*/ 489194 h 6557032"/>
              <a:gd name="connsiteX42088" fmla="*/ 3612460 w 4610101"/>
              <a:gd name="connsiteY42088" fmla="*/ 506505 h 6557032"/>
              <a:gd name="connsiteX42089" fmla="*/ 3631246 w 4610101"/>
              <a:gd name="connsiteY42089" fmla="*/ 514926 h 6557032"/>
              <a:gd name="connsiteX42090" fmla="*/ 3631365 w 4610101"/>
              <a:gd name="connsiteY42090" fmla="*/ 515389 h 6557032"/>
              <a:gd name="connsiteX42091" fmla="*/ 3631593 w 4610101"/>
              <a:gd name="connsiteY42091" fmla="*/ 520171 h 6557032"/>
              <a:gd name="connsiteX42092" fmla="*/ 3633735 w 4610101"/>
              <a:gd name="connsiteY42092" fmla="*/ 516042 h 6557032"/>
              <a:gd name="connsiteX42093" fmla="*/ 3638882 w 4610101"/>
              <a:gd name="connsiteY42093" fmla="*/ 518349 h 6557032"/>
              <a:gd name="connsiteX42094" fmla="*/ 3638882 w 4610101"/>
              <a:gd name="connsiteY42094" fmla="*/ 507417 h 6557032"/>
              <a:gd name="connsiteX42095" fmla="*/ 3647993 w 4610101"/>
              <a:gd name="connsiteY42095" fmla="*/ 501949 h 6557032"/>
              <a:gd name="connsiteX42096" fmla="*/ 3647993 w 4610101"/>
              <a:gd name="connsiteY42096" fmla="*/ 503771 h 6557032"/>
              <a:gd name="connsiteX42097" fmla="*/ 3652336 w 4610101"/>
              <a:gd name="connsiteY42097" fmla="*/ 507246 h 6557032"/>
              <a:gd name="connsiteX42098" fmla="*/ 3652321 w 4610101"/>
              <a:gd name="connsiteY42098" fmla="*/ 507417 h 6557032"/>
              <a:gd name="connsiteX42099" fmla="*/ 3660748 w 4610101"/>
              <a:gd name="connsiteY42099" fmla="*/ 514705 h 6557032"/>
              <a:gd name="connsiteX42100" fmla="*/ 3664392 w 4610101"/>
              <a:gd name="connsiteY42100" fmla="*/ 500127 h 6557032"/>
              <a:gd name="connsiteX42101" fmla="*/ 3658926 w 4610101"/>
              <a:gd name="connsiteY42101" fmla="*/ 503771 h 6557032"/>
              <a:gd name="connsiteX42102" fmla="*/ 3655281 w 4610101"/>
              <a:gd name="connsiteY42102" fmla="*/ 489194 h 6557032"/>
              <a:gd name="connsiteX42103" fmla="*/ 3658926 w 4610101"/>
              <a:gd name="connsiteY42103" fmla="*/ 483728 h 6557032"/>
              <a:gd name="connsiteX42104" fmla="*/ 3669859 w 4610101"/>
              <a:gd name="connsiteY42104" fmla="*/ 494662 h 6557032"/>
              <a:gd name="connsiteX42105" fmla="*/ 3682614 w 4610101"/>
              <a:gd name="connsiteY42105" fmla="*/ 507417 h 6557032"/>
              <a:gd name="connsiteX42106" fmla="*/ 3666214 w 4610101"/>
              <a:gd name="connsiteY42106" fmla="*/ 498306 h 6557032"/>
              <a:gd name="connsiteX42107" fmla="*/ 3662570 w 4610101"/>
              <a:gd name="connsiteY42107" fmla="*/ 511061 h 6557032"/>
              <a:gd name="connsiteX42108" fmla="*/ 3668037 w 4610101"/>
              <a:gd name="connsiteY42108" fmla="*/ 512882 h 6557032"/>
              <a:gd name="connsiteX42109" fmla="*/ 3669859 w 4610101"/>
              <a:gd name="connsiteY42109" fmla="*/ 509238 h 6557032"/>
              <a:gd name="connsiteX42110" fmla="*/ 3668037 w 4610101"/>
              <a:gd name="connsiteY42110" fmla="*/ 520171 h 6557032"/>
              <a:gd name="connsiteX42111" fmla="*/ 3664392 w 4610101"/>
              <a:gd name="connsiteY42111" fmla="*/ 516527 h 6557032"/>
              <a:gd name="connsiteX42112" fmla="*/ 3662570 w 4610101"/>
              <a:gd name="connsiteY42112" fmla="*/ 529282 h 6557032"/>
              <a:gd name="connsiteX42113" fmla="*/ 3669859 w 4610101"/>
              <a:gd name="connsiteY42113" fmla="*/ 536571 h 6557032"/>
              <a:gd name="connsiteX42114" fmla="*/ 3646171 w 4610101"/>
              <a:gd name="connsiteY42114" fmla="*/ 527461 h 6557032"/>
              <a:gd name="connsiteX42115" fmla="*/ 3638882 w 4610101"/>
              <a:gd name="connsiteY42115" fmla="*/ 534749 h 6557032"/>
              <a:gd name="connsiteX42116" fmla="*/ 3638882 w 4610101"/>
              <a:gd name="connsiteY42116" fmla="*/ 525638 h 6557032"/>
              <a:gd name="connsiteX42117" fmla="*/ 3627949 w 4610101"/>
              <a:gd name="connsiteY42117" fmla="*/ 531105 h 6557032"/>
              <a:gd name="connsiteX42118" fmla="*/ 3629771 w 4610101"/>
              <a:gd name="connsiteY42118" fmla="*/ 543860 h 6557032"/>
              <a:gd name="connsiteX42119" fmla="*/ 3622482 w 4610101"/>
              <a:gd name="connsiteY42119" fmla="*/ 534749 h 6557032"/>
              <a:gd name="connsiteX42120" fmla="*/ 3624304 w 4610101"/>
              <a:gd name="connsiteY42120" fmla="*/ 549326 h 6557032"/>
              <a:gd name="connsiteX42121" fmla="*/ 3613371 w 4610101"/>
              <a:gd name="connsiteY42121" fmla="*/ 520171 h 6557032"/>
              <a:gd name="connsiteX42122" fmla="*/ 3615193 w 4610101"/>
              <a:gd name="connsiteY42122" fmla="*/ 512882 h 6557032"/>
              <a:gd name="connsiteX42123" fmla="*/ 3587861 w 4610101"/>
              <a:gd name="connsiteY42123" fmla="*/ 505594 h 6557032"/>
              <a:gd name="connsiteX42124" fmla="*/ 3533196 w 4610101"/>
              <a:gd name="connsiteY42124" fmla="*/ 507417 h 6557032"/>
              <a:gd name="connsiteX42125" fmla="*/ 3536840 w 4610101"/>
              <a:gd name="connsiteY42125" fmla="*/ 511061 h 6557032"/>
              <a:gd name="connsiteX42126" fmla="*/ 3527729 w 4610101"/>
              <a:gd name="connsiteY42126" fmla="*/ 505594 h 6557032"/>
              <a:gd name="connsiteX42127" fmla="*/ 3525907 w 4610101"/>
              <a:gd name="connsiteY42127" fmla="*/ 512882 h 6557032"/>
              <a:gd name="connsiteX42128" fmla="*/ 3509507 w 4610101"/>
              <a:gd name="connsiteY42128" fmla="*/ 527461 h 6557032"/>
              <a:gd name="connsiteX42129" fmla="*/ 3493108 w 4610101"/>
              <a:gd name="connsiteY42129" fmla="*/ 547504 h 6557032"/>
              <a:gd name="connsiteX42130" fmla="*/ 3486446 w 4610101"/>
              <a:gd name="connsiteY42130" fmla="*/ 567747 h 6557032"/>
              <a:gd name="connsiteX42131" fmla="*/ 3484838 w 4610101"/>
              <a:gd name="connsiteY42131" fmla="*/ 572403 h 6557032"/>
              <a:gd name="connsiteX42132" fmla="*/ 3485136 w 4610101"/>
              <a:gd name="connsiteY42132" fmla="*/ 569598 h 6557032"/>
              <a:gd name="connsiteX42133" fmla="*/ 3482175 w 4610101"/>
              <a:gd name="connsiteY42133" fmla="*/ 565725 h 6557032"/>
              <a:gd name="connsiteX42134" fmla="*/ 3467597 w 4610101"/>
              <a:gd name="connsiteY42134" fmla="*/ 589414 h 6557032"/>
              <a:gd name="connsiteX42135" fmla="*/ 3478917 w 4610101"/>
              <a:gd name="connsiteY42135" fmla="*/ 583126 h 6557032"/>
              <a:gd name="connsiteX42136" fmla="*/ 3478075 w 4610101"/>
              <a:gd name="connsiteY42136" fmla="*/ 586681 h 6557032"/>
              <a:gd name="connsiteX42137" fmla="*/ 3465775 w 4610101"/>
              <a:gd name="connsiteY42137" fmla="*/ 598524 h 6557032"/>
              <a:gd name="connsiteX42138" fmla="*/ 3482175 w 4610101"/>
              <a:gd name="connsiteY42138" fmla="*/ 587591 h 6557032"/>
              <a:gd name="connsiteX42139" fmla="*/ 3482859 w 4610101"/>
              <a:gd name="connsiteY42139" fmla="*/ 582809 h 6557032"/>
              <a:gd name="connsiteX42140" fmla="*/ 3482663 w 4610101"/>
              <a:gd name="connsiteY42140" fmla="*/ 581045 h 6557032"/>
              <a:gd name="connsiteX42141" fmla="*/ 3483997 w 4610101"/>
              <a:gd name="connsiteY42141" fmla="*/ 580303 h 6557032"/>
              <a:gd name="connsiteX42142" fmla="*/ 3484470 w 4610101"/>
              <a:gd name="connsiteY42142" fmla="*/ 575864 h 6557032"/>
              <a:gd name="connsiteX42143" fmla="*/ 3488097 w 4610101"/>
              <a:gd name="connsiteY42143" fmla="*/ 574609 h 6557032"/>
              <a:gd name="connsiteX42144" fmla="*/ 3491286 w 4610101"/>
              <a:gd name="connsiteY42144" fmla="*/ 571192 h 6557032"/>
              <a:gd name="connsiteX42145" fmla="*/ 3494930 w 4610101"/>
              <a:gd name="connsiteY42145" fmla="*/ 580303 h 6557032"/>
              <a:gd name="connsiteX42146" fmla="*/ 3502219 w 4610101"/>
              <a:gd name="connsiteY42146" fmla="*/ 573014 h 6557032"/>
              <a:gd name="connsiteX42147" fmla="*/ 3509507 w 4610101"/>
              <a:gd name="connsiteY42147" fmla="*/ 576658 h 6557032"/>
              <a:gd name="connsiteX42148" fmla="*/ 3509507 w 4610101"/>
              <a:gd name="connsiteY42148" fmla="*/ 565725 h 6557032"/>
              <a:gd name="connsiteX42149" fmla="*/ 3511330 w 4610101"/>
              <a:gd name="connsiteY42149" fmla="*/ 573014 h 6557032"/>
              <a:gd name="connsiteX42150" fmla="*/ 3514974 w 4610101"/>
              <a:gd name="connsiteY42150" fmla="*/ 573014 h 6557032"/>
              <a:gd name="connsiteX42151" fmla="*/ 3516796 w 4610101"/>
              <a:gd name="connsiteY42151" fmla="*/ 563904 h 6557032"/>
              <a:gd name="connsiteX42152" fmla="*/ 3522263 w 4610101"/>
              <a:gd name="connsiteY42152" fmla="*/ 573014 h 6557032"/>
              <a:gd name="connsiteX42153" fmla="*/ 3531374 w 4610101"/>
              <a:gd name="connsiteY42153" fmla="*/ 571192 h 6557032"/>
              <a:gd name="connsiteX42154" fmla="*/ 3522263 w 4610101"/>
              <a:gd name="connsiteY42154" fmla="*/ 578481 h 6557032"/>
              <a:gd name="connsiteX42155" fmla="*/ 3535018 w 4610101"/>
              <a:gd name="connsiteY42155" fmla="*/ 580303 h 6557032"/>
              <a:gd name="connsiteX42156" fmla="*/ 3536840 w 4610101"/>
              <a:gd name="connsiteY42156" fmla="*/ 565725 h 6557032"/>
              <a:gd name="connsiteX42157" fmla="*/ 3542535 w 4610101"/>
              <a:gd name="connsiteY42157" fmla="*/ 575520 h 6557032"/>
              <a:gd name="connsiteX42158" fmla="*/ 3543238 w 4610101"/>
              <a:gd name="connsiteY42158" fmla="*/ 581647 h 6557032"/>
              <a:gd name="connsiteX42159" fmla="*/ 3541851 w 4610101"/>
              <a:gd name="connsiteY42159" fmla="*/ 583264 h 6557032"/>
              <a:gd name="connsiteX42160" fmla="*/ 3543750 w 4610101"/>
              <a:gd name="connsiteY42160" fmla="*/ 586113 h 6557032"/>
              <a:gd name="connsiteX42161" fmla="*/ 3544129 w 4610101"/>
              <a:gd name="connsiteY42161" fmla="*/ 589414 h 6557032"/>
              <a:gd name="connsiteX42162" fmla="*/ 3545496 w 4610101"/>
              <a:gd name="connsiteY42162" fmla="*/ 588731 h 6557032"/>
              <a:gd name="connsiteX42163" fmla="*/ 3545951 w 4610101"/>
              <a:gd name="connsiteY42163" fmla="*/ 589414 h 6557032"/>
              <a:gd name="connsiteX42164" fmla="*/ 3546047 w 4610101"/>
              <a:gd name="connsiteY42164" fmla="*/ 588455 h 6557032"/>
              <a:gd name="connsiteX42165" fmla="*/ 3547773 w 4610101"/>
              <a:gd name="connsiteY42165" fmla="*/ 587591 h 6557032"/>
              <a:gd name="connsiteX42166" fmla="*/ 3549595 w 4610101"/>
              <a:gd name="connsiteY42166" fmla="*/ 598524 h 6557032"/>
              <a:gd name="connsiteX42167" fmla="*/ 3540484 w 4610101"/>
              <a:gd name="connsiteY42167" fmla="*/ 596702 h 6557032"/>
              <a:gd name="connsiteX42168" fmla="*/ 3549595 w 4610101"/>
              <a:gd name="connsiteY42168" fmla="*/ 607635 h 6557032"/>
              <a:gd name="connsiteX42169" fmla="*/ 3551417 w 4610101"/>
              <a:gd name="connsiteY42169" fmla="*/ 598524 h 6557032"/>
              <a:gd name="connsiteX42170" fmla="*/ 3558706 w 4610101"/>
              <a:gd name="connsiteY42170" fmla="*/ 605813 h 6557032"/>
              <a:gd name="connsiteX42171" fmla="*/ 3567817 w 4610101"/>
              <a:gd name="connsiteY42171" fmla="*/ 616746 h 6557032"/>
              <a:gd name="connsiteX42172" fmla="*/ 3565995 w 4610101"/>
              <a:gd name="connsiteY42172" fmla="*/ 624035 h 6557032"/>
              <a:gd name="connsiteX42173" fmla="*/ 3560528 w 4610101"/>
              <a:gd name="connsiteY42173" fmla="*/ 620391 h 6557032"/>
              <a:gd name="connsiteX42174" fmla="*/ 3560528 w 4610101"/>
              <a:gd name="connsiteY42174" fmla="*/ 631324 h 6557032"/>
              <a:gd name="connsiteX42175" fmla="*/ 3553240 w 4610101"/>
              <a:gd name="connsiteY42175" fmla="*/ 640435 h 6557032"/>
              <a:gd name="connsiteX42176" fmla="*/ 3578750 w 4610101"/>
              <a:gd name="connsiteY42176" fmla="*/ 649545 h 6557032"/>
              <a:gd name="connsiteX42177" fmla="*/ 3553240 w 4610101"/>
              <a:gd name="connsiteY42177" fmla="*/ 642257 h 6557032"/>
              <a:gd name="connsiteX42178" fmla="*/ 3565995 w 4610101"/>
              <a:gd name="connsiteY42178" fmla="*/ 660478 h 6557032"/>
              <a:gd name="connsiteX42179" fmla="*/ 3569639 w 4610101"/>
              <a:gd name="connsiteY42179" fmla="*/ 658656 h 6557032"/>
              <a:gd name="connsiteX42180" fmla="*/ 3567817 w 4610101"/>
              <a:gd name="connsiteY42180" fmla="*/ 651368 h 6557032"/>
              <a:gd name="connsiteX42181" fmla="*/ 3573284 w 4610101"/>
              <a:gd name="connsiteY42181" fmla="*/ 658656 h 6557032"/>
              <a:gd name="connsiteX42182" fmla="*/ 3578750 w 4610101"/>
              <a:gd name="connsiteY42182" fmla="*/ 649545 h 6557032"/>
              <a:gd name="connsiteX42183" fmla="*/ 3580572 w 4610101"/>
              <a:gd name="connsiteY42183" fmla="*/ 642257 h 6557032"/>
              <a:gd name="connsiteX42184" fmla="*/ 3582394 w 4610101"/>
              <a:gd name="connsiteY42184" fmla="*/ 649545 h 6557032"/>
              <a:gd name="connsiteX42185" fmla="*/ 3596972 w 4610101"/>
              <a:gd name="connsiteY42185" fmla="*/ 654101 h 6557032"/>
              <a:gd name="connsiteX42186" fmla="*/ 3609307 w 4610101"/>
              <a:gd name="connsiteY42186" fmla="*/ 662582 h 6557032"/>
              <a:gd name="connsiteX42187" fmla="*/ 3607905 w 4610101"/>
              <a:gd name="connsiteY42187" fmla="*/ 662301 h 6557032"/>
              <a:gd name="connsiteX42188" fmla="*/ 3615193 w 4610101"/>
              <a:gd name="connsiteY42188" fmla="*/ 669589 h 6557032"/>
              <a:gd name="connsiteX42189" fmla="*/ 3617016 w 4610101"/>
              <a:gd name="connsiteY42189" fmla="*/ 664123 h 6557032"/>
              <a:gd name="connsiteX42190" fmla="*/ 3612460 w 4610101"/>
              <a:gd name="connsiteY42190" fmla="*/ 663212 h 6557032"/>
              <a:gd name="connsiteX42191" fmla="*/ 3613371 w 4610101"/>
              <a:gd name="connsiteY42191" fmla="*/ 662301 h 6557032"/>
              <a:gd name="connsiteX42192" fmla="*/ 3615193 w 4610101"/>
              <a:gd name="connsiteY42192" fmla="*/ 651368 h 6557032"/>
              <a:gd name="connsiteX42193" fmla="*/ 3613371 w 4610101"/>
              <a:gd name="connsiteY42193" fmla="*/ 645901 h 6557032"/>
              <a:gd name="connsiteX42194" fmla="*/ 3596972 w 4610101"/>
              <a:gd name="connsiteY42194" fmla="*/ 647723 h 6557032"/>
              <a:gd name="connsiteX42195" fmla="*/ 3593327 w 4610101"/>
              <a:gd name="connsiteY42195" fmla="*/ 636790 h 6557032"/>
              <a:gd name="connsiteX42196" fmla="*/ 3602438 w 4610101"/>
              <a:gd name="connsiteY42196" fmla="*/ 638612 h 6557032"/>
              <a:gd name="connsiteX42197" fmla="*/ 3602438 w 4610101"/>
              <a:gd name="connsiteY42197" fmla="*/ 633146 h 6557032"/>
              <a:gd name="connsiteX42198" fmla="*/ 3606082 w 4610101"/>
              <a:gd name="connsiteY42198" fmla="*/ 644079 h 6557032"/>
              <a:gd name="connsiteX42199" fmla="*/ 3626127 w 4610101"/>
              <a:gd name="connsiteY42199" fmla="*/ 651368 h 6557032"/>
              <a:gd name="connsiteX42200" fmla="*/ 3617016 w 4610101"/>
              <a:gd name="connsiteY42200" fmla="*/ 653190 h 6557032"/>
              <a:gd name="connsiteX42201" fmla="*/ 3629771 w 4610101"/>
              <a:gd name="connsiteY42201" fmla="*/ 665945 h 6557032"/>
              <a:gd name="connsiteX42202" fmla="*/ 3627949 w 4610101"/>
              <a:gd name="connsiteY42202" fmla="*/ 653190 h 6557032"/>
              <a:gd name="connsiteX42203" fmla="*/ 3629771 w 4610101"/>
              <a:gd name="connsiteY42203" fmla="*/ 651368 h 6557032"/>
              <a:gd name="connsiteX42204" fmla="*/ 3642526 w 4610101"/>
              <a:gd name="connsiteY42204" fmla="*/ 660478 h 6557032"/>
              <a:gd name="connsiteX42205" fmla="*/ 3638882 w 4610101"/>
              <a:gd name="connsiteY42205" fmla="*/ 658656 h 6557032"/>
              <a:gd name="connsiteX42206" fmla="*/ 3640704 w 4610101"/>
              <a:gd name="connsiteY42206" fmla="*/ 665945 h 6557032"/>
              <a:gd name="connsiteX42207" fmla="*/ 3633415 w 4610101"/>
              <a:gd name="connsiteY42207" fmla="*/ 667767 h 6557032"/>
              <a:gd name="connsiteX42208" fmla="*/ 3637060 w 4610101"/>
              <a:gd name="connsiteY42208" fmla="*/ 676878 h 6557032"/>
              <a:gd name="connsiteX42209" fmla="*/ 3654143 w 4610101"/>
              <a:gd name="connsiteY42209" fmla="*/ 679156 h 6557032"/>
              <a:gd name="connsiteX42210" fmla="*/ 3655044 w 4610101"/>
              <a:gd name="connsiteY42210" fmla="*/ 679443 h 6557032"/>
              <a:gd name="connsiteX42211" fmla="*/ 3646171 w 4610101"/>
              <a:gd name="connsiteY42211" fmla="*/ 680522 h 6557032"/>
              <a:gd name="connsiteX42212" fmla="*/ 3620660 w 4610101"/>
              <a:gd name="connsiteY42212" fmla="*/ 671411 h 6557032"/>
              <a:gd name="connsiteX42213" fmla="*/ 3624304 w 4610101"/>
              <a:gd name="connsiteY42213" fmla="*/ 684167 h 6557032"/>
              <a:gd name="connsiteX42214" fmla="*/ 3652776 w 4610101"/>
              <a:gd name="connsiteY42214" fmla="*/ 689178 h 6557032"/>
              <a:gd name="connsiteX42215" fmla="*/ 3669775 w 4610101"/>
              <a:gd name="connsiteY42215" fmla="*/ 686954 h 6557032"/>
              <a:gd name="connsiteX42216" fmla="*/ 3669631 w 4610101"/>
              <a:gd name="connsiteY42216" fmla="*/ 691684 h 6557032"/>
              <a:gd name="connsiteX42217" fmla="*/ 3668037 w 4610101"/>
              <a:gd name="connsiteY42217" fmla="*/ 700566 h 6557032"/>
              <a:gd name="connsiteX42218" fmla="*/ 3631593 w 4610101"/>
              <a:gd name="connsiteY42218" fmla="*/ 693278 h 6557032"/>
              <a:gd name="connsiteX42219" fmla="*/ 3611549 w 4610101"/>
              <a:gd name="connsiteY42219" fmla="*/ 695100 h 6557032"/>
              <a:gd name="connsiteX42220" fmla="*/ 3600616 w 4610101"/>
              <a:gd name="connsiteY42220" fmla="*/ 691455 h 6557032"/>
              <a:gd name="connsiteX42221" fmla="*/ 3602438 w 4610101"/>
              <a:gd name="connsiteY42221" fmla="*/ 709677 h 6557032"/>
              <a:gd name="connsiteX42222" fmla="*/ 3593327 w 4610101"/>
              <a:gd name="connsiteY42222" fmla="*/ 702388 h 6557032"/>
              <a:gd name="connsiteX42223" fmla="*/ 3598794 w 4610101"/>
              <a:gd name="connsiteY42223" fmla="*/ 695100 h 6557032"/>
              <a:gd name="connsiteX42224" fmla="*/ 3582394 w 4610101"/>
              <a:gd name="connsiteY42224" fmla="*/ 687811 h 6557032"/>
              <a:gd name="connsiteX42225" fmla="*/ 3584278 w 4610101"/>
              <a:gd name="connsiteY42225" fmla="*/ 691578 h 6557032"/>
              <a:gd name="connsiteX42226" fmla="*/ 3579491 w 4610101"/>
              <a:gd name="connsiteY42226" fmla="*/ 686958 h 6557032"/>
              <a:gd name="connsiteX42227" fmla="*/ 3560528 w 4610101"/>
              <a:gd name="connsiteY42227" fmla="*/ 698744 h 6557032"/>
              <a:gd name="connsiteX42228" fmla="*/ 3556884 w 4610101"/>
              <a:gd name="connsiteY42228" fmla="*/ 700566 h 6557032"/>
              <a:gd name="connsiteX42229" fmla="*/ 3560528 w 4610101"/>
              <a:gd name="connsiteY42229" fmla="*/ 724254 h 6557032"/>
              <a:gd name="connsiteX42230" fmla="*/ 3576700 w 4610101"/>
              <a:gd name="connsiteY42230" fmla="*/ 722432 h 6557032"/>
              <a:gd name="connsiteX42231" fmla="*/ 3587646 w 4610101"/>
              <a:gd name="connsiteY42231" fmla="*/ 721085 h 6557032"/>
              <a:gd name="connsiteX42232" fmla="*/ 3587861 w 4610101"/>
              <a:gd name="connsiteY42232" fmla="*/ 722432 h 6557032"/>
              <a:gd name="connsiteX42233" fmla="*/ 3620660 w 4610101"/>
              <a:gd name="connsiteY42233" fmla="*/ 718788 h 6557032"/>
              <a:gd name="connsiteX42234" fmla="*/ 3613371 w 4610101"/>
              <a:gd name="connsiteY42234" fmla="*/ 722432 h 6557032"/>
              <a:gd name="connsiteX42235" fmla="*/ 3624304 w 4610101"/>
              <a:gd name="connsiteY42235" fmla="*/ 724254 h 6557032"/>
              <a:gd name="connsiteX42236" fmla="*/ 3605172 w 4610101"/>
              <a:gd name="connsiteY42236" fmla="*/ 724027 h 6557032"/>
              <a:gd name="connsiteX42237" fmla="*/ 3586476 w 4610101"/>
              <a:gd name="connsiteY42237" fmla="*/ 727811 h 6557032"/>
              <a:gd name="connsiteX42238" fmla="*/ 3578522 w 4610101"/>
              <a:gd name="connsiteY42238" fmla="*/ 727671 h 6557032"/>
              <a:gd name="connsiteX42239" fmla="*/ 3569639 w 4610101"/>
              <a:gd name="connsiteY42239" fmla="*/ 731543 h 6557032"/>
              <a:gd name="connsiteX42240" fmla="*/ 3587406 w 4610101"/>
              <a:gd name="connsiteY42240" fmla="*/ 728583 h 6557032"/>
              <a:gd name="connsiteX42241" fmla="*/ 3593327 w 4610101"/>
              <a:gd name="connsiteY42241" fmla="*/ 731543 h 6557032"/>
              <a:gd name="connsiteX42242" fmla="*/ 3549595 w 4610101"/>
              <a:gd name="connsiteY42242" fmla="*/ 737010 h 6557032"/>
              <a:gd name="connsiteX42243" fmla="*/ 3551417 w 4610101"/>
              <a:gd name="connsiteY42243" fmla="*/ 742476 h 6557032"/>
              <a:gd name="connsiteX42244" fmla="*/ 3538662 w 4610101"/>
              <a:gd name="connsiteY42244" fmla="*/ 738832 h 6557032"/>
              <a:gd name="connsiteX42245" fmla="*/ 3535018 w 4610101"/>
              <a:gd name="connsiteY42245" fmla="*/ 746121 h 6557032"/>
              <a:gd name="connsiteX42246" fmla="*/ 3522263 w 4610101"/>
              <a:gd name="connsiteY42246" fmla="*/ 735188 h 6557032"/>
              <a:gd name="connsiteX42247" fmla="*/ 3545951 w 4610101"/>
              <a:gd name="connsiteY42247" fmla="*/ 780742 h 6557032"/>
              <a:gd name="connsiteX42248" fmla="*/ 3544129 w 4610101"/>
              <a:gd name="connsiteY42248" fmla="*/ 773453 h 6557032"/>
              <a:gd name="connsiteX42249" fmla="*/ 3549595 w 4610101"/>
              <a:gd name="connsiteY42249" fmla="*/ 775275 h 6557032"/>
              <a:gd name="connsiteX42250" fmla="*/ 3545951 w 4610101"/>
              <a:gd name="connsiteY42250" fmla="*/ 769809 h 6557032"/>
              <a:gd name="connsiteX42251" fmla="*/ 3547773 w 4610101"/>
              <a:gd name="connsiteY42251" fmla="*/ 771631 h 6557032"/>
              <a:gd name="connsiteX42252" fmla="*/ 3536840 w 4610101"/>
              <a:gd name="connsiteY42252" fmla="*/ 767987 h 6557032"/>
              <a:gd name="connsiteX42253" fmla="*/ 3562350 w 4610101"/>
              <a:gd name="connsiteY42253" fmla="*/ 762520 h 6557032"/>
              <a:gd name="connsiteX42254" fmla="*/ 3562350 w 4610101"/>
              <a:gd name="connsiteY42254" fmla="*/ 757054 h 6557032"/>
              <a:gd name="connsiteX42255" fmla="*/ 3569639 w 4610101"/>
              <a:gd name="connsiteY42255" fmla="*/ 764342 h 6557032"/>
              <a:gd name="connsiteX42256" fmla="*/ 3556884 w 4610101"/>
              <a:gd name="connsiteY42256" fmla="*/ 767987 h 6557032"/>
              <a:gd name="connsiteX42257" fmla="*/ 3567817 w 4610101"/>
              <a:gd name="connsiteY42257" fmla="*/ 778920 h 6557032"/>
              <a:gd name="connsiteX42258" fmla="*/ 3564173 w 4610101"/>
              <a:gd name="connsiteY42258" fmla="*/ 780742 h 6557032"/>
              <a:gd name="connsiteX42259" fmla="*/ 3575106 w 4610101"/>
              <a:gd name="connsiteY42259" fmla="*/ 789853 h 6557032"/>
              <a:gd name="connsiteX42260" fmla="*/ 3576928 w 4610101"/>
              <a:gd name="connsiteY42260" fmla="*/ 784386 h 6557032"/>
              <a:gd name="connsiteX42261" fmla="*/ 3587861 w 4610101"/>
              <a:gd name="connsiteY42261" fmla="*/ 798964 h 6557032"/>
              <a:gd name="connsiteX42262" fmla="*/ 3569639 w 4610101"/>
              <a:gd name="connsiteY42262" fmla="*/ 793497 h 6557032"/>
              <a:gd name="connsiteX42263" fmla="*/ 3571461 w 4610101"/>
              <a:gd name="connsiteY42263" fmla="*/ 800786 h 6557032"/>
              <a:gd name="connsiteX42264" fmla="*/ 3555062 w 4610101"/>
              <a:gd name="connsiteY42264" fmla="*/ 798964 h 6557032"/>
              <a:gd name="connsiteX42265" fmla="*/ 3555062 w 4610101"/>
              <a:gd name="connsiteY42265" fmla="*/ 808074 h 6557032"/>
              <a:gd name="connsiteX42266" fmla="*/ 3564173 w 4610101"/>
              <a:gd name="connsiteY42266" fmla="*/ 802608 h 6557032"/>
              <a:gd name="connsiteX42267" fmla="*/ 3558706 w 4610101"/>
              <a:gd name="connsiteY42267" fmla="*/ 811719 h 6557032"/>
              <a:gd name="connsiteX42268" fmla="*/ 3600616 w 4610101"/>
              <a:gd name="connsiteY42268" fmla="*/ 809897 h 6557032"/>
              <a:gd name="connsiteX42269" fmla="*/ 3607905 w 4610101"/>
              <a:gd name="connsiteY42269" fmla="*/ 806252 h 6557032"/>
              <a:gd name="connsiteX42270" fmla="*/ 3602438 w 4610101"/>
              <a:gd name="connsiteY42270" fmla="*/ 802608 h 6557032"/>
              <a:gd name="connsiteX42271" fmla="*/ 3609727 w 4610101"/>
              <a:gd name="connsiteY42271" fmla="*/ 804430 h 6557032"/>
              <a:gd name="connsiteX42272" fmla="*/ 3602438 w 4610101"/>
              <a:gd name="connsiteY42272" fmla="*/ 795319 h 6557032"/>
              <a:gd name="connsiteX42273" fmla="*/ 3609727 w 4610101"/>
              <a:gd name="connsiteY42273" fmla="*/ 795319 h 6557032"/>
              <a:gd name="connsiteX42274" fmla="*/ 3609727 w 4610101"/>
              <a:gd name="connsiteY42274" fmla="*/ 789853 h 6557032"/>
              <a:gd name="connsiteX42275" fmla="*/ 3626127 w 4610101"/>
              <a:gd name="connsiteY42275" fmla="*/ 791675 h 6557032"/>
              <a:gd name="connsiteX42276" fmla="*/ 3626127 w 4610101"/>
              <a:gd name="connsiteY42276" fmla="*/ 784386 h 6557032"/>
              <a:gd name="connsiteX42277" fmla="*/ 3629771 w 4610101"/>
              <a:gd name="connsiteY42277" fmla="*/ 786208 h 6557032"/>
              <a:gd name="connsiteX42278" fmla="*/ 3627949 w 4610101"/>
              <a:gd name="connsiteY42278" fmla="*/ 780742 h 6557032"/>
              <a:gd name="connsiteX42279" fmla="*/ 3638882 w 4610101"/>
              <a:gd name="connsiteY42279" fmla="*/ 780742 h 6557032"/>
              <a:gd name="connsiteX42280" fmla="*/ 3658926 w 4610101"/>
              <a:gd name="connsiteY42280" fmla="*/ 793497 h 6557032"/>
              <a:gd name="connsiteX42281" fmla="*/ 3645715 w 4610101"/>
              <a:gd name="connsiteY42281" fmla="*/ 797142 h 6557032"/>
              <a:gd name="connsiteX42282" fmla="*/ 3645375 w 4610101"/>
              <a:gd name="connsiteY42282" fmla="*/ 797761 h 6557032"/>
              <a:gd name="connsiteX42283" fmla="*/ 3645032 w 4610101"/>
              <a:gd name="connsiteY42283" fmla="*/ 796458 h 6557032"/>
              <a:gd name="connsiteX42284" fmla="*/ 3642526 w 4610101"/>
              <a:gd name="connsiteY42284" fmla="*/ 793497 h 6557032"/>
              <a:gd name="connsiteX42285" fmla="*/ 3640704 w 4610101"/>
              <a:gd name="connsiteY42285" fmla="*/ 802608 h 6557032"/>
              <a:gd name="connsiteX42286" fmla="*/ 3643158 w 4610101"/>
              <a:gd name="connsiteY42286" fmla="*/ 801791 h 6557032"/>
              <a:gd name="connsiteX42287" fmla="*/ 3640704 w 4610101"/>
              <a:gd name="connsiteY42287" fmla="*/ 806252 h 6557032"/>
              <a:gd name="connsiteX42288" fmla="*/ 3636600 w 4610101"/>
              <a:gd name="connsiteY42288" fmla="*/ 801977 h 6557032"/>
              <a:gd name="connsiteX42289" fmla="*/ 3638882 w 4610101"/>
              <a:gd name="connsiteY42289" fmla="*/ 800786 h 6557032"/>
              <a:gd name="connsiteX42290" fmla="*/ 3635456 w 4610101"/>
              <a:gd name="connsiteY42290" fmla="*/ 800786 h 6557032"/>
              <a:gd name="connsiteX42291" fmla="*/ 3635238 w 4610101"/>
              <a:gd name="connsiteY42291" fmla="*/ 800559 h 6557032"/>
              <a:gd name="connsiteX42292" fmla="*/ 3634916 w 4610101"/>
              <a:gd name="connsiteY42292" fmla="*/ 800786 h 6557032"/>
              <a:gd name="connsiteX42293" fmla="*/ 3629771 w 4610101"/>
              <a:gd name="connsiteY42293" fmla="*/ 800786 h 6557032"/>
              <a:gd name="connsiteX42294" fmla="*/ 3632348 w 4610101"/>
              <a:gd name="connsiteY42294" fmla="*/ 802605 h 6557032"/>
              <a:gd name="connsiteX42295" fmla="*/ 3629771 w 4610101"/>
              <a:gd name="connsiteY42295" fmla="*/ 804430 h 6557032"/>
              <a:gd name="connsiteX42296" fmla="*/ 3609727 w 4610101"/>
              <a:gd name="connsiteY42296" fmla="*/ 820830 h 6557032"/>
              <a:gd name="connsiteX42297" fmla="*/ 3606082 w 4610101"/>
              <a:gd name="connsiteY42297" fmla="*/ 813541 h 6557032"/>
              <a:gd name="connsiteX42298" fmla="*/ 3613371 w 4610101"/>
              <a:gd name="connsiteY42298" fmla="*/ 813541 h 6557032"/>
              <a:gd name="connsiteX42299" fmla="*/ 3602438 w 4610101"/>
              <a:gd name="connsiteY42299" fmla="*/ 813541 h 6557032"/>
              <a:gd name="connsiteX42300" fmla="*/ 3607905 w 4610101"/>
              <a:gd name="connsiteY42300" fmla="*/ 829941 h 6557032"/>
              <a:gd name="connsiteX42301" fmla="*/ 3589609 w 4610101"/>
              <a:gd name="connsiteY42301" fmla="*/ 821239 h 6557032"/>
              <a:gd name="connsiteX42302" fmla="*/ 3598794 w 4610101"/>
              <a:gd name="connsiteY42302" fmla="*/ 822652 h 6557032"/>
              <a:gd name="connsiteX42303" fmla="*/ 3575106 w 4610101"/>
              <a:gd name="connsiteY42303" fmla="*/ 819008 h 6557032"/>
              <a:gd name="connsiteX42304" fmla="*/ 3587118 w 4610101"/>
              <a:gd name="connsiteY42304" fmla="*/ 820856 h 6557032"/>
              <a:gd name="connsiteX42305" fmla="*/ 3567817 w 4610101"/>
              <a:gd name="connsiteY42305" fmla="*/ 819008 h 6557032"/>
              <a:gd name="connsiteX42306" fmla="*/ 3602438 w 4610101"/>
              <a:gd name="connsiteY42306" fmla="*/ 839051 h 6557032"/>
              <a:gd name="connsiteX42307" fmla="*/ 3560528 w 4610101"/>
              <a:gd name="connsiteY42307" fmla="*/ 822652 h 6557032"/>
              <a:gd name="connsiteX42308" fmla="*/ 3556884 w 4610101"/>
              <a:gd name="connsiteY42308" fmla="*/ 826296 h 6557032"/>
              <a:gd name="connsiteX42309" fmla="*/ 3537752 w 4610101"/>
              <a:gd name="connsiteY42309" fmla="*/ 819919 h 6557032"/>
              <a:gd name="connsiteX42310" fmla="*/ 3534115 w 4610101"/>
              <a:gd name="connsiteY42310" fmla="*/ 819746 h 6557032"/>
              <a:gd name="connsiteX42311" fmla="*/ 3535018 w 4610101"/>
              <a:gd name="connsiteY42311" fmla="*/ 817185 h 6557032"/>
              <a:gd name="connsiteX42312" fmla="*/ 3529551 w 4610101"/>
              <a:gd name="connsiteY42312" fmla="*/ 817185 h 6557032"/>
              <a:gd name="connsiteX42313" fmla="*/ 3529551 w 4610101"/>
              <a:gd name="connsiteY42313" fmla="*/ 819528 h 6557032"/>
              <a:gd name="connsiteX42314" fmla="*/ 3518618 w 4610101"/>
              <a:gd name="connsiteY42314" fmla="*/ 819008 h 6557032"/>
              <a:gd name="connsiteX42315" fmla="*/ 3509507 w 4610101"/>
              <a:gd name="connsiteY42315" fmla="*/ 826296 h 6557032"/>
              <a:gd name="connsiteX42316" fmla="*/ 3489463 w 4610101"/>
              <a:gd name="connsiteY42316" fmla="*/ 811719 h 6557032"/>
              <a:gd name="connsiteX42317" fmla="*/ 3487641 w 4610101"/>
              <a:gd name="connsiteY42317" fmla="*/ 815363 h 6557032"/>
              <a:gd name="connsiteX42318" fmla="*/ 3488330 w 4610101"/>
              <a:gd name="connsiteY42318" fmla="*/ 818118 h 6557032"/>
              <a:gd name="connsiteX42319" fmla="*/ 3487870 w 4610101"/>
              <a:gd name="connsiteY42319" fmla="*/ 819236 h 6557032"/>
              <a:gd name="connsiteX42320" fmla="*/ 3488601 w 4610101"/>
              <a:gd name="connsiteY42320" fmla="*/ 819204 h 6557032"/>
              <a:gd name="connsiteX42321" fmla="*/ 3489463 w 4610101"/>
              <a:gd name="connsiteY42321" fmla="*/ 822652 h 6557032"/>
              <a:gd name="connsiteX42322" fmla="*/ 3467597 w 4610101"/>
              <a:gd name="connsiteY42322" fmla="*/ 815363 h 6557032"/>
              <a:gd name="connsiteX42323" fmla="*/ 3482175 w 4610101"/>
              <a:gd name="connsiteY42323" fmla="*/ 815363 h 6557032"/>
              <a:gd name="connsiteX42324" fmla="*/ 3474886 w 4610101"/>
              <a:gd name="connsiteY42324" fmla="*/ 804430 h 6557032"/>
              <a:gd name="connsiteX42325" fmla="*/ 3456664 w 4610101"/>
              <a:gd name="connsiteY42325" fmla="*/ 808074 h 6557032"/>
              <a:gd name="connsiteX42326" fmla="*/ 3467597 w 4610101"/>
              <a:gd name="connsiteY42326" fmla="*/ 819008 h 6557032"/>
              <a:gd name="connsiteX42327" fmla="*/ 3443909 w 4610101"/>
              <a:gd name="connsiteY42327" fmla="*/ 804430 h 6557032"/>
              <a:gd name="connsiteX42328" fmla="*/ 3437076 w 4610101"/>
              <a:gd name="connsiteY42328" fmla="*/ 806025 h 6557032"/>
              <a:gd name="connsiteX42329" fmla="*/ 3437568 w 4610101"/>
              <a:gd name="connsiteY42329" fmla="*/ 808074 h 6557032"/>
              <a:gd name="connsiteX42330" fmla="*/ 3432976 w 4610101"/>
              <a:gd name="connsiteY42330" fmla="*/ 808074 h 6557032"/>
              <a:gd name="connsiteX42331" fmla="*/ 3437304 w 4610101"/>
              <a:gd name="connsiteY42331" fmla="*/ 810808 h 6557032"/>
              <a:gd name="connsiteX42332" fmla="*/ 3438058 w 4610101"/>
              <a:gd name="connsiteY42332" fmla="*/ 810113 h 6557032"/>
              <a:gd name="connsiteX42333" fmla="*/ 3438443 w 4610101"/>
              <a:gd name="connsiteY42333" fmla="*/ 811719 h 6557032"/>
              <a:gd name="connsiteX42334" fmla="*/ 3454842 w 4610101"/>
              <a:gd name="connsiteY42334" fmla="*/ 819008 h 6557032"/>
              <a:gd name="connsiteX42335" fmla="*/ 3460309 w 4610101"/>
              <a:gd name="connsiteY42335" fmla="*/ 826296 h 6557032"/>
              <a:gd name="connsiteX42336" fmla="*/ 3489463 w 4610101"/>
              <a:gd name="connsiteY42336" fmla="*/ 851807 h 6557032"/>
              <a:gd name="connsiteX42337" fmla="*/ 3486732 w 4610101"/>
              <a:gd name="connsiteY42337" fmla="*/ 858531 h 6557032"/>
              <a:gd name="connsiteX42338" fmla="*/ 3480353 w 4610101"/>
              <a:gd name="connsiteY42338" fmla="*/ 851807 h 6557032"/>
              <a:gd name="connsiteX42339" fmla="*/ 3465775 w 4610101"/>
              <a:gd name="connsiteY42339" fmla="*/ 848162 h 6557032"/>
              <a:gd name="connsiteX42340" fmla="*/ 3463953 w 4610101"/>
              <a:gd name="connsiteY42340" fmla="*/ 853629 h 6557032"/>
              <a:gd name="connsiteX42341" fmla="*/ 3460309 w 4610101"/>
              <a:gd name="connsiteY42341" fmla="*/ 849985 h 6557032"/>
              <a:gd name="connsiteX42342" fmla="*/ 3453020 w 4610101"/>
              <a:gd name="connsiteY42342" fmla="*/ 857273 h 6557032"/>
              <a:gd name="connsiteX42343" fmla="*/ 3449376 w 4610101"/>
              <a:gd name="connsiteY42343" fmla="*/ 853629 h 6557032"/>
              <a:gd name="connsiteX42344" fmla="*/ 3445731 w 4610101"/>
              <a:gd name="connsiteY42344" fmla="*/ 857273 h 6557032"/>
              <a:gd name="connsiteX42345" fmla="*/ 3447553 w 4610101"/>
              <a:gd name="connsiteY42345" fmla="*/ 860918 h 6557032"/>
              <a:gd name="connsiteX42346" fmla="*/ 3436621 w 4610101"/>
              <a:gd name="connsiteY42346" fmla="*/ 862740 h 6557032"/>
              <a:gd name="connsiteX42347" fmla="*/ 3416577 w 4610101"/>
              <a:gd name="connsiteY42347" fmla="*/ 844518 h 6557032"/>
              <a:gd name="connsiteX42348" fmla="*/ 3420221 w 4610101"/>
              <a:gd name="connsiteY42348" fmla="*/ 839051 h 6557032"/>
              <a:gd name="connsiteX42349" fmla="*/ 3432976 w 4610101"/>
              <a:gd name="connsiteY42349" fmla="*/ 849985 h 6557032"/>
              <a:gd name="connsiteX42350" fmla="*/ 3432976 w 4610101"/>
              <a:gd name="connsiteY42350" fmla="*/ 839051 h 6557032"/>
              <a:gd name="connsiteX42351" fmla="*/ 3427510 w 4610101"/>
              <a:gd name="connsiteY42351" fmla="*/ 840874 h 6557032"/>
              <a:gd name="connsiteX42352" fmla="*/ 3429332 w 4610101"/>
              <a:gd name="connsiteY42352" fmla="*/ 835407 h 6557032"/>
              <a:gd name="connsiteX42353" fmla="*/ 3394710 w 4610101"/>
              <a:gd name="connsiteY42353" fmla="*/ 831763 h 6557032"/>
              <a:gd name="connsiteX42354" fmla="*/ 3401999 w 4610101"/>
              <a:gd name="connsiteY42354" fmla="*/ 846340 h 6557032"/>
              <a:gd name="connsiteX42355" fmla="*/ 3411110 w 4610101"/>
              <a:gd name="connsiteY42355" fmla="*/ 846340 h 6557032"/>
              <a:gd name="connsiteX42356" fmla="*/ 3403821 w 4610101"/>
              <a:gd name="connsiteY42356" fmla="*/ 853629 h 6557032"/>
              <a:gd name="connsiteX42357" fmla="*/ 3409516 w 4610101"/>
              <a:gd name="connsiteY42357" fmla="*/ 855907 h 6557032"/>
              <a:gd name="connsiteX42358" fmla="*/ 3411054 w 4610101"/>
              <a:gd name="connsiteY42358" fmla="*/ 855808 h 6557032"/>
              <a:gd name="connsiteX42359" fmla="*/ 3410427 w 4610101"/>
              <a:gd name="connsiteY42359" fmla="*/ 859779 h 6557032"/>
              <a:gd name="connsiteX42360" fmla="*/ 3405643 w 4610101"/>
              <a:gd name="connsiteY42360" fmla="*/ 862740 h 6557032"/>
              <a:gd name="connsiteX42361" fmla="*/ 3407466 w 4610101"/>
              <a:gd name="connsiteY42361" fmla="*/ 879139 h 6557032"/>
              <a:gd name="connsiteX42362" fmla="*/ 3400177 w 4610101"/>
              <a:gd name="connsiteY42362" fmla="*/ 877317 h 6557032"/>
              <a:gd name="connsiteX42363" fmla="*/ 3405643 w 4610101"/>
              <a:gd name="connsiteY42363" fmla="*/ 873673 h 6557032"/>
              <a:gd name="connsiteX42364" fmla="*/ 3401999 w 4610101"/>
              <a:gd name="connsiteY42364" fmla="*/ 853629 h 6557032"/>
              <a:gd name="connsiteX42365" fmla="*/ 3389244 w 4610101"/>
              <a:gd name="connsiteY42365" fmla="*/ 859095 h 6557032"/>
              <a:gd name="connsiteX42366" fmla="*/ 3374666 w 4610101"/>
              <a:gd name="connsiteY42366" fmla="*/ 849985 h 6557032"/>
              <a:gd name="connsiteX42367" fmla="*/ 3374666 w 4610101"/>
              <a:gd name="connsiteY42367" fmla="*/ 853629 h 6557032"/>
              <a:gd name="connsiteX42368" fmla="*/ 3363734 w 4610101"/>
              <a:gd name="connsiteY42368" fmla="*/ 855451 h 6557032"/>
              <a:gd name="connsiteX42369" fmla="*/ 3365556 w 4610101"/>
              <a:gd name="connsiteY42369" fmla="*/ 871851 h 6557032"/>
              <a:gd name="connsiteX42370" fmla="*/ 3376489 w 4610101"/>
              <a:gd name="connsiteY42370" fmla="*/ 868206 h 6557032"/>
              <a:gd name="connsiteX42371" fmla="*/ 3391066 w 4610101"/>
              <a:gd name="connsiteY42371" fmla="*/ 880961 h 6557032"/>
              <a:gd name="connsiteX42372" fmla="*/ 3392888 w 4610101"/>
              <a:gd name="connsiteY42372" fmla="*/ 888250 h 6557032"/>
              <a:gd name="connsiteX42373" fmla="*/ 3396532 w 4610101"/>
              <a:gd name="connsiteY42373" fmla="*/ 880961 h 6557032"/>
              <a:gd name="connsiteX42374" fmla="*/ 3416577 w 4610101"/>
              <a:gd name="connsiteY42374" fmla="*/ 888250 h 6557032"/>
              <a:gd name="connsiteX42375" fmla="*/ 3471998 w 4610101"/>
              <a:gd name="connsiteY42375" fmla="*/ 875935 h 6557032"/>
              <a:gd name="connsiteX42376" fmla="*/ 3489464 w 4610101"/>
              <a:gd name="connsiteY42376" fmla="*/ 878912 h 6557032"/>
              <a:gd name="connsiteX42377" fmla="*/ 3504041 w 4610101"/>
              <a:gd name="connsiteY42377" fmla="*/ 891894 h 6557032"/>
              <a:gd name="connsiteX42378" fmla="*/ 3494702 w 4610101"/>
              <a:gd name="connsiteY42378" fmla="*/ 899639 h 6557032"/>
              <a:gd name="connsiteX42379" fmla="*/ 3493014 w 4610101"/>
              <a:gd name="connsiteY42379" fmla="*/ 903015 h 6557032"/>
              <a:gd name="connsiteX42380" fmla="*/ 3489463 w 4610101"/>
              <a:gd name="connsiteY42380" fmla="*/ 902827 h 6557032"/>
              <a:gd name="connsiteX42381" fmla="*/ 3491286 w 4610101"/>
              <a:gd name="connsiteY42381" fmla="*/ 899183 h 6557032"/>
              <a:gd name="connsiteX42382" fmla="*/ 3485819 w 4610101"/>
              <a:gd name="connsiteY42382" fmla="*/ 893717 h 6557032"/>
              <a:gd name="connsiteX42383" fmla="*/ 3482175 w 4610101"/>
              <a:gd name="connsiteY42383" fmla="*/ 901005 h 6557032"/>
              <a:gd name="connsiteX42384" fmla="*/ 3489463 w 4610101"/>
              <a:gd name="connsiteY42384" fmla="*/ 904878 h 6557032"/>
              <a:gd name="connsiteX42385" fmla="*/ 3492124 w 4610101"/>
              <a:gd name="connsiteY42385" fmla="*/ 904795 h 6557032"/>
              <a:gd name="connsiteX42386" fmla="*/ 3489463 w 4610101"/>
              <a:gd name="connsiteY42386" fmla="*/ 910117 h 6557032"/>
              <a:gd name="connsiteX42387" fmla="*/ 3498574 w 4610101"/>
              <a:gd name="connsiteY42387" fmla="*/ 917405 h 6557032"/>
              <a:gd name="connsiteX42388" fmla="*/ 3500397 w 4610101"/>
              <a:gd name="connsiteY42388" fmla="*/ 924695 h 6557032"/>
              <a:gd name="connsiteX42389" fmla="*/ 3487641 w 4610101"/>
              <a:gd name="connsiteY42389" fmla="*/ 926516 h 6557032"/>
              <a:gd name="connsiteX42390" fmla="*/ 3480353 w 4610101"/>
              <a:gd name="connsiteY42390" fmla="*/ 921049 h 6557032"/>
              <a:gd name="connsiteX42391" fmla="*/ 3478530 w 4610101"/>
              <a:gd name="connsiteY42391" fmla="*/ 928339 h 6557032"/>
              <a:gd name="connsiteX42392" fmla="*/ 3476708 w 4610101"/>
              <a:gd name="connsiteY42392" fmla="*/ 915583 h 6557032"/>
              <a:gd name="connsiteX42393" fmla="*/ 3483997 w 4610101"/>
              <a:gd name="connsiteY42393" fmla="*/ 908295 h 6557032"/>
              <a:gd name="connsiteX42394" fmla="*/ 3467597 w 4610101"/>
              <a:gd name="connsiteY42394" fmla="*/ 911939 h 6557032"/>
              <a:gd name="connsiteX42395" fmla="*/ 3469419 w 4610101"/>
              <a:gd name="connsiteY42395" fmla="*/ 926516 h 6557032"/>
              <a:gd name="connsiteX42396" fmla="*/ 3443909 w 4610101"/>
              <a:gd name="connsiteY42396" fmla="*/ 930160 h 6557032"/>
              <a:gd name="connsiteX42397" fmla="*/ 3436621 w 4610101"/>
              <a:gd name="connsiteY42397" fmla="*/ 928339 h 6557032"/>
              <a:gd name="connsiteX42398" fmla="*/ 3426197 w 4610101"/>
              <a:gd name="connsiteY42398" fmla="*/ 935843 h 6557032"/>
              <a:gd name="connsiteX42399" fmla="*/ 3424776 w 4610101"/>
              <a:gd name="connsiteY42399" fmla="*/ 930160 h 6557032"/>
              <a:gd name="connsiteX42400" fmla="*/ 3422043 w 4610101"/>
              <a:gd name="connsiteY42400" fmla="*/ 919227 h 6557032"/>
              <a:gd name="connsiteX42401" fmla="*/ 3418399 w 4610101"/>
              <a:gd name="connsiteY42401" fmla="*/ 930160 h 6557032"/>
              <a:gd name="connsiteX42402" fmla="*/ 3422271 w 4610101"/>
              <a:gd name="connsiteY42402" fmla="*/ 934944 h 6557032"/>
              <a:gd name="connsiteX42403" fmla="*/ 3423856 w 4610101"/>
              <a:gd name="connsiteY42403" fmla="*/ 936805 h 6557032"/>
              <a:gd name="connsiteX42404" fmla="*/ 3411110 w 4610101"/>
              <a:gd name="connsiteY42404" fmla="*/ 939272 h 6557032"/>
              <a:gd name="connsiteX42405" fmla="*/ 3401999 w 4610101"/>
              <a:gd name="connsiteY42405" fmla="*/ 928339 h 6557032"/>
              <a:gd name="connsiteX42406" fmla="*/ 3400177 w 4610101"/>
              <a:gd name="connsiteY42406" fmla="*/ 933804 h 6557032"/>
              <a:gd name="connsiteX42407" fmla="*/ 3380133 w 4610101"/>
              <a:gd name="connsiteY42407" fmla="*/ 917405 h 6557032"/>
              <a:gd name="connsiteX42408" fmla="*/ 3385600 w 4610101"/>
              <a:gd name="connsiteY42408" fmla="*/ 913761 h 6557032"/>
              <a:gd name="connsiteX42409" fmla="*/ 3380319 w 4610101"/>
              <a:gd name="connsiteY42409" fmla="*/ 911958 h 6557032"/>
              <a:gd name="connsiteX42410" fmla="*/ 3382667 w 4610101"/>
              <a:gd name="connsiteY42410" fmla="*/ 908978 h 6557032"/>
              <a:gd name="connsiteX42411" fmla="*/ 3380133 w 4610101"/>
              <a:gd name="connsiteY42411" fmla="*/ 901005 h 6557032"/>
              <a:gd name="connsiteX42412" fmla="*/ 3375247 w 4610101"/>
              <a:gd name="connsiteY42412" fmla="*/ 901450 h 6557032"/>
              <a:gd name="connsiteX42413" fmla="*/ 3380817 w 4610101"/>
              <a:gd name="connsiteY42413" fmla="*/ 899183 h 6557032"/>
              <a:gd name="connsiteX42414" fmla="*/ 3392888 w 4610101"/>
              <a:gd name="connsiteY42414" fmla="*/ 893717 h 6557032"/>
              <a:gd name="connsiteX42415" fmla="*/ 3380133 w 4610101"/>
              <a:gd name="connsiteY42415" fmla="*/ 886428 h 6557032"/>
              <a:gd name="connsiteX42416" fmla="*/ 3378311 w 4610101"/>
              <a:gd name="connsiteY42416" fmla="*/ 890072 h 6557032"/>
              <a:gd name="connsiteX42417" fmla="*/ 3372845 w 4610101"/>
              <a:gd name="connsiteY42417" fmla="*/ 890072 h 6557032"/>
              <a:gd name="connsiteX42418" fmla="*/ 3371022 w 4610101"/>
              <a:gd name="connsiteY42418" fmla="*/ 890072 h 6557032"/>
              <a:gd name="connsiteX42419" fmla="*/ 3358267 w 4610101"/>
              <a:gd name="connsiteY42419" fmla="*/ 890072 h 6557032"/>
              <a:gd name="connsiteX42420" fmla="*/ 3358267 w 4610101"/>
              <a:gd name="connsiteY42420" fmla="*/ 879139 h 6557032"/>
              <a:gd name="connsiteX42421" fmla="*/ 3340045 w 4610101"/>
              <a:gd name="connsiteY42421" fmla="*/ 875495 h 6557032"/>
              <a:gd name="connsiteX42422" fmla="*/ 3327290 w 4610101"/>
              <a:gd name="connsiteY42422" fmla="*/ 879139 h 6557032"/>
              <a:gd name="connsiteX42423" fmla="*/ 3329112 w 4610101"/>
              <a:gd name="connsiteY42423" fmla="*/ 884606 h 6557032"/>
              <a:gd name="connsiteX42424" fmla="*/ 3336401 w 4610101"/>
              <a:gd name="connsiteY42424" fmla="*/ 884606 h 6557032"/>
              <a:gd name="connsiteX42425" fmla="*/ 3329112 w 4610101"/>
              <a:gd name="connsiteY42425" fmla="*/ 899183 h 6557032"/>
              <a:gd name="connsiteX42426" fmla="*/ 3321824 w 4610101"/>
              <a:gd name="connsiteY42426" fmla="*/ 897361 h 6557032"/>
              <a:gd name="connsiteX42427" fmla="*/ 3301780 w 4610101"/>
              <a:gd name="connsiteY42427" fmla="*/ 924695 h 6557032"/>
              <a:gd name="connsiteX42428" fmla="*/ 3294491 w 4610101"/>
              <a:gd name="connsiteY42428" fmla="*/ 928339 h 6557032"/>
              <a:gd name="connsiteX42429" fmla="*/ 3332756 w 4610101"/>
              <a:gd name="connsiteY42429" fmla="*/ 933804 h 6557032"/>
              <a:gd name="connsiteX42430" fmla="*/ 3338223 w 4610101"/>
              <a:gd name="connsiteY42430" fmla="*/ 922872 h 6557032"/>
              <a:gd name="connsiteX42431" fmla="*/ 3316357 w 4610101"/>
              <a:gd name="connsiteY42431" fmla="*/ 926516 h 6557032"/>
              <a:gd name="connsiteX42432" fmla="*/ 3330934 w 4610101"/>
              <a:gd name="connsiteY42432" fmla="*/ 917405 h 6557032"/>
              <a:gd name="connsiteX42433" fmla="*/ 3352800 w 4610101"/>
              <a:gd name="connsiteY42433" fmla="*/ 915583 h 6557032"/>
              <a:gd name="connsiteX42434" fmla="*/ 3349156 w 4610101"/>
              <a:gd name="connsiteY42434" fmla="*/ 915583 h 6557032"/>
              <a:gd name="connsiteX42435" fmla="*/ 3350978 w 4610101"/>
              <a:gd name="connsiteY42435" fmla="*/ 902827 h 6557032"/>
              <a:gd name="connsiteX42436" fmla="*/ 3341867 w 4610101"/>
              <a:gd name="connsiteY42436" fmla="*/ 890072 h 6557032"/>
              <a:gd name="connsiteX42437" fmla="*/ 3355306 w 4610101"/>
              <a:gd name="connsiteY42437" fmla="*/ 901917 h 6557032"/>
              <a:gd name="connsiteX42438" fmla="*/ 3360670 w 4610101"/>
              <a:gd name="connsiteY42438" fmla="*/ 915974 h 6557032"/>
              <a:gd name="connsiteX42439" fmla="*/ 3359634 w 4610101"/>
              <a:gd name="connsiteY42439" fmla="*/ 916722 h 6557032"/>
              <a:gd name="connsiteX42440" fmla="*/ 3359449 w 4610101"/>
              <a:gd name="connsiteY42440" fmla="*/ 917307 h 6557032"/>
              <a:gd name="connsiteX42441" fmla="*/ 3358267 w 4610101"/>
              <a:gd name="connsiteY42441" fmla="*/ 913761 h 6557032"/>
              <a:gd name="connsiteX42442" fmla="*/ 3355762 w 4610101"/>
              <a:gd name="connsiteY42442" fmla="*/ 917178 h 6557032"/>
              <a:gd name="connsiteX42443" fmla="*/ 3359005 w 4610101"/>
              <a:gd name="connsiteY42443" fmla="*/ 918714 h 6557032"/>
              <a:gd name="connsiteX42444" fmla="*/ 3358267 w 4610101"/>
              <a:gd name="connsiteY42444" fmla="*/ 921049 h 6557032"/>
              <a:gd name="connsiteX42445" fmla="*/ 3365556 w 4610101"/>
              <a:gd name="connsiteY42445" fmla="*/ 922872 h 6557032"/>
              <a:gd name="connsiteX42446" fmla="*/ 3355762 w 4610101"/>
              <a:gd name="connsiteY42446" fmla="*/ 922872 h 6557032"/>
              <a:gd name="connsiteX42447" fmla="*/ 3351684 w 4610101"/>
              <a:gd name="connsiteY42447" fmla="*/ 925517 h 6557032"/>
              <a:gd name="connsiteX42448" fmla="*/ 3352800 w 4610101"/>
              <a:gd name="connsiteY42448" fmla="*/ 921049 h 6557032"/>
              <a:gd name="connsiteX42449" fmla="*/ 3349156 w 4610101"/>
              <a:gd name="connsiteY42449" fmla="*/ 922872 h 6557032"/>
              <a:gd name="connsiteX42450" fmla="*/ 3350330 w 4610101"/>
              <a:gd name="connsiteY42450" fmla="*/ 926395 h 6557032"/>
              <a:gd name="connsiteX42451" fmla="*/ 3347334 w 4610101"/>
              <a:gd name="connsiteY42451" fmla="*/ 928339 h 6557032"/>
              <a:gd name="connsiteX42452" fmla="*/ 3349156 w 4610101"/>
              <a:gd name="connsiteY42452" fmla="*/ 933804 h 6557032"/>
              <a:gd name="connsiteX42453" fmla="*/ 3341867 w 4610101"/>
              <a:gd name="connsiteY42453" fmla="*/ 935628 h 6557032"/>
              <a:gd name="connsiteX42454" fmla="*/ 3345512 w 4610101"/>
              <a:gd name="connsiteY42454" fmla="*/ 948383 h 6557032"/>
              <a:gd name="connsiteX42455" fmla="*/ 3330934 w 4610101"/>
              <a:gd name="connsiteY42455" fmla="*/ 944738 h 6557032"/>
              <a:gd name="connsiteX42456" fmla="*/ 3331979 w 4610101"/>
              <a:gd name="connsiteY42456" fmla="*/ 947292 h 6557032"/>
              <a:gd name="connsiteX42457" fmla="*/ 3327290 w 4610101"/>
              <a:gd name="connsiteY42457" fmla="*/ 948610 h 6557032"/>
              <a:gd name="connsiteX42458" fmla="*/ 3320001 w 4610101"/>
              <a:gd name="connsiteY42458" fmla="*/ 946560 h 6557032"/>
              <a:gd name="connsiteX42459" fmla="*/ 3321824 w 4610101"/>
              <a:gd name="connsiteY42459" fmla="*/ 964782 h 6557032"/>
              <a:gd name="connsiteX42460" fmla="*/ 3327518 w 4610101"/>
              <a:gd name="connsiteY42460" fmla="*/ 956354 h 6557032"/>
              <a:gd name="connsiteX42461" fmla="*/ 3332730 w 4610101"/>
              <a:gd name="connsiteY42461" fmla="*/ 949126 h 6557032"/>
              <a:gd name="connsiteX42462" fmla="*/ 3332985 w 4610101"/>
              <a:gd name="connsiteY42462" fmla="*/ 949749 h 6557032"/>
              <a:gd name="connsiteX42463" fmla="*/ 3341867 w 4610101"/>
              <a:gd name="connsiteY42463" fmla="*/ 952026 h 6557032"/>
              <a:gd name="connsiteX42464" fmla="*/ 3349156 w 4610101"/>
              <a:gd name="connsiteY42464" fmla="*/ 950204 h 6557032"/>
              <a:gd name="connsiteX42465" fmla="*/ 3387422 w 4610101"/>
              <a:gd name="connsiteY42465" fmla="*/ 959316 h 6557032"/>
              <a:gd name="connsiteX42466" fmla="*/ 3367378 w 4610101"/>
              <a:gd name="connsiteY42466" fmla="*/ 935628 h 6557032"/>
              <a:gd name="connsiteX42467" fmla="*/ 3376489 w 4610101"/>
              <a:gd name="connsiteY42467" fmla="*/ 935628 h 6557032"/>
              <a:gd name="connsiteX42468" fmla="*/ 3378311 w 4610101"/>
              <a:gd name="connsiteY42468" fmla="*/ 928339 h 6557032"/>
              <a:gd name="connsiteX42469" fmla="*/ 3387422 w 4610101"/>
              <a:gd name="connsiteY42469" fmla="*/ 939272 h 6557032"/>
              <a:gd name="connsiteX42470" fmla="*/ 3394710 w 4610101"/>
              <a:gd name="connsiteY42470" fmla="*/ 946560 h 6557032"/>
              <a:gd name="connsiteX42471" fmla="*/ 3387422 w 4610101"/>
              <a:gd name="connsiteY42471" fmla="*/ 948383 h 6557032"/>
              <a:gd name="connsiteX42472" fmla="*/ 3400177 w 4610101"/>
              <a:gd name="connsiteY42472" fmla="*/ 968427 h 6557032"/>
              <a:gd name="connsiteX42473" fmla="*/ 3394710 w 4610101"/>
              <a:gd name="connsiteY42473" fmla="*/ 972071 h 6557032"/>
              <a:gd name="connsiteX42474" fmla="*/ 3398810 w 4610101"/>
              <a:gd name="connsiteY42474" fmla="*/ 974348 h 6557032"/>
              <a:gd name="connsiteX42475" fmla="*/ 3404012 w 4610101"/>
              <a:gd name="connsiteY42475" fmla="*/ 974001 h 6557032"/>
              <a:gd name="connsiteX42476" fmla="*/ 3405416 w 4610101"/>
              <a:gd name="connsiteY42476" fmla="*/ 974804 h 6557032"/>
              <a:gd name="connsiteX42477" fmla="*/ 3405694 w 4610101"/>
              <a:gd name="connsiteY42477" fmla="*/ 974848 h 6557032"/>
              <a:gd name="connsiteX42478" fmla="*/ 3406099 w 4610101"/>
              <a:gd name="connsiteY42478" fmla="*/ 982549 h 6557032"/>
              <a:gd name="connsiteX42479" fmla="*/ 3403821 w 4610101"/>
              <a:gd name="connsiteY42479" fmla="*/ 988471 h 6557032"/>
              <a:gd name="connsiteX42480" fmla="*/ 3394710 w 4610101"/>
              <a:gd name="connsiteY42480" fmla="*/ 975715 h 6557032"/>
              <a:gd name="connsiteX42481" fmla="*/ 3385600 w 4610101"/>
              <a:gd name="connsiteY42481" fmla="*/ 984826 h 6557032"/>
              <a:gd name="connsiteX42482" fmla="*/ 3392888 w 4610101"/>
              <a:gd name="connsiteY42482" fmla="*/ 986649 h 6557032"/>
              <a:gd name="connsiteX42483" fmla="*/ 3389244 w 4610101"/>
              <a:gd name="connsiteY42483" fmla="*/ 999403 h 6557032"/>
              <a:gd name="connsiteX42484" fmla="*/ 3394710 w 4610101"/>
              <a:gd name="connsiteY42484" fmla="*/ 997582 h 6557032"/>
              <a:gd name="connsiteX42485" fmla="*/ 3391066 w 4610101"/>
              <a:gd name="connsiteY42485" fmla="*/ 995759 h 6557032"/>
              <a:gd name="connsiteX42486" fmla="*/ 3398355 w 4610101"/>
              <a:gd name="connsiteY42486" fmla="*/ 993937 h 6557032"/>
              <a:gd name="connsiteX42487" fmla="*/ 3398355 w 4610101"/>
              <a:gd name="connsiteY42487" fmla="*/ 1001226 h 6557032"/>
              <a:gd name="connsiteX42488" fmla="*/ 3409288 w 4610101"/>
              <a:gd name="connsiteY42488" fmla="*/ 1003047 h 6557032"/>
              <a:gd name="connsiteX42489" fmla="*/ 3420221 w 4610101"/>
              <a:gd name="connsiteY42489" fmla="*/ 988471 h 6557032"/>
              <a:gd name="connsiteX42490" fmla="*/ 3409288 w 4610101"/>
              <a:gd name="connsiteY42490" fmla="*/ 981182 h 6557032"/>
              <a:gd name="connsiteX42491" fmla="*/ 3411110 w 4610101"/>
              <a:gd name="connsiteY42491" fmla="*/ 975715 h 6557032"/>
              <a:gd name="connsiteX42492" fmla="*/ 3405694 w 4610101"/>
              <a:gd name="connsiteY42492" fmla="*/ 974848 h 6557032"/>
              <a:gd name="connsiteX42493" fmla="*/ 3405643 w 4610101"/>
              <a:gd name="connsiteY42493" fmla="*/ 973893 h 6557032"/>
              <a:gd name="connsiteX42494" fmla="*/ 3404012 w 4610101"/>
              <a:gd name="connsiteY42494" fmla="*/ 974001 h 6557032"/>
              <a:gd name="connsiteX42495" fmla="*/ 3403821 w 4610101"/>
              <a:gd name="connsiteY42495" fmla="*/ 973893 h 6557032"/>
              <a:gd name="connsiteX42496" fmla="*/ 3414754 w 4610101"/>
              <a:gd name="connsiteY42496" fmla="*/ 962960 h 6557032"/>
              <a:gd name="connsiteX42497" fmla="*/ 3418399 w 4610101"/>
              <a:gd name="connsiteY42497" fmla="*/ 970249 h 6557032"/>
              <a:gd name="connsiteX42498" fmla="*/ 3412932 w 4610101"/>
              <a:gd name="connsiteY42498" fmla="*/ 972071 h 6557032"/>
              <a:gd name="connsiteX42499" fmla="*/ 3425687 w 4610101"/>
              <a:gd name="connsiteY42499" fmla="*/ 972071 h 6557032"/>
              <a:gd name="connsiteX42500" fmla="*/ 3427510 w 4610101"/>
              <a:gd name="connsiteY42500" fmla="*/ 979360 h 6557032"/>
              <a:gd name="connsiteX42501" fmla="*/ 3418399 w 4610101"/>
              <a:gd name="connsiteY42501" fmla="*/ 977538 h 6557032"/>
              <a:gd name="connsiteX42502" fmla="*/ 3423865 w 4610101"/>
              <a:gd name="connsiteY42502" fmla="*/ 983004 h 6557032"/>
              <a:gd name="connsiteX42503" fmla="*/ 3471242 w 4610101"/>
              <a:gd name="connsiteY42503" fmla="*/ 970249 h 6557032"/>
              <a:gd name="connsiteX42504" fmla="*/ 3454842 w 4610101"/>
              <a:gd name="connsiteY42504" fmla="*/ 975715 h 6557032"/>
              <a:gd name="connsiteX42505" fmla="*/ 3478530 w 4610101"/>
              <a:gd name="connsiteY42505" fmla="*/ 981182 h 6557032"/>
              <a:gd name="connsiteX42506" fmla="*/ 3478530 w 4610101"/>
              <a:gd name="connsiteY42506" fmla="*/ 977538 h 6557032"/>
              <a:gd name="connsiteX42507" fmla="*/ 3509507 w 4610101"/>
              <a:gd name="connsiteY42507" fmla="*/ 973893 h 6557032"/>
              <a:gd name="connsiteX42508" fmla="*/ 3505863 w 4610101"/>
              <a:gd name="connsiteY42508" fmla="*/ 975715 h 6557032"/>
              <a:gd name="connsiteX42509" fmla="*/ 3525907 w 4610101"/>
              <a:gd name="connsiteY42509" fmla="*/ 1008515 h 6557032"/>
              <a:gd name="connsiteX42510" fmla="*/ 3522263 w 4610101"/>
              <a:gd name="connsiteY42510" fmla="*/ 1006692 h 6557032"/>
              <a:gd name="connsiteX42511" fmla="*/ 3520440 w 4610101"/>
              <a:gd name="connsiteY42511" fmla="*/ 1013981 h 6557032"/>
              <a:gd name="connsiteX42512" fmla="*/ 3509507 w 4610101"/>
              <a:gd name="connsiteY42512" fmla="*/ 1012159 h 6557032"/>
              <a:gd name="connsiteX42513" fmla="*/ 3516796 w 4610101"/>
              <a:gd name="connsiteY42513" fmla="*/ 1010337 h 6557032"/>
              <a:gd name="connsiteX42514" fmla="*/ 3520440 w 4610101"/>
              <a:gd name="connsiteY42514" fmla="*/ 1003047 h 6557032"/>
              <a:gd name="connsiteX42515" fmla="*/ 3502219 w 4610101"/>
              <a:gd name="connsiteY42515" fmla="*/ 995759 h 6557032"/>
              <a:gd name="connsiteX42516" fmla="*/ 3509507 w 4610101"/>
              <a:gd name="connsiteY42516" fmla="*/ 1008515 h 6557032"/>
              <a:gd name="connsiteX42517" fmla="*/ 3493108 w 4610101"/>
              <a:gd name="connsiteY42517" fmla="*/ 1019448 h 6557032"/>
              <a:gd name="connsiteX42518" fmla="*/ 3498574 w 4610101"/>
              <a:gd name="connsiteY42518" fmla="*/ 1023092 h 6557032"/>
              <a:gd name="connsiteX42519" fmla="*/ 3531374 w 4610101"/>
              <a:gd name="connsiteY42519" fmla="*/ 1013981 h 6557032"/>
              <a:gd name="connsiteX42520" fmla="*/ 3538662 w 4610101"/>
              <a:gd name="connsiteY42520" fmla="*/ 1021270 h 6557032"/>
              <a:gd name="connsiteX42521" fmla="*/ 3533196 w 4610101"/>
              <a:gd name="connsiteY42521" fmla="*/ 1010337 h 6557032"/>
              <a:gd name="connsiteX42522" fmla="*/ 3545951 w 4610101"/>
              <a:gd name="connsiteY42522" fmla="*/ 1008515 h 6557032"/>
              <a:gd name="connsiteX42523" fmla="*/ 3540484 w 4610101"/>
              <a:gd name="connsiteY42523" fmla="*/ 1001226 h 6557032"/>
              <a:gd name="connsiteX42524" fmla="*/ 3553240 w 4610101"/>
              <a:gd name="connsiteY42524" fmla="*/ 999403 h 6557032"/>
              <a:gd name="connsiteX42525" fmla="*/ 3555062 w 4610101"/>
              <a:gd name="connsiteY42525" fmla="*/ 1004870 h 6557032"/>
              <a:gd name="connsiteX42526" fmla="*/ 3551417 w 4610101"/>
              <a:gd name="connsiteY42526" fmla="*/ 1003047 h 6557032"/>
              <a:gd name="connsiteX42527" fmla="*/ 3565995 w 4610101"/>
              <a:gd name="connsiteY42527" fmla="*/ 1019448 h 6557032"/>
              <a:gd name="connsiteX42528" fmla="*/ 3564173 w 4610101"/>
              <a:gd name="connsiteY42528" fmla="*/ 1010337 h 6557032"/>
              <a:gd name="connsiteX42529" fmla="*/ 3575106 w 4610101"/>
              <a:gd name="connsiteY42529" fmla="*/ 1013981 h 6557032"/>
              <a:gd name="connsiteX42530" fmla="*/ 3576928 w 4610101"/>
              <a:gd name="connsiteY42530" fmla="*/ 1008515 h 6557032"/>
              <a:gd name="connsiteX42531" fmla="*/ 3578750 w 4610101"/>
              <a:gd name="connsiteY42531" fmla="*/ 1019448 h 6557032"/>
              <a:gd name="connsiteX42532" fmla="*/ 3569639 w 4610101"/>
              <a:gd name="connsiteY42532" fmla="*/ 1019448 h 6557032"/>
              <a:gd name="connsiteX42533" fmla="*/ 3578750 w 4610101"/>
              <a:gd name="connsiteY42533" fmla="*/ 1030381 h 6557032"/>
              <a:gd name="connsiteX42534" fmla="*/ 3600616 w 4610101"/>
              <a:gd name="connsiteY42534" fmla="*/ 1028559 h 6557032"/>
              <a:gd name="connsiteX42535" fmla="*/ 3602438 w 4610101"/>
              <a:gd name="connsiteY42535" fmla="*/ 1035847 h 6557032"/>
              <a:gd name="connsiteX42536" fmla="*/ 3629771 w 4610101"/>
              <a:gd name="connsiteY42536" fmla="*/ 1044958 h 6557032"/>
              <a:gd name="connsiteX42537" fmla="*/ 3627949 w 4610101"/>
              <a:gd name="connsiteY42537" fmla="*/ 1061358 h 6557032"/>
              <a:gd name="connsiteX42538" fmla="*/ 3626127 w 4610101"/>
              <a:gd name="connsiteY42538" fmla="*/ 1063180 h 6557032"/>
              <a:gd name="connsiteX42539" fmla="*/ 3618838 w 4610101"/>
              <a:gd name="connsiteY42539" fmla="*/ 1052247 h 6557032"/>
              <a:gd name="connsiteX42540" fmla="*/ 3638882 w 4610101"/>
              <a:gd name="connsiteY42540" fmla="*/ 1072291 h 6557032"/>
              <a:gd name="connsiteX42541" fmla="*/ 3642526 w 4610101"/>
              <a:gd name="connsiteY42541" fmla="*/ 1083224 h 6557032"/>
              <a:gd name="connsiteX42542" fmla="*/ 3635237 w 4610101"/>
              <a:gd name="connsiteY42542" fmla="*/ 1085046 h 6557032"/>
              <a:gd name="connsiteX42543" fmla="*/ 3646171 w 4610101"/>
              <a:gd name="connsiteY42543" fmla="*/ 1095979 h 6557032"/>
              <a:gd name="connsiteX42544" fmla="*/ 3631593 w 4610101"/>
              <a:gd name="connsiteY42544" fmla="*/ 1116023 h 6557032"/>
              <a:gd name="connsiteX42545" fmla="*/ 3638882 w 4610101"/>
              <a:gd name="connsiteY42545" fmla="*/ 1121489 h 6557032"/>
              <a:gd name="connsiteX42546" fmla="*/ 3638882 w 4610101"/>
              <a:gd name="connsiteY42546" fmla="*/ 1125134 h 6557032"/>
              <a:gd name="connsiteX42547" fmla="*/ 3635237 w 4610101"/>
              <a:gd name="connsiteY42547" fmla="*/ 1123312 h 6557032"/>
              <a:gd name="connsiteX42548" fmla="*/ 3622482 w 4610101"/>
              <a:gd name="connsiteY42548" fmla="*/ 1123312 h 6557032"/>
              <a:gd name="connsiteX42549" fmla="*/ 3622482 w 4610101"/>
              <a:gd name="connsiteY42549" fmla="*/ 1128778 h 6557032"/>
              <a:gd name="connsiteX42550" fmla="*/ 3637060 w 4610101"/>
              <a:gd name="connsiteY42550" fmla="*/ 1137889 h 6557032"/>
              <a:gd name="connsiteX42551" fmla="*/ 3635237 w 4610101"/>
              <a:gd name="connsiteY42551" fmla="*/ 1134245 h 6557032"/>
              <a:gd name="connsiteX42552" fmla="*/ 3638882 w 4610101"/>
              <a:gd name="connsiteY42552" fmla="*/ 1128778 h 6557032"/>
              <a:gd name="connsiteX42553" fmla="*/ 3658926 w 4610101"/>
              <a:gd name="connsiteY42553" fmla="*/ 1139711 h 6557032"/>
              <a:gd name="connsiteX42554" fmla="*/ 3655281 w 4610101"/>
              <a:gd name="connsiteY42554" fmla="*/ 1145178 h 6557032"/>
              <a:gd name="connsiteX42555" fmla="*/ 3666214 w 4610101"/>
              <a:gd name="connsiteY42555" fmla="*/ 1156111 h 6557032"/>
              <a:gd name="connsiteX42556" fmla="*/ 3664392 w 4610101"/>
              <a:gd name="connsiteY42556" fmla="*/ 1152466 h 6557032"/>
              <a:gd name="connsiteX42557" fmla="*/ 3657103 w 4610101"/>
              <a:gd name="connsiteY42557" fmla="*/ 1174332 h 6557032"/>
              <a:gd name="connsiteX42558" fmla="*/ 3646171 w 4610101"/>
              <a:gd name="connsiteY42558" fmla="*/ 1163399 h 6557032"/>
              <a:gd name="connsiteX42559" fmla="*/ 3653459 w 4610101"/>
              <a:gd name="connsiteY42559" fmla="*/ 1161577 h 6557032"/>
              <a:gd name="connsiteX42560" fmla="*/ 3651637 w 4610101"/>
              <a:gd name="connsiteY42560" fmla="*/ 1150644 h 6557032"/>
              <a:gd name="connsiteX42561" fmla="*/ 3655281 w 4610101"/>
              <a:gd name="connsiteY42561" fmla="*/ 1148822 h 6557032"/>
              <a:gd name="connsiteX42562" fmla="*/ 3638882 w 4610101"/>
              <a:gd name="connsiteY42562" fmla="*/ 1143355 h 6557032"/>
              <a:gd name="connsiteX42563" fmla="*/ 3646171 w 4610101"/>
              <a:gd name="connsiteY42563" fmla="*/ 1150644 h 6557032"/>
              <a:gd name="connsiteX42564" fmla="*/ 3633415 w 4610101"/>
              <a:gd name="connsiteY42564" fmla="*/ 1150644 h 6557032"/>
              <a:gd name="connsiteX42565" fmla="*/ 3613371 w 4610101"/>
              <a:gd name="connsiteY42565" fmla="*/ 1134245 h 6557032"/>
              <a:gd name="connsiteX42566" fmla="*/ 3606082 w 4610101"/>
              <a:gd name="connsiteY42566" fmla="*/ 1139711 h 6557032"/>
              <a:gd name="connsiteX42567" fmla="*/ 3596972 w 4610101"/>
              <a:gd name="connsiteY42567" fmla="*/ 1137889 h 6557032"/>
              <a:gd name="connsiteX42568" fmla="*/ 3596972 w 4610101"/>
              <a:gd name="connsiteY42568" fmla="*/ 1126956 h 6557032"/>
              <a:gd name="connsiteX42569" fmla="*/ 3576928 w 4610101"/>
              <a:gd name="connsiteY42569" fmla="*/ 1108734 h 6557032"/>
              <a:gd name="connsiteX42570" fmla="*/ 3578750 w 4610101"/>
              <a:gd name="connsiteY42570" fmla="*/ 1132422 h 6557032"/>
              <a:gd name="connsiteX42571" fmla="*/ 3567817 w 4610101"/>
              <a:gd name="connsiteY42571" fmla="*/ 1134245 h 6557032"/>
              <a:gd name="connsiteX42572" fmla="*/ 3575106 w 4610101"/>
              <a:gd name="connsiteY42572" fmla="*/ 1126956 h 6557032"/>
              <a:gd name="connsiteX42573" fmla="*/ 3565995 w 4610101"/>
              <a:gd name="connsiteY42573" fmla="*/ 1126956 h 6557032"/>
              <a:gd name="connsiteX42574" fmla="*/ 3567817 w 4610101"/>
              <a:gd name="connsiteY42574" fmla="*/ 1119667 h 6557032"/>
              <a:gd name="connsiteX42575" fmla="*/ 3556884 w 4610101"/>
              <a:gd name="connsiteY42575" fmla="*/ 1105090 h 6557032"/>
              <a:gd name="connsiteX42576" fmla="*/ 3542306 w 4610101"/>
              <a:gd name="connsiteY42576" fmla="*/ 1108734 h 6557032"/>
              <a:gd name="connsiteX42577" fmla="*/ 3547773 w 4610101"/>
              <a:gd name="connsiteY42577" fmla="*/ 1097801 h 6557032"/>
              <a:gd name="connsiteX42578" fmla="*/ 3544129 w 4610101"/>
              <a:gd name="connsiteY42578" fmla="*/ 1095979 h 6557032"/>
              <a:gd name="connsiteX42579" fmla="*/ 3544129 w 4610101"/>
              <a:gd name="connsiteY42579" fmla="*/ 1086868 h 6557032"/>
              <a:gd name="connsiteX42580" fmla="*/ 3536840 w 4610101"/>
              <a:gd name="connsiteY42580" fmla="*/ 1086868 h 6557032"/>
              <a:gd name="connsiteX42581" fmla="*/ 3522263 w 4610101"/>
              <a:gd name="connsiteY42581" fmla="*/ 1085046 h 6557032"/>
              <a:gd name="connsiteX42582" fmla="*/ 3531374 w 4610101"/>
              <a:gd name="connsiteY42582" fmla="*/ 1072291 h 6557032"/>
              <a:gd name="connsiteX42583" fmla="*/ 3525907 w 4610101"/>
              <a:gd name="connsiteY42583" fmla="*/ 1070469 h 6557032"/>
              <a:gd name="connsiteX42584" fmla="*/ 3518618 w 4610101"/>
              <a:gd name="connsiteY42584" fmla="*/ 1063180 h 6557032"/>
              <a:gd name="connsiteX42585" fmla="*/ 3514974 w 4610101"/>
              <a:gd name="connsiteY42585" fmla="*/ 1072291 h 6557032"/>
              <a:gd name="connsiteX42586" fmla="*/ 3520440 w 4610101"/>
              <a:gd name="connsiteY42586" fmla="*/ 1079579 h 6557032"/>
              <a:gd name="connsiteX42587" fmla="*/ 3504041 w 4610101"/>
              <a:gd name="connsiteY42587" fmla="*/ 1079579 h 6557032"/>
              <a:gd name="connsiteX42588" fmla="*/ 3504041 w 4610101"/>
              <a:gd name="connsiteY42588" fmla="*/ 1086868 h 6557032"/>
              <a:gd name="connsiteX42589" fmla="*/ 3509507 w 4610101"/>
              <a:gd name="connsiteY42589" fmla="*/ 1086868 h 6557032"/>
              <a:gd name="connsiteX42590" fmla="*/ 3502219 w 4610101"/>
              <a:gd name="connsiteY42590" fmla="*/ 1099623 h 6557032"/>
              <a:gd name="connsiteX42591" fmla="*/ 3494930 w 4610101"/>
              <a:gd name="connsiteY42591" fmla="*/ 1092335 h 6557032"/>
              <a:gd name="connsiteX42592" fmla="*/ 3480353 w 4610101"/>
              <a:gd name="connsiteY42592" fmla="*/ 1094157 h 6557032"/>
              <a:gd name="connsiteX42593" fmla="*/ 3483997 w 4610101"/>
              <a:gd name="connsiteY42593" fmla="*/ 1095979 h 6557032"/>
              <a:gd name="connsiteX42594" fmla="*/ 3465775 w 4610101"/>
              <a:gd name="connsiteY42594" fmla="*/ 1094157 h 6557032"/>
              <a:gd name="connsiteX42595" fmla="*/ 3458487 w 4610101"/>
              <a:gd name="connsiteY42595" fmla="*/ 1095979 h 6557032"/>
              <a:gd name="connsiteX42596" fmla="*/ 3487641 w 4610101"/>
              <a:gd name="connsiteY42596" fmla="*/ 1110556 h 6557032"/>
              <a:gd name="connsiteX42597" fmla="*/ 3476708 w 4610101"/>
              <a:gd name="connsiteY42597" fmla="*/ 1108734 h 6557032"/>
              <a:gd name="connsiteX42598" fmla="*/ 3476708 w 4610101"/>
              <a:gd name="connsiteY42598" fmla="*/ 1114201 h 6557032"/>
              <a:gd name="connsiteX42599" fmla="*/ 3469419 w 4610101"/>
              <a:gd name="connsiteY42599" fmla="*/ 1108734 h 6557032"/>
              <a:gd name="connsiteX42600" fmla="*/ 3491286 w 4610101"/>
              <a:gd name="connsiteY42600" fmla="*/ 1123312 h 6557032"/>
              <a:gd name="connsiteX42601" fmla="*/ 3489463 w 4610101"/>
              <a:gd name="connsiteY42601" fmla="*/ 1126956 h 6557032"/>
              <a:gd name="connsiteX42602" fmla="*/ 3503177 w 4610101"/>
              <a:gd name="connsiteY42602" fmla="*/ 1133285 h 6557032"/>
              <a:gd name="connsiteX42603" fmla="*/ 3493108 w 4610101"/>
              <a:gd name="connsiteY42603" fmla="*/ 1130600 h 6557032"/>
              <a:gd name="connsiteX42604" fmla="*/ 3485819 w 4610101"/>
              <a:gd name="connsiteY42604" fmla="*/ 1130600 h 6557032"/>
              <a:gd name="connsiteX42605" fmla="*/ 3443909 w 4610101"/>
              <a:gd name="connsiteY42605" fmla="*/ 1088690 h 6557032"/>
              <a:gd name="connsiteX42606" fmla="*/ 3443909 w 4610101"/>
              <a:gd name="connsiteY42606" fmla="*/ 1090512 h 6557032"/>
              <a:gd name="connsiteX42607" fmla="*/ 3420221 w 4610101"/>
              <a:gd name="connsiteY42607" fmla="*/ 1070469 h 6557032"/>
              <a:gd name="connsiteX42608" fmla="*/ 3385600 w 4610101"/>
              <a:gd name="connsiteY42608" fmla="*/ 1063180 h 6557032"/>
              <a:gd name="connsiteX42609" fmla="*/ 3381955 w 4610101"/>
              <a:gd name="connsiteY42609" fmla="*/ 1059535 h 6557032"/>
              <a:gd name="connsiteX42610" fmla="*/ 3371022 w 4610101"/>
              <a:gd name="connsiteY42610" fmla="*/ 1070469 h 6557032"/>
              <a:gd name="connsiteX42611" fmla="*/ 3363734 w 4610101"/>
              <a:gd name="connsiteY42611" fmla="*/ 1057713 h 6557032"/>
              <a:gd name="connsiteX42612" fmla="*/ 3356445 w 4610101"/>
              <a:gd name="connsiteY42612" fmla="*/ 1065002 h 6557032"/>
              <a:gd name="connsiteX42613" fmla="*/ 3354623 w 4610101"/>
              <a:gd name="connsiteY42613" fmla="*/ 1052247 h 6557032"/>
              <a:gd name="connsiteX42614" fmla="*/ 3352800 w 4610101"/>
              <a:gd name="connsiteY42614" fmla="*/ 1075935 h 6557032"/>
              <a:gd name="connsiteX42615" fmla="*/ 3340045 w 4610101"/>
              <a:gd name="connsiteY42615" fmla="*/ 1043136 h 6557032"/>
              <a:gd name="connsiteX42616" fmla="*/ 3347334 w 4610101"/>
              <a:gd name="connsiteY42616" fmla="*/ 1039492 h 6557032"/>
              <a:gd name="connsiteX42617" fmla="*/ 3297233 w 4610101"/>
              <a:gd name="connsiteY42617" fmla="*/ 1045564 h 6557032"/>
              <a:gd name="connsiteX42618" fmla="*/ 3327290 w 4610101"/>
              <a:gd name="connsiteY42618" fmla="*/ 1035847 h 6557032"/>
              <a:gd name="connsiteX42619" fmla="*/ 3330934 w 4610101"/>
              <a:gd name="connsiteY42619" fmla="*/ 1030381 h 6557032"/>
              <a:gd name="connsiteX42620" fmla="*/ 3320001 w 4610101"/>
              <a:gd name="connsiteY42620" fmla="*/ 1019448 h 6557032"/>
              <a:gd name="connsiteX42621" fmla="*/ 3305424 w 4610101"/>
              <a:gd name="connsiteY42621" fmla="*/ 1026736 h 6557032"/>
              <a:gd name="connsiteX42622" fmla="*/ 3296313 w 4610101"/>
              <a:gd name="connsiteY42622" fmla="*/ 1026736 h 6557032"/>
              <a:gd name="connsiteX42623" fmla="*/ 3305424 w 4610101"/>
              <a:gd name="connsiteY42623" fmla="*/ 1034025 h 6557032"/>
              <a:gd name="connsiteX42624" fmla="*/ 3318179 w 4610101"/>
              <a:gd name="connsiteY42624" fmla="*/ 1030381 h 6557032"/>
              <a:gd name="connsiteX42625" fmla="*/ 3307246 w 4610101"/>
              <a:gd name="connsiteY42625" fmla="*/ 1037669 h 6557032"/>
              <a:gd name="connsiteX42626" fmla="*/ 3287202 w 4610101"/>
              <a:gd name="connsiteY42626" fmla="*/ 1026736 h 6557032"/>
              <a:gd name="connsiteX42627" fmla="*/ 3279913 w 4610101"/>
              <a:gd name="connsiteY42627" fmla="*/ 1034025 h 6557032"/>
              <a:gd name="connsiteX42628" fmla="*/ 3238003 w 4610101"/>
              <a:gd name="connsiteY42628" fmla="*/ 1066824 h 6557032"/>
              <a:gd name="connsiteX42629" fmla="*/ 3254403 w 4610101"/>
              <a:gd name="connsiteY42629" fmla="*/ 1074113 h 6557032"/>
              <a:gd name="connsiteX42630" fmla="*/ 3265336 w 4610101"/>
              <a:gd name="connsiteY42630" fmla="*/ 1059535 h 6557032"/>
              <a:gd name="connsiteX42631" fmla="*/ 3289969 w 4610101"/>
              <a:gd name="connsiteY42631" fmla="*/ 1048725 h 6557032"/>
              <a:gd name="connsiteX42632" fmla="*/ 3271230 w 4610101"/>
              <a:gd name="connsiteY42632" fmla="*/ 1059991 h 6557032"/>
              <a:gd name="connsiteX42633" fmla="*/ 3254403 w 4610101"/>
              <a:gd name="connsiteY42633" fmla="*/ 1079579 h 6557032"/>
              <a:gd name="connsiteX42634" fmla="*/ 3270803 w 4610101"/>
              <a:gd name="connsiteY42634" fmla="*/ 1068646 h 6557032"/>
              <a:gd name="connsiteX42635" fmla="*/ 3268980 w 4610101"/>
              <a:gd name="connsiteY42635" fmla="*/ 1079579 h 6557032"/>
              <a:gd name="connsiteX42636" fmla="*/ 3276269 w 4610101"/>
              <a:gd name="connsiteY42636" fmla="*/ 1077757 h 6557032"/>
              <a:gd name="connsiteX42637" fmla="*/ 3330934 w 4610101"/>
              <a:gd name="connsiteY42637" fmla="*/ 1070469 h 6557032"/>
              <a:gd name="connsiteX42638" fmla="*/ 3338223 w 4610101"/>
              <a:gd name="connsiteY42638" fmla="*/ 1070469 h 6557032"/>
              <a:gd name="connsiteX42639" fmla="*/ 3336401 w 4610101"/>
              <a:gd name="connsiteY42639" fmla="*/ 1068646 h 6557032"/>
              <a:gd name="connsiteX42640" fmla="*/ 3340045 w 4610101"/>
              <a:gd name="connsiteY42640" fmla="*/ 1068646 h 6557032"/>
              <a:gd name="connsiteX42641" fmla="*/ 3349156 w 4610101"/>
              <a:gd name="connsiteY42641" fmla="*/ 1079579 h 6557032"/>
              <a:gd name="connsiteX42642" fmla="*/ 3354623 w 4610101"/>
              <a:gd name="connsiteY42642" fmla="*/ 1099623 h 6557032"/>
              <a:gd name="connsiteX42643" fmla="*/ 3329112 w 4610101"/>
              <a:gd name="connsiteY42643" fmla="*/ 1094157 h 6557032"/>
              <a:gd name="connsiteX42644" fmla="*/ 3323646 w 4610101"/>
              <a:gd name="connsiteY42644" fmla="*/ 1086868 h 6557032"/>
              <a:gd name="connsiteX42645" fmla="*/ 3294491 w 4610101"/>
              <a:gd name="connsiteY42645" fmla="*/ 1095979 h 6557032"/>
              <a:gd name="connsiteX42646" fmla="*/ 3305424 w 4610101"/>
              <a:gd name="connsiteY42646" fmla="*/ 1110556 h 6557032"/>
              <a:gd name="connsiteX42647" fmla="*/ 3309068 w 4610101"/>
              <a:gd name="connsiteY42647" fmla="*/ 1105090 h 6557032"/>
              <a:gd name="connsiteX42648" fmla="*/ 3327262 w 4610101"/>
              <a:gd name="connsiteY42648" fmla="*/ 1121489 h 6557032"/>
              <a:gd name="connsiteX42649" fmla="*/ 3328239 w 4610101"/>
              <a:gd name="connsiteY42649" fmla="*/ 1125341 h 6557032"/>
              <a:gd name="connsiteX42650" fmla="*/ 3328201 w 4610101"/>
              <a:gd name="connsiteY42650" fmla="*/ 1125589 h 6557032"/>
              <a:gd name="connsiteX42651" fmla="*/ 3328325 w 4610101"/>
              <a:gd name="connsiteY42651" fmla="*/ 1125675 h 6557032"/>
              <a:gd name="connsiteX42652" fmla="*/ 3329112 w 4610101"/>
              <a:gd name="connsiteY42652" fmla="*/ 1128778 h 6557032"/>
              <a:gd name="connsiteX42653" fmla="*/ 3331797 w 4610101"/>
              <a:gd name="connsiteY42653" fmla="*/ 1128107 h 6557032"/>
              <a:gd name="connsiteX42654" fmla="*/ 3332756 w 4610101"/>
              <a:gd name="connsiteY42654" fmla="*/ 1128778 h 6557032"/>
              <a:gd name="connsiteX42655" fmla="*/ 3332425 w 4610101"/>
              <a:gd name="connsiteY42655" fmla="*/ 1127950 h 6557032"/>
              <a:gd name="connsiteX42656" fmla="*/ 3336401 w 4610101"/>
              <a:gd name="connsiteY42656" fmla="*/ 1126956 h 6557032"/>
              <a:gd name="connsiteX42657" fmla="*/ 3331542 w 4610101"/>
              <a:gd name="connsiteY42657" fmla="*/ 1125741 h 6557032"/>
              <a:gd name="connsiteX42658" fmla="*/ 3331299 w 4610101"/>
              <a:gd name="connsiteY42658" fmla="*/ 1125134 h 6557032"/>
              <a:gd name="connsiteX42659" fmla="*/ 3347562 w 4610101"/>
              <a:gd name="connsiteY42659" fmla="*/ 1125134 h 6557032"/>
              <a:gd name="connsiteX42660" fmla="*/ 3361911 w 4610101"/>
              <a:gd name="connsiteY42660" fmla="*/ 1114201 h 6557032"/>
              <a:gd name="connsiteX42661" fmla="*/ 3360089 w 4610101"/>
              <a:gd name="connsiteY42661" fmla="*/ 1110556 h 6557032"/>
              <a:gd name="connsiteX42662" fmla="*/ 3374666 w 4610101"/>
              <a:gd name="connsiteY42662" fmla="*/ 1103268 h 6557032"/>
              <a:gd name="connsiteX42663" fmla="*/ 3383777 w 4610101"/>
              <a:gd name="connsiteY42663" fmla="*/ 1126956 h 6557032"/>
              <a:gd name="connsiteX42664" fmla="*/ 3374666 w 4610101"/>
              <a:gd name="connsiteY42664" fmla="*/ 1125134 h 6557032"/>
              <a:gd name="connsiteX42665" fmla="*/ 3383777 w 4610101"/>
              <a:gd name="connsiteY42665" fmla="*/ 1132422 h 6557032"/>
              <a:gd name="connsiteX42666" fmla="*/ 3376489 w 4610101"/>
              <a:gd name="connsiteY42666" fmla="*/ 1130600 h 6557032"/>
              <a:gd name="connsiteX42667" fmla="*/ 3372617 w 4610101"/>
              <a:gd name="connsiteY42667" fmla="*/ 1139256 h 6557032"/>
              <a:gd name="connsiteX42668" fmla="*/ 3377304 w 4610101"/>
              <a:gd name="connsiteY42668" fmla="*/ 1144130 h 6557032"/>
              <a:gd name="connsiteX42669" fmla="*/ 3371022 w 4610101"/>
              <a:gd name="connsiteY42669" fmla="*/ 1145178 h 6557032"/>
              <a:gd name="connsiteX42670" fmla="*/ 3369200 w 4610101"/>
              <a:gd name="connsiteY42670" fmla="*/ 1159755 h 6557032"/>
              <a:gd name="connsiteX42671" fmla="*/ 3363734 w 4610101"/>
              <a:gd name="connsiteY42671" fmla="*/ 1157933 h 6557032"/>
              <a:gd name="connsiteX42672" fmla="*/ 3362139 w 4610101"/>
              <a:gd name="connsiteY42672" fmla="*/ 1148821 h 6557032"/>
              <a:gd name="connsiteX42673" fmla="*/ 3360374 w 4610101"/>
              <a:gd name="connsiteY42673" fmla="*/ 1147692 h 6557032"/>
              <a:gd name="connsiteX42674" fmla="*/ 3367378 w 4610101"/>
              <a:gd name="connsiteY42674" fmla="*/ 1145178 h 6557032"/>
              <a:gd name="connsiteX42675" fmla="*/ 3361911 w 4610101"/>
              <a:gd name="connsiteY42675" fmla="*/ 1136067 h 6557032"/>
              <a:gd name="connsiteX42676" fmla="*/ 3350978 w 4610101"/>
              <a:gd name="connsiteY42676" fmla="*/ 1148822 h 6557032"/>
              <a:gd name="connsiteX42677" fmla="*/ 3356142 w 4610101"/>
              <a:gd name="connsiteY42677" fmla="*/ 1148509 h 6557032"/>
              <a:gd name="connsiteX42678" fmla="*/ 3355990 w 4610101"/>
              <a:gd name="connsiteY42678" fmla="*/ 1150188 h 6557032"/>
              <a:gd name="connsiteX42679" fmla="*/ 3352800 w 4610101"/>
              <a:gd name="connsiteY42679" fmla="*/ 1152466 h 6557032"/>
              <a:gd name="connsiteX42680" fmla="*/ 3354623 w 4610101"/>
              <a:gd name="connsiteY42680" fmla="*/ 1150644 h 6557032"/>
              <a:gd name="connsiteX42681" fmla="*/ 3349156 w 4610101"/>
              <a:gd name="connsiteY42681" fmla="*/ 1150644 h 6557032"/>
              <a:gd name="connsiteX42682" fmla="*/ 3332756 w 4610101"/>
              <a:gd name="connsiteY42682" fmla="*/ 1165222 h 6557032"/>
              <a:gd name="connsiteX42683" fmla="*/ 3340045 w 4610101"/>
              <a:gd name="connsiteY42683" fmla="*/ 1167044 h 6557032"/>
              <a:gd name="connsiteX42684" fmla="*/ 3340045 w 4610101"/>
              <a:gd name="connsiteY42684" fmla="*/ 1170688 h 6557032"/>
              <a:gd name="connsiteX42685" fmla="*/ 3332756 w 4610101"/>
              <a:gd name="connsiteY42685" fmla="*/ 1172510 h 6557032"/>
              <a:gd name="connsiteX42686" fmla="*/ 3336401 w 4610101"/>
              <a:gd name="connsiteY42686" fmla="*/ 1181621 h 6557032"/>
              <a:gd name="connsiteX42687" fmla="*/ 3352800 w 4610101"/>
              <a:gd name="connsiteY42687" fmla="*/ 1179799 h 6557032"/>
              <a:gd name="connsiteX42688" fmla="*/ 3350978 w 4610101"/>
              <a:gd name="connsiteY42688" fmla="*/ 1176155 h 6557032"/>
              <a:gd name="connsiteX42689" fmla="*/ 3367378 w 4610101"/>
              <a:gd name="connsiteY42689" fmla="*/ 1177977 h 6557032"/>
              <a:gd name="connsiteX42690" fmla="*/ 3367112 w 4610101"/>
              <a:gd name="connsiteY42690" fmla="*/ 1179977 h 6557032"/>
              <a:gd name="connsiteX42691" fmla="*/ 3361911 w 4610101"/>
              <a:gd name="connsiteY42691" fmla="*/ 1183443 h 6557032"/>
              <a:gd name="connsiteX42692" fmla="*/ 3364257 w 4610101"/>
              <a:gd name="connsiteY42692" fmla="*/ 1184526 h 6557032"/>
              <a:gd name="connsiteX42693" fmla="*/ 3369318 w 4610101"/>
              <a:gd name="connsiteY42693" fmla="*/ 1195011 h 6557032"/>
              <a:gd name="connsiteX42694" fmla="*/ 3365556 w 4610101"/>
              <a:gd name="connsiteY42694" fmla="*/ 1198021 h 6557032"/>
              <a:gd name="connsiteX42695" fmla="*/ 3366446 w 4610101"/>
              <a:gd name="connsiteY42695" fmla="*/ 1198614 h 6557032"/>
              <a:gd name="connsiteX42696" fmla="*/ 3359862 w 4610101"/>
              <a:gd name="connsiteY42696" fmla="*/ 1202804 h 6557032"/>
              <a:gd name="connsiteX42697" fmla="*/ 3356445 w 4610101"/>
              <a:gd name="connsiteY42697" fmla="*/ 1214420 h 6557032"/>
              <a:gd name="connsiteX42698" fmla="*/ 3350978 w 4610101"/>
              <a:gd name="connsiteY42698" fmla="*/ 1216242 h 6557032"/>
              <a:gd name="connsiteX42699" fmla="*/ 3347334 w 4610101"/>
              <a:gd name="connsiteY42699" fmla="*/ 1230820 h 6557032"/>
              <a:gd name="connsiteX42700" fmla="*/ 3361911 w 4610101"/>
              <a:gd name="connsiteY42700" fmla="*/ 1228998 h 6557032"/>
              <a:gd name="connsiteX42701" fmla="*/ 3360089 w 4610101"/>
              <a:gd name="connsiteY42701" fmla="*/ 1225353 h 6557032"/>
              <a:gd name="connsiteX42702" fmla="*/ 3367378 w 4610101"/>
              <a:gd name="connsiteY42702" fmla="*/ 1225353 h 6557032"/>
              <a:gd name="connsiteX42703" fmla="*/ 3383777 w 4610101"/>
              <a:gd name="connsiteY42703" fmla="*/ 1232642 h 6557032"/>
              <a:gd name="connsiteX42704" fmla="*/ 3385600 w 4610101"/>
              <a:gd name="connsiteY42704" fmla="*/ 1225353 h 6557032"/>
              <a:gd name="connsiteX42705" fmla="*/ 3401316 w 4610101"/>
              <a:gd name="connsiteY42705" fmla="*/ 1221709 h 6557032"/>
              <a:gd name="connsiteX42706" fmla="*/ 3405028 w 4610101"/>
              <a:gd name="connsiteY42706" fmla="*/ 1229408 h 6557032"/>
              <a:gd name="connsiteX42707" fmla="*/ 3400177 w 4610101"/>
              <a:gd name="connsiteY42707" fmla="*/ 1232642 h 6557032"/>
              <a:gd name="connsiteX42708" fmla="*/ 3400861 w 4610101"/>
              <a:gd name="connsiteY42708" fmla="*/ 1235830 h 6557032"/>
              <a:gd name="connsiteX42709" fmla="*/ 3400934 w 4610101"/>
              <a:gd name="connsiteY42709" fmla="*/ 1235837 h 6557032"/>
              <a:gd name="connsiteX42710" fmla="*/ 3398355 w 4610101"/>
              <a:gd name="connsiteY42710" fmla="*/ 1236286 h 6557032"/>
              <a:gd name="connsiteX42711" fmla="*/ 3427510 w 4610101"/>
              <a:gd name="connsiteY42711" fmla="*/ 1238108 h 6557032"/>
              <a:gd name="connsiteX42712" fmla="*/ 3423865 w 4610101"/>
              <a:gd name="connsiteY42712" fmla="*/ 1243575 h 6557032"/>
              <a:gd name="connsiteX42713" fmla="*/ 3434798 w 4610101"/>
              <a:gd name="connsiteY42713" fmla="*/ 1270908 h 6557032"/>
              <a:gd name="connsiteX42714" fmla="*/ 3440265 w 4610101"/>
              <a:gd name="connsiteY42714" fmla="*/ 1269085 h 6557032"/>
              <a:gd name="connsiteX42715" fmla="*/ 3432976 w 4610101"/>
              <a:gd name="connsiteY42715" fmla="*/ 1249042 h 6557032"/>
              <a:gd name="connsiteX42716" fmla="*/ 3443909 w 4610101"/>
              <a:gd name="connsiteY42716" fmla="*/ 1247219 h 6557032"/>
              <a:gd name="connsiteX42717" fmla="*/ 3445731 w 4610101"/>
              <a:gd name="connsiteY42717" fmla="*/ 1252686 h 6557032"/>
              <a:gd name="connsiteX42718" fmla="*/ 3451198 w 4610101"/>
              <a:gd name="connsiteY42718" fmla="*/ 1250864 h 6557032"/>
              <a:gd name="connsiteX42719" fmla="*/ 3454842 w 4610101"/>
              <a:gd name="connsiteY42719" fmla="*/ 1265441 h 6557032"/>
              <a:gd name="connsiteX42720" fmla="*/ 3453020 w 4610101"/>
              <a:gd name="connsiteY42720" fmla="*/ 1278196 h 6557032"/>
              <a:gd name="connsiteX42721" fmla="*/ 3443909 w 4610101"/>
              <a:gd name="connsiteY42721" fmla="*/ 1276374 h 6557032"/>
              <a:gd name="connsiteX42722" fmla="*/ 3445731 w 4610101"/>
              <a:gd name="connsiteY42722" fmla="*/ 1281841 h 6557032"/>
              <a:gd name="connsiteX42723" fmla="*/ 3456664 w 4610101"/>
              <a:gd name="connsiteY42723" fmla="*/ 1278196 h 6557032"/>
              <a:gd name="connsiteX42724" fmla="*/ 3459626 w 4610101"/>
              <a:gd name="connsiteY42724" fmla="*/ 1283207 h 6557032"/>
              <a:gd name="connsiteX42725" fmla="*/ 3453113 w 4610101"/>
              <a:gd name="connsiteY42725" fmla="*/ 1290842 h 6557032"/>
              <a:gd name="connsiteX42726" fmla="*/ 3452890 w 4610101"/>
              <a:gd name="connsiteY42726" fmla="*/ 1290430 h 6557032"/>
              <a:gd name="connsiteX42727" fmla="*/ 3451198 w 4610101"/>
              <a:gd name="connsiteY42727" fmla="*/ 1283663 h 6557032"/>
              <a:gd name="connsiteX42728" fmla="*/ 3443909 w 4610101"/>
              <a:gd name="connsiteY42728" fmla="*/ 1287307 h 6557032"/>
              <a:gd name="connsiteX42729" fmla="*/ 3447553 w 4610101"/>
              <a:gd name="connsiteY42729" fmla="*/ 1292774 h 6557032"/>
              <a:gd name="connsiteX42730" fmla="*/ 3450098 w 4610101"/>
              <a:gd name="connsiteY42730" fmla="*/ 1291925 h 6557032"/>
              <a:gd name="connsiteX42731" fmla="*/ 3450059 w 4610101"/>
              <a:gd name="connsiteY42731" fmla="*/ 1292090 h 6557032"/>
              <a:gd name="connsiteX42732" fmla="*/ 3451261 w 4610101"/>
              <a:gd name="connsiteY42732" fmla="*/ 1294586 h 6557032"/>
              <a:gd name="connsiteX42733" fmla="*/ 3451198 w 4610101"/>
              <a:gd name="connsiteY42733" fmla="*/ 1294596 h 6557032"/>
              <a:gd name="connsiteX42734" fmla="*/ 3458487 w 4610101"/>
              <a:gd name="connsiteY42734" fmla="*/ 1305529 h 6557032"/>
              <a:gd name="connsiteX42735" fmla="*/ 3460309 w 4610101"/>
              <a:gd name="connsiteY42735" fmla="*/ 1294596 h 6557032"/>
              <a:gd name="connsiteX42736" fmla="*/ 3467597 w 4610101"/>
              <a:gd name="connsiteY42736" fmla="*/ 1296418 h 6557032"/>
              <a:gd name="connsiteX42737" fmla="*/ 3465775 w 4610101"/>
              <a:gd name="connsiteY42737" fmla="*/ 1310995 h 6557032"/>
              <a:gd name="connsiteX42738" fmla="*/ 3474886 w 4610101"/>
              <a:gd name="connsiteY42738" fmla="*/ 1307351 h 6557032"/>
              <a:gd name="connsiteX42739" fmla="*/ 3471242 w 4610101"/>
              <a:gd name="connsiteY42739" fmla="*/ 1303707 h 6557032"/>
              <a:gd name="connsiteX42740" fmla="*/ 3480353 w 4610101"/>
              <a:gd name="connsiteY42740" fmla="*/ 1301885 h 6557032"/>
              <a:gd name="connsiteX42741" fmla="*/ 3463953 w 4610101"/>
              <a:gd name="connsiteY42741" fmla="*/ 1316462 h 6557032"/>
              <a:gd name="connsiteX42742" fmla="*/ 3487641 w 4610101"/>
              <a:gd name="connsiteY42742" fmla="*/ 1310995 h 6557032"/>
              <a:gd name="connsiteX42743" fmla="*/ 3514974 w 4610101"/>
              <a:gd name="connsiteY42743" fmla="*/ 1318284 h 6557032"/>
              <a:gd name="connsiteX42744" fmla="*/ 3502219 w 4610101"/>
              <a:gd name="connsiteY42744" fmla="*/ 1320106 h 6557032"/>
              <a:gd name="connsiteX42745" fmla="*/ 3505863 w 4610101"/>
              <a:gd name="connsiteY42745" fmla="*/ 1327395 h 6557032"/>
              <a:gd name="connsiteX42746" fmla="*/ 3494930 w 4610101"/>
              <a:gd name="connsiteY42746" fmla="*/ 1318284 h 6557032"/>
              <a:gd name="connsiteX42747" fmla="*/ 3478530 w 4610101"/>
              <a:gd name="connsiteY42747" fmla="*/ 1338328 h 6557032"/>
              <a:gd name="connsiteX42748" fmla="*/ 3480353 w 4610101"/>
              <a:gd name="connsiteY42748" fmla="*/ 1345617 h 6557032"/>
              <a:gd name="connsiteX42749" fmla="*/ 3467541 w 4610101"/>
              <a:gd name="connsiteY42749" fmla="*/ 1327423 h 6557032"/>
              <a:gd name="connsiteX42750" fmla="*/ 3464015 w 4610101"/>
              <a:gd name="connsiteY42750" fmla="*/ 1328831 h 6557032"/>
              <a:gd name="connsiteX42751" fmla="*/ 3464864 w 4610101"/>
              <a:gd name="connsiteY42751" fmla="*/ 1323523 h 6557032"/>
              <a:gd name="connsiteX42752" fmla="*/ 3460309 w 4610101"/>
              <a:gd name="connsiteY42752" fmla="*/ 1321929 h 6557032"/>
              <a:gd name="connsiteX42753" fmla="*/ 3459398 w 4610101"/>
              <a:gd name="connsiteY42753" fmla="*/ 1326940 h 6557032"/>
              <a:gd name="connsiteX42754" fmla="*/ 3463552 w 4610101"/>
              <a:gd name="connsiteY42754" fmla="*/ 1329016 h 6557032"/>
              <a:gd name="connsiteX42755" fmla="*/ 3458487 w 4610101"/>
              <a:gd name="connsiteY42755" fmla="*/ 1331039 h 6557032"/>
              <a:gd name="connsiteX42756" fmla="*/ 3465673 w 4610101"/>
              <a:gd name="connsiteY42756" fmla="*/ 1332941 h 6557032"/>
              <a:gd name="connsiteX42757" fmla="*/ 3459626 w 4610101"/>
              <a:gd name="connsiteY42757" fmla="*/ 1337645 h 6557032"/>
              <a:gd name="connsiteX42758" fmla="*/ 3460107 w 4610101"/>
              <a:gd name="connsiteY42758" fmla="*/ 1341972 h 6557032"/>
              <a:gd name="connsiteX42759" fmla="*/ 3456664 w 4610101"/>
              <a:gd name="connsiteY42759" fmla="*/ 1341972 h 6557032"/>
              <a:gd name="connsiteX42760" fmla="*/ 3456664 w 4610101"/>
              <a:gd name="connsiteY42760" fmla="*/ 1351083 h 6557032"/>
              <a:gd name="connsiteX42761" fmla="*/ 3469419 w 4610101"/>
              <a:gd name="connsiteY42761" fmla="*/ 1352905 h 6557032"/>
              <a:gd name="connsiteX42762" fmla="*/ 3471242 w 4610101"/>
              <a:gd name="connsiteY42762" fmla="*/ 1345617 h 6557032"/>
              <a:gd name="connsiteX42763" fmla="*/ 3482175 w 4610101"/>
              <a:gd name="connsiteY42763" fmla="*/ 1358372 h 6557032"/>
              <a:gd name="connsiteX42764" fmla="*/ 3449376 w 4610101"/>
              <a:gd name="connsiteY42764" fmla="*/ 1365661 h 6557032"/>
              <a:gd name="connsiteX42765" fmla="*/ 3445731 w 4610101"/>
              <a:gd name="connsiteY42765" fmla="*/ 1351083 h 6557032"/>
              <a:gd name="connsiteX42766" fmla="*/ 3447553 w 4610101"/>
              <a:gd name="connsiteY42766" fmla="*/ 1365661 h 6557032"/>
              <a:gd name="connsiteX42767" fmla="*/ 3442087 w 4610101"/>
              <a:gd name="connsiteY42767" fmla="*/ 1351083 h 6557032"/>
              <a:gd name="connsiteX42768" fmla="*/ 3422043 w 4610101"/>
              <a:gd name="connsiteY42768" fmla="*/ 1360194 h 6557032"/>
              <a:gd name="connsiteX42769" fmla="*/ 3420221 w 4610101"/>
              <a:gd name="connsiteY42769" fmla="*/ 1374771 h 6557032"/>
              <a:gd name="connsiteX42770" fmla="*/ 3418399 w 4610101"/>
              <a:gd name="connsiteY42770" fmla="*/ 1372949 h 6557032"/>
              <a:gd name="connsiteX42771" fmla="*/ 3414754 w 4610101"/>
              <a:gd name="connsiteY42771" fmla="*/ 1374771 h 6557032"/>
              <a:gd name="connsiteX42772" fmla="*/ 3436621 w 4610101"/>
              <a:gd name="connsiteY42772" fmla="*/ 1374771 h 6557032"/>
              <a:gd name="connsiteX42773" fmla="*/ 3438443 w 4610101"/>
              <a:gd name="connsiteY42773" fmla="*/ 1380238 h 6557032"/>
              <a:gd name="connsiteX42774" fmla="*/ 3454842 w 4610101"/>
              <a:gd name="connsiteY42774" fmla="*/ 1369305 h 6557032"/>
              <a:gd name="connsiteX42775" fmla="*/ 3471242 w 4610101"/>
              <a:gd name="connsiteY42775" fmla="*/ 1374771 h 6557032"/>
              <a:gd name="connsiteX42776" fmla="*/ 3469419 w 4610101"/>
              <a:gd name="connsiteY42776" fmla="*/ 1369305 h 6557032"/>
              <a:gd name="connsiteX42777" fmla="*/ 3520440 w 4610101"/>
              <a:gd name="connsiteY42777" fmla="*/ 1362016 h 6557032"/>
              <a:gd name="connsiteX42778" fmla="*/ 3515849 w 4610101"/>
              <a:gd name="connsiteY42778" fmla="*/ 1376708 h 6557032"/>
              <a:gd name="connsiteX42779" fmla="*/ 3511330 w 4610101"/>
              <a:gd name="connsiteY42779" fmla="*/ 1374771 h 6557032"/>
              <a:gd name="connsiteX42780" fmla="*/ 3513152 w 4610101"/>
              <a:gd name="connsiteY42780" fmla="*/ 1383882 h 6557032"/>
              <a:gd name="connsiteX42781" fmla="*/ 3513815 w 4610101"/>
              <a:gd name="connsiteY42781" fmla="*/ 1383220 h 6557032"/>
              <a:gd name="connsiteX42782" fmla="*/ 3511330 w 4610101"/>
              <a:gd name="connsiteY42782" fmla="*/ 1391171 h 6557032"/>
              <a:gd name="connsiteX42783" fmla="*/ 3509507 w 4610101"/>
              <a:gd name="connsiteY42783" fmla="*/ 1383882 h 6557032"/>
              <a:gd name="connsiteX42784" fmla="*/ 3504998 w 4610101"/>
              <a:gd name="connsiteY42784" fmla="*/ 1390015 h 6557032"/>
              <a:gd name="connsiteX42785" fmla="*/ 3506091 w 4610101"/>
              <a:gd name="connsiteY42785" fmla="*/ 1386615 h 6557032"/>
              <a:gd name="connsiteX42786" fmla="*/ 3504041 w 4610101"/>
              <a:gd name="connsiteY42786" fmla="*/ 1380238 h 6557032"/>
              <a:gd name="connsiteX42787" fmla="*/ 3502675 w 4610101"/>
              <a:gd name="connsiteY42787" fmla="*/ 1385249 h 6557032"/>
              <a:gd name="connsiteX42788" fmla="*/ 3503807 w 4610101"/>
              <a:gd name="connsiteY42788" fmla="*/ 1391667 h 6557032"/>
              <a:gd name="connsiteX42789" fmla="*/ 3502219 w 4610101"/>
              <a:gd name="connsiteY42789" fmla="*/ 1402104 h 6557032"/>
              <a:gd name="connsiteX42790" fmla="*/ 3493480 w 4610101"/>
              <a:gd name="connsiteY42790" fmla="*/ 1398609 h 6557032"/>
              <a:gd name="connsiteX42791" fmla="*/ 3494475 w 4610101"/>
              <a:gd name="connsiteY42791" fmla="*/ 1394132 h 6557032"/>
              <a:gd name="connsiteX42792" fmla="*/ 3493108 w 4610101"/>
              <a:gd name="connsiteY42792" fmla="*/ 1389349 h 6557032"/>
              <a:gd name="connsiteX42793" fmla="*/ 3502219 w 4610101"/>
              <a:gd name="connsiteY42793" fmla="*/ 1380238 h 6557032"/>
              <a:gd name="connsiteX42794" fmla="*/ 3489463 w 4610101"/>
              <a:gd name="connsiteY42794" fmla="*/ 1382060 h 6557032"/>
              <a:gd name="connsiteX42795" fmla="*/ 3489919 w 4610101"/>
              <a:gd name="connsiteY42795" fmla="*/ 1391854 h 6557032"/>
              <a:gd name="connsiteX42796" fmla="*/ 3492844 w 4610101"/>
              <a:gd name="connsiteY42796" fmla="*/ 1399583 h 6557032"/>
              <a:gd name="connsiteX42797" fmla="*/ 3491391 w 4610101"/>
              <a:gd name="connsiteY42797" fmla="*/ 1405759 h 6557032"/>
              <a:gd name="connsiteX42798" fmla="*/ 3491286 w 4610101"/>
              <a:gd name="connsiteY42798" fmla="*/ 1402104 h 6557032"/>
              <a:gd name="connsiteX42799" fmla="*/ 3476708 w 4610101"/>
              <a:gd name="connsiteY42799" fmla="*/ 1420326 h 6557032"/>
              <a:gd name="connsiteX42800" fmla="*/ 3493108 w 4610101"/>
              <a:gd name="connsiteY42800" fmla="*/ 1416681 h 6557032"/>
              <a:gd name="connsiteX42801" fmla="*/ 3491514 w 4610101"/>
              <a:gd name="connsiteY42801" fmla="*/ 1410076 h 6557032"/>
              <a:gd name="connsiteX42802" fmla="*/ 3491414 w 4610101"/>
              <a:gd name="connsiteY42802" fmla="*/ 1406571 h 6557032"/>
              <a:gd name="connsiteX42803" fmla="*/ 3494930 w 4610101"/>
              <a:gd name="connsiteY42803" fmla="*/ 1416681 h 6557032"/>
              <a:gd name="connsiteX42804" fmla="*/ 3502219 w 4610101"/>
              <a:gd name="connsiteY42804" fmla="*/ 1409393 h 6557032"/>
              <a:gd name="connsiteX42805" fmla="*/ 3504041 w 4610101"/>
              <a:gd name="connsiteY42805" fmla="*/ 1414859 h 6557032"/>
              <a:gd name="connsiteX42806" fmla="*/ 3502219 w 4610101"/>
              <a:gd name="connsiteY42806" fmla="*/ 1425792 h 6557032"/>
              <a:gd name="connsiteX42807" fmla="*/ 3500397 w 4610101"/>
              <a:gd name="connsiteY42807" fmla="*/ 1413037 h 6557032"/>
              <a:gd name="connsiteX42808" fmla="*/ 3496041 w 4610101"/>
              <a:gd name="connsiteY42808" fmla="*/ 1447630 h 6557032"/>
              <a:gd name="connsiteX42809" fmla="*/ 3495477 w 4610101"/>
              <a:gd name="connsiteY42809" fmla="*/ 1447887 h 6557032"/>
              <a:gd name="connsiteX42810" fmla="*/ 3495841 w 4610101"/>
              <a:gd name="connsiteY42810" fmla="*/ 1445608 h 6557032"/>
              <a:gd name="connsiteX42811" fmla="*/ 3491286 w 4610101"/>
              <a:gd name="connsiteY42811" fmla="*/ 1444014 h 6557032"/>
              <a:gd name="connsiteX42812" fmla="*/ 3491741 w 4610101"/>
              <a:gd name="connsiteY42812" fmla="*/ 1449025 h 6557032"/>
              <a:gd name="connsiteX42813" fmla="*/ 3492225 w 4610101"/>
              <a:gd name="connsiteY42813" fmla="*/ 1449371 h 6557032"/>
              <a:gd name="connsiteX42814" fmla="*/ 3483997 w 4610101"/>
              <a:gd name="connsiteY42814" fmla="*/ 1453125 h 6557032"/>
              <a:gd name="connsiteX42815" fmla="*/ 3482175 w 4610101"/>
              <a:gd name="connsiteY42815" fmla="*/ 1449481 h 6557032"/>
              <a:gd name="connsiteX42816" fmla="*/ 3460309 w 4610101"/>
              <a:gd name="connsiteY42816" fmla="*/ 1460414 h 6557032"/>
              <a:gd name="connsiteX42817" fmla="*/ 3454842 w 4610101"/>
              <a:gd name="connsiteY42817" fmla="*/ 1444014 h 6557032"/>
              <a:gd name="connsiteX42818" fmla="*/ 3442087 w 4610101"/>
              <a:gd name="connsiteY42818" fmla="*/ 1462236 h 6557032"/>
              <a:gd name="connsiteX42819" fmla="*/ 3434798 w 4610101"/>
              <a:gd name="connsiteY42819" fmla="*/ 1458592 h 6557032"/>
              <a:gd name="connsiteX42820" fmla="*/ 3442087 w 4610101"/>
              <a:gd name="connsiteY42820" fmla="*/ 1444014 h 6557032"/>
              <a:gd name="connsiteX42821" fmla="*/ 3449376 w 4610101"/>
              <a:gd name="connsiteY42821" fmla="*/ 1442192 h 6557032"/>
              <a:gd name="connsiteX42822" fmla="*/ 3429332 w 4610101"/>
              <a:gd name="connsiteY42822" fmla="*/ 1456769 h 6557032"/>
              <a:gd name="connsiteX42823" fmla="*/ 3416577 w 4610101"/>
              <a:gd name="connsiteY42823" fmla="*/ 1449481 h 6557032"/>
              <a:gd name="connsiteX42824" fmla="*/ 3405416 w 4610101"/>
              <a:gd name="connsiteY42824" fmla="*/ 1457225 h 6557032"/>
              <a:gd name="connsiteX42825" fmla="*/ 3399332 w 4610101"/>
              <a:gd name="connsiteY42825" fmla="*/ 1466253 h 6557032"/>
              <a:gd name="connsiteX42826" fmla="*/ 3398583 w 4610101"/>
              <a:gd name="connsiteY42826" fmla="*/ 1464969 h 6557032"/>
              <a:gd name="connsiteX42827" fmla="*/ 3398355 w 4610101"/>
              <a:gd name="connsiteY42827" fmla="*/ 1462236 h 6557032"/>
              <a:gd name="connsiteX42828" fmla="*/ 3395849 w 4610101"/>
              <a:gd name="connsiteY42828" fmla="*/ 1466336 h 6557032"/>
              <a:gd name="connsiteX42829" fmla="*/ 3398675 w 4610101"/>
              <a:gd name="connsiteY42829" fmla="*/ 1467228 h 6557032"/>
              <a:gd name="connsiteX42830" fmla="*/ 3398355 w 4610101"/>
              <a:gd name="connsiteY42830" fmla="*/ 1467702 h 6557032"/>
              <a:gd name="connsiteX42831" fmla="*/ 3401999 w 4610101"/>
              <a:gd name="connsiteY42831" fmla="*/ 1473169 h 6557032"/>
              <a:gd name="connsiteX42832" fmla="*/ 3405643 w 4610101"/>
              <a:gd name="connsiteY42832" fmla="*/ 1460414 h 6557032"/>
              <a:gd name="connsiteX42833" fmla="*/ 3409288 w 4610101"/>
              <a:gd name="connsiteY42833" fmla="*/ 1480458 h 6557032"/>
              <a:gd name="connsiteX42834" fmla="*/ 3418399 w 4610101"/>
              <a:gd name="connsiteY42834" fmla="*/ 1474991 h 6557032"/>
              <a:gd name="connsiteX42835" fmla="*/ 3431154 w 4610101"/>
              <a:gd name="connsiteY42835" fmla="*/ 1480458 h 6557032"/>
              <a:gd name="connsiteX42836" fmla="*/ 3436621 w 4610101"/>
              <a:gd name="connsiteY42836" fmla="*/ 1467702 h 6557032"/>
              <a:gd name="connsiteX42837" fmla="*/ 3431154 w 4610101"/>
              <a:gd name="connsiteY42837" fmla="*/ 1482280 h 6557032"/>
              <a:gd name="connsiteX42838" fmla="*/ 3453020 w 4610101"/>
              <a:gd name="connsiteY42838" fmla="*/ 1478635 h 6557032"/>
              <a:gd name="connsiteX42839" fmla="*/ 3463270 w 4610101"/>
              <a:gd name="connsiteY42839" fmla="*/ 1488201 h 6557032"/>
              <a:gd name="connsiteX42840" fmla="*/ 3464156 w 4610101"/>
              <a:gd name="connsiteY42840" fmla="*/ 1489973 h 6557032"/>
              <a:gd name="connsiteX42841" fmla="*/ 3463498 w 4610101"/>
              <a:gd name="connsiteY42841" fmla="*/ 1489340 h 6557032"/>
              <a:gd name="connsiteX42842" fmla="*/ 3454842 w 4610101"/>
              <a:gd name="connsiteY42842" fmla="*/ 1493213 h 6557032"/>
              <a:gd name="connsiteX42843" fmla="*/ 3459775 w 4610101"/>
              <a:gd name="connsiteY42843" fmla="*/ 1495424 h 6557032"/>
              <a:gd name="connsiteX42844" fmla="*/ 3453020 w 4610101"/>
              <a:gd name="connsiteY42844" fmla="*/ 1496857 h 6557032"/>
              <a:gd name="connsiteX42845" fmla="*/ 3458487 w 4610101"/>
              <a:gd name="connsiteY42845" fmla="*/ 1516901 h 6557032"/>
              <a:gd name="connsiteX42846" fmla="*/ 3431154 w 4610101"/>
              <a:gd name="connsiteY42846" fmla="*/ 1498679 h 6557032"/>
              <a:gd name="connsiteX42847" fmla="*/ 3423865 w 4610101"/>
              <a:gd name="connsiteY42847" fmla="*/ 1491391 h 6557032"/>
              <a:gd name="connsiteX42848" fmla="*/ 3414754 w 4610101"/>
              <a:gd name="connsiteY42848" fmla="*/ 1496857 h 6557032"/>
              <a:gd name="connsiteX42849" fmla="*/ 3412932 w 4610101"/>
              <a:gd name="connsiteY42849" fmla="*/ 1491391 h 6557032"/>
              <a:gd name="connsiteX42850" fmla="*/ 3405643 w 4610101"/>
              <a:gd name="connsiteY42850" fmla="*/ 1495035 h 6557032"/>
              <a:gd name="connsiteX42851" fmla="*/ 3407466 w 4610101"/>
              <a:gd name="connsiteY42851" fmla="*/ 1502324 h 6557032"/>
              <a:gd name="connsiteX42852" fmla="*/ 3406859 w 4610101"/>
              <a:gd name="connsiteY42852" fmla="*/ 1503134 h 6557032"/>
              <a:gd name="connsiteX42853" fmla="*/ 3403821 w 4610101"/>
              <a:gd name="connsiteY42853" fmla="*/ 1496857 h 6557032"/>
              <a:gd name="connsiteX42854" fmla="*/ 3396532 w 4610101"/>
              <a:gd name="connsiteY42854" fmla="*/ 1482280 h 6557032"/>
              <a:gd name="connsiteX42855" fmla="*/ 3396532 w 4610101"/>
              <a:gd name="connsiteY42855" fmla="*/ 1489568 h 6557032"/>
              <a:gd name="connsiteX42856" fmla="*/ 3392888 w 4610101"/>
              <a:gd name="connsiteY42856" fmla="*/ 1484102 h 6557032"/>
              <a:gd name="connsiteX42857" fmla="*/ 3400177 w 4610101"/>
              <a:gd name="connsiteY42857" fmla="*/ 1498679 h 6557032"/>
              <a:gd name="connsiteX42858" fmla="*/ 3394755 w 4610101"/>
              <a:gd name="connsiteY42858" fmla="*/ 1500486 h 6557032"/>
              <a:gd name="connsiteX42859" fmla="*/ 3394710 w 4610101"/>
              <a:gd name="connsiteY42859" fmla="*/ 1498679 h 6557032"/>
              <a:gd name="connsiteX42860" fmla="*/ 3394710 w 4610101"/>
              <a:gd name="connsiteY42860" fmla="*/ 1500501 h 6557032"/>
              <a:gd name="connsiteX42861" fmla="*/ 3394755 w 4610101"/>
              <a:gd name="connsiteY42861" fmla="*/ 1500486 h 6557032"/>
              <a:gd name="connsiteX42862" fmla="*/ 3394938 w 4610101"/>
              <a:gd name="connsiteY42862" fmla="*/ 1507790 h 6557032"/>
              <a:gd name="connsiteX42863" fmla="*/ 3401999 w 4610101"/>
              <a:gd name="connsiteY42863" fmla="*/ 1511434 h 6557032"/>
              <a:gd name="connsiteX42864" fmla="*/ 3403725 w 4610101"/>
              <a:gd name="connsiteY42864" fmla="*/ 1508845 h 6557032"/>
              <a:gd name="connsiteX42865" fmla="*/ 3406099 w 4610101"/>
              <a:gd name="connsiteY42865" fmla="*/ 1507790 h 6557032"/>
              <a:gd name="connsiteX42866" fmla="*/ 3407466 w 4610101"/>
              <a:gd name="connsiteY42866" fmla="*/ 1511434 h 6557032"/>
              <a:gd name="connsiteX42867" fmla="*/ 3408417 w 4610101"/>
              <a:gd name="connsiteY42867" fmla="*/ 1508741 h 6557032"/>
              <a:gd name="connsiteX42868" fmla="*/ 3409288 w 4610101"/>
              <a:gd name="connsiteY42868" fmla="*/ 1509612 h 6557032"/>
              <a:gd name="connsiteX42869" fmla="*/ 3408693 w 4610101"/>
              <a:gd name="connsiteY42869" fmla="*/ 1507958 h 6557032"/>
              <a:gd name="connsiteX42870" fmla="*/ 3408833 w 4610101"/>
              <a:gd name="connsiteY42870" fmla="*/ 1507562 h 6557032"/>
              <a:gd name="connsiteX42871" fmla="*/ 3407466 w 4610101"/>
              <a:gd name="connsiteY42871" fmla="*/ 1502324 h 6557032"/>
              <a:gd name="connsiteX42872" fmla="*/ 3412932 w 4610101"/>
              <a:gd name="connsiteY42872" fmla="*/ 1509612 h 6557032"/>
              <a:gd name="connsiteX42873" fmla="*/ 3416577 w 4610101"/>
              <a:gd name="connsiteY42873" fmla="*/ 1498679 h 6557032"/>
              <a:gd name="connsiteX42874" fmla="*/ 3420221 w 4610101"/>
              <a:gd name="connsiteY42874" fmla="*/ 1502324 h 6557032"/>
              <a:gd name="connsiteX42875" fmla="*/ 3422043 w 4610101"/>
              <a:gd name="connsiteY42875" fmla="*/ 1495035 h 6557032"/>
              <a:gd name="connsiteX42876" fmla="*/ 3430243 w 4610101"/>
              <a:gd name="connsiteY42876" fmla="*/ 1506651 h 6557032"/>
              <a:gd name="connsiteX42877" fmla="*/ 3430935 w 4610101"/>
              <a:gd name="connsiteY42877" fmla="*/ 1510632 h 6557032"/>
              <a:gd name="connsiteX42878" fmla="*/ 3429332 w 4610101"/>
              <a:gd name="connsiteY42878" fmla="*/ 1511434 h 6557032"/>
              <a:gd name="connsiteX42879" fmla="*/ 3431313 w 4610101"/>
              <a:gd name="connsiteY42879" fmla="*/ 1512806 h 6557032"/>
              <a:gd name="connsiteX42880" fmla="*/ 3432976 w 4610101"/>
              <a:gd name="connsiteY42880" fmla="*/ 1522368 h 6557032"/>
              <a:gd name="connsiteX42881" fmla="*/ 3440265 w 4610101"/>
              <a:gd name="connsiteY42881" fmla="*/ 1524190 h 6557032"/>
              <a:gd name="connsiteX42882" fmla="*/ 3442087 w 4610101"/>
              <a:gd name="connsiteY42882" fmla="*/ 1538767 h 6557032"/>
              <a:gd name="connsiteX42883" fmla="*/ 3423865 w 4610101"/>
              <a:gd name="connsiteY42883" fmla="*/ 1533301 h 6557032"/>
              <a:gd name="connsiteX42884" fmla="*/ 3420221 w 4610101"/>
              <a:gd name="connsiteY42884" fmla="*/ 1536945 h 6557032"/>
              <a:gd name="connsiteX42885" fmla="*/ 3423865 w 4610101"/>
              <a:gd name="connsiteY42885" fmla="*/ 1549700 h 6557032"/>
              <a:gd name="connsiteX42886" fmla="*/ 3407466 w 4610101"/>
              <a:gd name="connsiteY42886" fmla="*/ 1529656 h 6557032"/>
              <a:gd name="connsiteX42887" fmla="*/ 3409288 w 4610101"/>
              <a:gd name="connsiteY42887" fmla="*/ 1518723 h 6557032"/>
              <a:gd name="connsiteX42888" fmla="*/ 3405643 w 4610101"/>
              <a:gd name="connsiteY42888" fmla="*/ 1526012 h 6557032"/>
              <a:gd name="connsiteX42889" fmla="*/ 3398355 w 4610101"/>
              <a:gd name="connsiteY42889" fmla="*/ 1518723 h 6557032"/>
              <a:gd name="connsiteX42890" fmla="*/ 3396532 w 4610101"/>
              <a:gd name="connsiteY42890" fmla="*/ 1511434 h 6557032"/>
              <a:gd name="connsiteX42891" fmla="*/ 3394710 w 4610101"/>
              <a:gd name="connsiteY42891" fmla="*/ 1513257 h 6557032"/>
              <a:gd name="connsiteX42892" fmla="*/ 3345512 w 4610101"/>
              <a:gd name="connsiteY42892" fmla="*/ 1469525 h 6557032"/>
              <a:gd name="connsiteX42893" fmla="*/ 3334579 w 4610101"/>
              <a:gd name="connsiteY42893" fmla="*/ 1473169 h 6557032"/>
              <a:gd name="connsiteX42894" fmla="*/ 3334579 w 4610101"/>
              <a:gd name="connsiteY42894" fmla="*/ 1471347 h 6557032"/>
              <a:gd name="connsiteX42895" fmla="*/ 3330376 w 4610101"/>
              <a:gd name="connsiteY42895" fmla="*/ 1474578 h 6557032"/>
              <a:gd name="connsiteX42896" fmla="*/ 3329112 w 4610101"/>
              <a:gd name="connsiteY42896" fmla="*/ 1471347 h 6557032"/>
              <a:gd name="connsiteX42897" fmla="*/ 3323646 w 4610101"/>
              <a:gd name="connsiteY42897" fmla="*/ 1474991 h 6557032"/>
              <a:gd name="connsiteX42898" fmla="*/ 3329112 w 4610101"/>
              <a:gd name="connsiteY42898" fmla="*/ 1480458 h 6557032"/>
              <a:gd name="connsiteX42899" fmla="*/ 3329637 w 4610101"/>
              <a:gd name="connsiteY42899" fmla="*/ 1479467 h 6557032"/>
              <a:gd name="connsiteX42900" fmla="*/ 3330934 w 4610101"/>
              <a:gd name="connsiteY42900" fmla="*/ 1484102 h 6557032"/>
              <a:gd name="connsiteX42901" fmla="*/ 3332756 w 4610101"/>
              <a:gd name="connsiteY42901" fmla="*/ 1484102 h 6557032"/>
              <a:gd name="connsiteX42902" fmla="*/ 3329112 w 4610101"/>
              <a:gd name="connsiteY42902" fmla="*/ 1498679 h 6557032"/>
              <a:gd name="connsiteX42903" fmla="*/ 3323646 w 4610101"/>
              <a:gd name="connsiteY42903" fmla="*/ 1501868 h 6557032"/>
              <a:gd name="connsiteX42904" fmla="*/ 3320619 w 4610101"/>
              <a:gd name="connsiteY42904" fmla="*/ 1505147 h 6557032"/>
              <a:gd name="connsiteX42905" fmla="*/ 3316813 w 4610101"/>
              <a:gd name="connsiteY42905" fmla="*/ 1502551 h 6557032"/>
              <a:gd name="connsiteX42906" fmla="*/ 3309068 w 4610101"/>
              <a:gd name="connsiteY42906" fmla="*/ 1505968 h 6557032"/>
              <a:gd name="connsiteX42907" fmla="*/ 3314535 w 4610101"/>
              <a:gd name="connsiteY42907" fmla="*/ 1524190 h 6557032"/>
              <a:gd name="connsiteX42908" fmla="*/ 3318180 w 4610101"/>
              <a:gd name="connsiteY42908" fmla="*/ 1514395 h 6557032"/>
              <a:gd name="connsiteX42909" fmla="*/ 3320034 w 4610101"/>
              <a:gd name="connsiteY42909" fmla="*/ 1510108 h 6557032"/>
              <a:gd name="connsiteX42910" fmla="*/ 3325468 w 4610101"/>
              <a:gd name="connsiteY42910" fmla="*/ 1516901 h 6557032"/>
              <a:gd name="connsiteX42911" fmla="*/ 3325468 w 4610101"/>
              <a:gd name="connsiteY42911" fmla="*/ 1520545 h 6557032"/>
              <a:gd name="connsiteX42912" fmla="*/ 3323646 w 4610101"/>
              <a:gd name="connsiteY42912" fmla="*/ 1521326 h 6557032"/>
              <a:gd name="connsiteX42913" fmla="*/ 3323646 w 4610101"/>
              <a:gd name="connsiteY42913" fmla="*/ 1516901 h 6557032"/>
              <a:gd name="connsiteX42914" fmla="*/ 3322407 w 4610101"/>
              <a:gd name="connsiteY42914" fmla="*/ 1521857 h 6557032"/>
              <a:gd name="connsiteX42915" fmla="*/ 3312713 w 4610101"/>
              <a:gd name="connsiteY42915" fmla="*/ 1526012 h 6557032"/>
              <a:gd name="connsiteX42916" fmla="*/ 3323646 w 4610101"/>
              <a:gd name="connsiteY42916" fmla="*/ 1531478 h 6557032"/>
              <a:gd name="connsiteX42917" fmla="*/ 3318179 w 4610101"/>
              <a:gd name="connsiteY42917" fmla="*/ 1606188 h 6557032"/>
              <a:gd name="connsiteX42918" fmla="*/ 3310890 w 4610101"/>
              <a:gd name="connsiteY42918" fmla="*/ 1602543 h 6557032"/>
              <a:gd name="connsiteX42919" fmla="*/ 3307246 w 4610101"/>
              <a:gd name="connsiteY42919" fmla="*/ 1606188 h 6557032"/>
              <a:gd name="connsiteX42920" fmla="*/ 3305424 w 4610101"/>
              <a:gd name="connsiteY42920" fmla="*/ 1600721 h 6557032"/>
              <a:gd name="connsiteX42921" fmla="*/ 3294491 w 4610101"/>
              <a:gd name="connsiteY42921" fmla="*/ 1608010 h 6557032"/>
              <a:gd name="connsiteX42922" fmla="*/ 3259869 w 4610101"/>
              <a:gd name="connsiteY42922" fmla="*/ 1567922 h 6557032"/>
              <a:gd name="connsiteX42923" fmla="*/ 3245086 w 4610101"/>
              <a:gd name="connsiteY42923" fmla="*/ 1568142 h 6557032"/>
              <a:gd name="connsiteX42924" fmla="*/ 3245292 w 4610101"/>
              <a:gd name="connsiteY42924" fmla="*/ 1567922 h 6557032"/>
              <a:gd name="connsiteX42925" fmla="*/ 3232537 w 4610101"/>
              <a:gd name="connsiteY42925" fmla="*/ 1567922 h 6557032"/>
              <a:gd name="connsiteX42926" fmla="*/ 3236565 w 4610101"/>
              <a:gd name="connsiteY42926" fmla="*/ 1572238 h 6557032"/>
              <a:gd name="connsiteX42927" fmla="*/ 3230715 w 4610101"/>
              <a:gd name="connsiteY42927" fmla="*/ 1575211 h 6557032"/>
              <a:gd name="connsiteX42928" fmla="*/ 3214315 w 4610101"/>
              <a:gd name="connsiteY42928" fmla="*/ 1567922 h 6557032"/>
              <a:gd name="connsiteX42929" fmla="*/ 3207027 w 4610101"/>
              <a:gd name="connsiteY42929" fmla="*/ 1575211 h 6557032"/>
              <a:gd name="connsiteX42930" fmla="*/ 3196093 w 4610101"/>
              <a:gd name="connsiteY42930" fmla="*/ 1571566 h 6557032"/>
              <a:gd name="connsiteX42931" fmla="*/ 3188805 w 4610101"/>
              <a:gd name="connsiteY42931" fmla="*/ 1577033 h 6557032"/>
              <a:gd name="connsiteX42932" fmla="*/ 3181516 w 4610101"/>
              <a:gd name="connsiteY42932" fmla="*/ 1575211 h 6557032"/>
              <a:gd name="connsiteX42933" fmla="*/ 3168761 w 4610101"/>
              <a:gd name="connsiteY42933" fmla="*/ 1602543 h 6557032"/>
              <a:gd name="connsiteX42934" fmla="*/ 3170583 w 4610101"/>
              <a:gd name="connsiteY42934" fmla="*/ 1600721 h 6557032"/>
              <a:gd name="connsiteX42935" fmla="*/ 3196093 w 4610101"/>
              <a:gd name="connsiteY42935" fmla="*/ 1608010 h 6557032"/>
              <a:gd name="connsiteX42936" fmla="*/ 3196093 w 4610101"/>
              <a:gd name="connsiteY42936" fmla="*/ 1613476 h 6557032"/>
              <a:gd name="connsiteX42937" fmla="*/ 3197916 w 4610101"/>
              <a:gd name="connsiteY42937" fmla="*/ 1617121 h 6557032"/>
              <a:gd name="connsiteX42938" fmla="*/ 3185160 w 4610101"/>
              <a:gd name="connsiteY42938" fmla="*/ 1617121 h 6557032"/>
              <a:gd name="connsiteX42939" fmla="*/ 3170583 w 4610101"/>
              <a:gd name="connsiteY42939" fmla="*/ 1624409 h 6557032"/>
              <a:gd name="connsiteX42940" fmla="*/ 3163294 w 4610101"/>
              <a:gd name="connsiteY42940" fmla="*/ 1617121 h 6557032"/>
              <a:gd name="connsiteX42941" fmla="*/ 3166939 w 4610101"/>
              <a:gd name="connsiteY42941" fmla="*/ 1609832 h 6557032"/>
              <a:gd name="connsiteX42942" fmla="*/ 3163294 w 4610101"/>
              <a:gd name="connsiteY42942" fmla="*/ 1584321 h 6557032"/>
              <a:gd name="connsiteX42943" fmla="*/ 3152361 w 4610101"/>
              <a:gd name="connsiteY42943" fmla="*/ 1589788 h 6557032"/>
              <a:gd name="connsiteX42944" fmla="*/ 3150539 w 4610101"/>
              <a:gd name="connsiteY42944" fmla="*/ 1595255 h 6557032"/>
              <a:gd name="connsiteX42945" fmla="*/ 3139606 w 4610101"/>
              <a:gd name="connsiteY42945" fmla="*/ 1597077 h 6557032"/>
              <a:gd name="connsiteX42946" fmla="*/ 3125029 w 4610101"/>
              <a:gd name="connsiteY42946" fmla="*/ 1609832 h 6557032"/>
              <a:gd name="connsiteX42947" fmla="*/ 3117740 w 4610101"/>
              <a:gd name="connsiteY42947" fmla="*/ 1613476 h 6557032"/>
              <a:gd name="connsiteX42948" fmla="*/ 3117740 w 4610101"/>
              <a:gd name="connsiteY42948" fmla="*/ 1626231 h 6557032"/>
              <a:gd name="connsiteX42949" fmla="*/ 3106807 w 4610101"/>
              <a:gd name="connsiteY42949" fmla="*/ 1620765 h 6557032"/>
              <a:gd name="connsiteX42950" fmla="*/ 3103163 w 4610101"/>
              <a:gd name="connsiteY42950" fmla="*/ 1631698 h 6557032"/>
              <a:gd name="connsiteX42951" fmla="*/ 3101340 w 4610101"/>
              <a:gd name="connsiteY42951" fmla="*/ 1624409 h 6557032"/>
              <a:gd name="connsiteX42952" fmla="*/ 3092230 w 4610101"/>
              <a:gd name="connsiteY42952" fmla="*/ 1629876 h 6557032"/>
              <a:gd name="connsiteX42953" fmla="*/ 3095874 w 4610101"/>
              <a:gd name="connsiteY42953" fmla="*/ 1628054 h 6557032"/>
              <a:gd name="connsiteX42954" fmla="*/ 3095874 w 4610101"/>
              <a:gd name="connsiteY42954" fmla="*/ 1638987 h 6557032"/>
              <a:gd name="connsiteX42955" fmla="*/ 3099518 w 4610101"/>
              <a:gd name="connsiteY42955" fmla="*/ 1639122 h 6557032"/>
              <a:gd name="connsiteX42956" fmla="*/ 3102024 w 4610101"/>
              <a:gd name="connsiteY42956" fmla="*/ 1639214 h 6557032"/>
              <a:gd name="connsiteX42957" fmla="*/ 3106807 w 4610101"/>
              <a:gd name="connsiteY42957" fmla="*/ 1635342 h 6557032"/>
              <a:gd name="connsiteX42958" fmla="*/ 3114096 w 4610101"/>
              <a:gd name="connsiteY42958" fmla="*/ 1638987 h 6557032"/>
              <a:gd name="connsiteX42959" fmla="*/ 3168761 w 4610101"/>
              <a:gd name="connsiteY42959" fmla="*/ 1642631 h 6557032"/>
              <a:gd name="connsiteX42960" fmla="*/ 3177872 w 4610101"/>
              <a:gd name="connsiteY42960" fmla="*/ 1642631 h 6557032"/>
              <a:gd name="connsiteX42961" fmla="*/ 3179694 w 4610101"/>
              <a:gd name="connsiteY42961" fmla="*/ 1642631 h 6557032"/>
              <a:gd name="connsiteX42962" fmla="*/ 3177872 w 4610101"/>
              <a:gd name="connsiteY42962" fmla="*/ 1644453 h 6557032"/>
              <a:gd name="connsiteX42963" fmla="*/ 3179694 w 4610101"/>
              <a:gd name="connsiteY42963" fmla="*/ 1648097 h 6557032"/>
              <a:gd name="connsiteX42964" fmla="*/ 3188155 w 4610101"/>
              <a:gd name="connsiteY42964" fmla="*/ 1651742 h 6557032"/>
              <a:gd name="connsiteX42965" fmla="*/ 3185160 w 4610101"/>
              <a:gd name="connsiteY42965" fmla="*/ 1651742 h 6557032"/>
              <a:gd name="connsiteX42966" fmla="*/ 3190627 w 4610101"/>
              <a:gd name="connsiteY42966" fmla="*/ 1664497 h 6557032"/>
              <a:gd name="connsiteX42967" fmla="*/ 3188805 w 4610101"/>
              <a:gd name="connsiteY42967" fmla="*/ 1668142 h 6557032"/>
              <a:gd name="connsiteX42968" fmla="*/ 3196093 w 4610101"/>
              <a:gd name="connsiteY42968" fmla="*/ 1664497 h 6557032"/>
              <a:gd name="connsiteX42969" fmla="*/ 3196549 w 4610101"/>
              <a:gd name="connsiteY42969" fmla="*/ 1658120 h 6557032"/>
              <a:gd name="connsiteX42970" fmla="*/ 3189518 w 4610101"/>
              <a:gd name="connsiteY42970" fmla="*/ 1652329 h 6557032"/>
              <a:gd name="connsiteX42971" fmla="*/ 3194499 w 4610101"/>
              <a:gd name="connsiteY42971" fmla="*/ 1654475 h 6557032"/>
              <a:gd name="connsiteX42972" fmla="*/ 3210671 w 4610101"/>
              <a:gd name="connsiteY42972" fmla="*/ 1655386 h 6557032"/>
              <a:gd name="connsiteX42973" fmla="*/ 3210671 w 4610101"/>
              <a:gd name="connsiteY42973" fmla="*/ 1657208 h 6557032"/>
              <a:gd name="connsiteX42974" fmla="*/ 3212493 w 4610101"/>
              <a:gd name="connsiteY42974" fmla="*/ 1657208 h 6557032"/>
              <a:gd name="connsiteX42975" fmla="*/ 3217960 w 4610101"/>
              <a:gd name="connsiteY42975" fmla="*/ 1668142 h 6557032"/>
              <a:gd name="connsiteX42976" fmla="*/ 3216137 w 4610101"/>
              <a:gd name="connsiteY42976" fmla="*/ 1668142 h 6557032"/>
              <a:gd name="connsiteX42977" fmla="*/ 3214315 w 4610101"/>
              <a:gd name="connsiteY42977" fmla="*/ 1671786 h 6557032"/>
              <a:gd name="connsiteX42978" fmla="*/ 3218416 w 4610101"/>
              <a:gd name="connsiteY42978" fmla="*/ 1671786 h 6557032"/>
              <a:gd name="connsiteX42979" fmla="*/ 3219782 w 4610101"/>
              <a:gd name="connsiteY42979" fmla="*/ 1677252 h 6557032"/>
              <a:gd name="connsiteX42980" fmla="*/ 3221225 w 4610101"/>
              <a:gd name="connsiteY42980" fmla="*/ 1675153 h 6557032"/>
              <a:gd name="connsiteX42981" fmla="*/ 3225248 w 4610101"/>
              <a:gd name="connsiteY42981" fmla="*/ 1684541 h 6557032"/>
              <a:gd name="connsiteX42982" fmla="*/ 3216137 w 4610101"/>
              <a:gd name="connsiteY42982" fmla="*/ 1684541 h 6557032"/>
              <a:gd name="connsiteX42983" fmla="*/ 3210671 w 4610101"/>
              <a:gd name="connsiteY42983" fmla="*/ 1679075 h 6557032"/>
              <a:gd name="connsiteX42984" fmla="*/ 3208849 w 4610101"/>
              <a:gd name="connsiteY42984" fmla="*/ 1682719 h 6557032"/>
              <a:gd name="connsiteX42985" fmla="*/ 3208849 w 4610101"/>
              <a:gd name="connsiteY42985" fmla="*/ 1682719 h 6557032"/>
              <a:gd name="connsiteX42986" fmla="*/ 3207027 w 4610101"/>
              <a:gd name="connsiteY42986" fmla="*/ 1680897 h 6557032"/>
              <a:gd name="connsiteX42987" fmla="*/ 3196093 w 4610101"/>
              <a:gd name="connsiteY42987" fmla="*/ 1680897 h 6557032"/>
              <a:gd name="connsiteX42988" fmla="*/ 3194271 w 4610101"/>
              <a:gd name="connsiteY42988" fmla="*/ 1690008 h 6557032"/>
              <a:gd name="connsiteX42989" fmla="*/ 3208849 w 4610101"/>
              <a:gd name="connsiteY42989" fmla="*/ 1688185 h 6557032"/>
              <a:gd name="connsiteX42990" fmla="*/ 3209262 w 4610101"/>
              <a:gd name="connsiteY42990" fmla="*/ 1683644 h 6557032"/>
              <a:gd name="connsiteX42991" fmla="*/ 3214487 w 4610101"/>
              <a:gd name="connsiteY42991" fmla="*/ 1695347 h 6557032"/>
              <a:gd name="connsiteX42992" fmla="*/ 3201560 w 4610101"/>
              <a:gd name="connsiteY42992" fmla="*/ 1693652 h 6557032"/>
              <a:gd name="connsiteX42993" fmla="*/ 3197916 w 4610101"/>
              <a:gd name="connsiteY42993" fmla="*/ 1699118 h 6557032"/>
              <a:gd name="connsiteX42994" fmla="*/ 3207027 w 4610101"/>
              <a:gd name="connsiteY42994" fmla="*/ 1735562 h 6557032"/>
              <a:gd name="connsiteX42995" fmla="*/ 3225248 w 4610101"/>
              <a:gd name="connsiteY42995" fmla="*/ 1706407 h 6557032"/>
              <a:gd name="connsiteX42996" fmla="*/ 3214315 w 4610101"/>
              <a:gd name="connsiteY42996" fmla="*/ 1704585 h 6557032"/>
              <a:gd name="connsiteX42997" fmla="*/ 3225248 w 4610101"/>
              <a:gd name="connsiteY42997" fmla="*/ 1702763 h 6557032"/>
              <a:gd name="connsiteX42998" fmla="*/ 3216542 w 4610101"/>
              <a:gd name="connsiteY42998" fmla="*/ 1696284 h 6557032"/>
              <a:gd name="connsiteX42999" fmla="*/ 3232537 w 4610101"/>
              <a:gd name="connsiteY42999" fmla="*/ 1702763 h 6557032"/>
              <a:gd name="connsiteX43000" fmla="*/ 3225248 w 4610101"/>
              <a:gd name="connsiteY43000" fmla="*/ 1688185 h 6557032"/>
              <a:gd name="connsiteX43001" fmla="*/ 3227071 w 4610101"/>
              <a:gd name="connsiteY43001" fmla="*/ 1688185 h 6557032"/>
              <a:gd name="connsiteX43002" fmla="*/ 3237761 w 4610101"/>
              <a:gd name="connsiteY43002" fmla="*/ 1710536 h 6557032"/>
              <a:gd name="connsiteX43003" fmla="*/ 3236181 w 4610101"/>
              <a:gd name="connsiteY43003" fmla="*/ 1713696 h 6557032"/>
              <a:gd name="connsiteX43004" fmla="*/ 3239691 w 4610101"/>
              <a:gd name="connsiteY43004" fmla="*/ 1714573 h 6557032"/>
              <a:gd name="connsiteX43005" fmla="*/ 3247114 w 4610101"/>
              <a:gd name="connsiteY43005" fmla="*/ 1730095 h 6557032"/>
              <a:gd name="connsiteX43006" fmla="*/ 3245292 w 4610101"/>
              <a:gd name="connsiteY43006" fmla="*/ 1735562 h 6557032"/>
              <a:gd name="connsiteX43007" fmla="*/ 3243470 w 4610101"/>
              <a:gd name="connsiteY43007" fmla="*/ 1739206 h 6557032"/>
              <a:gd name="connsiteX43008" fmla="*/ 3247114 w 4610101"/>
              <a:gd name="connsiteY43008" fmla="*/ 1744673 h 6557032"/>
              <a:gd name="connsiteX43009" fmla="*/ 3245292 w 4610101"/>
              <a:gd name="connsiteY43009" fmla="*/ 1737384 h 6557032"/>
              <a:gd name="connsiteX43010" fmla="*/ 3250759 w 4610101"/>
              <a:gd name="connsiteY43010" fmla="*/ 1735562 h 6557032"/>
              <a:gd name="connsiteX43011" fmla="*/ 3252581 w 4610101"/>
              <a:gd name="connsiteY43011" fmla="*/ 1741028 h 6557032"/>
              <a:gd name="connsiteX43012" fmla="*/ 3259869 w 4610101"/>
              <a:gd name="connsiteY43012" fmla="*/ 1753784 h 6557032"/>
              <a:gd name="connsiteX43013" fmla="*/ 3261692 w 4610101"/>
              <a:gd name="connsiteY43013" fmla="*/ 1757428 h 6557032"/>
              <a:gd name="connsiteX43014" fmla="*/ 3268980 w 4610101"/>
              <a:gd name="connsiteY43014" fmla="*/ 1770183 h 6557032"/>
              <a:gd name="connsiteX43015" fmla="*/ 3256225 w 4610101"/>
              <a:gd name="connsiteY43015" fmla="*/ 1762894 h 6557032"/>
              <a:gd name="connsiteX43016" fmla="*/ 3258047 w 4610101"/>
              <a:gd name="connsiteY43016" fmla="*/ 1768361 h 6557032"/>
              <a:gd name="connsiteX43017" fmla="*/ 3250759 w 4610101"/>
              <a:gd name="connsiteY43017" fmla="*/ 1761072 h 6557032"/>
              <a:gd name="connsiteX43018" fmla="*/ 3245292 w 4610101"/>
              <a:gd name="connsiteY43018" fmla="*/ 1761072 h 6557032"/>
              <a:gd name="connsiteX43019" fmla="*/ 3247114 w 4610101"/>
              <a:gd name="connsiteY43019" fmla="*/ 1770183 h 6557032"/>
              <a:gd name="connsiteX43020" fmla="*/ 3268980 w 4610101"/>
              <a:gd name="connsiteY43020" fmla="*/ 1801160 h 6557032"/>
              <a:gd name="connsiteX43021" fmla="*/ 3265336 w 4610101"/>
              <a:gd name="connsiteY43021" fmla="*/ 1808449 h 6557032"/>
              <a:gd name="connsiteX43022" fmla="*/ 3309068 w 4610101"/>
              <a:gd name="connsiteY43022" fmla="*/ 1855825 h 6557032"/>
              <a:gd name="connsiteX43023" fmla="*/ 3284718 w 4610101"/>
              <a:gd name="connsiteY43023" fmla="*/ 1838432 h 6557032"/>
              <a:gd name="connsiteX43024" fmla="*/ 3287202 w 4610101"/>
              <a:gd name="connsiteY43024" fmla="*/ 1837604 h 6557032"/>
              <a:gd name="connsiteX43025" fmla="*/ 3272625 w 4610101"/>
              <a:gd name="connsiteY43025" fmla="*/ 1823026 h 6557032"/>
              <a:gd name="connsiteX43026" fmla="*/ 3265336 w 4610101"/>
              <a:gd name="connsiteY43026" fmla="*/ 1844892 h 6557032"/>
              <a:gd name="connsiteX43027" fmla="*/ 3283987 w 4610101"/>
              <a:gd name="connsiteY43027" fmla="*/ 1838675 h 6557032"/>
              <a:gd name="connsiteX43028" fmla="*/ 3290847 w 4610101"/>
              <a:gd name="connsiteY43028" fmla="*/ 1855825 h 6557032"/>
              <a:gd name="connsiteX43029" fmla="*/ 3296313 w 4610101"/>
              <a:gd name="connsiteY43029" fmla="*/ 1863114 h 6557032"/>
              <a:gd name="connsiteX43030" fmla="*/ 3287202 w 4610101"/>
              <a:gd name="connsiteY43030" fmla="*/ 1861292 h 6557032"/>
              <a:gd name="connsiteX43031" fmla="*/ 3276269 w 4610101"/>
              <a:gd name="connsiteY43031" fmla="*/ 1866758 h 6557032"/>
              <a:gd name="connsiteX43032" fmla="*/ 3278091 w 4610101"/>
              <a:gd name="connsiteY43032" fmla="*/ 1872225 h 6557032"/>
              <a:gd name="connsiteX43033" fmla="*/ 3217960 w 4610101"/>
              <a:gd name="connsiteY43033" fmla="*/ 1841248 h 6557032"/>
              <a:gd name="connsiteX43034" fmla="*/ 3207027 w 4610101"/>
              <a:gd name="connsiteY43034" fmla="*/ 1846714 h 6557032"/>
              <a:gd name="connsiteX43035" fmla="*/ 3245292 w 4610101"/>
              <a:gd name="connsiteY43035" fmla="*/ 1937823 h 6557032"/>
              <a:gd name="connsiteX43036" fmla="*/ 3055786 w 4610101"/>
              <a:gd name="connsiteY43036" fmla="*/ 1863114 h 6557032"/>
              <a:gd name="connsiteX43037" fmla="*/ 3046675 w 4610101"/>
              <a:gd name="connsiteY43037" fmla="*/ 1870403 h 6557032"/>
              <a:gd name="connsiteX43038" fmla="*/ 3123206 w 4610101"/>
              <a:gd name="connsiteY43038" fmla="*/ 1983376 h 6557032"/>
              <a:gd name="connsiteX43039" fmla="*/ 3075830 w 4610101"/>
              <a:gd name="connsiteY43039" fmla="*/ 1972444 h 6557032"/>
              <a:gd name="connsiteX43040" fmla="*/ 2889968 w 4610101"/>
              <a:gd name="connsiteY43040" fmla="*/ 1950578 h 6557032"/>
              <a:gd name="connsiteX43041" fmla="*/ 2753305 w 4610101"/>
              <a:gd name="connsiteY43041" fmla="*/ 1928712 h 6557032"/>
              <a:gd name="connsiteX43042" fmla="*/ 2749661 w 4610101"/>
              <a:gd name="connsiteY43042" fmla="*/ 1941468 h 6557032"/>
              <a:gd name="connsiteX43043" fmla="*/ 2928234 w 4610101"/>
              <a:gd name="connsiteY43043" fmla="*/ 2036220 h 6557032"/>
              <a:gd name="connsiteX43044" fmla="*/ 2704106 w 4610101"/>
              <a:gd name="connsiteY43044" fmla="*/ 2008887 h 6557032"/>
              <a:gd name="connsiteX43045" fmla="*/ 2698640 w 4610101"/>
              <a:gd name="connsiteY43045" fmla="*/ 2016176 h 6557032"/>
              <a:gd name="connsiteX43046" fmla="*/ 2813437 w 4610101"/>
              <a:gd name="connsiteY43046" fmla="*/ 2110928 h 6557032"/>
              <a:gd name="connsiteX43047" fmla="*/ 2791571 w 4610101"/>
              <a:gd name="connsiteY43047" fmla="*/ 2114572 h 6557032"/>
              <a:gd name="connsiteX43048" fmla="*/ 2791571 w 4610101"/>
              <a:gd name="connsiteY43048" fmla="*/ 2127328 h 6557032"/>
              <a:gd name="connsiteX43049" fmla="*/ 2873569 w 4610101"/>
              <a:gd name="connsiteY43049" fmla="*/ 2169238 h 6557032"/>
              <a:gd name="connsiteX43050" fmla="*/ 2826192 w 4610101"/>
              <a:gd name="connsiteY43050" fmla="*/ 2147372 h 6557032"/>
              <a:gd name="connsiteX43051" fmla="*/ 2680418 w 4610101"/>
              <a:gd name="connsiteY43051" fmla="*/ 2138261 h 6557032"/>
              <a:gd name="connsiteX43052" fmla="*/ 2541933 w 4610101"/>
              <a:gd name="connsiteY43052" fmla="*/ 2120040 h 6557032"/>
              <a:gd name="connsiteX43053" fmla="*/ 2532822 w 4610101"/>
              <a:gd name="connsiteY43053" fmla="*/ 2130973 h 6557032"/>
              <a:gd name="connsiteX43054" fmla="*/ 2647619 w 4610101"/>
              <a:gd name="connsiteY43054" fmla="*/ 2274925 h 6557032"/>
              <a:gd name="connsiteX43055" fmla="*/ 2868102 w 4610101"/>
              <a:gd name="connsiteY43055" fmla="*/ 2364211 h 6557032"/>
              <a:gd name="connsiteX43056" fmla="*/ 2964677 w 4610101"/>
              <a:gd name="connsiteY43056" fmla="*/ 2360567 h 6557032"/>
              <a:gd name="connsiteX43057" fmla="*/ 2941335 w 4610101"/>
              <a:gd name="connsiteY43057" fmla="*/ 2366565 h 6557032"/>
              <a:gd name="connsiteX43058" fmla="*/ 2948277 w 4610101"/>
              <a:gd name="connsiteY43058" fmla="*/ 2373513 h 6557032"/>
              <a:gd name="connsiteX43059" fmla="*/ 2944633 w 4610101"/>
              <a:gd name="connsiteY43059" fmla="*/ 2377147 h 6557032"/>
              <a:gd name="connsiteX43060" fmla="*/ 2937344 w 4610101"/>
              <a:gd name="connsiteY43060" fmla="*/ 2369872 h 6557032"/>
              <a:gd name="connsiteX43061" fmla="*/ 2940405 w 4610101"/>
              <a:gd name="connsiteY43061" fmla="*/ 2366805 h 6557032"/>
              <a:gd name="connsiteX43062" fmla="*/ 2923906 w 4610101"/>
              <a:gd name="connsiteY43062" fmla="*/ 2371045 h 6557032"/>
              <a:gd name="connsiteX43063" fmla="*/ 2884502 w 4610101"/>
              <a:gd name="connsiteY43063" fmla="*/ 2373323 h 6557032"/>
              <a:gd name="connsiteX43064" fmla="*/ 2880857 w 4610101"/>
              <a:gd name="connsiteY43064" fmla="*/ 2386077 h 6557032"/>
              <a:gd name="connsiteX43065" fmla="*/ 2948278 w 4610101"/>
              <a:gd name="connsiteY43065" fmla="*/ 2415233 h 6557032"/>
              <a:gd name="connsiteX43066" fmla="*/ 2928572 w 4610101"/>
              <a:gd name="connsiteY43066" fmla="*/ 2412755 h 6557032"/>
              <a:gd name="connsiteX43067" fmla="*/ 2930057 w 4610101"/>
              <a:gd name="connsiteY43067" fmla="*/ 2417208 h 6557032"/>
              <a:gd name="connsiteX43068" fmla="*/ 2928235 w 4610101"/>
              <a:gd name="connsiteY43068" fmla="*/ 2420848 h 6557032"/>
              <a:gd name="connsiteX43069" fmla="*/ 2922768 w 4610101"/>
              <a:gd name="connsiteY43069" fmla="*/ 2415389 h 6557032"/>
              <a:gd name="connsiteX43070" fmla="*/ 2927015 w 4610101"/>
              <a:gd name="connsiteY43070" fmla="*/ 2412560 h 6557032"/>
              <a:gd name="connsiteX43071" fmla="*/ 2868558 w 4610101"/>
              <a:gd name="connsiteY43071" fmla="*/ 2405210 h 6557032"/>
              <a:gd name="connsiteX43072" fmla="*/ 2811698 w 4610101"/>
              <a:gd name="connsiteY43072" fmla="*/ 2389734 h 6557032"/>
              <a:gd name="connsiteX43073" fmla="*/ 2809792 w 4610101"/>
              <a:gd name="connsiteY43073" fmla="*/ 2393545 h 6557032"/>
              <a:gd name="connsiteX43074" fmla="*/ 2808204 w 4610101"/>
              <a:gd name="connsiteY43074" fmla="*/ 2388783 h 6557032"/>
              <a:gd name="connsiteX43075" fmla="*/ 2807339 w 4610101"/>
              <a:gd name="connsiteY43075" fmla="*/ 2388548 h 6557032"/>
              <a:gd name="connsiteX43076" fmla="*/ 2803642 w 4610101"/>
              <a:gd name="connsiteY43076" fmla="*/ 2391269 h 6557032"/>
              <a:gd name="connsiteX43077" fmla="*/ 2801016 w 4610101"/>
              <a:gd name="connsiteY43077" fmla="*/ 2386827 h 6557032"/>
              <a:gd name="connsiteX43078" fmla="*/ 2791571 w 4610101"/>
              <a:gd name="connsiteY43078" fmla="*/ 2384256 h 6557032"/>
              <a:gd name="connsiteX43079" fmla="*/ 2784282 w 4610101"/>
              <a:gd name="connsiteY43079" fmla="*/ 2393367 h 6557032"/>
              <a:gd name="connsiteX43080" fmla="*/ 2788976 w 4610101"/>
              <a:gd name="connsiteY43080" fmla="*/ 2399775 h 6557032"/>
              <a:gd name="connsiteX43081" fmla="*/ 2791571 w 4610101"/>
              <a:gd name="connsiteY43081" fmla="*/ 2397183 h 6557032"/>
              <a:gd name="connsiteX43082" fmla="*/ 2806148 w 4610101"/>
              <a:gd name="connsiteY43082" fmla="*/ 2408106 h 6557032"/>
              <a:gd name="connsiteX43083" fmla="*/ 2813437 w 4610101"/>
              <a:gd name="connsiteY43083" fmla="*/ 2404465 h 6557032"/>
              <a:gd name="connsiteX43084" fmla="*/ 2815259 w 4610101"/>
              <a:gd name="connsiteY43084" fmla="*/ 2409926 h 6557032"/>
              <a:gd name="connsiteX43085" fmla="*/ 2811615 w 4610101"/>
              <a:gd name="connsiteY43085" fmla="*/ 2417208 h 6557032"/>
              <a:gd name="connsiteX43086" fmla="*/ 2800681 w 4610101"/>
              <a:gd name="connsiteY43086" fmla="*/ 2409926 h 6557032"/>
              <a:gd name="connsiteX43087" fmla="*/ 2799889 w 4610101"/>
              <a:gd name="connsiteY43087" fmla="*/ 2414675 h 6557032"/>
              <a:gd name="connsiteX43088" fmla="*/ 2818853 w 4610101"/>
              <a:gd name="connsiteY43088" fmla="*/ 2440566 h 6557032"/>
              <a:gd name="connsiteX43089" fmla="*/ 2820725 w 4610101"/>
              <a:gd name="connsiteY43089" fmla="*/ 2440877 h 6557032"/>
              <a:gd name="connsiteX43090" fmla="*/ 2820211 w 4610101"/>
              <a:gd name="connsiteY43090" fmla="*/ 2442420 h 6557032"/>
              <a:gd name="connsiteX43091" fmla="*/ 2824022 w 4610101"/>
              <a:gd name="connsiteY43091" fmla="*/ 2447623 h 6557032"/>
              <a:gd name="connsiteX43092" fmla="*/ 2826192 w 4610101"/>
              <a:gd name="connsiteY43092" fmla="*/ 2448166 h 6557032"/>
              <a:gd name="connsiteX43093" fmla="*/ 2828219 w 4610101"/>
              <a:gd name="connsiteY43093" fmla="*/ 2453353 h 6557032"/>
              <a:gd name="connsiteX43094" fmla="*/ 2828362 w 4610101"/>
              <a:gd name="connsiteY43094" fmla="*/ 2453549 h 6557032"/>
              <a:gd name="connsiteX43095" fmla="*/ 2831658 w 4610101"/>
              <a:gd name="connsiteY43095" fmla="*/ 2457287 h 6557032"/>
              <a:gd name="connsiteX43096" fmla="*/ 2831209 w 4610101"/>
              <a:gd name="connsiteY43096" fmla="*/ 2457436 h 6557032"/>
              <a:gd name="connsiteX43097" fmla="*/ 2834165 w 4610101"/>
              <a:gd name="connsiteY43097" fmla="*/ 2461470 h 6557032"/>
              <a:gd name="connsiteX43098" fmla="*/ 2846235 w 4610101"/>
              <a:gd name="connsiteY43098" fmla="*/ 2473911 h 6557032"/>
              <a:gd name="connsiteX43099" fmla="*/ 2846235 w 4610101"/>
              <a:gd name="connsiteY43099" fmla="*/ 2471884 h 6557032"/>
              <a:gd name="connsiteX43100" fmla="*/ 2858990 w 4610101"/>
              <a:gd name="connsiteY43100" fmla="*/ 2471884 h 6557032"/>
              <a:gd name="connsiteX43101" fmla="*/ 2869924 w 4610101"/>
              <a:gd name="connsiteY43101" fmla="*/ 2481005 h 6557032"/>
              <a:gd name="connsiteX43102" fmla="*/ 2864913 w 4610101"/>
              <a:gd name="connsiteY43102" fmla="*/ 2489455 h 6557032"/>
              <a:gd name="connsiteX43103" fmla="*/ 2862583 w 4610101"/>
              <a:gd name="connsiteY43103" fmla="*/ 2490760 h 6557032"/>
              <a:gd name="connsiteX43104" fmla="*/ 2893613 w 4610101"/>
              <a:gd name="connsiteY43104" fmla="*/ 2522741 h 6557032"/>
              <a:gd name="connsiteX43105" fmla="*/ 2888146 w 4610101"/>
              <a:gd name="connsiteY43105" fmla="*/ 2522741 h 6557032"/>
              <a:gd name="connsiteX43106" fmla="*/ 2722328 w 4610101"/>
              <a:gd name="connsiteY43106" fmla="*/ 2570118 h 6557032"/>
              <a:gd name="connsiteX43107" fmla="*/ 2720506 w 4610101"/>
              <a:gd name="connsiteY43107" fmla="*/ 2581050 h 6557032"/>
              <a:gd name="connsiteX43108" fmla="*/ 2979255 w 4610101"/>
              <a:gd name="connsiteY43108" fmla="*/ 2732292 h 6557032"/>
              <a:gd name="connsiteX43109" fmla="*/ 2968322 w 4610101"/>
              <a:gd name="connsiteY43109" fmla="*/ 2735937 h 6557032"/>
              <a:gd name="connsiteX43110" fmla="*/ 2831659 w 4610101"/>
              <a:gd name="connsiteY43110" fmla="*/ 2814291 h 6557032"/>
              <a:gd name="connsiteX43111" fmla="*/ 2831659 w 4610101"/>
              <a:gd name="connsiteY43111" fmla="*/ 2823401 h 6557032"/>
              <a:gd name="connsiteX43112" fmla="*/ 3035742 w 4610101"/>
              <a:gd name="connsiteY43112" fmla="*/ 2890821 h 6557032"/>
              <a:gd name="connsiteX43113" fmla="*/ 2920945 w 4610101"/>
              <a:gd name="connsiteY43113" fmla="*/ 2892643 h 6557032"/>
              <a:gd name="connsiteX43114" fmla="*/ 2919123 w 4610101"/>
              <a:gd name="connsiteY43114" fmla="*/ 2905399 h 6557032"/>
              <a:gd name="connsiteX43115" fmla="*/ 3030276 w 4610101"/>
              <a:gd name="connsiteY43115" fmla="*/ 2963707 h 6557032"/>
              <a:gd name="connsiteX43116" fmla="*/ 3125029 w 4610101"/>
              <a:gd name="connsiteY43116" fmla="*/ 3009260 h 6557032"/>
              <a:gd name="connsiteX43117" fmla="*/ 3216137 w 4610101"/>
              <a:gd name="connsiteY43117" fmla="*/ 3005616 h 6557032"/>
              <a:gd name="connsiteX43118" fmla="*/ 3212493 w 4610101"/>
              <a:gd name="connsiteY43118" fmla="*/ 3014728 h 6557032"/>
              <a:gd name="connsiteX43119" fmla="*/ 3234359 w 4610101"/>
              <a:gd name="connsiteY43119" fmla="*/ 3014728 h 6557032"/>
              <a:gd name="connsiteX43120" fmla="*/ 3230715 w 4610101"/>
              <a:gd name="connsiteY43120" fmla="*/ 3001972 h 6557032"/>
              <a:gd name="connsiteX43121" fmla="*/ 3243470 w 4610101"/>
              <a:gd name="connsiteY43121" fmla="*/ 2998328 h 6557032"/>
              <a:gd name="connsiteX43122" fmla="*/ 3245292 w 4610101"/>
              <a:gd name="connsiteY43122" fmla="*/ 3005616 h 6557032"/>
              <a:gd name="connsiteX43123" fmla="*/ 3285380 w 4610101"/>
              <a:gd name="connsiteY43123" fmla="*/ 3040237 h 6557032"/>
              <a:gd name="connsiteX43124" fmla="*/ 3177872 w 4610101"/>
              <a:gd name="connsiteY43124" fmla="*/ 3113123 h 6557032"/>
              <a:gd name="connsiteX43125" fmla="*/ 3177872 w 4610101"/>
              <a:gd name="connsiteY43125" fmla="*/ 3124057 h 6557032"/>
              <a:gd name="connsiteX43126" fmla="*/ 3197916 w 4610101"/>
              <a:gd name="connsiteY43126" fmla="*/ 3133169 h 6557032"/>
              <a:gd name="connsiteX43127" fmla="*/ 3203382 w 4610101"/>
              <a:gd name="connsiteY43127" fmla="*/ 3144100 h 6557032"/>
              <a:gd name="connsiteX43128" fmla="*/ 3212493 w 4610101"/>
              <a:gd name="connsiteY43128" fmla="*/ 3138635 h 6557032"/>
              <a:gd name="connsiteX43129" fmla="*/ 3225248 w 4610101"/>
              <a:gd name="connsiteY43129" fmla="*/ 3142278 h 6557032"/>
              <a:gd name="connsiteX43130" fmla="*/ 3232537 w 4610101"/>
              <a:gd name="connsiteY43130" fmla="*/ 3151390 h 6557032"/>
              <a:gd name="connsiteX43131" fmla="*/ 3232537 w 4610101"/>
              <a:gd name="connsiteY43131" fmla="*/ 3145922 h 6557032"/>
              <a:gd name="connsiteX43132" fmla="*/ 3259869 w 4610101"/>
              <a:gd name="connsiteY43132" fmla="*/ 3151390 h 6557032"/>
              <a:gd name="connsiteX43133" fmla="*/ 3265336 w 4610101"/>
              <a:gd name="connsiteY43133" fmla="*/ 3156856 h 6557032"/>
              <a:gd name="connsiteX43134" fmla="*/ 3247114 w 4610101"/>
              <a:gd name="connsiteY43134" fmla="*/ 3164144 h 6557032"/>
              <a:gd name="connsiteX43135" fmla="*/ 3239826 w 4610101"/>
              <a:gd name="connsiteY43135" fmla="*/ 3158678 h 6557032"/>
              <a:gd name="connsiteX43136" fmla="*/ 3234359 w 4610101"/>
              <a:gd name="connsiteY43136" fmla="*/ 3169612 h 6557032"/>
              <a:gd name="connsiteX43137" fmla="*/ 3114096 w 4610101"/>
              <a:gd name="connsiteY43137" fmla="*/ 3186011 h 6557032"/>
              <a:gd name="connsiteX43138" fmla="*/ 3110451 w 4610101"/>
              <a:gd name="connsiteY43138" fmla="*/ 3198765 h 6557032"/>
              <a:gd name="connsiteX43139" fmla="*/ 3150539 w 4610101"/>
              <a:gd name="connsiteY43139" fmla="*/ 3213343 h 6557032"/>
              <a:gd name="connsiteX43140" fmla="*/ 3150539 w 4610101"/>
              <a:gd name="connsiteY43140" fmla="*/ 3220631 h 6557032"/>
              <a:gd name="connsiteX43141" fmla="*/ 3166939 w 4610101"/>
              <a:gd name="connsiteY43141" fmla="*/ 3218810 h 6557032"/>
              <a:gd name="connsiteX43142" fmla="*/ 3165116 w 4610101"/>
              <a:gd name="connsiteY43142" fmla="*/ 3216987 h 6557032"/>
              <a:gd name="connsiteX43143" fmla="*/ 3179694 w 4610101"/>
              <a:gd name="connsiteY43143" fmla="*/ 3220631 h 6557032"/>
              <a:gd name="connsiteX43144" fmla="*/ 3194271 w 4610101"/>
              <a:gd name="connsiteY43144" fmla="*/ 3240676 h 6557032"/>
              <a:gd name="connsiteX43145" fmla="*/ 3172405 w 4610101"/>
              <a:gd name="connsiteY43145" fmla="*/ 3264364 h 6557032"/>
              <a:gd name="connsiteX43146" fmla="*/ 3150539 w 4610101"/>
              <a:gd name="connsiteY43146" fmla="*/ 3264364 h 6557032"/>
              <a:gd name="connsiteX43147" fmla="*/ 3150539 w 4610101"/>
              <a:gd name="connsiteY43147" fmla="*/ 3278941 h 6557032"/>
              <a:gd name="connsiteX43148" fmla="*/ 3166939 w 4610101"/>
              <a:gd name="connsiteY43148" fmla="*/ 3278941 h 6557032"/>
              <a:gd name="connsiteX43149" fmla="*/ 3157828 w 4610101"/>
              <a:gd name="connsiteY43149" fmla="*/ 3308096 h 6557032"/>
              <a:gd name="connsiteX43150" fmla="*/ 3134140 w 4610101"/>
              <a:gd name="connsiteY43150" fmla="*/ 3317207 h 6557032"/>
              <a:gd name="connsiteX43151" fmla="*/ 3119562 w 4610101"/>
              <a:gd name="connsiteY43151" fmla="*/ 3309918 h 6557032"/>
              <a:gd name="connsiteX43152" fmla="*/ 3119562 w 4610101"/>
              <a:gd name="connsiteY43152" fmla="*/ 3331784 h 6557032"/>
              <a:gd name="connsiteX43153" fmla="*/ 3126851 w 4610101"/>
              <a:gd name="connsiteY43153" fmla="*/ 3353650 h 6557032"/>
              <a:gd name="connsiteX43154" fmla="*/ 3135962 w 4610101"/>
              <a:gd name="connsiteY43154" fmla="*/ 3331784 h 6557032"/>
              <a:gd name="connsiteX43155" fmla="*/ 3148717 w 4610101"/>
              <a:gd name="connsiteY43155" fmla="*/ 3315384 h 6557032"/>
              <a:gd name="connsiteX43156" fmla="*/ 3172405 w 4610101"/>
              <a:gd name="connsiteY43156" fmla="*/ 3315384 h 6557032"/>
              <a:gd name="connsiteX43157" fmla="*/ 3165116 w 4610101"/>
              <a:gd name="connsiteY43157" fmla="*/ 3300807 h 6557032"/>
              <a:gd name="connsiteX43158" fmla="*/ 3172405 w 4610101"/>
              <a:gd name="connsiteY43158" fmla="*/ 3269831 h 6557032"/>
              <a:gd name="connsiteX43159" fmla="*/ 3217960 w 4610101"/>
              <a:gd name="connsiteY43159" fmla="*/ 3247964 h 6557032"/>
              <a:gd name="connsiteX43160" fmla="*/ 3239826 w 4610101"/>
              <a:gd name="connsiteY43160" fmla="*/ 3262542 h 6557032"/>
              <a:gd name="connsiteX43161" fmla="*/ 3248937 w 4610101"/>
              <a:gd name="connsiteY43161" fmla="*/ 3255254 h 6557032"/>
              <a:gd name="connsiteX43162" fmla="*/ 3241648 w 4610101"/>
              <a:gd name="connsiteY43162" fmla="*/ 3240676 h 6557032"/>
              <a:gd name="connsiteX43163" fmla="*/ 3241648 w 4610101"/>
              <a:gd name="connsiteY43163" fmla="*/ 3227920 h 6557032"/>
              <a:gd name="connsiteX43164" fmla="*/ 3258047 w 4610101"/>
              <a:gd name="connsiteY43164" fmla="*/ 3227920 h 6557032"/>
              <a:gd name="connsiteX43165" fmla="*/ 3265336 w 4610101"/>
              <a:gd name="connsiteY43165" fmla="*/ 3240676 h 6557032"/>
              <a:gd name="connsiteX43166" fmla="*/ 3259869 w 4610101"/>
              <a:gd name="connsiteY43166" fmla="*/ 3253432 h 6557032"/>
              <a:gd name="connsiteX43167" fmla="*/ 3272625 w 4610101"/>
              <a:gd name="connsiteY43167" fmla="*/ 3284408 h 6557032"/>
              <a:gd name="connsiteX43168" fmla="*/ 3316357 w 4610101"/>
              <a:gd name="connsiteY43168" fmla="*/ 3247964 h 6557032"/>
              <a:gd name="connsiteX43169" fmla="*/ 3332756 w 4610101"/>
              <a:gd name="connsiteY43169" fmla="*/ 3260720 h 6557032"/>
              <a:gd name="connsiteX43170" fmla="*/ 3349156 w 4610101"/>
              <a:gd name="connsiteY43170" fmla="*/ 3246142 h 6557032"/>
              <a:gd name="connsiteX43171" fmla="*/ 3341867 w 4610101"/>
              <a:gd name="connsiteY43171" fmla="*/ 3231566 h 6557032"/>
              <a:gd name="connsiteX43172" fmla="*/ 3358267 w 4610101"/>
              <a:gd name="connsiteY43172" fmla="*/ 3218810 h 6557032"/>
              <a:gd name="connsiteX43173" fmla="*/ 3387422 w 4610101"/>
              <a:gd name="connsiteY43173" fmla="*/ 3211521 h 6557032"/>
              <a:gd name="connsiteX43174" fmla="*/ 3387422 w 4610101"/>
              <a:gd name="connsiteY43174" fmla="*/ 3237032 h 6557032"/>
              <a:gd name="connsiteX43175" fmla="*/ 3365556 w 4610101"/>
              <a:gd name="connsiteY43175" fmla="*/ 3244320 h 6557032"/>
              <a:gd name="connsiteX43176" fmla="*/ 3387422 w 4610101"/>
              <a:gd name="connsiteY43176" fmla="*/ 3246142 h 6557032"/>
              <a:gd name="connsiteX43177" fmla="*/ 3418399 w 4610101"/>
              <a:gd name="connsiteY43177" fmla="*/ 3282585 h 6557032"/>
              <a:gd name="connsiteX43178" fmla="*/ 3387422 w 4610101"/>
              <a:gd name="connsiteY43178" fmla="*/ 3282585 h 6557032"/>
              <a:gd name="connsiteX43179" fmla="*/ 3387422 w 4610101"/>
              <a:gd name="connsiteY43179" fmla="*/ 3297163 h 6557032"/>
              <a:gd name="connsiteX43180" fmla="*/ 3418399 w 4610101"/>
              <a:gd name="connsiteY43180" fmla="*/ 3291696 h 6557032"/>
              <a:gd name="connsiteX43181" fmla="*/ 3411110 w 4610101"/>
              <a:gd name="connsiteY43181" fmla="*/ 3306274 h 6557032"/>
              <a:gd name="connsiteX43182" fmla="*/ 3463953 w 4610101"/>
              <a:gd name="connsiteY43182" fmla="*/ 3268009 h 6557032"/>
              <a:gd name="connsiteX43183" fmla="*/ 3485819 w 4610101"/>
              <a:gd name="connsiteY43183" fmla="*/ 3275297 h 6557032"/>
              <a:gd name="connsiteX43184" fmla="*/ 3471242 w 4610101"/>
              <a:gd name="connsiteY43184" fmla="*/ 3304452 h 6557032"/>
              <a:gd name="connsiteX43185" fmla="*/ 3449376 w 4610101"/>
              <a:gd name="connsiteY43185" fmla="*/ 3297163 h 6557032"/>
              <a:gd name="connsiteX43186" fmla="*/ 3449376 w 4610101"/>
              <a:gd name="connsiteY43186" fmla="*/ 3311740 h 6557032"/>
              <a:gd name="connsiteX43187" fmla="*/ 3425687 w 4610101"/>
              <a:gd name="connsiteY43187" fmla="*/ 3311740 h 6557032"/>
              <a:gd name="connsiteX43188" fmla="*/ 3432976 w 4610101"/>
              <a:gd name="connsiteY43188" fmla="*/ 3326318 h 6557032"/>
              <a:gd name="connsiteX43189" fmla="*/ 3416577 w 4610101"/>
              <a:gd name="connsiteY43189" fmla="*/ 3329962 h 6557032"/>
              <a:gd name="connsiteX43190" fmla="*/ 3431154 w 4610101"/>
              <a:gd name="connsiteY43190" fmla="*/ 3333606 h 6557032"/>
              <a:gd name="connsiteX43191" fmla="*/ 3425687 w 4610101"/>
              <a:gd name="connsiteY43191" fmla="*/ 3364583 h 6557032"/>
              <a:gd name="connsiteX43192" fmla="*/ 3440265 w 4610101"/>
              <a:gd name="connsiteY43192" fmla="*/ 3357294 h 6557032"/>
              <a:gd name="connsiteX43193" fmla="*/ 3447157 w 4610101"/>
              <a:gd name="connsiteY43193" fmla="*/ 3371080 h 6557032"/>
              <a:gd name="connsiteX43194" fmla="*/ 3445731 w 4610101"/>
              <a:gd name="connsiteY43194" fmla="*/ 3371872 h 6557032"/>
              <a:gd name="connsiteX43195" fmla="*/ 3423865 w 4610101"/>
              <a:gd name="connsiteY43195" fmla="*/ 3371872 h 6557032"/>
              <a:gd name="connsiteX43196" fmla="*/ 3440265 w 4610101"/>
              <a:gd name="connsiteY43196" fmla="*/ 3393738 h 6557032"/>
              <a:gd name="connsiteX43197" fmla="*/ 3438443 w 4610101"/>
              <a:gd name="connsiteY43197" fmla="*/ 3393738 h 6557032"/>
              <a:gd name="connsiteX43198" fmla="*/ 3438443 w 4610101"/>
              <a:gd name="connsiteY43198" fmla="*/ 3395560 h 6557032"/>
              <a:gd name="connsiteX43199" fmla="*/ 3432976 w 4610101"/>
              <a:gd name="connsiteY43199" fmla="*/ 3401027 h 6557032"/>
              <a:gd name="connsiteX43200" fmla="*/ 3411110 w 4610101"/>
              <a:gd name="connsiteY43200" fmla="*/ 3406493 h 6557032"/>
              <a:gd name="connsiteX43201" fmla="*/ 3416577 w 4610101"/>
              <a:gd name="connsiteY43201" fmla="*/ 3415604 h 6557032"/>
              <a:gd name="connsiteX43202" fmla="*/ 3438443 w 4610101"/>
              <a:gd name="connsiteY43202" fmla="*/ 3408315 h 6557032"/>
              <a:gd name="connsiteX43203" fmla="*/ 3438443 w 4610101"/>
              <a:gd name="connsiteY43203" fmla="*/ 3395560 h 6557032"/>
              <a:gd name="connsiteX43204" fmla="*/ 3440265 w 4610101"/>
              <a:gd name="connsiteY43204" fmla="*/ 3393738 h 6557032"/>
              <a:gd name="connsiteX43205" fmla="*/ 3462131 w 4610101"/>
              <a:gd name="connsiteY43205" fmla="*/ 3393738 h 6557032"/>
              <a:gd name="connsiteX43206" fmla="*/ 3445731 w 4610101"/>
              <a:gd name="connsiteY43206" fmla="*/ 3371872 h 6557032"/>
              <a:gd name="connsiteX43207" fmla="*/ 3447553 w 4610101"/>
              <a:gd name="connsiteY43207" fmla="*/ 3371872 h 6557032"/>
              <a:gd name="connsiteX43208" fmla="*/ 3447157 w 4610101"/>
              <a:gd name="connsiteY43208" fmla="*/ 3371080 h 6557032"/>
              <a:gd name="connsiteX43209" fmla="*/ 3462131 w 4610101"/>
              <a:gd name="connsiteY43209" fmla="*/ 3362761 h 6557032"/>
              <a:gd name="connsiteX43210" fmla="*/ 3438443 w 4610101"/>
              <a:gd name="connsiteY43210" fmla="*/ 3342717 h 6557032"/>
              <a:gd name="connsiteX43211" fmla="*/ 3445731 w 4610101"/>
              <a:gd name="connsiteY43211" fmla="*/ 3320851 h 6557032"/>
              <a:gd name="connsiteX43212" fmla="*/ 3467597 w 4610101"/>
              <a:gd name="connsiteY43212" fmla="*/ 3311740 h 6557032"/>
              <a:gd name="connsiteX43213" fmla="*/ 3474886 w 4610101"/>
              <a:gd name="connsiteY43213" fmla="*/ 3333606 h 6557032"/>
              <a:gd name="connsiteX43214" fmla="*/ 3505863 w 4610101"/>
              <a:gd name="connsiteY43214" fmla="*/ 3333606 h 6557032"/>
              <a:gd name="connsiteX43215" fmla="*/ 3498574 w 4610101"/>
              <a:gd name="connsiteY43215" fmla="*/ 3360939 h 6557032"/>
              <a:gd name="connsiteX43216" fmla="*/ 3511330 w 4610101"/>
              <a:gd name="connsiteY43216" fmla="*/ 3375516 h 6557032"/>
              <a:gd name="connsiteX43217" fmla="*/ 3504041 w 4610101"/>
              <a:gd name="connsiteY43217" fmla="*/ 3384627 h 6557032"/>
              <a:gd name="connsiteX43218" fmla="*/ 3483997 w 4610101"/>
              <a:gd name="connsiteY43218" fmla="*/ 3370050 h 6557032"/>
              <a:gd name="connsiteX43219" fmla="*/ 3469419 w 4610101"/>
              <a:gd name="connsiteY43219" fmla="*/ 3390094 h 6557032"/>
              <a:gd name="connsiteX43220" fmla="*/ 3505863 w 4610101"/>
              <a:gd name="connsiteY43220" fmla="*/ 3421071 h 6557032"/>
              <a:gd name="connsiteX43221" fmla="*/ 3505863 w 4610101"/>
              <a:gd name="connsiteY43221" fmla="*/ 3391916 h 6557032"/>
              <a:gd name="connsiteX43222" fmla="*/ 3529551 w 4610101"/>
              <a:gd name="connsiteY43222" fmla="*/ 3399205 h 6557032"/>
              <a:gd name="connsiteX43223" fmla="*/ 3558706 w 4610101"/>
              <a:gd name="connsiteY43223" fmla="*/ 3428359 h 6557032"/>
              <a:gd name="connsiteX43224" fmla="*/ 3565995 w 4610101"/>
              <a:gd name="connsiteY43224" fmla="*/ 3413783 h 6557032"/>
              <a:gd name="connsiteX43225" fmla="*/ 3573284 w 4610101"/>
              <a:gd name="connsiteY43225" fmla="*/ 3435648 h 6557032"/>
              <a:gd name="connsiteX43226" fmla="*/ 3565995 w 4610101"/>
              <a:gd name="connsiteY43226" fmla="*/ 3457514 h 6557032"/>
              <a:gd name="connsiteX43227" fmla="*/ 3542306 w 4610101"/>
              <a:gd name="connsiteY43227" fmla="*/ 3459336 h 6557032"/>
              <a:gd name="connsiteX43228" fmla="*/ 3565995 w 4610101"/>
              <a:gd name="connsiteY43228" fmla="*/ 3488491 h 6557032"/>
              <a:gd name="connsiteX43229" fmla="*/ 3578750 w 4610101"/>
              <a:gd name="connsiteY43229" fmla="*/ 3481202 h 6557032"/>
              <a:gd name="connsiteX43230" fmla="*/ 3587861 w 4610101"/>
              <a:gd name="connsiteY43230" fmla="*/ 3503068 h 6557032"/>
              <a:gd name="connsiteX43231" fmla="*/ 3587861 w 4610101"/>
              <a:gd name="connsiteY43231" fmla="*/ 3514001 h 6557032"/>
              <a:gd name="connsiteX43232" fmla="*/ 3549595 w 4610101"/>
              <a:gd name="connsiteY43232" fmla="*/ 3530401 h 6557032"/>
              <a:gd name="connsiteX43233" fmla="*/ 3558706 w 4610101"/>
              <a:gd name="connsiteY43233" fmla="*/ 3546800 h 6557032"/>
              <a:gd name="connsiteX43234" fmla="*/ 3573284 w 4610101"/>
              <a:gd name="connsiteY43234" fmla="*/ 3530401 h 6557032"/>
              <a:gd name="connsiteX43235" fmla="*/ 3587861 w 4610101"/>
              <a:gd name="connsiteY43235" fmla="*/ 3537690 h 6557032"/>
              <a:gd name="connsiteX43236" fmla="*/ 3604260 w 4610101"/>
              <a:gd name="connsiteY43236" fmla="*/ 3548623 h 6557032"/>
              <a:gd name="connsiteX43237" fmla="*/ 3587861 w 4610101"/>
              <a:gd name="connsiteY43237" fmla="*/ 3554089 h 6557032"/>
              <a:gd name="connsiteX43238" fmla="*/ 3595150 w 4610101"/>
              <a:gd name="connsiteY43238" fmla="*/ 3566844 h 6557032"/>
              <a:gd name="connsiteX43239" fmla="*/ 3624304 w 4610101"/>
              <a:gd name="connsiteY43239" fmla="*/ 3559556 h 6557032"/>
              <a:gd name="connsiteX43240" fmla="*/ 3631593 w 4610101"/>
              <a:gd name="connsiteY43240" fmla="*/ 3544978 h 6557032"/>
              <a:gd name="connsiteX43241" fmla="*/ 3653459 w 4610101"/>
              <a:gd name="connsiteY43241" fmla="*/ 3544978 h 6557032"/>
              <a:gd name="connsiteX43242" fmla="*/ 3653459 w 4610101"/>
              <a:gd name="connsiteY43242" fmla="*/ 3559556 h 6557032"/>
              <a:gd name="connsiteX43243" fmla="*/ 3669859 w 4610101"/>
              <a:gd name="connsiteY43243" fmla="*/ 3559556 h 6557032"/>
              <a:gd name="connsiteX43244" fmla="*/ 3664392 w 4610101"/>
              <a:gd name="connsiteY43244" fmla="*/ 3572311 h 6557032"/>
              <a:gd name="connsiteX43245" fmla="*/ 3668037 w 4610101"/>
              <a:gd name="connsiteY43245" fmla="*/ 3588710 h 6557032"/>
              <a:gd name="connsiteX43246" fmla="*/ 3699013 w 4610101"/>
              <a:gd name="connsiteY43246" fmla="*/ 3574133 h 6557032"/>
              <a:gd name="connsiteX43247" fmla="*/ 3691725 w 4610101"/>
              <a:gd name="connsiteY43247" fmla="*/ 3586888 h 6557032"/>
              <a:gd name="connsiteX43248" fmla="*/ 3713591 w 4610101"/>
              <a:gd name="connsiteY43248" fmla="*/ 3603288 h 6557032"/>
              <a:gd name="connsiteX43249" fmla="*/ 3704480 w 4610101"/>
              <a:gd name="connsiteY43249" fmla="*/ 3626976 h 6557032"/>
              <a:gd name="connsiteX43250" fmla="*/ 3720880 w 4610101"/>
              <a:gd name="connsiteY43250" fmla="*/ 3648842 h 6557032"/>
              <a:gd name="connsiteX43251" fmla="*/ 3742746 w 4610101"/>
              <a:gd name="connsiteY43251" fmla="*/ 3648842 h 6557032"/>
              <a:gd name="connsiteX43252" fmla="*/ 3773723 w 4610101"/>
              <a:gd name="connsiteY43252" fmla="*/ 3663420 h 6557032"/>
              <a:gd name="connsiteX43253" fmla="*/ 3773723 w 4610101"/>
              <a:gd name="connsiteY43253" fmla="*/ 3641554 h 6557032"/>
              <a:gd name="connsiteX43254" fmla="*/ 3795589 w 4610101"/>
              <a:gd name="connsiteY43254" fmla="*/ 3648842 h 6557032"/>
              <a:gd name="connsiteX43255" fmla="*/ 3804700 w 4610101"/>
              <a:gd name="connsiteY43255" fmla="*/ 3634265 h 6557032"/>
              <a:gd name="connsiteX43256" fmla="*/ 3797411 w 4610101"/>
              <a:gd name="connsiteY43256" fmla="*/ 3619687 h 6557032"/>
              <a:gd name="connsiteX43257" fmla="*/ 3819277 w 4610101"/>
              <a:gd name="connsiteY43257" fmla="*/ 3574133 h 6557032"/>
              <a:gd name="connsiteX43258" fmla="*/ 3841143 w 4610101"/>
              <a:gd name="connsiteY43258" fmla="*/ 3574133 h 6557032"/>
              <a:gd name="connsiteX43259" fmla="*/ 3841143 w 4610101"/>
              <a:gd name="connsiteY43259" fmla="*/ 3559556 h 6557032"/>
              <a:gd name="connsiteX43260" fmla="*/ 3855721 w 4610101"/>
              <a:gd name="connsiteY43260" fmla="*/ 3559556 h 6557032"/>
              <a:gd name="connsiteX43261" fmla="*/ 3855721 w 4610101"/>
              <a:gd name="connsiteY43261" fmla="*/ 3544978 h 6557032"/>
              <a:gd name="connsiteX43262" fmla="*/ 3877587 w 4610101"/>
              <a:gd name="connsiteY43262" fmla="*/ 3544978 h 6557032"/>
              <a:gd name="connsiteX43263" fmla="*/ 3877587 w 4610101"/>
              <a:gd name="connsiteY43263" fmla="*/ 3559556 h 6557032"/>
              <a:gd name="connsiteX43264" fmla="*/ 3893986 w 4610101"/>
              <a:gd name="connsiteY43264" fmla="*/ 3559556 h 6557032"/>
              <a:gd name="connsiteX43265" fmla="*/ 3886697 w 4610101"/>
              <a:gd name="connsiteY43265" fmla="*/ 3574133 h 6557032"/>
              <a:gd name="connsiteX43266" fmla="*/ 3901275 w 4610101"/>
              <a:gd name="connsiteY43266" fmla="*/ 3574133 h 6557032"/>
              <a:gd name="connsiteX43267" fmla="*/ 3870298 w 4610101"/>
              <a:gd name="connsiteY43267" fmla="*/ 3612399 h 6557032"/>
              <a:gd name="connsiteX43268" fmla="*/ 3877587 w 4610101"/>
              <a:gd name="connsiteY43268" fmla="*/ 3628798 h 6557032"/>
              <a:gd name="connsiteX43269" fmla="*/ 3848432 w 4610101"/>
              <a:gd name="connsiteY43269" fmla="*/ 3619687 h 6557032"/>
              <a:gd name="connsiteX43270" fmla="*/ 3819277 w 4610101"/>
              <a:gd name="connsiteY43270" fmla="*/ 3626976 h 6557032"/>
              <a:gd name="connsiteX43271" fmla="*/ 3810166 w 4610101"/>
              <a:gd name="connsiteY43271" fmla="*/ 3641554 h 6557032"/>
              <a:gd name="connsiteX43272" fmla="*/ 3815632 w 4610101"/>
              <a:gd name="connsiteY43272" fmla="*/ 3654309 h 6557032"/>
              <a:gd name="connsiteX43273" fmla="*/ 3811988 w 4610101"/>
              <a:gd name="connsiteY43273" fmla="*/ 3670708 h 6557032"/>
              <a:gd name="connsiteX43274" fmla="*/ 3819277 w 4610101"/>
              <a:gd name="connsiteY43274" fmla="*/ 3692574 h 6557032"/>
              <a:gd name="connsiteX43275" fmla="*/ 3835677 w 4610101"/>
              <a:gd name="connsiteY43275" fmla="*/ 3692574 h 6557032"/>
              <a:gd name="connsiteX43276" fmla="*/ 3826566 w 4610101"/>
              <a:gd name="connsiteY43276" fmla="*/ 3663420 h 6557032"/>
              <a:gd name="connsiteX43277" fmla="*/ 3841143 w 4610101"/>
              <a:gd name="connsiteY43277" fmla="*/ 3656131 h 6557032"/>
              <a:gd name="connsiteX43278" fmla="*/ 3872120 w 4610101"/>
              <a:gd name="connsiteY43278" fmla="*/ 3663420 h 6557032"/>
              <a:gd name="connsiteX43279" fmla="*/ 3850254 w 4610101"/>
              <a:gd name="connsiteY43279" fmla="*/ 3685286 h 6557032"/>
              <a:gd name="connsiteX43280" fmla="*/ 3872120 w 4610101"/>
              <a:gd name="connsiteY43280" fmla="*/ 3685286 h 6557032"/>
              <a:gd name="connsiteX43281" fmla="*/ 3872120 w 4610101"/>
              <a:gd name="connsiteY43281" fmla="*/ 3710796 h 6557032"/>
              <a:gd name="connsiteX43282" fmla="*/ 3835677 w 4610101"/>
              <a:gd name="connsiteY43282" fmla="*/ 3716263 h 6557032"/>
              <a:gd name="connsiteX43283" fmla="*/ 3866653 w 4610101"/>
              <a:gd name="connsiteY43283" fmla="*/ 3727196 h 6557032"/>
              <a:gd name="connsiteX43284" fmla="*/ 3841143 w 4610101"/>
              <a:gd name="connsiteY43284" fmla="*/ 3749062 h 6557032"/>
              <a:gd name="connsiteX43285" fmla="*/ 3857543 w 4610101"/>
              <a:gd name="connsiteY43285" fmla="*/ 3770928 h 6557032"/>
              <a:gd name="connsiteX43286" fmla="*/ 3879409 w 4610101"/>
              <a:gd name="connsiteY43286" fmla="*/ 3770928 h 6557032"/>
              <a:gd name="connsiteX43287" fmla="*/ 3873942 w 4610101"/>
              <a:gd name="connsiteY43287" fmla="*/ 3801905 h 6557032"/>
              <a:gd name="connsiteX43288" fmla="*/ 3895808 w 4610101"/>
              <a:gd name="connsiteY43288" fmla="*/ 3801905 h 6557032"/>
              <a:gd name="connsiteX43289" fmla="*/ 3895808 w 4610101"/>
              <a:gd name="connsiteY43289" fmla="*/ 3809194 h 6557032"/>
              <a:gd name="connsiteX43290" fmla="*/ 3873942 w 4610101"/>
              <a:gd name="connsiteY43290" fmla="*/ 3809194 h 6557032"/>
              <a:gd name="connsiteX43291" fmla="*/ 3873942 w 4610101"/>
              <a:gd name="connsiteY43291" fmla="*/ 3831060 h 6557032"/>
              <a:gd name="connsiteX43292" fmla="*/ 3888519 w 4610101"/>
              <a:gd name="connsiteY43292" fmla="*/ 3831060 h 6557032"/>
              <a:gd name="connsiteX43293" fmla="*/ 3888519 w 4610101"/>
              <a:gd name="connsiteY43293" fmla="*/ 3845637 h 6557032"/>
              <a:gd name="connsiteX43294" fmla="*/ 3873942 w 4610101"/>
              <a:gd name="connsiteY43294" fmla="*/ 3852926 h 6557032"/>
              <a:gd name="connsiteX43295" fmla="*/ 3841143 w 4610101"/>
              <a:gd name="connsiteY43295" fmla="*/ 3816482 h 6557032"/>
              <a:gd name="connsiteX43296" fmla="*/ 3850254 w 4610101"/>
              <a:gd name="connsiteY43296" fmla="*/ 3792794 h 6557032"/>
              <a:gd name="connsiteX43297" fmla="*/ 3813810 w 4610101"/>
              <a:gd name="connsiteY43297" fmla="*/ 3770928 h 6557032"/>
              <a:gd name="connsiteX43298" fmla="*/ 3791944 w 4610101"/>
              <a:gd name="connsiteY43298" fmla="*/ 3792794 h 6557032"/>
              <a:gd name="connsiteX43299" fmla="*/ 3777367 w 4610101"/>
              <a:gd name="connsiteY43299" fmla="*/ 3761817 h 6557032"/>
              <a:gd name="connsiteX43300" fmla="*/ 3755501 w 4610101"/>
              <a:gd name="connsiteY43300" fmla="*/ 3761817 h 6557032"/>
              <a:gd name="connsiteX43301" fmla="*/ 3764612 w 4610101"/>
              <a:gd name="connsiteY43301" fmla="*/ 3790972 h 6557032"/>
              <a:gd name="connsiteX43302" fmla="*/ 3784656 w 4610101"/>
              <a:gd name="connsiteY43302" fmla="*/ 3807371 h 6557032"/>
              <a:gd name="connsiteX43303" fmla="*/ 3793766 w 4610101"/>
              <a:gd name="connsiteY43303" fmla="*/ 3790972 h 6557032"/>
              <a:gd name="connsiteX43304" fmla="*/ 3815632 w 4610101"/>
              <a:gd name="connsiteY43304" fmla="*/ 3798260 h 6557032"/>
              <a:gd name="connsiteX43305" fmla="*/ 3837499 w 4610101"/>
              <a:gd name="connsiteY43305" fmla="*/ 3798260 h 6557032"/>
              <a:gd name="connsiteX43306" fmla="*/ 3837499 w 4610101"/>
              <a:gd name="connsiteY43306" fmla="*/ 3820126 h 6557032"/>
              <a:gd name="connsiteX43307" fmla="*/ 3821099 w 4610101"/>
              <a:gd name="connsiteY43307" fmla="*/ 3832882 h 6557032"/>
              <a:gd name="connsiteX43308" fmla="*/ 3852076 w 4610101"/>
              <a:gd name="connsiteY43308" fmla="*/ 3863859 h 6557032"/>
              <a:gd name="connsiteX43309" fmla="*/ 3897630 w 4610101"/>
              <a:gd name="connsiteY43309" fmla="*/ 3872970 h 6557032"/>
              <a:gd name="connsiteX43310" fmla="*/ 3897630 w 4610101"/>
              <a:gd name="connsiteY43310" fmla="*/ 3849281 h 6557032"/>
              <a:gd name="connsiteX43311" fmla="*/ 3890342 w 4610101"/>
              <a:gd name="connsiteY43311" fmla="*/ 3841993 h 6557032"/>
              <a:gd name="connsiteX43312" fmla="*/ 3904919 w 4610101"/>
              <a:gd name="connsiteY43312" fmla="*/ 3841993 h 6557032"/>
              <a:gd name="connsiteX43313" fmla="*/ 3928607 w 4610101"/>
              <a:gd name="connsiteY43313" fmla="*/ 3827415 h 6557032"/>
              <a:gd name="connsiteX43314" fmla="*/ 3921319 w 4610101"/>
              <a:gd name="connsiteY43314" fmla="*/ 3841993 h 6557032"/>
              <a:gd name="connsiteX43315" fmla="*/ 3945007 w 4610101"/>
              <a:gd name="connsiteY43315" fmla="*/ 3862036 h 6557032"/>
              <a:gd name="connsiteX43316" fmla="*/ 3928607 w 4610101"/>
              <a:gd name="connsiteY43316" fmla="*/ 3869325 h 6557032"/>
              <a:gd name="connsiteX43317" fmla="*/ 3935896 w 4610101"/>
              <a:gd name="connsiteY43317" fmla="*/ 3882081 h 6557032"/>
              <a:gd name="connsiteX43318" fmla="*/ 3908985 w 4610101"/>
              <a:gd name="connsiteY43318" fmla="*/ 3903946 h 6557032"/>
              <a:gd name="connsiteX43319" fmla="*/ 3914030 w 4610101"/>
              <a:gd name="connsiteY43319" fmla="*/ 3903946 h 6557032"/>
              <a:gd name="connsiteX43320" fmla="*/ 3908563 w 4610101"/>
              <a:gd name="connsiteY43320" fmla="*/ 3918524 h 6557032"/>
              <a:gd name="connsiteX43321" fmla="*/ 3914030 w 4610101"/>
              <a:gd name="connsiteY43321" fmla="*/ 3925812 h 6557032"/>
              <a:gd name="connsiteX43322" fmla="*/ 3952295 w 4610101"/>
              <a:gd name="connsiteY43322" fmla="*/ 3920346 h 6557032"/>
              <a:gd name="connsiteX43323" fmla="*/ 3952295 w 4610101"/>
              <a:gd name="connsiteY43323" fmla="*/ 3934013 h 6557032"/>
              <a:gd name="connsiteX43324" fmla="*/ 3965052 w 4610101"/>
              <a:gd name="connsiteY43324" fmla="*/ 3940391 h 6557032"/>
              <a:gd name="connsiteX43325" fmla="*/ 3981451 w 4610101"/>
              <a:gd name="connsiteY43325" fmla="*/ 3918524 h 6557032"/>
              <a:gd name="connsiteX43326" fmla="*/ 3950474 w 4610101"/>
              <a:gd name="connsiteY43326" fmla="*/ 3954969 h 6557032"/>
              <a:gd name="connsiteX43327" fmla="*/ 3950474 w 4610101"/>
              <a:gd name="connsiteY43327" fmla="*/ 3935935 h 6557032"/>
              <a:gd name="connsiteX43328" fmla="*/ 3935896 w 4610101"/>
              <a:gd name="connsiteY43328" fmla="*/ 3944034 h 6557032"/>
              <a:gd name="connsiteX43329" fmla="*/ 3914030 w 4610101"/>
              <a:gd name="connsiteY43329" fmla="*/ 3934923 h 6557032"/>
              <a:gd name="connsiteX43330" fmla="*/ 3903096 w 4610101"/>
              <a:gd name="connsiteY43330" fmla="*/ 3944034 h 6557032"/>
              <a:gd name="connsiteX43331" fmla="*/ 3899452 w 4610101"/>
              <a:gd name="connsiteY43331" fmla="*/ 3956789 h 6557032"/>
              <a:gd name="connsiteX43332" fmla="*/ 3886697 w 4610101"/>
              <a:gd name="connsiteY43332" fmla="*/ 3956789 h 6557032"/>
              <a:gd name="connsiteX43333" fmla="*/ 3877586 w 4610101"/>
              <a:gd name="connsiteY43333" fmla="*/ 3934923 h 6557032"/>
              <a:gd name="connsiteX43334" fmla="*/ 3892164 w 4610101"/>
              <a:gd name="connsiteY43334" fmla="*/ 3927634 h 6557032"/>
              <a:gd name="connsiteX43335" fmla="*/ 3870297 w 4610101"/>
              <a:gd name="connsiteY43335" fmla="*/ 3918524 h 6557032"/>
              <a:gd name="connsiteX43336" fmla="*/ 3884875 w 4610101"/>
              <a:gd name="connsiteY43336" fmla="*/ 3894835 h 6557032"/>
              <a:gd name="connsiteX43337" fmla="*/ 3899452 w 4610101"/>
              <a:gd name="connsiteY43337" fmla="*/ 3903946 h 6557032"/>
              <a:gd name="connsiteX43338" fmla="*/ 3905360 w 4610101"/>
              <a:gd name="connsiteY43338" fmla="*/ 3903946 h 6557032"/>
              <a:gd name="connsiteX43339" fmla="*/ 3895353 w 4610101"/>
              <a:gd name="connsiteY43339" fmla="*/ 3890736 h 6557032"/>
              <a:gd name="connsiteX43340" fmla="*/ 3875764 w 4610101"/>
              <a:gd name="connsiteY43340" fmla="*/ 3883903 h 6557032"/>
              <a:gd name="connsiteX43341" fmla="*/ 3861187 w 4610101"/>
              <a:gd name="connsiteY43341" fmla="*/ 3922168 h 6557032"/>
              <a:gd name="connsiteX43342" fmla="*/ 3839321 w 4610101"/>
              <a:gd name="connsiteY43342" fmla="*/ 3953145 h 6557032"/>
              <a:gd name="connsiteX43343" fmla="*/ 3861187 w 4610101"/>
              <a:gd name="connsiteY43343" fmla="*/ 3953145 h 6557032"/>
              <a:gd name="connsiteX43344" fmla="*/ 3846610 w 4610101"/>
              <a:gd name="connsiteY43344" fmla="*/ 3967723 h 6557032"/>
              <a:gd name="connsiteX43345" fmla="*/ 3830210 w 4610101"/>
              <a:gd name="connsiteY43345" fmla="*/ 3945857 h 6557032"/>
              <a:gd name="connsiteX43346" fmla="*/ 3824743 w 4610101"/>
              <a:gd name="connsiteY43346" fmla="*/ 3936746 h 6557032"/>
              <a:gd name="connsiteX43347" fmla="*/ 3841143 w 4610101"/>
              <a:gd name="connsiteY43347" fmla="*/ 3923991 h 6557032"/>
              <a:gd name="connsiteX43348" fmla="*/ 3826566 w 4610101"/>
              <a:gd name="connsiteY43348" fmla="*/ 3920346 h 6557032"/>
              <a:gd name="connsiteX43349" fmla="*/ 3817455 w 4610101"/>
              <a:gd name="connsiteY43349" fmla="*/ 3907591 h 6557032"/>
              <a:gd name="connsiteX43350" fmla="*/ 3824743 w 4610101"/>
              <a:gd name="connsiteY43350" fmla="*/ 3938568 h 6557032"/>
              <a:gd name="connsiteX43351" fmla="*/ 3808344 w 4610101"/>
              <a:gd name="connsiteY43351" fmla="*/ 3945857 h 6557032"/>
              <a:gd name="connsiteX43352" fmla="*/ 3815632 w 4610101"/>
              <a:gd name="connsiteY43352" fmla="*/ 3960434 h 6557032"/>
              <a:gd name="connsiteX43353" fmla="*/ 3791944 w 4610101"/>
              <a:gd name="connsiteY43353" fmla="*/ 3960434 h 6557032"/>
              <a:gd name="connsiteX43354" fmla="*/ 3799233 w 4610101"/>
              <a:gd name="connsiteY43354" fmla="*/ 3975011 h 6557032"/>
              <a:gd name="connsiteX43355" fmla="*/ 3775545 w 4610101"/>
              <a:gd name="connsiteY43355" fmla="*/ 3978656 h 6557032"/>
              <a:gd name="connsiteX43356" fmla="*/ 3791944 w 4610101"/>
              <a:gd name="connsiteY43356" fmla="*/ 3982300 h 6557032"/>
              <a:gd name="connsiteX43357" fmla="*/ 3791944 w 4610101"/>
              <a:gd name="connsiteY43357" fmla="*/ 4013277 h 6557032"/>
              <a:gd name="connsiteX43358" fmla="*/ 3775545 w 4610101"/>
              <a:gd name="connsiteY43358" fmla="*/ 4035143 h 6557032"/>
              <a:gd name="connsiteX43359" fmla="*/ 3768256 w 4610101"/>
              <a:gd name="connsiteY43359" fmla="*/ 4049720 h 6557032"/>
              <a:gd name="connsiteX43360" fmla="*/ 3737279 w 4610101"/>
              <a:gd name="connsiteY43360" fmla="*/ 4011455 h 6557032"/>
              <a:gd name="connsiteX43361" fmla="*/ 3728168 w 4610101"/>
              <a:gd name="connsiteY43361" fmla="*/ 3996878 h 6557032"/>
              <a:gd name="connsiteX43362" fmla="*/ 3711769 w 4610101"/>
              <a:gd name="connsiteY43362" fmla="*/ 4009633 h 6557032"/>
              <a:gd name="connsiteX43363" fmla="*/ 3735457 w 4610101"/>
              <a:gd name="connsiteY43363" fmla="*/ 4011455 h 6557032"/>
              <a:gd name="connsiteX43364" fmla="*/ 3728168 w 4610101"/>
              <a:gd name="connsiteY43364" fmla="*/ 4026032 h 6557032"/>
              <a:gd name="connsiteX43365" fmla="*/ 3759145 w 4610101"/>
              <a:gd name="connsiteY43365" fmla="*/ 4051543 h 6557032"/>
              <a:gd name="connsiteX43366" fmla="*/ 3748430 w 4610101"/>
              <a:gd name="connsiteY43366" fmla="*/ 4067021 h 6557032"/>
              <a:gd name="connsiteX43367" fmla="*/ 3750034 w 4610101"/>
              <a:gd name="connsiteY43367" fmla="*/ 4062476 h 6557032"/>
              <a:gd name="connsiteX43368" fmla="*/ 3739101 w 4610101"/>
              <a:gd name="connsiteY43368" fmla="*/ 4073409 h 6557032"/>
              <a:gd name="connsiteX43369" fmla="*/ 3724524 w 4610101"/>
              <a:gd name="connsiteY43369" fmla="*/ 4078875 h 6557032"/>
              <a:gd name="connsiteX43370" fmla="*/ 3739101 w 4610101"/>
              <a:gd name="connsiteY43370" fmla="*/ 4093452 h 6557032"/>
              <a:gd name="connsiteX43371" fmla="*/ 3745878 w 4610101"/>
              <a:gd name="connsiteY43371" fmla="*/ 4074253 h 6557032"/>
              <a:gd name="connsiteX43372" fmla="*/ 3771900 w 4610101"/>
              <a:gd name="connsiteY43372" fmla="*/ 4066120 h 6557032"/>
              <a:gd name="connsiteX43373" fmla="*/ 3770078 w 4610101"/>
              <a:gd name="connsiteY43373" fmla="*/ 4104386 h 6557032"/>
              <a:gd name="connsiteX43374" fmla="*/ 3748212 w 4610101"/>
              <a:gd name="connsiteY43374" fmla="*/ 4087986 h 6557032"/>
              <a:gd name="connsiteX43375" fmla="*/ 3762790 w 4610101"/>
              <a:gd name="connsiteY43375" fmla="*/ 4140829 h 6557032"/>
              <a:gd name="connsiteX43376" fmla="*/ 3777367 w 4610101"/>
              <a:gd name="connsiteY43376" fmla="*/ 4131718 h 6557032"/>
              <a:gd name="connsiteX43377" fmla="*/ 3777367 w 4610101"/>
              <a:gd name="connsiteY43377" fmla="*/ 4153584 h 6557032"/>
              <a:gd name="connsiteX43378" fmla="*/ 3746390 w 4610101"/>
              <a:gd name="connsiteY43378" fmla="*/ 4153584 h 6557032"/>
              <a:gd name="connsiteX43379" fmla="*/ 3746390 w 4610101"/>
              <a:gd name="connsiteY43379" fmla="*/ 4122607 h 6557032"/>
              <a:gd name="connsiteX43380" fmla="*/ 3740924 w 4610101"/>
              <a:gd name="connsiteY43380" fmla="*/ 4159051 h 6557032"/>
              <a:gd name="connsiteX43381" fmla="*/ 3753679 w 4610101"/>
              <a:gd name="connsiteY43381" fmla="*/ 4175450 h 6557032"/>
              <a:gd name="connsiteX43382" fmla="*/ 3775545 w 4610101"/>
              <a:gd name="connsiteY43382" fmla="*/ 4175450 h 6557032"/>
              <a:gd name="connsiteX43383" fmla="*/ 3775545 w 4610101"/>
              <a:gd name="connsiteY43383" fmla="*/ 4197317 h 6557032"/>
              <a:gd name="connsiteX43384" fmla="*/ 3795589 w 4610101"/>
              <a:gd name="connsiteY43384" fmla="*/ 4199139 h 6557032"/>
              <a:gd name="connsiteX43385" fmla="*/ 3837499 w 4610101"/>
              <a:gd name="connsiteY43385" fmla="*/ 4237404 h 6557032"/>
              <a:gd name="connsiteX43386" fmla="*/ 3821019 w 4610101"/>
              <a:gd name="connsiteY43386" fmla="*/ 4251530 h 6557032"/>
              <a:gd name="connsiteX43387" fmla="*/ 3815632 w 4610101"/>
              <a:gd name="connsiteY43387" fmla="*/ 4221005 h 6557032"/>
              <a:gd name="connsiteX43388" fmla="*/ 3791944 w 4610101"/>
              <a:gd name="connsiteY43388" fmla="*/ 4228294 h 6557032"/>
              <a:gd name="connsiteX43389" fmla="*/ 3770078 w 4610101"/>
              <a:gd name="connsiteY43389" fmla="*/ 4228294 h 6557032"/>
              <a:gd name="connsiteX43390" fmla="*/ 3770078 w 4610101"/>
              <a:gd name="connsiteY43390" fmla="*/ 4206428 h 6557032"/>
              <a:gd name="connsiteX43391" fmla="*/ 3762790 w 4610101"/>
              <a:gd name="connsiteY43391" fmla="*/ 4206428 h 6557032"/>
              <a:gd name="connsiteX43392" fmla="*/ 3762790 w 4610101"/>
              <a:gd name="connsiteY43392" fmla="*/ 4228294 h 6557032"/>
              <a:gd name="connsiteX43393" fmla="*/ 3753679 w 4610101"/>
              <a:gd name="connsiteY43393" fmla="*/ 4253804 h 6557032"/>
              <a:gd name="connsiteX43394" fmla="*/ 3770078 w 4610101"/>
              <a:gd name="connsiteY43394" fmla="*/ 4266559 h 6557032"/>
              <a:gd name="connsiteX43395" fmla="*/ 3782834 w 4610101"/>
              <a:gd name="connsiteY43395" fmla="*/ 4259271 h 6557032"/>
              <a:gd name="connsiteX43396" fmla="*/ 3782834 w 4610101"/>
              <a:gd name="connsiteY43396" fmla="*/ 4275670 h 6557032"/>
              <a:gd name="connsiteX43397" fmla="*/ 3768256 w 4610101"/>
              <a:gd name="connsiteY43397" fmla="*/ 4275670 h 6557032"/>
              <a:gd name="connsiteX43398" fmla="*/ 3775545 w 4610101"/>
              <a:gd name="connsiteY43398" fmla="*/ 4290247 h 6557032"/>
              <a:gd name="connsiteX43399" fmla="*/ 3797411 w 4610101"/>
              <a:gd name="connsiteY43399" fmla="*/ 4275670 h 6557032"/>
              <a:gd name="connsiteX43400" fmla="*/ 3782834 w 4610101"/>
              <a:gd name="connsiteY43400" fmla="*/ 4237404 h 6557032"/>
              <a:gd name="connsiteX43401" fmla="*/ 3809739 w 4610101"/>
              <a:gd name="connsiteY43401" fmla="*/ 4243042 h 6557032"/>
              <a:gd name="connsiteX43402" fmla="*/ 3820783 w 4610101"/>
              <a:gd name="connsiteY43402" fmla="*/ 4251733 h 6557032"/>
              <a:gd name="connsiteX43403" fmla="*/ 3811988 w 4610101"/>
              <a:gd name="connsiteY43403" fmla="*/ 4259271 h 6557032"/>
              <a:gd name="connsiteX43404" fmla="*/ 3818105 w 4610101"/>
              <a:gd name="connsiteY43404" fmla="*/ 4267682 h 6557032"/>
              <a:gd name="connsiteX43405" fmla="*/ 3808344 w 4610101"/>
              <a:gd name="connsiteY43405" fmla="*/ 4288425 h 6557032"/>
              <a:gd name="connsiteX43406" fmla="*/ 3820131 w 4610101"/>
              <a:gd name="connsiteY43406" fmla="*/ 4278688 h 6557032"/>
              <a:gd name="connsiteX43407" fmla="*/ 3821046 w 4610101"/>
              <a:gd name="connsiteY43407" fmla="*/ 4271725 h 6557032"/>
              <a:gd name="connsiteX43408" fmla="*/ 3826566 w 4610101"/>
              <a:gd name="connsiteY43408" fmla="*/ 4279315 h 6557032"/>
              <a:gd name="connsiteX43409" fmla="*/ 3797411 w 4610101"/>
              <a:gd name="connsiteY43409" fmla="*/ 4310291 h 6557032"/>
              <a:gd name="connsiteX43410" fmla="*/ 3835677 w 4610101"/>
              <a:gd name="connsiteY43410" fmla="*/ 4317580 h 6557032"/>
              <a:gd name="connsiteX43411" fmla="*/ 3821099 w 4610101"/>
              <a:gd name="connsiteY43411" fmla="*/ 4332157 h 6557032"/>
              <a:gd name="connsiteX43412" fmla="*/ 3782834 w 4610101"/>
              <a:gd name="connsiteY43412" fmla="*/ 4317580 h 6557032"/>
              <a:gd name="connsiteX43413" fmla="*/ 3782834 w 4610101"/>
              <a:gd name="connsiteY43413" fmla="*/ 4301181 h 6557032"/>
              <a:gd name="connsiteX43414" fmla="*/ 3759145 w 4610101"/>
              <a:gd name="connsiteY43414" fmla="*/ 4312113 h 6557032"/>
              <a:gd name="connsiteX43415" fmla="*/ 3775545 w 4610101"/>
              <a:gd name="connsiteY43415" fmla="*/ 4324869 h 6557032"/>
              <a:gd name="connsiteX43416" fmla="*/ 3768256 w 4610101"/>
              <a:gd name="connsiteY43416" fmla="*/ 4355846 h 6557032"/>
              <a:gd name="connsiteX43417" fmla="*/ 3806522 w 4610101"/>
              <a:gd name="connsiteY43417" fmla="*/ 4355846 h 6557032"/>
              <a:gd name="connsiteX43418" fmla="*/ 3799233 w 4610101"/>
              <a:gd name="connsiteY43418" fmla="*/ 4370423 h 6557032"/>
              <a:gd name="connsiteX43419" fmla="*/ 3777367 w 4610101"/>
              <a:gd name="connsiteY43419" fmla="*/ 4370423 h 6557032"/>
              <a:gd name="connsiteX43420" fmla="*/ 3799233 w 4610101"/>
              <a:gd name="connsiteY43420" fmla="*/ 4385000 h 6557032"/>
              <a:gd name="connsiteX43421" fmla="*/ 3799233 w 4610101"/>
              <a:gd name="connsiteY43421" fmla="*/ 4370423 h 6557032"/>
              <a:gd name="connsiteX43422" fmla="*/ 3813810 w 4610101"/>
              <a:gd name="connsiteY43422" fmla="*/ 4370423 h 6557032"/>
              <a:gd name="connsiteX43423" fmla="*/ 3799233 w 4610101"/>
              <a:gd name="connsiteY43423" fmla="*/ 4401400 h 6557032"/>
              <a:gd name="connsiteX43424" fmla="*/ 3784656 w 4610101"/>
              <a:gd name="connsiteY43424" fmla="*/ 4394111 h 6557032"/>
              <a:gd name="connsiteX43425" fmla="*/ 3781011 w 4610101"/>
              <a:gd name="connsiteY43425" fmla="*/ 4410511 h 6557032"/>
              <a:gd name="connsiteX43426" fmla="*/ 3775545 w 4610101"/>
              <a:gd name="connsiteY43426" fmla="*/ 4394111 h 6557032"/>
              <a:gd name="connsiteX43427" fmla="*/ 3753679 w 4610101"/>
              <a:gd name="connsiteY43427" fmla="*/ 4410511 h 6557032"/>
              <a:gd name="connsiteX43428" fmla="*/ 3753679 w 4610101"/>
              <a:gd name="connsiteY43428" fmla="*/ 4388645 h 6557032"/>
              <a:gd name="connsiteX43429" fmla="*/ 3731813 w 4610101"/>
              <a:gd name="connsiteY43429" fmla="*/ 4403222 h 6557032"/>
              <a:gd name="connsiteX43430" fmla="*/ 3709947 w 4610101"/>
              <a:gd name="connsiteY43430" fmla="*/ 4395934 h 6557032"/>
              <a:gd name="connsiteX43431" fmla="*/ 3723478 w 4610101"/>
              <a:gd name="connsiteY43431" fmla="*/ 4370424 h 6557032"/>
              <a:gd name="connsiteX43432" fmla="*/ 3709947 w 4610101"/>
              <a:gd name="connsiteY43432" fmla="*/ 4370424 h 6557032"/>
              <a:gd name="connsiteX43433" fmla="*/ 3709947 w 4610101"/>
              <a:gd name="connsiteY43433" fmla="*/ 4386823 h 6557032"/>
              <a:gd name="connsiteX43434" fmla="*/ 3693547 w 4610101"/>
              <a:gd name="connsiteY43434" fmla="*/ 4377712 h 6557032"/>
              <a:gd name="connsiteX43435" fmla="*/ 3709946 w 4610101"/>
              <a:gd name="connsiteY43435" fmla="*/ 4355847 h 6557032"/>
              <a:gd name="connsiteX43436" fmla="*/ 3695370 w 4610101"/>
              <a:gd name="connsiteY43436" fmla="*/ 4348558 h 6557032"/>
              <a:gd name="connsiteX43437" fmla="*/ 3717235 w 4610101"/>
              <a:gd name="connsiteY43437" fmla="*/ 4328375 h 6557032"/>
              <a:gd name="connsiteX43438" fmla="*/ 3717235 w 4610101"/>
              <a:gd name="connsiteY43438" fmla="*/ 4304825 h 6557032"/>
              <a:gd name="connsiteX43439" fmla="*/ 3697191 w 4610101"/>
              <a:gd name="connsiteY43439" fmla="*/ 4319402 h 6557032"/>
              <a:gd name="connsiteX43440" fmla="*/ 3680792 w 4610101"/>
              <a:gd name="connsiteY43440" fmla="*/ 4306647 h 6557032"/>
              <a:gd name="connsiteX43441" fmla="*/ 3680792 w 4610101"/>
              <a:gd name="connsiteY43441" fmla="*/ 4328513 h 6557032"/>
              <a:gd name="connsiteX43442" fmla="*/ 3658926 w 4610101"/>
              <a:gd name="connsiteY43442" fmla="*/ 4328513 h 6557032"/>
              <a:gd name="connsiteX43443" fmla="*/ 3637060 w 4610101"/>
              <a:gd name="connsiteY43443" fmla="*/ 4333980 h 6557032"/>
              <a:gd name="connsiteX43444" fmla="*/ 3613371 w 4610101"/>
              <a:gd name="connsiteY43444" fmla="*/ 4312113 h 6557032"/>
              <a:gd name="connsiteX43445" fmla="*/ 3606082 w 4610101"/>
              <a:gd name="connsiteY43445" fmla="*/ 4343091 h 6557032"/>
              <a:gd name="connsiteX43446" fmla="*/ 3627949 w 4610101"/>
              <a:gd name="connsiteY43446" fmla="*/ 4343091 h 6557032"/>
              <a:gd name="connsiteX43447" fmla="*/ 3626924 w 4610101"/>
              <a:gd name="connsiteY43447" fmla="*/ 4364359 h 6557032"/>
              <a:gd name="connsiteX43448" fmla="*/ 3617162 w 4610101"/>
              <a:gd name="connsiteY43448" fmla="*/ 4371352 h 6557032"/>
              <a:gd name="connsiteX43449" fmla="*/ 3620660 w 4610101"/>
              <a:gd name="connsiteY43449" fmla="*/ 4370423 h 6557032"/>
              <a:gd name="connsiteX43450" fmla="*/ 3627949 w 4610101"/>
              <a:gd name="connsiteY43450" fmla="*/ 4395934 h 6557032"/>
              <a:gd name="connsiteX43451" fmla="*/ 3618838 w 4610101"/>
              <a:gd name="connsiteY43451" fmla="*/ 4410511 h 6557032"/>
              <a:gd name="connsiteX43452" fmla="*/ 3626127 w 4610101"/>
              <a:gd name="connsiteY43452" fmla="*/ 4425088 h 6557032"/>
              <a:gd name="connsiteX43453" fmla="*/ 3613372 w 4610101"/>
              <a:gd name="connsiteY43453" fmla="*/ 4421444 h 6557032"/>
              <a:gd name="connsiteX43454" fmla="*/ 3613021 w 4610101"/>
              <a:gd name="connsiteY43454" fmla="*/ 4421023 h 6557032"/>
              <a:gd name="connsiteX43455" fmla="*/ 3612688 w 4610101"/>
              <a:gd name="connsiteY43455" fmla="*/ 4422355 h 6557032"/>
              <a:gd name="connsiteX43456" fmla="*/ 3611065 w 4610101"/>
              <a:gd name="connsiteY43456" fmla="*/ 4420646 h 6557032"/>
              <a:gd name="connsiteX43457" fmla="*/ 3612263 w 4610101"/>
              <a:gd name="connsiteY43457" fmla="*/ 4420114 h 6557032"/>
              <a:gd name="connsiteX43458" fmla="*/ 3604261 w 4610101"/>
              <a:gd name="connsiteY43458" fmla="*/ 4410511 h 6557032"/>
              <a:gd name="connsiteX43459" fmla="*/ 3604261 w 4610101"/>
              <a:gd name="connsiteY43459" fmla="*/ 4432377 h 6557032"/>
              <a:gd name="connsiteX43460" fmla="*/ 3589683 w 4610101"/>
              <a:gd name="connsiteY43460" fmla="*/ 4401400 h 6557032"/>
              <a:gd name="connsiteX43461" fmla="*/ 3613372 w 4610101"/>
              <a:gd name="connsiteY43461" fmla="*/ 4401400 h 6557032"/>
              <a:gd name="connsiteX43462" fmla="*/ 3606083 w 4610101"/>
              <a:gd name="connsiteY43462" fmla="*/ 4374295 h 6557032"/>
              <a:gd name="connsiteX43463" fmla="*/ 3612503 w 4610101"/>
              <a:gd name="connsiteY43463" fmla="*/ 4372590 h 6557032"/>
              <a:gd name="connsiteX43464" fmla="*/ 3608503 w 4610101"/>
              <a:gd name="connsiteY43464" fmla="*/ 4365783 h 6557032"/>
              <a:gd name="connsiteX43465" fmla="*/ 3613371 w 4610101"/>
              <a:gd name="connsiteY43465" fmla="*/ 4352201 h 6557032"/>
              <a:gd name="connsiteX43466" fmla="*/ 3591505 w 4610101"/>
              <a:gd name="connsiteY43466" fmla="*/ 4352201 h 6557032"/>
              <a:gd name="connsiteX43467" fmla="*/ 3584216 w 4610101"/>
              <a:gd name="connsiteY43467" fmla="*/ 4330335 h 6557032"/>
              <a:gd name="connsiteX43468" fmla="*/ 3582394 w 4610101"/>
              <a:gd name="connsiteY43468" fmla="*/ 4354023 h 6557032"/>
              <a:gd name="connsiteX43469" fmla="*/ 3560528 w 4610101"/>
              <a:gd name="connsiteY43469" fmla="*/ 4337624 h 6557032"/>
              <a:gd name="connsiteX43470" fmla="*/ 3522263 w 4610101"/>
              <a:gd name="connsiteY43470" fmla="*/ 4368601 h 6557032"/>
              <a:gd name="connsiteX43471" fmla="*/ 3522263 w 4610101"/>
              <a:gd name="connsiteY43471" fmla="*/ 4354023 h 6557032"/>
              <a:gd name="connsiteX43472" fmla="*/ 3485819 w 4610101"/>
              <a:gd name="connsiteY43472" fmla="*/ 4368601 h 6557032"/>
              <a:gd name="connsiteX43473" fmla="*/ 3493108 w 4610101"/>
              <a:gd name="connsiteY43473" fmla="*/ 4390467 h 6557032"/>
              <a:gd name="connsiteX43474" fmla="*/ 3538662 w 4610101"/>
              <a:gd name="connsiteY43474" fmla="*/ 4397756 h 6557032"/>
              <a:gd name="connsiteX43475" fmla="*/ 3516796 w 4610101"/>
              <a:gd name="connsiteY43475" fmla="*/ 4397756 h 6557032"/>
              <a:gd name="connsiteX43476" fmla="*/ 3519985 w 4610101"/>
              <a:gd name="connsiteY43476" fmla="*/ 4412334 h 6557032"/>
              <a:gd name="connsiteX43477" fmla="*/ 3518429 w 4610101"/>
              <a:gd name="connsiteY43477" fmla="*/ 4413275 h 6557032"/>
              <a:gd name="connsiteX43478" fmla="*/ 3513152 w 4610101"/>
              <a:gd name="connsiteY43478" fmla="*/ 4401400 h 6557032"/>
              <a:gd name="connsiteX43479" fmla="*/ 3498574 w 4610101"/>
              <a:gd name="connsiteY43479" fmla="*/ 4406867 h 6557032"/>
              <a:gd name="connsiteX43480" fmla="*/ 3498574 w 4610101"/>
              <a:gd name="connsiteY43480" fmla="*/ 4392289 h 6557032"/>
              <a:gd name="connsiteX43481" fmla="*/ 3476708 w 4610101"/>
              <a:gd name="connsiteY43481" fmla="*/ 4392289 h 6557032"/>
              <a:gd name="connsiteX43482" fmla="*/ 3476708 w 4610101"/>
              <a:gd name="connsiteY43482" fmla="*/ 4377712 h 6557032"/>
              <a:gd name="connsiteX43483" fmla="*/ 3462131 w 4610101"/>
              <a:gd name="connsiteY43483" fmla="*/ 4386823 h 6557032"/>
              <a:gd name="connsiteX43484" fmla="*/ 3447553 w 4610101"/>
              <a:gd name="connsiteY43484" fmla="*/ 4370423 h 6557032"/>
              <a:gd name="connsiteX43485" fmla="*/ 3469419 w 4610101"/>
              <a:gd name="connsiteY43485" fmla="*/ 4394111 h 6557032"/>
              <a:gd name="connsiteX43486" fmla="*/ 3473064 w 4610101"/>
              <a:gd name="connsiteY43486" fmla="*/ 4417800 h 6557032"/>
              <a:gd name="connsiteX43487" fmla="*/ 3483997 w 4610101"/>
              <a:gd name="connsiteY43487" fmla="*/ 4439666 h 6557032"/>
              <a:gd name="connsiteX43488" fmla="*/ 3498574 w 4610101"/>
              <a:gd name="connsiteY43488" fmla="*/ 4408689 h 6557032"/>
              <a:gd name="connsiteX43489" fmla="*/ 3518481 w 4610101"/>
              <a:gd name="connsiteY43489" fmla="*/ 4416984 h 6557032"/>
              <a:gd name="connsiteX43490" fmla="*/ 3520440 w 4610101"/>
              <a:gd name="connsiteY43490" fmla="*/ 4426910 h 6557032"/>
              <a:gd name="connsiteX43491" fmla="*/ 3514974 w 4610101"/>
              <a:gd name="connsiteY43491" fmla="*/ 4445132 h 6557032"/>
              <a:gd name="connsiteX43492" fmla="*/ 3493108 w 4610101"/>
              <a:gd name="connsiteY43492" fmla="*/ 4436021 h 6557032"/>
              <a:gd name="connsiteX43493" fmla="*/ 3489691 w 4610101"/>
              <a:gd name="connsiteY43493" fmla="*/ 4451282 h 6557032"/>
              <a:gd name="connsiteX43494" fmla="*/ 3491017 w 4610101"/>
              <a:gd name="connsiteY43494" fmla="*/ 4452421 h 6557032"/>
              <a:gd name="connsiteX43495" fmla="*/ 3469419 w 4610101"/>
              <a:gd name="connsiteY43495" fmla="*/ 4452421 h 6557032"/>
              <a:gd name="connsiteX43496" fmla="*/ 3473064 w 4610101"/>
              <a:gd name="connsiteY43496" fmla="*/ 4472465 h 6557032"/>
              <a:gd name="connsiteX43497" fmla="*/ 3483997 w 4610101"/>
              <a:gd name="connsiteY43497" fmla="*/ 4476109 h 6557032"/>
              <a:gd name="connsiteX43498" fmla="*/ 3491230 w 4610101"/>
              <a:gd name="connsiteY43498" fmla="*/ 4452605 h 6557032"/>
              <a:gd name="connsiteX43499" fmla="*/ 3491314 w 4610101"/>
              <a:gd name="connsiteY43499" fmla="*/ 4452677 h 6557032"/>
              <a:gd name="connsiteX43500" fmla="*/ 3487641 w 4610101"/>
              <a:gd name="connsiteY43500" fmla="*/ 4465176 h 6557032"/>
              <a:gd name="connsiteX43501" fmla="*/ 3500397 w 4610101"/>
              <a:gd name="connsiteY43501" fmla="*/ 4479754 h 6557032"/>
              <a:gd name="connsiteX43502" fmla="*/ 3485819 w 4610101"/>
              <a:gd name="connsiteY43502" fmla="*/ 4496153 h 6557032"/>
              <a:gd name="connsiteX43503" fmla="*/ 3476465 w 4610101"/>
              <a:gd name="connsiteY43503" fmla="*/ 4490808 h 6557032"/>
              <a:gd name="connsiteX43504" fmla="*/ 3447554 w 4610101"/>
              <a:gd name="connsiteY43504" fmla="*/ 4505264 h 6557032"/>
              <a:gd name="connsiteX43505" fmla="*/ 3438443 w 4610101"/>
              <a:gd name="connsiteY43505" fmla="*/ 4490687 h 6557032"/>
              <a:gd name="connsiteX43506" fmla="*/ 3423865 w 4610101"/>
              <a:gd name="connsiteY43506" fmla="*/ 4476109 h 6557032"/>
              <a:gd name="connsiteX43507" fmla="*/ 3434596 w 4610101"/>
              <a:gd name="connsiteY43507" fmla="*/ 4476109 h 6557032"/>
              <a:gd name="connsiteX43508" fmla="*/ 3440265 w 4610101"/>
              <a:gd name="connsiteY43508" fmla="*/ 4463354 h 6557032"/>
              <a:gd name="connsiteX43509" fmla="*/ 3409288 w 4610101"/>
              <a:gd name="connsiteY43509" fmla="*/ 4448776 h 6557032"/>
              <a:gd name="connsiteX43510" fmla="*/ 3431154 w 4610101"/>
              <a:gd name="connsiteY43510" fmla="*/ 4432377 h 6557032"/>
              <a:gd name="connsiteX43511" fmla="*/ 3431154 w 4610101"/>
              <a:gd name="connsiteY43511" fmla="*/ 4448776 h 6557032"/>
              <a:gd name="connsiteX43512" fmla="*/ 3445731 w 4610101"/>
              <a:gd name="connsiteY43512" fmla="*/ 4448776 h 6557032"/>
              <a:gd name="connsiteX43513" fmla="*/ 3436621 w 4610101"/>
              <a:gd name="connsiteY43513" fmla="*/ 4426910 h 6557032"/>
              <a:gd name="connsiteX43514" fmla="*/ 3414754 w 4610101"/>
              <a:gd name="connsiteY43514" fmla="*/ 4419622 h 6557032"/>
              <a:gd name="connsiteX43515" fmla="*/ 3407466 w 4610101"/>
              <a:gd name="connsiteY43515" fmla="*/ 4448776 h 6557032"/>
              <a:gd name="connsiteX43516" fmla="*/ 3391066 w 4610101"/>
              <a:gd name="connsiteY43516" fmla="*/ 4446954 h 6557032"/>
              <a:gd name="connsiteX43517" fmla="*/ 3378311 w 4610101"/>
              <a:gd name="connsiteY43517" fmla="*/ 4461532 h 6557032"/>
              <a:gd name="connsiteX43518" fmla="*/ 3347334 w 4610101"/>
              <a:gd name="connsiteY43518" fmla="*/ 4456065 h 6557032"/>
              <a:gd name="connsiteX43519" fmla="*/ 3347334 w 4610101"/>
              <a:gd name="connsiteY43519" fmla="*/ 4434199 h 6557032"/>
              <a:gd name="connsiteX43520" fmla="*/ 3334579 w 4610101"/>
              <a:gd name="connsiteY43520" fmla="*/ 4443310 h 6557032"/>
              <a:gd name="connsiteX43521" fmla="*/ 3332756 w 4610101"/>
              <a:gd name="connsiteY43521" fmla="*/ 4457887 h 6557032"/>
              <a:gd name="connsiteX43522" fmla="*/ 3327290 w 4610101"/>
              <a:gd name="connsiteY43522" fmla="*/ 4463354 h 6557032"/>
              <a:gd name="connsiteX43523" fmla="*/ 3320001 w 4610101"/>
              <a:gd name="connsiteY43523" fmla="*/ 4459710 h 6557032"/>
              <a:gd name="connsiteX43524" fmla="*/ 3303602 w 4610101"/>
              <a:gd name="connsiteY43524" fmla="*/ 4472465 h 6557032"/>
              <a:gd name="connsiteX43525" fmla="*/ 3296313 w 4610101"/>
              <a:gd name="connsiteY43525" fmla="*/ 4457887 h 6557032"/>
              <a:gd name="connsiteX43526" fmla="*/ 3320001 w 4610101"/>
              <a:gd name="connsiteY43526" fmla="*/ 4436021 h 6557032"/>
              <a:gd name="connsiteX43527" fmla="*/ 3296313 w 4610101"/>
              <a:gd name="connsiteY43527" fmla="*/ 4426910 h 6557032"/>
              <a:gd name="connsiteX43528" fmla="*/ 3310890 w 4610101"/>
              <a:gd name="connsiteY43528" fmla="*/ 4426910 h 6557032"/>
              <a:gd name="connsiteX43529" fmla="*/ 3318179 w 4610101"/>
              <a:gd name="connsiteY43529" fmla="*/ 4403222 h 6557032"/>
              <a:gd name="connsiteX43530" fmla="*/ 3309068 w 4610101"/>
              <a:gd name="connsiteY43530" fmla="*/ 4397756 h 6557032"/>
              <a:gd name="connsiteX43531" fmla="*/ 3303602 w 4610101"/>
              <a:gd name="connsiteY43531" fmla="*/ 4419622 h 6557032"/>
              <a:gd name="connsiteX43532" fmla="*/ 3296313 w 4610101"/>
              <a:gd name="connsiteY43532" fmla="*/ 4426910 h 6557032"/>
              <a:gd name="connsiteX43533" fmla="*/ 3274447 w 4610101"/>
              <a:gd name="connsiteY43533" fmla="*/ 4434199 h 6557032"/>
              <a:gd name="connsiteX43534" fmla="*/ 3259869 w 4610101"/>
              <a:gd name="connsiteY43534" fmla="*/ 4426910 h 6557032"/>
              <a:gd name="connsiteX43535" fmla="*/ 3245292 w 4610101"/>
              <a:gd name="connsiteY43535" fmla="*/ 4426910 h 6557032"/>
              <a:gd name="connsiteX43536" fmla="*/ 3230715 w 4610101"/>
              <a:gd name="connsiteY43536" fmla="*/ 4434199 h 6557032"/>
              <a:gd name="connsiteX43537" fmla="*/ 3216137 w 4610101"/>
              <a:gd name="connsiteY43537" fmla="*/ 4426910 h 6557032"/>
              <a:gd name="connsiteX43538" fmla="*/ 3208849 w 4610101"/>
              <a:gd name="connsiteY43538" fmla="*/ 4434199 h 6557032"/>
              <a:gd name="connsiteX43539" fmla="*/ 3199738 w 4610101"/>
              <a:gd name="connsiteY43539" fmla="*/ 4419622 h 6557032"/>
              <a:gd name="connsiteX43540" fmla="*/ 3183338 w 4610101"/>
              <a:gd name="connsiteY43540" fmla="*/ 4432377 h 6557032"/>
              <a:gd name="connsiteX43541" fmla="*/ 3194271 w 4610101"/>
              <a:gd name="connsiteY43541" fmla="*/ 4439666 h 6557032"/>
              <a:gd name="connsiteX43542" fmla="*/ 3208849 w 4610101"/>
              <a:gd name="connsiteY43542" fmla="*/ 4434199 h 6557032"/>
              <a:gd name="connsiteX43543" fmla="*/ 3230715 w 4610101"/>
              <a:gd name="connsiteY43543" fmla="*/ 4456065 h 6557032"/>
              <a:gd name="connsiteX43544" fmla="*/ 3252581 w 4610101"/>
              <a:gd name="connsiteY43544" fmla="*/ 4465176 h 6557032"/>
              <a:gd name="connsiteX43545" fmla="*/ 3236181 w 4610101"/>
              <a:gd name="connsiteY43545" fmla="*/ 4443310 h 6557032"/>
              <a:gd name="connsiteX43546" fmla="*/ 3245292 w 4610101"/>
              <a:gd name="connsiteY43546" fmla="*/ 4436021 h 6557032"/>
              <a:gd name="connsiteX43547" fmla="*/ 3259869 w 4610101"/>
              <a:gd name="connsiteY43547" fmla="*/ 4448776 h 6557032"/>
              <a:gd name="connsiteX43548" fmla="*/ 3289024 w 4610101"/>
              <a:gd name="connsiteY43548" fmla="*/ 4443310 h 6557032"/>
              <a:gd name="connsiteX43549" fmla="*/ 3296313 w 4610101"/>
              <a:gd name="connsiteY43549" fmla="*/ 4457887 h 6557032"/>
              <a:gd name="connsiteX43550" fmla="*/ 3281736 w 4610101"/>
              <a:gd name="connsiteY43550" fmla="*/ 4457887 h 6557032"/>
              <a:gd name="connsiteX43551" fmla="*/ 3259869 w 4610101"/>
              <a:gd name="connsiteY43551" fmla="*/ 4472465 h 6557032"/>
              <a:gd name="connsiteX43552" fmla="*/ 3259869 w 4610101"/>
              <a:gd name="connsiteY43552" fmla="*/ 4496153 h 6557032"/>
              <a:gd name="connsiteX43553" fmla="*/ 3239826 w 4610101"/>
              <a:gd name="connsiteY43553" fmla="*/ 4481576 h 6557032"/>
              <a:gd name="connsiteX43554" fmla="*/ 3228893 w 4610101"/>
              <a:gd name="connsiteY43554" fmla="*/ 4488865 h 6557032"/>
              <a:gd name="connsiteX43555" fmla="*/ 3245292 w 4610101"/>
              <a:gd name="connsiteY43555" fmla="*/ 4503442 h 6557032"/>
              <a:gd name="connsiteX43556" fmla="*/ 3238003 w 4610101"/>
              <a:gd name="connsiteY43556" fmla="*/ 4516197 h 6557032"/>
              <a:gd name="connsiteX43557" fmla="*/ 3250759 w 4610101"/>
              <a:gd name="connsiteY43557" fmla="*/ 4530774 h 6557032"/>
              <a:gd name="connsiteX43558" fmla="*/ 3243470 w 4610101"/>
              <a:gd name="connsiteY43558" fmla="*/ 4541707 h 6557032"/>
              <a:gd name="connsiteX43559" fmla="*/ 3228893 w 4610101"/>
              <a:gd name="connsiteY43559" fmla="*/ 4525308 h 6557032"/>
              <a:gd name="connsiteX43560" fmla="*/ 3214315 w 4610101"/>
              <a:gd name="connsiteY43560" fmla="*/ 4532597 h 6557032"/>
              <a:gd name="connsiteX43561" fmla="*/ 3199738 w 4610101"/>
              <a:gd name="connsiteY43561" fmla="*/ 4494331 h 6557032"/>
              <a:gd name="connsiteX43562" fmla="*/ 3214315 w 4610101"/>
              <a:gd name="connsiteY43562" fmla="*/ 4501620 h 6557032"/>
              <a:gd name="connsiteX43563" fmla="*/ 3192449 w 4610101"/>
              <a:gd name="connsiteY43563" fmla="*/ 4463354 h 6557032"/>
              <a:gd name="connsiteX43564" fmla="*/ 3168761 w 4610101"/>
              <a:gd name="connsiteY43564" fmla="*/ 4472465 h 6557032"/>
              <a:gd name="connsiteX43565" fmla="*/ 3190627 w 4610101"/>
              <a:gd name="connsiteY43565" fmla="*/ 4499797 h 6557032"/>
              <a:gd name="connsiteX43566" fmla="*/ 3185160 w 4610101"/>
              <a:gd name="connsiteY43566" fmla="*/ 4508908 h 6557032"/>
              <a:gd name="connsiteX43567" fmla="*/ 3163294 w 4610101"/>
              <a:gd name="connsiteY43567" fmla="*/ 4477931 h 6557032"/>
              <a:gd name="connsiteX43568" fmla="*/ 3163294 w 4610101"/>
              <a:gd name="connsiteY43568" fmla="*/ 4461532 h 6557032"/>
              <a:gd name="connsiteX43569" fmla="*/ 3170583 w 4610101"/>
              <a:gd name="connsiteY43569" fmla="*/ 4446954 h 6557032"/>
              <a:gd name="connsiteX43570" fmla="*/ 3170583 w 4610101"/>
              <a:gd name="connsiteY43570" fmla="*/ 4415978 h 6557032"/>
              <a:gd name="connsiteX43571" fmla="*/ 3163294 w 4610101"/>
              <a:gd name="connsiteY43571" fmla="*/ 4437844 h 6557032"/>
              <a:gd name="connsiteX43572" fmla="*/ 3148717 w 4610101"/>
              <a:gd name="connsiteY43572" fmla="*/ 4445132 h 6557032"/>
              <a:gd name="connsiteX43573" fmla="*/ 3146895 w 4610101"/>
              <a:gd name="connsiteY43573" fmla="*/ 4468820 h 6557032"/>
              <a:gd name="connsiteX43574" fmla="*/ 3125029 w 4610101"/>
              <a:gd name="connsiteY43574" fmla="*/ 4445132 h 6557032"/>
              <a:gd name="connsiteX43575" fmla="*/ 3139606 w 4610101"/>
              <a:gd name="connsiteY43575" fmla="*/ 4445132 h 6557032"/>
              <a:gd name="connsiteX43576" fmla="*/ 3132317 w 4610101"/>
              <a:gd name="connsiteY43576" fmla="*/ 4423266 h 6557032"/>
              <a:gd name="connsiteX43577" fmla="*/ 3117740 w 4610101"/>
              <a:gd name="connsiteY43577" fmla="*/ 4432377 h 6557032"/>
              <a:gd name="connsiteX43578" fmla="*/ 3125029 w 4610101"/>
              <a:gd name="connsiteY43578" fmla="*/ 4446954 h 6557032"/>
              <a:gd name="connsiteX43579" fmla="*/ 3110451 w 4610101"/>
              <a:gd name="connsiteY43579" fmla="*/ 4454243 h 6557032"/>
              <a:gd name="connsiteX43580" fmla="*/ 3112274 w 4610101"/>
              <a:gd name="connsiteY43580" fmla="*/ 4476109 h 6557032"/>
              <a:gd name="connsiteX43581" fmla="*/ 3125029 w 4610101"/>
              <a:gd name="connsiteY43581" fmla="*/ 4492509 h 6557032"/>
              <a:gd name="connsiteX43582" fmla="*/ 3086763 w 4610101"/>
              <a:gd name="connsiteY43582" fmla="*/ 4492509 h 6557032"/>
              <a:gd name="connsiteX43583" fmla="*/ 3103163 w 4610101"/>
              <a:gd name="connsiteY43583" fmla="*/ 4470643 h 6557032"/>
              <a:gd name="connsiteX43584" fmla="*/ 3079474 w 4610101"/>
              <a:gd name="connsiteY43584" fmla="*/ 4468820 h 6557032"/>
              <a:gd name="connsiteX43585" fmla="*/ 3095874 w 4610101"/>
              <a:gd name="connsiteY43585" fmla="*/ 4446954 h 6557032"/>
              <a:gd name="connsiteX43586" fmla="*/ 3074008 w 4610101"/>
              <a:gd name="connsiteY43586" fmla="*/ 4439666 h 6557032"/>
              <a:gd name="connsiteX43587" fmla="*/ 3066719 w 4610101"/>
              <a:gd name="connsiteY43587" fmla="*/ 4439666 h 6557032"/>
              <a:gd name="connsiteX43588" fmla="*/ 3052142 w 4610101"/>
              <a:gd name="connsiteY43588" fmla="*/ 4446954 h 6557032"/>
              <a:gd name="connsiteX43589" fmla="*/ 3030276 w 4610101"/>
              <a:gd name="connsiteY43589" fmla="*/ 4439666 h 6557032"/>
              <a:gd name="connsiteX43590" fmla="*/ 3030276 w 4610101"/>
              <a:gd name="connsiteY43590" fmla="*/ 4454243 h 6557032"/>
              <a:gd name="connsiteX43591" fmla="*/ 3015698 w 4610101"/>
              <a:gd name="connsiteY43591" fmla="*/ 4454243 h 6557032"/>
              <a:gd name="connsiteX43592" fmla="*/ 3032098 w 4610101"/>
              <a:gd name="connsiteY43592" fmla="*/ 4430555 h 6557032"/>
              <a:gd name="connsiteX43593" fmla="*/ 3024809 w 4610101"/>
              <a:gd name="connsiteY43593" fmla="*/ 4415978 h 6557032"/>
              <a:gd name="connsiteX43594" fmla="*/ 3046675 w 4610101"/>
              <a:gd name="connsiteY43594" fmla="*/ 4415978 h 6557032"/>
              <a:gd name="connsiteX43595" fmla="*/ 3072186 w 4610101"/>
              <a:gd name="connsiteY43595" fmla="*/ 4423266 h 6557032"/>
              <a:gd name="connsiteX43596" fmla="*/ 3068541 w 4610101"/>
              <a:gd name="connsiteY43596" fmla="*/ 4355846 h 6557032"/>
              <a:gd name="connsiteX43597" fmla="*/ 3061253 w 4610101"/>
              <a:gd name="connsiteY43597" fmla="*/ 4377712 h 6557032"/>
              <a:gd name="connsiteX43598" fmla="*/ 3044853 w 4610101"/>
              <a:gd name="connsiteY43598" fmla="*/ 4377712 h 6557032"/>
              <a:gd name="connsiteX43599" fmla="*/ 3053964 w 4610101"/>
              <a:gd name="connsiteY43599" fmla="*/ 4403222 h 6557032"/>
              <a:gd name="connsiteX43600" fmla="*/ 3015698 w 4610101"/>
              <a:gd name="connsiteY43600" fmla="*/ 4399578 h 6557032"/>
              <a:gd name="connsiteX43601" fmla="*/ 3015698 w 4610101"/>
              <a:gd name="connsiteY43601" fmla="*/ 4421444 h 6557032"/>
              <a:gd name="connsiteX43602" fmla="*/ 3008410 w 4610101"/>
              <a:gd name="connsiteY43602" fmla="*/ 4406867 h 6557032"/>
              <a:gd name="connsiteX43603" fmla="*/ 2992010 w 4610101"/>
              <a:gd name="connsiteY43603" fmla="*/ 4406867 h 6557032"/>
              <a:gd name="connsiteX43604" fmla="*/ 2999299 w 4610101"/>
              <a:gd name="connsiteY43604" fmla="*/ 4390467 h 6557032"/>
              <a:gd name="connsiteX43605" fmla="*/ 2968322 w 4610101"/>
              <a:gd name="connsiteY43605" fmla="*/ 4399578 h 6557032"/>
              <a:gd name="connsiteX43606" fmla="*/ 2986543 w 4610101"/>
              <a:gd name="connsiteY43606" fmla="*/ 4370423 h 6557032"/>
              <a:gd name="connsiteX43607" fmla="*/ 2979255 w 4610101"/>
              <a:gd name="connsiteY43607" fmla="*/ 4355846 h 6557032"/>
              <a:gd name="connsiteX43608" fmla="*/ 3002943 w 4610101"/>
              <a:gd name="connsiteY43608" fmla="*/ 4354023 h 6557032"/>
              <a:gd name="connsiteX43609" fmla="*/ 2988610 w 4610101"/>
              <a:gd name="connsiteY43609" fmla="*/ 4342875 h 6557032"/>
              <a:gd name="connsiteX43610" fmla="*/ 2970144 w 4610101"/>
              <a:gd name="connsiteY43610" fmla="*/ 4348557 h 6557032"/>
              <a:gd name="connsiteX43611" fmla="*/ 2979255 w 4610101"/>
              <a:gd name="connsiteY43611" fmla="*/ 4332157 h 6557032"/>
              <a:gd name="connsiteX43612" fmla="*/ 2986543 w 4610101"/>
              <a:gd name="connsiteY43612" fmla="*/ 4336712 h 6557032"/>
              <a:gd name="connsiteX43613" fmla="*/ 2986543 w 4610101"/>
              <a:gd name="connsiteY43613" fmla="*/ 4317580 h 6557032"/>
              <a:gd name="connsiteX43614" fmla="*/ 2971966 w 4610101"/>
              <a:gd name="connsiteY43614" fmla="*/ 4324869 h 6557032"/>
              <a:gd name="connsiteX43615" fmla="*/ 2962855 w 4610101"/>
              <a:gd name="connsiteY43615" fmla="*/ 4310291 h 6557032"/>
              <a:gd name="connsiteX43616" fmla="*/ 2948278 w 4610101"/>
              <a:gd name="connsiteY43616" fmla="*/ 4317580 h 6557032"/>
              <a:gd name="connsiteX43617" fmla="*/ 2948278 w 4610101"/>
              <a:gd name="connsiteY43617" fmla="*/ 4295714 h 6557032"/>
              <a:gd name="connsiteX43618" fmla="*/ 2940989 w 4610101"/>
              <a:gd name="connsiteY43618" fmla="*/ 4317580 h 6557032"/>
              <a:gd name="connsiteX43619" fmla="*/ 2926412 w 4610101"/>
              <a:gd name="connsiteY43619" fmla="*/ 4317580 h 6557032"/>
              <a:gd name="connsiteX43620" fmla="*/ 2924590 w 4610101"/>
              <a:gd name="connsiteY43620" fmla="*/ 4333980 h 6557032"/>
              <a:gd name="connsiteX43621" fmla="*/ 2902724 w 4610101"/>
              <a:gd name="connsiteY43621" fmla="*/ 4310291 h 6557032"/>
              <a:gd name="connsiteX43622" fmla="*/ 2857169 w 4610101"/>
              <a:gd name="connsiteY43622" fmla="*/ 4341268 h 6557032"/>
              <a:gd name="connsiteX43623" fmla="*/ 2857169 w 4610101"/>
              <a:gd name="connsiteY43623" fmla="*/ 4350379 h 6557032"/>
              <a:gd name="connsiteX43624" fmla="*/ 2840769 w 4610101"/>
              <a:gd name="connsiteY43624" fmla="*/ 4343091 h 6557032"/>
              <a:gd name="connsiteX43625" fmla="*/ 2848058 w 4610101"/>
              <a:gd name="connsiteY43625" fmla="*/ 4328513 h 6557032"/>
              <a:gd name="connsiteX43626" fmla="*/ 2864458 w 4610101"/>
              <a:gd name="connsiteY43626" fmla="*/ 4315758 h 6557032"/>
              <a:gd name="connsiteX43627" fmla="*/ 2848058 w 4610101"/>
              <a:gd name="connsiteY43627" fmla="*/ 4313936 h 6557032"/>
              <a:gd name="connsiteX43628" fmla="*/ 2848058 w 4610101"/>
              <a:gd name="connsiteY43628" fmla="*/ 4328513 h 6557032"/>
              <a:gd name="connsiteX43629" fmla="*/ 2826192 w 4610101"/>
              <a:gd name="connsiteY43629" fmla="*/ 4328513 h 6557032"/>
              <a:gd name="connsiteX43630" fmla="*/ 2809793 w 4610101"/>
              <a:gd name="connsiteY43630" fmla="*/ 4304825 h 6557032"/>
              <a:gd name="connsiteX43631" fmla="*/ 2838947 w 4610101"/>
              <a:gd name="connsiteY43631" fmla="*/ 4310291 h 6557032"/>
              <a:gd name="connsiteX43632" fmla="*/ 2855347 w 4610101"/>
              <a:gd name="connsiteY43632" fmla="*/ 4306647 h 6557032"/>
              <a:gd name="connsiteX43633" fmla="*/ 2855347 w 4610101"/>
              <a:gd name="connsiteY43633" fmla="*/ 4298288 h 6557032"/>
              <a:gd name="connsiteX43634" fmla="*/ 2835304 w 4610101"/>
              <a:gd name="connsiteY43634" fmla="*/ 4303004 h 6557032"/>
              <a:gd name="connsiteX43635" fmla="*/ 2842592 w 4610101"/>
              <a:gd name="connsiteY43635" fmla="*/ 4288427 h 6557032"/>
              <a:gd name="connsiteX43636" fmla="*/ 2820726 w 4610101"/>
              <a:gd name="connsiteY43636" fmla="*/ 4288427 h 6557032"/>
              <a:gd name="connsiteX43637" fmla="*/ 2828698 w 4610101"/>
              <a:gd name="connsiteY43637" fmla="*/ 4272937 h 6557032"/>
              <a:gd name="connsiteX43638" fmla="*/ 2851703 w 4610101"/>
              <a:gd name="connsiteY43638" fmla="*/ 4273849 h 6557032"/>
              <a:gd name="connsiteX43639" fmla="*/ 2860947 w 4610101"/>
              <a:gd name="connsiteY43639" fmla="*/ 4287715 h 6557032"/>
              <a:gd name="connsiteX43640" fmla="*/ 2871747 w 4610101"/>
              <a:gd name="connsiteY43640" fmla="*/ 4279315 h 6557032"/>
              <a:gd name="connsiteX43641" fmla="*/ 2840769 w 4610101"/>
              <a:gd name="connsiteY43641" fmla="*/ 4270204 h 6557032"/>
              <a:gd name="connsiteX43642" fmla="*/ 2862636 w 4610101"/>
              <a:gd name="connsiteY43642" fmla="*/ 4239226 h 6557032"/>
              <a:gd name="connsiteX43643" fmla="*/ 2824370 w 4610101"/>
              <a:gd name="connsiteY43643" fmla="*/ 4239226 h 6557032"/>
              <a:gd name="connsiteX43644" fmla="*/ 2846236 w 4610101"/>
              <a:gd name="connsiteY43644" fmla="*/ 4193672 h 6557032"/>
              <a:gd name="connsiteX43645" fmla="*/ 2824370 w 4610101"/>
              <a:gd name="connsiteY43645" fmla="*/ 4171806 h 6557032"/>
              <a:gd name="connsiteX43646" fmla="*/ 2813437 w 4610101"/>
              <a:gd name="connsiteY43646" fmla="*/ 4200961 h 6557032"/>
              <a:gd name="connsiteX43647" fmla="*/ 2818903 w 4610101"/>
              <a:gd name="connsiteY43647" fmla="*/ 4217360 h 6557032"/>
              <a:gd name="connsiteX43648" fmla="*/ 2800682 w 4610101"/>
              <a:gd name="connsiteY43648" fmla="*/ 4241049 h 6557032"/>
              <a:gd name="connsiteX43649" fmla="*/ 2778816 w 4610101"/>
              <a:gd name="connsiteY43649" fmla="*/ 4217360 h 6557032"/>
              <a:gd name="connsiteX43650" fmla="*/ 2800682 w 4610101"/>
              <a:gd name="connsiteY43650" fmla="*/ 4217360 h 6557032"/>
              <a:gd name="connsiteX43651" fmla="*/ 2778816 w 4610101"/>
              <a:gd name="connsiteY43651" fmla="*/ 4210072 h 6557032"/>
              <a:gd name="connsiteX43652" fmla="*/ 2772154 w 4610101"/>
              <a:gd name="connsiteY43652" fmla="*/ 4184704 h 6557032"/>
              <a:gd name="connsiteX43653" fmla="*/ 2766464 w 4610101"/>
              <a:gd name="connsiteY43653" fmla="*/ 4176743 h 6557032"/>
              <a:gd name="connsiteX43654" fmla="*/ 2775171 w 4610101"/>
              <a:gd name="connsiteY43654" fmla="*/ 4204606 h 6557032"/>
              <a:gd name="connsiteX43655" fmla="*/ 2767882 w 4610101"/>
              <a:gd name="connsiteY43655" fmla="*/ 4226472 h 6557032"/>
              <a:gd name="connsiteX43656" fmla="*/ 2738728 w 4610101"/>
              <a:gd name="connsiteY43656" fmla="*/ 4219184 h 6557032"/>
              <a:gd name="connsiteX43657" fmla="*/ 2713217 w 4610101"/>
              <a:gd name="connsiteY43657" fmla="*/ 4191851 h 6557032"/>
              <a:gd name="connsiteX43658" fmla="*/ 2736906 w 4610101"/>
              <a:gd name="connsiteY43658" fmla="*/ 4190029 h 6557032"/>
              <a:gd name="connsiteX43659" fmla="*/ 2752850 w 4610101"/>
              <a:gd name="connsiteY43659" fmla="*/ 4186156 h 6557032"/>
              <a:gd name="connsiteX43660" fmla="*/ 2765731 w 4610101"/>
              <a:gd name="connsiteY43660" fmla="*/ 4175717 h 6557032"/>
              <a:gd name="connsiteX43661" fmla="*/ 2764238 w 4610101"/>
              <a:gd name="connsiteY43661" fmla="*/ 4173628 h 6557032"/>
              <a:gd name="connsiteX43662" fmla="*/ 2771527 w 4610101"/>
              <a:gd name="connsiteY43662" fmla="*/ 4164517 h 6557032"/>
              <a:gd name="connsiteX43663" fmla="*/ 2793393 w 4610101"/>
              <a:gd name="connsiteY43663" fmla="*/ 4180917 h 6557032"/>
              <a:gd name="connsiteX43664" fmla="*/ 2802504 w 4610101"/>
              <a:gd name="connsiteY43664" fmla="*/ 4166339 h 6557032"/>
              <a:gd name="connsiteX43665" fmla="*/ 2727795 w 4610101"/>
              <a:gd name="connsiteY43665" fmla="*/ 4151762 h 6557032"/>
              <a:gd name="connsiteX43666" fmla="*/ 2721645 w 4610101"/>
              <a:gd name="connsiteY43666" fmla="*/ 4134850 h 6557032"/>
              <a:gd name="connsiteX43667" fmla="*/ 2713630 w 4610101"/>
              <a:gd name="connsiteY43667" fmla="*/ 4130139 h 6557032"/>
              <a:gd name="connsiteX43668" fmla="*/ 2713290 w 4610101"/>
              <a:gd name="connsiteY43668" fmla="*/ 4129781 h 6557032"/>
              <a:gd name="connsiteX43669" fmla="*/ 2722328 w 4610101"/>
              <a:gd name="connsiteY43669" fmla="*/ 4115319 h 6557032"/>
              <a:gd name="connsiteX43670" fmla="*/ 2736906 w 4610101"/>
              <a:gd name="connsiteY43670" fmla="*/ 4122607 h 6557032"/>
              <a:gd name="connsiteX43671" fmla="*/ 2736906 w 4610101"/>
              <a:gd name="connsiteY43671" fmla="*/ 4142651 h 6557032"/>
              <a:gd name="connsiteX43672" fmla="*/ 2758772 w 4610101"/>
              <a:gd name="connsiteY43672" fmla="*/ 4142651 h 6557032"/>
              <a:gd name="connsiteX43673" fmla="*/ 2736906 w 4610101"/>
              <a:gd name="connsiteY43673" fmla="*/ 4120785 h 6557032"/>
              <a:gd name="connsiteX43674" fmla="*/ 2760594 w 4610101"/>
              <a:gd name="connsiteY43674" fmla="*/ 4091630 h 6557032"/>
              <a:gd name="connsiteX43675" fmla="*/ 2739962 w 4610101"/>
              <a:gd name="connsiteY43675" fmla="*/ 4083696 h 6557032"/>
              <a:gd name="connsiteX43676" fmla="*/ 2740550 w 4610101"/>
              <a:gd name="connsiteY43676" fmla="*/ 4082520 h 6557032"/>
              <a:gd name="connsiteX43677" fmla="*/ 2751483 w 4610101"/>
              <a:gd name="connsiteY43677" fmla="*/ 4082520 h 6557032"/>
              <a:gd name="connsiteX43678" fmla="*/ 2766060 w 4610101"/>
              <a:gd name="connsiteY43678" fmla="*/ 4075231 h 6557032"/>
              <a:gd name="connsiteX43679" fmla="*/ 2773349 w 4610101"/>
              <a:gd name="connsiteY43679" fmla="*/ 4082520 h 6557032"/>
              <a:gd name="connsiteX43680" fmla="*/ 2767882 w 4610101"/>
              <a:gd name="connsiteY43680" fmla="*/ 4091630 h 6557032"/>
              <a:gd name="connsiteX43681" fmla="*/ 2775171 w 4610101"/>
              <a:gd name="connsiteY43681" fmla="*/ 4104386 h 6557032"/>
              <a:gd name="connsiteX43682" fmla="*/ 2775171 w 4610101"/>
              <a:gd name="connsiteY43682" fmla="*/ 4135363 h 6557032"/>
              <a:gd name="connsiteX43683" fmla="*/ 2782460 w 4610101"/>
              <a:gd name="connsiteY43683" fmla="*/ 4113497 h 6557032"/>
              <a:gd name="connsiteX43684" fmla="*/ 2791571 w 4610101"/>
              <a:gd name="connsiteY43684" fmla="*/ 4091630 h 6557032"/>
              <a:gd name="connsiteX43685" fmla="*/ 2775171 w 4610101"/>
              <a:gd name="connsiteY43685" fmla="*/ 4084342 h 6557032"/>
              <a:gd name="connsiteX43686" fmla="*/ 2791571 w 4610101"/>
              <a:gd name="connsiteY43686" fmla="*/ 4062476 h 6557032"/>
              <a:gd name="connsiteX43687" fmla="*/ 2753305 w 4610101"/>
              <a:gd name="connsiteY43687" fmla="*/ 4053365 h 6557032"/>
              <a:gd name="connsiteX43688" fmla="*/ 2775171 w 4610101"/>
              <a:gd name="connsiteY43688" fmla="*/ 4053365 h 6557032"/>
              <a:gd name="connsiteX43689" fmla="*/ 2775171 w 4610101"/>
              <a:gd name="connsiteY43689" fmla="*/ 4031499 h 6557032"/>
              <a:gd name="connsiteX43690" fmla="*/ 2753305 w 4610101"/>
              <a:gd name="connsiteY43690" fmla="*/ 4031499 h 6557032"/>
              <a:gd name="connsiteX43691" fmla="*/ 2740550 w 4610101"/>
              <a:gd name="connsiteY43691" fmla="*/ 4015099 h 6557032"/>
              <a:gd name="connsiteX43692" fmla="*/ 2731439 w 4610101"/>
              <a:gd name="connsiteY43692" fmla="*/ 4002344 h 6557032"/>
              <a:gd name="connsiteX43693" fmla="*/ 2727795 w 4610101"/>
              <a:gd name="connsiteY43693" fmla="*/ 4018744 h 6557032"/>
              <a:gd name="connsiteX43694" fmla="*/ 2731439 w 4610101"/>
              <a:gd name="connsiteY43694" fmla="*/ 4040610 h 6557032"/>
              <a:gd name="connsiteX43695" fmla="*/ 2724150 w 4610101"/>
              <a:gd name="connsiteY43695" fmla="*/ 4055187 h 6557032"/>
              <a:gd name="connsiteX43696" fmla="*/ 2746016 w 4610101"/>
              <a:gd name="connsiteY43696" fmla="*/ 4071586 h 6557032"/>
              <a:gd name="connsiteX43697" fmla="*/ 2740550 w 4610101"/>
              <a:gd name="connsiteY43697" fmla="*/ 4082520 h 6557032"/>
              <a:gd name="connsiteX43698" fmla="*/ 2736906 w 4610101"/>
              <a:gd name="connsiteY43698" fmla="*/ 4082520 h 6557032"/>
              <a:gd name="connsiteX43699" fmla="*/ 2739962 w 4610101"/>
              <a:gd name="connsiteY43699" fmla="*/ 4083696 h 6557032"/>
              <a:gd name="connsiteX43700" fmla="*/ 2738728 w 4610101"/>
              <a:gd name="connsiteY43700" fmla="*/ 4086164 h 6557032"/>
              <a:gd name="connsiteX43701" fmla="*/ 2729617 w 4610101"/>
              <a:gd name="connsiteY43701" fmla="*/ 4080697 h 6557032"/>
              <a:gd name="connsiteX43702" fmla="*/ 2716862 w 4610101"/>
              <a:gd name="connsiteY43702" fmla="*/ 4087986 h 6557032"/>
              <a:gd name="connsiteX43703" fmla="*/ 2702284 w 4610101"/>
              <a:gd name="connsiteY43703" fmla="*/ 4071586 h 6557032"/>
              <a:gd name="connsiteX43704" fmla="*/ 2707751 w 4610101"/>
              <a:gd name="connsiteY43704" fmla="*/ 4104386 h 6557032"/>
              <a:gd name="connsiteX43705" fmla="*/ 2708206 w 4610101"/>
              <a:gd name="connsiteY43705" fmla="*/ 4124430 h 6557032"/>
              <a:gd name="connsiteX43706" fmla="*/ 2713290 w 4610101"/>
              <a:gd name="connsiteY43706" fmla="*/ 4129781 h 6557032"/>
              <a:gd name="connsiteX43707" fmla="*/ 2713217 w 4610101"/>
              <a:gd name="connsiteY43707" fmla="*/ 4129896 h 6557032"/>
              <a:gd name="connsiteX43708" fmla="*/ 2713630 w 4610101"/>
              <a:gd name="connsiteY43708" fmla="*/ 4130139 h 6557032"/>
              <a:gd name="connsiteX43709" fmla="*/ 2716862 w 4610101"/>
              <a:gd name="connsiteY43709" fmla="*/ 4133541 h 6557032"/>
              <a:gd name="connsiteX43710" fmla="*/ 2709573 w 4610101"/>
              <a:gd name="connsiteY43710" fmla="*/ 4140829 h 6557032"/>
              <a:gd name="connsiteX43711" fmla="*/ 2716862 w 4610101"/>
              <a:gd name="connsiteY43711" fmla="*/ 4155407 h 6557032"/>
              <a:gd name="connsiteX43712" fmla="*/ 2709573 w 4610101"/>
              <a:gd name="connsiteY43712" fmla="*/ 4162695 h 6557032"/>
              <a:gd name="connsiteX43713" fmla="*/ 2716862 w 4610101"/>
              <a:gd name="connsiteY43713" fmla="*/ 4184561 h 6557032"/>
              <a:gd name="connsiteX43714" fmla="*/ 2694996 w 4610101"/>
              <a:gd name="connsiteY43714" fmla="*/ 4184561 h 6557032"/>
              <a:gd name="connsiteX43715" fmla="*/ 2702284 w 4610101"/>
              <a:gd name="connsiteY43715" fmla="*/ 4153584 h 6557032"/>
              <a:gd name="connsiteX43716" fmla="*/ 2673130 w 4610101"/>
              <a:gd name="connsiteY43716" fmla="*/ 4162695 h 6557032"/>
              <a:gd name="connsiteX43717" fmla="*/ 2673130 w 4610101"/>
              <a:gd name="connsiteY43717" fmla="*/ 4148118 h 6557032"/>
              <a:gd name="connsiteX43718" fmla="*/ 2689529 w 4610101"/>
              <a:gd name="connsiteY43718" fmla="*/ 4146296 h 6557032"/>
              <a:gd name="connsiteX43719" fmla="*/ 2664019 w 4610101"/>
              <a:gd name="connsiteY43719" fmla="*/ 4124430 h 6557032"/>
              <a:gd name="connsiteX43720" fmla="*/ 2680418 w 4610101"/>
              <a:gd name="connsiteY43720" fmla="*/ 4100741 h 6557032"/>
              <a:gd name="connsiteX43721" fmla="*/ 2649441 w 4610101"/>
              <a:gd name="connsiteY43721" fmla="*/ 4093452 h 6557032"/>
              <a:gd name="connsiteX43722" fmla="*/ 2656730 w 4610101"/>
              <a:gd name="connsiteY43722" fmla="*/ 4080697 h 6557032"/>
              <a:gd name="connsiteX43723" fmla="*/ 2634864 w 4610101"/>
              <a:gd name="connsiteY43723" fmla="*/ 4055187 h 6557032"/>
              <a:gd name="connsiteX43724" fmla="*/ 2620287 w 4610101"/>
              <a:gd name="connsiteY43724" fmla="*/ 4062476 h 6557032"/>
              <a:gd name="connsiteX43725" fmla="*/ 2620287 w 4610101"/>
              <a:gd name="connsiteY43725" fmla="*/ 4040610 h 6557032"/>
              <a:gd name="connsiteX43726" fmla="*/ 2643975 w 4610101"/>
              <a:gd name="connsiteY43726" fmla="*/ 4040610 h 6557032"/>
              <a:gd name="connsiteX43727" fmla="*/ 2636686 w 4610101"/>
              <a:gd name="connsiteY43727" fmla="*/ 4026032 h 6557032"/>
              <a:gd name="connsiteX43728" fmla="*/ 2658552 w 4610101"/>
              <a:gd name="connsiteY43728" fmla="*/ 4024210 h 6557032"/>
              <a:gd name="connsiteX43729" fmla="*/ 2674952 w 4610101"/>
              <a:gd name="connsiteY43729" fmla="*/ 4009633 h 6557032"/>
              <a:gd name="connsiteX43730" fmla="*/ 2671307 w 4610101"/>
              <a:gd name="connsiteY43730" fmla="*/ 3995055 h 6557032"/>
              <a:gd name="connsiteX43731" fmla="*/ 2676774 w 4610101"/>
              <a:gd name="connsiteY43731" fmla="*/ 3969545 h 6557032"/>
              <a:gd name="connsiteX43732" fmla="*/ 2705929 w 4610101"/>
              <a:gd name="connsiteY43732" fmla="*/ 3993233 h 6557032"/>
              <a:gd name="connsiteX43733" fmla="*/ 2698640 w 4610101"/>
              <a:gd name="connsiteY43733" fmla="*/ 4007810 h 6557032"/>
              <a:gd name="connsiteX43734" fmla="*/ 2722328 w 4610101"/>
              <a:gd name="connsiteY43734" fmla="*/ 4007810 h 6557032"/>
              <a:gd name="connsiteX43735" fmla="*/ 2715040 w 4610101"/>
              <a:gd name="connsiteY43735" fmla="*/ 3993233 h 6557032"/>
              <a:gd name="connsiteX43736" fmla="*/ 2740550 w 4610101"/>
              <a:gd name="connsiteY43736" fmla="*/ 3993233 h 6557032"/>
              <a:gd name="connsiteX43737" fmla="*/ 2755127 w 4610101"/>
              <a:gd name="connsiteY43737" fmla="*/ 3962256 h 6557032"/>
              <a:gd name="connsiteX43738" fmla="*/ 2755127 w 4610101"/>
              <a:gd name="connsiteY43738" fmla="*/ 3947679 h 6557032"/>
              <a:gd name="connsiteX43739" fmla="*/ 2760594 w 4610101"/>
              <a:gd name="connsiteY43739" fmla="*/ 3942212 h 6557032"/>
              <a:gd name="connsiteX43740" fmla="*/ 2769705 w 4610101"/>
              <a:gd name="connsiteY43740" fmla="*/ 3947679 h 6557032"/>
              <a:gd name="connsiteX43741" fmla="*/ 2800682 w 4610101"/>
              <a:gd name="connsiteY43741" fmla="*/ 3933101 h 6557032"/>
              <a:gd name="connsiteX43742" fmla="*/ 2793393 w 4610101"/>
              <a:gd name="connsiteY43742" fmla="*/ 3918524 h 6557032"/>
              <a:gd name="connsiteX43743" fmla="*/ 2824370 w 4610101"/>
              <a:gd name="connsiteY43743" fmla="*/ 3887547 h 6557032"/>
              <a:gd name="connsiteX43744" fmla="*/ 2838947 w 4610101"/>
              <a:gd name="connsiteY43744" fmla="*/ 3887547 h 6557032"/>
              <a:gd name="connsiteX43745" fmla="*/ 2860813 w 4610101"/>
              <a:gd name="connsiteY43745" fmla="*/ 3896658 h 6557032"/>
              <a:gd name="connsiteX43746" fmla="*/ 2860813 w 4610101"/>
              <a:gd name="connsiteY43746" fmla="*/ 3865681 h 6557032"/>
              <a:gd name="connsiteX43747" fmla="*/ 2822548 w 4610101"/>
              <a:gd name="connsiteY43747" fmla="*/ 3887547 h 6557032"/>
              <a:gd name="connsiteX43748" fmla="*/ 2807971 w 4610101"/>
              <a:gd name="connsiteY43748" fmla="*/ 3880258 h 6557032"/>
              <a:gd name="connsiteX43749" fmla="*/ 2786104 w 4610101"/>
              <a:gd name="connsiteY43749" fmla="*/ 3905769 h 6557032"/>
              <a:gd name="connsiteX43750" fmla="*/ 2791571 w 4610101"/>
              <a:gd name="connsiteY43750" fmla="*/ 3918524 h 6557032"/>
              <a:gd name="connsiteX43751" fmla="*/ 2769705 w 4610101"/>
              <a:gd name="connsiteY43751" fmla="*/ 3925813 h 6557032"/>
              <a:gd name="connsiteX43752" fmla="*/ 2731439 w 4610101"/>
              <a:gd name="connsiteY43752" fmla="*/ 3911235 h 6557032"/>
              <a:gd name="connsiteX43753" fmla="*/ 2733261 w 4610101"/>
              <a:gd name="connsiteY43753" fmla="*/ 3889369 h 6557032"/>
              <a:gd name="connsiteX43754" fmla="*/ 2738728 w 4610101"/>
              <a:gd name="connsiteY43754" fmla="*/ 3880258 h 6557032"/>
              <a:gd name="connsiteX43755" fmla="*/ 2751483 w 4610101"/>
              <a:gd name="connsiteY43755" fmla="*/ 3874792 h 6557032"/>
              <a:gd name="connsiteX43756" fmla="*/ 2767882 w 4610101"/>
              <a:gd name="connsiteY43756" fmla="*/ 3887547 h 6557032"/>
              <a:gd name="connsiteX43757" fmla="*/ 2775171 w 4610101"/>
              <a:gd name="connsiteY43757" fmla="*/ 3902124 h 6557032"/>
              <a:gd name="connsiteX43758" fmla="*/ 2789749 w 4610101"/>
              <a:gd name="connsiteY43758" fmla="*/ 3871147 h 6557032"/>
              <a:gd name="connsiteX43759" fmla="*/ 2767882 w 4610101"/>
              <a:gd name="connsiteY43759" fmla="*/ 3871147 h 6557032"/>
              <a:gd name="connsiteX43760" fmla="*/ 2751483 w 4610101"/>
              <a:gd name="connsiteY43760" fmla="*/ 3849281 h 6557032"/>
              <a:gd name="connsiteX43761" fmla="*/ 2776993 w 4610101"/>
              <a:gd name="connsiteY43761" fmla="*/ 3840170 h 6557032"/>
              <a:gd name="connsiteX43762" fmla="*/ 2776993 w 4610101"/>
              <a:gd name="connsiteY43762" fmla="*/ 3854748 h 6557032"/>
              <a:gd name="connsiteX43763" fmla="*/ 2798860 w 4610101"/>
              <a:gd name="connsiteY43763" fmla="*/ 3852926 h 6557032"/>
              <a:gd name="connsiteX43764" fmla="*/ 2807971 w 4610101"/>
              <a:gd name="connsiteY43764" fmla="*/ 3847459 h 6557032"/>
              <a:gd name="connsiteX43765" fmla="*/ 2807971 w 4610101"/>
              <a:gd name="connsiteY43765" fmla="*/ 3869325 h 6557032"/>
              <a:gd name="connsiteX43766" fmla="*/ 2822548 w 4610101"/>
              <a:gd name="connsiteY43766" fmla="*/ 3854748 h 6557032"/>
              <a:gd name="connsiteX43767" fmla="*/ 2837125 w 4610101"/>
              <a:gd name="connsiteY43767" fmla="*/ 3854748 h 6557032"/>
              <a:gd name="connsiteX43768" fmla="*/ 2858991 w 4610101"/>
              <a:gd name="connsiteY43768" fmla="*/ 3823771 h 6557032"/>
              <a:gd name="connsiteX43769" fmla="*/ 2853525 w 4610101"/>
              <a:gd name="connsiteY43769" fmla="*/ 3854748 h 6557032"/>
              <a:gd name="connsiteX43770" fmla="*/ 2882680 w 4610101"/>
              <a:gd name="connsiteY43770" fmla="*/ 3847459 h 6557032"/>
              <a:gd name="connsiteX43771" fmla="*/ 2858991 w 4610101"/>
              <a:gd name="connsiteY43771" fmla="*/ 3823771 h 6557032"/>
              <a:gd name="connsiteX43772" fmla="*/ 2875391 w 4610101"/>
              <a:gd name="connsiteY43772" fmla="*/ 3801905 h 6557032"/>
              <a:gd name="connsiteX43773" fmla="*/ 2844414 w 4610101"/>
              <a:gd name="connsiteY43773" fmla="*/ 3794616 h 6557032"/>
              <a:gd name="connsiteX43774" fmla="*/ 2844414 w 4610101"/>
              <a:gd name="connsiteY43774" fmla="*/ 3816482 h 6557032"/>
              <a:gd name="connsiteX43775" fmla="*/ 2822548 w 4610101"/>
              <a:gd name="connsiteY43775" fmla="*/ 3832882 h 6557032"/>
              <a:gd name="connsiteX43776" fmla="*/ 2829837 w 4610101"/>
              <a:gd name="connsiteY43776" fmla="*/ 3845637 h 6557032"/>
              <a:gd name="connsiteX43777" fmla="*/ 2822548 w 4610101"/>
              <a:gd name="connsiteY43777" fmla="*/ 3852926 h 6557032"/>
              <a:gd name="connsiteX43778" fmla="*/ 2807971 w 4610101"/>
              <a:gd name="connsiteY43778" fmla="*/ 3845637 h 6557032"/>
              <a:gd name="connsiteX43779" fmla="*/ 2815259 w 4610101"/>
              <a:gd name="connsiteY43779" fmla="*/ 3831060 h 6557032"/>
              <a:gd name="connsiteX43780" fmla="*/ 2793393 w 4610101"/>
              <a:gd name="connsiteY43780" fmla="*/ 3831060 h 6557032"/>
              <a:gd name="connsiteX43781" fmla="*/ 2824370 w 4610101"/>
              <a:gd name="connsiteY43781" fmla="*/ 3814660 h 6557032"/>
              <a:gd name="connsiteX43782" fmla="*/ 2807971 w 4610101"/>
              <a:gd name="connsiteY43782" fmla="*/ 3792794 h 6557032"/>
              <a:gd name="connsiteX43783" fmla="*/ 2786104 w 4610101"/>
              <a:gd name="connsiteY43783" fmla="*/ 3794616 h 6557032"/>
              <a:gd name="connsiteX43784" fmla="*/ 2760594 w 4610101"/>
              <a:gd name="connsiteY43784" fmla="*/ 3816482 h 6557032"/>
              <a:gd name="connsiteX43785" fmla="*/ 2767882 w 4610101"/>
              <a:gd name="connsiteY43785" fmla="*/ 3832882 h 6557032"/>
              <a:gd name="connsiteX43786" fmla="*/ 2738728 w 4610101"/>
              <a:gd name="connsiteY43786" fmla="*/ 3823771 h 6557032"/>
              <a:gd name="connsiteX43787" fmla="*/ 2746016 w 4610101"/>
              <a:gd name="connsiteY43787" fmla="*/ 3809194 h 6557032"/>
              <a:gd name="connsiteX43788" fmla="*/ 2715040 w 4610101"/>
              <a:gd name="connsiteY43788" fmla="*/ 3794616 h 6557032"/>
              <a:gd name="connsiteX43789" fmla="*/ 2736906 w 4610101"/>
              <a:gd name="connsiteY43789" fmla="*/ 3794616 h 6557032"/>
              <a:gd name="connsiteX43790" fmla="*/ 2700462 w 4610101"/>
              <a:gd name="connsiteY43790" fmla="*/ 3789150 h 6557032"/>
              <a:gd name="connsiteX43791" fmla="*/ 2684063 w 4610101"/>
              <a:gd name="connsiteY43791" fmla="*/ 3803727 h 6557032"/>
              <a:gd name="connsiteX43792" fmla="*/ 2691351 w 4610101"/>
              <a:gd name="connsiteY43792" fmla="*/ 3818304 h 6557032"/>
              <a:gd name="connsiteX43793" fmla="*/ 2684063 w 4610101"/>
              <a:gd name="connsiteY43793" fmla="*/ 3840170 h 6557032"/>
              <a:gd name="connsiteX43794" fmla="*/ 2705929 w 4610101"/>
              <a:gd name="connsiteY43794" fmla="*/ 3840170 h 6557032"/>
              <a:gd name="connsiteX43795" fmla="*/ 2705929 w 4610101"/>
              <a:gd name="connsiteY43795" fmla="*/ 3880258 h 6557032"/>
              <a:gd name="connsiteX43796" fmla="*/ 2678596 w 4610101"/>
              <a:gd name="connsiteY43796" fmla="*/ 3872970 h 6557032"/>
              <a:gd name="connsiteX43797" fmla="*/ 2658552 w 4610101"/>
              <a:gd name="connsiteY43797" fmla="*/ 3885725 h 6557032"/>
              <a:gd name="connsiteX43798" fmla="*/ 2662197 w 4610101"/>
              <a:gd name="connsiteY43798" fmla="*/ 3847459 h 6557032"/>
              <a:gd name="connsiteX43799" fmla="*/ 2640330 w 4610101"/>
              <a:gd name="connsiteY43799" fmla="*/ 3847459 h 6557032"/>
              <a:gd name="connsiteX43800" fmla="*/ 2662197 w 4610101"/>
              <a:gd name="connsiteY43800" fmla="*/ 3823771 h 6557032"/>
              <a:gd name="connsiteX43801" fmla="*/ 2678596 w 4610101"/>
              <a:gd name="connsiteY43801" fmla="*/ 3811016 h 6557032"/>
              <a:gd name="connsiteX43802" fmla="*/ 2678596 w 4610101"/>
              <a:gd name="connsiteY43802" fmla="*/ 3787328 h 6557032"/>
              <a:gd name="connsiteX43803" fmla="*/ 2656730 w 4610101"/>
              <a:gd name="connsiteY43803" fmla="*/ 3792794 h 6557032"/>
              <a:gd name="connsiteX43804" fmla="*/ 2640330 w 4610101"/>
              <a:gd name="connsiteY43804" fmla="*/ 3789150 h 6557032"/>
              <a:gd name="connsiteX43805" fmla="*/ 2647619 w 4610101"/>
              <a:gd name="connsiteY43805" fmla="*/ 3743595 h 6557032"/>
              <a:gd name="connsiteX43806" fmla="*/ 2684063 w 4610101"/>
              <a:gd name="connsiteY43806" fmla="*/ 3758173 h 6557032"/>
              <a:gd name="connsiteX43807" fmla="*/ 2691351 w 4610101"/>
              <a:gd name="connsiteY43807" fmla="*/ 3743595 h 6557032"/>
              <a:gd name="connsiteX43808" fmla="*/ 2713217 w 4610101"/>
              <a:gd name="connsiteY43808" fmla="*/ 3734484 h 6557032"/>
              <a:gd name="connsiteX43809" fmla="*/ 2707751 w 4610101"/>
              <a:gd name="connsiteY43809" fmla="*/ 3767284 h 6557032"/>
              <a:gd name="connsiteX43810" fmla="*/ 2744194 w 4610101"/>
              <a:gd name="connsiteY43810" fmla="*/ 3772750 h 6557032"/>
              <a:gd name="connsiteX43811" fmla="*/ 2744194 w 4610101"/>
              <a:gd name="connsiteY43811" fmla="*/ 3759995 h 6557032"/>
              <a:gd name="connsiteX43812" fmla="*/ 2729617 w 4610101"/>
              <a:gd name="connsiteY43812" fmla="*/ 3759995 h 6557032"/>
              <a:gd name="connsiteX43813" fmla="*/ 2715040 w 4610101"/>
              <a:gd name="connsiteY43813" fmla="*/ 3721729 h 6557032"/>
              <a:gd name="connsiteX43814" fmla="*/ 2731439 w 4610101"/>
              <a:gd name="connsiteY43814" fmla="*/ 3696219 h 6557032"/>
              <a:gd name="connsiteX43815" fmla="*/ 2684063 w 4610101"/>
              <a:gd name="connsiteY43815" fmla="*/ 3648842 h 6557032"/>
              <a:gd name="connsiteX43816" fmla="*/ 2705929 w 4610101"/>
              <a:gd name="connsiteY43816" fmla="*/ 3639731 h 6557032"/>
              <a:gd name="connsiteX43817" fmla="*/ 2691351 w 4610101"/>
              <a:gd name="connsiteY43817" fmla="*/ 3634265 h 6557032"/>
              <a:gd name="connsiteX43818" fmla="*/ 2674952 w 4610101"/>
              <a:gd name="connsiteY43818" fmla="*/ 3612399 h 6557032"/>
              <a:gd name="connsiteX43819" fmla="*/ 2698640 w 4610101"/>
              <a:gd name="connsiteY43819" fmla="*/ 3595999 h 6557032"/>
              <a:gd name="connsiteX43820" fmla="*/ 2674952 w 4610101"/>
              <a:gd name="connsiteY43820" fmla="*/ 3568667 h 6557032"/>
              <a:gd name="connsiteX43821" fmla="*/ 2662197 w 4610101"/>
              <a:gd name="connsiteY43821" fmla="*/ 3575955 h 6557032"/>
              <a:gd name="connsiteX43822" fmla="*/ 2638508 w 4610101"/>
              <a:gd name="connsiteY43822" fmla="*/ 3546800 h 6557032"/>
              <a:gd name="connsiteX43823" fmla="*/ 2662197 w 4610101"/>
              <a:gd name="connsiteY43823" fmla="*/ 3523112 h 6557032"/>
              <a:gd name="connsiteX43824" fmla="*/ 2640330 w 4610101"/>
              <a:gd name="connsiteY43824" fmla="*/ 3523112 h 6557032"/>
              <a:gd name="connsiteX43825" fmla="*/ 2647619 w 4610101"/>
              <a:gd name="connsiteY43825" fmla="*/ 3537690 h 6557032"/>
              <a:gd name="connsiteX43826" fmla="*/ 2623931 w 4610101"/>
              <a:gd name="connsiteY43826" fmla="*/ 3537690 h 6557032"/>
              <a:gd name="connsiteX43827" fmla="*/ 2631219 w 4610101"/>
              <a:gd name="connsiteY43827" fmla="*/ 3523112 h 6557032"/>
              <a:gd name="connsiteX43828" fmla="*/ 2614820 w 4610101"/>
              <a:gd name="connsiteY43828" fmla="*/ 3515824 h 6557032"/>
              <a:gd name="connsiteX43829" fmla="*/ 2623931 w 4610101"/>
              <a:gd name="connsiteY43829" fmla="*/ 3537690 h 6557032"/>
              <a:gd name="connsiteX43830" fmla="*/ 2631219 w 4610101"/>
              <a:gd name="connsiteY43830" fmla="*/ 3552267 h 6557032"/>
              <a:gd name="connsiteX43831" fmla="*/ 2600243 w 4610101"/>
              <a:gd name="connsiteY43831" fmla="*/ 3575955 h 6557032"/>
              <a:gd name="connsiteX43832" fmla="*/ 2638508 w 4610101"/>
              <a:gd name="connsiteY43832" fmla="*/ 3561378 h 6557032"/>
              <a:gd name="connsiteX43833" fmla="*/ 2642153 w 4610101"/>
              <a:gd name="connsiteY43833" fmla="*/ 3577778 h 6557032"/>
              <a:gd name="connsiteX43834" fmla="*/ 2645797 w 4610101"/>
              <a:gd name="connsiteY43834" fmla="*/ 3599644 h 6557032"/>
              <a:gd name="connsiteX43835" fmla="*/ 2631219 w 4610101"/>
              <a:gd name="connsiteY43835" fmla="*/ 3606932 h 6557032"/>
              <a:gd name="connsiteX43836" fmla="*/ 2622109 w 4610101"/>
              <a:gd name="connsiteY43836" fmla="*/ 3590533 h 6557032"/>
              <a:gd name="connsiteX43837" fmla="*/ 2592954 w 4610101"/>
              <a:gd name="connsiteY43837" fmla="*/ 3614221 h 6557032"/>
              <a:gd name="connsiteX43838" fmla="*/ 2578377 w 4610101"/>
              <a:gd name="connsiteY43838" fmla="*/ 3614221 h 6557032"/>
              <a:gd name="connsiteX43839" fmla="*/ 2592954 w 4610101"/>
              <a:gd name="connsiteY43839" fmla="*/ 3599644 h 6557032"/>
              <a:gd name="connsiteX43840" fmla="*/ 2549222 w 4610101"/>
              <a:gd name="connsiteY43840" fmla="*/ 3563200 h 6557032"/>
              <a:gd name="connsiteX43841" fmla="*/ 2540111 w 4610101"/>
              <a:gd name="connsiteY43841" fmla="*/ 3585066 h 6557032"/>
              <a:gd name="connsiteX43842" fmla="*/ 2563799 w 4610101"/>
              <a:gd name="connsiteY43842" fmla="*/ 3594177 h 6557032"/>
              <a:gd name="connsiteX43843" fmla="*/ 2547400 w 4610101"/>
              <a:gd name="connsiteY43843" fmla="*/ 3605110 h 6557032"/>
              <a:gd name="connsiteX43844" fmla="*/ 2576554 w 4610101"/>
              <a:gd name="connsiteY43844" fmla="*/ 3614221 h 6557032"/>
              <a:gd name="connsiteX43845" fmla="*/ 2583843 w 4610101"/>
              <a:gd name="connsiteY43845" fmla="*/ 3628798 h 6557032"/>
              <a:gd name="connsiteX43846" fmla="*/ 2614820 w 4610101"/>
              <a:gd name="connsiteY43846" fmla="*/ 3623332 h 6557032"/>
              <a:gd name="connsiteX43847" fmla="*/ 2614820 w 4610101"/>
              <a:gd name="connsiteY43847" fmla="*/ 3608754 h 6557032"/>
              <a:gd name="connsiteX43848" fmla="*/ 2629397 w 4610101"/>
              <a:gd name="connsiteY43848" fmla="*/ 3608754 h 6557032"/>
              <a:gd name="connsiteX43849" fmla="*/ 2622109 w 4610101"/>
              <a:gd name="connsiteY43849" fmla="*/ 3623332 h 6557032"/>
              <a:gd name="connsiteX43850" fmla="*/ 2653086 w 4610101"/>
              <a:gd name="connsiteY43850" fmla="*/ 3654309 h 6557032"/>
              <a:gd name="connsiteX43851" fmla="*/ 2674952 w 4610101"/>
              <a:gd name="connsiteY43851" fmla="*/ 3654309 h 6557032"/>
              <a:gd name="connsiteX43852" fmla="*/ 2645797 w 4610101"/>
              <a:gd name="connsiteY43852" fmla="*/ 3685286 h 6557032"/>
              <a:gd name="connsiteX43853" fmla="*/ 2653086 w 4610101"/>
              <a:gd name="connsiteY43853" fmla="*/ 3698041 h 6557032"/>
              <a:gd name="connsiteX43854" fmla="*/ 2653086 w 4610101"/>
              <a:gd name="connsiteY43854" fmla="*/ 3714441 h 6557032"/>
              <a:gd name="connsiteX43855" fmla="*/ 2631219 w 4610101"/>
              <a:gd name="connsiteY43855" fmla="*/ 3729018 h 6557032"/>
              <a:gd name="connsiteX43856" fmla="*/ 2623931 w 4610101"/>
              <a:gd name="connsiteY43856" fmla="*/ 3714441 h 6557032"/>
              <a:gd name="connsiteX43857" fmla="*/ 2614820 w 4610101"/>
              <a:gd name="connsiteY43857" fmla="*/ 3714441 h 6557032"/>
              <a:gd name="connsiteX43858" fmla="*/ 2600243 w 4610101"/>
              <a:gd name="connsiteY43858" fmla="*/ 3685286 h 6557032"/>
              <a:gd name="connsiteX43859" fmla="*/ 2622109 w 4610101"/>
              <a:gd name="connsiteY43859" fmla="*/ 3668886 h 6557032"/>
              <a:gd name="connsiteX43860" fmla="*/ 2622109 w 4610101"/>
              <a:gd name="connsiteY43860" fmla="*/ 3647020 h 6557032"/>
              <a:gd name="connsiteX43861" fmla="*/ 2569266 w 4610101"/>
              <a:gd name="connsiteY43861" fmla="*/ 3647020 h 6557032"/>
              <a:gd name="connsiteX43862" fmla="*/ 2569266 w 4610101"/>
              <a:gd name="connsiteY43862" fmla="*/ 3654309 h 6557032"/>
              <a:gd name="connsiteX43863" fmla="*/ 2592954 w 4610101"/>
              <a:gd name="connsiteY43863" fmla="*/ 3654309 h 6557032"/>
              <a:gd name="connsiteX43864" fmla="*/ 2576554 w 4610101"/>
              <a:gd name="connsiteY43864" fmla="*/ 3677997 h 6557032"/>
              <a:gd name="connsiteX43865" fmla="*/ 2554688 w 4610101"/>
              <a:gd name="connsiteY43865" fmla="*/ 3661597 h 6557032"/>
              <a:gd name="connsiteX43866" fmla="*/ 2561977 w 4610101"/>
              <a:gd name="connsiteY43866" fmla="*/ 3647020 h 6557032"/>
              <a:gd name="connsiteX43867" fmla="*/ 2531000 w 4610101"/>
              <a:gd name="connsiteY43867" fmla="*/ 3661597 h 6557032"/>
              <a:gd name="connsiteX43868" fmla="*/ 2516423 w 4610101"/>
              <a:gd name="connsiteY43868" fmla="*/ 3654309 h 6557032"/>
              <a:gd name="connsiteX43869" fmla="*/ 2509134 w 4610101"/>
              <a:gd name="connsiteY43869" fmla="*/ 3617865 h 6557032"/>
              <a:gd name="connsiteX43870" fmla="*/ 2500023 w 4610101"/>
              <a:gd name="connsiteY43870" fmla="*/ 3632443 h 6557032"/>
              <a:gd name="connsiteX43871" fmla="*/ 2509134 w 4610101"/>
              <a:gd name="connsiteY43871" fmla="*/ 3648842 h 6557032"/>
              <a:gd name="connsiteX43872" fmla="*/ 2500023 w 4610101"/>
              <a:gd name="connsiteY43872" fmla="*/ 3654309 h 6557032"/>
              <a:gd name="connsiteX43873" fmla="*/ 2485446 w 4610101"/>
              <a:gd name="connsiteY43873" fmla="*/ 3632443 h 6557032"/>
              <a:gd name="connsiteX43874" fmla="*/ 2447180 w 4610101"/>
              <a:gd name="connsiteY43874" fmla="*/ 3647020 h 6557032"/>
              <a:gd name="connsiteX43875" fmla="*/ 2447180 w 4610101"/>
              <a:gd name="connsiteY43875" fmla="*/ 3632443 h 6557032"/>
              <a:gd name="connsiteX43876" fmla="*/ 2441713 w 4610101"/>
              <a:gd name="connsiteY43876" fmla="*/ 3632443 h 6557032"/>
              <a:gd name="connsiteX43877" fmla="*/ 2432603 w 4610101"/>
              <a:gd name="connsiteY43877" fmla="*/ 3632443 h 6557032"/>
              <a:gd name="connsiteX43878" fmla="*/ 2435990 w 4610101"/>
              <a:gd name="connsiteY43878" fmla="*/ 3626006 h 6557032"/>
              <a:gd name="connsiteX43879" fmla="*/ 2428823 w 4610101"/>
              <a:gd name="connsiteY43879" fmla="*/ 3617942 h 6557032"/>
              <a:gd name="connsiteX43880" fmla="*/ 2412559 w 4610101"/>
              <a:gd name="connsiteY43880" fmla="*/ 3626976 h 6557032"/>
              <a:gd name="connsiteX43881" fmla="*/ 2452647 w 4610101"/>
              <a:gd name="connsiteY43881" fmla="*/ 3670709 h 6557032"/>
              <a:gd name="connsiteX43882" fmla="*/ 2443536 w 4610101"/>
              <a:gd name="connsiteY43882" fmla="*/ 3692575 h 6557032"/>
              <a:gd name="connsiteX43883" fmla="*/ 2465402 w 4610101"/>
              <a:gd name="connsiteY43883" fmla="*/ 3692575 h 6557032"/>
              <a:gd name="connsiteX43884" fmla="*/ 2452647 w 4610101"/>
              <a:gd name="connsiteY43884" fmla="*/ 3701686 h 6557032"/>
              <a:gd name="connsiteX43885" fmla="*/ 2449003 w 4610101"/>
              <a:gd name="connsiteY43885" fmla="*/ 3716264 h 6557032"/>
              <a:gd name="connsiteX43886" fmla="*/ 2427137 w 4610101"/>
              <a:gd name="connsiteY43886" fmla="*/ 3699864 h 6557032"/>
              <a:gd name="connsiteX43887" fmla="*/ 2405271 w 4610101"/>
              <a:gd name="connsiteY43887" fmla="*/ 3714442 h 6557032"/>
              <a:gd name="connsiteX43888" fmla="*/ 2405271 w 4610101"/>
              <a:gd name="connsiteY43888" fmla="*/ 3699864 h 6557032"/>
              <a:gd name="connsiteX43889" fmla="*/ 2383405 w 4610101"/>
              <a:gd name="connsiteY43889" fmla="*/ 3701686 h 6557032"/>
              <a:gd name="connsiteX43890" fmla="*/ 2367005 w 4610101"/>
              <a:gd name="connsiteY43890" fmla="*/ 3714442 h 6557032"/>
              <a:gd name="connsiteX43891" fmla="*/ 2367005 w 4610101"/>
              <a:gd name="connsiteY43891" fmla="*/ 3745419 h 6557032"/>
              <a:gd name="connsiteX43892" fmla="*/ 2350605 w 4610101"/>
              <a:gd name="connsiteY43892" fmla="*/ 3745419 h 6557032"/>
              <a:gd name="connsiteX43893" fmla="*/ 2357894 w 4610101"/>
              <a:gd name="connsiteY43893" fmla="*/ 3758174 h 6557032"/>
              <a:gd name="connsiteX43894" fmla="*/ 2328739 w 4610101"/>
              <a:gd name="connsiteY43894" fmla="*/ 3765462 h 6557032"/>
              <a:gd name="connsiteX43895" fmla="*/ 2297761 w 4610101"/>
              <a:gd name="connsiteY43895" fmla="*/ 3729019 h 6557032"/>
              <a:gd name="connsiteX43896" fmla="*/ 2275895 w 4610101"/>
              <a:gd name="connsiteY43896" fmla="*/ 3729019 h 6557032"/>
              <a:gd name="connsiteX43897" fmla="*/ 2306872 w 4610101"/>
              <a:gd name="connsiteY43897" fmla="*/ 3721730 h 6557032"/>
              <a:gd name="connsiteX43898" fmla="*/ 2337850 w 4610101"/>
              <a:gd name="connsiteY43898" fmla="*/ 3690753 h 6557032"/>
              <a:gd name="connsiteX43899" fmla="*/ 2345139 w 4610101"/>
              <a:gd name="connsiteY43899" fmla="*/ 3690753 h 6557032"/>
              <a:gd name="connsiteX43900" fmla="*/ 2367005 w 4610101"/>
              <a:gd name="connsiteY43900" fmla="*/ 3698042 h 6557032"/>
              <a:gd name="connsiteX43901" fmla="*/ 2381582 w 4610101"/>
              <a:gd name="connsiteY43901" fmla="*/ 3668887 h 6557032"/>
              <a:gd name="connsiteX43902" fmla="*/ 2367005 w 4610101"/>
              <a:gd name="connsiteY43902" fmla="*/ 3630621 h 6557032"/>
              <a:gd name="connsiteX43903" fmla="*/ 2388871 w 4610101"/>
              <a:gd name="connsiteY43903" fmla="*/ 3628798 h 6557032"/>
              <a:gd name="connsiteX43904" fmla="*/ 2405271 w 4610101"/>
              <a:gd name="connsiteY43904" fmla="*/ 3616043 h 6557032"/>
              <a:gd name="connsiteX43905" fmla="*/ 2407093 w 4610101"/>
              <a:gd name="connsiteY43905" fmla="*/ 3594177 h 6557032"/>
              <a:gd name="connsiteX43906" fmla="*/ 2427236 w 4610101"/>
              <a:gd name="connsiteY43906" fmla="*/ 3615999 h 6557032"/>
              <a:gd name="connsiteX43907" fmla="*/ 2443535 w 4610101"/>
              <a:gd name="connsiteY43907" fmla="*/ 3608754 h 6557032"/>
              <a:gd name="connsiteX43908" fmla="*/ 2442733 w 4610101"/>
              <a:gd name="connsiteY43908" fmla="*/ 3619183 h 6557032"/>
              <a:gd name="connsiteX43909" fmla="*/ 2443622 w 4610101"/>
              <a:gd name="connsiteY43909" fmla="*/ 3619631 h 6557032"/>
              <a:gd name="connsiteX43910" fmla="*/ 2454469 w 4610101"/>
              <a:gd name="connsiteY43910" fmla="*/ 3625154 h 6557032"/>
              <a:gd name="connsiteX43911" fmla="*/ 2454469 w 4610101"/>
              <a:gd name="connsiteY43911" fmla="*/ 3601466 h 6557032"/>
              <a:gd name="connsiteX43912" fmla="*/ 2425314 w 4610101"/>
              <a:gd name="connsiteY43912" fmla="*/ 3608754 h 6557032"/>
              <a:gd name="connsiteX43913" fmla="*/ 2416203 w 4610101"/>
              <a:gd name="connsiteY43913" fmla="*/ 3603288 h 6557032"/>
              <a:gd name="connsiteX43914" fmla="*/ 2423492 w 4610101"/>
              <a:gd name="connsiteY43914" fmla="*/ 3588710 h 6557032"/>
              <a:gd name="connsiteX43915" fmla="*/ 2447180 w 4610101"/>
              <a:gd name="connsiteY43915" fmla="*/ 3586888 h 6557032"/>
              <a:gd name="connsiteX43916" fmla="*/ 2423492 w 4610101"/>
              <a:gd name="connsiteY43916" fmla="*/ 3565022 h 6557032"/>
              <a:gd name="connsiteX43917" fmla="*/ 2421669 w 4610101"/>
              <a:gd name="connsiteY43917" fmla="*/ 3541334 h 6557032"/>
              <a:gd name="connsiteX43918" fmla="*/ 2399803 w 4610101"/>
              <a:gd name="connsiteY43918" fmla="*/ 3566844 h 6557032"/>
              <a:gd name="connsiteX43919" fmla="*/ 2385226 w 4610101"/>
              <a:gd name="connsiteY43919" fmla="*/ 3550445 h 6557032"/>
              <a:gd name="connsiteX43920" fmla="*/ 2372471 w 4610101"/>
              <a:gd name="connsiteY43920" fmla="*/ 3557734 h 6557032"/>
              <a:gd name="connsiteX43921" fmla="*/ 2357005 w 4610101"/>
              <a:gd name="connsiteY43921" fmla="*/ 3537113 h 6557032"/>
              <a:gd name="connsiteX43922" fmla="*/ 2356413 w 4610101"/>
              <a:gd name="connsiteY43922" fmla="*/ 3539770 h 6557032"/>
              <a:gd name="connsiteX43923" fmla="*/ 2345139 w 4610101"/>
              <a:gd name="connsiteY43923" fmla="*/ 3555913 h 6557032"/>
              <a:gd name="connsiteX43924" fmla="*/ 2341494 w 4610101"/>
              <a:gd name="connsiteY43924" fmla="*/ 3541108 h 6557032"/>
              <a:gd name="connsiteX43925" fmla="*/ 2341494 w 4610101"/>
              <a:gd name="connsiteY43925" fmla="*/ 3535979 h 6557032"/>
              <a:gd name="connsiteX43926" fmla="*/ 2337850 w 4610101"/>
              <a:gd name="connsiteY43926" fmla="*/ 3524936 h 6557032"/>
              <a:gd name="connsiteX43927" fmla="*/ 2341494 w 4610101"/>
              <a:gd name="connsiteY43927" fmla="*/ 3523113 h 6557032"/>
              <a:gd name="connsiteX43928" fmla="*/ 2341494 w 4610101"/>
              <a:gd name="connsiteY43928" fmla="*/ 3514001 h 6557032"/>
              <a:gd name="connsiteX43929" fmla="*/ 2326916 w 4610101"/>
              <a:gd name="connsiteY43929" fmla="*/ 3514001 h 6557032"/>
              <a:gd name="connsiteX43930" fmla="*/ 2334205 w 4610101"/>
              <a:gd name="connsiteY43930" fmla="*/ 3499424 h 6557032"/>
              <a:gd name="connsiteX43931" fmla="*/ 2312339 w 4610101"/>
              <a:gd name="connsiteY43931" fmla="*/ 3499424 h 6557032"/>
              <a:gd name="connsiteX43932" fmla="*/ 2312339 w 4610101"/>
              <a:gd name="connsiteY43932" fmla="*/ 3514001 h 6557032"/>
              <a:gd name="connsiteX43933" fmla="*/ 2274074 w 4610101"/>
              <a:gd name="connsiteY43933" fmla="*/ 3506713 h 6557032"/>
              <a:gd name="connsiteX43934" fmla="*/ 2278971 w 4610101"/>
              <a:gd name="connsiteY43934" fmla="*/ 3516023 h 6557032"/>
              <a:gd name="connsiteX43935" fmla="*/ 2280013 w 4610101"/>
              <a:gd name="connsiteY43935" fmla="*/ 3517646 h 6557032"/>
              <a:gd name="connsiteX43936" fmla="*/ 2263140 w 4610101"/>
              <a:gd name="connsiteY43936" fmla="*/ 3517646 h 6557032"/>
              <a:gd name="connsiteX43937" fmla="*/ 2285007 w 4610101"/>
              <a:gd name="connsiteY43937" fmla="*/ 3488491 h 6557032"/>
              <a:gd name="connsiteX43938" fmla="*/ 2270429 w 4610101"/>
              <a:gd name="connsiteY43938" fmla="*/ 3479380 h 6557032"/>
              <a:gd name="connsiteX43939" fmla="*/ 2263140 w 4610101"/>
              <a:gd name="connsiteY43939" fmla="*/ 3503068 h 6557032"/>
              <a:gd name="connsiteX43940" fmla="*/ 2232163 w 4610101"/>
              <a:gd name="connsiteY43940" fmla="*/ 3503068 h 6557032"/>
              <a:gd name="connsiteX43941" fmla="*/ 2243096 w 4610101"/>
              <a:gd name="connsiteY43941" fmla="*/ 3512179 h 6557032"/>
              <a:gd name="connsiteX43942" fmla="*/ 2246741 w 4610101"/>
              <a:gd name="connsiteY43942" fmla="*/ 3526757 h 6557032"/>
              <a:gd name="connsiteX43943" fmla="*/ 2261318 w 4610101"/>
              <a:gd name="connsiteY43943" fmla="*/ 3519468 h 6557032"/>
              <a:gd name="connsiteX43944" fmla="*/ 2263140 w 4610101"/>
              <a:gd name="connsiteY43944" fmla="*/ 3543156 h 6557032"/>
              <a:gd name="connsiteX43945" fmla="*/ 2276123 w 4610101"/>
              <a:gd name="connsiteY43945" fmla="*/ 3528011 h 6557032"/>
              <a:gd name="connsiteX43946" fmla="*/ 2275896 w 4610101"/>
              <a:gd name="connsiteY43946" fmla="*/ 3528579 h 6557032"/>
              <a:gd name="connsiteX43947" fmla="*/ 2305050 w 4610101"/>
              <a:gd name="connsiteY43947" fmla="*/ 3559556 h 6557032"/>
              <a:gd name="connsiteX43948" fmla="*/ 2283184 w 4610101"/>
              <a:gd name="connsiteY43948" fmla="*/ 3559556 h 6557032"/>
              <a:gd name="connsiteX43949" fmla="*/ 2259496 w 4610101"/>
              <a:gd name="connsiteY43949" fmla="*/ 3588710 h 6557032"/>
              <a:gd name="connsiteX43950" fmla="*/ 2230341 w 4610101"/>
              <a:gd name="connsiteY43950" fmla="*/ 3597821 h 6557032"/>
              <a:gd name="connsiteX43951" fmla="*/ 2223053 w 4610101"/>
              <a:gd name="connsiteY43951" fmla="*/ 3583244 h 6557032"/>
              <a:gd name="connsiteX43952" fmla="*/ 2261318 w 4610101"/>
              <a:gd name="connsiteY43952" fmla="*/ 3568667 h 6557032"/>
              <a:gd name="connsiteX43953" fmla="*/ 2223053 w 4610101"/>
              <a:gd name="connsiteY43953" fmla="*/ 3561378 h 6557032"/>
              <a:gd name="connsiteX43954" fmla="*/ 2223053 w 4610101"/>
              <a:gd name="connsiteY43954" fmla="*/ 3583244 h 6557032"/>
              <a:gd name="connsiteX43955" fmla="*/ 2208475 w 4610101"/>
              <a:gd name="connsiteY43955" fmla="*/ 3575955 h 6557032"/>
              <a:gd name="connsiteX43956" fmla="*/ 2193898 w 4610101"/>
              <a:gd name="connsiteY43956" fmla="*/ 3590533 h 6557032"/>
              <a:gd name="connsiteX43957" fmla="*/ 2162921 w 4610101"/>
              <a:gd name="connsiteY43957" fmla="*/ 3574133 h 6557032"/>
              <a:gd name="connsiteX43958" fmla="*/ 2175393 w 4610101"/>
              <a:gd name="connsiteY43958" fmla="*/ 3563443 h 6557032"/>
              <a:gd name="connsiteX43959" fmla="*/ 2155633 w 4610101"/>
              <a:gd name="connsiteY43959" fmla="*/ 3548623 h 6557032"/>
              <a:gd name="connsiteX43960" fmla="*/ 2155633 w 4610101"/>
              <a:gd name="connsiteY43960" fmla="*/ 3526756 h 6557032"/>
              <a:gd name="connsiteX43961" fmla="*/ 2165421 w 4610101"/>
              <a:gd name="connsiteY43961" fmla="*/ 3532658 h 6557032"/>
              <a:gd name="connsiteX43962" fmla="*/ 2163775 w 4610101"/>
              <a:gd name="connsiteY43962" fmla="*/ 3525419 h 6557032"/>
              <a:gd name="connsiteX43963" fmla="*/ 2158878 w 4610101"/>
              <a:gd name="connsiteY43963" fmla="*/ 3515909 h 6557032"/>
              <a:gd name="connsiteX43964" fmla="*/ 2154719 w 4610101"/>
              <a:gd name="connsiteY43964" fmla="*/ 3510357 h 6557032"/>
              <a:gd name="connsiteX43965" fmla="*/ 2155632 w 4610101"/>
              <a:gd name="connsiteY43965" fmla="*/ 3510357 h 6557032"/>
              <a:gd name="connsiteX43966" fmla="*/ 2155632 w 4610101"/>
              <a:gd name="connsiteY43966" fmla="*/ 3506433 h 6557032"/>
              <a:gd name="connsiteX43967" fmla="*/ 2175676 w 4610101"/>
              <a:gd name="connsiteY43967" fmla="*/ 3504891 h 6557032"/>
              <a:gd name="connsiteX43968" fmla="*/ 2159277 w 4610101"/>
              <a:gd name="connsiteY43968" fmla="*/ 3492135 h 6557032"/>
              <a:gd name="connsiteX43969" fmla="*/ 2155632 w 4610101"/>
              <a:gd name="connsiteY43969" fmla="*/ 3499425 h 6557032"/>
              <a:gd name="connsiteX43970" fmla="*/ 2155632 w 4610101"/>
              <a:gd name="connsiteY43970" fmla="*/ 3495780 h 6557032"/>
              <a:gd name="connsiteX43971" fmla="*/ 2199364 w 4610101"/>
              <a:gd name="connsiteY43971" fmla="*/ 3448403 h 6557032"/>
              <a:gd name="connsiteX43972" fmla="*/ 2170210 w 4610101"/>
              <a:gd name="connsiteY43972" fmla="*/ 3457514 h 6557032"/>
              <a:gd name="connsiteX43973" fmla="*/ 2139233 w 4610101"/>
              <a:gd name="connsiteY43973" fmla="*/ 3459336 h 6557032"/>
              <a:gd name="connsiteX43974" fmla="*/ 2155632 w 4610101"/>
              <a:gd name="connsiteY43974" fmla="*/ 3481202 h 6557032"/>
              <a:gd name="connsiteX43975" fmla="*/ 2155632 w 4610101"/>
              <a:gd name="connsiteY43975" fmla="*/ 3495780 h 6557032"/>
              <a:gd name="connsiteX43976" fmla="*/ 2128300 w 4610101"/>
              <a:gd name="connsiteY43976" fmla="*/ 3472091 h 6557032"/>
              <a:gd name="connsiteX43977" fmla="*/ 2135588 w 4610101"/>
              <a:gd name="connsiteY43977" fmla="*/ 3457514 h 6557032"/>
              <a:gd name="connsiteX43978" fmla="*/ 2113722 w 4610101"/>
              <a:gd name="connsiteY43978" fmla="*/ 3457514 h 6557032"/>
              <a:gd name="connsiteX43979" fmla="*/ 2119189 w 4610101"/>
              <a:gd name="connsiteY43979" fmla="*/ 3488491 h 6557032"/>
              <a:gd name="connsiteX43980" fmla="*/ 2141055 w 4610101"/>
              <a:gd name="connsiteY43980" fmla="*/ 3510357 h 6557032"/>
              <a:gd name="connsiteX43981" fmla="*/ 2145914 w 4610101"/>
              <a:gd name="connsiteY43981" fmla="*/ 3510357 h 6557032"/>
              <a:gd name="connsiteX43982" fmla="*/ 2142877 w 4610101"/>
              <a:gd name="connsiteY43982" fmla="*/ 3512179 h 6557032"/>
              <a:gd name="connsiteX43983" fmla="*/ 2137410 w 4610101"/>
              <a:gd name="connsiteY43983" fmla="*/ 3521290 h 6557032"/>
              <a:gd name="connsiteX43984" fmla="*/ 2122273 w 4610101"/>
              <a:gd name="connsiteY43984" fmla="*/ 3514562 h 6557032"/>
              <a:gd name="connsiteX43985" fmla="*/ 2133766 w 4610101"/>
              <a:gd name="connsiteY43985" fmla="*/ 3503068 h 6557032"/>
              <a:gd name="connsiteX43986" fmla="*/ 2119189 w 4610101"/>
              <a:gd name="connsiteY43986" fmla="*/ 3503068 h 6557032"/>
              <a:gd name="connsiteX43987" fmla="*/ 2119189 w 4610101"/>
              <a:gd name="connsiteY43987" fmla="*/ 3517646 h 6557032"/>
              <a:gd name="connsiteX43988" fmla="*/ 2121315 w 4610101"/>
              <a:gd name="connsiteY43988" fmla="*/ 3515520 h 6557032"/>
              <a:gd name="connsiteX43989" fmla="*/ 2130122 w 4610101"/>
              <a:gd name="connsiteY43989" fmla="*/ 3559556 h 6557032"/>
              <a:gd name="connsiteX43990" fmla="*/ 2099145 w 4610101"/>
              <a:gd name="connsiteY43990" fmla="*/ 3544978 h 6557032"/>
              <a:gd name="connsiteX43991" fmla="*/ 2097323 w 4610101"/>
              <a:gd name="connsiteY43991" fmla="*/ 3561378 h 6557032"/>
              <a:gd name="connsiteX43992" fmla="*/ 2060879 w 4610101"/>
              <a:gd name="connsiteY43992" fmla="*/ 3530401 h 6557032"/>
              <a:gd name="connsiteX43993" fmla="*/ 2060879 w 4610101"/>
              <a:gd name="connsiteY43993" fmla="*/ 3506713 h 6557032"/>
              <a:gd name="connsiteX43994" fmla="*/ 2031724 w 4610101"/>
              <a:gd name="connsiteY43994" fmla="*/ 3515824 h 6557032"/>
              <a:gd name="connsiteX43995" fmla="*/ 2031724 w 4610101"/>
              <a:gd name="connsiteY43995" fmla="*/ 3493957 h 6557032"/>
              <a:gd name="connsiteX43996" fmla="*/ 1993459 w 4610101"/>
              <a:gd name="connsiteY43996" fmla="*/ 3508535 h 6557032"/>
              <a:gd name="connsiteX43997" fmla="*/ 1977059 w 4610101"/>
              <a:gd name="connsiteY43997" fmla="*/ 3499424 h 6557032"/>
              <a:gd name="connsiteX43998" fmla="*/ 1957015 w 4610101"/>
              <a:gd name="connsiteY43998" fmla="*/ 3514001 h 6557032"/>
              <a:gd name="connsiteX43999" fmla="*/ 1947904 w 4610101"/>
              <a:gd name="connsiteY43999" fmla="*/ 3508535 h 6557032"/>
              <a:gd name="connsiteX44000" fmla="*/ 1955194 w 4610101"/>
              <a:gd name="connsiteY44000" fmla="*/ 3484847 h 6557032"/>
              <a:gd name="connsiteX44001" fmla="*/ 1977059 w 4610101"/>
              <a:gd name="connsiteY44001" fmla="*/ 3470269 h 6557032"/>
              <a:gd name="connsiteX44002" fmla="*/ 1953371 w 4610101"/>
              <a:gd name="connsiteY44002" fmla="*/ 3470269 h 6557032"/>
              <a:gd name="connsiteX44003" fmla="*/ 1960659 w 4610101"/>
              <a:gd name="connsiteY44003" fmla="*/ 3453870 h 6557032"/>
              <a:gd name="connsiteX44004" fmla="*/ 1933327 w 4610101"/>
              <a:gd name="connsiteY44004" fmla="*/ 3461158 h 6557032"/>
              <a:gd name="connsiteX44005" fmla="*/ 1918750 w 4610101"/>
              <a:gd name="connsiteY44005" fmla="*/ 3448403 h 6557032"/>
              <a:gd name="connsiteX44006" fmla="*/ 1907816 w 4610101"/>
              <a:gd name="connsiteY44006" fmla="*/ 3455692 h 6557032"/>
              <a:gd name="connsiteX44007" fmla="*/ 1931505 w 4610101"/>
              <a:gd name="connsiteY44007" fmla="*/ 3483024 h 6557032"/>
              <a:gd name="connsiteX44008" fmla="*/ 1902350 w 4610101"/>
              <a:gd name="connsiteY44008" fmla="*/ 3492135 h 6557032"/>
              <a:gd name="connsiteX44009" fmla="*/ 1887773 w 4610101"/>
              <a:gd name="connsiteY44009" fmla="*/ 3439292 h 6557032"/>
              <a:gd name="connsiteX44010" fmla="*/ 1847685 w 4610101"/>
              <a:gd name="connsiteY44010" fmla="*/ 3441115 h 6557032"/>
              <a:gd name="connsiteX44011" fmla="*/ 1887773 w 4610101"/>
              <a:gd name="connsiteY44011" fmla="*/ 3477558 h 6557032"/>
              <a:gd name="connsiteX44012" fmla="*/ 1887773 w 4610101"/>
              <a:gd name="connsiteY44012" fmla="*/ 3499424 h 6557032"/>
              <a:gd name="connsiteX44013" fmla="*/ 1865906 w 4610101"/>
              <a:gd name="connsiteY44013" fmla="*/ 3499424 h 6557032"/>
              <a:gd name="connsiteX44014" fmla="*/ 1844040 w 4610101"/>
              <a:gd name="connsiteY44014" fmla="*/ 3506713 h 6557032"/>
              <a:gd name="connsiteX44015" fmla="*/ 1836753 w 4610101"/>
              <a:gd name="connsiteY44015" fmla="*/ 3492135 h 6557032"/>
              <a:gd name="connsiteX44016" fmla="*/ 1814886 w 4610101"/>
              <a:gd name="connsiteY44016" fmla="*/ 3499424 h 6557032"/>
              <a:gd name="connsiteX44017" fmla="*/ 1845864 w 4610101"/>
              <a:gd name="connsiteY44017" fmla="*/ 3477558 h 6557032"/>
              <a:gd name="connsiteX44018" fmla="*/ 1831285 w 4610101"/>
              <a:gd name="connsiteY44018" fmla="*/ 3446581 h 6557032"/>
              <a:gd name="connsiteX44019" fmla="*/ 1831285 w 4610101"/>
              <a:gd name="connsiteY44019" fmla="*/ 3450225 h 6557032"/>
              <a:gd name="connsiteX44020" fmla="*/ 1822174 w 4610101"/>
              <a:gd name="connsiteY44020" fmla="*/ 3433826 h 6557032"/>
              <a:gd name="connsiteX44021" fmla="*/ 1807598 w 4610101"/>
              <a:gd name="connsiteY44021" fmla="*/ 3448403 h 6557032"/>
              <a:gd name="connsiteX44022" fmla="*/ 1831285 w 4610101"/>
              <a:gd name="connsiteY44022" fmla="*/ 3450225 h 6557032"/>
              <a:gd name="connsiteX44023" fmla="*/ 1831285 w 4610101"/>
              <a:gd name="connsiteY44023" fmla="*/ 3470269 h 6557032"/>
              <a:gd name="connsiteX44024" fmla="*/ 1802130 w 4610101"/>
              <a:gd name="connsiteY44024" fmla="*/ 3461158 h 6557032"/>
              <a:gd name="connsiteX44025" fmla="*/ 1763865 w 4610101"/>
              <a:gd name="connsiteY44025" fmla="*/ 3439292 h 6557032"/>
              <a:gd name="connsiteX44026" fmla="*/ 1727421 w 4610101"/>
              <a:gd name="connsiteY44026" fmla="*/ 3461158 h 6557032"/>
              <a:gd name="connsiteX44027" fmla="*/ 1720133 w 4610101"/>
              <a:gd name="connsiteY44027" fmla="*/ 3433826 h 6557032"/>
              <a:gd name="connsiteX44028" fmla="*/ 1732888 w 4610101"/>
              <a:gd name="connsiteY44028" fmla="*/ 3419248 h 6557032"/>
              <a:gd name="connsiteX44029" fmla="*/ 1725599 w 4610101"/>
              <a:gd name="connsiteY44029" fmla="*/ 3410137 h 6557032"/>
              <a:gd name="connsiteX44030" fmla="*/ 1703733 w 4610101"/>
              <a:gd name="connsiteY44030" fmla="*/ 3426537 h 6557032"/>
              <a:gd name="connsiteX44031" fmla="*/ 1711022 w 4610101"/>
              <a:gd name="connsiteY44031" fmla="*/ 3457514 h 6557032"/>
              <a:gd name="connsiteX44032" fmla="*/ 1681867 w 4610101"/>
              <a:gd name="connsiteY44032" fmla="*/ 3448403 h 6557032"/>
              <a:gd name="connsiteX44033" fmla="*/ 1680046 w 4610101"/>
              <a:gd name="connsiteY44033" fmla="*/ 3424715 h 6557032"/>
              <a:gd name="connsiteX44034" fmla="*/ 1658179 w 4610101"/>
              <a:gd name="connsiteY44034" fmla="*/ 3442937 h 6557032"/>
              <a:gd name="connsiteX44035" fmla="*/ 1636313 w 4610101"/>
              <a:gd name="connsiteY44035" fmla="*/ 3433826 h 6557032"/>
              <a:gd name="connsiteX44036" fmla="*/ 1636313 w 4610101"/>
              <a:gd name="connsiteY44036" fmla="*/ 3455692 h 6557032"/>
              <a:gd name="connsiteX44037" fmla="*/ 1621735 w 4610101"/>
              <a:gd name="connsiteY44037" fmla="*/ 3430181 h 6557032"/>
              <a:gd name="connsiteX44038" fmla="*/ 1607158 w 4610101"/>
              <a:gd name="connsiteY44038" fmla="*/ 3426537 h 6557032"/>
              <a:gd name="connsiteX44039" fmla="*/ 1601691 w 4610101"/>
              <a:gd name="connsiteY44039" fmla="*/ 3421071 h 6557032"/>
              <a:gd name="connsiteX44040" fmla="*/ 1605336 w 4610101"/>
              <a:gd name="connsiteY44040" fmla="*/ 3413782 h 6557032"/>
              <a:gd name="connsiteX44041" fmla="*/ 1583470 w 4610101"/>
              <a:gd name="connsiteY44041" fmla="*/ 3390094 h 6557032"/>
              <a:gd name="connsiteX44042" fmla="*/ 1614447 w 4610101"/>
              <a:gd name="connsiteY44042" fmla="*/ 3375516 h 6557032"/>
              <a:gd name="connsiteX44043" fmla="*/ 1576181 w 4610101"/>
              <a:gd name="connsiteY44043" fmla="*/ 3353650 h 6557032"/>
              <a:gd name="connsiteX44044" fmla="*/ 1583470 w 4610101"/>
              <a:gd name="connsiteY44044" fmla="*/ 3368228 h 6557032"/>
              <a:gd name="connsiteX44045" fmla="*/ 1568892 w 4610101"/>
              <a:gd name="connsiteY44045" fmla="*/ 3406493 h 6557032"/>
              <a:gd name="connsiteX44046" fmla="*/ 1561603 w 4610101"/>
              <a:gd name="connsiteY44046" fmla="*/ 3399205 h 6557032"/>
              <a:gd name="connsiteX44047" fmla="*/ 1547026 w 4610101"/>
              <a:gd name="connsiteY44047" fmla="*/ 3399205 h 6557032"/>
              <a:gd name="connsiteX44048" fmla="*/ 1545204 w 4610101"/>
              <a:gd name="connsiteY44048" fmla="*/ 3384627 h 6557032"/>
              <a:gd name="connsiteX44049" fmla="*/ 1532450 w 4610101"/>
              <a:gd name="connsiteY44049" fmla="*/ 3375516 h 6557032"/>
              <a:gd name="connsiteX44050" fmla="*/ 1532450 w 4610101"/>
              <a:gd name="connsiteY44050" fmla="*/ 3408315 h 6557032"/>
              <a:gd name="connsiteX44051" fmla="*/ 1510583 w 4610101"/>
              <a:gd name="connsiteY44051" fmla="*/ 3408315 h 6557032"/>
              <a:gd name="connsiteX44052" fmla="*/ 1510583 w 4610101"/>
              <a:gd name="connsiteY44052" fmla="*/ 3386449 h 6557032"/>
              <a:gd name="connsiteX44053" fmla="*/ 1488716 w 4610101"/>
              <a:gd name="connsiteY44053" fmla="*/ 3408315 h 6557032"/>
              <a:gd name="connsiteX44054" fmla="*/ 1479606 w 4610101"/>
              <a:gd name="connsiteY44054" fmla="*/ 3386449 h 6557032"/>
              <a:gd name="connsiteX44055" fmla="*/ 1465028 w 4610101"/>
              <a:gd name="connsiteY44055" fmla="*/ 3393738 h 6557032"/>
              <a:gd name="connsiteX44056" fmla="*/ 1455917 w 4610101"/>
              <a:gd name="connsiteY44056" fmla="*/ 3379160 h 6557032"/>
              <a:gd name="connsiteX44057" fmla="*/ 1443162 w 4610101"/>
              <a:gd name="connsiteY44057" fmla="*/ 3386449 h 6557032"/>
              <a:gd name="connsiteX44058" fmla="*/ 1426763 w 4610101"/>
              <a:gd name="connsiteY44058" fmla="*/ 3364583 h 6557032"/>
              <a:gd name="connsiteX44059" fmla="*/ 1430407 w 4610101"/>
              <a:gd name="connsiteY44059" fmla="*/ 3362761 h 6557032"/>
              <a:gd name="connsiteX44060" fmla="*/ 1434051 w 4610101"/>
              <a:gd name="connsiteY44060" fmla="*/ 3360939 h 6557032"/>
              <a:gd name="connsiteX44061" fmla="*/ 1468673 w 4610101"/>
              <a:gd name="connsiteY44061" fmla="*/ 3364583 h 6557032"/>
              <a:gd name="connsiteX44062" fmla="*/ 1483250 w 4610101"/>
              <a:gd name="connsiteY44062" fmla="*/ 3371872 h 6557032"/>
              <a:gd name="connsiteX44063" fmla="*/ 1485072 w 4610101"/>
              <a:gd name="connsiteY44063" fmla="*/ 3368228 h 6557032"/>
              <a:gd name="connsiteX44064" fmla="*/ 1483250 w 4610101"/>
              <a:gd name="connsiteY44064" fmla="*/ 3364583 h 6557032"/>
              <a:gd name="connsiteX44065" fmla="*/ 1488716 w 4610101"/>
              <a:gd name="connsiteY44065" fmla="*/ 3362761 h 6557032"/>
              <a:gd name="connsiteX44066" fmla="*/ 1485072 w 4610101"/>
              <a:gd name="connsiteY44066" fmla="*/ 3357294 h 6557032"/>
              <a:gd name="connsiteX44067" fmla="*/ 1475961 w 4610101"/>
              <a:gd name="connsiteY44067" fmla="*/ 3357294 h 6557032"/>
              <a:gd name="connsiteX44068" fmla="*/ 1472317 w 4610101"/>
              <a:gd name="connsiteY44068" fmla="*/ 3355472 h 6557032"/>
              <a:gd name="connsiteX44069" fmla="*/ 1472317 w 4610101"/>
              <a:gd name="connsiteY44069" fmla="*/ 3351828 h 6557032"/>
              <a:gd name="connsiteX44070" fmla="*/ 1466850 w 4610101"/>
              <a:gd name="connsiteY44070" fmla="*/ 3351828 h 6557032"/>
              <a:gd name="connsiteX44071" fmla="*/ 1505117 w 4610101"/>
              <a:gd name="connsiteY44071" fmla="*/ 3342717 h 6557032"/>
              <a:gd name="connsiteX44072" fmla="*/ 1508760 w 4610101"/>
              <a:gd name="connsiteY44072" fmla="*/ 3344539 h 6557032"/>
              <a:gd name="connsiteX44073" fmla="*/ 1534271 w 4610101"/>
              <a:gd name="connsiteY44073" fmla="*/ 3335428 h 6557032"/>
              <a:gd name="connsiteX44074" fmla="*/ 1552492 w 4610101"/>
              <a:gd name="connsiteY44074" fmla="*/ 3326318 h 6557032"/>
              <a:gd name="connsiteX44075" fmla="*/ 1557959 w 4610101"/>
              <a:gd name="connsiteY44075" fmla="*/ 3326318 h 6557032"/>
              <a:gd name="connsiteX44076" fmla="*/ 1557959 w 4610101"/>
              <a:gd name="connsiteY44076" fmla="*/ 3322673 h 6557032"/>
              <a:gd name="connsiteX44077" fmla="*/ 1581647 w 4610101"/>
              <a:gd name="connsiteY44077" fmla="*/ 3306274 h 6557032"/>
              <a:gd name="connsiteX44078" fmla="*/ 1594403 w 4610101"/>
              <a:gd name="connsiteY44078" fmla="*/ 3300807 h 6557032"/>
              <a:gd name="connsiteX44079" fmla="*/ 1630846 w 4610101"/>
              <a:gd name="connsiteY44079" fmla="*/ 3278941 h 6557032"/>
              <a:gd name="connsiteX44080" fmla="*/ 1630846 w 4610101"/>
              <a:gd name="connsiteY44080" fmla="*/ 3275297 h 6557032"/>
              <a:gd name="connsiteX44081" fmla="*/ 1672756 w 4610101"/>
              <a:gd name="connsiteY44081" fmla="*/ 3249786 h 6557032"/>
              <a:gd name="connsiteX44082" fmla="*/ 1678223 w 4610101"/>
              <a:gd name="connsiteY44082" fmla="*/ 3278941 h 6557032"/>
              <a:gd name="connsiteX44083" fmla="*/ 1692800 w 4610101"/>
              <a:gd name="connsiteY44083" fmla="*/ 3255254 h 6557032"/>
              <a:gd name="connsiteX44084" fmla="*/ 1692800 w 4610101"/>
              <a:gd name="connsiteY44084" fmla="*/ 3251608 h 6557032"/>
              <a:gd name="connsiteX44085" fmla="*/ 1694622 w 4610101"/>
              <a:gd name="connsiteY44085" fmla="*/ 3251608 h 6557032"/>
              <a:gd name="connsiteX44086" fmla="*/ 1705555 w 4610101"/>
              <a:gd name="connsiteY44086" fmla="*/ 3284408 h 6557032"/>
              <a:gd name="connsiteX44087" fmla="*/ 1709200 w 4610101"/>
              <a:gd name="connsiteY44087" fmla="*/ 3282585 h 6557032"/>
              <a:gd name="connsiteX44088" fmla="*/ 1720133 w 4610101"/>
              <a:gd name="connsiteY44088" fmla="*/ 3289874 h 6557032"/>
              <a:gd name="connsiteX44089" fmla="*/ 1718310 w 4610101"/>
              <a:gd name="connsiteY44089" fmla="*/ 3268009 h 6557032"/>
              <a:gd name="connsiteX44090" fmla="*/ 1723777 w 4610101"/>
              <a:gd name="connsiteY44090" fmla="*/ 3269831 h 6557032"/>
              <a:gd name="connsiteX44091" fmla="*/ 1709200 w 4610101"/>
              <a:gd name="connsiteY44091" fmla="*/ 3253432 h 6557032"/>
              <a:gd name="connsiteX44092" fmla="*/ 1711022 w 4610101"/>
              <a:gd name="connsiteY44092" fmla="*/ 3251608 h 6557032"/>
              <a:gd name="connsiteX44093" fmla="*/ 1738354 w 4610101"/>
              <a:gd name="connsiteY44093" fmla="*/ 3251608 h 6557032"/>
              <a:gd name="connsiteX44094" fmla="*/ 1714666 w 4610101"/>
              <a:gd name="connsiteY44094" fmla="*/ 3246142 h 6557032"/>
              <a:gd name="connsiteX44095" fmla="*/ 1705555 w 4610101"/>
              <a:gd name="connsiteY44095" fmla="*/ 3246142 h 6557032"/>
              <a:gd name="connsiteX44096" fmla="*/ 1703733 w 4610101"/>
              <a:gd name="connsiteY44096" fmla="*/ 3235210 h 6557032"/>
              <a:gd name="connsiteX44097" fmla="*/ 1718310 w 4610101"/>
              <a:gd name="connsiteY44097" fmla="*/ 3237032 h 6557032"/>
              <a:gd name="connsiteX44098" fmla="*/ 1716488 w 4610101"/>
              <a:gd name="connsiteY44098" fmla="*/ 3233388 h 6557032"/>
              <a:gd name="connsiteX44099" fmla="*/ 1718310 w 4610101"/>
              <a:gd name="connsiteY44099" fmla="*/ 3229742 h 6557032"/>
              <a:gd name="connsiteX44100" fmla="*/ 1714666 w 4610101"/>
              <a:gd name="connsiteY44100" fmla="*/ 3227920 h 6557032"/>
              <a:gd name="connsiteX44101" fmla="*/ 1754754 w 4610101"/>
              <a:gd name="connsiteY44101" fmla="*/ 3207877 h 6557032"/>
              <a:gd name="connsiteX44102" fmla="*/ 1785731 w 4610101"/>
              <a:gd name="connsiteY44102" fmla="*/ 3207877 h 6557032"/>
              <a:gd name="connsiteX44103" fmla="*/ 1782087 w 4610101"/>
              <a:gd name="connsiteY44103" fmla="*/ 3218810 h 6557032"/>
              <a:gd name="connsiteX44104" fmla="*/ 1793020 w 4610101"/>
              <a:gd name="connsiteY44104" fmla="*/ 3206055 h 6557032"/>
              <a:gd name="connsiteX44105" fmla="*/ 1816709 w 4610101"/>
              <a:gd name="connsiteY44105" fmla="*/ 3206055 h 6557032"/>
              <a:gd name="connsiteX44106" fmla="*/ 1816709 w 4610101"/>
              <a:gd name="connsiteY44106" fmla="*/ 3207877 h 6557032"/>
              <a:gd name="connsiteX44107" fmla="*/ 1840396 w 4610101"/>
              <a:gd name="connsiteY44107" fmla="*/ 3209699 h 6557032"/>
              <a:gd name="connsiteX44108" fmla="*/ 1838574 w 4610101"/>
              <a:gd name="connsiteY44108" fmla="*/ 3213343 h 6557032"/>
              <a:gd name="connsiteX44109" fmla="*/ 1858618 w 4610101"/>
              <a:gd name="connsiteY44109" fmla="*/ 3213343 h 6557032"/>
              <a:gd name="connsiteX44110" fmla="*/ 1871373 w 4610101"/>
              <a:gd name="connsiteY44110" fmla="*/ 3216987 h 6557032"/>
              <a:gd name="connsiteX44111" fmla="*/ 1884128 w 4610101"/>
              <a:gd name="connsiteY44111" fmla="*/ 3218810 h 6557032"/>
              <a:gd name="connsiteX44112" fmla="*/ 1907816 w 4610101"/>
              <a:gd name="connsiteY44112" fmla="*/ 3226098 h 6557032"/>
              <a:gd name="connsiteX44113" fmla="*/ 1911461 w 4610101"/>
              <a:gd name="connsiteY44113" fmla="*/ 3227920 h 6557032"/>
              <a:gd name="connsiteX44114" fmla="*/ 1920572 w 4610101"/>
              <a:gd name="connsiteY44114" fmla="*/ 3229742 h 6557032"/>
              <a:gd name="connsiteX44115" fmla="*/ 1920572 w 4610101"/>
              <a:gd name="connsiteY44115" fmla="*/ 3226098 h 6557032"/>
              <a:gd name="connsiteX44116" fmla="*/ 1957015 w 4610101"/>
              <a:gd name="connsiteY44116" fmla="*/ 3235210 h 6557032"/>
              <a:gd name="connsiteX44117" fmla="*/ 1964305 w 4610101"/>
              <a:gd name="connsiteY44117" fmla="*/ 3238854 h 6557032"/>
              <a:gd name="connsiteX44118" fmla="*/ 1966126 w 4610101"/>
              <a:gd name="connsiteY44118" fmla="*/ 3235210 h 6557032"/>
              <a:gd name="connsiteX44119" fmla="*/ 1969770 w 4610101"/>
              <a:gd name="connsiteY44119" fmla="*/ 3235210 h 6557032"/>
              <a:gd name="connsiteX44120" fmla="*/ 1967948 w 4610101"/>
              <a:gd name="connsiteY44120" fmla="*/ 3227920 h 6557032"/>
              <a:gd name="connsiteX44121" fmla="*/ 1949726 w 4610101"/>
              <a:gd name="connsiteY44121" fmla="*/ 3222455 h 6557032"/>
              <a:gd name="connsiteX44122" fmla="*/ 1951549 w 4610101"/>
              <a:gd name="connsiteY44122" fmla="*/ 3218810 h 6557032"/>
              <a:gd name="connsiteX44123" fmla="*/ 1942438 w 4610101"/>
              <a:gd name="connsiteY44123" fmla="*/ 3218810 h 6557032"/>
              <a:gd name="connsiteX44124" fmla="*/ 1922394 w 4610101"/>
              <a:gd name="connsiteY44124" fmla="*/ 3216987 h 6557032"/>
              <a:gd name="connsiteX44125" fmla="*/ 1904172 w 4610101"/>
              <a:gd name="connsiteY44125" fmla="*/ 3213343 h 6557032"/>
              <a:gd name="connsiteX44126" fmla="*/ 1893239 w 4610101"/>
              <a:gd name="connsiteY44126" fmla="*/ 3207877 h 6557032"/>
              <a:gd name="connsiteX44127" fmla="*/ 1880484 w 4610101"/>
              <a:gd name="connsiteY44127" fmla="*/ 3204233 h 6557032"/>
              <a:gd name="connsiteX44128" fmla="*/ 1895061 w 4610101"/>
              <a:gd name="connsiteY44128" fmla="*/ 3202411 h 6557032"/>
              <a:gd name="connsiteX44129" fmla="*/ 1887773 w 4610101"/>
              <a:gd name="connsiteY44129" fmla="*/ 3189655 h 6557032"/>
              <a:gd name="connsiteX44130" fmla="*/ 1904172 w 4610101"/>
              <a:gd name="connsiteY44130" fmla="*/ 3186011 h 6557032"/>
              <a:gd name="connsiteX44131" fmla="*/ 1916927 w 4610101"/>
              <a:gd name="connsiteY44131" fmla="*/ 3167790 h 6557032"/>
              <a:gd name="connsiteX44132" fmla="*/ 1898706 w 4610101"/>
              <a:gd name="connsiteY44132" fmla="*/ 3167790 h 6557032"/>
              <a:gd name="connsiteX44133" fmla="*/ 1882306 w 4610101"/>
              <a:gd name="connsiteY44133" fmla="*/ 3171434 h 6557032"/>
              <a:gd name="connsiteX44134" fmla="*/ 1880484 w 4610101"/>
              <a:gd name="connsiteY44134" fmla="*/ 3175078 h 6557032"/>
              <a:gd name="connsiteX44135" fmla="*/ 1878662 w 4610101"/>
              <a:gd name="connsiteY44135" fmla="*/ 3171434 h 6557032"/>
              <a:gd name="connsiteX44136" fmla="*/ 1869551 w 4610101"/>
              <a:gd name="connsiteY44136" fmla="*/ 3136813 h 6557032"/>
              <a:gd name="connsiteX44137" fmla="*/ 1869551 w 4610101"/>
              <a:gd name="connsiteY44137" fmla="*/ 3180544 h 6557032"/>
              <a:gd name="connsiteX44138" fmla="*/ 1865906 w 4610101"/>
              <a:gd name="connsiteY44138" fmla="*/ 3182367 h 6557032"/>
              <a:gd name="connsiteX44139" fmla="*/ 1867729 w 4610101"/>
              <a:gd name="connsiteY44139" fmla="*/ 3186011 h 6557032"/>
              <a:gd name="connsiteX44140" fmla="*/ 1864084 w 4610101"/>
              <a:gd name="connsiteY44140" fmla="*/ 3180544 h 6557032"/>
              <a:gd name="connsiteX44141" fmla="*/ 1844040 w 4610101"/>
              <a:gd name="connsiteY44141" fmla="*/ 3171434 h 6557032"/>
              <a:gd name="connsiteX44142" fmla="*/ 1864084 w 4610101"/>
              <a:gd name="connsiteY44142" fmla="*/ 3187833 h 6557032"/>
              <a:gd name="connsiteX44143" fmla="*/ 1867729 w 4610101"/>
              <a:gd name="connsiteY44143" fmla="*/ 3189655 h 6557032"/>
              <a:gd name="connsiteX44144" fmla="*/ 1864540 w 4610101"/>
              <a:gd name="connsiteY44144" fmla="*/ 3190795 h 6557032"/>
              <a:gd name="connsiteX44145" fmla="*/ 1864084 w 4610101"/>
              <a:gd name="connsiteY44145" fmla="*/ 3193297 h 6557032"/>
              <a:gd name="connsiteX44146" fmla="*/ 1864084 w 4610101"/>
              <a:gd name="connsiteY44146" fmla="*/ 3195121 h 6557032"/>
              <a:gd name="connsiteX44147" fmla="*/ 1842218 w 4610101"/>
              <a:gd name="connsiteY44147" fmla="*/ 3195121 h 6557032"/>
              <a:gd name="connsiteX44148" fmla="*/ 1850877 w 4610101"/>
              <a:gd name="connsiteY44148" fmla="*/ 3191727 h 6557032"/>
              <a:gd name="connsiteX44149" fmla="*/ 1844952 w 4610101"/>
              <a:gd name="connsiteY44149" fmla="*/ 3191021 h 6557032"/>
              <a:gd name="connsiteX44150" fmla="*/ 1825820 w 4610101"/>
              <a:gd name="connsiteY44150" fmla="*/ 3196943 h 6557032"/>
              <a:gd name="connsiteX44151" fmla="*/ 1734710 w 4610101"/>
              <a:gd name="connsiteY44151" fmla="*/ 3191477 h 6557032"/>
              <a:gd name="connsiteX44152" fmla="*/ 1734710 w 4610101"/>
              <a:gd name="connsiteY44152" fmla="*/ 3182367 h 6557032"/>
              <a:gd name="connsiteX44153" fmla="*/ 1747465 w 4610101"/>
              <a:gd name="connsiteY44153" fmla="*/ 3182367 h 6557032"/>
              <a:gd name="connsiteX44154" fmla="*/ 1736532 w 4610101"/>
              <a:gd name="connsiteY44154" fmla="*/ 3175078 h 6557032"/>
              <a:gd name="connsiteX44155" fmla="*/ 1738354 w 4610101"/>
              <a:gd name="connsiteY44155" fmla="*/ 3162322 h 6557032"/>
              <a:gd name="connsiteX44156" fmla="*/ 1756576 w 4610101"/>
              <a:gd name="connsiteY44156" fmla="*/ 3158678 h 6557032"/>
              <a:gd name="connsiteX44157" fmla="*/ 1774798 w 4610101"/>
              <a:gd name="connsiteY44157" fmla="*/ 3138635 h 6557032"/>
              <a:gd name="connsiteX44158" fmla="*/ 1747465 w 4610101"/>
              <a:gd name="connsiteY44158" fmla="*/ 3145922 h 6557032"/>
              <a:gd name="connsiteX44159" fmla="*/ 1729243 w 4610101"/>
              <a:gd name="connsiteY44159" fmla="*/ 3145922 h 6557032"/>
              <a:gd name="connsiteX44160" fmla="*/ 1731066 w 4610101"/>
              <a:gd name="connsiteY44160" fmla="*/ 3140456 h 6557032"/>
              <a:gd name="connsiteX44161" fmla="*/ 1743821 w 4610101"/>
              <a:gd name="connsiteY44161" fmla="*/ 3136813 h 6557032"/>
              <a:gd name="connsiteX44162" fmla="*/ 1745643 w 4610101"/>
              <a:gd name="connsiteY44162" fmla="*/ 3133169 h 6557032"/>
              <a:gd name="connsiteX44163" fmla="*/ 1765687 w 4610101"/>
              <a:gd name="connsiteY44163" fmla="*/ 3120413 h 6557032"/>
              <a:gd name="connsiteX44164" fmla="*/ 1740176 w 4610101"/>
              <a:gd name="connsiteY44164" fmla="*/ 3125879 h 6557032"/>
              <a:gd name="connsiteX44165" fmla="*/ 1734710 w 4610101"/>
              <a:gd name="connsiteY44165" fmla="*/ 3133169 h 6557032"/>
              <a:gd name="connsiteX44166" fmla="*/ 1736532 w 4610101"/>
              <a:gd name="connsiteY44166" fmla="*/ 3125879 h 6557032"/>
              <a:gd name="connsiteX44167" fmla="*/ 1729243 w 4610101"/>
              <a:gd name="connsiteY44167" fmla="*/ 3087614 h 6557032"/>
              <a:gd name="connsiteX44168" fmla="*/ 1720133 w 4610101"/>
              <a:gd name="connsiteY44168" fmla="*/ 3109479 h 6557032"/>
              <a:gd name="connsiteX44169" fmla="*/ 1723777 w 4610101"/>
              <a:gd name="connsiteY44169" fmla="*/ 3125879 h 6557032"/>
              <a:gd name="connsiteX44170" fmla="*/ 1727421 w 4610101"/>
              <a:gd name="connsiteY44170" fmla="*/ 3134991 h 6557032"/>
              <a:gd name="connsiteX44171" fmla="*/ 1723777 w 4610101"/>
              <a:gd name="connsiteY44171" fmla="*/ 3133169 h 6557032"/>
              <a:gd name="connsiteX44172" fmla="*/ 1721955 w 4610101"/>
              <a:gd name="connsiteY44172" fmla="*/ 3134991 h 6557032"/>
              <a:gd name="connsiteX44173" fmla="*/ 1696444 w 4610101"/>
              <a:gd name="connsiteY44173" fmla="*/ 3104013 h 6557032"/>
              <a:gd name="connsiteX44174" fmla="*/ 1716488 w 4610101"/>
              <a:gd name="connsiteY44174" fmla="*/ 3134991 h 6557032"/>
              <a:gd name="connsiteX44175" fmla="*/ 1705555 w 4610101"/>
              <a:gd name="connsiteY44175" fmla="*/ 3140456 h 6557032"/>
              <a:gd name="connsiteX44176" fmla="*/ 1721955 w 4610101"/>
              <a:gd name="connsiteY44176" fmla="*/ 3142278 h 6557032"/>
              <a:gd name="connsiteX44177" fmla="*/ 1727421 w 4610101"/>
              <a:gd name="connsiteY44177" fmla="*/ 3151390 h 6557032"/>
              <a:gd name="connsiteX44178" fmla="*/ 1720133 w 4610101"/>
              <a:gd name="connsiteY44178" fmla="*/ 3149568 h 6557032"/>
              <a:gd name="connsiteX44179" fmla="*/ 1721955 w 4610101"/>
              <a:gd name="connsiteY44179" fmla="*/ 3153212 h 6557032"/>
              <a:gd name="connsiteX44180" fmla="*/ 1707377 w 4610101"/>
              <a:gd name="connsiteY44180" fmla="*/ 3145922 h 6557032"/>
              <a:gd name="connsiteX44181" fmla="*/ 1678223 w 4610101"/>
              <a:gd name="connsiteY44181" fmla="*/ 3147744 h 6557032"/>
              <a:gd name="connsiteX44182" fmla="*/ 1698266 w 4610101"/>
              <a:gd name="connsiteY44182" fmla="*/ 3156856 h 6557032"/>
              <a:gd name="connsiteX44183" fmla="*/ 1694622 w 4610101"/>
              <a:gd name="connsiteY44183" fmla="*/ 3167790 h 6557032"/>
              <a:gd name="connsiteX44184" fmla="*/ 1720133 w 4610101"/>
              <a:gd name="connsiteY44184" fmla="*/ 3160500 h 6557032"/>
              <a:gd name="connsiteX44185" fmla="*/ 1725599 w 4610101"/>
              <a:gd name="connsiteY44185" fmla="*/ 3167790 h 6557032"/>
              <a:gd name="connsiteX44186" fmla="*/ 1732888 w 4610101"/>
              <a:gd name="connsiteY44186" fmla="*/ 3180544 h 6557032"/>
              <a:gd name="connsiteX44187" fmla="*/ 1731066 w 4610101"/>
              <a:gd name="connsiteY44187" fmla="*/ 3186011 h 6557032"/>
              <a:gd name="connsiteX44188" fmla="*/ 1676400 w 4610101"/>
              <a:gd name="connsiteY44188" fmla="*/ 3195121 h 6557032"/>
              <a:gd name="connsiteX44189" fmla="*/ 1634491 w 4610101"/>
              <a:gd name="connsiteY44189" fmla="*/ 3200587 h 6557032"/>
              <a:gd name="connsiteX44190" fmla="*/ 1623558 w 4610101"/>
              <a:gd name="connsiteY44190" fmla="*/ 3191477 h 6557032"/>
              <a:gd name="connsiteX44191" fmla="*/ 1610802 w 4610101"/>
              <a:gd name="connsiteY44191" fmla="*/ 3180544 h 6557032"/>
              <a:gd name="connsiteX44192" fmla="*/ 1661824 w 4610101"/>
              <a:gd name="connsiteY44192" fmla="*/ 3176899 h 6557032"/>
              <a:gd name="connsiteX44193" fmla="*/ 1625380 w 4610101"/>
              <a:gd name="connsiteY44193" fmla="*/ 3167790 h 6557032"/>
              <a:gd name="connsiteX44194" fmla="*/ 1629024 w 4610101"/>
              <a:gd name="connsiteY44194" fmla="*/ 3160500 h 6557032"/>
              <a:gd name="connsiteX44195" fmla="*/ 1645423 w 4610101"/>
              <a:gd name="connsiteY44195" fmla="*/ 3156856 h 6557032"/>
              <a:gd name="connsiteX44196" fmla="*/ 1630846 w 4610101"/>
              <a:gd name="connsiteY44196" fmla="*/ 3153212 h 6557032"/>
              <a:gd name="connsiteX44197" fmla="*/ 1632669 w 4610101"/>
              <a:gd name="connsiteY44197" fmla="*/ 3144100 h 6557032"/>
              <a:gd name="connsiteX44198" fmla="*/ 1629024 w 4610101"/>
              <a:gd name="connsiteY44198" fmla="*/ 3138635 h 6557032"/>
              <a:gd name="connsiteX44199" fmla="*/ 1632669 w 4610101"/>
              <a:gd name="connsiteY44199" fmla="*/ 3127701 h 6557032"/>
              <a:gd name="connsiteX44200" fmla="*/ 1610802 w 4610101"/>
              <a:gd name="connsiteY44200" fmla="*/ 3142278 h 6557032"/>
              <a:gd name="connsiteX44201" fmla="*/ 1605336 w 4610101"/>
              <a:gd name="connsiteY44201" fmla="*/ 3122235 h 6557032"/>
              <a:gd name="connsiteX44202" fmla="*/ 1603513 w 4610101"/>
              <a:gd name="connsiteY44202" fmla="*/ 3153212 h 6557032"/>
              <a:gd name="connsiteX44203" fmla="*/ 1594403 w 4610101"/>
              <a:gd name="connsiteY44203" fmla="*/ 3151390 h 6557032"/>
              <a:gd name="connsiteX44204" fmla="*/ 1596225 w 4610101"/>
              <a:gd name="connsiteY44204" fmla="*/ 3155034 h 6557032"/>
              <a:gd name="connsiteX44205" fmla="*/ 1590758 w 4610101"/>
              <a:gd name="connsiteY44205" fmla="*/ 3162322 h 6557032"/>
              <a:gd name="connsiteX44206" fmla="*/ 1587114 w 4610101"/>
              <a:gd name="connsiteY44206" fmla="*/ 3125879 h 6557032"/>
              <a:gd name="connsiteX44207" fmla="*/ 1572537 w 4610101"/>
              <a:gd name="connsiteY44207" fmla="*/ 3104013 h 6557032"/>
              <a:gd name="connsiteX44208" fmla="*/ 1567070 w 4610101"/>
              <a:gd name="connsiteY44208" fmla="*/ 3109479 h 6557032"/>
              <a:gd name="connsiteX44209" fmla="*/ 1568892 w 4610101"/>
              <a:gd name="connsiteY44209" fmla="*/ 3140456 h 6557032"/>
              <a:gd name="connsiteX44210" fmla="*/ 1583470 w 4610101"/>
              <a:gd name="connsiteY44210" fmla="*/ 3169612 h 6557032"/>
              <a:gd name="connsiteX44211" fmla="*/ 1576181 w 4610101"/>
              <a:gd name="connsiteY44211" fmla="*/ 3169612 h 6557032"/>
              <a:gd name="connsiteX44212" fmla="*/ 1554315 w 4610101"/>
              <a:gd name="connsiteY44212" fmla="*/ 3165966 h 6557032"/>
              <a:gd name="connsiteX44213" fmla="*/ 1543382 w 4610101"/>
              <a:gd name="connsiteY44213" fmla="*/ 3171434 h 6557032"/>
              <a:gd name="connsiteX44214" fmla="*/ 1565248 w 4610101"/>
              <a:gd name="connsiteY44214" fmla="*/ 3180544 h 6557032"/>
              <a:gd name="connsiteX44215" fmla="*/ 1585292 w 4610101"/>
              <a:gd name="connsiteY44215" fmla="*/ 3176899 h 6557032"/>
              <a:gd name="connsiteX44216" fmla="*/ 1579825 w 4610101"/>
              <a:gd name="connsiteY44216" fmla="*/ 3184189 h 6557032"/>
              <a:gd name="connsiteX44217" fmla="*/ 1578003 w 4610101"/>
              <a:gd name="connsiteY44217" fmla="*/ 3180544 h 6557032"/>
              <a:gd name="connsiteX44218" fmla="*/ 1572537 w 4610101"/>
              <a:gd name="connsiteY44218" fmla="*/ 3180544 h 6557032"/>
              <a:gd name="connsiteX44219" fmla="*/ 1570714 w 4610101"/>
              <a:gd name="connsiteY44219" fmla="*/ 3187833 h 6557032"/>
              <a:gd name="connsiteX44220" fmla="*/ 1554315 w 4610101"/>
              <a:gd name="connsiteY44220" fmla="*/ 3195121 h 6557032"/>
              <a:gd name="connsiteX44221" fmla="*/ 1548848 w 4610101"/>
              <a:gd name="connsiteY44221" fmla="*/ 3200587 h 6557032"/>
              <a:gd name="connsiteX44222" fmla="*/ 1530626 w 4610101"/>
              <a:gd name="connsiteY44222" fmla="*/ 3202411 h 6557032"/>
              <a:gd name="connsiteX44223" fmla="*/ 1512405 w 4610101"/>
              <a:gd name="connsiteY44223" fmla="*/ 3204233 h 6557032"/>
              <a:gd name="connsiteX44224" fmla="*/ 1496006 w 4610101"/>
              <a:gd name="connsiteY44224" fmla="*/ 3191477 h 6557032"/>
              <a:gd name="connsiteX44225" fmla="*/ 1494183 w 4610101"/>
              <a:gd name="connsiteY44225" fmla="*/ 3206055 h 6557032"/>
              <a:gd name="connsiteX44226" fmla="*/ 1457739 w 4610101"/>
              <a:gd name="connsiteY44226" fmla="*/ 3200587 h 6557032"/>
              <a:gd name="connsiteX44227" fmla="*/ 1457739 w 4610101"/>
              <a:gd name="connsiteY44227" fmla="*/ 3191477 h 6557032"/>
              <a:gd name="connsiteX44228" fmla="*/ 1479606 w 4610101"/>
              <a:gd name="connsiteY44228" fmla="*/ 3165966 h 6557032"/>
              <a:gd name="connsiteX44229" fmla="*/ 1479606 w 4610101"/>
              <a:gd name="connsiteY44229" fmla="*/ 3162322 h 6557032"/>
              <a:gd name="connsiteX44230" fmla="*/ 1499650 w 4610101"/>
              <a:gd name="connsiteY44230" fmla="*/ 3156856 h 6557032"/>
              <a:gd name="connsiteX44231" fmla="*/ 1503294 w 4610101"/>
              <a:gd name="connsiteY44231" fmla="*/ 3164144 h 6557032"/>
              <a:gd name="connsiteX44232" fmla="*/ 1503294 w 4610101"/>
              <a:gd name="connsiteY44232" fmla="*/ 3156856 h 6557032"/>
              <a:gd name="connsiteX44233" fmla="*/ 1510583 w 4610101"/>
              <a:gd name="connsiteY44233" fmla="*/ 3162322 h 6557032"/>
              <a:gd name="connsiteX44234" fmla="*/ 1508760 w 4610101"/>
              <a:gd name="connsiteY44234" fmla="*/ 3158678 h 6557032"/>
              <a:gd name="connsiteX44235" fmla="*/ 1516049 w 4610101"/>
              <a:gd name="connsiteY44235" fmla="*/ 3158678 h 6557032"/>
              <a:gd name="connsiteX44236" fmla="*/ 1506938 w 4610101"/>
              <a:gd name="connsiteY44236" fmla="*/ 3153212 h 6557032"/>
              <a:gd name="connsiteX44237" fmla="*/ 1512405 w 4610101"/>
              <a:gd name="connsiteY44237" fmla="*/ 3149568 h 6557032"/>
              <a:gd name="connsiteX44238" fmla="*/ 1497827 w 4610101"/>
              <a:gd name="connsiteY44238" fmla="*/ 3151390 h 6557032"/>
              <a:gd name="connsiteX44239" fmla="*/ 1519693 w 4610101"/>
              <a:gd name="connsiteY44239" fmla="*/ 3140456 h 6557032"/>
              <a:gd name="connsiteX44240" fmla="*/ 1521516 w 4610101"/>
              <a:gd name="connsiteY44240" fmla="*/ 3136813 h 6557032"/>
              <a:gd name="connsiteX44241" fmla="*/ 1541559 w 4610101"/>
              <a:gd name="connsiteY44241" fmla="*/ 3125879 h 6557032"/>
              <a:gd name="connsiteX44242" fmla="*/ 1550670 w 4610101"/>
              <a:gd name="connsiteY44242" fmla="*/ 3118591 h 6557032"/>
              <a:gd name="connsiteX44243" fmla="*/ 1567070 w 4610101"/>
              <a:gd name="connsiteY44243" fmla="*/ 3098548 h 6557032"/>
              <a:gd name="connsiteX44244" fmla="*/ 1570714 w 4610101"/>
              <a:gd name="connsiteY44244" fmla="*/ 3096726 h 6557032"/>
              <a:gd name="connsiteX44245" fmla="*/ 1568892 w 4610101"/>
              <a:gd name="connsiteY44245" fmla="*/ 3094904 h 6557032"/>
              <a:gd name="connsiteX44246" fmla="*/ 1574359 w 4610101"/>
              <a:gd name="connsiteY44246" fmla="*/ 3087614 h 6557032"/>
              <a:gd name="connsiteX44247" fmla="*/ 1578003 w 4610101"/>
              <a:gd name="connsiteY44247" fmla="*/ 3091258 h 6557032"/>
              <a:gd name="connsiteX44248" fmla="*/ 1580733 w 4610101"/>
              <a:gd name="connsiteY44248" fmla="*/ 3085798 h 6557032"/>
              <a:gd name="connsiteX44249" fmla="*/ 1579824 w 4610101"/>
              <a:gd name="connsiteY44249" fmla="*/ 3085798 h 6557032"/>
              <a:gd name="connsiteX44250" fmla="*/ 1581036 w 4610101"/>
              <a:gd name="connsiteY44250" fmla="*/ 3085193 h 6557032"/>
              <a:gd name="connsiteX44251" fmla="*/ 1583470 w 4610101"/>
              <a:gd name="connsiteY44251" fmla="*/ 3080326 h 6557032"/>
              <a:gd name="connsiteX44252" fmla="*/ 1590758 w 4610101"/>
              <a:gd name="connsiteY44252" fmla="*/ 3089436 h 6557032"/>
              <a:gd name="connsiteX44253" fmla="*/ 1590758 w 4610101"/>
              <a:gd name="connsiteY44253" fmla="*/ 3083970 h 6557032"/>
              <a:gd name="connsiteX44254" fmla="*/ 1594403 w 4610101"/>
              <a:gd name="connsiteY44254" fmla="*/ 3083970 h 6557032"/>
              <a:gd name="connsiteX44255" fmla="*/ 1590758 w 4610101"/>
              <a:gd name="connsiteY44255" fmla="*/ 3078504 h 6557032"/>
              <a:gd name="connsiteX44256" fmla="*/ 1605336 w 4610101"/>
              <a:gd name="connsiteY44256" fmla="*/ 3089436 h 6557032"/>
              <a:gd name="connsiteX44257" fmla="*/ 1592580 w 4610101"/>
              <a:gd name="connsiteY44257" fmla="*/ 3076682 h 6557032"/>
              <a:gd name="connsiteX44258" fmla="*/ 1608980 w 4610101"/>
              <a:gd name="connsiteY44258" fmla="*/ 3060283 h 6557032"/>
              <a:gd name="connsiteX44259" fmla="*/ 1590758 w 4610101"/>
              <a:gd name="connsiteY44259" fmla="*/ 3071214 h 6557032"/>
              <a:gd name="connsiteX44260" fmla="*/ 1587114 w 4610101"/>
              <a:gd name="connsiteY44260" fmla="*/ 3051171 h 6557032"/>
              <a:gd name="connsiteX44261" fmla="*/ 1585292 w 4610101"/>
              <a:gd name="connsiteY44261" fmla="*/ 3073036 h 6557032"/>
              <a:gd name="connsiteX44262" fmla="*/ 1581647 w 4610101"/>
              <a:gd name="connsiteY44262" fmla="*/ 3069392 h 6557032"/>
              <a:gd name="connsiteX44263" fmla="*/ 1579825 w 4610101"/>
              <a:gd name="connsiteY44263" fmla="*/ 3073036 h 6557032"/>
              <a:gd name="connsiteX44264" fmla="*/ 1572537 w 4610101"/>
              <a:gd name="connsiteY44264" fmla="*/ 3073036 h 6557032"/>
              <a:gd name="connsiteX44265" fmla="*/ 1579825 w 4610101"/>
              <a:gd name="connsiteY44265" fmla="*/ 3078504 h 6557032"/>
              <a:gd name="connsiteX44266" fmla="*/ 1570714 w 4610101"/>
              <a:gd name="connsiteY44266" fmla="*/ 3089436 h 6557032"/>
              <a:gd name="connsiteX44267" fmla="*/ 1548848 w 4610101"/>
              <a:gd name="connsiteY44267" fmla="*/ 3116769 h 6557032"/>
              <a:gd name="connsiteX44268" fmla="*/ 1543382 w 4610101"/>
              <a:gd name="connsiteY44268" fmla="*/ 3118591 h 6557032"/>
              <a:gd name="connsiteX44269" fmla="*/ 1525160 w 4610101"/>
              <a:gd name="connsiteY44269" fmla="*/ 3131347 h 6557032"/>
              <a:gd name="connsiteX44270" fmla="*/ 1508760 w 4610101"/>
              <a:gd name="connsiteY44270" fmla="*/ 3138635 h 6557032"/>
              <a:gd name="connsiteX44271" fmla="*/ 1481428 w 4610101"/>
              <a:gd name="connsiteY44271" fmla="*/ 3155034 h 6557032"/>
              <a:gd name="connsiteX44272" fmla="*/ 1472317 w 4610101"/>
              <a:gd name="connsiteY44272" fmla="*/ 3162322 h 6557032"/>
              <a:gd name="connsiteX44273" fmla="*/ 1523339 w 4610101"/>
              <a:gd name="connsiteY44273" fmla="*/ 3074858 h 6557032"/>
              <a:gd name="connsiteX44274" fmla="*/ 1528804 w 4610101"/>
              <a:gd name="connsiteY44274" fmla="*/ 3069392 h 6557032"/>
              <a:gd name="connsiteX44275" fmla="*/ 1525160 w 4610101"/>
              <a:gd name="connsiteY44275" fmla="*/ 3067570 h 6557032"/>
              <a:gd name="connsiteX44276" fmla="*/ 1547026 w 4610101"/>
              <a:gd name="connsiteY44276" fmla="*/ 3023840 h 6557032"/>
              <a:gd name="connsiteX44277" fmla="*/ 1550670 w 4610101"/>
              <a:gd name="connsiteY44277" fmla="*/ 3022018 h 6557032"/>
              <a:gd name="connsiteX44278" fmla="*/ 1550670 w 4610101"/>
              <a:gd name="connsiteY44278" fmla="*/ 3016550 h 6557032"/>
              <a:gd name="connsiteX44279" fmla="*/ 1563426 w 4610101"/>
              <a:gd name="connsiteY44279" fmla="*/ 2996506 h 6557032"/>
              <a:gd name="connsiteX44280" fmla="*/ 1561603 w 4610101"/>
              <a:gd name="connsiteY44280" fmla="*/ 2992863 h 6557032"/>
              <a:gd name="connsiteX44281" fmla="*/ 1578003 w 4610101"/>
              <a:gd name="connsiteY44281" fmla="*/ 2961885 h 6557032"/>
              <a:gd name="connsiteX44282" fmla="*/ 1592580 w 4610101"/>
              <a:gd name="connsiteY44282" fmla="*/ 2947308 h 6557032"/>
              <a:gd name="connsiteX44283" fmla="*/ 1592580 w 4610101"/>
              <a:gd name="connsiteY44283" fmla="*/ 2943664 h 6557032"/>
              <a:gd name="connsiteX44284" fmla="*/ 1588936 w 4610101"/>
              <a:gd name="connsiteY44284" fmla="*/ 2941842 h 6557032"/>
              <a:gd name="connsiteX44285" fmla="*/ 1601691 w 4610101"/>
              <a:gd name="connsiteY44285" fmla="*/ 2921798 h 6557032"/>
              <a:gd name="connsiteX44286" fmla="*/ 1605336 w 4610101"/>
              <a:gd name="connsiteY44286" fmla="*/ 2916330 h 6557032"/>
              <a:gd name="connsiteX44287" fmla="*/ 1614447 w 4610101"/>
              <a:gd name="connsiteY44287" fmla="*/ 2907221 h 6557032"/>
              <a:gd name="connsiteX44288" fmla="*/ 1629024 w 4610101"/>
              <a:gd name="connsiteY44288" fmla="*/ 2896287 h 6557032"/>
              <a:gd name="connsiteX44289" fmla="*/ 1629024 w 4610101"/>
              <a:gd name="connsiteY44289" fmla="*/ 2890821 h 6557032"/>
              <a:gd name="connsiteX44290" fmla="*/ 1641780 w 4610101"/>
              <a:gd name="connsiteY44290" fmla="*/ 2879887 h 6557032"/>
              <a:gd name="connsiteX44291" fmla="*/ 1639957 w 4610101"/>
              <a:gd name="connsiteY44291" fmla="*/ 2876243 h 6557032"/>
              <a:gd name="connsiteX44292" fmla="*/ 1667289 w 4610101"/>
              <a:gd name="connsiteY44292" fmla="*/ 2848912 h 6557032"/>
              <a:gd name="connsiteX44293" fmla="*/ 1672756 w 4610101"/>
              <a:gd name="connsiteY44293" fmla="*/ 2845266 h 6557032"/>
              <a:gd name="connsiteX44294" fmla="*/ 1669112 w 4610101"/>
              <a:gd name="connsiteY44294" fmla="*/ 2843444 h 6557032"/>
              <a:gd name="connsiteX44295" fmla="*/ 1696444 w 4610101"/>
              <a:gd name="connsiteY44295" fmla="*/ 2823401 h 6557032"/>
              <a:gd name="connsiteX44296" fmla="*/ 1700089 w 4610101"/>
              <a:gd name="connsiteY44296" fmla="*/ 2812469 h 6557032"/>
              <a:gd name="connsiteX44297" fmla="*/ 1676400 w 4610101"/>
              <a:gd name="connsiteY44297" fmla="*/ 2832512 h 6557032"/>
              <a:gd name="connsiteX44298" fmla="*/ 1652713 w 4610101"/>
              <a:gd name="connsiteY44298" fmla="*/ 2854378 h 6557032"/>
              <a:gd name="connsiteX44299" fmla="*/ 1647246 w 4610101"/>
              <a:gd name="connsiteY44299" fmla="*/ 2852556 h 6557032"/>
              <a:gd name="connsiteX44300" fmla="*/ 1647246 w 4610101"/>
              <a:gd name="connsiteY44300" fmla="*/ 2858022 h 6557032"/>
              <a:gd name="connsiteX44301" fmla="*/ 1612624 w 4610101"/>
              <a:gd name="connsiteY44301" fmla="*/ 2903577 h 6557032"/>
              <a:gd name="connsiteX44302" fmla="*/ 1608980 w 4610101"/>
              <a:gd name="connsiteY44302" fmla="*/ 2899931 h 6557032"/>
              <a:gd name="connsiteX44303" fmla="*/ 1603513 w 4610101"/>
              <a:gd name="connsiteY44303" fmla="*/ 2901755 h 6557032"/>
              <a:gd name="connsiteX44304" fmla="*/ 1603513 w 4610101"/>
              <a:gd name="connsiteY44304" fmla="*/ 2896287 h 6557032"/>
              <a:gd name="connsiteX44305" fmla="*/ 1619913 w 4610101"/>
              <a:gd name="connsiteY44305" fmla="*/ 2879887 h 6557032"/>
              <a:gd name="connsiteX44306" fmla="*/ 1603513 w 4610101"/>
              <a:gd name="connsiteY44306" fmla="*/ 2890821 h 6557032"/>
              <a:gd name="connsiteX44307" fmla="*/ 1601691 w 4610101"/>
              <a:gd name="connsiteY44307" fmla="*/ 2858022 h 6557032"/>
              <a:gd name="connsiteX44308" fmla="*/ 1594403 w 4610101"/>
              <a:gd name="connsiteY44308" fmla="*/ 2874422 h 6557032"/>
              <a:gd name="connsiteX44309" fmla="*/ 1587114 w 4610101"/>
              <a:gd name="connsiteY44309" fmla="*/ 2867134 h 6557032"/>
              <a:gd name="connsiteX44310" fmla="*/ 1587114 w 4610101"/>
              <a:gd name="connsiteY44310" fmla="*/ 2878066 h 6557032"/>
              <a:gd name="connsiteX44311" fmla="*/ 1579825 w 4610101"/>
              <a:gd name="connsiteY44311" fmla="*/ 2874422 h 6557032"/>
              <a:gd name="connsiteX44312" fmla="*/ 1594403 w 4610101"/>
              <a:gd name="connsiteY44312" fmla="*/ 2903577 h 6557032"/>
              <a:gd name="connsiteX44313" fmla="*/ 1592887 w 4610101"/>
              <a:gd name="connsiteY44313" fmla="*/ 2904333 h 6557032"/>
              <a:gd name="connsiteX44314" fmla="*/ 1594402 w 4610101"/>
              <a:gd name="connsiteY44314" fmla="*/ 2907235 h 6557032"/>
              <a:gd name="connsiteX44315" fmla="*/ 1593515 w 4610101"/>
              <a:gd name="connsiteY44315" fmla="*/ 2907235 h 6557032"/>
              <a:gd name="connsiteX44316" fmla="*/ 1596225 w 4610101"/>
              <a:gd name="connsiteY44316" fmla="*/ 2909043 h 6557032"/>
              <a:gd name="connsiteX44317" fmla="*/ 1598047 w 4610101"/>
              <a:gd name="connsiteY44317" fmla="*/ 2919977 h 6557032"/>
              <a:gd name="connsiteX44318" fmla="*/ 1572537 w 4610101"/>
              <a:gd name="connsiteY44318" fmla="*/ 2961885 h 6557032"/>
              <a:gd name="connsiteX44319" fmla="*/ 1568892 w 4610101"/>
              <a:gd name="connsiteY44319" fmla="*/ 2961885 h 6557032"/>
              <a:gd name="connsiteX44320" fmla="*/ 1568892 w 4610101"/>
              <a:gd name="connsiteY44320" fmla="*/ 2967351 h 6557032"/>
              <a:gd name="connsiteX44321" fmla="*/ 1530626 w 4610101"/>
              <a:gd name="connsiteY44321" fmla="*/ 3040237 h 6557032"/>
              <a:gd name="connsiteX44322" fmla="*/ 1528804 w 4610101"/>
              <a:gd name="connsiteY44322" fmla="*/ 3038415 h 6557032"/>
              <a:gd name="connsiteX44323" fmla="*/ 1528804 w 4610101"/>
              <a:gd name="connsiteY44323" fmla="*/ 3045705 h 6557032"/>
              <a:gd name="connsiteX44324" fmla="*/ 1508760 w 4610101"/>
              <a:gd name="connsiteY44324" fmla="*/ 3087614 h 6557032"/>
              <a:gd name="connsiteX44325" fmla="*/ 1505117 w 4610101"/>
              <a:gd name="connsiteY44325" fmla="*/ 3087614 h 6557032"/>
              <a:gd name="connsiteX44326" fmla="*/ 1468673 w 4610101"/>
              <a:gd name="connsiteY44326" fmla="*/ 3155034 h 6557032"/>
              <a:gd name="connsiteX44327" fmla="*/ 1466850 w 4610101"/>
              <a:gd name="connsiteY44327" fmla="*/ 3155034 h 6557032"/>
              <a:gd name="connsiteX44328" fmla="*/ 1452273 w 4610101"/>
              <a:gd name="connsiteY44328" fmla="*/ 3169612 h 6557032"/>
              <a:gd name="connsiteX44329" fmla="*/ 1446806 w 4610101"/>
              <a:gd name="connsiteY44329" fmla="*/ 3165966 h 6557032"/>
              <a:gd name="connsiteX44330" fmla="*/ 1443162 w 4610101"/>
              <a:gd name="connsiteY44330" fmla="*/ 3164144 h 6557032"/>
              <a:gd name="connsiteX44331" fmla="*/ 1444984 w 4610101"/>
              <a:gd name="connsiteY44331" fmla="*/ 3175078 h 6557032"/>
              <a:gd name="connsiteX44332" fmla="*/ 1403074 w 4610101"/>
              <a:gd name="connsiteY44332" fmla="*/ 3191477 h 6557032"/>
              <a:gd name="connsiteX44333" fmla="*/ 1406719 w 4610101"/>
              <a:gd name="connsiteY44333" fmla="*/ 3182367 h 6557032"/>
              <a:gd name="connsiteX44334" fmla="*/ 1399430 w 4610101"/>
              <a:gd name="connsiteY44334" fmla="*/ 3178721 h 6557032"/>
              <a:gd name="connsiteX44335" fmla="*/ 1399430 w 4610101"/>
              <a:gd name="connsiteY44335" fmla="*/ 3184189 h 6557032"/>
              <a:gd name="connsiteX44336" fmla="*/ 1397608 w 4610101"/>
              <a:gd name="connsiteY44336" fmla="*/ 3193299 h 6557032"/>
              <a:gd name="connsiteX44337" fmla="*/ 1375743 w 4610101"/>
              <a:gd name="connsiteY44337" fmla="*/ 3195121 h 6557032"/>
              <a:gd name="connsiteX44338" fmla="*/ 1328365 w 4610101"/>
              <a:gd name="connsiteY44338" fmla="*/ 3187833 h 6557032"/>
              <a:gd name="connsiteX44339" fmla="*/ 1344765 w 4610101"/>
              <a:gd name="connsiteY44339" fmla="*/ 3162322 h 6557032"/>
              <a:gd name="connsiteX44340" fmla="*/ 1355698 w 4610101"/>
              <a:gd name="connsiteY44340" fmla="*/ 3160500 h 6557032"/>
              <a:gd name="connsiteX44341" fmla="*/ 1353876 w 4610101"/>
              <a:gd name="connsiteY44341" fmla="*/ 3156856 h 6557032"/>
              <a:gd name="connsiteX44342" fmla="*/ 1361164 w 4610101"/>
              <a:gd name="connsiteY44342" fmla="*/ 3155034 h 6557032"/>
              <a:gd name="connsiteX44343" fmla="*/ 1352053 w 4610101"/>
              <a:gd name="connsiteY44343" fmla="*/ 3149568 h 6557032"/>
              <a:gd name="connsiteX44344" fmla="*/ 1359342 w 4610101"/>
              <a:gd name="connsiteY44344" fmla="*/ 3140456 h 6557032"/>
              <a:gd name="connsiteX44345" fmla="*/ 1359342 w 4610101"/>
              <a:gd name="connsiteY44345" fmla="*/ 3138635 h 6557032"/>
              <a:gd name="connsiteX44346" fmla="*/ 1364809 w 4610101"/>
              <a:gd name="connsiteY44346" fmla="*/ 3140456 h 6557032"/>
              <a:gd name="connsiteX44347" fmla="*/ 1399430 w 4610101"/>
              <a:gd name="connsiteY44347" fmla="*/ 3093080 h 6557032"/>
              <a:gd name="connsiteX44348" fmla="*/ 1390319 w 4610101"/>
              <a:gd name="connsiteY44348" fmla="*/ 3085792 h 6557032"/>
              <a:gd name="connsiteX44349" fmla="*/ 1388497 w 4610101"/>
              <a:gd name="connsiteY44349" fmla="*/ 3083970 h 6557032"/>
              <a:gd name="connsiteX44350" fmla="*/ 1390319 w 4610101"/>
              <a:gd name="connsiteY44350" fmla="*/ 3083970 h 6557032"/>
              <a:gd name="connsiteX44351" fmla="*/ 1392141 w 4610101"/>
              <a:gd name="connsiteY44351" fmla="*/ 3085792 h 6557032"/>
              <a:gd name="connsiteX44352" fmla="*/ 1399430 w 4610101"/>
              <a:gd name="connsiteY44352" fmla="*/ 3091258 h 6557032"/>
              <a:gd name="connsiteX44353" fmla="*/ 1392141 w 4610101"/>
              <a:gd name="connsiteY44353" fmla="*/ 3080326 h 6557032"/>
              <a:gd name="connsiteX44354" fmla="*/ 1401252 w 4610101"/>
              <a:gd name="connsiteY44354" fmla="*/ 3076682 h 6557032"/>
              <a:gd name="connsiteX44355" fmla="*/ 1399430 w 4610101"/>
              <a:gd name="connsiteY44355" fmla="*/ 3073036 h 6557032"/>
              <a:gd name="connsiteX44356" fmla="*/ 1406719 w 4610101"/>
              <a:gd name="connsiteY44356" fmla="*/ 3073036 h 6557032"/>
              <a:gd name="connsiteX44357" fmla="*/ 1406719 w 4610101"/>
              <a:gd name="connsiteY44357" fmla="*/ 3065749 h 6557032"/>
              <a:gd name="connsiteX44358" fmla="*/ 1399430 w 4610101"/>
              <a:gd name="connsiteY44358" fmla="*/ 3067570 h 6557032"/>
              <a:gd name="connsiteX44359" fmla="*/ 1410363 w 4610101"/>
              <a:gd name="connsiteY44359" fmla="*/ 3047527 h 6557032"/>
              <a:gd name="connsiteX44360" fmla="*/ 1419474 w 4610101"/>
              <a:gd name="connsiteY44360" fmla="*/ 3031127 h 6557032"/>
              <a:gd name="connsiteX44361" fmla="*/ 1417652 w 4610101"/>
              <a:gd name="connsiteY44361" fmla="*/ 3029306 h 6557032"/>
              <a:gd name="connsiteX44362" fmla="*/ 1430407 w 4610101"/>
              <a:gd name="connsiteY44362" fmla="*/ 3003796 h 6557032"/>
              <a:gd name="connsiteX44363" fmla="*/ 1437696 w 4610101"/>
              <a:gd name="connsiteY44363" fmla="*/ 3005616 h 6557032"/>
              <a:gd name="connsiteX44364" fmla="*/ 1434051 w 4610101"/>
              <a:gd name="connsiteY44364" fmla="*/ 3000150 h 6557032"/>
              <a:gd name="connsiteX44365" fmla="*/ 1437696 w 4610101"/>
              <a:gd name="connsiteY44365" fmla="*/ 2998328 h 6557032"/>
              <a:gd name="connsiteX44366" fmla="*/ 1434051 w 4610101"/>
              <a:gd name="connsiteY44366" fmla="*/ 2996506 h 6557032"/>
              <a:gd name="connsiteX44367" fmla="*/ 1434051 w 4610101"/>
              <a:gd name="connsiteY44367" fmla="*/ 2992863 h 6557032"/>
              <a:gd name="connsiteX44368" fmla="*/ 1428585 w 4610101"/>
              <a:gd name="connsiteY44368" fmla="*/ 2994684 h 6557032"/>
              <a:gd name="connsiteX44369" fmla="*/ 1426763 w 4610101"/>
              <a:gd name="connsiteY44369" fmla="*/ 3000150 h 6557032"/>
              <a:gd name="connsiteX44370" fmla="*/ 1423118 w 4610101"/>
              <a:gd name="connsiteY44370" fmla="*/ 3001972 h 6557032"/>
              <a:gd name="connsiteX44371" fmla="*/ 1424940 w 4610101"/>
              <a:gd name="connsiteY44371" fmla="*/ 3003796 h 6557032"/>
              <a:gd name="connsiteX44372" fmla="*/ 1414007 w 4610101"/>
              <a:gd name="connsiteY44372" fmla="*/ 3020194 h 6557032"/>
              <a:gd name="connsiteX44373" fmla="*/ 1404896 w 4610101"/>
              <a:gd name="connsiteY44373" fmla="*/ 3040237 h 6557032"/>
              <a:gd name="connsiteX44374" fmla="*/ 1386676 w 4610101"/>
              <a:gd name="connsiteY44374" fmla="*/ 3071214 h 6557032"/>
              <a:gd name="connsiteX44375" fmla="*/ 1384854 w 4610101"/>
              <a:gd name="connsiteY44375" fmla="*/ 3069392 h 6557032"/>
              <a:gd name="connsiteX44376" fmla="*/ 1381208 w 4610101"/>
              <a:gd name="connsiteY44376" fmla="*/ 3074858 h 6557032"/>
              <a:gd name="connsiteX44377" fmla="*/ 1377564 w 4610101"/>
              <a:gd name="connsiteY44377" fmla="*/ 3069392 h 6557032"/>
              <a:gd name="connsiteX44378" fmla="*/ 1375743 w 4610101"/>
              <a:gd name="connsiteY44378" fmla="*/ 3069392 h 6557032"/>
              <a:gd name="connsiteX44379" fmla="*/ 1355698 w 4610101"/>
              <a:gd name="connsiteY44379" fmla="*/ 3083970 h 6557032"/>
              <a:gd name="connsiteX44380" fmla="*/ 1377206 w 4610101"/>
              <a:gd name="connsiteY44380" fmla="*/ 3085624 h 6557032"/>
              <a:gd name="connsiteX44381" fmla="*/ 1373919 w 4610101"/>
              <a:gd name="connsiteY44381" fmla="*/ 3083981 h 6557032"/>
              <a:gd name="connsiteX44382" fmla="*/ 1370274 w 4610101"/>
              <a:gd name="connsiteY44382" fmla="*/ 3078515 h 6557032"/>
              <a:gd name="connsiteX44383" fmla="*/ 1375741 w 4610101"/>
              <a:gd name="connsiteY44383" fmla="*/ 3082161 h 6557032"/>
              <a:gd name="connsiteX44384" fmla="*/ 1377484 w 4610101"/>
              <a:gd name="connsiteY44384" fmla="*/ 3085647 h 6557032"/>
              <a:gd name="connsiteX44385" fmla="*/ 1379386 w 4610101"/>
              <a:gd name="connsiteY44385" fmla="*/ 3085792 h 6557032"/>
              <a:gd name="connsiteX44386" fmla="*/ 1362987 w 4610101"/>
              <a:gd name="connsiteY44386" fmla="*/ 3098548 h 6557032"/>
              <a:gd name="connsiteX44387" fmla="*/ 1348410 w 4610101"/>
              <a:gd name="connsiteY44387" fmla="*/ 3091258 h 6557032"/>
              <a:gd name="connsiteX44388" fmla="*/ 1333832 w 4610101"/>
              <a:gd name="connsiteY44388" fmla="*/ 3091258 h 6557032"/>
              <a:gd name="connsiteX44389" fmla="*/ 1319254 w 4610101"/>
              <a:gd name="connsiteY44389" fmla="*/ 3069392 h 6557032"/>
              <a:gd name="connsiteX44390" fmla="*/ 1326543 w 4610101"/>
              <a:gd name="connsiteY44390" fmla="*/ 3060283 h 6557032"/>
              <a:gd name="connsiteX44391" fmla="*/ 1346587 w 4610101"/>
              <a:gd name="connsiteY44391" fmla="*/ 3074858 h 6557032"/>
              <a:gd name="connsiteX44392" fmla="*/ 1362987 w 4610101"/>
              <a:gd name="connsiteY44392" fmla="*/ 3062102 h 6557032"/>
              <a:gd name="connsiteX44393" fmla="*/ 1359342 w 4610101"/>
              <a:gd name="connsiteY44393" fmla="*/ 3052993 h 6557032"/>
              <a:gd name="connsiteX44394" fmla="*/ 1353876 w 4610101"/>
              <a:gd name="connsiteY44394" fmla="*/ 3045705 h 6557032"/>
              <a:gd name="connsiteX44395" fmla="*/ 1348410 w 4610101"/>
              <a:gd name="connsiteY44395" fmla="*/ 3036593 h 6557032"/>
              <a:gd name="connsiteX44396" fmla="*/ 1333832 w 4610101"/>
              <a:gd name="connsiteY44396" fmla="*/ 3047527 h 6557032"/>
              <a:gd name="connsiteX44397" fmla="*/ 1324721 w 4610101"/>
              <a:gd name="connsiteY44397" fmla="*/ 3031127 h 6557032"/>
              <a:gd name="connsiteX44398" fmla="*/ 1302855 w 4610101"/>
              <a:gd name="connsiteY44398" fmla="*/ 3047527 h 6557032"/>
              <a:gd name="connsiteX44399" fmla="*/ 1302855 w 4610101"/>
              <a:gd name="connsiteY44399" fmla="*/ 3023840 h 6557032"/>
              <a:gd name="connsiteX44400" fmla="*/ 1280989 w 4610101"/>
              <a:gd name="connsiteY44400" fmla="*/ 3040237 h 6557032"/>
              <a:gd name="connsiteX44401" fmla="*/ 1277344 w 4610101"/>
              <a:gd name="connsiteY44401" fmla="*/ 3018372 h 6557032"/>
              <a:gd name="connsiteX44402" fmla="*/ 1271878 w 4610101"/>
              <a:gd name="connsiteY44402" fmla="*/ 3003796 h 6557032"/>
              <a:gd name="connsiteX44403" fmla="*/ 1250012 w 4610101"/>
              <a:gd name="connsiteY44403" fmla="*/ 2994684 h 6557032"/>
              <a:gd name="connsiteX44404" fmla="*/ 1250012 w 4610101"/>
              <a:gd name="connsiteY44404" fmla="*/ 2980107 h 6557032"/>
              <a:gd name="connsiteX44405" fmla="*/ 1233612 w 4610101"/>
              <a:gd name="connsiteY44405" fmla="*/ 2981929 h 6557032"/>
              <a:gd name="connsiteX44406" fmla="*/ 1250012 w 4610101"/>
              <a:gd name="connsiteY44406" fmla="*/ 2994684 h 6557032"/>
              <a:gd name="connsiteX44407" fmla="*/ 1182592 w 4610101"/>
              <a:gd name="connsiteY44407" fmla="*/ 3016550 h 6557032"/>
              <a:gd name="connsiteX44408" fmla="*/ 1213568 w 4610101"/>
              <a:gd name="connsiteY44408" fmla="*/ 2985572 h 6557032"/>
              <a:gd name="connsiteX44409" fmla="*/ 1213568 w 4610101"/>
              <a:gd name="connsiteY44409" fmla="*/ 2970997 h 6557032"/>
              <a:gd name="connsiteX44410" fmla="*/ 1198991 w 4610101"/>
              <a:gd name="connsiteY44410" fmla="*/ 2970997 h 6557032"/>
              <a:gd name="connsiteX44411" fmla="*/ 1198991 w 4610101"/>
              <a:gd name="connsiteY44411" fmla="*/ 2956417 h 6557032"/>
              <a:gd name="connsiteX44412" fmla="*/ 1168014 w 4610101"/>
              <a:gd name="connsiteY44412" fmla="*/ 2978285 h 6557032"/>
              <a:gd name="connsiteX44413" fmla="*/ 1129748 w 4610101"/>
              <a:gd name="connsiteY44413" fmla="*/ 2947308 h 6557032"/>
              <a:gd name="connsiteX44414" fmla="*/ 1129748 w 4610101"/>
              <a:gd name="connsiteY44414" fmla="*/ 2925442 h 6557032"/>
              <a:gd name="connsiteX44415" fmla="*/ 1146148 w 4610101"/>
              <a:gd name="connsiteY44415" fmla="*/ 2901755 h 6557032"/>
              <a:gd name="connsiteX44416" fmla="*/ 1142503 w 4610101"/>
              <a:gd name="connsiteY44416" fmla="*/ 2896287 h 6557032"/>
              <a:gd name="connsiteX44417" fmla="*/ 1144326 w 4610101"/>
              <a:gd name="connsiteY44417" fmla="*/ 2894465 h 6557032"/>
              <a:gd name="connsiteX44418" fmla="*/ 1149792 w 4610101"/>
              <a:gd name="connsiteY44418" fmla="*/ 2887177 h 6557032"/>
              <a:gd name="connsiteX44419" fmla="*/ 1151614 w 4610101"/>
              <a:gd name="connsiteY44419" fmla="*/ 2887177 h 6557032"/>
              <a:gd name="connsiteX44420" fmla="*/ 1153436 w 4610101"/>
              <a:gd name="connsiteY44420" fmla="*/ 2885355 h 6557032"/>
              <a:gd name="connsiteX44421" fmla="*/ 1175303 w 4610101"/>
              <a:gd name="connsiteY44421" fmla="*/ 2865312 h 6557032"/>
              <a:gd name="connsiteX44422" fmla="*/ 1215390 w 4610101"/>
              <a:gd name="connsiteY44422" fmla="*/ 2828868 h 6557032"/>
              <a:gd name="connsiteX44423" fmla="*/ 1231790 w 4610101"/>
              <a:gd name="connsiteY44423" fmla="*/ 2819757 h 6557032"/>
              <a:gd name="connsiteX44424" fmla="*/ 1270056 w 4610101"/>
              <a:gd name="connsiteY44424" fmla="*/ 2797891 h 6557032"/>
              <a:gd name="connsiteX44425" fmla="*/ 1271878 w 4610101"/>
              <a:gd name="connsiteY44425" fmla="*/ 2796068 h 6557032"/>
              <a:gd name="connsiteX44426" fmla="*/ 1290100 w 4610101"/>
              <a:gd name="connsiteY44426" fmla="*/ 2785136 h 6557032"/>
              <a:gd name="connsiteX44427" fmla="*/ 1332009 w 4610101"/>
              <a:gd name="connsiteY44427" fmla="*/ 2768736 h 6557032"/>
              <a:gd name="connsiteX44428" fmla="*/ 1248189 w 4610101"/>
              <a:gd name="connsiteY44428" fmla="*/ 2799711 h 6557032"/>
              <a:gd name="connsiteX44429" fmla="*/ 1209925 w 4610101"/>
              <a:gd name="connsiteY44429" fmla="*/ 2827045 h 6557032"/>
              <a:gd name="connsiteX44430" fmla="*/ 1188058 w 4610101"/>
              <a:gd name="connsiteY44430" fmla="*/ 2843444 h 6557032"/>
              <a:gd name="connsiteX44431" fmla="*/ 1157081 w 4610101"/>
              <a:gd name="connsiteY44431" fmla="*/ 2870778 h 6557032"/>
              <a:gd name="connsiteX44432" fmla="*/ 1158903 w 4610101"/>
              <a:gd name="connsiteY44432" fmla="*/ 2865312 h 6557032"/>
              <a:gd name="connsiteX44433" fmla="*/ 1153436 w 4610101"/>
              <a:gd name="connsiteY44433" fmla="*/ 2856200 h 6557032"/>
              <a:gd name="connsiteX44434" fmla="*/ 1155259 w 4610101"/>
              <a:gd name="connsiteY44434" fmla="*/ 2856200 h 6557032"/>
              <a:gd name="connsiteX44435" fmla="*/ 1146148 w 4610101"/>
              <a:gd name="connsiteY44435" fmla="*/ 2836156 h 6557032"/>
              <a:gd name="connsiteX44436" fmla="*/ 1160725 w 4610101"/>
              <a:gd name="connsiteY44436" fmla="*/ 2830688 h 6557032"/>
              <a:gd name="connsiteX44437" fmla="*/ 1147970 w 4610101"/>
              <a:gd name="connsiteY44437" fmla="*/ 2823401 h 6557032"/>
              <a:gd name="connsiteX44438" fmla="*/ 1149792 w 4610101"/>
              <a:gd name="connsiteY44438" fmla="*/ 2810645 h 6557032"/>
              <a:gd name="connsiteX44439" fmla="*/ 1135215 w 4610101"/>
              <a:gd name="connsiteY44439" fmla="*/ 2825223 h 6557032"/>
              <a:gd name="connsiteX44440" fmla="*/ 1135215 w 4610101"/>
              <a:gd name="connsiteY44440" fmla="*/ 2819757 h 6557032"/>
              <a:gd name="connsiteX44441" fmla="*/ 1127926 w 4610101"/>
              <a:gd name="connsiteY44441" fmla="*/ 2827045 h 6557032"/>
              <a:gd name="connsiteX44442" fmla="*/ 1124282 w 4610101"/>
              <a:gd name="connsiteY44442" fmla="*/ 2827045 h 6557032"/>
              <a:gd name="connsiteX44443" fmla="*/ 1126104 w 4610101"/>
              <a:gd name="connsiteY44443" fmla="*/ 2825223 h 6557032"/>
              <a:gd name="connsiteX44444" fmla="*/ 1124282 w 4610101"/>
              <a:gd name="connsiteY44444" fmla="*/ 2823401 h 6557032"/>
              <a:gd name="connsiteX44445" fmla="*/ 1131570 w 4610101"/>
              <a:gd name="connsiteY44445" fmla="*/ 2805179 h 6557032"/>
              <a:gd name="connsiteX44446" fmla="*/ 1151614 w 4610101"/>
              <a:gd name="connsiteY44446" fmla="*/ 2796068 h 6557032"/>
              <a:gd name="connsiteX44447" fmla="*/ 1166192 w 4610101"/>
              <a:gd name="connsiteY44447" fmla="*/ 2786957 h 6557032"/>
              <a:gd name="connsiteX44448" fmla="*/ 1166192 w 4610101"/>
              <a:gd name="connsiteY44448" fmla="*/ 2783314 h 6557032"/>
              <a:gd name="connsiteX44449" fmla="*/ 1200814 w 4610101"/>
              <a:gd name="connsiteY44449" fmla="*/ 2770558 h 6557032"/>
              <a:gd name="connsiteX44450" fmla="*/ 1220858 w 4610101"/>
              <a:gd name="connsiteY44450" fmla="*/ 2763270 h 6557032"/>
              <a:gd name="connsiteX44451" fmla="*/ 1211747 w 4610101"/>
              <a:gd name="connsiteY44451" fmla="*/ 2759624 h 6557032"/>
              <a:gd name="connsiteX44452" fmla="*/ 1188058 w 4610101"/>
              <a:gd name="connsiteY44452" fmla="*/ 2768736 h 6557032"/>
              <a:gd name="connsiteX44453" fmla="*/ 1189880 w 4610101"/>
              <a:gd name="connsiteY44453" fmla="*/ 2763270 h 6557032"/>
              <a:gd name="connsiteX44454" fmla="*/ 1184414 w 4610101"/>
              <a:gd name="connsiteY44454" fmla="*/ 2768736 h 6557032"/>
              <a:gd name="connsiteX44455" fmla="*/ 1151614 w 4610101"/>
              <a:gd name="connsiteY44455" fmla="*/ 2790601 h 6557032"/>
              <a:gd name="connsiteX44456" fmla="*/ 1147970 w 4610101"/>
              <a:gd name="connsiteY44456" fmla="*/ 2790601 h 6557032"/>
              <a:gd name="connsiteX44457" fmla="*/ 1133393 w 4610101"/>
              <a:gd name="connsiteY44457" fmla="*/ 2799711 h 6557032"/>
              <a:gd name="connsiteX44458" fmla="*/ 1133393 w 4610101"/>
              <a:gd name="connsiteY44458" fmla="*/ 2797891 h 6557032"/>
              <a:gd name="connsiteX44459" fmla="*/ 1124282 w 4610101"/>
              <a:gd name="connsiteY44459" fmla="*/ 2785136 h 6557032"/>
              <a:gd name="connsiteX44460" fmla="*/ 1113349 w 4610101"/>
              <a:gd name="connsiteY44460" fmla="*/ 2779669 h 6557032"/>
              <a:gd name="connsiteX44461" fmla="*/ 1126104 w 4610101"/>
              <a:gd name="connsiteY44461" fmla="*/ 2777846 h 6557032"/>
              <a:gd name="connsiteX44462" fmla="*/ 1138859 w 4610101"/>
              <a:gd name="connsiteY44462" fmla="*/ 2770558 h 6557032"/>
              <a:gd name="connsiteX44463" fmla="*/ 1113349 w 4610101"/>
              <a:gd name="connsiteY44463" fmla="*/ 2770558 h 6557032"/>
              <a:gd name="connsiteX44464" fmla="*/ 1137037 w 4610101"/>
              <a:gd name="connsiteY44464" fmla="*/ 2757802 h 6557032"/>
              <a:gd name="connsiteX44465" fmla="*/ 1144326 w 4610101"/>
              <a:gd name="connsiteY44465" fmla="*/ 2755980 h 6557032"/>
              <a:gd name="connsiteX44466" fmla="*/ 1137037 w 4610101"/>
              <a:gd name="connsiteY44466" fmla="*/ 2755980 h 6557032"/>
              <a:gd name="connsiteX44467" fmla="*/ 1133393 w 4610101"/>
              <a:gd name="connsiteY44467" fmla="*/ 2750514 h 6557032"/>
              <a:gd name="connsiteX44468" fmla="*/ 1144326 w 4610101"/>
              <a:gd name="connsiteY44468" fmla="*/ 2746869 h 6557032"/>
              <a:gd name="connsiteX44469" fmla="*/ 1162547 w 4610101"/>
              <a:gd name="connsiteY44469" fmla="*/ 2746869 h 6557032"/>
              <a:gd name="connsiteX44470" fmla="*/ 1164370 w 4610101"/>
              <a:gd name="connsiteY44470" fmla="*/ 2743225 h 6557032"/>
              <a:gd name="connsiteX44471" fmla="*/ 1222679 w 4610101"/>
              <a:gd name="connsiteY44471" fmla="*/ 2734114 h 6557032"/>
              <a:gd name="connsiteX44472" fmla="*/ 1229969 w 4610101"/>
              <a:gd name="connsiteY44472" fmla="*/ 2743225 h 6557032"/>
              <a:gd name="connsiteX44473" fmla="*/ 1233612 w 4610101"/>
              <a:gd name="connsiteY44473" fmla="*/ 2737758 h 6557032"/>
              <a:gd name="connsiteX44474" fmla="*/ 1239080 w 4610101"/>
              <a:gd name="connsiteY44474" fmla="*/ 2737758 h 6557032"/>
              <a:gd name="connsiteX44475" fmla="*/ 1246367 w 4610101"/>
              <a:gd name="connsiteY44475" fmla="*/ 2743225 h 6557032"/>
              <a:gd name="connsiteX44476" fmla="*/ 1260945 w 4610101"/>
              <a:gd name="connsiteY44476" fmla="*/ 2759624 h 6557032"/>
              <a:gd name="connsiteX44477" fmla="*/ 1257300 w 4610101"/>
              <a:gd name="connsiteY44477" fmla="*/ 2745047 h 6557032"/>
              <a:gd name="connsiteX44478" fmla="*/ 1266411 w 4610101"/>
              <a:gd name="connsiteY44478" fmla="*/ 2754158 h 6557032"/>
              <a:gd name="connsiteX44479" fmla="*/ 1268233 w 4610101"/>
              <a:gd name="connsiteY44479" fmla="*/ 2750514 h 6557032"/>
              <a:gd name="connsiteX44480" fmla="*/ 1284633 w 4610101"/>
              <a:gd name="connsiteY44480" fmla="*/ 2757802 h 6557032"/>
              <a:gd name="connsiteX44481" fmla="*/ 1295566 w 4610101"/>
              <a:gd name="connsiteY44481" fmla="*/ 2754158 h 6557032"/>
              <a:gd name="connsiteX44482" fmla="*/ 1282811 w 4610101"/>
              <a:gd name="connsiteY44482" fmla="*/ 2741403 h 6557032"/>
              <a:gd name="connsiteX44483" fmla="*/ 1290100 w 4610101"/>
              <a:gd name="connsiteY44483" fmla="*/ 2735937 h 6557032"/>
              <a:gd name="connsiteX44484" fmla="*/ 1286455 w 4610101"/>
              <a:gd name="connsiteY44484" fmla="*/ 2732292 h 6557032"/>
              <a:gd name="connsiteX44485" fmla="*/ 1291922 w 4610101"/>
              <a:gd name="connsiteY44485" fmla="*/ 2726824 h 6557032"/>
              <a:gd name="connsiteX44486" fmla="*/ 1275522 w 4610101"/>
              <a:gd name="connsiteY44486" fmla="*/ 2725003 h 6557032"/>
              <a:gd name="connsiteX44487" fmla="*/ 1280989 w 4610101"/>
              <a:gd name="connsiteY44487" fmla="*/ 2719537 h 6557032"/>
              <a:gd name="connsiteX44488" fmla="*/ 1293744 w 4610101"/>
              <a:gd name="connsiteY44488" fmla="*/ 2723181 h 6557032"/>
              <a:gd name="connsiteX44489" fmla="*/ 1293744 w 4610101"/>
              <a:gd name="connsiteY44489" fmla="*/ 2717714 h 6557032"/>
              <a:gd name="connsiteX44490" fmla="*/ 1299210 w 4610101"/>
              <a:gd name="connsiteY44490" fmla="*/ 2717714 h 6557032"/>
              <a:gd name="connsiteX44491" fmla="*/ 1297388 w 4610101"/>
              <a:gd name="connsiteY44491" fmla="*/ 2723181 h 6557032"/>
              <a:gd name="connsiteX44492" fmla="*/ 1301033 w 4610101"/>
              <a:gd name="connsiteY44492" fmla="*/ 2725003 h 6557032"/>
              <a:gd name="connsiteX44493" fmla="*/ 1302855 w 4610101"/>
              <a:gd name="connsiteY44493" fmla="*/ 2721359 h 6557032"/>
              <a:gd name="connsiteX44494" fmla="*/ 1306499 w 4610101"/>
              <a:gd name="connsiteY44494" fmla="*/ 2723181 h 6557032"/>
              <a:gd name="connsiteX44495" fmla="*/ 1302855 w 4610101"/>
              <a:gd name="connsiteY44495" fmla="*/ 2715891 h 6557032"/>
              <a:gd name="connsiteX44496" fmla="*/ 1315610 w 4610101"/>
              <a:gd name="connsiteY44496" fmla="*/ 2712249 h 6557032"/>
              <a:gd name="connsiteX44497" fmla="*/ 1315610 w 4610101"/>
              <a:gd name="connsiteY44497" fmla="*/ 2715891 h 6557032"/>
              <a:gd name="connsiteX44498" fmla="*/ 1317432 w 4610101"/>
              <a:gd name="connsiteY44498" fmla="*/ 2712249 h 6557032"/>
              <a:gd name="connsiteX44499" fmla="*/ 1342942 w 4610101"/>
              <a:gd name="connsiteY44499" fmla="*/ 2708604 h 6557032"/>
              <a:gd name="connsiteX44500" fmla="*/ 1346587 w 4610101"/>
              <a:gd name="connsiteY44500" fmla="*/ 2706782 h 6557032"/>
              <a:gd name="connsiteX44501" fmla="*/ 1372097 w 4610101"/>
              <a:gd name="connsiteY44501" fmla="*/ 2703136 h 6557032"/>
              <a:gd name="connsiteX44502" fmla="*/ 1379386 w 4610101"/>
              <a:gd name="connsiteY44502" fmla="*/ 2701315 h 6557032"/>
              <a:gd name="connsiteX44503" fmla="*/ 1386676 w 4610101"/>
              <a:gd name="connsiteY44503" fmla="*/ 2699492 h 6557032"/>
              <a:gd name="connsiteX44504" fmla="*/ 1379386 w 4610101"/>
              <a:gd name="connsiteY44504" fmla="*/ 2697671 h 6557032"/>
              <a:gd name="connsiteX44505" fmla="*/ 1357521 w 4610101"/>
              <a:gd name="connsiteY44505" fmla="*/ 2701315 h 6557032"/>
              <a:gd name="connsiteX44506" fmla="*/ 1337704 w 4610101"/>
              <a:gd name="connsiteY44506" fmla="*/ 2705415 h 6557032"/>
              <a:gd name="connsiteX44507" fmla="*/ 1326728 w 4610101"/>
              <a:gd name="connsiteY44507" fmla="*/ 2706228 h 6557032"/>
              <a:gd name="connsiteX44508" fmla="*/ 1328365 w 4610101"/>
              <a:gd name="connsiteY44508" fmla="*/ 2701315 h 6557032"/>
              <a:gd name="connsiteX44509" fmla="*/ 1319254 w 4610101"/>
              <a:gd name="connsiteY44509" fmla="*/ 2697671 h 6557032"/>
              <a:gd name="connsiteX44510" fmla="*/ 1322899 w 4610101"/>
              <a:gd name="connsiteY44510" fmla="*/ 2690381 h 6557032"/>
              <a:gd name="connsiteX44511" fmla="*/ 1313788 w 4610101"/>
              <a:gd name="connsiteY44511" fmla="*/ 2701315 h 6557032"/>
              <a:gd name="connsiteX44512" fmla="*/ 1310143 w 4610101"/>
              <a:gd name="connsiteY44512" fmla="*/ 2699492 h 6557032"/>
              <a:gd name="connsiteX44513" fmla="*/ 1290100 w 4610101"/>
              <a:gd name="connsiteY44513" fmla="*/ 2714070 h 6557032"/>
              <a:gd name="connsiteX44514" fmla="*/ 1282811 w 4610101"/>
              <a:gd name="connsiteY44514" fmla="*/ 2710426 h 6557032"/>
              <a:gd name="connsiteX44515" fmla="*/ 1295566 w 4610101"/>
              <a:gd name="connsiteY44515" fmla="*/ 2701315 h 6557032"/>
              <a:gd name="connsiteX44516" fmla="*/ 1277344 w 4610101"/>
              <a:gd name="connsiteY44516" fmla="*/ 2699492 h 6557032"/>
              <a:gd name="connsiteX44517" fmla="*/ 1277344 w 4610101"/>
              <a:gd name="connsiteY44517" fmla="*/ 2695848 h 6557032"/>
              <a:gd name="connsiteX44518" fmla="*/ 1255478 w 4610101"/>
              <a:gd name="connsiteY44518" fmla="*/ 2719537 h 6557032"/>
              <a:gd name="connsiteX44519" fmla="*/ 1260945 w 4610101"/>
              <a:gd name="connsiteY44519" fmla="*/ 2703136 h 6557032"/>
              <a:gd name="connsiteX44520" fmla="*/ 1240901 w 4610101"/>
              <a:gd name="connsiteY44520" fmla="*/ 2721359 h 6557032"/>
              <a:gd name="connsiteX44521" fmla="*/ 1228146 w 4610101"/>
              <a:gd name="connsiteY44521" fmla="*/ 2715891 h 6557032"/>
              <a:gd name="connsiteX44522" fmla="*/ 1237256 w 4610101"/>
              <a:gd name="connsiteY44522" fmla="*/ 2708604 h 6557032"/>
              <a:gd name="connsiteX44523" fmla="*/ 1240901 w 4610101"/>
              <a:gd name="connsiteY44523" fmla="*/ 2688560 h 6557032"/>
              <a:gd name="connsiteX44524" fmla="*/ 1229969 w 4610101"/>
              <a:gd name="connsiteY44524" fmla="*/ 2699492 h 6557032"/>
              <a:gd name="connsiteX44525" fmla="*/ 1224501 w 4610101"/>
              <a:gd name="connsiteY44525" fmla="*/ 2708604 h 6557032"/>
              <a:gd name="connsiteX44526" fmla="*/ 1219036 w 4610101"/>
              <a:gd name="connsiteY44526" fmla="*/ 2690381 h 6557032"/>
              <a:gd name="connsiteX44527" fmla="*/ 1222679 w 4610101"/>
              <a:gd name="connsiteY44527" fmla="*/ 2710426 h 6557032"/>
              <a:gd name="connsiteX44528" fmla="*/ 1220858 w 4610101"/>
              <a:gd name="connsiteY44528" fmla="*/ 2714070 h 6557032"/>
              <a:gd name="connsiteX44529" fmla="*/ 1206279 w 4610101"/>
              <a:gd name="connsiteY44529" fmla="*/ 2712249 h 6557032"/>
              <a:gd name="connsiteX44530" fmla="*/ 1209925 w 4610101"/>
              <a:gd name="connsiteY44530" fmla="*/ 2715891 h 6557032"/>
              <a:gd name="connsiteX44531" fmla="*/ 1198991 w 4610101"/>
              <a:gd name="connsiteY44531" fmla="*/ 2725003 h 6557032"/>
              <a:gd name="connsiteX44532" fmla="*/ 1209925 w 4610101"/>
              <a:gd name="connsiteY44532" fmla="*/ 2726824 h 6557032"/>
              <a:gd name="connsiteX44533" fmla="*/ 1219036 w 4610101"/>
              <a:gd name="connsiteY44533" fmla="*/ 2721359 h 6557032"/>
              <a:gd name="connsiteX44534" fmla="*/ 1217213 w 4610101"/>
              <a:gd name="connsiteY44534" fmla="*/ 2726824 h 6557032"/>
              <a:gd name="connsiteX44535" fmla="*/ 1191703 w 4610101"/>
              <a:gd name="connsiteY44535" fmla="*/ 2730469 h 6557032"/>
              <a:gd name="connsiteX44536" fmla="*/ 1173481 w 4610101"/>
              <a:gd name="connsiteY44536" fmla="*/ 2734114 h 6557032"/>
              <a:gd name="connsiteX44537" fmla="*/ 1173481 w 4610101"/>
              <a:gd name="connsiteY44537" fmla="*/ 2730469 h 6557032"/>
              <a:gd name="connsiteX44538" fmla="*/ 1157081 w 4610101"/>
              <a:gd name="connsiteY44538" fmla="*/ 2737758 h 6557032"/>
              <a:gd name="connsiteX44539" fmla="*/ 1122459 w 4610101"/>
              <a:gd name="connsiteY44539" fmla="*/ 2745047 h 6557032"/>
              <a:gd name="connsiteX44540" fmla="*/ 1104238 w 4610101"/>
              <a:gd name="connsiteY44540" fmla="*/ 2732292 h 6557032"/>
              <a:gd name="connsiteX44541" fmla="*/ 1142503 w 4610101"/>
              <a:gd name="connsiteY44541" fmla="*/ 2730469 h 6557032"/>
              <a:gd name="connsiteX44542" fmla="*/ 1147970 w 4610101"/>
              <a:gd name="connsiteY44542" fmla="*/ 2715891 h 6557032"/>
              <a:gd name="connsiteX44543" fmla="*/ 1124282 w 4610101"/>
              <a:gd name="connsiteY44543" fmla="*/ 2712249 h 6557032"/>
              <a:gd name="connsiteX44544" fmla="*/ 1115171 w 4610101"/>
              <a:gd name="connsiteY44544" fmla="*/ 2712249 h 6557032"/>
              <a:gd name="connsiteX44545" fmla="*/ 1118815 w 4610101"/>
              <a:gd name="connsiteY44545" fmla="*/ 2708604 h 6557032"/>
              <a:gd name="connsiteX44546" fmla="*/ 1113349 w 4610101"/>
              <a:gd name="connsiteY44546" fmla="*/ 2708604 h 6557032"/>
              <a:gd name="connsiteX44547" fmla="*/ 1111526 w 4610101"/>
              <a:gd name="connsiteY44547" fmla="*/ 2697671 h 6557032"/>
              <a:gd name="connsiteX44548" fmla="*/ 1120637 w 4610101"/>
              <a:gd name="connsiteY44548" fmla="*/ 2683549 h 6557032"/>
              <a:gd name="connsiteX44549" fmla="*/ 1124277 w 4610101"/>
              <a:gd name="connsiteY44549" fmla="*/ 2666714 h 6557032"/>
              <a:gd name="connsiteX44550" fmla="*/ 1120637 w 4610101"/>
              <a:gd name="connsiteY44550" fmla="*/ 2666714 h 6557032"/>
              <a:gd name="connsiteX44551" fmla="*/ 1127698 w 4610101"/>
              <a:gd name="connsiteY44551" fmla="*/ 2663980 h 6557032"/>
              <a:gd name="connsiteX44552" fmla="*/ 1133392 w 4610101"/>
              <a:gd name="connsiteY44552" fmla="*/ 2666714 h 6557032"/>
              <a:gd name="connsiteX44553" fmla="*/ 1124311 w 4610101"/>
              <a:gd name="connsiteY44553" fmla="*/ 2666714 h 6557032"/>
              <a:gd name="connsiteX44554" fmla="*/ 1144326 w 4610101"/>
              <a:gd name="connsiteY44554" fmla="*/ 2681270 h 6557032"/>
              <a:gd name="connsiteX44555" fmla="*/ 1175303 w 4610101"/>
              <a:gd name="connsiteY44555" fmla="*/ 2679448 h 6557032"/>
              <a:gd name="connsiteX44556" fmla="*/ 1140681 w 4610101"/>
              <a:gd name="connsiteY44556" fmla="*/ 2661227 h 6557032"/>
              <a:gd name="connsiteX44557" fmla="*/ 1140681 w 4610101"/>
              <a:gd name="connsiteY44557" fmla="*/ 2657583 h 6557032"/>
              <a:gd name="connsiteX44558" fmla="*/ 1135215 w 4610101"/>
              <a:gd name="connsiteY44558" fmla="*/ 2653937 h 6557032"/>
              <a:gd name="connsiteX44559" fmla="*/ 1149792 w 4610101"/>
              <a:gd name="connsiteY44559" fmla="*/ 2663048 h 6557032"/>
              <a:gd name="connsiteX44560" fmla="*/ 1149792 w 4610101"/>
              <a:gd name="connsiteY44560" fmla="*/ 2659404 h 6557032"/>
              <a:gd name="connsiteX44561" fmla="*/ 1169836 w 4610101"/>
              <a:gd name="connsiteY44561" fmla="*/ 2663048 h 6557032"/>
              <a:gd name="connsiteX44562" fmla="*/ 1140681 w 4610101"/>
              <a:gd name="connsiteY44562" fmla="*/ 2646649 h 6557032"/>
              <a:gd name="connsiteX44563" fmla="*/ 1177125 w 4610101"/>
              <a:gd name="connsiteY44563" fmla="*/ 2633895 h 6557032"/>
              <a:gd name="connsiteX44564" fmla="*/ 1180769 w 4610101"/>
              <a:gd name="connsiteY44564" fmla="*/ 2635716 h 6557032"/>
              <a:gd name="connsiteX44565" fmla="*/ 1182592 w 4610101"/>
              <a:gd name="connsiteY44565" fmla="*/ 2632071 h 6557032"/>
              <a:gd name="connsiteX44566" fmla="*/ 1209925 w 4610101"/>
              <a:gd name="connsiteY44566" fmla="*/ 2624783 h 6557032"/>
              <a:gd name="connsiteX44567" fmla="*/ 1211747 w 4610101"/>
              <a:gd name="connsiteY44567" fmla="*/ 2621137 h 6557032"/>
              <a:gd name="connsiteX44568" fmla="*/ 1259123 w 4610101"/>
              <a:gd name="connsiteY44568" fmla="*/ 2610206 h 6557032"/>
              <a:gd name="connsiteX44569" fmla="*/ 1262767 w 4610101"/>
              <a:gd name="connsiteY44569" fmla="*/ 2612028 h 6557032"/>
              <a:gd name="connsiteX44570" fmla="*/ 1260945 w 4610101"/>
              <a:gd name="connsiteY44570" fmla="*/ 2608383 h 6557032"/>
              <a:gd name="connsiteX44571" fmla="*/ 1271878 w 4610101"/>
              <a:gd name="connsiteY44571" fmla="*/ 2604739 h 6557032"/>
              <a:gd name="connsiteX44572" fmla="*/ 1288277 w 4610101"/>
              <a:gd name="connsiteY44572" fmla="*/ 2601095 h 6557032"/>
              <a:gd name="connsiteX44573" fmla="*/ 1282811 w 4610101"/>
              <a:gd name="connsiteY44573" fmla="*/ 2602917 h 6557032"/>
              <a:gd name="connsiteX44574" fmla="*/ 1288277 w 4610101"/>
              <a:gd name="connsiteY44574" fmla="*/ 2608383 h 6557032"/>
              <a:gd name="connsiteX44575" fmla="*/ 1282811 w 4610101"/>
              <a:gd name="connsiteY44575" fmla="*/ 2632071 h 6557032"/>
              <a:gd name="connsiteX44576" fmla="*/ 1288277 w 4610101"/>
              <a:gd name="connsiteY44576" fmla="*/ 2630250 h 6557032"/>
              <a:gd name="connsiteX44577" fmla="*/ 1290100 w 4610101"/>
              <a:gd name="connsiteY44577" fmla="*/ 2633895 h 6557032"/>
              <a:gd name="connsiteX44578" fmla="*/ 1299210 w 4610101"/>
              <a:gd name="connsiteY44578" fmla="*/ 2624783 h 6557032"/>
              <a:gd name="connsiteX44579" fmla="*/ 1306499 w 4610101"/>
              <a:gd name="connsiteY44579" fmla="*/ 2643005 h 6557032"/>
              <a:gd name="connsiteX44580" fmla="*/ 1313788 w 4610101"/>
              <a:gd name="connsiteY44580" fmla="*/ 2630250 h 6557032"/>
              <a:gd name="connsiteX44581" fmla="*/ 1319254 w 4610101"/>
              <a:gd name="connsiteY44581" fmla="*/ 2632071 h 6557032"/>
              <a:gd name="connsiteX44582" fmla="*/ 1310143 w 4610101"/>
              <a:gd name="connsiteY44582" fmla="*/ 2612028 h 6557032"/>
              <a:gd name="connsiteX44583" fmla="*/ 1308321 w 4610101"/>
              <a:gd name="connsiteY44583" fmla="*/ 2604739 h 6557032"/>
              <a:gd name="connsiteX44584" fmla="*/ 1313788 w 4610101"/>
              <a:gd name="connsiteY44584" fmla="*/ 2608383 h 6557032"/>
              <a:gd name="connsiteX44585" fmla="*/ 1335654 w 4610101"/>
              <a:gd name="connsiteY44585" fmla="*/ 2610206 h 6557032"/>
              <a:gd name="connsiteX44586" fmla="*/ 1317432 w 4610101"/>
              <a:gd name="connsiteY44586" fmla="*/ 2601095 h 6557032"/>
              <a:gd name="connsiteX44587" fmla="*/ 1313788 w 4610101"/>
              <a:gd name="connsiteY44587" fmla="*/ 2601095 h 6557032"/>
              <a:gd name="connsiteX44588" fmla="*/ 1322899 w 4610101"/>
              <a:gd name="connsiteY44588" fmla="*/ 2597450 h 6557032"/>
              <a:gd name="connsiteX44589" fmla="*/ 1322899 w 4610101"/>
              <a:gd name="connsiteY44589" fmla="*/ 2593806 h 6557032"/>
              <a:gd name="connsiteX44590" fmla="*/ 1341120 w 4610101"/>
              <a:gd name="connsiteY44590" fmla="*/ 2595628 h 6557032"/>
              <a:gd name="connsiteX44591" fmla="*/ 1352053 w 4610101"/>
              <a:gd name="connsiteY44591" fmla="*/ 2602917 h 6557032"/>
              <a:gd name="connsiteX44592" fmla="*/ 1341120 w 4610101"/>
              <a:gd name="connsiteY44592" fmla="*/ 2591985 h 6557032"/>
              <a:gd name="connsiteX44593" fmla="*/ 1344804 w 4610101"/>
              <a:gd name="connsiteY44593" fmla="*/ 2591985 h 6557032"/>
              <a:gd name="connsiteX44594" fmla="*/ 1349092 w 4610101"/>
              <a:gd name="connsiteY44594" fmla="*/ 2589727 h 6557032"/>
              <a:gd name="connsiteX44595" fmla="*/ 1352053 w 4610101"/>
              <a:gd name="connsiteY44595" fmla="*/ 2590182 h 6557032"/>
              <a:gd name="connsiteX44596" fmla="*/ 1366630 w 4610101"/>
              <a:gd name="connsiteY44596" fmla="*/ 2584715 h 6557032"/>
              <a:gd name="connsiteX44597" fmla="*/ 1357065 w 4610101"/>
              <a:gd name="connsiteY44597" fmla="*/ 2592460 h 6557032"/>
              <a:gd name="connsiteX44598" fmla="*/ 1352514 w 4610101"/>
              <a:gd name="connsiteY44598" fmla="*/ 2592292 h 6557032"/>
              <a:gd name="connsiteX44599" fmla="*/ 1357521 w 4610101"/>
              <a:gd name="connsiteY44599" fmla="*/ 2595628 h 6557032"/>
              <a:gd name="connsiteX44600" fmla="*/ 1357521 w 4610101"/>
              <a:gd name="connsiteY44600" fmla="*/ 2593806 h 6557032"/>
              <a:gd name="connsiteX44601" fmla="*/ 1362987 w 4610101"/>
              <a:gd name="connsiteY44601" fmla="*/ 2595628 h 6557032"/>
              <a:gd name="connsiteX44602" fmla="*/ 1381208 w 4610101"/>
              <a:gd name="connsiteY44602" fmla="*/ 2617494 h 6557032"/>
              <a:gd name="connsiteX44603" fmla="*/ 1379386 w 4610101"/>
              <a:gd name="connsiteY44603" fmla="*/ 2610206 h 6557032"/>
              <a:gd name="connsiteX44604" fmla="*/ 1362987 w 4610101"/>
              <a:gd name="connsiteY44604" fmla="*/ 2591985 h 6557032"/>
              <a:gd name="connsiteX44605" fmla="*/ 1404896 w 4610101"/>
              <a:gd name="connsiteY44605" fmla="*/ 2619317 h 6557032"/>
              <a:gd name="connsiteX44606" fmla="*/ 1386676 w 4610101"/>
              <a:gd name="connsiteY44606" fmla="*/ 2591985 h 6557032"/>
              <a:gd name="connsiteX44607" fmla="*/ 1410363 w 4610101"/>
              <a:gd name="connsiteY44607" fmla="*/ 2604739 h 6557032"/>
              <a:gd name="connsiteX44608" fmla="*/ 1399430 w 4610101"/>
              <a:gd name="connsiteY44608" fmla="*/ 2593806 h 6557032"/>
              <a:gd name="connsiteX44609" fmla="*/ 1419474 w 4610101"/>
              <a:gd name="connsiteY44609" fmla="*/ 2590161 h 6557032"/>
              <a:gd name="connsiteX44610" fmla="*/ 1388497 w 4610101"/>
              <a:gd name="connsiteY44610" fmla="*/ 2584695 h 6557032"/>
              <a:gd name="connsiteX44611" fmla="*/ 1401252 w 4610101"/>
              <a:gd name="connsiteY44611" fmla="*/ 2571940 h 6557032"/>
              <a:gd name="connsiteX44612" fmla="*/ 1419474 w 4610101"/>
              <a:gd name="connsiteY44612" fmla="*/ 2579229 h 6557032"/>
              <a:gd name="connsiteX44613" fmla="*/ 1421296 w 4610101"/>
              <a:gd name="connsiteY44613" fmla="*/ 2586518 h 6557032"/>
              <a:gd name="connsiteX44614" fmla="*/ 1421296 w 4610101"/>
              <a:gd name="connsiteY44614" fmla="*/ 2579229 h 6557032"/>
              <a:gd name="connsiteX44615" fmla="*/ 1437696 w 4610101"/>
              <a:gd name="connsiteY44615" fmla="*/ 2582874 h 6557032"/>
              <a:gd name="connsiteX44616" fmla="*/ 1435873 w 4610101"/>
              <a:gd name="connsiteY44616" fmla="*/ 2575584 h 6557032"/>
              <a:gd name="connsiteX44617" fmla="*/ 1443162 w 4610101"/>
              <a:gd name="connsiteY44617" fmla="*/ 2571940 h 6557032"/>
              <a:gd name="connsiteX44618" fmla="*/ 1423118 w 4610101"/>
              <a:gd name="connsiteY44618" fmla="*/ 2571940 h 6557032"/>
              <a:gd name="connsiteX44619" fmla="*/ 1423118 w 4610101"/>
              <a:gd name="connsiteY44619" fmla="*/ 2570118 h 6557032"/>
              <a:gd name="connsiteX44620" fmla="*/ 1419474 w 4610101"/>
              <a:gd name="connsiteY44620" fmla="*/ 2568295 h 6557032"/>
              <a:gd name="connsiteX44621" fmla="*/ 1454095 w 4610101"/>
              <a:gd name="connsiteY44621" fmla="*/ 2551897 h 6557032"/>
              <a:gd name="connsiteX44622" fmla="*/ 1404896 w 4610101"/>
              <a:gd name="connsiteY44622" fmla="*/ 2564651 h 6557032"/>
              <a:gd name="connsiteX44623" fmla="*/ 1406719 w 4610101"/>
              <a:gd name="connsiteY44623" fmla="*/ 2559185 h 6557032"/>
              <a:gd name="connsiteX44624" fmla="*/ 1397608 w 4610101"/>
              <a:gd name="connsiteY44624" fmla="*/ 2564651 h 6557032"/>
              <a:gd name="connsiteX44625" fmla="*/ 1397608 w 4610101"/>
              <a:gd name="connsiteY44625" fmla="*/ 2559185 h 6557032"/>
              <a:gd name="connsiteX44626" fmla="*/ 1390319 w 4610101"/>
              <a:gd name="connsiteY44626" fmla="*/ 2561006 h 6557032"/>
              <a:gd name="connsiteX44627" fmla="*/ 1392141 w 4610101"/>
              <a:gd name="connsiteY44627" fmla="*/ 2557362 h 6557032"/>
              <a:gd name="connsiteX44628" fmla="*/ 1375743 w 4610101"/>
              <a:gd name="connsiteY44628" fmla="*/ 2568295 h 6557032"/>
              <a:gd name="connsiteX44629" fmla="*/ 1383030 w 4610101"/>
              <a:gd name="connsiteY44629" fmla="*/ 2550074 h 6557032"/>
              <a:gd name="connsiteX44630" fmla="*/ 1384854 w 4610101"/>
              <a:gd name="connsiteY44630" fmla="*/ 2530031 h 6557032"/>
              <a:gd name="connsiteX44631" fmla="*/ 1375743 w 4610101"/>
              <a:gd name="connsiteY44631" fmla="*/ 2551897 h 6557032"/>
              <a:gd name="connsiteX44632" fmla="*/ 1370275 w 4610101"/>
              <a:gd name="connsiteY44632" fmla="*/ 2570118 h 6557032"/>
              <a:gd name="connsiteX44633" fmla="*/ 1342942 w 4610101"/>
              <a:gd name="connsiteY44633" fmla="*/ 2575584 h 6557032"/>
              <a:gd name="connsiteX44634" fmla="*/ 1342942 w 4610101"/>
              <a:gd name="connsiteY44634" fmla="*/ 2571940 h 6557032"/>
              <a:gd name="connsiteX44635" fmla="*/ 1337476 w 4610101"/>
              <a:gd name="connsiteY44635" fmla="*/ 2575584 h 6557032"/>
              <a:gd name="connsiteX44636" fmla="*/ 1313788 w 4610101"/>
              <a:gd name="connsiteY44636" fmla="*/ 2582874 h 6557032"/>
              <a:gd name="connsiteX44637" fmla="*/ 1319254 w 4610101"/>
              <a:gd name="connsiteY44637" fmla="*/ 2571940 h 6557032"/>
              <a:gd name="connsiteX44638" fmla="*/ 1339299 w 4610101"/>
              <a:gd name="connsiteY44638" fmla="*/ 2561006 h 6557032"/>
              <a:gd name="connsiteX44639" fmla="*/ 1310143 w 4610101"/>
              <a:gd name="connsiteY44639" fmla="*/ 2559185 h 6557032"/>
              <a:gd name="connsiteX44640" fmla="*/ 1341120 w 4610101"/>
              <a:gd name="connsiteY44640" fmla="*/ 2551897 h 6557032"/>
              <a:gd name="connsiteX44641" fmla="*/ 1324721 w 4610101"/>
              <a:gd name="connsiteY44641" fmla="*/ 2550074 h 6557032"/>
              <a:gd name="connsiteX44642" fmla="*/ 1333832 w 4610101"/>
              <a:gd name="connsiteY44642" fmla="*/ 2531852 h 6557032"/>
              <a:gd name="connsiteX44643" fmla="*/ 1308321 w 4610101"/>
              <a:gd name="connsiteY44643" fmla="*/ 2550074 h 6557032"/>
              <a:gd name="connsiteX44644" fmla="*/ 1304677 w 4610101"/>
              <a:gd name="connsiteY44644" fmla="*/ 2550074 h 6557032"/>
              <a:gd name="connsiteX44645" fmla="*/ 1304677 w 4610101"/>
              <a:gd name="connsiteY44645" fmla="*/ 2522741 h 6557032"/>
              <a:gd name="connsiteX44646" fmla="*/ 1301033 w 4610101"/>
              <a:gd name="connsiteY44646" fmla="*/ 2544608 h 6557032"/>
              <a:gd name="connsiteX44647" fmla="*/ 1297388 w 4610101"/>
              <a:gd name="connsiteY44647" fmla="*/ 2546430 h 6557032"/>
              <a:gd name="connsiteX44648" fmla="*/ 1301033 w 4610101"/>
              <a:gd name="connsiteY44648" fmla="*/ 2551897 h 6557032"/>
              <a:gd name="connsiteX44649" fmla="*/ 1301033 w 4610101"/>
              <a:gd name="connsiteY44649" fmla="*/ 2559185 h 6557032"/>
              <a:gd name="connsiteX44650" fmla="*/ 1295566 w 4610101"/>
              <a:gd name="connsiteY44650" fmla="*/ 2562830 h 6557032"/>
              <a:gd name="connsiteX44651" fmla="*/ 1279166 w 4610101"/>
              <a:gd name="connsiteY44651" fmla="*/ 2555541 h 6557032"/>
              <a:gd name="connsiteX44652" fmla="*/ 1270056 w 4610101"/>
              <a:gd name="connsiteY44652" fmla="*/ 2561006 h 6557032"/>
              <a:gd name="connsiteX44653" fmla="*/ 1286455 w 4610101"/>
              <a:gd name="connsiteY44653" fmla="*/ 2570118 h 6557032"/>
              <a:gd name="connsiteX44654" fmla="*/ 1280989 w 4610101"/>
              <a:gd name="connsiteY44654" fmla="*/ 2590161 h 6557032"/>
              <a:gd name="connsiteX44655" fmla="*/ 1226323 w 4610101"/>
              <a:gd name="connsiteY44655" fmla="*/ 2606562 h 6557032"/>
              <a:gd name="connsiteX44656" fmla="*/ 1224501 w 4610101"/>
              <a:gd name="connsiteY44656" fmla="*/ 2602917 h 6557032"/>
              <a:gd name="connsiteX44657" fmla="*/ 1157081 w 4610101"/>
              <a:gd name="connsiteY44657" fmla="*/ 2628427 h 6557032"/>
              <a:gd name="connsiteX44658" fmla="*/ 1168014 w 4610101"/>
              <a:gd name="connsiteY44658" fmla="*/ 2613850 h 6557032"/>
              <a:gd name="connsiteX44659" fmla="*/ 1164384 w 4610101"/>
              <a:gd name="connsiteY44659" fmla="*/ 2613850 h 6557032"/>
              <a:gd name="connsiteX44660" fmla="*/ 1164370 w 4610101"/>
              <a:gd name="connsiteY44660" fmla="*/ 2613868 h 6557032"/>
              <a:gd name="connsiteX44661" fmla="*/ 1164352 w 4610101"/>
              <a:gd name="connsiteY44661" fmla="*/ 2613850 h 6557032"/>
              <a:gd name="connsiteX44662" fmla="*/ 1158903 w 4610101"/>
              <a:gd name="connsiteY44662" fmla="*/ 2613850 h 6557032"/>
              <a:gd name="connsiteX44663" fmla="*/ 1162547 w 4610101"/>
              <a:gd name="connsiteY44663" fmla="*/ 2608383 h 6557032"/>
              <a:gd name="connsiteX44664" fmla="*/ 1173481 w 4610101"/>
              <a:gd name="connsiteY44664" fmla="*/ 2608383 h 6557032"/>
              <a:gd name="connsiteX44665" fmla="*/ 1168014 w 4610101"/>
              <a:gd name="connsiteY44665" fmla="*/ 2601095 h 6557032"/>
              <a:gd name="connsiteX44666" fmla="*/ 1169836 w 4610101"/>
              <a:gd name="connsiteY44666" fmla="*/ 2597450 h 6557032"/>
              <a:gd name="connsiteX44667" fmla="*/ 1193525 w 4610101"/>
              <a:gd name="connsiteY44667" fmla="*/ 2595628 h 6557032"/>
              <a:gd name="connsiteX44668" fmla="*/ 1191703 w 4610101"/>
              <a:gd name="connsiteY44668" fmla="*/ 2591985 h 6557032"/>
              <a:gd name="connsiteX44669" fmla="*/ 1215390 w 4610101"/>
              <a:gd name="connsiteY44669" fmla="*/ 2586518 h 6557032"/>
              <a:gd name="connsiteX44670" fmla="*/ 1228146 w 4610101"/>
              <a:gd name="connsiteY44670" fmla="*/ 2582874 h 6557032"/>
              <a:gd name="connsiteX44671" fmla="*/ 1244545 w 4610101"/>
              <a:gd name="connsiteY44671" fmla="*/ 2575584 h 6557032"/>
              <a:gd name="connsiteX44672" fmla="*/ 1250012 w 4610101"/>
              <a:gd name="connsiteY44672" fmla="*/ 2570118 h 6557032"/>
              <a:gd name="connsiteX44673" fmla="*/ 1253656 w 4610101"/>
              <a:gd name="connsiteY44673" fmla="*/ 2573763 h 6557032"/>
              <a:gd name="connsiteX44674" fmla="*/ 1251834 w 4610101"/>
              <a:gd name="connsiteY44674" fmla="*/ 2568295 h 6557032"/>
              <a:gd name="connsiteX44675" fmla="*/ 1259123 w 4610101"/>
              <a:gd name="connsiteY44675" fmla="*/ 2568295 h 6557032"/>
              <a:gd name="connsiteX44676" fmla="*/ 1260945 w 4610101"/>
              <a:gd name="connsiteY44676" fmla="*/ 2562830 h 6557032"/>
              <a:gd name="connsiteX44677" fmla="*/ 1257300 w 4610101"/>
              <a:gd name="connsiteY44677" fmla="*/ 2561006 h 6557032"/>
              <a:gd name="connsiteX44678" fmla="*/ 1253656 w 4610101"/>
              <a:gd name="connsiteY44678" fmla="*/ 2566474 h 6557032"/>
              <a:gd name="connsiteX44679" fmla="*/ 1250012 w 4610101"/>
              <a:gd name="connsiteY44679" fmla="*/ 2564651 h 6557032"/>
              <a:gd name="connsiteX44680" fmla="*/ 1251834 w 4610101"/>
              <a:gd name="connsiteY44680" fmla="*/ 2568295 h 6557032"/>
              <a:gd name="connsiteX44681" fmla="*/ 1237256 w 4610101"/>
              <a:gd name="connsiteY44681" fmla="*/ 2573763 h 6557032"/>
              <a:gd name="connsiteX44682" fmla="*/ 1208102 w 4610101"/>
              <a:gd name="connsiteY44682" fmla="*/ 2586518 h 6557032"/>
              <a:gd name="connsiteX44683" fmla="*/ 1206279 w 4610101"/>
              <a:gd name="connsiteY44683" fmla="*/ 2584695 h 6557032"/>
              <a:gd name="connsiteX44684" fmla="*/ 1189880 w 4610101"/>
              <a:gd name="connsiteY44684" fmla="*/ 2591985 h 6557032"/>
              <a:gd name="connsiteX44685" fmla="*/ 1178947 w 4610101"/>
              <a:gd name="connsiteY44685" fmla="*/ 2590161 h 6557032"/>
              <a:gd name="connsiteX44686" fmla="*/ 1177125 w 4610101"/>
              <a:gd name="connsiteY44686" fmla="*/ 2593806 h 6557032"/>
              <a:gd name="connsiteX44687" fmla="*/ 1169836 w 4610101"/>
              <a:gd name="connsiteY44687" fmla="*/ 2593806 h 6557032"/>
              <a:gd name="connsiteX44688" fmla="*/ 1180769 w 4610101"/>
              <a:gd name="connsiteY44688" fmla="*/ 2577407 h 6557032"/>
              <a:gd name="connsiteX44689" fmla="*/ 1175303 w 4610101"/>
              <a:gd name="connsiteY44689" fmla="*/ 2577407 h 6557032"/>
              <a:gd name="connsiteX44690" fmla="*/ 1177125 w 4610101"/>
              <a:gd name="connsiteY44690" fmla="*/ 2568295 h 6557032"/>
              <a:gd name="connsiteX44691" fmla="*/ 1160725 w 4610101"/>
              <a:gd name="connsiteY44691" fmla="*/ 2577407 h 6557032"/>
              <a:gd name="connsiteX44692" fmla="*/ 1158903 w 4610101"/>
              <a:gd name="connsiteY44692" fmla="*/ 2582874 h 6557032"/>
              <a:gd name="connsiteX44693" fmla="*/ 1157081 w 4610101"/>
              <a:gd name="connsiteY44693" fmla="*/ 2566474 h 6557032"/>
              <a:gd name="connsiteX44694" fmla="*/ 1155259 w 4610101"/>
              <a:gd name="connsiteY44694" fmla="*/ 2566474 h 6557032"/>
              <a:gd name="connsiteX44695" fmla="*/ 1149792 w 4610101"/>
              <a:gd name="connsiteY44695" fmla="*/ 2579229 h 6557032"/>
              <a:gd name="connsiteX44696" fmla="*/ 1138859 w 4610101"/>
              <a:gd name="connsiteY44696" fmla="*/ 2568295 h 6557032"/>
              <a:gd name="connsiteX44697" fmla="*/ 1149792 w 4610101"/>
              <a:gd name="connsiteY44697" fmla="*/ 2591985 h 6557032"/>
              <a:gd name="connsiteX44698" fmla="*/ 1142503 w 4610101"/>
              <a:gd name="connsiteY44698" fmla="*/ 2593806 h 6557032"/>
              <a:gd name="connsiteX44699" fmla="*/ 1144326 w 4610101"/>
              <a:gd name="connsiteY44699" fmla="*/ 2597450 h 6557032"/>
              <a:gd name="connsiteX44700" fmla="*/ 1129748 w 4610101"/>
              <a:gd name="connsiteY44700" fmla="*/ 2597450 h 6557032"/>
              <a:gd name="connsiteX44701" fmla="*/ 1127926 w 4610101"/>
              <a:gd name="connsiteY44701" fmla="*/ 2597450 h 6557032"/>
              <a:gd name="connsiteX44702" fmla="*/ 1100593 w 4610101"/>
              <a:gd name="connsiteY44702" fmla="*/ 2602917 h 6557032"/>
              <a:gd name="connsiteX44703" fmla="*/ 1100593 w 4610101"/>
              <a:gd name="connsiteY44703" fmla="*/ 2599273 h 6557032"/>
              <a:gd name="connsiteX44704" fmla="*/ 1095127 w 4610101"/>
              <a:gd name="connsiteY44704" fmla="*/ 2601095 h 6557032"/>
              <a:gd name="connsiteX44705" fmla="*/ 1104238 w 4610101"/>
              <a:gd name="connsiteY44705" fmla="*/ 2590161 h 6557032"/>
              <a:gd name="connsiteX44706" fmla="*/ 1093305 w 4610101"/>
              <a:gd name="connsiteY44706" fmla="*/ 2599273 h 6557032"/>
              <a:gd name="connsiteX44707" fmla="*/ 1093305 w 4610101"/>
              <a:gd name="connsiteY44707" fmla="*/ 2595628 h 6557032"/>
              <a:gd name="connsiteX44708" fmla="*/ 1087838 w 4610101"/>
              <a:gd name="connsiteY44708" fmla="*/ 2591985 h 6557032"/>
              <a:gd name="connsiteX44709" fmla="*/ 1087838 w 4610101"/>
              <a:gd name="connsiteY44709" fmla="*/ 2599273 h 6557032"/>
              <a:gd name="connsiteX44710" fmla="*/ 1078727 w 4610101"/>
              <a:gd name="connsiteY44710" fmla="*/ 2591985 h 6557032"/>
              <a:gd name="connsiteX44711" fmla="*/ 1084194 w 4610101"/>
              <a:gd name="connsiteY44711" fmla="*/ 2601095 h 6557032"/>
              <a:gd name="connsiteX44712" fmla="*/ 1071439 w 4610101"/>
              <a:gd name="connsiteY44712" fmla="*/ 2601095 h 6557032"/>
              <a:gd name="connsiteX44713" fmla="*/ 1069616 w 4610101"/>
              <a:gd name="connsiteY44713" fmla="*/ 2602917 h 6557032"/>
              <a:gd name="connsiteX44714" fmla="*/ 1040462 w 4610101"/>
              <a:gd name="connsiteY44714" fmla="*/ 2604739 h 6557032"/>
              <a:gd name="connsiteX44715" fmla="*/ 1044106 w 4610101"/>
              <a:gd name="connsiteY44715" fmla="*/ 2584695 h 6557032"/>
              <a:gd name="connsiteX44716" fmla="*/ 1075083 w 4610101"/>
              <a:gd name="connsiteY44716" fmla="*/ 2570118 h 6557032"/>
              <a:gd name="connsiteX44717" fmla="*/ 1053217 w 4610101"/>
              <a:gd name="connsiteY44717" fmla="*/ 2570118 h 6557032"/>
              <a:gd name="connsiteX44718" fmla="*/ 1055040 w 4610101"/>
              <a:gd name="connsiteY44718" fmla="*/ 2553718 h 6557032"/>
              <a:gd name="connsiteX44719" fmla="*/ 1038639 w 4610101"/>
              <a:gd name="connsiteY44719" fmla="*/ 2555541 h 6557032"/>
              <a:gd name="connsiteX44720" fmla="*/ 1053217 w 4610101"/>
              <a:gd name="connsiteY44720" fmla="*/ 2570118 h 6557032"/>
              <a:gd name="connsiteX44721" fmla="*/ 1036818 w 4610101"/>
              <a:gd name="connsiteY44721" fmla="*/ 2570118 h 6557032"/>
              <a:gd name="connsiteX44722" fmla="*/ 1036818 w 4610101"/>
              <a:gd name="connsiteY44722" fmla="*/ 2601095 h 6557032"/>
              <a:gd name="connsiteX44723" fmla="*/ 1033173 w 4610101"/>
              <a:gd name="connsiteY44723" fmla="*/ 2604739 h 6557032"/>
              <a:gd name="connsiteX44724" fmla="*/ 1013129 w 4610101"/>
              <a:gd name="connsiteY44724" fmla="*/ 2608383 h 6557032"/>
              <a:gd name="connsiteX44725" fmla="*/ 1027707 w 4610101"/>
              <a:gd name="connsiteY44725" fmla="*/ 2593806 h 6557032"/>
              <a:gd name="connsiteX44726" fmla="*/ 1025884 w 4610101"/>
              <a:gd name="connsiteY44726" fmla="*/ 2571940 h 6557032"/>
              <a:gd name="connsiteX44727" fmla="*/ 1013129 w 4610101"/>
              <a:gd name="connsiteY44727" fmla="*/ 2555541 h 6557032"/>
              <a:gd name="connsiteX44728" fmla="*/ 991263 w 4610101"/>
              <a:gd name="connsiteY44728" fmla="*/ 2548251 h 6557032"/>
              <a:gd name="connsiteX44729" fmla="*/ 1005840 w 4610101"/>
              <a:gd name="connsiteY44729" fmla="*/ 2540964 h 6557032"/>
              <a:gd name="connsiteX44730" fmla="*/ 1020418 w 4610101"/>
              <a:gd name="connsiteY44730" fmla="*/ 2548251 h 6557032"/>
              <a:gd name="connsiteX44731" fmla="*/ 1020418 w 4610101"/>
              <a:gd name="connsiteY44731" fmla="*/ 2531852 h 6557032"/>
              <a:gd name="connsiteX44732" fmla="*/ 1005840 w 4610101"/>
              <a:gd name="connsiteY44732" fmla="*/ 2539141 h 6557032"/>
              <a:gd name="connsiteX44733" fmla="*/ 1005840 w 4610101"/>
              <a:gd name="connsiteY44733" fmla="*/ 2524564 h 6557032"/>
              <a:gd name="connsiteX44734" fmla="*/ 1009485 w 4610101"/>
              <a:gd name="connsiteY44734" fmla="*/ 2522741 h 6557032"/>
              <a:gd name="connsiteX44735" fmla="*/ 1018596 w 4610101"/>
              <a:gd name="connsiteY44735" fmla="*/ 2528208 h 6557032"/>
              <a:gd name="connsiteX44736" fmla="*/ 1022240 w 4610101"/>
              <a:gd name="connsiteY44736" fmla="*/ 2524564 h 6557032"/>
              <a:gd name="connsiteX44737" fmla="*/ 1020418 w 4610101"/>
              <a:gd name="connsiteY44737" fmla="*/ 2522741 h 6557032"/>
              <a:gd name="connsiteX44738" fmla="*/ 1024062 w 4610101"/>
              <a:gd name="connsiteY44738" fmla="*/ 2520919 h 6557032"/>
              <a:gd name="connsiteX44739" fmla="*/ 1020418 w 4610101"/>
              <a:gd name="connsiteY44739" fmla="*/ 2517275 h 6557032"/>
              <a:gd name="connsiteX44740" fmla="*/ 1022240 w 4610101"/>
              <a:gd name="connsiteY44740" fmla="*/ 2513631 h 6557032"/>
              <a:gd name="connsiteX44741" fmla="*/ 1013129 w 4610101"/>
              <a:gd name="connsiteY44741" fmla="*/ 2519097 h 6557032"/>
              <a:gd name="connsiteX44742" fmla="*/ 1002196 w 4610101"/>
              <a:gd name="connsiteY44742" fmla="*/ 2522741 h 6557032"/>
              <a:gd name="connsiteX44743" fmla="*/ 989441 w 4610101"/>
              <a:gd name="connsiteY44743" fmla="*/ 2519097 h 6557032"/>
              <a:gd name="connsiteX44744" fmla="*/ 991263 w 4610101"/>
              <a:gd name="connsiteY44744" fmla="*/ 2519097 h 6557032"/>
              <a:gd name="connsiteX44745" fmla="*/ 993085 w 4610101"/>
              <a:gd name="connsiteY44745" fmla="*/ 2513631 h 6557032"/>
              <a:gd name="connsiteX44746" fmla="*/ 985796 w 4610101"/>
              <a:gd name="connsiteY44746" fmla="*/ 2513631 h 6557032"/>
              <a:gd name="connsiteX44747" fmla="*/ 987619 w 4610101"/>
              <a:gd name="connsiteY44747" fmla="*/ 2508163 h 6557032"/>
              <a:gd name="connsiteX44748" fmla="*/ 983974 w 4610101"/>
              <a:gd name="connsiteY44748" fmla="*/ 2509987 h 6557032"/>
              <a:gd name="connsiteX44749" fmla="*/ 980330 w 4610101"/>
              <a:gd name="connsiteY44749" fmla="*/ 2502697 h 6557032"/>
              <a:gd name="connsiteX44750" fmla="*/ 1011307 w 4610101"/>
              <a:gd name="connsiteY44750" fmla="*/ 2491764 h 6557032"/>
              <a:gd name="connsiteX44751" fmla="*/ 994907 w 4610101"/>
              <a:gd name="connsiteY44751" fmla="*/ 2469898 h 6557032"/>
              <a:gd name="connsiteX44752" fmla="*/ 1018596 w 4610101"/>
              <a:gd name="connsiteY44752" fmla="*/ 2469898 h 6557032"/>
              <a:gd name="connsiteX44753" fmla="*/ 1002196 w 4610101"/>
              <a:gd name="connsiteY44753" fmla="*/ 2448032 h 6557032"/>
              <a:gd name="connsiteX44754" fmla="*/ 980330 w 4610101"/>
              <a:gd name="connsiteY44754" fmla="*/ 2448032 h 6557032"/>
              <a:gd name="connsiteX44755" fmla="*/ 1002196 w 4610101"/>
              <a:gd name="connsiteY44755" fmla="*/ 2402478 h 6557032"/>
              <a:gd name="connsiteX44756" fmla="*/ 983974 w 4610101"/>
              <a:gd name="connsiteY44756" fmla="*/ 2402478 h 6557032"/>
              <a:gd name="connsiteX44757" fmla="*/ 983974 w 4610101"/>
              <a:gd name="connsiteY44757" fmla="*/ 2378789 h 6557032"/>
              <a:gd name="connsiteX44758" fmla="*/ 1005840 w 4610101"/>
              <a:gd name="connsiteY44758" fmla="*/ 2395189 h 6557032"/>
              <a:gd name="connsiteX44759" fmla="*/ 1020418 w 4610101"/>
              <a:gd name="connsiteY44759" fmla="*/ 2356923 h 6557032"/>
              <a:gd name="connsiteX44760" fmla="*/ 998552 w 4610101"/>
              <a:gd name="connsiteY44760" fmla="*/ 2364211 h 6557032"/>
              <a:gd name="connsiteX44761" fmla="*/ 985796 w 4610101"/>
              <a:gd name="connsiteY44761" fmla="*/ 2360567 h 6557032"/>
              <a:gd name="connsiteX44762" fmla="*/ 985796 w 4610101"/>
              <a:gd name="connsiteY44762" fmla="*/ 2358745 h 6557032"/>
              <a:gd name="connsiteX44763" fmla="*/ 993085 w 4610101"/>
              <a:gd name="connsiteY44763" fmla="*/ 2360567 h 6557032"/>
              <a:gd name="connsiteX44764" fmla="*/ 991263 w 4610101"/>
              <a:gd name="connsiteY44764" fmla="*/ 2355101 h 6557032"/>
              <a:gd name="connsiteX44765" fmla="*/ 994907 w 4610101"/>
              <a:gd name="connsiteY44765" fmla="*/ 2358745 h 6557032"/>
              <a:gd name="connsiteX44766" fmla="*/ 993085 w 4610101"/>
              <a:gd name="connsiteY44766" fmla="*/ 2351457 h 6557032"/>
              <a:gd name="connsiteX44767" fmla="*/ 998552 w 4610101"/>
              <a:gd name="connsiteY44767" fmla="*/ 2353279 h 6557032"/>
              <a:gd name="connsiteX44768" fmla="*/ 993754 w 4610101"/>
              <a:gd name="connsiteY44768" fmla="*/ 2348480 h 6557032"/>
              <a:gd name="connsiteX44769" fmla="*/ 980330 w 4610101"/>
              <a:gd name="connsiteY44769" fmla="*/ 2351465 h 6557032"/>
              <a:gd name="connsiteX44770" fmla="*/ 974863 w 4610101"/>
              <a:gd name="connsiteY44770" fmla="*/ 2351465 h 6557032"/>
              <a:gd name="connsiteX44771" fmla="*/ 983974 w 4610101"/>
              <a:gd name="connsiteY44771" fmla="*/ 2345997 h 6557032"/>
              <a:gd name="connsiteX44772" fmla="*/ 994907 w 4610101"/>
              <a:gd name="connsiteY44772" fmla="*/ 2340531 h 6557032"/>
              <a:gd name="connsiteX44773" fmla="*/ 996729 w 4610101"/>
              <a:gd name="connsiteY44773" fmla="*/ 2340531 h 6557032"/>
              <a:gd name="connsiteX44774" fmla="*/ 1000374 w 4610101"/>
              <a:gd name="connsiteY44774" fmla="*/ 2340531 h 6557032"/>
              <a:gd name="connsiteX44775" fmla="*/ 1013129 w 4610101"/>
              <a:gd name="connsiteY44775" fmla="*/ 2331420 h 6557032"/>
              <a:gd name="connsiteX44776" fmla="*/ 1016774 w 4610101"/>
              <a:gd name="connsiteY44776" fmla="*/ 2336886 h 6557032"/>
              <a:gd name="connsiteX44777" fmla="*/ 1014951 w 4610101"/>
              <a:gd name="connsiteY44777" fmla="*/ 2333242 h 6557032"/>
              <a:gd name="connsiteX44778" fmla="*/ 1019506 w 4610101"/>
              <a:gd name="connsiteY44778" fmla="*/ 2336431 h 6557032"/>
              <a:gd name="connsiteX44779" fmla="*/ 1022045 w 4610101"/>
              <a:gd name="connsiteY44779" fmla="*/ 2336684 h 6557032"/>
              <a:gd name="connsiteX44780" fmla="*/ 1018619 w 4610101"/>
              <a:gd name="connsiteY44780" fmla="*/ 2333257 h 6557032"/>
              <a:gd name="connsiteX44781" fmla="*/ 1018596 w 4610101"/>
              <a:gd name="connsiteY44781" fmla="*/ 2333242 h 6557032"/>
              <a:gd name="connsiteX44782" fmla="*/ 1016774 w 4610101"/>
              <a:gd name="connsiteY44782" fmla="*/ 2327774 h 6557032"/>
              <a:gd name="connsiteX44783" fmla="*/ 1040462 w 4610101"/>
              <a:gd name="connsiteY44783" fmla="*/ 2324987 h 6557032"/>
              <a:gd name="connsiteX44784" fmla="*/ 1040462 w 4610101"/>
              <a:gd name="connsiteY44784" fmla="*/ 2322302 h 6557032"/>
              <a:gd name="connsiteX44785" fmla="*/ 1050071 w 4610101"/>
              <a:gd name="connsiteY44785" fmla="*/ 2317497 h 6557032"/>
              <a:gd name="connsiteX44786" fmla="*/ 1034995 w 4610101"/>
              <a:gd name="connsiteY44786" fmla="*/ 2318671 h 6557032"/>
              <a:gd name="connsiteX44787" fmla="*/ 1045929 w 4610101"/>
              <a:gd name="connsiteY44787" fmla="*/ 2311381 h 6557032"/>
              <a:gd name="connsiteX44788" fmla="*/ 1056861 w 4610101"/>
              <a:gd name="connsiteY44788" fmla="*/ 2305914 h 6557032"/>
              <a:gd name="connsiteX44789" fmla="*/ 1073262 w 4610101"/>
              <a:gd name="connsiteY44789" fmla="*/ 2294981 h 6557032"/>
              <a:gd name="connsiteX44790" fmla="*/ 1073718 w 4610101"/>
              <a:gd name="connsiteY44790" fmla="*/ 2304777 h 6557032"/>
              <a:gd name="connsiteX44791" fmla="*/ 1072515 w 4610101"/>
              <a:gd name="connsiteY44791" fmla="*/ 2309226 h 6557032"/>
              <a:gd name="connsiteX44792" fmla="*/ 1074644 w 4610101"/>
              <a:gd name="connsiteY44792" fmla="*/ 2308387 h 6557032"/>
              <a:gd name="connsiteX44793" fmla="*/ 1073260 w 4610101"/>
              <a:gd name="connsiteY44793" fmla="*/ 2293159 h 6557032"/>
              <a:gd name="connsiteX44794" fmla="*/ 1114692 w 4610101"/>
              <a:gd name="connsiteY44794" fmla="*/ 2277620 h 6557032"/>
              <a:gd name="connsiteX44795" fmla="*/ 1113349 w 4610101"/>
              <a:gd name="connsiteY44795" fmla="*/ 2274935 h 6557032"/>
              <a:gd name="connsiteX44796" fmla="*/ 1116993 w 4610101"/>
              <a:gd name="connsiteY44796" fmla="*/ 2267646 h 6557032"/>
              <a:gd name="connsiteX44797" fmla="*/ 1109704 w 4610101"/>
              <a:gd name="connsiteY44797" fmla="*/ 2269468 h 6557032"/>
              <a:gd name="connsiteX44798" fmla="*/ 1109704 w 4610101"/>
              <a:gd name="connsiteY44798" fmla="*/ 2262179 h 6557032"/>
              <a:gd name="connsiteX44799" fmla="*/ 1106060 w 4610101"/>
              <a:gd name="connsiteY44799" fmla="*/ 2267646 h 6557032"/>
              <a:gd name="connsiteX44800" fmla="*/ 1102416 w 4610101"/>
              <a:gd name="connsiteY44800" fmla="*/ 2265823 h 6557032"/>
              <a:gd name="connsiteX44801" fmla="*/ 1102416 w 4610101"/>
              <a:gd name="connsiteY44801" fmla="*/ 2278579 h 6557032"/>
              <a:gd name="connsiteX44802" fmla="*/ 1069616 w 4610101"/>
              <a:gd name="connsiteY44802" fmla="*/ 2293157 h 6557032"/>
              <a:gd name="connsiteX44803" fmla="*/ 1044106 w 4610101"/>
              <a:gd name="connsiteY44803" fmla="*/ 2309559 h 6557032"/>
              <a:gd name="connsiteX44804" fmla="*/ 1018596 w 4610101"/>
              <a:gd name="connsiteY44804" fmla="*/ 2324137 h 6557032"/>
              <a:gd name="connsiteX44805" fmla="*/ 1025884 w 4610101"/>
              <a:gd name="connsiteY44805" fmla="*/ 2311381 h 6557032"/>
              <a:gd name="connsiteX44806" fmla="*/ 1018596 w 4610101"/>
              <a:gd name="connsiteY44806" fmla="*/ 2320492 h 6557032"/>
              <a:gd name="connsiteX44807" fmla="*/ 998552 w 4610101"/>
              <a:gd name="connsiteY44807" fmla="*/ 2329602 h 6557032"/>
              <a:gd name="connsiteX44808" fmla="*/ 998552 w 4610101"/>
              <a:gd name="connsiteY44808" fmla="*/ 2325958 h 6557032"/>
              <a:gd name="connsiteX44809" fmla="*/ 996729 w 4610101"/>
              <a:gd name="connsiteY44809" fmla="*/ 2322314 h 6557032"/>
              <a:gd name="connsiteX44810" fmla="*/ 991263 w 4610101"/>
              <a:gd name="connsiteY44810" fmla="*/ 2325958 h 6557032"/>
              <a:gd name="connsiteX44811" fmla="*/ 987619 w 4610101"/>
              <a:gd name="connsiteY44811" fmla="*/ 2324137 h 6557032"/>
              <a:gd name="connsiteX44812" fmla="*/ 985796 w 4610101"/>
              <a:gd name="connsiteY44812" fmla="*/ 2331426 h 6557032"/>
              <a:gd name="connsiteX44813" fmla="*/ 983974 w 4610101"/>
              <a:gd name="connsiteY44813" fmla="*/ 2331426 h 6557032"/>
              <a:gd name="connsiteX44814" fmla="*/ 978508 w 4610101"/>
              <a:gd name="connsiteY44814" fmla="*/ 2325958 h 6557032"/>
              <a:gd name="connsiteX44815" fmla="*/ 978508 w 4610101"/>
              <a:gd name="connsiteY44815" fmla="*/ 2333248 h 6557032"/>
              <a:gd name="connsiteX44816" fmla="*/ 954819 w 4610101"/>
              <a:gd name="connsiteY44816" fmla="*/ 2342359 h 6557032"/>
              <a:gd name="connsiteX44817" fmla="*/ 942064 w 4610101"/>
              <a:gd name="connsiteY44817" fmla="*/ 2342359 h 6557032"/>
              <a:gd name="connsiteX44818" fmla="*/ 949353 w 4610101"/>
              <a:gd name="connsiteY44818" fmla="*/ 2325958 h 6557032"/>
              <a:gd name="connsiteX44819" fmla="*/ 978508 w 4610101"/>
              <a:gd name="connsiteY44819" fmla="*/ 2311381 h 6557032"/>
              <a:gd name="connsiteX44820" fmla="*/ 987619 w 4610101"/>
              <a:gd name="connsiteY44820" fmla="*/ 2289513 h 6557032"/>
              <a:gd name="connsiteX44821" fmla="*/ 987619 w 4610101"/>
              <a:gd name="connsiteY44821" fmla="*/ 2265823 h 6557032"/>
              <a:gd name="connsiteX44822" fmla="*/ 1009485 w 4610101"/>
              <a:gd name="connsiteY44822" fmla="*/ 2282224 h 6557032"/>
              <a:gd name="connsiteX44823" fmla="*/ 1011307 w 4610101"/>
              <a:gd name="connsiteY44823" fmla="*/ 2322314 h 6557032"/>
              <a:gd name="connsiteX44824" fmla="*/ 1031351 w 4610101"/>
              <a:gd name="connsiteY44824" fmla="*/ 2298624 h 6557032"/>
              <a:gd name="connsiteX44825" fmla="*/ 1009485 w 4610101"/>
              <a:gd name="connsiteY44825" fmla="*/ 2282224 h 6557032"/>
              <a:gd name="connsiteX44826" fmla="*/ 1009485 w 4610101"/>
              <a:gd name="connsiteY44826" fmla="*/ 2264001 h 6557032"/>
              <a:gd name="connsiteX44827" fmla="*/ 1011307 w 4610101"/>
              <a:gd name="connsiteY44827" fmla="*/ 2262179 h 6557032"/>
              <a:gd name="connsiteX44828" fmla="*/ 1033173 w 4610101"/>
              <a:gd name="connsiteY44828" fmla="*/ 2273113 h 6557032"/>
              <a:gd name="connsiteX44829" fmla="*/ 1027707 w 4610101"/>
              <a:gd name="connsiteY44829" fmla="*/ 2262179 h 6557032"/>
              <a:gd name="connsiteX44830" fmla="*/ 1027707 w 4610101"/>
              <a:gd name="connsiteY44830" fmla="*/ 2256712 h 6557032"/>
              <a:gd name="connsiteX44831" fmla="*/ 1025884 w 4610101"/>
              <a:gd name="connsiteY44831" fmla="*/ 2247601 h 6557032"/>
              <a:gd name="connsiteX44832" fmla="*/ 1027707 w 4610101"/>
              <a:gd name="connsiteY44832" fmla="*/ 2245778 h 6557032"/>
              <a:gd name="connsiteX44833" fmla="*/ 1020418 w 4610101"/>
              <a:gd name="connsiteY44833" fmla="*/ 2242134 h 6557032"/>
              <a:gd name="connsiteX44834" fmla="*/ 1022240 w 4610101"/>
              <a:gd name="connsiteY44834" fmla="*/ 2236668 h 6557032"/>
              <a:gd name="connsiteX44835" fmla="*/ 1025884 w 4610101"/>
              <a:gd name="connsiteY44835" fmla="*/ 2234844 h 6557032"/>
              <a:gd name="connsiteX44836" fmla="*/ 1022240 w 4610101"/>
              <a:gd name="connsiteY44836" fmla="*/ 2233022 h 6557032"/>
              <a:gd name="connsiteX44837" fmla="*/ 1064151 w 4610101"/>
              <a:gd name="connsiteY44837" fmla="*/ 2218444 h 6557032"/>
              <a:gd name="connsiteX44838" fmla="*/ 1073262 w 4610101"/>
              <a:gd name="connsiteY44838" fmla="*/ 2234844 h 6557032"/>
              <a:gd name="connsiteX44839" fmla="*/ 1071439 w 4610101"/>
              <a:gd name="connsiteY44839" fmla="*/ 2245778 h 6557032"/>
              <a:gd name="connsiteX44840" fmla="*/ 1073262 w 4610101"/>
              <a:gd name="connsiteY44840" fmla="*/ 2247601 h 6557032"/>
              <a:gd name="connsiteX44841" fmla="*/ 1076905 w 4610101"/>
              <a:gd name="connsiteY44841" fmla="*/ 2234844 h 6557032"/>
              <a:gd name="connsiteX44842" fmla="*/ 1086016 w 4610101"/>
              <a:gd name="connsiteY44842" fmla="*/ 2245778 h 6557032"/>
              <a:gd name="connsiteX44843" fmla="*/ 1102416 w 4610101"/>
              <a:gd name="connsiteY44843" fmla="*/ 2251245 h 6557032"/>
              <a:gd name="connsiteX44844" fmla="*/ 1104238 w 4610101"/>
              <a:gd name="connsiteY44844" fmla="*/ 2243956 h 6557032"/>
              <a:gd name="connsiteX44845" fmla="*/ 1076905 w 4610101"/>
              <a:gd name="connsiteY44845" fmla="*/ 2223910 h 6557032"/>
              <a:gd name="connsiteX44846" fmla="*/ 1093305 w 4610101"/>
              <a:gd name="connsiteY44846" fmla="*/ 2216623 h 6557032"/>
              <a:gd name="connsiteX44847" fmla="*/ 1175302 w 4610101"/>
              <a:gd name="connsiteY44847" fmla="*/ 2214800 h 6557032"/>
              <a:gd name="connsiteX44848" fmla="*/ 1177125 w 4610101"/>
              <a:gd name="connsiteY44848" fmla="*/ 2209334 h 6557032"/>
              <a:gd name="connsiteX44849" fmla="*/ 1208558 w 4610101"/>
              <a:gd name="connsiteY44849" fmla="*/ 2207055 h 6557032"/>
              <a:gd name="connsiteX44850" fmla="*/ 1237257 w 4610101"/>
              <a:gd name="connsiteY44850" fmla="*/ 2212978 h 6557032"/>
              <a:gd name="connsiteX44851" fmla="*/ 1244546 w 4610101"/>
              <a:gd name="connsiteY44851" fmla="*/ 2218444 h 6557032"/>
              <a:gd name="connsiteX44852" fmla="*/ 1244546 w 4610101"/>
              <a:gd name="connsiteY44852" fmla="*/ 2211155 h 6557032"/>
              <a:gd name="connsiteX44853" fmla="*/ 1259123 w 4610101"/>
              <a:gd name="connsiteY44853" fmla="*/ 2211155 h 6557032"/>
              <a:gd name="connsiteX44854" fmla="*/ 1268234 w 4610101"/>
              <a:gd name="connsiteY44854" fmla="*/ 2214800 h 6557032"/>
              <a:gd name="connsiteX44855" fmla="*/ 1269326 w 4610101"/>
              <a:gd name="connsiteY44855" fmla="*/ 2223540 h 6557032"/>
              <a:gd name="connsiteX44856" fmla="*/ 1277344 w 4610101"/>
              <a:gd name="connsiteY44856" fmla="*/ 2218437 h 6557032"/>
              <a:gd name="connsiteX44857" fmla="*/ 1286455 w 4610101"/>
              <a:gd name="connsiteY44857" fmla="*/ 2229370 h 6557032"/>
              <a:gd name="connsiteX44858" fmla="*/ 1291466 w 4610101"/>
              <a:gd name="connsiteY44858" fmla="*/ 2223220 h 6557032"/>
              <a:gd name="connsiteX44859" fmla="*/ 1288906 w 4610101"/>
              <a:gd name="connsiteY44859" fmla="*/ 2214991 h 6557032"/>
              <a:gd name="connsiteX44860" fmla="*/ 1286455 w 4610101"/>
              <a:gd name="connsiteY44860" fmla="*/ 2216624 h 6557032"/>
              <a:gd name="connsiteX44861" fmla="*/ 1282811 w 4610101"/>
              <a:gd name="connsiteY44861" fmla="*/ 2212980 h 6557032"/>
              <a:gd name="connsiteX44862" fmla="*/ 1284633 w 4610101"/>
              <a:gd name="connsiteY44862" fmla="*/ 2211156 h 6557032"/>
              <a:gd name="connsiteX44863" fmla="*/ 1291922 w 4610101"/>
              <a:gd name="connsiteY44863" fmla="*/ 2212980 h 6557032"/>
              <a:gd name="connsiteX44864" fmla="*/ 1291359 w 4610101"/>
              <a:gd name="connsiteY44864" fmla="*/ 2213356 h 6557032"/>
              <a:gd name="connsiteX44865" fmla="*/ 1302855 w 4610101"/>
              <a:gd name="connsiteY44865" fmla="*/ 2214793 h 6557032"/>
              <a:gd name="connsiteX44866" fmla="*/ 1304677 w 4610101"/>
              <a:gd name="connsiteY44866" fmla="*/ 2211148 h 6557032"/>
              <a:gd name="connsiteX44867" fmla="*/ 1321077 w 4610101"/>
              <a:gd name="connsiteY44867" fmla="*/ 2233014 h 6557032"/>
              <a:gd name="connsiteX44868" fmla="*/ 1315610 w 4610101"/>
              <a:gd name="connsiteY44868" fmla="*/ 2214793 h 6557032"/>
              <a:gd name="connsiteX44869" fmla="*/ 1326543 w 4610101"/>
              <a:gd name="connsiteY44869" fmla="*/ 2227548 h 6557032"/>
              <a:gd name="connsiteX44870" fmla="*/ 1322899 w 4610101"/>
              <a:gd name="connsiteY44870" fmla="*/ 2216615 h 6557032"/>
              <a:gd name="connsiteX44871" fmla="*/ 1335654 w 4610101"/>
              <a:gd name="connsiteY44871" fmla="*/ 2218437 h 6557032"/>
              <a:gd name="connsiteX44872" fmla="*/ 1326543 w 4610101"/>
              <a:gd name="connsiteY44872" fmla="*/ 2211148 h 6557032"/>
              <a:gd name="connsiteX44873" fmla="*/ 1315610 w 4610101"/>
              <a:gd name="connsiteY44873" fmla="*/ 2209326 h 6557032"/>
              <a:gd name="connsiteX44874" fmla="*/ 1328365 w 4610101"/>
              <a:gd name="connsiteY44874" fmla="*/ 2205682 h 6557032"/>
              <a:gd name="connsiteX44875" fmla="*/ 1346587 w 4610101"/>
              <a:gd name="connsiteY44875" fmla="*/ 2205682 h 6557032"/>
              <a:gd name="connsiteX44876" fmla="*/ 1324721 w 4610101"/>
              <a:gd name="connsiteY44876" fmla="*/ 2202037 h 6557032"/>
              <a:gd name="connsiteX44877" fmla="*/ 1330188 w 4610101"/>
              <a:gd name="connsiteY44877" fmla="*/ 2200215 h 6557032"/>
              <a:gd name="connsiteX44878" fmla="*/ 1308321 w 4610101"/>
              <a:gd name="connsiteY44878" fmla="*/ 2200215 h 6557032"/>
              <a:gd name="connsiteX44879" fmla="*/ 1321077 w 4610101"/>
              <a:gd name="connsiteY44879" fmla="*/ 2192926 h 6557032"/>
              <a:gd name="connsiteX44880" fmla="*/ 1328365 w 4610101"/>
              <a:gd name="connsiteY44880" fmla="*/ 2187460 h 6557032"/>
              <a:gd name="connsiteX44881" fmla="*/ 1341120 w 4610101"/>
              <a:gd name="connsiteY44881" fmla="*/ 2181993 h 6557032"/>
              <a:gd name="connsiteX44882" fmla="*/ 1373920 w 4610101"/>
              <a:gd name="connsiteY44882" fmla="*/ 2169238 h 6557032"/>
              <a:gd name="connsiteX44883" fmla="*/ 1373920 w 4610101"/>
              <a:gd name="connsiteY44883" fmla="*/ 2165594 h 6557032"/>
              <a:gd name="connsiteX44884" fmla="*/ 1392141 w 4610101"/>
              <a:gd name="connsiteY44884" fmla="*/ 2156483 h 6557032"/>
              <a:gd name="connsiteX44885" fmla="*/ 1397608 w 4610101"/>
              <a:gd name="connsiteY44885" fmla="*/ 2165594 h 6557032"/>
              <a:gd name="connsiteX44886" fmla="*/ 1393963 w 4610101"/>
              <a:gd name="connsiteY44886" fmla="*/ 2156483 h 6557032"/>
              <a:gd name="connsiteX44887" fmla="*/ 1406719 w 4610101"/>
              <a:gd name="connsiteY44887" fmla="*/ 2160127 h 6557032"/>
              <a:gd name="connsiteX44888" fmla="*/ 1399430 w 4610101"/>
              <a:gd name="connsiteY44888" fmla="*/ 2154660 h 6557032"/>
              <a:gd name="connsiteX44889" fmla="*/ 1406719 w 4610101"/>
              <a:gd name="connsiteY44889" fmla="*/ 2147372 h 6557032"/>
              <a:gd name="connsiteX44890" fmla="*/ 1395787 w 4610101"/>
              <a:gd name="connsiteY44890" fmla="*/ 2151017 h 6557032"/>
              <a:gd name="connsiteX44891" fmla="*/ 1397608 w 4610101"/>
              <a:gd name="connsiteY44891" fmla="*/ 2145550 h 6557032"/>
              <a:gd name="connsiteX44892" fmla="*/ 1395787 w 4610101"/>
              <a:gd name="connsiteY44892" fmla="*/ 2143728 h 6557032"/>
              <a:gd name="connsiteX44893" fmla="*/ 1393963 w 4610101"/>
              <a:gd name="connsiteY44893" fmla="*/ 2149194 h 6557032"/>
              <a:gd name="connsiteX44894" fmla="*/ 1386676 w 4610101"/>
              <a:gd name="connsiteY44894" fmla="*/ 2151017 h 6557032"/>
              <a:gd name="connsiteX44895" fmla="*/ 1366632 w 4610101"/>
              <a:gd name="connsiteY44895" fmla="*/ 2165594 h 6557032"/>
              <a:gd name="connsiteX44896" fmla="*/ 1364809 w 4610101"/>
              <a:gd name="connsiteY44896" fmla="*/ 2161950 h 6557032"/>
              <a:gd name="connsiteX44897" fmla="*/ 1359342 w 4610101"/>
              <a:gd name="connsiteY44897" fmla="*/ 2167416 h 6557032"/>
              <a:gd name="connsiteX44898" fmla="*/ 1326543 w 4610101"/>
              <a:gd name="connsiteY44898" fmla="*/ 2183816 h 6557032"/>
              <a:gd name="connsiteX44899" fmla="*/ 1315610 w 4610101"/>
              <a:gd name="connsiteY44899" fmla="*/ 2191104 h 6557032"/>
              <a:gd name="connsiteX44900" fmla="*/ 1308321 w 4610101"/>
              <a:gd name="connsiteY44900" fmla="*/ 2189282 h 6557032"/>
              <a:gd name="connsiteX44901" fmla="*/ 1301033 w 4610101"/>
              <a:gd name="connsiteY44901" fmla="*/ 2189282 h 6557032"/>
              <a:gd name="connsiteX44902" fmla="*/ 1301033 w 4610101"/>
              <a:gd name="connsiteY44902" fmla="*/ 2181993 h 6557032"/>
              <a:gd name="connsiteX44903" fmla="*/ 1286455 w 4610101"/>
              <a:gd name="connsiteY44903" fmla="*/ 2172883 h 6557032"/>
              <a:gd name="connsiteX44904" fmla="*/ 1286455 w 4610101"/>
              <a:gd name="connsiteY44904" fmla="*/ 2169238 h 6557032"/>
              <a:gd name="connsiteX44905" fmla="*/ 1273700 w 4610101"/>
              <a:gd name="connsiteY44905" fmla="*/ 2176527 h 6557032"/>
              <a:gd name="connsiteX44906" fmla="*/ 1271878 w 4610101"/>
              <a:gd name="connsiteY44906" fmla="*/ 2180171 h 6557032"/>
              <a:gd name="connsiteX44907" fmla="*/ 1268233 w 4610101"/>
              <a:gd name="connsiteY44907" fmla="*/ 2180171 h 6557032"/>
              <a:gd name="connsiteX44908" fmla="*/ 1260945 w 4610101"/>
              <a:gd name="connsiteY44908" fmla="*/ 2145550 h 6557032"/>
              <a:gd name="connsiteX44909" fmla="*/ 1266411 w 4610101"/>
              <a:gd name="connsiteY44909" fmla="*/ 2180171 h 6557032"/>
              <a:gd name="connsiteX44910" fmla="*/ 1262767 w 4610101"/>
              <a:gd name="connsiteY44910" fmla="*/ 2178349 h 6557032"/>
              <a:gd name="connsiteX44911" fmla="*/ 1260945 w 4610101"/>
              <a:gd name="connsiteY44911" fmla="*/ 2185638 h 6557032"/>
              <a:gd name="connsiteX44912" fmla="*/ 1211747 w 4610101"/>
              <a:gd name="connsiteY44912" fmla="*/ 2183816 h 6557032"/>
              <a:gd name="connsiteX44913" fmla="*/ 1211747 w 4610101"/>
              <a:gd name="connsiteY44913" fmla="*/ 2180171 h 6557032"/>
              <a:gd name="connsiteX44914" fmla="*/ 1209925 w 4610101"/>
              <a:gd name="connsiteY44914" fmla="*/ 2178349 h 6557032"/>
              <a:gd name="connsiteX44915" fmla="*/ 1206279 w 4610101"/>
              <a:gd name="connsiteY44915" fmla="*/ 2181993 h 6557032"/>
              <a:gd name="connsiteX44916" fmla="*/ 1142503 w 4610101"/>
              <a:gd name="connsiteY44916" fmla="*/ 2187460 h 6557032"/>
              <a:gd name="connsiteX44917" fmla="*/ 1138859 w 4610101"/>
              <a:gd name="connsiteY44917" fmla="*/ 2185638 h 6557032"/>
              <a:gd name="connsiteX44918" fmla="*/ 1096949 w 4610101"/>
              <a:gd name="connsiteY44918" fmla="*/ 2191104 h 6557032"/>
              <a:gd name="connsiteX44919" fmla="*/ 1096949 w 4610101"/>
              <a:gd name="connsiteY44919" fmla="*/ 2187460 h 6557032"/>
              <a:gd name="connsiteX44920" fmla="*/ 1087838 w 4610101"/>
              <a:gd name="connsiteY44920" fmla="*/ 2192926 h 6557032"/>
              <a:gd name="connsiteX44921" fmla="*/ 1058683 w 4610101"/>
              <a:gd name="connsiteY44921" fmla="*/ 2181993 h 6557032"/>
              <a:gd name="connsiteX44922" fmla="*/ 1053217 w 4610101"/>
              <a:gd name="connsiteY44922" fmla="*/ 2174705 h 6557032"/>
              <a:gd name="connsiteX44923" fmla="*/ 1053217 w 4610101"/>
              <a:gd name="connsiteY44923" fmla="*/ 2172883 h 6557032"/>
              <a:gd name="connsiteX44924" fmla="*/ 1051395 w 4610101"/>
              <a:gd name="connsiteY44924" fmla="*/ 2167416 h 6557032"/>
              <a:gd name="connsiteX44925" fmla="*/ 1055040 w 4610101"/>
              <a:gd name="connsiteY44925" fmla="*/ 2169238 h 6557032"/>
              <a:gd name="connsiteX44926" fmla="*/ 1058683 w 4610101"/>
              <a:gd name="connsiteY44926" fmla="*/ 2165594 h 6557032"/>
              <a:gd name="connsiteX44927" fmla="*/ 1095127 w 4610101"/>
              <a:gd name="connsiteY44927" fmla="*/ 2176527 h 6557032"/>
              <a:gd name="connsiteX44928" fmla="*/ 1078727 w 4610101"/>
              <a:gd name="connsiteY44928" fmla="*/ 2163772 h 6557032"/>
              <a:gd name="connsiteX44929" fmla="*/ 1107882 w 4610101"/>
              <a:gd name="connsiteY44929" fmla="*/ 2143728 h 6557032"/>
              <a:gd name="connsiteX44930" fmla="*/ 1075083 w 4610101"/>
              <a:gd name="connsiteY44930" fmla="*/ 2147372 h 6557032"/>
              <a:gd name="connsiteX44931" fmla="*/ 1078727 w 4610101"/>
              <a:gd name="connsiteY44931" fmla="*/ 2136438 h 6557032"/>
              <a:gd name="connsiteX44932" fmla="*/ 1071439 w 4610101"/>
              <a:gd name="connsiteY44932" fmla="*/ 2138261 h 6557032"/>
              <a:gd name="connsiteX44933" fmla="*/ 1075083 w 4610101"/>
              <a:gd name="connsiteY44933" fmla="*/ 2114572 h 6557032"/>
              <a:gd name="connsiteX44934" fmla="*/ 1073262 w 4610101"/>
              <a:gd name="connsiteY44934" fmla="*/ 2112751 h 6557032"/>
              <a:gd name="connsiteX44935" fmla="*/ 1056861 w 4610101"/>
              <a:gd name="connsiteY44935" fmla="*/ 2151017 h 6557032"/>
              <a:gd name="connsiteX44936" fmla="*/ 1053217 w 4610101"/>
              <a:gd name="connsiteY44936" fmla="*/ 2152839 h 6557032"/>
              <a:gd name="connsiteX44937" fmla="*/ 1053217 w 4610101"/>
              <a:gd name="connsiteY44937" fmla="*/ 2158304 h 6557032"/>
              <a:gd name="connsiteX44938" fmla="*/ 1051395 w 4610101"/>
              <a:gd name="connsiteY44938" fmla="*/ 2154660 h 6557032"/>
              <a:gd name="connsiteX44939" fmla="*/ 1049573 w 4610101"/>
              <a:gd name="connsiteY44939" fmla="*/ 2156483 h 6557032"/>
              <a:gd name="connsiteX44940" fmla="*/ 1056861 w 4610101"/>
              <a:gd name="connsiteY44940" fmla="*/ 2140082 h 6557032"/>
              <a:gd name="connsiteX44941" fmla="*/ 1060506 w 4610101"/>
              <a:gd name="connsiteY44941" fmla="*/ 2110928 h 6557032"/>
              <a:gd name="connsiteX44942" fmla="*/ 1062328 w 4610101"/>
              <a:gd name="connsiteY44942" fmla="*/ 2109107 h 6557032"/>
              <a:gd name="connsiteX44943" fmla="*/ 1058683 w 4610101"/>
              <a:gd name="connsiteY44943" fmla="*/ 2105461 h 6557032"/>
              <a:gd name="connsiteX44944" fmla="*/ 1056861 w 4610101"/>
              <a:gd name="connsiteY44944" fmla="*/ 2101817 h 6557032"/>
              <a:gd name="connsiteX44945" fmla="*/ 1055040 w 4610101"/>
              <a:gd name="connsiteY44945" fmla="*/ 2101817 h 6557032"/>
              <a:gd name="connsiteX44946" fmla="*/ 1053217 w 4610101"/>
              <a:gd name="connsiteY44946" fmla="*/ 2098174 h 6557032"/>
              <a:gd name="connsiteX44947" fmla="*/ 1031351 w 4610101"/>
              <a:gd name="connsiteY44947" fmla="*/ 2120040 h 6557032"/>
              <a:gd name="connsiteX44948" fmla="*/ 1040462 w 4610101"/>
              <a:gd name="connsiteY44948" fmla="*/ 2129150 h 6557032"/>
              <a:gd name="connsiteX44949" fmla="*/ 1038639 w 4610101"/>
              <a:gd name="connsiteY44949" fmla="*/ 2130973 h 6557032"/>
              <a:gd name="connsiteX44950" fmla="*/ 1038639 w 4610101"/>
              <a:gd name="connsiteY44950" fmla="*/ 2136438 h 6557032"/>
              <a:gd name="connsiteX44951" fmla="*/ 1007663 w 4610101"/>
              <a:gd name="connsiteY44951" fmla="*/ 2136438 h 6557032"/>
              <a:gd name="connsiteX44952" fmla="*/ 1007663 w 4610101"/>
              <a:gd name="connsiteY44952" fmla="*/ 2143728 h 6557032"/>
              <a:gd name="connsiteX44953" fmla="*/ 1036818 w 4610101"/>
              <a:gd name="connsiteY44953" fmla="*/ 2151017 h 6557032"/>
              <a:gd name="connsiteX44954" fmla="*/ 1036818 w 4610101"/>
              <a:gd name="connsiteY44954" fmla="*/ 2165594 h 6557032"/>
              <a:gd name="connsiteX44955" fmla="*/ 1033173 w 4610101"/>
              <a:gd name="connsiteY44955" fmla="*/ 2167416 h 6557032"/>
              <a:gd name="connsiteX44956" fmla="*/ 1034995 w 4610101"/>
              <a:gd name="connsiteY44956" fmla="*/ 2172883 h 6557032"/>
              <a:gd name="connsiteX44957" fmla="*/ 1031351 w 4610101"/>
              <a:gd name="connsiteY44957" fmla="*/ 2180171 h 6557032"/>
              <a:gd name="connsiteX44958" fmla="*/ 1029529 w 4610101"/>
              <a:gd name="connsiteY44958" fmla="*/ 2174705 h 6557032"/>
              <a:gd name="connsiteX44959" fmla="*/ 1027707 w 4610101"/>
              <a:gd name="connsiteY44959" fmla="*/ 2181993 h 6557032"/>
              <a:gd name="connsiteX44960" fmla="*/ 1022240 w 4610101"/>
              <a:gd name="connsiteY44960" fmla="*/ 2171060 h 6557032"/>
              <a:gd name="connsiteX44961" fmla="*/ 1022240 w 4610101"/>
              <a:gd name="connsiteY44961" fmla="*/ 2163772 h 6557032"/>
              <a:gd name="connsiteX44962" fmla="*/ 1002196 w 4610101"/>
              <a:gd name="connsiteY44962" fmla="*/ 2149194 h 6557032"/>
              <a:gd name="connsiteX44963" fmla="*/ 1002196 w 4610101"/>
              <a:gd name="connsiteY44963" fmla="*/ 2154660 h 6557032"/>
              <a:gd name="connsiteX44964" fmla="*/ 993085 w 4610101"/>
              <a:gd name="connsiteY44964" fmla="*/ 2154660 h 6557032"/>
              <a:gd name="connsiteX44965" fmla="*/ 1007663 w 4610101"/>
              <a:gd name="connsiteY44965" fmla="*/ 2169238 h 6557032"/>
              <a:gd name="connsiteX44966" fmla="*/ 1007663 w 4610101"/>
              <a:gd name="connsiteY44966" fmla="*/ 2165594 h 6557032"/>
              <a:gd name="connsiteX44967" fmla="*/ 1009485 w 4610101"/>
              <a:gd name="connsiteY44967" fmla="*/ 2167416 h 6557032"/>
              <a:gd name="connsiteX44968" fmla="*/ 1020418 w 4610101"/>
              <a:gd name="connsiteY44968" fmla="*/ 2176527 h 6557032"/>
              <a:gd name="connsiteX44969" fmla="*/ 1024062 w 4610101"/>
              <a:gd name="connsiteY44969" fmla="*/ 2183816 h 6557032"/>
              <a:gd name="connsiteX44970" fmla="*/ 1013129 w 4610101"/>
              <a:gd name="connsiteY44970" fmla="*/ 2183816 h 6557032"/>
              <a:gd name="connsiteX44971" fmla="*/ 1011307 w 4610101"/>
              <a:gd name="connsiteY44971" fmla="*/ 2180171 h 6557032"/>
              <a:gd name="connsiteX44972" fmla="*/ 1009485 w 4610101"/>
              <a:gd name="connsiteY44972" fmla="*/ 2183816 h 6557032"/>
              <a:gd name="connsiteX44973" fmla="*/ 1007663 w 4610101"/>
              <a:gd name="connsiteY44973" fmla="*/ 2183816 h 6557032"/>
              <a:gd name="connsiteX44974" fmla="*/ 1004018 w 4610101"/>
              <a:gd name="connsiteY44974" fmla="*/ 2183816 h 6557032"/>
              <a:gd name="connsiteX44975" fmla="*/ 993085 w 4610101"/>
              <a:gd name="connsiteY44975" fmla="*/ 2183816 h 6557032"/>
              <a:gd name="connsiteX44976" fmla="*/ 971219 w 4610101"/>
              <a:gd name="connsiteY44976" fmla="*/ 2161950 h 6557032"/>
              <a:gd name="connsiteX44977" fmla="*/ 974863 w 4610101"/>
              <a:gd name="connsiteY44977" fmla="*/ 2151017 h 6557032"/>
              <a:gd name="connsiteX44978" fmla="*/ 996729 w 4610101"/>
              <a:gd name="connsiteY44978" fmla="*/ 2141906 h 6557032"/>
              <a:gd name="connsiteX44979" fmla="*/ 998552 w 4610101"/>
              <a:gd name="connsiteY44979" fmla="*/ 2145550 h 6557032"/>
              <a:gd name="connsiteX44980" fmla="*/ 1000374 w 4610101"/>
              <a:gd name="connsiteY44980" fmla="*/ 2143728 h 6557032"/>
              <a:gd name="connsiteX44981" fmla="*/ 1004018 w 4610101"/>
              <a:gd name="connsiteY44981" fmla="*/ 2145550 h 6557032"/>
              <a:gd name="connsiteX44982" fmla="*/ 1005840 w 4610101"/>
              <a:gd name="connsiteY44982" fmla="*/ 2141906 h 6557032"/>
              <a:gd name="connsiteX44983" fmla="*/ 1002196 w 4610101"/>
              <a:gd name="connsiteY44983" fmla="*/ 2140082 h 6557032"/>
              <a:gd name="connsiteX44984" fmla="*/ 1002196 w 4610101"/>
              <a:gd name="connsiteY44984" fmla="*/ 2136438 h 6557032"/>
              <a:gd name="connsiteX44985" fmla="*/ 994907 w 4610101"/>
              <a:gd name="connsiteY44985" fmla="*/ 2138261 h 6557032"/>
              <a:gd name="connsiteX44986" fmla="*/ 993085 w 4610101"/>
              <a:gd name="connsiteY44986" fmla="*/ 2141906 h 6557032"/>
              <a:gd name="connsiteX44987" fmla="*/ 987619 w 4610101"/>
              <a:gd name="connsiteY44987" fmla="*/ 2145550 h 6557032"/>
              <a:gd name="connsiteX44988" fmla="*/ 974863 w 4610101"/>
              <a:gd name="connsiteY44988" fmla="*/ 2149194 h 6557032"/>
              <a:gd name="connsiteX44989" fmla="*/ 978508 w 4610101"/>
              <a:gd name="connsiteY44989" fmla="*/ 2140082 h 6557032"/>
              <a:gd name="connsiteX44990" fmla="*/ 983974 w 4610101"/>
              <a:gd name="connsiteY44990" fmla="*/ 2134617 h 6557032"/>
              <a:gd name="connsiteX44991" fmla="*/ 991263 w 4610101"/>
              <a:gd name="connsiteY44991" fmla="*/ 2138261 h 6557032"/>
              <a:gd name="connsiteX44992" fmla="*/ 1014951 w 4610101"/>
              <a:gd name="connsiteY44992" fmla="*/ 2116394 h 6557032"/>
              <a:gd name="connsiteX44993" fmla="*/ 1001370 w 4610101"/>
              <a:gd name="connsiteY44993" fmla="*/ 2095383 h 6557032"/>
              <a:gd name="connsiteX44994" fmla="*/ 1000374 w 4610101"/>
              <a:gd name="connsiteY44994" fmla="*/ 2083598 h 6557032"/>
              <a:gd name="connsiteX44995" fmla="*/ 998552 w 4610101"/>
              <a:gd name="connsiteY44995" fmla="*/ 2083598 h 6557032"/>
              <a:gd name="connsiteX44996" fmla="*/ 996729 w 4610101"/>
              <a:gd name="connsiteY44996" fmla="*/ 2085419 h 6557032"/>
              <a:gd name="connsiteX44997" fmla="*/ 980330 w 4610101"/>
              <a:gd name="connsiteY44997" fmla="*/ 2085419 h 6557032"/>
              <a:gd name="connsiteX44998" fmla="*/ 980330 w 4610101"/>
              <a:gd name="connsiteY44998" fmla="*/ 2079953 h 6557032"/>
              <a:gd name="connsiteX44999" fmla="*/ 1009485 w 4610101"/>
              <a:gd name="connsiteY44999" fmla="*/ 2070847 h 6557032"/>
              <a:gd name="connsiteX45000" fmla="*/ 1013129 w 4610101"/>
              <a:gd name="connsiteY45000" fmla="*/ 2081775 h 6557032"/>
              <a:gd name="connsiteX45001" fmla="*/ 1008228 w 4610101"/>
              <a:gd name="connsiteY45001" fmla="*/ 2083409 h 6557032"/>
              <a:gd name="connsiteX45002" fmla="*/ 1008119 w 4610101"/>
              <a:gd name="connsiteY45002" fmla="*/ 2083598 h 6557032"/>
              <a:gd name="connsiteX45003" fmla="*/ 1024062 w 4610101"/>
              <a:gd name="connsiteY45003" fmla="*/ 2094529 h 6557032"/>
              <a:gd name="connsiteX45004" fmla="*/ 1031351 w 4610101"/>
              <a:gd name="connsiteY45004" fmla="*/ 2069020 h 6557032"/>
              <a:gd name="connsiteX45005" fmla="*/ 1044106 w 4610101"/>
              <a:gd name="connsiteY45005" fmla="*/ 2065373 h 6557032"/>
              <a:gd name="connsiteX45006" fmla="*/ 1075083 w 4610101"/>
              <a:gd name="connsiteY45006" fmla="*/ 2054441 h 6557032"/>
              <a:gd name="connsiteX45007" fmla="*/ 1078727 w 4610101"/>
              <a:gd name="connsiteY45007" fmla="*/ 2054441 h 6557032"/>
              <a:gd name="connsiteX45008" fmla="*/ 1078727 w 4610101"/>
              <a:gd name="connsiteY45008" fmla="*/ 2052047 h 6557032"/>
              <a:gd name="connsiteX45009" fmla="*/ 1093305 w 4610101"/>
              <a:gd name="connsiteY45009" fmla="*/ 2043509 h 6557032"/>
              <a:gd name="connsiteX45010" fmla="*/ 1093305 w 4610101"/>
              <a:gd name="connsiteY45010" fmla="*/ 2052619 h 6557032"/>
              <a:gd name="connsiteX45011" fmla="*/ 1095127 w 4610101"/>
              <a:gd name="connsiteY45011" fmla="*/ 2043509 h 6557032"/>
              <a:gd name="connsiteX45012" fmla="*/ 1098771 w 4610101"/>
              <a:gd name="connsiteY45012" fmla="*/ 2047153 h 6557032"/>
              <a:gd name="connsiteX45013" fmla="*/ 1106060 w 4610101"/>
              <a:gd name="connsiteY45013" fmla="*/ 2054441 h 6557032"/>
              <a:gd name="connsiteX45014" fmla="*/ 1104238 w 4610101"/>
              <a:gd name="connsiteY45014" fmla="*/ 2047153 h 6557032"/>
              <a:gd name="connsiteX45015" fmla="*/ 1116993 w 4610101"/>
              <a:gd name="connsiteY45015" fmla="*/ 2045330 h 6557032"/>
              <a:gd name="connsiteX45016" fmla="*/ 1106060 w 4610101"/>
              <a:gd name="connsiteY45016" fmla="*/ 2041686 h 6557032"/>
              <a:gd name="connsiteX45017" fmla="*/ 1111526 w 4610101"/>
              <a:gd name="connsiteY45017" fmla="*/ 2038042 h 6557032"/>
              <a:gd name="connsiteX45018" fmla="*/ 1104238 w 4610101"/>
              <a:gd name="connsiteY45018" fmla="*/ 2039864 h 6557032"/>
              <a:gd name="connsiteX45019" fmla="*/ 1095127 w 4610101"/>
              <a:gd name="connsiteY45019" fmla="*/ 2043509 h 6557032"/>
              <a:gd name="connsiteX45020" fmla="*/ 1095127 w 4610101"/>
              <a:gd name="connsiteY45020" fmla="*/ 2038042 h 6557032"/>
              <a:gd name="connsiteX45021" fmla="*/ 1093305 w 4610101"/>
              <a:gd name="connsiteY45021" fmla="*/ 2043509 h 6557032"/>
              <a:gd name="connsiteX45022" fmla="*/ 1078727 w 4610101"/>
              <a:gd name="connsiteY45022" fmla="*/ 2050796 h 6557032"/>
              <a:gd name="connsiteX45023" fmla="*/ 1078727 w 4610101"/>
              <a:gd name="connsiteY45023" fmla="*/ 2052047 h 6557032"/>
              <a:gd name="connsiteX45024" fmla="*/ 1077361 w 4610101"/>
              <a:gd name="connsiteY45024" fmla="*/ 2052847 h 6557032"/>
              <a:gd name="connsiteX45025" fmla="*/ 1058683 w 4610101"/>
              <a:gd name="connsiteY45025" fmla="*/ 2058086 h 6557032"/>
              <a:gd name="connsiteX45026" fmla="*/ 1036818 w 4610101"/>
              <a:gd name="connsiteY45026" fmla="*/ 2067195 h 6557032"/>
              <a:gd name="connsiteX45027" fmla="*/ 1042284 w 4610101"/>
              <a:gd name="connsiteY45027" fmla="*/ 2061729 h 6557032"/>
              <a:gd name="connsiteX45028" fmla="*/ 1062328 w 4610101"/>
              <a:gd name="connsiteY45028" fmla="*/ 2045330 h 6557032"/>
              <a:gd name="connsiteX45029" fmla="*/ 1058683 w 4610101"/>
              <a:gd name="connsiteY45029" fmla="*/ 2030752 h 6557032"/>
              <a:gd name="connsiteX45030" fmla="*/ 1062328 w 4610101"/>
              <a:gd name="connsiteY45030" fmla="*/ 2007065 h 6557032"/>
              <a:gd name="connsiteX45031" fmla="*/ 1031351 w 4610101"/>
              <a:gd name="connsiteY45031" fmla="*/ 1976089 h 6557032"/>
              <a:gd name="connsiteX45032" fmla="*/ 1016774 w 4610101"/>
              <a:gd name="connsiteY45032" fmla="*/ 1983376 h 6557032"/>
              <a:gd name="connsiteX45033" fmla="*/ 1009485 w 4610101"/>
              <a:gd name="connsiteY45033" fmla="*/ 1968799 h 6557032"/>
              <a:gd name="connsiteX45034" fmla="*/ 1025884 w 4610101"/>
              <a:gd name="connsiteY45034" fmla="*/ 1959688 h 6557032"/>
              <a:gd name="connsiteX45035" fmla="*/ 1009485 w 4610101"/>
              <a:gd name="connsiteY45035" fmla="*/ 1937823 h 6557032"/>
              <a:gd name="connsiteX45036" fmla="*/ 1076905 w 4610101"/>
              <a:gd name="connsiteY45036" fmla="*/ 1886802 h 6557032"/>
              <a:gd name="connsiteX45037" fmla="*/ 1069616 w 4610101"/>
              <a:gd name="connsiteY45037" fmla="*/ 1877691 h 6557032"/>
              <a:gd name="connsiteX45038" fmla="*/ 1047750 w 4610101"/>
              <a:gd name="connsiteY45038" fmla="*/ 1894091 h 6557032"/>
              <a:gd name="connsiteX45039" fmla="*/ 1047750 w 4610101"/>
              <a:gd name="connsiteY45039" fmla="*/ 1872225 h 6557032"/>
              <a:gd name="connsiteX45040" fmla="*/ 1033173 w 4610101"/>
              <a:gd name="connsiteY45040" fmla="*/ 1864936 h 6557032"/>
              <a:gd name="connsiteX45041" fmla="*/ 1040462 w 4610101"/>
              <a:gd name="connsiteY45041" fmla="*/ 1848537 h 6557032"/>
              <a:gd name="connsiteX45042" fmla="*/ 1053217 w 4610101"/>
              <a:gd name="connsiteY45042" fmla="*/ 1855825 h 6557032"/>
              <a:gd name="connsiteX45043" fmla="*/ 1078727 w 4610101"/>
              <a:gd name="connsiteY45043" fmla="*/ 1833959 h 6557032"/>
              <a:gd name="connsiteX45044" fmla="*/ 1060506 w 4610101"/>
              <a:gd name="connsiteY45044" fmla="*/ 1819382 h 6557032"/>
              <a:gd name="connsiteX45045" fmla="*/ 1076905 w 4610101"/>
              <a:gd name="connsiteY45045" fmla="*/ 1797516 h 6557032"/>
              <a:gd name="connsiteX45046" fmla="*/ 1062328 w 4610101"/>
              <a:gd name="connsiteY45046" fmla="*/ 1797516 h 6557032"/>
              <a:gd name="connsiteX45047" fmla="*/ 1062328 w 4610101"/>
              <a:gd name="connsiteY45047" fmla="*/ 1781116 h 6557032"/>
              <a:gd name="connsiteX45048" fmla="*/ 1091484 w 4610101"/>
              <a:gd name="connsiteY45048" fmla="*/ 1790227 h 6557032"/>
              <a:gd name="connsiteX45049" fmla="*/ 1118815 w 4610101"/>
              <a:gd name="connsiteY45049" fmla="*/ 1759250 h 6557032"/>
              <a:gd name="connsiteX45050" fmla="*/ 1147970 w 4610101"/>
              <a:gd name="connsiteY45050" fmla="*/ 1750139 h 6557032"/>
              <a:gd name="connsiteX45051" fmla="*/ 1140681 w 4610101"/>
              <a:gd name="connsiteY45051" fmla="*/ 1735562 h 6557032"/>
              <a:gd name="connsiteX45052" fmla="*/ 1146148 w 4610101"/>
              <a:gd name="connsiteY45052" fmla="*/ 1713696 h 6557032"/>
              <a:gd name="connsiteX45053" fmla="*/ 1141045 w 4610101"/>
              <a:gd name="connsiteY45053" fmla="*/ 1707955 h 6557032"/>
              <a:gd name="connsiteX45054" fmla="*/ 1147970 w 4610101"/>
              <a:gd name="connsiteY45054" fmla="*/ 1702763 h 6557032"/>
              <a:gd name="connsiteX45055" fmla="*/ 1144326 w 4610101"/>
              <a:gd name="connsiteY45055" fmla="*/ 1700941 h 6557032"/>
              <a:gd name="connsiteX45056" fmla="*/ 1138859 w 4610101"/>
              <a:gd name="connsiteY45056" fmla="*/ 1704585 h 6557032"/>
              <a:gd name="connsiteX45057" fmla="*/ 1138859 w 4610101"/>
              <a:gd name="connsiteY45057" fmla="*/ 1705496 h 6557032"/>
              <a:gd name="connsiteX45058" fmla="*/ 1131570 w 4610101"/>
              <a:gd name="connsiteY45058" fmla="*/ 1697296 h 6557032"/>
              <a:gd name="connsiteX45059" fmla="*/ 1130659 w 4610101"/>
              <a:gd name="connsiteY45059" fmla="*/ 1697296 h 6557032"/>
              <a:gd name="connsiteX45060" fmla="*/ 1131570 w 4610101"/>
              <a:gd name="connsiteY45060" fmla="*/ 1695474 h 6557032"/>
              <a:gd name="connsiteX45061" fmla="*/ 1123370 w 4610101"/>
              <a:gd name="connsiteY45061" fmla="*/ 1695474 h 6557032"/>
              <a:gd name="connsiteX45062" fmla="*/ 1118815 w 4610101"/>
              <a:gd name="connsiteY45062" fmla="*/ 1693652 h 6557032"/>
              <a:gd name="connsiteX45063" fmla="*/ 1102416 w 4610101"/>
              <a:gd name="connsiteY45063" fmla="*/ 1700941 h 6557032"/>
              <a:gd name="connsiteX45064" fmla="*/ 1102416 w 4610101"/>
              <a:gd name="connsiteY45064" fmla="*/ 1697296 h 6557032"/>
              <a:gd name="connsiteX45065" fmla="*/ 1093305 w 4610101"/>
              <a:gd name="connsiteY45065" fmla="*/ 1699899 h 6557032"/>
              <a:gd name="connsiteX45066" fmla="*/ 1093305 w 4610101"/>
              <a:gd name="connsiteY45066" fmla="*/ 1697296 h 6557032"/>
              <a:gd name="connsiteX45067" fmla="*/ 1084194 w 4610101"/>
              <a:gd name="connsiteY45067" fmla="*/ 1697296 h 6557032"/>
              <a:gd name="connsiteX45068" fmla="*/ 1082373 w 4610101"/>
              <a:gd name="connsiteY45068" fmla="*/ 1700941 h 6557032"/>
              <a:gd name="connsiteX45069" fmla="*/ 1080549 w 4610101"/>
              <a:gd name="connsiteY45069" fmla="*/ 1706407 h 6557032"/>
              <a:gd name="connsiteX45070" fmla="*/ 1088893 w 4610101"/>
              <a:gd name="connsiteY45070" fmla="*/ 1703626 h 6557032"/>
              <a:gd name="connsiteX45071" fmla="*/ 1086016 w 4610101"/>
              <a:gd name="connsiteY45071" fmla="*/ 1713696 h 6557032"/>
              <a:gd name="connsiteX45072" fmla="*/ 1075083 w 4610101"/>
              <a:gd name="connsiteY45072" fmla="*/ 1704585 h 6557032"/>
              <a:gd name="connsiteX45073" fmla="*/ 1062328 w 4610101"/>
              <a:gd name="connsiteY45073" fmla="*/ 1710051 h 6557032"/>
              <a:gd name="connsiteX45074" fmla="*/ 1073262 w 4610101"/>
              <a:gd name="connsiteY45074" fmla="*/ 1702763 h 6557032"/>
              <a:gd name="connsiteX45075" fmla="*/ 1064151 w 4610101"/>
              <a:gd name="connsiteY45075" fmla="*/ 1693652 h 6557032"/>
              <a:gd name="connsiteX45076" fmla="*/ 1060506 w 4610101"/>
              <a:gd name="connsiteY45076" fmla="*/ 1695474 h 6557032"/>
              <a:gd name="connsiteX45077" fmla="*/ 1058683 w 4610101"/>
              <a:gd name="connsiteY45077" fmla="*/ 1695474 h 6557032"/>
              <a:gd name="connsiteX45078" fmla="*/ 1048598 w 4610101"/>
              <a:gd name="connsiteY45078" fmla="*/ 1699118 h 6557032"/>
              <a:gd name="connsiteX45079" fmla="*/ 1044106 w 4610101"/>
              <a:gd name="connsiteY45079" fmla="*/ 1699118 h 6557032"/>
              <a:gd name="connsiteX45080" fmla="*/ 1046761 w 4610101"/>
              <a:gd name="connsiteY45080" fmla="*/ 1699782 h 6557032"/>
              <a:gd name="connsiteX45081" fmla="*/ 1031578 w 4610101"/>
              <a:gd name="connsiteY45081" fmla="*/ 1705268 h 6557032"/>
              <a:gd name="connsiteX45082" fmla="*/ 1019618 w 4610101"/>
              <a:gd name="connsiteY45082" fmla="*/ 1709184 h 6557032"/>
              <a:gd name="connsiteX45083" fmla="*/ 1024062 w 4610101"/>
              <a:gd name="connsiteY45083" fmla="*/ 1706407 h 6557032"/>
              <a:gd name="connsiteX45084" fmla="*/ 1009485 w 4610101"/>
              <a:gd name="connsiteY45084" fmla="*/ 1704585 h 6557032"/>
              <a:gd name="connsiteX45085" fmla="*/ 1032717 w 4610101"/>
              <a:gd name="connsiteY45085" fmla="*/ 1702763 h 6557032"/>
              <a:gd name="connsiteX45086" fmla="*/ 1052770 w 4610101"/>
              <a:gd name="connsiteY45086" fmla="*/ 1690285 h 6557032"/>
              <a:gd name="connsiteX45087" fmla="*/ 1055040 w 4610101"/>
              <a:gd name="connsiteY45087" fmla="*/ 1690008 h 6557032"/>
              <a:gd name="connsiteX45088" fmla="*/ 1053217 w 4610101"/>
              <a:gd name="connsiteY45088" fmla="*/ 1690008 h 6557032"/>
              <a:gd name="connsiteX45089" fmla="*/ 1052770 w 4610101"/>
              <a:gd name="connsiteY45089" fmla="*/ 1690285 h 6557032"/>
              <a:gd name="connsiteX45090" fmla="*/ 1046256 w 4610101"/>
              <a:gd name="connsiteY45090" fmla="*/ 1691083 h 6557032"/>
              <a:gd name="connsiteX45091" fmla="*/ 1045249 w 4610101"/>
              <a:gd name="connsiteY45091" fmla="*/ 1690579 h 6557032"/>
              <a:gd name="connsiteX45092" fmla="*/ 1048021 w 4610101"/>
              <a:gd name="connsiteY45092" fmla="*/ 1690008 h 6557032"/>
              <a:gd name="connsiteX45093" fmla="*/ 1051395 w 4610101"/>
              <a:gd name="connsiteY45093" fmla="*/ 1690008 h 6557032"/>
              <a:gd name="connsiteX45094" fmla="*/ 1053130 w 4610101"/>
              <a:gd name="connsiteY45094" fmla="*/ 1688954 h 6557032"/>
              <a:gd name="connsiteX45095" fmla="*/ 1056861 w 4610101"/>
              <a:gd name="connsiteY45095" fmla="*/ 1688185 h 6557032"/>
              <a:gd name="connsiteX45096" fmla="*/ 1055087 w 4610101"/>
              <a:gd name="connsiteY45096" fmla="*/ 1687766 h 6557032"/>
              <a:gd name="connsiteX45097" fmla="*/ 1057772 w 4610101"/>
              <a:gd name="connsiteY45097" fmla="*/ 1686135 h 6557032"/>
              <a:gd name="connsiteX45098" fmla="*/ 1064151 w 4610101"/>
              <a:gd name="connsiteY45098" fmla="*/ 1680897 h 6557032"/>
              <a:gd name="connsiteX45099" fmla="*/ 1048434 w 4610101"/>
              <a:gd name="connsiteY45099" fmla="*/ 1682718 h 6557032"/>
              <a:gd name="connsiteX45100" fmla="*/ 1043188 w 4610101"/>
              <a:gd name="connsiteY45100" fmla="*/ 1684957 h 6557032"/>
              <a:gd name="connsiteX45101" fmla="*/ 1040461 w 4610101"/>
              <a:gd name="connsiteY45101" fmla="*/ 1684313 h 6557032"/>
              <a:gd name="connsiteX45102" fmla="*/ 1024062 w 4610101"/>
              <a:gd name="connsiteY45102" fmla="*/ 1690008 h 6557032"/>
              <a:gd name="connsiteX45103" fmla="*/ 1029529 w 4610101"/>
              <a:gd name="connsiteY45103" fmla="*/ 1684541 h 6557032"/>
              <a:gd name="connsiteX45104" fmla="*/ 1024062 w 4610101"/>
              <a:gd name="connsiteY45104" fmla="*/ 1680897 h 6557032"/>
              <a:gd name="connsiteX45105" fmla="*/ 1042967 w 4610101"/>
              <a:gd name="connsiteY45105" fmla="*/ 1676797 h 6557032"/>
              <a:gd name="connsiteX45106" fmla="*/ 1055278 w 4610101"/>
              <a:gd name="connsiteY45106" fmla="*/ 1672001 h 6557032"/>
              <a:gd name="connsiteX45107" fmla="*/ 1064151 w 4610101"/>
              <a:gd name="connsiteY45107" fmla="*/ 1679986 h 6557032"/>
              <a:gd name="connsiteX45108" fmla="*/ 1073262 w 4610101"/>
              <a:gd name="connsiteY45108" fmla="*/ 1677252 h 6557032"/>
              <a:gd name="connsiteX45109" fmla="*/ 1067794 w 4610101"/>
              <a:gd name="connsiteY45109" fmla="*/ 1677252 h 6557032"/>
              <a:gd name="connsiteX45110" fmla="*/ 1082373 w 4610101"/>
              <a:gd name="connsiteY45110" fmla="*/ 1669964 h 6557032"/>
              <a:gd name="connsiteX45111" fmla="*/ 1076905 w 4610101"/>
              <a:gd name="connsiteY45111" fmla="*/ 1664497 h 6557032"/>
              <a:gd name="connsiteX45112" fmla="*/ 1071439 w 4610101"/>
              <a:gd name="connsiteY45112" fmla="*/ 1662675 h 6557032"/>
              <a:gd name="connsiteX45113" fmla="*/ 1062067 w 4610101"/>
              <a:gd name="connsiteY45113" fmla="*/ 1667881 h 6557032"/>
              <a:gd name="connsiteX45114" fmla="*/ 1057497 w 4610101"/>
              <a:gd name="connsiteY45114" fmla="*/ 1663311 h 6557032"/>
              <a:gd name="connsiteX45115" fmla="*/ 1067794 w 4610101"/>
              <a:gd name="connsiteY45115" fmla="*/ 1659031 h 6557032"/>
              <a:gd name="connsiteX45116" fmla="*/ 1066061 w 4610101"/>
              <a:gd name="connsiteY45116" fmla="*/ 1657298 h 6557032"/>
              <a:gd name="connsiteX45117" fmla="*/ 1071439 w 4610101"/>
              <a:gd name="connsiteY45117" fmla="*/ 1657208 h 6557032"/>
              <a:gd name="connsiteX45118" fmla="*/ 1065972 w 4610101"/>
              <a:gd name="connsiteY45118" fmla="*/ 1657208 h 6557032"/>
              <a:gd name="connsiteX45119" fmla="*/ 1066061 w 4610101"/>
              <a:gd name="connsiteY45119" fmla="*/ 1657298 h 6557032"/>
              <a:gd name="connsiteX45120" fmla="*/ 1044106 w 4610101"/>
              <a:gd name="connsiteY45120" fmla="*/ 1657663 h 6557032"/>
              <a:gd name="connsiteX45121" fmla="*/ 1022240 w 4610101"/>
              <a:gd name="connsiteY45121" fmla="*/ 1671786 h 6557032"/>
              <a:gd name="connsiteX45122" fmla="*/ 1036818 w 4610101"/>
              <a:gd name="connsiteY45122" fmla="*/ 1668142 h 6557032"/>
              <a:gd name="connsiteX45123" fmla="*/ 1031351 w 4610101"/>
              <a:gd name="connsiteY45123" fmla="*/ 1668142 h 6557032"/>
              <a:gd name="connsiteX45124" fmla="*/ 1043278 w 4610101"/>
              <a:gd name="connsiteY45124" fmla="*/ 1666992 h 6557032"/>
              <a:gd name="connsiteX45125" fmla="*/ 1027479 w 4610101"/>
              <a:gd name="connsiteY45125" fmla="*/ 1672014 h 6557032"/>
              <a:gd name="connsiteX45126" fmla="*/ 1002196 w 4610101"/>
              <a:gd name="connsiteY45126" fmla="*/ 1688185 h 6557032"/>
              <a:gd name="connsiteX45127" fmla="*/ 1016774 w 4610101"/>
              <a:gd name="connsiteY45127" fmla="*/ 1673608 h 6557032"/>
              <a:gd name="connsiteX45128" fmla="*/ 1020418 w 4610101"/>
              <a:gd name="connsiteY45128" fmla="*/ 1666319 h 6557032"/>
              <a:gd name="connsiteX45129" fmla="*/ 1007663 w 4610101"/>
              <a:gd name="connsiteY45129" fmla="*/ 1671786 h 6557032"/>
              <a:gd name="connsiteX45130" fmla="*/ 1016774 w 4610101"/>
              <a:gd name="connsiteY45130" fmla="*/ 1673608 h 6557032"/>
              <a:gd name="connsiteX45131" fmla="*/ 1011898 w 4610101"/>
              <a:gd name="connsiteY45131" fmla="*/ 1675370 h 6557032"/>
              <a:gd name="connsiteX45132" fmla="*/ 1003790 w 4610101"/>
              <a:gd name="connsiteY45132" fmla="*/ 1674975 h 6557032"/>
              <a:gd name="connsiteX45133" fmla="*/ 993085 w 4610101"/>
              <a:gd name="connsiteY45133" fmla="*/ 1682719 h 6557032"/>
              <a:gd name="connsiteX45134" fmla="*/ 994907 w 4610101"/>
              <a:gd name="connsiteY45134" fmla="*/ 1682056 h 6557032"/>
              <a:gd name="connsiteX45135" fmla="*/ 982441 w 4610101"/>
              <a:gd name="connsiteY45135" fmla="*/ 1688856 h 6557032"/>
              <a:gd name="connsiteX45136" fmla="*/ 981688 w 4610101"/>
              <a:gd name="connsiteY45136" fmla="*/ 1689007 h 6557032"/>
              <a:gd name="connsiteX45137" fmla="*/ 984658 w 4610101"/>
              <a:gd name="connsiteY45137" fmla="*/ 1686818 h 6557032"/>
              <a:gd name="connsiteX45138" fmla="*/ 987619 w 4610101"/>
              <a:gd name="connsiteY45138" fmla="*/ 1680897 h 6557032"/>
              <a:gd name="connsiteX45139" fmla="*/ 984944 w 4610101"/>
              <a:gd name="connsiteY45139" fmla="*/ 1681726 h 6557032"/>
              <a:gd name="connsiteX45140" fmla="*/ 985796 w 4610101"/>
              <a:gd name="connsiteY45140" fmla="*/ 1677252 h 6557032"/>
              <a:gd name="connsiteX45141" fmla="*/ 982152 w 4610101"/>
              <a:gd name="connsiteY45141" fmla="*/ 1673608 h 6557032"/>
              <a:gd name="connsiteX45142" fmla="*/ 998552 w 4610101"/>
              <a:gd name="connsiteY45142" fmla="*/ 1668142 h 6557032"/>
              <a:gd name="connsiteX45143" fmla="*/ 985796 w 4610101"/>
              <a:gd name="connsiteY45143" fmla="*/ 1664497 h 6557032"/>
              <a:gd name="connsiteX45144" fmla="*/ 1000374 w 4610101"/>
              <a:gd name="connsiteY45144" fmla="*/ 1666319 h 6557032"/>
              <a:gd name="connsiteX45145" fmla="*/ 996729 w 4610101"/>
              <a:gd name="connsiteY45145" fmla="*/ 1662675 h 6557032"/>
              <a:gd name="connsiteX45146" fmla="*/ 1055040 w 4610101"/>
              <a:gd name="connsiteY45146" fmla="*/ 1651742 h 6557032"/>
              <a:gd name="connsiteX45147" fmla="*/ 998552 w 4610101"/>
              <a:gd name="connsiteY45147" fmla="*/ 1640809 h 6557032"/>
              <a:gd name="connsiteX45148" fmla="*/ 1027707 w 4610101"/>
              <a:gd name="connsiteY45148" fmla="*/ 1642631 h 6557032"/>
              <a:gd name="connsiteX45149" fmla="*/ 1004018 w 4610101"/>
              <a:gd name="connsiteY45149" fmla="*/ 1635342 h 6557032"/>
              <a:gd name="connsiteX45150" fmla="*/ 909265 w 4610101"/>
              <a:gd name="connsiteY45150" fmla="*/ 1679075 h 6557032"/>
              <a:gd name="connsiteX45151" fmla="*/ 916555 w 4610101"/>
              <a:gd name="connsiteY45151" fmla="*/ 1668142 h 6557032"/>
              <a:gd name="connsiteX45152" fmla="*/ 876466 w 4610101"/>
              <a:gd name="connsiteY45152" fmla="*/ 1682719 h 6557032"/>
              <a:gd name="connsiteX45153" fmla="*/ 880099 w 4610101"/>
              <a:gd name="connsiteY45153" fmla="*/ 1683099 h 6557032"/>
              <a:gd name="connsiteX45154" fmla="*/ 852778 w 4610101"/>
              <a:gd name="connsiteY45154" fmla="*/ 1686363 h 6557032"/>
              <a:gd name="connsiteX45155" fmla="*/ 798112 w 4610101"/>
              <a:gd name="connsiteY45155" fmla="*/ 1693652 h 6557032"/>
              <a:gd name="connsiteX45156" fmla="*/ 856422 w 4610101"/>
              <a:gd name="connsiteY45156" fmla="*/ 1682719 h 6557032"/>
              <a:gd name="connsiteX45157" fmla="*/ 854600 w 4610101"/>
              <a:gd name="connsiteY45157" fmla="*/ 1680897 h 6557032"/>
              <a:gd name="connsiteX45158" fmla="*/ 869177 w 4610101"/>
              <a:gd name="connsiteY45158" fmla="*/ 1677252 h 6557032"/>
              <a:gd name="connsiteX45159" fmla="*/ 860066 w 4610101"/>
              <a:gd name="connsiteY45159" fmla="*/ 1675430 h 6557032"/>
              <a:gd name="connsiteX45160" fmla="*/ 940242 w 4610101"/>
              <a:gd name="connsiteY45160" fmla="*/ 1646275 h 6557032"/>
              <a:gd name="connsiteX45161" fmla="*/ 901976 w 4610101"/>
              <a:gd name="connsiteY45161" fmla="*/ 1648097 h 6557032"/>
              <a:gd name="connsiteX45162" fmla="*/ 941608 w 4610101"/>
              <a:gd name="connsiteY45162" fmla="*/ 1644225 h 6557032"/>
              <a:gd name="connsiteX45163" fmla="*/ 966679 w 4610101"/>
              <a:gd name="connsiteY45163" fmla="*/ 1633238 h 6557032"/>
              <a:gd name="connsiteX45164" fmla="*/ 985796 w 4610101"/>
              <a:gd name="connsiteY45164" fmla="*/ 1628054 h 6557032"/>
              <a:gd name="connsiteX45165" fmla="*/ 976714 w 4610101"/>
              <a:gd name="connsiteY45165" fmla="*/ 1628840 h 6557032"/>
              <a:gd name="connsiteX45166" fmla="*/ 978508 w 4610101"/>
              <a:gd name="connsiteY45166" fmla="*/ 1628054 h 6557032"/>
              <a:gd name="connsiteX45167" fmla="*/ 974481 w 4610101"/>
              <a:gd name="connsiteY45167" fmla="*/ 1629033 h 6557032"/>
              <a:gd name="connsiteX45168" fmla="*/ 909493 w 4610101"/>
              <a:gd name="connsiteY45168" fmla="*/ 1634659 h 6557032"/>
              <a:gd name="connsiteX45169" fmla="*/ 834556 w 4610101"/>
              <a:gd name="connsiteY45169" fmla="*/ 1653564 h 6557032"/>
              <a:gd name="connsiteX45170" fmla="*/ 850630 w 4610101"/>
              <a:gd name="connsiteY45170" fmla="*/ 1654904 h 6557032"/>
              <a:gd name="connsiteX45171" fmla="*/ 832270 w 4610101"/>
              <a:gd name="connsiteY45171" fmla="*/ 1656898 h 6557032"/>
              <a:gd name="connsiteX45172" fmla="*/ 828634 w 4610101"/>
              <a:gd name="connsiteY45172" fmla="*/ 1654475 h 6557032"/>
              <a:gd name="connsiteX45173" fmla="*/ 821801 w 4610101"/>
              <a:gd name="connsiteY45173" fmla="*/ 1657208 h 6557032"/>
              <a:gd name="connsiteX45174" fmla="*/ 829416 w 4610101"/>
              <a:gd name="connsiteY45174" fmla="*/ 1657208 h 6557032"/>
              <a:gd name="connsiteX45175" fmla="*/ 825217 w 4610101"/>
              <a:gd name="connsiteY45175" fmla="*/ 1657664 h 6557032"/>
              <a:gd name="connsiteX45176" fmla="*/ 794200 w 4610101"/>
              <a:gd name="connsiteY45176" fmla="*/ 1664470 h 6557032"/>
              <a:gd name="connsiteX45177" fmla="*/ 762580 w 4610101"/>
              <a:gd name="connsiteY45177" fmla="*/ 1661308 h 6557032"/>
              <a:gd name="connsiteX45178" fmla="*/ 730692 w 4610101"/>
              <a:gd name="connsiteY45178" fmla="*/ 1666319 h 6557032"/>
              <a:gd name="connsiteX45179" fmla="*/ 703359 w 4610101"/>
              <a:gd name="connsiteY45179" fmla="*/ 1669964 h 6557032"/>
              <a:gd name="connsiteX45180" fmla="*/ 719344 w 4610101"/>
              <a:gd name="connsiteY45180" fmla="*/ 1677222 h 6557032"/>
              <a:gd name="connsiteX45181" fmla="*/ 706172 w 4610101"/>
              <a:gd name="connsiteY45181" fmla="*/ 1675325 h 6557032"/>
              <a:gd name="connsiteX45182" fmla="*/ 702220 w 4610101"/>
              <a:gd name="connsiteY45182" fmla="*/ 1672014 h 6557032"/>
              <a:gd name="connsiteX45183" fmla="*/ 692426 w 4610101"/>
              <a:gd name="connsiteY45183" fmla="*/ 1671786 h 6557032"/>
              <a:gd name="connsiteX45184" fmla="*/ 698517 w 4610101"/>
              <a:gd name="connsiteY45184" fmla="*/ 1674223 h 6557032"/>
              <a:gd name="connsiteX45185" fmla="*/ 694249 w 4610101"/>
              <a:gd name="connsiteY45185" fmla="*/ 1673608 h 6557032"/>
              <a:gd name="connsiteX45186" fmla="*/ 694249 w 4610101"/>
              <a:gd name="connsiteY45186" fmla="*/ 1773827 h 6557032"/>
              <a:gd name="connsiteX45187" fmla="*/ 692426 w 4610101"/>
              <a:gd name="connsiteY45187" fmla="*/ 1770183 h 6557032"/>
              <a:gd name="connsiteX45188" fmla="*/ 681493 w 4610101"/>
              <a:gd name="connsiteY45188" fmla="*/ 1775650 h 6557032"/>
              <a:gd name="connsiteX45189" fmla="*/ 699715 w 4610101"/>
              <a:gd name="connsiteY45189" fmla="*/ 1722807 h 6557032"/>
              <a:gd name="connsiteX45190" fmla="*/ 692426 w 4610101"/>
              <a:gd name="connsiteY45190" fmla="*/ 1726451 h 6557032"/>
              <a:gd name="connsiteX45191" fmla="*/ 690604 w 4610101"/>
              <a:gd name="connsiteY45191" fmla="*/ 1684541 h 6557032"/>
              <a:gd name="connsiteX45192" fmla="*/ 692426 w 4610101"/>
              <a:gd name="connsiteY45192" fmla="*/ 1677252 h 6557032"/>
              <a:gd name="connsiteX45193" fmla="*/ 683316 w 4610101"/>
              <a:gd name="connsiteY45193" fmla="*/ 1671786 h 6557032"/>
              <a:gd name="connsiteX45194" fmla="*/ 680240 w 4610101"/>
              <a:gd name="connsiteY45194" fmla="*/ 1688233 h 6557032"/>
              <a:gd name="connsiteX45195" fmla="*/ 679671 w 4610101"/>
              <a:gd name="connsiteY45195" fmla="*/ 1668142 h 6557032"/>
              <a:gd name="connsiteX45196" fmla="*/ 659627 w 4610101"/>
              <a:gd name="connsiteY45196" fmla="*/ 1768361 h 6557032"/>
              <a:gd name="connsiteX45197" fmla="*/ 654161 w 4610101"/>
              <a:gd name="connsiteY45197" fmla="*/ 1755606 h 6557032"/>
              <a:gd name="connsiteX45198" fmla="*/ 646872 w 4610101"/>
              <a:gd name="connsiteY45198" fmla="*/ 1846714 h 6557032"/>
              <a:gd name="connsiteX45199" fmla="*/ 646872 w 4610101"/>
              <a:gd name="connsiteY45199" fmla="*/ 1844892 h 6557032"/>
              <a:gd name="connsiteX45200" fmla="*/ 637761 w 4610101"/>
              <a:gd name="connsiteY45200" fmla="*/ 1866758 h 6557032"/>
              <a:gd name="connsiteX45201" fmla="*/ 628650 w 4610101"/>
              <a:gd name="connsiteY45201" fmla="*/ 1864936 h 6557032"/>
              <a:gd name="connsiteX45202" fmla="*/ 643228 w 4610101"/>
              <a:gd name="connsiteY45202" fmla="*/ 1832137 h 6557032"/>
              <a:gd name="connsiteX45203" fmla="*/ 635939 w 4610101"/>
              <a:gd name="connsiteY45203" fmla="*/ 1835781 h 6557032"/>
              <a:gd name="connsiteX45204" fmla="*/ 639583 w 4610101"/>
              <a:gd name="connsiteY45204" fmla="*/ 1817560 h 6557032"/>
              <a:gd name="connsiteX45205" fmla="*/ 630472 w 4610101"/>
              <a:gd name="connsiteY45205" fmla="*/ 1830315 h 6557032"/>
              <a:gd name="connsiteX45206" fmla="*/ 628650 w 4610101"/>
              <a:gd name="connsiteY45206" fmla="*/ 1828493 h 6557032"/>
              <a:gd name="connsiteX45207" fmla="*/ 615895 w 4610101"/>
              <a:gd name="connsiteY45207" fmla="*/ 1841248 h 6557032"/>
              <a:gd name="connsiteX45208" fmla="*/ 647100 w 4610101"/>
              <a:gd name="connsiteY45208" fmla="*/ 1771322 h 6557032"/>
              <a:gd name="connsiteX45209" fmla="*/ 657611 w 4610101"/>
              <a:gd name="connsiteY45209" fmla="*/ 1693268 h 6557032"/>
              <a:gd name="connsiteX45210" fmla="*/ 665577 w 4610101"/>
              <a:gd name="connsiteY45210" fmla="*/ 1683801 h 6557032"/>
              <a:gd name="connsiteX45211" fmla="*/ 668738 w 4610101"/>
              <a:gd name="connsiteY45211" fmla="*/ 1671786 h 6557032"/>
              <a:gd name="connsiteX45212" fmla="*/ 639583 w 4610101"/>
              <a:gd name="connsiteY45212" fmla="*/ 1695474 h 6557032"/>
              <a:gd name="connsiteX45213" fmla="*/ 630472 w 4610101"/>
              <a:gd name="connsiteY45213" fmla="*/ 1719162 h 6557032"/>
              <a:gd name="connsiteX45214" fmla="*/ 650425 w 4610101"/>
              <a:gd name="connsiteY45214" fmla="*/ 1700467 h 6557032"/>
              <a:gd name="connsiteX45215" fmla="*/ 637761 w 4610101"/>
              <a:gd name="connsiteY45215" fmla="*/ 1715290 h 6557032"/>
              <a:gd name="connsiteX45216" fmla="*/ 623185 w 4610101"/>
              <a:gd name="connsiteY45216" fmla="*/ 1737384 h 6557032"/>
              <a:gd name="connsiteX45217" fmla="*/ 621362 w 4610101"/>
              <a:gd name="connsiteY45217" fmla="*/ 1735562 h 6557032"/>
              <a:gd name="connsiteX45218" fmla="*/ 612251 w 4610101"/>
              <a:gd name="connsiteY45218" fmla="*/ 1750139 h 6557032"/>
              <a:gd name="connsiteX45219" fmla="*/ 621362 w 4610101"/>
              <a:gd name="connsiteY45219" fmla="*/ 1742851 h 6557032"/>
              <a:gd name="connsiteX45220" fmla="*/ 614074 w 4610101"/>
              <a:gd name="connsiteY45220" fmla="*/ 1810271 h 6557032"/>
              <a:gd name="connsiteX45221" fmla="*/ 606784 w 4610101"/>
              <a:gd name="connsiteY45221" fmla="*/ 1801160 h 6557032"/>
              <a:gd name="connsiteX45222" fmla="*/ 586741 w 4610101"/>
              <a:gd name="connsiteY45222" fmla="*/ 1848537 h 6557032"/>
              <a:gd name="connsiteX45223" fmla="*/ 595852 w 4610101"/>
              <a:gd name="connsiteY45223" fmla="*/ 1823026 h 6557032"/>
              <a:gd name="connsiteX45224" fmla="*/ 557586 w 4610101"/>
              <a:gd name="connsiteY45224" fmla="*/ 1866758 h 6557032"/>
              <a:gd name="connsiteX45225" fmla="*/ 559408 w 4610101"/>
              <a:gd name="connsiteY45225" fmla="*/ 1861292 h 6557032"/>
              <a:gd name="connsiteX45226" fmla="*/ 541186 w 4610101"/>
              <a:gd name="connsiteY45226" fmla="*/ 1870403 h 6557032"/>
              <a:gd name="connsiteX45227" fmla="*/ 546653 w 4610101"/>
              <a:gd name="connsiteY45227" fmla="*/ 1864936 h 6557032"/>
              <a:gd name="connsiteX45228" fmla="*/ 517498 w 4610101"/>
              <a:gd name="connsiteY45228" fmla="*/ 1879514 h 6557032"/>
              <a:gd name="connsiteX45229" fmla="*/ 564874 w 4610101"/>
              <a:gd name="connsiteY45229" fmla="*/ 1854003 h 6557032"/>
              <a:gd name="connsiteX45230" fmla="*/ 561230 w 4610101"/>
              <a:gd name="connsiteY45230" fmla="*/ 1852181 h 6557032"/>
              <a:gd name="connsiteX45231" fmla="*/ 573985 w 4610101"/>
              <a:gd name="connsiteY45231" fmla="*/ 1833959 h 6557032"/>
              <a:gd name="connsiteX45232" fmla="*/ 572163 w 4610101"/>
              <a:gd name="connsiteY45232" fmla="*/ 1835781 h 6557032"/>
              <a:gd name="connsiteX45233" fmla="*/ 594030 w 4610101"/>
              <a:gd name="connsiteY45233" fmla="*/ 1782938 h 6557032"/>
              <a:gd name="connsiteX45234" fmla="*/ 581274 w 4610101"/>
              <a:gd name="connsiteY45234" fmla="*/ 1793871 h 6557032"/>
              <a:gd name="connsiteX45235" fmla="*/ 568519 w 4610101"/>
              <a:gd name="connsiteY45235" fmla="*/ 1773827 h 6557032"/>
              <a:gd name="connsiteX45236" fmla="*/ 559180 w 4610101"/>
              <a:gd name="connsiteY45236" fmla="*/ 1781255 h 6557032"/>
              <a:gd name="connsiteX45237" fmla="*/ 568519 w 4610101"/>
              <a:gd name="connsiteY45237" fmla="*/ 1764717 h 6557032"/>
              <a:gd name="connsiteX45238" fmla="*/ 559408 w 4610101"/>
              <a:gd name="connsiteY45238" fmla="*/ 1764717 h 6557032"/>
              <a:gd name="connsiteX45239" fmla="*/ 577630 w 4610101"/>
              <a:gd name="connsiteY45239" fmla="*/ 1759250 h 6557032"/>
              <a:gd name="connsiteX45240" fmla="*/ 573985 w 4610101"/>
              <a:gd name="connsiteY45240" fmla="*/ 1755606 h 6557032"/>
              <a:gd name="connsiteX45241" fmla="*/ 581274 w 4610101"/>
              <a:gd name="connsiteY45241" fmla="*/ 1759250 h 6557032"/>
              <a:gd name="connsiteX45242" fmla="*/ 588562 w 4610101"/>
              <a:gd name="connsiteY45242" fmla="*/ 1742851 h 6557032"/>
              <a:gd name="connsiteX45243" fmla="*/ 583096 w 4610101"/>
              <a:gd name="connsiteY45243" fmla="*/ 1741028 h 6557032"/>
              <a:gd name="connsiteX45244" fmla="*/ 628650 w 4610101"/>
              <a:gd name="connsiteY45244" fmla="*/ 1657208 h 6557032"/>
              <a:gd name="connsiteX45245" fmla="*/ 621362 w 4610101"/>
              <a:gd name="connsiteY45245" fmla="*/ 1651742 h 6557032"/>
              <a:gd name="connsiteX45246" fmla="*/ 602679 w 4610101"/>
              <a:gd name="connsiteY45246" fmla="*/ 1663598 h 6557032"/>
              <a:gd name="connsiteX45247" fmla="*/ 610429 w 4610101"/>
              <a:gd name="connsiteY45247" fmla="*/ 1657208 h 6557032"/>
              <a:gd name="connsiteX45248" fmla="*/ 604963 w 4610101"/>
              <a:gd name="connsiteY45248" fmla="*/ 1655386 h 6557032"/>
              <a:gd name="connsiteX45249" fmla="*/ 614074 w 4610101"/>
              <a:gd name="connsiteY45249" fmla="*/ 1648097 h 6557032"/>
              <a:gd name="connsiteX45250" fmla="*/ 632296 w 4610101"/>
              <a:gd name="connsiteY45250" fmla="*/ 1624409 h 6557032"/>
              <a:gd name="connsiteX45251" fmla="*/ 612251 w 4610101"/>
              <a:gd name="connsiteY45251" fmla="*/ 1633520 h 6557032"/>
              <a:gd name="connsiteX45252" fmla="*/ 623185 w 4610101"/>
              <a:gd name="connsiteY45252" fmla="*/ 1606188 h 6557032"/>
              <a:gd name="connsiteX45253" fmla="*/ 623411 w 4610101"/>
              <a:gd name="connsiteY45253" fmla="*/ 1578627 h 6557032"/>
              <a:gd name="connsiteX45254" fmla="*/ 624686 w 4610101"/>
              <a:gd name="connsiteY45254" fmla="*/ 1555508 h 6557032"/>
              <a:gd name="connsiteX45255" fmla="*/ 635939 w 4610101"/>
              <a:gd name="connsiteY45255" fmla="*/ 1546056 h 6557032"/>
              <a:gd name="connsiteX45256" fmla="*/ 639583 w 4610101"/>
              <a:gd name="connsiteY45256" fmla="*/ 1535123 h 6557032"/>
              <a:gd name="connsiteX45257" fmla="*/ 635939 w 4610101"/>
              <a:gd name="connsiteY45257" fmla="*/ 1546056 h 6557032"/>
              <a:gd name="connsiteX45258" fmla="*/ 625234 w 4610101"/>
              <a:gd name="connsiteY45258" fmla="*/ 1545372 h 6557032"/>
              <a:gd name="connsiteX45259" fmla="*/ 620096 w 4610101"/>
              <a:gd name="connsiteY45259" fmla="*/ 1551762 h 6557032"/>
              <a:gd name="connsiteX45260" fmla="*/ 623185 w 4610101"/>
              <a:gd name="connsiteY45260" fmla="*/ 1540589 h 6557032"/>
              <a:gd name="connsiteX45261" fmla="*/ 617717 w 4610101"/>
              <a:gd name="connsiteY45261" fmla="*/ 1549700 h 6557032"/>
              <a:gd name="connsiteX45262" fmla="*/ 619344 w 4610101"/>
              <a:gd name="connsiteY45262" fmla="*/ 1541565 h 6557032"/>
              <a:gd name="connsiteX45263" fmla="*/ 625006 w 4610101"/>
              <a:gd name="connsiteY45263" fmla="*/ 1533301 h 6557032"/>
              <a:gd name="connsiteX45264" fmla="*/ 618628 w 4610101"/>
              <a:gd name="connsiteY45264" fmla="*/ 1536489 h 6557032"/>
              <a:gd name="connsiteX45265" fmla="*/ 617785 w 4610101"/>
              <a:gd name="connsiteY45265" fmla="*/ 1541967 h 6557032"/>
              <a:gd name="connsiteX45266" fmla="*/ 617635 w 4610101"/>
              <a:gd name="connsiteY45266" fmla="*/ 1542085 h 6557032"/>
              <a:gd name="connsiteX45267" fmla="*/ 615895 w 4610101"/>
              <a:gd name="connsiteY45267" fmla="*/ 1535123 h 6557032"/>
              <a:gd name="connsiteX45268" fmla="*/ 610429 w 4610101"/>
              <a:gd name="connsiteY45268" fmla="*/ 1536945 h 6557032"/>
              <a:gd name="connsiteX45269" fmla="*/ 615895 w 4610101"/>
              <a:gd name="connsiteY45269" fmla="*/ 1533301 h 6557032"/>
              <a:gd name="connsiteX45270" fmla="*/ 615895 w 4610101"/>
              <a:gd name="connsiteY45270" fmla="*/ 1511434 h 6557032"/>
              <a:gd name="connsiteX45271" fmla="*/ 604507 w 4610101"/>
              <a:gd name="connsiteY45271" fmla="*/ 1532617 h 6557032"/>
              <a:gd name="connsiteX45272" fmla="*/ 602026 w 4610101"/>
              <a:gd name="connsiteY45272" fmla="*/ 1550161 h 6557032"/>
              <a:gd name="connsiteX45273" fmla="*/ 597970 w 4610101"/>
              <a:gd name="connsiteY45273" fmla="*/ 1551839 h 6557032"/>
              <a:gd name="connsiteX45274" fmla="*/ 599496 w 4610101"/>
              <a:gd name="connsiteY45274" fmla="*/ 1540589 h 6557032"/>
              <a:gd name="connsiteX45275" fmla="*/ 590385 w 4610101"/>
              <a:gd name="connsiteY45275" fmla="*/ 1560633 h 6557032"/>
              <a:gd name="connsiteX45276" fmla="*/ 586741 w 4610101"/>
              <a:gd name="connsiteY45276" fmla="*/ 1558811 h 6557032"/>
              <a:gd name="connsiteX45277" fmla="*/ 584919 w 4610101"/>
              <a:gd name="connsiteY45277" fmla="*/ 1566100 h 6557032"/>
              <a:gd name="connsiteX45278" fmla="*/ 595386 w 4610101"/>
              <a:gd name="connsiteY45278" fmla="*/ 1556193 h 6557032"/>
              <a:gd name="connsiteX45279" fmla="*/ 594030 w 4610101"/>
              <a:gd name="connsiteY45279" fmla="*/ 1560633 h 6557032"/>
              <a:gd name="connsiteX45280" fmla="*/ 581274 w 4610101"/>
              <a:gd name="connsiteY45280" fmla="*/ 1589788 h 6557032"/>
              <a:gd name="connsiteX45281" fmla="*/ 572163 w 4610101"/>
              <a:gd name="connsiteY45281" fmla="*/ 1597077 h 6557032"/>
              <a:gd name="connsiteX45282" fmla="*/ 577630 w 4610101"/>
              <a:gd name="connsiteY45282" fmla="*/ 1595255 h 6557032"/>
              <a:gd name="connsiteX45283" fmla="*/ 581274 w 4610101"/>
              <a:gd name="connsiteY45283" fmla="*/ 1589788 h 6557032"/>
              <a:gd name="connsiteX45284" fmla="*/ 586925 w 4610101"/>
              <a:gd name="connsiteY45284" fmla="*/ 1593607 h 6557032"/>
              <a:gd name="connsiteX45285" fmla="*/ 583734 w 4610101"/>
              <a:gd name="connsiteY45285" fmla="*/ 1601054 h 6557032"/>
              <a:gd name="connsiteX45286" fmla="*/ 581274 w 4610101"/>
              <a:gd name="connsiteY45286" fmla="*/ 1595255 h 6557032"/>
              <a:gd name="connsiteX45287" fmla="*/ 573076 w 4610101"/>
              <a:gd name="connsiteY45287" fmla="*/ 1607216 h 6557032"/>
              <a:gd name="connsiteX45288" fmla="*/ 572391 w 4610101"/>
              <a:gd name="connsiteY45288" fmla="*/ 1607326 h 6557032"/>
              <a:gd name="connsiteX45289" fmla="*/ 566697 w 4610101"/>
              <a:gd name="connsiteY45289" fmla="*/ 1615298 h 6557032"/>
              <a:gd name="connsiteX45290" fmla="*/ 567101 w 4610101"/>
              <a:gd name="connsiteY45290" fmla="*/ 1616919 h 6557032"/>
              <a:gd name="connsiteX45291" fmla="*/ 566697 w 4610101"/>
              <a:gd name="connsiteY45291" fmla="*/ 1618944 h 6557032"/>
              <a:gd name="connsiteX45292" fmla="*/ 566697 w 4610101"/>
              <a:gd name="connsiteY45292" fmla="*/ 1618943 h 6557032"/>
              <a:gd name="connsiteX45293" fmla="*/ 563052 w 4610101"/>
              <a:gd name="connsiteY45293" fmla="*/ 1635342 h 6557032"/>
              <a:gd name="connsiteX45294" fmla="*/ 563621 w 4610101"/>
              <a:gd name="connsiteY45294" fmla="*/ 1634317 h 6557032"/>
              <a:gd name="connsiteX45295" fmla="*/ 563052 w 4610101"/>
              <a:gd name="connsiteY45295" fmla="*/ 1637164 h 6557032"/>
              <a:gd name="connsiteX45296" fmla="*/ 557586 w 4610101"/>
              <a:gd name="connsiteY45296" fmla="*/ 1631698 h 6557032"/>
              <a:gd name="connsiteX45297" fmla="*/ 556004 w 4610101"/>
              <a:gd name="connsiteY45297" fmla="*/ 1663329 h 6557032"/>
              <a:gd name="connsiteX45298" fmla="*/ 554654 w 4610101"/>
              <a:gd name="connsiteY45298" fmla="*/ 1666478 h 6557032"/>
              <a:gd name="connsiteX45299" fmla="*/ 553240 w 4610101"/>
              <a:gd name="connsiteY45299" fmla="*/ 1664357 h 6557032"/>
              <a:gd name="connsiteX45300" fmla="*/ 553941 w 4610101"/>
              <a:gd name="connsiteY45300" fmla="*/ 1660853 h 6557032"/>
              <a:gd name="connsiteX45301" fmla="*/ 552639 w 4610101"/>
              <a:gd name="connsiteY45301" fmla="*/ 1663456 h 6557032"/>
              <a:gd name="connsiteX45302" fmla="*/ 552119 w 4610101"/>
              <a:gd name="connsiteY45302" fmla="*/ 1662675 h 6557032"/>
              <a:gd name="connsiteX45303" fmla="*/ 550297 w 4610101"/>
              <a:gd name="connsiteY45303" fmla="*/ 1657208 h 6557032"/>
              <a:gd name="connsiteX45304" fmla="*/ 542552 w 4610101"/>
              <a:gd name="connsiteY45304" fmla="*/ 1673608 h 6557032"/>
              <a:gd name="connsiteX45305" fmla="*/ 542639 w 4610101"/>
              <a:gd name="connsiteY45305" fmla="*/ 1676708 h 6557032"/>
              <a:gd name="connsiteX45306" fmla="*/ 538993 w 4610101"/>
              <a:gd name="connsiteY45306" fmla="*/ 1681865 h 6557032"/>
              <a:gd name="connsiteX45307" fmla="*/ 532075 w 4610101"/>
              <a:gd name="connsiteY45307" fmla="*/ 1710051 h 6557032"/>
              <a:gd name="connsiteX45308" fmla="*/ 533897 w 4610101"/>
              <a:gd name="connsiteY45308" fmla="*/ 1690008 h 6557032"/>
              <a:gd name="connsiteX45309" fmla="*/ 528431 w 4610101"/>
              <a:gd name="connsiteY45309" fmla="*/ 1691830 h 6557032"/>
              <a:gd name="connsiteX45310" fmla="*/ 537542 w 4610101"/>
              <a:gd name="connsiteY45310" fmla="*/ 1659031 h 6557032"/>
              <a:gd name="connsiteX45311" fmla="*/ 533897 w 4610101"/>
              <a:gd name="connsiteY45311" fmla="*/ 1662675 h 6557032"/>
              <a:gd name="connsiteX45312" fmla="*/ 543008 w 4610101"/>
              <a:gd name="connsiteY45312" fmla="*/ 1646275 h 6557032"/>
              <a:gd name="connsiteX45313" fmla="*/ 532075 w 4610101"/>
              <a:gd name="connsiteY45313" fmla="*/ 1650648 h 6557032"/>
              <a:gd name="connsiteX45314" fmla="*/ 532075 w 4610101"/>
              <a:gd name="connsiteY45314" fmla="*/ 1649257 h 6557032"/>
              <a:gd name="connsiteX45315" fmla="*/ 534808 w 4610101"/>
              <a:gd name="connsiteY45315" fmla="*/ 1647642 h 6557032"/>
              <a:gd name="connsiteX45316" fmla="*/ 544830 w 4610101"/>
              <a:gd name="connsiteY45316" fmla="*/ 1638987 h 6557032"/>
              <a:gd name="connsiteX45317" fmla="*/ 541186 w 4610101"/>
              <a:gd name="connsiteY45317" fmla="*/ 1640809 h 6557032"/>
              <a:gd name="connsiteX45318" fmla="*/ 544968 w 4610101"/>
              <a:gd name="connsiteY45318" fmla="*/ 1635066 h 6557032"/>
              <a:gd name="connsiteX45319" fmla="*/ 544830 w 4610101"/>
              <a:gd name="connsiteY45319" fmla="*/ 1635342 h 6557032"/>
              <a:gd name="connsiteX45320" fmla="*/ 547791 w 4610101"/>
              <a:gd name="connsiteY45320" fmla="*/ 1634886 h 6557032"/>
              <a:gd name="connsiteX45321" fmla="*/ 546841 w 4610101"/>
              <a:gd name="connsiteY45321" fmla="*/ 1632223 h 6557032"/>
              <a:gd name="connsiteX45322" fmla="*/ 547336 w 4610101"/>
              <a:gd name="connsiteY45322" fmla="*/ 1631470 h 6557032"/>
              <a:gd name="connsiteX45323" fmla="*/ 546653 w 4610101"/>
              <a:gd name="connsiteY45323" fmla="*/ 1620765 h 6557032"/>
              <a:gd name="connsiteX45324" fmla="*/ 533897 w 4610101"/>
              <a:gd name="connsiteY45324" fmla="*/ 1644453 h 6557032"/>
              <a:gd name="connsiteX45325" fmla="*/ 532075 w 4610101"/>
              <a:gd name="connsiteY45325" fmla="*/ 1646535 h 6557032"/>
              <a:gd name="connsiteX45326" fmla="*/ 532075 w 4610101"/>
              <a:gd name="connsiteY45326" fmla="*/ 1644453 h 6557032"/>
              <a:gd name="connsiteX45327" fmla="*/ 529646 w 4610101"/>
              <a:gd name="connsiteY45327" fmla="*/ 1649312 h 6557032"/>
              <a:gd name="connsiteX45328" fmla="*/ 527146 w 4610101"/>
              <a:gd name="connsiteY45328" fmla="*/ 1652170 h 6557032"/>
              <a:gd name="connsiteX45329" fmla="*/ 524786 w 4610101"/>
              <a:gd name="connsiteY45329" fmla="*/ 1653564 h 6557032"/>
              <a:gd name="connsiteX45330" fmla="*/ 526539 w 4610101"/>
              <a:gd name="connsiteY45330" fmla="*/ 1652863 h 6557032"/>
              <a:gd name="connsiteX45331" fmla="*/ 521142 w 4610101"/>
              <a:gd name="connsiteY45331" fmla="*/ 1659031 h 6557032"/>
              <a:gd name="connsiteX45332" fmla="*/ 524786 w 4610101"/>
              <a:gd name="connsiteY45332" fmla="*/ 1655386 h 6557032"/>
              <a:gd name="connsiteX45333" fmla="*/ 518687 w 4610101"/>
              <a:gd name="connsiteY45333" fmla="*/ 1663010 h 6557032"/>
              <a:gd name="connsiteX45334" fmla="*/ 517853 w 4610101"/>
              <a:gd name="connsiteY45334" fmla="*/ 1663123 h 6557032"/>
              <a:gd name="connsiteX45335" fmla="*/ 519829 w 4610101"/>
              <a:gd name="connsiteY45335" fmla="*/ 1655483 h 6557032"/>
              <a:gd name="connsiteX45336" fmla="*/ 520003 w 4610101"/>
              <a:gd name="connsiteY45336" fmla="*/ 1655386 h 6557032"/>
              <a:gd name="connsiteX45337" fmla="*/ 528431 w 4610101"/>
              <a:gd name="connsiteY45337" fmla="*/ 1644453 h 6557032"/>
              <a:gd name="connsiteX45338" fmla="*/ 524995 w 4610101"/>
              <a:gd name="connsiteY45338" fmla="*/ 1645598 h 6557032"/>
              <a:gd name="connsiteX45339" fmla="*/ 526761 w 4610101"/>
              <a:gd name="connsiteY45339" fmla="*/ 1643136 h 6557032"/>
              <a:gd name="connsiteX45340" fmla="*/ 530253 w 4610101"/>
              <a:gd name="connsiteY45340" fmla="*/ 1640809 h 6557032"/>
              <a:gd name="connsiteX45341" fmla="*/ 526609 w 4610101"/>
              <a:gd name="connsiteY45341" fmla="*/ 1638987 h 6557032"/>
              <a:gd name="connsiteX45342" fmla="*/ 524786 w 4610101"/>
              <a:gd name="connsiteY45342" fmla="*/ 1644453 h 6557032"/>
              <a:gd name="connsiteX45343" fmla="*/ 525040 w 4610101"/>
              <a:gd name="connsiteY45343" fmla="*/ 1644283 h 6557032"/>
              <a:gd name="connsiteX45344" fmla="*/ 523160 w 4610101"/>
              <a:gd name="connsiteY45344" fmla="*/ 1646209 h 6557032"/>
              <a:gd name="connsiteX45345" fmla="*/ 522964 w 4610101"/>
              <a:gd name="connsiteY45345" fmla="*/ 1646275 h 6557032"/>
              <a:gd name="connsiteX45346" fmla="*/ 522054 w 4610101"/>
              <a:gd name="connsiteY45346" fmla="*/ 1643542 h 6557032"/>
              <a:gd name="connsiteX45347" fmla="*/ 522964 w 4610101"/>
              <a:gd name="connsiteY45347" fmla="*/ 1644453 h 6557032"/>
              <a:gd name="connsiteX45348" fmla="*/ 524786 w 4610101"/>
              <a:gd name="connsiteY45348" fmla="*/ 1640809 h 6557032"/>
              <a:gd name="connsiteX45349" fmla="*/ 521662 w 4610101"/>
              <a:gd name="connsiteY45349" fmla="*/ 1642371 h 6557032"/>
              <a:gd name="connsiteX45350" fmla="*/ 521142 w 4610101"/>
              <a:gd name="connsiteY45350" fmla="*/ 1640809 h 6557032"/>
              <a:gd name="connsiteX45351" fmla="*/ 519320 w 4610101"/>
              <a:gd name="connsiteY45351" fmla="*/ 1642631 h 6557032"/>
              <a:gd name="connsiteX45352" fmla="*/ 513853 w 4610101"/>
              <a:gd name="connsiteY45352" fmla="*/ 1642631 h 6557032"/>
              <a:gd name="connsiteX45353" fmla="*/ 519320 w 4610101"/>
              <a:gd name="connsiteY45353" fmla="*/ 1640809 h 6557032"/>
              <a:gd name="connsiteX45354" fmla="*/ 513853 w 4610101"/>
              <a:gd name="connsiteY45354" fmla="*/ 1640809 h 6557032"/>
              <a:gd name="connsiteX45355" fmla="*/ 513853 w 4610101"/>
              <a:gd name="connsiteY45355" fmla="*/ 1637164 h 6557032"/>
              <a:gd name="connsiteX45356" fmla="*/ 519443 w 4610101"/>
              <a:gd name="connsiteY45356" fmla="*/ 1633502 h 6557032"/>
              <a:gd name="connsiteX45357" fmla="*/ 522508 w 4610101"/>
              <a:gd name="connsiteY45357" fmla="*/ 1633064 h 6557032"/>
              <a:gd name="connsiteX45358" fmla="*/ 522964 w 4610101"/>
              <a:gd name="connsiteY45358" fmla="*/ 1629876 h 6557032"/>
              <a:gd name="connsiteX45359" fmla="*/ 520651 w 4610101"/>
              <a:gd name="connsiteY45359" fmla="*/ 1632188 h 6557032"/>
              <a:gd name="connsiteX45360" fmla="*/ 522964 w 4610101"/>
              <a:gd name="connsiteY45360" fmla="*/ 1624409 h 6557032"/>
              <a:gd name="connsiteX45361" fmla="*/ 508387 w 4610101"/>
              <a:gd name="connsiteY45361" fmla="*/ 1640809 h 6557032"/>
              <a:gd name="connsiteX45362" fmla="*/ 510209 w 4610101"/>
              <a:gd name="connsiteY45362" fmla="*/ 1640809 h 6557032"/>
              <a:gd name="connsiteX45363" fmla="*/ 508159 w 4610101"/>
              <a:gd name="connsiteY45363" fmla="*/ 1656525 h 6557032"/>
              <a:gd name="connsiteX45364" fmla="*/ 508333 w 4610101"/>
              <a:gd name="connsiteY45364" fmla="*/ 1662358 h 6557032"/>
              <a:gd name="connsiteX45365" fmla="*/ 506604 w 4610101"/>
              <a:gd name="connsiteY45365" fmla="*/ 1665128 h 6557032"/>
              <a:gd name="connsiteX45366" fmla="*/ 506793 w 4610101"/>
              <a:gd name="connsiteY45366" fmla="*/ 1664269 h 6557032"/>
              <a:gd name="connsiteX45367" fmla="*/ 504743 w 4610101"/>
              <a:gd name="connsiteY45367" fmla="*/ 1653564 h 6557032"/>
              <a:gd name="connsiteX45368" fmla="*/ 493678 w 4610101"/>
              <a:gd name="connsiteY45368" fmla="*/ 1677274 h 6557032"/>
              <a:gd name="connsiteX45369" fmla="*/ 492443 w 4610101"/>
              <a:gd name="connsiteY45369" fmla="*/ 1677480 h 6557032"/>
              <a:gd name="connsiteX45370" fmla="*/ 489473 w 4610101"/>
              <a:gd name="connsiteY45370" fmla="*/ 1678635 h 6557032"/>
              <a:gd name="connsiteX45371" fmla="*/ 488343 w 4610101"/>
              <a:gd name="connsiteY45371" fmla="*/ 1679075 h 6557032"/>
              <a:gd name="connsiteX45372" fmla="*/ 488343 w 4610101"/>
              <a:gd name="connsiteY45372" fmla="*/ 1680897 h 6557032"/>
              <a:gd name="connsiteX45373" fmla="*/ 488343 w 4610101"/>
              <a:gd name="connsiteY45373" fmla="*/ 1682719 h 6557032"/>
              <a:gd name="connsiteX45374" fmla="*/ 490165 w 4610101"/>
              <a:gd name="connsiteY45374" fmla="*/ 1680897 h 6557032"/>
              <a:gd name="connsiteX45375" fmla="*/ 490165 w 4610101"/>
              <a:gd name="connsiteY45375" fmla="*/ 1684541 h 6557032"/>
              <a:gd name="connsiteX45376" fmla="*/ 485511 w 4610101"/>
              <a:gd name="connsiteY45376" fmla="*/ 1686757 h 6557032"/>
              <a:gd name="connsiteX45377" fmla="*/ 486521 w 4610101"/>
              <a:gd name="connsiteY45377" fmla="*/ 1682719 h 6557032"/>
              <a:gd name="connsiteX45378" fmla="*/ 478730 w 4610101"/>
              <a:gd name="connsiteY45378" fmla="*/ 1689189 h 6557032"/>
              <a:gd name="connsiteX45379" fmla="*/ 482876 w 4610101"/>
              <a:gd name="connsiteY45379" fmla="*/ 1680897 h 6557032"/>
              <a:gd name="connsiteX45380" fmla="*/ 479051 w 4610101"/>
              <a:gd name="connsiteY45380" fmla="*/ 1684085 h 6557032"/>
              <a:gd name="connsiteX45381" fmla="*/ 490036 w 4610101"/>
              <a:gd name="connsiteY45381" fmla="*/ 1671075 h 6557032"/>
              <a:gd name="connsiteX45382" fmla="*/ 488343 w 4610101"/>
              <a:gd name="connsiteY45382" fmla="*/ 1675430 h 6557032"/>
              <a:gd name="connsiteX45383" fmla="*/ 504743 w 4610101"/>
              <a:gd name="connsiteY45383" fmla="*/ 1644453 h 6557032"/>
              <a:gd name="connsiteX45384" fmla="*/ 501098 w 4610101"/>
              <a:gd name="connsiteY45384" fmla="*/ 1642631 h 6557032"/>
              <a:gd name="connsiteX45385" fmla="*/ 494957 w 4610101"/>
              <a:gd name="connsiteY45385" fmla="*/ 1658422 h 6557032"/>
              <a:gd name="connsiteX45386" fmla="*/ 499276 w 4610101"/>
              <a:gd name="connsiteY45386" fmla="*/ 1638987 h 6557032"/>
              <a:gd name="connsiteX45387" fmla="*/ 491987 w 4610101"/>
              <a:gd name="connsiteY45387" fmla="*/ 1649920 h 6557032"/>
              <a:gd name="connsiteX45388" fmla="*/ 479687 w 4610101"/>
              <a:gd name="connsiteY45388" fmla="*/ 1667686 h 6557032"/>
              <a:gd name="connsiteX45389" fmla="*/ 475879 w 4610101"/>
              <a:gd name="connsiteY45389" fmla="*/ 1686727 h 6557032"/>
              <a:gd name="connsiteX45390" fmla="*/ 471943 w 4610101"/>
              <a:gd name="connsiteY45390" fmla="*/ 1690008 h 6557032"/>
              <a:gd name="connsiteX45391" fmla="*/ 475564 w 4610101"/>
              <a:gd name="connsiteY45391" fmla="*/ 1691818 h 6557032"/>
              <a:gd name="connsiteX45392" fmla="*/ 473082 w 4610101"/>
              <a:gd name="connsiteY45392" fmla="*/ 1693880 h 6557032"/>
              <a:gd name="connsiteX45393" fmla="*/ 461751 w 4610101"/>
              <a:gd name="connsiteY45393" fmla="*/ 1705638 h 6557032"/>
              <a:gd name="connsiteX45394" fmla="*/ 459364 w 4610101"/>
              <a:gd name="connsiteY45394" fmla="*/ 1705249 h 6557032"/>
              <a:gd name="connsiteX45395" fmla="*/ 463516 w 4610101"/>
              <a:gd name="connsiteY45395" fmla="*/ 1700029 h 6557032"/>
              <a:gd name="connsiteX45396" fmla="*/ 470121 w 4610101"/>
              <a:gd name="connsiteY45396" fmla="*/ 1690008 h 6557032"/>
              <a:gd name="connsiteX45397" fmla="*/ 459416 w 4610101"/>
              <a:gd name="connsiteY45397" fmla="*/ 1697752 h 6557032"/>
              <a:gd name="connsiteX45398" fmla="*/ 455162 w 4610101"/>
              <a:gd name="connsiteY45398" fmla="*/ 1702524 h 6557032"/>
              <a:gd name="connsiteX45399" fmla="*/ 451900 w 4610101"/>
              <a:gd name="connsiteY45399" fmla="*/ 1700485 h 6557032"/>
              <a:gd name="connsiteX45400" fmla="*/ 448256 w 4610101"/>
              <a:gd name="connsiteY45400" fmla="*/ 1700941 h 6557032"/>
              <a:gd name="connsiteX45401" fmla="*/ 450077 w 4610101"/>
              <a:gd name="connsiteY45401" fmla="*/ 1699118 h 6557032"/>
              <a:gd name="connsiteX45402" fmla="*/ 445768 w 4610101"/>
              <a:gd name="connsiteY45402" fmla="*/ 1701106 h 6557032"/>
              <a:gd name="connsiteX45403" fmla="*/ 445237 w 4610101"/>
              <a:gd name="connsiteY45403" fmla="*/ 1700228 h 6557032"/>
              <a:gd name="connsiteX45404" fmla="*/ 443551 w 4610101"/>
              <a:gd name="connsiteY45404" fmla="*/ 1702130 h 6557032"/>
              <a:gd name="connsiteX45405" fmla="*/ 441194 w 4610101"/>
              <a:gd name="connsiteY45405" fmla="*/ 1703218 h 6557032"/>
              <a:gd name="connsiteX45406" fmla="*/ 440551 w 4610101"/>
              <a:gd name="connsiteY45406" fmla="*/ 1707075 h 6557032"/>
              <a:gd name="connsiteX45407" fmla="*/ 440340 w 4610101"/>
              <a:gd name="connsiteY45407" fmla="*/ 1707460 h 6557032"/>
              <a:gd name="connsiteX45408" fmla="*/ 435500 w 4610101"/>
              <a:gd name="connsiteY45408" fmla="*/ 1704585 h 6557032"/>
              <a:gd name="connsiteX45409" fmla="*/ 442789 w 4610101"/>
              <a:gd name="connsiteY45409" fmla="*/ 1700941 h 6557032"/>
              <a:gd name="connsiteX45410" fmla="*/ 411812 w 4610101"/>
              <a:gd name="connsiteY45410" fmla="*/ 1713696 h 6557032"/>
              <a:gd name="connsiteX45411" fmla="*/ 428211 w 4610101"/>
              <a:gd name="connsiteY45411" fmla="*/ 1693652 h 6557032"/>
              <a:gd name="connsiteX45412" fmla="*/ 415456 w 4610101"/>
              <a:gd name="connsiteY45412" fmla="*/ 1693652 h 6557032"/>
              <a:gd name="connsiteX45413" fmla="*/ 442789 w 4610101"/>
              <a:gd name="connsiteY45413" fmla="*/ 1682719 h 6557032"/>
              <a:gd name="connsiteX45414" fmla="*/ 439145 w 4610101"/>
              <a:gd name="connsiteY45414" fmla="*/ 1686363 h 6557032"/>
              <a:gd name="connsiteX45415" fmla="*/ 444611 w 4610101"/>
              <a:gd name="connsiteY45415" fmla="*/ 1686363 h 6557032"/>
              <a:gd name="connsiteX45416" fmla="*/ 446433 w 4610101"/>
              <a:gd name="connsiteY45416" fmla="*/ 1690008 h 6557032"/>
              <a:gd name="connsiteX45417" fmla="*/ 444611 w 4610101"/>
              <a:gd name="connsiteY45417" fmla="*/ 1680897 h 6557032"/>
              <a:gd name="connsiteX45418" fmla="*/ 450077 w 4610101"/>
              <a:gd name="connsiteY45418" fmla="*/ 1673608 h 6557032"/>
              <a:gd name="connsiteX45419" fmla="*/ 450077 w 4610101"/>
              <a:gd name="connsiteY45419" fmla="*/ 1679075 h 6557032"/>
              <a:gd name="connsiteX45420" fmla="*/ 464655 w 4610101"/>
              <a:gd name="connsiteY45420" fmla="*/ 1677252 h 6557032"/>
              <a:gd name="connsiteX45421" fmla="*/ 461010 w 4610101"/>
              <a:gd name="connsiteY45421" fmla="*/ 1677252 h 6557032"/>
              <a:gd name="connsiteX45422" fmla="*/ 464655 w 4610101"/>
              <a:gd name="connsiteY45422" fmla="*/ 1675430 h 6557032"/>
              <a:gd name="connsiteX45423" fmla="*/ 464655 w 4610101"/>
              <a:gd name="connsiteY45423" fmla="*/ 1664497 h 6557032"/>
              <a:gd name="connsiteX45424" fmla="*/ 461010 w 4610101"/>
              <a:gd name="connsiteY45424" fmla="*/ 1662675 h 6557032"/>
              <a:gd name="connsiteX45425" fmla="*/ 473766 w 4610101"/>
              <a:gd name="connsiteY45425" fmla="*/ 1644453 h 6557032"/>
              <a:gd name="connsiteX45426" fmla="*/ 470121 w 4610101"/>
              <a:gd name="connsiteY45426" fmla="*/ 1646275 h 6557032"/>
              <a:gd name="connsiteX45427" fmla="*/ 475589 w 4610101"/>
              <a:gd name="connsiteY45427" fmla="*/ 1638987 h 6557032"/>
              <a:gd name="connsiteX45428" fmla="*/ 457367 w 4610101"/>
              <a:gd name="connsiteY45428" fmla="*/ 1662675 h 6557032"/>
              <a:gd name="connsiteX45429" fmla="*/ 448256 w 4610101"/>
              <a:gd name="connsiteY45429" fmla="*/ 1669964 h 6557032"/>
              <a:gd name="connsiteX45430" fmla="*/ 451899 w 4610101"/>
              <a:gd name="connsiteY45430" fmla="*/ 1660853 h 6557032"/>
              <a:gd name="connsiteX45431" fmla="*/ 459188 w 4610101"/>
              <a:gd name="connsiteY45431" fmla="*/ 1651742 h 6557032"/>
              <a:gd name="connsiteX45432" fmla="*/ 451899 w 4610101"/>
              <a:gd name="connsiteY45432" fmla="*/ 1660853 h 6557032"/>
              <a:gd name="connsiteX45433" fmla="*/ 461010 w 4610101"/>
              <a:gd name="connsiteY45433" fmla="*/ 1642631 h 6557032"/>
              <a:gd name="connsiteX45434" fmla="*/ 454405 w 4610101"/>
              <a:gd name="connsiteY45434" fmla="*/ 1647414 h 6557032"/>
              <a:gd name="connsiteX45435" fmla="*/ 449583 w 4610101"/>
              <a:gd name="connsiteY45435" fmla="*/ 1647827 h 6557032"/>
              <a:gd name="connsiteX45436" fmla="*/ 452396 w 4610101"/>
              <a:gd name="connsiteY45436" fmla="*/ 1646772 h 6557032"/>
              <a:gd name="connsiteX45437" fmla="*/ 452583 w 4610101"/>
              <a:gd name="connsiteY45437" fmla="*/ 1646731 h 6557032"/>
              <a:gd name="connsiteX45438" fmla="*/ 452642 w 4610101"/>
              <a:gd name="connsiteY45438" fmla="*/ 1646680 h 6557032"/>
              <a:gd name="connsiteX45439" fmla="*/ 453722 w 4610101"/>
              <a:gd name="connsiteY45439" fmla="*/ 1646275 h 6557032"/>
              <a:gd name="connsiteX45440" fmla="*/ 453441 w 4610101"/>
              <a:gd name="connsiteY45440" fmla="*/ 1645994 h 6557032"/>
              <a:gd name="connsiteX45441" fmla="*/ 457367 w 4610101"/>
              <a:gd name="connsiteY45441" fmla="*/ 1642631 h 6557032"/>
              <a:gd name="connsiteX45442" fmla="*/ 452507 w 4610101"/>
              <a:gd name="connsiteY45442" fmla="*/ 1645060 h 6557032"/>
              <a:gd name="connsiteX45443" fmla="*/ 450760 w 4610101"/>
              <a:gd name="connsiteY45443" fmla="*/ 1643314 h 6557032"/>
              <a:gd name="connsiteX45444" fmla="*/ 440966 w 4610101"/>
              <a:gd name="connsiteY45444" fmla="*/ 1644453 h 6557032"/>
              <a:gd name="connsiteX45445" fmla="*/ 442789 w 4610101"/>
              <a:gd name="connsiteY45445" fmla="*/ 1648097 h 6557032"/>
              <a:gd name="connsiteX45446" fmla="*/ 395412 w 4610101"/>
              <a:gd name="connsiteY45446" fmla="*/ 1660853 h 6557032"/>
              <a:gd name="connsiteX45447" fmla="*/ 408850 w 4610101"/>
              <a:gd name="connsiteY45447" fmla="*/ 1671102 h 6557032"/>
              <a:gd name="connsiteX45448" fmla="*/ 421464 w 4610101"/>
              <a:gd name="connsiteY45448" fmla="*/ 1668480 h 6557032"/>
              <a:gd name="connsiteX45449" fmla="*/ 395412 w 4610101"/>
              <a:gd name="connsiteY45449" fmla="*/ 1686363 h 6557032"/>
              <a:gd name="connsiteX45450" fmla="*/ 397234 w 4610101"/>
              <a:gd name="connsiteY45450" fmla="*/ 1682719 h 6557032"/>
              <a:gd name="connsiteX45451" fmla="*/ 380835 w 4610101"/>
              <a:gd name="connsiteY45451" fmla="*/ 1684541 h 6557032"/>
              <a:gd name="connsiteX45452" fmla="*/ 384479 w 4610101"/>
              <a:gd name="connsiteY45452" fmla="*/ 1677252 h 6557032"/>
              <a:gd name="connsiteX45453" fmla="*/ 377190 w 4610101"/>
              <a:gd name="connsiteY45453" fmla="*/ 1675430 h 6557032"/>
              <a:gd name="connsiteX45454" fmla="*/ 391768 w 4610101"/>
              <a:gd name="connsiteY45454" fmla="*/ 1673608 h 6557032"/>
              <a:gd name="connsiteX45455" fmla="*/ 389946 w 4610101"/>
              <a:gd name="connsiteY45455" fmla="*/ 1671786 h 6557032"/>
              <a:gd name="connsiteX45456" fmla="*/ 393590 w 4610101"/>
              <a:gd name="connsiteY45456" fmla="*/ 1669964 h 6557032"/>
              <a:gd name="connsiteX45457" fmla="*/ 388123 w 4610101"/>
              <a:gd name="connsiteY45457" fmla="*/ 1668142 h 6557032"/>
              <a:gd name="connsiteX45458" fmla="*/ 388123 w 4610101"/>
              <a:gd name="connsiteY45458" fmla="*/ 1669964 h 6557032"/>
              <a:gd name="connsiteX45459" fmla="*/ 368079 w 4610101"/>
              <a:gd name="connsiteY45459" fmla="*/ 1666319 h 6557032"/>
              <a:gd name="connsiteX45460" fmla="*/ 377190 w 4610101"/>
              <a:gd name="connsiteY45460" fmla="*/ 1662675 h 6557032"/>
              <a:gd name="connsiteX45461" fmla="*/ 373546 w 4610101"/>
              <a:gd name="connsiteY45461" fmla="*/ 1657208 h 6557032"/>
              <a:gd name="connsiteX45462" fmla="*/ 373546 w 4610101"/>
              <a:gd name="connsiteY45462" fmla="*/ 1655386 h 6557032"/>
              <a:gd name="connsiteX45463" fmla="*/ 382657 w 4610101"/>
              <a:gd name="connsiteY45463" fmla="*/ 1657208 h 6557032"/>
              <a:gd name="connsiteX45464" fmla="*/ 362613 w 4610101"/>
              <a:gd name="connsiteY45464" fmla="*/ 1657208 h 6557032"/>
              <a:gd name="connsiteX45465" fmla="*/ 369902 w 4610101"/>
              <a:gd name="connsiteY45465" fmla="*/ 1657208 h 6557032"/>
              <a:gd name="connsiteX45466" fmla="*/ 357146 w 4610101"/>
              <a:gd name="connsiteY45466" fmla="*/ 1660853 h 6557032"/>
              <a:gd name="connsiteX45467" fmla="*/ 371724 w 4610101"/>
              <a:gd name="connsiteY45467" fmla="*/ 1651742 h 6557032"/>
              <a:gd name="connsiteX45468" fmla="*/ 368079 w 4610101"/>
              <a:gd name="connsiteY45468" fmla="*/ 1644453 h 6557032"/>
              <a:gd name="connsiteX45469" fmla="*/ 375368 w 4610101"/>
              <a:gd name="connsiteY45469" fmla="*/ 1644453 h 6557032"/>
              <a:gd name="connsiteX45470" fmla="*/ 371724 w 4610101"/>
              <a:gd name="connsiteY45470" fmla="*/ 1646275 h 6557032"/>
              <a:gd name="connsiteX45471" fmla="*/ 377190 w 4610101"/>
              <a:gd name="connsiteY45471" fmla="*/ 1651742 h 6557032"/>
              <a:gd name="connsiteX45472" fmla="*/ 388123 w 4610101"/>
              <a:gd name="connsiteY45472" fmla="*/ 1642631 h 6557032"/>
              <a:gd name="connsiteX45473" fmla="*/ 375368 w 4610101"/>
              <a:gd name="connsiteY45473" fmla="*/ 1638987 h 6557032"/>
              <a:gd name="connsiteX45474" fmla="*/ 386301 w 4610101"/>
              <a:gd name="connsiteY45474" fmla="*/ 1640809 h 6557032"/>
              <a:gd name="connsiteX45475" fmla="*/ 379012 w 4610101"/>
              <a:gd name="connsiteY45475" fmla="*/ 1631698 h 6557032"/>
              <a:gd name="connsiteX45476" fmla="*/ 382657 w 4610101"/>
              <a:gd name="connsiteY45476" fmla="*/ 1631698 h 6557032"/>
              <a:gd name="connsiteX45477" fmla="*/ 373546 w 4610101"/>
              <a:gd name="connsiteY45477" fmla="*/ 1624409 h 6557032"/>
              <a:gd name="connsiteX45478" fmla="*/ 395412 w 4610101"/>
              <a:gd name="connsiteY45478" fmla="*/ 1635342 h 6557032"/>
              <a:gd name="connsiteX45479" fmla="*/ 397234 w 4610101"/>
              <a:gd name="connsiteY45479" fmla="*/ 1633520 h 6557032"/>
              <a:gd name="connsiteX45480" fmla="*/ 404523 w 4610101"/>
              <a:gd name="connsiteY45480" fmla="*/ 1635342 h 6557032"/>
              <a:gd name="connsiteX45481" fmla="*/ 399056 w 4610101"/>
              <a:gd name="connsiteY45481" fmla="*/ 1629876 h 6557032"/>
              <a:gd name="connsiteX45482" fmla="*/ 397234 w 4610101"/>
              <a:gd name="connsiteY45482" fmla="*/ 1631698 h 6557032"/>
              <a:gd name="connsiteX45483" fmla="*/ 395184 w 4610101"/>
              <a:gd name="connsiteY45483" fmla="*/ 1624637 h 6557032"/>
              <a:gd name="connsiteX45484" fmla="*/ 396752 w 4610101"/>
              <a:gd name="connsiteY45484" fmla="*/ 1620282 h 6557032"/>
              <a:gd name="connsiteX45485" fmla="*/ 397234 w 4610101"/>
              <a:gd name="connsiteY45485" fmla="*/ 1620764 h 6557032"/>
              <a:gd name="connsiteX45486" fmla="*/ 397234 w 4610101"/>
              <a:gd name="connsiteY45486" fmla="*/ 1623270 h 6557032"/>
              <a:gd name="connsiteX45487" fmla="*/ 402701 w 4610101"/>
              <a:gd name="connsiteY45487" fmla="*/ 1626231 h 6557032"/>
              <a:gd name="connsiteX45488" fmla="*/ 397234 w 4610101"/>
              <a:gd name="connsiteY45488" fmla="*/ 1620764 h 6557032"/>
              <a:gd name="connsiteX45489" fmla="*/ 397234 w 4610101"/>
              <a:gd name="connsiteY45489" fmla="*/ 1618943 h 6557032"/>
              <a:gd name="connsiteX45490" fmla="*/ 396752 w 4610101"/>
              <a:gd name="connsiteY45490" fmla="*/ 1620282 h 6557032"/>
              <a:gd name="connsiteX45491" fmla="*/ 387759 w 4610101"/>
              <a:gd name="connsiteY45491" fmla="*/ 1611290 h 6557032"/>
              <a:gd name="connsiteX45492" fmla="*/ 388998 w 4610101"/>
              <a:gd name="connsiteY45492" fmla="*/ 1610980 h 6557032"/>
              <a:gd name="connsiteX45493" fmla="*/ 397006 w 4610101"/>
              <a:gd name="connsiteY45493" fmla="*/ 1614387 h 6557032"/>
              <a:gd name="connsiteX45494" fmla="*/ 406345 w 4610101"/>
              <a:gd name="connsiteY45494" fmla="*/ 1618943 h 6557032"/>
              <a:gd name="connsiteX45495" fmla="*/ 391207 w 4610101"/>
              <a:gd name="connsiteY45495" fmla="*/ 1610427 h 6557032"/>
              <a:gd name="connsiteX45496" fmla="*/ 393590 w 4610101"/>
              <a:gd name="connsiteY45496" fmla="*/ 1609832 h 6557032"/>
              <a:gd name="connsiteX45497" fmla="*/ 389946 w 4610101"/>
              <a:gd name="connsiteY45497" fmla="*/ 1606188 h 6557032"/>
              <a:gd name="connsiteX45498" fmla="*/ 379012 w 4610101"/>
              <a:gd name="connsiteY45498" fmla="*/ 1613476 h 6557032"/>
              <a:gd name="connsiteX45499" fmla="*/ 380107 w 4610101"/>
              <a:gd name="connsiteY45499" fmla="*/ 1613202 h 6557032"/>
              <a:gd name="connsiteX45500" fmla="*/ 369902 w 4610101"/>
              <a:gd name="connsiteY45500" fmla="*/ 1618943 h 6557032"/>
              <a:gd name="connsiteX45501" fmla="*/ 373546 w 4610101"/>
              <a:gd name="connsiteY45501" fmla="*/ 1613476 h 6557032"/>
              <a:gd name="connsiteX45502" fmla="*/ 366257 w 4610101"/>
              <a:gd name="connsiteY45502" fmla="*/ 1618943 h 6557032"/>
              <a:gd name="connsiteX45503" fmla="*/ 373546 w 4610101"/>
              <a:gd name="connsiteY45503" fmla="*/ 1624409 h 6557032"/>
              <a:gd name="connsiteX45504" fmla="*/ 364435 w 4610101"/>
              <a:gd name="connsiteY45504" fmla="*/ 1624409 h 6557032"/>
              <a:gd name="connsiteX45505" fmla="*/ 366257 w 4610101"/>
              <a:gd name="connsiteY45505" fmla="*/ 1617121 h 6557032"/>
              <a:gd name="connsiteX45506" fmla="*/ 357146 w 4610101"/>
              <a:gd name="connsiteY45506" fmla="*/ 1620765 h 6557032"/>
              <a:gd name="connsiteX45507" fmla="*/ 358969 w 4610101"/>
              <a:gd name="connsiteY45507" fmla="*/ 1617121 h 6557032"/>
              <a:gd name="connsiteX45508" fmla="*/ 369902 w 4610101"/>
              <a:gd name="connsiteY45508" fmla="*/ 1615298 h 6557032"/>
              <a:gd name="connsiteX45509" fmla="*/ 369902 w 4610101"/>
              <a:gd name="connsiteY45509" fmla="*/ 1611654 h 6557032"/>
              <a:gd name="connsiteX45510" fmla="*/ 358969 w 4610101"/>
              <a:gd name="connsiteY45510" fmla="*/ 1617121 h 6557032"/>
              <a:gd name="connsiteX45511" fmla="*/ 364435 w 4610101"/>
              <a:gd name="connsiteY45511" fmla="*/ 1609832 h 6557032"/>
              <a:gd name="connsiteX45512" fmla="*/ 335280 w 4610101"/>
              <a:gd name="connsiteY45512" fmla="*/ 1618943 h 6557032"/>
              <a:gd name="connsiteX45513" fmla="*/ 338926 w 4610101"/>
              <a:gd name="connsiteY45513" fmla="*/ 1617121 h 6557032"/>
              <a:gd name="connsiteX45514" fmla="*/ 324347 w 4610101"/>
              <a:gd name="connsiteY45514" fmla="*/ 1618943 h 6557032"/>
              <a:gd name="connsiteX45515" fmla="*/ 340747 w 4610101"/>
              <a:gd name="connsiteY45515" fmla="*/ 1611654 h 6557032"/>
              <a:gd name="connsiteX45516" fmla="*/ 320702 w 4610101"/>
              <a:gd name="connsiteY45516" fmla="*/ 1619398 h 6557032"/>
              <a:gd name="connsiteX45517" fmla="*/ 309771 w 4610101"/>
              <a:gd name="connsiteY45517" fmla="*/ 1622131 h 6557032"/>
              <a:gd name="connsiteX45518" fmla="*/ 318882 w 4610101"/>
              <a:gd name="connsiteY45518" fmla="*/ 1617121 h 6557032"/>
              <a:gd name="connsiteX45519" fmla="*/ 315236 w 4610101"/>
              <a:gd name="connsiteY45519" fmla="*/ 1617121 h 6557032"/>
              <a:gd name="connsiteX45520" fmla="*/ 326852 w 4610101"/>
              <a:gd name="connsiteY45520" fmla="*/ 1615526 h 6557032"/>
              <a:gd name="connsiteX45521" fmla="*/ 334830 w 4610101"/>
              <a:gd name="connsiteY45521" fmla="*/ 1611094 h 6557032"/>
              <a:gd name="connsiteX45522" fmla="*/ 324347 w 4610101"/>
              <a:gd name="connsiteY45522" fmla="*/ 1613278 h 6557032"/>
              <a:gd name="connsiteX45523" fmla="*/ 307947 w 4610101"/>
              <a:gd name="connsiteY45523" fmla="*/ 1615328 h 6557032"/>
              <a:gd name="connsiteX45524" fmla="*/ 315236 w 4610101"/>
              <a:gd name="connsiteY45524" fmla="*/ 1613506 h 6557032"/>
              <a:gd name="connsiteX45525" fmla="*/ 307947 w 4610101"/>
              <a:gd name="connsiteY45525" fmla="*/ 1611683 h 6557032"/>
              <a:gd name="connsiteX45526" fmla="*/ 329813 w 4610101"/>
              <a:gd name="connsiteY45526" fmla="*/ 1609862 h 6557032"/>
              <a:gd name="connsiteX45527" fmla="*/ 327991 w 4610101"/>
              <a:gd name="connsiteY45527" fmla="*/ 1600751 h 6557032"/>
              <a:gd name="connsiteX45528" fmla="*/ 337032 w 4610101"/>
              <a:gd name="connsiteY45528" fmla="*/ 1607208 h 6557032"/>
              <a:gd name="connsiteX45529" fmla="*/ 346213 w 4610101"/>
              <a:gd name="connsiteY45529" fmla="*/ 1606188 h 6557032"/>
              <a:gd name="connsiteX45530" fmla="*/ 317059 w 4610101"/>
              <a:gd name="connsiteY45530" fmla="*/ 1591610 h 6557032"/>
              <a:gd name="connsiteX45531" fmla="*/ 327993 w 4610101"/>
              <a:gd name="connsiteY45531" fmla="*/ 1587966 h 6557032"/>
              <a:gd name="connsiteX45532" fmla="*/ 313414 w 4610101"/>
              <a:gd name="connsiteY45532" fmla="*/ 1587966 h 6557032"/>
              <a:gd name="connsiteX45533" fmla="*/ 315236 w 4610101"/>
              <a:gd name="connsiteY45533" fmla="*/ 1591610 h 6557032"/>
              <a:gd name="connsiteX45534" fmla="*/ 286082 w 4610101"/>
              <a:gd name="connsiteY45534" fmla="*/ 1580677 h 6557032"/>
              <a:gd name="connsiteX45535" fmla="*/ 295193 w 4610101"/>
              <a:gd name="connsiteY45535" fmla="*/ 1580677 h 6557032"/>
              <a:gd name="connsiteX45536" fmla="*/ 293370 w 4610101"/>
              <a:gd name="connsiteY45536" fmla="*/ 1577033 h 6557032"/>
              <a:gd name="connsiteX45537" fmla="*/ 333458 w 4610101"/>
              <a:gd name="connsiteY45537" fmla="*/ 1587966 h 6557032"/>
              <a:gd name="connsiteX45538" fmla="*/ 315236 w 4610101"/>
              <a:gd name="connsiteY45538" fmla="*/ 1566100 h 6557032"/>
              <a:gd name="connsiteX45539" fmla="*/ 346213 w 4610101"/>
              <a:gd name="connsiteY45539" fmla="*/ 1587966 h 6557032"/>
              <a:gd name="connsiteX45540" fmla="*/ 348037 w 4610101"/>
              <a:gd name="connsiteY45540" fmla="*/ 1584321 h 6557032"/>
              <a:gd name="connsiteX45541" fmla="*/ 342569 w 4610101"/>
              <a:gd name="connsiteY45541" fmla="*/ 1584321 h 6557032"/>
              <a:gd name="connsiteX45542" fmla="*/ 346213 w 4610101"/>
              <a:gd name="connsiteY45542" fmla="*/ 1582499 h 6557032"/>
              <a:gd name="connsiteX45543" fmla="*/ 335280 w 4610101"/>
              <a:gd name="connsiteY45543" fmla="*/ 1569744 h 6557032"/>
              <a:gd name="connsiteX45544" fmla="*/ 338926 w 4610101"/>
              <a:gd name="connsiteY45544" fmla="*/ 1567922 h 6557032"/>
              <a:gd name="connsiteX45545" fmla="*/ 326169 w 4610101"/>
              <a:gd name="connsiteY45545" fmla="*/ 1549700 h 6557032"/>
              <a:gd name="connsiteX45546" fmla="*/ 331636 w 4610101"/>
              <a:gd name="connsiteY45546" fmla="*/ 1553345 h 6557032"/>
              <a:gd name="connsiteX45547" fmla="*/ 333458 w 4610101"/>
              <a:gd name="connsiteY45547" fmla="*/ 1549700 h 6557032"/>
              <a:gd name="connsiteX45548" fmla="*/ 350970 w 4610101"/>
              <a:gd name="connsiteY45548" fmla="*/ 1563126 h 6557032"/>
              <a:gd name="connsiteX45549" fmla="*/ 355979 w 4610101"/>
              <a:gd name="connsiteY45549" fmla="*/ 1574356 h 6557032"/>
              <a:gd name="connsiteX45550" fmla="*/ 397234 w 4610101"/>
              <a:gd name="connsiteY45550" fmla="*/ 1586144 h 6557032"/>
              <a:gd name="connsiteX45551" fmla="*/ 386073 w 4610101"/>
              <a:gd name="connsiteY45551" fmla="*/ 1578399 h 6557032"/>
              <a:gd name="connsiteX45552" fmla="*/ 385871 w 4610101"/>
              <a:gd name="connsiteY45552" fmla="*/ 1578318 h 6557032"/>
              <a:gd name="connsiteX45553" fmla="*/ 393590 w 4610101"/>
              <a:gd name="connsiteY45553" fmla="*/ 1580677 h 6557032"/>
              <a:gd name="connsiteX45554" fmla="*/ 392452 w 4610101"/>
              <a:gd name="connsiteY45554" fmla="*/ 1574527 h 6557032"/>
              <a:gd name="connsiteX45555" fmla="*/ 389958 w 4610101"/>
              <a:gd name="connsiteY45555" fmla="*/ 1564327 h 6557032"/>
              <a:gd name="connsiteX45556" fmla="*/ 389976 w 4610101"/>
              <a:gd name="connsiteY45556" fmla="*/ 1564328 h 6557032"/>
              <a:gd name="connsiteX45557" fmla="*/ 395412 w 4610101"/>
              <a:gd name="connsiteY45557" fmla="*/ 1573388 h 6557032"/>
              <a:gd name="connsiteX45558" fmla="*/ 399056 w 4610101"/>
              <a:gd name="connsiteY45558" fmla="*/ 1575894 h 6557032"/>
              <a:gd name="connsiteX45559" fmla="*/ 399271 w 4610101"/>
              <a:gd name="connsiteY45559" fmla="*/ 1575961 h 6557032"/>
              <a:gd name="connsiteX45560" fmla="*/ 402701 w 4610101"/>
              <a:gd name="connsiteY45560" fmla="*/ 1577033 h 6557032"/>
              <a:gd name="connsiteX45561" fmla="*/ 402701 w 4610101"/>
              <a:gd name="connsiteY45561" fmla="*/ 1571566 h 6557032"/>
              <a:gd name="connsiteX45562" fmla="*/ 399056 w 4610101"/>
              <a:gd name="connsiteY45562" fmla="*/ 1573388 h 6557032"/>
              <a:gd name="connsiteX45563" fmla="*/ 399056 w 4610101"/>
              <a:gd name="connsiteY45563" fmla="*/ 1566100 h 6557032"/>
              <a:gd name="connsiteX45564" fmla="*/ 428211 w 4610101"/>
              <a:gd name="connsiteY45564" fmla="*/ 1558811 h 6557032"/>
              <a:gd name="connsiteX45565" fmla="*/ 399056 w 4610101"/>
              <a:gd name="connsiteY45565" fmla="*/ 1558811 h 6557032"/>
              <a:gd name="connsiteX45566" fmla="*/ 394444 w 4610101"/>
              <a:gd name="connsiteY45566" fmla="*/ 1564449 h 6557032"/>
              <a:gd name="connsiteX45567" fmla="*/ 389976 w 4610101"/>
              <a:gd name="connsiteY45567" fmla="*/ 1564328 h 6557032"/>
              <a:gd name="connsiteX45568" fmla="*/ 389946 w 4610101"/>
              <a:gd name="connsiteY45568" fmla="*/ 1564278 h 6557032"/>
              <a:gd name="connsiteX45569" fmla="*/ 389958 w 4610101"/>
              <a:gd name="connsiteY45569" fmla="*/ 1564327 h 6557032"/>
              <a:gd name="connsiteX45570" fmla="*/ 388123 w 4610101"/>
              <a:gd name="connsiteY45570" fmla="*/ 1564278 h 6557032"/>
              <a:gd name="connsiteX45571" fmla="*/ 369902 w 4610101"/>
              <a:gd name="connsiteY45571" fmla="*/ 1560633 h 6557032"/>
              <a:gd name="connsiteX45572" fmla="*/ 366257 w 4610101"/>
              <a:gd name="connsiteY45572" fmla="*/ 1562455 h 6557032"/>
              <a:gd name="connsiteX45573" fmla="*/ 366257 w 4610101"/>
              <a:gd name="connsiteY45573" fmla="*/ 1558811 h 6557032"/>
              <a:gd name="connsiteX45574" fmla="*/ 358969 w 4610101"/>
              <a:gd name="connsiteY45574" fmla="*/ 1556989 h 6557032"/>
              <a:gd name="connsiteX45575" fmla="*/ 360791 w 4610101"/>
              <a:gd name="connsiteY45575" fmla="*/ 1551522 h 6557032"/>
              <a:gd name="connsiteX45576" fmla="*/ 357544 w 4610101"/>
              <a:gd name="connsiteY45576" fmla="*/ 1546884 h 6557032"/>
              <a:gd name="connsiteX45577" fmla="*/ 362613 w 4610101"/>
              <a:gd name="connsiteY45577" fmla="*/ 1549700 h 6557032"/>
              <a:gd name="connsiteX45578" fmla="*/ 362613 w 4610101"/>
              <a:gd name="connsiteY45578" fmla="*/ 1547878 h 6557032"/>
              <a:gd name="connsiteX45579" fmla="*/ 364435 w 4610101"/>
              <a:gd name="connsiteY45579" fmla="*/ 1542412 h 6557032"/>
              <a:gd name="connsiteX45580" fmla="*/ 357146 w 4610101"/>
              <a:gd name="connsiteY45580" fmla="*/ 1538767 h 6557032"/>
              <a:gd name="connsiteX45581" fmla="*/ 364435 w 4610101"/>
              <a:gd name="connsiteY45581" fmla="*/ 1540589 h 6557032"/>
              <a:gd name="connsiteX45582" fmla="*/ 366257 w 4610101"/>
              <a:gd name="connsiteY45582" fmla="*/ 1538767 h 6557032"/>
              <a:gd name="connsiteX45583" fmla="*/ 362613 w 4610101"/>
              <a:gd name="connsiteY45583" fmla="*/ 1526012 h 6557032"/>
              <a:gd name="connsiteX45584" fmla="*/ 368079 w 4610101"/>
              <a:gd name="connsiteY45584" fmla="*/ 1536945 h 6557032"/>
              <a:gd name="connsiteX45585" fmla="*/ 373546 w 4610101"/>
              <a:gd name="connsiteY45585" fmla="*/ 1529656 h 6557032"/>
              <a:gd name="connsiteX45586" fmla="*/ 369902 w 4610101"/>
              <a:gd name="connsiteY45586" fmla="*/ 1526012 h 6557032"/>
              <a:gd name="connsiteX45587" fmla="*/ 391768 w 4610101"/>
              <a:gd name="connsiteY45587" fmla="*/ 1520545 h 6557032"/>
              <a:gd name="connsiteX45588" fmla="*/ 375368 w 4610101"/>
              <a:gd name="connsiteY45588" fmla="*/ 1511434 h 6557032"/>
              <a:gd name="connsiteX45589" fmla="*/ 380835 w 4610101"/>
              <a:gd name="connsiteY45589" fmla="*/ 1504146 h 6557032"/>
              <a:gd name="connsiteX45590" fmla="*/ 375368 w 4610101"/>
              <a:gd name="connsiteY45590" fmla="*/ 1504146 h 6557032"/>
              <a:gd name="connsiteX45591" fmla="*/ 384479 w 4610101"/>
              <a:gd name="connsiteY45591" fmla="*/ 1498679 h 6557032"/>
              <a:gd name="connsiteX45592" fmla="*/ 348797 w 4610101"/>
              <a:gd name="connsiteY45592" fmla="*/ 1504710 h 6557032"/>
              <a:gd name="connsiteX45593" fmla="*/ 340519 w 4610101"/>
              <a:gd name="connsiteY45593" fmla="*/ 1503463 h 6557032"/>
              <a:gd name="connsiteX45594" fmla="*/ 322525 w 4610101"/>
              <a:gd name="connsiteY45594" fmla="*/ 1507790 h 6557032"/>
              <a:gd name="connsiteX45595" fmla="*/ 331475 w 4610101"/>
              <a:gd name="connsiteY45595" fmla="*/ 1508813 h 6557032"/>
              <a:gd name="connsiteX45596" fmla="*/ 291549 w 4610101"/>
              <a:gd name="connsiteY45596" fmla="*/ 1526012 h 6557032"/>
              <a:gd name="connsiteX45597" fmla="*/ 313414 w 4610101"/>
              <a:gd name="connsiteY45597" fmla="*/ 1509612 h 6557032"/>
              <a:gd name="connsiteX45598" fmla="*/ 302481 w 4610101"/>
              <a:gd name="connsiteY45598" fmla="*/ 1511434 h 6557032"/>
              <a:gd name="connsiteX45599" fmla="*/ 317059 w 4610101"/>
              <a:gd name="connsiteY45599" fmla="*/ 1507790 h 6557032"/>
              <a:gd name="connsiteX45600" fmla="*/ 298837 w 4610101"/>
              <a:gd name="connsiteY45600" fmla="*/ 1502324 h 6557032"/>
              <a:gd name="connsiteX45601" fmla="*/ 300640 w 4610101"/>
              <a:gd name="connsiteY45601" fmla="*/ 1502324 h 6557032"/>
              <a:gd name="connsiteX45602" fmla="*/ 297014 w 4610101"/>
              <a:gd name="connsiteY45602" fmla="*/ 1496886 h 6557032"/>
              <a:gd name="connsiteX45603" fmla="*/ 303811 w 4610101"/>
              <a:gd name="connsiteY45603" fmla="*/ 1502324 h 6557032"/>
              <a:gd name="connsiteX45604" fmla="*/ 309771 w 4610101"/>
              <a:gd name="connsiteY45604" fmla="*/ 1502324 h 6557032"/>
              <a:gd name="connsiteX45605" fmla="*/ 304303 w 4610101"/>
              <a:gd name="connsiteY45605" fmla="*/ 1496857 h 6557032"/>
              <a:gd name="connsiteX45606" fmla="*/ 315236 w 4610101"/>
              <a:gd name="connsiteY45606" fmla="*/ 1500501 h 6557032"/>
              <a:gd name="connsiteX45607" fmla="*/ 329814 w 4610101"/>
              <a:gd name="connsiteY45607" fmla="*/ 1498679 h 6557032"/>
              <a:gd name="connsiteX45608" fmla="*/ 384479 w 4610101"/>
              <a:gd name="connsiteY45608" fmla="*/ 1495035 h 6557032"/>
              <a:gd name="connsiteX45609" fmla="*/ 377190 w 4610101"/>
              <a:gd name="connsiteY45609" fmla="*/ 1493213 h 6557032"/>
              <a:gd name="connsiteX45610" fmla="*/ 380835 w 4610101"/>
              <a:gd name="connsiteY45610" fmla="*/ 1491391 h 6557032"/>
              <a:gd name="connsiteX45611" fmla="*/ 377190 w 4610101"/>
              <a:gd name="connsiteY45611" fmla="*/ 1484102 h 6557032"/>
              <a:gd name="connsiteX45612" fmla="*/ 389946 w 4610101"/>
              <a:gd name="connsiteY45612" fmla="*/ 1485924 h 6557032"/>
              <a:gd name="connsiteX45613" fmla="*/ 386301 w 4610101"/>
              <a:gd name="connsiteY45613" fmla="*/ 1482280 h 6557032"/>
              <a:gd name="connsiteX45614" fmla="*/ 404523 w 4610101"/>
              <a:gd name="connsiteY45614" fmla="*/ 1485924 h 6557032"/>
              <a:gd name="connsiteX45615" fmla="*/ 395412 w 4610101"/>
              <a:gd name="connsiteY45615" fmla="*/ 1478635 h 6557032"/>
              <a:gd name="connsiteX45616" fmla="*/ 404523 w 4610101"/>
              <a:gd name="connsiteY45616" fmla="*/ 1478635 h 6557032"/>
              <a:gd name="connsiteX45617" fmla="*/ 382667 w 4610101"/>
              <a:gd name="connsiteY45617" fmla="*/ 1476251 h 6557032"/>
              <a:gd name="connsiteX45618" fmla="*/ 393590 w 4610101"/>
              <a:gd name="connsiteY45618" fmla="*/ 1471347 h 6557032"/>
              <a:gd name="connsiteX45619" fmla="*/ 369902 w 4610101"/>
              <a:gd name="connsiteY45619" fmla="*/ 1478635 h 6557032"/>
              <a:gd name="connsiteX45620" fmla="*/ 370697 w 4610101"/>
              <a:gd name="connsiteY45620" fmla="*/ 1478491 h 6557032"/>
              <a:gd name="connsiteX45621" fmla="*/ 351680 w 4610101"/>
              <a:gd name="connsiteY45621" fmla="*/ 1484102 h 6557032"/>
              <a:gd name="connsiteX45622" fmla="*/ 355324 w 4610101"/>
              <a:gd name="connsiteY45622" fmla="*/ 1482280 h 6557032"/>
              <a:gd name="connsiteX45623" fmla="*/ 309771 w 4610101"/>
              <a:gd name="connsiteY45623" fmla="*/ 1489568 h 6557032"/>
              <a:gd name="connsiteX45624" fmla="*/ 320703 w 4610101"/>
              <a:gd name="connsiteY45624" fmla="*/ 1485924 h 6557032"/>
              <a:gd name="connsiteX45625" fmla="*/ 315236 w 4610101"/>
              <a:gd name="connsiteY45625" fmla="*/ 1482280 h 6557032"/>
              <a:gd name="connsiteX45626" fmla="*/ 349858 w 4610101"/>
              <a:gd name="connsiteY45626" fmla="*/ 1476813 h 6557032"/>
              <a:gd name="connsiteX45627" fmla="*/ 337102 w 4610101"/>
              <a:gd name="connsiteY45627" fmla="*/ 1473169 h 6557032"/>
              <a:gd name="connsiteX45628" fmla="*/ 342569 w 4610101"/>
              <a:gd name="connsiteY45628" fmla="*/ 1471347 h 6557032"/>
              <a:gd name="connsiteX45629" fmla="*/ 340747 w 4610101"/>
              <a:gd name="connsiteY45629" fmla="*/ 1469525 h 6557032"/>
              <a:gd name="connsiteX45630" fmla="*/ 346213 w 4610101"/>
              <a:gd name="connsiteY45630" fmla="*/ 1471347 h 6557032"/>
              <a:gd name="connsiteX45631" fmla="*/ 344391 w 4610101"/>
              <a:gd name="connsiteY45631" fmla="*/ 1462236 h 6557032"/>
              <a:gd name="connsiteX45632" fmla="*/ 364435 w 4610101"/>
              <a:gd name="connsiteY45632" fmla="*/ 1473169 h 6557032"/>
              <a:gd name="connsiteX45633" fmla="*/ 357146 w 4610101"/>
              <a:gd name="connsiteY45633" fmla="*/ 1476813 h 6557032"/>
              <a:gd name="connsiteX45634" fmla="*/ 368079 w 4610101"/>
              <a:gd name="connsiteY45634" fmla="*/ 1469525 h 6557032"/>
              <a:gd name="connsiteX45635" fmla="*/ 360791 w 4610101"/>
              <a:gd name="connsiteY45635" fmla="*/ 1467702 h 6557032"/>
              <a:gd name="connsiteX45636" fmla="*/ 380835 w 4610101"/>
              <a:gd name="connsiteY45636" fmla="*/ 1462236 h 6557032"/>
              <a:gd name="connsiteX45637" fmla="*/ 351680 w 4610101"/>
              <a:gd name="connsiteY45637" fmla="*/ 1460414 h 6557032"/>
              <a:gd name="connsiteX45638" fmla="*/ 368079 w 4610101"/>
              <a:gd name="connsiteY45638" fmla="*/ 1454947 h 6557032"/>
              <a:gd name="connsiteX45639" fmla="*/ 353502 w 4610101"/>
              <a:gd name="connsiteY45639" fmla="*/ 1438548 h 6557032"/>
              <a:gd name="connsiteX45640" fmla="*/ 404523 w 4610101"/>
              <a:gd name="connsiteY45640" fmla="*/ 1462236 h 6557032"/>
              <a:gd name="connsiteX45641" fmla="*/ 397234 w 4610101"/>
              <a:gd name="connsiteY45641" fmla="*/ 1453125 h 6557032"/>
              <a:gd name="connsiteX45642" fmla="*/ 406345 w 4610101"/>
              <a:gd name="connsiteY45642" fmla="*/ 1453125 h 6557032"/>
              <a:gd name="connsiteX45643" fmla="*/ 399056 w 4610101"/>
              <a:gd name="connsiteY45643" fmla="*/ 1449481 h 6557032"/>
              <a:gd name="connsiteX45644" fmla="*/ 413634 w 4610101"/>
              <a:gd name="connsiteY45644" fmla="*/ 1447658 h 6557032"/>
              <a:gd name="connsiteX45645" fmla="*/ 397234 w 4610101"/>
              <a:gd name="connsiteY45645" fmla="*/ 1438548 h 6557032"/>
              <a:gd name="connsiteX45646" fmla="*/ 413634 w 4610101"/>
              <a:gd name="connsiteY45646" fmla="*/ 1436725 h 6557032"/>
              <a:gd name="connsiteX45647" fmla="*/ 409989 w 4610101"/>
              <a:gd name="connsiteY45647" fmla="*/ 1433081 h 6557032"/>
              <a:gd name="connsiteX45648" fmla="*/ 413634 w 4610101"/>
              <a:gd name="connsiteY45648" fmla="*/ 1434903 h 6557032"/>
              <a:gd name="connsiteX45649" fmla="*/ 395412 w 4610101"/>
              <a:gd name="connsiteY45649" fmla="*/ 1423970 h 6557032"/>
              <a:gd name="connsiteX45650" fmla="*/ 400879 w 4610101"/>
              <a:gd name="connsiteY45650" fmla="*/ 1423970 h 6557032"/>
              <a:gd name="connsiteX45651" fmla="*/ 368079 w 4610101"/>
              <a:gd name="connsiteY45651" fmla="*/ 1414859 h 6557032"/>
              <a:gd name="connsiteX45652" fmla="*/ 389946 w 4610101"/>
              <a:gd name="connsiteY45652" fmla="*/ 1423970 h 6557032"/>
              <a:gd name="connsiteX45653" fmla="*/ 364435 w 4610101"/>
              <a:gd name="connsiteY45653" fmla="*/ 1431259 h 6557032"/>
              <a:gd name="connsiteX45654" fmla="*/ 353502 w 4610101"/>
              <a:gd name="connsiteY45654" fmla="*/ 1429437 h 6557032"/>
              <a:gd name="connsiteX45655" fmla="*/ 377190 w 4610101"/>
              <a:gd name="connsiteY45655" fmla="*/ 1422148 h 6557032"/>
              <a:gd name="connsiteX45656" fmla="*/ 329814 w 4610101"/>
              <a:gd name="connsiteY45656" fmla="*/ 1389349 h 6557032"/>
              <a:gd name="connsiteX45657" fmla="*/ 346213 w 4610101"/>
              <a:gd name="connsiteY45657" fmla="*/ 1400282 h 6557032"/>
              <a:gd name="connsiteX45658" fmla="*/ 329814 w 4610101"/>
              <a:gd name="connsiteY45658" fmla="*/ 1383882 h 6557032"/>
              <a:gd name="connsiteX45659" fmla="*/ 368079 w 4610101"/>
              <a:gd name="connsiteY45659" fmla="*/ 1409393 h 6557032"/>
              <a:gd name="connsiteX45660" fmla="*/ 366257 w 4610101"/>
              <a:gd name="connsiteY45660" fmla="*/ 1407571 h 6557032"/>
              <a:gd name="connsiteX45661" fmla="*/ 384479 w 4610101"/>
              <a:gd name="connsiteY45661" fmla="*/ 1414859 h 6557032"/>
              <a:gd name="connsiteX45662" fmla="*/ 382657 w 4610101"/>
              <a:gd name="connsiteY45662" fmla="*/ 1403926 h 6557032"/>
              <a:gd name="connsiteX45663" fmla="*/ 420923 w 4610101"/>
              <a:gd name="connsiteY45663" fmla="*/ 1425792 h 6557032"/>
              <a:gd name="connsiteX45664" fmla="*/ 415456 w 4610101"/>
              <a:gd name="connsiteY45664" fmla="*/ 1414859 h 6557032"/>
              <a:gd name="connsiteX45665" fmla="*/ 419100 w 4610101"/>
              <a:gd name="connsiteY45665" fmla="*/ 1418504 h 6557032"/>
              <a:gd name="connsiteX45666" fmla="*/ 393590 w 4610101"/>
              <a:gd name="connsiteY45666" fmla="*/ 1391171 h 6557032"/>
              <a:gd name="connsiteX45667" fmla="*/ 397234 w 4610101"/>
              <a:gd name="connsiteY45667" fmla="*/ 1389349 h 6557032"/>
              <a:gd name="connsiteX45668" fmla="*/ 391768 w 4610101"/>
              <a:gd name="connsiteY45668" fmla="*/ 1385705 h 6557032"/>
              <a:gd name="connsiteX45669" fmla="*/ 395412 w 4610101"/>
              <a:gd name="connsiteY45669" fmla="*/ 1385705 h 6557032"/>
              <a:gd name="connsiteX45670" fmla="*/ 390122 w 4610101"/>
              <a:gd name="connsiteY45670" fmla="*/ 1378651 h 6557032"/>
              <a:gd name="connsiteX45671" fmla="*/ 391768 w 4610101"/>
              <a:gd name="connsiteY45671" fmla="*/ 1378416 h 6557032"/>
              <a:gd name="connsiteX45672" fmla="*/ 386301 w 4610101"/>
              <a:gd name="connsiteY45672" fmla="*/ 1372949 h 6557032"/>
              <a:gd name="connsiteX45673" fmla="*/ 379012 w 4610101"/>
              <a:gd name="connsiteY45673" fmla="*/ 1374771 h 6557032"/>
              <a:gd name="connsiteX45674" fmla="*/ 385390 w 4610101"/>
              <a:gd name="connsiteY45674" fmla="*/ 1379327 h 6557032"/>
              <a:gd name="connsiteX45675" fmla="*/ 389218 w 4610101"/>
              <a:gd name="connsiteY45675" fmla="*/ 1378780 h 6557032"/>
              <a:gd name="connsiteX45676" fmla="*/ 386301 w 4610101"/>
              <a:gd name="connsiteY45676" fmla="*/ 1380238 h 6557032"/>
              <a:gd name="connsiteX45677" fmla="*/ 388123 w 4610101"/>
              <a:gd name="connsiteY45677" fmla="*/ 1383882 h 6557032"/>
              <a:gd name="connsiteX45678" fmla="*/ 349858 w 4610101"/>
              <a:gd name="connsiteY45678" fmla="*/ 1378416 h 6557032"/>
              <a:gd name="connsiteX45679" fmla="*/ 369902 w 4610101"/>
              <a:gd name="connsiteY45679" fmla="*/ 1372949 h 6557032"/>
              <a:gd name="connsiteX45680" fmla="*/ 346213 w 4610101"/>
              <a:gd name="connsiteY45680" fmla="*/ 1369305 h 6557032"/>
              <a:gd name="connsiteX45681" fmla="*/ 346213 w 4610101"/>
              <a:gd name="connsiteY45681" fmla="*/ 1365661 h 6557032"/>
              <a:gd name="connsiteX45682" fmla="*/ 337102 w 4610101"/>
              <a:gd name="connsiteY45682" fmla="*/ 1374771 h 6557032"/>
              <a:gd name="connsiteX45683" fmla="*/ 344391 w 4610101"/>
              <a:gd name="connsiteY45683" fmla="*/ 1378416 h 6557032"/>
              <a:gd name="connsiteX45684" fmla="*/ 327993 w 4610101"/>
              <a:gd name="connsiteY45684" fmla="*/ 1380238 h 6557032"/>
              <a:gd name="connsiteX45685" fmla="*/ 333458 w 4610101"/>
              <a:gd name="connsiteY45685" fmla="*/ 1374771 h 6557032"/>
              <a:gd name="connsiteX45686" fmla="*/ 329814 w 4610101"/>
              <a:gd name="connsiteY45686" fmla="*/ 1371127 h 6557032"/>
              <a:gd name="connsiteX45687" fmla="*/ 348037 w 4610101"/>
              <a:gd name="connsiteY45687" fmla="*/ 1362016 h 6557032"/>
              <a:gd name="connsiteX45688" fmla="*/ 320703 w 4610101"/>
              <a:gd name="connsiteY45688" fmla="*/ 1356550 h 6557032"/>
              <a:gd name="connsiteX45689" fmla="*/ 324347 w 4610101"/>
              <a:gd name="connsiteY45689" fmla="*/ 1351083 h 6557032"/>
              <a:gd name="connsiteX45690" fmla="*/ 315236 w 4610101"/>
              <a:gd name="connsiteY45690" fmla="*/ 1345617 h 6557032"/>
              <a:gd name="connsiteX45691" fmla="*/ 306605 w 4610101"/>
              <a:gd name="connsiteY45691" fmla="*/ 1347055 h 6557032"/>
              <a:gd name="connsiteX45692" fmla="*/ 293370 w 4610101"/>
              <a:gd name="connsiteY45692" fmla="*/ 1349261 h 6557032"/>
              <a:gd name="connsiteX45693" fmla="*/ 271504 w 4610101"/>
              <a:gd name="connsiteY45693" fmla="*/ 1352905 h 6557032"/>
              <a:gd name="connsiteX45694" fmla="*/ 266038 w 4610101"/>
              <a:gd name="connsiteY45694" fmla="*/ 1345617 h 6557032"/>
              <a:gd name="connsiteX45695" fmla="*/ 234605 w 4610101"/>
              <a:gd name="connsiteY45695" fmla="*/ 1358600 h 6557032"/>
              <a:gd name="connsiteX45696" fmla="*/ 233947 w 4610101"/>
              <a:gd name="connsiteY45696" fmla="*/ 1358455 h 6557032"/>
              <a:gd name="connsiteX45697" fmla="*/ 262393 w 4610101"/>
              <a:gd name="connsiteY45697" fmla="*/ 1343795 h 6557032"/>
              <a:gd name="connsiteX45698" fmla="*/ 236883 w 4610101"/>
              <a:gd name="connsiteY45698" fmla="*/ 1329217 h 6557032"/>
              <a:gd name="connsiteX45699" fmla="*/ 240527 w 4610101"/>
              <a:gd name="connsiteY45699" fmla="*/ 1329217 h 6557032"/>
              <a:gd name="connsiteX45700" fmla="*/ 240527 w 4610101"/>
              <a:gd name="connsiteY45700" fmla="*/ 1325573 h 6557032"/>
              <a:gd name="connsiteX45701" fmla="*/ 286082 w 4610101"/>
              <a:gd name="connsiteY45701" fmla="*/ 1332862 h 6557032"/>
              <a:gd name="connsiteX45702" fmla="*/ 282438 w 4610101"/>
              <a:gd name="connsiteY45702" fmla="*/ 1332862 h 6557032"/>
              <a:gd name="connsiteX45703" fmla="*/ 286082 w 4610101"/>
              <a:gd name="connsiteY45703" fmla="*/ 1327395 h 6557032"/>
              <a:gd name="connsiteX45704" fmla="*/ 262393 w 4610101"/>
              <a:gd name="connsiteY45704" fmla="*/ 1331039 h 6557032"/>
              <a:gd name="connsiteX45705" fmla="*/ 275149 w 4610101"/>
              <a:gd name="connsiteY45705" fmla="*/ 1327395 h 6557032"/>
              <a:gd name="connsiteX45706" fmla="*/ 256927 w 4610101"/>
              <a:gd name="connsiteY45706" fmla="*/ 1321929 h 6557032"/>
              <a:gd name="connsiteX45707" fmla="*/ 249638 w 4610101"/>
              <a:gd name="connsiteY45707" fmla="*/ 1318284 h 6557032"/>
              <a:gd name="connsiteX45708" fmla="*/ 262393 w 4610101"/>
              <a:gd name="connsiteY45708" fmla="*/ 1318284 h 6557032"/>
              <a:gd name="connsiteX45709" fmla="*/ 131197 w 4610101"/>
              <a:gd name="connsiteY45709" fmla="*/ 1287307 h 6557032"/>
              <a:gd name="connsiteX45710" fmla="*/ 189506 w 4610101"/>
              <a:gd name="connsiteY45710" fmla="*/ 1305529 h 6557032"/>
              <a:gd name="connsiteX45711" fmla="*/ 165818 w 4610101"/>
              <a:gd name="connsiteY45711" fmla="*/ 1298240 h 6557032"/>
              <a:gd name="connsiteX45712" fmla="*/ 171285 w 4610101"/>
              <a:gd name="connsiteY45712" fmla="*/ 1298240 h 6557032"/>
              <a:gd name="connsiteX45713" fmla="*/ 156707 w 4610101"/>
              <a:gd name="connsiteY45713" fmla="*/ 1287307 h 6557032"/>
              <a:gd name="connsiteX45714" fmla="*/ 194973 w 4610101"/>
              <a:gd name="connsiteY45714" fmla="*/ 1300062 h 6557032"/>
              <a:gd name="connsiteX45715" fmla="*/ 189506 w 4610101"/>
              <a:gd name="connsiteY45715" fmla="*/ 1296418 h 6557032"/>
              <a:gd name="connsiteX45716" fmla="*/ 209550 w 4610101"/>
              <a:gd name="connsiteY45716" fmla="*/ 1300062 h 6557032"/>
              <a:gd name="connsiteX45717" fmla="*/ 191329 w 4610101"/>
              <a:gd name="connsiteY45717" fmla="*/ 1296418 h 6557032"/>
              <a:gd name="connsiteX45718" fmla="*/ 210204 w 4610101"/>
              <a:gd name="connsiteY45718" fmla="*/ 1298134 h 6557032"/>
              <a:gd name="connsiteX45719" fmla="*/ 213878 w 4610101"/>
              <a:gd name="connsiteY45719" fmla="*/ 1300746 h 6557032"/>
              <a:gd name="connsiteX45720" fmla="*/ 231416 w 4610101"/>
              <a:gd name="connsiteY45720" fmla="*/ 1301885 h 6557032"/>
              <a:gd name="connsiteX45721" fmla="*/ 194973 w 4610101"/>
              <a:gd name="connsiteY45721" fmla="*/ 1287307 h 6557032"/>
              <a:gd name="connsiteX45722" fmla="*/ 207006 w 4610101"/>
              <a:gd name="connsiteY45722" fmla="*/ 1295860 h 6557032"/>
              <a:gd name="connsiteX45723" fmla="*/ 165818 w 4610101"/>
              <a:gd name="connsiteY45723" fmla="*/ 1273413 h 6557032"/>
              <a:gd name="connsiteX45724" fmla="*/ 162174 w 4610101"/>
              <a:gd name="connsiteY45724" fmla="*/ 1270535 h 6557032"/>
              <a:gd name="connsiteX45725" fmla="*/ 180396 w 4610101"/>
              <a:gd name="connsiteY45725" fmla="*/ 1278196 h 6557032"/>
              <a:gd name="connsiteX45726" fmla="*/ 171285 w 4610101"/>
              <a:gd name="connsiteY45726" fmla="*/ 1270908 h 6557032"/>
              <a:gd name="connsiteX45727" fmla="*/ 218661 w 4610101"/>
              <a:gd name="connsiteY45727" fmla="*/ 1290951 h 6557032"/>
              <a:gd name="connsiteX45728" fmla="*/ 199991 w 4610101"/>
              <a:gd name="connsiteY45728" fmla="*/ 1280060 h 6557032"/>
              <a:gd name="connsiteX45729" fmla="*/ 198617 w 4610101"/>
              <a:gd name="connsiteY45729" fmla="*/ 1280060 h 6557032"/>
              <a:gd name="connsiteX45730" fmla="*/ 182217 w 4610101"/>
              <a:gd name="connsiteY45730" fmla="*/ 1267305 h 6557032"/>
              <a:gd name="connsiteX45731" fmla="*/ 197775 w 4610101"/>
              <a:gd name="connsiteY45731" fmla="*/ 1278196 h 6557032"/>
              <a:gd name="connsiteX45732" fmla="*/ 198617 w 4610101"/>
              <a:gd name="connsiteY45732" fmla="*/ 1278196 h 6557032"/>
              <a:gd name="connsiteX45733" fmla="*/ 225950 w 4610101"/>
              <a:gd name="connsiteY45733" fmla="*/ 1285485 h 6557032"/>
              <a:gd name="connsiteX45734" fmla="*/ 218661 w 4610101"/>
              <a:gd name="connsiteY45734" fmla="*/ 1280018 h 6557032"/>
              <a:gd name="connsiteX45735" fmla="*/ 242349 w 4610101"/>
              <a:gd name="connsiteY45735" fmla="*/ 1287307 h 6557032"/>
              <a:gd name="connsiteX45736" fmla="*/ 207045 w 4610101"/>
              <a:gd name="connsiteY45736" fmla="*/ 1270680 h 6557032"/>
              <a:gd name="connsiteX45737" fmla="*/ 196187 w 4610101"/>
              <a:gd name="connsiteY45737" fmla="*/ 1264923 h 6557032"/>
              <a:gd name="connsiteX45738" fmla="*/ 215017 w 4610101"/>
              <a:gd name="connsiteY45738" fmla="*/ 1269085 h 6557032"/>
              <a:gd name="connsiteX45739" fmla="*/ 202262 w 4610101"/>
              <a:gd name="connsiteY45739" fmla="*/ 1259975 h 6557032"/>
              <a:gd name="connsiteX45740" fmla="*/ 245994 w 4610101"/>
              <a:gd name="connsiteY45740" fmla="*/ 1280018 h 6557032"/>
              <a:gd name="connsiteX45741" fmla="*/ 244172 w 4610101"/>
              <a:gd name="connsiteY45741" fmla="*/ 1274552 h 6557032"/>
              <a:gd name="connsiteX45742" fmla="*/ 260571 w 4610101"/>
              <a:gd name="connsiteY45742" fmla="*/ 1283663 h 6557032"/>
              <a:gd name="connsiteX45743" fmla="*/ 251460 w 4610101"/>
              <a:gd name="connsiteY45743" fmla="*/ 1270908 h 6557032"/>
              <a:gd name="connsiteX45744" fmla="*/ 262393 w 4610101"/>
              <a:gd name="connsiteY45744" fmla="*/ 1280018 h 6557032"/>
              <a:gd name="connsiteX45745" fmla="*/ 260571 w 4610101"/>
              <a:gd name="connsiteY45745" fmla="*/ 1280018 h 6557032"/>
              <a:gd name="connsiteX45746" fmla="*/ 275149 w 4610101"/>
              <a:gd name="connsiteY45746" fmla="*/ 1287307 h 6557032"/>
              <a:gd name="connsiteX45747" fmla="*/ 269682 w 4610101"/>
              <a:gd name="connsiteY45747" fmla="*/ 1281841 h 6557032"/>
              <a:gd name="connsiteX45748" fmla="*/ 286082 w 4610101"/>
              <a:gd name="connsiteY45748" fmla="*/ 1283663 h 6557032"/>
              <a:gd name="connsiteX45749" fmla="*/ 278793 w 4610101"/>
              <a:gd name="connsiteY45749" fmla="*/ 1276374 h 6557032"/>
              <a:gd name="connsiteX45750" fmla="*/ 266762 w 4610101"/>
              <a:gd name="connsiteY45750" fmla="*/ 1270532 h 6557032"/>
              <a:gd name="connsiteX45751" fmla="*/ 266038 w 4610101"/>
              <a:gd name="connsiteY45751" fmla="*/ 1269085 h 6557032"/>
              <a:gd name="connsiteX45752" fmla="*/ 276971 w 4610101"/>
              <a:gd name="connsiteY45752" fmla="*/ 1267263 h 6557032"/>
              <a:gd name="connsiteX45753" fmla="*/ 275149 w 4610101"/>
              <a:gd name="connsiteY45753" fmla="*/ 1258152 h 6557032"/>
              <a:gd name="connsiteX45754" fmla="*/ 258749 w 4610101"/>
              <a:gd name="connsiteY45754" fmla="*/ 1259975 h 6557032"/>
              <a:gd name="connsiteX45755" fmla="*/ 254421 w 4610101"/>
              <a:gd name="connsiteY45755" fmla="*/ 1261797 h 6557032"/>
              <a:gd name="connsiteX45756" fmla="*/ 251929 w 4610101"/>
              <a:gd name="connsiteY45756" fmla="*/ 1263330 h 6557032"/>
              <a:gd name="connsiteX45757" fmla="*/ 239388 w 4610101"/>
              <a:gd name="connsiteY45757" fmla="*/ 1257241 h 6557032"/>
              <a:gd name="connsiteX45758" fmla="*/ 234684 w 4610101"/>
              <a:gd name="connsiteY45758" fmla="*/ 1255664 h 6557032"/>
              <a:gd name="connsiteX45759" fmla="*/ 233239 w 4610101"/>
              <a:gd name="connsiteY45759" fmla="*/ 1254508 h 6557032"/>
              <a:gd name="connsiteX45760" fmla="*/ 231236 w 4610101"/>
              <a:gd name="connsiteY45760" fmla="*/ 1254508 h 6557032"/>
              <a:gd name="connsiteX45761" fmla="*/ 198617 w 4610101"/>
              <a:gd name="connsiteY45761" fmla="*/ 1243575 h 6557032"/>
              <a:gd name="connsiteX45762" fmla="*/ 211372 w 4610101"/>
              <a:gd name="connsiteY45762" fmla="*/ 1245397 h 6557032"/>
              <a:gd name="connsiteX45763" fmla="*/ 202262 w 4610101"/>
              <a:gd name="connsiteY45763" fmla="*/ 1238108 h 6557032"/>
              <a:gd name="connsiteX45764" fmla="*/ 216839 w 4610101"/>
              <a:gd name="connsiteY45764" fmla="*/ 1245397 h 6557032"/>
              <a:gd name="connsiteX45765" fmla="*/ 209550 w 4610101"/>
              <a:gd name="connsiteY45765" fmla="*/ 1236286 h 6557032"/>
              <a:gd name="connsiteX45766" fmla="*/ 227772 w 4610101"/>
              <a:gd name="connsiteY45766" fmla="*/ 1243575 h 6557032"/>
              <a:gd name="connsiteX45767" fmla="*/ 196795 w 4610101"/>
              <a:gd name="connsiteY45767" fmla="*/ 1221709 h 6557032"/>
              <a:gd name="connsiteX45768" fmla="*/ 216839 w 4610101"/>
              <a:gd name="connsiteY45768" fmla="*/ 1236286 h 6557032"/>
              <a:gd name="connsiteX45769" fmla="*/ 211372 w 4610101"/>
              <a:gd name="connsiteY45769" fmla="*/ 1228998 h 6557032"/>
              <a:gd name="connsiteX45770" fmla="*/ 231416 w 4610101"/>
              <a:gd name="connsiteY45770" fmla="*/ 1238108 h 6557032"/>
              <a:gd name="connsiteX45771" fmla="*/ 227772 w 4610101"/>
              <a:gd name="connsiteY45771" fmla="*/ 1239931 h 6557032"/>
              <a:gd name="connsiteX45772" fmla="*/ 235061 w 4610101"/>
              <a:gd name="connsiteY45772" fmla="*/ 1245397 h 6557032"/>
              <a:gd name="connsiteX45773" fmla="*/ 231416 w 4610101"/>
              <a:gd name="connsiteY45773" fmla="*/ 1238108 h 6557032"/>
              <a:gd name="connsiteX45774" fmla="*/ 240527 w 4610101"/>
              <a:gd name="connsiteY45774" fmla="*/ 1243575 h 6557032"/>
              <a:gd name="connsiteX45775" fmla="*/ 239589 w 4610101"/>
              <a:gd name="connsiteY45775" fmla="*/ 1242261 h 6557032"/>
              <a:gd name="connsiteX45776" fmla="*/ 251460 w 4610101"/>
              <a:gd name="connsiteY45776" fmla="*/ 1245397 h 6557032"/>
              <a:gd name="connsiteX45777" fmla="*/ 238705 w 4610101"/>
              <a:gd name="connsiteY45777" fmla="*/ 1238108 h 6557032"/>
              <a:gd name="connsiteX45778" fmla="*/ 264216 w 4610101"/>
              <a:gd name="connsiteY45778" fmla="*/ 1245397 h 6557032"/>
              <a:gd name="connsiteX45779" fmla="*/ 251460 w 4610101"/>
              <a:gd name="connsiteY45779" fmla="*/ 1236286 h 6557032"/>
              <a:gd name="connsiteX45780" fmla="*/ 266038 w 4610101"/>
              <a:gd name="connsiteY45780" fmla="*/ 1241753 h 6557032"/>
              <a:gd name="connsiteX45781" fmla="*/ 256927 w 4610101"/>
              <a:gd name="connsiteY45781" fmla="*/ 1234464 h 6557032"/>
              <a:gd name="connsiteX45782" fmla="*/ 267860 w 4610101"/>
              <a:gd name="connsiteY45782" fmla="*/ 1241753 h 6557032"/>
              <a:gd name="connsiteX45783" fmla="*/ 271504 w 4610101"/>
              <a:gd name="connsiteY45783" fmla="*/ 1238108 h 6557032"/>
              <a:gd name="connsiteX45784" fmla="*/ 267860 w 4610101"/>
              <a:gd name="connsiteY45784" fmla="*/ 1234464 h 6557032"/>
              <a:gd name="connsiteX45785" fmla="*/ 289726 w 4610101"/>
              <a:gd name="connsiteY45785" fmla="*/ 1239931 h 6557032"/>
              <a:gd name="connsiteX45786" fmla="*/ 284259 w 4610101"/>
              <a:gd name="connsiteY45786" fmla="*/ 1227175 h 6557032"/>
              <a:gd name="connsiteX45787" fmla="*/ 307948 w 4610101"/>
              <a:gd name="connsiteY45787" fmla="*/ 1234464 h 6557032"/>
              <a:gd name="connsiteX45788" fmla="*/ 287677 w 4610101"/>
              <a:gd name="connsiteY45788" fmla="*/ 1224442 h 6557032"/>
              <a:gd name="connsiteX45789" fmla="*/ 280877 w 4610101"/>
              <a:gd name="connsiteY45789" fmla="*/ 1223011 h 6557032"/>
              <a:gd name="connsiteX45790" fmla="*/ 266038 w 4610101"/>
              <a:gd name="connsiteY45790" fmla="*/ 1219887 h 6557032"/>
              <a:gd name="connsiteX45791" fmla="*/ 267860 w 4610101"/>
              <a:gd name="connsiteY45791" fmla="*/ 1214420 h 6557032"/>
              <a:gd name="connsiteX45792" fmla="*/ 266038 w 4610101"/>
              <a:gd name="connsiteY45792" fmla="*/ 1212598 h 6557032"/>
              <a:gd name="connsiteX45793" fmla="*/ 262393 w 4610101"/>
              <a:gd name="connsiteY45793" fmla="*/ 1208954 h 6557032"/>
              <a:gd name="connsiteX45794" fmla="*/ 275149 w 4610101"/>
              <a:gd name="connsiteY45794" fmla="*/ 1214420 h 6557032"/>
              <a:gd name="connsiteX45795" fmla="*/ 271504 w 4610101"/>
              <a:gd name="connsiteY45795" fmla="*/ 1208954 h 6557032"/>
              <a:gd name="connsiteX45796" fmla="*/ 276971 w 4610101"/>
              <a:gd name="connsiteY45796" fmla="*/ 1210776 h 6557032"/>
              <a:gd name="connsiteX45797" fmla="*/ 271504 w 4610101"/>
              <a:gd name="connsiteY45797" fmla="*/ 1207132 h 6557032"/>
              <a:gd name="connsiteX45798" fmla="*/ 271504 w 4610101"/>
              <a:gd name="connsiteY45798" fmla="*/ 1208954 h 6557032"/>
              <a:gd name="connsiteX45799" fmla="*/ 240527 w 4610101"/>
              <a:gd name="connsiteY45799" fmla="*/ 1207132 h 6557032"/>
              <a:gd name="connsiteX45800" fmla="*/ 255105 w 4610101"/>
              <a:gd name="connsiteY45800" fmla="*/ 1212598 h 6557032"/>
              <a:gd name="connsiteX45801" fmla="*/ 247816 w 4610101"/>
              <a:gd name="connsiteY45801" fmla="*/ 1210776 h 6557032"/>
              <a:gd name="connsiteX45802" fmla="*/ 255105 w 4610101"/>
              <a:gd name="connsiteY45802" fmla="*/ 1223531 h 6557032"/>
              <a:gd name="connsiteX45803" fmla="*/ 229594 w 4610101"/>
              <a:gd name="connsiteY45803" fmla="*/ 1208954 h 6557032"/>
              <a:gd name="connsiteX45804" fmla="*/ 229594 w 4610101"/>
              <a:gd name="connsiteY45804" fmla="*/ 1205309 h 6557032"/>
              <a:gd name="connsiteX45805" fmla="*/ 215017 w 4610101"/>
              <a:gd name="connsiteY45805" fmla="*/ 1199843 h 6557032"/>
              <a:gd name="connsiteX45806" fmla="*/ 238705 w 4610101"/>
              <a:gd name="connsiteY45806" fmla="*/ 1205309 h 6557032"/>
              <a:gd name="connsiteX45807" fmla="*/ 225950 w 4610101"/>
              <a:gd name="connsiteY45807" fmla="*/ 1196199 h 6557032"/>
              <a:gd name="connsiteX45808" fmla="*/ 185862 w 4610101"/>
              <a:gd name="connsiteY45808" fmla="*/ 1210776 h 6557032"/>
              <a:gd name="connsiteX45809" fmla="*/ 185862 w 4610101"/>
              <a:gd name="connsiteY45809" fmla="*/ 1205309 h 6557032"/>
              <a:gd name="connsiteX45810" fmla="*/ 176751 w 4610101"/>
              <a:gd name="connsiteY45810" fmla="*/ 1207132 h 6557032"/>
              <a:gd name="connsiteX45811" fmla="*/ 191329 w 4610101"/>
              <a:gd name="connsiteY45811" fmla="*/ 1198021 h 6557032"/>
              <a:gd name="connsiteX45812" fmla="*/ 187684 w 4610101"/>
              <a:gd name="connsiteY45812" fmla="*/ 1196199 h 6557032"/>
              <a:gd name="connsiteX45813" fmla="*/ 193151 w 4610101"/>
              <a:gd name="connsiteY45813" fmla="*/ 1194376 h 6557032"/>
              <a:gd name="connsiteX45814" fmla="*/ 167640 w 4610101"/>
              <a:gd name="connsiteY45814" fmla="*/ 1190732 h 6557032"/>
              <a:gd name="connsiteX45815" fmla="*/ 184040 w 4610101"/>
              <a:gd name="connsiteY45815" fmla="*/ 1198021 h 6557032"/>
              <a:gd name="connsiteX45816" fmla="*/ 165818 w 4610101"/>
              <a:gd name="connsiteY45816" fmla="*/ 1199843 h 6557032"/>
              <a:gd name="connsiteX45817" fmla="*/ 174929 w 4610101"/>
              <a:gd name="connsiteY45817" fmla="*/ 1198021 h 6557032"/>
              <a:gd name="connsiteX45818" fmla="*/ 170857 w 4610101"/>
              <a:gd name="connsiteY45818" fmla="*/ 1197378 h 6557032"/>
              <a:gd name="connsiteX45819" fmla="*/ 176751 w 4610101"/>
              <a:gd name="connsiteY45819" fmla="*/ 1196199 h 6557032"/>
              <a:gd name="connsiteX45820" fmla="*/ 164710 w 4610101"/>
              <a:gd name="connsiteY45820" fmla="*/ 1189318 h 6557032"/>
              <a:gd name="connsiteX45821" fmla="*/ 176751 w 4610101"/>
              <a:gd name="connsiteY45821" fmla="*/ 1188910 h 6557032"/>
              <a:gd name="connsiteX45822" fmla="*/ 94753 w 4610101"/>
              <a:gd name="connsiteY45822" fmla="*/ 1168866 h 6557032"/>
              <a:gd name="connsiteX45823" fmla="*/ 105686 w 4610101"/>
              <a:gd name="connsiteY45823" fmla="*/ 1167044 h 6557032"/>
              <a:gd name="connsiteX45824" fmla="*/ 96576 w 4610101"/>
              <a:gd name="connsiteY45824" fmla="*/ 1159755 h 6557032"/>
              <a:gd name="connsiteX45825" fmla="*/ 107509 w 4610101"/>
              <a:gd name="connsiteY45825" fmla="*/ 1161577 h 6557032"/>
              <a:gd name="connsiteX45826" fmla="*/ 99627 w 4610101"/>
              <a:gd name="connsiteY45826" fmla="*/ 1156158 h 6557032"/>
              <a:gd name="connsiteX45827" fmla="*/ 96576 w 4610101"/>
              <a:gd name="connsiteY45827" fmla="*/ 1156158 h 6557032"/>
              <a:gd name="connsiteX45828" fmla="*/ 94753 w 4610101"/>
              <a:gd name="connsiteY45828" fmla="*/ 1156158 h 6557032"/>
              <a:gd name="connsiteX45829" fmla="*/ 93304 w 4610101"/>
              <a:gd name="connsiteY45829" fmla="*/ 1151811 h 6557032"/>
              <a:gd name="connsiteX45830" fmla="*/ 78354 w 4610101"/>
              <a:gd name="connsiteY45830" fmla="*/ 1141533 h 6557032"/>
              <a:gd name="connsiteX45831" fmla="*/ 81998 w 4610101"/>
              <a:gd name="connsiteY45831" fmla="*/ 1145178 h 6557032"/>
              <a:gd name="connsiteX45832" fmla="*/ 76532 w 4610101"/>
              <a:gd name="connsiteY45832" fmla="*/ 1141533 h 6557032"/>
              <a:gd name="connsiteX45833" fmla="*/ 56488 w 4610101"/>
              <a:gd name="connsiteY45833" fmla="*/ 1114201 h 6557032"/>
              <a:gd name="connsiteX45834" fmla="*/ 65599 w 4610101"/>
              <a:gd name="connsiteY45834" fmla="*/ 1125134 h 6557032"/>
              <a:gd name="connsiteX45835" fmla="*/ 60132 w 4610101"/>
              <a:gd name="connsiteY45835" fmla="*/ 1114201 h 6557032"/>
              <a:gd name="connsiteX45836" fmla="*/ 131197 w 4610101"/>
              <a:gd name="connsiteY45836" fmla="*/ 1165222 h 6557032"/>
              <a:gd name="connsiteX45837" fmla="*/ 120264 w 4610101"/>
              <a:gd name="connsiteY45837" fmla="*/ 1157933 h 6557032"/>
              <a:gd name="connsiteX45838" fmla="*/ 129375 w 4610101"/>
              <a:gd name="connsiteY45838" fmla="*/ 1159755 h 6557032"/>
              <a:gd name="connsiteX45839" fmla="*/ 83820 w 4610101"/>
              <a:gd name="connsiteY45839" fmla="*/ 1117845 h 6557032"/>
              <a:gd name="connsiteX45840" fmla="*/ 91109 w 4610101"/>
              <a:gd name="connsiteY45840" fmla="*/ 1121489 h 6557032"/>
              <a:gd name="connsiteX45841" fmla="*/ 89287 w 4610101"/>
              <a:gd name="connsiteY45841" fmla="*/ 1116023 h 6557032"/>
              <a:gd name="connsiteX45842" fmla="*/ 99992 w 4610101"/>
              <a:gd name="connsiteY45842" fmla="*/ 1129917 h 6557032"/>
              <a:gd name="connsiteX45843" fmla="*/ 100794 w 4610101"/>
              <a:gd name="connsiteY45843" fmla="*/ 1130743 h 6557032"/>
              <a:gd name="connsiteX45844" fmla="*/ 100220 w 4610101"/>
              <a:gd name="connsiteY45844" fmla="*/ 1130600 h 6557032"/>
              <a:gd name="connsiteX45845" fmla="*/ 101656 w 4610101"/>
              <a:gd name="connsiteY45845" fmla="*/ 1131632 h 6557032"/>
              <a:gd name="connsiteX45846" fmla="*/ 114797 w 4610101"/>
              <a:gd name="connsiteY45846" fmla="*/ 1145178 h 6557032"/>
              <a:gd name="connsiteX45847" fmla="*/ 107508 w 4610101"/>
              <a:gd name="connsiteY45847" fmla="*/ 1135839 h 6557032"/>
              <a:gd name="connsiteX45848" fmla="*/ 101656 w 4610101"/>
              <a:gd name="connsiteY45848" fmla="*/ 1131632 h 6557032"/>
              <a:gd name="connsiteX45849" fmla="*/ 100794 w 4610101"/>
              <a:gd name="connsiteY45849" fmla="*/ 1130743 h 6557032"/>
              <a:gd name="connsiteX45850" fmla="*/ 107509 w 4610101"/>
              <a:gd name="connsiteY45850" fmla="*/ 1132422 h 6557032"/>
              <a:gd name="connsiteX45851" fmla="*/ 102042 w 4610101"/>
              <a:gd name="connsiteY45851" fmla="*/ 1121489 h 6557032"/>
              <a:gd name="connsiteX45852" fmla="*/ 138486 w 4610101"/>
              <a:gd name="connsiteY45852" fmla="*/ 1163399 h 6557032"/>
              <a:gd name="connsiteX45853" fmla="*/ 138486 w 4610101"/>
              <a:gd name="connsiteY45853" fmla="*/ 1159755 h 6557032"/>
              <a:gd name="connsiteX45854" fmla="*/ 149419 w 4610101"/>
              <a:gd name="connsiteY45854" fmla="*/ 1167044 h 6557032"/>
              <a:gd name="connsiteX45855" fmla="*/ 105686 w 4610101"/>
              <a:gd name="connsiteY45855" fmla="*/ 1110556 h 6557032"/>
              <a:gd name="connsiteX45856" fmla="*/ 129375 w 4610101"/>
              <a:gd name="connsiteY45856" fmla="*/ 1139711 h 6557032"/>
              <a:gd name="connsiteX45857" fmla="*/ 129375 w 4610101"/>
              <a:gd name="connsiteY45857" fmla="*/ 1137889 h 6557032"/>
              <a:gd name="connsiteX45858" fmla="*/ 136663 w 4610101"/>
              <a:gd name="connsiteY45858" fmla="*/ 1141533 h 6557032"/>
              <a:gd name="connsiteX45859" fmla="*/ 133019 w 4610101"/>
              <a:gd name="connsiteY45859" fmla="*/ 1137889 h 6557032"/>
              <a:gd name="connsiteX45860" fmla="*/ 163996 w 4610101"/>
              <a:gd name="connsiteY45860" fmla="*/ 1165222 h 6557032"/>
              <a:gd name="connsiteX45861" fmla="*/ 153063 w 4610101"/>
              <a:gd name="connsiteY45861" fmla="*/ 1141533 h 6557032"/>
              <a:gd name="connsiteX45862" fmla="*/ 204084 w 4610101"/>
              <a:gd name="connsiteY45862" fmla="*/ 1183443 h 6557032"/>
              <a:gd name="connsiteX45863" fmla="*/ 176751 w 4610101"/>
              <a:gd name="connsiteY45863" fmla="*/ 1163399 h 6557032"/>
              <a:gd name="connsiteX45864" fmla="*/ 182218 w 4610101"/>
              <a:gd name="connsiteY45864" fmla="*/ 1163399 h 6557032"/>
              <a:gd name="connsiteX45865" fmla="*/ 146768 w 4610101"/>
              <a:gd name="connsiteY45865" fmla="*/ 1134410 h 6557032"/>
              <a:gd name="connsiteX45866" fmla="*/ 184040 w 4610101"/>
              <a:gd name="connsiteY45866" fmla="*/ 1159755 h 6557032"/>
              <a:gd name="connsiteX45867" fmla="*/ 187684 w 4610101"/>
              <a:gd name="connsiteY45867" fmla="*/ 1163399 h 6557032"/>
              <a:gd name="connsiteX45868" fmla="*/ 193151 w 4610101"/>
              <a:gd name="connsiteY45868" fmla="*/ 1163399 h 6557032"/>
              <a:gd name="connsiteX45869" fmla="*/ 183259 w 4610101"/>
              <a:gd name="connsiteY45869" fmla="*/ 1158453 h 6557032"/>
              <a:gd name="connsiteX45870" fmla="*/ 178573 w 4610101"/>
              <a:gd name="connsiteY45870" fmla="*/ 1150644 h 6557032"/>
              <a:gd name="connsiteX45871" fmla="*/ 200439 w 4610101"/>
              <a:gd name="connsiteY45871" fmla="*/ 1163399 h 6557032"/>
              <a:gd name="connsiteX45872" fmla="*/ 187684 w 4610101"/>
              <a:gd name="connsiteY45872" fmla="*/ 1154288 h 6557032"/>
              <a:gd name="connsiteX45873" fmla="*/ 191329 w 4610101"/>
              <a:gd name="connsiteY45873" fmla="*/ 1152466 h 6557032"/>
              <a:gd name="connsiteX45874" fmla="*/ 169462 w 4610101"/>
              <a:gd name="connsiteY45874" fmla="*/ 1141533 h 6557032"/>
              <a:gd name="connsiteX45875" fmla="*/ 178573 w 4610101"/>
              <a:gd name="connsiteY45875" fmla="*/ 1141533 h 6557032"/>
              <a:gd name="connsiteX45876" fmla="*/ 151241 w 4610101"/>
              <a:gd name="connsiteY45876" fmla="*/ 1117845 h 6557032"/>
              <a:gd name="connsiteX45877" fmla="*/ 200439 w 4610101"/>
              <a:gd name="connsiteY45877" fmla="*/ 1143355 h 6557032"/>
              <a:gd name="connsiteX45878" fmla="*/ 180396 w 4610101"/>
              <a:gd name="connsiteY45878" fmla="*/ 1125134 h 6557032"/>
              <a:gd name="connsiteX45879" fmla="*/ 189506 w 4610101"/>
              <a:gd name="connsiteY45879" fmla="*/ 1126956 h 6557032"/>
              <a:gd name="connsiteX45880" fmla="*/ 166729 w 4610101"/>
              <a:gd name="connsiteY45880" fmla="*/ 1114884 h 6557032"/>
              <a:gd name="connsiteX45881" fmla="*/ 160113 w 4610101"/>
              <a:gd name="connsiteY45881" fmla="*/ 1110981 h 6557032"/>
              <a:gd name="connsiteX45882" fmla="*/ 173107 w 4610101"/>
              <a:gd name="connsiteY45882" fmla="*/ 1116023 h 6557032"/>
              <a:gd name="connsiteX45883" fmla="*/ 173107 w 4610101"/>
              <a:gd name="connsiteY45883" fmla="*/ 1108734 h 6557032"/>
              <a:gd name="connsiteX45884" fmla="*/ 154885 w 4610101"/>
              <a:gd name="connsiteY45884" fmla="*/ 1095979 h 6557032"/>
              <a:gd name="connsiteX45885" fmla="*/ 158529 w 4610101"/>
              <a:gd name="connsiteY45885" fmla="*/ 1097801 h 6557032"/>
              <a:gd name="connsiteX45886" fmla="*/ 149419 w 4610101"/>
              <a:gd name="connsiteY45886" fmla="*/ 1092335 h 6557032"/>
              <a:gd name="connsiteX45887" fmla="*/ 151241 w 4610101"/>
              <a:gd name="connsiteY45887" fmla="*/ 1094157 h 6557032"/>
              <a:gd name="connsiteX45888" fmla="*/ 87465 w 4610101"/>
              <a:gd name="connsiteY45888" fmla="*/ 1032203 h 6557032"/>
              <a:gd name="connsiteX45889" fmla="*/ 163996 w 4610101"/>
              <a:gd name="connsiteY45889" fmla="*/ 1101445 h 6557032"/>
              <a:gd name="connsiteX45890" fmla="*/ 160352 w 4610101"/>
              <a:gd name="connsiteY45890" fmla="*/ 1095979 h 6557032"/>
              <a:gd name="connsiteX45891" fmla="*/ 187684 w 4610101"/>
              <a:gd name="connsiteY45891" fmla="*/ 1110556 h 6557032"/>
              <a:gd name="connsiteX45892" fmla="*/ 156707 w 4610101"/>
              <a:gd name="connsiteY45892" fmla="*/ 1090512 h 6557032"/>
              <a:gd name="connsiteX45893" fmla="*/ 162174 w 4610101"/>
              <a:gd name="connsiteY45893" fmla="*/ 1095979 h 6557032"/>
              <a:gd name="connsiteX45894" fmla="*/ 109331 w 4610101"/>
              <a:gd name="connsiteY45894" fmla="*/ 1052247 h 6557032"/>
              <a:gd name="connsiteX45895" fmla="*/ 140308 w 4610101"/>
              <a:gd name="connsiteY45895" fmla="*/ 1075935 h 6557032"/>
              <a:gd name="connsiteX45896" fmla="*/ 133019 w 4610101"/>
              <a:gd name="connsiteY45896" fmla="*/ 1066824 h 6557032"/>
              <a:gd name="connsiteX45897" fmla="*/ 143952 w 4610101"/>
              <a:gd name="connsiteY45897" fmla="*/ 1074113 h 6557032"/>
              <a:gd name="connsiteX45898" fmla="*/ 136663 w 4610101"/>
              <a:gd name="connsiteY45898" fmla="*/ 1066824 h 6557032"/>
              <a:gd name="connsiteX45899" fmla="*/ 142130 w 4610101"/>
              <a:gd name="connsiteY45899" fmla="*/ 1066824 h 6557032"/>
              <a:gd name="connsiteX45900" fmla="*/ 127552 w 4610101"/>
              <a:gd name="connsiteY45900" fmla="*/ 1054069 h 6557032"/>
              <a:gd name="connsiteX45901" fmla="*/ 129375 w 4610101"/>
              <a:gd name="connsiteY45901" fmla="*/ 1052247 h 6557032"/>
              <a:gd name="connsiteX45902" fmla="*/ 94756 w 4610101"/>
              <a:gd name="connsiteY45902" fmla="*/ 1028561 h 6557032"/>
              <a:gd name="connsiteX45903" fmla="*/ 87465 w 4610101"/>
              <a:gd name="connsiteY45903" fmla="*/ 1021270 h 6557032"/>
              <a:gd name="connsiteX45904" fmla="*/ 103864 w 4610101"/>
              <a:gd name="connsiteY45904" fmla="*/ 1030381 h 6557032"/>
              <a:gd name="connsiteX45905" fmla="*/ 89287 w 4610101"/>
              <a:gd name="connsiteY45905" fmla="*/ 1015803 h 6557032"/>
              <a:gd name="connsiteX45906" fmla="*/ 91109 w 4610101"/>
              <a:gd name="connsiteY45906" fmla="*/ 1013981 h 6557032"/>
              <a:gd name="connsiteX45907" fmla="*/ 105231 w 4610101"/>
              <a:gd name="connsiteY45907" fmla="*/ 1027192 h 6557032"/>
              <a:gd name="connsiteX45908" fmla="*/ 119520 w 4610101"/>
              <a:gd name="connsiteY45908" fmla="*/ 1031440 h 6557032"/>
              <a:gd name="connsiteX45909" fmla="*/ 120264 w 4610101"/>
              <a:gd name="connsiteY45909" fmla="*/ 1032203 h 6557032"/>
              <a:gd name="connsiteX45910" fmla="*/ 120135 w 4610101"/>
              <a:gd name="connsiteY45910" fmla="*/ 1031623 h 6557032"/>
              <a:gd name="connsiteX45911" fmla="*/ 120875 w 4610101"/>
              <a:gd name="connsiteY45911" fmla="*/ 1031842 h 6557032"/>
              <a:gd name="connsiteX45912" fmla="*/ 125730 w 4610101"/>
              <a:gd name="connsiteY45912" fmla="*/ 1037669 h 6557032"/>
              <a:gd name="connsiteX45913" fmla="*/ 142130 w 4610101"/>
              <a:gd name="connsiteY45913" fmla="*/ 1039492 h 6557032"/>
              <a:gd name="connsiteX45914" fmla="*/ 136663 w 4610101"/>
              <a:gd name="connsiteY45914" fmla="*/ 1034025 h 6557032"/>
              <a:gd name="connsiteX45915" fmla="*/ 138486 w 4610101"/>
              <a:gd name="connsiteY45915" fmla="*/ 1037669 h 6557032"/>
              <a:gd name="connsiteX45916" fmla="*/ 112064 w 4610101"/>
              <a:gd name="connsiteY45916" fmla="*/ 1016486 h 6557032"/>
              <a:gd name="connsiteX45917" fmla="*/ 95368 w 4610101"/>
              <a:gd name="connsiteY45917" fmla="*/ 1002238 h 6557032"/>
              <a:gd name="connsiteX45918" fmla="*/ 78581 w 4610101"/>
              <a:gd name="connsiteY45918" fmla="*/ 981865 h 6557032"/>
              <a:gd name="connsiteX45919" fmla="*/ 56488 w 4610101"/>
              <a:gd name="connsiteY45919" fmla="*/ 952026 h 6557032"/>
              <a:gd name="connsiteX45920" fmla="*/ 63776 w 4610101"/>
              <a:gd name="connsiteY45920" fmla="*/ 957494 h 6557032"/>
              <a:gd name="connsiteX45921" fmla="*/ 29155 w 4610101"/>
              <a:gd name="connsiteY45921" fmla="*/ 908295 h 6557032"/>
              <a:gd name="connsiteX45922" fmla="*/ 96576 w 4610101"/>
              <a:gd name="connsiteY45922" fmla="*/ 981182 h 6557032"/>
              <a:gd name="connsiteX45923" fmla="*/ 78354 w 4610101"/>
              <a:gd name="connsiteY45923" fmla="*/ 953848 h 6557032"/>
              <a:gd name="connsiteX45924" fmla="*/ 87465 w 4610101"/>
              <a:gd name="connsiteY45924" fmla="*/ 961138 h 6557032"/>
              <a:gd name="connsiteX45925" fmla="*/ 78354 w 4610101"/>
              <a:gd name="connsiteY45925" fmla="*/ 942916 h 6557032"/>
              <a:gd name="connsiteX45926" fmla="*/ 110698 w 4610101"/>
              <a:gd name="connsiteY45926" fmla="*/ 992798 h 6557032"/>
              <a:gd name="connsiteX45927" fmla="*/ 149131 w 4610101"/>
              <a:gd name="connsiteY45927" fmla="*/ 1033606 h 6557032"/>
              <a:gd name="connsiteX45928" fmla="*/ 151696 w 4610101"/>
              <a:gd name="connsiteY45928" fmla="*/ 1037897 h 6557032"/>
              <a:gd name="connsiteX45929" fmla="*/ 173107 w 4610101"/>
              <a:gd name="connsiteY45929" fmla="*/ 1055891 h 6557032"/>
              <a:gd name="connsiteX45930" fmla="*/ 138486 w 4610101"/>
              <a:gd name="connsiteY45930" fmla="*/ 1015803 h 6557032"/>
              <a:gd name="connsiteX45931" fmla="*/ 143772 w 4610101"/>
              <a:gd name="connsiteY45931" fmla="*/ 1024644 h 6557032"/>
              <a:gd name="connsiteX45932" fmla="*/ 133019 w 4610101"/>
              <a:gd name="connsiteY45932" fmla="*/ 1008515 h 6557032"/>
              <a:gd name="connsiteX45933" fmla="*/ 136663 w 4610101"/>
              <a:gd name="connsiteY45933" fmla="*/ 1010337 h 6557032"/>
              <a:gd name="connsiteX45934" fmla="*/ 131197 w 4610101"/>
              <a:gd name="connsiteY45934" fmla="*/ 1003047 h 6557032"/>
              <a:gd name="connsiteX45935" fmla="*/ 154202 w 4610101"/>
              <a:gd name="connsiteY45935" fmla="*/ 1029241 h 6557032"/>
              <a:gd name="connsiteX45936" fmla="*/ 175081 w 4610101"/>
              <a:gd name="connsiteY45936" fmla="*/ 1050512 h 6557032"/>
              <a:gd name="connsiteX45937" fmla="*/ 174929 w 4610101"/>
              <a:gd name="connsiteY45937" fmla="*/ 1050425 h 6557032"/>
              <a:gd name="connsiteX45938" fmla="*/ 178573 w 4610101"/>
              <a:gd name="connsiteY45938" fmla="*/ 1054069 h 6557032"/>
              <a:gd name="connsiteX45939" fmla="*/ 175081 w 4610101"/>
              <a:gd name="connsiteY45939" fmla="*/ 1050512 h 6557032"/>
              <a:gd name="connsiteX45940" fmla="*/ 182901 w 4610101"/>
              <a:gd name="connsiteY45940" fmla="*/ 1054980 h 6557032"/>
              <a:gd name="connsiteX45941" fmla="*/ 189506 w 4610101"/>
              <a:gd name="connsiteY45941" fmla="*/ 1059535 h 6557032"/>
              <a:gd name="connsiteX45942" fmla="*/ 182218 w 4610101"/>
              <a:gd name="connsiteY45942" fmla="*/ 1048602 h 6557032"/>
              <a:gd name="connsiteX45943" fmla="*/ 187684 w 4610101"/>
              <a:gd name="connsiteY45943" fmla="*/ 1048602 h 6557032"/>
              <a:gd name="connsiteX45944" fmla="*/ 177777 w 4610101"/>
              <a:gd name="connsiteY45944" fmla="*/ 1040346 h 6557032"/>
              <a:gd name="connsiteX45945" fmla="*/ 170373 w 4610101"/>
              <a:gd name="connsiteY45945" fmla="*/ 1032658 h 6557032"/>
              <a:gd name="connsiteX45946" fmla="*/ 158534 w 4610101"/>
              <a:gd name="connsiteY45946" fmla="*/ 1023096 h 6557032"/>
              <a:gd name="connsiteX45947" fmla="*/ 149418 w 4610101"/>
              <a:gd name="connsiteY45947" fmla="*/ 1013981 h 6557032"/>
              <a:gd name="connsiteX45948" fmla="*/ 136663 w 4610101"/>
              <a:gd name="connsiteY45948" fmla="*/ 1001226 h 6557032"/>
              <a:gd name="connsiteX45949" fmla="*/ 169462 w 4610101"/>
              <a:gd name="connsiteY45949" fmla="*/ 1024914 h 6557032"/>
              <a:gd name="connsiteX45950" fmla="*/ 163996 w 4610101"/>
              <a:gd name="connsiteY45950" fmla="*/ 1012159 h 6557032"/>
              <a:gd name="connsiteX45951" fmla="*/ 179257 w 4610101"/>
              <a:gd name="connsiteY45951" fmla="*/ 1028558 h 6557032"/>
              <a:gd name="connsiteX45952" fmla="*/ 190242 w 4610101"/>
              <a:gd name="connsiteY45952" fmla="*/ 1041524 h 6557032"/>
              <a:gd name="connsiteX45953" fmla="*/ 189506 w 4610101"/>
              <a:gd name="connsiteY45953" fmla="*/ 1041314 h 6557032"/>
              <a:gd name="connsiteX45954" fmla="*/ 194973 w 4610101"/>
              <a:gd name="connsiteY45954" fmla="*/ 1046780 h 6557032"/>
              <a:gd name="connsiteX45955" fmla="*/ 194290 w 4610101"/>
              <a:gd name="connsiteY45955" fmla="*/ 1042680 h 6557032"/>
              <a:gd name="connsiteX45956" fmla="*/ 191007 w 4610101"/>
              <a:gd name="connsiteY45956" fmla="*/ 1041742 h 6557032"/>
              <a:gd name="connsiteX45957" fmla="*/ 171285 w 4610101"/>
              <a:gd name="connsiteY45957" fmla="*/ 1012159 h 6557032"/>
              <a:gd name="connsiteX45958" fmla="*/ 193151 w 4610101"/>
              <a:gd name="connsiteY45958" fmla="*/ 1035847 h 6557032"/>
              <a:gd name="connsiteX45959" fmla="*/ 185866 w 4610101"/>
              <a:gd name="connsiteY45959" fmla="*/ 1026740 h 6557032"/>
              <a:gd name="connsiteX45960" fmla="*/ 196795 w 4610101"/>
              <a:gd name="connsiteY45960" fmla="*/ 1037669 h 6557032"/>
              <a:gd name="connsiteX45961" fmla="*/ 185865 w 4610101"/>
              <a:gd name="connsiteY45961" fmla="*/ 1026739 h 6557032"/>
              <a:gd name="connsiteX45962" fmla="*/ 178573 w 4610101"/>
              <a:gd name="connsiteY45962" fmla="*/ 1019448 h 6557032"/>
              <a:gd name="connsiteX45963" fmla="*/ 185862 w 4610101"/>
              <a:gd name="connsiteY45963" fmla="*/ 1019448 h 6557032"/>
              <a:gd name="connsiteX45964" fmla="*/ 158529 w 4610101"/>
              <a:gd name="connsiteY45964" fmla="*/ 999403 h 6557032"/>
              <a:gd name="connsiteX45965" fmla="*/ 160352 w 4610101"/>
              <a:gd name="connsiteY45965" fmla="*/ 1013981 h 6557032"/>
              <a:gd name="connsiteX45966" fmla="*/ 147596 w 4610101"/>
              <a:gd name="connsiteY45966" fmla="*/ 1004870 h 6557032"/>
              <a:gd name="connsiteX45967" fmla="*/ 153063 w 4610101"/>
              <a:gd name="connsiteY45967" fmla="*/ 1006692 h 6557032"/>
              <a:gd name="connsiteX45968" fmla="*/ 156707 w 4610101"/>
              <a:gd name="connsiteY45968" fmla="*/ 1001226 h 6557032"/>
              <a:gd name="connsiteX45969" fmla="*/ 142130 w 4610101"/>
              <a:gd name="connsiteY45969" fmla="*/ 997582 h 6557032"/>
              <a:gd name="connsiteX45970" fmla="*/ 153063 w 4610101"/>
              <a:gd name="connsiteY45970" fmla="*/ 995759 h 6557032"/>
              <a:gd name="connsiteX45971" fmla="*/ 106930 w 4610101"/>
              <a:gd name="connsiteY45971" fmla="*/ 962352 h 6557032"/>
              <a:gd name="connsiteX45972" fmla="*/ 93387 w 4610101"/>
              <a:gd name="connsiteY45972" fmla="*/ 948155 h 6557032"/>
              <a:gd name="connsiteX45973" fmla="*/ 81998 w 4610101"/>
              <a:gd name="connsiteY45973" fmla="*/ 931983 h 6557032"/>
              <a:gd name="connsiteX45974" fmla="*/ 122086 w 4610101"/>
              <a:gd name="connsiteY45974" fmla="*/ 972071 h 6557032"/>
              <a:gd name="connsiteX45975" fmla="*/ 120264 w 4610101"/>
              <a:gd name="connsiteY45975" fmla="*/ 966604 h 6557032"/>
              <a:gd name="connsiteX45976" fmla="*/ 147596 w 4610101"/>
              <a:gd name="connsiteY45976" fmla="*/ 986649 h 6557032"/>
              <a:gd name="connsiteX45977" fmla="*/ 114797 w 4610101"/>
              <a:gd name="connsiteY45977" fmla="*/ 946560 h 6557032"/>
              <a:gd name="connsiteX45978" fmla="*/ 161434 w 4610101"/>
              <a:gd name="connsiteY45978" fmla="*/ 993197 h 6557032"/>
              <a:gd name="connsiteX45979" fmla="*/ 181771 w 4610101"/>
              <a:gd name="connsiteY45979" fmla="*/ 1001053 h 6557032"/>
              <a:gd name="connsiteX45980" fmla="*/ 189506 w 4610101"/>
              <a:gd name="connsiteY45980" fmla="*/ 1010337 h 6557032"/>
              <a:gd name="connsiteX45981" fmla="*/ 186364 w 4610101"/>
              <a:gd name="connsiteY45981" fmla="*/ 1002874 h 6557032"/>
              <a:gd name="connsiteX45982" fmla="*/ 188140 w 4610101"/>
              <a:gd name="connsiteY45982" fmla="*/ 1005326 h 6557032"/>
              <a:gd name="connsiteX45983" fmla="*/ 200439 w 4610101"/>
              <a:gd name="connsiteY45983" fmla="*/ 1010337 h 6557032"/>
              <a:gd name="connsiteX45984" fmla="*/ 178573 w 4610101"/>
              <a:gd name="connsiteY45984" fmla="*/ 992115 h 6557032"/>
              <a:gd name="connsiteX45985" fmla="*/ 182050 w 4610101"/>
              <a:gd name="connsiteY45985" fmla="*/ 996916 h 6557032"/>
              <a:gd name="connsiteX45986" fmla="*/ 176751 w 4610101"/>
              <a:gd name="connsiteY45986" fmla="*/ 990293 h 6557032"/>
              <a:gd name="connsiteX45987" fmla="*/ 176751 w 4610101"/>
              <a:gd name="connsiteY45987" fmla="*/ 995759 h 6557032"/>
              <a:gd name="connsiteX45988" fmla="*/ 162174 w 4610101"/>
              <a:gd name="connsiteY45988" fmla="*/ 988471 h 6557032"/>
              <a:gd name="connsiteX45989" fmla="*/ 173107 w 4610101"/>
              <a:gd name="connsiteY45989" fmla="*/ 990293 h 6557032"/>
              <a:gd name="connsiteX45990" fmla="*/ 156707 w 4610101"/>
              <a:gd name="connsiteY45990" fmla="*/ 981182 h 6557032"/>
              <a:gd name="connsiteX45991" fmla="*/ 169462 w 4610101"/>
              <a:gd name="connsiteY45991" fmla="*/ 983004 h 6557032"/>
              <a:gd name="connsiteX45992" fmla="*/ 165589 w 4610101"/>
              <a:gd name="connsiteY45992" fmla="*/ 980237 h 6557032"/>
              <a:gd name="connsiteX45993" fmla="*/ 171285 w 4610101"/>
              <a:gd name="connsiteY45993" fmla="*/ 983004 h 6557032"/>
              <a:gd name="connsiteX45994" fmla="*/ 160352 w 4610101"/>
              <a:gd name="connsiteY45994" fmla="*/ 972071 h 6557032"/>
              <a:gd name="connsiteX45995" fmla="*/ 193151 w 4610101"/>
              <a:gd name="connsiteY45995" fmla="*/ 990293 h 6557032"/>
              <a:gd name="connsiteX45996" fmla="*/ 166957 w 4610101"/>
              <a:gd name="connsiteY45996" fmla="*/ 973438 h 6557032"/>
              <a:gd name="connsiteX45997" fmla="*/ 146696 w 4610101"/>
              <a:gd name="connsiteY45997" fmla="*/ 957451 h 6557032"/>
              <a:gd name="connsiteX45998" fmla="*/ 154885 w 4610101"/>
              <a:gd name="connsiteY45998" fmla="*/ 962960 h 6557032"/>
              <a:gd name="connsiteX45999" fmla="*/ 142130 w 4610101"/>
              <a:gd name="connsiteY45999" fmla="*/ 953848 h 6557032"/>
              <a:gd name="connsiteX46000" fmla="*/ 146696 w 4610101"/>
              <a:gd name="connsiteY46000" fmla="*/ 957451 h 6557032"/>
              <a:gd name="connsiteX46001" fmla="*/ 142358 w 4610101"/>
              <a:gd name="connsiteY46001" fmla="*/ 954532 h 6557032"/>
              <a:gd name="connsiteX46002" fmla="*/ 131197 w 4610101"/>
              <a:gd name="connsiteY46002" fmla="*/ 944738 h 6557032"/>
              <a:gd name="connsiteX46003" fmla="*/ 142130 w 4610101"/>
              <a:gd name="connsiteY46003" fmla="*/ 948383 h 6557032"/>
              <a:gd name="connsiteX46004" fmla="*/ 131197 w 4610101"/>
              <a:gd name="connsiteY46004" fmla="*/ 937450 h 6557032"/>
              <a:gd name="connsiteX46005" fmla="*/ 143952 w 4610101"/>
              <a:gd name="connsiteY46005" fmla="*/ 939272 h 6557032"/>
              <a:gd name="connsiteX46006" fmla="*/ 145774 w 4610101"/>
              <a:gd name="connsiteY46006" fmla="*/ 942916 h 6557032"/>
              <a:gd name="connsiteX46007" fmla="*/ 145774 w 4610101"/>
              <a:gd name="connsiteY46007" fmla="*/ 941094 h 6557032"/>
              <a:gd name="connsiteX46008" fmla="*/ 140308 w 4610101"/>
              <a:gd name="connsiteY46008" fmla="*/ 931983 h 6557032"/>
              <a:gd name="connsiteX46009" fmla="*/ 167640 w 4610101"/>
              <a:gd name="connsiteY46009" fmla="*/ 957494 h 6557032"/>
              <a:gd name="connsiteX46010" fmla="*/ 182218 w 4610101"/>
              <a:gd name="connsiteY46010" fmla="*/ 968427 h 6557032"/>
              <a:gd name="connsiteX46011" fmla="*/ 167640 w 4610101"/>
              <a:gd name="connsiteY46011" fmla="*/ 957494 h 6557032"/>
              <a:gd name="connsiteX46012" fmla="*/ 154885 w 4610101"/>
              <a:gd name="connsiteY46012" fmla="*/ 942916 h 6557032"/>
              <a:gd name="connsiteX46013" fmla="*/ 160352 w 4610101"/>
              <a:gd name="connsiteY46013" fmla="*/ 942916 h 6557032"/>
              <a:gd name="connsiteX46014" fmla="*/ 149419 w 4610101"/>
              <a:gd name="connsiteY46014" fmla="*/ 930160 h 6557032"/>
              <a:gd name="connsiteX46015" fmla="*/ 158529 w 4610101"/>
              <a:gd name="connsiteY46015" fmla="*/ 935628 h 6557032"/>
              <a:gd name="connsiteX46016" fmla="*/ 158529 w 4610101"/>
              <a:gd name="connsiteY46016" fmla="*/ 928339 h 6557032"/>
              <a:gd name="connsiteX46017" fmla="*/ 162174 w 4610101"/>
              <a:gd name="connsiteY46017" fmla="*/ 933804 h 6557032"/>
              <a:gd name="connsiteX46018" fmla="*/ 160352 w 4610101"/>
              <a:gd name="connsiteY46018" fmla="*/ 926516 h 6557032"/>
              <a:gd name="connsiteX46019" fmla="*/ 127552 w 4610101"/>
              <a:gd name="connsiteY46019" fmla="*/ 910117 h 6557032"/>
              <a:gd name="connsiteX46020" fmla="*/ 131197 w 4610101"/>
              <a:gd name="connsiteY46020" fmla="*/ 915583 h 6557032"/>
              <a:gd name="connsiteX46021" fmla="*/ 96576 w 4610101"/>
              <a:gd name="connsiteY46021" fmla="*/ 893717 h 6557032"/>
              <a:gd name="connsiteX46022" fmla="*/ 105686 w 4610101"/>
              <a:gd name="connsiteY46022" fmla="*/ 897361 h 6557032"/>
              <a:gd name="connsiteX46023" fmla="*/ 61954 w 4610101"/>
              <a:gd name="connsiteY46023" fmla="*/ 864562 h 6557032"/>
              <a:gd name="connsiteX46024" fmla="*/ 105686 w 4610101"/>
              <a:gd name="connsiteY46024" fmla="*/ 893717 h 6557032"/>
              <a:gd name="connsiteX46025" fmla="*/ 89287 w 4610101"/>
              <a:gd name="connsiteY46025" fmla="*/ 877317 h 6557032"/>
              <a:gd name="connsiteX46026" fmla="*/ 100220 w 4610101"/>
              <a:gd name="connsiteY46026" fmla="*/ 884606 h 6557032"/>
              <a:gd name="connsiteX46027" fmla="*/ 98398 w 4610101"/>
              <a:gd name="connsiteY46027" fmla="*/ 879139 h 6557032"/>
              <a:gd name="connsiteX46028" fmla="*/ 107053 w 4610101"/>
              <a:gd name="connsiteY46028" fmla="*/ 894628 h 6557032"/>
              <a:gd name="connsiteX46029" fmla="*/ 123826 w 4610101"/>
              <a:gd name="connsiteY46029" fmla="*/ 904602 h 6557032"/>
              <a:gd name="connsiteX46030" fmla="*/ 124136 w 4610101"/>
              <a:gd name="connsiteY46030" fmla="*/ 905333 h 6557032"/>
              <a:gd name="connsiteX46031" fmla="*/ 136663 w 4610101"/>
              <a:gd name="connsiteY46031" fmla="*/ 911939 h 6557032"/>
              <a:gd name="connsiteX46032" fmla="*/ 127552 w 4610101"/>
              <a:gd name="connsiteY46032" fmla="*/ 899183 h 6557032"/>
              <a:gd name="connsiteX46033" fmla="*/ 156707 w 4610101"/>
              <a:gd name="connsiteY46033" fmla="*/ 922872 h 6557032"/>
              <a:gd name="connsiteX46034" fmla="*/ 116619 w 4610101"/>
              <a:gd name="connsiteY46034" fmla="*/ 884606 h 6557032"/>
              <a:gd name="connsiteX46035" fmla="*/ 123908 w 4610101"/>
              <a:gd name="connsiteY46035" fmla="*/ 886428 h 6557032"/>
              <a:gd name="connsiteX46036" fmla="*/ 122086 w 4610101"/>
              <a:gd name="connsiteY46036" fmla="*/ 882784 h 6557032"/>
              <a:gd name="connsiteX46037" fmla="*/ 129375 w 4610101"/>
              <a:gd name="connsiteY46037" fmla="*/ 888250 h 6557032"/>
              <a:gd name="connsiteX46038" fmla="*/ 80176 w 4610101"/>
              <a:gd name="connsiteY46038" fmla="*/ 833585 h 6557032"/>
              <a:gd name="connsiteX46039" fmla="*/ 94753 w 4610101"/>
              <a:gd name="connsiteY46039" fmla="*/ 844518 h 6557032"/>
              <a:gd name="connsiteX46040" fmla="*/ 74709 w 4610101"/>
              <a:gd name="connsiteY46040" fmla="*/ 815363 h 6557032"/>
              <a:gd name="connsiteX46041" fmla="*/ 102799 w 4610101"/>
              <a:gd name="connsiteY46041" fmla="*/ 850845 h 6557032"/>
              <a:gd name="connsiteX46042" fmla="*/ 100220 w 4610101"/>
              <a:gd name="connsiteY46042" fmla="*/ 849985 h 6557032"/>
              <a:gd name="connsiteX46043" fmla="*/ 105913 w 4610101"/>
              <a:gd name="connsiteY46043" fmla="*/ 856818 h 6557032"/>
              <a:gd name="connsiteX46044" fmla="*/ 103864 w 4610101"/>
              <a:gd name="connsiteY46044" fmla="*/ 855451 h 6557032"/>
              <a:gd name="connsiteX46045" fmla="*/ 120264 w 4610101"/>
              <a:gd name="connsiteY46045" fmla="*/ 870028 h 6557032"/>
              <a:gd name="connsiteX46046" fmla="*/ 109331 w 4610101"/>
              <a:gd name="connsiteY46046" fmla="*/ 860918 h 6557032"/>
              <a:gd name="connsiteX46047" fmla="*/ 105913 w 4610101"/>
              <a:gd name="connsiteY46047" fmla="*/ 856818 h 6557032"/>
              <a:gd name="connsiteX46048" fmla="*/ 109331 w 4610101"/>
              <a:gd name="connsiteY46048" fmla="*/ 859095 h 6557032"/>
              <a:gd name="connsiteX46049" fmla="*/ 102799 w 4610101"/>
              <a:gd name="connsiteY46049" fmla="*/ 850845 h 6557032"/>
              <a:gd name="connsiteX46050" fmla="*/ 105686 w 4610101"/>
              <a:gd name="connsiteY46050" fmla="*/ 851807 h 6557032"/>
              <a:gd name="connsiteX46051" fmla="*/ 67421 w 4610101"/>
              <a:gd name="connsiteY46051" fmla="*/ 802608 h 6557032"/>
              <a:gd name="connsiteX46052" fmla="*/ 105686 w 4610101"/>
              <a:gd name="connsiteY46052" fmla="*/ 846340 h 6557032"/>
              <a:gd name="connsiteX46053" fmla="*/ 87465 w 4610101"/>
              <a:gd name="connsiteY46053" fmla="*/ 824474 h 6557032"/>
              <a:gd name="connsiteX46054" fmla="*/ 138486 w 4610101"/>
              <a:gd name="connsiteY46054" fmla="*/ 871851 h 6557032"/>
              <a:gd name="connsiteX46055" fmla="*/ 116619 w 4610101"/>
              <a:gd name="connsiteY46055" fmla="*/ 833585 h 6557032"/>
              <a:gd name="connsiteX46056" fmla="*/ 122086 w 4610101"/>
              <a:gd name="connsiteY46056" fmla="*/ 837229 h 6557032"/>
              <a:gd name="connsiteX46057" fmla="*/ 120264 w 4610101"/>
              <a:gd name="connsiteY46057" fmla="*/ 826296 h 6557032"/>
              <a:gd name="connsiteX46058" fmla="*/ 133702 w 4610101"/>
              <a:gd name="connsiteY46058" fmla="*/ 861601 h 6557032"/>
              <a:gd name="connsiteX46059" fmla="*/ 154570 w 4610101"/>
              <a:gd name="connsiteY46059" fmla="*/ 887427 h 6557032"/>
              <a:gd name="connsiteX46060" fmla="*/ 156707 w 4610101"/>
              <a:gd name="connsiteY46060" fmla="*/ 899183 h 6557032"/>
              <a:gd name="connsiteX46061" fmla="*/ 160352 w 4610101"/>
              <a:gd name="connsiteY46061" fmla="*/ 902827 h 6557032"/>
              <a:gd name="connsiteX46062" fmla="*/ 160352 w 4610101"/>
              <a:gd name="connsiteY46062" fmla="*/ 897361 h 6557032"/>
              <a:gd name="connsiteX46063" fmla="*/ 180396 w 4610101"/>
              <a:gd name="connsiteY46063" fmla="*/ 926516 h 6557032"/>
              <a:gd name="connsiteX46064" fmla="*/ 177297 w 4610101"/>
              <a:gd name="connsiteY46064" fmla="*/ 916532 h 6557032"/>
              <a:gd name="connsiteX46065" fmla="*/ 184040 w 4610101"/>
              <a:gd name="connsiteY46065" fmla="*/ 929933 h 6557032"/>
              <a:gd name="connsiteX46066" fmla="*/ 213195 w 4610101"/>
              <a:gd name="connsiteY46066" fmla="*/ 959316 h 6557032"/>
              <a:gd name="connsiteX46067" fmla="*/ 220483 w 4610101"/>
              <a:gd name="connsiteY46067" fmla="*/ 966604 h 6557032"/>
              <a:gd name="connsiteX46068" fmla="*/ 218562 w 4610101"/>
              <a:gd name="connsiteY46068" fmla="*/ 963797 h 6557032"/>
              <a:gd name="connsiteX46069" fmla="*/ 217523 w 4610101"/>
              <a:gd name="connsiteY46069" fmla="*/ 962277 h 6557032"/>
              <a:gd name="connsiteX46070" fmla="*/ 213195 w 4610101"/>
              <a:gd name="connsiteY46070" fmla="*/ 959316 h 6557032"/>
              <a:gd name="connsiteX46071" fmla="*/ 200439 w 4610101"/>
              <a:gd name="connsiteY46071" fmla="*/ 939272 h 6557032"/>
              <a:gd name="connsiteX46072" fmla="*/ 222306 w 4610101"/>
              <a:gd name="connsiteY46072" fmla="*/ 966604 h 6557032"/>
              <a:gd name="connsiteX46073" fmla="*/ 231416 w 4610101"/>
              <a:gd name="connsiteY46073" fmla="*/ 970249 h 6557032"/>
              <a:gd name="connsiteX46074" fmla="*/ 189506 w 4610101"/>
              <a:gd name="connsiteY46074" fmla="*/ 911939 h 6557032"/>
              <a:gd name="connsiteX46075" fmla="*/ 194973 w 4610101"/>
              <a:gd name="connsiteY46075" fmla="*/ 913761 h 6557032"/>
              <a:gd name="connsiteX46076" fmla="*/ 182218 w 4610101"/>
              <a:gd name="connsiteY46076" fmla="*/ 893717 h 6557032"/>
              <a:gd name="connsiteX46077" fmla="*/ 203886 w 4610101"/>
              <a:gd name="connsiteY46077" fmla="*/ 915385 h 6557032"/>
              <a:gd name="connsiteX46078" fmla="*/ 194972 w 4610101"/>
              <a:gd name="connsiteY46078" fmla="*/ 904689 h 6557032"/>
              <a:gd name="connsiteX46079" fmla="*/ 207727 w 4610101"/>
              <a:gd name="connsiteY46079" fmla="*/ 917444 h 6557032"/>
              <a:gd name="connsiteX46080" fmla="*/ 204526 w 4610101"/>
              <a:gd name="connsiteY46080" fmla="*/ 915843 h 6557032"/>
              <a:gd name="connsiteX46081" fmla="*/ 235061 w 4610101"/>
              <a:gd name="connsiteY46081" fmla="*/ 933804 h 6557032"/>
              <a:gd name="connsiteX46082" fmla="*/ 231416 w 4610101"/>
              <a:gd name="connsiteY46082" fmla="*/ 922872 h 6557032"/>
              <a:gd name="connsiteX46083" fmla="*/ 240527 w 4610101"/>
              <a:gd name="connsiteY46083" fmla="*/ 935628 h 6557032"/>
              <a:gd name="connsiteX46084" fmla="*/ 224128 w 4610101"/>
              <a:gd name="connsiteY46084" fmla="*/ 919227 h 6557032"/>
              <a:gd name="connsiteX46085" fmla="*/ 233239 w 4610101"/>
              <a:gd name="connsiteY46085" fmla="*/ 919227 h 6557032"/>
              <a:gd name="connsiteX46086" fmla="*/ 194973 w 4610101"/>
              <a:gd name="connsiteY46086" fmla="*/ 899183 h 6557032"/>
              <a:gd name="connsiteX46087" fmla="*/ 213195 w 4610101"/>
              <a:gd name="connsiteY46087" fmla="*/ 904651 h 6557032"/>
              <a:gd name="connsiteX46088" fmla="*/ 209550 w 4610101"/>
              <a:gd name="connsiteY46088" fmla="*/ 901005 h 6557032"/>
              <a:gd name="connsiteX46089" fmla="*/ 222306 w 4610101"/>
              <a:gd name="connsiteY46089" fmla="*/ 906473 h 6557032"/>
              <a:gd name="connsiteX46090" fmla="*/ 218661 w 4610101"/>
              <a:gd name="connsiteY46090" fmla="*/ 899183 h 6557032"/>
              <a:gd name="connsiteX46091" fmla="*/ 225950 w 4610101"/>
              <a:gd name="connsiteY46091" fmla="*/ 904651 h 6557032"/>
              <a:gd name="connsiteX46092" fmla="*/ 225950 w 4610101"/>
              <a:gd name="connsiteY46092" fmla="*/ 899183 h 6557032"/>
              <a:gd name="connsiteX46093" fmla="*/ 244172 w 4610101"/>
              <a:gd name="connsiteY46093" fmla="*/ 906473 h 6557032"/>
              <a:gd name="connsiteX46094" fmla="*/ 229594 w 4610101"/>
              <a:gd name="connsiteY46094" fmla="*/ 897361 h 6557032"/>
              <a:gd name="connsiteX46095" fmla="*/ 235061 w 4610101"/>
              <a:gd name="connsiteY46095" fmla="*/ 897361 h 6557032"/>
              <a:gd name="connsiteX46096" fmla="*/ 180396 w 4610101"/>
              <a:gd name="connsiteY46096" fmla="*/ 866384 h 6557032"/>
              <a:gd name="connsiteX46097" fmla="*/ 196795 w 4610101"/>
              <a:gd name="connsiteY46097" fmla="*/ 870028 h 6557032"/>
              <a:gd name="connsiteX46098" fmla="*/ 180605 w 4610101"/>
              <a:gd name="connsiteY46098" fmla="*/ 850146 h 6557032"/>
              <a:gd name="connsiteX46099" fmla="*/ 204084 w 4610101"/>
              <a:gd name="connsiteY46099" fmla="*/ 868206 h 6557032"/>
              <a:gd name="connsiteX46100" fmla="*/ 204084 w 4610101"/>
              <a:gd name="connsiteY46100" fmla="*/ 864562 h 6557032"/>
              <a:gd name="connsiteX46101" fmla="*/ 215017 w 4610101"/>
              <a:gd name="connsiteY46101" fmla="*/ 871851 h 6557032"/>
              <a:gd name="connsiteX46102" fmla="*/ 211372 w 4610101"/>
              <a:gd name="connsiteY46102" fmla="*/ 866384 h 6557032"/>
              <a:gd name="connsiteX46103" fmla="*/ 222306 w 4610101"/>
              <a:gd name="connsiteY46103" fmla="*/ 871851 h 6557032"/>
              <a:gd name="connsiteX46104" fmla="*/ 202717 w 4610101"/>
              <a:gd name="connsiteY46104" fmla="*/ 856135 h 6557032"/>
              <a:gd name="connsiteX46105" fmla="*/ 180497 w 4610101"/>
              <a:gd name="connsiteY46105" fmla="*/ 850013 h 6557032"/>
              <a:gd name="connsiteX46106" fmla="*/ 157846 w 4610101"/>
              <a:gd name="connsiteY46106" fmla="*/ 822197 h 6557032"/>
              <a:gd name="connsiteX46107" fmla="*/ 114797 w 4610101"/>
              <a:gd name="connsiteY46107" fmla="*/ 777098 h 6557032"/>
              <a:gd name="connsiteX46108" fmla="*/ 142130 w 4610101"/>
              <a:gd name="connsiteY46108" fmla="*/ 800786 h 6557032"/>
              <a:gd name="connsiteX46109" fmla="*/ 131197 w 4610101"/>
              <a:gd name="connsiteY46109" fmla="*/ 788031 h 6557032"/>
              <a:gd name="connsiteX46110" fmla="*/ 194973 w 4610101"/>
              <a:gd name="connsiteY46110" fmla="*/ 840874 h 6557032"/>
              <a:gd name="connsiteX46111" fmla="*/ 153063 w 4610101"/>
              <a:gd name="connsiteY46111" fmla="*/ 804430 h 6557032"/>
              <a:gd name="connsiteX46112" fmla="*/ 156707 w 4610101"/>
              <a:gd name="connsiteY46112" fmla="*/ 802608 h 6557032"/>
              <a:gd name="connsiteX46113" fmla="*/ 149419 w 4610101"/>
              <a:gd name="connsiteY46113" fmla="*/ 793497 h 6557032"/>
              <a:gd name="connsiteX46114" fmla="*/ 196795 w 4610101"/>
              <a:gd name="connsiteY46114" fmla="*/ 831763 h 6557032"/>
              <a:gd name="connsiteX46115" fmla="*/ 184040 w 4610101"/>
              <a:gd name="connsiteY46115" fmla="*/ 819008 h 6557032"/>
              <a:gd name="connsiteX46116" fmla="*/ 194973 w 4610101"/>
              <a:gd name="connsiteY46116" fmla="*/ 826296 h 6557032"/>
              <a:gd name="connsiteX46117" fmla="*/ 193151 w 4610101"/>
              <a:gd name="connsiteY46117" fmla="*/ 820830 h 6557032"/>
              <a:gd name="connsiteX46118" fmla="*/ 215017 w 4610101"/>
              <a:gd name="connsiteY46118" fmla="*/ 840874 h 6557032"/>
              <a:gd name="connsiteX46119" fmla="*/ 193151 w 4610101"/>
              <a:gd name="connsiteY46119" fmla="*/ 811719 h 6557032"/>
              <a:gd name="connsiteX46120" fmla="*/ 207728 w 4610101"/>
              <a:gd name="connsiteY46120" fmla="*/ 828118 h 6557032"/>
              <a:gd name="connsiteX46121" fmla="*/ 215017 w 4610101"/>
              <a:gd name="connsiteY46121" fmla="*/ 829941 h 6557032"/>
              <a:gd name="connsiteX46122" fmla="*/ 162174 w 4610101"/>
              <a:gd name="connsiteY46122" fmla="*/ 789853 h 6557032"/>
              <a:gd name="connsiteX46123" fmla="*/ 189506 w 4610101"/>
              <a:gd name="connsiteY46123" fmla="*/ 802608 h 6557032"/>
              <a:gd name="connsiteX46124" fmla="*/ 184040 w 4610101"/>
              <a:gd name="connsiteY46124" fmla="*/ 797141 h 6557032"/>
              <a:gd name="connsiteX46125" fmla="*/ 193151 w 4610101"/>
              <a:gd name="connsiteY46125" fmla="*/ 802608 h 6557032"/>
              <a:gd name="connsiteX46126" fmla="*/ 149419 w 4610101"/>
              <a:gd name="connsiteY46126" fmla="*/ 775275 h 6557032"/>
              <a:gd name="connsiteX46127" fmla="*/ 153063 w 4610101"/>
              <a:gd name="connsiteY46127" fmla="*/ 775275 h 6557032"/>
              <a:gd name="connsiteX46128" fmla="*/ 140308 w 4610101"/>
              <a:gd name="connsiteY46128" fmla="*/ 767987 h 6557032"/>
              <a:gd name="connsiteX46129" fmla="*/ 143952 w 4610101"/>
              <a:gd name="connsiteY46129" fmla="*/ 771631 h 6557032"/>
              <a:gd name="connsiteX46130" fmla="*/ 138486 w 4610101"/>
              <a:gd name="connsiteY46130" fmla="*/ 773453 h 6557032"/>
              <a:gd name="connsiteX46131" fmla="*/ 136663 w 4610101"/>
              <a:gd name="connsiteY46131" fmla="*/ 769809 h 6557032"/>
              <a:gd name="connsiteX46132" fmla="*/ 129375 w 4610101"/>
              <a:gd name="connsiteY46132" fmla="*/ 771631 h 6557032"/>
              <a:gd name="connsiteX46133" fmla="*/ 136663 w 4610101"/>
              <a:gd name="connsiteY46133" fmla="*/ 764342 h 6557032"/>
              <a:gd name="connsiteX46134" fmla="*/ 109331 w 4610101"/>
              <a:gd name="connsiteY46134" fmla="*/ 764342 h 6557032"/>
              <a:gd name="connsiteX46135" fmla="*/ 116619 w 4610101"/>
              <a:gd name="connsiteY46135" fmla="*/ 758876 h 6557032"/>
              <a:gd name="connsiteX46136" fmla="*/ 112975 w 4610101"/>
              <a:gd name="connsiteY46136" fmla="*/ 758876 h 6557032"/>
              <a:gd name="connsiteX46137" fmla="*/ 23689 w 4610101"/>
              <a:gd name="connsiteY46137" fmla="*/ 729721 h 6557032"/>
              <a:gd name="connsiteX46138" fmla="*/ 100220 w 4610101"/>
              <a:gd name="connsiteY46138" fmla="*/ 753409 h 6557032"/>
              <a:gd name="connsiteX46139" fmla="*/ 98398 w 4610101"/>
              <a:gd name="connsiteY46139" fmla="*/ 751587 h 6557032"/>
              <a:gd name="connsiteX46140" fmla="*/ 127552 w 4610101"/>
              <a:gd name="connsiteY46140" fmla="*/ 760698 h 6557032"/>
              <a:gd name="connsiteX46141" fmla="*/ 125730 w 4610101"/>
              <a:gd name="connsiteY46141" fmla="*/ 753409 h 6557032"/>
              <a:gd name="connsiteX46142" fmla="*/ 147596 w 4610101"/>
              <a:gd name="connsiteY46142" fmla="*/ 766164 h 6557032"/>
              <a:gd name="connsiteX46143" fmla="*/ 1822 w 4610101"/>
              <a:gd name="connsiteY46143" fmla="*/ 631324 h 6557032"/>
              <a:gd name="connsiteX46144" fmla="*/ 78354 w 4610101"/>
              <a:gd name="connsiteY46144" fmla="*/ 706033 h 6557032"/>
              <a:gd name="connsiteX46145" fmla="*/ 30977 w 4610101"/>
              <a:gd name="connsiteY46145" fmla="*/ 664123 h 6557032"/>
              <a:gd name="connsiteX46146" fmla="*/ 65599 w 4610101"/>
              <a:gd name="connsiteY46146" fmla="*/ 689633 h 6557032"/>
              <a:gd name="connsiteX46147" fmla="*/ 21866 w 4610101"/>
              <a:gd name="connsiteY46147" fmla="*/ 631324 h 6557032"/>
              <a:gd name="connsiteX46148" fmla="*/ 72887 w 4610101"/>
              <a:gd name="connsiteY46148" fmla="*/ 696922 h 6557032"/>
              <a:gd name="connsiteX46149" fmla="*/ 0 w 4610101"/>
              <a:gd name="connsiteY46149" fmla="*/ 571192 h 6557032"/>
              <a:gd name="connsiteX46150" fmla="*/ 127552 w 4610101"/>
              <a:gd name="connsiteY46150" fmla="*/ 729721 h 6557032"/>
              <a:gd name="connsiteX46151" fmla="*/ 123908 w 4610101"/>
              <a:gd name="connsiteY46151" fmla="*/ 724254 h 6557032"/>
              <a:gd name="connsiteX46152" fmla="*/ 140308 w 4610101"/>
              <a:gd name="connsiteY46152" fmla="*/ 738832 h 6557032"/>
              <a:gd name="connsiteX46153" fmla="*/ 114797 w 4610101"/>
              <a:gd name="connsiteY46153" fmla="*/ 707855 h 6557032"/>
              <a:gd name="connsiteX46154" fmla="*/ 120264 w 4610101"/>
              <a:gd name="connsiteY46154" fmla="*/ 718788 h 6557032"/>
              <a:gd name="connsiteX46155" fmla="*/ 92703 w 4610101"/>
              <a:gd name="connsiteY46155" fmla="*/ 693961 h 6557032"/>
              <a:gd name="connsiteX46156" fmla="*/ 83488 w 4610101"/>
              <a:gd name="connsiteY46156" fmla="*/ 685617 h 6557032"/>
              <a:gd name="connsiteX46157" fmla="*/ 105686 w 4610101"/>
              <a:gd name="connsiteY46157" fmla="*/ 700566 h 6557032"/>
              <a:gd name="connsiteX46158" fmla="*/ 77721 w 4610101"/>
              <a:gd name="connsiteY46158" fmla="*/ 662445 h 6557032"/>
              <a:gd name="connsiteX46159" fmla="*/ 105686 w 4610101"/>
              <a:gd name="connsiteY46159" fmla="*/ 693278 h 6557032"/>
              <a:gd name="connsiteX46160" fmla="*/ 112975 w 4610101"/>
              <a:gd name="connsiteY46160" fmla="*/ 702388 h 6557032"/>
              <a:gd name="connsiteX46161" fmla="*/ 105686 w 4610101"/>
              <a:gd name="connsiteY46161" fmla="*/ 693278 h 6557032"/>
              <a:gd name="connsiteX46162" fmla="*/ 80176 w 4610101"/>
              <a:gd name="connsiteY46162" fmla="*/ 662301 h 6557032"/>
              <a:gd name="connsiteX46163" fmla="*/ 45555 w 4610101"/>
              <a:gd name="connsiteY46163" fmla="*/ 609459 h 6557032"/>
              <a:gd name="connsiteX46164" fmla="*/ 65787 w 4610101"/>
              <a:gd name="connsiteY46164" fmla="*/ 646176 h 6557032"/>
              <a:gd name="connsiteX46165" fmla="*/ 57399 w 4610101"/>
              <a:gd name="connsiteY46165" fmla="*/ 634741 h 6557032"/>
              <a:gd name="connsiteX46166" fmla="*/ 20044 w 4610101"/>
              <a:gd name="connsiteY46166" fmla="*/ 562081 h 6557032"/>
              <a:gd name="connsiteX46167" fmla="*/ 68723 w 4610101"/>
              <a:gd name="connsiteY46167" fmla="*/ 639157 h 6557032"/>
              <a:gd name="connsiteX46168" fmla="*/ 61954 w 4610101"/>
              <a:gd name="connsiteY46168" fmla="*/ 631324 h 6557032"/>
              <a:gd name="connsiteX46169" fmla="*/ 85642 w 4610101"/>
              <a:gd name="connsiteY46169" fmla="*/ 665945 h 6557032"/>
              <a:gd name="connsiteX46170" fmla="*/ 68723 w 4610101"/>
              <a:gd name="connsiteY46170" fmla="*/ 639157 h 6557032"/>
              <a:gd name="connsiteX46171" fmla="*/ 77898 w 4610101"/>
              <a:gd name="connsiteY46171" fmla="*/ 649774 h 6557032"/>
              <a:gd name="connsiteX46172" fmla="*/ 91109 w 4610101"/>
              <a:gd name="connsiteY46172" fmla="*/ 669589 h 6557032"/>
              <a:gd name="connsiteX46173" fmla="*/ 74707 w 4610101"/>
              <a:gd name="connsiteY46173" fmla="*/ 620385 h 6557032"/>
              <a:gd name="connsiteX46174" fmla="*/ 65599 w 4610101"/>
              <a:gd name="connsiteY46174" fmla="*/ 587591 h 6557032"/>
              <a:gd name="connsiteX46175" fmla="*/ 78055 w 4610101"/>
              <a:gd name="connsiteY46175" fmla="*/ 607686 h 6557032"/>
              <a:gd name="connsiteX46176" fmla="*/ 71065 w 4610101"/>
              <a:gd name="connsiteY46176" fmla="*/ 596702 h 6557032"/>
              <a:gd name="connsiteX46177" fmla="*/ 138486 w 4610101"/>
              <a:gd name="connsiteY46177" fmla="*/ 724254 h 6557032"/>
              <a:gd name="connsiteX46178" fmla="*/ 133019 w 4610101"/>
              <a:gd name="connsiteY46178" fmla="*/ 711499 h 6557032"/>
              <a:gd name="connsiteX46179" fmla="*/ 154657 w 4610101"/>
              <a:gd name="connsiteY46179" fmla="*/ 742932 h 6557032"/>
              <a:gd name="connsiteX46180" fmla="*/ 180248 w 4610101"/>
              <a:gd name="connsiteY46180" fmla="*/ 761985 h 6557032"/>
              <a:gd name="connsiteX46181" fmla="*/ 184951 w 4610101"/>
              <a:gd name="connsiteY46181" fmla="*/ 766165 h 6557032"/>
              <a:gd name="connsiteX46182" fmla="*/ 193151 w 4610101"/>
              <a:gd name="connsiteY46182" fmla="*/ 773453 h 6557032"/>
              <a:gd name="connsiteX46183" fmla="*/ 158529 w 4610101"/>
              <a:gd name="connsiteY46183" fmla="*/ 737010 h 6557032"/>
              <a:gd name="connsiteX46184" fmla="*/ 153063 w 4610101"/>
              <a:gd name="connsiteY46184" fmla="*/ 727899 h 6557032"/>
              <a:gd name="connsiteX46185" fmla="*/ 173107 w 4610101"/>
              <a:gd name="connsiteY46185" fmla="*/ 742476 h 6557032"/>
              <a:gd name="connsiteX46186" fmla="*/ 133019 w 4610101"/>
              <a:gd name="connsiteY46186" fmla="*/ 689633 h 6557032"/>
              <a:gd name="connsiteX46187" fmla="*/ 149419 w 4610101"/>
              <a:gd name="connsiteY46187" fmla="*/ 704211 h 6557032"/>
              <a:gd name="connsiteX46188" fmla="*/ 94753 w 4610101"/>
              <a:gd name="connsiteY46188" fmla="*/ 602169 h 6557032"/>
              <a:gd name="connsiteX46189" fmla="*/ 101564 w 4610101"/>
              <a:gd name="connsiteY46189" fmla="*/ 621555 h 6557032"/>
              <a:gd name="connsiteX46190" fmla="*/ 89742 w 4610101"/>
              <a:gd name="connsiteY46190" fmla="*/ 596019 h 6557032"/>
              <a:gd name="connsiteX46191" fmla="*/ 60132 w 4610101"/>
              <a:gd name="connsiteY46191" fmla="*/ 529282 h 6557032"/>
              <a:gd name="connsiteX46192" fmla="*/ 85642 w 4610101"/>
              <a:gd name="connsiteY46192" fmla="*/ 576658 h 6557032"/>
              <a:gd name="connsiteX46193" fmla="*/ 81998 w 4610101"/>
              <a:gd name="connsiteY46193" fmla="*/ 560260 h 6557032"/>
              <a:gd name="connsiteX46194" fmla="*/ 118442 w 4610101"/>
              <a:gd name="connsiteY46194" fmla="*/ 624035 h 6557032"/>
              <a:gd name="connsiteX46195" fmla="*/ 89287 w 4610101"/>
              <a:gd name="connsiteY46195" fmla="*/ 538393 h 6557032"/>
              <a:gd name="connsiteX46196" fmla="*/ 112975 w 4610101"/>
              <a:gd name="connsiteY46196" fmla="*/ 576658 h 6557032"/>
              <a:gd name="connsiteX46197" fmla="*/ 107509 w 4610101"/>
              <a:gd name="connsiteY46197" fmla="*/ 547504 h 6557032"/>
              <a:gd name="connsiteX46198" fmla="*/ 138486 w 4610101"/>
              <a:gd name="connsiteY46198" fmla="*/ 624035 h 6557032"/>
              <a:gd name="connsiteX46199" fmla="*/ 134841 w 4610101"/>
              <a:gd name="connsiteY46199" fmla="*/ 607635 h 6557032"/>
              <a:gd name="connsiteX46200" fmla="*/ 162174 w 4610101"/>
              <a:gd name="connsiteY46200" fmla="*/ 651368 h 6557032"/>
              <a:gd name="connsiteX46201" fmla="*/ 114797 w 4610101"/>
              <a:gd name="connsiteY46201" fmla="*/ 560260 h 6557032"/>
              <a:gd name="connsiteX46202" fmla="*/ 140535 w 4610101"/>
              <a:gd name="connsiteY46202" fmla="*/ 609002 h 6557032"/>
              <a:gd name="connsiteX46203" fmla="*/ 168325 w 4610101"/>
              <a:gd name="connsiteY46203" fmla="*/ 648257 h 6557032"/>
              <a:gd name="connsiteX46204" fmla="*/ 182218 w 4610101"/>
              <a:gd name="connsiteY46204" fmla="*/ 671411 h 6557032"/>
              <a:gd name="connsiteX46205" fmla="*/ 169462 w 4610101"/>
              <a:gd name="connsiteY46205" fmla="*/ 645901 h 6557032"/>
              <a:gd name="connsiteX46206" fmla="*/ 169132 w 4610101"/>
              <a:gd name="connsiteY46206" fmla="*/ 645736 h 6557032"/>
              <a:gd name="connsiteX46207" fmla="*/ 162174 w 4610101"/>
              <a:gd name="connsiteY46207" fmla="*/ 629501 h 6557032"/>
              <a:gd name="connsiteX46208" fmla="*/ 163996 w 4610101"/>
              <a:gd name="connsiteY46208" fmla="*/ 633147 h 6557032"/>
              <a:gd name="connsiteX46209" fmla="*/ 163997 w 4610101"/>
              <a:gd name="connsiteY46209" fmla="*/ 633149 h 6557032"/>
              <a:gd name="connsiteX46210" fmla="*/ 167640 w 4610101"/>
              <a:gd name="connsiteY46210" fmla="*/ 640435 h 6557032"/>
              <a:gd name="connsiteX46211" fmla="*/ 165477 w 4610101"/>
              <a:gd name="connsiteY46211" fmla="*/ 635749 h 6557032"/>
              <a:gd name="connsiteX46212" fmla="*/ 179940 w 4610101"/>
              <a:gd name="connsiteY46212" fmla="*/ 661162 h 6557032"/>
              <a:gd name="connsiteX46213" fmla="*/ 198617 w 4610101"/>
              <a:gd name="connsiteY46213" fmla="*/ 687811 h 6557032"/>
              <a:gd name="connsiteX46214" fmla="*/ 196795 w 4610101"/>
              <a:gd name="connsiteY46214" fmla="*/ 682345 h 6557032"/>
              <a:gd name="connsiteX46215" fmla="*/ 202262 w 4610101"/>
              <a:gd name="connsiteY46215" fmla="*/ 687811 h 6557032"/>
              <a:gd name="connsiteX46216" fmla="*/ 189279 w 4610101"/>
              <a:gd name="connsiteY46216" fmla="*/ 656379 h 6557032"/>
              <a:gd name="connsiteX46217" fmla="*/ 164482 w 4610101"/>
              <a:gd name="connsiteY46217" fmla="*/ 633593 h 6557032"/>
              <a:gd name="connsiteX46218" fmla="*/ 156707 w 4610101"/>
              <a:gd name="connsiteY46218" fmla="*/ 616746 h 6557032"/>
              <a:gd name="connsiteX46219" fmla="*/ 162174 w 4610101"/>
              <a:gd name="connsiteY46219" fmla="*/ 616746 h 6557032"/>
              <a:gd name="connsiteX46220" fmla="*/ 154885 w 4610101"/>
              <a:gd name="connsiteY46220" fmla="*/ 593058 h 6557032"/>
              <a:gd name="connsiteX46221" fmla="*/ 191329 w 4610101"/>
              <a:gd name="connsiteY46221" fmla="*/ 640435 h 6557032"/>
              <a:gd name="connsiteX46222" fmla="*/ 176751 w 4610101"/>
              <a:gd name="connsiteY46222" fmla="*/ 624035 h 6557032"/>
              <a:gd name="connsiteX46223" fmla="*/ 184040 w 4610101"/>
              <a:gd name="connsiteY46223" fmla="*/ 629501 h 6557032"/>
              <a:gd name="connsiteX46224" fmla="*/ 191329 w 4610101"/>
              <a:gd name="connsiteY46224" fmla="*/ 631324 h 6557032"/>
              <a:gd name="connsiteX46225" fmla="*/ 178288 w 4610101"/>
              <a:gd name="connsiteY46225" fmla="*/ 615178 h 6557032"/>
              <a:gd name="connsiteX46226" fmla="*/ 177340 w 4610101"/>
              <a:gd name="connsiteY46226" fmla="*/ 609961 h 6557032"/>
              <a:gd name="connsiteX46227" fmla="*/ 178573 w 4610101"/>
              <a:gd name="connsiteY46227" fmla="*/ 611280 h 6557032"/>
              <a:gd name="connsiteX46228" fmla="*/ 173107 w 4610101"/>
              <a:gd name="connsiteY46228" fmla="*/ 594880 h 6557032"/>
              <a:gd name="connsiteX46229" fmla="*/ 178573 w 4610101"/>
              <a:gd name="connsiteY46229" fmla="*/ 605813 h 6557032"/>
              <a:gd name="connsiteX46230" fmla="*/ 160352 w 4610101"/>
              <a:gd name="connsiteY46230" fmla="*/ 554792 h 6557032"/>
              <a:gd name="connsiteX46231" fmla="*/ 184040 w 4610101"/>
              <a:gd name="connsiteY46231" fmla="*/ 603991 h 6557032"/>
              <a:gd name="connsiteX46232" fmla="*/ 182218 w 4610101"/>
              <a:gd name="connsiteY46232" fmla="*/ 583947 h 6557032"/>
              <a:gd name="connsiteX46233" fmla="*/ 205906 w 4610101"/>
              <a:gd name="connsiteY46233" fmla="*/ 640435 h 6557032"/>
              <a:gd name="connsiteX46234" fmla="*/ 204084 w 4610101"/>
              <a:gd name="connsiteY46234" fmla="*/ 591236 h 6557032"/>
              <a:gd name="connsiteX46235" fmla="*/ 209550 w 4610101"/>
              <a:gd name="connsiteY46235" fmla="*/ 627679 h 6557032"/>
              <a:gd name="connsiteX46236" fmla="*/ 207728 w 4610101"/>
              <a:gd name="connsiteY46236" fmla="*/ 633146 h 6557032"/>
              <a:gd name="connsiteX46237" fmla="*/ 212511 w 4610101"/>
              <a:gd name="connsiteY46237" fmla="*/ 645674 h 6557032"/>
              <a:gd name="connsiteX46238" fmla="*/ 218587 w 4610101"/>
              <a:gd name="connsiteY46238" fmla="*/ 656700 h 6557032"/>
              <a:gd name="connsiteX46239" fmla="*/ 218588 w 4610101"/>
              <a:gd name="connsiteY46239" fmla="*/ 656762 h 6557032"/>
              <a:gd name="connsiteX46240" fmla="*/ 215017 w 4610101"/>
              <a:gd name="connsiteY46240" fmla="*/ 653190 h 6557032"/>
              <a:gd name="connsiteX46241" fmla="*/ 218661 w 4610101"/>
              <a:gd name="connsiteY46241" fmla="*/ 660478 h 6557032"/>
              <a:gd name="connsiteX46242" fmla="*/ 218588 w 4610101"/>
              <a:gd name="connsiteY46242" fmla="*/ 656762 h 6557032"/>
              <a:gd name="connsiteX46243" fmla="*/ 218661 w 4610101"/>
              <a:gd name="connsiteY46243" fmla="*/ 656834 h 6557032"/>
              <a:gd name="connsiteX46244" fmla="*/ 218587 w 4610101"/>
              <a:gd name="connsiteY46244" fmla="*/ 656700 h 6557032"/>
              <a:gd name="connsiteX46245" fmla="*/ 218433 w 4610101"/>
              <a:gd name="connsiteY46245" fmla="*/ 648863 h 6557032"/>
              <a:gd name="connsiteX46246" fmla="*/ 211372 w 4610101"/>
              <a:gd name="connsiteY46246" fmla="*/ 638612 h 6557032"/>
              <a:gd name="connsiteX46247" fmla="*/ 220483 w 4610101"/>
              <a:gd name="connsiteY46247" fmla="*/ 649545 h 6557032"/>
              <a:gd name="connsiteX46248" fmla="*/ 219298 w 4610101"/>
              <a:gd name="connsiteY46248" fmla="*/ 639799 h 6557032"/>
              <a:gd name="connsiteX46249" fmla="*/ 220028 w 4610101"/>
              <a:gd name="connsiteY46249" fmla="*/ 639068 h 6557032"/>
              <a:gd name="connsiteX46250" fmla="*/ 218739 w 4610101"/>
              <a:gd name="connsiteY46250" fmla="*/ 635202 h 6557032"/>
              <a:gd name="connsiteX46251" fmla="*/ 218433 w 4610101"/>
              <a:gd name="connsiteY46251" fmla="*/ 632690 h 6557032"/>
              <a:gd name="connsiteX46252" fmla="*/ 209550 w 4610101"/>
              <a:gd name="connsiteY46252" fmla="*/ 618568 h 6557032"/>
              <a:gd name="connsiteX46253" fmla="*/ 216839 w 4610101"/>
              <a:gd name="connsiteY46253" fmla="*/ 624035 h 6557032"/>
              <a:gd name="connsiteX46254" fmla="*/ 217448 w 4610101"/>
              <a:gd name="connsiteY46254" fmla="*/ 622810 h 6557032"/>
              <a:gd name="connsiteX46255" fmla="*/ 216839 w 4610101"/>
              <a:gd name="connsiteY46255" fmla="*/ 625857 h 6557032"/>
              <a:gd name="connsiteX46256" fmla="*/ 235061 w 4610101"/>
              <a:gd name="connsiteY46256" fmla="*/ 645901 h 6557032"/>
              <a:gd name="connsiteX46257" fmla="*/ 227316 w 4610101"/>
              <a:gd name="connsiteY46257" fmla="*/ 622213 h 6557032"/>
              <a:gd name="connsiteX46258" fmla="*/ 223350 w 4610101"/>
              <a:gd name="connsiteY46258" fmla="*/ 603459 h 6557032"/>
              <a:gd name="connsiteX46259" fmla="*/ 224128 w 4610101"/>
              <a:gd name="connsiteY46259" fmla="*/ 600347 h 6557032"/>
              <a:gd name="connsiteX46260" fmla="*/ 162174 w 4610101"/>
              <a:gd name="connsiteY46260" fmla="*/ 385331 h 6557032"/>
              <a:gd name="connsiteX46261" fmla="*/ 194973 w 4610101"/>
              <a:gd name="connsiteY46261" fmla="*/ 505594 h 6557032"/>
              <a:gd name="connsiteX46262" fmla="*/ 198617 w 4610101"/>
              <a:gd name="connsiteY46262" fmla="*/ 487373 h 6557032"/>
              <a:gd name="connsiteX46263" fmla="*/ 245994 w 4610101"/>
              <a:gd name="connsiteY46263" fmla="*/ 645901 h 6557032"/>
              <a:gd name="connsiteX46264" fmla="*/ 244172 w 4610101"/>
              <a:gd name="connsiteY46264" fmla="*/ 631324 h 6557032"/>
              <a:gd name="connsiteX46265" fmla="*/ 255105 w 4610101"/>
              <a:gd name="connsiteY46265" fmla="*/ 656834 h 6557032"/>
              <a:gd name="connsiteX46266" fmla="*/ 247816 w 4610101"/>
              <a:gd name="connsiteY46266" fmla="*/ 629501 h 6557032"/>
              <a:gd name="connsiteX46267" fmla="*/ 266038 w 4610101"/>
              <a:gd name="connsiteY46267" fmla="*/ 669589 h 6557032"/>
              <a:gd name="connsiteX46268" fmla="*/ 266038 w 4610101"/>
              <a:gd name="connsiteY46268" fmla="*/ 662301 h 6557032"/>
              <a:gd name="connsiteX46269" fmla="*/ 268771 w 4610101"/>
              <a:gd name="connsiteY46269" fmla="*/ 668679 h 6557032"/>
              <a:gd name="connsiteX46270" fmla="*/ 268941 w 4610101"/>
              <a:gd name="connsiteY46270" fmla="*/ 669076 h 6557032"/>
              <a:gd name="connsiteX46271" fmla="*/ 268088 w 4610101"/>
              <a:gd name="connsiteY46271" fmla="*/ 676878 h 6557032"/>
              <a:gd name="connsiteX46272" fmla="*/ 270998 w 4610101"/>
              <a:gd name="connsiteY46272" fmla="*/ 684978 h 6557032"/>
              <a:gd name="connsiteX46273" fmla="*/ 269682 w 4610101"/>
              <a:gd name="connsiteY46273" fmla="*/ 682345 h 6557032"/>
              <a:gd name="connsiteX46274" fmla="*/ 273327 w 4610101"/>
              <a:gd name="connsiteY46274" fmla="*/ 691455 h 6557032"/>
              <a:gd name="connsiteX46275" fmla="*/ 270998 w 4610101"/>
              <a:gd name="connsiteY46275" fmla="*/ 684978 h 6557032"/>
              <a:gd name="connsiteX46276" fmla="*/ 273327 w 4610101"/>
              <a:gd name="connsiteY46276" fmla="*/ 689633 h 6557032"/>
              <a:gd name="connsiteX46277" fmla="*/ 274237 w 4610101"/>
              <a:gd name="connsiteY46277" fmla="*/ 676651 h 6557032"/>
              <a:gd name="connsiteX46278" fmla="*/ 270019 w 4610101"/>
              <a:gd name="connsiteY46278" fmla="*/ 663365 h 6557032"/>
              <a:gd name="connsiteX46279" fmla="*/ 269682 w 4610101"/>
              <a:gd name="connsiteY46279" fmla="*/ 660707 h 6557032"/>
              <a:gd name="connsiteX46280" fmla="*/ 278793 w 4610101"/>
              <a:gd name="connsiteY46280" fmla="*/ 653190 h 6557032"/>
              <a:gd name="connsiteX46281" fmla="*/ 249638 w 4610101"/>
              <a:gd name="connsiteY46281" fmla="*/ 625857 h 6557032"/>
              <a:gd name="connsiteX46282" fmla="*/ 255105 w 4610101"/>
              <a:gd name="connsiteY46282" fmla="*/ 629501 h 6557032"/>
              <a:gd name="connsiteX46283" fmla="*/ 258749 w 4610101"/>
              <a:gd name="connsiteY46283" fmla="*/ 622213 h 6557032"/>
              <a:gd name="connsiteX46284" fmla="*/ 284259 w 4610101"/>
              <a:gd name="connsiteY46284" fmla="*/ 653190 h 6557032"/>
              <a:gd name="connsiteX46285" fmla="*/ 276971 w 4610101"/>
              <a:gd name="connsiteY46285" fmla="*/ 644079 h 6557032"/>
              <a:gd name="connsiteX46286" fmla="*/ 280615 w 4610101"/>
              <a:gd name="connsiteY46286" fmla="*/ 645901 h 6557032"/>
              <a:gd name="connsiteX46287" fmla="*/ 280615 w 4610101"/>
              <a:gd name="connsiteY46287" fmla="*/ 640435 h 6557032"/>
              <a:gd name="connsiteX46288" fmla="*/ 283463 w 4610101"/>
              <a:gd name="connsiteY46288" fmla="*/ 646129 h 6557032"/>
              <a:gd name="connsiteX46289" fmla="*/ 284259 w 4610101"/>
              <a:gd name="connsiteY46289" fmla="*/ 649545 h 6557032"/>
              <a:gd name="connsiteX46290" fmla="*/ 283803 w 4610101"/>
              <a:gd name="connsiteY46290" fmla="*/ 646813 h 6557032"/>
              <a:gd name="connsiteX46291" fmla="*/ 284259 w 4610101"/>
              <a:gd name="connsiteY46291" fmla="*/ 647723 h 6557032"/>
              <a:gd name="connsiteX46292" fmla="*/ 284902 w 4610101"/>
              <a:gd name="connsiteY46292" fmla="*/ 639801 h 6557032"/>
              <a:gd name="connsiteX46293" fmla="*/ 286082 w 4610101"/>
              <a:gd name="connsiteY46293" fmla="*/ 647723 h 6557032"/>
              <a:gd name="connsiteX46294" fmla="*/ 297015 w 4610101"/>
              <a:gd name="connsiteY46294" fmla="*/ 669589 h 6557032"/>
              <a:gd name="connsiteX46295" fmla="*/ 293370 w 4610101"/>
              <a:gd name="connsiteY46295" fmla="*/ 660478 h 6557032"/>
              <a:gd name="connsiteX46296" fmla="*/ 313414 w 4610101"/>
              <a:gd name="connsiteY46296" fmla="*/ 678700 h 6557032"/>
              <a:gd name="connsiteX46297" fmla="*/ 311592 w 4610101"/>
              <a:gd name="connsiteY46297" fmla="*/ 675056 h 6557032"/>
              <a:gd name="connsiteX46298" fmla="*/ 324347 w 4610101"/>
              <a:gd name="connsiteY46298" fmla="*/ 680522 h 6557032"/>
              <a:gd name="connsiteX46299" fmla="*/ 322525 w 4610101"/>
              <a:gd name="connsiteY46299" fmla="*/ 675056 h 6557032"/>
              <a:gd name="connsiteX46300" fmla="*/ 309543 w 4610101"/>
              <a:gd name="connsiteY46300" fmla="*/ 648635 h 6557032"/>
              <a:gd name="connsiteX46301" fmla="*/ 285385 w 4610101"/>
              <a:gd name="connsiteY46301" fmla="*/ 633837 h 6557032"/>
              <a:gd name="connsiteX46302" fmla="*/ 285626 w 4610101"/>
              <a:gd name="connsiteY46302" fmla="*/ 630868 h 6557032"/>
              <a:gd name="connsiteX46303" fmla="*/ 278793 w 4610101"/>
              <a:gd name="connsiteY46303" fmla="*/ 616746 h 6557032"/>
              <a:gd name="connsiteX46304" fmla="*/ 282171 w 4610101"/>
              <a:gd name="connsiteY46304" fmla="*/ 617591 h 6557032"/>
              <a:gd name="connsiteX46305" fmla="*/ 284942 w 4610101"/>
              <a:gd name="connsiteY46305" fmla="*/ 624263 h 6557032"/>
              <a:gd name="connsiteX46306" fmla="*/ 295193 w 4610101"/>
              <a:gd name="connsiteY46306" fmla="*/ 634968 h 6557032"/>
              <a:gd name="connsiteX46307" fmla="*/ 295193 w 4610101"/>
              <a:gd name="connsiteY46307" fmla="*/ 627679 h 6557032"/>
              <a:gd name="connsiteX46308" fmla="*/ 313414 w 4610101"/>
              <a:gd name="connsiteY46308" fmla="*/ 649545 h 6557032"/>
              <a:gd name="connsiteX46309" fmla="*/ 278793 w 4610101"/>
              <a:gd name="connsiteY46309" fmla="*/ 593058 h 6557032"/>
              <a:gd name="connsiteX46310" fmla="*/ 267859 w 4610101"/>
              <a:gd name="connsiteY46310" fmla="*/ 583947 h 6557032"/>
              <a:gd name="connsiteX46311" fmla="*/ 263958 w 4610101"/>
              <a:gd name="connsiteY46311" fmla="*/ 580696 h 6557032"/>
              <a:gd name="connsiteX46312" fmla="*/ 258749 w 4610101"/>
              <a:gd name="connsiteY46312" fmla="*/ 571876 h 6557032"/>
              <a:gd name="connsiteX46313" fmla="*/ 233239 w 4610101"/>
              <a:gd name="connsiteY46313" fmla="*/ 542037 h 6557032"/>
              <a:gd name="connsiteX46314" fmla="*/ 236883 w 4610101"/>
              <a:gd name="connsiteY46314" fmla="*/ 543860 h 6557032"/>
              <a:gd name="connsiteX46315" fmla="*/ 227690 w 4610101"/>
              <a:gd name="connsiteY46315" fmla="*/ 528667 h 6557032"/>
              <a:gd name="connsiteX46316" fmla="*/ 238705 w 4610101"/>
              <a:gd name="connsiteY46316" fmla="*/ 540215 h 6557032"/>
              <a:gd name="connsiteX46317" fmla="*/ 224128 w 4610101"/>
              <a:gd name="connsiteY46317" fmla="*/ 485550 h 6557032"/>
              <a:gd name="connsiteX46318" fmla="*/ 247816 w 4610101"/>
              <a:gd name="connsiteY46318" fmla="*/ 554792 h 6557032"/>
              <a:gd name="connsiteX46319" fmla="*/ 242349 w 4610101"/>
              <a:gd name="connsiteY46319" fmla="*/ 536571 h 6557032"/>
              <a:gd name="connsiteX46320" fmla="*/ 278793 w 4610101"/>
              <a:gd name="connsiteY46320" fmla="*/ 583947 h 6557032"/>
              <a:gd name="connsiteX46321" fmla="*/ 271889 w 4610101"/>
              <a:gd name="connsiteY46321" fmla="*/ 566622 h 6557032"/>
              <a:gd name="connsiteX46322" fmla="*/ 291549 w 4610101"/>
              <a:gd name="connsiteY46322" fmla="*/ 587591 h 6557032"/>
              <a:gd name="connsiteX46323" fmla="*/ 280615 w 4610101"/>
              <a:gd name="connsiteY46323" fmla="*/ 565725 h 6557032"/>
              <a:gd name="connsiteX46324" fmla="*/ 278793 w 4610101"/>
              <a:gd name="connsiteY46324" fmla="*/ 567548 h 6557032"/>
              <a:gd name="connsiteX46325" fmla="*/ 264216 w 4610101"/>
              <a:gd name="connsiteY46325" fmla="*/ 538393 h 6557032"/>
              <a:gd name="connsiteX46326" fmla="*/ 263953 w 4610101"/>
              <a:gd name="connsiteY46326" fmla="*/ 549819 h 6557032"/>
              <a:gd name="connsiteX46327" fmla="*/ 247816 w 4610101"/>
              <a:gd name="connsiteY46327" fmla="*/ 527461 h 6557032"/>
              <a:gd name="connsiteX46328" fmla="*/ 255105 w 4610101"/>
              <a:gd name="connsiteY46328" fmla="*/ 532926 h 6557032"/>
              <a:gd name="connsiteX46329" fmla="*/ 244172 w 4610101"/>
              <a:gd name="connsiteY46329" fmla="*/ 507417 h 6557032"/>
              <a:gd name="connsiteX46330" fmla="*/ 251915 w 4610101"/>
              <a:gd name="connsiteY46330" fmla="*/ 521766 h 6557032"/>
              <a:gd name="connsiteX46331" fmla="*/ 258033 w 4610101"/>
              <a:gd name="connsiteY46331" fmla="*/ 529346 h 6557032"/>
              <a:gd name="connsiteX46332" fmla="*/ 260571 w 4610101"/>
              <a:gd name="connsiteY46332" fmla="*/ 542037 h 6557032"/>
              <a:gd name="connsiteX46333" fmla="*/ 261420 w 4610101"/>
              <a:gd name="connsiteY46333" fmla="*/ 533544 h 6557032"/>
              <a:gd name="connsiteX46334" fmla="*/ 262393 w 4610101"/>
              <a:gd name="connsiteY46334" fmla="*/ 534749 h 6557032"/>
              <a:gd name="connsiteX46335" fmla="*/ 240527 w 4610101"/>
              <a:gd name="connsiteY46335" fmla="*/ 447284 h 6557032"/>
              <a:gd name="connsiteX46336" fmla="*/ 185862 w 4610101"/>
              <a:gd name="connsiteY46336" fmla="*/ 308800 h 6557032"/>
              <a:gd name="connsiteX46337" fmla="*/ 238705 w 4610101"/>
              <a:gd name="connsiteY46337" fmla="*/ 439995 h 6557032"/>
              <a:gd name="connsiteX46338" fmla="*/ 233239 w 4610101"/>
              <a:gd name="connsiteY46338" fmla="*/ 418129 h 6557032"/>
              <a:gd name="connsiteX46339" fmla="*/ 304303 w 4610101"/>
              <a:gd name="connsiteY46339" fmla="*/ 593058 h 6557032"/>
              <a:gd name="connsiteX46340" fmla="*/ 287904 w 4610101"/>
              <a:gd name="connsiteY46340" fmla="*/ 552970 h 6557032"/>
              <a:gd name="connsiteX46341" fmla="*/ 300204 w 4610101"/>
              <a:gd name="connsiteY46341" fmla="*/ 565043 h 6557032"/>
              <a:gd name="connsiteX46342" fmla="*/ 308421 w 4610101"/>
              <a:gd name="connsiteY46342" fmla="*/ 576587 h 6557032"/>
              <a:gd name="connsiteX46343" fmla="*/ 307948 w 4610101"/>
              <a:gd name="connsiteY46343" fmla="*/ 578481 h 6557032"/>
              <a:gd name="connsiteX46344" fmla="*/ 311592 w 4610101"/>
              <a:gd name="connsiteY46344" fmla="*/ 585769 h 6557032"/>
              <a:gd name="connsiteX46345" fmla="*/ 309771 w 4610101"/>
              <a:gd name="connsiteY46345" fmla="*/ 571192 h 6557032"/>
              <a:gd name="connsiteX46346" fmla="*/ 308999 w 4610101"/>
              <a:gd name="connsiteY46346" fmla="*/ 574276 h 6557032"/>
              <a:gd name="connsiteX46347" fmla="*/ 307265 w 4610101"/>
              <a:gd name="connsiteY46347" fmla="*/ 564815 h 6557032"/>
              <a:gd name="connsiteX46348" fmla="*/ 306126 w 4610101"/>
              <a:gd name="connsiteY46348" fmla="*/ 551148 h 6557032"/>
              <a:gd name="connsiteX46349" fmla="*/ 309771 w 4610101"/>
              <a:gd name="connsiteY46349" fmla="*/ 565725 h 6557032"/>
              <a:gd name="connsiteX46350" fmla="*/ 295193 w 4610101"/>
              <a:gd name="connsiteY46350" fmla="*/ 505594 h 6557032"/>
              <a:gd name="connsiteX46351" fmla="*/ 311592 w 4610101"/>
              <a:gd name="connsiteY46351" fmla="*/ 551148 h 6557032"/>
              <a:gd name="connsiteX46352" fmla="*/ 307948 w 4610101"/>
              <a:gd name="connsiteY46352" fmla="*/ 520171 h 6557032"/>
              <a:gd name="connsiteX46353" fmla="*/ 331636 w 4610101"/>
              <a:gd name="connsiteY46353" fmla="*/ 563904 h 6557032"/>
              <a:gd name="connsiteX46354" fmla="*/ 318882 w 4610101"/>
              <a:gd name="connsiteY46354" fmla="*/ 527461 h 6557032"/>
              <a:gd name="connsiteX46355" fmla="*/ 353502 w 4610101"/>
              <a:gd name="connsiteY46355" fmla="*/ 585769 h 6557032"/>
              <a:gd name="connsiteX46356" fmla="*/ 326169 w 4610101"/>
              <a:gd name="connsiteY46356" fmla="*/ 540215 h 6557032"/>
              <a:gd name="connsiteX46357" fmla="*/ 353502 w 4610101"/>
              <a:gd name="connsiteY46357" fmla="*/ 583947 h 6557032"/>
              <a:gd name="connsiteX46358" fmla="*/ 348037 w 4610101"/>
              <a:gd name="connsiteY46358" fmla="*/ 562081 h 6557032"/>
              <a:gd name="connsiteX46359" fmla="*/ 351680 w 4610101"/>
              <a:gd name="connsiteY46359" fmla="*/ 563904 h 6557032"/>
              <a:gd name="connsiteX46360" fmla="*/ 351680 w 4610101"/>
              <a:gd name="connsiteY46360" fmla="*/ 554792 h 6557032"/>
              <a:gd name="connsiteX46361" fmla="*/ 368079 w 4610101"/>
              <a:gd name="connsiteY46361" fmla="*/ 594880 h 6557032"/>
              <a:gd name="connsiteX46362" fmla="*/ 369902 w 4610101"/>
              <a:gd name="connsiteY46362" fmla="*/ 587591 h 6557032"/>
              <a:gd name="connsiteX46363" fmla="*/ 373546 w 4610101"/>
              <a:gd name="connsiteY46363" fmla="*/ 603991 h 6557032"/>
              <a:gd name="connsiteX46364" fmla="*/ 371724 w 4610101"/>
              <a:gd name="connsiteY46364" fmla="*/ 582125 h 6557032"/>
              <a:gd name="connsiteX46365" fmla="*/ 375368 w 4610101"/>
              <a:gd name="connsiteY46365" fmla="*/ 583947 h 6557032"/>
              <a:gd name="connsiteX46366" fmla="*/ 375368 w 4610101"/>
              <a:gd name="connsiteY46366" fmla="*/ 560260 h 6557032"/>
              <a:gd name="connsiteX46367" fmla="*/ 386301 w 4610101"/>
              <a:gd name="connsiteY46367" fmla="*/ 591236 h 6557032"/>
              <a:gd name="connsiteX46368" fmla="*/ 358969 w 4610101"/>
              <a:gd name="connsiteY46368" fmla="*/ 470972 h 6557032"/>
              <a:gd name="connsiteX46369" fmla="*/ 309771 w 4610101"/>
              <a:gd name="connsiteY46369" fmla="*/ 387152 h 6557032"/>
              <a:gd name="connsiteX46370" fmla="*/ 360791 w 4610101"/>
              <a:gd name="connsiteY46370" fmla="*/ 467328 h 6557032"/>
              <a:gd name="connsiteX46371" fmla="*/ 360791 w 4610101"/>
              <a:gd name="connsiteY46371" fmla="*/ 461862 h 6557032"/>
              <a:gd name="connsiteX46372" fmla="*/ 384479 w 4610101"/>
              <a:gd name="connsiteY46372" fmla="*/ 501949 h 6557032"/>
              <a:gd name="connsiteX46373" fmla="*/ 362613 w 4610101"/>
              <a:gd name="connsiteY46373" fmla="*/ 449107 h 6557032"/>
              <a:gd name="connsiteX46374" fmla="*/ 424567 w 4610101"/>
              <a:gd name="connsiteY46374" fmla="*/ 552970 h 6557032"/>
              <a:gd name="connsiteX46375" fmla="*/ 399056 w 4610101"/>
              <a:gd name="connsiteY46375" fmla="*/ 505594 h 6557032"/>
              <a:gd name="connsiteX46376" fmla="*/ 426389 w 4610101"/>
              <a:gd name="connsiteY46376" fmla="*/ 549326 h 6557032"/>
              <a:gd name="connsiteX46377" fmla="*/ 337102 w 4610101"/>
              <a:gd name="connsiteY46377" fmla="*/ 332488 h 6557032"/>
              <a:gd name="connsiteX46378" fmla="*/ 431856 w 4610101"/>
              <a:gd name="connsiteY46378" fmla="*/ 549326 h 6557032"/>
              <a:gd name="connsiteX46379" fmla="*/ 426389 w 4610101"/>
              <a:gd name="connsiteY46379" fmla="*/ 545681 h 6557032"/>
              <a:gd name="connsiteX46380" fmla="*/ 440966 w 4610101"/>
              <a:gd name="connsiteY46380" fmla="*/ 574836 h 6557032"/>
              <a:gd name="connsiteX46381" fmla="*/ 437309 w 4610101"/>
              <a:gd name="connsiteY46381" fmla="*/ 568740 h 6557032"/>
              <a:gd name="connsiteX46382" fmla="*/ 437095 w 4610101"/>
              <a:gd name="connsiteY46382" fmla="*/ 558437 h 6557032"/>
              <a:gd name="connsiteX46383" fmla="*/ 435500 w 4610101"/>
              <a:gd name="connsiteY46383" fmla="*/ 547504 h 6557032"/>
              <a:gd name="connsiteX46384" fmla="*/ 466478 w 4610101"/>
              <a:gd name="connsiteY46384" fmla="*/ 596702 h 6557032"/>
              <a:gd name="connsiteX46385" fmla="*/ 446433 w 4610101"/>
              <a:gd name="connsiteY46385" fmla="*/ 574836 h 6557032"/>
              <a:gd name="connsiteX46386" fmla="*/ 453722 w 4610101"/>
              <a:gd name="connsiteY46386" fmla="*/ 578481 h 6557032"/>
              <a:gd name="connsiteX46387" fmla="*/ 444611 w 4610101"/>
              <a:gd name="connsiteY46387" fmla="*/ 565725 h 6557032"/>
              <a:gd name="connsiteX46388" fmla="*/ 461010 w 4610101"/>
              <a:gd name="connsiteY46388" fmla="*/ 580303 h 6557032"/>
              <a:gd name="connsiteX46389" fmla="*/ 459796 w 4610101"/>
              <a:gd name="connsiteY46389" fmla="*/ 576660 h 6557032"/>
              <a:gd name="connsiteX46390" fmla="*/ 461010 w 4610101"/>
              <a:gd name="connsiteY46390" fmla="*/ 578481 h 6557032"/>
              <a:gd name="connsiteX46391" fmla="*/ 459188 w 4610101"/>
              <a:gd name="connsiteY46391" fmla="*/ 574836 h 6557032"/>
              <a:gd name="connsiteX46392" fmla="*/ 459796 w 4610101"/>
              <a:gd name="connsiteY46392" fmla="*/ 576660 h 6557032"/>
              <a:gd name="connsiteX46393" fmla="*/ 453266 w 4610101"/>
              <a:gd name="connsiteY46393" fmla="*/ 566865 h 6557032"/>
              <a:gd name="connsiteX46394" fmla="*/ 444594 w 4610101"/>
              <a:gd name="connsiteY46394" fmla="*/ 558381 h 6557032"/>
              <a:gd name="connsiteX46395" fmla="*/ 441650 w 4610101"/>
              <a:gd name="connsiteY46395" fmla="*/ 548643 h 6557032"/>
              <a:gd name="connsiteX46396" fmla="*/ 437322 w 4610101"/>
              <a:gd name="connsiteY46396" fmla="*/ 540215 h 6557032"/>
              <a:gd name="connsiteX46397" fmla="*/ 450077 w 4610101"/>
              <a:gd name="connsiteY46397" fmla="*/ 552970 h 6557032"/>
              <a:gd name="connsiteX46398" fmla="*/ 448256 w 4610101"/>
              <a:gd name="connsiteY46398" fmla="*/ 547504 h 6557032"/>
              <a:gd name="connsiteX46399" fmla="*/ 462832 w 4610101"/>
              <a:gd name="connsiteY46399" fmla="*/ 576658 h 6557032"/>
              <a:gd name="connsiteX46400" fmla="*/ 455544 w 4610101"/>
              <a:gd name="connsiteY46400" fmla="*/ 552970 h 6557032"/>
              <a:gd name="connsiteX46401" fmla="*/ 455544 w 4610101"/>
              <a:gd name="connsiteY46401" fmla="*/ 556616 h 6557032"/>
              <a:gd name="connsiteX46402" fmla="*/ 453722 w 4610101"/>
              <a:gd name="connsiteY46402" fmla="*/ 551148 h 6557032"/>
              <a:gd name="connsiteX46403" fmla="*/ 457367 w 4610101"/>
              <a:gd name="connsiteY46403" fmla="*/ 551148 h 6557032"/>
              <a:gd name="connsiteX46404" fmla="*/ 431856 w 4610101"/>
              <a:gd name="connsiteY46404" fmla="*/ 511061 h 6557032"/>
              <a:gd name="connsiteX46405" fmla="*/ 439145 w 4610101"/>
              <a:gd name="connsiteY46405" fmla="*/ 512882 h 6557032"/>
              <a:gd name="connsiteX46406" fmla="*/ 431856 w 4610101"/>
              <a:gd name="connsiteY46406" fmla="*/ 500127 h 6557032"/>
              <a:gd name="connsiteX46407" fmla="*/ 455544 w 4610101"/>
              <a:gd name="connsiteY46407" fmla="*/ 529282 h 6557032"/>
              <a:gd name="connsiteX46408" fmla="*/ 453722 w 4610101"/>
              <a:gd name="connsiteY46408" fmla="*/ 520171 h 6557032"/>
              <a:gd name="connsiteX46409" fmla="*/ 501098 w 4610101"/>
              <a:gd name="connsiteY46409" fmla="*/ 574836 h 6557032"/>
              <a:gd name="connsiteX46410" fmla="*/ 482876 w 4610101"/>
              <a:gd name="connsiteY46410" fmla="*/ 552970 h 6557032"/>
              <a:gd name="connsiteX46411" fmla="*/ 502920 w 4610101"/>
              <a:gd name="connsiteY46411" fmla="*/ 571192 h 6557032"/>
              <a:gd name="connsiteX46412" fmla="*/ 502920 w 4610101"/>
              <a:gd name="connsiteY46412" fmla="*/ 567548 h 6557032"/>
              <a:gd name="connsiteX46413" fmla="*/ 508387 w 4610101"/>
              <a:gd name="connsiteY46413" fmla="*/ 571192 h 6557032"/>
              <a:gd name="connsiteX46414" fmla="*/ 496707 w 4610101"/>
              <a:gd name="connsiteY46414" fmla="*/ 557668 h 6557032"/>
              <a:gd name="connsiteX46415" fmla="*/ 491071 w 4610101"/>
              <a:gd name="connsiteY46415" fmla="*/ 544988 h 6557032"/>
              <a:gd name="connsiteX46416" fmla="*/ 491987 w 4610101"/>
              <a:gd name="connsiteY46416" fmla="*/ 545681 h 6557032"/>
              <a:gd name="connsiteX46417" fmla="*/ 488204 w 4610101"/>
              <a:gd name="connsiteY46417" fmla="*/ 538536 h 6557032"/>
              <a:gd name="connsiteX46418" fmla="*/ 486521 w 4610101"/>
              <a:gd name="connsiteY46418" fmla="*/ 534749 h 6557032"/>
              <a:gd name="connsiteX46419" fmla="*/ 497454 w 4610101"/>
              <a:gd name="connsiteY46419" fmla="*/ 542037 h 6557032"/>
              <a:gd name="connsiteX46420" fmla="*/ 497454 w 4610101"/>
              <a:gd name="connsiteY46420" fmla="*/ 532926 h 6557032"/>
              <a:gd name="connsiteX46421" fmla="*/ 506565 w 4610101"/>
              <a:gd name="connsiteY46421" fmla="*/ 551148 h 6557032"/>
              <a:gd name="connsiteX46422" fmla="*/ 499276 w 4610101"/>
              <a:gd name="connsiteY46422" fmla="*/ 545681 h 6557032"/>
              <a:gd name="connsiteX46423" fmla="*/ 506565 w 4610101"/>
              <a:gd name="connsiteY46423" fmla="*/ 563904 h 6557032"/>
              <a:gd name="connsiteX46424" fmla="*/ 506565 w 4610101"/>
              <a:gd name="connsiteY46424" fmla="*/ 560260 h 6557032"/>
              <a:gd name="connsiteX46425" fmla="*/ 512259 w 4610101"/>
              <a:gd name="connsiteY46425" fmla="*/ 567320 h 6557032"/>
              <a:gd name="connsiteX46426" fmla="*/ 512802 w 4610101"/>
              <a:gd name="connsiteY46426" fmla="*/ 567758 h 6557032"/>
              <a:gd name="connsiteX46427" fmla="*/ 516587 w 4610101"/>
              <a:gd name="connsiteY46427" fmla="*/ 575748 h 6557032"/>
              <a:gd name="connsiteX46428" fmla="*/ 524786 w 4610101"/>
              <a:gd name="connsiteY46428" fmla="*/ 593058 h 6557032"/>
              <a:gd name="connsiteX46429" fmla="*/ 519320 w 4610101"/>
              <a:gd name="connsiteY46429" fmla="*/ 580303 h 6557032"/>
              <a:gd name="connsiteX46430" fmla="*/ 519320 w 4610101"/>
              <a:gd name="connsiteY46430" fmla="*/ 573014 h 6557032"/>
              <a:gd name="connsiteX46431" fmla="*/ 526609 w 4610101"/>
              <a:gd name="connsiteY46431" fmla="*/ 585769 h 6557032"/>
              <a:gd name="connsiteX46432" fmla="*/ 524331 w 4610101"/>
              <a:gd name="connsiteY46432" fmla="*/ 568687 h 6557032"/>
              <a:gd name="connsiteX46433" fmla="*/ 514427 w 4610101"/>
              <a:gd name="connsiteY46433" fmla="*/ 562320 h 6557032"/>
              <a:gd name="connsiteX46434" fmla="*/ 506565 w 4610101"/>
              <a:gd name="connsiteY46434" fmla="*/ 552970 h 6557032"/>
              <a:gd name="connsiteX46435" fmla="*/ 512031 w 4610101"/>
              <a:gd name="connsiteY46435" fmla="*/ 556616 h 6557032"/>
              <a:gd name="connsiteX46436" fmla="*/ 508387 w 4610101"/>
              <a:gd name="connsiteY46436" fmla="*/ 540215 h 6557032"/>
              <a:gd name="connsiteX46437" fmla="*/ 512031 w 4610101"/>
              <a:gd name="connsiteY46437" fmla="*/ 540215 h 6557032"/>
              <a:gd name="connsiteX46438" fmla="*/ 501098 w 4610101"/>
              <a:gd name="connsiteY46438" fmla="*/ 514705 h 6557032"/>
              <a:gd name="connsiteX46439" fmla="*/ 508387 w 4610101"/>
              <a:gd name="connsiteY46439" fmla="*/ 520171 h 6557032"/>
              <a:gd name="connsiteX46440" fmla="*/ 497454 w 4610101"/>
              <a:gd name="connsiteY46440" fmla="*/ 496483 h 6557032"/>
              <a:gd name="connsiteX46441" fmla="*/ 504743 w 4610101"/>
              <a:gd name="connsiteY46441" fmla="*/ 501949 h 6557032"/>
              <a:gd name="connsiteX46442" fmla="*/ 475589 w 4610101"/>
              <a:gd name="connsiteY46442" fmla="*/ 439995 h 6557032"/>
              <a:gd name="connsiteX46443" fmla="*/ 495632 w 4610101"/>
              <a:gd name="connsiteY46443" fmla="*/ 461862 h 6557032"/>
              <a:gd name="connsiteX46444" fmla="*/ 500985 w 4610101"/>
              <a:gd name="connsiteY46444" fmla="*/ 469222 h 6557032"/>
              <a:gd name="connsiteX46445" fmla="*/ 501554 w 4610101"/>
              <a:gd name="connsiteY46445" fmla="*/ 470973 h 6557032"/>
              <a:gd name="connsiteX46446" fmla="*/ 510209 w 4610101"/>
              <a:gd name="connsiteY46446" fmla="*/ 489194 h 6557032"/>
              <a:gd name="connsiteX46447" fmla="*/ 506337 w 4610101"/>
              <a:gd name="connsiteY46447" fmla="*/ 479173 h 6557032"/>
              <a:gd name="connsiteX46448" fmla="*/ 501520 w 4610101"/>
              <a:gd name="connsiteY46448" fmla="*/ 469958 h 6557032"/>
              <a:gd name="connsiteX46449" fmla="*/ 512452 w 4610101"/>
              <a:gd name="connsiteY46449" fmla="*/ 484990 h 6557032"/>
              <a:gd name="connsiteX46450" fmla="*/ 520811 w 4610101"/>
              <a:gd name="connsiteY46450" fmla="*/ 496484 h 6557032"/>
              <a:gd name="connsiteX46451" fmla="*/ 524786 w 4610101"/>
              <a:gd name="connsiteY46451" fmla="*/ 511061 h 6557032"/>
              <a:gd name="connsiteX46452" fmla="*/ 526609 w 4610101"/>
              <a:gd name="connsiteY46452" fmla="*/ 532926 h 6557032"/>
              <a:gd name="connsiteX46453" fmla="*/ 528431 w 4610101"/>
              <a:gd name="connsiteY46453" fmla="*/ 531105 h 6557032"/>
              <a:gd name="connsiteX46454" fmla="*/ 537542 w 4610101"/>
              <a:gd name="connsiteY46454" fmla="*/ 551148 h 6557032"/>
              <a:gd name="connsiteX46455" fmla="*/ 524786 w 4610101"/>
              <a:gd name="connsiteY46455" fmla="*/ 511061 h 6557032"/>
              <a:gd name="connsiteX46456" fmla="*/ 526609 w 4610101"/>
              <a:gd name="connsiteY46456" fmla="*/ 507417 h 6557032"/>
              <a:gd name="connsiteX46457" fmla="*/ 528431 w 4610101"/>
              <a:gd name="connsiteY46457" fmla="*/ 511061 h 6557032"/>
              <a:gd name="connsiteX46458" fmla="*/ 527975 w 4610101"/>
              <a:gd name="connsiteY46458" fmla="*/ 499672 h 6557032"/>
              <a:gd name="connsiteX46459" fmla="*/ 523571 w 4610101"/>
              <a:gd name="connsiteY46459" fmla="*/ 495268 h 6557032"/>
              <a:gd name="connsiteX46460" fmla="*/ 521142 w 4610101"/>
              <a:gd name="connsiteY46460" fmla="*/ 481906 h 6557032"/>
              <a:gd name="connsiteX46461" fmla="*/ 524786 w 4610101"/>
              <a:gd name="connsiteY46461" fmla="*/ 480083 h 6557032"/>
              <a:gd name="connsiteX46462" fmla="*/ 495632 w 4610101"/>
              <a:gd name="connsiteY46462" fmla="*/ 441819 h 6557032"/>
              <a:gd name="connsiteX46463" fmla="*/ 517498 w 4610101"/>
              <a:gd name="connsiteY46463" fmla="*/ 465506 h 6557032"/>
              <a:gd name="connsiteX46464" fmla="*/ 497226 w 4610101"/>
              <a:gd name="connsiteY46464" fmla="*/ 437491 h 6557032"/>
              <a:gd name="connsiteX46465" fmla="*/ 487454 w 4610101"/>
              <a:gd name="connsiteY46465" fmla="*/ 425455 h 6557032"/>
              <a:gd name="connsiteX46466" fmla="*/ 497454 w 4610101"/>
              <a:gd name="connsiteY46466" fmla="*/ 434530 h 6557032"/>
              <a:gd name="connsiteX46467" fmla="*/ 475589 w 4610101"/>
              <a:gd name="connsiteY46467" fmla="*/ 399908 h 6557032"/>
              <a:gd name="connsiteX46468" fmla="*/ 510209 w 4610101"/>
              <a:gd name="connsiteY46468" fmla="*/ 445463 h 6557032"/>
              <a:gd name="connsiteX46469" fmla="*/ 497454 w 4610101"/>
              <a:gd name="connsiteY46469" fmla="*/ 407196 h 6557032"/>
              <a:gd name="connsiteX46470" fmla="*/ 508387 w 4610101"/>
              <a:gd name="connsiteY46470" fmla="*/ 430886 h 6557032"/>
              <a:gd name="connsiteX46471" fmla="*/ 510209 w 4610101"/>
              <a:gd name="connsiteY46471" fmla="*/ 429063 h 6557032"/>
              <a:gd name="connsiteX46472" fmla="*/ 517498 w 4610101"/>
              <a:gd name="connsiteY46472" fmla="*/ 441819 h 6557032"/>
              <a:gd name="connsiteX46473" fmla="*/ 522964 w 4610101"/>
              <a:gd name="connsiteY46473" fmla="*/ 460039 h 6557032"/>
              <a:gd name="connsiteX46474" fmla="*/ 512031 w 4610101"/>
              <a:gd name="connsiteY46474" fmla="*/ 434530 h 6557032"/>
              <a:gd name="connsiteX46475" fmla="*/ 530253 w 4610101"/>
              <a:gd name="connsiteY46475" fmla="*/ 478262 h 6557032"/>
              <a:gd name="connsiteX46476" fmla="*/ 519320 w 4610101"/>
              <a:gd name="connsiteY46476" fmla="*/ 445463 h 6557032"/>
              <a:gd name="connsiteX46477" fmla="*/ 528431 w 4610101"/>
              <a:gd name="connsiteY46477" fmla="*/ 454574 h 6557032"/>
              <a:gd name="connsiteX46478" fmla="*/ 528431 w 4610101"/>
              <a:gd name="connsiteY46478" fmla="*/ 447284 h 6557032"/>
              <a:gd name="connsiteX46479" fmla="*/ 533897 w 4610101"/>
              <a:gd name="connsiteY46479" fmla="*/ 465506 h 6557032"/>
              <a:gd name="connsiteX46480" fmla="*/ 533897 w 4610101"/>
              <a:gd name="connsiteY46480" fmla="*/ 467328 h 6557032"/>
              <a:gd name="connsiteX46481" fmla="*/ 534125 w 4610101"/>
              <a:gd name="connsiteY46481" fmla="*/ 474845 h 6557032"/>
              <a:gd name="connsiteX46482" fmla="*/ 534199 w 4610101"/>
              <a:gd name="connsiteY46482" fmla="*/ 475260 h 6557032"/>
              <a:gd name="connsiteX46483" fmla="*/ 532075 w 4610101"/>
              <a:gd name="connsiteY46483" fmla="*/ 472795 h 6557032"/>
              <a:gd name="connsiteX46484" fmla="*/ 539364 w 4610101"/>
              <a:gd name="connsiteY46484" fmla="*/ 487373 h 6557032"/>
              <a:gd name="connsiteX46485" fmla="*/ 552119 w 4610101"/>
              <a:gd name="connsiteY46485" fmla="*/ 474618 h 6557032"/>
              <a:gd name="connsiteX46486" fmla="*/ 543008 w 4610101"/>
              <a:gd name="connsiteY46486" fmla="*/ 500127 h 6557032"/>
              <a:gd name="connsiteX46487" fmla="*/ 544830 w 4610101"/>
              <a:gd name="connsiteY46487" fmla="*/ 496483 h 6557032"/>
              <a:gd name="connsiteX46488" fmla="*/ 547948 w 4610101"/>
              <a:gd name="connsiteY46488" fmla="*/ 506228 h 6557032"/>
              <a:gd name="connsiteX46489" fmla="*/ 543691 w 4610101"/>
              <a:gd name="connsiteY46489" fmla="*/ 526094 h 6557032"/>
              <a:gd name="connsiteX46490" fmla="*/ 553941 w 4610101"/>
              <a:gd name="connsiteY46490" fmla="*/ 545681 h 6557032"/>
              <a:gd name="connsiteX46491" fmla="*/ 550297 w 4610101"/>
              <a:gd name="connsiteY46491" fmla="*/ 529282 h 6557032"/>
              <a:gd name="connsiteX46492" fmla="*/ 557586 w 4610101"/>
              <a:gd name="connsiteY46492" fmla="*/ 547504 h 6557032"/>
              <a:gd name="connsiteX46493" fmla="*/ 557586 w 4610101"/>
              <a:gd name="connsiteY46493" fmla="*/ 545681 h 6557032"/>
              <a:gd name="connsiteX46494" fmla="*/ 561230 w 4610101"/>
              <a:gd name="connsiteY46494" fmla="*/ 552970 h 6557032"/>
              <a:gd name="connsiteX46495" fmla="*/ 559303 w 4610101"/>
              <a:gd name="connsiteY46495" fmla="*/ 541706 h 6557032"/>
              <a:gd name="connsiteX46496" fmla="*/ 559408 w 4610101"/>
              <a:gd name="connsiteY46496" fmla="*/ 542037 h 6557032"/>
              <a:gd name="connsiteX46497" fmla="*/ 559408 w 4610101"/>
              <a:gd name="connsiteY46497" fmla="*/ 532926 h 6557032"/>
              <a:gd name="connsiteX46498" fmla="*/ 563052 w 4610101"/>
              <a:gd name="connsiteY46498" fmla="*/ 532926 h 6557032"/>
              <a:gd name="connsiteX46499" fmla="*/ 564874 w 4610101"/>
              <a:gd name="connsiteY46499" fmla="*/ 531105 h 6557032"/>
              <a:gd name="connsiteX46500" fmla="*/ 566697 w 4610101"/>
              <a:gd name="connsiteY46500" fmla="*/ 527461 h 6557032"/>
              <a:gd name="connsiteX46501" fmla="*/ 566697 w 4610101"/>
              <a:gd name="connsiteY46501" fmla="*/ 525638 h 6557032"/>
              <a:gd name="connsiteX46502" fmla="*/ 575808 w 4610101"/>
              <a:gd name="connsiteY46502" fmla="*/ 532926 h 6557032"/>
              <a:gd name="connsiteX46503" fmla="*/ 573985 w 4610101"/>
              <a:gd name="connsiteY46503" fmla="*/ 511061 h 6557032"/>
              <a:gd name="connsiteX46504" fmla="*/ 580135 w 4610101"/>
              <a:gd name="connsiteY46504" fmla="*/ 542948 h 6557032"/>
              <a:gd name="connsiteX46505" fmla="*/ 579492 w 4610101"/>
              <a:gd name="connsiteY46505" fmla="*/ 572974 h 6557032"/>
              <a:gd name="connsiteX46506" fmla="*/ 577630 w 4610101"/>
              <a:gd name="connsiteY46506" fmla="*/ 574836 h 6557032"/>
              <a:gd name="connsiteX46507" fmla="*/ 579460 w 4610101"/>
              <a:gd name="connsiteY46507" fmla="*/ 574470 h 6557032"/>
              <a:gd name="connsiteX46508" fmla="*/ 579452 w 4610101"/>
              <a:gd name="connsiteY46508" fmla="*/ 574836 h 6557032"/>
              <a:gd name="connsiteX46509" fmla="*/ 579623 w 4610101"/>
              <a:gd name="connsiteY46509" fmla="*/ 574438 h 6557032"/>
              <a:gd name="connsiteX46510" fmla="*/ 581046 w 4610101"/>
              <a:gd name="connsiteY46510" fmla="*/ 574153 h 6557032"/>
              <a:gd name="connsiteX46511" fmla="*/ 583096 w 4610101"/>
              <a:gd name="connsiteY46511" fmla="*/ 574836 h 6557032"/>
              <a:gd name="connsiteX46512" fmla="*/ 584919 w 4610101"/>
              <a:gd name="connsiteY46512" fmla="*/ 567548 h 6557032"/>
              <a:gd name="connsiteX46513" fmla="*/ 580819 w 4610101"/>
              <a:gd name="connsiteY46513" fmla="*/ 571647 h 6557032"/>
              <a:gd name="connsiteX46514" fmla="*/ 584919 w 4610101"/>
              <a:gd name="connsiteY46514" fmla="*/ 562081 h 6557032"/>
              <a:gd name="connsiteX46515" fmla="*/ 588562 w 4610101"/>
              <a:gd name="connsiteY46515" fmla="*/ 573014 h 6557032"/>
              <a:gd name="connsiteX46516" fmla="*/ 592207 w 4610101"/>
              <a:gd name="connsiteY46516" fmla="*/ 571192 h 6557032"/>
              <a:gd name="connsiteX46517" fmla="*/ 590385 w 4610101"/>
              <a:gd name="connsiteY46517" fmla="*/ 583947 h 6557032"/>
              <a:gd name="connsiteX46518" fmla="*/ 591959 w 4610101"/>
              <a:gd name="connsiteY46518" fmla="*/ 581462 h 6557032"/>
              <a:gd name="connsiteX46519" fmla="*/ 590840 w 4610101"/>
              <a:gd name="connsiteY46519" fmla="*/ 586681 h 6557032"/>
              <a:gd name="connsiteX46520" fmla="*/ 592207 w 4610101"/>
              <a:gd name="connsiteY46520" fmla="*/ 593058 h 6557032"/>
              <a:gd name="connsiteX46521" fmla="*/ 595852 w 4610101"/>
              <a:gd name="connsiteY46521" fmla="*/ 591236 h 6557032"/>
              <a:gd name="connsiteX46522" fmla="*/ 592374 w 4610101"/>
              <a:gd name="connsiteY46522" fmla="*/ 580805 h 6557032"/>
              <a:gd name="connsiteX46523" fmla="*/ 595267 w 4610101"/>
              <a:gd name="connsiteY46523" fmla="*/ 576236 h 6557032"/>
              <a:gd name="connsiteX46524" fmla="*/ 594030 w 4610101"/>
              <a:gd name="connsiteY46524" fmla="*/ 580303 h 6557032"/>
              <a:gd name="connsiteX46525" fmla="*/ 595852 w 4610101"/>
              <a:gd name="connsiteY46525" fmla="*/ 576658 h 6557032"/>
              <a:gd name="connsiteX46526" fmla="*/ 608606 w 4610101"/>
              <a:gd name="connsiteY46526" fmla="*/ 594880 h 6557032"/>
              <a:gd name="connsiteX46527" fmla="*/ 608606 w 4610101"/>
              <a:gd name="connsiteY46527" fmla="*/ 600347 h 6557032"/>
              <a:gd name="connsiteX46528" fmla="*/ 603140 w 4610101"/>
              <a:gd name="connsiteY46528" fmla="*/ 582125 h 6557032"/>
              <a:gd name="connsiteX46529" fmla="*/ 610429 w 4610101"/>
              <a:gd name="connsiteY46529" fmla="*/ 587591 h 6557032"/>
              <a:gd name="connsiteX46530" fmla="*/ 608606 w 4610101"/>
              <a:gd name="connsiteY46530" fmla="*/ 578481 h 6557032"/>
              <a:gd name="connsiteX46531" fmla="*/ 614074 w 4610101"/>
              <a:gd name="connsiteY46531" fmla="*/ 585769 h 6557032"/>
              <a:gd name="connsiteX46532" fmla="*/ 614074 w 4610101"/>
              <a:gd name="connsiteY46532" fmla="*/ 582125 h 6557032"/>
              <a:gd name="connsiteX46533" fmla="*/ 621362 w 4610101"/>
              <a:gd name="connsiteY46533" fmla="*/ 598524 h 6557032"/>
              <a:gd name="connsiteX46534" fmla="*/ 603140 w 4610101"/>
              <a:gd name="connsiteY46534" fmla="*/ 562081 h 6557032"/>
              <a:gd name="connsiteX46535" fmla="*/ 602576 w 4610101"/>
              <a:gd name="connsiteY46535" fmla="*/ 562819 h 6557032"/>
              <a:gd name="connsiteX46536" fmla="*/ 604279 w 4610101"/>
              <a:gd name="connsiteY46536" fmla="*/ 544543 h 6557032"/>
              <a:gd name="connsiteX46537" fmla="*/ 586741 w 4610101"/>
              <a:gd name="connsiteY46537" fmla="*/ 503771 h 6557032"/>
              <a:gd name="connsiteX46538" fmla="*/ 595852 w 4610101"/>
              <a:gd name="connsiteY46538" fmla="*/ 511061 h 6557032"/>
              <a:gd name="connsiteX46539" fmla="*/ 594030 w 4610101"/>
              <a:gd name="connsiteY46539" fmla="*/ 501949 h 6557032"/>
              <a:gd name="connsiteX46540" fmla="*/ 608606 w 4610101"/>
              <a:gd name="connsiteY46540" fmla="*/ 518349 h 6557032"/>
              <a:gd name="connsiteX46541" fmla="*/ 608606 w 4610101"/>
              <a:gd name="connsiteY46541" fmla="*/ 534749 h 6557032"/>
              <a:gd name="connsiteX46542" fmla="*/ 608606 w 4610101"/>
              <a:gd name="connsiteY46542" fmla="*/ 518349 h 6557032"/>
              <a:gd name="connsiteX46543" fmla="*/ 609584 w 4610101"/>
              <a:gd name="connsiteY46543" fmla="*/ 513543 h 6557032"/>
              <a:gd name="connsiteX46544" fmla="*/ 612251 w 4610101"/>
              <a:gd name="connsiteY46544" fmla="*/ 540215 h 6557032"/>
              <a:gd name="connsiteX46545" fmla="*/ 620922 w 4610101"/>
              <a:gd name="connsiteY46545" fmla="*/ 523634 h 6557032"/>
              <a:gd name="connsiteX46546" fmla="*/ 618144 w 4610101"/>
              <a:gd name="connsiteY46546" fmla="*/ 534009 h 6557032"/>
              <a:gd name="connsiteX46547" fmla="*/ 612251 w 4610101"/>
              <a:gd name="connsiteY46547" fmla="*/ 569370 h 6557032"/>
              <a:gd name="connsiteX46548" fmla="*/ 615895 w 4610101"/>
              <a:gd name="connsiteY46548" fmla="*/ 563904 h 6557032"/>
              <a:gd name="connsiteX46549" fmla="*/ 625006 w 4610101"/>
              <a:gd name="connsiteY46549" fmla="*/ 580303 h 6557032"/>
              <a:gd name="connsiteX46550" fmla="*/ 621362 w 4610101"/>
              <a:gd name="connsiteY46550" fmla="*/ 554792 h 6557032"/>
              <a:gd name="connsiteX46551" fmla="*/ 626828 w 4610101"/>
              <a:gd name="connsiteY46551" fmla="*/ 562081 h 6557032"/>
              <a:gd name="connsiteX46552" fmla="*/ 628650 w 4610101"/>
              <a:gd name="connsiteY46552" fmla="*/ 552970 h 6557032"/>
              <a:gd name="connsiteX46553" fmla="*/ 628650 w 4610101"/>
              <a:gd name="connsiteY46553" fmla="*/ 558437 h 6557032"/>
              <a:gd name="connsiteX46554" fmla="*/ 623185 w 4610101"/>
              <a:gd name="connsiteY46554" fmla="*/ 534749 h 6557032"/>
              <a:gd name="connsiteX46555" fmla="*/ 630472 w 4610101"/>
              <a:gd name="connsiteY46555" fmla="*/ 543860 h 6557032"/>
              <a:gd name="connsiteX46556" fmla="*/ 630028 w 4610101"/>
              <a:gd name="connsiteY46556" fmla="*/ 535861 h 6557032"/>
              <a:gd name="connsiteX46557" fmla="*/ 630472 w 4610101"/>
              <a:gd name="connsiteY46557" fmla="*/ 536571 h 6557032"/>
              <a:gd name="connsiteX46558" fmla="*/ 626828 w 4610101"/>
              <a:gd name="connsiteY46558" fmla="*/ 527461 h 6557032"/>
              <a:gd name="connsiteX46559" fmla="*/ 630017 w 4610101"/>
              <a:gd name="connsiteY46559" fmla="*/ 535660 h 6557032"/>
              <a:gd name="connsiteX46560" fmla="*/ 630028 w 4610101"/>
              <a:gd name="connsiteY46560" fmla="*/ 535861 h 6557032"/>
              <a:gd name="connsiteX46561" fmla="*/ 621590 w 4610101"/>
              <a:gd name="connsiteY46561" fmla="*/ 522358 h 6557032"/>
              <a:gd name="connsiteX46562" fmla="*/ 621732 w 4610101"/>
              <a:gd name="connsiteY46562" fmla="*/ 522087 h 6557032"/>
              <a:gd name="connsiteX46563" fmla="*/ 623526 w 4610101"/>
              <a:gd name="connsiteY46563" fmla="*/ 502804 h 6557032"/>
              <a:gd name="connsiteX46564" fmla="*/ 620803 w 4610101"/>
              <a:gd name="connsiteY46564" fmla="*/ 498599 h 6557032"/>
              <a:gd name="connsiteX46565" fmla="*/ 615895 w 4610101"/>
              <a:gd name="connsiteY46565" fmla="*/ 491017 h 6557032"/>
              <a:gd name="connsiteX46566" fmla="*/ 604963 w 4610101"/>
              <a:gd name="connsiteY46566" fmla="*/ 467328 h 6557032"/>
              <a:gd name="connsiteX46567" fmla="*/ 608008 w 4610101"/>
              <a:gd name="connsiteY46567" fmla="*/ 497784 h 6557032"/>
              <a:gd name="connsiteX46568" fmla="*/ 603140 w 4610101"/>
              <a:gd name="connsiteY46568" fmla="*/ 487373 h 6557032"/>
              <a:gd name="connsiteX46569" fmla="*/ 606784 w 4610101"/>
              <a:gd name="connsiteY46569" fmla="*/ 487373 h 6557032"/>
              <a:gd name="connsiteX46570" fmla="*/ 594030 w 4610101"/>
              <a:gd name="connsiteY46570" fmla="*/ 443640 h 6557032"/>
              <a:gd name="connsiteX46571" fmla="*/ 601318 w 4610101"/>
              <a:gd name="connsiteY46571" fmla="*/ 452751 h 6557032"/>
              <a:gd name="connsiteX46572" fmla="*/ 595852 w 4610101"/>
              <a:gd name="connsiteY46572" fmla="*/ 421775 h 6557032"/>
              <a:gd name="connsiteX46573" fmla="*/ 621362 w 4610101"/>
              <a:gd name="connsiteY46573" fmla="*/ 494662 h 6557032"/>
              <a:gd name="connsiteX46574" fmla="*/ 619539 w 4610101"/>
              <a:gd name="connsiteY46574" fmla="*/ 478262 h 6557032"/>
              <a:gd name="connsiteX46575" fmla="*/ 623185 w 4610101"/>
              <a:gd name="connsiteY46575" fmla="*/ 489194 h 6557032"/>
              <a:gd name="connsiteX46576" fmla="*/ 625006 w 4610101"/>
              <a:gd name="connsiteY46576" fmla="*/ 481906 h 6557032"/>
              <a:gd name="connsiteX46577" fmla="*/ 635939 w 4610101"/>
              <a:gd name="connsiteY46577" fmla="*/ 520171 h 6557032"/>
              <a:gd name="connsiteX46578" fmla="*/ 639583 w 4610101"/>
              <a:gd name="connsiteY46578" fmla="*/ 501949 h 6557032"/>
              <a:gd name="connsiteX46579" fmla="*/ 645050 w 4610101"/>
              <a:gd name="connsiteY46579" fmla="*/ 509238 h 6557032"/>
              <a:gd name="connsiteX46580" fmla="*/ 645050 w 4610101"/>
              <a:gd name="connsiteY46580" fmla="*/ 505594 h 6557032"/>
              <a:gd name="connsiteX46581" fmla="*/ 646302 w 4610101"/>
              <a:gd name="connsiteY46581" fmla="*/ 508096 h 6557032"/>
              <a:gd name="connsiteX46582" fmla="*/ 647778 w 4610101"/>
              <a:gd name="connsiteY46582" fmla="*/ 515353 h 6557032"/>
              <a:gd name="connsiteX46583" fmla="*/ 641178 w 4610101"/>
              <a:gd name="connsiteY46583" fmla="*/ 533154 h 6557032"/>
              <a:gd name="connsiteX46584" fmla="*/ 643228 w 4610101"/>
              <a:gd name="connsiteY46584" fmla="*/ 554792 h 6557032"/>
              <a:gd name="connsiteX46585" fmla="*/ 650289 w 4610101"/>
              <a:gd name="connsiteY46585" fmla="*/ 527688 h 6557032"/>
              <a:gd name="connsiteX46586" fmla="*/ 647778 w 4610101"/>
              <a:gd name="connsiteY46586" fmla="*/ 515353 h 6557032"/>
              <a:gd name="connsiteX46587" fmla="*/ 648694 w 4610101"/>
              <a:gd name="connsiteY46587" fmla="*/ 512882 h 6557032"/>
              <a:gd name="connsiteX46588" fmla="*/ 646302 w 4610101"/>
              <a:gd name="connsiteY46588" fmla="*/ 508096 h 6557032"/>
              <a:gd name="connsiteX46589" fmla="*/ 645050 w 4610101"/>
              <a:gd name="connsiteY46589" fmla="*/ 501949 h 6557032"/>
              <a:gd name="connsiteX46590" fmla="*/ 646872 w 4610101"/>
              <a:gd name="connsiteY46590" fmla="*/ 503771 h 6557032"/>
              <a:gd name="connsiteX46591" fmla="*/ 645050 w 4610101"/>
              <a:gd name="connsiteY46591" fmla="*/ 498306 h 6557032"/>
              <a:gd name="connsiteX46592" fmla="*/ 652339 w 4610101"/>
              <a:gd name="connsiteY46592" fmla="*/ 503771 h 6557032"/>
              <a:gd name="connsiteX46593" fmla="*/ 652339 w 4610101"/>
              <a:gd name="connsiteY46593" fmla="*/ 507417 h 6557032"/>
              <a:gd name="connsiteX46594" fmla="*/ 655983 w 4610101"/>
              <a:gd name="connsiteY46594" fmla="*/ 492838 h 6557032"/>
              <a:gd name="connsiteX46595" fmla="*/ 655983 w 4610101"/>
              <a:gd name="connsiteY46595" fmla="*/ 494662 h 6557032"/>
              <a:gd name="connsiteX46596" fmla="*/ 654161 w 4610101"/>
              <a:gd name="connsiteY46596" fmla="*/ 445463 h 6557032"/>
              <a:gd name="connsiteX46597" fmla="*/ 661449 w 4610101"/>
              <a:gd name="connsiteY46597" fmla="*/ 465506 h 6557032"/>
              <a:gd name="connsiteX46598" fmla="*/ 661449 w 4610101"/>
              <a:gd name="connsiteY46598" fmla="*/ 461862 h 6557032"/>
              <a:gd name="connsiteX46599" fmla="*/ 663854 w 4610101"/>
              <a:gd name="connsiteY46599" fmla="*/ 488313 h 6557032"/>
              <a:gd name="connsiteX46600" fmla="*/ 661449 w 4610101"/>
              <a:gd name="connsiteY46600" fmla="*/ 476439 h 6557032"/>
              <a:gd name="connsiteX46601" fmla="*/ 663272 w 4610101"/>
              <a:gd name="connsiteY46601" fmla="*/ 511061 h 6557032"/>
              <a:gd name="connsiteX46602" fmla="*/ 664720 w 4610101"/>
              <a:gd name="connsiteY46602" fmla="*/ 497841 h 6557032"/>
              <a:gd name="connsiteX46603" fmla="*/ 665094 w 4610101"/>
              <a:gd name="connsiteY46603" fmla="*/ 501949 h 6557032"/>
              <a:gd name="connsiteX46604" fmla="*/ 683316 w 4610101"/>
              <a:gd name="connsiteY46604" fmla="*/ 461862 h 6557032"/>
              <a:gd name="connsiteX46605" fmla="*/ 676027 w 4610101"/>
              <a:gd name="connsiteY46605" fmla="*/ 483728 h 6557032"/>
              <a:gd name="connsiteX46606" fmla="*/ 674205 w 4610101"/>
              <a:gd name="connsiteY46606" fmla="*/ 481906 h 6557032"/>
              <a:gd name="connsiteX46607" fmla="*/ 667400 w 4610101"/>
              <a:gd name="connsiteY46607" fmla="*/ 502348 h 6557032"/>
              <a:gd name="connsiteX46608" fmla="*/ 660350 w 4610101"/>
              <a:gd name="connsiteY46608" fmla="*/ 518504 h 6557032"/>
              <a:gd name="connsiteX46609" fmla="*/ 657805 w 4610101"/>
              <a:gd name="connsiteY46609" fmla="*/ 505594 h 6557032"/>
              <a:gd name="connsiteX46610" fmla="*/ 654161 w 4610101"/>
              <a:gd name="connsiteY46610" fmla="*/ 512882 h 6557032"/>
              <a:gd name="connsiteX46611" fmla="*/ 652339 w 4610101"/>
              <a:gd name="connsiteY46611" fmla="*/ 542037 h 6557032"/>
              <a:gd name="connsiteX46612" fmla="*/ 654161 w 4610101"/>
              <a:gd name="connsiteY46612" fmla="*/ 532926 h 6557032"/>
              <a:gd name="connsiteX46613" fmla="*/ 655830 w 4610101"/>
              <a:gd name="connsiteY46613" fmla="*/ 536263 h 6557032"/>
              <a:gd name="connsiteX46614" fmla="*/ 654474 w 4610101"/>
              <a:gd name="connsiteY46614" fmla="*/ 543917 h 6557032"/>
              <a:gd name="connsiteX46615" fmla="*/ 654567 w 4610101"/>
              <a:gd name="connsiteY46615" fmla="*/ 544059 h 6557032"/>
              <a:gd name="connsiteX46616" fmla="*/ 665094 w 4610101"/>
              <a:gd name="connsiteY46616" fmla="*/ 560260 h 6557032"/>
              <a:gd name="connsiteX46617" fmla="*/ 659627 w 4610101"/>
              <a:gd name="connsiteY46617" fmla="*/ 551148 h 6557032"/>
              <a:gd name="connsiteX46618" fmla="*/ 665094 w 4610101"/>
              <a:gd name="connsiteY46618" fmla="*/ 554792 h 6557032"/>
              <a:gd name="connsiteX46619" fmla="*/ 666916 w 4610101"/>
              <a:gd name="connsiteY46619" fmla="*/ 551148 h 6557032"/>
              <a:gd name="connsiteX46620" fmla="*/ 668738 w 4610101"/>
              <a:gd name="connsiteY46620" fmla="*/ 556616 h 6557032"/>
              <a:gd name="connsiteX46621" fmla="*/ 666202 w 4610101"/>
              <a:gd name="connsiteY46621" fmla="*/ 566252 h 6557032"/>
              <a:gd name="connsiteX46622" fmla="*/ 661449 w 4610101"/>
              <a:gd name="connsiteY46622" fmla="*/ 560260 h 6557032"/>
              <a:gd name="connsiteX46623" fmla="*/ 661905 w 4610101"/>
              <a:gd name="connsiteY46623" fmla="*/ 568914 h 6557032"/>
              <a:gd name="connsiteX46624" fmla="*/ 664321 w 4610101"/>
              <a:gd name="connsiteY46624" fmla="*/ 573401 h 6557032"/>
              <a:gd name="connsiteX46625" fmla="*/ 664183 w 4610101"/>
              <a:gd name="connsiteY46625" fmla="*/ 573926 h 6557032"/>
              <a:gd name="connsiteX46626" fmla="*/ 664289 w 4610101"/>
              <a:gd name="connsiteY46626" fmla="*/ 575946 h 6557032"/>
              <a:gd name="connsiteX46627" fmla="*/ 663272 w 4610101"/>
              <a:gd name="connsiteY46627" fmla="*/ 574836 h 6557032"/>
              <a:gd name="connsiteX46628" fmla="*/ 664411 w 4610101"/>
              <a:gd name="connsiteY46628" fmla="*/ 578253 h 6557032"/>
              <a:gd name="connsiteX46629" fmla="*/ 664533 w 4610101"/>
              <a:gd name="connsiteY46629" fmla="*/ 580584 h 6557032"/>
              <a:gd name="connsiteX46630" fmla="*/ 663744 w 4610101"/>
              <a:gd name="connsiteY46630" fmla="*/ 580978 h 6557032"/>
              <a:gd name="connsiteX46631" fmla="*/ 662360 w 4610101"/>
              <a:gd name="connsiteY46631" fmla="*/ 572331 h 6557032"/>
              <a:gd name="connsiteX46632" fmla="*/ 654161 w 4610101"/>
              <a:gd name="connsiteY46632" fmla="*/ 556616 h 6557032"/>
              <a:gd name="connsiteX46633" fmla="*/ 653522 w 4610101"/>
              <a:gd name="connsiteY46633" fmla="*/ 557896 h 6557032"/>
              <a:gd name="connsiteX46634" fmla="*/ 652339 w 4610101"/>
              <a:gd name="connsiteY46634" fmla="*/ 554792 h 6557032"/>
              <a:gd name="connsiteX46635" fmla="*/ 650972 w 4610101"/>
              <a:gd name="connsiteY46635" fmla="*/ 562994 h 6557032"/>
              <a:gd name="connsiteX46636" fmla="*/ 648580 w 4610101"/>
              <a:gd name="connsiteY46636" fmla="*/ 567777 h 6557032"/>
              <a:gd name="connsiteX46637" fmla="*/ 648694 w 4610101"/>
              <a:gd name="connsiteY46637" fmla="*/ 565725 h 6557032"/>
              <a:gd name="connsiteX46638" fmla="*/ 646872 w 4610101"/>
              <a:gd name="connsiteY46638" fmla="*/ 571192 h 6557032"/>
              <a:gd name="connsiteX46639" fmla="*/ 661449 w 4610101"/>
              <a:gd name="connsiteY46639" fmla="*/ 598524 h 6557032"/>
              <a:gd name="connsiteX46640" fmla="*/ 661449 w 4610101"/>
              <a:gd name="connsiteY46640" fmla="*/ 589414 h 6557032"/>
              <a:gd name="connsiteX46641" fmla="*/ 664998 w 4610101"/>
              <a:gd name="connsiteY46641" fmla="*/ 589414 h 6557032"/>
              <a:gd name="connsiteX46642" fmla="*/ 665094 w 4610101"/>
              <a:gd name="connsiteY46642" fmla="*/ 591236 h 6557032"/>
              <a:gd name="connsiteX46643" fmla="*/ 672383 w 4610101"/>
              <a:gd name="connsiteY46643" fmla="*/ 594880 h 6557032"/>
              <a:gd name="connsiteX46644" fmla="*/ 668738 w 4610101"/>
              <a:gd name="connsiteY46644" fmla="*/ 587591 h 6557032"/>
              <a:gd name="connsiteX46645" fmla="*/ 676027 w 4610101"/>
              <a:gd name="connsiteY46645" fmla="*/ 593058 h 6557032"/>
              <a:gd name="connsiteX46646" fmla="*/ 677849 w 4610101"/>
              <a:gd name="connsiteY46646" fmla="*/ 596702 h 6557032"/>
              <a:gd name="connsiteX46647" fmla="*/ 679671 w 4610101"/>
              <a:gd name="connsiteY46647" fmla="*/ 593058 h 6557032"/>
              <a:gd name="connsiteX46648" fmla="*/ 676027 w 4610101"/>
              <a:gd name="connsiteY46648" fmla="*/ 591236 h 6557032"/>
              <a:gd name="connsiteX46649" fmla="*/ 674205 w 4610101"/>
              <a:gd name="connsiteY46649" fmla="*/ 587591 h 6557032"/>
              <a:gd name="connsiteX46650" fmla="*/ 664687 w 4610101"/>
              <a:gd name="connsiteY46650" fmla="*/ 583513 h 6557032"/>
              <a:gd name="connsiteX46651" fmla="*/ 664533 w 4610101"/>
              <a:gd name="connsiteY46651" fmla="*/ 580584 h 6557032"/>
              <a:gd name="connsiteX46652" fmla="*/ 665094 w 4610101"/>
              <a:gd name="connsiteY46652" fmla="*/ 580303 h 6557032"/>
              <a:gd name="connsiteX46653" fmla="*/ 664411 w 4610101"/>
              <a:gd name="connsiteY46653" fmla="*/ 578253 h 6557032"/>
              <a:gd name="connsiteX46654" fmla="*/ 664289 w 4610101"/>
              <a:gd name="connsiteY46654" fmla="*/ 575946 h 6557032"/>
              <a:gd name="connsiteX46655" fmla="*/ 668282 w 4610101"/>
              <a:gd name="connsiteY46655" fmla="*/ 580303 h 6557032"/>
              <a:gd name="connsiteX46656" fmla="*/ 670560 w 4610101"/>
              <a:gd name="connsiteY46656" fmla="*/ 580303 h 6557032"/>
              <a:gd name="connsiteX46657" fmla="*/ 674205 w 4610101"/>
              <a:gd name="connsiteY46657" fmla="*/ 573014 h 6557032"/>
              <a:gd name="connsiteX46658" fmla="*/ 674205 w 4610101"/>
              <a:gd name="connsiteY46658" fmla="*/ 585769 h 6557032"/>
              <a:gd name="connsiteX46659" fmla="*/ 679671 w 4610101"/>
              <a:gd name="connsiteY46659" fmla="*/ 552970 h 6557032"/>
              <a:gd name="connsiteX46660" fmla="*/ 681493 w 4610101"/>
              <a:gd name="connsiteY46660" fmla="*/ 558437 h 6557032"/>
              <a:gd name="connsiteX46661" fmla="*/ 688782 w 4610101"/>
              <a:gd name="connsiteY46661" fmla="*/ 552970 h 6557032"/>
              <a:gd name="connsiteX46662" fmla="*/ 688782 w 4610101"/>
              <a:gd name="connsiteY46662" fmla="*/ 567548 h 6557032"/>
              <a:gd name="connsiteX46663" fmla="*/ 694249 w 4610101"/>
              <a:gd name="connsiteY46663" fmla="*/ 545681 h 6557032"/>
              <a:gd name="connsiteX46664" fmla="*/ 681493 w 4610101"/>
              <a:gd name="connsiteY46664" fmla="*/ 536571 h 6557032"/>
              <a:gd name="connsiteX46665" fmla="*/ 688782 w 4610101"/>
              <a:gd name="connsiteY46665" fmla="*/ 547504 h 6557032"/>
              <a:gd name="connsiteX46666" fmla="*/ 666916 w 4610101"/>
              <a:gd name="connsiteY46666" fmla="*/ 518349 h 6557032"/>
              <a:gd name="connsiteX46667" fmla="*/ 701537 w 4610101"/>
              <a:gd name="connsiteY46667" fmla="*/ 547504 h 6557032"/>
              <a:gd name="connsiteX46668" fmla="*/ 699715 w 4610101"/>
              <a:gd name="connsiteY46668" fmla="*/ 538393 h 6557032"/>
              <a:gd name="connsiteX46669" fmla="*/ 705182 w 4610101"/>
              <a:gd name="connsiteY46669" fmla="*/ 542037 h 6557032"/>
              <a:gd name="connsiteX46670" fmla="*/ 697893 w 4610101"/>
              <a:gd name="connsiteY46670" fmla="*/ 474618 h 6557032"/>
              <a:gd name="connsiteX46671" fmla="*/ 710648 w 4610101"/>
              <a:gd name="connsiteY46671" fmla="*/ 496483 h 6557032"/>
              <a:gd name="connsiteX46672" fmla="*/ 711739 w 4610101"/>
              <a:gd name="connsiteY46672" fmla="*/ 508768 h 6557032"/>
              <a:gd name="connsiteX46673" fmla="*/ 711646 w 4610101"/>
              <a:gd name="connsiteY46673" fmla="*/ 519887 h 6557032"/>
              <a:gd name="connsiteX46674" fmla="*/ 713076 w 4610101"/>
              <a:gd name="connsiteY46674" fmla="*/ 525230 h 6557032"/>
              <a:gd name="connsiteX46675" fmla="*/ 708826 w 4610101"/>
              <a:gd name="connsiteY46675" fmla="*/ 552970 h 6557032"/>
              <a:gd name="connsiteX46676" fmla="*/ 715139 w 4610101"/>
              <a:gd name="connsiteY46676" fmla="*/ 532928 h 6557032"/>
              <a:gd name="connsiteX46677" fmla="*/ 716115 w 4610101"/>
              <a:gd name="connsiteY46677" fmla="*/ 536571 h 6557032"/>
              <a:gd name="connsiteX46678" fmla="*/ 726953 w 4610101"/>
              <a:gd name="connsiteY46678" fmla="*/ 527539 h 6557032"/>
              <a:gd name="connsiteX46679" fmla="*/ 727322 w 4610101"/>
              <a:gd name="connsiteY46679" fmla="*/ 528553 h 6557032"/>
              <a:gd name="connsiteX46680" fmla="*/ 729035 w 4610101"/>
              <a:gd name="connsiteY46680" fmla="*/ 535412 h 6557032"/>
              <a:gd name="connsiteX46681" fmla="*/ 727048 w 4610101"/>
              <a:gd name="connsiteY46681" fmla="*/ 538393 h 6557032"/>
              <a:gd name="connsiteX46682" fmla="*/ 725226 w 4610101"/>
              <a:gd name="connsiteY46682" fmla="*/ 567548 h 6557032"/>
              <a:gd name="connsiteX46683" fmla="*/ 730692 w 4610101"/>
              <a:gd name="connsiteY46683" fmla="*/ 589414 h 6557032"/>
              <a:gd name="connsiteX46684" fmla="*/ 728870 w 4610101"/>
              <a:gd name="connsiteY46684" fmla="*/ 556616 h 6557032"/>
              <a:gd name="connsiteX46685" fmla="*/ 734336 w 4610101"/>
              <a:gd name="connsiteY46685" fmla="*/ 563904 h 6557032"/>
              <a:gd name="connsiteX46686" fmla="*/ 735237 w 4610101"/>
              <a:gd name="connsiteY46686" fmla="*/ 553813 h 6557032"/>
              <a:gd name="connsiteX46687" fmla="*/ 736158 w 4610101"/>
              <a:gd name="connsiteY46687" fmla="*/ 560260 h 6557032"/>
              <a:gd name="connsiteX46688" fmla="*/ 739739 w 4610101"/>
              <a:gd name="connsiteY46688" fmla="*/ 562306 h 6557032"/>
              <a:gd name="connsiteX46689" fmla="*/ 737525 w 4610101"/>
              <a:gd name="connsiteY46689" fmla="*/ 570054 h 6557032"/>
              <a:gd name="connsiteX46690" fmla="*/ 743447 w 4610101"/>
              <a:gd name="connsiteY46690" fmla="*/ 576658 h 6557032"/>
              <a:gd name="connsiteX46691" fmla="*/ 743675 w 4610101"/>
              <a:gd name="connsiteY46691" fmla="*/ 569370 h 6557032"/>
              <a:gd name="connsiteX46692" fmla="*/ 740002 w 4610101"/>
              <a:gd name="connsiteY46692" fmla="*/ 562456 h 6557032"/>
              <a:gd name="connsiteX46693" fmla="*/ 743581 w 4610101"/>
              <a:gd name="connsiteY46693" fmla="*/ 564501 h 6557032"/>
              <a:gd name="connsiteX46694" fmla="*/ 743903 w 4610101"/>
              <a:gd name="connsiteY46694" fmla="*/ 565498 h 6557032"/>
              <a:gd name="connsiteX46695" fmla="*/ 748914 w 4610101"/>
              <a:gd name="connsiteY46695" fmla="*/ 571192 h 6557032"/>
              <a:gd name="connsiteX46696" fmla="*/ 752558 w 4610101"/>
              <a:gd name="connsiteY46696" fmla="*/ 565725 h 6557032"/>
              <a:gd name="connsiteX46697" fmla="*/ 747370 w 4610101"/>
              <a:gd name="connsiteY46697" fmla="*/ 562915 h 6557032"/>
              <a:gd name="connsiteX46698" fmla="*/ 747092 w 4610101"/>
              <a:gd name="connsiteY46698" fmla="*/ 562081 h 6557032"/>
              <a:gd name="connsiteX46699" fmla="*/ 756203 w 4610101"/>
              <a:gd name="connsiteY46699" fmla="*/ 562081 h 6557032"/>
              <a:gd name="connsiteX46700" fmla="*/ 752331 w 4610101"/>
              <a:gd name="connsiteY46700" fmla="*/ 572104 h 6557032"/>
              <a:gd name="connsiteX46701" fmla="*/ 752345 w 4610101"/>
              <a:gd name="connsiteY46701" fmla="*/ 572129 h 6557032"/>
              <a:gd name="connsiteX46702" fmla="*/ 748914 w 4610101"/>
              <a:gd name="connsiteY46702" fmla="*/ 576204 h 6557032"/>
              <a:gd name="connsiteX46703" fmla="*/ 747092 w 4610101"/>
              <a:gd name="connsiteY46703" fmla="*/ 587591 h 6557032"/>
              <a:gd name="connsiteX46704" fmla="*/ 753014 w 4610101"/>
              <a:gd name="connsiteY46704" fmla="*/ 594880 h 6557032"/>
              <a:gd name="connsiteX46705" fmla="*/ 757249 w 4610101"/>
              <a:gd name="connsiteY46705" fmla="*/ 595772 h 6557032"/>
              <a:gd name="connsiteX46706" fmla="*/ 754380 w 4610101"/>
              <a:gd name="connsiteY46706" fmla="*/ 605813 h 6557032"/>
              <a:gd name="connsiteX46707" fmla="*/ 758025 w 4610101"/>
              <a:gd name="connsiteY46707" fmla="*/ 602169 h 6557032"/>
              <a:gd name="connsiteX46708" fmla="*/ 754380 w 4610101"/>
              <a:gd name="connsiteY46708" fmla="*/ 607635 h 6557032"/>
              <a:gd name="connsiteX46709" fmla="*/ 765313 w 4610101"/>
              <a:gd name="connsiteY46709" fmla="*/ 603991 h 6557032"/>
              <a:gd name="connsiteX46710" fmla="*/ 758025 w 4610101"/>
              <a:gd name="connsiteY46710" fmla="*/ 627679 h 6557032"/>
              <a:gd name="connsiteX46711" fmla="*/ 758025 w 4610101"/>
              <a:gd name="connsiteY46711" fmla="*/ 618568 h 6557032"/>
              <a:gd name="connsiteX46712" fmla="*/ 759900 w 4610101"/>
              <a:gd name="connsiteY46712" fmla="*/ 618193 h 6557032"/>
              <a:gd name="connsiteX46713" fmla="*/ 765183 w 4610101"/>
              <a:gd name="connsiteY46713" fmla="*/ 620261 h 6557032"/>
              <a:gd name="connsiteX46714" fmla="*/ 767136 w 4610101"/>
              <a:gd name="connsiteY46714" fmla="*/ 622213 h 6557032"/>
              <a:gd name="connsiteX46715" fmla="*/ 767524 w 4610101"/>
              <a:gd name="connsiteY46715" fmla="*/ 621177 h 6557032"/>
              <a:gd name="connsiteX46716" fmla="*/ 768046 w 4610101"/>
              <a:gd name="connsiteY46716" fmla="*/ 621381 h 6557032"/>
              <a:gd name="connsiteX46717" fmla="*/ 769641 w 4610101"/>
              <a:gd name="connsiteY46717" fmla="*/ 626313 h 6557032"/>
              <a:gd name="connsiteX46718" fmla="*/ 776246 w 4610101"/>
              <a:gd name="connsiteY46718" fmla="*/ 631324 h 6557032"/>
              <a:gd name="connsiteX46719" fmla="*/ 772602 w 4610101"/>
              <a:gd name="connsiteY46719" fmla="*/ 633146 h 6557032"/>
              <a:gd name="connsiteX46720" fmla="*/ 787179 w 4610101"/>
              <a:gd name="connsiteY46720" fmla="*/ 656834 h 6557032"/>
              <a:gd name="connsiteX46721" fmla="*/ 785357 w 4610101"/>
              <a:gd name="connsiteY46721" fmla="*/ 651368 h 6557032"/>
              <a:gd name="connsiteX46722" fmla="*/ 789003 w 4610101"/>
              <a:gd name="connsiteY46722" fmla="*/ 653190 h 6557032"/>
              <a:gd name="connsiteX46723" fmla="*/ 783535 w 4610101"/>
              <a:gd name="connsiteY46723" fmla="*/ 644079 h 6557032"/>
              <a:gd name="connsiteX46724" fmla="*/ 796290 w 4610101"/>
              <a:gd name="connsiteY46724" fmla="*/ 645901 h 6557032"/>
              <a:gd name="connsiteX46725" fmla="*/ 794468 w 4610101"/>
              <a:gd name="connsiteY46725" fmla="*/ 649545 h 6557032"/>
              <a:gd name="connsiteX46726" fmla="*/ 798372 w 4610101"/>
              <a:gd name="connsiteY46726" fmla="*/ 652149 h 6557032"/>
              <a:gd name="connsiteX46727" fmla="*/ 799935 w 4610101"/>
              <a:gd name="connsiteY46727" fmla="*/ 653190 h 6557032"/>
              <a:gd name="connsiteX46728" fmla="*/ 799935 w 4610101"/>
              <a:gd name="connsiteY46728" fmla="*/ 645901 h 6557032"/>
              <a:gd name="connsiteX46729" fmla="*/ 799935 w 4610101"/>
              <a:gd name="connsiteY46729" fmla="*/ 640435 h 6557032"/>
              <a:gd name="connsiteX46730" fmla="*/ 796290 w 4610101"/>
              <a:gd name="connsiteY46730" fmla="*/ 644079 h 6557032"/>
              <a:gd name="connsiteX46731" fmla="*/ 792646 w 4610101"/>
              <a:gd name="connsiteY46731" fmla="*/ 640435 h 6557032"/>
              <a:gd name="connsiteX46732" fmla="*/ 789003 w 4610101"/>
              <a:gd name="connsiteY46732" fmla="*/ 638612 h 6557032"/>
              <a:gd name="connsiteX46733" fmla="*/ 794468 w 4610101"/>
              <a:gd name="connsiteY46733" fmla="*/ 636790 h 6557032"/>
              <a:gd name="connsiteX46734" fmla="*/ 787179 w 4610101"/>
              <a:gd name="connsiteY46734" fmla="*/ 631324 h 6557032"/>
              <a:gd name="connsiteX46735" fmla="*/ 798112 w 4610101"/>
              <a:gd name="connsiteY46735" fmla="*/ 633146 h 6557032"/>
              <a:gd name="connsiteX46736" fmla="*/ 768046 w 4610101"/>
              <a:gd name="connsiteY46736" fmla="*/ 621381 h 6557032"/>
              <a:gd name="connsiteX46737" fmla="*/ 767769 w 4610101"/>
              <a:gd name="connsiteY46737" fmla="*/ 620525 h 6557032"/>
              <a:gd name="connsiteX46738" fmla="*/ 767819 w 4610101"/>
              <a:gd name="connsiteY46738" fmla="*/ 620391 h 6557032"/>
              <a:gd name="connsiteX46739" fmla="*/ 767136 w 4610101"/>
              <a:gd name="connsiteY46739" fmla="*/ 618568 h 6557032"/>
              <a:gd name="connsiteX46740" fmla="*/ 767769 w 4610101"/>
              <a:gd name="connsiteY46740" fmla="*/ 620525 h 6557032"/>
              <a:gd name="connsiteX46741" fmla="*/ 767524 w 4610101"/>
              <a:gd name="connsiteY46741" fmla="*/ 621177 h 6557032"/>
              <a:gd name="connsiteX46742" fmla="*/ 765183 w 4610101"/>
              <a:gd name="connsiteY46742" fmla="*/ 620261 h 6557032"/>
              <a:gd name="connsiteX46743" fmla="*/ 762580 w 4610101"/>
              <a:gd name="connsiteY46743" fmla="*/ 617658 h 6557032"/>
              <a:gd name="connsiteX46744" fmla="*/ 759900 w 4610101"/>
              <a:gd name="connsiteY46744" fmla="*/ 618193 h 6557032"/>
              <a:gd name="connsiteX46745" fmla="*/ 756203 w 4610101"/>
              <a:gd name="connsiteY46745" fmla="*/ 616746 h 6557032"/>
              <a:gd name="connsiteX46746" fmla="*/ 776246 w 4610101"/>
              <a:gd name="connsiteY46746" fmla="*/ 618568 h 6557032"/>
              <a:gd name="connsiteX46747" fmla="*/ 772602 w 4610101"/>
              <a:gd name="connsiteY46747" fmla="*/ 605813 h 6557032"/>
              <a:gd name="connsiteX46748" fmla="*/ 787179 w 4610101"/>
              <a:gd name="connsiteY46748" fmla="*/ 624035 h 6557032"/>
              <a:gd name="connsiteX46749" fmla="*/ 785357 w 4610101"/>
              <a:gd name="connsiteY46749" fmla="*/ 620391 h 6557032"/>
              <a:gd name="connsiteX46750" fmla="*/ 796290 w 4610101"/>
              <a:gd name="connsiteY46750" fmla="*/ 622213 h 6557032"/>
              <a:gd name="connsiteX46751" fmla="*/ 789003 w 4610101"/>
              <a:gd name="connsiteY46751" fmla="*/ 611280 h 6557032"/>
              <a:gd name="connsiteX46752" fmla="*/ 758025 w 4610101"/>
              <a:gd name="connsiteY46752" fmla="*/ 602169 h 6557032"/>
              <a:gd name="connsiteX46753" fmla="*/ 761670 w 4610101"/>
              <a:gd name="connsiteY46753" fmla="*/ 596702 h 6557032"/>
              <a:gd name="connsiteX46754" fmla="*/ 761670 w 4610101"/>
              <a:gd name="connsiteY46754" fmla="*/ 578481 h 6557032"/>
              <a:gd name="connsiteX46755" fmla="*/ 756203 w 4610101"/>
              <a:gd name="connsiteY46755" fmla="*/ 567548 h 6557032"/>
              <a:gd name="connsiteX46756" fmla="*/ 761670 w 4610101"/>
              <a:gd name="connsiteY46756" fmla="*/ 571192 h 6557032"/>
              <a:gd name="connsiteX46757" fmla="*/ 761670 w 4610101"/>
              <a:gd name="connsiteY46757" fmla="*/ 569370 h 6557032"/>
              <a:gd name="connsiteX46758" fmla="*/ 767136 w 4610101"/>
              <a:gd name="connsiteY46758" fmla="*/ 580303 h 6557032"/>
              <a:gd name="connsiteX46759" fmla="*/ 765313 w 4610101"/>
              <a:gd name="connsiteY46759" fmla="*/ 562081 h 6557032"/>
              <a:gd name="connsiteX46760" fmla="*/ 765313 w 4610101"/>
              <a:gd name="connsiteY46760" fmla="*/ 563904 h 6557032"/>
              <a:gd name="connsiteX46761" fmla="*/ 728870 w 4610101"/>
              <a:gd name="connsiteY46761" fmla="*/ 507417 h 6557032"/>
              <a:gd name="connsiteX46762" fmla="*/ 759848 w 4610101"/>
              <a:gd name="connsiteY46762" fmla="*/ 540215 h 6557032"/>
              <a:gd name="connsiteX46763" fmla="*/ 750737 w 4610101"/>
              <a:gd name="connsiteY46763" fmla="*/ 512882 h 6557032"/>
              <a:gd name="connsiteX46764" fmla="*/ 764630 w 4610101"/>
              <a:gd name="connsiteY46764" fmla="*/ 539304 h 6557032"/>
              <a:gd name="connsiteX46765" fmla="*/ 779087 w 4610101"/>
              <a:gd name="connsiteY46765" fmla="*/ 553920 h 6557032"/>
              <a:gd name="connsiteX46766" fmla="*/ 778791 w 4610101"/>
              <a:gd name="connsiteY46766" fmla="*/ 554174 h 6557032"/>
              <a:gd name="connsiteX46767" fmla="*/ 778070 w 4610101"/>
              <a:gd name="connsiteY46767" fmla="*/ 552970 h 6557032"/>
              <a:gd name="connsiteX46768" fmla="*/ 778457 w 4610101"/>
              <a:gd name="connsiteY46768" fmla="*/ 554460 h 6557032"/>
              <a:gd name="connsiteX46769" fmla="*/ 778070 w 4610101"/>
              <a:gd name="connsiteY46769" fmla="*/ 554792 h 6557032"/>
              <a:gd name="connsiteX46770" fmla="*/ 778659 w 4610101"/>
              <a:gd name="connsiteY46770" fmla="*/ 555236 h 6557032"/>
              <a:gd name="connsiteX46771" fmla="*/ 779436 w 4610101"/>
              <a:gd name="connsiteY46771" fmla="*/ 558210 h 6557032"/>
              <a:gd name="connsiteX46772" fmla="*/ 783535 w 4610101"/>
              <a:gd name="connsiteY46772" fmla="*/ 562081 h 6557032"/>
              <a:gd name="connsiteX46773" fmla="*/ 780056 w 4610101"/>
              <a:gd name="connsiteY46773" fmla="*/ 556284 h 6557032"/>
              <a:gd name="connsiteX46774" fmla="*/ 785357 w 4610101"/>
              <a:gd name="connsiteY46774" fmla="*/ 560260 h 6557032"/>
              <a:gd name="connsiteX46775" fmla="*/ 779087 w 4610101"/>
              <a:gd name="connsiteY46775" fmla="*/ 553920 h 6557032"/>
              <a:gd name="connsiteX46776" fmla="*/ 781257 w 4610101"/>
              <a:gd name="connsiteY46776" fmla="*/ 552059 h 6557032"/>
              <a:gd name="connsiteX46777" fmla="*/ 781713 w 4610101"/>
              <a:gd name="connsiteY46777" fmla="*/ 549326 h 6557032"/>
              <a:gd name="connsiteX46778" fmla="*/ 779892 w 4610101"/>
              <a:gd name="connsiteY46778" fmla="*/ 547504 h 6557032"/>
              <a:gd name="connsiteX46779" fmla="*/ 781713 w 4610101"/>
              <a:gd name="connsiteY46779" fmla="*/ 547504 h 6557032"/>
              <a:gd name="connsiteX46780" fmla="*/ 781257 w 4610101"/>
              <a:gd name="connsiteY46780" fmla="*/ 540671 h 6557032"/>
              <a:gd name="connsiteX46781" fmla="*/ 779906 w 4610101"/>
              <a:gd name="connsiteY46781" fmla="*/ 536615 h 6557032"/>
              <a:gd name="connsiteX46782" fmla="*/ 779890 w 4610101"/>
              <a:gd name="connsiteY46782" fmla="*/ 536596 h 6557032"/>
              <a:gd name="connsiteX46783" fmla="*/ 779902 w 4610101"/>
              <a:gd name="connsiteY46783" fmla="*/ 536603 h 6557032"/>
              <a:gd name="connsiteX46784" fmla="*/ 778070 w 4610101"/>
              <a:gd name="connsiteY46784" fmla="*/ 531105 h 6557032"/>
              <a:gd name="connsiteX46785" fmla="*/ 781830 w 4610101"/>
              <a:gd name="connsiteY46785" fmla="*/ 537831 h 6557032"/>
              <a:gd name="connsiteX46786" fmla="*/ 784901 w 4610101"/>
              <a:gd name="connsiteY46786" fmla="*/ 539785 h 6557032"/>
              <a:gd name="connsiteX46787" fmla="*/ 787179 w 4610101"/>
              <a:gd name="connsiteY46787" fmla="*/ 545707 h 6557032"/>
              <a:gd name="connsiteX46788" fmla="*/ 784044 w 4610101"/>
              <a:gd name="connsiteY46788" fmla="*/ 541788 h 6557032"/>
              <a:gd name="connsiteX46789" fmla="*/ 785585 w 4610101"/>
              <a:gd name="connsiteY46789" fmla="*/ 544543 h 6557032"/>
              <a:gd name="connsiteX46790" fmla="*/ 794468 w 4610101"/>
              <a:gd name="connsiteY46790" fmla="*/ 556616 h 6557032"/>
              <a:gd name="connsiteX46791" fmla="*/ 798112 w 4610101"/>
              <a:gd name="connsiteY46791" fmla="*/ 552970 h 6557032"/>
              <a:gd name="connsiteX46792" fmla="*/ 798112 w 4610101"/>
              <a:gd name="connsiteY46792" fmla="*/ 578481 h 6557032"/>
              <a:gd name="connsiteX46793" fmla="*/ 801757 w 4610101"/>
              <a:gd name="connsiteY46793" fmla="*/ 573014 h 6557032"/>
              <a:gd name="connsiteX46794" fmla="*/ 807223 w 4610101"/>
              <a:gd name="connsiteY46794" fmla="*/ 576658 h 6557032"/>
              <a:gd name="connsiteX46795" fmla="*/ 810868 w 4610101"/>
              <a:gd name="connsiteY46795" fmla="*/ 583947 h 6557032"/>
              <a:gd name="connsiteX46796" fmla="*/ 807223 w 4610101"/>
              <a:gd name="connsiteY46796" fmla="*/ 576658 h 6557032"/>
              <a:gd name="connsiteX46797" fmla="*/ 805401 w 4610101"/>
              <a:gd name="connsiteY46797" fmla="*/ 571192 h 6557032"/>
              <a:gd name="connsiteX46798" fmla="*/ 801757 w 4610101"/>
              <a:gd name="connsiteY46798" fmla="*/ 573014 h 6557032"/>
              <a:gd name="connsiteX46799" fmla="*/ 794468 w 4610101"/>
              <a:gd name="connsiteY46799" fmla="*/ 531105 h 6557032"/>
              <a:gd name="connsiteX46800" fmla="*/ 803579 w 4610101"/>
              <a:gd name="connsiteY46800" fmla="*/ 536571 h 6557032"/>
              <a:gd name="connsiteX46801" fmla="*/ 796290 w 4610101"/>
              <a:gd name="connsiteY46801" fmla="*/ 500127 h 6557032"/>
              <a:gd name="connsiteX46802" fmla="*/ 818156 w 4610101"/>
              <a:gd name="connsiteY46802" fmla="*/ 545681 h 6557032"/>
              <a:gd name="connsiteX46803" fmla="*/ 821801 w 4610101"/>
              <a:gd name="connsiteY46803" fmla="*/ 532926 h 6557032"/>
              <a:gd name="connsiteX46804" fmla="*/ 820202 w 4610101"/>
              <a:gd name="connsiteY46804" fmla="*/ 546426 h 6557032"/>
              <a:gd name="connsiteX46805" fmla="*/ 819979 w 4610101"/>
              <a:gd name="connsiteY46805" fmla="*/ 545681 h 6557032"/>
              <a:gd name="connsiteX46806" fmla="*/ 819979 w 4610101"/>
              <a:gd name="connsiteY46806" fmla="*/ 554792 h 6557032"/>
              <a:gd name="connsiteX46807" fmla="*/ 820340 w 4610101"/>
              <a:gd name="connsiteY46807" fmla="*/ 553589 h 6557032"/>
              <a:gd name="connsiteX46808" fmla="*/ 821032 w 4610101"/>
              <a:gd name="connsiteY46808" fmla="*/ 557526 h 6557032"/>
              <a:gd name="connsiteX46809" fmla="*/ 827267 w 4610101"/>
              <a:gd name="connsiteY46809" fmla="*/ 562081 h 6557032"/>
              <a:gd name="connsiteX46810" fmla="*/ 823623 w 4610101"/>
              <a:gd name="connsiteY46810" fmla="*/ 558437 h 6557032"/>
              <a:gd name="connsiteX46811" fmla="*/ 828144 w 4610101"/>
              <a:gd name="connsiteY46811" fmla="*/ 558437 h 6557032"/>
              <a:gd name="connsiteX46812" fmla="*/ 827495 w 4610101"/>
              <a:gd name="connsiteY46812" fmla="*/ 560943 h 6557032"/>
              <a:gd name="connsiteX46813" fmla="*/ 832734 w 4610101"/>
              <a:gd name="connsiteY46813" fmla="*/ 565725 h 6557032"/>
              <a:gd name="connsiteX46814" fmla="*/ 834556 w 4610101"/>
              <a:gd name="connsiteY46814" fmla="*/ 562081 h 6557032"/>
              <a:gd name="connsiteX46815" fmla="*/ 840022 w 4610101"/>
              <a:gd name="connsiteY46815" fmla="*/ 565725 h 6557032"/>
              <a:gd name="connsiteX46816" fmla="*/ 834556 w 4610101"/>
              <a:gd name="connsiteY46816" fmla="*/ 562081 h 6557032"/>
              <a:gd name="connsiteX46817" fmla="*/ 829187 w 4610101"/>
              <a:gd name="connsiteY46817" fmla="*/ 554923 h 6557032"/>
              <a:gd name="connsiteX46818" fmla="*/ 829317 w 4610101"/>
              <a:gd name="connsiteY46818" fmla="*/ 550237 h 6557032"/>
              <a:gd name="connsiteX46819" fmla="*/ 825445 w 4610101"/>
              <a:gd name="connsiteY46819" fmla="*/ 542037 h 6557032"/>
              <a:gd name="connsiteX46820" fmla="*/ 832734 w 4610101"/>
              <a:gd name="connsiteY46820" fmla="*/ 547504 h 6557032"/>
              <a:gd name="connsiteX46821" fmla="*/ 825445 w 4610101"/>
              <a:gd name="connsiteY46821" fmla="*/ 529282 h 6557032"/>
              <a:gd name="connsiteX46822" fmla="*/ 834556 w 4610101"/>
              <a:gd name="connsiteY46822" fmla="*/ 536571 h 6557032"/>
              <a:gd name="connsiteX46823" fmla="*/ 830912 w 4610101"/>
              <a:gd name="connsiteY46823" fmla="*/ 529282 h 6557032"/>
              <a:gd name="connsiteX46824" fmla="*/ 834556 w 4610101"/>
              <a:gd name="connsiteY46824" fmla="*/ 529282 h 6557032"/>
              <a:gd name="connsiteX46825" fmla="*/ 834556 w 4610101"/>
              <a:gd name="connsiteY46825" fmla="*/ 521993 h 6557032"/>
              <a:gd name="connsiteX46826" fmla="*/ 841845 w 4610101"/>
              <a:gd name="connsiteY46826" fmla="*/ 527461 h 6557032"/>
              <a:gd name="connsiteX46827" fmla="*/ 843170 w 4610101"/>
              <a:gd name="connsiteY46827" fmla="*/ 524148 h 6557032"/>
              <a:gd name="connsiteX46828" fmla="*/ 842755 w 4610101"/>
              <a:gd name="connsiteY46828" fmla="*/ 532016 h 6557032"/>
              <a:gd name="connsiteX46829" fmla="*/ 841845 w 4610101"/>
              <a:gd name="connsiteY46829" fmla="*/ 549326 h 6557032"/>
              <a:gd name="connsiteX46830" fmla="*/ 849133 w 4610101"/>
              <a:gd name="connsiteY46830" fmla="*/ 527461 h 6557032"/>
              <a:gd name="connsiteX46831" fmla="*/ 850956 w 4610101"/>
              <a:gd name="connsiteY46831" fmla="*/ 536571 h 6557032"/>
              <a:gd name="connsiteX46832" fmla="*/ 850956 w 4610101"/>
              <a:gd name="connsiteY46832" fmla="*/ 523815 h 6557032"/>
              <a:gd name="connsiteX46833" fmla="*/ 854600 w 4610101"/>
              <a:gd name="connsiteY46833" fmla="*/ 521993 h 6557032"/>
              <a:gd name="connsiteX46834" fmla="*/ 850956 w 4610101"/>
              <a:gd name="connsiteY46834" fmla="*/ 507417 h 6557032"/>
              <a:gd name="connsiteX46835" fmla="*/ 854600 w 4610101"/>
              <a:gd name="connsiteY46835" fmla="*/ 511061 h 6557032"/>
              <a:gd name="connsiteX46836" fmla="*/ 845489 w 4610101"/>
              <a:gd name="connsiteY46836" fmla="*/ 496483 h 6557032"/>
              <a:gd name="connsiteX46837" fmla="*/ 843667 w 4610101"/>
              <a:gd name="connsiteY46837" fmla="*/ 500127 h 6557032"/>
              <a:gd name="connsiteX46838" fmla="*/ 843667 w 4610101"/>
              <a:gd name="connsiteY46838" fmla="*/ 491017 h 6557032"/>
              <a:gd name="connsiteX46839" fmla="*/ 858244 w 4610101"/>
              <a:gd name="connsiteY46839" fmla="*/ 496483 h 6557032"/>
              <a:gd name="connsiteX46840" fmla="*/ 850956 w 4610101"/>
              <a:gd name="connsiteY46840" fmla="*/ 485550 h 6557032"/>
              <a:gd name="connsiteX46841" fmla="*/ 860066 w 4610101"/>
              <a:gd name="connsiteY46841" fmla="*/ 496483 h 6557032"/>
              <a:gd name="connsiteX46842" fmla="*/ 865305 w 4610101"/>
              <a:gd name="connsiteY46842" fmla="*/ 496028 h 6557032"/>
              <a:gd name="connsiteX46843" fmla="*/ 867611 w 4610101"/>
              <a:gd name="connsiteY46843" fmla="*/ 497384 h 6557032"/>
              <a:gd name="connsiteX46844" fmla="*/ 869177 w 4610101"/>
              <a:gd name="connsiteY46844" fmla="*/ 500811 h 6557032"/>
              <a:gd name="connsiteX46845" fmla="*/ 878288 w 4610101"/>
              <a:gd name="connsiteY46845" fmla="*/ 501949 h 6557032"/>
              <a:gd name="connsiteX46846" fmla="*/ 868635 w 4610101"/>
              <a:gd name="connsiteY46846" fmla="*/ 495054 h 6557032"/>
              <a:gd name="connsiteX46847" fmla="*/ 867355 w 4610101"/>
              <a:gd name="connsiteY46847" fmla="*/ 487373 h 6557032"/>
              <a:gd name="connsiteX46848" fmla="*/ 874644 w 4610101"/>
              <a:gd name="connsiteY46848" fmla="*/ 492838 h 6557032"/>
              <a:gd name="connsiteX46849" fmla="*/ 876466 w 4610101"/>
              <a:gd name="connsiteY46849" fmla="*/ 489194 h 6557032"/>
              <a:gd name="connsiteX46850" fmla="*/ 877149 w 4610101"/>
              <a:gd name="connsiteY46850" fmla="*/ 494206 h 6557032"/>
              <a:gd name="connsiteX46851" fmla="*/ 879863 w 4610101"/>
              <a:gd name="connsiteY46851" fmla="*/ 495498 h 6557032"/>
              <a:gd name="connsiteX46852" fmla="*/ 880111 w 4610101"/>
              <a:gd name="connsiteY46852" fmla="*/ 496483 h 6557032"/>
              <a:gd name="connsiteX46853" fmla="*/ 880460 w 4610101"/>
              <a:gd name="connsiteY46853" fmla="*/ 495782 h 6557032"/>
              <a:gd name="connsiteX46854" fmla="*/ 881933 w 4610101"/>
              <a:gd name="connsiteY46854" fmla="*/ 496483 h 6557032"/>
              <a:gd name="connsiteX46855" fmla="*/ 881132 w 4610101"/>
              <a:gd name="connsiteY46855" fmla="*/ 494438 h 6557032"/>
              <a:gd name="connsiteX46856" fmla="*/ 881932 w 4610101"/>
              <a:gd name="connsiteY46856" fmla="*/ 492839 h 6557032"/>
              <a:gd name="connsiteX46857" fmla="*/ 880040 w 4610101"/>
              <a:gd name="connsiteY46857" fmla="*/ 490947 h 6557032"/>
              <a:gd name="connsiteX46858" fmla="*/ 881933 w 4610101"/>
              <a:gd name="connsiteY46858" fmla="*/ 487373 h 6557032"/>
              <a:gd name="connsiteX46859" fmla="*/ 884894 w 4610101"/>
              <a:gd name="connsiteY46859" fmla="*/ 493978 h 6557032"/>
              <a:gd name="connsiteX46860" fmla="*/ 887058 w 4610101"/>
              <a:gd name="connsiteY46860" fmla="*/ 497964 h 6557032"/>
              <a:gd name="connsiteX46861" fmla="*/ 883755 w 4610101"/>
              <a:gd name="connsiteY46861" fmla="*/ 494662 h 6557032"/>
              <a:gd name="connsiteX46862" fmla="*/ 889222 w 4610101"/>
              <a:gd name="connsiteY46862" fmla="*/ 505594 h 6557032"/>
              <a:gd name="connsiteX46863" fmla="*/ 888712 w 4610101"/>
              <a:gd name="connsiteY46863" fmla="*/ 501012 h 6557032"/>
              <a:gd name="connsiteX46864" fmla="*/ 889222 w 4610101"/>
              <a:gd name="connsiteY46864" fmla="*/ 501949 h 6557032"/>
              <a:gd name="connsiteX46865" fmla="*/ 889222 w 4610101"/>
              <a:gd name="connsiteY46865" fmla="*/ 496483 h 6557032"/>
              <a:gd name="connsiteX46866" fmla="*/ 891043 w 4610101"/>
              <a:gd name="connsiteY46866" fmla="*/ 500127 h 6557032"/>
              <a:gd name="connsiteX46867" fmla="*/ 891043 w 4610101"/>
              <a:gd name="connsiteY46867" fmla="*/ 496483 h 6557032"/>
              <a:gd name="connsiteX46868" fmla="*/ 891043 w 4610101"/>
              <a:gd name="connsiteY46868" fmla="*/ 492838 h 6557032"/>
              <a:gd name="connsiteX46869" fmla="*/ 887399 w 4610101"/>
              <a:gd name="connsiteY46869" fmla="*/ 494662 h 6557032"/>
              <a:gd name="connsiteX46870" fmla="*/ 889222 w 4610101"/>
              <a:gd name="connsiteY46870" fmla="*/ 483728 h 6557032"/>
              <a:gd name="connsiteX46871" fmla="*/ 894688 w 4610101"/>
              <a:gd name="connsiteY46871" fmla="*/ 492838 h 6557032"/>
              <a:gd name="connsiteX46872" fmla="*/ 887399 w 4610101"/>
              <a:gd name="connsiteY46872" fmla="*/ 465506 h 6557032"/>
              <a:gd name="connsiteX46873" fmla="*/ 892866 w 4610101"/>
              <a:gd name="connsiteY46873" fmla="*/ 463684 h 6557032"/>
              <a:gd name="connsiteX46874" fmla="*/ 891043 w 4610101"/>
              <a:gd name="connsiteY46874" fmla="*/ 447284 h 6557032"/>
              <a:gd name="connsiteX46875" fmla="*/ 894688 w 4610101"/>
              <a:gd name="connsiteY46875" fmla="*/ 465506 h 6557032"/>
              <a:gd name="connsiteX46876" fmla="*/ 898333 w 4610101"/>
              <a:gd name="connsiteY46876" fmla="*/ 469150 h 6557032"/>
              <a:gd name="connsiteX46877" fmla="*/ 895599 w 4610101"/>
              <a:gd name="connsiteY46877" fmla="*/ 488283 h 6557032"/>
              <a:gd name="connsiteX46878" fmla="*/ 897492 w 4610101"/>
              <a:gd name="connsiteY46878" fmla="*/ 501538 h 6557032"/>
              <a:gd name="connsiteX46879" fmla="*/ 897421 w 4610101"/>
              <a:gd name="connsiteY46879" fmla="*/ 501722 h 6557032"/>
              <a:gd name="connsiteX46880" fmla="*/ 897560 w 4610101"/>
              <a:gd name="connsiteY46880" fmla="*/ 502011 h 6557032"/>
              <a:gd name="connsiteX46881" fmla="*/ 898333 w 4610101"/>
              <a:gd name="connsiteY46881" fmla="*/ 507417 h 6557032"/>
              <a:gd name="connsiteX46882" fmla="*/ 899261 w 4610101"/>
              <a:gd name="connsiteY46882" fmla="*/ 505557 h 6557032"/>
              <a:gd name="connsiteX46883" fmla="*/ 899904 w 4610101"/>
              <a:gd name="connsiteY46883" fmla="*/ 506896 h 6557032"/>
              <a:gd name="connsiteX46884" fmla="*/ 898561 w 4610101"/>
              <a:gd name="connsiteY46884" fmla="*/ 511288 h 6557032"/>
              <a:gd name="connsiteX46885" fmla="*/ 896510 w 4610101"/>
              <a:gd name="connsiteY46885" fmla="*/ 523815 h 6557032"/>
              <a:gd name="connsiteX46886" fmla="*/ 898333 w 4610101"/>
              <a:gd name="connsiteY46886" fmla="*/ 516527 h 6557032"/>
              <a:gd name="connsiteX46887" fmla="*/ 902659 w 4610101"/>
              <a:gd name="connsiteY46887" fmla="*/ 530193 h 6557032"/>
              <a:gd name="connsiteX46888" fmla="*/ 902251 w 4610101"/>
              <a:gd name="connsiteY46888" fmla="*/ 532426 h 6557032"/>
              <a:gd name="connsiteX46889" fmla="*/ 900154 w 4610101"/>
              <a:gd name="connsiteY46889" fmla="*/ 543860 h 6557032"/>
              <a:gd name="connsiteX46890" fmla="*/ 909265 w 4610101"/>
              <a:gd name="connsiteY46890" fmla="*/ 549326 h 6557032"/>
              <a:gd name="connsiteX46891" fmla="*/ 909845 w 4610101"/>
              <a:gd name="connsiteY46891" fmla="*/ 546676 h 6557032"/>
              <a:gd name="connsiteX46892" fmla="*/ 911087 w 4610101"/>
              <a:gd name="connsiteY46892" fmla="*/ 556616 h 6557032"/>
              <a:gd name="connsiteX46893" fmla="*/ 916555 w 4610101"/>
              <a:gd name="connsiteY46893" fmla="*/ 547504 h 6557032"/>
              <a:gd name="connsiteX46894" fmla="*/ 910635 w 4610101"/>
              <a:gd name="connsiteY46894" fmla="*/ 543065 h 6557032"/>
              <a:gd name="connsiteX46895" fmla="*/ 910859 w 4610101"/>
              <a:gd name="connsiteY46895" fmla="*/ 542037 h 6557032"/>
              <a:gd name="connsiteX46896" fmla="*/ 905621 w 4610101"/>
              <a:gd name="connsiteY46896" fmla="*/ 534749 h 6557032"/>
              <a:gd name="connsiteX46897" fmla="*/ 912909 w 4610101"/>
              <a:gd name="connsiteY46897" fmla="*/ 540215 h 6557032"/>
              <a:gd name="connsiteX46898" fmla="*/ 916555 w 4610101"/>
              <a:gd name="connsiteY46898" fmla="*/ 520171 h 6557032"/>
              <a:gd name="connsiteX46899" fmla="*/ 918376 w 4610101"/>
              <a:gd name="connsiteY46899" fmla="*/ 521993 h 6557032"/>
              <a:gd name="connsiteX46900" fmla="*/ 922020 w 4610101"/>
              <a:gd name="connsiteY46900" fmla="*/ 516527 h 6557032"/>
              <a:gd name="connsiteX46901" fmla="*/ 927487 w 4610101"/>
              <a:gd name="connsiteY46901" fmla="*/ 518870 h 6557032"/>
              <a:gd name="connsiteX46902" fmla="*/ 934777 w 4610101"/>
              <a:gd name="connsiteY46902" fmla="*/ 521993 h 6557032"/>
              <a:gd name="connsiteX46903" fmla="*/ 932624 w 4610101"/>
              <a:gd name="connsiteY46903" fmla="*/ 526204 h 6557032"/>
              <a:gd name="connsiteX46904" fmla="*/ 931131 w 4610101"/>
              <a:gd name="connsiteY46904" fmla="*/ 523815 h 6557032"/>
              <a:gd name="connsiteX46905" fmla="*/ 925666 w 4610101"/>
              <a:gd name="connsiteY46905" fmla="*/ 542037 h 6557032"/>
              <a:gd name="connsiteX46906" fmla="*/ 918376 w 4610101"/>
              <a:gd name="connsiteY46906" fmla="*/ 545681 h 6557032"/>
              <a:gd name="connsiteX46907" fmla="*/ 922020 w 4610101"/>
              <a:gd name="connsiteY46907" fmla="*/ 556616 h 6557032"/>
              <a:gd name="connsiteX46908" fmla="*/ 925666 w 4610101"/>
              <a:gd name="connsiteY46908" fmla="*/ 545681 h 6557032"/>
              <a:gd name="connsiteX46909" fmla="*/ 925666 w 4610101"/>
              <a:gd name="connsiteY46909" fmla="*/ 565725 h 6557032"/>
              <a:gd name="connsiteX46910" fmla="*/ 940242 w 4610101"/>
              <a:gd name="connsiteY46910" fmla="*/ 534749 h 6557032"/>
              <a:gd name="connsiteX46911" fmla="*/ 937371 w 4610101"/>
              <a:gd name="connsiteY46911" fmla="*/ 534749 h 6557032"/>
              <a:gd name="connsiteX46912" fmla="*/ 938192 w 4610101"/>
              <a:gd name="connsiteY46912" fmla="*/ 530877 h 6557032"/>
              <a:gd name="connsiteX46913" fmla="*/ 943886 w 4610101"/>
              <a:gd name="connsiteY46913" fmla="*/ 521993 h 6557032"/>
              <a:gd name="connsiteX46914" fmla="*/ 940242 w 4610101"/>
              <a:gd name="connsiteY46914" fmla="*/ 509238 h 6557032"/>
              <a:gd name="connsiteX46915" fmla="*/ 927487 w 4610101"/>
              <a:gd name="connsiteY46915" fmla="*/ 496483 h 6557032"/>
              <a:gd name="connsiteX46916" fmla="*/ 932953 w 4610101"/>
              <a:gd name="connsiteY46916" fmla="*/ 494662 h 6557032"/>
              <a:gd name="connsiteX46917" fmla="*/ 923843 w 4610101"/>
              <a:gd name="connsiteY46917" fmla="*/ 470972 h 6557032"/>
              <a:gd name="connsiteX46918" fmla="*/ 940242 w 4610101"/>
              <a:gd name="connsiteY46918" fmla="*/ 498306 h 6557032"/>
              <a:gd name="connsiteX46919" fmla="*/ 938420 w 4610101"/>
              <a:gd name="connsiteY46919" fmla="*/ 476439 h 6557032"/>
              <a:gd name="connsiteX46920" fmla="*/ 947531 w 4610101"/>
              <a:gd name="connsiteY46920" fmla="*/ 483728 h 6557032"/>
              <a:gd name="connsiteX46921" fmla="*/ 948779 w 4610101"/>
              <a:gd name="connsiteY46921" fmla="*/ 478736 h 6557032"/>
              <a:gd name="connsiteX46922" fmla="*/ 951133 w 4610101"/>
              <a:gd name="connsiteY46922" fmla="*/ 480059 h 6557032"/>
              <a:gd name="connsiteX46923" fmla="*/ 951160 w 4610101"/>
              <a:gd name="connsiteY46923" fmla="*/ 480146 h 6557032"/>
              <a:gd name="connsiteX46924" fmla="*/ 948669 w 4610101"/>
              <a:gd name="connsiteY46924" fmla="*/ 490561 h 6557032"/>
              <a:gd name="connsiteX46925" fmla="*/ 952997 w 4610101"/>
              <a:gd name="connsiteY46925" fmla="*/ 498306 h 6557032"/>
              <a:gd name="connsiteX46926" fmla="*/ 953225 w 4610101"/>
              <a:gd name="connsiteY46926" fmla="*/ 486461 h 6557032"/>
              <a:gd name="connsiteX46927" fmla="*/ 951160 w 4610101"/>
              <a:gd name="connsiteY46927" fmla="*/ 480146 h 6557032"/>
              <a:gd name="connsiteX46928" fmla="*/ 951175 w 4610101"/>
              <a:gd name="connsiteY46928" fmla="*/ 480083 h 6557032"/>
              <a:gd name="connsiteX46929" fmla="*/ 949353 w 4610101"/>
              <a:gd name="connsiteY46929" fmla="*/ 461862 h 6557032"/>
              <a:gd name="connsiteX46930" fmla="*/ 958464 w 4610101"/>
              <a:gd name="connsiteY46930" fmla="*/ 461862 h 6557032"/>
              <a:gd name="connsiteX46931" fmla="*/ 958464 w 4610101"/>
              <a:gd name="connsiteY46931" fmla="*/ 485550 h 6557032"/>
              <a:gd name="connsiteX46932" fmla="*/ 965753 w 4610101"/>
              <a:gd name="connsiteY46932" fmla="*/ 467328 h 6557032"/>
              <a:gd name="connsiteX46933" fmla="*/ 965753 w 4610101"/>
              <a:gd name="connsiteY46933" fmla="*/ 472795 h 6557032"/>
              <a:gd name="connsiteX46934" fmla="*/ 969397 w 4610101"/>
              <a:gd name="connsiteY46934" fmla="*/ 472112 h 6557032"/>
              <a:gd name="connsiteX46935" fmla="*/ 970872 w 4610101"/>
              <a:gd name="connsiteY46935" fmla="*/ 472389 h 6557032"/>
              <a:gd name="connsiteX46936" fmla="*/ 961880 w 4610101"/>
              <a:gd name="connsiteY46936" fmla="*/ 478262 h 6557032"/>
              <a:gd name="connsiteX46937" fmla="*/ 960286 w 4610101"/>
              <a:gd name="connsiteY46937" fmla="*/ 491017 h 6557032"/>
              <a:gd name="connsiteX46938" fmla="*/ 972004 w 4610101"/>
              <a:gd name="connsiteY46938" fmla="*/ 472601 h 6557032"/>
              <a:gd name="connsiteX46939" fmla="*/ 973041 w 4610101"/>
              <a:gd name="connsiteY46939" fmla="*/ 472795 h 6557032"/>
              <a:gd name="connsiteX46940" fmla="*/ 972642 w 4610101"/>
              <a:gd name="connsiteY46940" fmla="*/ 471599 h 6557032"/>
              <a:gd name="connsiteX46941" fmla="*/ 973041 w 4610101"/>
              <a:gd name="connsiteY46941" fmla="*/ 470972 h 6557032"/>
              <a:gd name="connsiteX46942" fmla="*/ 972542 w 4610101"/>
              <a:gd name="connsiteY46942" fmla="*/ 471298 h 6557032"/>
              <a:gd name="connsiteX46943" fmla="*/ 970308 w 4610101"/>
              <a:gd name="connsiteY46943" fmla="*/ 464595 h 6557032"/>
              <a:gd name="connsiteX46944" fmla="*/ 967575 w 4610101"/>
              <a:gd name="connsiteY46944" fmla="*/ 456395 h 6557032"/>
              <a:gd name="connsiteX46945" fmla="*/ 973041 w 4610101"/>
              <a:gd name="connsiteY46945" fmla="*/ 458218 h 6557032"/>
              <a:gd name="connsiteX46946" fmla="*/ 973952 w 4610101"/>
              <a:gd name="connsiteY46946" fmla="*/ 459129 h 6557032"/>
              <a:gd name="connsiteX46947" fmla="*/ 978508 w 4610101"/>
              <a:gd name="connsiteY46947" fmla="*/ 463684 h 6557032"/>
              <a:gd name="connsiteX46948" fmla="*/ 978508 w 4610101"/>
              <a:gd name="connsiteY46948" fmla="*/ 479628 h 6557032"/>
              <a:gd name="connsiteX46949" fmla="*/ 980330 w 4610101"/>
              <a:gd name="connsiteY46949" fmla="*/ 481830 h 6557032"/>
              <a:gd name="connsiteX46950" fmla="*/ 980330 w 4610101"/>
              <a:gd name="connsiteY46950" fmla="*/ 489194 h 6557032"/>
              <a:gd name="connsiteX46951" fmla="*/ 980330 w 4610101"/>
              <a:gd name="connsiteY46951" fmla="*/ 492838 h 6557032"/>
              <a:gd name="connsiteX46952" fmla="*/ 980330 w 4610101"/>
              <a:gd name="connsiteY46952" fmla="*/ 489194 h 6557032"/>
              <a:gd name="connsiteX46953" fmla="*/ 983974 w 4610101"/>
              <a:gd name="connsiteY46953" fmla="*/ 494662 h 6557032"/>
              <a:gd name="connsiteX46954" fmla="*/ 984637 w 4610101"/>
              <a:gd name="connsiteY46954" fmla="*/ 487035 h 6557032"/>
              <a:gd name="connsiteX46955" fmla="*/ 989441 w 4610101"/>
              <a:gd name="connsiteY46955" fmla="*/ 492838 h 6557032"/>
              <a:gd name="connsiteX46956" fmla="*/ 987619 w 4610101"/>
              <a:gd name="connsiteY46956" fmla="*/ 487373 h 6557032"/>
              <a:gd name="connsiteX46957" fmla="*/ 991263 w 4610101"/>
              <a:gd name="connsiteY46957" fmla="*/ 485550 h 6557032"/>
              <a:gd name="connsiteX46958" fmla="*/ 989441 w 4610101"/>
              <a:gd name="connsiteY46958" fmla="*/ 489194 h 6557032"/>
              <a:gd name="connsiteX46959" fmla="*/ 991263 w 4610101"/>
              <a:gd name="connsiteY46959" fmla="*/ 485550 h 6557032"/>
              <a:gd name="connsiteX46960" fmla="*/ 1002196 w 4610101"/>
              <a:gd name="connsiteY46960" fmla="*/ 441819 h 6557032"/>
              <a:gd name="connsiteX46961" fmla="*/ 994907 w 4610101"/>
              <a:gd name="connsiteY46961" fmla="*/ 432707 h 6557032"/>
              <a:gd name="connsiteX46962" fmla="*/ 998916 w 4610101"/>
              <a:gd name="connsiteY46962" fmla="*/ 434044 h 6557032"/>
              <a:gd name="connsiteX46963" fmla="*/ 998552 w 4610101"/>
              <a:gd name="connsiteY46963" fmla="*/ 434530 h 6557032"/>
              <a:gd name="connsiteX46964" fmla="*/ 1005840 w 4610101"/>
              <a:gd name="connsiteY46964" fmla="*/ 436351 h 6557032"/>
              <a:gd name="connsiteX46965" fmla="*/ 998916 w 4610101"/>
              <a:gd name="connsiteY46965" fmla="*/ 434044 h 6557032"/>
              <a:gd name="connsiteX46966" fmla="*/ 1004018 w 4610101"/>
              <a:gd name="connsiteY46966" fmla="*/ 427240 h 6557032"/>
              <a:gd name="connsiteX46967" fmla="*/ 1005840 w 4610101"/>
              <a:gd name="connsiteY46967" fmla="*/ 429063 h 6557032"/>
              <a:gd name="connsiteX46968" fmla="*/ 971219 w 4610101"/>
              <a:gd name="connsiteY46968" fmla="*/ 388976 h 6557032"/>
              <a:gd name="connsiteX46969" fmla="*/ 980330 w 4610101"/>
              <a:gd name="connsiteY46969" fmla="*/ 387152 h 6557032"/>
              <a:gd name="connsiteX46970" fmla="*/ 974863 w 4610101"/>
              <a:gd name="connsiteY46970" fmla="*/ 383509 h 6557032"/>
              <a:gd name="connsiteX46971" fmla="*/ 989441 w 4610101"/>
              <a:gd name="connsiteY46971" fmla="*/ 388976 h 6557032"/>
              <a:gd name="connsiteX46972" fmla="*/ 980330 w 4610101"/>
              <a:gd name="connsiteY46972" fmla="*/ 378041 h 6557032"/>
              <a:gd name="connsiteX46973" fmla="*/ 989441 w 4610101"/>
              <a:gd name="connsiteY46973" fmla="*/ 376220 h 6557032"/>
              <a:gd name="connsiteX46974" fmla="*/ 1007663 w 4610101"/>
              <a:gd name="connsiteY46974" fmla="*/ 416308 h 6557032"/>
              <a:gd name="connsiteX46975" fmla="*/ 1007663 w 4610101"/>
              <a:gd name="connsiteY46975" fmla="*/ 394441 h 6557032"/>
              <a:gd name="connsiteX46976" fmla="*/ 1000374 w 4610101"/>
              <a:gd name="connsiteY46976" fmla="*/ 388976 h 6557032"/>
              <a:gd name="connsiteX46977" fmla="*/ 1009485 w 4610101"/>
              <a:gd name="connsiteY46977" fmla="*/ 388976 h 6557032"/>
              <a:gd name="connsiteX46978" fmla="*/ 1010516 w 4610101"/>
              <a:gd name="connsiteY46978" fmla="*/ 386052 h 6557032"/>
              <a:gd name="connsiteX46979" fmla="*/ 1012673 w 4610101"/>
              <a:gd name="connsiteY46979" fmla="*/ 398997 h 6557032"/>
              <a:gd name="connsiteX46980" fmla="*/ 1013129 w 4610101"/>
              <a:gd name="connsiteY46980" fmla="*/ 418129 h 6557032"/>
              <a:gd name="connsiteX46981" fmla="*/ 1024062 w 4610101"/>
              <a:gd name="connsiteY46981" fmla="*/ 357998 h 6557032"/>
              <a:gd name="connsiteX46982" fmla="*/ 1025884 w 4610101"/>
              <a:gd name="connsiteY46982" fmla="*/ 361642 h 6557032"/>
              <a:gd name="connsiteX46983" fmla="*/ 1027707 w 4610101"/>
              <a:gd name="connsiteY46983" fmla="*/ 354354 h 6557032"/>
              <a:gd name="connsiteX46984" fmla="*/ 1018596 w 4610101"/>
              <a:gd name="connsiteY46984" fmla="*/ 434530 h 6557032"/>
              <a:gd name="connsiteX46985" fmla="*/ 1022240 w 4610101"/>
              <a:gd name="connsiteY46985" fmla="*/ 430886 h 6557032"/>
              <a:gd name="connsiteX46986" fmla="*/ 1017458 w 4610101"/>
              <a:gd name="connsiteY46986" fmla="*/ 436807 h 6557032"/>
              <a:gd name="connsiteX46987" fmla="*/ 1017766 w 4610101"/>
              <a:gd name="connsiteY46987" fmla="*/ 439484 h 6557032"/>
              <a:gd name="connsiteX46988" fmla="*/ 1013129 w 4610101"/>
              <a:gd name="connsiteY46988" fmla="*/ 436351 h 6557032"/>
              <a:gd name="connsiteX46989" fmla="*/ 1005840 w 4610101"/>
              <a:gd name="connsiteY46989" fmla="*/ 476439 h 6557032"/>
              <a:gd name="connsiteX46990" fmla="*/ 1025884 w 4610101"/>
              <a:gd name="connsiteY46990" fmla="*/ 449107 h 6557032"/>
              <a:gd name="connsiteX46991" fmla="*/ 1024625 w 4610101"/>
              <a:gd name="connsiteY46991" fmla="*/ 447053 h 6557032"/>
              <a:gd name="connsiteX46992" fmla="*/ 1027707 w 4610101"/>
              <a:gd name="connsiteY46992" fmla="*/ 449107 h 6557032"/>
              <a:gd name="connsiteX46993" fmla="*/ 1024062 w 4610101"/>
              <a:gd name="connsiteY46993" fmla="*/ 436351 h 6557032"/>
              <a:gd name="connsiteX46994" fmla="*/ 1029529 w 4610101"/>
              <a:gd name="connsiteY46994" fmla="*/ 443640 h 6557032"/>
              <a:gd name="connsiteX46995" fmla="*/ 1033173 w 4610101"/>
              <a:gd name="connsiteY46995" fmla="*/ 441819 h 6557032"/>
              <a:gd name="connsiteX46996" fmla="*/ 1027707 w 4610101"/>
              <a:gd name="connsiteY46996" fmla="*/ 454574 h 6557032"/>
              <a:gd name="connsiteX46997" fmla="*/ 1042284 w 4610101"/>
              <a:gd name="connsiteY46997" fmla="*/ 430886 h 6557032"/>
              <a:gd name="connsiteX46998" fmla="*/ 1033173 w 4610101"/>
              <a:gd name="connsiteY46998" fmla="*/ 439995 h 6557032"/>
              <a:gd name="connsiteX46999" fmla="*/ 1038639 w 4610101"/>
              <a:gd name="connsiteY46999" fmla="*/ 427240 h 6557032"/>
              <a:gd name="connsiteX47000" fmla="*/ 1038639 w 4610101"/>
              <a:gd name="connsiteY47000" fmla="*/ 430886 h 6557032"/>
              <a:gd name="connsiteX47001" fmla="*/ 1044106 w 4610101"/>
              <a:gd name="connsiteY47001" fmla="*/ 407196 h 6557032"/>
              <a:gd name="connsiteX47002" fmla="*/ 1051395 w 4610101"/>
              <a:gd name="connsiteY47002" fmla="*/ 401731 h 6557032"/>
              <a:gd name="connsiteX47003" fmla="*/ 1047750 w 4610101"/>
              <a:gd name="connsiteY47003" fmla="*/ 390797 h 6557032"/>
              <a:gd name="connsiteX47004" fmla="*/ 1051395 w 4610101"/>
              <a:gd name="connsiteY47004" fmla="*/ 398085 h 6557032"/>
              <a:gd name="connsiteX47005" fmla="*/ 1053217 w 4610101"/>
              <a:gd name="connsiteY47005" fmla="*/ 379865 h 6557032"/>
              <a:gd name="connsiteX47006" fmla="*/ 1055040 w 4610101"/>
              <a:gd name="connsiteY47006" fmla="*/ 379865 h 6557032"/>
              <a:gd name="connsiteX47007" fmla="*/ 1058683 w 4610101"/>
              <a:gd name="connsiteY47007" fmla="*/ 374397 h 6557032"/>
              <a:gd name="connsiteX47008" fmla="*/ 1058683 w 4610101"/>
              <a:gd name="connsiteY47008" fmla="*/ 387152 h 6557032"/>
              <a:gd name="connsiteX47009" fmla="*/ 1067794 w 4610101"/>
              <a:gd name="connsiteY47009" fmla="*/ 381687 h 6557032"/>
              <a:gd name="connsiteX47010" fmla="*/ 1054128 w 4610101"/>
              <a:gd name="connsiteY47010" fmla="*/ 408336 h 6557032"/>
              <a:gd name="connsiteX47011" fmla="*/ 1046811 w 4610101"/>
              <a:gd name="connsiteY47011" fmla="*/ 433333 h 6557032"/>
              <a:gd name="connsiteX47012" fmla="*/ 1042284 w 4610101"/>
              <a:gd name="connsiteY47012" fmla="*/ 436351 h 6557032"/>
              <a:gd name="connsiteX47013" fmla="*/ 1044106 w 4610101"/>
              <a:gd name="connsiteY47013" fmla="*/ 432707 h 6557032"/>
              <a:gd name="connsiteX47014" fmla="*/ 1040462 w 4610101"/>
              <a:gd name="connsiteY47014" fmla="*/ 439995 h 6557032"/>
              <a:gd name="connsiteX47015" fmla="*/ 1042284 w 4610101"/>
              <a:gd name="connsiteY47015" fmla="*/ 439995 h 6557032"/>
              <a:gd name="connsiteX47016" fmla="*/ 1038639 w 4610101"/>
              <a:gd name="connsiteY47016" fmla="*/ 456395 h 6557032"/>
              <a:gd name="connsiteX47017" fmla="*/ 1034995 w 4610101"/>
              <a:gd name="connsiteY47017" fmla="*/ 449107 h 6557032"/>
              <a:gd name="connsiteX47018" fmla="*/ 1005840 w 4610101"/>
              <a:gd name="connsiteY47018" fmla="*/ 485550 h 6557032"/>
              <a:gd name="connsiteX47019" fmla="*/ 1009485 w 4610101"/>
              <a:gd name="connsiteY47019" fmla="*/ 480083 h 6557032"/>
              <a:gd name="connsiteX47020" fmla="*/ 1007663 w 4610101"/>
              <a:gd name="connsiteY47020" fmla="*/ 489194 h 6557032"/>
              <a:gd name="connsiteX47021" fmla="*/ 1009485 w 4610101"/>
              <a:gd name="connsiteY47021" fmla="*/ 487373 h 6557032"/>
              <a:gd name="connsiteX47022" fmla="*/ 1005577 w 4610101"/>
              <a:gd name="connsiteY47022" fmla="*/ 498193 h 6557032"/>
              <a:gd name="connsiteX47023" fmla="*/ 1002196 w 4610101"/>
              <a:gd name="connsiteY47023" fmla="*/ 487373 h 6557032"/>
              <a:gd name="connsiteX47024" fmla="*/ 994452 w 4610101"/>
              <a:gd name="connsiteY47024" fmla="*/ 498988 h 6557032"/>
              <a:gd name="connsiteX47025" fmla="*/ 999986 w 4610101"/>
              <a:gd name="connsiteY47025" fmla="*/ 513676 h 6557032"/>
              <a:gd name="connsiteX47026" fmla="*/ 995004 w 4610101"/>
              <a:gd name="connsiteY47026" fmla="*/ 527471 h 6557032"/>
              <a:gd name="connsiteX47027" fmla="*/ 967575 w 4610101"/>
              <a:gd name="connsiteY47027" fmla="*/ 556616 h 6557032"/>
              <a:gd name="connsiteX47028" fmla="*/ 971636 w 4610101"/>
              <a:gd name="connsiteY47028" fmla="*/ 555120 h 6557032"/>
              <a:gd name="connsiteX47029" fmla="*/ 962336 w 4610101"/>
              <a:gd name="connsiteY47029" fmla="*/ 561854 h 6557032"/>
              <a:gd name="connsiteX47030" fmla="*/ 949353 w 4610101"/>
              <a:gd name="connsiteY47030" fmla="*/ 580303 h 6557032"/>
              <a:gd name="connsiteX47031" fmla="*/ 964088 w 4610101"/>
              <a:gd name="connsiteY47031" fmla="*/ 568420 h 6557032"/>
              <a:gd name="connsiteX47032" fmla="*/ 958920 w 4610101"/>
              <a:gd name="connsiteY47032" fmla="*/ 573014 h 6557032"/>
              <a:gd name="connsiteX47033" fmla="*/ 943886 w 4610101"/>
              <a:gd name="connsiteY47033" fmla="*/ 598524 h 6557032"/>
              <a:gd name="connsiteX47034" fmla="*/ 954819 w 4610101"/>
              <a:gd name="connsiteY47034" fmla="*/ 587591 h 6557032"/>
              <a:gd name="connsiteX47035" fmla="*/ 956642 w 4610101"/>
              <a:gd name="connsiteY47035" fmla="*/ 591236 h 6557032"/>
              <a:gd name="connsiteX47036" fmla="*/ 984060 w 4610101"/>
              <a:gd name="connsiteY47036" fmla="*/ 560487 h 6557032"/>
              <a:gd name="connsiteX47037" fmla="*/ 986333 w 4610101"/>
              <a:gd name="connsiteY47037" fmla="*/ 552194 h 6557032"/>
              <a:gd name="connsiteX47038" fmla="*/ 1018596 w 4610101"/>
              <a:gd name="connsiteY47038" fmla="*/ 505594 h 6557032"/>
              <a:gd name="connsiteX47039" fmla="*/ 1025884 w 4610101"/>
              <a:gd name="connsiteY47039" fmla="*/ 489194 h 6557032"/>
              <a:gd name="connsiteX47040" fmla="*/ 1032551 w 4610101"/>
              <a:gd name="connsiteY47040" fmla="*/ 480774 h 6557032"/>
              <a:gd name="connsiteX47041" fmla="*/ 1038639 w 4610101"/>
              <a:gd name="connsiteY47041" fmla="*/ 463726 h 6557032"/>
              <a:gd name="connsiteX47042" fmla="*/ 1035450 w 4610101"/>
              <a:gd name="connsiteY47042" fmla="*/ 476482 h 6557032"/>
              <a:gd name="connsiteX47043" fmla="*/ 1035130 w 4610101"/>
              <a:gd name="connsiteY47043" fmla="*/ 477171 h 6557032"/>
              <a:gd name="connsiteX47044" fmla="*/ 1040462 w 4610101"/>
              <a:gd name="connsiteY47044" fmla="*/ 467328 h 6557032"/>
              <a:gd name="connsiteX47045" fmla="*/ 1040462 w 4610101"/>
              <a:gd name="connsiteY47045" fmla="*/ 476439 h 6557032"/>
              <a:gd name="connsiteX47046" fmla="*/ 1049573 w 4610101"/>
              <a:gd name="connsiteY47046" fmla="*/ 458218 h 6557032"/>
              <a:gd name="connsiteX47047" fmla="*/ 1049573 w 4610101"/>
              <a:gd name="connsiteY47047" fmla="*/ 461862 h 6557032"/>
              <a:gd name="connsiteX47048" fmla="*/ 1056406 w 4610101"/>
              <a:gd name="connsiteY47048" fmla="*/ 447740 h 6557032"/>
              <a:gd name="connsiteX47049" fmla="*/ 1055561 w 4610101"/>
              <a:gd name="connsiteY47049" fmla="*/ 440699 h 6557032"/>
              <a:gd name="connsiteX47050" fmla="*/ 1056634 w 4610101"/>
              <a:gd name="connsiteY47050" fmla="*/ 441818 h 6557032"/>
              <a:gd name="connsiteX47051" fmla="*/ 1060506 w 4610101"/>
              <a:gd name="connsiteY47051" fmla="*/ 447284 h 6557032"/>
              <a:gd name="connsiteX47052" fmla="*/ 1065972 w 4610101"/>
              <a:gd name="connsiteY47052" fmla="*/ 439995 h 6557032"/>
              <a:gd name="connsiteX47053" fmla="*/ 1042284 w 4610101"/>
              <a:gd name="connsiteY47053" fmla="*/ 496483 h 6557032"/>
              <a:gd name="connsiteX47054" fmla="*/ 1069616 w 4610101"/>
              <a:gd name="connsiteY47054" fmla="*/ 449107 h 6557032"/>
              <a:gd name="connsiteX47055" fmla="*/ 1069616 w 4610101"/>
              <a:gd name="connsiteY47055" fmla="*/ 452751 h 6557032"/>
              <a:gd name="connsiteX47056" fmla="*/ 1071439 w 4610101"/>
              <a:gd name="connsiteY47056" fmla="*/ 443640 h 6557032"/>
              <a:gd name="connsiteX47057" fmla="*/ 1074368 w 4610101"/>
              <a:gd name="connsiteY47057" fmla="*/ 449498 h 6557032"/>
              <a:gd name="connsiteX47058" fmla="*/ 1072578 w 4610101"/>
              <a:gd name="connsiteY47058" fmla="*/ 456395 h 6557032"/>
              <a:gd name="connsiteX47059" fmla="*/ 1062328 w 4610101"/>
              <a:gd name="connsiteY47059" fmla="*/ 480083 h 6557032"/>
              <a:gd name="connsiteX47060" fmla="*/ 1078727 w 4610101"/>
              <a:gd name="connsiteY47060" fmla="*/ 467328 h 6557032"/>
              <a:gd name="connsiteX47061" fmla="*/ 1078727 w 4610101"/>
              <a:gd name="connsiteY47061" fmla="*/ 469150 h 6557032"/>
              <a:gd name="connsiteX47062" fmla="*/ 1049573 w 4610101"/>
              <a:gd name="connsiteY47062" fmla="*/ 498306 h 6557032"/>
              <a:gd name="connsiteX47063" fmla="*/ 1062328 w 4610101"/>
              <a:gd name="connsiteY47063" fmla="*/ 521993 h 6557032"/>
              <a:gd name="connsiteX47064" fmla="*/ 1044106 w 4610101"/>
              <a:gd name="connsiteY47064" fmla="*/ 501949 h 6557032"/>
              <a:gd name="connsiteX47065" fmla="*/ 1031351 w 4610101"/>
              <a:gd name="connsiteY47065" fmla="*/ 520171 h 6557032"/>
              <a:gd name="connsiteX47066" fmla="*/ 1036818 w 4610101"/>
              <a:gd name="connsiteY47066" fmla="*/ 511061 h 6557032"/>
              <a:gd name="connsiteX47067" fmla="*/ 1018596 w 4610101"/>
              <a:gd name="connsiteY47067" fmla="*/ 534749 h 6557032"/>
              <a:gd name="connsiteX47068" fmla="*/ 1025884 w 4610101"/>
              <a:gd name="connsiteY47068" fmla="*/ 529282 h 6557032"/>
              <a:gd name="connsiteX47069" fmla="*/ 1014951 w 4610101"/>
              <a:gd name="connsiteY47069" fmla="*/ 549326 h 6557032"/>
              <a:gd name="connsiteX47070" fmla="*/ 1018596 w 4610101"/>
              <a:gd name="connsiteY47070" fmla="*/ 545681 h 6557032"/>
              <a:gd name="connsiteX47071" fmla="*/ 958464 w 4610101"/>
              <a:gd name="connsiteY47071" fmla="*/ 607635 h 6557032"/>
              <a:gd name="connsiteX47072" fmla="*/ 949353 w 4610101"/>
              <a:gd name="connsiteY47072" fmla="*/ 620391 h 6557032"/>
              <a:gd name="connsiteX47073" fmla="*/ 952997 w 4610101"/>
              <a:gd name="connsiteY47073" fmla="*/ 618568 h 6557032"/>
              <a:gd name="connsiteX47074" fmla="*/ 937053 w 4610101"/>
              <a:gd name="connsiteY47074" fmla="*/ 626769 h 6557032"/>
              <a:gd name="connsiteX47075" fmla="*/ 936504 w 4610101"/>
              <a:gd name="connsiteY47075" fmla="*/ 627737 h 6557032"/>
              <a:gd name="connsiteX47076" fmla="*/ 926576 w 4610101"/>
              <a:gd name="connsiteY47076" fmla="*/ 633830 h 6557032"/>
              <a:gd name="connsiteX47077" fmla="*/ 916555 w 4610101"/>
              <a:gd name="connsiteY47077" fmla="*/ 638612 h 6557032"/>
              <a:gd name="connsiteX47078" fmla="*/ 914732 w 4610101"/>
              <a:gd name="connsiteY47078" fmla="*/ 653190 h 6557032"/>
              <a:gd name="connsiteX47079" fmla="*/ 918376 w 4610101"/>
              <a:gd name="connsiteY47079" fmla="*/ 651368 h 6557032"/>
              <a:gd name="connsiteX47080" fmla="*/ 918376 w 4610101"/>
              <a:gd name="connsiteY47080" fmla="*/ 653190 h 6557032"/>
              <a:gd name="connsiteX47081" fmla="*/ 927487 w 4610101"/>
              <a:gd name="connsiteY47081" fmla="*/ 640435 h 6557032"/>
              <a:gd name="connsiteX47082" fmla="*/ 923843 w 4610101"/>
              <a:gd name="connsiteY47082" fmla="*/ 647723 h 6557032"/>
              <a:gd name="connsiteX47083" fmla="*/ 929309 w 4610101"/>
              <a:gd name="connsiteY47083" fmla="*/ 651368 h 6557032"/>
              <a:gd name="connsiteX47084" fmla="*/ 936370 w 4610101"/>
              <a:gd name="connsiteY47084" fmla="*/ 640890 h 6557032"/>
              <a:gd name="connsiteX47085" fmla="*/ 936442 w 4610101"/>
              <a:gd name="connsiteY47085" fmla="*/ 636691 h 6557032"/>
              <a:gd name="connsiteX47086" fmla="*/ 943886 w 4610101"/>
              <a:gd name="connsiteY47086" fmla="*/ 627679 h 6557032"/>
              <a:gd name="connsiteX47087" fmla="*/ 941608 w 4610101"/>
              <a:gd name="connsiteY47087" fmla="*/ 635196 h 6557032"/>
              <a:gd name="connsiteX47088" fmla="*/ 941812 w 4610101"/>
              <a:gd name="connsiteY47088" fmla="*/ 639144 h 6557032"/>
              <a:gd name="connsiteX47089" fmla="*/ 940242 w 4610101"/>
              <a:gd name="connsiteY47089" fmla="*/ 636790 h 6557032"/>
              <a:gd name="connsiteX47090" fmla="*/ 934777 w 4610101"/>
              <a:gd name="connsiteY47090" fmla="*/ 649545 h 6557032"/>
              <a:gd name="connsiteX47091" fmla="*/ 939331 w 4610101"/>
              <a:gd name="connsiteY47091" fmla="*/ 644535 h 6557032"/>
              <a:gd name="connsiteX47092" fmla="*/ 942018 w 4610101"/>
              <a:gd name="connsiteY47092" fmla="*/ 643191 h 6557032"/>
              <a:gd name="connsiteX47093" fmla="*/ 942064 w 4610101"/>
              <a:gd name="connsiteY47093" fmla="*/ 644079 h 6557032"/>
              <a:gd name="connsiteX47094" fmla="*/ 947531 w 4610101"/>
              <a:gd name="connsiteY47094" fmla="*/ 647723 h 6557032"/>
              <a:gd name="connsiteX47095" fmla="*/ 949244 w 4610101"/>
              <a:gd name="connsiteY47095" fmla="*/ 664852 h 6557032"/>
              <a:gd name="connsiteX47096" fmla="*/ 948670 w 4610101"/>
              <a:gd name="connsiteY47096" fmla="*/ 668679 h 6557032"/>
              <a:gd name="connsiteX47097" fmla="*/ 949353 w 4610101"/>
              <a:gd name="connsiteY47097" fmla="*/ 673234 h 6557032"/>
              <a:gd name="connsiteX47098" fmla="*/ 947531 w 4610101"/>
              <a:gd name="connsiteY47098" fmla="*/ 682345 h 6557032"/>
              <a:gd name="connsiteX47099" fmla="*/ 947531 w 4610101"/>
              <a:gd name="connsiteY47099" fmla="*/ 685989 h 6557032"/>
              <a:gd name="connsiteX47100" fmla="*/ 947531 w 4610101"/>
              <a:gd name="connsiteY47100" fmla="*/ 682345 h 6557032"/>
              <a:gd name="connsiteX47101" fmla="*/ 949353 w 4610101"/>
              <a:gd name="connsiteY47101" fmla="*/ 684167 h 6557032"/>
              <a:gd name="connsiteX47102" fmla="*/ 945709 w 4610101"/>
              <a:gd name="connsiteY47102" fmla="*/ 689633 h 6557032"/>
              <a:gd name="connsiteX47103" fmla="*/ 954819 w 4610101"/>
              <a:gd name="connsiteY47103" fmla="*/ 664123 h 6557032"/>
              <a:gd name="connsiteX47104" fmla="*/ 952997 w 4610101"/>
              <a:gd name="connsiteY47104" fmla="*/ 669589 h 6557032"/>
              <a:gd name="connsiteX47105" fmla="*/ 949353 w 4610101"/>
              <a:gd name="connsiteY47105" fmla="*/ 658656 h 6557032"/>
              <a:gd name="connsiteX47106" fmla="*/ 954819 w 4610101"/>
              <a:gd name="connsiteY47106" fmla="*/ 662301 h 6557032"/>
              <a:gd name="connsiteX47107" fmla="*/ 947531 w 4610101"/>
              <a:gd name="connsiteY47107" fmla="*/ 644079 h 6557032"/>
              <a:gd name="connsiteX47108" fmla="*/ 954819 w 4610101"/>
              <a:gd name="connsiteY47108" fmla="*/ 653190 h 6557032"/>
              <a:gd name="connsiteX47109" fmla="*/ 954819 w 4610101"/>
              <a:gd name="connsiteY47109" fmla="*/ 651368 h 6557032"/>
              <a:gd name="connsiteX47110" fmla="*/ 965753 w 4610101"/>
              <a:gd name="connsiteY47110" fmla="*/ 656834 h 6557032"/>
              <a:gd name="connsiteX47111" fmla="*/ 962381 w 4610101"/>
              <a:gd name="connsiteY47111" fmla="*/ 671798 h 6557032"/>
              <a:gd name="connsiteX47112" fmla="*/ 962108 w 4610101"/>
              <a:gd name="connsiteY47112" fmla="*/ 671411 h 6557032"/>
              <a:gd name="connsiteX47113" fmla="*/ 967575 w 4610101"/>
              <a:gd name="connsiteY47113" fmla="*/ 680522 h 6557032"/>
              <a:gd name="connsiteX47114" fmla="*/ 966769 w 4610101"/>
              <a:gd name="connsiteY47114" fmla="*/ 678979 h 6557032"/>
              <a:gd name="connsiteX47115" fmla="*/ 969397 w 4610101"/>
              <a:gd name="connsiteY47115" fmla="*/ 682345 h 6557032"/>
              <a:gd name="connsiteX47116" fmla="*/ 971197 w 4610101"/>
              <a:gd name="connsiteY47116" fmla="*/ 680781 h 6557032"/>
              <a:gd name="connsiteX47117" fmla="*/ 969397 w 4610101"/>
              <a:gd name="connsiteY47117" fmla="*/ 686673 h 6557032"/>
              <a:gd name="connsiteX47118" fmla="*/ 974863 w 4610101"/>
              <a:gd name="connsiteY47118" fmla="*/ 704211 h 6557032"/>
              <a:gd name="connsiteX47119" fmla="*/ 980330 w 4610101"/>
              <a:gd name="connsiteY47119" fmla="*/ 696922 h 6557032"/>
              <a:gd name="connsiteX47120" fmla="*/ 976686 w 4610101"/>
              <a:gd name="connsiteY47120" fmla="*/ 696922 h 6557032"/>
              <a:gd name="connsiteX47121" fmla="*/ 982152 w 4610101"/>
              <a:gd name="connsiteY47121" fmla="*/ 693278 h 6557032"/>
              <a:gd name="connsiteX47122" fmla="*/ 982152 w 4610101"/>
              <a:gd name="connsiteY47122" fmla="*/ 689633 h 6557032"/>
              <a:gd name="connsiteX47123" fmla="*/ 983974 w 4610101"/>
              <a:gd name="connsiteY47123" fmla="*/ 691455 h 6557032"/>
              <a:gd name="connsiteX47124" fmla="*/ 989441 w 4610101"/>
              <a:gd name="connsiteY47124" fmla="*/ 684167 h 6557032"/>
              <a:gd name="connsiteX47125" fmla="*/ 985796 w 4610101"/>
              <a:gd name="connsiteY47125" fmla="*/ 687811 h 6557032"/>
              <a:gd name="connsiteX47126" fmla="*/ 988529 w 4610101"/>
              <a:gd name="connsiteY47126" fmla="*/ 682117 h 6557032"/>
              <a:gd name="connsiteX47127" fmla="*/ 989197 w 4610101"/>
              <a:gd name="connsiteY47127" fmla="*/ 681728 h 6557032"/>
              <a:gd name="connsiteX47128" fmla="*/ 989498 w 4610101"/>
              <a:gd name="connsiteY47128" fmla="*/ 681804 h 6557032"/>
              <a:gd name="connsiteX47129" fmla="*/ 989612 w 4610101"/>
              <a:gd name="connsiteY47129" fmla="*/ 681486 h 6557032"/>
              <a:gd name="connsiteX47130" fmla="*/ 991263 w 4610101"/>
              <a:gd name="connsiteY47130" fmla="*/ 680522 h 6557032"/>
              <a:gd name="connsiteX47131" fmla="*/ 990123 w 4610101"/>
              <a:gd name="connsiteY47131" fmla="*/ 680058 h 6557032"/>
              <a:gd name="connsiteX47132" fmla="*/ 991263 w 4610101"/>
              <a:gd name="connsiteY47132" fmla="*/ 676878 h 6557032"/>
              <a:gd name="connsiteX47133" fmla="*/ 983974 w 4610101"/>
              <a:gd name="connsiteY47133" fmla="*/ 671411 h 6557032"/>
              <a:gd name="connsiteX47134" fmla="*/ 1002196 w 4610101"/>
              <a:gd name="connsiteY47134" fmla="*/ 678700 h 6557032"/>
              <a:gd name="connsiteX47135" fmla="*/ 996729 w 4610101"/>
              <a:gd name="connsiteY47135" fmla="*/ 678700 h 6557032"/>
              <a:gd name="connsiteX47136" fmla="*/ 999332 w 4610101"/>
              <a:gd name="connsiteY47136" fmla="*/ 683907 h 6557032"/>
              <a:gd name="connsiteX47137" fmla="*/ 996729 w 4610101"/>
              <a:gd name="connsiteY47137" fmla="*/ 687811 h 6557032"/>
              <a:gd name="connsiteX47138" fmla="*/ 1000374 w 4610101"/>
              <a:gd name="connsiteY47138" fmla="*/ 687811 h 6557032"/>
              <a:gd name="connsiteX47139" fmla="*/ 1000374 w 4610101"/>
              <a:gd name="connsiteY47139" fmla="*/ 685989 h 6557032"/>
              <a:gd name="connsiteX47140" fmla="*/ 1005203 w 4610101"/>
              <a:gd name="connsiteY47140" fmla="*/ 681307 h 6557032"/>
              <a:gd name="connsiteX47141" fmla="*/ 1002879 w 4610101"/>
              <a:gd name="connsiteY47141" fmla="*/ 684167 h 6557032"/>
              <a:gd name="connsiteX47142" fmla="*/ 1004018 w 4610101"/>
              <a:gd name="connsiteY47142" fmla="*/ 687811 h 6557032"/>
              <a:gd name="connsiteX47143" fmla="*/ 1005785 w 4610101"/>
              <a:gd name="connsiteY47143" fmla="*/ 680742 h 6557032"/>
              <a:gd name="connsiteX47144" fmla="*/ 1007891 w 4610101"/>
              <a:gd name="connsiteY47144" fmla="*/ 678701 h 6557032"/>
              <a:gd name="connsiteX47145" fmla="*/ 1005840 w 4610101"/>
              <a:gd name="connsiteY47145" fmla="*/ 665945 h 6557032"/>
              <a:gd name="connsiteX47146" fmla="*/ 1011307 w 4610101"/>
              <a:gd name="connsiteY47146" fmla="*/ 671411 h 6557032"/>
              <a:gd name="connsiteX47147" fmla="*/ 1007663 w 4610101"/>
              <a:gd name="connsiteY47147" fmla="*/ 660478 h 6557032"/>
              <a:gd name="connsiteX47148" fmla="*/ 1011307 w 4610101"/>
              <a:gd name="connsiteY47148" fmla="*/ 662301 h 6557032"/>
              <a:gd name="connsiteX47149" fmla="*/ 1007663 w 4610101"/>
              <a:gd name="connsiteY47149" fmla="*/ 651368 h 6557032"/>
              <a:gd name="connsiteX47150" fmla="*/ 1014951 w 4610101"/>
              <a:gd name="connsiteY47150" fmla="*/ 656834 h 6557032"/>
              <a:gd name="connsiteX47151" fmla="*/ 1020418 w 4610101"/>
              <a:gd name="connsiteY47151" fmla="*/ 649545 h 6557032"/>
              <a:gd name="connsiteX47152" fmla="*/ 1009485 w 4610101"/>
              <a:gd name="connsiteY47152" fmla="*/ 638612 h 6557032"/>
              <a:gd name="connsiteX47153" fmla="*/ 1014951 w 4610101"/>
              <a:gd name="connsiteY47153" fmla="*/ 638612 h 6557032"/>
              <a:gd name="connsiteX47154" fmla="*/ 1013129 w 4610101"/>
              <a:gd name="connsiteY47154" fmla="*/ 634968 h 6557032"/>
              <a:gd name="connsiteX47155" fmla="*/ 1024062 w 4610101"/>
              <a:gd name="connsiteY47155" fmla="*/ 644079 h 6557032"/>
              <a:gd name="connsiteX47156" fmla="*/ 1018596 w 4610101"/>
              <a:gd name="connsiteY47156" fmla="*/ 633146 h 6557032"/>
              <a:gd name="connsiteX47157" fmla="*/ 1025884 w 4610101"/>
              <a:gd name="connsiteY47157" fmla="*/ 633146 h 6557032"/>
              <a:gd name="connsiteX47158" fmla="*/ 1022240 w 4610101"/>
              <a:gd name="connsiteY47158" fmla="*/ 618568 h 6557032"/>
              <a:gd name="connsiteX47159" fmla="*/ 1029529 w 4610101"/>
              <a:gd name="connsiteY47159" fmla="*/ 624035 h 6557032"/>
              <a:gd name="connsiteX47160" fmla="*/ 1031351 w 4610101"/>
              <a:gd name="connsiteY47160" fmla="*/ 622213 h 6557032"/>
              <a:gd name="connsiteX47161" fmla="*/ 1030895 w 4610101"/>
              <a:gd name="connsiteY47161" fmla="*/ 629957 h 6557032"/>
              <a:gd name="connsiteX47162" fmla="*/ 1038200 w 4610101"/>
              <a:gd name="connsiteY47162" fmla="*/ 634684 h 6557032"/>
              <a:gd name="connsiteX47163" fmla="*/ 1038184 w 4610101"/>
              <a:gd name="connsiteY47163" fmla="*/ 634741 h 6557032"/>
              <a:gd name="connsiteX47164" fmla="*/ 1042578 w 4610101"/>
              <a:gd name="connsiteY47164" fmla="*/ 640318 h 6557032"/>
              <a:gd name="connsiteX47165" fmla="*/ 1040462 w 4610101"/>
              <a:gd name="connsiteY47165" fmla="*/ 647723 h 6557032"/>
              <a:gd name="connsiteX47166" fmla="*/ 1043359 w 4610101"/>
              <a:gd name="connsiteY47166" fmla="*/ 641309 h 6557032"/>
              <a:gd name="connsiteX47167" fmla="*/ 1044106 w 4610101"/>
              <a:gd name="connsiteY47167" fmla="*/ 642257 h 6557032"/>
              <a:gd name="connsiteX47168" fmla="*/ 1043821 w 4610101"/>
              <a:gd name="connsiteY47168" fmla="*/ 638539 h 6557032"/>
              <a:gd name="connsiteX47169" fmla="*/ 1044106 w 4610101"/>
              <a:gd name="connsiteY47169" fmla="*/ 634968 h 6557032"/>
              <a:gd name="connsiteX47170" fmla="*/ 1043665 w 4610101"/>
              <a:gd name="connsiteY47170" fmla="*/ 636515 h 6557032"/>
              <a:gd name="connsiteX47171" fmla="*/ 1042284 w 4610101"/>
              <a:gd name="connsiteY47171" fmla="*/ 618568 h 6557032"/>
              <a:gd name="connsiteX47172" fmla="*/ 1047750 w 4610101"/>
              <a:gd name="connsiteY47172" fmla="*/ 622213 h 6557032"/>
              <a:gd name="connsiteX47173" fmla="*/ 1044106 w 4610101"/>
              <a:gd name="connsiteY47173" fmla="*/ 611280 h 6557032"/>
              <a:gd name="connsiteX47174" fmla="*/ 1049573 w 4610101"/>
              <a:gd name="connsiteY47174" fmla="*/ 627679 h 6557032"/>
              <a:gd name="connsiteX47175" fmla="*/ 1047750 w 4610101"/>
              <a:gd name="connsiteY47175" fmla="*/ 634968 h 6557032"/>
              <a:gd name="connsiteX47176" fmla="*/ 1051395 w 4610101"/>
              <a:gd name="connsiteY47176" fmla="*/ 633146 h 6557032"/>
              <a:gd name="connsiteX47177" fmla="*/ 1049573 w 4610101"/>
              <a:gd name="connsiteY47177" fmla="*/ 627679 h 6557032"/>
              <a:gd name="connsiteX47178" fmla="*/ 1052611 w 4610101"/>
              <a:gd name="connsiteY47178" fmla="*/ 621606 h 6557032"/>
              <a:gd name="connsiteX47179" fmla="*/ 1053824 w 4610101"/>
              <a:gd name="connsiteY47179" fmla="*/ 620999 h 6557032"/>
              <a:gd name="connsiteX47180" fmla="*/ 1054431 w 4610101"/>
              <a:gd name="connsiteY47180" fmla="*/ 621606 h 6557032"/>
              <a:gd name="connsiteX47181" fmla="*/ 1051395 w 4610101"/>
              <a:gd name="connsiteY47181" fmla="*/ 627679 h 6557032"/>
              <a:gd name="connsiteX47182" fmla="*/ 1060506 w 4610101"/>
              <a:gd name="connsiteY47182" fmla="*/ 624035 h 6557032"/>
              <a:gd name="connsiteX47183" fmla="*/ 1055950 w 4610101"/>
              <a:gd name="connsiteY47183" fmla="*/ 620999 h 6557032"/>
              <a:gd name="connsiteX47184" fmla="*/ 1056477 w 4610101"/>
              <a:gd name="connsiteY47184" fmla="*/ 620295 h 6557032"/>
              <a:gd name="connsiteX47185" fmla="*/ 1058456 w 4610101"/>
              <a:gd name="connsiteY47185" fmla="*/ 620163 h 6557032"/>
              <a:gd name="connsiteX47186" fmla="*/ 1060506 w 4610101"/>
              <a:gd name="connsiteY47186" fmla="*/ 618568 h 6557032"/>
              <a:gd name="connsiteX47187" fmla="*/ 1058757 w 4610101"/>
              <a:gd name="connsiteY47187" fmla="*/ 617257 h 6557032"/>
              <a:gd name="connsiteX47188" fmla="*/ 1060506 w 4610101"/>
              <a:gd name="connsiteY47188" fmla="*/ 614924 h 6557032"/>
              <a:gd name="connsiteX47189" fmla="*/ 1062328 w 4610101"/>
              <a:gd name="connsiteY47189" fmla="*/ 620391 h 6557032"/>
              <a:gd name="connsiteX47190" fmla="*/ 1064151 w 4610101"/>
              <a:gd name="connsiteY47190" fmla="*/ 616746 h 6557032"/>
              <a:gd name="connsiteX47191" fmla="*/ 1065972 w 4610101"/>
              <a:gd name="connsiteY47191" fmla="*/ 622213 h 6557032"/>
              <a:gd name="connsiteX47192" fmla="*/ 1056861 w 4610101"/>
              <a:gd name="connsiteY47192" fmla="*/ 603991 h 6557032"/>
              <a:gd name="connsiteX47193" fmla="*/ 1071439 w 4610101"/>
              <a:gd name="connsiteY47193" fmla="*/ 607635 h 6557032"/>
              <a:gd name="connsiteX47194" fmla="*/ 1069616 w 4610101"/>
              <a:gd name="connsiteY47194" fmla="*/ 591236 h 6557032"/>
              <a:gd name="connsiteX47195" fmla="*/ 1075083 w 4610101"/>
              <a:gd name="connsiteY47195" fmla="*/ 589414 h 6557032"/>
              <a:gd name="connsiteX47196" fmla="*/ 1078727 w 4610101"/>
              <a:gd name="connsiteY47196" fmla="*/ 598524 h 6557032"/>
              <a:gd name="connsiteX47197" fmla="*/ 1076905 w 4610101"/>
              <a:gd name="connsiteY47197" fmla="*/ 598524 h 6557032"/>
              <a:gd name="connsiteX47198" fmla="*/ 1075083 w 4610101"/>
              <a:gd name="connsiteY47198" fmla="*/ 603991 h 6557032"/>
              <a:gd name="connsiteX47199" fmla="*/ 1079288 w 4610101"/>
              <a:gd name="connsiteY47199" fmla="*/ 606795 h 6557032"/>
              <a:gd name="connsiteX47200" fmla="*/ 1075083 w 4610101"/>
              <a:gd name="connsiteY47200" fmla="*/ 613103 h 6557032"/>
              <a:gd name="connsiteX47201" fmla="*/ 1087838 w 4610101"/>
              <a:gd name="connsiteY47201" fmla="*/ 603991 h 6557032"/>
              <a:gd name="connsiteX47202" fmla="*/ 1082373 w 4610101"/>
              <a:gd name="connsiteY47202" fmla="*/ 602169 h 6557032"/>
              <a:gd name="connsiteX47203" fmla="*/ 1084419 w 4610101"/>
              <a:gd name="connsiteY47203" fmla="*/ 600197 h 6557032"/>
              <a:gd name="connsiteX47204" fmla="*/ 1090913 w 4610101"/>
              <a:gd name="connsiteY47204" fmla="*/ 593941 h 6557032"/>
              <a:gd name="connsiteX47205" fmla="*/ 1090397 w 4610101"/>
              <a:gd name="connsiteY47205" fmla="*/ 590991 h 6557032"/>
              <a:gd name="connsiteX47206" fmla="*/ 1093760 w 4610101"/>
              <a:gd name="connsiteY47206" fmla="*/ 588275 h 6557032"/>
              <a:gd name="connsiteX47207" fmla="*/ 1095935 w 4610101"/>
              <a:gd name="connsiteY47207" fmla="*/ 584080 h 6557032"/>
              <a:gd name="connsiteX47208" fmla="*/ 1096949 w 4610101"/>
              <a:gd name="connsiteY47208" fmla="*/ 585769 h 6557032"/>
              <a:gd name="connsiteX47209" fmla="*/ 1102416 w 4610101"/>
              <a:gd name="connsiteY47209" fmla="*/ 573014 h 6557032"/>
              <a:gd name="connsiteX47210" fmla="*/ 1089660 w 4610101"/>
              <a:gd name="connsiteY47210" fmla="*/ 567548 h 6557032"/>
              <a:gd name="connsiteX47211" fmla="*/ 1100593 w 4610101"/>
              <a:gd name="connsiteY47211" fmla="*/ 569370 h 6557032"/>
              <a:gd name="connsiteX47212" fmla="*/ 1095127 w 4610101"/>
              <a:gd name="connsiteY47212" fmla="*/ 563904 h 6557032"/>
              <a:gd name="connsiteX47213" fmla="*/ 1102416 w 4610101"/>
              <a:gd name="connsiteY47213" fmla="*/ 569370 h 6557032"/>
              <a:gd name="connsiteX47214" fmla="*/ 1104238 w 4610101"/>
              <a:gd name="connsiteY47214" fmla="*/ 560260 h 6557032"/>
              <a:gd name="connsiteX47215" fmla="*/ 1102416 w 4610101"/>
              <a:gd name="connsiteY47215" fmla="*/ 569370 h 6557032"/>
              <a:gd name="connsiteX47216" fmla="*/ 1098771 w 4610101"/>
              <a:gd name="connsiteY47216" fmla="*/ 558437 h 6557032"/>
              <a:gd name="connsiteX47217" fmla="*/ 1102416 w 4610101"/>
              <a:gd name="connsiteY47217" fmla="*/ 560260 h 6557032"/>
              <a:gd name="connsiteX47218" fmla="*/ 1067794 w 4610101"/>
              <a:gd name="connsiteY47218" fmla="*/ 538393 h 6557032"/>
              <a:gd name="connsiteX47219" fmla="*/ 1082373 w 4610101"/>
              <a:gd name="connsiteY47219" fmla="*/ 540215 h 6557032"/>
              <a:gd name="connsiteX47220" fmla="*/ 1073262 w 4610101"/>
              <a:gd name="connsiteY47220" fmla="*/ 529282 h 6557032"/>
              <a:gd name="connsiteX47221" fmla="*/ 1102416 w 4610101"/>
              <a:gd name="connsiteY47221" fmla="*/ 551148 h 6557032"/>
              <a:gd name="connsiteX47222" fmla="*/ 1093305 w 4610101"/>
              <a:gd name="connsiteY47222" fmla="*/ 514705 h 6557032"/>
              <a:gd name="connsiteX47223" fmla="*/ 1098771 w 4610101"/>
              <a:gd name="connsiteY47223" fmla="*/ 523815 h 6557032"/>
              <a:gd name="connsiteX47224" fmla="*/ 1098771 w 4610101"/>
              <a:gd name="connsiteY47224" fmla="*/ 518349 h 6557032"/>
              <a:gd name="connsiteX47225" fmla="*/ 1102416 w 4610101"/>
              <a:gd name="connsiteY47225" fmla="*/ 525638 h 6557032"/>
              <a:gd name="connsiteX47226" fmla="*/ 1086016 w 4610101"/>
              <a:gd name="connsiteY47226" fmla="*/ 469150 h 6557032"/>
              <a:gd name="connsiteX47227" fmla="*/ 1104238 w 4610101"/>
              <a:gd name="connsiteY47227" fmla="*/ 521993 h 6557032"/>
              <a:gd name="connsiteX47228" fmla="*/ 1106060 w 4610101"/>
              <a:gd name="connsiteY47228" fmla="*/ 518349 h 6557032"/>
              <a:gd name="connsiteX47229" fmla="*/ 1105604 w 4610101"/>
              <a:gd name="connsiteY47229" fmla="*/ 530649 h 6557032"/>
              <a:gd name="connsiteX47230" fmla="*/ 1111659 w 4610101"/>
              <a:gd name="connsiteY47230" fmla="*/ 538128 h 6557032"/>
              <a:gd name="connsiteX47231" fmla="*/ 1111526 w 4610101"/>
              <a:gd name="connsiteY47231" fmla="*/ 538393 h 6557032"/>
              <a:gd name="connsiteX47232" fmla="*/ 1111774 w 4610101"/>
              <a:gd name="connsiteY47232" fmla="*/ 538270 h 6557032"/>
              <a:gd name="connsiteX47233" fmla="*/ 1113349 w 4610101"/>
              <a:gd name="connsiteY47233" fmla="*/ 540215 h 6557032"/>
              <a:gd name="connsiteX47234" fmla="*/ 1113450 w 4610101"/>
              <a:gd name="connsiteY47234" fmla="*/ 537431 h 6557032"/>
              <a:gd name="connsiteX47235" fmla="*/ 1113804 w 4610101"/>
              <a:gd name="connsiteY47235" fmla="*/ 537254 h 6557032"/>
              <a:gd name="connsiteX47236" fmla="*/ 1113515 w 4610101"/>
              <a:gd name="connsiteY47236" fmla="*/ 535660 h 6557032"/>
              <a:gd name="connsiteX47237" fmla="*/ 1113804 w 4610101"/>
              <a:gd name="connsiteY47237" fmla="*/ 527687 h 6557032"/>
              <a:gd name="connsiteX47238" fmla="*/ 1115171 w 4610101"/>
              <a:gd name="connsiteY47238" fmla="*/ 522904 h 6557032"/>
              <a:gd name="connsiteX47239" fmla="*/ 1115171 w 4610101"/>
              <a:gd name="connsiteY47239" fmla="*/ 527461 h 6557032"/>
              <a:gd name="connsiteX47240" fmla="*/ 1116993 w 4610101"/>
              <a:gd name="connsiteY47240" fmla="*/ 523613 h 6557032"/>
              <a:gd name="connsiteX47241" fmla="*/ 1116993 w 4610101"/>
              <a:gd name="connsiteY47241" fmla="*/ 523815 h 6557032"/>
              <a:gd name="connsiteX47242" fmla="*/ 1120637 w 4610101"/>
              <a:gd name="connsiteY47242" fmla="*/ 518349 h 6557032"/>
              <a:gd name="connsiteX47243" fmla="*/ 1120637 w 4610101"/>
              <a:gd name="connsiteY47243" fmla="*/ 536571 h 6557032"/>
              <a:gd name="connsiteX47244" fmla="*/ 1122459 w 4610101"/>
              <a:gd name="connsiteY47244" fmla="*/ 532926 h 6557032"/>
              <a:gd name="connsiteX47245" fmla="*/ 1127926 w 4610101"/>
              <a:gd name="connsiteY47245" fmla="*/ 538393 h 6557032"/>
              <a:gd name="connsiteX47246" fmla="*/ 1133393 w 4610101"/>
              <a:gd name="connsiteY47246" fmla="*/ 529282 h 6557032"/>
              <a:gd name="connsiteX47247" fmla="*/ 1131570 w 4610101"/>
              <a:gd name="connsiteY47247" fmla="*/ 536571 h 6557032"/>
              <a:gd name="connsiteX47248" fmla="*/ 1140681 w 4610101"/>
              <a:gd name="connsiteY47248" fmla="*/ 529282 h 6557032"/>
              <a:gd name="connsiteX47249" fmla="*/ 1129748 w 4610101"/>
              <a:gd name="connsiteY47249" fmla="*/ 545681 h 6557032"/>
              <a:gd name="connsiteX47250" fmla="*/ 1136723 w 4610101"/>
              <a:gd name="connsiteY47250" fmla="*/ 547504 h 6557032"/>
              <a:gd name="connsiteX47251" fmla="*/ 1137529 w 4610101"/>
              <a:gd name="connsiteY47251" fmla="*/ 546421 h 6557032"/>
              <a:gd name="connsiteX47252" fmla="*/ 1140681 w 4610101"/>
              <a:gd name="connsiteY47252" fmla="*/ 551148 h 6557032"/>
              <a:gd name="connsiteX47253" fmla="*/ 1142503 w 4610101"/>
              <a:gd name="connsiteY47253" fmla="*/ 548530 h 6557032"/>
              <a:gd name="connsiteX47254" fmla="*/ 1142503 w 4610101"/>
              <a:gd name="connsiteY47254" fmla="*/ 551148 h 6557032"/>
              <a:gd name="connsiteX47255" fmla="*/ 1144326 w 4610101"/>
              <a:gd name="connsiteY47255" fmla="*/ 549326 h 6557032"/>
              <a:gd name="connsiteX47256" fmla="*/ 1145920 w 4610101"/>
              <a:gd name="connsiteY47256" fmla="*/ 557299 h 6557032"/>
              <a:gd name="connsiteX47257" fmla="*/ 1147060 w 4610101"/>
              <a:gd name="connsiteY47257" fmla="*/ 557526 h 6557032"/>
              <a:gd name="connsiteX47258" fmla="*/ 1151614 w 4610101"/>
              <a:gd name="connsiteY47258" fmla="*/ 558437 h 6557032"/>
              <a:gd name="connsiteX47259" fmla="*/ 1147970 w 4610101"/>
              <a:gd name="connsiteY47259" fmla="*/ 551148 h 6557032"/>
              <a:gd name="connsiteX47260" fmla="*/ 1158903 w 4610101"/>
              <a:gd name="connsiteY47260" fmla="*/ 563904 h 6557032"/>
              <a:gd name="connsiteX47261" fmla="*/ 1155259 w 4610101"/>
              <a:gd name="connsiteY47261" fmla="*/ 549326 h 6557032"/>
              <a:gd name="connsiteX47262" fmla="*/ 1160725 w 4610101"/>
              <a:gd name="connsiteY47262" fmla="*/ 552970 h 6557032"/>
              <a:gd name="connsiteX47263" fmla="*/ 1156397 w 4610101"/>
              <a:gd name="connsiteY47263" fmla="*/ 543632 h 6557032"/>
              <a:gd name="connsiteX47264" fmla="*/ 1153733 w 4610101"/>
              <a:gd name="connsiteY47264" fmla="*/ 534002 h 6557032"/>
              <a:gd name="connsiteX47265" fmla="*/ 1153896 w 4610101"/>
              <a:gd name="connsiteY47265" fmla="*/ 533820 h 6557032"/>
              <a:gd name="connsiteX47266" fmla="*/ 1161636 w 4610101"/>
              <a:gd name="connsiteY47266" fmla="*/ 548871 h 6557032"/>
              <a:gd name="connsiteX47267" fmla="*/ 1163545 w 4610101"/>
              <a:gd name="connsiteY47267" fmla="*/ 561910 h 6557032"/>
              <a:gd name="connsiteX47268" fmla="*/ 1163003 w 4610101"/>
              <a:gd name="connsiteY47268" fmla="*/ 562992 h 6557032"/>
              <a:gd name="connsiteX47269" fmla="*/ 1163993 w 4610101"/>
              <a:gd name="connsiteY47269" fmla="*/ 564971 h 6557032"/>
              <a:gd name="connsiteX47270" fmla="*/ 1164370 w 4610101"/>
              <a:gd name="connsiteY47270" fmla="*/ 567548 h 6557032"/>
              <a:gd name="connsiteX47271" fmla="*/ 1168014 w 4610101"/>
              <a:gd name="connsiteY47271" fmla="*/ 552970 h 6557032"/>
              <a:gd name="connsiteX47272" fmla="*/ 1167103 w 4610101"/>
              <a:gd name="connsiteY47272" fmla="*/ 565954 h 6557032"/>
              <a:gd name="connsiteX47273" fmla="*/ 1164048 w 4610101"/>
              <a:gd name="connsiteY47273" fmla="*/ 572909 h 6557032"/>
              <a:gd name="connsiteX47274" fmla="*/ 1164370 w 4610101"/>
              <a:gd name="connsiteY47274" fmla="*/ 571192 h 6557032"/>
              <a:gd name="connsiteX47275" fmla="*/ 1162547 w 4610101"/>
              <a:gd name="connsiteY47275" fmla="*/ 567548 h 6557032"/>
              <a:gd name="connsiteX47276" fmla="*/ 1157081 w 4610101"/>
              <a:gd name="connsiteY47276" fmla="*/ 578481 h 6557032"/>
              <a:gd name="connsiteX47277" fmla="*/ 1146148 w 4610101"/>
              <a:gd name="connsiteY47277" fmla="*/ 560260 h 6557032"/>
              <a:gd name="connsiteX47278" fmla="*/ 1155259 w 4610101"/>
              <a:gd name="connsiteY47278" fmla="*/ 578481 h 6557032"/>
              <a:gd name="connsiteX47279" fmla="*/ 1155259 w 4610101"/>
              <a:gd name="connsiteY47279" fmla="*/ 574836 h 6557032"/>
              <a:gd name="connsiteX47280" fmla="*/ 1157081 w 4610101"/>
              <a:gd name="connsiteY47280" fmla="*/ 578481 h 6557032"/>
              <a:gd name="connsiteX47281" fmla="*/ 1162345 w 4610101"/>
              <a:gd name="connsiteY47281" fmla="*/ 581991 h 6557032"/>
              <a:gd name="connsiteX47282" fmla="*/ 1162320 w 4610101"/>
              <a:gd name="connsiteY47282" fmla="*/ 582125 h 6557032"/>
              <a:gd name="connsiteX47283" fmla="*/ 1161834 w 4610101"/>
              <a:gd name="connsiteY47283" fmla="*/ 583684 h 6557032"/>
              <a:gd name="connsiteX47284" fmla="*/ 1160042 w 4610101"/>
              <a:gd name="connsiteY47284" fmla="*/ 587592 h 6557032"/>
              <a:gd name="connsiteX47285" fmla="*/ 1158903 w 4610101"/>
              <a:gd name="connsiteY47285" fmla="*/ 593058 h 6557032"/>
              <a:gd name="connsiteX47286" fmla="*/ 1161834 w 4610101"/>
              <a:gd name="connsiteY47286" fmla="*/ 583684 h 6557032"/>
              <a:gd name="connsiteX47287" fmla="*/ 1162547 w 4610101"/>
              <a:gd name="connsiteY47287" fmla="*/ 582125 h 6557032"/>
              <a:gd name="connsiteX47288" fmla="*/ 1162345 w 4610101"/>
              <a:gd name="connsiteY47288" fmla="*/ 581991 h 6557032"/>
              <a:gd name="connsiteX47289" fmla="*/ 1163962 w 4610101"/>
              <a:gd name="connsiteY47289" fmla="*/ 573365 h 6557032"/>
              <a:gd name="connsiteX47290" fmla="*/ 1166192 w 4610101"/>
              <a:gd name="connsiteY47290" fmla="*/ 580303 h 6557032"/>
              <a:gd name="connsiteX47291" fmla="*/ 1169836 w 4610101"/>
              <a:gd name="connsiteY47291" fmla="*/ 562081 h 6557032"/>
              <a:gd name="connsiteX47292" fmla="*/ 1171658 w 4610101"/>
              <a:gd name="connsiteY47292" fmla="*/ 563904 h 6557032"/>
              <a:gd name="connsiteX47293" fmla="*/ 1173481 w 4610101"/>
              <a:gd name="connsiteY47293" fmla="*/ 558437 h 6557032"/>
              <a:gd name="connsiteX47294" fmla="*/ 1177125 w 4610101"/>
              <a:gd name="connsiteY47294" fmla="*/ 558437 h 6557032"/>
              <a:gd name="connsiteX47295" fmla="*/ 1173481 w 4610101"/>
              <a:gd name="connsiteY47295" fmla="*/ 547504 h 6557032"/>
              <a:gd name="connsiteX47296" fmla="*/ 1178947 w 4610101"/>
              <a:gd name="connsiteY47296" fmla="*/ 552970 h 6557032"/>
              <a:gd name="connsiteX47297" fmla="*/ 1168014 w 4610101"/>
              <a:gd name="connsiteY47297" fmla="*/ 532926 h 6557032"/>
              <a:gd name="connsiteX47298" fmla="*/ 1175303 w 4610101"/>
              <a:gd name="connsiteY47298" fmla="*/ 540215 h 6557032"/>
              <a:gd name="connsiteX47299" fmla="*/ 1164370 w 4610101"/>
              <a:gd name="connsiteY47299" fmla="*/ 521993 h 6557032"/>
              <a:gd name="connsiteX47300" fmla="*/ 1157764 w 4610101"/>
              <a:gd name="connsiteY47300" fmla="*/ 529510 h 6557032"/>
              <a:gd name="connsiteX47301" fmla="*/ 1153896 w 4610101"/>
              <a:gd name="connsiteY47301" fmla="*/ 533820 h 6557032"/>
              <a:gd name="connsiteX47302" fmla="*/ 1153436 w 4610101"/>
              <a:gd name="connsiteY47302" fmla="*/ 532926 h 6557032"/>
              <a:gd name="connsiteX47303" fmla="*/ 1153733 w 4610101"/>
              <a:gd name="connsiteY47303" fmla="*/ 534002 h 6557032"/>
              <a:gd name="connsiteX47304" fmla="*/ 1149792 w 4610101"/>
              <a:gd name="connsiteY47304" fmla="*/ 538393 h 6557032"/>
              <a:gd name="connsiteX47305" fmla="*/ 1149792 w 4610101"/>
              <a:gd name="connsiteY47305" fmla="*/ 536571 h 6557032"/>
              <a:gd name="connsiteX47306" fmla="*/ 1146148 w 4610101"/>
              <a:gd name="connsiteY47306" fmla="*/ 538393 h 6557032"/>
              <a:gd name="connsiteX47307" fmla="*/ 1144098 w 4610101"/>
              <a:gd name="connsiteY47307" fmla="*/ 541354 h 6557032"/>
              <a:gd name="connsiteX47308" fmla="*/ 1142897 w 4610101"/>
              <a:gd name="connsiteY47308" fmla="*/ 542875 h 6557032"/>
              <a:gd name="connsiteX47309" fmla="*/ 1142503 w 4610101"/>
              <a:gd name="connsiteY47309" fmla="*/ 542037 h 6557032"/>
              <a:gd name="connsiteX47310" fmla="*/ 1139107 w 4610101"/>
              <a:gd name="connsiteY47310" fmla="*/ 544301 h 6557032"/>
              <a:gd name="connsiteX47311" fmla="*/ 1140453 w 4610101"/>
              <a:gd name="connsiteY47311" fmla="*/ 542493 h 6557032"/>
              <a:gd name="connsiteX47312" fmla="*/ 1147697 w 4610101"/>
              <a:gd name="connsiteY47312" fmla="*/ 533659 h 6557032"/>
              <a:gd name="connsiteX47313" fmla="*/ 1147970 w 4610101"/>
              <a:gd name="connsiteY47313" fmla="*/ 534749 h 6557032"/>
              <a:gd name="connsiteX47314" fmla="*/ 1147930 w 4610101"/>
              <a:gd name="connsiteY47314" fmla="*/ 533986 h 6557032"/>
              <a:gd name="connsiteX47315" fmla="*/ 1148824 w 4610101"/>
              <a:gd name="connsiteY47315" fmla="*/ 535432 h 6557032"/>
              <a:gd name="connsiteX47316" fmla="*/ 1153436 w 4610101"/>
              <a:gd name="connsiteY47316" fmla="*/ 529282 h 6557032"/>
              <a:gd name="connsiteX47317" fmla="*/ 1156397 w 4610101"/>
              <a:gd name="connsiteY47317" fmla="*/ 522221 h 6557032"/>
              <a:gd name="connsiteX47318" fmla="*/ 1155935 w 4610101"/>
              <a:gd name="connsiteY47318" fmla="*/ 519901 h 6557032"/>
              <a:gd name="connsiteX47319" fmla="*/ 1157288 w 4610101"/>
              <a:gd name="connsiteY47319" fmla="*/ 517531 h 6557032"/>
              <a:gd name="connsiteX47320" fmla="*/ 1157081 w 4610101"/>
              <a:gd name="connsiteY47320" fmla="*/ 520171 h 6557032"/>
              <a:gd name="connsiteX47321" fmla="*/ 1160725 w 4610101"/>
              <a:gd name="connsiteY47321" fmla="*/ 518349 h 6557032"/>
              <a:gd name="connsiteX47322" fmla="*/ 1155259 w 4610101"/>
              <a:gd name="connsiteY47322" fmla="*/ 527461 h 6557032"/>
              <a:gd name="connsiteX47323" fmla="*/ 1160725 w 4610101"/>
              <a:gd name="connsiteY47323" fmla="*/ 514705 h 6557032"/>
              <a:gd name="connsiteX47324" fmla="*/ 1164370 w 4610101"/>
              <a:gd name="connsiteY47324" fmla="*/ 518349 h 6557032"/>
              <a:gd name="connsiteX47325" fmla="*/ 1167558 w 4610101"/>
              <a:gd name="connsiteY47325" fmla="*/ 511061 h 6557032"/>
              <a:gd name="connsiteX47326" fmla="*/ 1163969 w 4610101"/>
              <a:gd name="connsiteY47326" fmla="*/ 505840 h 6557032"/>
              <a:gd name="connsiteX47327" fmla="*/ 1164066 w 4610101"/>
              <a:gd name="connsiteY47327" fmla="*/ 505670 h 6557032"/>
              <a:gd name="connsiteX47328" fmla="*/ 1169836 w 4610101"/>
              <a:gd name="connsiteY47328" fmla="*/ 512882 h 6557032"/>
              <a:gd name="connsiteX47329" fmla="*/ 1177125 w 4610101"/>
              <a:gd name="connsiteY47329" fmla="*/ 507417 h 6557032"/>
              <a:gd name="connsiteX47330" fmla="*/ 1164370 w 4610101"/>
              <a:gd name="connsiteY47330" fmla="*/ 498306 h 6557032"/>
              <a:gd name="connsiteX47331" fmla="*/ 1162746 w 4610101"/>
              <a:gd name="connsiteY47331" fmla="*/ 500916 h 6557032"/>
              <a:gd name="connsiteX47332" fmla="*/ 1158903 w 4610101"/>
              <a:gd name="connsiteY47332" fmla="*/ 499763 h 6557032"/>
              <a:gd name="connsiteX47333" fmla="*/ 1162547 w 4610101"/>
              <a:gd name="connsiteY47333" fmla="*/ 500127 h 6557032"/>
              <a:gd name="connsiteX47334" fmla="*/ 1126104 w 4610101"/>
              <a:gd name="connsiteY47334" fmla="*/ 443640 h 6557032"/>
              <a:gd name="connsiteX47335" fmla="*/ 1140759 w 4610101"/>
              <a:gd name="connsiteY47335" fmla="*/ 446897 h 6557032"/>
              <a:gd name="connsiteX47336" fmla="*/ 1149337 w 4610101"/>
              <a:gd name="connsiteY47336" fmla="*/ 451840 h 6557032"/>
              <a:gd name="connsiteX47337" fmla="*/ 1173481 w 4610101"/>
              <a:gd name="connsiteY47337" fmla="*/ 472795 h 6557032"/>
              <a:gd name="connsiteX47338" fmla="*/ 1173481 w 4610101"/>
              <a:gd name="connsiteY47338" fmla="*/ 476439 h 6557032"/>
              <a:gd name="connsiteX47339" fmla="*/ 1184414 w 4610101"/>
              <a:gd name="connsiteY47339" fmla="*/ 487373 h 6557032"/>
              <a:gd name="connsiteX47340" fmla="*/ 1173481 w 4610101"/>
              <a:gd name="connsiteY47340" fmla="*/ 458218 h 6557032"/>
              <a:gd name="connsiteX47341" fmla="*/ 1171658 w 4610101"/>
              <a:gd name="connsiteY47341" fmla="*/ 461862 h 6557032"/>
              <a:gd name="connsiteX47342" fmla="*/ 1157081 w 4610101"/>
              <a:gd name="connsiteY47342" fmla="*/ 447284 h 6557032"/>
              <a:gd name="connsiteX47343" fmla="*/ 1169836 w 4610101"/>
              <a:gd name="connsiteY47343" fmla="*/ 450928 h 6557032"/>
              <a:gd name="connsiteX47344" fmla="*/ 1168014 w 4610101"/>
              <a:gd name="connsiteY47344" fmla="*/ 445463 h 6557032"/>
              <a:gd name="connsiteX47345" fmla="*/ 1177125 w 4610101"/>
              <a:gd name="connsiteY47345" fmla="*/ 452751 h 6557032"/>
              <a:gd name="connsiteX47346" fmla="*/ 1178947 w 4610101"/>
              <a:gd name="connsiteY47346" fmla="*/ 445463 h 6557032"/>
              <a:gd name="connsiteX47347" fmla="*/ 1186236 w 4610101"/>
              <a:gd name="connsiteY47347" fmla="*/ 469150 h 6557032"/>
              <a:gd name="connsiteX47348" fmla="*/ 1162547 w 4610101"/>
              <a:gd name="connsiteY47348" fmla="*/ 419952 h 6557032"/>
              <a:gd name="connsiteX47349" fmla="*/ 1164370 w 4610101"/>
              <a:gd name="connsiteY47349" fmla="*/ 412664 h 6557032"/>
              <a:gd name="connsiteX47350" fmla="*/ 1182592 w 4610101"/>
              <a:gd name="connsiteY47350" fmla="*/ 430886 h 6557032"/>
              <a:gd name="connsiteX47351" fmla="*/ 1171658 w 4610101"/>
              <a:gd name="connsiteY47351" fmla="*/ 383509 h 6557032"/>
              <a:gd name="connsiteX47352" fmla="*/ 1189880 w 4610101"/>
              <a:gd name="connsiteY47352" fmla="*/ 450928 h 6557032"/>
              <a:gd name="connsiteX47353" fmla="*/ 1191703 w 4610101"/>
              <a:gd name="connsiteY47353" fmla="*/ 447284 h 6557032"/>
              <a:gd name="connsiteX47354" fmla="*/ 1193525 w 4610101"/>
              <a:gd name="connsiteY47354" fmla="*/ 456395 h 6557032"/>
              <a:gd name="connsiteX47355" fmla="*/ 1193297 w 4610101"/>
              <a:gd name="connsiteY47355" fmla="*/ 461634 h 6557032"/>
              <a:gd name="connsiteX47356" fmla="*/ 1193525 w 4610101"/>
              <a:gd name="connsiteY47356" fmla="*/ 461862 h 6557032"/>
              <a:gd name="connsiteX47357" fmla="*/ 1193525 w 4610101"/>
              <a:gd name="connsiteY47357" fmla="*/ 472795 h 6557032"/>
              <a:gd name="connsiteX47358" fmla="*/ 1197169 w 4610101"/>
              <a:gd name="connsiteY47358" fmla="*/ 467328 h 6557032"/>
              <a:gd name="connsiteX47359" fmla="*/ 1193525 w 4610101"/>
              <a:gd name="connsiteY47359" fmla="*/ 461863 h 6557032"/>
              <a:gd name="connsiteX47360" fmla="*/ 1197169 w 4610101"/>
              <a:gd name="connsiteY47360" fmla="*/ 465506 h 6557032"/>
              <a:gd name="connsiteX47361" fmla="*/ 1198991 w 4610101"/>
              <a:gd name="connsiteY47361" fmla="*/ 454574 h 6557032"/>
              <a:gd name="connsiteX47362" fmla="*/ 1198991 w 4610101"/>
              <a:gd name="connsiteY47362" fmla="*/ 469150 h 6557032"/>
              <a:gd name="connsiteX47363" fmla="*/ 1202636 w 4610101"/>
              <a:gd name="connsiteY47363" fmla="*/ 476439 h 6557032"/>
              <a:gd name="connsiteX47364" fmla="*/ 1204457 w 4610101"/>
              <a:gd name="connsiteY47364" fmla="*/ 470972 h 6557032"/>
              <a:gd name="connsiteX47365" fmla="*/ 1206279 w 4610101"/>
              <a:gd name="connsiteY47365" fmla="*/ 474618 h 6557032"/>
              <a:gd name="connsiteX47366" fmla="*/ 1208102 w 4610101"/>
              <a:gd name="connsiteY47366" fmla="*/ 470972 h 6557032"/>
              <a:gd name="connsiteX47367" fmla="*/ 1211747 w 4610101"/>
              <a:gd name="connsiteY47367" fmla="*/ 470972 h 6557032"/>
              <a:gd name="connsiteX47368" fmla="*/ 1209925 w 4610101"/>
              <a:gd name="connsiteY47368" fmla="*/ 465506 h 6557032"/>
              <a:gd name="connsiteX47369" fmla="*/ 1212146 w 4610101"/>
              <a:gd name="connsiteY47369" fmla="*/ 465284 h 6557032"/>
              <a:gd name="connsiteX47370" fmla="*/ 1213568 w 4610101"/>
              <a:gd name="connsiteY47370" fmla="*/ 470972 h 6557032"/>
              <a:gd name="connsiteX47371" fmla="*/ 1217213 w 4610101"/>
              <a:gd name="connsiteY47371" fmla="*/ 469150 h 6557032"/>
              <a:gd name="connsiteX47372" fmla="*/ 1211747 w 4610101"/>
              <a:gd name="connsiteY47372" fmla="*/ 472795 h 6557032"/>
              <a:gd name="connsiteX47373" fmla="*/ 1211747 w 4610101"/>
              <a:gd name="connsiteY47373" fmla="*/ 489194 h 6557032"/>
              <a:gd name="connsiteX47374" fmla="*/ 1215390 w 4610101"/>
              <a:gd name="connsiteY47374" fmla="*/ 487373 h 6557032"/>
              <a:gd name="connsiteX47375" fmla="*/ 1215390 w 4610101"/>
              <a:gd name="connsiteY47375" fmla="*/ 500127 h 6557032"/>
              <a:gd name="connsiteX47376" fmla="*/ 1211747 w 4610101"/>
              <a:gd name="connsiteY47376" fmla="*/ 491017 h 6557032"/>
              <a:gd name="connsiteX47377" fmla="*/ 1213568 w 4610101"/>
              <a:gd name="connsiteY47377" fmla="*/ 503771 h 6557032"/>
              <a:gd name="connsiteX47378" fmla="*/ 1213568 w 4610101"/>
              <a:gd name="connsiteY47378" fmla="*/ 509238 h 6557032"/>
              <a:gd name="connsiteX47379" fmla="*/ 1213568 w 4610101"/>
              <a:gd name="connsiteY47379" fmla="*/ 503771 h 6557032"/>
              <a:gd name="connsiteX47380" fmla="*/ 1215390 w 4610101"/>
              <a:gd name="connsiteY47380" fmla="*/ 500127 h 6557032"/>
              <a:gd name="connsiteX47381" fmla="*/ 1217213 w 4610101"/>
              <a:gd name="connsiteY47381" fmla="*/ 512882 h 6557032"/>
              <a:gd name="connsiteX47382" fmla="*/ 1225986 w 4610101"/>
              <a:gd name="connsiteY47382" fmla="*/ 504334 h 6557032"/>
              <a:gd name="connsiteX47383" fmla="*/ 1223590 w 4610101"/>
              <a:gd name="connsiteY47383" fmla="*/ 508327 h 6557032"/>
              <a:gd name="connsiteX47384" fmla="*/ 1220858 w 4610101"/>
              <a:gd name="connsiteY47384" fmla="*/ 521993 h 6557032"/>
              <a:gd name="connsiteX47385" fmla="*/ 1219036 w 4610101"/>
              <a:gd name="connsiteY47385" fmla="*/ 514705 h 6557032"/>
              <a:gd name="connsiteX47386" fmla="*/ 1217213 w 4610101"/>
              <a:gd name="connsiteY47386" fmla="*/ 527461 h 6557032"/>
              <a:gd name="connsiteX47387" fmla="*/ 1222679 w 4610101"/>
              <a:gd name="connsiteY47387" fmla="*/ 543860 h 6557032"/>
              <a:gd name="connsiteX47388" fmla="*/ 1226323 w 4610101"/>
              <a:gd name="connsiteY47388" fmla="*/ 536571 h 6557032"/>
              <a:gd name="connsiteX47389" fmla="*/ 1240901 w 4610101"/>
              <a:gd name="connsiteY47389" fmla="*/ 520171 h 6557032"/>
              <a:gd name="connsiteX47390" fmla="*/ 1231790 w 4610101"/>
              <a:gd name="connsiteY47390" fmla="*/ 494662 h 6557032"/>
              <a:gd name="connsiteX47391" fmla="*/ 1226115 w 4610101"/>
              <a:gd name="connsiteY47391" fmla="*/ 504119 h 6557032"/>
              <a:gd name="connsiteX47392" fmla="*/ 1228146 w 4610101"/>
              <a:gd name="connsiteY47392" fmla="*/ 492838 h 6557032"/>
              <a:gd name="connsiteX47393" fmla="*/ 1231790 w 4610101"/>
              <a:gd name="connsiteY47393" fmla="*/ 492838 h 6557032"/>
              <a:gd name="connsiteX47394" fmla="*/ 1213568 w 4610101"/>
              <a:gd name="connsiteY47394" fmla="*/ 483728 h 6557032"/>
              <a:gd name="connsiteX47395" fmla="*/ 1226323 w 4610101"/>
              <a:gd name="connsiteY47395" fmla="*/ 485550 h 6557032"/>
              <a:gd name="connsiteX47396" fmla="*/ 1220858 w 4610101"/>
              <a:gd name="connsiteY47396" fmla="*/ 480083 h 6557032"/>
              <a:gd name="connsiteX47397" fmla="*/ 1226323 w 4610101"/>
              <a:gd name="connsiteY47397" fmla="*/ 481906 h 6557032"/>
              <a:gd name="connsiteX47398" fmla="*/ 1224501 w 4610101"/>
              <a:gd name="connsiteY47398" fmla="*/ 470972 h 6557032"/>
              <a:gd name="connsiteX47399" fmla="*/ 1228146 w 4610101"/>
              <a:gd name="connsiteY47399" fmla="*/ 472795 h 6557032"/>
              <a:gd name="connsiteX47400" fmla="*/ 1219036 w 4610101"/>
              <a:gd name="connsiteY47400" fmla="*/ 449107 h 6557032"/>
              <a:gd name="connsiteX47401" fmla="*/ 1240901 w 4610101"/>
              <a:gd name="connsiteY47401" fmla="*/ 492838 h 6557032"/>
              <a:gd name="connsiteX47402" fmla="*/ 1237256 w 4610101"/>
              <a:gd name="connsiteY47402" fmla="*/ 483728 h 6557032"/>
              <a:gd name="connsiteX47403" fmla="*/ 1240901 w 4610101"/>
              <a:gd name="connsiteY47403" fmla="*/ 478262 h 6557032"/>
              <a:gd name="connsiteX47404" fmla="*/ 1244545 w 4610101"/>
              <a:gd name="connsiteY47404" fmla="*/ 483728 h 6557032"/>
              <a:gd name="connsiteX47405" fmla="*/ 1246367 w 4610101"/>
              <a:gd name="connsiteY47405" fmla="*/ 492838 h 6557032"/>
              <a:gd name="connsiteX47406" fmla="*/ 1250012 w 4610101"/>
              <a:gd name="connsiteY47406" fmla="*/ 478262 h 6557032"/>
              <a:gd name="connsiteX47407" fmla="*/ 1251834 w 4610101"/>
              <a:gd name="connsiteY47407" fmla="*/ 480083 h 6557032"/>
              <a:gd name="connsiteX47408" fmla="*/ 1255478 w 4610101"/>
              <a:gd name="connsiteY47408" fmla="*/ 467328 h 6557032"/>
              <a:gd name="connsiteX47409" fmla="*/ 1253656 w 4610101"/>
              <a:gd name="connsiteY47409" fmla="*/ 425419 h 6557032"/>
              <a:gd name="connsiteX47410" fmla="*/ 1228146 w 4610101"/>
              <a:gd name="connsiteY47410" fmla="*/ 381687 h 6557032"/>
              <a:gd name="connsiteX47411" fmla="*/ 1231790 w 4610101"/>
              <a:gd name="connsiteY47411" fmla="*/ 383509 h 6557032"/>
              <a:gd name="connsiteX47412" fmla="*/ 1228146 w 4610101"/>
              <a:gd name="connsiteY47412" fmla="*/ 372576 h 6557032"/>
              <a:gd name="connsiteX47413" fmla="*/ 1257300 w 4610101"/>
              <a:gd name="connsiteY47413" fmla="*/ 429063 h 6557032"/>
              <a:gd name="connsiteX47414" fmla="*/ 1262767 w 4610101"/>
              <a:gd name="connsiteY47414" fmla="*/ 409019 h 6557032"/>
              <a:gd name="connsiteX47415" fmla="*/ 1262767 w 4610101"/>
              <a:gd name="connsiteY47415" fmla="*/ 427240 h 6557032"/>
              <a:gd name="connsiteX47416" fmla="*/ 1260945 w 4610101"/>
              <a:gd name="connsiteY47416" fmla="*/ 425419 h 6557032"/>
              <a:gd name="connsiteX47417" fmla="*/ 1257300 w 4610101"/>
              <a:gd name="connsiteY47417" fmla="*/ 480083 h 6557032"/>
              <a:gd name="connsiteX47418" fmla="*/ 1260945 w 4610101"/>
              <a:gd name="connsiteY47418" fmla="*/ 468208 h 6557032"/>
              <a:gd name="connsiteX47419" fmla="*/ 1260945 w 4610101"/>
              <a:gd name="connsiteY47419" fmla="*/ 472795 h 6557032"/>
              <a:gd name="connsiteX47420" fmla="*/ 1262311 w 4610101"/>
              <a:gd name="connsiteY47420" fmla="*/ 471429 h 6557032"/>
              <a:gd name="connsiteX47421" fmla="*/ 1261085 w 4610101"/>
              <a:gd name="connsiteY47421" fmla="*/ 467750 h 6557032"/>
              <a:gd name="connsiteX47422" fmla="*/ 1263451 w 4610101"/>
              <a:gd name="connsiteY47422" fmla="*/ 460043 h 6557032"/>
              <a:gd name="connsiteX47423" fmla="*/ 1266411 w 4610101"/>
              <a:gd name="connsiteY47423" fmla="*/ 469150 h 6557032"/>
              <a:gd name="connsiteX47424" fmla="*/ 1262767 w 4610101"/>
              <a:gd name="connsiteY47424" fmla="*/ 480083 h 6557032"/>
              <a:gd name="connsiteX47425" fmla="*/ 1268233 w 4610101"/>
              <a:gd name="connsiteY47425" fmla="*/ 474618 h 6557032"/>
              <a:gd name="connsiteX47426" fmla="*/ 1264589 w 4610101"/>
              <a:gd name="connsiteY47426" fmla="*/ 491017 h 6557032"/>
              <a:gd name="connsiteX47427" fmla="*/ 1266411 w 4610101"/>
              <a:gd name="connsiteY47427" fmla="*/ 485550 h 6557032"/>
              <a:gd name="connsiteX47428" fmla="*/ 1281232 w 4610101"/>
              <a:gd name="connsiteY47428" fmla="*/ 470729 h 6557032"/>
              <a:gd name="connsiteX47429" fmla="*/ 1266867 w 4610101"/>
              <a:gd name="connsiteY47429" fmla="*/ 490106 h 6557032"/>
              <a:gd name="connsiteX47430" fmla="*/ 1250012 w 4610101"/>
              <a:gd name="connsiteY47430" fmla="*/ 516527 h 6557032"/>
              <a:gd name="connsiteX47431" fmla="*/ 1262767 w 4610101"/>
              <a:gd name="connsiteY47431" fmla="*/ 532926 h 6557032"/>
              <a:gd name="connsiteX47432" fmla="*/ 1266411 w 4610101"/>
              <a:gd name="connsiteY47432" fmla="*/ 540215 h 6557032"/>
              <a:gd name="connsiteX47433" fmla="*/ 1275522 w 4610101"/>
              <a:gd name="connsiteY47433" fmla="*/ 596702 h 6557032"/>
              <a:gd name="connsiteX47434" fmla="*/ 1286455 w 4610101"/>
              <a:gd name="connsiteY47434" fmla="*/ 600347 h 6557032"/>
              <a:gd name="connsiteX47435" fmla="*/ 1286455 w 4610101"/>
              <a:gd name="connsiteY47435" fmla="*/ 593058 h 6557032"/>
              <a:gd name="connsiteX47436" fmla="*/ 1288277 w 4610101"/>
              <a:gd name="connsiteY47436" fmla="*/ 605813 h 6557032"/>
              <a:gd name="connsiteX47437" fmla="*/ 1293744 w 4610101"/>
              <a:gd name="connsiteY47437" fmla="*/ 591236 h 6557032"/>
              <a:gd name="connsiteX47438" fmla="*/ 1291922 w 4610101"/>
              <a:gd name="connsiteY47438" fmla="*/ 569370 h 6557032"/>
              <a:gd name="connsiteX47439" fmla="*/ 1295566 w 4610101"/>
              <a:gd name="connsiteY47439" fmla="*/ 574836 h 6557032"/>
              <a:gd name="connsiteX47440" fmla="*/ 1291922 w 4610101"/>
              <a:gd name="connsiteY47440" fmla="*/ 560260 h 6557032"/>
              <a:gd name="connsiteX47441" fmla="*/ 1295566 w 4610101"/>
              <a:gd name="connsiteY47441" fmla="*/ 565725 h 6557032"/>
              <a:gd name="connsiteX47442" fmla="*/ 1291922 w 4610101"/>
              <a:gd name="connsiteY47442" fmla="*/ 554792 h 6557032"/>
              <a:gd name="connsiteX47443" fmla="*/ 1290100 w 4610101"/>
              <a:gd name="connsiteY47443" fmla="*/ 540215 h 6557032"/>
              <a:gd name="connsiteX47444" fmla="*/ 1297388 w 4610101"/>
              <a:gd name="connsiteY47444" fmla="*/ 573014 h 6557032"/>
              <a:gd name="connsiteX47445" fmla="*/ 1295566 w 4610101"/>
              <a:gd name="connsiteY47445" fmla="*/ 583947 h 6557032"/>
              <a:gd name="connsiteX47446" fmla="*/ 1295566 w 4610101"/>
              <a:gd name="connsiteY47446" fmla="*/ 591236 h 6557032"/>
              <a:gd name="connsiteX47447" fmla="*/ 1301033 w 4610101"/>
              <a:gd name="connsiteY47447" fmla="*/ 585769 h 6557032"/>
              <a:gd name="connsiteX47448" fmla="*/ 1302855 w 4610101"/>
              <a:gd name="connsiteY47448" fmla="*/ 567548 h 6557032"/>
              <a:gd name="connsiteX47449" fmla="*/ 1306499 w 4610101"/>
              <a:gd name="connsiteY47449" fmla="*/ 571192 h 6557032"/>
              <a:gd name="connsiteX47450" fmla="*/ 1304677 w 4610101"/>
              <a:gd name="connsiteY47450" fmla="*/ 580303 h 6557032"/>
              <a:gd name="connsiteX47451" fmla="*/ 1310143 w 4610101"/>
              <a:gd name="connsiteY47451" fmla="*/ 562081 h 6557032"/>
              <a:gd name="connsiteX47452" fmla="*/ 1315610 w 4610101"/>
              <a:gd name="connsiteY47452" fmla="*/ 554792 h 6557032"/>
              <a:gd name="connsiteX47453" fmla="*/ 1308321 w 4610101"/>
              <a:gd name="connsiteY47453" fmla="*/ 583947 h 6557032"/>
              <a:gd name="connsiteX47454" fmla="*/ 1317432 w 4610101"/>
              <a:gd name="connsiteY47454" fmla="*/ 571192 h 6557032"/>
              <a:gd name="connsiteX47455" fmla="*/ 1310143 w 4610101"/>
              <a:gd name="connsiteY47455" fmla="*/ 585769 h 6557032"/>
              <a:gd name="connsiteX47456" fmla="*/ 1311966 w 4610101"/>
              <a:gd name="connsiteY47456" fmla="*/ 591236 h 6557032"/>
              <a:gd name="connsiteX47457" fmla="*/ 1319254 w 4610101"/>
              <a:gd name="connsiteY47457" fmla="*/ 574836 h 6557032"/>
              <a:gd name="connsiteX47458" fmla="*/ 1321077 w 4610101"/>
              <a:gd name="connsiteY47458" fmla="*/ 576658 h 6557032"/>
              <a:gd name="connsiteX47459" fmla="*/ 1321077 w 4610101"/>
              <a:gd name="connsiteY47459" fmla="*/ 552970 h 6557032"/>
              <a:gd name="connsiteX47460" fmla="*/ 1322899 w 4610101"/>
              <a:gd name="connsiteY47460" fmla="*/ 552970 h 6557032"/>
              <a:gd name="connsiteX47461" fmla="*/ 1324721 w 4610101"/>
              <a:gd name="connsiteY47461" fmla="*/ 558437 h 6557032"/>
              <a:gd name="connsiteX47462" fmla="*/ 1322899 w 4610101"/>
              <a:gd name="connsiteY47462" fmla="*/ 552970 h 6557032"/>
              <a:gd name="connsiteX47463" fmla="*/ 1319254 w 4610101"/>
              <a:gd name="connsiteY47463" fmla="*/ 542037 h 6557032"/>
              <a:gd name="connsiteX47464" fmla="*/ 1326543 w 4610101"/>
              <a:gd name="connsiteY47464" fmla="*/ 549326 h 6557032"/>
              <a:gd name="connsiteX47465" fmla="*/ 1330188 w 4610101"/>
              <a:gd name="connsiteY47465" fmla="*/ 562081 h 6557032"/>
              <a:gd name="connsiteX47466" fmla="*/ 1328365 w 4610101"/>
              <a:gd name="connsiteY47466" fmla="*/ 600347 h 6557032"/>
              <a:gd name="connsiteX47467" fmla="*/ 1318343 w 4610101"/>
              <a:gd name="connsiteY47467" fmla="*/ 617658 h 6557032"/>
              <a:gd name="connsiteX47468" fmla="*/ 1317432 w 4610101"/>
              <a:gd name="connsiteY47468" fmla="*/ 614924 h 6557032"/>
              <a:gd name="connsiteX47469" fmla="*/ 1321077 w 4610101"/>
              <a:gd name="connsiteY47469" fmla="*/ 607635 h 6557032"/>
              <a:gd name="connsiteX47470" fmla="*/ 1324721 w 4610101"/>
              <a:gd name="connsiteY47470" fmla="*/ 605813 h 6557032"/>
              <a:gd name="connsiteX47471" fmla="*/ 1324721 w 4610101"/>
              <a:gd name="connsiteY47471" fmla="*/ 571192 h 6557032"/>
              <a:gd name="connsiteX47472" fmla="*/ 1313788 w 4610101"/>
              <a:gd name="connsiteY47472" fmla="*/ 591236 h 6557032"/>
              <a:gd name="connsiteX47473" fmla="*/ 1317432 w 4610101"/>
              <a:gd name="connsiteY47473" fmla="*/ 603991 h 6557032"/>
              <a:gd name="connsiteX47474" fmla="*/ 1313788 w 4610101"/>
              <a:gd name="connsiteY47474" fmla="*/ 593058 h 6557032"/>
              <a:gd name="connsiteX47475" fmla="*/ 1304677 w 4610101"/>
              <a:gd name="connsiteY47475" fmla="*/ 609459 h 6557032"/>
              <a:gd name="connsiteX47476" fmla="*/ 1299210 w 4610101"/>
              <a:gd name="connsiteY47476" fmla="*/ 631324 h 6557032"/>
              <a:gd name="connsiteX47477" fmla="*/ 1302855 w 4610101"/>
              <a:gd name="connsiteY47477" fmla="*/ 633146 h 6557032"/>
              <a:gd name="connsiteX47478" fmla="*/ 1302855 w 4610101"/>
              <a:gd name="connsiteY47478" fmla="*/ 642257 h 6557032"/>
              <a:gd name="connsiteX47479" fmla="*/ 1304677 w 4610101"/>
              <a:gd name="connsiteY47479" fmla="*/ 636790 h 6557032"/>
              <a:gd name="connsiteX47480" fmla="*/ 1310293 w 4610101"/>
              <a:gd name="connsiteY47480" fmla="*/ 631562 h 6557032"/>
              <a:gd name="connsiteX47481" fmla="*/ 1308321 w 4610101"/>
              <a:gd name="connsiteY47481" fmla="*/ 634968 h 6557032"/>
              <a:gd name="connsiteX47482" fmla="*/ 1313788 w 4610101"/>
              <a:gd name="connsiteY47482" fmla="*/ 647723 h 6557032"/>
              <a:gd name="connsiteX47483" fmla="*/ 1313788 w 4610101"/>
              <a:gd name="connsiteY47483" fmla="*/ 640435 h 6557032"/>
              <a:gd name="connsiteX47484" fmla="*/ 1317432 w 4610101"/>
              <a:gd name="connsiteY47484" fmla="*/ 638612 h 6557032"/>
              <a:gd name="connsiteX47485" fmla="*/ 1317432 w 4610101"/>
              <a:gd name="connsiteY47485" fmla="*/ 642257 h 6557032"/>
              <a:gd name="connsiteX47486" fmla="*/ 1333832 w 4610101"/>
              <a:gd name="connsiteY47486" fmla="*/ 609459 h 6557032"/>
              <a:gd name="connsiteX47487" fmla="*/ 1330188 w 4610101"/>
              <a:gd name="connsiteY47487" fmla="*/ 596702 h 6557032"/>
              <a:gd name="connsiteX47488" fmla="*/ 1335654 w 4610101"/>
              <a:gd name="connsiteY47488" fmla="*/ 593058 h 6557032"/>
              <a:gd name="connsiteX47489" fmla="*/ 1335654 w 4610101"/>
              <a:gd name="connsiteY47489" fmla="*/ 605813 h 6557032"/>
              <a:gd name="connsiteX47490" fmla="*/ 1339299 w 4610101"/>
              <a:gd name="connsiteY47490" fmla="*/ 589414 h 6557032"/>
              <a:gd name="connsiteX47491" fmla="*/ 1344764 w 4610101"/>
              <a:gd name="connsiteY47491" fmla="*/ 575292 h 6557032"/>
              <a:gd name="connsiteX47492" fmla="*/ 1344765 w 4610101"/>
              <a:gd name="connsiteY47492" fmla="*/ 568277 h 6557032"/>
              <a:gd name="connsiteX47493" fmla="*/ 1346587 w 4610101"/>
              <a:gd name="connsiteY47493" fmla="*/ 574836 h 6557032"/>
              <a:gd name="connsiteX47494" fmla="*/ 1353876 w 4610101"/>
              <a:gd name="connsiteY47494" fmla="*/ 567548 h 6557032"/>
              <a:gd name="connsiteX47495" fmla="*/ 1346587 w 4610101"/>
              <a:gd name="connsiteY47495" fmla="*/ 591236 h 6557032"/>
              <a:gd name="connsiteX47496" fmla="*/ 1350231 w 4610101"/>
              <a:gd name="connsiteY47496" fmla="*/ 589414 h 6557032"/>
              <a:gd name="connsiteX47497" fmla="*/ 1342942 w 4610101"/>
              <a:gd name="connsiteY47497" fmla="*/ 614924 h 6557032"/>
              <a:gd name="connsiteX47498" fmla="*/ 1368453 w 4610101"/>
              <a:gd name="connsiteY47498" fmla="*/ 573014 h 6557032"/>
              <a:gd name="connsiteX47499" fmla="*/ 1368453 w 4610101"/>
              <a:gd name="connsiteY47499" fmla="*/ 583947 h 6557032"/>
              <a:gd name="connsiteX47500" fmla="*/ 1375743 w 4610101"/>
              <a:gd name="connsiteY47500" fmla="*/ 574836 h 6557032"/>
              <a:gd name="connsiteX47501" fmla="*/ 1355698 w 4610101"/>
              <a:gd name="connsiteY47501" fmla="*/ 605813 h 6557032"/>
              <a:gd name="connsiteX47502" fmla="*/ 1332009 w 4610101"/>
              <a:gd name="connsiteY47502" fmla="*/ 642257 h 6557032"/>
              <a:gd name="connsiteX47503" fmla="*/ 1335654 w 4610101"/>
              <a:gd name="connsiteY47503" fmla="*/ 649545 h 6557032"/>
              <a:gd name="connsiteX47504" fmla="*/ 1341120 w 4610101"/>
              <a:gd name="connsiteY47504" fmla="*/ 642257 h 6557032"/>
              <a:gd name="connsiteX47505" fmla="*/ 1337476 w 4610101"/>
              <a:gd name="connsiteY47505" fmla="*/ 653190 h 6557032"/>
              <a:gd name="connsiteX47506" fmla="*/ 1357521 w 4610101"/>
              <a:gd name="connsiteY47506" fmla="*/ 636790 h 6557032"/>
              <a:gd name="connsiteX47507" fmla="*/ 1359342 w 4610101"/>
              <a:gd name="connsiteY47507" fmla="*/ 638612 h 6557032"/>
              <a:gd name="connsiteX47508" fmla="*/ 1361164 w 4610101"/>
              <a:gd name="connsiteY47508" fmla="*/ 634968 h 6557032"/>
              <a:gd name="connsiteX47509" fmla="*/ 1362987 w 4610101"/>
              <a:gd name="connsiteY47509" fmla="*/ 636790 h 6557032"/>
              <a:gd name="connsiteX47510" fmla="*/ 1362987 w 4610101"/>
              <a:gd name="connsiteY47510" fmla="*/ 618568 h 6557032"/>
              <a:gd name="connsiteX47511" fmla="*/ 1366632 w 4610101"/>
              <a:gd name="connsiteY47511" fmla="*/ 633146 h 6557032"/>
              <a:gd name="connsiteX47512" fmla="*/ 1364809 w 4610101"/>
              <a:gd name="connsiteY47512" fmla="*/ 613103 h 6557032"/>
              <a:gd name="connsiteX47513" fmla="*/ 1366632 w 4610101"/>
              <a:gd name="connsiteY47513" fmla="*/ 614924 h 6557032"/>
              <a:gd name="connsiteX47514" fmla="*/ 1362987 w 4610101"/>
              <a:gd name="connsiteY47514" fmla="*/ 605813 h 6557032"/>
              <a:gd name="connsiteX47515" fmla="*/ 1366632 w 4610101"/>
              <a:gd name="connsiteY47515" fmla="*/ 607635 h 6557032"/>
              <a:gd name="connsiteX47516" fmla="*/ 1367314 w 4610101"/>
              <a:gd name="connsiteY47516" fmla="*/ 612191 h 6557032"/>
              <a:gd name="connsiteX47517" fmla="*/ 1371410 w 4610101"/>
              <a:gd name="connsiteY47517" fmla="*/ 616092 h 6557032"/>
              <a:gd name="connsiteX47518" fmla="*/ 1370275 w 4610101"/>
              <a:gd name="connsiteY47518" fmla="*/ 624035 h 6557032"/>
              <a:gd name="connsiteX47519" fmla="*/ 1372097 w 4610101"/>
              <a:gd name="connsiteY47519" fmla="*/ 616746 h 6557032"/>
              <a:gd name="connsiteX47520" fmla="*/ 1371410 w 4610101"/>
              <a:gd name="connsiteY47520" fmla="*/ 616092 h 6557032"/>
              <a:gd name="connsiteX47521" fmla="*/ 1372097 w 4610101"/>
              <a:gd name="connsiteY47521" fmla="*/ 611280 h 6557032"/>
              <a:gd name="connsiteX47522" fmla="*/ 1375743 w 4610101"/>
              <a:gd name="connsiteY47522" fmla="*/ 613103 h 6557032"/>
              <a:gd name="connsiteX47523" fmla="*/ 1373920 w 4610101"/>
              <a:gd name="connsiteY47523" fmla="*/ 624035 h 6557032"/>
              <a:gd name="connsiteX47524" fmla="*/ 1384854 w 4610101"/>
              <a:gd name="connsiteY47524" fmla="*/ 611280 h 6557032"/>
              <a:gd name="connsiteX47525" fmla="*/ 1375743 w 4610101"/>
              <a:gd name="connsiteY47525" fmla="*/ 624035 h 6557032"/>
              <a:gd name="connsiteX47526" fmla="*/ 1377564 w 4610101"/>
              <a:gd name="connsiteY47526" fmla="*/ 651368 h 6557032"/>
              <a:gd name="connsiteX47527" fmla="*/ 1383030 w 4610101"/>
              <a:gd name="connsiteY47527" fmla="*/ 644079 h 6557032"/>
              <a:gd name="connsiteX47528" fmla="*/ 1377564 w 4610101"/>
              <a:gd name="connsiteY47528" fmla="*/ 631324 h 6557032"/>
              <a:gd name="connsiteX47529" fmla="*/ 1383030 w 4610101"/>
              <a:gd name="connsiteY47529" fmla="*/ 642257 h 6557032"/>
              <a:gd name="connsiteX47530" fmla="*/ 1388497 w 4610101"/>
              <a:gd name="connsiteY47530" fmla="*/ 636790 h 6557032"/>
              <a:gd name="connsiteX47531" fmla="*/ 1384854 w 4610101"/>
              <a:gd name="connsiteY47531" fmla="*/ 631324 h 6557032"/>
              <a:gd name="connsiteX47532" fmla="*/ 1388497 w 4610101"/>
              <a:gd name="connsiteY47532" fmla="*/ 633146 h 6557032"/>
              <a:gd name="connsiteX47533" fmla="*/ 1386676 w 4610101"/>
              <a:gd name="connsiteY47533" fmla="*/ 605813 h 6557032"/>
              <a:gd name="connsiteX47534" fmla="*/ 1383030 w 4610101"/>
              <a:gd name="connsiteY47534" fmla="*/ 607635 h 6557032"/>
              <a:gd name="connsiteX47535" fmla="*/ 1381208 w 4610101"/>
              <a:gd name="connsiteY47535" fmla="*/ 589414 h 6557032"/>
              <a:gd name="connsiteX47536" fmla="*/ 1392141 w 4610101"/>
              <a:gd name="connsiteY47536" fmla="*/ 609459 h 6557032"/>
              <a:gd name="connsiteX47537" fmla="*/ 1392141 w 4610101"/>
              <a:gd name="connsiteY47537" fmla="*/ 602169 h 6557032"/>
              <a:gd name="connsiteX47538" fmla="*/ 1390319 w 4610101"/>
              <a:gd name="connsiteY47538" fmla="*/ 602169 h 6557032"/>
              <a:gd name="connsiteX47539" fmla="*/ 1392141 w 4610101"/>
              <a:gd name="connsiteY47539" fmla="*/ 600347 h 6557032"/>
              <a:gd name="connsiteX47540" fmla="*/ 1377564 w 4610101"/>
              <a:gd name="connsiteY47540" fmla="*/ 582125 h 6557032"/>
              <a:gd name="connsiteX47541" fmla="*/ 1377341 w 4610101"/>
              <a:gd name="connsiteY47541" fmla="*/ 578776 h 6557032"/>
              <a:gd name="connsiteX47542" fmla="*/ 1384169 w 4610101"/>
              <a:gd name="connsiteY47542" fmla="*/ 587820 h 6557032"/>
              <a:gd name="connsiteX47543" fmla="*/ 1393963 w 4610101"/>
              <a:gd name="connsiteY47543" fmla="*/ 600347 h 6557032"/>
              <a:gd name="connsiteX47544" fmla="*/ 1393963 w 4610101"/>
              <a:gd name="connsiteY47544" fmla="*/ 591236 h 6557032"/>
              <a:gd name="connsiteX47545" fmla="*/ 1395787 w 4610101"/>
              <a:gd name="connsiteY47545" fmla="*/ 603991 h 6557032"/>
              <a:gd name="connsiteX47546" fmla="*/ 1397608 w 4610101"/>
              <a:gd name="connsiteY47546" fmla="*/ 603991 h 6557032"/>
              <a:gd name="connsiteX47547" fmla="*/ 1395787 w 4610101"/>
              <a:gd name="connsiteY47547" fmla="*/ 605813 h 6557032"/>
              <a:gd name="connsiteX47548" fmla="*/ 1399430 w 4610101"/>
              <a:gd name="connsiteY47548" fmla="*/ 609459 h 6557032"/>
              <a:gd name="connsiteX47549" fmla="*/ 1395787 w 4610101"/>
              <a:gd name="connsiteY47549" fmla="*/ 607635 h 6557032"/>
              <a:gd name="connsiteX47550" fmla="*/ 1397608 w 4610101"/>
              <a:gd name="connsiteY47550" fmla="*/ 618568 h 6557032"/>
              <a:gd name="connsiteX47551" fmla="*/ 1399430 w 4610101"/>
              <a:gd name="connsiteY47551" fmla="*/ 613103 h 6557032"/>
              <a:gd name="connsiteX47552" fmla="*/ 1403074 w 4610101"/>
              <a:gd name="connsiteY47552" fmla="*/ 614924 h 6557032"/>
              <a:gd name="connsiteX47553" fmla="*/ 1406719 w 4610101"/>
              <a:gd name="connsiteY47553" fmla="*/ 605813 h 6557032"/>
              <a:gd name="connsiteX47554" fmla="*/ 1405807 w 4610101"/>
              <a:gd name="connsiteY47554" fmla="*/ 605813 h 6557032"/>
              <a:gd name="connsiteX47555" fmla="*/ 1408313 w 4610101"/>
              <a:gd name="connsiteY47555" fmla="*/ 600802 h 6557032"/>
              <a:gd name="connsiteX47556" fmla="*/ 1406117 w 4610101"/>
              <a:gd name="connsiteY47556" fmla="*/ 594655 h 6557032"/>
              <a:gd name="connsiteX47557" fmla="*/ 1406719 w 4610101"/>
              <a:gd name="connsiteY47557" fmla="*/ 594880 h 6557032"/>
              <a:gd name="connsiteX47558" fmla="*/ 1386676 w 4610101"/>
              <a:gd name="connsiteY47558" fmla="*/ 554792 h 6557032"/>
              <a:gd name="connsiteX47559" fmla="*/ 1381208 w 4610101"/>
              <a:gd name="connsiteY47559" fmla="*/ 558437 h 6557032"/>
              <a:gd name="connsiteX47560" fmla="*/ 1381208 w 4610101"/>
              <a:gd name="connsiteY47560" fmla="*/ 547504 h 6557032"/>
              <a:gd name="connsiteX47561" fmla="*/ 1401252 w 4610101"/>
              <a:gd name="connsiteY47561" fmla="*/ 567548 h 6557032"/>
              <a:gd name="connsiteX47562" fmla="*/ 1414007 w 4610101"/>
              <a:gd name="connsiteY47562" fmla="*/ 598524 h 6557032"/>
              <a:gd name="connsiteX47563" fmla="*/ 1414007 w 4610101"/>
              <a:gd name="connsiteY47563" fmla="*/ 585769 h 6557032"/>
              <a:gd name="connsiteX47564" fmla="*/ 1417652 w 4610101"/>
              <a:gd name="connsiteY47564" fmla="*/ 589414 h 6557032"/>
              <a:gd name="connsiteX47565" fmla="*/ 1412185 w 4610101"/>
              <a:gd name="connsiteY47565" fmla="*/ 573014 h 6557032"/>
              <a:gd name="connsiteX47566" fmla="*/ 1417652 w 4610101"/>
              <a:gd name="connsiteY47566" fmla="*/ 580303 h 6557032"/>
              <a:gd name="connsiteX47567" fmla="*/ 1414007 w 4610101"/>
              <a:gd name="connsiteY47567" fmla="*/ 571192 h 6557032"/>
              <a:gd name="connsiteX47568" fmla="*/ 1417652 w 4610101"/>
              <a:gd name="connsiteY47568" fmla="*/ 573014 h 6557032"/>
              <a:gd name="connsiteX47569" fmla="*/ 1419474 w 4610101"/>
              <a:gd name="connsiteY47569" fmla="*/ 560260 h 6557032"/>
              <a:gd name="connsiteX47570" fmla="*/ 1426886 w 4610101"/>
              <a:gd name="connsiteY47570" fmla="*/ 548947 h 6557032"/>
              <a:gd name="connsiteX47571" fmla="*/ 1426307 w 4610101"/>
              <a:gd name="connsiteY47571" fmla="*/ 555020 h 6557032"/>
              <a:gd name="connsiteX47572" fmla="*/ 1421296 w 4610101"/>
              <a:gd name="connsiteY47572" fmla="*/ 580303 h 6557032"/>
              <a:gd name="connsiteX47573" fmla="*/ 1423118 w 4610101"/>
              <a:gd name="connsiteY47573" fmla="*/ 580303 h 6557032"/>
              <a:gd name="connsiteX47574" fmla="*/ 1421296 w 4610101"/>
              <a:gd name="connsiteY47574" fmla="*/ 583947 h 6557032"/>
              <a:gd name="connsiteX47575" fmla="*/ 1419474 w 4610101"/>
              <a:gd name="connsiteY47575" fmla="*/ 582125 h 6557032"/>
              <a:gd name="connsiteX47576" fmla="*/ 1423118 w 4610101"/>
              <a:gd name="connsiteY47576" fmla="*/ 587591 h 6557032"/>
              <a:gd name="connsiteX47577" fmla="*/ 1441340 w 4610101"/>
              <a:gd name="connsiteY47577" fmla="*/ 547504 h 6557032"/>
              <a:gd name="connsiteX47578" fmla="*/ 1442001 w 4610101"/>
              <a:gd name="connsiteY47578" fmla="*/ 541554 h 6557032"/>
              <a:gd name="connsiteX47579" fmla="*/ 1443162 w 4610101"/>
              <a:gd name="connsiteY47579" fmla="*/ 545681 h 6557032"/>
              <a:gd name="connsiteX47580" fmla="*/ 1428585 w 4610101"/>
              <a:gd name="connsiteY47580" fmla="*/ 582125 h 6557032"/>
              <a:gd name="connsiteX47581" fmla="*/ 1434051 w 4610101"/>
              <a:gd name="connsiteY47581" fmla="*/ 583947 h 6557032"/>
              <a:gd name="connsiteX47582" fmla="*/ 1428130 w 4610101"/>
              <a:gd name="connsiteY47582" fmla="*/ 591008 h 6557032"/>
              <a:gd name="connsiteX47583" fmla="*/ 1426104 w 4610101"/>
              <a:gd name="connsiteY47583" fmla="*/ 594625 h 6557032"/>
              <a:gd name="connsiteX47584" fmla="*/ 1426763 w 4610101"/>
              <a:gd name="connsiteY47584" fmla="*/ 587591 h 6557032"/>
              <a:gd name="connsiteX47585" fmla="*/ 1421296 w 4610101"/>
              <a:gd name="connsiteY47585" fmla="*/ 602169 h 6557032"/>
              <a:gd name="connsiteX47586" fmla="*/ 1425269 w 4610101"/>
              <a:gd name="connsiteY47586" fmla="*/ 596116 h 6557032"/>
              <a:gd name="connsiteX47587" fmla="*/ 1424940 w 4610101"/>
              <a:gd name="connsiteY47587" fmla="*/ 596702 h 6557032"/>
              <a:gd name="connsiteX47588" fmla="*/ 1426763 w 4610101"/>
              <a:gd name="connsiteY47588" fmla="*/ 605813 h 6557032"/>
              <a:gd name="connsiteX47589" fmla="*/ 1430407 w 4610101"/>
              <a:gd name="connsiteY47589" fmla="*/ 603991 h 6557032"/>
              <a:gd name="connsiteX47590" fmla="*/ 1434051 w 4610101"/>
              <a:gd name="connsiteY47590" fmla="*/ 622213 h 6557032"/>
              <a:gd name="connsiteX47591" fmla="*/ 1434051 w 4610101"/>
              <a:gd name="connsiteY47591" fmla="*/ 603991 h 6557032"/>
              <a:gd name="connsiteX47592" fmla="*/ 1437696 w 4610101"/>
              <a:gd name="connsiteY47592" fmla="*/ 613103 h 6557032"/>
              <a:gd name="connsiteX47593" fmla="*/ 1439518 w 4610101"/>
              <a:gd name="connsiteY47593" fmla="*/ 609459 h 6557032"/>
              <a:gd name="connsiteX47594" fmla="*/ 1441340 w 4610101"/>
              <a:gd name="connsiteY47594" fmla="*/ 614924 h 6557032"/>
              <a:gd name="connsiteX47595" fmla="*/ 1439518 w 4610101"/>
              <a:gd name="connsiteY47595" fmla="*/ 618568 h 6557032"/>
              <a:gd name="connsiteX47596" fmla="*/ 1443162 w 4610101"/>
              <a:gd name="connsiteY47596" fmla="*/ 620391 h 6557032"/>
              <a:gd name="connsiteX47597" fmla="*/ 1444984 w 4610101"/>
              <a:gd name="connsiteY47597" fmla="*/ 607635 h 6557032"/>
              <a:gd name="connsiteX47598" fmla="*/ 1446806 w 4610101"/>
              <a:gd name="connsiteY47598" fmla="*/ 611280 h 6557032"/>
              <a:gd name="connsiteX47599" fmla="*/ 1441340 w 4610101"/>
              <a:gd name="connsiteY47599" fmla="*/ 600347 h 6557032"/>
              <a:gd name="connsiteX47600" fmla="*/ 1448629 w 4610101"/>
              <a:gd name="connsiteY47600" fmla="*/ 611280 h 6557032"/>
              <a:gd name="connsiteX47601" fmla="*/ 1452273 w 4610101"/>
              <a:gd name="connsiteY47601" fmla="*/ 609459 h 6557032"/>
              <a:gd name="connsiteX47602" fmla="*/ 1448629 w 4610101"/>
              <a:gd name="connsiteY47602" fmla="*/ 616746 h 6557032"/>
              <a:gd name="connsiteX47603" fmla="*/ 1452273 w 4610101"/>
              <a:gd name="connsiteY47603" fmla="*/ 618568 h 6557032"/>
              <a:gd name="connsiteX47604" fmla="*/ 1446806 w 4610101"/>
              <a:gd name="connsiteY47604" fmla="*/ 620391 h 6557032"/>
              <a:gd name="connsiteX47605" fmla="*/ 1446806 w 4610101"/>
              <a:gd name="connsiteY47605" fmla="*/ 627679 h 6557032"/>
              <a:gd name="connsiteX47606" fmla="*/ 1448629 w 4610101"/>
              <a:gd name="connsiteY47606" fmla="*/ 622213 h 6557032"/>
              <a:gd name="connsiteX47607" fmla="*/ 1450451 w 4610101"/>
              <a:gd name="connsiteY47607" fmla="*/ 625857 h 6557032"/>
              <a:gd name="connsiteX47608" fmla="*/ 1457739 w 4610101"/>
              <a:gd name="connsiteY47608" fmla="*/ 614924 h 6557032"/>
              <a:gd name="connsiteX47609" fmla="*/ 1457739 w 4610101"/>
              <a:gd name="connsiteY47609" fmla="*/ 620391 h 6557032"/>
              <a:gd name="connsiteX47610" fmla="*/ 1463206 w 4610101"/>
              <a:gd name="connsiteY47610" fmla="*/ 614924 h 6557032"/>
              <a:gd name="connsiteX47611" fmla="*/ 1444984 w 4610101"/>
              <a:gd name="connsiteY47611" fmla="*/ 638612 h 6557032"/>
              <a:gd name="connsiteX47612" fmla="*/ 1441340 w 4610101"/>
              <a:gd name="connsiteY47612" fmla="*/ 642257 h 6557032"/>
              <a:gd name="connsiteX47613" fmla="*/ 1444984 w 4610101"/>
              <a:gd name="connsiteY47613" fmla="*/ 640435 h 6557032"/>
              <a:gd name="connsiteX47614" fmla="*/ 1444984 w 4610101"/>
              <a:gd name="connsiteY47614" fmla="*/ 647723 h 6557032"/>
              <a:gd name="connsiteX47615" fmla="*/ 1443162 w 4610101"/>
              <a:gd name="connsiteY47615" fmla="*/ 655012 h 6557032"/>
              <a:gd name="connsiteX47616" fmla="*/ 1448365 w 4610101"/>
              <a:gd name="connsiteY47616" fmla="*/ 650676 h 6557032"/>
              <a:gd name="connsiteX47617" fmla="*/ 1442934 w 4610101"/>
              <a:gd name="connsiteY47617" fmla="*/ 658657 h 6557032"/>
              <a:gd name="connsiteX47618" fmla="*/ 1430407 w 4610101"/>
              <a:gd name="connsiteY47618" fmla="*/ 675056 h 6557032"/>
              <a:gd name="connsiteX47619" fmla="*/ 1441340 w 4610101"/>
              <a:gd name="connsiteY47619" fmla="*/ 669589 h 6557032"/>
              <a:gd name="connsiteX47620" fmla="*/ 1443162 w 4610101"/>
              <a:gd name="connsiteY47620" fmla="*/ 673234 h 6557032"/>
              <a:gd name="connsiteX47621" fmla="*/ 1450451 w 4610101"/>
              <a:gd name="connsiteY47621" fmla="*/ 665945 h 6557032"/>
              <a:gd name="connsiteX47622" fmla="*/ 1457739 w 4610101"/>
              <a:gd name="connsiteY47622" fmla="*/ 662301 h 6557032"/>
              <a:gd name="connsiteX47623" fmla="*/ 1450451 w 4610101"/>
              <a:gd name="connsiteY47623" fmla="*/ 673234 h 6557032"/>
              <a:gd name="connsiteX47624" fmla="*/ 1461384 w 4610101"/>
              <a:gd name="connsiteY47624" fmla="*/ 667767 h 6557032"/>
              <a:gd name="connsiteX47625" fmla="*/ 1459562 w 4610101"/>
              <a:gd name="connsiteY47625" fmla="*/ 673234 h 6557032"/>
              <a:gd name="connsiteX47626" fmla="*/ 1454095 w 4610101"/>
              <a:gd name="connsiteY47626" fmla="*/ 682345 h 6557032"/>
              <a:gd name="connsiteX47627" fmla="*/ 1463206 w 4610101"/>
              <a:gd name="connsiteY47627" fmla="*/ 675056 h 6557032"/>
              <a:gd name="connsiteX47628" fmla="*/ 1454095 w 4610101"/>
              <a:gd name="connsiteY47628" fmla="*/ 684167 h 6557032"/>
              <a:gd name="connsiteX47629" fmla="*/ 1448857 w 4610101"/>
              <a:gd name="connsiteY47629" fmla="*/ 702389 h 6557032"/>
              <a:gd name="connsiteX47630" fmla="*/ 1440216 w 4610101"/>
              <a:gd name="connsiteY47630" fmla="*/ 719248 h 6557032"/>
              <a:gd name="connsiteX47631" fmla="*/ 1435873 w 4610101"/>
              <a:gd name="connsiteY47631" fmla="*/ 720610 h 6557032"/>
              <a:gd name="connsiteX47632" fmla="*/ 1435873 w 4610101"/>
              <a:gd name="connsiteY47632" fmla="*/ 725622 h 6557032"/>
              <a:gd name="connsiteX47633" fmla="*/ 1435670 w 4610101"/>
              <a:gd name="connsiteY47633" fmla="*/ 725673 h 6557032"/>
              <a:gd name="connsiteX47634" fmla="*/ 1434051 w 4610101"/>
              <a:gd name="connsiteY47634" fmla="*/ 722432 h 6557032"/>
              <a:gd name="connsiteX47635" fmla="*/ 1425853 w 4610101"/>
              <a:gd name="connsiteY47635" fmla="*/ 727898 h 6557032"/>
              <a:gd name="connsiteX47636" fmla="*/ 1419474 w 4610101"/>
              <a:gd name="connsiteY47636" fmla="*/ 731543 h 6557032"/>
              <a:gd name="connsiteX47637" fmla="*/ 1434051 w 4610101"/>
              <a:gd name="connsiteY47637" fmla="*/ 726077 h 6557032"/>
              <a:gd name="connsiteX47638" fmla="*/ 1435670 w 4610101"/>
              <a:gd name="connsiteY47638" fmla="*/ 725673 h 6557032"/>
              <a:gd name="connsiteX47639" fmla="*/ 1435873 w 4610101"/>
              <a:gd name="connsiteY47639" fmla="*/ 726077 h 6557032"/>
              <a:gd name="connsiteX47640" fmla="*/ 1435873 w 4610101"/>
              <a:gd name="connsiteY47640" fmla="*/ 725622 h 6557032"/>
              <a:gd name="connsiteX47641" fmla="*/ 1445895 w 4610101"/>
              <a:gd name="connsiteY47641" fmla="*/ 723116 h 6557032"/>
              <a:gd name="connsiteX47642" fmla="*/ 1457739 w 4610101"/>
              <a:gd name="connsiteY47642" fmla="*/ 713321 h 6557032"/>
              <a:gd name="connsiteX47643" fmla="*/ 1456187 w 4610101"/>
              <a:gd name="connsiteY47643" fmla="*/ 713873 h 6557032"/>
              <a:gd name="connsiteX47644" fmla="*/ 1465028 w 4610101"/>
              <a:gd name="connsiteY47644" fmla="*/ 706033 h 6557032"/>
              <a:gd name="connsiteX47645" fmla="*/ 1461384 w 4610101"/>
              <a:gd name="connsiteY47645" fmla="*/ 702388 h 6557032"/>
              <a:gd name="connsiteX47646" fmla="*/ 1463206 w 4610101"/>
              <a:gd name="connsiteY47646" fmla="*/ 698744 h 6557032"/>
              <a:gd name="connsiteX47647" fmla="*/ 1466850 w 4610101"/>
              <a:gd name="connsiteY47647" fmla="*/ 706033 h 6557032"/>
              <a:gd name="connsiteX47648" fmla="*/ 1472317 w 4610101"/>
              <a:gd name="connsiteY47648" fmla="*/ 684167 h 6557032"/>
              <a:gd name="connsiteX47649" fmla="*/ 1474139 w 4610101"/>
              <a:gd name="connsiteY47649" fmla="*/ 687811 h 6557032"/>
              <a:gd name="connsiteX47650" fmla="*/ 1477784 w 4610101"/>
              <a:gd name="connsiteY47650" fmla="*/ 684167 h 6557032"/>
              <a:gd name="connsiteX47651" fmla="*/ 1466850 w 4610101"/>
              <a:gd name="connsiteY47651" fmla="*/ 709677 h 6557032"/>
              <a:gd name="connsiteX47652" fmla="*/ 1468673 w 4610101"/>
              <a:gd name="connsiteY47652" fmla="*/ 709677 h 6557032"/>
              <a:gd name="connsiteX47653" fmla="*/ 1465028 w 4610101"/>
              <a:gd name="connsiteY47653" fmla="*/ 726077 h 6557032"/>
              <a:gd name="connsiteX47654" fmla="*/ 1478695 w 4610101"/>
              <a:gd name="connsiteY47654" fmla="*/ 712183 h 6557032"/>
              <a:gd name="connsiteX47655" fmla="*/ 1481401 w 4610101"/>
              <a:gd name="connsiteY47655" fmla="*/ 707146 h 6557032"/>
              <a:gd name="connsiteX47656" fmla="*/ 1481326 w 4610101"/>
              <a:gd name="connsiteY47656" fmla="*/ 710197 h 6557032"/>
              <a:gd name="connsiteX47657" fmla="*/ 1478012 w 4610101"/>
              <a:gd name="connsiteY47657" fmla="*/ 714233 h 6557032"/>
              <a:gd name="connsiteX47658" fmla="*/ 1474139 w 4610101"/>
              <a:gd name="connsiteY47658" fmla="*/ 720610 h 6557032"/>
              <a:gd name="connsiteX47659" fmla="*/ 1481200 w 4610101"/>
              <a:gd name="connsiteY47659" fmla="*/ 715372 h 6557032"/>
              <a:gd name="connsiteX47660" fmla="*/ 1481326 w 4610101"/>
              <a:gd name="connsiteY47660" fmla="*/ 710197 h 6557032"/>
              <a:gd name="connsiteX47661" fmla="*/ 1483250 w 4610101"/>
              <a:gd name="connsiteY47661" fmla="*/ 707855 h 6557032"/>
              <a:gd name="connsiteX47662" fmla="*/ 1483084 w 4610101"/>
              <a:gd name="connsiteY47662" fmla="*/ 704377 h 6557032"/>
              <a:gd name="connsiteX47663" fmla="*/ 1484161 w 4610101"/>
              <a:gd name="connsiteY47663" fmla="*/ 703300 h 6557032"/>
              <a:gd name="connsiteX47664" fmla="*/ 1486895 w 4610101"/>
              <a:gd name="connsiteY47664" fmla="*/ 700566 h 6557032"/>
              <a:gd name="connsiteX47665" fmla="*/ 1485072 w 4610101"/>
              <a:gd name="connsiteY47665" fmla="*/ 715144 h 6557032"/>
              <a:gd name="connsiteX47666" fmla="*/ 1488716 w 4610101"/>
              <a:gd name="connsiteY47666" fmla="*/ 713321 h 6557032"/>
              <a:gd name="connsiteX47667" fmla="*/ 1486895 w 4610101"/>
              <a:gd name="connsiteY47667" fmla="*/ 718788 h 6557032"/>
              <a:gd name="connsiteX47668" fmla="*/ 1492361 w 4610101"/>
              <a:gd name="connsiteY47668" fmla="*/ 716966 h 6557032"/>
              <a:gd name="connsiteX47669" fmla="*/ 1486895 w 4610101"/>
              <a:gd name="connsiteY47669" fmla="*/ 720610 h 6557032"/>
              <a:gd name="connsiteX47670" fmla="*/ 1496006 w 4610101"/>
              <a:gd name="connsiteY47670" fmla="*/ 716966 h 6557032"/>
              <a:gd name="connsiteX47671" fmla="*/ 1492361 w 4610101"/>
              <a:gd name="connsiteY47671" fmla="*/ 722432 h 6557032"/>
              <a:gd name="connsiteX47672" fmla="*/ 1481428 w 4610101"/>
              <a:gd name="connsiteY47672" fmla="*/ 722432 h 6557032"/>
              <a:gd name="connsiteX47673" fmla="*/ 1455803 w 4610101"/>
              <a:gd name="connsiteY47673" fmla="*/ 733707 h 6557032"/>
              <a:gd name="connsiteX47674" fmla="*/ 1452273 w 4610101"/>
              <a:gd name="connsiteY47674" fmla="*/ 742476 h 6557032"/>
              <a:gd name="connsiteX47675" fmla="*/ 1446806 w 4610101"/>
              <a:gd name="connsiteY47675" fmla="*/ 747943 h 6557032"/>
              <a:gd name="connsiteX47676" fmla="*/ 1450451 w 4610101"/>
              <a:gd name="connsiteY47676" fmla="*/ 747943 h 6557032"/>
              <a:gd name="connsiteX47677" fmla="*/ 1423118 w 4610101"/>
              <a:gd name="connsiteY47677" fmla="*/ 764342 h 6557032"/>
              <a:gd name="connsiteX47678" fmla="*/ 1426763 w 4610101"/>
              <a:gd name="connsiteY47678" fmla="*/ 758876 h 6557032"/>
              <a:gd name="connsiteX47679" fmla="*/ 1421296 w 4610101"/>
              <a:gd name="connsiteY47679" fmla="*/ 758876 h 6557032"/>
              <a:gd name="connsiteX47680" fmla="*/ 1408541 w 4610101"/>
              <a:gd name="connsiteY47680" fmla="*/ 788031 h 6557032"/>
              <a:gd name="connsiteX47681" fmla="*/ 1424940 w 4610101"/>
              <a:gd name="connsiteY47681" fmla="*/ 773453 h 6557032"/>
              <a:gd name="connsiteX47682" fmla="*/ 1430407 w 4610101"/>
              <a:gd name="connsiteY47682" fmla="*/ 769809 h 6557032"/>
              <a:gd name="connsiteX47683" fmla="*/ 1426763 w 4610101"/>
              <a:gd name="connsiteY47683" fmla="*/ 784386 h 6557032"/>
              <a:gd name="connsiteX47684" fmla="*/ 1434051 w 4610101"/>
              <a:gd name="connsiteY47684" fmla="*/ 782564 h 6557032"/>
              <a:gd name="connsiteX47685" fmla="*/ 1424940 w 4610101"/>
              <a:gd name="connsiteY47685" fmla="*/ 786208 h 6557032"/>
              <a:gd name="connsiteX47686" fmla="*/ 1426763 w 4610101"/>
              <a:gd name="connsiteY47686" fmla="*/ 789853 h 6557032"/>
              <a:gd name="connsiteX47687" fmla="*/ 1434051 w 4610101"/>
              <a:gd name="connsiteY47687" fmla="*/ 786208 h 6557032"/>
              <a:gd name="connsiteX47688" fmla="*/ 1424940 w 4610101"/>
              <a:gd name="connsiteY47688" fmla="*/ 795319 h 6557032"/>
              <a:gd name="connsiteX47689" fmla="*/ 1424940 w 4610101"/>
              <a:gd name="connsiteY47689" fmla="*/ 791675 h 6557032"/>
              <a:gd name="connsiteX47690" fmla="*/ 1383030 w 4610101"/>
              <a:gd name="connsiteY47690" fmla="*/ 808074 h 6557032"/>
              <a:gd name="connsiteX47691" fmla="*/ 1377564 w 4610101"/>
              <a:gd name="connsiteY47691" fmla="*/ 808074 h 6557032"/>
              <a:gd name="connsiteX47692" fmla="*/ 1373920 w 4610101"/>
              <a:gd name="connsiteY47692" fmla="*/ 802608 h 6557032"/>
              <a:gd name="connsiteX47693" fmla="*/ 1339299 w 4610101"/>
              <a:gd name="connsiteY47693" fmla="*/ 813541 h 6557032"/>
              <a:gd name="connsiteX47694" fmla="*/ 1341120 w 4610101"/>
              <a:gd name="connsiteY47694" fmla="*/ 817185 h 6557032"/>
              <a:gd name="connsiteX47695" fmla="*/ 1335654 w 4610101"/>
              <a:gd name="connsiteY47695" fmla="*/ 822652 h 6557032"/>
              <a:gd name="connsiteX47696" fmla="*/ 1337476 w 4610101"/>
              <a:gd name="connsiteY47696" fmla="*/ 831763 h 6557032"/>
              <a:gd name="connsiteX47697" fmla="*/ 1342942 w 4610101"/>
              <a:gd name="connsiteY47697" fmla="*/ 828118 h 6557032"/>
              <a:gd name="connsiteX47698" fmla="*/ 1341120 w 4610101"/>
              <a:gd name="connsiteY47698" fmla="*/ 831763 h 6557032"/>
              <a:gd name="connsiteX47699" fmla="*/ 1364809 w 4610101"/>
              <a:gd name="connsiteY47699" fmla="*/ 826296 h 6557032"/>
              <a:gd name="connsiteX47700" fmla="*/ 1368453 w 4610101"/>
              <a:gd name="connsiteY47700" fmla="*/ 815363 h 6557032"/>
              <a:gd name="connsiteX47701" fmla="*/ 1368453 w 4610101"/>
              <a:gd name="connsiteY47701" fmla="*/ 824474 h 6557032"/>
              <a:gd name="connsiteX47702" fmla="*/ 1372097 w 4610101"/>
              <a:gd name="connsiteY47702" fmla="*/ 824474 h 6557032"/>
              <a:gd name="connsiteX47703" fmla="*/ 1401252 w 4610101"/>
              <a:gd name="connsiteY47703" fmla="*/ 808074 h 6557032"/>
              <a:gd name="connsiteX47704" fmla="*/ 1403074 w 4610101"/>
              <a:gd name="connsiteY47704" fmla="*/ 808074 h 6557032"/>
              <a:gd name="connsiteX47705" fmla="*/ 1390319 w 4610101"/>
              <a:gd name="connsiteY47705" fmla="*/ 820830 h 6557032"/>
              <a:gd name="connsiteX47706" fmla="*/ 1390319 w 4610101"/>
              <a:gd name="connsiteY47706" fmla="*/ 824474 h 6557032"/>
              <a:gd name="connsiteX47707" fmla="*/ 1423118 w 4610101"/>
              <a:gd name="connsiteY47707" fmla="*/ 813541 h 6557032"/>
              <a:gd name="connsiteX47708" fmla="*/ 1417652 w 4610101"/>
              <a:gd name="connsiteY47708" fmla="*/ 797141 h 6557032"/>
              <a:gd name="connsiteX47709" fmla="*/ 1423212 w 4610101"/>
              <a:gd name="connsiteY47709" fmla="*/ 804092 h 6557032"/>
              <a:gd name="connsiteX47710" fmla="*/ 1423118 w 4610101"/>
              <a:gd name="connsiteY47710" fmla="*/ 806252 h 6557032"/>
              <a:gd name="connsiteX47711" fmla="*/ 1424940 w 4610101"/>
              <a:gd name="connsiteY47711" fmla="*/ 809897 h 6557032"/>
              <a:gd name="connsiteX47712" fmla="*/ 1424940 w 4610101"/>
              <a:gd name="connsiteY47712" fmla="*/ 806252 h 6557032"/>
              <a:gd name="connsiteX47713" fmla="*/ 1423212 w 4610101"/>
              <a:gd name="connsiteY47713" fmla="*/ 804092 h 6557032"/>
              <a:gd name="connsiteX47714" fmla="*/ 1423346 w 4610101"/>
              <a:gd name="connsiteY47714" fmla="*/ 801014 h 6557032"/>
              <a:gd name="connsiteX47715" fmla="*/ 1424940 w 4610101"/>
              <a:gd name="connsiteY47715" fmla="*/ 797141 h 6557032"/>
              <a:gd name="connsiteX47716" fmla="*/ 1428585 w 4610101"/>
              <a:gd name="connsiteY47716" fmla="*/ 798964 h 6557032"/>
              <a:gd name="connsiteX47717" fmla="*/ 1434051 w 4610101"/>
              <a:gd name="connsiteY47717" fmla="*/ 797141 h 6557032"/>
              <a:gd name="connsiteX47718" fmla="*/ 1434051 w 4610101"/>
              <a:gd name="connsiteY47718" fmla="*/ 802608 h 6557032"/>
              <a:gd name="connsiteX47719" fmla="*/ 1437696 w 4610101"/>
              <a:gd name="connsiteY47719" fmla="*/ 798964 h 6557032"/>
              <a:gd name="connsiteX47720" fmla="*/ 1439518 w 4610101"/>
              <a:gd name="connsiteY47720" fmla="*/ 798964 h 6557032"/>
              <a:gd name="connsiteX47721" fmla="*/ 1430407 w 4610101"/>
              <a:gd name="connsiteY47721" fmla="*/ 809897 h 6557032"/>
              <a:gd name="connsiteX47722" fmla="*/ 1443855 w 4610101"/>
              <a:gd name="connsiteY47722" fmla="*/ 801369 h 6557032"/>
              <a:gd name="connsiteX47723" fmla="*/ 1434507 w 4610101"/>
              <a:gd name="connsiteY47723" fmla="*/ 808986 h 6557032"/>
              <a:gd name="connsiteX47724" fmla="*/ 1424940 w 4610101"/>
              <a:gd name="connsiteY47724" fmla="*/ 819008 h 6557032"/>
              <a:gd name="connsiteX47725" fmla="*/ 1446806 w 4610101"/>
              <a:gd name="connsiteY47725" fmla="*/ 815363 h 6557032"/>
              <a:gd name="connsiteX47726" fmla="*/ 1448629 w 4610101"/>
              <a:gd name="connsiteY47726" fmla="*/ 811719 h 6557032"/>
              <a:gd name="connsiteX47727" fmla="*/ 1450451 w 4610101"/>
              <a:gd name="connsiteY47727" fmla="*/ 815363 h 6557032"/>
              <a:gd name="connsiteX47728" fmla="*/ 1483250 w 4610101"/>
              <a:gd name="connsiteY47728" fmla="*/ 791675 h 6557032"/>
              <a:gd name="connsiteX47729" fmla="*/ 1481428 w 4610101"/>
              <a:gd name="connsiteY47729" fmla="*/ 757054 h 6557032"/>
              <a:gd name="connsiteX47730" fmla="*/ 1486752 w 4610101"/>
              <a:gd name="connsiteY47730" fmla="*/ 781902 h 6557032"/>
              <a:gd name="connsiteX47731" fmla="*/ 1483250 w 4610101"/>
              <a:gd name="connsiteY47731" fmla="*/ 788031 h 6557032"/>
              <a:gd name="connsiteX47732" fmla="*/ 1490539 w 4610101"/>
              <a:gd name="connsiteY47732" fmla="*/ 775275 h 6557032"/>
              <a:gd name="connsiteX47733" fmla="*/ 1488455 w 4610101"/>
              <a:gd name="connsiteY47733" fmla="*/ 778922 h 6557032"/>
              <a:gd name="connsiteX47734" fmla="*/ 1492361 w 4610101"/>
              <a:gd name="connsiteY47734" fmla="*/ 769809 h 6557032"/>
              <a:gd name="connsiteX47735" fmla="*/ 1494183 w 4610101"/>
              <a:gd name="connsiteY47735" fmla="*/ 775275 h 6557032"/>
              <a:gd name="connsiteX47736" fmla="*/ 1496006 w 4610101"/>
              <a:gd name="connsiteY47736" fmla="*/ 771631 h 6557032"/>
              <a:gd name="connsiteX47737" fmla="*/ 1496006 w 4610101"/>
              <a:gd name="connsiteY47737" fmla="*/ 778920 h 6557032"/>
              <a:gd name="connsiteX47738" fmla="*/ 1499650 w 4610101"/>
              <a:gd name="connsiteY47738" fmla="*/ 773453 h 6557032"/>
              <a:gd name="connsiteX47739" fmla="*/ 1497827 w 4610101"/>
              <a:gd name="connsiteY47739" fmla="*/ 778920 h 6557032"/>
              <a:gd name="connsiteX47740" fmla="*/ 1499650 w 4610101"/>
              <a:gd name="connsiteY47740" fmla="*/ 766164 h 6557032"/>
              <a:gd name="connsiteX47741" fmla="*/ 1506938 w 4610101"/>
              <a:gd name="connsiteY47741" fmla="*/ 767987 h 6557032"/>
              <a:gd name="connsiteX47742" fmla="*/ 1503294 w 4610101"/>
              <a:gd name="connsiteY47742" fmla="*/ 780742 h 6557032"/>
              <a:gd name="connsiteX47743" fmla="*/ 1506938 w 4610101"/>
              <a:gd name="connsiteY47743" fmla="*/ 778920 h 6557032"/>
              <a:gd name="connsiteX47744" fmla="*/ 1505117 w 4610101"/>
              <a:gd name="connsiteY47744" fmla="*/ 782564 h 6557032"/>
              <a:gd name="connsiteX47745" fmla="*/ 1516049 w 4610101"/>
              <a:gd name="connsiteY47745" fmla="*/ 775275 h 6557032"/>
              <a:gd name="connsiteX47746" fmla="*/ 1494183 w 4610101"/>
              <a:gd name="connsiteY47746" fmla="*/ 795319 h 6557032"/>
              <a:gd name="connsiteX47747" fmla="*/ 1514228 w 4610101"/>
              <a:gd name="connsiteY47747" fmla="*/ 786208 h 6557032"/>
              <a:gd name="connsiteX47748" fmla="*/ 1508760 w 4610101"/>
              <a:gd name="connsiteY47748" fmla="*/ 795319 h 6557032"/>
              <a:gd name="connsiteX47749" fmla="*/ 1494183 w 4610101"/>
              <a:gd name="connsiteY47749" fmla="*/ 804430 h 6557032"/>
              <a:gd name="connsiteX47750" fmla="*/ 1499606 w 4610101"/>
              <a:gd name="connsiteY47750" fmla="*/ 802227 h 6557032"/>
              <a:gd name="connsiteX47751" fmla="*/ 1492361 w 4610101"/>
              <a:gd name="connsiteY47751" fmla="*/ 806252 h 6557032"/>
              <a:gd name="connsiteX47752" fmla="*/ 1490539 w 4610101"/>
              <a:gd name="connsiteY47752" fmla="*/ 815363 h 6557032"/>
              <a:gd name="connsiteX47753" fmla="*/ 1496006 w 4610101"/>
              <a:gd name="connsiteY47753" fmla="*/ 819008 h 6557032"/>
              <a:gd name="connsiteX47754" fmla="*/ 1492361 w 4610101"/>
              <a:gd name="connsiteY47754" fmla="*/ 826296 h 6557032"/>
              <a:gd name="connsiteX47755" fmla="*/ 1485072 w 4610101"/>
              <a:gd name="connsiteY47755" fmla="*/ 839051 h 6557032"/>
              <a:gd name="connsiteX47756" fmla="*/ 1499650 w 4610101"/>
              <a:gd name="connsiteY47756" fmla="*/ 831763 h 6557032"/>
              <a:gd name="connsiteX47757" fmla="*/ 1483250 w 4610101"/>
              <a:gd name="connsiteY47757" fmla="*/ 842696 h 6557032"/>
              <a:gd name="connsiteX47758" fmla="*/ 1485072 w 4610101"/>
              <a:gd name="connsiteY47758" fmla="*/ 844518 h 6557032"/>
              <a:gd name="connsiteX47759" fmla="*/ 1450451 w 4610101"/>
              <a:gd name="connsiteY47759" fmla="*/ 855451 h 6557032"/>
              <a:gd name="connsiteX47760" fmla="*/ 1448157 w 4610101"/>
              <a:gd name="connsiteY47760" fmla="*/ 859353 h 6557032"/>
              <a:gd name="connsiteX47761" fmla="*/ 1437695 w 4610101"/>
              <a:gd name="connsiteY47761" fmla="*/ 860007 h 6557032"/>
              <a:gd name="connsiteX47762" fmla="*/ 1424472 w 4610101"/>
              <a:gd name="connsiteY47762" fmla="*/ 865792 h 6557032"/>
              <a:gd name="connsiteX47763" fmla="*/ 1416513 w 4610101"/>
              <a:gd name="connsiteY47763" fmla="*/ 864107 h 6557032"/>
              <a:gd name="connsiteX47764" fmla="*/ 1395787 w 4610101"/>
              <a:gd name="connsiteY47764" fmla="*/ 862740 h 6557032"/>
              <a:gd name="connsiteX47765" fmla="*/ 1405803 w 4610101"/>
              <a:gd name="connsiteY47765" fmla="*/ 868204 h 6557032"/>
              <a:gd name="connsiteX47766" fmla="*/ 1393963 w 4610101"/>
              <a:gd name="connsiteY47766" fmla="*/ 862740 h 6557032"/>
              <a:gd name="connsiteX47767" fmla="*/ 1377792 w 4610101"/>
              <a:gd name="connsiteY47767" fmla="*/ 853174 h 6557032"/>
              <a:gd name="connsiteX47768" fmla="*/ 1365207 w 4610101"/>
              <a:gd name="connsiteY47768" fmla="*/ 847365 h 6557032"/>
              <a:gd name="connsiteX47769" fmla="*/ 1366632 w 4610101"/>
              <a:gd name="connsiteY47769" fmla="*/ 844518 h 6557032"/>
              <a:gd name="connsiteX47770" fmla="*/ 1359342 w 4610101"/>
              <a:gd name="connsiteY47770" fmla="*/ 844518 h 6557032"/>
              <a:gd name="connsiteX47771" fmla="*/ 1361164 w 4610101"/>
              <a:gd name="connsiteY47771" fmla="*/ 842696 h 6557032"/>
              <a:gd name="connsiteX47772" fmla="*/ 1357521 w 4610101"/>
              <a:gd name="connsiteY47772" fmla="*/ 842696 h 6557032"/>
              <a:gd name="connsiteX47773" fmla="*/ 1359342 w 4610101"/>
              <a:gd name="connsiteY47773" fmla="*/ 844518 h 6557032"/>
              <a:gd name="connsiteX47774" fmla="*/ 1362529 w 4610101"/>
              <a:gd name="connsiteY47774" fmla="*/ 846643 h 6557032"/>
              <a:gd name="connsiteX47775" fmla="*/ 1359694 w 4610101"/>
              <a:gd name="connsiteY47775" fmla="*/ 848514 h 6557032"/>
              <a:gd name="connsiteX47776" fmla="*/ 1359342 w 4610101"/>
              <a:gd name="connsiteY47776" fmla="*/ 848162 h 6557032"/>
              <a:gd name="connsiteX47777" fmla="*/ 1353876 w 4610101"/>
              <a:gd name="connsiteY47777" fmla="*/ 851807 h 6557032"/>
              <a:gd name="connsiteX47778" fmla="*/ 1355209 w 4610101"/>
              <a:gd name="connsiteY47778" fmla="*/ 851474 h 6557032"/>
              <a:gd name="connsiteX47779" fmla="*/ 1351598 w 4610101"/>
              <a:gd name="connsiteY47779" fmla="*/ 853857 h 6557032"/>
              <a:gd name="connsiteX47780" fmla="*/ 1348763 w 4610101"/>
              <a:gd name="connsiteY47780" fmla="*/ 856767 h 6557032"/>
              <a:gd name="connsiteX47781" fmla="*/ 1346131 w 4610101"/>
              <a:gd name="connsiteY47781" fmla="*/ 856362 h 6557032"/>
              <a:gd name="connsiteX47782" fmla="*/ 1342942 w 4610101"/>
              <a:gd name="connsiteY47782" fmla="*/ 855451 h 6557032"/>
              <a:gd name="connsiteX47783" fmla="*/ 1317432 w 4610101"/>
              <a:gd name="connsiteY47783" fmla="*/ 873673 h 6557032"/>
              <a:gd name="connsiteX47784" fmla="*/ 1320342 w 4610101"/>
              <a:gd name="connsiteY47784" fmla="*/ 872634 h 6557032"/>
              <a:gd name="connsiteX47785" fmla="*/ 1308321 w 4610101"/>
              <a:gd name="connsiteY47785" fmla="*/ 886428 h 6557032"/>
              <a:gd name="connsiteX47786" fmla="*/ 1310143 w 4610101"/>
              <a:gd name="connsiteY47786" fmla="*/ 888250 h 6557032"/>
              <a:gd name="connsiteX47787" fmla="*/ 1303267 w 4610101"/>
              <a:gd name="connsiteY47787" fmla="*/ 889969 h 6557032"/>
              <a:gd name="connsiteX47788" fmla="*/ 1304221 w 4610101"/>
              <a:gd name="connsiteY47788" fmla="*/ 885517 h 6557032"/>
              <a:gd name="connsiteX47789" fmla="*/ 1302855 w 4610101"/>
              <a:gd name="connsiteY47789" fmla="*/ 879139 h 6557032"/>
              <a:gd name="connsiteX47790" fmla="*/ 1299210 w 4610101"/>
              <a:gd name="connsiteY47790" fmla="*/ 879139 h 6557032"/>
              <a:gd name="connsiteX47791" fmla="*/ 1297388 w 4610101"/>
              <a:gd name="connsiteY47791" fmla="*/ 880961 h 6557032"/>
              <a:gd name="connsiteX47792" fmla="*/ 1288277 w 4610101"/>
              <a:gd name="connsiteY47792" fmla="*/ 871851 h 6557032"/>
              <a:gd name="connsiteX47793" fmla="*/ 1270056 w 4610101"/>
              <a:gd name="connsiteY47793" fmla="*/ 899183 h 6557032"/>
              <a:gd name="connsiteX47794" fmla="*/ 1291922 w 4610101"/>
              <a:gd name="connsiteY47794" fmla="*/ 895539 h 6557032"/>
              <a:gd name="connsiteX47795" fmla="*/ 1291922 w 4610101"/>
              <a:gd name="connsiteY47795" fmla="*/ 888250 h 6557032"/>
              <a:gd name="connsiteX47796" fmla="*/ 1295566 w 4610101"/>
              <a:gd name="connsiteY47796" fmla="*/ 886428 h 6557032"/>
              <a:gd name="connsiteX47797" fmla="*/ 1295566 w 4610101"/>
              <a:gd name="connsiteY47797" fmla="*/ 893717 h 6557032"/>
              <a:gd name="connsiteX47798" fmla="*/ 1297388 w 4610101"/>
              <a:gd name="connsiteY47798" fmla="*/ 890072 h 6557032"/>
              <a:gd name="connsiteX47799" fmla="*/ 1301033 w 4610101"/>
              <a:gd name="connsiteY47799" fmla="*/ 890072 h 6557032"/>
              <a:gd name="connsiteX47800" fmla="*/ 1302490 w 4610101"/>
              <a:gd name="connsiteY47800" fmla="*/ 891530 h 6557032"/>
              <a:gd name="connsiteX47801" fmla="*/ 1301033 w 4610101"/>
              <a:gd name="connsiteY47801" fmla="*/ 897361 h 6557032"/>
              <a:gd name="connsiteX47802" fmla="*/ 1306499 w 4610101"/>
              <a:gd name="connsiteY47802" fmla="*/ 899183 h 6557032"/>
              <a:gd name="connsiteX47803" fmla="*/ 1322899 w 4610101"/>
              <a:gd name="connsiteY47803" fmla="*/ 882784 h 6557032"/>
              <a:gd name="connsiteX47804" fmla="*/ 1325983 w 4610101"/>
              <a:gd name="connsiteY47804" fmla="*/ 898202 h 6557032"/>
              <a:gd name="connsiteX47805" fmla="*/ 1322899 w 4610101"/>
              <a:gd name="connsiteY47805" fmla="*/ 902827 h 6557032"/>
              <a:gd name="connsiteX47806" fmla="*/ 1326088 w 4610101"/>
              <a:gd name="connsiteY47806" fmla="*/ 901461 h 6557032"/>
              <a:gd name="connsiteX47807" fmla="*/ 1326283 w 4610101"/>
              <a:gd name="connsiteY47807" fmla="*/ 899704 h 6557032"/>
              <a:gd name="connsiteX47808" fmla="*/ 1326543 w 4610101"/>
              <a:gd name="connsiteY47808" fmla="*/ 901005 h 6557032"/>
              <a:gd name="connsiteX47809" fmla="*/ 1335654 w 4610101"/>
              <a:gd name="connsiteY47809" fmla="*/ 901005 h 6557032"/>
              <a:gd name="connsiteX47810" fmla="*/ 1333832 w 4610101"/>
              <a:gd name="connsiteY47810" fmla="*/ 897361 h 6557032"/>
              <a:gd name="connsiteX47811" fmla="*/ 1337476 w 4610101"/>
              <a:gd name="connsiteY47811" fmla="*/ 899183 h 6557032"/>
              <a:gd name="connsiteX47812" fmla="*/ 1342942 w 4610101"/>
              <a:gd name="connsiteY47812" fmla="*/ 895539 h 6557032"/>
              <a:gd name="connsiteX47813" fmla="*/ 1341120 w 4610101"/>
              <a:gd name="connsiteY47813" fmla="*/ 888250 h 6557032"/>
              <a:gd name="connsiteX47814" fmla="*/ 1344765 w 4610101"/>
              <a:gd name="connsiteY47814" fmla="*/ 895539 h 6557032"/>
              <a:gd name="connsiteX47815" fmla="*/ 1350231 w 4610101"/>
              <a:gd name="connsiteY47815" fmla="*/ 895539 h 6557032"/>
              <a:gd name="connsiteX47816" fmla="*/ 1350231 w 4610101"/>
              <a:gd name="connsiteY47816" fmla="*/ 906473 h 6557032"/>
              <a:gd name="connsiteX47817" fmla="*/ 1359342 w 4610101"/>
              <a:gd name="connsiteY47817" fmla="*/ 882784 h 6557032"/>
              <a:gd name="connsiteX47818" fmla="*/ 1362987 w 4610101"/>
              <a:gd name="connsiteY47818" fmla="*/ 882784 h 6557032"/>
              <a:gd name="connsiteX47819" fmla="*/ 1362987 w 4610101"/>
              <a:gd name="connsiteY47819" fmla="*/ 886428 h 6557032"/>
              <a:gd name="connsiteX47820" fmla="*/ 1366632 w 4610101"/>
              <a:gd name="connsiteY47820" fmla="*/ 879139 h 6557032"/>
              <a:gd name="connsiteX47821" fmla="*/ 1381208 w 4610101"/>
              <a:gd name="connsiteY47821" fmla="*/ 901005 h 6557032"/>
              <a:gd name="connsiteX47822" fmla="*/ 1379386 w 4610101"/>
              <a:gd name="connsiteY47822" fmla="*/ 917405 h 6557032"/>
              <a:gd name="connsiteX47823" fmla="*/ 1364809 w 4610101"/>
              <a:gd name="connsiteY47823" fmla="*/ 926516 h 6557032"/>
              <a:gd name="connsiteX47824" fmla="*/ 1372781 w 4610101"/>
              <a:gd name="connsiteY47824" fmla="*/ 924922 h 6557032"/>
              <a:gd name="connsiteX47825" fmla="*/ 1375965 w 4610101"/>
              <a:gd name="connsiteY47825" fmla="*/ 924813 h 6557032"/>
              <a:gd name="connsiteX47826" fmla="*/ 1373920 w 4610101"/>
              <a:gd name="connsiteY47826" fmla="*/ 926516 h 6557032"/>
              <a:gd name="connsiteX47827" fmla="*/ 1357521 w 4610101"/>
              <a:gd name="connsiteY47827" fmla="*/ 928339 h 6557032"/>
              <a:gd name="connsiteX47828" fmla="*/ 1352053 w 4610101"/>
              <a:gd name="connsiteY47828" fmla="*/ 955672 h 6557032"/>
              <a:gd name="connsiteX47829" fmla="*/ 1359342 w 4610101"/>
              <a:gd name="connsiteY47829" fmla="*/ 953848 h 6557032"/>
              <a:gd name="connsiteX47830" fmla="*/ 1357521 w 4610101"/>
              <a:gd name="connsiteY47830" fmla="*/ 957494 h 6557032"/>
              <a:gd name="connsiteX47831" fmla="*/ 1368453 w 4610101"/>
              <a:gd name="connsiteY47831" fmla="*/ 937450 h 6557032"/>
              <a:gd name="connsiteX47832" fmla="*/ 1372097 w 4610101"/>
              <a:gd name="connsiteY47832" fmla="*/ 942916 h 6557032"/>
              <a:gd name="connsiteX47833" fmla="*/ 1375924 w 4610101"/>
              <a:gd name="connsiteY47833" fmla="*/ 939089 h 6557032"/>
              <a:gd name="connsiteX47834" fmla="*/ 1375743 w 4610101"/>
              <a:gd name="connsiteY47834" fmla="*/ 941094 h 6557032"/>
              <a:gd name="connsiteX47835" fmla="*/ 1381208 w 4610101"/>
              <a:gd name="connsiteY47835" fmla="*/ 933804 h 6557032"/>
              <a:gd name="connsiteX47836" fmla="*/ 1381208 w 4610101"/>
              <a:gd name="connsiteY47836" fmla="*/ 937450 h 6557032"/>
              <a:gd name="connsiteX47837" fmla="*/ 1388497 w 4610101"/>
              <a:gd name="connsiteY47837" fmla="*/ 935628 h 6557032"/>
              <a:gd name="connsiteX47838" fmla="*/ 1368453 w 4610101"/>
              <a:gd name="connsiteY47838" fmla="*/ 959316 h 6557032"/>
              <a:gd name="connsiteX47839" fmla="*/ 1372097 w 4610101"/>
              <a:gd name="connsiteY47839" fmla="*/ 957494 h 6557032"/>
              <a:gd name="connsiteX47840" fmla="*/ 1372097 w 4610101"/>
              <a:gd name="connsiteY47840" fmla="*/ 959316 h 6557032"/>
              <a:gd name="connsiteX47841" fmla="*/ 1403074 w 4610101"/>
              <a:gd name="connsiteY47841" fmla="*/ 928339 h 6557032"/>
              <a:gd name="connsiteX47842" fmla="*/ 1401252 w 4610101"/>
              <a:gd name="connsiteY47842" fmla="*/ 942916 h 6557032"/>
              <a:gd name="connsiteX47843" fmla="*/ 1368453 w 4610101"/>
              <a:gd name="connsiteY47843" fmla="*/ 968427 h 6557032"/>
              <a:gd name="connsiteX47844" fmla="*/ 1377564 w 4610101"/>
              <a:gd name="connsiteY47844" fmla="*/ 970249 h 6557032"/>
              <a:gd name="connsiteX47845" fmla="*/ 1366632 w 4610101"/>
              <a:gd name="connsiteY47845" fmla="*/ 970249 h 6557032"/>
              <a:gd name="connsiteX47846" fmla="*/ 1383030 w 4610101"/>
              <a:gd name="connsiteY47846" fmla="*/ 968427 h 6557032"/>
              <a:gd name="connsiteX47847" fmla="*/ 1377564 w 4610101"/>
              <a:gd name="connsiteY47847" fmla="*/ 968427 h 6557032"/>
              <a:gd name="connsiteX47848" fmla="*/ 1384854 w 4610101"/>
              <a:gd name="connsiteY47848" fmla="*/ 962960 h 6557032"/>
              <a:gd name="connsiteX47849" fmla="*/ 1390319 w 4610101"/>
              <a:gd name="connsiteY47849" fmla="*/ 966604 h 6557032"/>
              <a:gd name="connsiteX47850" fmla="*/ 1377564 w 4610101"/>
              <a:gd name="connsiteY47850" fmla="*/ 977538 h 6557032"/>
              <a:gd name="connsiteX47851" fmla="*/ 1381208 w 4610101"/>
              <a:gd name="connsiteY47851" fmla="*/ 977538 h 6557032"/>
              <a:gd name="connsiteX47852" fmla="*/ 1379386 w 4610101"/>
              <a:gd name="connsiteY47852" fmla="*/ 979360 h 6557032"/>
              <a:gd name="connsiteX47853" fmla="*/ 1348410 w 4610101"/>
              <a:gd name="connsiteY47853" fmla="*/ 972071 h 6557032"/>
              <a:gd name="connsiteX47854" fmla="*/ 1350231 w 4610101"/>
              <a:gd name="connsiteY47854" fmla="*/ 977538 h 6557032"/>
              <a:gd name="connsiteX47855" fmla="*/ 1352053 w 4610101"/>
              <a:gd name="connsiteY47855" fmla="*/ 979360 h 6557032"/>
              <a:gd name="connsiteX47856" fmla="*/ 1355698 w 4610101"/>
              <a:gd name="connsiteY47856" fmla="*/ 977538 h 6557032"/>
              <a:gd name="connsiteX47857" fmla="*/ 1353876 w 4610101"/>
              <a:gd name="connsiteY47857" fmla="*/ 981182 h 6557032"/>
              <a:gd name="connsiteX47858" fmla="*/ 1333832 w 4610101"/>
              <a:gd name="connsiteY47858" fmla="*/ 988471 h 6557032"/>
              <a:gd name="connsiteX47859" fmla="*/ 1352053 w 4610101"/>
              <a:gd name="connsiteY47859" fmla="*/ 990293 h 6557032"/>
              <a:gd name="connsiteX47860" fmla="*/ 1352053 w 4610101"/>
              <a:gd name="connsiteY47860" fmla="*/ 992115 h 6557032"/>
              <a:gd name="connsiteX47861" fmla="*/ 1330188 w 4610101"/>
              <a:gd name="connsiteY47861" fmla="*/ 988471 h 6557032"/>
              <a:gd name="connsiteX47862" fmla="*/ 1315610 w 4610101"/>
              <a:gd name="connsiteY47862" fmla="*/ 1004870 h 6557032"/>
              <a:gd name="connsiteX47863" fmla="*/ 1346587 w 4610101"/>
              <a:gd name="connsiteY47863" fmla="*/ 1006692 h 6557032"/>
              <a:gd name="connsiteX47864" fmla="*/ 1379386 w 4610101"/>
              <a:gd name="connsiteY47864" fmla="*/ 1004870 h 6557032"/>
              <a:gd name="connsiteX47865" fmla="*/ 1391796 w 4610101"/>
              <a:gd name="connsiteY47865" fmla="*/ 990687 h 6557032"/>
              <a:gd name="connsiteX47866" fmla="*/ 1388952 w 4610101"/>
              <a:gd name="connsiteY47866" fmla="*/ 995987 h 6557032"/>
              <a:gd name="connsiteX47867" fmla="*/ 1381208 w 4610101"/>
              <a:gd name="connsiteY47867" fmla="*/ 1006692 h 6557032"/>
              <a:gd name="connsiteX47868" fmla="*/ 1383030 w 4610101"/>
              <a:gd name="connsiteY47868" fmla="*/ 1008515 h 6557032"/>
              <a:gd name="connsiteX47869" fmla="*/ 1344765 w 4610101"/>
              <a:gd name="connsiteY47869" fmla="*/ 1012159 h 6557032"/>
              <a:gd name="connsiteX47870" fmla="*/ 1346587 w 4610101"/>
              <a:gd name="connsiteY47870" fmla="*/ 1013981 h 6557032"/>
              <a:gd name="connsiteX47871" fmla="*/ 1342942 w 4610101"/>
              <a:gd name="connsiteY47871" fmla="*/ 1010337 h 6557032"/>
              <a:gd name="connsiteX47872" fmla="*/ 1308321 w 4610101"/>
              <a:gd name="connsiteY47872" fmla="*/ 1008515 h 6557032"/>
              <a:gd name="connsiteX47873" fmla="*/ 1290100 w 4610101"/>
              <a:gd name="connsiteY47873" fmla="*/ 1017625 h 6557032"/>
              <a:gd name="connsiteX47874" fmla="*/ 1251834 w 4610101"/>
              <a:gd name="connsiteY47874" fmla="*/ 1023092 h 6557032"/>
              <a:gd name="connsiteX47875" fmla="*/ 1250012 w 4610101"/>
              <a:gd name="connsiteY47875" fmla="*/ 1026736 h 6557032"/>
              <a:gd name="connsiteX47876" fmla="*/ 1246367 w 4610101"/>
              <a:gd name="connsiteY47876" fmla="*/ 1026736 h 6557032"/>
              <a:gd name="connsiteX47877" fmla="*/ 1234916 w 4610101"/>
              <a:gd name="connsiteY47877" fmla="*/ 1033280 h 6557032"/>
              <a:gd name="connsiteX47878" fmla="*/ 1219036 w 4610101"/>
              <a:gd name="connsiteY47878" fmla="*/ 1030381 h 6557032"/>
              <a:gd name="connsiteX47879" fmla="*/ 1211747 w 4610101"/>
              <a:gd name="connsiteY47879" fmla="*/ 1037669 h 6557032"/>
              <a:gd name="connsiteX47880" fmla="*/ 1200814 w 4610101"/>
              <a:gd name="connsiteY47880" fmla="*/ 1044958 h 6557032"/>
              <a:gd name="connsiteX47881" fmla="*/ 1204457 w 4610101"/>
              <a:gd name="connsiteY47881" fmla="*/ 1044958 h 6557032"/>
              <a:gd name="connsiteX47882" fmla="*/ 1187801 w 4610101"/>
              <a:gd name="connsiteY47882" fmla="*/ 1056232 h 6557032"/>
              <a:gd name="connsiteX47883" fmla="*/ 1187882 w 4610101"/>
              <a:gd name="connsiteY47883" fmla="*/ 1057845 h 6557032"/>
              <a:gd name="connsiteX47884" fmla="*/ 1185324 w 4610101"/>
              <a:gd name="connsiteY47884" fmla="*/ 1059763 h 6557032"/>
              <a:gd name="connsiteX47885" fmla="*/ 1182592 w 4610101"/>
              <a:gd name="connsiteY47885" fmla="*/ 1063180 h 6557032"/>
              <a:gd name="connsiteX47886" fmla="*/ 1186738 w 4610101"/>
              <a:gd name="connsiteY47886" fmla="*/ 1064562 h 6557032"/>
              <a:gd name="connsiteX47887" fmla="*/ 1186236 w 4610101"/>
              <a:gd name="connsiteY47887" fmla="*/ 1065002 h 6557032"/>
              <a:gd name="connsiteX47888" fmla="*/ 1187374 w 4610101"/>
              <a:gd name="connsiteY47888" fmla="*/ 1064774 h 6557032"/>
              <a:gd name="connsiteX47889" fmla="*/ 1188058 w 4610101"/>
              <a:gd name="connsiteY47889" fmla="*/ 1065002 h 6557032"/>
              <a:gd name="connsiteX47890" fmla="*/ 1188122 w 4610101"/>
              <a:gd name="connsiteY47890" fmla="*/ 1064625 h 6557032"/>
              <a:gd name="connsiteX47891" fmla="*/ 1195346 w 4610101"/>
              <a:gd name="connsiteY47891" fmla="*/ 1063180 h 6557032"/>
              <a:gd name="connsiteX47892" fmla="*/ 1195346 w 4610101"/>
              <a:gd name="connsiteY47892" fmla="*/ 1059535 h 6557032"/>
              <a:gd name="connsiteX47893" fmla="*/ 1197169 w 4610101"/>
              <a:gd name="connsiteY47893" fmla="*/ 1061358 h 6557032"/>
              <a:gd name="connsiteX47894" fmla="*/ 1204457 w 4610101"/>
              <a:gd name="connsiteY47894" fmla="*/ 1044958 h 6557032"/>
              <a:gd name="connsiteX47895" fmla="*/ 1206279 w 4610101"/>
              <a:gd name="connsiteY47895" fmla="*/ 1044958 h 6557032"/>
              <a:gd name="connsiteX47896" fmla="*/ 1202636 w 4610101"/>
              <a:gd name="connsiteY47896" fmla="*/ 1055891 h 6557032"/>
              <a:gd name="connsiteX47897" fmla="*/ 1204064 w 4610101"/>
              <a:gd name="connsiteY47897" fmla="*/ 1054660 h 6557032"/>
              <a:gd name="connsiteX47898" fmla="*/ 1200814 w 4610101"/>
              <a:gd name="connsiteY47898" fmla="*/ 1059535 h 6557032"/>
              <a:gd name="connsiteX47899" fmla="*/ 1208102 w 4610101"/>
              <a:gd name="connsiteY47899" fmla="*/ 1059535 h 6557032"/>
              <a:gd name="connsiteX47900" fmla="*/ 1208102 w 4610101"/>
              <a:gd name="connsiteY47900" fmla="*/ 1055891 h 6557032"/>
              <a:gd name="connsiteX47901" fmla="*/ 1215390 w 4610101"/>
              <a:gd name="connsiteY47901" fmla="*/ 1052247 h 6557032"/>
              <a:gd name="connsiteX47902" fmla="*/ 1211747 w 4610101"/>
              <a:gd name="connsiteY47902" fmla="*/ 1059535 h 6557032"/>
              <a:gd name="connsiteX47903" fmla="*/ 1231790 w 4610101"/>
              <a:gd name="connsiteY47903" fmla="*/ 1039492 h 6557032"/>
              <a:gd name="connsiteX47904" fmla="*/ 1237256 w 4610101"/>
              <a:gd name="connsiteY47904" fmla="*/ 1039492 h 6557032"/>
              <a:gd name="connsiteX47905" fmla="*/ 1215390 w 4610101"/>
              <a:gd name="connsiteY47905" fmla="*/ 1061358 h 6557032"/>
              <a:gd name="connsiteX47906" fmla="*/ 1235434 w 4610101"/>
              <a:gd name="connsiteY47906" fmla="*/ 1066824 h 6557032"/>
              <a:gd name="connsiteX47907" fmla="*/ 1233612 w 4610101"/>
              <a:gd name="connsiteY47907" fmla="*/ 1070469 h 6557032"/>
              <a:gd name="connsiteX47908" fmla="*/ 1250012 w 4610101"/>
              <a:gd name="connsiteY47908" fmla="*/ 1072291 h 6557032"/>
              <a:gd name="connsiteX47909" fmla="*/ 1251834 w 4610101"/>
              <a:gd name="connsiteY47909" fmla="*/ 1054069 h 6557032"/>
              <a:gd name="connsiteX47910" fmla="*/ 1257300 w 4610101"/>
              <a:gd name="connsiteY47910" fmla="*/ 1065002 h 6557032"/>
              <a:gd name="connsiteX47911" fmla="*/ 1255478 w 4610101"/>
              <a:gd name="connsiteY47911" fmla="*/ 1066824 h 6557032"/>
              <a:gd name="connsiteX47912" fmla="*/ 1253656 w 4610101"/>
              <a:gd name="connsiteY47912" fmla="*/ 1068646 h 6557032"/>
              <a:gd name="connsiteX47913" fmla="*/ 1260945 w 4610101"/>
              <a:gd name="connsiteY47913" fmla="*/ 1072291 h 6557032"/>
              <a:gd name="connsiteX47914" fmla="*/ 1273700 w 4610101"/>
              <a:gd name="connsiteY47914" fmla="*/ 1054069 h 6557032"/>
              <a:gd name="connsiteX47915" fmla="*/ 1275522 w 4610101"/>
              <a:gd name="connsiteY47915" fmla="*/ 1057713 h 6557032"/>
              <a:gd name="connsiteX47916" fmla="*/ 1286911 w 4610101"/>
              <a:gd name="connsiteY47916" fmla="*/ 1046325 h 6557032"/>
              <a:gd name="connsiteX47917" fmla="*/ 1287391 w 4610101"/>
              <a:gd name="connsiteY47917" fmla="*/ 1044197 h 6557032"/>
              <a:gd name="connsiteX47918" fmla="*/ 1287594 w 4610101"/>
              <a:gd name="connsiteY47918" fmla="*/ 1044275 h 6557032"/>
              <a:gd name="connsiteX47919" fmla="*/ 1291922 w 4610101"/>
              <a:gd name="connsiteY47919" fmla="*/ 1041314 h 6557032"/>
              <a:gd name="connsiteX47920" fmla="*/ 1291922 w 4610101"/>
              <a:gd name="connsiteY47920" fmla="*/ 1035847 h 6557032"/>
              <a:gd name="connsiteX47921" fmla="*/ 1297388 w 4610101"/>
              <a:gd name="connsiteY47921" fmla="*/ 1034025 h 6557032"/>
              <a:gd name="connsiteX47922" fmla="*/ 1259123 w 4610101"/>
              <a:gd name="connsiteY47922" fmla="*/ 1094157 h 6557032"/>
              <a:gd name="connsiteX47923" fmla="*/ 1273700 w 4610101"/>
              <a:gd name="connsiteY47923" fmla="*/ 1094157 h 6557032"/>
              <a:gd name="connsiteX47924" fmla="*/ 1255478 w 4610101"/>
              <a:gd name="connsiteY47924" fmla="*/ 1097801 h 6557032"/>
              <a:gd name="connsiteX47925" fmla="*/ 1231790 w 4610101"/>
              <a:gd name="connsiteY47925" fmla="*/ 1103268 h 6557032"/>
              <a:gd name="connsiteX47926" fmla="*/ 1233612 w 4610101"/>
              <a:gd name="connsiteY47926" fmla="*/ 1106912 h 6557032"/>
              <a:gd name="connsiteX47927" fmla="*/ 1202636 w 4610101"/>
              <a:gd name="connsiteY47927" fmla="*/ 1106912 h 6557032"/>
              <a:gd name="connsiteX47928" fmla="*/ 1198385 w 4610101"/>
              <a:gd name="connsiteY47928" fmla="*/ 1113998 h 6557032"/>
              <a:gd name="connsiteX47929" fmla="*/ 1182592 w 4610101"/>
              <a:gd name="connsiteY47929" fmla="*/ 1108734 h 6557032"/>
              <a:gd name="connsiteX47930" fmla="*/ 1178947 w 4610101"/>
              <a:gd name="connsiteY47930" fmla="*/ 1112378 h 6557032"/>
              <a:gd name="connsiteX47931" fmla="*/ 1182592 w 4610101"/>
              <a:gd name="connsiteY47931" fmla="*/ 1119667 h 6557032"/>
              <a:gd name="connsiteX47932" fmla="*/ 1175303 w 4610101"/>
              <a:gd name="connsiteY47932" fmla="*/ 1119667 h 6557032"/>
              <a:gd name="connsiteX47933" fmla="*/ 1174087 w 4610101"/>
              <a:gd name="connsiteY47933" fmla="*/ 1117237 h 6557032"/>
              <a:gd name="connsiteX47934" fmla="*/ 1175303 w 4610101"/>
              <a:gd name="connsiteY47934" fmla="*/ 1117845 h 6557032"/>
              <a:gd name="connsiteX47935" fmla="*/ 1174027 w 4610101"/>
              <a:gd name="connsiteY47935" fmla="*/ 1117116 h 6557032"/>
              <a:gd name="connsiteX47936" fmla="*/ 1173481 w 4610101"/>
              <a:gd name="connsiteY47936" fmla="*/ 1116023 h 6557032"/>
              <a:gd name="connsiteX47937" fmla="*/ 1173709 w 4610101"/>
              <a:gd name="connsiteY47937" fmla="*/ 1116934 h 6557032"/>
              <a:gd name="connsiteX47938" fmla="*/ 1174027 w 4610101"/>
              <a:gd name="connsiteY47938" fmla="*/ 1117116 h 6557032"/>
              <a:gd name="connsiteX47939" fmla="*/ 1174087 w 4610101"/>
              <a:gd name="connsiteY47939" fmla="*/ 1117237 h 6557032"/>
              <a:gd name="connsiteX47940" fmla="*/ 1172569 w 4610101"/>
              <a:gd name="connsiteY47940" fmla="*/ 1116478 h 6557032"/>
              <a:gd name="connsiteX47941" fmla="*/ 1169836 w 4610101"/>
              <a:gd name="connsiteY47941" fmla="*/ 1117845 h 6557032"/>
              <a:gd name="connsiteX47942" fmla="*/ 1168014 w 4610101"/>
              <a:gd name="connsiteY47942" fmla="*/ 1114201 h 6557032"/>
              <a:gd name="connsiteX47943" fmla="*/ 1135215 w 4610101"/>
              <a:gd name="connsiteY47943" fmla="*/ 1112378 h 6557032"/>
              <a:gd name="connsiteX47944" fmla="*/ 1131570 w 4610101"/>
              <a:gd name="connsiteY47944" fmla="*/ 1117845 h 6557032"/>
              <a:gd name="connsiteX47945" fmla="*/ 1131798 w 4610101"/>
              <a:gd name="connsiteY47945" fmla="*/ 1118984 h 6557032"/>
              <a:gd name="connsiteX47946" fmla="*/ 1132513 w 4610101"/>
              <a:gd name="connsiteY47946" fmla="*/ 1120107 h 6557032"/>
              <a:gd name="connsiteX47947" fmla="*/ 1130963 w 4610101"/>
              <a:gd name="connsiteY47947" fmla="*/ 1120882 h 6557032"/>
              <a:gd name="connsiteX47948" fmla="*/ 1129748 w 4610101"/>
              <a:gd name="connsiteY47948" fmla="*/ 1119667 h 6557032"/>
              <a:gd name="connsiteX47949" fmla="*/ 1127926 w 4610101"/>
              <a:gd name="connsiteY47949" fmla="*/ 1128778 h 6557032"/>
              <a:gd name="connsiteX47950" fmla="*/ 1133393 w 4610101"/>
              <a:gd name="connsiteY47950" fmla="*/ 1130600 h 6557032"/>
              <a:gd name="connsiteX47951" fmla="*/ 1127926 w 4610101"/>
              <a:gd name="connsiteY47951" fmla="*/ 1130600 h 6557032"/>
              <a:gd name="connsiteX47952" fmla="*/ 1138003 w 4610101"/>
              <a:gd name="connsiteY47952" fmla="*/ 1136898 h 6557032"/>
              <a:gd name="connsiteX47953" fmla="*/ 1138859 w 4610101"/>
              <a:gd name="connsiteY47953" fmla="*/ 1139711 h 6557032"/>
              <a:gd name="connsiteX47954" fmla="*/ 1147970 w 4610101"/>
              <a:gd name="connsiteY47954" fmla="*/ 1145178 h 6557032"/>
              <a:gd name="connsiteX47955" fmla="*/ 1146148 w 4610101"/>
              <a:gd name="connsiteY47955" fmla="*/ 1136067 h 6557032"/>
              <a:gd name="connsiteX47956" fmla="*/ 1151614 w 4610101"/>
              <a:gd name="connsiteY47956" fmla="*/ 1141533 h 6557032"/>
              <a:gd name="connsiteX47957" fmla="*/ 1155259 w 4610101"/>
              <a:gd name="connsiteY47957" fmla="*/ 1134245 h 6557032"/>
              <a:gd name="connsiteX47958" fmla="*/ 1169836 w 4610101"/>
              <a:gd name="connsiteY47958" fmla="*/ 1117845 h 6557032"/>
              <a:gd name="connsiteX47959" fmla="*/ 1157081 w 4610101"/>
              <a:gd name="connsiteY47959" fmla="*/ 1137889 h 6557032"/>
              <a:gd name="connsiteX47960" fmla="*/ 1158903 w 4610101"/>
              <a:gd name="connsiteY47960" fmla="*/ 1145178 h 6557032"/>
              <a:gd name="connsiteX47961" fmla="*/ 1155259 w 4610101"/>
              <a:gd name="connsiteY47961" fmla="*/ 1139711 h 6557032"/>
              <a:gd name="connsiteX47962" fmla="*/ 1157081 w 4610101"/>
              <a:gd name="connsiteY47962" fmla="*/ 1152466 h 6557032"/>
              <a:gd name="connsiteX47963" fmla="*/ 1154803 w 4610101"/>
              <a:gd name="connsiteY47963" fmla="*/ 1153984 h 6557032"/>
              <a:gd name="connsiteX47964" fmla="*/ 1149792 w 4610101"/>
              <a:gd name="connsiteY47964" fmla="*/ 1150644 h 6557032"/>
              <a:gd name="connsiteX47965" fmla="*/ 1147970 w 4610101"/>
              <a:gd name="connsiteY47965" fmla="*/ 1152466 h 6557032"/>
              <a:gd name="connsiteX47966" fmla="*/ 1149792 w 4610101"/>
              <a:gd name="connsiteY47966" fmla="*/ 1156111 h 6557032"/>
              <a:gd name="connsiteX47967" fmla="*/ 1153437 w 4610101"/>
              <a:gd name="connsiteY47967" fmla="*/ 1154895 h 6557032"/>
              <a:gd name="connsiteX47968" fmla="*/ 1151614 w 4610101"/>
              <a:gd name="connsiteY47968" fmla="*/ 1156111 h 6557032"/>
              <a:gd name="connsiteX47969" fmla="*/ 1154264 w 4610101"/>
              <a:gd name="connsiteY47969" fmla="*/ 1157933 h 6557032"/>
              <a:gd name="connsiteX47970" fmla="*/ 1151614 w 4610101"/>
              <a:gd name="connsiteY47970" fmla="*/ 1157933 h 6557032"/>
              <a:gd name="connsiteX47971" fmla="*/ 1147970 w 4610101"/>
              <a:gd name="connsiteY47971" fmla="*/ 1165222 h 6557032"/>
              <a:gd name="connsiteX47972" fmla="*/ 1151614 w 4610101"/>
              <a:gd name="connsiteY47972" fmla="*/ 1168866 h 6557032"/>
              <a:gd name="connsiteX47973" fmla="*/ 1155259 w 4610101"/>
              <a:gd name="connsiteY47973" fmla="*/ 1163399 h 6557032"/>
              <a:gd name="connsiteX47974" fmla="*/ 1157081 w 4610101"/>
              <a:gd name="connsiteY47974" fmla="*/ 1165222 h 6557032"/>
              <a:gd name="connsiteX47975" fmla="*/ 1160725 w 4610101"/>
              <a:gd name="connsiteY47975" fmla="*/ 1157933 h 6557032"/>
              <a:gd name="connsiteX47976" fmla="*/ 1155834 w 4610101"/>
              <a:gd name="connsiteY47976" fmla="*/ 1157933 h 6557032"/>
              <a:gd name="connsiteX47977" fmla="*/ 1158903 w 4610101"/>
              <a:gd name="connsiteY47977" fmla="*/ 1154288 h 6557032"/>
              <a:gd name="connsiteX47978" fmla="*/ 1164370 w 4610101"/>
              <a:gd name="connsiteY47978" fmla="*/ 1157933 h 6557032"/>
              <a:gd name="connsiteX47979" fmla="*/ 1173481 w 4610101"/>
              <a:gd name="connsiteY47979" fmla="*/ 1150644 h 6557032"/>
              <a:gd name="connsiteX47980" fmla="*/ 1175303 w 4610101"/>
              <a:gd name="connsiteY47980" fmla="*/ 1154288 h 6557032"/>
              <a:gd name="connsiteX47981" fmla="*/ 1178947 w 4610101"/>
              <a:gd name="connsiteY47981" fmla="*/ 1148822 h 6557032"/>
              <a:gd name="connsiteX47982" fmla="*/ 1180769 w 4610101"/>
              <a:gd name="connsiteY47982" fmla="*/ 1156111 h 6557032"/>
              <a:gd name="connsiteX47983" fmla="*/ 1178947 w 4610101"/>
              <a:gd name="connsiteY47983" fmla="*/ 1152466 h 6557032"/>
              <a:gd name="connsiteX47984" fmla="*/ 1171658 w 4610101"/>
              <a:gd name="connsiteY47984" fmla="*/ 1161577 h 6557032"/>
              <a:gd name="connsiteX47985" fmla="*/ 1173481 w 4610101"/>
              <a:gd name="connsiteY47985" fmla="*/ 1163399 h 6557032"/>
              <a:gd name="connsiteX47986" fmla="*/ 1175303 w 4610101"/>
              <a:gd name="connsiteY47986" fmla="*/ 1165222 h 6557032"/>
              <a:gd name="connsiteX47987" fmla="*/ 1177125 w 4610101"/>
              <a:gd name="connsiteY47987" fmla="*/ 1161577 h 6557032"/>
              <a:gd name="connsiteX47988" fmla="*/ 1178947 w 4610101"/>
              <a:gd name="connsiteY47988" fmla="*/ 1167044 h 6557032"/>
              <a:gd name="connsiteX47989" fmla="*/ 1180769 w 4610101"/>
              <a:gd name="connsiteY47989" fmla="*/ 1157933 h 6557032"/>
              <a:gd name="connsiteX47990" fmla="*/ 1182592 w 4610101"/>
              <a:gd name="connsiteY47990" fmla="*/ 1165222 h 6557032"/>
              <a:gd name="connsiteX47991" fmla="*/ 1184414 w 4610101"/>
              <a:gd name="connsiteY47991" fmla="*/ 1165222 h 6557032"/>
              <a:gd name="connsiteX47992" fmla="*/ 1200814 w 4610101"/>
              <a:gd name="connsiteY47992" fmla="*/ 1141533 h 6557032"/>
              <a:gd name="connsiteX47993" fmla="*/ 1206279 w 4610101"/>
              <a:gd name="connsiteY47993" fmla="*/ 1147000 h 6557032"/>
              <a:gd name="connsiteX47994" fmla="*/ 1209925 w 4610101"/>
              <a:gd name="connsiteY47994" fmla="*/ 1143355 h 6557032"/>
              <a:gd name="connsiteX47995" fmla="*/ 1209923 w 4610101"/>
              <a:gd name="connsiteY47995" fmla="*/ 1149505 h 6557032"/>
              <a:gd name="connsiteX47996" fmla="*/ 1209925 w 4610101"/>
              <a:gd name="connsiteY47996" fmla="*/ 1150644 h 6557032"/>
              <a:gd name="connsiteX47997" fmla="*/ 1201496 w 4610101"/>
              <a:gd name="connsiteY47997" fmla="*/ 1157249 h 6557032"/>
              <a:gd name="connsiteX47998" fmla="*/ 1191703 w 4610101"/>
              <a:gd name="connsiteY47998" fmla="*/ 1165222 h 6557032"/>
              <a:gd name="connsiteX47999" fmla="*/ 1202864 w 4610101"/>
              <a:gd name="connsiteY47999" fmla="*/ 1159299 h 6557032"/>
              <a:gd name="connsiteX48000" fmla="*/ 1209925 w 4610101"/>
              <a:gd name="connsiteY48000" fmla="*/ 1150644 h 6557032"/>
              <a:gd name="connsiteX48001" fmla="*/ 1209925 w 4610101"/>
              <a:gd name="connsiteY48001" fmla="*/ 1154288 h 6557032"/>
              <a:gd name="connsiteX48002" fmla="*/ 1215390 w 4610101"/>
              <a:gd name="connsiteY48002" fmla="*/ 1150644 h 6557032"/>
              <a:gd name="connsiteX48003" fmla="*/ 1208102 w 4610101"/>
              <a:gd name="connsiteY48003" fmla="*/ 1167044 h 6557032"/>
              <a:gd name="connsiteX48004" fmla="*/ 1219036 w 4610101"/>
              <a:gd name="connsiteY48004" fmla="*/ 1157933 h 6557032"/>
              <a:gd name="connsiteX48005" fmla="*/ 1219036 w 4610101"/>
              <a:gd name="connsiteY48005" fmla="*/ 1163399 h 6557032"/>
              <a:gd name="connsiteX48006" fmla="*/ 1224501 w 4610101"/>
              <a:gd name="connsiteY48006" fmla="*/ 1161577 h 6557032"/>
              <a:gd name="connsiteX48007" fmla="*/ 1226323 w 4610101"/>
              <a:gd name="connsiteY48007" fmla="*/ 1154288 h 6557032"/>
              <a:gd name="connsiteX48008" fmla="*/ 1235434 w 4610101"/>
              <a:gd name="connsiteY48008" fmla="*/ 1147000 h 6557032"/>
              <a:gd name="connsiteX48009" fmla="*/ 1235434 w 4610101"/>
              <a:gd name="connsiteY48009" fmla="*/ 1152466 h 6557032"/>
              <a:gd name="connsiteX48010" fmla="*/ 1242723 w 4610101"/>
              <a:gd name="connsiteY48010" fmla="*/ 1148822 h 6557032"/>
              <a:gd name="connsiteX48011" fmla="*/ 1237256 w 4610101"/>
              <a:gd name="connsiteY48011" fmla="*/ 1136067 h 6557032"/>
              <a:gd name="connsiteX48012" fmla="*/ 1239080 w 4610101"/>
              <a:gd name="connsiteY48012" fmla="*/ 1132422 h 6557032"/>
              <a:gd name="connsiteX48013" fmla="*/ 1246367 w 4610101"/>
              <a:gd name="connsiteY48013" fmla="*/ 1148822 h 6557032"/>
              <a:gd name="connsiteX48014" fmla="*/ 1248189 w 4610101"/>
              <a:gd name="connsiteY48014" fmla="*/ 1143355 h 6557032"/>
              <a:gd name="connsiteX48015" fmla="*/ 1250012 w 4610101"/>
              <a:gd name="connsiteY48015" fmla="*/ 1136067 h 6557032"/>
              <a:gd name="connsiteX48016" fmla="*/ 1244545 w 4610101"/>
              <a:gd name="connsiteY48016" fmla="*/ 1136067 h 6557032"/>
              <a:gd name="connsiteX48017" fmla="*/ 1244545 w 4610101"/>
              <a:gd name="connsiteY48017" fmla="*/ 1130600 h 6557032"/>
              <a:gd name="connsiteX48018" fmla="*/ 1231790 w 4610101"/>
              <a:gd name="connsiteY48018" fmla="*/ 1125134 h 6557032"/>
              <a:gd name="connsiteX48019" fmla="*/ 1226655 w 4610101"/>
              <a:gd name="connsiteY48019" fmla="*/ 1123422 h 6557032"/>
              <a:gd name="connsiteX48020" fmla="*/ 1233384 w 4610101"/>
              <a:gd name="connsiteY48020" fmla="*/ 1123767 h 6557032"/>
              <a:gd name="connsiteX48021" fmla="*/ 1240901 w 4610101"/>
              <a:gd name="connsiteY48021" fmla="*/ 1121489 h 6557032"/>
              <a:gd name="connsiteX48022" fmla="*/ 1237256 w 4610101"/>
              <a:gd name="connsiteY48022" fmla="*/ 1123312 h 6557032"/>
              <a:gd name="connsiteX48023" fmla="*/ 1240901 w 4610101"/>
              <a:gd name="connsiteY48023" fmla="*/ 1125134 h 6557032"/>
              <a:gd name="connsiteX48024" fmla="*/ 1242723 w 4610101"/>
              <a:gd name="connsiteY48024" fmla="*/ 1128778 h 6557032"/>
              <a:gd name="connsiteX48025" fmla="*/ 1248953 w 4610101"/>
              <a:gd name="connsiteY48025" fmla="*/ 1127458 h 6557032"/>
              <a:gd name="connsiteX48026" fmla="*/ 1257984 w 4610101"/>
              <a:gd name="connsiteY48026" fmla="*/ 1130828 h 6557032"/>
              <a:gd name="connsiteX48027" fmla="*/ 1271878 w 4610101"/>
              <a:gd name="connsiteY48027" fmla="*/ 1126956 h 6557032"/>
              <a:gd name="connsiteX48028" fmla="*/ 1273700 w 4610101"/>
              <a:gd name="connsiteY48028" fmla="*/ 1128778 h 6557032"/>
              <a:gd name="connsiteX48029" fmla="*/ 1280761 w 4610101"/>
              <a:gd name="connsiteY48029" fmla="*/ 1123995 h 6557032"/>
              <a:gd name="connsiteX48030" fmla="*/ 1283776 w 4610101"/>
              <a:gd name="connsiteY48030" fmla="*/ 1120739 h 6557032"/>
              <a:gd name="connsiteX48031" fmla="*/ 1287873 w 4610101"/>
              <a:gd name="connsiteY48031" fmla="*/ 1120072 h 6557032"/>
              <a:gd name="connsiteX48032" fmla="*/ 1286455 w 4610101"/>
              <a:gd name="connsiteY48032" fmla="*/ 1121489 h 6557032"/>
              <a:gd name="connsiteX48033" fmla="*/ 1291440 w 4610101"/>
              <a:gd name="connsiteY48033" fmla="*/ 1119828 h 6557032"/>
              <a:gd name="connsiteX48034" fmla="*/ 1297388 w 4610101"/>
              <a:gd name="connsiteY48034" fmla="*/ 1119667 h 6557032"/>
              <a:gd name="connsiteX48035" fmla="*/ 1299210 w 4610101"/>
              <a:gd name="connsiteY48035" fmla="*/ 1114201 h 6557032"/>
              <a:gd name="connsiteX48036" fmla="*/ 1301033 w 4610101"/>
              <a:gd name="connsiteY48036" fmla="*/ 1121489 h 6557032"/>
              <a:gd name="connsiteX48037" fmla="*/ 1319254 w 4610101"/>
              <a:gd name="connsiteY48037" fmla="*/ 1099623 h 6557032"/>
              <a:gd name="connsiteX48038" fmla="*/ 1315610 w 4610101"/>
              <a:gd name="connsiteY48038" fmla="*/ 1094157 h 6557032"/>
              <a:gd name="connsiteX48039" fmla="*/ 1321077 w 4610101"/>
              <a:gd name="connsiteY48039" fmla="*/ 1097801 h 6557032"/>
              <a:gd name="connsiteX48040" fmla="*/ 1328365 w 4610101"/>
              <a:gd name="connsiteY48040" fmla="*/ 1086868 h 6557032"/>
              <a:gd name="connsiteX48041" fmla="*/ 1328365 w 4610101"/>
              <a:gd name="connsiteY48041" fmla="*/ 1090512 h 6557032"/>
              <a:gd name="connsiteX48042" fmla="*/ 1337826 w 4610101"/>
              <a:gd name="connsiteY48042" fmla="*/ 1084880 h 6557032"/>
              <a:gd name="connsiteX48043" fmla="*/ 1331554 w 4610101"/>
              <a:gd name="connsiteY48043" fmla="*/ 1089146 h 6557032"/>
              <a:gd name="connsiteX48044" fmla="*/ 1322899 w 4610101"/>
              <a:gd name="connsiteY48044" fmla="*/ 1099623 h 6557032"/>
              <a:gd name="connsiteX48045" fmla="*/ 1326090 w 4610101"/>
              <a:gd name="connsiteY48045" fmla="*/ 1101639 h 6557032"/>
              <a:gd name="connsiteX48046" fmla="*/ 1331554 w 4610101"/>
              <a:gd name="connsiteY48046" fmla="*/ 1105090 h 6557032"/>
              <a:gd name="connsiteX48047" fmla="*/ 1342942 w 4610101"/>
              <a:gd name="connsiteY48047" fmla="*/ 1099623 h 6557032"/>
              <a:gd name="connsiteX48048" fmla="*/ 1341120 w 4610101"/>
              <a:gd name="connsiteY48048" fmla="*/ 1103268 h 6557032"/>
              <a:gd name="connsiteX48049" fmla="*/ 1352053 w 4610101"/>
              <a:gd name="connsiteY48049" fmla="*/ 1101445 h 6557032"/>
              <a:gd name="connsiteX48050" fmla="*/ 1346587 w 4610101"/>
              <a:gd name="connsiteY48050" fmla="*/ 1095979 h 6557032"/>
              <a:gd name="connsiteX48051" fmla="*/ 1348410 w 4610101"/>
              <a:gd name="connsiteY48051" fmla="*/ 1092335 h 6557032"/>
              <a:gd name="connsiteX48052" fmla="*/ 1357521 w 4610101"/>
              <a:gd name="connsiteY48052" fmla="*/ 1101445 h 6557032"/>
              <a:gd name="connsiteX48053" fmla="*/ 1337476 w 4610101"/>
              <a:gd name="connsiteY48053" fmla="*/ 1106912 h 6557032"/>
              <a:gd name="connsiteX48054" fmla="*/ 1337476 w 4610101"/>
              <a:gd name="connsiteY48054" fmla="*/ 1110556 h 6557032"/>
              <a:gd name="connsiteX48055" fmla="*/ 1306499 w 4610101"/>
              <a:gd name="connsiteY48055" fmla="*/ 1123312 h 6557032"/>
              <a:gd name="connsiteX48056" fmla="*/ 1333832 w 4610101"/>
              <a:gd name="connsiteY48056" fmla="*/ 1112378 h 6557032"/>
              <a:gd name="connsiteX48057" fmla="*/ 1332009 w 4610101"/>
              <a:gd name="connsiteY48057" fmla="*/ 1117845 h 6557032"/>
              <a:gd name="connsiteX48058" fmla="*/ 1350231 w 4610101"/>
              <a:gd name="connsiteY48058" fmla="*/ 1108734 h 6557032"/>
              <a:gd name="connsiteX48059" fmla="*/ 1360908 w 4610101"/>
              <a:gd name="connsiteY48059" fmla="*/ 1106641 h 6557032"/>
              <a:gd name="connsiteX48060" fmla="*/ 1321077 w 4610101"/>
              <a:gd name="connsiteY48060" fmla="*/ 1125134 h 6557032"/>
              <a:gd name="connsiteX48061" fmla="*/ 1311966 w 4610101"/>
              <a:gd name="connsiteY48061" fmla="*/ 1128778 h 6557032"/>
              <a:gd name="connsiteX48062" fmla="*/ 1301033 w 4610101"/>
              <a:gd name="connsiteY48062" fmla="*/ 1126956 h 6557032"/>
              <a:gd name="connsiteX48063" fmla="*/ 1279166 w 4610101"/>
              <a:gd name="connsiteY48063" fmla="*/ 1141533 h 6557032"/>
              <a:gd name="connsiteX48064" fmla="*/ 1291922 w 4610101"/>
              <a:gd name="connsiteY48064" fmla="*/ 1143355 h 6557032"/>
              <a:gd name="connsiteX48065" fmla="*/ 1301033 w 4610101"/>
              <a:gd name="connsiteY48065" fmla="*/ 1150644 h 6557032"/>
              <a:gd name="connsiteX48066" fmla="*/ 1271878 w 4610101"/>
              <a:gd name="connsiteY48066" fmla="*/ 1141533 h 6557032"/>
              <a:gd name="connsiteX48067" fmla="*/ 1253656 w 4610101"/>
              <a:gd name="connsiteY48067" fmla="*/ 1156111 h 6557032"/>
              <a:gd name="connsiteX48068" fmla="*/ 1235434 w 4610101"/>
              <a:gd name="connsiteY48068" fmla="*/ 1168866 h 6557032"/>
              <a:gd name="connsiteX48069" fmla="*/ 1260945 w 4610101"/>
              <a:gd name="connsiteY48069" fmla="*/ 1163399 h 6557032"/>
              <a:gd name="connsiteX48070" fmla="*/ 1260945 w 4610101"/>
              <a:gd name="connsiteY48070" fmla="*/ 1167044 h 6557032"/>
              <a:gd name="connsiteX48071" fmla="*/ 1270056 w 4610101"/>
              <a:gd name="connsiteY48071" fmla="*/ 1167044 h 6557032"/>
              <a:gd name="connsiteX48072" fmla="*/ 1229969 w 4610101"/>
              <a:gd name="connsiteY48072" fmla="*/ 1170688 h 6557032"/>
              <a:gd name="connsiteX48073" fmla="*/ 1228146 w 4610101"/>
              <a:gd name="connsiteY48073" fmla="*/ 1179799 h 6557032"/>
              <a:gd name="connsiteX48074" fmla="*/ 1231790 w 4610101"/>
              <a:gd name="connsiteY48074" fmla="*/ 1177977 h 6557032"/>
              <a:gd name="connsiteX48075" fmla="*/ 1228146 w 4610101"/>
              <a:gd name="connsiteY48075" fmla="*/ 1181621 h 6557032"/>
              <a:gd name="connsiteX48076" fmla="*/ 1226323 w 4610101"/>
              <a:gd name="connsiteY48076" fmla="*/ 1179799 h 6557032"/>
              <a:gd name="connsiteX48077" fmla="*/ 1220630 w 4610101"/>
              <a:gd name="connsiteY48077" fmla="*/ 1185266 h 6557032"/>
              <a:gd name="connsiteX48078" fmla="*/ 1214753 w 4610101"/>
              <a:gd name="connsiteY48078" fmla="*/ 1189815 h 6557032"/>
              <a:gd name="connsiteX48079" fmla="*/ 1205596 w 4610101"/>
              <a:gd name="connsiteY48079" fmla="*/ 1186404 h 6557032"/>
              <a:gd name="connsiteX48080" fmla="*/ 1195346 w 4610101"/>
              <a:gd name="connsiteY48080" fmla="*/ 1188910 h 6557032"/>
              <a:gd name="connsiteX48081" fmla="*/ 1200814 w 4610101"/>
              <a:gd name="connsiteY48081" fmla="*/ 1192554 h 6557032"/>
              <a:gd name="connsiteX48082" fmla="*/ 1200814 w 4610101"/>
              <a:gd name="connsiteY48082" fmla="*/ 1201665 h 6557032"/>
              <a:gd name="connsiteX48083" fmla="*/ 1213568 w 4610101"/>
              <a:gd name="connsiteY48083" fmla="*/ 1198021 h 6557032"/>
              <a:gd name="connsiteX48084" fmla="*/ 1216808 w 4610101"/>
              <a:gd name="connsiteY48084" fmla="*/ 1191542 h 6557032"/>
              <a:gd name="connsiteX48085" fmla="*/ 1221768 w 4610101"/>
              <a:gd name="connsiteY48085" fmla="*/ 1192782 h 6557032"/>
              <a:gd name="connsiteX48086" fmla="*/ 1229969 w 4610101"/>
              <a:gd name="connsiteY48086" fmla="*/ 1196199 h 6557032"/>
              <a:gd name="connsiteX48087" fmla="*/ 1228146 w 4610101"/>
              <a:gd name="connsiteY48087" fmla="*/ 1198021 h 6557032"/>
              <a:gd name="connsiteX48088" fmla="*/ 1226323 w 4610101"/>
              <a:gd name="connsiteY48088" fmla="*/ 1199843 h 6557032"/>
              <a:gd name="connsiteX48089" fmla="*/ 1222679 w 4610101"/>
              <a:gd name="connsiteY48089" fmla="*/ 1198021 h 6557032"/>
              <a:gd name="connsiteX48090" fmla="*/ 1219036 w 4610101"/>
              <a:gd name="connsiteY48090" fmla="*/ 1205309 h 6557032"/>
              <a:gd name="connsiteX48091" fmla="*/ 1208102 w 4610101"/>
              <a:gd name="connsiteY48091" fmla="*/ 1210776 h 6557032"/>
              <a:gd name="connsiteX48092" fmla="*/ 1235434 w 4610101"/>
              <a:gd name="connsiteY48092" fmla="*/ 1207132 h 6557032"/>
              <a:gd name="connsiteX48093" fmla="*/ 1234601 w 4610101"/>
              <a:gd name="connsiteY48093" fmla="*/ 1205466 h 6557032"/>
              <a:gd name="connsiteX48094" fmla="*/ 1238368 w 4610101"/>
              <a:gd name="connsiteY48094" fmla="*/ 1206066 h 6557032"/>
              <a:gd name="connsiteX48095" fmla="*/ 1239080 w 4610101"/>
              <a:gd name="connsiteY48095" fmla="*/ 1207132 h 6557032"/>
              <a:gd name="connsiteX48096" fmla="*/ 1240783 w 4610101"/>
              <a:gd name="connsiteY48096" fmla="*/ 1206450 h 6557032"/>
              <a:gd name="connsiteX48097" fmla="*/ 1243634 w 4610101"/>
              <a:gd name="connsiteY48097" fmla="*/ 1206904 h 6557032"/>
              <a:gd name="connsiteX48098" fmla="*/ 1246833 w 4610101"/>
              <a:gd name="connsiteY48098" fmla="*/ 1206976 h 6557032"/>
              <a:gd name="connsiteX48099" fmla="*/ 1246367 w 4610101"/>
              <a:gd name="connsiteY48099" fmla="*/ 1207132 h 6557032"/>
              <a:gd name="connsiteX48100" fmla="*/ 1251834 w 4610101"/>
              <a:gd name="connsiteY48100" fmla="*/ 1207132 h 6557032"/>
              <a:gd name="connsiteX48101" fmla="*/ 1244545 w 4610101"/>
              <a:gd name="connsiteY48101" fmla="*/ 1214420 h 6557032"/>
              <a:gd name="connsiteX48102" fmla="*/ 1268233 w 4610101"/>
              <a:gd name="connsiteY48102" fmla="*/ 1205309 h 6557032"/>
              <a:gd name="connsiteX48103" fmla="*/ 1257466 w 4610101"/>
              <a:gd name="connsiteY48103" fmla="*/ 1203515 h 6557032"/>
              <a:gd name="connsiteX48104" fmla="*/ 1262440 w 4610101"/>
              <a:gd name="connsiteY48104" fmla="*/ 1198794 h 6557032"/>
              <a:gd name="connsiteX48105" fmla="*/ 1271878 w 4610101"/>
              <a:gd name="connsiteY48105" fmla="*/ 1199843 h 6557032"/>
              <a:gd name="connsiteX48106" fmla="*/ 1277344 w 4610101"/>
              <a:gd name="connsiteY48106" fmla="*/ 1187088 h 6557032"/>
              <a:gd name="connsiteX48107" fmla="*/ 1279166 w 4610101"/>
              <a:gd name="connsiteY48107" fmla="*/ 1192554 h 6557032"/>
              <a:gd name="connsiteX48108" fmla="*/ 1280939 w 4610101"/>
              <a:gd name="connsiteY48108" fmla="*/ 1187827 h 6557032"/>
              <a:gd name="connsiteX48109" fmla="*/ 1282360 w 4610101"/>
              <a:gd name="connsiteY48109" fmla="*/ 1192798 h 6557032"/>
              <a:gd name="connsiteX48110" fmla="*/ 1277344 w 4610101"/>
              <a:gd name="connsiteY48110" fmla="*/ 1195515 h 6557032"/>
              <a:gd name="connsiteX48111" fmla="*/ 1277344 w 4610101"/>
              <a:gd name="connsiteY48111" fmla="*/ 1199843 h 6557032"/>
              <a:gd name="connsiteX48112" fmla="*/ 1282127 w 4610101"/>
              <a:gd name="connsiteY48112" fmla="*/ 1196882 h 6557032"/>
              <a:gd name="connsiteX48113" fmla="*/ 1282626 w 4610101"/>
              <a:gd name="connsiteY48113" fmla="*/ 1193727 h 6557032"/>
              <a:gd name="connsiteX48114" fmla="*/ 1282811 w 4610101"/>
              <a:gd name="connsiteY48114" fmla="*/ 1194376 h 6557032"/>
              <a:gd name="connsiteX48115" fmla="*/ 1290100 w 4610101"/>
              <a:gd name="connsiteY48115" fmla="*/ 1187088 h 6557032"/>
              <a:gd name="connsiteX48116" fmla="*/ 1293744 w 4610101"/>
              <a:gd name="connsiteY48116" fmla="*/ 1170688 h 6557032"/>
              <a:gd name="connsiteX48117" fmla="*/ 1291922 w 4610101"/>
              <a:gd name="connsiteY48117" fmla="*/ 1179799 h 6557032"/>
              <a:gd name="connsiteX48118" fmla="*/ 1297388 w 4610101"/>
              <a:gd name="connsiteY48118" fmla="*/ 1179799 h 6557032"/>
              <a:gd name="connsiteX48119" fmla="*/ 1297388 w 4610101"/>
              <a:gd name="connsiteY48119" fmla="*/ 1183443 h 6557032"/>
              <a:gd name="connsiteX48120" fmla="*/ 1292149 w 4610101"/>
              <a:gd name="connsiteY48120" fmla="*/ 1188226 h 6557032"/>
              <a:gd name="connsiteX48121" fmla="*/ 1288547 w 4610101"/>
              <a:gd name="connsiteY48121" fmla="*/ 1193948 h 6557032"/>
              <a:gd name="connsiteX48122" fmla="*/ 1286455 w 4610101"/>
              <a:gd name="connsiteY48122" fmla="*/ 1192554 h 6557032"/>
              <a:gd name="connsiteX48123" fmla="*/ 1284633 w 4610101"/>
              <a:gd name="connsiteY48123" fmla="*/ 1203487 h 6557032"/>
              <a:gd name="connsiteX48124" fmla="*/ 1282811 w 4610101"/>
              <a:gd name="connsiteY48124" fmla="*/ 1203487 h 6557032"/>
              <a:gd name="connsiteX48125" fmla="*/ 1288277 w 4610101"/>
              <a:gd name="connsiteY48125" fmla="*/ 1203487 h 6557032"/>
              <a:gd name="connsiteX48126" fmla="*/ 1284633 w 4610101"/>
              <a:gd name="connsiteY48126" fmla="*/ 1203487 h 6557032"/>
              <a:gd name="connsiteX48127" fmla="*/ 1290100 w 4610101"/>
              <a:gd name="connsiteY48127" fmla="*/ 1198021 h 6557032"/>
              <a:gd name="connsiteX48128" fmla="*/ 1288277 w 4610101"/>
              <a:gd name="connsiteY48128" fmla="*/ 1201665 h 6557032"/>
              <a:gd name="connsiteX48129" fmla="*/ 1300239 w 4610101"/>
              <a:gd name="connsiteY48129" fmla="*/ 1201993 h 6557032"/>
              <a:gd name="connsiteX48130" fmla="*/ 1302855 w 4610101"/>
              <a:gd name="connsiteY48130" fmla="*/ 1203487 h 6557032"/>
              <a:gd name="connsiteX48131" fmla="*/ 1310143 w 4610101"/>
              <a:gd name="connsiteY48131" fmla="*/ 1203487 h 6557032"/>
              <a:gd name="connsiteX48132" fmla="*/ 1310143 w 4610101"/>
              <a:gd name="connsiteY48132" fmla="*/ 1205309 h 6557032"/>
              <a:gd name="connsiteX48133" fmla="*/ 1324721 w 4610101"/>
              <a:gd name="connsiteY48133" fmla="*/ 1203487 h 6557032"/>
              <a:gd name="connsiteX48134" fmla="*/ 1310143 w 4610101"/>
              <a:gd name="connsiteY48134" fmla="*/ 1201665 h 6557032"/>
              <a:gd name="connsiteX48135" fmla="*/ 1309436 w 4610101"/>
              <a:gd name="connsiteY48135" fmla="*/ 1201547 h 6557032"/>
              <a:gd name="connsiteX48136" fmla="*/ 1322899 w 4610101"/>
              <a:gd name="connsiteY48136" fmla="*/ 1199843 h 6557032"/>
              <a:gd name="connsiteX48137" fmla="*/ 1317432 w 4610101"/>
              <a:gd name="connsiteY48137" fmla="*/ 1188910 h 6557032"/>
              <a:gd name="connsiteX48138" fmla="*/ 1322899 w 4610101"/>
              <a:gd name="connsiteY48138" fmla="*/ 1190732 h 6557032"/>
              <a:gd name="connsiteX48139" fmla="*/ 1324721 w 4610101"/>
              <a:gd name="connsiteY48139" fmla="*/ 1199843 h 6557032"/>
              <a:gd name="connsiteX48140" fmla="*/ 1339299 w 4610101"/>
              <a:gd name="connsiteY48140" fmla="*/ 1194376 h 6557032"/>
              <a:gd name="connsiteX48141" fmla="*/ 1341120 w 4610101"/>
              <a:gd name="connsiteY48141" fmla="*/ 1188910 h 6557032"/>
              <a:gd name="connsiteX48142" fmla="*/ 1342942 w 4610101"/>
              <a:gd name="connsiteY48142" fmla="*/ 1192554 h 6557032"/>
              <a:gd name="connsiteX48143" fmla="*/ 1344765 w 4610101"/>
              <a:gd name="connsiteY48143" fmla="*/ 1188910 h 6557032"/>
              <a:gd name="connsiteX48144" fmla="*/ 1346587 w 4610101"/>
              <a:gd name="connsiteY48144" fmla="*/ 1192554 h 6557032"/>
              <a:gd name="connsiteX48145" fmla="*/ 1357521 w 4610101"/>
              <a:gd name="connsiteY48145" fmla="*/ 1176155 h 6557032"/>
              <a:gd name="connsiteX48146" fmla="*/ 1359342 w 4610101"/>
              <a:gd name="connsiteY48146" fmla="*/ 1176155 h 6557032"/>
              <a:gd name="connsiteX48147" fmla="*/ 1352053 w 4610101"/>
              <a:gd name="connsiteY48147" fmla="*/ 1190732 h 6557032"/>
              <a:gd name="connsiteX48148" fmla="*/ 1375743 w 4610101"/>
              <a:gd name="connsiteY48148" fmla="*/ 1157933 h 6557032"/>
              <a:gd name="connsiteX48149" fmla="*/ 1381208 w 4610101"/>
              <a:gd name="connsiteY48149" fmla="*/ 1150644 h 6557032"/>
              <a:gd name="connsiteX48150" fmla="*/ 1377564 w 4610101"/>
              <a:gd name="connsiteY48150" fmla="*/ 1170688 h 6557032"/>
              <a:gd name="connsiteX48151" fmla="*/ 1381208 w 4610101"/>
              <a:gd name="connsiteY48151" fmla="*/ 1163399 h 6557032"/>
              <a:gd name="connsiteX48152" fmla="*/ 1381208 w 4610101"/>
              <a:gd name="connsiteY48152" fmla="*/ 1168866 h 6557032"/>
              <a:gd name="connsiteX48153" fmla="*/ 1386676 w 4610101"/>
              <a:gd name="connsiteY48153" fmla="*/ 1161577 h 6557032"/>
              <a:gd name="connsiteX48154" fmla="*/ 1384854 w 4610101"/>
              <a:gd name="connsiteY48154" fmla="*/ 1168866 h 6557032"/>
              <a:gd name="connsiteX48155" fmla="*/ 1379893 w 4610101"/>
              <a:gd name="connsiteY48155" fmla="*/ 1174032 h 6557032"/>
              <a:gd name="connsiteX48156" fmla="*/ 1379386 w 4610101"/>
              <a:gd name="connsiteY48156" fmla="*/ 1172510 h 6557032"/>
              <a:gd name="connsiteX48157" fmla="*/ 1372097 w 4610101"/>
              <a:gd name="connsiteY48157" fmla="*/ 1181621 h 6557032"/>
              <a:gd name="connsiteX48158" fmla="*/ 1379386 w 4610101"/>
              <a:gd name="connsiteY48158" fmla="*/ 1178705 h 6557032"/>
              <a:gd name="connsiteX48159" fmla="*/ 1379386 w 4610101"/>
              <a:gd name="connsiteY48159" fmla="*/ 1181621 h 6557032"/>
              <a:gd name="connsiteX48160" fmla="*/ 1386365 w 4610101"/>
              <a:gd name="connsiteY48160" fmla="*/ 1179682 h 6557032"/>
              <a:gd name="connsiteX48161" fmla="*/ 1379386 w 4610101"/>
              <a:gd name="connsiteY48161" fmla="*/ 1185266 h 6557032"/>
              <a:gd name="connsiteX48162" fmla="*/ 1379386 w 4610101"/>
              <a:gd name="connsiteY48162" fmla="*/ 1187088 h 6557032"/>
              <a:gd name="connsiteX48163" fmla="*/ 1377564 w 4610101"/>
              <a:gd name="connsiteY48163" fmla="*/ 1188910 h 6557032"/>
              <a:gd name="connsiteX48164" fmla="*/ 1379386 w 4610101"/>
              <a:gd name="connsiteY48164" fmla="*/ 1190732 h 6557032"/>
              <a:gd name="connsiteX48165" fmla="*/ 1373920 w 4610101"/>
              <a:gd name="connsiteY48165" fmla="*/ 1199843 h 6557032"/>
              <a:gd name="connsiteX48166" fmla="*/ 1359342 w 4610101"/>
              <a:gd name="connsiteY48166" fmla="*/ 1214420 h 6557032"/>
              <a:gd name="connsiteX48167" fmla="*/ 1373920 w 4610101"/>
              <a:gd name="connsiteY48167" fmla="*/ 1199843 h 6557032"/>
              <a:gd name="connsiteX48168" fmla="*/ 1384854 w 4610101"/>
              <a:gd name="connsiteY48168" fmla="*/ 1190732 h 6557032"/>
              <a:gd name="connsiteX48169" fmla="*/ 1379386 w 4610101"/>
              <a:gd name="connsiteY48169" fmla="*/ 1190732 h 6557032"/>
              <a:gd name="connsiteX48170" fmla="*/ 1384854 w 4610101"/>
              <a:gd name="connsiteY48170" fmla="*/ 1187088 h 6557032"/>
              <a:gd name="connsiteX48171" fmla="*/ 1386676 w 4610101"/>
              <a:gd name="connsiteY48171" fmla="*/ 1188910 h 6557032"/>
              <a:gd name="connsiteX48172" fmla="*/ 1401252 w 4610101"/>
              <a:gd name="connsiteY48172" fmla="*/ 1174332 h 6557032"/>
              <a:gd name="connsiteX48173" fmla="*/ 1406507 w 4610101"/>
              <a:gd name="connsiteY48173" fmla="*/ 1170741 h 6557032"/>
              <a:gd name="connsiteX48174" fmla="*/ 1414918 w 4610101"/>
              <a:gd name="connsiteY48174" fmla="*/ 1164994 h 6557032"/>
              <a:gd name="connsiteX48175" fmla="*/ 1423118 w 4610101"/>
              <a:gd name="connsiteY48175" fmla="*/ 1148822 h 6557032"/>
              <a:gd name="connsiteX48176" fmla="*/ 1421296 w 4610101"/>
              <a:gd name="connsiteY48176" fmla="*/ 1130600 h 6557032"/>
              <a:gd name="connsiteX48177" fmla="*/ 1428585 w 4610101"/>
              <a:gd name="connsiteY48177" fmla="*/ 1136067 h 6557032"/>
              <a:gd name="connsiteX48178" fmla="*/ 1432229 w 4610101"/>
              <a:gd name="connsiteY48178" fmla="*/ 1132422 h 6557032"/>
              <a:gd name="connsiteX48179" fmla="*/ 1426763 w 4610101"/>
              <a:gd name="connsiteY48179" fmla="*/ 1152466 h 6557032"/>
              <a:gd name="connsiteX48180" fmla="*/ 1432229 w 4610101"/>
              <a:gd name="connsiteY48180" fmla="*/ 1152466 h 6557032"/>
              <a:gd name="connsiteX48181" fmla="*/ 1408541 w 4610101"/>
              <a:gd name="connsiteY48181" fmla="*/ 1172510 h 6557032"/>
              <a:gd name="connsiteX48182" fmla="*/ 1408541 w 4610101"/>
              <a:gd name="connsiteY48182" fmla="*/ 1176155 h 6557032"/>
              <a:gd name="connsiteX48183" fmla="*/ 1403074 w 4610101"/>
              <a:gd name="connsiteY48183" fmla="*/ 1177977 h 6557032"/>
              <a:gd name="connsiteX48184" fmla="*/ 1404896 w 4610101"/>
              <a:gd name="connsiteY48184" fmla="*/ 1179799 h 6557032"/>
              <a:gd name="connsiteX48185" fmla="*/ 1388497 w 4610101"/>
              <a:gd name="connsiteY48185" fmla="*/ 1192554 h 6557032"/>
              <a:gd name="connsiteX48186" fmla="*/ 1397089 w 4610101"/>
              <a:gd name="connsiteY48186" fmla="*/ 1188071 h 6557032"/>
              <a:gd name="connsiteX48187" fmla="*/ 1381208 w 4610101"/>
              <a:gd name="connsiteY48187" fmla="*/ 1198021 h 6557032"/>
              <a:gd name="connsiteX48188" fmla="*/ 1381208 w 4610101"/>
              <a:gd name="connsiteY48188" fmla="*/ 1199843 h 6557032"/>
              <a:gd name="connsiteX48189" fmla="*/ 1372097 w 4610101"/>
              <a:gd name="connsiteY48189" fmla="*/ 1207132 h 6557032"/>
              <a:gd name="connsiteX48190" fmla="*/ 1381208 w 4610101"/>
              <a:gd name="connsiteY48190" fmla="*/ 1199843 h 6557032"/>
              <a:gd name="connsiteX48191" fmla="*/ 1381208 w 4610101"/>
              <a:gd name="connsiteY48191" fmla="*/ 1203487 h 6557032"/>
              <a:gd name="connsiteX48192" fmla="*/ 1412185 w 4610101"/>
              <a:gd name="connsiteY48192" fmla="*/ 1196199 h 6557032"/>
              <a:gd name="connsiteX48193" fmla="*/ 1415829 w 4610101"/>
              <a:gd name="connsiteY48193" fmla="*/ 1188910 h 6557032"/>
              <a:gd name="connsiteX48194" fmla="*/ 1417652 w 4610101"/>
              <a:gd name="connsiteY48194" fmla="*/ 1194376 h 6557032"/>
              <a:gd name="connsiteX48195" fmla="*/ 1424940 w 4610101"/>
              <a:gd name="connsiteY48195" fmla="*/ 1179799 h 6557032"/>
              <a:gd name="connsiteX48196" fmla="*/ 1430407 w 4610101"/>
              <a:gd name="connsiteY48196" fmla="*/ 1185266 h 6557032"/>
              <a:gd name="connsiteX48197" fmla="*/ 1434051 w 4610101"/>
              <a:gd name="connsiteY48197" fmla="*/ 1179799 h 6557032"/>
              <a:gd name="connsiteX48198" fmla="*/ 1430407 w 4610101"/>
              <a:gd name="connsiteY48198" fmla="*/ 1190732 h 6557032"/>
              <a:gd name="connsiteX48199" fmla="*/ 1450761 w 4610101"/>
              <a:gd name="connsiteY48199" fmla="*/ 1181827 h 6557032"/>
              <a:gd name="connsiteX48200" fmla="*/ 1452501 w 4610101"/>
              <a:gd name="connsiteY48200" fmla="*/ 1182988 h 6557032"/>
              <a:gd name="connsiteX48201" fmla="*/ 1455917 w 4610101"/>
              <a:gd name="connsiteY48201" fmla="*/ 1181621 h 6557032"/>
              <a:gd name="connsiteX48202" fmla="*/ 1454550 w 4610101"/>
              <a:gd name="connsiteY48202" fmla="*/ 1180938 h 6557032"/>
              <a:gd name="connsiteX48203" fmla="*/ 1451714 w 4610101"/>
              <a:gd name="connsiteY48203" fmla="*/ 1181410 h 6557032"/>
              <a:gd name="connsiteX48204" fmla="*/ 1458158 w 4610101"/>
              <a:gd name="connsiteY48204" fmla="*/ 1178591 h 6557032"/>
              <a:gd name="connsiteX48205" fmla="*/ 1457933 w 4610101"/>
              <a:gd name="connsiteY48205" fmla="*/ 1185112 h 6557032"/>
              <a:gd name="connsiteX48206" fmla="*/ 1457739 w 4610101"/>
              <a:gd name="connsiteY48206" fmla="*/ 1190732 h 6557032"/>
              <a:gd name="connsiteX48207" fmla="*/ 1461384 w 4610101"/>
              <a:gd name="connsiteY48207" fmla="*/ 1188910 h 6557032"/>
              <a:gd name="connsiteX48208" fmla="*/ 1457739 w 4610101"/>
              <a:gd name="connsiteY48208" fmla="*/ 1194376 h 6557032"/>
              <a:gd name="connsiteX48209" fmla="*/ 1492361 w 4610101"/>
              <a:gd name="connsiteY48209" fmla="*/ 1176155 h 6557032"/>
              <a:gd name="connsiteX48210" fmla="*/ 1490734 w 4610101"/>
              <a:gd name="connsiteY48210" fmla="*/ 1179409 h 6557032"/>
              <a:gd name="connsiteX48211" fmla="*/ 1477784 w 4610101"/>
              <a:gd name="connsiteY48211" fmla="*/ 1183443 h 6557032"/>
              <a:gd name="connsiteX48212" fmla="*/ 1477784 w 4610101"/>
              <a:gd name="connsiteY48212" fmla="*/ 1188910 h 6557032"/>
              <a:gd name="connsiteX48213" fmla="*/ 1472317 w 4610101"/>
              <a:gd name="connsiteY48213" fmla="*/ 1196199 h 6557032"/>
              <a:gd name="connsiteX48214" fmla="*/ 1475961 w 4610101"/>
              <a:gd name="connsiteY48214" fmla="*/ 1192554 h 6557032"/>
              <a:gd name="connsiteX48215" fmla="*/ 1475961 w 4610101"/>
              <a:gd name="connsiteY48215" fmla="*/ 1194376 h 6557032"/>
              <a:gd name="connsiteX48216" fmla="*/ 1452273 w 4610101"/>
              <a:gd name="connsiteY48216" fmla="*/ 1208954 h 6557032"/>
              <a:gd name="connsiteX48217" fmla="*/ 1450451 w 4610101"/>
              <a:gd name="connsiteY48217" fmla="*/ 1205309 h 6557032"/>
              <a:gd name="connsiteX48218" fmla="*/ 1412185 w 4610101"/>
              <a:gd name="connsiteY48218" fmla="*/ 1218065 h 6557032"/>
              <a:gd name="connsiteX48219" fmla="*/ 1412185 w 4610101"/>
              <a:gd name="connsiteY48219" fmla="*/ 1220201 h 6557032"/>
              <a:gd name="connsiteX48220" fmla="*/ 1407402 w 4610101"/>
              <a:gd name="connsiteY48220" fmla="*/ 1221026 h 6557032"/>
              <a:gd name="connsiteX48221" fmla="*/ 1399430 w 4610101"/>
              <a:gd name="connsiteY48221" fmla="*/ 1223531 h 6557032"/>
              <a:gd name="connsiteX48222" fmla="*/ 1399430 w 4610101"/>
              <a:gd name="connsiteY48222" fmla="*/ 1225353 h 6557032"/>
              <a:gd name="connsiteX48223" fmla="*/ 1412185 w 4610101"/>
              <a:gd name="connsiteY48223" fmla="*/ 1220570 h 6557032"/>
              <a:gd name="connsiteX48224" fmla="*/ 1412185 w 4610101"/>
              <a:gd name="connsiteY48224" fmla="*/ 1225353 h 6557032"/>
              <a:gd name="connsiteX48225" fmla="*/ 1393963 w 4610101"/>
              <a:gd name="connsiteY48225" fmla="*/ 1234464 h 6557032"/>
              <a:gd name="connsiteX48226" fmla="*/ 1388497 w 4610101"/>
              <a:gd name="connsiteY48226" fmla="*/ 1234464 h 6557032"/>
              <a:gd name="connsiteX48227" fmla="*/ 1390319 w 4610101"/>
              <a:gd name="connsiteY48227" fmla="*/ 1238108 h 6557032"/>
              <a:gd name="connsiteX48228" fmla="*/ 1392141 w 4610101"/>
              <a:gd name="connsiteY48228" fmla="*/ 1236286 h 6557032"/>
              <a:gd name="connsiteX48229" fmla="*/ 1392141 w 4610101"/>
              <a:gd name="connsiteY48229" fmla="*/ 1239931 h 6557032"/>
              <a:gd name="connsiteX48230" fmla="*/ 1406719 w 4610101"/>
              <a:gd name="connsiteY48230" fmla="*/ 1236286 h 6557032"/>
              <a:gd name="connsiteX48231" fmla="*/ 1410363 w 4610101"/>
              <a:gd name="connsiteY48231" fmla="*/ 1238108 h 6557032"/>
              <a:gd name="connsiteX48232" fmla="*/ 1417879 w 4610101"/>
              <a:gd name="connsiteY48232" fmla="*/ 1230820 h 6557032"/>
              <a:gd name="connsiteX48233" fmla="*/ 1419579 w 4610101"/>
              <a:gd name="connsiteY48233" fmla="*/ 1227192 h 6557032"/>
              <a:gd name="connsiteX48234" fmla="*/ 1423422 w 4610101"/>
              <a:gd name="connsiteY48234" fmla="*/ 1227833 h 6557032"/>
              <a:gd name="connsiteX48235" fmla="*/ 1406719 w 4610101"/>
              <a:gd name="connsiteY48235" fmla="*/ 1241753 h 6557032"/>
              <a:gd name="connsiteX48236" fmla="*/ 1437696 w 4610101"/>
              <a:gd name="connsiteY48236" fmla="*/ 1230820 h 6557032"/>
              <a:gd name="connsiteX48237" fmla="*/ 1441340 w 4610101"/>
              <a:gd name="connsiteY48237" fmla="*/ 1225353 h 6557032"/>
              <a:gd name="connsiteX48238" fmla="*/ 1439518 w 4610101"/>
              <a:gd name="connsiteY48238" fmla="*/ 1232642 h 6557032"/>
              <a:gd name="connsiteX48239" fmla="*/ 1446806 w 4610101"/>
              <a:gd name="connsiteY48239" fmla="*/ 1227175 h 6557032"/>
              <a:gd name="connsiteX48240" fmla="*/ 1446806 w 4610101"/>
              <a:gd name="connsiteY48240" fmla="*/ 1230820 h 6557032"/>
              <a:gd name="connsiteX48241" fmla="*/ 1444984 w 4610101"/>
              <a:gd name="connsiteY48241" fmla="*/ 1228998 h 6557032"/>
              <a:gd name="connsiteX48242" fmla="*/ 1443162 w 4610101"/>
              <a:gd name="connsiteY48242" fmla="*/ 1232642 h 6557032"/>
              <a:gd name="connsiteX48243" fmla="*/ 1435873 w 4610101"/>
              <a:gd name="connsiteY48243" fmla="*/ 1234464 h 6557032"/>
              <a:gd name="connsiteX48244" fmla="*/ 1435873 w 4610101"/>
              <a:gd name="connsiteY48244" fmla="*/ 1241753 h 6557032"/>
              <a:gd name="connsiteX48245" fmla="*/ 1446806 w 4610101"/>
              <a:gd name="connsiteY48245" fmla="*/ 1236286 h 6557032"/>
              <a:gd name="connsiteX48246" fmla="*/ 1446806 w 4610101"/>
              <a:gd name="connsiteY48246" fmla="*/ 1241753 h 6557032"/>
              <a:gd name="connsiteX48247" fmla="*/ 1417652 w 4610101"/>
              <a:gd name="connsiteY48247" fmla="*/ 1247219 h 6557032"/>
              <a:gd name="connsiteX48248" fmla="*/ 1417652 w 4610101"/>
              <a:gd name="connsiteY48248" fmla="*/ 1250864 h 6557032"/>
              <a:gd name="connsiteX48249" fmla="*/ 1415829 w 4610101"/>
              <a:gd name="connsiteY48249" fmla="*/ 1247219 h 6557032"/>
              <a:gd name="connsiteX48250" fmla="*/ 1410363 w 4610101"/>
              <a:gd name="connsiteY48250" fmla="*/ 1247219 h 6557032"/>
              <a:gd name="connsiteX48251" fmla="*/ 1408541 w 4610101"/>
              <a:gd name="connsiteY48251" fmla="*/ 1245397 h 6557032"/>
              <a:gd name="connsiteX48252" fmla="*/ 1370275 w 4610101"/>
              <a:gd name="connsiteY48252" fmla="*/ 1245397 h 6557032"/>
              <a:gd name="connsiteX48253" fmla="*/ 1375743 w 4610101"/>
              <a:gd name="connsiteY48253" fmla="*/ 1250864 h 6557032"/>
              <a:gd name="connsiteX48254" fmla="*/ 1372097 w 4610101"/>
              <a:gd name="connsiteY48254" fmla="*/ 1252686 h 6557032"/>
              <a:gd name="connsiteX48255" fmla="*/ 1372097 w 4610101"/>
              <a:gd name="connsiteY48255" fmla="*/ 1249042 h 6557032"/>
              <a:gd name="connsiteX48256" fmla="*/ 1361164 w 4610101"/>
              <a:gd name="connsiteY48256" fmla="*/ 1254508 h 6557032"/>
              <a:gd name="connsiteX48257" fmla="*/ 1370275 w 4610101"/>
              <a:gd name="connsiteY48257" fmla="*/ 1254508 h 6557032"/>
              <a:gd name="connsiteX48258" fmla="*/ 1344765 w 4610101"/>
              <a:gd name="connsiteY48258" fmla="*/ 1258152 h 6557032"/>
              <a:gd name="connsiteX48259" fmla="*/ 1342942 w 4610101"/>
              <a:gd name="connsiteY48259" fmla="*/ 1252686 h 6557032"/>
              <a:gd name="connsiteX48260" fmla="*/ 1328034 w 4610101"/>
              <a:gd name="connsiteY48260" fmla="*/ 1260140 h 6557032"/>
              <a:gd name="connsiteX48261" fmla="*/ 1326543 w 4610101"/>
              <a:gd name="connsiteY48261" fmla="*/ 1252686 h 6557032"/>
              <a:gd name="connsiteX48262" fmla="*/ 1321077 w 4610101"/>
              <a:gd name="connsiteY48262" fmla="*/ 1259975 h 6557032"/>
              <a:gd name="connsiteX48263" fmla="*/ 1324721 w 4610101"/>
              <a:gd name="connsiteY48263" fmla="*/ 1261797 h 6557032"/>
              <a:gd name="connsiteX48264" fmla="*/ 1325326 w 4610101"/>
              <a:gd name="connsiteY48264" fmla="*/ 1270475 h 6557032"/>
              <a:gd name="connsiteX48265" fmla="*/ 1320165 w 4610101"/>
              <a:gd name="connsiteY48265" fmla="*/ 1276374 h 6557032"/>
              <a:gd name="connsiteX48266" fmla="*/ 1319254 w 4610101"/>
              <a:gd name="connsiteY48266" fmla="*/ 1283663 h 6557032"/>
              <a:gd name="connsiteX48267" fmla="*/ 1324948 w 4610101"/>
              <a:gd name="connsiteY48267" fmla="*/ 1279107 h 6557032"/>
              <a:gd name="connsiteX48268" fmla="*/ 1325148 w 4610101"/>
              <a:gd name="connsiteY48268" fmla="*/ 1277854 h 6557032"/>
              <a:gd name="connsiteX48269" fmla="*/ 1327769 w 4610101"/>
              <a:gd name="connsiteY48269" fmla="*/ 1275758 h 6557032"/>
              <a:gd name="connsiteX48270" fmla="*/ 1329708 w 4610101"/>
              <a:gd name="connsiteY48270" fmla="*/ 1279174 h 6557032"/>
              <a:gd name="connsiteX48271" fmla="*/ 1324721 w 4610101"/>
              <a:gd name="connsiteY48271" fmla="*/ 1283663 h 6557032"/>
              <a:gd name="connsiteX48272" fmla="*/ 1332009 w 4610101"/>
              <a:gd name="connsiteY48272" fmla="*/ 1280018 h 6557032"/>
              <a:gd name="connsiteX48273" fmla="*/ 1332579 w 4610101"/>
              <a:gd name="connsiteY48273" fmla="*/ 1281158 h 6557032"/>
              <a:gd name="connsiteX48274" fmla="*/ 1333089 w 4610101"/>
              <a:gd name="connsiteY48274" fmla="*/ 1283663 h 6557032"/>
              <a:gd name="connsiteX48275" fmla="*/ 1333832 w 4610101"/>
              <a:gd name="connsiteY48275" fmla="*/ 1287307 h 6557032"/>
              <a:gd name="connsiteX48276" fmla="*/ 1332009 w 4610101"/>
              <a:gd name="connsiteY48276" fmla="*/ 1287307 h 6557032"/>
              <a:gd name="connsiteX48277" fmla="*/ 1330188 w 4610101"/>
              <a:gd name="connsiteY48277" fmla="*/ 1294596 h 6557032"/>
              <a:gd name="connsiteX48278" fmla="*/ 1333832 w 4610101"/>
              <a:gd name="connsiteY48278" fmla="*/ 1294596 h 6557032"/>
              <a:gd name="connsiteX48279" fmla="*/ 1337476 w 4610101"/>
              <a:gd name="connsiteY48279" fmla="*/ 1283663 h 6557032"/>
              <a:gd name="connsiteX48280" fmla="*/ 1335654 w 4610101"/>
              <a:gd name="connsiteY48280" fmla="*/ 1294596 h 6557032"/>
              <a:gd name="connsiteX48281" fmla="*/ 1339546 w 4610101"/>
              <a:gd name="connsiteY48281" fmla="*/ 1294596 h 6557032"/>
              <a:gd name="connsiteX48282" fmla="*/ 1337476 w 4610101"/>
              <a:gd name="connsiteY48282" fmla="*/ 1298240 h 6557032"/>
              <a:gd name="connsiteX48283" fmla="*/ 1341120 w 4610101"/>
              <a:gd name="connsiteY48283" fmla="*/ 1310995 h 6557032"/>
              <a:gd name="connsiteX48284" fmla="*/ 1341120 w 4610101"/>
              <a:gd name="connsiteY48284" fmla="*/ 1300062 h 6557032"/>
              <a:gd name="connsiteX48285" fmla="*/ 1344765 w 4610101"/>
              <a:gd name="connsiteY48285" fmla="*/ 1301885 h 6557032"/>
              <a:gd name="connsiteX48286" fmla="*/ 1345044 w 4610101"/>
              <a:gd name="connsiteY48286" fmla="*/ 1299697 h 6557032"/>
              <a:gd name="connsiteX48287" fmla="*/ 1346587 w 4610101"/>
              <a:gd name="connsiteY48287" fmla="*/ 1309173 h 6557032"/>
              <a:gd name="connsiteX48288" fmla="*/ 1342942 w 4610101"/>
              <a:gd name="connsiteY48288" fmla="*/ 1312818 h 6557032"/>
              <a:gd name="connsiteX48289" fmla="*/ 1350231 w 4610101"/>
              <a:gd name="connsiteY48289" fmla="*/ 1307351 h 6557032"/>
              <a:gd name="connsiteX48290" fmla="*/ 1348410 w 4610101"/>
              <a:gd name="connsiteY48290" fmla="*/ 1300062 h 6557032"/>
              <a:gd name="connsiteX48291" fmla="*/ 1352053 w 4610101"/>
              <a:gd name="connsiteY48291" fmla="*/ 1303707 h 6557032"/>
              <a:gd name="connsiteX48292" fmla="*/ 1353876 w 4610101"/>
              <a:gd name="connsiteY48292" fmla="*/ 1292774 h 6557032"/>
              <a:gd name="connsiteX48293" fmla="*/ 1359342 w 4610101"/>
              <a:gd name="connsiteY48293" fmla="*/ 1292774 h 6557032"/>
              <a:gd name="connsiteX48294" fmla="*/ 1357521 w 4610101"/>
              <a:gd name="connsiteY48294" fmla="*/ 1305529 h 6557032"/>
              <a:gd name="connsiteX48295" fmla="*/ 1355698 w 4610101"/>
              <a:gd name="connsiteY48295" fmla="*/ 1303707 h 6557032"/>
              <a:gd name="connsiteX48296" fmla="*/ 1355881 w 4610101"/>
              <a:gd name="connsiteY48296" fmla="*/ 1307364 h 6557032"/>
              <a:gd name="connsiteX48297" fmla="*/ 1355698 w 4610101"/>
              <a:gd name="connsiteY48297" fmla="*/ 1307351 h 6557032"/>
              <a:gd name="connsiteX48298" fmla="*/ 1355885 w 4610101"/>
              <a:gd name="connsiteY48298" fmla="*/ 1307444 h 6557032"/>
              <a:gd name="connsiteX48299" fmla="*/ 1355926 w 4610101"/>
              <a:gd name="connsiteY48299" fmla="*/ 1308262 h 6557032"/>
              <a:gd name="connsiteX48300" fmla="*/ 1357521 w 4610101"/>
              <a:gd name="connsiteY48300" fmla="*/ 1312818 h 6557032"/>
              <a:gd name="connsiteX48301" fmla="*/ 1375743 w 4610101"/>
              <a:gd name="connsiteY48301" fmla="*/ 1285485 h 6557032"/>
              <a:gd name="connsiteX48302" fmla="*/ 1377564 w 4610101"/>
              <a:gd name="connsiteY48302" fmla="*/ 1280018 h 6557032"/>
              <a:gd name="connsiteX48303" fmla="*/ 1372097 w 4610101"/>
              <a:gd name="connsiteY48303" fmla="*/ 1309173 h 6557032"/>
              <a:gd name="connsiteX48304" fmla="*/ 1381208 w 4610101"/>
              <a:gd name="connsiteY48304" fmla="*/ 1298240 h 6557032"/>
              <a:gd name="connsiteX48305" fmla="*/ 1379386 w 4610101"/>
              <a:gd name="connsiteY48305" fmla="*/ 1307351 h 6557032"/>
              <a:gd name="connsiteX48306" fmla="*/ 1379386 w 4610101"/>
              <a:gd name="connsiteY48306" fmla="*/ 1290951 h 6557032"/>
              <a:gd name="connsiteX48307" fmla="*/ 1383030 w 4610101"/>
              <a:gd name="connsiteY48307" fmla="*/ 1285485 h 6557032"/>
              <a:gd name="connsiteX48308" fmla="*/ 1388497 w 4610101"/>
              <a:gd name="connsiteY48308" fmla="*/ 1296418 h 6557032"/>
              <a:gd name="connsiteX48309" fmla="*/ 1388497 w 4610101"/>
              <a:gd name="connsiteY48309" fmla="*/ 1280018 h 6557032"/>
              <a:gd name="connsiteX48310" fmla="*/ 1390319 w 4610101"/>
              <a:gd name="connsiteY48310" fmla="*/ 1296418 h 6557032"/>
              <a:gd name="connsiteX48311" fmla="*/ 1408541 w 4610101"/>
              <a:gd name="connsiteY48311" fmla="*/ 1256330 h 6557032"/>
              <a:gd name="connsiteX48312" fmla="*/ 1404896 w 4610101"/>
              <a:gd name="connsiteY48312" fmla="*/ 1285485 h 6557032"/>
              <a:gd name="connsiteX48313" fmla="*/ 1406116 w 4610101"/>
              <a:gd name="connsiteY48313" fmla="*/ 1283830 h 6557032"/>
              <a:gd name="connsiteX48314" fmla="*/ 1395787 w 4610101"/>
              <a:gd name="connsiteY48314" fmla="*/ 1300062 h 6557032"/>
              <a:gd name="connsiteX48315" fmla="*/ 1404896 w 4610101"/>
              <a:gd name="connsiteY48315" fmla="*/ 1296418 h 6557032"/>
              <a:gd name="connsiteX48316" fmla="*/ 1388497 w 4610101"/>
              <a:gd name="connsiteY48316" fmla="*/ 1305529 h 6557032"/>
              <a:gd name="connsiteX48317" fmla="*/ 1390319 w 4610101"/>
              <a:gd name="connsiteY48317" fmla="*/ 1307351 h 6557032"/>
              <a:gd name="connsiteX48318" fmla="*/ 1375743 w 4610101"/>
              <a:gd name="connsiteY48318" fmla="*/ 1314640 h 6557032"/>
              <a:gd name="connsiteX48319" fmla="*/ 1384854 w 4610101"/>
              <a:gd name="connsiteY48319" fmla="*/ 1316462 h 6557032"/>
              <a:gd name="connsiteX48320" fmla="*/ 1373920 w 4610101"/>
              <a:gd name="connsiteY48320" fmla="*/ 1314640 h 6557032"/>
              <a:gd name="connsiteX48321" fmla="*/ 1370275 w 4610101"/>
              <a:gd name="connsiteY48321" fmla="*/ 1314640 h 6557032"/>
              <a:gd name="connsiteX48322" fmla="*/ 1366632 w 4610101"/>
              <a:gd name="connsiteY48322" fmla="*/ 1316462 h 6557032"/>
              <a:gd name="connsiteX48323" fmla="*/ 1377564 w 4610101"/>
              <a:gd name="connsiteY48323" fmla="*/ 1318284 h 6557032"/>
              <a:gd name="connsiteX48324" fmla="*/ 1368453 w 4610101"/>
              <a:gd name="connsiteY48324" fmla="*/ 1318284 h 6557032"/>
              <a:gd name="connsiteX48325" fmla="*/ 1366632 w 4610101"/>
              <a:gd name="connsiteY48325" fmla="*/ 1320106 h 6557032"/>
              <a:gd name="connsiteX48326" fmla="*/ 1368453 w 4610101"/>
              <a:gd name="connsiteY48326" fmla="*/ 1321929 h 6557032"/>
              <a:gd name="connsiteX48327" fmla="*/ 1359342 w 4610101"/>
              <a:gd name="connsiteY48327" fmla="*/ 1323751 h 6557032"/>
              <a:gd name="connsiteX48328" fmla="*/ 1355698 w 4610101"/>
              <a:gd name="connsiteY48328" fmla="*/ 1318284 h 6557032"/>
              <a:gd name="connsiteX48329" fmla="*/ 1350231 w 4610101"/>
              <a:gd name="connsiteY48329" fmla="*/ 1321929 h 6557032"/>
              <a:gd name="connsiteX48330" fmla="*/ 1335654 w 4610101"/>
              <a:gd name="connsiteY48330" fmla="*/ 1316462 h 6557032"/>
              <a:gd name="connsiteX48331" fmla="*/ 1332009 w 4610101"/>
              <a:gd name="connsiteY48331" fmla="*/ 1320106 h 6557032"/>
              <a:gd name="connsiteX48332" fmla="*/ 1328365 w 4610101"/>
              <a:gd name="connsiteY48332" fmla="*/ 1320106 h 6557032"/>
              <a:gd name="connsiteX48333" fmla="*/ 1321077 w 4610101"/>
              <a:gd name="connsiteY48333" fmla="*/ 1318284 h 6557032"/>
              <a:gd name="connsiteX48334" fmla="*/ 1280989 w 4610101"/>
              <a:gd name="connsiteY48334" fmla="*/ 1309173 h 6557032"/>
              <a:gd name="connsiteX48335" fmla="*/ 1280989 w 4610101"/>
              <a:gd name="connsiteY48335" fmla="*/ 1305529 h 6557032"/>
              <a:gd name="connsiteX48336" fmla="*/ 1275522 w 4610101"/>
              <a:gd name="connsiteY48336" fmla="*/ 1305529 h 6557032"/>
              <a:gd name="connsiteX48337" fmla="*/ 1255478 w 4610101"/>
              <a:gd name="connsiteY48337" fmla="*/ 1309173 h 6557032"/>
              <a:gd name="connsiteX48338" fmla="*/ 1255478 w 4610101"/>
              <a:gd name="connsiteY48338" fmla="*/ 1323751 h 6557032"/>
              <a:gd name="connsiteX48339" fmla="*/ 1255478 w 4610101"/>
              <a:gd name="connsiteY48339" fmla="*/ 1343795 h 6557032"/>
              <a:gd name="connsiteX48340" fmla="*/ 1255953 w 4610101"/>
              <a:gd name="connsiteY48340" fmla="*/ 1341576 h 6557032"/>
              <a:gd name="connsiteX48341" fmla="*/ 1256846 w 4610101"/>
              <a:gd name="connsiteY48341" fmla="*/ 1344250 h 6557032"/>
              <a:gd name="connsiteX48342" fmla="*/ 1257606 w 4610101"/>
              <a:gd name="connsiteY48342" fmla="*/ 1344504 h 6557032"/>
              <a:gd name="connsiteX48343" fmla="*/ 1257300 w 4610101"/>
              <a:gd name="connsiteY48343" fmla="*/ 1347439 h 6557032"/>
              <a:gd name="connsiteX48344" fmla="*/ 1264589 w 4610101"/>
              <a:gd name="connsiteY48344" fmla="*/ 1347439 h 6557032"/>
              <a:gd name="connsiteX48345" fmla="*/ 1260945 w 4610101"/>
              <a:gd name="connsiteY48345" fmla="*/ 1351083 h 6557032"/>
              <a:gd name="connsiteX48346" fmla="*/ 1266411 w 4610101"/>
              <a:gd name="connsiteY48346" fmla="*/ 1356550 h 6557032"/>
              <a:gd name="connsiteX48347" fmla="*/ 1253656 w 4610101"/>
              <a:gd name="connsiteY48347" fmla="*/ 1354728 h 6557032"/>
              <a:gd name="connsiteX48348" fmla="*/ 1259123 w 4610101"/>
              <a:gd name="connsiteY48348" fmla="*/ 1360194 h 6557032"/>
              <a:gd name="connsiteX48349" fmla="*/ 1253656 w 4610101"/>
              <a:gd name="connsiteY48349" fmla="*/ 1358372 h 6557032"/>
              <a:gd name="connsiteX48350" fmla="*/ 1253656 w 4610101"/>
              <a:gd name="connsiteY48350" fmla="*/ 1362016 h 6557032"/>
              <a:gd name="connsiteX48351" fmla="*/ 1251834 w 4610101"/>
              <a:gd name="connsiteY48351" fmla="*/ 1354728 h 6557032"/>
              <a:gd name="connsiteX48352" fmla="*/ 1248189 w 4610101"/>
              <a:gd name="connsiteY48352" fmla="*/ 1356550 h 6557032"/>
              <a:gd name="connsiteX48353" fmla="*/ 1246367 w 4610101"/>
              <a:gd name="connsiteY48353" fmla="*/ 1351083 h 6557032"/>
              <a:gd name="connsiteX48354" fmla="*/ 1226323 w 4610101"/>
              <a:gd name="connsiteY48354" fmla="*/ 1349261 h 6557032"/>
              <a:gd name="connsiteX48355" fmla="*/ 1213568 w 4610101"/>
              <a:gd name="connsiteY48355" fmla="*/ 1341972 h 6557032"/>
              <a:gd name="connsiteX48356" fmla="*/ 1202636 w 4610101"/>
              <a:gd name="connsiteY48356" fmla="*/ 1336506 h 6557032"/>
              <a:gd name="connsiteX48357" fmla="*/ 1200814 w 4610101"/>
              <a:gd name="connsiteY48357" fmla="*/ 1336506 h 6557032"/>
              <a:gd name="connsiteX48358" fmla="*/ 1189880 w 4610101"/>
              <a:gd name="connsiteY48358" fmla="*/ 1325573 h 6557032"/>
              <a:gd name="connsiteX48359" fmla="*/ 1189880 w 4610101"/>
              <a:gd name="connsiteY48359" fmla="*/ 1327395 h 6557032"/>
              <a:gd name="connsiteX48360" fmla="*/ 1180769 w 4610101"/>
              <a:gd name="connsiteY48360" fmla="*/ 1325573 h 6557032"/>
              <a:gd name="connsiteX48361" fmla="*/ 1177125 w 4610101"/>
              <a:gd name="connsiteY48361" fmla="*/ 1325573 h 6557032"/>
              <a:gd name="connsiteX48362" fmla="*/ 1178947 w 4610101"/>
              <a:gd name="connsiteY48362" fmla="*/ 1331039 h 6557032"/>
              <a:gd name="connsiteX48363" fmla="*/ 1175303 w 4610101"/>
              <a:gd name="connsiteY48363" fmla="*/ 1331039 h 6557032"/>
              <a:gd name="connsiteX48364" fmla="*/ 1158903 w 4610101"/>
              <a:gd name="connsiteY48364" fmla="*/ 1320106 h 6557032"/>
              <a:gd name="connsiteX48365" fmla="*/ 1149792 w 4610101"/>
              <a:gd name="connsiteY48365" fmla="*/ 1331039 h 6557032"/>
              <a:gd name="connsiteX48366" fmla="*/ 1164370 w 4610101"/>
              <a:gd name="connsiteY48366" fmla="*/ 1378416 h 6557032"/>
              <a:gd name="connsiteX48367" fmla="*/ 1166192 w 4610101"/>
              <a:gd name="connsiteY48367" fmla="*/ 1374771 h 6557032"/>
              <a:gd name="connsiteX48368" fmla="*/ 1171658 w 4610101"/>
              <a:gd name="connsiteY48368" fmla="*/ 1392993 h 6557032"/>
              <a:gd name="connsiteX48369" fmla="*/ 1176404 w 4610101"/>
              <a:gd name="connsiteY48369" fmla="*/ 1403671 h 6557032"/>
              <a:gd name="connsiteX48370" fmla="*/ 1168014 w 4610101"/>
              <a:gd name="connsiteY48370" fmla="*/ 1392993 h 6557032"/>
              <a:gd name="connsiteX48371" fmla="*/ 1169836 w 4610101"/>
              <a:gd name="connsiteY48371" fmla="*/ 1391171 h 6557032"/>
              <a:gd name="connsiteX48372" fmla="*/ 1164370 w 4610101"/>
              <a:gd name="connsiteY48372" fmla="*/ 1385705 h 6557032"/>
              <a:gd name="connsiteX48373" fmla="*/ 1165054 w 4610101"/>
              <a:gd name="connsiteY48373" fmla="*/ 1390716 h 6557032"/>
              <a:gd name="connsiteX48374" fmla="*/ 1164370 w 4610101"/>
              <a:gd name="connsiteY48374" fmla="*/ 1398460 h 6557032"/>
              <a:gd name="connsiteX48375" fmla="*/ 1162547 w 4610101"/>
              <a:gd name="connsiteY48375" fmla="*/ 1400282 h 6557032"/>
              <a:gd name="connsiteX48376" fmla="*/ 1171771 w 4610101"/>
              <a:gd name="connsiteY48376" fmla="*/ 1414004 h 6557032"/>
              <a:gd name="connsiteX48377" fmla="*/ 1169836 w 4610101"/>
              <a:gd name="connsiteY48377" fmla="*/ 1413037 h 6557032"/>
              <a:gd name="connsiteX48378" fmla="*/ 1170255 w 4610101"/>
              <a:gd name="connsiteY48378" fmla="*/ 1419727 h 6557032"/>
              <a:gd name="connsiteX48379" fmla="*/ 1166192 w 4610101"/>
              <a:gd name="connsiteY48379" fmla="*/ 1411215 h 6557032"/>
              <a:gd name="connsiteX48380" fmla="*/ 1171658 w 4610101"/>
              <a:gd name="connsiteY48380" fmla="*/ 1431259 h 6557032"/>
              <a:gd name="connsiteX48381" fmla="*/ 1171027 w 4610101"/>
              <a:gd name="connsiteY48381" fmla="*/ 1422008 h 6557032"/>
              <a:gd name="connsiteX48382" fmla="*/ 1173481 w 4610101"/>
              <a:gd name="connsiteY48382" fmla="*/ 1427615 h 6557032"/>
              <a:gd name="connsiteX48383" fmla="*/ 1184414 w 4610101"/>
              <a:gd name="connsiteY48383" fmla="*/ 1420326 h 6557032"/>
              <a:gd name="connsiteX48384" fmla="*/ 1172376 w 4610101"/>
              <a:gd name="connsiteY48384" fmla="*/ 1414307 h 6557032"/>
              <a:gd name="connsiteX48385" fmla="*/ 1188058 w 4610101"/>
              <a:gd name="connsiteY48385" fmla="*/ 1418504 h 6557032"/>
              <a:gd name="connsiteX48386" fmla="*/ 1187067 w 4610101"/>
              <a:gd name="connsiteY48386" fmla="*/ 1417241 h 6557032"/>
              <a:gd name="connsiteX48387" fmla="*/ 1189880 w 4610101"/>
              <a:gd name="connsiteY48387" fmla="*/ 1420326 h 6557032"/>
              <a:gd name="connsiteX48388" fmla="*/ 1202636 w 4610101"/>
              <a:gd name="connsiteY48388" fmla="*/ 1409393 h 6557032"/>
              <a:gd name="connsiteX48389" fmla="*/ 1204457 w 4610101"/>
              <a:gd name="connsiteY48389" fmla="*/ 1411215 h 6557032"/>
              <a:gd name="connsiteX48390" fmla="*/ 1217213 w 4610101"/>
              <a:gd name="connsiteY48390" fmla="*/ 1405748 h 6557032"/>
              <a:gd name="connsiteX48391" fmla="*/ 1208102 w 4610101"/>
              <a:gd name="connsiteY48391" fmla="*/ 1413037 h 6557032"/>
              <a:gd name="connsiteX48392" fmla="*/ 1193525 w 4610101"/>
              <a:gd name="connsiteY48392" fmla="*/ 1423970 h 6557032"/>
              <a:gd name="connsiteX48393" fmla="*/ 1202636 w 4610101"/>
              <a:gd name="connsiteY48393" fmla="*/ 1416681 h 6557032"/>
              <a:gd name="connsiteX48394" fmla="*/ 1204457 w 4610101"/>
              <a:gd name="connsiteY48394" fmla="*/ 1420326 h 6557032"/>
              <a:gd name="connsiteX48395" fmla="*/ 1211747 w 4610101"/>
              <a:gd name="connsiteY48395" fmla="*/ 1418504 h 6557032"/>
              <a:gd name="connsiteX48396" fmla="*/ 1200814 w 4610101"/>
              <a:gd name="connsiteY48396" fmla="*/ 1422148 h 6557032"/>
              <a:gd name="connsiteX48397" fmla="*/ 1202636 w 4610101"/>
              <a:gd name="connsiteY48397" fmla="*/ 1431259 h 6557032"/>
              <a:gd name="connsiteX48398" fmla="*/ 1188058 w 4610101"/>
              <a:gd name="connsiteY48398" fmla="*/ 1425792 h 6557032"/>
              <a:gd name="connsiteX48399" fmla="*/ 1177125 w 4610101"/>
              <a:gd name="connsiteY48399" fmla="*/ 1433081 h 6557032"/>
              <a:gd name="connsiteX48400" fmla="*/ 1182592 w 4610101"/>
              <a:gd name="connsiteY48400" fmla="*/ 1440370 h 6557032"/>
              <a:gd name="connsiteX48401" fmla="*/ 1178947 w 4610101"/>
              <a:gd name="connsiteY48401" fmla="*/ 1438548 h 6557032"/>
              <a:gd name="connsiteX48402" fmla="*/ 1180769 w 4610101"/>
              <a:gd name="connsiteY48402" fmla="*/ 1447658 h 6557032"/>
              <a:gd name="connsiteX48403" fmla="*/ 1182592 w 4610101"/>
              <a:gd name="connsiteY48403" fmla="*/ 1440370 h 6557032"/>
              <a:gd name="connsiteX48404" fmla="*/ 1197169 w 4610101"/>
              <a:gd name="connsiteY48404" fmla="*/ 1433081 h 6557032"/>
              <a:gd name="connsiteX48405" fmla="*/ 1195346 w 4610101"/>
              <a:gd name="connsiteY48405" fmla="*/ 1429437 h 6557032"/>
              <a:gd name="connsiteX48406" fmla="*/ 1198991 w 4610101"/>
              <a:gd name="connsiteY48406" fmla="*/ 1429437 h 6557032"/>
              <a:gd name="connsiteX48407" fmla="*/ 1202636 w 4610101"/>
              <a:gd name="connsiteY48407" fmla="*/ 1434903 h 6557032"/>
              <a:gd name="connsiteX48408" fmla="*/ 1195346 w 4610101"/>
              <a:gd name="connsiteY48408" fmla="*/ 1440370 h 6557032"/>
              <a:gd name="connsiteX48409" fmla="*/ 1198991 w 4610101"/>
              <a:gd name="connsiteY48409" fmla="*/ 1442192 h 6557032"/>
              <a:gd name="connsiteX48410" fmla="*/ 1186236 w 4610101"/>
              <a:gd name="connsiteY48410" fmla="*/ 1442192 h 6557032"/>
              <a:gd name="connsiteX48411" fmla="*/ 1197169 w 4610101"/>
              <a:gd name="connsiteY48411" fmla="*/ 1445836 h 6557032"/>
              <a:gd name="connsiteX48412" fmla="*/ 1209925 w 4610101"/>
              <a:gd name="connsiteY48412" fmla="*/ 1456769 h 6557032"/>
              <a:gd name="connsiteX48413" fmla="*/ 1209925 w 4610101"/>
              <a:gd name="connsiteY48413" fmla="*/ 1451303 h 6557032"/>
              <a:gd name="connsiteX48414" fmla="*/ 1211747 w 4610101"/>
              <a:gd name="connsiteY48414" fmla="*/ 1458592 h 6557032"/>
              <a:gd name="connsiteX48415" fmla="*/ 1213568 w 4610101"/>
              <a:gd name="connsiteY48415" fmla="*/ 1458592 h 6557032"/>
              <a:gd name="connsiteX48416" fmla="*/ 1215390 w 4610101"/>
              <a:gd name="connsiteY48416" fmla="*/ 1462236 h 6557032"/>
              <a:gd name="connsiteX48417" fmla="*/ 1213568 w 4610101"/>
              <a:gd name="connsiteY48417" fmla="*/ 1471347 h 6557032"/>
              <a:gd name="connsiteX48418" fmla="*/ 1213568 w 4610101"/>
              <a:gd name="connsiteY48418" fmla="*/ 1476813 h 6557032"/>
              <a:gd name="connsiteX48419" fmla="*/ 1215618 w 4610101"/>
              <a:gd name="connsiteY48419" fmla="*/ 1474080 h 6557032"/>
              <a:gd name="connsiteX48420" fmla="*/ 1214769 w 4610101"/>
              <a:gd name="connsiteY48420" fmla="*/ 1472947 h 6557032"/>
              <a:gd name="connsiteX48421" fmla="*/ 1217213 w 4610101"/>
              <a:gd name="connsiteY48421" fmla="*/ 1473169 h 6557032"/>
              <a:gd name="connsiteX48422" fmla="*/ 1220858 w 4610101"/>
              <a:gd name="connsiteY48422" fmla="*/ 1482280 h 6557032"/>
              <a:gd name="connsiteX48423" fmla="*/ 1209925 w 4610101"/>
              <a:gd name="connsiteY48423" fmla="*/ 1493213 h 6557032"/>
              <a:gd name="connsiteX48424" fmla="*/ 1224501 w 4610101"/>
              <a:gd name="connsiteY48424" fmla="*/ 1493213 h 6557032"/>
              <a:gd name="connsiteX48425" fmla="*/ 1224501 w 4610101"/>
              <a:gd name="connsiteY48425" fmla="*/ 1498679 h 6557032"/>
              <a:gd name="connsiteX48426" fmla="*/ 1220858 w 4610101"/>
              <a:gd name="connsiteY48426" fmla="*/ 1498679 h 6557032"/>
              <a:gd name="connsiteX48427" fmla="*/ 1228146 w 4610101"/>
              <a:gd name="connsiteY48427" fmla="*/ 1502324 h 6557032"/>
              <a:gd name="connsiteX48428" fmla="*/ 1215390 w 4610101"/>
              <a:gd name="connsiteY48428" fmla="*/ 1498679 h 6557032"/>
              <a:gd name="connsiteX48429" fmla="*/ 1231790 w 4610101"/>
              <a:gd name="connsiteY48429" fmla="*/ 1509612 h 6557032"/>
              <a:gd name="connsiteX48430" fmla="*/ 1215390 w 4610101"/>
              <a:gd name="connsiteY48430" fmla="*/ 1502324 h 6557032"/>
              <a:gd name="connsiteX48431" fmla="*/ 1219036 w 4610101"/>
              <a:gd name="connsiteY48431" fmla="*/ 1507790 h 6557032"/>
              <a:gd name="connsiteX48432" fmla="*/ 1219036 w 4610101"/>
              <a:gd name="connsiteY48432" fmla="*/ 1504146 h 6557032"/>
              <a:gd name="connsiteX48433" fmla="*/ 1231790 w 4610101"/>
              <a:gd name="connsiteY48433" fmla="*/ 1511434 h 6557032"/>
              <a:gd name="connsiteX48434" fmla="*/ 1220858 w 4610101"/>
              <a:gd name="connsiteY48434" fmla="*/ 1511434 h 6557032"/>
              <a:gd name="connsiteX48435" fmla="*/ 1226323 w 4610101"/>
              <a:gd name="connsiteY48435" fmla="*/ 1527834 h 6557032"/>
              <a:gd name="connsiteX48436" fmla="*/ 1233612 w 4610101"/>
              <a:gd name="connsiteY48436" fmla="*/ 1526012 h 6557032"/>
              <a:gd name="connsiteX48437" fmla="*/ 1224501 w 4610101"/>
              <a:gd name="connsiteY48437" fmla="*/ 1529656 h 6557032"/>
              <a:gd name="connsiteX48438" fmla="*/ 1222679 w 4610101"/>
              <a:gd name="connsiteY48438" fmla="*/ 1535123 h 6557032"/>
              <a:gd name="connsiteX48439" fmla="*/ 1244545 w 4610101"/>
              <a:gd name="connsiteY48439" fmla="*/ 1569744 h 6557032"/>
              <a:gd name="connsiteX48440" fmla="*/ 1251834 w 4610101"/>
              <a:gd name="connsiteY48440" fmla="*/ 1560633 h 6557032"/>
              <a:gd name="connsiteX48441" fmla="*/ 1251663 w 4610101"/>
              <a:gd name="connsiteY48441" fmla="*/ 1563544 h 6557032"/>
              <a:gd name="connsiteX48442" fmla="*/ 1250012 w 4610101"/>
              <a:gd name="connsiteY48442" fmla="*/ 1564278 h 6557032"/>
              <a:gd name="connsiteX48443" fmla="*/ 1251154 w 4610101"/>
              <a:gd name="connsiteY48443" fmla="*/ 1565991 h 6557032"/>
              <a:gd name="connsiteX48444" fmla="*/ 1250012 w 4610101"/>
              <a:gd name="connsiteY48444" fmla="*/ 1569744 h 6557032"/>
              <a:gd name="connsiteX48445" fmla="*/ 1253656 w 4610101"/>
              <a:gd name="connsiteY48445" fmla="*/ 1578855 h 6557032"/>
              <a:gd name="connsiteX48446" fmla="*/ 1259123 w 4610101"/>
              <a:gd name="connsiteY48446" fmla="*/ 1578855 h 6557032"/>
              <a:gd name="connsiteX48447" fmla="*/ 1264589 w 4610101"/>
              <a:gd name="connsiteY48447" fmla="*/ 1586144 h 6557032"/>
              <a:gd name="connsiteX48448" fmla="*/ 1266411 w 4610101"/>
              <a:gd name="connsiteY48448" fmla="*/ 1582499 h 6557032"/>
              <a:gd name="connsiteX48449" fmla="*/ 1268233 w 4610101"/>
              <a:gd name="connsiteY48449" fmla="*/ 1586144 h 6557032"/>
              <a:gd name="connsiteX48450" fmla="*/ 1275522 w 4610101"/>
              <a:gd name="connsiteY48450" fmla="*/ 1586144 h 6557032"/>
              <a:gd name="connsiteX48451" fmla="*/ 1273700 w 4610101"/>
              <a:gd name="connsiteY48451" fmla="*/ 1587966 h 6557032"/>
              <a:gd name="connsiteX48452" fmla="*/ 1297388 w 4610101"/>
              <a:gd name="connsiteY48452" fmla="*/ 1578855 h 6557032"/>
              <a:gd name="connsiteX48453" fmla="*/ 1321077 w 4610101"/>
              <a:gd name="connsiteY48453" fmla="*/ 1577033 h 6557032"/>
              <a:gd name="connsiteX48454" fmla="*/ 1304677 w 4610101"/>
              <a:gd name="connsiteY48454" fmla="*/ 1564278 h 6557032"/>
              <a:gd name="connsiteX48455" fmla="*/ 1297388 w 4610101"/>
              <a:gd name="connsiteY48455" fmla="*/ 1578855 h 6557032"/>
              <a:gd name="connsiteX48456" fmla="*/ 1280989 w 4610101"/>
              <a:gd name="connsiteY48456" fmla="*/ 1571566 h 6557032"/>
              <a:gd name="connsiteX48457" fmla="*/ 1288277 w 4610101"/>
              <a:gd name="connsiteY48457" fmla="*/ 1556989 h 6557032"/>
              <a:gd name="connsiteX48458" fmla="*/ 1266411 w 4610101"/>
              <a:gd name="connsiteY48458" fmla="*/ 1556989 h 6557032"/>
              <a:gd name="connsiteX48459" fmla="*/ 1311966 w 4610101"/>
              <a:gd name="connsiteY48459" fmla="*/ 1518723 h 6557032"/>
              <a:gd name="connsiteX48460" fmla="*/ 1332009 w 4610101"/>
              <a:gd name="connsiteY48460" fmla="*/ 1518723 h 6557032"/>
              <a:gd name="connsiteX48461" fmla="*/ 1332009 w 4610101"/>
              <a:gd name="connsiteY48461" fmla="*/ 1504146 h 6557032"/>
              <a:gd name="connsiteX48462" fmla="*/ 1353876 w 4610101"/>
              <a:gd name="connsiteY48462" fmla="*/ 1504146 h 6557032"/>
              <a:gd name="connsiteX48463" fmla="*/ 1346587 w 4610101"/>
              <a:gd name="connsiteY48463" fmla="*/ 1518723 h 6557032"/>
              <a:gd name="connsiteX48464" fmla="*/ 1368453 w 4610101"/>
              <a:gd name="connsiteY48464" fmla="*/ 1518723 h 6557032"/>
              <a:gd name="connsiteX48465" fmla="*/ 1368453 w 4610101"/>
              <a:gd name="connsiteY48465" fmla="*/ 1526012 h 6557032"/>
              <a:gd name="connsiteX48466" fmla="*/ 1346587 w 4610101"/>
              <a:gd name="connsiteY48466" fmla="*/ 1526012 h 6557032"/>
              <a:gd name="connsiteX48467" fmla="*/ 1346587 w 4610101"/>
              <a:gd name="connsiteY48467" fmla="*/ 1531478 h 6557032"/>
              <a:gd name="connsiteX48468" fmla="*/ 1375743 w 4610101"/>
              <a:gd name="connsiteY48468" fmla="*/ 1540589 h 6557032"/>
              <a:gd name="connsiteX48469" fmla="*/ 1390319 w 4610101"/>
              <a:gd name="connsiteY48469" fmla="*/ 1518723 h 6557032"/>
              <a:gd name="connsiteX48470" fmla="*/ 1383030 w 4610101"/>
              <a:gd name="connsiteY48470" fmla="*/ 1495035 h 6557032"/>
              <a:gd name="connsiteX48471" fmla="*/ 1353876 w 4610101"/>
              <a:gd name="connsiteY48471" fmla="*/ 1504146 h 6557032"/>
              <a:gd name="connsiteX48472" fmla="*/ 1346587 w 4610101"/>
              <a:gd name="connsiteY48472" fmla="*/ 1471347 h 6557032"/>
              <a:gd name="connsiteX48473" fmla="*/ 1383030 w 4610101"/>
              <a:gd name="connsiteY48473" fmla="*/ 1487746 h 6557032"/>
              <a:gd name="connsiteX48474" fmla="*/ 1404896 w 4610101"/>
              <a:gd name="connsiteY48474" fmla="*/ 1473169 h 6557032"/>
              <a:gd name="connsiteX48475" fmla="*/ 1426763 w 4610101"/>
              <a:gd name="connsiteY48475" fmla="*/ 1465880 h 6557032"/>
              <a:gd name="connsiteX48476" fmla="*/ 1434051 w 4610101"/>
              <a:gd name="connsiteY48476" fmla="*/ 1434903 h 6557032"/>
              <a:gd name="connsiteX48477" fmla="*/ 1448629 w 4610101"/>
              <a:gd name="connsiteY48477" fmla="*/ 1420326 h 6557032"/>
              <a:gd name="connsiteX48478" fmla="*/ 1448629 w 4610101"/>
              <a:gd name="connsiteY48478" fmla="*/ 1451303 h 6557032"/>
              <a:gd name="connsiteX48479" fmla="*/ 1463206 w 4610101"/>
              <a:gd name="connsiteY48479" fmla="*/ 1451303 h 6557032"/>
              <a:gd name="connsiteX48480" fmla="*/ 1477784 w 4610101"/>
              <a:gd name="connsiteY48480" fmla="*/ 1465880 h 6557032"/>
              <a:gd name="connsiteX48481" fmla="*/ 1477784 w 4610101"/>
              <a:gd name="connsiteY48481" fmla="*/ 1451303 h 6557032"/>
              <a:gd name="connsiteX48482" fmla="*/ 1463206 w 4610101"/>
              <a:gd name="connsiteY48482" fmla="*/ 1451303 h 6557032"/>
              <a:gd name="connsiteX48483" fmla="*/ 1468673 w 4610101"/>
              <a:gd name="connsiteY48483" fmla="*/ 1444014 h 6557032"/>
              <a:gd name="connsiteX48484" fmla="*/ 1461384 w 4610101"/>
              <a:gd name="connsiteY48484" fmla="*/ 1414859 h 6557032"/>
              <a:gd name="connsiteX48485" fmla="*/ 1448629 w 4610101"/>
              <a:gd name="connsiteY48485" fmla="*/ 1398460 h 6557032"/>
              <a:gd name="connsiteX48486" fmla="*/ 1486895 w 4610101"/>
              <a:gd name="connsiteY48486" fmla="*/ 1398460 h 6557032"/>
              <a:gd name="connsiteX48487" fmla="*/ 1479606 w 4610101"/>
              <a:gd name="connsiteY48487" fmla="*/ 1383882 h 6557032"/>
              <a:gd name="connsiteX48488" fmla="*/ 1510583 w 4610101"/>
              <a:gd name="connsiteY48488" fmla="*/ 1369305 h 6557032"/>
              <a:gd name="connsiteX48489" fmla="*/ 1525160 w 4610101"/>
              <a:gd name="connsiteY48489" fmla="*/ 1369305 h 6557032"/>
              <a:gd name="connsiteX48490" fmla="*/ 1530626 w 4610101"/>
              <a:gd name="connsiteY48490" fmla="*/ 1363838 h 6557032"/>
              <a:gd name="connsiteX48491" fmla="*/ 1525160 w 4610101"/>
              <a:gd name="connsiteY48491" fmla="*/ 1354728 h 6557032"/>
              <a:gd name="connsiteX48492" fmla="*/ 1539737 w 4610101"/>
              <a:gd name="connsiteY48492" fmla="*/ 1354728 h 6557032"/>
              <a:gd name="connsiteX48493" fmla="*/ 1539737 w 4610101"/>
              <a:gd name="connsiteY48493" fmla="*/ 1340150 h 6557032"/>
              <a:gd name="connsiteX48494" fmla="*/ 1548848 w 4610101"/>
              <a:gd name="connsiteY48494" fmla="*/ 1362016 h 6557032"/>
              <a:gd name="connsiteX48495" fmla="*/ 1570714 w 4610101"/>
              <a:gd name="connsiteY48495" fmla="*/ 1385705 h 6557032"/>
              <a:gd name="connsiteX48496" fmla="*/ 1592580 w 4610101"/>
              <a:gd name="connsiteY48496" fmla="*/ 1385705 h 6557032"/>
              <a:gd name="connsiteX48497" fmla="*/ 1623558 w 4610101"/>
              <a:gd name="connsiteY48497" fmla="*/ 1371127 h 6557032"/>
              <a:gd name="connsiteX48498" fmla="*/ 1623558 w 4610101"/>
              <a:gd name="connsiteY48498" fmla="*/ 1385705 h 6557032"/>
              <a:gd name="connsiteX48499" fmla="*/ 1630846 w 4610101"/>
              <a:gd name="connsiteY48499" fmla="*/ 1371127 h 6557032"/>
              <a:gd name="connsiteX48500" fmla="*/ 1652713 w 4610101"/>
              <a:gd name="connsiteY48500" fmla="*/ 1362016 h 6557032"/>
              <a:gd name="connsiteX48501" fmla="*/ 1667289 w 4610101"/>
              <a:gd name="connsiteY48501" fmla="*/ 1360194 h 6557032"/>
              <a:gd name="connsiteX48502" fmla="*/ 1698266 w 4610101"/>
              <a:gd name="connsiteY48502" fmla="*/ 1352905 h 6557032"/>
              <a:gd name="connsiteX48503" fmla="*/ 1690978 w 4610101"/>
              <a:gd name="connsiteY48503" fmla="*/ 1338328 h 6557032"/>
              <a:gd name="connsiteX48504" fmla="*/ 1707377 w 4610101"/>
              <a:gd name="connsiteY48504" fmla="*/ 1329217 h 6557032"/>
              <a:gd name="connsiteX48505" fmla="*/ 1690978 w 4610101"/>
              <a:gd name="connsiteY48505" fmla="*/ 1307351 h 6557032"/>
              <a:gd name="connsiteX48506" fmla="*/ 1714666 w 4610101"/>
              <a:gd name="connsiteY48506" fmla="*/ 1307351 h 6557032"/>
              <a:gd name="connsiteX48507" fmla="*/ 1705555 w 4610101"/>
              <a:gd name="connsiteY48507" fmla="*/ 1278196 h 6557032"/>
              <a:gd name="connsiteX48508" fmla="*/ 1729243 w 4610101"/>
              <a:gd name="connsiteY48508" fmla="*/ 1300062 h 6557032"/>
              <a:gd name="connsiteX48509" fmla="*/ 1741999 w 4610101"/>
              <a:gd name="connsiteY48509" fmla="*/ 1316462 h 6557032"/>
              <a:gd name="connsiteX48510" fmla="*/ 1703733 w 4610101"/>
              <a:gd name="connsiteY48510" fmla="*/ 1347439 h 6557032"/>
              <a:gd name="connsiteX48511" fmla="*/ 1711022 w 4610101"/>
              <a:gd name="connsiteY48511" fmla="*/ 1362016 h 6557032"/>
              <a:gd name="connsiteX48512" fmla="*/ 1689157 w 4610101"/>
              <a:gd name="connsiteY48512" fmla="*/ 1362016 h 6557032"/>
              <a:gd name="connsiteX48513" fmla="*/ 1720133 w 4610101"/>
              <a:gd name="connsiteY48513" fmla="*/ 1376594 h 6557032"/>
              <a:gd name="connsiteX48514" fmla="*/ 1721955 w 4610101"/>
              <a:gd name="connsiteY48514" fmla="*/ 1354728 h 6557032"/>
              <a:gd name="connsiteX48515" fmla="*/ 1734710 w 4610101"/>
              <a:gd name="connsiteY48515" fmla="*/ 1338328 h 6557032"/>
              <a:gd name="connsiteX48516" fmla="*/ 1749287 w 4610101"/>
              <a:gd name="connsiteY48516" fmla="*/ 1338328 h 6557032"/>
              <a:gd name="connsiteX48517" fmla="*/ 1772976 w 4610101"/>
              <a:gd name="connsiteY48517" fmla="*/ 1338328 h 6557032"/>
              <a:gd name="connsiteX48518" fmla="*/ 1765687 w 4610101"/>
              <a:gd name="connsiteY48518" fmla="*/ 1325573 h 6557032"/>
              <a:gd name="connsiteX48519" fmla="*/ 1778442 w 4610101"/>
              <a:gd name="connsiteY48519" fmla="*/ 1309173 h 6557032"/>
              <a:gd name="connsiteX48520" fmla="*/ 1763865 w 4610101"/>
              <a:gd name="connsiteY48520" fmla="*/ 1300062 h 6557032"/>
              <a:gd name="connsiteX48521" fmla="*/ 1771154 w 4610101"/>
              <a:gd name="connsiteY48521" fmla="*/ 1283663 h 6557032"/>
              <a:gd name="connsiteX48522" fmla="*/ 1785731 w 4610101"/>
              <a:gd name="connsiteY48522" fmla="*/ 1290951 h 6557032"/>
              <a:gd name="connsiteX48523" fmla="*/ 1785731 w 4610101"/>
              <a:gd name="connsiteY48523" fmla="*/ 1281841 h 6557032"/>
              <a:gd name="connsiteX48524" fmla="*/ 1780265 w 4610101"/>
              <a:gd name="connsiteY48524" fmla="*/ 1281841 h 6557032"/>
              <a:gd name="connsiteX48525" fmla="*/ 1785731 w 4610101"/>
              <a:gd name="connsiteY48525" fmla="*/ 1276374 h 6557032"/>
              <a:gd name="connsiteX48526" fmla="*/ 1785731 w 4610101"/>
              <a:gd name="connsiteY48526" fmla="*/ 1270996 h 6557032"/>
              <a:gd name="connsiteX48527" fmla="*/ 1763864 w 4610101"/>
              <a:gd name="connsiteY48527" fmla="*/ 1270996 h 6557032"/>
              <a:gd name="connsiteX48528" fmla="*/ 1778070 w 4610101"/>
              <a:gd name="connsiteY48528" fmla="*/ 1255017 h 6557032"/>
              <a:gd name="connsiteX48529" fmla="*/ 1729243 w 4610101"/>
              <a:gd name="connsiteY48529" fmla="*/ 1179799 h 6557032"/>
              <a:gd name="connsiteX48530" fmla="*/ 1729243 w 4610101"/>
              <a:gd name="connsiteY48530" fmla="*/ 1172510 h 6557032"/>
              <a:gd name="connsiteX48531" fmla="*/ 1738354 w 4610101"/>
              <a:gd name="connsiteY48531" fmla="*/ 1179799 h 6557032"/>
              <a:gd name="connsiteX48532" fmla="*/ 1796664 w 4610101"/>
              <a:gd name="connsiteY48532" fmla="*/ 1267263 h 6557032"/>
              <a:gd name="connsiteX48533" fmla="*/ 1793020 w 4610101"/>
              <a:gd name="connsiteY48533" fmla="*/ 1269085 h 6557032"/>
              <a:gd name="connsiteX48534" fmla="*/ 1800991 w 4610101"/>
              <a:gd name="connsiteY48534" fmla="*/ 1282979 h 6557032"/>
              <a:gd name="connsiteX48535" fmla="*/ 1811901 w 4610101"/>
              <a:gd name="connsiteY48535" fmla="*/ 1291831 h 6557032"/>
              <a:gd name="connsiteX48536" fmla="*/ 1816709 w 4610101"/>
              <a:gd name="connsiteY48536" fmla="*/ 1298240 h 6557032"/>
              <a:gd name="connsiteX48537" fmla="*/ 1834929 w 4610101"/>
              <a:gd name="connsiteY48537" fmla="*/ 1289129 h 6557032"/>
              <a:gd name="connsiteX48538" fmla="*/ 1842218 w 4610101"/>
              <a:gd name="connsiteY48538" fmla="*/ 1289129 h 6557032"/>
              <a:gd name="connsiteX48539" fmla="*/ 1845864 w 4610101"/>
              <a:gd name="connsiteY48539" fmla="*/ 1289129 h 6557032"/>
              <a:gd name="connsiteX48540" fmla="*/ 1836753 w 4610101"/>
              <a:gd name="connsiteY48540" fmla="*/ 1281841 h 6557032"/>
              <a:gd name="connsiteX48541" fmla="*/ 1847685 w 4610101"/>
              <a:gd name="connsiteY48541" fmla="*/ 1283663 h 6557032"/>
              <a:gd name="connsiteX48542" fmla="*/ 1831285 w 4610101"/>
              <a:gd name="connsiteY48542" fmla="*/ 1269085 h 6557032"/>
              <a:gd name="connsiteX48543" fmla="*/ 1842218 w 4610101"/>
              <a:gd name="connsiteY48543" fmla="*/ 1274552 h 6557032"/>
              <a:gd name="connsiteX48544" fmla="*/ 1823996 w 4610101"/>
              <a:gd name="connsiteY48544" fmla="*/ 1259975 h 6557032"/>
              <a:gd name="connsiteX48545" fmla="*/ 1825820 w 4610101"/>
              <a:gd name="connsiteY48545" fmla="*/ 1265441 h 6557032"/>
              <a:gd name="connsiteX48546" fmla="*/ 1805775 w 4610101"/>
              <a:gd name="connsiteY48546" fmla="*/ 1258152 h 6557032"/>
              <a:gd name="connsiteX48547" fmla="*/ 1818531 w 4610101"/>
              <a:gd name="connsiteY48547" fmla="*/ 1256330 h 6557032"/>
              <a:gd name="connsiteX48548" fmla="*/ 1827642 w 4610101"/>
              <a:gd name="connsiteY48548" fmla="*/ 1259975 h 6557032"/>
              <a:gd name="connsiteX48549" fmla="*/ 1803953 w 4610101"/>
              <a:gd name="connsiteY48549" fmla="*/ 1221709 h 6557032"/>
              <a:gd name="connsiteX48550" fmla="*/ 1807598 w 4610101"/>
              <a:gd name="connsiteY48550" fmla="*/ 1225353 h 6557032"/>
              <a:gd name="connsiteX48551" fmla="*/ 1807598 w 4610101"/>
              <a:gd name="connsiteY48551" fmla="*/ 1221709 h 6557032"/>
              <a:gd name="connsiteX48552" fmla="*/ 1818531 w 4610101"/>
              <a:gd name="connsiteY48552" fmla="*/ 1236286 h 6557032"/>
              <a:gd name="connsiteX48553" fmla="*/ 1811241 w 4610101"/>
              <a:gd name="connsiteY48553" fmla="*/ 1214420 h 6557032"/>
              <a:gd name="connsiteX48554" fmla="*/ 1823996 w 4610101"/>
              <a:gd name="connsiteY48554" fmla="*/ 1238108 h 6557032"/>
              <a:gd name="connsiteX48555" fmla="*/ 1818531 w 4610101"/>
              <a:gd name="connsiteY48555" fmla="*/ 1208954 h 6557032"/>
              <a:gd name="connsiteX48556" fmla="*/ 1827642 w 4610101"/>
              <a:gd name="connsiteY48556" fmla="*/ 1216242 h 6557032"/>
              <a:gd name="connsiteX48557" fmla="*/ 1825820 w 4610101"/>
              <a:gd name="connsiteY48557" fmla="*/ 1199843 h 6557032"/>
              <a:gd name="connsiteX48558" fmla="*/ 1833107 w 4610101"/>
              <a:gd name="connsiteY48558" fmla="*/ 1216242 h 6557032"/>
              <a:gd name="connsiteX48559" fmla="*/ 1829463 w 4610101"/>
              <a:gd name="connsiteY48559" fmla="*/ 1214420 h 6557032"/>
              <a:gd name="connsiteX48560" fmla="*/ 1853151 w 4610101"/>
              <a:gd name="connsiteY48560" fmla="*/ 1281841 h 6557032"/>
              <a:gd name="connsiteX48561" fmla="*/ 1853151 w 4610101"/>
              <a:gd name="connsiteY48561" fmla="*/ 1261797 h 6557032"/>
              <a:gd name="connsiteX48562" fmla="*/ 1854973 w 4610101"/>
              <a:gd name="connsiteY48562" fmla="*/ 1263619 h 6557032"/>
              <a:gd name="connsiteX48563" fmla="*/ 1854973 w 4610101"/>
              <a:gd name="connsiteY48563" fmla="*/ 1256330 h 6557032"/>
              <a:gd name="connsiteX48564" fmla="*/ 1862262 w 4610101"/>
              <a:gd name="connsiteY48564" fmla="*/ 1283663 h 6557032"/>
              <a:gd name="connsiteX48565" fmla="*/ 1875017 w 4610101"/>
              <a:gd name="connsiteY48565" fmla="*/ 1263619 h 6557032"/>
              <a:gd name="connsiteX48566" fmla="*/ 1860440 w 4610101"/>
              <a:gd name="connsiteY48566" fmla="*/ 1263619 h 6557032"/>
              <a:gd name="connsiteX48567" fmla="*/ 1860440 w 4610101"/>
              <a:gd name="connsiteY48567" fmla="*/ 1234464 h 6557032"/>
              <a:gd name="connsiteX48568" fmla="*/ 1869795 w 4610101"/>
              <a:gd name="connsiteY48568" fmla="*/ 1228617 h 6557032"/>
              <a:gd name="connsiteX48569" fmla="*/ 1871373 w 4610101"/>
              <a:gd name="connsiteY48569" fmla="*/ 1236286 h 6557032"/>
              <a:gd name="connsiteX48570" fmla="*/ 1878662 w 4610101"/>
              <a:gd name="connsiteY48570" fmla="*/ 1238108 h 6557032"/>
              <a:gd name="connsiteX48571" fmla="*/ 1878662 w 4610101"/>
              <a:gd name="connsiteY48571" fmla="*/ 1236286 h 6557032"/>
              <a:gd name="connsiteX48572" fmla="*/ 1875017 w 4610101"/>
              <a:gd name="connsiteY48572" fmla="*/ 1232642 h 6557032"/>
              <a:gd name="connsiteX48573" fmla="*/ 1882306 w 4610101"/>
              <a:gd name="connsiteY48573" fmla="*/ 1236286 h 6557032"/>
              <a:gd name="connsiteX48574" fmla="*/ 1893239 w 4610101"/>
              <a:gd name="connsiteY48574" fmla="*/ 1239931 h 6557032"/>
              <a:gd name="connsiteX48575" fmla="*/ 1900528 w 4610101"/>
              <a:gd name="connsiteY48575" fmla="*/ 1270908 h 6557032"/>
              <a:gd name="connsiteX48576" fmla="*/ 1898706 w 4610101"/>
              <a:gd name="connsiteY48576" fmla="*/ 1270908 h 6557032"/>
              <a:gd name="connsiteX48577" fmla="*/ 1907816 w 4610101"/>
              <a:gd name="connsiteY48577" fmla="*/ 1272730 h 6557032"/>
              <a:gd name="connsiteX48578" fmla="*/ 1900528 w 4610101"/>
              <a:gd name="connsiteY48578" fmla="*/ 1274552 h 6557032"/>
              <a:gd name="connsiteX48579" fmla="*/ 1898706 w 4610101"/>
              <a:gd name="connsiteY48579" fmla="*/ 1280018 h 6557032"/>
              <a:gd name="connsiteX48580" fmla="*/ 1902350 w 4610101"/>
              <a:gd name="connsiteY48580" fmla="*/ 1283663 h 6557032"/>
              <a:gd name="connsiteX48581" fmla="*/ 1907816 w 4610101"/>
              <a:gd name="connsiteY48581" fmla="*/ 1280018 h 6557032"/>
              <a:gd name="connsiteX48582" fmla="*/ 1907816 w 4610101"/>
              <a:gd name="connsiteY48582" fmla="*/ 1281841 h 6557032"/>
              <a:gd name="connsiteX48583" fmla="*/ 1913283 w 4610101"/>
              <a:gd name="connsiteY48583" fmla="*/ 1272730 h 6557032"/>
              <a:gd name="connsiteX48584" fmla="*/ 1916927 w 4610101"/>
              <a:gd name="connsiteY48584" fmla="*/ 1278196 h 6557032"/>
              <a:gd name="connsiteX48585" fmla="*/ 1935149 w 4610101"/>
              <a:gd name="connsiteY48585" fmla="*/ 1283663 h 6557032"/>
              <a:gd name="connsiteX48586" fmla="*/ 1918750 w 4610101"/>
              <a:gd name="connsiteY48586" fmla="*/ 1256330 h 6557032"/>
              <a:gd name="connsiteX48587" fmla="*/ 1907816 w 4610101"/>
              <a:gd name="connsiteY48587" fmla="*/ 1258152 h 6557032"/>
              <a:gd name="connsiteX48588" fmla="*/ 1907816 w 4610101"/>
              <a:gd name="connsiteY48588" fmla="*/ 1243575 h 6557032"/>
              <a:gd name="connsiteX48589" fmla="*/ 1887773 w 4610101"/>
              <a:gd name="connsiteY48589" fmla="*/ 1216242 h 6557032"/>
              <a:gd name="connsiteX48590" fmla="*/ 1895061 w 4610101"/>
              <a:gd name="connsiteY48590" fmla="*/ 1223531 h 6557032"/>
              <a:gd name="connsiteX48591" fmla="*/ 1876099 w 4610101"/>
              <a:gd name="connsiteY48591" fmla="*/ 1179457 h 6557032"/>
              <a:gd name="connsiteX48592" fmla="*/ 1863809 w 4610101"/>
              <a:gd name="connsiteY48592" fmla="*/ 1171668 h 6557032"/>
              <a:gd name="connsiteX48593" fmla="*/ 1862946 w 4610101"/>
              <a:gd name="connsiteY48593" fmla="*/ 1166816 h 6557032"/>
              <a:gd name="connsiteX48594" fmla="*/ 1869551 w 4610101"/>
              <a:gd name="connsiteY48594" fmla="*/ 1154288 h 6557032"/>
              <a:gd name="connsiteX48595" fmla="*/ 1875017 w 4610101"/>
              <a:gd name="connsiteY48595" fmla="*/ 1157933 h 6557032"/>
              <a:gd name="connsiteX48596" fmla="*/ 1872983 w 4610101"/>
              <a:gd name="connsiteY48596" fmla="*/ 1145516 h 6557032"/>
              <a:gd name="connsiteX48597" fmla="*/ 1875017 w 4610101"/>
              <a:gd name="connsiteY48597" fmla="*/ 1145178 h 6557032"/>
              <a:gd name="connsiteX48598" fmla="*/ 1872144 w 4610101"/>
              <a:gd name="connsiteY48598" fmla="*/ 1140388 h 6557032"/>
              <a:gd name="connsiteX48599" fmla="*/ 1870690 w 4610101"/>
              <a:gd name="connsiteY48599" fmla="*/ 1131511 h 6557032"/>
              <a:gd name="connsiteX48600" fmla="*/ 1873195 w 4610101"/>
              <a:gd name="connsiteY48600" fmla="*/ 1105090 h 6557032"/>
              <a:gd name="connsiteX48601" fmla="*/ 1873195 w 4610101"/>
              <a:gd name="connsiteY48601" fmla="*/ 1116023 h 6557032"/>
              <a:gd name="connsiteX48602" fmla="*/ 1880484 w 4610101"/>
              <a:gd name="connsiteY48602" fmla="*/ 1117845 h 6557032"/>
              <a:gd name="connsiteX48603" fmla="*/ 1882306 w 4610101"/>
              <a:gd name="connsiteY48603" fmla="*/ 1134245 h 6557032"/>
              <a:gd name="connsiteX48604" fmla="*/ 1907816 w 4610101"/>
              <a:gd name="connsiteY48604" fmla="*/ 1210776 h 6557032"/>
              <a:gd name="connsiteX48605" fmla="*/ 1913283 w 4610101"/>
              <a:gd name="connsiteY48605" fmla="*/ 1201665 h 6557032"/>
              <a:gd name="connsiteX48606" fmla="*/ 1909639 w 4610101"/>
              <a:gd name="connsiteY48606" fmla="*/ 1223531 h 6557032"/>
              <a:gd name="connsiteX48607" fmla="*/ 1920572 w 4610101"/>
              <a:gd name="connsiteY48607" fmla="*/ 1225353 h 6557032"/>
              <a:gd name="connsiteX48608" fmla="*/ 1924216 w 4610101"/>
              <a:gd name="connsiteY48608" fmla="*/ 1239931 h 6557032"/>
              <a:gd name="connsiteX48609" fmla="*/ 1929683 w 4610101"/>
              <a:gd name="connsiteY48609" fmla="*/ 1245397 h 6557032"/>
              <a:gd name="connsiteX48610" fmla="*/ 1927861 w 4610101"/>
              <a:gd name="connsiteY48610" fmla="*/ 1245397 h 6557032"/>
              <a:gd name="connsiteX48611" fmla="*/ 1935149 w 4610101"/>
              <a:gd name="connsiteY48611" fmla="*/ 1256330 h 6557032"/>
              <a:gd name="connsiteX48612" fmla="*/ 1942438 w 4610101"/>
              <a:gd name="connsiteY48612" fmla="*/ 1263619 h 6557032"/>
              <a:gd name="connsiteX48613" fmla="*/ 1946083 w 4610101"/>
              <a:gd name="connsiteY48613" fmla="*/ 1274552 h 6557032"/>
              <a:gd name="connsiteX48614" fmla="*/ 1951549 w 4610101"/>
              <a:gd name="connsiteY48614" fmla="*/ 1276374 h 6557032"/>
              <a:gd name="connsiteX48615" fmla="*/ 1946083 w 4610101"/>
              <a:gd name="connsiteY48615" fmla="*/ 1263619 h 6557032"/>
              <a:gd name="connsiteX48616" fmla="*/ 1940616 w 4610101"/>
              <a:gd name="connsiteY48616" fmla="*/ 1252686 h 6557032"/>
              <a:gd name="connsiteX48617" fmla="*/ 1942438 w 4610101"/>
              <a:gd name="connsiteY48617" fmla="*/ 1250864 h 6557032"/>
              <a:gd name="connsiteX48618" fmla="*/ 1935149 w 4610101"/>
              <a:gd name="connsiteY48618" fmla="*/ 1241753 h 6557032"/>
              <a:gd name="connsiteX48619" fmla="*/ 1905994 w 4610101"/>
              <a:gd name="connsiteY48619" fmla="*/ 1168866 h 6557032"/>
              <a:gd name="connsiteX48620" fmla="*/ 1916927 w 4610101"/>
              <a:gd name="connsiteY48620" fmla="*/ 1185266 h 6557032"/>
              <a:gd name="connsiteX48621" fmla="*/ 1927861 w 4610101"/>
              <a:gd name="connsiteY48621" fmla="*/ 1161577 h 6557032"/>
              <a:gd name="connsiteX48622" fmla="*/ 1933327 w 4610101"/>
              <a:gd name="connsiteY48622" fmla="*/ 1168866 h 6557032"/>
              <a:gd name="connsiteX48623" fmla="*/ 1947904 w 4610101"/>
              <a:gd name="connsiteY48623" fmla="*/ 1245397 h 6557032"/>
              <a:gd name="connsiteX48624" fmla="*/ 1951549 w 4610101"/>
              <a:gd name="connsiteY48624" fmla="*/ 1241753 h 6557032"/>
              <a:gd name="connsiteX48625" fmla="*/ 1944260 w 4610101"/>
              <a:gd name="connsiteY48625" fmla="*/ 1225353 h 6557032"/>
              <a:gd name="connsiteX48626" fmla="*/ 1951549 w 4610101"/>
              <a:gd name="connsiteY48626" fmla="*/ 1225353 h 6557032"/>
              <a:gd name="connsiteX48627" fmla="*/ 1947904 w 4610101"/>
              <a:gd name="connsiteY48627" fmla="*/ 1225353 h 6557032"/>
              <a:gd name="connsiteX48628" fmla="*/ 1955194 w 4610101"/>
              <a:gd name="connsiteY48628" fmla="*/ 1219887 h 6557032"/>
              <a:gd name="connsiteX48629" fmla="*/ 1955194 w 4610101"/>
              <a:gd name="connsiteY48629" fmla="*/ 1227175 h 6557032"/>
              <a:gd name="connsiteX48630" fmla="*/ 1958837 w 4610101"/>
              <a:gd name="connsiteY48630" fmla="*/ 1228998 h 6557032"/>
              <a:gd name="connsiteX48631" fmla="*/ 1957015 w 4610101"/>
              <a:gd name="connsiteY48631" fmla="*/ 1225353 h 6557032"/>
              <a:gd name="connsiteX48632" fmla="*/ 1962482 w 4610101"/>
              <a:gd name="connsiteY48632" fmla="*/ 1227175 h 6557032"/>
              <a:gd name="connsiteX48633" fmla="*/ 1957015 w 4610101"/>
              <a:gd name="connsiteY48633" fmla="*/ 1230820 h 6557032"/>
              <a:gd name="connsiteX48634" fmla="*/ 1960659 w 4610101"/>
              <a:gd name="connsiteY48634" fmla="*/ 1236286 h 6557032"/>
              <a:gd name="connsiteX48635" fmla="*/ 1967948 w 4610101"/>
              <a:gd name="connsiteY48635" fmla="*/ 1230820 h 6557032"/>
              <a:gd name="connsiteX48636" fmla="*/ 1962482 w 4610101"/>
              <a:gd name="connsiteY48636" fmla="*/ 1221709 h 6557032"/>
              <a:gd name="connsiteX48637" fmla="*/ 1960659 w 4610101"/>
              <a:gd name="connsiteY48637" fmla="*/ 1216242 h 6557032"/>
              <a:gd name="connsiteX48638" fmla="*/ 1962482 w 4610101"/>
              <a:gd name="connsiteY48638" fmla="*/ 1214420 h 6557032"/>
              <a:gd name="connsiteX48639" fmla="*/ 1962482 w 4610101"/>
              <a:gd name="connsiteY48639" fmla="*/ 1218065 h 6557032"/>
              <a:gd name="connsiteX48640" fmla="*/ 1966126 w 4610101"/>
              <a:gd name="connsiteY48640" fmla="*/ 1218065 h 6557032"/>
              <a:gd name="connsiteX48641" fmla="*/ 1967948 w 4610101"/>
              <a:gd name="connsiteY48641" fmla="*/ 1205309 h 6557032"/>
              <a:gd name="connsiteX48642" fmla="*/ 1971592 w 4610101"/>
              <a:gd name="connsiteY48642" fmla="*/ 1212598 h 6557032"/>
              <a:gd name="connsiteX48643" fmla="*/ 1973416 w 4610101"/>
              <a:gd name="connsiteY48643" fmla="*/ 1212598 h 6557032"/>
              <a:gd name="connsiteX48644" fmla="*/ 1980703 w 4610101"/>
              <a:gd name="connsiteY48644" fmla="*/ 1207132 h 6557032"/>
              <a:gd name="connsiteX48645" fmla="*/ 1984348 w 4610101"/>
              <a:gd name="connsiteY48645" fmla="*/ 1196199 h 6557032"/>
              <a:gd name="connsiteX48646" fmla="*/ 1984348 w 4610101"/>
              <a:gd name="connsiteY48646" fmla="*/ 1194376 h 6557032"/>
              <a:gd name="connsiteX48647" fmla="*/ 1987478 w 4610101"/>
              <a:gd name="connsiteY48647" fmla="*/ 1189290 h 6557032"/>
              <a:gd name="connsiteX48648" fmla="*/ 1986170 w 4610101"/>
              <a:gd name="connsiteY48648" fmla="*/ 1194376 h 6557032"/>
              <a:gd name="connsiteX48649" fmla="*/ 1991638 w 4610101"/>
              <a:gd name="connsiteY48649" fmla="*/ 1196199 h 6557032"/>
              <a:gd name="connsiteX48650" fmla="*/ 1989814 w 4610101"/>
              <a:gd name="connsiteY48650" fmla="*/ 1198021 h 6557032"/>
              <a:gd name="connsiteX48651" fmla="*/ 2004392 w 4610101"/>
              <a:gd name="connsiteY48651" fmla="*/ 1208954 h 6557032"/>
              <a:gd name="connsiteX48652" fmla="*/ 2013503 w 4610101"/>
              <a:gd name="connsiteY48652" fmla="*/ 1194376 h 6557032"/>
              <a:gd name="connsiteX48653" fmla="*/ 2026258 w 4610101"/>
              <a:gd name="connsiteY48653" fmla="*/ 1201665 h 6557032"/>
              <a:gd name="connsiteX48654" fmla="*/ 2040835 w 4610101"/>
              <a:gd name="connsiteY48654" fmla="*/ 1188910 h 6557032"/>
              <a:gd name="connsiteX48655" fmla="*/ 2048124 w 4610101"/>
              <a:gd name="connsiteY48655" fmla="*/ 1196199 h 6557032"/>
              <a:gd name="connsiteX48656" fmla="*/ 2046302 w 4610101"/>
              <a:gd name="connsiteY48656" fmla="*/ 1190732 h 6557032"/>
              <a:gd name="connsiteX48657" fmla="*/ 2051768 w 4610101"/>
              <a:gd name="connsiteY48657" fmla="*/ 1188910 h 6557032"/>
              <a:gd name="connsiteX48658" fmla="*/ 2049946 w 4610101"/>
              <a:gd name="connsiteY48658" fmla="*/ 1185266 h 6557032"/>
              <a:gd name="connsiteX48659" fmla="*/ 2053590 w 4610101"/>
              <a:gd name="connsiteY48659" fmla="*/ 1172510 h 6557032"/>
              <a:gd name="connsiteX48660" fmla="*/ 2049946 w 4610101"/>
              <a:gd name="connsiteY48660" fmla="*/ 1170688 h 6557032"/>
              <a:gd name="connsiteX48661" fmla="*/ 2049946 w 4610101"/>
              <a:gd name="connsiteY48661" fmla="*/ 1176155 h 6557032"/>
              <a:gd name="connsiteX48662" fmla="*/ 2044529 w 4610101"/>
              <a:gd name="connsiteY48662" fmla="*/ 1179992 h 6557032"/>
              <a:gd name="connsiteX48663" fmla="*/ 2040835 w 4610101"/>
              <a:gd name="connsiteY48663" fmla="*/ 1177977 h 6557032"/>
              <a:gd name="connsiteX48664" fmla="*/ 2033546 w 4610101"/>
              <a:gd name="connsiteY48664" fmla="*/ 1194376 h 6557032"/>
              <a:gd name="connsiteX48665" fmla="*/ 2026258 w 4610101"/>
              <a:gd name="connsiteY48665" fmla="*/ 1182076 h 6557032"/>
              <a:gd name="connsiteX48666" fmla="*/ 2032595 w 4610101"/>
              <a:gd name="connsiteY48666" fmla="*/ 1171620 h 6557032"/>
              <a:gd name="connsiteX48667" fmla="*/ 2033546 w 4610101"/>
              <a:gd name="connsiteY48667" fmla="*/ 1172510 h 6557032"/>
              <a:gd name="connsiteX48668" fmla="*/ 2034427 w 4610101"/>
              <a:gd name="connsiteY48668" fmla="*/ 1168600 h 6557032"/>
              <a:gd name="connsiteX48669" fmla="*/ 2035369 w 4610101"/>
              <a:gd name="connsiteY48669" fmla="*/ 1167044 h 6557032"/>
              <a:gd name="connsiteX48670" fmla="*/ 2034802 w 4610101"/>
              <a:gd name="connsiteY48670" fmla="*/ 1166930 h 6557032"/>
              <a:gd name="connsiteX48671" fmla="*/ 2035597 w 4610101"/>
              <a:gd name="connsiteY48671" fmla="*/ 1163399 h 6557032"/>
              <a:gd name="connsiteX48672" fmla="*/ 2028080 w 4610101"/>
              <a:gd name="connsiteY48672" fmla="*/ 1159755 h 6557032"/>
              <a:gd name="connsiteX48673" fmla="*/ 2026310 w 4610101"/>
              <a:gd name="connsiteY48673" fmla="*/ 1159755 h 6557032"/>
              <a:gd name="connsiteX48674" fmla="*/ 2026258 w 4610101"/>
              <a:gd name="connsiteY48674" fmla="*/ 1157933 h 6557032"/>
              <a:gd name="connsiteX48675" fmla="*/ 2026258 w 4610101"/>
              <a:gd name="connsiteY48675" fmla="*/ 1159755 h 6557032"/>
              <a:gd name="connsiteX48676" fmla="*/ 2026310 w 4610101"/>
              <a:gd name="connsiteY48676" fmla="*/ 1159755 h 6557032"/>
              <a:gd name="connsiteX48677" fmla="*/ 2026468 w 4610101"/>
              <a:gd name="connsiteY48677" fmla="*/ 1165264 h 6557032"/>
              <a:gd name="connsiteX48678" fmla="*/ 2026258 w 4610101"/>
              <a:gd name="connsiteY48678" fmla="*/ 1165222 h 6557032"/>
              <a:gd name="connsiteX48679" fmla="*/ 2024436 w 4610101"/>
              <a:gd name="connsiteY48679" fmla="*/ 1179799 h 6557032"/>
              <a:gd name="connsiteX48680" fmla="*/ 2011680 w 4610101"/>
              <a:gd name="connsiteY48680" fmla="*/ 1194376 h 6557032"/>
              <a:gd name="connsiteX48681" fmla="*/ 2004392 w 4610101"/>
              <a:gd name="connsiteY48681" fmla="*/ 1183443 h 6557032"/>
              <a:gd name="connsiteX48682" fmla="*/ 2006214 w 4610101"/>
              <a:gd name="connsiteY48682" fmla="*/ 1167044 h 6557032"/>
              <a:gd name="connsiteX48683" fmla="*/ 2000747 w 4610101"/>
              <a:gd name="connsiteY48683" fmla="*/ 1170688 h 6557032"/>
              <a:gd name="connsiteX48684" fmla="*/ 1997103 w 4610101"/>
              <a:gd name="connsiteY48684" fmla="*/ 1156111 h 6557032"/>
              <a:gd name="connsiteX48685" fmla="*/ 2018969 w 4610101"/>
              <a:gd name="connsiteY48685" fmla="*/ 1152466 h 6557032"/>
              <a:gd name="connsiteX48686" fmla="*/ 2009858 w 4610101"/>
              <a:gd name="connsiteY48686" fmla="*/ 1159755 h 6557032"/>
              <a:gd name="connsiteX48687" fmla="*/ 2024436 w 4610101"/>
              <a:gd name="connsiteY48687" fmla="*/ 1157933 h 6557032"/>
              <a:gd name="connsiteX48688" fmla="*/ 2022613 w 4610101"/>
              <a:gd name="connsiteY48688" fmla="*/ 1150644 h 6557032"/>
              <a:gd name="connsiteX48689" fmla="*/ 2031724 w 4610101"/>
              <a:gd name="connsiteY48689" fmla="*/ 1147000 h 6557032"/>
              <a:gd name="connsiteX48690" fmla="*/ 2011680 w 4610101"/>
              <a:gd name="connsiteY48690" fmla="*/ 1114201 h 6557032"/>
              <a:gd name="connsiteX48691" fmla="*/ 1973416 w 4610101"/>
              <a:gd name="connsiteY48691" fmla="*/ 1114201 h 6557032"/>
              <a:gd name="connsiteX48692" fmla="*/ 1973416 w 4610101"/>
              <a:gd name="connsiteY48692" fmla="*/ 1083224 h 6557032"/>
              <a:gd name="connsiteX48693" fmla="*/ 1951549 w 4610101"/>
              <a:gd name="connsiteY48693" fmla="*/ 1097801 h 6557032"/>
              <a:gd name="connsiteX48694" fmla="*/ 1929683 w 4610101"/>
              <a:gd name="connsiteY48694" fmla="*/ 1075935 h 6557032"/>
              <a:gd name="connsiteX48695" fmla="*/ 1975237 w 4610101"/>
              <a:gd name="connsiteY48695" fmla="*/ 1061358 h 6557032"/>
              <a:gd name="connsiteX48696" fmla="*/ 1975237 w 4610101"/>
              <a:gd name="connsiteY48696" fmla="*/ 1039492 h 6557032"/>
              <a:gd name="connsiteX48697" fmla="*/ 1953371 w 4610101"/>
              <a:gd name="connsiteY48697" fmla="*/ 1039492 h 6557032"/>
              <a:gd name="connsiteX48698" fmla="*/ 1929683 w 4610101"/>
              <a:gd name="connsiteY48698" fmla="*/ 1046780 h 6557032"/>
              <a:gd name="connsiteX48699" fmla="*/ 1924216 w 4610101"/>
              <a:gd name="connsiteY48699" fmla="*/ 1013981 h 6557032"/>
              <a:gd name="connsiteX48700" fmla="*/ 1977059 w 4610101"/>
              <a:gd name="connsiteY48700" fmla="*/ 1032203 h 6557032"/>
              <a:gd name="connsiteX48701" fmla="*/ 1984348 w 4610101"/>
              <a:gd name="connsiteY48701" fmla="*/ 1010337 h 6557032"/>
              <a:gd name="connsiteX48702" fmla="*/ 1984348 w 4610101"/>
              <a:gd name="connsiteY48702" fmla="*/ 1003047 h 6557032"/>
              <a:gd name="connsiteX48703" fmla="*/ 1986170 w 4610101"/>
              <a:gd name="connsiteY48703" fmla="*/ 990293 h 6557032"/>
              <a:gd name="connsiteX48704" fmla="*/ 1998925 w 4610101"/>
              <a:gd name="connsiteY48704" fmla="*/ 973893 h 6557032"/>
              <a:gd name="connsiteX48705" fmla="*/ 2022613 w 4610101"/>
              <a:gd name="connsiteY48705" fmla="*/ 973893 h 6557032"/>
              <a:gd name="connsiteX48706" fmla="*/ 2015325 w 4610101"/>
              <a:gd name="connsiteY48706" fmla="*/ 959316 h 6557032"/>
              <a:gd name="connsiteX48707" fmla="*/ 2039013 w 4610101"/>
              <a:gd name="connsiteY48707" fmla="*/ 959316 h 6557032"/>
              <a:gd name="connsiteX48708" fmla="*/ 2029902 w 4610101"/>
              <a:gd name="connsiteY48708" fmla="*/ 944738 h 6557032"/>
              <a:gd name="connsiteX48709" fmla="*/ 2059057 w 4610101"/>
              <a:gd name="connsiteY48709" fmla="*/ 930160 h 6557032"/>
              <a:gd name="connsiteX48710" fmla="*/ 2068168 w 4610101"/>
              <a:gd name="connsiteY48710" fmla="*/ 952026 h 6557032"/>
              <a:gd name="connsiteX48711" fmla="*/ 2090034 w 4610101"/>
              <a:gd name="connsiteY48711" fmla="*/ 952026 h 6557032"/>
              <a:gd name="connsiteX48712" fmla="*/ 2097323 w 4610101"/>
              <a:gd name="connsiteY48712" fmla="*/ 937450 h 6557032"/>
              <a:gd name="connsiteX48713" fmla="*/ 2115544 w 4610101"/>
              <a:gd name="connsiteY48713" fmla="*/ 939272 h 6557032"/>
              <a:gd name="connsiteX48714" fmla="*/ 2104611 w 4610101"/>
              <a:gd name="connsiteY48714" fmla="*/ 926516 h 6557032"/>
              <a:gd name="connsiteX48715" fmla="*/ 2150166 w 4610101"/>
              <a:gd name="connsiteY48715" fmla="*/ 939272 h 6557032"/>
              <a:gd name="connsiteX48716" fmla="*/ 2153810 w 4610101"/>
              <a:gd name="connsiteY48716" fmla="*/ 935628 h 6557032"/>
              <a:gd name="connsiteX48717" fmla="*/ 2146521 w 4610101"/>
              <a:gd name="connsiteY48717" fmla="*/ 935628 h 6557032"/>
              <a:gd name="connsiteX48718" fmla="*/ 2155632 w 4610101"/>
              <a:gd name="connsiteY48718" fmla="*/ 926517 h 6557032"/>
              <a:gd name="connsiteX48719" fmla="*/ 2155632 w 4610101"/>
              <a:gd name="connsiteY48719" fmla="*/ 931983 h 6557032"/>
              <a:gd name="connsiteX48720" fmla="*/ 2161099 w 4610101"/>
              <a:gd name="connsiteY48720" fmla="*/ 930160 h 6557032"/>
              <a:gd name="connsiteX48721" fmla="*/ 2161099 w 4610101"/>
              <a:gd name="connsiteY48721" fmla="*/ 915583 h 6557032"/>
              <a:gd name="connsiteX48722" fmla="*/ 2168387 w 4610101"/>
              <a:gd name="connsiteY48722" fmla="*/ 902827 h 6557032"/>
              <a:gd name="connsiteX48723" fmla="*/ 2164743 w 4610101"/>
              <a:gd name="connsiteY48723" fmla="*/ 890072 h 6557032"/>
              <a:gd name="connsiteX48724" fmla="*/ 2157454 w 4610101"/>
              <a:gd name="connsiteY48724" fmla="*/ 882784 h 6557032"/>
              <a:gd name="connsiteX48725" fmla="*/ 2154682 w 4610101"/>
              <a:gd name="connsiteY48725" fmla="*/ 914672 h 6557032"/>
              <a:gd name="connsiteX48726" fmla="*/ 2148344 w 4610101"/>
              <a:gd name="connsiteY48726" fmla="*/ 910117 h 6557032"/>
              <a:gd name="connsiteX48727" fmla="*/ 2137410 w 4610101"/>
              <a:gd name="connsiteY48727" fmla="*/ 921049 h 6557032"/>
              <a:gd name="connsiteX48728" fmla="*/ 2133766 w 4610101"/>
              <a:gd name="connsiteY48728" fmla="*/ 902827 h 6557032"/>
              <a:gd name="connsiteX48729" fmla="*/ 2124655 w 4610101"/>
              <a:gd name="connsiteY48729" fmla="*/ 893717 h 6557032"/>
              <a:gd name="connsiteX48730" fmla="*/ 2133766 w 4610101"/>
              <a:gd name="connsiteY48730" fmla="*/ 895539 h 6557032"/>
              <a:gd name="connsiteX48731" fmla="*/ 2135588 w 4610101"/>
              <a:gd name="connsiteY48731" fmla="*/ 888250 h 6557032"/>
              <a:gd name="connsiteX48732" fmla="*/ 2142877 w 4610101"/>
              <a:gd name="connsiteY48732" fmla="*/ 893717 h 6557032"/>
              <a:gd name="connsiteX48733" fmla="*/ 2139233 w 4610101"/>
              <a:gd name="connsiteY48733" fmla="*/ 902827 h 6557032"/>
              <a:gd name="connsiteX48734" fmla="*/ 2137410 w 4610101"/>
              <a:gd name="connsiteY48734" fmla="*/ 899183 h 6557032"/>
              <a:gd name="connsiteX48735" fmla="*/ 2139233 w 4610101"/>
              <a:gd name="connsiteY48735" fmla="*/ 904651 h 6557032"/>
              <a:gd name="connsiteX48736" fmla="*/ 2146521 w 4610101"/>
              <a:gd name="connsiteY48736" fmla="*/ 895539 h 6557032"/>
              <a:gd name="connsiteX48737" fmla="*/ 2148344 w 4610101"/>
              <a:gd name="connsiteY48737" fmla="*/ 899183 h 6557032"/>
              <a:gd name="connsiteX48738" fmla="*/ 2150166 w 4610101"/>
              <a:gd name="connsiteY48738" fmla="*/ 873673 h 6557032"/>
              <a:gd name="connsiteX48739" fmla="*/ 2144699 w 4610101"/>
              <a:gd name="connsiteY48739" fmla="*/ 891894 h 6557032"/>
              <a:gd name="connsiteX48740" fmla="*/ 2148799 w 4610101"/>
              <a:gd name="connsiteY48740" fmla="*/ 870940 h 6557032"/>
              <a:gd name="connsiteX48741" fmla="*/ 2150302 w 4610101"/>
              <a:gd name="connsiteY48741" fmla="*/ 866333 h 6557032"/>
              <a:gd name="connsiteX48742" fmla="*/ 2161555 w 4610101"/>
              <a:gd name="connsiteY48742" fmla="*/ 862057 h 6557032"/>
              <a:gd name="connsiteX48743" fmla="*/ 2164743 w 4610101"/>
              <a:gd name="connsiteY48743" fmla="*/ 848162 h 6557032"/>
              <a:gd name="connsiteX48744" fmla="*/ 2157454 w 4610101"/>
              <a:gd name="connsiteY48744" fmla="*/ 848162 h 6557032"/>
              <a:gd name="connsiteX48745" fmla="*/ 2155051 w 4610101"/>
              <a:gd name="connsiteY48745" fmla="*/ 851767 h 6557032"/>
              <a:gd name="connsiteX48746" fmla="*/ 2155632 w 4610101"/>
              <a:gd name="connsiteY48746" fmla="*/ 849985 h 6557032"/>
              <a:gd name="connsiteX48747" fmla="*/ 2155061 w 4610101"/>
              <a:gd name="connsiteY48747" fmla="*/ 848318 h 6557032"/>
              <a:gd name="connsiteX48748" fmla="*/ 2155450 w 4610101"/>
              <a:gd name="connsiteY48748" fmla="*/ 847798 h 6557032"/>
              <a:gd name="connsiteX48749" fmla="*/ 2155632 w 4610101"/>
              <a:gd name="connsiteY48749" fmla="*/ 848162 h 6557032"/>
              <a:gd name="connsiteX48750" fmla="*/ 2159277 w 4610101"/>
              <a:gd name="connsiteY48750" fmla="*/ 842696 h 6557032"/>
              <a:gd name="connsiteX48751" fmla="*/ 2153810 w 4610101"/>
              <a:gd name="connsiteY48751" fmla="*/ 842696 h 6557032"/>
              <a:gd name="connsiteX48752" fmla="*/ 2153810 w 4610101"/>
              <a:gd name="connsiteY48752" fmla="*/ 844518 h 6557032"/>
              <a:gd name="connsiteX48753" fmla="*/ 2153810 w 4610101"/>
              <a:gd name="connsiteY48753" fmla="*/ 844671 h 6557032"/>
              <a:gd name="connsiteX48754" fmla="*/ 2152899 w 4610101"/>
              <a:gd name="connsiteY48754" fmla="*/ 842013 h 6557032"/>
              <a:gd name="connsiteX48755" fmla="*/ 2144699 w 4610101"/>
              <a:gd name="connsiteY48755" fmla="*/ 840874 h 6557032"/>
              <a:gd name="connsiteX48756" fmla="*/ 2142877 w 4610101"/>
              <a:gd name="connsiteY48756" fmla="*/ 851807 h 6557032"/>
              <a:gd name="connsiteX48757" fmla="*/ 2128300 w 4610101"/>
              <a:gd name="connsiteY48757" fmla="*/ 840874 h 6557032"/>
              <a:gd name="connsiteX48758" fmla="*/ 2126477 w 4610101"/>
              <a:gd name="connsiteY48758" fmla="*/ 848162 h 6557032"/>
              <a:gd name="connsiteX48759" fmla="*/ 2126477 w 4610101"/>
              <a:gd name="connsiteY48759" fmla="*/ 842696 h 6557032"/>
              <a:gd name="connsiteX48760" fmla="*/ 2088212 w 4610101"/>
              <a:gd name="connsiteY48760" fmla="*/ 862740 h 6557032"/>
              <a:gd name="connsiteX48761" fmla="*/ 2086390 w 4610101"/>
              <a:gd name="connsiteY48761" fmla="*/ 859095 h 6557032"/>
              <a:gd name="connsiteX48762" fmla="*/ 2046302 w 4610101"/>
              <a:gd name="connsiteY48762" fmla="*/ 911939 h 6557032"/>
              <a:gd name="connsiteX48763" fmla="*/ 2073634 w 4610101"/>
              <a:gd name="connsiteY48763" fmla="*/ 864562 h 6557032"/>
              <a:gd name="connsiteX48764" fmla="*/ 2062701 w 4610101"/>
              <a:gd name="connsiteY48764" fmla="*/ 866384 h 6557032"/>
              <a:gd name="connsiteX48765" fmla="*/ 2119189 w 4610101"/>
              <a:gd name="connsiteY48765" fmla="*/ 828118 h 6557032"/>
              <a:gd name="connsiteX48766" fmla="*/ 2102790 w 4610101"/>
              <a:gd name="connsiteY48766" fmla="*/ 833585 h 6557032"/>
              <a:gd name="connsiteX48767" fmla="*/ 2095500 w 4610101"/>
              <a:gd name="connsiteY48767" fmla="*/ 842696 h 6557032"/>
              <a:gd name="connsiteX48768" fmla="*/ 2095500 w 4610101"/>
              <a:gd name="connsiteY48768" fmla="*/ 837229 h 6557032"/>
              <a:gd name="connsiteX48769" fmla="*/ 2026258 w 4610101"/>
              <a:gd name="connsiteY48769" fmla="*/ 886428 h 6557032"/>
              <a:gd name="connsiteX48770" fmla="*/ 2020791 w 4610101"/>
              <a:gd name="connsiteY48770" fmla="*/ 882784 h 6557032"/>
              <a:gd name="connsiteX48771" fmla="*/ 2018969 w 4610101"/>
              <a:gd name="connsiteY48771" fmla="*/ 891894 h 6557032"/>
              <a:gd name="connsiteX48772" fmla="*/ 2015325 w 4610101"/>
              <a:gd name="connsiteY48772" fmla="*/ 884606 h 6557032"/>
              <a:gd name="connsiteX48773" fmla="*/ 2004392 w 4610101"/>
              <a:gd name="connsiteY48773" fmla="*/ 895539 h 6557032"/>
              <a:gd name="connsiteX48774" fmla="*/ 1997103 w 4610101"/>
              <a:gd name="connsiteY48774" fmla="*/ 884606 h 6557032"/>
              <a:gd name="connsiteX48775" fmla="*/ 2002115 w 4610101"/>
              <a:gd name="connsiteY48775" fmla="*/ 878684 h 6557032"/>
              <a:gd name="connsiteX48776" fmla="*/ 1998983 w 4610101"/>
              <a:gd name="connsiteY48776" fmla="*/ 870186 h 6557032"/>
              <a:gd name="connsiteX48777" fmla="*/ 2006214 w 4610101"/>
              <a:gd name="connsiteY48777" fmla="*/ 864562 h 6557032"/>
              <a:gd name="connsiteX48778" fmla="*/ 2008036 w 4610101"/>
              <a:gd name="connsiteY48778" fmla="*/ 884606 h 6557032"/>
              <a:gd name="connsiteX48779" fmla="*/ 2009858 w 4610101"/>
              <a:gd name="connsiteY48779" fmla="*/ 875495 h 6557032"/>
              <a:gd name="connsiteX48780" fmla="*/ 2015325 w 4610101"/>
              <a:gd name="connsiteY48780" fmla="*/ 880961 h 6557032"/>
              <a:gd name="connsiteX48781" fmla="*/ 2024436 w 4610101"/>
              <a:gd name="connsiteY48781" fmla="*/ 866384 h 6557032"/>
              <a:gd name="connsiteX48782" fmla="*/ 2026258 w 4610101"/>
              <a:gd name="connsiteY48782" fmla="*/ 873673 h 6557032"/>
              <a:gd name="connsiteX48783" fmla="*/ 2040835 w 4610101"/>
              <a:gd name="connsiteY48783" fmla="*/ 860918 h 6557032"/>
              <a:gd name="connsiteX48784" fmla="*/ 2035369 w 4610101"/>
              <a:gd name="connsiteY48784" fmla="*/ 855451 h 6557032"/>
              <a:gd name="connsiteX48785" fmla="*/ 2042657 w 4610101"/>
              <a:gd name="connsiteY48785" fmla="*/ 855451 h 6557032"/>
              <a:gd name="connsiteX48786" fmla="*/ 2042657 w 4610101"/>
              <a:gd name="connsiteY48786" fmla="*/ 860918 h 6557032"/>
              <a:gd name="connsiteX48787" fmla="*/ 2059057 w 4610101"/>
              <a:gd name="connsiteY48787" fmla="*/ 849985 h 6557032"/>
              <a:gd name="connsiteX48788" fmla="*/ 2055413 w 4610101"/>
              <a:gd name="connsiteY48788" fmla="*/ 849985 h 6557032"/>
              <a:gd name="connsiteX48789" fmla="*/ 2066346 w 4610101"/>
              <a:gd name="connsiteY48789" fmla="*/ 846340 h 6557032"/>
              <a:gd name="connsiteX48790" fmla="*/ 2066346 w 4610101"/>
              <a:gd name="connsiteY48790" fmla="*/ 839051 h 6557032"/>
              <a:gd name="connsiteX48791" fmla="*/ 2068168 w 4610101"/>
              <a:gd name="connsiteY48791" fmla="*/ 844518 h 6557032"/>
              <a:gd name="connsiteX48792" fmla="*/ 2091856 w 4610101"/>
              <a:gd name="connsiteY48792" fmla="*/ 786208 h 6557032"/>
              <a:gd name="connsiteX48793" fmla="*/ 2097323 w 4610101"/>
              <a:gd name="connsiteY48793" fmla="*/ 780742 h 6557032"/>
              <a:gd name="connsiteX48794" fmla="*/ 2097323 w 4610101"/>
              <a:gd name="connsiteY48794" fmla="*/ 760698 h 6557032"/>
              <a:gd name="connsiteX48795" fmla="*/ 2015325 w 4610101"/>
              <a:gd name="connsiteY48795" fmla="*/ 749765 h 6557032"/>
              <a:gd name="connsiteX48796" fmla="*/ 2035369 w 4610101"/>
              <a:gd name="connsiteY48796" fmla="*/ 726077 h 6557032"/>
              <a:gd name="connsiteX48797" fmla="*/ 2026031 w 4610101"/>
              <a:gd name="connsiteY48797" fmla="*/ 714689 h 6557032"/>
              <a:gd name="connsiteX48798" fmla="*/ 2015528 w 4610101"/>
              <a:gd name="connsiteY48798" fmla="*/ 706198 h 6557032"/>
              <a:gd name="connsiteX48799" fmla="*/ 2015553 w 4610101"/>
              <a:gd name="connsiteY48799" fmla="*/ 705350 h 6557032"/>
              <a:gd name="connsiteX48800" fmla="*/ 2022613 w 4610101"/>
              <a:gd name="connsiteY48800" fmla="*/ 704211 h 6557032"/>
              <a:gd name="connsiteX48801" fmla="*/ 2040835 w 4610101"/>
              <a:gd name="connsiteY48801" fmla="*/ 726077 h 6557032"/>
              <a:gd name="connsiteX48802" fmla="*/ 2091856 w 4610101"/>
              <a:gd name="connsiteY48802" fmla="*/ 749765 h 6557032"/>
              <a:gd name="connsiteX48803" fmla="*/ 2100967 w 4610101"/>
              <a:gd name="connsiteY48803" fmla="*/ 747943 h 6557032"/>
              <a:gd name="connsiteX48804" fmla="*/ 2102790 w 4610101"/>
              <a:gd name="connsiteY48804" fmla="*/ 760698 h 6557032"/>
              <a:gd name="connsiteX48805" fmla="*/ 2106433 w 4610101"/>
              <a:gd name="connsiteY48805" fmla="*/ 760698 h 6557032"/>
              <a:gd name="connsiteX48806" fmla="*/ 2102790 w 4610101"/>
              <a:gd name="connsiteY48806" fmla="*/ 804430 h 6557032"/>
              <a:gd name="connsiteX48807" fmla="*/ 2110078 w 4610101"/>
              <a:gd name="connsiteY48807" fmla="*/ 797141 h 6557032"/>
              <a:gd name="connsiteX48808" fmla="*/ 2135588 w 4610101"/>
              <a:gd name="connsiteY48808" fmla="*/ 724254 h 6557032"/>
              <a:gd name="connsiteX48809" fmla="*/ 2115544 w 4610101"/>
              <a:gd name="connsiteY48809" fmla="*/ 715144 h 6557032"/>
              <a:gd name="connsiteX48810" fmla="*/ 2113722 w 4610101"/>
              <a:gd name="connsiteY48810" fmla="*/ 724254 h 6557032"/>
              <a:gd name="connsiteX48811" fmla="*/ 2106433 w 4610101"/>
              <a:gd name="connsiteY48811" fmla="*/ 726077 h 6557032"/>
              <a:gd name="connsiteX48812" fmla="*/ 2119189 w 4610101"/>
              <a:gd name="connsiteY48812" fmla="*/ 687811 h 6557032"/>
              <a:gd name="connsiteX48813" fmla="*/ 2104803 w 4610101"/>
              <a:gd name="connsiteY48813" fmla="*/ 667671 h 6557032"/>
              <a:gd name="connsiteX48814" fmla="*/ 2108256 w 4610101"/>
              <a:gd name="connsiteY48814" fmla="*/ 665945 h 6557032"/>
              <a:gd name="connsiteX48815" fmla="*/ 2115544 w 4610101"/>
              <a:gd name="connsiteY48815" fmla="*/ 675056 h 6557032"/>
              <a:gd name="connsiteX48816" fmla="*/ 2137410 w 4610101"/>
              <a:gd name="connsiteY48816" fmla="*/ 716966 h 6557032"/>
              <a:gd name="connsiteX48817" fmla="*/ 2137410 w 4610101"/>
              <a:gd name="connsiteY48817" fmla="*/ 749765 h 6557032"/>
              <a:gd name="connsiteX48818" fmla="*/ 2126477 w 4610101"/>
              <a:gd name="connsiteY48818" fmla="*/ 760698 h 6557032"/>
              <a:gd name="connsiteX48819" fmla="*/ 2130122 w 4610101"/>
              <a:gd name="connsiteY48819" fmla="*/ 824474 h 6557032"/>
              <a:gd name="connsiteX48820" fmla="*/ 2142877 w 4610101"/>
              <a:gd name="connsiteY48820" fmla="*/ 798964 h 6557032"/>
              <a:gd name="connsiteX48821" fmla="*/ 2130122 w 4610101"/>
              <a:gd name="connsiteY48821" fmla="*/ 788031 h 6557032"/>
              <a:gd name="connsiteX48822" fmla="*/ 2146521 w 4610101"/>
              <a:gd name="connsiteY48822" fmla="*/ 778920 h 6557032"/>
              <a:gd name="connsiteX48823" fmla="*/ 2139233 w 4610101"/>
              <a:gd name="connsiteY48823" fmla="*/ 764342 h 6557032"/>
              <a:gd name="connsiteX48824" fmla="*/ 2162921 w 4610101"/>
              <a:gd name="connsiteY48824" fmla="*/ 764342 h 6557032"/>
              <a:gd name="connsiteX48825" fmla="*/ 2155632 w 4610101"/>
              <a:gd name="connsiteY48825" fmla="*/ 749765 h 6557032"/>
              <a:gd name="connsiteX48826" fmla="*/ 2164743 w 4610101"/>
              <a:gd name="connsiteY48826" fmla="*/ 749765 h 6557032"/>
              <a:gd name="connsiteX48827" fmla="*/ 2172032 w 4610101"/>
              <a:gd name="connsiteY48827" fmla="*/ 742476 h 6557032"/>
              <a:gd name="connsiteX48828" fmla="*/ 2168387 w 4610101"/>
              <a:gd name="connsiteY48828" fmla="*/ 738832 h 6557032"/>
              <a:gd name="connsiteX48829" fmla="*/ 2172032 w 4610101"/>
              <a:gd name="connsiteY48829" fmla="*/ 735188 h 6557032"/>
              <a:gd name="connsiteX48830" fmla="*/ 2172032 w 4610101"/>
              <a:gd name="connsiteY48830" fmla="*/ 733365 h 6557032"/>
              <a:gd name="connsiteX48831" fmla="*/ 2173854 w 4610101"/>
              <a:gd name="connsiteY48831" fmla="*/ 733365 h 6557032"/>
              <a:gd name="connsiteX48832" fmla="*/ 2177498 w 4610101"/>
              <a:gd name="connsiteY48832" fmla="*/ 726077 h 6557032"/>
              <a:gd name="connsiteX48833" fmla="*/ 2179320 w 4610101"/>
              <a:gd name="connsiteY48833" fmla="*/ 727899 h 6557032"/>
              <a:gd name="connsiteX48834" fmla="*/ 2181143 w 4610101"/>
              <a:gd name="connsiteY48834" fmla="*/ 700566 h 6557032"/>
              <a:gd name="connsiteX48835" fmla="*/ 2184787 w 4610101"/>
              <a:gd name="connsiteY48835" fmla="*/ 707855 h 6557032"/>
              <a:gd name="connsiteX48836" fmla="*/ 2184787 w 4610101"/>
              <a:gd name="connsiteY48836" fmla="*/ 722432 h 6557032"/>
              <a:gd name="connsiteX48837" fmla="*/ 2203009 w 4610101"/>
              <a:gd name="connsiteY48837" fmla="*/ 706033 h 6557032"/>
              <a:gd name="connsiteX48838" fmla="*/ 2226697 w 4610101"/>
              <a:gd name="connsiteY48838" fmla="*/ 709677 h 6557032"/>
              <a:gd name="connsiteX48839" fmla="*/ 2226697 w 4610101"/>
              <a:gd name="connsiteY48839" fmla="*/ 704211 h 6557032"/>
              <a:gd name="connsiteX48840" fmla="*/ 2235808 w 4610101"/>
              <a:gd name="connsiteY48840" fmla="*/ 706033 h 6557032"/>
              <a:gd name="connsiteX48841" fmla="*/ 2232163 w 4610101"/>
              <a:gd name="connsiteY48841" fmla="*/ 695100 h 6557032"/>
              <a:gd name="connsiteX48842" fmla="*/ 2239452 w 4610101"/>
              <a:gd name="connsiteY48842" fmla="*/ 706033 h 6557032"/>
              <a:gd name="connsiteX48843" fmla="*/ 2239452 w 4610101"/>
              <a:gd name="connsiteY48843" fmla="*/ 700566 h 6557032"/>
              <a:gd name="connsiteX48844" fmla="*/ 2263140 w 4610101"/>
              <a:gd name="connsiteY48844" fmla="*/ 709677 h 6557032"/>
              <a:gd name="connsiteX48845" fmla="*/ 2259496 w 4610101"/>
              <a:gd name="connsiteY48845" fmla="*/ 695100 h 6557032"/>
              <a:gd name="connsiteX48846" fmla="*/ 2270429 w 4610101"/>
              <a:gd name="connsiteY48846" fmla="*/ 698744 h 6557032"/>
              <a:gd name="connsiteX48847" fmla="*/ 2286829 w 4610101"/>
              <a:gd name="connsiteY48847" fmla="*/ 685989 h 6557032"/>
              <a:gd name="connsiteX48848" fmla="*/ 2288651 w 4610101"/>
              <a:gd name="connsiteY48848" fmla="*/ 696922 h 6557032"/>
              <a:gd name="connsiteX48849" fmla="*/ 2255852 w 4610101"/>
              <a:gd name="connsiteY48849" fmla="*/ 620391 h 6557032"/>
              <a:gd name="connsiteX48850" fmla="*/ 2275896 w 4610101"/>
              <a:gd name="connsiteY48850" fmla="*/ 631324 h 6557032"/>
              <a:gd name="connsiteX48851" fmla="*/ 2283184 w 4610101"/>
              <a:gd name="connsiteY48851" fmla="*/ 622213 h 6557032"/>
              <a:gd name="connsiteX48852" fmla="*/ 2277718 w 4610101"/>
              <a:gd name="connsiteY48852" fmla="*/ 614924 h 6557032"/>
              <a:gd name="connsiteX48853" fmla="*/ 2275896 w 4610101"/>
              <a:gd name="connsiteY48853" fmla="*/ 622213 h 6557032"/>
              <a:gd name="connsiteX48854" fmla="*/ 2213942 w 4610101"/>
              <a:gd name="connsiteY48854" fmla="*/ 558437 h 6557032"/>
              <a:gd name="connsiteX48855" fmla="*/ 2213942 w 4610101"/>
              <a:gd name="connsiteY48855" fmla="*/ 565725 h 6557032"/>
              <a:gd name="connsiteX48856" fmla="*/ 2212120 w 4610101"/>
              <a:gd name="connsiteY48856" fmla="*/ 558437 h 6557032"/>
              <a:gd name="connsiteX48857" fmla="*/ 2203009 w 4610101"/>
              <a:gd name="connsiteY48857" fmla="*/ 558437 h 6557032"/>
              <a:gd name="connsiteX48858" fmla="*/ 2204831 w 4610101"/>
              <a:gd name="connsiteY48858" fmla="*/ 565725 h 6557032"/>
              <a:gd name="connsiteX48859" fmla="*/ 2195720 w 4610101"/>
              <a:gd name="connsiteY48859" fmla="*/ 552970 h 6557032"/>
              <a:gd name="connsiteX48860" fmla="*/ 2188431 w 4610101"/>
              <a:gd name="connsiteY48860" fmla="*/ 576658 h 6557032"/>
              <a:gd name="connsiteX48861" fmla="*/ 2182965 w 4610101"/>
              <a:gd name="connsiteY48861" fmla="*/ 573014 h 6557032"/>
              <a:gd name="connsiteX48862" fmla="*/ 2186609 w 4610101"/>
              <a:gd name="connsiteY48862" fmla="*/ 543860 h 6557032"/>
              <a:gd name="connsiteX48863" fmla="*/ 2177498 w 4610101"/>
              <a:gd name="connsiteY48863" fmla="*/ 540215 h 6557032"/>
              <a:gd name="connsiteX48864" fmla="*/ 2181143 w 4610101"/>
              <a:gd name="connsiteY48864" fmla="*/ 558437 h 6557032"/>
              <a:gd name="connsiteX48865" fmla="*/ 2177498 w 4610101"/>
              <a:gd name="connsiteY48865" fmla="*/ 551148 h 6557032"/>
              <a:gd name="connsiteX48866" fmla="*/ 2173854 w 4610101"/>
              <a:gd name="connsiteY48866" fmla="*/ 552970 h 6557032"/>
              <a:gd name="connsiteX48867" fmla="*/ 2175676 w 4610101"/>
              <a:gd name="connsiteY48867" fmla="*/ 567548 h 6557032"/>
              <a:gd name="connsiteX48868" fmla="*/ 2166565 w 4610101"/>
              <a:gd name="connsiteY48868" fmla="*/ 554792 h 6557032"/>
              <a:gd name="connsiteX48869" fmla="*/ 2166565 w 4610101"/>
              <a:gd name="connsiteY48869" fmla="*/ 563904 h 6557032"/>
              <a:gd name="connsiteX48870" fmla="*/ 2168387 w 4610101"/>
              <a:gd name="connsiteY48870" fmla="*/ 562081 h 6557032"/>
              <a:gd name="connsiteX48871" fmla="*/ 2170210 w 4610101"/>
              <a:gd name="connsiteY48871" fmla="*/ 571192 h 6557032"/>
              <a:gd name="connsiteX48872" fmla="*/ 2159277 w 4610101"/>
              <a:gd name="connsiteY48872" fmla="*/ 565725 h 6557032"/>
              <a:gd name="connsiteX48873" fmla="*/ 2161099 w 4610101"/>
              <a:gd name="connsiteY48873" fmla="*/ 573014 h 6557032"/>
              <a:gd name="connsiteX48874" fmla="*/ 2155632 w 4610101"/>
              <a:gd name="connsiteY48874" fmla="*/ 571192 h 6557032"/>
              <a:gd name="connsiteX48875" fmla="*/ 2157454 w 4610101"/>
              <a:gd name="connsiteY48875" fmla="*/ 587591 h 6557032"/>
              <a:gd name="connsiteX48876" fmla="*/ 2155632 w 4610101"/>
              <a:gd name="connsiteY48876" fmla="*/ 596702 h 6557032"/>
              <a:gd name="connsiteX48877" fmla="*/ 2146521 w 4610101"/>
              <a:gd name="connsiteY48877" fmla="*/ 578481 h 6557032"/>
              <a:gd name="connsiteX48878" fmla="*/ 2150166 w 4610101"/>
              <a:gd name="connsiteY48878" fmla="*/ 587591 h 6557032"/>
              <a:gd name="connsiteX48879" fmla="*/ 2150166 w 4610101"/>
              <a:gd name="connsiteY48879" fmla="*/ 589414 h 6557032"/>
              <a:gd name="connsiteX48880" fmla="*/ 2146521 w 4610101"/>
              <a:gd name="connsiteY48880" fmla="*/ 587591 h 6557032"/>
              <a:gd name="connsiteX48881" fmla="*/ 2144699 w 4610101"/>
              <a:gd name="connsiteY48881" fmla="*/ 607635 h 6557032"/>
              <a:gd name="connsiteX48882" fmla="*/ 2137410 w 4610101"/>
              <a:gd name="connsiteY48882" fmla="*/ 587591 h 6557032"/>
              <a:gd name="connsiteX48883" fmla="*/ 2135588 w 4610101"/>
              <a:gd name="connsiteY48883" fmla="*/ 602169 h 6557032"/>
              <a:gd name="connsiteX48884" fmla="*/ 2135588 w 4610101"/>
              <a:gd name="connsiteY48884" fmla="*/ 582125 h 6557032"/>
              <a:gd name="connsiteX48885" fmla="*/ 2133766 w 4610101"/>
              <a:gd name="connsiteY48885" fmla="*/ 583947 h 6557032"/>
              <a:gd name="connsiteX48886" fmla="*/ 2128300 w 4610101"/>
              <a:gd name="connsiteY48886" fmla="*/ 563904 h 6557032"/>
              <a:gd name="connsiteX48887" fmla="*/ 2128300 w 4610101"/>
              <a:gd name="connsiteY48887" fmla="*/ 574836 h 6557032"/>
              <a:gd name="connsiteX48888" fmla="*/ 2126477 w 4610101"/>
              <a:gd name="connsiteY48888" fmla="*/ 573014 h 6557032"/>
              <a:gd name="connsiteX48889" fmla="*/ 2131944 w 4610101"/>
              <a:gd name="connsiteY48889" fmla="*/ 605813 h 6557032"/>
              <a:gd name="connsiteX48890" fmla="*/ 2136272 w 4610101"/>
              <a:gd name="connsiteY48890" fmla="*/ 611736 h 6557032"/>
              <a:gd name="connsiteX48891" fmla="*/ 2137376 w 4610101"/>
              <a:gd name="connsiteY48891" fmla="*/ 614963 h 6557032"/>
              <a:gd name="connsiteX48892" fmla="*/ 2134222 w 4610101"/>
              <a:gd name="connsiteY48892" fmla="*/ 618569 h 6557032"/>
              <a:gd name="connsiteX48893" fmla="*/ 2133766 w 4610101"/>
              <a:gd name="connsiteY48893" fmla="*/ 622213 h 6557032"/>
              <a:gd name="connsiteX48894" fmla="*/ 2139233 w 4610101"/>
              <a:gd name="connsiteY48894" fmla="*/ 620391 h 6557032"/>
              <a:gd name="connsiteX48895" fmla="*/ 2139233 w 4610101"/>
              <a:gd name="connsiteY48895" fmla="*/ 634968 h 6557032"/>
              <a:gd name="connsiteX48896" fmla="*/ 2150166 w 4610101"/>
              <a:gd name="connsiteY48896" fmla="*/ 620391 h 6557032"/>
              <a:gd name="connsiteX48897" fmla="*/ 2151988 w 4610101"/>
              <a:gd name="connsiteY48897" fmla="*/ 651368 h 6557032"/>
              <a:gd name="connsiteX48898" fmla="*/ 2141055 w 4610101"/>
              <a:gd name="connsiteY48898" fmla="*/ 644079 h 6557032"/>
              <a:gd name="connsiteX48899" fmla="*/ 2139233 w 4610101"/>
              <a:gd name="connsiteY48899" fmla="*/ 642257 h 6557032"/>
              <a:gd name="connsiteX48900" fmla="*/ 2137410 w 4610101"/>
              <a:gd name="connsiteY48900" fmla="*/ 649545 h 6557032"/>
              <a:gd name="connsiteX48901" fmla="*/ 2128300 w 4610101"/>
              <a:gd name="connsiteY48901" fmla="*/ 613103 h 6557032"/>
              <a:gd name="connsiteX48902" fmla="*/ 2128300 w 4610101"/>
              <a:gd name="connsiteY48902" fmla="*/ 605813 h 6557032"/>
              <a:gd name="connsiteX48903" fmla="*/ 2121011 w 4610101"/>
              <a:gd name="connsiteY48903" fmla="*/ 609459 h 6557032"/>
              <a:gd name="connsiteX48904" fmla="*/ 2121011 w 4610101"/>
              <a:gd name="connsiteY48904" fmla="*/ 605813 h 6557032"/>
              <a:gd name="connsiteX48905" fmla="*/ 2122833 w 4610101"/>
              <a:gd name="connsiteY48905" fmla="*/ 629501 h 6557032"/>
              <a:gd name="connsiteX48906" fmla="*/ 2124655 w 4610101"/>
              <a:gd name="connsiteY48906" fmla="*/ 627679 h 6557032"/>
              <a:gd name="connsiteX48907" fmla="*/ 2126477 w 4610101"/>
              <a:gd name="connsiteY48907" fmla="*/ 638612 h 6557032"/>
              <a:gd name="connsiteX48908" fmla="*/ 2124655 w 4610101"/>
              <a:gd name="connsiteY48908" fmla="*/ 636790 h 6557032"/>
              <a:gd name="connsiteX48909" fmla="*/ 2122833 w 4610101"/>
              <a:gd name="connsiteY48909" fmla="*/ 640435 h 6557032"/>
              <a:gd name="connsiteX48910" fmla="*/ 2113722 w 4610101"/>
              <a:gd name="connsiteY48910" fmla="*/ 625857 h 6557032"/>
              <a:gd name="connsiteX48911" fmla="*/ 2113722 w 4610101"/>
              <a:gd name="connsiteY48911" fmla="*/ 633146 h 6557032"/>
              <a:gd name="connsiteX48912" fmla="*/ 2111900 w 4610101"/>
              <a:gd name="connsiteY48912" fmla="*/ 618568 h 6557032"/>
              <a:gd name="connsiteX48913" fmla="*/ 2108256 w 4610101"/>
              <a:gd name="connsiteY48913" fmla="*/ 611280 h 6557032"/>
              <a:gd name="connsiteX48914" fmla="*/ 2106433 w 4610101"/>
              <a:gd name="connsiteY48914" fmla="*/ 613103 h 6557032"/>
              <a:gd name="connsiteX48915" fmla="*/ 2102790 w 4610101"/>
              <a:gd name="connsiteY48915" fmla="*/ 609459 h 6557032"/>
              <a:gd name="connsiteX48916" fmla="*/ 2100967 w 4610101"/>
              <a:gd name="connsiteY48916" fmla="*/ 638613 h 6557032"/>
              <a:gd name="connsiteX48917" fmla="*/ 2104556 w 4610101"/>
              <a:gd name="connsiteY48917" fmla="*/ 667325 h 6557032"/>
              <a:gd name="connsiteX48918" fmla="*/ 2104384 w 4610101"/>
              <a:gd name="connsiteY48918" fmla="*/ 667084 h 6557032"/>
              <a:gd name="connsiteX48919" fmla="*/ 2099145 w 4610101"/>
              <a:gd name="connsiteY48919" fmla="*/ 642257 h 6557032"/>
              <a:gd name="connsiteX48920" fmla="*/ 2090034 w 4610101"/>
              <a:gd name="connsiteY48920" fmla="*/ 655012 h 6557032"/>
              <a:gd name="connsiteX48921" fmla="*/ 2069990 w 4610101"/>
              <a:gd name="connsiteY48921" fmla="*/ 642257 h 6557032"/>
              <a:gd name="connsiteX48922" fmla="*/ 2090034 w 4610101"/>
              <a:gd name="connsiteY48922" fmla="*/ 644079 h 6557032"/>
              <a:gd name="connsiteX48923" fmla="*/ 2091856 w 4610101"/>
              <a:gd name="connsiteY48923" fmla="*/ 631324 h 6557032"/>
              <a:gd name="connsiteX48924" fmla="*/ 2095500 w 4610101"/>
              <a:gd name="connsiteY48924" fmla="*/ 633146 h 6557032"/>
              <a:gd name="connsiteX48925" fmla="*/ 2071812 w 4610101"/>
              <a:gd name="connsiteY48925" fmla="*/ 624035 h 6557032"/>
              <a:gd name="connsiteX48926" fmla="*/ 2086390 w 4610101"/>
              <a:gd name="connsiteY48926" fmla="*/ 605813 h 6557032"/>
              <a:gd name="connsiteX48927" fmla="*/ 2091856 w 4610101"/>
              <a:gd name="connsiteY48927" fmla="*/ 616746 h 6557032"/>
              <a:gd name="connsiteX48928" fmla="*/ 2099145 w 4610101"/>
              <a:gd name="connsiteY48928" fmla="*/ 607635 h 6557032"/>
              <a:gd name="connsiteX48929" fmla="*/ 2095729 w 4610101"/>
              <a:gd name="connsiteY48929" fmla="*/ 599891 h 6557032"/>
              <a:gd name="connsiteX48930" fmla="*/ 2094851 w 4610101"/>
              <a:gd name="connsiteY48930" fmla="*/ 599306 h 6557032"/>
              <a:gd name="connsiteX48931" fmla="*/ 2095500 w 4610101"/>
              <a:gd name="connsiteY48931" fmla="*/ 596702 h 6557032"/>
              <a:gd name="connsiteX48932" fmla="*/ 2093679 w 4610101"/>
              <a:gd name="connsiteY48932" fmla="*/ 594880 h 6557032"/>
              <a:gd name="connsiteX48933" fmla="*/ 2092252 w 4610101"/>
              <a:gd name="connsiteY48933" fmla="*/ 597574 h 6557032"/>
              <a:gd name="connsiteX48934" fmla="*/ 2088212 w 4610101"/>
              <a:gd name="connsiteY48934" fmla="*/ 594880 h 6557032"/>
              <a:gd name="connsiteX48935" fmla="*/ 2086390 w 4610101"/>
              <a:gd name="connsiteY48935" fmla="*/ 600347 h 6557032"/>
              <a:gd name="connsiteX48936" fmla="*/ 2084568 w 4610101"/>
              <a:gd name="connsiteY48936" fmla="*/ 593058 h 6557032"/>
              <a:gd name="connsiteX48937" fmla="*/ 2073634 w 4610101"/>
              <a:gd name="connsiteY48937" fmla="*/ 614924 h 6557032"/>
              <a:gd name="connsiteX48938" fmla="*/ 2069990 w 4610101"/>
              <a:gd name="connsiteY48938" fmla="*/ 611280 h 6557032"/>
              <a:gd name="connsiteX48939" fmla="*/ 2069990 w 4610101"/>
              <a:gd name="connsiteY48939" fmla="*/ 624035 h 6557032"/>
              <a:gd name="connsiteX48940" fmla="*/ 2064524 w 4610101"/>
              <a:gd name="connsiteY48940" fmla="*/ 620391 h 6557032"/>
              <a:gd name="connsiteX48941" fmla="*/ 2064524 w 4610101"/>
              <a:gd name="connsiteY48941" fmla="*/ 627679 h 6557032"/>
              <a:gd name="connsiteX48942" fmla="*/ 2071812 w 4610101"/>
              <a:gd name="connsiteY48942" fmla="*/ 627679 h 6557032"/>
              <a:gd name="connsiteX48943" fmla="*/ 2066346 w 4610101"/>
              <a:gd name="connsiteY48943" fmla="*/ 644079 h 6557032"/>
              <a:gd name="connsiteX48944" fmla="*/ 2068168 w 4610101"/>
              <a:gd name="connsiteY48944" fmla="*/ 633146 h 6557032"/>
              <a:gd name="connsiteX48945" fmla="*/ 2064524 w 4610101"/>
              <a:gd name="connsiteY48945" fmla="*/ 631324 h 6557032"/>
              <a:gd name="connsiteX48946" fmla="*/ 2060879 w 4610101"/>
              <a:gd name="connsiteY48946" fmla="*/ 638612 h 6557032"/>
              <a:gd name="connsiteX48947" fmla="*/ 2060879 w 4610101"/>
              <a:gd name="connsiteY48947" fmla="*/ 631324 h 6557032"/>
              <a:gd name="connsiteX48948" fmla="*/ 2064524 w 4610101"/>
              <a:gd name="connsiteY48948" fmla="*/ 645901 h 6557032"/>
              <a:gd name="connsiteX48949" fmla="*/ 2053590 w 4610101"/>
              <a:gd name="connsiteY48949" fmla="*/ 636790 h 6557032"/>
              <a:gd name="connsiteX48950" fmla="*/ 2048124 w 4610101"/>
              <a:gd name="connsiteY48950" fmla="*/ 647723 h 6557032"/>
              <a:gd name="connsiteX48951" fmla="*/ 2037191 w 4610101"/>
              <a:gd name="connsiteY48951" fmla="*/ 644079 h 6557032"/>
              <a:gd name="connsiteX48952" fmla="*/ 2060879 w 4610101"/>
              <a:gd name="connsiteY48952" fmla="*/ 611280 h 6557032"/>
              <a:gd name="connsiteX48953" fmla="*/ 2060879 w 4610101"/>
              <a:gd name="connsiteY48953" fmla="*/ 618568 h 6557032"/>
              <a:gd name="connsiteX48954" fmla="*/ 2062701 w 4610101"/>
              <a:gd name="connsiteY48954" fmla="*/ 596702 h 6557032"/>
              <a:gd name="connsiteX48955" fmla="*/ 2069990 w 4610101"/>
              <a:gd name="connsiteY48955" fmla="*/ 605813 h 6557032"/>
              <a:gd name="connsiteX48956" fmla="*/ 2071812 w 4610101"/>
              <a:gd name="connsiteY48956" fmla="*/ 596702 h 6557032"/>
              <a:gd name="connsiteX48957" fmla="*/ 2066346 w 4610101"/>
              <a:gd name="connsiteY48957" fmla="*/ 594880 h 6557032"/>
              <a:gd name="connsiteX48958" fmla="*/ 2059057 w 4610101"/>
              <a:gd name="connsiteY48958" fmla="*/ 578481 h 6557032"/>
              <a:gd name="connsiteX48959" fmla="*/ 2060879 w 4610101"/>
              <a:gd name="connsiteY48959" fmla="*/ 577353 h 6557032"/>
              <a:gd name="connsiteX48960" fmla="*/ 2060879 w 4610101"/>
              <a:gd name="connsiteY48960" fmla="*/ 578481 h 6557032"/>
              <a:gd name="connsiteX48961" fmla="*/ 2066346 w 4610101"/>
              <a:gd name="connsiteY48961" fmla="*/ 578481 h 6557032"/>
              <a:gd name="connsiteX48962" fmla="*/ 2066346 w 4610101"/>
              <a:gd name="connsiteY48962" fmla="*/ 575984 h 6557032"/>
              <a:gd name="connsiteX48963" fmla="*/ 2069990 w 4610101"/>
              <a:gd name="connsiteY48963" fmla="*/ 576658 h 6557032"/>
              <a:gd name="connsiteX48964" fmla="*/ 2066346 w 4610101"/>
              <a:gd name="connsiteY48964" fmla="*/ 573925 h 6557032"/>
              <a:gd name="connsiteX48965" fmla="*/ 2066346 w 4610101"/>
              <a:gd name="connsiteY48965" fmla="*/ 573014 h 6557032"/>
              <a:gd name="connsiteX48966" fmla="*/ 2065505 w 4610101"/>
              <a:gd name="connsiteY48966" fmla="*/ 573295 h 6557032"/>
              <a:gd name="connsiteX48967" fmla="*/ 2055413 w 4610101"/>
              <a:gd name="connsiteY48967" fmla="*/ 565725 h 6557032"/>
              <a:gd name="connsiteX48968" fmla="*/ 2053590 w 4610101"/>
              <a:gd name="connsiteY48968" fmla="*/ 571192 h 6557032"/>
              <a:gd name="connsiteX48969" fmla="*/ 2040835 w 4610101"/>
              <a:gd name="connsiteY48969" fmla="*/ 563904 h 6557032"/>
              <a:gd name="connsiteX48970" fmla="*/ 2039013 w 4610101"/>
              <a:gd name="connsiteY48970" fmla="*/ 569370 h 6557032"/>
              <a:gd name="connsiteX48971" fmla="*/ 2022613 w 4610101"/>
              <a:gd name="connsiteY48971" fmla="*/ 569370 h 6557032"/>
              <a:gd name="connsiteX48972" fmla="*/ 1971592 w 4610101"/>
              <a:gd name="connsiteY48972" fmla="*/ 642257 h 6557032"/>
              <a:gd name="connsiteX48973" fmla="*/ 1973416 w 4610101"/>
              <a:gd name="connsiteY48973" fmla="*/ 642257 h 6557032"/>
              <a:gd name="connsiteX48974" fmla="*/ 1967948 w 4610101"/>
              <a:gd name="connsiteY48974" fmla="*/ 656834 h 6557032"/>
              <a:gd name="connsiteX48975" fmla="*/ 1966126 w 4610101"/>
              <a:gd name="connsiteY48975" fmla="*/ 616746 h 6557032"/>
              <a:gd name="connsiteX48976" fmla="*/ 1955194 w 4610101"/>
              <a:gd name="connsiteY48976" fmla="*/ 634968 h 6557032"/>
              <a:gd name="connsiteX48977" fmla="*/ 1956332 w 4610101"/>
              <a:gd name="connsiteY48977" fmla="*/ 613558 h 6557032"/>
              <a:gd name="connsiteX48978" fmla="*/ 1960732 w 4610101"/>
              <a:gd name="connsiteY48978" fmla="*/ 607442 h 6557032"/>
              <a:gd name="connsiteX48979" fmla="*/ 1960659 w 4610101"/>
              <a:gd name="connsiteY48979" fmla="*/ 607635 h 6557032"/>
              <a:gd name="connsiteX48980" fmla="*/ 1969770 w 4610101"/>
              <a:gd name="connsiteY48980" fmla="*/ 594880 h 6557032"/>
              <a:gd name="connsiteX48981" fmla="*/ 1964305 w 4610101"/>
              <a:gd name="connsiteY48981" fmla="*/ 589414 h 6557032"/>
              <a:gd name="connsiteX48982" fmla="*/ 1975237 w 4610101"/>
              <a:gd name="connsiteY48982" fmla="*/ 574836 h 6557032"/>
              <a:gd name="connsiteX48983" fmla="*/ 1980703 w 4610101"/>
              <a:gd name="connsiteY48983" fmla="*/ 576658 h 6557032"/>
              <a:gd name="connsiteX48984" fmla="*/ 1977059 w 4610101"/>
              <a:gd name="connsiteY48984" fmla="*/ 558437 h 6557032"/>
              <a:gd name="connsiteX48985" fmla="*/ 1975237 w 4610101"/>
              <a:gd name="connsiteY48985" fmla="*/ 562081 h 6557032"/>
              <a:gd name="connsiteX48986" fmla="*/ 1978881 w 4610101"/>
              <a:gd name="connsiteY48986" fmla="*/ 542037 h 6557032"/>
              <a:gd name="connsiteX48987" fmla="*/ 1984348 w 4610101"/>
              <a:gd name="connsiteY48987" fmla="*/ 549326 h 6557032"/>
              <a:gd name="connsiteX48988" fmla="*/ 1986788 w 4610101"/>
              <a:gd name="connsiteY48988" fmla="*/ 547806 h 6557032"/>
              <a:gd name="connsiteX48989" fmla="*/ 1984120 w 4610101"/>
              <a:gd name="connsiteY48989" fmla="*/ 552515 h 6557032"/>
              <a:gd name="connsiteX48990" fmla="*/ 1984348 w 4610101"/>
              <a:gd name="connsiteY48990" fmla="*/ 562081 h 6557032"/>
              <a:gd name="connsiteX48991" fmla="*/ 1989586 w 4610101"/>
              <a:gd name="connsiteY48991" fmla="*/ 555248 h 6557032"/>
              <a:gd name="connsiteX48992" fmla="*/ 1988199 w 4610101"/>
              <a:gd name="connsiteY48992" fmla="*/ 546927 h 6557032"/>
              <a:gd name="connsiteX48993" fmla="*/ 1998242 w 4610101"/>
              <a:gd name="connsiteY48993" fmla="*/ 540671 h 6557032"/>
              <a:gd name="connsiteX48994" fmla="*/ 2008036 w 4610101"/>
              <a:gd name="connsiteY48994" fmla="*/ 523815 h 6557032"/>
              <a:gd name="connsiteX48995" fmla="*/ 2002570 w 4610101"/>
              <a:gd name="connsiteY48995" fmla="*/ 512882 h 6557032"/>
              <a:gd name="connsiteX48996" fmla="*/ 2009858 w 4610101"/>
              <a:gd name="connsiteY48996" fmla="*/ 523815 h 6557032"/>
              <a:gd name="connsiteX48997" fmla="*/ 2008036 w 4610101"/>
              <a:gd name="connsiteY48997" fmla="*/ 465506 h 6557032"/>
              <a:gd name="connsiteX48998" fmla="*/ 2008036 w 4610101"/>
              <a:gd name="connsiteY48998" fmla="*/ 472795 h 6557032"/>
              <a:gd name="connsiteX48999" fmla="*/ 2004392 w 4610101"/>
              <a:gd name="connsiteY48999" fmla="*/ 467328 h 6557032"/>
              <a:gd name="connsiteX49000" fmla="*/ 2006214 w 4610101"/>
              <a:gd name="connsiteY49000" fmla="*/ 489194 h 6557032"/>
              <a:gd name="connsiteX49001" fmla="*/ 2004392 w 4610101"/>
              <a:gd name="connsiteY49001" fmla="*/ 487373 h 6557032"/>
              <a:gd name="connsiteX49002" fmla="*/ 2004392 w 4610101"/>
              <a:gd name="connsiteY49002" fmla="*/ 494662 h 6557032"/>
              <a:gd name="connsiteX49003" fmla="*/ 1993459 w 4610101"/>
              <a:gd name="connsiteY49003" fmla="*/ 476439 h 6557032"/>
              <a:gd name="connsiteX49004" fmla="*/ 1969528 w 4610101"/>
              <a:gd name="connsiteY49004" fmla="*/ 504738 h 6557032"/>
              <a:gd name="connsiteX49005" fmla="*/ 1969770 w 4610101"/>
              <a:gd name="connsiteY49005" fmla="*/ 503771 h 6557032"/>
              <a:gd name="connsiteX49006" fmla="*/ 1955194 w 4610101"/>
              <a:gd name="connsiteY49006" fmla="*/ 505594 h 6557032"/>
              <a:gd name="connsiteX49007" fmla="*/ 1960659 w 4610101"/>
              <a:gd name="connsiteY49007" fmla="*/ 498306 h 6557032"/>
              <a:gd name="connsiteX49008" fmla="*/ 1964305 w 4610101"/>
              <a:gd name="connsiteY49008" fmla="*/ 503771 h 6557032"/>
              <a:gd name="connsiteX49009" fmla="*/ 1984348 w 4610101"/>
              <a:gd name="connsiteY49009" fmla="*/ 478262 h 6557032"/>
              <a:gd name="connsiteX49010" fmla="*/ 1966126 w 4610101"/>
              <a:gd name="connsiteY49010" fmla="*/ 474618 h 6557032"/>
              <a:gd name="connsiteX49011" fmla="*/ 1965303 w 4610101"/>
              <a:gd name="connsiteY49011" fmla="*/ 481204 h 6557032"/>
              <a:gd name="connsiteX49012" fmla="*/ 1953826 w 4610101"/>
              <a:gd name="connsiteY49012" fmla="*/ 471428 h 6557032"/>
              <a:gd name="connsiteX49013" fmla="*/ 1939186 w 4610101"/>
              <a:gd name="connsiteY49013" fmla="*/ 479857 h 6557032"/>
              <a:gd name="connsiteX49014" fmla="*/ 1936972 w 4610101"/>
              <a:gd name="connsiteY49014" fmla="*/ 469150 h 6557032"/>
              <a:gd name="connsiteX49015" fmla="*/ 1946083 w 4610101"/>
              <a:gd name="connsiteY49015" fmla="*/ 469150 h 6557032"/>
              <a:gd name="connsiteX49016" fmla="*/ 1938793 w 4610101"/>
              <a:gd name="connsiteY49016" fmla="*/ 443640 h 6557032"/>
              <a:gd name="connsiteX49017" fmla="*/ 1947904 w 4610101"/>
              <a:gd name="connsiteY49017" fmla="*/ 443640 h 6557032"/>
              <a:gd name="connsiteX49018" fmla="*/ 1947904 w 4610101"/>
              <a:gd name="connsiteY49018" fmla="*/ 465506 h 6557032"/>
              <a:gd name="connsiteX49019" fmla="*/ 1953371 w 4610101"/>
              <a:gd name="connsiteY49019" fmla="*/ 463684 h 6557032"/>
              <a:gd name="connsiteX49020" fmla="*/ 1953371 w 4610101"/>
              <a:gd name="connsiteY49020" fmla="*/ 458218 h 6557032"/>
              <a:gd name="connsiteX49021" fmla="*/ 1989814 w 4610101"/>
              <a:gd name="connsiteY49021" fmla="*/ 467328 h 6557032"/>
              <a:gd name="connsiteX49022" fmla="*/ 1986170 w 4610101"/>
              <a:gd name="connsiteY49022" fmla="*/ 456395 h 6557032"/>
              <a:gd name="connsiteX49023" fmla="*/ 1984348 w 4610101"/>
              <a:gd name="connsiteY49023" fmla="*/ 458218 h 6557032"/>
              <a:gd name="connsiteX49024" fmla="*/ 1985837 w 4610101"/>
              <a:gd name="connsiteY49024" fmla="*/ 454591 h 6557032"/>
              <a:gd name="connsiteX49025" fmla="*/ 1984347 w 4610101"/>
              <a:gd name="connsiteY49025" fmla="*/ 454591 h 6557032"/>
              <a:gd name="connsiteX49026" fmla="*/ 1986169 w 4610101"/>
              <a:gd name="connsiteY49026" fmla="*/ 447302 h 6557032"/>
              <a:gd name="connsiteX49027" fmla="*/ 1986169 w 4610101"/>
              <a:gd name="connsiteY49027" fmla="*/ 453784 h 6557032"/>
              <a:gd name="connsiteX49028" fmla="*/ 1989586 w 4610101"/>
              <a:gd name="connsiteY49028" fmla="*/ 445463 h 6557032"/>
              <a:gd name="connsiteX49029" fmla="*/ 1998925 w 4610101"/>
              <a:gd name="connsiteY49029" fmla="*/ 443640 h 6557032"/>
              <a:gd name="connsiteX49030" fmla="*/ 1998925 w 4610101"/>
              <a:gd name="connsiteY49030" fmla="*/ 447284 h 6557032"/>
              <a:gd name="connsiteX49031" fmla="*/ 1997103 w 4610101"/>
              <a:gd name="connsiteY49031" fmla="*/ 445463 h 6557032"/>
              <a:gd name="connsiteX49032" fmla="*/ 1995281 w 4610101"/>
              <a:gd name="connsiteY49032" fmla="*/ 447284 h 6557032"/>
              <a:gd name="connsiteX49033" fmla="*/ 1993459 w 4610101"/>
              <a:gd name="connsiteY49033" fmla="*/ 447284 h 6557032"/>
              <a:gd name="connsiteX49034" fmla="*/ 1989814 w 4610101"/>
              <a:gd name="connsiteY49034" fmla="*/ 452751 h 6557032"/>
              <a:gd name="connsiteX49035" fmla="*/ 1993459 w 4610101"/>
              <a:gd name="connsiteY49035" fmla="*/ 452751 h 6557032"/>
              <a:gd name="connsiteX49036" fmla="*/ 1991638 w 4610101"/>
              <a:gd name="connsiteY49036" fmla="*/ 456395 h 6557032"/>
              <a:gd name="connsiteX49037" fmla="*/ 1991638 w 4610101"/>
              <a:gd name="connsiteY49037" fmla="*/ 463684 h 6557032"/>
              <a:gd name="connsiteX49038" fmla="*/ 2000747 w 4610101"/>
              <a:gd name="connsiteY49038" fmla="*/ 461862 h 6557032"/>
              <a:gd name="connsiteX49039" fmla="*/ 2000747 w 4610101"/>
              <a:gd name="connsiteY49039" fmla="*/ 454574 h 6557032"/>
              <a:gd name="connsiteX49040" fmla="*/ 1997103 w 4610101"/>
              <a:gd name="connsiteY49040" fmla="*/ 450928 h 6557032"/>
              <a:gd name="connsiteX49041" fmla="*/ 2002570 w 4610101"/>
              <a:gd name="connsiteY49041" fmla="*/ 449107 h 6557032"/>
              <a:gd name="connsiteX49042" fmla="*/ 2002570 w 4610101"/>
              <a:gd name="connsiteY49042" fmla="*/ 443640 h 6557032"/>
              <a:gd name="connsiteX49043" fmla="*/ 2000747 w 4610101"/>
              <a:gd name="connsiteY49043" fmla="*/ 443640 h 6557032"/>
              <a:gd name="connsiteX49044" fmla="*/ 1997103 w 4610101"/>
              <a:gd name="connsiteY49044" fmla="*/ 432707 h 6557032"/>
              <a:gd name="connsiteX49045" fmla="*/ 2026258 w 4610101"/>
              <a:gd name="connsiteY49045" fmla="*/ 430886 h 6557032"/>
              <a:gd name="connsiteX49046" fmla="*/ 2024436 w 4610101"/>
              <a:gd name="connsiteY49046" fmla="*/ 407196 h 6557032"/>
              <a:gd name="connsiteX49047" fmla="*/ 2029902 w 4610101"/>
              <a:gd name="connsiteY49047" fmla="*/ 430886 h 6557032"/>
              <a:gd name="connsiteX49048" fmla="*/ 2071812 w 4610101"/>
              <a:gd name="connsiteY49048" fmla="*/ 423596 h 6557032"/>
              <a:gd name="connsiteX49049" fmla="*/ 2079101 w 4610101"/>
              <a:gd name="connsiteY49049" fmla="*/ 418129 h 6557032"/>
              <a:gd name="connsiteX49050" fmla="*/ 2081033 w 4610101"/>
              <a:gd name="connsiteY49050" fmla="*/ 409128 h 6557032"/>
              <a:gd name="connsiteX49051" fmla="*/ 2082745 w 4610101"/>
              <a:gd name="connsiteY49051" fmla="*/ 410841 h 6557032"/>
              <a:gd name="connsiteX49052" fmla="*/ 2081290 w 4610101"/>
              <a:gd name="connsiteY49052" fmla="*/ 407930 h 6557032"/>
              <a:gd name="connsiteX49053" fmla="*/ 2083145 w 4610101"/>
              <a:gd name="connsiteY49053" fmla="*/ 399285 h 6557032"/>
              <a:gd name="connsiteX49054" fmla="*/ 2086390 w 4610101"/>
              <a:gd name="connsiteY49054" fmla="*/ 409019 h 6557032"/>
              <a:gd name="connsiteX49055" fmla="*/ 2090034 w 4610101"/>
              <a:gd name="connsiteY49055" fmla="*/ 410841 h 6557032"/>
              <a:gd name="connsiteX49056" fmla="*/ 2091856 w 4610101"/>
              <a:gd name="connsiteY49056" fmla="*/ 401731 h 6557032"/>
              <a:gd name="connsiteX49057" fmla="*/ 2099145 w 4610101"/>
              <a:gd name="connsiteY49057" fmla="*/ 399908 h 6557032"/>
              <a:gd name="connsiteX49058" fmla="*/ 2104611 w 4610101"/>
              <a:gd name="connsiteY49058" fmla="*/ 388976 h 6557032"/>
              <a:gd name="connsiteX49059" fmla="*/ 2115544 w 4610101"/>
              <a:gd name="connsiteY49059" fmla="*/ 401731 h 6557032"/>
              <a:gd name="connsiteX49060" fmla="*/ 2115544 w 4610101"/>
              <a:gd name="connsiteY49060" fmla="*/ 388976 h 6557032"/>
              <a:gd name="connsiteX49061" fmla="*/ 2117366 w 4610101"/>
              <a:gd name="connsiteY49061" fmla="*/ 396264 h 6557032"/>
              <a:gd name="connsiteX49062" fmla="*/ 2128300 w 4610101"/>
              <a:gd name="connsiteY49062" fmla="*/ 407196 h 6557032"/>
              <a:gd name="connsiteX49063" fmla="*/ 2128374 w 4610101"/>
              <a:gd name="connsiteY49063" fmla="*/ 405272 h 6557032"/>
              <a:gd name="connsiteX49064" fmla="*/ 2131261 w 4610101"/>
              <a:gd name="connsiteY49064" fmla="*/ 401275 h 6557032"/>
              <a:gd name="connsiteX49065" fmla="*/ 2130122 w 4610101"/>
              <a:gd name="connsiteY49065" fmla="*/ 394441 h 6557032"/>
              <a:gd name="connsiteX49066" fmla="*/ 2128644 w 4610101"/>
              <a:gd name="connsiteY49066" fmla="*/ 398241 h 6557032"/>
              <a:gd name="connsiteX49067" fmla="*/ 2128755 w 4610101"/>
              <a:gd name="connsiteY49067" fmla="*/ 395353 h 6557032"/>
              <a:gd name="connsiteX49068" fmla="*/ 2131944 w 4610101"/>
              <a:gd name="connsiteY49068" fmla="*/ 383509 h 6557032"/>
              <a:gd name="connsiteX49069" fmla="*/ 2142877 w 4610101"/>
              <a:gd name="connsiteY49069" fmla="*/ 407196 h 6557032"/>
              <a:gd name="connsiteX49070" fmla="*/ 2146521 w 4610101"/>
              <a:gd name="connsiteY49070" fmla="*/ 405375 h 6557032"/>
              <a:gd name="connsiteX49071" fmla="*/ 2146521 w 4610101"/>
              <a:gd name="connsiteY49071" fmla="*/ 394441 h 6557032"/>
              <a:gd name="connsiteX49072" fmla="*/ 2141055 w 4610101"/>
              <a:gd name="connsiteY49072" fmla="*/ 392620 h 6557032"/>
              <a:gd name="connsiteX49073" fmla="*/ 2141055 w 4610101"/>
              <a:gd name="connsiteY49073" fmla="*/ 399908 h 6557032"/>
              <a:gd name="connsiteX49074" fmla="*/ 2137410 w 4610101"/>
              <a:gd name="connsiteY49074" fmla="*/ 392620 h 6557032"/>
              <a:gd name="connsiteX49075" fmla="*/ 2142877 w 4610101"/>
              <a:gd name="connsiteY49075" fmla="*/ 385331 h 6557032"/>
              <a:gd name="connsiteX49076" fmla="*/ 2153810 w 4610101"/>
              <a:gd name="connsiteY49076" fmla="*/ 385331 h 6557032"/>
              <a:gd name="connsiteX49077" fmla="*/ 2148344 w 4610101"/>
              <a:gd name="connsiteY49077" fmla="*/ 379865 h 6557032"/>
              <a:gd name="connsiteX49078" fmla="*/ 2153810 w 4610101"/>
              <a:gd name="connsiteY49078" fmla="*/ 370754 h 6557032"/>
              <a:gd name="connsiteX49079" fmla="*/ 2155632 w 4610101"/>
              <a:gd name="connsiteY49079" fmla="*/ 356176 h 6557032"/>
              <a:gd name="connsiteX49080" fmla="*/ 2055413 w 4610101"/>
              <a:gd name="connsiteY49080" fmla="*/ 356176 h 6557032"/>
              <a:gd name="connsiteX49081" fmla="*/ 2074547 w 4610101"/>
              <a:gd name="connsiteY49081" fmla="*/ 370981 h 6557032"/>
              <a:gd name="connsiteX49082" fmla="*/ 2075574 w 4610101"/>
              <a:gd name="connsiteY49082" fmla="*/ 374376 h 6557032"/>
              <a:gd name="connsiteX49083" fmla="*/ 2067570 w 4610101"/>
              <a:gd name="connsiteY49083" fmla="*/ 366112 h 6557032"/>
              <a:gd name="connsiteX49084" fmla="*/ 2046302 w 4610101"/>
              <a:gd name="connsiteY49084" fmla="*/ 365287 h 6557032"/>
              <a:gd name="connsiteX49085" fmla="*/ 2048124 w 4610101"/>
              <a:gd name="connsiteY49085" fmla="*/ 372576 h 6557032"/>
              <a:gd name="connsiteX49086" fmla="*/ 2040835 w 4610101"/>
              <a:gd name="connsiteY49086" fmla="*/ 365287 h 6557032"/>
              <a:gd name="connsiteX49087" fmla="*/ 2035369 w 4610101"/>
              <a:gd name="connsiteY49087" fmla="*/ 365287 h 6557032"/>
              <a:gd name="connsiteX49088" fmla="*/ 2035369 w 4610101"/>
              <a:gd name="connsiteY49088" fmla="*/ 376220 h 6557032"/>
              <a:gd name="connsiteX49089" fmla="*/ 2033546 w 4610101"/>
              <a:gd name="connsiteY49089" fmla="*/ 383509 h 6557032"/>
              <a:gd name="connsiteX49090" fmla="*/ 2029902 w 4610101"/>
              <a:gd name="connsiteY49090" fmla="*/ 374397 h 6557032"/>
              <a:gd name="connsiteX49091" fmla="*/ 1993459 w 4610101"/>
              <a:gd name="connsiteY49091" fmla="*/ 398085 h 6557032"/>
              <a:gd name="connsiteX49092" fmla="*/ 1982071 w 4610101"/>
              <a:gd name="connsiteY49092" fmla="*/ 405375 h 6557032"/>
              <a:gd name="connsiteX49093" fmla="*/ 1980519 w 4610101"/>
              <a:gd name="connsiteY49093" fmla="*/ 414236 h 6557032"/>
              <a:gd name="connsiteX49094" fmla="*/ 1986170 w 4610101"/>
              <a:gd name="connsiteY49094" fmla="*/ 416329 h 6557032"/>
              <a:gd name="connsiteX49095" fmla="*/ 1993459 w 4610101"/>
              <a:gd name="connsiteY49095" fmla="*/ 403574 h 6557032"/>
              <a:gd name="connsiteX49096" fmla="*/ 1984348 w 4610101"/>
              <a:gd name="connsiteY49096" fmla="*/ 425440 h 6557032"/>
              <a:gd name="connsiteX49097" fmla="*/ 1984348 w 4610101"/>
              <a:gd name="connsiteY49097" fmla="*/ 425444 h 6557032"/>
              <a:gd name="connsiteX49098" fmla="*/ 1984348 w 4610101"/>
              <a:gd name="connsiteY49098" fmla="*/ 430907 h 6557032"/>
              <a:gd name="connsiteX49099" fmla="*/ 1977236 w 4610101"/>
              <a:gd name="connsiteY49099" fmla="*/ 426561 h 6557032"/>
              <a:gd name="connsiteX49100" fmla="*/ 1977287 w 4610101"/>
              <a:gd name="connsiteY49100" fmla="*/ 427924 h 6557032"/>
              <a:gd name="connsiteX49101" fmla="*/ 1978881 w 4610101"/>
              <a:gd name="connsiteY49101" fmla="*/ 432707 h 6557032"/>
              <a:gd name="connsiteX49102" fmla="*/ 1974995 w 4610101"/>
              <a:gd name="connsiteY49102" fmla="*/ 424934 h 6557032"/>
              <a:gd name="connsiteX49103" fmla="*/ 1973416 w 4610101"/>
              <a:gd name="connsiteY49103" fmla="*/ 423618 h 6557032"/>
              <a:gd name="connsiteX49104" fmla="*/ 1971092 w 4610101"/>
              <a:gd name="connsiteY49104" fmla="*/ 420133 h 6557032"/>
              <a:gd name="connsiteX49105" fmla="*/ 1970130 w 4610101"/>
              <a:gd name="connsiteY49105" fmla="*/ 423978 h 6557032"/>
              <a:gd name="connsiteX49106" fmla="*/ 1971592 w 4610101"/>
              <a:gd name="connsiteY49106" fmla="*/ 425440 h 6557032"/>
              <a:gd name="connsiteX49107" fmla="*/ 1971592 w 4610101"/>
              <a:gd name="connsiteY49107" fmla="*/ 423618 h 6557032"/>
              <a:gd name="connsiteX49108" fmla="*/ 1975237 w 4610101"/>
              <a:gd name="connsiteY49108" fmla="*/ 434551 h 6557032"/>
              <a:gd name="connsiteX49109" fmla="*/ 1971592 w 4610101"/>
              <a:gd name="connsiteY49109" fmla="*/ 434551 h 6557032"/>
              <a:gd name="connsiteX49110" fmla="*/ 1969950 w 4610101"/>
              <a:gd name="connsiteY49110" fmla="*/ 424698 h 6557032"/>
              <a:gd name="connsiteX49111" fmla="*/ 1969770 w 4610101"/>
              <a:gd name="connsiteY49111" fmla="*/ 425419 h 6557032"/>
              <a:gd name="connsiteX49112" fmla="*/ 1958837 w 4610101"/>
              <a:gd name="connsiteY49112" fmla="*/ 436351 h 6557032"/>
              <a:gd name="connsiteX49113" fmla="*/ 1947904 w 4610101"/>
              <a:gd name="connsiteY49113" fmla="*/ 434530 h 6557032"/>
              <a:gd name="connsiteX49114" fmla="*/ 1977059 w 4610101"/>
              <a:gd name="connsiteY49114" fmla="*/ 414485 h 6557032"/>
              <a:gd name="connsiteX49115" fmla="*/ 1973416 w 4610101"/>
              <a:gd name="connsiteY49115" fmla="*/ 399908 h 6557032"/>
              <a:gd name="connsiteX49116" fmla="*/ 1989814 w 4610101"/>
              <a:gd name="connsiteY49116" fmla="*/ 390797 h 6557032"/>
              <a:gd name="connsiteX49117" fmla="*/ 1991638 w 4610101"/>
              <a:gd name="connsiteY49117" fmla="*/ 379865 h 6557032"/>
              <a:gd name="connsiteX49118" fmla="*/ 1971592 w 4610101"/>
              <a:gd name="connsiteY49118" fmla="*/ 399908 h 6557032"/>
              <a:gd name="connsiteX49119" fmla="*/ 1968859 w 4610101"/>
              <a:gd name="connsiteY49119" fmla="*/ 397175 h 6557032"/>
              <a:gd name="connsiteX49120" fmla="*/ 1987992 w 4610101"/>
              <a:gd name="connsiteY49120" fmla="*/ 378041 h 6557032"/>
              <a:gd name="connsiteX49121" fmla="*/ 2008036 w 4610101"/>
              <a:gd name="connsiteY49121" fmla="*/ 368932 h 6557032"/>
              <a:gd name="connsiteX49122" fmla="*/ 1996647 w 4610101"/>
              <a:gd name="connsiteY49122" fmla="*/ 371437 h 6557032"/>
              <a:gd name="connsiteX49123" fmla="*/ 1987992 w 4610101"/>
              <a:gd name="connsiteY49123" fmla="*/ 378041 h 6557032"/>
              <a:gd name="connsiteX49124" fmla="*/ 1989814 w 4610101"/>
              <a:gd name="connsiteY49124" fmla="*/ 376220 h 6557032"/>
              <a:gd name="connsiteX49125" fmla="*/ 1973416 w 4610101"/>
              <a:gd name="connsiteY49125" fmla="*/ 387152 h 6557032"/>
              <a:gd name="connsiteX49126" fmla="*/ 1962482 w 4610101"/>
              <a:gd name="connsiteY49126" fmla="*/ 387152 h 6557032"/>
              <a:gd name="connsiteX49127" fmla="*/ 1962482 w 4610101"/>
              <a:gd name="connsiteY49127" fmla="*/ 388976 h 6557032"/>
              <a:gd name="connsiteX49128" fmla="*/ 1958837 w 4610101"/>
              <a:gd name="connsiteY49128" fmla="*/ 388976 h 6557032"/>
              <a:gd name="connsiteX49129" fmla="*/ 1958837 w 4610101"/>
              <a:gd name="connsiteY49129" fmla="*/ 392620 h 6557032"/>
              <a:gd name="connsiteX49130" fmla="*/ 1953371 w 4610101"/>
              <a:gd name="connsiteY49130" fmla="*/ 390797 h 6557032"/>
              <a:gd name="connsiteX49131" fmla="*/ 1953371 w 4610101"/>
              <a:gd name="connsiteY49131" fmla="*/ 392620 h 6557032"/>
              <a:gd name="connsiteX49132" fmla="*/ 1949726 w 4610101"/>
              <a:gd name="connsiteY49132" fmla="*/ 393986 h 6557032"/>
              <a:gd name="connsiteX49133" fmla="*/ 1949726 w 4610101"/>
              <a:gd name="connsiteY49133" fmla="*/ 394459 h 6557032"/>
              <a:gd name="connsiteX49134" fmla="*/ 1946083 w 4610101"/>
              <a:gd name="connsiteY49134" fmla="*/ 398103 h 6557032"/>
              <a:gd name="connsiteX49135" fmla="*/ 1945266 w 4610101"/>
              <a:gd name="connsiteY49135" fmla="*/ 395659 h 6557032"/>
              <a:gd name="connsiteX49136" fmla="*/ 1942264 w 4610101"/>
              <a:gd name="connsiteY49136" fmla="*/ 396784 h 6557032"/>
              <a:gd name="connsiteX49137" fmla="*/ 1942209 w 4610101"/>
              <a:gd name="connsiteY49137" fmla="*/ 398104 h 6557032"/>
              <a:gd name="connsiteX49138" fmla="*/ 1940615 w 4610101"/>
              <a:gd name="connsiteY49138" fmla="*/ 398104 h 6557032"/>
              <a:gd name="connsiteX49139" fmla="*/ 1940615 w 4610101"/>
              <a:gd name="connsiteY49139" fmla="*/ 397403 h 6557032"/>
              <a:gd name="connsiteX49140" fmla="*/ 1938793 w 4610101"/>
              <a:gd name="connsiteY49140" fmla="*/ 398086 h 6557032"/>
              <a:gd name="connsiteX49141" fmla="*/ 1924216 w 4610101"/>
              <a:gd name="connsiteY49141" fmla="*/ 392620 h 6557032"/>
              <a:gd name="connsiteX49142" fmla="*/ 1922394 w 4610101"/>
              <a:gd name="connsiteY49142" fmla="*/ 398085 h 6557032"/>
              <a:gd name="connsiteX49143" fmla="*/ 1904172 w 4610101"/>
              <a:gd name="connsiteY49143" fmla="*/ 387152 h 6557032"/>
              <a:gd name="connsiteX49144" fmla="*/ 1905791 w 4610101"/>
              <a:gd name="connsiteY49144" fmla="*/ 383913 h 6557032"/>
              <a:gd name="connsiteX49145" fmla="*/ 1907816 w 4610101"/>
              <a:gd name="connsiteY49145" fmla="*/ 387152 h 6557032"/>
              <a:gd name="connsiteX49146" fmla="*/ 1905994 w 4610101"/>
              <a:gd name="connsiteY49146" fmla="*/ 383509 h 6557032"/>
              <a:gd name="connsiteX49147" fmla="*/ 1905791 w 4610101"/>
              <a:gd name="connsiteY49147" fmla="*/ 383913 h 6557032"/>
              <a:gd name="connsiteX49148" fmla="*/ 1902122 w 4610101"/>
              <a:gd name="connsiteY49148" fmla="*/ 378042 h 6557032"/>
              <a:gd name="connsiteX49149" fmla="*/ 1900528 w 4610101"/>
              <a:gd name="connsiteY49149" fmla="*/ 368932 h 6557032"/>
              <a:gd name="connsiteX49150" fmla="*/ 1898706 w 4610101"/>
              <a:gd name="connsiteY49150" fmla="*/ 370754 h 6557032"/>
              <a:gd name="connsiteX49151" fmla="*/ 1896883 w 4610101"/>
              <a:gd name="connsiteY49151" fmla="*/ 359821 h 6557032"/>
              <a:gd name="connsiteX49152" fmla="*/ 1904172 w 4610101"/>
              <a:gd name="connsiteY49152" fmla="*/ 367109 h 6557032"/>
              <a:gd name="connsiteX49153" fmla="*/ 1905994 w 4610101"/>
              <a:gd name="connsiteY49153" fmla="*/ 378041 h 6557032"/>
              <a:gd name="connsiteX49154" fmla="*/ 1916927 w 4610101"/>
              <a:gd name="connsiteY49154" fmla="*/ 388976 h 6557032"/>
              <a:gd name="connsiteX49155" fmla="*/ 1931504 w 4610101"/>
              <a:gd name="connsiteY49155" fmla="*/ 393531 h 6557032"/>
              <a:gd name="connsiteX49156" fmla="*/ 1940615 w 4610101"/>
              <a:gd name="connsiteY49156" fmla="*/ 392961 h 6557032"/>
              <a:gd name="connsiteX49157" fmla="*/ 1940615 w 4610101"/>
              <a:gd name="connsiteY49157" fmla="*/ 390816 h 6557032"/>
              <a:gd name="connsiteX49158" fmla="*/ 1942437 w 4610101"/>
              <a:gd name="connsiteY49158" fmla="*/ 392637 h 6557032"/>
              <a:gd name="connsiteX49159" fmla="*/ 1942428 w 4610101"/>
              <a:gd name="connsiteY49159" fmla="*/ 392848 h 6557032"/>
              <a:gd name="connsiteX49160" fmla="*/ 1944290 w 4610101"/>
              <a:gd name="connsiteY49160" fmla="*/ 392731 h 6557032"/>
              <a:gd name="connsiteX49161" fmla="*/ 1944259 w 4610101"/>
              <a:gd name="connsiteY49161" fmla="*/ 392637 h 6557032"/>
              <a:gd name="connsiteX49162" fmla="*/ 1944268 w 4610101"/>
              <a:gd name="connsiteY49162" fmla="*/ 392620 h 6557032"/>
              <a:gd name="connsiteX49163" fmla="*/ 1942438 w 4610101"/>
              <a:gd name="connsiteY49163" fmla="*/ 392620 h 6557032"/>
              <a:gd name="connsiteX49164" fmla="*/ 1944260 w 4610101"/>
              <a:gd name="connsiteY49164" fmla="*/ 381687 h 6557032"/>
              <a:gd name="connsiteX49165" fmla="*/ 1946083 w 4610101"/>
              <a:gd name="connsiteY49165" fmla="*/ 383509 h 6557032"/>
              <a:gd name="connsiteX49166" fmla="*/ 1944260 w 4610101"/>
              <a:gd name="connsiteY49166" fmla="*/ 379865 h 6557032"/>
              <a:gd name="connsiteX49167" fmla="*/ 1946083 w 4610101"/>
              <a:gd name="connsiteY49167" fmla="*/ 379865 h 6557032"/>
              <a:gd name="connsiteX49168" fmla="*/ 1944260 w 4610101"/>
              <a:gd name="connsiteY49168" fmla="*/ 378041 h 6557032"/>
              <a:gd name="connsiteX49169" fmla="*/ 1947904 w 4610101"/>
              <a:gd name="connsiteY49169" fmla="*/ 372576 h 6557032"/>
              <a:gd name="connsiteX49170" fmla="*/ 1949726 w 4610101"/>
              <a:gd name="connsiteY49170" fmla="*/ 378041 h 6557032"/>
              <a:gd name="connsiteX49171" fmla="*/ 1951549 w 4610101"/>
              <a:gd name="connsiteY49171" fmla="*/ 370754 h 6557032"/>
              <a:gd name="connsiteX49172" fmla="*/ 1958837 w 4610101"/>
              <a:gd name="connsiteY49172" fmla="*/ 381687 h 6557032"/>
              <a:gd name="connsiteX49173" fmla="*/ 1966126 w 4610101"/>
              <a:gd name="connsiteY49173" fmla="*/ 374397 h 6557032"/>
              <a:gd name="connsiteX49174" fmla="*/ 1973416 w 4610101"/>
              <a:gd name="connsiteY49174" fmla="*/ 376220 h 6557032"/>
              <a:gd name="connsiteX49175" fmla="*/ 1986170 w 4610101"/>
              <a:gd name="connsiteY49175" fmla="*/ 367109 h 6557032"/>
              <a:gd name="connsiteX49176" fmla="*/ 1975237 w 4610101"/>
              <a:gd name="connsiteY49176" fmla="*/ 370754 h 6557032"/>
              <a:gd name="connsiteX49177" fmla="*/ 1995281 w 4610101"/>
              <a:gd name="connsiteY49177" fmla="*/ 361642 h 6557032"/>
              <a:gd name="connsiteX49178" fmla="*/ 2000747 w 4610101"/>
              <a:gd name="connsiteY49178" fmla="*/ 354354 h 6557032"/>
              <a:gd name="connsiteX49179" fmla="*/ 1998925 w 4610101"/>
              <a:gd name="connsiteY49179" fmla="*/ 359821 h 6557032"/>
              <a:gd name="connsiteX49180" fmla="*/ 2017147 w 4610101"/>
              <a:gd name="connsiteY49180" fmla="*/ 365287 h 6557032"/>
              <a:gd name="connsiteX49181" fmla="*/ 2028080 w 4610101"/>
              <a:gd name="connsiteY49181" fmla="*/ 363465 h 6557032"/>
              <a:gd name="connsiteX49182" fmla="*/ 2020680 w 4610101"/>
              <a:gd name="connsiteY49182" fmla="*/ 356064 h 6557032"/>
              <a:gd name="connsiteX49183" fmla="*/ 2043341 w 4610101"/>
              <a:gd name="connsiteY49183" fmla="*/ 354581 h 6557032"/>
              <a:gd name="connsiteX49184" fmla="*/ 2055413 w 4610101"/>
              <a:gd name="connsiteY49184" fmla="*/ 343421 h 6557032"/>
              <a:gd name="connsiteX49185" fmla="*/ 2090034 w 4610101"/>
              <a:gd name="connsiteY49185" fmla="*/ 345242 h 6557032"/>
              <a:gd name="connsiteX49186" fmla="*/ 2091856 w 4610101"/>
              <a:gd name="connsiteY49186" fmla="*/ 327022 h 6557032"/>
              <a:gd name="connsiteX49187" fmla="*/ 2066346 w 4610101"/>
              <a:gd name="connsiteY49187" fmla="*/ 341598 h 6557032"/>
              <a:gd name="connsiteX49188" fmla="*/ 2091856 w 4610101"/>
              <a:gd name="connsiteY49188" fmla="*/ 321555 h 6557032"/>
              <a:gd name="connsiteX49189" fmla="*/ 2090034 w 4610101"/>
              <a:gd name="connsiteY49189" fmla="*/ 308800 h 6557032"/>
              <a:gd name="connsiteX49190" fmla="*/ 2057235 w 4610101"/>
              <a:gd name="connsiteY49190" fmla="*/ 306978 h 6557032"/>
              <a:gd name="connsiteX49191" fmla="*/ 2059057 w 4610101"/>
              <a:gd name="connsiteY49191" fmla="*/ 314266 h 6557032"/>
              <a:gd name="connsiteX49192" fmla="*/ 2053590 w 4610101"/>
              <a:gd name="connsiteY49192" fmla="*/ 310622 h 6557032"/>
              <a:gd name="connsiteX49193" fmla="*/ 2055413 w 4610101"/>
              <a:gd name="connsiteY49193" fmla="*/ 317911 h 6557032"/>
              <a:gd name="connsiteX49194" fmla="*/ 2048124 w 4610101"/>
              <a:gd name="connsiteY49194" fmla="*/ 325199 h 6557032"/>
              <a:gd name="connsiteX49195" fmla="*/ 2046302 w 4610101"/>
              <a:gd name="connsiteY49195" fmla="*/ 317911 h 6557032"/>
              <a:gd name="connsiteX49196" fmla="*/ 2039013 w 4610101"/>
              <a:gd name="connsiteY49196" fmla="*/ 319733 h 6557032"/>
              <a:gd name="connsiteX49197" fmla="*/ 2031724 w 4610101"/>
              <a:gd name="connsiteY49197" fmla="*/ 327022 h 6557032"/>
              <a:gd name="connsiteX49198" fmla="*/ 2028080 w 4610101"/>
              <a:gd name="connsiteY49198" fmla="*/ 317911 h 6557032"/>
              <a:gd name="connsiteX49199" fmla="*/ 2017147 w 4610101"/>
              <a:gd name="connsiteY49199" fmla="*/ 316089 h 6557032"/>
              <a:gd name="connsiteX49200" fmla="*/ 2022613 w 4610101"/>
              <a:gd name="connsiteY49200" fmla="*/ 305155 h 6557032"/>
              <a:gd name="connsiteX49201" fmla="*/ 2029902 w 4610101"/>
              <a:gd name="connsiteY49201" fmla="*/ 310622 h 6557032"/>
              <a:gd name="connsiteX49202" fmla="*/ 2048124 w 4610101"/>
              <a:gd name="connsiteY49202" fmla="*/ 314266 h 6557032"/>
              <a:gd name="connsiteX49203" fmla="*/ 2051768 w 4610101"/>
              <a:gd name="connsiteY49203" fmla="*/ 303333 h 6557032"/>
              <a:gd name="connsiteX49204" fmla="*/ 2033546 w 4610101"/>
              <a:gd name="connsiteY49204" fmla="*/ 294223 h 6557032"/>
              <a:gd name="connsiteX49205" fmla="*/ 2035369 w 4610101"/>
              <a:gd name="connsiteY49205" fmla="*/ 301511 h 6557032"/>
              <a:gd name="connsiteX49206" fmla="*/ 2024436 w 4610101"/>
              <a:gd name="connsiteY49206" fmla="*/ 297867 h 6557032"/>
              <a:gd name="connsiteX49207" fmla="*/ 2024436 w 4610101"/>
              <a:gd name="connsiteY49207" fmla="*/ 301511 h 6557032"/>
              <a:gd name="connsiteX49208" fmla="*/ 1993459 w 4610101"/>
              <a:gd name="connsiteY49208" fmla="*/ 314266 h 6557032"/>
              <a:gd name="connsiteX49209" fmla="*/ 1987992 w 4610101"/>
              <a:gd name="connsiteY49209" fmla="*/ 330666 h 6557032"/>
              <a:gd name="connsiteX49210" fmla="*/ 1980703 w 4610101"/>
              <a:gd name="connsiteY49210" fmla="*/ 328844 h 6557032"/>
              <a:gd name="connsiteX49211" fmla="*/ 1982527 w 4610101"/>
              <a:gd name="connsiteY49211" fmla="*/ 339777 h 6557032"/>
              <a:gd name="connsiteX49212" fmla="*/ 1973416 w 4610101"/>
              <a:gd name="connsiteY49212" fmla="*/ 328844 h 6557032"/>
              <a:gd name="connsiteX49213" fmla="*/ 1969770 w 4610101"/>
              <a:gd name="connsiteY49213" fmla="*/ 348888 h 6557032"/>
              <a:gd name="connsiteX49214" fmla="*/ 1966126 w 4610101"/>
              <a:gd name="connsiteY49214" fmla="*/ 334310 h 6557032"/>
              <a:gd name="connsiteX49215" fmla="*/ 1931505 w 4610101"/>
              <a:gd name="connsiteY49215" fmla="*/ 354354 h 6557032"/>
              <a:gd name="connsiteX49216" fmla="*/ 1929683 w 4610101"/>
              <a:gd name="connsiteY49216" fmla="*/ 348888 h 6557032"/>
              <a:gd name="connsiteX49217" fmla="*/ 1929683 w 4610101"/>
              <a:gd name="connsiteY49217" fmla="*/ 347066 h 6557032"/>
              <a:gd name="connsiteX49218" fmla="*/ 1927861 w 4610101"/>
              <a:gd name="connsiteY49218" fmla="*/ 347066 h 6557032"/>
              <a:gd name="connsiteX49219" fmla="*/ 1923991 w 4610101"/>
              <a:gd name="connsiteY49219" fmla="*/ 343970 h 6557032"/>
              <a:gd name="connsiteX49220" fmla="*/ 1922393 w 4610101"/>
              <a:gd name="connsiteY49220" fmla="*/ 343438 h 6557032"/>
              <a:gd name="connsiteX49221" fmla="*/ 1922717 w 4610101"/>
              <a:gd name="connsiteY49221" fmla="*/ 342951 h 6557032"/>
              <a:gd name="connsiteX49222" fmla="*/ 1918750 w 4610101"/>
              <a:gd name="connsiteY49222" fmla="*/ 339777 h 6557032"/>
              <a:gd name="connsiteX49223" fmla="*/ 1923553 w 4610101"/>
              <a:gd name="connsiteY49223" fmla="*/ 341698 h 6557032"/>
              <a:gd name="connsiteX49224" fmla="*/ 1926038 w 4610101"/>
              <a:gd name="connsiteY49224" fmla="*/ 337971 h 6557032"/>
              <a:gd name="connsiteX49225" fmla="*/ 1927861 w 4610101"/>
              <a:gd name="connsiteY49225" fmla="*/ 341616 h 6557032"/>
              <a:gd name="connsiteX49226" fmla="*/ 1927861 w 4610101"/>
              <a:gd name="connsiteY49226" fmla="*/ 336149 h 6557032"/>
              <a:gd name="connsiteX49227" fmla="*/ 1931504 w 4610101"/>
              <a:gd name="connsiteY49227" fmla="*/ 341616 h 6557032"/>
              <a:gd name="connsiteX49228" fmla="*/ 1930601 w 4610101"/>
              <a:gd name="connsiteY49228" fmla="*/ 343421 h 6557032"/>
              <a:gd name="connsiteX49229" fmla="*/ 1933327 w 4610101"/>
              <a:gd name="connsiteY49229" fmla="*/ 343421 h 6557032"/>
              <a:gd name="connsiteX49230" fmla="*/ 1938793 w 4610101"/>
              <a:gd name="connsiteY49230" fmla="*/ 345242 h 6557032"/>
              <a:gd name="connsiteX49231" fmla="*/ 1938793 w 4610101"/>
              <a:gd name="connsiteY49231" fmla="*/ 339777 h 6557032"/>
              <a:gd name="connsiteX49232" fmla="*/ 1958837 w 4610101"/>
              <a:gd name="connsiteY49232" fmla="*/ 332488 h 6557032"/>
              <a:gd name="connsiteX49233" fmla="*/ 1957015 w 4610101"/>
              <a:gd name="connsiteY49233" fmla="*/ 323377 h 6557032"/>
              <a:gd name="connsiteX49234" fmla="*/ 1953371 w 4610101"/>
              <a:gd name="connsiteY49234" fmla="*/ 330666 h 6557032"/>
              <a:gd name="connsiteX49235" fmla="*/ 1951549 w 4610101"/>
              <a:gd name="connsiteY49235" fmla="*/ 325199 h 6557032"/>
              <a:gd name="connsiteX49236" fmla="*/ 1951549 w 4610101"/>
              <a:gd name="connsiteY49236" fmla="*/ 327022 h 6557032"/>
              <a:gd name="connsiteX49237" fmla="*/ 1940616 w 4610101"/>
              <a:gd name="connsiteY49237" fmla="*/ 319733 h 6557032"/>
              <a:gd name="connsiteX49238" fmla="*/ 1942438 w 4610101"/>
              <a:gd name="connsiteY49238" fmla="*/ 308800 h 6557032"/>
              <a:gd name="connsiteX49239" fmla="*/ 1947904 w 4610101"/>
              <a:gd name="connsiteY49239" fmla="*/ 308800 h 6557032"/>
              <a:gd name="connsiteX49240" fmla="*/ 1942438 w 4610101"/>
              <a:gd name="connsiteY49240" fmla="*/ 305155 h 6557032"/>
              <a:gd name="connsiteX49241" fmla="*/ 1940616 w 4610101"/>
              <a:gd name="connsiteY49241" fmla="*/ 316089 h 6557032"/>
              <a:gd name="connsiteX49242" fmla="*/ 1926038 w 4610101"/>
              <a:gd name="connsiteY49242" fmla="*/ 310622 h 6557032"/>
              <a:gd name="connsiteX49243" fmla="*/ 1927861 w 4610101"/>
              <a:gd name="connsiteY49243" fmla="*/ 321555 h 6557032"/>
              <a:gd name="connsiteX49244" fmla="*/ 1922394 w 4610101"/>
              <a:gd name="connsiteY49244" fmla="*/ 314266 h 6557032"/>
              <a:gd name="connsiteX49245" fmla="*/ 1924216 w 4610101"/>
              <a:gd name="connsiteY49245" fmla="*/ 327022 h 6557032"/>
              <a:gd name="connsiteX49246" fmla="*/ 1916927 w 4610101"/>
              <a:gd name="connsiteY49246" fmla="*/ 310622 h 6557032"/>
              <a:gd name="connsiteX49247" fmla="*/ 1921027 w 4610101"/>
              <a:gd name="connsiteY49247" fmla="*/ 306066 h 6557032"/>
              <a:gd name="connsiteX49248" fmla="*/ 1920364 w 4610101"/>
              <a:gd name="connsiteY49248" fmla="*/ 305329 h 6557032"/>
              <a:gd name="connsiteX49249" fmla="*/ 1922394 w 4610101"/>
              <a:gd name="connsiteY49249" fmla="*/ 299689 h 6557032"/>
              <a:gd name="connsiteX49250" fmla="*/ 1919163 w 4610101"/>
              <a:gd name="connsiteY49250" fmla="*/ 303996 h 6557032"/>
              <a:gd name="connsiteX49251" fmla="*/ 1916927 w 4610101"/>
              <a:gd name="connsiteY49251" fmla="*/ 301511 h 6557032"/>
              <a:gd name="connsiteX49252" fmla="*/ 1915105 w 4610101"/>
              <a:gd name="connsiteY49252" fmla="*/ 308800 h 6557032"/>
              <a:gd name="connsiteX49253" fmla="*/ 1911786 w 4610101"/>
              <a:gd name="connsiteY49253" fmla="*/ 304614 h 6557032"/>
              <a:gd name="connsiteX49254" fmla="*/ 1916927 w 4610101"/>
              <a:gd name="connsiteY49254" fmla="*/ 296045 h 6557032"/>
              <a:gd name="connsiteX49255" fmla="*/ 1918750 w 4610101"/>
              <a:gd name="connsiteY49255" fmla="*/ 294223 h 6557032"/>
              <a:gd name="connsiteX49256" fmla="*/ 1916927 w 4610101"/>
              <a:gd name="connsiteY49256" fmla="*/ 294223 h 6557032"/>
              <a:gd name="connsiteX49257" fmla="*/ 1913283 w 4610101"/>
              <a:gd name="connsiteY49257" fmla="*/ 286934 h 6557032"/>
              <a:gd name="connsiteX49258" fmla="*/ 1913283 w 4610101"/>
              <a:gd name="connsiteY49258" fmla="*/ 290578 h 6557032"/>
              <a:gd name="connsiteX49259" fmla="*/ 1911461 w 4610101"/>
              <a:gd name="connsiteY49259" fmla="*/ 281467 h 6557032"/>
              <a:gd name="connsiteX49260" fmla="*/ 1918750 w 4610101"/>
              <a:gd name="connsiteY49260" fmla="*/ 270534 h 6557032"/>
              <a:gd name="connsiteX49261" fmla="*/ 1911461 w 4610101"/>
              <a:gd name="connsiteY49261" fmla="*/ 272356 h 6557032"/>
              <a:gd name="connsiteX49262" fmla="*/ 1918750 w 4610101"/>
              <a:gd name="connsiteY49262" fmla="*/ 261423 h 6557032"/>
              <a:gd name="connsiteX49263" fmla="*/ 1920572 w 4610101"/>
              <a:gd name="connsiteY49263" fmla="*/ 281467 h 6557032"/>
              <a:gd name="connsiteX49264" fmla="*/ 1931505 w 4610101"/>
              <a:gd name="connsiteY49264" fmla="*/ 268712 h 6557032"/>
              <a:gd name="connsiteX49265" fmla="*/ 1933327 w 4610101"/>
              <a:gd name="connsiteY49265" fmla="*/ 277823 h 6557032"/>
              <a:gd name="connsiteX49266" fmla="*/ 1940616 w 4610101"/>
              <a:gd name="connsiteY49266" fmla="*/ 272356 h 6557032"/>
              <a:gd name="connsiteX49267" fmla="*/ 1938793 w 4610101"/>
              <a:gd name="connsiteY49267" fmla="*/ 261423 h 6557032"/>
              <a:gd name="connsiteX49268" fmla="*/ 1955194 w 4610101"/>
              <a:gd name="connsiteY49268" fmla="*/ 261423 h 6557032"/>
              <a:gd name="connsiteX49269" fmla="*/ 1954972 w 4610101"/>
              <a:gd name="connsiteY49269" fmla="*/ 259877 h 6557032"/>
              <a:gd name="connsiteX49270" fmla="*/ 1958382 w 4610101"/>
              <a:gd name="connsiteY49270" fmla="*/ 260057 h 6557032"/>
              <a:gd name="connsiteX49271" fmla="*/ 1964305 w 4610101"/>
              <a:gd name="connsiteY49271" fmla="*/ 263246 h 6557032"/>
              <a:gd name="connsiteX49272" fmla="*/ 1953371 w 4610101"/>
              <a:gd name="connsiteY49272" fmla="*/ 268712 h 6557032"/>
              <a:gd name="connsiteX49273" fmla="*/ 1953371 w 4610101"/>
              <a:gd name="connsiteY49273" fmla="*/ 272356 h 6557032"/>
              <a:gd name="connsiteX49274" fmla="*/ 1973416 w 4610101"/>
              <a:gd name="connsiteY49274" fmla="*/ 270534 h 6557032"/>
              <a:gd name="connsiteX49275" fmla="*/ 1978881 w 4610101"/>
              <a:gd name="connsiteY49275" fmla="*/ 272356 h 6557032"/>
              <a:gd name="connsiteX49276" fmla="*/ 1978881 w 4610101"/>
              <a:gd name="connsiteY49276" fmla="*/ 274179 h 6557032"/>
              <a:gd name="connsiteX49277" fmla="*/ 1980703 w 4610101"/>
              <a:gd name="connsiteY49277" fmla="*/ 276001 h 6557032"/>
              <a:gd name="connsiteX49278" fmla="*/ 1980703 w 4610101"/>
              <a:gd name="connsiteY49278" fmla="*/ 274179 h 6557032"/>
              <a:gd name="connsiteX49279" fmla="*/ 1987992 w 4610101"/>
              <a:gd name="connsiteY49279" fmla="*/ 268712 h 6557032"/>
              <a:gd name="connsiteX49280" fmla="*/ 1995281 w 4610101"/>
              <a:gd name="connsiteY49280" fmla="*/ 268712 h 6557032"/>
              <a:gd name="connsiteX49281" fmla="*/ 2002570 w 4610101"/>
              <a:gd name="connsiteY49281" fmla="*/ 274179 h 6557032"/>
              <a:gd name="connsiteX49282" fmla="*/ 1995281 w 4610101"/>
              <a:gd name="connsiteY49282" fmla="*/ 276001 h 6557032"/>
              <a:gd name="connsiteX49283" fmla="*/ 1997103 w 4610101"/>
              <a:gd name="connsiteY49283" fmla="*/ 283289 h 6557032"/>
              <a:gd name="connsiteX49284" fmla="*/ 1993459 w 4610101"/>
              <a:gd name="connsiteY49284" fmla="*/ 281467 h 6557032"/>
              <a:gd name="connsiteX49285" fmla="*/ 1993459 w 4610101"/>
              <a:gd name="connsiteY49285" fmla="*/ 288756 h 6557032"/>
              <a:gd name="connsiteX49286" fmla="*/ 2006214 w 4610101"/>
              <a:gd name="connsiteY49286" fmla="*/ 281467 h 6557032"/>
              <a:gd name="connsiteX49287" fmla="*/ 2009858 w 4610101"/>
              <a:gd name="connsiteY49287" fmla="*/ 283289 h 6557032"/>
              <a:gd name="connsiteX49288" fmla="*/ 2006214 w 4610101"/>
              <a:gd name="connsiteY49288" fmla="*/ 286934 h 6557032"/>
              <a:gd name="connsiteX49289" fmla="*/ 2009858 w 4610101"/>
              <a:gd name="connsiteY49289" fmla="*/ 301511 h 6557032"/>
              <a:gd name="connsiteX49290" fmla="*/ 2026258 w 4610101"/>
              <a:gd name="connsiteY49290" fmla="*/ 296045 h 6557032"/>
              <a:gd name="connsiteX49291" fmla="*/ 2024436 w 4610101"/>
              <a:gd name="connsiteY49291" fmla="*/ 285112 h 6557032"/>
              <a:gd name="connsiteX49292" fmla="*/ 2033546 w 4610101"/>
              <a:gd name="connsiteY49292" fmla="*/ 283289 h 6557032"/>
              <a:gd name="connsiteX49293" fmla="*/ 2028080 w 4610101"/>
              <a:gd name="connsiteY49293" fmla="*/ 285112 h 6557032"/>
              <a:gd name="connsiteX49294" fmla="*/ 2028080 w 4610101"/>
              <a:gd name="connsiteY49294" fmla="*/ 290578 h 6557032"/>
              <a:gd name="connsiteX49295" fmla="*/ 2033546 w 4610101"/>
              <a:gd name="connsiteY49295" fmla="*/ 290578 h 6557032"/>
              <a:gd name="connsiteX49296" fmla="*/ 2033546 w 4610101"/>
              <a:gd name="connsiteY49296" fmla="*/ 283289 h 6557032"/>
              <a:gd name="connsiteX49297" fmla="*/ 2040835 w 4610101"/>
              <a:gd name="connsiteY49297" fmla="*/ 263246 h 6557032"/>
              <a:gd name="connsiteX49298" fmla="*/ 1980703 w 4610101"/>
              <a:gd name="connsiteY49298" fmla="*/ 266890 h 6557032"/>
              <a:gd name="connsiteX49299" fmla="*/ 1980703 w 4610101"/>
              <a:gd name="connsiteY49299" fmla="*/ 265068 h 6557032"/>
              <a:gd name="connsiteX49300" fmla="*/ 1973416 w 4610101"/>
              <a:gd name="connsiteY49300" fmla="*/ 257779 h 6557032"/>
              <a:gd name="connsiteX49301" fmla="*/ 1973416 w 4610101"/>
              <a:gd name="connsiteY49301" fmla="*/ 259601 h 6557032"/>
              <a:gd name="connsiteX49302" fmla="*/ 1967948 w 4610101"/>
              <a:gd name="connsiteY49302" fmla="*/ 248668 h 6557032"/>
              <a:gd name="connsiteX49303" fmla="*/ 1966126 w 4610101"/>
              <a:gd name="connsiteY49303" fmla="*/ 259601 h 6557032"/>
              <a:gd name="connsiteX49304" fmla="*/ 1960659 w 4610101"/>
              <a:gd name="connsiteY49304" fmla="*/ 243884 h 6557032"/>
              <a:gd name="connsiteX49305" fmla="*/ 1951435 w 4610101"/>
              <a:gd name="connsiteY49305" fmla="*/ 234084 h 6557032"/>
              <a:gd name="connsiteX49306" fmla="*/ 1947904 w 4610101"/>
              <a:gd name="connsiteY49306" fmla="*/ 226802 h 6557032"/>
              <a:gd name="connsiteX49307" fmla="*/ 1949726 w 4610101"/>
              <a:gd name="connsiteY49307" fmla="*/ 234091 h 6557032"/>
              <a:gd name="connsiteX49308" fmla="*/ 1936972 w 4610101"/>
              <a:gd name="connsiteY49308" fmla="*/ 219513 h 6557032"/>
              <a:gd name="connsiteX49309" fmla="*/ 1926038 w 4610101"/>
              <a:gd name="connsiteY49309" fmla="*/ 226802 h 6557032"/>
              <a:gd name="connsiteX49310" fmla="*/ 1922394 w 4610101"/>
              <a:gd name="connsiteY49310" fmla="*/ 221336 h 6557032"/>
              <a:gd name="connsiteX49311" fmla="*/ 1944260 w 4610101"/>
              <a:gd name="connsiteY49311" fmla="*/ 208580 h 6557032"/>
              <a:gd name="connsiteX49312" fmla="*/ 1955194 w 4610101"/>
              <a:gd name="connsiteY49312" fmla="*/ 228624 h 6557032"/>
              <a:gd name="connsiteX49313" fmla="*/ 1962482 w 4610101"/>
              <a:gd name="connsiteY49313" fmla="*/ 232269 h 6557032"/>
              <a:gd name="connsiteX49314" fmla="*/ 1967948 w 4610101"/>
              <a:gd name="connsiteY49314" fmla="*/ 221336 h 6557032"/>
              <a:gd name="connsiteX49315" fmla="*/ 1971592 w 4610101"/>
              <a:gd name="connsiteY49315" fmla="*/ 232269 h 6557032"/>
              <a:gd name="connsiteX49316" fmla="*/ 1971592 w 4610101"/>
              <a:gd name="connsiteY49316" fmla="*/ 228624 h 6557032"/>
              <a:gd name="connsiteX49317" fmla="*/ 1982527 w 4610101"/>
              <a:gd name="connsiteY49317" fmla="*/ 232269 h 6557032"/>
              <a:gd name="connsiteX49318" fmla="*/ 1989814 w 4610101"/>
              <a:gd name="connsiteY49318" fmla="*/ 214047 h 6557032"/>
              <a:gd name="connsiteX49319" fmla="*/ 1991638 w 4610101"/>
              <a:gd name="connsiteY49319" fmla="*/ 221336 h 6557032"/>
              <a:gd name="connsiteX49320" fmla="*/ 1998925 w 4610101"/>
              <a:gd name="connsiteY49320" fmla="*/ 224980 h 6557032"/>
              <a:gd name="connsiteX49321" fmla="*/ 1998925 w 4610101"/>
              <a:gd name="connsiteY49321" fmla="*/ 232269 h 6557032"/>
              <a:gd name="connsiteX49322" fmla="*/ 1998925 w 4610101"/>
              <a:gd name="connsiteY49322" fmla="*/ 235913 h 6557032"/>
              <a:gd name="connsiteX49323" fmla="*/ 1989814 w 4610101"/>
              <a:gd name="connsiteY49323" fmla="*/ 232269 h 6557032"/>
              <a:gd name="connsiteX49324" fmla="*/ 2002570 w 4610101"/>
              <a:gd name="connsiteY49324" fmla="*/ 239557 h 6557032"/>
              <a:gd name="connsiteX49325" fmla="*/ 1998925 w 4610101"/>
              <a:gd name="connsiteY49325" fmla="*/ 232269 h 6557032"/>
              <a:gd name="connsiteX49326" fmla="*/ 2006214 w 4610101"/>
              <a:gd name="connsiteY49326" fmla="*/ 235913 h 6557032"/>
              <a:gd name="connsiteX49327" fmla="*/ 2000747 w 4610101"/>
              <a:gd name="connsiteY49327" fmla="*/ 221336 h 6557032"/>
              <a:gd name="connsiteX49328" fmla="*/ 2017147 w 4610101"/>
              <a:gd name="connsiteY49328" fmla="*/ 241379 h 6557032"/>
              <a:gd name="connsiteX49329" fmla="*/ 2029902 w 4610101"/>
              <a:gd name="connsiteY49329" fmla="*/ 245024 h 6557032"/>
              <a:gd name="connsiteX49330" fmla="*/ 2017147 w 4610101"/>
              <a:gd name="connsiteY49330" fmla="*/ 243202 h 6557032"/>
              <a:gd name="connsiteX49331" fmla="*/ 2024436 w 4610101"/>
              <a:gd name="connsiteY49331" fmla="*/ 254135 h 6557032"/>
              <a:gd name="connsiteX49332" fmla="*/ 2018969 w 4610101"/>
              <a:gd name="connsiteY49332" fmla="*/ 255957 h 6557032"/>
              <a:gd name="connsiteX49333" fmla="*/ 2029902 w 4610101"/>
              <a:gd name="connsiteY49333" fmla="*/ 257779 h 6557032"/>
              <a:gd name="connsiteX49334" fmla="*/ 2031724 w 4610101"/>
              <a:gd name="connsiteY49334" fmla="*/ 250490 h 6557032"/>
              <a:gd name="connsiteX49335" fmla="*/ 2039013 w 4610101"/>
              <a:gd name="connsiteY49335" fmla="*/ 255957 h 6557032"/>
              <a:gd name="connsiteX49336" fmla="*/ 2024436 w 4610101"/>
              <a:gd name="connsiteY49336" fmla="*/ 223158 h 6557032"/>
              <a:gd name="connsiteX49337" fmla="*/ 2035369 w 4610101"/>
              <a:gd name="connsiteY49337" fmla="*/ 224980 h 6557032"/>
              <a:gd name="connsiteX49338" fmla="*/ 2039013 w 4610101"/>
              <a:gd name="connsiteY49338" fmla="*/ 228624 h 6557032"/>
              <a:gd name="connsiteX49339" fmla="*/ 2028080 w 4610101"/>
              <a:gd name="connsiteY49339" fmla="*/ 212225 h 6557032"/>
              <a:gd name="connsiteX49340" fmla="*/ 2033546 w 4610101"/>
              <a:gd name="connsiteY49340" fmla="*/ 195825 h 6557032"/>
              <a:gd name="connsiteX49341" fmla="*/ 2040835 w 4610101"/>
              <a:gd name="connsiteY49341" fmla="*/ 203114 h 6557032"/>
              <a:gd name="connsiteX49342" fmla="*/ 2040835 w 4610101"/>
              <a:gd name="connsiteY49342" fmla="*/ 199469 h 6557032"/>
              <a:gd name="connsiteX49343" fmla="*/ 2044479 w 4610101"/>
              <a:gd name="connsiteY49343" fmla="*/ 201292 h 6557032"/>
              <a:gd name="connsiteX49344" fmla="*/ 2042657 w 4610101"/>
              <a:gd name="connsiteY49344" fmla="*/ 194003 h 6557032"/>
              <a:gd name="connsiteX49345" fmla="*/ 2048124 w 4610101"/>
              <a:gd name="connsiteY49345" fmla="*/ 208580 h 6557032"/>
              <a:gd name="connsiteX49346" fmla="*/ 2040835 w 4610101"/>
              <a:gd name="connsiteY49346" fmla="*/ 204936 h 6557032"/>
              <a:gd name="connsiteX49347" fmla="*/ 2039013 w 4610101"/>
              <a:gd name="connsiteY49347" fmla="*/ 210403 h 6557032"/>
              <a:gd name="connsiteX49348" fmla="*/ 2033546 w 4610101"/>
              <a:gd name="connsiteY49348" fmla="*/ 204936 h 6557032"/>
              <a:gd name="connsiteX49349" fmla="*/ 2042657 w 4610101"/>
              <a:gd name="connsiteY49349" fmla="*/ 254135 h 6557032"/>
              <a:gd name="connsiteX49350" fmla="*/ 2049946 w 4610101"/>
              <a:gd name="connsiteY49350" fmla="*/ 263246 h 6557032"/>
              <a:gd name="connsiteX49351" fmla="*/ 2048124 w 4610101"/>
              <a:gd name="connsiteY49351" fmla="*/ 285112 h 6557032"/>
              <a:gd name="connsiteX49352" fmla="*/ 2053590 w 4610101"/>
              <a:gd name="connsiteY49352" fmla="*/ 283289 h 6557032"/>
              <a:gd name="connsiteX49353" fmla="*/ 2102790 w 4610101"/>
              <a:gd name="connsiteY49353" fmla="*/ 299689 h 6557032"/>
              <a:gd name="connsiteX49354" fmla="*/ 2113722 w 4610101"/>
              <a:gd name="connsiteY49354" fmla="*/ 301511 h 6557032"/>
              <a:gd name="connsiteX49355" fmla="*/ 2117366 w 4610101"/>
              <a:gd name="connsiteY49355" fmla="*/ 306978 h 6557032"/>
              <a:gd name="connsiteX49356" fmla="*/ 2124655 w 4610101"/>
              <a:gd name="connsiteY49356" fmla="*/ 305155 h 6557032"/>
              <a:gd name="connsiteX49357" fmla="*/ 2128300 w 4610101"/>
              <a:gd name="connsiteY49357" fmla="*/ 299689 h 6557032"/>
              <a:gd name="connsiteX49358" fmla="*/ 2131944 w 4610101"/>
              <a:gd name="connsiteY49358" fmla="*/ 305155 h 6557032"/>
              <a:gd name="connsiteX49359" fmla="*/ 2128300 w 4610101"/>
              <a:gd name="connsiteY49359" fmla="*/ 288756 h 6557032"/>
              <a:gd name="connsiteX49360" fmla="*/ 2131944 w 4610101"/>
              <a:gd name="connsiteY49360" fmla="*/ 290578 h 6557032"/>
              <a:gd name="connsiteX49361" fmla="*/ 2139233 w 4610101"/>
              <a:gd name="connsiteY49361" fmla="*/ 306978 h 6557032"/>
              <a:gd name="connsiteX49362" fmla="*/ 2139233 w 4610101"/>
              <a:gd name="connsiteY49362" fmla="*/ 286934 h 6557032"/>
              <a:gd name="connsiteX49363" fmla="*/ 2141055 w 4610101"/>
              <a:gd name="connsiteY49363" fmla="*/ 297867 h 6557032"/>
              <a:gd name="connsiteX49364" fmla="*/ 2150166 w 4610101"/>
              <a:gd name="connsiteY49364" fmla="*/ 290578 h 6557032"/>
              <a:gd name="connsiteX49365" fmla="*/ 2153810 w 4610101"/>
              <a:gd name="connsiteY49365" fmla="*/ 306978 h 6557032"/>
              <a:gd name="connsiteX49366" fmla="*/ 2155632 w 4610101"/>
              <a:gd name="connsiteY49366" fmla="*/ 303333 h 6557032"/>
              <a:gd name="connsiteX49367" fmla="*/ 2181143 w 4610101"/>
              <a:gd name="connsiteY49367" fmla="*/ 339777 h 6557032"/>
              <a:gd name="connsiteX49368" fmla="*/ 2177498 w 4610101"/>
              <a:gd name="connsiteY49368" fmla="*/ 319733 h 6557032"/>
              <a:gd name="connsiteX49369" fmla="*/ 2186609 w 4610101"/>
              <a:gd name="connsiteY49369" fmla="*/ 343421 h 6557032"/>
              <a:gd name="connsiteX49370" fmla="*/ 2181143 w 4610101"/>
              <a:gd name="connsiteY49370" fmla="*/ 343421 h 6557032"/>
              <a:gd name="connsiteX49371" fmla="*/ 2190253 w 4610101"/>
              <a:gd name="connsiteY49371" fmla="*/ 352532 h 6557032"/>
              <a:gd name="connsiteX49372" fmla="*/ 2188431 w 4610101"/>
              <a:gd name="connsiteY49372" fmla="*/ 327022 h 6557032"/>
              <a:gd name="connsiteX49373" fmla="*/ 2192076 w 4610101"/>
              <a:gd name="connsiteY49373" fmla="*/ 305155 h 6557032"/>
              <a:gd name="connsiteX49374" fmla="*/ 2192076 w 4610101"/>
              <a:gd name="connsiteY49374" fmla="*/ 314266 h 6557032"/>
              <a:gd name="connsiteX49375" fmla="*/ 2184787 w 4610101"/>
              <a:gd name="connsiteY49375" fmla="*/ 312444 h 6557032"/>
              <a:gd name="connsiteX49376" fmla="*/ 2182965 w 4610101"/>
              <a:gd name="connsiteY49376" fmla="*/ 299689 h 6557032"/>
              <a:gd name="connsiteX49377" fmla="*/ 2193898 w 4610101"/>
              <a:gd name="connsiteY49377" fmla="*/ 301511 h 6557032"/>
              <a:gd name="connsiteX49378" fmla="*/ 2193898 w 4610101"/>
              <a:gd name="connsiteY49378" fmla="*/ 276001 h 6557032"/>
              <a:gd name="connsiteX49379" fmla="*/ 2190253 w 4610101"/>
              <a:gd name="connsiteY49379" fmla="*/ 279645 h 6557032"/>
              <a:gd name="connsiteX49380" fmla="*/ 2199364 w 4610101"/>
              <a:gd name="connsiteY49380" fmla="*/ 268712 h 6557032"/>
              <a:gd name="connsiteX49381" fmla="*/ 2173854 w 4610101"/>
              <a:gd name="connsiteY49381" fmla="*/ 245024 h 6557032"/>
              <a:gd name="connsiteX49382" fmla="*/ 2135588 w 4610101"/>
              <a:gd name="connsiteY49382" fmla="*/ 243202 h 6557032"/>
              <a:gd name="connsiteX49383" fmla="*/ 2137410 w 4610101"/>
              <a:gd name="connsiteY49383" fmla="*/ 250490 h 6557032"/>
              <a:gd name="connsiteX49384" fmla="*/ 2128300 w 4610101"/>
              <a:gd name="connsiteY49384" fmla="*/ 243202 h 6557032"/>
              <a:gd name="connsiteX49385" fmla="*/ 2137410 w 4610101"/>
              <a:gd name="connsiteY49385" fmla="*/ 237735 h 6557032"/>
              <a:gd name="connsiteX49386" fmla="*/ 2182965 w 4610101"/>
              <a:gd name="connsiteY49386" fmla="*/ 241379 h 6557032"/>
              <a:gd name="connsiteX49387" fmla="*/ 2184787 w 4610101"/>
              <a:gd name="connsiteY49387" fmla="*/ 237735 h 6557032"/>
              <a:gd name="connsiteX49388" fmla="*/ 2186609 w 4610101"/>
              <a:gd name="connsiteY49388" fmla="*/ 230446 h 6557032"/>
              <a:gd name="connsiteX49389" fmla="*/ 2184787 w 4610101"/>
              <a:gd name="connsiteY49389" fmla="*/ 241379 h 6557032"/>
              <a:gd name="connsiteX49390" fmla="*/ 2201187 w 4610101"/>
              <a:gd name="connsiteY49390" fmla="*/ 250490 h 6557032"/>
              <a:gd name="connsiteX49391" fmla="*/ 2204831 w 4610101"/>
              <a:gd name="connsiteY49391" fmla="*/ 246846 h 6557032"/>
              <a:gd name="connsiteX49392" fmla="*/ 2203009 w 4610101"/>
              <a:gd name="connsiteY49392" fmla="*/ 203114 h 6557032"/>
              <a:gd name="connsiteX49393" fmla="*/ 2203009 w 4610101"/>
              <a:gd name="connsiteY49393" fmla="*/ 214047 h 6557032"/>
              <a:gd name="connsiteX49394" fmla="*/ 2192076 w 4610101"/>
              <a:gd name="connsiteY49394" fmla="*/ 212225 h 6557032"/>
              <a:gd name="connsiteX49395" fmla="*/ 2162921 w 4610101"/>
              <a:gd name="connsiteY49395" fmla="*/ 186714 h 6557032"/>
              <a:gd name="connsiteX49396" fmla="*/ 2155632 w 4610101"/>
              <a:gd name="connsiteY49396" fmla="*/ 201292 h 6557032"/>
              <a:gd name="connsiteX49397" fmla="*/ 2155632 w 4610101"/>
              <a:gd name="connsiteY49397" fmla="*/ 190359 h 6557032"/>
              <a:gd name="connsiteX49398" fmla="*/ 2142877 w 4610101"/>
              <a:gd name="connsiteY49398" fmla="*/ 208580 h 6557032"/>
              <a:gd name="connsiteX49399" fmla="*/ 2131944 w 4610101"/>
              <a:gd name="connsiteY49399" fmla="*/ 194003 h 6557032"/>
              <a:gd name="connsiteX49400" fmla="*/ 2130122 w 4610101"/>
              <a:gd name="connsiteY49400" fmla="*/ 201292 h 6557032"/>
              <a:gd name="connsiteX49401" fmla="*/ 2126477 w 4610101"/>
              <a:gd name="connsiteY49401" fmla="*/ 195825 h 6557032"/>
              <a:gd name="connsiteX49402" fmla="*/ 2124655 w 4610101"/>
              <a:gd name="connsiteY49402" fmla="*/ 214047 h 6557032"/>
              <a:gd name="connsiteX49403" fmla="*/ 2106433 w 4610101"/>
              <a:gd name="connsiteY49403" fmla="*/ 215869 h 6557032"/>
              <a:gd name="connsiteX49404" fmla="*/ 2113722 w 4610101"/>
              <a:gd name="connsiteY49404" fmla="*/ 201292 h 6557032"/>
              <a:gd name="connsiteX49405" fmla="*/ 2106434 w 4610101"/>
              <a:gd name="connsiteY49405" fmla="*/ 201292 h 6557032"/>
              <a:gd name="connsiteX49406" fmla="*/ 2104611 w 4610101"/>
              <a:gd name="connsiteY49406" fmla="*/ 195825 h 6557032"/>
              <a:gd name="connsiteX49407" fmla="*/ 2100967 w 4610101"/>
              <a:gd name="connsiteY49407" fmla="*/ 199469 h 6557032"/>
              <a:gd name="connsiteX49408" fmla="*/ 2095500 w 4610101"/>
              <a:gd name="connsiteY49408" fmla="*/ 188536 h 6557032"/>
              <a:gd name="connsiteX49409" fmla="*/ 2097323 w 4610101"/>
              <a:gd name="connsiteY49409" fmla="*/ 199469 h 6557032"/>
              <a:gd name="connsiteX49410" fmla="*/ 2091856 w 4610101"/>
              <a:gd name="connsiteY49410" fmla="*/ 197647 h 6557032"/>
              <a:gd name="connsiteX49411" fmla="*/ 2077279 w 4610101"/>
              <a:gd name="connsiteY49411" fmla="*/ 183070 h 6557032"/>
              <a:gd name="connsiteX49412" fmla="*/ 2080923 w 4610101"/>
              <a:gd name="connsiteY49412" fmla="*/ 175781 h 6557032"/>
              <a:gd name="connsiteX49413" fmla="*/ 2077279 w 4610101"/>
              <a:gd name="connsiteY49413" fmla="*/ 177603 h 6557032"/>
              <a:gd name="connsiteX49414" fmla="*/ 2069990 w 4610101"/>
              <a:gd name="connsiteY49414" fmla="*/ 166670 h 6557032"/>
              <a:gd name="connsiteX49415" fmla="*/ 2069990 w 4610101"/>
              <a:gd name="connsiteY49415" fmla="*/ 170315 h 6557032"/>
              <a:gd name="connsiteX49416" fmla="*/ 2053590 w 4610101"/>
              <a:gd name="connsiteY49416" fmla="*/ 153915 h 6557032"/>
              <a:gd name="connsiteX49417" fmla="*/ 2059057 w 4610101"/>
              <a:gd name="connsiteY49417" fmla="*/ 150271 h 6557032"/>
              <a:gd name="connsiteX49418" fmla="*/ 2062701 w 4610101"/>
              <a:gd name="connsiteY49418" fmla="*/ 159382 h 6557032"/>
              <a:gd name="connsiteX49419" fmla="*/ 2053590 w 4610101"/>
              <a:gd name="connsiteY49419" fmla="*/ 126583 h 6557032"/>
              <a:gd name="connsiteX49420" fmla="*/ 2040835 w 4610101"/>
              <a:gd name="connsiteY49420" fmla="*/ 112005 h 6557032"/>
              <a:gd name="connsiteX49421" fmla="*/ 2049946 w 4610101"/>
              <a:gd name="connsiteY49421" fmla="*/ 110183 h 6557032"/>
              <a:gd name="connsiteX49422" fmla="*/ 2051768 w 4610101"/>
              <a:gd name="connsiteY49422" fmla="*/ 115649 h 6557032"/>
              <a:gd name="connsiteX49423" fmla="*/ 2055413 w 4610101"/>
              <a:gd name="connsiteY49423" fmla="*/ 108361 h 6557032"/>
              <a:gd name="connsiteX49424" fmla="*/ 2060879 w 4610101"/>
              <a:gd name="connsiteY49424" fmla="*/ 113827 h 6557032"/>
              <a:gd name="connsiteX49425" fmla="*/ 2059057 w 4610101"/>
              <a:gd name="connsiteY49425" fmla="*/ 108361 h 6557032"/>
              <a:gd name="connsiteX49426" fmla="*/ 2075457 w 4610101"/>
              <a:gd name="connsiteY49426" fmla="*/ 104716 h 6557032"/>
              <a:gd name="connsiteX49427" fmla="*/ 2073634 w 4610101"/>
              <a:gd name="connsiteY49427" fmla="*/ 110183 h 6557032"/>
              <a:gd name="connsiteX49428" fmla="*/ 2079101 w 4610101"/>
              <a:gd name="connsiteY49428" fmla="*/ 101072 h 6557032"/>
              <a:gd name="connsiteX49429" fmla="*/ 2079101 w 4610101"/>
              <a:gd name="connsiteY49429" fmla="*/ 121116 h 6557032"/>
              <a:gd name="connsiteX49430" fmla="*/ 2073634 w 4610101"/>
              <a:gd name="connsiteY49430" fmla="*/ 119294 h 6557032"/>
              <a:gd name="connsiteX49431" fmla="*/ 2072935 w 4610101"/>
              <a:gd name="connsiteY49431" fmla="*/ 122798 h 6557032"/>
              <a:gd name="connsiteX49432" fmla="*/ 2072268 w 4610101"/>
              <a:gd name="connsiteY49432" fmla="*/ 117471 h 6557032"/>
              <a:gd name="connsiteX49433" fmla="*/ 2062701 w 4610101"/>
              <a:gd name="connsiteY49433" fmla="*/ 112005 h 6557032"/>
              <a:gd name="connsiteX49434" fmla="*/ 2062701 w 4610101"/>
              <a:gd name="connsiteY49434" fmla="*/ 117472 h 6557032"/>
              <a:gd name="connsiteX49435" fmla="*/ 2055413 w 4610101"/>
              <a:gd name="connsiteY49435" fmla="*/ 117472 h 6557032"/>
              <a:gd name="connsiteX49436" fmla="*/ 2068168 w 4610101"/>
              <a:gd name="connsiteY49436" fmla="*/ 133871 h 6557032"/>
              <a:gd name="connsiteX49437" fmla="*/ 2064524 w 4610101"/>
              <a:gd name="connsiteY49437" fmla="*/ 121116 h 6557032"/>
              <a:gd name="connsiteX49438" fmla="*/ 2073634 w 4610101"/>
              <a:gd name="connsiteY49438" fmla="*/ 128405 h 6557032"/>
              <a:gd name="connsiteX49439" fmla="*/ 2073114 w 4610101"/>
              <a:gd name="connsiteY49439" fmla="*/ 124239 h 6557032"/>
              <a:gd name="connsiteX49440" fmla="*/ 2077279 w 4610101"/>
              <a:gd name="connsiteY49440" fmla="*/ 128405 h 6557032"/>
              <a:gd name="connsiteX49441" fmla="*/ 2084568 w 4610101"/>
              <a:gd name="connsiteY49441" fmla="*/ 141160 h 6557032"/>
              <a:gd name="connsiteX49442" fmla="*/ 2086390 w 4610101"/>
              <a:gd name="connsiteY49442" fmla="*/ 132049 h 6557032"/>
              <a:gd name="connsiteX49443" fmla="*/ 2077279 w 4610101"/>
              <a:gd name="connsiteY49443" fmla="*/ 128405 h 6557032"/>
              <a:gd name="connsiteX49444" fmla="*/ 2075457 w 4610101"/>
              <a:gd name="connsiteY49444" fmla="*/ 121116 h 6557032"/>
              <a:gd name="connsiteX49445" fmla="*/ 2082745 w 4610101"/>
              <a:gd name="connsiteY49445" fmla="*/ 124760 h 6557032"/>
              <a:gd name="connsiteX49446" fmla="*/ 2086390 w 4610101"/>
              <a:gd name="connsiteY49446" fmla="*/ 101072 h 6557032"/>
              <a:gd name="connsiteX49447" fmla="*/ 2091856 w 4610101"/>
              <a:gd name="connsiteY49447" fmla="*/ 93783 h 6557032"/>
              <a:gd name="connsiteX49448" fmla="*/ 2096184 w 4610101"/>
              <a:gd name="connsiteY49448" fmla="*/ 97199 h 6557032"/>
              <a:gd name="connsiteX49449" fmla="*/ 2098523 w 4610101"/>
              <a:gd name="connsiteY49449" fmla="*/ 98818 h 6557032"/>
              <a:gd name="connsiteX49450" fmla="*/ 2095500 w 4610101"/>
              <a:gd name="connsiteY49450" fmla="*/ 99250 h 6557032"/>
              <a:gd name="connsiteX49451" fmla="*/ 2106433 w 4610101"/>
              <a:gd name="connsiteY49451" fmla="*/ 106539 h 6557032"/>
              <a:gd name="connsiteX49452" fmla="*/ 2104611 w 4610101"/>
              <a:gd name="connsiteY49452" fmla="*/ 104716 h 6557032"/>
              <a:gd name="connsiteX49453" fmla="*/ 2113722 w 4610101"/>
              <a:gd name="connsiteY49453" fmla="*/ 115649 h 6557032"/>
              <a:gd name="connsiteX49454" fmla="*/ 2116684 w 4610101"/>
              <a:gd name="connsiteY49454" fmla="*/ 116105 h 6557032"/>
              <a:gd name="connsiteX49455" fmla="*/ 2120779 w 4610101"/>
              <a:gd name="connsiteY49455" fmla="*/ 113949 h 6557032"/>
              <a:gd name="connsiteX49456" fmla="*/ 2121011 w 4610101"/>
              <a:gd name="connsiteY49456" fmla="*/ 114348 h 6557032"/>
              <a:gd name="connsiteX49457" fmla="*/ 2121011 w 4610101"/>
              <a:gd name="connsiteY49457" fmla="*/ 119294 h 6557032"/>
              <a:gd name="connsiteX49458" fmla="*/ 2122833 w 4610101"/>
              <a:gd name="connsiteY49458" fmla="*/ 117472 h 6557032"/>
              <a:gd name="connsiteX49459" fmla="*/ 2121011 w 4610101"/>
              <a:gd name="connsiteY49459" fmla="*/ 114348 h 6557032"/>
              <a:gd name="connsiteX49460" fmla="*/ 2121011 w 4610101"/>
              <a:gd name="connsiteY49460" fmla="*/ 113827 h 6557032"/>
              <a:gd name="connsiteX49461" fmla="*/ 2120779 w 4610101"/>
              <a:gd name="connsiteY49461" fmla="*/ 113949 h 6557032"/>
              <a:gd name="connsiteX49462" fmla="*/ 2119644 w 4610101"/>
              <a:gd name="connsiteY49462" fmla="*/ 112005 h 6557032"/>
              <a:gd name="connsiteX49463" fmla="*/ 2113722 w 4610101"/>
              <a:gd name="connsiteY49463" fmla="*/ 106539 h 6557032"/>
              <a:gd name="connsiteX49464" fmla="*/ 2121239 w 4610101"/>
              <a:gd name="connsiteY49464" fmla="*/ 109499 h 6557032"/>
              <a:gd name="connsiteX49465" fmla="*/ 2127659 w 4610101"/>
              <a:gd name="connsiteY49465" fmla="*/ 108676 h 6557032"/>
              <a:gd name="connsiteX49466" fmla="*/ 2128300 w 4610101"/>
              <a:gd name="connsiteY49466" fmla="*/ 110183 h 6557032"/>
              <a:gd name="connsiteX49467" fmla="*/ 2129149 w 4610101"/>
              <a:gd name="connsiteY49467" fmla="*/ 108485 h 6557032"/>
              <a:gd name="connsiteX49468" fmla="*/ 2130122 w 4610101"/>
              <a:gd name="connsiteY49468" fmla="*/ 108361 h 6557032"/>
              <a:gd name="connsiteX49469" fmla="*/ 2129758 w 4610101"/>
              <a:gd name="connsiteY49469" fmla="*/ 107267 h 6557032"/>
              <a:gd name="connsiteX49470" fmla="*/ 2130122 w 4610101"/>
              <a:gd name="connsiteY49470" fmla="*/ 106539 h 6557032"/>
              <a:gd name="connsiteX49471" fmla="*/ 2141055 w 4610101"/>
              <a:gd name="connsiteY49471" fmla="*/ 99250 h 6557032"/>
              <a:gd name="connsiteX49472" fmla="*/ 2135588 w 4610101"/>
              <a:gd name="connsiteY49472" fmla="*/ 99250 h 6557032"/>
              <a:gd name="connsiteX49473" fmla="*/ 2130122 w 4610101"/>
              <a:gd name="connsiteY49473" fmla="*/ 82850 h 6557032"/>
              <a:gd name="connsiteX49474" fmla="*/ 2115544 w 4610101"/>
              <a:gd name="connsiteY49474" fmla="*/ 73739 h 6557032"/>
              <a:gd name="connsiteX49475" fmla="*/ 2108256 w 4610101"/>
              <a:gd name="connsiteY49475" fmla="*/ 77384 h 6557032"/>
              <a:gd name="connsiteX49476" fmla="*/ 2104611 w 4610101"/>
              <a:gd name="connsiteY49476" fmla="*/ 73739 h 6557032"/>
              <a:gd name="connsiteX49477" fmla="*/ 2131944 w 4610101"/>
              <a:gd name="connsiteY49477" fmla="*/ 75562 h 6557032"/>
              <a:gd name="connsiteX49478" fmla="*/ 2130122 w 4610101"/>
              <a:gd name="connsiteY49478" fmla="*/ 64629 h 6557032"/>
              <a:gd name="connsiteX49479" fmla="*/ 2153810 w 4610101"/>
              <a:gd name="connsiteY49479" fmla="*/ 79206 h 6557032"/>
              <a:gd name="connsiteX49480" fmla="*/ 2142877 w 4610101"/>
              <a:gd name="connsiteY49480" fmla="*/ 73739 h 6557032"/>
              <a:gd name="connsiteX49481" fmla="*/ 2148344 w 4610101"/>
              <a:gd name="connsiteY49481" fmla="*/ 73739 h 6557032"/>
              <a:gd name="connsiteX49482" fmla="*/ 2146521 w 4610101"/>
              <a:gd name="connsiteY49482" fmla="*/ 62806 h 6557032"/>
              <a:gd name="connsiteX49483" fmla="*/ 2153427 w 4610101"/>
              <a:gd name="connsiteY49483" fmla="*/ 63957 h 6557032"/>
              <a:gd name="connsiteX49484" fmla="*/ 2151988 w 4610101"/>
              <a:gd name="connsiteY49484" fmla="*/ 68273 h 6557032"/>
              <a:gd name="connsiteX49485" fmla="*/ 2162921 w 4610101"/>
              <a:gd name="connsiteY49485" fmla="*/ 68273 h 6557032"/>
              <a:gd name="connsiteX49486" fmla="*/ 2162921 w 4610101"/>
              <a:gd name="connsiteY49486" fmla="*/ 57340 h 6557032"/>
              <a:gd name="connsiteX49487" fmla="*/ 2168387 w 4610101"/>
              <a:gd name="connsiteY49487" fmla="*/ 59162 h 6557032"/>
              <a:gd name="connsiteX49488" fmla="*/ 2170210 w 4610101"/>
              <a:gd name="connsiteY49488" fmla="*/ 68273 h 6557032"/>
              <a:gd name="connsiteX49489" fmla="*/ 2182965 w 4610101"/>
              <a:gd name="connsiteY49489" fmla="*/ 71917 h 6557032"/>
              <a:gd name="connsiteX49490" fmla="*/ 2181143 w 4610101"/>
              <a:gd name="connsiteY49490" fmla="*/ 75562 h 6557032"/>
              <a:gd name="connsiteX49491" fmla="*/ 2173854 w 4610101"/>
              <a:gd name="connsiteY49491" fmla="*/ 73739 h 6557032"/>
              <a:gd name="connsiteX49492" fmla="*/ 2175676 w 4610101"/>
              <a:gd name="connsiteY49492" fmla="*/ 81028 h 6557032"/>
              <a:gd name="connsiteX49493" fmla="*/ 2166565 w 4610101"/>
              <a:gd name="connsiteY49493" fmla="*/ 73739 h 6557032"/>
              <a:gd name="connsiteX49494" fmla="*/ 2181143 w 4610101"/>
              <a:gd name="connsiteY49494" fmla="*/ 101072 h 6557032"/>
              <a:gd name="connsiteX49495" fmla="*/ 2197542 w 4610101"/>
              <a:gd name="connsiteY49495" fmla="*/ 102894 h 6557032"/>
              <a:gd name="connsiteX49496" fmla="*/ 2186609 w 4610101"/>
              <a:gd name="connsiteY49496" fmla="*/ 112005 h 6557032"/>
              <a:gd name="connsiteX49497" fmla="*/ 2203009 w 4610101"/>
              <a:gd name="connsiteY49497" fmla="*/ 128405 h 6557032"/>
              <a:gd name="connsiteX49498" fmla="*/ 2183648 w 4610101"/>
              <a:gd name="connsiteY49498" fmla="*/ 123621 h 6557032"/>
              <a:gd name="connsiteX49499" fmla="*/ 2174764 w 4610101"/>
              <a:gd name="connsiteY49499" fmla="*/ 137878 h 6557032"/>
              <a:gd name="connsiteX49500" fmla="*/ 2172032 w 4610101"/>
              <a:gd name="connsiteY49500" fmla="*/ 135693 h 6557032"/>
              <a:gd name="connsiteX49501" fmla="*/ 2173854 w 4610101"/>
              <a:gd name="connsiteY49501" fmla="*/ 139337 h 6557032"/>
              <a:gd name="connsiteX49502" fmla="*/ 2173854 w 4610101"/>
              <a:gd name="connsiteY49502" fmla="*/ 139338 h 6557032"/>
              <a:gd name="connsiteX49503" fmla="*/ 2173855 w 4610101"/>
              <a:gd name="connsiteY49503" fmla="*/ 139338 h 6557032"/>
              <a:gd name="connsiteX49504" fmla="*/ 2174310 w 4610101"/>
              <a:gd name="connsiteY49504" fmla="*/ 140248 h 6557032"/>
              <a:gd name="connsiteX49505" fmla="*/ 2173854 w 4610101"/>
              <a:gd name="connsiteY49505" fmla="*/ 144804 h 6557032"/>
              <a:gd name="connsiteX49506" fmla="*/ 2175990 w 4610101"/>
              <a:gd name="connsiteY49506" fmla="*/ 142290 h 6557032"/>
              <a:gd name="connsiteX49507" fmla="*/ 2181598 w 4610101"/>
              <a:gd name="connsiteY49507" fmla="*/ 150043 h 6557032"/>
              <a:gd name="connsiteX49508" fmla="*/ 2197542 w 4610101"/>
              <a:gd name="connsiteY49508" fmla="*/ 153915 h 6557032"/>
              <a:gd name="connsiteX49509" fmla="*/ 2195720 w 4610101"/>
              <a:gd name="connsiteY49509" fmla="*/ 148449 h 6557032"/>
              <a:gd name="connsiteX49510" fmla="*/ 2212120 w 4610101"/>
              <a:gd name="connsiteY49510" fmla="*/ 146626 h 6557032"/>
              <a:gd name="connsiteX49511" fmla="*/ 2199364 w 4610101"/>
              <a:gd name="connsiteY49511" fmla="*/ 135693 h 6557032"/>
              <a:gd name="connsiteX49512" fmla="*/ 2208475 w 4610101"/>
              <a:gd name="connsiteY49512" fmla="*/ 119294 h 6557032"/>
              <a:gd name="connsiteX49513" fmla="*/ 2215764 w 4610101"/>
              <a:gd name="connsiteY49513" fmla="*/ 130227 h 6557032"/>
              <a:gd name="connsiteX49514" fmla="*/ 2226697 w 4610101"/>
              <a:gd name="connsiteY49514" fmla="*/ 115649 h 6557032"/>
              <a:gd name="connsiteX49515" fmla="*/ 2224875 w 4610101"/>
              <a:gd name="connsiteY49515" fmla="*/ 110183 h 6557032"/>
              <a:gd name="connsiteX49516" fmla="*/ 2230341 w 4610101"/>
              <a:gd name="connsiteY49516" fmla="*/ 112005 h 6557032"/>
              <a:gd name="connsiteX49517" fmla="*/ 2223053 w 4610101"/>
              <a:gd name="connsiteY49517" fmla="*/ 101072 h 6557032"/>
              <a:gd name="connsiteX49518" fmla="*/ 2221230 w 4610101"/>
              <a:gd name="connsiteY49518" fmla="*/ 99250 h 6557032"/>
              <a:gd name="connsiteX49519" fmla="*/ 2228519 w 4610101"/>
              <a:gd name="connsiteY49519" fmla="*/ 101072 h 6557032"/>
              <a:gd name="connsiteX49520" fmla="*/ 2243096 w 4610101"/>
              <a:gd name="connsiteY49520" fmla="*/ 91961 h 6557032"/>
              <a:gd name="connsiteX49521" fmla="*/ 2233986 w 4610101"/>
              <a:gd name="connsiteY49521" fmla="*/ 84673 h 6557032"/>
              <a:gd name="connsiteX49522" fmla="*/ 2244919 w 4610101"/>
              <a:gd name="connsiteY49522" fmla="*/ 82850 h 6557032"/>
              <a:gd name="connsiteX49523" fmla="*/ 2224875 w 4610101"/>
              <a:gd name="connsiteY49523" fmla="*/ 79206 h 6557032"/>
              <a:gd name="connsiteX49524" fmla="*/ 2226697 w 4610101"/>
              <a:gd name="connsiteY49524" fmla="*/ 71917 h 6557032"/>
              <a:gd name="connsiteX49525" fmla="*/ 2233986 w 4610101"/>
              <a:gd name="connsiteY49525" fmla="*/ 79206 h 6557032"/>
              <a:gd name="connsiteX49526" fmla="*/ 2233986 w 4610101"/>
              <a:gd name="connsiteY49526" fmla="*/ 75562 h 6557032"/>
              <a:gd name="connsiteX49527" fmla="*/ 2239452 w 4610101"/>
              <a:gd name="connsiteY49527" fmla="*/ 75562 h 6557032"/>
              <a:gd name="connsiteX49528" fmla="*/ 2208475 w 4610101"/>
              <a:gd name="connsiteY49528" fmla="*/ 59162 h 6557032"/>
              <a:gd name="connsiteX49529" fmla="*/ 2212120 w 4610101"/>
              <a:gd name="connsiteY49529" fmla="*/ 66451 h 6557032"/>
              <a:gd name="connsiteX49530" fmla="*/ 2195720 w 4610101"/>
              <a:gd name="connsiteY49530" fmla="*/ 55518 h 6557032"/>
              <a:gd name="connsiteX49531" fmla="*/ 2199364 w 4610101"/>
              <a:gd name="connsiteY49531" fmla="*/ 62806 h 6557032"/>
              <a:gd name="connsiteX49532" fmla="*/ 2188431 w 4610101"/>
              <a:gd name="connsiteY49532" fmla="*/ 51873 h 6557032"/>
              <a:gd name="connsiteX49533" fmla="*/ 2190253 w 4610101"/>
              <a:gd name="connsiteY49533" fmla="*/ 62806 h 6557032"/>
              <a:gd name="connsiteX49534" fmla="*/ 2179320 w 4610101"/>
              <a:gd name="connsiteY49534" fmla="*/ 51873 h 6557032"/>
              <a:gd name="connsiteX49535" fmla="*/ 2204831 w 4610101"/>
              <a:gd name="connsiteY49535" fmla="*/ 48229 h 6557032"/>
              <a:gd name="connsiteX49536" fmla="*/ 2203009 w 4610101"/>
              <a:gd name="connsiteY49536" fmla="*/ 50051 h 6557032"/>
              <a:gd name="connsiteX49537" fmla="*/ 2219408 w 4610101"/>
              <a:gd name="connsiteY49537" fmla="*/ 55518 h 6557032"/>
              <a:gd name="connsiteX49538" fmla="*/ 2221230 w 4610101"/>
              <a:gd name="connsiteY49538" fmla="*/ 48229 h 6557032"/>
              <a:gd name="connsiteX49539" fmla="*/ 2230341 w 4610101"/>
              <a:gd name="connsiteY49539" fmla="*/ 40940 h 6557032"/>
              <a:gd name="connsiteX49540" fmla="*/ 2228519 w 4610101"/>
              <a:gd name="connsiteY49540" fmla="*/ 55518 h 6557032"/>
              <a:gd name="connsiteX49541" fmla="*/ 2224875 w 4610101"/>
              <a:gd name="connsiteY49541" fmla="*/ 50051 h 6557032"/>
              <a:gd name="connsiteX49542" fmla="*/ 2223053 w 4610101"/>
              <a:gd name="connsiteY49542" fmla="*/ 57340 h 6557032"/>
              <a:gd name="connsiteX49543" fmla="*/ 2230341 w 4610101"/>
              <a:gd name="connsiteY49543" fmla="*/ 55518 h 6557032"/>
              <a:gd name="connsiteX49544" fmla="*/ 2246741 w 4610101"/>
              <a:gd name="connsiteY49544" fmla="*/ 70095 h 6557032"/>
              <a:gd name="connsiteX49545" fmla="*/ 2246741 w 4610101"/>
              <a:gd name="connsiteY49545" fmla="*/ 50051 h 6557032"/>
              <a:gd name="connsiteX49546" fmla="*/ 2252207 w 4610101"/>
              <a:gd name="connsiteY49546" fmla="*/ 55518 h 6557032"/>
              <a:gd name="connsiteX49547" fmla="*/ 2244919 w 4610101"/>
              <a:gd name="connsiteY49547" fmla="*/ 35474 h 6557032"/>
              <a:gd name="connsiteX49548" fmla="*/ 2250385 w 4610101"/>
              <a:gd name="connsiteY49548" fmla="*/ 37296 h 6557032"/>
              <a:gd name="connsiteX49549" fmla="*/ 2252207 w 4610101"/>
              <a:gd name="connsiteY49549" fmla="*/ 44585 h 6557032"/>
              <a:gd name="connsiteX49550" fmla="*/ 2264963 w 4610101"/>
              <a:gd name="connsiteY49550" fmla="*/ 51873 h 6557032"/>
              <a:gd name="connsiteX49551" fmla="*/ 2268894 w 4610101"/>
              <a:gd name="connsiteY49551" fmla="*/ 50727 h 6557032"/>
              <a:gd name="connsiteX49552" fmla="*/ 2268607 w 4610101"/>
              <a:gd name="connsiteY49552" fmla="*/ 51873 h 6557032"/>
              <a:gd name="connsiteX49553" fmla="*/ 2269083 w 4610101"/>
              <a:gd name="connsiteY49553" fmla="*/ 50671 h 6557032"/>
              <a:gd name="connsiteX49554" fmla="*/ 2270430 w 4610101"/>
              <a:gd name="connsiteY49554" fmla="*/ 50279 h 6557032"/>
              <a:gd name="connsiteX49555" fmla="*/ 2270429 w 4610101"/>
              <a:gd name="connsiteY49555" fmla="*/ 47269 h 6557032"/>
              <a:gd name="connsiteX49556" fmla="*/ 2272935 w 4610101"/>
              <a:gd name="connsiteY49556" fmla="*/ 40940 h 6557032"/>
              <a:gd name="connsiteX49557" fmla="*/ 2275896 w 4610101"/>
              <a:gd name="connsiteY49557" fmla="*/ 30007 h 6557032"/>
              <a:gd name="connsiteX49558" fmla="*/ 2279540 w 4610101"/>
              <a:gd name="connsiteY49558" fmla="*/ 42763 h 6557032"/>
              <a:gd name="connsiteX49559" fmla="*/ 2285007 w 4610101"/>
              <a:gd name="connsiteY49559" fmla="*/ 44585 h 6557032"/>
              <a:gd name="connsiteX49560" fmla="*/ 2301406 w 4610101"/>
              <a:gd name="connsiteY49560" fmla="*/ 42763 h 6557032"/>
              <a:gd name="connsiteX49561" fmla="*/ 2285007 w 4610101"/>
              <a:gd name="connsiteY49561" fmla="*/ 46407 h 6557032"/>
              <a:gd name="connsiteX49562" fmla="*/ 2286829 w 4610101"/>
              <a:gd name="connsiteY49562" fmla="*/ 60984 h 6557032"/>
              <a:gd name="connsiteX49563" fmla="*/ 2281806 w 4610101"/>
              <a:gd name="connsiteY49563" fmla="*/ 59309 h 6557032"/>
              <a:gd name="connsiteX49564" fmla="*/ 2279996 w 4610101"/>
              <a:gd name="connsiteY49564" fmla="*/ 57112 h 6557032"/>
              <a:gd name="connsiteX49565" fmla="*/ 2279540 w 4610101"/>
              <a:gd name="connsiteY49565" fmla="*/ 51873 h 6557032"/>
              <a:gd name="connsiteX49566" fmla="*/ 2272251 w 4610101"/>
              <a:gd name="connsiteY49566" fmla="*/ 53696 h 6557032"/>
              <a:gd name="connsiteX49567" fmla="*/ 2283184 w 4610101"/>
              <a:gd name="connsiteY49567" fmla="*/ 60984 h 6557032"/>
              <a:gd name="connsiteX49568" fmla="*/ 2281923 w 4610101"/>
              <a:gd name="connsiteY49568" fmla="*/ 59451 h 6557032"/>
              <a:gd name="connsiteX49569" fmla="*/ 2287968 w 4610101"/>
              <a:gd name="connsiteY49569" fmla="*/ 62578 h 6557032"/>
              <a:gd name="connsiteX49570" fmla="*/ 2290473 w 4610101"/>
              <a:gd name="connsiteY49570" fmla="*/ 70095 h 6557032"/>
              <a:gd name="connsiteX49571" fmla="*/ 2285007 w 4610101"/>
              <a:gd name="connsiteY49571" fmla="*/ 68273 h 6557032"/>
              <a:gd name="connsiteX49572" fmla="*/ 2286829 w 4610101"/>
              <a:gd name="connsiteY49572" fmla="*/ 75562 h 6557032"/>
              <a:gd name="connsiteX49573" fmla="*/ 2275896 w 4610101"/>
              <a:gd name="connsiteY49573" fmla="*/ 68273 h 6557032"/>
              <a:gd name="connsiteX49574" fmla="*/ 2274074 w 4610101"/>
              <a:gd name="connsiteY49574" fmla="*/ 73739 h 6557032"/>
              <a:gd name="connsiteX49575" fmla="*/ 2263140 w 4610101"/>
              <a:gd name="connsiteY49575" fmla="*/ 75562 h 6557032"/>
              <a:gd name="connsiteX49576" fmla="*/ 2295940 w 4610101"/>
              <a:gd name="connsiteY49576" fmla="*/ 77384 h 6557032"/>
              <a:gd name="connsiteX49577" fmla="*/ 2294117 w 4610101"/>
              <a:gd name="connsiteY49577" fmla="*/ 71917 h 6557032"/>
              <a:gd name="connsiteX49578" fmla="*/ 2305050 w 4610101"/>
              <a:gd name="connsiteY49578" fmla="*/ 70095 h 6557032"/>
              <a:gd name="connsiteX49579" fmla="*/ 2339672 w 4610101"/>
              <a:gd name="connsiteY49579" fmla="*/ 64629 h 6557032"/>
              <a:gd name="connsiteX49580" fmla="*/ 2339672 w 4610101"/>
              <a:gd name="connsiteY49580" fmla="*/ 71917 h 6557032"/>
              <a:gd name="connsiteX49581" fmla="*/ 2346960 w 4610101"/>
              <a:gd name="connsiteY49581" fmla="*/ 64629 h 6557032"/>
              <a:gd name="connsiteX49582" fmla="*/ 2339672 w 4610101"/>
              <a:gd name="connsiteY49582" fmla="*/ 64629 h 6557032"/>
              <a:gd name="connsiteX49583" fmla="*/ 2346960 w 4610101"/>
              <a:gd name="connsiteY49583" fmla="*/ 57340 h 6557032"/>
              <a:gd name="connsiteX49584" fmla="*/ 2350605 w 4610101"/>
              <a:gd name="connsiteY49584" fmla="*/ 60984 h 6557032"/>
              <a:gd name="connsiteX49585" fmla="*/ 2348782 w 4610101"/>
              <a:gd name="connsiteY49585" fmla="*/ 62806 h 6557032"/>
              <a:gd name="connsiteX49586" fmla="*/ 2354249 w 4610101"/>
              <a:gd name="connsiteY49586" fmla="*/ 60984 h 6557032"/>
              <a:gd name="connsiteX49587" fmla="*/ 2357893 w 4610101"/>
              <a:gd name="connsiteY49587" fmla="*/ 48229 h 6557032"/>
              <a:gd name="connsiteX49588" fmla="*/ 2365182 w 4610101"/>
              <a:gd name="connsiteY49588" fmla="*/ 55518 h 6557032"/>
              <a:gd name="connsiteX49589" fmla="*/ 2363360 w 4610101"/>
              <a:gd name="connsiteY49589" fmla="*/ 60984 h 6557032"/>
              <a:gd name="connsiteX49590" fmla="*/ 2370649 w 4610101"/>
              <a:gd name="connsiteY49590" fmla="*/ 60984 h 6557032"/>
              <a:gd name="connsiteX49591" fmla="*/ 2368827 w 4610101"/>
              <a:gd name="connsiteY49591" fmla="*/ 51873 h 6557032"/>
              <a:gd name="connsiteX49592" fmla="*/ 2387048 w 4610101"/>
              <a:gd name="connsiteY49592" fmla="*/ 57340 h 6557032"/>
              <a:gd name="connsiteX49593" fmla="*/ 2403448 w 4610101"/>
              <a:gd name="connsiteY49593" fmla="*/ 51873 h 6557032"/>
              <a:gd name="connsiteX49594" fmla="*/ 2401626 w 4610101"/>
              <a:gd name="connsiteY49594" fmla="*/ 44585 h 6557032"/>
              <a:gd name="connsiteX49595" fmla="*/ 2408914 w 4610101"/>
              <a:gd name="connsiteY49595" fmla="*/ 46407 h 6557032"/>
              <a:gd name="connsiteX49596" fmla="*/ 2410737 w 4610101"/>
              <a:gd name="connsiteY49596" fmla="*/ 33652 h 6557032"/>
              <a:gd name="connsiteX49597" fmla="*/ 2410312 w 4610101"/>
              <a:gd name="connsiteY49597" fmla="*/ 33782 h 6557032"/>
              <a:gd name="connsiteX49598" fmla="*/ 2416203 w 4610101"/>
              <a:gd name="connsiteY49598" fmla="*/ 26363 h 6557032"/>
              <a:gd name="connsiteX49599" fmla="*/ 2436247 w 4610101"/>
              <a:gd name="connsiteY49599" fmla="*/ 40940 h 6557032"/>
              <a:gd name="connsiteX49600" fmla="*/ 2434425 w 4610101"/>
              <a:gd name="connsiteY49600" fmla="*/ 31829 h 6557032"/>
              <a:gd name="connsiteX49601" fmla="*/ 2456291 w 4610101"/>
              <a:gd name="connsiteY49601" fmla="*/ 30007 h 6557032"/>
              <a:gd name="connsiteX49602" fmla="*/ 2465402 w 4610101"/>
              <a:gd name="connsiteY49602" fmla="*/ 53696 h 6557032"/>
              <a:gd name="connsiteX49603" fmla="*/ 2456291 w 4610101"/>
              <a:gd name="connsiteY49603" fmla="*/ 51873 h 6557032"/>
              <a:gd name="connsiteX49604" fmla="*/ 2459935 w 4610101"/>
              <a:gd name="connsiteY49604" fmla="*/ 50051 h 6557032"/>
              <a:gd name="connsiteX49605" fmla="*/ 2453414 w 4610101"/>
              <a:gd name="connsiteY49605" fmla="*/ 46790 h 6557032"/>
              <a:gd name="connsiteX49606" fmla="*/ 2461757 w 4610101"/>
              <a:gd name="connsiteY49606" fmla="*/ 48229 h 6557032"/>
              <a:gd name="connsiteX49607" fmla="*/ 2458113 w 4610101"/>
              <a:gd name="connsiteY49607" fmla="*/ 35474 h 6557032"/>
              <a:gd name="connsiteX49608" fmla="*/ 2456291 w 4610101"/>
              <a:gd name="connsiteY49608" fmla="*/ 40940 h 6557032"/>
              <a:gd name="connsiteX49609" fmla="*/ 2452647 w 4610101"/>
              <a:gd name="connsiteY49609" fmla="*/ 33652 h 6557032"/>
              <a:gd name="connsiteX49610" fmla="*/ 2445358 w 4610101"/>
              <a:gd name="connsiteY49610" fmla="*/ 33652 h 6557032"/>
              <a:gd name="connsiteX49611" fmla="*/ 2438069 w 4610101"/>
              <a:gd name="connsiteY49611" fmla="*/ 46407 h 6557032"/>
              <a:gd name="connsiteX49612" fmla="*/ 2438938 w 4610101"/>
              <a:gd name="connsiteY49612" fmla="*/ 46369 h 6557032"/>
              <a:gd name="connsiteX49613" fmla="*/ 2438525 w 4610101"/>
              <a:gd name="connsiteY49613" fmla="*/ 46634 h 6557032"/>
              <a:gd name="connsiteX49614" fmla="*/ 2438069 w 4610101"/>
              <a:gd name="connsiteY49614" fmla="*/ 50051 h 6557032"/>
              <a:gd name="connsiteX49615" fmla="*/ 2445358 w 4610101"/>
              <a:gd name="connsiteY49615" fmla="*/ 57340 h 6557032"/>
              <a:gd name="connsiteX49616" fmla="*/ 2439891 w 4610101"/>
              <a:gd name="connsiteY49616" fmla="*/ 64629 h 6557032"/>
              <a:gd name="connsiteX49617" fmla="*/ 2452647 w 4610101"/>
              <a:gd name="connsiteY49617" fmla="*/ 57340 h 6557032"/>
              <a:gd name="connsiteX49618" fmla="*/ 2454469 w 4610101"/>
              <a:gd name="connsiteY49618" fmla="*/ 64629 h 6557032"/>
              <a:gd name="connsiteX49619" fmla="*/ 2459935 w 4610101"/>
              <a:gd name="connsiteY49619" fmla="*/ 62806 h 6557032"/>
              <a:gd name="connsiteX49620" fmla="*/ 2458113 w 4610101"/>
              <a:gd name="connsiteY49620" fmla="*/ 57340 h 6557032"/>
              <a:gd name="connsiteX49621" fmla="*/ 2461757 w 4610101"/>
              <a:gd name="connsiteY49621" fmla="*/ 59162 h 6557032"/>
              <a:gd name="connsiteX49622" fmla="*/ 2459935 w 4610101"/>
              <a:gd name="connsiteY49622" fmla="*/ 66451 h 6557032"/>
              <a:gd name="connsiteX49623" fmla="*/ 2476335 w 4610101"/>
              <a:gd name="connsiteY49623" fmla="*/ 73739 h 6557032"/>
              <a:gd name="connsiteX49624" fmla="*/ 2478157 w 4610101"/>
              <a:gd name="connsiteY49624" fmla="*/ 53696 h 6557032"/>
              <a:gd name="connsiteX49625" fmla="*/ 2465402 w 4610101"/>
              <a:gd name="connsiteY49625" fmla="*/ 33652 h 6557032"/>
              <a:gd name="connsiteX49626" fmla="*/ 2478157 w 4610101"/>
              <a:gd name="connsiteY49626" fmla="*/ 50051 h 6557032"/>
              <a:gd name="connsiteX49627" fmla="*/ 2483624 w 4610101"/>
              <a:gd name="connsiteY49627" fmla="*/ 51873 h 6557032"/>
              <a:gd name="connsiteX49628" fmla="*/ 2500023 w 4610101"/>
              <a:gd name="connsiteY49628" fmla="*/ 30007 h 6557032"/>
              <a:gd name="connsiteX49629" fmla="*/ 2501845 w 4610101"/>
              <a:gd name="connsiteY49629" fmla="*/ 24541 h 6557032"/>
              <a:gd name="connsiteX49630" fmla="*/ 2507312 w 4610101"/>
              <a:gd name="connsiteY49630" fmla="*/ 30007 h 6557032"/>
              <a:gd name="connsiteX49631" fmla="*/ 2509134 w 4610101"/>
              <a:gd name="connsiteY49631" fmla="*/ 22719 h 6557032"/>
              <a:gd name="connsiteX49632" fmla="*/ 2510956 w 4610101"/>
              <a:gd name="connsiteY49632" fmla="*/ 31829 h 6557032"/>
              <a:gd name="connsiteX49633" fmla="*/ 2531000 w 4610101"/>
              <a:gd name="connsiteY49633" fmla="*/ 20896 h 6557032"/>
              <a:gd name="connsiteX49634" fmla="*/ 2529178 w 4610101"/>
              <a:gd name="connsiteY49634" fmla="*/ 26363 h 6557032"/>
              <a:gd name="connsiteX49635" fmla="*/ 2536466 w 4610101"/>
              <a:gd name="connsiteY49635" fmla="*/ 39118 h 6557032"/>
              <a:gd name="connsiteX49636" fmla="*/ 2552866 w 4610101"/>
              <a:gd name="connsiteY49636" fmla="*/ 24541 h 6557032"/>
              <a:gd name="connsiteX49637" fmla="*/ 2541933 w 4610101"/>
              <a:gd name="connsiteY49637" fmla="*/ 30007 h 6557032"/>
              <a:gd name="connsiteX49638" fmla="*/ 2543755 w 4610101"/>
              <a:gd name="connsiteY49638" fmla="*/ 22719 h 6557032"/>
              <a:gd name="connsiteX49639" fmla="*/ 2551044 w 4610101"/>
              <a:gd name="connsiteY49639" fmla="*/ 15430 h 6557032"/>
              <a:gd name="connsiteX49640" fmla="*/ 2549222 w 4610101"/>
              <a:gd name="connsiteY49640" fmla="*/ 11786 h 6557032"/>
              <a:gd name="connsiteX49641" fmla="*/ 2540111 w 4610101"/>
              <a:gd name="connsiteY49641" fmla="*/ 13608 h 6557032"/>
              <a:gd name="connsiteX49642" fmla="*/ 2541933 w 4610101"/>
              <a:gd name="connsiteY49642" fmla="*/ 8141 h 6557032"/>
              <a:gd name="connsiteX49643" fmla="*/ 2540111 w 4610101"/>
              <a:gd name="connsiteY49643" fmla="*/ 9963 h 6557032"/>
              <a:gd name="connsiteX49644" fmla="*/ 2540111 w 4610101"/>
              <a:gd name="connsiteY49644" fmla="*/ 853 h 6557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  <a:cxn ang="0">
                <a:pos x="connsiteX4801" y="connsiteY4801"/>
              </a:cxn>
              <a:cxn ang="0">
                <a:pos x="connsiteX4802" y="connsiteY4802"/>
              </a:cxn>
              <a:cxn ang="0">
                <a:pos x="connsiteX4803" y="connsiteY4803"/>
              </a:cxn>
              <a:cxn ang="0">
                <a:pos x="connsiteX4804" y="connsiteY4804"/>
              </a:cxn>
              <a:cxn ang="0">
                <a:pos x="connsiteX4805" y="connsiteY4805"/>
              </a:cxn>
              <a:cxn ang="0">
                <a:pos x="connsiteX4806" y="connsiteY4806"/>
              </a:cxn>
              <a:cxn ang="0">
                <a:pos x="connsiteX4807" y="connsiteY4807"/>
              </a:cxn>
              <a:cxn ang="0">
                <a:pos x="connsiteX4808" y="connsiteY4808"/>
              </a:cxn>
              <a:cxn ang="0">
                <a:pos x="connsiteX4809" y="connsiteY4809"/>
              </a:cxn>
              <a:cxn ang="0">
                <a:pos x="connsiteX4810" y="connsiteY4810"/>
              </a:cxn>
              <a:cxn ang="0">
                <a:pos x="connsiteX4811" y="connsiteY4811"/>
              </a:cxn>
              <a:cxn ang="0">
                <a:pos x="connsiteX4812" y="connsiteY4812"/>
              </a:cxn>
              <a:cxn ang="0">
                <a:pos x="connsiteX4813" y="connsiteY4813"/>
              </a:cxn>
              <a:cxn ang="0">
                <a:pos x="connsiteX4814" y="connsiteY4814"/>
              </a:cxn>
              <a:cxn ang="0">
                <a:pos x="connsiteX4815" y="connsiteY4815"/>
              </a:cxn>
              <a:cxn ang="0">
                <a:pos x="connsiteX4816" y="connsiteY4816"/>
              </a:cxn>
              <a:cxn ang="0">
                <a:pos x="connsiteX4817" y="connsiteY4817"/>
              </a:cxn>
              <a:cxn ang="0">
                <a:pos x="connsiteX4818" y="connsiteY4818"/>
              </a:cxn>
              <a:cxn ang="0">
                <a:pos x="connsiteX4819" y="connsiteY4819"/>
              </a:cxn>
              <a:cxn ang="0">
                <a:pos x="connsiteX4820" y="connsiteY4820"/>
              </a:cxn>
              <a:cxn ang="0">
                <a:pos x="connsiteX4821" y="connsiteY4821"/>
              </a:cxn>
              <a:cxn ang="0">
                <a:pos x="connsiteX4822" y="connsiteY4822"/>
              </a:cxn>
              <a:cxn ang="0">
                <a:pos x="connsiteX4823" y="connsiteY4823"/>
              </a:cxn>
              <a:cxn ang="0">
                <a:pos x="connsiteX4824" y="connsiteY4824"/>
              </a:cxn>
              <a:cxn ang="0">
                <a:pos x="connsiteX4825" y="connsiteY4825"/>
              </a:cxn>
              <a:cxn ang="0">
                <a:pos x="connsiteX4826" y="connsiteY4826"/>
              </a:cxn>
              <a:cxn ang="0">
                <a:pos x="connsiteX4827" y="connsiteY4827"/>
              </a:cxn>
              <a:cxn ang="0">
                <a:pos x="connsiteX4828" y="connsiteY4828"/>
              </a:cxn>
              <a:cxn ang="0">
                <a:pos x="connsiteX4829" y="connsiteY4829"/>
              </a:cxn>
              <a:cxn ang="0">
                <a:pos x="connsiteX4830" y="connsiteY4830"/>
              </a:cxn>
              <a:cxn ang="0">
                <a:pos x="connsiteX4831" y="connsiteY4831"/>
              </a:cxn>
              <a:cxn ang="0">
                <a:pos x="connsiteX4832" y="connsiteY4832"/>
              </a:cxn>
              <a:cxn ang="0">
                <a:pos x="connsiteX4833" y="connsiteY4833"/>
              </a:cxn>
              <a:cxn ang="0">
                <a:pos x="connsiteX4834" y="connsiteY4834"/>
              </a:cxn>
              <a:cxn ang="0">
                <a:pos x="connsiteX4835" y="connsiteY4835"/>
              </a:cxn>
              <a:cxn ang="0">
                <a:pos x="connsiteX4836" y="connsiteY4836"/>
              </a:cxn>
              <a:cxn ang="0">
                <a:pos x="connsiteX4837" y="connsiteY4837"/>
              </a:cxn>
              <a:cxn ang="0">
                <a:pos x="connsiteX4838" y="connsiteY4838"/>
              </a:cxn>
              <a:cxn ang="0">
                <a:pos x="connsiteX4839" y="connsiteY4839"/>
              </a:cxn>
              <a:cxn ang="0">
                <a:pos x="connsiteX4840" y="connsiteY4840"/>
              </a:cxn>
              <a:cxn ang="0">
                <a:pos x="connsiteX4841" y="connsiteY4841"/>
              </a:cxn>
              <a:cxn ang="0">
                <a:pos x="connsiteX4842" y="connsiteY4842"/>
              </a:cxn>
              <a:cxn ang="0">
                <a:pos x="connsiteX4843" y="connsiteY4843"/>
              </a:cxn>
              <a:cxn ang="0">
                <a:pos x="connsiteX4844" y="connsiteY4844"/>
              </a:cxn>
              <a:cxn ang="0">
                <a:pos x="connsiteX4845" y="connsiteY4845"/>
              </a:cxn>
              <a:cxn ang="0">
                <a:pos x="connsiteX4846" y="connsiteY4846"/>
              </a:cxn>
              <a:cxn ang="0">
                <a:pos x="connsiteX4847" y="connsiteY4847"/>
              </a:cxn>
              <a:cxn ang="0">
                <a:pos x="connsiteX4848" y="connsiteY4848"/>
              </a:cxn>
              <a:cxn ang="0">
                <a:pos x="connsiteX4849" y="connsiteY4849"/>
              </a:cxn>
              <a:cxn ang="0">
                <a:pos x="connsiteX4850" y="connsiteY4850"/>
              </a:cxn>
              <a:cxn ang="0">
                <a:pos x="connsiteX4851" y="connsiteY4851"/>
              </a:cxn>
              <a:cxn ang="0">
                <a:pos x="connsiteX4852" y="connsiteY4852"/>
              </a:cxn>
              <a:cxn ang="0">
                <a:pos x="connsiteX4853" y="connsiteY4853"/>
              </a:cxn>
              <a:cxn ang="0">
                <a:pos x="connsiteX4854" y="connsiteY4854"/>
              </a:cxn>
              <a:cxn ang="0">
                <a:pos x="connsiteX4855" y="connsiteY4855"/>
              </a:cxn>
              <a:cxn ang="0">
                <a:pos x="connsiteX4856" y="connsiteY4856"/>
              </a:cxn>
              <a:cxn ang="0">
                <a:pos x="connsiteX4857" y="connsiteY4857"/>
              </a:cxn>
              <a:cxn ang="0">
                <a:pos x="connsiteX4858" y="connsiteY4858"/>
              </a:cxn>
              <a:cxn ang="0">
                <a:pos x="connsiteX4859" y="connsiteY4859"/>
              </a:cxn>
              <a:cxn ang="0">
                <a:pos x="connsiteX4860" y="connsiteY4860"/>
              </a:cxn>
              <a:cxn ang="0">
                <a:pos x="connsiteX4861" y="connsiteY4861"/>
              </a:cxn>
              <a:cxn ang="0">
                <a:pos x="connsiteX4862" y="connsiteY4862"/>
              </a:cxn>
              <a:cxn ang="0">
                <a:pos x="connsiteX4863" y="connsiteY4863"/>
              </a:cxn>
              <a:cxn ang="0">
                <a:pos x="connsiteX4864" y="connsiteY4864"/>
              </a:cxn>
              <a:cxn ang="0">
                <a:pos x="connsiteX4865" y="connsiteY4865"/>
              </a:cxn>
              <a:cxn ang="0">
                <a:pos x="connsiteX4866" y="connsiteY4866"/>
              </a:cxn>
              <a:cxn ang="0">
                <a:pos x="connsiteX4867" y="connsiteY4867"/>
              </a:cxn>
              <a:cxn ang="0">
                <a:pos x="connsiteX4868" y="connsiteY4868"/>
              </a:cxn>
              <a:cxn ang="0">
                <a:pos x="connsiteX4869" y="connsiteY4869"/>
              </a:cxn>
              <a:cxn ang="0">
                <a:pos x="connsiteX4870" y="connsiteY4870"/>
              </a:cxn>
              <a:cxn ang="0">
                <a:pos x="connsiteX4871" y="connsiteY4871"/>
              </a:cxn>
              <a:cxn ang="0">
                <a:pos x="connsiteX4872" y="connsiteY4872"/>
              </a:cxn>
              <a:cxn ang="0">
                <a:pos x="connsiteX4873" y="connsiteY4873"/>
              </a:cxn>
              <a:cxn ang="0">
                <a:pos x="connsiteX4874" y="connsiteY4874"/>
              </a:cxn>
              <a:cxn ang="0">
                <a:pos x="connsiteX4875" y="connsiteY4875"/>
              </a:cxn>
              <a:cxn ang="0">
                <a:pos x="connsiteX4876" y="connsiteY4876"/>
              </a:cxn>
              <a:cxn ang="0">
                <a:pos x="connsiteX4877" y="connsiteY4877"/>
              </a:cxn>
              <a:cxn ang="0">
                <a:pos x="connsiteX4878" y="connsiteY4878"/>
              </a:cxn>
              <a:cxn ang="0">
                <a:pos x="connsiteX4879" y="connsiteY4879"/>
              </a:cxn>
              <a:cxn ang="0">
                <a:pos x="connsiteX4880" y="connsiteY4880"/>
              </a:cxn>
              <a:cxn ang="0">
                <a:pos x="connsiteX4881" y="connsiteY4881"/>
              </a:cxn>
              <a:cxn ang="0">
                <a:pos x="connsiteX4882" y="connsiteY4882"/>
              </a:cxn>
              <a:cxn ang="0">
                <a:pos x="connsiteX4883" y="connsiteY4883"/>
              </a:cxn>
              <a:cxn ang="0">
                <a:pos x="connsiteX4884" y="connsiteY4884"/>
              </a:cxn>
              <a:cxn ang="0">
                <a:pos x="connsiteX4885" y="connsiteY4885"/>
              </a:cxn>
              <a:cxn ang="0">
                <a:pos x="connsiteX4886" y="connsiteY4886"/>
              </a:cxn>
              <a:cxn ang="0">
                <a:pos x="connsiteX4887" y="connsiteY4887"/>
              </a:cxn>
              <a:cxn ang="0">
                <a:pos x="connsiteX4888" y="connsiteY4888"/>
              </a:cxn>
              <a:cxn ang="0">
                <a:pos x="connsiteX4889" y="connsiteY4889"/>
              </a:cxn>
              <a:cxn ang="0">
                <a:pos x="connsiteX4890" y="connsiteY4890"/>
              </a:cxn>
              <a:cxn ang="0">
                <a:pos x="connsiteX4891" y="connsiteY4891"/>
              </a:cxn>
              <a:cxn ang="0">
                <a:pos x="connsiteX4892" y="connsiteY4892"/>
              </a:cxn>
              <a:cxn ang="0">
                <a:pos x="connsiteX4893" y="connsiteY4893"/>
              </a:cxn>
              <a:cxn ang="0">
                <a:pos x="connsiteX4894" y="connsiteY4894"/>
              </a:cxn>
              <a:cxn ang="0">
                <a:pos x="connsiteX4895" y="connsiteY4895"/>
              </a:cxn>
              <a:cxn ang="0">
                <a:pos x="connsiteX4896" y="connsiteY4896"/>
              </a:cxn>
              <a:cxn ang="0">
                <a:pos x="connsiteX4897" y="connsiteY4897"/>
              </a:cxn>
              <a:cxn ang="0">
                <a:pos x="connsiteX4898" y="connsiteY4898"/>
              </a:cxn>
              <a:cxn ang="0">
                <a:pos x="connsiteX4899" y="connsiteY4899"/>
              </a:cxn>
              <a:cxn ang="0">
                <a:pos x="connsiteX4900" y="connsiteY4900"/>
              </a:cxn>
              <a:cxn ang="0">
                <a:pos x="connsiteX4901" y="connsiteY4901"/>
              </a:cxn>
              <a:cxn ang="0">
                <a:pos x="connsiteX4902" y="connsiteY4902"/>
              </a:cxn>
              <a:cxn ang="0">
                <a:pos x="connsiteX4903" y="connsiteY4903"/>
              </a:cxn>
              <a:cxn ang="0">
                <a:pos x="connsiteX4904" y="connsiteY4904"/>
              </a:cxn>
              <a:cxn ang="0">
                <a:pos x="connsiteX4905" y="connsiteY4905"/>
              </a:cxn>
              <a:cxn ang="0">
                <a:pos x="connsiteX4906" y="connsiteY4906"/>
              </a:cxn>
              <a:cxn ang="0">
                <a:pos x="connsiteX4907" y="connsiteY4907"/>
              </a:cxn>
              <a:cxn ang="0">
                <a:pos x="connsiteX4908" y="connsiteY4908"/>
              </a:cxn>
              <a:cxn ang="0">
                <a:pos x="connsiteX4909" y="connsiteY4909"/>
              </a:cxn>
              <a:cxn ang="0">
                <a:pos x="connsiteX4910" y="connsiteY4910"/>
              </a:cxn>
              <a:cxn ang="0">
                <a:pos x="connsiteX4911" y="connsiteY4911"/>
              </a:cxn>
              <a:cxn ang="0">
                <a:pos x="connsiteX4912" y="connsiteY4912"/>
              </a:cxn>
              <a:cxn ang="0">
                <a:pos x="connsiteX4913" y="connsiteY4913"/>
              </a:cxn>
              <a:cxn ang="0">
                <a:pos x="connsiteX4914" y="connsiteY4914"/>
              </a:cxn>
              <a:cxn ang="0">
                <a:pos x="connsiteX4915" y="connsiteY4915"/>
              </a:cxn>
              <a:cxn ang="0">
                <a:pos x="connsiteX4916" y="connsiteY4916"/>
              </a:cxn>
              <a:cxn ang="0">
                <a:pos x="connsiteX4917" y="connsiteY4917"/>
              </a:cxn>
              <a:cxn ang="0">
                <a:pos x="connsiteX4918" y="connsiteY4918"/>
              </a:cxn>
              <a:cxn ang="0">
                <a:pos x="connsiteX4919" y="connsiteY4919"/>
              </a:cxn>
              <a:cxn ang="0">
                <a:pos x="connsiteX4920" y="connsiteY4920"/>
              </a:cxn>
              <a:cxn ang="0">
                <a:pos x="connsiteX4921" y="connsiteY4921"/>
              </a:cxn>
              <a:cxn ang="0">
                <a:pos x="connsiteX4922" y="connsiteY4922"/>
              </a:cxn>
              <a:cxn ang="0">
                <a:pos x="connsiteX4923" y="connsiteY4923"/>
              </a:cxn>
              <a:cxn ang="0">
                <a:pos x="connsiteX4924" y="connsiteY4924"/>
              </a:cxn>
              <a:cxn ang="0">
                <a:pos x="connsiteX4925" y="connsiteY4925"/>
              </a:cxn>
              <a:cxn ang="0">
                <a:pos x="connsiteX4926" y="connsiteY4926"/>
              </a:cxn>
              <a:cxn ang="0">
                <a:pos x="connsiteX4927" y="connsiteY4927"/>
              </a:cxn>
              <a:cxn ang="0">
                <a:pos x="connsiteX4928" y="connsiteY4928"/>
              </a:cxn>
              <a:cxn ang="0">
                <a:pos x="connsiteX4929" y="connsiteY4929"/>
              </a:cxn>
              <a:cxn ang="0">
                <a:pos x="connsiteX4930" y="connsiteY4930"/>
              </a:cxn>
              <a:cxn ang="0">
                <a:pos x="connsiteX4931" y="connsiteY4931"/>
              </a:cxn>
              <a:cxn ang="0">
                <a:pos x="connsiteX4932" y="connsiteY4932"/>
              </a:cxn>
              <a:cxn ang="0">
                <a:pos x="connsiteX4933" y="connsiteY4933"/>
              </a:cxn>
              <a:cxn ang="0">
                <a:pos x="connsiteX4934" y="connsiteY4934"/>
              </a:cxn>
              <a:cxn ang="0">
                <a:pos x="connsiteX4935" y="connsiteY4935"/>
              </a:cxn>
              <a:cxn ang="0">
                <a:pos x="connsiteX4936" y="connsiteY4936"/>
              </a:cxn>
              <a:cxn ang="0">
                <a:pos x="connsiteX4937" y="connsiteY4937"/>
              </a:cxn>
              <a:cxn ang="0">
                <a:pos x="connsiteX4938" y="connsiteY4938"/>
              </a:cxn>
              <a:cxn ang="0">
                <a:pos x="connsiteX4939" y="connsiteY4939"/>
              </a:cxn>
              <a:cxn ang="0">
                <a:pos x="connsiteX4940" y="connsiteY4940"/>
              </a:cxn>
              <a:cxn ang="0">
                <a:pos x="connsiteX4941" y="connsiteY4941"/>
              </a:cxn>
              <a:cxn ang="0">
                <a:pos x="connsiteX4942" y="connsiteY4942"/>
              </a:cxn>
              <a:cxn ang="0">
                <a:pos x="connsiteX4943" y="connsiteY4943"/>
              </a:cxn>
              <a:cxn ang="0">
                <a:pos x="connsiteX4944" y="connsiteY4944"/>
              </a:cxn>
              <a:cxn ang="0">
                <a:pos x="connsiteX4945" y="connsiteY4945"/>
              </a:cxn>
              <a:cxn ang="0">
                <a:pos x="connsiteX4946" y="connsiteY4946"/>
              </a:cxn>
              <a:cxn ang="0">
                <a:pos x="connsiteX4947" y="connsiteY4947"/>
              </a:cxn>
              <a:cxn ang="0">
                <a:pos x="connsiteX4948" y="connsiteY4948"/>
              </a:cxn>
              <a:cxn ang="0">
                <a:pos x="connsiteX4949" y="connsiteY4949"/>
              </a:cxn>
              <a:cxn ang="0">
                <a:pos x="connsiteX4950" y="connsiteY4950"/>
              </a:cxn>
              <a:cxn ang="0">
                <a:pos x="connsiteX4951" y="connsiteY4951"/>
              </a:cxn>
              <a:cxn ang="0">
                <a:pos x="connsiteX4952" y="connsiteY4952"/>
              </a:cxn>
              <a:cxn ang="0">
                <a:pos x="connsiteX4953" y="connsiteY4953"/>
              </a:cxn>
              <a:cxn ang="0">
                <a:pos x="connsiteX4954" y="connsiteY4954"/>
              </a:cxn>
              <a:cxn ang="0">
                <a:pos x="connsiteX4955" y="connsiteY4955"/>
              </a:cxn>
              <a:cxn ang="0">
                <a:pos x="connsiteX4956" y="connsiteY4956"/>
              </a:cxn>
              <a:cxn ang="0">
                <a:pos x="connsiteX4957" y="connsiteY4957"/>
              </a:cxn>
              <a:cxn ang="0">
                <a:pos x="connsiteX4958" y="connsiteY4958"/>
              </a:cxn>
              <a:cxn ang="0">
                <a:pos x="connsiteX4959" y="connsiteY4959"/>
              </a:cxn>
              <a:cxn ang="0">
                <a:pos x="connsiteX4960" y="connsiteY4960"/>
              </a:cxn>
              <a:cxn ang="0">
                <a:pos x="connsiteX4961" y="connsiteY4961"/>
              </a:cxn>
              <a:cxn ang="0">
                <a:pos x="connsiteX4962" y="connsiteY4962"/>
              </a:cxn>
              <a:cxn ang="0">
                <a:pos x="connsiteX4963" y="connsiteY4963"/>
              </a:cxn>
              <a:cxn ang="0">
                <a:pos x="connsiteX4964" y="connsiteY4964"/>
              </a:cxn>
              <a:cxn ang="0">
                <a:pos x="connsiteX4965" y="connsiteY4965"/>
              </a:cxn>
              <a:cxn ang="0">
                <a:pos x="connsiteX4966" y="connsiteY4966"/>
              </a:cxn>
              <a:cxn ang="0">
                <a:pos x="connsiteX4967" y="connsiteY4967"/>
              </a:cxn>
              <a:cxn ang="0">
                <a:pos x="connsiteX4968" y="connsiteY4968"/>
              </a:cxn>
              <a:cxn ang="0">
                <a:pos x="connsiteX4969" y="connsiteY4969"/>
              </a:cxn>
              <a:cxn ang="0">
                <a:pos x="connsiteX4970" y="connsiteY4970"/>
              </a:cxn>
              <a:cxn ang="0">
                <a:pos x="connsiteX4971" y="connsiteY4971"/>
              </a:cxn>
              <a:cxn ang="0">
                <a:pos x="connsiteX4972" y="connsiteY4972"/>
              </a:cxn>
              <a:cxn ang="0">
                <a:pos x="connsiteX4973" y="connsiteY4973"/>
              </a:cxn>
              <a:cxn ang="0">
                <a:pos x="connsiteX4974" y="connsiteY4974"/>
              </a:cxn>
              <a:cxn ang="0">
                <a:pos x="connsiteX4975" y="connsiteY4975"/>
              </a:cxn>
              <a:cxn ang="0">
                <a:pos x="connsiteX4976" y="connsiteY4976"/>
              </a:cxn>
              <a:cxn ang="0">
                <a:pos x="connsiteX4977" y="connsiteY4977"/>
              </a:cxn>
              <a:cxn ang="0">
                <a:pos x="connsiteX4978" y="connsiteY4978"/>
              </a:cxn>
              <a:cxn ang="0">
                <a:pos x="connsiteX4979" y="connsiteY4979"/>
              </a:cxn>
              <a:cxn ang="0">
                <a:pos x="connsiteX4980" y="connsiteY4980"/>
              </a:cxn>
              <a:cxn ang="0">
                <a:pos x="connsiteX4981" y="connsiteY4981"/>
              </a:cxn>
              <a:cxn ang="0">
                <a:pos x="connsiteX4982" y="connsiteY4982"/>
              </a:cxn>
              <a:cxn ang="0">
                <a:pos x="connsiteX4983" y="connsiteY4983"/>
              </a:cxn>
              <a:cxn ang="0">
                <a:pos x="connsiteX4984" y="connsiteY4984"/>
              </a:cxn>
              <a:cxn ang="0">
                <a:pos x="connsiteX4985" y="connsiteY4985"/>
              </a:cxn>
              <a:cxn ang="0">
                <a:pos x="connsiteX4986" y="connsiteY4986"/>
              </a:cxn>
              <a:cxn ang="0">
                <a:pos x="connsiteX4987" y="connsiteY4987"/>
              </a:cxn>
              <a:cxn ang="0">
                <a:pos x="connsiteX4988" y="connsiteY4988"/>
              </a:cxn>
              <a:cxn ang="0">
                <a:pos x="connsiteX4989" y="connsiteY4989"/>
              </a:cxn>
              <a:cxn ang="0">
                <a:pos x="connsiteX4990" y="connsiteY4990"/>
              </a:cxn>
              <a:cxn ang="0">
                <a:pos x="connsiteX4991" y="connsiteY4991"/>
              </a:cxn>
              <a:cxn ang="0">
                <a:pos x="connsiteX4992" y="connsiteY4992"/>
              </a:cxn>
              <a:cxn ang="0">
                <a:pos x="connsiteX4993" y="connsiteY4993"/>
              </a:cxn>
              <a:cxn ang="0">
                <a:pos x="connsiteX4994" y="connsiteY4994"/>
              </a:cxn>
              <a:cxn ang="0">
                <a:pos x="connsiteX4995" y="connsiteY4995"/>
              </a:cxn>
              <a:cxn ang="0">
                <a:pos x="connsiteX4996" y="connsiteY4996"/>
              </a:cxn>
              <a:cxn ang="0">
                <a:pos x="connsiteX4997" y="connsiteY4997"/>
              </a:cxn>
              <a:cxn ang="0">
                <a:pos x="connsiteX4998" y="connsiteY4998"/>
              </a:cxn>
              <a:cxn ang="0">
                <a:pos x="connsiteX4999" y="connsiteY4999"/>
              </a:cxn>
              <a:cxn ang="0">
                <a:pos x="connsiteX5000" y="connsiteY5000"/>
              </a:cxn>
              <a:cxn ang="0">
                <a:pos x="connsiteX5001" y="connsiteY5001"/>
              </a:cxn>
              <a:cxn ang="0">
                <a:pos x="connsiteX5002" y="connsiteY5002"/>
              </a:cxn>
              <a:cxn ang="0">
                <a:pos x="connsiteX5003" y="connsiteY5003"/>
              </a:cxn>
              <a:cxn ang="0">
                <a:pos x="connsiteX5004" y="connsiteY5004"/>
              </a:cxn>
              <a:cxn ang="0">
                <a:pos x="connsiteX5005" y="connsiteY5005"/>
              </a:cxn>
              <a:cxn ang="0">
                <a:pos x="connsiteX5006" y="connsiteY5006"/>
              </a:cxn>
              <a:cxn ang="0">
                <a:pos x="connsiteX5007" y="connsiteY5007"/>
              </a:cxn>
              <a:cxn ang="0">
                <a:pos x="connsiteX5008" y="connsiteY5008"/>
              </a:cxn>
              <a:cxn ang="0">
                <a:pos x="connsiteX5009" y="connsiteY5009"/>
              </a:cxn>
              <a:cxn ang="0">
                <a:pos x="connsiteX5010" y="connsiteY5010"/>
              </a:cxn>
              <a:cxn ang="0">
                <a:pos x="connsiteX5011" y="connsiteY5011"/>
              </a:cxn>
              <a:cxn ang="0">
                <a:pos x="connsiteX5012" y="connsiteY5012"/>
              </a:cxn>
              <a:cxn ang="0">
                <a:pos x="connsiteX5013" y="connsiteY5013"/>
              </a:cxn>
              <a:cxn ang="0">
                <a:pos x="connsiteX5014" y="connsiteY5014"/>
              </a:cxn>
              <a:cxn ang="0">
                <a:pos x="connsiteX5015" y="connsiteY5015"/>
              </a:cxn>
              <a:cxn ang="0">
                <a:pos x="connsiteX5016" y="connsiteY5016"/>
              </a:cxn>
              <a:cxn ang="0">
                <a:pos x="connsiteX5017" y="connsiteY5017"/>
              </a:cxn>
              <a:cxn ang="0">
                <a:pos x="connsiteX5018" y="connsiteY5018"/>
              </a:cxn>
              <a:cxn ang="0">
                <a:pos x="connsiteX5019" y="connsiteY5019"/>
              </a:cxn>
              <a:cxn ang="0">
                <a:pos x="connsiteX5020" y="connsiteY5020"/>
              </a:cxn>
              <a:cxn ang="0">
                <a:pos x="connsiteX5021" y="connsiteY5021"/>
              </a:cxn>
              <a:cxn ang="0">
                <a:pos x="connsiteX5022" y="connsiteY5022"/>
              </a:cxn>
              <a:cxn ang="0">
                <a:pos x="connsiteX5023" y="connsiteY5023"/>
              </a:cxn>
              <a:cxn ang="0">
                <a:pos x="connsiteX5024" y="connsiteY5024"/>
              </a:cxn>
              <a:cxn ang="0">
                <a:pos x="connsiteX5025" y="connsiteY5025"/>
              </a:cxn>
              <a:cxn ang="0">
                <a:pos x="connsiteX5026" y="connsiteY5026"/>
              </a:cxn>
              <a:cxn ang="0">
                <a:pos x="connsiteX5027" y="connsiteY5027"/>
              </a:cxn>
              <a:cxn ang="0">
                <a:pos x="connsiteX5028" y="connsiteY5028"/>
              </a:cxn>
              <a:cxn ang="0">
                <a:pos x="connsiteX5029" y="connsiteY5029"/>
              </a:cxn>
              <a:cxn ang="0">
                <a:pos x="connsiteX5030" y="connsiteY5030"/>
              </a:cxn>
              <a:cxn ang="0">
                <a:pos x="connsiteX5031" y="connsiteY5031"/>
              </a:cxn>
              <a:cxn ang="0">
                <a:pos x="connsiteX5032" y="connsiteY5032"/>
              </a:cxn>
              <a:cxn ang="0">
                <a:pos x="connsiteX5033" y="connsiteY5033"/>
              </a:cxn>
              <a:cxn ang="0">
                <a:pos x="connsiteX5034" y="connsiteY5034"/>
              </a:cxn>
              <a:cxn ang="0">
                <a:pos x="connsiteX5035" y="connsiteY5035"/>
              </a:cxn>
              <a:cxn ang="0">
                <a:pos x="connsiteX5036" y="connsiteY5036"/>
              </a:cxn>
              <a:cxn ang="0">
                <a:pos x="connsiteX5037" y="connsiteY5037"/>
              </a:cxn>
              <a:cxn ang="0">
                <a:pos x="connsiteX5038" y="connsiteY5038"/>
              </a:cxn>
              <a:cxn ang="0">
                <a:pos x="connsiteX5039" y="connsiteY5039"/>
              </a:cxn>
              <a:cxn ang="0">
                <a:pos x="connsiteX5040" y="connsiteY5040"/>
              </a:cxn>
              <a:cxn ang="0">
                <a:pos x="connsiteX5041" y="connsiteY5041"/>
              </a:cxn>
              <a:cxn ang="0">
                <a:pos x="connsiteX5042" y="connsiteY5042"/>
              </a:cxn>
              <a:cxn ang="0">
                <a:pos x="connsiteX5043" y="connsiteY5043"/>
              </a:cxn>
              <a:cxn ang="0">
                <a:pos x="connsiteX5044" y="connsiteY5044"/>
              </a:cxn>
              <a:cxn ang="0">
                <a:pos x="connsiteX5045" y="connsiteY5045"/>
              </a:cxn>
              <a:cxn ang="0">
                <a:pos x="connsiteX5046" y="connsiteY5046"/>
              </a:cxn>
              <a:cxn ang="0">
                <a:pos x="connsiteX5047" y="connsiteY5047"/>
              </a:cxn>
              <a:cxn ang="0">
                <a:pos x="connsiteX5048" y="connsiteY5048"/>
              </a:cxn>
              <a:cxn ang="0">
                <a:pos x="connsiteX5049" y="connsiteY5049"/>
              </a:cxn>
              <a:cxn ang="0">
                <a:pos x="connsiteX5050" y="connsiteY5050"/>
              </a:cxn>
              <a:cxn ang="0">
                <a:pos x="connsiteX5051" y="connsiteY5051"/>
              </a:cxn>
              <a:cxn ang="0">
                <a:pos x="connsiteX5052" y="connsiteY5052"/>
              </a:cxn>
              <a:cxn ang="0">
                <a:pos x="connsiteX5053" y="connsiteY5053"/>
              </a:cxn>
              <a:cxn ang="0">
                <a:pos x="connsiteX5054" y="connsiteY5054"/>
              </a:cxn>
              <a:cxn ang="0">
                <a:pos x="connsiteX5055" y="connsiteY5055"/>
              </a:cxn>
              <a:cxn ang="0">
                <a:pos x="connsiteX5056" y="connsiteY5056"/>
              </a:cxn>
              <a:cxn ang="0">
                <a:pos x="connsiteX5057" y="connsiteY5057"/>
              </a:cxn>
              <a:cxn ang="0">
                <a:pos x="connsiteX5058" y="connsiteY5058"/>
              </a:cxn>
              <a:cxn ang="0">
                <a:pos x="connsiteX5059" y="connsiteY5059"/>
              </a:cxn>
              <a:cxn ang="0">
                <a:pos x="connsiteX5060" y="connsiteY5060"/>
              </a:cxn>
              <a:cxn ang="0">
                <a:pos x="connsiteX5061" y="connsiteY5061"/>
              </a:cxn>
              <a:cxn ang="0">
                <a:pos x="connsiteX5062" y="connsiteY5062"/>
              </a:cxn>
              <a:cxn ang="0">
                <a:pos x="connsiteX5063" y="connsiteY5063"/>
              </a:cxn>
              <a:cxn ang="0">
                <a:pos x="connsiteX5064" y="connsiteY5064"/>
              </a:cxn>
              <a:cxn ang="0">
                <a:pos x="connsiteX5065" y="connsiteY5065"/>
              </a:cxn>
              <a:cxn ang="0">
                <a:pos x="connsiteX5066" y="connsiteY5066"/>
              </a:cxn>
              <a:cxn ang="0">
                <a:pos x="connsiteX5067" y="connsiteY5067"/>
              </a:cxn>
              <a:cxn ang="0">
                <a:pos x="connsiteX5068" y="connsiteY5068"/>
              </a:cxn>
              <a:cxn ang="0">
                <a:pos x="connsiteX5069" y="connsiteY5069"/>
              </a:cxn>
              <a:cxn ang="0">
                <a:pos x="connsiteX5070" y="connsiteY5070"/>
              </a:cxn>
              <a:cxn ang="0">
                <a:pos x="connsiteX5071" y="connsiteY5071"/>
              </a:cxn>
              <a:cxn ang="0">
                <a:pos x="connsiteX5072" y="connsiteY5072"/>
              </a:cxn>
              <a:cxn ang="0">
                <a:pos x="connsiteX5073" y="connsiteY5073"/>
              </a:cxn>
              <a:cxn ang="0">
                <a:pos x="connsiteX5074" y="connsiteY5074"/>
              </a:cxn>
              <a:cxn ang="0">
                <a:pos x="connsiteX5075" y="connsiteY5075"/>
              </a:cxn>
              <a:cxn ang="0">
                <a:pos x="connsiteX5076" y="connsiteY5076"/>
              </a:cxn>
              <a:cxn ang="0">
                <a:pos x="connsiteX5077" y="connsiteY5077"/>
              </a:cxn>
              <a:cxn ang="0">
                <a:pos x="connsiteX5078" y="connsiteY5078"/>
              </a:cxn>
              <a:cxn ang="0">
                <a:pos x="connsiteX5079" y="connsiteY5079"/>
              </a:cxn>
              <a:cxn ang="0">
                <a:pos x="connsiteX5080" y="connsiteY5080"/>
              </a:cxn>
              <a:cxn ang="0">
                <a:pos x="connsiteX5081" y="connsiteY5081"/>
              </a:cxn>
              <a:cxn ang="0">
                <a:pos x="connsiteX5082" y="connsiteY5082"/>
              </a:cxn>
              <a:cxn ang="0">
                <a:pos x="connsiteX5083" y="connsiteY5083"/>
              </a:cxn>
              <a:cxn ang="0">
                <a:pos x="connsiteX5084" y="connsiteY5084"/>
              </a:cxn>
              <a:cxn ang="0">
                <a:pos x="connsiteX5085" y="connsiteY5085"/>
              </a:cxn>
              <a:cxn ang="0">
                <a:pos x="connsiteX5086" y="connsiteY5086"/>
              </a:cxn>
              <a:cxn ang="0">
                <a:pos x="connsiteX5087" y="connsiteY5087"/>
              </a:cxn>
              <a:cxn ang="0">
                <a:pos x="connsiteX5088" y="connsiteY5088"/>
              </a:cxn>
              <a:cxn ang="0">
                <a:pos x="connsiteX5089" y="connsiteY5089"/>
              </a:cxn>
              <a:cxn ang="0">
                <a:pos x="connsiteX5090" y="connsiteY5090"/>
              </a:cxn>
              <a:cxn ang="0">
                <a:pos x="connsiteX5091" y="connsiteY5091"/>
              </a:cxn>
              <a:cxn ang="0">
                <a:pos x="connsiteX5092" y="connsiteY5092"/>
              </a:cxn>
              <a:cxn ang="0">
                <a:pos x="connsiteX5093" y="connsiteY5093"/>
              </a:cxn>
              <a:cxn ang="0">
                <a:pos x="connsiteX5094" y="connsiteY5094"/>
              </a:cxn>
              <a:cxn ang="0">
                <a:pos x="connsiteX5095" y="connsiteY5095"/>
              </a:cxn>
              <a:cxn ang="0">
                <a:pos x="connsiteX5096" y="connsiteY5096"/>
              </a:cxn>
              <a:cxn ang="0">
                <a:pos x="connsiteX5097" y="connsiteY5097"/>
              </a:cxn>
              <a:cxn ang="0">
                <a:pos x="connsiteX5098" y="connsiteY5098"/>
              </a:cxn>
              <a:cxn ang="0">
                <a:pos x="connsiteX5099" y="connsiteY5099"/>
              </a:cxn>
              <a:cxn ang="0">
                <a:pos x="connsiteX5100" y="connsiteY5100"/>
              </a:cxn>
              <a:cxn ang="0">
                <a:pos x="connsiteX5101" y="connsiteY5101"/>
              </a:cxn>
              <a:cxn ang="0">
                <a:pos x="connsiteX5102" y="connsiteY5102"/>
              </a:cxn>
              <a:cxn ang="0">
                <a:pos x="connsiteX5103" y="connsiteY5103"/>
              </a:cxn>
              <a:cxn ang="0">
                <a:pos x="connsiteX5104" y="connsiteY5104"/>
              </a:cxn>
              <a:cxn ang="0">
                <a:pos x="connsiteX5105" y="connsiteY5105"/>
              </a:cxn>
              <a:cxn ang="0">
                <a:pos x="connsiteX5106" y="connsiteY5106"/>
              </a:cxn>
              <a:cxn ang="0">
                <a:pos x="connsiteX5107" y="connsiteY5107"/>
              </a:cxn>
              <a:cxn ang="0">
                <a:pos x="connsiteX5108" y="connsiteY5108"/>
              </a:cxn>
              <a:cxn ang="0">
                <a:pos x="connsiteX5109" y="connsiteY5109"/>
              </a:cxn>
              <a:cxn ang="0">
                <a:pos x="connsiteX5110" y="connsiteY5110"/>
              </a:cxn>
              <a:cxn ang="0">
                <a:pos x="connsiteX5111" y="connsiteY5111"/>
              </a:cxn>
              <a:cxn ang="0">
                <a:pos x="connsiteX5112" y="connsiteY5112"/>
              </a:cxn>
              <a:cxn ang="0">
                <a:pos x="connsiteX5113" y="connsiteY5113"/>
              </a:cxn>
              <a:cxn ang="0">
                <a:pos x="connsiteX5114" y="connsiteY5114"/>
              </a:cxn>
              <a:cxn ang="0">
                <a:pos x="connsiteX5115" y="connsiteY5115"/>
              </a:cxn>
              <a:cxn ang="0">
                <a:pos x="connsiteX5116" y="connsiteY5116"/>
              </a:cxn>
              <a:cxn ang="0">
                <a:pos x="connsiteX5117" y="connsiteY5117"/>
              </a:cxn>
              <a:cxn ang="0">
                <a:pos x="connsiteX5118" y="connsiteY5118"/>
              </a:cxn>
              <a:cxn ang="0">
                <a:pos x="connsiteX5119" y="connsiteY5119"/>
              </a:cxn>
              <a:cxn ang="0">
                <a:pos x="connsiteX5120" y="connsiteY5120"/>
              </a:cxn>
              <a:cxn ang="0">
                <a:pos x="connsiteX5121" y="connsiteY5121"/>
              </a:cxn>
              <a:cxn ang="0">
                <a:pos x="connsiteX5122" y="connsiteY5122"/>
              </a:cxn>
              <a:cxn ang="0">
                <a:pos x="connsiteX5123" y="connsiteY5123"/>
              </a:cxn>
              <a:cxn ang="0">
                <a:pos x="connsiteX5124" y="connsiteY5124"/>
              </a:cxn>
              <a:cxn ang="0">
                <a:pos x="connsiteX5125" y="connsiteY5125"/>
              </a:cxn>
              <a:cxn ang="0">
                <a:pos x="connsiteX5126" y="connsiteY5126"/>
              </a:cxn>
              <a:cxn ang="0">
                <a:pos x="connsiteX5127" y="connsiteY5127"/>
              </a:cxn>
              <a:cxn ang="0">
                <a:pos x="connsiteX5128" y="connsiteY5128"/>
              </a:cxn>
              <a:cxn ang="0">
                <a:pos x="connsiteX5129" y="connsiteY5129"/>
              </a:cxn>
              <a:cxn ang="0">
                <a:pos x="connsiteX5130" y="connsiteY5130"/>
              </a:cxn>
              <a:cxn ang="0">
                <a:pos x="connsiteX5131" y="connsiteY5131"/>
              </a:cxn>
              <a:cxn ang="0">
                <a:pos x="connsiteX5132" y="connsiteY5132"/>
              </a:cxn>
              <a:cxn ang="0">
                <a:pos x="connsiteX5133" y="connsiteY5133"/>
              </a:cxn>
              <a:cxn ang="0">
                <a:pos x="connsiteX5134" y="connsiteY5134"/>
              </a:cxn>
              <a:cxn ang="0">
                <a:pos x="connsiteX5135" y="connsiteY5135"/>
              </a:cxn>
              <a:cxn ang="0">
                <a:pos x="connsiteX5136" y="connsiteY5136"/>
              </a:cxn>
              <a:cxn ang="0">
                <a:pos x="connsiteX5137" y="connsiteY5137"/>
              </a:cxn>
              <a:cxn ang="0">
                <a:pos x="connsiteX5138" y="connsiteY5138"/>
              </a:cxn>
              <a:cxn ang="0">
                <a:pos x="connsiteX5139" y="connsiteY5139"/>
              </a:cxn>
              <a:cxn ang="0">
                <a:pos x="connsiteX5140" y="connsiteY5140"/>
              </a:cxn>
              <a:cxn ang="0">
                <a:pos x="connsiteX5141" y="connsiteY5141"/>
              </a:cxn>
              <a:cxn ang="0">
                <a:pos x="connsiteX5142" y="connsiteY5142"/>
              </a:cxn>
              <a:cxn ang="0">
                <a:pos x="connsiteX5143" y="connsiteY5143"/>
              </a:cxn>
              <a:cxn ang="0">
                <a:pos x="connsiteX5144" y="connsiteY5144"/>
              </a:cxn>
              <a:cxn ang="0">
                <a:pos x="connsiteX5145" y="connsiteY5145"/>
              </a:cxn>
              <a:cxn ang="0">
                <a:pos x="connsiteX5146" y="connsiteY5146"/>
              </a:cxn>
              <a:cxn ang="0">
                <a:pos x="connsiteX5147" y="connsiteY5147"/>
              </a:cxn>
              <a:cxn ang="0">
                <a:pos x="connsiteX5148" y="connsiteY5148"/>
              </a:cxn>
              <a:cxn ang="0">
                <a:pos x="connsiteX5149" y="connsiteY5149"/>
              </a:cxn>
              <a:cxn ang="0">
                <a:pos x="connsiteX5150" y="connsiteY5150"/>
              </a:cxn>
              <a:cxn ang="0">
                <a:pos x="connsiteX5151" y="connsiteY5151"/>
              </a:cxn>
              <a:cxn ang="0">
                <a:pos x="connsiteX5152" y="connsiteY5152"/>
              </a:cxn>
              <a:cxn ang="0">
                <a:pos x="connsiteX5153" y="connsiteY5153"/>
              </a:cxn>
              <a:cxn ang="0">
                <a:pos x="connsiteX5154" y="connsiteY5154"/>
              </a:cxn>
              <a:cxn ang="0">
                <a:pos x="connsiteX5155" y="connsiteY5155"/>
              </a:cxn>
              <a:cxn ang="0">
                <a:pos x="connsiteX5156" y="connsiteY5156"/>
              </a:cxn>
              <a:cxn ang="0">
                <a:pos x="connsiteX5157" y="connsiteY5157"/>
              </a:cxn>
              <a:cxn ang="0">
                <a:pos x="connsiteX5158" y="connsiteY5158"/>
              </a:cxn>
              <a:cxn ang="0">
                <a:pos x="connsiteX5159" y="connsiteY5159"/>
              </a:cxn>
              <a:cxn ang="0">
                <a:pos x="connsiteX5160" y="connsiteY5160"/>
              </a:cxn>
              <a:cxn ang="0">
                <a:pos x="connsiteX5161" y="connsiteY5161"/>
              </a:cxn>
              <a:cxn ang="0">
                <a:pos x="connsiteX5162" y="connsiteY5162"/>
              </a:cxn>
              <a:cxn ang="0">
                <a:pos x="connsiteX5163" y="connsiteY5163"/>
              </a:cxn>
              <a:cxn ang="0">
                <a:pos x="connsiteX5164" y="connsiteY5164"/>
              </a:cxn>
              <a:cxn ang="0">
                <a:pos x="connsiteX5165" y="connsiteY5165"/>
              </a:cxn>
              <a:cxn ang="0">
                <a:pos x="connsiteX5166" y="connsiteY5166"/>
              </a:cxn>
              <a:cxn ang="0">
                <a:pos x="connsiteX5167" y="connsiteY5167"/>
              </a:cxn>
              <a:cxn ang="0">
                <a:pos x="connsiteX5168" y="connsiteY5168"/>
              </a:cxn>
              <a:cxn ang="0">
                <a:pos x="connsiteX5169" y="connsiteY5169"/>
              </a:cxn>
              <a:cxn ang="0">
                <a:pos x="connsiteX5170" y="connsiteY5170"/>
              </a:cxn>
              <a:cxn ang="0">
                <a:pos x="connsiteX5171" y="connsiteY5171"/>
              </a:cxn>
              <a:cxn ang="0">
                <a:pos x="connsiteX5172" y="connsiteY5172"/>
              </a:cxn>
              <a:cxn ang="0">
                <a:pos x="connsiteX5173" y="connsiteY5173"/>
              </a:cxn>
              <a:cxn ang="0">
                <a:pos x="connsiteX5174" y="connsiteY5174"/>
              </a:cxn>
              <a:cxn ang="0">
                <a:pos x="connsiteX5175" y="connsiteY5175"/>
              </a:cxn>
              <a:cxn ang="0">
                <a:pos x="connsiteX5176" y="connsiteY5176"/>
              </a:cxn>
              <a:cxn ang="0">
                <a:pos x="connsiteX5177" y="connsiteY5177"/>
              </a:cxn>
              <a:cxn ang="0">
                <a:pos x="connsiteX5178" y="connsiteY5178"/>
              </a:cxn>
              <a:cxn ang="0">
                <a:pos x="connsiteX5179" y="connsiteY5179"/>
              </a:cxn>
              <a:cxn ang="0">
                <a:pos x="connsiteX5180" y="connsiteY5180"/>
              </a:cxn>
              <a:cxn ang="0">
                <a:pos x="connsiteX5181" y="connsiteY5181"/>
              </a:cxn>
              <a:cxn ang="0">
                <a:pos x="connsiteX5182" y="connsiteY5182"/>
              </a:cxn>
              <a:cxn ang="0">
                <a:pos x="connsiteX5183" y="connsiteY5183"/>
              </a:cxn>
              <a:cxn ang="0">
                <a:pos x="connsiteX5184" y="connsiteY5184"/>
              </a:cxn>
              <a:cxn ang="0">
                <a:pos x="connsiteX5185" y="connsiteY5185"/>
              </a:cxn>
              <a:cxn ang="0">
                <a:pos x="connsiteX5186" y="connsiteY5186"/>
              </a:cxn>
              <a:cxn ang="0">
                <a:pos x="connsiteX5187" y="connsiteY5187"/>
              </a:cxn>
              <a:cxn ang="0">
                <a:pos x="connsiteX5188" y="connsiteY5188"/>
              </a:cxn>
              <a:cxn ang="0">
                <a:pos x="connsiteX5189" y="connsiteY5189"/>
              </a:cxn>
              <a:cxn ang="0">
                <a:pos x="connsiteX5190" y="connsiteY5190"/>
              </a:cxn>
              <a:cxn ang="0">
                <a:pos x="connsiteX5191" y="connsiteY5191"/>
              </a:cxn>
              <a:cxn ang="0">
                <a:pos x="connsiteX5192" y="connsiteY5192"/>
              </a:cxn>
              <a:cxn ang="0">
                <a:pos x="connsiteX5193" y="connsiteY5193"/>
              </a:cxn>
              <a:cxn ang="0">
                <a:pos x="connsiteX5194" y="connsiteY5194"/>
              </a:cxn>
              <a:cxn ang="0">
                <a:pos x="connsiteX5195" y="connsiteY5195"/>
              </a:cxn>
              <a:cxn ang="0">
                <a:pos x="connsiteX5196" y="connsiteY5196"/>
              </a:cxn>
              <a:cxn ang="0">
                <a:pos x="connsiteX5197" y="connsiteY5197"/>
              </a:cxn>
              <a:cxn ang="0">
                <a:pos x="connsiteX5198" y="connsiteY5198"/>
              </a:cxn>
              <a:cxn ang="0">
                <a:pos x="connsiteX5199" y="connsiteY5199"/>
              </a:cxn>
              <a:cxn ang="0">
                <a:pos x="connsiteX5200" y="connsiteY5200"/>
              </a:cxn>
              <a:cxn ang="0">
                <a:pos x="connsiteX5201" y="connsiteY5201"/>
              </a:cxn>
              <a:cxn ang="0">
                <a:pos x="connsiteX5202" y="connsiteY5202"/>
              </a:cxn>
              <a:cxn ang="0">
                <a:pos x="connsiteX5203" y="connsiteY5203"/>
              </a:cxn>
              <a:cxn ang="0">
                <a:pos x="connsiteX5204" y="connsiteY5204"/>
              </a:cxn>
              <a:cxn ang="0">
                <a:pos x="connsiteX5205" y="connsiteY5205"/>
              </a:cxn>
              <a:cxn ang="0">
                <a:pos x="connsiteX5206" y="connsiteY5206"/>
              </a:cxn>
              <a:cxn ang="0">
                <a:pos x="connsiteX5207" y="connsiteY5207"/>
              </a:cxn>
              <a:cxn ang="0">
                <a:pos x="connsiteX5208" y="connsiteY5208"/>
              </a:cxn>
              <a:cxn ang="0">
                <a:pos x="connsiteX5209" y="connsiteY5209"/>
              </a:cxn>
              <a:cxn ang="0">
                <a:pos x="connsiteX5210" y="connsiteY5210"/>
              </a:cxn>
              <a:cxn ang="0">
                <a:pos x="connsiteX5211" y="connsiteY5211"/>
              </a:cxn>
              <a:cxn ang="0">
                <a:pos x="connsiteX5212" y="connsiteY5212"/>
              </a:cxn>
              <a:cxn ang="0">
                <a:pos x="connsiteX5213" y="connsiteY5213"/>
              </a:cxn>
              <a:cxn ang="0">
                <a:pos x="connsiteX5214" y="connsiteY5214"/>
              </a:cxn>
              <a:cxn ang="0">
                <a:pos x="connsiteX5215" y="connsiteY5215"/>
              </a:cxn>
              <a:cxn ang="0">
                <a:pos x="connsiteX5216" y="connsiteY5216"/>
              </a:cxn>
              <a:cxn ang="0">
                <a:pos x="connsiteX5217" y="connsiteY5217"/>
              </a:cxn>
              <a:cxn ang="0">
                <a:pos x="connsiteX5218" y="connsiteY5218"/>
              </a:cxn>
              <a:cxn ang="0">
                <a:pos x="connsiteX5219" y="connsiteY5219"/>
              </a:cxn>
              <a:cxn ang="0">
                <a:pos x="connsiteX5220" y="connsiteY5220"/>
              </a:cxn>
              <a:cxn ang="0">
                <a:pos x="connsiteX5221" y="connsiteY5221"/>
              </a:cxn>
              <a:cxn ang="0">
                <a:pos x="connsiteX5222" y="connsiteY5222"/>
              </a:cxn>
              <a:cxn ang="0">
                <a:pos x="connsiteX5223" y="connsiteY5223"/>
              </a:cxn>
              <a:cxn ang="0">
                <a:pos x="connsiteX5224" y="connsiteY5224"/>
              </a:cxn>
              <a:cxn ang="0">
                <a:pos x="connsiteX5225" y="connsiteY5225"/>
              </a:cxn>
              <a:cxn ang="0">
                <a:pos x="connsiteX5226" y="connsiteY5226"/>
              </a:cxn>
              <a:cxn ang="0">
                <a:pos x="connsiteX5227" y="connsiteY5227"/>
              </a:cxn>
              <a:cxn ang="0">
                <a:pos x="connsiteX5228" y="connsiteY5228"/>
              </a:cxn>
              <a:cxn ang="0">
                <a:pos x="connsiteX5229" y="connsiteY5229"/>
              </a:cxn>
              <a:cxn ang="0">
                <a:pos x="connsiteX5230" y="connsiteY5230"/>
              </a:cxn>
              <a:cxn ang="0">
                <a:pos x="connsiteX5231" y="connsiteY5231"/>
              </a:cxn>
              <a:cxn ang="0">
                <a:pos x="connsiteX5232" y="connsiteY5232"/>
              </a:cxn>
              <a:cxn ang="0">
                <a:pos x="connsiteX5233" y="connsiteY5233"/>
              </a:cxn>
              <a:cxn ang="0">
                <a:pos x="connsiteX5234" y="connsiteY5234"/>
              </a:cxn>
              <a:cxn ang="0">
                <a:pos x="connsiteX5235" y="connsiteY5235"/>
              </a:cxn>
              <a:cxn ang="0">
                <a:pos x="connsiteX5236" y="connsiteY5236"/>
              </a:cxn>
              <a:cxn ang="0">
                <a:pos x="connsiteX5237" y="connsiteY5237"/>
              </a:cxn>
              <a:cxn ang="0">
                <a:pos x="connsiteX5238" y="connsiteY5238"/>
              </a:cxn>
              <a:cxn ang="0">
                <a:pos x="connsiteX5239" y="connsiteY5239"/>
              </a:cxn>
              <a:cxn ang="0">
                <a:pos x="connsiteX5240" y="connsiteY5240"/>
              </a:cxn>
              <a:cxn ang="0">
                <a:pos x="connsiteX5241" y="connsiteY5241"/>
              </a:cxn>
              <a:cxn ang="0">
                <a:pos x="connsiteX5242" y="connsiteY5242"/>
              </a:cxn>
              <a:cxn ang="0">
                <a:pos x="connsiteX5243" y="connsiteY5243"/>
              </a:cxn>
              <a:cxn ang="0">
                <a:pos x="connsiteX5244" y="connsiteY5244"/>
              </a:cxn>
              <a:cxn ang="0">
                <a:pos x="connsiteX5245" y="connsiteY5245"/>
              </a:cxn>
              <a:cxn ang="0">
                <a:pos x="connsiteX5246" y="connsiteY5246"/>
              </a:cxn>
              <a:cxn ang="0">
                <a:pos x="connsiteX5247" y="connsiteY5247"/>
              </a:cxn>
              <a:cxn ang="0">
                <a:pos x="connsiteX5248" y="connsiteY5248"/>
              </a:cxn>
              <a:cxn ang="0">
                <a:pos x="connsiteX5249" y="connsiteY5249"/>
              </a:cxn>
              <a:cxn ang="0">
                <a:pos x="connsiteX5250" y="connsiteY5250"/>
              </a:cxn>
              <a:cxn ang="0">
                <a:pos x="connsiteX5251" y="connsiteY5251"/>
              </a:cxn>
              <a:cxn ang="0">
                <a:pos x="connsiteX5252" y="connsiteY5252"/>
              </a:cxn>
              <a:cxn ang="0">
                <a:pos x="connsiteX5253" y="connsiteY5253"/>
              </a:cxn>
              <a:cxn ang="0">
                <a:pos x="connsiteX5254" y="connsiteY5254"/>
              </a:cxn>
              <a:cxn ang="0">
                <a:pos x="connsiteX5255" y="connsiteY5255"/>
              </a:cxn>
              <a:cxn ang="0">
                <a:pos x="connsiteX5256" y="connsiteY5256"/>
              </a:cxn>
              <a:cxn ang="0">
                <a:pos x="connsiteX5257" y="connsiteY5257"/>
              </a:cxn>
              <a:cxn ang="0">
                <a:pos x="connsiteX5258" y="connsiteY5258"/>
              </a:cxn>
              <a:cxn ang="0">
                <a:pos x="connsiteX5259" y="connsiteY5259"/>
              </a:cxn>
              <a:cxn ang="0">
                <a:pos x="connsiteX5260" y="connsiteY5260"/>
              </a:cxn>
              <a:cxn ang="0">
                <a:pos x="connsiteX5261" y="connsiteY5261"/>
              </a:cxn>
              <a:cxn ang="0">
                <a:pos x="connsiteX5262" y="connsiteY5262"/>
              </a:cxn>
              <a:cxn ang="0">
                <a:pos x="connsiteX5263" y="connsiteY5263"/>
              </a:cxn>
              <a:cxn ang="0">
                <a:pos x="connsiteX5264" y="connsiteY5264"/>
              </a:cxn>
              <a:cxn ang="0">
                <a:pos x="connsiteX5265" y="connsiteY5265"/>
              </a:cxn>
              <a:cxn ang="0">
                <a:pos x="connsiteX5266" y="connsiteY5266"/>
              </a:cxn>
              <a:cxn ang="0">
                <a:pos x="connsiteX5267" y="connsiteY5267"/>
              </a:cxn>
              <a:cxn ang="0">
                <a:pos x="connsiteX5268" y="connsiteY5268"/>
              </a:cxn>
              <a:cxn ang="0">
                <a:pos x="connsiteX5269" y="connsiteY5269"/>
              </a:cxn>
              <a:cxn ang="0">
                <a:pos x="connsiteX5270" y="connsiteY5270"/>
              </a:cxn>
              <a:cxn ang="0">
                <a:pos x="connsiteX5271" y="connsiteY5271"/>
              </a:cxn>
              <a:cxn ang="0">
                <a:pos x="connsiteX5272" y="connsiteY5272"/>
              </a:cxn>
              <a:cxn ang="0">
                <a:pos x="connsiteX5273" y="connsiteY5273"/>
              </a:cxn>
              <a:cxn ang="0">
                <a:pos x="connsiteX5274" y="connsiteY5274"/>
              </a:cxn>
              <a:cxn ang="0">
                <a:pos x="connsiteX5275" y="connsiteY5275"/>
              </a:cxn>
              <a:cxn ang="0">
                <a:pos x="connsiteX5276" y="connsiteY5276"/>
              </a:cxn>
              <a:cxn ang="0">
                <a:pos x="connsiteX5277" y="connsiteY5277"/>
              </a:cxn>
              <a:cxn ang="0">
                <a:pos x="connsiteX5278" y="connsiteY5278"/>
              </a:cxn>
              <a:cxn ang="0">
                <a:pos x="connsiteX5279" y="connsiteY5279"/>
              </a:cxn>
              <a:cxn ang="0">
                <a:pos x="connsiteX5280" y="connsiteY5280"/>
              </a:cxn>
              <a:cxn ang="0">
                <a:pos x="connsiteX5281" y="connsiteY5281"/>
              </a:cxn>
              <a:cxn ang="0">
                <a:pos x="connsiteX5282" y="connsiteY5282"/>
              </a:cxn>
              <a:cxn ang="0">
                <a:pos x="connsiteX5283" y="connsiteY5283"/>
              </a:cxn>
              <a:cxn ang="0">
                <a:pos x="connsiteX5284" y="connsiteY5284"/>
              </a:cxn>
              <a:cxn ang="0">
                <a:pos x="connsiteX5285" y="connsiteY5285"/>
              </a:cxn>
              <a:cxn ang="0">
                <a:pos x="connsiteX5286" y="connsiteY5286"/>
              </a:cxn>
              <a:cxn ang="0">
                <a:pos x="connsiteX5287" y="connsiteY5287"/>
              </a:cxn>
              <a:cxn ang="0">
                <a:pos x="connsiteX5288" y="connsiteY5288"/>
              </a:cxn>
              <a:cxn ang="0">
                <a:pos x="connsiteX5289" y="connsiteY5289"/>
              </a:cxn>
              <a:cxn ang="0">
                <a:pos x="connsiteX5290" y="connsiteY5290"/>
              </a:cxn>
              <a:cxn ang="0">
                <a:pos x="connsiteX5291" y="connsiteY5291"/>
              </a:cxn>
              <a:cxn ang="0">
                <a:pos x="connsiteX5292" y="connsiteY5292"/>
              </a:cxn>
              <a:cxn ang="0">
                <a:pos x="connsiteX5293" y="connsiteY5293"/>
              </a:cxn>
              <a:cxn ang="0">
                <a:pos x="connsiteX5294" y="connsiteY5294"/>
              </a:cxn>
              <a:cxn ang="0">
                <a:pos x="connsiteX5295" y="connsiteY5295"/>
              </a:cxn>
              <a:cxn ang="0">
                <a:pos x="connsiteX5296" y="connsiteY5296"/>
              </a:cxn>
              <a:cxn ang="0">
                <a:pos x="connsiteX5297" y="connsiteY5297"/>
              </a:cxn>
              <a:cxn ang="0">
                <a:pos x="connsiteX5298" y="connsiteY5298"/>
              </a:cxn>
              <a:cxn ang="0">
                <a:pos x="connsiteX5299" y="connsiteY5299"/>
              </a:cxn>
              <a:cxn ang="0">
                <a:pos x="connsiteX5300" y="connsiteY5300"/>
              </a:cxn>
              <a:cxn ang="0">
                <a:pos x="connsiteX5301" y="connsiteY5301"/>
              </a:cxn>
              <a:cxn ang="0">
                <a:pos x="connsiteX5302" y="connsiteY5302"/>
              </a:cxn>
              <a:cxn ang="0">
                <a:pos x="connsiteX5303" y="connsiteY5303"/>
              </a:cxn>
              <a:cxn ang="0">
                <a:pos x="connsiteX5304" y="connsiteY5304"/>
              </a:cxn>
              <a:cxn ang="0">
                <a:pos x="connsiteX5305" y="connsiteY5305"/>
              </a:cxn>
              <a:cxn ang="0">
                <a:pos x="connsiteX5306" y="connsiteY5306"/>
              </a:cxn>
              <a:cxn ang="0">
                <a:pos x="connsiteX5307" y="connsiteY5307"/>
              </a:cxn>
              <a:cxn ang="0">
                <a:pos x="connsiteX5308" y="connsiteY5308"/>
              </a:cxn>
              <a:cxn ang="0">
                <a:pos x="connsiteX5309" y="connsiteY5309"/>
              </a:cxn>
              <a:cxn ang="0">
                <a:pos x="connsiteX5310" y="connsiteY5310"/>
              </a:cxn>
              <a:cxn ang="0">
                <a:pos x="connsiteX5311" y="connsiteY5311"/>
              </a:cxn>
              <a:cxn ang="0">
                <a:pos x="connsiteX5312" y="connsiteY5312"/>
              </a:cxn>
              <a:cxn ang="0">
                <a:pos x="connsiteX5313" y="connsiteY5313"/>
              </a:cxn>
              <a:cxn ang="0">
                <a:pos x="connsiteX5314" y="connsiteY5314"/>
              </a:cxn>
              <a:cxn ang="0">
                <a:pos x="connsiteX5315" y="connsiteY5315"/>
              </a:cxn>
              <a:cxn ang="0">
                <a:pos x="connsiteX5316" y="connsiteY5316"/>
              </a:cxn>
              <a:cxn ang="0">
                <a:pos x="connsiteX5317" y="connsiteY5317"/>
              </a:cxn>
              <a:cxn ang="0">
                <a:pos x="connsiteX5318" y="connsiteY5318"/>
              </a:cxn>
              <a:cxn ang="0">
                <a:pos x="connsiteX5319" y="connsiteY5319"/>
              </a:cxn>
              <a:cxn ang="0">
                <a:pos x="connsiteX5320" y="connsiteY5320"/>
              </a:cxn>
              <a:cxn ang="0">
                <a:pos x="connsiteX5321" y="connsiteY5321"/>
              </a:cxn>
              <a:cxn ang="0">
                <a:pos x="connsiteX5322" y="connsiteY5322"/>
              </a:cxn>
              <a:cxn ang="0">
                <a:pos x="connsiteX5323" y="connsiteY5323"/>
              </a:cxn>
              <a:cxn ang="0">
                <a:pos x="connsiteX5324" y="connsiteY5324"/>
              </a:cxn>
              <a:cxn ang="0">
                <a:pos x="connsiteX5325" y="connsiteY5325"/>
              </a:cxn>
              <a:cxn ang="0">
                <a:pos x="connsiteX5326" y="connsiteY5326"/>
              </a:cxn>
              <a:cxn ang="0">
                <a:pos x="connsiteX5327" y="connsiteY5327"/>
              </a:cxn>
              <a:cxn ang="0">
                <a:pos x="connsiteX5328" y="connsiteY5328"/>
              </a:cxn>
              <a:cxn ang="0">
                <a:pos x="connsiteX5329" y="connsiteY5329"/>
              </a:cxn>
              <a:cxn ang="0">
                <a:pos x="connsiteX5330" y="connsiteY5330"/>
              </a:cxn>
              <a:cxn ang="0">
                <a:pos x="connsiteX5331" y="connsiteY5331"/>
              </a:cxn>
              <a:cxn ang="0">
                <a:pos x="connsiteX5332" y="connsiteY5332"/>
              </a:cxn>
              <a:cxn ang="0">
                <a:pos x="connsiteX5333" y="connsiteY5333"/>
              </a:cxn>
              <a:cxn ang="0">
                <a:pos x="connsiteX5334" y="connsiteY5334"/>
              </a:cxn>
              <a:cxn ang="0">
                <a:pos x="connsiteX5335" y="connsiteY5335"/>
              </a:cxn>
              <a:cxn ang="0">
                <a:pos x="connsiteX5336" y="connsiteY5336"/>
              </a:cxn>
              <a:cxn ang="0">
                <a:pos x="connsiteX5337" y="connsiteY5337"/>
              </a:cxn>
              <a:cxn ang="0">
                <a:pos x="connsiteX5338" y="connsiteY5338"/>
              </a:cxn>
              <a:cxn ang="0">
                <a:pos x="connsiteX5339" y="connsiteY5339"/>
              </a:cxn>
              <a:cxn ang="0">
                <a:pos x="connsiteX5340" y="connsiteY5340"/>
              </a:cxn>
              <a:cxn ang="0">
                <a:pos x="connsiteX5341" y="connsiteY5341"/>
              </a:cxn>
              <a:cxn ang="0">
                <a:pos x="connsiteX5342" y="connsiteY5342"/>
              </a:cxn>
              <a:cxn ang="0">
                <a:pos x="connsiteX5343" y="connsiteY5343"/>
              </a:cxn>
              <a:cxn ang="0">
                <a:pos x="connsiteX5344" y="connsiteY5344"/>
              </a:cxn>
              <a:cxn ang="0">
                <a:pos x="connsiteX5345" y="connsiteY5345"/>
              </a:cxn>
              <a:cxn ang="0">
                <a:pos x="connsiteX5346" y="connsiteY5346"/>
              </a:cxn>
              <a:cxn ang="0">
                <a:pos x="connsiteX5347" y="connsiteY5347"/>
              </a:cxn>
              <a:cxn ang="0">
                <a:pos x="connsiteX5348" y="connsiteY5348"/>
              </a:cxn>
              <a:cxn ang="0">
                <a:pos x="connsiteX5349" y="connsiteY5349"/>
              </a:cxn>
              <a:cxn ang="0">
                <a:pos x="connsiteX5350" y="connsiteY5350"/>
              </a:cxn>
              <a:cxn ang="0">
                <a:pos x="connsiteX5351" y="connsiteY5351"/>
              </a:cxn>
              <a:cxn ang="0">
                <a:pos x="connsiteX5352" y="connsiteY5352"/>
              </a:cxn>
              <a:cxn ang="0">
                <a:pos x="connsiteX5353" y="connsiteY5353"/>
              </a:cxn>
              <a:cxn ang="0">
                <a:pos x="connsiteX5354" y="connsiteY5354"/>
              </a:cxn>
              <a:cxn ang="0">
                <a:pos x="connsiteX5355" y="connsiteY5355"/>
              </a:cxn>
              <a:cxn ang="0">
                <a:pos x="connsiteX5356" y="connsiteY5356"/>
              </a:cxn>
              <a:cxn ang="0">
                <a:pos x="connsiteX5357" y="connsiteY5357"/>
              </a:cxn>
              <a:cxn ang="0">
                <a:pos x="connsiteX5358" y="connsiteY5358"/>
              </a:cxn>
              <a:cxn ang="0">
                <a:pos x="connsiteX5359" y="connsiteY5359"/>
              </a:cxn>
              <a:cxn ang="0">
                <a:pos x="connsiteX5360" y="connsiteY5360"/>
              </a:cxn>
              <a:cxn ang="0">
                <a:pos x="connsiteX5361" y="connsiteY5361"/>
              </a:cxn>
              <a:cxn ang="0">
                <a:pos x="connsiteX5362" y="connsiteY5362"/>
              </a:cxn>
              <a:cxn ang="0">
                <a:pos x="connsiteX5363" y="connsiteY5363"/>
              </a:cxn>
              <a:cxn ang="0">
                <a:pos x="connsiteX5364" y="connsiteY5364"/>
              </a:cxn>
              <a:cxn ang="0">
                <a:pos x="connsiteX5365" y="connsiteY5365"/>
              </a:cxn>
              <a:cxn ang="0">
                <a:pos x="connsiteX5366" y="connsiteY5366"/>
              </a:cxn>
              <a:cxn ang="0">
                <a:pos x="connsiteX5367" y="connsiteY5367"/>
              </a:cxn>
              <a:cxn ang="0">
                <a:pos x="connsiteX5368" y="connsiteY5368"/>
              </a:cxn>
              <a:cxn ang="0">
                <a:pos x="connsiteX5369" y="connsiteY5369"/>
              </a:cxn>
              <a:cxn ang="0">
                <a:pos x="connsiteX5370" y="connsiteY5370"/>
              </a:cxn>
              <a:cxn ang="0">
                <a:pos x="connsiteX5371" y="connsiteY5371"/>
              </a:cxn>
              <a:cxn ang="0">
                <a:pos x="connsiteX5372" y="connsiteY5372"/>
              </a:cxn>
              <a:cxn ang="0">
                <a:pos x="connsiteX5373" y="connsiteY5373"/>
              </a:cxn>
              <a:cxn ang="0">
                <a:pos x="connsiteX5374" y="connsiteY5374"/>
              </a:cxn>
              <a:cxn ang="0">
                <a:pos x="connsiteX5375" y="connsiteY5375"/>
              </a:cxn>
              <a:cxn ang="0">
                <a:pos x="connsiteX5376" y="connsiteY5376"/>
              </a:cxn>
              <a:cxn ang="0">
                <a:pos x="connsiteX5377" y="connsiteY5377"/>
              </a:cxn>
              <a:cxn ang="0">
                <a:pos x="connsiteX5378" y="connsiteY5378"/>
              </a:cxn>
              <a:cxn ang="0">
                <a:pos x="connsiteX5379" y="connsiteY5379"/>
              </a:cxn>
              <a:cxn ang="0">
                <a:pos x="connsiteX5380" y="connsiteY5380"/>
              </a:cxn>
              <a:cxn ang="0">
                <a:pos x="connsiteX5381" y="connsiteY5381"/>
              </a:cxn>
              <a:cxn ang="0">
                <a:pos x="connsiteX5382" y="connsiteY5382"/>
              </a:cxn>
              <a:cxn ang="0">
                <a:pos x="connsiteX5383" y="connsiteY5383"/>
              </a:cxn>
              <a:cxn ang="0">
                <a:pos x="connsiteX5384" y="connsiteY5384"/>
              </a:cxn>
              <a:cxn ang="0">
                <a:pos x="connsiteX5385" y="connsiteY5385"/>
              </a:cxn>
              <a:cxn ang="0">
                <a:pos x="connsiteX5386" y="connsiteY5386"/>
              </a:cxn>
              <a:cxn ang="0">
                <a:pos x="connsiteX5387" y="connsiteY5387"/>
              </a:cxn>
              <a:cxn ang="0">
                <a:pos x="connsiteX5388" y="connsiteY5388"/>
              </a:cxn>
              <a:cxn ang="0">
                <a:pos x="connsiteX5389" y="connsiteY5389"/>
              </a:cxn>
              <a:cxn ang="0">
                <a:pos x="connsiteX5390" y="connsiteY5390"/>
              </a:cxn>
              <a:cxn ang="0">
                <a:pos x="connsiteX5391" y="connsiteY5391"/>
              </a:cxn>
              <a:cxn ang="0">
                <a:pos x="connsiteX5392" y="connsiteY5392"/>
              </a:cxn>
              <a:cxn ang="0">
                <a:pos x="connsiteX5393" y="connsiteY5393"/>
              </a:cxn>
              <a:cxn ang="0">
                <a:pos x="connsiteX5394" y="connsiteY5394"/>
              </a:cxn>
              <a:cxn ang="0">
                <a:pos x="connsiteX5395" y="connsiteY5395"/>
              </a:cxn>
              <a:cxn ang="0">
                <a:pos x="connsiteX5396" y="connsiteY5396"/>
              </a:cxn>
              <a:cxn ang="0">
                <a:pos x="connsiteX5397" y="connsiteY5397"/>
              </a:cxn>
              <a:cxn ang="0">
                <a:pos x="connsiteX5398" y="connsiteY5398"/>
              </a:cxn>
              <a:cxn ang="0">
                <a:pos x="connsiteX5399" y="connsiteY5399"/>
              </a:cxn>
              <a:cxn ang="0">
                <a:pos x="connsiteX5400" y="connsiteY5400"/>
              </a:cxn>
              <a:cxn ang="0">
                <a:pos x="connsiteX5401" y="connsiteY5401"/>
              </a:cxn>
              <a:cxn ang="0">
                <a:pos x="connsiteX5402" y="connsiteY5402"/>
              </a:cxn>
              <a:cxn ang="0">
                <a:pos x="connsiteX5403" y="connsiteY5403"/>
              </a:cxn>
              <a:cxn ang="0">
                <a:pos x="connsiteX5404" y="connsiteY5404"/>
              </a:cxn>
              <a:cxn ang="0">
                <a:pos x="connsiteX5405" y="connsiteY5405"/>
              </a:cxn>
              <a:cxn ang="0">
                <a:pos x="connsiteX5406" y="connsiteY5406"/>
              </a:cxn>
              <a:cxn ang="0">
                <a:pos x="connsiteX5407" y="connsiteY5407"/>
              </a:cxn>
              <a:cxn ang="0">
                <a:pos x="connsiteX5408" y="connsiteY5408"/>
              </a:cxn>
              <a:cxn ang="0">
                <a:pos x="connsiteX5409" y="connsiteY5409"/>
              </a:cxn>
              <a:cxn ang="0">
                <a:pos x="connsiteX5410" y="connsiteY5410"/>
              </a:cxn>
              <a:cxn ang="0">
                <a:pos x="connsiteX5411" y="connsiteY5411"/>
              </a:cxn>
              <a:cxn ang="0">
                <a:pos x="connsiteX5412" y="connsiteY5412"/>
              </a:cxn>
              <a:cxn ang="0">
                <a:pos x="connsiteX5413" y="connsiteY5413"/>
              </a:cxn>
              <a:cxn ang="0">
                <a:pos x="connsiteX5414" y="connsiteY5414"/>
              </a:cxn>
              <a:cxn ang="0">
                <a:pos x="connsiteX5415" y="connsiteY5415"/>
              </a:cxn>
              <a:cxn ang="0">
                <a:pos x="connsiteX5416" y="connsiteY5416"/>
              </a:cxn>
              <a:cxn ang="0">
                <a:pos x="connsiteX5417" y="connsiteY5417"/>
              </a:cxn>
              <a:cxn ang="0">
                <a:pos x="connsiteX5418" y="connsiteY5418"/>
              </a:cxn>
              <a:cxn ang="0">
                <a:pos x="connsiteX5419" y="connsiteY5419"/>
              </a:cxn>
              <a:cxn ang="0">
                <a:pos x="connsiteX5420" y="connsiteY5420"/>
              </a:cxn>
              <a:cxn ang="0">
                <a:pos x="connsiteX5421" y="connsiteY5421"/>
              </a:cxn>
              <a:cxn ang="0">
                <a:pos x="connsiteX5422" y="connsiteY5422"/>
              </a:cxn>
              <a:cxn ang="0">
                <a:pos x="connsiteX5423" y="connsiteY5423"/>
              </a:cxn>
              <a:cxn ang="0">
                <a:pos x="connsiteX5424" y="connsiteY5424"/>
              </a:cxn>
              <a:cxn ang="0">
                <a:pos x="connsiteX5425" y="connsiteY5425"/>
              </a:cxn>
              <a:cxn ang="0">
                <a:pos x="connsiteX5426" y="connsiteY5426"/>
              </a:cxn>
              <a:cxn ang="0">
                <a:pos x="connsiteX5427" y="connsiteY5427"/>
              </a:cxn>
              <a:cxn ang="0">
                <a:pos x="connsiteX5428" y="connsiteY5428"/>
              </a:cxn>
              <a:cxn ang="0">
                <a:pos x="connsiteX5429" y="connsiteY5429"/>
              </a:cxn>
              <a:cxn ang="0">
                <a:pos x="connsiteX5430" y="connsiteY5430"/>
              </a:cxn>
              <a:cxn ang="0">
                <a:pos x="connsiteX5431" y="connsiteY5431"/>
              </a:cxn>
              <a:cxn ang="0">
                <a:pos x="connsiteX5432" y="connsiteY5432"/>
              </a:cxn>
              <a:cxn ang="0">
                <a:pos x="connsiteX5433" y="connsiteY5433"/>
              </a:cxn>
              <a:cxn ang="0">
                <a:pos x="connsiteX5434" y="connsiteY5434"/>
              </a:cxn>
              <a:cxn ang="0">
                <a:pos x="connsiteX5435" y="connsiteY5435"/>
              </a:cxn>
              <a:cxn ang="0">
                <a:pos x="connsiteX5436" y="connsiteY5436"/>
              </a:cxn>
              <a:cxn ang="0">
                <a:pos x="connsiteX5437" y="connsiteY5437"/>
              </a:cxn>
              <a:cxn ang="0">
                <a:pos x="connsiteX5438" y="connsiteY5438"/>
              </a:cxn>
              <a:cxn ang="0">
                <a:pos x="connsiteX5439" y="connsiteY5439"/>
              </a:cxn>
              <a:cxn ang="0">
                <a:pos x="connsiteX5440" y="connsiteY5440"/>
              </a:cxn>
              <a:cxn ang="0">
                <a:pos x="connsiteX5441" y="connsiteY5441"/>
              </a:cxn>
              <a:cxn ang="0">
                <a:pos x="connsiteX5442" y="connsiteY5442"/>
              </a:cxn>
              <a:cxn ang="0">
                <a:pos x="connsiteX5443" y="connsiteY5443"/>
              </a:cxn>
              <a:cxn ang="0">
                <a:pos x="connsiteX5444" y="connsiteY5444"/>
              </a:cxn>
              <a:cxn ang="0">
                <a:pos x="connsiteX5445" y="connsiteY5445"/>
              </a:cxn>
              <a:cxn ang="0">
                <a:pos x="connsiteX5446" y="connsiteY5446"/>
              </a:cxn>
              <a:cxn ang="0">
                <a:pos x="connsiteX5447" y="connsiteY5447"/>
              </a:cxn>
              <a:cxn ang="0">
                <a:pos x="connsiteX5448" y="connsiteY5448"/>
              </a:cxn>
              <a:cxn ang="0">
                <a:pos x="connsiteX5449" y="connsiteY5449"/>
              </a:cxn>
              <a:cxn ang="0">
                <a:pos x="connsiteX5450" y="connsiteY5450"/>
              </a:cxn>
              <a:cxn ang="0">
                <a:pos x="connsiteX5451" y="connsiteY5451"/>
              </a:cxn>
              <a:cxn ang="0">
                <a:pos x="connsiteX5452" y="connsiteY5452"/>
              </a:cxn>
              <a:cxn ang="0">
                <a:pos x="connsiteX5453" y="connsiteY5453"/>
              </a:cxn>
              <a:cxn ang="0">
                <a:pos x="connsiteX5454" y="connsiteY5454"/>
              </a:cxn>
              <a:cxn ang="0">
                <a:pos x="connsiteX5455" y="connsiteY5455"/>
              </a:cxn>
              <a:cxn ang="0">
                <a:pos x="connsiteX5456" y="connsiteY5456"/>
              </a:cxn>
              <a:cxn ang="0">
                <a:pos x="connsiteX5457" y="connsiteY5457"/>
              </a:cxn>
              <a:cxn ang="0">
                <a:pos x="connsiteX5458" y="connsiteY5458"/>
              </a:cxn>
              <a:cxn ang="0">
                <a:pos x="connsiteX5459" y="connsiteY5459"/>
              </a:cxn>
              <a:cxn ang="0">
                <a:pos x="connsiteX5460" y="connsiteY5460"/>
              </a:cxn>
              <a:cxn ang="0">
                <a:pos x="connsiteX5461" y="connsiteY5461"/>
              </a:cxn>
              <a:cxn ang="0">
                <a:pos x="connsiteX5462" y="connsiteY5462"/>
              </a:cxn>
              <a:cxn ang="0">
                <a:pos x="connsiteX5463" y="connsiteY5463"/>
              </a:cxn>
              <a:cxn ang="0">
                <a:pos x="connsiteX5464" y="connsiteY5464"/>
              </a:cxn>
              <a:cxn ang="0">
                <a:pos x="connsiteX5465" y="connsiteY5465"/>
              </a:cxn>
              <a:cxn ang="0">
                <a:pos x="connsiteX5466" y="connsiteY5466"/>
              </a:cxn>
              <a:cxn ang="0">
                <a:pos x="connsiteX5467" y="connsiteY5467"/>
              </a:cxn>
              <a:cxn ang="0">
                <a:pos x="connsiteX5468" y="connsiteY5468"/>
              </a:cxn>
              <a:cxn ang="0">
                <a:pos x="connsiteX5469" y="connsiteY5469"/>
              </a:cxn>
              <a:cxn ang="0">
                <a:pos x="connsiteX5470" y="connsiteY5470"/>
              </a:cxn>
              <a:cxn ang="0">
                <a:pos x="connsiteX5471" y="connsiteY5471"/>
              </a:cxn>
              <a:cxn ang="0">
                <a:pos x="connsiteX5472" y="connsiteY5472"/>
              </a:cxn>
              <a:cxn ang="0">
                <a:pos x="connsiteX5473" y="connsiteY5473"/>
              </a:cxn>
              <a:cxn ang="0">
                <a:pos x="connsiteX5474" y="connsiteY5474"/>
              </a:cxn>
              <a:cxn ang="0">
                <a:pos x="connsiteX5475" y="connsiteY5475"/>
              </a:cxn>
              <a:cxn ang="0">
                <a:pos x="connsiteX5476" y="connsiteY5476"/>
              </a:cxn>
              <a:cxn ang="0">
                <a:pos x="connsiteX5477" y="connsiteY5477"/>
              </a:cxn>
              <a:cxn ang="0">
                <a:pos x="connsiteX5478" y="connsiteY5478"/>
              </a:cxn>
              <a:cxn ang="0">
                <a:pos x="connsiteX5479" y="connsiteY5479"/>
              </a:cxn>
              <a:cxn ang="0">
                <a:pos x="connsiteX5480" y="connsiteY5480"/>
              </a:cxn>
              <a:cxn ang="0">
                <a:pos x="connsiteX5481" y="connsiteY5481"/>
              </a:cxn>
              <a:cxn ang="0">
                <a:pos x="connsiteX5482" y="connsiteY5482"/>
              </a:cxn>
              <a:cxn ang="0">
                <a:pos x="connsiteX5483" y="connsiteY5483"/>
              </a:cxn>
              <a:cxn ang="0">
                <a:pos x="connsiteX5484" y="connsiteY5484"/>
              </a:cxn>
              <a:cxn ang="0">
                <a:pos x="connsiteX5485" y="connsiteY5485"/>
              </a:cxn>
              <a:cxn ang="0">
                <a:pos x="connsiteX5486" y="connsiteY5486"/>
              </a:cxn>
              <a:cxn ang="0">
                <a:pos x="connsiteX5487" y="connsiteY5487"/>
              </a:cxn>
              <a:cxn ang="0">
                <a:pos x="connsiteX5488" y="connsiteY5488"/>
              </a:cxn>
              <a:cxn ang="0">
                <a:pos x="connsiteX5489" y="connsiteY5489"/>
              </a:cxn>
              <a:cxn ang="0">
                <a:pos x="connsiteX5490" y="connsiteY5490"/>
              </a:cxn>
              <a:cxn ang="0">
                <a:pos x="connsiteX5491" y="connsiteY5491"/>
              </a:cxn>
              <a:cxn ang="0">
                <a:pos x="connsiteX5492" y="connsiteY5492"/>
              </a:cxn>
              <a:cxn ang="0">
                <a:pos x="connsiteX5493" y="connsiteY5493"/>
              </a:cxn>
              <a:cxn ang="0">
                <a:pos x="connsiteX5494" y="connsiteY5494"/>
              </a:cxn>
              <a:cxn ang="0">
                <a:pos x="connsiteX5495" y="connsiteY5495"/>
              </a:cxn>
              <a:cxn ang="0">
                <a:pos x="connsiteX5496" y="connsiteY5496"/>
              </a:cxn>
              <a:cxn ang="0">
                <a:pos x="connsiteX5497" y="connsiteY5497"/>
              </a:cxn>
              <a:cxn ang="0">
                <a:pos x="connsiteX5498" y="connsiteY5498"/>
              </a:cxn>
              <a:cxn ang="0">
                <a:pos x="connsiteX5499" y="connsiteY5499"/>
              </a:cxn>
              <a:cxn ang="0">
                <a:pos x="connsiteX5500" y="connsiteY5500"/>
              </a:cxn>
              <a:cxn ang="0">
                <a:pos x="connsiteX5501" y="connsiteY5501"/>
              </a:cxn>
              <a:cxn ang="0">
                <a:pos x="connsiteX5502" y="connsiteY5502"/>
              </a:cxn>
              <a:cxn ang="0">
                <a:pos x="connsiteX5503" y="connsiteY5503"/>
              </a:cxn>
              <a:cxn ang="0">
                <a:pos x="connsiteX5504" y="connsiteY5504"/>
              </a:cxn>
              <a:cxn ang="0">
                <a:pos x="connsiteX5505" y="connsiteY5505"/>
              </a:cxn>
              <a:cxn ang="0">
                <a:pos x="connsiteX5506" y="connsiteY5506"/>
              </a:cxn>
              <a:cxn ang="0">
                <a:pos x="connsiteX5507" y="connsiteY5507"/>
              </a:cxn>
              <a:cxn ang="0">
                <a:pos x="connsiteX5508" y="connsiteY5508"/>
              </a:cxn>
              <a:cxn ang="0">
                <a:pos x="connsiteX5509" y="connsiteY5509"/>
              </a:cxn>
              <a:cxn ang="0">
                <a:pos x="connsiteX5510" y="connsiteY5510"/>
              </a:cxn>
              <a:cxn ang="0">
                <a:pos x="connsiteX5511" y="connsiteY5511"/>
              </a:cxn>
              <a:cxn ang="0">
                <a:pos x="connsiteX5512" y="connsiteY5512"/>
              </a:cxn>
              <a:cxn ang="0">
                <a:pos x="connsiteX5513" y="connsiteY5513"/>
              </a:cxn>
              <a:cxn ang="0">
                <a:pos x="connsiteX5514" y="connsiteY5514"/>
              </a:cxn>
              <a:cxn ang="0">
                <a:pos x="connsiteX5515" y="connsiteY5515"/>
              </a:cxn>
              <a:cxn ang="0">
                <a:pos x="connsiteX5516" y="connsiteY5516"/>
              </a:cxn>
              <a:cxn ang="0">
                <a:pos x="connsiteX5517" y="connsiteY5517"/>
              </a:cxn>
              <a:cxn ang="0">
                <a:pos x="connsiteX5518" y="connsiteY5518"/>
              </a:cxn>
              <a:cxn ang="0">
                <a:pos x="connsiteX5519" y="connsiteY5519"/>
              </a:cxn>
              <a:cxn ang="0">
                <a:pos x="connsiteX5520" y="connsiteY5520"/>
              </a:cxn>
              <a:cxn ang="0">
                <a:pos x="connsiteX5521" y="connsiteY5521"/>
              </a:cxn>
              <a:cxn ang="0">
                <a:pos x="connsiteX5522" y="connsiteY5522"/>
              </a:cxn>
              <a:cxn ang="0">
                <a:pos x="connsiteX5523" y="connsiteY5523"/>
              </a:cxn>
              <a:cxn ang="0">
                <a:pos x="connsiteX5524" y="connsiteY5524"/>
              </a:cxn>
              <a:cxn ang="0">
                <a:pos x="connsiteX5525" y="connsiteY5525"/>
              </a:cxn>
              <a:cxn ang="0">
                <a:pos x="connsiteX5526" y="connsiteY5526"/>
              </a:cxn>
              <a:cxn ang="0">
                <a:pos x="connsiteX5527" y="connsiteY5527"/>
              </a:cxn>
              <a:cxn ang="0">
                <a:pos x="connsiteX5528" y="connsiteY5528"/>
              </a:cxn>
              <a:cxn ang="0">
                <a:pos x="connsiteX5529" y="connsiteY5529"/>
              </a:cxn>
              <a:cxn ang="0">
                <a:pos x="connsiteX5530" y="connsiteY5530"/>
              </a:cxn>
              <a:cxn ang="0">
                <a:pos x="connsiteX5531" y="connsiteY5531"/>
              </a:cxn>
              <a:cxn ang="0">
                <a:pos x="connsiteX5532" y="connsiteY5532"/>
              </a:cxn>
              <a:cxn ang="0">
                <a:pos x="connsiteX5533" y="connsiteY5533"/>
              </a:cxn>
              <a:cxn ang="0">
                <a:pos x="connsiteX5534" y="connsiteY5534"/>
              </a:cxn>
              <a:cxn ang="0">
                <a:pos x="connsiteX5535" y="connsiteY5535"/>
              </a:cxn>
              <a:cxn ang="0">
                <a:pos x="connsiteX5536" y="connsiteY5536"/>
              </a:cxn>
              <a:cxn ang="0">
                <a:pos x="connsiteX5537" y="connsiteY5537"/>
              </a:cxn>
              <a:cxn ang="0">
                <a:pos x="connsiteX5538" y="connsiteY5538"/>
              </a:cxn>
              <a:cxn ang="0">
                <a:pos x="connsiteX5539" y="connsiteY5539"/>
              </a:cxn>
              <a:cxn ang="0">
                <a:pos x="connsiteX5540" y="connsiteY5540"/>
              </a:cxn>
              <a:cxn ang="0">
                <a:pos x="connsiteX5541" y="connsiteY5541"/>
              </a:cxn>
              <a:cxn ang="0">
                <a:pos x="connsiteX5542" y="connsiteY5542"/>
              </a:cxn>
              <a:cxn ang="0">
                <a:pos x="connsiteX5543" y="connsiteY5543"/>
              </a:cxn>
              <a:cxn ang="0">
                <a:pos x="connsiteX5544" y="connsiteY5544"/>
              </a:cxn>
              <a:cxn ang="0">
                <a:pos x="connsiteX5545" y="connsiteY5545"/>
              </a:cxn>
              <a:cxn ang="0">
                <a:pos x="connsiteX5546" y="connsiteY5546"/>
              </a:cxn>
              <a:cxn ang="0">
                <a:pos x="connsiteX5547" y="connsiteY5547"/>
              </a:cxn>
              <a:cxn ang="0">
                <a:pos x="connsiteX5548" y="connsiteY5548"/>
              </a:cxn>
              <a:cxn ang="0">
                <a:pos x="connsiteX5549" y="connsiteY5549"/>
              </a:cxn>
              <a:cxn ang="0">
                <a:pos x="connsiteX5550" y="connsiteY5550"/>
              </a:cxn>
              <a:cxn ang="0">
                <a:pos x="connsiteX5551" y="connsiteY5551"/>
              </a:cxn>
              <a:cxn ang="0">
                <a:pos x="connsiteX5552" y="connsiteY5552"/>
              </a:cxn>
              <a:cxn ang="0">
                <a:pos x="connsiteX5553" y="connsiteY5553"/>
              </a:cxn>
              <a:cxn ang="0">
                <a:pos x="connsiteX5554" y="connsiteY5554"/>
              </a:cxn>
              <a:cxn ang="0">
                <a:pos x="connsiteX5555" y="connsiteY5555"/>
              </a:cxn>
              <a:cxn ang="0">
                <a:pos x="connsiteX5556" y="connsiteY5556"/>
              </a:cxn>
              <a:cxn ang="0">
                <a:pos x="connsiteX5557" y="connsiteY5557"/>
              </a:cxn>
              <a:cxn ang="0">
                <a:pos x="connsiteX5558" y="connsiteY5558"/>
              </a:cxn>
              <a:cxn ang="0">
                <a:pos x="connsiteX5559" y="connsiteY5559"/>
              </a:cxn>
              <a:cxn ang="0">
                <a:pos x="connsiteX5560" y="connsiteY5560"/>
              </a:cxn>
              <a:cxn ang="0">
                <a:pos x="connsiteX5561" y="connsiteY5561"/>
              </a:cxn>
              <a:cxn ang="0">
                <a:pos x="connsiteX5562" y="connsiteY5562"/>
              </a:cxn>
              <a:cxn ang="0">
                <a:pos x="connsiteX5563" y="connsiteY5563"/>
              </a:cxn>
              <a:cxn ang="0">
                <a:pos x="connsiteX5564" y="connsiteY5564"/>
              </a:cxn>
              <a:cxn ang="0">
                <a:pos x="connsiteX5565" y="connsiteY5565"/>
              </a:cxn>
              <a:cxn ang="0">
                <a:pos x="connsiteX5566" y="connsiteY5566"/>
              </a:cxn>
              <a:cxn ang="0">
                <a:pos x="connsiteX5567" y="connsiteY5567"/>
              </a:cxn>
              <a:cxn ang="0">
                <a:pos x="connsiteX5568" y="connsiteY5568"/>
              </a:cxn>
              <a:cxn ang="0">
                <a:pos x="connsiteX5569" y="connsiteY5569"/>
              </a:cxn>
              <a:cxn ang="0">
                <a:pos x="connsiteX5570" y="connsiteY5570"/>
              </a:cxn>
              <a:cxn ang="0">
                <a:pos x="connsiteX5571" y="connsiteY5571"/>
              </a:cxn>
              <a:cxn ang="0">
                <a:pos x="connsiteX5572" y="connsiteY5572"/>
              </a:cxn>
              <a:cxn ang="0">
                <a:pos x="connsiteX5573" y="connsiteY5573"/>
              </a:cxn>
              <a:cxn ang="0">
                <a:pos x="connsiteX5574" y="connsiteY5574"/>
              </a:cxn>
              <a:cxn ang="0">
                <a:pos x="connsiteX5575" y="connsiteY5575"/>
              </a:cxn>
              <a:cxn ang="0">
                <a:pos x="connsiteX5576" y="connsiteY5576"/>
              </a:cxn>
              <a:cxn ang="0">
                <a:pos x="connsiteX5577" y="connsiteY5577"/>
              </a:cxn>
              <a:cxn ang="0">
                <a:pos x="connsiteX5578" y="connsiteY5578"/>
              </a:cxn>
              <a:cxn ang="0">
                <a:pos x="connsiteX5579" y="connsiteY5579"/>
              </a:cxn>
              <a:cxn ang="0">
                <a:pos x="connsiteX5580" y="connsiteY5580"/>
              </a:cxn>
              <a:cxn ang="0">
                <a:pos x="connsiteX5581" y="connsiteY5581"/>
              </a:cxn>
              <a:cxn ang="0">
                <a:pos x="connsiteX5582" y="connsiteY5582"/>
              </a:cxn>
              <a:cxn ang="0">
                <a:pos x="connsiteX5583" y="connsiteY5583"/>
              </a:cxn>
              <a:cxn ang="0">
                <a:pos x="connsiteX5584" y="connsiteY5584"/>
              </a:cxn>
              <a:cxn ang="0">
                <a:pos x="connsiteX5585" y="connsiteY5585"/>
              </a:cxn>
              <a:cxn ang="0">
                <a:pos x="connsiteX5586" y="connsiteY5586"/>
              </a:cxn>
              <a:cxn ang="0">
                <a:pos x="connsiteX5587" y="connsiteY5587"/>
              </a:cxn>
              <a:cxn ang="0">
                <a:pos x="connsiteX5588" y="connsiteY5588"/>
              </a:cxn>
              <a:cxn ang="0">
                <a:pos x="connsiteX5589" y="connsiteY5589"/>
              </a:cxn>
              <a:cxn ang="0">
                <a:pos x="connsiteX5590" y="connsiteY5590"/>
              </a:cxn>
              <a:cxn ang="0">
                <a:pos x="connsiteX5591" y="connsiteY5591"/>
              </a:cxn>
              <a:cxn ang="0">
                <a:pos x="connsiteX5592" y="connsiteY5592"/>
              </a:cxn>
              <a:cxn ang="0">
                <a:pos x="connsiteX5593" y="connsiteY5593"/>
              </a:cxn>
              <a:cxn ang="0">
                <a:pos x="connsiteX5594" y="connsiteY5594"/>
              </a:cxn>
              <a:cxn ang="0">
                <a:pos x="connsiteX5595" y="connsiteY5595"/>
              </a:cxn>
              <a:cxn ang="0">
                <a:pos x="connsiteX5596" y="connsiteY5596"/>
              </a:cxn>
              <a:cxn ang="0">
                <a:pos x="connsiteX5597" y="connsiteY5597"/>
              </a:cxn>
              <a:cxn ang="0">
                <a:pos x="connsiteX5598" y="connsiteY5598"/>
              </a:cxn>
              <a:cxn ang="0">
                <a:pos x="connsiteX5599" y="connsiteY5599"/>
              </a:cxn>
              <a:cxn ang="0">
                <a:pos x="connsiteX5600" y="connsiteY5600"/>
              </a:cxn>
              <a:cxn ang="0">
                <a:pos x="connsiteX5601" y="connsiteY5601"/>
              </a:cxn>
              <a:cxn ang="0">
                <a:pos x="connsiteX5602" y="connsiteY5602"/>
              </a:cxn>
              <a:cxn ang="0">
                <a:pos x="connsiteX5603" y="connsiteY5603"/>
              </a:cxn>
              <a:cxn ang="0">
                <a:pos x="connsiteX5604" y="connsiteY5604"/>
              </a:cxn>
              <a:cxn ang="0">
                <a:pos x="connsiteX5605" y="connsiteY5605"/>
              </a:cxn>
              <a:cxn ang="0">
                <a:pos x="connsiteX5606" y="connsiteY5606"/>
              </a:cxn>
              <a:cxn ang="0">
                <a:pos x="connsiteX5607" y="connsiteY5607"/>
              </a:cxn>
              <a:cxn ang="0">
                <a:pos x="connsiteX5608" y="connsiteY5608"/>
              </a:cxn>
              <a:cxn ang="0">
                <a:pos x="connsiteX5609" y="connsiteY5609"/>
              </a:cxn>
              <a:cxn ang="0">
                <a:pos x="connsiteX5610" y="connsiteY5610"/>
              </a:cxn>
              <a:cxn ang="0">
                <a:pos x="connsiteX5611" y="connsiteY5611"/>
              </a:cxn>
              <a:cxn ang="0">
                <a:pos x="connsiteX5612" y="connsiteY5612"/>
              </a:cxn>
              <a:cxn ang="0">
                <a:pos x="connsiteX5613" y="connsiteY5613"/>
              </a:cxn>
              <a:cxn ang="0">
                <a:pos x="connsiteX5614" y="connsiteY5614"/>
              </a:cxn>
              <a:cxn ang="0">
                <a:pos x="connsiteX5615" y="connsiteY5615"/>
              </a:cxn>
              <a:cxn ang="0">
                <a:pos x="connsiteX5616" y="connsiteY5616"/>
              </a:cxn>
              <a:cxn ang="0">
                <a:pos x="connsiteX5617" y="connsiteY5617"/>
              </a:cxn>
              <a:cxn ang="0">
                <a:pos x="connsiteX5618" y="connsiteY5618"/>
              </a:cxn>
              <a:cxn ang="0">
                <a:pos x="connsiteX5619" y="connsiteY5619"/>
              </a:cxn>
              <a:cxn ang="0">
                <a:pos x="connsiteX5620" y="connsiteY5620"/>
              </a:cxn>
              <a:cxn ang="0">
                <a:pos x="connsiteX5621" y="connsiteY5621"/>
              </a:cxn>
              <a:cxn ang="0">
                <a:pos x="connsiteX5622" y="connsiteY5622"/>
              </a:cxn>
              <a:cxn ang="0">
                <a:pos x="connsiteX5623" y="connsiteY5623"/>
              </a:cxn>
              <a:cxn ang="0">
                <a:pos x="connsiteX5624" y="connsiteY5624"/>
              </a:cxn>
              <a:cxn ang="0">
                <a:pos x="connsiteX5625" y="connsiteY5625"/>
              </a:cxn>
              <a:cxn ang="0">
                <a:pos x="connsiteX5626" y="connsiteY5626"/>
              </a:cxn>
              <a:cxn ang="0">
                <a:pos x="connsiteX5627" y="connsiteY5627"/>
              </a:cxn>
              <a:cxn ang="0">
                <a:pos x="connsiteX5628" y="connsiteY5628"/>
              </a:cxn>
              <a:cxn ang="0">
                <a:pos x="connsiteX5629" y="connsiteY5629"/>
              </a:cxn>
              <a:cxn ang="0">
                <a:pos x="connsiteX5630" y="connsiteY5630"/>
              </a:cxn>
              <a:cxn ang="0">
                <a:pos x="connsiteX5631" y="connsiteY5631"/>
              </a:cxn>
              <a:cxn ang="0">
                <a:pos x="connsiteX5632" y="connsiteY5632"/>
              </a:cxn>
              <a:cxn ang="0">
                <a:pos x="connsiteX5633" y="connsiteY5633"/>
              </a:cxn>
              <a:cxn ang="0">
                <a:pos x="connsiteX5634" y="connsiteY5634"/>
              </a:cxn>
              <a:cxn ang="0">
                <a:pos x="connsiteX5635" y="connsiteY5635"/>
              </a:cxn>
              <a:cxn ang="0">
                <a:pos x="connsiteX5636" y="connsiteY5636"/>
              </a:cxn>
              <a:cxn ang="0">
                <a:pos x="connsiteX5637" y="connsiteY5637"/>
              </a:cxn>
              <a:cxn ang="0">
                <a:pos x="connsiteX5638" y="connsiteY5638"/>
              </a:cxn>
              <a:cxn ang="0">
                <a:pos x="connsiteX5639" y="connsiteY5639"/>
              </a:cxn>
              <a:cxn ang="0">
                <a:pos x="connsiteX5640" y="connsiteY5640"/>
              </a:cxn>
              <a:cxn ang="0">
                <a:pos x="connsiteX5641" y="connsiteY5641"/>
              </a:cxn>
              <a:cxn ang="0">
                <a:pos x="connsiteX5642" y="connsiteY5642"/>
              </a:cxn>
              <a:cxn ang="0">
                <a:pos x="connsiteX5643" y="connsiteY5643"/>
              </a:cxn>
              <a:cxn ang="0">
                <a:pos x="connsiteX5644" y="connsiteY5644"/>
              </a:cxn>
              <a:cxn ang="0">
                <a:pos x="connsiteX5645" y="connsiteY5645"/>
              </a:cxn>
              <a:cxn ang="0">
                <a:pos x="connsiteX5646" y="connsiteY5646"/>
              </a:cxn>
              <a:cxn ang="0">
                <a:pos x="connsiteX5647" y="connsiteY5647"/>
              </a:cxn>
              <a:cxn ang="0">
                <a:pos x="connsiteX5648" y="connsiteY5648"/>
              </a:cxn>
              <a:cxn ang="0">
                <a:pos x="connsiteX5649" y="connsiteY5649"/>
              </a:cxn>
              <a:cxn ang="0">
                <a:pos x="connsiteX5650" y="connsiteY5650"/>
              </a:cxn>
              <a:cxn ang="0">
                <a:pos x="connsiteX5651" y="connsiteY5651"/>
              </a:cxn>
              <a:cxn ang="0">
                <a:pos x="connsiteX5652" y="connsiteY5652"/>
              </a:cxn>
              <a:cxn ang="0">
                <a:pos x="connsiteX5653" y="connsiteY5653"/>
              </a:cxn>
              <a:cxn ang="0">
                <a:pos x="connsiteX5654" y="connsiteY5654"/>
              </a:cxn>
              <a:cxn ang="0">
                <a:pos x="connsiteX5655" y="connsiteY5655"/>
              </a:cxn>
              <a:cxn ang="0">
                <a:pos x="connsiteX5656" y="connsiteY5656"/>
              </a:cxn>
              <a:cxn ang="0">
                <a:pos x="connsiteX5657" y="connsiteY5657"/>
              </a:cxn>
              <a:cxn ang="0">
                <a:pos x="connsiteX5658" y="connsiteY5658"/>
              </a:cxn>
              <a:cxn ang="0">
                <a:pos x="connsiteX5659" y="connsiteY5659"/>
              </a:cxn>
              <a:cxn ang="0">
                <a:pos x="connsiteX5660" y="connsiteY5660"/>
              </a:cxn>
              <a:cxn ang="0">
                <a:pos x="connsiteX5661" y="connsiteY5661"/>
              </a:cxn>
              <a:cxn ang="0">
                <a:pos x="connsiteX5662" y="connsiteY5662"/>
              </a:cxn>
              <a:cxn ang="0">
                <a:pos x="connsiteX5663" y="connsiteY5663"/>
              </a:cxn>
              <a:cxn ang="0">
                <a:pos x="connsiteX5664" y="connsiteY5664"/>
              </a:cxn>
              <a:cxn ang="0">
                <a:pos x="connsiteX5665" y="connsiteY5665"/>
              </a:cxn>
              <a:cxn ang="0">
                <a:pos x="connsiteX5666" y="connsiteY5666"/>
              </a:cxn>
              <a:cxn ang="0">
                <a:pos x="connsiteX5667" y="connsiteY5667"/>
              </a:cxn>
              <a:cxn ang="0">
                <a:pos x="connsiteX5668" y="connsiteY5668"/>
              </a:cxn>
              <a:cxn ang="0">
                <a:pos x="connsiteX5669" y="connsiteY5669"/>
              </a:cxn>
              <a:cxn ang="0">
                <a:pos x="connsiteX5670" y="connsiteY5670"/>
              </a:cxn>
              <a:cxn ang="0">
                <a:pos x="connsiteX5671" y="connsiteY5671"/>
              </a:cxn>
              <a:cxn ang="0">
                <a:pos x="connsiteX5672" y="connsiteY5672"/>
              </a:cxn>
              <a:cxn ang="0">
                <a:pos x="connsiteX5673" y="connsiteY5673"/>
              </a:cxn>
              <a:cxn ang="0">
                <a:pos x="connsiteX5674" y="connsiteY5674"/>
              </a:cxn>
              <a:cxn ang="0">
                <a:pos x="connsiteX5675" y="connsiteY5675"/>
              </a:cxn>
              <a:cxn ang="0">
                <a:pos x="connsiteX5676" y="connsiteY5676"/>
              </a:cxn>
              <a:cxn ang="0">
                <a:pos x="connsiteX5677" y="connsiteY5677"/>
              </a:cxn>
              <a:cxn ang="0">
                <a:pos x="connsiteX5678" y="connsiteY5678"/>
              </a:cxn>
              <a:cxn ang="0">
                <a:pos x="connsiteX5679" y="connsiteY5679"/>
              </a:cxn>
              <a:cxn ang="0">
                <a:pos x="connsiteX5680" y="connsiteY5680"/>
              </a:cxn>
              <a:cxn ang="0">
                <a:pos x="connsiteX5681" y="connsiteY5681"/>
              </a:cxn>
              <a:cxn ang="0">
                <a:pos x="connsiteX5682" y="connsiteY5682"/>
              </a:cxn>
              <a:cxn ang="0">
                <a:pos x="connsiteX5683" y="connsiteY5683"/>
              </a:cxn>
              <a:cxn ang="0">
                <a:pos x="connsiteX5684" y="connsiteY5684"/>
              </a:cxn>
              <a:cxn ang="0">
                <a:pos x="connsiteX5685" y="connsiteY5685"/>
              </a:cxn>
              <a:cxn ang="0">
                <a:pos x="connsiteX5686" y="connsiteY5686"/>
              </a:cxn>
              <a:cxn ang="0">
                <a:pos x="connsiteX5687" y="connsiteY5687"/>
              </a:cxn>
              <a:cxn ang="0">
                <a:pos x="connsiteX5688" y="connsiteY5688"/>
              </a:cxn>
              <a:cxn ang="0">
                <a:pos x="connsiteX5689" y="connsiteY5689"/>
              </a:cxn>
              <a:cxn ang="0">
                <a:pos x="connsiteX5690" y="connsiteY5690"/>
              </a:cxn>
              <a:cxn ang="0">
                <a:pos x="connsiteX5691" y="connsiteY5691"/>
              </a:cxn>
              <a:cxn ang="0">
                <a:pos x="connsiteX5692" y="connsiteY5692"/>
              </a:cxn>
              <a:cxn ang="0">
                <a:pos x="connsiteX5693" y="connsiteY5693"/>
              </a:cxn>
              <a:cxn ang="0">
                <a:pos x="connsiteX5694" y="connsiteY5694"/>
              </a:cxn>
              <a:cxn ang="0">
                <a:pos x="connsiteX5695" y="connsiteY5695"/>
              </a:cxn>
              <a:cxn ang="0">
                <a:pos x="connsiteX5696" y="connsiteY5696"/>
              </a:cxn>
              <a:cxn ang="0">
                <a:pos x="connsiteX5697" y="connsiteY5697"/>
              </a:cxn>
              <a:cxn ang="0">
                <a:pos x="connsiteX5698" y="connsiteY5698"/>
              </a:cxn>
              <a:cxn ang="0">
                <a:pos x="connsiteX5699" y="connsiteY5699"/>
              </a:cxn>
              <a:cxn ang="0">
                <a:pos x="connsiteX5700" y="connsiteY5700"/>
              </a:cxn>
              <a:cxn ang="0">
                <a:pos x="connsiteX5701" y="connsiteY5701"/>
              </a:cxn>
              <a:cxn ang="0">
                <a:pos x="connsiteX5702" y="connsiteY5702"/>
              </a:cxn>
              <a:cxn ang="0">
                <a:pos x="connsiteX5703" y="connsiteY5703"/>
              </a:cxn>
              <a:cxn ang="0">
                <a:pos x="connsiteX5704" y="connsiteY5704"/>
              </a:cxn>
              <a:cxn ang="0">
                <a:pos x="connsiteX5705" y="connsiteY5705"/>
              </a:cxn>
              <a:cxn ang="0">
                <a:pos x="connsiteX5706" y="connsiteY5706"/>
              </a:cxn>
              <a:cxn ang="0">
                <a:pos x="connsiteX5707" y="connsiteY5707"/>
              </a:cxn>
              <a:cxn ang="0">
                <a:pos x="connsiteX5708" y="connsiteY5708"/>
              </a:cxn>
              <a:cxn ang="0">
                <a:pos x="connsiteX5709" y="connsiteY5709"/>
              </a:cxn>
              <a:cxn ang="0">
                <a:pos x="connsiteX5710" y="connsiteY5710"/>
              </a:cxn>
              <a:cxn ang="0">
                <a:pos x="connsiteX5711" y="connsiteY5711"/>
              </a:cxn>
              <a:cxn ang="0">
                <a:pos x="connsiteX5712" y="connsiteY5712"/>
              </a:cxn>
              <a:cxn ang="0">
                <a:pos x="connsiteX5713" y="connsiteY5713"/>
              </a:cxn>
              <a:cxn ang="0">
                <a:pos x="connsiteX5714" y="connsiteY5714"/>
              </a:cxn>
              <a:cxn ang="0">
                <a:pos x="connsiteX5715" y="connsiteY5715"/>
              </a:cxn>
              <a:cxn ang="0">
                <a:pos x="connsiteX5716" y="connsiteY5716"/>
              </a:cxn>
              <a:cxn ang="0">
                <a:pos x="connsiteX5717" y="connsiteY5717"/>
              </a:cxn>
              <a:cxn ang="0">
                <a:pos x="connsiteX5718" y="connsiteY5718"/>
              </a:cxn>
              <a:cxn ang="0">
                <a:pos x="connsiteX5719" y="connsiteY5719"/>
              </a:cxn>
              <a:cxn ang="0">
                <a:pos x="connsiteX5720" y="connsiteY5720"/>
              </a:cxn>
              <a:cxn ang="0">
                <a:pos x="connsiteX5721" y="connsiteY5721"/>
              </a:cxn>
              <a:cxn ang="0">
                <a:pos x="connsiteX5722" y="connsiteY5722"/>
              </a:cxn>
              <a:cxn ang="0">
                <a:pos x="connsiteX5723" y="connsiteY5723"/>
              </a:cxn>
              <a:cxn ang="0">
                <a:pos x="connsiteX5724" y="connsiteY5724"/>
              </a:cxn>
              <a:cxn ang="0">
                <a:pos x="connsiteX5725" y="connsiteY5725"/>
              </a:cxn>
              <a:cxn ang="0">
                <a:pos x="connsiteX5726" y="connsiteY5726"/>
              </a:cxn>
              <a:cxn ang="0">
                <a:pos x="connsiteX5727" y="connsiteY5727"/>
              </a:cxn>
              <a:cxn ang="0">
                <a:pos x="connsiteX5728" y="connsiteY5728"/>
              </a:cxn>
              <a:cxn ang="0">
                <a:pos x="connsiteX5729" y="connsiteY5729"/>
              </a:cxn>
              <a:cxn ang="0">
                <a:pos x="connsiteX5730" y="connsiteY5730"/>
              </a:cxn>
              <a:cxn ang="0">
                <a:pos x="connsiteX5731" y="connsiteY5731"/>
              </a:cxn>
              <a:cxn ang="0">
                <a:pos x="connsiteX5732" y="connsiteY5732"/>
              </a:cxn>
              <a:cxn ang="0">
                <a:pos x="connsiteX5733" y="connsiteY5733"/>
              </a:cxn>
              <a:cxn ang="0">
                <a:pos x="connsiteX5734" y="connsiteY5734"/>
              </a:cxn>
              <a:cxn ang="0">
                <a:pos x="connsiteX5735" y="connsiteY5735"/>
              </a:cxn>
              <a:cxn ang="0">
                <a:pos x="connsiteX5736" y="connsiteY5736"/>
              </a:cxn>
              <a:cxn ang="0">
                <a:pos x="connsiteX5737" y="connsiteY5737"/>
              </a:cxn>
              <a:cxn ang="0">
                <a:pos x="connsiteX5738" y="connsiteY5738"/>
              </a:cxn>
              <a:cxn ang="0">
                <a:pos x="connsiteX5739" y="connsiteY5739"/>
              </a:cxn>
              <a:cxn ang="0">
                <a:pos x="connsiteX5740" y="connsiteY5740"/>
              </a:cxn>
              <a:cxn ang="0">
                <a:pos x="connsiteX5741" y="connsiteY5741"/>
              </a:cxn>
              <a:cxn ang="0">
                <a:pos x="connsiteX5742" y="connsiteY5742"/>
              </a:cxn>
              <a:cxn ang="0">
                <a:pos x="connsiteX5743" y="connsiteY5743"/>
              </a:cxn>
              <a:cxn ang="0">
                <a:pos x="connsiteX5744" y="connsiteY5744"/>
              </a:cxn>
              <a:cxn ang="0">
                <a:pos x="connsiteX5745" y="connsiteY5745"/>
              </a:cxn>
              <a:cxn ang="0">
                <a:pos x="connsiteX5746" y="connsiteY5746"/>
              </a:cxn>
              <a:cxn ang="0">
                <a:pos x="connsiteX5747" y="connsiteY5747"/>
              </a:cxn>
              <a:cxn ang="0">
                <a:pos x="connsiteX5748" y="connsiteY5748"/>
              </a:cxn>
              <a:cxn ang="0">
                <a:pos x="connsiteX5749" y="connsiteY5749"/>
              </a:cxn>
              <a:cxn ang="0">
                <a:pos x="connsiteX5750" y="connsiteY5750"/>
              </a:cxn>
              <a:cxn ang="0">
                <a:pos x="connsiteX5751" y="connsiteY5751"/>
              </a:cxn>
              <a:cxn ang="0">
                <a:pos x="connsiteX5752" y="connsiteY5752"/>
              </a:cxn>
              <a:cxn ang="0">
                <a:pos x="connsiteX5753" y="connsiteY5753"/>
              </a:cxn>
              <a:cxn ang="0">
                <a:pos x="connsiteX5754" y="connsiteY5754"/>
              </a:cxn>
              <a:cxn ang="0">
                <a:pos x="connsiteX5755" y="connsiteY5755"/>
              </a:cxn>
              <a:cxn ang="0">
                <a:pos x="connsiteX5756" y="connsiteY5756"/>
              </a:cxn>
              <a:cxn ang="0">
                <a:pos x="connsiteX5757" y="connsiteY5757"/>
              </a:cxn>
              <a:cxn ang="0">
                <a:pos x="connsiteX5758" y="connsiteY5758"/>
              </a:cxn>
              <a:cxn ang="0">
                <a:pos x="connsiteX5759" y="connsiteY5759"/>
              </a:cxn>
              <a:cxn ang="0">
                <a:pos x="connsiteX5760" y="connsiteY5760"/>
              </a:cxn>
              <a:cxn ang="0">
                <a:pos x="connsiteX5761" y="connsiteY5761"/>
              </a:cxn>
              <a:cxn ang="0">
                <a:pos x="connsiteX5762" y="connsiteY5762"/>
              </a:cxn>
              <a:cxn ang="0">
                <a:pos x="connsiteX5763" y="connsiteY5763"/>
              </a:cxn>
              <a:cxn ang="0">
                <a:pos x="connsiteX5764" y="connsiteY5764"/>
              </a:cxn>
              <a:cxn ang="0">
                <a:pos x="connsiteX5765" y="connsiteY5765"/>
              </a:cxn>
              <a:cxn ang="0">
                <a:pos x="connsiteX5766" y="connsiteY5766"/>
              </a:cxn>
              <a:cxn ang="0">
                <a:pos x="connsiteX5767" y="connsiteY5767"/>
              </a:cxn>
              <a:cxn ang="0">
                <a:pos x="connsiteX5768" y="connsiteY5768"/>
              </a:cxn>
              <a:cxn ang="0">
                <a:pos x="connsiteX5769" y="connsiteY5769"/>
              </a:cxn>
              <a:cxn ang="0">
                <a:pos x="connsiteX5770" y="connsiteY5770"/>
              </a:cxn>
              <a:cxn ang="0">
                <a:pos x="connsiteX5771" y="connsiteY5771"/>
              </a:cxn>
              <a:cxn ang="0">
                <a:pos x="connsiteX5772" y="connsiteY5772"/>
              </a:cxn>
              <a:cxn ang="0">
                <a:pos x="connsiteX5773" y="connsiteY5773"/>
              </a:cxn>
              <a:cxn ang="0">
                <a:pos x="connsiteX5774" y="connsiteY5774"/>
              </a:cxn>
              <a:cxn ang="0">
                <a:pos x="connsiteX5775" y="connsiteY5775"/>
              </a:cxn>
              <a:cxn ang="0">
                <a:pos x="connsiteX5776" y="connsiteY5776"/>
              </a:cxn>
              <a:cxn ang="0">
                <a:pos x="connsiteX5777" y="connsiteY5777"/>
              </a:cxn>
              <a:cxn ang="0">
                <a:pos x="connsiteX5778" y="connsiteY5778"/>
              </a:cxn>
              <a:cxn ang="0">
                <a:pos x="connsiteX5779" y="connsiteY5779"/>
              </a:cxn>
              <a:cxn ang="0">
                <a:pos x="connsiteX5780" y="connsiteY5780"/>
              </a:cxn>
              <a:cxn ang="0">
                <a:pos x="connsiteX5781" y="connsiteY5781"/>
              </a:cxn>
              <a:cxn ang="0">
                <a:pos x="connsiteX5782" y="connsiteY5782"/>
              </a:cxn>
              <a:cxn ang="0">
                <a:pos x="connsiteX5783" y="connsiteY5783"/>
              </a:cxn>
              <a:cxn ang="0">
                <a:pos x="connsiteX5784" y="connsiteY5784"/>
              </a:cxn>
              <a:cxn ang="0">
                <a:pos x="connsiteX5785" y="connsiteY5785"/>
              </a:cxn>
              <a:cxn ang="0">
                <a:pos x="connsiteX5786" y="connsiteY5786"/>
              </a:cxn>
              <a:cxn ang="0">
                <a:pos x="connsiteX5787" y="connsiteY5787"/>
              </a:cxn>
              <a:cxn ang="0">
                <a:pos x="connsiteX5788" y="connsiteY5788"/>
              </a:cxn>
              <a:cxn ang="0">
                <a:pos x="connsiteX5789" y="connsiteY5789"/>
              </a:cxn>
              <a:cxn ang="0">
                <a:pos x="connsiteX5790" y="connsiteY5790"/>
              </a:cxn>
              <a:cxn ang="0">
                <a:pos x="connsiteX5791" y="connsiteY5791"/>
              </a:cxn>
              <a:cxn ang="0">
                <a:pos x="connsiteX5792" y="connsiteY5792"/>
              </a:cxn>
              <a:cxn ang="0">
                <a:pos x="connsiteX5793" y="connsiteY5793"/>
              </a:cxn>
              <a:cxn ang="0">
                <a:pos x="connsiteX5794" y="connsiteY5794"/>
              </a:cxn>
              <a:cxn ang="0">
                <a:pos x="connsiteX5795" y="connsiteY5795"/>
              </a:cxn>
              <a:cxn ang="0">
                <a:pos x="connsiteX5796" y="connsiteY5796"/>
              </a:cxn>
              <a:cxn ang="0">
                <a:pos x="connsiteX5797" y="connsiteY5797"/>
              </a:cxn>
              <a:cxn ang="0">
                <a:pos x="connsiteX5798" y="connsiteY5798"/>
              </a:cxn>
              <a:cxn ang="0">
                <a:pos x="connsiteX5799" y="connsiteY5799"/>
              </a:cxn>
              <a:cxn ang="0">
                <a:pos x="connsiteX5800" y="connsiteY5800"/>
              </a:cxn>
              <a:cxn ang="0">
                <a:pos x="connsiteX5801" y="connsiteY5801"/>
              </a:cxn>
              <a:cxn ang="0">
                <a:pos x="connsiteX5802" y="connsiteY5802"/>
              </a:cxn>
              <a:cxn ang="0">
                <a:pos x="connsiteX5803" y="connsiteY5803"/>
              </a:cxn>
              <a:cxn ang="0">
                <a:pos x="connsiteX5804" y="connsiteY5804"/>
              </a:cxn>
              <a:cxn ang="0">
                <a:pos x="connsiteX5805" y="connsiteY5805"/>
              </a:cxn>
              <a:cxn ang="0">
                <a:pos x="connsiteX5806" y="connsiteY5806"/>
              </a:cxn>
              <a:cxn ang="0">
                <a:pos x="connsiteX5807" y="connsiteY5807"/>
              </a:cxn>
              <a:cxn ang="0">
                <a:pos x="connsiteX5808" y="connsiteY5808"/>
              </a:cxn>
              <a:cxn ang="0">
                <a:pos x="connsiteX5809" y="connsiteY5809"/>
              </a:cxn>
              <a:cxn ang="0">
                <a:pos x="connsiteX5810" y="connsiteY5810"/>
              </a:cxn>
              <a:cxn ang="0">
                <a:pos x="connsiteX5811" y="connsiteY5811"/>
              </a:cxn>
              <a:cxn ang="0">
                <a:pos x="connsiteX5812" y="connsiteY5812"/>
              </a:cxn>
              <a:cxn ang="0">
                <a:pos x="connsiteX5813" y="connsiteY5813"/>
              </a:cxn>
              <a:cxn ang="0">
                <a:pos x="connsiteX5814" y="connsiteY5814"/>
              </a:cxn>
              <a:cxn ang="0">
                <a:pos x="connsiteX5815" y="connsiteY5815"/>
              </a:cxn>
              <a:cxn ang="0">
                <a:pos x="connsiteX5816" y="connsiteY5816"/>
              </a:cxn>
              <a:cxn ang="0">
                <a:pos x="connsiteX5817" y="connsiteY5817"/>
              </a:cxn>
              <a:cxn ang="0">
                <a:pos x="connsiteX5818" y="connsiteY5818"/>
              </a:cxn>
              <a:cxn ang="0">
                <a:pos x="connsiteX5819" y="connsiteY5819"/>
              </a:cxn>
              <a:cxn ang="0">
                <a:pos x="connsiteX5820" y="connsiteY5820"/>
              </a:cxn>
              <a:cxn ang="0">
                <a:pos x="connsiteX5821" y="connsiteY5821"/>
              </a:cxn>
              <a:cxn ang="0">
                <a:pos x="connsiteX5822" y="connsiteY5822"/>
              </a:cxn>
              <a:cxn ang="0">
                <a:pos x="connsiteX5823" y="connsiteY5823"/>
              </a:cxn>
              <a:cxn ang="0">
                <a:pos x="connsiteX5824" y="connsiteY5824"/>
              </a:cxn>
              <a:cxn ang="0">
                <a:pos x="connsiteX5825" y="connsiteY5825"/>
              </a:cxn>
              <a:cxn ang="0">
                <a:pos x="connsiteX5826" y="connsiteY5826"/>
              </a:cxn>
              <a:cxn ang="0">
                <a:pos x="connsiteX5827" y="connsiteY5827"/>
              </a:cxn>
              <a:cxn ang="0">
                <a:pos x="connsiteX5828" y="connsiteY5828"/>
              </a:cxn>
              <a:cxn ang="0">
                <a:pos x="connsiteX5829" y="connsiteY5829"/>
              </a:cxn>
              <a:cxn ang="0">
                <a:pos x="connsiteX5830" y="connsiteY5830"/>
              </a:cxn>
              <a:cxn ang="0">
                <a:pos x="connsiteX5831" y="connsiteY5831"/>
              </a:cxn>
              <a:cxn ang="0">
                <a:pos x="connsiteX5832" y="connsiteY5832"/>
              </a:cxn>
              <a:cxn ang="0">
                <a:pos x="connsiteX5833" y="connsiteY5833"/>
              </a:cxn>
              <a:cxn ang="0">
                <a:pos x="connsiteX5834" y="connsiteY5834"/>
              </a:cxn>
              <a:cxn ang="0">
                <a:pos x="connsiteX5835" y="connsiteY5835"/>
              </a:cxn>
              <a:cxn ang="0">
                <a:pos x="connsiteX5836" y="connsiteY5836"/>
              </a:cxn>
              <a:cxn ang="0">
                <a:pos x="connsiteX5837" y="connsiteY5837"/>
              </a:cxn>
              <a:cxn ang="0">
                <a:pos x="connsiteX5838" y="connsiteY5838"/>
              </a:cxn>
              <a:cxn ang="0">
                <a:pos x="connsiteX5839" y="connsiteY5839"/>
              </a:cxn>
              <a:cxn ang="0">
                <a:pos x="connsiteX5840" y="connsiteY5840"/>
              </a:cxn>
              <a:cxn ang="0">
                <a:pos x="connsiteX5841" y="connsiteY5841"/>
              </a:cxn>
              <a:cxn ang="0">
                <a:pos x="connsiteX5842" y="connsiteY5842"/>
              </a:cxn>
              <a:cxn ang="0">
                <a:pos x="connsiteX5843" y="connsiteY5843"/>
              </a:cxn>
              <a:cxn ang="0">
                <a:pos x="connsiteX5844" y="connsiteY5844"/>
              </a:cxn>
              <a:cxn ang="0">
                <a:pos x="connsiteX5845" y="connsiteY5845"/>
              </a:cxn>
              <a:cxn ang="0">
                <a:pos x="connsiteX5846" y="connsiteY5846"/>
              </a:cxn>
              <a:cxn ang="0">
                <a:pos x="connsiteX5847" y="connsiteY5847"/>
              </a:cxn>
              <a:cxn ang="0">
                <a:pos x="connsiteX5848" y="connsiteY5848"/>
              </a:cxn>
              <a:cxn ang="0">
                <a:pos x="connsiteX5849" y="connsiteY5849"/>
              </a:cxn>
              <a:cxn ang="0">
                <a:pos x="connsiteX5850" y="connsiteY5850"/>
              </a:cxn>
              <a:cxn ang="0">
                <a:pos x="connsiteX5851" y="connsiteY5851"/>
              </a:cxn>
              <a:cxn ang="0">
                <a:pos x="connsiteX5852" y="connsiteY5852"/>
              </a:cxn>
              <a:cxn ang="0">
                <a:pos x="connsiteX5853" y="connsiteY5853"/>
              </a:cxn>
              <a:cxn ang="0">
                <a:pos x="connsiteX5854" y="connsiteY5854"/>
              </a:cxn>
              <a:cxn ang="0">
                <a:pos x="connsiteX5855" y="connsiteY5855"/>
              </a:cxn>
              <a:cxn ang="0">
                <a:pos x="connsiteX5856" y="connsiteY5856"/>
              </a:cxn>
              <a:cxn ang="0">
                <a:pos x="connsiteX5857" y="connsiteY5857"/>
              </a:cxn>
              <a:cxn ang="0">
                <a:pos x="connsiteX5858" y="connsiteY5858"/>
              </a:cxn>
              <a:cxn ang="0">
                <a:pos x="connsiteX5859" y="connsiteY5859"/>
              </a:cxn>
              <a:cxn ang="0">
                <a:pos x="connsiteX5860" y="connsiteY5860"/>
              </a:cxn>
              <a:cxn ang="0">
                <a:pos x="connsiteX5861" y="connsiteY5861"/>
              </a:cxn>
              <a:cxn ang="0">
                <a:pos x="connsiteX5862" y="connsiteY5862"/>
              </a:cxn>
              <a:cxn ang="0">
                <a:pos x="connsiteX5863" y="connsiteY5863"/>
              </a:cxn>
              <a:cxn ang="0">
                <a:pos x="connsiteX5864" y="connsiteY5864"/>
              </a:cxn>
              <a:cxn ang="0">
                <a:pos x="connsiteX5865" y="connsiteY5865"/>
              </a:cxn>
              <a:cxn ang="0">
                <a:pos x="connsiteX5866" y="connsiteY5866"/>
              </a:cxn>
              <a:cxn ang="0">
                <a:pos x="connsiteX5867" y="connsiteY5867"/>
              </a:cxn>
              <a:cxn ang="0">
                <a:pos x="connsiteX5868" y="connsiteY5868"/>
              </a:cxn>
              <a:cxn ang="0">
                <a:pos x="connsiteX5869" y="connsiteY5869"/>
              </a:cxn>
              <a:cxn ang="0">
                <a:pos x="connsiteX5870" y="connsiteY5870"/>
              </a:cxn>
              <a:cxn ang="0">
                <a:pos x="connsiteX5871" y="connsiteY5871"/>
              </a:cxn>
              <a:cxn ang="0">
                <a:pos x="connsiteX5872" y="connsiteY5872"/>
              </a:cxn>
              <a:cxn ang="0">
                <a:pos x="connsiteX5873" y="connsiteY5873"/>
              </a:cxn>
              <a:cxn ang="0">
                <a:pos x="connsiteX5874" y="connsiteY5874"/>
              </a:cxn>
              <a:cxn ang="0">
                <a:pos x="connsiteX5875" y="connsiteY5875"/>
              </a:cxn>
              <a:cxn ang="0">
                <a:pos x="connsiteX5876" y="connsiteY5876"/>
              </a:cxn>
              <a:cxn ang="0">
                <a:pos x="connsiteX5877" y="connsiteY5877"/>
              </a:cxn>
              <a:cxn ang="0">
                <a:pos x="connsiteX5878" y="connsiteY5878"/>
              </a:cxn>
              <a:cxn ang="0">
                <a:pos x="connsiteX5879" y="connsiteY5879"/>
              </a:cxn>
              <a:cxn ang="0">
                <a:pos x="connsiteX5880" y="connsiteY5880"/>
              </a:cxn>
              <a:cxn ang="0">
                <a:pos x="connsiteX5881" y="connsiteY5881"/>
              </a:cxn>
              <a:cxn ang="0">
                <a:pos x="connsiteX5882" y="connsiteY5882"/>
              </a:cxn>
              <a:cxn ang="0">
                <a:pos x="connsiteX5883" y="connsiteY5883"/>
              </a:cxn>
              <a:cxn ang="0">
                <a:pos x="connsiteX5884" y="connsiteY5884"/>
              </a:cxn>
              <a:cxn ang="0">
                <a:pos x="connsiteX5885" y="connsiteY5885"/>
              </a:cxn>
              <a:cxn ang="0">
                <a:pos x="connsiteX5886" y="connsiteY5886"/>
              </a:cxn>
              <a:cxn ang="0">
                <a:pos x="connsiteX5887" y="connsiteY5887"/>
              </a:cxn>
              <a:cxn ang="0">
                <a:pos x="connsiteX5888" y="connsiteY5888"/>
              </a:cxn>
              <a:cxn ang="0">
                <a:pos x="connsiteX5889" y="connsiteY5889"/>
              </a:cxn>
              <a:cxn ang="0">
                <a:pos x="connsiteX5890" y="connsiteY5890"/>
              </a:cxn>
              <a:cxn ang="0">
                <a:pos x="connsiteX5891" y="connsiteY5891"/>
              </a:cxn>
              <a:cxn ang="0">
                <a:pos x="connsiteX5892" y="connsiteY5892"/>
              </a:cxn>
              <a:cxn ang="0">
                <a:pos x="connsiteX5893" y="connsiteY5893"/>
              </a:cxn>
              <a:cxn ang="0">
                <a:pos x="connsiteX5894" y="connsiteY5894"/>
              </a:cxn>
              <a:cxn ang="0">
                <a:pos x="connsiteX5895" y="connsiteY5895"/>
              </a:cxn>
              <a:cxn ang="0">
                <a:pos x="connsiteX5896" y="connsiteY5896"/>
              </a:cxn>
              <a:cxn ang="0">
                <a:pos x="connsiteX5897" y="connsiteY5897"/>
              </a:cxn>
              <a:cxn ang="0">
                <a:pos x="connsiteX5898" y="connsiteY5898"/>
              </a:cxn>
              <a:cxn ang="0">
                <a:pos x="connsiteX5899" y="connsiteY5899"/>
              </a:cxn>
              <a:cxn ang="0">
                <a:pos x="connsiteX5900" y="connsiteY5900"/>
              </a:cxn>
              <a:cxn ang="0">
                <a:pos x="connsiteX5901" y="connsiteY5901"/>
              </a:cxn>
              <a:cxn ang="0">
                <a:pos x="connsiteX5902" y="connsiteY5902"/>
              </a:cxn>
              <a:cxn ang="0">
                <a:pos x="connsiteX5903" y="connsiteY5903"/>
              </a:cxn>
              <a:cxn ang="0">
                <a:pos x="connsiteX5904" y="connsiteY5904"/>
              </a:cxn>
              <a:cxn ang="0">
                <a:pos x="connsiteX5905" y="connsiteY5905"/>
              </a:cxn>
              <a:cxn ang="0">
                <a:pos x="connsiteX5906" y="connsiteY5906"/>
              </a:cxn>
              <a:cxn ang="0">
                <a:pos x="connsiteX5907" y="connsiteY5907"/>
              </a:cxn>
              <a:cxn ang="0">
                <a:pos x="connsiteX5908" y="connsiteY5908"/>
              </a:cxn>
              <a:cxn ang="0">
                <a:pos x="connsiteX5909" y="connsiteY5909"/>
              </a:cxn>
              <a:cxn ang="0">
                <a:pos x="connsiteX5910" y="connsiteY5910"/>
              </a:cxn>
              <a:cxn ang="0">
                <a:pos x="connsiteX5911" y="connsiteY5911"/>
              </a:cxn>
              <a:cxn ang="0">
                <a:pos x="connsiteX5912" y="connsiteY5912"/>
              </a:cxn>
              <a:cxn ang="0">
                <a:pos x="connsiteX5913" y="connsiteY5913"/>
              </a:cxn>
              <a:cxn ang="0">
                <a:pos x="connsiteX5914" y="connsiteY5914"/>
              </a:cxn>
              <a:cxn ang="0">
                <a:pos x="connsiteX5915" y="connsiteY5915"/>
              </a:cxn>
              <a:cxn ang="0">
                <a:pos x="connsiteX5916" y="connsiteY5916"/>
              </a:cxn>
              <a:cxn ang="0">
                <a:pos x="connsiteX5917" y="connsiteY5917"/>
              </a:cxn>
              <a:cxn ang="0">
                <a:pos x="connsiteX5918" y="connsiteY5918"/>
              </a:cxn>
              <a:cxn ang="0">
                <a:pos x="connsiteX5919" y="connsiteY5919"/>
              </a:cxn>
              <a:cxn ang="0">
                <a:pos x="connsiteX5920" y="connsiteY5920"/>
              </a:cxn>
              <a:cxn ang="0">
                <a:pos x="connsiteX5921" y="connsiteY5921"/>
              </a:cxn>
              <a:cxn ang="0">
                <a:pos x="connsiteX5922" y="connsiteY5922"/>
              </a:cxn>
              <a:cxn ang="0">
                <a:pos x="connsiteX5923" y="connsiteY5923"/>
              </a:cxn>
              <a:cxn ang="0">
                <a:pos x="connsiteX5924" y="connsiteY5924"/>
              </a:cxn>
              <a:cxn ang="0">
                <a:pos x="connsiteX5925" y="connsiteY5925"/>
              </a:cxn>
              <a:cxn ang="0">
                <a:pos x="connsiteX5926" y="connsiteY5926"/>
              </a:cxn>
              <a:cxn ang="0">
                <a:pos x="connsiteX5927" y="connsiteY5927"/>
              </a:cxn>
              <a:cxn ang="0">
                <a:pos x="connsiteX5928" y="connsiteY5928"/>
              </a:cxn>
              <a:cxn ang="0">
                <a:pos x="connsiteX5929" y="connsiteY5929"/>
              </a:cxn>
              <a:cxn ang="0">
                <a:pos x="connsiteX5930" y="connsiteY5930"/>
              </a:cxn>
              <a:cxn ang="0">
                <a:pos x="connsiteX5931" y="connsiteY5931"/>
              </a:cxn>
              <a:cxn ang="0">
                <a:pos x="connsiteX5932" y="connsiteY5932"/>
              </a:cxn>
              <a:cxn ang="0">
                <a:pos x="connsiteX5933" y="connsiteY5933"/>
              </a:cxn>
              <a:cxn ang="0">
                <a:pos x="connsiteX5934" y="connsiteY5934"/>
              </a:cxn>
              <a:cxn ang="0">
                <a:pos x="connsiteX5935" y="connsiteY5935"/>
              </a:cxn>
              <a:cxn ang="0">
                <a:pos x="connsiteX5936" y="connsiteY5936"/>
              </a:cxn>
              <a:cxn ang="0">
                <a:pos x="connsiteX5937" y="connsiteY5937"/>
              </a:cxn>
              <a:cxn ang="0">
                <a:pos x="connsiteX5938" y="connsiteY5938"/>
              </a:cxn>
              <a:cxn ang="0">
                <a:pos x="connsiteX5939" y="connsiteY5939"/>
              </a:cxn>
              <a:cxn ang="0">
                <a:pos x="connsiteX5940" y="connsiteY5940"/>
              </a:cxn>
              <a:cxn ang="0">
                <a:pos x="connsiteX5941" y="connsiteY5941"/>
              </a:cxn>
              <a:cxn ang="0">
                <a:pos x="connsiteX5942" y="connsiteY5942"/>
              </a:cxn>
              <a:cxn ang="0">
                <a:pos x="connsiteX5943" y="connsiteY5943"/>
              </a:cxn>
              <a:cxn ang="0">
                <a:pos x="connsiteX5944" y="connsiteY5944"/>
              </a:cxn>
              <a:cxn ang="0">
                <a:pos x="connsiteX5945" y="connsiteY5945"/>
              </a:cxn>
              <a:cxn ang="0">
                <a:pos x="connsiteX5946" y="connsiteY5946"/>
              </a:cxn>
              <a:cxn ang="0">
                <a:pos x="connsiteX5947" y="connsiteY5947"/>
              </a:cxn>
              <a:cxn ang="0">
                <a:pos x="connsiteX5948" y="connsiteY5948"/>
              </a:cxn>
              <a:cxn ang="0">
                <a:pos x="connsiteX5949" y="connsiteY5949"/>
              </a:cxn>
              <a:cxn ang="0">
                <a:pos x="connsiteX5950" y="connsiteY5950"/>
              </a:cxn>
              <a:cxn ang="0">
                <a:pos x="connsiteX5951" y="connsiteY5951"/>
              </a:cxn>
              <a:cxn ang="0">
                <a:pos x="connsiteX5952" y="connsiteY5952"/>
              </a:cxn>
              <a:cxn ang="0">
                <a:pos x="connsiteX5953" y="connsiteY5953"/>
              </a:cxn>
              <a:cxn ang="0">
                <a:pos x="connsiteX5954" y="connsiteY5954"/>
              </a:cxn>
              <a:cxn ang="0">
                <a:pos x="connsiteX5955" y="connsiteY5955"/>
              </a:cxn>
              <a:cxn ang="0">
                <a:pos x="connsiteX5956" y="connsiteY5956"/>
              </a:cxn>
              <a:cxn ang="0">
                <a:pos x="connsiteX5957" y="connsiteY5957"/>
              </a:cxn>
              <a:cxn ang="0">
                <a:pos x="connsiteX5958" y="connsiteY5958"/>
              </a:cxn>
              <a:cxn ang="0">
                <a:pos x="connsiteX5959" y="connsiteY5959"/>
              </a:cxn>
              <a:cxn ang="0">
                <a:pos x="connsiteX5960" y="connsiteY5960"/>
              </a:cxn>
              <a:cxn ang="0">
                <a:pos x="connsiteX5961" y="connsiteY5961"/>
              </a:cxn>
              <a:cxn ang="0">
                <a:pos x="connsiteX5962" y="connsiteY5962"/>
              </a:cxn>
              <a:cxn ang="0">
                <a:pos x="connsiteX5963" y="connsiteY5963"/>
              </a:cxn>
              <a:cxn ang="0">
                <a:pos x="connsiteX5964" y="connsiteY5964"/>
              </a:cxn>
              <a:cxn ang="0">
                <a:pos x="connsiteX5965" y="connsiteY5965"/>
              </a:cxn>
              <a:cxn ang="0">
                <a:pos x="connsiteX5966" y="connsiteY5966"/>
              </a:cxn>
              <a:cxn ang="0">
                <a:pos x="connsiteX5967" y="connsiteY5967"/>
              </a:cxn>
              <a:cxn ang="0">
                <a:pos x="connsiteX5968" y="connsiteY5968"/>
              </a:cxn>
              <a:cxn ang="0">
                <a:pos x="connsiteX5969" y="connsiteY5969"/>
              </a:cxn>
              <a:cxn ang="0">
                <a:pos x="connsiteX5970" y="connsiteY5970"/>
              </a:cxn>
              <a:cxn ang="0">
                <a:pos x="connsiteX5971" y="connsiteY5971"/>
              </a:cxn>
              <a:cxn ang="0">
                <a:pos x="connsiteX5972" y="connsiteY5972"/>
              </a:cxn>
              <a:cxn ang="0">
                <a:pos x="connsiteX5973" y="connsiteY5973"/>
              </a:cxn>
              <a:cxn ang="0">
                <a:pos x="connsiteX5974" y="connsiteY5974"/>
              </a:cxn>
              <a:cxn ang="0">
                <a:pos x="connsiteX5975" y="connsiteY5975"/>
              </a:cxn>
              <a:cxn ang="0">
                <a:pos x="connsiteX5976" y="connsiteY5976"/>
              </a:cxn>
              <a:cxn ang="0">
                <a:pos x="connsiteX5977" y="connsiteY5977"/>
              </a:cxn>
              <a:cxn ang="0">
                <a:pos x="connsiteX5978" y="connsiteY5978"/>
              </a:cxn>
              <a:cxn ang="0">
                <a:pos x="connsiteX5979" y="connsiteY5979"/>
              </a:cxn>
              <a:cxn ang="0">
                <a:pos x="connsiteX5980" y="connsiteY5980"/>
              </a:cxn>
              <a:cxn ang="0">
                <a:pos x="connsiteX5981" y="connsiteY5981"/>
              </a:cxn>
              <a:cxn ang="0">
                <a:pos x="connsiteX5982" y="connsiteY5982"/>
              </a:cxn>
              <a:cxn ang="0">
                <a:pos x="connsiteX5983" y="connsiteY5983"/>
              </a:cxn>
              <a:cxn ang="0">
                <a:pos x="connsiteX5984" y="connsiteY5984"/>
              </a:cxn>
              <a:cxn ang="0">
                <a:pos x="connsiteX5985" y="connsiteY5985"/>
              </a:cxn>
              <a:cxn ang="0">
                <a:pos x="connsiteX5986" y="connsiteY5986"/>
              </a:cxn>
              <a:cxn ang="0">
                <a:pos x="connsiteX5987" y="connsiteY5987"/>
              </a:cxn>
              <a:cxn ang="0">
                <a:pos x="connsiteX5988" y="connsiteY5988"/>
              </a:cxn>
              <a:cxn ang="0">
                <a:pos x="connsiteX5989" y="connsiteY5989"/>
              </a:cxn>
              <a:cxn ang="0">
                <a:pos x="connsiteX5990" y="connsiteY5990"/>
              </a:cxn>
              <a:cxn ang="0">
                <a:pos x="connsiteX5991" y="connsiteY5991"/>
              </a:cxn>
              <a:cxn ang="0">
                <a:pos x="connsiteX5992" y="connsiteY5992"/>
              </a:cxn>
              <a:cxn ang="0">
                <a:pos x="connsiteX5993" y="connsiteY5993"/>
              </a:cxn>
              <a:cxn ang="0">
                <a:pos x="connsiteX5994" y="connsiteY5994"/>
              </a:cxn>
              <a:cxn ang="0">
                <a:pos x="connsiteX5995" y="connsiteY5995"/>
              </a:cxn>
              <a:cxn ang="0">
                <a:pos x="connsiteX5996" y="connsiteY5996"/>
              </a:cxn>
              <a:cxn ang="0">
                <a:pos x="connsiteX5997" y="connsiteY5997"/>
              </a:cxn>
              <a:cxn ang="0">
                <a:pos x="connsiteX5998" y="connsiteY5998"/>
              </a:cxn>
              <a:cxn ang="0">
                <a:pos x="connsiteX5999" y="connsiteY5999"/>
              </a:cxn>
              <a:cxn ang="0">
                <a:pos x="connsiteX6000" y="connsiteY6000"/>
              </a:cxn>
              <a:cxn ang="0">
                <a:pos x="connsiteX6001" y="connsiteY6001"/>
              </a:cxn>
              <a:cxn ang="0">
                <a:pos x="connsiteX6002" y="connsiteY6002"/>
              </a:cxn>
              <a:cxn ang="0">
                <a:pos x="connsiteX6003" y="connsiteY6003"/>
              </a:cxn>
              <a:cxn ang="0">
                <a:pos x="connsiteX6004" y="connsiteY6004"/>
              </a:cxn>
              <a:cxn ang="0">
                <a:pos x="connsiteX6005" y="connsiteY6005"/>
              </a:cxn>
              <a:cxn ang="0">
                <a:pos x="connsiteX6006" y="connsiteY6006"/>
              </a:cxn>
              <a:cxn ang="0">
                <a:pos x="connsiteX6007" y="connsiteY6007"/>
              </a:cxn>
              <a:cxn ang="0">
                <a:pos x="connsiteX6008" y="connsiteY6008"/>
              </a:cxn>
              <a:cxn ang="0">
                <a:pos x="connsiteX6009" y="connsiteY6009"/>
              </a:cxn>
              <a:cxn ang="0">
                <a:pos x="connsiteX6010" y="connsiteY6010"/>
              </a:cxn>
              <a:cxn ang="0">
                <a:pos x="connsiteX6011" y="connsiteY6011"/>
              </a:cxn>
              <a:cxn ang="0">
                <a:pos x="connsiteX6012" y="connsiteY6012"/>
              </a:cxn>
              <a:cxn ang="0">
                <a:pos x="connsiteX6013" y="connsiteY6013"/>
              </a:cxn>
              <a:cxn ang="0">
                <a:pos x="connsiteX6014" y="connsiteY6014"/>
              </a:cxn>
              <a:cxn ang="0">
                <a:pos x="connsiteX6015" y="connsiteY6015"/>
              </a:cxn>
              <a:cxn ang="0">
                <a:pos x="connsiteX6016" y="connsiteY6016"/>
              </a:cxn>
              <a:cxn ang="0">
                <a:pos x="connsiteX6017" y="connsiteY6017"/>
              </a:cxn>
              <a:cxn ang="0">
                <a:pos x="connsiteX6018" y="connsiteY6018"/>
              </a:cxn>
              <a:cxn ang="0">
                <a:pos x="connsiteX6019" y="connsiteY6019"/>
              </a:cxn>
              <a:cxn ang="0">
                <a:pos x="connsiteX6020" y="connsiteY6020"/>
              </a:cxn>
              <a:cxn ang="0">
                <a:pos x="connsiteX6021" y="connsiteY6021"/>
              </a:cxn>
              <a:cxn ang="0">
                <a:pos x="connsiteX6022" y="connsiteY6022"/>
              </a:cxn>
              <a:cxn ang="0">
                <a:pos x="connsiteX6023" y="connsiteY6023"/>
              </a:cxn>
              <a:cxn ang="0">
                <a:pos x="connsiteX6024" y="connsiteY6024"/>
              </a:cxn>
              <a:cxn ang="0">
                <a:pos x="connsiteX6025" y="connsiteY6025"/>
              </a:cxn>
              <a:cxn ang="0">
                <a:pos x="connsiteX6026" y="connsiteY6026"/>
              </a:cxn>
              <a:cxn ang="0">
                <a:pos x="connsiteX6027" y="connsiteY6027"/>
              </a:cxn>
              <a:cxn ang="0">
                <a:pos x="connsiteX6028" y="connsiteY6028"/>
              </a:cxn>
              <a:cxn ang="0">
                <a:pos x="connsiteX6029" y="connsiteY6029"/>
              </a:cxn>
              <a:cxn ang="0">
                <a:pos x="connsiteX6030" y="connsiteY6030"/>
              </a:cxn>
              <a:cxn ang="0">
                <a:pos x="connsiteX6031" y="connsiteY6031"/>
              </a:cxn>
              <a:cxn ang="0">
                <a:pos x="connsiteX6032" y="connsiteY6032"/>
              </a:cxn>
              <a:cxn ang="0">
                <a:pos x="connsiteX6033" y="connsiteY6033"/>
              </a:cxn>
              <a:cxn ang="0">
                <a:pos x="connsiteX6034" y="connsiteY6034"/>
              </a:cxn>
              <a:cxn ang="0">
                <a:pos x="connsiteX6035" y="connsiteY6035"/>
              </a:cxn>
              <a:cxn ang="0">
                <a:pos x="connsiteX6036" y="connsiteY6036"/>
              </a:cxn>
              <a:cxn ang="0">
                <a:pos x="connsiteX6037" y="connsiteY6037"/>
              </a:cxn>
              <a:cxn ang="0">
                <a:pos x="connsiteX6038" y="connsiteY6038"/>
              </a:cxn>
              <a:cxn ang="0">
                <a:pos x="connsiteX6039" y="connsiteY6039"/>
              </a:cxn>
              <a:cxn ang="0">
                <a:pos x="connsiteX6040" y="connsiteY6040"/>
              </a:cxn>
              <a:cxn ang="0">
                <a:pos x="connsiteX6041" y="connsiteY6041"/>
              </a:cxn>
              <a:cxn ang="0">
                <a:pos x="connsiteX6042" y="connsiteY6042"/>
              </a:cxn>
              <a:cxn ang="0">
                <a:pos x="connsiteX6043" y="connsiteY6043"/>
              </a:cxn>
              <a:cxn ang="0">
                <a:pos x="connsiteX6044" y="connsiteY6044"/>
              </a:cxn>
              <a:cxn ang="0">
                <a:pos x="connsiteX6045" y="connsiteY6045"/>
              </a:cxn>
              <a:cxn ang="0">
                <a:pos x="connsiteX6046" y="connsiteY6046"/>
              </a:cxn>
              <a:cxn ang="0">
                <a:pos x="connsiteX6047" y="connsiteY6047"/>
              </a:cxn>
              <a:cxn ang="0">
                <a:pos x="connsiteX6048" y="connsiteY6048"/>
              </a:cxn>
              <a:cxn ang="0">
                <a:pos x="connsiteX6049" y="connsiteY6049"/>
              </a:cxn>
              <a:cxn ang="0">
                <a:pos x="connsiteX6050" y="connsiteY6050"/>
              </a:cxn>
              <a:cxn ang="0">
                <a:pos x="connsiteX6051" y="connsiteY6051"/>
              </a:cxn>
              <a:cxn ang="0">
                <a:pos x="connsiteX6052" y="connsiteY6052"/>
              </a:cxn>
              <a:cxn ang="0">
                <a:pos x="connsiteX6053" y="connsiteY6053"/>
              </a:cxn>
              <a:cxn ang="0">
                <a:pos x="connsiteX6054" y="connsiteY6054"/>
              </a:cxn>
              <a:cxn ang="0">
                <a:pos x="connsiteX6055" y="connsiteY6055"/>
              </a:cxn>
              <a:cxn ang="0">
                <a:pos x="connsiteX6056" y="connsiteY6056"/>
              </a:cxn>
              <a:cxn ang="0">
                <a:pos x="connsiteX6057" y="connsiteY6057"/>
              </a:cxn>
              <a:cxn ang="0">
                <a:pos x="connsiteX6058" y="connsiteY6058"/>
              </a:cxn>
              <a:cxn ang="0">
                <a:pos x="connsiteX6059" y="connsiteY6059"/>
              </a:cxn>
              <a:cxn ang="0">
                <a:pos x="connsiteX6060" y="connsiteY6060"/>
              </a:cxn>
              <a:cxn ang="0">
                <a:pos x="connsiteX6061" y="connsiteY6061"/>
              </a:cxn>
              <a:cxn ang="0">
                <a:pos x="connsiteX6062" y="connsiteY6062"/>
              </a:cxn>
              <a:cxn ang="0">
                <a:pos x="connsiteX6063" y="connsiteY6063"/>
              </a:cxn>
              <a:cxn ang="0">
                <a:pos x="connsiteX6064" y="connsiteY6064"/>
              </a:cxn>
              <a:cxn ang="0">
                <a:pos x="connsiteX6065" y="connsiteY6065"/>
              </a:cxn>
              <a:cxn ang="0">
                <a:pos x="connsiteX6066" y="connsiteY6066"/>
              </a:cxn>
              <a:cxn ang="0">
                <a:pos x="connsiteX6067" y="connsiteY6067"/>
              </a:cxn>
              <a:cxn ang="0">
                <a:pos x="connsiteX6068" y="connsiteY6068"/>
              </a:cxn>
              <a:cxn ang="0">
                <a:pos x="connsiteX6069" y="connsiteY6069"/>
              </a:cxn>
              <a:cxn ang="0">
                <a:pos x="connsiteX6070" y="connsiteY6070"/>
              </a:cxn>
              <a:cxn ang="0">
                <a:pos x="connsiteX6071" y="connsiteY6071"/>
              </a:cxn>
              <a:cxn ang="0">
                <a:pos x="connsiteX6072" y="connsiteY6072"/>
              </a:cxn>
              <a:cxn ang="0">
                <a:pos x="connsiteX6073" y="connsiteY6073"/>
              </a:cxn>
              <a:cxn ang="0">
                <a:pos x="connsiteX6074" y="connsiteY6074"/>
              </a:cxn>
              <a:cxn ang="0">
                <a:pos x="connsiteX6075" y="connsiteY6075"/>
              </a:cxn>
              <a:cxn ang="0">
                <a:pos x="connsiteX6076" y="connsiteY6076"/>
              </a:cxn>
              <a:cxn ang="0">
                <a:pos x="connsiteX6077" y="connsiteY6077"/>
              </a:cxn>
              <a:cxn ang="0">
                <a:pos x="connsiteX6078" y="connsiteY6078"/>
              </a:cxn>
              <a:cxn ang="0">
                <a:pos x="connsiteX6079" y="connsiteY6079"/>
              </a:cxn>
              <a:cxn ang="0">
                <a:pos x="connsiteX6080" y="connsiteY6080"/>
              </a:cxn>
              <a:cxn ang="0">
                <a:pos x="connsiteX6081" y="connsiteY6081"/>
              </a:cxn>
              <a:cxn ang="0">
                <a:pos x="connsiteX6082" y="connsiteY6082"/>
              </a:cxn>
              <a:cxn ang="0">
                <a:pos x="connsiteX6083" y="connsiteY6083"/>
              </a:cxn>
              <a:cxn ang="0">
                <a:pos x="connsiteX6084" y="connsiteY6084"/>
              </a:cxn>
              <a:cxn ang="0">
                <a:pos x="connsiteX6085" y="connsiteY6085"/>
              </a:cxn>
              <a:cxn ang="0">
                <a:pos x="connsiteX6086" y="connsiteY6086"/>
              </a:cxn>
              <a:cxn ang="0">
                <a:pos x="connsiteX6087" y="connsiteY6087"/>
              </a:cxn>
              <a:cxn ang="0">
                <a:pos x="connsiteX6088" y="connsiteY6088"/>
              </a:cxn>
              <a:cxn ang="0">
                <a:pos x="connsiteX6089" y="connsiteY6089"/>
              </a:cxn>
              <a:cxn ang="0">
                <a:pos x="connsiteX6090" y="connsiteY6090"/>
              </a:cxn>
              <a:cxn ang="0">
                <a:pos x="connsiteX6091" y="connsiteY6091"/>
              </a:cxn>
              <a:cxn ang="0">
                <a:pos x="connsiteX6092" y="connsiteY6092"/>
              </a:cxn>
              <a:cxn ang="0">
                <a:pos x="connsiteX6093" y="connsiteY6093"/>
              </a:cxn>
              <a:cxn ang="0">
                <a:pos x="connsiteX6094" y="connsiteY6094"/>
              </a:cxn>
              <a:cxn ang="0">
                <a:pos x="connsiteX6095" y="connsiteY6095"/>
              </a:cxn>
              <a:cxn ang="0">
                <a:pos x="connsiteX6096" y="connsiteY6096"/>
              </a:cxn>
              <a:cxn ang="0">
                <a:pos x="connsiteX6097" y="connsiteY6097"/>
              </a:cxn>
              <a:cxn ang="0">
                <a:pos x="connsiteX6098" y="connsiteY6098"/>
              </a:cxn>
              <a:cxn ang="0">
                <a:pos x="connsiteX6099" y="connsiteY6099"/>
              </a:cxn>
              <a:cxn ang="0">
                <a:pos x="connsiteX6100" y="connsiteY6100"/>
              </a:cxn>
              <a:cxn ang="0">
                <a:pos x="connsiteX6101" y="connsiteY6101"/>
              </a:cxn>
              <a:cxn ang="0">
                <a:pos x="connsiteX6102" y="connsiteY6102"/>
              </a:cxn>
              <a:cxn ang="0">
                <a:pos x="connsiteX6103" y="connsiteY6103"/>
              </a:cxn>
              <a:cxn ang="0">
                <a:pos x="connsiteX6104" y="connsiteY6104"/>
              </a:cxn>
              <a:cxn ang="0">
                <a:pos x="connsiteX6105" y="connsiteY6105"/>
              </a:cxn>
              <a:cxn ang="0">
                <a:pos x="connsiteX6106" y="connsiteY6106"/>
              </a:cxn>
              <a:cxn ang="0">
                <a:pos x="connsiteX6107" y="connsiteY6107"/>
              </a:cxn>
              <a:cxn ang="0">
                <a:pos x="connsiteX6108" y="connsiteY6108"/>
              </a:cxn>
              <a:cxn ang="0">
                <a:pos x="connsiteX6109" y="connsiteY6109"/>
              </a:cxn>
              <a:cxn ang="0">
                <a:pos x="connsiteX6110" y="connsiteY6110"/>
              </a:cxn>
              <a:cxn ang="0">
                <a:pos x="connsiteX6111" y="connsiteY6111"/>
              </a:cxn>
              <a:cxn ang="0">
                <a:pos x="connsiteX6112" y="connsiteY6112"/>
              </a:cxn>
              <a:cxn ang="0">
                <a:pos x="connsiteX6113" y="connsiteY6113"/>
              </a:cxn>
              <a:cxn ang="0">
                <a:pos x="connsiteX6114" y="connsiteY6114"/>
              </a:cxn>
              <a:cxn ang="0">
                <a:pos x="connsiteX6115" y="connsiteY6115"/>
              </a:cxn>
              <a:cxn ang="0">
                <a:pos x="connsiteX6116" y="connsiteY6116"/>
              </a:cxn>
              <a:cxn ang="0">
                <a:pos x="connsiteX6117" y="connsiteY6117"/>
              </a:cxn>
              <a:cxn ang="0">
                <a:pos x="connsiteX6118" y="connsiteY6118"/>
              </a:cxn>
              <a:cxn ang="0">
                <a:pos x="connsiteX6119" y="connsiteY6119"/>
              </a:cxn>
              <a:cxn ang="0">
                <a:pos x="connsiteX6120" y="connsiteY6120"/>
              </a:cxn>
              <a:cxn ang="0">
                <a:pos x="connsiteX6121" y="connsiteY6121"/>
              </a:cxn>
              <a:cxn ang="0">
                <a:pos x="connsiteX6122" y="connsiteY6122"/>
              </a:cxn>
              <a:cxn ang="0">
                <a:pos x="connsiteX6123" y="connsiteY6123"/>
              </a:cxn>
              <a:cxn ang="0">
                <a:pos x="connsiteX6124" y="connsiteY6124"/>
              </a:cxn>
              <a:cxn ang="0">
                <a:pos x="connsiteX6125" y="connsiteY6125"/>
              </a:cxn>
              <a:cxn ang="0">
                <a:pos x="connsiteX6126" y="connsiteY6126"/>
              </a:cxn>
              <a:cxn ang="0">
                <a:pos x="connsiteX6127" y="connsiteY6127"/>
              </a:cxn>
              <a:cxn ang="0">
                <a:pos x="connsiteX6128" y="connsiteY6128"/>
              </a:cxn>
              <a:cxn ang="0">
                <a:pos x="connsiteX6129" y="connsiteY6129"/>
              </a:cxn>
              <a:cxn ang="0">
                <a:pos x="connsiteX6130" y="connsiteY6130"/>
              </a:cxn>
              <a:cxn ang="0">
                <a:pos x="connsiteX6131" y="connsiteY6131"/>
              </a:cxn>
              <a:cxn ang="0">
                <a:pos x="connsiteX6132" y="connsiteY6132"/>
              </a:cxn>
              <a:cxn ang="0">
                <a:pos x="connsiteX6133" y="connsiteY6133"/>
              </a:cxn>
              <a:cxn ang="0">
                <a:pos x="connsiteX6134" y="connsiteY6134"/>
              </a:cxn>
              <a:cxn ang="0">
                <a:pos x="connsiteX6135" y="connsiteY6135"/>
              </a:cxn>
              <a:cxn ang="0">
                <a:pos x="connsiteX6136" y="connsiteY6136"/>
              </a:cxn>
              <a:cxn ang="0">
                <a:pos x="connsiteX6137" y="connsiteY6137"/>
              </a:cxn>
              <a:cxn ang="0">
                <a:pos x="connsiteX6138" y="connsiteY6138"/>
              </a:cxn>
              <a:cxn ang="0">
                <a:pos x="connsiteX6139" y="connsiteY6139"/>
              </a:cxn>
              <a:cxn ang="0">
                <a:pos x="connsiteX6140" y="connsiteY6140"/>
              </a:cxn>
              <a:cxn ang="0">
                <a:pos x="connsiteX6141" y="connsiteY6141"/>
              </a:cxn>
              <a:cxn ang="0">
                <a:pos x="connsiteX6142" y="connsiteY6142"/>
              </a:cxn>
              <a:cxn ang="0">
                <a:pos x="connsiteX6143" y="connsiteY6143"/>
              </a:cxn>
              <a:cxn ang="0">
                <a:pos x="connsiteX6144" y="connsiteY6144"/>
              </a:cxn>
              <a:cxn ang="0">
                <a:pos x="connsiteX6145" y="connsiteY6145"/>
              </a:cxn>
              <a:cxn ang="0">
                <a:pos x="connsiteX6146" y="connsiteY6146"/>
              </a:cxn>
              <a:cxn ang="0">
                <a:pos x="connsiteX6147" y="connsiteY6147"/>
              </a:cxn>
              <a:cxn ang="0">
                <a:pos x="connsiteX6148" y="connsiteY6148"/>
              </a:cxn>
              <a:cxn ang="0">
                <a:pos x="connsiteX6149" y="connsiteY6149"/>
              </a:cxn>
              <a:cxn ang="0">
                <a:pos x="connsiteX6150" y="connsiteY6150"/>
              </a:cxn>
              <a:cxn ang="0">
                <a:pos x="connsiteX6151" y="connsiteY6151"/>
              </a:cxn>
              <a:cxn ang="0">
                <a:pos x="connsiteX6152" y="connsiteY6152"/>
              </a:cxn>
              <a:cxn ang="0">
                <a:pos x="connsiteX6153" y="connsiteY6153"/>
              </a:cxn>
              <a:cxn ang="0">
                <a:pos x="connsiteX6154" y="connsiteY6154"/>
              </a:cxn>
              <a:cxn ang="0">
                <a:pos x="connsiteX6155" y="connsiteY6155"/>
              </a:cxn>
              <a:cxn ang="0">
                <a:pos x="connsiteX6156" y="connsiteY6156"/>
              </a:cxn>
              <a:cxn ang="0">
                <a:pos x="connsiteX6157" y="connsiteY6157"/>
              </a:cxn>
              <a:cxn ang="0">
                <a:pos x="connsiteX6158" y="connsiteY6158"/>
              </a:cxn>
              <a:cxn ang="0">
                <a:pos x="connsiteX6159" y="connsiteY6159"/>
              </a:cxn>
              <a:cxn ang="0">
                <a:pos x="connsiteX6160" y="connsiteY6160"/>
              </a:cxn>
              <a:cxn ang="0">
                <a:pos x="connsiteX6161" y="connsiteY6161"/>
              </a:cxn>
              <a:cxn ang="0">
                <a:pos x="connsiteX6162" y="connsiteY6162"/>
              </a:cxn>
              <a:cxn ang="0">
                <a:pos x="connsiteX6163" y="connsiteY6163"/>
              </a:cxn>
              <a:cxn ang="0">
                <a:pos x="connsiteX6164" y="connsiteY6164"/>
              </a:cxn>
              <a:cxn ang="0">
                <a:pos x="connsiteX6165" y="connsiteY6165"/>
              </a:cxn>
              <a:cxn ang="0">
                <a:pos x="connsiteX6166" y="connsiteY6166"/>
              </a:cxn>
              <a:cxn ang="0">
                <a:pos x="connsiteX6167" y="connsiteY6167"/>
              </a:cxn>
              <a:cxn ang="0">
                <a:pos x="connsiteX6168" y="connsiteY6168"/>
              </a:cxn>
              <a:cxn ang="0">
                <a:pos x="connsiteX6169" y="connsiteY6169"/>
              </a:cxn>
              <a:cxn ang="0">
                <a:pos x="connsiteX6170" y="connsiteY6170"/>
              </a:cxn>
              <a:cxn ang="0">
                <a:pos x="connsiteX6171" y="connsiteY6171"/>
              </a:cxn>
              <a:cxn ang="0">
                <a:pos x="connsiteX6172" y="connsiteY6172"/>
              </a:cxn>
              <a:cxn ang="0">
                <a:pos x="connsiteX6173" y="connsiteY6173"/>
              </a:cxn>
              <a:cxn ang="0">
                <a:pos x="connsiteX6174" y="connsiteY6174"/>
              </a:cxn>
              <a:cxn ang="0">
                <a:pos x="connsiteX6175" y="connsiteY6175"/>
              </a:cxn>
              <a:cxn ang="0">
                <a:pos x="connsiteX6176" y="connsiteY6176"/>
              </a:cxn>
              <a:cxn ang="0">
                <a:pos x="connsiteX6177" y="connsiteY6177"/>
              </a:cxn>
              <a:cxn ang="0">
                <a:pos x="connsiteX6178" y="connsiteY6178"/>
              </a:cxn>
              <a:cxn ang="0">
                <a:pos x="connsiteX6179" y="connsiteY6179"/>
              </a:cxn>
              <a:cxn ang="0">
                <a:pos x="connsiteX6180" y="connsiteY6180"/>
              </a:cxn>
              <a:cxn ang="0">
                <a:pos x="connsiteX6181" y="connsiteY6181"/>
              </a:cxn>
              <a:cxn ang="0">
                <a:pos x="connsiteX6182" y="connsiteY6182"/>
              </a:cxn>
              <a:cxn ang="0">
                <a:pos x="connsiteX6183" y="connsiteY6183"/>
              </a:cxn>
              <a:cxn ang="0">
                <a:pos x="connsiteX6184" y="connsiteY6184"/>
              </a:cxn>
              <a:cxn ang="0">
                <a:pos x="connsiteX6185" y="connsiteY6185"/>
              </a:cxn>
              <a:cxn ang="0">
                <a:pos x="connsiteX6186" y="connsiteY6186"/>
              </a:cxn>
              <a:cxn ang="0">
                <a:pos x="connsiteX6187" y="connsiteY6187"/>
              </a:cxn>
              <a:cxn ang="0">
                <a:pos x="connsiteX6188" y="connsiteY6188"/>
              </a:cxn>
              <a:cxn ang="0">
                <a:pos x="connsiteX6189" y="connsiteY6189"/>
              </a:cxn>
              <a:cxn ang="0">
                <a:pos x="connsiteX6190" y="connsiteY6190"/>
              </a:cxn>
              <a:cxn ang="0">
                <a:pos x="connsiteX6191" y="connsiteY6191"/>
              </a:cxn>
              <a:cxn ang="0">
                <a:pos x="connsiteX6192" y="connsiteY6192"/>
              </a:cxn>
              <a:cxn ang="0">
                <a:pos x="connsiteX6193" y="connsiteY6193"/>
              </a:cxn>
              <a:cxn ang="0">
                <a:pos x="connsiteX6194" y="connsiteY6194"/>
              </a:cxn>
              <a:cxn ang="0">
                <a:pos x="connsiteX6195" y="connsiteY6195"/>
              </a:cxn>
              <a:cxn ang="0">
                <a:pos x="connsiteX6196" y="connsiteY6196"/>
              </a:cxn>
              <a:cxn ang="0">
                <a:pos x="connsiteX6197" y="connsiteY6197"/>
              </a:cxn>
              <a:cxn ang="0">
                <a:pos x="connsiteX6198" y="connsiteY6198"/>
              </a:cxn>
              <a:cxn ang="0">
                <a:pos x="connsiteX6199" y="connsiteY6199"/>
              </a:cxn>
              <a:cxn ang="0">
                <a:pos x="connsiteX6200" y="connsiteY6200"/>
              </a:cxn>
              <a:cxn ang="0">
                <a:pos x="connsiteX6201" y="connsiteY6201"/>
              </a:cxn>
              <a:cxn ang="0">
                <a:pos x="connsiteX6202" y="connsiteY6202"/>
              </a:cxn>
              <a:cxn ang="0">
                <a:pos x="connsiteX6203" y="connsiteY6203"/>
              </a:cxn>
              <a:cxn ang="0">
                <a:pos x="connsiteX6204" y="connsiteY6204"/>
              </a:cxn>
              <a:cxn ang="0">
                <a:pos x="connsiteX6205" y="connsiteY6205"/>
              </a:cxn>
              <a:cxn ang="0">
                <a:pos x="connsiteX6206" y="connsiteY6206"/>
              </a:cxn>
              <a:cxn ang="0">
                <a:pos x="connsiteX6207" y="connsiteY6207"/>
              </a:cxn>
              <a:cxn ang="0">
                <a:pos x="connsiteX6208" y="connsiteY6208"/>
              </a:cxn>
              <a:cxn ang="0">
                <a:pos x="connsiteX6209" y="connsiteY6209"/>
              </a:cxn>
              <a:cxn ang="0">
                <a:pos x="connsiteX6210" y="connsiteY6210"/>
              </a:cxn>
              <a:cxn ang="0">
                <a:pos x="connsiteX6211" y="connsiteY6211"/>
              </a:cxn>
              <a:cxn ang="0">
                <a:pos x="connsiteX6212" y="connsiteY6212"/>
              </a:cxn>
              <a:cxn ang="0">
                <a:pos x="connsiteX6213" y="connsiteY6213"/>
              </a:cxn>
              <a:cxn ang="0">
                <a:pos x="connsiteX6214" y="connsiteY6214"/>
              </a:cxn>
              <a:cxn ang="0">
                <a:pos x="connsiteX6215" y="connsiteY6215"/>
              </a:cxn>
              <a:cxn ang="0">
                <a:pos x="connsiteX6216" y="connsiteY6216"/>
              </a:cxn>
              <a:cxn ang="0">
                <a:pos x="connsiteX6217" y="connsiteY6217"/>
              </a:cxn>
              <a:cxn ang="0">
                <a:pos x="connsiteX6218" y="connsiteY6218"/>
              </a:cxn>
              <a:cxn ang="0">
                <a:pos x="connsiteX6219" y="connsiteY6219"/>
              </a:cxn>
              <a:cxn ang="0">
                <a:pos x="connsiteX6220" y="connsiteY6220"/>
              </a:cxn>
              <a:cxn ang="0">
                <a:pos x="connsiteX6221" y="connsiteY6221"/>
              </a:cxn>
              <a:cxn ang="0">
                <a:pos x="connsiteX6222" y="connsiteY6222"/>
              </a:cxn>
              <a:cxn ang="0">
                <a:pos x="connsiteX6223" y="connsiteY6223"/>
              </a:cxn>
              <a:cxn ang="0">
                <a:pos x="connsiteX6224" y="connsiteY6224"/>
              </a:cxn>
              <a:cxn ang="0">
                <a:pos x="connsiteX6225" y="connsiteY6225"/>
              </a:cxn>
              <a:cxn ang="0">
                <a:pos x="connsiteX6226" y="connsiteY6226"/>
              </a:cxn>
              <a:cxn ang="0">
                <a:pos x="connsiteX6227" y="connsiteY6227"/>
              </a:cxn>
              <a:cxn ang="0">
                <a:pos x="connsiteX6228" y="connsiteY6228"/>
              </a:cxn>
              <a:cxn ang="0">
                <a:pos x="connsiteX6229" y="connsiteY6229"/>
              </a:cxn>
              <a:cxn ang="0">
                <a:pos x="connsiteX6230" y="connsiteY6230"/>
              </a:cxn>
              <a:cxn ang="0">
                <a:pos x="connsiteX6231" y="connsiteY6231"/>
              </a:cxn>
              <a:cxn ang="0">
                <a:pos x="connsiteX6232" y="connsiteY6232"/>
              </a:cxn>
              <a:cxn ang="0">
                <a:pos x="connsiteX6233" y="connsiteY6233"/>
              </a:cxn>
              <a:cxn ang="0">
                <a:pos x="connsiteX6234" y="connsiteY6234"/>
              </a:cxn>
              <a:cxn ang="0">
                <a:pos x="connsiteX6235" y="connsiteY6235"/>
              </a:cxn>
              <a:cxn ang="0">
                <a:pos x="connsiteX6236" y="connsiteY6236"/>
              </a:cxn>
              <a:cxn ang="0">
                <a:pos x="connsiteX6237" y="connsiteY6237"/>
              </a:cxn>
              <a:cxn ang="0">
                <a:pos x="connsiteX6238" y="connsiteY6238"/>
              </a:cxn>
              <a:cxn ang="0">
                <a:pos x="connsiteX6239" y="connsiteY6239"/>
              </a:cxn>
              <a:cxn ang="0">
                <a:pos x="connsiteX6240" y="connsiteY6240"/>
              </a:cxn>
              <a:cxn ang="0">
                <a:pos x="connsiteX6241" y="connsiteY6241"/>
              </a:cxn>
              <a:cxn ang="0">
                <a:pos x="connsiteX6242" y="connsiteY6242"/>
              </a:cxn>
              <a:cxn ang="0">
                <a:pos x="connsiteX6243" y="connsiteY6243"/>
              </a:cxn>
              <a:cxn ang="0">
                <a:pos x="connsiteX6244" y="connsiteY6244"/>
              </a:cxn>
              <a:cxn ang="0">
                <a:pos x="connsiteX6245" y="connsiteY6245"/>
              </a:cxn>
              <a:cxn ang="0">
                <a:pos x="connsiteX6246" y="connsiteY6246"/>
              </a:cxn>
              <a:cxn ang="0">
                <a:pos x="connsiteX6247" y="connsiteY6247"/>
              </a:cxn>
              <a:cxn ang="0">
                <a:pos x="connsiteX6248" y="connsiteY6248"/>
              </a:cxn>
              <a:cxn ang="0">
                <a:pos x="connsiteX6249" y="connsiteY6249"/>
              </a:cxn>
              <a:cxn ang="0">
                <a:pos x="connsiteX6250" y="connsiteY6250"/>
              </a:cxn>
              <a:cxn ang="0">
                <a:pos x="connsiteX6251" y="connsiteY6251"/>
              </a:cxn>
              <a:cxn ang="0">
                <a:pos x="connsiteX6252" y="connsiteY6252"/>
              </a:cxn>
              <a:cxn ang="0">
                <a:pos x="connsiteX6253" y="connsiteY6253"/>
              </a:cxn>
              <a:cxn ang="0">
                <a:pos x="connsiteX6254" y="connsiteY6254"/>
              </a:cxn>
              <a:cxn ang="0">
                <a:pos x="connsiteX6255" y="connsiteY6255"/>
              </a:cxn>
              <a:cxn ang="0">
                <a:pos x="connsiteX6256" y="connsiteY6256"/>
              </a:cxn>
              <a:cxn ang="0">
                <a:pos x="connsiteX6257" y="connsiteY6257"/>
              </a:cxn>
              <a:cxn ang="0">
                <a:pos x="connsiteX6258" y="connsiteY6258"/>
              </a:cxn>
              <a:cxn ang="0">
                <a:pos x="connsiteX6259" y="connsiteY6259"/>
              </a:cxn>
              <a:cxn ang="0">
                <a:pos x="connsiteX6260" y="connsiteY6260"/>
              </a:cxn>
              <a:cxn ang="0">
                <a:pos x="connsiteX6261" y="connsiteY6261"/>
              </a:cxn>
              <a:cxn ang="0">
                <a:pos x="connsiteX6262" y="connsiteY6262"/>
              </a:cxn>
              <a:cxn ang="0">
                <a:pos x="connsiteX6263" y="connsiteY6263"/>
              </a:cxn>
              <a:cxn ang="0">
                <a:pos x="connsiteX6264" y="connsiteY6264"/>
              </a:cxn>
              <a:cxn ang="0">
                <a:pos x="connsiteX6265" y="connsiteY6265"/>
              </a:cxn>
              <a:cxn ang="0">
                <a:pos x="connsiteX6266" y="connsiteY6266"/>
              </a:cxn>
              <a:cxn ang="0">
                <a:pos x="connsiteX6267" y="connsiteY6267"/>
              </a:cxn>
              <a:cxn ang="0">
                <a:pos x="connsiteX6268" y="connsiteY6268"/>
              </a:cxn>
              <a:cxn ang="0">
                <a:pos x="connsiteX6269" y="connsiteY6269"/>
              </a:cxn>
              <a:cxn ang="0">
                <a:pos x="connsiteX6270" y="connsiteY6270"/>
              </a:cxn>
              <a:cxn ang="0">
                <a:pos x="connsiteX6271" y="connsiteY6271"/>
              </a:cxn>
              <a:cxn ang="0">
                <a:pos x="connsiteX6272" y="connsiteY6272"/>
              </a:cxn>
              <a:cxn ang="0">
                <a:pos x="connsiteX6273" y="connsiteY6273"/>
              </a:cxn>
              <a:cxn ang="0">
                <a:pos x="connsiteX6274" y="connsiteY6274"/>
              </a:cxn>
              <a:cxn ang="0">
                <a:pos x="connsiteX6275" y="connsiteY6275"/>
              </a:cxn>
              <a:cxn ang="0">
                <a:pos x="connsiteX6276" y="connsiteY6276"/>
              </a:cxn>
              <a:cxn ang="0">
                <a:pos x="connsiteX6277" y="connsiteY6277"/>
              </a:cxn>
              <a:cxn ang="0">
                <a:pos x="connsiteX6278" y="connsiteY6278"/>
              </a:cxn>
              <a:cxn ang="0">
                <a:pos x="connsiteX6279" y="connsiteY6279"/>
              </a:cxn>
              <a:cxn ang="0">
                <a:pos x="connsiteX6280" y="connsiteY6280"/>
              </a:cxn>
              <a:cxn ang="0">
                <a:pos x="connsiteX6281" y="connsiteY6281"/>
              </a:cxn>
              <a:cxn ang="0">
                <a:pos x="connsiteX6282" y="connsiteY6282"/>
              </a:cxn>
              <a:cxn ang="0">
                <a:pos x="connsiteX6283" y="connsiteY6283"/>
              </a:cxn>
              <a:cxn ang="0">
                <a:pos x="connsiteX6284" y="connsiteY6284"/>
              </a:cxn>
              <a:cxn ang="0">
                <a:pos x="connsiteX6285" y="connsiteY6285"/>
              </a:cxn>
              <a:cxn ang="0">
                <a:pos x="connsiteX6286" y="connsiteY6286"/>
              </a:cxn>
              <a:cxn ang="0">
                <a:pos x="connsiteX6287" y="connsiteY6287"/>
              </a:cxn>
              <a:cxn ang="0">
                <a:pos x="connsiteX6288" y="connsiteY6288"/>
              </a:cxn>
              <a:cxn ang="0">
                <a:pos x="connsiteX6289" y="connsiteY6289"/>
              </a:cxn>
              <a:cxn ang="0">
                <a:pos x="connsiteX6290" y="connsiteY6290"/>
              </a:cxn>
              <a:cxn ang="0">
                <a:pos x="connsiteX6291" y="connsiteY6291"/>
              </a:cxn>
              <a:cxn ang="0">
                <a:pos x="connsiteX6292" y="connsiteY6292"/>
              </a:cxn>
              <a:cxn ang="0">
                <a:pos x="connsiteX6293" y="connsiteY6293"/>
              </a:cxn>
              <a:cxn ang="0">
                <a:pos x="connsiteX6294" y="connsiteY6294"/>
              </a:cxn>
              <a:cxn ang="0">
                <a:pos x="connsiteX6295" y="connsiteY6295"/>
              </a:cxn>
              <a:cxn ang="0">
                <a:pos x="connsiteX6296" y="connsiteY6296"/>
              </a:cxn>
              <a:cxn ang="0">
                <a:pos x="connsiteX6297" y="connsiteY6297"/>
              </a:cxn>
              <a:cxn ang="0">
                <a:pos x="connsiteX6298" y="connsiteY6298"/>
              </a:cxn>
              <a:cxn ang="0">
                <a:pos x="connsiteX6299" y="connsiteY6299"/>
              </a:cxn>
              <a:cxn ang="0">
                <a:pos x="connsiteX6300" y="connsiteY6300"/>
              </a:cxn>
              <a:cxn ang="0">
                <a:pos x="connsiteX6301" y="connsiteY6301"/>
              </a:cxn>
              <a:cxn ang="0">
                <a:pos x="connsiteX6302" y="connsiteY6302"/>
              </a:cxn>
              <a:cxn ang="0">
                <a:pos x="connsiteX6303" y="connsiteY6303"/>
              </a:cxn>
              <a:cxn ang="0">
                <a:pos x="connsiteX6304" y="connsiteY6304"/>
              </a:cxn>
              <a:cxn ang="0">
                <a:pos x="connsiteX6305" y="connsiteY6305"/>
              </a:cxn>
              <a:cxn ang="0">
                <a:pos x="connsiteX6306" y="connsiteY6306"/>
              </a:cxn>
              <a:cxn ang="0">
                <a:pos x="connsiteX6307" y="connsiteY6307"/>
              </a:cxn>
              <a:cxn ang="0">
                <a:pos x="connsiteX6308" y="connsiteY6308"/>
              </a:cxn>
              <a:cxn ang="0">
                <a:pos x="connsiteX6309" y="connsiteY6309"/>
              </a:cxn>
              <a:cxn ang="0">
                <a:pos x="connsiteX6310" y="connsiteY6310"/>
              </a:cxn>
              <a:cxn ang="0">
                <a:pos x="connsiteX6311" y="connsiteY6311"/>
              </a:cxn>
              <a:cxn ang="0">
                <a:pos x="connsiteX6312" y="connsiteY6312"/>
              </a:cxn>
              <a:cxn ang="0">
                <a:pos x="connsiteX6313" y="connsiteY6313"/>
              </a:cxn>
              <a:cxn ang="0">
                <a:pos x="connsiteX6314" y="connsiteY6314"/>
              </a:cxn>
              <a:cxn ang="0">
                <a:pos x="connsiteX6315" y="connsiteY6315"/>
              </a:cxn>
              <a:cxn ang="0">
                <a:pos x="connsiteX6316" y="connsiteY6316"/>
              </a:cxn>
              <a:cxn ang="0">
                <a:pos x="connsiteX6317" y="connsiteY6317"/>
              </a:cxn>
              <a:cxn ang="0">
                <a:pos x="connsiteX6318" y="connsiteY6318"/>
              </a:cxn>
              <a:cxn ang="0">
                <a:pos x="connsiteX6319" y="connsiteY6319"/>
              </a:cxn>
              <a:cxn ang="0">
                <a:pos x="connsiteX6320" y="connsiteY6320"/>
              </a:cxn>
              <a:cxn ang="0">
                <a:pos x="connsiteX6321" y="connsiteY6321"/>
              </a:cxn>
              <a:cxn ang="0">
                <a:pos x="connsiteX6322" y="connsiteY6322"/>
              </a:cxn>
              <a:cxn ang="0">
                <a:pos x="connsiteX6323" y="connsiteY6323"/>
              </a:cxn>
              <a:cxn ang="0">
                <a:pos x="connsiteX6324" y="connsiteY6324"/>
              </a:cxn>
              <a:cxn ang="0">
                <a:pos x="connsiteX6325" y="connsiteY6325"/>
              </a:cxn>
              <a:cxn ang="0">
                <a:pos x="connsiteX6326" y="connsiteY6326"/>
              </a:cxn>
              <a:cxn ang="0">
                <a:pos x="connsiteX6327" y="connsiteY6327"/>
              </a:cxn>
              <a:cxn ang="0">
                <a:pos x="connsiteX6328" y="connsiteY6328"/>
              </a:cxn>
              <a:cxn ang="0">
                <a:pos x="connsiteX6329" y="connsiteY6329"/>
              </a:cxn>
              <a:cxn ang="0">
                <a:pos x="connsiteX6330" y="connsiteY6330"/>
              </a:cxn>
              <a:cxn ang="0">
                <a:pos x="connsiteX6331" y="connsiteY6331"/>
              </a:cxn>
              <a:cxn ang="0">
                <a:pos x="connsiteX6332" y="connsiteY6332"/>
              </a:cxn>
              <a:cxn ang="0">
                <a:pos x="connsiteX6333" y="connsiteY6333"/>
              </a:cxn>
              <a:cxn ang="0">
                <a:pos x="connsiteX6334" y="connsiteY6334"/>
              </a:cxn>
              <a:cxn ang="0">
                <a:pos x="connsiteX6335" y="connsiteY6335"/>
              </a:cxn>
              <a:cxn ang="0">
                <a:pos x="connsiteX6336" y="connsiteY6336"/>
              </a:cxn>
              <a:cxn ang="0">
                <a:pos x="connsiteX6337" y="connsiteY6337"/>
              </a:cxn>
              <a:cxn ang="0">
                <a:pos x="connsiteX6338" y="connsiteY6338"/>
              </a:cxn>
              <a:cxn ang="0">
                <a:pos x="connsiteX6339" y="connsiteY6339"/>
              </a:cxn>
              <a:cxn ang="0">
                <a:pos x="connsiteX6340" y="connsiteY6340"/>
              </a:cxn>
              <a:cxn ang="0">
                <a:pos x="connsiteX6341" y="connsiteY6341"/>
              </a:cxn>
              <a:cxn ang="0">
                <a:pos x="connsiteX6342" y="connsiteY6342"/>
              </a:cxn>
              <a:cxn ang="0">
                <a:pos x="connsiteX6343" y="connsiteY6343"/>
              </a:cxn>
              <a:cxn ang="0">
                <a:pos x="connsiteX6344" y="connsiteY6344"/>
              </a:cxn>
              <a:cxn ang="0">
                <a:pos x="connsiteX6345" y="connsiteY6345"/>
              </a:cxn>
              <a:cxn ang="0">
                <a:pos x="connsiteX6346" y="connsiteY6346"/>
              </a:cxn>
              <a:cxn ang="0">
                <a:pos x="connsiteX6347" y="connsiteY6347"/>
              </a:cxn>
              <a:cxn ang="0">
                <a:pos x="connsiteX6348" y="connsiteY6348"/>
              </a:cxn>
              <a:cxn ang="0">
                <a:pos x="connsiteX6349" y="connsiteY6349"/>
              </a:cxn>
              <a:cxn ang="0">
                <a:pos x="connsiteX6350" y="connsiteY6350"/>
              </a:cxn>
              <a:cxn ang="0">
                <a:pos x="connsiteX6351" y="connsiteY6351"/>
              </a:cxn>
              <a:cxn ang="0">
                <a:pos x="connsiteX6352" y="connsiteY6352"/>
              </a:cxn>
              <a:cxn ang="0">
                <a:pos x="connsiteX6353" y="connsiteY6353"/>
              </a:cxn>
              <a:cxn ang="0">
                <a:pos x="connsiteX6354" y="connsiteY6354"/>
              </a:cxn>
              <a:cxn ang="0">
                <a:pos x="connsiteX6355" y="connsiteY6355"/>
              </a:cxn>
              <a:cxn ang="0">
                <a:pos x="connsiteX6356" y="connsiteY6356"/>
              </a:cxn>
              <a:cxn ang="0">
                <a:pos x="connsiteX6357" y="connsiteY6357"/>
              </a:cxn>
              <a:cxn ang="0">
                <a:pos x="connsiteX6358" y="connsiteY6358"/>
              </a:cxn>
              <a:cxn ang="0">
                <a:pos x="connsiteX6359" y="connsiteY6359"/>
              </a:cxn>
              <a:cxn ang="0">
                <a:pos x="connsiteX6360" y="connsiteY6360"/>
              </a:cxn>
              <a:cxn ang="0">
                <a:pos x="connsiteX6361" y="connsiteY6361"/>
              </a:cxn>
              <a:cxn ang="0">
                <a:pos x="connsiteX6362" y="connsiteY6362"/>
              </a:cxn>
              <a:cxn ang="0">
                <a:pos x="connsiteX6363" y="connsiteY6363"/>
              </a:cxn>
              <a:cxn ang="0">
                <a:pos x="connsiteX6364" y="connsiteY6364"/>
              </a:cxn>
              <a:cxn ang="0">
                <a:pos x="connsiteX6365" y="connsiteY6365"/>
              </a:cxn>
              <a:cxn ang="0">
                <a:pos x="connsiteX6366" y="connsiteY6366"/>
              </a:cxn>
              <a:cxn ang="0">
                <a:pos x="connsiteX6367" y="connsiteY6367"/>
              </a:cxn>
              <a:cxn ang="0">
                <a:pos x="connsiteX6368" y="connsiteY6368"/>
              </a:cxn>
              <a:cxn ang="0">
                <a:pos x="connsiteX6369" y="connsiteY6369"/>
              </a:cxn>
              <a:cxn ang="0">
                <a:pos x="connsiteX6370" y="connsiteY6370"/>
              </a:cxn>
              <a:cxn ang="0">
                <a:pos x="connsiteX6371" y="connsiteY6371"/>
              </a:cxn>
              <a:cxn ang="0">
                <a:pos x="connsiteX6372" y="connsiteY6372"/>
              </a:cxn>
              <a:cxn ang="0">
                <a:pos x="connsiteX6373" y="connsiteY6373"/>
              </a:cxn>
              <a:cxn ang="0">
                <a:pos x="connsiteX6374" y="connsiteY6374"/>
              </a:cxn>
              <a:cxn ang="0">
                <a:pos x="connsiteX6375" y="connsiteY6375"/>
              </a:cxn>
              <a:cxn ang="0">
                <a:pos x="connsiteX6376" y="connsiteY6376"/>
              </a:cxn>
              <a:cxn ang="0">
                <a:pos x="connsiteX6377" y="connsiteY6377"/>
              </a:cxn>
              <a:cxn ang="0">
                <a:pos x="connsiteX6378" y="connsiteY6378"/>
              </a:cxn>
              <a:cxn ang="0">
                <a:pos x="connsiteX6379" y="connsiteY6379"/>
              </a:cxn>
              <a:cxn ang="0">
                <a:pos x="connsiteX6380" y="connsiteY6380"/>
              </a:cxn>
              <a:cxn ang="0">
                <a:pos x="connsiteX6381" y="connsiteY6381"/>
              </a:cxn>
              <a:cxn ang="0">
                <a:pos x="connsiteX6382" y="connsiteY6382"/>
              </a:cxn>
              <a:cxn ang="0">
                <a:pos x="connsiteX6383" y="connsiteY6383"/>
              </a:cxn>
              <a:cxn ang="0">
                <a:pos x="connsiteX6384" y="connsiteY6384"/>
              </a:cxn>
              <a:cxn ang="0">
                <a:pos x="connsiteX6385" y="connsiteY6385"/>
              </a:cxn>
              <a:cxn ang="0">
                <a:pos x="connsiteX6386" y="connsiteY6386"/>
              </a:cxn>
              <a:cxn ang="0">
                <a:pos x="connsiteX6387" y="connsiteY6387"/>
              </a:cxn>
              <a:cxn ang="0">
                <a:pos x="connsiteX6388" y="connsiteY6388"/>
              </a:cxn>
              <a:cxn ang="0">
                <a:pos x="connsiteX6389" y="connsiteY6389"/>
              </a:cxn>
              <a:cxn ang="0">
                <a:pos x="connsiteX6390" y="connsiteY6390"/>
              </a:cxn>
              <a:cxn ang="0">
                <a:pos x="connsiteX6391" y="connsiteY6391"/>
              </a:cxn>
              <a:cxn ang="0">
                <a:pos x="connsiteX6392" y="connsiteY6392"/>
              </a:cxn>
              <a:cxn ang="0">
                <a:pos x="connsiteX6393" y="connsiteY6393"/>
              </a:cxn>
              <a:cxn ang="0">
                <a:pos x="connsiteX6394" y="connsiteY6394"/>
              </a:cxn>
              <a:cxn ang="0">
                <a:pos x="connsiteX6395" y="connsiteY6395"/>
              </a:cxn>
              <a:cxn ang="0">
                <a:pos x="connsiteX6396" y="connsiteY6396"/>
              </a:cxn>
              <a:cxn ang="0">
                <a:pos x="connsiteX6397" y="connsiteY6397"/>
              </a:cxn>
              <a:cxn ang="0">
                <a:pos x="connsiteX6398" y="connsiteY6398"/>
              </a:cxn>
              <a:cxn ang="0">
                <a:pos x="connsiteX6399" y="connsiteY6399"/>
              </a:cxn>
              <a:cxn ang="0">
                <a:pos x="connsiteX6400" y="connsiteY6400"/>
              </a:cxn>
              <a:cxn ang="0">
                <a:pos x="connsiteX6401" y="connsiteY6401"/>
              </a:cxn>
              <a:cxn ang="0">
                <a:pos x="connsiteX6402" y="connsiteY6402"/>
              </a:cxn>
              <a:cxn ang="0">
                <a:pos x="connsiteX6403" y="connsiteY6403"/>
              </a:cxn>
              <a:cxn ang="0">
                <a:pos x="connsiteX6404" y="connsiteY6404"/>
              </a:cxn>
              <a:cxn ang="0">
                <a:pos x="connsiteX6405" y="connsiteY6405"/>
              </a:cxn>
              <a:cxn ang="0">
                <a:pos x="connsiteX6406" y="connsiteY6406"/>
              </a:cxn>
              <a:cxn ang="0">
                <a:pos x="connsiteX6407" y="connsiteY6407"/>
              </a:cxn>
              <a:cxn ang="0">
                <a:pos x="connsiteX6408" y="connsiteY6408"/>
              </a:cxn>
              <a:cxn ang="0">
                <a:pos x="connsiteX6409" y="connsiteY6409"/>
              </a:cxn>
              <a:cxn ang="0">
                <a:pos x="connsiteX6410" y="connsiteY6410"/>
              </a:cxn>
              <a:cxn ang="0">
                <a:pos x="connsiteX6411" y="connsiteY6411"/>
              </a:cxn>
              <a:cxn ang="0">
                <a:pos x="connsiteX6412" y="connsiteY6412"/>
              </a:cxn>
              <a:cxn ang="0">
                <a:pos x="connsiteX6413" y="connsiteY6413"/>
              </a:cxn>
              <a:cxn ang="0">
                <a:pos x="connsiteX6414" y="connsiteY6414"/>
              </a:cxn>
              <a:cxn ang="0">
                <a:pos x="connsiteX6415" y="connsiteY6415"/>
              </a:cxn>
              <a:cxn ang="0">
                <a:pos x="connsiteX6416" y="connsiteY6416"/>
              </a:cxn>
              <a:cxn ang="0">
                <a:pos x="connsiteX6417" y="connsiteY6417"/>
              </a:cxn>
              <a:cxn ang="0">
                <a:pos x="connsiteX6418" y="connsiteY6418"/>
              </a:cxn>
              <a:cxn ang="0">
                <a:pos x="connsiteX6419" y="connsiteY6419"/>
              </a:cxn>
              <a:cxn ang="0">
                <a:pos x="connsiteX6420" y="connsiteY6420"/>
              </a:cxn>
              <a:cxn ang="0">
                <a:pos x="connsiteX6421" y="connsiteY6421"/>
              </a:cxn>
              <a:cxn ang="0">
                <a:pos x="connsiteX6422" y="connsiteY6422"/>
              </a:cxn>
              <a:cxn ang="0">
                <a:pos x="connsiteX6423" y="connsiteY6423"/>
              </a:cxn>
              <a:cxn ang="0">
                <a:pos x="connsiteX6424" y="connsiteY6424"/>
              </a:cxn>
              <a:cxn ang="0">
                <a:pos x="connsiteX6425" y="connsiteY6425"/>
              </a:cxn>
              <a:cxn ang="0">
                <a:pos x="connsiteX6426" y="connsiteY6426"/>
              </a:cxn>
              <a:cxn ang="0">
                <a:pos x="connsiteX6427" y="connsiteY6427"/>
              </a:cxn>
              <a:cxn ang="0">
                <a:pos x="connsiteX6428" y="connsiteY6428"/>
              </a:cxn>
              <a:cxn ang="0">
                <a:pos x="connsiteX6429" y="connsiteY6429"/>
              </a:cxn>
              <a:cxn ang="0">
                <a:pos x="connsiteX6430" y="connsiteY6430"/>
              </a:cxn>
              <a:cxn ang="0">
                <a:pos x="connsiteX6431" y="connsiteY6431"/>
              </a:cxn>
              <a:cxn ang="0">
                <a:pos x="connsiteX6432" y="connsiteY6432"/>
              </a:cxn>
              <a:cxn ang="0">
                <a:pos x="connsiteX6433" y="connsiteY6433"/>
              </a:cxn>
              <a:cxn ang="0">
                <a:pos x="connsiteX6434" y="connsiteY6434"/>
              </a:cxn>
              <a:cxn ang="0">
                <a:pos x="connsiteX6435" y="connsiteY6435"/>
              </a:cxn>
              <a:cxn ang="0">
                <a:pos x="connsiteX6436" y="connsiteY6436"/>
              </a:cxn>
              <a:cxn ang="0">
                <a:pos x="connsiteX6437" y="connsiteY6437"/>
              </a:cxn>
              <a:cxn ang="0">
                <a:pos x="connsiteX6438" y="connsiteY6438"/>
              </a:cxn>
              <a:cxn ang="0">
                <a:pos x="connsiteX6439" y="connsiteY6439"/>
              </a:cxn>
              <a:cxn ang="0">
                <a:pos x="connsiteX6440" y="connsiteY6440"/>
              </a:cxn>
              <a:cxn ang="0">
                <a:pos x="connsiteX6441" y="connsiteY6441"/>
              </a:cxn>
              <a:cxn ang="0">
                <a:pos x="connsiteX6442" y="connsiteY6442"/>
              </a:cxn>
              <a:cxn ang="0">
                <a:pos x="connsiteX6443" y="connsiteY6443"/>
              </a:cxn>
              <a:cxn ang="0">
                <a:pos x="connsiteX6444" y="connsiteY6444"/>
              </a:cxn>
              <a:cxn ang="0">
                <a:pos x="connsiteX6445" y="connsiteY6445"/>
              </a:cxn>
              <a:cxn ang="0">
                <a:pos x="connsiteX6446" y="connsiteY6446"/>
              </a:cxn>
              <a:cxn ang="0">
                <a:pos x="connsiteX6447" y="connsiteY6447"/>
              </a:cxn>
              <a:cxn ang="0">
                <a:pos x="connsiteX6448" y="connsiteY6448"/>
              </a:cxn>
              <a:cxn ang="0">
                <a:pos x="connsiteX6449" y="connsiteY6449"/>
              </a:cxn>
              <a:cxn ang="0">
                <a:pos x="connsiteX6450" y="connsiteY6450"/>
              </a:cxn>
              <a:cxn ang="0">
                <a:pos x="connsiteX6451" y="connsiteY6451"/>
              </a:cxn>
              <a:cxn ang="0">
                <a:pos x="connsiteX6452" y="connsiteY6452"/>
              </a:cxn>
              <a:cxn ang="0">
                <a:pos x="connsiteX6453" y="connsiteY6453"/>
              </a:cxn>
              <a:cxn ang="0">
                <a:pos x="connsiteX6454" y="connsiteY6454"/>
              </a:cxn>
              <a:cxn ang="0">
                <a:pos x="connsiteX6455" y="connsiteY6455"/>
              </a:cxn>
              <a:cxn ang="0">
                <a:pos x="connsiteX6456" y="connsiteY6456"/>
              </a:cxn>
              <a:cxn ang="0">
                <a:pos x="connsiteX6457" y="connsiteY6457"/>
              </a:cxn>
              <a:cxn ang="0">
                <a:pos x="connsiteX6458" y="connsiteY6458"/>
              </a:cxn>
              <a:cxn ang="0">
                <a:pos x="connsiteX6459" y="connsiteY6459"/>
              </a:cxn>
              <a:cxn ang="0">
                <a:pos x="connsiteX6460" y="connsiteY6460"/>
              </a:cxn>
              <a:cxn ang="0">
                <a:pos x="connsiteX6461" y="connsiteY6461"/>
              </a:cxn>
              <a:cxn ang="0">
                <a:pos x="connsiteX6462" y="connsiteY6462"/>
              </a:cxn>
              <a:cxn ang="0">
                <a:pos x="connsiteX6463" y="connsiteY6463"/>
              </a:cxn>
              <a:cxn ang="0">
                <a:pos x="connsiteX6464" y="connsiteY6464"/>
              </a:cxn>
              <a:cxn ang="0">
                <a:pos x="connsiteX6465" y="connsiteY6465"/>
              </a:cxn>
              <a:cxn ang="0">
                <a:pos x="connsiteX6466" y="connsiteY6466"/>
              </a:cxn>
              <a:cxn ang="0">
                <a:pos x="connsiteX6467" y="connsiteY6467"/>
              </a:cxn>
              <a:cxn ang="0">
                <a:pos x="connsiteX6468" y="connsiteY6468"/>
              </a:cxn>
              <a:cxn ang="0">
                <a:pos x="connsiteX6469" y="connsiteY6469"/>
              </a:cxn>
              <a:cxn ang="0">
                <a:pos x="connsiteX6470" y="connsiteY6470"/>
              </a:cxn>
              <a:cxn ang="0">
                <a:pos x="connsiteX6471" y="connsiteY6471"/>
              </a:cxn>
              <a:cxn ang="0">
                <a:pos x="connsiteX6472" y="connsiteY6472"/>
              </a:cxn>
              <a:cxn ang="0">
                <a:pos x="connsiteX6473" y="connsiteY6473"/>
              </a:cxn>
              <a:cxn ang="0">
                <a:pos x="connsiteX6474" y="connsiteY6474"/>
              </a:cxn>
              <a:cxn ang="0">
                <a:pos x="connsiteX6475" y="connsiteY6475"/>
              </a:cxn>
              <a:cxn ang="0">
                <a:pos x="connsiteX6476" y="connsiteY6476"/>
              </a:cxn>
              <a:cxn ang="0">
                <a:pos x="connsiteX6477" y="connsiteY6477"/>
              </a:cxn>
              <a:cxn ang="0">
                <a:pos x="connsiteX6478" y="connsiteY6478"/>
              </a:cxn>
              <a:cxn ang="0">
                <a:pos x="connsiteX6479" y="connsiteY6479"/>
              </a:cxn>
              <a:cxn ang="0">
                <a:pos x="connsiteX6480" y="connsiteY6480"/>
              </a:cxn>
              <a:cxn ang="0">
                <a:pos x="connsiteX6481" y="connsiteY6481"/>
              </a:cxn>
              <a:cxn ang="0">
                <a:pos x="connsiteX6482" y="connsiteY6482"/>
              </a:cxn>
              <a:cxn ang="0">
                <a:pos x="connsiteX6483" y="connsiteY6483"/>
              </a:cxn>
              <a:cxn ang="0">
                <a:pos x="connsiteX6484" y="connsiteY6484"/>
              </a:cxn>
              <a:cxn ang="0">
                <a:pos x="connsiteX6485" y="connsiteY6485"/>
              </a:cxn>
              <a:cxn ang="0">
                <a:pos x="connsiteX6486" y="connsiteY6486"/>
              </a:cxn>
              <a:cxn ang="0">
                <a:pos x="connsiteX6487" y="connsiteY6487"/>
              </a:cxn>
              <a:cxn ang="0">
                <a:pos x="connsiteX6488" y="connsiteY6488"/>
              </a:cxn>
              <a:cxn ang="0">
                <a:pos x="connsiteX6489" y="connsiteY6489"/>
              </a:cxn>
              <a:cxn ang="0">
                <a:pos x="connsiteX6490" y="connsiteY6490"/>
              </a:cxn>
              <a:cxn ang="0">
                <a:pos x="connsiteX6491" y="connsiteY6491"/>
              </a:cxn>
              <a:cxn ang="0">
                <a:pos x="connsiteX6492" y="connsiteY6492"/>
              </a:cxn>
              <a:cxn ang="0">
                <a:pos x="connsiteX6493" y="connsiteY6493"/>
              </a:cxn>
              <a:cxn ang="0">
                <a:pos x="connsiteX6494" y="connsiteY6494"/>
              </a:cxn>
              <a:cxn ang="0">
                <a:pos x="connsiteX6495" y="connsiteY6495"/>
              </a:cxn>
              <a:cxn ang="0">
                <a:pos x="connsiteX6496" y="connsiteY6496"/>
              </a:cxn>
              <a:cxn ang="0">
                <a:pos x="connsiteX6497" y="connsiteY6497"/>
              </a:cxn>
              <a:cxn ang="0">
                <a:pos x="connsiteX6498" y="connsiteY6498"/>
              </a:cxn>
              <a:cxn ang="0">
                <a:pos x="connsiteX6499" y="connsiteY6499"/>
              </a:cxn>
              <a:cxn ang="0">
                <a:pos x="connsiteX6500" y="connsiteY6500"/>
              </a:cxn>
              <a:cxn ang="0">
                <a:pos x="connsiteX6501" y="connsiteY6501"/>
              </a:cxn>
              <a:cxn ang="0">
                <a:pos x="connsiteX6502" y="connsiteY6502"/>
              </a:cxn>
              <a:cxn ang="0">
                <a:pos x="connsiteX6503" y="connsiteY6503"/>
              </a:cxn>
              <a:cxn ang="0">
                <a:pos x="connsiteX6504" y="connsiteY6504"/>
              </a:cxn>
              <a:cxn ang="0">
                <a:pos x="connsiteX6505" y="connsiteY6505"/>
              </a:cxn>
              <a:cxn ang="0">
                <a:pos x="connsiteX6506" y="connsiteY6506"/>
              </a:cxn>
              <a:cxn ang="0">
                <a:pos x="connsiteX6507" y="connsiteY6507"/>
              </a:cxn>
              <a:cxn ang="0">
                <a:pos x="connsiteX6508" y="connsiteY6508"/>
              </a:cxn>
              <a:cxn ang="0">
                <a:pos x="connsiteX6509" y="connsiteY6509"/>
              </a:cxn>
              <a:cxn ang="0">
                <a:pos x="connsiteX6510" y="connsiteY6510"/>
              </a:cxn>
              <a:cxn ang="0">
                <a:pos x="connsiteX6511" y="connsiteY6511"/>
              </a:cxn>
              <a:cxn ang="0">
                <a:pos x="connsiteX6512" y="connsiteY6512"/>
              </a:cxn>
              <a:cxn ang="0">
                <a:pos x="connsiteX6513" y="connsiteY6513"/>
              </a:cxn>
              <a:cxn ang="0">
                <a:pos x="connsiteX6514" y="connsiteY6514"/>
              </a:cxn>
              <a:cxn ang="0">
                <a:pos x="connsiteX6515" y="connsiteY6515"/>
              </a:cxn>
              <a:cxn ang="0">
                <a:pos x="connsiteX6516" y="connsiteY6516"/>
              </a:cxn>
              <a:cxn ang="0">
                <a:pos x="connsiteX6517" y="connsiteY6517"/>
              </a:cxn>
              <a:cxn ang="0">
                <a:pos x="connsiteX6518" y="connsiteY6518"/>
              </a:cxn>
              <a:cxn ang="0">
                <a:pos x="connsiteX6519" y="connsiteY6519"/>
              </a:cxn>
              <a:cxn ang="0">
                <a:pos x="connsiteX6520" y="connsiteY6520"/>
              </a:cxn>
              <a:cxn ang="0">
                <a:pos x="connsiteX6521" y="connsiteY6521"/>
              </a:cxn>
              <a:cxn ang="0">
                <a:pos x="connsiteX6522" y="connsiteY6522"/>
              </a:cxn>
              <a:cxn ang="0">
                <a:pos x="connsiteX6523" y="connsiteY6523"/>
              </a:cxn>
              <a:cxn ang="0">
                <a:pos x="connsiteX6524" y="connsiteY6524"/>
              </a:cxn>
              <a:cxn ang="0">
                <a:pos x="connsiteX6525" y="connsiteY6525"/>
              </a:cxn>
              <a:cxn ang="0">
                <a:pos x="connsiteX6526" y="connsiteY6526"/>
              </a:cxn>
              <a:cxn ang="0">
                <a:pos x="connsiteX6527" y="connsiteY6527"/>
              </a:cxn>
              <a:cxn ang="0">
                <a:pos x="connsiteX6528" y="connsiteY6528"/>
              </a:cxn>
              <a:cxn ang="0">
                <a:pos x="connsiteX6529" y="connsiteY6529"/>
              </a:cxn>
              <a:cxn ang="0">
                <a:pos x="connsiteX6530" y="connsiteY6530"/>
              </a:cxn>
              <a:cxn ang="0">
                <a:pos x="connsiteX6531" y="connsiteY6531"/>
              </a:cxn>
              <a:cxn ang="0">
                <a:pos x="connsiteX6532" y="connsiteY6532"/>
              </a:cxn>
              <a:cxn ang="0">
                <a:pos x="connsiteX6533" y="connsiteY6533"/>
              </a:cxn>
              <a:cxn ang="0">
                <a:pos x="connsiteX6534" y="connsiteY6534"/>
              </a:cxn>
              <a:cxn ang="0">
                <a:pos x="connsiteX6535" y="connsiteY6535"/>
              </a:cxn>
              <a:cxn ang="0">
                <a:pos x="connsiteX6536" y="connsiteY6536"/>
              </a:cxn>
              <a:cxn ang="0">
                <a:pos x="connsiteX6537" y="connsiteY6537"/>
              </a:cxn>
              <a:cxn ang="0">
                <a:pos x="connsiteX6538" y="connsiteY6538"/>
              </a:cxn>
              <a:cxn ang="0">
                <a:pos x="connsiteX6539" y="connsiteY6539"/>
              </a:cxn>
              <a:cxn ang="0">
                <a:pos x="connsiteX6540" y="connsiteY6540"/>
              </a:cxn>
              <a:cxn ang="0">
                <a:pos x="connsiteX6541" y="connsiteY6541"/>
              </a:cxn>
              <a:cxn ang="0">
                <a:pos x="connsiteX6542" y="connsiteY6542"/>
              </a:cxn>
              <a:cxn ang="0">
                <a:pos x="connsiteX6543" y="connsiteY6543"/>
              </a:cxn>
              <a:cxn ang="0">
                <a:pos x="connsiteX6544" y="connsiteY6544"/>
              </a:cxn>
              <a:cxn ang="0">
                <a:pos x="connsiteX6545" y="connsiteY6545"/>
              </a:cxn>
              <a:cxn ang="0">
                <a:pos x="connsiteX6546" y="connsiteY6546"/>
              </a:cxn>
              <a:cxn ang="0">
                <a:pos x="connsiteX6547" y="connsiteY6547"/>
              </a:cxn>
              <a:cxn ang="0">
                <a:pos x="connsiteX6548" y="connsiteY6548"/>
              </a:cxn>
              <a:cxn ang="0">
                <a:pos x="connsiteX6549" y="connsiteY6549"/>
              </a:cxn>
              <a:cxn ang="0">
                <a:pos x="connsiteX6550" y="connsiteY6550"/>
              </a:cxn>
              <a:cxn ang="0">
                <a:pos x="connsiteX6551" y="connsiteY6551"/>
              </a:cxn>
              <a:cxn ang="0">
                <a:pos x="connsiteX6552" y="connsiteY6552"/>
              </a:cxn>
              <a:cxn ang="0">
                <a:pos x="connsiteX6553" y="connsiteY6553"/>
              </a:cxn>
              <a:cxn ang="0">
                <a:pos x="connsiteX6554" y="connsiteY6554"/>
              </a:cxn>
              <a:cxn ang="0">
                <a:pos x="connsiteX6555" y="connsiteY6555"/>
              </a:cxn>
              <a:cxn ang="0">
                <a:pos x="connsiteX6556" y="connsiteY6556"/>
              </a:cxn>
              <a:cxn ang="0">
                <a:pos x="connsiteX6557" y="connsiteY6557"/>
              </a:cxn>
              <a:cxn ang="0">
                <a:pos x="connsiteX6558" y="connsiteY6558"/>
              </a:cxn>
              <a:cxn ang="0">
                <a:pos x="connsiteX6559" y="connsiteY6559"/>
              </a:cxn>
              <a:cxn ang="0">
                <a:pos x="connsiteX6560" y="connsiteY6560"/>
              </a:cxn>
              <a:cxn ang="0">
                <a:pos x="connsiteX6561" y="connsiteY6561"/>
              </a:cxn>
              <a:cxn ang="0">
                <a:pos x="connsiteX6562" y="connsiteY6562"/>
              </a:cxn>
              <a:cxn ang="0">
                <a:pos x="connsiteX6563" y="connsiteY6563"/>
              </a:cxn>
              <a:cxn ang="0">
                <a:pos x="connsiteX6564" y="connsiteY6564"/>
              </a:cxn>
              <a:cxn ang="0">
                <a:pos x="connsiteX6565" y="connsiteY6565"/>
              </a:cxn>
              <a:cxn ang="0">
                <a:pos x="connsiteX6566" y="connsiteY6566"/>
              </a:cxn>
              <a:cxn ang="0">
                <a:pos x="connsiteX6567" y="connsiteY6567"/>
              </a:cxn>
              <a:cxn ang="0">
                <a:pos x="connsiteX6568" y="connsiteY6568"/>
              </a:cxn>
              <a:cxn ang="0">
                <a:pos x="connsiteX6569" y="connsiteY6569"/>
              </a:cxn>
              <a:cxn ang="0">
                <a:pos x="connsiteX6570" y="connsiteY6570"/>
              </a:cxn>
              <a:cxn ang="0">
                <a:pos x="connsiteX6571" y="connsiteY6571"/>
              </a:cxn>
              <a:cxn ang="0">
                <a:pos x="connsiteX6572" y="connsiteY6572"/>
              </a:cxn>
              <a:cxn ang="0">
                <a:pos x="connsiteX6573" y="connsiteY6573"/>
              </a:cxn>
              <a:cxn ang="0">
                <a:pos x="connsiteX6574" y="connsiteY6574"/>
              </a:cxn>
              <a:cxn ang="0">
                <a:pos x="connsiteX6575" y="connsiteY6575"/>
              </a:cxn>
              <a:cxn ang="0">
                <a:pos x="connsiteX6576" y="connsiteY6576"/>
              </a:cxn>
              <a:cxn ang="0">
                <a:pos x="connsiteX6577" y="connsiteY6577"/>
              </a:cxn>
              <a:cxn ang="0">
                <a:pos x="connsiteX6578" y="connsiteY6578"/>
              </a:cxn>
              <a:cxn ang="0">
                <a:pos x="connsiteX6579" y="connsiteY6579"/>
              </a:cxn>
              <a:cxn ang="0">
                <a:pos x="connsiteX6580" y="connsiteY6580"/>
              </a:cxn>
              <a:cxn ang="0">
                <a:pos x="connsiteX6581" y="connsiteY6581"/>
              </a:cxn>
              <a:cxn ang="0">
                <a:pos x="connsiteX6582" y="connsiteY6582"/>
              </a:cxn>
              <a:cxn ang="0">
                <a:pos x="connsiteX6583" y="connsiteY6583"/>
              </a:cxn>
              <a:cxn ang="0">
                <a:pos x="connsiteX6584" y="connsiteY6584"/>
              </a:cxn>
              <a:cxn ang="0">
                <a:pos x="connsiteX6585" y="connsiteY6585"/>
              </a:cxn>
              <a:cxn ang="0">
                <a:pos x="connsiteX6586" y="connsiteY6586"/>
              </a:cxn>
              <a:cxn ang="0">
                <a:pos x="connsiteX6587" y="connsiteY6587"/>
              </a:cxn>
              <a:cxn ang="0">
                <a:pos x="connsiteX6588" y="connsiteY6588"/>
              </a:cxn>
              <a:cxn ang="0">
                <a:pos x="connsiteX6589" y="connsiteY6589"/>
              </a:cxn>
              <a:cxn ang="0">
                <a:pos x="connsiteX6590" y="connsiteY6590"/>
              </a:cxn>
              <a:cxn ang="0">
                <a:pos x="connsiteX6591" y="connsiteY6591"/>
              </a:cxn>
              <a:cxn ang="0">
                <a:pos x="connsiteX6592" y="connsiteY6592"/>
              </a:cxn>
              <a:cxn ang="0">
                <a:pos x="connsiteX6593" y="connsiteY6593"/>
              </a:cxn>
              <a:cxn ang="0">
                <a:pos x="connsiteX6594" y="connsiteY6594"/>
              </a:cxn>
              <a:cxn ang="0">
                <a:pos x="connsiteX6595" y="connsiteY6595"/>
              </a:cxn>
              <a:cxn ang="0">
                <a:pos x="connsiteX6596" y="connsiteY6596"/>
              </a:cxn>
              <a:cxn ang="0">
                <a:pos x="connsiteX6597" y="connsiteY6597"/>
              </a:cxn>
              <a:cxn ang="0">
                <a:pos x="connsiteX6598" y="connsiteY6598"/>
              </a:cxn>
              <a:cxn ang="0">
                <a:pos x="connsiteX6599" y="connsiteY6599"/>
              </a:cxn>
              <a:cxn ang="0">
                <a:pos x="connsiteX6600" y="connsiteY6600"/>
              </a:cxn>
              <a:cxn ang="0">
                <a:pos x="connsiteX6601" y="connsiteY6601"/>
              </a:cxn>
              <a:cxn ang="0">
                <a:pos x="connsiteX6602" y="connsiteY6602"/>
              </a:cxn>
              <a:cxn ang="0">
                <a:pos x="connsiteX6603" y="connsiteY6603"/>
              </a:cxn>
              <a:cxn ang="0">
                <a:pos x="connsiteX6604" y="connsiteY6604"/>
              </a:cxn>
              <a:cxn ang="0">
                <a:pos x="connsiteX6605" y="connsiteY6605"/>
              </a:cxn>
              <a:cxn ang="0">
                <a:pos x="connsiteX6606" y="connsiteY6606"/>
              </a:cxn>
              <a:cxn ang="0">
                <a:pos x="connsiteX6607" y="connsiteY6607"/>
              </a:cxn>
              <a:cxn ang="0">
                <a:pos x="connsiteX6608" y="connsiteY6608"/>
              </a:cxn>
              <a:cxn ang="0">
                <a:pos x="connsiteX6609" y="connsiteY6609"/>
              </a:cxn>
              <a:cxn ang="0">
                <a:pos x="connsiteX6610" y="connsiteY6610"/>
              </a:cxn>
              <a:cxn ang="0">
                <a:pos x="connsiteX6611" y="connsiteY6611"/>
              </a:cxn>
              <a:cxn ang="0">
                <a:pos x="connsiteX6612" y="connsiteY6612"/>
              </a:cxn>
              <a:cxn ang="0">
                <a:pos x="connsiteX6613" y="connsiteY6613"/>
              </a:cxn>
              <a:cxn ang="0">
                <a:pos x="connsiteX6614" y="connsiteY6614"/>
              </a:cxn>
              <a:cxn ang="0">
                <a:pos x="connsiteX6615" y="connsiteY6615"/>
              </a:cxn>
              <a:cxn ang="0">
                <a:pos x="connsiteX6616" y="connsiteY6616"/>
              </a:cxn>
              <a:cxn ang="0">
                <a:pos x="connsiteX6617" y="connsiteY6617"/>
              </a:cxn>
              <a:cxn ang="0">
                <a:pos x="connsiteX6618" y="connsiteY6618"/>
              </a:cxn>
              <a:cxn ang="0">
                <a:pos x="connsiteX6619" y="connsiteY6619"/>
              </a:cxn>
              <a:cxn ang="0">
                <a:pos x="connsiteX6620" y="connsiteY6620"/>
              </a:cxn>
              <a:cxn ang="0">
                <a:pos x="connsiteX6621" y="connsiteY6621"/>
              </a:cxn>
              <a:cxn ang="0">
                <a:pos x="connsiteX6622" y="connsiteY6622"/>
              </a:cxn>
              <a:cxn ang="0">
                <a:pos x="connsiteX6623" y="connsiteY6623"/>
              </a:cxn>
              <a:cxn ang="0">
                <a:pos x="connsiteX6624" y="connsiteY6624"/>
              </a:cxn>
              <a:cxn ang="0">
                <a:pos x="connsiteX6625" y="connsiteY6625"/>
              </a:cxn>
              <a:cxn ang="0">
                <a:pos x="connsiteX6626" y="connsiteY6626"/>
              </a:cxn>
              <a:cxn ang="0">
                <a:pos x="connsiteX6627" y="connsiteY6627"/>
              </a:cxn>
              <a:cxn ang="0">
                <a:pos x="connsiteX6628" y="connsiteY6628"/>
              </a:cxn>
              <a:cxn ang="0">
                <a:pos x="connsiteX6629" y="connsiteY6629"/>
              </a:cxn>
              <a:cxn ang="0">
                <a:pos x="connsiteX6630" y="connsiteY6630"/>
              </a:cxn>
              <a:cxn ang="0">
                <a:pos x="connsiteX6631" y="connsiteY6631"/>
              </a:cxn>
              <a:cxn ang="0">
                <a:pos x="connsiteX6632" y="connsiteY6632"/>
              </a:cxn>
              <a:cxn ang="0">
                <a:pos x="connsiteX6633" y="connsiteY6633"/>
              </a:cxn>
              <a:cxn ang="0">
                <a:pos x="connsiteX6634" y="connsiteY6634"/>
              </a:cxn>
              <a:cxn ang="0">
                <a:pos x="connsiteX6635" y="connsiteY6635"/>
              </a:cxn>
              <a:cxn ang="0">
                <a:pos x="connsiteX6636" y="connsiteY6636"/>
              </a:cxn>
              <a:cxn ang="0">
                <a:pos x="connsiteX6637" y="connsiteY6637"/>
              </a:cxn>
              <a:cxn ang="0">
                <a:pos x="connsiteX6638" y="connsiteY6638"/>
              </a:cxn>
              <a:cxn ang="0">
                <a:pos x="connsiteX6639" y="connsiteY6639"/>
              </a:cxn>
              <a:cxn ang="0">
                <a:pos x="connsiteX6640" y="connsiteY6640"/>
              </a:cxn>
              <a:cxn ang="0">
                <a:pos x="connsiteX6641" y="connsiteY6641"/>
              </a:cxn>
              <a:cxn ang="0">
                <a:pos x="connsiteX6642" y="connsiteY6642"/>
              </a:cxn>
              <a:cxn ang="0">
                <a:pos x="connsiteX6643" y="connsiteY6643"/>
              </a:cxn>
              <a:cxn ang="0">
                <a:pos x="connsiteX6644" y="connsiteY6644"/>
              </a:cxn>
              <a:cxn ang="0">
                <a:pos x="connsiteX6645" y="connsiteY6645"/>
              </a:cxn>
              <a:cxn ang="0">
                <a:pos x="connsiteX6646" y="connsiteY6646"/>
              </a:cxn>
              <a:cxn ang="0">
                <a:pos x="connsiteX6647" y="connsiteY6647"/>
              </a:cxn>
              <a:cxn ang="0">
                <a:pos x="connsiteX6648" y="connsiteY6648"/>
              </a:cxn>
              <a:cxn ang="0">
                <a:pos x="connsiteX6649" y="connsiteY6649"/>
              </a:cxn>
              <a:cxn ang="0">
                <a:pos x="connsiteX6650" y="connsiteY6650"/>
              </a:cxn>
              <a:cxn ang="0">
                <a:pos x="connsiteX6651" y="connsiteY6651"/>
              </a:cxn>
              <a:cxn ang="0">
                <a:pos x="connsiteX6652" y="connsiteY6652"/>
              </a:cxn>
              <a:cxn ang="0">
                <a:pos x="connsiteX6653" y="connsiteY6653"/>
              </a:cxn>
              <a:cxn ang="0">
                <a:pos x="connsiteX6654" y="connsiteY6654"/>
              </a:cxn>
              <a:cxn ang="0">
                <a:pos x="connsiteX6655" y="connsiteY6655"/>
              </a:cxn>
              <a:cxn ang="0">
                <a:pos x="connsiteX6656" y="connsiteY6656"/>
              </a:cxn>
              <a:cxn ang="0">
                <a:pos x="connsiteX6657" y="connsiteY6657"/>
              </a:cxn>
              <a:cxn ang="0">
                <a:pos x="connsiteX6658" y="connsiteY6658"/>
              </a:cxn>
              <a:cxn ang="0">
                <a:pos x="connsiteX6659" y="connsiteY6659"/>
              </a:cxn>
              <a:cxn ang="0">
                <a:pos x="connsiteX6660" y="connsiteY6660"/>
              </a:cxn>
              <a:cxn ang="0">
                <a:pos x="connsiteX6661" y="connsiteY6661"/>
              </a:cxn>
              <a:cxn ang="0">
                <a:pos x="connsiteX6662" y="connsiteY6662"/>
              </a:cxn>
              <a:cxn ang="0">
                <a:pos x="connsiteX6663" y="connsiteY6663"/>
              </a:cxn>
              <a:cxn ang="0">
                <a:pos x="connsiteX6664" y="connsiteY6664"/>
              </a:cxn>
              <a:cxn ang="0">
                <a:pos x="connsiteX6665" y="connsiteY6665"/>
              </a:cxn>
              <a:cxn ang="0">
                <a:pos x="connsiteX6666" y="connsiteY6666"/>
              </a:cxn>
              <a:cxn ang="0">
                <a:pos x="connsiteX6667" y="connsiteY6667"/>
              </a:cxn>
              <a:cxn ang="0">
                <a:pos x="connsiteX6668" y="connsiteY6668"/>
              </a:cxn>
              <a:cxn ang="0">
                <a:pos x="connsiteX6669" y="connsiteY6669"/>
              </a:cxn>
              <a:cxn ang="0">
                <a:pos x="connsiteX6670" y="connsiteY6670"/>
              </a:cxn>
              <a:cxn ang="0">
                <a:pos x="connsiteX6671" y="connsiteY6671"/>
              </a:cxn>
              <a:cxn ang="0">
                <a:pos x="connsiteX6672" y="connsiteY6672"/>
              </a:cxn>
              <a:cxn ang="0">
                <a:pos x="connsiteX6673" y="connsiteY6673"/>
              </a:cxn>
              <a:cxn ang="0">
                <a:pos x="connsiteX6674" y="connsiteY6674"/>
              </a:cxn>
              <a:cxn ang="0">
                <a:pos x="connsiteX6675" y="connsiteY6675"/>
              </a:cxn>
              <a:cxn ang="0">
                <a:pos x="connsiteX6676" y="connsiteY6676"/>
              </a:cxn>
              <a:cxn ang="0">
                <a:pos x="connsiteX6677" y="connsiteY6677"/>
              </a:cxn>
              <a:cxn ang="0">
                <a:pos x="connsiteX6678" y="connsiteY6678"/>
              </a:cxn>
              <a:cxn ang="0">
                <a:pos x="connsiteX6679" y="connsiteY6679"/>
              </a:cxn>
              <a:cxn ang="0">
                <a:pos x="connsiteX6680" y="connsiteY6680"/>
              </a:cxn>
              <a:cxn ang="0">
                <a:pos x="connsiteX6681" y="connsiteY6681"/>
              </a:cxn>
              <a:cxn ang="0">
                <a:pos x="connsiteX6682" y="connsiteY6682"/>
              </a:cxn>
              <a:cxn ang="0">
                <a:pos x="connsiteX6683" y="connsiteY6683"/>
              </a:cxn>
              <a:cxn ang="0">
                <a:pos x="connsiteX6684" y="connsiteY6684"/>
              </a:cxn>
              <a:cxn ang="0">
                <a:pos x="connsiteX6685" y="connsiteY6685"/>
              </a:cxn>
              <a:cxn ang="0">
                <a:pos x="connsiteX6686" y="connsiteY6686"/>
              </a:cxn>
              <a:cxn ang="0">
                <a:pos x="connsiteX6687" y="connsiteY6687"/>
              </a:cxn>
              <a:cxn ang="0">
                <a:pos x="connsiteX6688" y="connsiteY6688"/>
              </a:cxn>
              <a:cxn ang="0">
                <a:pos x="connsiteX6689" y="connsiteY6689"/>
              </a:cxn>
              <a:cxn ang="0">
                <a:pos x="connsiteX6690" y="connsiteY6690"/>
              </a:cxn>
              <a:cxn ang="0">
                <a:pos x="connsiteX6691" y="connsiteY6691"/>
              </a:cxn>
              <a:cxn ang="0">
                <a:pos x="connsiteX6692" y="connsiteY6692"/>
              </a:cxn>
              <a:cxn ang="0">
                <a:pos x="connsiteX6693" y="connsiteY6693"/>
              </a:cxn>
              <a:cxn ang="0">
                <a:pos x="connsiteX6694" y="connsiteY6694"/>
              </a:cxn>
              <a:cxn ang="0">
                <a:pos x="connsiteX6695" y="connsiteY6695"/>
              </a:cxn>
              <a:cxn ang="0">
                <a:pos x="connsiteX6696" y="connsiteY6696"/>
              </a:cxn>
              <a:cxn ang="0">
                <a:pos x="connsiteX6697" y="connsiteY6697"/>
              </a:cxn>
              <a:cxn ang="0">
                <a:pos x="connsiteX6698" y="connsiteY6698"/>
              </a:cxn>
              <a:cxn ang="0">
                <a:pos x="connsiteX6699" y="connsiteY6699"/>
              </a:cxn>
              <a:cxn ang="0">
                <a:pos x="connsiteX6700" y="connsiteY6700"/>
              </a:cxn>
              <a:cxn ang="0">
                <a:pos x="connsiteX6701" y="connsiteY6701"/>
              </a:cxn>
              <a:cxn ang="0">
                <a:pos x="connsiteX6702" y="connsiteY6702"/>
              </a:cxn>
              <a:cxn ang="0">
                <a:pos x="connsiteX6703" y="connsiteY6703"/>
              </a:cxn>
              <a:cxn ang="0">
                <a:pos x="connsiteX6704" y="connsiteY6704"/>
              </a:cxn>
              <a:cxn ang="0">
                <a:pos x="connsiteX6705" y="connsiteY6705"/>
              </a:cxn>
              <a:cxn ang="0">
                <a:pos x="connsiteX6706" y="connsiteY6706"/>
              </a:cxn>
              <a:cxn ang="0">
                <a:pos x="connsiteX6707" y="connsiteY6707"/>
              </a:cxn>
              <a:cxn ang="0">
                <a:pos x="connsiteX6708" y="connsiteY6708"/>
              </a:cxn>
              <a:cxn ang="0">
                <a:pos x="connsiteX6709" y="connsiteY6709"/>
              </a:cxn>
              <a:cxn ang="0">
                <a:pos x="connsiteX6710" y="connsiteY6710"/>
              </a:cxn>
              <a:cxn ang="0">
                <a:pos x="connsiteX6711" y="connsiteY6711"/>
              </a:cxn>
              <a:cxn ang="0">
                <a:pos x="connsiteX6712" y="connsiteY6712"/>
              </a:cxn>
              <a:cxn ang="0">
                <a:pos x="connsiteX6713" y="connsiteY6713"/>
              </a:cxn>
              <a:cxn ang="0">
                <a:pos x="connsiteX6714" y="connsiteY6714"/>
              </a:cxn>
              <a:cxn ang="0">
                <a:pos x="connsiteX6715" y="connsiteY6715"/>
              </a:cxn>
              <a:cxn ang="0">
                <a:pos x="connsiteX6716" y="connsiteY6716"/>
              </a:cxn>
              <a:cxn ang="0">
                <a:pos x="connsiteX6717" y="connsiteY6717"/>
              </a:cxn>
              <a:cxn ang="0">
                <a:pos x="connsiteX6718" y="connsiteY6718"/>
              </a:cxn>
              <a:cxn ang="0">
                <a:pos x="connsiteX6719" y="connsiteY6719"/>
              </a:cxn>
              <a:cxn ang="0">
                <a:pos x="connsiteX6720" y="connsiteY6720"/>
              </a:cxn>
              <a:cxn ang="0">
                <a:pos x="connsiteX6721" y="connsiteY6721"/>
              </a:cxn>
              <a:cxn ang="0">
                <a:pos x="connsiteX6722" y="connsiteY6722"/>
              </a:cxn>
              <a:cxn ang="0">
                <a:pos x="connsiteX6723" y="connsiteY6723"/>
              </a:cxn>
              <a:cxn ang="0">
                <a:pos x="connsiteX6724" y="connsiteY6724"/>
              </a:cxn>
              <a:cxn ang="0">
                <a:pos x="connsiteX6725" y="connsiteY6725"/>
              </a:cxn>
              <a:cxn ang="0">
                <a:pos x="connsiteX6726" y="connsiteY6726"/>
              </a:cxn>
              <a:cxn ang="0">
                <a:pos x="connsiteX6727" y="connsiteY6727"/>
              </a:cxn>
              <a:cxn ang="0">
                <a:pos x="connsiteX6728" y="connsiteY6728"/>
              </a:cxn>
              <a:cxn ang="0">
                <a:pos x="connsiteX6729" y="connsiteY6729"/>
              </a:cxn>
              <a:cxn ang="0">
                <a:pos x="connsiteX6730" y="connsiteY6730"/>
              </a:cxn>
              <a:cxn ang="0">
                <a:pos x="connsiteX6731" y="connsiteY6731"/>
              </a:cxn>
              <a:cxn ang="0">
                <a:pos x="connsiteX6732" y="connsiteY6732"/>
              </a:cxn>
              <a:cxn ang="0">
                <a:pos x="connsiteX6733" y="connsiteY6733"/>
              </a:cxn>
              <a:cxn ang="0">
                <a:pos x="connsiteX6734" y="connsiteY6734"/>
              </a:cxn>
              <a:cxn ang="0">
                <a:pos x="connsiteX6735" y="connsiteY6735"/>
              </a:cxn>
              <a:cxn ang="0">
                <a:pos x="connsiteX6736" y="connsiteY6736"/>
              </a:cxn>
              <a:cxn ang="0">
                <a:pos x="connsiteX6737" y="connsiteY6737"/>
              </a:cxn>
              <a:cxn ang="0">
                <a:pos x="connsiteX6738" y="connsiteY6738"/>
              </a:cxn>
              <a:cxn ang="0">
                <a:pos x="connsiteX6739" y="connsiteY6739"/>
              </a:cxn>
              <a:cxn ang="0">
                <a:pos x="connsiteX6740" y="connsiteY6740"/>
              </a:cxn>
              <a:cxn ang="0">
                <a:pos x="connsiteX6741" y="connsiteY6741"/>
              </a:cxn>
              <a:cxn ang="0">
                <a:pos x="connsiteX6742" y="connsiteY6742"/>
              </a:cxn>
              <a:cxn ang="0">
                <a:pos x="connsiteX6743" y="connsiteY6743"/>
              </a:cxn>
              <a:cxn ang="0">
                <a:pos x="connsiteX6744" y="connsiteY6744"/>
              </a:cxn>
              <a:cxn ang="0">
                <a:pos x="connsiteX6745" y="connsiteY6745"/>
              </a:cxn>
              <a:cxn ang="0">
                <a:pos x="connsiteX6746" y="connsiteY6746"/>
              </a:cxn>
              <a:cxn ang="0">
                <a:pos x="connsiteX6747" y="connsiteY6747"/>
              </a:cxn>
              <a:cxn ang="0">
                <a:pos x="connsiteX6748" y="connsiteY6748"/>
              </a:cxn>
              <a:cxn ang="0">
                <a:pos x="connsiteX6749" y="connsiteY6749"/>
              </a:cxn>
              <a:cxn ang="0">
                <a:pos x="connsiteX6750" y="connsiteY6750"/>
              </a:cxn>
              <a:cxn ang="0">
                <a:pos x="connsiteX6751" y="connsiteY6751"/>
              </a:cxn>
              <a:cxn ang="0">
                <a:pos x="connsiteX6752" y="connsiteY6752"/>
              </a:cxn>
              <a:cxn ang="0">
                <a:pos x="connsiteX6753" y="connsiteY6753"/>
              </a:cxn>
              <a:cxn ang="0">
                <a:pos x="connsiteX6754" y="connsiteY6754"/>
              </a:cxn>
              <a:cxn ang="0">
                <a:pos x="connsiteX6755" y="connsiteY6755"/>
              </a:cxn>
              <a:cxn ang="0">
                <a:pos x="connsiteX6756" y="connsiteY6756"/>
              </a:cxn>
              <a:cxn ang="0">
                <a:pos x="connsiteX6757" y="connsiteY6757"/>
              </a:cxn>
              <a:cxn ang="0">
                <a:pos x="connsiteX6758" y="connsiteY6758"/>
              </a:cxn>
              <a:cxn ang="0">
                <a:pos x="connsiteX6759" y="connsiteY6759"/>
              </a:cxn>
              <a:cxn ang="0">
                <a:pos x="connsiteX6760" y="connsiteY6760"/>
              </a:cxn>
              <a:cxn ang="0">
                <a:pos x="connsiteX6761" y="connsiteY6761"/>
              </a:cxn>
              <a:cxn ang="0">
                <a:pos x="connsiteX6762" y="connsiteY6762"/>
              </a:cxn>
              <a:cxn ang="0">
                <a:pos x="connsiteX6763" y="connsiteY6763"/>
              </a:cxn>
              <a:cxn ang="0">
                <a:pos x="connsiteX6764" y="connsiteY6764"/>
              </a:cxn>
              <a:cxn ang="0">
                <a:pos x="connsiteX6765" y="connsiteY6765"/>
              </a:cxn>
              <a:cxn ang="0">
                <a:pos x="connsiteX6766" y="connsiteY6766"/>
              </a:cxn>
              <a:cxn ang="0">
                <a:pos x="connsiteX6767" y="connsiteY6767"/>
              </a:cxn>
              <a:cxn ang="0">
                <a:pos x="connsiteX6768" y="connsiteY6768"/>
              </a:cxn>
              <a:cxn ang="0">
                <a:pos x="connsiteX6769" y="connsiteY6769"/>
              </a:cxn>
              <a:cxn ang="0">
                <a:pos x="connsiteX6770" y="connsiteY6770"/>
              </a:cxn>
              <a:cxn ang="0">
                <a:pos x="connsiteX6771" y="connsiteY6771"/>
              </a:cxn>
              <a:cxn ang="0">
                <a:pos x="connsiteX6772" y="connsiteY6772"/>
              </a:cxn>
              <a:cxn ang="0">
                <a:pos x="connsiteX6773" y="connsiteY6773"/>
              </a:cxn>
              <a:cxn ang="0">
                <a:pos x="connsiteX6774" y="connsiteY6774"/>
              </a:cxn>
              <a:cxn ang="0">
                <a:pos x="connsiteX6775" y="connsiteY6775"/>
              </a:cxn>
              <a:cxn ang="0">
                <a:pos x="connsiteX6776" y="connsiteY6776"/>
              </a:cxn>
              <a:cxn ang="0">
                <a:pos x="connsiteX6777" y="connsiteY6777"/>
              </a:cxn>
              <a:cxn ang="0">
                <a:pos x="connsiteX6778" y="connsiteY6778"/>
              </a:cxn>
              <a:cxn ang="0">
                <a:pos x="connsiteX6779" y="connsiteY6779"/>
              </a:cxn>
              <a:cxn ang="0">
                <a:pos x="connsiteX6780" y="connsiteY6780"/>
              </a:cxn>
              <a:cxn ang="0">
                <a:pos x="connsiteX6781" y="connsiteY6781"/>
              </a:cxn>
              <a:cxn ang="0">
                <a:pos x="connsiteX6782" y="connsiteY6782"/>
              </a:cxn>
              <a:cxn ang="0">
                <a:pos x="connsiteX6783" y="connsiteY6783"/>
              </a:cxn>
              <a:cxn ang="0">
                <a:pos x="connsiteX6784" y="connsiteY6784"/>
              </a:cxn>
              <a:cxn ang="0">
                <a:pos x="connsiteX6785" y="connsiteY6785"/>
              </a:cxn>
              <a:cxn ang="0">
                <a:pos x="connsiteX6786" y="connsiteY6786"/>
              </a:cxn>
              <a:cxn ang="0">
                <a:pos x="connsiteX6787" y="connsiteY6787"/>
              </a:cxn>
              <a:cxn ang="0">
                <a:pos x="connsiteX6788" y="connsiteY6788"/>
              </a:cxn>
              <a:cxn ang="0">
                <a:pos x="connsiteX6789" y="connsiteY6789"/>
              </a:cxn>
              <a:cxn ang="0">
                <a:pos x="connsiteX6790" y="connsiteY6790"/>
              </a:cxn>
              <a:cxn ang="0">
                <a:pos x="connsiteX6791" y="connsiteY6791"/>
              </a:cxn>
              <a:cxn ang="0">
                <a:pos x="connsiteX6792" y="connsiteY6792"/>
              </a:cxn>
              <a:cxn ang="0">
                <a:pos x="connsiteX6793" y="connsiteY6793"/>
              </a:cxn>
              <a:cxn ang="0">
                <a:pos x="connsiteX6794" y="connsiteY6794"/>
              </a:cxn>
              <a:cxn ang="0">
                <a:pos x="connsiteX6795" y="connsiteY6795"/>
              </a:cxn>
              <a:cxn ang="0">
                <a:pos x="connsiteX6796" y="connsiteY6796"/>
              </a:cxn>
              <a:cxn ang="0">
                <a:pos x="connsiteX6797" y="connsiteY6797"/>
              </a:cxn>
              <a:cxn ang="0">
                <a:pos x="connsiteX6798" y="connsiteY6798"/>
              </a:cxn>
              <a:cxn ang="0">
                <a:pos x="connsiteX6799" y="connsiteY6799"/>
              </a:cxn>
              <a:cxn ang="0">
                <a:pos x="connsiteX6800" y="connsiteY6800"/>
              </a:cxn>
              <a:cxn ang="0">
                <a:pos x="connsiteX6801" y="connsiteY6801"/>
              </a:cxn>
              <a:cxn ang="0">
                <a:pos x="connsiteX6802" y="connsiteY6802"/>
              </a:cxn>
              <a:cxn ang="0">
                <a:pos x="connsiteX6803" y="connsiteY6803"/>
              </a:cxn>
              <a:cxn ang="0">
                <a:pos x="connsiteX6804" y="connsiteY6804"/>
              </a:cxn>
              <a:cxn ang="0">
                <a:pos x="connsiteX6805" y="connsiteY6805"/>
              </a:cxn>
              <a:cxn ang="0">
                <a:pos x="connsiteX6806" y="connsiteY6806"/>
              </a:cxn>
              <a:cxn ang="0">
                <a:pos x="connsiteX6807" y="connsiteY6807"/>
              </a:cxn>
              <a:cxn ang="0">
                <a:pos x="connsiteX6808" y="connsiteY6808"/>
              </a:cxn>
              <a:cxn ang="0">
                <a:pos x="connsiteX6809" y="connsiteY6809"/>
              </a:cxn>
              <a:cxn ang="0">
                <a:pos x="connsiteX6810" y="connsiteY6810"/>
              </a:cxn>
              <a:cxn ang="0">
                <a:pos x="connsiteX6811" y="connsiteY6811"/>
              </a:cxn>
              <a:cxn ang="0">
                <a:pos x="connsiteX6812" y="connsiteY6812"/>
              </a:cxn>
              <a:cxn ang="0">
                <a:pos x="connsiteX6813" y="connsiteY6813"/>
              </a:cxn>
              <a:cxn ang="0">
                <a:pos x="connsiteX6814" y="connsiteY6814"/>
              </a:cxn>
              <a:cxn ang="0">
                <a:pos x="connsiteX6815" y="connsiteY6815"/>
              </a:cxn>
              <a:cxn ang="0">
                <a:pos x="connsiteX6816" y="connsiteY6816"/>
              </a:cxn>
              <a:cxn ang="0">
                <a:pos x="connsiteX6817" y="connsiteY6817"/>
              </a:cxn>
              <a:cxn ang="0">
                <a:pos x="connsiteX6818" y="connsiteY6818"/>
              </a:cxn>
              <a:cxn ang="0">
                <a:pos x="connsiteX6819" y="connsiteY6819"/>
              </a:cxn>
              <a:cxn ang="0">
                <a:pos x="connsiteX6820" y="connsiteY6820"/>
              </a:cxn>
              <a:cxn ang="0">
                <a:pos x="connsiteX6821" y="connsiteY6821"/>
              </a:cxn>
              <a:cxn ang="0">
                <a:pos x="connsiteX6822" y="connsiteY6822"/>
              </a:cxn>
              <a:cxn ang="0">
                <a:pos x="connsiteX6823" y="connsiteY6823"/>
              </a:cxn>
              <a:cxn ang="0">
                <a:pos x="connsiteX6824" y="connsiteY6824"/>
              </a:cxn>
              <a:cxn ang="0">
                <a:pos x="connsiteX6825" y="connsiteY6825"/>
              </a:cxn>
              <a:cxn ang="0">
                <a:pos x="connsiteX6826" y="connsiteY6826"/>
              </a:cxn>
              <a:cxn ang="0">
                <a:pos x="connsiteX6827" y="connsiteY6827"/>
              </a:cxn>
              <a:cxn ang="0">
                <a:pos x="connsiteX6828" y="connsiteY6828"/>
              </a:cxn>
              <a:cxn ang="0">
                <a:pos x="connsiteX6829" y="connsiteY6829"/>
              </a:cxn>
              <a:cxn ang="0">
                <a:pos x="connsiteX6830" y="connsiteY6830"/>
              </a:cxn>
              <a:cxn ang="0">
                <a:pos x="connsiteX6831" y="connsiteY6831"/>
              </a:cxn>
              <a:cxn ang="0">
                <a:pos x="connsiteX6832" y="connsiteY6832"/>
              </a:cxn>
              <a:cxn ang="0">
                <a:pos x="connsiteX6833" y="connsiteY6833"/>
              </a:cxn>
              <a:cxn ang="0">
                <a:pos x="connsiteX6834" y="connsiteY6834"/>
              </a:cxn>
              <a:cxn ang="0">
                <a:pos x="connsiteX6835" y="connsiteY6835"/>
              </a:cxn>
              <a:cxn ang="0">
                <a:pos x="connsiteX6836" y="connsiteY6836"/>
              </a:cxn>
              <a:cxn ang="0">
                <a:pos x="connsiteX6837" y="connsiteY6837"/>
              </a:cxn>
              <a:cxn ang="0">
                <a:pos x="connsiteX6838" y="connsiteY6838"/>
              </a:cxn>
              <a:cxn ang="0">
                <a:pos x="connsiteX6839" y="connsiteY6839"/>
              </a:cxn>
              <a:cxn ang="0">
                <a:pos x="connsiteX6840" y="connsiteY6840"/>
              </a:cxn>
              <a:cxn ang="0">
                <a:pos x="connsiteX6841" y="connsiteY6841"/>
              </a:cxn>
              <a:cxn ang="0">
                <a:pos x="connsiteX6842" y="connsiteY6842"/>
              </a:cxn>
              <a:cxn ang="0">
                <a:pos x="connsiteX6843" y="connsiteY6843"/>
              </a:cxn>
              <a:cxn ang="0">
                <a:pos x="connsiteX6844" y="connsiteY6844"/>
              </a:cxn>
              <a:cxn ang="0">
                <a:pos x="connsiteX6845" y="connsiteY6845"/>
              </a:cxn>
              <a:cxn ang="0">
                <a:pos x="connsiteX6846" y="connsiteY6846"/>
              </a:cxn>
              <a:cxn ang="0">
                <a:pos x="connsiteX6847" y="connsiteY6847"/>
              </a:cxn>
              <a:cxn ang="0">
                <a:pos x="connsiteX6848" y="connsiteY6848"/>
              </a:cxn>
              <a:cxn ang="0">
                <a:pos x="connsiteX6849" y="connsiteY6849"/>
              </a:cxn>
              <a:cxn ang="0">
                <a:pos x="connsiteX6850" y="connsiteY6850"/>
              </a:cxn>
              <a:cxn ang="0">
                <a:pos x="connsiteX6851" y="connsiteY6851"/>
              </a:cxn>
              <a:cxn ang="0">
                <a:pos x="connsiteX6852" y="connsiteY6852"/>
              </a:cxn>
              <a:cxn ang="0">
                <a:pos x="connsiteX6853" y="connsiteY6853"/>
              </a:cxn>
              <a:cxn ang="0">
                <a:pos x="connsiteX6854" y="connsiteY6854"/>
              </a:cxn>
              <a:cxn ang="0">
                <a:pos x="connsiteX6855" y="connsiteY6855"/>
              </a:cxn>
              <a:cxn ang="0">
                <a:pos x="connsiteX6856" y="connsiteY6856"/>
              </a:cxn>
              <a:cxn ang="0">
                <a:pos x="connsiteX6857" y="connsiteY6857"/>
              </a:cxn>
              <a:cxn ang="0">
                <a:pos x="connsiteX6858" y="connsiteY6858"/>
              </a:cxn>
              <a:cxn ang="0">
                <a:pos x="connsiteX6859" y="connsiteY6859"/>
              </a:cxn>
              <a:cxn ang="0">
                <a:pos x="connsiteX6860" y="connsiteY6860"/>
              </a:cxn>
              <a:cxn ang="0">
                <a:pos x="connsiteX6861" y="connsiteY6861"/>
              </a:cxn>
              <a:cxn ang="0">
                <a:pos x="connsiteX6862" y="connsiteY6862"/>
              </a:cxn>
              <a:cxn ang="0">
                <a:pos x="connsiteX6863" y="connsiteY6863"/>
              </a:cxn>
              <a:cxn ang="0">
                <a:pos x="connsiteX6864" y="connsiteY6864"/>
              </a:cxn>
              <a:cxn ang="0">
                <a:pos x="connsiteX6865" y="connsiteY6865"/>
              </a:cxn>
              <a:cxn ang="0">
                <a:pos x="connsiteX6866" y="connsiteY6866"/>
              </a:cxn>
              <a:cxn ang="0">
                <a:pos x="connsiteX6867" y="connsiteY6867"/>
              </a:cxn>
              <a:cxn ang="0">
                <a:pos x="connsiteX6868" y="connsiteY6868"/>
              </a:cxn>
              <a:cxn ang="0">
                <a:pos x="connsiteX6869" y="connsiteY6869"/>
              </a:cxn>
              <a:cxn ang="0">
                <a:pos x="connsiteX6870" y="connsiteY6870"/>
              </a:cxn>
              <a:cxn ang="0">
                <a:pos x="connsiteX6871" y="connsiteY6871"/>
              </a:cxn>
              <a:cxn ang="0">
                <a:pos x="connsiteX6872" y="connsiteY6872"/>
              </a:cxn>
              <a:cxn ang="0">
                <a:pos x="connsiteX6873" y="connsiteY6873"/>
              </a:cxn>
              <a:cxn ang="0">
                <a:pos x="connsiteX6874" y="connsiteY6874"/>
              </a:cxn>
              <a:cxn ang="0">
                <a:pos x="connsiteX6875" y="connsiteY6875"/>
              </a:cxn>
              <a:cxn ang="0">
                <a:pos x="connsiteX6876" y="connsiteY6876"/>
              </a:cxn>
              <a:cxn ang="0">
                <a:pos x="connsiteX6877" y="connsiteY6877"/>
              </a:cxn>
              <a:cxn ang="0">
                <a:pos x="connsiteX6878" y="connsiteY6878"/>
              </a:cxn>
              <a:cxn ang="0">
                <a:pos x="connsiteX6879" y="connsiteY6879"/>
              </a:cxn>
              <a:cxn ang="0">
                <a:pos x="connsiteX6880" y="connsiteY6880"/>
              </a:cxn>
              <a:cxn ang="0">
                <a:pos x="connsiteX6881" y="connsiteY6881"/>
              </a:cxn>
              <a:cxn ang="0">
                <a:pos x="connsiteX6882" y="connsiteY6882"/>
              </a:cxn>
              <a:cxn ang="0">
                <a:pos x="connsiteX6883" y="connsiteY6883"/>
              </a:cxn>
              <a:cxn ang="0">
                <a:pos x="connsiteX6884" y="connsiteY6884"/>
              </a:cxn>
              <a:cxn ang="0">
                <a:pos x="connsiteX6885" y="connsiteY6885"/>
              </a:cxn>
              <a:cxn ang="0">
                <a:pos x="connsiteX6886" y="connsiteY6886"/>
              </a:cxn>
              <a:cxn ang="0">
                <a:pos x="connsiteX6887" y="connsiteY6887"/>
              </a:cxn>
              <a:cxn ang="0">
                <a:pos x="connsiteX6888" y="connsiteY6888"/>
              </a:cxn>
              <a:cxn ang="0">
                <a:pos x="connsiteX6889" y="connsiteY6889"/>
              </a:cxn>
              <a:cxn ang="0">
                <a:pos x="connsiteX6890" y="connsiteY6890"/>
              </a:cxn>
              <a:cxn ang="0">
                <a:pos x="connsiteX6891" y="connsiteY6891"/>
              </a:cxn>
              <a:cxn ang="0">
                <a:pos x="connsiteX6892" y="connsiteY6892"/>
              </a:cxn>
              <a:cxn ang="0">
                <a:pos x="connsiteX6893" y="connsiteY6893"/>
              </a:cxn>
              <a:cxn ang="0">
                <a:pos x="connsiteX6894" y="connsiteY6894"/>
              </a:cxn>
              <a:cxn ang="0">
                <a:pos x="connsiteX6895" y="connsiteY6895"/>
              </a:cxn>
              <a:cxn ang="0">
                <a:pos x="connsiteX6896" y="connsiteY6896"/>
              </a:cxn>
              <a:cxn ang="0">
                <a:pos x="connsiteX6897" y="connsiteY6897"/>
              </a:cxn>
              <a:cxn ang="0">
                <a:pos x="connsiteX6898" y="connsiteY6898"/>
              </a:cxn>
              <a:cxn ang="0">
                <a:pos x="connsiteX6899" y="connsiteY6899"/>
              </a:cxn>
              <a:cxn ang="0">
                <a:pos x="connsiteX6900" y="connsiteY6900"/>
              </a:cxn>
              <a:cxn ang="0">
                <a:pos x="connsiteX6901" y="connsiteY6901"/>
              </a:cxn>
              <a:cxn ang="0">
                <a:pos x="connsiteX6902" y="connsiteY6902"/>
              </a:cxn>
              <a:cxn ang="0">
                <a:pos x="connsiteX6903" y="connsiteY6903"/>
              </a:cxn>
              <a:cxn ang="0">
                <a:pos x="connsiteX6904" y="connsiteY6904"/>
              </a:cxn>
              <a:cxn ang="0">
                <a:pos x="connsiteX6905" y="connsiteY6905"/>
              </a:cxn>
              <a:cxn ang="0">
                <a:pos x="connsiteX6906" y="connsiteY6906"/>
              </a:cxn>
              <a:cxn ang="0">
                <a:pos x="connsiteX6907" y="connsiteY6907"/>
              </a:cxn>
              <a:cxn ang="0">
                <a:pos x="connsiteX6908" y="connsiteY6908"/>
              </a:cxn>
              <a:cxn ang="0">
                <a:pos x="connsiteX6909" y="connsiteY6909"/>
              </a:cxn>
              <a:cxn ang="0">
                <a:pos x="connsiteX6910" y="connsiteY6910"/>
              </a:cxn>
              <a:cxn ang="0">
                <a:pos x="connsiteX6911" y="connsiteY6911"/>
              </a:cxn>
              <a:cxn ang="0">
                <a:pos x="connsiteX6912" y="connsiteY6912"/>
              </a:cxn>
              <a:cxn ang="0">
                <a:pos x="connsiteX6913" y="connsiteY6913"/>
              </a:cxn>
              <a:cxn ang="0">
                <a:pos x="connsiteX6914" y="connsiteY6914"/>
              </a:cxn>
              <a:cxn ang="0">
                <a:pos x="connsiteX6915" y="connsiteY6915"/>
              </a:cxn>
              <a:cxn ang="0">
                <a:pos x="connsiteX6916" y="connsiteY6916"/>
              </a:cxn>
              <a:cxn ang="0">
                <a:pos x="connsiteX6917" y="connsiteY6917"/>
              </a:cxn>
              <a:cxn ang="0">
                <a:pos x="connsiteX6918" y="connsiteY6918"/>
              </a:cxn>
              <a:cxn ang="0">
                <a:pos x="connsiteX6919" y="connsiteY6919"/>
              </a:cxn>
              <a:cxn ang="0">
                <a:pos x="connsiteX6920" y="connsiteY6920"/>
              </a:cxn>
              <a:cxn ang="0">
                <a:pos x="connsiteX6921" y="connsiteY6921"/>
              </a:cxn>
              <a:cxn ang="0">
                <a:pos x="connsiteX6922" y="connsiteY6922"/>
              </a:cxn>
              <a:cxn ang="0">
                <a:pos x="connsiteX6923" y="connsiteY6923"/>
              </a:cxn>
              <a:cxn ang="0">
                <a:pos x="connsiteX6924" y="connsiteY6924"/>
              </a:cxn>
              <a:cxn ang="0">
                <a:pos x="connsiteX6925" y="connsiteY6925"/>
              </a:cxn>
              <a:cxn ang="0">
                <a:pos x="connsiteX6926" y="connsiteY6926"/>
              </a:cxn>
              <a:cxn ang="0">
                <a:pos x="connsiteX6927" y="connsiteY6927"/>
              </a:cxn>
              <a:cxn ang="0">
                <a:pos x="connsiteX6928" y="connsiteY6928"/>
              </a:cxn>
              <a:cxn ang="0">
                <a:pos x="connsiteX6929" y="connsiteY6929"/>
              </a:cxn>
              <a:cxn ang="0">
                <a:pos x="connsiteX6930" y="connsiteY6930"/>
              </a:cxn>
              <a:cxn ang="0">
                <a:pos x="connsiteX6931" y="connsiteY6931"/>
              </a:cxn>
              <a:cxn ang="0">
                <a:pos x="connsiteX6932" y="connsiteY6932"/>
              </a:cxn>
              <a:cxn ang="0">
                <a:pos x="connsiteX6933" y="connsiteY6933"/>
              </a:cxn>
              <a:cxn ang="0">
                <a:pos x="connsiteX6934" y="connsiteY6934"/>
              </a:cxn>
              <a:cxn ang="0">
                <a:pos x="connsiteX6935" y="connsiteY6935"/>
              </a:cxn>
              <a:cxn ang="0">
                <a:pos x="connsiteX6936" y="connsiteY6936"/>
              </a:cxn>
              <a:cxn ang="0">
                <a:pos x="connsiteX6937" y="connsiteY6937"/>
              </a:cxn>
              <a:cxn ang="0">
                <a:pos x="connsiteX6938" y="connsiteY6938"/>
              </a:cxn>
              <a:cxn ang="0">
                <a:pos x="connsiteX6939" y="connsiteY6939"/>
              </a:cxn>
              <a:cxn ang="0">
                <a:pos x="connsiteX6940" y="connsiteY6940"/>
              </a:cxn>
              <a:cxn ang="0">
                <a:pos x="connsiteX6941" y="connsiteY6941"/>
              </a:cxn>
              <a:cxn ang="0">
                <a:pos x="connsiteX6942" y="connsiteY6942"/>
              </a:cxn>
              <a:cxn ang="0">
                <a:pos x="connsiteX6943" y="connsiteY6943"/>
              </a:cxn>
              <a:cxn ang="0">
                <a:pos x="connsiteX6944" y="connsiteY6944"/>
              </a:cxn>
              <a:cxn ang="0">
                <a:pos x="connsiteX6945" y="connsiteY6945"/>
              </a:cxn>
              <a:cxn ang="0">
                <a:pos x="connsiteX6946" y="connsiteY6946"/>
              </a:cxn>
              <a:cxn ang="0">
                <a:pos x="connsiteX6947" y="connsiteY6947"/>
              </a:cxn>
              <a:cxn ang="0">
                <a:pos x="connsiteX6948" y="connsiteY6948"/>
              </a:cxn>
              <a:cxn ang="0">
                <a:pos x="connsiteX6949" y="connsiteY6949"/>
              </a:cxn>
              <a:cxn ang="0">
                <a:pos x="connsiteX6950" y="connsiteY6950"/>
              </a:cxn>
              <a:cxn ang="0">
                <a:pos x="connsiteX6951" y="connsiteY6951"/>
              </a:cxn>
              <a:cxn ang="0">
                <a:pos x="connsiteX6952" y="connsiteY6952"/>
              </a:cxn>
              <a:cxn ang="0">
                <a:pos x="connsiteX6953" y="connsiteY6953"/>
              </a:cxn>
              <a:cxn ang="0">
                <a:pos x="connsiteX6954" y="connsiteY6954"/>
              </a:cxn>
              <a:cxn ang="0">
                <a:pos x="connsiteX6955" y="connsiteY6955"/>
              </a:cxn>
              <a:cxn ang="0">
                <a:pos x="connsiteX6956" y="connsiteY6956"/>
              </a:cxn>
              <a:cxn ang="0">
                <a:pos x="connsiteX6957" y="connsiteY6957"/>
              </a:cxn>
              <a:cxn ang="0">
                <a:pos x="connsiteX6958" y="connsiteY6958"/>
              </a:cxn>
              <a:cxn ang="0">
                <a:pos x="connsiteX6959" y="connsiteY6959"/>
              </a:cxn>
              <a:cxn ang="0">
                <a:pos x="connsiteX6960" y="connsiteY6960"/>
              </a:cxn>
              <a:cxn ang="0">
                <a:pos x="connsiteX6961" y="connsiteY6961"/>
              </a:cxn>
              <a:cxn ang="0">
                <a:pos x="connsiteX6962" y="connsiteY6962"/>
              </a:cxn>
              <a:cxn ang="0">
                <a:pos x="connsiteX6963" y="connsiteY6963"/>
              </a:cxn>
              <a:cxn ang="0">
                <a:pos x="connsiteX6964" y="connsiteY6964"/>
              </a:cxn>
              <a:cxn ang="0">
                <a:pos x="connsiteX6965" y="connsiteY6965"/>
              </a:cxn>
              <a:cxn ang="0">
                <a:pos x="connsiteX6966" y="connsiteY6966"/>
              </a:cxn>
              <a:cxn ang="0">
                <a:pos x="connsiteX6967" y="connsiteY6967"/>
              </a:cxn>
              <a:cxn ang="0">
                <a:pos x="connsiteX6968" y="connsiteY6968"/>
              </a:cxn>
              <a:cxn ang="0">
                <a:pos x="connsiteX6969" y="connsiteY6969"/>
              </a:cxn>
              <a:cxn ang="0">
                <a:pos x="connsiteX6970" y="connsiteY6970"/>
              </a:cxn>
              <a:cxn ang="0">
                <a:pos x="connsiteX6971" y="connsiteY6971"/>
              </a:cxn>
              <a:cxn ang="0">
                <a:pos x="connsiteX6972" y="connsiteY6972"/>
              </a:cxn>
              <a:cxn ang="0">
                <a:pos x="connsiteX6973" y="connsiteY6973"/>
              </a:cxn>
              <a:cxn ang="0">
                <a:pos x="connsiteX6974" y="connsiteY6974"/>
              </a:cxn>
              <a:cxn ang="0">
                <a:pos x="connsiteX6975" y="connsiteY6975"/>
              </a:cxn>
              <a:cxn ang="0">
                <a:pos x="connsiteX6976" y="connsiteY6976"/>
              </a:cxn>
              <a:cxn ang="0">
                <a:pos x="connsiteX6977" y="connsiteY6977"/>
              </a:cxn>
              <a:cxn ang="0">
                <a:pos x="connsiteX6978" y="connsiteY6978"/>
              </a:cxn>
              <a:cxn ang="0">
                <a:pos x="connsiteX6979" y="connsiteY6979"/>
              </a:cxn>
              <a:cxn ang="0">
                <a:pos x="connsiteX6980" y="connsiteY6980"/>
              </a:cxn>
              <a:cxn ang="0">
                <a:pos x="connsiteX6981" y="connsiteY6981"/>
              </a:cxn>
              <a:cxn ang="0">
                <a:pos x="connsiteX6982" y="connsiteY6982"/>
              </a:cxn>
              <a:cxn ang="0">
                <a:pos x="connsiteX6983" y="connsiteY6983"/>
              </a:cxn>
              <a:cxn ang="0">
                <a:pos x="connsiteX6984" y="connsiteY6984"/>
              </a:cxn>
              <a:cxn ang="0">
                <a:pos x="connsiteX6985" y="connsiteY6985"/>
              </a:cxn>
              <a:cxn ang="0">
                <a:pos x="connsiteX6986" y="connsiteY6986"/>
              </a:cxn>
              <a:cxn ang="0">
                <a:pos x="connsiteX6987" y="connsiteY6987"/>
              </a:cxn>
              <a:cxn ang="0">
                <a:pos x="connsiteX6988" y="connsiteY6988"/>
              </a:cxn>
              <a:cxn ang="0">
                <a:pos x="connsiteX6989" y="connsiteY6989"/>
              </a:cxn>
              <a:cxn ang="0">
                <a:pos x="connsiteX6990" y="connsiteY6990"/>
              </a:cxn>
              <a:cxn ang="0">
                <a:pos x="connsiteX6991" y="connsiteY6991"/>
              </a:cxn>
              <a:cxn ang="0">
                <a:pos x="connsiteX6992" y="connsiteY6992"/>
              </a:cxn>
              <a:cxn ang="0">
                <a:pos x="connsiteX6993" y="connsiteY6993"/>
              </a:cxn>
              <a:cxn ang="0">
                <a:pos x="connsiteX6994" y="connsiteY6994"/>
              </a:cxn>
              <a:cxn ang="0">
                <a:pos x="connsiteX6995" y="connsiteY6995"/>
              </a:cxn>
              <a:cxn ang="0">
                <a:pos x="connsiteX6996" y="connsiteY6996"/>
              </a:cxn>
              <a:cxn ang="0">
                <a:pos x="connsiteX6997" y="connsiteY6997"/>
              </a:cxn>
              <a:cxn ang="0">
                <a:pos x="connsiteX6998" y="connsiteY6998"/>
              </a:cxn>
              <a:cxn ang="0">
                <a:pos x="connsiteX6999" y="connsiteY6999"/>
              </a:cxn>
              <a:cxn ang="0">
                <a:pos x="connsiteX7000" y="connsiteY7000"/>
              </a:cxn>
              <a:cxn ang="0">
                <a:pos x="connsiteX7001" y="connsiteY7001"/>
              </a:cxn>
              <a:cxn ang="0">
                <a:pos x="connsiteX7002" y="connsiteY7002"/>
              </a:cxn>
              <a:cxn ang="0">
                <a:pos x="connsiteX7003" y="connsiteY7003"/>
              </a:cxn>
              <a:cxn ang="0">
                <a:pos x="connsiteX7004" y="connsiteY7004"/>
              </a:cxn>
              <a:cxn ang="0">
                <a:pos x="connsiteX7005" y="connsiteY7005"/>
              </a:cxn>
              <a:cxn ang="0">
                <a:pos x="connsiteX7006" y="connsiteY7006"/>
              </a:cxn>
              <a:cxn ang="0">
                <a:pos x="connsiteX7007" y="connsiteY7007"/>
              </a:cxn>
              <a:cxn ang="0">
                <a:pos x="connsiteX7008" y="connsiteY7008"/>
              </a:cxn>
              <a:cxn ang="0">
                <a:pos x="connsiteX7009" y="connsiteY7009"/>
              </a:cxn>
              <a:cxn ang="0">
                <a:pos x="connsiteX7010" y="connsiteY7010"/>
              </a:cxn>
              <a:cxn ang="0">
                <a:pos x="connsiteX7011" y="connsiteY7011"/>
              </a:cxn>
              <a:cxn ang="0">
                <a:pos x="connsiteX7012" y="connsiteY7012"/>
              </a:cxn>
              <a:cxn ang="0">
                <a:pos x="connsiteX7013" y="connsiteY7013"/>
              </a:cxn>
              <a:cxn ang="0">
                <a:pos x="connsiteX7014" y="connsiteY7014"/>
              </a:cxn>
              <a:cxn ang="0">
                <a:pos x="connsiteX7015" y="connsiteY7015"/>
              </a:cxn>
              <a:cxn ang="0">
                <a:pos x="connsiteX7016" y="connsiteY7016"/>
              </a:cxn>
              <a:cxn ang="0">
                <a:pos x="connsiteX7017" y="connsiteY7017"/>
              </a:cxn>
              <a:cxn ang="0">
                <a:pos x="connsiteX7018" y="connsiteY7018"/>
              </a:cxn>
              <a:cxn ang="0">
                <a:pos x="connsiteX7019" y="connsiteY7019"/>
              </a:cxn>
              <a:cxn ang="0">
                <a:pos x="connsiteX7020" y="connsiteY7020"/>
              </a:cxn>
              <a:cxn ang="0">
                <a:pos x="connsiteX7021" y="connsiteY7021"/>
              </a:cxn>
              <a:cxn ang="0">
                <a:pos x="connsiteX7022" y="connsiteY7022"/>
              </a:cxn>
              <a:cxn ang="0">
                <a:pos x="connsiteX7023" y="connsiteY7023"/>
              </a:cxn>
              <a:cxn ang="0">
                <a:pos x="connsiteX7024" y="connsiteY7024"/>
              </a:cxn>
              <a:cxn ang="0">
                <a:pos x="connsiteX7025" y="connsiteY7025"/>
              </a:cxn>
              <a:cxn ang="0">
                <a:pos x="connsiteX7026" y="connsiteY7026"/>
              </a:cxn>
              <a:cxn ang="0">
                <a:pos x="connsiteX7027" y="connsiteY7027"/>
              </a:cxn>
              <a:cxn ang="0">
                <a:pos x="connsiteX7028" y="connsiteY7028"/>
              </a:cxn>
              <a:cxn ang="0">
                <a:pos x="connsiteX7029" y="connsiteY7029"/>
              </a:cxn>
              <a:cxn ang="0">
                <a:pos x="connsiteX7030" y="connsiteY7030"/>
              </a:cxn>
              <a:cxn ang="0">
                <a:pos x="connsiteX7031" y="connsiteY7031"/>
              </a:cxn>
              <a:cxn ang="0">
                <a:pos x="connsiteX7032" y="connsiteY7032"/>
              </a:cxn>
              <a:cxn ang="0">
                <a:pos x="connsiteX7033" y="connsiteY7033"/>
              </a:cxn>
              <a:cxn ang="0">
                <a:pos x="connsiteX7034" y="connsiteY7034"/>
              </a:cxn>
              <a:cxn ang="0">
                <a:pos x="connsiteX7035" y="connsiteY7035"/>
              </a:cxn>
              <a:cxn ang="0">
                <a:pos x="connsiteX7036" y="connsiteY7036"/>
              </a:cxn>
              <a:cxn ang="0">
                <a:pos x="connsiteX7037" y="connsiteY7037"/>
              </a:cxn>
              <a:cxn ang="0">
                <a:pos x="connsiteX7038" y="connsiteY7038"/>
              </a:cxn>
              <a:cxn ang="0">
                <a:pos x="connsiteX7039" y="connsiteY7039"/>
              </a:cxn>
              <a:cxn ang="0">
                <a:pos x="connsiteX7040" y="connsiteY7040"/>
              </a:cxn>
              <a:cxn ang="0">
                <a:pos x="connsiteX7041" y="connsiteY7041"/>
              </a:cxn>
              <a:cxn ang="0">
                <a:pos x="connsiteX7042" y="connsiteY7042"/>
              </a:cxn>
              <a:cxn ang="0">
                <a:pos x="connsiteX7043" y="connsiteY7043"/>
              </a:cxn>
              <a:cxn ang="0">
                <a:pos x="connsiteX7044" y="connsiteY7044"/>
              </a:cxn>
              <a:cxn ang="0">
                <a:pos x="connsiteX7045" y="connsiteY7045"/>
              </a:cxn>
              <a:cxn ang="0">
                <a:pos x="connsiteX7046" y="connsiteY7046"/>
              </a:cxn>
              <a:cxn ang="0">
                <a:pos x="connsiteX7047" y="connsiteY7047"/>
              </a:cxn>
              <a:cxn ang="0">
                <a:pos x="connsiteX7048" y="connsiteY7048"/>
              </a:cxn>
              <a:cxn ang="0">
                <a:pos x="connsiteX7049" y="connsiteY7049"/>
              </a:cxn>
              <a:cxn ang="0">
                <a:pos x="connsiteX7050" y="connsiteY7050"/>
              </a:cxn>
              <a:cxn ang="0">
                <a:pos x="connsiteX7051" y="connsiteY7051"/>
              </a:cxn>
              <a:cxn ang="0">
                <a:pos x="connsiteX7052" y="connsiteY7052"/>
              </a:cxn>
              <a:cxn ang="0">
                <a:pos x="connsiteX7053" y="connsiteY7053"/>
              </a:cxn>
              <a:cxn ang="0">
                <a:pos x="connsiteX7054" y="connsiteY7054"/>
              </a:cxn>
              <a:cxn ang="0">
                <a:pos x="connsiteX7055" y="connsiteY7055"/>
              </a:cxn>
              <a:cxn ang="0">
                <a:pos x="connsiteX7056" y="connsiteY7056"/>
              </a:cxn>
              <a:cxn ang="0">
                <a:pos x="connsiteX7057" y="connsiteY7057"/>
              </a:cxn>
              <a:cxn ang="0">
                <a:pos x="connsiteX7058" y="connsiteY7058"/>
              </a:cxn>
              <a:cxn ang="0">
                <a:pos x="connsiteX7059" y="connsiteY7059"/>
              </a:cxn>
              <a:cxn ang="0">
                <a:pos x="connsiteX7060" y="connsiteY7060"/>
              </a:cxn>
              <a:cxn ang="0">
                <a:pos x="connsiteX7061" y="connsiteY7061"/>
              </a:cxn>
              <a:cxn ang="0">
                <a:pos x="connsiteX7062" y="connsiteY7062"/>
              </a:cxn>
              <a:cxn ang="0">
                <a:pos x="connsiteX7063" y="connsiteY7063"/>
              </a:cxn>
              <a:cxn ang="0">
                <a:pos x="connsiteX7064" y="connsiteY7064"/>
              </a:cxn>
              <a:cxn ang="0">
                <a:pos x="connsiteX7065" y="connsiteY7065"/>
              </a:cxn>
              <a:cxn ang="0">
                <a:pos x="connsiteX7066" y="connsiteY7066"/>
              </a:cxn>
              <a:cxn ang="0">
                <a:pos x="connsiteX7067" y="connsiteY7067"/>
              </a:cxn>
              <a:cxn ang="0">
                <a:pos x="connsiteX7068" y="connsiteY7068"/>
              </a:cxn>
              <a:cxn ang="0">
                <a:pos x="connsiteX7069" y="connsiteY7069"/>
              </a:cxn>
              <a:cxn ang="0">
                <a:pos x="connsiteX7070" y="connsiteY7070"/>
              </a:cxn>
              <a:cxn ang="0">
                <a:pos x="connsiteX7071" y="connsiteY7071"/>
              </a:cxn>
              <a:cxn ang="0">
                <a:pos x="connsiteX7072" y="connsiteY7072"/>
              </a:cxn>
              <a:cxn ang="0">
                <a:pos x="connsiteX7073" y="connsiteY7073"/>
              </a:cxn>
              <a:cxn ang="0">
                <a:pos x="connsiteX7074" y="connsiteY7074"/>
              </a:cxn>
              <a:cxn ang="0">
                <a:pos x="connsiteX7075" y="connsiteY7075"/>
              </a:cxn>
              <a:cxn ang="0">
                <a:pos x="connsiteX7076" y="connsiteY7076"/>
              </a:cxn>
              <a:cxn ang="0">
                <a:pos x="connsiteX7077" y="connsiteY7077"/>
              </a:cxn>
              <a:cxn ang="0">
                <a:pos x="connsiteX7078" y="connsiteY7078"/>
              </a:cxn>
              <a:cxn ang="0">
                <a:pos x="connsiteX7079" y="connsiteY7079"/>
              </a:cxn>
              <a:cxn ang="0">
                <a:pos x="connsiteX7080" y="connsiteY7080"/>
              </a:cxn>
              <a:cxn ang="0">
                <a:pos x="connsiteX7081" y="connsiteY7081"/>
              </a:cxn>
              <a:cxn ang="0">
                <a:pos x="connsiteX7082" y="connsiteY7082"/>
              </a:cxn>
              <a:cxn ang="0">
                <a:pos x="connsiteX7083" y="connsiteY7083"/>
              </a:cxn>
              <a:cxn ang="0">
                <a:pos x="connsiteX7084" y="connsiteY7084"/>
              </a:cxn>
              <a:cxn ang="0">
                <a:pos x="connsiteX7085" y="connsiteY7085"/>
              </a:cxn>
              <a:cxn ang="0">
                <a:pos x="connsiteX7086" y="connsiteY7086"/>
              </a:cxn>
              <a:cxn ang="0">
                <a:pos x="connsiteX7087" y="connsiteY7087"/>
              </a:cxn>
              <a:cxn ang="0">
                <a:pos x="connsiteX7088" y="connsiteY7088"/>
              </a:cxn>
              <a:cxn ang="0">
                <a:pos x="connsiteX7089" y="connsiteY7089"/>
              </a:cxn>
              <a:cxn ang="0">
                <a:pos x="connsiteX7090" y="connsiteY7090"/>
              </a:cxn>
              <a:cxn ang="0">
                <a:pos x="connsiteX7091" y="connsiteY7091"/>
              </a:cxn>
              <a:cxn ang="0">
                <a:pos x="connsiteX7092" y="connsiteY7092"/>
              </a:cxn>
              <a:cxn ang="0">
                <a:pos x="connsiteX7093" y="connsiteY7093"/>
              </a:cxn>
              <a:cxn ang="0">
                <a:pos x="connsiteX7094" y="connsiteY7094"/>
              </a:cxn>
              <a:cxn ang="0">
                <a:pos x="connsiteX7095" y="connsiteY7095"/>
              </a:cxn>
              <a:cxn ang="0">
                <a:pos x="connsiteX7096" y="connsiteY7096"/>
              </a:cxn>
              <a:cxn ang="0">
                <a:pos x="connsiteX7097" y="connsiteY7097"/>
              </a:cxn>
              <a:cxn ang="0">
                <a:pos x="connsiteX7098" y="connsiteY7098"/>
              </a:cxn>
              <a:cxn ang="0">
                <a:pos x="connsiteX7099" y="connsiteY7099"/>
              </a:cxn>
              <a:cxn ang="0">
                <a:pos x="connsiteX7100" y="connsiteY7100"/>
              </a:cxn>
              <a:cxn ang="0">
                <a:pos x="connsiteX7101" y="connsiteY7101"/>
              </a:cxn>
              <a:cxn ang="0">
                <a:pos x="connsiteX7102" y="connsiteY7102"/>
              </a:cxn>
              <a:cxn ang="0">
                <a:pos x="connsiteX7103" y="connsiteY7103"/>
              </a:cxn>
              <a:cxn ang="0">
                <a:pos x="connsiteX7104" y="connsiteY7104"/>
              </a:cxn>
              <a:cxn ang="0">
                <a:pos x="connsiteX7105" y="connsiteY7105"/>
              </a:cxn>
              <a:cxn ang="0">
                <a:pos x="connsiteX7106" y="connsiteY7106"/>
              </a:cxn>
              <a:cxn ang="0">
                <a:pos x="connsiteX7107" y="connsiteY7107"/>
              </a:cxn>
              <a:cxn ang="0">
                <a:pos x="connsiteX7108" y="connsiteY7108"/>
              </a:cxn>
              <a:cxn ang="0">
                <a:pos x="connsiteX7109" y="connsiteY7109"/>
              </a:cxn>
              <a:cxn ang="0">
                <a:pos x="connsiteX7110" y="connsiteY7110"/>
              </a:cxn>
              <a:cxn ang="0">
                <a:pos x="connsiteX7111" y="connsiteY7111"/>
              </a:cxn>
              <a:cxn ang="0">
                <a:pos x="connsiteX7112" y="connsiteY7112"/>
              </a:cxn>
              <a:cxn ang="0">
                <a:pos x="connsiteX7113" y="connsiteY7113"/>
              </a:cxn>
              <a:cxn ang="0">
                <a:pos x="connsiteX7114" y="connsiteY7114"/>
              </a:cxn>
              <a:cxn ang="0">
                <a:pos x="connsiteX7115" y="connsiteY7115"/>
              </a:cxn>
              <a:cxn ang="0">
                <a:pos x="connsiteX7116" y="connsiteY7116"/>
              </a:cxn>
              <a:cxn ang="0">
                <a:pos x="connsiteX7117" y="connsiteY7117"/>
              </a:cxn>
              <a:cxn ang="0">
                <a:pos x="connsiteX7118" y="connsiteY7118"/>
              </a:cxn>
              <a:cxn ang="0">
                <a:pos x="connsiteX7119" y="connsiteY7119"/>
              </a:cxn>
              <a:cxn ang="0">
                <a:pos x="connsiteX7120" y="connsiteY7120"/>
              </a:cxn>
              <a:cxn ang="0">
                <a:pos x="connsiteX7121" y="connsiteY7121"/>
              </a:cxn>
              <a:cxn ang="0">
                <a:pos x="connsiteX7122" y="connsiteY7122"/>
              </a:cxn>
              <a:cxn ang="0">
                <a:pos x="connsiteX7123" y="connsiteY7123"/>
              </a:cxn>
              <a:cxn ang="0">
                <a:pos x="connsiteX7124" y="connsiteY7124"/>
              </a:cxn>
              <a:cxn ang="0">
                <a:pos x="connsiteX7125" y="connsiteY7125"/>
              </a:cxn>
              <a:cxn ang="0">
                <a:pos x="connsiteX7126" y="connsiteY7126"/>
              </a:cxn>
              <a:cxn ang="0">
                <a:pos x="connsiteX7127" y="connsiteY7127"/>
              </a:cxn>
              <a:cxn ang="0">
                <a:pos x="connsiteX7128" y="connsiteY7128"/>
              </a:cxn>
              <a:cxn ang="0">
                <a:pos x="connsiteX7129" y="connsiteY7129"/>
              </a:cxn>
              <a:cxn ang="0">
                <a:pos x="connsiteX7130" y="connsiteY7130"/>
              </a:cxn>
              <a:cxn ang="0">
                <a:pos x="connsiteX7131" y="connsiteY7131"/>
              </a:cxn>
              <a:cxn ang="0">
                <a:pos x="connsiteX7132" y="connsiteY7132"/>
              </a:cxn>
              <a:cxn ang="0">
                <a:pos x="connsiteX7133" y="connsiteY7133"/>
              </a:cxn>
              <a:cxn ang="0">
                <a:pos x="connsiteX7134" y="connsiteY7134"/>
              </a:cxn>
              <a:cxn ang="0">
                <a:pos x="connsiteX7135" y="connsiteY7135"/>
              </a:cxn>
              <a:cxn ang="0">
                <a:pos x="connsiteX7136" y="connsiteY7136"/>
              </a:cxn>
              <a:cxn ang="0">
                <a:pos x="connsiteX7137" y="connsiteY7137"/>
              </a:cxn>
              <a:cxn ang="0">
                <a:pos x="connsiteX7138" y="connsiteY7138"/>
              </a:cxn>
              <a:cxn ang="0">
                <a:pos x="connsiteX7139" y="connsiteY7139"/>
              </a:cxn>
              <a:cxn ang="0">
                <a:pos x="connsiteX7140" y="connsiteY7140"/>
              </a:cxn>
              <a:cxn ang="0">
                <a:pos x="connsiteX7141" y="connsiteY7141"/>
              </a:cxn>
              <a:cxn ang="0">
                <a:pos x="connsiteX7142" y="connsiteY7142"/>
              </a:cxn>
              <a:cxn ang="0">
                <a:pos x="connsiteX7143" y="connsiteY7143"/>
              </a:cxn>
              <a:cxn ang="0">
                <a:pos x="connsiteX7144" y="connsiteY7144"/>
              </a:cxn>
              <a:cxn ang="0">
                <a:pos x="connsiteX7145" y="connsiteY7145"/>
              </a:cxn>
              <a:cxn ang="0">
                <a:pos x="connsiteX7146" y="connsiteY7146"/>
              </a:cxn>
              <a:cxn ang="0">
                <a:pos x="connsiteX7147" y="connsiteY7147"/>
              </a:cxn>
              <a:cxn ang="0">
                <a:pos x="connsiteX7148" y="connsiteY7148"/>
              </a:cxn>
              <a:cxn ang="0">
                <a:pos x="connsiteX7149" y="connsiteY7149"/>
              </a:cxn>
              <a:cxn ang="0">
                <a:pos x="connsiteX7150" y="connsiteY7150"/>
              </a:cxn>
              <a:cxn ang="0">
                <a:pos x="connsiteX7151" y="connsiteY7151"/>
              </a:cxn>
              <a:cxn ang="0">
                <a:pos x="connsiteX7152" y="connsiteY7152"/>
              </a:cxn>
              <a:cxn ang="0">
                <a:pos x="connsiteX7153" y="connsiteY7153"/>
              </a:cxn>
              <a:cxn ang="0">
                <a:pos x="connsiteX7154" y="connsiteY7154"/>
              </a:cxn>
              <a:cxn ang="0">
                <a:pos x="connsiteX7155" y="connsiteY7155"/>
              </a:cxn>
              <a:cxn ang="0">
                <a:pos x="connsiteX7156" y="connsiteY7156"/>
              </a:cxn>
              <a:cxn ang="0">
                <a:pos x="connsiteX7157" y="connsiteY7157"/>
              </a:cxn>
              <a:cxn ang="0">
                <a:pos x="connsiteX7158" y="connsiteY7158"/>
              </a:cxn>
              <a:cxn ang="0">
                <a:pos x="connsiteX7159" y="connsiteY7159"/>
              </a:cxn>
              <a:cxn ang="0">
                <a:pos x="connsiteX7160" y="connsiteY7160"/>
              </a:cxn>
              <a:cxn ang="0">
                <a:pos x="connsiteX7161" y="connsiteY7161"/>
              </a:cxn>
              <a:cxn ang="0">
                <a:pos x="connsiteX7162" y="connsiteY7162"/>
              </a:cxn>
              <a:cxn ang="0">
                <a:pos x="connsiteX7163" y="connsiteY7163"/>
              </a:cxn>
              <a:cxn ang="0">
                <a:pos x="connsiteX7164" y="connsiteY7164"/>
              </a:cxn>
              <a:cxn ang="0">
                <a:pos x="connsiteX7165" y="connsiteY7165"/>
              </a:cxn>
              <a:cxn ang="0">
                <a:pos x="connsiteX7166" y="connsiteY7166"/>
              </a:cxn>
              <a:cxn ang="0">
                <a:pos x="connsiteX7167" y="connsiteY7167"/>
              </a:cxn>
              <a:cxn ang="0">
                <a:pos x="connsiteX7168" y="connsiteY7168"/>
              </a:cxn>
              <a:cxn ang="0">
                <a:pos x="connsiteX7169" y="connsiteY7169"/>
              </a:cxn>
              <a:cxn ang="0">
                <a:pos x="connsiteX7170" y="connsiteY7170"/>
              </a:cxn>
              <a:cxn ang="0">
                <a:pos x="connsiteX7171" y="connsiteY7171"/>
              </a:cxn>
              <a:cxn ang="0">
                <a:pos x="connsiteX7172" y="connsiteY7172"/>
              </a:cxn>
              <a:cxn ang="0">
                <a:pos x="connsiteX7173" y="connsiteY7173"/>
              </a:cxn>
              <a:cxn ang="0">
                <a:pos x="connsiteX7174" y="connsiteY7174"/>
              </a:cxn>
              <a:cxn ang="0">
                <a:pos x="connsiteX7175" y="connsiteY7175"/>
              </a:cxn>
              <a:cxn ang="0">
                <a:pos x="connsiteX7176" y="connsiteY7176"/>
              </a:cxn>
              <a:cxn ang="0">
                <a:pos x="connsiteX7177" y="connsiteY7177"/>
              </a:cxn>
              <a:cxn ang="0">
                <a:pos x="connsiteX7178" y="connsiteY7178"/>
              </a:cxn>
              <a:cxn ang="0">
                <a:pos x="connsiteX7179" y="connsiteY7179"/>
              </a:cxn>
              <a:cxn ang="0">
                <a:pos x="connsiteX7180" y="connsiteY7180"/>
              </a:cxn>
              <a:cxn ang="0">
                <a:pos x="connsiteX7181" y="connsiteY7181"/>
              </a:cxn>
              <a:cxn ang="0">
                <a:pos x="connsiteX7182" y="connsiteY7182"/>
              </a:cxn>
              <a:cxn ang="0">
                <a:pos x="connsiteX7183" y="connsiteY7183"/>
              </a:cxn>
              <a:cxn ang="0">
                <a:pos x="connsiteX7184" y="connsiteY7184"/>
              </a:cxn>
              <a:cxn ang="0">
                <a:pos x="connsiteX7185" y="connsiteY7185"/>
              </a:cxn>
              <a:cxn ang="0">
                <a:pos x="connsiteX7186" y="connsiteY7186"/>
              </a:cxn>
              <a:cxn ang="0">
                <a:pos x="connsiteX7187" y="connsiteY7187"/>
              </a:cxn>
              <a:cxn ang="0">
                <a:pos x="connsiteX7188" y="connsiteY7188"/>
              </a:cxn>
              <a:cxn ang="0">
                <a:pos x="connsiteX7189" y="connsiteY7189"/>
              </a:cxn>
              <a:cxn ang="0">
                <a:pos x="connsiteX7190" y="connsiteY7190"/>
              </a:cxn>
              <a:cxn ang="0">
                <a:pos x="connsiteX7191" y="connsiteY7191"/>
              </a:cxn>
              <a:cxn ang="0">
                <a:pos x="connsiteX7192" y="connsiteY7192"/>
              </a:cxn>
              <a:cxn ang="0">
                <a:pos x="connsiteX7193" y="connsiteY7193"/>
              </a:cxn>
              <a:cxn ang="0">
                <a:pos x="connsiteX7194" y="connsiteY7194"/>
              </a:cxn>
              <a:cxn ang="0">
                <a:pos x="connsiteX7195" y="connsiteY7195"/>
              </a:cxn>
              <a:cxn ang="0">
                <a:pos x="connsiteX7196" y="connsiteY7196"/>
              </a:cxn>
              <a:cxn ang="0">
                <a:pos x="connsiteX7197" y="connsiteY7197"/>
              </a:cxn>
              <a:cxn ang="0">
                <a:pos x="connsiteX7198" y="connsiteY7198"/>
              </a:cxn>
              <a:cxn ang="0">
                <a:pos x="connsiteX7199" y="connsiteY7199"/>
              </a:cxn>
              <a:cxn ang="0">
                <a:pos x="connsiteX7200" y="connsiteY7200"/>
              </a:cxn>
              <a:cxn ang="0">
                <a:pos x="connsiteX7201" y="connsiteY7201"/>
              </a:cxn>
              <a:cxn ang="0">
                <a:pos x="connsiteX7202" y="connsiteY7202"/>
              </a:cxn>
              <a:cxn ang="0">
                <a:pos x="connsiteX7203" y="connsiteY7203"/>
              </a:cxn>
              <a:cxn ang="0">
                <a:pos x="connsiteX7204" y="connsiteY7204"/>
              </a:cxn>
              <a:cxn ang="0">
                <a:pos x="connsiteX7205" y="connsiteY7205"/>
              </a:cxn>
              <a:cxn ang="0">
                <a:pos x="connsiteX7206" y="connsiteY7206"/>
              </a:cxn>
              <a:cxn ang="0">
                <a:pos x="connsiteX7207" y="connsiteY7207"/>
              </a:cxn>
              <a:cxn ang="0">
                <a:pos x="connsiteX7208" y="connsiteY7208"/>
              </a:cxn>
              <a:cxn ang="0">
                <a:pos x="connsiteX7209" y="connsiteY7209"/>
              </a:cxn>
              <a:cxn ang="0">
                <a:pos x="connsiteX7210" y="connsiteY7210"/>
              </a:cxn>
              <a:cxn ang="0">
                <a:pos x="connsiteX7211" y="connsiteY7211"/>
              </a:cxn>
              <a:cxn ang="0">
                <a:pos x="connsiteX7212" y="connsiteY7212"/>
              </a:cxn>
              <a:cxn ang="0">
                <a:pos x="connsiteX7213" y="connsiteY7213"/>
              </a:cxn>
              <a:cxn ang="0">
                <a:pos x="connsiteX7214" y="connsiteY7214"/>
              </a:cxn>
              <a:cxn ang="0">
                <a:pos x="connsiteX7215" y="connsiteY7215"/>
              </a:cxn>
              <a:cxn ang="0">
                <a:pos x="connsiteX7216" y="connsiteY7216"/>
              </a:cxn>
              <a:cxn ang="0">
                <a:pos x="connsiteX7217" y="connsiteY7217"/>
              </a:cxn>
              <a:cxn ang="0">
                <a:pos x="connsiteX7218" y="connsiteY7218"/>
              </a:cxn>
              <a:cxn ang="0">
                <a:pos x="connsiteX7219" y="connsiteY7219"/>
              </a:cxn>
              <a:cxn ang="0">
                <a:pos x="connsiteX7220" y="connsiteY7220"/>
              </a:cxn>
              <a:cxn ang="0">
                <a:pos x="connsiteX7221" y="connsiteY7221"/>
              </a:cxn>
              <a:cxn ang="0">
                <a:pos x="connsiteX7222" y="connsiteY7222"/>
              </a:cxn>
              <a:cxn ang="0">
                <a:pos x="connsiteX7223" y="connsiteY7223"/>
              </a:cxn>
              <a:cxn ang="0">
                <a:pos x="connsiteX7224" y="connsiteY7224"/>
              </a:cxn>
              <a:cxn ang="0">
                <a:pos x="connsiteX7225" y="connsiteY7225"/>
              </a:cxn>
              <a:cxn ang="0">
                <a:pos x="connsiteX7226" y="connsiteY7226"/>
              </a:cxn>
              <a:cxn ang="0">
                <a:pos x="connsiteX7227" y="connsiteY7227"/>
              </a:cxn>
              <a:cxn ang="0">
                <a:pos x="connsiteX7228" y="connsiteY7228"/>
              </a:cxn>
              <a:cxn ang="0">
                <a:pos x="connsiteX7229" y="connsiteY7229"/>
              </a:cxn>
              <a:cxn ang="0">
                <a:pos x="connsiteX7230" y="connsiteY7230"/>
              </a:cxn>
              <a:cxn ang="0">
                <a:pos x="connsiteX7231" y="connsiteY7231"/>
              </a:cxn>
              <a:cxn ang="0">
                <a:pos x="connsiteX7232" y="connsiteY7232"/>
              </a:cxn>
              <a:cxn ang="0">
                <a:pos x="connsiteX7233" y="connsiteY7233"/>
              </a:cxn>
              <a:cxn ang="0">
                <a:pos x="connsiteX7234" y="connsiteY7234"/>
              </a:cxn>
              <a:cxn ang="0">
                <a:pos x="connsiteX7235" y="connsiteY7235"/>
              </a:cxn>
              <a:cxn ang="0">
                <a:pos x="connsiteX7236" y="connsiteY7236"/>
              </a:cxn>
              <a:cxn ang="0">
                <a:pos x="connsiteX7237" y="connsiteY7237"/>
              </a:cxn>
              <a:cxn ang="0">
                <a:pos x="connsiteX7238" y="connsiteY7238"/>
              </a:cxn>
              <a:cxn ang="0">
                <a:pos x="connsiteX7239" y="connsiteY7239"/>
              </a:cxn>
              <a:cxn ang="0">
                <a:pos x="connsiteX7240" y="connsiteY7240"/>
              </a:cxn>
              <a:cxn ang="0">
                <a:pos x="connsiteX7241" y="connsiteY7241"/>
              </a:cxn>
              <a:cxn ang="0">
                <a:pos x="connsiteX7242" y="connsiteY7242"/>
              </a:cxn>
              <a:cxn ang="0">
                <a:pos x="connsiteX7243" y="connsiteY7243"/>
              </a:cxn>
              <a:cxn ang="0">
                <a:pos x="connsiteX7244" y="connsiteY7244"/>
              </a:cxn>
              <a:cxn ang="0">
                <a:pos x="connsiteX7245" y="connsiteY7245"/>
              </a:cxn>
              <a:cxn ang="0">
                <a:pos x="connsiteX7246" y="connsiteY7246"/>
              </a:cxn>
              <a:cxn ang="0">
                <a:pos x="connsiteX7247" y="connsiteY7247"/>
              </a:cxn>
              <a:cxn ang="0">
                <a:pos x="connsiteX7248" y="connsiteY7248"/>
              </a:cxn>
              <a:cxn ang="0">
                <a:pos x="connsiteX7249" y="connsiteY7249"/>
              </a:cxn>
              <a:cxn ang="0">
                <a:pos x="connsiteX7250" y="connsiteY7250"/>
              </a:cxn>
              <a:cxn ang="0">
                <a:pos x="connsiteX7251" y="connsiteY7251"/>
              </a:cxn>
              <a:cxn ang="0">
                <a:pos x="connsiteX7252" y="connsiteY7252"/>
              </a:cxn>
              <a:cxn ang="0">
                <a:pos x="connsiteX7253" y="connsiteY7253"/>
              </a:cxn>
              <a:cxn ang="0">
                <a:pos x="connsiteX7254" y="connsiteY7254"/>
              </a:cxn>
              <a:cxn ang="0">
                <a:pos x="connsiteX7255" y="connsiteY7255"/>
              </a:cxn>
              <a:cxn ang="0">
                <a:pos x="connsiteX7256" y="connsiteY7256"/>
              </a:cxn>
              <a:cxn ang="0">
                <a:pos x="connsiteX7257" y="connsiteY7257"/>
              </a:cxn>
              <a:cxn ang="0">
                <a:pos x="connsiteX7258" y="connsiteY7258"/>
              </a:cxn>
              <a:cxn ang="0">
                <a:pos x="connsiteX7259" y="connsiteY7259"/>
              </a:cxn>
              <a:cxn ang="0">
                <a:pos x="connsiteX7260" y="connsiteY7260"/>
              </a:cxn>
              <a:cxn ang="0">
                <a:pos x="connsiteX7261" y="connsiteY7261"/>
              </a:cxn>
              <a:cxn ang="0">
                <a:pos x="connsiteX7262" y="connsiteY7262"/>
              </a:cxn>
              <a:cxn ang="0">
                <a:pos x="connsiteX7263" y="connsiteY7263"/>
              </a:cxn>
              <a:cxn ang="0">
                <a:pos x="connsiteX7264" y="connsiteY7264"/>
              </a:cxn>
              <a:cxn ang="0">
                <a:pos x="connsiteX7265" y="connsiteY7265"/>
              </a:cxn>
              <a:cxn ang="0">
                <a:pos x="connsiteX7266" y="connsiteY7266"/>
              </a:cxn>
              <a:cxn ang="0">
                <a:pos x="connsiteX7267" y="connsiteY7267"/>
              </a:cxn>
              <a:cxn ang="0">
                <a:pos x="connsiteX7268" y="connsiteY7268"/>
              </a:cxn>
              <a:cxn ang="0">
                <a:pos x="connsiteX7269" y="connsiteY7269"/>
              </a:cxn>
              <a:cxn ang="0">
                <a:pos x="connsiteX7270" y="connsiteY7270"/>
              </a:cxn>
              <a:cxn ang="0">
                <a:pos x="connsiteX7271" y="connsiteY7271"/>
              </a:cxn>
              <a:cxn ang="0">
                <a:pos x="connsiteX7272" y="connsiteY7272"/>
              </a:cxn>
              <a:cxn ang="0">
                <a:pos x="connsiteX7273" y="connsiteY7273"/>
              </a:cxn>
              <a:cxn ang="0">
                <a:pos x="connsiteX7274" y="connsiteY7274"/>
              </a:cxn>
              <a:cxn ang="0">
                <a:pos x="connsiteX7275" y="connsiteY7275"/>
              </a:cxn>
              <a:cxn ang="0">
                <a:pos x="connsiteX7276" y="connsiteY7276"/>
              </a:cxn>
              <a:cxn ang="0">
                <a:pos x="connsiteX7277" y="connsiteY7277"/>
              </a:cxn>
              <a:cxn ang="0">
                <a:pos x="connsiteX7278" y="connsiteY7278"/>
              </a:cxn>
              <a:cxn ang="0">
                <a:pos x="connsiteX7279" y="connsiteY7279"/>
              </a:cxn>
              <a:cxn ang="0">
                <a:pos x="connsiteX7280" y="connsiteY7280"/>
              </a:cxn>
              <a:cxn ang="0">
                <a:pos x="connsiteX7281" y="connsiteY7281"/>
              </a:cxn>
              <a:cxn ang="0">
                <a:pos x="connsiteX7282" y="connsiteY7282"/>
              </a:cxn>
              <a:cxn ang="0">
                <a:pos x="connsiteX7283" y="connsiteY7283"/>
              </a:cxn>
              <a:cxn ang="0">
                <a:pos x="connsiteX7284" y="connsiteY7284"/>
              </a:cxn>
              <a:cxn ang="0">
                <a:pos x="connsiteX7285" y="connsiteY7285"/>
              </a:cxn>
              <a:cxn ang="0">
                <a:pos x="connsiteX7286" y="connsiteY7286"/>
              </a:cxn>
              <a:cxn ang="0">
                <a:pos x="connsiteX7287" y="connsiteY7287"/>
              </a:cxn>
              <a:cxn ang="0">
                <a:pos x="connsiteX7288" y="connsiteY7288"/>
              </a:cxn>
              <a:cxn ang="0">
                <a:pos x="connsiteX7289" y="connsiteY7289"/>
              </a:cxn>
              <a:cxn ang="0">
                <a:pos x="connsiteX7290" y="connsiteY7290"/>
              </a:cxn>
              <a:cxn ang="0">
                <a:pos x="connsiteX7291" y="connsiteY7291"/>
              </a:cxn>
              <a:cxn ang="0">
                <a:pos x="connsiteX7292" y="connsiteY7292"/>
              </a:cxn>
              <a:cxn ang="0">
                <a:pos x="connsiteX7293" y="connsiteY7293"/>
              </a:cxn>
              <a:cxn ang="0">
                <a:pos x="connsiteX7294" y="connsiteY7294"/>
              </a:cxn>
              <a:cxn ang="0">
                <a:pos x="connsiteX7295" y="connsiteY7295"/>
              </a:cxn>
              <a:cxn ang="0">
                <a:pos x="connsiteX7296" y="connsiteY7296"/>
              </a:cxn>
              <a:cxn ang="0">
                <a:pos x="connsiteX7297" y="connsiteY7297"/>
              </a:cxn>
              <a:cxn ang="0">
                <a:pos x="connsiteX7298" y="connsiteY7298"/>
              </a:cxn>
              <a:cxn ang="0">
                <a:pos x="connsiteX7299" y="connsiteY7299"/>
              </a:cxn>
              <a:cxn ang="0">
                <a:pos x="connsiteX7300" y="connsiteY7300"/>
              </a:cxn>
              <a:cxn ang="0">
                <a:pos x="connsiteX7301" y="connsiteY7301"/>
              </a:cxn>
              <a:cxn ang="0">
                <a:pos x="connsiteX7302" y="connsiteY7302"/>
              </a:cxn>
              <a:cxn ang="0">
                <a:pos x="connsiteX7303" y="connsiteY7303"/>
              </a:cxn>
              <a:cxn ang="0">
                <a:pos x="connsiteX7304" y="connsiteY7304"/>
              </a:cxn>
              <a:cxn ang="0">
                <a:pos x="connsiteX7305" y="connsiteY7305"/>
              </a:cxn>
              <a:cxn ang="0">
                <a:pos x="connsiteX7306" y="connsiteY7306"/>
              </a:cxn>
              <a:cxn ang="0">
                <a:pos x="connsiteX7307" y="connsiteY7307"/>
              </a:cxn>
              <a:cxn ang="0">
                <a:pos x="connsiteX7308" y="connsiteY7308"/>
              </a:cxn>
              <a:cxn ang="0">
                <a:pos x="connsiteX7309" y="connsiteY7309"/>
              </a:cxn>
              <a:cxn ang="0">
                <a:pos x="connsiteX7310" y="connsiteY7310"/>
              </a:cxn>
              <a:cxn ang="0">
                <a:pos x="connsiteX7311" y="connsiteY7311"/>
              </a:cxn>
              <a:cxn ang="0">
                <a:pos x="connsiteX7312" y="connsiteY7312"/>
              </a:cxn>
              <a:cxn ang="0">
                <a:pos x="connsiteX7313" y="connsiteY7313"/>
              </a:cxn>
              <a:cxn ang="0">
                <a:pos x="connsiteX7314" y="connsiteY7314"/>
              </a:cxn>
              <a:cxn ang="0">
                <a:pos x="connsiteX7315" y="connsiteY7315"/>
              </a:cxn>
              <a:cxn ang="0">
                <a:pos x="connsiteX7316" y="connsiteY7316"/>
              </a:cxn>
              <a:cxn ang="0">
                <a:pos x="connsiteX7317" y="connsiteY7317"/>
              </a:cxn>
              <a:cxn ang="0">
                <a:pos x="connsiteX7318" y="connsiteY7318"/>
              </a:cxn>
              <a:cxn ang="0">
                <a:pos x="connsiteX7319" y="connsiteY7319"/>
              </a:cxn>
              <a:cxn ang="0">
                <a:pos x="connsiteX7320" y="connsiteY7320"/>
              </a:cxn>
              <a:cxn ang="0">
                <a:pos x="connsiteX7321" y="connsiteY7321"/>
              </a:cxn>
              <a:cxn ang="0">
                <a:pos x="connsiteX7322" y="connsiteY7322"/>
              </a:cxn>
              <a:cxn ang="0">
                <a:pos x="connsiteX7323" y="connsiteY7323"/>
              </a:cxn>
              <a:cxn ang="0">
                <a:pos x="connsiteX7324" y="connsiteY7324"/>
              </a:cxn>
              <a:cxn ang="0">
                <a:pos x="connsiteX7325" y="connsiteY7325"/>
              </a:cxn>
              <a:cxn ang="0">
                <a:pos x="connsiteX7326" y="connsiteY7326"/>
              </a:cxn>
              <a:cxn ang="0">
                <a:pos x="connsiteX7327" y="connsiteY7327"/>
              </a:cxn>
              <a:cxn ang="0">
                <a:pos x="connsiteX7328" y="connsiteY7328"/>
              </a:cxn>
              <a:cxn ang="0">
                <a:pos x="connsiteX7329" y="connsiteY7329"/>
              </a:cxn>
              <a:cxn ang="0">
                <a:pos x="connsiteX7330" y="connsiteY7330"/>
              </a:cxn>
              <a:cxn ang="0">
                <a:pos x="connsiteX7331" y="connsiteY7331"/>
              </a:cxn>
              <a:cxn ang="0">
                <a:pos x="connsiteX7332" y="connsiteY7332"/>
              </a:cxn>
              <a:cxn ang="0">
                <a:pos x="connsiteX7333" y="connsiteY7333"/>
              </a:cxn>
              <a:cxn ang="0">
                <a:pos x="connsiteX7334" y="connsiteY7334"/>
              </a:cxn>
              <a:cxn ang="0">
                <a:pos x="connsiteX7335" y="connsiteY7335"/>
              </a:cxn>
              <a:cxn ang="0">
                <a:pos x="connsiteX7336" y="connsiteY7336"/>
              </a:cxn>
              <a:cxn ang="0">
                <a:pos x="connsiteX7337" y="connsiteY7337"/>
              </a:cxn>
              <a:cxn ang="0">
                <a:pos x="connsiteX7338" y="connsiteY7338"/>
              </a:cxn>
              <a:cxn ang="0">
                <a:pos x="connsiteX7339" y="connsiteY7339"/>
              </a:cxn>
              <a:cxn ang="0">
                <a:pos x="connsiteX7340" y="connsiteY7340"/>
              </a:cxn>
              <a:cxn ang="0">
                <a:pos x="connsiteX7341" y="connsiteY7341"/>
              </a:cxn>
              <a:cxn ang="0">
                <a:pos x="connsiteX7342" y="connsiteY7342"/>
              </a:cxn>
              <a:cxn ang="0">
                <a:pos x="connsiteX7343" y="connsiteY7343"/>
              </a:cxn>
              <a:cxn ang="0">
                <a:pos x="connsiteX7344" y="connsiteY7344"/>
              </a:cxn>
              <a:cxn ang="0">
                <a:pos x="connsiteX7345" y="connsiteY7345"/>
              </a:cxn>
              <a:cxn ang="0">
                <a:pos x="connsiteX7346" y="connsiteY7346"/>
              </a:cxn>
              <a:cxn ang="0">
                <a:pos x="connsiteX7347" y="connsiteY7347"/>
              </a:cxn>
              <a:cxn ang="0">
                <a:pos x="connsiteX7348" y="connsiteY7348"/>
              </a:cxn>
              <a:cxn ang="0">
                <a:pos x="connsiteX7349" y="connsiteY7349"/>
              </a:cxn>
              <a:cxn ang="0">
                <a:pos x="connsiteX7350" y="connsiteY7350"/>
              </a:cxn>
              <a:cxn ang="0">
                <a:pos x="connsiteX7351" y="connsiteY7351"/>
              </a:cxn>
              <a:cxn ang="0">
                <a:pos x="connsiteX7352" y="connsiteY7352"/>
              </a:cxn>
              <a:cxn ang="0">
                <a:pos x="connsiteX7353" y="connsiteY7353"/>
              </a:cxn>
              <a:cxn ang="0">
                <a:pos x="connsiteX7354" y="connsiteY7354"/>
              </a:cxn>
              <a:cxn ang="0">
                <a:pos x="connsiteX7355" y="connsiteY7355"/>
              </a:cxn>
              <a:cxn ang="0">
                <a:pos x="connsiteX7356" y="connsiteY7356"/>
              </a:cxn>
              <a:cxn ang="0">
                <a:pos x="connsiteX7357" y="connsiteY7357"/>
              </a:cxn>
              <a:cxn ang="0">
                <a:pos x="connsiteX7358" y="connsiteY7358"/>
              </a:cxn>
              <a:cxn ang="0">
                <a:pos x="connsiteX7359" y="connsiteY7359"/>
              </a:cxn>
              <a:cxn ang="0">
                <a:pos x="connsiteX7360" y="connsiteY7360"/>
              </a:cxn>
              <a:cxn ang="0">
                <a:pos x="connsiteX7361" y="connsiteY7361"/>
              </a:cxn>
              <a:cxn ang="0">
                <a:pos x="connsiteX7362" y="connsiteY7362"/>
              </a:cxn>
              <a:cxn ang="0">
                <a:pos x="connsiteX7363" y="connsiteY7363"/>
              </a:cxn>
              <a:cxn ang="0">
                <a:pos x="connsiteX7364" y="connsiteY7364"/>
              </a:cxn>
              <a:cxn ang="0">
                <a:pos x="connsiteX7365" y="connsiteY7365"/>
              </a:cxn>
              <a:cxn ang="0">
                <a:pos x="connsiteX7366" y="connsiteY7366"/>
              </a:cxn>
              <a:cxn ang="0">
                <a:pos x="connsiteX7367" y="connsiteY7367"/>
              </a:cxn>
              <a:cxn ang="0">
                <a:pos x="connsiteX7368" y="connsiteY7368"/>
              </a:cxn>
              <a:cxn ang="0">
                <a:pos x="connsiteX7369" y="connsiteY7369"/>
              </a:cxn>
              <a:cxn ang="0">
                <a:pos x="connsiteX7370" y="connsiteY7370"/>
              </a:cxn>
              <a:cxn ang="0">
                <a:pos x="connsiteX7371" y="connsiteY7371"/>
              </a:cxn>
              <a:cxn ang="0">
                <a:pos x="connsiteX7372" y="connsiteY7372"/>
              </a:cxn>
              <a:cxn ang="0">
                <a:pos x="connsiteX7373" y="connsiteY7373"/>
              </a:cxn>
              <a:cxn ang="0">
                <a:pos x="connsiteX7374" y="connsiteY7374"/>
              </a:cxn>
              <a:cxn ang="0">
                <a:pos x="connsiteX7375" y="connsiteY7375"/>
              </a:cxn>
              <a:cxn ang="0">
                <a:pos x="connsiteX7376" y="connsiteY7376"/>
              </a:cxn>
              <a:cxn ang="0">
                <a:pos x="connsiteX7377" y="connsiteY7377"/>
              </a:cxn>
              <a:cxn ang="0">
                <a:pos x="connsiteX7378" y="connsiteY7378"/>
              </a:cxn>
              <a:cxn ang="0">
                <a:pos x="connsiteX7379" y="connsiteY7379"/>
              </a:cxn>
              <a:cxn ang="0">
                <a:pos x="connsiteX7380" y="connsiteY7380"/>
              </a:cxn>
              <a:cxn ang="0">
                <a:pos x="connsiteX7381" y="connsiteY7381"/>
              </a:cxn>
              <a:cxn ang="0">
                <a:pos x="connsiteX7382" y="connsiteY7382"/>
              </a:cxn>
              <a:cxn ang="0">
                <a:pos x="connsiteX7383" y="connsiteY7383"/>
              </a:cxn>
              <a:cxn ang="0">
                <a:pos x="connsiteX7384" y="connsiteY7384"/>
              </a:cxn>
              <a:cxn ang="0">
                <a:pos x="connsiteX7385" y="connsiteY7385"/>
              </a:cxn>
              <a:cxn ang="0">
                <a:pos x="connsiteX7386" y="connsiteY7386"/>
              </a:cxn>
              <a:cxn ang="0">
                <a:pos x="connsiteX7387" y="connsiteY7387"/>
              </a:cxn>
              <a:cxn ang="0">
                <a:pos x="connsiteX7388" y="connsiteY7388"/>
              </a:cxn>
              <a:cxn ang="0">
                <a:pos x="connsiteX7389" y="connsiteY7389"/>
              </a:cxn>
              <a:cxn ang="0">
                <a:pos x="connsiteX7390" y="connsiteY7390"/>
              </a:cxn>
              <a:cxn ang="0">
                <a:pos x="connsiteX7391" y="connsiteY7391"/>
              </a:cxn>
              <a:cxn ang="0">
                <a:pos x="connsiteX7392" y="connsiteY7392"/>
              </a:cxn>
              <a:cxn ang="0">
                <a:pos x="connsiteX7393" y="connsiteY7393"/>
              </a:cxn>
              <a:cxn ang="0">
                <a:pos x="connsiteX7394" y="connsiteY7394"/>
              </a:cxn>
              <a:cxn ang="0">
                <a:pos x="connsiteX7395" y="connsiteY7395"/>
              </a:cxn>
              <a:cxn ang="0">
                <a:pos x="connsiteX7396" y="connsiteY7396"/>
              </a:cxn>
              <a:cxn ang="0">
                <a:pos x="connsiteX7397" y="connsiteY7397"/>
              </a:cxn>
              <a:cxn ang="0">
                <a:pos x="connsiteX7398" y="connsiteY7398"/>
              </a:cxn>
              <a:cxn ang="0">
                <a:pos x="connsiteX7399" y="connsiteY7399"/>
              </a:cxn>
              <a:cxn ang="0">
                <a:pos x="connsiteX7400" y="connsiteY7400"/>
              </a:cxn>
              <a:cxn ang="0">
                <a:pos x="connsiteX7401" y="connsiteY7401"/>
              </a:cxn>
              <a:cxn ang="0">
                <a:pos x="connsiteX7402" y="connsiteY7402"/>
              </a:cxn>
              <a:cxn ang="0">
                <a:pos x="connsiteX7403" y="connsiteY7403"/>
              </a:cxn>
              <a:cxn ang="0">
                <a:pos x="connsiteX7404" y="connsiteY7404"/>
              </a:cxn>
              <a:cxn ang="0">
                <a:pos x="connsiteX7405" y="connsiteY7405"/>
              </a:cxn>
              <a:cxn ang="0">
                <a:pos x="connsiteX7406" y="connsiteY7406"/>
              </a:cxn>
              <a:cxn ang="0">
                <a:pos x="connsiteX7407" y="connsiteY7407"/>
              </a:cxn>
              <a:cxn ang="0">
                <a:pos x="connsiteX7408" y="connsiteY7408"/>
              </a:cxn>
              <a:cxn ang="0">
                <a:pos x="connsiteX7409" y="connsiteY7409"/>
              </a:cxn>
              <a:cxn ang="0">
                <a:pos x="connsiteX7410" y="connsiteY7410"/>
              </a:cxn>
              <a:cxn ang="0">
                <a:pos x="connsiteX7411" y="connsiteY7411"/>
              </a:cxn>
              <a:cxn ang="0">
                <a:pos x="connsiteX7412" y="connsiteY7412"/>
              </a:cxn>
              <a:cxn ang="0">
                <a:pos x="connsiteX7413" y="connsiteY7413"/>
              </a:cxn>
              <a:cxn ang="0">
                <a:pos x="connsiteX7414" y="connsiteY7414"/>
              </a:cxn>
              <a:cxn ang="0">
                <a:pos x="connsiteX7415" y="connsiteY7415"/>
              </a:cxn>
              <a:cxn ang="0">
                <a:pos x="connsiteX7416" y="connsiteY7416"/>
              </a:cxn>
              <a:cxn ang="0">
                <a:pos x="connsiteX7417" y="connsiteY7417"/>
              </a:cxn>
              <a:cxn ang="0">
                <a:pos x="connsiteX7418" y="connsiteY7418"/>
              </a:cxn>
              <a:cxn ang="0">
                <a:pos x="connsiteX7419" y="connsiteY7419"/>
              </a:cxn>
              <a:cxn ang="0">
                <a:pos x="connsiteX7420" y="connsiteY7420"/>
              </a:cxn>
              <a:cxn ang="0">
                <a:pos x="connsiteX7421" y="connsiteY7421"/>
              </a:cxn>
              <a:cxn ang="0">
                <a:pos x="connsiteX7422" y="connsiteY7422"/>
              </a:cxn>
              <a:cxn ang="0">
                <a:pos x="connsiteX7423" y="connsiteY7423"/>
              </a:cxn>
              <a:cxn ang="0">
                <a:pos x="connsiteX7424" y="connsiteY7424"/>
              </a:cxn>
              <a:cxn ang="0">
                <a:pos x="connsiteX7425" y="connsiteY7425"/>
              </a:cxn>
              <a:cxn ang="0">
                <a:pos x="connsiteX7426" y="connsiteY7426"/>
              </a:cxn>
              <a:cxn ang="0">
                <a:pos x="connsiteX7427" y="connsiteY7427"/>
              </a:cxn>
              <a:cxn ang="0">
                <a:pos x="connsiteX7428" y="connsiteY7428"/>
              </a:cxn>
              <a:cxn ang="0">
                <a:pos x="connsiteX7429" y="connsiteY7429"/>
              </a:cxn>
              <a:cxn ang="0">
                <a:pos x="connsiteX7430" y="connsiteY7430"/>
              </a:cxn>
              <a:cxn ang="0">
                <a:pos x="connsiteX7431" y="connsiteY7431"/>
              </a:cxn>
              <a:cxn ang="0">
                <a:pos x="connsiteX7432" y="connsiteY7432"/>
              </a:cxn>
              <a:cxn ang="0">
                <a:pos x="connsiteX7433" y="connsiteY7433"/>
              </a:cxn>
              <a:cxn ang="0">
                <a:pos x="connsiteX7434" y="connsiteY7434"/>
              </a:cxn>
              <a:cxn ang="0">
                <a:pos x="connsiteX7435" y="connsiteY7435"/>
              </a:cxn>
              <a:cxn ang="0">
                <a:pos x="connsiteX7436" y="connsiteY7436"/>
              </a:cxn>
              <a:cxn ang="0">
                <a:pos x="connsiteX7437" y="connsiteY7437"/>
              </a:cxn>
              <a:cxn ang="0">
                <a:pos x="connsiteX7438" y="connsiteY7438"/>
              </a:cxn>
              <a:cxn ang="0">
                <a:pos x="connsiteX7439" y="connsiteY7439"/>
              </a:cxn>
              <a:cxn ang="0">
                <a:pos x="connsiteX7440" y="connsiteY7440"/>
              </a:cxn>
              <a:cxn ang="0">
                <a:pos x="connsiteX7441" y="connsiteY7441"/>
              </a:cxn>
              <a:cxn ang="0">
                <a:pos x="connsiteX7442" y="connsiteY7442"/>
              </a:cxn>
              <a:cxn ang="0">
                <a:pos x="connsiteX7443" y="connsiteY7443"/>
              </a:cxn>
              <a:cxn ang="0">
                <a:pos x="connsiteX7444" y="connsiteY7444"/>
              </a:cxn>
              <a:cxn ang="0">
                <a:pos x="connsiteX7445" y="connsiteY7445"/>
              </a:cxn>
              <a:cxn ang="0">
                <a:pos x="connsiteX7446" y="connsiteY7446"/>
              </a:cxn>
              <a:cxn ang="0">
                <a:pos x="connsiteX7447" y="connsiteY7447"/>
              </a:cxn>
              <a:cxn ang="0">
                <a:pos x="connsiteX7448" y="connsiteY7448"/>
              </a:cxn>
              <a:cxn ang="0">
                <a:pos x="connsiteX7449" y="connsiteY7449"/>
              </a:cxn>
              <a:cxn ang="0">
                <a:pos x="connsiteX7450" y="connsiteY7450"/>
              </a:cxn>
              <a:cxn ang="0">
                <a:pos x="connsiteX7451" y="connsiteY7451"/>
              </a:cxn>
              <a:cxn ang="0">
                <a:pos x="connsiteX7452" y="connsiteY7452"/>
              </a:cxn>
              <a:cxn ang="0">
                <a:pos x="connsiteX7453" y="connsiteY7453"/>
              </a:cxn>
              <a:cxn ang="0">
                <a:pos x="connsiteX7454" y="connsiteY7454"/>
              </a:cxn>
              <a:cxn ang="0">
                <a:pos x="connsiteX7455" y="connsiteY7455"/>
              </a:cxn>
              <a:cxn ang="0">
                <a:pos x="connsiteX7456" y="connsiteY7456"/>
              </a:cxn>
              <a:cxn ang="0">
                <a:pos x="connsiteX7457" y="connsiteY7457"/>
              </a:cxn>
              <a:cxn ang="0">
                <a:pos x="connsiteX7458" y="connsiteY7458"/>
              </a:cxn>
              <a:cxn ang="0">
                <a:pos x="connsiteX7459" y="connsiteY7459"/>
              </a:cxn>
              <a:cxn ang="0">
                <a:pos x="connsiteX7460" y="connsiteY7460"/>
              </a:cxn>
              <a:cxn ang="0">
                <a:pos x="connsiteX7461" y="connsiteY7461"/>
              </a:cxn>
              <a:cxn ang="0">
                <a:pos x="connsiteX7462" y="connsiteY7462"/>
              </a:cxn>
              <a:cxn ang="0">
                <a:pos x="connsiteX7463" y="connsiteY7463"/>
              </a:cxn>
              <a:cxn ang="0">
                <a:pos x="connsiteX7464" y="connsiteY7464"/>
              </a:cxn>
              <a:cxn ang="0">
                <a:pos x="connsiteX7465" y="connsiteY7465"/>
              </a:cxn>
              <a:cxn ang="0">
                <a:pos x="connsiteX7466" y="connsiteY7466"/>
              </a:cxn>
              <a:cxn ang="0">
                <a:pos x="connsiteX7467" y="connsiteY7467"/>
              </a:cxn>
              <a:cxn ang="0">
                <a:pos x="connsiteX7468" y="connsiteY7468"/>
              </a:cxn>
              <a:cxn ang="0">
                <a:pos x="connsiteX7469" y="connsiteY7469"/>
              </a:cxn>
              <a:cxn ang="0">
                <a:pos x="connsiteX7470" y="connsiteY7470"/>
              </a:cxn>
              <a:cxn ang="0">
                <a:pos x="connsiteX7471" y="connsiteY7471"/>
              </a:cxn>
              <a:cxn ang="0">
                <a:pos x="connsiteX7472" y="connsiteY7472"/>
              </a:cxn>
              <a:cxn ang="0">
                <a:pos x="connsiteX7473" y="connsiteY7473"/>
              </a:cxn>
              <a:cxn ang="0">
                <a:pos x="connsiteX7474" y="connsiteY7474"/>
              </a:cxn>
              <a:cxn ang="0">
                <a:pos x="connsiteX7475" y="connsiteY7475"/>
              </a:cxn>
              <a:cxn ang="0">
                <a:pos x="connsiteX7476" y="connsiteY7476"/>
              </a:cxn>
              <a:cxn ang="0">
                <a:pos x="connsiteX7477" y="connsiteY7477"/>
              </a:cxn>
              <a:cxn ang="0">
                <a:pos x="connsiteX7478" y="connsiteY7478"/>
              </a:cxn>
              <a:cxn ang="0">
                <a:pos x="connsiteX7479" y="connsiteY7479"/>
              </a:cxn>
              <a:cxn ang="0">
                <a:pos x="connsiteX7480" y="connsiteY7480"/>
              </a:cxn>
              <a:cxn ang="0">
                <a:pos x="connsiteX7481" y="connsiteY7481"/>
              </a:cxn>
              <a:cxn ang="0">
                <a:pos x="connsiteX7482" y="connsiteY7482"/>
              </a:cxn>
              <a:cxn ang="0">
                <a:pos x="connsiteX7483" y="connsiteY7483"/>
              </a:cxn>
              <a:cxn ang="0">
                <a:pos x="connsiteX7484" y="connsiteY7484"/>
              </a:cxn>
              <a:cxn ang="0">
                <a:pos x="connsiteX7485" y="connsiteY7485"/>
              </a:cxn>
              <a:cxn ang="0">
                <a:pos x="connsiteX7486" y="connsiteY7486"/>
              </a:cxn>
              <a:cxn ang="0">
                <a:pos x="connsiteX7487" y="connsiteY7487"/>
              </a:cxn>
              <a:cxn ang="0">
                <a:pos x="connsiteX7488" y="connsiteY7488"/>
              </a:cxn>
              <a:cxn ang="0">
                <a:pos x="connsiteX7489" y="connsiteY7489"/>
              </a:cxn>
              <a:cxn ang="0">
                <a:pos x="connsiteX7490" y="connsiteY7490"/>
              </a:cxn>
              <a:cxn ang="0">
                <a:pos x="connsiteX7491" y="connsiteY7491"/>
              </a:cxn>
              <a:cxn ang="0">
                <a:pos x="connsiteX7492" y="connsiteY7492"/>
              </a:cxn>
              <a:cxn ang="0">
                <a:pos x="connsiteX7493" y="connsiteY7493"/>
              </a:cxn>
              <a:cxn ang="0">
                <a:pos x="connsiteX7494" y="connsiteY7494"/>
              </a:cxn>
              <a:cxn ang="0">
                <a:pos x="connsiteX7495" y="connsiteY7495"/>
              </a:cxn>
              <a:cxn ang="0">
                <a:pos x="connsiteX7496" y="connsiteY7496"/>
              </a:cxn>
              <a:cxn ang="0">
                <a:pos x="connsiteX7497" y="connsiteY7497"/>
              </a:cxn>
              <a:cxn ang="0">
                <a:pos x="connsiteX7498" y="connsiteY7498"/>
              </a:cxn>
              <a:cxn ang="0">
                <a:pos x="connsiteX7499" y="connsiteY7499"/>
              </a:cxn>
              <a:cxn ang="0">
                <a:pos x="connsiteX7500" y="connsiteY7500"/>
              </a:cxn>
              <a:cxn ang="0">
                <a:pos x="connsiteX7501" y="connsiteY7501"/>
              </a:cxn>
              <a:cxn ang="0">
                <a:pos x="connsiteX7502" y="connsiteY7502"/>
              </a:cxn>
              <a:cxn ang="0">
                <a:pos x="connsiteX7503" y="connsiteY7503"/>
              </a:cxn>
              <a:cxn ang="0">
                <a:pos x="connsiteX7504" y="connsiteY7504"/>
              </a:cxn>
              <a:cxn ang="0">
                <a:pos x="connsiteX7505" y="connsiteY7505"/>
              </a:cxn>
              <a:cxn ang="0">
                <a:pos x="connsiteX7506" y="connsiteY7506"/>
              </a:cxn>
              <a:cxn ang="0">
                <a:pos x="connsiteX7507" y="connsiteY7507"/>
              </a:cxn>
              <a:cxn ang="0">
                <a:pos x="connsiteX7508" y="connsiteY7508"/>
              </a:cxn>
              <a:cxn ang="0">
                <a:pos x="connsiteX7509" y="connsiteY7509"/>
              </a:cxn>
              <a:cxn ang="0">
                <a:pos x="connsiteX7510" y="connsiteY7510"/>
              </a:cxn>
              <a:cxn ang="0">
                <a:pos x="connsiteX7511" y="connsiteY7511"/>
              </a:cxn>
              <a:cxn ang="0">
                <a:pos x="connsiteX7512" y="connsiteY7512"/>
              </a:cxn>
              <a:cxn ang="0">
                <a:pos x="connsiteX7513" y="connsiteY7513"/>
              </a:cxn>
              <a:cxn ang="0">
                <a:pos x="connsiteX7514" y="connsiteY7514"/>
              </a:cxn>
              <a:cxn ang="0">
                <a:pos x="connsiteX7515" y="connsiteY7515"/>
              </a:cxn>
              <a:cxn ang="0">
                <a:pos x="connsiteX7516" y="connsiteY7516"/>
              </a:cxn>
              <a:cxn ang="0">
                <a:pos x="connsiteX7517" y="connsiteY7517"/>
              </a:cxn>
              <a:cxn ang="0">
                <a:pos x="connsiteX7518" y="connsiteY7518"/>
              </a:cxn>
              <a:cxn ang="0">
                <a:pos x="connsiteX7519" y="connsiteY7519"/>
              </a:cxn>
              <a:cxn ang="0">
                <a:pos x="connsiteX7520" y="connsiteY7520"/>
              </a:cxn>
              <a:cxn ang="0">
                <a:pos x="connsiteX7521" y="connsiteY7521"/>
              </a:cxn>
              <a:cxn ang="0">
                <a:pos x="connsiteX7522" y="connsiteY7522"/>
              </a:cxn>
              <a:cxn ang="0">
                <a:pos x="connsiteX7523" y="connsiteY7523"/>
              </a:cxn>
              <a:cxn ang="0">
                <a:pos x="connsiteX7524" y="connsiteY7524"/>
              </a:cxn>
              <a:cxn ang="0">
                <a:pos x="connsiteX7525" y="connsiteY7525"/>
              </a:cxn>
              <a:cxn ang="0">
                <a:pos x="connsiteX7526" y="connsiteY7526"/>
              </a:cxn>
              <a:cxn ang="0">
                <a:pos x="connsiteX7527" y="connsiteY7527"/>
              </a:cxn>
              <a:cxn ang="0">
                <a:pos x="connsiteX7528" y="connsiteY7528"/>
              </a:cxn>
              <a:cxn ang="0">
                <a:pos x="connsiteX7529" y="connsiteY7529"/>
              </a:cxn>
              <a:cxn ang="0">
                <a:pos x="connsiteX7530" y="connsiteY7530"/>
              </a:cxn>
              <a:cxn ang="0">
                <a:pos x="connsiteX7531" y="connsiteY7531"/>
              </a:cxn>
              <a:cxn ang="0">
                <a:pos x="connsiteX7532" y="connsiteY7532"/>
              </a:cxn>
              <a:cxn ang="0">
                <a:pos x="connsiteX7533" y="connsiteY7533"/>
              </a:cxn>
              <a:cxn ang="0">
                <a:pos x="connsiteX7534" y="connsiteY7534"/>
              </a:cxn>
              <a:cxn ang="0">
                <a:pos x="connsiteX7535" y="connsiteY7535"/>
              </a:cxn>
              <a:cxn ang="0">
                <a:pos x="connsiteX7536" y="connsiteY7536"/>
              </a:cxn>
              <a:cxn ang="0">
                <a:pos x="connsiteX7537" y="connsiteY7537"/>
              </a:cxn>
              <a:cxn ang="0">
                <a:pos x="connsiteX7538" y="connsiteY7538"/>
              </a:cxn>
              <a:cxn ang="0">
                <a:pos x="connsiteX7539" y="connsiteY7539"/>
              </a:cxn>
              <a:cxn ang="0">
                <a:pos x="connsiteX7540" y="connsiteY7540"/>
              </a:cxn>
              <a:cxn ang="0">
                <a:pos x="connsiteX7541" y="connsiteY7541"/>
              </a:cxn>
              <a:cxn ang="0">
                <a:pos x="connsiteX7542" y="connsiteY7542"/>
              </a:cxn>
              <a:cxn ang="0">
                <a:pos x="connsiteX7543" y="connsiteY7543"/>
              </a:cxn>
              <a:cxn ang="0">
                <a:pos x="connsiteX7544" y="connsiteY7544"/>
              </a:cxn>
              <a:cxn ang="0">
                <a:pos x="connsiteX7545" y="connsiteY7545"/>
              </a:cxn>
              <a:cxn ang="0">
                <a:pos x="connsiteX7546" y="connsiteY7546"/>
              </a:cxn>
              <a:cxn ang="0">
                <a:pos x="connsiteX7547" y="connsiteY7547"/>
              </a:cxn>
              <a:cxn ang="0">
                <a:pos x="connsiteX7548" y="connsiteY7548"/>
              </a:cxn>
              <a:cxn ang="0">
                <a:pos x="connsiteX7549" y="connsiteY7549"/>
              </a:cxn>
              <a:cxn ang="0">
                <a:pos x="connsiteX7550" y="connsiteY7550"/>
              </a:cxn>
              <a:cxn ang="0">
                <a:pos x="connsiteX7551" y="connsiteY7551"/>
              </a:cxn>
              <a:cxn ang="0">
                <a:pos x="connsiteX7552" y="connsiteY7552"/>
              </a:cxn>
              <a:cxn ang="0">
                <a:pos x="connsiteX7553" y="connsiteY7553"/>
              </a:cxn>
              <a:cxn ang="0">
                <a:pos x="connsiteX7554" y="connsiteY7554"/>
              </a:cxn>
              <a:cxn ang="0">
                <a:pos x="connsiteX7555" y="connsiteY7555"/>
              </a:cxn>
              <a:cxn ang="0">
                <a:pos x="connsiteX7556" y="connsiteY7556"/>
              </a:cxn>
              <a:cxn ang="0">
                <a:pos x="connsiteX7557" y="connsiteY7557"/>
              </a:cxn>
              <a:cxn ang="0">
                <a:pos x="connsiteX7558" y="connsiteY7558"/>
              </a:cxn>
              <a:cxn ang="0">
                <a:pos x="connsiteX7559" y="connsiteY7559"/>
              </a:cxn>
              <a:cxn ang="0">
                <a:pos x="connsiteX7560" y="connsiteY7560"/>
              </a:cxn>
              <a:cxn ang="0">
                <a:pos x="connsiteX7561" y="connsiteY7561"/>
              </a:cxn>
              <a:cxn ang="0">
                <a:pos x="connsiteX7562" y="connsiteY7562"/>
              </a:cxn>
              <a:cxn ang="0">
                <a:pos x="connsiteX7563" y="connsiteY7563"/>
              </a:cxn>
              <a:cxn ang="0">
                <a:pos x="connsiteX7564" y="connsiteY7564"/>
              </a:cxn>
              <a:cxn ang="0">
                <a:pos x="connsiteX7565" y="connsiteY7565"/>
              </a:cxn>
              <a:cxn ang="0">
                <a:pos x="connsiteX7566" y="connsiteY7566"/>
              </a:cxn>
              <a:cxn ang="0">
                <a:pos x="connsiteX7567" y="connsiteY7567"/>
              </a:cxn>
              <a:cxn ang="0">
                <a:pos x="connsiteX7568" y="connsiteY7568"/>
              </a:cxn>
              <a:cxn ang="0">
                <a:pos x="connsiteX7569" y="connsiteY7569"/>
              </a:cxn>
              <a:cxn ang="0">
                <a:pos x="connsiteX7570" y="connsiteY7570"/>
              </a:cxn>
              <a:cxn ang="0">
                <a:pos x="connsiteX7571" y="connsiteY7571"/>
              </a:cxn>
              <a:cxn ang="0">
                <a:pos x="connsiteX7572" y="connsiteY7572"/>
              </a:cxn>
              <a:cxn ang="0">
                <a:pos x="connsiteX7573" y="connsiteY7573"/>
              </a:cxn>
              <a:cxn ang="0">
                <a:pos x="connsiteX7574" y="connsiteY7574"/>
              </a:cxn>
              <a:cxn ang="0">
                <a:pos x="connsiteX7575" y="connsiteY7575"/>
              </a:cxn>
              <a:cxn ang="0">
                <a:pos x="connsiteX7576" y="connsiteY7576"/>
              </a:cxn>
              <a:cxn ang="0">
                <a:pos x="connsiteX7577" y="connsiteY7577"/>
              </a:cxn>
              <a:cxn ang="0">
                <a:pos x="connsiteX7578" y="connsiteY7578"/>
              </a:cxn>
              <a:cxn ang="0">
                <a:pos x="connsiteX7579" y="connsiteY7579"/>
              </a:cxn>
              <a:cxn ang="0">
                <a:pos x="connsiteX7580" y="connsiteY7580"/>
              </a:cxn>
              <a:cxn ang="0">
                <a:pos x="connsiteX7581" y="connsiteY7581"/>
              </a:cxn>
              <a:cxn ang="0">
                <a:pos x="connsiteX7582" y="connsiteY7582"/>
              </a:cxn>
              <a:cxn ang="0">
                <a:pos x="connsiteX7583" y="connsiteY7583"/>
              </a:cxn>
              <a:cxn ang="0">
                <a:pos x="connsiteX7584" y="connsiteY7584"/>
              </a:cxn>
              <a:cxn ang="0">
                <a:pos x="connsiteX7585" y="connsiteY7585"/>
              </a:cxn>
              <a:cxn ang="0">
                <a:pos x="connsiteX7586" y="connsiteY7586"/>
              </a:cxn>
              <a:cxn ang="0">
                <a:pos x="connsiteX7587" y="connsiteY7587"/>
              </a:cxn>
              <a:cxn ang="0">
                <a:pos x="connsiteX7588" y="connsiteY7588"/>
              </a:cxn>
              <a:cxn ang="0">
                <a:pos x="connsiteX7589" y="connsiteY7589"/>
              </a:cxn>
              <a:cxn ang="0">
                <a:pos x="connsiteX7590" y="connsiteY7590"/>
              </a:cxn>
              <a:cxn ang="0">
                <a:pos x="connsiteX7591" y="connsiteY7591"/>
              </a:cxn>
              <a:cxn ang="0">
                <a:pos x="connsiteX7592" y="connsiteY7592"/>
              </a:cxn>
              <a:cxn ang="0">
                <a:pos x="connsiteX7593" y="connsiteY7593"/>
              </a:cxn>
              <a:cxn ang="0">
                <a:pos x="connsiteX7594" y="connsiteY7594"/>
              </a:cxn>
              <a:cxn ang="0">
                <a:pos x="connsiteX7595" y="connsiteY7595"/>
              </a:cxn>
              <a:cxn ang="0">
                <a:pos x="connsiteX7596" y="connsiteY7596"/>
              </a:cxn>
              <a:cxn ang="0">
                <a:pos x="connsiteX7597" y="connsiteY7597"/>
              </a:cxn>
              <a:cxn ang="0">
                <a:pos x="connsiteX7598" y="connsiteY7598"/>
              </a:cxn>
              <a:cxn ang="0">
                <a:pos x="connsiteX7599" y="connsiteY7599"/>
              </a:cxn>
              <a:cxn ang="0">
                <a:pos x="connsiteX7600" y="connsiteY7600"/>
              </a:cxn>
              <a:cxn ang="0">
                <a:pos x="connsiteX7601" y="connsiteY7601"/>
              </a:cxn>
              <a:cxn ang="0">
                <a:pos x="connsiteX7602" y="connsiteY7602"/>
              </a:cxn>
              <a:cxn ang="0">
                <a:pos x="connsiteX7603" y="connsiteY7603"/>
              </a:cxn>
              <a:cxn ang="0">
                <a:pos x="connsiteX7604" y="connsiteY7604"/>
              </a:cxn>
              <a:cxn ang="0">
                <a:pos x="connsiteX7605" y="connsiteY7605"/>
              </a:cxn>
              <a:cxn ang="0">
                <a:pos x="connsiteX7606" y="connsiteY7606"/>
              </a:cxn>
              <a:cxn ang="0">
                <a:pos x="connsiteX7607" y="connsiteY7607"/>
              </a:cxn>
              <a:cxn ang="0">
                <a:pos x="connsiteX7608" y="connsiteY7608"/>
              </a:cxn>
              <a:cxn ang="0">
                <a:pos x="connsiteX7609" y="connsiteY7609"/>
              </a:cxn>
              <a:cxn ang="0">
                <a:pos x="connsiteX7610" y="connsiteY7610"/>
              </a:cxn>
              <a:cxn ang="0">
                <a:pos x="connsiteX7611" y="connsiteY7611"/>
              </a:cxn>
              <a:cxn ang="0">
                <a:pos x="connsiteX7612" y="connsiteY7612"/>
              </a:cxn>
              <a:cxn ang="0">
                <a:pos x="connsiteX7613" y="connsiteY7613"/>
              </a:cxn>
              <a:cxn ang="0">
                <a:pos x="connsiteX7614" y="connsiteY7614"/>
              </a:cxn>
              <a:cxn ang="0">
                <a:pos x="connsiteX7615" y="connsiteY7615"/>
              </a:cxn>
              <a:cxn ang="0">
                <a:pos x="connsiteX7616" y="connsiteY7616"/>
              </a:cxn>
              <a:cxn ang="0">
                <a:pos x="connsiteX7617" y="connsiteY7617"/>
              </a:cxn>
              <a:cxn ang="0">
                <a:pos x="connsiteX7618" y="connsiteY7618"/>
              </a:cxn>
              <a:cxn ang="0">
                <a:pos x="connsiteX7619" y="connsiteY7619"/>
              </a:cxn>
              <a:cxn ang="0">
                <a:pos x="connsiteX7620" y="connsiteY7620"/>
              </a:cxn>
              <a:cxn ang="0">
                <a:pos x="connsiteX7621" y="connsiteY7621"/>
              </a:cxn>
              <a:cxn ang="0">
                <a:pos x="connsiteX7622" y="connsiteY7622"/>
              </a:cxn>
              <a:cxn ang="0">
                <a:pos x="connsiteX7623" y="connsiteY7623"/>
              </a:cxn>
              <a:cxn ang="0">
                <a:pos x="connsiteX7624" y="connsiteY7624"/>
              </a:cxn>
              <a:cxn ang="0">
                <a:pos x="connsiteX7625" y="connsiteY7625"/>
              </a:cxn>
              <a:cxn ang="0">
                <a:pos x="connsiteX7626" y="connsiteY7626"/>
              </a:cxn>
              <a:cxn ang="0">
                <a:pos x="connsiteX7627" y="connsiteY7627"/>
              </a:cxn>
              <a:cxn ang="0">
                <a:pos x="connsiteX7628" y="connsiteY7628"/>
              </a:cxn>
              <a:cxn ang="0">
                <a:pos x="connsiteX7629" y="connsiteY7629"/>
              </a:cxn>
              <a:cxn ang="0">
                <a:pos x="connsiteX7630" y="connsiteY7630"/>
              </a:cxn>
              <a:cxn ang="0">
                <a:pos x="connsiteX7631" y="connsiteY7631"/>
              </a:cxn>
              <a:cxn ang="0">
                <a:pos x="connsiteX7632" y="connsiteY7632"/>
              </a:cxn>
              <a:cxn ang="0">
                <a:pos x="connsiteX7633" y="connsiteY7633"/>
              </a:cxn>
              <a:cxn ang="0">
                <a:pos x="connsiteX7634" y="connsiteY7634"/>
              </a:cxn>
              <a:cxn ang="0">
                <a:pos x="connsiteX7635" y="connsiteY7635"/>
              </a:cxn>
              <a:cxn ang="0">
                <a:pos x="connsiteX7636" y="connsiteY7636"/>
              </a:cxn>
              <a:cxn ang="0">
                <a:pos x="connsiteX7637" y="connsiteY7637"/>
              </a:cxn>
              <a:cxn ang="0">
                <a:pos x="connsiteX7638" y="connsiteY7638"/>
              </a:cxn>
              <a:cxn ang="0">
                <a:pos x="connsiteX7639" y="connsiteY7639"/>
              </a:cxn>
              <a:cxn ang="0">
                <a:pos x="connsiteX7640" y="connsiteY7640"/>
              </a:cxn>
              <a:cxn ang="0">
                <a:pos x="connsiteX7641" y="connsiteY7641"/>
              </a:cxn>
              <a:cxn ang="0">
                <a:pos x="connsiteX7642" y="connsiteY7642"/>
              </a:cxn>
              <a:cxn ang="0">
                <a:pos x="connsiteX7643" y="connsiteY7643"/>
              </a:cxn>
              <a:cxn ang="0">
                <a:pos x="connsiteX7644" y="connsiteY7644"/>
              </a:cxn>
              <a:cxn ang="0">
                <a:pos x="connsiteX7645" y="connsiteY7645"/>
              </a:cxn>
              <a:cxn ang="0">
                <a:pos x="connsiteX7646" y="connsiteY7646"/>
              </a:cxn>
              <a:cxn ang="0">
                <a:pos x="connsiteX7647" y="connsiteY7647"/>
              </a:cxn>
              <a:cxn ang="0">
                <a:pos x="connsiteX7648" y="connsiteY7648"/>
              </a:cxn>
              <a:cxn ang="0">
                <a:pos x="connsiteX7649" y="connsiteY7649"/>
              </a:cxn>
              <a:cxn ang="0">
                <a:pos x="connsiteX7650" y="connsiteY7650"/>
              </a:cxn>
              <a:cxn ang="0">
                <a:pos x="connsiteX7651" y="connsiteY7651"/>
              </a:cxn>
              <a:cxn ang="0">
                <a:pos x="connsiteX7652" y="connsiteY7652"/>
              </a:cxn>
              <a:cxn ang="0">
                <a:pos x="connsiteX7653" y="connsiteY7653"/>
              </a:cxn>
              <a:cxn ang="0">
                <a:pos x="connsiteX7654" y="connsiteY7654"/>
              </a:cxn>
              <a:cxn ang="0">
                <a:pos x="connsiteX7655" y="connsiteY7655"/>
              </a:cxn>
              <a:cxn ang="0">
                <a:pos x="connsiteX7656" y="connsiteY7656"/>
              </a:cxn>
              <a:cxn ang="0">
                <a:pos x="connsiteX7657" y="connsiteY7657"/>
              </a:cxn>
              <a:cxn ang="0">
                <a:pos x="connsiteX7658" y="connsiteY7658"/>
              </a:cxn>
              <a:cxn ang="0">
                <a:pos x="connsiteX7659" y="connsiteY7659"/>
              </a:cxn>
              <a:cxn ang="0">
                <a:pos x="connsiteX7660" y="connsiteY7660"/>
              </a:cxn>
              <a:cxn ang="0">
                <a:pos x="connsiteX7661" y="connsiteY7661"/>
              </a:cxn>
              <a:cxn ang="0">
                <a:pos x="connsiteX7662" y="connsiteY7662"/>
              </a:cxn>
              <a:cxn ang="0">
                <a:pos x="connsiteX7663" y="connsiteY7663"/>
              </a:cxn>
              <a:cxn ang="0">
                <a:pos x="connsiteX7664" y="connsiteY7664"/>
              </a:cxn>
              <a:cxn ang="0">
                <a:pos x="connsiteX7665" y="connsiteY7665"/>
              </a:cxn>
              <a:cxn ang="0">
                <a:pos x="connsiteX7666" y="connsiteY7666"/>
              </a:cxn>
              <a:cxn ang="0">
                <a:pos x="connsiteX7667" y="connsiteY7667"/>
              </a:cxn>
              <a:cxn ang="0">
                <a:pos x="connsiteX7668" y="connsiteY7668"/>
              </a:cxn>
              <a:cxn ang="0">
                <a:pos x="connsiteX7669" y="connsiteY7669"/>
              </a:cxn>
              <a:cxn ang="0">
                <a:pos x="connsiteX7670" y="connsiteY7670"/>
              </a:cxn>
              <a:cxn ang="0">
                <a:pos x="connsiteX7671" y="connsiteY7671"/>
              </a:cxn>
              <a:cxn ang="0">
                <a:pos x="connsiteX7672" y="connsiteY7672"/>
              </a:cxn>
              <a:cxn ang="0">
                <a:pos x="connsiteX7673" y="connsiteY7673"/>
              </a:cxn>
              <a:cxn ang="0">
                <a:pos x="connsiteX7674" y="connsiteY7674"/>
              </a:cxn>
              <a:cxn ang="0">
                <a:pos x="connsiteX7675" y="connsiteY7675"/>
              </a:cxn>
              <a:cxn ang="0">
                <a:pos x="connsiteX7676" y="connsiteY7676"/>
              </a:cxn>
              <a:cxn ang="0">
                <a:pos x="connsiteX7677" y="connsiteY7677"/>
              </a:cxn>
              <a:cxn ang="0">
                <a:pos x="connsiteX7678" y="connsiteY7678"/>
              </a:cxn>
              <a:cxn ang="0">
                <a:pos x="connsiteX7679" y="connsiteY7679"/>
              </a:cxn>
              <a:cxn ang="0">
                <a:pos x="connsiteX7680" y="connsiteY7680"/>
              </a:cxn>
              <a:cxn ang="0">
                <a:pos x="connsiteX7681" y="connsiteY7681"/>
              </a:cxn>
              <a:cxn ang="0">
                <a:pos x="connsiteX7682" y="connsiteY7682"/>
              </a:cxn>
              <a:cxn ang="0">
                <a:pos x="connsiteX7683" y="connsiteY7683"/>
              </a:cxn>
              <a:cxn ang="0">
                <a:pos x="connsiteX7684" y="connsiteY7684"/>
              </a:cxn>
              <a:cxn ang="0">
                <a:pos x="connsiteX7685" y="connsiteY7685"/>
              </a:cxn>
              <a:cxn ang="0">
                <a:pos x="connsiteX7686" y="connsiteY7686"/>
              </a:cxn>
              <a:cxn ang="0">
                <a:pos x="connsiteX7687" y="connsiteY7687"/>
              </a:cxn>
              <a:cxn ang="0">
                <a:pos x="connsiteX7688" y="connsiteY7688"/>
              </a:cxn>
              <a:cxn ang="0">
                <a:pos x="connsiteX7689" y="connsiteY7689"/>
              </a:cxn>
              <a:cxn ang="0">
                <a:pos x="connsiteX7690" y="connsiteY7690"/>
              </a:cxn>
              <a:cxn ang="0">
                <a:pos x="connsiteX7691" y="connsiteY7691"/>
              </a:cxn>
              <a:cxn ang="0">
                <a:pos x="connsiteX7692" y="connsiteY7692"/>
              </a:cxn>
              <a:cxn ang="0">
                <a:pos x="connsiteX7693" y="connsiteY7693"/>
              </a:cxn>
              <a:cxn ang="0">
                <a:pos x="connsiteX7694" y="connsiteY7694"/>
              </a:cxn>
              <a:cxn ang="0">
                <a:pos x="connsiteX7695" y="connsiteY7695"/>
              </a:cxn>
              <a:cxn ang="0">
                <a:pos x="connsiteX7696" y="connsiteY7696"/>
              </a:cxn>
              <a:cxn ang="0">
                <a:pos x="connsiteX7697" y="connsiteY7697"/>
              </a:cxn>
              <a:cxn ang="0">
                <a:pos x="connsiteX7698" y="connsiteY7698"/>
              </a:cxn>
              <a:cxn ang="0">
                <a:pos x="connsiteX7699" y="connsiteY7699"/>
              </a:cxn>
              <a:cxn ang="0">
                <a:pos x="connsiteX7700" y="connsiteY7700"/>
              </a:cxn>
              <a:cxn ang="0">
                <a:pos x="connsiteX7701" y="connsiteY7701"/>
              </a:cxn>
              <a:cxn ang="0">
                <a:pos x="connsiteX7702" y="connsiteY7702"/>
              </a:cxn>
              <a:cxn ang="0">
                <a:pos x="connsiteX7703" y="connsiteY7703"/>
              </a:cxn>
              <a:cxn ang="0">
                <a:pos x="connsiteX7704" y="connsiteY7704"/>
              </a:cxn>
              <a:cxn ang="0">
                <a:pos x="connsiteX7705" y="connsiteY7705"/>
              </a:cxn>
              <a:cxn ang="0">
                <a:pos x="connsiteX7706" y="connsiteY7706"/>
              </a:cxn>
              <a:cxn ang="0">
                <a:pos x="connsiteX7707" y="connsiteY7707"/>
              </a:cxn>
              <a:cxn ang="0">
                <a:pos x="connsiteX7708" y="connsiteY7708"/>
              </a:cxn>
              <a:cxn ang="0">
                <a:pos x="connsiteX7709" y="connsiteY7709"/>
              </a:cxn>
              <a:cxn ang="0">
                <a:pos x="connsiteX7710" y="connsiteY7710"/>
              </a:cxn>
              <a:cxn ang="0">
                <a:pos x="connsiteX7711" y="connsiteY7711"/>
              </a:cxn>
              <a:cxn ang="0">
                <a:pos x="connsiteX7712" y="connsiteY7712"/>
              </a:cxn>
              <a:cxn ang="0">
                <a:pos x="connsiteX7713" y="connsiteY7713"/>
              </a:cxn>
              <a:cxn ang="0">
                <a:pos x="connsiteX7714" y="connsiteY7714"/>
              </a:cxn>
              <a:cxn ang="0">
                <a:pos x="connsiteX7715" y="connsiteY7715"/>
              </a:cxn>
              <a:cxn ang="0">
                <a:pos x="connsiteX7716" y="connsiteY7716"/>
              </a:cxn>
              <a:cxn ang="0">
                <a:pos x="connsiteX7717" y="connsiteY7717"/>
              </a:cxn>
              <a:cxn ang="0">
                <a:pos x="connsiteX7718" y="connsiteY7718"/>
              </a:cxn>
              <a:cxn ang="0">
                <a:pos x="connsiteX7719" y="connsiteY7719"/>
              </a:cxn>
              <a:cxn ang="0">
                <a:pos x="connsiteX7720" y="connsiteY7720"/>
              </a:cxn>
              <a:cxn ang="0">
                <a:pos x="connsiteX7721" y="connsiteY7721"/>
              </a:cxn>
              <a:cxn ang="0">
                <a:pos x="connsiteX7722" y="connsiteY7722"/>
              </a:cxn>
              <a:cxn ang="0">
                <a:pos x="connsiteX7723" y="connsiteY7723"/>
              </a:cxn>
              <a:cxn ang="0">
                <a:pos x="connsiteX7724" y="connsiteY7724"/>
              </a:cxn>
              <a:cxn ang="0">
                <a:pos x="connsiteX7725" y="connsiteY7725"/>
              </a:cxn>
              <a:cxn ang="0">
                <a:pos x="connsiteX7726" y="connsiteY7726"/>
              </a:cxn>
              <a:cxn ang="0">
                <a:pos x="connsiteX7727" y="connsiteY7727"/>
              </a:cxn>
              <a:cxn ang="0">
                <a:pos x="connsiteX7728" y="connsiteY7728"/>
              </a:cxn>
              <a:cxn ang="0">
                <a:pos x="connsiteX7729" y="connsiteY7729"/>
              </a:cxn>
              <a:cxn ang="0">
                <a:pos x="connsiteX7730" y="connsiteY7730"/>
              </a:cxn>
              <a:cxn ang="0">
                <a:pos x="connsiteX7731" y="connsiteY7731"/>
              </a:cxn>
              <a:cxn ang="0">
                <a:pos x="connsiteX7732" y="connsiteY7732"/>
              </a:cxn>
              <a:cxn ang="0">
                <a:pos x="connsiteX7733" y="connsiteY7733"/>
              </a:cxn>
              <a:cxn ang="0">
                <a:pos x="connsiteX7734" y="connsiteY7734"/>
              </a:cxn>
              <a:cxn ang="0">
                <a:pos x="connsiteX7735" y="connsiteY7735"/>
              </a:cxn>
              <a:cxn ang="0">
                <a:pos x="connsiteX7736" y="connsiteY7736"/>
              </a:cxn>
              <a:cxn ang="0">
                <a:pos x="connsiteX7737" y="connsiteY7737"/>
              </a:cxn>
              <a:cxn ang="0">
                <a:pos x="connsiteX7738" y="connsiteY7738"/>
              </a:cxn>
              <a:cxn ang="0">
                <a:pos x="connsiteX7739" y="connsiteY7739"/>
              </a:cxn>
              <a:cxn ang="0">
                <a:pos x="connsiteX7740" y="connsiteY7740"/>
              </a:cxn>
              <a:cxn ang="0">
                <a:pos x="connsiteX7741" y="connsiteY7741"/>
              </a:cxn>
              <a:cxn ang="0">
                <a:pos x="connsiteX7742" y="connsiteY7742"/>
              </a:cxn>
              <a:cxn ang="0">
                <a:pos x="connsiteX7743" y="connsiteY7743"/>
              </a:cxn>
              <a:cxn ang="0">
                <a:pos x="connsiteX7744" y="connsiteY7744"/>
              </a:cxn>
              <a:cxn ang="0">
                <a:pos x="connsiteX7745" y="connsiteY7745"/>
              </a:cxn>
              <a:cxn ang="0">
                <a:pos x="connsiteX7746" y="connsiteY7746"/>
              </a:cxn>
              <a:cxn ang="0">
                <a:pos x="connsiteX7747" y="connsiteY7747"/>
              </a:cxn>
              <a:cxn ang="0">
                <a:pos x="connsiteX7748" y="connsiteY7748"/>
              </a:cxn>
              <a:cxn ang="0">
                <a:pos x="connsiteX7749" y="connsiteY7749"/>
              </a:cxn>
              <a:cxn ang="0">
                <a:pos x="connsiteX7750" y="connsiteY7750"/>
              </a:cxn>
              <a:cxn ang="0">
                <a:pos x="connsiteX7751" y="connsiteY7751"/>
              </a:cxn>
              <a:cxn ang="0">
                <a:pos x="connsiteX7752" y="connsiteY7752"/>
              </a:cxn>
              <a:cxn ang="0">
                <a:pos x="connsiteX7753" y="connsiteY7753"/>
              </a:cxn>
              <a:cxn ang="0">
                <a:pos x="connsiteX7754" y="connsiteY7754"/>
              </a:cxn>
              <a:cxn ang="0">
                <a:pos x="connsiteX7755" y="connsiteY7755"/>
              </a:cxn>
              <a:cxn ang="0">
                <a:pos x="connsiteX7756" y="connsiteY7756"/>
              </a:cxn>
              <a:cxn ang="0">
                <a:pos x="connsiteX7757" y="connsiteY7757"/>
              </a:cxn>
              <a:cxn ang="0">
                <a:pos x="connsiteX7758" y="connsiteY7758"/>
              </a:cxn>
              <a:cxn ang="0">
                <a:pos x="connsiteX7759" y="connsiteY7759"/>
              </a:cxn>
              <a:cxn ang="0">
                <a:pos x="connsiteX7760" y="connsiteY7760"/>
              </a:cxn>
              <a:cxn ang="0">
                <a:pos x="connsiteX7761" y="connsiteY7761"/>
              </a:cxn>
              <a:cxn ang="0">
                <a:pos x="connsiteX7762" y="connsiteY7762"/>
              </a:cxn>
              <a:cxn ang="0">
                <a:pos x="connsiteX7763" y="connsiteY7763"/>
              </a:cxn>
              <a:cxn ang="0">
                <a:pos x="connsiteX7764" y="connsiteY7764"/>
              </a:cxn>
              <a:cxn ang="0">
                <a:pos x="connsiteX7765" y="connsiteY7765"/>
              </a:cxn>
              <a:cxn ang="0">
                <a:pos x="connsiteX7766" y="connsiteY7766"/>
              </a:cxn>
              <a:cxn ang="0">
                <a:pos x="connsiteX7767" y="connsiteY7767"/>
              </a:cxn>
              <a:cxn ang="0">
                <a:pos x="connsiteX7768" y="connsiteY7768"/>
              </a:cxn>
              <a:cxn ang="0">
                <a:pos x="connsiteX7769" y="connsiteY7769"/>
              </a:cxn>
              <a:cxn ang="0">
                <a:pos x="connsiteX7770" y="connsiteY7770"/>
              </a:cxn>
              <a:cxn ang="0">
                <a:pos x="connsiteX7771" y="connsiteY7771"/>
              </a:cxn>
              <a:cxn ang="0">
                <a:pos x="connsiteX7772" y="connsiteY7772"/>
              </a:cxn>
              <a:cxn ang="0">
                <a:pos x="connsiteX7773" y="connsiteY7773"/>
              </a:cxn>
              <a:cxn ang="0">
                <a:pos x="connsiteX7774" y="connsiteY7774"/>
              </a:cxn>
              <a:cxn ang="0">
                <a:pos x="connsiteX7775" y="connsiteY7775"/>
              </a:cxn>
              <a:cxn ang="0">
                <a:pos x="connsiteX7776" y="connsiteY7776"/>
              </a:cxn>
              <a:cxn ang="0">
                <a:pos x="connsiteX7777" y="connsiteY7777"/>
              </a:cxn>
              <a:cxn ang="0">
                <a:pos x="connsiteX7778" y="connsiteY7778"/>
              </a:cxn>
              <a:cxn ang="0">
                <a:pos x="connsiteX7779" y="connsiteY7779"/>
              </a:cxn>
              <a:cxn ang="0">
                <a:pos x="connsiteX7780" y="connsiteY7780"/>
              </a:cxn>
              <a:cxn ang="0">
                <a:pos x="connsiteX7781" y="connsiteY7781"/>
              </a:cxn>
              <a:cxn ang="0">
                <a:pos x="connsiteX7782" y="connsiteY7782"/>
              </a:cxn>
              <a:cxn ang="0">
                <a:pos x="connsiteX7783" y="connsiteY7783"/>
              </a:cxn>
              <a:cxn ang="0">
                <a:pos x="connsiteX7784" y="connsiteY7784"/>
              </a:cxn>
              <a:cxn ang="0">
                <a:pos x="connsiteX7785" y="connsiteY7785"/>
              </a:cxn>
              <a:cxn ang="0">
                <a:pos x="connsiteX7786" y="connsiteY7786"/>
              </a:cxn>
              <a:cxn ang="0">
                <a:pos x="connsiteX7787" y="connsiteY7787"/>
              </a:cxn>
              <a:cxn ang="0">
                <a:pos x="connsiteX7788" y="connsiteY7788"/>
              </a:cxn>
              <a:cxn ang="0">
                <a:pos x="connsiteX7789" y="connsiteY7789"/>
              </a:cxn>
              <a:cxn ang="0">
                <a:pos x="connsiteX7790" y="connsiteY7790"/>
              </a:cxn>
              <a:cxn ang="0">
                <a:pos x="connsiteX7791" y="connsiteY7791"/>
              </a:cxn>
              <a:cxn ang="0">
                <a:pos x="connsiteX7792" y="connsiteY7792"/>
              </a:cxn>
              <a:cxn ang="0">
                <a:pos x="connsiteX7793" y="connsiteY7793"/>
              </a:cxn>
              <a:cxn ang="0">
                <a:pos x="connsiteX7794" y="connsiteY7794"/>
              </a:cxn>
              <a:cxn ang="0">
                <a:pos x="connsiteX7795" y="connsiteY7795"/>
              </a:cxn>
              <a:cxn ang="0">
                <a:pos x="connsiteX7796" y="connsiteY7796"/>
              </a:cxn>
              <a:cxn ang="0">
                <a:pos x="connsiteX7797" y="connsiteY7797"/>
              </a:cxn>
              <a:cxn ang="0">
                <a:pos x="connsiteX7798" y="connsiteY7798"/>
              </a:cxn>
              <a:cxn ang="0">
                <a:pos x="connsiteX7799" y="connsiteY7799"/>
              </a:cxn>
              <a:cxn ang="0">
                <a:pos x="connsiteX7800" y="connsiteY7800"/>
              </a:cxn>
              <a:cxn ang="0">
                <a:pos x="connsiteX7801" y="connsiteY7801"/>
              </a:cxn>
              <a:cxn ang="0">
                <a:pos x="connsiteX7802" y="connsiteY7802"/>
              </a:cxn>
              <a:cxn ang="0">
                <a:pos x="connsiteX7803" y="connsiteY7803"/>
              </a:cxn>
              <a:cxn ang="0">
                <a:pos x="connsiteX7804" y="connsiteY7804"/>
              </a:cxn>
              <a:cxn ang="0">
                <a:pos x="connsiteX7805" y="connsiteY7805"/>
              </a:cxn>
              <a:cxn ang="0">
                <a:pos x="connsiteX7806" y="connsiteY7806"/>
              </a:cxn>
              <a:cxn ang="0">
                <a:pos x="connsiteX7807" y="connsiteY7807"/>
              </a:cxn>
              <a:cxn ang="0">
                <a:pos x="connsiteX7808" y="connsiteY7808"/>
              </a:cxn>
              <a:cxn ang="0">
                <a:pos x="connsiteX7809" y="connsiteY7809"/>
              </a:cxn>
              <a:cxn ang="0">
                <a:pos x="connsiteX7810" y="connsiteY7810"/>
              </a:cxn>
              <a:cxn ang="0">
                <a:pos x="connsiteX7811" y="connsiteY7811"/>
              </a:cxn>
              <a:cxn ang="0">
                <a:pos x="connsiteX7812" y="connsiteY7812"/>
              </a:cxn>
              <a:cxn ang="0">
                <a:pos x="connsiteX7813" y="connsiteY7813"/>
              </a:cxn>
              <a:cxn ang="0">
                <a:pos x="connsiteX7814" y="connsiteY7814"/>
              </a:cxn>
              <a:cxn ang="0">
                <a:pos x="connsiteX7815" y="connsiteY7815"/>
              </a:cxn>
              <a:cxn ang="0">
                <a:pos x="connsiteX7816" y="connsiteY7816"/>
              </a:cxn>
              <a:cxn ang="0">
                <a:pos x="connsiteX7817" y="connsiteY7817"/>
              </a:cxn>
              <a:cxn ang="0">
                <a:pos x="connsiteX7818" y="connsiteY7818"/>
              </a:cxn>
              <a:cxn ang="0">
                <a:pos x="connsiteX7819" y="connsiteY7819"/>
              </a:cxn>
              <a:cxn ang="0">
                <a:pos x="connsiteX7820" y="connsiteY7820"/>
              </a:cxn>
              <a:cxn ang="0">
                <a:pos x="connsiteX7821" y="connsiteY7821"/>
              </a:cxn>
              <a:cxn ang="0">
                <a:pos x="connsiteX7822" y="connsiteY7822"/>
              </a:cxn>
              <a:cxn ang="0">
                <a:pos x="connsiteX7823" y="connsiteY7823"/>
              </a:cxn>
              <a:cxn ang="0">
                <a:pos x="connsiteX7824" y="connsiteY7824"/>
              </a:cxn>
              <a:cxn ang="0">
                <a:pos x="connsiteX7825" y="connsiteY7825"/>
              </a:cxn>
              <a:cxn ang="0">
                <a:pos x="connsiteX7826" y="connsiteY7826"/>
              </a:cxn>
              <a:cxn ang="0">
                <a:pos x="connsiteX7827" y="connsiteY7827"/>
              </a:cxn>
              <a:cxn ang="0">
                <a:pos x="connsiteX7828" y="connsiteY7828"/>
              </a:cxn>
              <a:cxn ang="0">
                <a:pos x="connsiteX7829" y="connsiteY7829"/>
              </a:cxn>
              <a:cxn ang="0">
                <a:pos x="connsiteX7830" y="connsiteY7830"/>
              </a:cxn>
              <a:cxn ang="0">
                <a:pos x="connsiteX7831" y="connsiteY7831"/>
              </a:cxn>
              <a:cxn ang="0">
                <a:pos x="connsiteX7832" y="connsiteY7832"/>
              </a:cxn>
              <a:cxn ang="0">
                <a:pos x="connsiteX7833" y="connsiteY7833"/>
              </a:cxn>
              <a:cxn ang="0">
                <a:pos x="connsiteX7834" y="connsiteY7834"/>
              </a:cxn>
              <a:cxn ang="0">
                <a:pos x="connsiteX7835" y="connsiteY7835"/>
              </a:cxn>
              <a:cxn ang="0">
                <a:pos x="connsiteX7836" y="connsiteY7836"/>
              </a:cxn>
              <a:cxn ang="0">
                <a:pos x="connsiteX7837" y="connsiteY7837"/>
              </a:cxn>
              <a:cxn ang="0">
                <a:pos x="connsiteX7838" y="connsiteY7838"/>
              </a:cxn>
              <a:cxn ang="0">
                <a:pos x="connsiteX7839" y="connsiteY7839"/>
              </a:cxn>
              <a:cxn ang="0">
                <a:pos x="connsiteX7840" y="connsiteY7840"/>
              </a:cxn>
              <a:cxn ang="0">
                <a:pos x="connsiteX7841" y="connsiteY7841"/>
              </a:cxn>
              <a:cxn ang="0">
                <a:pos x="connsiteX7842" y="connsiteY7842"/>
              </a:cxn>
              <a:cxn ang="0">
                <a:pos x="connsiteX7843" y="connsiteY7843"/>
              </a:cxn>
              <a:cxn ang="0">
                <a:pos x="connsiteX7844" y="connsiteY7844"/>
              </a:cxn>
              <a:cxn ang="0">
                <a:pos x="connsiteX7845" y="connsiteY7845"/>
              </a:cxn>
              <a:cxn ang="0">
                <a:pos x="connsiteX7846" y="connsiteY7846"/>
              </a:cxn>
              <a:cxn ang="0">
                <a:pos x="connsiteX7847" y="connsiteY7847"/>
              </a:cxn>
              <a:cxn ang="0">
                <a:pos x="connsiteX7848" y="connsiteY7848"/>
              </a:cxn>
              <a:cxn ang="0">
                <a:pos x="connsiteX7849" y="connsiteY7849"/>
              </a:cxn>
              <a:cxn ang="0">
                <a:pos x="connsiteX7850" y="connsiteY7850"/>
              </a:cxn>
              <a:cxn ang="0">
                <a:pos x="connsiteX7851" y="connsiteY7851"/>
              </a:cxn>
              <a:cxn ang="0">
                <a:pos x="connsiteX7852" y="connsiteY7852"/>
              </a:cxn>
              <a:cxn ang="0">
                <a:pos x="connsiteX7853" y="connsiteY7853"/>
              </a:cxn>
              <a:cxn ang="0">
                <a:pos x="connsiteX7854" y="connsiteY7854"/>
              </a:cxn>
              <a:cxn ang="0">
                <a:pos x="connsiteX7855" y="connsiteY7855"/>
              </a:cxn>
              <a:cxn ang="0">
                <a:pos x="connsiteX7856" y="connsiteY7856"/>
              </a:cxn>
              <a:cxn ang="0">
                <a:pos x="connsiteX7857" y="connsiteY7857"/>
              </a:cxn>
              <a:cxn ang="0">
                <a:pos x="connsiteX7858" y="connsiteY7858"/>
              </a:cxn>
              <a:cxn ang="0">
                <a:pos x="connsiteX7859" y="connsiteY7859"/>
              </a:cxn>
              <a:cxn ang="0">
                <a:pos x="connsiteX7860" y="connsiteY7860"/>
              </a:cxn>
              <a:cxn ang="0">
                <a:pos x="connsiteX7861" y="connsiteY7861"/>
              </a:cxn>
              <a:cxn ang="0">
                <a:pos x="connsiteX7862" y="connsiteY7862"/>
              </a:cxn>
              <a:cxn ang="0">
                <a:pos x="connsiteX7863" y="connsiteY7863"/>
              </a:cxn>
              <a:cxn ang="0">
                <a:pos x="connsiteX7864" y="connsiteY7864"/>
              </a:cxn>
              <a:cxn ang="0">
                <a:pos x="connsiteX7865" y="connsiteY7865"/>
              </a:cxn>
              <a:cxn ang="0">
                <a:pos x="connsiteX7866" y="connsiteY7866"/>
              </a:cxn>
              <a:cxn ang="0">
                <a:pos x="connsiteX7867" y="connsiteY7867"/>
              </a:cxn>
              <a:cxn ang="0">
                <a:pos x="connsiteX7868" y="connsiteY7868"/>
              </a:cxn>
              <a:cxn ang="0">
                <a:pos x="connsiteX7869" y="connsiteY7869"/>
              </a:cxn>
              <a:cxn ang="0">
                <a:pos x="connsiteX7870" y="connsiteY7870"/>
              </a:cxn>
              <a:cxn ang="0">
                <a:pos x="connsiteX7871" y="connsiteY7871"/>
              </a:cxn>
              <a:cxn ang="0">
                <a:pos x="connsiteX7872" y="connsiteY7872"/>
              </a:cxn>
              <a:cxn ang="0">
                <a:pos x="connsiteX7873" y="connsiteY7873"/>
              </a:cxn>
              <a:cxn ang="0">
                <a:pos x="connsiteX7874" y="connsiteY7874"/>
              </a:cxn>
              <a:cxn ang="0">
                <a:pos x="connsiteX7875" y="connsiteY7875"/>
              </a:cxn>
              <a:cxn ang="0">
                <a:pos x="connsiteX7876" y="connsiteY7876"/>
              </a:cxn>
              <a:cxn ang="0">
                <a:pos x="connsiteX7877" y="connsiteY7877"/>
              </a:cxn>
              <a:cxn ang="0">
                <a:pos x="connsiteX7878" y="connsiteY7878"/>
              </a:cxn>
              <a:cxn ang="0">
                <a:pos x="connsiteX7879" y="connsiteY7879"/>
              </a:cxn>
              <a:cxn ang="0">
                <a:pos x="connsiteX7880" y="connsiteY7880"/>
              </a:cxn>
              <a:cxn ang="0">
                <a:pos x="connsiteX7881" y="connsiteY7881"/>
              </a:cxn>
              <a:cxn ang="0">
                <a:pos x="connsiteX7882" y="connsiteY7882"/>
              </a:cxn>
              <a:cxn ang="0">
                <a:pos x="connsiteX7883" y="connsiteY7883"/>
              </a:cxn>
              <a:cxn ang="0">
                <a:pos x="connsiteX7884" y="connsiteY7884"/>
              </a:cxn>
              <a:cxn ang="0">
                <a:pos x="connsiteX7885" y="connsiteY7885"/>
              </a:cxn>
              <a:cxn ang="0">
                <a:pos x="connsiteX7886" y="connsiteY7886"/>
              </a:cxn>
              <a:cxn ang="0">
                <a:pos x="connsiteX7887" y="connsiteY7887"/>
              </a:cxn>
              <a:cxn ang="0">
                <a:pos x="connsiteX7888" y="connsiteY7888"/>
              </a:cxn>
              <a:cxn ang="0">
                <a:pos x="connsiteX7889" y="connsiteY7889"/>
              </a:cxn>
              <a:cxn ang="0">
                <a:pos x="connsiteX7890" y="connsiteY7890"/>
              </a:cxn>
              <a:cxn ang="0">
                <a:pos x="connsiteX7891" y="connsiteY7891"/>
              </a:cxn>
              <a:cxn ang="0">
                <a:pos x="connsiteX7892" y="connsiteY7892"/>
              </a:cxn>
              <a:cxn ang="0">
                <a:pos x="connsiteX7893" y="connsiteY7893"/>
              </a:cxn>
              <a:cxn ang="0">
                <a:pos x="connsiteX7894" y="connsiteY7894"/>
              </a:cxn>
              <a:cxn ang="0">
                <a:pos x="connsiteX7895" y="connsiteY7895"/>
              </a:cxn>
              <a:cxn ang="0">
                <a:pos x="connsiteX7896" y="connsiteY7896"/>
              </a:cxn>
              <a:cxn ang="0">
                <a:pos x="connsiteX7897" y="connsiteY7897"/>
              </a:cxn>
              <a:cxn ang="0">
                <a:pos x="connsiteX7898" y="connsiteY7898"/>
              </a:cxn>
              <a:cxn ang="0">
                <a:pos x="connsiteX7899" y="connsiteY7899"/>
              </a:cxn>
              <a:cxn ang="0">
                <a:pos x="connsiteX7900" y="connsiteY7900"/>
              </a:cxn>
              <a:cxn ang="0">
                <a:pos x="connsiteX7901" y="connsiteY7901"/>
              </a:cxn>
              <a:cxn ang="0">
                <a:pos x="connsiteX7902" y="connsiteY7902"/>
              </a:cxn>
              <a:cxn ang="0">
                <a:pos x="connsiteX7903" y="connsiteY7903"/>
              </a:cxn>
              <a:cxn ang="0">
                <a:pos x="connsiteX7904" y="connsiteY7904"/>
              </a:cxn>
              <a:cxn ang="0">
                <a:pos x="connsiteX7905" y="connsiteY7905"/>
              </a:cxn>
              <a:cxn ang="0">
                <a:pos x="connsiteX7906" y="connsiteY7906"/>
              </a:cxn>
              <a:cxn ang="0">
                <a:pos x="connsiteX7907" y="connsiteY7907"/>
              </a:cxn>
              <a:cxn ang="0">
                <a:pos x="connsiteX7908" y="connsiteY7908"/>
              </a:cxn>
              <a:cxn ang="0">
                <a:pos x="connsiteX7909" y="connsiteY7909"/>
              </a:cxn>
              <a:cxn ang="0">
                <a:pos x="connsiteX7910" y="connsiteY7910"/>
              </a:cxn>
              <a:cxn ang="0">
                <a:pos x="connsiteX7911" y="connsiteY7911"/>
              </a:cxn>
              <a:cxn ang="0">
                <a:pos x="connsiteX7912" y="connsiteY7912"/>
              </a:cxn>
              <a:cxn ang="0">
                <a:pos x="connsiteX7913" y="connsiteY7913"/>
              </a:cxn>
              <a:cxn ang="0">
                <a:pos x="connsiteX7914" y="connsiteY7914"/>
              </a:cxn>
              <a:cxn ang="0">
                <a:pos x="connsiteX7915" y="connsiteY7915"/>
              </a:cxn>
              <a:cxn ang="0">
                <a:pos x="connsiteX7916" y="connsiteY7916"/>
              </a:cxn>
              <a:cxn ang="0">
                <a:pos x="connsiteX7917" y="connsiteY7917"/>
              </a:cxn>
              <a:cxn ang="0">
                <a:pos x="connsiteX7918" y="connsiteY7918"/>
              </a:cxn>
              <a:cxn ang="0">
                <a:pos x="connsiteX7919" y="connsiteY7919"/>
              </a:cxn>
              <a:cxn ang="0">
                <a:pos x="connsiteX7920" y="connsiteY7920"/>
              </a:cxn>
              <a:cxn ang="0">
                <a:pos x="connsiteX7921" y="connsiteY7921"/>
              </a:cxn>
              <a:cxn ang="0">
                <a:pos x="connsiteX7922" y="connsiteY7922"/>
              </a:cxn>
              <a:cxn ang="0">
                <a:pos x="connsiteX7923" y="connsiteY7923"/>
              </a:cxn>
              <a:cxn ang="0">
                <a:pos x="connsiteX7924" y="connsiteY7924"/>
              </a:cxn>
              <a:cxn ang="0">
                <a:pos x="connsiteX7925" y="connsiteY7925"/>
              </a:cxn>
              <a:cxn ang="0">
                <a:pos x="connsiteX7926" y="connsiteY7926"/>
              </a:cxn>
              <a:cxn ang="0">
                <a:pos x="connsiteX7927" y="connsiteY7927"/>
              </a:cxn>
              <a:cxn ang="0">
                <a:pos x="connsiteX7928" y="connsiteY7928"/>
              </a:cxn>
              <a:cxn ang="0">
                <a:pos x="connsiteX7929" y="connsiteY7929"/>
              </a:cxn>
              <a:cxn ang="0">
                <a:pos x="connsiteX7930" y="connsiteY7930"/>
              </a:cxn>
              <a:cxn ang="0">
                <a:pos x="connsiteX7931" y="connsiteY7931"/>
              </a:cxn>
              <a:cxn ang="0">
                <a:pos x="connsiteX7932" y="connsiteY7932"/>
              </a:cxn>
              <a:cxn ang="0">
                <a:pos x="connsiteX7933" y="connsiteY7933"/>
              </a:cxn>
              <a:cxn ang="0">
                <a:pos x="connsiteX7934" y="connsiteY7934"/>
              </a:cxn>
              <a:cxn ang="0">
                <a:pos x="connsiteX7935" y="connsiteY7935"/>
              </a:cxn>
              <a:cxn ang="0">
                <a:pos x="connsiteX7936" y="connsiteY7936"/>
              </a:cxn>
              <a:cxn ang="0">
                <a:pos x="connsiteX7937" y="connsiteY7937"/>
              </a:cxn>
              <a:cxn ang="0">
                <a:pos x="connsiteX7938" y="connsiteY7938"/>
              </a:cxn>
              <a:cxn ang="0">
                <a:pos x="connsiteX7939" y="connsiteY7939"/>
              </a:cxn>
              <a:cxn ang="0">
                <a:pos x="connsiteX7940" y="connsiteY7940"/>
              </a:cxn>
              <a:cxn ang="0">
                <a:pos x="connsiteX7941" y="connsiteY7941"/>
              </a:cxn>
              <a:cxn ang="0">
                <a:pos x="connsiteX7942" y="connsiteY7942"/>
              </a:cxn>
              <a:cxn ang="0">
                <a:pos x="connsiteX7943" y="connsiteY7943"/>
              </a:cxn>
              <a:cxn ang="0">
                <a:pos x="connsiteX7944" y="connsiteY7944"/>
              </a:cxn>
              <a:cxn ang="0">
                <a:pos x="connsiteX7945" y="connsiteY7945"/>
              </a:cxn>
              <a:cxn ang="0">
                <a:pos x="connsiteX7946" y="connsiteY7946"/>
              </a:cxn>
              <a:cxn ang="0">
                <a:pos x="connsiteX7947" y="connsiteY7947"/>
              </a:cxn>
              <a:cxn ang="0">
                <a:pos x="connsiteX7948" y="connsiteY7948"/>
              </a:cxn>
              <a:cxn ang="0">
                <a:pos x="connsiteX7949" y="connsiteY7949"/>
              </a:cxn>
              <a:cxn ang="0">
                <a:pos x="connsiteX7950" y="connsiteY7950"/>
              </a:cxn>
              <a:cxn ang="0">
                <a:pos x="connsiteX7951" y="connsiteY7951"/>
              </a:cxn>
              <a:cxn ang="0">
                <a:pos x="connsiteX7952" y="connsiteY7952"/>
              </a:cxn>
              <a:cxn ang="0">
                <a:pos x="connsiteX7953" y="connsiteY7953"/>
              </a:cxn>
              <a:cxn ang="0">
                <a:pos x="connsiteX7954" y="connsiteY7954"/>
              </a:cxn>
              <a:cxn ang="0">
                <a:pos x="connsiteX7955" y="connsiteY7955"/>
              </a:cxn>
              <a:cxn ang="0">
                <a:pos x="connsiteX7956" y="connsiteY7956"/>
              </a:cxn>
              <a:cxn ang="0">
                <a:pos x="connsiteX7957" y="connsiteY7957"/>
              </a:cxn>
              <a:cxn ang="0">
                <a:pos x="connsiteX7958" y="connsiteY7958"/>
              </a:cxn>
              <a:cxn ang="0">
                <a:pos x="connsiteX7959" y="connsiteY7959"/>
              </a:cxn>
              <a:cxn ang="0">
                <a:pos x="connsiteX7960" y="connsiteY7960"/>
              </a:cxn>
              <a:cxn ang="0">
                <a:pos x="connsiteX7961" y="connsiteY7961"/>
              </a:cxn>
              <a:cxn ang="0">
                <a:pos x="connsiteX7962" y="connsiteY7962"/>
              </a:cxn>
              <a:cxn ang="0">
                <a:pos x="connsiteX7963" y="connsiteY7963"/>
              </a:cxn>
              <a:cxn ang="0">
                <a:pos x="connsiteX7964" y="connsiteY7964"/>
              </a:cxn>
              <a:cxn ang="0">
                <a:pos x="connsiteX7965" y="connsiteY7965"/>
              </a:cxn>
              <a:cxn ang="0">
                <a:pos x="connsiteX7966" y="connsiteY7966"/>
              </a:cxn>
              <a:cxn ang="0">
                <a:pos x="connsiteX7967" y="connsiteY7967"/>
              </a:cxn>
              <a:cxn ang="0">
                <a:pos x="connsiteX7968" y="connsiteY7968"/>
              </a:cxn>
              <a:cxn ang="0">
                <a:pos x="connsiteX7969" y="connsiteY7969"/>
              </a:cxn>
              <a:cxn ang="0">
                <a:pos x="connsiteX7970" y="connsiteY7970"/>
              </a:cxn>
              <a:cxn ang="0">
                <a:pos x="connsiteX7971" y="connsiteY7971"/>
              </a:cxn>
              <a:cxn ang="0">
                <a:pos x="connsiteX7972" y="connsiteY7972"/>
              </a:cxn>
              <a:cxn ang="0">
                <a:pos x="connsiteX7973" y="connsiteY7973"/>
              </a:cxn>
              <a:cxn ang="0">
                <a:pos x="connsiteX7974" y="connsiteY7974"/>
              </a:cxn>
              <a:cxn ang="0">
                <a:pos x="connsiteX7975" y="connsiteY7975"/>
              </a:cxn>
              <a:cxn ang="0">
                <a:pos x="connsiteX7976" y="connsiteY7976"/>
              </a:cxn>
              <a:cxn ang="0">
                <a:pos x="connsiteX7977" y="connsiteY7977"/>
              </a:cxn>
              <a:cxn ang="0">
                <a:pos x="connsiteX7978" y="connsiteY7978"/>
              </a:cxn>
              <a:cxn ang="0">
                <a:pos x="connsiteX7979" y="connsiteY7979"/>
              </a:cxn>
              <a:cxn ang="0">
                <a:pos x="connsiteX7980" y="connsiteY7980"/>
              </a:cxn>
              <a:cxn ang="0">
                <a:pos x="connsiteX7981" y="connsiteY7981"/>
              </a:cxn>
              <a:cxn ang="0">
                <a:pos x="connsiteX7982" y="connsiteY7982"/>
              </a:cxn>
              <a:cxn ang="0">
                <a:pos x="connsiteX7983" y="connsiteY7983"/>
              </a:cxn>
              <a:cxn ang="0">
                <a:pos x="connsiteX7984" y="connsiteY7984"/>
              </a:cxn>
              <a:cxn ang="0">
                <a:pos x="connsiteX7985" y="connsiteY7985"/>
              </a:cxn>
              <a:cxn ang="0">
                <a:pos x="connsiteX7986" y="connsiteY7986"/>
              </a:cxn>
              <a:cxn ang="0">
                <a:pos x="connsiteX7987" y="connsiteY7987"/>
              </a:cxn>
              <a:cxn ang="0">
                <a:pos x="connsiteX7988" y="connsiteY7988"/>
              </a:cxn>
              <a:cxn ang="0">
                <a:pos x="connsiteX7989" y="connsiteY7989"/>
              </a:cxn>
              <a:cxn ang="0">
                <a:pos x="connsiteX7990" y="connsiteY7990"/>
              </a:cxn>
              <a:cxn ang="0">
                <a:pos x="connsiteX7991" y="connsiteY7991"/>
              </a:cxn>
              <a:cxn ang="0">
                <a:pos x="connsiteX7992" y="connsiteY7992"/>
              </a:cxn>
              <a:cxn ang="0">
                <a:pos x="connsiteX7993" y="connsiteY7993"/>
              </a:cxn>
              <a:cxn ang="0">
                <a:pos x="connsiteX7994" y="connsiteY7994"/>
              </a:cxn>
              <a:cxn ang="0">
                <a:pos x="connsiteX7995" y="connsiteY7995"/>
              </a:cxn>
              <a:cxn ang="0">
                <a:pos x="connsiteX7996" y="connsiteY7996"/>
              </a:cxn>
              <a:cxn ang="0">
                <a:pos x="connsiteX7997" y="connsiteY7997"/>
              </a:cxn>
              <a:cxn ang="0">
                <a:pos x="connsiteX7998" y="connsiteY7998"/>
              </a:cxn>
              <a:cxn ang="0">
                <a:pos x="connsiteX7999" y="connsiteY7999"/>
              </a:cxn>
              <a:cxn ang="0">
                <a:pos x="connsiteX8000" y="connsiteY8000"/>
              </a:cxn>
              <a:cxn ang="0">
                <a:pos x="connsiteX8001" y="connsiteY8001"/>
              </a:cxn>
              <a:cxn ang="0">
                <a:pos x="connsiteX8002" y="connsiteY8002"/>
              </a:cxn>
              <a:cxn ang="0">
                <a:pos x="connsiteX8003" y="connsiteY8003"/>
              </a:cxn>
              <a:cxn ang="0">
                <a:pos x="connsiteX8004" y="connsiteY8004"/>
              </a:cxn>
              <a:cxn ang="0">
                <a:pos x="connsiteX8005" y="connsiteY8005"/>
              </a:cxn>
              <a:cxn ang="0">
                <a:pos x="connsiteX8006" y="connsiteY8006"/>
              </a:cxn>
              <a:cxn ang="0">
                <a:pos x="connsiteX8007" y="connsiteY8007"/>
              </a:cxn>
              <a:cxn ang="0">
                <a:pos x="connsiteX8008" y="connsiteY8008"/>
              </a:cxn>
              <a:cxn ang="0">
                <a:pos x="connsiteX8009" y="connsiteY8009"/>
              </a:cxn>
              <a:cxn ang="0">
                <a:pos x="connsiteX8010" y="connsiteY8010"/>
              </a:cxn>
              <a:cxn ang="0">
                <a:pos x="connsiteX8011" y="connsiteY8011"/>
              </a:cxn>
              <a:cxn ang="0">
                <a:pos x="connsiteX8012" y="connsiteY8012"/>
              </a:cxn>
              <a:cxn ang="0">
                <a:pos x="connsiteX8013" y="connsiteY8013"/>
              </a:cxn>
              <a:cxn ang="0">
                <a:pos x="connsiteX8014" y="connsiteY8014"/>
              </a:cxn>
              <a:cxn ang="0">
                <a:pos x="connsiteX8015" y="connsiteY8015"/>
              </a:cxn>
              <a:cxn ang="0">
                <a:pos x="connsiteX8016" y="connsiteY8016"/>
              </a:cxn>
              <a:cxn ang="0">
                <a:pos x="connsiteX8017" y="connsiteY8017"/>
              </a:cxn>
              <a:cxn ang="0">
                <a:pos x="connsiteX8018" y="connsiteY8018"/>
              </a:cxn>
              <a:cxn ang="0">
                <a:pos x="connsiteX8019" y="connsiteY8019"/>
              </a:cxn>
              <a:cxn ang="0">
                <a:pos x="connsiteX8020" y="connsiteY8020"/>
              </a:cxn>
              <a:cxn ang="0">
                <a:pos x="connsiteX8021" y="connsiteY8021"/>
              </a:cxn>
              <a:cxn ang="0">
                <a:pos x="connsiteX8022" y="connsiteY8022"/>
              </a:cxn>
              <a:cxn ang="0">
                <a:pos x="connsiteX8023" y="connsiteY8023"/>
              </a:cxn>
              <a:cxn ang="0">
                <a:pos x="connsiteX8024" y="connsiteY8024"/>
              </a:cxn>
              <a:cxn ang="0">
                <a:pos x="connsiteX8025" y="connsiteY8025"/>
              </a:cxn>
              <a:cxn ang="0">
                <a:pos x="connsiteX8026" y="connsiteY8026"/>
              </a:cxn>
              <a:cxn ang="0">
                <a:pos x="connsiteX8027" y="connsiteY8027"/>
              </a:cxn>
              <a:cxn ang="0">
                <a:pos x="connsiteX8028" y="connsiteY8028"/>
              </a:cxn>
              <a:cxn ang="0">
                <a:pos x="connsiteX8029" y="connsiteY8029"/>
              </a:cxn>
              <a:cxn ang="0">
                <a:pos x="connsiteX8030" y="connsiteY8030"/>
              </a:cxn>
              <a:cxn ang="0">
                <a:pos x="connsiteX8031" y="connsiteY8031"/>
              </a:cxn>
              <a:cxn ang="0">
                <a:pos x="connsiteX8032" y="connsiteY8032"/>
              </a:cxn>
              <a:cxn ang="0">
                <a:pos x="connsiteX8033" y="connsiteY8033"/>
              </a:cxn>
              <a:cxn ang="0">
                <a:pos x="connsiteX8034" y="connsiteY8034"/>
              </a:cxn>
              <a:cxn ang="0">
                <a:pos x="connsiteX8035" y="connsiteY8035"/>
              </a:cxn>
              <a:cxn ang="0">
                <a:pos x="connsiteX8036" y="connsiteY8036"/>
              </a:cxn>
              <a:cxn ang="0">
                <a:pos x="connsiteX8037" y="connsiteY8037"/>
              </a:cxn>
              <a:cxn ang="0">
                <a:pos x="connsiteX8038" y="connsiteY8038"/>
              </a:cxn>
              <a:cxn ang="0">
                <a:pos x="connsiteX8039" y="connsiteY8039"/>
              </a:cxn>
              <a:cxn ang="0">
                <a:pos x="connsiteX8040" y="connsiteY8040"/>
              </a:cxn>
              <a:cxn ang="0">
                <a:pos x="connsiteX8041" y="connsiteY8041"/>
              </a:cxn>
              <a:cxn ang="0">
                <a:pos x="connsiteX8042" y="connsiteY8042"/>
              </a:cxn>
              <a:cxn ang="0">
                <a:pos x="connsiteX8043" y="connsiteY8043"/>
              </a:cxn>
              <a:cxn ang="0">
                <a:pos x="connsiteX8044" y="connsiteY8044"/>
              </a:cxn>
              <a:cxn ang="0">
                <a:pos x="connsiteX8045" y="connsiteY8045"/>
              </a:cxn>
              <a:cxn ang="0">
                <a:pos x="connsiteX8046" y="connsiteY8046"/>
              </a:cxn>
              <a:cxn ang="0">
                <a:pos x="connsiteX8047" y="connsiteY8047"/>
              </a:cxn>
              <a:cxn ang="0">
                <a:pos x="connsiteX8048" y="connsiteY8048"/>
              </a:cxn>
              <a:cxn ang="0">
                <a:pos x="connsiteX8049" y="connsiteY8049"/>
              </a:cxn>
              <a:cxn ang="0">
                <a:pos x="connsiteX8050" y="connsiteY8050"/>
              </a:cxn>
              <a:cxn ang="0">
                <a:pos x="connsiteX8051" y="connsiteY8051"/>
              </a:cxn>
              <a:cxn ang="0">
                <a:pos x="connsiteX8052" y="connsiteY8052"/>
              </a:cxn>
              <a:cxn ang="0">
                <a:pos x="connsiteX8053" y="connsiteY8053"/>
              </a:cxn>
              <a:cxn ang="0">
                <a:pos x="connsiteX8054" y="connsiteY8054"/>
              </a:cxn>
              <a:cxn ang="0">
                <a:pos x="connsiteX8055" y="connsiteY8055"/>
              </a:cxn>
              <a:cxn ang="0">
                <a:pos x="connsiteX8056" y="connsiteY8056"/>
              </a:cxn>
              <a:cxn ang="0">
                <a:pos x="connsiteX8057" y="connsiteY8057"/>
              </a:cxn>
              <a:cxn ang="0">
                <a:pos x="connsiteX8058" y="connsiteY8058"/>
              </a:cxn>
              <a:cxn ang="0">
                <a:pos x="connsiteX8059" y="connsiteY8059"/>
              </a:cxn>
              <a:cxn ang="0">
                <a:pos x="connsiteX8060" y="connsiteY8060"/>
              </a:cxn>
              <a:cxn ang="0">
                <a:pos x="connsiteX8061" y="connsiteY8061"/>
              </a:cxn>
              <a:cxn ang="0">
                <a:pos x="connsiteX8062" y="connsiteY8062"/>
              </a:cxn>
              <a:cxn ang="0">
                <a:pos x="connsiteX8063" y="connsiteY8063"/>
              </a:cxn>
              <a:cxn ang="0">
                <a:pos x="connsiteX8064" y="connsiteY8064"/>
              </a:cxn>
              <a:cxn ang="0">
                <a:pos x="connsiteX8065" y="connsiteY8065"/>
              </a:cxn>
              <a:cxn ang="0">
                <a:pos x="connsiteX8066" y="connsiteY8066"/>
              </a:cxn>
              <a:cxn ang="0">
                <a:pos x="connsiteX8067" y="connsiteY8067"/>
              </a:cxn>
              <a:cxn ang="0">
                <a:pos x="connsiteX8068" y="connsiteY8068"/>
              </a:cxn>
              <a:cxn ang="0">
                <a:pos x="connsiteX8069" y="connsiteY8069"/>
              </a:cxn>
              <a:cxn ang="0">
                <a:pos x="connsiteX8070" y="connsiteY8070"/>
              </a:cxn>
              <a:cxn ang="0">
                <a:pos x="connsiteX8071" y="connsiteY8071"/>
              </a:cxn>
              <a:cxn ang="0">
                <a:pos x="connsiteX8072" y="connsiteY8072"/>
              </a:cxn>
              <a:cxn ang="0">
                <a:pos x="connsiteX8073" y="connsiteY8073"/>
              </a:cxn>
              <a:cxn ang="0">
                <a:pos x="connsiteX8074" y="connsiteY8074"/>
              </a:cxn>
              <a:cxn ang="0">
                <a:pos x="connsiteX8075" y="connsiteY8075"/>
              </a:cxn>
              <a:cxn ang="0">
                <a:pos x="connsiteX8076" y="connsiteY8076"/>
              </a:cxn>
              <a:cxn ang="0">
                <a:pos x="connsiteX8077" y="connsiteY8077"/>
              </a:cxn>
              <a:cxn ang="0">
                <a:pos x="connsiteX8078" y="connsiteY8078"/>
              </a:cxn>
              <a:cxn ang="0">
                <a:pos x="connsiteX8079" y="connsiteY8079"/>
              </a:cxn>
              <a:cxn ang="0">
                <a:pos x="connsiteX8080" y="connsiteY8080"/>
              </a:cxn>
              <a:cxn ang="0">
                <a:pos x="connsiteX8081" y="connsiteY8081"/>
              </a:cxn>
              <a:cxn ang="0">
                <a:pos x="connsiteX8082" y="connsiteY8082"/>
              </a:cxn>
              <a:cxn ang="0">
                <a:pos x="connsiteX8083" y="connsiteY8083"/>
              </a:cxn>
              <a:cxn ang="0">
                <a:pos x="connsiteX8084" y="connsiteY8084"/>
              </a:cxn>
              <a:cxn ang="0">
                <a:pos x="connsiteX8085" y="connsiteY8085"/>
              </a:cxn>
              <a:cxn ang="0">
                <a:pos x="connsiteX8086" y="connsiteY8086"/>
              </a:cxn>
              <a:cxn ang="0">
                <a:pos x="connsiteX8087" y="connsiteY8087"/>
              </a:cxn>
              <a:cxn ang="0">
                <a:pos x="connsiteX8088" y="connsiteY8088"/>
              </a:cxn>
              <a:cxn ang="0">
                <a:pos x="connsiteX8089" y="connsiteY8089"/>
              </a:cxn>
              <a:cxn ang="0">
                <a:pos x="connsiteX8090" y="connsiteY8090"/>
              </a:cxn>
              <a:cxn ang="0">
                <a:pos x="connsiteX8091" y="connsiteY8091"/>
              </a:cxn>
              <a:cxn ang="0">
                <a:pos x="connsiteX8092" y="connsiteY8092"/>
              </a:cxn>
              <a:cxn ang="0">
                <a:pos x="connsiteX8093" y="connsiteY8093"/>
              </a:cxn>
              <a:cxn ang="0">
                <a:pos x="connsiteX8094" y="connsiteY8094"/>
              </a:cxn>
              <a:cxn ang="0">
                <a:pos x="connsiteX8095" y="connsiteY8095"/>
              </a:cxn>
              <a:cxn ang="0">
                <a:pos x="connsiteX8096" y="connsiteY8096"/>
              </a:cxn>
              <a:cxn ang="0">
                <a:pos x="connsiteX8097" y="connsiteY8097"/>
              </a:cxn>
              <a:cxn ang="0">
                <a:pos x="connsiteX8098" y="connsiteY8098"/>
              </a:cxn>
              <a:cxn ang="0">
                <a:pos x="connsiteX8099" y="connsiteY8099"/>
              </a:cxn>
              <a:cxn ang="0">
                <a:pos x="connsiteX8100" y="connsiteY8100"/>
              </a:cxn>
              <a:cxn ang="0">
                <a:pos x="connsiteX8101" y="connsiteY8101"/>
              </a:cxn>
              <a:cxn ang="0">
                <a:pos x="connsiteX8102" y="connsiteY8102"/>
              </a:cxn>
              <a:cxn ang="0">
                <a:pos x="connsiteX8103" y="connsiteY8103"/>
              </a:cxn>
              <a:cxn ang="0">
                <a:pos x="connsiteX8104" y="connsiteY8104"/>
              </a:cxn>
              <a:cxn ang="0">
                <a:pos x="connsiteX8105" y="connsiteY8105"/>
              </a:cxn>
              <a:cxn ang="0">
                <a:pos x="connsiteX8106" y="connsiteY8106"/>
              </a:cxn>
              <a:cxn ang="0">
                <a:pos x="connsiteX8107" y="connsiteY8107"/>
              </a:cxn>
              <a:cxn ang="0">
                <a:pos x="connsiteX8108" y="connsiteY8108"/>
              </a:cxn>
              <a:cxn ang="0">
                <a:pos x="connsiteX8109" y="connsiteY8109"/>
              </a:cxn>
              <a:cxn ang="0">
                <a:pos x="connsiteX8110" y="connsiteY8110"/>
              </a:cxn>
              <a:cxn ang="0">
                <a:pos x="connsiteX8111" y="connsiteY8111"/>
              </a:cxn>
              <a:cxn ang="0">
                <a:pos x="connsiteX8112" y="connsiteY8112"/>
              </a:cxn>
              <a:cxn ang="0">
                <a:pos x="connsiteX8113" y="connsiteY8113"/>
              </a:cxn>
              <a:cxn ang="0">
                <a:pos x="connsiteX8114" y="connsiteY8114"/>
              </a:cxn>
              <a:cxn ang="0">
                <a:pos x="connsiteX8115" y="connsiteY8115"/>
              </a:cxn>
              <a:cxn ang="0">
                <a:pos x="connsiteX8116" y="connsiteY8116"/>
              </a:cxn>
              <a:cxn ang="0">
                <a:pos x="connsiteX8117" y="connsiteY8117"/>
              </a:cxn>
              <a:cxn ang="0">
                <a:pos x="connsiteX8118" y="connsiteY8118"/>
              </a:cxn>
              <a:cxn ang="0">
                <a:pos x="connsiteX8119" y="connsiteY8119"/>
              </a:cxn>
              <a:cxn ang="0">
                <a:pos x="connsiteX8120" y="connsiteY8120"/>
              </a:cxn>
              <a:cxn ang="0">
                <a:pos x="connsiteX8121" y="connsiteY8121"/>
              </a:cxn>
              <a:cxn ang="0">
                <a:pos x="connsiteX8122" y="connsiteY8122"/>
              </a:cxn>
              <a:cxn ang="0">
                <a:pos x="connsiteX8123" y="connsiteY8123"/>
              </a:cxn>
              <a:cxn ang="0">
                <a:pos x="connsiteX8124" y="connsiteY8124"/>
              </a:cxn>
              <a:cxn ang="0">
                <a:pos x="connsiteX8125" y="connsiteY8125"/>
              </a:cxn>
              <a:cxn ang="0">
                <a:pos x="connsiteX8126" y="connsiteY8126"/>
              </a:cxn>
              <a:cxn ang="0">
                <a:pos x="connsiteX8127" y="connsiteY8127"/>
              </a:cxn>
              <a:cxn ang="0">
                <a:pos x="connsiteX8128" y="connsiteY8128"/>
              </a:cxn>
              <a:cxn ang="0">
                <a:pos x="connsiteX8129" y="connsiteY8129"/>
              </a:cxn>
              <a:cxn ang="0">
                <a:pos x="connsiteX8130" y="connsiteY8130"/>
              </a:cxn>
              <a:cxn ang="0">
                <a:pos x="connsiteX8131" y="connsiteY8131"/>
              </a:cxn>
              <a:cxn ang="0">
                <a:pos x="connsiteX8132" y="connsiteY8132"/>
              </a:cxn>
              <a:cxn ang="0">
                <a:pos x="connsiteX8133" y="connsiteY8133"/>
              </a:cxn>
              <a:cxn ang="0">
                <a:pos x="connsiteX8134" y="connsiteY8134"/>
              </a:cxn>
              <a:cxn ang="0">
                <a:pos x="connsiteX8135" y="connsiteY8135"/>
              </a:cxn>
              <a:cxn ang="0">
                <a:pos x="connsiteX8136" y="connsiteY8136"/>
              </a:cxn>
              <a:cxn ang="0">
                <a:pos x="connsiteX8137" y="connsiteY8137"/>
              </a:cxn>
              <a:cxn ang="0">
                <a:pos x="connsiteX8138" y="connsiteY8138"/>
              </a:cxn>
              <a:cxn ang="0">
                <a:pos x="connsiteX8139" y="connsiteY8139"/>
              </a:cxn>
              <a:cxn ang="0">
                <a:pos x="connsiteX8140" y="connsiteY8140"/>
              </a:cxn>
              <a:cxn ang="0">
                <a:pos x="connsiteX8141" y="connsiteY8141"/>
              </a:cxn>
              <a:cxn ang="0">
                <a:pos x="connsiteX8142" y="connsiteY8142"/>
              </a:cxn>
              <a:cxn ang="0">
                <a:pos x="connsiteX8143" y="connsiteY8143"/>
              </a:cxn>
              <a:cxn ang="0">
                <a:pos x="connsiteX8144" y="connsiteY8144"/>
              </a:cxn>
              <a:cxn ang="0">
                <a:pos x="connsiteX8145" y="connsiteY8145"/>
              </a:cxn>
              <a:cxn ang="0">
                <a:pos x="connsiteX8146" y="connsiteY8146"/>
              </a:cxn>
              <a:cxn ang="0">
                <a:pos x="connsiteX8147" y="connsiteY8147"/>
              </a:cxn>
              <a:cxn ang="0">
                <a:pos x="connsiteX8148" y="connsiteY8148"/>
              </a:cxn>
              <a:cxn ang="0">
                <a:pos x="connsiteX8149" y="connsiteY8149"/>
              </a:cxn>
              <a:cxn ang="0">
                <a:pos x="connsiteX8150" y="connsiteY8150"/>
              </a:cxn>
              <a:cxn ang="0">
                <a:pos x="connsiteX8151" y="connsiteY8151"/>
              </a:cxn>
              <a:cxn ang="0">
                <a:pos x="connsiteX8152" y="connsiteY8152"/>
              </a:cxn>
              <a:cxn ang="0">
                <a:pos x="connsiteX8153" y="connsiteY8153"/>
              </a:cxn>
              <a:cxn ang="0">
                <a:pos x="connsiteX8154" y="connsiteY8154"/>
              </a:cxn>
              <a:cxn ang="0">
                <a:pos x="connsiteX8155" y="connsiteY8155"/>
              </a:cxn>
              <a:cxn ang="0">
                <a:pos x="connsiteX8156" y="connsiteY8156"/>
              </a:cxn>
              <a:cxn ang="0">
                <a:pos x="connsiteX8157" y="connsiteY8157"/>
              </a:cxn>
              <a:cxn ang="0">
                <a:pos x="connsiteX8158" y="connsiteY8158"/>
              </a:cxn>
              <a:cxn ang="0">
                <a:pos x="connsiteX8159" y="connsiteY8159"/>
              </a:cxn>
              <a:cxn ang="0">
                <a:pos x="connsiteX8160" y="connsiteY8160"/>
              </a:cxn>
              <a:cxn ang="0">
                <a:pos x="connsiteX8161" y="connsiteY8161"/>
              </a:cxn>
              <a:cxn ang="0">
                <a:pos x="connsiteX8162" y="connsiteY8162"/>
              </a:cxn>
              <a:cxn ang="0">
                <a:pos x="connsiteX8163" y="connsiteY8163"/>
              </a:cxn>
              <a:cxn ang="0">
                <a:pos x="connsiteX8164" y="connsiteY8164"/>
              </a:cxn>
              <a:cxn ang="0">
                <a:pos x="connsiteX8165" y="connsiteY8165"/>
              </a:cxn>
              <a:cxn ang="0">
                <a:pos x="connsiteX8166" y="connsiteY8166"/>
              </a:cxn>
              <a:cxn ang="0">
                <a:pos x="connsiteX8167" y="connsiteY8167"/>
              </a:cxn>
              <a:cxn ang="0">
                <a:pos x="connsiteX8168" y="connsiteY8168"/>
              </a:cxn>
              <a:cxn ang="0">
                <a:pos x="connsiteX8169" y="connsiteY8169"/>
              </a:cxn>
              <a:cxn ang="0">
                <a:pos x="connsiteX8170" y="connsiteY8170"/>
              </a:cxn>
              <a:cxn ang="0">
                <a:pos x="connsiteX8171" y="connsiteY8171"/>
              </a:cxn>
              <a:cxn ang="0">
                <a:pos x="connsiteX8172" y="connsiteY8172"/>
              </a:cxn>
              <a:cxn ang="0">
                <a:pos x="connsiteX8173" y="connsiteY8173"/>
              </a:cxn>
              <a:cxn ang="0">
                <a:pos x="connsiteX8174" y="connsiteY8174"/>
              </a:cxn>
              <a:cxn ang="0">
                <a:pos x="connsiteX8175" y="connsiteY8175"/>
              </a:cxn>
              <a:cxn ang="0">
                <a:pos x="connsiteX8176" y="connsiteY8176"/>
              </a:cxn>
              <a:cxn ang="0">
                <a:pos x="connsiteX8177" y="connsiteY8177"/>
              </a:cxn>
              <a:cxn ang="0">
                <a:pos x="connsiteX8178" y="connsiteY8178"/>
              </a:cxn>
              <a:cxn ang="0">
                <a:pos x="connsiteX8179" y="connsiteY8179"/>
              </a:cxn>
              <a:cxn ang="0">
                <a:pos x="connsiteX8180" y="connsiteY8180"/>
              </a:cxn>
              <a:cxn ang="0">
                <a:pos x="connsiteX8181" y="connsiteY8181"/>
              </a:cxn>
              <a:cxn ang="0">
                <a:pos x="connsiteX8182" y="connsiteY8182"/>
              </a:cxn>
              <a:cxn ang="0">
                <a:pos x="connsiteX8183" y="connsiteY8183"/>
              </a:cxn>
              <a:cxn ang="0">
                <a:pos x="connsiteX8184" y="connsiteY8184"/>
              </a:cxn>
              <a:cxn ang="0">
                <a:pos x="connsiteX8185" y="connsiteY8185"/>
              </a:cxn>
              <a:cxn ang="0">
                <a:pos x="connsiteX8186" y="connsiteY8186"/>
              </a:cxn>
              <a:cxn ang="0">
                <a:pos x="connsiteX8187" y="connsiteY8187"/>
              </a:cxn>
              <a:cxn ang="0">
                <a:pos x="connsiteX8188" y="connsiteY8188"/>
              </a:cxn>
              <a:cxn ang="0">
                <a:pos x="connsiteX8189" y="connsiteY8189"/>
              </a:cxn>
              <a:cxn ang="0">
                <a:pos x="connsiteX8190" y="connsiteY8190"/>
              </a:cxn>
              <a:cxn ang="0">
                <a:pos x="connsiteX8191" y="connsiteY8191"/>
              </a:cxn>
              <a:cxn ang="0">
                <a:pos x="connsiteX8192" y="connsiteY8192"/>
              </a:cxn>
              <a:cxn ang="0">
                <a:pos x="connsiteX8193" y="connsiteY8193"/>
              </a:cxn>
              <a:cxn ang="0">
                <a:pos x="connsiteX8194" y="connsiteY8194"/>
              </a:cxn>
              <a:cxn ang="0">
                <a:pos x="connsiteX8195" y="connsiteY8195"/>
              </a:cxn>
              <a:cxn ang="0">
                <a:pos x="connsiteX8196" y="connsiteY8196"/>
              </a:cxn>
              <a:cxn ang="0">
                <a:pos x="connsiteX8197" y="connsiteY8197"/>
              </a:cxn>
              <a:cxn ang="0">
                <a:pos x="connsiteX8198" y="connsiteY8198"/>
              </a:cxn>
              <a:cxn ang="0">
                <a:pos x="connsiteX8199" y="connsiteY8199"/>
              </a:cxn>
              <a:cxn ang="0">
                <a:pos x="connsiteX8200" y="connsiteY8200"/>
              </a:cxn>
              <a:cxn ang="0">
                <a:pos x="connsiteX8201" y="connsiteY8201"/>
              </a:cxn>
              <a:cxn ang="0">
                <a:pos x="connsiteX8202" y="connsiteY8202"/>
              </a:cxn>
              <a:cxn ang="0">
                <a:pos x="connsiteX8203" y="connsiteY8203"/>
              </a:cxn>
              <a:cxn ang="0">
                <a:pos x="connsiteX8204" y="connsiteY8204"/>
              </a:cxn>
              <a:cxn ang="0">
                <a:pos x="connsiteX8205" y="connsiteY8205"/>
              </a:cxn>
              <a:cxn ang="0">
                <a:pos x="connsiteX8206" y="connsiteY8206"/>
              </a:cxn>
              <a:cxn ang="0">
                <a:pos x="connsiteX8207" y="connsiteY8207"/>
              </a:cxn>
              <a:cxn ang="0">
                <a:pos x="connsiteX8208" y="connsiteY8208"/>
              </a:cxn>
              <a:cxn ang="0">
                <a:pos x="connsiteX8209" y="connsiteY8209"/>
              </a:cxn>
              <a:cxn ang="0">
                <a:pos x="connsiteX8210" y="connsiteY8210"/>
              </a:cxn>
              <a:cxn ang="0">
                <a:pos x="connsiteX8211" y="connsiteY8211"/>
              </a:cxn>
              <a:cxn ang="0">
                <a:pos x="connsiteX8212" y="connsiteY8212"/>
              </a:cxn>
              <a:cxn ang="0">
                <a:pos x="connsiteX8213" y="connsiteY8213"/>
              </a:cxn>
              <a:cxn ang="0">
                <a:pos x="connsiteX8214" y="connsiteY8214"/>
              </a:cxn>
              <a:cxn ang="0">
                <a:pos x="connsiteX8215" y="connsiteY8215"/>
              </a:cxn>
              <a:cxn ang="0">
                <a:pos x="connsiteX8216" y="connsiteY8216"/>
              </a:cxn>
              <a:cxn ang="0">
                <a:pos x="connsiteX8217" y="connsiteY8217"/>
              </a:cxn>
              <a:cxn ang="0">
                <a:pos x="connsiteX8218" y="connsiteY8218"/>
              </a:cxn>
              <a:cxn ang="0">
                <a:pos x="connsiteX8219" y="connsiteY8219"/>
              </a:cxn>
              <a:cxn ang="0">
                <a:pos x="connsiteX8220" y="connsiteY8220"/>
              </a:cxn>
              <a:cxn ang="0">
                <a:pos x="connsiteX8221" y="connsiteY8221"/>
              </a:cxn>
              <a:cxn ang="0">
                <a:pos x="connsiteX8222" y="connsiteY8222"/>
              </a:cxn>
              <a:cxn ang="0">
                <a:pos x="connsiteX8223" y="connsiteY8223"/>
              </a:cxn>
              <a:cxn ang="0">
                <a:pos x="connsiteX8224" y="connsiteY8224"/>
              </a:cxn>
              <a:cxn ang="0">
                <a:pos x="connsiteX8225" y="connsiteY8225"/>
              </a:cxn>
              <a:cxn ang="0">
                <a:pos x="connsiteX8226" y="connsiteY8226"/>
              </a:cxn>
              <a:cxn ang="0">
                <a:pos x="connsiteX8227" y="connsiteY8227"/>
              </a:cxn>
              <a:cxn ang="0">
                <a:pos x="connsiteX8228" y="connsiteY8228"/>
              </a:cxn>
              <a:cxn ang="0">
                <a:pos x="connsiteX8229" y="connsiteY8229"/>
              </a:cxn>
              <a:cxn ang="0">
                <a:pos x="connsiteX8230" y="connsiteY8230"/>
              </a:cxn>
              <a:cxn ang="0">
                <a:pos x="connsiteX8231" y="connsiteY8231"/>
              </a:cxn>
              <a:cxn ang="0">
                <a:pos x="connsiteX8232" y="connsiteY8232"/>
              </a:cxn>
              <a:cxn ang="0">
                <a:pos x="connsiteX8233" y="connsiteY8233"/>
              </a:cxn>
              <a:cxn ang="0">
                <a:pos x="connsiteX8234" y="connsiteY8234"/>
              </a:cxn>
              <a:cxn ang="0">
                <a:pos x="connsiteX8235" y="connsiteY8235"/>
              </a:cxn>
              <a:cxn ang="0">
                <a:pos x="connsiteX8236" y="connsiteY8236"/>
              </a:cxn>
              <a:cxn ang="0">
                <a:pos x="connsiteX8237" y="connsiteY8237"/>
              </a:cxn>
              <a:cxn ang="0">
                <a:pos x="connsiteX8238" y="connsiteY8238"/>
              </a:cxn>
              <a:cxn ang="0">
                <a:pos x="connsiteX8239" y="connsiteY8239"/>
              </a:cxn>
              <a:cxn ang="0">
                <a:pos x="connsiteX8240" y="connsiteY8240"/>
              </a:cxn>
              <a:cxn ang="0">
                <a:pos x="connsiteX8241" y="connsiteY8241"/>
              </a:cxn>
              <a:cxn ang="0">
                <a:pos x="connsiteX8242" y="connsiteY8242"/>
              </a:cxn>
              <a:cxn ang="0">
                <a:pos x="connsiteX8243" y="connsiteY8243"/>
              </a:cxn>
              <a:cxn ang="0">
                <a:pos x="connsiteX8244" y="connsiteY8244"/>
              </a:cxn>
              <a:cxn ang="0">
                <a:pos x="connsiteX8245" y="connsiteY8245"/>
              </a:cxn>
              <a:cxn ang="0">
                <a:pos x="connsiteX8246" y="connsiteY8246"/>
              </a:cxn>
              <a:cxn ang="0">
                <a:pos x="connsiteX8247" y="connsiteY8247"/>
              </a:cxn>
              <a:cxn ang="0">
                <a:pos x="connsiteX8248" y="connsiteY8248"/>
              </a:cxn>
              <a:cxn ang="0">
                <a:pos x="connsiteX8249" y="connsiteY8249"/>
              </a:cxn>
              <a:cxn ang="0">
                <a:pos x="connsiteX8250" y="connsiteY8250"/>
              </a:cxn>
              <a:cxn ang="0">
                <a:pos x="connsiteX8251" y="connsiteY8251"/>
              </a:cxn>
              <a:cxn ang="0">
                <a:pos x="connsiteX8252" y="connsiteY8252"/>
              </a:cxn>
              <a:cxn ang="0">
                <a:pos x="connsiteX8253" y="connsiteY8253"/>
              </a:cxn>
              <a:cxn ang="0">
                <a:pos x="connsiteX8254" y="connsiteY8254"/>
              </a:cxn>
              <a:cxn ang="0">
                <a:pos x="connsiteX8255" y="connsiteY8255"/>
              </a:cxn>
              <a:cxn ang="0">
                <a:pos x="connsiteX8256" y="connsiteY8256"/>
              </a:cxn>
              <a:cxn ang="0">
                <a:pos x="connsiteX8257" y="connsiteY8257"/>
              </a:cxn>
              <a:cxn ang="0">
                <a:pos x="connsiteX8258" y="connsiteY8258"/>
              </a:cxn>
              <a:cxn ang="0">
                <a:pos x="connsiteX8259" y="connsiteY8259"/>
              </a:cxn>
              <a:cxn ang="0">
                <a:pos x="connsiteX8260" y="connsiteY8260"/>
              </a:cxn>
              <a:cxn ang="0">
                <a:pos x="connsiteX8261" y="connsiteY8261"/>
              </a:cxn>
              <a:cxn ang="0">
                <a:pos x="connsiteX8262" y="connsiteY8262"/>
              </a:cxn>
              <a:cxn ang="0">
                <a:pos x="connsiteX8263" y="connsiteY8263"/>
              </a:cxn>
              <a:cxn ang="0">
                <a:pos x="connsiteX8264" y="connsiteY8264"/>
              </a:cxn>
              <a:cxn ang="0">
                <a:pos x="connsiteX8265" y="connsiteY8265"/>
              </a:cxn>
              <a:cxn ang="0">
                <a:pos x="connsiteX8266" y="connsiteY8266"/>
              </a:cxn>
              <a:cxn ang="0">
                <a:pos x="connsiteX8267" y="connsiteY8267"/>
              </a:cxn>
              <a:cxn ang="0">
                <a:pos x="connsiteX8268" y="connsiteY8268"/>
              </a:cxn>
              <a:cxn ang="0">
                <a:pos x="connsiteX8269" y="connsiteY8269"/>
              </a:cxn>
              <a:cxn ang="0">
                <a:pos x="connsiteX8270" y="connsiteY8270"/>
              </a:cxn>
              <a:cxn ang="0">
                <a:pos x="connsiteX8271" y="connsiteY8271"/>
              </a:cxn>
              <a:cxn ang="0">
                <a:pos x="connsiteX8272" y="connsiteY8272"/>
              </a:cxn>
              <a:cxn ang="0">
                <a:pos x="connsiteX8273" y="connsiteY8273"/>
              </a:cxn>
              <a:cxn ang="0">
                <a:pos x="connsiteX8274" y="connsiteY8274"/>
              </a:cxn>
              <a:cxn ang="0">
                <a:pos x="connsiteX8275" y="connsiteY8275"/>
              </a:cxn>
              <a:cxn ang="0">
                <a:pos x="connsiteX8276" y="connsiteY8276"/>
              </a:cxn>
              <a:cxn ang="0">
                <a:pos x="connsiteX8277" y="connsiteY8277"/>
              </a:cxn>
              <a:cxn ang="0">
                <a:pos x="connsiteX8278" y="connsiteY8278"/>
              </a:cxn>
              <a:cxn ang="0">
                <a:pos x="connsiteX8279" y="connsiteY8279"/>
              </a:cxn>
              <a:cxn ang="0">
                <a:pos x="connsiteX8280" y="connsiteY8280"/>
              </a:cxn>
              <a:cxn ang="0">
                <a:pos x="connsiteX8281" y="connsiteY8281"/>
              </a:cxn>
              <a:cxn ang="0">
                <a:pos x="connsiteX8282" y="connsiteY8282"/>
              </a:cxn>
              <a:cxn ang="0">
                <a:pos x="connsiteX8283" y="connsiteY8283"/>
              </a:cxn>
              <a:cxn ang="0">
                <a:pos x="connsiteX8284" y="connsiteY8284"/>
              </a:cxn>
              <a:cxn ang="0">
                <a:pos x="connsiteX8285" y="connsiteY8285"/>
              </a:cxn>
              <a:cxn ang="0">
                <a:pos x="connsiteX8286" y="connsiteY8286"/>
              </a:cxn>
              <a:cxn ang="0">
                <a:pos x="connsiteX8287" y="connsiteY8287"/>
              </a:cxn>
              <a:cxn ang="0">
                <a:pos x="connsiteX8288" y="connsiteY8288"/>
              </a:cxn>
              <a:cxn ang="0">
                <a:pos x="connsiteX8289" y="connsiteY8289"/>
              </a:cxn>
              <a:cxn ang="0">
                <a:pos x="connsiteX8290" y="connsiteY8290"/>
              </a:cxn>
              <a:cxn ang="0">
                <a:pos x="connsiteX8291" y="connsiteY8291"/>
              </a:cxn>
              <a:cxn ang="0">
                <a:pos x="connsiteX8292" y="connsiteY8292"/>
              </a:cxn>
              <a:cxn ang="0">
                <a:pos x="connsiteX8293" y="connsiteY8293"/>
              </a:cxn>
              <a:cxn ang="0">
                <a:pos x="connsiteX8294" y="connsiteY8294"/>
              </a:cxn>
              <a:cxn ang="0">
                <a:pos x="connsiteX8295" y="connsiteY8295"/>
              </a:cxn>
              <a:cxn ang="0">
                <a:pos x="connsiteX8296" y="connsiteY8296"/>
              </a:cxn>
              <a:cxn ang="0">
                <a:pos x="connsiteX8297" y="connsiteY8297"/>
              </a:cxn>
              <a:cxn ang="0">
                <a:pos x="connsiteX8298" y="connsiteY8298"/>
              </a:cxn>
              <a:cxn ang="0">
                <a:pos x="connsiteX8299" y="connsiteY8299"/>
              </a:cxn>
              <a:cxn ang="0">
                <a:pos x="connsiteX8300" y="connsiteY8300"/>
              </a:cxn>
              <a:cxn ang="0">
                <a:pos x="connsiteX8301" y="connsiteY8301"/>
              </a:cxn>
              <a:cxn ang="0">
                <a:pos x="connsiteX8302" y="connsiteY8302"/>
              </a:cxn>
              <a:cxn ang="0">
                <a:pos x="connsiteX8303" y="connsiteY8303"/>
              </a:cxn>
              <a:cxn ang="0">
                <a:pos x="connsiteX8304" y="connsiteY8304"/>
              </a:cxn>
              <a:cxn ang="0">
                <a:pos x="connsiteX8305" y="connsiteY8305"/>
              </a:cxn>
              <a:cxn ang="0">
                <a:pos x="connsiteX8306" y="connsiteY8306"/>
              </a:cxn>
              <a:cxn ang="0">
                <a:pos x="connsiteX8307" y="connsiteY8307"/>
              </a:cxn>
              <a:cxn ang="0">
                <a:pos x="connsiteX8308" y="connsiteY8308"/>
              </a:cxn>
              <a:cxn ang="0">
                <a:pos x="connsiteX8309" y="connsiteY8309"/>
              </a:cxn>
              <a:cxn ang="0">
                <a:pos x="connsiteX8310" y="connsiteY8310"/>
              </a:cxn>
              <a:cxn ang="0">
                <a:pos x="connsiteX8311" y="connsiteY8311"/>
              </a:cxn>
              <a:cxn ang="0">
                <a:pos x="connsiteX8312" y="connsiteY8312"/>
              </a:cxn>
              <a:cxn ang="0">
                <a:pos x="connsiteX8313" y="connsiteY8313"/>
              </a:cxn>
              <a:cxn ang="0">
                <a:pos x="connsiteX8314" y="connsiteY8314"/>
              </a:cxn>
              <a:cxn ang="0">
                <a:pos x="connsiteX8315" y="connsiteY8315"/>
              </a:cxn>
              <a:cxn ang="0">
                <a:pos x="connsiteX8316" y="connsiteY8316"/>
              </a:cxn>
              <a:cxn ang="0">
                <a:pos x="connsiteX8317" y="connsiteY8317"/>
              </a:cxn>
              <a:cxn ang="0">
                <a:pos x="connsiteX8318" y="connsiteY8318"/>
              </a:cxn>
              <a:cxn ang="0">
                <a:pos x="connsiteX8319" y="connsiteY8319"/>
              </a:cxn>
              <a:cxn ang="0">
                <a:pos x="connsiteX8320" y="connsiteY8320"/>
              </a:cxn>
              <a:cxn ang="0">
                <a:pos x="connsiteX8321" y="connsiteY8321"/>
              </a:cxn>
              <a:cxn ang="0">
                <a:pos x="connsiteX8322" y="connsiteY8322"/>
              </a:cxn>
              <a:cxn ang="0">
                <a:pos x="connsiteX8323" y="connsiteY8323"/>
              </a:cxn>
              <a:cxn ang="0">
                <a:pos x="connsiteX8324" y="connsiteY8324"/>
              </a:cxn>
              <a:cxn ang="0">
                <a:pos x="connsiteX8325" y="connsiteY8325"/>
              </a:cxn>
              <a:cxn ang="0">
                <a:pos x="connsiteX8326" y="connsiteY8326"/>
              </a:cxn>
              <a:cxn ang="0">
                <a:pos x="connsiteX8327" y="connsiteY8327"/>
              </a:cxn>
              <a:cxn ang="0">
                <a:pos x="connsiteX8328" y="connsiteY8328"/>
              </a:cxn>
              <a:cxn ang="0">
                <a:pos x="connsiteX8329" y="connsiteY8329"/>
              </a:cxn>
              <a:cxn ang="0">
                <a:pos x="connsiteX8330" y="connsiteY8330"/>
              </a:cxn>
              <a:cxn ang="0">
                <a:pos x="connsiteX8331" y="connsiteY8331"/>
              </a:cxn>
              <a:cxn ang="0">
                <a:pos x="connsiteX8332" y="connsiteY8332"/>
              </a:cxn>
              <a:cxn ang="0">
                <a:pos x="connsiteX8333" y="connsiteY8333"/>
              </a:cxn>
              <a:cxn ang="0">
                <a:pos x="connsiteX8334" y="connsiteY8334"/>
              </a:cxn>
              <a:cxn ang="0">
                <a:pos x="connsiteX8335" y="connsiteY8335"/>
              </a:cxn>
              <a:cxn ang="0">
                <a:pos x="connsiteX8336" y="connsiteY8336"/>
              </a:cxn>
              <a:cxn ang="0">
                <a:pos x="connsiteX8337" y="connsiteY8337"/>
              </a:cxn>
              <a:cxn ang="0">
                <a:pos x="connsiteX8338" y="connsiteY8338"/>
              </a:cxn>
              <a:cxn ang="0">
                <a:pos x="connsiteX8339" y="connsiteY8339"/>
              </a:cxn>
              <a:cxn ang="0">
                <a:pos x="connsiteX8340" y="connsiteY8340"/>
              </a:cxn>
              <a:cxn ang="0">
                <a:pos x="connsiteX8341" y="connsiteY8341"/>
              </a:cxn>
              <a:cxn ang="0">
                <a:pos x="connsiteX8342" y="connsiteY8342"/>
              </a:cxn>
              <a:cxn ang="0">
                <a:pos x="connsiteX8343" y="connsiteY8343"/>
              </a:cxn>
              <a:cxn ang="0">
                <a:pos x="connsiteX8344" y="connsiteY8344"/>
              </a:cxn>
              <a:cxn ang="0">
                <a:pos x="connsiteX8345" y="connsiteY8345"/>
              </a:cxn>
              <a:cxn ang="0">
                <a:pos x="connsiteX8346" y="connsiteY8346"/>
              </a:cxn>
              <a:cxn ang="0">
                <a:pos x="connsiteX8347" y="connsiteY8347"/>
              </a:cxn>
              <a:cxn ang="0">
                <a:pos x="connsiteX8348" y="connsiteY8348"/>
              </a:cxn>
              <a:cxn ang="0">
                <a:pos x="connsiteX8349" y="connsiteY8349"/>
              </a:cxn>
              <a:cxn ang="0">
                <a:pos x="connsiteX8350" y="connsiteY8350"/>
              </a:cxn>
              <a:cxn ang="0">
                <a:pos x="connsiteX8351" y="connsiteY8351"/>
              </a:cxn>
              <a:cxn ang="0">
                <a:pos x="connsiteX8352" y="connsiteY8352"/>
              </a:cxn>
              <a:cxn ang="0">
                <a:pos x="connsiteX8353" y="connsiteY8353"/>
              </a:cxn>
              <a:cxn ang="0">
                <a:pos x="connsiteX8354" y="connsiteY8354"/>
              </a:cxn>
              <a:cxn ang="0">
                <a:pos x="connsiteX8355" y="connsiteY8355"/>
              </a:cxn>
              <a:cxn ang="0">
                <a:pos x="connsiteX8356" y="connsiteY8356"/>
              </a:cxn>
              <a:cxn ang="0">
                <a:pos x="connsiteX8357" y="connsiteY8357"/>
              </a:cxn>
              <a:cxn ang="0">
                <a:pos x="connsiteX8358" y="connsiteY8358"/>
              </a:cxn>
              <a:cxn ang="0">
                <a:pos x="connsiteX8359" y="connsiteY8359"/>
              </a:cxn>
              <a:cxn ang="0">
                <a:pos x="connsiteX8360" y="connsiteY8360"/>
              </a:cxn>
              <a:cxn ang="0">
                <a:pos x="connsiteX8361" y="connsiteY8361"/>
              </a:cxn>
              <a:cxn ang="0">
                <a:pos x="connsiteX8362" y="connsiteY8362"/>
              </a:cxn>
              <a:cxn ang="0">
                <a:pos x="connsiteX8363" y="connsiteY8363"/>
              </a:cxn>
              <a:cxn ang="0">
                <a:pos x="connsiteX8364" y="connsiteY8364"/>
              </a:cxn>
              <a:cxn ang="0">
                <a:pos x="connsiteX8365" y="connsiteY8365"/>
              </a:cxn>
              <a:cxn ang="0">
                <a:pos x="connsiteX8366" y="connsiteY8366"/>
              </a:cxn>
              <a:cxn ang="0">
                <a:pos x="connsiteX8367" y="connsiteY8367"/>
              </a:cxn>
              <a:cxn ang="0">
                <a:pos x="connsiteX8368" y="connsiteY8368"/>
              </a:cxn>
              <a:cxn ang="0">
                <a:pos x="connsiteX8369" y="connsiteY8369"/>
              </a:cxn>
              <a:cxn ang="0">
                <a:pos x="connsiteX8370" y="connsiteY8370"/>
              </a:cxn>
              <a:cxn ang="0">
                <a:pos x="connsiteX8371" y="connsiteY8371"/>
              </a:cxn>
              <a:cxn ang="0">
                <a:pos x="connsiteX8372" y="connsiteY8372"/>
              </a:cxn>
              <a:cxn ang="0">
                <a:pos x="connsiteX8373" y="connsiteY8373"/>
              </a:cxn>
              <a:cxn ang="0">
                <a:pos x="connsiteX8374" y="connsiteY8374"/>
              </a:cxn>
              <a:cxn ang="0">
                <a:pos x="connsiteX8375" y="connsiteY8375"/>
              </a:cxn>
              <a:cxn ang="0">
                <a:pos x="connsiteX8376" y="connsiteY8376"/>
              </a:cxn>
              <a:cxn ang="0">
                <a:pos x="connsiteX8377" y="connsiteY8377"/>
              </a:cxn>
              <a:cxn ang="0">
                <a:pos x="connsiteX8378" y="connsiteY8378"/>
              </a:cxn>
              <a:cxn ang="0">
                <a:pos x="connsiteX8379" y="connsiteY8379"/>
              </a:cxn>
              <a:cxn ang="0">
                <a:pos x="connsiteX8380" y="connsiteY8380"/>
              </a:cxn>
              <a:cxn ang="0">
                <a:pos x="connsiteX8381" y="connsiteY8381"/>
              </a:cxn>
              <a:cxn ang="0">
                <a:pos x="connsiteX8382" y="connsiteY8382"/>
              </a:cxn>
              <a:cxn ang="0">
                <a:pos x="connsiteX8383" y="connsiteY8383"/>
              </a:cxn>
              <a:cxn ang="0">
                <a:pos x="connsiteX8384" y="connsiteY8384"/>
              </a:cxn>
              <a:cxn ang="0">
                <a:pos x="connsiteX8385" y="connsiteY8385"/>
              </a:cxn>
              <a:cxn ang="0">
                <a:pos x="connsiteX8386" y="connsiteY8386"/>
              </a:cxn>
              <a:cxn ang="0">
                <a:pos x="connsiteX8387" y="connsiteY8387"/>
              </a:cxn>
              <a:cxn ang="0">
                <a:pos x="connsiteX8388" y="connsiteY8388"/>
              </a:cxn>
              <a:cxn ang="0">
                <a:pos x="connsiteX8389" y="connsiteY8389"/>
              </a:cxn>
              <a:cxn ang="0">
                <a:pos x="connsiteX8390" y="connsiteY8390"/>
              </a:cxn>
              <a:cxn ang="0">
                <a:pos x="connsiteX8391" y="connsiteY8391"/>
              </a:cxn>
              <a:cxn ang="0">
                <a:pos x="connsiteX8392" y="connsiteY8392"/>
              </a:cxn>
              <a:cxn ang="0">
                <a:pos x="connsiteX8393" y="connsiteY8393"/>
              </a:cxn>
              <a:cxn ang="0">
                <a:pos x="connsiteX8394" y="connsiteY8394"/>
              </a:cxn>
              <a:cxn ang="0">
                <a:pos x="connsiteX8395" y="connsiteY8395"/>
              </a:cxn>
              <a:cxn ang="0">
                <a:pos x="connsiteX8396" y="connsiteY8396"/>
              </a:cxn>
              <a:cxn ang="0">
                <a:pos x="connsiteX8397" y="connsiteY8397"/>
              </a:cxn>
              <a:cxn ang="0">
                <a:pos x="connsiteX8398" y="connsiteY8398"/>
              </a:cxn>
              <a:cxn ang="0">
                <a:pos x="connsiteX8399" y="connsiteY8399"/>
              </a:cxn>
              <a:cxn ang="0">
                <a:pos x="connsiteX8400" y="connsiteY8400"/>
              </a:cxn>
              <a:cxn ang="0">
                <a:pos x="connsiteX8401" y="connsiteY8401"/>
              </a:cxn>
              <a:cxn ang="0">
                <a:pos x="connsiteX8402" y="connsiteY8402"/>
              </a:cxn>
              <a:cxn ang="0">
                <a:pos x="connsiteX8403" y="connsiteY8403"/>
              </a:cxn>
              <a:cxn ang="0">
                <a:pos x="connsiteX8404" y="connsiteY8404"/>
              </a:cxn>
              <a:cxn ang="0">
                <a:pos x="connsiteX8405" y="connsiteY8405"/>
              </a:cxn>
              <a:cxn ang="0">
                <a:pos x="connsiteX8406" y="connsiteY8406"/>
              </a:cxn>
              <a:cxn ang="0">
                <a:pos x="connsiteX8407" y="connsiteY8407"/>
              </a:cxn>
              <a:cxn ang="0">
                <a:pos x="connsiteX8408" y="connsiteY8408"/>
              </a:cxn>
              <a:cxn ang="0">
                <a:pos x="connsiteX8409" y="connsiteY8409"/>
              </a:cxn>
              <a:cxn ang="0">
                <a:pos x="connsiteX8410" y="connsiteY8410"/>
              </a:cxn>
              <a:cxn ang="0">
                <a:pos x="connsiteX8411" y="connsiteY8411"/>
              </a:cxn>
              <a:cxn ang="0">
                <a:pos x="connsiteX8412" y="connsiteY8412"/>
              </a:cxn>
              <a:cxn ang="0">
                <a:pos x="connsiteX8413" y="connsiteY8413"/>
              </a:cxn>
              <a:cxn ang="0">
                <a:pos x="connsiteX8414" y="connsiteY8414"/>
              </a:cxn>
              <a:cxn ang="0">
                <a:pos x="connsiteX8415" y="connsiteY8415"/>
              </a:cxn>
              <a:cxn ang="0">
                <a:pos x="connsiteX8416" y="connsiteY8416"/>
              </a:cxn>
              <a:cxn ang="0">
                <a:pos x="connsiteX8417" y="connsiteY8417"/>
              </a:cxn>
              <a:cxn ang="0">
                <a:pos x="connsiteX8418" y="connsiteY8418"/>
              </a:cxn>
              <a:cxn ang="0">
                <a:pos x="connsiteX8419" y="connsiteY8419"/>
              </a:cxn>
              <a:cxn ang="0">
                <a:pos x="connsiteX8420" y="connsiteY8420"/>
              </a:cxn>
              <a:cxn ang="0">
                <a:pos x="connsiteX8421" y="connsiteY8421"/>
              </a:cxn>
              <a:cxn ang="0">
                <a:pos x="connsiteX8422" y="connsiteY8422"/>
              </a:cxn>
              <a:cxn ang="0">
                <a:pos x="connsiteX8423" y="connsiteY8423"/>
              </a:cxn>
              <a:cxn ang="0">
                <a:pos x="connsiteX8424" y="connsiteY8424"/>
              </a:cxn>
              <a:cxn ang="0">
                <a:pos x="connsiteX8425" y="connsiteY8425"/>
              </a:cxn>
              <a:cxn ang="0">
                <a:pos x="connsiteX8426" y="connsiteY8426"/>
              </a:cxn>
              <a:cxn ang="0">
                <a:pos x="connsiteX8427" y="connsiteY8427"/>
              </a:cxn>
              <a:cxn ang="0">
                <a:pos x="connsiteX8428" y="connsiteY8428"/>
              </a:cxn>
              <a:cxn ang="0">
                <a:pos x="connsiteX8429" y="connsiteY8429"/>
              </a:cxn>
              <a:cxn ang="0">
                <a:pos x="connsiteX8430" y="connsiteY8430"/>
              </a:cxn>
              <a:cxn ang="0">
                <a:pos x="connsiteX8431" y="connsiteY8431"/>
              </a:cxn>
              <a:cxn ang="0">
                <a:pos x="connsiteX8432" y="connsiteY8432"/>
              </a:cxn>
              <a:cxn ang="0">
                <a:pos x="connsiteX8433" y="connsiteY8433"/>
              </a:cxn>
              <a:cxn ang="0">
                <a:pos x="connsiteX8434" y="connsiteY8434"/>
              </a:cxn>
              <a:cxn ang="0">
                <a:pos x="connsiteX8435" y="connsiteY8435"/>
              </a:cxn>
              <a:cxn ang="0">
                <a:pos x="connsiteX8436" y="connsiteY8436"/>
              </a:cxn>
              <a:cxn ang="0">
                <a:pos x="connsiteX8437" y="connsiteY8437"/>
              </a:cxn>
              <a:cxn ang="0">
                <a:pos x="connsiteX8438" y="connsiteY8438"/>
              </a:cxn>
              <a:cxn ang="0">
                <a:pos x="connsiteX8439" y="connsiteY8439"/>
              </a:cxn>
              <a:cxn ang="0">
                <a:pos x="connsiteX8440" y="connsiteY8440"/>
              </a:cxn>
              <a:cxn ang="0">
                <a:pos x="connsiteX8441" y="connsiteY8441"/>
              </a:cxn>
              <a:cxn ang="0">
                <a:pos x="connsiteX8442" y="connsiteY8442"/>
              </a:cxn>
              <a:cxn ang="0">
                <a:pos x="connsiteX8443" y="connsiteY8443"/>
              </a:cxn>
              <a:cxn ang="0">
                <a:pos x="connsiteX8444" y="connsiteY8444"/>
              </a:cxn>
              <a:cxn ang="0">
                <a:pos x="connsiteX8445" y="connsiteY8445"/>
              </a:cxn>
              <a:cxn ang="0">
                <a:pos x="connsiteX8446" y="connsiteY8446"/>
              </a:cxn>
              <a:cxn ang="0">
                <a:pos x="connsiteX8447" y="connsiteY8447"/>
              </a:cxn>
              <a:cxn ang="0">
                <a:pos x="connsiteX8448" y="connsiteY8448"/>
              </a:cxn>
              <a:cxn ang="0">
                <a:pos x="connsiteX8449" y="connsiteY8449"/>
              </a:cxn>
              <a:cxn ang="0">
                <a:pos x="connsiteX8450" y="connsiteY8450"/>
              </a:cxn>
              <a:cxn ang="0">
                <a:pos x="connsiteX8451" y="connsiteY8451"/>
              </a:cxn>
              <a:cxn ang="0">
                <a:pos x="connsiteX8452" y="connsiteY8452"/>
              </a:cxn>
              <a:cxn ang="0">
                <a:pos x="connsiteX8453" y="connsiteY8453"/>
              </a:cxn>
              <a:cxn ang="0">
                <a:pos x="connsiteX8454" y="connsiteY8454"/>
              </a:cxn>
              <a:cxn ang="0">
                <a:pos x="connsiteX8455" y="connsiteY8455"/>
              </a:cxn>
              <a:cxn ang="0">
                <a:pos x="connsiteX8456" y="connsiteY8456"/>
              </a:cxn>
              <a:cxn ang="0">
                <a:pos x="connsiteX8457" y="connsiteY8457"/>
              </a:cxn>
              <a:cxn ang="0">
                <a:pos x="connsiteX8458" y="connsiteY8458"/>
              </a:cxn>
              <a:cxn ang="0">
                <a:pos x="connsiteX8459" y="connsiteY8459"/>
              </a:cxn>
              <a:cxn ang="0">
                <a:pos x="connsiteX8460" y="connsiteY8460"/>
              </a:cxn>
              <a:cxn ang="0">
                <a:pos x="connsiteX8461" y="connsiteY8461"/>
              </a:cxn>
              <a:cxn ang="0">
                <a:pos x="connsiteX8462" y="connsiteY8462"/>
              </a:cxn>
              <a:cxn ang="0">
                <a:pos x="connsiteX8463" y="connsiteY8463"/>
              </a:cxn>
              <a:cxn ang="0">
                <a:pos x="connsiteX8464" y="connsiteY8464"/>
              </a:cxn>
              <a:cxn ang="0">
                <a:pos x="connsiteX8465" y="connsiteY8465"/>
              </a:cxn>
              <a:cxn ang="0">
                <a:pos x="connsiteX8466" y="connsiteY8466"/>
              </a:cxn>
              <a:cxn ang="0">
                <a:pos x="connsiteX8467" y="connsiteY8467"/>
              </a:cxn>
              <a:cxn ang="0">
                <a:pos x="connsiteX8468" y="connsiteY8468"/>
              </a:cxn>
              <a:cxn ang="0">
                <a:pos x="connsiteX8469" y="connsiteY8469"/>
              </a:cxn>
              <a:cxn ang="0">
                <a:pos x="connsiteX8470" y="connsiteY8470"/>
              </a:cxn>
              <a:cxn ang="0">
                <a:pos x="connsiteX8471" y="connsiteY8471"/>
              </a:cxn>
              <a:cxn ang="0">
                <a:pos x="connsiteX8472" y="connsiteY8472"/>
              </a:cxn>
              <a:cxn ang="0">
                <a:pos x="connsiteX8473" y="connsiteY8473"/>
              </a:cxn>
              <a:cxn ang="0">
                <a:pos x="connsiteX8474" y="connsiteY8474"/>
              </a:cxn>
              <a:cxn ang="0">
                <a:pos x="connsiteX8475" y="connsiteY8475"/>
              </a:cxn>
              <a:cxn ang="0">
                <a:pos x="connsiteX8476" y="connsiteY8476"/>
              </a:cxn>
              <a:cxn ang="0">
                <a:pos x="connsiteX8477" y="connsiteY8477"/>
              </a:cxn>
              <a:cxn ang="0">
                <a:pos x="connsiteX8478" y="connsiteY8478"/>
              </a:cxn>
              <a:cxn ang="0">
                <a:pos x="connsiteX8479" y="connsiteY8479"/>
              </a:cxn>
              <a:cxn ang="0">
                <a:pos x="connsiteX8480" y="connsiteY8480"/>
              </a:cxn>
              <a:cxn ang="0">
                <a:pos x="connsiteX8481" y="connsiteY8481"/>
              </a:cxn>
              <a:cxn ang="0">
                <a:pos x="connsiteX8482" y="connsiteY8482"/>
              </a:cxn>
              <a:cxn ang="0">
                <a:pos x="connsiteX8483" y="connsiteY8483"/>
              </a:cxn>
              <a:cxn ang="0">
                <a:pos x="connsiteX8484" y="connsiteY8484"/>
              </a:cxn>
              <a:cxn ang="0">
                <a:pos x="connsiteX8485" y="connsiteY8485"/>
              </a:cxn>
              <a:cxn ang="0">
                <a:pos x="connsiteX8486" y="connsiteY8486"/>
              </a:cxn>
              <a:cxn ang="0">
                <a:pos x="connsiteX8487" y="connsiteY8487"/>
              </a:cxn>
              <a:cxn ang="0">
                <a:pos x="connsiteX8488" y="connsiteY8488"/>
              </a:cxn>
              <a:cxn ang="0">
                <a:pos x="connsiteX8489" y="connsiteY8489"/>
              </a:cxn>
              <a:cxn ang="0">
                <a:pos x="connsiteX8490" y="connsiteY8490"/>
              </a:cxn>
              <a:cxn ang="0">
                <a:pos x="connsiteX8491" y="connsiteY8491"/>
              </a:cxn>
              <a:cxn ang="0">
                <a:pos x="connsiteX8492" y="connsiteY8492"/>
              </a:cxn>
              <a:cxn ang="0">
                <a:pos x="connsiteX8493" y="connsiteY8493"/>
              </a:cxn>
              <a:cxn ang="0">
                <a:pos x="connsiteX8494" y="connsiteY8494"/>
              </a:cxn>
              <a:cxn ang="0">
                <a:pos x="connsiteX8495" y="connsiteY8495"/>
              </a:cxn>
              <a:cxn ang="0">
                <a:pos x="connsiteX8496" y="connsiteY8496"/>
              </a:cxn>
              <a:cxn ang="0">
                <a:pos x="connsiteX8497" y="connsiteY8497"/>
              </a:cxn>
              <a:cxn ang="0">
                <a:pos x="connsiteX8498" y="connsiteY8498"/>
              </a:cxn>
              <a:cxn ang="0">
                <a:pos x="connsiteX8499" y="connsiteY8499"/>
              </a:cxn>
              <a:cxn ang="0">
                <a:pos x="connsiteX8500" y="connsiteY8500"/>
              </a:cxn>
              <a:cxn ang="0">
                <a:pos x="connsiteX8501" y="connsiteY8501"/>
              </a:cxn>
              <a:cxn ang="0">
                <a:pos x="connsiteX8502" y="connsiteY8502"/>
              </a:cxn>
              <a:cxn ang="0">
                <a:pos x="connsiteX8503" y="connsiteY8503"/>
              </a:cxn>
              <a:cxn ang="0">
                <a:pos x="connsiteX8504" y="connsiteY8504"/>
              </a:cxn>
              <a:cxn ang="0">
                <a:pos x="connsiteX8505" y="connsiteY8505"/>
              </a:cxn>
              <a:cxn ang="0">
                <a:pos x="connsiteX8506" y="connsiteY8506"/>
              </a:cxn>
              <a:cxn ang="0">
                <a:pos x="connsiteX8507" y="connsiteY8507"/>
              </a:cxn>
              <a:cxn ang="0">
                <a:pos x="connsiteX8508" y="connsiteY8508"/>
              </a:cxn>
              <a:cxn ang="0">
                <a:pos x="connsiteX8509" y="connsiteY8509"/>
              </a:cxn>
              <a:cxn ang="0">
                <a:pos x="connsiteX8510" y="connsiteY8510"/>
              </a:cxn>
              <a:cxn ang="0">
                <a:pos x="connsiteX8511" y="connsiteY8511"/>
              </a:cxn>
              <a:cxn ang="0">
                <a:pos x="connsiteX8512" y="connsiteY8512"/>
              </a:cxn>
              <a:cxn ang="0">
                <a:pos x="connsiteX8513" y="connsiteY8513"/>
              </a:cxn>
              <a:cxn ang="0">
                <a:pos x="connsiteX8514" y="connsiteY8514"/>
              </a:cxn>
              <a:cxn ang="0">
                <a:pos x="connsiteX8515" y="connsiteY8515"/>
              </a:cxn>
              <a:cxn ang="0">
                <a:pos x="connsiteX8516" y="connsiteY8516"/>
              </a:cxn>
              <a:cxn ang="0">
                <a:pos x="connsiteX8517" y="connsiteY8517"/>
              </a:cxn>
              <a:cxn ang="0">
                <a:pos x="connsiteX8518" y="connsiteY8518"/>
              </a:cxn>
              <a:cxn ang="0">
                <a:pos x="connsiteX8519" y="connsiteY8519"/>
              </a:cxn>
              <a:cxn ang="0">
                <a:pos x="connsiteX8520" y="connsiteY8520"/>
              </a:cxn>
              <a:cxn ang="0">
                <a:pos x="connsiteX8521" y="connsiteY8521"/>
              </a:cxn>
              <a:cxn ang="0">
                <a:pos x="connsiteX8522" y="connsiteY8522"/>
              </a:cxn>
              <a:cxn ang="0">
                <a:pos x="connsiteX8523" y="connsiteY8523"/>
              </a:cxn>
              <a:cxn ang="0">
                <a:pos x="connsiteX8524" y="connsiteY8524"/>
              </a:cxn>
              <a:cxn ang="0">
                <a:pos x="connsiteX8525" y="connsiteY8525"/>
              </a:cxn>
              <a:cxn ang="0">
                <a:pos x="connsiteX8526" y="connsiteY8526"/>
              </a:cxn>
              <a:cxn ang="0">
                <a:pos x="connsiteX8527" y="connsiteY8527"/>
              </a:cxn>
              <a:cxn ang="0">
                <a:pos x="connsiteX8528" y="connsiteY8528"/>
              </a:cxn>
              <a:cxn ang="0">
                <a:pos x="connsiteX8529" y="connsiteY8529"/>
              </a:cxn>
              <a:cxn ang="0">
                <a:pos x="connsiteX8530" y="connsiteY8530"/>
              </a:cxn>
              <a:cxn ang="0">
                <a:pos x="connsiteX8531" y="connsiteY8531"/>
              </a:cxn>
              <a:cxn ang="0">
                <a:pos x="connsiteX8532" y="connsiteY8532"/>
              </a:cxn>
              <a:cxn ang="0">
                <a:pos x="connsiteX8533" y="connsiteY8533"/>
              </a:cxn>
              <a:cxn ang="0">
                <a:pos x="connsiteX8534" y="connsiteY8534"/>
              </a:cxn>
              <a:cxn ang="0">
                <a:pos x="connsiteX8535" y="connsiteY8535"/>
              </a:cxn>
              <a:cxn ang="0">
                <a:pos x="connsiteX8536" y="connsiteY8536"/>
              </a:cxn>
              <a:cxn ang="0">
                <a:pos x="connsiteX8537" y="connsiteY8537"/>
              </a:cxn>
              <a:cxn ang="0">
                <a:pos x="connsiteX8538" y="connsiteY8538"/>
              </a:cxn>
              <a:cxn ang="0">
                <a:pos x="connsiteX8539" y="connsiteY8539"/>
              </a:cxn>
              <a:cxn ang="0">
                <a:pos x="connsiteX8540" y="connsiteY8540"/>
              </a:cxn>
              <a:cxn ang="0">
                <a:pos x="connsiteX8541" y="connsiteY8541"/>
              </a:cxn>
              <a:cxn ang="0">
                <a:pos x="connsiteX8542" y="connsiteY8542"/>
              </a:cxn>
              <a:cxn ang="0">
                <a:pos x="connsiteX8543" y="connsiteY8543"/>
              </a:cxn>
              <a:cxn ang="0">
                <a:pos x="connsiteX8544" y="connsiteY8544"/>
              </a:cxn>
              <a:cxn ang="0">
                <a:pos x="connsiteX8545" y="connsiteY8545"/>
              </a:cxn>
              <a:cxn ang="0">
                <a:pos x="connsiteX8546" y="connsiteY8546"/>
              </a:cxn>
              <a:cxn ang="0">
                <a:pos x="connsiteX8547" y="connsiteY8547"/>
              </a:cxn>
              <a:cxn ang="0">
                <a:pos x="connsiteX8548" y="connsiteY8548"/>
              </a:cxn>
              <a:cxn ang="0">
                <a:pos x="connsiteX8549" y="connsiteY8549"/>
              </a:cxn>
              <a:cxn ang="0">
                <a:pos x="connsiteX8550" y="connsiteY8550"/>
              </a:cxn>
              <a:cxn ang="0">
                <a:pos x="connsiteX8551" y="connsiteY8551"/>
              </a:cxn>
              <a:cxn ang="0">
                <a:pos x="connsiteX8552" y="connsiteY8552"/>
              </a:cxn>
              <a:cxn ang="0">
                <a:pos x="connsiteX8553" y="connsiteY8553"/>
              </a:cxn>
              <a:cxn ang="0">
                <a:pos x="connsiteX8554" y="connsiteY8554"/>
              </a:cxn>
              <a:cxn ang="0">
                <a:pos x="connsiteX8555" y="connsiteY8555"/>
              </a:cxn>
              <a:cxn ang="0">
                <a:pos x="connsiteX8556" y="connsiteY8556"/>
              </a:cxn>
              <a:cxn ang="0">
                <a:pos x="connsiteX8557" y="connsiteY8557"/>
              </a:cxn>
              <a:cxn ang="0">
                <a:pos x="connsiteX8558" y="connsiteY8558"/>
              </a:cxn>
              <a:cxn ang="0">
                <a:pos x="connsiteX8559" y="connsiteY8559"/>
              </a:cxn>
              <a:cxn ang="0">
                <a:pos x="connsiteX8560" y="connsiteY8560"/>
              </a:cxn>
              <a:cxn ang="0">
                <a:pos x="connsiteX8561" y="connsiteY8561"/>
              </a:cxn>
              <a:cxn ang="0">
                <a:pos x="connsiteX8562" y="connsiteY8562"/>
              </a:cxn>
              <a:cxn ang="0">
                <a:pos x="connsiteX8563" y="connsiteY8563"/>
              </a:cxn>
              <a:cxn ang="0">
                <a:pos x="connsiteX8564" y="connsiteY8564"/>
              </a:cxn>
              <a:cxn ang="0">
                <a:pos x="connsiteX8565" y="connsiteY8565"/>
              </a:cxn>
              <a:cxn ang="0">
                <a:pos x="connsiteX8566" y="connsiteY8566"/>
              </a:cxn>
              <a:cxn ang="0">
                <a:pos x="connsiteX8567" y="connsiteY8567"/>
              </a:cxn>
              <a:cxn ang="0">
                <a:pos x="connsiteX8568" y="connsiteY8568"/>
              </a:cxn>
              <a:cxn ang="0">
                <a:pos x="connsiteX8569" y="connsiteY8569"/>
              </a:cxn>
              <a:cxn ang="0">
                <a:pos x="connsiteX8570" y="connsiteY8570"/>
              </a:cxn>
              <a:cxn ang="0">
                <a:pos x="connsiteX8571" y="connsiteY8571"/>
              </a:cxn>
              <a:cxn ang="0">
                <a:pos x="connsiteX8572" y="connsiteY8572"/>
              </a:cxn>
              <a:cxn ang="0">
                <a:pos x="connsiteX8573" y="connsiteY8573"/>
              </a:cxn>
              <a:cxn ang="0">
                <a:pos x="connsiteX8574" y="connsiteY8574"/>
              </a:cxn>
              <a:cxn ang="0">
                <a:pos x="connsiteX8575" y="connsiteY8575"/>
              </a:cxn>
              <a:cxn ang="0">
                <a:pos x="connsiteX8576" y="connsiteY8576"/>
              </a:cxn>
              <a:cxn ang="0">
                <a:pos x="connsiteX8577" y="connsiteY8577"/>
              </a:cxn>
              <a:cxn ang="0">
                <a:pos x="connsiteX8578" y="connsiteY8578"/>
              </a:cxn>
              <a:cxn ang="0">
                <a:pos x="connsiteX8579" y="connsiteY8579"/>
              </a:cxn>
              <a:cxn ang="0">
                <a:pos x="connsiteX8580" y="connsiteY8580"/>
              </a:cxn>
              <a:cxn ang="0">
                <a:pos x="connsiteX8581" y="connsiteY8581"/>
              </a:cxn>
              <a:cxn ang="0">
                <a:pos x="connsiteX8582" y="connsiteY8582"/>
              </a:cxn>
              <a:cxn ang="0">
                <a:pos x="connsiteX8583" y="connsiteY8583"/>
              </a:cxn>
              <a:cxn ang="0">
                <a:pos x="connsiteX8584" y="connsiteY8584"/>
              </a:cxn>
              <a:cxn ang="0">
                <a:pos x="connsiteX8585" y="connsiteY8585"/>
              </a:cxn>
              <a:cxn ang="0">
                <a:pos x="connsiteX8586" y="connsiteY8586"/>
              </a:cxn>
              <a:cxn ang="0">
                <a:pos x="connsiteX8587" y="connsiteY8587"/>
              </a:cxn>
              <a:cxn ang="0">
                <a:pos x="connsiteX8588" y="connsiteY8588"/>
              </a:cxn>
              <a:cxn ang="0">
                <a:pos x="connsiteX8589" y="connsiteY8589"/>
              </a:cxn>
              <a:cxn ang="0">
                <a:pos x="connsiteX8590" y="connsiteY8590"/>
              </a:cxn>
              <a:cxn ang="0">
                <a:pos x="connsiteX8591" y="connsiteY8591"/>
              </a:cxn>
              <a:cxn ang="0">
                <a:pos x="connsiteX8592" y="connsiteY8592"/>
              </a:cxn>
              <a:cxn ang="0">
                <a:pos x="connsiteX8593" y="connsiteY8593"/>
              </a:cxn>
              <a:cxn ang="0">
                <a:pos x="connsiteX8594" y="connsiteY8594"/>
              </a:cxn>
              <a:cxn ang="0">
                <a:pos x="connsiteX8595" y="connsiteY8595"/>
              </a:cxn>
              <a:cxn ang="0">
                <a:pos x="connsiteX8596" y="connsiteY8596"/>
              </a:cxn>
              <a:cxn ang="0">
                <a:pos x="connsiteX8597" y="connsiteY8597"/>
              </a:cxn>
              <a:cxn ang="0">
                <a:pos x="connsiteX8598" y="connsiteY8598"/>
              </a:cxn>
              <a:cxn ang="0">
                <a:pos x="connsiteX8599" y="connsiteY8599"/>
              </a:cxn>
              <a:cxn ang="0">
                <a:pos x="connsiteX8600" y="connsiteY8600"/>
              </a:cxn>
              <a:cxn ang="0">
                <a:pos x="connsiteX8601" y="connsiteY8601"/>
              </a:cxn>
              <a:cxn ang="0">
                <a:pos x="connsiteX8602" y="connsiteY8602"/>
              </a:cxn>
              <a:cxn ang="0">
                <a:pos x="connsiteX8603" y="connsiteY8603"/>
              </a:cxn>
              <a:cxn ang="0">
                <a:pos x="connsiteX8604" y="connsiteY8604"/>
              </a:cxn>
              <a:cxn ang="0">
                <a:pos x="connsiteX8605" y="connsiteY8605"/>
              </a:cxn>
              <a:cxn ang="0">
                <a:pos x="connsiteX8606" y="connsiteY8606"/>
              </a:cxn>
              <a:cxn ang="0">
                <a:pos x="connsiteX8607" y="connsiteY8607"/>
              </a:cxn>
              <a:cxn ang="0">
                <a:pos x="connsiteX8608" y="connsiteY8608"/>
              </a:cxn>
              <a:cxn ang="0">
                <a:pos x="connsiteX8609" y="connsiteY8609"/>
              </a:cxn>
              <a:cxn ang="0">
                <a:pos x="connsiteX8610" y="connsiteY8610"/>
              </a:cxn>
              <a:cxn ang="0">
                <a:pos x="connsiteX8611" y="connsiteY8611"/>
              </a:cxn>
              <a:cxn ang="0">
                <a:pos x="connsiteX8612" y="connsiteY8612"/>
              </a:cxn>
              <a:cxn ang="0">
                <a:pos x="connsiteX8613" y="connsiteY8613"/>
              </a:cxn>
              <a:cxn ang="0">
                <a:pos x="connsiteX8614" y="connsiteY8614"/>
              </a:cxn>
              <a:cxn ang="0">
                <a:pos x="connsiteX8615" y="connsiteY8615"/>
              </a:cxn>
              <a:cxn ang="0">
                <a:pos x="connsiteX8616" y="connsiteY8616"/>
              </a:cxn>
              <a:cxn ang="0">
                <a:pos x="connsiteX8617" y="connsiteY8617"/>
              </a:cxn>
              <a:cxn ang="0">
                <a:pos x="connsiteX8618" y="connsiteY8618"/>
              </a:cxn>
              <a:cxn ang="0">
                <a:pos x="connsiteX8619" y="connsiteY8619"/>
              </a:cxn>
              <a:cxn ang="0">
                <a:pos x="connsiteX8620" y="connsiteY8620"/>
              </a:cxn>
              <a:cxn ang="0">
                <a:pos x="connsiteX8621" y="connsiteY8621"/>
              </a:cxn>
              <a:cxn ang="0">
                <a:pos x="connsiteX8622" y="connsiteY8622"/>
              </a:cxn>
              <a:cxn ang="0">
                <a:pos x="connsiteX8623" y="connsiteY8623"/>
              </a:cxn>
              <a:cxn ang="0">
                <a:pos x="connsiteX8624" y="connsiteY8624"/>
              </a:cxn>
              <a:cxn ang="0">
                <a:pos x="connsiteX8625" y="connsiteY8625"/>
              </a:cxn>
              <a:cxn ang="0">
                <a:pos x="connsiteX8626" y="connsiteY8626"/>
              </a:cxn>
              <a:cxn ang="0">
                <a:pos x="connsiteX8627" y="connsiteY8627"/>
              </a:cxn>
              <a:cxn ang="0">
                <a:pos x="connsiteX8628" y="connsiteY8628"/>
              </a:cxn>
              <a:cxn ang="0">
                <a:pos x="connsiteX8629" y="connsiteY8629"/>
              </a:cxn>
              <a:cxn ang="0">
                <a:pos x="connsiteX8630" y="connsiteY8630"/>
              </a:cxn>
              <a:cxn ang="0">
                <a:pos x="connsiteX8631" y="connsiteY8631"/>
              </a:cxn>
              <a:cxn ang="0">
                <a:pos x="connsiteX8632" y="connsiteY8632"/>
              </a:cxn>
              <a:cxn ang="0">
                <a:pos x="connsiteX8633" y="connsiteY8633"/>
              </a:cxn>
              <a:cxn ang="0">
                <a:pos x="connsiteX8634" y="connsiteY8634"/>
              </a:cxn>
              <a:cxn ang="0">
                <a:pos x="connsiteX8635" y="connsiteY8635"/>
              </a:cxn>
              <a:cxn ang="0">
                <a:pos x="connsiteX8636" y="connsiteY8636"/>
              </a:cxn>
              <a:cxn ang="0">
                <a:pos x="connsiteX8637" y="connsiteY8637"/>
              </a:cxn>
              <a:cxn ang="0">
                <a:pos x="connsiteX8638" y="connsiteY8638"/>
              </a:cxn>
              <a:cxn ang="0">
                <a:pos x="connsiteX8639" y="connsiteY8639"/>
              </a:cxn>
              <a:cxn ang="0">
                <a:pos x="connsiteX8640" y="connsiteY8640"/>
              </a:cxn>
              <a:cxn ang="0">
                <a:pos x="connsiteX8641" y="connsiteY8641"/>
              </a:cxn>
              <a:cxn ang="0">
                <a:pos x="connsiteX8642" y="connsiteY8642"/>
              </a:cxn>
              <a:cxn ang="0">
                <a:pos x="connsiteX8643" y="connsiteY8643"/>
              </a:cxn>
              <a:cxn ang="0">
                <a:pos x="connsiteX8644" y="connsiteY8644"/>
              </a:cxn>
              <a:cxn ang="0">
                <a:pos x="connsiteX8645" y="connsiteY8645"/>
              </a:cxn>
              <a:cxn ang="0">
                <a:pos x="connsiteX8646" y="connsiteY8646"/>
              </a:cxn>
              <a:cxn ang="0">
                <a:pos x="connsiteX8647" y="connsiteY8647"/>
              </a:cxn>
              <a:cxn ang="0">
                <a:pos x="connsiteX8648" y="connsiteY8648"/>
              </a:cxn>
              <a:cxn ang="0">
                <a:pos x="connsiteX8649" y="connsiteY8649"/>
              </a:cxn>
              <a:cxn ang="0">
                <a:pos x="connsiteX8650" y="connsiteY8650"/>
              </a:cxn>
              <a:cxn ang="0">
                <a:pos x="connsiteX8651" y="connsiteY8651"/>
              </a:cxn>
              <a:cxn ang="0">
                <a:pos x="connsiteX8652" y="connsiteY8652"/>
              </a:cxn>
              <a:cxn ang="0">
                <a:pos x="connsiteX8653" y="connsiteY8653"/>
              </a:cxn>
              <a:cxn ang="0">
                <a:pos x="connsiteX8654" y="connsiteY8654"/>
              </a:cxn>
              <a:cxn ang="0">
                <a:pos x="connsiteX8655" y="connsiteY8655"/>
              </a:cxn>
              <a:cxn ang="0">
                <a:pos x="connsiteX8656" y="connsiteY8656"/>
              </a:cxn>
              <a:cxn ang="0">
                <a:pos x="connsiteX8657" y="connsiteY8657"/>
              </a:cxn>
              <a:cxn ang="0">
                <a:pos x="connsiteX8658" y="connsiteY8658"/>
              </a:cxn>
              <a:cxn ang="0">
                <a:pos x="connsiteX8659" y="connsiteY8659"/>
              </a:cxn>
              <a:cxn ang="0">
                <a:pos x="connsiteX8660" y="connsiteY8660"/>
              </a:cxn>
              <a:cxn ang="0">
                <a:pos x="connsiteX8661" y="connsiteY8661"/>
              </a:cxn>
              <a:cxn ang="0">
                <a:pos x="connsiteX8662" y="connsiteY8662"/>
              </a:cxn>
              <a:cxn ang="0">
                <a:pos x="connsiteX8663" y="connsiteY8663"/>
              </a:cxn>
              <a:cxn ang="0">
                <a:pos x="connsiteX8664" y="connsiteY8664"/>
              </a:cxn>
              <a:cxn ang="0">
                <a:pos x="connsiteX8665" y="connsiteY8665"/>
              </a:cxn>
              <a:cxn ang="0">
                <a:pos x="connsiteX8666" y="connsiteY8666"/>
              </a:cxn>
              <a:cxn ang="0">
                <a:pos x="connsiteX8667" y="connsiteY8667"/>
              </a:cxn>
              <a:cxn ang="0">
                <a:pos x="connsiteX8668" y="connsiteY8668"/>
              </a:cxn>
              <a:cxn ang="0">
                <a:pos x="connsiteX8669" y="connsiteY8669"/>
              </a:cxn>
              <a:cxn ang="0">
                <a:pos x="connsiteX8670" y="connsiteY8670"/>
              </a:cxn>
              <a:cxn ang="0">
                <a:pos x="connsiteX8671" y="connsiteY8671"/>
              </a:cxn>
              <a:cxn ang="0">
                <a:pos x="connsiteX8672" y="connsiteY8672"/>
              </a:cxn>
              <a:cxn ang="0">
                <a:pos x="connsiteX8673" y="connsiteY8673"/>
              </a:cxn>
              <a:cxn ang="0">
                <a:pos x="connsiteX8674" y="connsiteY8674"/>
              </a:cxn>
              <a:cxn ang="0">
                <a:pos x="connsiteX8675" y="connsiteY8675"/>
              </a:cxn>
              <a:cxn ang="0">
                <a:pos x="connsiteX8676" y="connsiteY8676"/>
              </a:cxn>
              <a:cxn ang="0">
                <a:pos x="connsiteX8677" y="connsiteY8677"/>
              </a:cxn>
              <a:cxn ang="0">
                <a:pos x="connsiteX8678" y="connsiteY8678"/>
              </a:cxn>
              <a:cxn ang="0">
                <a:pos x="connsiteX8679" y="connsiteY8679"/>
              </a:cxn>
              <a:cxn ang="0">
                <a:pos x="connsiteX8680" y="connsiteY8680"/>
              </a:cxn>
              <a:cxn ang="0">
                <a:pos x="connsiteX8681" y="connsiteY8681"/>
              </a:cxn>
              <a:cxn ang="0">
                <a:pos x="connsiteX8682" y="connsiteY8682"/>
              </a:cxn>
              <a:cxn ang="0">
                <a:pos x="connsiteX8683" y="connsiteY8683"/>
              </a:cxn>
              <a:cxn ang="0">
                <a:pos x="connsiteX8684" y="connsiteY8684"/>
              </a:cxn>
              <a:cxn ang="0">
                <a:pos x="connsiteX8685" y="connsiteY8685"/>
              </a:cxn>
              <a:cxn ang="0">
                <a:pos x="connsiteX8686" y="connsiteY8686"/>
              </a:cxn>
              <a:cxn ang="0">
                <a:pos x="connsiteX8687" y="connsiteY8687"/>
              </a:cxn>
              <a:cxn ang="0">
                <a:pos x="connsiteX8688" y="connsiteY8688"/>
              </a:cxn>
              <a:cxn ang="0">
                <a:pos x="connsiteX8689" y="connsiteY8689"/>
              </a:cxn>
              <a:cxn ang="0">
                <a:pos x="connsiteX8690" y="connsiteY8690"/>
              </a:cxn>
              <a:cxn ang="0">
                <a:pos x="connsiteX8691" y="connsiteY8691"/>
              </a:cxn>
              <a:cxn ang="0">
                <a:pos x="connsiteX8692" y="connsiteY8692"/>
              </a:cxn>
              <a:cxn ang="0">
                <a:pos x="connsiteX8693" y="connsiteY8693"/>
              </a:cxn>
              <a:cxn ang="0">
                <a:pos x="connsiteX8694" y="connsiteY8694"/>
              </a:cxn>
              <a:cxn ang="0">
                <a:pos x="connsiteX8695" y="connsiteY8695"/>
              </a:cxn>
              <a:cxn ang="0">
                <a:pos x="connsiteX8696" y="connsiteY8696"/>
              </a:cxn>
              <a:cxn ang="0">
                <a:pos x="connsiteX8697" y="connsiteY8697"/>
              </a:cxn>
              <a:cxn ang="0">
                <a:pos x="connsiteX8698" y="connsiteY8698"/>
              </a:cxn>
              <a:cxn ang="0">
                <a:pos x="connsiteX8699" y="connsiteY8699"/>
              </a:cxn>
              <a:cxn ang="0">
                <a:pos x="connsiteX8700" y="connsiteY8700"/>
              </a:cxn>
              <a:cxn ang="0">
                <a:pos x="connsiteX8701" y="connsiteY8701"/>
              </a:cxn>
              <a:cxn ang="0">
                <a:pos x="connsiteX8702" y="connsiteY8702"/>
              </a:cxn>
              <a:cxn ang="0">
                <a:pos x="connsiteX8703" y="connsiteY8703"/>
              </a:cxn>
              <a:cxn ang="0">
                <a:pos x="connsiteX8704" y="connsiteY8704"/>
              </a:cxn>
              <a:cxn ang="0">
                <a:pos x="connsiteX8705" y="connsiteY8705"/>
              </a:cxn>
              <a:cxn ang="0">
                <a:pos x="connsiteX8706" y="connsiteY8706"/>
              </a:cxn>
              <a:cxn ang="0">
                <a:pos x="connsiteX8707" y="connsiteY8707"/>
              </a:cxn>
              <a:cxn ang="0">
                <a:pos x="connsiteX8708" y="connsiteY8708"/>
              </a:cxn>
              <a:cxn ang="0">
                <a:pos x="connsiteX8709" y="connsiteY8709"/>
              </a:cxn>
              <a:cxn ang="0">
                <a:pos x="connsiteX8710" y="connsiteY8710"/>
              </a:cxn>
              <a:cxn ang="0">
                <a:pos x="connsiteX8711" y="connsiteY8711"/>
              </a:cxn>
              <a:cxn ang="0">
                <a:pos x="connsiteX8712" y="connsiteY8712"/>
              </a:cxn>
              <a:cxn ang="0">
                <a:pos x="connsiteX8713" y="connsiteY8713"/>
              </a:cxn>
              <a:cxn ang="0">
                <a:pos x="connsiteX8714" y="connsiteY8714"/>
              </a:cxn>
              <a:cxn ang="0">
                <a:pos x="connsiteX8715" y="connsiteY8715"/>
              </a:cxn>
              <a:cxn ang="0">
                <a:pos x="connsiteX8716" y="connsiteY8716"/>
              </a:cxn>
              <a:cxn ang="0">
                <a:pos x="connsiteX8717" y="connsiteY8717"/>
              </a:cxn>
              <a:cxn ang="0">
                <a:pos x="connsiteX8718" y="connsiteY8718"/>
              </a:cxn>
              <a:cxn ang="0">
                <a:pos x="connsiteX8719" y="connsiteY8719"/>
              </a:cxn>
              <a:cxn ang="0">
                <a:pos x="connsiteX8720" y="connsiteY8720"/>
              </a:cxn>
              <a:cxn ang="0">
                <a:pos x="connsiteX8721" y="connsiteY8721"/>
              </a:cxn>
              <a:cxn ang="0">
                <a:pos x="connsiteX8722" y="connsiteY8722"/>
              </a:cxn>
              <a:cxn ang="0">
                <a:pos x="connsiteX8723" y="connsiteY8723"/>
              </a:cxn>
              <a:cxn ang="0">
                <a:pos x="connsiteX8724" y="connsiteY8724"/>
              </a:cxn>
              <a:cxn ang="0">
                <a:pos x="connsiteX8725" y="connsiteY8725"/>
              </a:cxn>
              <a:cxn ang="0">
                <a:pos x="connsiteX8726" y="connsiteY8726"/>
              </a:cxn>
              <a:cxn ang="0">
                <a:pos x="connsiteX8727" y="connsiteY8727"/>
              </a:cxn>
              <a:cxn ang="0">
                <a:pos x="connsiteX8728" y="connsiteY8728"/>
              </a:cxn>
              <a:cxn ang="0">
                <a:pos x="connsiteX8729" y="connsiteY8729"/>
              </a:cxn>
              <a:cxn ang="0">
                <a:pos x="connsiteX8730" y="connsiteY8730"/>
              </a:cxn>
              <a:cxn ang="0">
                <a:pos x="connsiteX8731" y="connsiteY8731"/>
              </a:cxn>
              <a:cxn ang="0">
                <a:pos x="connsiteX8732" y="connsiteY8732"/>
              </a:cxn>
              <a:cxn ang="0">
                <a:pos x="connsiteX8733" y="connsiteY8733"/>
              </a:cxn>
              <a:cxn ang="0">
                <a:pos x="connsiteX8734" y="connsiteY8734"/>
              </a:cxn>
              <a:cxn ang="0">
                <a:pos x="connsiteX8735" y="connsiteY8735"/>
              </a:cxn>
              <a:cxn ang="0">
                <a:pos x="connsiteX8736" y="connsiteY8736"/>
              </a:cxn>
              <a:cxn ang="0">
                <a:pos x="connsiteX8737" y="connsiteY8737"/>
              </a:cxn>
              <a:cxn ang="0">
                <a:pos x="connsiteX8738" y="connsiteY8738"/>
              </a:cxn>
              <a:cxn ang="0">
                <a:pos x="connsiteX8739" y="connsiteY8739"/>
              </a:cxn>
              <a:cxn ang="0">
                <a:pos x="connsiteX8740" y="connsiteY8740"/>
              </a:cxn>
              <a:cxn ang="0">
                <a:pos x="connsiteX8741" y="connsiteY8741"/>
              </a:cxn>
              <a:cxn ang="0">
                <a:pos x="connsiteX8742" y="connsiteY8742"/>
              </a:cxn>
              <a:cxn ang="0">
                <a:pos x="connsiteX8743" y="connsiteY8743"/>
              </a:cxn>
              <a:cxn ang="0">
                <a:pos x="connsiteX8744" y="connsiteY8744"/>
              </a:cxn>
              <a:cxn ang="0">
                <a:pos x="connsiteX8745" y="connsiteY8745"/>
              </a:cxn>
              <a:cxn ang="0">
                <a:pos x="connsiteX8746" y="connsiteY8746"/>
              </a:cxn>
              <a:cxn ang="0">
                <a:pos x="connsiteX8747" y="connsiteY8747"/>
              </a:cxn>
              <a:cxn ang="0">
                <a:pos x="connsiteX8748" y="connsiteY8748"/>
              </a:cxn>
              <a:cxn ang="0">
                <a:pos x="connsiteX8749" y="connsiteY8749"/>
              </a:cxn>
              <a:cxn ang="0">
                <a:pos x="connsiteX8750" y="connsiteY8750"/>
              </a:cxn>
              <a:cxn ang="0">
                <a:pos x="connsiteX8751" y="connsiteY8751"/>
              </a:cxn>
              <a:cxn ang="0">
                <a:pos x="connsiteX8752" y="connsiteY8752"/>
              </a:cxn>
              <a:cxn ang="0">
                <a:pos x="connsiteX8753" y="connsiteY8753"/>
              </a:cxn>
              <a:cxn ang="0">
                <a:pos x="connsiteX8754" y="connsiteY8754"/>
              </a:cxn>
              <a:cxn ang="0">
                <a:pos x="connsiteX8755" y="connsiteY8755"/>
              </a:cxn>
              <a:cxn ang="0">
                <a:pos x="connsiteX8756" y="connsiteY8756"/>
              </a:cxn>
              <a:cxn ang="0">
                <a:pos x="connsiteX8757" y="connsiteY8757"/>
              </a:cxn>
              <a:cxn ang="0">
                <a:pos x="connsiteX8758" y="connsiteY8758"/>
              </a:cxn>
              <a:cxn ang="0">
                <a:pos x="connsiteX8759" y="connsiteY8759"/>
              </a:cxn>
              <a:cxn ang="0">
                <a:pos x="connsiteX8760" y="connsiteY8760"/>
              </a:cxn>
              <a:cxn ang="0">
                <a:pos x="connsiteX8761" y="connsiteY8761"/>
              </a:cxn>
              <a:cxn ang="0">
                <a:pos x="connsiteX8762" y="connsiteY8762"/>
              </a:cxn>
              <a:cxn ang="0">
                <a:pos x="connsiteX8763" y="connsiteY8763"/>
              </a:cxn>
              <a:cxn ang="0">
                <a:pos x="connsiteX8764" y="connsiteY8764"/>
              </a:cxn>
              <a:cxn ang="0">
                <a:pos x="connsiteX8765" y="connsiteY8765"/>
              </a:cxn>
              <a:cxn ang="0">
                <a:pos x="connsiteX8766" y="connsiteY8766"/>
              </a:cxn>
              <a:cxn ang="0">
                <a:pos x="connsiteX8767" y="connsiteY8767"/>
              </a:cxn>
              <a:cxn ang="0">
                <a:pos x="connsiteX8768" y="connsiteY8768"/>
              </a:cxn>
              <a:cxn ang="0">
                <a:pos x="connsiteX8769" y="connsiteY8769"/>
              </a:cxn>
              <a:cxn ang="0">
                <a:pos x="connsiteX8770" y="connsiteY8770"/>
              </a:cxn>
              <a:cxn ang="0">
                <a:pos x="connsiteX8771" y="connsiteY8771"/>
              </a:cxn>
              <a:cxn ang="0">
                <a:pos x="connsiteX8772" y="connsiteY8772"/>
              </a:cxn>
              <a:cxn ang="0">
                <a:pos x="connsiteX8773" y="connsiteY8773"/>
              </a:cxn>
              <a:cxn ang="0">
                <a:pos x="connsiteX8774" y="connsiteY8774"/>
              </a:cxn>
              <a:cxn ang="0">
                <a:pos x="connsiteX8775" y="connsiteY8775"/>
              </a:cxn>
              <a:cxn ang="0">
                <a:pos x="connsiteX8776" y="connsiteY8776"/>
              </a:cxn>
              <a:cxn ang="0">
                <a:pos x="connsiteX8777" y="connsiteY8777"/>
              </a:cxn>
              <a:cxn ang="0">
                <a:pos x="connsiteX8778" y="connsiteY8778"/>
              </a:cxn>
              <a:cxn ang="0">
                <a:pos x="connsiteX8779" y="connsiteY8779"/>
              </a:cxn>
              <a:cxn ang="0">
                <a:pos x="connsiteX8780" y="connsiteY8780"/>
              </a:cxn>
              <a:cxn ang="0">
                <a:pos x="connsiteX8781" y="connsiteY8781"/>
              </a:cxn>
              <a:cxn ang="0">
                <a:pos x="connsiteX8782" y="connsiteY8782"/>
              </a:cxn>
              <a:cxn ang="0">
                <a:pos x="connsiteX8783" y="connsiteY8783"/>
              </a:cxn>
              <a:cxn ang="0">
                <a:pos x="connsiteX8784" y="connsiteY8784"/>
              </a:cxn>
              <a:cxn ang="0">
                <a:pos x="connsiteX8785" y="connsiteY8785"/>
              </a:cxn>
              <a:cxn ang="0">
                <a:pos x="connsiteX8786" y="connsiteY8786"/>
              </a:cxn>
              <a:cxn ang="0">
                <a:pos x="connsiteX8787" y="connsiteY8787"/>
              </a:cxn>
              <a:cxn ang="0">
                <a:pos x="connsiteX8788" y="connsiteY8788"/>
              </a:cxn>
              <a:cxn ang="0">
                <a:pos x="connsiteX8789" y="connsiteY8789"/>
              </a:cxn>
              <a:cxn ang="0">
                <a:pos x="connsiteX8790" y="connsiteY8790"/>
              </a:cxn>
              <a:cxn ang="0">
                <a:pos x="connsiteX8791" y="connsiteY8791"/>
              </a:cxn>
              <a:cxn ang="0">
                <a:pos x="connsiteX8792" y="connsiteY8792"/>
              </a:cxn>
              <a:cxn ang="0">
                <a:pos x="connsiteX8793" y="connsiteY8793"/>
              </a:cxn>
              <a:cxn ang="0">
                <a:pos x="connsiteX8794" y="connsiteY8794"/>
              </a:cxn>
              <a:cxn ang="0">
                <a:pos x="connsiteX8795" y="connsiteY8795"/>
              </a:cxn>
              <a:cxn ang="0">
                <a:pos x="connsiteX8796" y="connsiteY8796"/>
              </a:cxn>
              <a:cxn ang="0">
                <a:pos x="connsiteX8797" y="connsiteY8797"/>
              </a:cxn>
              <a:cxn ang="0">
                <a:pos x="connsiteX8798" y="connsiteY8798"/>
              </a:cxn>
              <a:cxn ang="0">
                <a:pos x="connsiteX8799" y="connsiteY8799"/>
              </a:cxn>
              <a:cxn ang="0">
                <a:pos x="connsiteX8800" y="connsiteY8800"/>
              </a:cxn>
              <a:cxn ang="0">
                <a:pos x="connsiteX8801" y="connsiteY8801"/>
              </a:cxn>
              <a:cxn ang="0">
                <a:pos x="connsiteX8802" y="connsiteY8802"/>
              </a:cxn>
              <a:cxn ang="0">
                <a:pos x="connsiteX8803" y="connsiteY8803"/>
              </a:cxn>
              <a:cxn ang="0">
                <a:pos x="connsiteX8804" y="connsiteY8804"/>
              </a:cxn>
              <a:cxn ang="0">
                <a:pos x="connsiteX8805" y="connsiteY8805"/>
              </a:cxn>
              <a:cxn ang="0">
                <a:pos x="connsiteX8806" y="connsiteY8806"/>
              </a:cxn>
              <a:cxn ang="0">
                <a:pos x="connsiteX8807" y="connsiteY8807"/>
              </a:cxn>
              <a:cxn ang="0">
                <a:pos x="connsiteX8808" y="connsiteY8808"/>
              </a:cxn>
              <a:cxn ang="0">
                <a:pos x="connsiteX8809" y="connsiteY8809"/>
              </a:cxn>
              <a:cxn ang="0">
                <a:pos x="connsiteX8810" y="connsiteY8810"/>
              </a:cxn>
              <a:cxn ang="0">
                <a:pos x="connsiteX8811" y="connsiteY8811"/>
              </a:cxn>
              <a:cxn ang="0">
                <a:pos x="connsiteX8812" y="connsiteY8812"/>
              </a:cxn>
              <a:cxn ang="0">
                <a:pos x="connsiteX8813" y="connsiteY8813"/>
              </a:cxn>
              <a:cxn ang="0">
                <a:pos x="connsiteX8814" y="connsiteY8814"/>
              </a:cxn>
              <a:cxn ang="0">
                <a:pos x="connsiteX8815" y="connsiteY8815"/>
              </a:cxn>
              <a:cxn ang="0">
                <a:pos x="connsiteX8816" y="connsiteY8816"/>
              </a:cxn>
              <a:cxn ang="0">
                <a:pos x="connsiteX8817" y="connsiteY8817"/>
              </a:cxn>
              <a:cxn ang="0">
                <a:pos x="connsiteX8818" y="connsiteY8818"/>
              </a:cxn>
              <a:cxn ang="0">
                <a:pos x="connsiteX8819" y="connsiteY8819"/>
              </a:cxn>
              <a:cxn ang="0">
                <a:pos x="connsiteX8820" y="connsiteY8820"/>
              </a:cxn>
              <a:cxn ang="0">
                <a:pos x="connsiteX8821" y="connsiteY8821"/>
              </a:cxn>
              <a:cxn ang="0">
                <a:pos x="connsiteX8822" y="connsiteY8822"/>
              </a:cxn>
              <a:cxn ang="0">
                <a:pos x="connsiteX8823" y="connsiteY8823"/>
              </a:cxn>
              <a:cxn ang="0">
                <a:pos x="connsiteX8824" y="connsiteY8824"/>
              </a:cxn>
              <a:cxn ang="0">
                <a:pos x="connsiteX8825" y="connsiteY8825"/>
              </a:cxn>
              <a:cxn ang="0">
                <a:pos x="connsiteX8826" y="connsiteY8826"/>
              </a:cxn>
              <a:cxn ang="0">
                <a:pos x="connsiteX8827" y="connsiteY8827"/>
              </a:cxn>
              <a:cxn ang="0">
                <a:pos x="connsiteX8828" y="connsiteY8828"/>
              </a:cxn>
              <a:cxn ang="0">
                <a:pos x="connsiteX8829" y="connsiteY8829"/>
              </a:cxn>
              <a:cxn ang="0">
                <a:pos x="connsiteX8830" y="connsiteY8830"/>
              </a:cxn>
              <a:cxn ang="0">
                <a:pos x="connsiteX8831" y="connsiteY8831"/>
              </a:cxn>
              <a:cxn ang="0">
                <a:pos x="connsiteX8832" y="connsiteY8832"/>
              </a:cxn>
              <a:cxn ang="0">
                <a:pos x="connsiteX8833" y="connsiteY8833"/>
              </a:cxn>
              <a:cxn ang="0">
                <a:pos x="connsiteX8834" y="connsiteY8834"/>
              </a:cxn>
              <a:cxn ang="0">
                <a:pos x="connsiteX8835" y="connsiteY8835"/>
              </a:cxn>
              <a:cxn ang="0">
                <a:pos x="connsiteX8836" y="connsiteY8836"/>
              </a:cxn>
              <a:cxn ang="0">
                <a:pos x="connsiteX8837" y="connsiteY8837"/>
              </a:cxn>
              <a:cxn ang="0">
                <a:pos x="connsiteX8838" y="connsiteY8838"/>
              </a:cxn>
              <a:cxn ang="0">
                <a:pos x="connsiteX8839" y="connsiteY8839"/>
              </a:cxn>
              <a:cxn ang="0">
                <a:pos x="connsiteX8840" y="connsiteY8840"/>
              </a:cxn>
              <a:cxn ang="0">
                <a:pos x="connsiteX8841" y="connsiteY8841"/>
              </a:cxn>
              <a:cxn ang="0">
                <a:pos x="connsiteX8842" y="connsiteY8842"/>
              </a:cxn>
              <a:cxn ang="0">
                <a:pos x="connsiteX8843" y="connsiteY8843"/>
              </a:cxn>
              <a:cxn ang="0">
                <a:pos x="connsiteX8844" y="connsiteY8844"/>
              </a:cxn>
              <a:cxn ang="0">
                <a:pos x="connsiteX8845" y="connsiteY8845"/>
              </a:cxn>
              <a:cxn ang="0">
                <a:pos x="connsiteX8846" y="connsiteY8846"/>
              </a:cxn>
              <a:cxn ang="0">
                <a:pos x="connsiteX8847" y="connsiteY8847"/>
              </a:cxn>
              <a:cxn ang="0">
                <a:pos x="connsiteX8848" y="connsiteY8848"/>
              </a:cxn>
              <a:cxn ang="0">
                <a:pos x="connsiteX8849" y="connsiteY8849"/>
              </a:cxn>
              <a:cxn ang="0">
                <a:pos x="connsiteX8850" y="connsiteY8850"/>
              </a:cxn>
              <a:cxn ang="0">
                <a:pos x="connsiteX8851" y="connsiteY8851"/>
              </a:cxn>
              <a:cxn ang="0">
                <a:pos x="connsiteX8852" y="connsiteY8852"/>
              </a:cxn>
              <a:cxn ang="0">
                <a:pos x="connsiteX8853" y="connsiteY8853"/>
              </a:cxn>
              <a:cxn ang="0">
                <a:pos x="connsiteX8854" y="connsiteY8854"/>
              </a:cxn>
              <a:cxn ang="0">
                <a:pos x="connsiteX8855" y="connsiteY8855"/>
              </a:cxn>
              <a:cxn ang="0">
                <a:pos x="connsiteX8856" y="connsiteY8856"/>
              </a:cxn>
              <a:cxn ang="0">
                <a:pos x="connsiteX8857" y="connsiteY8857"/>
              </a:cxn>
              <a:cxn ang="0">
                <a:pos x="connsiteX8858" y="connsiteY8858"/>
              </a:cxn>
              <a:cxn ang="0">
                <a:pos x="connsiteX8859" y="connsiteY8859"/>
              </a:cxn>
              <a:cxn ang="0">
                <a:pos x="connsiteX8860" y="connsiteY8860"/>
              </a:cxn>
              <a:cxn ang="0">
                <a:pos x="connsiteX8861" y="connsiteY8861"/>
              </a:cxn>
              <a:cxn ang="0">
                <a:pos x="connsiteX8862" y="connsiteY8862"/>
              </a:cxn>
              <a:cxn ang="0">
                <a:pos x="connsiteX8863" y="connsiteY8863"/>
              </a:cxn>
              <a:cxn ang="0">
                <a:pos x="connsiteX8864" y="connsiteY8864"/>
              </a:cxn>
              <a:cxn ang="0">
                <a:pos x="connsiteX8865" y="connsiteY8865"/>
              </a:cxn>
              <a:cxn ang="0">
                <a:pos x="connsiteX8866" y="connsiteY8866"/>
              </a:cxn>
              <a:cxn ang="0">
                <a:pos x="connsiteX8867" y="connsiteY8867"/>
              </a:cxn>
              <a:cxn ang="0">
                <a:pos x="connsiteX8868" y="connsiteY8868"/>
              </a:cxn>
              <a:cxn ang="0">
                <a:pos x="connsiteX8869" y="connsiteY8869"/>
              </a:cxn>
              <a:cxn ang="0">
                <a:pos x="connsiteX8870" y="connsiteY8870"/>
              </a:cxn>
              <a:cxn ang="0">
                <a:pos x="connsiteX8871" y="connsiteY8871"/>
              </a:cxn>
              <a:cxn ang="0">
                <a:pos x="connsiteX8872" y="connsiteY8872"/>
              </a:cxn>
              <a:cxn ang="0">
                <a:pos x="connsiteX8873" y="connsiteY8873"/>
              </a:cxn>
              <a:cxn ang="0">
                <a:pos x="connsiteX8874" y="connsiteY8874"/>
              </a:cxn>
              <a:cxn ang="0">
                <a:pos x="connsiteX8875" y="connsiteY8875"/>
              </a:cxn>
              <a:cxn ang="0">
                <a:pos x="connsiteX8876" y="connsiteY8876"/>
              </a:cxn>
              <a:cxn ang="0">
                <a:pos x="connsiteX8877" y="connsiteY8877"/>
              </a:cxn>
              <a:cxn ang="0">
                <a:pos x="connsiteX8878" y="connsiteY8878"/>
              </a:cxn>
              <a:cxn ang="0">
                <a:pos x="connsiteX8879" y="connsiteY8879"/>
              </a:cxn>
              <a:cxn ang="0">
                <a:pos x="connsiteX8880" y="connsiteY8880"/>
              </a:cxn>
              <a:cxn ang="0">
                <a:pos x="connsiteX8881" y="connsiteY8881"/>
              </a:cxn>
              <a:cxn ang="0">
                <a:pos x="connsiteX8882" y="connsiteY8882"/>
              </a:cxn>
              <a:cxn ang="0">
                <a:pos x="connsiteX8883" y="connsiteY8883"/>
              </a:cxn>
              <a:cxn ang="0">
                <a:pos x="connsiteX8884" y="connsiteY8884"/>
              </a:cxn>
              <a:cxn ang="0">
                <a:pos x="connsiteX8885" y="connsiteY8885"/>
              </a:cxn>
              <a:cxn ang="0">
                <a:pos x="connsiteX8886" y="connsiteY8886"/>
              </a:cxn>
              <a:cxn ang="0">
                <a:pos x="connsiteX8887" y="connsiteY8887"/>
              </a:cxn>
              <a:cxn ang="0">
                <a:pos x="connsiteX8888" y="connsiteY8888"/>
              </a:cxn>
              <a:cxn ang="0">
                <a:pos x="connsiteX8889" y="connsiteY8889"/>
              </a:cxn>
              <a:cxn ang="0">
                <a:pos x="connsiteX8890" y="connsiteY8890"/>
              </a:cxn>
              <a:cxn ang="0">
                <a:pos x="connsiteX8891" y="connsiteY8891"/>
              </a:cxn>
              <a:cxn ang="0">
                <a:pos x="connsiteX8892" y="connsiteY8892"/>
              </a:cxn>
              <a:cxn ang="0">
                <a:pos x="connsiteX8893" y="connsiteY8893"/>
              </a:cxn>
              <a:cxn ang="0">
                <a:pos x="connsiteX8894" y="connsiteY8894"/>
              </a:cxn>
              <a:cxn ang="0">
                <a:pos x="connsiteX8895" y="connsiteY8895"/>
              </a:cxn>
              <a:cxn ang="0">
                <a:pos x="connsiteX8896" y="connsiteY8896"/>
              </a:cxn>
              <a:cxn ang="0">
                <a:pos x="connsiteX8897" y="connsiteY8897"/>
              </a:cxn>
              <a:cxn ang="0">
                <a:pos x="connsiteX8898" y="connsiteY8898"/>
              </a:cxn>
              <a:cxn ang="0">
                <a:pos x="connsiteX8899" y="connsiteY8899"/>
              </a:cxn>
              <a:cxn ang="0">
                <a:pos x="connsiteX8900" y="connsiteY8900"/>
              </a:cxn>
              <a:cxn ang="0">
                <a:pos x="connsiteX8901" y="connsiteY8901"/>
              </a:cxn>
              <a:cxn ang="0">
                <a:pos x="connsiteX8902" y="connsiteY8902"/>
              </a:cxn>
              <a:cxn ang="0">
                <a:pos x="connsiteX8903" y="connsiteY8903"/>
              </a:cxn>
              <a:cxn ang="0">
                <a:pos x="connsiteX8904" y="connsiteY8904"/>
              </a:cxn>
              <a:cxn ang="0">
                <a:pos x="connsiteX8905" y="connsiteY8905"/>
              </a:cxn>
              <a:cxn ang="0">
                <a:pos x="connsiteX8906" y="connsiteY8906"/>
              </a:cxn>
              <a:cxn ang="0">
                <a:pos x="connsiteX8907" y="connsiteY8907"/>
              </a:cxn>
              <a:cxn ang="0">
                <a:pos x="connsiteX8908" y="connsiteY8908"/>
              </a:cxn>
              <a:cxn ang="0">
                <a:pos x="connsiteX8909" y="connsiteY8909"/>
              </a:cxn>
              <a:cxn ang="0">
                <a:pos x="connsiteX8910" y="connsiteY8910"/>
              </a:cxn>
              <a:cxn ang="0">
                <a:pos x="connsiteX8911" y="connsiteY8911"/>
              </a:cxn>
              <a:cxn ang="0">
                <a:pos x="connsiteX8912" y="connsiteY8912"/>
              </a:cxn>
              <a:cxn ang="0">
                <a:pos x="connsiteX8913" y="connsiteY8913"/>
              </a:cxn>
              <a:cxn ang="0">
                <a:pos x="connsiteX8914" y="connsiteY8914"/>
              </a:cxn>
              <a:cxn ang="0">
                <a:pos x="connsiteX8915" y="connsiteY8915"/>
              </a:cxn>
              <a:cxn ang="0">
                <a:pos x="connsiteX8916" y="connsiteY8916"/>
              </a:cxn>
              <a:cxn ang="0">
                <a:pos x="connsiteX8917" y="connsiteY8917"/>
              </a:cxn>
              <a:cxn ang="0">
                <a:pos x="connsiteX8918" y="connsiteY8918"/>
              </a:cxn>
              <a:cxn ang="0">
                <a:pos x="connsiteX8919" y="connsiteY8919"/>
              </a:cxn>
              <a:cxn ang="0">
                <a:pos x="connsiteX8920" y="connsiteY8920"/>
              </a:cxn>
              <a:cxn ang="0">
                <a:pos x="connsiteX8921" y="connsiteY8921"/>
              </a:cxn>
              <a:cxn ang="0">
                <a:pos x="connsiteX8922" y="connsiteY8922"/>
              </a:cxn>
              <a:cxn ang="0">
                <a:pos x="connsiteX8923" y="connsiteY8923"/>
              </a:cxn>
              <a:cxn ang="0">
                <a:pos x="connsiteX8924" y="connsiteY8924"/>
              </a:cxn>
              <a:cxn ang="0">
                <a:pos x="connsiteX8925" y="connsiteY8925"/>
              </a:cxn>
              <a:cxn ang="0">
                <a:pos x="connsiteX8926" y="connsiteY8926"/>
              </a:cxn>
              <a:cxn ang="0">
                <a:pos x="connsiteX8927" y="connsiteY8927"/>
              </a:cxn>
              <a:cxn ang="0">
                <a:pos x="connsiteX8928" y="connsiteY8928"/>
              </a:cxn>
              <a:cxn ang="0">
                <a:pos x="connsiteX8929" y="connsiteY8929"/>
              </a:cxn>
              <a:cxn ang="0">
                <a:pos x="connsiteX8930" y="connsiteY8930"/>
              </a:cxn>
              <a:cxn ang="0">
                <a:pos x="connsiteX8931" y="connsiteY8931"/>
              </a:cxn>
              <a:cxn ang="0">
                <a:pos x="connsiteX8932" y="connsiteY8932"/>
              </a:cxn>
              <a:cxn ang="0">
                <a:pos x="connsiteX8933" y="connsiteY8933"/>
              </a:cxn>
              <a:cxn ang="0">
                <a:pos x="connsiteX8934" y="connsiteY8934"/>
              </a:cxn>
              <a:cxn ang="0">
                <a:pos x="connsiteX8935" y="connsiteY8935"/>
              </a:cxn>
              <a:cxn ang="0">
                <a:pos x="connsiteX8936" y="connsiteY8936"/>
              </a:cxn>
              <a:cxn ang="0">
                <a:pos x="connsiteX8937" y="connsiteY8937"/>
              </a:cxn>
              <a:cxn ang="0">
                <a:pos x="connsiteX8938" y="connsiteY8938"/>
              </a:cxn>
              <a:cxn ang="0">
                <a:pos x="connsiteX8939" y="connsiteY8939"/>
              </a:cxn>
              <a:cxn ang="0">
                <a:pos x="connsiteX8940" y="connsiteY8940"/>
              </a:cxn>
              <a:cxn ang="0">
                <a:pos x="connsiteX8941" y="connsiteY8941"/>
              </a:cxn>
              <a:cxn ang="0">
                <a:pos x="connsiteX8942" y="connsiteY8942"/>
              </a:cxn>
              <a:cxn ang="0">
                <a:pos x="connsiteX8943" y="connsiteY8943"/>
              </a:cxn>
              <a:cxn ang="0">
                <a:pos x="connsiteX8944" y="connsiteY8944"/>
              </a:cxn>
              <a:cxn ang="0">
                <a:pos x="connsiteX8945" y="connsiteY8945"/>
              </a:cxn>
              <a:cxn ang="0">
                <a:pos x="connsiteX8946" y="connsiteY8946"/>
              </a:cxn>
              <a:cxn ang="0">
                <a:pos x="connsiteX8947" y="connsiteY8947"/>
              </a:cxn>
              <a:cxn ang="0">
                <a:pos x="connsiteX8948" y="connsiteY8948"/>
              </a:cxn>
              <a:cxn ang="0">
                <a:pos x="connsiteX8949" y="connsiteY8949"/>
              </a:cxn>
              <a:cxn ang="0">
                <a:pos x="connsiteX8950" y="connsiteY8950"/>
              </a:cxn>
              <a:cxn ang="0">
                <a:pos x="connsiteX8951" y="connsiteY8951"/>
              </a:cxn>
              <a:cxn ang="0">
                <a:pos x="connsiteX8952" y="connsiteY8952"/>
              </a:cxn>
              <a:cxn ang="0">
                <a:pos x="connsiteX8953" y="connsiteY8953"/>
              </a:cxn>
              <a:cxn ang="0">
                <a:pos x="connsiteX8954" y="connsiteY8954"/>
              </a:cxn>
              <a:cxn ang="0">
                <a:pos x="connsiteX8955" y="connsiteY8955"/>
              </a:cxn>
              <a:cxn ang="0">
                <a:pos x="connsiteX8956" y="connsiteY8956"/>
              </a:cxn>
              <a:cxn ang="0">
                <a:pos x="connsiteX8957" y="connsiteY8957"/>
              </a:cxn>
              <a:cxn ang="0">
                <a:pos x="connsiteX8958" y="connsiteY8958"/>
              </a:cxn>
              <a:cxn ang="0">
                <a:pos x="connsiteX8959" y="connsiteY8959"/>
              </a:cxn>
              <a:cxn ang="0">
                <a:pos x="connsiteX8960" y="connsiteY8960"/>
              </a:cxn>
              <a:cxn ang="0">
                <a:pos x="connsiteX8961" y="connsiteY8961"/>
              </a:cxn>
              <a:cxn ang="0">
                <a:pos x="connsiteX8962" y="connsiteY8962"/>
              </a:cxn>
              <a:cxn ang="0">
                <a:pos x="connsiteX8963" y="connsiteY8963"/>
              </a:cxn>
              <a:cxn ang="0">
                <a:pos x="connsiteX8964" y="connsiteY8964"/>
              </a:cxn>
              <a:cxn ang="0">
                <a:pos x="connsiteX8965" y="connsiteY8965"/>
              </a:cxn>
              <a:cxn ang="0">
                <a:pos x="connsiteX8966" y="connsiteY8966"/>
              </a:cxn>
              <a:cxn ang="0">
                <a:pos x="connsiteX8967" y="connsiteY8967"/>
              </a:cxn>
              <a:cxn ang="0">
                <a:pos x="connsiteX8968" y="connsiteY8968"/>
              </a:cxn>
              <a:cxn ang="0">
                <a:pos x="connsiteX8969" y="connsiteY8969"/>
              </a:cxn>
              <a:cxn ang="0">
                <a:pos x="connsiteX8970" y="connsiteY8970"/>
              </a:cxn>
              <a:cxn ang="0">
                <a:pos x="connsiteX8971" y="connsiteY8971"/>
              </a:cxn>
              <a:cxn ang="0">
                <a:pos x="connsiteX8972" y="connsiteY8972"/>
              </a:cxn>
              <a:cxn ang="0">
                <a:pos x="connsiteX8973" y="connsiteY8973"/>
              </a:cxn>
              <a:cxn ang="0">
                <a:pos x="connsiteX8974" y="connsiteY8974"/>
              </a:cxn>
              <a:cxn ang="0">
                <a:pos x="connsiteX8975" y="connsiteY8975"/>
              </a:cxn>
              <a:cxn ang="0">
                <a:pos x="connsiteX8976" y="connsiteY8976"/>
              </a:cxn>
              <a:cxn ang="0">
                <a:pos x="connsiteX8977" y="connsiteY8977"/>
              </a:cxn>
              <a:cxn ang="0">
                <a:pos x="connsiteX8978" y="connsiteY8978"/>
              </a:cxn>
              <a:cxn ang="0">
                <a:pos x="connsiteX8979" y="connsiteY8979"/>
              </a:cxn>
              <a:cxn ang="0">
                <a:pos x="connsiteX8980" y="connsiteY8980"/>
              </a:cxn>
              <a:cxn ang="0">
                <a:pos x="connsiteX8981" y="connsiteY8981"/>
              </a:cxn>
              <a:cxn ang="0">
                <a:pos x="connsiteX8982" y="connsiteY8982"/>
              </a:cxn>
              <a:cxn ang="0">
                <a:pos x="connsiteX8983" y="connsiteY8983"/>
              </a:cxn>
              <a:cxn ang="0">
                <a:pos x="connsiteX8984" y="connsiteY8984"/>
              </a:cxn>
              <a:cxn ang="0">
                <a:pos x="connsiteX8985" y="connsiteY8985"/>
              </a:cxn>
              <a:cxn ang="0">
                <a:pos x="connsiteX8986" y="connsiteY8986"/>
              </a:cxn>
              <a:cxn ang="0">
                <a:pos x="connsiteX8987" y="connsiteY8987"/>
              </a:cxn>
              <a:cxn ang="0">
                <a:pos x="connsiteX8988" y="connsiteY8988"/>
              </a:cxn>
              <a:cxn ang="0">
                <a:pos x="connsiteX8989" y="connsiteY8989"/>
              </a:cxn>
              <a:cxn ang="0">
                <a:pos x="connsiteX8990" y="connsiteY8990"/>
              </a:cxn>
              <a:cxn ang="0">
                <a:pos x="connsiteX8991" y="connsiteY8991"/>
              </a:cxn>
              <a:cxn ang="0">
                <a:pos x="connsiteX8992" y="connsiteY8992"/>
              </a:cxn>
              <a:cxn ang="0">
                <a:pos x="connsiteX8993" y="connsiteY8993"/>
              </a:cxn>
              <a:cxn ang="0">
                <a:pos x="connsiteX8994" y="connsiteY8994"/>
              </a:cxn>
              <a:cxn ang="0">
                <a:pos x="connsiteX8995" y="connsiteY8995"/>
              </a:cxn>
              <a:cxn ang="0">
                <a:pos x="connsiteX8996" y="connsiteY8996"/>
              </a:cxn>
              <a:cxn ang="0">
                <a:pos x="connsiteX8997" y="connsiteY8997"/>
              </a:cxn>
              <a:cxn ang="0">
                <a:pos x="connsiteX8998" y="connsiteY8998"/>
              </a:cxn>
              <a:cxn ang="0">
                <a:pos x="connsiteX8999" y="connsiteY8999"/>
              </a:cxn>
              <a:cxn ang="0">
                <a:pos x="connsiteX9000" y="connsiteY9000"/>
              </a:cxn>
              <a:cxn ang="0">
                <a:pos x="connsiteX9001" y="connsiteY9001"/>
              </a:cxn>
              <a:cxn ang="0">
                <a:pos x="connsiteX9002" y="connsiteY9002"/>
              </a:cxn>
              <a:cxn ang="0">
                <a:pos x="connsiteX9003" y="connsiteY9003"/>
              </a:cxn>
              <a:cxn ang="0">
                <a:pos x="connsiteX9004" y="connsiteY9004"/>
              </a:cxn>
              <a:cxn ang="0">
                <a:pos x="connsiteX9005" y="connsiteY9005"/>
              </a:cxn>
              <a:cxn ang="0">
                <a:pos x="connsiteX9006" y="connsiteY9006"/>
              </a:cxn>
              <a:cxn ang="0">
                <a:pos x="connsiteX9007" y="connsiteY9007"/>
              </a:cxn>
              <a:cxn ang="0">
                <a:pos x="connsiteX9008" y="connsiteY9008"/>
              </a:cxn>
              <a:cxn ang="0">
                <a:pos x="connsiteX9009" y="connsiteY9009"/>
              </a:cxn>
              <a:cxn ang="0">
                <a:pos x="connsiteX9010" y="connsiteY9010"/>
              </a:cxn>
              <a:cxn ang="0">
                <a:pos x="connsiteX9011" y="connsiteY9011"/>
              </a:cxn>
              <a:cxn ang="0">
                <a:pos x="connsiteX9012" y="connsiteY9012"/>
              </a:cxn>
              <a:cxn ang="0">
                <a:pos x="connsiteX9013" y="connsiteY9013"/>
              </a:cxn>
              <a:cxn ang="0">
                <a:pos x="connsiteX9014" y="connsiteY9014"/>
              </a:cxn>
              <a:cxn ang="0">
                <a:pos x="connsiteX9015" y="connsiteY9015"/>
              </a:cxn>
              <a:cxn ang="0">
                <a:pos x="connsiteX9016" y="connsiteY9016"/>
              </a:cxn>
              <a:cxn ang="0">
                <a:pos x="connsiteX9017" y="connsiteY9017"/>
              </a:cxn>
              <a:cxn ang="0">
                <a:pos x="connsiteX9018" y="connsiteY9018"/>
              </a:cxn>
              <a:cxn ang="0">
                <a:pos x="connsiteX9019" y="connsiteY9019"/>
              </a:cxn>
              <a:cxn ang="0">
                <a:pos x="connsiteX9020" y="connsiteY9020"/>
              </a:cxn>
              <a:cxn ang="0">
                <a:pos x="connsiteX9021" y="connsiteY9021"/>
              </a:cxn>
              <a:cxn ang="0">
                <a:pos x="connsiteX9022" y="connsiteY9022"/>
              </a:cxn>
              <a:cxn ang="0">
                <a:pos x="connsiteX9023" y="connsiteY9023"/>
              </a:cxn>
              <a:cxn ang="0">
                <a:pos x="connsiteX9024" y="connsiteY9024"/>
              </a:cxn>
              <a:cxn ang="0">
                <a:pos x="connsiteX9025" y="connsiteY9025"/>
              </a:cxn>
              <a:cxn ang="0">
                <a:pos x="connsiteX9026" y="connsiteY9026"/>
              </a:cxn>
              <a:cxn ang="0">
                <a:pos x="connsiteX9027" y="connsiteY9027"/>
              </a:cxn>
              <a:cxn ang="0">
                <a:pos x="connsiteX9028" y="connsiteY9028"/>
              </a:cxn>
              <a:cxn ang="0">
                <a:pos x="connsiteX9029" y="connsiteY9029"/>
              </a:cxn>
              <a:cxn ang="0">
                <a:pos x="connsiteX9030" y="connsiteY9030"/>
              </a:cxn>
              <a:cxn ang="0">
                <a:pos x="connsiteX9031" y="connsiteY9031"/>
              </a:cxn>
              <a:cxn ang="0">
                <a:pos x="connsiteX9032" y="connsiteY9032"/>
              </a:cxn>
              <a:cxn ang="0">
                <a:pos x="connsiteX9033" y="connsiteY9033"/>
              </a:cxn>
              <a:cxn ang="0">
                <a:pos x="connsiteX9034" y="connsiteY9034"/>
              </a:cxn>
              <a:cxn ang="0">
                <a:pos x="connsiteX9035" y="connsiteY9035"/>
              </a:cxn>
              <a:cxn ang="0">
                <a:pos x="connsiteX9036" y="connsiteY9036"/>
              </a:cxn>
              <a:cxn ang="0">
                <a:pos x="connsiteX9037" y="connsiteY9037"/>
              </a:cxn>
              <a:cxn ang="0">
                <a:pos x="connsiteX9038" y="connsiteY9038"/>
              </a:cxn>
              <a:cxn ang="0">
                <a:pos x="connsiteX9039" y="connsiteY9039"/>
              </a:cxn>
              <a:cxn ang="0">
                <a:pos x="connsiteX9040" y="connsiteY9040"/>
              </a:cxn>
              <a:cxn ang="0">
                <a:pos x="connsiteX9041" y="connsiteY9041"/>
              </a:cxn>
              <a:cxn ang="0">
                <a:pos x="connsiteX9042" y="connsiteY9042"/>
              </a:cxn>
              <a:cxn ang="0">
                <a:pos x="connsiteX9043" y="connsiteY9043"/>
              </a:cxn>
              <a:cxn ang="0">
                <a:pos x="connsiteX9044" y="connsiteY9044"/>
              </a:cxn>
              <a:cxn ang="0">
                <a:pos x="connsiteX9045" y="connsiteY9045"/>
              </a:cxn>
              <a:cxn ang="0">
                <a:pos x="connsiteX9046" y="connsiteY9046"/>
              </a:cxn>
              <a:cxn ang="0">
                <a:pos x="connsiteX9047" y="connsiteY9047"/>
              </a:cxn>
              <a:cxn ang="0">
                <a:pos x="connsiteX9048" y="connsiteY9048"/>
              </a:cxn>
              <a:cxn ang="0">
                <a:pos x="connsiteX9049" y="connsiteY9049"/>
              </a:cxn>
              <a:cxn ang="0">
                <a:pos x="connsiteX9050" y="connsiteY9050"/>
              </a:cxn>
              <a:cxn ang="0">
                <a:pos x="connsiteX9051" y="connsiteY9051"/>
              </a:cxn>
              <a:cxn ang="0">
                <a:pos x="connsiteX9052" y="connsiteY9052"/>
              </a:cxn>
              <a:cxn ang="0">
                <a:pos x="connsiteX9053" y="connsiteY9053"/>
              </a:cxn>
              <a:cxn ang="0">
                <a:pos x="connsiteX9054" y="connsiteY9054"/>
              </a:cxn>
              <a:cxn ang="0">
                <a:pos x="connsiteX9055" y="connsiteY9055"/>
              </a:cxn>
              <a:cxn ang="0">
                <a:pos x="connsiteX9056" y="connsiteY9056"/>
              </a:cxn>
              <a:cxn ang="0">
                <a:pos x="connsiteX9057" y="connsiteY9057"/>
              </a:cxn>
              <a:cxn ang="0">
                <a:pos x="connsiteX9058" y="connsiteY9058"/>
              </a:cxn>
              <a:cxn ang="0">
                <a:pos x="connsiteX9059" y="connsiteY9059"/>
              </a:cxn>
              <a:cxn ang="0">
                <a:pos x="connsiteX9060" y="connsiteY9060"/>
              </a:cxn>
              <a:cxn ang="0">
                <a:pos x="connsiteX9061" y="connsiteY9061"/>
              </a:cxn>
              <a:cxn ang="0">
                <a:pos x="connsiteX9062" y="connsiteY9062"/>
              </a:cxn>
              <a:cxn ang="0">
                <a:pos x="connsiteX9063" y="connsiteY9063"/>
              </a:cxn>
              <a:cxn ang="0">
                <a:pos x="connsiteX9064" y="connsiteY9064"/>
              </a:cxn>
              <a:cxn ang="0">
                <a:pos x="connsiteX9065" y="connsiteY9065"/>
              </a:cxn>
              <a:cxn ang="0">
                <a:pos x="connsiteX9066" y="connsiteY9066"/>
              </a:cxn>
              <a:cxn ang="0">
                <a:pos x="connsiteX9067" y="connsiteY9067"/>
              </a:cxn>
              <a:cxn ang="0">
                <a:pos x="connsiteX9068" y="connsiteY9068"/>
              </a:cxn>
              <a:cxn ang="0">
                <a:pos x="connsiteX9069" y="connsiteY9069"/>
              </a:cxn>
              <a:cxn ang="0">
                <a:pos x="connsiteX9070" y="connsiteY9070"/>
              </a:cxn>
              <a:cxn ang="0">
                <a:pos x="connsiteX9071" y="connsiteY9071"/>
              </a:cxn>
              <a:cxn ang="0">
                <a:pos x="connsiteX9072" y="connsiteY9072"/>
              </a:cxn>
              <a:cxn ang="0">
                <a:pos x="connsiteX9073" y="connsiteY9073"/>
              </a:cxn>
              <a:cxn ang="0">
                <a:pos x="connsiteX9074" y="connsiteY9074"/>
              </a:cxn>
              <a:cxn ang="0">
                <a:pos x="connsiteX9075" y="connsiteY9075"/>
              </a:cxn>
              <a:cxn ang="0">
                <a:pos x="connsiteX9076" y="connsiteY9076"/>
              </a:cxn>
              <a:cxn ang="0">
                <a:pos x="connsiteX9077" y="connsiteY9077"/>
              </a:cxn>
              <a:cxn ang="0">
                <a:pos x="connsiteX9078" y="connsiteY9078"/>
              </a:cxn>
              <a:cxn ang="0">
                <a:pos x="connsiteX9079" y="connsiteY9079"/>
              </a:cxn>
              <a:cxn ang="0">
                <a:pos x="connsiteX9080" y="connsiteY9080"/>
              </a:cxn>
              <a:cxn ang="0">
                <a:pos x="connsiteX9081" y="connsiteY9081"/>
              </a:cxn>
              <a:cxn ang="0">
                <a:pos x="connsiteX9082" y="connsiteY9082"/>
              </a:cxn>
              <a:cxn ang="0">
                <a:pos x="connsiteX9083" y="connsiteY9083"/>
              </a:cxn>
              <a:cxn ang="0">
                <a:pos x="connsiteX9084" y="connsiteY9084"/>
              </a:cxn>
              <a:cxn ang="0">
                <a:pos x="connsiteX9085" y="connsiteY9085"/>
              </a:cxn>
              <a:cxn ang="0">
                <a:pos x="connsiteX9086" y="connsiteY9086"/>
              </a:cxn>
              <a:cxn ang="0">
                <a:pos x="connsiteX9087" y="connsiteY9087"/>
              </a:cxn>
              <a:cxn ang="0">
                <a:pos x="connsiteX9088" y="connsiteY9088"/>
              </a:cxn>
              <a:cxn ang="0">
                <a:pos x="connsiteX9089" y="connsiteY9089"/>
              </a:cxn>
              <a:cxn ang="0">
                <a:pos x="connsiteX9090" y="connsiteY9090"/>
              </a:cxn>
              <a:cxn ang="0">
                <a:pos x="connsiteX9091" y="connsiteY9091"/>
              </a:cxn>
              <a:cxn ang="0">
                <a:pos x="connsiteX9092" y="connsiteY9092"/>
              </a:cxn>
              <a:cxn ang="0">
                <a:pos x="connsiteX9093" y="connsiteY9093"/>
              </a:cxn>
              <a:cxn ang="0">
                <a:pos x="connsiteX9094" y="connsiteY9094"/>
              </a:cxn>
              <a:cxn ang="0">
                <a:pos x="connsiteX9095" y="connsiteY9095"/>
              </a:cxn>
              <a:cxn ang="0">
                <a:pos x="connsiteX9096" y="connsiteY9096"/>
              </a:cxn>
              <a:cxn ang="0">
                <a:pos x="connsiteX9097" y="connsiteY9097"/>
              </a:cxn>
              <a:cxn ang="0">
                <a:pos x="connsiteX9098" y="connsiteY9098"/>
              </a:cxn>
              <a:cxn ang="0">
                <a:pos x="connsiteX9099" y="connsiteY9099"/>
              </a:cxn>
              <a:cxn ang="0">
                <a:pos x="connsiteX9100" y="connsiteY9100"/>
              </a:cxn>
              <a:cxn ang="0">
                <a:pos x="connsiteX9101" y="connsiteY9101"/>
              </a:cxn>
              <a:cxn ang="0">
                <a:pos x="connsiteX9102" y="connsiteY9102"/>
              </a:cxn>
              <a:cxn ang="0">
                <a:pos x="connsiteX9103" y="connsiteY9103"/>
              </a:cxn>
              <a:cxn ang="0">
                <a:pos x="connsiteX9104" y="connsiteY9104"/>
              </a:cxn>
              <a:cxn ang="0">
                <a:pos x="connsiteX9105" y="connsiteY9105"/>
              </a:cxn>
              <a:cxn ang="0">
                <a:pos x="connsiteX9106" y="connsiteY9106"/>
              </a:cxn>
              <a:cxn ang="0">
                <a:pos x="connsiteX9107" y="connsiteY9107"/>
              </a:cxn>
              <a:cxn ang="0">
                <a:pos x="connsiteX9108" y="connsiteY9108"/>
              </a:cxn>
              <a:cxn ang="0">
                <a:pos x="connsiteX9109" y="connsiteY9109"/>
              </a:cxn>
              <a:cxn ang="0">
                <a:pos x="connsiteX9110" y="connsiteY9110"/>
              </a:cxn>
              <a:cxn ang="0">
                <a:pos x="connsiteX9111" y="connsiteY9111"/>
              </a:cxn>
              <a:cxn ang="0">
                <a:pos x="connsiteX9112" y="connsiteY9112"/>
              </a:cxn>
              <a:cxn ang="0">
                <a:pos x="connsiteX9113" y="connsiteY9113"/>
              </a:cxn>
              <a:cxn ang="0">
                <a:pos x="connsiteX9114" y="connsiteY9114"/>
              </a:cxn>
              <a:cxn ang="0">
                <a:pos x="connsiteX9115" y="connsiteY9115"/>
              </a:cxn>
              <a:cxn ang="0">
                <a:pos x="connsiteX9116" y="connsiteY9116"/>
              </a:cxn>
              <a:cxn ang="0">
                <a:pos x="connsiteX9117" y="connsiteY9117"/>
              </a:cxn>
              <a:cxn ang="0">
                <a:pos x="connsiteX9118" y="connsiteY9118"/>
              </a:cxn>
              <a:cxn ang="0">
                <a:pos x="connsiteX9119" y="connsiteY9119"/>
              </a:cxn>
              <a:cxn ang="0">
                <a:pos x="connsiteX9120" y="connsiteY9120"/>
              </a:cxn>
              <a:cxn ang="0">
                <a:pos x="connsiteX9121" y="connsiteY9121"/>
              </a:cxn>
              <a:cxn ang="0">
                <a:pos x="connsiteX9122" y="connsiteY9122"/>
              </a:cxn>
              <a:cxn ang="0">
                <a:pos x="connsiteX9123" y="connsiteY9123"/>
              </a:cxn>
              <a:cxn ang="0">
                <a:pos x="connsiteX9124" y="connsiteY9124"/>
              </a:cxn>
              <a:cxn ang="0">
                <a:pos x="connsiteX9125" y="connsiteY9125"/>
              </a:cxn>
              <a:cxn ang="0">
                <a:pos x="connsiteX9126" y="connsiteY9126"/>
              </a:cxn>
              <a:cxn ang="0">
                <a:pos x="connsiteX9127" y="connsiteY9127"/>
              </a:cxn>
              <a:cxn ang="0">
                <a:pos x="connsiteX9128" y="connsiteY9128"/>
              </a:cxn>
              <a:cxn ang="0">
                <a:pos x="connsiteX9129" y="connsiteY9129"/>
              </a:cxn>
              <a:cxn ang="0">
                <a:pos x="connsiteX9130" y="connsiteY9130"/>
              </a:cxn>
              <a:cxn ang="0">
                <a:pos x="connsiteX9131" y="connsiteY9131"/>
              </a:cxn>
              <a:cxn ang="0">
                <a:pos x="connsiteX9132" y="connsiteY9132"/>
              </a:cxn>
              <a:cxn ang="0">
                <a:pos x="connsiteX9133" y="connsiteY9133"/>
              </a:cxn>
              <a:cxn ang="0">
                <a:pos x="connsiteX9134" y="connsiteY9134"/>
              </a:cxn>
              <a:cxn ang="0">
                <a:pos x="connsiteX9135" y="connsiteY9135"/>
              </a:cxn>
              <a:cxn ang="0">
                <a:pos x="connsiteX9136" y="connsiteY9136"/>
              </a:cxn>
              <a:cxn ang="0">
                <a:pos x="connsiteX9137" y="connsiteY9137"/>
              </a:cxn>
              <a:cxn ang="0">
                <a:pos x="connsiteX9138" y="connsiteY9138"/>
              </a:cxn>
              <a:cxn ang="0">
                <a:pos x="connsiteX9139" y="connsiteY9139"/>
              </a:cxn>
              <a:cxn ang="0">
                <a:pos x="connsiteX9140" y="connsiteY9140"/>
              </a:cxn>
              <a:cxn ang="0">
                <a:pos x="connsiteX9141" y="connsiteY9141"/>
              </a:cxn>
              <a:cxn ang="0">
                <a:pos x="connsiteX9142" y="connsiteY9142"/>
              </a:cxn>
              <a:cxn ang="0">
                <a:pos x="connsiteX9143" y="connsiteY9143"/>
              </a:cxn>
              <a:cxn ang="0">
                <a:pos x="connsiteX9144" y="connsiteY9144"/>
              </a:cxn>
              <a:cxn ang="0">
                <a:pos x="connsiteX9145" y="connsiteY9145"/>
              </a:cxn>
              <a:cxn ang="0">
                <a:pos x="connsiteX9146" y="connsiteY9146"/>
              </a:cxn>
              <a:cxn ang="0">
                <a:pos x="connsiteX9147" y="connsiteY9147"/>
              </a:cxn>
              <a:cxn ang="0">
                <a:pos x="connsiteX9148" y="connsiteY9148"/>
              </a:cxn>
              <a:cxn ang="0">
                <a:pos x="connsiteX9149" y="connsiteY9149"/>
              </a:cxn>
              <a:cxn ang="0">
                <a:pos x="connsiteX9150" y="connsiteY9150"/>
              </a:cxn>
              <a:cxn ang="0">
                <a:pos x="connsiteX9151" y="connsiteY9151"/>
              </a:cxn>
              <a:cxn ang="0">
                <a:pos x="connsiteX9152" y="connsiteY9152"/>
              </a:cxn>
              <a:cxn ang="0">
                <a:pos x="connsiteX9153" y="connsiteY9153"/>
              </a:cxn>
              <a:cxn ang="0">
                <a:pos x="connsiteX9154" y="connsiteY9154"/>
              </a:cxn>
              <a:cxn ang="0">
                <a:pos x="connsiteX9155" y="connsiteY9155"/>
              </a:cxn>
              <a:cxn ang="0">
                <a:pos x="connsiteX9156" y="connsiteY9156"/>
              </a:cxn>
              <a:cxn ang="0">
                <a:pos x="connsiteX9157" y="connsiteY9157"/>
              </a:cxn>
              <a:cxn ang="0">
                <a:pos x="connsiteX9158" y="connsiteY9158"/>
              </a:cxn>
              <a:cxn ang="0">
                <a:pos x="connsiteX9159" y="connsiteY9159"/>
              </a:cxn>
              <a:cxn ang="0">
                <a:pos x="connsiteX9160" y="connsiteY9160"/>
              </a:cxn>
              <a:cxn ang="0">
                <a:pos x="connsiteX9161" y="connsiteY9161"/>
              </a:cxn>
              <a:cxn ang="0">
                <a:pos x="connsiteX9162" y="connsiteY9162"/>
              </a:cxn>
              <a:cxn ang="0">
                <a:pos x="connsiteX9163" y="connsiteY9163"/>
              </a:cxn>
              <a:cxn ang="0">
                <a:pos x="connsiteX9164" y="connsiteY9164"/>
              </a:cxn>
              <a:cxn ang="0">
                <a:pos x="connsiteX9165" y="connsiteY9165"/>
              </a:cxn>
              <a:cxn ang="0">
                <a:pos x="connsiteX9166" y="connsiteY9166"/>
              </a:cxn>
              <a:cxn ang="0">
                <a:pos x="connsiteX9167" y="connsiteY9167"/>
              </a:cxn>
              <a:cxn ang="0">
                <a:pos x="connsiteX9168" y="connsiteY9168"/>
              </a:cxn>
              <a:cxn ang="0">
                <a:pos x="connsiteX9169" y="connsiteY9169"/>
              </a:cxn>
              <a:cxn ang="0">
                <a:pos x="connsiteX9170" y="connsiteY9170"/>
              </a:cxn>
              <a:cxn ang="0">
                <a:pos x="connsiteX9171" y="connsiteY9171"/>
              </a:cxn>
              <a:cxn ang="0">
                <a:pos x="connsiteX9172" y="connsiteY9172"/>
              </a:cxn>
              <a:cxn ang="0">
                <a:pos x="connsiteX9173" y="connsiteY9173"/>
              </a:cxn>
              <a:cxn ang="0">
                <a:pos x="connsiteX9174" y="connsiteY9174"/>
              </a:cxn>
              <a:cxn ang="0">
                <a:pos x="connsiteX9175" y="connsiteY9175"/>
              </a:cxn>
              <a:cxn ang="0">
                <a:pos x="connsiteX9176" y="connsiteY9176"/>
              </a:cxn>
              <a:cxn ang="0">
                <a:pos x="connsiteX9177" y="connsiteY9177"/>
              </a:cxn>
              <a:cxn ang="0">
                <a:pos x="connsiteX9178" y="connsiteY9178"/>
              </a:cxn>
              <a:cxn ang="0">
                <a:pos x="connsiteX9179" y="connsiteY9179"/>
              </a:cxn>
              <a:cxn ang="0">
                <a:pos x="connsiteX9180" y="connsiteY9180"/>
              </a:cxn>
              <a:cxn ang="0">
                <a:pos x="connsiteX9181" y="connsiteY9181"/>
              </a:cxn>
              <a:cxn ang="0">
                <a:pos x="connsiteX9182" y="connsiteY9182"/>
              </a:cxn>
              <a:cxn ang="0">
                <a:pos x="connsiteX9183" y="connsiteY9183"/>
              </a:cxn>
              <a:cxn ang="0">
                <a:pos x="connsiteX9184" y="connsiteY9184"/>
              </a:cxn>
              <a:cxn ang="0">
                <a:pos x="connsiteX9185" y="connsiteY9185"/>
              </a:cxn>
              <a:cxn ang="0">
                <a:pos x="connsiteX9186" y="connsiteY9186"/>
              </a:cxn>
              <a:cxn ang="0">
                <a:pos x="connsiteX9187" y="connsiteY9187"/>
              </a:cxn>
              <a:cxn ang="0">
                <a:pos x="connsiteX9188" y="connsiteY9188"/>
              </a:cxn>
              <a:cxn ang="0">
                <a:pos x="connsiteX9189" y="connsiteY9189"/>
              </a:cxn>
              <a:cxn ang="0">
                <a:pos x="connsiteX9190" y="connsiteY9190"/>
              </a:cxn>
              <a:cxn ang="0">
                <a:pos x="connsiteX9191" y="connsiteY9191"/>
              </a:cxn>
              <a:cxn ang="0">
                <a:pos x="connsiteX9192" y="connsiteY9192"/>
              </a:cxn>
              <a:cxn ang="0">
                <a:pos x="connsiteX9193" y="connsiteY9193"/>
              </a:cxn>
              <a:cxn ang="0">
                <a:pos x="connsiteX9194" y="connsiteY9194"/>
              </a:cxn>
              <a:cxn ang="0">
                <a:pos x="connsiteX9195" y="connsiteY9195"/>
              </a:cxn>
              <a:cxn ang="0">
                <a:pos x="connsiteX9196" y="connsiteY9196"/>
              </a:cxn>
              <a:cxn ang="0">
                <a:pos x="connsiteX9197" y="connsiteY9197"/>
              </a:cxn>
              <a:cxn ang="0">
                <a:pos x="connsiteX9198" y="connsiteY9198"/>
              </a:cxn>
              <a:cxn ang="0">
                <a:pos x="connsiteX9199" y="connsiteY9199"/>
              </a:cxn>
              <a:cxn ang="0">
                <a:pos x="connsiteX9200" y="connsiteY9200"/>
              </a:cxn>
              <a:cxn ang="0">
                <a:pos x="connsiteX9201" y="connsiteY9201"/>
              </a:cxn>
              <a:cxn ang="0">
                <a:pos x="connsiteX9202" y="connsiteY9202"/>
              </a:cxn>
              <a:cxn ang="0">
                <a:pos x="connsiteX9203" y="connsiteY9203"/>
              </a:cxn>
              <a:cxn ang="0">
                <a:pos x="connsiteX9204" y="connsiteY9204"/>
              </a:cxn>
              <a:cxn ang="0">
                <a:pos x="connsiteX9205" y="connsiteY9205"/>
              </a:cxn>
              <a:cxn ang="0">
                <a:pos x="connsiteX9206" y="connsiteY9206"/>
              </a:cxn>
              <a:cxn ang="0">
                <a:pos x="connsiteX9207" y="connsiteY9207"/>
              </a:cxn>
              <a:cxn ang="0">
                <a:pos x="connsiteX9208" y="connsiteY9208"/>
              </a:cxn>
              <a:cxn ang="0">
                <a:pos x="connsiteX9209" y="connsiteY9209"/>
              </a:cxn>
              <a:cxn ang="0">
                <a:pos x="connsiteX9210" y="connsiteY9210"/>
              </a:cxn>
              <a:cxn ang="0">
                <a:pos x="connsiteX9211" y="connsiteY9211"/>
              </a:cxn>
              <a:cxn ang="0">
                <a:pos x="connsiteX9212" y="connsiteY9212"/>
              </a:cxn>
              <a:cxn ang="0">
                <a:pos x="connsiteX9213" y="connsiteY9213"/>
              </a:cxn>
              <a:cxn ang="0">
                <a:pos x="connsiteX9214" y="connsiteY9214"/>
              </a:cxn>
              <a:cxn ang="0">
                <a:pos x="connsiteX9215" y="connsiteY9215"/>
              </a:cxn>
              <a:cxn ang="0">
                <a:pos x="connsiteX9216" y="connsiteY9216"/>
              </a:cxn>
              <a:cxn ang="0">
                <a:pos x="connsiteX9217" y="connsiteY9217"/>
              </a:cxn>
              <a:cxn ang="0">
                <a:pos x="connsiteX9218" y="connsiteY9218"/>
              </a:cxn>
              <a:cxn ang="0">
                <a:pos x="connsiteX9219" y="connsiteY9219"/>
              </a:cxn>
              <a:cxn ang="0">
                <a:pos x="connsiteX9220" y="connsiteY9220"/>
              </a:cxn>
              <a:cxn ang="0">
                <a:pos x="connsiteX9221" y="connsiteY9221"/>
              </a:cxn>
              <a:cxn ang="0">
                <a:pos x="connsiteX9222" y="connsiteY9222"/>
              </a:cxn>
              <a:cxn ang="0">
                <a:pos x="connsiteX9223" y="connsiteY9223"/>
              </a:cxn>
              <a:cxn ang="0">
                <a:pos x="connsiteX9224" y="connsiteY9224"/>
              </a:cxn>
              <a:cxn ang="0">
                <a:pos x="connsiteX9225" y="connsiteY9225"/>
              </a:cxn>
              <a:cxn ang="0">
                <a:pos x="connsiteX9226" y="connsiteY9226"/>
              </a:cxn>
              <a:cxn ang="0">
                <a:pos x="connsiteX9227" y="connsiteY9227"/>
              </a:cxn>
              <a:cxn ang="0">
                <a:pos x="connsiteX9228" y="connsiteY9228"/>
              </a:cxn>
              <a:cxn ang="0">
                <a:pos x="connsiteX9229" y="connsiteY9229"/>
              </a:cxn>
              <a:cxn ang="0">
                <a:pos x="connsiteX9230" y="connsiteY9230"/>
              </a:cxn>
              <a:cxn ang="0">
                <a:pos x="connsiteX9231" y="connsiteY9231"/>
              </a:cxn>
              <a:cxn ang="0">
                <a:pos x="connsiteX9232" y="connsiteY9232"/>
              </a:cxn>
              <a:cxn ang="0">
                <a:pos x="connsiteX9233" y="connsiteY9233"/>
              </a:cxn>
              <a:cxn ang="0">
                <a:pos x="connsiteX9234" y="connsiteY9234"/>
              </a:cxn>
              <a:cxn ang="0">
                <a:pos x="connsiteX9235" y="connsiteY9235"/>
              </a:cxn>
              <a:cxn ang="0">
                <a:pos x="connsiteX9236" y="connsiteY9236"/>
              </a:cxn>
              <a:cxn ang="0">
                <a:pos x="connsiteX9237" y="connsiteY9237"/>
              </a:cxn>
              <a:cxn ang="0">
                <a:pos x="connsiteX9238" y="connsiteY9238"/>
              </a:cxn>
              <a:cxn ang="0">
                <a:pos x="connsiteX9239" y="connsiteY9239"/>
              </a:cxn>
              <a:cxn ang="0">
                <a:pos x="connsiteX9240" y="connsiteY9240"/>
              </a:cxn>
              <a:cxn ang="0">
                <a:pos x="connsiteX9241" y="connsiteY9241"/>
              </a:cxn>
              <a:cxn ang="0">
                <a:pos x="connsiteX9242" y="connsiteY9242"/>
              </a:cxn>
              <a:cxn ang="0">
                <a:pos x="connsiteX9243" y="connsiteY9243"/>
              </a:cxn>
              <a:cxn ang="0">
                <a:pos x="connsiteX9244" y="connsiteY9244"/>
              </a:cxn>
              <a:cxn ang="0">
                <a:pos x="connsiteX9245" y="connsiteY9245"/>
              </a:cxn>
              <a:cxn ang="0">
                <a:pos x="connsiteX9246" y="connsiteY9246"/>
              </a:cxn>
              <a:cxn ang="0">
                <a:pos x="connsiteX9247" y="connsiteY9247"/>
              </a:cxn>
              <a:cxn ang="0">
                <a:pos x="connsiteX9248" y="connsiteY9248"/>
              </a:cxn>
              <a:cxn ang="0">
                <a:pos x="connsiteX9249" y="connsiteY9249"/>
              </a:cxn>
              <a:cxn ang="0">
                <a:pos x="connsiteX9250" y="connsiteY9250"/>
              </a:cxn>
              <a:cxn ang="0">
                <a:pos x="connsiteX9251" y="connsiteY9251"/>
              </a:cxn>
              <a:cxn ang="0">
                <a:pos x="connsiteX9252" y="connsiteY9252"/>
              </a:cxn>
              <a:cxn ang="0">
                <a:pos x="connsiteX9253" y="connsiteY9253"/>
              </a:cxn>
              <a:cxn ang="0">
                <a:pos x="connsiteX9254" y="connsiteY9254"/>
              </a:cxn>
              <a:cxn ang="0">
                <a:pos x="connsiteX9255" y="connsiteY9255"/>
              </a:cxn>
              <a:cxn ang="0">
                <a:pos x="connsiteX9256" y="connsiteY9256"/>
              </a:cxn>
              <a:cxn ang="0">
                <a:pos x="connsiteX9257" y="connsiteY9257"/>
              </a:cxn>
              <a:cxn ang="0">
                <a:pos x="connsiteX9258" y="connsiteY9258"/>
              </a:cxn>
              <a:cxn ang="0">
                <a:pos x="connsiteX9259" y="connsiteY9259"/>
              </a:cxn>
              <a:cxn ang="0">
                <a:pos x="connsiteX9260" y="connsiteY9260"/>
              </a:cxn>
              <a:cxn ang="0">
                <a:pos x="connsiteX9261" y="connsiteY9261"/>
              </a:cxn>
              <a:cxn ang="0">
                <a:pos x="connsiteX9262" y="connsiteY9262"/>
              </a:cxn>
              <a:cxn ang="0">
                <a:pos x="connsiteX9263" y="connsiteY9263"/>
              </a:cxn>
              <a:cxn ang="0">
                <a:pos x="connsiteX9264" y="connsiteY9264"/>
              </a:cxn>
              <a:cxn ang="0">
                <a:pos x="connsiteX9265" y="connsiteY9265"/>
              </a:cxn>
              <a:cxn ang="0">
                <a:pos x="connsiteX9266" y="connsiteY9266"/>
              </a:cxn>
              <a:cxn ang="0">
                <a:pos x="connsiteX9267" y="connsiteY9267"/>
              </a:cxn>
              <a:cxn ang="0">
                <a:pos x="connsiteX9268" y="connsiteY9268"/>
              </a:cxn>
              <a:cxn ang="0">
                <a:pos x="connsiteX9269" y="connsiteY9269"/>
              </a:cxn>
              <a:cxn ang="0">
                <a:pos x="connsiteX9270" y="connsiteY9270"/>
              </a:cxn>
              <a:cxn ang="0">
                <a:pos x="connsiteX9271" y="connsiteY9271"/>
              </a:cxn>
              <a:cxn ang="0">
                <a:pos x="connsiteX9272" y="connsiteY9272"/>
              </a:cxn>
              <a:cxn ang="0">
                <a:pos x="connsiteX9273" y="connsiteY9273"/>
              </a:cxn>
              <a:cxn ang="0">
                <a:pos x="connsiteX9274" y="connsiteY9274"/>
              </a:cxn>
              <a:cxn ang="0">
                <a:pos x="connsiteX9275" y="connsiteY9275"/>
              </a:cxn>
              <a:cxn ang="0">
                <a:pos x="connsiteX9276" y="connsiteY9276"/>
              </a:cxn>
              <a:cxn ang="0">
                <a:pos x="connsiteX9277" y="connsiteY9277"/>
              </a:cxn>
              <a:cxn ang="0">
                <a:pos x="connsiteX9278" y="connsiteY9278"/>
              </a:cxn>
              <a:cxn ang="0">
                <a:pos x="connsiteX9279" y="connsiteY9279"/>
              </a:cxn>
              <a:cxn ang="0">
                <a:pos x="connsiteX9280" y="connsiteY9280"/>
              </a:cxn>
              <a:cxn ang="0">
                <a:pos x="connsiteX9281" y="connsiteY9281"/>
              </a:cxn>
              <a:cxn ang="0">
                <a:pos x="connsiteX9282" y="connsiteY9282"/>
              </a:cxn>
              <a:cxn ang="0">
                <a:pos x="connsiteX9283" y="connsiteY9283"/>
              </a:cxn>
              <a:cxn ang="0">
                <a:pos x="connsiteX9284" y="connsiteY9284"/>
              </a:cxn>
              <a:cxn ang="0">
                <a:pos x="connsiteX9285" y="connsiteY9285"/>
              </a:cxn>
              <a:cxn ang="0">
                <a:pos x="connsiteX9286" y="connsiteY9286"/>
              </a:cxn>
              <a:cxn ang="0">
                <a:pos x="connsiteX9287" y="connsiteY9287"/>
              </a:cxn>
              <a:cxn ang="0">
                <a:pos x="connsiteX9288" y="connsiteY9288"/>
              </a:cxn>
              <a:cxn ang="0">
                <a:pos x="connsiteX9289" y="connsiteY9289"/>
              </a:cxn>
              <a:cxn ang="0">
                <a:pos x="connsiteX9290" y="connsiteY9290"/>
              </a:cxn>
              <a:cxn ang="0">
                <a:pos x="connsiteX9291" y="connsiteY9291"/>
              </a:cxn>
              <a:cxn ang="0">
                <a:pos x="connsiteX9292" y="connsiteY9292"/>
              </a:cxn>
              <a:cxn ang="0">
                <a:pos x="connsiteX9293" y="connsiteY9293"/>
              </a:cxn>
              <a:cxn ang="0">
                <a:pos x="connsiteX9294" y="connsiteY9294"/>
              </a:cxn>
              <a:cxn ang="0">
                <a:pos x="connsiteX9295" y="connsiteY9295"/>
              </a:cxn>
              <a:cxn ang="0">
                <a:pos x="connsiteX9296" y="connsiteY9296"/>
              </a:cxn>
              <a:cxn ang="0">
                <a:pos x="connsiteX9297" y="connsiteY9297"/>
              </a:cxn>
              <a:cxn ang="0">
                <a:pos x="connsiteX9298" y="connsiteY9298"/>
              </a:cxn>
              <a:cxn ang="0">
                <a:pos x="connsiteX9299" y="connsiteY9299"/>
              </a:cxn>
              <a:cxn ang="0">
                <a:pos x="connsiteX9300" y="connsiteY9300"/>
              </a:cxn>
              <a:cxn ang="0">
                <a:pos x="connsiteX9301" y="connsiteY9301"/>
              </a:cxn>
              <a:cxn ang="0">
                <a:pos x="connsiteX9302" y="connsiteY9302"/>
              </a:cxn>
              <a:cxn ang="0">
                <a:pos x="connsiteX9303" y="connsiteY9303"/>
              </a:cxn>
              <a:cxn ang="0">
                <a:pos x="connsiteX9304" y="connsiteY9304"/>
              </a:cxn>
              <a:cxn ang="0">
                <a:pos x="connsiteX9305" y="connsiteY9305"/>
              </a:cxn>
              <a:cxn ang="0">
                <a:pos x="connsiteX9306" y="connsiteY9306"/>
              </a:cxn>
              <a:cxn ang="0">
                <a:pos x="connsiteX9307" y="connsiteY9307"/>
              </a:cxn>
              <a:cxn ang="0">
                <a:pos x="connsiteX9308" y="connsiteY9308"/>
              </a:cxn>
              <a:cxn ang="0">
                <a:pos x="connsiteX9309" y="connsiteY9309"/>
              </a:cxn>
              <a:cxn ang="0">
                <a:pos x="connsiteX9310" y="connsiteY9310"/>
              </a:cxn>
              <a:cxn ang="0">
                <a:pos x="connsiteX9311" y="connsiteY9311"/>
              </a:cxn>
              <a:cxn ang="0">
                <a:pos x="connsiteX9312" y="connsiteY9312"/>
              </a:cxn>
              <a:cxn ang="0">
                <a:pos x="connsiteX9313" y="connsiteY9313"/>
              </a:cxn>
              <a:cxn ang="0">
                <a:pos x="connsiteX9314" y="connsiteY9314"/>
              </a:cxn>
              <a:cxn ang="0">
                <a:pos x="connsiteX9315" y="connsiteY9315"/>
              </a:cxn>
              <a:cxn ang="0">
                <a:pos x="connsiteX9316" y="connsiteY9316"/>
              </a:cxn>
              <a:cxn ang="0">
                <a:pos x="connsiteX9317" y="connsiteY9317"/>
              </a:cxn>
              <a:cxn ang="0">
                <a:pos x="connsiteX9318" y="connsiteY9318"/>
              </a:cxn>
              <a:cxn ang="0">
                <a:pos x="connsiteX9319" y="connsiteY9319"/>
              </a:cxn>
              <a:cxn ang="0">
                <a:pos x="connsiteX9320" y="connsiteY9320"/>
              </a:cxn>
              <a:cxn ang="0">
                <a:pos x="connsiteX9321" y="connsiteY9321"/>
              </a:cxn>
              <a:cxn ang="0">
                <a:pos x="connsiteX9322" y="connsiteY9322"/>
              </a:cxn>
              <a:cxn ang="0">
                <a:pos x="connsiteX9323" y="connsiteY9323"/>
              </a:cxn>
              <a:cxn ang="0">
                <a:pos x="connsiteX9324" y="connsiteY9324"/>
              </a:cxn>
              <a:cxn ang="0">
                <a:pos x="connsiteX9325" y="connsiteY9325"/>
              </a:cxn>
              <a:cxn ang="0">
                <a:pos x="connsiteX9326" y="connsiteY9326"/>
              </a:cxn>
              <a:cxn ang="0">
                <a:pos x="connsiteX9327" y="connsiteY9327"/>
              </a:cxn>
              <a:cxn ang="0">
                <a:pos x="connsiteX9328" y="connsiteY9328"/>
              </a:cxn>
              <a:cxn ang="0">
                <a:pos x="connsiteX9329" y="connsiteY9329"/>
              </a:cxn>
              <a:cxn ang="0">
                <a:pos x="connsiteX9330" y="connsiteY9330"/>
              </a:cxn>
              <a:cxn ang="0">
                <a:pos x="connsiteX9331" y="connsiteY9331"/>
              </a:cxn>
              <a:cxn ang="0">
                <a:pos x="connsiteX9332" y="connsiteY9332"/>
              </a:cxn>
              <a:cxn ang="0">
                <a:pos x="connsiteX9333" y="connsiteY9333"/>
              </a:cxn>
              <a:cxn ang="0">
                <a:pos x="connsiteX9334" y="connsiteY9334"/>
              </a:cxn>
              <a:cxn ang="0">
                <a:pos x="connsiteX9335" y="connsiteY9335"/>
              </a:cxn>
              <a:cxn ang="0">
                <a:pos x="connsiteX9336" y="connsiteY9336"/>
              </a:cxn>
              <a:cxn ang="0">
                <a:pos x="connsiteX9337" y="connsiteY9337"/>
              </a:cxn>
              <a:cxn ang="0">
                <a:pos x="connsiteX9338" y="connsiteY9338"/>
              </a:cxn>
              <a:cxn ang="0">
                <a:pos x="connsiteX9339" y="connsiteY9339"/>
              </a:cxn>
              <a:cxn ang="0">
                <a:pos x="connsiteX9340" y="connsiteY9340"/>
              </a:cxn>
              <a:cxn ang="0">
                <a:pos x="connsiteX9341" y="connsiteY9341"/>
              </a:cxn>
              <a:cxn ang="0">
                <a:pos x="connsiteX9342" y="connsiteY9342"/>
              </a:cxn>
              <a:cxn ang="0">
                <a:pos x="connsiteX9343" y="connsiteY9343"/>
              </a:cxn>
              <a:cxn ang="0">
                <a:pos x="connsiteX9344" y="connsiteY9344"/>
              </a:cxn>
              <a:cxn ang="0">
                <a:pos x="connsiteX9345" y="connsiteY9345"/>
              </a:cxn>
              <a:cxn ang="0">
                <a:pos x="connsiteX9346" y="connsiteY9346"/>
              </a:cxn>
              <a:cxn ang="0">
                <a:pos x="connsiteX9347" y="connsiteY9347"/>
              </a:cxn>
              <a:cxn ang="0">
                <a:pos x="connsiteX9348" y="connsiteY9348"/>
              </a:cxn>
              <a:cxn ang="0">
                <a:pos x="connsiteX9349" y="connsiteY9349"/>
              </a:cxn>
              <a:cxn ang="0">
                <a:pos x="connsiteX9350" y="connsiteY9350"/>
              </a:cxn>
              <a:cxn ang="0">
                <a:pos x="connsiteX9351" y="connsiteY9351"/>
              </a:cxn>
              <a:cxn ang="0">
                <a:pos x="connsiteX9352" y="connsiteY9352"/>
              </a:cxn>
              <a:cxn ang="0">
                <a:pos x="connsiteX9353" y="connsiteY9353"/>
              </a:cxn>
              <a:cxn ang="0">
                <a:pos x="connsiteX9354" y="connsiteY9354"/>
              </a:cxn>
              <a:cxn ang="0">
                <a:pos x="connsiteX9355" y="connsiteY9355"/>
              </a:cxn>
              <a:cxn ang="0">
                <a:pos x="connsiteX9356" y="connsiteY9356"/>
              </a:cxn>
              <a:cxn ang="0">
                <a:pos x="connsiteX9357" y="connsiteY9357"/>
              </a:cxn>
              <a:cxn ang="0">
                <a:pos x="connsiteX9358" y="connsiteY9358"/>
              </a:cxn>
              <a:cxn ang="0">
                <a:pos x="connsiteX9359" y="connsiteY9359"/>
              </a:cxn>
              <a:cxn ang="0">
                <a:pos x="connsiteX9360" y="connsiteY9360"/>
              </a:cxn>
              <a:cxn ang="0">
                <a:pos x="connsiteX9361" y="connsiteY9361"/>
              </a:cxn>
              <a:cxn ang="0">
                <a:pos x="connsiteX9362" y="connsiteY9362"/>
              </a:cxn>
              <a:cxn ang="0">
                <a:pos x="connsiteX9363" y="connsiteY9363"/>
              </a:cxn>
              <a:cxn ang="0">
                <a:pos x="connsiteX9364" y="connsiteY9364"/>
              </a:cxn>
              <a:cxn ang="0">
                <a:pos x="connsiteX9365" y="connsiteY9365"/>
              </a:cxn>
              <a:cxn ang="0">
                <a:pos x="connsiteX9366" y="connsiteY9366"/>
              </a:cxn>
              <a:cxn ang="0">
                <a:pos x="connsiteX9367" y="connsiteY9367"/>
              </a:cxn>
              <a:cxn ang="0">
                <a:pos x="connsiteX9368" y="connsiteY9368"/>
              </a:cxn>
              <a:cxn ang="0">
                <a:pos x="connsiteX9369" y="connsiteY9369"/>
              </a:cxn>
              <a:cxn ang="0">
                <a:pos x="connsiteX9370" y="connsiteY9370"/>
              </a:cxn>
              <a:cxn ang="0">
                <a:pos x="connsiteX9371" y="connsiteY9371"/>
              </a:cxn>
              <a:cxn ang="0">
                <a:pos x="connsiteX9372" y="connsiteY9372"/>
              </a:cxn>
              <a:cxn ang="0">
                <a:pos x="connsiteX9373" y="connsiteY9373"/>
              </a:cxn>
              <a:cxn ang="0">
                <a:pos x="connsiteX9374" y="connsiteY9374"/>
              </a:cxn>
              <a:cxn ang="0">
                <a:pos x="connsiteX9375" y="connsiteY9375"/>
              </a:cxn>
              <a:cxn ang="0">
                <a:pos x="connsiteX9376" y="connsiteY9376"/>
              </a:cxn>
              <a:cxn ang="0">
                <a:pos x="connsiteX9377" y="connsiteY9377"/>
              </a:cxn>
              <a:cxn ang="0">
                <a:pos x="connsiteX9378" y="connsiteY9378"/>
              </a:cxn>
              <a:cxn ang="0">
                <a:pos x="connsiteX9379" y="connsiteY9379"/>
              </a:cxn>
              <a:cxn ang="0">
                <a:pos x="connsiteX9380" y="connsiteY9380"/>
              </a:cxn>
              <a:cxn ang="0">
                <a:pos x="connsiteX9381" y="connsiteY9381"/>
              </a:cxn>
              <a:cxn ang="0">
                <a:pos x="connsiteX9382" y="connsiteY9382"/>
              </a:cxn>
              <a:cxn ang="0">
                <a:pos x="connsiteX9383" y="connsiteY9383"/>
              </a:cxn>
              <a:cxn ang="0">
                <a:pos x="connsiteX9384" y="connsiteY9384"/>
              </a:cxn>
              <a:cxn ang="0">
                <a:pos x="connsiteX9385" y="connsiteY9385"/>
              </a:cxn>
              <a:cxn ang="0">
                <a:pos x="connsiteX9386" y="connsiteY9386"/>
              </a:cxn>
              <a:cxn ang="0">
                <a:pos x="connsiteX9387" y="connsiteY9387"/>
              </a:cxn>
              <a:cxn ang="0">
                <a:pos x="connsiteX9388" y="connsiteY9388"/>
              </a:cxn>
              <a:cxn ang="0">
                <a:pos x="connsiteX9389" y="connsiteY9389"/>
              </a:cxn>
              <a:cxn ang="0">
                <a:pos x="connsiteX9390" y="connsiteY9390"/>
              </a:cxn>
              <a:cxn ang="0">
                <a:pos x="connsiteX9391" y="connsiteY9391"/>
              </a:cxn>
              <a:cxn ang="0">
                <a:pos x="connsiteX9392" y="connsiteY9392"/>
              </a:cxn>
              <a:cxn ang="0">
                <a:pos x="connsiteX9393" y="connsiteY9393"/>
              </a:cxn>
              <a:cxn ang="0">
                <a:pos x="connsiteX9394" y="connsiteY9394"/>
              </a:cxn>
              <a:cxn ang="0">
                <a:pos x="connsiteX9395" y="connsiteY9395"/>
              </a:cxn>
              <a:cxn ang="0">
                <a:pos x="connsiteX9396" y="connsiteY9396"/>
              </a:cxn>
              <a:cxn ang="0">
                <a:pos x="connsiteX9397" y="connsiteY9397"/>
              </a:cxn>
              <a:cxn ang="0">
                <a:pos x="connsiteX9398" y="connsiteY9398"/>
              </a:cxn>
              <a:cxn ang="0">
                <a:pos x="connsiteX9399" y="connsiteY9399"/>
              </a:cxn>
              <a:cxn ang="0">
                <a:pos x="connsiteX9400" y="connsiteY9400"/>
              </a:cxn>
              <a:cxn ang="0">
                <a:pos x="connsiteX9401" y="connsiteY9401"/>
              </a:cxn>
              <a:cxn ang="0">
                <a:pos x="connsiteX9402" y="connsiteY9402"/>
              </a:cxn>
              <a:cxn ang="0">
                <a:pos x="connsiteX9403" y="connsiteY9403"/>
              </a:cxn>
              <a:cxn ang="0">
                <a:pos x="connsiteX9404" y="connsiteY9404"/>
              </a:cxn>
              <a:cxn ang="0">
                <a:pos x="connsiteX9405" y="connsiteY9405"/>
              </a:cxn>
              <a:cxn ang="0">
                <a:pos x="connsiteX9406" y="connsiteY9406"/>
              </a:cxn>
              <a:cxn ang="0">
                <a:pos x="connsiteX9407" y="connsiteY9407"/>
              </a:cxn>
              <a:cxn ang="0">
                <a:pos x="connsiteX9408" y="connsiteY9408"/>
              </a:cxn>
              <a:cxn ang="0">
                <a:pos x="connsiteX9409" y="connsiteY9409"/>
              </a:cxn>
              <a:cxn ang="0">
                <a:pos x="connsiteX9410" y="connsiteY9410"/>
              </a:cxn>
              <a:cxn ang="0">
                <a:pos x="connsiteX9411" y="connsiteY9411"/>
              </a:cxn>
              <a:cxn ang="0">
                <a:pos x="connsiteX9412" y="connsiteY9412"/>
              </a:cxn>
              <a:cxn ang="0">
                <a:pos x="connsiteX9413" y="connsiteY9413"/>
              </a:cxn>
              <a:cxn ang="0">
                <a:pos x="connsiteX9414" y="connsiteY9414"/>
              </a:cxn>
              <a:cxn ang="0">
                <a:pos x="connsiteX9415" y="connsiteY9415"/>
              </a:cxn>
              <a:cxn ang="0">
                <a:pos x="connsiteX9416" y="connsiteY9416"/>
              </a:cxn>
              <a:cxn ang="0">
                <a:pos x="connsiteX9417" y="connsiteY9417"/>
              </a:cxn>
              <a:cxn ang="0">
                <a:pos x="connsiteX9418" y="connsiteY9418"/>
              </a:cxn>
              <a:cxn ang="0">
                <a:pos x="connsiteX9419" y="connsiteY9419"/>
              </a:cxn>
              <a:cxn ang="0">
                <a:pos x="connsiteX9420" y="connsiteY9420"/>
              </a:cxn>
              <a:cxn ang="0">
                <a:pos x="connsiteX9421" y="connsiteY9421"/>
              </a:cxn>
              <a:cxn ang="0">
                <a:pos x="connsiteX9422" y="connsiteY9422"/>
              </a:cxn>
              <a:cxn ang="0">
                <a:pos x="connsiteX9423" y="connsiteY9423"/>
              </a:cxn>
              <a:cxn ang="0">
                <a:pos x="connsiteX9424" y="connsiteY9424"/>
              </a:cxn>
              <a:cxn ang="0">
                <a:pos x="connsiteX9425" y="connsiteY9425"/>
              </a:cxn>
              <a:cxn ang="0">
                <a:pos x="connsiteX9426" y="connsiteY9426"/>
              </a:cxn>
              <a:cxn ang="0">
                <a:pos x="connsiteX9427" y="connsiteY9427"/>
              </a:cxn>
              <a:cxn ang="0">
                <a:pos x="connsiteX9428" y="connsiteY9428"/>
              </a:cxn>
              <a:cxn ang="0">
                <a:pos x="connsiteX9429" y="connsiteY9429"/>
              </a:cxn>
              <a:cxn ang="0">
                <a:pos x="connsiteX9430" y="connsiteY9430"/>
              </a:cxn>
              <a:cxn ang="0">
                <a:pos x="connsiteX9431" y="connsiteY9431"/>
              </a:cxn>
              <a:cxn ang="0">
                <a:pos x="connsiteX9432" y="connsiteY9432"/>
              </a:cxn>
              <a:cxn ang="0">
                <a:pos x="connsiteX9433" y="connsiteY9433"/>
              </a:cxn>
              <a:cxn ang="0">
                <a:pos x="connsiteX9434" y="connsiteY9434"/>
              </a:cxn>
              <a:cxn ang="0">
                <a:pos x="connsiteX9435" y="connsiteY9435"/>
              </a:cxn>
              <a:cxn ang="0">
                <a:pos x="connsiteX9436" y="connsiteY9436"/>
              </a:cxn>
              <a:cxn ang="0">
                <a:pos x="connsiteX9437" y="connsiteY9437"/>
              </a:cxn>
              <a:cxn ang="0">
                <a:pos x="connsiteX9438" y="connsiteY9438"/>
              </a:cxn>
              <a:cxn ang="0">
                <a:pos x="connsiteX9439" y="connsiteY9439"/>
              </a:cxn>
              <a:cxn ang="0">
                <a:pos x="connsiteX9440" y="connsiteY9440"/>
              </a:cxn>
              <a:cxn ang="0">
                <a:pos x="connsiteX9441" y="connsiteY9441"/>
              </a:cxn>
              <a:cxn ang="0">
                <a:pos x="connsiteX9442" y="connsiteY9442"/>
              </a:cxn>
              <a:cxn ang="0">
                <a:pos x="connsiteX9443" y="connsiteY9443"/>
              </a:cxn>
              <a:cxn ang="0">
                <a:pos x="connsiteX9444" y="connsiteY9444"/>
              </a:cxn>
              <a:cxn ang="0">
                <a:pos x="connsiteX9445" y="connsiteY9445"/>
              </a:cxn>
              <a:cxn ang="0">
                <a:pos x="connsiteX9446" y="connsiteY9446"/>
              </a:cxn>
              <a:cxn ang="0">
                <a:pos x="connsiteX9447" y="connsiteY9447"/>
              </a:cxn>
              <a:cxn ang="0">
                <a:pos x="connsiteX9448" y="connsiteY9448"/>
              </a:cxn>
              <a:cxn ang="0">
                <a:pos x="connsiteX9449" y="connsiteY9449"/>
              </a:cxn>
              <a:cxn ang="0">
                <a:pos x="connsiteX9450" y="connsiteY9450"/>
              </a:cxn>
              <a:cxn ang="0">
                <a:pos x="connsiteX9451" y="connsiteY9451"/>
              </a:cxn>
              <a:cxn ang="0">
                <a:pos x="connsiteX9452" y="connsiteY9452"/>
              </a:cxn>
              <a:cxn ang="0">
                <a:pos x="connsiteX9453" y="connsiteY9453"/>
              </a:cxn>
              <a:cxn ang="0">
                <a:pos x="connsiteX9454" y="connsiteY9454"/>
              </a:cxn>
              <a:cxn ang="0">
                <a:pos x="connsiteX9455" y="connsiteY9455"/>
              </a:cxn>
              <a:cxn ang="0">
                <a:pos x="connsiteX9456" y="connsiteY9456"/>
              </a:cxn>
              <a:cxn ang="0">
                <a:pos x="connsiteX9457" y="connsiteY9457"/>
              </a:cxn>
              <a:cxn ang="0">
                <a:pos x="connsiteX9458" y="connsiteY9458"/>
              </a:cxn>
              <a:cxn ang="0">
                <a:pos x="connsiteX9459" y="connsiteY9459"/>
              </a:cxn>
              <a:cxn ang="0">
                <a:pos x="connsiteX9460" y="connsiteY9460"/>
              </a:cxn>
              <a:cxn ang="0">
                <a:pos x="connsiteX9461" y="connsiteY9461"/>
              </a:cxn>
              <a:cxn ang="0">
                <a:pos x="connsiteX9462" y="connsiteY9462"/>
              </a:cxn>
              <a:cxn ang="0">
                <a:pos x="connsiteX9463" y="connsiteY9463"/>
              </a:cxn>
              <a:cxn ang="0">
                <a:pos x="connsiteX9464" y="connsiteY9464"/>
              </a:cxn>
              <a:cxn ang="0">
                <a:pos x="connsiteX9465" y="connsiteY9465"/>
              </a:cxn>
              <a:cxn ang="0">
                <a:pos x="connsiteX9466" y="connsiteY9466"/>
              </a:cxn>
              <a:cxn ang="0">
                <a:pos x="connsiteX9467" y="connsiteY9467"/>
              </a:cxn>
              <a:cxn ang="0">
                <a:pos x="connsiteX9468" y="connsiteY9468"/>
              </a:cxn>
              <a:cxn ang="0">
                <a:pos x="connsiteX9469" y="connsiteY9469"/>
              </a:cxn>
              <a:cxn ang="0">
                <a:pos x="connsiteX9470" y="connsiteY9470"/>
              </a:cxn>
              <a:cxn ang="0">
                <a:pos x="connsiteX9471" y="connsiteY9471"/>
              </a:cxn>
              <a:cxn ang="0">
                <a:pos x="connsiteX9472" y="connsiteY9472"/>
              </a:cxn>
              <a:cxn ang="0">
                <a:pos x="connsiteX9473" y="connsiteY9473"/>
              </a:cxn>
              <a:cxn ang="0">
                <a:pos x="connsiteX9474" y="connsiteY9474"/>
              </a:cxn>
              <a:cxn ang="0">
                <a:pos x="connsiteX9475" y="connsiteY9475"/>
              </a:cxn>
              <a:cxn ang="0">
                <a:pos x="connsiteX9476" y="connsiteY9476"/>
              </a:cxn>
              <a:cxn ang="0">
                <a:pos x="connsiteX9477" y="connsiteY9477"/>
              </a:cxn>
              <a:cxn ang="0">
                <a:pos x="connsiteX9478" y="connsiteY9478"/>
              </a:cxn>
              <a:cxn ang="0">
                <a:pos x="connsiteX9479" y="connsiteY9479"/>
              </a:cxn>
              <a:cxn ang="0">
                <a:pos x="connsiteX9480" y="connsiteY9480"/>
              </a:cxn>
              <a:cxn ang="0">
                <a:pos x="connsiteX9481" y="connsiteY9481"/>
              </a:cxn>
              <a:cxn ang="0">
                <a:pos x="connsiteX9482" y="connsiteY9482"/>
              </a:cxn>
              <a:cxn ang="0">
                <a:pos x="connsiteX9483" y="connsiteY9483"/>
              </a:cxn>
              <a:cxn ang="0">
                <a:pos x="connsiteX9484" y="connsiteY9484"/>
              </a:cxn>
              <a:cxn ang="0">
                <a:pos x="connsiteX9485" y="connsiteY9485"/>
              </a:cxn>
              <a:cxn ang="0">
                <a:pos x="connsiteX9486" y="connsiteY9486"/>
              </a:cxn>
              <a:cxn ang="0">
                <a:pos x="connsiteX9487" y="connsiteY9487"/>
              </a:cxn>
              <a:cxn ang="0">
                <a:pos x="connsiteX9488" y="connsiteY9488"/>
              </a:cxn>
              <a:cxn ang="0">
                <a:pos x="connsiteX9489" y="connsiteY9489"/>
              </a:cxn>
              <a:cxn ang="0">
                <a:pos x="connsiteX9490" y="connsiteY9490"/>
              </a:cxn>
              <a:cxn ang="0">
                <a:pos x="connsiteX9491" y="connsiteY9491"/>
              </a:cxn>
              <a:cxn ang="0">
                <a:pos x="connsiteX9492" y="connsiteY9492"/>
              </a:cxn>
              <a:cxn ang="0">
                <a:pos x="connsiteX9493" y="connsiteY9493"/>
              </a:cxn>
              <a:cxn ang="0">
                <a:pos x="connsiteX9494" y="connsiteY9494"/>
              </a:cxn>
              <a:cxn ang="0">
                <a:pos x="connsiteX9495" y="connsiteY9495"/>
              </a:cxn>
              <a:cxn ang="0">
                <a:pos x="connsiteX9496" y="connsiteY9496"/>
              </a:cxn>
              <a:cxn ang="0">
                <a:pos x="connsiteX9497" y="connsiteY9497"/>
              </a:cxn>
              <a:cxn ang="0">
                <a:pos x="connsiteX9498" y="connsiteY9498"/>
              </a:cxn>
              <a:cxn ang="0">
                <a:pos x="connsiteX9499" y="connsiteY9499"/>
              </a:cxn>
              <a:cxn ang="0">
                <a:pos x="connsiteX9500" y="connsiteY9500"/>
              </a:cxn>
              <a:cxn ang="0">
                <a:pos x="connsiteX9501" y="connsiteY9501"/>
              </a:cxn>
              <a:cxn ang="0">
                <a:pos x="connsiteX9502" y="connsiteY9502"/>
              </a:cxn>
              <a:cxn ang="0">
                <a:pos x="connsiteX9503" y="connsiteY9503"/>
              </a:cxn>
              <a:cxn ang="0">
                <a:pos x="connsiteX9504" y="connsiteY9504"/>
              </a:cxn>
              <a:cxn ang="0">
                <a:pos x="connsiteX9505" y="connsiteY9505"/>
              </a:cxn>
              <a:cxn ang="0">
                <a:pos x="connsiteX9506" y="connsiteY9506"/>
              </a:cxn>
              <a:cxn ang="0">
                <a:pos x="connsiteX9507" y="connsiteY9507"/>
              </a:cxn>
              <a:cxn ang="0">
                <a:pos x="connsiteX9508" y="connsiteY9508"/>
              </a:cxn>
              <a:cxn ang="0">
                <a:pos x="connsiteX9509" y="connsiteY9509"/>
              </a:cxn>
              <a:cxn ang="0">
                <a:pos x="connsiteX9510" y="connsiteY9510"/>
              </a:cxn>
              <a:cxn ang="0">
                <a:pos x="connsiteX9511" y="connsiteY9511"/>
              </a:cxn>
              <a:cxn ang="0">
                <a:pos x="connsiteX9512" y="connsiteY9512"/>
              </a:cxn>
              <a:cxn ang="0">
                <a:pos x="connsiteX9513" y="connsiteY9513"/>
              </a:cxn>
              <a:cxn ang="0">
                <a:pos x="connsiteX9514" y="connsiteY9514"/>
              </a:cxn>
              <a:cxn ang="0">
                <a:pos x="connsiteX9515" y="connsiteY9515"/>
              </a:cxn>
              <a:cxn ang="0">
                <a:pos x="connsiteX9516" y="connsiteY9516"/>
              </a:cxn>
              <a:cxn ang="0">
                <a:pos x="connsiteX9517" y="connsiteY9517"/>
              </a:cxn>
              <a:cxn ang="0">
                <a:pos x="connsiteX9518" y="connsiteY9518"/>
              </a:cxn>
              <a:cxn ang="0">
                <a:pos x="connsiteX9519" y="connsiteY9519"/>
              </a:cxn>
              <a:cxn ang="0">
                <a:pos x="connsiteX9520" y="connsiteY9520"/>
              </a:cxn>
              <a:cxn ang="0">
                <a:pos x="connsiteX9521" y="connsiteY9521"/>
              </a:cxn>
              <a:cxn ang="0">
                <a:pos x="connsiteX9522" y="connsiteY9522"/>
              </a:cxn>
              <a:cxn ang="0">
                <a:pos x="connsiteX9523" y="connsiteY9523"/>
              </a:cxn>
              <a:cxn ang="0">
                <a:pos x="connsiteX9524" y="connsiteY9524"/>
              </a:cxn>
              <a:cxn ang="0">
                <a:pos x="connsiteX9525" y="connsiteY9525"/>
              </a:cxn>
              <a:cxn ang="0">
                <a:pos x="connsiteX9526" y="connsiteY9526"/>
              </a:cxn>
              <a:cxn ang="0">
                <a:pos x="connsiteX9527" y="connsiteY9527"/>
              </a:cxn>
              <a:cxn ang="0">
                <a:pos x="connsiteX9528" y="connsiteY9528"/>
              </a:cxn>
              <a:cxn ang="0">
                <a:pos x="connsiteX9529" y="connsiteY9529"/>
              </a:cxn>
              <a:cxn ang="0">
                <a:pos x="connsiteX9530" y="connsiteY9530"/>
              </a:cxn>
              <a:cxn ang="0">
                <a:pos x="connsiteX9531" y="connsiteY9531"/>
              </a:cxn>
              <a:cxn ang="0">
                <a:pos x="connsiteX9532" y="connsiteY9532"/>
              </a:cxn>
              <a:cxn ang="0">
                <a:pos x="connsiteX9533" y="connsiteY9533"/>
              </a:cxn>
              <a:cxn ang="0">
                <a:pos x="connsiteX9534" y="connsiteY9534"/>
              </a:cxn>
              <a:cxn ang="0">
                <a:pos x="connsiteX9535" y="connsiteY9535"/>
              </a:cxn>
              <a:cxn ang="0">
                <a:pos x="connsiteX9536" y="connsiteY9536"/>
              </a:cxn>
              <a:cxn ang="0">
                <a:pos x="connsiteX9537" y="connsiteY9537"/>
              </a:cxn>
              <a:cxn ang="0">
                <a:pos x="connsiteX9538" y="connsiteY9538"/>
              </a:cxn>
              <a:cxn ang="0">
                <a:pos x="connsiteX9539" y="connsiteY9539"/>
              </a:cxn>
              <a:cxn ang="0">
                <a:pos x="connsiteX9540" y="connsiteY9540"/>
              </a:cxn>
              <a:cxn ang="0">
                <a:pos x="connsiteX9541" y="connsiteY9541"/>
              </a:cxn>
              <a:cxn ang="0">
                <a:pos x="connsiteX9542" y="connsiteY9542"/>
              </a:cxn>
              <a:cxn ang="0">
                <a:pos x="connsiteX9543" y="connsiteY9543"/>
              </a:cxn>
              <a:cxn ang="0">
                <a:pos x="connsiteX9544" y="connsiteY9544"/>
              </a:cxn>
              <a:cxn ang="0">
                <a:pos x="connsiteX9545" y="connsiteY9545"/>
              </a:cxn>
              <a:cxn ang="0">
                <a:pos x="connsiteX9546" y="connsiteY9546"/>
              </a:cxn>
              <a:cxn ang="0">
                <a:pos x="connsiteX9547" y="connsiteY9547"/>
              </a:cxn>
              <a:cxn ang="0">
                <a:pos x="connsiteX9548" y="connsiteY9548"/>
              </a:cxn>
              <a:cxn ang="0">
                <a:pos x="connsiteX9549" y="connsiteY9549"/>
              </a:cxn>
              <a:cxn ang="0">
                <a:pos x="connsiteX9550" y="connsiteY9550"/>
              </a:cxn>
              <a:cxn ang="0">
                <a:pos x="connsiteX9551" y="connsiteY9551"/>
              </a:cxn>
              <a:cxn ang="0">
                <a:pos x="connsiteX9552" y="connsiteY9552"/>
              </a:cxn>
              <a:cxn ang="0">
                <a:pos x="connsiteX9553" y="connsiteY9553"/>
              </a:cxn>
              <a:cxn ang="0">
                <a:pos x="connsiteX9554" y="connsiteY9554"/>
              </a:cxn>
              <a:cxn ang="0">
                <a:pos x="connsiteX9555" y="connsiteY9555"/>
              </a:cxn>
              <a:cxn ang="0">
                <a:pos x="connsiteX9556" y="connsiteY9556"/>
              </a:cxn>
              <a:cxn ang="0">
                <a:pos x="connsiteX9557" y="connsiteY9557"/>
              </a:cxn>
              <a:cxn ang="0">
                <a:pos x="connsiteX9558" y="connsiteY9558"/>
              </a:cxn>
              <a:cxn ang="0">
                <a:pos x="connsiteX9559" y="connsiteY9559"/>
              </a:cxn>
              <a:cxn ang="0">
                <a:pos x="connsiteX9560" y="connsiteY9560"/>
              </a:cxn>
              <a:cxn ang="0">
                <a:pos x="connsiteX9561" y="connsiteY9561"/>
              </a:cxn>
              <a:cxn ang="0">
                <a:pos x="connsiteX9562" y="connsiteY9562"/>
              </a:cxn>
              <a:cxn ang="0">
                <a:pos x="connsiteX9563" y="connsiteY9563"/>
              </a:cxn>
              <a:cxn ang="0">
                <a:pos x="connsiteX9564" y="connsiteY9564"/>
              </a:cxn>
              <a:cxn ang="0">
                <a:pos x="connsiteX9565" y="connsiteY9565"/>
              </a:cxn>
              <a:cxn ang="0">
                <a:pos x="connsiteX9566" y="connsiteY9566"/>
              </a:cxn>
              <a:cxn ang="0">
                <a:pos x="connsiteX9567" y="connsiteY9567"/>
              </a:cxn>
              <a:cxn ang="0">
                <a:pos x="connsiteX9568" y="connsiteY9568"/>
              </a:cxn>
              <a:cxn ang="0">
                <a:pos x="connsiteX9569" y="connsiteY9569"/>
              </a:cxn>
              <a:cxn ang="0">
                <a:pos x="connsiteX9570" y="connsiteY9570"/>
              </a:cxn>
              <a:cxn ang="0">
                <a:pos x="connsiteX9571" y="connsiteY9571"/>
              </a:cxn>
              <a:cxn ang="0">
                <a:pos x="connsiteX9572" y="connsiteY9572"/>
              </a:cxn>
              <a:cxn ang="0">
                <a:pos x="connsiteX9573" y="connsiteY9573"/>
              </a:cxn>
              <a:cxn ang="0">
                <a:pos x="connsiteX9574" y="connsiteY9574"/>
              </a:cxn>
              <a:cxn ang="0">
                <a:pos x="connsiteX9575" y="connsiteY9575"/>
              </a:cxn>
              <a:cxn ang="0">
                <a:pos x="connsiteX9576" y="connsiteY9576"/>
              </a:cxn>
              <a:cxn ang="0">
                <a:pos x="connsiteX9577" y="connsiteY9577"/>
              </a:cxn>
              <a:cxn ang="0">
                <a:pos x="connsiteX9578" y="connsiteY9578"/>
              </a:cxn>
              <a:cxn ang="0">
                <a:pos x="connsiteX9579" y="connsiteY9579"/>
              </a:cxn>
              <a:cxn ang="0">
                <a:pos x="connsiteX9580" y="connsiteY9580"/>
              </a:cxn>
              <a:cxn ang="0">
                <a:pos x="connsiteX9581" y="connsiteY9581"/>
              </a:cxn>
              <a:cxn ang="0">
                <a:pos x="connsiteX9582" y="connsiteY9582"/>
              </a:cxn>
              <a:cxn ang="0">
                <a:pos x="connsiteX9583" y="connsiteY9583"/>
              </a:cxn>
              <a:cxn ang="0">
                <a:pos x="connsiteX9584" y="connsiteY9584"/>
              </a:cxn>
              <a:cxn ang="0">
                <a:pos x="connsiteX9585" y="connsiteY9585"/>
              </a:cxn>
              <a:cxn ang="0">
                <a:pos x="connsiteX9586" y="connsiteY9586"/>
              </a:cxn>
              <a:cxn ang="0">
                <a:pos x="connsiteX9587" y="connsiteY9587"/>
              </a:cxn>
              <a:cxn ang="0">
                <a:pos x="connsiteX9588" y="connsiteY9588"/>
              </a:cxn>
              <a:cxn ang="0">
                <a:pos x="connsiteX9589" y="connsiteY9589"/>
              </a:cxn>
              <a:cxn ang="0">
                <a:pos x="connsiteX9590" y="connsiteY9590"/>
              </a:cxn>
              <a:cxn ang="0">
                <a:pos x="connsiteX9591" y="connsiteY9591"/>
              </a:cxn>
              <a:cxn ang="0">
                <a:pos x="connsiteX9592" y="connsiteY9592"/>
              </a:cxn>
              <a:cxn ang="0">
                <a:pos x="connsiteX9593" y="connsiteY9593"/>
              </a:cxn>
              <a:cxn ang="0">
                <a:pos x="connsiteX9594" y="connsiteY9594"/>
              </a:cxn>
              <a:cxn ang="0">
                <a:pos x="connsiteX9595" y="connsiteY9595"/>
              </a:cxn>
              <a:cxn ang="0">
                <a:pos x="connsiteX9596" y="connsiteY9596"/>
              </a:cxn>
              <a:cxn ang="0">
                <a:pos x="connsiteX9597" y="connsiteY9597"/>
              </a:cxn>
              <a:cxn ang="0">
                <a:pos x="connsiteX9598" y="connsiteY9598"/>
              </a:cxn>
              <a:cxn ang="0">
                <a:pos x="connsiteX9599" y="connsiteY9599"/>
              </a:cxn>
              <a:cxn ang="0">
                <a:pos x="connsiteX9600" y="connsiteY9600"/>
              </a:cxn>
              <a:cxn ang="0">
                <a:pos x="connsiteX9601" y="connsiteY9601"/>
              </a:cxn>
              <a:cxn ang="0">
                <a:pos x="connsiteX9602" y="connsiteY9602"/>
              </a:cxn>
              <a:cxn ang="0">
                <a:pos x="connsiteX9603" y="connsiteY9603"/>
              </a:cxn>
              <a:cxn ang="0">
                <a:pos x="connsiteX9604" y="connsiteY9604"/>
              </a:cxn>
              <a:cxn ang="0">
                <a:pos x="connsiteX9605" y="connsiteY9605"/>
              </a:cxn>
              <a:cxn ang="0">
                <a:pos x="connsiteX9606" y="connsiteY9606"/>
              </a:cxn>
              <a:cxn ang="0">
                <a:pos x="connsiteX9607" y="connsiteY9607"/>
              </a:cxn>
              <a:cxn ang="0">
                <a:pos x="connsiteX9608" y="connsiteY9608"/>
              </a:cxn>
              <a:cxn ang="0">
                <a:pos x="connsiteX9609" y="connsiteY9609"/>
              </a:cxn>
              <a:cxn ang="0">
                <a:pos x="connsiteX9610" y="connsiteY9610"/>
              </a:cxn>
              <a:cxn ang="0">
                <a:pos x="connsiteX9611" y="connsiteY9611"/>
              </a:cxn>
              <a:cxn ang="0">
                <a:pos x="connsiteX9612" y="connsiteY9612"/>
              </a:cxn>
              <a:cxn ang="0">
                <a:pos x="connsiteX9613" y="connsiteY9613"/>
              </a:cxn>
              <a:cxn ang="0">
                <a:pos x="connsiteX9614" y="connsiteY9614"/>
              </a:cxn>
              <a:cxn ang="0">
                <a:pos x="connsiteX9615" y="connsiteY9615"/>
              </a:cxn>
              <a:cxn ang="0">
                <a:pos x="connsiteX9616" y="connsiteY9616"/>
              </a:cxn>
              <a:cxn ang="0">
                <a:pos x="connsiteX9617" y="connsiteY9617"/>
              </a:cxn>
              <a:cxn ang="0">
                <a:pos x="connsiteX9618" y="connsiteY9618"/>
              </a:cxn>
              <a:cxn ang="0">
                <a:pos x="connsiteX9619" y="connsiteY9619"/>
              </a:cxn>
              <a:cxn ang="0">
                <a:pos x="connsiteX9620" y="connsiteY9620"/>
              </a:cxn>
              <a:cxn ang="0">
                <a:pos x="connsiteX9621" y="connsiteY9621"/>
              </a:cxn>
              <a:cxn ang="0">
                <a:pos x="connsiteX9622" y="connsiteY9622"/>
              </a:cxn>
              <a:cxn ang="0">
                <a:pos x="connsiteX9623" y="connsiteY9623"/>
              </a:cxn>
              <a:cxn ang="0">
                <a:pos x="connsiteX9624" y="connsiteY9624"/>
              </a:cxn>
              <a:cxn ang="0">
                <a:pos x="connsiteX9625" y="connsiteY9625"/>
              </a:cxn>
              <a:cxn ang="0">
                <a:pos x="connsiteX9626" y="connsiteY9626"/>
              </a:cxn>
              <a:cxn ang="0">
                <a:pos x="connsiteX9627" y="connsiteY9627"/>
              </a:cxn>
              <a:cxn ang="0">
                <a:pos x="connsiteX9628" y="connsiteY9628"/>
              </a:cxn>
              <a:cxn ang="0">
                <a:pos x="connsiteX9629" y="connsiteY9629"/>
              </a:cxn>
              <a:cxn ang="0">
                <a:pos x="connsiteX9630" y="connsiteY9630"/>
              </a:cxn>
              <a:cxn ang="0">
                <a:pos x="connsiteX9631" y="connsiteY9631"/>
              </a:cxn>
              <a:cxn ang="0">
                <a:pos x="connsiteX9632" y="connsiteY9632"/>
              </a:cxn>
              <a:cxn ang="0">
                <a:pos x="connsiteX9633" y="connsiteY9633"/>
              </a:cxn>
              <a:cxn ang="0">
                <a:pos x="connsiteX9634" y="connsiteY9634"/>
              </a:cxn>
              <a:cxn ang="0">
                <a:pos x="connsiteX9635" y="connsiteY9635"/>
              </a:cxn>
              <a:cxn ang="0">
                <a:pos x="connsiteX9636" y="connsiteY9636"/>
              </a:cxn>
              <a:cxn ang="0">
                <a:pos x="connsiteX9637" y="connsiteY9637"/>
              </a:cxn>
              <a:cxn ang="0">
                <a:pos x="connsiteX9638" y="connsiteY9638"/>
              </a:cxn>
              <a:cxn ang="0">
                <a:pos x="connsiteX9639" y="connsiteY9639"/>
              </a:cxn>
              <a:cxn ang="0">
                <a:pos x="connsiteX9640" y="connsiteY9640"/>
              </a:cxn>
              <a:cxn ang="0">
                <a:pos x="connsiteX9641" y="connsiteY9641"/>
              </a:cxn>
              <a:cxn ang="0">
                <a:pos x="connsiteX9642" y="connsiteY9642"/>
              </a:cxn>
              <a:cxn ang="0">
                <a:pos x="connsiteX9643" y="connsiteY9643"/>
              </a:cxn>
              <a:cxn ang="0">
                <a:pos x="connsiteX9644" y="connsiteY9644"/>
              </a:cxn>
              <a:cxn ang="0">
                <a:pos x="connsiteX9645" y="connsiteY9645"/>
              </a:cxn>
              <a:cxn ang="0">
                <a:pos x="connsiteX9646" y="connsiteY9646"/>
              </a:cxn>
              <a:cxn ang="0">
                <a:pos x="connsiteX9647" y="connsiteY9647"/>
              </a:cxn>
              <a:cxn ang="0">
                <a:pos x="connsiteX9648" y="connsiteY9648"/>
              </a:cxn>
              <a:cxn ang="0">
                <a:pos x="connsiteX9649" y="connsiteY9649"/>
              </a:cxn>
              <a:cxn ang="0">
                <a:pos x="connsiteX9650" y="connsiteY9650"/>
              </a:cxn>
              <a:cxn ang="0">
                <a:pos x="connsiteX9651" y="connsiteY9651"/>
              </a:cxn>
              <a:cxn ang="0">
                <a:pos x="connsiteX9652" y="connsiteY9652"/>
              </a:cxn>
              <a:cxn ang="0">
                <a:pos x="connsiteX9653" y="connsiteY9653"/>
              </a:cxn>
              <a:cxn ang="0">
                <a:pos x="connsiteX9654" y="connsiteY9654"/>
              </a:cxn>
              <a:cxn ang="0">
                <a:pos x="connsiteX9655" y="connsiteY9655"/>
              </a:cxn>
              <a:cxn ang="0">
                <a:pos x="connsiteX9656" y="connsiteY9656"/>
              </a:cxn>
              <a:cxn ang="0">
                <a:pos x="connsiteX9657" y="connsiteY9657"/>
              </a:cxn>
              <a:cxn ang="0">
                <a:pos x="connsiteX9658" y="connsiteY9658"/>
              </a:cxn>
              <a:cxn ang="0">
                <a:pos x="connsiteX9659" y="connsiteY9659"/>
              </a:cxn>
              <a:cxn ang="0">
                <a:pos x="connsiteX9660" y="connsiteY9660"/>
              </a:cxn>
              <a:cxn ang="0">
                <a:pos x="connsiteX9661" y="connsiteY9661"/>
              </a:cxn>
              <a:cxn ang="0">
                <a:pos x="connsiteX9662" y="connsiteY9662"/>
              </a:cxn>
              <a:cxn ang="0">
                <a:pos x="connsiteX9663" y="connsiteY9663"/>
              </a:cxn>
              <a:cxn ang="0">
                <a:pos x="connsiteX9664" y="connsiteY9664"/>
              </a:cxn>
              <a:cxn ang="0">
                <a:pos x="connsiteX9665" y="connsiteY9665"/>
              </a:cxn>
              <a:cxn ang="0">
                <a:pos x="connsiteX9666" y="connsiteY9666"/>
              </a:cxn>
              <a:cxn ang="0">
                <a:pos x="connsiteX9667" y="connsiteY9667"/>
              </a:cxn>
              <a:cxn ang="0">
                <a:pos x="connsiteX9668" y="connsiteY9668"/>
              </a:cxn>
              <a:cxn ang="0">
                <a:pos x="connsiteX9669" y="connsiteY9669"/>
              </a:cxn>
              <a:cxn ang="0">
                <a:pos x="connsiteX9670" y="connsiteY9670"/>
              </a:cxn>
              <a:cxn ang="0">
                <a:pos x="connsiteX9671" y="connsiteY9671"/>
              </a:cxn>
              <a:cxn ang="0">
                <a:pos x="connsiteX9672" y="connsiteY9672"/>
              </a:cxn>
              <a:cxn ang="0">
                <a:pos x="connsiteX9673" y="connsiteY9673"/>
              </a:cxn>
              <a:cxn ang="0">
                <a:pos x="connsiteX9674" y="connsiteY9674"/>
              </a:cxn>
              <a:cxn ang="0">
                <a:pos x="connsiteX9675" y="connsiteY9675"/>
              </a:cxn>
              <a:cxn ang="0">
                <a:pos x="connsiteX9676" y="connsiteY9676"/>
              </a:cxn>
              <a:cxn ang="0">
                <a:pos x="connsiteX9677" y="connsiteY9677"/>
              </a:cxn>
              <a:cxn ang="0">
                <a:pos x="connsiteX9678" y="connsiteY9678"/>
              </a:cxn>
              <a:cxn ang="0">
                <a:pos x="connsiteX9679" y="connsiteY9679"/>
              </a:cxn>
              <a:cxn ang="0">
                <a:pos x="connsiteX9680" y="connsiteY9680"/>
              </a:cxn>
              <a:cxn ang="0">
                <a:pos x="connsiteX9681" y="connsiteY9681"/>
              </a:cxn>
              <a:cxn ang="0">
                <a:pos x="connsiteX9682" y="connsiteY9682"/>
              </a:cxn>
              <a:cxn ang="0">
                <a:pos x="connsiteX9683" y="connsiteY9683"/>
              </a:cxn>
              <a:cxn ang="0">
                <a:pos x="connsiteX9684" y="connsiteY9684"/>
              </a:cxn>
              <a:cxn ang="0">
                <a:pos x="connsiteX9685" y="connsiteY9685"/>
              </a:cxn>
              <a:cxn ang="0">
                <a:pos x="connsiteX9686" y="connsiteY9686"/>
              </a:cxn>
              <a:cxn ang="0">
                <a:pos x="connsiteX9687" y="connsiteY9687"/>
              </a:cxn>
              <a:cxn ang="0">
                <a:pos x="connsiteX9688" y="connsiteY9688"/>
              </a:cxn>
              <a:cxn ang="0">
                <a:pos x="connsiteX9689" y="connsiteY9689"/>
              </a:cxn>
              <a:cxn ang="0">
                <a:pos x="connsiteX9690" y="connsiteY9690"/>
              </a:cxn>
              <a:cxn ang="0">
                <a:pos x="connsiteX9691" y="connsiteY9691"/>
              </a:cxn>
              <a:cxn ang="0">
                <a:pos x="connsiteX9692" y="connsiteY9692"/>
              </a:cxn>
              <a:cxn ang="0">
                <a:pos x="connsiteX9693" y="connsiteY9693"/>
              </a:cxn>
              <a:cxn ang="0">
                <a:pos x="connsiteX9694" y="connsiteY9694"/>
              </a:cxn>
              <a:cxn ang="0">
                <a:pos x="connsiteX9695" y="connsiteY9695"/>
              </a:cxn>
              <a:cxn ang="0">
                <a:pos x="connsiteX9696" y="connsiteY9696"/>
              </a:cxn>
              <a:cxn ang="0">
                <a:pos x="connsiteX9697" y="connsiteY9697"/>
              </a:cxn>
              <a:cxn ang="0">
                <a:pos x="connsiteX9698" y="connsiteY9698"/>
              </a:cxn>
              <a:cxn ang="0">
                <a:pos x="connsiteX9699" y="connsiteY9699"/>
              </a:cxn>
              <a:cxn ang="0">
                <a:pos x="connsiteX9700" y="connsiteY9700"/>
              </a:cxn>
              <a:cxn ang="0">
                <a:pos x="connsiteX9701" y="connsiteY9701"/>
              </a:cxn>
              <a:cxn ang="0">
                <a:pos x="connsiteX9702" y="connsiteY9702"/>
              </a:cxn>
              <a:cxn ang="0">
                <a:pos x="connsiteX9703" y="connsiteY9703"/>
              </a:cxn>
              <a:cxn ang="0">
                <a:pos x="connsiteX9704" y="connsiteY9704"/>
              </a:cxn>
              <a:cxn ang="0">
                <a:pos x="connsiteX9705" y="connsiteY9705"/>
              </a:cxn>
              <a:cxn ang="0">
                <a:pos x="connsiteX9706" y="connsiteY9706"/>
              </a:cxn>
              <a:cxn ang="0">
                <a:pos x="connsiteX9707" y="connsiteY9707"/>
              </a:cxn>
              <a:cxn ang="0">
                <a:pos x="connsiteX9708" y="connsiteY9708"/>
              </a:cxn>
              <a:cxn ang="0">
                <a:pos x="connsiteX9709" y="connsiteY9709"/>
              </a:cxn>
              <a:cxn ang="0">
                <a:pos x="connsiteX9710" y="connsiteY9710"/>
              </a:cxn>
              <a:cxn ang="0">
                <a:pos x="connsiteX9711" y="connsiteY9711"/>
              </a:cxn>
              <a:cxn ang="0">
                <a:pos x="connsiteX9712" y="connsiteY9712"/>
              </a:cxn>
              <a:cxn ang="0">
                <a:pos x="connsiteX9713" y="connsiteY9713"/>
              </a:cxn>
              <a:cxn ang="0">
                <a:pos x="connsiteX9714" y="connsiteY9714"/>
              </a:cxn>
              <a:cxn ang="0">
                <a:pos x="connsiteX9715" y="connsiteY9715"/>
              </a:cxn>
              <a:cxn ang="0">
                <a:pos x="connsiteX9716" y="connsiteY9716"/>
              </a:cxn>
              <a:cxn ang="0">
                <a:pos x="connsiteX9717" y="connsiteY9717"/>
              </a:cxn>
              <a:cxn ang="0">
                <a:pos x="connsiteX9718" y="connsiteY9718"/>
              </a:cxn>
              <a:cxn ang="0">
                <a:pos x="connsiteX9719" y="connsiteY9719"/>
              </a:cxn>
              <a:cxn ang="0">
                <a:pos x="connsiteX9720" y="connsiteY9720"/>
              </a:cxn>
              <a:cxn ang="0">
                <a:pos x="connsiteX9721" y="connsiteY9721"/>
              </a:cxn>
              <a:cxn ang="0">
                <a:pos x="connsiteX9722" y="connsiteY9722"/>
              </a:cxn>
              <a:cxn ang="0">
                <a:pos x="connsiteX9723" y="connsiteY9723"/>
              </a:cxn>
              <a:cxn ang="0">
                <a:pos x="connsiteX9724" y="connsiteY9724"/>
              </a:cxn>
              <a:cxn ang="0">
                <a:pos x="connsiteX9725" y="connsiteY9725"/>
              </a:cxn>
              <a:cxn ang="0">
                <a:pos x="connsiteX9726" y="connsiteY9726"/>
              </a:cxn>
              <a:cxn ang="0">
                <a:pos x="connsiteX9727" y="connsiteY9727"/>
              </a:cxn>
              <a:cxn ang="0">
                <a:pos x="connsiteX9728" y="connsiteY9728"/>
              </a:cxn>
              <a:cxn ang="0">
                <a:pos x="connsiteX9729" y="connsiteY9729"/>
              </a:cxn>
              <a:cxn ang="0">
                <a:pos x="connsiteX9730" y="connsiteY9730"/>
              </a:cxn>
              <a:cxn ang="0">
                <a:pos x="connsiteX9731" y="connsiteY9731"/>
              </a:cxn>
              <a:cxn ang="0">
                <a:pos x="connsiteX9732" y="connsiteY9732"/>
              </a:cxn>
              <a:cxn ang="0">
                <a:pos x="connsiteX9733" y="connsiteY9733"/>
              </a:cxn>
              <a:cxn ang="0">
                <a:pos x="connsiteX9734" y="connsiteY9734"/>
              </a:cxn>
              <a:cxn ang="0">
                <a:pos x="connsiteX9735" y="connsiteY9735"/>
              </a:cxn>
              <a:cxn ang="0">
                <a:pos x="connsiteX9736" y="connsiteY9736"/>
              </a:cxn>
              <a:cxn ang="0">
                <a:pos x="connsiteX9737" y="connsiteY9737"/>
              </a:cxn>
              <a:cxn ang="0">
                <a:pos x="connsiteX9738" y="connsiteY9738"/>
              </a:cxn>
              <a:cxn ang="0">
                <a:pos x="connsiteX9739" y="connsiteY9739"/>
              </a:cxn>
              <a:cxn ang="0">
                <a:pos x="connsiteX9740" y="connsiteY9740"/>
              </a:cxn>
              <a:cxn ang="0">
                <a:pos x="connsiteX9741" y="connsiteY9741"/>
              </a:cxn>
              <a:cxn ang="0">
                <a:pos x="connsiteX9742" y="connsiteY9742"/>
              </a:cxn>
              <a:cxn ang="0">
                <a:pos x="connsiteX9743" y="connsiteY9743"/>
              </a:cxn>
              <a:cxn ang="0">
                <a:pos x="connsiteX9744" y="connsiteY9744"/>
              </a:cxn>
              <a:cxn ang="0">
                <a:pos x="connsiteX9745" y="connsiteY9745"/>
              </a:cxn>
              <a:cxn ang="0">
                <a:pos x="connsiteX9746" y="connsiteY9746"/>
              </a:cxn>
              <a:cxn ang="0">
                <a:pos x="connsiteX9747" y="connsiteY9747"/>
              </a:cxn>
              <a:cxn ang="0">
                <a:pos x="connsiteX9748" y="connsiteY9748"/>
              </a:cxn>
              <a:cxn ang="0">
                <a:pos x="connsiteX9749" y="connsiteY9749"/>
              </a:cxn>
              <a:cxn ang="0">
                <a:pos x="connsiteX9750" y="connsiteY9750"/>
              </a:cxn>
              <a:cxn ang="0">
                <a:pos x="connsiteX9751" y="connsiteY9751"/>
              </a:cxn>
              <a:cxn ang="0">
                <a:pos x="connsiteX9752" y="connsiteY9752"/>
              </a:cxn>
              <a:cxn ang="0">
                <a:pos x="connsiteX9753" y="connsiteY9753"/>
              </a:cxn>
              <a:cxn ang="0">
                <a:pos x="connsiteX9754" y="connsiteY9754"/>
              </a:cxn>
              <a:cxn ang="0">
                <a:pos x="connsiteX9755" y="connsiteY9755"/>
              </a:cxn>
              <a:cxn ang="0">
                <a:pos x="connsiteX9756" y="connsiteY9756"/>
              </a:cxn>
              <a:cxn ang="0">
                <a:pos x="connsiteX9757" y="connsiteY9757"/>
              </a:cxn>
              <a:cxn ang="0">
                <a:pos x="connsiteX9758" y="connsiteY9758"/>
              </a:cxn>
              <a:cxn ang="0">
                <a:pos x="connsiteX9759" y="connsiteY9759"/>
              </a:cxn>
              <a:cxn ang="0">
                <a:pos x="connsiteX9760" y="connsiteY9760"/>
              </a:cxn>
              <a:cxn ang="0">
                <a:pos x="connsiteX9761" y="connsiteY9761"/>
              </a:cxn>
              <a:cxn ang="0">
                <a:pos x="connsiteX9762" y="connsiteY9762"/>
              </a:cxn>
              <a:cxn ang="0">
                <a:pos x="connsiteX9763" y="connsiteY9763"/>
              </a:cxn>
              <a:cxn ang="0">
                <a:pos x="connsiteX9764" y="connsiteY9764"/>
              </a:cxn>
              <a:cxn ang="0">
                <a:pos x="connsiteX9765" y="connsiteY9765"/>
              </a:cxn>
              <a:cxn ang="0">
                <a:pos x="connsiteX9766" y="connsiteY9766"/>
              </a:cxn>
              <a:cxn ang="0">
                <a:pos x="connsiteX9767" y="connsiteY9767"/>
              </a:cxn>
              <a:cxn ang="0">
                <a:pos x="connsiteX9768" y="connsiteY9768"/>
              </a:cxn>
              <a:cxn ang="0">
                <a:pos x="connsiteX9769" y="connsiteY9769"/>
              </a:cxn>
              <a:cxn ang="0">
                <a:pos x="connsiteX9770" y="connsiteY9770"/>
              </a:cxn>
              <a:cxn ang="0">
                <a:pos x="connsiteX9771" y="connsiteY9771"/>
              </a:cxn>
              <a:cxn ang="0">
                <a:pos x="connsiteX9772" y="connsiteY9772"/>
              </a:cxn>
              <a:cxn ang="0">
                <a:pos x="connsiteX9773" y="connsiteY9773"/>
              </a:cxn>
              <a:cxn ang="0">
                <a:pos x="connsiteX9774" y="connsiteY9774"/>
              </a:cxn>
              <a:cxn ang="0">
                <a:pos x="connsiteX9775" y="connsiteY9775"/>
              </a:cxn>
              <a:cxn ang="0">
                <a:pos x="connsiteX9776" y="connsiteY9776"/>
              </a:cxn>
              <a:cxn ang="0">
                <a:pos x="connsiteX9777" y="connsiteY9777"/>
              </a:cxn>
              <a:cxn ang="0">
                <a:pos x="connsiteX9778" y="connsiteY9778"/>
              </a:cxn>
              <a:cxn ang="0">
                <a:pos x="connsiteX9779" y="connsiteY9779"/>
              </a:cxn>
              <a:cxn ang="0">
                <a:pos x="connsiteX9780" y="connsiteY9780"/>
              </a:cxn>
              <a:cxn ang="0">
                <a:pos x="connsiteX9781" y="connsiteY9781"/>
              </a:cxn>
              <a:cxn ang="0">
                <a:pos x="connsiteX9782" y="connsiteY9782"/>
              </a:cxn>
              <a:cxn ang="0">
                <a:pos x="connsiteX9783" y="connsiteY9783"/>
              </a:cxn>
              <a:cxn ang="0">
                <a:pos x="connsiteX9784" y="connsiteY9784"/>
              </a:cxn>
              <a:cxn ang="0">
                <a:pos x="connsiteX9785" y="connsiteY9785"/>
              </a:cxn>
              <a:cxn ang="0">
                <a:pos x="connsiteX9786" y="connsiteY9786"/>
              </a:cxn>
              <a:cxn ang="0">
                <a:pos x="connsiteX9787" y="connsiteY9787"/>
              </a:cxn>
              <a:cxn ang="0">
                <a:pos x="connsiteX9788" y="connsiteY9788"/>
              </a:cxn>
              <a:cxn ang="0">
                <a:pos x="connsiteX9789" y="connsiteY9789"/>
              </a:cxn>
              <a:cxn ang="0">
                <a:pos x="connsiteX9790" y="connsiteY9790"/>
              </a:cxn>
              <a:cxn ang="0">
                <a:pos x="connsiteX9791" y="connsiteY9791"/>
              </a:cxn>
              <a:cxn ang="0">
                <a:pos x="connsiteX9792" y="connsiteY9792"/>
              </a:cxn>
              <a:cxn ang="0">
                <a:pos x="connsiteX9793" y="connsiteY9793"/>
              </a:cxn>
              <a:cxn ang="0">
                <a:pos x="connsiteX9794" y="connsiteY9794"/>
              </a:cxn>
              <a:cxn ang="0">
                <a:pos x="connsiteX9795" y="connsiteY9795"/>
              </a:cxn>
              <a:cxn ang="0">
                <a:pos x="connsiteX9796" y="connsiteY9796"/>
              </a:cxn>
              <a:cxn ang="0">
                <a:pos x="connsiteX9797" y="connsiteY9797"/>
              </a:cxn>
              <a:cxn ang="0">
                <a:pos x="connsiteX9798" y="connsiteY9798"/>
              </a:cxn>
              <a:cxn ang="0">
                <a:pos x="connsiteX9799" y="connsiteY9799"/>
              </a:cxn>
              <a:cxn ang="0">
                <a:pos x="connsiteX9800" y="connsiteY9800"/>
              </a:cxn>
              <a:cxn ang="0">
                <a:pos x="connsiteX9801" y="connsiteY9801"/>
              </a:cxn>
              <a:cxn ang="0">
                <a:pos x="connsiteX9802" y="connsiteY9802"/>
              </a:cxn>
              <a:cxn ang="0">
                <a:pos x="connsiteX9803" y="connsiteY9803"/>
              </a:cxn>
              <a:cxn ang="0">
                <a:pos x="connsiteX9804" y="connsiteY9804"/>
              </a:cxn>
              <a:cxn ang="0">
                <a:pos x="connsiteX9805" y="connsiteY9805"/>
              </a:cxn>
              <a:cxn ang="0">
                <a:pos x="connsiteX9806" y="connsiteY9806"/>
              </a:cxn>
              <a:cxn ang="0">
                <a:pos x="connsiteX9807" y="connsiteY9807"/>
              </a:cxn>
              <a:cxn ang="0">
                <a:pos x="connsiteX9808" y="connsiteY9808"/>
              </a:cxn>
              <a:cxn ang="0">
                <a:pos x="connsiteX9809" y="connsiteY9809"/>
              </a:cxn>
              <a:cxn ang="0">
                <a:pos x="connsiteX9810" y="connsiteY9810"/>
              </a:cxn>
              <a:cxn ang="0">
                <a:pos x="connsiteX9811" y="connsiteY9811"/>
              </a:cxn>
              <a:cxn ang="0">
                <a:pos x="connsiteX9812" y="connsiteY9812"/>
              </a:cxn>
              <a:cxn ang="0">
                <a:pos x="connsiteX9813" y="connsiteY9813"/>
              </a:cxn>
              <a:cxn ang="0">
                <a:pos x="connsiteX9814" y="connsiteY9814"/>
              </a:cxn>
              <a:cxn ang="0">
                <a:pos x="connsiteX9815" y="connsiteY9815"/>
              </a:cxn>
              <a:cxn ang="0">
                <a:pos x="connsiteX9816" y="connsiteY9816"/>
              </a:cxn>
              <a:cxn ang="0">
                <a:pos x="connsiteX9817" y="connsiteY9817"/>
              </a:cxn>
              <a:cxn ang="0">
                <a:pos x="connsiteX9818" y="connsiteY9818"/>
              </a:cxn>
              <a:cxn ang="0">
                <a:pos x="connsiteX9819" y="connsiteY9819"/>
              </a:cxn>
              <a:cxn ang="0">
                <a:pos x="connsiteX9820" y="connsiteY9820"/>
              </a:cxn>
              <a:cxn ang="0">
                <a:pos x="connsiteX9821" y="connsiteY9821"/>
              </a:cxn>
              <a:cxn ang="0">
                <a:pos x="connsiteX9822" y="connsiteY9822"/>
              </a:cxn>
              <a:cxn ang="0">
                <a:pos x="connsiteX9823" y="connsiteY9823"/>
              </a:cxn>
              <a:cxn ang="0">
                <a:pos x="connsiteX9824" y="connsiteY9824"/>
              </a:cxn>
              <a:cxn ang="0">
                <a:pos x="connsiteX9825" y="connsiteY9825"/>
              </a:cxn>
              <a:cxn ang="0">
                <a:pos x="connsiteX9826" y="connsiteY9826"/>
              </a:cxn>
              <a:cxn ang="0">
                <a:pos x="connsiteX9827" y="connsiteY9827"/>
              </a:cxn>
              <a:cxn ang="0">
                <a:pos x="connsiteX9828" y="connsiteY9828"/>
              </a:cxn>
              <a:cxn ang="0">
                <a:pos x="connsiteX9829" y="connsiteY9829"/>
              </a:cxn>
              <a:cxn ang="0">
                <a:pos x="connsiteX9830" y="connsiteY9830"/>
              </a:cxn>
              <a:cxn ang="0">
                <a:pos x="connsiteX9831" y="connsiteY9831"/>
              </a:cxn>
              <a:cxn ang="0">
                <a:pos x="connsiteX9832" y="connsiteY9832"/>
              </a:cxn>
              <a:cxn ang="0">
                <a:pos x="connsiteX9833" y="connsiteY9833"/>
              </a:cxn>
              <a:cxn ang="0">
                <a:pos x="connsiteX9834" y="connsiteY9834"/>
              </a:cxn>
              <a:cxn ang="0">
                <a:pos x="connsiteX9835" y="connsiteY9835"/>
              </a:cxn>
              <a:cxn ang="0">
                <a:pos x="connsiteX9836" y="connsiteY9836"/>
              </a:cxn>
              <a:cxn ang="0">
                <a:pos x="connsiteX9837" y="connsiteY9837"/>
              </a:cxn>
              <a:cxn ang="0">
                <a:pos x="connsiteX9838" y="connsiteY9838"/>
              </a:cxn>
              <a:cxn ang="0">
                <a:pos x="connsiteX9839" y="connsiteY9839"/>
              </a:cxn>
              <a:cxn ang="0">
                <a:pos x="connsiteX9840" y="connsiteY9840"/>
              </a:cxn>
              <a:cxn ang="0">
                <a:pos x="connsiteX9841" y="connsiteY9841"/>
              </a:cxn>
              <a:cxn ang="0">
                <a:pos x="connsiteX9842" y="connsiteY9842"/>
              </a:cxn>
              <a:cxn ang="0">
                <a:pos x="connsiteX9843" y="connsiteY9843"/>
              </a:cxn>
              <a:cxn ang="0">
                <a:pos x="connsiteX9844" y="connsiteY9844"/>
              </a:cxn>
              <a:cxn ang="0">
                <a:pos x="connsiteX9845" y="connsiteY9845"/>
              </a:cxn>
              <a:cxn ang="0">
                <a:pos x="connsiteX9846" y="connsiteY9846"/>
              </a:cxn>
              <a:cxn ang="0">
                <a:pos x="connsiteX9847" y="connsiteY9847"/>
              </a:cxn>
              <a:cxn ang="0">
                <a:pos x="connsiteX9848" y="connsiteY9848"/>
              </a:cxn>
              <a:cxn ang="0">
                <a:pos x="connsiteX9849" y="connsiteY9849"/>
              </a:cxn>
              <a:cxn ang="0">
                <a:pos x="connsiteX9850" y="connsiteY9850"/>
              </a:cxn>
              <a:cxn ang="0">
                <a:pos x="connsiteX9851" y="connsiteY9851"/>
              </a:cxn>
              <a:cxn ang="0">
                <a:pos x="connsiteX9852" y="connsiteY9852"/>
              </a:cxn>
              <a:cxn ang="0">
                <a:pos x="connsiteX9853" y="connsiteY9853"/>
              </a:cxn>
              <a:cxn ang="0">
                <a:pos x="connsiteX9854" y="connsiteY9854"/>
              </a:cxn>
              <a:cxn ang="0">
                <a:pos x="connsiteX9855" y="connsiteY9855"/>
              </a:cxn>
              <a:cxn ang="0">
                <a:pos x="connsiteX9856" y="connsiteY9856"/>
              </a:cxn>
              <a:cxn ang="0">
                <a:pos x="connsiteX9857" y="connsiteY9857"/>
              </a:cxn>
              <a:cxn ang="0">
                <a:pos x="connsiteX9858" y="connsiteY9858"/>
              </a:cxn>
              <a:cxn ang="0">
                <a:pos x="connsiteX9859" y="connsiteY9859"/>
              </a:cxn>
              <a:cxn ang="0">
                <a:pos x="connsiteX9860" y="connsiteY9860"/>
              </a:cxn>
              <a:cxn ang="0">
                <a:pos x="connsiteX9861" y="connsiteY9861"/>
              </a:cxn>
              <a:cxn ang="0">
                <a:pos x="connsiteX9862" y="connsiteY9862"/>
              </a:cxn>
              <a:cxn ang="0">
                <a:pos x="connsiteX9863" y="connsiteY9863"/>
              </a:cxn>
              <a:cxn ang="0">
                <a:pos x="connsiteX9864" y="connsiteY9864"/>
              </a:cxn>
              <a:cxn ang="0">
                <a:pos x="connsiteX9865" y="connsiteY9865"/>
              </a:cxn>
              <a:cxn ang="0">
                <a:pos x="connsiteX9866" y="connsiteY9866"/>
              </a:cxn>
              <a:cxn ang="0">
                <a:pos x="connsiteX9867" y="connsiteY9867"/>
              </a:cxn>
              <a:cxn ang="0">
                <a:pos x="connsiteX9868" y="connsiteY9868"/>
              </a:cxn>
              <a:cxn ang="0">
                <a:pos x="connsiteX9869" y="connsiteY9869"/>
              </a:cxn>
              <a:cxn ang="0">
                <a:pos x="connsiteX9870" y="connsiteY9870"/>
              </a:cxn>
              <a:cxn ang="0">
                <a:pos x="connsiteX9871" y="connsiteY9871"/>
              </a:cxn>
              <a:cxn ang="0">
                <a:pos x="connsiteX9872" y="connsiteY9872"/>
              </a:cxn>
              <a:cxn ang="0">
                <a:pos x="connsiteX9873" y="connsiteY9873"/>
              </a:cxn>
              <a:cxn ang="0">
                <a:pos x="connsiteX9874" y="connsiteY9874"/>
              </a:cxn>
              <a:cxn ang="0">
                <a:pos x="connsiteX9875" y="connsiteY9875"/>
              </a:cxn>
              <a:cxn ang="0">
                <a:pos x="connsiteX9876" y="connsiteY9876"/>
              </a:cxn>
              <a:cxn ang="0">
                <a:pos x="connsiteX9877" y="connsiteY9877"/>
              </a:cxn>
              <a:cxn ang="0">
                <a:pos x="connsiteX9878" y="connsiteY9878"/>
              </a:cxn>
              <a:cxn ang="0">
                <a:pos x="connsiteX9879" y="connsiteY9879"/>
              </a:cxn>
              <a:cxn ang="0">
                <a:pos x="connsiteX9880" y="connsiteY9880"/>
              </a:cxn>
              <a:cxn ang="0">
                <a:pos x="connsiteX9881" y="connsiteY9881"/>
              </a:cxn>
              <a:cxn ang="0">
                <a:pos x="connsiteX9882" y="connsiteY9882"/>
              </a:cxn>
              <a:cxn ang="0">
                <a:pos x="connsiteX9883" y="connsiteY9883"/>
              </a:cxn>
              <a:cxn ang="0">
                <a:pos x="connsiteX9884" y="connsiteY9884"/>
              </a:cxn>
              <a:cxn ang="0">
                <a:pos x="connsiteX9885" y="connsiteY9885"/>
              </a:cxn>
              <a:cxn ang="0">
                <a:pos x="connsiteX9886" y="connsiteY9886"/>
              </a:cxn>
              <a:cxn ang="0">
                <a:pos x="connsiteX9887" y="connsiteY9887"/>
              </a:cxn>
              <a:cxn ang="0">
                <a:pos x="connsiteX9888" y="connsiteY9888"/>
              </a:cxn>
              <a:cxn ang="0">
                <a:pos x="connsiteX9889" y="connsiteY9889"/>
              </a:cxn>
              <a:cxn ang="0">
                <a:pos x="connsiteX9890" y="connsiteY9890"/>
              </a:cxn>
              <a:cxn ang="0">
                <a:pos x="connsiteX9891" y="connsiteY9891"/>
              </a:cxn>
              <a:cxn ang="0">
                <a:pos x="connsiteX9892" y="connsiteY9892"/>
              </a:cxn>
              <a:cxn ang="0">
                <a:pos x="connsiteX9893" y="connsiteY9893"/>
              </a:cxn>
              <a:cxn ang="0">
                <a:pos x="connsiteX9894" y="connsiteY9894"/>
              </a:cxn>
              <a:cxn ang="0">
                <a:pos x="connsiteX9895" y="connsiteY9895"/>
              </a:cxn>
              <a:cxn ang="0">
                <a:pos x="connsiteX9896" y="connsiteY9896"/>
              </a:cxn>
              <a:cxn ang="0">
                <a:pos x="connsiteX9897" y="connsiteY9897"/>
              </a:cxn>
              <a:cxn ang="0">
                <a:pos x="connsiteX9898" y="connsiteY9898"/>
              </a:cxn>
              <a:cxn ang="0">
                <a:pos x="connsiteX9899" y="connsiteY9899"/>
              </a:cxn>
              <a:cxn ang="0">
                <a:pos x="connsiteX9900" y="connsiteY9900"/>
              </a:cxn>
              <a:cxn ang="0">
                <a:pos x="connsiteX9901" y="connsiteY9901"/>
              </a:cxn>
              <a:cxn ang="0">
                <a:pos x="connsiteX9902" y="connsiteY9902"/>
              </a:cxn>
              <a:cxn ang="0">
                <a:pos x="connsiteX9903" y="connsiteY9903"/>
              </a:cxn>
              <a:cxn ang="0">
                <a:pos x="connsiteX9904" y="connsiteY9904"/>
              </a:cxn>
              <a:cxn ang="0">
                <a:pos x="connsiteX9905" y="connsiteY9905"/>
              </a:cxn>
              <a:cxn ang="0">
                <a:pos x="connsiteX9906" y="connsiteY9906"/>
              </a:cxn>
              <a:cxn ang="0">
                <a:pos x="connsiteX9907" y="connsiteY9907"/>
              </a:cxn>
              <a:cxn ang="0">
                <a:pos x="connsiteX9908" y="connsiteY9908"/>
              </a:cxn>
              <a:cxn ang="0">
                <a:pos x="connsiteX9909" y="connsiteY9909"/>
              </a:cxn>
              <a:cxn ang="0">
                <a:pos x="connsiteX9910" y="connsiteY9910"/>
              </a:cxn>
              <a:cxn ang="0">
                <a:pos x="connsiteX9911" y="connsiteY9911"/>
              </a:cxn>
              <a:cxn ang="0">
                <a:pos x="connsiteX9912" y="connsiteY9912"/>
              </a:cxn>
              <a:cxn ang="0">
                <a:pos x="connsiteX9913" y="connsiteY9913"/>
              </a:cxn>
              <a:cxn ang="0">
                <a:pos x="connsiteX9914" y="connsiteY9914"/>
              </a:cxn>
              <a:cxn ang="0">
                <a:pos x="connsiteX9915" y="connsiteY9915"/>
              </a:cxn>
              <a:cxn ang="0">
                <a:pos x="connsiteX9916" y="connsiteY9916"/>
              </a:cxn>
              <a:cxn ang="0">
                <a:pos x="connsiteX9917" y="connsiteY9917"/>
              </a:cxn>
              <a:cxn ang="0">
                <a:pos x="connsiteX9918" y="connsiteY9918"/>
              </a:cxn>
              <a:cxn ang="0">
                <a:pos x="connsiteX9919" y="connsiteY9919"/>
              </a:cxn>
              <a:cxn ang="0">
                <a:pos x="connsiteX9920" y="connsiteY9920"/>
              </a:cxn>
              <a:cxn ang="0">
                <a:pos x="connsiteX9921" y="connsiteY9921"/>
              </a:cxn>
              <a:cxn ang="0">
                <a:pos x="connsiteX9922" y="connsiteY9922"/>
              </a:cxn>
              <a:cxn ang="0">
                <a:pos x="connsiteX9923" y="connsiteY9923"/>
              </a:cxn>
              <a:cxn ang="0">
                <a:pos x="connsiteX9924" y="connsiteY9924"/>
              </a:cxn>
              <a:cxn ang="0">
                <a:pos x="connsiteX9925" y="connsiteY9925"/>
              </a:cxn>
              <a:cxn ang="0">
                <a:pos x="connsiteX9926" y="connsiteY9926"/>
              </a:cxn>
              <a:cxn ang="0">
                <a:pos x="connsiteX9927" y="connsiteY9927"/>
              </a:cxn>
              <a:cxn ang="0">
                <a:pos x="connsiteX9928" y="connsiteY9928"/>
              </a:cxn>
              <a:cxn ang="0">
                <a:pos x="connsiteX9929" y="connsiteY9929"/>
              </a:cxn>
              <a:cxn ang="0">
                <a:pos x="connsiteX9930" y="connsiteY9930"/>
              </a:cxn>
              <a:cxn ang="0">
                <a:pos x="connsiteX9931" y="connsiteY9931"/>
              </a:cxn>
              <a:cxn ang="0">
                <a:pos x="connsiteX9932" y="connsiteY9932"/>
              </a:cxn>
              <a:cxn ang="0">
                <a:pos x="connsiteX9933" y="connsiteY9933"/>
              </a:cxn>
              <a:cxn ang="0">
                <a:pos x="connsiteX9934" y="connsiteY9934"/>
              </a:cxn>
              <a:cxn ang="0">
                <a:pos x="connsiteX9935" y="connsiteY9935"/>
              </a:cxn>
              <a:cxn ang="0">
                <a:pos x="connsiteX9936" y="connsiteY9936"/>
              </a:cxn>
              <a:cxn ang="0">
                <a:pos x="connsiteX9937" y="connsiteY9937"/>
              </a:cxn>
              <a:cxn ang="0">
                <a:pos x="connsiteX9938" y="connsiteY9938"/>
              </a:cxn>
              <a:cxn ang="0">
                <a:pos x="connsiteX9939" y="connsiteY9939"/>
              </a:cxn>
              <a:cxn ang="0">
                <a:pos x="connsiteX9940" y="connsiteY9940"/>
              </a:cxn>
              <a:cxn ang="0">
                <a:pos x="connsiteX9941" y="connsiteY9941"/>
              </a:cxn>
              <a:cxn ang="0">
                <a:pos x="connsiteX9942" y="connsiteY9942"/>
              </a:cxn>
              <a:cxn ang="0">
                <a:pos x="connsiteX9943" y="connsiteY9943"/>
              </a:cxn>
              <a:cxn ang="0">
                <a:pos x="connsiteX9944" y="connsiteY9944"/>
              </a:cxn>
              <a:cxn ang="0">
                <a:pos x="connsiteX9945" y="connsiteY9945"/>
              </a:cxn>
              <a:cxn ang="0">
                <a:pos x="connsiteX9946" y="connsiteY9946"/>
              </a:cxn>
              <a:cxn ang="0">
                <a:pos x="connsiteX9947" y="connsiteY9947"/>
              </a:cxn>
              <a:cxn ang="0">
                <a:pos x="connsiteX9948" y="connsiteY9948"/>
              </a:cxn>
              <a:cxn ang="0">
                <a:pos x="connsiteX9949" y="connsiteY9949"/>
              </a:cxn>
              <a:cxn ang="0">
                <a:pos x="connsiteX9950" y="connsiteY9950"/>
              </a:cxn>
              <a:cxn ang="0">
                <a:pos x="connsiteX9951" y="connsiteY9951"/>
              </a:cxn>
              <a:cxn ang="0">
                <a:pos x="connsiteX9952" y="connsiteY9952"/>
              </a:cxn>
              <a:cxn ang="0">
                <a:pos x="connsiteX9953" y="connsiteY9953"/>
              </a:cxn>
              <a:cxn ang="0">
                <a:pos x="connsiteX9954" y="connsiteY9954"/>
              </a:cxn>
              <a:cxn ang="0">
                <a:pos x="connsiteX9955" y="connsiteY9955"/>
              </a:cxn>
              <a:cxn ang="0">
                <a:pos x="connsiteX9956" y="connsiteY9956"/>
              </a:cxn>
              <a:cxn ang="0">
                <a:pos x="connsiteX9957" y="connsiteY9957"/>
              </a:cxn>
              <a:cxn ang="0">
                <a:pos x="connsiteX9958" y="connsiteY9958"/>
              </a:cxn>
              <a:cxn ang="0">
                <a:pos x="connsiteX9959" y="connsiteY9959"/>
              </a:cxn>
              <a:cxn ang="0">
                <a:pos x="connsiteX9960" y="connsiteY9960"/>
              </a:cxn>
              <a:cxn ang="0">
                <a:pos x="connsiteX9961" y="connsiteY9961"/>
              </a:cxn>
              <a:cxn ang="0">
                <a:pos x="connsiteX9962" y="connsiteY9962"/>
              </a:cxn>
              <a:cxn ang="0">
                <a:pos x="connsiteX9963" y="connsiteY9963"/>
              </a:cxn>
              <a:cxn ang="0">
                <a:pos x="connsiteX9964" y="connsiteY9964"/>
              </a:cxn>
              <a:cxn ang="0">
                <a:pos x="connsiteX9965" y="connsiteY9965"/>
              </a:cxn>
              <a:cxn ang="0">
                <a:pos x="connsiteX9966" y="connsiteY9966"/>
              </a:cxn>
              <a:cxn ang="0">
                <a:pos x="connsiteX9967" y="connsiteY9967"/>
              </a:cxn>
              <a:cxn ang="0">
                <a:pos x="connsiteX9968" y="connsiteY9968"/>
              </a:cxn>
              <a:cxn ang="0">
                <a:pos x="connsiteX9969" y="connsiteY9969"/>
              </a:cxn>
              <a:cxn ang="0">
                <a:pos x="connsiteX9970" y="connsiteY9970"/>
              </a:cxn>
              <a:cxn ang="0">
                <a:pos x="connsiteX9971" y="connsiteY9971"/>
              </a:cxn>
              <a:cxn ang="0">
                <a:pos x="connsiteX9972" y="connsiteY9972"/>
              </a:cxn>
              <a:cxn ang="0">
                <a:pos x="connsiteX9973" y="connsiteY9973"/>
              </a:cxn>
              <a:cxn ang="0">
                <a:pos x="connsiteX9974" y="connsiteY9974"/>
              </a:cxn>
              <a:cxn ang="0">
                <a:pos x="connsiteX9975" y="connsiteY9975"/>
              </a:cxn>
              <a:cxn ang="0">
                <a:pos x="connsiteX9976" y="connsiteY9976"/>
              </a:cxn>
              <a:cxn ang="0">
                <a:pos x="connsiteX9977" y="connsiteY9977"/>
              </a:cxn>
              <a:cxn ang="0">
                <a:pos x="connsiteX9978" y="connsiteY9978"/>
              </a:cxn>
              <a:cxn ang="0">
                <a:pos x="connsiteX9979" y="connsiteY9979"/>
              </a:cxn>
              <a:cxn ang="0">
                <a:pos x="connsiteX9980" y="connsiteY9980"/>
              </a:cxn>
              <a:cxn ang="0">
                <a:pos x="connsiteX9981" y="connsiteY9981"/>
              </a:cxn>
              <a:cxn ang="0">
                <a:pos x="connsiteX9982" y="connsiteY9982"/>
              </a:cxn>
              <a:cxn ang="0">
                <a:pos x="connsiteX9983" y="connsiteY9983"/>
              </a:cxn>
              <a:cxn ang="0">
                <a:pos x="connsiteX9984" y="connsiteY9984"/>
              </a:cxn>
              <a:cxn ang="0">
                <a:pos x="connsiteX9985" y="connsiteY9985"/>
              </a:cxn>
              <a:cxn ang="0">
                <a:pos x="connsiteX9986" y="connsiteY9986"/>
              </a:cxn>
              <a:cxn ang="0">
                <a:pos x="connsiteX9987" y="connsiteY9987"/>
              </a:cxn>
              <a:cxn ang="0">
                <a:pos x="connsiteX9988" y="connsiteY9988"/>
              </a:cxn>
              <a:cxn ang="0">
                <a:pos x="connsiteX9989" y="connsiteY9989"/>
              </a:cxn>
              <a:cxn ang="0">
                <a:pos x="connsiteX9990" y="connsiteY9990"/>
              </a:cxn>
              <a:cxn ang="0">
                <a:pos x="connsiteX9991" y="connsiteY9991"/>
              </a:cxn>
              <a:cxn ang="0">
                <a:pos x="connsiteX9992" y="connsiteY9992"/>
              </a:cxn>
              <a:cxn ang="0">
                <a:pos x="connsiteX9993" y="connsiteY9993"/>
              </a:cxn>
              <a:cxn ang="0">
                <a:pos x="connsiteX9994" y="connsiteY9994"/>
              </a:cxn>
              <a:cxn ang="0">
                <a:pos x="connsiteX9995" y="connsiteY9995"/>
              </a:cxn>
              <a:cxn ang="0">
                <a:pos x="connsiteX9996" y="connsiteY9996"/>
              </a:cxn>
              <a:cxn ang="0">
                <a:pos x="connsiteX9997" y="connsiteY9997"/>
              </a:cxn>
              <a:cxn ang="0">
                <a:pos x="connsiteX9998" y="connsiteY9998"/>
              </a:cxn>
              <a:cxn ang="0">
                <a:pos x="connsiteX9999" y="connsiteY9999"/>
              </a:cxn>
              <a:cxn ang="0">
                <a:pos x="connsiteX10000" y="connsiteY10000"/>
              </a:cxn>
              <a:cxn ang="0">
                <a:pos x="connsiteX10001" y="connsiteY10001"/>
              </a:cxn>
              <a:cxn ang="0">
                <a:pos x="connsiteX10002" y="connsiteY10002"/>
              </a:cxn>
              <a:cxn ang="0">
                <a:pos x="connsiteX10003" y="connsiteY10003"/>
              </a:cxn>
              <a:cxn ang="0">
                <a:pos x="connsiteX10004" y="connsiteY10004"/>
              </a:cxn>
              <a:cxn ang="0">
                <a:pos x="connsiteX10005" y="connsiteY10005"/>
              </a:cxn>
              <a:cxn ang="0">
                <a:pos x="connsiteX10006" y="connsiteY10006"/>
              </a:cxn>
              <a:cxn ang="0">
                <a:pos x="connsiteX10007" y="connsiteY10007"/>
              </a:cxn>
              <a:cxn ang="0">
                <a:pos x="connsiteX10008" y="connsiteY10008"/>
              </a:cxn>
              <a:cxn ang="0">
                <a:pos x="connsiteX10009" y="connsiteY10009"/>
              </a:cxn>
              <a:cxn ang="0">
                <a:pos x="connsiteX10010" y="connsiteY10010"/>
              </a:cxn>
              <a:cxn ang="0">
                <a:pos x="connsiteX10011" y="connsiteY10011"/>
              </a:cxn>
              <a:cxn ang="0">
                <a:pos x="connsiteX10012" y="connsiteY10012"/>
              </a:cxn>
              <a:cxn ang="0">
                <a:pos x="connsiteX10013" y="connsiteY10013"/>
              </a:cxn>
              <a:cxn ang="0">
                <a:pos x="connsiteX10014" y="connsiteY10014"/>
              </a:cxn>
              <a:cxn ang="0">
                <a:pos x="connsiteX10015" y="connsiteY10015"/>
              </a:cxn>
              <a:cxn ang="0">
                <a:pos x="connsiteX10016" y="connsiteY10016"/>
              </a:cxn>
              <a:cxn ang="0">
                <a:pos x="connsiteX10017" y="connsiteY10017"/>
              </a:cxn>
              <a:cxn ang="0">
                <a:pos x="connsiteX10018" y="connsiteY10018"/>
              </a:cxn>
              <a:cxn ang="0">
                <a:pos x="connsiteX10019" y="connsiteY10019"/>
              </a:cxn>
              <a:cxn ang="0">
                <a:pos x="connsiteX10020" y="connsiteY10020"/>
              </a:cxn>
              <a:cxn ang="0">
                <a:pos x="connsiteX10021" y="connsiteY10021"/>
              </a:cxn>
              <a:cxn ang="0">
                <a:pos x="connsiteX10022" y="connsiteY10022"/>
              </a:cxn>
              <a:cxn ang="0">
                <a:pos x="connsiteX10023" y="connsiteY10023"/>
              </a:cxn>
              <a:cxn ang="0">
                <a:pos x="connsiteX10024" y="connsiteY10024"/>
              </a:cxn>
              <a:cxn ang="0">
                <a:pos x="connsiteX10025" y="connsiteY10025"/>
              </a:cxn>
              <a:cxn ang="0">
                <a:pos x="connsiteX10026" y="connsiteY10026"/>
              </a:cxn>
              <a:cxn ang="0">
                <a:pos x="connsiteX10027" y="connsiteY10027"/>
              </a:cxn>
              <a:cxn ang="0">
                <a:pos x="connsiteX10028" y="connsiteY10028"/>
              </a:cxn>
              <a:cxn ang="0">
                <a:pos x="connsiteX10029" y="connsiteY10029"/>
              </a:cxn>
              <a:cxn ang="0">
                <a:pos x="connsiteX10030" y="connsiteY10030"/>
              </a:cxn>
              <a:cxn ang="0">
                <a:pos x="connsiteX10031" y="connsiteY10031"/>
              </a:cxn>
              <a:cxn ang="0">
                <a:pos x="connsiteX10032" y="connsiteY10032"/>
              </a:cxn>
              <a:cxn ang="0">
                <a:pos x="connsiteX10033" y="connsiteY10033"/>
              </a:cxn>
              <a:cxn ang="0">
                <a:pos x="connsiteX10034" y="connsiteY10034"/>
              </a:cxn>
              <a:cxn ang="0">
                <a:pos x="connsiteX10035" y="connsiteY10035"/>
              </a:cxn>
              <a:cxn ang="0">
                <a:pos x="connsiteX10036" y="connsiteY10036"/>
              </a:cxn>
              <a:cxn ang="0">
                <a:pos x="connsiteX10037" y="connsiteY10037"/>
              </a:cxn>
              <a:cxn ang="0">
                <a:pos x="connsiteX10038" y="connsiteY10038"/>
              </a:cxn>
              <a:cxn ang="0">
                <a:pos x="connsiteX10039" y="connsiteY10039"/>
              </a:cxn>
              <a:cxn ang="0">
                <a:pos x="connsiteX10040" y="connsiteY10040"/>
              </a:cxn>
              <a:cxn ang="0">
                <a:pos x="connsiteX10041" y="connsiteY10041"/>
              </a:cxn>
              <a:cxn ang="0">
                <a:pos x="connsiteX10042" y="connsiteY10042"/>
              </a:cxn>
              <a:cxn ang="0">
                <a:pos x="connsiteX10043" y="connsiteY10043"/>
              </a:cxn>
              <a:cxn ang="0">
                <a:pos x="connsiteX10044" y="connsiteY10044"/>
              </a:cxn>
              <a:cxn ang="0">
                <a:pos x="connsiteX10045" y="connsiteY10045"/>
              </a:cxn>
              <a:cxn ang="0">
                <a:pos x="connsiteX10046" y="connsiteY10046"/>
              </a:cxn>
              <a:cxn ang="0">
                <a:pos x="connsiteX10047" y="connsiteY10047"/>
              </a:cxn>
              <a:cxn ang="0">
                <a:pos x="connsiteX10048" y="connsiteY10048"/>
              </a:cxn>
              <a:cxn ang="0">
                <a:pos x="connsiteX10049" y="connsiteY10049"/>
              </a:cxn>
              <a:cxn ang="0">
                <a:pos x="connsiteX10050" y="connsiteY10050"/>
              </a:cxn>
              <a:cxn ang="0">
                <a:pos x="connsiteX10051" y="connsiteY10051"/>
              </a:cxn>
              <a:cxn ang="0">
                <a:pos x="connsiteX10052" y="connsiteY10052"/>
              </a:cxn>
              <a:cxn ang="0">
                <a:pos x="connsiteX10053" y="connsiteY10053"/>
              </a:cxn>
              <a:cxn ang="0">
                <a:pos x="connsiteX10054" y="connsiteY10054"/>
              </a:cxn>
              <a:cxn ang="0">
                <a:pos x="connsiteX10055" y="connsiteY10055"/>
              </a:cxn>
              <a:cxn ang="0">
                <a:pos x="connsiteX10056" y="connsiteY10056"/>
              </a:cxn>
              <a:cxn ang="0">
                <a:pos x="connsiteX10057" y="connsiteY10057"/>
              </a:cxn>
              <a:cxn ang="0">
                <a:pos x="connsiteX10058" y="connsiteY10058"/>
              </a:cxn>
              <a:cxn ang="0">
                <a:pos x="connsiteX10059" y="connsiteY10059"/>
              </a:cxn>
              <a:cxn ang="0">
                <a:pos x="connsiteX10060" y="connsiteY10060"/>
              </a:cxn>
              <a:cxn ang="0">
                <a:pos x="connsiteX10061" y="connsiteY10061"/>
              </a:cxn>
              <a:cxn ang="0">
                <a:pos x="connsiteX10062" y="connsiteY10062"/>
              </a:cxn>
              <a:cxn ang="0">
                <a:pos x="connsiteX10063" y="connsiteY10063"/>
              </a:cxn>
              <a:cxn ang="0">
                <a:pos x="connsiteX10064" y="connsiteY10064"/>
              </a:cxn>
              <a:cxn ang="0">
                <a:pos x="connsiteX10065" y="connsiteY10065"/>
              </a:cxn>
              <a:cxn ang="0">
                <a:pos x="connsiteX10066" y="connsiteY10066"/>
              </a:cxn>
              <a:cxn ang="0">
                <a:pos x="connsiteX10067" y="connsiteY10067"/>
              </a:cxn>
              <a:cxn ang="0">
                <a:pos x="connsiteX10068" y="connsiteY10068"/>
              </a:cxn>
              <a:cxn ang="0">
                <a:pos x="connsiteX10069" y="connsiteY10069"/>
              </a:cxn>
              <a:cxn ang="0">
                <a:pos x="connsiteX10070" y="connsiteY10070"/>
              </a:cxn>
              <a:cxn ang="0">
                <a:pos x="connsiteX10071" y="connsiteY10071"/>
              </a:cxn>
              <a:cxn ang="0">
                <a:pos x="connsiteX10072" y="connsiteY10072"/>
              </a:cxn>
              <a:cxn ang="0">
                <a:pos x="connsiteX10073" y="connsiteY10073"/>
              </a:cxn>
              <a:cxn ang="0">
                <a:pos x="connsiteX10074" y="connsiteY10074"/>
              </a:cxn>
              <a:cxn ang="0">
                <a:pos x="connsiteX10075" y="connsiteY10075"/>
              </a:cxn>
              <a:cxn ang="0">
                <a:pos x="connsiteX10076" y="connsiteY10076"/>
              </a:cxn>
              <a:cxn ang="0">
                <a:pos x="connsiteX10077" y="connsiteY10077"/>
              </a:cxn>
              <a:cxn ang="0">
                <a:pos x="connsiteX10078" y="connsiteY10078"/>
              </a:cxn>
              <a:cxn ang="0">
                <a:pos x="connsiteX10079" y="connsiteY10079"/>
              </a:cxn>
              <a:cxn ang="0">
                <a:pos x="connsiteX10080" y="connsiteY10080"/>
              </a:cxn>
              <a:cxn ang="0">
                <a:pos x="connsiteX10081" y="connsiteY10081"/>
              </a:cxn>
              <a:cxn ang="0">
                <a:pos x="connsiteX10082" y="connsiteY10082"/>
              </a:cxn>
              <a:cxn ang="0">
                <a:pos x="connsiteX10083" y="connsiteY10083"/>
              </a:cxn>
              <a:cxn ang="0">
                <a:pos x="connsiteX10084" y="connsiteY10084"/>
              </a:cxn>
              <a:cxn ang="0">
                <a:pos x="connsiteX10085" y="connsiteY10085"/>
              </a:cxn>
              <a:cxn ang="0">
                <a:pos x="connsiteX10086" y="connsiteY10086"/>
              </a:cxn>
              <a:cxn ang="0">
                <a:pos x="connsiteX10087" y="connsiteY10087"/>
              </a:cxn>
              <a:cxn ang="0">
                <a:pos x="connsiteX10088" y="connsiteY10088"/>
              </a:cxn>
              <a:cxn ang="0">
                <a:pos x="connsiteX10089" y="connsiteY10089"/>
              </a:cxn>
              <a:cxn ang="0">
                <a:pos x="connsiteX10090" y="connsiteY10090"/>
              </a:cxn>
              <a:cxn ang="0">
                <a:pos x="connsiteX10091" y="connsiteY10091"/>
              </a:cxn>
              <a:cxn ang="0">
                <a:pos x="connsiteX10092" y="connsiteY10092"/>
              </a:cxn>
              <a:cxn ang="0">
                <a:pos x="connsiteX10093" y="connsiteY10093"/>
              </a:cxn>
              <a:cxn ang="0">
                <a:pos x="connsiteX10094" y="connsiteY10094"/>
              </a:cxn>
              <a:cxn ang="0">
                <a:pos x="connsiteX10095" y="connsiteY10095"/>
              </a:cxn>
              <a:cxn ang="0">
                <a:pos x="connsiteX10096" y="connsiteY10096"/>
              </a:cxn>
              <a:cxn ang="0">
                <a:pos x="connsiteX10097" y="connsiteY10097"/>
              </a:cxn>
              <a:cxn ang="0">
                <a:pos x="connsiteX10098" y="connsiteY10098"/>
              </a:cxn>
              <a:cxn ang="0">
                <a:pos x="connsiteX10099" y="connsiteY10099"/>
              </a:cxn>
              <a:cxn ang="0">
                <a:pos x="connsiteX10100" y="connsiteY10100"/>
              </a:cxn>
              <a:cxn ang="0">
                <a:pos x="connsiteX10101" y="connsiteY10101"/>
              </a:cxn>
              <a:cxn ang="0">
                <a:pos x="connsiteX10102" y="connsiteY10102"/>
              </a:cxn>
              <a:cxn ang="0">
                <a:pos x="connsiteX10103" y="connsiteY10103"/>
              </a:cxn>
              <a:cxn ang="0">
                <a:pos x="connsiteX10104" y="connsiteY10104"/>
              </a:cxn>
              <a:cxn ang="0">
                <a:pos x="connsiteX10105" y="connsiteY10105"/>
              </a:cxn>
              <a:cxn ang="0">
                <a:pos x="connsiteX10106" y="connsiteY10106"/>
              </a:cxn>
              <a:cxn ang="0">
                <a:pos x="connsiteX10107" y="connsiteY10107"/>
              </a:cxn>
              <a:cxn ang="0">
                <a:pos x="connsiteX10108" y="connsiteY10108"/>
              </a:cxn>
              <a:cxn ang="0">
                <a:pos x="connsiteX10109" y="connsiteY10109"/>
              </a:cxn>
              <a:cxn ang="0">
                <a:pos x="connsiteX10110" y="connsiteY10110"/>
              </a:cxn>
              <a:cxn ang="0">
                <a:pos x="connsiteX10111" y="connsiteY10111"/>
              </a:cxn>
              <a:cxn ang="0">
                <a:pos x="connsiteX10112" y="connsiteY10112"/>
              </a:cxn>
              <a:cxn ang="0">
                <a:pos x="connsiteX10113" y="connsiteY10113"/>
              </a:cxn>
              <a:cxn ang="0">
                <a:pos x="connsiteX10114" y="connsiteY10114"/>
              </a:cxn>
              <a:cxn ang="0">
                <a:pos x="connsiteX10115" y="connsiteY10115"/>
              </a:cxn>
              <a:cxn ang="0">
                <a:pos x="connsiteX10116" y="connsiteY10116"/>
              </a:cxn>
              <a:cxn ang="0">
                <a:pos x="connsiteX10117" y="connsiteY10117"/>
              </a:cxn>
              <a:cxn ang="0">
                <a:pos x="connsiteX10118" y="connsiteY10118"/>
              </a:cxn>
              <a:cxn ang="0">
                <a:pos x="connsiteX10119" y="connsiteY10119"/>
              </a:cxn>
              <a:cxn ang="0">
                <a:pos x="connsiteX10120" y="connsiteY10120"/>
              </a:cxn>
              <a:cxn ang="0">
                <a:pos x="connsiteX10121" y="connsiteY10121"/>
              </a:cxn>
              <a:cxn ang="0">
                <a:pos x="connsiteX10122" y="connsiteY10122"/>
              </a:cxn>
              <a:cxn ang="0">
                <a:pos x="connsiteX10123" y="connsiteY10123"/>
              </a:cxn>
              <a:cxn ang="0">
                <a:pos x="connsiteX10124" y="connsiteY10124"/>
              </a:cxn>
              <a:cxn ang="0">
                <a:pos x="connsiteX10125" y="connsiteY10125"/>
              </a:cxn>
              <a:cxn ang="0">
                <a:pos x="connsiteX10126" y="connsiteY10126"/>
              </a:cxn>
              <a:cxn ang="0">
                <a:pos x="connsiteX10127" y="connsiteY10127"/>
              </a:cxn>
              <a:cxn ang="0">
                <a:pos x="connsiteX10128" y="connsiteY10128"/>
              </a:cxn>
              <a:cxn ang="0">
                <a:pos x="connsiteX10129" y="connsiteY10129"/>
              </a:cxn>
              <a:cxn ang="0">
                <a:pos x="connsiteX10130" y="connsiteY10130"/>
              </a:cxn>
              <a:cxn ang="0">
                <a:pos x="connsiteX10131" y="connsiteY10131"/>
              </a:cxn>
              <a:cxn ang="0">
                <a:pos x="connsiteX10132" y="connsiteY10132"/>
              </a:cxn>
              <a:cxn ang="0">
                <a:pos x="connsiteX10133" y="connsiteY10133"/>
              </a:cxn>
              <a:cxn ang="0">
                <a:pos x="connsiteX10134" y="connsiteY10134"/>
              </a:cxn>
              <a:cxn ang="0">
                <a:pos x="connsiteX10135" y="connsiteY10135"/>
              </a:cxn>
              <a:cxn ang="0">
                <a:pos x="connsiteX10136" y="connsiteY10136"/>
              </a:cxn>
              <a:cxn ang="0">
                <a:pos x="connsiteX10137" y="connsiteY10137"/>
              </a:cxn>
              <a:cxn ang="0">
                <a:pos x="connsiteX10138" y="connsiteY10138"/>
              </a:cxn>
              <a:cxn ang="0">
                <a:pos x="connsiteX10139" y="connsiteY10139"/>
              </a:cxn>
              <a:cxn ang="0">
                <a:pos x="connsiteX10140" y="connsiteY10140"/>
              </a:cxn>
              <a:cxn ang="0">
                <a:pos x="connsiteX10141" y="connsiteY10141"/>
              </a:cxn>
              <a:cxn ang="0">
                <a:pos x="connsiteX10142" y="connsiteY10142"/>
              </a:cxn>
              <a:cxn ang="0">
                <a:pos x="connsiteX10143" y="connsiteY10143"/>
              </a:cxn>
              <a:cxn ang="0">
                <a:pos x="connsiteX10144" y="connsiteY10144"/>
              </a:cxn>
              <a:cxn ang="0">
                <a:pos x="connsiteX10145" y="connsiteY10145"/>
              </a:cxn>
              <a:cxn ang="0">
                <a:pos x="connsiteX10146" y="connsiteY10146"/>
              </a:cxn>
              <a:cxn ang="0">
                <a:pos x="connsiteX10147" y="connsiteY10147"/>
              </a:cxn>
              <a:cxn ang="0">
                <a:pos x="connsiteX10148" y="connsiteY10148"/>
              </a:cxn>
              <a:cxn ang="0">
                <a:pos x="connsiteX10149" y="connsiteY10149"/>
              </a:cxn>
              <a:cxn ang="0">
                <a:pos x="connsiteX10150" y="connsiteY10150"/>
              </a:cxn>
              <a:cxn ang="0">
                <a:pos x="connsiteX10151" y="connsiteY10151"/>
              </a:cxn>
              <a:cxn ang="0">
                <a:pos x="connsiteX10152" y="connsiteY10152"/>
              </a:cxn>
              <a:cxn ang="0">
                <a:pos x="connsiteX10153" y="connsiteY10153"/>
              </a:cxn>
              <a:cxn ang="0">
                <a:pos x="connsiteX10154" y="connsiteY10154"/>
              </a:cxn>
              <a:cxn ang="0">
                <a:pos x="connsiteX10155" y="connsiteY10155"/>
              </a:cxn>
              <a:cxn ang="0">
                <a:pos x="connsiteX10156" y="connsiteY10156"/>
              </a:cxn>
              <a:cxn ang="0">
                <a:pos x="connsiteX10157" y="connsiteY10157"/>
              </a:cxn>
              <a:cxn ang="0">
                <a:pos x="connsiteX10158" y="connsiteY10158"/>
              </a:cxn>
              <a:cxn ang="0">
                <a:pos x="connsiteX10159" y="connsiteY10159"/>
              </a:cxn>
              <a:cxn ang="0">
                <a:pos x="connsiteX10160" y="connsiteY10160"/>
              </a:cxn>
              <a:cxn ang="0">
                <a:pos x="connsiteX10161" y="connsiteY10161"/>
              </a:cxn>
              <a:cxn ang="0">
                <a:pos x="connsiteX10162" y="connsiteY10162"/>
              </a:cxn>
              <a:cxn ang="0">
                <a:pos x="connsiteX10163" y="connsiteY10163"/>
              </a:cxn>
              <a:cxn ang="0">
                <a:pos x="connsiteX10164" y="connsiteY10164"/>
              </a:cxn>
              <a:cxn ang="0">
                <a:pos x="connsiteX10165" y="connsiteY10165"/>
              </a:cxn>
              <a:cxn ang="0">
                <a:pos x="connsiteX10166" y="connsiteY10166"/>
              </a:cxn>
              <a:cxn ang="0">
                <a:pos x="connsiteX10167" y="connsiteY10167"/>
              </a:cxn>
              <a:cxn ang="0">
                <a:pos x="connsiteX10168" y="connsiteY10168"/>
              </a:cxn>
              <a:cxn ang="0">
                <a:pos x="connsiteX10169" y="connsiteY10169"/>
              </a:cxn>
              <a:cxn ang="0">
                <a:pos x="connsiteX10170" y="connsiteY10170"/>
              </a:cxn>
              <a:cxn ang="0">
                <a:pos x="connsiteX10171" y="connsiteY10171"/>
              </a:cxn>
              <a:cxn ang="0">
                <a:pos x="connsiteX10172" y="connsiteY10172"/>
              </a:cxn>
              <a:cxn ang="0">
                <a:pos x="connsiteX10173" y="connsiteY10173"/>
              </a:cxn>
              <a:cxn ang="0">
                <a:pos x="connsiteX10174" y="connsiteY10174"/>
              </a:cxn>
              <a:cxn ang="0">
                <a:pos x="connsiteX10175" y="connsiteY10175"/>
              </a:cxn>
              <a:cxn ang="0">
                <a:pos x="connsiteX10176" y="connsiteY10176"/>
              </a:cxn>
              <a:cxn ang="0">
                <a:pos x="connsiteX10177" y="connsiteY10177"/>
              </a:cxn>
              <a:cxn ang="0">
                <a:pos x="connsiteX10178" y="connsiteY10178"/>
              </a:cxn>
              <a:cxn ang="0">
                <a:pos x="connsiteX10179" y="connsiteY10179"/>
              </a:cxn>
              <a:cxn ang="0">
                <a:pos x="connsiteX10180" y="connsiteY10180"/>
              </a:cxn>
              <a:cxn ang="0">
                <a:pos x="connsiteX10181" y="connsiteY10181"/>
              </a:cxn>
              <a:cxn ang="0">
                <a:pos x="connsiteX10182" y="connsiteY10182"/>
              </a:cxn>
              <a:cxn ang="0">
                <a:pos x="connsiteX10183" y="connsiteY10183"/>
              </a:cxn>
              <a:cxn ang="0">
                <a:pos x="connsiteX10184" y="connsiteY10184"/>
              </a:cxn>
              <a:cxn ang="0">
                <a:pos x="connsiteX10185" y="connsiteY10185"/>
              </a:cxn>
              <a:cxn ang="0">
                <a:pos x="connsiteX10186" y="connsiteY10186"/>
              </a:cxn>
              <a:cxn ang="0">
                <a:pos x="connsiteX10187" y="connsiteY10187"/>
              </a:cxn>
              <a:cxn ang="0">
                <a:pos x="connsiteX10188" y="connsiteY10188"/>
              </a:cxn>
              <a:cxn ang="0">
                <a:pos x="connsiteX10189" y="connsiteY10189"/>
              </a:cxn>
              <a:cxn ang="0">
                <a:pos x="connsiteX10190" y="connsiteY10190"/>
              </a:cxn>
              <a:cxn ang="0">
                <a:pos x="connsiteX10191" y="connsiteY10191"/>
              </a:cxn>
              <a:cxn ang="0">
                <a:pos x="connsiteX10192" y="connsiteY10192"/>
              </a:cxn>
              <a:cxn ang="0">
                <a:pos x="connsiteX10193" y="connsiteY10193"/>
              </a:cxn>
              <a:cxn ang="0">
                <a:pos x="connsiteX10194" y="connsiteY10194"/>
              </a:cxn>
              <a:cxn ang="0">
                <a:pos x="connsiteX10195" y="connsiteY10195"/>
              </a:cxn>
              <a:cxn ang="0">
                <a:pos x="connsiteX10196" y="connsiteY10196"/>
              </a:cxn>
              <a:cxn ang="0">
                <a:pos x="connsiteX10197" y="connsiteY10197"/>
              </a:cxn>
              <a:cxn ang="0">
                <a:pos x="connsiteX10198" y="connsiteY10198"/>
              </a:cxn>
              <a:cxn ang="0">
                <a:pos x="connsiteX10199" y="connsiteY10199"/>
              </a:cxn>
              <a:cxn ang="0">
                <a:pos x="connsiteX10200" y="connsiteY10200"/>
              </a:cxn>
              <a:cxn ang="0">
                <a:pos x="connsiteX10201" y="connsiteY10201"/>
              </a:cxn>
              <a:cxn ang="0">
                <a:pos x="connsiteX10202" y="connsiteY10202"/>
              </a:cxn>
              <a:cxn ang="0">
                <a:pos x="connsiteX10203" y="connsiteY10203"/>
              </a:cxn>
              <a:cxn ang="0">
                <a:pos x="connsiteX10204" y="connsiteY10204"/>
              </a:cxn>
              <a:cxn ang="0">
                <a:pos x="connsiteX10205" y="connsiteY10205"/>
              </a:cxn>
              <a:cxn ang="0">
                <a:pos x="connsiteX10206" y="connsiteY10206"/>
              </a:cxn>
              <a:cxn ang="0">
                <a:pos x="connsiteX10207" y="connsiteY10207"/>
              </a:cxn>
              <a:cxn ang="0">
                <a:pos x="connsiteX10208" y="connsiteY10208"/>
              </a:cxn>
              <a:cxn ang="0">
                <a:pos x="connsiteX10209" y="connsiteY10209"/>
              </a:cxn>
              <a:cxn ang="0">
                <a:pos x="connsiteX10210" y="connsiteY10210"/>
              </a:cxn>
              <a:cxn ang="0">
                <a:pos x="connsiteX10211" y="connsiteY10211"/>
              </a:cxn>
              <a:cxn ang="0">
                <a:pos x="connsiteX10212" y="connsiteY10212"/>
              </a:cxn>
              <a:cxn ang="0">
                <a:pos x="connsiteX10213" y="connsiteY10213"/>
              </a:cxn>
              <a:cxn ang="0">
                <a:pos x="connsiteX10214" y="connsiteY10214"/>
              </a:cxn>
              <a:cxn ang="0">
                <a:pos x="connsiteX10215" y="connsiteY10215"/>
              </a:cxn>
              <a:cxn ang="0">
                <a:pos x="connsiteX10216" y="connsiteY10216"/>
              </a:cxn>
              <a:cxn ang="0">
                <a:pos x="connsiteX10217" y="connsiteY10217"/>
              </a:cxn>
              <a:cxn ang="0">
                <a:pos x="connsiteX10218" y="connsiteY10218"/>
              </a:cxn>
              <a:cxn ang="0">
                <a:pos x="connsiteX10219" y="connsiteY10219"/>
              </a:cxn>
              <a:cxn ang="0">
                <a:pos x="connsiteX10220" y="connsiteY10220"/>
              </a:cxn>
              <a:cxn ang="0">
                <a:pos x="connsiteX10221" y="connsiteY10221"/>
              </a:cxn>
              <a:cxn ang="0">
                <a:pos x="connsiteX10222" y="connsiteY10222"/>
              </a:cxn>
              <a:cxn ang="0">
                <a:pos x="connsiteX10223" y="connsiteY10223"/>
              </a:cxn>
              <a:cxn ang="0">
                <a:pos x="connsiteX10224" y="connsiteY10224"/>
              </a:cxn>
              <a:cxn ang="0">
                <a:pos x="connsiteX10225" y="connsiteY10225"/>
              </a:cxn>
              <a:cxn ang="0">
                <a:pos x="connsiteX10226" y="connsiteY10226"/>
              </a:cxn>
              <a:cxn ang="0">
                <a:pos x="connsiteX10227" y="connsiteY10227"/>
              </a:cxn>
              <a:cxn ang="0">
                <a:pos x="connsiteX10228" y="connsiteY10228"/>
              </a:cxn>
              <a:cxn ang="0">
                <a:pos x="connsiteX10229" y="connsiteY10229"/>
              </a:cxn>
              <a:cxn ang="0">
                <a:pos x="connsiteX10230" y="connsiteY10230"/>
              </a:cxn>
              <a:cxn ang="0">
                <a:pos x="connsiteX10231" y="connsiteY10231"/>
              </a:cxn>
              <a:cxn ang="0">
                <a:pos x="connsiteX10232" y="connsiteY10232"/>
              </a:cxn>
              <a:cxn ang="0">
                <a:pos x="connsiteX10233" y="connsiteY10233"/>
              </a:cxn>
              <a:cxn ang="0">
                <a:pos x="connsiteX10234" y="connsiteY10234"/>
              </a:cxn>
              <a:cxn ang="0">
                <a:pos x="connsiteX10235" y="connsiteY10235"/>
              </a:cxn>
              <a:cxn ang="0">
                <a:pos x="connsiteX10236" y="connsiteY10236"/>
              </a:cxn>
              <a:cxn ang="0">
                <a:pos x="connsiteX10237" y="connsiteY10237"/>
              </a:cxn>
              <a:cxn ang="0">
                <a:pos x="connsiteX10238" y="connsiteY10238"/>
              </a:cxn>
              <a:cxn ang="0">
                <a:pos x="connsiteX10239" y="connsiteY10239"/>
              </a:cxn>
              <a:cxn ang="0">
                <a:pos x="connsiteX10240" y="connsiteY10240"/>
              </a:cxn>
              <a:cxn ang="0">
                <a:pos x="connsiteX10241" y="connsiteY10241"/>
              </a:cxn>
              <a:cxn ang="0">
                <a:pos x="connsiteX10242" y="connsiteY10242"/>
              </a:cxn>
              <a:cxn ang="0">
                <a:pos x="connsiteX10243" y="connsiteY10243"/>
              </a:cxn>
              <a:cxn ang="0">
                <a:pos x="connsiteX10244" y="connsiteY10244"/>
              </a:cxn>
              <a:cxn ang="0">
                <a:pos x="connsiteX10245" y="connsiteY10245"/>
              </a:cxn>
              <a:cxn ang="0">
                <a:pos x="connsiteX10246" y="connsiteY10246"/>
              </a:cxn>
              <a:cxn ang="0">
                <a:pos x="connsiteX10247" y="connsiteY10247"/>
              </a:cxn>
              <a:cxn ang="0">
                <a:pos x="connsiteX10248" y="connsiteY10248"/>
              </a:cxn>
              <a:cxn ang="0">
                <a:pos x="connsiteX10249" y="connsiteY10249"/>
              </a:cxn>
              <a:cxn ang="0">
                <a:pos x="connsiteX10250" y="connsiteY10250"/>
              </a:cxn>
              <a:cxn ang="0">
                <a:pos x="connsiteX10251" y="connsiteY10251"/>
              </a:cxn>
              <a:cxn ang="0">
                <a:pos x="connsiteX10252" y="connsiteY10252"/>
              </a:cxn>
              <a:cxn ang="0">
                <a:pos x="connsiteX10253" y="connsiteY10253"/>
              </a:cxn>
              <a:cxn ang="0">
                <a:pos x="connsiteX10254" y="connsiteY10254"/>
              </a:cxn>
              <a:cxn ang="0">
                <a:pos x="connsiteX10255" y="connsiteY10255"/>
              </a:cxn>
              <a:cxn ang="0">
                <a:pos x="connsiteX10256" y="connsiteY10256"/>
              </a:cxn>
              <a:cxn ang="0">
                <a:pos x="connsiteX10257" y="connsiteY10257"/>
              </a:cxn>
              <a:cxn ang="0">
                <a:pos x="connsiteX10258" y="connsiteY10258"/>
              </a:cxn>
              <a:cxn ang="0">
                <a:pos x="connsiteX10259" y="connsiteY10259"/>
              </a:cxn>
              <a:cxn ang="0">
                <a:pos x="connsiteX10260" y="connsiteY10260"/>
              </a:cxn>
              <a:cxn ang="0">
                <a:pos x="connsiteX10261" y="connsiteY10261"/>
              </a:cxn>
              <a:cxn ang="0">
                <a:pos x="connsiteX10262" y="connsiteY10262"/>
              </a:cxn>
              <a:cxn ang="0">
                <a:pos x="connsiteX10263" y="connsiteY10263"/>
              </a:cxn>
              <a:cxn ang="0">
                <a:pos x="connsiteX10264" y="connsiteY10264"/>
              </a:cxn>
              <a:cxn ang="0">
                <a:pos x="connsiteX10265" y="connsiteY10265"/>
              </a:cxn>
              <a:cxn ang="0">
                <a:pos x="connsiteX10266" y="connsiteY10266"/>
              </a:cxn>
              <a:cxn ang="0">
                <a:pos x="connsiteX10267" y="connsiteY10267"/>
              </a:cxn>
              <a:cxn ang="0">
                <a:pos x="connsiteX10268" y="connsiteY10268"/>
              </a:cxn>
              <a:cxn ang="0">
                <a:pos x="connsiteX10269" y="connsiteY10269"/>
              </a:cxn>
              <a:cxn ang="0">
                <a:pos x="connsiteX10270" y="connsiteY10270"/>
              </a:cxn>
              <a:cxn ang="0">
                <a:pos x="connsiteX10271" y="connsiteY10271"/>
              </a:cxn>
              <a:cxn ang="0">
                <a:pos x="connsiteX10272" y="connsiteY10272"/>
              </a:cxn>
              <a:cxn ang="0">
                <a:pos x="connsiteX10273" y="connsiteY10273"/>
              </a:cxn>
              <a:cxn ang="0">
                <a:pos x="connsiteX10274" y="connsiteY10274"/>
              </a:cxn>
              <a:cxn ang="0">
                <a:pos x="connsiteX10275" y="connsiteY10275"/>
              </a:cxn>
              <a:cxn ang="0">
                <a:pos x="connsiteX10276" y="connsiteY10276"/>
              </a:cxn>
              <a:cxn ang="0">
                <a:pos x="connsiteX10277" y="connsiteY10277"/>
              </a:cxn>
              <a:cxn ang="0">
                <a:pos x="connsiteX10278" y="connsiteY10278"/>
              </a:cxn>
              <a:cxn ang="0">
                <a:pos x="connsiteX10279" y="connsiteY10279"/>
              </a:cxn>
              <a:cxn ang="0">
                <a:pos x="connsiteX10280" y="connsiteY10280"/>
              </a:cxn>
              <a:cxn ang="0">
                <a:pos x="connsiteX10281" y="connsiteY10281"/>
              </a:cxn>
              <a:cxn ang="0">
                <a:pos x="connsiteX10282" y="connsiteY10282"/>
              </a:cxn>
              <a:cxn ang="0">
                <a:pos x="connsiteX10283" y="connsiteY10283"/>
              </a:cxn>
              <a:cxn ang="0">
                <a:pos x="connsiteX10284" y="connsiteY10284"/>
              </a:cxn>
              <a:cxn ang="0">
                <a:pos x="connsiteX10285" y="connsiteY10285"/>
              </a:cxn>
              <a:cxn ang="0">
                <a:pos x="connsiteX10286" y="connsiteY10286"/>
              </a:cxn>
              <a:cxn ang="0">
                <a:pos x="connsiteX10287" y="connsiteY10287"/>
              </a:cxn>
              <a:cxn ang="0">
                <a:pos x="connsiteX10288" y="connsiteY10288"/>
              </a:cxn>
              <a:cxn ang="0">
                <a:pos x="connsiteX10289" y="connsiteY10289"/>
              </a:cxn>
              <a:cxn ang="0">
                <a:pos x="connsiteX10290" y="connsiteY10290"/>
              </a:cxn>
              <a:cxn ang="0">
                <a:pos x="connsiteX10291" y="connsiteY10291"/>
              </a:cxn>
              <a:cxn ang="0">
                <a:pos x="connsiteX10292" y="connsiteY10292"/>
              </a:cxn>
              <a:cxn ang="0">
                <a:pos x="connsiteX10293" y="connsiteY10293"/>
              </a:cxn>
              <a:cxn ang="0">
                <a:pos x="connsiteX10294" y="connsiteY10294"/>
              </a:cxn>
              <a:cxn ang="0">
                <a:pos x="connsiteX10295" y="connsiteY10295"/>
              </a:cxn>
              <a:cxn ang="0">
                <a:pos x="connsiteX10296" y="connsiteY10296"/>
              </a:cxn>
              <a:cxn ang="0">
                <a:pos x="connsiteX10297" y="connsiteY10297"/>
              </a:cxn>
              <a:cxn ang="0">
                <a:pos x="connsiteX10298" y="connsiteY10298"/>
              </a:cxn>
              <a:cxn ang="0">
                <a:pos x="connsiteX10299" y="connsiteY10299"/>
              </a:cxn>
              <a:cxn ang="0">
                <a:pos x="connsiteX10300" y="connsiteY10300"/>
              </a:cxn>
              <a:cxn ang="0">
                <a:pos x="connsiteX10301" y="connsiteY10301"/>
              </a:cxn>
              <a:cxn ang="0">
                <a:pos x="connsiteX10302" y="connsiteY10302"/>
              </a:cxn>
              <a:cxn ang="0">
                <a:pos x="connsiteX10303" y="connsiteY10303"/>
              </a:cxn>
              <a:cxn ang="0">
                <a:pos x="connsiteX10304" y="connsiteY10304"/>
              </a:cxn>
              <a:cxn ang="0">
                <a:pos x="connsiteX10305" y="connsiteY10305"/>
              </a:cxn>
              <a:cxn ang="0">
                <a:pos x="connsiteX10306" y="connsiteY10306"/>
              </a:cxn>
              <a:cxn ang="0">
                <a:pos x="connsiteX10307" y="connsiteY10307"/>
              </a:cxn>
              <a:cxn ang="0">
                <a:pos x="connsiteX10308" y="connsiteY10308"/>
              </a:cxn>
              <a:cxn ang="0">
                <a:pos x="connsiteX10309" y="connsiteY10309"/>
              </a:cxn>
              <a:cxn ang="0">
                <a:pos x="connsiteX10310" y="connsiteY10310"/>
              </a:cxn>
              <a:cxn ang="0">
                <a:pos x="connsiteX10311" y="connsiteY10311"/>
              </a:cxn>
              <a:cxn ang="0">
                <a:pos x="connsiteX10312" y="connsiteY10312"/>
              </a:cxn>
              <a:cxn ang="0">
                <a:pos x="connsiteX10313" y="connsiteY10313"/>
              </a:cxn>
              <a:cxn ang="0">
                <a:pos x="connsiteX10314" y="connsiteY10314"/>
              </a:cxn>
              <a:cxn ang="0">
                <a:pos x="connsiteX10315" y="connsiteY10315"/>
              </a:cxn>
              <a:cxn ang="0">
                <a:pos x="connsiteX10316" y="connsiteY10316"/>
              </a:cxn>
              <a:cxn ang="0">
                <a:pos x="connsiteX10317" y="connsiteY10317"/>
              </a:cxn>
              <a:cxn ang="0">
                <a:pos x="connsiteX10318" y="connsiteY10318"/>
              </a:cxn>
              <a:cxn ang="0">
                <a:pos x="connsiteX10319" y="connsiteY10319"/>
              </a:cxn>
              <a:cxn ang="0">
                <a:pos x="connsiteX10320" y="connsiteY10320"/>
              </a:cxn>
              <a:cxn ang="0">
                <a:pos x="connsiteX10321" y="connsiteY10321"/>
              </a:cxn>
              <a:cxn ang="0">
                <a:pos x="connsiteX10322" y="connsiteY10322"/>
              </a:cxn>
              <a:cxn ang="0">
                <a:pos x="connsiteX10323" y="connsiteY10323"/>
              </a:cxn>
              <a:cxn ang="0">
                <a:pos x="connsiteX10324" y="connsiteY10324"/>
              </a:cxn>
              <a:cxn ang="0">
                <a:pos x="connsiteX10325" y="connsiteY10325"/>
              </a:cxn>
              <a:cxn ang="0">
                <a:pos x="connsiteX10326" y="connsiteY10326"/>
              </a:cxn>
              <a:cxn ang="0">
                <a:pos x="connsiteX10327" y="connsiteY10327"/>
              </a:cxn>
              <a:cxn ang="0">
                <a:pos x="connsiteX10328" y="connsiteY10328"/>
              </a:cxn>
              <a:cxn ang="0">
                <a:pos x="connsiteX10329" y="connsiteY10329"/>
              </a:cxn>
              <a:cxn ang="0">
                <a:pos x="connsiteX10330" y="connsiteY10330"/>
              </a:cxn>
              <a:cxn ang="0">
                <a:pos x="connsiteX10331" y="connsiteY10331"/>
              </a:cxn>
              <a:cxn ang="0">
                <a:pos x="connsiteX10332" y="connsiteY10332"/>
              </a:cxn>
              <a:cxn ang="0">
                <a:pos x="connsiteX10333" y="connsiteY10333"/>
              </a:cxn>
              <a:cxn ang="0">
                <a:pos x="connsiteX10334" y="connsiteY10334"/>
              </a:cxn>
              <a:cxn ang="0">
                <a:pos x="connsiteX10335" y="connsiteY10335"/>
              </a:cxn>
              <a:cxn ang="0">
                <a:pos x="connsiteX10336" y="connsiteY10336"/>
              </a:cxn>
              <a:cxn ang="0">
                <a:pos x="connsiteX10337" y="connsiteY10337"/>
              </a:cxn>
              <a:cxn ang="0">
                <a:pos x="connsiteX10338" y="connsiteY10338"/>
              </a:cxn>
              <a:cxn ang="0">
                <a:pos x="connsiteX10339" y="connsiteY10339"/>
              </a:cxn>
              <a:cxn ang="0">
                <a:pos x="connsiteX10340" y="connsiteY10340"/>
              </a:cxn>
              <a:cxn ang="0">
                <a:pos x="connsiteX10341" y="connsiteY10341"/>
              </a:cxn>
              <a:cxn ang="0">
                <a:pos x="connsiteX10342" y="connsiteY10342"/>
              </a:cxn>
              <a:cxn ang="0">
                <a:pos x="connsiteX10343" y="connsiteY10343"/>
              </a:cxn>
              <a:cxn ang="0">
                <a:pos x="connsiteX10344" y="connsiteY10344"/>
              </a:cxn>
              <a:cxn ang="0">
                <a:pos x="connsiteX10345" y="connsiteY10345"/>
              </a:cxn>
              <a:cxn ang="0">
                <a:pos x="connsiteX10346" y="connsiteY10346"/>
              </a:cxn>
              <a:cxn ang="0">
                <a:pos x="connsiteX10347" y="connsiteY10347"/>
              </a:cxn>
              <a:cxn ang="0">
                <a:pos x="connsiteX10348" y="connsiteY10348"/>
              </a:cxn>
              <a:cxn ang="0">
                <a:pos x="connsiteX10349" y="connsiteY10349"/>
              </a:cxn>
              <a:cxn ang="0">
                <a:pos x="connsiteX10350" y="connsiteY10350"/>
              </a:cxn>
              <a:cxn ang="0">
                <a:pos x="connsiteX10351" y="connsiteY10351"/>
              </a:cxn>
              <a:cxn ang="0">
                <a:pos x="connsiteX10352" y="connsiteY10352"/>
              </a:cxn>
              <a:cxn ang="0">
                <a:pos x="connsiteX10353" y="connsiteY10353"/>
              </a:cxn>
              <a:cxn ang="0">
                <a:pos x="connsiteX10354" y="connsiteY10354"/>
              </a:cxn>
              <a:cxn ang="0">
                <a:pos x="connsiteX10355" y="connsiteY10355"/>
              </a:cxn>
              <a:cxn ang="0">
                <a:pos x="connsiteX10356" y="connsiteY10356"/>
              </a:cxn>
              <a:cxn ang="0">
                <a:pos x="connsiteX10357" y="connsiteY10357"/>
              </a:cxn>
              <a:cxn ang="0">
                <a:pos x="connsiteX10358" y="connsiteY10358"/>
              </a:cxn>
              <a:cxn ang="0">
                <a:pos x="connsiteX10359" y="connsiteY10359"/>
              </a:cxn>
              <a:cxn ang="0">
                <a:pos x="connsiteX10360" y="connsiteY10360"/>
              </a:cxn>
              <a:cxn ang="0">
                <a:pos x="connsiteX10361" y="connsiteY10361"/>
              </a:cxn>
              <a:cxn ang="0">
                <a:pos x="connsiteX10362" y="connsiteY10362"/>
              </a:cxn>
              <a:cxn ang="0">
                <a:pos x="connsiteX10363" y="connsiteY10363"/>
              </a:cxn>
              <a:cxn ang="0">
                <a:pos x="connsiteX10364" y="connsiteY10364"/>
              </a:cxn>
              <a:cxn ang="0">
                <a:pos x="connsiteX10365" y="connsiteY10365"/>
              </a:cxn>
              <a:cxn ang="0">
                <a:pos x="connsiteX10366" y="connsiteY10366"/>
              </a:cxn>
              <a:cxn ang="0">
                <a:pos x="connsiteX10367" y="connsiteY10367"/>
              </a:cxn>
              <a:cxn ang="0">
                <a:pos x="connsiteX10368" y="connsiteY10368"/>
              </a:cxn>
              <a:cxn ang="0">
                <a:pos x="connsiteX10369" y="connsiteY10369"/>
              </a:cxn>
              <a:cxn ang="0">
                <a:pos x="connsiteX10370" y="connsiteY10370"/>
              </a:cxn>
              <a:cxn ang="0">
                <a:pos x="connsiteX10371" y="connsiteY10371"/>
              </a:cxn>
              <a:cxn ang="0">
                <a:pos x="connsiteX10372" y="connsiteY10372"/>
              </a:cxn>
              <a:cxn ang="0">
                <a:pos x="connsiteX10373" y="connsiteY10373"/>
              </a:cxn>
              <a:cxn ang="0">
                <a:pos x="connsiteX10374" y="connsiteY10374"/>
              </a:cxn>
              <a:cxn ang="0">
                <a:pos x="connsiteX10375" y="connsiteY10375"/>
              </a:cxn>
              <a:cxn ang="0">
                <a:pos x="connsiteX10376" y="connsiteY10376"/>
              </a:cxn>
              <a:cxn ang="0">
                <a:pos x="connsiteX10377" y="connsiteY10377"/>
              </a:cxn>
              <a:cxn ang="0">
                <a:pos x="connsiteX10378" y="connsiteY10378"/>
              </a:cxn>
              <a:cxn ang="0">
                <a:pos x="connsiteX10379" y="connsiteY10379"/>
              </a:cxn>
              <a:cxn ang="0">
                <a:pos x="connsiteX10380" y="connsiteY10380"/>
              </a:cxn>
              <a:cxn ang="0">
                <a:pos x="connsiteX10381" y="connsiteY10381"/>
              </a:cxn>
              <a:cxn ang="0">
                <a:pos x="connsiteX10382" y="connsiteY10382"/>
              </a:cxn>
              <a:cxn ang="0">
                <a:pos x="connsiteX10383" y="connsiteY10383"/>
              </a:cxn>
              <a:cxn ang="0">
                <a:pos x="connsiteX10384" y="connsiteY10384"/>
              </a:cxn>
              <a:cxn ang="0">
                <a:pos x="connsiteX10385" y="connsiteY10385"/>
              </a:cxn>
              <a:cxn ang="0">
                <a:pos x="connsiteX10386" y="connsiteY10386"/>
              </a:cxn>
              <a:cxn ang="0">
                <a:pos x="connsiteX10387" y="connsiteY10387"/>
              </a:cxn>
              <a:cxn ang="0">
                <a:pos x="connsiteX10388" y="connsiteY10388"/>
              </a:cxn>
              <a:cxn ang="0">
                <a:pos x="connsiteX10389" y="connsiteY10389"/>
              </a:cxn>
              <a:cxn ang="0">
                <a:pos x="connsiteX10390" y="connsiteY10390"/>
              </a:cxn>
              <a:cxn ang="0">
                <a:pos x="connsiteX10391" y="connsiteY10391"/>
              </a:cxn>
              <a:cxn ang="0">
                <a:pos x="connsiteX10392" y="connsiteY10392"/>
              </a:cxn>
              <a:cxn ang="0">
                <a:pos x="connsiteX10393" y="connsiteY10393"/>
              </a:cxn>
              <a:cxn ang="0">
                <a:pos x="connsiteX10394" y="connsiteY10394"/>
              </a:cxn>
              <a:cxn ang="0">
                <a:pos x="connsiteX10395" y="connsiteY10395"/>
              </a:cxn>
              <a:cxn ang="0">
                <a:pos x="connsiteX10396" y="connsiteY10396"/>
              </a:cxn>
              <a:cxn ang="0">
                <a:pos x="connsiteX10397" y="connsiteY10397"/>
              </a:cxn>
              <a:cxn ang="0">
                <a:pos x="connsiteX10398" y="connsiteY10398"/>
              </a:cxn>
              <a:cxn ang="0">
                <a:pos x="connsiteX10399" y="connsiteY10399"/>
              </a:cxn>
              <a:cxn ang="0">
                <a:pos x="connsiteX10400" y="connsiteY10400"/>
              </a:cxn>
              <a:cxn ang="0">
                <a:pos x="connsiteX10401" y="connsiteY10401"/>
              </a:cxn>
              <a:cxn ang="0">
                <a:pos x="connsiteX10402" y="connsiteY10402"/>
              </a:cxn>
              <a:cxn ang="0">
                <a:pos x="connsiteX10403" y="connsiteY10403"/>
              </a:cxn>
              <a:cxn ang="0">
                <a:pos x="connsiteX10404" y="connsiteY10404"/>
              </a:cxn>
              <a:cxn ang="0">
                <a:pos x="connsiteX10405" y="connsiteY10405"/>
              </a:cxn>
              <a:cxn ang="0">
                <a:pos x="connsiteX10406" y="connsiteY10406"/>
              </a:cxn>
              <a:cxn ang="0">
                <a:pos x="connsiteX10407" y="connsiteY10407"/>
              </a:cxn>
              <a:cxn ang="0">
                <a:pos x="connsiteX10408" y="connsiteY10408"/>
              </a:cxn>
              <a:cxn ang="0">
                <a:pos x="connsiteX10409" y="connsiteY10409"/>
              </a:cxn>
              <a:cxn ang="0">
                <a:pos x="connsiteX10410" y="connsiteY10410"/>
              </a:cxn>
              <a:cxn ang="0">
                <a:pos x="connsiteX10411" y="connsiteY10411"/>
              </a:cxn>
              <a:cxn ang="0">
                <a:pos x="connsiteX10412" y="connsiteY10412"/>
              </a:cxn>
              <a:cxn ang="0">
                <a:pos x="connsiteX10413" y="connsiteY10413"/>
              </a:cxn>
              <a:cxn ang="0">
                <a:pos x="connsiteX10414" y="connsiteY10414"/>
              </a:cxn>
              <a:cxn ang="0">
                <a:pos x="connsiteX10415" y="connsiteY10415"/>
              </a:cxn>
              <a:cxn ang="0">
                <a:pos x="connsiteX10416" y="connsiteY10416"/>
              </a:cxn>
              <a:cxn ang="0">
                <a:pos x="connsiteX10417" y="connsiteY10417"/>
              </a:cxn>
              <a:cxn ang="0">
                <a:pos x="connsiteX10418" y="connsiteY10418"/>
              </a:cxn>
              <a:cxn ang="0">
                <a:pos x="connsiteX10419" y="connsiteY10419"/>
              </a:cxn>
              <a:cxn ang="0">
                <a:pos x="connsiteX10420" y="connsiteY10420"/>
              </a:cxn>
              <a:cxn ang="0">
                <a:pos x="connsiteX10421" y="connsiteY10421"/>
              </a:cxn>
              <a:cxn ang="0">
                <a:pos x="connsiteX10422" y="connsiteY10422"/>
              </a:cxn>
              <a:cxn ang="0">
                <a:pos x="connsiteX10423" y="connsiteY10423"/>
              </a:cxn>
              <a:cxn ang="0">
                <a:pos x="connsiteX10424" y="connsiteY10424"/>
              </a:cxn>
              <a:cxn ang="0">
                <a:pos x="connsiteX10425" y="connsiteY10425"/>
              </a:cxn>
              <a:cxn ang="0">
                <a:pos x="connsiteX10426" y="connsiteY10426"/>
              </a:cxn>
              <a:cxn ang="0">
                <a:pos x="connsiteX10427" y="connsiteY10427"/>
              </a:cxn>
              <a:cxn ang="0">
                <a:pos x="connsiteX10428" y="connsiteY10428"/>
              </a:cxn>
              <a:cxn ang="0">
                <a:pos x="connsiteX10429" y="connsiteY10429"/>
              </a:cxn>
              <a:cxn ang="0">
                <a:pos x="connsiteX10430" y="connsiteY10430"/>
              </a:cxn>
              <a:cxn ang="0">
                <a:pos x="connsiteX10431" y="connsiteY10431"/>
              </a:cxn>
              <a:cxn ang="0">
                <a:pos x="connsiteX10432" y="connsiteY10432"/>
              </a:cxn>
              <a:cxn ang="0">
                <a:pos x="connsiteX10433" y="connsiteY10433"/>
              </a:cxn>
              <a:cxn ang="0">
                <a:pos x="connsiteX10434" y="connsiteY10434"/>
              </a:cxn>
              <a:cxn ang="0">
                <a:pos x="connsiteX10435" y="connsiteY10435"/>
              </a:cxn>
              <a:cxn ang="0">
                <a:pos x="connsiteX10436" y="connsiteY10436"/>
              </a:cxn>
              <a:cxn ang="0">
                <a:pos x="connsiteX10437" y="connsiteY10437"/>
              </a:cxn>
              <a:cxn ang="0">
                <a:pos x="connsiteX10438" y="connsiteY10438"/>
              </a:cxn>
              <a:cxn ang="0">
                <a:pos x="connsiteX10439" y="connsiteY10439"/>
              </a:cxn>
              <a:cxn ang="0">
                <a:pos x="connsiteX10440" y="connsiteY10440"/>
              </a:cxn>
              <a:cxn ang="0">
                <a:pos x="connsiteX10441" y="connsiteY10441"/>
              </a:cxn>
              <a:cxn ang="0">
                <a:pos x="connsiteX10442" y="connsiteY10442"/>
              </a:cxn>
              <a:cxn ang="0">
                <a:pos x="connsiteX10443" y="connsiteY10443"/>
              </a:cxn>
              <a:cxn ang="0">
                <a:pos x="connsiteX10444" y="connsiteY10444"/>
              </a:cxn>
              <a:cxn ang="0">
                <a:pos x="connsiteX10445" y="connsiteY10445"/>
              </a:cxn>
              <a:cxn ang="0">
                <a:pos x="connsiteX10446" y="connsiteY10446"/>
              </a:cxn>
              <a:cxn ang="0">
                <a:pos x="connsiteX10447" y="connsiteY10447"/>
              </a:cxn>
              <a:cxn ang="0">
                <a:pos x="connsiteX10448" y="connsiteY10448"/>
              </a:cxn>
              <a:cxn ang="0">
                <a:pos x="connsiteX10449" y="connsiteY10449"/>
              </a:cxn>
              <a:cxn ang="0">
                <a:pos x="connsiteX10450" y="connsiteY10450"/>
              </a:cxn>
              <a:cxn ang="0">
                <a:pos x="connsiteX10451" y="connsiteY10451"/>
              </a:cxn>
              <a:cxn ang="0">
                <a:pos x="connsiteX10452" y="connsiteY10452"/>
              </a:cxn>
              <a:cxn ang="0">
                <a:pos x="connsiteX10453" y="connsiteY10453"/>
              </a:cxn>
              <a:cxn ang="0">
                <a:pos x="connsiteX10454" y="connsiteY10454"/>
              </a:cxn>
              <a:cxn ang="0">
                <a:pos x="connsiteX10455" y="connsiteY10455"/>
              </a:cxn>
              <a:cxn ang="0">
                <a:pos x="connsiteX10456" y="connsiteY10456"/>
              </a:cxn>
              <a:cxn ang="0">
                <a:pos x="connsiteX10457" y="connsiteY10457"/>
              </a:cxn>
              <a:cxn ang="0">
                <a:pos x="connsiteX10458" y="connsiteY10458"/>
              </a:cxn>
              <a:cxn ang="0">
                <a:pos x="connsiteX10459" y="connsiteY10459"/>
              </a:cxn>
              <a:cxn ang="0">
                <a:pos x="connsiteX10460" y="connsiteY10460"/>
              </a:cxn>
              <a:cxn ang="0">
                <a:pos x="connsiteX10461" y="connsiteY10461"/>
              </a:cxn>
              <a:cxn ang="0">
                <a:pos x="connsiteX10462" y="connsiteY10462"/>
              </a:cxn>
              <a:cxn ang="0">
                <a:pos x="connsiteX10463" y="connsiteY10463"/>
              </a:cxn>
              <a:cxn ang="0">
                <a:pos x="connsiteX10464" y="connsiteY10464"/>
              </a:cxn>
              <a:cxn ang="0">
                <a:pos x="connsiteX10465" y="connsiteY10465"/>
              </a:cxn>
              <a:cxn ang="0">
                <a:pos x="connsiteX10466" y="connsiteY10466"/>
              </a:cxn>
              <a:cxn ang="0">
                <a:pos x="connsiteX10467" y="connsiteY10467"/>
              </a:cxn>
              <a:cxn ang="0">
                <a:pos x="connsiteX10468" y="connsiteY10468"/>
              </a:cxn>
              <a:cxn ang="0">
                <a:pos x="connsiteX10469" y="connsiteY10469"/>
              </a:cxn>
              <a:cxn ang="0">
                <a:pos x="connsiteX10470" y="connsiteY10470"/>
              </a:cxn>
              <a:cxn ang="0">
                <a:pos x="connsiteX10471" y="connsiteY10471"/>
              </a:cxn>
              <a:cxn ang="0">
                <a:pos x="connsiteX10472" y="connsiteY10472"/>
              </a:cxn>
              <a:cxn ang="0">
                <a:pos x="connsiteX10473" y="connsiteY10473"/>
              </a:cxn>
              <a:cxn ang="0">
                <a:pos x="connsiteX10474" y="connsiteY10474"/>
              </a:cxn>
              <a:cxn ang="0">
                <a:pos x="connsiteX10475" y="connsiteY10475"/>
              </a:cxn>
              <a:cxn ang="0">
                <a:pos x="connsiteX10476" y="connsiteY10476"/>
              </a:cxn>
              <a:cxn ang="0">
                <a:pos x="connsiteX10477" y="connsiteY10477"/>
              </a:cxn>
              <a:cxn ang="0">
                <a:pos x="connsiteX10478" y="connsiteY10478"/>
              </a:cxn>
              <a:cxn ang="0">
                <a:pos x="connsiteX10479" y="connsiteY10479"/>
              </a:cxn>
              <a:cxn ang="0">
                <a:pos x="connsiteX10480" y="connsiteY10480"/>
              </a:cxn>
              <a:cxn ang="0">
                <a:pos x="connsiteX10481" y="connsiteY10481"/>
              </a:cxn>
              <a:cxn ang="0">
                <a:pos x="connsiteX10482" y="connsiteY10482"/>
              </a:cxn>
              <a:cxn ang="0">
                <a:pos x="connsiteX10483" y="connsiteY10483"/>
              </a:cxn>
              <a:cxn ang="0">
                <a:pos x="connsiteX10484" y="connsiteY10484"/>
              </a:cxn>
              <a:cxn ang="0">
                <a:pos x="connsiteX10485" y="connsiteY10485"/>
              </a:cxn>
              <a:cxn ang="0">
                <a:pos x="connsiteX10486" y="connsiteY10486"/>
              </a:cxn>
              <a:cxn ang="0">
                <a:pos x="connsiteX10487" y="connsiteY10487"/>
              </a:cxn>
              <a:cxn ang="0">
                <a:pos x="connsiteX10488" y="connsiteY10488"/>
              </a:cxn>
              <a:cxn ang="0">
                <a:pos x="connsiteX10489" y="connsiteY10489"/>
              </a:cxn>
              <a:cxn ang="0">
                <a:pos x="connsiteX10490" y="connsiteY10490"/>
              </a:cxn>
              <a:cxn ang="0">
                <a:pos x="connsiteX10491" y="connsiteY10491"/>
              </a:cxn>
              <a:cxn ang="0">
                <a:pos x="connsiteX10492" y="connsiteY10492"/>
              </a:cxn>
              <a:cxn ang="0">
                <a:pos x="connsiteX10493" y="connsiteY10493"/>
              </a:cxn>
              <a:cxn ang="0">
                <a:pos x="connsiteX10494" y="connsiteY10494"/>
              </a:cxn>
              <a:cxn ang="0">
                <a:pos x="connsiteX10495" y="connsiteY10495"/>
              </a:cxn>
              <a:cxn ang="0">
                <a:pos x="connsiteX10496" y="connsiteY10496"/>
              </a:cxn>
              <a:cxn ang="0">
                <a:pos x="connsiteX10497" y="connsiteY10497"/>
              </a:cxn>
              <a:cxn ang="0">
                <a:pos x="connsiteX10498" y="connsiteY10498"/>
              </a:cxn>
              <a:cxn ang="0">
                <a:pos x="connsiteX10499" y="connsiteY10499"/>
              </a:cxn>
              <a:cxn ang="0">
                <a:pos x="connsiteX10500" y="connsiteY10500"/>
              </a:cxn>
              <a:cxn ang="0">
                <a:pos x="connsiteX10501" y="connsiteY10501"/>
              </a:cxn>
              <a:cxn ang="0">
                <a:pos x="connsiteX10502" y="connsiteY10502"/>
              </a:cxn>
              <a:cxn ang="0">
                <a:pos x="connsiteX10503" y="connsiteY10503"/>
              </a:cxn>
              <a:cxn ang="0">
                <a:pos x="connsiteX10504" y="connsiteY10504"/>
              </a:cxn>
              <a:cxn ang="0">
                <a:pos x="connsiteX10505" y="connsiteY10505"/>
              </a:cxn>
              <a:cxn ang="0">
                <a:pos x="connsiteX10506" y="connsiteY10506"/>
              </a:cxn>
              <a:cxn ang="0">
                <a:pos x="connsiteX10507" y="connsiteY10507"/>
              </a:cxn>
              <a:cxn ang="0">
                <a:pos x="connsiteX10508" y="connsiteY10508"/>
              </a:cxn>
              <a:cxn ang="0">
                <a:pos x="connsiteX10509" y="connsiteY10509"/>
              </a:cxn>
              <a:cxn ang="0">
                <a:pos x="connsiteX10510" y="connsiteY10510"/>
              </a:cxn>
              <a:cxn ang="0">
                <a:pos x="connsiteX10511" y="connsiteY10511"/>
              </a:cxn>
              <a:cxn ang="0">
                <a:pos x="connsiteX10512" y="connsiteY10512"/>
              </a:cxn>
              <a:cxn ang="0">
                <a:pos x="connsiteX10513" y="connsiteY10513"/>
              </a:cxn>
              <a:cxn ang="0">
                <a:pos x="connsiteX10514" y="connsiteY10514"/>
              </a:cxn>
              <a:cxn ang="0">
                <a:pos x="connsiteX10515" y="connsiteY10515"/>
              </a:cxn>
              <a:cxn ang="0">
                <a:pos x="connsiteX10516" y="connsiteY10516"/>
              </a:cxn>
              <a:cxn ang="0">
                <a:pos x="connsiteX10517" y="connsiteY10517"/>
              </a:cxn>
              <a:cxn ang="0">
                <a:pos x="connsiteX10518" y="connsiteY10518"/>
              </a:cxn>
              <a:cxn ang="0">
                <a:pos x="connsiteX10519" y="connsiteY10519"/>
              </a:cxn>
              <a:cxn ang="0">
                <a:pos x="connsiteX10520" y="connsiteY10520"/>
              </a:cxn>
              <a:cxn ang="0">
                <a:pos x="connsiteX10521" y="connsiteY10521"/>
              </a:cxn>
              <a:cxn ang="0">
                <a:pos x="connsiteX10522" y="connsiteY10522"/>
              </a:cxn>
              <a:cxn ang="0">
                <a:pos x="connsiteX10523" y="connsiteY10523"/>
              </a:cxn>
              <a:cxn ang="0">
                <a:pos x="connsiteX10524" y="connsiteY10524"/>
              </a:cxn>
              <a:cxn ang="0">
                <a:pos x="connsiteX10525" y="connsiteY10525"/>
              </a:cxn>
              <a:cxn ang="0">
                <a:pos x="connsiteX10526" y="connsiteY10526"/>
              </a:cxn>
              <a:cxn ang="0">
                <a:pos x="connsiteX10527" y="connsiteY10527"/>
              </a:cxn>
              <a:cxn ang="0">
                <a:pos x="connsiteX10528" y="connsiteY10528"/>
              </a:cxn>
              <a:cxn ang="0">
                <a:pos x="connsiteX10529" y="connsiteY10529"/>
              </a:cxn>
              <a:cxn ang="0">
                <a:pos x="connsiteX10530" y="connsiteY10530"/>
              </a:cxn>
              <a:cxn ang="0">
                <a:pos x="connsiteX10531" y="connsiteY10531"/>
              </a:cxn>
              <a:cxn ang="0">
                <a:pos x="connsiteX10532" y="connsiteY10532"/>
              </a:cxn>
              <a:cxn ang="0">
                <a:pos x="connsiteX10533" y="connsiteY10533"/>
              </a:cxn>
              <a:cxn ang="0">
                <a:pos x="connsiteX10534" y="connsiteY10534"/>
              </a:cxn>
              <a:cxn ang="0">
                <a:pos x="connsiteX10535" y="connsiteY10535"/>
              </a:cxn>
              <a:cxn ang="0">
                <a:pos x="connsiteX10536" y="connsiteY10536"/>
              </a:cxn>
              <a:cxn ang="0">
                <a:pos x="connsiteX10537" y="connsiteY10537"/>
              </a:cxn>
              <a:cxn ang="0">
                <a:pos x="connsiteX10538" y="connsiteY10538"/>
              </a:cxn>
              <a:cxn ang="0">
                <a:pos x="connsiteX10539" y="connsiteY10539"/>
              </a:cxn>
              <a:cxn ang="0">
                <a:pos x="connsiteX10540" y="connsiteY10540"/>
              </a:cxn>
              <a:cxn ang="0">
                <a:pos x="connsiteX10541" y="connsiteY10541"/>
              </a:cxn>
              <a:cxn ang="0">
                <a:pos x="connsiteX10542" y="connsiteY10542"/>
              </a:cxn>
              <a:cxn ang="0">
                <a:pos x="connsiteX10543" y="connsiteY10543"/>
              </a:cxn>
              <a:cxn ang="0">
                <a:pos x="connsiteX10544" y="connsiteY10544"/>
              </a:cxn>
              <a:cxn ang="0">
                <a:pos x="connsiteX10545" y="connsiteY10545"/>
              </a:cxn>
              <a:cxn ang="0">
                <a:pos x="connsiteX10546" y="connsiteY10546"/>
              </a:cxn>
              <a:cxn ang="0">
                <a:pos x="connsiteX10547" y="connsiteY10547"/>
              </a:cxn>
              <a:cxn ang="0">
                <a:pos x="connsiteX10548" y="connsiteY10548"/>
              </a:cxn>
              <a:cxn ang="0">
                <a:pos x="connsiteX10549" y="connsiteY10549"/>
              </a:cxn>
              <a:cxn ang="0">
                <a:pos x="connsiteX10550" y="connsiteY10550"/>
              </a:cxn>
              <a:cxn ang="0">
                <a:pos x="connsiteX10551" y="connsiteY10551"/>
              </a:cxn>
              <a:cxn ang="0">
                <a:pos x="connsiteX10552" y="connsiteY10552"/>
              </a:cxn>
              <a:cxn ang="0">
                <a:pos x="connsiteX10553" y="connsiteY10553"/>
              </a:cxn>
              <a:cxn ang="0">
                <a:pos x="connsiteX10554" y="connsiteY10554"/>
              </a:cxn>
              <a:cxn ang="0">
                <a:pos x="connsiteX10555" y="connsiteY10555"/>
              </a:cxn>
              <a:cxn ang="0">
                <a:pos x="connsiteX10556" y="connsiteY10556"/>
              </a:cxn>
              <a:cxn ang="0">
                <a:pos x="connsiteX10557" y="connsiteY10557"/>
              </a:cxn>
              <a:cxn ang="0">
                <a:pos x="connsiteX10558" y="connsiteY10558"/>
              </a:cxn>
              <a:cxn ang="0">
                <a:pos x="connsiteX10559" y="connsiteY10559"/>
              </a:cxn>
              <a:cxn ang="0">
                <a:pos x="connsiteX10560" y="connsiteY10560"/>
              </a:cxn>
              <a:cxn ang="0">
                <a:pos x="connsiteX10561" y="connsiteY10561"/>
              </a:cxn>
              <a:cxn ang="0">
                <a:pos x="connsiteX10562" y="connsiteY10562"/>
              </a:cxn>
              <a:cxn ang="0">
                <a:pos x="connsiteX10563" y="connsiteY10563"/>
              </a:cxn>
              <a:cxn ang="0">
                <a:pos x="connsiteX10564" y="connsiteY10564"/>
              </a:cxn>
              <a:cxn ang="0">
                <a:pos x="connsiteX10565" y="connsiteY10565"/>
              </a:cxn>
              <a:cxn ang="0">
                <a:pos x="connsiteX10566" y="connsiteY10566"/>
              </a:cxn>
              <a:cxn ang="0">
                <a:pos x="connsiteX10567" y="connsiteY10567"/>
              </a:cxn>
              <a:cxn ang="0">
                <a:pos x="connsiteX10568" y="connsiteY10568"/>
              </a:cxn>
              <a:cxn ang="0">
                <a:pos x="connsiteX10569" y="connsiteY10569"/>
              </a:cxn>
              <a:cxn ang="0">
                <a:pos x="connsiteX10570" y="connsiteY10570"/>
              </a:cxn>
              <a:cxn ang="0">
                <a:pos x="connsiteX10571" y="connsiteY10571"/>
              </a:cxn>
              <a:cxn ang="0">
                <a:pos x="connsiteX10572" y="connsiteY10572"/>
              </a:cxn>
              <a:cxn ang="0">
                <a:pos x="connsiteX10573" y="connsiteY10573"/>
              </a:cxn>
              <a:cxn ang="0">
                <a:pos x="connsiteX10574" y="connsiteY10574"/>
              </a:cxn>
              <a:cxn ang="0">
                <a:pos x="connsiteX10575" y="connsiteY10575"/>
              </a:cxn>
              <a:cxn ang="0">
                <a:pos x="connsiteX10576" y="connsiteY10576"/>
              </a:cxn>
              <a:cxn ang="0">
                <a:pos x="connsiteX10577" y="connsiteY10577"/>
              </a:cxn>
              <a:cxn ang="0">
                <a:pos x="connsiteX10578" y="connsiteY10578"/>
              </a:cxn>
              <a:cxn ang="0">
                <a:pos x="connsiteX10579" y="connsiteY10579"/>
              </a:cxn>
              <a:cxn ang="0">
                <a:pos x="connsiteX10580" y="connsiteY10580"/>
              </a:cxn>
              <a:cxn ang="0">
                <a:pos x="connsiteX10581" y="connsiteY10581"/>
              </a:cxn>
              <a:cxn ang="0">
                <a:pos x="connsiteX10582" y="connsiteY10582"/>
              </a:cxn>
              <a:cxn ang="0">
                <a:pos x="connsiteX10583" y="connsiteY10583"/>
              </a:cxn>
              <a:cxn ang="0">
                <a:pos x="connsiteX10584" y="connsiteY10584"/>
              </a:cxn>
              <a:cxn ang="0">
                <a:pos x="connsiteX10585" y="connsiteY10585"/>
              </a:cxn>
              <a:cxn ang="0">
                <a:pos x="connsiteX10586" y="connsiteY10586"/>
              </a:cxn>
              <a:cxn ang="0">
                <a:pos x="connsiteX10587" y="connsiteY10587"/>
              </a:cxn>
              <a:cxn ang="0">
                <a:pos x="connsiteX10588" y="connsiteY10588"/>
              </a:cxn>
              <a:cxn ang="0">
                <a:pos x="connsiteX10589" y="connsiteY10589"/>
              </a:cxn>
              <a:cxn ang="0">
                <a:pos x="connsiteX10590" y="connsiteY10590"/>
              </a:cxn>
              <a:cxn ang="0">
                <a:pos x="connsiteX10591" y="connsiteY10591"/>
              </a:cxn>
              <a:cxn ang="0">
                <a:pos x="connsiteX10592" y="connsiteY10592"/>
              </a:cxn>
              <a:cxn ang="0">
                <a:pos x="connsiteX10593" y="connsiteY10593"/>
              </a:cxn>
              <a:cxn ang="0">
                <a:pos x="connsiteX10594" y="connsiteY10594"/>
              </a:cxn>
              <a:cxn ang="0">
                <a:pos x="connsiteX10595" y="connsiteY10595"/>
              </a:cxn>
              <a:cxn ang="0">
                <a:pos x="connsiteX10596" y="connsiteY10596"/>
              </a:cxn>
              <a:cxn ang="0">
                <a:pos x="connsiteX10597" y="connsiteY10597"/>
              </a:cxn>
              <a:cxn ang="0">
                <a:pos x="connsiteX10598" y="connsiteY10598"/>
              </a:cxn>
              <a:cxn ang="0">
                <a:pos x="connsiteX10599" y="connsiteY10599"/>
              </a:cxn>
              <a:cxn ang="0">
                <a:pos x="connsiteX10600" y="connsiteY10600"/>
              </a:cxn>
              <a:cxn ang="0">
                <a:pos x="connsiteX10601" y="connsiteY10601"/>
              </a:cxn>
              <a:cxn ang="0">
                <a:pos x="connsiteX10602" y="connsiteY10602"/>
              </a:cxn>
              <a:cxn ang="0">
                <a:pos x="connsiteX10603" y="connsiteY10603"/>
              </a:cxn>
              <a:cxn ang="0">
                <a:pos x="connsiteX10604" y="connsiteY10604"/>
              </a:cxn>
              <a:cxn ang="0">
                <a:pos x="connsiteX10605" y="connsiteY10605"/>
              </a:cxn>
              <a:cxn ang="0">
                <a:pos x="connsiteX10606" y="connsiteY10606"/>
              </a:cxn>
              <a:cxn ang="0">
                <a:pos x="connsiteX10607" y="connsiteY10607"/>
              </a:cxn>
              <a:cxn ang="0">
                <a:pos x="connsiteX10608" y="connsiteY10608"/>
              </a:cxn>
              <a:cxn ang="0">
                <a:pos x="connsiteX10609" y="connsiteY10609"/>
              </a:cxn>
              <a:cxn ang="0">
                <a:pos x="connsiteX10610" y="connsiteY10610"/>
              </a:cxn>
              <a:cxn ang="0">
                <a:pos x="connsiteX10611" y="connsiteY10611"/>
              </a:cxn>
              <a:cxn ang="0">
                <a:pos x="connsiteX10612" y="connsiteY10612"/>
              </a:cxn>
              <a:cxn ang="0">
                <a:pos x="connsiteX10613" y="connsiteY10613"/>
              </a:cxn>
              <a:cxn ang="0">
                <a:pos x="connsiteX10614" y="connsiteY10614"/>
              </a:cxn>
              <a:cxn ang="0">
                <a:pos x="connsiteX10615" y="connsiteY10615"/>
              </a:cxn>
              <a:cxn ang="0">
                <a:pos x="connsiteX10616" y="connsiteY10616"/>
              </a:cxn>
              <a:cxn ang="0">
                <a:pos x="connsiteX10617" y="connsiteY10617"/>
              </a:cxn>
              <a:cxn ang="0">
                <a:pos x="connsiteX10618" y="connsiteY10618"/>
              </a:cxn>
              <a:cxn ang="0">
                <a:pos x="connsiteX10619" y="connsiteY10619"/>
              </a:cxn>
              <a:cxn ang="0">
                <a:pos x="connsiteX10620" y="connsiteY10620"/>
              </a:cxn>
              <a:cxn ang="0">
                <a:pos x="connsiteX10621" y="connsiteY10621"/>
              </a:cxn>
              <a:cxn ang="0">
                <a:pos x="connsiteX10622" y="connsiteY10622"/>
              </a:cxn>
              <a:cxn ang="0">
                <a:pos x="connsiteX10623" y="connsiteY10623"/>
              </a:cxn>
              <a:cxn ang="0">
                <a:pos x="connsiteX10624" y="connsiteY10624"/>
              </a:cxn>
              <a:cxn ang="0">
                <a:pos x="connsiteX10625" y="connsiteY10625"/>
              </a:cxn>
              <a:cxn ang="0">
                <a:pos x="connsiteX10626" y="connsiteY10626"/>
              </a:cxn>
              <a:cxn ang="0">
                <a:pos x="connsiteX10627" y="connsiteY10627"/>
              </a:cxn>
              <a:cxn ang="0">
                <a:pos x="connsiteX10628" y="connsiteY10628"/>
              </a:cxn>
              <a:cxn ang="0">
                <a:pos x="connsiteX10629" y="connsiteY10629"/>
              </a:cxn>
              <a:cxn ang="0">
                <a:pos x="connsiteX10630" y="connsiteY10630"/>
              </a:cxn>
              <a:cxn ang="0">
                <a:pos x="connsiteX10631" y="connsiteY10631"/>
              </a:cxn>
              <a:cxn ang="0">
                <a:pos x="connsiteX10632" y="connsiteY10632"/>
              </a:cxn>
              <a:cxn ang="0">
                <a:pos x="connsiteX10633" y="connsiteY10633"/>
              </a:cxn>
              <a:cxn ang="0">
                <a:pos x="connsiteX10634" y="connsiteY10634"/>
              </a:cxn>
              <a:cxn ang="0">
                <a:pos x="connsiteX10635" y="connsiteY10635"/>
              </a:cxn>
              <a:cxn ang="0">
                <a:pos x="connsiteX10636" y="connsiteY10636"/>
              </a:cxn>
              <a:cxn ang="0">
                <a:pos x="connsiteX10637" y="connsiteY10637"/>
              </a:cxn>
              <a:cxn ang="0">
                <a:pos x="connsiteX10638" y="connsiteY10638"/>
              </a:cxn>
              <a:cxn ang="0">
                <a:pos x="connsiteX10639" y="connsiteY10639"/>
              </a:cxn>
              <a:cxn ang="0">
                <a:pos x="connsiteX10640" y="connsiteY10640"/>
              </a:cxn>
              <a:cxn ang="0">
                <a:pos x="connsiteX10641" y="connsiteY10641"/>
              </a:cxn>
              <a:cxn ang="0">
                <a:pos x="connsiteX10642" y="connsiteY10642"/>
              </a:cxn>
              <a:cxn ang="0">
                <a:pos x="connsiteX10643" y="connsiteY10643"/>
              </a:cxn>
              <a:cxn ang="0">
                <a:pos x="connsiteX10644" y="connsiteY10644"/>
              </a:cxn>
              <a:cxn ang="0">
                <a:pos x="connsiteX10645" y="connsiteY10645"/>
              </a:cxn>
              <a:cxn ang="0">
                <a:pos x="connsiteX10646" y="connsiteY10646"/>
              </a:cxn>
              <a:cxn ang="0">
                <a:pos x="connsiteX10647" y="connsiteY10647"/>
              </a:cxn>
              <a:cxn ang="0">
                <a:pos x="connsiteX10648" y="connsiteY10648"/>
              </a:cxn>
              <a:cxn ang="0">
                <a:pos x="connsiteX10649" y="connsiteY10649"/>
              </a:cxn>
              <a:cxn ang="0">
                <a:pos x="connsiteX10650" y="connsiteY10650"/>
              </a:cxn>
              <a:cxn ang="0">
                <a:pos x="connsiteX10651" y="connsiteY10651"/>
              </a:cxn>
              <a:cxn ang="0">
                <a:pos x="connsiteX10652" y="connsiteY10652"/>
              </a:cxn>
              <a:cxn ang="0">
                <a:pos x="connsiteX10653" y="connsiteY10653"/>
              </a:cxn>
              <a:cxn ang="0">
                <a:pos x="connsiteX10654" y="connsiteY10654"/>
              </a:cxn>
              <a:cxn ang="0">
                <a:pos x="connsiteX10655" y="connsiteY10655"/>
              </a:cxn>
              <a:cxn ang="0">
                <a:pos x="connsiteX10656" y="connsiteY10656"/>
              </a:cxn>
              <a:cxn ang="0">
                <a:pos x="connsiteX10657" y="connsiteY10657"/>
              </a:cxn>
              <a:cxn ang="0">
                <a:pos x="connsiteX10658" y="connsiteY10658"/>
              </a:cxn>
              <a:cxn ang="0">
                <a:pos x="connsiteX10659" y="connsiteY10659"/>
              </a:cxn>
              <a:cxn ang="0">
                <a:pos x="connsiteX10660" y="connsiteY10660"/>
              </a:cxn>
              <a:cxn ang="0">
                <a:pos x="connsiteX10661" y="connsiteY10661"/>
              </a:cxn>
              <a:cxn ang="0">
                <a:pos x="connsiteX10662" y="connsiteY10662"/>
              </a:cxn>
              <a:cxn ang="0">
                <a:pos x="connsiteX10663" y="connsiteY10663"/>
              </a:cxn>
              <a:cxn ang="0">
                <a:pos x="connsiteX10664" y="connsiteY10664"/>
              </a:cxn>
              <a:cxn ang="0">
                <a:pos x="connsiteX10665" y="connsiteY10665"/>
              </a:cxn>
              <a:cxn ang="0">
                <a:pos x="connsiteX10666" y="connsiteY10666"/>
              </a:cxn>
              <a:cxn ang="0">
                <a:pos x="connsiteX10667" y="connsiteY10667"/>
              </a:cxn>
              <a:cxn ang="0">
                <a:pos x="connsiteX10668" y="connsiteY10668"/>
              </a:cxn>
              <a:cxn ang="0">
                <a:pos x="connsiteX10669" y="connsiteY10669"/>
              </a:cxn>
              <a:cxn ang="0">
                <a:pos x="connsiteX10670" y="connsiteY10670"/>
              </a:cxn>
              <a:cxn ang="0">
                <a:pos x="connsiteX10671" y="connsiteY10671"/>
              </a:cxn>
              <a:cxn ang="0">
                <a:pos x="connsiteX10672" y="connsiteY10672"/>
              </a:cxn>
              <a:cxn ang="0">
                <a:pos x="connsiteX10673" y="connsiteY10673"/>
              </a:cxn>
              <a:cxn ang="0">
                <a:pos x="connsiteX10674" y="connsiteY10674"/>
              </a:cxn>
              <a:cxn ang="0">
                <a:pos x="connsiteX10675" y="connsiteY10675"/>
              </a:cxn>
              <a:cxn ang="0">
                <a:pos x="connsiteX10676" y="connsiteY10676"/>
              </a:cxn>
              <a:cxn ang="0">
                <a:pos x="connsiteX10677" y="connsiteY10677"/>
              </a:cxn>
              <a:cxn ang="0">
                <a:pos x="connsiteX10678" y="connsiteY10678"/>
              </a:cxn>
              <a:cxn ang="0">
                <a:pos x="connsiteX10679" y="connsiteY10679"/>
              </a:cxn>
              <a:cxn ang="0">
                <a:pos x="connsiteX10680" y="connsiteY10680"/>
              </a:cxn>
              <a:cxn ang="0">
                <a:pos x="connsiteX10681" y="connsiteY10681"/>
              </a:cxn>
              <a:cxn ang="0">
                <a:pos x="connsiteX10682" y="connsiteY10682"/>
              </a:cxn>
              <a:cxn ang="0">
                <a:pos x="connsiteX10683" y="connsiteY10683"/>
              </a:cxn>
              <a:cxn ang="0">
                <a:pos x="connsiteX10684" y="connsiteY10684"/>
              </a:cxn>
              <a:cxn ang="0">
                <a:pos x="connsiteX10685" y="connsiteY10685"/>
              </a:cxn>
              <a:cxn ang="0">
                <a:pos x="connsiteX10686" y="connsiteY10686"/>
              </a:cxn>
              <a:cxn ang="0">
                <a:pos x="connsiteX10687" y="connsiteY10687"/>
              </a:cxn>
              <a:cxn ang="0">
                <a:pos x="connsiteX10688" y="connsiteY10688"/>
              </a:cxn>
              <a:cxn ang="0">
                <a:pos x="connsiteX10689" y="connsiteY10689"/>
              </a:cxn>
              <a:cxn ang="0">
                <a:pos x="connsiteX10690" y="connsiteY10690"/>
              </a:cxn>
              <a:cxn ang="0">
                <a:pos x="connsiteX10691" y="connsiteY10691"/>
              </a:cxn>
              <a:cxn ang="0">
                <a:pos x="connsiteX10692" y="connsiteY10692"/>
              </a:cxn>
              <a:cxn ang="0">
                <a:pos x="connsiteX10693" y="connsiteY10693"/>
              </a:cxn>
              <a:cxn ang="0">
                <a:pos x="connsiteX10694" y="connsiteY10694"/>
              </a:cxn>
              <a:cxn ang="0">
                <a:pos x="connsiteX10695" y="connsiteY10695"/>
              </a:cxn>
              <a:cxn ang="0">
                <a:pos x="connsiteX10696" y="connsiteY10696"/>
              </a:cxn>
              <a:cxn ang="0">
                <a:pos x="connsiteX10697" y="connsiteY10697"/>
              </a:cxn>
              <a:cxn ang="0">
                <a:pos x="connsiteX10698" y="connsiteY10698"/>
              </a:cxn>
              <a:cxn ang="0">
                <a:pos x="connsiteX10699" y="connsiteY10699"/>
              </a:cxn>
              <a:cxn ang="0">
                <a:pos x="connsiteX10700" y="connsiteY10700"/>
              </a:cxn>
              <a:cxn ang="0">
                <a:pos x="connsiteX10701" y="connsiteY10701"/>
              </a:cxn>
              <a:cxn ang="0">
                <a:pos x="connsiteX10702" y="connsiteY10702"/>
              </a:cxn>
              <a:cxn ang="0">
                <a:pos x="connsiteX10703" y="connsiteY10703"/>
              </a:cxn>
              <a:cxn ang="0">
                <a:pos x="connsiteX10704" y="connsiteY10704"/>
              </a:cxn>
              <a:cxn ang="0">
                <a:pos x="connsiteX10705" y="connsiteY10705"/>
              </a:cxn>
              <a:cxn ang="0">
                <a:pos x="connsiteX10706" y="connsiteY10706"/>
              </a:cxn>
              <a:cxn ang="0">
                <a:pos x="connsiteX10707" y="connsiteY10707"/>
              </a:cxn>
              <a:cxn ang="0">
                <a:pos x="connsiteX10708" y="connsiteY10708"/>
              </a:cxn>
              <a:cxn ang="0">
                <a:pos x="connsiteX10709" y="connsiteY10709"/>
              </a:cxn>
              <a:cxn ang="0">
                <a:pos x="connsiteX10710" y="connsiteY10710"/>
              </a:cxn>
              <a:cxn ang="0">
                <a:pos x="connsiteX10711" y="connsiteY10711"/>
              </a:cxn>
              <a:cxn ang="0">
                <a:pos x="connsiteX10712" y="connsiteY10712"/>
              </a:cxn>
              <a:cxn ang="0">
                <a:pos x="connsiteX10713" y="connsiteY10713"/>
              </a:cxn>
              <a:cxn ang="0">
                <a:pos x="connsiteX10714" y="connsiteY10714"/>
              </a:cxn>
              <a:cxn ang="0">
                <a:pos x="connsiteX10715" y="connsiteY10715"/>
              </a:cxn>
              <a:cxn ang="0">
                <a:pos x="connsiteX10716" y="connsiteY10716"/>
              </a:cxn>
              <a:cxn ang="0">
                <a:pos x="connsiteX10717" y="connsiteY10717"/>
              </a:cxn>
              <a:cxn ang="0">
                <a:pos x="connsiteX10718" y="connsiteY10718"/>
              </a:cxn>
              <a:cxn ang="0">
                <a:pos x="connsiteX10719" y="connsiteY10719"/>
              </a:cxn>
              <a:cxn ang="0">
                <a:pos x="connsiteX10720" y="connsiteY10720"/>
              </a:cxn>
              <a:cxn ang="0">
                <a:pos x="connsiteX10721" y="connsiteY10721"/>
              </a:cxn>
              <a:cxn ang="0">
                <a:pos x="connsiteX10722" y="connsiteY10722"/>
              </a:cxn>
              <a:cxn ang="0">
                <a:pos x="connsiteX10723" y="connsiteY10723"/>
              </a:cxn>
              <a:cxn ang="0">
                <a:pos x="connsiteX10724" y="connsiteY10724"/>
              </a:cxn>
              <a:cxn ang="0">
                <a:pos x="connsiteX10725" y="connsiteY10725"/>
              </a:cxn>
              <a:cxn ang="0">
                <a:pos x="connsiteX10726" y="connsiteY10726"/>
              </a:cxn>
              <a:cxn ang="0">
                <a:pos x="connsiteX10727" y="connsiteY10727"/>
              </a:cxn>
              <a:cxn ang="0">
                <a:pos x="connsiteX10728" y="connsiteY10728"/>
              </a:cxn>
              <a:cxn ang="0">
                <a:pos x="connsiteX10729" y="connsiteY10729"/>
              </a:cxn>
              <a:cxn ang="0">
                <a:pos x="connsiteX10730" y="connsiteY10730"/>
              </a:cxn>
              <a:cxn ang="0">
                <a:pos x="connsiteX10731" y="connsiteY10731"/>
              </a:cxn>
              <a:cxn ang="0">
                <a:pos x="connsiteX10732" y="connsiteY10732"/>
              </a:cxn>
              <a:cxn ang="0">
                <a:pos x="connsiteX10733" y="connsiteY10733"/>
              </a:cxn>
              <a:cxn ang="0">
                <a:pos x="connsiteX10734" y="connsiteY10734"/>
              </a:cxn>
              <a:cxn ang="0">
                <a:pos x="connsiteX10735" y="connsiteY10735"/>
              </a:cxn>
              <a:cxn ang="0">
                <a:pos x="connsiteX10736" y="connsiteY10736"/>
              </a:cxn>
              <a:cxn ang="0">
                <a:pos x="connsiteX10737" y="connsiteY10737"/>
              </a:cxn>
              <a:cxn ang="0">
                <a:pos x="connsiteX10738" y="connsiteY10738"/>
              </a:cxn>
              <a:cxn ang="0">
                <a:pos x="connsiteX10739" y="connsiteY10739"/>
              </a:cxn>
              <a:cxn ang="0">
                <a:pos x="connsiteX10740" y="connsiteY10740"/>
              </a:cxn>
              <a:cxn ang="0">
                <a:pos x="connsiteX10741" y="connsiteY10741"/>
              </a:cxn>
              <a:cxn ang="0">
                <a:pos x="connsiteX10742" y="connsiteY10742"/>
              </a:cxn>
              <a:cxn ang="0">
                <a:pos x="connsiteX10743" y="connsiteY10743"/>
              </a:cxn>
              <a:cxn ang="0">
                <a:pos x="connsiteX10744" y="connsiteY10744"/>
              </a:cxn>
              <a:cxn ang="0">
                <a:pos x="connsiteX10745" y="connsiteY10745"/>
              </a:cxn>
              <a:cxn ang="0">
                <a:pos x="connsiteX10746" y="connsiteY10746"/>
              </a:cxn>
              <a:cxn ang="0">
                <a:pos x="connsiteX10747" y="connsiteY10747"/>
              </a:cxn>
              <a:cxn ang="0">
                <a:pos x="connsiteX10748" y="connsiteY10748"/>
              </a:cxn>
              <a:cxn ang="0">
                <a:pos x="connsiteX10749" y="connsiteY10749"/>
              </a:cxn>
              <a:cxn ang="0">
                <a:pos x="connsiteX10750" y="connsiteY10750"/>
              </a:cxn>
              <a:cxn ang="0">
                <a:pos x="connsiteX10751" y="connsiteY10751"/>
              </a:cxn>
              <a:cxn ang="0">
                <a:pos x="connsiteX10752" y="connsiteY10752"/>
              </a:cxn>
              <a:cxn ang="0">
                <a:pos x="connsiteX10753" y="connsiteY10753"/>
              </a:cxn>
              <a:cxn ang="0">
                <a:pos x="connsiteX10754" y="connsiteY10754"/>
              </a:cxn>
              <a:cxn ang="0">
                <a:pos x="connsiteX10755" y="connsiteY10755"/>
              </a:cxn>
              <a:cxn ang="0">
                <a:pos x="connsiteX10756" y="connsiteY10756"/>
              </a:cxn>
              <a:cxn ang="0">
                <a:pos x="connsiteX10757" y="connsiteY10757"/>
              </a:cxn>
              <a:cxn ang="0">
                <a:pos x="connsiteX10758" y="connsiteY10758"/>
              </a:cxn>
              <a:cxn ang="0">
                <a:pos x="connsiteX10759" y="connsiteY10759"/>
              </a:cxn>
              <a:cxn ang="0">
                <a:pos x="connsiteX10760" y="connsiteY10760"/>
              </a:cxn>
              <a:cxn ang="0">
                <a:pos x="connsiteX10761" y="connsiteY10761"/>
              </a:cxn>
              <a:cxn ang="0">
                <a:pos x="connsiteX10762" y="connsiteY10762"/>
              </a:cxn>
              <a:cxn ang="0">
                <a:pos x="connsiteX10763" y="connsiteY10763"/>
              </a:cxn>
              <a:cxn ang="0">
                <a:pos x="connsiteX10764" y="connsiteY10764"/>
              </a:cxn>
              <a:cxn ang="0">
                <a:pos x="connsiteX10765" y="connsiteY10765"/>
              </a:cxn>
              <a:cxn ang="0">
                <a:pos x="connsiteX10766" y="connsiteY10766"/>
              </a:cxn>
              <a:cxn ang="0">
                <a:pos x="connsiteX10767" y="connsiteY10767"/>
              </a:cxn>
              <a:cxn ang="0">
                <a:pos x="connsiteX10768" y="connsiteY10768"/>
              </a:cxn>
              <a:cxn ang="0">
                <a:pos x="connsiteX10769" y="connsiteY10769"/>
              </a:cxn>
              <a:cxn ang="0">
                <a:pos x="connsiteX10770" y="connsiteY10770"/>
              </a:cxn>
              <a:cxn ang="0">
                <a:pos x="connsiteX10771" y="connsiteY10771"/>
              </a:cxn>
              <a:cxn ang="0">
                <a:pos x="connsiteX10772" y="connsiteY10772"/>
              </a:cxn>
              <a:cxn ang="0">
                <a:pos x="connsiteX10773" y="connsiteY10773"/>
              </a:cxn>
              <a:cxn ang="0">
                <a:pos x="connsiteX10774" y="connsiteY10774"/>
              </a:cxn>
              <a:cxn ang="0">
                <a:pos x="connsiteX10775" y="connsiteY10775"/>
              </a:cxn>
              <a:cxn ang="0">
                <a:pos x="connsiteX10776" y="connsiteY10776"/>
              </a:cxn>
              <a:cxn ang="0">
                <a:pos x="connsiteX10777" y="connsiteY10777"/>
              </a:cxn>
              <a:cxn ang="0">
                <a:pos x="connsiteX10778" y="connsiteY10778"/>
              </a:cxn>
              <a:cxn ang="0">
                <a:pos x="connsiteX10779" y="connsiteY10779"/>
              </a:cxn>
              <a:cxn ang="0">
                <a:pos x="connsiteX10780" y="connsiteY10780"/>
              </a:cxn>
              <a:cxn ang="0">
                <a:pos x="connsiteX10781" y="connsiteY10781"/>
              </a:cxn>
              <a:cxn ang="0">
                <a:pos x="connsiteX10782" y="connsiteY10782"/>
              </a:cxn>
              <a:cxn ang="0">
                <a:pos x="connsiteX10783" y="connsiteY10783"/>
              </a:cxn>
              <a:cxn ang="0">
                <a:pos x="connsiteX10784" y="connsiteY10784"/>
              </a:cxn>
              <a:cxn ang="0">
                <a:pos x="connsiteX10785" y="connsiteY10785"/>
              </a:cxn>
              <a:cxn ang="0">
                <a:pos x="connsiteX10786" y="connsiteY10786"/>
              </a:cxn>
              <a:cxn ang="0">
                <a:pos x="connsiteX10787" y="connsiteY10787"/>
              </a:cxn>
              <a:cxn ang="0">
                <a:pos x="connsiteX10788" y="connsiteY10788"/>
              </a:cxn>
              <a:cxn ang="0">
                <a:pos x="connsiteX10789" y="connsiteY10789"/>
              </a:cxn>
              <a:cxn ang="0">
                <a:pos x="connsiteX10790" y="connsiteY10790"/>
              </a:cxn>
              <a:cxn ang="0">
                <a:pos x="connsiteX10791" y="connsiteY10791"/>
              </a:cxn>
              <a:cxn ang="0">
                <a:pos x="connsiteX10792" y="connsiteY10792"/>
              </a:cxn>
              <a:cxn ang="0">
                <a:pos x="connsiteX10793" y="connsiteY10793"/>
              </a:cxn>
              <a:cxn ang="0">
                <a:pos x="connsiteX10794" y="connsiteY10794"/>
              </a:cxn>
              <a:cxn ang="0">
                <a:pos x="connsiteX10795" y="connsiteY10795"/>
              </a:cxn>
              <a:cxn ang="0">
                <a:pos x="connsiteX10796" y="connsiteY10796"/>
              </a:cxn>
              <a:cxn ang="0">
                <a:pos x="connsiteX10797" y="connsiteY10797"/>
              </a:cxn>
              <a:cxn ang="0">
                <a:pos x="connsiteX10798" y="connsiteY10798"/>
              </a:cxn>
              <a:cxn ang="0">
                <a:pos x="connsiteX10799" y="connsiteY10799"/>
              </a:cxn>
              <a:cxn ang="0">
                <a:pos x="connsiteX10800" y="connsiteY10800"/>
              </a:cxn>
              <a:cxn ang="0">
                <a:pos x="connsiteX10801" y="connsiteY10801"/>
              </a:cxn>
              <a:cxn ang="0">
                <a:pos x="connsiteX10802" y="connsiteY10802"/>
              </a:cxn>
              <a:cxn ang="0">
                <a:pos x="connsiteX10803" y="connsiteY10803"/>
              </a:cxn>
              <a:cxn ang="0">
                <a:pos x="connsiteX10804" y="connsiteY10804"/>
              </a:cxn>
              <a:cxn ang="0">
                <a:pos x="connsiteX10805" y="connsiteY10805"/>
              </a:cxn>
              <a:cxn ang="0">
                <a:pos x="connsiteX10806" y="connsiteY10806"/>
              </a:cxn>
              <a:cxn ang="0">
                <a:pos x="connsiteX10807" y="connsiteY10807"/>
              </a:cxn>
              <a:cxn ang="0">
                <a:pos x="connsiteX10808" y="connsiteY10808"/>
              </a:cxn>
              <a:cxn ang="0">
                <a:pos x="connsiteX10809" y="connsiteY10809"/>
              </a:cxn>
              <a:cxn ang="0">
                <a:pos x="connsiteX10810" y="connsiteY10810"/>
              </a:cxn>
              <a:cxn ang="0">
                <a:pos x="connsiteX10811" y="connsiteY10811"/>
              </a:cxn>
              <a:cxn ang="0">
                <a:pos x="connsiteX10812" y="connsiteY10812"/>
              </a:cxn>
              <a:cxn ang="0">
                <a:pos x="connsiteX10813" y="connsiteY10813"/>
              </a:cxn>
              <a:cxn ang="0">
                <a:pos x="connsiteX10814" y="connsiteY10814"/>
              </a:cxn>
              <a:cxn ang="0">
                <a:pos x="connsiteX10815" y="connsiteY10815"/>
              </a:cxn>
              <a:cxn ang="0">
                <a:pos x="connsiteX10816" y="connsiteY10816"/>
              </a:cxn>
              <a:cxn ang="0">
                <a:pos x="connsiteX10817" y="connsiteY10817"/>
              </a:cxn>
              <a:cxn ang="0">
                <a:pos x="connsiteX10818" y="connsiteY10818"/>
              </a:cxn>
              <a:cxn ang="0">
                <a:pos x="connsiteX10819" y="connsiteY10819"/>
              </a:cxn>
              <a:cxn ang="0">
                <a:pos x="connsiteX10820" y="connsiteY10820"/>
              </a:cxn>
              <a:cxn ang="0">
                <a:pos x="connsiteX10821" y="connsiteY10821"/>
              </a:cxn>
              <a:cxn ang="0">
                <a:pos x="connsiteX10822" y="connsiteY10822"/>
              </a:cxn>
              <a:cxn ang="0">
                <a:pos x="connsiteX10823" y="connsiteY10823"/>
              </a:cxn>
              <a:cxn ang="0">
                <a:pos x="connsiteX10824" y="connsiteY10824"/>
              </a:cxn>
              <a:cxn ang="0">
                <a:pos x="connsiteX10825" y="connsiteY10825"/>
              </a:cxn>
              <a:cxn ang="0">
                <a:pos x="connsiteX10826" y="connsiteY10826"/>
              </a:cxn>
              <a:cxn ang="0">
                <a:pos x="connsiteX10827" y="connsiteY10827"/>
              </a:cxn>
              <a:cxn ang="0">
                <a:pos x="connsiteX10828" y="connsiteY10828"/>
              </a:cxn>
              <a:cxn ang="0">
                <a:pos x="connsiteX10829" y="connsiteY10829"/>
              </a:cxn>
              <a:cxn ang="0">
                <a:pos x="connsiteX10830" y="connsiteY10830"/>
              </a:cxn>
              <a:cxn ang="0">
                <a:pos x="connsiteX10831" y="connsiteY10831"/>
              </a:cxn>
              <a:cxn ang="0">
                <a:pos x="connsiteX10832" y="connsiteY10832"/>
              </a:cxn>
              <a:cxn ang="0">
                <a:pos x="connsiteX10833" y="connsiteY10833"/>
              </a:cxn>
              <a:cxn ang="0">
                <a:pos x="connsiteX10834" y="connsiteY10834"/>
              </a:cxn>
              <a:cxn ang="0">
                <a:pos x="connsiteX10835" y="connsiteY10835"/>
              </a:cxn>
              <a:cxn ang="0">
                <a:pos x="connsiteX10836" y="connsiteY10836"/>
              </a:cxn>
              <a:cxn ang="0">
                <a:pos x="connsiteX10837" y="connsiteY10837"/>
              </a:cxn>
              <a:cxn ang="0">
                <a:pos x="connsiteX10838" y="connsiteY10838"/>
              </a:cxn>
              <a:cxn ang="0">
                <a:pos x="connsiteX10839" y="connsiteY10839"/>
              </a:cxn>
              <a:cxn ang="0">
                <a:pos x="connsiteX10840" y="connsiteY10840"/>
              </a:cxn>
              <a:cxn ang="0">
                <a:pos x="connsiteX10841" y="connsiteY10841"/>
              </a:cxn>
              <a:cxn ang="0">
                <a:pos x="connsiteX10842" y="connsiteY10842"/>
              </a:cxn>
              <a:cxn ang="0">
                <a:pos x="connsiteX10843" y="connsiteY10843"/>
              </a:cxn>
              <a:cxn ang="0">
                <a:pos x="connsiteX10844" y="connsiteY10844"/>
              </a:cxn>
              <a:cxn ang="0">
                <a:pos x="connsiteX10845" y="connsiteY10845"/>
              </a:cxn>
              <a:cxn ang="0">
                <a:pos x="connsiteX10846" y="connsiteY10846"/>
              </a:cxn>
              <a:cxn ang="0">
                <a:pos x="connsiteX10847" y="connsiteY10847"/>
              </a:cxn>
              <a:cxn ang="0">
                <a:pos x="connsiteX10848" y="connsiteY10848"/>
              </a:cxn>
              <a:cxn ang="0">
                <a:pos x="connsiteX10849" y="connsiteY10849"/>
              </a:cxn>
              <a:cxn ang="0">
                <a:pos x="connsiteX10850" y="connsiteY10850"/>
              </a:cxn>
              <a:cxn ang="0">
                <a:pos x="connsiteX10851" y="connsiteY10851"/>
              </a:cxn>
              <a:cxn ang="0">
                <a:pos x="connsiteX10852" y="connsiteY10852"/>
              </a:cxn>
              <a:cxn ang="0">
                <a:pos x="connsiteX10853" y="connsiteY10853"/>
              </a:cxn>
              <a:cxn ang="0">
                <a:pos x="connsiteX10854" y="connsiteY10854"/>
              </a:cxn>
              <a:cxn ang="0">
                <a:pos x="connsiteX10855" y="connsiteY10855"/>
              </a:cxn>
              <a:cxn ang="0">
                <a:pos x="connsiteX10856" y="connsiteY10856"/>
              </a:cxn>
              <a:cxn ang="0">
                <a:pos x="connsiteX10857" y="connsiteY10857"/>
              </a:cxn>
              <a:cxn ang="0">
                <a:pos x="connsiteX10858" y="connsiteY10858"/>
              </a:cxn>
              <a:cxn ang="0">
                <a:pos x="connsiteX10859" y="connsiteY10859"/>
              </a:cxn>
              <a:cxn ang="0">
                <a:pos x="connsiteX10860" y="connsiteY10860"/>
              </a:cxn>
              <a:cxn ang="0">
                <a:pos x="connsiteX10861" y="connsiteY10861"/>
              </a:cxn>
              <a:cxn ang="0">
                <a:pos x="connsiteX10862" y="connsiteY10862"/>
              </a:cxn>
              <a:cxn ang="0">
                <a:pos x="connsiteX10863" y="connsiteY10863"/>
              </a:cxn>
              <a:cxn ang="0">
                <a:pos x="connsiteX10864" y="connsiteY10864"/>
              </a:cxn>
              <a:cxn ang="0">
                <a:pos x="connsiteX10865" y="connsiteY10865"/>
              </a:cxn>
              <a:cxn ang="0">
                <a:pos x="connsiteX10866" y="connsiteY10866"/>
              </a:cxn>
              <a:cxn ang="0">
                <a:pos x="connsiteX10867" y="connsiteY10867"/>
              </a:cxn>
              <a:cxn ang="0">
                <a:pos x="connsiteX10868" y="connsiteY10868"/>
              </a:cxn>
              <a:cxn ang="0">
                <a:pos x="connsiteX10869" y="connsiteY10869"/>
              </a:cxn>
              <a:cxn ang="0">
                <a:pos x="connsiteX10870" y="connsiteY10870"/>
              </a:cxn>
              <a:cxn ang="0">
                <a:pos x="connsiteX10871" y="connsiteY10871"/>
              </a:cxn>
              <a:cxn ang="0">
                <a:pos x="connsiteX10872" y="connsiteY10872"/>
              </a:cxn>
              <a:cxn ang="0">
                <a:pos x="connsiteX10873" y="connsiteY10873"/>
              </a:cxn>
              <a:cxn ang="0">
                <a:pos x="connsiteX10874" y="connsiteY10874"/>
              </a:cxn>
              <a:cxn ang="0">
                <a:pos x="connsiteX10875" y="connsiteY10875"/>
              </a:cxn>
              <a:cxn ang="0">
                <a:pos x="connsiteX10876" y="connsiteY10876"/>
              </a:cxn>
              <a:cxn ang="0">
                <a:pos x="connsiteX10877" y="connsiteY10877"/>
              </a:cxn>
              <a:cxn ang="0">
                <a:pos x="connsiteX10878" y="connsiteY10878"/>
              </a:cxn>
              <a:cxn ang="0">
                <a:pos x="connsiteX10879" y="connsiteY10879"/>
              </a:cxn>
              <a:cxn ang="0">
                <a:pos x="connsiteX10880" y="connsiteY10880"/>
              </a:cxn>
              <a:cxn ang="0">
                <a:pos x="connsiteX10881" y="connsiteY10881"/>
              </a:cxn>
              <a:cxn ang="0">
                <a:pos x="connsiteX10882" y="connsiteY10882"/>
              </a:cxn>
              <a:cxn ang="0">
                <a:pos x="connsiteX10883" y="connsiteY10883"/>
              </a:cxn>
              <a:cxn ang="0">
                <a:pos x="connsiteX10884" y="connsiteY10884"/>
              </a:cxn>
              <a:cxn ang="0">
                <a:pos x="connsiteX10885" y="connsiteY10885"/>
              </a:cxn>
              <a:cxn ang="0">
                <a:pos x="connsiteX10886" y="connsiteY10886"/>
              </a:cxn>
              <a:cxn ang="0">
                <a:pos x="connsiteX10887" y="connsiteY10887"/>
              </a:cxn>
              <a:cxn ang="0">
                <a:pos x="connsiteX10888" y="connsiteY10888"/>
              </a:cxn>
              <a:cxn ang="0">
                <a:pos x="connsiteX10889" y="connsiteY10889"/>
              </a:cxn>
              <a:cxn ang="0">
                <a:pos x="connsiteX10890" y="connsiteY10890"/>
              </a:cxn>
              <a:cxn ang="0">
                <a:pos x="connsiteX10891" y="connsiteY10891"/>
              </a:cxn>
              <a:cxn ang="0">
                <a:pos x="connsiteX10892" y="connsiteY10892"/>
              </a:cxn>
              <a:cxn ang="0">
                <a:pos x="connsiteX10893" y="connsiteY10893"/>
              </a:cxn>
              <a:cxn ang="0">
                <a:pos x="connsiteX10894" y="connsiteY10894"/>
              </a:cxn>
              <a:cxn ang="0">
                <a:pos x="connsiteX10895" y="connsiteY10895"/>
              </a:cxn>
              <a:cxn ang="0">
                <a:pos x="connsiteX10896" y="connsiteY10896"/>
              </a:cxn>
              <a:cxn ang="0">
                <a:pos x="connsiteX10897" y="connsiteY10897"/>
              </a:cxn>
              <a:cxn ang="0">
                <a:pos x="connsiteX10898" y="connsiteY10898"/>
              </a:cxn>
              <a:cxn ang="0">
                <a:pos x="connsiteX10899" y="connsiteY10899"/>
              </a:cxn>
              <a:cxn ang="0">
                <a:pos x="connsiteX10900" y="connsiteY10900"/>
              </a:cxn>
              <a:cxn ang="0">
                <a:pos x="connsiteX10901" y="connsiteY10901"/>
              </a:cxn>
              <a:cxn ang="0">
                <a:pos x="connsiteX10902" y="connsiteY10902"/>
              </a:cxn>
              <a:cxn ang="0">
                <a:pos x="connsiteX10903" y="connsiteY10903"/>
              </a:cxn>
              <a:cxn ang="0">
                <a:pos x="connsiteX10904" y="connsiteY10904"/>
              </a:cxn>
              <a:cxn ang="0">
                <a:pos x="connsiteX10905" y="connsiteY10905"/>
              </a:cxn>
              <a:cxn ang="0">
                <a:pos x="connsiteX10906" y="connsiteY10906"/>
              </a:cxn>
              <a:cxn ang="0">
                <a:pos x="connsiteX10907" y="connsiteY10907"/>
              </a:cxn>
              <a:cxn ang="0">
                <a:pos x="connsiteX10908" y="connsiteY10908"/>
              </a:cxn>
              <a:cxn ang="0">
                <a:pos x="connsiteX10909" y="connsiteY10909"/>
              </a:cxn>
              <a:cxn ang="0">
                <a:pos x="connsiteX10910" y="connsiteY10910"/>
              </a:cxn>
              <a:cxn ang="0">
                <a:pos x="connsiteX10911" y="connsiteY10911"/>
              </a:cxn>
              <a:cxn ang="0">
                <a:pos x="connsiteX10912" y="connsiteY10912"/>
              </a:cxn>
              <a:cxn ang="0">
                <a:pos x="connsiteX10913" y="connsiteY10913"/>
              </a:cxn>
              <a:cxn ang="0">
                <a:pos x="connsiteX10914" y="connsiteY10914"/>
              </a:cxn>
              <a:cxn ang="0">
                <a:pos x="connsiteX10915" y="connsiteY10915"/>
              </a:cxn>
              <a:cxn ang="0">
                <a:pos x="connsiteX10916" y="connsiteY10916"/>
              </a:cxn>
              <a:cxn ang="0">
                <a:pos x="connsiteX10917" y="connsiteY10917"/>
              </a:cxn>
              <a:cxn ang="0">
                <a:pos x="connsiteX10918" y="connsiteY10918"/>
              </a:cxn>
              <a:cxn ang="0">
                <a:pos x="connsiteX10919" y="connsiteY10919"/>
              </a:cxn>
              <a:cxn ang="0">
                <a:pos x="connsiteX10920" y="connsiteY10920"/>
              </a:cxn>
              <a:cxn ang="0">
                <a:pos x="connsiteX10921" y="connsiteY10921"/>
              </a:cxn>
              <a:cxn ang="0">
                <a:pos x="connsiteX10922" y="connsiteY10922"/>
              </a:cxn>
              <a:cxn ang="0">
                <a:pos x="connsiteX10923" y="connsiteY10923"/>
              </a:cxn>
              <a:cxn ang="0">
                <a:pos x="connsiteX10924" y="connsiteY10924"/>
              </a:cxn>
              <a:cxn ang="0">
                <a:pos x="connsiteX10925" y="connsiteY10925"/>
              </a:cxn>
              <a:cxn ang="0">
                <a:pos x="connsiteX10926" y="connsiteY10926"/>
              </a:cxn>
              <a:cxn ang="0">
                <a:pos x="connsiteX10927" y="connsiteY10927"/>
              </a:cxn>
              <a:cxn ang="0">
                <a:pos x="connsiteX10928" y="connsiteY10928"/>
              </a:cxn>
              <a:cxn ang="0">
                <a:pos x="connsiteX10929" y="connsiteY10929"/>
              </a:cxn>
              <a:cxn ang="0">
                <a:pos x="connsiteX10930" y="connsiteY10930"/>
              </a:cxn>
              <a:cxn ang="0">
                <a:pos x="connsiteX10931" y="connsiteY10931"/>
              </a:cxn>
              <a:cxn ang="0">
                <a:pos x="connsiteX10932" y="connsiteY10932"/>
              </a:cxn>
              <a:cxn ang="0">
                <a:pos x="connsiteX10933" y="connsiteY10933"/>
              </a:cxn>
              <a:cxn ang="0">
                <a:pos x="connsiteX10934" y="connsiteY10934"/>
              </a:cxn>
              <a:cxn ang="0">
                <a:pos x="connsiteX10935" y="connsiteY10935"/>
              </a:cxn>
              <a:cxn ang="0">
                <a:pos x="connsiteX10936" y="connsiteY10936"/>
              </a:cxn>
              <a:cxn ang="0">
                <a:pos x="connsiteX10937" y="connsiteY10937"/>
              </a:cxn>
              <a:cxn ang="0">
                <a:pos x="connsiteX10938" y="connsiteY10938"/>
              </a:cxn>
              <a:cxn ang="0">
                <a:pos x="connsiteX10939" y="connsiteY10939"/>
              </a:cxn>
              <a:cxn ang="0">
                <a:pos x="connsiteX10940" y="connsiteY10940"/>
              </a:cxn>
              <a:cxn ang="0">
                <a:pos x="connsiteX10941" y="connsiteY10941"/>
              </a:cxn>
              <a:cxn ang="0">
                <a:pos x="connsiteX10942" y="connsiteY10942"/>
              </a:cxn>
              <a:cxn ang="0">
                <a:pos x="connsiteX10943" y="connsiteY10943"/>
              </a:cxn>
              <a:cxn ang="0">
                <a:pos x="connsiteX10944" y="connsiteY10944"/>
              </a:cxn>
              <a:cxn ang="0">
                <a:pos x="connsiteX10945" y="connsiteY10945"/>
              </a:cxn>
              <a:cxn ang="0">
                <a:pos x="connsiteX10946" y="connsiteY10946"/>
              </a:cxn>
              <a:cxn ang="0">
                <a:pos x="connsiteX10947" y="connsiteY10947"/>
              </a:cxn>
              <a:cxn ang="0">
                <a:pos x="connsiteX10948" y="connsiteY10948"/>
              </a:cxn>
              <a:cxn ang="0">
                <a:pos x="connsiteX10949" y="connsiteY10949"/>
              </a:cxn>
              <a:cxn ang="0">
                <a:pos x="connsiteX10950" y="connsiteY10950"/>
              </a:cxn>
              <a:cxn ang="0">
                <a:pos x="connsiteX10951" y="connsiteY10951"/>
              </a:cxn>
              <a:cxn ang="0">
                <a:pos x="connsiteX10952" y="connsiteY10952"/>
              </a:cxn>
              <a:cxn ang="0">
                <a:pos x="connsiteX10953" y="connsiteY10953"/>
              </a:cxn>
              <a:cxn ang="0">
                <a:pos x="connsiteX10954" y="connsiteY10954"/>
              </a:cxn>
              <a:cxn ang="0">
                <a:pos x="connsiteX10955" y="connsiteY10955"/>
              </a:cxn>
              <a:cxn ang="0">
                <a:pos x="connsiteX10956" y="connsiteY10956"/>
              </a:cxn>
              <a:cxn ang="0">
                <a:pos x="connsiteX10957" y="connsiteY10957"/>
              </a:cxn>
              <a:cxn ang="0">
                <a:pos x="connsiteX10958" y="connsiteY10958"/>
              </a:cxn>
              <a:cxn ang="0">
                <a:pos x="connsiteX10959" y="connsiteY10959"/>
              </a:cxn>
              <a:cxn ang="0">
                <a:pos x="connsiteX10960" y="connsiteY10960"/>
              </a:cxn>
              <a:cxn ang="0">
                <a:pos x="connsiteX10961" y="connsiteY10961"/>
              </a:cxn>
              <a:cxn ang="0">
                <a:pos x="connsiteX10962" y="connsiteY10962"/>
              </a:cxn>
              <a:cxn ang="0">
                <a:pos x="connsiteX10963" y="connsiteY10963"/>
              </a:cxn>
              <a:cxn ang="0">
                <a:pos x="connsiteX10964" y="connsiteY10964"/>
              </a:cxn>
              <a:cxn ang="0">
                <a:pos x="connsiteX10965" y="connsiteY10965"/>
              </a:cxn>
              <a:cxn ang="0">
                <a:pos x="connsiteX10966" y="connsiteY10966"/>
              </a:cxn>
              <a:cxn ang="0">
                <a:pos x="connsiteX10967" y="connsiteY10967"/>
              </a:cxn>
              <a:cxn ang="0">
                <a:pos x="connsiteX10968" y="connsiteY10968"/>
              </a:cxn>
              <a:cxn ang="0">
                <a:pos x="connsiteX10969" y="connsiteY10969"/>
              </a:cxn>
              <a:cxn ang="0">
                <a:pos x="connsiteX10970" y="connsiteY10970"/>
              </a:cxn>
              <a:cxn ang="0">
                <a:pos x="connsiteX10971" y="connsiteY10971"/>
              </a:cxn>
              <a:cxn ang="0">
                <a:pos x="connsiteX10972" y="connsiteY10972"/>
              </a:cxn>
              <a:cxn ang="0">
                <a:pos x="connsiteX10973" y="connsiteY10973"/>
              </a:cxn>
              <a:cxn ang="0">
                <a:pos x="connsiteX10974" y="connsiteY10974"/>
              </a:cxn>
              <a:cxn ang="0">
                <a:pos x="connsiteX10975" y="connsiteY10975"/>
              </a:cxn>
              <a:cxn ang="0">
                <a:pos x="connsiteX10976" y="connsiteY10976"/>
              </a:cxn>
              <a:cxn ang="0">
                <a:pos x="connsiteX10977" y="connsiteY10977"/>
              </a:cxn>
              <a:cxn ang="0">
                <a:pos x="connsiteX10978" y="connsiteY10978"/>
              </a:cxn>
              <a:cxn ang="0">
                <a:pos x="connsiteX10979" y="connsiteY10979"/>
              </a:cxn>
              <a:cxn ang="0">
                <a:pos x="connsiteX10980" y="connsiteY10980"/>
              </a:cxn>
              <a:cxn ang="0">
                <a:pos x="connsiteX10981" y="connsiteY10981"/>
              </a:cxn>
              <a:cxn ang="0">
                <a:pos x="connsiteX10982" y="connsiteY10982"/>
              </a:cxn>
              <a:cxn ang="0">
                <a:pos x="connsiteX10983" y="connsiteY10983"/>
              </a:cxn>
              <a:cxn ang="0">
                <a:pos x="connsiteX10984" y="connsiteY10984"/>
              </a:cxn>
              <a:cxn ang="0">
                <a:pos x="connsiteX10985" y="connsiteY10985"/>
              </a:cxn>
              <a:cxn ang="0">
                <a:pos x="connsiteX10986" y="connsiteY10986"/>
              </a:cxn>
              <a:cxn ang="0">
                <a:pos x="connsiteX10987" y="connsiteY10987"/>
              </a:cxn>
              <a:cxn ang="0">
                <a:pos x="connsiteX10988" y="connsiteY10988"/>
              </a:cxn>
              <a:cxn ang="0">
                <a:pos x="connsiteX10989" y="connsiteY10989"/>
              </a:cxn>
              <a:cxn ang="0">
                <a:pos x="connsiteX10990" y="connsiteY10990"/>
              </a:cxn>
              <a:cxn ang="0">
                <a:pos x="connsiteX10991" y="connsiteY10991"/>
              </a:cxn>
              <a:cxn ang="0">
                <a:pos x="connsiteX10992" y="connsiteY10992"/>
              </a:cxn>
              <a:cxn ang="0">
                <a:pos x="connsiteX10993" y="connsiteY10993"/>
              </a:cxn>
              <a:cxn ang="0">
                <a:pos x="connsiteX10994" y="connsiteY10994"/>
              </a:cxn>
              <a:cxn ang="0">
                <a:pos x="connsiteX10995" y="connsiteY10995"/>
              </a:cxn>
              <a:cxn ang="0">
                <a:pos x="connsiteX10996" y="connsiteY10996"/>
              </a:cxn>
              <a:cxn ang="0">
                <a:pos x="connsiteX10997" y="connsiteY10997"/>
              </a:cxn>
              <a:cxn ang="0">
                <a:pos x="connsiteX10998" y="connsiteY10998"/>
              </a:cxn>
              <a:cxn ang="0">
                <a:pos x="connsiteX10999" y="connsiteY10999"/>
              </a:cxn>
              <a:cxn ang="0">
                <a:pos x="connsiteX11000" y="connsiteY11000"/>
              </a:cxn>
              <a:cxn ang="0">
                <a:pos x="connsiteX11001" y="connsiteY11001"/>
              </a:cxn>
              <a:cxn ang="0">
                <a:pos x="connsiteX11002" y="connsiteY11002"/>
              </a:cxn>
              <a:cxn ang="0">
                <a:pos x="connsiteX11003" y="connsiteY11003"/>
              </a:cxn>
              <a:cxn ang="0">
                <a:pos x="connsiteX11004" y="connsiteY11004"/>
              </a:cxn>
              <a:cxn ang="0">
                <a:pos x="connsiteX11005" y="connsiteY11005"/>
              </a:cxn>
              <a:cxn ang="0">
                <a:pos x="connsiteX11006" y="connsiteY11006"/>
              </a:cxn>
              <a:cxn ang="0">
                <a:pos x="connsiteX11007" y="connsiteY11007"/>
              </a:cxn>
              <a:cxn ang="0">
                <a:pos x="connsiteX11008" y="connsiteY11008"/>
              </a:cxn>
              <a:cxn ang="0">
                <a:pos x="connsiteX11009" y="connsiteY11009"/>
              </a:cxn>
              <a:cxn ang="0">
                <a:pos x="connsiteX11010" y="connsiteY11010"/>
              </a:cxn>
              <a:cxn ang="0">
                <a:pos x="connsiteX11011" y="connsiteY11011"/>
              </a:cxn>
              <a:cxn ang="0">
                <a:pos x="connsiteX11012" y="connsiteY11012"/>
              </a:cxn>
              <a:cxn ang="0">
                <a:pos x="connsiteX11013" y="connsiteY11013"/>
              </a:cxn>
              <a:cxn ang="0">
                <a:pos x="connsiteX11014" y="connsiteY11014"/>
              </a:cxn>
              <a:cxn ang="0">
                <a:pos x="connsiteX11015" y="connsiteY11015"/>
              </a:cxn>
              <a:cxn ang="0">
                <a:pos x="connsiteX11016" y="connsiteY11016"/>
              </a:cxn>
              <a:cxn ang="0">
                <a:pos x="connsiteX11017" y="connsiteY11017"/>
              </a:cxn>
              <a:cxn ang="0">
                <a:pos x="connsiteX11018" y="connsiteY11018"/>
              </a:cxn>
              <a:cxn ang="0">
                <a:pos x="connsiteX11019" y="connsiteY11019"/>
              </a:cxn>
              <a:cxn ang="0">
                <a:pos x="connsiteX11020" y="connsiteY11020"/>
              </a:cxn>
              <a:cxn ang="0">
                <a:pos x="connsiteX11021" y="connsiteY11021"/>
              </a:cxn>
              <a:cxn ang="0">
                <a:pos x="connsiteX11022" y="connsiteY11022"/>
              </a:cxn>
              <a:cxn ang="0">
                <a:pos x="connsiteX11023" y="connsiteY11023"/>
              </a:cxn>
              <a:cxn ang="0">
                <a:pos x="connsiteX11024" y="connsiteY11024"/>
              </a:cxn>
              <a:cxn ang="0">
                <a:pos x="connsiteX11025" y="connsiteY11025"/>
              </a:cxn>
              <a:cxn ang="0">
                <a:pos x="connsiteX11026" y="connsiteY11026"/>
              </a:cxn>
              <a:cxn ang="0">
                <a:pos x="connsiteX11027" y="connsiteY11027"/>
              </a:cxn>
              <a:cxn ang="0">
                <a:pos x="connsiteX11028" y="connsiteY11028"/>
              </a:cxn>
              <a:cxn ang="0">
                <a:pos x="connsiteX11029" y="connsiteY11029"/>
              </a:cxn>
              <a:cxn ang="0">
                <a:pos x="connsiteX11030" y="connsiteY11030"/>
              </a:cxn>
              <a:cxn ang="0">
                <a:pos x="connsiteX11031" y="connsiteY11031"/>
              </a:cxn>
              <a:cxn ang="0">
                <a:pos x="connsiteX11032" y="connsiteY11032"/>
              </a:cxn>
              <a:cxn ang="0">
                <a:pos x="connsiteX11033" y="connsiteY11033"/>
              </a:cxn>
              <a:cxn ang="0">
                <a:pos x="connsiteX11034" y="connsiteY11034"/>
              </a:cxn>
              <a:cxn ang="0">
                <a:pos x="connsiteX11035" y="connsiteY11035"/>
              </a:cxn>
              <a:cxn ang="0">
                <a:pos x="connsiteX11036" y="connsiteY11036"/>
              </a:cxn>
              <a:cxn ang="0">
                <a:pos x="connsiteX11037" y="connsiteY11037"/>
              </a:cxn>
              <a:cxn ang="0">
                <a:pos x="connsiteX11038" y="connsiteY11038"/>
              </a:cxn>
              <a:cxn ang="0">
                <a:pos x="connsiteX11039" y="connsiteY11039"/>
              </a:cxn>
              <a:cxn ang="0">
                <a:pos x="connsiteX11040" y="connsiteY11040"/>
              </a:cxn>
              <a:cxn ang="0">
                <a:pos x="connsiteX11041" y="connsiteY11041"/>
              </a:cxn>
              <a:cxn ang="0">
                <a:pos x="connsiteX11042" y="connsiteY11042"/>
              </a:cxn>
              <a:cxn ang="0">
                <a:pos x="connsiteX11043" y="connsiteY11043"/>
              </a:cxn>
              <a:cxn ang="0">
                <a:pos x="connsiteX11044" y="connsiteY11044"/>
              </a:cxn>
              <a:cxn ang="0">
                <a:pos x="connsiteX11045" y="connsiteY11045"/>
              </a:cxn>
              <a:cxn ang="0">
                <a:pos x="connsiteX11046" y="connsiteY11046"/>
              </a:cxn>
              <a:cxn ang="0">
                <a:pos x="connsiteX11047" y="connsiteY11047"/>
              </a:cxn>
              <a:cxn ang="0">
                <a:pos x="connsiteX11048" y="connsiteY11048"/>
              </a:cxn>
              <a:cxn ang="0">
                <a:pos x="connsiteX11049" y="connsiteY11049"/>
              </a:cxn>
              <a:cxn ang="0">
                <a:pos x="connsiteX11050" y="connsiteY11050"/>
              </a:cxn>
              <a:cxn ang="0">
                <a:pos x="connsiteX11051" y="connsiteY11051"/>
              </a:cxn>
              <a:cxn ang="0">
                <a:pos x="connsiteX11052" y="connsiteY11052"/>
              </a:cxn>
              <a:cxn ang="0">
                <a:pos x="connsiteX11053" y="connsiteY11053"/>
              </a:cxn>
              <a:cxn ang="0">
                <a:pos x="connsiteX11054" y="connsiteY11054"/>
              </a:cxn>
              <a:cxn ang="0">
                <a:pos x="connsiteX11055" y="connsiteY11055"/>
              </a:cxn>
              <a:cxn ang="0">
                <a:pos x="connsiteX11056" y="connsiteY11056"/>
              </a:cxn>
              <a:cxn ang="0">
                <a:pos x="connsiteX11057" y="connsiteY11057"/>
              </a:cxn>
              <a:cxn ang="0">
                <a:pos x="connsiteX11058" y="connsiteY11058"/>
              </a:cxn>
              <a:cxn ang="0">
                <a:pos x="connsiteX11059" y="connsiteY11059"/>
              </a:cxn>
              <a:cxn ang="0">
                <a:pos x="connsiteX11060" y="connsiteY11060"/>
              </a:cxn>
              <a:cxn ang="0">
                <a:pos x="connsiteX11061" y="connsiteY11061"/>
              </a:cxn>
              <a:cxn ang="0">
                <a:pos x="connsiteX11062" y="connsiteY11062"/>
              </a:cxn>
              <a:cxn ang="0">
                <a:pos x="connsiteX11063" y="connsiteY11063"/>
              </a:cxn>
              <a:cxn ang="0">
                <a:pos x="connsiteX11064" y="connsiteY11064"/>
              </a:cxn>
              <a:cxn ang="0">
                <a:pos x="connsiteX11065" y="connsiteY11065"/>
              </a:cxn>
              <a:cxn ang="0">
                <a:pos x="connsiteX11066" y="connsiteY11066"/>
              </a:cxn>
              <a:cxn ang="0">
                <a:pos x="connsiteX11067" y="connsiteY11067"/>
              </a:cxn>
              <a:cxn ang="0">
                <a:pos x="connsiteX11068" y="connsiteY11068"/>
              </a:cxn>
              <a:cxn ang="0">
                <a:pos x="connsiteX11069" y="connsiteY11069"/>
              </a:cxn>
              <a:cxn ang="0">
                <a:pos x="connsiteX11070" y="connsiteY11070"/>
              </a:cxn>
              <a:cxn ang="0">
                <a:pos x="connsiteX11071" y="connsiteY11071"/>
              </a:cxn>
              <a:cxn ang="0">
                <a:pos x="connsiteX11072" y="connsiteY11072"/>
              </a:cxn>
              <a:cxn ang="0">
                <a:pos x="connsiteX11073" y="connsiteY11073"/>
              </a:cxn>
              <a:cxn ang="0">
                <a:pos x="connsiteX11074" y="connsiteY11074"/>
              </a:cxn>
              <a:cxn ang="0">
                <a:pos x="connsiteX11075" y="connsiteY11075"/>
              </a:cxn>
              <a:cxn ang="0">
                <a:pos x="connsiteX11076" y="connsiteY11076"/>
              </a:cxn>
              <a:cxn ang="0">
                <a:pos x="connsiteX11077" y="connsiteY11077"/>
              </a:cxn>
              <a:cxn ang="0">
                <a:pos x="connsiteX11078" y="connsiteY11078"/>
              </a:cxn>
              <a:cxn ang="0">
                <a:pos x="connsiteX11079" y="connsiteY11079"/>
              </a:cxn>
              <a:cxn ang="0">
                <a:pos x="connsiteX11080" y="connsiteY11080"/>
              </a:cxn>
              <a:cxn ang="0">
                <a:pos x="connsiteX11081" y="connsiteY11081"/>
              </a:cxn>
              <a:cxn ang="0">
                <a:pos x="connsiteX11082" y="connsiteY11082"/>
              </a:cxn>
              <a:cxn ang="0">
                <a:pos x="connsiteX11083" y="connsiteY11083"/>
              </a:cxn>
              <a:cxn ang="0">
                <a:pos x="connsiteX11084" y="connsiteY11084"/>
              </a:cxn>
              <a:cxn ang="0">
                <a:pos x="connsiteX11085" y="connsiteY11085"/>
              </a:cxn>
              <a:cxn ang="0">
                <a:pos x="connsiteX11086" y="connsiteY11086"/>
              </a:cxn>
              <a:cxn ang="0">
                <a:pos x="connsiteX11087" y="connsiteY11087"/>
              </a:cxn>
              <a:cxn ang="0">
                <a:pos x="connsiteX11088" y="connsiteY11088"/>
              </a:cxn>
              <a:cxn ang="0">
                <a:pos x="connsiteX11089" y="connsiteY11089"/>
              </a:cxn>
              <a:cxn ang="0">
                <a:pos x="connsiteX11090" y="connsiteY11090"/>
              </a:cxn>
              <a:cxn ang="0">
                <a:pos x="connsiteX11091" y="connsiteY11091"/>
              </a:cxn>
              <a:cxn ang="0">
                <a:pos x="connsiteX11092" y="connsiteY11092"/>
              </a:cxn>
              <a:cxn ang="0">
                <a:pos x="connsiteX11093" y="connsiteY11093"/>
              </a:cxn>
              <a:cxn ang="0">
                <a:pos x="connsiteX11094" y="connsiteY11094"/>
              </a:cxn>
              <a:cxn ang="0">
                <a:pos x="connsiteX11095" y="connsiteY11095"/>
              </a:cxn>
              <a:cxn ang="0">
                <a:pos x="connsiteX11096" y="connsiteY11096"/>
              </a:cxn>
              <a:cxn ang="0">
                <a:pos x="connsiteX11097" y="connsiteY11097"/>
              </a:cxn>
              <a:cxn ang="0">
                <a:pos x="connsiteX11098" y="connsiteY11098"/>
              </a:cxn>
              <a:cxn ang="0">
                <a:pos x="connsiteX11099" y="connsiteY11099"/>
              </a:cxn>
              <a:cxn ang="0">
                <a:pos x="connsiteX11100" y="connsiteY11100"/>
              </a:cxn>
              <a:cxn ang="0">
                <a:pos x="connsiteX11101" y="connsiteY11101"/>
              </a:cxn>
              <a:cxn ang="0">
                <a:pos x="connsiteX11102" y="connsiteY11102"/>
              </a:cxn>
              <a:cxn ang="0">
                <a:pos x="connsiteX11103" y="connsiteY11103"/>
              </a:cxn>
              <a:cxn ang="0">
                <a:pos x="connsiteX11104" y="connsiteY11104"/>
              </a:cxn>
              <a:cxn ang="0">
                <a:pos x="connsiteX11105" y="connsiteY11105"/>
              </a:cxn>
              <a:cxn ang="0">
                <a:pos x="connsiteX11106" y="connsiteY11106"/>
              </a:cxn>
              <a:cxn ang="0">
                <a:pos x="connsiteX11107" y="connsiteY11107"/>
              </a:cxn>
              <a:cxn ang="0">
                <a:pos x="connsiteX11108" y="connsiteY11108"/>
              </a:cxn>
              <a:cxn ang="0">
                <a:pos x="connsiteX11109" y="connsiteY11109"/>
              </a:cxn>
              <a:cxn ang="0">
                <a:pos x="connsiteX11110" y="connsiteY11110"/>
              </a:cxn>
              <a:cxn ang="0">
                <a:pos x="connsiteX11111" y="connsiteY11111"/>
              </a:cxn>
              <a:cxn ang="0">
                <a:pos x="connsiteX11112" y="connsiteY11112"/>
              </a:cxn>
              <a:cxn ang="0">
                <a:pos x="connsiteX11113" y="connsiteY11113"/>
              </a:cxn>
              <a:cxn ang="0">
                <a:pos x="connsiteX11114" y="connsiteY11114"/>
              </a:cxn>
              <a:cxn ang="0">
                <a:pos x="connsiteX11115" y="connsiteY11115"/>
              </a:cxn>
              <a:cxn ang="0">
                <a:pos x="connsiteX11116" y="connsiteY11116"/>
              </a:cxn>
              <a:cxn ang="0">
                <a:pos x="connsiteX11117" y="connsiteY11117"/>
              </a:cxn>
              <a:cxn ang="0">
                <a:pos x="connsiteX11118" y="connsiteY11118"/>
              </a:cxn>
              <a:cxn ang="0">
                <a:pos x="connsiteX11119" y="connsiteY11119"/>
              </a:cxn>
              <a:cxn ang="0">
                <a:pos x="connsiteX11120" y="connsiteY11120"/>
              </a:cxn>
              <a:cxn ang="0">
                <a:pos x="connsiteX11121" y="connsiteY11121"/>
              </a:cxn>
              <a:cxn ang="0">
                <a:pos x="connsiteX11122" y="connsiteY11122"/>
              </a:cxn>
              <a:cxn ang="0">
                <a:pos x="connsiteX11123" y="connsiteY11123"/>
              </a:cxn>
              <a:cxn ang="0">
                <a:pos x="connsiteX11124" y="connsiteY11124"/>
              </a:cxn>
              <a:cxn ang="0">
                <a:pos x="connsiteX11125" y="connsiteY11125"/>
              </a:cxn>
              <a:cxn ang="0">
                <a:pos x="connsiteX11126" y="connsiteY11126"/>
              </a:cxn>
              <a:cxn ang="0">
                <a:pos x="connsiteX11127" y="connsiteY11127"/>
              </a:cxn>
              <a:cxn ang="0">
                <a:pos x="connsiteX11128" y="connsiteY11128"/>
              </a:cxn>
              <a:cxn ang="0">
                <a:pos x="connsiteX11129" y="connsiteY11129"/>
              </a:cxn>
              <a:cxn ang="0">
                <a:pos x="connsiteX11130" y="connsiteY11130"/>
              </a:cxn>
              <a:cxn ang="0">
                <a:pos x="connsiteX11131" y="connsiteY11131"/>
              </a:cxn>
              <a:cxn ang="0">
                <a:pos x="connsiteX11132" y="connsiteY11132"/>
              </a:cxn>
              <a:cxn ang="0">
                <a:pos x="connsiteX11133" y="connsiteY11133"/>
              </a:cxn>
              <a:cxn ang="0">
                <a:pos x="connsiteX11134" y="connsiteY11134"/>
              </a:cxn>
              <a:cxn ang="0">
                <a:pos x="connsiteX11135" y="connsiteY11135"/>
              </a:cxn>
              <a:cxn ang="0">
                <a:pos x="connsiteX11136" y="connsiteY11136"/>
              </a:cxn>
              <a:cxn ang="0">
                <a:pos x="connsiteX11137" y="connsiteY11137"/>
              </a:cxn>
              <a:cxn ang="0">
                <a:pos x="connsiteX11138" y="connsiteY11138"/>
              </a:cxn>
              <a:cxn ang="0">
                <a:pos x="connsiteX11139" y="connsiteY11139"/>
              </a:cxn>
              <a:cxn ang="0">
                <a:pos x="connsiteX11140" y="connsiteY11140"/>
              </a:cxn>
              <a:cxn ang="0">
                <a:pos x="connsiteX11141" y="connsiteY11141"/>
              </a:cxn>
              <a:cxn ang="0">
                <a:pos x="connsiteX11142" y="connsiteY11142"/>
              </a:cxn>
              <a:cxn ang="0">
                <a:pos x="connsiteX11143" y="connsiteY11143"/>
              </a:cxn>
              <a:cxn ang="0">
                <a:pos x="connsiteX11144" y="connsiteY11144"/>
              </a:cxn>
              <a:cxn ang="0">
                <a:pos x="connsiteX11145" y="connsiteY11145"/>
              </a:cxn>
              <a:cxn ang="0">
                <a:pos x="connsiteX11146" y="connsiteY11146"/>
              </a:cxn>
              <a:cxn ang="0">
                <a:pos x="connsiteX11147" y="connsiteY11147"/>
              </a:cxn>
              <a:cxn ang="0">
                <a:pos x="connsiteX11148" y="connsiteY11148"/>
              </a:cxn>
              <a:cxn ang="0">
                <a:pos x="connsiteX11149" y="connsiteY11149"/>
              </a:cxn>
              <a:cxn ang="0">
                <a:pos x="connsiteX11150" y="connsiteY11150"/>
              </a:cxn>
              <a:cxn ang="0">
                <a:pos x="connsiteX11151" y="connsiteY11151"/>
              </a:cxn>
              <a:cxn ang="0">
                <a:pos x="connsiteX11152" y="connsiteY11152"/>
              </a:cxn>
              <a:cxn ang="0">
                <a:pos x="connsiteX11153" y="connsiteY11153"/>
              </a:cxn>
              <a:cxn ang="0">
                <a:pos x="connsiteX11154" y="connsiteY11154"/>
              </a:cxn>
              <a:cxn ang="0">
                <a:pos x="connsiteX11155" y="connsiteY11155"/>
              </a:cxn>
              <a:cxn ang="0">
                <a:pos x="connsiteX11156" y="connsiteY11156"/>
              </a:cxn>
              <a:cxn ang="0">
                <a:pos x="connsiteX11157" y="connsiteY11157"/>
              </a:cxn>
              <a:cxn ang="0">
                <a:pos x="connsiteX11158" y="connsiteY11158"/>
              </a:cxn>
              <a:cxn ang="0">
                <a:pos x="connsiteX11159" y="connsiteY11159"/>
              </a:cxn>
              <a:cxn ang="0">
                <a:pos x="connsiteX11160" y="connsiteY11160"/>
              </a:cxn>
              <a:cxn ang="0">
                <a:pos x="connsiteX11161" y="connsiteY11161"/>
              </a:cxn>
              <a:cxn ang="0">
                <a:pos x="connsiteX11162" y="connsiteY11162"/>
              </a:cxn>
              <a:cxn ang="0">
                <a:pos x="connsiteX11163" y="connsiteY11163"/>
              </a:cxn>
              <a:cxn ang="0">
                <a:pos x="connsiteX11164" y="connsiteY11164"/>
              </a:cxn>
              <a:cxn ang="0">
                <a:pos x="connsiteX11165" y="connsiteY11165"/>
              </a:cxn>
              <a:cxn ang="0">
                <a:pos x="connsiteX11166" y="connsiteY11166"/>
              </a:cxn>
              <a:cxn ang="0">
                <a:pos x="connsiteX11167" y="connsiteY11167"/>
              </a:cxn>
              <a:cxn ang="0">
                <a:pos x="connsiteX11168" y="connsiteY11168"/>
              </a:cxn>
              <a:cxn ang="0">
                <a:pos x="connsiteX11169" y="connsiteY11169"/>
              </a:cxn>
              <a:cxn ang="0">
                <a:pos x="connsiteX11170" y="connsiteY11170"/>
              </a:cxn>
              <a:cxn ang="0">
                <a:pos x="connsiteX11171" y="connsiteY11171"/>
              </a:cxn>
              <a:cxn ang="0">
                <a:pos x="connsiteX11172" y="connsiteY11172"/>
              </a:cxn>
              <a:cxn ang="0">
                <a:pos x="connsiteX11173" y="connsiteY11173"/>
              </a:cxn>
              <a:cxn ang="0">
                <a:pos x="connsiteX11174" y="connsiteY11174"/>
              </a:cxn>
              <a:cxn ang="0">
                <a:pos x="connsiteX11175" y="connsiteY11175"/>
              </a:cxn>
              <a:cxn ang="0">
                <a:pos x="connsiteX11176" y="connsiteY11176"/>
              </a:cxn>
              <a:cxn ang="0">
                <a:pos x="connsiteX11177" y="connsiteY11177"/>
              </a:cxn>
              <a:cxn ang="0">
                <a:pos x="connsiteX11178" y="connsiteY11178"/>
              </a:cxn>
              <a:cxn ang="0">
                <a:pos x="connsiteX11179" y="connsiteY11179"/>
              </a:cxn>
              <a:cxn ang="0">
                <a:pos x="connsiteX11180" y="connsiteY11180"/>
              </a:cxn>
              <a:cxn ang="0">
                <a:pos x="connsiteX11181" y="connsiteY11181"/>
              </a:cxn>
              <a:cxn ang="0">
                <a:pos x="connsiteX11182" y="connsiteY11182"/>
              </a:cxn>
              <a:cxn ang="0">
                <a:pos x="connsiteX11183" y="connsiteY11183"/>
              </a:cxn>
              <a:cxn ang="0">
                <a:pos x="connsiteX11184" y="connsiteY11184"/>
              </a:cxn>
              <a:cxn ang="0">
                <a:pos x="connsiteX11185" y="connsiteY11185"/>
              </a:cxn>
              <a:cxn ang="0">
                <a:pos x="connsiteX11186" y="connsiteY11186"/>
              </a:cxn>
              <a:cxn ang="0">
                <a:pos x="connsiteX11187" y="connsiteY11187"/>
              </a:cxn>
              <a:cxn ang="0">
                <a:pos x="connsiteX11188" y="connsiteY11188"/>
              </a:cxn>
              <a:cxn ang="0">
                <a:pos x="connsiteX11189" y="connsiteY11189"/>
              </a:cxn>
              <a:cxn ang="0">
                <a:pos x="connsiteX11190" y="connsiteY11190"/>
              </a:cxn>
              <a:cxn ang="0">
                <a:pos x="connsiteX11191" y="connsiteY11191"/>
              </a:cxn>
              <a:cxn ang="0">
                <a:pos x="connsiteX11192" y="connsiteY11192"/>
              </a:cxn>
              <a:cxn ang="0">
                <a:pos x="connsiteX11193" y="connsiteY11193"/>
              </a:cxn>
              <a:cxn ang="0">
                <a:pos x="connsiteX11194" y="connsiteY11194"/>
              </a:cxn>
              <a:cxn ang="0">
                <a:pos x="connsiteX11195" y="connsiteY11195"/>
              </a:cxn>
              <a:cxn ang="0">
                <a:pos x="connsiteX11196" y="connsiteY11196"/>
              </a:cxn>
              <a:cxn ang="0">
                <a:pos x="connsiteX11197" y="connsiteY11197"/>
              </a:cxn>
              <a:cxn ang="0">
                <a:pos x="connsiteX11198" y="connsiteY11198"/>
              </a:cxn>
              <a:cxn ang="0">
                <a:pos x="connsiteX11199" y="connsiteY11199"/>
              </a:cxn>
              <a:cxn ang="0">
                <a:pos x="connsiteX11200" y="connsiteY11200"/>
              </a:cxn>
              <a:cxn ang="0">
                <a:pos x="connsiteX11201" y="connsiteY11201"/>
              </a:cxn>
              <a:cxn ang="0">
                <a:pos x="connsiteX11202" y="connsiteY11202"/>
              </a:cxn>
              <a:cxn ang="0">
                <a:pos x="connsiteX11203" y="connsiteY11203"/>
              </a:cxn>
              <a:cxn ang="0">
                <a:pos x="connsiteX11204" y="connsiteY11204"/>
              </a:cxn>
              <a:cxn ang="0">
                <a:pos x="connsiteX11205" y="connsiteY11205"/>
              </a:cxn>
              <a:cxn ang="0">
                <a:pos x="connsiteX11206" y="connsiteY11206"/>
              </a:cxn>
              <a:cxn ang="0">
                <a:pos x="connsiteX11207" y="connsiteY11207"/>
              </a:cxn>
              <a:cxn ang="0">
                <a:pos x="connsiteX11208" y="connsiteY11208"/>
              </a:cxn>
              <a:cxn ang="0">
                <a:pos x="connsiteX11209" y="connsiteY11209"/>
              </a:cxn>
              <a:cxn ang="0">
                <a:pos x="connsiteX11210" y="connsiteY11210"/>
              </a:cxn>
              <a:cxn ang="0">
                <a:pos x="connsiteX11211" y="connsiteY11211"/>
              </a:cxn>
              <a:cxn ang="0">
                <a:pos x="connsiteX11212" y="connsiteY11212"/>
              </a:cxn>
              <a:cxn ang="0">
                <a:pos x="connsiteX11213" y="connsiteY11213"/>
              </a:cxn>
              <a:cxn ang="0">
                <a:pos x="connsiteX11214" y="connsiteY11214"/>
              </a:cxn>
              <a:cxn ang="0">
                <a:pos x="connsiteX11215" y="connsiteY11215"/>
              </a:cxn>
              <a:cxn ang="0">
                <a:pos x="connsiteX11216" y="connsiteY11216"/>
              </a:cxn>
              <a:cxn ang="0">
                <a:pos x="connsiteX11217" y="connsiteY11217"/>
              </a:cxn>
              <a:cxn ang="0">
                <a:pos x="connsiteX11218" y="connsiteY11218"/>
              </a:cxn>
              <a:cxn ang="0">
                <a:pos x="connsiteX11219" y="connsiteY11219"/>
              </a:cxn>
              <a:cxn ang="0">
                <a:pos x="connsiteX11220" y="connsiteY11220"/>
              </a:cxn>
              <a:cxn ang="0">
                <a:pos x="connsiteX11221" y="connsiteY11221"/>
              </a:cxn>
              <a:cxn ang="0">
                <a:pos x="connsiteX11222" y="connsiteY11222"/>
              </a:cxn>
              <a:cxn ang="0">
                <a:pos x="connsiteX11223" y="connsiteY11223"/>
              </a:cxn>
              <a:cxn ang="0">
                <a:pos x="connsiteX11224" y="connsiteY11224"/>
              </a:cxn>
              <a:cxn ang="0">
                <a:pos x="connsiteX11225" y="connsiteY11225"/>
              </a:cxn>
              <a:cxn ang="0">
                <a:pos x="connsiteX11226" y="connsiteY11226"/>
              </a:cxn>
              <a:cxn ang="0">
                <a:pos x="connsiteX11227" y="connsiteY11227"/>
              </a:cxn>
              <a:cxn ang="0">
                <a:pos x="connsiteX11228" y="connsiteY11228"/>
              </a:cxn>
              <a:cxn ang="0">
                <a:pos x="connsiteX11229" y="connsiteY11229"/>
              </a:cxn>
              <a:cxn ang="0">
                <a:pos x="connsiteX11230" y="connsiteY11230"/>
              </a:cxn>
              <a:cxn ang="0">
                <a:pos x="connsiteX11231" y="connsiteY11231"/>
              </a:cxn>
              <a:cxn ang="0">
                <a:pos x="connsiteX11232" y="connsiteY11232"/>
              </a:cxn>
              <a:cxn ang="0">
                <a:pos x="connsiteX11233" y="connsiteY11233"/>
              </a:cxn>
              <a:cxn ang="0">
                <a:pos x="connsiteX11234" y="connsiteY11234"/>
              </a:cxn>
              <a:cxn ang="0">
                <a:pos x="connsiteX11235" y="connsiteY11235"/>
              </a:cxn>
              <a:cxn ang="0">
                <a:pos x="connsiteX11236" y="connsiteY11236"/>
              </a:cxn>
              <a:cxn ang="0">
                <a:pos x="connsiteX11237" y="connsiteY11237"/>
              </a:cxn>
              <a:cxn ang="0">
                <a:pos x="connsiteX11238" y="connsiteY11238"/>
              </a:cxn>
              <a:cxn ang="0">
                <a:pos x="connsiteX11239" y="connsiteY11239"/>
              </a:cxn>
              <a:cxn ang="0">
                <a:pos x="connsiteX11240" y="connsiteY11240"/>
              </a:cxn>
              <a:cxn ang="0">
                <a:pos x="connsiteX11241" y="connsiteY11241"/>
              </a:cxn>
              <a:cxn ang="0">
                <a:pos x="connsiteX11242" y="connsiteY11242"/>
              </a:cxn>
              <a:cxn ang="0">
                <a:pos x="connsiteX11243" y="connsiteY11243"/>
              </a:cxn>
              <a:cxn ang="0">
                <a:pos x="connsiteX11244" y="connsiteY11244"/>
              </a:cxn>
              <a:cxn ang="0">
                <a:pos x="connsiteX11245" y="connsiteY11245"/>
              </a:cxn>
              <a:cxn ang="0">
                <a:pos x="connsiteX11246" y="connsiteY11246"/>
              </a:cxn>
              <a:cxn ang="0">
                <a:pos x="connsiteX11247" y="connsiteY11247"/>
              </a:cxn>
              <a:cxn ang="0">
                <a:pos x="connsiteX11248" y="connsiteY11248"/>
              </a:cxn>
              <a:cxn ang="0">
                <a:pos x="connsiteX11249" y="connsiteY11249"/>
              </a:cxn>
              <a:cxn ang="0">
                <a:pos x="connsiteX11250" y="connsiteY11250"/>
              </a:cxn>
              <a:cxn ang="0">
                <a:pos x="connsiteX11251" y="connsiteY11251"/>
              </a:cxn>
              <a:cxn ang="0">
                <a:pos x="connsiteX11252" y="connsiteY11252"/>
              </a:cxn>
              <a:cxn ang="0">
                <a:pos x="connsiteX11253" y="connsiteY11253"/>
              </a:cxn>
              <a:cxn ang="0">
                <a:pos x="connsiteX11254" y="connsiteY11254"/>
              </a:cxn>
              <a:cxn ang="0">
                <a:pos x="connsiteX11255" y="connsiteY11255"/>
              </a:cxn>
              <a:cxn ang="0">
                <a:pos x="connsiteX11256" y="connsiteY11256"/>
              </a:cxn>
              <a:cxn ang="0">
                <a:pos x="connsiteX11257" y="connsiteY11257"/>
              </a:cxn>
              <a:cxn ang="0">
                <a:pos x="connsiteX11258" y="connsiteY11258"/>
              </a:cxn>
              <a:cxn ang="0">
                <a:pos x="connsiteX11259" y="connsiteY11259"/>
              </a:cxn>
              <a:cxn ang="0">
                <a:pos x="connsiteX11260" y="connsiteY11260"/>
              </a:cxn>
              <a:cxn ang="0">
                <a:pos x="connsiteX11261" y="connsiteY11261"/>
              </a:cxn>
              <a:cxn ang="0">
                <a:pos x="connsiteX11262" y="connsiteY11262"/>
              </a:cxn>
              <a:cxn ang="0">
                <a:pos x="connsiteX11263" y="connsiteY11263"/>
              </a:cxn>
              <a:cxn ang="0">
                <a:pos x="connsiteX11264" y="connsiteY11264"/>
              </a:cxn>
              <a:cxn ang="0">
                <a:pos x="connsiteX11265" y="connsiteY11265"/>
              </a:cxn>
              <a:cxn ang="0">
                <a:pos x="connsiteX11266" y="connsiteY11266"/>
              </a:cxn>
              <a:cxn ang="0">
                <a:pos x="connsiteX11267" y="connsiteY11267"/>
              </a:cxn>
              <a:cxn ang="0">
                <a:pos x="connsiteX11268" y="connsiteY11268"/>
              </a:cxn>
              <a:cxn ang="0">
                <a:pos x="connsiteX11269" y="connsiteY11269"/>
              </a:cxn>
              <a:cxn ang="0">
                <a:pos x="connsiteX11270" y="connsiteY11270"/>
              </a:cxn>
              <a:cxn ang="0">
                <a:pos x="connsiteX11271" y="connsiteY11271"/>
              </a:cxn>
              <a:cxn ang="0">
                <a:pos x="connsiteX11272" y="connsiteY11272"/>
              </a:cxn>
              <a:cxn ang="0">
                <a:pos x="connsiteX11273" y="connsiteY11273"/>
              </a:cxn>
              <a:cxn ang="0">
                <a:pos x="connsiteX11274" y="connsiteY11274"/>
              </a:cxn>
              <a:cxn ang="0">
                <a:pos x="connsiteX11275" y="connsiteY11275"/>
              </a:cxn>
              <a:cxn ang="0">
                <a:pos x="connsiteX11276" y="connsiteY11276"/>
              </a:cxn>
              <a:cxn ang="0">
                <a:pos x="connsiteX11277" y="connsiteY11277"/>
              </a:cxn>
              <a:cxn ang="0">
                <a:pos x="connsiteX11278" y="connsiteY11278"/>
              </a:cxn>
              <a:cxn ang="0">
                <a:pos x="connsiteX11279" y="connsiteY11279"/>
              </a:cxn>
              <a:cxn ang="0">
                <a:pos x="connsiteX11280" y="connsiteY11280"/>
              </a:cxn>
              <a:cxn ang="0">
                <a:pos x="connsiteX11281" y="connsiteY11281"/>
              </a:cxn>
              <a:cxn ang="0">
                <a:pos x="connsiteX11282" y="connsiteY11282"/>
              </a:cxn>
              <a:cxn ang="0">
                <a:pos x="connsiteX11283" y="connsiteY11283"/>
              </a:cxn>
              <a:cxn ang="0">
                <a:pos x="connsiteX11284" y="connsiteY11284"/>
              </a:cxn>
              <a:cxn ang="0">
                <a:pos x="connsiteX11285" y="connsiteY11285"/>
              </a:cxn>
              <a:cxn ang="0">
                <a:pos x="connsiteX11286" y="connsiteY11286"/>
              </a:cxn>
              <a:cxn ang="0">
                <a:pos x="connsiteX11287" y="connsiteY11287"/>
              </a:cxn>
              <a:cxn ang="0">
                <a:pos x="connsiteX11288" y="connsiteY11288"/>
              </a:cxn>
              <a:cxn ang="0">
                <a:pos x="connsiteX11289" y="connsiteY11289"/>
              </a:cxn>
              <a:cxn ang="0">
                <a:pos x="connsiteX11290" y="connsiteY11290"/>
              </a:cxn>
              <a:cxn ang="0">
                <a:pos x="connsiteX11291" y="connsiteY11291"/>
              </a:cxn>
              <a:cxn ang="0">
                <a:pos x="connsiteX11292" y="connsiteY11292"/>
              </a:cxn>
              <a:cxn ang="0">
                <a:pos x="connsiteX11293" y="connsiteY11293"/>
              </a:cxn>
              <a:cxn ang="0">
                <a:pos x="connsiteX11294" y="connsiteY11294"/>
              </a:cxn>
              <a:cxn ang="0">
                <a:pos x="connsiteX11295" y="connsiteY11295"/>
              </a:cxn>
              <a:cxn ang="0">
                <a:pos x="connsiteX11296" y="connsiteY11296"/>
              </a:cxn>
              <a:cxn ang="0">
                <a:pos x="connsiteX11297" y="connsiteY11297"/>
              </a:cxn>
              <a:cxn ang="0">
                <a:pos x="connsiteX11298" y="connsiteY11298"/>
              </a:cxn>
              <a:cxn ang="0">
                <a:pos x="connsiteX11299" y="connsiteY11299"/>
              </a:cxn>
              <a:cxn ang="0">
                <a:pos x="connsiteX11300" y="connsiteY11300"/>
              </a:cxn>
              <a:cxn ang="0">
                <a:pos x="connsiteX11301" y="connsiteY11301"/>
              </a:cxn>
              <a:cxn ang="0">
                <a:pos x="connsiteX11302" y="connsiteY11302"/>
              </a:cxn>
              <a:cxn ang="0">
                <a:pos x="connsiteX11303" y="connsiteY11303"/>
              </a:cxn>
              <a:cxn ang="0">
                <a:pos x="connsiteX11304" y="connsiteY11304"/>
              </a:cxn>
              <a:cxn ang="0">
                <a:pos x="connsiteX11305" y="connsiteY11305"/>
              </a:cxn>
              <a:cxn ang="0">
                <a:pos x="connsiteX11306" y="connsiteY11306"/>
              </a:cxn>
              <a:cxn ang="0">
                <a:pos x="connsiteX11307" y="connsiteY11307"/>
              </a:cxn>
              <a:cxn ang="0">
                <a:pos x="connsiteX11308" y="connsiteY11308"/>
              </a:cxn>
              <a:cxn ang="0">
                <a:pos x="connsiteX11309" y="connsiteY11309"/>
              </a:cxn>
              <a:cxn ang="0">
                <a:pos x="connsiteX11310" y="connsiteY11310"/>
              </a:cxn>
              <a:cxn ang="0">
                <a:pos x="connsiteX11311" y="connsiteY11311"/>
              </a:cxn>
              <a:cxn ang="0">
                <a:pos x="connsiteX11312" y="connsiteY11312"/>
              </a:cxn>
              <a:cxn ang="0">
                <a:pos x="connsiteX11313" y="connsiteY11313"/>
              </a:cxn>
              <a:cxn ang="0">
                <a:pos x="connsiteX11314" y="connsiteY11314"/>
              </a:cxn>
              <a:cxn ang="0">
                <a:pos x="connsiteX11315" y="connsiteY11315"/>
              </a:cxn>
              <a:cxn ang="0">
                <a:pos x="connsiteX11316" y="connsiteY11316"/>
              </a:cxn>
              <a:cxn ang="0">
                <a:pos x="connsiteX11317" y="connsiteY11317"/>
              </a:cxn>
              <a:cxn ang="0">
                <a:pos x="connsiteX11318" y="connsiteY11318"/>
              </a:cxn>
              <a:cxn ang="0">
                <a:pos x="connsiteX11319" y="connsiteY11319"/>
              </a:cxn>
              <a:cxn ang="0">
                <a:pos x="connsiteX11320" y="connsiteY11320"/>
              </a:cxn>
              <a:cxn ang="0">
                <a:pos x="connsiteX11321" y="connsiteY11321"/>
              </a:cxn>
              <a:cxn ang="0">
                <a:pos x="connsiteX11322" y="connsiteY11322"/>
              </a:cxn>
              <a:cxn ang="0">
                <a:pos x="connsiteX11323" y="connsiteY11323"/>
              </a:cxn>
              <a:cxn ang="0">
                <a:pos x="connsiteX11324" y="connsiteY11324"/>
              </a:cxn>
              <a:cxn ang="0">
                <a:pos x="connsiteX11325" y="connsiteY11325"/>
              </a:cxn>
              <a:cxn ang="0">
                <a:pos x="connsiteX11326" y="connsiteY11326"/>
              </a:cxn>
              <a:cxn ang="0">
                <a:pos x="connsiteX11327" y="connsiteY11327"/>
              </a:cxn>
              <a:cxn ang="0">
                <a:pos x="connsiteX11328" y="connsiteY11328"/>
              </a:cxn>
              <a:cxn ang="0">
                <a:pos x="connsiteX11329" y="connsiteY11329"/>
              </a:cxn>
              <a:cxn ang="0">
                <a:pos x="connsiteX11330" y="connsiteY11330"/>
              </a:cxn>
              <a:cxn ang="0">
                <a:pos x="connsiteX11331" y="connsiteY11331"/>
              </a:cxn>
              <a:cxn ang="0">
                <a:pos x="connsiteX11332" y="connsiteY11332"/>
              </a:cxn>
              <a:cxn ang="0">
                <a:pos x="connsiteX11333" y="connsiteY11333"/>
              </a:cxn>
              <a:cxn ang="0">
                <a:pos x="connsiteX11334" y="connsiteY11334"/>
              </a:cxn>
              <a:cxn ang="0">
                <a:pos x="connsiteX11335" y="connsiteY11335"/>
              </a:cxn>
              <a:cxn ang="0">
                <a:pos x="connsiteX11336" y="connsiteY11336"/>
              </a:cxn>
              <a:cxn ang="0">
                <a:pos x="connsiteX11337" y="connsiteY11337"/>
              </a:cxn>
              <a:cxn ang="0">
                <a:pos x="connsiteX11338" y="connsiteY11338"/>
              </a:cxn>
              <a:cxn ang="0">
                <a:pos x="connsiteX11339" y="connsiteY11339"/>
              </a:cxn>
              <a:cxn ang="0">
                <a:pos x="connsiteX11340" y="connsiteY11340"/>
              </a:cxn>
              <a:cxn ang="0">
                <a:pos x="connsiteX11341" y="connsiteY11341"/>
              </a:cxn>
              <a:cxn ang="0">
                <a:pos x="connsiteX11342" y="connsiteY11342"/>
              </a:cxn>
              <a:cxn ang="0">
                <a:pos x="connsiteX11343" y="connsiteY11343"/>
              </a:cxn>
              <a:cxn ang="0">
                <a:pos x="connsiteX11344" y="connsiteY11344"/>
              </a:cxn>
              <a:cxn ang="0">
                <a:pos x="connsiteX11345" y="connsiteY11345"/>
              </a:cxn>
              <a:cxn ang="0">
                <a:pos x="connsiteX11346" y="connsiteY11346"/>
              </a:cxn>
              <a:cxn ang="0">
                <a:pos x="connsiteX11347" y="connsiteY11347"/>
              </a:cxn>
              <a:cxn ang="0">
                <a:pos x="connsiteX11348" y="connsiteY11348"/>
              </a:cxn>
              <a:cxn ang="0">
                <a:pos x="connsiteX11349" y="connsiteY11349"/>
              </a:cxn>
              <a:cxn ang="0">
                <a:pos x="connsiteX11350" y="connsiteY11350"/>
              </a:cxn>
              <a:cxn ang="0">
                <a:pos x="connsiteX11351" y="connsiteY11351"/>
              </a:cxn>
              <a:cxn ang="0">
                <a:pos x="connsiteX11352" y="connsiteY11352"/>
              </a:cxn>
              <a:cxn ang="0">
                <a:pos x="connsiteX11353" y="connsiteY11353"/>
              </a:cxn>
              <a:cxn ang="0">
                <a:pos x="connsiteX11354" y="connsiteY11354"/>
              </a:cxn>
              <a:cxn ang="0">
                <a:pos x="connsiteX11355" y="connsiteY11355"/>
              </a:cxn>
              <a:cxn ang="0">
                <a:pos x="connsiteX11356" y="connsiteY11356"/>
              </a:cxn>
              <a:cxn ang="0">
                <a:pos x="connsiteX11357" y="connsiteY11357"/>
              </a:cxn>
              <a:cxn ang="0">
                <a:pos x="connsiteX11358" y="connsiteY11358"/>
              </a:cxn>
              <a:cxn ang="0">
                <a:pos x="connsiteX11359" y="connsiteY11359"/>
              </a:cxn>
              <a:cxn ang="0">
                <a:pos x="connsiteX11360" y="connsiteY11360"/>
              </a:cxn>
              <a:cxn ang="0">
                <a:pos x="connsiteX11361" y="connsiteY11361"/>
              </a:cxn>
              <a:cxn ang="0">
                <a:pos x="connsiteX11362" y="connsiteY11362"/>
              </a:cxn>
              <a:cxn ang="0">
                <a:pos x="connsiteX11363" y="connsiteY11363"/>
              </a:cxn>
              <a:cxn ang="0">
                <a:pos x="connsiteX11364" y="connsiteY11364"/>
              </a:cxn>
              <a:cxn ang="0">
                <a:pos x="connsiteX11365" y="connsiteY11365"/>
              </a:cxn>
              <a:cxn ang="0">
                <a:pos x="connsiteX11366" y="connsiteY11366"/>
              </a:cxn>
              <a:cxn ang="0">
                <a:pos x="connsiteX11367" y="connsiteY11367"/>
              </a:cxn>
              <a:cxn ang="0">
                <a:pos x="connsiteX11368" y="connsiteY11368"/>
              </a:cxn>
              <a:cxn ang="0">
                <a:pos x="connsiteX11369" y="connsiteY11369"/>
              </a:cxn>
              <a:cxn ang="0">
                <a:pos x="connsiteX11370" y="connsiteY11370"/>
              </a:cxn>
              <a:cxn ang="0">
                <a:pos x="connsiteX11371" y="connsiteY11371"/>
              </a:cxn>
              <a:cxn ang="0">
                <a:pos x="connsiteX11372" y="connsiteY11372"/>
              </a:cxn>
              <a:cxn ang="0">
                <a:pos x="connsiteX11373" y="connsiteY11373"/>
              </a:cxn>
              <a:cxn ang="0">
                <a:pos x="connsiteX11374" y="connsiteY11374"/>
              </a:cxn>
              <a:cxn ang="0">
                <a:pos x="connsiteX11375" y="connsiteY11375"/>
              </a:cxn>
              <a:cxn ang="0">
                <a:pos x="connsiteX11376" y="connsiteY11376"/>
              </a:cxn>
              <a:cxn ang="0">
                <a:pos x="connsiteX11377" y="connsiteY11377"/>
              </a:cxn>
              <a:cxn ang="0">
                <a:pos x="connsiteX11378" y="connsiteY11378"/>
              </a:cxn>
              <a:cxn ang="0">
                <a:pos x="connsiteX11379" y="connsiteY11379"/>
              </a:cxn>
              <a:cxn ang="0">
                <a:pos x="connsiteX11380" y="connsiteY11380"/>
              </a:cxn>
              <a:cxn ang="0">
                <a:pos x="connsiteX11381" y="connsiteY11381"/>
              </a:cxn>
              <a:cxn ang="0">
                <a:pos x="connsiteX11382" y="connsiteY11382"/>
              </a:cxn>
              <a:cxn ang="0">
                <a:pos x="connsiteX11383" y="connsiteY11383"/>
              </a:cxn>
              <a:cxn ang="0">
                <a:pos x="connsiteX11384" y="connsiteY11384"/>
              </a:cxn>
              <a:cxn ang="0">
                <a:pos x="connsiteX11385" y="connsiteY11385"/>
              </a:cxn>
              <a:cxn ang="0">
                <a:pos x="connsiteX11386" y="connsiteY11386"/>
              </a:cxn>
              <a:cxn ang="0">
                <a:pos x="connsiteX11387" y="connsiteY11387"/>
              </a:cxn>
              <a:cxn ang="0">
                <a:pos x="connsiteX11388" y="connsiteY11388"/>
              </a:cxn>
              <a:cxn ang="0">
                <a:pos x="connsiteX11389" y="connsiteY11389"/>
              </a:cxn>
              <a:cxn ang="0">
                <a:pos x="connsiteX11390" y="connsiteY11390"/>
              </a:cxn>
              <a:cxn ang="0">
                <a:pos x="connsiteX11391" y="connsiteY11391"/>
              </a:cxn>
              <a:cxn ang="0">
                <a:pos x="connsiteX11392" y="connsiteY11392"/>
              </a:cxn>
              <a:cxn ang="0">
                <a:pos x="connsiteX11393" y="connsiteY11393"/>
              </a:cxn>
              <a:cxn ang="0">
                <a:pos x="connsiteX11394" y="connsiteY11394"/>
              </a:cxn>
              <a:cxn ang="0">
                <a:pos x="connsiteX11395" y="connsiteY11395"/>
              </a:cxn>
              <a:cxn ang="0">
                <a:pos x="connsiteX11396" y="connsiteY11396"/>
              </a:cxn>
              <a:cxn ang="0">
                <a:pos x="connsiteX11397" y="connsiteY11397"/>
              </a:cxn>
              <a:cxn ang="0">
                <a:pos x="connsiteX11398" y="connsiteY11398"/>
              </a:cxn>
              <a:cxn ang="0">
                <a:pos x="connsiteX11399" y="connsiteY11399"/>
              </a:cxn>
              <a:cxn ang="0">
                <a:pos x="connsiteX11400" y="connsiteY11400"/>
              </a:cxn>
              <a:cxn ang="0">
                <a:pos x="connsiteX11401" y="connsiteY11401"/>
              </a:cxn>
              <a:cxn ang="0">
                <a:pos x="connsiteX11402" y="connsiteY11402"/>
              </a:cxn>
              <a:cxn ang="0">
                <a:pos x="connsiteX11403" y="connsiteY11403"/>
              </a:cxn>
              <a:cxn ang="0">
                <a:pos x="connsiteX11404" y="connsiteY11404"/>
              </a:cxn>
              <a:cxn ang="0">
                <a:pos x="connsiteX11405" y="connsiteY11405"/>
              </a:cxn>
              <a:cxn ang="0">
                <a:pos x="connsiteX11406" y="connsiteY11406"/>
              </a:cxn>
              <a:cxn ang="0">
                <a:pos x="connsiteX11407" y="connsiteY11407"/>
              </a:cxn>
              <a:cxn ang="0">
                <a:pos x="connsiteX11408" y="connsiteY11408"/>
              </a:cxn>
              <a:cxn ang="0">
                <a:pos x="connsiteX11409" y="connsiteY11409"/>
              </a:cxn>
              <a:cxn ang="0">
                <a:pos x="connsiteX11410" y="connsiteY11410"/>
              </a:cxn>
              <a:cxn ang="0">
                <a:pos x="connsiteX11411" y="connsiteY11411"/>
              </a:cxn>
              <a:cxn ang="0">
                <a:pos x="connsiteX11412" y="connsiteY11412"/>
              </a:cxn>
              <a:cxn ang="0">
                <a:pos x="connsiteX11413" y="connsiteY11413"/>
              </a:cxn>
              <a:cxn ang="0">
                <a:pos x="connsiteX11414" y="connsiteY11414"/>
              </a:cxn>
              <a:cxn ang="0">
                <a:pos x="connsiteX11415" y="connsiteY11415"/>
              </a:cxn>
              <a:cxn ang="0">
                <a:pos x="connsiteX11416" y="connsiteY11416"/>
              </a:cxn>
              <a:cxn ang="0">
                <a:pos x="connsiteX11417" y="connsiteY11417"/>
              </a:cxn>
              <a:cxn ang="0">
                <a:pos x="connsiteX11418" y="connsiteY11418"/>
              </a:cxn>
              <a:cxn ang="0">
                <a:pos x="connsiteX11419" y="connsiteY11419"/>
              </a:cxn>
              <a:cxn ang="0">
                <a:pos x="connsiteX11420" y="connsiteY11420"/>
              </a:cxn>
              <a:cxn ang="0">
                <a:pos x="connsiteX11421" y="connsiteY11421"/>
              </a:cxn>
              <a:cxn ang="0">
                <a:pos x="connsiteX11422" y="connsiteY11422"/>
              </a:cxn>
              <a:cxn ang="0">
                <a:pos x="connsiteX11423" y="connsiteY11423"/>
              </a:cxn>
              <a:cxn ang="0">
                <a:pos x="connsiteX11424" y="connsiteY11424"/>
              </a:cxn>
              <a:cxn ang="0">
                <a:pos x="connsiteX11425" y="connsiteY11425"/>
              </a:cxn>
              <a:cxn ang="0">
                <a:pos x="connsiteX11426" y="connsiteY11426"/>
              </a:cxn>
              <a:cxn ang="0">
                <a:pos x="connsiteX11427" y="connsiteY11427"/>
              </a:cxn>
              <a:cxn ang="0">
                <a:pos x="connsiteX11428" y="connsiteY11428"/>
              </a:cxn>
              <a:cxn ang="0">
                <a:pos x="connsiteX11429" y="connsiteY11429"/>
              </a:cxn>
              <a:cxn ang="0">
                <a:pos x="connsiteX11430" y="connsiteY11430"/>
              </a:cxn>
              <a:cxn ang="0">
                <a:pos x="connsiteX11431" y="connsiteY11431"/>
              </a:cxn>
              <a:cxn ang="0">
                <a:pos x="connsiteX11432" y="connsiteY11432"/>
              </a:cxn>
              <a:cxn ang="0">
                <a:pos x="connsiteX11433" y="connsiteY11433"/>
              </a:cxn>
              <a:cxn ang="0">
                <a:pos x="connsiteX11434" y="connsiteY11434"/>
              </a:cxn>
              <a:cxn ang="0">
                <a:pos x="connsiteX11435" y="connsiteY11435"/>
              </a:cxn>
              <a:cxn ang="0">
                <a:pos x="connsiteX11436" y="connsiteY11436"/>
              </a:cxn>
              <a:cxn ang="0">
                <a:pos x="connsiteX11437" y="connsiteY11437"/>
              </a:cxn>
              <a:cxn ang="0">
                <a:pos x="connsiteX11438" y="connsiteY11438"/>
              </a:cxn>
              <a:cxn ang="0">
                <a:pos x="connsiteX11439" y="connsiteY11439"/>
              </a:cxn>
              <a:cxn ang="0">
                <a:pos x="connsiteX11440" y="connsiteY11440"/>
              </a:cxn>
              <a:cxn ang="0">
                <a:pos x="connsiteX11441" y="connsiteY11441"/>
              </a:cxn>
              <a:cxn ang="0">
                <a:pos x="connsiteX11442" y="connsiteY11442"/>
              </a:cxn>
              <a:cxn ang="0">
                <a:pos x="connsiteX11443" y="connsiteY11443"/>
              </a:cxn>
              <a:cxn ang="0">
                <a:pos x="connsiteX11444" y="connsiteY11444"/>
              </a:cxn>
              <a:cxn ang="0">
                <a:pos x="connsiteX11445" y="connsiteY11445"/>
              </a:cxn>
              <a:cxn ang="0">
                <a:pos x="connsiteX11446" y="connsiteY11446"/>
              </a:cxn>
              <a:cxn ang="0">
                <a:pos x="connsiteX11447" y="connsiteY11447"/>
              </a:cxn>
              <a:cxn ang="0">
                <a:pos x="connsiteX11448" y="connsiteY11448"/>
              </a:cxn>
              <a:cxn ang="0">
                <a:pos x="connsiteX11449" y="connsiteY11449"/>
              </a:cxn>
              <a:cxn ang="0">
                <a:pos x="connsiteX11450" y="connsiteY11450"/>
              </a:cxn>
              <a:cxn ang="0">
                <a:pos x="connsiteX11451" y="connsiteY11451"/>
              </a:cxn>
              <a:cxn ang="0">
                <a:pos x="connsiteX11452" y="connsiteY11452"/>
              </a:cxn>
              <a:cxn ang="0">
                <a:pos x="connsiteX11453" y="connsiteY11453"/>
              </a:cxn>
              <a:cxn ang="0">
                <a:pos x="connsiteX11454" y="connsiteY11454"/>
              </a:cxn>
              <a:cxn ang="0">
                <a:pos x="connsiteX11455" y="connsiteY11455"/>
              </a:cxn>
              <a:cxn ang="0">
                <a:pos x="connsiteX11456" y="connsiteY11456"/>
              </a:cxn>
              <a:cxn ang="0">
                <a:pos x="connsiteX11457" y="connsiteY11457"/>
              </a:cxn>
              <a:cxn ang="0">
                <a:pos x="connsiteX11458" y="connsiteY11458"/>
              </a:cxn>
              <a:cxn ang="0">
                <a:pos x="connsiteX11459" y="connsiteY11459"/>
              </a:cxn>
              <a:cxn ang="0">
                <a:pos x="connsiteX11460" y="connsiteY11460"/>
              </a:cxn>
              <a:cxn ang="0">
                <a:pos x="connsiteX11461" y="connsiteY11461"/>
              </a:cxn>
              <a:cxn ang="0">
                <a:pos x="connsiteX11462" y="connsiteY11462"/>
              </a:cxn>
              <a:cxn ang="0">
                <a:pos x="connsiteX11463" y="connsiteY11463"/>
              </a:cxn>
              <a:cxn ang="0">
                <a:pos x="connsiteX11464" y="connsiteY11464"/>
              </a:cxn>
              <a:cxn ang="0">
                <a:pos x="connsiteX11465" y="connsiteY11465"/>
              </a:cxn>
              <a:cxn ang="0">
                <a:pos x="connsiteX11466" y="connsiteY11466"/>
              </a:cxn>
              <a:cxn ang="0">
                <a:pos x="connsiteX11467" y="connsiteY11467"/>
              </a:cxn>
              <a:cxn ang="0">
                <a:pos x="connsiteX11468" y="connsiteY11468"/>
              </a:cxn>
              <a:cxn ang="0">
                <a:pos x="connsiteX11469" y="connsiteY11469"/>
              </a:cxn>
              <a:cxn ang="0">
                <a:pos x="connsiteX11470" y="connsiteY11470"/>
              </a:cxn>
              <a:cxn ang="0">
                <a:pos x="connsiteX11471" y="connsiteY11471"/>
              </a:cxn>
              <a:cxn ang="0">
                <a:pos x="connsiteX11472" y="connsiteY11472"/>
              </a:cxn>
              <a:cxn ang="0">
                <a:pos x="connsiteX11473" y="connsiteY11473"/>
              </a:cxn>
              <a:cxn ang="0">
                <a:pos x="connsiteX11474" y="connsiteY11474"/>
              </a:cxn>
              <a:cxn ang="0">
                <a:pos x="connsiteX11475" y="connsiteY11475"/>
              </a:cxn>
              <a:cxn ang="0">
                <a:pos x="connsiteX11476" y="connsiteY11476"/>
              </a:cxn>
              <a:cxn ang="0">
                <a:pos x="connsiteX11477" y="connsiteY11477"/>
              </a:cxn>
              <a:cxn ang="0">
                <a:pos x="connsiteX11478" y="connsiteY11478"/>
              </a:cxn>
              <a:cxn ang="0">
                <a:pos x="connsiteX11479" y="connsiteY11479"/>
              </a:cxn>
              <a:cxn ang="0">
                <a:pos x="connsiteX11480" y="connsiteY11480"/>
              </a:cxn>
              <a:cxn ang="0">
                <a:pos x="connsiteX11481" y="connsiteY11481"/>
              </a:cxn>
              <a:cxn ang="0">
                <a:pos x="connsiteX11482" y="connsiteY11482"/>
              </a:cxn>
              <a:cxn ang="0">
                <a:pos x="connsiteX11483" y="connsiteY11483"/>
              </a:cxn>
              <a:cxn ang="0">
                <a:pos x="connsiteX11484" y="connsiteY11484"/>
              </a:cxn>
              <a:cxn ang="0">
                <a:pos x="connsiteX11485" y="connsiteY11485"/>
              </a:cxn>
              <a:cxn ang="0">
                <a:pos x="connsiteX11486" y="connsiteY11486"/>
              </a:cxn>
              <a:cxn ang="0">
                <a:pos x="connsiteX11487" y="connsiteY11487"/>
              </a:cxn>
              <a:cxn ang="0">
                <a:pos x="connsiteX11488" y="connsiteY11488"/>
              </a:cxn>
              <a:cxn ang="0">
                <a:pos x="connsiteX11489" y="connsiteY11489"/>
              </a:cxn>
              <a:cxn ang="0">
                <a:pos x="connsiteX11490" y="connsiteY11490"/>
              </a:cxn>
              <a:cxn ang="0">
                <a:pos x="connsiteX11491" y="connsiteY11491"/>
              </a:cxn>
              <a:cxn ang="0">
                <a:pos x="connsiteX11492" y="connsiteY11492"/>
              </a:cxn>
              <a:cxn ang="0">
                <a:pos x="connsiteX11493" y="connsiteY11493"/>
              </a:cxn>
              <a:cxn ang="0">
                <a:pos x="connsiteX11494" y="connsiteY11494"/>
              </a:cxn>
              <a:cxn ang="0">
                <a:pos x="connsiteX11495" y="connsiteY11495"/>
              </a:cxn>
              <a:cxn ang="0">
                <a:pos x="connsiteX11496" y="connsiteY11496"/>
              </a:cxn>
              <a:cxn ang="0">
                <a:pos x="connsiteX11497" y="connsiteY11497"/>
              </a:cxn>
              <a:cxn ang="0">
                <a:pos x="connsiteX11498" y="connsiteY11498"/>
              </a:cxn>
              <a:cxn ang="0">
                <a:pos x="connsiteX11499" y="connsiteY11499"/>
              </a:cxn>
              <a:cxn ang="0">
                <a:pos x="connsiteX11500" y="connsiteY11500"/>
              </a:cxn>
              <a:cxn ang="0">
                <a:pos x="connsiteX11501" y="connsiteY11501"/>
              </a:cxn>
              <a:cxn ang="0">
                <a:pos x="connsiteX11502" y="connsiteY11502"/>
              </a:cxn>
              <a:cxn ang="0">
                <a:pos x="connsiteX11503" y="connsiteY11503"/>
              </a:cxn>
              <a:cxn ang="0">
                <a:pos x="connsiteX11504" y="connsiteY11504"/>
              </a:cxn>
              <a:cxn ang="0">
                <a:pos x="connsiteX11505" y="connsiteY11505"/>
              </a:cxn>
              <a:cxn ang="0">
                <a:pos x="connsiteX11506" y="connsiteY11506"/>
              </a:cxn>
              <a:cxn ang="0">
                <a:pos x="connsiteX11507" y="connsiteY11507"/>
              </a:cxn>
              <a:cxn ang="0">
                <a:pos x="connsiteX11508" y="connsiteY11508"/>
              </a:cxn>
              <a:cxn ang="0">
                <a:pos x="connsiteX11509" y="connsiteY11509"/>
              </a:cxn>
              <a:cxn ang="0">
                <a:pos x="connsiteX11510" y="connsiteY11510"/>
              </a:cxn>
              <a:cxn ang="0">
                <a:pos x="connsiteX11511" y="connsiteY11511"/>
              </a:cxn>
              <a:cxn ang="0">
                <a:pos x="connsiteX11512" y="connsiteY11512"/>
              </a:cxn>
              <a:cxn ang="0">
                <a:pos x="connsiteX11513" y="connsiteY11513"/>
              </a:cxn>
              <a:cxn ang="0">
                <a:pos x="connsiteX11514" y="connsiteY11514"/>
              </a:cxn>
              <a:cxn ang="0">
                <a:pos x="connsiteX11515" y="connsiteY11515"/>
              </a:cxn>
              <a:cxn ang="0">
                <a:pos x="connsiteX11516" y="connsiteY11516"/>
              </a:cxn>
              <a:cxn ang="0">
                <a:pos x="connsiteX11517" y="connsiteY11517"/>
              </a:cxn>
              <a:cxn ang="0">
                <a:pos x="connsiteX11518" y="connsiteY11518"/>
              </a:cxn>
              <a:cxn ang="0">
                <a:pos x="connsiteX11519" y="connsiteY11519"/>
              </a:cxn>
              <a:cxn ang="0">
                <a:pos x="connsiteX11520" y="connsiteY11520"/>
              </a:cxn>
              <a:cxn ang="0">
                <a:pos x="connsiteX11521" y="connsiteY11521"/>
              </a:cxn>
              <a:cxn ang="0">
                <a:pos x="connsiteX11522" y="connsiteY11522"/>
              </a:cxn>
              <a:cxn ang="0">
                <a:pos x="connsiteX11523" y="connsiteY11523"/>
              </a:cxn>
              <a:cxn ang="0">
                <a:pos x="connsiteX11524" y="connsiteY11524"/>
              </a:cxn>
              <a:cxn ang="0">
                <a:pos x="connsiteX11525" y="connsiteY11525"/>
              </a:cxn>
              <a:cxn ang="0">
                <a:pos x="connsiteX11526" y="connsiteY11526"/>
              </a:cxn>
              <a:cxn ang="0">
                <a:pos x="connsiteX11527" y="connsiteY11527"/>
              </a:cxn>
              <a:cxn ang="0">
                <a:pos x="connsiteX11528" y="connsiteY11528"/>
              </a:cxn>
              <a:cxn ang="0">
                <a:pos x="connsiteX11529" y="connsiteY11529"/>
              </a:cxn>
              <a:cxn ang="0">
                <a:pos x="connsiteX11530" y="connsiteY11530"/>
              </a:cxn>
              <a:cxn ang="0">
                <a:pos x="connsiteX11531" y="connsiteY11531"/>
              </a:cxn>
              <a:cxn ang="0">
                <a:pos x="connsiteX11532" y="connsiteY11532"/>
              </a:cxn>
              <a:cxn ang="0">
                <a:pos x="connsiteX11533" y="connsiteY11533"/>
              </a:cxn>
              <a:cxn ang="0">
                <a:pos x="connsiteX11534" y="connsiteY11534"/>
              </a:cxn>
              <a:cxn ang="0">
                <a:pos x="connsiteX11535" y="connsiteY11535"/>
              </a:cxn>
              <a:cxn ang="0">
                <a:pos x="connsiteX11536" y="connsiteY11536"/>
              </a:cxn>
              <a:cxn ang="0">
                <a:pos x="connsiteX11537" y="connsiteY11537"/>
              </a:cxn>
              <a:cxn ang="0">
                <a:pos x="connsiteX11538" y="connsiteY11538"/>
              </a:cxn>
              <a:cxn ang="0">
                <a:pos x="connsiteX11539" y="connsiteY11539"/>
              </a:cxn>
              <a:cxn ang="0">
                <a:pos x="connsiteX11540" y="connsiteY11540"/>
              </a:cxn>
              <a:cxn ang="0">
                <a:pos x="connsiteX11541" y="connsiteY11541"/>
              </a:cxn>
              <a:cxn ang="0">
                <a:pos x="connsiteX11542" y="connsiteY11542"/>
              </a:cxn>
              <a:cxn ang="0">
                <a:pos x="connsiteX11543" y="connsiteY11543"/>
              </a:cxn>
              <a:cxn ang="0">
                <a:pos x="connsiteX11544" y="connsiteY11544"/>
              </a:cxn>
              <a:cxn ang="0">
                <a:pos x="connsiteX11545" y="connsiteY11545"/>
              </a:cxn>
              <a:cxn ang="0">
                <a:pos x="connsiteX11546" y="connsiteY11546"/>
              </a:cxn>
              <a:cxn ang="0">
                <a:pos x="connsiteX11547" y="connsiteY11547"/>
              </a:cxn>
              <a:cxn ang="0">
                <a:pos x="connsiteX11548" y="connsiteY11548"/>
              </a:cxn>
              <a:cxn ang="0">
                <a:pos x="connsiteX11549" y="connsiteY11549"/>
              </a:cxn>
              <a:cxn ang="0">
                <a:pos x="connsiteX11550" y="connsiteY11550"/>
              </a:cxn>
              <a:cxn ang="0">
                <a:pos x="connsiteX11551" y="connsiteY11551"/>
              </a:cxn>
              <a:cxn ang="0">
                <a:pos x="connsiteX11552" y="connsiteY11552"/>
              </a:cxn>
              <a:cxn ang="0">
                <a:pos x="connsiteX11553" y="connsiteY11553"/>
              </a:cxn>
              <a:cxn ang="0">
                <a:pos x="connsiteX11554" y="connsiteY11554"/>
              </a:cxn>
              <a:cxn ang="0">
                <a:pos x="connsiteX11555" y="connsiteY11555"/>
              </a:cxn>
              <a:cxn ang="0">
                <a:pos x="connsiteX11556" y="connsiteY11556"/>
              </a:cxn>
              <a:cxn ang="0">
                <a:pos x="connsiteX11557" y="connsiteY11557"/>
              </a:cxn>
              <a:cxn ang="0">
                <a:pos x="connsiteX11558" y="connsiteY11558"/>
              </a:cxn>
              <a:cxn ang="0">
                <a:pos x="connsiteX11559" y="connsiteY11559"/>
              </a:cxn>
              <a:cxn ang="0">
                <a:pos x="connsiteX11560" y="connsiteY11560"/>
              </a:cxn>
              <a:cxn ang="0">
                <a:pos x="connsiteX11561" y="connsiteY11561"/>
              </a:cxn>
              <a:cxn ang="0">
                <a:pos x="connsiteX11562" y="connsiteY11562"/>
              </a:cxn>
              <a:cxn ang="0">
                <a:pos x="connsiteX11563" y="connsiteY11563"/>
              </a:cxn>
              <a:cxn ang="0">
                <a:pos x="connsiteX11564" y="connsiteY11564"/>
              </a:cxn>
              <a:cxn ang="0">
                <a:pos x="connsiteX11565" y="connsiteY11565"/>
              </a:cxn>
              <a:cxn ang="0">
                <a:pos x="connsiteX11566" y="connsiteY11566"/>
              </a:cxn>
              <a:cxn ang="0">
                <a:pos x="connsiteX11567" y="connsiteY11567"/>
              </a:cxn>
              <a:cxn ang="0">
                <a:pos x="connsiteX11568" y="connsiteY11568"/>
              </a:cxn>
              <a:cxn ang="0">
                <a:pos x="connsiteX11569" y="connsiteY11569"/>
              </a:cxn>
              <a:cxn ang="0">
                <a:pos x="connsiteX11570" y="connsiteY11570"/>
              </a:cxn>
              <a:cxn ang="0">
                <a:pos x="connsiteX11571" y="connsiteY11571"/>
              </a:cxn>
              <a:cxn ang="0">
                <a:pos x="connsiteX11572" y="connsiteY11572"/>
              </a:cxn>
              <a:cxn ang="0">
                <a:pos x="connsiteX11573" y="connsiteY11573"/>
              </a:cxn>
              <a:cxn ang="0">
                <a:pos x="connsiteX11574" y="connsiteY11574"/>
              </a:cxn>
              <a:cxn ang="0">
                <a:pos x="connsiteX11575" y="connsiteY11575"/>
              </a:cxn>
              <a:cxn ang="0">
                <a:pos x="connsiteX11576" y="connsiteY11576"/>
              </a:cxn>
              <a:cxn ang="0">
                <a:pos x="connsiteX11577" y="connsiteY11577"/>
              </a:cxn>
              <a:cxn ang="0">
                <a:pos x="connsiteX11578" y="connsiteY11578"/>
              </a:cxn>
              <a:cxn ang="0">
                <a:pos x="connsiteX11579" y="connsiteY11579"/>
              </a:cxn>
              <a:cxn ang="0">
                <a:pos x="connsiteX11580" y="connsiteY11580"/>
              </a:cxn>
              <a:cxn ang="0">
                <a:pos x="connsiteX11581" y="connsiteY11581"/>
              </a:cxn>
              <a:cxn ang="0">
                <a:pos x="connsiteX11582" y="connsiteY11582"/>
              </a:cxn>
              <a:cxn ang="0">
                <a:pos x="connsiteX11583" y="connsiteY11583"/>
              </a:cxn>
              <a:cxn ang="0">
                <a:pos x="connsiteX11584" y="connsiteY11584"/>
              </a:cxn>
              <a:cxn ang="0">
                <a:pos x="connsiteX11585" y="connsiteY11585"/>
              </a:cxn>
              <a:cxn ang="0">
                <a:pos x="connsiteX11586" y="connsiteY11586"/>
              </a:cxn>
              <a:cxn ang="0">
                <a:pos x="connsiteX11587" y="connsiteY11587"/>
              </a:cxn>
              <a:cxn ang="0">
                <a:pos x="connsiteX11588" y="connsiteY11588"/>
              </a:cxn>
              <a:cxn ang="0">
                <a:pos x="connsiteX11589" y="connsiteY11589"/>
              </a:cxn>
              <a:cxn ang="0">
                <a:pos x="connsiteX11590" y="connsiteY11590"/>
              </a:cxn>
              <a:cxn ang="0">
                <a:pos x="connsiteX11591" y="connsiteY11591"/>
              </a:cxn>
              <a:cxn ang="0">
                <a:pos x="connsiteX11592" y="connsiteY11592"/>
              </a:cxn>
              <a:cxn ang="0">
                <a:pos x="connsiteX11593" y="connsiteY11593"/>
              </a:cxn>
              <a:cxn ang="0">
                <a:pos x="connsiteX11594" y="connsiteY11594"/>
              </a:cxn>
              <a:cxn ang="0">
                <a:pos x="connsiteX11595" y="connsiteY11595"/>
              </a:cxn>
              <a:cxn ang="0">
                <a:pos x="connsiteX11596" y="connsiteY11596"/>
              </a:cxn>
              <a:cxn ang="0">
                <a:pos x="connsiteX11597" y="connsiteY11597"/>
              </a:cxn>
              <a:cxn ang="0">
                <a:pos x="connsiteX11598" y="connsiteY11598"/>
              </a:cxn>
              <a:cxn ang="0">
                <a:pos x="connsiteX11599" y="connsiteY11599"/>
              </a:cxn>
              <a:cxn ang="0">
                <a:pos x="connsiteX11600" y="connsiteY11600"/>
              </a:cxn>
              <a:cxn ang="0">
                <a:pos x="connsiteX11601" y="connsiteY11601"/>
              </a:cxn>
              <a:cxn ang="0">
                <a:pos x="connsiteX11602" y="connsiteY11602"/>
              </a:cxn>
              <a:cxn ang="0">
                <a:pos x="connsiteX11603" y="connsiteY11603"/>
              </a:cxn>
              <a:cxn ang="0">
                <a:pos x="connsiteX11604" y="connsiteY11604"/>
              </a:cxn>
              <a:cxn ang="0">
                <a:pos x="connsiteX11605" y="connsiteY11605"/>
              </a:cxn>
              <a:cxn ang="0">
                <a:pos x="connsiteX11606" y="connsiteY11606"/>
              </a:cxn>
              <a:cxn ang="0">
                <a:pos x="connsiteX11607" y="connsiteY11607"/>
              </a:cxn>
              <a:cxn ang="0">
                <a:pos x="connsiteX11608" y="connsiteY11608"/>
              </a:cxn>
              <a:cxn ang="0">
                <a:pos x="connsiteX11609" y="connsiteY11609"/>
              </a:cxn>
              <a:cxn ang="0">
                <a:pos x="connsiteX11610" y="connsiteY11610"/>
              </a:cxn>
              <a:cxn ang="0">
                <a:pos x="connsiteX11611" y="connsiteY11611"/>
              </a:cxn>
              <a:cxn ang="0">
                <a:pos x="connsiteX11612" y="connsiteY11612"/>
              </a:cxn>
              <a:cxn ang="0">
                <a:pos x="connsiteX11613" y="connsiteY11613"/>
              </a:cxn>
              <a:cxn ang="0">
                <a:pos x="connsiteX11614" y="connsiteY11614"/>
              </a:cxn>
              <a:cxn ang="0">
                <a:pos x="connsiteX11615" y="connsiteY11615"/>
              </a:cxn>
              <a:cxn ang="0">
                <a:pos x="connsiteX11616" y="connsiteY11616"/>
              </a:cxn>
              <a:cxn ang="0">
                <a:pos x="connsiteX11617" y="connsiteY11617"/>
              </a:cxn>
              <a:cxn ang="0">
                <a:pos x="connsiteX11618" y="connsiteY11618"/>
              </a:cxn>
              <a:cxn ang="0">
                <a:pos x="connsiteX11619" y="connsiteY11619"/>
              </a:cxn>
              <a:cxn ang="0">
                <a:pos x="connsiteX11620" y="connsiteY11620"/>
              </a:cxn>
              <a:cxn ang="0">
                <a:pos x="connsiteX11621" y="connsiteY11621"/>
              </a:cxn>
              <a:cxn ang="0">
                <a:pos x="connsiteX11622" y="connsiteY11622"/>
              </a:cxn>
              <a:cxn ang="0">
                <a:pos x="connsiteX11623" y="connsiteY11623"/>
              </a:cxn>
              <a:cxn ang="0">
                <a:pos x="connsiteX11624" y="connsiteY11624"/>
              </a:cxn>
              <a:cxn ang="0">
                <a:pos x="connsiteX11625" y="connsiteY11625"/>
              </a:cxn>
              <a:cxn ang="0">
                <a:pos x="connsiteX11626" y="connsiteY11626"/>
              </a:cxn>
              <a:cxn ang="0">
                <a:pos x="connsiteX11627" y="connsiteY11627"/>
              </a:cxn>
              <a:cxn ang="0">
                <a:pos x="connsiteX11628" y="connsiteY11628"/>
              </a:cxn>
              <a:cxn ang="0">
                <a:pos x="connsiteX11629" y="connsiteY11629"/>
              </a:cxn>
              <a:cxn ang="0">
                <a:pos x="connsiteX11630" y="connsiteY11630"/>
              </a:cxn>
              <a:cxn ang="0">
                <a:pos x="connsiteX11631" y="connsiteY11631"/>
              </a:cxn>
              <a:cxn ang="0">
                <a:pos x="connsiteX11632" y="connsiteY11632"/>
              </a:cxn>
              <a:cxn ang="0">
                <a:pos x="connsiteX11633" y="connsiteY11633"/>
              </a:cxn>
              <a:cxn ang="0">
                <a:pos x="connsiteX11634" y="connsiteY11634"/>
              </a:cxn>
              <a:cxn ang="0">
                <a:pos x="connsiteX11635" y="connsiteY11635"/>
              </a:cxn>
              <a:cxn ang="0">
                <a:pos x="connsiteX11636" y="connsiteY11636"/>
              </a:cxn>
              <a:cxn ang="0">
                <a:pos x="connsiteX11637" y="connsiteY11637"/>
              </a:cxn>
              <a:cxn ang="0">
                <a:pos x="connsiteX11638" y="connsiteY11638"/>
              </a:cxn>
              <a:cxn ang="0">
                <a:pos x="connsiteX11639" y="connsiteY11639"/>
              </a:cxn>
              <a:cxn ang="0">
                <a:pos x="connsiteX11640" y="connsiteY11640"/>
              </a:cxn>
              <a:cxn ang="0">
                <a:pos x="connsiteX11641" y="connsiteY11641"/>
              </a:cxn>
              <a:cxn ang="0">
                <a:pos x="connsiteX11642" y="connsiteY11642"/>
              </a:cxn>
              <a:cxn ang="0">
                <a:pos x="connsiteX11643" y="connsiteY11643"/>
              </a:cxn>
              <a:cxn ang="0">
                <a:pos x="connsiteX11644" y="connsiteY11644"/>
              </a:cxn>
              <a:cxn ang="0">
                <a:pos x="connsiteX11645" y="connsiteY11645"/>
              </a:cxn>
              <a:cxn ang="0">
                <a:pos x="connsiteX11646" y="connsiteY11646"/>
              </a:cxn>
              <a:cxn ang="0">
                <a:pos x="connsiteX11647" y="connsiteY11647"/>
              </a:cxn>
              <a:cxn ang="0">
                <a:pos x="connsiteX11648" y="connsiteY11648"/>
              </a:cxn>
              <a:cxn ang="0">
                <a:pos x="connsiteX11649" y="connsiteY11649"/>
              </a:cxn>
              <a:cxn ang="0">
                <a:pos x="connsiteX11650" y="connsiteY11650"/>
              </a:cxn>
              <a:cxn ang="0">
                <a:pos x="connsiteX11651" y="connsiteY11651"/>
              </a:cxn>
              <a:cxn ang="0">
                <a:pos x="connsiteX11652" y="connsiteY11652"/>
              </a:cxn>
              <a:cxn ang="0">
                <a:pos x="connsiteX11653" y="connsiteY11653"/>
              </a:cxn>
              <a:cxn ang="0">
                <a:pos x="connsiteX11654" y="connsiteY11654"/>
              </a:cxn>
              <a:cxn ang="0">
                <a:pos x="connsiteX11655" y="connsiteY11655"/>
              </a:cxn>
              <a:cxn ang="0">
                <a:pos x="connsiteX11656" y="connsiteY11656"/>
              </a:cxn>
              <a:cxn ang="0">
                <a:pos x="connsiteX11657" y="connsiteY11657"/>
              </a:cxn>
              <a:cxn ang="0">
                <a:pos x="connsiteX11658" y="connsiteY11658"/>
              </a:cxn>
              <a:cxn ang="0">
                <a:pos x="connsiteX11659" y="connsiteY11659"/>
              </a:cxn>
              <a:cxn ang="0">
                <a:pos x="connsiteX11660" y="connsiteY11660"/>
              </a:cxn>
              <a:cxn ang="0">
                <a:pos x="connsiteX11661" y="connsiteY11661"/>
              </a:cxn>
              <a:cxn ang="0">
                <a:pos x="connsiteX11662" y="connsiteY11662"/>
              </a:cxn>
              <a:cxn ang="0">
                <a:pos x="connsiteX11663" y="connsiteY11663"/>
              </a:cxn>
              <a:cxn ang="0">
                <a:pos x="connsiteX11664" y="connsiteY11664"/>
              </a:cxn>
              <a:cxn ang="0">
                <a:pos x="connsiteX11665" y="connsiteY11665"/>
              </a:cxn>
              <a:cxn ang="0">
                <a:pos x="connsiteX11666" y="connsiteY11666"/>
              </a:cxn>
              <a:cxn ang="0">
                <a:pos x="connsiteX11667" y="connsiteY11667"/>
              </a:cxn>
              <a:cxn ang="0">
                <a:pos x="connsiteX11668" y="connsiteY11668"/>
              </a:cxn>
              <a:cxn ang="0">
                <a:pos x="connsiteX11669" y="connsiteY11669"/>
              </a:cxn>
              <a:cxn ang="0">
                <a:pos x="connsiteX11670" y="connsiteY11670"/>
              </a:cxn>
              <a:cxn ang="0">
                <a:pos x="connsiteX11671" y="connsiteY11671"/>
              </a:cxn>
              <a:cxn ang="0">
                <a:pos x="connsiteX11672" y="connsiteY11672"/>
              </a:cxn>
              <a:cxn ang="0">
                <a:pos x="connsiteX11673" y="connsiteY11673"/>
              </a:cxn>
              <a:cxn ang="0">
                <a:pos x="connsiteX11674" y="connsiteY11674"/>
              </a:cxn>
              <a:cxn ang="0">
                <a:pos x="connsiteX11675" y="connsiteY11675"/>
              </a:cxn>
              <a:cxn ang="0">
                <a:pos x="connsiteX11676" y="connsiteY11676"/>
              </a:cxn>
              <a:cxn ang="0">
                <a:pos x="connsiteX11677" y="connsiteY11677"/>
              </a:cxn>
              <a:cxn ang="0">
                <a:pos x="connsiteX11678" y="connsiteY11678"/>
              </a:cxn>
              <a:cxn ang="0">
                <a:pos x="connsiteX11679" y="connsiteY11679"/>
              </a:cxn>
              <a:cxn ang="0">
                <a:pos x="connsiteX11680" y="connsiteY11680"/>
              </a:cxn>
              <a:cxn ang="0">
                <a:pos x="connsiteX11681" y="connsiteY11681"/>
              </a:cxn>
              <a:cxn ang="0">
                <a:pos x="connsiteX11682" y="connsiteY11682"/>
              </a:cxn>
              <a:cxn ang="0">
                <a:pos x="connsiteX11683" y="connsiteY11683"/>
              </a:cxn>
              <a:cxn ang="0">
                <a:pos x="connsiteX11684" y="connsiteY11684"/>
              </a:cxn>
              <a:cxn ang="0">
                <a:pos x="connsiteX11685" y="connsiteY11685"/>
              </a:cxn>
              <a:cxn ang="0">
                <a:pos x="connsiteX11686" y="connsiteY11686"/>
              </a:cxn>
              <a:cxn ang="0">
                <a:pos x="connsiteX11687" y="connsiteY11687"/>
              </a:cxn>
              <a:cxn ang="0">
                <a:pos x="connsiteX11688" y="connsiteY11688"/>
              </a:cxn>
              <a:cxn ang="0">
                <a:pos x="connsiteX11689" y="connsiteY11689"/>
              </a:cxn>
              <a:cxn ang="0">
                <a:pos x="connsiteX11690" y="connsiteY11690"/>
              </a:cxn>
              <a:cxn ang="0">
                <a:pos x="connsiteX11691" y="connsiteY11691"/>
              </a:cxn>
              <a:cxn ang="0">
                <a:pos x="connsiteX11692" y="connsiteY11692"/>
              </a:cxn>
              <a:cxn ang="0">
                <a:pos x="connsiteX11693" y="connsiteY11693"/>
              </a:cxn>
              <a:cxn ang="0">
                <a:pos x="connsiteX11694" y="connsiteY11694"/>
              </a:cxn>
              <a:cxn ang="0">
                <a:pos x="connsiteX11695" y="connsiteY11695"/>
              </a:cxn>
              <a:cxn ang="0">
                <a:pos x="connsiteX11696" y="connsiteY11696"/>
              </a:cxn>
              <a:cxn ang="0">
                <a:pos x="connsiteX11697" y="connsiteY11697"/>
              </a:cxn>
              <a:cxn ang="0">
                <a:pos x="connsiteX11698" y="connsiteY11698"/>
              </a:cxn>
              <a:cxn ang="0">
                <a:pos x="connsiteX11699" y="connsiteY11699"/>
              </a:cxn>
              <a:cxn ang="0">
                <a:pos x="connsiteX11700" y="connsiteY11700"/>
              </a:cxn>
              <a:cxn ang="0">
                <a:pos x="connsiteX11701" y="connsiteY11701"/>
              </a:cxn>
              <a:cxn ang="0">
                <a:pos x="connsiteX11702" y="connsiteY11702"/>
              </a:cxn>
              <a:cxn ang="0">
                <a:pos x="connsiteX11703" y="connsiteY11703"/>
              </a:cxn>
              <a:cxn ang="0">
                <a:pos x="connsiteX11704" y="connsiteY11704"/>
              </a:cxn>
              <a:cxn ang="0">
                <a:pos x="connsiteX11705" y="connsiteY11705"/>
              </a:cxn>
              <a:cxn ang="0">
                <a:pos x="connsiteX11706" y="connsiteY11706"/>
              </a:cxn>
              <a:cxn ang="0">
                <a:pos x="connsiteX11707" y="connsiteY11707"/>
              </a:cxn>
              <a:cxn ang="0">
                <a:pos x="connsiteX11708" y="connsiteY11708"/>
              </a:cxn>
              <a:cxn ang="0">
                <a:pos x="connsiteX11709" y="connsiteY11709"/>
              </a:cxn>
              <a:cxn ang="0">
                <a:pos x="connsiteX11710" y="connsiteY11710"/>
              </a:cxn>
              <a:cxn ang="0">
                <a:pos x="connsiteX11711" y="connsiteY11711"/>
              </a:cxn>
              <a:cxn ang="0">
                <a:pos x="connsiteX11712" y="connsiteY11712"/>
              </a:cxn>
              <a:cxn ang="0">
                <a:pos x="connsiteX11713" y="connsiteY11713"/>
              </a:cxn>
              <a:cxn ang="0">
                <a:pos x="connsiteX11714" y="connsiteY11714"/>
              </a:cxn>
              <a:cxn ang="0">
                <a:pos x="connsiteX11715" y="connsiteY11715"/>
              </a:cxn>
              <a:cxn ang="0">
                <a:pos x="connsiteX11716" y="connsiteY11716"/>
              </a:cxn>
              <a:cxn ang="0">
                <a:pos x="connsiteX11717" y="connsiteY11717"/>
              </a:cxn>
              <a:cxn ang="0">
                <a:pos x="connsiteX11718" y="connsiteY11718"/>
              </a:cxn>
              <a:cxn ang="0">
                <a:pos x="connsiteX11719" y="connsiteY11719"/>
              </a:cxn>
              <a:cxn ang="0">
                <a:pos x="connsiteX11720" y="connsiteY11720"/>
              </a:cxn>
              <a:cxn ang="0">
                <a:pos x="connsiteX11721" y="connsiteY11721"/>
              </a:cxn>
              <a:cxn ang="0">
                <a:pos x="connsiteX11722" y="connsiteY11722"/>
              </a:cxn>
              <a:cxn ang="0">
                <a:pos x="connsiteX11723" y="connsiteY11723"/>
              </a:cxn>
              <a:cxn ang="0">
                <a:pos x="connsiteX11724" y="connsiteY11724"/>
              </a:cxn>
              <a:cxn ang="0">
                <a:pos x="connsiteX11725" y="connsiteY11725"/>
              </a:cxn>
              <a:cxn ang="0">
                <a:pos x="connsiteX11726" y="connsiteY11726"/>
              </a:cxn>
              <a:cxn ang="0">
                <a:pos x="connsiteX11727" y="connsiteY11727"/>
              </a:cxn>
              <a:cxn ang="0">
                <a:pos x="connsiteX11728" y="connsiteY11728"/>
              </a:cxn>
              <a:cxn ang="0">
                <a:pos x="connsiteX11729" y="connsiteY11729"/>
              </a:cxn>
              <a:cxn ang="0">
                <a:pos x="connsiteX11730" y="connsiteY11730"/>
              </a:cxn>
              <a:cxn ang="0">
                <a:pos x="connsiteX11731" y="connsiteY11731"/>
              </a:cxn>
              <a:cxn ang="0">
                <a:pos x="connsiteX11732" y="connsiteY11732"/>
              </a:cxn>
              <a:cxn ang="0">
                <a:pos x="connsiteX11733" y="connsiteY11733"/>
              </a:cxn>
              <a:cxn ang="0">
                <a:pos x="connsiteX11734" y="connsiteY11734"/>
              </a:cxn>
              <a:cxn ang="0">
                <a:pos x="connsiteX11735" y="connsiteY11735"/>
              </a:cxn>
              <a:cxn ang="0">
                <a:pos x="connsiteX11736" y="connsiteY11736"/>
              </a:cxn>
              <a:cxn ang="0">
                <a:pos x="connsiteX11737" y="connsiteY11737"/>
              </a:cxn>
              <a:cxn ang="0">
                <a:pos x="connsiteX11738" y="connsiteY11738"/>
              </a:cxn>
              <a:cxn ang="0">
                <a:pos x="connsiteX11739" y="connsiteY11739"/>
              </a:cxn>
              <a:cxn ang="0">
                <a:pos x="connsiteX11740" y="connsiteY11740"/>
              </a:cxn>
              <a:cxn ang="0">
                <a:pos x="connsiteX11741" y="connsiteY11741"/>
              </a:cxn>
              <a:cxn ang="0">
                <a:pos x="connsiteX11742" y="connsiteY11742"/>
              </a:cxn>
              <a:cxn ang="0">
                <a:pos x="connsiteX11743" y="connsiteY11743"/>
              </a:cxn>
              <a:cxn ang="0">
                <a:pos x="connsiteX11744" y="connsiteY11744"/>
              </a:cxn>
              <a:cxn ang="0">
                <a:pos x="connsiteX11745" y="connsiteY11745"/>
              </a:cxn>
              <a:cxn ang="0">
                <a:pos x="connsiteX11746" y="connsiteY11746"/>
              </a:cxn>
              <a:cxn ang="0">
                <a:pos x="connsiteX11747" y="connsiteY11747"/>
              </a:cxn>
              <a:cxn ang="0">
                <a:pos x="connsiteX11748" y="connsiteY11748"/>
              </a:cxn>
              <a:cxn ang="0">
                <a:pos x="connsiteX11749" y="connsiteY11749"/>
              </a:cxn>
              <a:cxn ang="0">
                <a:pos x="connsiteX11750" y="connsiteY11750"/>
              </a:cxn>
              <a:cxn ang="0">
                <a:pos x="connsiteX11751" y="connsiteY11751"/>
              </a:cxn>
              <a:cxn ang="0">
                <a:pos x="connsiteX11752" y="connsiteY11752"/>
              </a:cxn>
              <a:cxn ang="0">
                <a:pos x="connsiteX11753" y="connsiteY11753"/>
              </a:cxn>
              <a:cxn ang="0">
                <a:pos x="connsiteX11754" y="connsiteY11754"/>
              </a:cxn>
              <a:cxn ang="0">
                <a:pos x="connsiteX11755" y="connsiteY11755"/>
              </a:cxn>
              <a:cxn ang="0">
                <a:pos x="connsiteX11756" y="connsiteY11756"/>
              </a:cxn>
              <a:cxn ang="0">
                <a:pos x="connsiteX11757" y="connsiteY11757"/>
              </a:cxn>
              <a:cxn ang="0">
                <a:pos x="connsiteX11758" y="connsiteY11758"/>
              </a:cxn>
              <a:cxn ang="0">
                <a:pos x="connsiteX11759" y="connsiteY11759"/>
              </a:cxn>
              <a:cxn ang="0">
                <a:pos x="connsiteX11760" y="connsiteY11760"/>
              </a:cxn>
              <a:cxn ang="0">
                <a:pos x="connsiteX11761" y="connsiteY11761"/>
              </a:cxn>
              <a:cxn ang="0">
                <a:pos x="connsiteX11762" y="connsiteY11762"/>
              </a:cxn>
              <a:cxn ang="0">
                <a:pos x="connsiteX11763" y="connsiteY11763"/>
              </a:cxn>
              <a:cxn ang="0">
                <a:pos x="connsiteX11764" y="connsiteY11764"/>
              </a:cxn>
              <a:cxn ang="0">
                <a:pos x="connsiteX11765" y="connsiteY11765"/>
              </a:cxn>
              <a:cxn ang="0">
                <a:pos x="connsiteX11766" y="connsiteY11766"/>
              </a:cxn>
              <a:cxn ang="0">
                <a:pos x="connsiteX11767" y="connsiteY11767"/>
              </a:cxn>
              <a:cxn ang="0">
                <a:pos x="connsiteX11768" y="connsiteY11768"/>
              </a:cxn>
              <a:cxn ang="0">
                <a:pos x="connsiteX11769" y="connsiteY11769"/>
              </a:cxn>
              <a:cxn ang="0">
                <a:pos x="connsiteX11770" y="connsiteY11770"/>
              </a:cxn>
              <a:cxn ang="0">
                <a:pos x="connsiteX11771" y="connsiteY11771"/>
              </a:cxn>
              <a:cxn ang="0">
                <a:pos x="connsiteX11772" y="connsiteY11772"/>
              </a:cxn>
              <a:cxn ang="0">
                <a:pos x="connsiteX11773" y="connsiteY11773"/>
              </a:cxn>
              <a:cxn ang="0">
                <a:pos x="connsiteX11774" y="connsiteY11774"/>
              </a:cxn>
              <a:cxn ang="0">
                <a:pos x="connsiteX11775" y="connsiteY11775"/>
              </a:cxn>
              <a:cxn ang="0">
                <a:pos x="connsiteX11776" y="connsiteY11776"/>
              </a:cxn>
              <a:cxn ang="0">
                <a:pos x="connsiteX11777" y="connsiteY11777"/>
              </a:cxn>
              <a:cxn ang="0">
                <a:pos x="connsiteX11778" y="connsiteY11778"/>
              </a:cxn>
              <a:cxn ang="0">
                <a:pos x="connsiteX11779" y="connsiteY11779"/>
              </a:cxn>
              <a:cxn ang="0">
                <a:pos x="connsiteX11780" y="connsiteY11780"/>
              </a:cxn>
              <a:cxn ang="0">
                <a:pos x="connsiteX11781" y="connsiteY11781"/>
              </a:cxn>
              <a:cxn ang="0">
                <a:pos x="connsiteX11782" y="connsiteY11782"/>
              </a:cxn>
              <a:cxn ang="0">
                <a:pos x="connsiteX11783" y="connsiteY11783"/>
              </a:cxn>
              <a:cxn ang="0">
                <a:pos x="connsiteX11784" y="connsiteY11784"/>
              </a:cxn>
              <a:cxn ang="0">
                <a:pos x="connsiteX11785" y="connsiteY11785"/>
              </a:cxn>
              <a:cxn ang="0">
                <a:pos x="connsiteX11786" y="connsiteY11786"/>
              </a:cxn>
              <a:cxn ang="0">
                <a:pos x="connsiteX11787" y="connsiteY11787"/>
              </a:cxn>
              <a:cxn ang="0">
                <a:pos x="connsiteX11788" y="connsiteY11788"/>
              </a:cxn>
              <a:cxn ang="0">
                <a:pos x="connsiteX11789" y="connsiteY11789"/>
              </a:cxn>
              <a:cxn ang="0">
                <a:pos x="connsiteX11790" y="connsiteY11790"/>
              </a:cxn>
              <a:cxn ang="0">
                <a:pos x="connsiteX11791" y="connsiteY11791"/>
              </a:cxn>
              <a:cxn ang="0">
                <a:pos x="connsiteX11792" y="connsiteY11792"/>
              </a:cxn>
              <a:cxn ang="0">
                <a:pos x="connsiteX11793" y="connsiteY11793"/>
              </a:cxn>
              <a:cxn ang="0">
                <a:pos x="connsiteX11794" y="connsiteY11794"/>
              </a:cxn>
              <a:cxn ang="0">
                <a:pos x="connsiteX11795" y="connsiteY11795"/>
              </a:cxn>
              <a:cxn ang="0">
                <a:pos x="connsiteX11796" y="connsiteY11796"/>
              </a:cxn>
              <a:cxn ang="0">
                <a:pos x="connsiteX11797" y="connsiteY11797"/>
              </a:cxn>
              <a:cxn ang="0">
                <a:pos x="connsiteX11798" y="connsiteY11798"/>
              </a:cxn>
              <a:cxn ang="0">
                <a:pos x="connsiteX11799" y="connsiteY11799"/>
              </a:cxn>
              <a:cxn ang="0">
                <a:pos x="connsiteX11800" y="connsiteY11800"/>
              </a:cxn>
              <a:cxn ang="0">
                <a:pos x="connsiteX11801" y="connsiteY11801"/>
              </a:cxn>
              <a:cxn ang="0">
                <a:pos x="connsiteX11802" y="connsiteY11802"/>
              </a:cxn>
              <a:cxn ang="0">
                <a:pos x="connsiteX11803" y="connsiteY11803"/>
              </a:cxn>
              <a:cxn ang="0">
                <a:pos x="connsiteX11804" y="connsiteY11804"/>
              </a:cxn>
              <a:cxn ang="0">
                <a:pos x="connsiteX11805" y="connsiteY11805"/>
              </a:cxn>
              <a:cxn ang="0">
                <a:pos x="connsiteX11806" y="connsiteY11806"/>
              </a:cxn>
              <a:cxn ang="0">
                <a:pos x="connsiteX11807" y="connsiteY11807"/>
              </a:cxn>
              <a:cxn ang="0">
                <a:pos x="connsiteX11808" y="connsiteY11808"/>
              </a:cxn>
              <a:cxn ang="0">
                <a:pos x="connsiteX11809" y="connsiteY11809"/>
              </a:cxn>
              <a:cxn ang="0">
                <a:pos x="connsiteX11810" y="connsiteY11810"/>
              </a:cxn>
              <a:cxn ang="0">
                <a:pos x="connsiteX11811" y="connsiteY11811"/>
              </a:cxn>
              <a:cxn ang="0">
                <a:pos x="connsiteX11812" y="connsiteY11812"/>
              </a:cxn>
              <a:cxn ang="0">
                <a:pos x="connsiteX11813" y="connsiteY11813"/>
              </a:cxn>
              <a:cxn ang="0">
                <a:pos x="connsiteX11814" y="connsiteY11814"/>
              </a:cxn>
              <a:cxn ang="0">
                <a:pos x="connsiteX11815" y="connsiteY11815"/>
              </a:cxn>
              <a:cxn ang="0">
                <a:pos x="connsiteX11816" y="connsiteY11816"/>
              </a:cxn>
              <a:cxn ang="0">
                <a:pos x="connsiteX11817" y="connsiteY11817"/>
              </a:cxn>
              <a:cxn ang="0">
                <a:pos x="connsiteX11818" y="connsiteY11818"/>
              </a:cxn>
              <a:cxn ang="0">
                <a:pos x="connsiteX11819" y="connsiteY11819"/>
              </a:cxn>
              <a:cxn ang="0">
                <a:pos x="connsiteX11820" y="connsiteY11820"/>
              </a:cxn>
              <a:cxn ang="0">
                <a:pos x="connsiteX11821" y="connsiteY11821"/>
              </a:cxn>
              <a:cxn ang="0">
                <a:pos x="connsiteX11822" y="connsiteY11822"/>
              </a:cxn>
              <a:cxn ang="0">
                <a:pos x="connsiteX11823" y="connsiteY11823"/>
              </a:cxn>
              <a:cxn ang="0">
                <a:pos x="connsiteX11824" y="connsiteY11824"/>
              </a:cxn>
              <a:cxn ang="0">
                <a:pos x="connsiteX11825" y="connsiteY11825"/>
              </a:cxn>
              <a:cxn ang="0">
                <a:pos x="connsiteX11826" y="connsiteY11826"/>
              </a:cxn>
              <a:cxn ang="0">
                <a:pos x="connsiteX11827" y="connsiteY11827"/>
              </a:cxn>
              <a:cxn ang="0">
                <a:pos x="connsiteX11828" y="connsiteY11828"/>
              </a:cxn>
              <a:cxn ang="0">
                <a:pos x="connsiteX11829" y="connsiteY11829"/>
              </a:cxn>
              <a:cxn ang="0">
                <a:pos x="connsiteX11830" y="connsiteY11830"/>
              </a:cxn>
              <a:cxn ang="0">
                <a:pos x="connsiteX11831" y="connsiteY11831"/>
              </a:cxn>
              <a:cxn ang="0">
                <a:pos x="connsiteX11832" y="connsiteY11832"/>
              </a:cxn>
              <a:cxn ang="0">
                <a:pos x="connsiteX11833" y="connsiteY11833"/>
              </a:cxn>
              <a:cxn ang="0">
                <a:pos x="connsiteX11834" y="connsiteY11834"/>
              </a:cxn>
              <a:cxn ang="0">
                <a:pos x="connsiteX11835" y="connsiteY11835"/>
              </a:cxn>
              <a:cxn ang="0">
                <a:pos x="connsiteX11836" y="connsiteY11836"/>
              </a:cxn>
              <a:cxn ang="0">
                <a:pos x="connsiteX11837" y="connsiteY11837"/>
              </a:cxn>
              <a:cxn ang="0">
                <a:pos x="connsiteX11838" y="connsiteY11838"/>
              </a:cxn>
              <a:cxn ang="0">
                <a:pos x="connsiteX11839" y="connsiteY11839"/>
              </a:cxn>
              <a:cxn ang="0">
                <a:pos x="connsiteX11840" y="connsiteY11840"/>
              </a:cxn>
              <a:cxn ang="0">
                <a:pos x="connsiteX11841" y="connsiteY11841"/>
              </a:cxn>
              <a:cxn ang="0">
                <a:pos x="connsiteX11842" y="connsiteY11842"/>
              </a:cxn>
              <a:cxn ang="0">
                <a:pos x="connsiteX11843" y="connsiteY11843"/>
              </a:cxn>
              <a:cxn ang="0">
                <a:pos x="connsiteX11844" y="connsiteY11844"/>
              </a:cxn>
              <a:cxn ang="0">
                <a:pos x="connsiteX11845" y="connsiteY11845"/>
              </a:cxn>
              <a:cxn ang="0">
                <a:pos x="connsiteX11846" y="connsiteY11846"/>
              </a:cxn>
              <a:cxn ang="0">
                <a:pos x="connsiteX11847" y="connsiteY11847"/>
              </a:cxn>
              <a:cxn ang="0">
                <a:pos x="connsiteX11848" y="connsiteY11848"/>
              </a:cxn>
              <a:cxn ang="0">
                <a:pos x="connsiteX11849" y="connsiteY11849"/>
              </a:cxn>
              <a:cxn ang="0">
                <a:pos x="connsiteX11850" y="connsiteY11850"/>
              </a:cxn>
              <a:cxn ang="0">
                <a:pos x="connsiteX11851" y="connsiteY11851"/>
              </a:cxn>
              <a:cxn ang="0">
                <a:pos x="connsiteX11852" y="connsiteY11852"/>
              </a:cxn>
              <a:cxn ang="0">
                <a:pos x="connsiteX11853" y="connsiteY11853"/>
              </a:cxn>
              <a:cxn ang="0">
                <a:pos x="connsiteX11854" y="connsiteY11854"/>
              </a:cxn>
              <a:cxn ang="0">
                <a:pos x="connsiteX11855" y="connsiteY11855"/>
              </a:cxn>
              <a:cxn ang="0">
                <a:pos x="connsiteX11856" y="connsiteY11856"/>
              </a:cxn>
              <a:cxn ang="0">
                <a:pos x="connsiteX11857" y="connsiteY11857"/>
              </a:cxn>
              <a:cxn ang="0">
                <a:pos x="connsiteX11858" y="connsiteY11858"/>
              </a:cxn>
              <a:cxn ang="0">
                <a:pos x="connsiteX11859" y="connsiteY11859"/>
              </a:cxn>
              <a:cxn ang="0">
                <a:pos x="connsiteX11860" y="connsiteY11860"/>
              </a:cxn>
              <a:cxn ang="0">
                <a:pos x="connsiteX11861" y="connsiteY11861"/>
              </a:cxn>
              <a:cxn ang="0">
                <a:pos x="connsiteX11862" y="connsiteY11862"/>
              </a:cxn>
              <a:cxn ang="0">
                <a:pos x="connsiteX11863" y="connsiteY11863"/>
              </a:cxn>
              <a:cxn ang="0">
                <a:pos x="connsiteX11864" y="connsiteY11864"/>
              </a:cxn>
              <a:cxn ang="0">
                <a:pos x="connsiteX11865" y="connsiteY11865"/>
              </a:cxn>
              <a:cxn ang="0">
                <a:pos x="connsiteX11866" y="connsiteY11866"/>
              </a:cxn>
              <a:cxn ang="0">
                <a:pos x="connsiteX11867" y="connsiteY11867"/>
              </a:cxn>
              <a:cxn ang="0">
                <a:pos x="connsiteX11868" y="connsiteY11868"/>
              </a:cxn>
              <a:cxn ang="0">
                <a:pos x="connsiteX11869" y="connsiteY11869"/>
              </a:cxn>
              <a:cxn ang="0">
                <a:pos x="connsiteX11870" y="connsiteY11870"/>
              </a:cxn>
              <a:cxn ang="0">
                <a:pos x="connsiteX11871" y="connsiteY11871"/>
              </a:cxn>
              <a:cxn ang="0">
                <a:pos x="connsiteX11872" y="connsiteY11872"/>
              </a:cxn>
              <a:cxn ang="0">
                <a:pos x="connsiteX11873" y="connsiteY11873"/>
              </a:cxn>
              <a:cxn ang="0">
                <a:pos x="connsiteX11874" y="connsiteY11874"/>
              </a:cxn>
              <a:cxn ang="0">
                <a:pos x="connsiteX11875" y="connsiteY11875"/>
              </a:cxn>
              <a:cxn ang="0">
                <a:pos x="connsiteX11876" y="connsiteY11876"/>
              </a:cxn>
              <a:cxn ang="0">
                <a:pos x="connsiteX11877" y="connsiteY11877"/>
              </a:cxn>
              <a:cxn ang="0">
                <a:pos x="connsiteX11878" y="connsiteY11878"/>
              </a:cxn>
              <a:cxn ang="0">
                <a:pos x="connsiteX11879" y="connsiteY11879"/>
              </a:cxn>
              <a:cxn ang="0">
                <a:pos x="connsiteX11880" y="connsiteY11880"/>
              </a:cxn>
              <a:cxn ang="0">
                <a:pos x="connsiteX11881" y="connsiteY11881"/>
              </a:cxn>
              <a:cxn ang="0">
                <a:pos x="connsiteX11882" y="connsiteY11882"/>
              </a:cxn>
              <a:cxn ang="0">
                <a:pos x="connsiteX11883" y="connsiteY11883"/>
              </a:cxn>
              <a:cxn ang="0">
                <a:pos x="connsiteX11884" y="connsiteY11884"/>
              </a:cxn>
              <a:cxn ang="0">
                <a:pos x="connsiteX11885" y="connsiteY11885"/>
              </a:cxn>
              <a:cxn ang="0">
                <a:pos x="connsiteX11886" y="connsiteY11886"/>
              </a:cxn>
              <a:cxn ang="0">
                <a:pos x="connsiteX11887" y="connsiteY11887"/>
              </a:cxn>
              <a:cxn ang="0">
                <a:pos x="connsiteX11888" y="connsiteY11888"/>
              </a:cxn>
              <a:cxn ang="0">
                <a:pos x="connsiteX11889" y="connsiteY11889"/>
              </a:cxn>
              <a:cxn ang="0">
                <a:pos x="connsiteX11890" y="connsiteY11890"/>
              </a:cxn>
              <a:cxn ang="0">
                <a:pos x="connsiteX11891" y="connsiteY11891"/>
              </a:cxn>
              <a:cxn ang="0">
                <a:pos x="connsiteX11892" y="connsiteY11892"/>
              </a:cxn>
              <a:cxn ang="0">
                <a:pos x="connsiteX11893" y="connsiteY11893"/>
              </a:cxn>
              <a:cxn ang="0">
                <a:pos x="connsiteX11894" y="connsiteY11894"/>
              </a:cxn>
              <a:cxn ang="0">
                <a:pos x="connsiteX11895" y="connsiteY11895"/>
              </a:cxn>
              <a:cxn ang="0">
                <a:pos x="connsiteX11896" y="connsiteY11896"/>
              </a:cxn>
              <a:cxn ang="0">
                <a:pos x="connsiteX11897" y="connsiteY11897"/>
              </a:cxn>
              <a:cxn ang="0">
                <a:pos x="connsiteX11898" y="connsiteY11898"/>
              </a:cxn>
              <a:cxn ang="0">
                <a:pos x="connsiteX11899" y="connsiteY11899"/>
              </a:cxn>
              <a:cxn ang="0">
                <a:pos x="connsiteX11900" y="connsiteY11900"/>
              </a:cxn>
              <a:cxn ang="0">
                <a:pos x="connsiteX11901" y="connsiteY11901"/>
              </a:cxn>
              <a:cxn ang="0">
                <a:pos x="connsiteX11902" y="connsiteY11902"/>
              </a:cxn>
              <a:cxn ang="0">
                <a:pos x="connsiteX11903" y="connsiteY11903"/>
              </a:cxn>
              <a:cxn ang="0">
                <a:pos x="connsiteX11904" y="connsiteY11904"/>
              </a:cxn>
              <a:cxn ang="0">
                <a:pos x="connsiteX11905" y="connsiteY11905"/>
              </a:cxn>
              <a:cxn ang="0">
                <a:pos x="connsiteX11906" y="connsiteY11906"/>
              </a:cxn>
              <a:cxn ang="0">
                <a:pos x="connsiteX11907" y="connsiteY11907"/>
              </a:cxn>
              <a:cxn ang="0">
                <a:pos x="connsiteX11908" y="connsiteY11908"/>
              </a:cxn>
              <a:cxn ang="0">
                <a:pos x="connsiteX11909" y="connsiteY11909"/>
              </a:cxn>
              <a:cxn ang="0">
                <a:pos x="connsiteX11910" y="connsiteY11910"/>
              </a:cxn>
              <a:cxn ang="0">
                <a:pos x="connsiteX11911" y="connsiteY11911"/>
              </a:cxn>
              <a:cxn ang="0">
                <a:pos x="connsiteX11912" y="connsiteY11912"/>
              </a:cxn>
              <a:cxn ang="0">
                <a:pos x="connsiteX11913" y="connsiteY11913"/>
              </a:cxn>
              <a:cxn ang="0">
                <a:pos x="connsiteX11914" y="connsiteY11914"/>
              </a:cxn>
              <a:cxn ang="0">
                <a:pos x="connsiteX11915" y="connsiteY11915"/>
              </a:cxn>
              <a:cxn ang="0">
                <a:pos x="connsiteX11916" y="connsiteY11916"/>
              </a:cxn>
              <a:cxn ang="0">
                <a:pos x="connsiteX11917" y="connsiteY11917"/>
              </a:cxn>
              <a:cxn ang="0">
                <a:pos x="connsiteX11918" y="connsiteY11918"/>
              </a:cxn>
              <a:cxn ang="0">
                <a:pos x="connsiteX11919" y="connsiteY11919"/>
              </a:cxn>
              <a:cxn ang="0">
                <a:pos x="connsiteX11920" y="connsiteY11920"/>
              </a:cxn>
              <a:cxn ang="0">
                <a:pos x="connsiteX11921" y="connsiteY11921"/>
              </a:cxn>
              <a:cxn ang="0">
                <a:pos x="connsiteX11922" y="connsiteY11922"/>
              </a:cxn>
              <a:cxn ang="0">
                <a:pos x="connsiteX11923" y="connsiteY11923"/>
              </a:cxn>
              <a:cxn ang="0">
                <a:pos x="connsiteX11924" y="connsiteY11924"/>
              </a:cxn>
              <a:cxn ang="0">
                <a:pos x="connsiteX11925" y="connsiteY11925"/>
              </a:cxn>
              <a:cxn ang="0">
                <a:pos x="connsiteX11926" y="connsiteY11926"/>
              </a:cxn>
              <a:cxn ang="0">
                <a:pos x="connsiteX11927" y="connsiteY11927"/>
              </a:cxn>
              <a:cxn ang="0">
                <a:pos x="connsiteX11928" y="connsiteY11928"/>
              </a:cxn>
              <a:cxn ang="0">
                <a:pos x="connsiteX11929" y="connsiteY11929"/>
              </a:cxn>
              <a:cxn ang="0">
                <a:pos x="connsiteX11930" y="connsiteY11930"/>
              </a:cxn>
              <a:cxn ang="0">
                <a:pos x="connsiteX11931" y="connsiteY11931"/>
              </a:cxn>
              <a:cxn ang="0">
                <a:pos x="connsiteX11932" y="connsiteY11932"/>
              </a:cxn>
              <a:cxn ang="0">
                <a:pos x="connsiteX11933" y="connsiteY11933"/>
              </a:cxn>
              <a:cxn ang="0">
                <a:pos x="connsiteX11934" y="connsiteY11934"/>
              </a:cxn>
              <a:cxn ang="0">
                <a:pos x="connsiteX11935" y="connsiteY11935"/>
              </a:cxn>
              <a:cxn ang="0">
                <a:pos x="connsiteX11936" y="connsiteY11936"/>
              </a:cxn>
              <a:cxn ang="0">
                <a:pos x="connsiteX11937" y="connsiteY11937"/>
              </a:cxn>
              <a:cxn ang="0">
                <a:pos x="connsiteX11938" y="connsiteY11938"/>
              </a:cxn>
              <a:cxn ang="0">
                <a:pos x="connsiteX11939" y="connsiteY11939"/>
              </a:cxn>
              <a:cxn ang="0">
                <a:pos x="connsiteX11940" y="connsiteY11940"/>
              </a:cxn>
              <a:cxn ang="0">
                <a:pos x="connsiteX11941" y="connsiteY11941"/>
              </a:cxn>
              <a:cxn ang="0">
                <a:pos x="connsiteX11942" y="connsiteY11942"/>
              </a:cxn>
              <a:cxn ang="0">
                <a:pos x="connsiteX11943" y="connsiteY11943"/>
              </a:cxn>
              <a:cxn ang="0">
                <a:pos x="connsiteX11944" y="connsiteY11944"/>
              </a:cxn>
              <a:cxn ang="0">
                <a:pos x="connsiteX11945" y="connsiteY11945"/>
              </a:cxn>
              <a:cxn ang="0">
                <a:pos x="connsiteX11946" y="connsiteY11946"/>
              </a:cxn>
              <a:cxn ang="0">
                <a:pos x="connsiteX11947" y="connsiteY11947"/>
              </a:cxn>
              <a:cxn ang="0">
                <a:pos x="connsiteX11948" y="connsiteY11948"/>
              </a:cxn>
              <a:cxn ang="0">
                <a:pos x="connsiteX11949" y="connsiteY11949"/>
              </a:cxn>
              <a:cxn ang="0">
                <a:pos x="connsiteX11950" y="connsiteY11950"/>
              </a:cxn>
              <a:cxn ang="0">
                <a:pos x="connsiteX11951" y="connsiteY11951"/>
              </a:cxn>
              <a:cxn ang="0">
                <a:pos x="connsiteX11952" y="connsiteY11952"/>
              </a:cxn>
              <a:cxn ang="0">
                <a:pos x="connsiteX11953" y="connsiteY11953"/>
              </a:cxn>
              <a:cxn ang="0">
                <a:pos x="connsiteX11954" y="connsiteY11954"/>
              </a:cxn>
              <a:cxn ang="0">
                <a:pos x="connsiteX11955" y="connsiteY11955"/>
              </a:cxn>
              <a:cxn ang="0">
                <a:pos x="connsiteX11956" y="connsiteY11956"/>
              </a:cxn>
              <a:cxn ang="0">
                <a:pos x="connsiteX11957" y="connsiteY11957"/>
              </a:cxn>
              <a:cxn ang="0">
                <a:pos x="connsiteX11958" y="connsiteY11958"/>
              </a:cxn>
              <a:cxn ang="0">
                <a:pos x="connsiteX11959" y="connsiteY11959"/>
              </a:cxn>
              <a:cxn ang="0">
                <a:pos x="connsiteX11960" y="connsiteY11960"/>
              </a:cxn>
              <a:cxn ang="0">
                <a:pos x="connsiteX11961" y="connsiteY11961"/>
              </a:cxn>
              <a:cxn ang="0">
                <a:pos x="connsiteX11962" y="connsiteY11962"/>
              </a:cxn>
              <a:cxn ang="0">
                <a:pos x="connsiteX11963" y="connsiteY11963"/>
              </a:cxn>
              <a:cxn ang="0">
                <a:pos x="connsiteX11964" y="connsiteY11964"/>
              </a:cxn>
              <a:cxn ang="0">
                <a:pos x="connsiteX11965" y="connsiteY11965"/>
              </a:cxn>
              <a:cxn ang="0">
                <a:pos x="connsiteX11966" y="connsiteY11966"/>
              </a:cxn>
              <a:cxn ang="0">
                <a:pos x="connsiteX11967" y="connsiteY11967"/>
              </a:cxn>
              <a:cxn ang="0">
                <a:pos x="connsiteX11968" y="connsiteY11968"/>
              </a:cxn>
              <a:cxn ang="0">
                <a:pos x="connsiteX11969" y="connsiteY11969"/>
              </a:cxn>
              <a:cxn ang="0">
                <a:pos x="connsiteX11970" y="connsiteY11970"/>
              </a:cxn>
              <a:cxn ang="0">
                <a:pos x="connsiteX11971" y="connsiteY11971"/>
              </a:cxn>
              <a:cxn ang="0">
                <a:pos x="connsiteX11972" y="connsiteY11972"/>
              </a:cxn>
              <a:cxn ang="0">
                <a:pos x="connsiteX11973" y="connsiteY11973"/>
              </a:cxn>
              <a:cxn ang="0">
                <a:pos x="connsiteX11974" y="connsiteY11974"/>
              </a:cxn>
              <a:cxn ang="0">
                <a:pos x="connsiteX11975" y="connsiteY11975"/>
              </a:cxn>
              <a:cxn ang="0">
                <a:pos x="connsiteX11976" y="connsiteY11976"/>
              </a:cxn>
              <a:cxn ang="0">
                <a:pos x="connsiteX11977" y="connsiteY11977"/>
              </a:cxn>
              <a:cxn ang="0">
                <a:pos x="connsiteX11978" y="connsiteY11978"/>
              </a:cxn>
              <a:cxn ang="0">
                <a:pos x="connsiteX11979" y="connsiteY11979"/>
              </a:cxn>
              <a:cxn ang="0">
                <a:pos x="connsiteX11980" y="connsiteY11980"/>
              </a:cxn>
              <a:cxn ang="0">
                <a:pos x="connsiteX11981" y="connsiteY11981"/>
              </a:cxn>
              <a:cxn ang="0">
                <a:pos x="connsiteX11982" y="connsiteY11982"/>
              </a:cxn>
              <a:cxn ang="0">
                <a:pos x="connsiteX11983" y="connsiteY11983"/>
              </a:cxn>
              <a:cxn ang="0">
                <a:pos x="connsiteX11984" y="connsiteY11984"/>
              </a:cxn>
              <a:cxn ang="0">
                <a:pos x="connsiteX11985" y="connsiteY11985"/>
              </a:cxn>
              <a:cxn ang="0">
                <a:pos x="connsiteX11986" y="connsiteY11986"/>
              </a:cxn>
              <a:cxn ang="0">
                <a:pos x="connsiteX11987" y="connsiteY11987"/>
              </a:cxn>
              <a:cxn ang="0">
                <a:pos x="connsiteX11988" y="connsiteY11988"/>
              </a:cxn>
              <a:cxn ang="0">
                <a:pos x="connsiteX11989" y="connsiteY11989"/>
              </a:cxn>
              <a:cxn ang="0">
                <a:pos x="connsiteX11990" y="connsiteY11990"/>
              </a:cxn>
              <a:cxn ang="0">
                <a:pos x="connsiteX11991" y="connsiteY11991"/>
              </a:cxn>
              <a:cxn ang="0">
                <a:pos x="connsiteX11992" y="connsiteY11992"/>
              </a:cxn>
              <a:cxn ang="0">
                <a:pos x="connsiteX11993" y="connsiteY11993"/>
              </a:cxn>
              <a:cxn ang="0">
                <a:pos x="connsiteX11994" y="connsiteY11994"/>
              </a:cxn>
              <a:cxn ang="0">
                <a:pos x="connsiteX11995" y="connsiteY11995"/>
              </a:cxn>
              <a:cxn ang="0">
                <a:pos x="connsiteX11996" y="connsiteY11996"/>
              </a:cxn>
              <a:cxn ang="0">
                <a:pos x="connsiteX11997" y="connsiteY11997"/>
              </a:cxn>
              <a:cxn ang="0">
                <a:pos x="connsiteX11998" y="connsiteY11998"/>
              </a:cxn>
              <a:cxn ang="0">
                <a:pos x="connsiteX11999" y="connsiteY11999"/>
              </a:cxn>
              <a:cxn ang="0">
                <a:pos x="connsiteX12000" y="connsiteY12000"/>
              </a:cxn>
              <a:cxn ang="0">
                <a:pos x="connsiteX12001" y="connsiteY12001"/>
              </a:cxn>
              <a:cxn ang="0">
                <a:pos x="connsiteX12002" y="connsiteY12002"/>
              </a:cxn>
              <a:cxn ang="0">
                <a:pos x="connsiteX12003" y="connsiteY12003"/>
              </a:cxn>
              <a:cxn ang="0">
                <a:pos x="connsiteX12004" y="connsiteY12004"/>
              </a:cxn>
              <a:cxn ang="0">
                <a:pos x="connsiteX12005" y="connsiteY12005"/>
              </a:cxn>
              <a:cxn ang="0">
                <a:pos x="connsiteX12006" y="connsiteY12006"/>
              </a:cxn>
              <a:cxn ang="0">
                <a:pos x="connsiteX12007" y="connsiteY12007"/>
              </a:cxn>
              <a:cxn ang="0">
                <a:pos x="connsiteX12008" y="connsiteY12008"/>
              </a:cxn>
              <a:cxn ang="0">
                <a:pos x="connsiteX12009" y="connsiteY12009"/>
              </a:cxn>
              <a:cxn ang="0">
                <a:pos x="connsiteX12010" y="connsiteY12010"/>
              </a:cxn>
              <a:cxn ang="0">
                <a:pos x="connsiteX12011" y="connsiteY12011"/>
              </a:cxn>
              <a:cxn ang="0">
                <a:pos x="connsiteX12012" y="connsiteY12012"/>
              </a:cxn>
              <a:cxn ang="0">
                <a:pos x="connsiteX12013" y="connsiteY12013"/>
              </a:cxn>
              <a:cxn ang="0">
                <a:pos x="connsiteX12014" y="connsiteY12014"/>
              </a:cxn>
              <a:cxn ang="0">
                <a:pos x="connsiteX12015" y="connsiteY12015"/>
              </a:cxn>
              <a:cxn ang="0">
                <a:pos x="connsiteX12016" y="connsiteY12016"/>
              </a:cxn>
              <a:cxn ang="0">
                <a:pos x="connsiteX12017" y="connsiteY12017"/>
              </a:cxn>
              <a:cxn ang="0">
                <a:pos x="connsiteX12018" y="connsiteY12018"/>
              </a:cxn>
              <a:cxn ang="0">
                <a:pos x="connsiteX12019" y="connsiteY12019"/>
              </a:cxn>
              <a:cxn ang="0">
                <a:pos x="connsiteX12020" y="connsiteY12020"/>
              </a:cxn>
              <a:cxn ang="0">
                <a:pos x="connsiteX12021" y="connsiteY12021"/>
              </a:cxn>
              <a:cxn ang="0">
                <a:pos x="connsiteX12022" y="connsiteY12022"/>
              </a:cxn>
              <a:cxn ang="0">
                <a:pos x="connsiteX12023" y="connsiteY12023"/>
              </a:cxn>
              <a:cxn ang="0">
                <a:pos x="connsiteX12024" y="connsiteY12024"/>
              </a:cxn>
              <a:cxn ang="0">
                <a:pos x="connsiteX12025" y="connsiteY12025"/>
              </a:cxn>
              <a:cxn ang="0">
                <a:pos x="connsiteX12026" y="connsiteY12026"/>
              </a:cxn>
              <a:cxn ang="0">
                <a:pos x="connsiteX12027" y="connsiteY12027"/>
              </a:cxn>
              <a:cxn ang="0">
                <a:pos x="connsiteX12028" y="connsiteY12028"/>
              </a:cxn>
              <a:cxn ang="0">
                <a:pos x="connsiteX12029" y="connsiteY12029"/>
              </a:cxn>
              <a:cxn ang="0">
                <a:pos x="connsiteX12030" y="connsiteY12030"/>
              </a:cxn>
              <a:cxn ang="0">
                <a:pos x="connsiteX12031" y="connsiteY12031"/>
              </a:cxn>
              <a:cxn ang="0">
                <a:pos x="connsiteX12032" y="connsiteY12032"/>
              </a:cxn>
              <a:cxn ang="0">
                <a:pos x="connsiteX12033" y="connsiteY12033"/>
              </a:cxn>
              <a:cxn ang="0">
                <a:pos x="connsiteX12034" y="connsiteY12034"/>
              </a:cxn>
              <a:cxn ang="0">
                <a:pos x="connsiteX12035" y="connsiteY12035"/>
              </a:cxn>
              <a:cxn ang="0">
                <a:pos x="connsiteX12036" y="connsiteY12036"/>
              </a:cxn>
              <a:cxn ang="0">
                <a:pos x="connsiteX12037" y="connsiteY12037"/>
              </a:cxn>
              <a:cxn ang="0">
                <a:pos x="connsiteX12038" y="connsiteY12038"/>
              </a:cxn>
              <a:cxn ang="0">
                <a:pos x="connsiteX12039" y="connsiteY12039"/>
              </a:cxn>
              <a:cxn ang="0">
                <a:pos x="connsiteX12040" y="connsiteY12040"/>
              </a:cxn>
              <a:cxn ang="0">
                <a:pos x="connsiteX12041" y="connsiteY12041"/>
              </a:cxn>
              <a:cxn ang="0">
                <a:pos x="connsiteX12042" y="connsiteY12042"/>
              </a:cxn>
              <a:cxn ang="0">
                <a:pos x="connsiteX12043" y="connsiteY12043"/>
              </a:cxn>
              <a:cxn ang="0">
                <a:pos x="connsiteX12044" y="connsiteY12044"/>
              </a:cxn>
              <a:cxn ang="0">
                <a:pos x="connsiteX12045" y="connsiteY12045"/>
              </a:cxn>
              <a:cxn ang="0">
                <a:pos x="connsiteX12046" y="connsiteY12046"/>
              </a:cxn>
              <a:cxn ang="0">
                <a:pos x="connsiteX12047" y="connsiteY12047"/>
              </a:cxn>
              <a:cxn ang="0">
                <a:pos x="connsiteX12048" y="connsiteY12048"/>
              </a:cxn>
              <a:cxn ang="0">
                <a:pos x="connsiteX12049" y="connsiteY12049"/>
              </a:cxn>
              <a:cxn ang="0">
                <a:pos x="connsiteX12050" y="connsiteY12050"/>
              </a:cxn>
              <a:cxn ang="0">
                <a:pos x="connsiteX12051" y="connsiteY12051"/>
              </a:cxn>
              <a:cxn ang="0">
                <a:pos x="connsiteX12052" y="connsiteY12052"/>
              </a:cxn>
              <a:cxn ang="0">
                <a:pos x="connsiteX12053" y="connsiteY12053"/>
              </a:cxn>
              <a:cxn ang="0">
                <a:pos x="connsiteX12054" y="connsiteY12054"/>
              </a:cxn>
              <a:cxn ang="0">
                <a:pos x="connsiteX12055" y="connsiteY12055"/>
              </a:cxn>
              <a:cxn ang="0">
                <a:pos x="connsiteX12056" y="connsiteY12056"/>
              </a:cxn>
              <a:cxn ang="0">
                <a:pos x="connsiteX12057" y="connsiteY12057"/>
              </a:cxn>
              <a:cxn ang="0">
                <a:pos x="connsiteX12058" y="connsiteY12058"/>
              </a:cxn>
              <a:cxn ang="0">
                <a:pos x="connsiteX12059" y="connsiteY12059"/>
              </a:cxn>
              <a:cxn ang="0">
                <a:pos x="connsiteX12060" y="connsiteY12060"/>
              </a:cxn>
              <a:cxn ang="0">
                <a:pos x="connsiteX12061" y="connsiteY12061"/>
              </a:cxn>
              <a:cxn ang="0">
                <a:pos x="connsiteX12062" y="connsiteY12062"/>
              </a:cxn>
              <a:cxn ang="0">
                <a:pos x="connsiteX12063" y="connsiteY12063"/>
              </a:cxn>
              <a:cxn ang="0">
                <a:pos x="connsiteX12064" y="connsiteY12064"/>
              </a:cxn>
              <a:cxn ang="0">
                <a:pos x="connsiteX12065" y="connsiteY12065"/>
              </a:cxn>
              <a:cxn ang="0">
                <a:pos x="connsiteX12066" y="connsiteY12066"/>
              </a:cxn>
              <a:cxn ang="0">
                <a:pos x="connsiteX12067" y="connsiteY12067"/>
              </a:cxn>
              <a:cxn ang="0">
                <a:pos x="connsiteX12068" y="connsiteY12068"/>
              </a:cxn>
              <a:cxn ang="0">
                <a:pos x="connsiteX12069" y="connsiteY12069"/>
              </a:cxn>
              <a:cxn ang="0">
                <a:pos x="connsiteX12070" y="connsiteY12070"/>
              </a:cxn>
              <a:cxn ang="0">
                <a:pos x="connsiteX12071" y="connsiteY12071"/>
              </a:cxn>
              <a:cxn ang="0">
                <a:pos x="connsiteX12072" y="connsiteY12072"/>
              </a:cxn>
              <a:cxn ang="0">
                <a:pos x="connsiteX12073" y="connsiteY12073"/>
              </a:cxn>
              <a:cxn ang="0">
                <a:pos x="connsiteX12074" y="connsiteY12074"/>
              </a:cxn>
              <a:cxn ang="0">
                <a:pos x="connsiteX12075" y="connsiteY12075"/>
              </a:cxn>
              <a:cxn ang="0">
                <a:pos x="connsiteX12076" y="connsiteY12076"/>
              </a:cxn>
              <a:cxn ang="0">
                <a:pos x="connsiteX12077" y="connsiteY12077"/>
              </a:cxn>
              <a:cxn ang="0">
                <a:pos x="connsiteX12078" y="connsiteY12078"/>
              </a:cxn>
              <a:cxn ang="0">
                <a:pos x="connsiteX12079" y="connsiteY12079"/>
              </a:cxn>
              <a:cxn ang="0">
                <a:pos x="connsiteX12080" y="connsiteY12080"/>
              </a:cxn>
              <a:cxn ang="0">
                <a:pos x="connsiteX12081" y="connsiteY12081"/>
              </a:cxn>
              <a:cxn ang="0">
                <a:pos x="connsiteX12082" y="connsiteY12082"/>
              </a:cxn>
              <a:cxn ang="0">
                <a:pos x="connsiteX12083" y="connsiteY12083"/>
              </a:cxn>
              <a:cxn ang="0">
                <a:pos x="connsiteX12084" y="connsiteY12084"/>
              </a:cxn>
              <a:cxn ang="0">
                <a:pos x="connsiteX12085" y="connsiteY12085"/>
              </a:cxn>
              <a:cxn ang="0">
                <a:pos x="connsiteX12086" y="connsiteY12086"/>
              </a:cxn>
              <a:cxn ang="0">
                <a:pos x="connsiteX12087" y="connsiteY12087"/>
              </a:cxn>
              <a:cxn ang="0">
                <a:pos x="connsiteX12088" y="connsiteY12088"/>
              </a:cxn>
              <a:cxn ang="0">
                <a:pos x="connsiteX12089" y="connsiteY12089"/>
              </a:cxn>
              <a:cxn ang="0">
                <a:pos x="connsiteX12090" y="connsiteY12090"/>
              </a:cxn>
              <a:cxn ang="0">
                <a:pos x="connsiteX12091" y="connsiteY12091"/>
              </a:cxn>
              <a:cxn ang="0">
                <a:pos x="connsiteX12092" y="connsiteY12092"/>
              </a:cxn>
              <a:cxn ang="0">
                <a:pos x="connsiteX12093" y="connsiteY12093"/>
              </a:cxn>
              <a:cxn ang="0">
                <a:pos x="connsiteX12094" y="connsiteY12094"/>
              </a:cxn>
              <a:cxn ang="0">
                <a:pos x="connsiteX12095" y="connsiteY12095"/>
              </a:cxn>
              <a:cxn ang="0">
                <a:pos x="connsiteX12096" y="connsiteY12096"/>
              </a:cxn>
              <a:cxn ang="0">
                <a:pos x="connsiteX12097" y="connsiteY12097"/>
              </a:cxn>
              <a:cxn ang="0">
                <a:pos x="connsiteX12098" y="connsiteY12098"/>
              </a:cxn>
              <a:cxn ang="0">
                <a:pos x="connsiteX12099" y="connsiteY12099"/>
              </a:cxn>
              <a:cxn ang="0">
                <a:pos x="connsiteX12100" y="connsiteY12100"/>
              </a:cxn>
              <a:cxn ang="0">
                <a:pos x="connsiteX12101" y="connsiteY12101"/>
              </a:cxn>
              <a:cxn ang="0">
                <a:pos x="connsiteX12102" y="connsiteY12102"/>
              </a:cxn>
              <a:cxn ang="0">
                <a:pos x="connsiteX12103" y="connsiteY12103"/>
              </a:cxn>
              <a:cxn ang="0">
                <a:pos x="connsiteX12104" y="connsiteY12104"/>
              </a:cxn>
              <a:cxn ang="0">
                <a:pos x="connsiteX12105" y="connsiteY12105"/>
              </a:cxn>
              <a:cxn ang="0">
                <a:pos x="connsiteX12106" y="connsiteY12106"/>
              </a:cxn>
              <a:cxn ang="0">
                <a:pos x="connsiteX12107" y="connsiteY12107"/>
              </a:cxn>
              <a:cxn ang="0">
                <a:pos x="connsiteX12108" y="connsiteY12108"/>
              </a:cxn>
              <a:cxn ang="0">
                <a:pos x="connsiteX12109" y="connsiteY12109"/>
              </a:cxn>
              <a:cxn ang="0">
                <a:pos x="connsiteX12110" y="connsiteY12110"/>
              </a:cxn>
              <a:cxn ang="0">
                <a:pos x="connsiteX12111" y="connsiteY12111"/>
              </a:cxn>
              <a:cxn ang="0">
                <a:pos x="connsiteX12112" y="connsiteY12112"/>
              </a:cxn>
              <a:cxn ang="0">
                <a:pos x="connsiteX12113" y="connsiteY12113"/>
              </a:cxn>
              <a:cxn ang="0">
                <a:pos x="connsiteX12114" y="connsiteY12114"/>
              </a:cxn>
              <a:cxn ang="0">
                <a:pos x="connsiteX12115" y="connsiteY12115"/>
              </a:cxn>
              <a:cxn ang="0">
                <a:pos x="connsiteX12116" y="connsiteY12116"/>
              </a:cxn>
              <a:cxn ang="0">
                <a:pos x="connsiteX12117" y="connsiteY12117"/>
              </a:cxn>
              <a:cxn ang="0">
                <a:pos x="connsiteX12118" y="connsiteY12118"/>
              </a:cxn>
              <a:cxn ang="0">
                <a:pos x="connsiteX12119" y="connsiteY12119"/>
              </a:cxn>
              <a:cxn ang="0">
                <a:pos x="connsiteX12120" y="connsiteY12120"/>
              </a:cxn>
              <a:cxn ang="0">
                <a:pos x="connsiteX12121" y="connsiteY12121"/>
              </a:cxn>
              <a:cxn ang="0">
                <a:pos x="connsiteX12122" y="connsiteY12122"/>
              </a:cxn>
              <a:cxn ang="0">
                <a:pos x="connsiteX12123" y="connsiteY12123"/>
              </a:cxn>
              <a:cxn ang="0">
                <a:pos x="connsiteX12124" y="connsiteY12124"/>
              </a:cxn>
              <a:cxn ang="0">
                <a:pos x="connsiteX12125" y="connsiteY12125"/>
              </a:cxn>
              <a:cxn ang="0">
                <a:pos x="connsiteX12126" y="connsiteY12126"/>
              </a:cxn>
              <a:cxn ang="0">
                <a:pos x="connsiteX12127" y="connsiteY12127"/>
              </a:cxn>
              <a:cxn ang="0">
                <a:pos x="connsiteX12128" y="connsiteY12128"/>
              </a:cxn>
              <a:cxn ang="0">
                <a:pos x="connsiteX12129" y="connsiteY12129"/>
              </a:cxn>
              <a:cxn ang="0">
                <a:pos x="connsiteX12130" y="connsiteY12130"/>
              </a:cxn>
              <a:cxn ang="0">
                <a:pos x="connsiteX12131" y="connsiteY12131"/>
              </a:cxn>
              <a:cxn ang="0">
                <a:pos x="connsiteX12132" y="connsiteY12132"/>
              </a:cxn>
              <a:cxn ang="0">
                <a:pos x="connsiteX12133" y="connsiteY12133"/>
              </a:cxn>
              <a:cxn ang="0">
                <a:pos x="connsiteX12134" y="connsiteY12134"/>
              </a:cxn>
              <a:cxn ang="0">
                <a:pos x="connsiteX12135" y="connsiteY12135"/>
              </a:cxn>
              <a:cxn ang="0">
                <a:pos x="connsiteX12136" y="connsiteY12136"/>
              </a:cxn>
              <a:cxn ang="0">
                <a:pos x="connsiteX12137" y="connsiteY12137"/>
              </a:cxn>
              <a:cxn ang="0">
                <a:pos x="connsiteX12138" y="connsiteY12138"/>
              </a:cxn>
              <a:cxn ang="0">
                <a:pos x="connsiteX12139" y="connsiteY12139"/>
              </a:cxn>
              <a:cxn ang="0">
                <a:pos x="connsiteX12140" y="connsiteY12140"/>
              </a:cxn>
              <a:cxn ang="0">
                <a:pos x="connsiteX12141" y="connsiteY12141"/>
              </a:cxn>
              <a:cxn ang="0">
                <a:pos x="connsiteX12142" y="connsiteY12142"/>
              </a:cxn>
              <a:cxn ang="0">
                <a:pos x="connsiteX12143" y="connsiteY12143"/>
              </a:cxn>
              <a:cxn ang="0">
                <a:pos x="connsiteX12144" y="connsiteY12144"/>
              </a:cxn>
              <a:cxn ang="0">
                <a:pos x="connsiteX12145" y="connsiteY12145"/>
              </a:cxn>
              <a:cxn ang="0">
                <a:pos x="connsiteX12146" y="connsiteY12146"/>
              </a:cxn>
              <a:cxn ang="0">
                <a:pos x="connsiteX12147" y="connsiteY12147"/>
              </a:cxn>
              <a:cxn ang="0">
                <a:pos x="connsiteX12148" y="connsiteY12148"/>
              </a:cxn>
              <a:cxn ang="0">
                <a:pos x="connsiteX12149" y="connsiteY12149"/>
              </a:cxn>
              <a:cxn ang="0">
                <a:pos x="connsiteX12150" y="connsiteY12150"/>
              </a:cxn>
              <a:cxn ang="0">
                <a:pos x="connsiteX12151" y="connsiteY12151"/>
              </a:cxn>
              <a:cxn ang="0">
                <a:pos x="connsiteX12152" y="connsiteY12152"/>
              </a:cxn>
              <a:cxn ang="0">
                <a:pos x="connsiteX12153" y="connsiteY12153"/>
              </a:cxn>
              <a:cxn ang="0">
                <a:pos x="connsiteX12154" y="connsiteY12154"/>
              </a:cxn>
              <a:cxn ang="0">
                <a:pos x="connsiteX12155" y="connsiteY12155"/>
              </a:cxn>
              <a:cxn ang="0">
                <a:pos x="connsiteX12156" y="connsiteY12156"/>
              </a:cxn>
              <a:cxn ang="0">
                <a:pos x="connsiteX12157" y="connsiteY12157"/>
              </a:cxn>
              <a:cxn ang="0">
                <a:pos x="connsiteX12158" y="connsiteY12158"/>
              </a:cxn>
              <a:cxn ang="0">
                <a:pos x="connsiteX12159" y="connsiteY12159"/>
              </a:cxn>
              <a:cxn ang="0">
                <a:pos x="connsiteX12160" y="connsiteY12160"/>
              </a:cxn>
              <a:cxn ang="0">
                <a:pos x="connsiteX12161" y="connsiteY12161"/>
              </a:cxn>
              <a:cxn ang="0">
                <a:pos x="connsiteX12162" y="connsiteY12162"/>
              </a:cxn>
              <a:cxn ang="0">
                <a:pos x="connsiteX12163" y="connsiteY12163"/>
              </a:cxn>
              <a:cxn ang="0">
                <a:pos x="connsiteX12164" y="connsiteY12164"/>
              </a:cxn>
              <a:cxn ang="0">
                <a:pos x="connsiteX12165" y="connsiteY12165"/>
              </a:cxn>
              <a:cxn ang="0">
                <a:pos x="connsiteX12166" y="connsiteY12166"/>
              </a:cxn>
              <a:cxn ang="0">
                <a:pos x="connsiteX12167" y="connsiteY12167"/>
              </a:cxn>
              <a:cxn ang="0">
                <a:pos x="connsiteX12168" y="connsiteY12168"/>
              </a:cxn>
              <a:cxn ang="0">
                <a:pos x="connsiteX12169" y="connsiteY12169"/>
              </a:cxn>
              <a:cxn ang="0">
                <a:pos x="connsiteX12170" y="connsiteY12170"/>
              </a:cxn>
              <a:cxn ang="0">
                <a:pos x="connsiteX12171" y="connsiteY12171"/>
              </a:cxn>
              <a:cxn ang="0">
                <a:pos x="connsiteX12172" y="connsiteY12172"/>
              </a:cxn>
              <a:cxn ang="0">
                <a:pos x="connsiteX12173" y="connsiteY12173"/>
              </a:cxn>
              <a:cxn ang="0">
                <a:pos x="connsiteX12174" y="connsiteY12174"/>
              </a:cxn>
              <a:cxn ang="0">
                <a:pos x="connsiteX12175" y="connsiteY12175"/>
              </a:cxn>
              <a:cxn ang="0">
                <a:pos x="connsiteX12176" y="connsiteY12176"/>
              </a:cxn>
              <a:cxn ang="0">
                <a:pos x="connsiteX12177" y="connsiteY12177"/>
              </a:cxn>
              <a:cxn ang="0">
                <a:pos x="connsiteX12178" y="connsiteY12178"/>
              </a:cxn>
              <a:cxn ang="0">
                <a:pos x="connsiteX12179" y="connsiteY12179"/>
              </a:cxn>
              <a:cxn ang="0">
                <a:pos x="connsiteX12180" y="connsiteY12180"/>
              </a:cxn>
              <a:cxn ang="0">
                <a:pos x="connsiteX12181" y="connsiteY12181"/>
              </a:cxn>
              <a:cxn ang="0">
                <a:pos x="connsiteX12182" y="connsiteY12182"/>
              </a:cxn>
              <a:cxn ang="0">
                <a:pos x="connsiteX12183" y="connsiteY12183"/>
              </a:cxn>
              <a:cxn ang="0">
                <a:pos x="connsiteX12184" y="connsiteY12184"/>
              </a:cxn>
              <a:cxn ang="0">
                <a:pos x="connsiteX12185" y="connsiteY12185"/>
              </a:cxn>
              <a:cxn ang="0">
                <a:pos x="connsiteX12186" y="connsiteY12186"/>
              </a:cxn>
              <a:cxn ang="0">
                <a:pos x="connsiteX12187" y="connsiteY12187"/>
              </a:cxn>
              <a:cxn ang="0">
                <a:pos x="connsiteX12188" y="connsiteY12188"/>
              </a:cxn>
              <a:cxn ang="0">
                <a:pos x="connsiteX12189" y="connsiteY12189"/>
              </a:cxn>
              <a:cxn ang="0">
                <a:pos x="connsiteX12190" y="connsiteY12190"/>
              </a:cxn>
              <a:cxn ang="0">
                <a:pos x="connsiteX12191" y="connsiteY12191"/>
              </a:cxn>
              <a:cxn ang="0">
                <a:pos x="connsiteX12192" y="connsiteY12192"/>
              </a:cxn>
              <a:cxn ang="0">
                <a:pos x="connsiteX12193" y="connsiteY12193"/>
              </a:cxn>
              <a:cxn ang="0">
                <a:pos x="connsiteX12194" y="connsiteY12194"/>
              </a:cxn>
              <a:cxn ang="0">
                <a:pos x="connsiteX12195" y="connsiteY12195"/>
              </a:cxn>
              <a:cxn ang="0">
                <a:pos x="connsiteX12196" y="connsiteY12196"/>
              </a:cxn>
              <a:cxn ang="0">
                <a:pos x="connsiteX12197" y="connsiteY12197"/>
              </a:cxn>
              <a:cxn ang="0">
                <a:pos x="connsiteX12198" y="connsiteY12198"/>
              </a:cxn>
              <a:cxn ang="0">
                <a:pos x="connsiteX12199" y="connsiteY12199"/>
              </a:cxn>
              <a:cxn ang="0">
                <a:pos x="connsiteX12200" y="connsiteY12200"/>
              </a:cxn>
              <a:cxn ang="0">
                <a:pos x="connsiteX12201" y="connsiteY12201"/>
              </a:cxn>
              <a:cxn ang="0">
                <a:pos x="connsiteX12202" y="connsiteY12202"/>
              </a:cxn>
              <a:cxn ang="0">
                <a:pos x="connsiteX12203" y="connsiteY12203"/>
              </a:cxn>
              <a:cxn ang="0">
                <a:pos x="connsiteX12204" y="connsiteY12204"/>
              </a:cxn>
              <a:cxn ang="0">
                <a:pos x="connsiteX12205" y="connsiteY12205"/>
              </a:cxn>
              <a:cxn ang="0">
                <a:pos x="connsiteX12206" y="connsiteY12206"/>
              </a:cxn>
              <a:cxn ang="0">
                <a:pos x="connsiteX12207" y="connsiteY12207"/>
              </a:cxn>
              <a:cxn ang="0">
                <a:pos x="connsiteX12208" y="connsiteY12208"/>
              </a:cxn>
              <a:cxn ang="0">
                <a:pos x="connsiteX12209" y="connsiteY12209"/>
              </a:cxn>
              <a:cxn ang="0">
                <a:pos x="connsiteX12210" y="connsiteY12210"/>
              </a:cxn>
              <a:cxn ang="0">
                <a:pos x="connsiteX12211" y="connsiteY12211"/>
              </a:cxn>
              <a:cxn ang="0">
                <a:pos x="connsiteX12212" y="connsiteY12212"/>
              </a:cxn>
              <a:cxn ang="0">
                <a:pos x="connsiteX12213" y="connsiteY12213"/>
              </a:cxn>
              <a:cxn ang="0">
                <a:pos x="connsiteX12214" y="connsiteY12214"/>
              </a:cxn>
              <a:cxn ang="0">
                <a:pos x="connsiteX12215" y="connsiteY12215"/>
              </a:cxn>
              <a:cxn ang="0">
                <a:pos x="connsiteX12216" y="connsiteY12216"/>
              </a:cxn>
              <a:cxn ang="0">
                <a:pos x="connsiteX12217" y="connsiteY12217"/>
              </a:cxn>
              <a:cxn ang="0">
                <a:pos x="connsiteX12218" y="connsiteY12218"/>
              </a:cxn>
              <a:cxn ang="0">
                <a:pos x="connsiteX12219" y="connsiteY12219"/>
              </a:cxn>
              <a:cxn ang="0">
                <a:pos x="connsiteX12220" y="connsiteY12220"/>
              </a:cxn>
              <a:cxn ang="0">
                <a:pos x="connsiteX12221" y="connsiteY12221"/>
              </a:cxn>
              <a:cxn ang="0">
                <a:pos x="connsiteX12222" y="connsiteY12222"/>
              </a:cxn>
              <a:cxn ang="0">
                <a:pos x="connsiteX12223" y="connsiteY12223"/>
              </a:cxn>
              <a:cxn ang="0">
                <a:pos x="connsiteX12224" y="connsiteY12224"/>
              </a:cxn>
              <a:cxn ang="0">
                <a:pos x="connsiteX12225" y="connsiteY12225"/>
              </a:cxn>
              <a:cxn ang="0">
                <a:pos x="connsiteX12226" y="connsiteY12226"/>
              </a:cxn>
              <a:cxn ang="0">
                <a:pos x="connsiteX12227" y="connsiteY12227"/>
              </a:cxn>
              <a:cxn ang="0">
                <a:pos x="connsiteX12228" y="connsiteY12228"/>
              </a:cxn>
              <a:cxn ang="0">
                <a:pos x="connsiteX12229" y="connsiteY12229"/>
              </a:cxn>
              <a:cxn ang="0">
                <a:pos x="connsiteX12230" y="connsiteY12230"/>
              </a:cxn>
              <a:cxn ang="0">
                <a:pos x="connsiteX12231" y="connsiteY12231"/>
              </a:cxn>
              <a:cxn ang="0">
                <a:pos x="connsiteX12232" y="connsiteY12232"/>
              </a:cxn>
              <a:cxn ang="0">
                <a:pos x="connsiteX12233" y="connsiteY12233"/>
              </a:cxn>
              <a:cxn ang="0">
                <a:pos x="connsiteX12234" y="connsiteY12234"/>
              </a:cxn>
              <a:cxn ang="0">
                <a:pos x="connsiteX12235" y="connsiteY12235"/>
              </a:cxn>
              <a:cxn ang="0">
                <a:pos x="connsiteX12236" y="connsiteY12236"/>
              </a:cxn>
              <a:cxn ang="0">
                <a:pos x="connsiteX12237" y="connsiteY12237"/>
              </a:cxn>
              <a:cxn ang="0">
                <a:pos x="connsiteX12238" y="connsiteY12238"/>
              </a:cxn>
              <a:cxn ang="0">
                <a:pos x="connsiteX12239" y="connsiteY12239"/>
              </a:cxn>
              <a:cxn ang="0">
                <a:pos x="connsiteX12240" y="connsiteY12240"/>
              </a:cxn>
              <a:cxn ang="0">
                <a:pos x="connsiteX12241" y="connsiteY12241"/>
              </a:cxn>
              <a:cxn ang="0">
                <a:pos x="connsiteX12242" y="connsiteY12242"/>
              </a:cxn>
              <a:cxn ang="0">
                <a:pos x="connsiteX12243" y="connsiteY12243"/>
              </a:cxn>
              <a:cxn ang="0">
                <a:pos x="connsiteX12244" y="connsiteY12244"/>
              </a:cxn>
              <a:cxn ang="0">
                <a:pos x="connsiteX12245" y="connsiteY12245"/>
              </a:cxn>
              <a:cxn ang="0">
                <a:pos x="connsiteX12246" y="connsiteY12246"/>
              </a:cxn>
              <a:cxn ang="0">
                <a:pos x="connsiteX12247" y="connsiteY12247"/>
              </a:cxn>
              <a:cxn ang="0">
                <a:pos x="connsiteX12248" y="connsiteY12248"/>
              </a:cxn>
              <a:cxn ang="0">
                <a:pos x="connsiteX12249" y="connsiteY12249"/>
              </a:cxn>
              <a:cxn ang="0">
                <a:pos x="connsiteX12250" y="connsiteY12250"/>
              </a:cxn>
              <a:cxn ang="0">
                <a:pos x="connsiteX12251" y="connsiteY12251"/>
              </a:cxn>
              <a:cxn ang="0">
                <a:pos x="connsiteX12252" y="connsiteY12252"/>
              </a:cxn>
              <a:cxn ang="0">
                <a:pos x="connsiteX12253" y="connsiteY12253"/>
              </a:cxn>
              <a:cxn ang="0">
                <a:pos x="connsiteX12254" y="connsiteY12254"/>
              </a:cxn>
              <a:cxn ang="0">
                <a:pos x="connsiteX12255" y="connsiteY12255"/>
              </a:cxn>
              <a:cxn ang="0">
                <a:pos x="connsiteX12256" y="connsiteY12256"/>
              </a:cxn>
              <a:cxn ang="0">
                <a:pos x="connsiteX12257" y="connsiteY12257"/>
              </a:cxn>
              <a:cxn ang="0">
                <a:pos x="connsiteX12258" y="connsiteY12258"/>
              </a:cxn>
              <a:cxn ang="0">
                <a:pos x="connsiteX12259" y="connsiteY12259"/>
              </a:cxn>
              <a:cxn ang="0">
                <a:pos x="connsiteX12260" y="connsiteY12260"/>
              </a:cxn>
              <a:cxn ang="0">
                <a:pos x="connsiteX12261" y="connsiteY12261"/>
              </a:cxn>
              <a:cxn ang="0">
                <a:pos x="connsiteX12262" y="connsiteY12262"/>
              </a:cxn>
              <a:cxn ang="0">
                <a:pos x="connsiteX12263" y="connsiteY12263"/>
              </a:cxn>
              <a:cxn ang="0">
                <a:pos x="connsiteX12264" y="connsiteY12264"/>
              </a:cxn>
              <a:cxn ang="0">
                <a:pos x="connsiteX12265" y="connsiteY12265"/>
              </a:cxn>
              <a:cxn ang="0">
                <a:pos x="connsiteX12266" y="connsiteY12266"/>
              </a:cxn>
              <a:cxn ang="0">
                <a:pos x="connsiteX12267" y="connsiteY12267"/>
              </a:cxn>
              <a:cxn ang="0">
                <a:pos x="connsiteX12268" y="connsiteY12268"/>
              </a:cxn>
              <a:cxn ang="0">
                <a:pos x="connsiteX12269" y="connsiteY12269"/>
              </a:cxn>
              <a:cxn ang="0">
                <a:pos x="connsiteX12270" y="connsiteY12270"/>
              </a:cxn>
              <a:cxn ang="0">
                <a:pos x="connsiteX12271" y="connsiteY12271"/>
              </a:cxn>
              <a:cxn ang="0">
                <a:pos x="connsiteX12272" y="connsiteY12272"/>
              </a:cxn>
              <a:cxn ang="0">
                <a:pos x="connsiteX12273" y="connsiteY12273"/>
              </a:cxn>
              <a:cxn ang="0">
                <a:pos x="connsiteX12274" y="connsiteY12274"/>
              </a:cxn>
              <a:cxn ang="0">
                <a:pos x="connsiteX12275" y="connsiteY12275"/>
              </a:cxn>
              <a:cxn ang="0">
                <a:pos x="connsiteX12276" y="connsiteY12276"/>
              </a:cxn>
              <a:cxn ang="0">
                <a:pos x="connsiteX12277" y="connsiteY12277"/>
              </a:cxn>
              <a:cxn ang="0">
                <a:pos x="connsiteX12278" y="connsiteY12278"/>
              </a:cxn>
              <a:cxn ang="0">
                <a:pos x="connsiteX12279" y="connsiteY12279"/>
              </a:cxn>
              <a:cxn ang="0">
                <a:pos x="connsiteX12280" y="connsiteY12280"/>
              </a:cxn>
              <a:cxn ang="0">
                <a:pos x="connsiteX12281" y="connsiteY12281"/>
              </a:cxn>
              <a:cxn ang="0">
                <a:pos x="connsiteX12282" y="connsiteY12282"/>
              </a:cxn>
              <a:cxn ang="0">
                <a:pos x="connsiteX12283" y="connsiteY12283"/>
              </a:cxn>
              <a:cxn ang="0">
                <a:pos x="connsiteX12284" y="connsiteY12284"/>
              </a:cxn>
              <a:cxn ang="0">
                <a:pos x="connsiteX12285" y="connsiteY12285"/>
              </a:cxn>
              <a:cxn ang="0">
                <a:pos x="connsiteX12286" y="connsiteY12286"/>
              </a:cxn>
              <a:cxn ang="0">
                <a:pos x="connsiteX12287" y="connsiteY12287"/>
              </a:cxn>
              <a:cxn ang="0">
                <a:pos x="connsiteX12288" y="connsiteY12288"/>
              </a:cxn>
              <a:cxn ang="0">
                <a:pos x="connsiteX12289" y="connsiteY12289"/>
              </a:cxn>
              <a:cxn ang="0">
                <a:pos x="connsiteX12290" y="connsiteY12290"/>
              </a:cxn>
              <a:cxn ang="0">
                <a:pos x="connsiteX12291" y="connsiteY12291"/>
              </a:cxn>
              <a:cxn ang="0">
                <a:pos x="connsiteX12292" y="connsiteY12292"/>
              </a:cxn>
              <a:cxn ang="0">
                <a:pos x="connsiteX12293" y="connsiteY12293"/>
              </a:cxn>
              <a:cxn ang="0">
                <a:pos x="connsiteX12294" y="connsiteY12294"/>
              </a:cxn>
              <a:cxn ang="0">
                <a:pos x="connsiteX12295" y="connsiteY12295"/>
              </a:cxn>
              <a:cxn ang="0">
                <a:pos x="connsiteX12296" y="connsiteY12296"/>
              </a:cxn>
              <a:cxn ang="0">
                <a:pos x="connsiteX12297" y="connsiteY12297"/>
              </a:cxn>
              <a:cxn ang="0">
                <a:pos x="connsiteX12298" y="connsiteY12298"/>
              </a:cxn>
              <a:cxn ang="0">
                <a:pos x="connsiteX12299" y="connsiteY12299"/>
              </a:cxn>
              <a:cxn ang="0">
                <a:pos x="connsiteX12300" y="connsiteY12300"/>
              </a:cxn>
              <a:cxn ang="0">
                <a:pos x="connsiteX12301" y="connsiteY12301"/>
              </a:cxn>
              <a:cxn ang="0">
                <a:pos x="connsiteX12302" y="connsiteY12302"/>
              </a:cxn>
              <a:cxn ang="0">
                <a:pos x="connsiteX12303" y="connsiteY12303"/>
              </a:cxn>
              <a:cxn ang="0">
                <a:pos x="connsiteX12304" y="connsiteY12304"/>
              </a:cxn>
              <a:cxn ang="0">
                <a:pos x="connsiteX12305" y="connsiteY12305"/>
              </a:cxn>
              <a:cxn ang="0">
                <a:pos x="connsiteX12306" y="connsiteY12306"/>
              </a:cxn>
              <a:cxn ang="0">
                <a:pos x="connsiteX12307" y="connsiteY12307"/>
              </a:cxn>
              <a:cxn ang="0">
                <a:pos x="connsiteX12308" y="connsiteY12308"/>
              </a:cxn>
              <a:cxn ang="0">
                <a:pos x="connsiteX12309" y="connsiteY12309"/>
              </a:cxn>
              <a:cxn ang="0">
                <a:pos x="connsiteX12310" y="connsiteY12310"/>
              </a:cxn>
              <a:cxn ang="0">
                <a:pos x="connsiteX12311" y="connsiteY12311"/>
              </a:cxn>
              <a:cxn ang="0">
                <a:pos x="connsiteX12312" y="connsiteY12312"/>
              </a:cxn>
              <a:cxn ang="0">
                <a:pos x="connsiteX12313" y="connsiteY12313"/>
              </a:cxn>
              <a:cxn ang="0">
                <a:pos x="connsiteX12314" y="connsiteY12314"/>
              </a:cxn>
              <a:cxn ang="0">
                <a:pos x="connsiteX12315" y="connsiteY12315"/>
              </a:cxn>
              <a:cxn ang="0">
                <a:pos x="connsiteX12316" y="connsiteY12316"/>
              </a:cxn>
              <a:cxn ang="0">
                <a:pos x="connsiteX12317" y="connsiteY12317"/>
              </a:cxn>
              <a:cxn ang="0">
                <a:pos x="connsiteX12318" y="connsiteY12318"/>
              </a:cxn>
              <a:cxn ang="0">
                <a:pos x="connsiteX12319" y="connsiteY12319"/>
              </a:cxn>
              <a:cxn ang="0">
                <a:pos x="connsiteX12320" y="connsiteY12320"/>
              </a:cxn>
              <a:cxn ang="0">
                <a:pos x="connsiteX12321" y="connsiteY12321"/>
              </a:cxn>
              <a:cxn ang="0">
                <a:pos x="connsiteX12322" y="connsiteY12322"/>
              </a:cxn>
              <a:cxn ang="0">
                <a:pos x="connsiteX12323" y="connsiteY12323"/>
              </a:cxn>
              <a:cxn ang="0">
                <a:pos x="connsiteX12324" y="connsiteY12324"/>
              </a:cxn>
              <a:cxn ang="0">
                <a:pos x="connsiteX12325" y="connsiteY12325"/>
              </a:cxn>
              <a:cxn ang="0">
                <a:pos x="connsiteX12326" y="connsiteY12326"/>
              </a:cxn>
              <a:cxn ang="0">
                <a:pos x="connsiteX12327" y="connsiteY12327"/>
              </a:cxn>
              <a:cxn ang="0">
                <a:pos x="connsiteX12328" y="connsiteY12328"/>
              </a:cxn>
              <a:cxn ang="0">
                <a:pos x="connsiteX12329" y="connsiteY12329"/>
              </a:cxn>
              <a:cxn ang="0">
                <a:pos x="connsiteX12330" y="connsiteY12330"/>
              </a:cxn>
              <a:cxn ang="0">
                <a:pos x="connsiteX12331" y="connsiteY12331"/>
              </a:cxn>
              <a:cxn ang="0">
                <a:pos x="connsiteX12332" y="connsiteY12332"/>
              </a:cxn>
              <a:cxn ang="0">
                <a:pos x="connsiteX12333" y="connsiteY12333"/>
              </a:cxn>
              <a:cxn ang="0">
                <a:pos x="connsiteX12334" y="connsiteY12334"/>
              </a:cxn>
              <a:cxn ang="0">
                <a:pos x="connsiteX12335" y="connsiteY12335"/>
              </a:cxn>
              <a:cxn ang="0">
                <a:pos x="connsiteX12336" y="connsiteY12336"/>
              </a:cxn>
              <a:cxn ang="0">
                <a:pos x="connsiteX12337" y="connsiteY12337"/>
              </a:cxn>
              <a:cxn ang="0">
                <a:pos x="connsiteX12338" y="connsiteY12338"/>
              </a:cxn>
              <a:cxn ang="0">
                <a:pos x="connsiteX12339" y="connsiteY12339"/>
              </a:cxn>
              <a:cxn ang="0">
                <a:pos x="connsiteX12340" y="connsiteY12340"/>
              </a:cxn>
              <a:cxn ang="0">
                <a:pos x="connsiteX12341" y="connsiteY12341"/>
              </a:cxn>
              <a:cxn ang="0">
                <a:pos x="connsiteX12342" y="connsiteY12342"/>
              </a:cxn>
              <a:cxn ang="0">
                <a:pos x="connsiteX12343" y="connsiteY12343"/>
              </a:cxn>
              <a:cxn ang="0">
                <a:pos x="connsiteX12344" y="connsiteY12344"/>
              </a:cxn>
              <a:cxn ang="0">
                <a:pos x="connsiteX12345" y="connsiteY12345"/>
              </a:cxn>
              <a:cxn ang="0">
                <a:pos x="connsiteX12346" y="connsiteY12346"/>
              </a:cxn>
              <a:cxn ang="0">
                <a:pos x="connsiteX12347" y="connsiteY12347"/>
              </a:cxn>
              <a:cxn ang="0">
                <a:pos x="connsiteX12348" y="connsiteY12348"/>
              </a:cxn>
              <a:cxn ang="0">
                <a:pos x="connsiteX12349" y="connsiteY12349"/>
              </a:cxn>
              <a:cxn ang="0">
                <a:pos x="connsiteX12350" y="connsiteY12350"/>
              </a:cxn>
              <a:cxn ang="0">
                <a:pos x="connsiteX12351" y="connsiteY12351"/>
              </a:cxn>
              <a:cxn ang="0">
                <a:pos x="connsiteX12352" y="connsiteY12352"/>
              </a:cxn>
              <a:cxn ang="0">
                <a:pos x="connsiteX12353" y="connsiteY12353"/>
              </a:cxn>
              <a:cxn ang="0">
                <a:pos x="connsiteX12354" y="connsiteY12354"/>
              </a:cxn>
              <a:cxn ang="0">
                <a:pos x="connsiteX12355" y="connsiteY12355"/>
              </a:cxn>
              <a:cxn ang="0">
                <a:pos x="connsiteX12356" y="connsiteY12356"/>
              </a:cxn>
              <a:cxn ang="0">
                <a:pos x="connsiteX12357" y="connsiteY12357"/>
              </a:cxn>
              <a:cxn ang="0">
                <a:pos x="connsiteX12358" y="connsiteY12358"/>
              </a:cxn>
              <a:cxn ang="0">
                <a:pos x="connsiteX12359" y="connsiteY12359"/>
              </a:cxn>
              <a:cxn ang="0">
                <a:pos x="connsiteX12360" y="connsiteY12360"/>
              </a:cxn>
              <a:cxn ang="0">
                <a:pos x="connsiteX12361" y="connsiteY12361"/>
              </a:cxn>
              <a:cxn ang="0">
                <a:pos x="connsiteX12362" y="connsiteY12362"/>
              </a:cxn>
              <a:cxn ang="0">
                <a:pos x="connsiteX12363" y="connsiteY12363"/>
              </a:cxn>
              <a:cxn ang="0">
                <a:pos x="connsiteX12364" y="connsiteY12364"/>
              </a:cxn>
              <a:cxn ang="0">
                <a:pos x="connsiteX12365" y="connsiteY12365"/>
              </a:cxn>
              <a:cxn ang="0">
                <a:pos x="connsiteX12366" y="connsiteY12366"/>
              </a:cxn>
              <a:cxn ang="0">
                <a:pos x="connsiteX12367" y="connsiteY12367"/>
              </a:cxn>
              <a:cxn ang="0">
                <a:pos x="connsiteX12368" y="connsiteY12368"/>
              </a:cxn>
              <a:cxn ang="0">
                <a:pos x="connsiteX12369" y="connsiteY12369"/>
              </a:cxn>
              <a:cxn ang="0">
                <a:pos x="connsiteX12370" y="connsiteY12370"/>
              </a:cxn>
              <a:cxn ang="0">
                <a:pos x="connsiteX12371" y="connsiteY12371"/>
              </a:cxn>
              <a:cxn ang="0">
                <a:pos x="connsiteX12372" y="connsiteY12372"/>
              </a:cxn>
              <a:cxn ang="0">
                <a:pos x="connsiteX12373" y="connsiteY12373"/>
              </a:cxn>
              <a:cxn ang="0">
                <a:pos x="connsiteX12374" y="connsiteY12374"/>
              </a:cxn>
              <a:cxn ang="0">
                <a:pos x="connsiteX12375" y="connsiteY12375"/>
              </a:cxn>
              <a:cxn ang="0">
                <a:pos x="connsiteX12376" y="connsiteY12376"/>
              </a:cxn>
              <a:cxn ang="0">
                <a:pos x="connsiteX12377" y="connsiteY12377"/>
              </a:cxn>
              <a:cxn ang="0">
                <a:pos x="connsiteX12378" y="connsiteY12378"/>
              </a:cxn>
              <a:cxn ang="0">
                <a:pos x="connsiteX12379" y="connsiteY12379"/>
              </a:cxn>
              <a:cxn ang="0">
                <a:pos x="connsiteX12380" y="connsiteY12380"/>
              </a:cxn>
              <a:cxn ang="0">
                <a:pos x="connsiteX12381" y="connsiteY12381"/>
              </a:cxn>
              <a:cxn ang="0">
                <a:pos x="connsiteX12382" y="connsiteY12382"/>
              </a:cxn>
              <a:cxn ang="0">
                <a:pos x="connsiteX12383" y="connsiteY12383"/>
              </a:cxn>
              <a:cxn ang="0">
                <a:pos x="connsiteX12384" y="connsiteY12384"/>
              </a:cxn>
              <a:cxn ang="0">
                <a:pos x="connsiteX12385" y="connsiteY12385"/>
              </a:cxn>
              <a:cxn ang="0">
                <a:pos x="connsiteX12386" y="connsiteY12386"/>
              </a:cxn>
              <a:cxn ang="0">
                <a:pos x="connsiteX12387" y="connsiteY12387"/>
              </a:cxn>
              <a:cxn ang="0">
                <a:pos x="connsiteX12388" y="connsiteY12388"/>
              </a:cxn>
              <a:cxn ang="0">
                <a:pos x="connsiteX12389" y="connsiteY12389"/>
              </a:cxn>
              <a:cxn ang="0">
                <a:pos x="connsiteX12390" y="connsiteY12390"/>
              </a:cxn>
              <a:cxn ang="0">
                <a:pos x="connsiteX12391" y="connsiteY12391"/>
              </a:cxn>
              <a:cxn ang="0">
                <a:pos x="connsiteX12392" y="connsiteY12392"/>
              </a:cxn>
              <a:cxn ang="0">
                <a:pos x="connsiteX12393" y="connsiteY12393"/>
              </a:cxn>
              <a:cxn ang="0">
                <a:pos x="connsiteX12394" y="connsiteY12394"/>
              </a:cxn>
              <a:cxn ang="0">
                <a:pos x="connsiteX12395" y="connsiteY12395"/>
              </a:cxn>
              <a:cxn ang="0">
                <a:pos x="connsiteX12396" y="connsiteY12396"/>
              </a:cxn>
              <a:cxn ang="0">
                <a:pos x="connsiteX12397" y="connsiteY12397"/>
              </a:cxn>
              <a:cxn ang="0">
                <a:pos x="connsiteX12398" y="connsiteY12398"/>
              </a:cxn>
              <a:cxn ang="0">
                <a:pos x="connsiteX12399" y="connsiteY12399"/>
              </a:cxn>
              <a:cxn ang="0">
                <a:pos x="connsiteX12400" y="connsiteY12400"/>
              </a:cxn>
              <a:cxn ang="0">
                <a:pos x="connsiteX12401" y="connsiteY12401"/>
              </a:cxn>
              <a:cxn ang="0">
                <a:pos x="connsiteX12402" y="connsiteY12402"/>
              </a:cxn>
              <a:cxn ang="0">
                <a:pos x="connsiteX12403" y="connsiteY12403"/>
              </a:cxn>
              <a:cxn ang="0">
                <a:pos x="connsiteX12404" y="connsiteY12404"/>
              </a:cxn>
              <a:cxn ang="0">
                <a:pos x="connsiteX12405" y="connsiteY12405"/>
              </a:cxn>
              <a:cxn ang="0">
                <a:pos x="connsiteX12406" y="connsiteY12406"/>
              </a:cxn>
              <a:cxn ang="0">
                <a:pos x="connsiteX12407" y="connsiteY12407"/>
              </a:cxn>
              <a:cxn ang="0">
                <a:pos x="connsiteX12408" y="connsiteY12408"/>
              </a:cxn>
              <a:cxn ang="0">
                <a:pos x="connsiteX12409" y="connsiteY12409"/>
              </a:cxn>
              <a:cxn ang="0">
                <a:pos x="connsiteX12410" y="connsiteY12410"/>
              </a:cxn>
              <a:cxn ang="0">
                <a:pos x="connsiteX12411" y="connsiteY12411"/>
              </a:cxn>
              <a:cxn ang="0">
                <a:pos x="connsiteX12412" y="connsiteY12412"/>
              </a:cxn>
              <a:cxn ang="0">
                <a:pos x="connsiteX12413" y="connsiteY12413"/>
              </a:cxn>
              <a:cxn ang="0">
                <a:pos x="connsiteX12414" y="connsiteY12414"/>
              </a:cxn>
              <a:cxn ang="0">
                <a:pos x="connsiteX12415" y="connsiteY12415"/>
              </a:cxn>
              <a:cxn ang="0">
                <a:pos x="connsiteX12416" y="connsiteY12416"/>
              </a:cxn>
              <a:cxn ang="0">
                <a:pos x="connsiteX12417" y="connsiteY12417"/>
              </a:cxn>
              <a:cxn ang="0">
                <a:pos x="connsiteX12418" y="connsiteY12418"/>
              </a:cxn>
              <a:cxn ang="0">
                <a:pos x="connsiteX12419" y="connsiteY12419"/>
              </a:cxn>
              <a:cxn ang="0">
                <a:pos x="connsiteX12420" y="connsiteY12420"/>
              </a:cxn>
              <a:cxn ang="0">
                <a:pos x="connsiteX12421" y="connsiteY12421"/>
              </a:cxn>
              <a:cxn ang="0">
                <a:pos x="connsiteX12422" y="connsiteY12422"/>
              </a:cxn>
              <a:cxn ang="0">
                <a:pos x="connsiteX12423" y="connsiteY12423"/>
              </a:cxn>
              <a:cxn ang="0">
                <a:pos x="connsiteX12424" y="connsiteY12424"/>
              </a:cxn>
              <a:cxn ang="0">
                <a:pos x="connsiteX12425" y="connsiteY12425"/>
              </a:cxn>
              <a:cxn ang="0">
                <a:pos x="connsiteX12426" y="connsiteY12426"/>
              </a:cxn>
              <a:cxn ang="0">
                <a:pos x="connsiteX12427" y="connsiteY12427"/>
              </a:cxn>
              <a:cxn ang="0">
                <a:pos x="connsiteX12428" y="connsiteY12428"/>
              </a:cxn>
              <a:cxn ang="0">
                <a:pos x="connsiteX12429" y="connsiteY12429"/>
              </a:cxn>
              <a:cxn ang="0">
                <a:pos x="connsiteX12430" y="connsiteY12430"/>
              </a:cxn>
              <a:cxn ang="0">
                <a:pos x="connsiteX12431" y="connsiteY12431"/>
              </a:cxn>
              <a:cxn ang="0">
                <a:pos x="connsiteX12432" y="connsiteY12432"/>
              </a:cxn>
              <a:cxn ang="0">
                <a:pos x="connsiteX12433" y="connsiteY12433"/>
              </a:cxn>
              <a:cxn ang="0">
                <a:pos x="connsiteX12434" y="connsiteY12434"/>
              </a:cxn>
              <a:cxn ang="0">
                <a:pos x="connsiteX12435" y="connsiteY12435"/>
              </a:cxn>
              <a:cxn ang="0">
                <a:pos x="connsiteX12436" y="connsiteY12436"/>
              </a:cxn>
              <a:cxn ang="0">
                <a:pos x="connsiteX12437" y="connsiteY12437"/>
              </a:cxn>
              <a:cxn ang="0">
                <a:pos x="connsiteX12438" y="connsiteY12438"/>
              </a:cxn>
              <a:cxn ang="0">
                <a:pos x="connsiteX12439" y="connsiteY12439"/>
              </a:cxn>
              <a:cxn ang="0">
                <a:pos x="connsiteX12440" y="connsiteY12440"/>
              </a:cxn>
              <a:cxn ang="0">
                <a:pos x="connsiteX12441" y="connsiteY12441"/>
              </a:cxn>
              <a:cxn ang="0">
                <a:pos x="connsiteX12442" y="connsiteY12442"/>
              </a:cxn>
              <a:cxn ang="0">
                <a:pos x="connsiteX12443" y="connsiteY12443"/>
              </a:cxn>
              <a:cxn ang="0">
                <a:pos x="connsiteX12444" y="connsiteY12444"/>
              </a:cxn>
              <a:cxn ang="0">
                <a:pos x="connsiteX12445" y="connsiteY12445"/>
              </a:cxn>
              <a:cxn ang="0">
                <a:pos x="connsiteX12446" y="connsiteY12446"/>
              </a:cxn>
              <a:cxn ang="0">
                <a:pos x="connsiteX12447" y="connsiteY12447"/>
              </a:cxn>
              <a:cxn ang="0">
                <a:pos x="connsiteX12448" y="connsiteY12448"/>
              </a:cxn>
              <a:cxn ang="0">
                <a:pos x="connsiteX12449" y="connsiteY12449"/>
              </a:cxn>
              <a:cxn ang="0">
                <a:pos x="connsiteX12450" y="connsiteY12450"/>
              </a:cxn>
              <a:cxn ang="0">
                <a:pos x="connsiteX12451" y="connsiteY12451"/>
              </a:cxn>
              <a:cxn ang="0">
                <a:pos x="connsiteX12452" y="connsiteY12452"/>
              </a:cxn>
              <a:cxn ang="0">
                <a:pos x="connsiteX12453" y="connsiteY12453"/>
              </a:cxn>
              <a:cxn ang="0">
                <a:pos x="connsiteX12454" y="connsiteY12454"/>
              </a:cxn>
              <a:cxn ang="0">
                <a:pos x="connsiteX12455" y="connsiteY12455"/>
              </a:cxn>
              <a:cxn ang="0">
                <a:pos x="connsiteX12456" y="connsiteY12456"/>
              </a:cxn>
              <a:cxn ang="0">
                <a:pos x="connsiteX12457" y="connsiteY12457"/>
              </a:cxn>
              <a:cxn ang="0">
                <a:pos x="connsiteX12458" y="connsiteY12458"/>
              </a:cxn>
              <a:cxn ang="0">
                <a:pos x="connsiteX12459" y="connsiteY12459"/>
              </a:cxn>
              <a:cxn ang="0">
                <a:pos x="connsiteX12460" y="connsiteY12460"/>
              </a:cxn>
              <a:cxn ang="0">
                <a:pos x="connsiteX12461" y="connsiteY12461"/>
              </a:cxn>
              <a:cxn ang="0">
                <a:pos x="connsiteX12462" y="connsiteY12462"/>
              </a:cxn>
              <a:cxn ang="0">
                <a:pos x="connsiteX12463" y="connsiteY12463"/>
              </a:cxn>
              <a:cxn ang="0">
                <a:pos x="connsiteX12464" y="connsiteY12464"/>
              </a:cxn>
              <a:cxn ang="0">
                <a:pos x="connsiteX12465" y="connsiteY12465"/>
              </a:cxn>
              <a:cxn ang="0">
                <a:pos x="connsiteX12466" y="connsiteY12466"/>
              </a:cxn>
              <a:cxn ang="0">
                <a:pos x="connsiteX12467" y="connsiteY12467"/>
              </a:cxn>
              <a:cxn ang="0">
                <a:pos x="connsiteX12468" y="connsiteY12468"/>
              </a:cxn>
              <a:cxn ang="0">
                <a:pos x="connsiteX12469" y="connsiteY12469"/>
              </a:cxn>
              <a:cxn ang="0">
                <a:pos x="connsiteX12470" y="connsiteY12470"/>
              </a:cxn>
              <a:cxn ang="0">
                <a:pos x="connsiteX12471" y="connsiteY12471"/>
              </a:cxn>
              <a:cxn ang="0">
                <a:pos x="connsiteX12472" y="connsiteY12472"/>
              </a:cxn>
              <a:cxn ang="0">
                <a:pos x="connsiteX12473" y="connsiteY12473"/>
              </a:cxn>
              <a:cxn ang="0">
                <a:pos x="connsiteX12474" y="connsiteY12474"/>
              </a:cxn>
              <a:cxn ang="0">
                <a:pos x="connsiteX12475" y="connsiteY12475"/>
              </a:cxn>
              <a:cxn ang="0">
                <a:pos x="connsiteX12476" y="connsiteY12476"/>
              </a:cxn>
              <a:cxn ang="0">
                <a:pos x="connsiteX12477" y="connsiteY12477"/>
              </a:cxn>
              <a:cxn ang="0">
                <a:pos x="connsiteX12478" y="connsiteY12478"/>
              </a:cxn>
              <a:cxn ang="0">
                <a:pos x="connsiteX12479" y="connsiteY12479"/>
              </a:cxn>
              <a:cxn ang="0">
                <a:pos x="connsiteX12480" y="connsiteY12480"/>
              </a:cxn>
              <a:cxn ang="0">
                <a:pos x="connsiteX12481" y="connsiteY12481"/>
              </a:cxn>
              <a:cxn ang="0">
                <a:pos x="connsiteX12482" y="connsiteY12482"/>
              </a:cxn>
              <a:cxn ang="0">
                <a:pos x="connsiteX12483" y="connsiteY12483"/>
              </a:cxn>
              <a:cxn ang="0">
                <a:pos x="connsiteX12484" y="connsiteY12484"/>
              </a:cxn>
              <a:cxn ang="0">
                <a:pos x="connsiteX12485" y="connsiteY12485"/>
              </a:cxn>
              <a:cxn ang="0">
                <a:pos x="connsiteX12486" y="connsiteY12486"/>
              </a:cxn>
              <a:cxn ang="0">
                <a:pos x="connsiteX12487" y="connsiteY12487"/>
              </a:cxn>
              <a:cxn ang="0">
                <a:pos x="connsiteX12488" y="connsiteY12488"/>
              </a:cxn>
              <a:cxn ang="0">
                <a:pos x="connsiteX12489" y="connsiteY12489"/>
              </a:cxn>
              <a:cxn ang="0">
                <a:pos x="connsiteX12490" y="connsiteY12490"/>
              </a:cxn>
              <a:cxn ang="0">
                <a:pos x="connsiteX12491" y="connsiteY12491"/>
              </a:cxn>
              <a:cxn ang="0">
                <a:pos x="connsiteX12492" y="connsiteY12492"/>
              </a:cxn>
              <a:cxn ang="0">
                <a:pos x="connsiteX12493" y="connsiteY12493"/>
              </a:cxn>
              <a:cxn ang="0">
                <a:pos x="connsiteX12494" y="connsiteY12494"/>
              </a:cxn>
              <a:cxn ang="0">
                <a:pos x="connsiteX12495" y="connsiteY12495"/>
              </a:cxn>
              <a:cxn ang="0">
                <a:pos x="connsiteX12496" y="connsiteY12496"/>
              </a:cxn>
              <a:cxn ang="0">
                <a:pos x="connsiteX12497" y="connsiteY12497"/>
              </a:cxn>
              <a:cxn ang="0">
                <a:pos x="connsiteX12498" y="connsiteY12498"/>
              </a:cxn>
              <a:cxn ang="0">
                <a:pos x="connsiteX12499" y="connsiteY12499"/>
              </a:cxn>
              <a:cxn ang="0">
                <a:pos x="connsiteX12500" y="connsiteY12500"/>
              </a:cxn>
              <a:cxn ang="0">
                <a:pos x="connsiteX12501" y="connsiteY12501"/>
              </a:cxn>
              <a:cxn ang="0">
                <a:pos x="connsiteX12502" y="connsiteY12502"/>
              </a:cxn>
              <a:cxn ang="0">
                <a:pos x="connsiteX12503" y="connsiteY12503"/>
              </a:cxn>
              <a:cxn ang="0">
                <a:pos x="connsiteX12504" y="connsiteY12504"/>
              </a:cxn>
              <a:cxn ang="0">
                <a:pos x="connsiteX12505" y="connsiteY12505"/>
              </a:cxn>
              <a:cxn ang="0">
                <a:pos x="connsiteX12506" y="connsiteY12506"/>
              </a:cxn>
              <a:cxn ang="0">
                <a:pos x="connsiteX12507" y="connsiteY12507"/>
              </a:cxn>
              <a:cxn ang="0">
                <a:pos x="connsiteX12508" y="connsiteY12508"/>
              </a:cxn>
              <a:cxn ang="0">
                <a:pos x="connsiteX12509" y="connsiteY12509"/>
              </a:cxn>
              <a:cxn ang="0">
                <a:pos x="connsiteX12510" y="connsiteY12510"/>
              </a:cxn>
              <a:cxn ang="0">
                <a:pos x="connsiteX12511" y="connsiteY12511"/>
              </a:cxn>
              <a:cxn ang="0">
                <a:pos x="connsiteX12512" y="connsiteY12512"/>
              </a:cxn>
              <a:cxn ang="0">
                <a:pos x="connsiteX12513" y="connsiteY12513"/>
              </a:cxn>
              <a:cxn ang="0">
                <a:pos x="connsiteX12514" y="connsiteY12514"/>
              </a:cxn>
              <a:cxn ang="0">
                <a:pos x="connsiteX12515" y="connsiteY12515"/>
              </a:cxn>
              <a:cxn ang="0">
                <a:pos x="connsiteX12516" y="connsiteY12516"/>
              </a:cxn>
              <a:cxn ang="0">
                <a:pos x="connsiteX12517" y="connsiteY12517"/>
              </a:cxn>
              <a:cxn ang="0">
                <a:pos x="connsiteX12518" y="connsiteY12518"/>
              </a:cxn>
              <a:cxn ang="0">
                <a:pos x="connsiteX12519" y="connsiteY12519"/>
              </a:cxn>
              <a:cxn ang="0">
                <a:pos x="connsiteX12520" y="connsiteY12520"/>
              </a:cxn>
              <a:cxn ang="0">
                <a:pos x="connsiteX12521" y="connsiteY12521"/>
              </a:cxn>
              <a:cxn ang="0">
                <a:pos x="connsiteX12522" y="connsiteY12522"/>
              </a:cxn>
              <a:cxn ang="0">
                <a:pos x="connsiteX12523" y="connsiteY12523"/>
              </a:cxn>
              <a:cxn ang="0">
                <a:pos x="connsiteX12524" y="connsiteY12524"/>
              </a:cxn>
              <a:cxn ang="0">
                <a:pos x="connsiteX12525" y="connsiteY12525"/>
              </a:cxn>
              <a:cxn ang="0">
                <a:pos x="connsiteX12526" y="connsiteY12526"/>
              </a:cxn>
              <a:cxn ang="0">
                <a:pos x="connsiteX12527" y="connsiteY12527"/>
              </a:cxn>
              <a:cxn ang="0">
                <a:pos x="connsiteX12528" y="connsiteY12528"/>
              </a:cxn>
              <a:cxn ang="0">
                <a:pos x="connsiteX12529" y="connsiteY12529"/>
              </a:cxn>
              <a:cxn ang="0">
                <a:pos x="connsiteX12530" y="connsiteY12530"/>
              </a:cxn>
              <a:cxn ang="0">
                <a:pos x="connsiteX12531" y="connsiteY12531"/>
              </a:cxn>
              <a:cxn ang="0">
                <a:pos x="connsiteX12532" y="connsiteY12532"/>
              </a:cxn>
              <a:cxn ang="0">
                <a:pos x="connsiteX12533" y="connsiteY12533"/>
              </a:cxn>
              <a:cxn ang="0">
                <a:pos x="connsiteX12534" y="connsiteY12534"/>
              </a:cxn>
              <a:cxn ang="0">
                <a:pos x="connsiteX12535" y="connsiteY12535"/>
              </a:cxn>
              <a:cxn ang="0">
                <a:pos x="connsiteX12536" y="connsiteY12536"/>
              </a:cxn>
              <a:cxn ang="0">
                <a:pos x="connsiteX12537" y="connsiteY12537"/>
              </a:cxn>
              <a:cxn ang="0">
                <a:pos x="connsiteX12538" y="connsiteY12538"/>
              </a:cxn>
              <a:cxn ang="0">
                <a:pos x="connsiteX12539" y="connsiteY12539"/>
              </a:cxn>
              <a:cxn ang="0">
                <a:pos x="connsiteX12540" y="connsiteY12540"/>
              </a:cxn>
              <a:cxn ang="0">
                <a:pos x="connsiteX12541" y="connsiteY12541"/>
              </a:cxn>
              <a:cxn ang="0">
                <a:pos x="connsiteX12542" y="connsiteY12542"/>
              </a:cxn>
              <a:cxn ang="0">
                <a:pos x="connsiteX12543" y="connsiteY12543"/>
              </a:cxn>
              <a:cxn ang="0">
                <a:pos x="connsiteX12544" y="connsiteY12544"/>
              </a:cxn>
              <a:cxn ang="0">
                <a:pos x="connsiteX12545" y="connsiteY12545"/>
              </a:cxn>
              <a:cxn ang="0">
                <a:pos x="connsiteX12546" y="connsiteY12546"/>
              </a:cxn>
              <a:cxn ang="0">
                <a:pos x="connsiteX12547" y="connsiteY12547"/>
              </a:cxn>
              <a:cxn ang="0">
                <a:pos x="connsiteX12548" y="connsiteY12548"/>
              </a:cxn>
              <a:cxn ang="0">
                <a:pos x="connsiteX12549" y="connsiteY12549"/>
              </a:cxn>
              <a:cxn ang="0">
                <a:pos x="connsiteX12550" y="connsiteY12550"/>
              </a:cxn>
              <a:cxn ang="0">
                <a:pos x="connsiteX12551" y="connsiteY12551"/>
              </a:cxn>
              <a:cxn ang="0">
                <a:pos x="connsiteX12552" y="connsiteY12552"/>
              </a:cxn>
              <a:cxn ang="0">
                <a:pos x="connsiteX12553" y="connsiteY12553"/>
              </a:cxn>
              <a:cxn ang="0">
                <a:pos x="connsiteX12554" y="connsiteY12554"/>
              </a:cxn>
              <a:cxn ang="0">
                <a:pos x="connsiteX12555" y="connsiteY12555"/>
              </a:cxn>
              <a:cxn ang="0">
                <a:pos x="connsiteX12556" y="connsiteY12556"/>
              </a:cxn>
              <a:cxn ang="0">
                <a:pos x="connsiteX12557" y="connsiteY12557"/>
              </a:cxn>
              <a:cxn ang="0">
                <a:pos x="connsiteX12558" y="connsiteY12558"/>
              </a:cxn>
              <a:cxn ang="0">
                <a:pos x="connsiteX12559" y="connsiteY12559"/>
              </a:cxn>
              <a:cxn ang="0">
                <a:pos x="connsiteX12560" y="connsiteY12560"/>
              </a:cxn>
              <a:cxn ang="0">
                <a:pos x="connsiteX12561" y="connsiteY12561"/>
              </a:cxn>
              <a:cxn ang="0">
                <a:pos x="connsiteX12562" y="connsiteY12562"/>
              </a:cxn>
              <a:cxn ang="0">
                <a:pos x="connsiteX12563" y="connsiteY12563"/>
              </a:cxn>
              <a:cxn ang="0">
                <a:pos x="connsiteX12564" y="connsiteY12564"/>
              </a:cxn>
              <a:cxn ang="0">
                <a:pos x="connsiteX12565" y="connsiteY12565"/>
              </a:cxn>
              <a:cxn ang="0">
                <a:pos x="connsiteX12566" y="connsiteY12566"/>
              </a:cxn>
              <a:cxn ang="0">
                <a:pos x="connsiteX12567" y="connsiteY12567"/>
              </a:cxn>
              <a:cxn ang="0">
                <a:pos x="connsiteX12568" y="connsiteY12568"/>
              </a:cxn>
              <a:cxn ang="0">
                <a:pos x="connsiteX12569" y="connsiteY12569"/>
              </a:cxn>
              <a:cxn ang="0">
                <a:pos x="connsiteX12570" y="connsiteY12570"/>
              </a:cxn>
              <a:cxn ang="0">
                <a:pos x="connsiteX12571" y="connsiteY12571"/>
              </a:cxn>
              <a:cxn ang="0">
                <a:pos x="connsiteX12572" y="connsiteY12572"/>
              </a:cxn>
              <a:cxn ang="0">
                <a:pos x="connsiteX12573" y="connsiteY12573"/>
              </a:cxn>
              <a:cxn ang="0">
                <a:pos x="connsiteX12574" y="connsiteY12574"/>
              </a:cxn>
              <a:cxn ang="0">
                <a:pos x="connsiteX12575" y="connsiteY12575"/>
              </a:cxn>
              <a:cxn ang="0">
                <a:pos x="connsiteX12576" y="connsiteY12576"/>
              </a:cxn>
              <a:cxn ang="0">
                <a:pos x="connsiteX12577" y="connsiteY12577"/>
              </a:cxn>
              <a:cxn ang="0">
                <a:pos x="connsiteX12578" y="connsiteY12578"/>
              </a:cxn>
              <a:cxn ang="0">
                <a:pos x="connsiteX12579" y="connsiteY12579"/>
              </a:cxn>
              <a:cxn ang="0">
                <a:pos x="connsiteX12580" y="connsiteY12580"/>
              </a:cxn>
              <a:cxn ang="0">
                <a:pos x="connsiteX12581" y="connsiteY12581"/>
              </a:cxn>
              <a:cxn ang="0">
                <a:pos x="connsiteX12582" y="connsiteY12582"/>
              </a:cxn>
              <a:cxn ang="0">
                <a:pos x="connsiteX12583" y="connsiteY12583"/>
              </a:cxn>
              <a:cxn ang="0">
                <a:pos x="connsiteX12584" y="connsiteY12584"/>
              </a:cxn>
              <a:cxn ang="0">
                <a:pos x="connsiteX12585" y="connsiteY12585"/>
              </a:cxn>
              <a:cxn ang="0">
                <a:pos x="connsiteX12586" y="connsiteY12586"/>
              </a:cxn>
              <a:cxn ang="0">
                <a:pos x="connsiteX12587" y="connsiteY12587"/>
              </a:cxn>
              <a:cxn ang="0">
                <a:pos x="connsiteX12588" y="connsiteY12588"/>
              </a:cxn>
              <a:cxn ang="0">
                <a:pos x="connsiteX12589" y="connsiteY12589"/>
              </a:cxn>
              <a:cxn ang="0">
                <a:pos x="connsiteX12590" y="connsiteY12590"/>
              </a:cxn>
              <a:cxn ang="0">
                <a:pos x="connsiteX12591" y="connsiteY12591"/>
              </a:cxn>
              <a:cxn ang="0">
                <a:pos x="connsiteX12592" y="connsiteY12592"/>
              </a:cxn>
              <a:cxn ang="0">
                <a:pos x="connsiteX12593" y="connsiteY12593"/>
              </a:cxn>
              <a:cxn ang="0">
                <a:pos x="connsiteX12594" y="connsiteY12594"/>
              </a:cxn>
              <a:cxn ang="0">
                <a:pos x="connsiteX12595" y="connsiteY12595"/>
              </a:cxn>
              <a:cxn ang="0">
                <a:pos x="connsiteX12596" y="connsiteY12596"/>
              </a:cxn>
              <a:cxn ang="0">
                <a:pos x="connsiteX12597" y="connsiteY12597"/>
              </a:cxn>
              <a:cxn ang="0">
                <a:pos x="connsiteX12598" y="connsiteY12598"/>
              </a:cxn>
              <a:cxn ang="0">
                <a:pos x="connsiteX12599" y="connsiteY12599"/>
              </a:cxn>
              <a:cxn ang="0">
                <a:pos x="connsiteX12600" y="connsiteY12600"/>
              </a:cxn>
              <a:cxn ang="0">
                <a:pos x="connsiteX12601" y="connsiteY12601"/>
              </a:cxn>
              <a:cxn ang="0">
                <a:pos x="connsiteX12602" y="connsiteY12602"/>
              </a:cxn>
              <a:cxn ang="0">
                <a:pos x="connsiteX12603" y="connsiteY12603"/>
              </a:cxn>
              <a:cxn ang="0">
                <a:pos x="connsiteX12604" y="connsiteY12604"/>
              </a:cxn>
              <a:cxn ang="0">
                <a:pos x="connsiteX12605" y="connsiteY12605"/>
              </a:cxn>
              <a:cxn ang="0">
                <a:pos x="connsiteX12606" y="connsiteY12606"/>
              </a:cxn>
              <a:cxn ang="0">
                <a:pos x="connsiteX12607" y="connsiteY12607"/>
              </a:cxn>
              <a:cxn ang="0">
                <a:pos x="connsiteX12608" y="connsiteY12608"/>
              </a:cxn>
              <a:cxn ang="0">
                <a:pos x="connsiteX12609" y="connsiteY12609"/>
              </a:cxn>
              <a:cxn ang="0">
                <a:pos x="connsiteX12610" y="connsiteY12610"/>
              </a:cxn>
              <a:cxn ang="0">
                <a:pos x="connsiteX12611" y="connsiteY12611"/>
              </a:cxn>
              <a:cxn ang="0">
                <a:pos x="connsiteX12612" y="connsiteY12612"/>
              </a:cxn>
              <a:cxn ang="0">
                <a:pos x="connsiteX12613" y="connsiteY12613"/>
              </a:cxn>
              <a:cxn ang="0">
                <a:pos x="connsiteX12614" y="connsiteY12614"/>
              </a:cxn>
              <a:cxn ang="0">
                <a:pos x="connsiteX12615" y="connsiteY12615"/>
              </a:cxn>
              <a:cxn ang="0">
                <a:pos x="connsiteX12616" y="connsiteY12616"/>
              </a:cxn>
              <a:cxn ang="0">
                <a:pos x="connsiteX12617" y="connsiteY12617"/>
              </a:cxn>
              <a:cxn ang="0">
                <a:pos x="connsiteX12618" y="connsiteY12618"/>
              </a:cxn>
              <a:cxn ang="0">
                <a:pos x="connsiteX12619" y="connsiteY12619"/>
              </a:cxn>
              <a:cxn ang="0">
                <a:pos x="connsiteX12620" y="connsiteY12620"/>
              </a:cxn>
              <a:cxn ang="0">
                <a:pos x="connsiteX12621" y="connsiteY12621"/>
              </a:cxn>
              <a:cxn ang="0">
                <a:pos x="connsiteX12622" y="connsiteY12622"/>
              </a:cxn>
              <a:cxn ang="0">
                <a:pos x="connsiteX12623" y="connsiteY12623"/>
              </a:cxn>
              <a:cxn ang="0">
                <a:pos x="connsiteX12624" y="connsiteY12624"/>
              </a:cxn>
              <a:cxn ang="0">
                <a:pos x="connsiteX12625" y="connsiteY12625"/>
              </a:cxn>
              <a:cxn ang="0">
                <a:pos x="connsiteX12626" y="connsiteY12626"/>
              </a:cxn>
              <a:cxn ang="0">
                <a:pos x="connsiteX12627" y="connsiteY12627"/>
              </a:cxn>
              <a:cxn ang="0">
                <a:pos x="connsiteX12628" y="connsiteY12628"/>
              </a:cxn>
              <a:cxn ang="0">
                <a:pos x="connsiteX12629" y="connsiteY12629"/>
              </a:cxn>
              <a:cxn ang="0">
                <a:pos x="connsiteX12630" y="connsiteY12630"/>
              </a:cxn>
              <a:cxn ang="0">
                <a:pos x="connsiteX12631" y="connsiteY12631"/>
              </a:cxn>
              <a:cxn ang="0">
                <a:pos x="connsiteX12632" y="connsiteY12632"/>
              </a:cxn>
              <a:cxn ang="0">
                <a:pos x="connsiteX12633" y="connsiteY12633"/>
              </a:cxn>
              <a:cxn ang="0">
                <a:pos x="connsiteX12634" y="connsiteY12634"/>
              </a:cxn>
              <a:cxn ang="0">
                <a:pos x="connsiteX12635" y="connsiteY12635"/>
              </a:cxn>
              <a:cxn ang="0">
                <a:pos x="connsiteX12636" y="connsiteY12636"/>
              </a:cxn>
              <a:cxn ang="0">
                <a:pos x="connsiteX12637" y="connsiteY12637"/>
              </a:cxn>
              <a:cxn ang="0">
                <a:pos x="connsiteX12638" y="connsiteY12638"/>
              </a:cxn>
              <a:cxn ang="0">
                <a:pos x="connsiteX12639" y="connsiteY12639"/>
              </a:cxn>
              <a:cxn ang="0">
                <a:pos x="connsiteX12640" y="connsiteY12640"/>
              </a:cxn>
              <a:cxn ang="0">
                <a:pos x="connsiteX12641" y="connsiteY12641"/>
              </a:cxn>
              <a:cxn ang="0">
                <a:pos x="connsiteX12642" y="connsiteY12642"/>
              </a:cxn>
              <a:cxn ang="0">
                <a:pos x="connsiteX12643" y="connsiteY12643"/>
              </a:cxn>
              <a:cxn ang="0">
                <a:pos x="connsiteX12644" y="connsiteY12644"/>
              </a:cxn>
              <a:cxn ang="0">
                <a:pos x="connsiteX12645" y="connsiteY12645"/>
              </a:cxn>
              <a:cxn ang="0">
                <a:pos x="connsiteX12646" y="connsiteY12646"/>
              </a:cxn>
              <a:cxn ang="0">
                <a:pos x="connsiteX12647" y="connsiteY12647"/>
              </a:cxn>
              <a:cxn ang="0">
                <a:pos x="connsiteX12648" y="connsiteY12648"/>
              </a:cxn>
              <a:cxn ang="0">
                <a:pos x="connsiteX12649" y="connsiteY12649"/>
              </a:cxn>
              <a:cxn ang="0">
                <a:pos x="connsiteX12650" y="connsiteY12650"/>
              </a:cxn>
              <a:cxn ang="0">
                <a:pos x="connsiteX12651" y="connsiteY12651"/>
              </a:cxn>
              <a:cxn ang="0">
                <a:pos x="connsiteX12652" y="connsiteY12652"/>
              </a:cxn>
              <a:cxn ang="0">
                <a:pos x="connsiteX12653" y="connsiteY12653"/>
              </a:cxn>
              <a:cxn ang="0">
                <a:pos x="connsiteX12654" y="connsiteY12654"/>
              </a:cxn>
              <a:cxn ang="0">
                <a:pos x="connsiteX12655" y="connsiteY12655"/>
              </a:cxn>
              <a:cxn ang="0">
                <a:pos x="connsiteX12656" y="connsiteY12656"/>
              </a:cxn>
              <a:cxn ang="0">
                <a:pos x="connsiteX12657" y="connsiteY12657"/>
              </a:cxn>
              <a:cxn ang="0">
                <a:pos x="connsiteX12658" y="connsiteY12658"/>
              </a:cxn>
              <a:cxn ang="0">
                <a:pos x="connsiteX12659" y="connsiteY12659"/>
              </a:cxn>
              <a:cxn ang="0">
                <a:pos x="connsiteX12660" y="connsiteY12660"/>
              </a:cxn>
              <a:cxn ang="0">
                <a:pos x="connsiteX12661" y="connsiteY12661"/>
              </a:cxn>
              <a:cxn ang="0">
                <a:pos x="connsiteX12662" y="connsiteY12662"/>
              </a:cxn>
              <a:cxn ang="0">
                <a:pos x="connsiteX12663" y="connsiteY12663"/>
              </a:cxn>
              <a:cxn ang="0">
                <a:pos x="connsiteX12664" y="connsiteY12664"/>
              </a:cxn>
              <a:cxn ang="0">
                <a:pos x="connsiteX12665" y="connsiteY12665"/>
              </a:cxn>
              <a:cxn ang="0">
                <a:pos x="connsiteX12666" y="connsiteY12666"/>
              </a:cxn>
              <a:cxn ang="0">
                <a:pos x="connsiteX12667" y="connsiteY12667"/>
              </a:cxn>
              <a:cxn ang="0">
                <a:pos x="connsiteX12668" y="connsiteY12668"/>
              </a:cxn>
              <a:cxn ang="0">
                <a:pos x="connsiteX12669" y="connsiteY12669"/>
              </a:cxn>
              <a:cxn ang="0">
                <a:pos x="connsiteX12670" y="connsiteY12670"/>
              </a:cxn>
              <a:cxn ang="0">
                <a:pos x="connsiteX12671" y="connsiteY12671"/>
              </a:cxn>
              <a:cxn ang="0">
                <a:pos x="connsiteX12672" y="connsiteY12672"/>
              </a:cxn>
              <a:cxn ang="0">
                <a:pos x="connsiteX12673" y="connsiteY12673"/>
              </a:cxn>
              <a:cxn ang="0">
                <a:pos x="connsiteX12674" y="connsiteY12674"/>
              </a:cxn>
              <a:cxn ang="0">
                <a:pos x="connsiteX12675" y="connsiteY12675"/>
              </a:cxn>
              <a:cxn ang="0">
                <a:pos x="connsiteX12676" y="connsiteY12676"/>
              </a:cxn>
              <a:cxn ang="0">
                <a:pos x="connsiteX12677" y="connsiteY12677"/>
              </a:cxn>
              <a:cxn ang="0">
                <a:pos x="connsiteX12678" y="connsiteY12678"/>
              </a:cxn>
              <a:cxn ang="0">
                <a:pos x="connsiteX12679" y="connsiteY12679"/>
              </a:cxn>
              <a:cxn ang="0">
                <a:pos x="connsiteX12680" y="connsiteY12680"/>
              </a:cxn>
              <a:cxn ang="0">
                <a:pos x="connsiteX12681" y="connsiteY12681"/>
              </a:cxn>
              <a:cxn ang="0">
                <a:pos x="connsiteX12682" y="connsiteY12682"/>
              </a:cxn>
              <a:cxn ang="0">
                <a:pos x="connsiteX12683" y="connsiteY12683"/>
              </a:cxn>
              <a:cxn ang="0">
                <a:pos x="connsiteX12684" y="connsiteY12684"/>
              </a:cxn>
              <a:cxn ang="0">
                <a:pos x="connsiteX12685" y="connsiteY12685"/>
              </a:cxn>
              <a:cxn ang="0">
                <a:pos x="connsiteX12686" y="connsiteY12686"/>
              </a:cxn>
              <a:cxn ang="0">
                <a:pos x="connsiteX12687" y="connsiteY12687"/>
              </a:cxn>
              <a:cxn ang="0">
                <a:pos x="connsiteX12688" y="connsiteY12688"/>
              </a:cxn>
              <a:cxn ang="0">
                <a:pos x="connsiteX12689" y="connsiteY12689"/>
              </a:cxn>
              <a:cxn ang="0">
                <a:pos x="connsiteX12690" y="connsiteY12690"/>
              </a:cxn>
              <a:cxn ang="0">
                <a:pos x="connsiteX12691" y="connsiteY12691"/>
              </a:cxn>
              <a:cxn ang="0">
                <a:pos x="connsiteX12692" y="connsiteY12692"/>
              </a:cxn>
              <a:cxn ang="0">
                <a:pos x="connsiteX12693" y="connsiteY12693"/>
              </a:cxn>
              <a:cxn ang="0">
                <a:pos x="connsiteX12694" y="connsiteY12694"/>
              </a:cxn>
              <a:cxn ang="0">
                <a:pos x="connsiteX12695" y="connsiteY12695"/>
              </a:cxn>
              <a:cxn ang="0">
                <a:pos x="connsiteX12696" y="connsiteY12696"/>
              </a:cxn>
              <a:cxn ang="0">
                <a:pos x="connsiteX12697" y="connsiteY12697"/>
              </a:cxn>
              <a:cxn ang="0">
                <a:pos x="connsiteX12698" y="connsiteY12698"/>
              </a:cxn>
              <a:cxn ang="0">
                <a:pos x="connsiteX12699" y="connsiteY12699"/>
              </a:cxn>
              <a:cxn ang="0">
                <a:pos x="connsiteX12700" y="connsiteY12700"/>
              </a:cxn>
              <a:cxn ang="0">
                <a:pos x="connsiteX12701" y="connsiteY12701"/>
              </a:cxn>
              <a:cxn ang="0">
                <a:pos x="connsiteX12702" y="connsiteY12702"/>
              </a:cxn>
              <a:cxn ang="0">
                <a:pos x="connsiteX12703" y="connsiteY12703"/>
              </a:cxn>
              <a:cxn ang="0">
                <a:pos x="connsiteX12704" y="connsiteY12704"/>
              </a:cxn>
              <a:cxn ang="0">
                <a:pos x="connsiteX12705" y="connsiteY12705"/>
              </a:cxn>
              <a:cxn ang="0">
                <a:pos x="connsiteX12706" y="connsiteY12706"/>
              </a:cxn>
              <a:cxn ang="0">
                <a:pos x="connsiteX12707" y="connsiteY12707"/>
              </a:cxn>
              <a:cxn ang="0">
                <a:pos x="connsiteX12708" y="connsiteY12708"/>
              </a:cxn>
              <a:cxn ang="0">
                <a:pos x="connsiteX12709" y="connsiteY12709"/>
              </a:cxn>
              <a:cxn ang="0">
                <a:pos x="connsiteX12710" y="connsiteY12710"/>
              </a:cxn>
              <a:cxn ang="0">
                <a:pos x="connsiteX12711" y="connsiteY12711"/>
              </a:cxn>
              <a:cxn ang="0">
                <a:pos x="connsiteX12712" y="connsiteY12712"/>
              </a:cxn>
              <a:cxn ang="0">
                <a:pos x="connsiteX12713" y="connsiteY12713"/>
              </a:cxn>
              <a:cxn ang="0">
                <a:pos x="connsiteX12714" y="connsiteY12714"/>
              </a:cxn>
              <a:cxn ang="0">
                <a:pos x="connsiteX12715" y="connsiteY12715"/>
              </a:cxn>
              <a:cxn ang="0">
                <a:pos x="connsiteX12716" y="connsiteY12716"/>
              </a:cxn>
              <a:cxn ang="0">
                <a:pos x="connsiteX12717" y="connsiteY12717"/>
              </a:cxn>
              <a:cxn ang="0">
                <a:pos x="connsiteX12718" y="connsiteY12718"/>
              </a:cxn>
              <a:cxn ang="0">
                <a:pos x="connsiteX12719" y="connsiteY12719"/>
              </a:cxn>
              <a:cxn ang="0">
                <a:pos x="connsiteX12720" y="connsiteY12720"/>
              </a:cxn>
              <a:cxn ang="0">
                <a:pos x="connsiteX12721" y="connsiteY12721"/>
              </a:cxn>
              <a:cxn ang="0">
                <a:pos x="connsiteX12722" y="connsiteY12722"/>
              </a:cxn>
              <a:cxn ang="0">
                <a:pos x="connsiteX12723" y="connsiteY12723"/>
              </a:cxn>
              <a:cxn ang="0">
                <a:pos x="connsiteX12724" y="connsiteY12724"/>
              </a:cxn>
              <a:cxn ang="0">
                <a:pos x="connsiteX12725" y="connsiteY12725"/>
              </a:cxn>
              <a:cxn ang="0">
                <a:pos x="connsiteX12726" y="connsiteY12726"/>
              </a:cxn>
              <a:cxn ang="0">
                <a:pos x="connsiteX12727" y="connsiteY12727"/>
              </a:cxn>
              <a:cxn ang="0">
                <a:pos x="connsiteX12728" y="connsiteY12728"/>
              </a:cxn>
              <a:cxn ang="0">
                <a:pos x="connsiteX12729" y="connsiteY12729"/>
              </a:cxn>
              <a:cxn ang="0">
                <a:pos x="connsiteX12730" y="connsiteY12730"/>
              </a:cxn>
              <a:cxn ang="0">
                <a:pos x="connsiteX12731" y="connsiteY12731"/>
              </a:cxn>
              <a:cxn ang="0">
                <a:pos x="connsiteX12732" y="connsiteY12732"/>
              </a:cxn>
              <a:cxn ang="0">
                <a:pos x="connsiteX12733" y="connsiteY12733"/>
              </a:cxn>
              <a:cxn ang="0">
                <a:pos x="connsiteX12734" y="connsiteY12734"/>
              </a:cxn>
              <a:cxn ang="0">
                <a:pos x="connsiteX12735" y="connsiteY12735"/>
              </a:cxn>
              <a:cxn ang="0">
                <a:pos x="connsiteX12736" y="connsiteY12736"/>
              </a:cxn>
              <a:cxn ang="0">
                <a:pos x="connsiteX12737" y="connsiteY12737"/>
              </a:cxn>
              <a:cxn ang="0">
                <a:pos x="connsiteX12738" y="connsiteY12738"/>
              </a:cxn>
              <a:cxn ang="0">
                <a:pos x="connsiteX12739" y="connsiteY12739"/>
              </a:cxn>
              <a:cxn ang="0">
                <a:pos x="connsiteX12740" y="connsiteY12740"/>
              </a:cxn>
              <a:cxn ang="0">
                <a:pos x="connsiteX12741" y="connsiteY12741"/>
              </a:cxn>
              <a:cxn ang="0">
                <a:pos x="connsiteX12742" y="connsiteY12742"/>
              </a:cxn>
              <a:cxn ang="0">
                <a:pos x="connsiteX12743" y="connsiteY12743"/>
              </a:cxn>
              <a:cxn ang="0">
                <a:pos x="connsiteX12744" y="connsiteY12744"/>
              </a:cxn>
              <a:cxn ang="0">
                <a:pos x="connsiteX12745" y="connsiteY12745"/>
              </a:cxn>
              <a:cxn ang="0">
                <a:pos x="connsiteX12746" y="connsiteY12746"/>
              </a:cxn>
              <a:cxn ang="0">
                <a:pos x="connsiteX12747" y="connsiteY12747"/>
              </a:cxn>
              <a:cxn ang="0">
                <a:pos x="connsiteX12748" y="connsiteY12748"/>
              </a:cxn>
              <a:cxn ang="0">
                <a:pos x="connsiteX12749" y="connsiteY12749"/>
              </a:cxn>
              <a:cxn ang="0">
                <a:pos x="connsiteX12750" y="connsiteY12750"/>
              </a:cxn>
              <a:cxn ang="0">
                <a:pos x="connsiteX12751" y="connsiteY12751"/>
              </a:cxn>
              <a:cxn ang="0">
                <a:pos x="connsiteX12752" y="connsiteY12752"/>
              </a:cxn>
              <a:cxn ang="0">
                <a:pos x="connsiteX12753" y="connsiteY12753"/>
              </a:cxn>
              <a:cxn ang="0">
                <a:pos x="connsiteX12754" y="connsiteY12754"/>
              </a:cxn>
              <a:cxn ang="0">
                <a:pos x="connsiteX12755" y="connsiteY12755"/>
              </a:cxn>
              <a:cxn ang="0">
                <a:pos x="connsiteX12756" y="connsiteY12756"/>
              </a:cxn>
              <a:cxn ang="0">
                <a:pos x="connsiteX12757" y="connsiteY12757"/>
              </a:cxn>
              <a:cxn ang="0">
                <a:pos x="connsiteX12758" y="connsiteY12758"/>
              </a:cxn>
              <a:cxn ang="0">
                <a:pos x="connsiteX12759" y="connsiteY12759"/>
              </a:cxn>
              <a:cxn ang="0">
                <a:pos x="connsiteX12760" y="connsiteY12760"/>
              </a:cxn>
              <a:cxn ang="0">
                <a:pos x="connsiteX12761" y="connsiteY12761"/>
              </a:cxn>
              <a:cxn ang="0">
                <a:pos x="connsiteX12762" y="connsiteY12762"/>
              </a:cxn>
              <a:cxn ang="0">
                <a:pos x="connsiteX12763" y="connsiteY12763"/>
              </a:cxn>
              <a:cxn ang="0">
                <a:pos x="connsiteX12764" y="connsiteY12764"/>
              </a:cxn>
              <a:cxn ang="0">
                <a:pos x="connsiteX12765" y="connsiteY12765"/>
              </a:cxn>
              <a:cxn ang="0">
                <a:pos x="connsiteX12766" y="connsiteY12766"/>
              </a:cxn>
              <a:cxn ang="0">
                <a:pos x="connsiteX12767" y="connsiteY12767"/>
              </a:cxn>
              <a:cxn ang="0">
                <a:pos x="connsiteX12768" y="connsiteY12768"/>
              </a:cxn>
              <a:cxn ang="0">
                <a:pos x="connsiteX12769" y="connsiteY12769"/>
              </a:cxn>
              <a:cxn ang="0">
                <a:pos x="connsiteX12770" y="connsiteY12770"/>
              </a:cxn>
              <a:cxn ang="0">
                <a:pos x="connsiteX12771" y="connsiteY12771"/>
              </a:cxn>
              <a:cxn ang="0">
                <a:pos x="connsiteX12772" y="connsiteY12772"/>
              </a:cxn>
              <a:cxn ang="0">
                <a:pos x="connsiteX12773" y="connsiteY12773"/>
              </a:cxn>
              <a:cxn ang="0">
                <a:pos x="connsiteX12774" y="connsiteY12774"/>
              </a:cxn>
              <a:cxn ang="0">
                <a:pos x="connsiteX12775" y="connsiteY12775"/>
              </a:cxn>
              <a:cxn ang="0">
                <a:pos x="connsiteX12776" y="connsiteY12776"/>
              </a:cxn>
              <a:cxn ang="0">
                <a:pos x="connsiteX12777" y="connsiteY12777"/>
              </a:cxn>
              <a:cxn ang="0">
                <a:pos x="connsiteX12778" y="connsiteY12778"/>
              </a:cxn>
              <a:cxn ang="0">
                <a:pos x="connsiteX12779" y="connsiteY12779"/>
              </a:cxn>
              <a:cxn ang="0">
                <a:pos x="connsiteX12780" y="connsiteY12780"/>
              </a:cxn>
              <a:cxn ang="0">
                <a:pos x="connsiteX12781" y="connsiteY12781"/>
              </a:cxn>
              <a:cxn ang="0">
                <a:pos x="connsiteX12782" y="connsiteY12782"/>
              </a:cxn>
              <a:cxn ang="0">
                <a:pos x="connsiteX12783" y="connsiteY12783"/>
              </a:cxn>
              <a:cxn ang="0">
                <a:pos x="connsiteX12784" y="connsiteY12784"/>
              </a:cxn>
              <a:cxn ang="0">
                <a:pos x="connsiteX12785" y="connsiteY12785"/>
              </a:cxn>
              <a:cxn ang="0">
                <a:pos x="connsiteX12786" y="connsiteY12786"/>
              </a:cxn>
              <a:cxn ang="0">
                <a:pos x="connsiteX12787" y="connsiteY12787"/>
              </a:cxn>
              <a:cxn ang="0">
                <a:pos x="connsiteX12788" y="connsiteY12788"/>
              </a:cxn>
              <a:cxn ang="0">
                <a:pos x="connsiteX12789" y="connsiteY12789"/>
              </a:cxn>
              <a:cxn ang="0">
                <a:pos x="connsiteX12790" y="connsiteY12790"/>
              </a:cxn>
              <a:cxn ang="0">
                <a:pos x="connsiteX12791" y="connsiteY12791"/>
              </a:cxn>
              <a:cxn ang="0">
                <a:pos x="connsiteX12792" y="connsiteY12792"/>
              </a:cxn>
              <a:cxn ang="0">
                <a:pos x="connsiteX12793" y="connsiteY12793"/>
              </a:cxn>
              <a:cxn ang="0">
                <a:pos x="connsiteX12794" y="connsiteY12794"/>
              </a:cxn>
              <a:cxn ang="0">
                <a:pos x="connsiteX12795" y="connsiteY12795"/>
              </a:cxn>
              <a:cxn ang="0">
                <a:pos x="connsiteX12796" y="connsiteY12796"/>
              </a:cxn>
              <a:cxn ang="0">
                <a:pos x="connsiteX12797" y="connsiteY12797"/>
              </a:cxn>
              <a:cxn ang="0">
                <a:pos x="connsiteX12798" y="connsiteY12798"/>
              </a:cxn>
              <a:cxn ang="0">
                <a:pos x="connsiteX12799" y="connsiteY12799"/>
              </a:cxn>
              <a:cxn ang="0">
                <a:pos x="connsiteX12800" y="connsiteY12800"/>
              </a:cxn>
              <a:cxn ang="0">
                <a:pos x="connsiteX12801" y="connsiteY12801"/>
              </a:cxn>
              <a:cxn ang="0">
                <a:pos x="connsiteX12802" y="connsiteY12802"/>
              </a:cxn>
              <a:cxn ang="0">
                <a:pos x="connsiteX12803" y="connsiteY12803"/>
              </a:cxn>
              <a:cxn ang="0">
                <a:pos x="connsiteX12804" y="connsiteY12804"/>
              </a:cxn>
              <a:cxn ang="0">
                <a:pos x="connsiteX12805" y="connsiteY12805"/>
              </a:cxn>
              <a:cxn ang="0">
                <a:pos x="connsiteX12806" y="connsiteY12806"/>
              </a:cxn>
              <a:cxn ang="0">
                <a:pos x="connsiteX12807" y="connsiteY12807"/>
              </a:cxn>
              <a:cxn ang="0">
                <a:pos x="connsiteX12808" y="connsiteY12808"/>
              </a:cxn>
              <a:cxn ang="0">
                <a:pos x="connsiteX12809" y="connsiteY12809"/>
              </a:cxn>
              <a:cxn ang="0">
                <a:pos x="connsiteX12810" y="connsiteY12810"/>
              </a:cxn>
              <a:cxn ang="0">
                <a:pos x="connsiteX12811" y="connsiteY12811"/>
              </a:cxn>
              <a:cxn ang="0">
                <a:pos x="connsiteX12812" y="connsiteY12812"/>
              </a:cxn>
              <a:cxn ang="0">
                <a:pos x="connsiteX12813" y="connsiteY12813"/>
              </a:cxn>
              <a:cxn ang="0">
                <a:pos x="connsiteX12814" y="connsiteY12814"/>
              </a:cxn>
              <a:cxn ang="0">
                <a:pos x="connsiteX12815" y="connsiteY12815"/>
              </a:cxn>
              <a:cxn ang="0">
                <a:pos x="connsiteX12816" y="connsiteY12816"/>
              </a:cxn>
              <a:cxn ang="0">
                <a:pos x="connsiteX12817" y="connsiteY12817"/>
              </a:cxn>
              <a:cxn ang="0">
                <a:pos x="connsiteX12818" y="connsiteY12818"/>
              </a:cxn>
              <a:cxn ang="0">
                <a:pos x="connsiteX12819" y="connsiteY12819"/>
              </a:cxn>
              <a:cxn ang="0">
                <a:pos x="connsiteX12820" y="connsiteY12820"/>
              </a:cxn>
              <a:cxn ang="0">
                <a:pos x="connsiteX12821" y="connsiteY12821"/>
              </a:cxn>
              <a:cxn ang="0">
                <a:pos x="connsiteX12822" y="connsiteY12822"/>
              </a:cxn>
              <a:cxn ang="0">
                <a:pos x="connsiteX12823" y="connsiteY12823"/>
              </a:cxn>
              <a:cxn ang="0">
                <a:pos x="connsiteX12824" y="connsiteY12824"/>
              </a:cxn>
              <a:cxn ang="0">
                <a:pos x="connsiteX12825" y="connsiteY12825"/>
              </a:cxn>
              <a:cxn ang="0">
                <a:pos x="connsiteX12826" y="connsiteY12826"/>
              </a:cxn>
              <a:cxn ang="0">
                <a:pos x="connsiteX12827" y="connsiteY12827"/>
              </a:cxn>
              <a:cxn ang="0">
                <a:pos x="connsiteX12828" y="connsiteY12828"/>
              </a:cxn>
              <a:cxn ang="0">
                <a:pos x="connsiteX12829" y="connsiteY12829"/>
              </a:cxn>
              <a:cxn ang="0">
                <a:pos x="connsiteX12830" y="connsiteY12830"/>
              </a:cxn>
              <a:cxn ang="0">
                <a:pos x="connsiteX12831" y="connsiteY12831"/>
              </a:cxn>
              <a:cxn ang="0">
                <a:pos x="connsiteX12832" y="connsiteY12832"/>
              </a:cxn>
              <a:cxn ang="0">
                <a:pos x="connsiteX12833" y="connsiteY12833"/>
              </a:cxn>
              <a:cxn ang="0">
                <a:pos x="connsiteX12834" y="connsiteY12834"/>
              </a:cxn>
              <a:cxn ang="0">
                <a:pos x="connsiteX12835" y="connsiteY12835"/>
              </a:cxn>
              <a:cxn ang="0">
                <a:pos x="connsiteX12836" y="connsiteY12836"/>
              </a:cxn>
              <a:cxn ang="0">
                <a:pos x="connsiteX12837" y="connsiteY12837"/>
              </a:cxn>
              <a:cxn ang="0">
                <a:pos x="connsiteX12838" y="connsiteY12838"/>
              </a:cxn>
              <a:cxn ang="0">
                <a:pos x="connsiteX12839" y="connsiteY12839"/>
              </a:cxn>
              <a:cxn ang="0">
                <a:pos x="connsiteX12840" y="connsiteY12840"/>
              </a:cxn>
              <a:cxn ang="0">
                <a:pos x="connsiteX12841" y="connsiteY12841"/>
              </a:cxn>
              <a:cxn ang="0">
                <a:pos x="connsiteX12842" y="connsiteY12842"/>
              </a:cxn>
              <a:cxn ang="0">
                <a:pos x="connsiteX12843" y="connsiteY12843"/>
              </a:cxn>
              <a:cxn ang="0">
                <a:pos x="connsiteX12844" y="connsiteY12844"/>
              </a:cxn>
              <a:cxn ang="0">
                <a:pos x="connsiteX12845" y="connsiteY12845"/>
              </a:cxn>
              <a:cxn ang="0">
                <a:pos x="connsiteX12846" y="connsiteY12846"/>
              </a:cxn>
              <a:cxn ang="0">
                <a:pos x="connsiteX12847" y="connsiteY12847"/>
              </a:cxn>
              <a:cxn ang="0">
                <a:pos x="connsiteX12848" y="connsiteY12848"/>
              </a:cxn>
              <a:cxn ang="0">
                <a:pos x="connsiteX12849" y="connsiteY12849"/>
              </a:cxn>
              <a:cxn ang="0">
                <a:pos x="connsiteX12850" y="connsiteY12850"/>
              </a:cxn>
              <a:cxn ang="0">
                <a:pos x="connsiteX12851" y="connsiteY12851"/>
              </a:cxn>
              <a:cxn ang="0">
                <a:pos x="connsiteX12852" y="connsiteY12852"/>
              </a:cxn>
              <a:cxn ang="0">
                <a:pos x="connsiteX12853" y="connsiteY12853"/>
              </a:cxn>
              <a:cxn ang="0">
                <a:pos x="connsiteX12854" y="connsiteY12854"/>
              </a:cxn>
              <a:cxn ang="0">
                <a:pos x="connsiteX12855" y="connsiteY12855"/>
              </a:cxn>
              <a:cxn ang="0">
                <a:pos x="connsiteX12856" y="connsiteY12856"/>
              </a:cxn>
              <a:cxn ang="0">
                <a:pos x="connsiteX12857" y="connsiteY12857"/>
              </a:cxn>
              <a:cxn ang="0">
                <a:pos x="connsiteX12858" y="connsiteY12858"/>
              </a:cxn>
              <a:cxn ang="0">
                <a:pos x="connsiteX12859" y="connsiteY12859"/>
              </a:cxn>
              <a:cxn ang="0">
                <a:pos x="connsiteX12860" y="connsiteY12860"/>
              </a:cxn>
              <a:cxn ang="0">
                <a:pos x="connsiteX12861" y="connsiteY12861"/>
              </a:cxn>
              <a:cxn ang="0">
                <a:pos x="connsiteX12862" y="connsiteY12862"/>
              </a:cxn>
              <a:cxn ang="0">
                <a:pos x="connsiteX12863" y="connsiteY12863"/>
              </a:cxn>
              <a:cxn ang="0">
                <a:pos x="connsiteX12864" y="connsiteY12864"/>
              </a:cxn>
              <a:cxn ang="0">
                <a:pos x="connsiteX12865" y="connsiteY12865"/>
              </a:cxn>
              <a:cxn ang="0">
                <a:pos x="connsiteX12866" y="connsiteY12866"/>
              </a:cxn>
              <a:cxn ang="0">
                <a:pos x="connsiteX12867" y="connsiteY12867"/>
              </a:cxn>
              <a:cxn ang="0">
                <a:pos x="connsiteX12868" y="connsiteY12868"/>
              </a:cxn>
              <a:cxn ang="0">
                <a:pos x="connsiteX12869" y="connsiteY12869"/>
              </a:cxn>
              <a:cxn ang="0">
                <a:pos x="connsiteX12870" y="connsiteY12870"/>
              </a:cxn>
              <a:cxn ang="0">
                <a:pos x="connsiteX12871" y="connsiteY12871"/>
              </a:cxn>
              <a:cxn ang="0">
                <a:pos x="connsiteX12872" y="connsiteY12872"/>
              </a:cxn>
              <a:cxn ang="0">
                <a:pos x="connsiteX12873" y="connsiteY12873"/>
              </a:cxn>
              <a:cxn ang="0">
                <a:pos x="connsiteX12874" y="connsiteY12874"/>
              </a:cxn>
              <a:cxn ang="0">
                <a:pos x="connsiteX12875" y="connsiteY12875"/>
              </a:cxn>
              <a:cxn ang="0">
                <a:pos x="connsiteX12876" y="connsiteY12876"/>
              </a:cxn>
              <a:cxn ang="0">
                <a:pos x="connsiteX12877" y="connsiteY12877"/>
              </a:cxn>
              <a:cxn ang="0">
                <a:pos x="connsiteX12878" y="connsiteY12878"/>
              </a:cxn>
              <a:cxn ang="0">
                <a:pos x="connsiteX12879" y="connsiteY12879"/>
              </a:cxn>
              <a:cxn ang="0">
                <a:pos x="connsiteX12880" y="connsiteY12880"/>
              </a:cxn>
              <a:cxn ang="0">
                <a:pos x="connsiteX12881" y="connsiteY12881"/>
              </a:cxn>
              <a:cxn ang="0">
                <a:pos x="connsiteX12882" y="connsiteY12882"/>
              </a:cxn>
              <a:cxn ang="0">
                <a:pos x="connsiteX12883" y="connsiteY12883"/>
              </a:cxn>
              <a:cxn ang="0">
                <a:pos x="connsiteX12884" y="connsiteY12884"/>
              </a:cxn>
              <a:cxn ang="0">
                <a:pos x="connsiteX12885" y="connsiteY12885"/>
              </a:cxn>
              <a:cxn ang="0">
                <a:pos x="connsiteX12886" y="connsiteY12886"/>
              </a:cxn>
              <a:cxn ang="0">
                <a:pos x="connsiteX12887" y="connsiteY12887"/>
              </a:cxn>
              <a:cxn ang="0">
                <a:pos x="connsiteX12888" y="connsiteY12888"/>
              </a:cxn>
              <a:cxn ang="0">
                <a:pos x="connsiteX12889" y="connsiteY12889"/>
              </a:cxn>
              <a:cxn ang="0">
                <a:pos x="connsiteX12890" y="connsiteY12890"/>
              </a:cxn>
              <a:cxn ang="0">
                <a:pos x="connsiteX12891" y="connsiteY12891"/>
              </a:cxn>
              <a:cxn ang="0">
                <a:pos x="connsiteX12892" y="connsiteY12892"/>
              </a:cxn>
              <a:cxn ang="0">
                <a:pos x="connsiteX12893" y="connsiteY12893"/>
              </a:cxn>
              <a:cxn ang="0">
                <a:pos x="connsiteX12894" y="connsiteY12894"/>
              </a:cxn>
              <a:cxn ang="0">
                <a:pos x="connsiteX12895" y="connsiteY12895"/>
              </a:cxn>
              <a:cxn ang="0">
                <a:pos x="connsiteX12896" y="connsiteY12896"/>
              </a:cxn>
              <a:cxn ang="0">
                <a:pos x="connsiteX12897" y="connsiteY12897"/>
              </a:cxn>
              <a:cxn ang="0">
                <a:pos x="connsiteX12898" y="connsiteY12898"/>
              </a:cxn>
              <a:cxn ang="0">
                <a:pos x="connsiteX12899" y="connsiteY12899"/>
              </a:cxn>
              <a:cxn ang="0">
                <a:pos x="connsiteX12900" y="connsiteY12900"/>
              </a:cxn>
              <a:cxn ang="0">
                <a:pos x="connsiteX12901" y="connsiteY12901"/>
              </a:cxn>
              <a:cxn ang="0">
                <a:pos x="connsiteX12902" y="connsiteY12902"/>
              </a:cxn>
              <a:cxn ang="0">
                <a:pos x="connsiteX12903" y="connsiteY12903"/>
              </a:cxn>
              <a:cxn ang="0">
                <a:pos x="connsiteX12904" y="connsiteY12904"/>
              </a:cxn>
              <a:cxn ang="0">
                <a:pos x="connsiteX12905" y="connsiteY12905"/>
              </a:cxn>
              <a:cxn ang="0">
                <a:pos x="connsiteX12906" y="connsiteY12906"/>
              </a:cxn>
              <a:cxn ang="0">
                <a:pos x="connsiteX12907" y="connsiteY12907"/>
              </a:cxn>
              <a:cxn ang="0">
                <a:pos x="connsiteX12908" y="connsiteY12908"/>
              </a:cxn>
              <a:cxn ang="0">
                <a:pos x="connsiteX12909" y="connsiteY12909"/>
              </a:cxn>
              <a:cxn ang="0">
                <a:pos x="connsiteX12910" y="connsiteY12910"/>
              </a:cxn>
              <a:cxn ang="0">
                <a:pos x="connsiteX12911" y="connsiteY12911"/>
              </a:cxn>
              <a:cxn ang="0">
                <a:pos x="connsiteX12912" y="connsiteY12912"/>
              </a:cxn>
              <a:cxn ang="0">
                <a:pos x="connsiteX12913" y="connsiteY12913"/>
              </a:cxn>
              <a:cxn ang="0">
                <a:pos x="connsiteX12914" y="connsiteY12914"/>
              </a:cxn>
              <a:cxn ang="0">
                <a:pos x="connsiteX12915" y="connsiteY12915"/>
              </a:cxn>
              <a:cxn ang="0">
                <a:pos x="connsiteX12916" y="connsiteY12916"/>
              </a:cxn>
              <a:cxn ang="0">
                <a:pos x="connsiteX12917" y="connsiteY12917"/>
              </a:cxn>
              <a:cxn ang="0">
                <a:pos x="connsiteX12918" y="connsiteY12918"/>
              </a:cxn>
              <a:cxn ang="0">
                <a:pos x="connsiteX12919" y="connsiteY12919"/>
              </a:cxn>
              <a:cxn ang="0">
                <a:pos x="connsiteX12920" y="connsiteY12920"/>
              </a:cxn>
              <a:cxn ang="0">
                <a:pos x="connsiteX12921" y="connsiteY12921"/>
              </a:cxn>
              <a:cxn ang="0">
                <a:pos x="connsiteX12922" y="connsiteY12922"/>
              </a:cxn>
              <a:cxn ang="0">
                <a:pos x="connsiteX12923" y="connsiteY12923"/>
              </a:cxn>
              <a:cxn ang="0">
                <a:pos x="connsiteX12924" y="connsiteY12924"/>
              </a:cxn>
              <a:cxn ang="0">
                <a:pos x="connsiteX12925" y="connsiteY12925"/>
              </a:cxn>
              <a:cxn ang="0">
                <a:pos x="connsiteX12926" y="connsiteY12926"/>
              </a:cxn>
              <a:cxn ang="0">
                <a:pos x="connsiteX12927" y="connsiteY12927"/>
              </a:cxn>
              <a:cxn ang="0">
                <a:pos x="connsiteX12928" y="connsiteY12928"/>
              </a:cxn>
              <a:cxn ang="0">
                <a:pos x="connsiteX12929" y="connsiteY12929"/>
              </a:cxn>
              <a:cxn ang="0">
                <a:pos x="connsiteX12930" y="connsiteY12930"/>
              </a:cxn>
              <a:cxn ang="0">
                <a:pos x="connsiteX12931" y="connsiteY12931"/>
              </a:cxn>
              <a:cxn ang="0">
                <a:pos x="connsiteX12932" y="connsiteY12932"/>
              </a:cxn>
              <a:cxn ang="0">
                <a:pos x="connsiteX12933" y="connsiteY12933"/>
              </a:cxn>
              <a:cxn ang="0">
                <a:pos x="connsiteX12934" y="connsiteY12934"/>
              </a:cxn>
              <a:cxn ang="0">
                <a:pos x="connsiteX12935" y="connsiteY12935"/>
              </a:cxn>
              <a:cxn ang="0">
                <a:pos x="connsiteX12936" y="connsiteY12936"/>
              </a:cxn>
              <a:cxn ang="0">
                <a:pos x="connsiteX12937" y="connsiteY12937"/>
              </a:cxn>
              <a:cxn ang="0">
                <a:pos x="connsiteX12938" y="connsiteY12938"/>
              </a:cxn>
              <a:cxn ang="0">
                <a:pos x="connsiteX12939" y="connsiteY12939"/>
              </a:cxn>
              <a:cxn ang="0">
                <a:pos x="connsiteX12940" y="connsiteY12940"/>
              </a:cxn>
              <a:cxn ang="0">
                <a:pos x="connsiteX12941" y="connsiteY12941"/>
              </a:cxn>
              <a:cxn ang="0">
                <a:pos x="connsiteX12942" y="connsiteY12942"/>
              </a:cxn>
              <a:cxn ang="0">
                <a:pos x="connsiteX12943" y="connsiteY12943"/>
              </a:cxn>
              <a:cxn ang="0">
                <a:pos x="connsiteX12944" y="connsiteY12944"/>
              </a:cxn>
              <a:cxn ang="0">
                <a:pos x="connsiteX12945" y="connsiteY12945"/>
              </a:cxn>
              <a:cxn ang="0">
                <a:pos x="connsiteX12946" y="connsiteY12946"/>
              </a:cxn>
              <a:cxn ang="0">
                <a:pos x="connsiteX12947" y="connsiteY12947"/>
              </a:cxn>
              <a:cxn ang="0">
                <a:pos x="connsiteX12948" y="connsiteY12948"/>
              </a:cxn>
              <a:cxn ang="0">
                <a:pos x="connsiteX12949" y="connsiteY12949"/>
              </a:cxn>
              <a:cxn ang="0">
                <a:pos x="connsiteX12950" y="connsiteY12950"/>
              </a:cxn>
              <a:cxn ang="0">
                <a:pos x="connsiteX12951" y="connsiteY12951"/>
              </a:cxn>
              <a:cxn ang="0">
                <a:pos x="connsiteX12952" y="connsiteY12952"/>
              </a:cxn>
              <a:cxn ang="0">
                <a:pos x="connsiteX12953" y="connsiteY12953"/>
              </a:cxn>
              <a:cxn ang="0">
                <a:pos x="connsiteX12954" y="connsiteY12954"/>
              </a:cxn>
              <a:cxn ang="0">
                <a:pos x="connsiteX12955" y="connsiteY12955"/>
              </a:cxn>
              <a:cxn ang="0">
                <a:pos x="connsiteX12956" y="connsiteY12956"/>
              </a:cxn>
              <a:cxn ang="0">
                <a:pos x="connsiteX12957" y="connsiteY12957"/>
              </a:cxn>
              <a:cxn ang="0">
                <a:pos x="connsiteX12958" y="connsiteY12958"/>
              </a:cxn>
              <a:cxn ang="0">
                <a:pos x="connsiteX12959" y="connsiteY12959"/>
              </a:cxn>
              <a:cxn ang="0">
                <a:pos x="connsiteX12960" y="connsiteY12960"/>
              </a:cxn>
              <a:cxn ang="0">
                <a:pos x="connsiteX12961" y="connsiteY12961"/>
              </a:cxn>
              <a:cxn ang="0">
                <a:pos x="connsiteX12962" y="connsiteY12962"/>
              </a:cxn>
              <a:cxn ang="0">
                <a:pos x="connsiteX12963" y="connsiteY12963"/>
              </a:cxn>
              <a:cxn ang="0">
                <a:pos x="connsiteX12964" y="connsiteY12964"/>
              </a:cxn>
              <a:cxn ang="0">
                <a:pos x="connsiteX12965" y="connsiteY12965"/>
              </a:cxn>
              <a:cxn ang="0">
                <a:pos x="connsiteX12966" y="connsiteY12966"/>
              </a:cxn>
              <a:cxn ang="0">
                <a:pos x="connsiteX12967" y="connsiteY12967"/>
              </a:cxn>
              <a:cxn ang="0">
                <a:pos x="connsiteX12968" y="connsiteY12968"/>
              </a:cxn>
              <a:cxn ang="0">
                <a:pos x="connsiteX12969" y="connsiteY12969"/>
              </a:cxn>
              <a:cxn ang="0">
                <a:pos x="connsiteX12970" y="connsiteY12970"/>
              </a:cxn>
              <a:cxn ang="0">
                <a:pos x="connsiteX12971" y="connsiteY12971"/>
              </a:cxn>
              <a:cxn ang="0">
                <a:pos x="connsiteX12972" y="connsiteY12972"/>
              </a:cxn>
              <a:cxn ang="0">
                <a:pos x="connsiteX12973" y="connsiteY12973"/>
              </a:cxn>
              <a:cxn ang="0">
                <a:pos x="connsiteX12974" y="connsiteY12974"/>
              </a:cxn>
              <a:cxn ang="0">
                <a:pos x="connsiteX12975" y="connsiteY12975"/>
              </a:cxn>
              <a:cxn ang="0">
                <a:pos x="connsiteX12976" y="connsiteY12976"/>
              </a:cxn>
              <a:cxn ang="0">
                <a:pos x="connsiteX12977" y="connsiteY12977"/>
              </a:cxn>
              <a:cxn ang="0">
                <a:pos x="connsiteX12978" y="connsiteY12978"/>
              </a:cxn>
              <a:cxn ang="0">
                <a:pos x="connsiteX12979" y="connsiteY12979"/>
              </a:cxn>
              <a:cxn ang="0">
                <a:pos x="connsiteX12980" y="connsiteY12980"/>
              </a:cxn>
              <a:cxn ang="0">
                <a:pos x="connsiteX12981" y="connsiteY12981"/>
              </a:cxn>
              <a:cxn ang="0">
                <a:pos x="connsiteX12982" y="connsiteY12982"/>
              </a:cxn>
              <a:cxn ang="0">
                <a:pos x="connsiteX12983" y="connsiteY12983"/>
              </a:cxn>
              <a:cxn ang="0">
                <a:pos x="connsiteX12984" y="connsiteY12984"/>
              </a:cxn>
              <a:cxn ang="0">
                <a:pos x="connsiteX12985" y="connsiteY12985"/>
              </a:cxn>
              <a:cxn ang="0">
                <a:pos x="connsiteX12986" y="connsiteY12986"/>
              </a:cxn>
              <a:cxn ang="0">
                <a:pos x="connsiteX12987" y="connsiteY12987"/>
              </a:cxn>
              <a:cxn ang="0">
                <a:pos x="connsiteX12988" y="connsiteY12988"/>
              </a:cxn>
              <a:cxn ang="0">
                <a:pos x="connsiteX12989" y="connsiteY12989"/>
              </a:cxn>
              <a:cxn ang="0">
                <a:pos x="connsiteX12990" y="connsiteY12990"/>
              </a:cxn>
              <a:cxn ang="0">
                <a:pos x="connsiteX12991" y="connsiteY12991"/>
              </a:cxn>
              <a:cxn ang="0">
                <a:pos x="connsiteX12992" y="connsiteY12992"/>
              </a:cxn>
              <a:cxn ang="0">
                <a:pos x="connsiteX12993" y="connsiteY12993"/>
              </a:cxn>
              <a:cxn ang="0">
                <a:pos x="connsiteX12994" y="connsiteY12994"/>
              </a:cxn>
              <a:cxn ang="0">
                <a:pos x="connsiteX12995" y="connsiteY12995"/>
              </a:cxn>
              <a:cxn ang="0">
                <a:pos x="connsiteX12996" y="connsiteY12996"/>
              </a:cxn>
              <a:cxn ang="0">
                <a:pos x="connsiteX12997" y="connsiteY12997"/>
              </a:cxn>
              <a:cxn ang="0">
                <a:pos x="connsiteX12998" y="connsiteY12998"/>
              </a:cxn>
              <a:cxn ang="0">
                <a:pos x="connsiteX12999" y="connsiteY12999"/>
              </a:cxn>
              <a:cxn ang="0">
                <a:pos x="connsiteX13000" y="connsiteY13000"/>
              </a:cxn>
              <a:cxn ang="0">
                <a:pos x="connsiteX13001" y="connsiteY13001"/>
              </a:cxn>
              <a:cxn ang="0">
                <a:pos x="connsiteX13002" y="connsiteY13002"/>
              </a:cxn>
              <a:cxn ang="0">
                <a:pos x="connsiteX13003" y="connsiteY13003"/>
              </a:cxn>
              <a:cxn ang="0">
                <a:pos x="connsiteX13004" y="connsiteY13004"/>
              </a:cxn>
              <a:cxn ang="0">
                <a:pos x="connsiteX13005" y="connsiteY13005"/>
              </a:cxn>
              <a:cxn ang="0">
                <a:pos x="connsiteX13006" y="connsiteY13006"/>
              </a:cxn>
              <a:cxn ang="0">
                <a:pos x="connsiteX13007" y="connsiteY13007"/>
              </a:cxn>
              <a:cxn ang="0">
                <a:pos x="connsiteX13008" y="connsiteY13008"/>
              </a:cxn>
              <a:cxn ang="0">
                <a:pos x="connsiteX13009" y="connsiteY13009"/>
              </a:cxn>
              <a:cxn ang="0">
                <a:pos x="connsiteX13010" y="connsiteY13010"/>
              </a:cxn>
              <a:cxn ang="0">
                <a:pos x="connsiteX13011" y="connsiteY13011"/>
              </a:cxn>
              <a:cxn ang="0">
                <a:pos x="connsiteX13012" y="connsiteY13012"/>
              </a:cxn>
              <a:cxn ang="0">
                <a:pos x="connsiteX13013" y="connsiteY13013"/>
              </a:cxn>
              <a:cxn ang="0">
                <a:pos x="connsiteX13014" y="connsiteY13014"/>
              </a:cxn>
              <a:cxn ang="0">
                <a:pos x="connsiteX13015" y="connsiteY13015"/>
              </a:cxn>
              <a:cxn ang="0">
                <a:pos x="connsiteX13016" y="connsiteY13016"/>
              </a:cxn>
              <a:cxn ang="0">
                <a:pos x="connsiteX13017" y="connsiteY13017"/>
              </a:cxn>
              <a:cxn ang="0">
                <a:pos x="connsiteX13018" y="connsiteY13018"/>
              </a:cxn>
              <a:cxn ang="0">
                <a:pos x="connsiteX13019" y="connsiteY13019"/>
              </a:cxn>
              <a:cxn ang="0">
                <a:pos x="connsiteX13020" y="connsiteY13020"/>
              </a:cxn>
              <a:cxn ang="0">
                <a:pos x="connsiteX13021" y="connsiteY13021"/>
              </a:cxn>
              <a:cxn ang="0">
                <a:pos x="connsiteX13022" y="connsiteY13022"/>
              </a:cxn>
              <a:cxn ang="0">
                <a:pos x="connsiteX13023" y="connsiteY13023"/>
              </a:cxn>
              <a:cxn ang="0">
                <a:pos x="connsiteX13024" y="connsiteY13024"/>
              </a:cxn>
              <a:cxn ang="0">
                <a:pos x="connsiteX13025" y="connsiteY13025"/>
              </a:cxn>
              <a:cxn ang="0">
                <a:pos x="connsiteX13026" y="connsiteY13026"/>
              </a:cxn>
              <a:cxn ang="0">
                <a:pos x="connsiteX13027" y="connsiteY13027"/>
              </a:cxn>
              <a:cxn ang="0">
                <a:pos x="connsiteX13028" y="connsiteY13028"/>
              </a:cxn>
              <a:cxn ang="0">
                <a:pos x="connsiteX13029" y="connsiteY13029"/>
              </a:cxn>
              <a:cxn ang="0">
                <a:pos x="connsiteX13030" y="connsiteY13030"/>
              </a:cxn>
              <a:cxn ang="0">
                <a:pos x="connsiteX13031" y="connsiteY13031"/>
              </a:cxn>
              <a:cxn ang="0">
                <a:pos x="connsiteX13032" y="connsiteY13032"/>
              </a:cxn>
              <a:cxn ang="0">
                <a:pos x="connsiteX13033" y="connsiteY13033"/>
              </a:cxn>
              <a:cxn ang="0">
                <a:pos x="connsiteX13034" y="connsiteY13034"/>
              </a:cxn>
              <a:cxn ang="0">
                <a:pos x="connsiteX13035" y="connsiteY13035"/>
              </a:cxn>
              <a:cxn ang="0">
                <a:pos x="connsiteX13036" y="connsiteY13036"/>
              </a:cxn>
              <a:cxn ang="0">
                <a:pos x="connsiteX13037" y="connsiteY13037"/>
              </a:cxn>
              <a:cxn ang="0">
                <a:pos x="connsiteX13038" y="connsiteY13038"/>
              </a:cxn>
              <a:cxn ang="0">
                <a:pos x="connsiteX13039" y="connsiteY13039"/>
              </a:cxn>
              <a:cxn ang="0">
                <a:pos x="connsiteX13040" y="connsiteY13040"/>
              </a:cxn>
              <a:cxn ang="0">
                <a:pos x="connsiteX13041" y="connsiteY13041"/>
              </a:cxn>
              <a:cxn ang="0">
                <a:pos x="connsiteX13042" y="connsiteY13042"/>
              </a:cxn>
              <a:cxn ang="0">
                <a:pos x="connsiteX13043" y="connsiteY13043"/>
              </a:cxn>
              <a:cxn ang="0">
                <a:pos x="connsiteX13044" y="connsiteY13044"/>
              </a:cxn>
              <a:cxn ang="0">
                <a:pos x="connsiteX13045" y="connsiteY13045"/>
              </a:cxn>
              <a:cxn ang="0">
                <a:pos x="connsiteX13046" y="connsiteY13046"/>
              </a:cxn>
              <a:cxn ang="0">
                <a:pos x="connsiteX13047" y="connsiteY13047"/>
              </a:cxn>
              <a:cxn ang="0">
                <a:pos x="connsiteX13048" y="connsiteY13048"/>
              </a:cxn>
              <a:cxn ang="0">
                <a:pos x="connsiteX13049" y="connsiteY13049"/>
              </a:cxn>
              <a:cxn ang="0">
                <a:pos x="connsiteX13050" y="connsiteY13050"/>
              </a:cxn>
              <a:cxn ang="0">
                <a:pos x="connsiteX13051" y="connsiteY13051"/>
              </a:cxn>
              <a:cxn ang="0">
                <a:pos x="connsiteX13052" y="connsiteY13052"/>
              </a:cxn>
              <a:cxn ang="0">
                <a:pos x="connsiteX13053" y="connsiteY13053"/>
              </a:cxn>
              <a:cxn ang="0">
                <a:pos x="connsiteX13054" y="connsiteY13054"/>
              </a:cxn>
              <a:cxn ang="0">
                <a:pos x="connsiteX13055" y="connsiteY13055"/>
              </a:cxn>
              <a:cxn ang="0">
                <a:pos x="connsiteX13056" y="connsiteY13056"/>
              </a:cxn>
              <a:cxn ang="0">
                <a:pos x="connsiteX13057" y="connsiteY13057"/>
              </a:cxn>
              <a:cxn ang="0">
                <a:pos x="connsiteX13058" y="connsiteY13058"/>
              </a:cxn>
              <a:cxn ang="0">
                <a:pos x="connsiteX13059" y="connsiteY13059"/>
              </a:cxn>
              <a:cxn ang="0">
                <a:pos x="connsiteX13060" y="connsiteY13060"/>
              </a:cxn>
              <a:cxn ang="0">
                <a:pos x="connsiteX13061" y="connsiteY13061"/>
              </a:cxn>
              <a:cxn ang="0">
                <a:pos x="connsiteX13062" y="connsiteY13062"/>
              </a:cxn>
              <a:cxn ang="0">
                <a:pos x="connsiteX13063" y="connsiteY13063"/>
              </a:cxn>
              <a:cxn ang="0">
                <a:pos x="connsiteX13064" y="connsiteY13064"/>
              </a:cxn>
              <a:cxn ang="0">
                <a:pos x="connsiteX13065" y="connsiteY13065"/>
              </a:cxn>
              <a:cxn ang="0">
                <a:pos x="connsiteX13066" y="connsiteY13066"/>
              </a:cxn>
              <a:cxn ang="0">
                <a:pos x="connsiteX13067" y="connsiteY13067"/>
              </a:cxn>
              <a:cxn ang="0">
                <a:pos x="connsiteX13068" y="connsiteY13068"/>
              </a:cxn>
              <a:cxn ang="0">
                <a:pos x="connsiteX13069" y="connsiteY13069"/>
              </a:cxn>
              <a:cxn ang="0">
                <a:pos x="connsiteX13070" y="connsiteY13070"/>
              </a:cxn>
              <a:cxn ang="0">
                <a:pos x="connsiteX13071" y="connsiteY13071"/>
              </a:cxn>
              <a:cxn ang="0">
                <a:pos x="connsiteX13072" y="connsiteY13072"/>
              </a:cxn>
              <a:cxn ang="0">
                <a:pos x="connsiteX13073" y="connsiteY13073"/>
              </a:cxn>
              <a:cxn ang="0">
                <a:pos x="connsiteX13074" y="connsiteY13074"/>
              </a:cxn>
              <a:cxn ang="0">
                <a:pos x="connsiteX13075" y="connsiteY13075"/>
              </a:cxn>
              <a:cxn ang="0">
                <a:pos x="connsiteX13076" y="connsiteY13076"/>
              </a:cxn>
              <a:cxn ang="0">
                <a:pos x="connsiteX13077" y="connsiteY13077"/>
              </a:cxn>
              <a:cxn ang="0">
                <a:pos x="connsiteX13078" y="connsiteY13078"/>
              </a:cxn>
              <a:cxn ang="0">
                <a:pos x="connsiteX13079" y="connsiteY13079"/>
              </a:cxn>
              <a:cxn ang="0">
                <a:pos x="connsiteX13080" y="connsiteY13080"/>
              </a:cxn>
              <a:cxn ang="0">
                <a:pos x="connsiteX13081" y="connsiteY13081"/>
              </a:cxn>
              <a:cxn ang="0">
                <a:pos x="connsiteX13082" y="connsiteY13082"/>
              </a:cxn>
              <a:cxn ang="0">
                <a:pos x="connsiteX13083" y="connsiteY13083"/>
              </a:cxn>
              <a:cxn ang="0">
                <a:pos x="connsiteX13084" y="connsiteY13084"/>
              </a:cxn>
              <a:cxn ang="0">
                <a:pos x="connsiteX13085" y="connsiteY13085"/>
              </a:cxn>
              <a:cxn ang="0">
                <a:pos x="connsiteX13086" y="connsiteY13086"/>
              </a:cxn>
              <a:cxn ang="0">
                <a:pos x="connsiteX13087" y="connsiteY13087"/>
              </a:cxn>
              <a:cxn ang="0">
                <a:pos x="connsiteX13088" y="connsiteY13088"/>
              </a:cxn>
              <a:cxn ang="0">
                <a:pos x="connsiteX13089" y="connsiteY13089"/>
              </a:cxn>
              <a:cxn ang="0">
                <a:pos x="connsiteX13090" y="connsiteY13090"/>
              </a:cxn>
              <a:cxn ang="0">
                <a:pos x="connsiteX13091" y="connsiteY13091"/>
              </a:cxn>
              <a:cxn ang="0">
                <a:pos x="connsiteX13092" y="connsiteY13092"/>
              </a:cxn>
              <a:cxn ang="0">
                <a:pos x="connsiteX13093" y="connsiteY13093"/>
              </a:cxn>
              <a:cxn ang="0">
                <a:pos x="connsiteX13094" y="connsiteY13094"/>
              </a:cxn>
              <a:cxn ang="0">
                <a:pos x="connsiteX13095" y="connsiteY13095"/>
              </a:cxn>
              <a:cxn ang="0">
                <a:pos x="connsiteX13096" y="connsiteY13096"/>
              </a:cxn>
              <a:cxn ang="0">
                <a:pos x="connsiteX13097" y="connsiteY13097"/>
              </a:cxn>
              <a:cxn ang="0">
                <a:pos x="connsiteX13098" y="connsiteY13098"/>
              </a:cxn>
              <a:cxn ang="0">
                <a:pos x="connsiteX13099" y="connsiteY13099"/>
              </a:cxn>
              <a:cxn ang="0">
                <a:pos x="connsiteX13100" y="connsiteY13100"/>
              </a:cxn>
              <a:cxn ang="0">
                <a:pos x="connsiteX13101" y="connsiteY13101"/>
              </a:cxn>
              <a:cxn ang="0">
                <a:pos x="connsiteX13102" y="connsiteY13102"/>
              </a:cxn>
              <a:cxn ang="0">
                <a:pos x="connsiteX13103" y="connsiteY13103"/>
              </a:cxn>
              <a:cxn ang="0">
                <a:pos x="connsiteX13104" y="connsiteY13104"/>
              </a:cxn>
              <a:cxn ang="0">
                <a:pos x="connsiteX13105" y="connsiteY13105"/>
              </a:cxn>
              <a:cxn ang="0">
                <a:pos x="connsiteX13106" y="connsiteY13106"/>
              </a:cxn>
              <a:cxn ang="0">
                <a:pos x="connsiteX13107" y="connsiteY13107"/>
              </a:cxn>
              <a:cxn ang="0">
                <a:pos x="connsiteX13108" y="connsiteY13108"/>
              </a:cxn>
              <a:cxn ang="0">
                <a:pos x="connsiteX13109" y="connsiteY13109"/>
              </a:cxn>
              <a:cxn ang="0">
                <a:pos x="connsiteX13110" y="connsiteY13110"/>
              </a:cxn>
              <a:cxn ang="0">
                <a:pos x="connsiteX13111" y="connsiteY13111"/>
              </a:cxn>
              <a:cxn ang="0">
                <a:pos x="connsiteX13112" y="connsiteY13112"/>
              </a:cxn>
              <a:cxn ang="0">
                <a:pos x="connsiteX13113" y="connsiteY13113"/>
              </a:cxn>
              <a:cxn ang="0">
                <a:pos x="connsiteX13114" y="connsiteY13114"/>
              </a:cxn>
              <a:cxn ang="0">
                <a:pos x="connsiteX13115" y="connsiteY13115"/>
              </a:cxn>
              <a:cxn ang="0">
                <a:pos x="connsiteX13116" y="connsiteY13116"/>
              </a:cxn>
              <a:cxn ang="0">
                <a:pos x="connsiteX13117" y="connsiteY13117"/>
              </a:cxn>
              <a:cxn ang="0">
                <a:pos x="connsiteX13118" y="connsiteY13118"/>
              </a:cxn>
              <a:cxn ang="0">
                <a:pos x="connsiteX13119" y="connsiteY13119"/>
              </a:cxn>
              <a:cxn ang="0">
                <a:pos x="connsiteX13120" y="connsiteY13120"/>
              </a:cxn>
              <a:cxn ang="0">
                <a:pos x="connsiteX13121" y="connsiteY13121"/>
              </a:cxn>
              <a:cxn ang="0">
                <a:pos x="connsiteX13122" y="connsiteY13122"/>
              </a:cxn>
              <a:cxn ang="0">
                <a:pos x="connsiteX13123" y="connsiteY13123"/>
              </a:cxn>
              <a:cxn ang="0">
                <a:pos x="connsiteX13124" y="connsiteY13124"/>
              </a:cxn>
              <a:cxn ang="0">
                <a:pos x="connsiteX13125" y="connsiteY13125"/>
              </a:cxn>
              <a:cxn ang="0">
                <a:pos x="connsiteX13126" y="connsiteY13126"/>
              </a:cxn>
              <a:cxn ang="0">
                <a:pos x="connsiteX13127" y="connsiteY13127"/>
              </a:cxn>
              <a:cxn ang="0">
                <a:pos x="connsiteX13128" y="connsiteY13128"/>
              </a:cxn>
              <a:cxn ang="0">
                <a:pos x="connsiteX13129" y="connsiteY13129"/>
              </a:cxn>
              <a:cxn ang="0">
                <a:pos x="connsiteX13130" y="connsiteY13130"/>
              </a:cxn>
              <a:cxn ang="0">
                <a:pos x="connsiteX13131" y="connsiteY13131"/>
              </a:cxn>
              <a:cxn ang="0">
                <a:pos x="connsiteX13132" y="connsiteY13132"/>
              </a:cxn>
              <a:cxn ang="0">
                <a:pos x="connsiteX13133" y="connsiteY13133"/>
              </a:cxn>
              <a:cxn ang="0">
                <a:pos x="connsiteX13134" y="connsiteY13134"/>
              </a:cxn>
              <a:cxn ang="0">
                <a:pos x="connsiteX13135" y="connsiteY13135"/>
              </a:cxn>
              <a:cxn ang="0">
                <a:pos x="connsiteX13136" y="connsiteY13136"/>
              </a:cxn>
              <a:cxn ang="0">
                <a:pos x="connsiteX13137" y="connsiteY13137"/>
              </a:cxn>
              <a:cxn ang="0">
                <a:pos x="connsiteX13138" y="connsiteY13138"/>
              </a:cxn>
              <a:cxn ang="0">
                <a:pos x="connsiteX13139" y="connsiteY13139"/>
              </a:cxn>
              <a:cxn ang="0">
                <a:pos x="connsiteX13140" y="connsiteY13140"/>
              </a:cxn>
              <a:cxn ang="0">
                <a:pos x="connsiteX13141" y="connsiteY13141"/>
              </a:cxn>
              <a:cxn ang="0">
                <a:pos x="connsiteX13142" y="connsiteY13142"/>
              </a:cxn>
              <a:cxn ang="0">
                <a:pos x="connsiteX13143" y="connsiteY13143"/>
              </a:cxn>
              <a:cxn ang="0">
                <a:pos x="connsiteX13144" y="connsiteY13144"/>
              </a:cxn>
              <a:cxn ang="0">
                <a:pos x="connsiteX13145" y="connsiteY13145"/>
              </a:cxn>
              <a:cxn ang="0">
                <a:pos x="connsiteX13146" y="connsiteY13146"/>
              </a:cxn>
              <a:cxn ang="0">
                <a:pos x="connsiteX13147" y="connsiteY13147"/>
              </a:cxn>
              <a:cxn ang="0">
                <a:pos x="connsiteX13148" y="connsiteY13148"/>
              </a:cxn>
              <a:cxn ang="0">
                <a:pos x="connsiteX13149" y="connsiteY13149"/>
              </a:cxn>
              <a:cxn ang="0">
                <a:pos x="connsiteX13150" y="connsiteY13150"/>
              </a:cxn>
              <a:cxn ang="0">
                <a:pos x="connsiteX13151" y="connsiteY13151"/>
              </a:cxn>
              <a:cxn ang="0">
                <a:pos x="connsiteX13152" y="connsiteY13152"/>
              </a:cxn>
              <a:cxn ang="0">
                <a:pos x="connsiteX13153" y="connsiteY13153"/>
              </a:cxn>
              <a:cxn ang="0">
                <a:pos x="connsiteX13154" y="connsiteY13154"/>
              </a:cxn>
              <a:cxn ang="0">
                <a:pos x="connsiteX13155" y="connsiteY13155"/>
              </a:cxn>
              <a:cxn ang="0">
                <a:pos x="connsiteX13156" y="connsiteY13156"/>
              </a:cxn>
              <a:cxn ang="0">
                <a:pos x="connsiteX13157" y="connsiteY13157"/>
              </a:cxn>
              <a:cxn ang="0">
                <a:pos x="connsiteX13158" y="connsiteY13158"/>
              </a:cxn>
              <a:cxn ang="0">
                <a:pos x="connsiteX13159" y="connsiteY13159"/>
              </a:cxn>
              <a:cxn ang="0">
                <a:pos x="connsiteX13160" y="connsiteY13160"/>
              </a:cxn>
              <a:cxn ang="0">
                <a:pos x="connsiteX13161" y="connsiteY13161"/>
              </a:cxn>
              <a:cxn ang="0">
                <a:pos x="connsiteX13162" y="connsiteY13162"/>
              </a:cxn>
              <a:cxn ang="0">
                <a:pos x="connsiteX13163" y="connsiteY13163"/>
              </a:cxn>
              <a:cxn ang="0">
                <a:pos x="connsiteX13164" y="connsiteY13164"/>
              </a:cxn>
              <a:cxn ang="0">
                <a:pos x="connsiteX13165" y="connsiteY13165"/>
              </a:cxn>
              <a:cxn ang="0">
                <a:pos x="connsiteX13166" y="connsiteY13166"/>
              </a:cxn>
              <a:cxn ang="0">
                <a:pos x="connsiteX13167" y="connsiteY13167"/>
              </a:cxn>
              <a:cxn ang="0">
                <a:pos x="connsiteX13168" y="connsiteY13168"/>
              </a:cxn>
              <a:cxn ang="0">
                <a:pos x="connsiteX13169" y="connsiteY13169"/>
              </a:cxn>
              <a:cxn ang="0">
                <a:pos x="connsiteX13170" y="connsiteY13170"/>
              </a:cxn>
              <a:cxn ang="0">
                <a:pos x="connsiteX13171" y="connsiteY13171"/>
              </a:cxn>
              <a:cxn ang="0">
                <a:pos x="connsiteX13172" y="connsiteY13172"/>
              </a:cxn>
              <a:cxn ang="0">
                <a:pos x="connsiteX13173" y="connsiteY13173"/>
              </a:cxn>
              <a:cxn ang="0">
                <a:pos x="connsiteX13174" y="connsiteY13174"/>
              </a:cxn>
              <a:cxn ang="0">
                <a:pos x="connsiteX13175" y="connsiteY13175"/>
              </a:cxn>
              <a:cxn ang="0">
                <a:pos x="connsiteX13176" y="connsiteY13176"/>
              </a:cxn>
              <a:cxn ang="0">
                <a:pos x="connsiteX13177" y="connsiteY13177"/>
              </a:cxn>
              <a:cxn ang="0">
                <a:pos x="connsiteX13178" y="connsiteY13178"/>
              </a:cxn>
              <a:cxn ang="0">
                <a:pos x="connsiteX13179" y="connsiteY13179"/>
              </a:cxn>
              <a:cxn ang="0">
                <a:pos x="connsiteX13180" y="connsiteY13180"/>
              </a:cxn>
              <a:cxn ang="0">
                <a:pos x="connsiteX13181" y="connsiteY13181"/>
              </a:cxn>
              <a:cxn ang="0">
                <a:pos x="connsiteX13182" y="connsiteY13182"/>
              </a:cxn>
              <a:cxn ang="0">
                <a:pos x="connsiteX13183" y="connsiteY13183"/>
              </a:cxn>
              <a:cxn ang="0">
                <a:pos x="connsiteX13184" y="connsiteY13184"/>
              </a:cxn>
              <a:cxn ang="0">
                <a:pos x="connsiteX13185" y="connsiteY13185"/>
              </a:cxn>
              <a:cxn ang="0">
                <a:pos x="connsiteX13186" y="connsiteY13186"/>
              </a:cxn>
              <a:cxn ang="0">
                <a:pos x="connsiteX13187" y="connsiteY13187"/>
              </a:cxn>
              <a:cxn ang="0">
                <a:pos x="connsiteX13188" y="connsiteY13188"/>
              </a:cxn>
              <a:cxn ang="0">
                <a:pos x="connsiteX13189" y="connsiteY13189"/>
              </a:cxn>
              <a:cxn ang="0">
                <a:pos x="connsiteX13190" y="connsiteY13190"/>
              </a:cxn>
              <a:cxn ang="0">
                <a:pos x="connsiteX13191" y="connsiteY13191"/>
              </a:cxn>
              <a:cxn ang="0">
                <a:pos x="connsiteX13192" y="connsiteY13192"/>
              </a:cxn>
              <a:cxn ang="0">
                <a:pos x="connsiteX13193" y="connsiteY13193"/>
              </a:cxn>
              <a:cxn ang="0">
                <a:pos x="connsiteX13194" y="connsiteY13194"/>
              </a:cxn>
              <a:cxn ang="0">
                <a:pos x="connsiteX13195" y="connsiteY13195"/>
              </a:cxn>
              <a:cxn ang="0">
                <a:pos x="connsiteX13196" y="connsiteY13196"/>
              </a:cxn>
              <a:cxn ang="0">
                <a:pos x="connsiteX13197" y="connsiteY13197"/>
              </a:cxn>
              <a:cxn ang="0">
                <a:pos x="connsiteX13198" y="connsiteY13198"/>
              </a:cxn>
              <a:cxn ang="0">
                <a:pos x="connsiteX13199" y="connsiteY13199"/>
              </a:cxn>
              <a:cxn ang="0">
                <a:pos x="connsiteX13200" y="connsiteY13200"/>
              </a:cxn>
              <a:cxn ang="0">
                <a:pos x="connsiteX13201" y="connsiteY13201"/>
              </a:cxn>
              <a:cxn ang="0">
                <a:pos x="connsiteX13202" y="connsiteY13202"/>
              </a:cxn>
              <a:cxn ang="0">
                <a:pos x="connsiteX13203" y="connsiteY13203"/>
              </a:cxn>
              <a:cxn ang="0">
                <a:pos x="connsiteX13204" y="connsiteY13204"/>
              </a:cxn>
              <a:cxn ang="0">
                <a:pos x="connsiteX13205" y="connsiteY13205"/>
              </a:cxn>
              <a:cxn ang="0">
                <a:pos x="connsiteX13206" y="connsiteY13206"/>
              </a:cxn>
              <a:cxn ang="0">
                <a:pos x="connsiteX13207" y="connsiteY13207"/>
              </a:cxn>
              <a:cxn ang="0">
                <a:pos x="connsiteX13208" y="connsiteY13208"/>
              </a:cxn>
              <a:cxn ang="0">
                <a:pos x="connsiteX13209" y="connsiteY13209"/>
              </a:cxn>
              <a:cxn ang="0">
                <a:pos x="connsiteX13210" y="connsiteY13210"/>
              </a:cxn>
              <a:cxn ang="0">
                <a:pos x="connsiteX13211" y="connsiteY13211"/>
              </a:cxn>
              <a:cxn ang="0">
                <a:pos x="connsiteX13212" y="connsiteY13212"/>
              </a:cxn>
              <a:cxn ang="0">
                <a:pos x="connsiteX13213" y="connsiteY13213"/>
              </a:cxn>
              <a:cxn ang="0">
                <a:pos x="connsiteX13214" y="connsiteY13214"/>
              </a:cxn>
              <a:cxn ang="0">
                <a:pos x="connsiteX13215" y="connsiteY13215"/>
              </a:cxn>
              <a:cxn ang="0">
                <a:pos x="connsiteX13216" y="connsiteY13216"/>
              </a:cxn>
              <a:cxn ang="0">
                <a:pos x="connsiteX13217" y="connsiteY13217"/>
              </a:cxn>
              <a:cxn ang="0">
                <a:pos x="connsiteX13218" y="connsiteY13218"/>
              </a:cxn>
              <a:cxn ang="0">
                <a:pos x="connsiteX13219" y="connsiteY13219"/>
              </a:cxn>
              <a:cxn ang="0">
                <a:pos x="connsiteX13220" y="connsiteY13220"/>
              </a:cxn>
              <a:cxn ang="0">
                <a:pos x="connsiteX13221" y="connsiteY13221"/>
              </a:cxn>
              <a:cxn ang="0">
                <a:pos x="connsiteX13222" y="connsiteY13222"/>
              </a:cxn>
              <a:cxn ang="0">
                <a:pos x="connsiteX13223" y="connsiteY13223"/>
              </a:cxn>
              <a:cxn ang="0">
                <a:pos x="connsiteX13224" y="connsiteY13224"/>
              </a:cxn>
              <a:cxn ang="0">
                <a:pos x="connsiteX13225" y="connsiteY13225"/>
              </a:cxn>
              <a:cxn ang="0">
                <a:pos x="connsiteX13226" y="connsiteY13226"/>
              </a:cxn>
              <a:cxn ang="0">
                <a:pos x="connsiteX13227" y="connsiteY13227"/>
              </a:cxn>
              <a:cxn ang="0">
                <a:pos x="connsiteX13228" y="connsiteY13228"/>
              </a:cxn>
              <a:cxn ang="0">
                <a:pos x="connsiteX13229" y="connsiteY13229"/>
              </a:cxn>
              <a:cxn ang="0">
                <a:pos x="connsiteX13230" y="connsiteY13230"/>
              </a:cxn>
              <a:cxn ang="0">
                <a:pos x="connsiteX13231" y="connsiteY13231"/>
              </a:cxn>
              <a:cxn ang="0">
                <a:pos x="connsiteX13232" y="connsiteY13232"/>
              </a:cxn>
              <a:cxn ang="0">
                <a:pos x="connsiteX13233" y="connsiteY13233"/>
              </a:cxn>
              <a:cxn ang="0">
                <a:pos x="connsiteX13234" y="connsiteY13234"/>
              </a:cxn>
              <a:cxn ang="0">
                <a:pos x="connsiteX13235" y="connsiteY13235"/>
              </a:cxn>
              <a:cxn ang="0">
                <a:pos x="connsiteX13236" y="connsiteY13236"/>
              </a:cxn>
              <a:cxn ang="0">
                <a:pos x="connsiteX13237" y="connsiteY13237"/>
              </a:cxn>
              <a:cxn ang="0">
                <a:pos x="connsiteX13238" y="connsiteY13238"/>
              </a:cxn>
              <a:cxn ang="0">
                <a:pos x="connsiteX13239" y="connsiteY13239"/>
              </a:cxn>
              <a:cxn ang="0">
                <a:pos x="connsiteX13240" y="connsiteY13240"/>
              </a:cxn>
              <a:cxn ang="0">
                <a:pos x="connsiteX13241" y="connsiteY13241"/>
              </a:cxn>
              <a:cxn ang="0">
                <a:pos x="connsiteX13242" y="connsiteY13242"/>
              </a:cxn>
              <a:cxn ang="0">
                <a:pos x="connsiteX13243" y="connsiteY13243"/>
              </a:cxn>
              <a:cxn ang="0">
                <a:pos x="connsiteX13244" y="connsiteY13244"/>
              </a:cxn>
              <a:cxn ang="0">
                <a:pos x="connsiteX13245" y="connsiteY13245"/>
              </a:cxn>
              <a:cxn ang="0">
                <a:pos x="connsiteX13246" y="connsiteY13246"/>
              </a:cxn>
              <a:cxn ang="0">
                <a:pos x="connsiteX13247" y="connsiteY13247"/>
              </a:cxn>
              <a:cxn ang="0">
                <a:pos x="connsiteX13248" y="connsiteY13248"/>
              </a:cxn>
              <a:cxn ang="0">
                <a:pos x="connsiteX13249" y="connsiteY13249"/>
              </a:cxn>
              <a:cxn ang="0">
                <a:pos x="connsiteX13250" y="connsiteY13250"/>
              </a:cxn>
              <a:cxn ang="0">
                <a:pos x="connsiteX13251" y="connsiteY13251"/>
              </a:cxn>
              <a:cxn ang="0">
                <a:pos x="connsiteX13252" y="connsiteY13252"/>
              </a:cxn>
              <a:cxn ang="0">
                <a:pos x="connsiteX13253" y="connsiteY13253"/>
              </a:cxn>
              <a:cxn ang="0">
                <a:pos x="connsiteX13254" y="connsiteY13254"/>
              </a:cxn>
              <a:cxn ang="0">
                <a:pos x="connsiteX13255" y="connsiteY13255"/>
              </a:cxn>
              <a:cxn ang="0">
                <a:pos x="connsiteX13256" y="connsiteY13256"/>
              </a:cxn>
              <a:cxn ang="0">
                <a:pos x="connsiteX13257" y="connsiteY13257"/>
              </a:cxn>
              <a:cxn ang="0">
                <a:pos x="connsiteX13258" y="connsiteY13258"/>
              </a:cxn>
              <a:cxn ang="0">
                <a:pos x="connsiteX13259" y="connsiteY13259"/>
              </a:cxn>
              <a:cxn ang="0">
                <a:pos x="connsiteX13260" y="connsiteY13260"/>
              </a:cxn>
              <a:cxn ang="0">
                <a:pos x="connsiteX13261" y="connsiteY13261"/>
              </a:cxn>
              <a:cxn ang="0">
                <a:pos x="connsiteX13262" y="connsiteY13262"/>
              </a:cxn>
              <a:cxn ang="0">
                <a:pos x="connsiteX13263" y="connsiteY13263"/>
              </a:cxn>
              <a:cxn ang="0">
                <a:pos x="connsiteX13264" y="connsiteY13264"/>
              </a:cxn>
              <a:cxn ang="0">
                <a:pos x="connsiteX13265" y="connsiteY13265"/>
              </a:cxn>
              <a:cxn ang="0">
                <a:pos x="connsiteX13266" y="connsiteY13266"/>
              </a:cxn>
              <a:cxn ang="0">
                <a:pos x="connsiteX13267" y="connsiteY13267"/>
              </a:cxn>
              <a:cxn ang="0">
                <a:pos x="connsiteX13268" y="connsiteY13268"/>
              </a:cxn>
              <a:cxn ang="0">
                <a:pos x="connsiteX13269" y="connsiteY13269"/>
              </a:cxn>
              <a:cxn ang="0">
                <a:pos x="connsiteX13270" y="connsiteY13270"/>
              </a:cxn>
              <a:cxn ang="0">
                <a:pos x="connsiteX13271" y="connsiteY13271"/>
              </a:cxn>
              <a:cxn ang="0">
                <a:pos x="connsiteX13272" y="connsiteY13272"/>
              </a:cxn>
              <a:cxn ang="0">
                <a:pos x="connsiteX13273" y="connsiteY13273"/>
              </a:cxn>
              <a:cxn ang="0">
                <a:pos x="connsiteX13274" y="connsiteY13274"/>
              </a:cxn>
              <a:cxn ang="0">
                <a:pos x="connsiteX13275" y="connsiteY13275"/>
              </a:cxn>
              <a:cxn ang="0">
                <a:pos x="connsiteX13276" y="connsiteY13276"/>
              </a:cxn>
              <a:cxn ang="0">
                <a:pos x="connsiteX13277" y="connsiteY13277"/>
              </a:cxn>
              <a:cxn ang="0">
                <a:pos x="connsiteX13278" y="connsiteY13278"/>
              </a:cxn>
              <a:cxn ang="0">
                <a:pos x="connsiteX13279" y="connsiteY13279"/>
              </a:cxn>
              <a:cxn ang="0">
                <a:pos x="connsiteX13280" y="connsiteY13280"/>
              </a:cxn>
              <a:cxn ang="0">
                <a:pos x="connsiteX13281" y="connsiteY13281"/>
              </a:cxn>
              <a:cxn ang="0">
                <a:pos x="connsiteX13282" y="connsiteY13282"/>
              </a:cxn>
              <a:cxn ang="0">
                <a:pos x="connsiteX13283" y="connsiteY13283"/>
              </a:cxn>
              <a:cxn ang="0">
                <a:pos x="connsiteX13284" y="connsiteY13284"/>
              </a:cxn>
              <a:cxn ang="0">
                <a:pos x="connsiteX13285" y="connsiteY13285"/>
              </a:cxn>
              <a:cxn ang="0">
                <a:pos x="connsiteX13286" y="connsiteY13286"/>
              </a:cxn>
              <a:cxn ang="0">
                <a:pos x="connsiteX13287" y="connsiteY13287"/>
              </a:cxn>
              <a:cxn ang="0">
                <a:pos x="connsiteX13288" y="connsiteY13288"/>
              </a:cxn>
              <a:cxn ang="0">
                <a:pos x="connsiteX13289" y="connsiteY13289"/>
              </a:cxn>
              <a:cxn ang="0">
                <a:pos x="connsiteX13290" y="connsiteY13290"/>
              </a:cxn>
              <a:cxn ang="0">
                <a:pos x="connsiteX13291" y="connsiteY13291"/>
              </a:cxn>
              <a:cxn ang="0">
                <a:pos x="connsiteX13292" y="connsiteY13292"/>
              </a:cxn>
              <a:cxn ang="0">
                <a:pos x="connsiteX13293" y="connsiteY13293"/>
              </a:cxn>
              <a:cxn ang="0">
                <a:pos x="connsiteX13294" y="connsiteY13294"/>
              </a:cxn>
              <a:cxn ang="0">
                <a:pos x="connsiteX13295" y="connsiteY13295"/>
              </a:cxn>
              <a:cxn ang="0">
                <a:pos x="connsiteX13296" y="connsiteY13296"/>
              </a:cxn>
              <a:cxn ang="0">
                <a:pos x="connsiteX13297" y="connsiteY13297"/>
              </a:cxn>
              <a:cxn ang="0">
                <a:pos x="connsiteX13298" y="connsiteY13298"/>
              </a:cxn>
              <a:cxn ang="0">
                <a:pos x="connsiteX13299" y="connsiteY13299"/>
              </a:cxn>
              <a:cxn ang="0">
                <a:pos x="connsiteX13300" y="connsiteY13300"/>
              </a:cxn>
              <a:cxn ang="0">
                <a:pos x="connsiteX13301" y="connsiteY13301"/>
              </a:cxn>
              <a:cxn ang="0">
                <a:pos x="connsiteX13302" y="connsiteY13302"/>
              </a:cxn>
              <a:cxn ang="0">
                <a:pos x="connsiteX13303" y="connsiteY13303"/>
              </a:cxn>
              <a:cxn ang="0">
                <a:pos x="connsiteX13304" y="connsiteY13304"/>
              </a:cxn>
              <a:cxn ang="0">
                <a:pos x="connsiteX13305" y="connsiteY13305"/>
              </a:cxn>
              <a:cxn ang="0">
                <a:pos x="connsiteX13306" y="connsiteY13306"/>
              </a:cxn>
              <a:cxn ang="0">
                <a:pos x="connsiteX13307" y="connsiteY13307"/>
              </a:cxn>
              <a:cxn ang="0">
                <a:pos x="connsiteX13308" y="connsiteY13308"/>
              </a:cxn>
              <a:cxn ang="0">
                <a:pos x="connsiteX13309" y="connsiteY13309"/>
              </a:cxn>
              <a:cxn ang="0">
                <a:pos x="connsiteX13310" y="connsiteY13310"/>
              </a:cxn>
              <a:cxn ang="0">
                <a:pos x="connsiteX13311" y="connsiteY13311"/>
              </a:cxn>
              <a:cxn ang="0">
                <a:pos x="connsiteX13312" y="connsiteY13312"/>
              </a:cxn>
              <a:cxn ang="0">
                <a:pos x="connsiteX13313" y="connsiteY13313"/>
              </a:cxn>
              <a:cxn ang="0">
                <a:pos x="connsiteX13314" y="connsiteY13314"/>
              </a:cxn>
              <a:cxn ang="0">
                <a:pos x="connsiteX13315" y="connsiteY13315"/>
              </a:cxn>
              <a:cxn ang="0">
                <a:pos x="connsiteX13316" y="connsiteY13316"/>
              </a:cxn>
              <a:cxn ang="0">
                <a:pos x="connsiteX13317" y="connsiteY13317"/>
              </a:cxn>
              <a:cxn ang="0">
                <a:pos x="connsiteX13318" y="connsiteY13318"/>
              </a:cxn>
              <a:cxn ang="0">
                <a:pos x="connsiteX13319" y="connsiteY13319"/>
              </a:cxn>
              <a:cxn ang="0">
                <a:pos x="connsiteX13320" y="connsiteY13320"/>
              </a:cxn>
              <a:cxn ang="0">
                <a:pos x="connsiteX13321" y="connsiteY13321"/>
              </a:cxn>
              <a:cxn ang="0">
                <a:pos x="connsiteX13322" y="connsiteY13322"/>
              </a:cxn>
              <a:cxn ang="0">
                <a:pos x="connsiteX13323" y="connsiteY13323"/>
              </a:cxn>
              <a:cxn ang="0">
                <a:pos x="connsiteX13324" y="connsiteY13324"/>
              </a:cxn>
              <a:cxn ang="0">
                <a:pos x="connsiteX13325" y="connsiteY13325"/>
              </a:cxn>
              <a:cxn ang="0">
                <a:pos x="connsiteX13326" y="connsiteY13326"/>
              </a:cxn>
              <a:cxn ang="0">
                <a:pos x="connsiteX13327" y="connsiteY13327"/>
              </a:cxn>
              <a:cxn ang="0">
                <a:pos x="connsiteX13328" y="connsiteY13328"/>
              </a:cxn>
              <a:cxn ang="0">
                <a:pos x="connsiteX13329" y="connsiteY13329"/>
              </a:cxn>
              <a:cxn ang="0">
                <a:pos x="connsiteX13330" y="connsiteY13330"/>
              </a:cxn>
              <a:cxn ang="0">
                <a:pos x="connsiteX13331" y="connsiteY13331"/>
              </a:cxn>
              <a:cxn ang="0">
                <a:pos x="connsiteX13332" y="connsiteY13332"/>
              </a:cxn>
              <a:cxn ang="0">
                <a:pos x="connsiteX13333" y="connsiteY13333"/>
              </a:cxn>
              <a:cxn ang="0">
                <a:pos x="connsiteX13334" y="connsiteY13334"/>
              </a:cxn>
              <a:cxn ang="0">
                <a:pos x="connsiteX13335" y="connsiteY13335"/>
              </a:cxn>
              <a:cxn ang="0">
                <a:pos x="connsiteX13336" y="connsiteY13336"/>
              </a:cxn>
              <a:cxn ang="0">
                <a:pos x="connsiteX13337" y="connsiteY13337"/>
              </a:cxn>
              <a:cxn ang="0">
                <a:pos x="connsiteX13338" y="connsiteY13338"/>
              </a:cxn>
              <a:cxn ang="0">
                <a:pos x="connsiteX13339" y="connsiteY13339"/>
              </a:cxn>
              <a:cxn ang="0">
                <a:pos x="connsiteX13340" y="connsiteY13340"/>
              </a:cxn>
              <a:cxn ang="0">
                <a:pos x="connsiteX13341" y="connsiteY13341"/>
              </a:cxn>
              <a:cxn ang="0">
                <a:pos x="connsiteX13342" y="connsiteY13342"/>
              </a:cxn>
              <a:cxn ang="0">
                <a:pos x="connsiteX13343" y="connsiteY13343"/>
              </a:cxn>
              <a:cxn ang="0">
                <a:pos x="connsiteX13344" y="connsiteY13344"/>
              </a:cxn>
              <a:cxn ang="0">
                <a:pos x="connsiteX13345" y="connsiteY13345"/>
              </a:cxn>
              <a:cxn ang="0">
                <a:pos x="connsiteX13346" y="connsiteY13346"/>
              </a:cxn>
              <a:cxn ang="0">
                <a:pos x="connsiteX13347" y="connsiteY13347"/>
              </a:cxn>
              <a:cxn ang="0">
                <a:pos x="connsiteX13348" y="connsiteY13348"/>
              </a:cxn>
              <a:cxn ang="0">
                <a:pos x="connsiteX13349" y="connsiteY13349"/>
              </a:cxn>
              <a:cxn ang="0">
                <a:pos x="connsiteX13350" y="connsiteY13350"/>
              </a:cxn>
              <a:cxn ang="0">
                <a:pos x="connsiteX13351" y="connsiteY13351"/>
              </a:cxn>
              <a:cxn ang="0">
                <a:pos x="connsiteX13352" y="connsiteY13352"/>
              </a:cxn>
              <a:cxn ang="0">
                <a:pos x="connsiteX13353" y="connsiteY13353"/>
              </a:cxn>
              <a:cxn ang="0">
                <a:pos x="connsiteX13354" y="connsiteY13354"/>
              </a:cxn>
              <a:cxn ang="0">
                <a:pos x="connsiteX13355" y="connsiteY13355"/>
              </a:cxn>
              <a:cxn ang="0">
                <a:pos x="connsiteX13356" y="connsiteY13356"/>
              </a:cxn>
              <a:cxn ang="0">
                <a:pos x="connsiteX13357" y="connsiteY13357"/>
              </a:cxn>
              <a:cxn ang="0">
                <a:pos x="connsiteX13358" y="connsiteY13358"/>
              </a:cxn>
              <a:cxn ang="0">
                <a:pos x="connsiteX13359" y="connsiteY13359"/>
              </a:cxn>
              <a:cxn ang="0">
                <a:pos x="connsiteX13360" y="connsiteY13360"/>
              </a:cxn>
              <a:cxn ang="0">
                <a:pos x="connsiteX13361" y="connsiteY13361"/>
              </a:cxn>
              <a:cxn ang="0">
                <a:pos x="connsiteX13362" y="connsiteY13362"/>
              </a:cxn>
              <a:cxn ang="0">
                <a:pos x="connsiteX13363" y="connsiteY13363"/>
              </a:cxn>
              <a:cxn ang="0">
                <a:pos x="connsiteX13364" y="connsiteY13364"/>
              </a:cxn>
              <a:cxn ang="0">
                <a:pos x="connsiteX13365" y="connsiteY13365"/>
              </a:cxn>
              <a:cxn ang="0">
                <a:pos x="connsiteX13366" y="connsiteY13366"/>
              </a:cxn>
              <a:cxn ang="0">
                <a:pos x="connsiteX13367" y="connsiteY13367"/>
              </a:cxn>
              <a:cxn ang="0">
                <a:pos x="connsiteX13368" y="connsiteY13368"/>
              </a:cxn>
              <a:cxn ang="0">
                <a:pos x="connsiteX13369" y="connsiteY13369"/>
              </a:cxn>
              <a:cxn ang="0">
                <a:pos x="connsiteX13370" y="connsiteY13370"/>
              </a:cxn>
              <a:cxn ang="0">
                <a:pos x="connsiteX13371" y="connsiteY13371"/>
              </a:cxn>
              <a:cxn ang="0">
                <a:pos x="connsiteX13372" y="connsiteY13372"/>
              </a:cxn>
              <a:cxn ang="0">
                <a:pos x="connsiteX13373" y="connsiteY13373"/>
              </a:cxn>
              <a:cxn ang="0">
                <a:pos x="connsiteX13374" y="connsiteY13374"/>
              </a:cxn>
              <a:cxn ang="0">
                <a:pos x="connsiteX13375" y="connsiteY13375"/>
              </a:cxn>
              <a:cxn ang="0">
                <a:pos x="connsiteX13376" y="connsiteY13376"/>
              </a:cxn>
              <a:cxn ang="0">
                <a:pos x="connsiteX13377" y="connsiteY13377"/>
              </a:cxn>
              <a:cxn ang="0">
                <a:pos x="connsiteX13378" y="connsiteY13378"/>
              </a:cxn>
              <a:cxn ang="0">
                <a:pos x="connsiteX13379" y="connsiteY13379"/>
              </a:cxn>
              <a:cxn ang="0">
                <a:pos x="connsiteX13380" y="connsiteY13380"/>
              </a:cxn>
              <a:cxn ang="0">
                <a:pos x="connsiteX13381" y="connsiteY13381"/>
              </a:cxn>
              <a:cxn ang="0">
                <a:pos x="connsiteX13382" y="connsiteY13382"/>
              </a:cxn>
              <a:cxn ang="0">
                <a:pos x="connsiteX13383" y="connsiteY13383"/>
              </a:cxn>
              <a:cxn ang="0">
                <a:pos x="connsiteX13384" y="connsiteY13384"/>
              </a:cxn>
              <a:cxn ang="0">
                <a:pos x="connsiteX13385" y="connsiteY13385"/>
              </a:cxn>
              <a:cxn ang="0">
                <a:pos x="connsiteX13386" y="connsiteY13386"/>
              </a:cxn>
              <a:cxn ang="0">
                <a:pos x="connsiteX13387" y="connsiteY13387"/>
              </a:cxn>
              <a:cxn ang="0">
                <a:pos x="connsiteX13388" y="connsiteY13388"/>
              </a:cxn>
              <a:cxn ang="0">
                <a:pos x="connsiteX13389" y="connsiteY13389"/>
              </a:cxn>
              <a:cxn ang="0">
                <a:pos x="connsiteX13390" y="connsiteY13390"/>
              </a:cxn>
              <a:cxn ang="0">
                <a:pos x="connsiteX13391" y="connsiteY13391"/>
              </a:cxn>
              <a:cxn ang="0">
                <a:pos x="connsiteX13392" y="connsiteY13392"/>
              </a:cxn>
              <a:cxn ang="0">
                <a:pos x="connsiteX13393" y="connsiteY13393"/>
              </a:cxn>
              <a:cxn ang="0">
                <a:pos x="connsiteX13394" y="connsiteY13394"/>
              </a:cxn>
              <a:cxn ang="0">
                <a:pos x="connsiteX13395" y="connsiteY13395"/>
              </a:cxn>
              <a:cxn ang="0">
                <a:pos x="connsiteX13396" y="connsiteY13396"/>
              </a:cxn>
              <a:cxn ang="0">
                <a:pos x="connsiteX13397" y="connsiteY13397"/>
              </a:cxn>
              <a:cxn ang="0">
                <a:pos x="connsiteX13398" y="connsiteY13398"/>
              </a:cxn>
              <a:cxn ang="0">
                <a:pos x="connsiteX13399" y="connsiteY13399"/>
              </a:cxn>
              <a:cxn ang="0">
                <a:pos x="connsiteX13400" y="connsiteY13400"/>
              </a:cxn>
              <a:cxn ang="0">
                <a:pos x="connsiteX13401" y="connsiteY13401"/>
              </a:cxn>
              <a:cxn ang="0">
                <a:pos x="connsiteX13402" y="connsiteY13402"/>
              </a:cxn>
              <a:cxn ang="0">
                <a:pos x="connsiteX13403" y="connsiteY13403"/>
              </a:cxn>
              <a:cxn ang="0">
                <a:pos x="connsiteX13404" y="connsiteY13404"/>
              </a:cxn>
              <a:cxn ang="0">
                <a:pos x="connsiteX13405" y="connsiteY13405"/>
              </a:cxn>
              <a:cxn ang="0">
                <a:pos x="connsiteX13406" y="connsiteY13406"/>
              </a:cxn>
              <a:cxn ang="0">
                <a:pos x="connsiteX13407" y="connsiteY13407"/>
              </a:cxn>
              <a:cxn ang="0">
                <a:pos x="connsiteX13408" y="connsiteY13408"/>
              </a:cxn>
              <a:cxn ang="0">
                <a:pos x="connsiteX13409" y="connsiteY13409"/>
              </a:cxn>
              <a:cxn ang="0">
                <a:pos x="connsiteX13410" y="connsiteY13410"/>
              </a:cxn>
              <a:cxn ang="0">
                <a:pos x="connsiteX13411" y="connsiteY13411"/>
              </a:cxn>
              <a:cxn ang="0">
                <a:pos x="connsiteX13412" y="connsiteY13412"/>
              </a:cxn>
              <a:cxn ang="0">
                <a:pos x="connsiteX13413" y="connsiteY13413"/>
              </a:cxn>
              <a:cxn ang="0">
                <a:pos x="connsiteX13414" y="connsiteY13414"/>
              </a:cxn>
              <a:cxn ang="0">
                <a:pos x="connsiteX13415" y="connsiteY13415"/>
              </a:cxn>
              <a:cxn ang="0">
                <a:pos x="connsiteX13416" y="connsiteY13416"/>
              </a:cxn>
              <a:cxn ang="0">
                <a:pos x="connsiteX13417" y="connsiteY13417"/>
              </a:cxn>
              <a:cxn ang="0">
                <a:pos x="connsiteX13418" y="connsiteY13418"/>
              </a:cxn>
              <a:cxn ang="0">
                <a:pos x="connsiteX13419" y="connsiteY13419"/>
              </a:cxn>
              <a:cxn ang="0">
                <a:pos x="connsiteX13420" y="connsiteY13420"/>
              </a:cxn>
              <a:cxn ang="0">
                <a:pos x="connsiteX13421" y="connsiteY13421"/>
              </a:cxn>
              <a:cxn ang="0">
                <a:pos x="connsiteX13422" y="connsiteY13422"/>
              </a:cxn>
              <a:cxn ang="0">
                <a:pos x="connsiteX13423" y="connsiteY13423"/>
              </a:cxn>
              <a:cxn ang="0">
                <a:pos x="connsiteX13424" y="connsiteY13424"/>
              </a:cxn>
              <a:cxn ang="0">
                <a:pos x="connsiteX13425" y="connsiteY13425"/>
              </a:cxn>
              <a:cxn ang="0">
                <a:pos x="connsiteX13426" y="connsiteY13426"/>
              </a:cxn>
              <a:cxn ang="0">
                <a:pos x="connsiteX13427" y="connsiteY13427"/>
              </a:cxn>
              <a:cxn ang="0">
                <a:pos x="connsiteX13428" y="connsiteY13428"/>
              </a:cxn>
              <a:cxn ang="0">
                <a:pos x="connsiteX13429" y="connsiteY13429"/>
              </a:cxn>
              <a:cxn ang="0">
                <a:pos x="connsiteX13430" y="connsiteY13430"/>
              </a:cxn>
              <a:cxn ang="0">
                <a:pos x="connsiteX13431" y="connsiteY13431"/>
              </a:cxn>
              <a:cxn ang="0">
                <a:pos x="connsiteX13432" y="connsiteY13432"/>
              </a:cxn>
              <a:cxn ang="0">
                <a:pos x="connsiteX13433" y="connsiteY13433"/>
              </a:cxn>
              <a:cxn ang="0">
                <a:pos x="connsiteX13434" y="connsiteY13434"/>
              </a:cxn>
              <a:cxn ang="0">
                <a:pos x="connsiteX13435" y="connsiteY13435"/>
              </a:cxn>
              <a:cxn ang="0">
                <a:pos x="connsiteX13436" y="connsiteY13436"/>
              </a:cxn>
              <a:cxn ang="0">
                <a:pos x="connsiteX13437" y="connsiteY13437"/>
              </a:cxn>
              <a:cxn ang="0">
                <a:pos x="connsiteX13438" y="connsiteY13438"/>
              </a:cxn>
              <a:cxn ang="0">
                <a:pos x="connsiteX13439" y="connsiteY13439"/>
              </a:cxn>
              <a:cxn ang="0">
                <a:pos x="connsiteX13440" y="connsiteY13440"/>
              </a:cxn>
              <a:cxn ang="0">
                <a:pos x="connsiteX13441" y="connsiteY13441"/>
              </a:cxn>
              <a:cxn ang="0">
                <a:pos x="connsiteX13442" y="connsiteY13442"/>
              </a:cxn>
              <a:cxn ang="0">
                <a:pos x="connsiteX13443" y="connsiteY13443"/>
              </a:cxn>
              <a:cxn ang="0">
                <a:pos x="connsiteX13444" y="connsiteY13444"/>
              </a:cxn>
              <a:cxn ang="0">
                <a:pos x="connsiteX13445" y="connsiteY13445"/>
              </a:cxn>
              <a:cxn ang="0">
                <a:pos x="connsiteX13446" y="connsiteY13446"/>
              </a:cxn>
              <a:cxn ang="0">
                <a:pos x="connsiteX13447" y="connsiteY13447"/>
              </a:cxn>
              <a:cxn ang="0">
                <a:pos x="connsiteX13448" y="connsiteY13448"/>
              </a:cxn>
              <a:cxn ang="0">
                <a:pos x="connsiteX13449" y="connsiteY13449"/>
              </a:cxn>
              <a:cxn ang="0">
                <a:pos x="connsiteX13450" y="connsiteY13450"/>
              </a:cxn>
              <a:cxn ang="0">
                <a:pos x="connsiteX13451" y="connsiteY13451"/>
              </a:cxn>
              <a:cxn ang="0">
                <a:pos x="connsiteX13452" y="connsiteY13452"/>
              </a:cxn>
              <a:cxn ang="0">
                <a:pos x="connsiteX13453" y="connsiteY13453"/>
              </a:cxn>
              <a:cxn ang="0">
                <a:pos x="connsiteX13454" y="connsiteY13454"/>
              </a:cxn>
              <a:cxn ang="0">
                <a:pos x="connsiteX13455" y="connsiteY13455"/>
              </a:cxn>
              <a:cxn ang="0">
                <a:pos x="connsiteX13456" y="connsiteY13456"/>
              </a:cxn>
              <a:cxn ang="0">
                <a:pos x="connsiteX13457" y="connsiteY13457"/>
              </a:cxn>
              <a:cxn ang="0">
                <a:pos x="connsiteX13458" y="connsiteY13458"/>
              </a:cxn>
              <a:cxn ang="0">
                <a:pos x="connsiteX13459" y="connsiteY13459"/>
              </a:cxn>
              <a:cxn ang="0">
                <a:pos x="connsiteX13460" y="connsiteY13460"/>
              </a:cxn>
              <a:cxn ang="0">
                <a:pos x="connsiteX13461" y="connsiteY13461"/>
              </a:cxn>
              <a:cxn ang="0">
                <a:pos x="connsiteX13462" y="connsiteY13462"/>
              </a:cxn>
              <a:cxn ang="0">
                <a:pos x="connsiteX13463" y="connsiteY13463"/>
              </a:cxn>
              <a:cxn ang="0">
                <a:pos x="connsiteX13464" y="connsiteY13464"/>
              </a:cxn>
              <a:cxn ang="0">
                <a:pos x="connsiteX13465" y="connsiteY13465"/>
              </a:cxn>
              <a:cxn ang="0">
                <a:pos x="connsiteX13466" y="connsiteY13466"/>
              </a:cxn>
              <a:cxn ang="0">
                <a:pos x="connsiteX13467" y="connsiteY13467"/>
              </a:cxn>
              <a:cxn ang="0">
                <a:pos x="connsiteX13468" y="connsiteY13468"/>
              </a:cxn>
              <a:cxn ang="0">
                <a:pos x="connsiteX13469" y="connsiteY13469"/>
              </a:cxn>
              <a:cxn ang="0">
                <a:pos x="connsiteX13470" y="connsiteY13470"/>
              </a:cxn>
              <a:cxn ang="0">
                <a:pos x="connsiteX13471" y="connsiteY13471"/>
              </a:cxn>
              <a:cxn ang="0">
                <a:pos x="connsiteX13472" y="connsiteY13472"/>
              </a:cxn>
              <a:cxn ang="0">
                <a:pos x="connsiteX13473" y="connsiteY13473"/>
              </a:cxn>
              <a:cxn ang="0">
                <a:pos x="connsiteX13474" y="connsiteY13474"/>
              </a:cxn>
              <a:cxn ang="0">
                <a:pos x="connsiteX13475" y="connsiteY13475"/>
              </a:cxn>
              <a:cxn ang="0">
                <a:pos x="connsiteX13476" y="connsiteY13476"/>
              </a:cxn>
              <a:cxn ang="0">
                <a:pos x="connsiteX13477" y="connsiteY13477"/>
              </a:cxn>
              <a:cxn ang="0">
                <a:pos x="connsiteX13478" y="connsiteY13478"/>
              </a:cxn>
              <a:cxn ang="0">
                <a:pos x="connsiteX13479" y="connsiteY13479"/>
              </a:cxn>
              <a:cxn ang="0">
                <a:pos x="connsiteX13480" y="connsiteY13480"/>
              </a:cxn>
              <a:cxn ang="0">
                <a:pos x="connsiteX13481" y="connsiteY13481"/>
              </a:cxn>
              <a:cxn ang="0">
                <a:pos x="connsiteX13482" y="connsiteY13482"/>
              </a:cxn>
              <a:cxn ang="0">
                <a:pos x="connsiteX13483" y="connsiteY13483"/>
              </a:cxn>
              <a:cxn ang="0">
                <a:pos x="connsiteX13484" y="connsiteY13484"/>
              </a:cxn>
              <a:cxn ang="0">
                <a:pos x="connsiteX13485" y="connsiteY13485"/>
              </a:cxn>
              <a:cxn ang="0">
                <a:pos x="connsiteX13486" y="connsiteY13486"/>
              </a:cxn>
              <a:cxn ang="0">
                <a:pos x="connsiteX13487" y="connsiteY13487"/>
              </a:cxn>
              <a:cxn ang="0">
                <a:pos x="connsiteX13488" y="connsiteY13488"/>
              </a:cxn>
              <a:cxn ang="0">
                <a:pos x="connsiteX13489" y="connsiteY13489"/>
              </a:cxn>
              <a:cxn ang="0">
                <a:pos x="connsiteX13490" y="connsiteY13490"/>
              </a:cxn>
              <a:cxn ang="0">
                <a:pos x="connsiteX13491" y="connsiteY13491"/>
              </a:cxn>
              <a:cxn ang="0">
                <a:pos x="connsiteX13492" y="connsiteY13492"/>
              </a:cxn>
              <a:cxn ang="0">
                <a:pos x="connsiteX13493" y="connsiteY13493"/>
              </a:cxn>
              <a:cxn ang="0">
                <a:pos x="connsiteX13494" y="connsiteY13494"/>
              </a:cxn>
              <a:cxn ang="0">
                <a:pos x="connsiteX13495" y="connsiteY13495"/>
              </a:cxn>
              <a:cxn ang="0">
                <a:pos x="connsiteX13496" y="connsiteY13496"/>
              </a:cxn>
              <a:cxn ang="0">
                <a:pos x="connsiteX13497" y="connsiteY13497"/>
              </a:cxn>
              <a:cxn ang="0">
                <a:pos x="connsiteX13498" y="connsiteY13498"/>
              </a:cxn>
              <a:cxn ang="0">
                <a:pos x="connsiteX13499" y="connsiteY13499"/>
              </a:cxn>
              <a:cxn ang="0">
                <a:pos x="connsiteX13500" y="connsiteY13500"/>
              </a:cxn>
              <a:cxn ang="0">
                <a:pos x="connsiteX13501" y="connsiteY13501"/>
              </a:cxn>
              <a:cxn ang="0">
                <a:pos x="connsiteX13502" y="connsiteY13502"/>
              </a:cxn>
              <a:cxn ang="0">
                <a:pos x="connsiteX13503" y="connsiteY13503"/>
              </a:cxn>
              <a:cxn ang="0">
                <a:pos x="connsiteX13504" y="connsiteY13504"/>
              </a:cxn>
              <a:cxn ang="0">
                <a:pos x="connsiteX13505" y="connsiteY13505"/>
              </a:cxn>
              <a:cxn ang="0">
                <a:pos x="connsiteX13506" y="connsiteY13506"/>
              </a:cxn>
              <a:cxn ang="0">
                <a:pos x="connsiteX13507" y="connsiteY13507"/>
              </a:cxn>
              <a:cxn ang="0">
                <a:pos x="connsiteX13508" y="connsiteY13508"/>
              </a:cxn>
              <a:cxn ang="0">
                <a:pos x="connsiteX13509" y="connsiteY13509"/>
              </a:cxn>
              <a:cxn ang="0">
                <a:pos x="connsiteX13510" y="connsiteY13510"/>
              </a:cxn>
              <a:cxn ang="0">
                <a:pos x="connsiteX13511" y="connsiteY13511"/>
              </a:cxn>
              <a:cxn ang="0">
                <a:pos x="connsiteX13512" y="connsiteY13512"/>
              </a:cxn>
              <a:cxn ang="0">
                <a:pos x="connsiteX13513" y="connsiteY13513"/>
              </a:cxn>
              <a:cxn ang="0">
                <a:pos x="connsiteX13514" y="connsiteY13514"/>
              </a:cxn>
              <a:cxn ang="0">
                <a:pos x="connsiteX13515" y="connsiteY13515"/>
              </a:cxn>
              <a:cxn ang="0">
                <a:pos x="connsiteX13516" y="connsiteY13516"/>
              </a:cxn>
              <a:cxn ang="0">
                <a:pos x="connsiteX13517" y="connsiteY13517"/>
              </a:cxn>
              <a:cxn ang="0">
                <a:pos x="connsiteX13518" y="connsiteY13518"/>
              </a:cxn>
              <a:cxn ang="0">
                <a:pos x="connsiteX13519" y="connsiteY13519"/>
              </a:cxn>
              <a:cxn ang="0">
                <a:pos x="connsiteX13520" y="connsiteY13520"/>
              </a:cxn>
              <a:cxn ang="0">
                <a:pos x="connsiteX13521" y="connsiteY13521"/>
              </a:cxn>
              <a:cxn ang="0">
                <a:pos x="connsiteX13522" y="connsiteY13522"/>
              </a:cxn>
              <a:cxn ang="0">
                <a:pos x="connsiteX13523" y="connsiteY13523"/>
              </a:cxn>
              <a:cxn ang="0">
                <a:pos x="connsiteX13524" y="connsiteY13524"/>
              </a:cxn>
              <a:cxn ang="0">
                <a:pos x="connsiteX13525" y="connsiteY13525"/>
              </a:cxn>
              <a:cxn ang="0">
                <a:pos x="connsiteX13526" y="connsiteY13526"/>
              </a:cxn>
              <a:cxn ang="0">
                <a:pos x="connsiteX13527" y="connsiteY13527"/>
              </a:cxn>
              <a:cxn ang="0">
                <a:pos x="connsiteX13528" y="connsiteY13528"/>
              </a:cxn>
              <a:cxn ang="0">
                <a:pos x="connsiteX13529" y="connsiteY13529"/>
              </a:cxn>
              <a:cxn ang="0">
                <a:pos x="connsiteX13530" y="connsiteY13530"/>
              </a:cxn>
              <a:cxn ang="0">
                <a:pos x="connsiteX13531" y="connsiteY13531"/>
              </a:cxn>
              <a:cxn ang="0">
                <a:pos x="connsiteX13532" y="connsiteY13532"/>
              </a:cxn>
              <a:cxn ang="0">
                <a:pos x="connsiteX13533" y="connsiteY13533"/>
              </a:cxn>
              <a:cxn ang="0">
                <a:pos x="connsiteX13534" y="connsiteY13534"/>
              </a:cxn>
              <a:cxn ang="0">
                <a:pos x="connsiteX13535" y="connsiteY13535"/>
              </a:cxn>
              <a:cxn ang="0">
                <a:pos x="connsiteX13536" y="connsiteY13536"/>
              </a:cxn>
              <a:cxn ang="0">
                <a:pos x="connsiteX13537" y="connsiteY13537"/>
              </a:cxn>
              <a:cxn ang="0">
                <a:pos x="connsiteX13538" y="connsiteY13538"/>
              </a:cxn>
              <a:cxn ang="0">
                <a:pos x="connsiteX13539" y="connsiteY13539"/>
              </a:cxn>
              <a:cxn ang="0">
                <a:pos x="connsiteX13540" y="connsiteY13540"/>
              </a:cxn>
              <a:cxn ang="0">
                <a:pos x="connsiteX13541" y="connsiteY13541"/>
              </a:cxn>
              <a:cxn ang="0">
                <a:pos x="connsiteX13542" y="connsiteY13542"/>
              </a:cxn>
              <a:cxn ang="0">
                <a:pos x="connsiteX13543" y="connsiteY13543"/>
              </a:cxn>
              <a:cxn ang="0">
                <a:pos x="connsiteX13544" y="connsiteY13544"/>
              </a:cxn>
              <a:cxn ang="0">
                <a:pos x="connsiteX13545" y="connsiteY13545"/>
              </a:cxn>
              <a:cxn ang="0">
                <a:pos x="connsiteX13546" y="connsiteY13546"/>
              </a:cxn>
              <a:cxn ang="0">
                <a:pos x="connsiteX13547" y="connsiteY13547"/>
              </a:cxn>
              <a:cxn ang="0">
                <a:pos x="connsiteX13548" y="connsiteY13548"/>
              </a:cxn>
              <a:cxn ang="0">
                <a:pos x="connsiteX13549" y="connsiteY13549"/>
              </a:cxn>
              <a:cxn ang="0">
                <a:pos x="connsiteX13550" y="connsiteY13550"/>
              </a:cxn>
              <a:cxn ang="0">
                <a:pos x="connsiteX13551" y="connsiteY13551"/>
              </a:cxn>
              <a:cxn ang="0">
                <a:pos x="connsiteX13552" y="connsiteY13552"/>
              </a:cxn>
              <a:cxn ang="0">
                <a:pos x="connsiteX13553" y="connsiteY13553"/>
              </a:cxn>
              <a:cxn ang="0">
                <a:pos x="connsiteX13554" y="connsiteY13554"/>
              </a:cxn>
              <a:cxn ang="0">
                <a:pos x="connsiteX13555" y="connsiteY13555"/>
              </a:cxn>
              <a:cxn ang="0">
                <a:pos x="connsiteX13556" y="connsiteY13556"/>
              </a:cxn>
              <a:cxn ang="0">
                <a:pos x="connsiteX13557" y="connsiteY13557"/>
              </a:cxn>
              <a:cxn ang="0">
                <a:pos x="connsiteX13558" y="connsiteY13558"/>
              </a:cxn>
              <a:cxn ang="0">
                <a:pos x="connsiteX13559" y="connsiteY13559"/>
              </a:cxn>
              <a:cxn ang="0">
                <a:pos x="connsiteX13560" y="connsiteY13560"/>
              </a:cxn>
              <a:cxn ang="0">
                <a:pos x="connsiteX13561" y="connsiteY13561"/>
              </a:cxn>
              <a:cxn ang="0">
                <a:pos x="connsiteX13562" y="connsiteY13562"/>
              </a:cxn>
              <a:cxn ang="0">
                <a:pos x="connsiteX13563" y="connsiteY13563"/>
              </a:cxn>
              <a:cxn ang="0">
                <a:pos x="connsiteX13564" y="connsiteY13564"/>
              </a:cxn>
              <a:cxn ang="0">
                <a:pos x="connsiteX13565" y="connsiteY13565"/>
              </a:cxn>
              <a:cxn ang="0">
                <a:pos x="connsiteX13566" y="connsiteY13566"/>
              </a:cxn>
              <a:cxn ang="0">
                <a:pos x="connsiteX13567" y="connsiteY13567"/>
              </a:cxn>
              <a:cxn ang="0">
                <a:pos x="connsiteX13568" y="connsiteY13568"/>
              </a:cxn>
              <a:cxn ang="0">
                <a:pos x="connsiteX13569" y="connsiteY13569"/>
              </a:cxn>
              <a:cxn ang="0">
                <a:pos x="connsiteX13570" y="connsiteY13570"/>
              </a:cxn>
              <a:cxn ang="0">
                <a:pos x="connsiteX13571" y="connsiteY13571"/>
              </a:cxn>
              <a:cxn ang="0">
                <a:pos x="connsiteX13572" y="connsiteY13572"/>
              </a:cxn>
              <a:cxn ang="0">
                <a:pos x="connsiteX13573" y="connsiteY13573"/>
              </a:cxn>
              <a:cxn ang="0">
                <a:pos x="connsiteX13574" y="connsiteY13574"/>
              </a:cxn>
              <a:cxn ang="0">
                <a:pos x="connsiteX13575" y="connsiteY13575"/>
              </a:cxn>
              <a:cxn ang="0">
                <a:pos x="connsiteX13576" y="connsiteY13576"/>
              </a:cxn>
              <a:cxn ang="0">
                <a:pos x="connsiteX13577" y="connsiteY13577"/>
              </a:cxn>
              <a:cxn ang="0">
                <a:pos x="connsiteX13578" y="connsiteY13578"/>
              </a:cxn>
              <a:cxn ang="0">
                <a:pos x="connsiteX13579" y="connsiteY13579"/>
              </a:cxn>
              <a:cxn ang="0">
                <a:pos x="connsiteX13580" y="connsiteY13580"/>
              </a:cxn>
              <a:cxn ang="0">
                <a:pos x="connsiteX13581" y="connsiteY13581"/>
              </a:cxn>
              <a:cxn ang="0">
                <a:pos x="connsiteX13582" y="connsiteY13582"/>
              </a:cxn>
              <a:cxn ang="0">
                <a:pos x="connsiteX13583" y="connsiteY13583"/>
              </a:cxn>
              <a:cxn ang="0">
                <a:pos x="connsiteX13584" y="connsiteY13584"/>
              </a:cxn>
              <a:cxn ang="0">
                <a:pos x="connsiteX13585" y="connsiteY13585"/>
              </a:cxn>
              <a:cxn ang="0">
                <a:pos x="connsiteX13586" y="connsiteY13586"/>
              </a:cxn>
              <a:cxn ang="0">
                <a:pos x="connsiteX13587" y="connsiteY13587"/>
              </a:cxn>
              <a:cxn ang="0">
                <a:pos x="connsiteX13588" y="connsiteY13588"/>
              </a:cxn>
              <a:cxn ang="0">
                <a:pos x="connsiteX13589" y="connsiteY13589"/>
              </a:cxn>
              <a:cxn ang="0">
                <a:pos x="connsiteX13590" y="connsiteY13590"/>
              </a:cxn>
              <a:cxn ang="0">
                <a:pos x="connsiteX13591" y="connsiteY13591"/>
              </a:cxn>
              <a:cxn ang="0">
                <a:pos x="connsiteX13592" y="connsiteY13592"/>
              </a:cxn>
              <a:cxn ang="0">
                <a:pos x="connsiteX13593" y="connsiteY13593"/>
              </a:cxn>
              <a:cxn ang="0">
                <a:pos x="connsiteX13594" y="connsiteY13594"/>
              </a:cxn>
              <a:cxn ang="0">
                <a:pos x="connsiteX13595" y="connsiteY13595"/>
              </a:cxn>
              <a:cxn ang="0">
                <a:pos x="connsiteX13596" y="connsiteY13596"/>
              </a:cxn>
              <a:cxn ang="0">
                <a:pos x="connsiteX13597" y="connsiteY13597"/>
              </a:cxn>
              <a:cxn ang="0">
                <a:pos x="connsiteX13598" y="connsiteY13598"/>
              </a:cxn>
              <a:cxn ang="0">
                <a:pos x="connsiteX13599" y="connsiteY13599"/>
              </a:cxn>
              <a:cxn ang="0">
                <a:pos x="connsiteX13600" y="connsiteY13600"/>
              </a:cxn>
              <a:cxn ang="0">
                <a:pos x="connsiteX13601" y="connsiteY13601"/>
              </a:cxn>
              <a:cxn ang="0">
                <a:pos x="connsiteX13602" y="connsiteY13602"/>
              </a:cxn>
              <a:cxn ang="0">
                <a:pos x="connsiteX13603" y="connsiteY13603"/>
              </a:cxn>
              <a:cxn ang="0">
                <a:pos x="connsiteX13604" y="connsiteY13604"/>
              </a:cxn>
              <a:cxn ang="0">
                <a:pos x="connsiteX13605" y="connsiteY13605"/>
              </a:cxn>
              <a:cxn ang="0">
                <a:pos x="connsiteX13606" y="connsiteY13606"/>
              </a:cxn>
              <a:cxn ang="0">
                <a:pos x="connsiteX13607" y="connsiteY13607"/>
              </a:cxn>
              <a:cxn ang="0">
                <a:pos x="connsiteX13608" y="connsiteY13608"/>
              </a:cxn>
              <a:cxn ang="0">
                <a:pos x="connsiteX13609" y="connsiteY13609"/>
              </a:cxn>
              <a:cxn ang="0">
                <a:pos x="connsiteX13610" y="connsiteY13610"/>
              </a:cxn>
              <a:cxn ang="0">
                <a:pos x="connsiteX13611" y="connsiteY13611"/>
              </a:cxn>
              <a:cxn ang="0">
                <a:pos x="connsiteX13612" y="connsiteY13612"/>
              </a:cxn>
              <a:cxn ang="0">
                <a:pos x="connsiteX13613" y="connsiteY13613"/>
              </a:cxn>
              <a:cxn ang="0">
                <a:pos x="connsiteX13614" y="connsiteY13614"/>
              </a:cxn>
              <a:cxn ang="0">
                <a:pos x="connsiteX13615" y="connsiteY13615"/>
              </a:cxn>
              <a:cxn ang="0">
                <a:pos x="connsiteX13616" y="connsiteY13616"/>
              </a:cxn>
              <a:cxn ang="0">
                <a:pos x="connsiteX13617" y="connsiteY13617"/>
              </a:cxn>
              <a:cxn ang="0">
                <a:pos x="connsiteX13618" y="connsiteY13618"/>
              </a:cxn>
              <a:cxn ang="0">
                <a:pos x="connsiteX13619" y="connsiteY13619"/>
              </a:cxn>
              <a:cxn ang="0">
                <a:pos x="connsiteX13620" y="connsiteY13620"/>
              </a:cxn>
              <a:cxn ang="0">
                <a:pos x="connsiteX13621" y="connsiteY13621"/>
              </a:cxn>
              <a:cxn ang="0">
                <a:pos x="connsiteX13622" y="connsiteY13622"/>
              </a:cxn>
              <a:cxn ang="0">
                <a:pos x="connsiteX13623" y="connsiteY13623"/>
              </a:cxn>
              <a:cxn ang="0">
                <a:pos x="connsiteX13624" y="connsiteY13624"/>
              </a:cxn>
              <a:cxn ang="0">
                <a:pos x="connsiteX13625" y="connsiteY13625"/>
              </a:cxn>
              <a:cxn ang="0">
                <a:pos x="connsiteX13626" y="connsiteY13626"/>
              </a:cxn>
              <a:cxn ang="0">
                <a:pos x="connsiteX13627" y="connsiteY13627"/>
              </a:cxn>
              <a:cxn ang="0">
                <a:pos x="connsiteX13628" y="connsiteY13628"/>
              </a:cxn>
              <a:cxn ang="0">
                <a:pos x="connsiteX13629" y="connsiteY13629"/>
              </a:cxn>
              <a:cxn ang="0">
                <a:pos x="connsiteX13630" y="connsiteY13630"/>
              </a:cxn>
              <a:cxn ang="0">
                <a:pos x="connsiteX13631" y="connsiteY13631"/>
              </a:cxn>
              <a:cxn ang="0">
                <a:pos x="connsiteX13632" y="connsiteY13632"/>
              </a:cxn>
              <a:cxn ang="0">
                <a:pos x="connsiteX13633" y="connsiteY13633"/>
              </a:cxn>
              <a:cxn ang="0">
                <a:pos x="connsiteX13634" y="connsiteY13634"/>
              </a:cxn>
              <a:cxn ang="0">
                <a:pos x="connsiteX13635" y="connsiteY13635"/>
              </a:cxn>
              <a:cxn ang="0">
                <a:pos x="connsiteX13636" y="connsiteY13636"/>
              </a:cxn>
              <a:cxn ang="0">
                <a:pos x="connsiteX13637" y="connsiteY13637"/>
              </a:cxn>
              <a:cxn ang="0">
                <a:pos x="connsiteX13638" y="connsiteY13638"/>
              </a:cxn>
              <a:cxn ang="0">
                <a:pos x="connsiteX13639" y="connsiteY13639"/>
              </a:cxn>
              <a:cxn ang="0">
                <a:pos x="connsiteX13640" y="connsiteY13640"/>
              </a:cxn>
              <a:cxn ang="0">
                <a:pos x="connsiteX13641" y="connsiteY13641"/>
              </a:cxn>
              <a:cxn ang="0">
                <a:pos x="connsiteX13642" y="connsiteY13642"/>
              </a:cxn>
              <a:cxn ang="0">
                <a:pos x="connsiteX13643" y="connsiteY13643"/>
              </a:cxn>
              <a:cxn ang="0">
                <a:pos x="connsiteX13644" y="connsiteY13644"/>
              </a:cxn>
              <a:cxn ang="0">
                <a:pos x="connsiteX13645" y="connsiteY13645"/>
              </a:cxn>
              <a:cxn ang="0">
                <a:pos x="connsiteX13646" y="connsiteY13646"/>
              </a:cxn>
              <a:cxn ang="0">
                <a:pos x="connsiteX13647" y="connsiteY13647"/>
              </a:cxn>
              <a:cxn ang="0">
                <a:pos x="connsiteX13648" y="connsiteY13648"/>
              </a:cxn>
              <a:cxn ang="0">
                <a:pos x="connsiteX13649" y="connsiteY13649"/>
              </a:cxn>
              <a:cxn ang="0">
                <a:pos x="connsiteX13650" y="connsiteY13650"/>
              </a:cxn>
              <a:cxn ang="0">
                <a:pos x="connsiteX13651" y="connsiteY13651"/>
              </a:cxn>
              <a:cxn ang="0">
                <a:pos x="connsiteX13652" y="connsiteY13652"/>
              </a:cxn>
              <a:cxn ang="0">
                <a:pos x="connsiteX13653" y="connsiteY13653"/>
              </a:cxn>
              <a:cxn ang="0">
                <a:pos x="connsiteX13654" y="connsiteY13654"/>
              </a:cxn>
              <a:cxn ang="0">
                <a:pos x="connsiteX13655" y="connsiteY13655"/>
              </a:cxn>
              <a:cxn ang="0">
                <a:pos x="connsiteX13656" y="connsiteY13656"/>
              </a:cxn>
              <a:cxn ang="0">
                <a:pos x="connsiteX13657" y="connsiteY13657"/>
              </a:cxn>
              <a:cxn ang="0">
                <a:pos x="connsiteX13658" y="connsiteY13658"/>
              </a:cxn>
              <a:cxn ang="0">
                <a:pos x="connsiteX13659" y="connsiteY13659"/>
              </a:cxn>
              <a:cxn ang="0">
                <a:pos x="connsiteX13660" y="connsiteY13660"/>
              </a:cxn>
              <a:cxn ang="0">
                <a:pos x="connsiteX13661" y="connsiteY13661"/>
              </a:cxn>
              <a:cxn ang="0">
                <a:pos x="connsiteX13662" y="connsiteY13662"/>
              </a:cxn>
              <a:cxn ang="0">
                <a:pos x="connsiteX13663" y="connsiteY13663"/>
              </a:cxn>
              <a:cxn ang="0">
                <a:pos x="connsiteX13664" y="connsiteY13664"/>
              </a:cxn>
              <a:cxn ang="0">
                <a:pos x="connsiteX13665" y="connsiteY13665"/>
              </a:cxn>
              <a:cxn ang="0">
                <a:pos x="connsiteX13666" y="connsiteY13666"/>
              </a:cxn>
              <a:cxn ang="0">
                <a:pos x="connsiteX13667" y="connsiteY13667"/>
              </a:cxn>
              <a:cxn ang="0">
                <a:pos x="connsiteX13668" y="connsiteY13668"/>
              </a:cxn>
              <a:cxn ang="0">
                <a:pos x="connsiteX13669" y="connsiteY13669"/>
              </a:cxn>
              <a:cxn ang="0">
                <a:pos x="connsiteX13670" y="connsiteY13670"/>
              </a:cxn>
              <a:cxn ang="0">
                <a:pos x="connsiteX13671" y="connsiteY13671"/>
              </a:cxn>
              <a:cxn ang="0">
                <a:pos x="connsiteX13672" y="connsiteY13672"/>
              </a:cxn>
              <a:cxn ang="0">
                <a:pos x="connsiteX13673" y="connsiteY13673"/>
              </a:cxn>
              <a:cxn ang="0">
                <a:pos x="connsiteX13674" y="connsiteY13674"/>
              </a:cxn>
              <a:cxn ang="0">
                <a:pos x="connsiteX13675" y="connsiteY13675"/>
              </a:cxn>
              <a:cxn ang="0">
                <a:pos x="connsiteX13676" y="connsiteY13676"/>
              </a:cxn>
              <a:cxn ang="0">
                <a:pos x="connsiteX13677" y="connsiteY13677"/>
              </a:cxn>
              <a:cxn ang="0">
                <a:pos x="connsiteX13678" y="connsiteY13678"/>
              </a:cxn>
              <a:cxn ang="0">
                <a:pos x="connsiteX13679" y="connsiteY13679"/>
              </a:cxn>
              <a:cxn ang="0">
                <a:pos x="connsiteX13680" y="connsiteY13680"/>
              </a:cxn>
              <a:cxn ang="0">
                <a:pos x="connsiteX13681" y="connsiteY13681"/>
              </a:cxn>
              <a:cxn ang="0">
                <a:pos x="connsiteX13682" y="connsiteY13682"/>
              </a:cxn>
              <a:cxn ang="0">
                <a:pos x="connsiteX13683" y="connsiteY13683"/>
              </a:cxn>
              <a:cxn ang="0">
                <a:pos x="connsiteX13684" y="connsiteY13684"/>
              </a:cxn>
              <a:cxn ang="0">
                <a:pos x="connsiteX13685" y="connsiteY13685"/>
              </a:cxn>
              <a:cxn ang="0">
                <a:pos x="connsiteX13686" y="connsiteY13686"/>
              </a:cxn>
              <a:cxn ang="0">
                <a:pos x="connsiteX13687" y="connsiteY13687"/>
              </a:cxn>
              <a:cxn ang="0">
                <a:pos x="connsiteX13688" y="connsiteY13688"/>
              </a:cxn>
              <a:cxn ang="0">
                <a:pos x="connsiteX13689" y="connsiteY13689"/>
              </a:cxn>
              <a:cxn ang="0">
                <a:pos x="connsiteX13690" y="connsiteY13690"/>
              </a:cxn>
              <a:cxn ang="0">
                <a:pos x="connsiteX13691" y="connsiteY13691"/>
              </a:cxn>
              <a:cxn ang="0">
                <a:pos x="connsiteX13692" y="connsiteY13692"/>
              </a:cxn>
              <a:cxn ang="0">
                <a:pos x="connsiteX13693" y="connsiteY13693"/>
              </a:cxn>
              <a:cxn ang="0">
                <a:pos x="connsiteX13694" y="connsiteY13694"/>
              </a:cxn>
              <a:cxn ang="0">
                <a:pos x="connsiteX13695" y="connsiteY13695"/>
              </a:cxn>
              <a:cxn ang="0">
                <a:pos x="connsiteX13696" y="connsiteY13696"/>
              </a:cxn>
              <a:cxn ang="0">
                <a:pos x="connsiteX13697" y="connsiteY13697"/>
              </a:cxn>
              <a:cxn ang="0">
                <a:pos x="connsiteX13698" y="connsiteY13698"/>
              </a:cxn>
              <a:cxn ang="0">
                <a:pos x="connsiteX13699" y="connsiteY13699"/>
              </a:cxn>
              <a:cxn ang="0">
                <a:pos x="connsiteX13700" y="connsiteY13700"/>
              </a:cxn>
              <a:cxn ang="0">
                <a:pos x="connsiteX13701" y="connsiteY13701"/>
              </a:cxn>
              <a:cxn ang="0">
                <a:pos x="connsiteX13702" y="connsiteY13702"/>
              </a:cxn>
              <a:cxn ang="0">
                <a:pos x="connsiteX13703" y="connsiteY13703"/>
              </a:cxn>
              <a:cxn ang="0">
                <a:pos x="connsiteX13704" y="connsiteY13704"/>
              </a:cxn>
              <a:cxn ang="0">
                <a:pos x="connsiteX13705" y="connsiteY13705"/>
              </a:cxn>
              <a:cxn ang="0">
                <a:pos x="connsiteX13706" y="connsiteY13706"/>
              </a:cxn>
              <a:cxn ang="0">
                <a:pos x="connsiteX13707" y="connsiteY13707"/>
              </a:cxn>
              <a:cxn ang="0">
                <a:pos x="connsiteX13708" y="connsiteY13708"/>
              </a:cxn>
              <a:cxn ang="0">
                <a:pos x="connsiteX13709" y="connsiteY13709"/>
              </a:cxn>
              <a:cxn ang="0">
                <a:pos x="connsiteX13710" y="connsiteY13710"/>
              </a:cxn>
              <a:cxn ang="0">
                <a:pos x="connsiteX13711" y="connsiteY13711"/>
              </a:cxn>
              <a:cxn ang="0">
                <a:pos x="connsiteX13712" y="connsiteY13712"/>
              </a:cxn>
              <a:cxn ang="0">
                <a:pos x="connsiteX13713" y="connsiteY13713"/>
              </a:cxn>
              <a:cxn ang="0">
                <a:pos x="connsiteX13714" y="connsiteY13714"/>
              </a:cxn>
              <a:cxn ang="0">
                <a:pos x="connsiteX13715" y="connsiteY13715"/>
              </a:cxn>
              <a:cxn ang="0">
                <a:pos x="connsiteX13716" y="connsiteY13716"/>
              </a:cxn>
              <a:cxn ang="0">
                <a:pos x="connsiteX13717" y="connsiteY13717"/>
              </a:cxn>
              <a:cxn ang="0">
                <a:pos x="connsiteX13718" y="connsiteY13718"/>
              </a:cxn>
              <a:cxn ang="0">
                <a:pos x="connsiteX13719" y="connsiteY13719"/>
              </a:cxn>
              <a:cxn ang="0">
                <a:pos x="connsiteX13720" y="connsiteY13720"/>
              </a:cxn>
              <a:cxn ang="0">
                <a:pos x="connsiteX13721" y="connsiteY13721"/>
              </a:cxn>
              <a:cxn ang="0">
                <a:pos x="connsiteX13722" y="connsiteY13722"/>
              </a:cxn>
              <a:cxn ang="0">
                <a:pos x="connsiteX13723" y="connsiteY13723"/>
              </a:cxn>
              <a:cxn ang="0">
                <a:pos x="connsiteX13724" y="connsiteY13724"/>
              </a:cxn>
              <a:cxn ang="0">
                <a:pos x="connsiteX13725" y="connsiteY13725"/>
              </a:cxn>
              <a:cxn ang="0">
                <a:pos x="connsiteX13726" y="connsiteY13726"/>
              </a:cxn>
              <a:cxn ang="0">
                <a:pos x="connsiteX13727" y="connsiteY13727"/>
              </a:cxn>
              <a:cxn ang="0">
                <a:pos x="connsiteX13728" y="connsiteY13728"/>
              </a:cxn>
              <a:cxn ang="0">
                <a:pos x="connsiteX13729" y="connsiteY13729"/>
              </a:cxn>
              <a:cxn ang="0">
                <a:pos x="connsiteX13730" y="connsiteY13730"/>
              </a:cxn>
              <a:cxn ang="0">
                <a:pos x="connsiteX13731" y="connsiteY13731"/>
              </a:cxn>
              <a:cxn ang="0">
                <a:pos x="connsiteX13732" y="connsiteY13732"/>
              </a:cxn>
              <a:cxn ang="0">
                <a:pos x="connsiteX13733" y="connsiteY13733"/>
              </a:cxn>
              <a:cxn ang="0">
                <a:pos x="connsiteX13734" y="connsiteY13734"/>
              </a:cxn>
              <a:cxn ang="0">
                <a:pos x="connsiteX13735" y="connsiteY13735"/>
              </a:cxn>
              <a:cxn ang="0">
                <a:pos x="connsiteX13736" y="connsiteY13736"/>
              </a:cxn>
              <a:cxn ang="0">
                <a:pos x="connsiteX13737" y="connsiteY13737"/>
              </a:cxn>
              <a:cxn ang="0">
                <a:pos x="connsiteX13738" y="connsiteY13738"/>
              </a:cxn>
              <a:cxn ang="0">
                <a:pos x="connsiteX13739" y="connsiteY13739"/>
              </a:cxn>
              <a:cxn ang="0">
                <a:pos x="connsiteX13740" y="connsiteY13740"/>
              </a:cxn>
              <a:cxn ang="0">
                <a:pos x="connsiteX13741" y="connsiteY13741"/>
              </a:cxn>
              <a:cxn ang="0">
                <a:pos x="connsiteX13742" y="connsiteY13742"/>
              </a:cxn>
              <a:cxn ang="0">
                <a:pos x="connsiteX13743" y="connsiteY13743"/>
              </a:cxn>
              <a:cxn ang="0">
                <a:pos x="connsiteX13744" y="connsiteY13744"/>
              </a:cxn>
              <a:cxn ang="0">
                <a:pos x="connsiteX13745" y="connsiteY13745"/>
              </a:cxn>
              <a:cxn ang="0">
                <a:pos x="connsiteX13746" y="connsiteY13746"/>
              </a:cxn>
              <a:cxn ang="0">
                <a:pos x="connsiteX13747" y="connsiteY13747"/>
              </a:cxn>
              <a:cxn ang="0">
                <a:pos x="connsiteX13748" y="connsiteY13748"/>
              </a:cxn>
              <a:cxn ang="0">
                <a:pos x="connsiteX13749" y="connsiteY13749"/>
              </a:cxn>
              <a:cxn ang="0">
                <a:pos x="connsiteX13750" y="connsiteY13750"/>
              </a:cxn>
              <a:cxn ang="0">
                <a:pos x="connsiteX13751" y="connsiteY13751"/>
              </a:cxn>
              <a:cxn ang="0">
                <a:pos x="connsiteX13752" y="connsiteY13752"/>
              </a:cxn>
              <a:cxn ang="0">
                <a:pos x="connsiteX13753" y="connsiteY13753"/>
              </a:cxn>
              <a:cxn ang="0">
                <a:pos x="connsiteX13754" y="connsiteY13754"/>
              </a:cxn>
              <a:cxn ang="0">
                <a:pos x="connsiteX13755" y="connsiteY13755"/>
              </a:cxn>
              <a:cxn ang="0">
                <a:pos x="connsiteX13756" y="connsiteY13756"/>
              </a:cxn>
              <a:cxn ang="0">
                <a:pos x="connsiteX13757" y="connsiteY13757"/>
              </a:cxn>
              <a:cxn ang="0">
                <a:pos x="connsiteX13758" y="connsiteY13758"/>
              </a:cxn>
              <a:cxn ang="0">
                <a:pos x="connsiteX13759" y="connsiteY13759"/>
              </a:cxn>
              <a:cxn ang="0">
                <a:pos x="connsiteX13760" y="connsiteY13760"/>
              </a:cxn>
              <a:cxn ang="0">
                <a:pos x="connsiteX13761" y="connsiteY13761"/>
              </a:cxn>
              <a:cxn ang="0">
                <a:pos x="connsiteX13762" y="connsiteY13762"/>
              </a:cxn>
              <a:cxn ang="0">
                <a:pos x="connsiteX13763" y="connsiteY13763"/>
              </a:cxn>
              <a:cxn ang="0">
                <a:pos x="connsiteX13764" y="connsiteY13764"/>
              </a:cxn>
              <a:cxn ang="0">
                <a:pos x="connsiteX13765" y="connsiteY13765"/>
              </a:cxn>
              <a:cxn ang="0">
                <a:pos x="connsiteX13766" y="connsiteY13766"/>
              </a:cxn>
              <a:cxn ang="0">
                <a:pos x="connsiteX13767" y="connsiteY13767"/>
              </a:cxn>
              <a:cxn ang="0">
                <a:pos x="connsiteX13768" y="connsiteY13768"/>
              </a:cxn>
              <a:cxn ang="0">
                <a:pos x="connsiteX13769" y="connsiteY13769"/>
              </a:cxn>
              <a:cxn ang="0">
                <a:pos x="connsiteX13770" y="connsiteY13770"/>
              </a:cxn>
              <a:cxn ang="0">
                <a:pos x="connsiteX13771" y="connsiteY13771"/>
              </a:cxn>
              <a:cxn ang="0">
                <a:pos x="connsiteX13772" y="connsiteY13772"/>
              </a:cxn>
              <a:cxn ang="0">
                <a:pos x="connsiteX13773" y="connsiteY13773"/>
              </a:cxn>
              <a:cxn ang="0">
                <a:pos x="connsiteX13774" y="connsiteY13774"/>
              </a:cxn>
              <a:cxn ang="0">
                <a:pos x="connsiteX13775" y="connsiteY13775"/>
              </a:cxn>
              <a:cxn ang="0">
                <a:pos x="connsiteX13776" y="connsiteY13776"/>
              </a:cxn>
              <a:cxn ang="0">
                <a:pos x="connsiteX13777" y="connsiteY13777"/>
              </a:cxn>
              <a:cxn ang="0">
                <a:pos x="connsiteX13778" y="connsiteY13778"/>
              </a:cxn>
              <a:cxn ang="0">
                <a:pos x="connsiteX13779" y="connsiteY13779"/>
              </a:cxn>
              <a:cxn ang="0">
                <a:pos x="connsiteX13780" y="connsiteY13780"/>
              </a:cxn>
              <a:cxn ang="0">
                <a:pos x="connsiteX13781" y="connsiteY13781"/>
              </a:cxn>
              <a:cxn ang="0">
                <a:pos x="connsiteX13782" y="connsiteY13782"/>
              </a:cxn>
              <a:cxn ang="0">
                <a:pos x="connsiteX13783" y="connsiteY13783"/>
              </a:cxn>
              <a:cxn ang="0">
                <a:pos x="connsiteX13784" y="connsiteY13784"/>
              </a:cxn>
              <a:cxn ang="0">
                <a:pos x="connsiteX13785" y="connsiteY13785"/>
              </a:cxn>
              <a:cxn ang="0">
                <a:pos x="connsiteX13786" y="connsiteY13786"/>
              </a:cxn>
              <a:cxn ang="0">
                <a:pos x="connsiteX13787" y="connsiteY13787"/>
              </a:cxn>
              <a:cxn ang="0">
                <a:pos x="connsiteX13788" y="connsiteY13788"/>
              </a:cxn>
              <a:cxn ang="0">
                <a:pos x="connsiteX13789" y="connsiteY13789"/>
              </a:cxn>
              <a:cxn ang="0">
                <a:pos x="connsiteX13790" y="connsiteY13790"/>
              </a:cxn>
              <a:cxn ang="0">
                <a:pos x="connsiteX13791" y="connsiteY13791"/>
              </a:cxn>
              <a:cxn ang="0">
                <a:pos x="connsiteX13792" y="connsiteY13792"/>
              </a:cxn>
              <a:cxn ang="0">
                <a:pos x="connsiteX13793" y="connsiteY13793"/>
              </a:cxn>
              <a:cxn ang="0">
                <a:pos x="connsiteX13794" y="connsiteY13794"/>
              </a:cxn>
              <a:cxn ang="0">
                <a:pos x="connsiteX13795" y="connsiteY13795"/>
              </a:cxn>
              <a:cxn ang="0">
                <a:pos x="connsiteX13796" y="connsiteY13796"/>
              </a:cxn>
              <a:cxn ang="0">
                <a:pos x="connsiteX13797" y="connsiteY13797"/>
              </a:cxn>
              <a:cxn ang="0">
                <a:pos x="connsiteX13798" y="connsiteY13798"/>
              </a:cxn>
              <a:cxn ang="0">
                <a:pos x="connsiteX13799" y="connsiteY13799"/>
              </a:cxn>
              <a:cxn ang="0">
                <a:pos x="connsiteX13800" y="connsiteY13800"/>
              </a:cxn>
              <a:cxn ang="0">
                <a:pos x="connsiteX13801" y="connsiteY13801"/>
              </a:cxn>
              <a:cxn ang="0">
                <a:pos x="connsiteX13802" y="connsiteY13802"/>
              </a:cxn>
              <a:cxn ang="0">
                <a:pos x="connsiteX13803" y="connsiteY13803"/>
              </a:cxn>
              <a:cxn ang="0">
                <a:pos x="connsiteX13804" y="connsiteY13804"/>
              </a:cxn>
              <a:cxn ang="0">
                <a:pos x="connsiteX13805" y="connsiteY13805"/>
              </a:cxn>
              <a:cxn ang="0">
                <a:pos x="connsiteX13806" y="connsiteY13806"/>
              </a:cxn>
              <a:cxn ang="0">
                <a:pos x="connsiteX13807" y="connsiteY13807"/>
              </a:cxn>
              <a:cxn ang="0">
                <a:pos x="connsiteX13808" y="connsiteY13808"/>
              </a:cxn>
              <a:cxn ang="0">
                <a:pos x="connsiteX13809" y="connsiteY13809"/>
              </a:cxn>
              <a:cxn ang="0">
                <a:pos x="connsiteX13810" y="connsiteY13810"/>
              </a:cxn>
              <a:cxn ang="0">
                <a:pos x="connsiteX13811" y="connsiteY13811"/>
              </a:cxn>
              <a:cxn ang="0">
                <a:pos x="connsiteX13812" y="connsiteY13812"/>
              </a:cxn>
              <a:cxn ang="0">
                <a:pos x="connsiteX13813" y="connsiteY13813"/>
              </a:cxn>
              <a:cxn ang="0">
                <a:pos x="connsiteX13814" y="connsiteY13814"/>
              </a:cxn>
              <a:cxn ang="0">
                <a:pos x="connsiteX13815" y="connsiteY13815"/>
              </a:cxn>
              <a:cxn ang="0">
                <a:pos x="connsiteX13816" y="connsiteY13816"/>
              </a:cxn>
              <a:cxn ang="0">
                <a:pos x="connsiteX13817" y="connsiteY13817"/>
              </a:cxn>
              <a:cxn ang="0">
                <a:pos x="connsiteX13818" y="connsiteY13818"/>
              </a:cxn>
              <a:cxn ang="0">
                <a:pos x="connsiteX13819" y="connsiteY13819"/>
              </a:cxn>
              <a:cxn ang="0">
                <a:pos x="connsiteX13820" y="connsiteY13820"/>
              </a:cxn>
              <a:cxn ang="0">
                <a:pos x="connsiteX13821" y="connsiteY13821"/>
              </a:cxn>
              <a:cxn ang="0">
                <a:pos x="connsiteX13822" y="connsiteY13822"/>
              </a:cxn>
              <a:cxn ang="0">
                <a:pos x="connsiteX13823" y="connsiteY13823"/>
              </a:cxn>
              <a:cxn ang="0">
                <a:pos x="connsiteX13824" y="connsiteY13824"/>
              </a:cxn>
              <a:cxn ang="0">
                <a:pos x="connsiteX13825" y="connsiteY13825"/>
              </a:cxn>
              <a:cxn ang="0">
                <a:pos x="connsiteX13826" y="connsiteY13826"/>
              </a:cxn>
              <a:cxn ang="0">
                <a:pos x="connsiteX13827" y="connsiteY13827"/>
              </a:cxn>
              <a:cxn ang="0">
                <a:pos x="connsiteX13828" y="connsiteY13828"/>
              </a:cxn>
              <a:cxn ang="0">
                <a:pos x="connsiteX13829" y="connsiteY13829"/>
              </a:cxn>
              <a:cxn ang="0">
                <a:pos x="connsiteX13830" y="connsiteY13830"/>
              </a:cxn>
              <a:cxn ang="0">
                <a:pos x="connsiteX13831" y="connsiteY13831"/>
              </a:cxn>
              <a:cxn ang="0">
                <a:pos x="connsiteX13832" y="connsiteY13832"/>
              </a:cxn>
              <a:cxn ang="0">
                <a:pos x="connsiteX13833" y="connsiteY13833"/>
              </a:cxn>
              <a:cxn ang="0">
                <a:pos x="connsiteX13834" y="connsiteY13834"/>
              </a:cxn>
              <a:cxn ang="0">
                <a:pos x="connsiteX13835" y="connsiteY13835"/>
              </a:cxn>
              <a:cxn ang="0">
                <a:pos x="connsiteX13836" y="connsiteY13836"/>
              </a:cxn>
              <a:cxn ang="0">
                <a:pos x="connsiteX13837" y="connsiteY13837"/>
              </a:cxn>
              <a:cxn ang="0">
                <a:pos x="connsiteX13838" y="connsiteY13838"/>
              </a:cxn>
              <a:cxn ang="0">
                <a:pos x="connsiteX13839" y="connsiteY13839"/>
              </a:cxn>
              <a:cxn ang="0">
                <a:pos x="connsiteX13840" y="connsiteY13840"/>
              </a:cxn>
              <a:cxn ang="0">
                <a:pos x="connsiteX13841" y="connsiteY13841"/>
              </a:cxn>
              <a:cxn ang="0">
                <a:pos x="connsiteX13842" y="connsiteY13842"/>
              </a:cxn>
              <a:cxn ang="0">
                <a:pos x="connsiteX13843" y="connsiteY13843"/>
              </a:cxn>
              <a:cxn ang="0">
                <a:pos x="connsiteX13844" y="connsiteY13844"/>
              </a:cxn>
              <a:cxn ang="0">
                <a:pos x="connsiteX13845" y="connsiteY13845"/>
              </a:cxn>
              <a:cxn ang="0">
                <a:pos x="connsiteX13846" y="connsiteY13846"/>
              </a:cxn>
              <a:cxn ang="0">
                <a:pos x="connsiteX13847" y="connsiteY13847"/>
              </a:cxn>
              <a:cxn ang="0">
                <a:pos x="connsiteX13848" y="connsiteY13848"/>
              </a:cxn>
              <a:cxn ang="0">
                <a:pos x="connsiteX13849" y="connsiteY13849"/>
              </a:cxn>
              <a:cxn ang="0">
                <a:pos x="connsiteX13850" y="connsiteY13850"/>
              </a:cxn>
              <a:cxn ang="0">
                <a:pos x="connsiteX13851" y="connsiteY13851"/>
              </a:cxn>
              <a:cxn ang="0">
                <a:pos x="connsiteX13852" y="connsiteY13852"/>
              </a:cxn>
              <a:cxn ang="0">
                <a:pos x="connsiteX13853" y="connsiteY13853"/>
              </a:cxn>
              <a:cxn ang="0">
                <a:pos x="connsiteX13854" y="connsiteY13854"/>
              </a:cxn>
              <a:cxn ang="0">
                <a:pos x="connsiteX13855" y="connsiteY13855"/>
              </a:cxn>
              <a:cxn ang="0">
                <a:pos x="connsiteX13856" y="connsiteY13856"/>
              </a:cxn>
              <a:cxn ang="0">
                <a:pos x="connsiteX13857" y="connsiteY13857"/>
              </a:cxn>
              <a:cxn ang="0">
                <a:pos x="connsiteX13858" y="connsiteY13858"/>
              </a:cxn>
              <a:cxn ang="0">
                <a:pos x="connsiteX13859" y="connsiteY13859"/>
              </a:cxn>
              <a:cxn ang="0">
                <a:pos x="connsiteX13860" y="connsiteY13860"/>
              </a:cxn>
              <a:cxn ang="0">
                <a:pos x="connsiteX13861" y="connsiteY13861"/>
              </a:cxn>
              <a:cxn ang="0">
                <a:pos x="connsiteX13862" y="connsiteY13862"/>
              </a:cxn>
              <a:cxn ang="0">
                <a:pos x="connsiteX13863" y="connsiteY13863"/>
              </a:cxn>
              <a:cxn ang="0">
                <a:pos x="connsiteX13864" y="connsiteY13864"/>
              </a:cxn>
              <a:cxn ang="0">
                <a:pos x="connsiteX13865" y="connsiteY13865"/>
              </a:cxn>
              <a:cxn ang="0">
                <a:pos x="connsiteX13866" y="connsiteY13866"/>
              </a:cxn>
              <a:cxn ang="0">
                <a:pos x="connsiteX13867" y="connsiteY13867"/>
              </a:cxn>
              <a:cxn ang="0">
                <a:pos x="connsiteX13868" y="connsiteY13868"/>
              </a:cxn>
              <a:cxn ang="0">
                <a:pos x="connsiteX13869" y="connsiteY13869"/>
              </a:cxn>
              <a:cxn ang="0">
                <a:pos x="connsiteX13870" y="connsiteY13870"/>
              </a:cxn>
              <a:cxn ang="0">
                <a:pos x="connsiteX13871" y="connsiteY13871"/>
              </a:cxn>
              <a:cxn ang="0">
                <a:pos x="connsiteX13872" y="connsiteY13872"/>
              </a:cxn>
              <a:cxn ang="0">
                <a:pos x="connsiteX13873" y="connsiteY13873"/>
              </a:cxn>
              <a:cxn ang="0">
                <a:pos x="connsiteX13874" y="connsiteY13874"/>
              </a:cxn>
              <a:cxn ang="0">
                <a:pos x="connsiteX13875" y="connsiteY13875"/>
              </a:cxn>
              <a:cxn ang="0">
                <a:pos x="connsiteX13876" y="connsiteY13876"/>
              </a:cxn>
              <a:cxn ang="0">
                <a:pos x="connsiteX13877" y="connsiteY13877"/>
              </a:cxn>
              <a:cxn ang="0">
                <a:pos x="connsiteX13878" y="connsiteY13878"/>
              </a:cxn>
              <a:cxn ang="0">
                <a:pos x="connsiteX13879" y="connsiteY13879"/>
              </a:cxn>
              <a:cxn ang="0">
                <a:pos x="connsiteX13880" y="connsiteY13880"/>
              </a:cxn>
              <a:cxn ang="0">
                <a:pos x="connsiteX13881" y="connsiteY13881"/>
              </a:cxn>
              <a:cxn ang="0">
                <a:pos x="connsiteX13882" y="connsiteY13882"/>
              </a:cxn>
              <a:cxn ang="0">
                <a:pos x="connsiteX13883" y="connsiteY13883"/>
              </a:cxn>
              <a:cxn ang="0">
                <a:pos x="connsiteX13884" y="connsiteY13884"/>
              </a:cxn>
              <a:cxn ang="0">
                <a:pos x="connsiteX13885" y="connsiteY13885"/>
              </a:cxn>
              <a:cxn ang="0">
                <a:pos x="connsiteX13886" y="connsiteY13886"/>
              </a:cxn>
              <a:cxn ang="0">
                <a:pos x="connsiteX13887" y="connsiteY13887"/>
              </a:cxn>
              <a:cxn ang="0">
                <a:pos x="connsiteX13888" y="connsiteY13888"/>
              </a:cxn>
              <a:cxn ang="0">
                <a:pos x="connsiteX13889" y="connsiteY13889"/>
              </a:cxn>
              <a:cxn ang="0">
                <a:pos x="connsiteX13890" y="connsiteY13890"/>
              </a:cxn>
              <a:cxn ang="0">
                <a:pos x="connsiteX13891" y="connsiteY13891"/>
              </a:cxn>
              <a:cxn ang="0">
                <a:pos x="connsiteX13892" y="connsiteY13892"/>
              </a:cxn>
              <a:cxn ang="0">
                <a:pos x="connsiteX13893" y="connsiteY13893"/>
              </a:cxn>
              <a:cxn ang="0">
                <a:pos x="connsiteX13894" y="connsiteY13894"/>
              </a:cxn>
              <a:cxn ang="0">
                <a:pos x="connsiteX13895" y="connsiteY13895"/>
              </a:cxn>
              <a:cxn ang="0">
                <a:pos x="connsiteX13896" y="connsiteY13896"/>
              </a:cxn>
              <a:cxn ang="0">
                <a:pos x="connsiteX13897" y="connsiteY13897"/>
              </a:cxn>
              <a:cxn ang="0">
                <a:pos x="connsiteX13898" y="connsiteY13898"/>
              </a:cxn>
              <a:cxn ang="0">
                <a:pos x="connsiteX13899" y="connsiteY13899"/>
              </a:cxn>
              <a:cxn ang="0">
                <a:pos x="connsiteX13900" y="connsiteY13900"/>
              </a:cxn>
              <a:cxn ang="0">
                <a:pos x="connsiteX13901" y="connsiteY13901"/>
              </a:cxn>
              <a:cxn ang="0">
                <a:pos x="connsiteX13902" y="connsiteY13902"/>
              </a:cxn>
              <a:cxn ang="0">
                <a:pos x="connsiteX13903" y="connsiteY13903"/>
              </a:cxn>
              <a:cxn ang="0">
                <a:pos x="connsiteX13904" y="connsiteY13904"/>
              </a:cxn>
              <a:cxn ang="0">
                <a:pos x="connsiteX13905" y="connsiteY13905"/>
              </a:cxn>
              <a:cxn ang="0">
                <a:pos x="connsiteX13906" y="connsiteY13906"/>
              </a:cxn>
              <a:cxn ang="0">
                <a:pos x="connsiteX13907" y="connsiteY13907"/>
              </a:cxn>
              <a:cxn ang="0">
                <a:pos x="connsiteX13908" y="connsiteY13908"/>
              </a:cxn>
              <a:cxn ang="0">
                <a:pos x="connsiteX13909" y="connsiteY13909"/>
              </a:cxn>
              <a:cxn ang="0">
                <a:pos x="connsiteX13910" y="connsiteY13910"/>
              </a:cxn>
              <a:cxn ang="0">
                <a:pos x="connsiteX13911" y="connsiteY13911"/>
              </a:cxn>
              <a:cxn ang="0">
                <a:pos x="connsiteX13912" y="connsiteY13912"/>
              </a:cxn>
              <a:cxn ang="0">
                <a:pos x="connsiteX13913" y="connsiteY13913"/>
              </a:cxn>
              <a:cxn ang="0">
                <a:pos x="connsiteX13914" y="connsiteY13914"/>
              </a:cxn>
              <a:cxn ang="0">
                <a:pos x="connsiteX13915" y="connsiteY13915"/>
              </a:cxn>
              <a:cxn ang="0">
                <a:pos x="connsiteX13916" y="connsiteY13916"/>
              </a:cxn>
              <a:cxn ang="0">
                <a:pos x="connsiteX13917" y="connsiteY13917"/>
              </a:cxn>
              <a:cxn ang="0">
                <a:pos x="connsiteX13918" y="connsiteY13918"/>
              </a:cxn>
              <a:cxn ang="0">
                <a:pos x="connsiteX13919" y="connsiteY13919"/>
              </a:cxn>
              <a:cxn ang="0">
                <a:pos x="connsiteX13920" y="connsiteY13920"/>
              </a:cxn>
              <a:cxn ang="0">
                <a:pos x="connsiteX13921" y="connsiteY13921"/>
              </a:cxn>
              <a:cxn ang="0">
                <a:pos x="connsiteX13922" y="connsiteY13922"/>
              </a:cxn>
              <a:cxn ang="0">
                <a:pos x="connsiteX13923" y="connsiteY13923"/>
              </a:cxn>
              <a:cxn ang="0">
                <a:pos x="connsiteX13924" y="connsiteY13924"/>
              </a:cxn>
              <a:cxn ang="0">
                <a:pos x="connsiteX13925" y="connsiteY13925"/>
              </a:cxn>
              <a:cxn ang="0">
                <a:pos x="connsiteX13926" y="connsiteY13926"/>
              </a:cxn>
              <a:cxn ang="0">
                <a:pos x="connsiteX13927" y="connsiteY13927"/>
              </a:cxn>
              <a:cxn ang="0">
                <a:pos x="connsiteX13928" y="connsiteY13928"/>
              </a:cxn>
              <a:cxn ang="0">
                <a:pos x="connsiteX13929" y="connsiteY13929"/>
              </a:cxn>
              <a:cxn ang="0">
                <a:pos x="connsiteX13930" y="connsiteY13930"/>
              </a:cxn>
              <a:cxn ang="0">
                <a:pos x="connsiteX13931" y="connsiteY13931"/>
              </a:cxn>
              <a:cxn ang="0">
                <a:pos x="connsiteX13932" y="connsiteY13932"/>
              </a:cxn>
              <a:cxn ang="0">
                <a:pos x="connsiteX13933" y="connsiteY13933"/>
              </a:cxn>
              <a:cxn ang="0">
                <a:pos x="connsiteX13934" y="connsiteY13934"/>
              </a:cxn>
              <a:cxn ang="0">
                <a:pos x="connsiteX13935" y="connsiteY13935"/>
              </a:cxn>
              <a:cxn ang="0">
                <a:pos x="connsiteX13936" y="connsiteY13936"/>
              </a:cxn>
              <a:cxn ang="0">
                <a:pos x="connsiteX13937" y="connsiteY13937"/>
              </a:cxn>
              <a:cxn ang="0">
                <a:pos x="connsiteX13938" y="connsiteY13938"/>
              </a:cxn>
              <a:cxn ang="0">
                <a:pos x="connsiteX13939" y="connsiteY13939"/>
              </a:cxn>
              <a:cxn ang="0">
                <a:pos x="connsiteX13940" y="connsiteY13940"/>
              </a:cxn>
              <a:cxn ang="0">
                <a:pos x="connsiteX13941" y="connsiteY13941"/>
              </a:cxn>
              <a:cxn ang="0">
                <a:pos x="connsiteX13942" y="connsiteY13942"/>
              </a:cxn>
              <a:cxn ang="0">
                <a:pos x="connsiteX13943" y="connsiteY13943"/>
              </a:cxn>
              <a:cxn ang="0">
                <a:pos x="connsiteX13944" y="connsiteY13944"/>
              </a:cxn>
              <a:cxn ang="0">
                <a:pos x="connsiteX13945" y="connsiteY13945"/>
              </a:cxn>
              <a:cxn ang="0">
                <a:pos x="connsiteX13946" y="connsiteY13946"/>
              </a:cxn>
              <a:cxn ang="0">
                <a:pos x="connsiteX13947" y="connsiteY13947"/>
              </a:cxn>
              <a:cxn ang="0">
                <a:pos x="connsiteX13948" y="connsiteY13948"/>
              </a:cxn>
              <a:cxn ang="0">
                <a:pos x="connsiteX13949" y="connsiteY13949"/>
              </a:cxn>
              <a:cxn ang="0">
                <a:pos x="connsiteX13950" y="connsiteY13950"/>
              </a:cxn>
              <a:cxn ang="0">
                <a:pos x="connsiteX13951" y="connsiteY13951"/>
              </a:cxn>
              <a:cxn ang="0">
                <a:pos x="connsiteX13952" y="connsiteY13952"/>
              </a:cxn>
              <a:cxn ang="0">
                <a:pos x="connsiteX13953" y="connsiteY13953"/>
              </a:cxn>
              <a:cxn ang="0">
                <a:pos x="connsiteX13954" y="connsiteY13954"/>
              </a:cxn>
              <a:cxn ang="0">
                <a:pos x="connsiteX13955" y="connsiteY13955"/>
              </a:cxn>
              <a:cxn ang="0">
                <a:pos x="connsiteX13956" y="connsiteY13956"/>
              </a:cxn>
              <a:cxn ang="0">
                <a:pos x="connsiteX13957" y="connsiteY13957"/>
              </a:cxn>
              <a:cxn ang="0">
                <a:pos x="connsiteX13958" y="connsiteY13958"/>
              </a:cxn>
              <a:cxn ang="0">
                <a:pos x="connsiteX13959" y="connsiteY13959"/>
              </a:cxn>
              <a:cxn ang="0">
                <a:pos x="connsiteX13960" y="connsiteY13960"/>
              </a:cxn>
              <a:cxn ang="0">
                <a:pos x="connsiteX13961" y="connsiteY13961"/>
              </a:cxn>
              <a:cxn ang="0">
                <a:pos x="connsiteX13962" y="connsiteY13962"/>
              </a:cxn>
              <a:cxn ang="0">
                <a:pos x="connsiteX13963" y="connsiteY13963"/>
              </a:cxn>
              <a:cxn ang="0">
                <a:pos x="connsiteX13964" y="connsiteY13964"/>
              </a:cxn>
              <a:cxn ang="0">
                <a:pos x="connsiteX13965" y="connsiteY13965"/>
              </a:cxn>
              <a:cxn ang="0">
                <a:pos x="connsiteX13966" y="connsiteY13966"/>
              </a:cxn>
              <a:cxn ang="0">
                <a:pos x="connsiteX13967" y="connsiteY13967"/>
              </a:cxn>
              <a:cxn ang="0">
                <a:pos x="connsiteX13968" y="connsiteY13968"/>
              </a:cxn>
              <a:cxn ang="0">
                <a:pos x="connsiteX13969" y="connsiteY13969"/>
              </a:cxn>
              <a:cxn ang="0">
                <a:pos x="connsiteX13970" y="connsiteY13970"/>
              </a:cxn>
              <a:cxn ang="0">
                <a:pos x="connsiteX13971" y="connsiteY13971"/>
              </a:cxn>
              <a:cxn ang="0">
                <a:pos x="connsiteX13972" y="connsiteY13972"/>
              </a:cxn>
              <a:cxn ang="0">
                <a:pos x="connsiteX13973" y="connsiteY13973"/>
              </a:cxn>
              <a:cxn ang="0">
                <a:pos x="connsiteX13974" y="connsiteY13974"/>
              </a:cxn>
              <a:cxn ang="0">
                <a:pos x="connsiteX13975" y="connsiteY13975"/>
              </a:cxn>
              <a:cxn ang="0">
                <a:pos x="connsiteX13976" y="connsiteY13976"/>
              </a:cxn>
              <a:cxn ang="0">
                <a:pos x="connsiteX13977" y="connsiteY13977"/>
              </a:cxn>
              <a:cxn ang="0">
                <a:pos x="connsiteX13978" y="connsiteY13978"/>
              </a:cxn>
              <a:cxn ang="0">
                <a:pos x="connsiteX13979" y="connsiteY13979"/>
              </a:cxn>
              <a:cxn ang="0">
                <a:pos x="connsiteX13980" y="connsiteY13980"/>
              </a:cxn>
              <a:cxn ang="0">
                <a:pos x="connsiteX13981" y="connsiteY13981"/>
              </a:cxn>
              <a:cxn ang="0">
                <a:pos x="connsiteX13982" y="connsiteY13982"/>
              </a:cxn>
              <a:cxn ang="0">
                <a:pos x="connsiteX13983" y="connsiteY13983"/>
              </a:cxn>
              <a:cxn ang="0">
                <a:pos x="connsiteX13984" y="connsiteY13984"/>
              </a:cxn>
              <a:cxn ang="0">
                <a:pos x="connsiteX13985" y="connsiteY13985"/>
              </a:cxn>
              <a:cxn ang="0">
                <a:pos x="connsiteX13986" y="connsiteY13986"/>
              </a:cxn>
              <a:cxn ang="0">
                <a:pos x="connsiteX13987" y="connsiteY13987"/>
              </a:cxn>
              <a:cxn ang="0">
                <a:pos x="connsiteX13988" y="connsiteY13988"/>
              </a:cxn>
              <a:cxn ang="0">
                <a:pos x="connsiteX13989" y="connsiteY13989"/>
              </a:cxn>
              <a:cxn ang="0">
                <a:pos x="connsiteX13990" y="connsiteY13990"/>
              </a:cxn>
              <a:cxn ang="0">
                <a:pos x="connsiteX13991" y="connsiteY13991"/>
              </a:cxn>
              <a:cxn ang="0">
                <a:pos x="connsiteX13992" y="connsiteY13992"/>
              </a:cxn>
              <a:cxn ang="0">
                <a:pos x="connsiteX13993" y="connsiteY13993"/>
              </a:cxn>
              <a:cxn ang="0">
                <a:pos x="connsiteX13994" y="connsiteY13994"/>
              </a:cxn>
              <a:cxn ang="0">
                <a:pos x="connsiteX13995" y="connsiteY13995"/>
              </a:cxn>
              <a:cxn ang="0">
                <a:pos x="connsiteX13996" y="connsiteY13996"/>
              </a:cxn>
              <a:cxn ang="0">
                <a:pos x="connsiteX13997" y="connsiteY13997"/>
              </a:cxn>
              <a:cxn ang="0">
                <a:pos x="connsiteX13998" y="connsiteY13998"/>
              </a:cxn>
              <a:cxn ang="0">
                <a:pos x="connsiteX13999" y="connsiteY13999"/>
              </a:cxn>
              <a:cxn ang="0">
                <a:pos x="connsiteX14000" y="connsiteY14000"/>
              </a:cxn>
              <a:cxn ang="0">
                <a:pos x="connsiteX14001" y="connsiteY14001"/>
              </a:cxn>
              <a:cxn ang="0">
                <a:pos x="connsiteX14002" y="connsiteY14002"/>
              </a:cxn>
              <a:cxn ang="0">
                <a:pos x="connsiteX14003" y="connsiteY14003"/>
              </a:cxn>
              <a:cxn ang="0">
                <a:pos x="connsiteX14004" y="connsiteY14004"/>
              </a:cxn>
              <a:cxn ang="0">
                <a:pos x="connsiteX14005" y="connsiteY14005"/>
              </a:cxn>
              <a:cxn ang="0">
                <a:pos x="connsiteX14006" y="connsiteY14006"/>
              </a:cxn>
              <a:cxn ang="0">
                <a:pos x="connsiteX14007" y="connsiteY14007"/>
              </a:cxn>
              <a:cxn ang="0">
                <a:pos x="connsiteX14008" y="connsiteY14008"/>
              </a:cxn>
              <a:cxn ang="0">
                <a:pos x="connsiteX14009" y="connsiteY14009"/>
              </a:cxn>
              <a:cxn ang="0">
                <a:pos x="connsiteX14010" y="connsiteY14010"/>
              </a:cxn>
              <a:cxn ang="0">
                <a:pos x="connsiteX14011" y="connsiteY14011"/>
              </a:cxn>
              <a:cxn ang="0">
                <a:pos x="connsiteX14012" y="connsiteY14012"/>
              </a:cxn>
              <a:cxn ang="0">
                <a:pos x="connsiteX14013" y="connsiteY14013"/>
              </a:cxn>
              <a:cxn ang="0">
                <a:pos x="connsiteX14014" y="connsiteY14014"/>
              </a:cxn>
              <a:cxn ang="0">
                <a:pos x="connsiteX14015" y="connsiteY14015"/>
              </a:cxn>
              <a:cxn ang="0">
                <a:pos x="connsiteX14016" y="connsiteY14016"/>
              </a:cxn>
              <a:cxn ang="0">
                <a:pos x="connsiteX14017" y="connsiteY14017"/>
              </a:cxn>
              <a:cxn ang="0">
                <a:pos x="connsiteX14018" y="connsiteY14018"/>
              </a:cxn>
              <a:cxn ang="0">
                <a:pos x="connsiteX14019" y="connsiteY14019"/>
              </a:cxn>
              <a:cxn ang="0">
                <a:pos x="connsiteX14020" y="connsiteY14020"/>
              </a:cxn>
              <a:cxn ang="0">
                <a:pos x="connsiteX14021" y="connsiteY14021"/>
              </a:cxn>
              <a:cxn ang="0">
                <a:pos x="connsiteX14022" y="connsiteY14022"/>
              </a:cxn>
              <a:cxn ang="0">
                <a:pos x="connsiteX14023" y="connsiteY14023"/>
              </a:cxn>
              <a:cxn ang="0">
                <a:pos x="connsiteX14024" y="connsiteY14024"/>
              </a:cxn>
              <a:cxn ang="0">
                <a:pos x="connsiteX14025" y="connsiteY14025"/>
              </a:cxn>
              <a:cxn ang="0">
                <a:pos x="connsiteX14026" y="connsiteY14026"/>
              </a:cxn>
              <a:cxn ang="0">
                <a:pos x="connsiteX14027" y="connsiteY14027"/>
              </a:cxn>
              <a:cxn ang="0">
                <a:pos x="connsiteX14028" y="connsiteY14028"/>
              </a:cxn>
              <a:cxn ang="0">
                <a:pos x="connsiteX14029" y="connsiteY14029"/>
              </a:cxn>
              <a:cxn ang="0">
                <a:pos x="connsiteX14030" y="connsiteY14030"/>
              </a:cxn>
              <a:cxn ang="0">
                <a:pos x="connsiteX14031" y="connsiteY14031"/>
              </a:cxn>
              <a:cxn ang="0">
                <a:pos x="connsiteX14032" y="connsiteY14032"/>
              </a:cxn>
              <a:cxn ang="0">
                <a:pos x="connsiteX14033" y="connsiteY14033"/>
              </a:cxn>
              <a:cxn ang="0">
                <a:pos x="connsiteX14034" y="connsiteY14034"/>
              </a:cxn>
              <a:cxn ang="0">
                <a:pos x="connsiteX14035" y="connsiteY14035"/>
              </a:cxn>
              <a:cxn ang="0">
                <a:pos x="connsiteX14036" y="connsiteY14036"/>
              </a:cxn>
              <a:cxn ang="0">
                <a:pos x="connsiteX14037" y="connsiteY14037"/>
              </a:cxn>
              <a:cxn ang="0">
                <a:pos x="connsiteX14038" y="connsiteY14038"/>
              </a:cxn>
              <a:cxn ang="0">
                <a:pos x="connsiteX14039" y="connsiteY14039"/>
              </a:cxn>
              <a:cxn ang="0">
                <a:pos x="connsiteX14040" y="connsiteY14040"/>
              </a:cxn>
              <a:cxn ang="0">
                <a:pos x="connsiteX14041" y="connsiteY14041"/>
              </a:cxn>
              <a:cxn ang="0">
                <a:pos x="connsiteX14042" y="connsiteY14042"/>
              </a:cxn>
              <a:cxn ang="0">
                <a:pos x="connsiteX14043" y="connsiteY14043"/>
              </a:cxn>
              <a:cxn ang="0">
                <a:pos x="connsiteX14044" y="connsiteY14044"/>
              </a:cxn>
              <a:cxn ang="0">
                <a:pos x="connsiteX14045" y="connsiteY14045"/>
              </a:cxn>
              <a:cxn ang="0">
                <a:pos x="connsiteX14046" y="connsiteY14046"/>
              </a:cxn>
              <a:cxn ang="0">
                <a:pos x="connsiteX14047" y="connsiteY14047"/>
              </a:cxn>
              <a:cxn ang="0">
                <a:pos x="connsiteX14048" y="connsiteY14048"/>
              </a:cxn>
              <a:cxn ang="0">
                <a:pos x="connsiteX14049" y="connsiteY14049"/>
              </a:cxn>
              <a:cxn ang="0">
                <a:pos x="connsiteX14050" y="connsiteY14050"/>
              </a:cxn>
              <a:cxn ang="0">
                <a:pos x="connsiteX14051" y="connsiteY14051"/>
              </a:cxn>
              <a:cxn ang="0">
                <a:pos x="connsiteX14052" y="connsiteY14052"/>
              </a:cxn>
              <a:cxn ang="0">
                <a:pos x="connsiteX14053" y="connsiteY14053"/>
              </a:cxn>
              <a:cxn ang="0">
                <a:pos x="connsiteX14054" y="connsiteY14054"/>
              </a:cxn>
              <a:cxn ang="0">
                <a:pos x="connsiteX14055" y="connsiteY14055"/>
              </a:cxn>
              <a:cxn ang="0">
                <a:pos x="connsiteX14056" y="connsiteY14056"/>
              </a:cxn>
              <a:cxn ang="0">
                <a:pos x="connsiteX14057" y="connsiteY14057"/>
              </a:cxn>
              <a:cxn ang="0">
                <a:pos x="connsiteX14058" y="connsiteY14058"/>
              </a:cxn>
              <a:cxn ang="0">
                <a:pos x="connsiteX14059" y="connsiteY14059"/>
              </a:cxn>
              <a:cxn ang="0">
                <a:pos x="connsiteX14060" y="connsiteY14060"/>
              </a:cxn>
              <a:cxn ang="0">
                <a:pos x="connsiteX14061" y="connsiteY14061"/>
              </a:cxn>
              <a:cxn ang="0">
                <a:pos x="connsiteX14062" y="connsiteY14062"/>
              </a:cxn>
              <a:cxn ang="0">
                <a:pos x="connsiteX14063" y="connsiteY14063"/>
              </a:cxn>
              <a:cxn ang="0">
                <a:pos x="connsiteX14064" y="connsiteY14064"/>
              </a:cxn>
              <a:cxn ang="0">
                <a:pos x="connsiteX14065" y="connsiteY14065"/>
              </a:cxn>
              <a:cxn ang="0">
                <a:pos x="connsiteX14066" y="connsiteY14066"/>
              </a:cxn>
              <a:cxn ang="0">
                <a:pos x="connsiteX14067" y="connsiteY14067"/>
              </a:cxn>
              <a:cxn ang="0">
                <a:pos x="connsiteX14068" y="connsiteY14068"/>
              </a:cxn>
              <a:cxn ang="0">
                <a:pos x="connsiteX14069" y="connsiteY14069"/>
              </a:cxn>
              <a:cxn ang="0">
                <a:pos x="connsiteX14070" y="connsiteY14070"/>
              </a:cxn>
              <a:cxn ang="0">
                <a:pos x="connsiteX14071" y="connsiteY14071"/>
              </a:cxn>
              <a:cxn ang="0">
                <a:pos x="connsiteX14072" y="connsiteY14072"/>
              </a:cxn>
              <a:cxn ang="0">
                <a:pos x="connsiteX14073" y="connsiteY14073"/>
              </a:cxn>
              <a:cxn ang="0">
                <a:pos x="connsiteX14074" y="connsiteY14074"/>
              </a:cxn>
              <a:cxn ang="0">
                <a:pos x="connsiteX14075" y="connsiteY14075"/>
              </a:cxn>
              <a:cxn ang="0">
                <a:pos x="connsiteX14076" y="connsiteY14076"/>
              </a:cxn>
              <a:cxn ang="0">
                <a:pos x="connsiteX14077" y="connsiteY14077"/>
              </a:cxn>
              <a:cxn ang="0">
                <a:pos x="connsiteX14078" y="connsiteY14078"/>
              </a:cxn>
              <a:cxn ang="0">
                <a:pos x="connsiteX14079" y="connsiteY14079"/>
              </a:cxn>
              <a:cxn ang="0">
                <a:pos x="connsiteX14080" y="connsiteY14080"/>
              </a:cxn>
              <a:cxn ang="0">
                <a:pos x="connsiteX14081" y="connsiteY14081"/>
              </a:cxn>
              <a:cxn ang="0">
                <a:pos x="connsiteX14082" y="connsiteY14082"/>
              </a:cxn>
              <a:cxn ang="0">
                <a:pos x="connsiteX14083" y="connsiteY14083"/>
              </a:cxn>
              <a:cxn ang="0">
                <a:pos x="connsiteX14084" y="connsiteY14084"/>
              </a:cxn>
              <a:cxn ang="0">
                <a:pos x="connsiteX14085" y="connsiteY14085"/>
              </a:cxn>
              <a:cxn ang="0">
                <a:pos x="connsiteX14086" y="connsiteY14086"/>
              </a:cxn>
              <a:cxn ang="0">
                <a:pos x="connsiteX14087" y="connsiteY14087"/>
              </a:cxn>
              <a:cxn ang="0">
                <a:pos x="connsiteX14088" y="connsiteY14088"/>
              </a:cxn>
              <a:cxn ang="0">
                <a:pos x="connsiteX14089" y="connsiteY14089"/>
              </a:cxn>
              <a:cxn ang="0">
                <a:pos x="connsiteX14090" y="connsiteY14090"/>
              </a:cxn>
              <a:cxn ang="0">
                <a:pos x="connsiteX14091" y="connsiteY14091"/>
              </a:cxn>
              <a:cxn ang="0">
                <a:pos x="connsiteX14092" y="connsiteY14092"/>
              </a:cxn>
              <a:cxn ang="0">
                <a:pos x="connsiteX14093" y="connsiteY14093"/>
              </a:cxn>
              <a:cxn ang="0">
                <a:pos x="connsiteX14094" y="connsiteY14094"/>
              </a:cxn>
              <a:cxn ang="0">
                <a:pos x="connsiteX14095" y="connsiteY14095"/>
              </a:cxn>
              <a:cxn ang="0">
                <a:pos x="connsiteX14096" y="connsiteY14096"/>
              </a:cxn>
              <a:cxn ang="0">
                <a:pos x="connsiteX14097" y="connsiteY14097"/>
              </a:cxn>
              <a:cxn ang="0">
                <a:pos x="connsiteX14098" y="connsiteY14098"/>
              </a:cxn>
              <a:cxn ang="0">
                <a:pos x="connsiteX14099" y="connsiteY14099"/>
              </a:cxn>
              <a:cxn ang="0">
                <a:pos x="connsiteX14100" y="connsiteY14100"/>
              </a:cxn>
              <a:cxn ang="0">
                <a:pos x="connsiteX14101" y="connsiteY14101"/>
              </a:cxn>
              <a:cxn ang="0">
                <a:pos x="connsiteX14102" y="connsiteY14102"/>
              </a:cxn>
              <a:cxn ang="0">
                <a:pos x="connsiteX14103" y="connsiteY14103"/>
              </a:cxn>
              <a:cxn ang="0">
                <a:pos x="connsiteX14104" y="connsiteY14104"/>
              </a:cxn>
              <a:cxn ang="0">
                <a:pos x="connsiteX14105" y="connsiteY14105"/>
              </a:cxn>
              <a:cxn ang="0">
                <a:pos x="connsiteX14106" y="connsiteY14106"/>
              </a:cxn>
              <a:cxn ang="0">
                <a:pos x="connsiteX14107" y="connsiteY14107"/>
              </a:cxn>
              <a:cxn ang="0">
                <a:pos x="connsiteX14108" y="connsiteY14108"/>
              </a:cxn>
              <a:cxn ang="0">
                <a:pos x="connsiteX14109" y="connsiteY14109"/>
              </a:cxn>
              <a:cxn ang="0">
                <a:pos x="connsiteX14110" y="connsiteY14110"/>
              </a:cxn>
              <a:cxn ang="0">
                <a:pos x="connsiteX14111" y="connsiteY14111"/>
              </a:cxn>
              <a:cxn ang="0">
                <a:pos x="connsiteX14112" y="connsiteY14112"/>
              </a:cxn>
              <a:cxn ang="0">
                <a:pos x="connsiteX14113" y="connsiteY14113"/>
              </a:cxn>
              <a:cxn ang="0">
                <a:pos x="connsiteX14114" y="connsiteY14114"/>
              </a:cxn>
              <a:cxn ang="0">
                <a:pos x="connsiteX14115" y="connsiteY14115"/>
              </a:cxn>
              <a:cxn ang="0">
                <a:pos x="connsiteX14116" y="connsiteY14116"/>
              </a:cxn>
              <a:cxn ang="0">
                <a:pos x="connsiteX14117" y="connsiteY14117"/>
              </a:cxn>
              <a:cxn ang="0">
                <a:pos x="connsiteX14118" y="connsiteY14118"/>
              </a:cxn>
              <a:cxn ang="0">
                <a:pos x="connsiteX14119" y="connsiteY14119"/>
              </a:cxn>
              <a:cxn ang="0">
                <a:pos x="connsiteX14120" y="connsiteY14120"/>
              </a:cxn>
              <a:cxn ang="0">
                <a:pos x="connsiteX14121" y="connsiteY14121"/>
              </a:cxn>
              <a:cxn ang="0">
                <a:pos x="connsiteX14122" y="connsiteY14122"/>
              </a:cxn>
              <a:cxn ang="0">
                <a:pos x="connsiteX14123" y="connsiteY14123"/>
              </a:cxn>
              <a:cxn ang="0">
                <a:pos x="connsiteX14124" y="connsiteY14124"/>
              </a:cxn>
              <a:cxn ang="0">
                <a:pos x="connsiteX14125" y="connsiteY14125"/>
              </a:cxn>
              <a:cxn ang="0">
                <a:pos x="connsiteX14126" y="connsiteY14126"/>
              </a:cxn>
              <a:cxn ang="0">
                <a:pos x="connsiteX14127" y="connsiteY14127"/>
              </a:cxn>
              <a:cxn ang="0">
                <a:pos x="connsiteX14128" y="connsiteY14128"/>
              </a:cxn>
              <a:cxn ang="0">
                <a:pos x="connsiteX14129" y="connsiteY14129"/>
              </a:cxn>
              <a:cxn ang="0">
                <a:pos x="connsiteX14130" y="connsiteY14130"/>
              </a:cxn>
              <a:cxn ang="0">
                <a:pos x="connsiteX14131" y="connsiteY14131"/>
              </a:cxn>
              <a:cxn ang="0">
                <a:pos x="connsiteX14132" y="connsiteY14132"/>
              </a:cxn>
              <a:cxn ang="0">
                <a:pos x="connsiteX14133" y="connsiteY14133"/>
              </a:cxn>
              <a:cxn ang="0">
                <a:pos x="connsiteX14134" y="connsiteY14134"/>
              </a:cxn>
              <a:cxn ang="0">
                <a:pos x="connsiteX14135" y="connsiteY14135"/>
              </a:cxn>
              <a:cxn ang="0">
                <a:pos x="connsiteX14136" y="connsiteY14136"/>
              </a:cxn>
              <a:cxn ang="0">
                <a:pos x="connsiteX14137" y="connsiteY14137"/>
              </a:cxn>
              <a:cxn ang="0">
                <a:pos x="connsiteX14138" y="connsiteY14138"/>
              </a:cxn>
              <a:cxn ang="0">
                <a:pos x="connsiteX14139" y="connsiteY14139"/>
              </a:cxn>
              <a:cxn ang="0">
                <a:pos x="connsiteX14140" y="connsiteY14140"/>
              </a:cxn>
              <a:cxn ang="0">
                <a:pos x="connsiteX14141" y="connsiteY14141"/>
              </a:cxn>
              <a:cxn ang="0">
                <a:pos x="connsiteX14142" y="connsiteY14142"/>
              </a:cxn>
              <a:cxn ang="0">
                <a:pos x="connsiteX14143" y="connsiteY14143"/>
              </a:cxn>
              <a:cxn ang="0">
                <a:pos x="connsiteX14144" y="connsiteY14144"/>
              </a:cxn>
              <a:cxn ang="0">
                <a:pos x="connsiteX14145" y="connsiteY14145"/>
              </a:cxn>
              <a:cxn ang="0">
                <a:pos x="connsiteX14146" y="connsiteY14146"/>
              </a:cxn>
              <a:cxn ang="0">
                <a:pos x="connsiteX14147" y="connsiteY14147"/>
              </a:cxn>
              <a:cxn ang="0">
                <a:pos x="connsiteX14148" y="connsiteY14148"/>
              </a:cxn>
              <a:cxn ang="0">
                <a:pos x="connsiteX14149" y="connsiteY14149"/>
              </a:cxn>
              <a:cxn ang="0">
                <a:pos x="connsiteX14150" y="connsiteY14150"/>
              </a:cxn>
              <a:cxn ang="0">
                <a:pos x="connsiteX14151" y="connsiteY14151"/>
              </a:cxn>
              <a:cxn ang="0">
                <a:pos x="connsiteX14152" y="connsiteY14152"/>
              </a:cxn>
              <a:cxn ang="0">
                <a:pos x="connsiteX14153" y="connsiteY14153"/>
              </a:cxn>
              <a:cxn ang="0">
                <a:pos x="connsiteX14154" y="connsiteY14154"/>
              </a:cxn>
              <a:cxn ang="0">
                <a:pos x="connsiteX14155" y="connsiteY14155"/>
              </a:cxn>
              <a:cxn ang="0">
                <a:pos x="connsiteX14156" y="connsiteY14156"/>
              </a:cxn>
              <a:cxn ang="0">
                <a:pos x="connsiteX14157" y="connsiteY14157"/>
              </a:cxn>
              <a:cxn ang="0">
                <a:pos x="connsiteX14158" y="connsiteY14158"/>
              </a:cxn>
              <a:cxn ang="0">
                <a:pos x="connsiteX14159" y="connsiteY14159"/>
              </a:cxn>
              <a:cxn ang="0">
                <a:pos x="connsiteX14160" y="connsiteY14160"/>
              </a:cxn>
              <a:cxn ang="0">
                <a:pos x="connsiteX14161" y="connsiteY14161"/>
              </a:cxn>
              <a:cxn ang="0">
                <a:pos x="connsiteX14162" y="connsiteY14162"/>
              </a:cxn>
              <a:cxn ang="0">
                <a:pos x="connsiteX14163" y="connsiteY14163"/>
              </a:cxn>
              <a:cxn ang="0">
                <a:pos x="connsiteX14164" y="connsiteY14164"/>
              </a:cxn>
              <a:cxn ang="0">
                <a:pos x="connsiteX14165" y="connsiteY14165"/>
              </a:cxn>
              <a:cxn ang="0">
                <a:pos x="connsiteX14166" y="connsiteY14166"/>
              </a:cxn>
              <a:cxn ang="0">
                <a:pos x="connsiteX14167" y="connsiteY14167"/>
              </a:cxn>
              <a:cxn ang="0">
                <a:pos x="connsiteX14168" y="connsiteY14168"/>
              </a:cxn>
              <a:cxn ang="0">
                <a:pos x="connsiteX14169" y="connsiteY14169"/>
              </a:cxn>
              <a:cxn ang="0">
                <a:pos x="connsiteX14170" y="connsiteY14170"/>
              </a:cxn>
              <a:cxn ang="0">
                <a:pos x="connsiteX14171" y="connsiteY14171"/>
              </a:cxn>
              <a:cxn ang="0">
                <a:pos x="connsiteX14172" y="connsiteY14172"/>
              </a:cxn>
              <a:cxn ang="0">
                <a:pos x="connsiteX14173" y="connsiteY14173"/>
              </a:cxn>
              <a:cxn ang="0">
                <a:pos x="connsiteX14174" y="connsiteY14174"/>
              </a:cxn>
              <a:cxn ang="0">
                <a:pos x="connsiteX14175" y="connsiteY14175"/>
              </a:cxn>
              <a:cxn ang="0">
                <a:pos x="connsiteX14176" y="connsiteY14176"/>
              </a:cxn>
              <a:cxn ang="0">
                <a:pos x="connsiteX14177" y="connsiteY14177"/>
              </a:cxn>
              <a:cxn ang="0">
                <a:pos x="connsiteX14178" y="connsiteY14178"/>
              </a:cxn>
              <a:cxn ang="0">
                <a:pos x="connsiteX14179" y="connsiteY14179"/>
              </a:cxn>
              <a:cxn ang="0">
                <a:pos x="connsiteX14180" y="connsiteY14180"/>
              </a:cxn>
              <a:cxn ang="0">
                <a:pos x="connsiteX14181" y="connsiteY14181"/>
              </a:cxn>
              <a:cxn ang="0">
                <a:pos x="connsiteX14182" y="connsiteY14182"/>
              </a:cxn>
              <a:cxn ang="0">
                <a:pos x="connsiteX14183" y="connsiteY14183"/>
              </a:cxn>
              <a:cxn ang="0">
                <a:pos x="connsiteX14184" y="connsiteY14184"/>
              </a:cxn>
              <a:cxn ang="0">
                <a:pos x="connsiteX14185" y="connsiteY14185"/>
              </a:cxn>
              <a:cxn ang="0">
                <a:pos x="connsiteX14186" y="connsiteY14186"/>
              </a:cxn>
              <a:cxn ang="0">
                <a:pos x="connsiteX14187" y="connsiteY14187"/>
              </a:cxn>
              <a:cxn ang="0">
                <a:pos x="connsiteX14188" y="connsiteY14188"/>
              </a:cxn>
              <a:cxn ang="0">
                <a:pos x="connsiteX14189" y="connsiteY14189"/>
              </a:cxn>
              <a:cxn ang="0">
                <a:pos x="connsiteX14190" y="connsiteY14190"/>
              </a:cxn>
              <a:cxn ang="0">
                <a:pos x="connsiteX14191" y="connsiteY14191"/>
              </a:cxn>
              <a:cxn ang="0">
                <a:pos x="connsiteX14192" y="connsiteY14192"/>
              </a:cxn>
              <a:cxn ang="0">
                <a:pos x="connsiteX14193" y="connsiteY14193"/>
              </a:cxn>
              <a:cxn ang="0">
                <a:pos x="connsiteX14194" y="connsiteY14194"/>
              </a:cxn>
              <a:cxn ang="0">
                <a:pos x="connsiteX14195" y="connsiteY14195"/>
              </a:cxn>
              <a:cxn ang="0">
                <a:pos x="connsiteX14196" y="connsiteY14196"/>
              </a:cxn>
              <a:cxn ang="0">
                <a:pos x="connsiteX14197" y="connsiteY14197"/>
              </a:cxn>
              <a:cxn ang="0">
                <a:pos x="connsiteX14198" y="connsiteY14198"/>
              </a:cxn>
              <a:cxn ang="0">
                <a:pos x="connsiteX14199" y="connsiteY14199"/>
              </a:cxn>
              <a:cxn ang="0">
                <a:pos x="connsiteX14200" y="connsiteY14200"/>
              </a:cxn>
              <a:cxn ang="0">
                <a:pos x="connsiteX14201" y="connsiteY14201"/>
              </a:cxn>
              <a:cxn ang="0">
                <a:pos x="connsiteX14202" y="connsiteY14202"/>
              </a:cxn>
              <a:cxn ang="0">
                <a:pos x="connsiteX14203" y="connsiteY14203"/>
              </a:cxn>
              <a:cxn ang="0">
                <a:pos x="connsiteX14204" y="connsiteY14204"/>
              </a:cxn>
              <a:cxn ang="0">
                <a:pos x="connsiteX14205" y="connsiteY14205"/>
              </a:cxn>
              <a:cxn ang="0">
                <a:pos x="connsiteX14206" y="connsiteY14206"/>
              </a:cxn>
              <a:cxn ang="0">
                <a:pos x="connsiteX14207" y="connsiteY14207"/>
              </a:cxn>
              <a:cxn ang="0">
                <a:pos x="connsiteX14208" y="connsiteY14208"/>
              </a:cxn>
              <a:cxn ang="0">
                <a:pos x="connsiteX14209" y="connsiteY14209"/>
              </a:cxn>
              <a:cxn ang="0">
                <a:pos x="connsiteX14210" y="connsiteY14210"/>
              </a:cxn>
              <a:cxn ang="0">
                <a:pos x="connsiteX14211" y="connsiteY14211"/>
              </a:cxn>
              <a:cxn ang="0">
                <a:pos x="connsiteX14212" y="connsiteY14212"/>
              </a:cxn>
              <a:cxn ang="0">
                <a:pos x="connsiteX14213" y="connsiteY14213"/>
              </a:cxn>
              <a:cxn ang="0">
                <a:pos x="connsiteX14214" y="connsiteY14214"/>
              </a:cxn>
              <a:cxn ang="0">
                <a:pos x="connsiteX14215" y="connsiteY14215"/>
              </a:cxn>
              <a:cxn ang="0">
                <a:pos x="connsiteX14216" y="connsiteY14216"/>
              </a:cxn>
              <a:cxn ang="0">
                <a:pos x="connsiteX14217" y="connsiteY14217"/>
              </a:cxn>
              <a:cxn ang="0">
                <a:pos x="connsiteX14218" y="connsiteY14218"/>
              </a:cxn>
              <a:cxn ang="0">
                <a:pos x="connsiteX14219" y="connsiteY14219"/>
              </a:cxn>
              <a:cxn ang="0">
                <a:pos x="connsiteX14220" y="connsiteY14220"/>
              </a:cxn>
              <a:cxn ang="0">
                <a:pos x="connsiteX14221" y="connsiteY14221"/>
              </a:cxn>
              <a:cxn ang="0">
                <a:pos x="connsiteX14222" y="connsiteY14222"/>
              </a:cxn>
              <a:cxn ang="0">
                <a:pos x="connsiteX14223" y="connsiteY14223"/>
              </a:cxn>
              <a:cxn ang="0">
                <a:pos x="connsiteX14224" y="connsiteY14224"/>
              </a:cxn>
              <a:cxn ang="0">
                <a:pos x="connsiteX14225" y="connsiteY14225"/>
              </a:cxn>
              <a:cxn ang="0">
                <a:pos x="connsiteX14226" y="connsiteY14226"/>
              </a:cxn>
              <a:cxn ang="0">
                <a:pos x="connsiteX14227" y="connsiteY14227"/>
              </a:cxn>
              <a:cxn ang="0">
                <a:pos x="connsiteX14228" y="connsiteY14228"/>
              </a:cxn>
              <a:cxn ang="0">
                <a:pos x="connsiteX14229" y="connsiteY14229"/>
              </a:cxn>
              <a:cxn ang="0">
                <a:pos x="connsiteX14230" y="connsiteY14230"/>
              </a:cxn>
              <a:cxn ang="0">
                <a:pos x="connsiteX14231" y="connsiteY14231"/>
              </a:cxn>
              <a:cxn ang="0">
                <a:pos x="connsiteX14232" y="connsiteY14232"/>
              </a:cxn>
              <a:cxn ang="0">
                <a:pos x="connsiteX14233" y="connsiteY14233"/>
              </a:cxn>
              <a:cxn ang="0">
                <a:pos x="connsiteX14234" y="connsiteY14234"/>
              </a:cxn>
              <a:cxn ang="0">
                <a:pos x="connsiteX14235" y="connsiteY14235"/>
              </a:cxn>
              <a:cxn ang="0">
                <a:pos x="connsiteX14236" y="connsiteY14236"/>
              </a:cxn>
              <a:cxn ang="0">
                <a:pos x="connsiteX14237" y="connsiteY14237"/>
              </a:cxn>
              <a:cxn ang="0">
                <a:pos x="connsiteX14238" y="connsiteY14238"/>
              </a:cxn>
              <a:cxn ang="0">
                <a:pos x="connsiteX14239" y="connsiteY14239"/>
              </a:cxn>
              <a:cxn ang="0">
                <a:pos x="connsiteX14240" y="connsiteY14240"/>
              </a:cxn>
              <a:cxn ang="0">
                <a:pos x="connsiteX14241" y="connsiteY14241"/>
              </a:cxn>
              <a:cxn ang="0">
                <a:pos x="connsiteX14242" y="connsiteY14242"/>
              </a:cxn>
              <a:cxn ang="0">
                <a:pos x="connsiteX14243" y="connsiteY14243"/>
              </a:cxn>
              <a:cxn ang="0">
                <a:pos x="connsiteX14244" y="connsiteY14244"/>
              </a:cxn>
              <a:cxn ang="0">
                <a:pos x="connsiteX14245" y="connsiteY14245"/>
              </a:cxn>
              <a:cxn ang="0">
                <a:pos x="connsiteX14246" y="connsiteY14246"/>
              </a:cxn>
              <a:cxn ang="0">
                <a:pos x="connsiteX14247" y="connsiteY14247"/>
              </a:cxn>
              <a:cxn ang="0">
                <a:pos x="connsiteX14248" y="connsiteY14248"/>
              </a:cxn>
              <a:cxn ang="0">
                <a:pos x="connsiteX14249" y="connsiteY14249"/>
              </a:cxn>
              <a:cxn ang="0">
                <a:pos x="connsiteX14250" y="connsiteY14250"/>
              </a:cxn>
              <a:cxn ang="0">
                <a:pos x="connsiteX14251" y="connsiteY14251"/>
              </a:cxn>
              <a:cxn ang="0">
                <a:pos x="connsiteX14252" y="connsiteY14252"/>
              </a:cxn>
              <a:cxn ang="0">
                <a:pos x="connsiteX14253" y="connsiteY14253"/>
              </a:cxn>
              <a:cxn ang="0">
                <a:pos x="connsiteX14254" y="connsiteY14254"/>
              </a:cxn>
              <a:cxn ang="0">
                <a:pos x="connsiteX14255" y="connsiteY14255"/>
              </a:cxn>
              <a:cxn ang="0">
                <a:pos x="connsiteX14256" y="connsiteY14256"/>
              </a:cxn>
              <a:cxn ang="0">
                <a:pos x="connsiteX14257" y="connsiteY14257"/>
              </a:cxn>
              <a:cxn ang="0">
                <a:pos x="connsiteX14258" y="connsiteY14258"/>
              </a:cxn>
              <a:cxn ang="0">
                <a:pos x="connsiteX14259" y="connsiteY14259"/>
              </a:cxn>
              <a:cxn ang="0">
                <a:pos x="connsiteX14260" y="connsiteY14260"/>
              </a:cxn>
              <a:cxn ang="0">
                <a:pos x="connsiteX14261" y="connsiteY14261"/>
              </a:cxn>
              <a:cxn ang="0">
                <a:pos x="connsiteX14262" y="connsiteY14262"/>
              </a:cxn>
              <a:cxn ang="0">
                <a:pos x="connsiteX14263" y="connsiteY14263"/>
              </a:cxn>
              <a:cxn ang="0">
                <a:pos x="connsiteX14264" y="connsiteY14264"/>
              </a:cxn>
              <a:cxn ang="0">
                <a:pos x="connsiteX14265" y="connsiteY14265"/>
              </a:cxn>
              <a:cxn ang="0">
                <a:pos x="connsiteX14266" y="connsiteY14266"/>
              </a:cxn>
              <a:cxn ang="0">
                <a:pos x="connsiteX14267" y="connsiteY14267"/>
              </a:cxn>
              <a:cxn ang="0">
                <a:pos x="connsiteX14268" y="connsiteY14268"/>
              </a:cxn>
              <a:cxn ang="0">
                <a:pos x="connsiteX14269" y="connsiteY14269"/>
              </a:cxn>
              <a:cxn ang="0">
                <a:pos x="connsiteX14270" y="connsiteY14270"/>
              </a:cxn>
              <a:cxn ang="0">
                <a:pos x="connsiteX14271" y="connsiteY14271"/>
              </a:cxn>
              <a:cxn ang="0">
                <a:pos x="connsiteX14272" y="connsiteY14272"/>
              </a:cxn>
              <a:cxn ang="0">
                <a:pos x="connsiteX14273" y="connsiteY14273"/>
              </a:cxn>
              <a:cxn ang="0">
                <a:pos x="connsiteX14274" y="connsiteY14274"/>
              </a:cxn>
              <a:cxn ang="0">
                <a:pos x="connsiteX14275" y="connsiteY14275"/>
              </a:cxn>
              <a:cxn ang="0">
                <a:pos x="connsiteX14276" y="connsiteY14276"/>
              </a:cxn>
              <a:cxn ang="0">
                <a:pos x="connsiteX14277" y="connsiteY14277"/>
              </a:cxn>
              <a:cxn ang="0">
                <a:pos x="connsiteX14278" y="connsiteY14278"/>
              </a:cxn>
              <a:cxn ang="0">
                <a:pos x="connsiteX14279" y="connsiteY14279"/>
              </a:cxn>
              <a:cxn ang="0">
                <a:pos x="connsiteX14280" y="connsiteY14280"/>
              </a:cxn>
              <a:cxn ang="0">
                <a:pos x="connsiteX14281" y="connsiteY14281"/>
              </a:cxn>
              <a:cxn ang="0">
                <a:pos x="connsiteX14282" y="connsiteY14282"/>
              </a:cxn>
              <a:cxn ang="0">
                <a:pos x="connsiteX14283" y="connsiteY14283"/>
              </a:cxn>
              <a:cxn ang="0">
                <a:pos x="connsiteX14284" y="connsiteY14284"/>
              </a:cxn>
              <a:cxn ang="0">
                <a:pos x="connsiteX14285" y="connsiteY14285"/>
              </a:cxn>
              <a:cxn ang="0">
                <a:pos x="connsiteX14286" y="connsiteY14286"/>
              </a:cxn>
              <a:cxn ang="0">
                <a:pos x="connsiteX14287" y="connsiteY14287"/>
              </a:cxn>
              <a:cxn ang="0">
                <a:pos x="connsiteX14288" y="connsiteY14288"/>
              </a:cxn>
              <a:cxn ang="0">
                <a:pos x="connsiteX14289" y="connsiteY14289"/>
              </a:cxn>
              <a:cxn ang="0">
                <a:pos x="connsiteX14290" y="connsiteY14290"/>
              </a:cxn>
              <a:cxn ang="0">
                <a:pos x="connsiteX14291" y="connsiteY14291"/>
              </a:cxn>
              <a:cxn ang="0">
                <a:pos x="connsiteX14292" y="connsiteY14292"/>
              </a:cxn>
              <a:cxn ang="0">
                <a:pos x="connsiteX14293" y="connsiteY14293"/>
              </a:cxn>
              <a:cxn ang="0">
                <a:pos x="connsiteX14294" y="connsiteY14294"/>
              </a:cxn>
              <a:cxn ang="0">
                <a:pos x="connsiteX14295" y="connsiteY14295"/>
              </a:cxn>
              <a:cxn ang="0">
                <a:pos x="connsiteX14296" y="connsiteY14296"/>
              </a:cxn>
              <a:cxn ang="0">
                <a:pos x="connsiteX14297" y="connsiteY14297"/>
              </a:cxn>
              <a:cxn ang="0">
                <a:pos x="connsiteX14298" y="connsiteY14298"/>
              </a:cxn>
              <a:cxn ang="0">
                <a:pos x="connsiteX14299" y="connsiteY14299"/>
              </a:cxn>
              <a:cxn ang="0">
                <a:pos x="connsiteX14300" y="connsiteY14300"/>
              </a:cxn>
              <a:cxn ang="0">
                <a:pos x="connsiteX14301" y="connsiteY14301"/>
              </a:cxn>
              <a:cxn ang="0">
                <a:pos x="connsiteX14302" y="connsiteY14302"/>
              </a:cxn>
              <a:cxn ang="0">
                <a:pos x="connsiteX14303" y="connsiteY14303"/>
              </a:cxn>
              <a:cxn ang="0">
                <a:pos x="connsiteX14304" y="connsiteY14304"/>
              </a:cxn>
              <a:cxn ang="0">
                <a:pos x="connsiteX14305" y="connsiteY14305"/>
              </a:cxn>
              <a:cxn ang="0">
                <a:pos x="connsiteX14306" y="connsiteY14306"/>
              </a:cxn>
              <a:cxn ang="0">
                <a:pos x="connsiteX14307" y="connsiteY14307"/>
              </a:cxn>
              <a:cxn ang="0">
                <a:pos x="connsiteX14308" y="connsiteY14308"/>
              </a:cxn>
              <a:cxn ang="0">
                <a:pos x="connsiteX14309" y="connsiteY14309"/>
              </a:cxn>
              <a:cxn ang="0">
                <a:pos x="connsiteX14310" y="connsiteY14310"/>
              </a:cxn>
              <a:cxn ang="0">
                <a:pos x="connsiteX14311" y="connsiteY14311"/>
              </a:cxn>
              <a:cxn ang="0">
                <a:pos x="connsiteX14312" y="connsiteY14312"/>
              </a:cxn>
              <a:cxn ang="0">
                <a:pos x="connsiteX14313" y="connsiteY14313"/>
              </a:cxn>
              <a:cxn ang="0">
                <a:pos x="connsiteX14314" y="connsiteY14314"/>
              </a:cxn>
              <a:cxn ang="0">
                <a:pos x="connsiteX14315" y="connsiteY14315"/>
              </a:cxn>
              <a:cxn ang="0">
                <a:pos x="connsiteX14316" y="connsiteY14316"/>
              </a:cxn>
              <a:cxn ang="0">
                <a:pos x="connsiteX14317" y="connsiteY14317"/>
              </a:cxn>
              <a:cxn ang="0">
                <a:pos x="connsiteX14318" y="connsiteY14318"/>
              </a:cxn>
              <a:cxn ang="0">
                <a:pos x="connsiteX14319" y="connsiteY14319"/>
              </a:cxn>
              <a:cxn ang="0">
                <a:pos x="connsiteX14320" y="connsiteY14320"/>
              </a:cxn>
              <a:cxn ang="0">
                <a:pos x="connsiteX14321" y="connsiteY14321"/>
              </a:cxn>
              <a:cxn ang="0">
                <a:pos x="connsiteX14322" y="connsiteY14322"/>
              </a:cxn>
              <a:cxn ang="0">
                <a:pos x="connsiteX14323" y="connsiteY14323"/>
              </a:cxn>
              <a:cxn ang="0">
                <a:pos x="connsiteX14324" y="connsiteY14324"/>
              </a:cxn>
              <a:cxn ang="0">
                <a:pos x="connsiteX14325" y="connsiteY14325"/>
              </a:cxn>
              <a:cxn ang="0">
                <a:pos x="connsiteX14326" y="connsiteY14326"/>
              </a:cxn>
              <a:cxn ang="0">
                <a:pos x="connsiteX14327" y="connsiteY14327"/>
              </a:cxn>
              <a:cxn ang="0">
                <a:pos x="connsiteX14328" y="connsiteY14328"/>
              </a:cxn>
              <a:cxn ang="0">
                <a:pos x="connsiteX14329" y="connsiteY14329"/>
              </a:cxn>
              <a:cxn ang="0">
                <a:pos x="connsiteX14330" y="connsiteY14330"/>
              </a:cxn>
              <a:cxn ang="0">
                <a:pos x="connsiteX14331" y="connsiteY14331"/>
              </a:cxn>
              <a:cxn ang="0">
                <a:pos x="connsiteX14332" y="connsiteY14332"/>
              </a:cxn>
              <a:cxn ang="0">
                <a:pos x="connsiteX14333" y="connsiteY14333"/>
              </a:cxn>
              <a:cxn ang="0">
                <a:pos x="connsiteX14334" y="connsiteY14334"/>
              </a:cxn>
              <a:cxn ang="0">
                <a:pos x="connsiteX14335" y="connsiteY14335"/>
              </a:cxn>
              <a:cxn ang="0">
                <a:pos x="connsiteX14336" y="connsiteY14336"/>
              </a:cxn>
              <a:cxn ang="0">
                <a:pos x="connsiteX14337" y="connsiteY14337"/>
              </a:cxn>
              <a:cxn ang="0">
                <a:pos x="connsiteX14338" y="connsiteY14338"/>
              </a:cxn>
              <a:cxn ang="0">
                <a:pos x="connsiteX14339" y="connsiteY14339"/>
              </a:cxn>
              <a:cxn ang="0">
                <a:pos x="connsiteX14340" y="connsiteY14340"/>
              </a:cxn>
              <a:cxn ang="0">
                <a:pos x="connsiteX14341" y="connsiteY14341"/>
              </a:cxn>
              <a:cxn ang="0">
                <a:pos x="connsiteX14342" y="connsiteY14342"/>
              </a:cxn>
              <a:cxn ang="0">
                <a:pos x="connsiteX14343" y="connsiteY14343"/>
              </a:cxn>
              <a:cxn ang="0">
                <a:pos x="connsiteX14344" y="connsiteY14344"/>
              </a:cxn>
              <a:cxn ang="0">
                <a:pos x="connsiteX14345" y="connsiteY14345"/>
              </a:cxn>
              <a:cxn ang="0">
                <a:pos x="connsiteX14346" y="connsiteY14346"/>
              </a:cxn>
              <a:cxn ang="0">
                <a:pos x="connsiteX14347" y="connsiteY14347"/>
              </a:cxn>
              <a:cxn ang="0">
                <a:pos x="connsiteX14348" y="connsiteY14348"/>
              </a:cxn>
              <a:cxn ang="0">
                <a:pos x="connsiteX14349" y="connsiteY14349"/>
              </a:cxn>
              <a:cxn ang="0">
                <a:pos x="connsiteX14350" y="connsiteY14350"/>
              </a:cxn>
              <a:cxn ang="0">
                <a:pos x="connsiteX14351" y="connsiteY14351"/>
              </a:cxn>
              <a:cxn ang="0">
                <a:pos x="connsiteX14352" y="connsiteY14352"/>
              </a:cxn>
              <a:cxn ang="0">
                <a:pos x="connsiteX14353" y="connsiteY14353"/>
              </a:cxn>
              <a:cxn ang="0">
                <a:pos x="connsiteX14354" y="connsiteY14354"/>
              </a:cxn>
              <a:cxn ang="0">
                <a:pos x="connsiteX14355" y="connsiteY14355"/>
              </a:cxn>
              <a:cxn ang="0">
                <a:pos x="connsiteX14356" y="connsiteY14356"/>
              </a:cxn>
              <a:cxn ang="0">
                <a:pos x="connsiteX14357" y="connsiteY14357"/>
              </a:cxn>
              <a:cxn ang="0">
                <a:pos x="connsiteX14358" y="connsiteY14358"/>
              </a:cxn>
              <a:cxn ang="0">
                <a:pos x="connsiteX14359" y="connsiteY14359"/>
              </a:cxn>
              <a:cxn ang="0">
                <a:pos x="connsiteX14360" y="connsiteY14360"/>
              </a:cxn>
              <a:cxn ang="0">
                <a:pos x="connsiteX14361" y="connsiteY14361"/>
              </a:cxn>
              <a:cxn ang="0">
                <a:pos x="connsiteX14362" y="connsiteY14362"/>
              </a:cxn>
              <a:cxn ang="0">
                <a:pos x="connsiteX14363" y="connsiteY14363"/>
              </a:cxn>
              <a:cxn ang="0">
                <a:pos x="connsiteX14364" y="connsiteY14364"/>
              </a:cxn>
              <a:cxn ang="0">
                <a:pos x="connsiteX14365" y="connsiteY14365"/>
              </a:cxn>
              <a:cxn ang="0">
                <a:pos x="connsiteX14366" y="connsiteY14366"/>
              </a:cxn>
              <a:cxn ang="0">
                <a:pos x="connsiteX14367" y="connsiteY14367"/>
              </a:cxn>
              <a:cxn ang="0">
                <a:pos x="connsiteX14368" y="connsiteY14368"/>
              </a:cxn>
              <a:cxn ang="0">
                <a:pos x="connsiteX14369" y="connsiteY14369"/>
              </a:cxn>
              <a:cxn ang="0">
                <a:pos x="connsiteX14370" y="connsiteY14370"/>
              </a:cxn>
              <a:cxn ang="0">
                <a:pos x="connsiteX14371" y="connsiteY14371"/>
              </a:cxn>
              <a:cxn ang="0">
                <a:pos x="connsiteX14372" y="connsiteY14372"/>
              </a:cxn>
              <a:cxn ang="0">
                <a:pos x="connsiteX14373" y="connsiteY14373"/>
              </a:cxn>
              <a:cxn ang="0">
                <a:pos x="connsiteX14374" y="connsiteY14374"/>
              </a:cxn>
              <a:cxn ang="0">
                <a:pos x="connsiteX14375" y="connsiteY14375"/>
              </a:cxn>
              <a:cxn ang="0">
                <a:pos x="connsiteX14376" y="connsiteY14376"/>
              </a:cxn>
              <a:cxn ang="0">
                <a:pos x="connsiteX14377" y="connsiteY14377"/>
              </a:cxn>
              <a:cxn ang="0">
                <a:pos x="connsiteX14378" y="connsiteY14378"/>
              </a:cxn>
              <a:cxn ang="0">
                <a:pos x="connsiteX14379" y="connsiteY14379"/>
              </a:cxn>
              <a:cxn ang="0">
                <a:pos x="connsiteX14380" y="connsiteY14380"/>
              </a:cxn>
              <a:cxn ang="0">
                <a:pos x="connsiteX14381" y="connsiteY14381"/>
              </a:cxn>
              <a:cxn ang="0">
                <a:pos x="connsiteX14382" y="connsiteY14382"/>
              </a:cxn>
              <a:cxn ang="0">
                <a:pos x="connsiteX14383" y="connsiteY14383"/>
              </a:cxn>
              <a:cxn ang="0">
                <a:pos x="connsiteX14384" y="connsiteY14384"/>
              </a:cxn>
              <a:cxn ang="0">
                <a:pos x="connsiteX14385" y="connsiteY14385"/>
              </a:cxn>
              <a:cxn ang="0">
                <a:pos x="connsiteX14386" y="connsiteY14386"/>
              </a:cxn>
              <a:cxn ang="0">
                <a:pos x="connsiteX14387" y="connsiteY14387"/>
              </a:cxn>
              <a:cxn ang="0">
                <a:pos x="connsiteX14388" y="connsiteY14388"/>
              </a:cxn>
              <a:cxn ang="0">
                <a:pos x="connsiteX14389" y="connsiteY14389"/>
              </a:cxn>
              <a:cxn ang="0">
                <a:pos x="connsiteX14390" y="connsiteY14390"/>
              </a:cxn>
              <a:cxn ang="0">
                <a:pos x="connsiteX14391" y="connsiteY14391"/>
              </a:cxn>
              <a:cxn ang="0">
                <a:pos x="connsiteX14392" y="connsiteY14392"/>
              </a:cxn>
              <a:cxn ang="0">
                <a:pos x="connsiteX14393" y="connsiteY14393"/>
              </a:cxn>
              <a:cxn ang="0">
                <a:pos x="connsiteX14394" y="connsiteY14394"/>
              </a:cxn>
              <a:cxn ang="0">
                <a:pos x="connsiteX14395" y="connsiteY14395"/>
              </a:cxn>
              <a:cxn ang="0">
                <a:pos x="connsiteX14396" y="connsiteY14396"/>
              </a:cxn>
              <a:cxn ang="0">
                <a:pos x="connsiteX14397" y="connsiteY14397"/>
              </a:cxn>
              <a:cxn ang="0">
                <a:pos x="connsiteX14398" y="connsiteY14398"/>
              </a:cxn>
              <a:cxn ang="0">
                <a:pos x="connsiteX14399" y="connsiteY14399"/>
              </a:cxn>
              <a:cxn ang="0">
                <a:pos x="connsiteX14400" y="connsiteY14400"/>
              </a:cxn>
              <a:cxn ang="0">
                <a:pos x="connsiteX14401" y="connsiteY14401"/>
              </a:cxn>
              <a:cxn ang="0">
                <a:pos x="connsiteX14402" y="connsiteY14402"/>
              </a:cxn>
              <a:cxn ang="0">
                <a:pos x="connsiteX14403" y="connsiteY14403"/>
              </a:cxn>
              <a:cxn ang="0">
                <a:pos x="connsiteX14404" y="connsiteY14404"/>
              </a:cxn>
              <a:cxn ang="0">
                <a:pos x="connsiteX14405" y="connsiteY14405"/>
              </a:cxn>
              <a:cxn ang="0">
                <a:pos x="connsiteX14406" y="connsiteY14406"/>
              </a:cxn>
              <a:cxn ang="0">
                <a:pos x="connsiteX14407" y="connsiteY14407"/>
              </a:cxn>
              <a:cxn ang="0">
                <a:pos x="connsiteX14408" y="connsiteY14408"/>
              </a:cxn>
              <a:cxn ang="0">
                <a:pos x="connsiteX14409" y="connsiteY14409"/>
              </a:cxn>
              <a:cxn ang="0">
                <a:pos x="connsiteX14410" y="connsiteY14410"/>
              </a:cxn>
              <a:cxn ang="0">
                <a:pos x="connsiteX14411" y="connsiteY14411"/>
              </a:cxn>
              <a:cxn ang="0">
                <a:pos x="connsiteX14412" y="connsiteY14412"/>
              </a:cxn>
              <a:cxn ang="0">
                <a:pos x="connsiteX14413" y="connsiteY14413"/>
              </a:cxn>
              <a:cxn ang="0">
                <a:pos x="connsiteX14414" y="connsiteY14414"/>
              </a:cxn>
              <a:cxn ang="0">
                <a:pos x="connsiteX14415" y="connsiteY14415"/>
              </a:cxn>
              <a:cxn ang="0">
                <a:pos x="connsiteX14416" y="connsiteY14416"/>
              </a:cxn>
              <a:cxn ang="0">
                <a:pos x="connsiteX14417" y="connsiteY14417"/>
              </a:cxn>
              <a:cxn ang="0">
                <a:pos x="connsiteX14418" y="connsiteY14418"/>
              </a:cxn>
              <a:cxn ang="0">
                <a:pos x="connsiteX14419" y="connsiteY14419"/>
              </a:cxn>
              <a:cxn ang="0">
                <a:pos x="connsiteX14420" y="connsiteY14420"/>
              </a:cxn>
              <a:cxn ang="0">
                <a:pos x="connsiteX14421" y="connsiteY14421"/>
              </a:cxn>
              <a:cxn ang="0">
                <a:pos x="connsiteX14422" y="connsiteY14422"/>
              </a:cxn>
              <a:cxn ang="0">
                <a:pos x="connsiteX14423" y="connsiteY14423"/>
              </a:cxn>
              <a:cxn ang="0">
                <a:pos x="connsiteX14424" y="connsiteY14424"/>
              </a:cxn>
              <a:cxn ang="0">
                <a:pos x="connsiteX14425" y="connsiteY14425"/>
              </a:cxn>
              <a:cxn ang="0">
                <a:pos x="connsiteX14426" y="connsiteY14426"/>
              </a:cxn>
              <a:cxn ang="0">
                <a:pos x="connsiteX14427" y="connsiteY14427"/>
              </a:cxn>
              <a:cxn ang="0">
                <a:pos x="connsiteX14428" y="connsiteY14428"/>
              </a:cxn>
              <a:cxn ang="0">
                <a:pos x="connsiteX14429" y="connsiteY14429"/>
              </a:cxn>
              <a:cxn ang="0">
                <a:pos x="connsiteX14430" y="connsiteY14430"/>
              </a:cxn>
              <a:cxn ang="0">
                <a:pos x="connsiteX14431" y="connsiteY14431"/>
              </a:cxn>
              <a:cxn ang="0">
                <a:pos x="connsiteX14432" y="connsiteY14432"/>
              </a:cxn>
              <a:cxn ang="0">
                <a:pos x="connsiteX14433" y="connsiteY14433"/>
              </a:cxn>
              <a:cxn ang="0">
                <a:pos x="connsiteX14434" y="connsiteY14434"/>
              </a:cxn>
              <a:cxn ang="0">
                <a:pos x="connsiteX14435" y="connsiteY14435"/>
              </a:cxn>
              <a:cxn ang="0">
                <a:pos x="connsiteX14436" y="connsiteY14436"/>
              </a:cxn>
              <a:cxn ang="0">
                <a:pos x="connsiteX14437" y="connsiteY14437"/>
              </a:cxn>
              <a:cxn ang="0">
                <a:pos x="connsiteX14438" y="connsiteY14438"/>
              </a:cxn>
              <a:cxn ang="0">
                <a:pos x="connsiteX14439" y="connsiteY14439"/>
              </a:cxn>
              <a:cxn ang="0">
                <a:pos x="connsiteX14440" y="connsiteY14440"/>
              </a:cxn>
              <a:cxn ang="0">
                <a:pos x="connsiteX14441" y="connsiteY14441"/>
              </a:cxn>
              <a:cxn ang="0">
                <a:pos x="connsiteX14442" y="connsiteY14442"/>
              </a:cxn>
              <a:cxn ang="0">
                <a:pos x="connsiteX14443" y="connsiteY14443"/>
              </a:cxn>
              <a:cxn ang="0">
                <a:pos x="connsiteX14444" y="connsiteY14444"/>
              </a:cxn>
              <a:cxn ang="0">
                <a:pos x="connsiteX14445" y="connsiteY14445"/>
              </a:cxn>
              <a:cxn ang="0">
                <a:pos x="connsiteX14446" y="connsiteY14446"/>
              </a:cxn>
              <a:cxn ang="0">
                <a:pos x="connsiteX14447" y="connsiteY14447"/>
              </a:cxn>
              <a:cxn ang="0">
                <a:pos x="connsiteX14448" y="connsiteY14448"/>
              </a:cxn>
              <a:cxn ang="0">
                <a:pos x="connsiteX14449" y="connsiteY14449"/>
              </a:cxn>
              <a:cxn ang="0">
                <a:pos x="connsiteX14450" y="connsiteY14450"/>
              </a:cxn>
              <a:cxn ang="0">
                <a:pos x="connsiteX14451" y="connsiteY14451"/>
              </a:cxn>
              <a:cxn ang="0">
                <a:pos x="connsiteX14452" y="connsiteY14452"/>
              </a:cxn>
              <a:cxn ang="0">
                <a:pos x="connsiteX14453" y="connsiteY14453"/>
              </a:cxn>
              <a:cxn ang="0">
                <a:pos x="connsiteX14454" y="connsiteY14454"/>
              </a:cxn>
              <a:cxn ang="0">
                <a:pos x="connsiteX14455" y="connsiteY14455"/>
              </a:cxn>
              <a:cxn ang="0">
                <a:pos x="connsiteX14456" y="connsiteY14456"/>
              </a:cxn>
              <a:cxn ang="0">
                <a:pos x="connsiteX14457" y="connsiteY14457"/>
              </a:cxn>
              <a:cxn ang="0">
                <a:pos x="connsiteX14458" y="connsiteY14458"/>
              </a:cxn>
              <a:cxn ang="0">
                <a:pos x="connsiteX14459" y="connsiteY14459"/>
              </a:cxn>
              <a:cxn ang="0">
                <a:pos x="connsiteX14460" y="connsiteY14460"/>
              </a:cxn>
              <a:cxn ang="0">
                <a:pos x="connsiteX14461" y="connsiteY14461"/>
              </a:cxn>
              <a:cxn ang="0">
                <a:pos x="connsiteX14462" y="connsiteY14462"/>
              </a:cxn>
              <a:cxn ang="0">
                <a:pos x="connsiteX14463" y="connsiteY14463"/>
              </a:cxn>
              <a:cxn ang="0">
                <a:pos x="connsiteX14464" y="connsiteY14464"/>
              </a:cxn>
              <a:cxn ang="0">
                <a:pos x="connsiteX14465" y="connsiteY14465"/>
              </a:cxn>
              <a:cxn ang="0">
                <a:pos x="connsiteX14466" y="connsiteY14466"/>
              </a:cxn>
              <a:cxn ang="0">
                <a:pos x="connsiteX14467" y="connsiteY14467"/>
              </a:cxn>
              <a:cxn ang="0">
                <a:pos x="connsiteX14468" y="connsiteY14468"/>
              </a:cxn>
              <a:cxn ang="0">
                <a:pos x="connsiteX14469" y="connsiteY14469"/>
              </a:cxn>
              <a:cxn ang="0">
                <a:pos x="connsiteX14470" y="connsiteY14470"/>
              </a:cxn>
              <a:cxn ang="0">
                <a:pos x="connsiteX14471" y="connsiteY14471"/>
              </a:cxn>
              <a:cxn ang="0">
                <a:pos x="connsiteX14472" y="connsiteY14472"/>
              </a:cxn>
              <a:cxn ang="0">
                <a:pos x="connsiteX14473" y="connsiteY14473"/>
              </a:cxn>
              <a:cxn ang="0">
                <a:pos x="connsiteX14474" y="connsiteY14474"/>
              </a:cxn>
              <a:cxn ang="0">
                <a:pos x="connsiteX14475" y="connsiteY14475"/>
              </a:cxn>
              <a:cxn ang="0">
                <a:pos x="connsiteX14476" y="connsiteY14476"/>
              </a:cxn>
              <a:cxn ang="0">
                <a:pos x="connsiteX14477" y="connsiteY14477"/>
              </a:cxn>
              <a:cxn ang="0">
                <a:pos x="connsiteX14478" y="connsiteY14478"/>
              </a:cxn>
              <a:cxn ang="0">
                <a:pos x="connsiteX14479" y="connsiteY14479"/>
              </a:cxn>
              <a:cxn ang="0">
                <a:pos x="connsiteX14480" y="connsiteY14480"/>
              </a:cxn>
              <a:cxn ang="0">
                <a:pos x="connsiteX14481" y="connsiteY14481"/>
              </a:cxn>
              <a:cxn ang="0">
                <a:pos x="connsiteX14482" y="connsiteY14482"/>
              </a:cxn>
              <a:cxn ang="0">
                <a:pos x="connsiteX14483" y="connsiteY14483"/>
              </a:cxn>
              <a:cxn ang="0">
                <a:pos x="connsiteX14484" y="connsiteY14484"/>
              </a:cxn>
              <a:cxn ang="0">
                <a:pos x="connsiteX14485" y="connsiteY14485"/>
              </a:cxn>
              <a:cxn ang="0">
                <a:pos x="connsiteX14486" y="connsiteY14486"/>
              </a:cxn>
              <a:cxn ang="0">
                <a:pos x="connsiteX14487" y="connsiteY14487"/>
              </a:cxn>
              <a:cxn ang="0">
                <a:pos x="connsiteX14488" y="connsiteY14488"/>
              </a:cxn>
              <a:cxn ang="0">
                <a:pos x="connsiteX14489" y="connsiteY14489"/>
              </a:cxn>
              <a:cxn ang="0">
                <a:pos x="connsiteX14490" y="connsiteY14490"/>
              </a:cxn>
              <a:cxn ang="0">
                <a:pos x="connsiteX14491" y="connsiteY14491"/>
              </a:cxn>
              <a:cxn ang="0">
                <a:pos x="connsiteX14492" y="connsiteY14492"/>
              </a:cxn>
              <a:cxn ang="0">
                <a:pos x="connsiteX14493" y="connsiteY14493"/>
              </a:cxn>
              <a:cxn ang="0">
                <a:pos x="connsiteX14494" y="connsiteY14494"/>
              </a:cxn>
              <a:cxn ang="0">
                <a:pos x="connsiteX14495" y="connsiteY14495"/>
              </a:cxn>
              <a:cxn ang="0">
                <a:pos x="connsiteX14496" y="connsiteY14496"/>
              </a:cxn>
              <a:cxn ang="0">
                <a:pos x="connsiteX14497" y="connsiteY14497"/>
              </a:cxn>
              <a:cxn ang="0">
                <a:pos x="connsiteX14498" y="connsiteY14498"/>
              </a:cxn>
              <a:cxn ang="0">
                <a:pos x="connsiteX14499" y="connsiteY14499"/>
              </a:cxn>
              <a:cxn ang="0">
                <a:pos x="connsiteX14500" y="connsiteY14500"/>
              </a:cxn>
              <a:cxn ang="0">
                <a:pos x="connsiteX14501" y="connsiteY14501"/>
              </a:cxn>
              <a:cxn ang="0">
                <a:pos x="connsiteX14502" y="connsiteY14502"/>
              </a:cxn>
              <a:cxn ang="0">
                <a:pos x="connsiteX14503" y="connsiteY14503"/>
              </a:cxn>
              <a:cxn ang="0">
                <a:pos x="connsiteX14504" y="connsiteY14504"/>
              </a:cxn>
              <a:cxn ang="0">
                <a:pos x="connsiteX14505" y="connsiteY14505"/>
              </a:cxn>
              <a:cxn ang="0">
                <a:pos x="connsiteX14506" y="connsiteY14506"/>
              </a:cxn>
              <a:cxn ang="0">
                <a:pos x="connsiteX14507" y="connsiteY14507"/>
              </a:cxn>
              <a:cxn ang="0">
                <a:pos x="connsiteX14508" y="connsiteY14508"/>
              </a:cxn>
              <a:cxn ang="0">
                <a:pos x="connsiteX14509" y="connsiteY14509"/>
              </a:cxn>
              <a:cxn ang="0">
                <a:pos x="connsiteX14510" y="connsiteY14510"/>
              </a:cxn>
              <a:cxn ang="0">
                <a:pos x="connsiteX14511" y="connsiteY14511"/>
              </a:cxn>
              <a:cxn ang="0">
                <a:pos x="connsiteX14512" y="connsiteY14512"/>
              </a:cxn>
              <a:cxn ang="0">
                <a:pos x="connsiteX14513" y="connsiteY14513"/>
              </a:cxn>
              <a:cxn ang="0">
                <a:pos x="connsiteX14514" y="connsiteY14514"/>
              </a:cxn>
              <a:cxn ang="0">
                <a:pos x="connsiteX14515" y="connsiteY14515"/>
              </a:cxn>
              <a:cxn ang="0">
                <a:pos x="connsiteX14516" y="connsiteY14516"/>
              </a:cxn>
              <a:cxn ang="0">
                <a:pos x="connsiteX14517" y="connsiteY14517"/>
              </a:cxn>
              <a:cxn ang="0">
                <a:pos x="connsiteX14518" y="connsiteY14518"/>
              </a:cxn>
              <a:cxn ang="0">
                <a:pos x="connsiteX14519" y="connsiteY14519"/>
              </a:cxn>
              <a:cxn ang="0">
                <a:pos x="connsiteX14520" y="connsiteY14520"/>
              </a:cxn>
              <a:cxn ang="0">
                <a:pos x="connsiteX14521" y="connsiteY14521"/>
              </a:cxn>
              <a:cxn ang="0">
                <a:pos x="connsiteX14522" y="connsiteY14522"/>
              </a:cxn>
              <a:cxn ang="0">
                <a:pos x="connsiteX14523" y="connsiteY14523"/>
              </a:cxn>
              <a:cxn ang="0">
                <a:pos x="connsiteX14524" y="connsiteY14524"/>
              </a:cxn>
              <a:cxn ang="0">
                <a:pos x="connsiteX14525" y="connsiteY14525"/>
              </a:cxn>
              <a:cxn ang="0">
                <a:pos x="connsiteX14526" y="connsiteY14526"/>
              </a:cxn>
              <a:cxn ang="0">
                <a:pos x="connsiteX14527" y="connsiteY14527"/>
              </a:cxn>
              <a:cxn ang="0">
                <a:pos x="connsiteX14528" y="connsiteY14528"/>
              </a:cxn>
              <a:cxn ang="0">
                <a:pos x="connsiteX14529" y="connsiteY14529"/>
              </a:cxn>
              <a:cxn ang="0">
                <a:pos x="connsiteX14530" y="connsiteY14530"/>
              </a:cxn>
              <a:cxn ang="0">
                <a:pos x="connsiteX14531" y="connsiteY14531"/>
              </a:cxn>
              <a:cxn ang="0">
                <a:pos x="connsiteX14532" y="connsiteY14532"/>
              </a:cxn>
              <a:cxn ang="0">
                <a:pos x="connsiteX14533" y="connsiteY14533"/>
              </a:cxn>
              <a:cxn ang="0">
                <a:pos x="connsiteX14534" y="connsiteY14534"/>
              </a:cxn>
              <a:cxn ang="0">
                <a:pos x="connsiteX14535" y="connsiteY14535"/>
              </a:cxn>
              <a:cxn ang="0">
                <a:pos x="connsiteX14536" y="connsiteY14536"/>
              </a:cxn>
              <a:cxn ang="0">
                <a:pos x="connsiteX14537" y="connsiteY14537"/>
              </a:cxn>
              <a:cxn ang="0">
                <a:pos x="connsiteX14538" y="connsiteY14538"/>
              </a:cxn>
              <a:cxn ang="0">
                <a:pos x="connsiteX14539" y="connsiteY14539"/>
              </a:cxn>
              <a:cxn ang="0">
                <a:pos x="connsiteX14540" y="connsiteY14540"/>
              </a:cxn>
              <a:cxn ang="0">
                <a:pos x="connsiteX14541" y="connsiteY14541"/>
              </a:cxn>
              <a:cxn ang="0">
                <a:pos x="connsiteX14542" y="connsiteY14542"/>
              </a:cxn>
              <a:cxn ang="0">
                <a:pos x="connsiteX14543" y="connsiteY14543"/>
              </a:cxn>
              <a:cxn ang="0">
                <a:pos x="connsiteX14544" y="connsiteY14544"/>
              </a:cxn>
              <a:cxn ang="0">
                <a:pos x="connsiteX14545" y="connsiteY14545"/>
              </a:cxn>
              <a:cxn ang="0">
                <a:pos x="connsiteX14546" y="connsiteY14546"/>
              </a:cxn>
              <a:cxn ang="0">
                <a:pos x="connsiteX14547" y="connsiteY14547"/>
              </a:cxn>
              <a:cxn ang="0">
                <a:pos x="connsiteX14548" y="connsiteY14548"/>
              </a:cxn>
              <a:cxn ang="0">
                <a:pos x="connsiteX14549" y="connsiteY14549"/>
              </a:cxn>
              <a:cxn ang="0">
                <a:pos x="connsiteX14550" y="connsiteY14550"/>
              </a:cxn>
              <a:cxn ang="0">
                <a:pos x="connsiteX14551" y="connsiteY14551"/>
              </a:cxn>
              <a:cxn ang="0">
                <a:pos x="connsiteX14552" y="connsiteY14552"/>
              </a:cxn>
              <a:cxn ang="0">
                <a:pos x="connsiteX14553" y="connsiteY14553"/>
              </a:cxn>
              <a:cxn ang="0">
                <a:pos x="connsiteX14554" y="connsiteY14554"/>
              </a:cxn>
              <a:cxn ang="0">
                <a:pos x="connsiteX14555" y="connsiteY14555"/>
              </a:cxn>
              <a:cxn ang="0">
                <a:pos x="connsiteX14556" y="connsiteY14556"/>
              </a:cxn>
              <a:cxn ang="0">
                <a:pos x="connsiteX14557" y="connsiteY14557"/>
              </a:cxn>
              <a:cxn ang="0">
                <a:pos x="connsiteX14558" y="connsiteY14558"/>
              </a:cxn>
              <a:cxn ang="0">
                <a:pos x="connsiteX14559" y="connsiteY14559"/>
              </a:cxn>
              <a:cxn ang="0">
                <a:pos x="connsiteX14560" y="connsiteY14560"/>
              </a:cxn>
              <a:cxn ang="0">
                <a:pos x="connsiteX14561" y="connsiteY14561"/>
              </a:cxn>
              <a:cxn ang="0">
                <a:pos x="connsiteX14562" y="connsiteY14562"/>
              </a:cxn>
              <a:cxn ang="0">
                <a:pos x="connsiteX14563" y="connsiteY14563"/>
              </a:cxn>
              <a:cxn ang="0">
                <a:pos x="connsiteX14564" y="connsiteY14564"/>
              </a:cxn>
              <a:cxn ang="0">
                <a:pos x="connsiteX14565" y="connsiteY14565"/>
              </a:cxn>
              <a:cxn ang="0">
                <a:pos x="connsiteX14566" y="connsiteY14566"/>
              </a:cxn>
              <a:cxn ang="0">
                <a:pos x="connsiteX14567" y="connsiteY14567"/>
              </a:cxn>
              <a:cxn ang="0">
                <a:pos x="connsiteX14568" y="connsiteY14568"/>
              </a:cxn>
              <a:cxn ang="0">
                <a:pos x="connsiteX14569" y="connsiteY14569"/>
              </a:cxn>
              <a:cxn ang="0">
                <a:pos x="connsiteX14570" y="connsiteY14570"/>
              </a:cxn>
              <a:cxn ang="0">
                <a:pos x="connsiteX14571" y="connsiteY14571"/>
              </a:cxn>
              <a:cxn ang="0">
                <a:pos x="connsiteX14572" y="connsiteY14572"/>
              </a:cxn>
              <a:cxn ang="0">
                <a:pos x="connsiteX14573" y="connsiteY14573"/>
              </a:cxn>
              <a:cxn ang="0">
                <a:pos x="connsiteX14574" y="connsiteY14574"/>
              </a:cxn>
              <a:cxn ang="0">
                <a:pos x="connsiteX14575" y="connsiteY14575"/>
              </a:cxn>
              <a:cxn ang="0">
                <a:pos x="connsiteX14576" y="connsiteY14576"/>
              </a:cxn>
              <a:cxn ang="0">
                <a:pos x="connsiteX14577" y="connsiteY14577"/>
              </a:cxn>
              <a:cxn ang="0">
                <a:pos x="connsiteX14578" y="connsiteY14578"/>
              </a:cxn>
              <a:cxn ang="0">
                <a:pos x="connsiteX14579" y="connsiteY14579"/>
              </a:cxn>
              <a:cxn ang="0">
                <a:pos x="connsiteX14580" y="connsiteY14580"/>
              </a:cxn>
              <a:cxn ang="0">
                <a:pos x="connsiteX14581" y="connsiteY14581"/>
              </a:cxn>
              <a:cxn ang="0">
                <a:pos x="connsiteX14582" y="connsiteY14582"/>
              </a:cxn>
              <a:cxn ang="0">
                <a:pos x="connsiteX14583" y="connsiteY14583"/>
              </a:cxn>
              <a:cxn ang="0">
                <a:pos x="connsiteX14584" y="connsiteY14584"/>
              </a:cxn>
              <a:cxn ang="0">
                <a:pos x="connsiteX14585" y="connsiteY14585"/>
              </a:cxn>
              <a:cxn ang="0">
                <a:pos x="connsiteX14586" y="connsiteY14586"/>
              </a:cxn>
              <a:cxn ang="0">
                <a:pos x="connsiteX14587" y="connsiteY14587"/>
              </a:cxn>
              <a:cxn ang="0">
                <a:pos x="connsiteX14588" y="connsiteY14588"/>
              </a:cxn>
              <a:cxn ang="0">
                <a:pos x="connsiteX14589" y="connsiteY14589"/>
              </a:cxn>
              <a:cxn ang="0">
                <a:pos x="connsiteX14590" y="connsiteY14590"/>
              </a:cxn>
              <a:cxn ang="0">
                <a:pos x="connsiteX14591" y="connsiteY14591"/>
              </a:cxn>
              <a:cxn ang="0">
                <a:pos x="connsiteX14592" y="connsiteY14592"/>
              </a:cxn>
              <a:cxn ang="0">
                <a:pos x="connsiteX14593" y="connsiteY14593"/>
              </a:cxn>
              <a:cxn ang="0">
                <a:pos x="connsiteX14594" y="connsiteY14594"/>
              </a:cxn>
              <a:cxn ang="0">
                <a:pos x="connsiteX14595" y="connsiteY14595"/>
              </a:cxn>
              <a:cxn ang="0">
                <a:pos x="connsiteX14596" y="connsiteY14596"/>
              </a:cxn>
              <a:cxn ang="0">
                <a:pos x="connsiteX14597" y="connsiteY14597"/>
              </a:cxn>
              <a:cxn ang="0">
                <a:pos x="connsiteX14598" y="connsiteY14598"/>
              </a:cxn>
              <a:cxn ang="0">
                <a:pos x="connsiteX14599" y="connsiteY14599"/>
              </a:cxn>
              <a:cxn ang="0">
                <a:pos x="connsiteX14600" y="connsiteY14600"/>
              </a:cxn>
              <a:cxn ang="0">
                <a:pos x="connsiteX14601" y="connsiteY14601"/>
              </a:cxn>
              <a:cxn ang="0">
                <a:pos x="connsiteX14602" y="connsiteY14602"/>
              </a:cxn>
              <a:cxn ang="0">
                <a:pos x="connsiteX14603" y="connsiteY14603"/>
              </a:cxn>
              <a:cxn ang="0">
                <a:pos x="connsiteX14604" y="connsiteY14604"/>
              </a:cxn>
              <a:cxn ang="0">
                <a:pos x="connsiteX14605" y="connsiteY14605"/>
              </a:cxn>
              <a:cxn ang="0">
                <a:pos x="connsiteX14606" y="connsiteY14606"/>
              </a:cxn>
              <a:cxn ang="0">
                <a:pos x="connsiteX14607" y="connsiteY14607"/>
              </a:cxn>
              <a:cxn ang="0">
                <a:pos x="connsiteX14608" y="connsiteY14608"/>
              </a:cxn>
              <a:cxn ang="0">
                <a:pos x="connsiteX14609" y="connsiteY14609"/>
              </a:cxn>
              <a:cxn ang="0">
                <a:pos x="connsiteX14610" y="connsiteY14610"/>
              </a:cxn>
              <a:cxn ang="0">
                <a:pos x="connsiteX14611" y="connsiteY14611"/>
              </a:cxn>
              <a:cxn ang="0">
                <a:pos x="connsiteX14612" y="connsiteY14612"/>
              </a:cxn>
              <a:cxn ang="0">
                <a:pos x="connsiteX14613" y="connsiteY14613"/>
              </a:cxn>
              <a:cxn ang="0">
                <a:pos x="connsiteX14614" y="connsiteY14614"/>
              </a:cxn>
              <a:cxn ang="0">
                <a:pos x="connsiteX14615" y="connsiteY14615"/>
              </a:cxn>
              <a:cxn ang="0">
                <a:pos x="connsiteX14616" y="connsiteY14616"/>
              </a:cxn>
              <a:cxn ang="0">
                <a:pos x="connsiteX14617" y="connsiteY14617"/>
              </a:cxn>
              <a:cxn ang="0">
                <a:pos x="connsiteX14618" y="connsiteY14618"/>
              </a:cxn>
              <a:cxn ang="0">
                <a:pos x="connsiteX14619" y="connsiteY14619"/>
              </a:cxn>
              <a:cxn ang="0">
                <a:pos x="connsiteX14620" y="connsiteY14620"/>
              </a:cxn>
              <a:cxn ang="0">
                <a:pos x="connsiteX14621" y="connsiteY14621"/>
              </a:cxn>
              <a:cxn ang="0">
                <a:pos x="connsiteX14622" y="connsiteY14622"/>
              </a:cxn>
              <a:cxn ang="0">
                <a:pos x="connsiteX14623" y="connsiteY14623"/>
              </a:cxn>
              <a:cxn ang="0">
                <a:pos x="connsiteX14624" y="connsiteY14624"/>
              </a:cxn>
              <a:cxn ang="0">
                <a:pos x="connsiteX14625" y="connsiteY14625"/>
              </a:cxn>
              <a:cxn ang="0">
                <a:pos x="connsiteX14626" y="connsiteY14626"/>
              </a:cxn>
              <a:cxn ang="0">
                <a:pos x="connsiteX14627" y="connsiteY14627"/>
              </a:cxn>
              <a:cxn ang="0">
                <a:pos x="connsiteX14628" y="connsiteY14628"/>
              </a:cxn>
              <a:cxn ang="0">
                <a:pos x="connsiteX14629" y="connsiteY14629"/>
              </a:cxn>
              <a:cxn ang="0">
                <a:pos x="connsiteX14630" y="connsiteY14630"/>
              </a:cxn>
              <a:cxn ang="0">
                <a:pos x="connsiteX14631" y="connsiteY14631"/>
              </a:cxn>
              <a:cxn ang="0">
                <a:pos x="connsiteX14632" y="connsiteY14632"/>
              </a:cxn>
              <a:cxn ang="0">
                <a:pos x="connsiteX14633" y="connsiteY14633"/>
              </a:cxn>
              <a:cxn ang="0">
                <a:pos x="connsiteX14634" y="connsiteY14634"/>
              </a:cxn>
              <a:cxn ang="0">
                <a:pos x="connsiteX14635" y="connsiteY14635"/>
              </a:cxn>
              <a:cxn ang="0">
                <a:pos x="connsiteX14636" y="connsiteY14636"/>
              </a:cxn>
              <a:cxn ang="0">
                <a:pos x="connsiteX14637" y="connsiteY14637"/>
              </a:cxn>
              <a:cxn ang="0">
                <a:pos x="connsiteX14638" y="connsiteY14638"/>
              </a:cxn>
              <a:cxn ang="0">
                <a:pos x="connsiteX14639" y="connsiteY14639"/>
              </a:cxn>
              <a:cxn ang="0">
                <a:pos x="connsiteX14640" y="connsiteY14640"/>
              </a:cxn>
              <a:cxn ang="0">
                <a:pos x="connsiteX14641" y="connsiteY14641"/>
              </a:cxn>
              <a:cxn ang="0">
                <a:pos x="connsiteX14642" y="connsiteY14642"/>
              </a:cxn>
              <a:cxn ang="0">
                <a:pos x="connsiteX14643" y="connsiteY14643"/>
              </a:cxn>
              <a:cxn ang="0">
                <a:pos x="connsiteX14644" y="connsiteY14644"/>
              </a:cxn>
              <a:cxn ang="0">
                <a:pos x="connsiteX14645" y="connsiteY14645"/>
              </a:cxn>
              <a:cxn ang="0">
                <a:pos x="connsiteX14646" y="connsiteY14646"/>
              </a:cxn>
              <a:cxn ang="0">
                <a:pos x="connsiteX14647" y="connsiteY14647"/>
              </a:cxn>
              <a:cxn ang="0">
                <a:pos x="connsiteX14648" y="connsiteY14648"/>
              </a:cxn>
              <a:cxn ang="0">
                <a:pos x="connsiteX14649" y="connsiteY14649"/>
              </a:cxn>
              <a:cxn ang="0">
                <a:pos x="connsiteX14650" y="connsiteY14650"/>
              </a:cxn>
              <a:cxn ang="0">
                <a:pos x="connsiteX14651" y="connsiteY14651"/>
              </a:cxn>
              <a:cxn ang="0">
                <a:pos x="connsiteX14652" y="connsiteY14652"/>
              </a:cxn>
              <a:cxn ang="0">
                <a:pos x="connsiteX14653" y="connsiteY14653"/>
              </a:cxn>
              <a:cxn ang="0">
                <a:pos x="connsiteX14654" y="connsiteY14654"/>
              </a:cxn>
              <a:cxn ang="0">
                <a:pos x="connsiteX14655" y="connsiteY14655"/>
              </a:cxn>
              <a:cxn ang="0">
                <a:pos x="connsiteX14656" y="connsiteY14656"/>
              </a:cxn>
              <a:cxn ang="0">
                <a:pos x="connsiteX14657" y="connsiteY14657"/>
              </a:cxn>
              <a:cxn ang="0">
                <a:pos x="connsiteX14658" y="connsiteY14658"/>
              </a:cxn>
              <a:cxn ang="0">
                <a:pos x="connsiteX14659" y="connsiteY14659"/>
              </a:cxn>
              <a:cxn ang="0">
                <a:pos x="connsiteX14660" y="connsiteY14660"/>
              </a:cxn>
              <a:cxn ang="0">
                <a:pos x="connsiteX14661" y="connsiteY14661"/>
              </a:cxn>
              <a:cxn ang="0">
                <a:pos x="connsiteX14662" y="connsiteY14662"/>
              </a:cxn>
              <a:cxn ang="0">
                <a:pos x="connsiteX14663" y="connsiteY14663"/>
              </a:cxn>
              <a:cxn ang="0">
                <a:pos x="connsiteX14664" y="connsiteY14664"/>
              </a:cxn>
              <a:cxn ang="0">
                <a:pos x="connsiteX14665" y="connsiteY14665"/>
              </a:cxn>
              <a:cxn ang="0">
                <a:pos x="connsiteX14666" y="connsiteY14666"/>
              </a:cxn>
              <a:cxn ang="0">
                <a:pos x="connsiteX14667" y="connsiteY14667"/>
              </a:cxn>
              <a:cxn ang="0">
                <a:pos x="connsiteX14668" y="connsiteY14668"/>
              </a:cxn>
              <a:cxn ang="0">
                <a:pos x="connsiteX14669" y="connsiteY14669"/>
              </a:cxn>
              <a:cxn ang="0">
                <a:pos x="connsiteX14670" y="connsiteY14670"/>
              </a:cxn>
              <a:cxn ang="0">
                <a:pos x="connsiteX14671" y="connsiteY14671"/>
              </a:cxn>
              <a:cxn ang="0">
                <a:pos x="connsiteX14672" y="connsiteY14672"/>
              </a:cxn>
              <a:cxn ang="0">
                <a:pos x="connsiteX14673" y="connsiteY14673"/>
              </a:cxn>
              <a:cxn ang="0">
                <a:pos x="connsiteX14674" y="connsiteY14674"/>
              </a:cxn>
              <a:cxn ang="0">
                <a:pos x="connsiteX14675" y="connsiteY14675"/>
              </a:cxn>
              <a:cxn ang="0">
                <a:pos x="connsiteX14676" y="connsiteY14676"/>
              </a:cxn>
              <a:cxn ang="0">
                <a:pos x="connsiteX14677" y="connsiteY14677"/>
              </a:cxn>
              <a:cxn ang="0">
                <a:pos x="connsiteX14678" y="connsiteY14678"/>
              </a:cxn>
              <a:cxn ang="0">
                <a:pos x="connsiteX14679" y="connsiteY14679"/>
              </a:cxn>
              <a:cxn ang="0">
                <a:pos x="connsiteX14680" y="connsiteY14680"/>
              </a:cxn>
              <a:cxn ang="0">
                <a:pos x="connsiteX14681" y="connsiteY14681"/>
              </a:cxn>
              <a:cxn ang="0">
                <a:pos x="connsiteX14682" y="connsiteY14682"/>
              </a:cxn>
              <a:cxn ang="0">
                <a:pos x="connsiteX14683" y="connsiteY14683"/>
              </a:cxn>
              <a:cxn ang="0">
                <a:pos x="connsiteX14684" y="connsiteY14684"/>
              </a:cxn>
              <a:cxn ang="0">
                <a:pos x="connsiteX14685" y="connsiteY14685"/>
              </a:cxn>
              <a:cxn ang="0">
                <a:pos x="connsiteX14686" y="connsiteY14686"/>
              </a:cxn>
              <a:cxn ang="0">
                <a:pos x="connsiteX14687" y="connsiteY14687"/>
              </a:cxn>
              <a:cxn ang="0">
                <a:pos x="connsiteX14688" y="connsiteY14688"/>
              </a:cxn>
              <a:cxn ang="0">
                <a:pos x="connsiteX14689" y="connsiteY14689"/>
              </a:cxn>
              <a:cxn ang="0">
                <a:pos x="connsiteX14690" y="connsiteY14690"/>
              </a:cxn>
              <a:cxn ang="0">
                <a:pos x="connsiteX14691" y="connsiteY14691"/>
              </a:cxn>
              <a:cxn ang="0">
                <a:pos x="connsiteX14692" y="connsiteY14692"/>
              </a:cxn>
              <a:cxn ang="0">
                <a:pos x="connsiteX14693" y="connsiteY14693"/>
              </a:cxn>
              <a:cxn ang="0">
                <a:pos x="connsiteX14694" y="connsiteY14694"/>
              </a:cxn>
              <a:cxn ang="0">
                <a:pos x="connsiteX14695" y="connsiteY14695"/>
              </a:cxn>
              <a:cxn ang="0">
                <a:pos x="connsiteX14696" y="connsiteY14696"/>
              </a:cxn>
              <a:cxn ang="0">
                <a:pos x="connsiteX14697" y="connsiteY14697"/>
              </a:cxn>
              <a:cxn ang="0">
                <a:pos x="connsiteX14698" y="connsiteY14698"/>
              </a:cxn>
              <a:cxn ang="0">
                <a:pos x="connsiteX14699" y="connsiteY14699"/>
              </a:cxn>
              <a:cxn ang="0">
                <a:pos x="connsiteX14700" y="connsiteY14700"/>
              </a:cxn>
              <a:cxn ang="0">
                <a:pos x="connsiteX14701" y="connsiteY14701"/>
              </a:cxn>
              <a:cxn ang="0">
                <a:pos x="connsiteX14702" y="connsiteY14702"/>
              </a:cxn>
              <a:cxn ang="0">
                <a:pos x="connsiteX14703" y="connsiteY14703"/>
              </a:cxn>
              <a:cxn ang="0">
                <a:pos x="connsiteX14704" y="connsiteY14704"/>
              </a:cxn>
              <a:cxn ang="0">
                <a:pos x="connsiteX14705" y="connsiteY14705"/>
              </a:cxn>
              <a:cxn ang="0">
                <a:pos x="connsiteX14706" y="connsiteY14706"/>
              </a:cxn>
              <a:cxn ang="0">
                <a:pos x="connsiteX14707" y="connsiteY14707"/>
              </a:cxn>
              <a:cxn ang="0">
                <a:pos x="connsiteX14708" y="connsiteY14708"/>
              </a:cxn>
              <a:cxn ang="0">
                <a:pos x="connsiteX14709" y="connsiteY14709"/>
              </a:cxn>
              <a:cxn ang="0">
                <a:pos x="connsiteX14710" y="connsiteY14710"/>
              </a:cxn>
              <a:cxn ang="0">
                <a:pos x="connsiteX14711" y="connsiteY14711"/>
              </a:cxn>
              <a:cxn ang="0">
                <a:pos x="connsiteX14712" y="connsiteY14712"/>
              </a:cxn>
              <a:cxn ang="0">
                <a:pos x="connsiteX14713" y="connsiteY14713"/>
              </a:cxn>
              <a:cxn ang="0">
                <a:pos x="connsiteX14714" y="connsiteY14714"/>
              </a:cxn>
              <a:cxn ang="0">
                <a:pos x="connsiteX14715" y="connsiteY14715"/>
              </a:cxn>
              <a:cxn ang="0">
                <a:pos x="connsiteX14716" y="connsiteY14716"/>
              </a:cxn>
              <a:cxn ang="0">
                <a:pos x="connsiteX14717" y="connsiteY14717"/>
              </a:cxn>
              <a:cxn ang="0">
                <a:pos x="connsiteX14718" y="connsiteY14718"/>
              </a:cxn>
              <a:cxn ang="0">
                <a:pos x="connsiteX14719" y="connsiteY14719"/>
              </a:cxn>
              <a:cxn ang="0">
                <a:pos x="connsiteX14720" y="connsiteY14720"/>
              </a:cxn>
              <a:cxn ang="0">
                <a:pos x="connsiteX14721" y="connsiteY14721"/>
              </a:cxn>
              <a:cxn ang="0">
                <a:pos x="connsiteX14722" y="connsiteY14722"/>
              </a:cxn>
              <a:cxn ang="0">
                <a:pos x="connsiteX14723" y="connsiteY14723"/>
              </a:cxn>
              <a:cxn ang="0">
                <a:pos x="connsiteX14724" y="connsiteY14724"/>
              </a:cxn>
              <a:cxn ang="0">
                <a:pos x="connsiteX14725" y="connsiteY14725"/>
              </a:cxn>
              <a:cxn ang="0">
                <a:pos x="connsiteX14726" y="connsiteY14726"/>
              </a:cxn>
              <a:cxn ang="0">
                <a:pos x="connsiteX14727" y="connsiteY14727"/>
              </a:cxn>
              <a:cxn ang="0">
                <a:pos x="connsiteX14728" y="connsiteY14728"/>
              </a:cxn>
              <a:cxn ang="0">
                <a:pos x="connsiteX14729" y="connsiteY14729"/>
              </a:cxn>
              <a:cxn ang="0">
                <a:pos x="connsiteX14730" y="connsiteY14730"/>
              </a:cxn>
              <a:cxn ang="0">
                <a:pos x="connsiteX14731" y="connsiteY14731"/>
              </a:cxn>
              <a:cxn ang="0">
                <a:pos x="connsiteX14732" y="connsiteY14732"/>
              </a:cxn>
              <a:cxn ang="0">
                <a:pos x="connsiteX14733" y="connsiteY14733"/>
              </a:cxn>
              <a:cxn ang="0">
                <a:pos x="connsiteX14734" y="connsiteY14734"/>
              </a:cxn>
              <a:cxn ang="0">
                <a:pos x="connsiteX14735" y="connsiteY14735"/>
              </a:cxn>
              <a:cxn ang="0">
                <a:pos x="connsiteX14736" y="connsiteY14736"/>
              </a:cxn>
              <a:cxn ang="0">
                <a:pos x="connsiteX14737" y="connsiteY14737"/>
              </a:cxn>
              <a:cxn ang="0">
                <a:pos x="connsiteX14738" y="connsiteY14738"/>
              </a:cxn>
              <a:cxn ang="0">
                <a:pos x="connsiteX14739" y="connsiteY14739"/>
              </a:cxn>
              <a:cxn ang="0">
                <a:pos x="connsiteX14740" y="connsiteY14740"/>
              </a:cxn>
              <a:cxn ang="0">
                <a:pos x="connsiteX14741" y="connsiteY14741"/>
              </a:cxn>
              <a:cxn ang="0">
                <a:pos x="connsiteX14742" y="connsiteY14742"/>
              </a:cxn>
              <a:cxn ang="0">
                <a:pos x="connsiteX14743" y="connsiteY14743"/>
              </a:cxn>
              <a:cxn ang="0">
                <a:pos x="connsiteX14744" y="connsiteY14744"/>
              </a:cxn>
              <a:cxn ang="0">
                <a:pos x="connsiteX14745" y="connsiteY14745"/>
              </a:cxn>
              <a:cxn ang="0">
                <a:pos x="connsiteX14746" y="connsiteY14746"/>
              </a:cxn>
              <a:cxn ang="0">
                <a:pos x="connsiteX14747" y="connsiteY14747"/>
              </a:cxn>
              <a:cxn ang="0">
                <a:pos x="connsiteX14748" y="connsiteY14748"/>
              </a:cxn>
              <a:cxn ang="0">
                <a:pos x="connsiteX14749" y="connsiteY14749"/>
              </a:cxn>
              <a:cxn ang="0">
                <a:pos x="connsiteX14750" y="connsiteY14750"/>
              </a:cxn>
              <a:cxn ang="0">
                <a:pos x="connsiteX14751" y="connsiteY14751"/>
              </a:cxn>
              <a:cxn ang="0">
                <a:pos x="connsiteX14752" y="connsiteY14752"/>
              </a:cxn>
              <a:cxn ang="0">
                <a:pos x="connsiteX14753" y="connsiteY14753"/>
              </a:cxn>
              <a:cxn ang="0">
                <a:pos x="connsiteX14754" y="connsiteY14754"/>
              </a:cxn>
              <a:cxn ang="0">
                <a:pos x="connsiteX14755" y="connsiteY14755"/>
              </a:cxn>
              <a:cxn ang="0">
                <a:pos x="connsiteX14756" y="connsiteY14756"/>
              </a:cxn>
              <a:cxn ang="0">
                <a:pos x="connsiteX14757" y="connsiteY14757"/>
              </a:cxn>
              <a:cxn ang="0">
                <a:pos x="connsiteX14758" y="connsiteY14758"/>
              </a:cxn>
              <a:cxn ang="0">
                <a:pos x="connsiteX14759" y="connsiteY14759"/>
              </a:cxn>
              <a:cxn ang="0">
                <a:pos x="connsiteX14760" y="connsiteY14760"/>
              </a:cxn>
              <a:cxn ang="0">
                <a:pos x="connsiteX14761" y="connsiteY14761"/>
              </a:cxn>
              <a:cxn ang="0">
                <a:pos x="connsiteX14762" y="connsiteY14762"/>
              </a:cxn>
              <a:cxn ang="0">
                <a:pos x="connsiteX14763" y="connsiteY14763"/>
              </a:cxn>
              <a:cxn ang="0">
                <a:pos x="connsiteX14764" y="connsiteY14764"/>
              </a:cxn>
              <a:cxn ang="0">
                <a:pos x="connsiteX14765" y="connsiteY14765"/>
              </a:cxn>
              <a:cxn ang="0">
                <a:pos x="connsiteX14766" y="connsiteY14766"/>
              </a:cxn>
              <a:cxn ang="0">
                <a:pos x="connsiteX14767" y="connsiteY14767"/>
              </a:cxn>
              <a:cxn ang="0">
                <a:pos x="connsiteX14768" y="connsiteY14768"/>
              </a:cxn>
              <a:cxn ang="0">
                <a:pos x="connsiteX14769" y="connsiteY14769"/>
              </a:cxn>
              <a:cxn ang="0">
                <a:pos x="connsiteX14770" y="connsiteY14770"/>
              </a:cxn>
              <a:cxn ang="0">
                <a:pos x="connsiteX14771" y="connsiteY14771"/>
              </a:cxn>
              <a:cxn ang="0">
                <a:pos x="connsiteX14772" y="connsiteY14772"/>
              </a:cxn>
              <a:cxn ang="0">
                <a:pos x="connsiteX14773" y="connsiteY14773"/>
              </a:cxn>
              <a:cxn ang="0">
                <a:pos x="connsiteX14774" y="connsiteY14774"/>
              </a:cxn>
              <a:cxn ang="0">
                <a:pos x="connsiteX14775" y="connsiteY14775"/>
              </a:cxn>
              <a:cxn ang="0">
                <a:pos x="connsiteX14776" y="connsiteY14776"/>
              </a:cxn>
              <a:cxn ang="0">
                <a:pos x="connsiteX14777" y="connsiteY14777"/>
              </a:cxn>
              <a:cxn ang="0">
                <a:pos x="connsiteX14778" y="connsiteY14778"/>
              </a:cxn>
              <a:cxn ang="0">
                <a:pos x="connsiteX14779" y="connsiteY14779"/>
              </a:cxn>
              <a:cxn ang="0">
                <a:pos x="connsiteX14780" y="connsiteY14780"/>
              </a:cxn>
              <a:cxn ang="0">
                <a:pos x="connsiteX14781" y="connsiteY14781"/>
              </a:cxn>
              <a:cxn ang="0">
                <a:pos x="connsiteX14782" y="connsiteY14782"/>
              </a:cxn>
              <a:cxn ang="0">
                <a:pos x="connsiteX14783" y="connsiteY14783"/>
              </a:cxn>
              <a:cxn ang="0">
                <a:pos x="connsiteX14784" y="connsiteY14784"/>
              </a:cxn>
              <a:cxn ang="0">
                <a:pos x="connsiteX14785" y="connsiteY14785"/>
              </a:cxn>
              <a:cxn ang="0">
                <a:pos x="connsiteX14786" y="connsiteY14786"/>
              </a:cxn>
              <a:cxn ang="0">
                <a:pos x="connsiteX14787" y="connsiteY14787"/>
              </a:cxn>
              <a:cxn ang="0">
                <a:pos x="connsiteX14788" y="connsiteY14788"/>
              </a:cxn>
              <a:cxn ang="0">
                <a:pos x="connsiteX14789" y="connsiteY14789"/>
              </a:cxn>
              <a:cxn ang="0">
                <a:pos x="connsiteX14790" y="connsiteY14790"/>
              </a:cxn>
              <a:cxn ang="0">
                <a:pos x="connsiteX14791" y="connsiteY14791"/>
              </a:cxn>
              <a:cxn ang="0">
                <a:pos x="connsiteX14792" y="connsiteY14792"/>
              </a:cxn>
              <a:cxn ang="0">
                <a:pos x="connsiteX14793" y="connsiteY14793"/>
              </a:cxn>
              <a:cxn ang="0">
                <a:pos x="connsiteX14794" y="connsiteY14794"/>
              </a:cxn>
              <a:cxn ang="0">
                <a:pos x="connsiteX14795" y="connsiteY14795"/>
              </a:cxn>
              <a:cxn ang="0">
                <a:pos x="connsiteX14796" y="connsiteY14796"/>
              </a:cxn>
              <a:cxn ang="0">
                <a:pos x="connsiteX14797" y="connsiteY14797"/>
              </a:cxn>
              <a:cxn ang="0">
                <a:pos x="connsiteX14798" y="connsiteY14798"/>
              </a:cxn>
              <a:cxn ang="0">
                <a:pos x="connsiteX14799" y="connsiteY14799"/>
              </a:cxn>
              <a:cxn ang="0">
                <a:pos x="connsiteX14800" y="connsiteY14800"/>
              </a:cxn>
              <a:cxn ang="0">
                <a:pos x="connsiteX14801" y="connsiteY14801"/>
              </a:cxn>
              <a:cxn ang="0">
                <a:pos x="connsiteX14802" y="connsiteY14802"/>
              </a:cxn>
              <a:cxn ang="0">
                <a:pos x="connsiteX14803" y="connsiteY14803"/>
              </a:cxn>
              <a:cxn ang="0">
                <a:pos x="connsiteX14804" y="connsiteY14804"/>
              </a:cxn>
              <a:cxn ang="0">
                <a:pos x="connsiteX14805" y="connsiteY14805"/>
              </a:cxn>
              <a:cxn ang="0">
                <a:pos x="connsiteX14806" y="connsiteY14806"/>
              </a:cxn>
              <a:cxn ang="0">
                <a:pos x="connsiteX14807" y="connsiteY14807"/>
              </a:cxn>
              <a:cxn ang="0">
                <a:pos x="connsiteX14808" y="connsiteY14808"/>
              </a:cxn>
              <a:cxn ang="0">
                <a:pos x="connsiteX14809" y="connsiteY14809"/>
              </a:cxn>
              <a:cxn ang="0">
                <a:pos x="connsiteX14810" y="connsiteY14810"/>
              </a:cxn>
              <a:cxn ang="0">
                <a:pos x="connsiteX14811" y="connsiteY14811"/>
              </a:cxn>
              <a:cxn ang="0">
                <a:pos x="connsiteX14812" y="connsiteY14812"/>
              </a:cxn>
              <a:cxn ang="0">
                <a:pos x="connsiteX14813" y="connsiteY14813"/>
              </a:cxn>
              <a:cxn ang="0">
                <a:pos x="connsiteX14814" y="connsiteY14814"/>
              </a:cxn>
              <a:cxn ang="0">
                <a:pos x="connsiteX14815" y="connsiteY14815"/>
              </a:cxn>
              <a:cxn ang="0">
                <a:pos x="connsiteX14816" y="connsiteY14816"/>
              </a:cxn>
              <a:cxn ang="0">
                <a:pos x="connsiteX14817" y="connsiteY14817"/>
              </a:cxn>
              <a:cxn ang="0">
                <a:pos x="connsiteX14818" y="connsiteY14818"/>
              </a:cxn>
              <a:cxn ang="0">
                <a:pos x="connsiteX14819" y="connsiteY14819"/>
              </a:cxn>
              <a:cxn ang="0">
                <a:pos x="connsiteX14820" y="connsiteY14820"/>
              </a:cxn>
              <a:cxn ang="0">
                <a:pos x="connsiteX14821" y="connsiteY14821"/>
              </a:cxn>
              <a:cxn ang="0">
                <a:pos x="connsiteX14822" y="connsiteY14822"/>
              </a:cxn>
              <a:cxn ang="0">
                <a:pos x="connsiteX14823" y="connsiteY14823"/>
              </a:cxn>
              <a:cxn ang="0">
                <a:pos x="connsiteX14824" y="connsiteY14824"/>
              </a:cxn>
              <a:cxn ang="0">
                <a:pos x="connsiteX14825" y="connsiteY14825"/>
              </a:cxn>
              <a:cxn ang="0">
                <a:pos x="connsiteX14826" y="connsiteY14826"/>
              </a:cxn>
              <a:cxn ang="0">
                <a:pos x="connsiteX14827" y="connsiteY14827"/>
              </a:cxn>
              <a:cxn ang="0">
                <a:pos x="connsiteX14828" y="connsiteY14828"/>
              </a:cxn>
              <a:cxn ang="0">
                <a:pos x="connsiteX14829" y="connsiteY14829"/>
              </a:cxn>
              <a:cxn ang="0">
                <a:pos x="connsiteX14830" y="connsiteY14830"/>
              </a:cxn>
              <a:cxn ang="0">
                <a:pos x="connsiteX14831" y="connsiteY14831"/>
              </a:cxn>
              <a:cxn ang="0">
                <a:pos x="connsiteX14832" y="connsiteY14832"/>
              </a:cxn>
              <a:cxn ang="0">
                <a:pos x="connsiteX14833" y="connsiteY14833"/>
              </a:cxn>
              <a:cxn ang="0">
                <a:pos x="connsiteX14834" y="connsiteY14834"/>
              </a:cxn>
              <a:cxn ang="0">
                <a:pos x="connsiteX14835" y="connsiteY14835"/>
              </a:cxn>
              <a:cxn ang="0">
                <a:pos x="connsiteX14836" y="connsiteY14836"/>
              </a:cxn>
              <a:cxn ang="0">
                <a:pos x="connsiteX14837" y="connsiteY14837"/>
              </a:cxn>
              <a:cxn ang="0">
                <a:pos x="connsiteX14838" y="connsiteY14838"/>
              </a:cxn>
              <a:cxn ang="0">
                <a:pos x="connsiteX14839" y="connsiteY14839"/>
              </a:cxn>
              <a:cxn ang="0">
                <a:pos x="connsiteX14840" y="connsiteY14840"/>
              </a:cxn>
              <a:cxn ang="0">
                <a:pos x="connsiteX14841" y="connsiteY14841"/>
              </a:cxn>
              <a:cxn ang="0">
                <a:pos x="connsiteX14842" y="connsiteY14842"/>
              </a:cxn>
              <a:cxn ang="0">
                <a:pos x="connsiteX14843" y="connsiteY14843"/>
              </a:cxn>
              <a:cxn ang="0">
                <a:pos x="connsiteX14844" y="connsiteY14844"/>
              </a:cxn>
              <a:cxn ang="0">
                <a:pos x="connsiteX14845" y="connsiteY14845"/>
              </a:cxn>
              <a:cxn ang="0">
                <a:pos x="connsiteX14846" y="connsiteY14846"/>
              </a:cxn>
              <a:cxn ang="0">
                <a:pos x="connsiteX14847" y="connsiteY14847"/>
              </a:cxn>
              <a:cxn ang="0">
                <a:pos x="connsiteX14848" y="connsiteY14848"/>
              </a:cxn>
              <a:cxn ang="0">
                <a:pos x="connsiteX14849" y="connsiteY14849"/>
              </a:cxn>
              <a:cxn ang="0">
                <a:pos x="connsiteX14850" y="connsiteY14850"/>
              </a:cxn>
              <a:cxn ang="0">
                <a:pos x="connsiteX14851" y="connsiteY14851"/>
              </a:cxn>
              <a:cxn ang="0">
                <a:pos x="connsiteX14852" y="connsiteY14852"/>
              </a:cxn>
              <a:cxn ang="0">
                <a:pos x="connsiteX14853" y="connsiteY14853"/>
              </a:cxn>
              <a:cxn ang="0">
                <a:pos x="connsiteX14854" y="connsiteY14854"/>
              </a:cxn>
              <a:cxn ang="0">
                <a:pos x="connsiteX14855" y="connsiteY14855"/>
              </a:cxn>
              <a:cxn ang="0">
                <a:pos x="connsiteX14856" y="connsiteY14856"/>
              </a:cxn>
              <a:cxn ang="0">
                <a:pos x="connsiteX14857" y="connsiteY14857"/>
              </a:cxn>
              <a:cxn ang="0">
                <a:pos x="connsiteX14858" y="connsiteY14858"/>
              </a:cxn>
              <a:cxn ang="0">
                <a:pos x="connsiteX14859" y="connsiteY14859"/>
              </a:cxn>
              <a:cxn ang="0">
                <a:pos x="connsiteX14860" y="connsiteY14860"/>
              </a:cxn>
              <a:cxn ang="0">
                <a:pos x="connsiteX14861" y="connsiteY14861"/>
              </a:cxn>
              <a:cxn ang="0">
                <a:pos x="connsiteX14862" y="connsiteY14862"/>
              </a:cxn>
              <a:cxn ang="0">
                <a:pos x="connsiteX14863" y="connsiteY14863"/>
              </a:cxn>
              <a:cxn ang="0">
                <a:pos x="connsiteX14864" y="connsiteY14864"/>
              </a:cxn>
              <a:cxn ang="0">
                <a:pos x="connsiteX14865" y="connsiteY14865"/>
              </a:cxn>
              <a:cxn ang="0">
                <a:pos x="connsiteX14866" y="connsiteY14866"/>
              </a:cxn>
              <a:cxn ang="0">
                <a:pos x="connsiteX14867" y="connsiteY14867"/>
              </a:cxn>
              <a:cxn ang="0">
                <a:pos x="connsiteX14868" y="connsiteY14868"/>
              </a:cxn>
              <a:cxn ang="0">
                <a:pos x="connsiteX14869" y="connsiteY14869"/>
              </a:cxn>
              <a:cxn ang="0">
                <a:pos x="connsiteX14870" y="connsiteY14870"/>
              </a:cxn>
              <a:cxn ang="0">
                <a:pos x="connsiteX14871" y="connsiteY14871"/>
              </a:cxn>
              <a:cxn ang="0">
                <a:pos x="connsiteX14872" y="connsiteY14872"/>
              </a:cxn>
              <a:cxn ang="0">
                <a:pos x="connsiteX14873" y="connsiteY14873"/>
              </a:cxn>
              <a:cxn ang="0">
                <a:pos x="connsiteX14874" y="connsiteY14874"/>
              </a:cxn>
              <a:cxn ang="0">
                <a:pos x="connsiteX14875" y="connsiteY14875"/>
              </a:cxn>
              <a:cxn ang="0">
                <a:pos x="connsiteX14876" y="connsiteY14876"/>
              </a:cxn>
              <a:cxn ang="0">
                <a:pos x="connsiteX14877" y="connsiteY14877"/>
              </a:cxn>
              <a:cxn ang="0">
                <a:pos x="connsiteX14878" y="connsiteY14878"/>
              </a:cxn>
              <a:cxn ang="0">
                <a:pos x="connsiteX14879" y="connsiteY14879"/>
              </a:cxn>
              <a:cxn ang="0">
                <a:pos x="connsiteX14880" y="connsiteY14880"/>
              </a:cxn>
              <a:cxn ang="0">
                <a:pos x="connsiteX14881" y="connsiteY14881"/>
              </a:cxn>
              <a:cxn ang="0">
                <a:pos x="connsiteX14882" y="connsiteY14882"/>
              </a:cxn>
              <a:cxn ang="0">
                <a:pos x="connsiteX14883" y="connsiteY14883"/>
              </a:cxn>
              <a:cxn ang="0">
                <a:pos x="connsiteX14884" y="connsiteY14884"/>
              </a:cxn>
              <a:cxn ang="0">
                <a:pos x="connsiteX14885" y="connsiteY14885"/>
              </a:cxn>
              <a:cxn ang="0">
                <a:pos x="connsiteX14886" y="connsiteY14886"/>
              </a:cxn>
              <a:cxn ang="0">
                <a:pos x="connsiteX14887" y="connsiteY14887"/>
              </a:cxn>
              <a:cxn ang="0">
                <a:pos x="connsiteX14888" y="connsiteY14888"/>
              </a:cxn>
              <a:cxn ang="0">
                <a:pos x="connsiteX14889" y="connsiteY14889"/>
              </a:cxn>
              <a:cxn ang="0">
                <a:pos x="connsiteX14890" y="connsiteY14890"/>
              </a:cxn>
              <a:cxn ang="0">
                <a:pos x="connsiteX14891" y="connsiteY14891"/>
              </a:cxn>
              <a:cxn ang="0">
                <a:pos x="connsiteX14892" y="connsiteY14892"/>
              </a:cxn>
              <a:cxn ang="0">
                <a:pos x="connsiteX14893" y="connsiteY14893"/>
              </a:cxn>
              <a:cxn ang="0">
                <a:pos x="connsiteX14894" y="connsiteY14894"/>
              </a:cxn>
              <a:cxn ang="0">
                <a:pos x="connsiteX14895" y="connsiteY14895"/>
              </a:cxn>
              <a:cxn ang="0">
                <a:pos x="connsiteX14896" y="connsiteY14896"/>
              </a:cxn>
              <a:cxn ang="0">
                <a:pos x="connsiteX14897" y="connsiteY14897"/>
              </a:cxn>
              <a:cxn ang="0">
                <a:pos x="connsiteX14898" y="connsiteY14898"/>
              </a:cxn>
              <a:cxn ang="0">
                <a:pos x="connsiteX14899" y="connsiteY14899"/>
              </a:cxn>
              <a:cxn ang="0">
                <a:pos x="connsiteX14900" y="connsiteY14900"/>
              </a:cxn>
              <a:cxn ang="0">
                <a:pos x="connsiteX14901" y="connsiteY14901"/>
              </a:cxn>
              <a:cxn ang="0">
                <a:pos x="connsiteX14902" y="connsiteY14902"/>
              </a:cxn>
              <a:cxn ang="0">
                <a:pos x="connsiteX14903" y="connsiteY14903"/>
              </a:cxn>
              <a:cxn ang="0">
                <a:pos x="connsiteX14904" y="connsiteY14904"/>
              </a:cxn>
              <a:cxn ang="0">
                <a:pos x="connsiteX14905" y="connsiteY14905"/>
              </a:cxn>
              <a:cxn ang="0">
                <a:pos x="connsiteX14906" y="connsiteY14906"/>
              </a:cxn>
              <a:cxn ang="0">
                <a:pos x="connsiteX14907" y="connsiteY14907"/>
              </a:cxn>
              <a:cxn ang="0">
                <a:pos x="connsiteX14908" y="connsiteY14908"/>
              </a:cxn>
              <a:cxn ang="0">
                <a:pos x="connsiteX14909" y="connsiteY14909"/>
              </a:cxn>
              <a:cxn ang="0">
                <a:pos x="connsiteX14910" y="connsiteY14910"/>
              </a:cxn>
              <a:cxn ang="0">
                <a:pos x="connsiteX14911" y="connsiteY14911"/>
              </a:cxn>
              <a:cxn ang="0">
                <a:pos x="connsiteX14912" y="connsiteY14912"/>
              </a:cxn>
              <a:cxn ang="0">
                <a:pos x="connsiteX14913" y="connsiteY14913"/>
              </a:cxn>
              <a:cxn ang="0">
                <a:pos x="connsiteX14914" y="connsiteY14914"/>
              </a:cxn>
              <a:cxn ang="0">
                <a:pos x="connsiteX14915" y="connsiteY14915"/>
              </a:cxn>
              <a:cxn ang="0">
                <a:pos x="connsiteX14916" y="connsiteY14916"/>
              </a:cxn>
              <a:cxn ang="0">
                <a:pos x="connsiteX14917" y="connsiteY14917"/>
              </a:cxn>
              <a:cxn ang="0">
                <a:pos x="connsiteX14918" y="connsiteY14918"/>
              </a:cxn>
              <a:cxn ang="0">
                <a:pos x="connsiteX14919" y="connsiteY14919"/>
              </a:cxn>
              <a:cxn ang="0">
                <a:pos x="connsiteX14920" y="connsiteY14920"/>
              </a:cxn>
              <a:cxn ang="0">
                <a:pos x="connsiteX14921" y="connsiteY14921"/>
              </a:cxn>
              <a:cxn ang="0">
                <a:pos x="connsiteX14922" y="connsiteY14922"/>
              </a:cxn>
              <a:cxn ang="0">
                <a:pos x="connsiteX14923" y="connsiteY14923"/>
              </a:cxn>
              <a:cxn ang="0">
                <a:pos x="connsiteX14924" y="connsiteY14924"/>
              </a:cxn>
              <a:cxn ang="0">
                <a:pos x="connsiteX14925" y="connsiteY14925"/>
              </a:cxn>
              <a:cxn ang="0">
                <a:pos x="connsiteX14926" y="connsiteY14926"/>
              </a:cxn>
              <a:cxn ang="0">
                <a:pos x="connsiteX14927" y="connsiteY14927"/>
              </a:cxn>
              <a:cxn ang="0">
                <a:pos x="connsiteX14928" y="connsiteY14928"/>
              </a:cxn>
              <a:cxn ang="0">
                <a:pos x="connsiteX14929" y="connsiteY14929"/>
              </a:cxn>
              <a:cxn ang="0">
                <a:pos x="connsiteX14930" y="connsiteY14930"/>
              </a:cxn>
              <a:cxn ang="0">
                <a:pos x="connsiteX14931" y="connsiteY14931"/>
              </a:cxn>
              <a:cxn ang="0">
                <a:pos x="connsiteX14932" y="connsiteY14932"/>
              </a:cxn>
              <a:cxn ang="0">
                <a:pos x="connsiteX14933" y="connsiteY14933"/>
              </a:cxn>
              <a:cxn ang="0">
                <a:pos x="connsiteX14934" y="connsiteY14934"/>
              </a:cxn>
              <a:cxn ang="0">
                <a:pos x="connsiteX14935" y="connsiteY14935"/>
              </a:cxn>
              <a:cxn ang="0">
                <a:pos x="connsiteX14936" y="connsiteY14936"/>
              </a:cxn>
              <a:cxn ang="0">
                <a:pos x="connsiteX14937" y="connsiteY14937"/>
              </a:cxn>
              <a:cxn ang="0">
                <a:pos x="connsiteX14938" y="connsiteY14938"/>
              </a:cxn>
              <a:cxn ang="0">
                <a:pos x="connsiteX14939" y="connsiteY14939"/>
              </a:cxn>
              <a:cxn ang="0">
                <a:pos x="connsiteX14940" y="connsiteY14940"/>
              </a:cxn>
              <a:cxn ang="0">
                <a:pos x="connsiteX14941" y="connsiteY14941"/>
              </a:cxn>
              <a:cxn ang="0">
                <a:pos x="connsiteX14942" y="connsiteY14942"/>
              </a:cxn>
              <a:cxn ang="0">
                <a:pos x="connsiteX14943" y="connsiteY14943"/>
              </a:cxn>
              <a:cxn ang="0">
                <a:pos x="connsiteX14944" y="connsiteY14944"/>
              </a:cxn>
              <a:cxn ang="0">
                <a:pos x="connsiteX14945" y="connsiteY14945"/>
              </a:cxn>
              <a:cxn ang="0">
                <a:pos x="connsiteX14946" y="connsiteY14946"/>
              </a:cxn>
              <a:cxn ang="0">
                <a:pos x="connsiteX14947" y="connsiteY14947"/>
              </a:cxn>
              <a:cxn ang="0">
                <a:pos x="connsiteX14948" y="connsiteY14948"/>
              </a:cxn>
              <a:cxn ang="0">
                <a:pos x="connsiteX14949" y="connsiteY14949"/>
              </a:cxn>
              <a:cxn ang="0">
                <a:pos x="connsiteX14950" y="connsiteY14950"/>
              </a:cxn>
              <a:cxn ang="0">
                <a:pos x="connsiteX14951" y="connsiteY14951"/>
              </a:cxn>
              <a:cxn ang="0">
                <a:pos x="connsiteX14952" y="connsiteY14952"/>
              </a:cxn>
              <a:cxn ang="0">
                <a:pos x="connsiteX14953" y="connsiteY14953"/>
              </a:cxn>
              <a:cxn ang="0">
                <a:pos x="connsiteX14954" y="connsiteY14954"/>
              </a:cxn>
              <a:cxn ang="0">
                <a:pos x="connsiteX14955" y="connsiteY14955"/>
              </a:cxn>
              <a:cxn ang="0">
                <a:pos x="connsiteX14956" y="connsiteY14956"/>
              </a:cxn>
              <a:cxn ang="0">
                <a:pos x="connsiteX14957" y="connsiteY14957"/>
              </a:cxn>
              <a:cxn ang="0">
                <a:pos x="connsiteX14958" y="connsiteY14958"/>
              </a:cxn>
              <a:cxn ang="0">
                <a:pos x="connsiteX14959" y="connsiteY14959"/>
              </a:cxn>
              <a:cxn ang="0">
                <a:pos x="connsiteX14960" y="connsiteY14960"/>
              </a:cxn>
              <a:cxn ang="0">
                <a:pos x="connsiteX14961" y="connsiteY14961"/>
              </a:cxn>
              <a:cxn ang="0">
                <a:pos x="connsiteX14962" y="connsiteY14962"/>
              </a:cxn>
              <a:cxn ang="0">
                <a:pos x="connsiteX14963" y="connsiteY14963"/>
              </a:cxn>
              <a:cxn ang="0">
                <a:pos x="connsiteX14964" y="connsiteY14964"/>
              </a:cxn>
              <a:cxn ang="0">
                <a:pos x="connsiteX14965" y="connsiteY14965"/>
              </a:cxn>
              <a:cxn ang="0">
                <a:pos x="connsiteX14966" y="connsiteY14966"/>
              </a:cxn>
              <a:cxn ang="0">
                <a:pos x="connsiteX14967" y="connsiteY14967"/>
              </a:cxn>
              <a:cxn ang="0">
                <a:pos x="connsiteX14968" y="connsiteY14968"/>
              </a:cxn>
              <a:cxn ang="0">
                <a:pos x="connsiteX14969" y="connsiteY14969"/>
              </a:cxn>
              <a:cxn ang="0">
                <a:pos x="connsiteX14970" y="connsiteY14970"/>
              </a:cxn>
              <a:cxn ang="0">
                <a:pos x="connsiteX14971" y="connsiteY14971"/>
              </a:cxn>
              <a:cxn ang="0">
                <a:pos x="connsiteX14972" y="connsiteY14972"/>
              </a:cxn>
              <a:cxn ang="0">
                <a:pos x="connsiteX14973" y="connsiteY14973"/>
              </a:cxn>
              <a:cxn ang="0">
                <a:pos x="connsiteX14974" y="connsiteY14974"/>
              </a:cxn>
              <a:cxn ang="0">
                <a:pos x="connsiteX14975" y="connsiteY14975"/>
              </a:cxn>
              <a:cxn ang="0">
                <a:pos x="connsiteX14976" y="connsiteY14976"/>
              </a:cxn>
              <a:cxn ang="0">
                <a:pos x="connsiteX14977" y="connsiteY14977"/>
              </a:cxn>
              <a:cxn ang="0">
                <a:pos x="connsiteX14978" y="connsiteY14978"/>
              </a:cxn>
              <a:cxn ang="0">
                <a:pos x="connsiteX14979" y="connsiteY14979"/>
              </a:cxn>
              <a:cxn ang="0">
                <a:pos x="connsiteX14980" y="connsiteY14980"/>
              </a:cxn>
              <a:cxn ang="0">
                <a:pos x="connsiteX14981" y="connsiteY14981"/>
              </a:cxn>
              <a:cxn ang="0">
                <a:pos x="connsiteX14982" y="connsiteY14982"/>
              </a:cxn>
              <a:cxn ang="0">
                <a:pos x="connsiteX14983" y="connsiteY14983"/>
              </a:cxn>
              <a:cxn ang="0">
                <a:pos x="connsiteX14984" y="connsiteY14984"/>
              </a:cxn>
              <a:cxn ang="0">
                <a:pos x="connsiteX14985" y="connsiteY14985"/>
              </a:cxn>
              <a:cxn ang="0">
                <a:pos x="connsiteX14986" y="connsiteY14986"/>
              </a:cxn>
              <a:cxn ang="0">
                <a:pos x="connsiteX14987" y="connsiteY14987"/>
              </a:cxn>
              <a:cxn ang="0">
                <a:pos x="connsiteX14988" y="connsiteY14988"/>
              </a:cxn>
              <a:cxn ang="0">
                <a:pos x="connsiteX14989" y="connsiteY14989"/>
              </a:cxn>
              <a:cxn ang="0">
                <a:pos x="connsiteX14990" y="connsiteY14990"/>
              </a:cxn>
              <a:cxn ang="0">
                <a:pos x="connsiteX14991" y="connsiteY14991"/>
              </a:cxn>
              <a:cxn ang="0">
                <a:pos x="connsiteX14992" y="connsiteY14992"/>
              </a:cxn>
              <a:cxn ang="0">
                <a:pos x="connsiteX14993" y="connsiteY14993"/>
              </a:cxn>
              <a:cxn ang="0">
                <a:pos x="connsiteX14994" y="connsiteY14994"/>
              </a:cxn>
              <a:cxn ang="0">
                <a:pos x="connsiteX14995" y="connsiteY14995"/>
              </a:cxn>
              <a:cxn ang="0">
                <a:pos x="connsiteX14996" y="connsiteY14996"/>
              </a:cxn>
              <a:cxn ang="0">
                <a:pos x="connsiteX14997" y="connsiteY14997"/>
              </a:cxn>
              <a:cxn ang="0">
                <a:pos x="connsiteX14998" y="connsiteY14998"/>
              </a:cxn>
              <a:cxn ang="0">
                <a:pos x="connsiteX14999" y="connsiteY14999"/>
              </a:cxn>
              <a:cxn ang="0">
                <a:pos x="connsiteX15000" y="connsiteY15000"/>
              </a:cxn>
              <a:cxn ang="0">
                <a:pos x="connsiteX15001" y="connsiteY15001"/>
              </a:cxn>
              <a:cxn ang="0">
                <a:pos x="connsiteX15002" y="connsiteY15002"/>
              </a:cxn>
              <a:cxn ang="0">
                <a:pos x="connsiteX15003" y="connsiteY15003"/>
              </a:cxn>
              <a:cxn ang="0">
                <a:pos x="connsiteX15004" y="connsiteY15004"/>
              </a:cxn>
              <a:cxn ang="0">
                <a:pos x="connsiteX15005" y="connsiteY15005"/>
              </a:cxn>
              <a:cxn ang="0">
                <a:pos x="connsiteX15006" y="connsiteY15006"/>
              </a:cxn>
              <a:cxn ang="0">
                <a:pos x="connsiteX15007" y="connsiteY15007"/>
              </a:cxn>
              <a:cxn ang="0">
                <a:pos x="connsiteX15008" y="connsiteY15008"/>
              </a:cxn>
              <a:cxn ang="0">
                <a:pos x="connsiteX15009" y="connsiteY15009"/>
              </a:cxn>
              <a:cxn ang="0">
                <a:pos x="connsiteX15010" y="connsiteY15010"/>
              </a:cxn>
              <a:cxn ang="0">
                <a:pos x="connsiteX15011" y="connsiteY15011"/>
              </a:cxn>
              <a:cxn ang="0">
                <a:pos x="connsiteX15012" y="connsiteY15012"/>
              </a:cxn>
              <a:cxn ang="0">
                <a:pos x="connsiteX15013" y="connsiteY15013"/>
              </a:cxn>
              <a:cxn ang="0">
                <a:pos x="connsiteX15014" y="connsiteY15014"/>
              </a:cxn>
              <a:cxn ang="0">
                <a:pos x="connsiteX15015" y="connsiteY15015"/>
              </a:cxn>
              <a:cxn ang="0">
                <a:pos x="connsiteX15016" y="connsiteY15016"/>
              </a:cxn>
              <a:cxn ang="0">
                <a:pos x="connsiteX15017" y="connsiteY15017"/>
              </a:cxn>
              <a:cxn ang="0">
                <a:pos x="connsiteX15018" y="connsiteY15018"/>
              </a:cxn>
              <a:cxn ang="0">
                <a:pos x="connsiteX15019" y="connsiteY15019"/>
              </a:cxn>
              <a:cxn ang="0">
                <a:pos x="connsiteX15020" y="connsiteY15020"/>
              </a:cxn>
              <a:cxn ang="0">
                <a:pos x="connsiteX15021" y="connsiteY15021"/>
              </a:cxn>
              <a:cxn ang="0">
                <a:pos x="connsiteX15022" y="connsiteY15022"/>
              </a:cxn>
              <a:cxn ang="0">
                <a:pos x="connsiteX15023" y="connsiteY15023"/>
              </a:cxn>
              <a:cxn ang="0">
                <a:pos x="connsiteX15024" y="connsiteY15024"/>
              </a:cxn>
              <a:cxn ang="0">
                <a:pos x="connsiteX15025" y="connsiteY15025"/>
              </a:cxn>
              <a:cxn ang="0">
                <a:pos x="connsiteX15026" y="connsiteY15026"/>
              </a:cxn>
              <a:cxn ang="0">
                <a:pos x="connsiteX15027" y="connsiteY15027"/>
              </a:cxn>
              <a:cxn ang="0">
                <a:pos x="connsiteX15028" y="connsiteY15028"/>
              </a:cxn>
              <a:cxn ang="0">
                <a:pos x="connsiteX15029" y="connsiteY15029"/>
              </a:cxn>
              <a:cxn ang="0">
                <a:pos x="connsiteX15030" y="connsiteY15030"/>
              </a:cxn>
              <a:cxn ang="0">
                <a:pos x="connsiteX15031" y="connsiteY15031"/>
              </a:cxn>
              <a:cxn ang="0">
                <a:pos x="connsiteX15032" y="connsiteY15032"/>
              </a:cxn>
              <a:cxn ang="0">
                <a:pos x="connsiteX15033" y="connsiteY15033"/>
              </a:cxn>
              <a:cxn ang="0">
                <a:pos x="connsiteX15034" y="connsiteY15034"/>
              </a:cxn>
              <a:cxn ang="0">
                <a:pos x="connsiteX15035" y="connsiteY15035"/>
              </a:cxn>
              <a:cxn ang="0">
                <a:pos x="connsiteX15036" y="connsiteY15036"/>
              </a:cxn>
              <a:cxn ang="0">
                <a:pos x="connsiteX15037" y="connsiteY15037"/>
              </a:cxn>
              <a:cxn ang="0">
                <a:pos x="connsiteX15038" y="connsiteY15038"/>
              </a:cxn>
              <a:cxn ang="0">
                <a:pos x="connsiteX15039" y="connsiteY15039"/>
              </a:cxn>
              <a:cxn ang="0">
                <a:pos x="connsiteX15040" y="connsiteY15040"/>
              </a:cxn>
              <a:cxn ang="0">
                <a:pos x="connsiteX15041" y="connsiteY15041"/>
              </a:cxn>
              <a:cxn ang="0">
                <a:pos x="connsiteX15042" y="connsiteY15042"/>
              </a:cxn>
              <a:cxn ang="0">
                <a:pos x="connsiteX15043" y="connsiteY15043"/>
              </a:cxn>
              <a:cxn ang="0">
                <a:pos x="connsiteX15044" y="connsiteY15044"/>
              </a:cxn>
              <a:cxn ang="0">
                <a:pos x="connsiteX15045" y="connsiteY15045"/>
              </a:cxn>
              <a:cxn ang="0">
                <a:pos x="connsiteX15046" y="connsiteY15046"/>
              </a:cxn>
              <a:cxn ang="0">
                <a:pos x="connsiteX15047" y="connsiteY15047"/>
              </a:cxn>
              <a:cxn ang="0">
                <a:pos x="connsiteX15048" y="connsiteY15048"/>
              </a:cxn>
              <a:cxn ang="0">
                <a:pos x="connsiteX15049" y="connsiteY15049"/>
              </a:cxn>
              <a:cxn ang="0">
                <a:pos x="connsiteX15050" y="connsiteY15050"/>
              </a:cxn>
              <a:cxn ang="0">
                <a:pos x="connsiteX15051" y="connsiteY15051"/>
              </a:cxn>
              <a:cxn ang="0">
                <a:pos x="connsiteX15052" y="connsiteY15052"/>
              </a:cxn>
              <a:cxn ang="0">
                <a:pos x="connsiteX15053" y="connsiteY15053"/>
              </a:cxn>
              <a:cxn ang="0">
                <a:pos x="connsiteX15054" y="connsiteY15054"/>
              </a:cxn>
              <a:cxn ang="0">
                <a:pos x="connsiteX15055" y="connsiteY15055"/>
              </a:cxn>
              <a:cxn ang="0">
                <a:pos x="connsiteX15056" y="connsiteY15056"/>
              </a:cxn>
              <a:cxn ang="0">
                <a:pos x="connsiteX15057" y="connsiteY15057"/>
              </a:cxn>
              <a:cxn ang="0">
                <a:pos x="connsiteX15058" y="connsiteY15058"/>
              </a:cxn>
              <a:cxn ang="0">
                <a:pos x="connsiteX15059" y="connsiteY15059"/>
              </a:cxn>
              <a:cxn ang="0">
                <a:pos x="connsiteX15060" y="connsiteY15060"/>
              </a:cxn>
              <a:cxn ang="0">
                <a:pos x="connsiteX15061" y="connsiteY15061"/>
              </a:cxn>
              <a:cxn ang="0">
                <a:pos x="connsiteX15062" y="connsiteY15062"/>
              </a:cxn>
              <a:cxn ang="0">
                <a:pos x="connsiteX15063" y="connsiteY15063"/>
              </a:cxn>
              <a:cxn ang="0">
                <a:pos x="connsiteX15064" y="connsiteY15064"/>
              </a:cxn>
              <a:cxn ang="0">
                <a:pos x="connsiteX15065" y="connsiteY15065"/>
              </a:cxn>
              <a:cxn ang="0">
                <a:pos x="connsiteX15066" y="connsiteY15066"/>
              </a:cxn>
              <a:cxn ang="0">
                <a:pos x="connsiteX15067" y="connsiteY15067"/>
              </a:cxn>
              <a:cxn ang="0">
                <a:pos x="connsiteX15068" y="connsiteY15068"/>
              </a:cxn>
              <a:cxn ang="0">
                <a:pos x="connsiteX15069" y="connsiteY15069"/>
              </a:cxn>
              <a:cxn ang="0">
                <a:pos x="connsiteX15070" y="connsiteY15070"/>
              </a:cxn>
              <a:cxn ang="0">
                <a:pos x="connsiteX15071" y="connsiteY15071"/>
              </a:cxn>
              <a:cxn ang="0">
                <a:pos x="connsiteX15072" y="connsiteY15072"/>
              </a:cxn>
              <a:cxn ang="0">
                <a:pos x="connsiteX15073" y="connsiteY15073"/>
              </a:cxn>
              <a:cxn ang="0">
                <a:pos x="connsiteX15074" y="connsiteY15074"/>
              </a:cxn>
              <a:cxn ang="0">
                <a:pos x="connsiteX15075" y="connsiteY15075"/>
              </a:cxn>
              <a:cxn ang="0">
                <a:pos x="connsiteX15076" y="connsiteY15076"/>
              </a:cxn>
              <a:cxn ang="0">
                <a:pos x="connsiteX15077" y="connsiteY15077"/>
              </a:cxn>
              <a:cxn ang="0">
                <a:pos x="connsiteX15078" y="connsiteY15078"/>
              </a:cxn>
              <a:cxn ang="0">
                <a:pos x="connsiteX15079" y="connsiteY15079"/>
              </a:cxn>
              <a:cxn ang="0">
                <a:pos x="connsiteX15080" y="connsiteY15080"/>
              </a:cxn>
              <a:cxn ang="0">
                <a:pos x="connsiteX15081" y="connsiteY15081"/>
              </a:cxn>
              <a:cxn ang="0">
                <a:pos x="connsiteX15082" y="connsiteY15082"/>
              </a:cxn>
              <a:cxn ang="0">
                <a:pos x="connsiteX15083" y="connsiteY15083"/>
              </a:cxn>
              <a:cxn ang="0">
                <a:pos x="connsiteX15084" y="connsiteY15084"/>
              </a:cxn>
              <a:cxn ang="0">
                <a:pos x="connsiteX15085" y="connsiteY15085"/>
              </a:cxn>
              <a:cxn ang="0">
                <a:pos x="connsiteX15086" y="connsiteY15086"/>
              </a:cxn>
              <a:cxn ang="0">
                <a:pos x="connsiteX15087" y="connsiteY15087"/>
              </a:cxn>
              <a:cxn ang="0">
                <a:pos x="connsiteX15088" y="connsiteY15088"/>
              </a:cxn>
              <a:cxn ang="0">
                <a:pos x="connsiteX15089" y="connsiteY15089"/>
              </a:cxn>
              <a:cxn ang="0">
                <a:pos x="connsiteX15090" y="connsiteY15090"/>
              </a:cxn>
              <a:cxn ang="0">
                <a:pos x="connsiteX15091" y="connsiteY15091"/>
              </a:cxn>
              <a:cxn ang="0">
                <a:pos x="connsiteX15092" y="connsiteY15092"/>
              </a:cxn>
              <a:cxn ang="0">
                <a:pos x="connsiteX15093" y="connsiteY15093"/>
              </a:cxn>
              <a:cxn ang="0">
                <a:pos x="connsiteX15094" y="connsiteY15094"/>
              </a:cxn>
              <a:cxn ang="0">
                <a:pos x="connsiteX15095" y="connsiteY15095"/>
              </a:cxn>
              <a:cxn ang="0">
                <a:pos x="connsiteX15096" y="connsiteY15096"/>
              </a:cxn>
              <a:cxn ang="0">
                <a:pos x="connsiteX15097" y="connsiteY15097"/>
              </a:cxn>
              <a:cxn ang="0">
                <a:pos x="connsiteX15098" y="connsiteY15098"/>
              </a:cxn>
              <a:cxn ang="0">
                <a:pos x="connsiteX15099" y="connsiteY15099"/>
              </a:cxn>
              <a:cxn ang="0">
                <a:pos x="connsiteX15100" y="connsiteY15100"/>
              </a:cxn>
              <a:cxn ang="0">
                <a:pos x="connsiteX15101" y="connsiteY15101"/>
              </a:cxn>
              <a:cxn ang="0">
                <a:pos x="connsiteX15102" y="connsiteY15102"/>
              </a:cxn>
              <a:cxn ang="0">
                <a:pos x="connsiteX15103" y="connsiteY15103"/>
              </a:cxn>
              <a:cxn ang="0">
                <a:pos x="connsiteX15104" y="connsiteY15104"/>
              </a:cxn>
              <a:cxn ang="0">
                <a:pos x="connsiteX15105" y="connsiteY15105"/>
              </a:cxn>
              <a:cxn ang="0">
                <a:pos x="connsiteX15106" y="connsiteY15106"/>
              </a:cxn>
              <a:cxn ang="0">
                <a:pos x="connsiteX15107" y="connsiteY15107"/>
              </a:cxn>
              <a:cxn ang="0">
                <a:pos x="connsiteX15108" y="connsiteY15108"/>
              </a:cxn>
              <a:cxn ang="0">
                <a:pos x="connsiteX15109" y="connsiteY15109"/>
              </a:cxn>
              <a:cxn ang="0">
                <a:pos x="connsiteX15110" y="connsiteY15110"/>
              </a:cxn>
              <a:cxn ang="0">
                <a:pos x="connsiteX15111" y="connsiteY15111"/>
              </a:cxn>
              <a:cxn ang="0">
                <a:pos x="connsiteX15112" y="connsiteY15112"/>
              </a:cxn>
              <a:cxn ang="0">
                <a:pos x="connsiteX15113" y="connsiteY15113"/>
              </a:cxn>
              <a:cxn ang="0">
                <a:pos x="connsiteX15114" y="connsiteY15114"/>
              </a:cxn>
              <a:cxn ang="0">
                <a:pos x="connsiteX15115" y="connsiteY15115"/>
              </a:cxn>
              <a:cxn ang="0">
                <a:pos x="connsiteX15116" y="connsiteY15116"/>
              </a:cxn>
              <a:cxn ang="0">
                <a:pos x="connsiteX15117" y="connsiteY15117"/>
              </a:cxn>
              <a:cxn ang="0">
                <a:pos x="connsiteX15118" y="connsiteY15118"/>
              </a:cxn>
              <a:cxn ang="0">
                <a:pos x="connsiteX15119" y="connsiteY15119"/>
              </a:cxn>
              <a:cxn ang="0">
                <a:pos x="connsiteX15120" y="connsiteY15120"/>
              </a:cxn>
              <a:cxn ang="0">
                <a:pos x="connsiteX15121" y="connsiteY15121"/>
              </a:cxn>
              <a:cxn ang="0">
                <a:pos x="connsiteX15122" y="connsiteY15122"/>
              </a:cxn>
              <a:cxn ang="0">
                <a:pos x="connsiteX15123" y="connsiteY15123"/>
              </a:cxn>
              <a:cxn ang="0">
                <a:pos x="connsiteX15124" y="connsiteY15124"/>
              </a:cxn>
              <a:cxn ang="0">
                <a:pos x="connsiteX15125" y="connsiteY15125"/>
              </a:cxn>
              <a:cxn ang="0">
                <a:pos x="connsiteX15126" y="connsiteY15126"/>
              </a:cxn>
              <a:cxn ang="0">
                <a:pos x="connsiteX15127" y="connsiteY15127"/>
              </a:cxn>
              <a:cxn ang="0">
                <a:pos x="connsiteX15128" y="connsiteY15128"/>
              </a:cxn>
              <a:cxn ang="0">
                <a:pos x="connsiteX15129" y="connsiteY15129"/>
              </a:cxn>
              <a:cxn ang="0">
                <a:pos x="connsiteX15130" y="connsiteY15130"/>
              </a:cxn>
              <a:cxn ang="0">
                <a:pos x="connsiteX15131" y="connsiteY15131"/>
              </a:cxn>
              <a:cxn ang="0">
                <a:pos x="connsiteX15132" y="connsiteY15132"/>
              </a:cxn>
              <a:cxn ang="0">
                <a:pos x="connsiteX15133" y="connsiteY15133"/>
              </a:cxn>
              <a:cxn ang="0">
                <a:pos x="connsiteX15134" y="connsiteY15134"/>
              </a:cxn>
              <a:cxn ang="0">
                <a:pos x="connsiteX15135" y="connsiteY15135"/>
              </a:cxn>
              <a:cxn ang="0">
                <a:pos x="connsiteX15136" y="connsiteY15136"/>
              </a:cxn>
              <a:cxn ang="0">
                <a:pos x="connsiteX15137" y="connsiteY15137"/>
              </a:cxn>
              <a:cxn ang="0">
                <a:pos x="connsiteX15138" y="connsiteY15138"/>
              </a:cxn>
              <a:cxn ang="0">
                <a:pos x="connsiteX15139" y="connsiteY15139"/>
              </a:cxn>
              <a:cxn ang="0">
                <a:pos x="connsiteX15140" y="connsiteY15140"/>
              </a:cxn>
              <a:cxn ang="0">
                <a:pos x="connsiteX15141" y="connsiteY15141"/>
              </a:cxn>
              <a:cxn ang="0">
                <a:pos x="connsiteX15142" y="connsiteY15142"/>
              </a:cxn>
              <a:cxn ang="0">
                <a:pos x="connsiteX15143" y="connsiteY15143"/>
              </a:cxn>
              <a:cxn ang="0">
                <a:pos x="connsiteX15144" y="connsiteY15144"/>
              </a:cxn>
              <a:cxn ang="0">
                <a:pos x="connsiteX15145" y="connsiteY15145"/>
              </a:cxn>
              <a:cxn ang="0">
                <a:pos x="connsiteX15146" y="connsiteY15146"/>
              </a:cxn>
              <a:cxn ang="0">
                <a:pos x="connsiteX15147" y="connsiteY15147"/>
              </a:cxn>
              <a:cxn ang="0">
                <a:pos x="connsiteX15148" y="connsiteY15148"/>
              </a:cxn>
              <a:cxn ang="0">
                <a:pos x="connsiteX15149" y="connsiteY15149"/>
              </a:cxn>
              <a:cxn ang="0">
                <a:pos x="connsiteX15150" y="connsiteY15150"/>
              </a:cxn>
              <a:cxn ang="0">
                <a:pos x="connsiteX15151" y="connsiteY15151"/>
              </a:cxn>
              <a:cxn ang="0">
                <a:pos x="connsiteX15152" y="connsiteY15152"/>
              </a:cxn>
              <a:cxn ang="0">
                <a:pos x="connsiteX15153" y="connsiteY15153"/>
              </a:cxn>
              <a:cxn ang="0">
                <a:pos x="connsiteX15154" y="connsiteY15154"/>
              </a:cxn>
              <a:cxn ang="0">
                <a:pos x="connsiteX15155" y="connsiteY15155"/>
              </a:cxn>
              <a:cxn ang="0">
                <a:pos x="connsiteX15156" y="connsiteY15156"/>
              </a:cxn>
              <a:cxn ang="0">
                <a:pos x="connsiteX15157" y="connsiteY15157"/>
              </a:cxn>
              <a:cxn ang="0">
                <a:pos x="connsiteX15158" y="connsiteY15158"/>
              </a:cxn>
              <a:cxn ang="0">
                <a:pos x="connsiteX15159" y="connsiteY15159"/>
              </a:cxn>
              <a:cxn ang="0">
                <a:pos x="connsiteX15160" y="connsiteY15160"/>
              </a:cxn>
              <a:cxn ang="0">
                <a:pos x="connsiteX15161" y="connsiteY15161"/>
              </a:cxn>
              <a:cxn ang="0">
                <a:pos x="connsiteX15162" y="connsiteY15162"/>
              </a:cxn>
              <a:cxn ang="0">
                <a:pos x="connsiteX15163" y="connsiteY15163"/>
              </a:cxn>
              <a:cxn ang="0">
                <a:pos x="connsiteX15164" y="connsiteY15164"/>
              </a:cxn>
              <a:cxn ang="0">
                <a:pos x="connsiteX15165" y="connsiteY15165"/>
              </a:cxn>
              <a:cxn ang="0">
                <a:pos x="connsiteX15166" y="connsiteY15166"/>
              </a:cxn>
              <a:cxn ang="0">
                <a:pos x="connsiteX15167" y="connsiteY15167"/>
              </a:cxn>
              <a:cxn ang="0">
                <a:pos x="connsiteX15168" y="connsiteY15168"/>
              </a:cxn>
              <a:cxn ang="0">
                <a:pos x="connsiteX15169" y="connsiteY15169"/>
              </a:cxn>
              <a:cxn ang="0">
                <a:pos x="connsiteX15170" y="connsiteY15170"/>
              </a:cxn>
              <a:cxn ang="0">
                <a:pos x="connsiteX15171" y="connsiteY15171"/>
              </a:cxn>
              <a:cxn ang="0">
                <a:pos x="connsiteX15172" y="connsiteY15172"/>
              </a:cxn>
              <a:cxn ang="0">
                <a:pos x="connsiteX15173" y="connsiteY15173"/>
              </a:cxn>
              <a:cxn ang="0">
                <a:pos x="connsiteX15174" y="connsiteY15174"/>
              </a:cxn>
              <a:cxn ang="0">
                <a:pos x="connsiteX15175" y="connsiteY15175"/>
              </a:cxn>
              <a:cxn ang="0">
                <a:pos x="connsiteX15176" y="connsiteY15176"/>
              </a:cxn>
              <a:cxn ang="0">
                <a:pos x="connsiteX15177" y="connsiteY15177"/>
              </a:cxn>
              <a:cxn ang="0">
                <a:pos x="connsiteX15178" y="connsiteY15178"/>
              </a:cxn>
              <a:cxn ang="0">
                <a:pos x="connsiteX15179" y="connsiteY15179"/>
              </a:cxn>
              <a:cxn ang="0">
                <a:pos x="connsiteX15180" y="connsiteY15180"/>
              </a:cxn>
              <a:cxn ang="0">
                <a:pos x="connsiteX15181" y="connsiteY15181"/>
              </a:cxn>
              <a:cxn ang="0">
                <a:pos x="connsiteX15182" y="connsiteY15182"/>
              </a:cxn>
              <a:cxn ang="0">
                <a:pos x="connsiteX15183" y="connsiteY15183"/>
              </a:cxn>
              <a:cxn ang="0">
                <a:pos x="connsiteX15184" y="connsiteY15184"/>
              </a:cxn>
              <a:cxn ang="0">
                <a:pos x="connsiteX15185" y="connsiteY15185"/>
              </a:cxn>
              <a:cxn ang="0">
                <a:pos x="connsiteX15186" y="connsiteY15186"/>
              </a:cxn>
              <a:cxn ang="0">
                <a:pos x="connsiteX15187" y="connsiteY15187"/>
              </a:cxn>
              <a:cxn ang="0">
                <a:pos x="connsiteX15188" y="connsiteY15188"/>
              </a:cxn>
              <a:cxn ang="0">
                <a:pos x="connsiteX15189" y="connsiteY15189"/>
              </a:cxn>
              <a:cxn ang="0">
                <a:pos x="connsiteX15190" y="connsiteY15190"/>
              </a:cxn>
              <a:cxn ang="0">
                <a:pos x="connsiteX15191" y="connsiteY15191"/>
              </a:cxn>
              <a:cxn ang="0">
                <a:pos x="connsiteX15192" y="connsiteY15192"/>
              </a:cxn>
              <a:cxn ang="0">
                <a:pos x="connsiteX15193" y="connsiteY15193"/>
              </a:cxn>
              <a:cxn ang="0">
                <a:pos x="connsiteX15194" y="connsiteY15194"/>
              </a:cxn>
              <a:cxn ang="0">
                <a:pos x="connsiteX15195" y="connsiteY15195"/>
              </a:cxn>
              <a:cxn ang="0">
                <a:pos x="connsiteX15196" y="connsiteY15196"/>
              </a:cxn>
              <a:cxn ang="0">
                <a:pos x="connsiteX15197" y="connsiteY15197"/>
              </a:cxn>
              <a:cxn ang="0">
                <a:pos x="connsiteX15198" y="connsiteY15198"/>
              </a:cxn>
              <a:cxn ang="0">
                <a:pos x="connsiteX15199" y="connsiteY15199"/>
              </a:cxn>
              <a:cxn ang="0">
                <a:pos x="connsiteX15200" y="connsiteY15200"/>
              </a:cxn>
              <a:cxn ang="0">
                <a:pos x="connsiteX15201" y="connsiteY15201"/>
              </a:cxn>
              <a:cxn ang="0">
                <a:pos x="connsiteX15202" y="connsiteY15202"/>
              </a:cxn>
              <a:cxn ang="0">
                <a:pos x="connsiteX15203" y="connsiteY15203"/>
              </a:cxn>
              <a:cxn ang="0">
                <a:pos x="connsiteX15204" y="connsiteY15204"/>
              </a:cxn>
              <a:cxn ang="0">
                <a:pos x="connsiteX15205" y="connsiteY15205"/>
              </a:cxn>
              <a:cxn ang="0">
                <a:pos x="connsiteX15206" y="connsiteY15206"/>
              </a:cxn>
              <a:cxn ang="0">
                <a:pos x="connsiteX15207" y="connsiteY15207"/>
              </a:cxn>
              <a:cxn ang="0">
                <a:pos x="connsiteX15208" y="connsiteY15208"/>
              </a:cxn>
              <a:cxn ang="0">
                <a:pos x="connsiteX15209" y="connsiteY15209"/>
              </a:cxn>
              <a:cxn ang="0">
                <a:pos x="connsiteX15210" y="connsiteY15210"/>
              </a:cxn>
              <a:cxn ang="0">
                <a:pos x="connsiteX15211" y="connsiteY15211"/>
              </a:cxn>
              <a:cxn ang="0">
                <a:pos x="connsiteX15212" y="connsiteY15212"/>
              </a:cxn>
              <a:cxn ang="0">
                <a:pos x="connsiteX15213" y="connsiteY15213"/>
              </a:cxn>
              <a:cxn ang="0">
                <a:pos x="connsiteX15214" y="connsiteY15214"/>
              </a:cxn>
              <a:cxn ang="0">
                <a:pos x="connsiteX15215" y="connsiteY15215"/>
              </a:cxn>
              <a:cxn ang="0">
                <a:pos x="connsiteX15216" y="connsiteY15216"/>
              </a:cxn>
              <a:cxn ang="0">
                <a:pos x="connsiteX15217" y="connsiteY15217"/>
              </a:cxn>
              <a:cxn ang="0">
                <a:pos x="connsiteX15218" y="connsiteY15218"/>
              </a:cxn>
              <a:cxn ang="0">
                <a:pos x="connsiteX15219" y="connsiteY15219"/>
              </a:cxn>
              <a:cxn ang="0">
                <a:pos x="connsiteX15220" y="connsiteY15220"/>
              </a:cxn>
              <a:cxn ang="0">
                <a:pos x="connsiteX15221" y="connsiteY15221"/>
              </a:cxn>
              <a:cxn ang="0">
                <a:pos x="connsiteX15222" y="connsiteY15222"/>
              </a:cxn>
              <a:cxn ang="0">
                <a:pos x="connsiteX15223" y="connsiteY15223"/>
              </a:cxn>
              <a:cxn ang="0">
                <a:pos x="connsiteX15224" y="connsiteY15224"/>
              </a:cxn>
              <a:cxn ang="0">
                <a:pos x="connsiteX15225" y="connsiteY15225"/>
              </a:cxn>
              <a:cxn ang="0">
                <a:pos x="connsiteX15226" y="connsiteY15226"/>
              </a:cxn>
              <a:cxn ang="0">
                <a:pos x="connsiteX15227" y="connsiteY15227"/>
              </a:cxn>
              <a:cxn ang="0">
                <a:pos x="connsiteX15228" y="connsiteY15228"/>
              </a:cxn>
              <a:cxn ang="0">
                <a:pos x="connsiteX15229" y="connsiteY15229"/>
              </a:cxn>
              <a:cxn ang="0">
                <a:pos x="connsiteX15230" y="connsiteY15230"/>
              </a:cxn>
              <a:cxn ang="0">
                <a:pos x="connsiteX15231" y="connsiteY15231"/>
              </a:cxn>
              <a:cxn ang="0">
                <a:pos x="connsiteX15232" y="connsiteY15232"/>
              </a:cxn>
              <a:cxn ang="0">
                <a:pos x="connsiteX15233" y="connsiteY15233"/>
              </a:cxn>
              <a:cxn ang="0">
                <a:pos x="connsiteX15234" y="connsiteY15234"/>
              </a:cxn>
              <a:cxn ang="0">
                <a:pos x="connsiteX15235" y="connsiteY15235"/>
              </a:cxn>
              <a:cxn ang="0">
                <a:pos x="connsiteX15236" y="connsiteY15236"/>
              </a:cxn>
              <a:cxn ang="0">
                <a:pos x="connsiteX15237" y="connsiteY15237"/>
              </a:cxn>
              <a:cxn ang="0">
                <a:pos x="connsiteX15238" y="connsiteY15238"/>
              </a:cxn>
              <a:cxn ang="0">
                <a:pos x="connsiteX15239" y="connsiteY15239"/>
              </a:cxn>
              <a:cxn ang="0">
                <a:pos x="connsiteX15240" y="connsiteY15240"/>
              </a:cxn>
              <a:cxn ang="0">
                <a:pos x="connsiteX15241" y="connsiteY15241"/>
              </a:cxn>
              <a:cxn ang="0">
                <a:pos x="connsiteX15242" y="connsiteY15242"/>
              </a:cxn>
              <a:cxn ang="0">
                <a:pos x="connsiteX15243" y="connsiteY15243"/>
              </a:cxn>
              <a:cxn ang="0">
                <a:pos x="connsiteX15244" y="connsiteY15244"/>
              </a:cxn>
              <a:cxn ang="0">
                <a:pos x="connsiteX15245" y="connsiteY15245"/>
              </a:cxn>
              <a:cxn ang="0">
                <a:pos x="connsiteX15246" y="connsiteY15246"/>
              </a:cxn>
              <a:cxn ang="0">
                <a:pos x="connsiteX15247" y="connsiteY15247"/>
              </a:cxn>
              <a:cxn ang="0">
                <a:pos x="connsiteX15248" y="connsiteY15248"/>
              </a:cxn>
              <a:cxn ang="0">
                <a:pos x="connsiteX15249" y="connsiteY15249"/>
              </a:cxn>
              <a:cxn ang="0">
                <a:pos x="connsiteX15250" y="connsiteY15250"/>
              </a:cxn>
              <a:cxn ang="0">
                <a:pos x="connsiteX15251" y="connsiteY15251"/>
              </a:cxn>
              <a:cxn ang="0">
                <a:pos x="connsiteX15252" y="connsiteY15252"/>
              </a:cxn>
              <a:cxn ang="0">
                <a:pos x="connsiteX15253" y="connsiteY15253"/>
              </a:cxn>
              <a:cxn ang="0">
                <a:pos x="connsiteX15254" y="connsiteY15254"/>
              </a:cxn>
              <a:cxn ang="0">
                <a:pos x="connsiteX15255" y="connsiteY15255"/>
              </a:cxn>
              <a:cxn ang="0">
                <a:pos x="connsiteX15256" y="connsiteY15256"/>
              </a:cxn>
              <a:cxn ang="0">
                <a:pos x="connsiteX15257" y="connsiteY15257"/>
              </a:cxn>
              <a:cxn ang="0">
                <a:pos x="connsiteX15258" y="connsiteY15258"/>
              </a:cxn>
              <a:cxn ang="0">
                <a:pos x="connsiteX15259" y="connsiteY15259"/>
              </a:cxn>
              <a:cxn ang="0">
                <a:pos x="connsiteX15260" y="connsiteY15260"/>
              </a:cxn>
              <a:cxn ang="0">
                <a:pos x="connsiteX15261" y="connsiteY15261"/>
              </a:cxn>
              <a:cxn ang="0">
                <a:pos x="connsiteX15262" y="connsiteY15262"/>
              </a:cxn>
              <a:cxn ang="0">
                <a:pos x="connsiteX15263" y="connsiteY15263"/>
              </a:cxn>
              <a:cxn ang="0">
                <a:pos x="connsiteX15264" y="connsiteY15264"/>
              </a:cxn>
              <a:cxn ang="0">
                <a:pos x="connsiteX15265" y="connsiteY15265"/>
              </a:cxn>
              <a:cxn ang="0">
                <a:pos x="connsiteX15266" y="connsiteY15266"/>
              </a:cxn>
              <a:cxn ang="0">
                <a:pos x="connsiteX15267" y="connsiteY15267"/>
              </a:cxn>
              <a:cxn ang="0">
                <a:pos x="connsiteX15268" y="connsiteY15268"/>
              </a:cxn>
              <a:cxn ang="0">
                <a:pos x="connsiteX15269" y="connsiteY15269"/>
              </a:cxn>
              <a:cxn ang="0">
                <a:pos x="connsiteX15270" y="connsiteY15270"/>
              </a:cxn>
              <a:cxn ang="0">
                <a:pos x="connsiteX15271" y="connsiteY15271"/>
              </a:cxn>
              <a:cxn ang="0">
                <a:pos x="connsiteX15272" y="connsiteY15272"/>
              </a:cxn>
              <a:cxn ang="0">
                <a:pos x="connsiteX15273" y="connsiteY15273"/>
              </a:cxn>
              <a:cxn ang="0">
                <a:pos x="connsiteX15274" y="connsiteY15274"/>
              </a:cxn>
              <a:cxn ang="0">
                <a:pos x="connsiteX15275" y="connsiteY15275"/>
              </a:cxn>
              <a:cxn ang="0">
                <a:pos x="connsiteX15276" y="connsiteY15276"/>
              </a:cxn>
              <a:cxn ang="0">
                <a:pos x="connsiteX15277" y="connsiteY15277"/>
              </a:cxn>
              <a:cxn ang="0">
                <a:pos x="connsiteX15278" y="connsiteY15278"/>
              </a:cxn>
              <a:cxn ang="0">
                <a:pos x="connsiteX15279" y="connsiteY15279"/>
              </a:cxn>
              <a:cxn ang="0">
                <a:pos x="connsiteX15280" y="connsiteY15280"/>
              </a:cxn>
              <a:cxn ang="0">
                <a:pos x="connsiteX15281" y="connsiteY15281"/>
              </a:cxn>
              <a:cxn ang="0">
                <a:pos x="connsiteX15282" y="connsiteY15282"/>
              </a:cxn>
              <a:cxn ang="0">
                <a:pos x="connsiteX15283" y="connsiteY15283"/>
              </a:cxn>
              <a:cxn ang="0">
                <a:pos x="connsiteX15284" y="connsiteY15284"/>
              </a:cxn>
              <a:cxn ang="0">
                <a:pos x="connsiteX15285" y="connsiteY15285"/>
              </a:cxn>
              <a:cxn ang="0">
                <a:pos x="connsiteX15286" y="connsiteY15286"/>
              </a:cxn>
              <a:cxn ang="0">
                <a:pos x="connsiteX15287" y="connsiteY15287"/>
              </a:cxn>
              <a:cxn ang="0">
                <a:pos x="connsiteX15288" y="connsiteY15288"/>
              </a:cxn>
              <a:cxn ang="0">
                <a:pos x="connsiteX15289" y="connsiteY15289"/>
              </a:cxn>
              <a:cxn ang="0">
                <a:pos x="connsiteX15290" y="connsiteY15290"/>
              </a:cxn>
              <a:cxn ang="0">
                <a:pos x="connsiteX15291" y="connsiteY15291"/>
              </a:cxn>
              <a:cxn ang="0">
                <a:pos x="connsiteX15292" y="connsiteY15292"/>
              </a:cxn>
              <a:cxn ang="0">
                <a:pos x="connsiteX15293" y="connsiteY15293"/>
              </a:cxn>
              <a:cxn ang="0">
                <a:pos x="connsiteX15294" y="connsiteY15294"/>
              </a:cxn>
              <a:cxn ang="0">
                <a:pos x="connsiteX15295" y="connsiteY15295"/>
              </a:cxn>
              <a:cxn ang="0">
                <a:pos x="connsiteX15296" y="connsiteY15296"/>
              </a:cxn>
              <a:cxn ang="0">
                <a:pos x="connsiteX15297" y="connsiteY15297"/>
              </a:cxn>
              <a:cxn ang="0">
                <a:pos x="connsiteX15298" y="connsiteY15298"/>
              </a:cxn>
              <a:cxn ang="0">
                <a:pos x="connsiteX15299" y="connsiteY15299"/>
              </a:cxn>
              <a:cxn ang="0">
                <a:pos x="connsiteX15300" y="connsiteY15300"/>
              </a:cxn>
              <a:cxn ang="0">
                <a:pos x="connsiteX15301" y="connsiteY15301"/>
              </a:cxn>
              <a:cxn ang="0">
                <a:pos x="connsiteX15302" y="connsiteY15302"/>
              </a:cxn>
              <a:cxn ang="0">
                <a:pos x="connsiteX15303" y="connsiteY15303"/>
              </a:cxn>
              <a:cxn ang="0">
                <a:pos x="connsiteX15304" y="connsiteY15304"/>
              </a:cxn>
              <a:cxn ang="0">
                <a:pos x="connsiteX15305" y="connsiteY15305"/>
              </a:cxn>
              <a:cxn ang="0">
                <a:pos x="connsiteX15306" y="connsiteY15306"/>
              </a:cxn>
              <a:cxn ang="0">
                <a:pos x="connsiteX15307" y="connsiteY15307"/>
              </a:cxn>
              <a:cxn ang="0">
                <a:pos x="connsiteX15308" y="connsiteY15308"/>
              </a:cxn>
              <a:cxn ang="0">
                <a:pos x="connsiteX15309" y="connsiteY15309"/>
              </a:cxn>
              <a:cxn ang="0">
                <a:pos x="connsiteX15310" y="connsiteY15310"/>
              </a:cxn>
              <a:cxn ang="0">
                <a:pos x="connsiteX15311" y="connsiteY15311"/>
              </a:cxn>
              <a:cxn ang="0">
                <a:pos x="connsiteX15312" y="connsiteY15312"/>
              </a:cxn>
              <a:cxn ang="0">
                <a:pos x="connsiteX15313" y="connsiteY15313"/>
              </a:cxn>
              <a:cxn ang="0">
                <a:pos x="connsiteX15314" y="connsiteY15314"/>
              </a:cxn>
              <a:cxn ang="0">
                <a:pos x="connsiteX15315" y="connsiteY15315"/>
              </a:cxn>
              <a:cxn ang="0">
                <a:pos x="connsiteX15316" y="connsiteY15316"/>
              </a:cxn>
              <a:cxn ang="0">
                <a:pos x="connsiteX15317" y="connsiteY15317"/>
              </a:cxn>
              <a:cxn ang="0">
                <a:pos x="connsiteX15318" y="connsiteY15318"/>
              </a:cxn>
              <a:cxn ang="0">
                <a:pos x="connsiteX15319" y="connsiteY15319"/>
              </a:cxn>
              <a:cxn ang="0">
                <a:pos x="connsiteX15320" y="connsiteY15320"/>
              </a:cxn>
              <a:cxn ang="0">
                <a:pos x="connsiteX15321" y="connsiteY15321"/>
              </a:cxn>
              <a:cxn ang="0">
                <a:pos x="connsiteX15322" y="connsiteY15322"/>
              </a:cxn>
              <a:cxn ang="0">
                <a:pos x="connsiteX15323" y="connsiteY15323"/>
              </a:cxn>
              <a:cxn ang="0">
                <a:pos x="connsiteX15324" y="connsiteY15324"/>
              </a:cxn>
              <a:cxn ang="0">
                <a:pos x="connsiteX15325" y="connsiteY15325"/>
              </a:cxn>
              <a:cxn ang="0">
                <a:pos x="connsiteX15326" y="connsiteY15326"/>
              </a:cxn>
              <a:cxn ang="0">
                <a:pos x="connsiteX15327" y="connsiteY15327"/>
              </a:cxn>
              <a:cxn ang="0">
                <a:pos x="connsiteX15328" y="connsiteY15328"/>
              </a:cxn>
              <a:cxn ang="0">
                <a:pos x="connsiteX15329" y="connsiteY15329"/>
              </a:cxn>
              <a:cxn ang="0">
                <a:pos x="connsiteX15330" y="connsiteY15330"/>
              </a:cxn>
              <a:cxn ang="0">
                <a:pos x="connsiteX15331" y="connsiteY15331"/>
              </a:cxn>
              <a:cxn ang="0">
                <a:pos x="connsiteX15332" y="connsiteY15332"/>
              </a:cxn>
              <a:cxn ang="0">
                <a:pos x="connsiteX15333" y="connsiteY15333"/>
              </a:cxn>
              <a:cxn ang="0">
                <a:pos x="connsiteX15334" y="connsiteY15334"/>
              </a:cxn>
              <a:cxn ang="0">
                <a:pos x="connsiteX15335" y="connsiteY15335"/>
              </a:cxn>
              <a:cxn ang="0">
                <a:pos x="connsiteX15336" y="connsiteY15336"/>
              </a:cxn>
              <a:cxn ang="0">
                <a:pos x="connsiteX15337" y="connsiteY15337"/>
              </a:cxn>
              <a:cxn ang="0">
                <a:pos x="connsiteX15338" y="connsiteY15338"/>
              </a:cxn>
              <a:cxn ang="0">
                <a:pos x="connsiteX15339" y="connsiteY15339"/>
              </a:cxn>
              <a:cxn ang="0">
                <a:pos x="connsiteX15340" y="connsiteY15340"/>
              </a:cxn>
              <a:cxn ang="0">
                <a:pos x="connsiteX15341" y="connsiteY15341"/>
              </a:cxn>
              <a:cxn ang="0">
                <a:pos x="connsiteX15342" y="connsiteY15342"/>
              </a:cxn>
              <a:cxn ang="0">
                <a:pos x="connsiteX15343" y="connsiteY15343"/>
              </a:cxn>
              <a:cxn ang="0">
                <a:pos x="connsiteX15344" y="connsiteY15344"/>
              </a:cxn>
              <a:cxn ang="0">
                <a:pos x="connsiteX15345" y="connsiteY15345"/>
              </a:cxn>
              <a:cxn ang="0">
                <a:pos x="connsiteX15346" y="connsiteY15346"/>
              </a:cxn>
              <a:cxn ang="0">
                <a:pos x="connsiteX15347" y="connsiteY15347"/>
              </a:cxn>
              <a:cxn ang="0">
                <a:pos x="connsiteX15348" y="connsiteY15348"/>
              </a:cxn>
              <a:cxn ang="0">
                <a:pos x="connsiteX15349" y="connsiteY15349"/>
              </a:cxn>
              <a:cxn ang="0">
                <a:pos x="connsiteX15350" y="connsiteY15350"/>
              </a:cxn>
              <a:cxn ang="0">
                <a:pos x="connsiteX15351" y="connsiteY15351"/>
              </a:cxn>
              <a:cxn ang="0">
                <a:pos x="connsiteX15352" y="connsiteY15352"/>
              </a:cxn>
              <a:cxn ang="0">
                <a:pos x="connsiteX15353" y="connsiteY15353"/>
              </a:cxn>
              <a:cxn ang="0">
                <a:pos x="connsiteX15354" y="connsiteY15354"/>
              </a:cxn>
              <a:cxn ang="0">
                <a:pos x="connsiteX15355" y="connsiteY15355"/>
              </a:cxn>
              <a:cxn ang="0">
                <a:pos x="connsiteX15356" y="connsiteY15356"/>
              </a:cxn>
              <a:cxn ang="0">
                <a:pos x="connsiteX15357" y="connsiteY15357"/>
              </a:cxn>
              <a:cxn ang="0">
                <a:pos x="connsiteX15358" y="connsiteY15358"/>
              </a:cxn>
              <a:cxn ang="0">
                <a:pos x="connsiteX15359" y="connsiteY15359"/>
              </a:cxn>
              <a:cxn ang="0">
                <a:pos x="connsiteX15360" y="connsiteY15360"/>
              </a:cxn>
              <a:cxn ang="0">
                <a:pos x="connsiteX15361" y="connsiteY15361"/>
              </a:cxn>
              <a:cxn ang="0">
                <a:pos x="connsiteX15362" y="connsiteY15362"/>
              </a:cxn>
              <a:cxn ang="0">
                <a:pos x="connsiteX15363" y="connsiteY15363"/>
              </a:cxn>
              <a:cxn ang="0">
                <a:pos x="connsiteX15364" y="connsiteY15364"/>
              </a:cxn>
              <a:cxn ang="0">
                <a:pos x="connsiteX15365" y="connsiteY15365"/>
              </a:cxn>
              <a:cxn ang="0">
                <a:pos x="connsiteX15366" y="connsiteY15366"/>
              </a:cxn>
              <a:cxn ang="0">
                <a:pos x="connsiteX15367" y="connsiteY15367"/>
              </a:cxn>
              <a:cxn ang="0">
                <a:pos x="connsiteX15368" y="connsiteY15368"/>
              </a:cxn>
              <a:cxn ang="0">
                <a:pos x="connsiteX15369" y="connsiteY15369"/>
              </a:cxn>
              <a:cxn ang="0">
                <a:pos x="connsiteX15370" y="connsiteY15370"/>
              </a:cxn>
              <a:cxn ang="0">
                <a:pos x="connsiteX15371" y="connsiteY15371"/>
              </a:cxn>
              <a:cxn ang="0">
                <a:pos x="connsiteX15372" y="connsiteY15372"/>
              </a:cxn>
              <a:cxn ang="0">
                <a:pos x="connsiteX15373" y="connsiteY15373"/>
              </a:cxn>
              <a:cxn ang="0">
                <a:pos x="connsiteX15374" y="connsiteY15374"/>
              </a:cxn>
              <a:cxn ang="0">
                <a:pos x="connsiteX15375" y="connsiteY15375"/>
              </a:cxn>
              <a:cxn ang="0">
                <a:pos x="connsiteX15376" y="connsiteY15376"/>
              </a:cxn>
              <a:cxn ang="0">
                <a:pos x="connsiteX15377" y="connsiteY15377"/>
              </a:cxn>
              <a:cxn ang="0">
                <a:pos x="connsiteX15378" y="connsiteY15378"/>
              </a:cxn>
              <a:cxn ang="0">
                <a:pos x="connsiteX15379" y="connsiteY15379"/>
              </a:cxn>
              <a:cxn ang="0">
                <a:pos x="connsiteX15380" y="connsiteY15380"/>
              </a:cxn>
              <a:cxn ang="0">
                <a:pos x="connsiteX15381" y="connsiteY15381"/>
              </a:cxn>
              <a:cxn ang="0">
                <a:pos x="connsiteX15382" y="connsiteY15382"/>
              </a:cxn>
              <a:cxn ang="0">
                <a:pos x="connsiteX15383" y="connsiteY15383"/>
              </a:cxn>
              <a:cxn ang="0">
                <a:pos x="connsiteX15384" y="connsiteY15384"/>
              </a:cxn>
              <a:cxn ang="0">
                <a:pos x="connsiteX15385" y="connsiteY15385"/>
              </a:cxn>
              <a:cxn ang="0">
                <a:pos x="connsiteX15386" y="connsiteY15386"/>
              </a:cxn>
              <a:cxn ang="0">
                <a:pos x="connsiteX15387" y="connsiteY15387"/>
              </a:cxn>
              <a:cxn ang="0">
                <a:pos x="connsiteX15388" y="connsiteY15388"/>
              </a:cxn>
              <a:cxn ang="0">
                <a:pos x="connsiteX15389" y="connsiteY15389"/>
              </a:cxn>
              <a:cxn ang="0">
                <a:pos x="connsiteX15390" y="connsiteY15390"/>
              </a:cxn>
              <a:cxn ang="0">
                <a:pos x="connsiteX15391" y="connsiteY15391"/>
              </a:cxn>
              <a:cxn ang="0">
                <a:pos x="connsiteX15392" y="connsiteY15392"/>
              </a:cxn>
              <a:cxn ang="0">
                <a:pos x="connsiteX15393" y="connsiteY15393"/>
              </a:cxn>
              <a:cxn ang="0">
                <a:pos x="connsiteX15394" y="connsiteY15394"/>
              </a:cxn>
              <a:cxn ang="0">
                <a:pos x="connsiteX15395" y="connsiteY15395"/>
              </a:cxn>
              <a:cxn ang="0">
                <a:pos x="connsiteX15396" y="connsiteY15396"/>
              </a:cxn>
              <a:cxn ang="0">
                <a:pos x="connsiteX15397" y="connsiteY15397"/>
              </a:cxn>
              <a:cxn ang="0">
                <a:pos x="connsiteX15398" y="connsiteY15398"/>
              </a:cxn>
              <a:cxn ang="0">
                <a:pos x="connsiteX15399" y="connsiteY15399"/>
              </a:cxn>
              <a:cxn ang="0">
                <a:pos x="connsiteX15400" y="connsiteY15400"/>
              </a:cxn>
              <a:cxn ang="0">
                <a:pos x="connsiteX15401" y="connsiteY15401"/>
              </a:cxn>
              <a:cxn ang="0">
                <a:pos x="connsiteX15402" y="connsiteY15402"/>
              </a:cxn>
              <a:cxn ang="0">
                <a:pos x="connsiteX15403" y="connsiteY15403"/>
              </a:cxn>
              <a:cxn ang="0">
                <a:pos x="connsiteX15404" y="connsiteY15404"/>
              </a:cxn>
              <a:cxn ang="0">
                <a:pos x="connsiteX15405" y="connsiteY15405"/>
              </a:cxn>
              <a:cxn ang="0">
                <a:pos x="connsiteX15406" y="connsiteY15406"/>
              </a:cxn>
              <a:cxn ang="0">
                <a:pos x="connsiteX15407" y="connsiteY15407"/>
              </a:cxn>
              <a:cxn ang="0">
                <a:pos x="connsiteX15408" y="connsiteY15408"/>
              </a:cxn>
              <a:cxn ang="0">
                <a:pos x="connsiteX15409" y="connsiteY15409"/>
              </a:cxn>
              <a:cxn ang="0">
                <a:pos x="connsiteX15410" y="connsiteY15410"/>
              </a:cxn>
              <a:cxn ang="0">
                <a:pos x="connsiteX15411" y="connsiteY15411"/>
              </a:cxn>
              <a:cxn ang="0">
                <a:pos x="connsiteX15412" y="connsiteY15412"/>
              </a:cxn>
              <a:cxn ang="0">
                <a:pos x="connsiteX15413" y="connsiteY15413"/>
              </a:cxn>
              <a:cxn ang="0">
                <a:pos x="connsiteX15414" y="connsiteY15414"/>
              </a:cxn>
              <a:cxn ang="0">
                <a:pos x="connsiteX15415" y="connsiteY15415"/>
              </a:cxn>
              <a:cxn ang="0">
                <a:pos x="connsiteX15416" y="connsiteY15416"/>
              </a:cxn>
              <a:cxn ang="0">
                <a:pos x="connsiteX15417" y="connsiteY15417"/>
              </a:cxn>
              <a:cxn ang="0">
                <a:pos x="connsiteX15418" y="connsiteY15418"/>
              </a:cxn>
              <a:cxn ang="0">
                <a:pos x="connsiteX15419" y="connsiteY15419"/>
              </a:cxn>
              <a:cxn ang="0">
                <a:pos x="connsiteX15420" y="connsiteY15420"/>
              </a:cxn>
              <a:cxn ang="0">
                <a:pos x="connsiteX15421" y="connsiteY15421"/>
              </a:cxn>
              <a:cxn ang="0">
                <a:pos x="connsiteX15422" y="connsiteY15422"/>
              </a:cxn>
              <a:cxn ang="0">
                <a:pos x="connsiteX15423" y="connsiteY15423"/>
              </a:cxn>
              <a:cxn ang="0">
                <a:pos x="connsiteX15424" y="connsiteY15424"/>
              </a:cxn>
              <a:cxn ang="0">
                <a:pos x="connsiteX15425" y="connsiteY15425"/>
              </a:cxn>
              <a:cxn ang="0">
                <a:pos x="connsiteX15426" y="connsiteY15426"/>
              </a:cxn>
              <a:cxn ang="0">
                <a:pos x="connsiteX15427" y="connsiteY15427"/>
              </a:cxn>
              <a:cxn ang="0">
                <a:pos x="connsiteX15428" y="connsiteY15428"/>
              </a:cxn>
              <a:cxn ang="0">
                <a:pos x="connsiteX15429" y="connsiteY15429"/>
              </a:cxn>
              <a:cxn ang="0">
                <a:pos x="connsiteX15430" y="connsiteY15430"/>
              </a:cxn>
              <a:cxn ang="0">
                <a:pos x="connsiteX15431" y="connsiteY15431"/>
              </a:cxn>
              <a:cxn ang="0">
                <a:pos x="connsiteX15432" y="connsiteY15432"/>
              </a:cxn>
              <a:cxn ang="0">
                <a:pos x="connsiteX15433" y="connsiteY15433"/>
              </a:cxn>
              <a:cxn ang="0">
                <a:pos x="connsiteX15434" y="connsiteY15434"/>
              </a:cxn>
              <a:cxn ang="0">
                <a:pos x="connsiteX15435" y="connsiteY15435"/>
              </a:cxn>
              <a:cxn ang="0">
                <a:pos x="connsiteX15436" y="connsiteY15436"/>
              </a:cxn>
              <a:cxn ang="0">
                <a:pos x="connsiteX15437" y="connsiteY15437"/>
              </a:cxn>
              <a:cxn ang="0">
                <a:pos x="connsiteX15438" y="connsiteY15438"/>
              </a:cxn>
              <a:cxn ang="0">
                <a:pos x="connsiteX15439" y="connsiteY15439"/>
              </a:cxn>
              <a:cxn ang="0">
                <a:pos x="connsiteX15440" y="connsiteY15440"/>
              </a:cxn>
              <a:cxn ang="0">
                <a:pos x="connsiteX15441" y="connsiteY15441"/>
              </a:cxn>
              <a:cxn ang="0">
                <a:pos x="connsiteX15442" y="connsiteY15442"/>
              </a:cxn>
              <a:cxn ang="0">
                <a:pos x="connsiteX15443" y="connsiteY15443"/>
              </a:cxn>
              <a:cxn ang="0">
                <a:pos x="connsiteX15444" y="connsiteY15444"/>
              </a:cxn>
              <a:cxn ang="0">
                <a:pos x="connsiteX15445" y="connsiteY15445"/>
              </a:cxn>
              <a:cxn ang="0">
                <a:pos x="connsiteX15446" y="connsiteY15446"/>
              </a:cxn>
              <a:cxn ang="0">
                <a:pos x="connsiteX15447" y="connsiteY15447"/>
              </a:cxn>
              <a:cxn ang="0">
                <a:pos x="connsiteX15448" y="connsiteY15448"/>
              </a:cxn>
              <a:cxn ang="0">
                <a:pos x="connsiteX15449" y="connsiteY15449"/>
              </a:cxn>
              <a:cxn ang="0">
                <a:pos x="connsiteX15450" y="connsiteY15450"/>
              </a:cxn>
              <a:cxn ang="0">
                <a:pos x="connsiteX15451" y="connsiteY15451"/>
              </a:cxn>
              <a:cxn ang="0">
                <a:pos x="connsiteX15452" y="connsiteY15452"/>
              </a:cxn>
              <a:cxn ang="0">
                <a:pos x="connsiteX15453" y="connsiteY15453"/>
              </a:cxn>
              <a:cxn ang="0">
                <a:pos x="connsiteX15454" y="connsiteY15454"/>
              </a:cxn>
              <a:cxn ang="0">
                <a:pos x="connsiteX15455" y="connsiteY15455"/>
              </a:cxn>
              <a:cxn ang="0">
                <a:pos x="connsiteX15456" y="connsiteY15456"/>
              </a:cxn>
              <a:cxn ang="0">
                <a:pos x="connsiteX15457" y="connsiteY15457"/>
              </a:cxn>
              <a:cxn ang="0">
                <a:pos x="connsiteX15458" y="connsiteY15458"/>
              </a:cxn>
              <a:cxn ang="0">
                <a:pos x="connsiteX15459" y="connsiteY15459"/>
              </a:cxn>
              <a:cxn ang="0">
                <a:pos x="connsiteX15460" y="connsiteY15460"/>
              </a:cxn>
              <a:cxn ang="0">
                <a:pos x="connsiteX15461" y="connsiteY15461"/>
              </a:cxn>
              <a:cxn ang="0">
                <a:pos x="connsiteX15462" y="connsiteY15462"/>
              </a:cxn>
              <a:cxn ang="0">
                <a:pos x="connsiteX15463" y="connsiteY15463"/>
              </a:cxn>
              <a:cxn ang="0">
                <a:pos x="connsiteX15464" y="connsiteY15464"/>
              </a:cxn>
              <a:cxn ang="0">
                <a:pos x="connsiteX15465" y="connsiteY15465"/>
              </a:cxn>
              <a:cxn ang="0">
                <a:pos x="connsiteX15466" y="connsiteY15466"/>
              </a:cxn>
              <a:cxn ang="0">
                <a:pos x="connsiteX15467" y="connsiteY15467"/>
              </a:cxn>
              <a:cxn ang="0">
                <a:pos x="connsiteX15468" y="connsiteY15468"/>
              </a:cxn>
              <a:cxn ang="0">
                <a:pos x="connsiteX15469" y="connsiteY15469"/>
              </a:cxn>
              <a:cxn ang="0">
                <a:pos x="connsiteX15470" y="connsiteY15470"/>
              </a:cxn>
              <a:cxn ang="0">
                <a:pos x="connsiteX15471" y="connsiteY15471"/>
              </a:cxn>
              <a:cxn ang="0">
                <a:pos x="connsiteX15472" y="connsiteY15472"/>
              </a:cxn>
              <a:cxn ang="0">
                <a:pos x="connsiteX15473" y="connsiteY15473"/>
              </a:cxn>
              <a:cxn ang="0">
                <a:pos x="connsiteX15474" y="connsiteY15474"/>
              </a:cxn>
              <a:cxn ang="0">
                <a:pos x="connsiteX15475" y="connsiteY15475"/>
              </a:cxn>
              <a:cxn ang="0">
                <a:pos x="connsiteX15476" y="connsiteY15476"/>
              </a:cxn>
              <a:cxn ang="0">
                <a:pos x="connsiteX15477" y="connsiteY15477"/>
              </a:cxn>
              <a:cxn ang="0">
                <a:pos x="connsiteX15478" y="connsiteY15478"/>
              </a:cxn>
              <a:cxn ang="0">
                <a:pos x="connsiteX15479" y="connsiteY15479"/>
              </a:cxn>
              <a:cxn ang="0">
                <a:pos x="connsiteX15480" y="connsiteY15480"/>
              </a:cxn>
              <a:cxn ang="0">
                <a:pos x="connsiteX15481" y="connsiteY15481"/>
              </a:cxn>
              <a:cxn ang="0">
                <a:pos x="connsiteX15482" y="connsiteY15482"/>
              </a:cxn>
              <a:cxn ang="0">
                <a:pos x="connsiteX15483" y="connsiteY15483"/>
              </a:cxn>
              <a:cxn ang="0">
                <a:pos x="connsiteX15484" y="connsiteY15484"/>
              </a:cxn>
              <a:cxn ang="0">
                <a:pos x="connsiteX15485" y="connsiteY15485"/>
              </a:cxn>
              <a:cxn ang="0">
                <a:pos x="connsiteX15486" y="connsiteY15486"/>
              </a:cxn>
              <a:cxn ang="0">
                <a:pos x="connsiteX15487" y="connsiteY15487"/>
              </a:cxn>
              <a:cxn ang="0">
                <a:pos x="connsiteX15488" y="connsiteY15488"/>
              </a:cxn>
              <a:cxn ang="0">
                <a:pos x="connsiteX15489" y="connsiteY15489"/>
              </a:cxn>
              <a:cxn ang="0">
                <a:pos x="connsiteX15490" y="connsiteY15490"/>
              </a:cxn>
              <a:cxn ang="0">
                <a:pos x="connsiteX15491" y="connsiteY15491"/>
              </a:cxn>
              <a:cxn ang="0">
                <a:pos x="connsiteX15492" y="connsiteY15492"/>
              </a:cxn>
              <a:cxn ang="0">
                <a:pos x="connsiteX15493" y="connsiteY15493"/>
              </a:cxn>
              <a:cxn ang="0">
                <a:pos x="connsiteX15494" y="connsiteY15494"/>
              </a:cxn>
              <a:cxn ang="0">
                <a:pos x="connsiteX15495" y="connsiteY15495"/>
              </a:cxn>
              <a:cxn ang="0">
                <a:pos x="connsiteX15496" y="connsiteY15496"/>
              </a:cxn>
              <a:cxn ang="0">
                <a:pos x="connsiteX15497" y="connsiteY15497"/>
              </a:cxn>
              <a:cxn ang="0">
                <a:pos x="connsiteX15498" y="connsiteY15498"/>
              </a:cxn>
              <a:cxn ang="0">
                <a:pos x="connsiteX15499" y="connsiteY15499"/>
              </a:cxn>
              <a:cxn ang="0">
                <a:pos x="connsiteX15500" y="connsiteY15500"/>
              </a:cxn>
              <a:cxn ang="0">
                <a:pos x="connsiteX15501" y="connsiteY15501"/>
              </a:cxn>
              <a:cxn ang="0">
                <a:pos x="connsiteX15502" y="connsiteY15502"/>
              </a:cxn>
              <a:cxn ang="0">
                <a:pos x="connsiteX15503" y="connsiteY15503"/>
              </a:cxn>
              <a:cxn ang="0">
                <a:pos x="connsiteX15504" y="connsiteY15504"/>
              </a:cxn>
              <a:cxn ang="0">
                <a:pos x="connsiteX15505" y="connsiteY15505"/>
              </a:cxn>
              <a:cxn ang="0">
                <a:pos x="connsiteX15506" y="connsiteY15506"/>
              </a:cxn>
              <a:cxn ang="0">
                <a:pos x="connsiteX15507" y="connsiteY15507"/>
              </a:cxn>
              <a:cxn ang="0">
                <a:pos x="connsiteX15508" y="connsiteY15508"/>
              </a:cxn>
              <a:cxn ang="0">
                <a:pos x="connsiteX15509" y="connsiteY15509"/>
              </a:cxn>
              <a:cxn ang="0">
                <a:pos x="connsiteX15510" y="connsiteY15510"/>
              </a:cxn>
              <a:cxn ang="0">
                <a:pos x="connsiteX15511" y="connsiteY15511"/>
              </a:cxn>
              <a:cxn ang="0">
                <a:pos x="connsiteX15512" y="connsiteY15512"/>
              </a:cxn>
              <a:cxn ang="0">
                <a:pos x="connsiteX15513" y="connsiteY15513"/>
              </a:cxn>
              <a:cxn ang="0">
                <a:pos x="connsiteX15514" y="connsiteY15514"/>
              </a:cxn>
              <a:cxn ang="0">
                <a:pos x="connsiteX15515" y="connsiteY15515"/>
              </a:cxn>
              <a:cxn ang="0">
                <a:pos x="connsiteX15516" y="connsiteY15516"/>
              </a:cxn>
              <a:cxn ang="0">
                <a:pos x="connsiteX15517" y="connsiteY15517"/>
              </a:cxn>
              <a:cxn ang="0">
                <a:pos x="connsiteX15518" y="connsiteY15518"/>
              </a:cxn>
              <a:cxn ang="0">
                <a:pos x="connsiteX15519" y="connsiteY15519"/>
              </a:cxn>
              <a:cxn ang="0">
                <a:pos x="connsiteX15520" y="connsiteY15520"/>
              </a:cxn>
              <a:cxn ang="0">
                <a:pos x="connsiteX15521" y="connsiteY15521"/>
              </a:cxn>
              <a:cxn ang="0">
                <a:pos x="connsiteX15522" y="connsiteY15522"/>
              </a:cxn>
              <a:cxn ang="0">
                <a:pos x="connsiteX15523" y="connsiteY15523"/>
              </a:cxn>
              <a:cxn ang="0">
                <a:pos x="connsiteX15524" y="connsiteY15524"/>
              </a:cxn>
              <a:cxn ang="0">
                <a:pos x="connsiteX15525" y="connsiteY15525"/>
              </a:cxn>
              <a:cxn ang="0">
                <a:pos x="connsiteX15526" y="connsiteY15526"/>
              </a:cxn>
              <a:cxn ang="0">
                <a:pos x="connsiteX15527" y="connsiteY15527"/>
              </a:cxn>
              <a:cxn ang="0">
                <a:pos x="connsiteX15528" y="connsiteY15528"/>
              </a:cxn>
              <a:cxn ang="0">
                <a:pos x="connsiteX15529" y="connsiteY15529"/>
              </a:cxn>
              <a:cxn ang="0">
                <a:pos x="connsiteX15530" y="connsiteY15530"/>
              </a:cxn>
              <a:cxn ang="0">
                <a:pos x="connsiteX15531" y="connsiteY15531"/>
              </a:cxn>
              <a:cxn ang="0">
                <a:pos x="connsiteX15532" y="connsiteY15532"/>
              </a:cxn>
              <a:cxn ang="0">
                <a:pos x="connsiteX15533" y="connsiteY15533"/>
              </a:cxn>
              <a:cxn ang="0">
                <a:pos x="connsiteX15534" y="connsiteY15534"/>
              </a:cxn>
              <a:cxn ang="0">
                <a:pos x="connsiteX15535" y="connsiteY15535"/>
              </a:cxn>
              <a:cxn ang="0">
                <a:pos x="connsiteX15536" y="connsiteY15536"/>
              </a:cxn>
              <a:cxn ang="0">
                <a:pos x="connsiteX15537" y="connsiteY15537"/>
              </a:cxn>
              <a:cxn ang="0">
                <a:pos x="connsiteX15538" y="connsiteY15538"/>
              </a:cxn>
              <a:cxn ang="0">
                <a:pos x="connsiteX15539" y="connsiteY15539"/>
              </a:cxn>
              <a:cxn ang="0">
                <a:pos x="connsiteX15540" y="connsiteY15540"/>
              </a:cxn>
              <a:cxn ang="0">
                <a:pos x="connsiteX15541" y="connsiteY15541"/>
              </a:cxn>
              <a:cxn ang="0">
                <a:pos x="connsiteX15542" y="connsiteY15542"/>
              </a:cxn>
              <a:cxn ang="0">
                <a:pos x="connsiteX15543" y="connsiteY15543"/>
              </a:cxn>
              <a:cxn ang="0">
                <a:pos x="connsiteX15544" y="connsiteY15544"/>
              </a:cxn>
              <a:cxn ang="0">
                <a:pos x="connsiteX15545" y="connsiteY15545"/>
              </a:cxn>
              <a:cxn ang="0">
                <a:pos x="connsiteX15546" y="connsiteY15546"/>
              </a:cxn>
              <a:cxn ang="0">
                <a:pos x="connsiteX15547" y="connsiteY15547"/>
              </a:cxn>
              <a:cxn ang="0">
                <a:pos x="connsiteX15548" y="connsiteY15548"/>
              </a:cxn>
              <a:cxn ang="0">
                <a:pos x="connsiteX15549" y="connsiteY15549"/>
              </a:cxn>
              <a:cxn ang="0">
                <a:pos x="connsiteX15550" y="connsiteY15550"/>
              </a:cxn>
              <a:cxn ang="0">
                <a:pos x="connsiteX15551" y="connsiteY15551"/>
              </a:cxn>
              <a:cxn ang="0">
                <a:pos x="connsiteX15552" y="connsiteY15552"/>
              </a:cxn>
              <a:cxn ang="0">
                <a:pos x="connsiteX15553" y="connsiteY15553"/>
              </a:cxn>
              <a:cxn ang="0">
                <a:pos x="connsiteX15554" y="connsiteY15554"/>
              </a:cxn>
              <a:cxn ang="0">
                <a:pos x="connsiteX15555" y="connsiteY15555"/>
              </a:cxn>
              <a:cxn ang="0">
                <a:pos x="connsiteX15556" y="connsiteY15556"/>
              </a:cxn>
              <a:cxn ang="0">
                <a:pos x="connsiteX15557" y="connsiteY15557"/>
              </a:cxn>
              <a:cxn ang="0">
                <a:pos x="connsiteX15558" y="connsiteY15558"/>
              </a:cxn>
              <a:cxn ang="0">
                <a:pos x="connsiteX15559" y="connsiteY15559"/>
              </a:cxn>
              <a:cxn ang="0">
                <a:pos x="connsiteX15560" y="connsiteY15560"/>
              </a:cxn>
              <a:cxn ang="0">
                <a:pos x="connsiteX15561" y="connsiteY15561"/>
              </a:cxn>
              <a:cxn ang="0">
                <a:pos x="connsiteX15562" y="connsiteY15562"/>
              </a:cxn>
              <a:cxn ang="0">
                <a:pos x="connsiteX15563" y="connsiteY15563"/>
              </a:cxn>
              <a:cxn ang="0">
                <a:pos x="connsiteX15564" y="connsiteY15564"/>
              </a:cxn>
              <a:cxn ang="0">
                <a:pos x="connsiteX15565" y="connsiteY15565"/>
              </a:cxn>
              <a:cxn ang="0">
                <a:pos x="connsiteX15566" y="connsiteY15566"/>
              </a:cxn>
              <a:cxn ang="0">
                <a:pos x="connsiteX15567" y="connsiteY15567"/>
              </a:cxn>
              <a:cxn ang="0">
                <a:pos x="connsiteX15568" y="connsiteY15568"/>
              </a:cxn>
              <a:cxn ang="0">
                <a:pos x="connsiteX15569" y="connsiteY15569"/>
              </a:cxn>
              <a:cxn ang="0">
                <a:pos x="connsiteX15570" y="connsiteY15570"/>
              </a:cxn>
              <a:cxn ang="0">
                <a:pos x="connsiteX15571" y="connsiteY15571"/>
              </a:cxn>
              <a:cxn ang="0">
                <a:pos x="connsiteX15572" y="connsiteY15572"/>
              </a:cxn>
              <a:cxn ang="0">
                <a:pos x="connsiteX15573" y="connsiteY15573"/>
              </a:cxn>
              <a:cxn ang="0">
                <a:pos x="connsiteX15574" y="connsiteY15574"/>
              </a:cxn>
              <a:cxn ang="0">
                <a:pos x="connsiteX15575" y="connsiteY15575"/>
              </a:cxn>
              <a:cxn ang="0">
                <a:pos x="connsiteX15576" y="connsiteY15576"/>
              </a:cxn>
              <a:cxn ang="0">
                <a:pos x="connsiteX15577" y="connsiteY15577"/>
              </a:cxn>
              <a:cxn ang="0">
                <a:pos x="connsiteX15578" y="connsiteY15578"/>
              </a:cxn>
              <a:cxn ang="0">
                <a:pos x="connsiteX15579" y="connsiteY15579"/>
              </a:cxn>
              <a:cxn ang="0">
                <a:pos x="connsiteX15580" y="connsiteY15580"/>
              </a:cxn>
              <a:cxn ang="0">
                <a:pos x="connsiteX15581" y="connsiteY15581"/>
              </a:cxn>
              <a:cxn ang="0">
                <a:pos x="connsiteX15582" y="connsiteY15582"/>
              </a:cxn>
              <a:cxn ang="0">
                <a:pos x="connsiteX15583" y="connsiteY15583"/>
              </a:cxn>
              <a:cxn ang="0">
                <a:pos x="connsiteX15584" y="connsiteY15584"/>
              </a:cxn>
              <a:cxn ang="0">
                <a:pos x="connsiteX15585" y="connsiteY15585"/>
              </a:cxn>
              <a:cxn ang="0">
                <a:pos x="connsiteX15586" y="connsiteY15586"/>
              </a:cxn>
              <a:cxn ang="0">
                <a:pos x="connsiteX15587" y="connsiteY15587"/>
              </a:cxn>
              <a:cxn ang="0">
                <a:pos x="connsiteX15588" y="connsiteY15588"/>
              </a:cxn>
              <a:cxn ang="0">
                <a:pos x="connsiteX15589" y="connsiteY15589"/>
              </a:cxn>
              <a:cxn ang="0">
                <a:pos x="connsiteX15590" y="connsiteY15590"/>
              </a:cxn>
              <a:cxn ang="0">
                <a:pos x="connsiteX15591" y="connsiteY15591"/>
              </a:cxn>
              <a:cxn ang="0">
                <a:pos x="connsiteX15592" y="connsiteY15592"/>
              </a:cxn>
              <a:cxn ang="0">
                <a:pos x="connsiteX15593" y="connsiteY15593"/>
              </a:cxn>
              <a:cxn ang="0">
                <a:pos x="connsiteX15594" y="connsiteY15594"/>
              </a:cxn>
              <a:cxn ang="0">
                <a:pos x="connsiteX15595" y="connsiteY15595"/>
              </a:cxn>
              <a:cxn ang="0">
                <a:pos x="connsiteX15596" y="connsiteY15596"/>
              </a:cxn>
              <a:cxn ang="0">
                <a:pos x="connsiteX15597" y="connsiteY15597"/>
              </a:cxn>
              <a:cxn ang="0">
                <a:pos x="connsiteX15598" y="connsiteY15598"/>
              </a:cxn>
              <a:cxn ang="0">
                <a:pos x="connsiteX15599" y="connsiteY15599"/>
              </a:cxn>
              <a:cxn ang="0">
                <a:pos x="connsiteX15600" y="connsiteY15600"/>
              </a:cxn>
              <a:cxn ang="0">
                <a:pos x="connsiteX15601" y="connsiteY15601"/>
              </a:cxn>
              <a:cxn ang="0">
                <a:pos x="connsiteX15602" y="connsiteY15602"/>
              </a:cxn>
              <a:cxn ang="0">
                <a:pos x="connsiteX15603" y="connsiteY15603"/>
              </a:cxn>
              <a:cxn ang="0">
                <a:pos x="connsiteX15604" y="connsiteY15604"/>
              </a:cxn>
              <a:cxn ang="0">
                <a:pos x="connsiteX15605" y="connsiteY15605"/>
              </a:cxn>
              <a:cxn ang="0">
                <a:pos x="connsiteX15606" y="connsiteY15606"/>
              </a:cxn>
              <a:cxn ang="0">
                <a:pos x="connsiteX15607" y="connsiteY15607"/>
              </a:cxn>
              <a:cxn ang="0">
                <a:pos x="connsiteX15608" y="connsiteY15608"/>
              </a:cxn>
              <a:cxn ang="0">
                <a:pos x="connsiteX15609" y="connsiteY15609"/>
              </a:cxn>
              <a:cxn ang="0">
                <a:pos x="connsiteX15610" y="connsiteY15610"/>
              </a:cxn>
              <a:cxn ang="0">
                <a:pos x="connsiteX15611" y="connsiteY15611"/>
              </a:cxn>
              <a:cxn ang="0">
                <a:pos x="connsiteX15612" y="connsiteY15612"/>
              </a:cxn>
              <a:cxn ang="0">
                <a:pos x="connsiteX15613" y="connsiteY15613"/>
              </a:cxn>
              <a:cxn ang="0">
                <a:pos x="connsiteX15614" y="connsiteY15614"/>
              </a:cxn>
              <a:cxn ang="0">
                <a:pos x="connsiteX15615" y="connsiteY15615"/>
              </a:cxn>
              <a:cxn ang="0">
                <a:pos x="connsiteX15616" y="connsiteY15616"/>
              </a:cxn>
              <a:cxn ang="0">
                <a:pos x="connsiteX15617" y="connsiteY15617"/>
              </a:cxn>
              <a:cxn ang="0">
                <a:pos x="connsiteX15618" y="connsiteY15618"/>
              </a:cxn>
              <a:cxn ang="0">
                <a:pos x="connsiteX15619" y="connsiteY15619"/>
              </a:cxn>
              <a:cxn ang="0">
                <a:pos x="connsiteX15620" y="connsiteY15620"/>
              </a:cxn>
              <a:cxn ang="0">
                <a:pos x="connsiteX15621" y="connsiteY15621"/>
              </a:cxn>
              <a:cxn ang="0">
                <a:pos x="connsiteX15622" y="connsiteY15622"/>
              </a:cxn>
              <a:cxn ang="0">
                <a:pos x="connsiteX15623" y="connsiteY15623"/>
              </a:cxn>
              <a:cxn ang="0">
                <a:pos x="connsiteX15624" y="connsiteY15624"/>
              </a:cxn>
              <a:cxn ang="0">
                <a:pos x="connsiteX15625" y="connsiteY15625"/>
              </a:cxn>
              <a:cxn ang="0">
                <a:pos x="connsiteX15626" y="connsiteY15626"/>
              </a:cxn>
              <a:cxn ang="0">
                <a:pos x="connsiteX15627" y="connsiteY15627"/>
              </a:cxn>
              <a:cxn ang="0">
                <a:pos x="connsiteX15628" y="connsiteY15628"/>
              </a:cxn>
              <a:cxn ang="0">
                <a:pos x="connsiteX15629" y="connsiteY15629"/>
              </a:cxn>
              <a:cxn ang="0">
                <a:pos x="connsiteX15630" y="connsiteY15630"/>
              </a:cxn>
              <a:cxn ang="0">
                <a:pos x="connsiteX15631" y="connsiteY15631"/>
              </a:cxn>
              <a:cxn ang="0">
                <a:pos x="connsiteX15632" y="connsiteY15632"/>
              </a:cxn>
              <a:cxn ang="0">
                <a:pos x="connsiteX15633" y="connsiteY15633"/>
              </a:cxn>
              <a:cxn ang="0">
                <a:pos x="connsiteX15634" y="connsiteY15634"/>
              </a:cxn>
              <a:cxn ang="0">
                <a:pos x="connsiteX15635" y="connsiteY15635"/>
              </a:cxn>
              <a:cxn ang="0">
                <a:pos x="connsiteX15636" y="connsiteY15636"/>
              </a:cxn>
              <a:cxn ang="0">
                <a:pos x="connsiteX15637" y="connsiteY15637"/>
              </a:cxn>
              <a:cxn ang="0">
                <a:pos x="connsiteX15638" y="connsiteY15638"/>
              </a:cxn>
              <a:cxn ang="0">
                <a:pos x="connsiteX15639" y="connsiteY15639"/>
              </a:cxn>
              <a:cxn ang="0">
                <a:pos x="connsiteX15640" y="connsiteY15640"/>
              </a:cxn>
              <a:cxn ang="0">
                <a:pos x="connsiteX15641" y="connsiteY15641"/>
              </a:cxn>
              <a:cxn ang="0">
                <a:pos x="connsiteX15642" y="connsiteY15642"/>
              </a:cxn>
              <a:cxn ang="0">
                <a:pos x="connsiteX15643" y="connsiteY15643"/>
              </a:cxn>
              <a:cxn ang="0">
                <a:pos x="connsiteX15644" y="connsiteY15644"/>
              </a:cxn>
              <a:cxn ang="0">
                <a:pos x="connsiteX15645" y="connsiteY15645"/>
              </a:cxn>
              <a:cxn ang="0">
                <a:pos x="connsiteX15646" y="connsiteY15646"/>
              </a:cxn>
              <a:cxn ang="0">
                <a:pos x="connsiteX15647" y="connsiteY15647"/>
              </a:cxn>
              <a:cxn ang="0">
                <a:pos x="connsiteX15648" y="connsiteY15648"/>
              </a:cxn>
              <a:cxn ang="0">
                <a:pos x="connsiteX15649" y="connsiteY15649"/>
              </a:cxn>
              <a:cxn ang="0">
                <a:pos x="connsiteX15650" y="connsiteY15650"/>
              </a:cxn>
              <a:cxn ang="0">
                <a:pos x="connsiteX15651" y="connsiteY15651"/>
              </a:cxn>
              <a:cxn ang="0">
                <a:pos x="connsiteX15652" y="connsiteY15652"/>
              </a:cxn>
              <a:cxn ang="0">
                <a:pos x="connsiteX15653" y="connsiteY15653"/>
              </a:cxn>
              <a:cxn ang="0">
                <a:pos x="connsiteX15654" y="connsiteY15654"/>
              </a:cxn>
              <a:cxn ang="0">
                <a:pos x="connsiteX15655" y="connsiteY15655"/>
              </a:cxn>
              <a:cxn ang="0">
                <a:pos x="connsiteX15656" y="connsiteY15656"/>
              </a:cxn>
              <a:cxn ang="0">
                <a:pos x="connsiteX15657" y="connsiteY15657"/>
              </a:cxn>
              <a:cxn ang="0">
                <a:pos x="connsiteX15658" y="connsiteY15658"/>
              </a:cxn>
              <a:cxn ang="0">
                <a:pos x="connsiteX15659" y="connsiteY15659"/>
              </a:cxn>
              <a:cxn ang="0">
                <a:pos x="connsiteX15660" y="connsiteY15660"/>
              </a:cxn>
              <a:cxn ang="0">
                <a:pos x="connsiteX15661" y="connsiteY15661"/>
              </a:cxn>
              <a:cxn ang="0">
                <a:pos x="connsiteX15662" y="connsiteY15662"/>
              </a:cxn>
              <a:cxn ang="0">
                <a:pos x="connsiteX15663" y="connsiteY15663"/>
              </a:cxn>
              <a:cxn ang="0">
                <a:pos x="connsiteX15664" y="connsiteY15664"/>
              </a:cxn>
              <a:cxn ang="0">
                <a:pos x="connsiteX15665" y="connsiteY15665"/>
              </a:cxn>
              <a:cxn ang="0">
                <a:pos x="connsiteX15666" y="connsiteY15666"/>
              </a:cxn>
              <a:cxn ang="0">
                <a:pos x="connsiteX15667" y="connsiteY15667"/>
              </a:cxn>
              <a:cxn ang="0">
                <a:pos x="connsiteX15668" y="connsiteY15668"/>
              </a:cxn>
              <a:cxn ang="0">
                <a:pos x="connsiteX15669" y="connsiteY15669"/>
              </a:cxn>
              <a:cxn ang="0">
                <a:pos x="connsiteX15670" y="connsiteY15670"/>
              </a:cxn>
              <a:cxn ang="0">
                <a:pos x="connsiteX15671" y="connsiteY15671"/>
              </a:cxn>
              <a:cxn ang="0">
                <a:pos x="connsiteX15672" y="connsiteY15672"/>
              </a:cxn>
              <a:cxn ang="0">
                <a:pos x="connsiteX15673" y="connsiteY15673"/>
              </a:cxn>
              <a:cxn ang="0">
                <a:pos x="connsiteX15674" y="connsiteY15674"/>
              </a:cxn>
              <a:cxn ang="0">
                <a:pos x="connsiteX15675" y="connsiteY15675"/>
              </a:cxn>
              <a:cxn ang="0">
                <a:pos x="connsiteX15676" y="connsiteY15676"/>
              </a:cxn>
              <a:cxn ang="0">
                <a:pos x="connsiteX15677" y="connsiteY15677"/>
              </a:cxn>
              <a:cxn ang="0">
                <a:pos x="connsiteX15678" y="connsiteY15678"/>
              </a:cxn>
              <a:cxn ang="0">
                <a:pos x="connsiteX15679" y="connsiteY15679"/>
              </a:cxn>
              <a:cxn ang="0">
                <a:pos x="connsiteX15680" y="connsiteY15680"/>
              </a:cxn>
              <a:cxn ang="0">
                <a:pos x="connsiteX15681" y="connsiteY15681"/>
              </a:cxn>
              <a:cxn ang="0">
                <a:pos x="connsiteX15682" y="connsiteY15682"/>
              </a:cxn>
              <a:cxn ang="0">
                <a:pos x="connsiteX15683" y="connsiteY15683"/>
              </a:cxn>
              <a:cxn ang="0">
                <a:pos x="connsiteX15684" y="connsiteY15684"/>
              </a:cxn>
              <a:cxn ang="0">
                <a:pos x="connsiteX15685" y="connsiteY15685"/>
              </a:cxn>
              <a:cxn ang="0">
                <a:pos x="connsiteX15686" y="connsiteY15686"/>
              </a:cxn>
              <a:cxn ang="0">
                <a:pos x="connsiteX15687" y="connsiteY15687"/>
              </a:cxn>
              <a:cxn ang="0">
                <a:pos x="connsiteX15688" y="connsiteY15688"/>
              </a:cxn>
              <a:cxn ang="0">
                <a:pos x="connsiteX15689" y="connsiteY15689"/>
              </a:cxn>
              <a:cxn ang="0">
                <a:pos x="connsiteX15690" y="connsiteY15690"/>
              </a:cxn>
              <a:cxn ang="0">
                <a:pos x="connsiteX15691" y="connsiteY15691"/>
              </a:cxn>
              <a:cxn ang="0">
                <a:pos x="connsiteX15692" y="connsiteY15692"/>
              </a:cxn>
              <a:cxn ang="0">
                <a:pos x="connsiteX15693" y="connsiteY15693"/>
              </a:cxn>
              <a:cxn ang="0">
                <a:pos x="connsiteX15694" y="connsiteY15694"/>
              </a:cxn>
              <a:cxn ang="0">
                <a:pos x="connsiteX15695" y="connsiteY15695"/>
              </a:cxn>
              <a:cxn ang="0">
                <a:pos x="connsiteX15696" y="connsiteY15696"/>
              </a:cxn>
              <a:cxn ang="0">
                <a:pos x="connsiteX15697" y="connsiteY15697"/>
              </a:cxn>
              <a:cxn ang="0">
                <a:pos x="connsiteX15698" y="connsiteY15698"/>
              </a:cxn>
              <a:cxn ang="0">
                <a:pos x="connsiteX15699" y="connsiteY15699"/>
              </a:cxn>
              <a:cxn ang="0">
                <a:pos x="connsiteX15700" y="connsiteY15700"/>
              </a:cxn>
              <a:cxn ang="0">
                <a:pos x="connsiteX15701" y="connsiteY15701"/>
              </a:cxn>
              <a:cxn ang="0">
                <a:pos x="connsiteX15702" y="connsiteY15702"/>
              </a:cxn>
              <a:cxn ang="0">
                <a:pos x="connsiteX15703" y="connsiteY15703"/>
              </a:cxn>
              <a:cxn ang="0">
                <a:pos x="connsiteX15704" y="connsiteY15704"/>
              </a:cxn>
              <a:cxn ang="0">
                <a:pos x="connsiteX15705" y="connsiteY15705"/>
              </a:cxn>
              <a:cxn ang="0">
                <a:pos x="connsiteX15706" y="connsiteY15706"/>
              </a:cxn>
              <a:cxn ang="0">
                <a:pos x="connsiteX15707" y="connsiteY15707"/>
              </a:cxn>
              <a:cxn ang="0">
                <a:pos x="connsiteX15708" y="connsiteY15708"/>
              </a:cxn>
              <a:cxn ang="0">
                <a:pos x="connsiteX15709" y="connsiteY15709"/>
              </a:cxn>
              <a:cxn ang="0">
                <a:pos x="connsiteX15710" y="connsiteY15710"/>
              </a:cxn>
              <a:cxn ang="0">
                <a:pos x="connsiteX15711" y="connsiteY15711"/>
              </a:cxn>
              <a:cxn ang="0">
                <a:pos x="connsiteX15712" y="connsiteY15712"/>
              </a:cxn>
              <a:cxn ang="0">
                <a:pos x="connsiteX15713" y="connsiteY15713"/>
              </a:cxn>
              <a:cxn ang="0">
                <a:pos x="connsiteX15714" y="connsiteY15714"/>
              </a:cxn>
              <a:cxn ang="0">
                <a:pos x="connsiteX15715" y="connsiteY15715"/>
              </a:cxn>
              <a:cxn ang="0">
                <a:pos x="connsiteX15716" y="connsiteY15716"/>
              </a:cxn>
              <a:cxn ang="0">
                <a:pos x="connsiteX15717" y="connsiteY15717"/>
              </a:cxn>
              <a:cxn ang="0">
                <a:pos x="connsiteX15718" y="connsiteY15718"/>
              </a:cxn>
              <a:cxn ang="0">
                <a:pos x="connsiteX15719" y="connsiteY15719"/>
              </a:cxn>
              <a:cxn ang="0">
                <a:pos x="connsiteX15720" y="connsiteY15720"/>
              </a:cxn>
              <a:cxn ang="0">
                <a:pos x="connsiteX15721" y="connsiteY15721"/>
              </a:cxn>
              <a:cxn ang="0">
                <a:pos x="connsiteX15722" y="connsiteY15722"/>
              </a:cxn>
              <a:cxn ang="0">
                <a:pos x="connsiteX15723" y="connsiteY15723"/>
              </a:cxn>
              <a:cxn ang="0">
                <a:pos x="connsiteX15724" y="connsiteY15724"/>
              </a:cxn>
              <a:cxn ang="0">
                <a:pos x="connsiteX15725" y="connsiteY15725"/>
              </a:cxn>
              <a:cxn ang="0">
                <a:pos x="connsiteX15726" y="connsiteY15726"/>
              </a:cxn>
              <a:cxn ang="0">
                <a:pos x="connsiteX15727" y="connsiteY15727"/>
              </a:cxn>
              <a:cxn ang="0">
                <a:pos x="connsiteX15728" y="connsiteY15728"/>
              </a:cxn>
              <a:cxn ang="0">
                <a:pos x="connsiteX15729" y="connsiteY15729"/>
              </a:cxn>
              <a:cxn ang="0">
                <a:pos x="connsiteX15730" y="connsiteY15730"/>
              </a:cxn>
              <a:cxn ang="0">
                <a:pos x="connsiteX15731" y="connsiteY15731"/>
              </a:cxn>
              <a:cxn ang="0">
                <a:pos x="connsiteX15732" y="connsiteY15732"/>
              </a:cxn>
              <a:cxn ang="0">
                <a:pos x="connsiteX15733" y="connsiteY15733"/>
              </a:cxn>
              <a:cxn ang="0">
                <a:pos x="connsiteX15734" y="connsiteY15734"/>
              </a:cxn>
              <a:cxn ang="0">
                <a:pos x="connsiteX15735" y="connsiteY15735"/>
              </a:cxn>
              <a:cxn ang="0">
                <a:pos x="connsiteX15736" y="connsiteY15736"/>
              </a:cxn>
              <a:cxn ang="0">
                <a:pos x="connsiteX15737" y="connsiteY15737"/>
              </a:cxn>
              <a:cxn ang="0">
                <a:pos x="connsiteX15738" y="connsiteY15738"/>
              </a:cxn>
              <a:cxn ang="0">
                <a:pos x="connsiteX15739" y="connsiteY15739"/>
              </a:cxn>
              <a:cxn ang="0">
                <a:pos x="connsiteX15740" y="connsiteY15740"/>
              </a:cxn>
              <a:cxn ang="0">
                <a:pos x="connsiteX15741" y="connsiteY15741"/>
              </a:cxn>
              <a:cxn ang="0">
                <a:pos x="connsiteX15742" y="connsiteY15742"/>
              </a:cxn>
              <a:cxn ang="0">
                <a:pos x="connsiteX15743" y="connsiteY15743"/>
              </a:cxn>
              <a:cxn ang="0">
                <a:pos x="connsiteX15744" y="connsiteY15744"/>
              </a:cxn>
              <a:cxn ang="0">
                <a:pos x="connsiteX15745" y="connsiteY15745"/>
              </a:cxn>
              <a:cxn ang="0">
                <a:pos x="connsiteX15746" y="connsiteY15746"/>
              </a:cxn>
              <a:cxn ang="0">
                <a:pos x="connsiteX15747" y="connsiteY15747"/>
              </a:cxn>
              <a:cxn ang="0">
                <a:pos x="connsiteX15748" y="connsiteY15748"/>
              </a:cxn>
              <a:cxn ang="0">
                <a:pos x="connsiteX15749" y="connsiteY15749"/>
              </a:cxn>
              <a:cxn ang="0">
                <a:pos x="connsiteX15750" y="connsiteY15750"/>
              </a:cxn>
              <a:cxn ang="0">
                <a:pos x="connsiteX15751" y="connsiteY15751"/>
              </a:cxn>
              <a:cxn ang="0">
                <a:pos x="connsiteX15752" y="connsiteY15752"/>
              </a:cxn>
              <a:cxn ang="0">
                <a:pos x="connsiteX15753" y="connsiteY15753"/>
              </a:cxn>
              <a:cxn ang="0">
                <a:pos x="connsiteX15754" y="connsiteY15754"/>
              </a:cxn>
              <a:cxn ang="0">
                <a:pos x="connsiteX15755" y="connsiteY15755"/>
              </a:cxn>
              <a:cxn ang="0">
                <a:pos x="connsiteX15756" y="connsiteY15756"/>
              </a:cxn>
              <a:cxn ang="0">
                <a:pos x="connsiteX15757" y="connsiteY15757"/>
              </a:cxn>
              <a:cxn ang="0">
                <a:pos x="connsiteX15758" y="connsiteY15758"/>
              </a:cxn>
              <a:cxn ang="0">
                <a:pos x="connsiteX15759" y="connsiteY15759"/>
              </a:cxn>
              <a:cxn ang="0">
                <a:pos x="connsiteX15760" y="connsiteY15760"/>
              </a:cxn>
              <a:cxn ang="0">
                <a:pos x="connsiteX15761" y="connsiteY15761"/>
              </a:cxn>
              <a:cxn ang="0">
                <a:pos x="connsiteX15762" y="connsiteY15762"/>
              </a:cxn>
              <a:cxn ang="0">
                <a:pos x="connsiteX15763" y="connsiteY15763"/>
              </a:cxn>
              <a:cxn ang="0">
                <a:pos x="connsiteX15764" y="connsiteY15764"/>
              </a:cxn>
              <a:cxn ang="0">
                <a:pos x="connsiteX15765" y="connsiteY15765"/>
              </a:cxn>
              <a:cxn ang="0">
                <a:pos x="connsiteX15766" y="connsiteY15766"/>
              </a:cxn>
              <a:cxn ang="0">
                <a:pos x="connsiteX15767" y="connsiteY15767"/>
              </a:cxn>
              <a:cxn ang="0">
                <a:pos x="connsiteX15768" y="connsiteY15768"/>
              </a:cxn>
              <a:cxn ang="0">
                <a:pos x="connsiteX15769" y="connsiteY15769"/>
              </a:cxn>
              <a:cxn ang="0">
                <a:pos x="connsiteX15770" y="connsiteY15770"/>
              </a:cxn>
              <a:cxn ang="0">
                <a:pos x="connsiteX15771" y="connsiteY15771"/>
              </a:cxn>
              <a:cxn ang="0">
                <a:pos x="connsiteX15772" y="connsiteY15772"/>
              </a:cxn>
              <a:cxn ang="0">
                <a:pos x="connsiteX15773" y="connsiteY15773"/>
              </a:cxn>
              <a:cxn ang="0">
                <a:pos x="connsiteX15774" y="connsiteY15774"/>
              </a:cxn>
              <a:cxn ang="0">
                <a:pos x="connsiteX15775" y="connsiteY15775"/>
              </a:cxn>
              <a:cxn ang="0">
                <a:pos x="connsiteX15776" y="connsiteY15776"/>
              </a:cxn>
              <a:cxn ang="0">
                <a:pos x="connsiteX15777" y="connsiteY15777"/>
              </a:cxn>
              <a:cxn ang="0">
                <a:pos x="connsiteX15778" y="connsiteY15778"/>
              </a:cxn>
              <a:cxn ang="0">
                <a:pos x="connsiteX15779" y="connsiteY15779"/>
              </a:cxn>
              <a:cxn ang="0">
                <a:pos x="connsiteX15780" y="connsiteY15780"/>
              </a:cxn>
              <a:cxn ang="0">
                <a:pos x="connsiteX15781" y="connsiteY15781"/>
              </a:cxn>
              <a:cxn ang="0">
                <a:pos x="connsiteX15782" y="connsiteY15782"/>
              </a:cxn>
              <a:cxn ang="0">
                <a:pos x="connsiteX15783" y="connsiteY15783"/>
              </a:cxn>
              <a:cxn ang="0">
                <a:pos x="connsiteX15784" y="connsiteY15784"/>
              </a:cxn>
              <a:cxn ang="0">
                <a:pos x="connsiteX15785" y="connsiteY15785"/>
              </a:cxn>
              <a:cxn ang="0">
                <a:pos x="connsiteX15786" y="connsiteY15786"/>
              </a:cxn>
              <a:cxn ang="0">
                <a:pos x="connsiteX15787" y="connsiteY15787"/>
              </a:cxn>
              <a:cxn ang="0">
                <a:pos x="connsiteX15788" y="connsiteY15788"/>
              </a:cxn>
              <a:cxn ang="0">
                <a:pos x="connsiteX15789" y="connsiteY15789"/>
              </a:cxn>
              <a:cxn ang="0">
                <a:pos x="connsiteX15790" y="connsiteY15790"/>
              </a:cxn>
              <a:cxn ang="0">
                <a:pos x="connsiteX15791" y="connsiteY15791"/>
              </a:cxn>
              <a:cxn ang="0">
                <a:pos x="connsiteX15792" y="connsiteY15792"/>
              </a:cxn>
              <a:cxn ang="0">
                <a:pos x="connsiteX15793" y="connsiteY15793"/>
              </a:cxn>
              <a:cxn ang="0">
                <a:pos x="connsiteX15794" y="connsiteY15794"/>
              </a:cxn>
              <a:cxn ang="0">
                <a:pos x="connsiteX15795" y="connsiteY15795"/>
              </a:cxn>
              <a:cxn ang="0">
                <a:pos x="connsiteX15796" y="connsiteY15796"/>
              </a:cxn>
              <a:cxn ang="0">
                <a:pos x="connsiteX15797" y="connsiteY15797"/>
              </a:cxn>
              <a:cxn ang="0">
                <a:pos x="connsiteX15798" y="connsiteY15798"/>
              </a:cxn>
              <a:cxn ang="0">
                <a:pos x="connsiteX15799" y="connsiteY15799"/>
              </a:cxn>
              <a:cxn ang="0">
                <a:pos x="connsiteX15800" y="connsiteY15800"/>
              </a:cxn>
              <a:cxn ang="0">
                <a:pos x="connsiteX15801" y="connsiteY15801"/>
              </a:cxn>
              <a:cxn ang="0">
                <a:pos x="connsiteX15802" y="connsiteY15802"/>
              </a:cxn>
              <a:cxn ang="0">
                <a:pos x="connsiteX15803" y="connsiteY15803"/>
              </a:cxn>
              <a:cxn ang="0">
                <a:pos x="connsiteX15804" y="connsiteY15804"/>
              </a:cxn>
              <a:cxn ang="0">
                <a:pos x="connsiteX15805" y="connsiteY15805"/>
              </a:cxn>
              <a:cxn ang="0">
                <a:pos x="connsiteX15806" y="connsiteY15806"/>
              </a:cxn>
              <a:cxn ang="0">
                <a:pos x="connsiteX15807" y="connsiteY15807"/>
              </a:cxn>
              <a:cxn ang="0">
                <a:pos x="connsiteX15808" y="connsiteY15808"/>
              </a:cxn>
              <a:cxn ang="0">
                <a:pos x="connsiteX15809" y="connsiteY15809"/>
              </a:cxn>
              <a:cxn ang="0">
                <a:pos x="connsiteX15810" y="connsiteY15810"/>
              </a:cxn>
              <a:cxn ang="0">
                <a:pos x="connsiteX15811" y="connsiteY15811"/>
              </a:cxn>
              <a:cxn ang="0">
                <a:pos x="connsiteX15812" y="connsiteY15812"/>
              </a:cxn>
              <a:cxn ang="0">
                <a:pos x="connsiteX15813" y="connsiteY15813"/>
              </a:cxn>
              <a:cxn ang="0">
                <a:pos x="connsiteX15814" y="connsiteY15814"/>
              </a:cxn>
              <a:cxn ang="0">
                <a:pos x="connsiteX15815" y="connsiteY15815"/>
              </a:cxn>
              <a:cxn ang="0">
                <a:pos x="connsiteX15816" y="connsiteY15816"/>
              </a:cxn>
              <a:cxn ang="0">
                <a:pos x="connsiteX15817" y="connsiteY15817"/>
              </a:cxn>
              <a:cxn ang="0">
                <a:pos x="connsiteX15818" y="connsiteY15818"/>
              </a:cxn>
              <a:cxn ang="0">
                <a:pos x="connsiteX15819" y="connsiteY15819"/>
              </a:cxn>
              <a:cxn ang="0">
                <a:pos x="connsiteX15820" y="connsiteY15820"/>
              </a:cxn>
              <a:cxn ang="0">
                <a:pos x="connsiteX15821" y="connsiteY15821"/>
              </a:cxn>
              <a:cxn ang="0">
                <a:pos x="connsiteX15822" y="connsiteY15822"/>
              </a:cxn>
              <a:cxn ang="0">
                <a:pos x="connsiteX15823" y="connsiteY15823"/>
              </a:cxn>
              <a:cxn ang="0">
                <a:pos x="connsiteX15824" y="connsiteY15824"/>
              </a:cxn>
              <a:cxn ang="0">
                <a:pos x="connsiteX15825" y="connsiteY15825"/>
              </a:cxn>
              <a:cxn ang="0">
                <a:pos x="connsiteX15826" y="connsiteY15826"/>
              </a:cxn>
              <a:cxn ang="0">
                <a:pos x="connsiteX15827" y="connsiteY15827"/>
              </a:cxn>
              <a:cxn ang="0">
                <a:pos x="connsiteX15828" y="connsiteY15828"/>
              </a:cxn>
              <a:cxn ang="0">
                <a:pos x="connsiteX15829" y="connsiteY15829"/>
              </a:cxn>
              <a:cxn ang="0">
                <a:pos x="connsiteX15830" y="connsiteY15830"/>
              </a:cxn>
              <a:cxn ang="0">
                <a:pos x="connsiteX15831" y="connsiteY15831"/>
              </a:cxn>
              <a:cxn ang="0">
                <a:pos x="connsiteX15832" y="connsiteY15832"/>
              </a:cxn>
              <a:cxn ang="0">
                <a:pos x="connsiteX15833" y="connsiteY15833"/>
              </a:cxn>
              <a:cxn ang="0">
                <a:pos x="connsiteX15834" y="connsiteY15834"/>
              </a:cxn>
              <a:cxn ang="0">
                <a:pos x="connsiteX15835" y="connsiteY15835"/>
              </a:cxn>
              <a:cxn ang="0">
                <a:pos x="connsiteX15836" y="connsiteY15836"/>
              </a:cxn>
              <a:cxn ang="0">
                <a:pos x="connsiteX15837" y="connsiteY15837"/>
              </a:cxn>
              <a:cxn ang="0">
                <a:pos x="connsiteX15838" y="connsiteY15838"/>
              </a:cxn>
              <a:cxn ang="0">
                <a:pos x="connsiteX15839" y="connsiteY15839"/>
              </a:cxn>
              <a:cxn ang="0">
                <a:pos x="connsiteX15840" y="connsiteY15840"/>
              </a:cxn>
              <a:cxn ang="0">
                <a:pos x="connsiteX15841" y="connsiteY15841"/>
              </a:cxn>
              <a:cxn ang="0">
                <a:pos x="connsiteX15842" y="connsiteY15842"/>
              </a:cxn>
              <a:cxn ang="0">
                <a:pos x="connsiteX15843" y="connsiteY15843"/>
              </a:cxn>
              <a:cxn ang="0">
                <a:pos x="connsiteX15844" y="connsiteY15844"/>
              </a:cxn>
              <a:cxn ang="0">
                <a:pos x="connsiteX15845" y="connsiteY15845"/>
              </a:cxn>
              <a:cxn ang="0">
                <a:pos x="connsiteX15846" y="connsiteY15846"/>
              </a:cxn>
              <a:cxn ang="0">
                <a:pos x="connsiteX15847" y="connsiteY15847"/>
              </a:cxn>
              <a:cxn ang="0">
                <a:pos x="connsiteX15848" y="connsiteY15848"/>
              </a:cxn>
              <a:cxn ang="0">
                <a:pos x="connsiteX15849" y="connsiteY15849"/>
              </a:cxn>
              <a:cxn ang="0">
                <a:pos x="connsiteX15850" y="connsiteY15850"/>
              </a:cxn>
              <a:cxn ang="0">
                <a:pos x="connsiteX15851" y="connsiteY15851"/>
              </a:cxn>
              <a:cxn ang="0">
                <a:pos x="connsiteX15852" y="connsiteY15852"/>
              </a:cxn>
              <a:cxn ang="0">
                <a:pos x="connsiteX15853" y="connsiteY15853"/>
              </a:cxn>
              <a:cxn ang="0">
                <a:pos x="connsiteX15854" y="connsiteY15854"/>
              </a:cxn>
              <a:cxn ang="0">
                <a:pos x="connsiteX15855" y="connsiteY15855"/>
              </a:cxn>
              <a:cxn ang="0">
                <a:pos x="connsiteX15856" y="connsiteY15856"/>
              </a:cxn>
              <a:cxn ang="0">
                <a:pos x="connsiteX15857" y="connsiteY15857"/>
              </a:cxn>
              <a:cxn ang="0">
                <a:pos x="connsiteX15858" y="connsiteY15858"/>
              </a:cxn>
              <a:cxn ang="0">
                <a:pos x="connsiteX15859" y="connsiteY15859"/>
              </a:cxn>
              <a:cxn ang="0">
                <a:pos x="connsiteX15860" y="connsiteY15860"/>
              </a:cxn>
              <a:cxn ang="0">
                <a:pos x="connsiteX15861" y="connsiteY15861"/>
              </a:cxn>
              <a:cxn ang="0">
                <a:pos x="connsiteX15862" y="connsiteY15862"/>
              </a:cxn>
              <a:cxn ang="0">
                <a:pos x="connsiteX15863" y="connsiteY15863"/>
              </a:cxn>
              <a:cxn ang="0">
                <a:pos x="connsiteX15864" y="connsiteY15864"/>
              </a:cxn>
              <a:cxn ang="0">
                <a:pos x="connsiteX15865" y="connsiteY15865"/>
              </a:cxn>
              <a:cxn ang="0">
                <a:pos x="connsiteX15866" y="connsiteY15866"/>
              </a:cxn>
              <a:cxn ang="0">
                <a:pos x="connsiteX15867" y="connsiteY15867"/>
              </a:cxn>
              <a:cxn ang="0">
                <a:pos x="connsiteX15868" y="connsiteY15868"/>
              </a:cxn>
              <a:cxn ang="0">
                <a:pos x="connsiteX15869" y="connsiteY15869"/>
              </a:cxn>
              <a:cxn ang="0">
                <a:pos x="connsiteX15870" y="connsiteY15870"/>
              </a:cxn>
              <a:cxn ang="0">
                <a:pos x="connsiteX15871" y="connsiteY15871"/>
              </a:cxn>
              <a:cxn ang="0">
                <a:pos x="connsiteX15872" y="connsiteY15872"/>
              </a:cxn>
              <a:cxn ang="0">
                <a:pos x="connsiteX15873" y="connsiteY15873"/>
              </a:cxn>
              <a:cxn ang="0">
                <a:pos x="connsiteX15874" y="connsiteY15874"/>
              </a:cxn>
              <a:cxn ang="0">
                <a:pos x="connsiteX15875" y="connsiteY15875"/>
              </a:cxn>
              <a:cxn ang="0">
                <a:pos x="connsiteX15876" y="connsiteY15876"/>
              </a:cxn>
              <a:cxn ang="0">
                <a:pos x="connsiteX15877" y="connsiteY15877"/>
              </a:cxn>
              <a:cxn ang="0">
                <a:pos x="connsiteX15878" y="connsiteY15878"/>
              </a:cxn>
              <a:cxn ang="0">
                <a:pos x="connsiteX15879" y="connsiteY15879"/>
              </a:cxn>
              <a:cxn ang="0">
                <a:pos x="connsiteX15880" y="connsiteY15880"/>
              </a:cxn>
              <a:cxn ang="0">
                <a:pos x="connsiteX15881" y="connsiteY15881"/>
              </a:cxn>
              <a:cxn ang="0">
                <a:pos x="connsiteX15882" y="connsiteY15882"/>
              </a:cxn>
              <a:cxn ang="0">
                <a:pos x="connsiteX15883" y="connsiteY15883"/>
              </a:cxn>
              <a:cxn ang="0">
                <a:pos x="connsiteX15884" y="connsiteY15884"/>
              </a:cxn>
              <a:cxn ang="0">
                <a:pos x="connsiteX15885" y="connsiteY15885"/>
              </a:cxn>
              <a:cxn ang="0">
                <a:pos x="connsiteX15886" y="connsiteY15886"/>
              </a:cxn>
              <a:cxn ang="0">
                <a:pos x="connsiteX15887" y="connsiteY15887"/>
              </a:cxn>
              <a:cxn ang="0">
                <a:pos x="connsiteX15888" y="connsiteY15888"/>
              </a:cxn>
              <a:cxn ang="0">
                <a:pos x="connsiteX15889" y="connsiteY15889"/>
              </a:cxn>
              <a:cxn ang="0">
                <a:pos x="connsiteX15890" y="connsiteY15890"/>
              </a:cxn>
              <a:cxn ang="0">
                <a:pos x="connsiteX15891" y="connsiteY15891"/>
              </a:cxn>
              <a:cxn ang="0">
                <a:pos x="connsiteX15892" y="connsiteY15892"/>
              </a:cxn>
              <a:cxn ang="0">
                <a:pos x="connsiteX15893" y="connsiteY15893"/>
              </a:cxn>
              <a:cxn ang="0">
                <a:pos x="connsiteX15894" y="connsiteY15894"/>
              </a:cxn>
              <a:cxn ang="0">
                <a:pos x="connsiteX15895" y="connsiteY15895"/>
              </a:cxn>
              <a:cxn ang="0">
                <a:pos x="connsiteX15896" y="connsiteY15896"/>
              </a:cxn>
              <a:cxn ang="0">
                <a:pos x="connsiteX15897" y="connsiteY15897"/>
              </a:cxn>
              <a:cxn ang="0">
                <a:pos x="connsiteX15898" y="connsiteY15898"/>
              </a:cxn>
              <a:cxn ang="0">
                <a:pos x="connsiteX15899" y="connsiteY15899"/>
              </a:cxn>
              <a:cxn ang="0">
                <a:pos x="connsiteX15900" y="connsiteY15900"/>
              </a:cxn>
              <a:cxn ang="0">
                <a:pos x="connsiteX15901" y="connsiteY15901"/>
              </a:cxn>
              <a:cxn ang="0">
                <a:pos x="connsiteX15902" y="connsiteY15902"/>
              </a:cxn>
              <a:cxn ang="0">
                <a:pos x="connsiteX15903" y="connsiteY15903"/>
              </a:cxn>
              <a:cxn ang="0">
                <a:pos x="connsiteX15904" y="connsiteY15904"/>
              </a:cxn>
              <a:cxn ang="0">
                <a:pos x="connsiteX15905" y="connsiteY15905"/>
              </a:cxn>
              <a:cxn ang="0">
                <a:pos x="connsiteX15906" y="connsiteY15906"/>
              </a:cxn>
              <a:cxn ang="0">
                <a:pos x="connsiteX15907" y="connsiteY15907"/>
              </a:cxn>
              <a:cxn ang="0">
                <a:pos x="connsiteX15908" y="connsiteY15908"/>
              </a:cxn>
              <a:cxn ang="0">
                <a:pos x="connsiteX15909" y="connsiteY15909"/>
              </a:cxn>
              <a:cxn ang="0">
                <a:pos x="connsiteX15910" y="connsiteY15910"/>
              </a:cxn>
              <a:cxn ang="0">
                <a:pos x="connsiteX15911" y="connsiteY15911"/>
              </a:cxn>
              <a:cxn ang="0">
                <a:pos x="connsiteX15912" y="connsiteY15912"/>
              </a:cxn>
              <a:cxn ang="0">
                <a:pos x="connsiteX15913" y="connsiteY15913"/>
              </a:cxn>
              <a:cxn ang="0">
                <a:pos x="connsiteX15914" y="connsiteY15914"/>
              </a:cxn>
              <a:cxn ang="0">
                <a:pos x="connsiteX15915" y="connsiteY15915"/>
              </a:cxn>
              <a:cxn ang="0">
                <a:pos x="connsiteX15916" y="connsiteY15916"/>
              </a:cxn>
              <a:cxn ang="0">
                <a:pos x="connsiteX15917" y="connsiteY15917"/>
              </a:cxn>
              <a:cxn ang="0">
                <a:pos x="connsiteX15918" y="connsiteY15918"/>
              </a:cxn>
              <a:cxn ang="0">
                <a:pos x="connsiteX15919" y="connsiteY15919"/>
              </a:cxn>
              <a:cxn ang="0">
                <a:pos x="connsiteX15920" y="connsiteY15920"/>
              </a:cxn>
              <a:cxn ang="0">
                <a:pos x="connsiteX15921" y="connsiteY15921"/>
              </a:cxn>
              <a:cxn ang="0">
                <a:pos x="connsiteX15922" y="connsiteY15922"/>
              </a:cxn>
              <a:cxn ang="0">
                <a:pos x="connsiteX15923" y="connsiteY15923"/>
              </a:cxn>
              <a:cxn ang="0">
                <a:pos x="connsiteX15924" y="connsiteY15924"/>
              </a:cxn>
              <a:cxn ang="0">
                <a:pos x="connsiteX15925" y="connsiteY15925"/>
              </a:cxn>
              <a:cxn ang="0">
                <a:pos x="connsiteX15926" y="connsiteY15926"/>
              </a:cxn>
              <a:cxn ang="0">
                <a:pos x="connsiteX15927" y="connsiteY15927"/>
              </a:cxn>
              <a:cxn ang="0">
                <a:pos x="connsiteX15928" y="connsiteY15928"/>
              </a:cxn>
              <a:cxn ang="0">
                <a:pos x="connsiteX15929" y="connsiteY15929"/>
              </a:cxn>
              <a:cxn ang="0">
                <a:pos x="connsiteX15930" y="connsiteY15930"/>
              </a:cxn>
              <a:cxn ang="0">
                <a:pos x="connsiteX15931" y="connsiteY15931"/>
              </a:cxn>
              <a:cxn ang="0">
                <a:pos x="connsiteX15932" y="connsiteY15932"/>
              </a:cxn>
              <a:cxn ang="0">
                <a:pos x="connsiteX15933" y="connsiteY15933"/>
              </a:cxn>
              <a:cxn ang="0">
                <a:pos x="connsiteX15934" y="connsiteY15934"/>
              </a:cxn>
              <a:cxn ang="0">
                <a:pos x="connsiteX15935" y="connsiteY15935"/>
              </a:cxn>
              <a:cxn ang="0">
                <a:pos x="connsiteX15936" y="connsiteY15936"/>
              </a:cxn>
              <a:cxn ang="0">
                <a:pos x="connsiteX15937" y="connsiteY15937"/>
              </a:cxn>
              <a:cxn ang="0">
                <a:pos x="connsiteX15938" y="connsiteY15938"/>
              </a:cxn>
              <a:cxn ang="0">
                <a:pos x="connsiteX15939" y="connsiteY15939"/>
              </a:cxn>
              <a:cxn ang="0">
                <a:pos x="connsiteX15940" y="connsiteY15940"/>
              </a:cxn>
              <a:cxn ang="0">
                <a:pos x="connsiteX15941" y="connsiteY15941"/>
              </a:cxn>
              <a:cxn ang="0">
                <a:pos x="connsiteX15942" y="connsiteY15942"/>
              </a:cxn>
              <a:cxn ang="0">
                <a:pos x="connsiteX15943" y="connsiteY15943"/>
              </a:cxn>
              <a:cxn ang="0">
                <a:pos x="connsiteX15944" y="connsiteY15944"/>
              </a:cxn>
              <a:cxn ang="0">
                <a:pos x="connsiteX15945" y="connsiteY15945"/>
              </a:cxn>
              <a:cxn ang="0">
                <a:pos x="connsiteX15946" y="connsiteY15946"/>
              </a:cxn>
              <a:cxn ang="0">
                <a:pos x="connsiteX15947" y="connsiteY15947"/>
              </a:cxn>
              <a:cxn ang="0">
                <a:pos x="connsiteX15948" y="connsiteY15948"/>
              </a:cxn>
              <a:cxn ang="0">
                <a:pos x="connsiteX15949" y="connsiteY15949"/>
              </a:cxn>
              <a:cxn ang="0">
                <a:pos x="connsiteX15950" y="connsiteY15950"/>
              </a:cxn>
              <a:cxn ang="0">
                <a:pos x="connsiteX15951" y="connsiteY15951"/>
              </a:cxn>
              <a:cxn ang="0">
                <a:pos x="connsiteX15952" y="connsiteY15952"/>
              </a:cxn>
              <a:cxn ang="0">
                <a:pos x="connsiteX15953" y="connsiteY15953"/>
              </a:cxn>
              <a:cxn ang="0">
                <a:pos x="connsiteX15954" y="connsiteY15954"/>
              </a:cxn>
              <a:cxn ang="0">
                <a:pos x="connsiteX15955" y="connsiteY15955"/>
              </a:cxn>
              <a:cxn ang="0">
                <a:pos x="connsiteX15956" y="connsiteY15956"/>
              </a:cxn>
              <a:cxn ang="0">
                <a:pos x="connsiteX15957" y="connsiteY15957"/>
              </a:cxn>
              <a:cxn ang="0">
                <a:pos x="connsiteX15958" y="connsiteY15958"/>
              </a:cxn>
              <a:cxn ang="0">
                <a:pos x="connsiteX15959" y="connsiteY15959"/>
              </a:cxn>
              <a:cxn ang="0">
                <a:pos x="connsiteX15960" y="connsiteY15960"/>
              </a:cxn>
              <a:cxn ang="0">
                <a:pos x="connsiteX15961" y="connsiteY15961"/>
              </a:cxn>
              <a:cxn ang="0">
                <a:pos x="connsiteX15962" y="connsiteY15962"/>
              </a:cxn>
              <a:cxn ang="0">
                <a:pos x="connsiteX15963" y="connsiteY15963"/>
              </a:cxn>
              <a:cxn ang="0">
                <a:pos x="connsiteX15964" y="connsiteY15964"/>
              </a:cxn>
              <a:cxn ang="0">
                <a:pos x="connsiteX15965" y="connsiteY15965"/>
              </a:cxn>
              <a:cxn ang="0">
                <a:pos x="connsiteX15966" y="connsiteY15966"/>
              </a:cxn>
              <a:cxn ang="0">
                <a:pos x="connsiteX15967" y="connsiteY15967"/>
              </a:cxn>
              <a:cxn ang="0">
                <a:pos x="connsiteX15968" y="connsiteY15968"/>
              </a:cxn>
              <a:cxn ang="0">
                <a:pos x="connsiteX15969" y="connsiteY15969"/>
              </a:cxn>
              <a:cxn ang="0">
                <a:pos x="connsiteX15970" y="connsiteY15970"/>
              </a:cxn>
              <a:cxn ang="0">
                <a:pos x="connsiteX15971" y="connsiteY15971"/>
              </a:cxn>
              <a:cxn ang="0">
                <a:pos x="connsiteX15972" y="connsiteY15972"/>
              </a:cxn>
              <a:cxn ang="0">
                <a:pos x="connsiteX15973" y="connsiteY15973"/>
              </a:cxn>
              <a:cxn ang="0">
                <a:pos x="connsiteX15974" y="connsiteY15974"/>
              </a:cxn>
              <a:cxn ang="0">
                <a:pos x="connsiteX15975" y="connsiteY15975"/>
              </a:cxn>
              <a:cxn ang="0">
                <a:pos x="connsiteX15976" y="connsiteY15976"/>
              </a:cxn>
              <a:cxn ang="0">
                <a:pos x="connsiteX15977" y="connsiteY15977"/>
              </a:cxn>
              <a:cxn ang="0">
                <a:pos x="connsiteX15978" y="connsiteY15978"/>
              </a:cxn>
              <a:cxn ang="0">
                <a:pos x="connsiteX15979" y="connsiteY15979"/>
              </a:cxn>
              <a:cxn ang="0">
                <a:pos x="connsiteX15980" y="connsiteY15980"/>
              </a:cxn>
              <a:cxn ang="0">
                <a:pos x="connsiteX15981" y="connsiteY15981"/>
              </a:cxn>
              <a:cxn ang="0">
                <a:pos x="connsiteX15982" y="connsiteY15982"/>
              </a:cxn>
              <a:cxn ang="0">
                <a:pos x="connsiteX15983" y="connsiteY15983"/>
              </a:cxn>
              <a:cxn ang="0">
                <a:pos x="connsiteX15984" y="connsiteY15984"/>
              </a:cxn>
              <a:cxn ang="0">
                <a:pos x="connsiteX15985" y="connsiteY15985"/>
              </a:cxn>
              <a:cxn ang="0">
                <a:pos x="connsiteX15986" y="connsiteY15986"/>
              </a:cxn>
              <a:cxn ang="0">
                <a:pos x="connsiteX15987" y="connsiteY15987"/>
              </a:cxn>
              <a:cxn ang="0">
                <a:pos x="connsiteX15988" y="connsiteY15988"/>
              </a:cxn>
              <a:cxn ang="0">
                <a:pos x="connsiteX15989" y="connsiteY15989"/>
              </a:cxn>
              <a:cxn ang="0">
                <a:pos x="connsiteX15990" y="connsiteY15990"/>
              </a:cxn>
              <a:cxn ang="0">
                <a:pos x="connsiteX15991" y="connsiteY15991"/>
              </a:cxn>
              <a:cxn ang="0">
                <a:pos x="connsiteX15992" y="connsiteY15992"/>
              </a:cxn>
              <a:cxn ang="0">
                <a:pos x="connsiteX15993" y="connsiteY15993"/>
              </a:cxn>
              <a:cxn ang="0">
                <a:pos x="connsiteX15994" y="connsiteY15994"/>
              </a:cxn>
              <a:cxn ang="0">
                <a:pos x="connsiteX15995" y="connsiteY15995"/>
              </a:cxn>
              <a:cxn ang="0">
                <a:pos x="connsiteX15996" y="connsiteY15996"/>
              </a:cxn>
              <a:cxn ang="0">
                <a:pos x="connsiteX15997" y="connsiteY15997"/>
              </a:cxn>
              <a:cxn ang="0">
                <a:pos x="connsiteX15998" y="connsiteY15998"/>
              </a:cxn>
              <a:cxn ang="0">
                <a:pos x="connsiteX15999" y="connsiteY15999"/>
              </a:cxn>
              <a:cxn ang="0">
                <a:pos x="connsiteX16000" y="connsiteY16000"/>
              </a:cxn>
              <a:cxn ang="0">
                <a:pos x="connsiteX16001" y="connsiteY16001"/>
              </a:cxn>
              <a:cxn ang="0">
                <a:pos x="connsiteX16002" y="connsiteY16002"/>
              </a:cxn>
              <a:cxn ang="0">
                <a:pos x="connsiteX16003" y="connsiteY16003"/>
              </a:cxn>
              <a:cxn ang="0">
                <a:pos x="connsiteX16004" y="connsiteY16004"/>
              </a:cxn>
              <a:cxn ang="0">
                <a:pos x="connsiteX16005" y="connsiteY16005"/>
              </a:cxn>
              <a:cxn ang="0">
                <a:pos x="connsiteX16006" y="connsiteY16006"/>
              </a:cxn>
              <a:cxn ang="0">
                <a:pos x="connsiteX16007" y="connsiteY16007"/>
              </a:cxn>
              <a:cxn ang="0">
                <a:pos x="connsiteX16008" y="connsiteY16008"/>
              </a:cxn>
              <a:cxn ang="0">
                <a:pos x="connsiteX16009" y="connsiteY16009"/>
              </a:cxn>
              <a:cxn ang="0">
                <a:pos x="connsiteX16010" y="connsiteY16010"/>
              </a:cxn>
              <a:cxn ang="0">
                <a:pos x="connsiteX16011" y="connsiteY16011"/>
              </a:cxn>
              <a:cxn ang="0">
                <a:pos x="connsiteX16012" y="connsiteY16012"/>
              </a:cxn>
              <a:cxn ang="0">
                <a:pos x="connsiteX16013" y="connsiteY16013"/>
              </a:cxn>
              <a:cxn ang="0">
                <a:pos x="connsiteX16014" y="connsiteY16014"/>
              </a:cxn>
              <a:cxn ang="0">
                <a:pos x="connsiteX16015" y="connsiteY16015"/>
              </a:cxn>
              <a:cxn ang="0">
                <a:pos x="connsiteX16016" y="connsiteY16016"/>
              </a:cxn>
              <a:cxn ang="0">
                <a:pos x="connsiteX16017" y="connsiteY16017"/>
              </a:cxn>
              <a:cxn ang="0">
                <a:pos x="connsiteX16018" y="connsiteY16018"/>
              </a:cxn>
              <a:cxn ang="0">
                <a:pos x="connsiteX16019" y="connsiteY16019"/>
              </a:cxn>
              <a:cxn ang="0">
                <a:pos x="connsiteX16020" y="connsiteY16020"/>
              </a:cxn>
              <a:cxn ang="0">
                <a:pos x="connsiteX16021" y="connsiteY16021"/>
              </a:cxn>
              <a:cxn ang="0">
                <a:pos x="connsiteX16022" y="connsiteY16022"/>
              </a:cxn>
              <a:cxn ang="0">
                <a:pos x="connsiteX16023" y="connsiteY16023"/>
              </a:cxn>
              <a:cxn ang="0">
                <a:pos x="connsiteX16024" y="connsiteY16024"/>
              </a:cxn>
              <a:cxn ang="0">
                <a:pos x="connsiteX16025" y="connsiteY16025"/>
              </a:cxn>
              <a:cxn ang="0">
                <a:pos x="connsiteX16026" y="connsiteY16026"/>
              </a:cxn>
              <a:cxn ang="0">
                <a:pos x="connsiteX16027" y="connsiteY16027"/>
              </a:cxn>
              <a:cxn ang="0">
                <a:pos x="connsiteX16028" y="connsiteY16028"/>
              </a:cxn>
              <a:cxn ang="0">
                <a:pos x="connsiteX16029" y="connsiteY16029"/>
              </a:cxn>
              <a:cxn ang="0">
                <a:pos x="connsiteX16030" y="connsiteY16030"/>
              </a:cxn>
              <a:cxn ang="0">
                <a:pos x="connsiteX16031" y="connsiteY16031"/>
              </a:cxn>
              <a:cxn ang="0">
                <a:pos x="connsiteX16032" y="connsiteY16032"/>
              </a:cxn>
              <a:cxn ang="0">
                <a:pos x="connsiteX16033" y="connsiteY16033"/>
              </a:cxn>
              <a:cxn ang="0">
                <a:pos x="connsiteX16034" y="connsiteY16034"/>
              </a:cxn>
              <a:cxn ang="0">
                <a:pos x="connsiteX16035" y="connsiteY16035"/>
              </a:cxn>
              <a:cxn ang="0">
                <a:pos x="connsiteX16036" y="connsiteY16036"/>
              </a:cxn>
              <a:cxn ang="0">
                <a:pos x="connsiteX16037" y="connsiteY16037"/>
              </a:cxn>
              <a:cxn ang="0">
                <a:pos x="connsiteX16038" y="connsiteY16038"/>
              </a:cxn>
              <a:cxn ang="0">
                <a:pos x="connsiteX16039" y="connsiteY16039"/>
              </a:cxn>
              <a:cxn ang="0">
                <a:pos x="connsiteX16040" y="connsiteY16040"/>
              </a:cxn>
              <a:cxn ang="0">
                <a:pos x="connsiteX16041" y="connsiteY16041"/>
              </a:cxn>
              <a:cxn ang="0">
                <a:pos x="connsiteX16042" y="connsiteY16042"/>
              </a:cxn>
              <a:cxn ang="0">
                <a:pos x="connsiteX16043" y="connsiteY16043"/>
              </a:cxn>
              <a:cxn ang="0">
                <a:pos x="connsiteX16044" y="connsiteY16044"/>
              </a:cxn>
              <a:cxn ang="0">
                <a:pos x="connsiteX16045" y="connsiteY16045"/>
              </a:cxn>
              <a:cxn ang="0">
                <a:pos x="connsiteX16046" y="connsiteY16046"/>
              </a:cxn>
              <a:cxn ang="0">
                <a:pos x="connsiteX16047" y="connsiteY16047"/>
              </a:cxn>
              <a:cxn ang="0">
                <a:pos x="connsiteX16048" y="connsiteY16048"/>
              </a:cxn>
              <a:cxn ang="0">
                <a:pos x="connsiteX16049" y="connsiteY16049"/>
              </a:cxn>
              <a:cxn ang="0">
                <a:pos x="connsiteX16050" y="connsiteY16050"/>
              </a:cxn>
              <a:cxn ang="0">
                <a:pos x="connsiteX16051" y="connsiteY16051"/>
              </a:cxn>
              <a:cxn ang="0">
                <a:pos x="connsiteX16052" y="connsiteY16052"/>
              </a:cxn>
              <a:cxn ang="0">
                <a:pos x="connsiteX16053" y="connsiteY16053"/>
              </a:cxn>
              <a:cxn ang="0">
                <a:pos x="connsiteX16054" y="connsiteY16054"/>
              </a:cxn>
              <a:cxn ang="0">
                <a:pos x="connsiteX16055" y="connsiteY16055"/>
              </a:cxn>
              <a:cxn ang="0">
                <a:pos x="connsiteX16056" y="connsiteY16056"/>
              </a:cxn>
              <a:cxn ang="0">
                <a:pos x="connsiteX16057" y="connsiteY16057"/>
              </a:cxn>
              <a:cxn ang="0">
                <a:pos x="connsiteX16058" y="connsiteY16058"/>
              </a:cxn>
              <a:cxn ang="0">
                <a:pos x="connsiteX16059" y="connsiteY16059"/>
              </a:cxn>
              <a:cxn ang="0">
                <a:pos x="connsiteX16060" y="connsiteY16060"/>
              </a:cxn>
              <a:cxn ang="0">
                <a:pos x="connsiteX16061" y="connsiteY16061"/>
              </a:cxn>
              <a:cxn ang="0">
                <a:pos x="connsiteX16062" y="connsiteY16062"/>
              </a:cxn>
              <a:cxn ang="0">
                <a:pos x="connsiteX16063" y="connsiteY16063"/>
              </a:cxn>
              <a:cxn ang="0">
                <a:pos x="connsiteX16064" y="connsiteY16064"/>
              </a:cxn>
              <a:cxn ang="0">
                <a:pos x="connsiteX16065" y="connsiteY16065"/>
              </a:cxn>
              <a:cxn ang="0">
                <a:pos x="connsiteX16066" y="connsiteY16066"/>
              </a:cxn>
              <a:cxn ang="0">
                <a:pos x="connsiteX16067" y="connsiteY16067"/>
              </a:cxn>
              <a:cxn ang="0">
                <a:pos x="connsiteX16068" y="connsiteY16068"/>
              </a:cxn>
              <a:cxn ang="0">
                <a:pos x="connsiteX16069" y="connsiteY16069"/>
              </a:cxn>
              <a:cxn ang="0">
                <a:pos x="connsiteX16070" y="connsiteY16070"/>
              </a:cxn>
              <a:cxn ang="0">
                <a:pos x="connsiteX16071" y="connsiteY16071"/>
              </a:cxn>
              <a:cxn ang="0">
                <a:pos x="connsiteX16072" y="connsiteY16072"/>
              </a:cxn>
              <a:cxn ang="0">
                <a:pos x="connsiteX16073" y="connsiteY16073"/>
              </a:cxn>
              <a:cxn ang="0">
                <a:pos x="connsiteX16074" y="connsiteY16074"/>
              </a:cxn>
              <a:cxn ang="0">
                <a:pos x="connsiteX16075" y="connsiteY16075"/>
              </a:cxn>
              <a:cxn ang="0">
                <a:pos x="connsiteX16076" y="connsiteY16076"/>
              </a:cxn>
              <a:cxn ang="0">
                <a:pos x="connsiteX16077" y="connsiteY16077"/>
              </a:cxn>
              <a:cxn ang="0">
                <a:pos x="connsiteX16078" y="connsiteY16078"/>
              </a:cxn>
              <a:cxn ang="0">
                <a:pos x="connsiteX16079" y="connsiteY16079"/>
              </a:cxn>
              <a:cxn ang="0">
                <a:pos x="connsiteX16080" y="connsiteY16080"/>
              </a:cxn>
              <a:cxn ang="0">
                <a:pos x="connsiteX16081" y="connsiteY16081"/>
              </a:cxn>
              <a:cxn ang="0">
                <a:pos x="connsiteX16082" y="connsiteY16082"/>
              </a:cxn>
              <a:cxn ang="0">
                <a:pos x="connsiteX16083" y="connsiteY16083"/>
              </a:cxn>
              <a:cxn ang="0">
                <a:pos x="connsiteX16084" y="connsiteY16084"/>
              </a:cxn>
              <a:cxn ang="0">
                <a:pos x="connsiteX16085" y="connsiteY16085"/>
              </a:cxn>
              <a:cxn ang="0">
                <a:pos x="connsiteX16086" y="connsiteY16086"/>
              </a:cxn>
              <a:cxn ang="0">
                <a:pos x="connsiteX16087" y="connsiteY16087"/>
              </a:cxn>
              <a:cxn ang="0">
                <a:pos x="connsiteX16088" y="connsiteY16088"/>
              </a:cxn>
              <a:cxn ang="0">
                <a:pos x="connsiteX16089" y="connsiteY16089"/>
              </a:cxn>
              <a:cxn ang="0">
                <a:pos x="connsiteX16090" y="connsiteY16090"/>
              </a:cxn>
              <a:cxn ang="0">
                <a:pos x="connsiteX16091" y="connsiteY16091"/>
              </a:cxn>
              <a:cxn ang="0">
                <a:pos x="connsiteX16092" y="connsiteY16092"/>
              </a:cxn>
              <a:cxn ang="0">
                <a:pos x="connsiteX16093" y="connsiteY16093"/>
              </a:cxn>
              <a:cxn ang="0">
                <a:pos x="connsiteX16094" y="connsiteY16094"/>
              </a:cxn>
              <a:cxn ang="0">
                <a:pos x="connsiteX16095" y="connsiteY16095"/>
              </a:cxn>
              <a:cxn ang="0">
                <a:pos x="connsiteX16096" y="connsiteY16096"/>
              </a:cxn>
              <a:cxn ang="0">
                <a:pos x="connsiteX16097" y="connsiteY16097"/>
              </a:cxn>
              <a:cxn ang="0">
                <a:pos x="connsiteX16098" y="connsiteY16098"/>
              </a:cxn>
              <a:cxn ang="0">
                <a:pos x="connsiteX16099" y="connsiteY16099"/>
              </a:cxn>
              <a:cxn ang="0">
                <a:pos x="connsiteX16100" y="connsiteY16100"/>
              </a:cxn>
              <a:cxn ang="0">
                <a:pos x="connsiteX16101" y="connsiteY16101"/>
              </a:cxn>
              <a:cxn ang="0">
                <a:pos x="connsiteX16102" y="connsiteY16102"/>
              </a:cxn>
              <a:cxn ang="0">
                <a:pos x="connsiteX16103" y="connsiteY16103"/>
              </a:cxn>
              <a:cxn ang="0">
                <a:pos x="connsiteX16104" y="connsiteY16104"/>
              </a:cxn>
              <a:cxn ang="0">
                <a:pos x="connsiteX16105" y="connsiteY16105"/>
              </a:cxn>
              <a:cxn ang="0">
                <a:pos x="connsiteX16106" y="connsiteY16106"/>
              </a:cxn>
              <a:cxn ang="0">
                <a:pos x="connsiteX16107" y="connsiteY16107"/>
              </a:cxn>
              <a:cxn ang="0">
                <a:pos x="connsiteX16108" y="connsiteY16108"/>
              </a:cxn>
              <a:cxn ang="0">
                <a:pos x="connsiteX16109" y="connsiteY16109"/>
              </a:cxn>
              <a:cxn ang="0">
                <a:pos x="connsiteX16110" y="connsiteY16110"/>
              </a:cxn>
              <a:cxn ang="0">
                <a:pos x="connsiteX16111" y="connsiteY16111"/>
              </a:cxn>
              <a:cxn ang="0">
                <a:pos x="connsiteX16112" y="connsiteY16112"/>
              </a:cxn>
              <a:cxn ang="0">
                <a:pos x="connsiteX16113" y="connsiteY16113"/>
              </a:cxn>
              <a:cxn ang="0">
                <a:pos x="connsiteX16114" y="connsiteY16114"/>
              </a:cxn>
              <a:cxn ang="0">
                <a:pos x="connsiteX16115" y="connsiteY16115"/>
              </a:cxn>
              <a:cxn ang="0">
                <a:pos x="connsiteX16116" y="connsiteY16116"/>
              </a:cxn>
              <a:cxn ang="0">
                <a:pos x="connsiteX16117" y="connsiteY16117"/>
              </a:cxn>
              <a:cxn ang="0">
                <a:pos x="connsiteX16118" y="connsiteY16118"/>
              </a:cxn>
              <a:cxn ang="0">
                <a:pos x="connsiteX16119" y="connsiteY16119"/>
              </a:cxn>
              <a:cxn ang="0">
                <a:pos x="connsiteX16120" y="connsiteY16120"/>
              </a:cxn>
              <a:cxn ang="0">
                <a:pos x="connsiteX16121" y="connsiteY16121"/>
              </a:cxn>
              <a:cxn ang="0">
                <a:pos x="connsiteX16122" y="connsiteY16122"/>
              </a:cxn>
              <a:cxn ang="0">
                <a:pos x="connsiteX16123" y="connsiteY16123"/>
              </a:cxn>
              <a:cxn ang="0">
                <a:pos x="connsiteX16124" y="connsiteY16124"/>
              </a:cxn>
              <a:cxn ang="0">
                <a:pos x="connsiteX16125" y="connsiteY16125"/>
              </a:cxn>
              <a:cxn ang="0">
                <a:pos x="connsiteX16126" y="connsiteY16126"/>
              </a:cxn>
              <a:cxn ang="0">
                <a:pos x="connsiteX16127" y="connsiteY16127"/>
              </a:cxn>
              <a:cxn ang="0">
                <a:pos x="connsiteX16128" y="connsiteY16128"/>
              </a:cxn>
              <a:cxn ang="0">
                <a:pos x="connsiteX16129" y="connsiteY16129"/>
              </a:cxn>
              <a:cxn ang="0">
                <a:pos x="connsiteX16130" y="connsiteY16130"/>
              </a:cxn>
              <a:cxn ang="0">
                <a:pos x="connsiteX16131" y="connsiteY16131"/>
              </a:cxn>
              <a:cxn ang="0">
                <a:pos x="connsiteX16132" y="connsiteY16132"/>
              </a:cxn>
              <a:cxn ang="0">
                <a:pos x="connsiteX16133" y="connsiteY16133"/>
              </a:cxn>
              <a:cxn ang="0">
                <a:pos x="connsiteX16134" y="connsiteY16134"/>
              </a:cxn>
              <a:cxn ang="0">
                <a:pos x="connsiteX16135" y="connsiteY16135"/>
              </a:cxn>
              <a:cxn ang="0">
                <a:pos x="connsiteX16136" y="connsiteY16136"/>
              </a:cxn>
              <a:cxn ang="0">
                <a:pos x="connsiteX16137" y="connsiteY16137"/>
              </a:cxn>
              <a:cxn ang="0">
                <a:pos x="connsiteX16138" y="connsiteY16138"/>
              </a:cxn>
              <a:cxn ang="0">
                <a:pos x="connsiteX16139" y="connsiteY16139"/>
              </a:cxn>
              <a:cxn ang="0">
                <a:pos x="connsiteX16140" y="connsiteY16140"/>
              </a:cxn>
              <a:cxn ang="0">
                <a:pos x="connsiteX16141" y="connsiteY16141"/>
              </a:cxn>
              <a:cxn ang="0">
                <a:pos x="connsiteX16142" y="connsiteY16142"/>
              </a:cxn>
              <a:cxn ang="0">
                <a:pos x="connsiteX16143" y="connsiteY16143"/>
              </a:cxn>
              <a:cxn ang="0">
                <a:pos x="connsiteX16144" y="connsiteY16144"/>
              </a:cxn>
              <a:cxn ang="0">
                <a:pos x="connsiteX16145" y="connsiteY16145"/>
              </a:cxn>
              <a:cxn ang="0">
                <a:pos x="connsiteX16146" y="connsiteY16146"/>
              </a:cxn>
              <a:cxn ang="0">
                <a:pos x="connsiteX16147" y="connsiteY16147"/>
              </a:cxn>
              <a:cxn ang="0">
                <a:pos x="connsiteX16148" y="connsiteY16148"/>
              </a:cxn>
              <a:cxn ang="0">
                <a:pos x="connsiteX16149" y="connsiteY16149"/>
              </a:cxn>
              <a:cxn ang="0">
                <a:pos x="connsiteX16150" y="connsiteY16150"/>
              </a:cxn>
              <a:cxn ang="0">
                <a:pos x="connsiteX16151" y="connsiteY16151"/>
              </a:cxn>
              <a:cxn ang="0">
                <a:pos x="connsiteX16152" y="connsiteY16152"/>
              </a:cxn>
              <a:cxn ang="0">
                <a:pos x="connsiteX16153" y="connsiteY16153"/>
              </a:cxn>
              <a:cxn ang="0">
                <a:pos x="connsiteX16154" y="connsiteY16154"/>
              </a:cxn>
              <a:cxn ang="0">
                <a:pos x="connsiteX16155" y="connsiteY16155"/>
              </a:cxn>
              <a:cxn ang="0">
                <a:pos x="connsiteX16156" y="connsiteY16156"/>
              </a:cxn>
              <a:cxn ang="0">
                <a:pos x="connsiteX16157" y="connsiteY16157"/>
              </a:cxn>
              <a:cxn ang="0">
                <a:pos x="connsiteX16158" y="connsiteY16158"/>
              </a:cxn>
              <a:cxn ang="0">
                <a:pos x="connsiteX16159" y="connsiteY16159"/>
              </a:cxn>
              <a:cxn ang="0">
                <a:pos x="connsiteX16160" y="connsiteY16160"/>
              </a:cxn>
              <a:cxn ang="0">
                <a:pos x="connsiteX16161" y="connsiteY16161"/>
              </a:cxn>
              <a:cxn ang="0">
                <a:pos x="connsiteX16162" y="connsiteY16162"/>
              </a:cxn>
              <a:cxn ang="0">
                <a:pos x="connsiteX16163" y="connsiteY16163"/>
              </a:cxn>
              <a:cxn ang="0">
                <a:pos x="connsiteX16164" y="connsiteY16164"/>
              </a:cxn>
              <a:cxn ang="0">
                <a:pos x="connsiteX16165" y="connsiteY16165"/>
              </a:cxn>
              <a:cxn ang="0">
                <a:pos x="connsiteX16166" y="connsiteY16166"/>
              </a:cxn>
              <a:cxn ang="0">
                <a:pos x="connsiteX16167" y="connsiteY16167"/>
              </a:cxn>
              <a:cxn ang="0">
                <a:pos x="connsiteX16168" y="connsiteY16168"/>
              </a:cxn>
              <a:cxn ang="0">
                <a:pos x="connsiteX16169" y="connsiteY16169"/>
              </a:cxn>
              <a:cxn ang="0">
                <a:pos x="connsiteX16170" y="connsiteY16170"/>
              </a:cxn>
              <a:cxn ang="0">
                <a:pos x="connsiteX16171" y="connsiteY16171"/>
              </a:cxn>
              <a:cxn ang="0">
                <a:pos x="connsiteX16172" y="connsiteY16172"/>
              </a:cxn>
              <a:cxn ang="0">
                <a:pos x="connsiteX16173" y="connsiteY16173"/>
              </a:cxn>
              <a:cxn ang="0">
                <a:pos x="connsiteX16174" y="connsiteY16174"/>
              </a:cxn>
              <a:cxn ang="0">
                <a:pos x="connsiteX16175" y="connsiteY16175"/>
              </a:cxn>
              <a:cxn ang="0">
                <a:pos x="connsiteX16176" y="connsiteY16176"/>
              </a:cxn>
              <a:cxn ang="0">
                <a:pos x="connsiteX16177" y="connsiteY16177"/>
              </a:cxn>
              <a:cxn ang="0">
                <a:pos x="connsiteX16178" y="connsiteY16178"/>
              </a:cxn>
              <a:cxn ang="0">
                <a:pos x="connsiteX16179" y="connsiteY16179"/>
              </a:cxn>
              <a:cxn ang="0">
                <a:pos x="connsiteX16180" y="connsiteY16180"/>
              </a:cxn>
              <a:cxn ang="0">
                <a:pos x="connsiteX16181" y="connsiteY16181"/>
              </a:cxn>
              <a:cxn ang="0">
                <a:pos x="connsiteX16182" y="connsiteY16182"/>
              </a:cxn>
              <a:cxn ang="0">
                <a:pos x="connsiteX16183" y="connsiteY16183"/>
              </a:cxn>
              <a:cxn ang="0">
                <a:pos x="connsiteX16184" y="connsiteY16184"/>
              </a:cxn>
              <a:cxn ang="0">
                <a:pos x="connsiteX16185" y="connsiteY16185"/>
              </a:cxn>
              <a:cxn ang="0">
                <a:pos x="connsiteX16186" y="connsiteY16186"/>
              </a:cxn>
              <a:cxn ang="0">
                <a:pos x="connsiteX16187" y="connsiteY16187"/>
              </a:cxn>
              <a:cxn ang="0">
                <a:pos x="connsiteX16188" y="connsiteY16188"/>
              </a:cxn>
              <a:cxn ang="0">
                <a:pos x="connsiteX16189" y="connsiteY16189"/>
              </a:cxn>
              <a:cxn ang="0">
                <a:pos x="connsiteX16190" y="connsiteY16190"/>
              </a:cxn>
              <a:cxn ang="0">
                <a:pos x="connsiteX16191" y="connsiteY16191"/>
              </a:cxn>
              <a:cxn ang="0">
                <a:pos x="connsiteX16192" y="connsiteY16192"/>
              </a:cxn>
              <a:cxn ang="0">
                <a:pos x="connsiteX16193" y="connsiteY16193"/>
              </a:cxn>
              <a:cxn ang="0">
                <a:pos x="connsiteX16194" y="connsiteY16194"/>
              </a:cxn>
              <a:cxn ang="0">
                <a:pos x="connsiteX16195" y="connsiteY16195"/>
              </a:cxn>
              <a:cxn ang="0">
                <a:pos x="connsiteX16196" y="connsiteY16196"/>
              </a:cxn>
              <a:cxn ang="0">
                <a:pos x="connsiteX16197" y="connsiteY16197"/>
              </a:cxn>
              <a:cxn ang="0">
                <a:pos x="connsiteX16198" y="connsiteY16198"/>
              </a:cxn>
              <a:cxn ang="0">
                <a:pos x="connsiteX16199" y="connsiteY16199"/>
              </a:cxn>
              <a:cxn ang="0">
                <a:pos x="connsiteX16200" y="connsiteY16200"/>
              </a:cxn>
              <a:cxn ang="0">
                <a:pos x="connsiteX16201" y="connsiteY16201"/>
              </a:cxn>
              <a:cxn ang="0">
                <a:pos x="connsiteX16202" y="connsiteY16202"/>
              </a:cxn>
              <a:cxn ang="0">
                <a:pos x="connsiteX16203" y="connsiteY16203"/>
              </a:cxn>
              <a:cxn ang="0">
                <a:pos x="connsiteX16204" y="connsiteY16204"/>
              </a:cxn>
              <a:cxn ang="0">
                <a:pos x="connsiteX16205" y="connsiteY16205"/>
              </a:cxn>
              <a:cxn ang="0">
                <a:pos x="connsiteX16206" y="connsiteY16206"/>
              </a:cxn>
              <a:cxn ang="0">
                <a:pos x="connsiteX16207" y="connsiteY16207"/>
              </a:cxn>
              <a:cxn ang="0">
                <a:pos x="connsiteX16208" y="connsiteY16208"/>
              </a:cxn>
              <a:cxn ang="0">
                <a:pos x="connsiteX16209" y="connsiteY16209"/>
              </a:cxn>
              <a:cxn ang="0">
                <a:pos x="connsiteX16210" y="connsiteY16210"/>
              </a:cxn>
              <a:cxn ang="0">
                <a:pos x="connsiteX16211" y="connsiteY16211"/>
              </a:cxn>
              <a:cxn ang="0">
                <a:pos x="connsiteX16212" y="connsiteY16212"/>
              </a:cxn>
              <a:cxn ang="0">
                <a:pos x="connsiteX16213" y="connsiteY16213"/>
              </a:cxn>
              <a:cxn ang="0">
                <a:pos x="connsiteX16214" y="connsiteY16214"/>
              </a:cxn>
              <a:cxn ang="0">
                <a:pos x="connsiteX16215" y="connsiteY16215"/>
              </a:cxn>
              <a:cxn ang="0">
                <a:pos x="connsiteX16216" y="connsiteY16216"/>
              </a:cxn>
              <a:cxn ang="0">
                <a:pos x="connsiteX16217" y="connsiteY16217"/>
              </a:cxn>
              <a:cxn ang="0">
                <a:pos x="connsiteX16218" y="connsiteY16218"/>
              </a:cxn>
              <a:cxn ang="0">
                <a:pos x="connsiteX16219" y="connsiteY16219"/>
              </a:cxn>
              <a:cxn ang="0">
                <a:pos x="connsiteX16220" y="connsiteY16220"/>
              </a:cxn>
              <a:cxn ang="0">
                <a:pos x="connsiteX16221" y="connsiteY16221"/>
              </a:cxn>
              <a:cxn ang="0">
                <a:pos x="connsiteX16222" y="connsiteY16222"/>
              </a:cxn>
              <a:cxn ang="0">
                <a:pos x="connsiteX16223" y="connsiteY16223"/>
              </a:cxn>
              <a:cxn ang="0">
                <a:pos x="connsiteX16224" y="connsiteY16224"/>
              </a:cxn>
              <a:cxn ang="0">
                <a:pos x="connsiteX16225" y="connsiteY16225"/>
              </a:cxn>
              <a:cxn ang="0">
                <a:pos x="connsiteX16226" y="connsiteY16226"/>
              </a:cxn>
              <a:cxn ang="0">
                <a:pos x="connsiteX16227" y="connsiteY16227"/>
              </a:cxn>
              <a:cxn ang="0">
                <a:pos x="connsiteX16228" y="connsiteY16228"/>
              </a:cxn>
              <a:cxn ang="0">
                <a:pos x="connsiteX16229" y="connsiteY16229"/>
              </a:cxn>
              <a:cxn ang="0">
                <a:pos x="connsiteX16230" y="connsiteY16230"/>
              </a:cxn>
              <a:cxn ang="0">
                <a:pos x="connsiteX16231" y="connsiteY16231"/>
              </a:cxn>
              <a:cxn ang="0">
                <a:pos x="connsiteX16232" y="connsiteY16232"/>
              </a:cxn>
              <a:cxn ang="0">
                <a:pos x="connsiteX16233" y="connsiteY16233"/>
              </a:cxn>
              <a:cxn ang="0">
                <a:pos x="connsiteX16234" y="connsiteY16234"/>
              </a:cxn>
              <a:cxn ang="0">
                <a:pos x="connsiteX16235" y="connsiteY16235"/>
              </a:cxn>
              <a:cxn ang="0">
                <a:pos x="connsiteX16236" y="connsiteY16236"/>
              </a:cxn>
              <a:cxn ang="0">
                <a:pos x="connsiteX16237" y="connsiteY16237"/>
              </a:cxn>
              <a:cxn ang="0">
                <a:pos x="connsiteX16238" y="connsiteY16238"/>
              </a:cxn>
              <a:cxn ang="0">
                <a:pos x="connsiteX16239" y="connsiteY16239"/>
              </a:cxn>
              <a:cxn ang="0">
                <a:pos x="connsiteX16240" y="connsiteY16240"/>
              </a:cxn>
              <a:cxn ang="0">
                <a:pos x="connsiteX16241" y="connsiteY16241"/>
              </a:cxn>
              <a:cxn ang="0">
                <a:pos x="connsiteX16242" y="connsiteY16242"/>
              </a:cxn>
              <a:cxn ang="0">
                <a:pos x="connsiteX16243" y="connsiteY16243"/>
              </a:cxn>
              <a:cxn ang="0">
                <a:pos x="connsiteX16244" y="connsiteY16244"/>
              </a:cxn>
              <a:cxn ang="0">
                <a:pos x="connsiteX16245" y="connsiteY16245"/>
              </a:cxn>
              <a:cxn ang="0">
                <a:pos x="connsiteX16246" y="connsiteY16246"/>
              </a:cxn>
              <a:cxn ang="0">
                <a:pos x="connsiteX16247" y="connsiteY16247"/>
              </a:cxn>
              <a:cxn ang="0">
                <a:pos x="connsiteX16248" y="connsiteY16248"/>
              </a:cxn>
              <a:cxn ang="0">
                <a:pos x="connsiteX16249" y="connsiteY16249"/>
              </a:cxn>
              <a:cxn ang="0">
                <a:pos x="connsiteX16250" y="connsiteY16250"/>
              </a:cxn>
              <a:cxn ang="0">
                <a:pos x="connsiteX16251" y="connsiteY16251"/>
              </a:cxn>
              <a:cxn ang="0">
                <a:pos x="connsiteX16252" y="connsiteY16252"/>
              </a:cxn>
              <a:cxn ang="0">
                <a:pos x="connsiteX16253" y="connsiteY16253"/>
              </a:cxn>
              <a:cxn ang="0">
                <a:pos x="connsiteX16254" y="connsiteY16254"/>
              </a:cxn>
              <a:cxn ang="0">
                <a:pos x="connsiteX16255" y="connsiteY16255"/>
              </a:cxn>
              <a:cxn ang="0">
                <a:pos x="connsiteX16256" y="connsiteY16256"/>
              </a:cxn>
              <a:cxn ang="0">
                <a:pos x="connsiteX16257" y="connsiteY16257"/>
              </a:cxn>
              <a:cxn ang="0">
                <a:pos x="connsiteX16258" y="connsiteY16258"/>
              </a:cxn>
              <a:cxn ang="0">
                <a:pos x="connsiteX16259" y="connsiteY16259"/>
              </a:cxn>
              <a:cxn ang="0">
                <a:pos x="connsiteX16260" y="connsiteY16260"/>
              </a:cxn>
              <a:cxn ang="0">
                <a:pos x="connsiteX16261" y="connsiteY16261"/>
              </a:cxn>
              <a:cxn ang="0">
                <a:pos x="connsiteX16262" y="connsiteY16262"/>
              </a:cxn>
              <a:cxn ang="0">
                <a:pos x="connsiteX16263" y="connsiteY16263"/>
              </a:cxn>
              <a:cxn ang="0">
                <a:pos x="connsiteX16264" y="connsiteY16264"/>
              </a:cxn>
              <a:cxn ang="0">
                <a:pos x="connsiteX16265" y="connsiteY16265"/>
              </a:cxn>
              <a:cxn ang="0">
                <a:pos x="connsiteX16266" y="connsiteY16266"/>
              </a:cxn>
              <a:cxn ang="0">
                <a:pos x="connsiteX16267" y="connsiteY16267"/>
              </a:cxn>
              <a:cxn ang="0">
                <a:pos x="connsiteX16268" y="connsiteY16268"/>
              </a:cxn>
              <a:cxn ang="0">
                <a:pos x="connsiteX16269" y="connsiteY16269"/>
              </a:cxn>
              <a:cxn ang="0">
                <a:pos x="connsiteX16270" y="connsiteY16270"/>
              </a:cxn>
              <a:cxn ang="0">
                <a:pos x="connsiteX16271" y="connsiteY16271"/>
              </a:cxn>
              <a:cxn ang="0">
                <a:pos x="connsiteX16272" y="connsiteY16272"/>
              </a:cxn>
              <a:cxn ang="0">
                <a:pos x="connsiteX16273" y="connsiteY16273"/>
              </a:cxn>
              <a:cxn ang="0">
                <a:pos x="connsiteX16274" y="connsiteY16274"/>
              </a:cxn>
              <a:cxn ang="0">
                <a:pos x="connsiteX16275" y="connsiteY16275"/>
              </a:cxn>
              <a:cxn ang="0">
                <a:pos x="connsiteX16276" y="connsiteY16276"/>
              </a:cxn>
              <a:cxn ang="0">
                <a:pos x="connsiteX16277" y="connsiteY16277"/>
              </a:cxn>
              <a:cxn ang="0">
                <a:pos x="connsiteX16278" y="connsiteY16278"/>
              </a:cxn>
              <a:cxn ang="0">
                <a:pos x="connsiteX16279" y="connsiteY16279"/>
              </a:cxn>
              <a:cxn ang="0">
                <a:pos x="connsiteX16280" y="connsiteY16280"/>
              </a:cxn>
              <a:cxn ang="0">
                <a:pos x="connsiteX16281" y="connsiteY16281"/>
              </a:cxn>
              <a:cxn ang="0">
                <a:pos x="connsiteX16282" y="connsiteY16282"/>
              </a:cxn>
              <a:cxn ang="0">
                <a:pos x="connsiteX16283" y="connsiteY16283"/>
              </a:cxn>
              <a:cxn ang="0">
                <a:pos x="connsiteX16284" y="connsiteY16284"/>
              </a:cxn>
              <a:cxn ang="0">
                <a:pos x="connsiteX16285" y="connsiteY16285"/>
              </a:cxn>
              <a:cxn ang="0">
                <a:pos x="connsiteX16286" y="connsiteY16286"/>
              </a:cxn>
              <a:cxn ang="0">
                <a:pos x="connsiteX16287" y="connsiteY16287"/>
              </a:cxn>
              <a:cxn ang="0">
                <a:pos x="connsiteX16288" y="connsiteY16288"/>
              </a:cxn>
              <a:cxn ang="0">
                <a:pos x="connsiteX16289" y="connsiteY16289"/>
              </a:cxn>
              <a:cxn ang="0">
                <a:pos x="connsiteX16290" y="connsiteY16290"/>
              </a:cxn>
              <a:cxn ang="0">
                <a:pos x="connsiteX16291" y="connsiteY16291"/>
              </a:cxn>
              <a:cxn ang="0">
                <a:pos x="connsiteX16292" y="connsiteY16292"/>
              </a:cxn>
              <a:cxn ang="0">
                <a:pos x="connsiteX16293" y="connsiteY16293"/>
              </a:cxn>
              <a:cxn ang="0">
                <a:pos x="connsiteX16294" y="connsiteY16294"/>
              </a:cxn>
              <a:cxn ang="0">
                <a:pos x="connsiteX16295" y="connsiteY16295"/>
              </a:cxn>
              <a:cxn ang="0">
                <a:pos x="connsiteX16296" y="connsiteY16296"/>
              </a:cxn>
              <a:cxn ang="0">
                <a:pos x="connsiteX16297" y="connsiteY16297"/>
              </a:cxn>
              <a:cxn ang="0">
                <a:pos x="connsiteX16298" y="connsiteY16298"/>
              </a:cxn>
              <a:cxn ang="0">
                <a:pos x="connsiteX16299" y="connsiteY16299"/>
              </a:cxn>
              <a:cxn ang="0">
                <a:pos x="connsiteX16300" y="connsiteY16300"/>
              </a:cxn>
              <a:cxn ang="0">
                <a:pos x="connsiteX16301" y="connsiteY16301"/>
              </a:cxn>
              <a:cxn ang="0">
                <a:pos x="connsiteX16302" y="connsiteY16302"/>
              </a:cxn>
              <a:cxn ang="0">
                <a:pos x="connsiteX16303" y="connsiteY16303"/>
              </a:cxn>
              <a:cxn ang="0">
                <a:pos x="connsiteX16304" y="connsiteY16304"/>
              </a:cxn>
              <a:cxn ang="0">
                <a:pos x="connsiteX16305" y="connsiteY16305"/>
              </a:cxn>
              <a:cxn ang="0">
                <a:pos x="connsiteX16306" y="connsiteY16306"/>
              </a:cxn>
              <a:cxn ang="0">
                <a:pos x="connsiteX16307" y="connsiteY16307"/>
              </a:cxn>
              <a:cxn ang="0">
                <a:pos x="connsiteX16308" y="connsiteY16308"/>
              </a:cxn>
              <a:cxn ang="0">
                <a:pos x="connsiteX16309" y="connsiteY16309"/>
              </a:cxn>
              <a:cxn ang="0">
                <a:pos x="connsiteX16310" y="connsiteY16310"/>
              </a:cxn>
              <a:cxn ang="0">
                <a:pos x="connsiteX16311" y="connsiteY16311"/>
              </a:cxn>
              <a:cxn ang="0">
                <a:pos x="connsiteX16312" y="connsiteY16312"/>
              </a:cxn>
              <a:cxn ang="0">
                <a:pos x="connsiteX16313" y="connsiteY16313"/>
              </a:cxn>
              <a:cxn ang="0">
                <a:pos x="connsiteX16314" y="connsiteY16314"/>
              </a:cxn>
              <a:cxn ang="0">
                <a:pos x="connsiteX16315" y="connsiteY16315"/>
              </a:cxn>
              <a:cxn ang="0">
                <a:pos x="connsiteX16316" y="connsiteY16316"/>
              </a:cxn>
              <a:cxn ang="0">
                <a:pos x="connsiteX16317" y="connsiteY16317"/>
              </a:cxn>
              <a:cxn ang="0">
                <a:pos x="connsiteX16318" y="connsiteY16318"/>
              </a:cxn>
              <a:cxn ang="0">
                <a:pos x="connsiteX16319" y="connsiteY16319"/>
              </a:cxn>
              <a:cxn ang="0">
                <a:pos x="connsiteX16320" y="connsiteY16320"/>
              </a:cxn>
              <a:cxn ang="0">
                <a:pos x="connsiteX16321" y="connsiteY16321"/>
              </a:cxn>
              <a:cxn ang="0">
                <a:pos x="connsiteX16322" y="connsiteY16322"/>
              </a:cxn>
              <a:cxn ang="0">
                <a:pos x="connsiteX16323" y="connsiteY16323"/>
              </a:cxn>
              <a:cxn ang="0">
                <a:pos x="connsiteX16324" y="connsiteY16324"/>
              </a:cxn>
              <a:cxn ang="0">
                <a:pos x="connsiteX16325" y="connsiteY16325"/>
              </a:cxn>
              <a:cxn ang="0">
                <a:pos x="connsiteX16326" y="connsiteY16326"/>
              </a:cxn>
              <a:cxn ang="0">
                <a:pos x="connsiteX16327" y="connsiteY16327"/>
              </a:cxn>
              <a:cxn ang="0">
                <a:pos x="connsiteX16328" y="connsiteY16328"/>
              </a:cxn>
              <a:cxn ang="0">
                <a:pos x="connsiteX16329" y="connsiteY16329"/>
              </a:cxn>
              <a:cxn ang="0">
                <a:pos x="connsiteX16330" y="connsiteY16330"/>
              </a:cxn>
              <a:cxn ang="0">
                <a:pos x="connsiteX16331" y="connsiteY16331"/>
              </a:cxn>
              <a:cxn ang="0">
                <a:pos x="connsiteX16332" y="connsiteY16332"/>
              </a:cxn>
              <a:cxn ang="0">
                <a:pos x="connsiteX16333" y="connsiteY16333"/>
              </a:cxn>
              <a:cxn ang="0">
                <a:pos x="connsiteX16334" y="connsiteY16334"/>
              </a:cxn>
              <a:cxn ang="0">
                <a:pos x="connsiteX16335" y="connsiteY16335"/>
              </a:cxn>
              <a:cxn ang="0">
                <a:pos x="connsiteX16336" y="connsiteY16336"/>
              </a:cxn>
              <a:cxn ang="0">
                <a:pos x="connsiteX16337" y="connsiteY16337"/>
              </a:cxn>
              <a:cxn ang="0">
                <a:pos x="connsiteX16338" y="connsiteY16338"/>
              </a:cxn>
              <a:cxn ang="0">
                <a:pos x="connsiteX16339" y="connsiteY16339"/>
              </a:cxn>
              <a:cxn ang="0">
                <a:pos x="connsiteX16340" y="connsiteY16340"/>
              </a:cxn>
              <a:cxn ang="0">
                <a:pos x="connsiteX16341" y="connsiteY16341"/>
              </a:cxn>
              <a:cxn ang="0">
                <a:pos x="connsiteX16342" y="connsiteY16342"/>
              </a:cxn>
              <a:cxn ang="0">
                <a:pos x="connsiteX16343" y="connsiteY16343"/>
              </a:cxn>
              <a:cxn ang="0">
                <a:pos x="connsiteX16344" y="connsiteY16344"/>
              </a:cxn>
              <a:cxn ang="0">
                <a:pos x="connsiteX16345" y="connsiteY16345"/>
              </a:cxn>
              <a:cxn ang="0">
                <a:pos x="connsiteX16346" y="connsiteY16346"/>
              </a:cxn>
              <a:cxn ang="0">
                <a:pos x="connsiteX16347" y="connsiteY16347"/>
              </a:cxn>
              <a:cxn ang="0">
                <a:pos x="connsiteX16348" y="connsiteY16348"/>
              </a:cxn>
              <a:cxn ang="0">
                <a:pos x="connsiteX16349" y="connsiteY16349"/>
              </a:cxn>
              <a:cxn ang="0">
                <a:pos x="connsiteX16350" y="connsiteY16350"/>
              </a:cxn>
              <a:cxn ang="0">
                <a:pos x="connsiteX16351" y="connsiteY16351"/>
              </a:cxn>
              <a:cxn ang="0">
                <a:pos x="connsiteX16352" y="connsiteY16352"/>
              </a:cxn>
              <a:cxn ang="0">
                <a:pos x="connsiteX16353" y="connsiteY16353"/>
              </a:cxn>
              <a:cxn ang="0">
                <a:pos x="connsiteX16354" y="connsiteY16354"/>
              </a:cxn>
              <a:cxn ang="0">
                <a:pos x="connsiteX16355" y="connsiteY16355"/>
              </a:cxn>
              <a:cxn ang="0">
                <a:pos x="connsiteX16356" y="connsiteY16356"/>
              </a:cxn>
              <a:cxn ang="0">
                <a:pos x="connsiteX16357" y="connsiteY16357"/>
              </a:cxn>
              <a:cxn ang="0">
                <a:pos x="connsiteX16358" y="connsiteY16358"/>
              </a:cxn>
              <a:cxn ang="0">
                <a:pos x="connsiteX16359" y="connsiteY16359"/>
              </a:cxn>
              <a:cxn ang="0">
                <a:pos x="connsiteX16360" y="connsiteY16360"/>
              </a:cxn>
              <a:cxn ang="0">
                <a:pos x="connsiteX16361" y="connsiteY16361"/>
              </a:cxn>
              <a:cxn ang="0">
                <a:pos x="connsiteX16362" y="connsiteY16362"/>
              </a:cxn>
              <a:cxn ang="0">
                <a:pos x="connsiteX16363" y="connsiteY16363"/>
              </a:cxn>
              <a:cxn ang="0">
                <a:pos x="connsiteX16364" y="connsiteY16364"/>
              </a:cxn>
              <a:cxn ang="0">
                <a:pos x="connsiteX16365" y="connsiteY16365"/>
              </a:cxn>
              <a:cxn ang="0">
                <a:pos x="connsiteX16366" y="connsiteY16366"/>
              </a:cxn>
              <a:cxn ang="0">
                <a:pos x="connsiteX16367" y="connsiteY16367"/>
              </a:cxn>
              <a:cxn ang="0">
                <a:pos x="connsiteX16368" y="connsiteY16368"/>
              </a:cxn>
              <a:cxn ang="0">
                <a:pos x="connsiteX16369" y="connsiteY16369"/>
              </a:cxn>
              <a:cxn ang="0">
                <a:pos x="connsiteX16370" y="connsiteY16370"/>
              </a:cxn>
              <a:cxn ang="0">
                <a:pos x="connsiteX16371" y="connsiteY16371"/>
              </a:cxn>
              <a:cxn ang="0">
                <a:pos x="connsiteX16372" y="connsiteY16372"/>
              </a:cxn>
              <a:cxn ang="0">
                <a:pos x="connsiteX16373" y="connsiteY16373"/>
              </a:cxn>
              <a:cxn ang="0">
                <a:pos x="connsiteX16374" y="connsiteY16374"/>
              </a:cxn>
              <a:cxn ang="0">
                <a:pos x="connsiteX16375" y="connsiteY16375"/>
              </a:cxn>
              <a:cxn ang="0">
                <a:pos x="connsiteX16376" y="connsiteY16376"/>
              </a:cxn>
              <a:cxn ang="0">
                <a:pos x="connsiteX16377" y="connsiteY16377"/>
              </a:cxn>
              <a:cxn ang="0">
                <a:pos x="connsiteX16378" y="connsiteY16378"/>
              </a:cxn>
              <a:cxn ang="0">
                <a:pos x="connsiteX16379" y="connsiteY16379"/>
              </a:cxn>
              <a:cxn ang="0">
                <a:pos x="connsiteX16380" y="connsiteY16380"/>
              </a:cxn>
              <a:cxn ang="0">
                <a:pos x="connsiteX16381" y="connsiteY16381"/>
              </a:cxn>
              <a:cxn ang="0">
                <a:pos x="connsiteX16382" y="connsiteY16382"/>
              </a:cxn>
              <a:cxn ang="0">
                <a:pos x="connsiteX16383" y="connsiteY16383"/>
              </a:cxn>
              <a:cxn ang="0">
                <a:pos x="connsiteX16384" y="connsiteY16384"/>
              </a:cxn>
              <a:cxn ang="0">
                <a:pos x="connsiteX16385" y="connsiteY16385"/>
              </a:cxn>
              <a:cxn ang="0">
                <a:pos x="connsiteX16386" y="connsiteY16386"/>
              </a:cxn>
              <a:cxn ang="0">
                <a:pos x="connsiteX16387" y="connsiteY16387"/>
              </a:cxn>
              <a:cxn ang="0">
                <a:pos x="connsiteX16388" y="connsiteY16388"/>
              </a:cxn>
              <a:cxn ang="0">
                <a:pos x="connsiteX16389" y="connsiteY16389"/>
              </a:cxn>
              <a:cxn ang="0">
                <a:pos x="connsiteX16390" y="connsiteY16390"/>
              </a:cxn>
              <a:cxn ang="0">
                <a:pos x="connsiteX16391" y="connsiteY16391"/>
              </a:cxn>
              <a:cxn ang="0">
                <a:pos x="connsiteX16392" y="connsiteY16392"/>
              </a:cxn>
              <a:cxn ang="0">
                <a:pos x="connsiteX16393" y="connsiteY16393"/>
              </a:cxn>
              <a:cxn ang="0">
                <a:pos x="connsiteX16394" y="connsiteY16394"/>
              </a:cxn>
              <a:cxn ang="0">
                <a:pos x="connsiteX16395" y="connsiteY16395"/>
              </a:cxn>
              <a:cxn ang="0">
                <a:pos x="connsiteX16396" y="connsiteY16396"/>
              </a:cxn>
              <a:cxn ang="0">
                <a:pos x="connsiteX16397" y="connsiteY16397"/>
              </a:cxn>
              <a:cxn ang="0">
                <a:pos x="connsiteX16398" y="connsiteY16398"/>
              </a:cxn>
              <a:cxn ang="0">
                <a:pos x="connsiteX16399" y="connsiteY16399"/>
              </a:cxn>
              <a:cxn ang="0">
                <a:pos x="connsiteX16400" y="connsiteY16400"/>
              </a:cxn>
              <a:cxn ang="0">
                <a:pos x="connsiteX16401" y="connsiteY16401"/>
              </a:cxn>
              <a:cxn ang="0">
                <a:pos x="connsiteX16402" y="connsiteY16402"/>
              </a:cxn>
              <a:cxn ang="0">
                <a:pos x="connsiteX16403" y="connsiteY16403"/>
              </a:cxn>
              <a:cxn ang="0">
                <a:pos x="connsiteX16404" y="connsiteY16404"/>
              </a:cxn>
              <a:cxn ang="0">
                <a:pos x="connsiteX16405" y="connsiteY16405"/>
              </a:cxn>
              <a:cxn ang="0">
                <a:pos x="connsiteX16406" y="connsiteY16406"/>
              </a:cxn>
              <a:cxn ang="0">
                <a:pos x="connsiteX16407" y="connsiteY16407"/>
              </a:cxn>
              <a:cxn ang="0">
                <a:pos x="connsiteX16408" y="connsiteY16408"/>
              </a:cxn>
              <a:cxn ang="0">
                <a:pos x="connsiteX16409" y="connsiteY16409"/>
              </a:cxn>
              <a:cxn ang="0">
                <a:pos x="connsiteX16410" y="connsiteY16410"/>
              </a:cxn>
              <a:cxn ang="0">
                <a:pos x="connsiteX16411" y="connsiteY16411"/>
              </a:cxn>
              <a:cxn ang="0">
                <a:pos x="connsiteX16412" y="connsiteY16412"/>
              </a:cxn>
              <a:cxn ang="0">
                <a:pos x="connsiteX16413" y="connsiteY16413"/>
              </a:cxn>
              <a:cxn ang="0">
                <a:pos x="connsiteX16414" y="connsiteY16414"/>
              </a:cxn>
              <a:cxn ang="0">
                <a:pos x="connsiteX16415" y="connsiteY16415"/>
              </a:cxn>
              <a:cxn ang="0">
                <a:pos x="connsiteX16416" y="connsiteY16416"/>
              </a:cxn>
              <a:cxn ang="0">
                <a:pos x="connsiteX16417" y="connsiteY16417"/>
              </a:cxn>
              <a:cxn ang="0">
                <a:pos x="connsiteX16418" y="connsiteY16418"/>
              </a:cxn>
              <a:cxn ang="0">
                <a:pos x="connsiteX16419" y="connsiteY16419"/>
              </a:cxn>
              <a:cxn ang="0">
                <a:pos x="connsiteX16420" y="connsiteY16420"/>
              </a:cxn>
              <a:cxn ang="0">
                <a:pos x="connsiteX16421" y="connsiteY16421"/>
              </a:cxn>
              <a:cxn ang="0">
                <a:pos x="connsiteX16422" y="connsiteY16422"/>
              </a:cxn>
              <a:cxn ang="0">
                <a:pos x="connsiteX16423" y="connsiteY16423"/>
              </a:cxn>
              <a:cxn ang="0">
                <a:pos x="connsiteX16424" y="connsiteY16424"/>
              </a:cxn>
              <a:cxn ang="0">
                <a:pos x="connsiteX16425" y="connsiteY16425"/>
              </a:cxn>
              <a:cxn ang="0">
                <a:pos x="connsiteX16426" y="connsiteY16426"/>
              </a:cxn>
              <a:cxn ang="0">
                <a:pos x="connsiteX16427" y="connsiteY16427"/>
              </a:cxn>
              <a:cxn ang="0">
                <a:pos x="connsiteX16428" y="connsiteY16428"/>
              </a:cxn>
              <a:cxn ang="0">
                <a:pos x="connsiteX16429" y="connsiteY16429"/>
              </a:cxn>
              <a:cxn ang="0">
                <a:pos x="connsiteX16430" y="connsiteY16430"/>
              </a:cxn>
              <a:cxn ang="0">
                <a:pos x="connsiteX16431" y="connsiteY16431"/>
              </a:cxn>
              <a:cxn ang="0">
                <a:pos x="connsiteX16432" y="connsiteY16432"/>
              </a:cxn>
              <a:cxn ang="0">
                <a:pos x="connsiteX16433" y="connsiteY16433"/>
              </a:cxn>
              <a:cxn ang="0">
                <a:pos x="connsiteX16434" y="connsiteY16434"/>
              </a:cxn>
              <a:cxn ang="0">
                <a:pos x="connsiteX16435" y="connsiteY16435"/>
              </a:cxn>
              <a:cxn ang="0">
                <a:pos x="connsiteX16436" y="connsiteY16436"/>
              </a:cxn>
              <a:cxn ang="0">
                <a:pos x="connsiteX16437" y="connsiteY16437"/>
              </a:cxn>
              <a:cxn ang="0">
                <a:pos x="connsiteX16438" y="connsiteY16438"/>
              </a:cxn>
              <a:cxn ang="0">
                <a:pos x="connsiteX16439" y="connsiteY16439"/>
              </a:cxn>
              <a:cxn ang="0">
                <a:pos x="connsiteX16440" y="connsiteY16440"/>
              </a:cxn>
              <a:cxn ang="0">
                <a:pos x="connsiteX16441" y="connsiteY16441"/>
              </a:cxn>
              <a:cxn ang="0">
                <a:pos x="connsiteX16442" y="connsiteY16442"/>
              </a:cxn>
              <a:cxn ang="0">
                <a:pos x="connsiteX16443" y="connsiteY16443"/>
              </a:cxn>
              <a:cxn ang="0">
                <a:pos x="connsiteX16444" y="connsiteY16444"/>
              </a:cxn>
              <a:cxn ang="0">
                <a:pos x="connsiteX16445" y="connsiteY16445"/>
              </a:cxn>
              <a:cxn ang="0">
                <a:pos x="connsiteX16446" y="connsiteY16446"/>
              </a:cxn>
              <a:cxn ang="0">
                <a:pos x="connsiteX16447" y="connsiteY16447"/>
              </a:cxn>
              <a:cxn ang="0">
                <a:pos x="connsiteX16448" y="connsiteY16448"/>
              </a:cxn>
              <a:cxn ang="0">
                <a:pos x="connsiteX16449" y="connsiteY16449"/>
              </a:cxn>
              <a:cxn ang="0">
                <a:pos x="connsiteX16450" y="connsiteY16450"/>
              </a:cxn>
              <a:cxn ang="0">
                <a:pos x="connsiteX16451" y="connsiteY16451"/>
              </a:cxn>
              <a:cxn ang="0">
                <a:pos x="connsiteX16452" y="connsiteY16452"/>
              </a:cxn>
              <a:cxn ang="0">
                <a:pos x="connsiteX16453" y="connsiteY16453"/>
              </a:cxn>
              <a:cxn ang="0">
                <a:pos x="connsiteX16454" y="connsiteY16454"/>
              </a:cxn>
              <a:cxn ang="0">
                <a:pos x="connsiteX16455" y="connsiteY16455"/>
              </a:cxn>
              <a:cxn ang="0">
                <a:pos x="connsiteX16456" y="connsiteY16456"/>
              </a:cxn>
              <a:cxn ang="0">
                <a:pos x="connsiteX16457" y="connsiteY16457"/>
              </a:cxn>
              <a:cxn ang="0">
                <a:pos x="connsiteX16458" y="connsiteY16458"/>
              </a:cxn>
              <a:cxn ang="0">
                <a:pos x="connsiteX16459" y="connsiteY16459"/>
              </a:cxn>
              <a:cxn ang="0">
                <a:pos x="connsiteX16460" y="connsiteY16460"/>
              </a:cxn>
              <a:cxn ang="0">
                <a:pos x="connsiteX16461" y="connsiteY16461"/>
              </a:cxn>
              <a:cxn ang="0">
                <a:pos x="connsiteX16462" y="connsiteY16462"/>
              </a:cxn>
              <a:cxn ang="0">
                <a:pos x="connsiteX16463" y="connsiteY16463"/>
              </a:cxn>
              <a:cxn ang="0">
                <a:pos x="connsiteX16464" y="connsiteY16464"/>
              </a:cxn>
              <a:cxn ang="0">
                <a:pos x="connsiteX16465" y="connsiteY16465"/>
              </a:cxn>
              <a:cxn ang="0">
                <a:pos x="connsiteX16466" y="connsiteY16466"/>
              </a:cxn>
              <a:cxn ang="0">
                <a:pos x="connsiteX16467" y="connsiteY16467"/>
              </a:cxn>
              <a:cxn ang="0">
                <a:pos x="connsiteX16468" y="connsiteY16468"/>
              </a:cxn>
              <a:cxn ang="0">
                <a:pos x="connsiteX16469" y="connsiteY16469"/>
              </a:cxn>
              <a:cxn ang="0">
                <a:pos x="connsiteX16470" y="connsiteY16470"/>
              </a:cxn>
              <a:cxn ang="0">
                <a:pos x="connsiteX16471" y="connsiteY16471"/>
              </a:cxn>
              <a:cxn ang="0">
                <a:pos x="connsiteX16472" y="connsiteY16472"/>
              </a:cxn>
              <a:cxn ang="0">
                <a:pos x="connsiteX16473" y="connsiteY16473"/>
              </a:cxn>
              <a:cxn ang="0">
                <a:pos x="connsiteX16474" y="connsiteY16474"/>
              </a:cxn>
              <a:cxn ang="0">
                <a:pos x="connsiteX16475" y="connsiteY16475"/>
              </a:cxn>
              <a:cxn ang="0">
                <a:pos x="connsiteX16476" y="connsiteY16476"/>
              </a:cxn>
              <a:cxn ang="0">
                <a:pos x="connsiteX16477" y="connsiteY16477"/>
              </a:cxn>
              <a:cxn ang="0">
                <a:pos x="connsiteX16478" y="connsiteY16478"/>
              </a:cxn>
              <a:cxn ang="0">
                <a:pos x="connsiteX16479" y="connsiteY16479"/>
              </a:cxn>
              <a:cxn ang="0">
                <a:pos x="connsiteX16480" y="connsiteY16480"/>
              </a:cxn>
              <a:cxn ang="0">
                <a:pos x="connsiteX16481" y="connsiteY16481"/>
              </a:cxn>
              <a:cxn ang="0">
                <a:pos x="connsiteX16482" y="connsiteY16482"/>
              </a:cxn>
              <a:cxn ang="0">
                <a:pos x="connsiteX16483" y="connsiteY16483"/>
              </a:cxn>
              <a:cxn ang="0">
                <a:pos x="connsiteX16484" y="connsiteY16484"/>
              </a:cxn>
              <a:cxn ang="0">
                <a:pos x="connsiteX16485" y="connsiteY16485"/>
              </a:cxn>
              <a:cxn ang="0">
                <a:pos x="connsiteX16486" y="connsiteY16486"/>
              </a:cxn>
              <a:cxn ang="0">
                <a:pos x="connsiteX16487" y="connsiteY16487"/>
              </a:cxn>
              <a:cxn ang="0">
                <a:pos x="connsiteX16488" y="connsiteY16488"/>
              </a:cxn>
              <a:cxn ang="0">
                <a:pos x="connsiteX16489" y="connsiteY16489"/>
              </a:cxn>
              <a:cxn ang="0">
                <a:pos x="connsiteX16490" y="connsiteY16490"/>
              </a:cxn>
              <a:cxn ang="0">
                <a:pos x="connsiteX16491" y="connsiteY16491"/>
              </a:cxn>
              <a:cxn ang="0">
                <a:pos x="connsiteX16492" y="connsiteY16492"/>
              </a:cxn>
              <a:cxn ang="0">
                <a:pos x="connsiteX16493" y="connsiteY16493"/>
              </a:cxn>
              <a:cxn ang="0">
                <a:pos x="connsiteX16494" y="connsiteY16494"/>
              </a:cxn>
              <a:cxn ang="0">
                <a:pos x="connsiteX16495" y="connsiteY16495"/>
              </a:cxn>
              <a:cxn ang="0">
                <a:pos x="connsiteX16496" y="connsiteY16496"/>
              </a:cxn>
              <a:cxn ang="0">
                <a:pos x="connsiteX16497" y="connsiteY16497"/>
              </a:cxn>
              <a:cxn ang="0">
                <a:pos x="connsiteX16498" y="connsiteY16498"/>
              </a:cxn>
              <a:cxn ang="0">
                <a:pos x="connsiteX16499" y="connsiteY16499"/>
              </a:cxn>
              <a:cxn ang="0">
                <a:pos x="connsiteX16500" y="connsiteY16500"/>
              </a:cxn>
              <a:cxn ang="0">
                <a:pos x="connsiteX16501" y="connsiteY16501"/>
              </a:cxn>
              <a:cxn ang="0">
                <a:pos x="connsiteX16502" y="connsiteY16502"/>
              </a:cxn>
              <a:cxn ang="0">
                <a:pos x="connsiteX16503" y="connsiteY16503"/>
              </a:cxn>
              <a:cxn ang="0">
                <a:pos x="connsiteX16504" y="connsiteY16504"/>
              </a:cxn>
              <a:cxn ang="0">
                <a:pos x="connsiteX16505" y="connsiteY16505"/>
              </a:cxn>
              <a:cxn ang="0">
                <a:pos x="connsiteX16506" y="connsiteY16506"/>
              </a:cxn>
              <a:cxn ang="0">
                <a:pos x="connsiteX16507" y="connsiteY16507"/>
              </a:cxn>
              <a:cxn ang="0">
                <a:pos x="connsiteX16508" y="connsiteY16508"/>
              </a:cxn>
              <a:cxn ang="0">
                <a:pos x="connsiteX16509" y="connsiteY16509"/>
              </a:cxn>
              <a:cxn ang="0">
                <a:pos x="connsiteX16510" y="connsiteY16510"/>
              </a:cxn>
              <a:cxn ang="0">
                <a:pos x="connsiteX16511" y="connsiteY16511"/>
              </a:cxn>
              <a:cxn ang="0">
                <a:pos x="connsiteX16512" y="connsiteY16512"/>
              </a:cxn>
              <a:cxn ang="0">
                <a:pos x="connsiteX16513" y="connsiteY16513"/>
              </a:cxn>
              <a:cxn ang="0">
                <a:pos x="connsiteX16514" y="connsiteY16514"/>
              </a:cxn>
              <a:cxn ang="0">
                <a:pos x="connsiteX16515" y="connsiteY16515"/>
              </a:cxn>
              <a:cxn ang="0">
                <a:pos x="connsiteX16516" y="connsiteY16516"/>
              </a:cxn>
              <a:cxn ang="0">
                <a:pos x="connsiteX16517" y="connsiteY16517"/>
              </a:cxn>
              <a:cxn ang="0">
                <a:pos x="connsiteX16518" y="connsiteY16518"/>
              </a:cxn>
              <a:cxn ang="0">
                <a:pos x="connsiteX16519" y="connsiteY16519"/>
              </a:cxn>
              <a:cxn ang="0">
                <a:pos x="connsiteX16520" y="connsiteY16520"/>
              </a:cxn>
              <a:cxn ang="0">
                <a:pos x="connsiteX16521" y="connsiteY16521"/>
              </a:cxn>
              <a:cxn ang="0">
                <a:pos x="connsiteX16522" y="connsiteY16522"/>
              </a:cxn>
              <a:cxn ang="0">
                <a:pos x="connsiteX16523" y="connsiteY16523"/>
              </a:cxn>
              <a:cxn ang="0">
                <a:pos x="connsiteX16524" y="connsiteY16524"/>
              </a:cxn>
              <a:cxn ang="0">
                <a:pos x="connsiteX16525" y="connsiteY16525"/>
              </a:cxn>
              <a:cxn ang="0">
                <a:pos x="connsiteX16526" y="connsiteY16526"/>
              </a:cxn>
              <a:cxn ang="0">
                <a:pos x="connsiteX16527" y="connsiteY16527"/>
              </a:cxn>
              <a:cxn ang="0">
                <a:pos x="connsiteX16528" y="connsiteY16528"/>
              </a:cxn>
              <a:cxn ang="0">
                <a:pos x="connsiteX16529" y="connsiteY16529"/>
              </a:cxn>
              <a:cxn ang="0">
                <a:pos x="connsiteX16530" y="connsiteY16530"/>
              </a:cxn>
              <a:cxn ang="0">
                <a:pos x="connsiteX16531" y="connsiteY16531"/>
              </a:cxn>
              <a:cxn ang="0">
                <a:pos x="connsiteX16532" y="connsiteY16532"/>
              </a:cxn>
              <a:cxn ang="0">
                <a:pos x="connsiteX16533" y="connsiteY16533"/>
              </a:cxn>
              <a:cxn ang="0">
                <a:pos x="connsiteX16534" y="connsiteY16534"/>
              </a:cxn>
              <a:cxn ang="0">
                <a:pos x="connsiteX16535" y="connsiteY16535"/>
              </a:cxn>
              <a:cxn ang="0">
                <a:pos x="connsiteX16536" y="connsiteY16536"/>
              </a:cxn>
              <a:cxn ang="0">
                <a:pos x="connsiteX16537" y="connsiteY16537"/>
              </a:cxn>
              <a:cxn ang="0">
                <a:pos x="connsiteX16538" y="connsiteY16538"/>
              </a:cxn>
              <a:cxn ang="0">
                <a:pos x="connsiteX16539" y="connsiteY16539"/>
              </a:cxn>
              <a:cxn ang="0">
                <a:pos x="connsiteX16540" y="connsiteY16540"/>
              </a:cxn>
              <a:cxn ang="0">
                <a:pos x="connsiteX16541" y="connsiteY16541"/>
              </a:cxn>
              <a:cxn ang="0">
                <a:pos x="connsiteX16542" y="connsiteY16542"/>
              </a:cxn>
              <a:cxn ang="0">
                <a:pos x="connsiteX16543" y="connsiteY16543"/>
              </a:cxn>
              <a:cxn ang="0">
                <a:pos x="connsiteX16544" y="connsiteY16544"/>
              </a:cxn>
              <a:cxn ang="0">
                <a:pos x="connsiteX16545" y="connsiteY16545"/>
              </a:cxn>
              <a:cxn ang="0">
                <a:pos x="connsiteX16546" y="connsiteY16546"/>
              </a:cxn>
              <a:cxn ang="0">
                <a:pos x="connsiteX16547" y="connsiteY16547"/>
              </a:cxn>
              <a:cxn ang="0">
                <a:pos x="connsiteX16548" y="connsiteY16548"/>
              </a:cxn>
              <a:cxn ang="0">
                <a:pos x="connsiteX16549" y="connsiteY16549"/>
              </a:cxn>
              <a:cxn ang="0">
                <a:pos x="connsiteX16550" y="connsiteY16550"/>
              </a:cxn>
              <a:cxn ang="0">
                <a:pos x="connsiteX16551" y="connsiteY16551"/>
              </a:cxn>
              <a:cxn ang="0">
                <a:pos x="connsiteX16552" y="connsiteY16552"/>
              </a:cxn>
              <a:cxn ang="0">
                <a:pos x="connsiteX16553" y="connsiteY16553"/>
              </a:cxn>
              <a:cxn ang="0">
                <a:pos x="connsiteX16554" y="connsiteY16554"/>
              </a:cxn>
              <a:cxn ang="0">
                <a:pos x="connsiteX16555" y="connsiteY16555"/>
              </a:cxn>
              <a:cxn ang="0">
                <a:pos x="connsiteX16556" y="connsiteY16556"/>
              </a:cxn>
              <a:cxn ang="0">
                <a:pos x="connsiteX16557" y="connsiteY16557"/>
              </a:cxn>
              <a:cxn ang="0">
                <a:pos x="connsiteX16558" y="connsiteY16558"/>
              </a:cxn>
              <a:cxn ang="0">
                <a:pos x="connsiteX16559" y="connsiteY16559"/>
              </a:cxn>
              <a:cxn ang="0">
                <a:pos x="connsiteX16560" y="connsiteY16560"/>
              </a:cxn>
              <a:cxn ang="0">
                <a:pos x="connsiteX16561" y="connsiteY16561"/>
              </a:cxn>
              <a:cxn ang="0">
                <a:pos x="connsiteX16562" y="connsiteY16562"/>
              </a:cxn>
              <a:cxn ang="0">
                <a:pos x="connsiteX16563" y="connsiteY16563"/>
              </a:cxn>
              <a:cxn ang="0">
                <a:pos x="connsiteX16564" y="connsiteY16564"/>
              </a:cxn>
              <a:cxn ang="0">
                <a:pos x="connsiteX16565" y="connsiteY16565"/>
              </a:cxn>
              <a:cxn ang="0">
                <a:pos x="connsiteX16566" y="connsiteY16566"/>
              </a:cxn>
              <a:cxn ang="0">
                <a:pos x="connsiteX16567" y="connsiteY16567"/>
              </a:cxn>
              <a:cxn ang="0">
                <a:pos x="connsiteX16568" y="connsiteY16568"/>
              </a:cxn>
              <a:cxn ang="0">
                <a:pos x="connsiteX16569" y="connsiteY16569"/>
              </a:cxn>
              <a:cxn ang="0">
                <a:pos x="connsiteX16570" y="connsiteY16570"/>
              </a:cxn>
              <a:cxn ang="0">
                <a:pos x="connsiteX16571" y="connsiteY16571"/>
              </a:cxn>
              <a:cxn ang="0">
                <a:pos x="connsiteX16572" y="connsiteY16572"/>
              </a:cxn>
              <a:cxn ang="0">
                <a:pos x="connsiteX16573" y="connsiteY16573"/>
              </a:cxn>
              <a:cxn ang="0">
                <a:pos x="connsiteX16574" y="connsiteY16574"/>
              </a:cxn>
              <a:cxn ang="0">
                <a:pos x="connsiteX16575" y="connsiteY16575"/>
              </a:cxn>
              <a:cxn ang="0">
                <a:pos x="connsiteX16576" y="connsiteY16576"/>
              </a:cxn>
              <a:cxn ang="0">
                <a:pos x="connsiteX16577" y="connsiteY16577"/>
              </a:cxn>
              <a:cxn ang="0">
                <a:pos x="connsiteX16578" y="connsiteY16578"/>
              </a:cxn>
              <a:cxn ang="0">
                <a:pos x="connsiteX16579" y="connsiteY16579"/>
              </a:cxn>
              <a:cxn ang="0">
                <a:pos x="connsiteX16580" y="connsiteY16580"/>
              </a:cxn>
              <a:cxn ang="0">
                <a:pos x="connsiteX16581" y="connsiteY16581"/>
              </a:cxn>
              <a:cxn ang="0">
                <a:pos x="connsiteX16582" y="connsiteY16582"/>
              </a:cxn>
              <a:cxn ang="0">
                <a:pos x="connsiteX16583" y="connsiteY16583"/>
              </a:cxn>
              <a:cxn ang="0">
                <a:pos x="connsiteX16584" y="connsiteY16584"/>
              </a:cxn>
              <a:cxn ang="0">
                <a:pos x="connsiteX16585" y="connsiteY16585"/>
              </a:cxn>
              <a:cxn ang="0">
                <a:pos x="connsiteX16586" y="connsiteY16586"/>
              </a:cxn>
              <a:cxn ang="0">
                <a:pos x="connsiteX16587" y="connsiteY16587"/>
              </a:cxn>
              <a:cxn ang="0">
                <a:pos x="connsiteX16588" y="connsiteY16588"/>
              </a:cxn>
              <a:cxn ang="0">
                <a:pos x="connsiteX16589" y="connsiteY16589"/>
              </a:cxn>
              <a:cxn ang="0">
                <a:pos x="connsiteX16590" y="connsiteY16590"/>
              </a:cxn>
              <a:cxn ang="0">
                <a:pos x="connsiteX16591" y="connsiteY16591"/>
              </a:cxn>
              <a:cxn ang="0">
                <a:pos x="connsiteX16592" y="connsiteY16592"/>
              </a:cxn>
              <a:cxn ang="0">
                <a:pos x="connsiteX16593" y="connsiteY16593"/>
              </a:cxn>
              <a:cxn ang="0">
                <a:pos x="connsiteX16594" y="connsiteY16594"/>
              </a:cxn>
              <a:cxn ang="0">
                <a:pos x="connsiteX16595" y="connsiteY16595"/>
              </a:cxn>
              <a:cxn ang="0">
                <a:pos x="connsiteX16596" y="connsiteY16596"/>
              </a:cxn>
              <a:cxn ang="0">
                <a:pos x="connsiteX16597" y="connsiteY16597"/>
              </a:cxn>
              <a:cxn ang="0">
                <a:pos x="connsiteX16598" y="connsiteY16598"/>
              </a:cxn>
              <a:cxn ang="0">
                <a:pos x="connsiteX16599" y="connsiteY16599"/>
              </a:cxn>
              <a:cxn ang="0">
                <a:pos x="connsiteX16600" y="connsiteY16600"/>
              </a:cxn>
              <a:cxn ang="0">
                <a:pos x="connsiteX16601" y="connsiteY16601"/>
              </a:cxn>
              <a:cxn ang="0">
                <a:pos x="connsiteX16602" y="connsiteY16602"/>
              </a:cxn>
              <a:cxn ang="0">
                <a:pos x="connsiteX16603" y="connsiteY16603"/>
              </a:cxn>
              <a:cxn ang="0">
                <a:pos x="connsiteX16604" y="connsiteY16604"/>
              </a:cxn>
              <a:cxn ang="0">
                <a:pos x="connsiteX16605" y="connsiteY16605"/>
              </a:cxn>
              <a:cxn ang="0">
                <a:pos x="connsiteX16606" y="connsiteY16606"/>
              </a:cxn>
              <a:cxn ang="0">
                <a:pos x="connsiteX16607" y="connsiteY16607"/>
              </a:cxn>
              <a:cxn ang="0">
                <a:pos x="connsiteX16608" y="connsiteY16608"/>
              </a:cxn>
              <a:cxn ang="0">
                <a:pos x="connsiteX16609" y="connsiteY16609"/>
              </a:cxn>
              <a:cxn ang="0">
                <a:pos x="connsiteX16610" y="connsiteY16610"/>
              </a:cxn>
              <a:cxn ang="0">
                <a:pos x="connsiteX16611" y="connsiteY16611"/>
              </a:cxn>
              <a:cxn ang="0">
                <a:pos x="connsiteX16612" y="connsiteY16612"/>
              </a:cxn>
              <a:cxn ang="0">
                <a:pos x="connsiteX16613" y="connsiteY16613"/>
              </a:cxn>
              <a:cxn ang="0">
                <a:pos x="connsiteX16614" y="connsiteY16614"/>
              </a:cxn>
              <a:cxn ang="0">
                <a:pos x="connsiteX16615" y="connsiteY16615"/>
              </a:cxn>
              <a:cxn ang="0">
                <a:pos x="connsiteX16616" y="connsiteY16616"/>
              </a:cxn>
              <a:cxn ang="0">
                <a:pos x="connsiteX16617" y="connsiteY16617"/>
              </a:cxn>
              <a:cxn ang="0">
                <a:pos x="connsiteX16618" y="connsiteY16618"/>
              </a:cxn>
              <a:cxn ang="0">
                <a:pos x="connsiteX16619" y="connsiteY16619"/>
              </a:cxn>
              <a:cxn ang="0">
                <a:pos x="connsiteX16620" y="connsiteY16620"/>
              </a:cxn>
              <a:cxn ang="0">
                <a:pos x="connsiteX16621" y="connsiteY16621"/>
              </a:cxn>
              <a:cxn ang="0">
                <a:pos x="connsiteX16622" y="connsiteY16622"/>
              </a:cxn>
              <a:cxn ang="0">
                <a:pos x="connsiteX16623" y="connsiteY16623"/>
              </a:cxn>
              <a:cxn ang="0">
                <a:pos x="connsiteX16624" y="connsiteY16624"/>
              </a:cxn>
              <a:cxn ang="0">
                <a:pos x="connsiteX16625" y="connsiteY16625"/>
              </a:cxn>
              <a:cxn ang="0">
                <a:pos x="connsiteX16626" y="connsiteY16626"/>
              </a:cxn>
              <a:cxn ang="0">
                <a:pos x="connsiteX16627" y="connsiteY16627"/>
              </a:cxn>
              <a:cxn ang="0">
                <a:pos x="connsiteX16628" y="connsiteY16628"/>
              </a:cxn>
              <a:cxn ang="0">
                <a:pos x="connsiteX16629" y="connsiteY16629"/>
              </a:cxn>
              <a:cxn ang="0">
                <a:pos x="connsiteX16630" y="connsiteY16630"/>
              </a:cxn>
              <a:cxn ang="0">
                <a:pos x="connsiteX16631" y="connsiteY16631"/>
              </a:cxn>
              <a:cxn ang="0">
                <a:pos x="connsiteX16632" y="connsiteY16632"/>
              </a:cxn>
              <a:cxn ang="0">
                <a:pos x="connsiteX16633" y="connsiteY16633"/>
              </a:cxn>
              <a:cxn ang="0">
                <a:pos x="connsiteX16634" y="connsiteY16634"/>
              </a:cxn>
              <a:cxn ang="0">
                <a:pos x="connsiteX16635" y="connsiteY16635"/>
              </a:cxn>
              <a:cxn ang="0">
                <a:pos x="connsiteX16636" y="connsiteY16636"/>
              </a:cxn>
              <a:cxn ang="0">
                <a:pos x="connsiteX16637" y="connsiteY16637"/>
              </a:cxn>
              <a:cxn ang="0">
                <a:pos x="connsiteX16638" y="connsiteY16638"/>
              </a:cxn>
              <a:cxn ang="0">
                <a:pos x="connsiteX16639" y="connsiteY16639"/>
              </a:cxn>
              <a:cxn ang="0">
                <a:pos x="connsiteX16640" y="connsiteY16640"/>
              </a:cxn>
              <a:cxn ang="0">
                <a:pos x="connsiteX16641" y="connsiteY16641"/>
              </a:cxn>
              <a:cxn ang="0">
                <a:pos x="connsiteX16642" y="connsiteY16642"/>
              </a:cxn>
              <a:cxn ang="0">
                <a:pos x="connsiteX16643" y="connsiteY16643"/>
              </a:cxn>
              <a:cxn ang="0">
                <a:pos x="connsiteX16644" y="connsiteY16644"/>
              </a:cxn>
              <a:cxn ang="0">
                <a:pos x="connsiteX16645" y="connsiteY16645"/>
              </a:cxn>
              <a:cxn ang="0">
                <a:pos x="connsiteX16646" y="connsiteY16646"/>
              </a:cxn>
              <a:cxn ang="0">
                <a:pos x="connsiteX16647" y="connsiteY16647"/>
              </a:cxn>
              <a:cxn ang="0">
                <a:pos x="connsiteX16648" y="connsiteY16648"/>
              </a:cxn>
              <a:cxn ang="0">
                <a:pos x="connsiteX16649" y="connsiteY16649"/>
              </a:cxn>
              <a:cxn ang="0">
                <a:pos x="connsiteX16650" y="connsiteY16650"/>
              </a:cxn>
              <a:cxn ang="0">
                <a:pos x="connsiteX16651" y="connsiteY16651"/>
              </a:cxn>
              <a:cxn ang="0">
                <a:pos x="connsiteX16652" y="connsiteY16652"/>
              </a:cxn>
              <a:cxn ang="0">
                <a:pos x="connsiteX16653" y="connsiteY16653"/>
              </a:cxn>
              <a:cxn ang="0">
                <a:pos x="connsiteX16654" y="connsiteY16654"/>
              </a:cxn>
              <a:cxn ang="0">
                <a:pos x="connsiteX16655" y="connsiteY16655"/>
              </a:cxn>
              <a:cxn ang="0">
                <a:pos x="connsiteX16656" y="connsiteY16656"/>
              </a:cxn>
              <a:cxn ang="0">
                <a:pos x="connsiteX16657" y="connsiteY16657"/>
              </a:cxn>
              <a:cxn ang="0">
                <a:pos x="connsiteX16658" y="connsiteY16658"/>
              </a:cxn>
              <a:cxn ang="0">
                <a:pos x="connsiteX16659" y="connsiteY16659"/>
              </a:cxn>
              <a:cxn ang="0">
                <a:pos x="connsiteX16660" y="connsiteY16660"/>
              </a:cxn>
              <a:cxn ang="0">
                <a:pos x="connsiteX16661" y="connsiteY16661"/>
              </a:cxn>
              <a:cxn ang="0">
                <a:pos x="connsiteX16662" y="connsiteY16662"/>
              </a:cxn>
              <a:cxn ang="0">
                <a:pos x="connsiteX16663" y="connsiteY16663"/>
              </a:cxn>
              <a:cxn ang="0">
                <a:pos x="connsiteX16664" y="connsiteY16664"/>
              </a:cxn>
              <a:cxn ang="0">
                <a:pos x="connsiteX16665" y="connsiteY16665"/>
              </a:cxn>
              <a:cxn ang="0">
                <a:pos x="connsiteX16666" y="connsiteY16666"/>
              </a:cxn>
              <a:cxn ang="0">
                <a:pos x="connsiteX16667" y="connsiteY16667"/>
              </a:cxn>
              <a:cxn ang="0">
                <a:pos x="connsiteX16668" y="connsiteY16668"/>
              </a:cxn>
              <a:cxn ang="0">
                <a:pos x="connsiteX16669" y="connsiteY16669"/>
              </a:cxn>
              <a:cxn ang="0">
                <a:pos x="connsiteX16670" y="connsiteY16670"/>
              </a:cxn>
              <a:cxn ang="0">
                <a:pos x="connsiteX16671" y="connsiteY16671"/>
              </a:cxn>
              <a:cxn ang="0">
                <a:pos x="connsiteX16672" y="connsiteY16672"/>
              </a:cxn>
              <a:cxn ang="0">
                <a:pos x="connsiteX16673" y="connsiteY16673"/>
              </a:cxn>
              <a:cxn ang="0">
                <a:pos x="connsiteX16674" y="connsiteY16674"/>
              </a:cxn>
              <a:cxn ang="0">
                <a:pos x="connsiteX16675" y="connsiteY16675"/>
              </a:cxn>
              <a:cxn ang="0">
                <a:pos x="connsiteX16676" y="connsiteY16676"/>
              </a:cxn>
              <a:cxn ang="0">
                <a:pos x="connsiteX16677" y="connsiteY16677"/>
              </a:cxn>
              <a:cxn ang="0">
                <a:pos x="connsiteX16678" y="connsiteY16678"/>
              </a:cxn>
              <a:cxn ang="0">
                <a:pos x="connsiteX16679" y="connsiteY16679"/>
              </a:cxn>
              <a:cxn ang="0">
                <a:pos x="connsiteX16680" y="connsiteY16680"/>
              </a:cxn>
              <a:cxn ang="0">
                <a:pos x="connsiteX16681" y="connsiteY16681"/>
              </a:cxn>
              <a:cxn ang="0">
                <a:pos x="connsiteX16682" y="connsiteY16682"/>
              </a:cxn>
              <a:cxn ang="0">
                <a:pos x="connsiteX16683" y="connsiteY16683"/>
              </a:cxn>
              <a:cxn ang="0">
                <a:pos x="connsiteX16684" y="connsiteY16684"/>
              </a:cxn>
              <a:cxn ang="0">
                <a:pos x="connsiteX16685" y="connsiteY16685"/>
              </a:cxn>
              <a:cxn ang="0">
                <a:pos x="connsiteX16686" y="connsiteY16686"/>
              </a:cxn>
              <a:cxn ang="0">
                <a:pos x="connsiteX16687" y="connsiteY16687"/>
              </a:cxn>
              <a:cxn ang="0">
                <a:pos x="connsiteX16688" y="connsiteY16688"/>
              </a:cxn>
              <a:cxn ang="0">
                <a:pos x="connsiteX16689" y="connsiteY16689"/>
              </a:cxn>
              <a:cxn ang="0">
                <a:pos x="connsiteX16690" y="connsiteY16690"/>
              </a:cxn>
              <a:cxn ang="0">
                <a:pos x="connsiteX16691" y="connsiteY16691"/>
              </a:cxn>
              <a:cxn ang="0">
                <a:pos x="connsiteX16692" y="connsiteY16692"/>
              </a:cxn>
              <a:cxn ang="0">
                <a:pos x="connsiteX16693" y="connsiteY16693"/>
              </a:cxn>
              <a:cxn ang="0">
                <a:pos x="connsiteX16694" y="connsiteY16694"/>
              </a:cxn>
              <a:cxn ang="0">
                <a:pos x="connsiteX16695" y="connsiteY16695"/>
              </a:cxn>
              <a:cxn ang="0">
                <a:pos x="connsiteX16696" y="connsiteY16696"/>
              </a:cxn>
              <a:cxn ang="0">
                <a:pos x="connsiteX16697" y="connsiteY16697"/>
              </a:cxn>
              <a:cxn ang="0">
                <a:pos x="connsiteX16698" y="connsiteY16698"/>
              </a:cxn>
              <a:cxn ang="0">
                <a:pos x="connsiteX16699" y="connsiteY16699"/>
              </a:cxn>
              <a:cxn ang="0">
                <a:pos x="connsiteX16700" y="connsiteY16700"/>
              </a:cxn>
              <a:cxn ang="0">
                <a:pos x="connsiteX16701" y="connsiteY16701"/>
              </a:cxn>
              <a:cxn ang="0">
                <a:pos x="connsiteX16702" y="connsiteY16702"/>
              </a:cxn>
              <a:cxn ang="0">
                <a:pos x="connsiteX16703" y="connsiteY16703"/>
              </a:cxn>
              <a:cxn ang="0">
                <a:pos x="connsiteX16704" y="connsiteY16704"/>
              </a:cxn>
              <a:cxn ang="0">
                <a:pos x="connsiteX16705" y="connsiteY16705"/>
              </a:cxn>
              <a:cxn ang="0">
                <a:pos x="connsiteX16706" y="connsiteY16706"/>
              </a:cxn>
              <a:cxn ang="0">
                <a:pos x="connsiteX16707" y="connsiteY16707"/>
              </a:cxn>
              <a:cxn ang="0">
                <a:pos x="connsiteX16708" y="connsiteY16708"/>
              </a:cxn>
              <a:cxn ang="0">
                <a:pos x="connsiteX16709" y="connsiteY16709"/>
              </a:cxn>
              <a:cxn ang="0">
                <a:pos x="connsiteX16710" y="connsiteY16710"/>
              </a:cxn>
              <a:cxn ang="0">
                <a:pos x="connsiteX16711" y="connsiteY16711"/>
              </a:cxn>
              <a:cxn ang="0">
                <a:pos x="connsiteX16712" y="connsiteY16712"/>
              </a:cxn>
              <a:cxn ang="0">
                <a:pos x="connsiteX16713" y="connsiteY16713"/>
              </a:cxn>
              <a:cxn ang="0">
                <a:pos x="connsiteX16714" y="connsiteY16714"/>
              </a:cxn>
              <a:cxn ang="0">
                <a:pos x="connsiteX16715" y="connsiteY16715"/>
              </a:cxn>
              <a:cxn ang="0">
                <a:pos x="connsiteX16716" y="connsiteY16716"/>
              </a:cxn>
              <a:cxn ang="0">
                <a:pos x="connsiteX16717" y="connsiteY16717"/>
              </a:cxn>
              <a:cxn ang="0">
                <a:pos x="connsiteX16718" y="connsiteY16718"/>
              </a:cxn>
              <a:cxn ang="0">
                <a:pos x="connsiteX16719" y="connsiteY16719"/>
              </a:cxn>
              <a:cxn ang="0">
                <a:pos x="connsiteX16720" y="connsiteY16720"/>
              </a:cxn>
              <a:cxn ang="0">
                <a:pos x="connsiteX16721" y="connsiteY16721"/>
              </a:cxn>
              <a:cxn ang="0">
                <a:pos x="connsiteX16722" y="connsiteY16722"/>
              </a:cxn>
              <a:cxn ang="0">
                <a:pos x="connsiteX16723" y="connsiteY16723"/>
              </a:cxn>
              <a:cxn ang="0">
                <a:pos x="connsiteX16724" y="connsiteY16724"/>
              </a:cxn>
              <a:cxn ang="0">
                <a:pos x="connsiteX16725" y="connsiteY16725"/>
              </a:cxn>
              <a:cxn ang="0">
                <a:pos x="connsiteX16726" y="connsiteY16726"/>
              </a:cxn>
              <a:cxn ang="0">
                <a:pos x="connsiteX16727" y="connsiteY16727"/>
              </a:cxn>
              <a:cxn ang="0">
                <a:pos x="connsiteX16728" y="connsiteY16728"/>
              </a:cxn>
              <a:cxn ang="0">
                <a:pos x="connsiteX16729" y="connsiteY16729"/>
              </a:cxn>
              <a:cxn ang="0">
                <a:pos x="connsiteX16730" y="connsiteY16730"/>
              </a:cxn>
              <a:cxn ang="0">
                <a:pos x="connsiteX16731" y="connsiteY16731"/>
              </a:cxn>
              <a:cxn ang="0">
                <a:pos x="connsiteX16732" y="connsiteY16732"/>
              </a:cxn>
              <a:cxn ang="0">
                <a:pos x="connsiteX16733" y="connsiteY16733"/>
              </a:cxn>
              <a:cxn ang="0">
                <a:pos x="connsiteX16734" y="connsiteY16734"/>
              </a:cxn>
              <a:cxn ang="0">
                <a:pos x="connsiteX16735" y="connsiteY16735"/>
              </a:cxn>
              <a:cxn ang="0">
                <a:pos x="connsiteX16736" y="connsiteY16736"/>
              </a:cxn>
              <a:cxn ang="0">
                <a:pos x="connsiteX16737" y="connsiteY16737"/>
              </a:cxn>
              <a:cxn ang="0">
                <a:pos x="connsiteX16738" y="connsiteY16738"/>
              </a:cxn>
              <a:cxn ang="0">
                <a:pos x="connsiteX16739" y="connsiteY16739"/>
              </a:cxn>
              <a:cxn ang="0">
                <a:pos x="connsiteX16740" y="connsiteY16740"/>
              </a:cxn>
              <a:cxn ang="0">
                <a:pos x="connsiteX16741" y="connsiteY16741"/>
              </a:cxn>
              <a:cxn ang="0">
                <a:pos x="connsiteX16742" y="connsiteY16742"/>
              </a:cxn>
              <a:cxn ang="0">
                <a:pos x="connsiteX16743" y="connsiteY16743"/>
              </a:cxn>
              <a:cxn ang="0">
                <a:pos x="connsiteX16744" y="connsiteY16744"/>
              </a:cxn>
              <a:cxn ang="0">
                <a:pos x="connsiteX16745" y="connsiteY16745"/>
              </a:cxn>
              <a:cxn ang="0">
                <a:pos x="connsiteX16746" y="connsiteY16746"/>
              </a:cxn>
              <a:cxn ang="0">
                <a:pos x="connsiteX16747" y="connsiteY16747"/>
              </a:cxn>
              <a:cxn ang="0">
                <a:pos x="connsiteX16748" y="connsiteY16748"/>
              </a:cxn>
              <a:cxn ang="0">
                <a:pos x="connsiteX16749" y="connsiteY16749"/>
              </a:cxn>
              <a:cxn ang="0">
                <a:pos x="connsiteX16750" y="connsiteY16750"/>
              </a:cxn>
              <a:cxn ang="0">
                <a:pos x="connsiteX16751" y="connsiteY16751"/>
              </a:cxn>
              <a:cxn ang="0">
                <a:pos x="connsiteX16752" y="connsiteY16752"/>
              </a:cxn>
              <a:cxn ang="0">
                <a:pos x="connsiteX16753" y="connsiteY16753"/>
              </a:cxn>
              <a:cxn ang="0">
                <a:pos x="connsiteX16754" y="connsiteY16754"/>
              </a:cxn>
              <a:cxn ang="0">
                <a:pos x="connsiteX16755" y="connsiteY16755"/>
              </a:cxn>
              <a:cxn ang="0">
                <a:pos x="connsiteX16756" y="connsiteY16756"/>
              </a:cxn>
              <a:cxn ang="0">
                <a:pos x="connsiteX16757" y="connsiteY16757"/>
              </a:cxn>
              <a:cxn ang="0">
                <a:pos x="connsiteX16758" y="connsiteY16758"/>
              </a:cxn>
              <a:cxn ang="0">
                <a:pos x="connsiteX16759" y="connsiteY16759"/>
              </a:cxn>
              <a:cxn ang="0">
                <a:pos x="connsiteX16760" y="connsiteY16760"/>
              </a:cxn>
              <a:cxn ang="0">
                <a:pos x="connsiteX16761" y="connsiteY16761"/>
              </a:cxn>
              <a:cxn ang="0">
                <a:pos x="connsiteX16762" y="connsiteY16762"/>
              </a:cxn>
              <a:cxn ang="0">
                <a:pos x="connsiteX16763" y="connsiteY16763"/>
              </a:cxn>
              <a:cxn ang="0">
                <a:pos x="connsiteX16764" y="connsiteY16764"/>
              </a:cxn>
              <a:cxn ang="0">
                <a:pos x="connsiteX16765" y="connsiteY16765"/>
              </a:cxn>
              <a:cxn ang="0">
                <a:pos x="connsiteX16766" y="connsiteY16766"/>
              </a:cxn>
              <a:cxn ang="0">
                <a:pos x="connsiteX16767" y="connsiteY16767"/>
              </a:cxn>
              <a:cxn ang="0">
                <a:pos x="connsiteX16768" y="connsiteY16768"/>
              </a:cxn>
              <a:cxn ang="0">
                <a:pos x="connsiteX16769" y="connsiteY16769"/>
              </a:cxn>
              <a:cxn ang="0">
                <a:pos x="connsiteX16770" y="connsiteY16770"/>
              </a:cxn>
              <a:cxn ang="0">
                <a:pos x="connsiteX16771" y="connsiteY16771"/>
              </a:cxn>
              <a:cxn ang="0">
                <a:pos x="connsiteX16772" y="connsiteY16772"/>
              </a:cxn>
              <a:cxn ang="0">
                <a:pos x="connsiteX16773" y="connsiteY16773"/>
              </a:cxn>
              <a:cxn ang="0">
                <a:pos x="connsiteX16774" y="connsiteY16774"/>
              </a:cxn>
              <a:cxn ang="0">
                <a:pos x="connsiteX16775" y="connsiteY16775"/>
              </a:cxn>
              <a:cxn ang="0">
                <a:pos x="connsiteX16776" y="connsiteY16776"/>
              </a:cxn>
              <a:cxn ang="0">
                <a:pos x="connsiteX16777" y="connsiteY16777"/>
              </a:cxn>
              <a:cxn ang="0">
                <a:pos x="connsiteX16778" y="connsiteY16778"/>
              </a:cxn>
              <a:cxn ang="0">
                <a:pos x="connsiteX16779" y="connsiteY16779"/>
              </a:cxn>
              <a:cxn ang="0">
                <a:pos x="connsiteX16780" y="connsiteY16780"/>
              </a:cxn>
              <a:cxn ang="0">
                <a:pos x="connsiteX16781" y="connsiteY16781"/>
              </a:cxn>
              <a:cxn ang="0">
                <a:pos x="connsiteX16782" y="connsiteY16782"/>
              </a:cxn>
              <a:cxn ang="0">
                <a:pos x="connsiteX16783" y="connsiteY16783"/>
              </a:cxn>
              <a:cxn ang="0">
                <a:pos x="connsiteX16784" y="connsiteY16784"/>
              </a:cxn>
              <a:cxn ang="0">
                <a:pos x="connsiteX16785" y="connsiteY16785"/>
              </a:cxn>
              <a:cxn ang="0">
                <a:pos x="connsiteX16786" y="connsiteY16786"/>
              </a:cxn>
              <a:cxn ang="0">
                <a:pos x="connsiteX16787" y="connsiteY16787"/>
              </a:cxn>
              <a:cxn ang="0">
                <a:pos x="connsiteX16788" y="connsiteY16788"/>
              </a:cxn>
              <a:cxn ang="0">
                <a:pos x="connsiteX16789" y="connsiteY16789"/>
              </a:cxn>
              <a:cxn ang="0">
                <a:pos x="connsiteX16790" y="connsiteY16790"/>
              </a:cxn>
              <a:cxn ang="0">
                <a:pos x="connsiteX16791" y="connsiteY16791"/>
              </a:cxn>
              <a:cxn ang="0">
                <a:pos x="connsiteX16792" y="connsiteY16792"/>
              </a:cxn>
              <a:cxn ang="0">
                <a:pos x="connsiteX16793" y="connsiteY16793"/>
              </a:cxn>
              <a:cxn ang="0">
                <a:pos x="connsiteX16794" y="connsiteY16794"/>
              </a:cxn>
              <a:cxn ang="0">
                <a:pos x="connsiteX16795" y="connsiteY16795"/>
              </a:cxn>
              <a:cxn ang="0">
                <a:pos x="connsiteX16796" y="connsiteY16796"/>
              </a:cxn>
              <a:cxn ang="0">
                <a:pos x="connsiteX16797" y="connsiteY16797"/>
              </a:cxn>
              <a:cxn ang="0">
                <a:pos x="connsiteX16798" y="connsiteY16798"/>
              </a:cxn>
              <a:cxn ang="0">
                <a:pos x="connsiteX16799" y="connsiteY16799"/>
              </a:cxn>
              <a:cxn ang="0">
                <a:pos x="connsiteX16800" y="connsiteY16800"/>
              </a:cxn>
              <a:cxn ang="0">
                <a:pos x="connsiteX16801" y="connsiteY16801"/>
              </a:cxn>
              <a:cxn ang="0">
                <a:pos x="connsiteX16802" y="connsiteY16802"/>
              </a:cxn>
              <a:cxn ang="0">
                <a:pos x="connsiteX16803" y="connsiteY16803"/>
              </a:cxn>
              <a:cxn ang="0">
                <a:pos x="connsiteX16804" y="connsiteY16804"/>
              </a:cxn>
              <a:cxn ang="0">
                <a:pos x="connsiteX16805" y="connsiteY16805"/>
              </a:cxn>
              <a:cxn ang="0">
                <a:pos x="connsiteX16806" y="connsiteY16806"/>
              </a:cxn>
              <a:cxn ang="0">
                <a:pos x="connsiteX16807" y="connsiteY16807"/>
              </a:cxn>
              <a:cxn ang="0">
                <a:pos x="connsiteX16808" y="connsiteY16808"/>
              </a:cxn>
              <a:cxn ang="0">
                <a:pos x="connsiteX16809" y="connsiteY16809"/>
              </a:cxn>
              <a:cxn ang="0">
                <a:pos x="connsiteX16810" y="connsiteY16810"/>
              </a:cxn>
              <a:cxn ang="0">
                <a:pos x="connsiteX16811" y="connsiteY16811"/>
              </a:cxn>
              <a:cxn ang="0">
                <a:pos x="connsiteX16812" y="connsiteY16812"/>
              </a:cxn>
              <a:cxn ang="0">
                <a:pos x="connsiteX16813" y="connsiteY16813"/>
              </a:cxn>
              <a:cxn ang="0">
                <a:pos x="connsiteX16814" y="connsiteY16814"/>
              </a:cxn>
              <a:cxn ang="0">
                <a:pos x="connsiteX16815" y="connsiteY16815"/>
              </a:cxn>
              <a:cxn ang="0">
                <a:pos x="connsiteX16816" y="connsiteY16816"/>
              </a:cxn>
              <a:cxn ang="0">
                <a:pos x="connsiteX16817" y="connsiteY16817"/>
              </a:cxn>
              <a:cxn ang="0">
                <a:pos x="connsiteX16818" y="connsiteY16818"/>
              </a:cxn>
              <a:cxn ang="0">
                <a:pos x="connsiteX16819" y="connsiteY16819"/>
              </a:cxn>
              <a:cxn ang="0">
                <a:pos x="connsiteX16820" y="connsiteY16820"/>
              </a:cxn>
              <a:cxn ang="0">
                <a:pos x="connsiteX16821" y="connsiteY16821"/>
              </a:cxn>
              <a:cxn ang="0">
                <a:pos x="connsiteX16822" y="connsiteY16822"/>
              </a:cxn>
              <a:cxn ang="0">
                <a:pos x="connsiteX16823" y="connsiteY16823"/>
              </a:cxn>
              <a:cxn ang="0">
                <a:pos x="connsiteX16824" y="connsiteY16824"/>
              </a:cxn>
              <a:cxn ang="0">
                <a:pos x="connsiteX16825" y="connsiteY16825"/>
              </a:cxn>
              <a:cxn ang="0">
                <a:pos x="connsiteX16826" y="connsiteY16826"/>
              </a:cxn>
              <a:cxn ang="0">
                <a:pos x="connsiteX16827" y="connsiteY16827"/>
              </a:cxn>
              <a:cxn ang="0">
                <a:pos x="connsiteX16828" y="connsiteY16828"/>
              </a:cxn>
              <a:cxn ang="0">
                <a:pos x="connsiteX16829" y="connsiteY16829"/>
              </a:cxn>
              <a:cxn ang="0">
                <a:pos x="connsiteX16830" y="connsiteY16830"/>
              </a:cxn>
              <a:cxn ang="0">
                <a:pos x="connsiteX16831" y="connsiteY16831"/>
              </a:cxn>
              <a:cxn ang="0">
                <a:pos x="connsiteX16832" y="connsiteY16832"/>
              </a:cxn>
              <a:cxn ang="0">
                <a:pos x="connsiteX16833" y="connsiteY16833"/>
              </a:cxn>
              <a:cxn ang="0">
                <a:pos x="connsiteX16834" y="connsiteY16834"/>
              </a:cxn>
              <a:cxn ang="0">
                <a:pos x="connsiteX16835" y="connsiteY16835"/>
              </a:cxn>
              <a:cxn ang="0">
                <a:pos x="connsiteX16836" y="connsiteY16836"/>
              </a:cxn>
              <a:cxn ang="0">
                <a:pos x="connsiteX16837" y="connsiteY16837"/>
              </a:cxn>
              <a:cxn ang="0">
                <a:pos x="connsiteX16838" y="connsiteY16838"/>
              </a:cxn>
              <a:cxn ang="0">
                <a:pos x="connsiteX16839" y="connsiteY16839"/>
              </a:cxn>
              <a:cxn ang="0">
                <a:pos x="connsiteX16840" y="connsiteY16840"/>
              </a:cxn>
              <a:cxn ang="0">
                <a:pos x="connsiteX16841" y="connsiteY16841"/>
              </a:cxn>
              <a:cxn ang="0">
                <a:pos x="connsiteX16842" y="connsiteY16842"/>
              </a:cxn>
              <a:cxn ang="0">
                <a:pos x="connsiteX16843" y="connsiteY16843"/>
              </a:cxn>
              <a:cxn ang="0">
                <a:pos x="connsiteX16844" y="connsiteY16844"/>
              </a:cxn>
              <a:cxn ang="0">
                <a:pos x="connsiteX16845" y="connsiteY16845"/>
              </a:cxn>
              <a:cxn ang="0">
                <a:pos x="connsiteX16846" y="connsiteY16846"/>
              </a:cxn>
              <a:cxn ang="0">
                <a:pos x="connsiteX16847" y="connsiteY16847"/>
              </a:cxn>
              <a:cxn ang="0">
                <a:pos x="connsiteX16848" y="connsiteY16848"/>
              </a:cxn>
              <a:cxn ang="0">
                <a:pos x="connsiteX16849" y="connsiteY16849"/>
              </a:cxn>
              <a:cxn ang="0">
                <a:pos x="connsiteX16850" y="connsiteY16850"/>
              </a:cxn>
              <a:cxn ang="0">
                <a:pos x="connsiteX16851" y="connsiteY16851"/>
              </a:cxn>
              <a:cxn ang="0">
                <a:pos x="connsiteX16852" y="connsiteY16852"/>
              </a:cxn>
              <a:cxn ang="0">
                <a:pos x="connsiteX16853" y="connsiteY16853"/>
              </a:cxn>
              <a:cxn ang="0">
                <a:pos x="connsiteX16854" y="connsiteY16854"/>
              </a:cxn>
              <a:cxn ang="0">
                <a:pos x="connsiteX16855" y="connsiteY16855"/>
              </a:cxn>
              <a:cxn ang="0">
                <a:pos x="connsiteX16856" y="connsiteY16856"/>
              </a:cxn>
              <a:cxn ang="0">
                <a:pos x="connsiteX16857" y="connsiteY16857"/>
              </a:cxn>
              <a:cxn ang="0">
                <a:pos x="connsiteX16858" y="connsiteY16858"/>
              </a:cxn>
              <a:cxn ang="0">
                <a:pos x="connsiteX16859" y="connsiteY16859"/>
              </a:cxn>
              <a:cxn ang="0">
                <a:pos x="connsiteX16860" y="connsiteY16860"/>
              </a:cxn>
              <a:cxn ang="0">
                <a:pos x="connsiteX16861" y="connsiteY16861"/>
              </a:cxn>
              <a:cxn ang="0">
                <a:pos x="connsiteX16862" y="connsiteY16862"/>
              </a:cxn>
              <a:cxn ang="0">
                <a:pos x="connsiteX16863" y="connsiteY16863"/>
              </a:cxn>
              <a:cxn ang="0">
                <a:pos x="connsiteX16864" y="connsiteY16864"/>
              </a:cxn>
              <a:cxn ang="0">
                <a:pos x="connsiteX16865" y="connsiteY16865"/>
              </a:cxn>
              <a:cxn ang="0">
                <a:pos x="connsiteX16866" y="connsiteY16866"/>
              </a:cxn>
              <a:cxn ang="0">
                <a:pos x="connsiteX16867" y="connsiteY16867"/>
              </a:cxn>
              <a:cxn ang="0">
                <a:pos x="connsiteX16868" y="connsiteY16868"/>
              </a:cxn>
              <a:cxn ang="0">
                <a:pos x="connsiteX16869" y="connsiteY16869"/>
              </a:cxn>
              <a:cxn ang="0">
                <a:pos x="connsiteX16870" y="connsiteY16870"/>
              </a:cxn>
              <a:cxn ang="0">
                <a:pos x="connsiteX16871" y="connsiteY16871"/>
              </a:cxn>
              <a:cxn ang="0">
                <a:pos x="connsiteX16872" y="connsiteY16872"/>
              </a:cxn>
              <a:cxn ang="0">
                <a:pos x="connsiteX16873" y="connsiteY16873"/>
              </a:cxn>
              <a:cxn ang="0">
                <a:pos x="connsiteX16874" y="connsiteY16874"/>
              </a:cxn>
              <a:cxn ang="0">
                <a:pos x="connsiteX16875" y="connsiteY16875"/>
              </a:cxn>
              <a:cxn ang="0">
                <a:pos x="connsiteX16876" y="connsiteY16876"/>
              </a:cxn>
              <a:cxn ang="0">
                <a:pos x="connsiteX16877" y="connsiteY16877"/>
              </a:cxn>
              <a:cxn ang="0">
                <a:pos x="connsiteX16878" y="connsiteY16878"/>
              </a:cxn>
              <a:cxn ang="0">
                <a:pos x="connsiteX16879" y="connsiteY16879"/>
              </a:cxn>
              <a:cxn ang="0">
                <a:pos x="connsiteX16880" y="connsiteY16880"/>
              </a:cxn>
              <a:cxn ang="0">
                <a:pos x="connsiteX16881" y="connsiteY16881"/>
              </a:cxn>
              <a:cxn ang="0">
                <a:pos x="connsiteX16882" y="connsiteY16882"/>
              </a:cxn>
              <a:cxn ang="0">
                <a:pos x="connsiteX16883" y="connsiteY16883"/>
              </a:cxn>
              <a:cxn ang="0">
                <a:pos x="connsiteX16884" y="connsiteY16884"/>
              </a:cxn>
              <a:cxn ang="0">
                <a:pos x="connsiteX16885" y="connsiteY16885"/>
              </a:cxn>
              <a:cxn ang="0">
                <a:pos x="connsiteX16886" y="connsiteY16886"/>
              </a:cxn>
              <a:cxn ang="0">
                <a:pos x="connsiteX16887" y="connsiteY16887"/>
              </a:cxn>
              <a:cxn ang="0">
                <a:pos x="connsiteX16888" y="connsiteY16888"/>
              </a:cxn>
              <a:cxn ang="0">
                <a:pos x="connsiteX16889" y="connsiteY16889"/>
              </a:cxn>
              <a:cxn ang="0">
                <a:pos x="connsiteX16890" y="connsiteY16890"/>
              </a:cxn>
              <a:cxn ang="0">
                <a:pos x="connsiteX16891" y="connsiteY16891"/>
              </a:cxn>
              <a:cxn ang="0">
                <a:pos x="connsiteX16892" y="connsiteY16892"/>
              </a:cxn>
              <a:cxn ang="0">
                <a:pos x="connsiteX16893" y="connsiteY16893"/>
              </a:cxn>
              <a:cxn ang="0">
                <a:pos x="connsiteX16894" y="connsiteY16894"/>
              </a:cxn>
              <a:cxn ang="0">
                <a:pos x="connsiteX16895" y="connsiteY16895"/>
              </a:cxn>
              <a:cxn ang="0">
                <a:pos x="connsiteX16896" y="connsiteY16896"/>
              </a:cxn>
              <a:cxn ang="0">
                <a:pos x="connsiteX16897" y="connsiteY16897"/>
              </a:cxn>
              <a:cxn ang="0">
                <a:pos x="connsiteX16898" y="connsiteY16898"/>
              </a:cxn>
              <a:cxn ang="0">
                <a:pos x="connsiteX16899" y="connsiteY16899"/>
              </a:cxn>
              <a:cxn ang="0">
                <a:pos x="connsiteX16900" y="connsiteY16900"/>
              </a:cxn>
              <a:cxn ang="0">
                <a:pos x="connsiteX16901" y="connsiteY16901"/>
              </a:cxn>
              <a:cxn ang="0">
                <a:pos x="connsiteX16902" y="connsiteY16902"/>
              </a:cxn>
              <a:cxn ang="0">
                <a:pos x="connsiteX16903" y="connsiteY16903"/>
              </a:cxn>
              <a:cxn ang="0">
                <a:pos x="connsiteX16904" y="connsiteY16904"/>
              </a:cxn>
              <a:cxn ang="0">
                <a:pos x="connsiteX16905" y="connsiteY16905"/>
              </a:cxn>
              <a:cxn ang="0">
                <a:pos x="connsiteX16906" y="connsiteY16906"/>
              </a:cxn>
              <a:cxn ang="0">
                <a:pos x="connsiteX16907" y="connsiteY16907"/>
              </a:cxn>
              <a:cxn ang="0">
                <a:pos x="connsiteX16908" y="connsiteY16908"/>
              </a:cxn>
              <a:cxn ang="0">
                <a:pos x="connsiteX16909" y="connsiteY16909"/>
              </a:cxn>
              <a:cxn ang="0">
                <a:pos x="connsiteX16910" y="connsiteY16910"/>
              </a:cxn>
              <a:cxn ang="0">
                <a:pos x="connsiteX16911" y="connsiteY16911"/>
              </a:cxn>
              <a:cxn ang="0">
                <a:pos x="connsiteX16912" y="connsiteY16912"/>
              </a:cxn>
              <a:cxn ang="0">
                <a:pos x="connsiteX16913" y="connsiteY16913"/>
              </a:cxn>
              <a:cxn ang="0">
                <a:pos x="connsiteX16914" y="connsiteY16914"/>
              </a:cxn>
              <a:cxn ang="0">
                <a:pos x="connsiteX16915" y="connsiteY16915"/>
              </a:cxn>
              <a:cxn ang="0">
                <a:pos x="connsiteX16916" y="connsiteY16916"/>
              </a:cxn>
              <a:cxn ang="0">
                <a:pos x="connsiteX16917" y="connsiteY16917"/>
              </a:cxn>
              <a:cxn ang="0">
                <a:pos x="connsiteX16918" y="connsiteY16918"/>
              </a:cxn>
              <a:cxn ang="0">
                <a:pos x="connsiteX16919" y="connsiteY16919"/>
              </a:cxn>
              <a:cxn ang="0">
                <a:pos x="connsiteX16920" y="connsiteY16920"/>
              </a:cxn>
              <a:cxn ang="0">
                <a:pos x="connsiteX16921" y="connsiteY16921"/>
              </a:cxn>
              <a:cxn ang="0">
                <a:pos x="connsiteX16922" y="connsiteY16922"/>
              </a:cxn>
              <a:cxn ang="0">
                <a:pos x="connsiteX16923" y="connsiteY16923"/>
              </a:cxn>
              <a:cxn ang="0">
                <a:pos x="connsiteX16924" y="connsiteY16924"/>
              </a:cxn>
              <a:cxn ang="0">
                <a:pos x="connsiteX16925" y="connsiteY16925"/>
              </a:cxn>
              <a:cxn ang="0">
                <a:pos x="connsiteX16926" y="connsiteY16926"/>
              </a:cxn>
              <a:cxn ang="0">
                <a:pos x="connsiteX16927" y="connsiteY16927"/>
              </a:cxn>
              <a:cxn ang="0">
                <a:pos x="connsiteX16928" y="connsiteY16928"/>
              </a:cxn>
              <a:cxn ang="0">
                <a:pos x="connsiteX16929" y="connsiteY16929"/>
              </a:cxn>
              <a:cxn ang="0">
                <a:pos x="connsiteX16930" y="connsiteY16930"/>
              </a:cxn>
              <a:cxn ang="0">
                <a:pos x="connsiteX16931" y="connsiteY16931"/>
              </a:cxn>
              <a:cxn ang="0">
                <a:pos x="connsiteX16932" y="connsiteY16932"/>
              </a:cxn>
              <a:cxn ang="0">
                <a:pos x="connsiteX16933" y="connsiteY16933"/>
              </a:cxn>
              <a:cxn ang="0">
                <a:pos x="connsiteX16934" y="connsiteY16934"/>
              </a:cxn>
              <a:cxn ang="0">
                <a:pos x="connsiteX16935" y="connsiteY16935"/>
              </a:cxn>
              <a:cxn ang="0">
                <a:pos x="connsiteX16936" y="connsiteY16936"/>
              </a:cxn>
              <a:cxn ang="0">
                <a:pos x="connsiteX16937" y="connsiteY16937"/>
              </a:cxn>
              <a:cxn ang="0">
                <a:pos x="connsiteX16938" y="connsiteY16938"/>
              </a:cxn>
              <a:cxn ang="0">
                <a:pos x="connsiteX16939" y="connsiteY16939"/>
              </a:cxn>
              <a:cxn ang="0">
                <a:pos x="connsiteX16940" y="connsiteY16940"/>
              </a:cxn>
              <a:cxn ang="0">
                <a:pos x="connsiteX16941" y="connsiteY16941"/>
              </a:cxn>
              <a:cxn ang="0">
                <a:pos x="connsiteX16942" y="connsiteY16942"/>
              </a:cxn>
              <a:cxn ang="0">
                <a:pos x="connsiteX16943" y="connsiteY16943"/>
              </a:cxn>
              <a:cxn ang="0">
                <a:pos x="connsiteX16944" y="connsiteY16944"/>
              </a:cxn>
              <a:cxn ang="0">
                <a:pos x="connsiteX16945" y="connsiteY16945"/>
              </a:cxn>
              <a:cxn ang="0">
                <a:pos x="connsiteX16946" y="connsiteY16946"/>
              </a:cxn>
              <a:cxn ang="0">
                <a:pos x="connsiteX16947" y="connsiteY16947"/>
              </a:cxn>
              <a:cxn ang="0">
                <a:pos x="connsiteX16948" y="connsiteY16948"/>
              </a:cxn>
              <a:cxn ang="0">
                <a:pos x="connsiteX16949" y="connsiteY16949"/>
              </a:cxn>
              <a:cxn ang="0">
                <a:pos x="connsiteX16950" y="connsiteY16950"/>
              </a:cxn>
              <a:cxn ang="0">
                <a:pos x="connsiteX16951" y="connsiteY16951"/>
              </a:cxn>
              <a:cxn ang="0">
                <a:pos x="connsiteX16952" y="connsiteY16952"/>
              </a:cxn>
              <a:cxn ang="0">
                <a:pos x="connsiteX16953" y="connsiteY16953"/>
              </a:cxn>
              <a:cxn ang="0">
                <a:pos x="connsiteX16954" y="connsiteY16954"/>
              </a:cxn>
              <a:cxn ang="0">
                <a:pos x="connsiteX16955" y="connsiteY16955"/>
              </a:cxn>
              <a:cxn ang="0">
                <a:pos x="connsiteX16956" y="connsiteY16956"/>
              </a:cxn>
              <a:cxn ang="0">
                <a:pos x="connsiteX16957" y="connsiteY16957"/>
              </a:cxn>
              <a:cxn ang="0">
                <a:pos x="connsiteX16958" y="connsiteY16958"/>
              </a:cxn>
              <a:cxn ang="0">
                <a:pos x="connsiteX16959" y="connsiteY16959"/>
              </a:cxn>
              <a:cxn ang="0">
                <a:pos x="connsiteX16960" y="connsiteY16960"/>
              </a:cxn>
              <a:cxn ang="0">
                <a:pos x="connsiteX16961" y="connsiteY16961"/>
              </a:cxn>
              <a:cxn ang="0">
                <a:pos x="connsiteX16962" y="connsiteY16962"/>
              </a:cxn>
              <a:cxn ang="0">
                <a:pos x="connsiteX16963" y="connsiteY16963"/>
              </a:cxn>
              <a:cxn ang="0">
                <a:pos x="connsiteX16964" y="connsiteY16964"/>
              </a:cxn>
              <a:cxn ang="0">
                <a:pos x="connsiteX16965" y="connsiteY16965"/>
              </a:cxn>
              <a:cxn ang="0">
                <a:pos x="connsiteX16966" y="connsiteY16966"/>
              </a:cxn>
              <a:cxn ang="0">
                <a:pos x="connsiteX16967" y="connsiteY16967"/>
              </a:cxn>
              <a:cxn ang="0">
                <a:pos x="connsiteX16968" y="connsiteY16968"/>
              </a:cxn>
              <a:cxn ang="0">
                <a:pos x="connsiteX16969" y="connsiteY16969"/>
              </a:cxn>
              <a:cxn ang="0">
                <a:pos x="connsiteX16970" y="connsiteY16970"/>
              </a:cxn>
              <a:cxn ang="0">
                <a:pos x="connsiteX16971" y="connsiteY16971"/>
              </a:cxn>
              <a:cxn ang="0">
                <a:pos x="connsiteX16972" y="connsiteY16972"/>
              </a:cxn>
              <a:cxn ang="0">
                <a:pos x="connsiteX16973" y="connsiteY16973"/>
              </a:cxn>
              <a:cxn ang="0">
                <a:pos x="connsiteX16974" y="connsiteY16974"/>
              </a:cxn>
              <a:cxn ang="0">
                <a:pos x="connsiteX16975" y="connsiteY16975"/>
              </a:cxn>
              <a:cxn ang="0">
                <a:pos x="connsiteX16976" y="connsiteY16976"/>
              </a:cxn>
              <a:cxn ang="0">
                <a:pos x="connsiteX16977" y="connsiteY16977"/>
              </a:cxn>
              <a:cxn ang="0">
                <a:pos x="connsiteX16978" y="connsiteY16978"/>
              </a:cxn>
              <a:cxn ang="0">
                <a:pos x="connsiteX16979" y="connsiteY16979"/>
              </a:cxn>
              <a:cxn ang="0">
                <a:pos x="connsiteX16980" y="connsiteY16980"/>
              </a:cxn>
              <a:cxn ang="0">
                <a:pos x="connsiteX16981" y="connsiteY16981"/>
              </a:cxn>
              <a:cxn ang="0">
                <a:pos x="connsiteX16982" y="connsiteY16982"/>
              </a:cxn>
              <a:cxn ang="0">
                <a:pos x="connsiteX16983" y="connsiteY16983"/>
              </a:cxn>
              <a:cxn ang="0">
                <a:pos x="connsiteX16984" y="connsiteY16984"/>
              </a:cxn>
              <a:cxn ang="0">
                <a:pos x="connsiteX16985" y="connsiteY16985"/>
              </a:cxn>
              <a:cxn ang="0">
                <a:pos x="connsiteX16986" y="connsiteY16986"/>
              </a:cxn>
              <a:cxn ang="0">
                <a:pos x="connsiteX16987" y="connsiteY16987"/>
              </a:cxn>
              <a:cxn ang="0">
                <a:pos x="connsiteX16988" y="connsiteY16988"/>
              </a:cxn>
              <a:cxn ang="0">
                <a:pos x="connsiteX16989" y="connsiteY16989"/>
              </a:cxn>
              <a:cxn ang="0">
                <a:pos x="connsiteX16990" y="connsiteY16990"/>
              </a:cxn>
              <a:cxn ang="0">
                <a:pos x="connsiteX16991" y="connsiteY16991"/>
              </a:cxn>
              <a:cxn ang="0">
                <a:pos x="connsiteX16992" y="connsiteY16992"/>
              </a:cxn>
              <a:cxn ang="0">
                <a:pos x="connsiteX16993" y="connsiteY16993"/>
              </a:cxn>
              <a:cxn ang="0">
                <a:pos x="connsiteX16994" y="connsiteY16994"/>
              </a:cxn>
              <a:cxn ang="0">
                <a:pos x="connsiteX16995" y="connsiteY16995"/>
              </a:cxn>
              <a:cxn ang="0">
                <a:pos x="connsiteX16996" y="connsiteY16996"/>
              </a:cxn>
              <a:cxn ang="0">
                <a:pos x="connsiteX16997" y="connsiteY16997"/>
              </a:cxn>
              <a:cxn ang="0">
                <a:pos x="connsiteX16998" y="connsiteY16998"/>
              </a:cxn>
              <a:cxn ang="0">
                <a:pos x="connsiteX16999" y="connsiteY16999"/>
              </a:cxn>
              <a:cxn ang="0">
                <a:pos x="connsiteX17000" y="connsiteY17000"/>
              </a:cxn>
              <a:cxn ang="0">
                <a:pos x="connsiteX17001" y="connsiteY17001"/>
              </a:cxn>
              <a:cxn ang="0">
                <a:pos x="connsiteX17002" y="connsiteY17002"/>
              </a:cxn>
              <a:cxn ang="0">
                <a:pos x="connsiteX17003" y="connsiteY17003"/>
              </a:cxn>
              <a:cxn ang="0">
                <a:pos x="connsiteX17004" y="connsiteY17004"/>
              </a:cxn>
              <a:cxn ang="0">
                <a:pos x="connsiteX17005" y="connsiteY17005"/>
              </a:cxn>
              <a:cxn ang="0">
                <a:pos x="connsiteX17006" y="connsiteY17006"/>
              </a:cxn>
              <a:cxn ang="0">
                <a:pos x="connsiteX17007" y="connsiteY17007"/>
              </a:cxn>
              <a:cxn ang="0">
                <a:pos x="connsiteX17008" y="connsiteY17008"/>
              </a:cxn>
              <a:cxn ang="0">
                <a:pos x="connsiteX17009" y="connsiteY17009"/>
              </a:cxn>
              <a:cxn ang="0">
                <a:pos x="connsiteX17010" y="connsiteY17010"/>
              </a:cxn>
              <a:cxn ang="0">
                <a:pos x="connsiteX17011" y="connsiteY17011"/>
              </a:cxn>
              <a:cxn ang="0">
                <a:pos x="connsiteX17012" y="connsiteY17012"/>
              </a:cxn>
              <a:cxn ang="0">
                <a:pos x="connsiteX17013" y="connsiteY17013"/>
              </a:cxn>
              <a:cxn ang="0">
                <a:pos x="connsiteX17014" y="connsiteY17014"/>
              </a:cxn>
              <a:cxn ang="0">
                <a:pos x="connsiteX17015" y="connsiteY17015"/>
              </a:cxn>
              <a:cxn ang="0">
                <a:pos x="connsiteX17016" y="connsiteY17016"/>
              </a:cxn>
              <a:cxn ang="0">
                <a:pos x="connsiteX17017" y="connsiteY17017"/>
              </a:cxn>
              <a:cxn ang="0">
                <a:pos x="connsiteX17018" y="connsiteY17018"/>
              </a:cxn>
              <a:cxn ang="0">
                <a:pos x="connsiteX17019" y="connsiteY17019"/>
              </a:cxn>
              <a:cxn ang="0">
                <a:pos x="connsiteX17020" y="connsiteY17020"/>
              </a:cxn>
              <a:cxn ang="0">
                <a:pos x="connsiteX17021" y="connsiteY17021"/>
              </a:cxn>
              <a:cxn ang="0">
                <a:pos x="connsiteX17022" y="connsiteY17022"/>
              </a:cxn>
              <a:cxn ang="0">
                <a:pos x="connsiteX17023" y="connsiteY17023"/>
              </a:cxn>
              <a:cxn ang="0">
                <a:pos x="connsiteX17024" y="connsiteY17024"/>
              </a:cxn>
              <a:cxn ang="0">
                <a:pos x="connsiteX17025" y="connsiteY17025"/>
              </a:cxn>
              <a:cxn ang="0">
                <a:pos x="connsiteX17026" y="connsiteY17026"/>
              </a:cxn>
              <a:cxn ang="0">
                <a:pos x="connsiteX17027" y="connsiteY17027"/>
              </a:cxn>
              <a:cxn ang="0">
                <a:pos x="connsiteX17028" y="connsiteY17028"/>
              </a:cxn>
              <a:cxn ang="0">
                <a:pos x="connsiteX17029" y="connsiteY17029"/>
              </a:cxn>
              <a:cxn ang="0">
                <a:pos x="connsiteX17030" y="connsiteY17030"/>
              </a:cxn>
              <a:cxn ang="0">
                <a:pos x="connsiteX17031" y="connsiteY17031"/>
              </a:cxn>
              <a:cxn ang="0">
                <a:pos x="connsiteX17032" y="connsiteY17032"/>
              </a:cxn>
              <a:cxn ang="0">
                <a:pos x="connsiteX17033" y="connsiteY17033"/>
              </a:cxn>
              <a:cxn ang="0">
                <a:pos x="connsiteX17034" y="connsiteY17034"/>
              </a:cxn>
              <a:cxn ang="0">
                <a:pos x="connsiteX17035" y="connsiteY17035"/>
              </a:cxn>
              <a:cxn ang="0">
                <a:pos x="connsiteX17036" y="connsiteY17036"/>
              </a:cxn>
              <a:cxn ang="0">
                <a:pos x="connsiteX17037" y="connsiteY17037"/>
              </a:cxn>
              <a:cxn ang="0">
                <a:pos x="connsiteX17038" y="connsiteY17038"/>
              </a:cxn>
              <a:cxn ang="0">
                <a:pos x="connsiteX17039" y="connsiteY17039"/>
              </a:cxn>
              <a:cxn ang="0">
                <a:pos x="connsiteX17040" y="connsiteY17040"/>
              </a:cxn>
              <a:cxn ang="0">
                <a:pos x="connsiteX17041" y="connsiteY17041"/>
              </a:cxn>
              <a:cxn ang="0">
                <a:pos x="connsiteX17042" y="connsiteY17042"/>
              </a:cxn>
              <a:cxn ang="0">
                <a:pos x="connsiteX17043" y="connsiteY17043"/>
              </a:cxn>
              <a:cxn ang="0">
                <a:pos x="connsiteX17044" y="connsiteY17044"/>
              </a:cxn>
              <a:cxn ang="0">
                <a:pos x="connsiteX17045" y="connsiteY17045"/>
              </a:cxn>
              <a:cxn ang="0">
                <a:pos x="connsiteX17046" y="connsiteY17046"/>
              </a:cxn>
              <a:cxn ang="0">
                <a:pos x="connsiteX17047" y="connsiteY17047"/>
              </a:cxn>
              <a:cxn ang="0">
                <a:pos x="connsiteX17048" y="connsiteY17048"/>
              </a:cxn>
              <a:cxn ang="0">
                <a:pos x="connsiteX17049" y="connsiteY17049"/>
              </a:cxn>
              <a:cxn ang="0">
                <a:pos x="connsiteX17050" y="connsiteY17050"/>
              </a:cxn>
              <a:cxn ang="0">
                <a:pos x="connsiteX17051" y="connsiteY17051"/>
              </a:cxn>
              <a:cxn ang="0">
                <a:pos x="connsiteX17052" y="connsiteY17052"/>
              </a:cxn>
              <a:cxn ang="0">
                <a:pos x="connsiteX17053" y="connsiteY17053"/>
              </a:cxn>
              <a:cxn ang="0">
                <a:pos x="connsiteX17054" y="connsiteY17054"/>
              </a:cxn>
              <a:cxn ang="0">
                <a:pos x="connsiteX17055" y="connsiteY17055"/>
              </a:cxn>
              <a:cxn ang="0">
                <a:pos x="connsiteX17056" y="connsiteY17056"/>
              </a:cxn>
              <a:cxn ang="0">
                <a:pos x="connsiteX17057" y="connsiteY17057"/>
              </a:cxn>
              <a:cxn ang="0">
                <a:pos x="connsiteX17058" y="connsiteY17058"/>
              </a:cxn>
              <a:cxn ang="0">
                <a:pos x="connsiteX17059" y="connsiteY17059"/>
              </a:cxn>
              <a:cxn ang="0">
                <a:pos x="connsiteX17060" y="connsiteY17060"/>
              </a:cxn>
              <a:cxn ang="0">
                <a:pos x="connsiteX17061" y="connsiteY17061"/>
              </a:cxn>
              <a:cxn ang="0">
                <a:pos x="connsiteX17062" y="connsiteY17062"/>
              </a:cxn>
              <a:cxn ang="0">
                <a:pos x="connsiteX17063" y="connsiteY17063"/>
              </a:cxn>
              <a:cxn ang="0">
                <a:pos x="connsiteX17064" y="connsiteY17064"/>
              </a:cxn>
              <a:cxn ang="0">
                <a:pos x="connsiteX17065" y="connsiteY17065"/>
              </a:cxn>
              <a:cxn ang="0">
                <a:pos x="connsiteX17066" y="connsiteY17066"/>
              </a:cxn>
              <a:cxn ang="0">
                <a:pos x="connsiteX17067" y="connsiteY17067"/>
              </a:cxn>
              <a:cxn ang="0">
                <a:pos x="connsiteX17068" y="connsiteY17068"/>
              </a:cxn>
              <a:cxn ang="0">
                <a:pos x="connsiteX17069" y="connsiteY17069"/>
              </a:cxn>
              <a:cxn ang="0">
                <a:pos x="connsiteX17070" y="connsiteY17070"/>
              </a:cxn>
              <a:cxn ang="0">
                <a:pos x="connsiteX17071" y="connsiteY17071"/>
              </a:cxn>
              <a:cxn ang="0">
                <a:pos x="connsiteX17072" y="connsiteY17072"/>
              </a:cxn>
              <a:cxn ang="0">
                <a:pos x="connsiteX17073" y="connsiteY17073"/>
              </a:cxn>
              <a:cxn ang="0">
                <a:pos x="connsiteX17074" y="connsiteY17074"/>
              </a:cxn>
              <a:cxn ang="0">
                <a:pos x="connsiteX17075" y="connsiteY17075"/>
              </a:cxn>
              <a:cxn ang="0">
                <a:pos x="connsiteX17076" y="connsiteY17076"/>
              </a:cxn>
              <a:cxn ang="0">
                <a:pos x="connsiteX17077" y="connsiteY17077"/>
              </a:cxn>
              <a:cxn ang="0">
                <a:pos x="connsiteX17078" y="connsiteY17078"/>
              </a:cxn>
              <a:cxn ang="0">
                <a:pos x="connsiteX17079" y="connsiteY17079"/>
              </a:cxn>
              <a:cxn ang="0">
                <a:pos x="connsiteX17080" y="connsiteY17080"/>
              </a:cxn>
              <a:cxn ang="0">
                <a:pos x="connsiteX17081" y="connsiteY17081"/>
              </a:cxn>
              <a:cxn ang="0">
                <a:pos x="connsiteX17082" y="connsiteY17082"/>
              </a:cxn>
              <a:cxn ang="0">
                <a:pos x="connsiteX17083" y="connsiteY17083"/>
              </a:cxn>
              <a:cxn ang="0">
                <a:pos x="connsiteX17084" y="connsiteY17084"/>
              </a:cxn>
              <a:cxn ang="0">
                <a:pos x="connsiteX17085" y="connsiteY17085"/>
              </a:cxn>
              <a:cxn ang="0">
                <a:pos x="connsiteX17086" y="connsiteY17086"/>
              </a:cxn>
              <a:cxn ang="0">
                <a:pos x="connsiteX17087" y="connsiteY17087"/>
              </a:cxn>
              <a:cxn ang="0">
                <a:pos x="connsiteX17088" y="connsiteY17088"/>
              </a:cxn>
              <a:cxn ang="0">
                <a:pos x="connsiteX17089" y="connsiteY17089"/>
              </a:cxn>
              <a:cxn ang="0">
                <a:pos x="connsiteX17090" y="connsiteY17090"/>
              </a:cxn>
              <a:cxn ang="0">
                <a:pos x="connsiteX17091" y="connsiteY17091"/>
              </a:cxn>
              <a:cxn ang="0">
                <a:pos x="connsiteX17092" y="connsiteY17092"/>
              </a:cxn>
              <a:cxn ang="0">
                <a:pos x="connsiteX17093" y="connsiteY17093"/>
              </a:cxn>
              <a:cxn ang="0">
                <a:pos x="connsiteX17094" y="connsiteY17094"/>
              </a:cxn>
              <a:cxn ang="0">
                <a:pos x="connsiteX17095" y="connsiteY17095"/>
              </a:cxn>
              <a:cxn ang="0">
                <a:pos x="connsiteX17096" y="connsiteY17096"/>
              </a:cxn>
              <a:cxn ang="0">
                <a:pos x="connsiteX17097" y="connsiteY17097"/>
              </a:cxn>
              <a:cxn ang="0">
                <a:pos x="connsiteX17098" y="connsiteY17098"/>
              </a:cxn>
              <a:cxn ang="0">
                <a:pos x="connsiteX17099" y="connsiteY17099"/>
              </a:cxn>
              <a:cxn ang="0">
                <a:pos x="connsiteX17100" y="connsiteY17100"/>
              </a:cxn>
              <a:cxn ang="0">
                <a:pos x="connsiteX17101" y="connsiteY17101"/>
              </a:cxn>
              <a:cxn ang="0">
                <a:pos x="connsiteX17102" y="connsiteY17102"/>
              </a:cxn>
              <a:cxn ang="0">
                <a:pos x="connsiteX17103" y="connsiteY17103"/>
              </a:cxn>
              <a:cxn ang="0">
                <a:pos x="connsiteX17104" y="connsiteY17104"/>
              </a:cxn>
              <a:cxn ang="0">
                <a:pos x="connsiteX17105" y="connsiteY17105"/>
              </a:cxn>
              <a:cxn ang="0">
                <a:pos x="connsiteX17106" y="connsiteY17106"/>
              </a:cxn>
              <a:cxn ang="0">
                <a:pos x="connsiteX17107" y="connsiteY17107"/>
              </a:cxn>
              <a:cxn ang="0">
                <a:pos x="connsiteX17108" y="connsiteY17108"/>
              </a:cxn>
              <a:cxn ang="0">
                <a:pos x="connsiteX17109" y="connsiteY17109"/>
              </a:cxn>
              <a:cxn ang="0">
                <a:pos x="connsiteX17110" y="connsiteY17110"/>
              </a:cxn>
              <a:cxn ang="0">
                <a:pos x="connsiteX17111" y="connsiteY17111"/>
              </a:cxn>
              <a:cxn ang="0">
                <a:pos x="connsiteX17112" y="connsiteY17112"/>
              </a:cxn>
              <a:cxn ang="0">
                <a:pos x="connsiteX17113" y="connsiteY17113"/>
              </a:cxn>
              <a:cxn ang="0">
                <a:pos x="connsiteX17114" y="connsiteY17114"/>
              </a:cxn>
              <a:cxn ang="0">
                <a:pos x="connsiteX17115" y="connsiteY17115"/>
              </a:cxn>
              <a:cxn ang="0">
                <a:pos x="connsiteX17116" y="connsiteY17116"/>
              </a:cxn>
              <a:cxn ang="0">
                <a:pos x="connsiteX17117" y="connsiteY17117"/>
              </a:cxn>
              <a:cxn ang="0">
                <a:pos x="connsiteX17118" y="connsiteY17118"/>
              </a:cxn>
              <a:cxn ang="0">
                <a:pos x="connsiteX17119" y="connsiteY17119"/>
              </a:cxn>
              <a:cxn ang="0">
                <a:pos x="connsiteX17120" y="connsiteY17120"/>
              </a:cxn>
              <a:cxn ang="0">
                <a:pos x="connsiteX17121" y="connsiteY17121"/>
              </a:cxn>
              <a:cxn ang="0">
                <a:pos x="connsiteX17122" y="connsiteY17122"/>
              </a:cxn>
              <a:cxn ang="0">
                <a:pos x="connsiteX17123" y="connsiteY17123"/>
              </a:cxn>
              <a:cxn ang="0">
                <a:pos x="connsiteX17124" y="connsiteY17124"/>
              </a:cxn>
              <a:cxn ang="0">
                <a:pos x="connsiteX17125" y="connsiteY17125"/>
              </a:cxn>
              <a:cxn ang="0">
                <a:pos x="connsiteX17126" y="connsiteY17126"/>
              </a:cxn>
              <a:cxn ang="0">
                <a:pos x="connsiteX17127" y="connsiteY17127"/>
              </a:cxn>
              <a:cxn ang="0">
                <a:pos x="connsiteX17128" y="connsiteY17128"/>
              </a:cxn>
              <a:cxn ang="0">
                <a:pos x="connsiteX17129" y="connsiteY17129"/>
              </a:cxn>
              <a:cxn ang="0">
                <a:pos x="connsiteX17130" y="connsiteY17130"/>
              </a:cxn>
              <a:cxn ang="0">
                <a:pos x="connsiteX17131" y="connsiteY17131"/>
              </a:cxn>
              <a:cxn ang="0">
                <a:pos x="connsiteX17132" y="connsiteY17132"/>
              </a:cxn>
              <a:cxn ang="0">
                <a:pos x="connsiteX17133" y="connsiteY17133"/>
              </a:cxn>
              <a:cxn ang="0">
                <a:pos x="connsiteX17134" y="connsiteY17134"/>
              </a:cxn>
              <a:cxn ang="0">
                <a:pos x="connsiteX17135" y="connsiteY17135"/>
              </a:cxn>
              <a:cxn ang="0">
                <a:pos x="connsiteX17136" y="connsiteY17136"/>
              </a:cxn>
              <a:cxn ang="0">
                <a:pos x="connsiteX17137" y="connsiteY17137"/>
              </a:cxn>
              <a:cxn ang="0">
                <a:pos x="connsiteX17138" y="connsiteY17138"/>
              </a:cxn>
              <a:cxn ang="0">
                <a:pos x="connsiteX17139" y="connsiteY17139"/>
              </a:cxn>
              <a:cxn ang="0">
                <a:pos x="connsiteX17140" y="connsiteY17140"/>
              </a:cxn>
              <a:cxn ang="0">
                <a:pos x="connsiteX17141" y="connsiteY17141"/>
              </a:cxn>
              <a:cxn ang="0">
                <a:pos x="connsiteX17142" y="connsiteY17142"/>
              </a:cxn>
              <a:cxn ang="0">
                <a:pos x="connsiteX17143" y="connsiteY17143"/>
              </a:cxn>
              <a:cxn ang="0">
                <a:pos x="connsiteX17144" y="connsiteY17144"/>
              </a:cxn>
              <a:cxn ang="0">
                <a:pos x="connsiteX17145" y="connsiteY17145"/>
              </a:cxn>
              <a:cxn ang="0">
                <a:pos x="connsiteX17146" y="connsiteY17146"/>
              </a:cxn>
              <a:cxn ang="0">
                <a:pos x="connsiteX17147" y="connsiteY17147"/>
              </a:cxn>
              <a:cxn ang="0">
                <a:pos x="connsiteX17148" y="connsiteY17148"/>
              </a:cxn>
              <a:cxn ang="0">
                <a:pos x="connsiteX17149" y="connsiteY17149"/>
              </a:cxn>
              <a:cxn ang="0">
                <a:pos x="connsiteX17150" y="connsiteY17150"/>
              </a:cxn>
              <a:cxn ang="0">
                <a:pos x="connsiteX17151" y="connsiteY17151"/>
              </a:cxn>
              <a:cxn ang="0">
                <a:pos x="connsiteX17152" y="connsiteY17152"/>
              </a:cxn>
              <a:cxn ang="0">
                <a:pos x="connsiteX17153" y="connsiteY17153"/>
              </a:cxn>
              <a:cxn ang="0">
                <a:pos x="connsiteX17154" y="connsiteY17154"/>
              </a:cxn>
              <a:cxn ang="0">
                <a:pos x="connsiteX17155" y="connsiteY17155"/>
              </a:cxn>
              <a:cxn ang="0">
                <a:pos x="connsiteX17156" y="connsiteY17156"/>
              </a:cxn>
              <a:cxn ang="0">
                <a:pos x="connsiteX17157" y="connsiteY17157"/>
              </a:cxn>
              <a:cxn ang="0">
                <a:pos x="connsiteX17158" y="connsiteY17158"/>
              </a:cxn>
              <a:cxn ang="0">
                <a:pos x="connsiteX17159" y="connsiteY17159"/>
              </a:cxn>
              <a:cxn ang="0">
                <a:pos x="connsiteX17160" y="connsiteY17160"/>
              </a:cxn>
              <a:cxn ang="0">
                <a:pos x="connsiteX17161" y="connsiteY17161"/>
              </a:cxn>
              <a:cxn ang="0">
                <a:pos x="connsiteX17162" y="connsiteY17162"/>
              </a:cxn>
              <a:cxn ang="0">
                <a:pos x="connsiteX17163" y="connsiteY17163"/>
              </a:cxn>
              <a:cxn ang="0">
                <a:pos x="connsiteX17164" y="connsiteY17164"/>
              </a:cxn>
              <a:cxn ang="0">
                <a:pos x="connsiteX17165" y="connsiteY17165"/>
              </a:cxn>
              <a:cxn ang="0">
                <a:pos x="connsiteX17166" y="connsiteY17166"/>
              </a:cxn>
              <a:cxn ang="0">
                <a:pos x="connsiteX17167" y="connsiteY17167"/>
              </a:cxn>
              <a:cxn ang="0">
                <a:pos x="connsiteX17168" y="connsiteY17168"/>
              </a:cxn>
              <a:cxn ang="0">
                <a:pos x="connsiteX17169" y="connsiteY17169"/>
              </a:cxn>
              <a:cxn ang="0">
                <a:pos x="connsiteX17170" y="connsiteY17170"/>
              </a:cxn>
              <a:cxn ang="0">
                <a:pos x="connsiteX17171" y="connsiteY17171"/>
              </a:cxn>
              <a:cxn ang="0">
                <a:pos x="connsiteX17172" y="connsiteY17172"/>
              </a:cxn>
              <a:cxn ang="0">
                <a:pos x="connsiteX17173" y="connsiteY17173"/>
              </a:cxn>
              <a:cxn ang="0">
                <a:pos x="connsiteX17174" y="connsiteY17174"/>
              </a:cxn>
              <a:cxn ang="0">
                <a:pos x="connsiteX17175" y="connsiteY17175"/>
              </a:cxn>
              <a:cxn ang="0">
                <a:pos x="connsiteX17176" y="connsiteY17176"/>
              </a:cxn>
              <a:cxn ang="0">
                <a:pos x="connsiteX17177" y="connsiteY17177"/>
              </a:cxn>
              <a:cxn ang="0">
                <a:pos x="connsiteX17178" y="connsiteY17178"/>
              </a:cxn>
              <a:cxn ang="0">
                <a:pos x="connsiteX17179" y="connsiteY17179"/>
              </a:cxn>
              <a:cxn ang="0">
                <a:pos x="connsiteX17180" y="connsiteY17180"/>
              </a:cxn>
              <a:cxn ang="0">
                <a:pos x="connsiteX17181" y="connsiteY17181"/>
              </a:cxn>
              <a:cxn ang="0">
                <a:pos x="connsiteX17182" y="connsiteY17182"/>
              </a:cxn>
              <a:cxn ang="0">
                <a:pos x="connsiteX17183" y="connsiteY17183"/>
              </a:cxn>
              <a:cxn ang="0">
                <a:pos x="connsiteX17184" y="connsiteY17184"/>
              </a:cxn>
              <a:cxn ang="0">
                <a:pos x="connsiteX17185" y="connsiteY17185"/>
              </a:cxn>
              <a:cxn ang="0">
                <a:pos x="connsiteX17186" y="connsiteY17186"/>
              </a:cxn>
              <a:cxn ang="0">
                <a:pos x="connsiteX17187" y="connsiteY17187"/>
              </a:cxn>
              <a:cxn ang="0">
                <a:pos x="connsiteX17188" y="connsiteY17188"/>
              </a:cxn>
              <a:cxn ang="0">
                <a:pos x="connsiteX17189" y="connsiteY17189"/>
              </a:cxn>
              <a:cxn ang="0">
                <a:pos x="connsiteX17190" y="connsiteY17190"/>
              </a:cxn>
              <a:cxn ang="0">
                <a:pos x="connsiteX17191" y="connsiteY17191"/>
              </a:cxn>
              <a:cxn ang="0">
                <a:pos x="connsiteX17192" y="connsiteY17192"/>
              </a:cxn>
              <a:cxn ang="0">
                <a:pos x="connsiteX17193" y="connsiteY17193"/>
              </a:cxn>
              <a:cxn ang="0">
                <a:pos x="connsiteX17194" y="connsiteY17194"/>
              </a:cxn>
              <a:cxn ang="0">
                <a:pos x="connsiteX17195" y="connsiteY17195"/>
              </a:cxn>
              <a:cxn ang="0">
                <a:pos x="connsiteX17196" y="connsiteY17196"/>
              </a:cxn>
              <a:cxn ang="0">
                <a:pos x="connsiteX17197" y="connsiteY17197"/>
              </a:cxn>
              <a:cxn ang="0">
                <a:pos x="connsiteX17198" y="connsiteY17198"/>
              </a:cxn>
              <a:cxn ang="0">
                <a:pos x="connsiteX17199" y="connsiteY17199"/>
              </a:cxn>
              <a:cxn ang="0">
                <a:pos x="connsiteX17200" y="connsiteY17200"/>
              </a:cxn>
              <a:cxn ang="0">
                <a:pos x="connsiteX17201" y="connsiteY17201"/>
              </a:cxn>
              <a:cxn ang="0">
                <a:pos x="connsiteX17202" y="connsiteY17202"/>
              </a:cxn>
              <a:cxn ang="0">
                <a:pos x="connsiteX17203" y="connsiteY17203"/>
              </a:cxn>
              <a:cxn ang="0">
                <a:pos x="connsiteX17204" y="connsiteY17204"/>
              </a:cxn>
              <a:cxn ang="0">
                <a:pos x="connsiteX17205" y="connsiteY17205"/>
              </a:cxn>
              <a:cxn ang="0">
                <a:pos x="connsiteX17206" y="connsiteY17206"/>
              </a:cxn>
              <a:cxn ang="0">
                <a:pos x="connsiteX17207" y="connsiteY17207"/>
              </a:cxn>
              <a:cxn ang="0">
                <a:pos x="connsiteX17208" y="connsiteY17208"/>
              </a:cxn>
              <a:cxn ang="0">
                <a:pos x="connsiteX17209" y="connsiteY17209"/>
              </a:cxn>
              <a:cxn ang="0">
                <a:pos x="connsiteX17210" y="connsiteY17210"/>
              </a:cxn>
              <a:cxn ang="0">
                <a:pos x="connsiteX17211" y="connsiteY17211"/>
              </a:cxn>
              <a:cxn ang="0">
                <a:pos x="connsiteX17212" y="connsiteY17212"/>
              </a:cxn>
              <a:cxn ang="0">
                <a:pos x="connsiteX17213" y="connsiteY17213"/>
              </a:cxn>
              <a:cxn ang="0">
                <a:pos x="connsiteX17214" y="connsiteY17214"/>
              </a:cxn>
              <a:cxn ang="0">
                <a:pos x="connsiteX17215" y="connsiteY17215"/>
              </a:cxn>
              <a:cxn ang="0">
                <a:pos x="connsiteX17216" y="connsiteY17216"/>
              </a:cxn>
              <a:cxn ang="0">
                <a:pos x="connsiteX17217" y="connsiteY17217"/>
              </a:cxn>
              <a:cxn ang="0">
                <a:pos x="connsiteX17218" y="connsiteY17218"/>
              </a:cxn>
              <a:cxn ang="0">
                <a:pos x="connsiteX17219" y="connsiteY17219"/>
              </a:cxn>
              <a:cxn ang="0">
                <a:pos x="connsiteX17220" y="connsiteY17220"/>
              </a:cxn>
              <a:cxn ang="0">
                <a:pos x="connsiteX17221" y="connsiteY17221"/>
              </a:cxn>
              <a:cxn ang="0">
                <a:pos x="connsiteX17222" y="connsiteY17222"/>
              </a:cxn>
              <a:cxn ang="0">
                <a:pos x="connsiteX17223" y="connsiteY17223"/>
              </a:cxn>
              <a:cxn ang="0">
                <a:pos x="connsiteX17224" y="connsiteY17224"/>
              </a:cxn>
              <a:cxn ang="0">
                <a:pos x="connsiteX17225" y="connsiteY17225"/>
              </a:cxn>
              <a:cxn ang="0">
                <a:pos x="connsiteX17226" y="connsiteY17226"/>
              </a:cxn>
              <a:cxn ang="0">
                <a:pos x="connsiteX17227" y="connsiteY17227"/>
              </a:cxn>
              <a:cxn ang="0">
                <a:pos x="connsiteX17228" y="connsiteY17228"/>
              </a:cxn>
              <a:cxn ang="0">
                <a:pos x="connsiteX17229" y="connsiteY17229"/>
              </a:cxn>
              <a:cxn ang="0">
                <a:pos x="connsiteX17230" y="connsiteY17230"/>
              </a:cxn>
              <a:cxn ang="0">
                <a:pos x="connsiteX17231" y="connsiteY17231"/>
              </a:cxn>
              <a:cxn ang="0">
                <a:pos x="connsiteX17232" y="connsiteY17232"/>
              </a:cxn>
              <a:cxn ang="0">
                <a:pos x="connsiteX17233" y="connsiteY17233"/>
              </a:cxn>
              <a:cxn ang="0">
                <a:pos x="connsiteX17234" y="connsiteY17234"/>
              </a:cxn>
              <a:cxn ang="0">
                <a:pos x="connsiteX17235" y="connsiteY17235"/>
              </a:cxn>
              <a:cxn ang="0">
                <a:pos x="connsiteX17236" y="connsiteY17236"/>
              </a:cxn>
              <a:cxn ang="0">
                <a:pos x="connsiteX17237" y="connsiteY17237"/>
              </a:cxn>
              <a:cxn ang="0">
                <a:pos x="connsiteX17238" y="connsiteY17238"/>
              </a:cxn>
              <a:cxn ang="0">
                <a:pos x="connsiteX17239" y="connsiteY17239"/>
              </a:cxn>
              <a:cxn ang="0">
                <a:pos x="connsiteX17240" y="connsiteY17240"/>
              </a:cxn>
              <a:cxn ang="0">
                <a:pos x="connsiteX17241" y="connsiteY17241"/>
              </a:cxn>
              <a:cxn ang="0">
                <a:pos x="connsiteX17242" y="connsiteY17242"/>
              </a:cxn>
              <a:cxn ang="0">
                <a:pos x="connsiteX17243" y="connsiteY17243"/>
              </a:cxn>
              <a:cxn ang="0">
                <a:pos x="connsiteX17244" y="connsiteY17244"/>
              </a:cxn>
              <a:cxn ang="0">
                <a:pos x="connsiteX17245" y="connsiteY17245"/>
              </a:cxn>
              <a:cxn ang="0">
                <a:pos x="connsiteX17246" y="connsiteY17246"/>
              </a:cxn>
              <a:cxn ang="0">
                <a:pos x="connsiteX17247" y="connsiteY17247"/>
              </a:cxn>
              <a:cxn ang="0">
                <a:pos x="connsiteX17248" y="connsiteY17248"/>
              </a:cxn>
              <a:cxn ang="0">
                <a:pos x="connsiteX17249" y="connsiteY17249"/>
              </a:cxn>
              <a:cxn ang="0">
                <a:pos x="connsiteX17250" y="connsiteY17250"/>
              </a:cxn>
              <a:cxn ang="0">
                <a:pos x="connsiteX17251" y="connsiteY17251"/>
              </a:cxn>
              <a:cxn ang="0">
                <a:pos x="connsiteX17252" y="connsiteY17252"/>
              </a:cxn>
              <a:cxn ang="0">
                <a:pos x="connsiteX17253" y="connsiteY17253"/>
              </a:cxn>
              <a:cxn ang="0">
                <a:pos x="connsiteX17254" y="connsiteY17254"/>
              </a:cxn>
              <a:cxn ang="0">
                <a:pos x="connsiteX17255" y="connsiteY17255"/>
              </a:cxn>
              <a:cxn ang="0">
                <a:pos x="connsiteX17256" y="connsiteY17256"/>
              </a:cxn>
              <a:cxn ang="0">
                <a:pos x="connsiteX17257" y="connsiteY17257"/>
              </a:cxn>
              <a:cxn ang="0">
                <a:pos x="connsiteX17258" y="connsiteY17258"/>
              </a:cxn>
              <a:cxn ang="0">
                <a:pos x="connsiteX17259" y="connsiteY17259"/>
              </a:cxn>
              <a:cxn ang="0">
                <a:pos x="connsiteX17260" y="connsiteY17260"/>
              </a:cxn>
              <a:cxn ang="0">
                <a:pos x="connsiteX17261" y="connsiteY17261"/>
              </a:cxn>
              <a:cxn ang="0">
                <a:pos x="connsiteX17262" y="connsiteY17262"/>
              </a:cxn>
              <a:cxn ang="0">
                <a:pos x="connsiteX17263" y="connsiteY17263"/>
              </a:cxn>
              <a:cxn ang="0">
                <a:pos x="connsiteX17264" y="connsiteY17264"/>
              </a:cxn>
              <a:cxn ang="0">
                <a:pos x="connsiteX17265" y="connsiteY17265"/>
              </a:cxn>
              <a:cxn ang="0">
                <a:pos x="connsiteX17266" y="connsiteY17266"/>
              </a:cxn>
              <a:cxn ang="0">
                <a:pos x="connsiteX17267" y="connsiteY17267"/>
              </a:cxn>
              <a:cxn ang="0">
                <a:pos x="connsiteX17268" y="connsiteY17268"/>
              </a:cxn>
              <a:cxn ang="0">
                <a:pos x="connsiteX17269" y="connsiteY17269"/>
              </a:cxn>
              <a:cxn ang="0">
                <a:pos x="connsiteX17270" y="connsiteY17270"/>
              </a:cxn>
              <a:cxn ang="0">
                <a:pos x="connsiteX17271" y="connsiteY17271"/>
              </a:cxn>
              <a:cxn ang="0">
                <a:pos x="connsiteX17272" y="connsiteY17272"/>
              </a:cxn>
              <a:cxn ang="0">
                <a:pos x="connsiteX17273" y="connsiteY17273"/>
              </a:cxn>
              <a:cxn ang="0">
                <a:pos x="connsiteX17274" y="connsiteY17274"/>
              </a:cxn>
              <a:cxn ang="0">
                <a:pos x="connsiteX17275" y="connsiteY17275"/>
              </a:cxn>
              <a:cxn ang="0">
                <a:pos x="connsiteX17276" y="connsiteY17276"/>
              </a:cxn>
              <a:cxn ang="0">
                <a:pos x="connsiteX17277" y="connsiteY17277"/>
              </a:cxn>
              <a:cxn ang="0">
                <a:pos x="connsiteX17278" y="connsiteY17278"/>
              </a:cxn>
              <a:cxn ang="0">
                <a:pos x="connsiteX17279" y="connsiteY17279"/>
              </a:cxn>
              <a:cxn ang="0">
                <a:pos x="connsiteX17280" y="connsiteY17280"/>
              </a:cxn>
              <a:cxn ang="0">
                <a:pos x="connsiteX17281" y="connsiteY17281"/>
              </a:cxn>
              <a:cxn ang="0">
                <a:pos x="connsiteX17282" y="connsiteY17282"/>
              </a:cxn>
              <a:cxn ang="0">
                <a:pos x="connsiteX17283" y="connsiteY17283"/>
              </a:cxn>
              <a:cxn ang="0">
                <a:pos x="connsiteX17284" y="connsiteY17284"/>
              </a:cxn>
              <a:cxn ang="0">
                <a:pos x="connsiteX17285" y="connsiteY17285"/>
              </a:cxn>
              <a:cxn ang="0">
                <a:pos x="connsiteX17286" y="connsiteY17286"/>
              </a:cxn>
              <a:cxn ang="0">
                <a:pos x="connsiteX17287" y="connsiteY17287"/>
              </a:cxn>
              <a:cxn ang="0">
                <a:pos x="connsiteX17288" y="connsiteY17288"/>
              </a:cxn>
              <a:cxn ang="0">
                <a:pos x="connsiteX17289" y="connsiteY17289"/>
              </a:cxn>
              <a:cxn ang="0">
                <a:pos x="connsiteX17290" y="connsiteY17290"/>
              </a:cxn>
              <a:cxn ang="0">
                <a:pos x="connsiteX17291" y="connsiteY17291"/>
              </a:cxn>
              <a:cxn ang="0">
                <a:pos x="connsiteX17292" y="connsiteY17292"/>
              </a:cxn>
              <a:cxn ang="0">
                <a:pos x="connsiteX17293" y="connsiteY17293"/>
              </a:cxn>
              <a:cxn ang="0">
                <a:pos x="connsiteX17294" y="connsiteY17294"/>
              </a:cxn>
              <a:cxn ang="0">
                <a:pos x="connsiteX17295" y="connsiteY17295"/>
              </a:cxn>
              <a:cxn ang="0">
                <a:pos x="connsiteX17296" y="connsiteY17296"/>
              </a:cxn>
              <a:cxn ang="0">
                <a:pos x="connsiteX17297" y="connsiteY17297"/>
              </a:cxn>
              <a:cxn ang="0">
                <a:pos x="connsiteX17298" y="connsiteY17298"/>
              </a:cxn>
              <a:cxn ang="0">
                <a:pos x="connsiteX17299" y="connsiteY17299"/>
              </a:cxn>
              <a:cxn ang="0">
                <a:pos x="connsiteX17300" y="connsiteY17300"/>
              </a:cxn>
              <a:cxn ang="0">
                <a:pos x="connsiteX17301" y="connsiteY17301"/>
              </a:cxn>
              <a:cxn ang="0">
                <a:pos x="connsiteX17302" y="connsiteY17302"/>
              </a:cxn>
              <a:cxn ang="0">
                <a:pos x="connsiteX17303" y="connsiteY17303"/>
              </a:cxn>
              <a:cxn ang="0">
                <a:pos x="connsiteX17304" y="connsiteY17304"/>
              </a:cxn>
              <a:cxn ang="0">
                <a:pos x="connsiteX17305" y="connsiteY17305"/>
              </a:cxn>
              <a:cxn ang="0">
                <a:pos x="connsiteX17306" y="connsiteY17306"/>
              </a:cxn>
              <a:cxn ang="0">
                <a:pos x="connsiteX17307" y="connsiteY17307"/>
              </a:cxn>
              <a:cxn ang="0">
                <a:pos x="connsiteX17308" y="connsiteY17308"/>
              </a:cxn>
              <a:cxn ang="0">
                <a:pos x="connsiteX17309" y="connsiteY17309"/>
              </a:cxn>
              <a:cxn ang="0">
                <a:pos x="connsiteX17310" y="connsiteY17310"/>
              </a:cxn>
              <a:cxn ang="0">
                <a:pos x="connsiteX17311" y="connsiteY17311"/>
              </a:cxn>
              <a:cxn ang="0">
                <a:pos x="connsiteX17312" y="connsiteY17312"/>
              </a:cxn>
              <a:cxn ang="0">
                <a:pos x="connsiteX17313" y="connsiteY17313"/>
              </a:cxn>
              <a:cxn ang="0">
                <a:pos x="connsiteX17314" y="connsiteY17314"/>
              </a:cxn>
              <a:cxn ang="0">
                <a:pos x="connsiteX17315" y="connsiteY17315"/>
              </a:cxn>
              <a:cxn ang="0">
                <a:pos x="connsiteX17316" y="connsiteY17316"/>
              </a:cxn>
              <a:cxn ang="0">
                <a:pos x="connsiteX17317" y="connsiteY17317"/>
              </a:cxn>
              <a:cxn ang="0">
                <a:pos x="connsiteX17318" y="connsiteY17318"/>
              </a:cxn>
              <a:cxn ang="0">
                <a:pos x="connsiteX17319" y="connsiteY17319"/>
              </a:cxn>
              <a:cxn ang="0">
                <a:pos x="connsiteX17320" y="connsiteY17320"/>
              </a:cxn>
              <a:cxn ang="0">
                <a:pos x="connsiteX17321" y="connsiteY17321"/>
              </a:cxn>
              <a:cxn ang="0">
                <a:pos x="connsiteX17322" y="connsiteY17322"/>
              </a:cxn>
              <a:cxn ang="0">
                <a:pos x="connsiteX17323" y="connsiteY17323"/>
              </a:cxn>
              <a:cxn ang="0">
                <a:pos x="connsiteX17324" y="connsiteY17324"/>
              </a:cxn>
              <a:cxn ang="0">
                <a:pos x="connsiteX17325" y="connsiteY17325"/>
              </a:cxn>
              <a:cxn ang="0">
                <a:pos x="connsiteX17326" y="connsiteY17326"/>
              </a:cxn>
              <a:cxn ang="0">
                <a:pos x="connsiteX17327" y="connsiteY17327"/>
              </a:cxn>
              <a:cxn ang="0">
                <a:pos x="connsiteX17328" y="connsiteY17328"/>
              </a:cxn>
              <a:cxn ang="0">
                <a:pos x="connsiteX17329" y="connsiteY17329"/>
              </a:cxn>
              <a:cxn ang="0">
                <a:pos x="connsiteX17330" y="connsiteY17330"/>
              </a:cxn>
              <a:cxn ang="0">
                <a:pos x="connsiteX17331" y="connsiteY17331"/>
              </a:cxn>
              <a:cxn ang="0">
                <a:pos x="connsiteX17332" y="connsiteY17332"/>
              </a:cxn>
              <a:cxn ang="0">
                <a:pos x="connsiteX17333" y="connsiteY17333"/>
              </a:cxn>
              <a:cxn ang="0">
                <a:pos x="connsiteX17334" y="connsiteY17334"/>
              </a:cxn>
              <a:cxn ang="0">
                <a:pos x="connsiteX17335" y="connsiteY17335"/>
              </a:cxn>
              <a:cxn ang="0">
                <a:pos x="connsiteX17336" y="connsiteY17336"/>
              </a:cxn>
              <a:cxn ang="0">
                <a:pos x="connsiteX17337" y="connsiteY17337"/>
              </a:cxn>
              <a:cxn ang="0">
                <a:pos x="connsiteX17338" y="connsiteY17338"/>
              </a:cxn>
              <a:cxn ang="0">
                <a:pos x="connsiteX17339" y="connsiteY17339"/>
              </a:cxn>
              <a:cxn ang="0">
                <a:pos x="connsiteX17340" y="connsiteY17340"/>
              </a:cxn>
              <a:cxn ang="0">
                <a:pos x="connsiteX17341" y="connsiteY17341"/>
              </a:cxn>
              <a:cxn ang="0">
                <a:pos x="connsiteX17342" y="connsiteY17342"/>
              </a:cxn>
              <a:cxn ang="0">
                <a:pos x="connsiteX17343" y="connsiteY17343"/>
              </a:cxn>
              <a:cxn ang="0">
                <a:pos x="connsiteX17344" y="connsiteY17344"/>
              </a:cxn>
              <a:cxn ang="0">
                <a:pos x="connsiteX17345" y="connsiteY17345"/>
              </a:cxn>
              <a:cxn ang="0">
                <a:pos x="connsiteX17346" y="connsiteY17346"/>
              </a:cxn>
              <a:cxn ang="0">
                <a:pos x="connsiteX17347" y="connsiteY17347"/>
              </a:cxn>
              <a:cxn ang="0">
                <a:pos x="connsiteX17348" y="connsiteY17348"/>
              </a:cxn>
              <a:cxn ang="0">
                <a:pos x="connsiteX17349" y="connsiteY17349"/>
              </a:cxn>
              <a:cxn ang="0">
                <a:pos x="connsiteX17350" y="connsiteY17350"/>
              </a:cxn>
              <a:cxn ang="0">
                <a:pos x="connsiteX17351" y="connsiteY17351"/>
              </a:cxn>
              <a:cxn ang="0">
                <a:pos x="connsiteX17352" y="connsiteY17352"/>
              </a:cxn>
              <a:cxn ang="0">
                <a:pos x="connsiteX17353" y="connsiteY17353"/>
              </a:cxn>
              <a:cxn ang="0">
                <a:pos x="connsiteX17354" y="connsiteY17354"/>
              </a:cxn>
              <a:cxn ang="0">
                <a:pos x="connsiteX17355" y="connsiteY17355"/>
              </a:cxn>
              <a:cxn ang="0">
                <a:pos x="connsiteX17356" y="connsiteY17356"/>
              </a:cxn>
              <a:cxn ang="0">
                <a:pos x="connsiteX17357" y="connsiteY17357"/>
              </a:cxn>
              <a:cxn ang="0">
                <a:pos x="connsiteX17358" y="connsiteY17358"/>
              </a:cxn>
              <a:cxn ang="0">
                <a:pos x="connsiteX17359" y="connsiteY17359"/>
              </a:cxn>
              <a:cxn ang="0">
                <a:pos x="connsiteX17360" y="connsiteY17360"/>
              </a:cxn>
              <a:cxn ang="0">
                <a:pos x="connsiteX17361" y="connsiteY17361"/>
              </a:cxn>
              <a:cxn ang="0">
                <a:pos x="connsiteX17362" y="connsiteY17362"/>
              </a:cxn>
              <a:cxn ang="0">
                <a:pos x="connsiteX17363" y="connsiteY17363"/>
              </a:cxn>
              <a:cxn ang="0">
                <a:pos x="connsiteX17364" y="connsiteY17364"/>
              </a:cxn>
              <a:cxn ang="0">
                <a:pos x="connsiteX17365" y="connsiteY17365"/>
              </a:cxn>
              <a:cxn ang="0">
                <a:pos x="connsiteX17366" y="connsiteY17366"/>
              </a:cxn>
              <a:cxn ang="0">
                <a:pos x="connsiteX17367" y="connsiteY17367"/>
              </a:cxn>
              <a:cxn ang="0">
                <a:pos x="connsiteX17368" y="connsiteY17368"/>
              </a:cxn>
              <a:cxn ang="0">
                <a:pos x="connsiteX17369" y="connsiteY17369"/>
              </a:cxn>
              <a:cxn ang="0">
                <a:pos x="connsiteX17370" y="connsiteY17370"/>
              </a:cxn>
              <a:cxn ang="0">
                <a:pos x="connsiteX17371" y="connsiteY17371"/>
              </a:cxn>
              <a:cxn ang="0">
                <a:pos x="connsiteX17372" y="connsiteY17372"/>
              </a:cxn>
              <a:cxn ang="0">
                <a:pos x="connsiteX17373" y="connsiteY17373"/>
              </a:cxn>
              <a:cxn ang="0">
                <a:pos x="connsiteX17374" y="connsiteY17374"/>
              </a:cxn>
              <a:cxn ang="0">
                <a:pos x="connsiteX17375" y="connsiteY17375"/>
              </a:cxn>
              <a:cxn ang="0">
                <a:pos x="connsiteX17376" y="connsiteY17376"/>
              </a:cxn>
              <a:cxn ang="0">
                <a:pos x="connsiteX17377" y="connsiteY17377"/>
              </a:cxn>
              <a:cxn ang="0">
                <a:pos x="connsiteX17378" y="connsiteY17378"/>
              </a:cxn>
              <a:cxn ang="0">
                <a:pos x="connsiteX17379" y="connsiteY17379"/>
              </a:cxn>
              <a:cxn ang="0">
                <a:pos x="connsiteX17380" y="connsiteY17380"/>
              </a:cxn>
              <a:cxn ang="0">
                <a:pos x="connsiteX17381" y="connsiteY17381"/>
              </a:cxn>
              <a:cxn ang="0">
                <a:pos x="connsiteX17382" y="connsiteY17382"/>
              </a:cxn>
              <a:cxn ang="0">
                <a:pos x="connsiteX17383" y="connsiteY17383"/>
              </a:cxn>
              <a:cxn ang="0">
                <a:pos x="connsiteX17384" y="connsiteY17384"/>
              </a:cxn>
              <a:cxn ang="0">
                <a:pos x="connsiteX17385" y="connsiteY17385"/>
              </a:cxn>
              <a:cxn ang="0">
                <a:pos x="connsiteX17386" y="connsiteY17386"/>
              </a:cxn>
              <a:cxn ang="0">
                <a:pos x="connsiteX17387" y="connsiteY17387"/>
              </a:cxn>
              <a:cxn ang="0">
                <a:pos x="connsiteX17388" y="connsiteY17388"/>
              </a:cxn>
              <a:cxn ang="0">
                <a:pos x="connsiteX17389" y="connsiteY17389"/>
              </a:cxn>
              <a:cxn ang="0">
                <a:pos x="connsiteX17390" y="connsiteY17390"/>
              </a:cxn>
              <a:cxn ang="0">
                <a:pos x="connsiteX17391" y="connsiteY17391"/>
              </a:cxn>
              <a:cxn ang="0">
                <a:pos x="connsiteX17392" y="connsiteY17392"/>
              </a:cxn>
              <a:cxn ang="0">
                <a:pos x="connsiteX17393" y="connsiteY17393"/>
              </a:cxn>
              <a:cxn ang="0">
                <a:pos x="connsiteX17394" y="connsiteY17394"/>
              </a:cxn>
              <a:cxn ang="0">
                <a:pos x="connsiteX17395" y="connsiteY17395"/>
              </a:cxn>
              <a:cxn ang="0">
                <a:pos x="connsiteX17396" y="connsiteY17396"/>
              </a:cxn>
              <a:cxn ang="0">
                <a:pos x="connsiteX17397" y="connsiteY17397"/>
              </a:cxn>
              <a:cxn ang="0">
                <a:pos x="connsiteX17398" y="connsiteY17398"/>
              </a:cxn>
              <a:cxn ang="0">
                <a:pos x="connsiteX17399" y="connsiteY17399"/>
              </a:cxn>
              <a:cxn ang="0">
                <a:pos x="connsiteX17400" y="connsiteY17400"/>
              </a:cxn>
              <a:cxn ang="0">
                <a:pos x="connsiteX17401" y="connsiteY17401"/>
              </a:cxn>
              <a:cxn ang="0">
                <a:pos x="connsiteX17402" y="connsiteY17402"/>
              </a:cxn>
              <a:cxn ang="0">
                <a:pos x="connsiteX17403" y="connsiteY17403"/>
              </a:cxn>
              <a:cxn ang="0">
                <a:pos x="connsiteX17404" y="connsiteY17404"/>
              </a:cxn>
              <a:cxn ang="0">
                <a:pos x="connsiteX17405" y="connsiteY17405"/>
              </a:cxn>
              <a:cxn ang="0">
                <a:pos x="connsiteX17406" y="connsiteY17406"/>
              </a:cxn>
              <a:cxn ang="0">
                <a:pos x="connsiteX17407" y="connsiteY17407"/>
              </a:cxn>
              <a:cxn ang="0">
                <a:pos x="connsiteX17408" y="connsiteY17408"/>
              </a:cxn>
              <a:cxn ang="0">
                <a:pos x="connsiteX17409" y="connsiteY17409"/>
              </a:cxn>
              <a:cxn ang="0">
                <a:pos x="connsiteX17410" y="connsiteY17410"/>
              </a:cxn>
              <a:cxn ang="0">
                <a:pos x="connsiteX17411" y="connsiteY17411"/>
              </a:cxn>
              <a:cxn ang="0">
                <a:pos x="connsiteX17412" y="connsiteY17412"/>
              </a:cxn>
              <a:cxn ang="0">
                <a:pos x="connsiteX17413" y="connsiteY17413"/>
              </a:cxn>
              <a:cxn ang="0">
                <a:pos x="connsiteX17414" y="connsiteY17414"/>
              </a:cxn>
              <a:cxn ang="0">
                <a:pos x="connsiteX17415" y="connsiteY17415"/>
              </a:cxn>
              <a:cxn ang="0">
                <a:pos x="connsiteX17416" y="connsiteY17416"/>
              </a:cxn>
              <a:cxn ang="0">
                <a:pos x="connsiteX17417" y="connsiteY17417"/>
              </a:cxn>
              <a:cxn ang="0">
                <a:pos x="connsiteX17418" y="connsiteY17418"/>
              </a:cxn>
              <a:cxn ang="0">
                <a:pos x="connsiteX17419" y="connsiteY17419"/>
              </a:cxn>
              <a:cxn ang="0">
                <a:pos x="connsiteX17420" y="connsiteY17420"/>
              </a:cxn>
              <a:cxn ang="0">
                <a:pos x="connsiteX17421" y="connsiteY17421"/>
              </a:cxn>
              <a:cxn ang="0">
                <a:pos x="connsiteX17422" y="connsiteY17422"/>
              </a:cxn>
              <a:cxn ang="0">
                <a:pos x="connsiteX17423" y="connsiteY17423"/>
              </a:cxn>
              <a:cxn ang="0">
                <a:pos x="connsiteX17424" y="connsiteY17424"/>
              </a:cxn>
              <a:cxn ang="0">
                <a:pos x="connsiteX17425" y="connsiteY17425"/>
              </a:cxn>
              <a:cxn ang="0">
                <a:pos x="connsiteX17426" y="connsiteY17426"/>
              </a:cxn>
              <a:cxn ang="0">
                <a:pos x="connsiteX17427" y="connsiteY17427"/>
              </a:cxn>
              <a:cxn ang="0">
                <a:pos x="connsiteX17428" y="connsiteY17428"/>
              </a:cxn>
              <a:cxn ang="0">
                <a:pos x="connsiteX17429" y="connsiteY17429"/>
              </a:cxn>
              <a:cxn ang="0">
                <a:pos x="connsiteX17430" y="connsiteY17430"/>
              </a:cxn>
              <a:cxn ang="0">
                <a:pos x="connsiteX17431" y="connsiteY17431"/>
              </a:cxn>
              <a:cxn ang="0">
                <a:pos x="connsiteX17432" y="connsiteY17432"/>
              </a:cxn>
              <a:cxn ang="0">
                <a:pos x="connsiteX17433" y="connsiteY17433"/>
              </a:cxn>
              <a:cxn ang="0">
                <a:pos x="connsiteX17434" y="connsiteY17434"/>
              </a:cxn>
              <a:cxn ang="0">
                <a:pos x="connsiteX17435" y="connsiteY17435"/>
              </a:cxn>
              <a:cxn ang="0">
                <a:pos x="connsiteX17436" y="connsiteY17436"/>
              </a:cxn>
              <a:cxn ang="0">
                <a:pos x="connsiteX17437" y="connsiteY17437"/>
              </a:cxn>
              <a:cxn ang="0">
                <a:pos x="connsiteX17438" y="connsiteY17438"/>
              </a:cxn>
              <a:cxn ang="0">
                <a:pos x="connsiteX17439" y="connsiteY17439"/>
              </a:cxn>
              <a:cxn ang="0">
                <a:pos x="connsiteX17440" y="connsiteY17440"/>
              </a:cxn>
              <a:cxn ang="0">
                <a:pos x="connsiteX17441" y="connsiteY17441"/>
              </a:cxn>
              <a:cxn ang="0">
                <a:pos x="connsiteX17442" y="connsiteY17442"/>
              </a:cxn>
              <a:cxn ang="0">
                <a:pos x="connsiteX17443" y="connsiteY17443"/>
              </a:cxn>
              <a:cxn ang="0">
                <a:pos x="connsiteX17444" y="connsiteY17444"/>
              </a:cxn>
              <a:cxn ang="0">
                <a:pos x="connsiteX17445" y="connsiteY17445"/>
              </a:cxn>
              <a:cxn ang="0">
                <a:pos x="connsiteX17446" y="connsiteY17446"/>
              </a:cxn>
              <a:cxn ang="0">
                <a:pos x="connsiteX17447" y="connsiteY17447"/>
              </a:cxn>
              <a:cxn ang="0">
                <a:pos x="connsiteX17448" y="connsiteY17448"/>
              </a:cxn>
              <a:cxn ang="0">
                <a:pos x="connsiteX17449" y="connsiteY17449"/>
              </a:cxn>
              <a:cxn ang="0">
                <a:pos x="connsiteX17450" y="connsiteY17450"/>
              </a:cxn>
              <a:cxn ang="0">
                <a:pos x="connsiteX17451" y="connsiteY17451"/>
              </a:cxn>
              <a:cxn ang="0">
                <a:pos x="connsiteX17452" y="connsiteY17452"/>
              </a:cxn>
              <a:cxn ang="0">
                <a:pos x="connsiteX17453" y="connsiteY17453"/>
              </a:cxn>
              <a:cxn ang="0">
                <a:pos x="connsiteX17454" y="connsiteY17454"/>
              </a:cxn>
              <a:cxn ang="0">
                <a:pos x="connsiteX17455" y="connsiteY17455"/>
              </a:cxn>
              <a:cxn ang="0">
                <a:pos x="connsiteX17456" y="connsiteY17456"/>
              </a:cxn>
              <a:cxn ang="0">
                <a:pos x="connsiteX17457" y="connsiteY17457"/>
              </a:cxn>
              <a:cxn ang="0">
                <a:pos x="connsiteX17458" y="connsiteY17458"/>
              </a:cxn>
              <a:cxn ang="0">
                <a:pos x="connsiteX17459" y="connsiteY17459"/>
              </a:cxn>
              <a:cxn ang="0">
                <a:pos x="connsiteX17460" y="connsiteY17460"/>
              </a:cxn>
              <a:cxn ang="0">
                <a:pos x="connsiteX17461" y="connsiteY17461"/>
              </a:cxn>
              <a:cxn ang="0">
                <a:pos x="connsiteX17462" y="connsiteY17462"/>
              </a:cxn>
              <a:cxn ang="0">
                <a:pos x="connsiteX17463" y="connsiteY17463"/>
              </a:cxn>
              <a:cxn ang="0">
                <a:pos x="connsiteX17464" y="connsiteY17464"/>
              </a:cxn>
              <a:cxn ang="0">
                <a:pos x="connsiteX17465" y="connsiteY17465"/>
              </a:cxn>
              <a:cxn ang="0">
                <a:pos x="connsiteX17466" y="connsiteY17466"/>
              </a:cxn>
              <a:cxn ang="0">
                <a:pos x="connsiteX17467" y="connsiteY17467"/>
              </a:cxn>
              <a:cxn ang="0">
                <a:pos x="connsiteX17468" y="connsiteY17468"/>
              </a:cxn>
              <a:cxn ang="0">
                <a:pos x="connsiteX17469" y="connsiteY17469"/>
              </a:cxn>
              <a:cxn ang="0">
                <a:pos x="connsiteX17470" y="connsiteY17470"/>
              </a:cxn>
              <a:cxn ang="0">
                <a:pos x="connsiteX17471" y="connsiteY17471"/>
              </a:cxn>
              <a:cxn ang="0">
                <a:pos x="connsiteX17472" y="connsiteY17472"/>
              </a:cxn>
              <a:cxn ang="0">
                <a:pos x="connsiteX17473" y="connsiteY17473"/>
              </a:cxn>
              <a:cxn ang="0">
                <a:pos x="connsiteX17474" y="connsiteY17474"/>
              </a:cxn>
              <a:cxn ang="0">
                <a:pos x="connsiteX17475" y="connsiteY17475"/>
              </a:cxn>
              <a:cxn ang="0">
                <a:pos x="connsiteX17476" y="connsiteY17476"/>
              </a:cxn>
              <a:cxn ang="0">
                <a:pos x="connsiteX17477" y="connsiteY17477"/>
              </a:cxn>
              <a:cxn ang="0">
                <a:pos x="connsiteX17478" y="connsiteY17478"/>
              </a:cxn>
              <a:cxn ang="0">
                <a:pos x="connsiteX17479" y="connsiteY17479"/>
              </a:cxn>
              <a:cxn ang="0">
                <a:pos x="connsiteX17480" y="connsiteY17480"/>
              </a:cxn>
              <a:cxn ang="0">
                <a:pos x="connsiteX17481" y="connsiteY17481"/>
              </a:cxn>
              <a:cxn ang="0">
                <a:pos x="connsiteX17482" y="connsiteY17482"/>
              </a:cxn>
              <a:cxn ang="0">
                <a:pos x="connsiteX17483" y="connsiteY17483"/>
              </a:cxn>
              <a:cxn ang="0">
                <a:pos x="connsiteX17484" y="connsiteY17484"/>
              </a:cxn>
              <a:cxn ang="0">
                <a:pos x="connsiteX17485" y="connsiteY17485"/>
              </a:cxn>
              <a:cxn ang="0">
                <a:pos x="connsiteX17486" y="connsiteY17486"/>
              </a:cxn>
              <a:cxn ang="0">
                <a:pos x="connsiteX17487" y="connsiteY17487"/>
              </a:cxn>
              <a:cxn ang="0">
                <a:pos x="connsiteX17488" y="connsiteY17488"/>
              </a:cxn>
              <a:cxn ang="0">
                <a:pos x="connsiteX17489" y="connsiteY17489"/>
              </a:cxn>
              <a:cxn ang="0">
                <a:pos x="connsiteX17490" y="connsiteY17490"/>
              </a:cxn>
              <a:cxn ang="0">
                <a:pos x="connsiteX17491" y="connsiteY17491"/>
              </a:cxn>
              <a:cxn ang="0">
                <a:pos x="connsiteX17492" y="connsiteY17492"/>
              </a:cxn>
              <a:cxn ang="0">
                <a:pos x="connsiteX17493" y="connsiteY17493"/>
              </a:cxn>
              <a:cxn ang="0">
                <a:pos x="connsiteX17494" y="connsiteY17494"/>
              </a:cxn>
              <a:cxn ang="0">
                <a:pos x="connsiteX17495" y="connsiteY17495"/>
              </a:cxn>
              <a:cxn ang="0">
                <a:pos x="connsiteX17496" y="connsiteY17496"/>
              </a:cxn>
              <a:cxn ang="0">
                <a:pos x="connsiteX17497" y="connsiteY17497"/>
              </a:cxn>
              <a:cxn ang="0">
                <a:pos x="connsiteX17498" y="connsiteY17498"/>
              </a:cxn>
              <a:cxn ang="0">
                <a:pos x="connsiteX17499" y="connsiteY17499"/>
              </a:cxn>
              <a:cxn ang="0">
                <a:pos x="connsiteX17500" y="connsiteY17500"/>
              </a:cxn>
              <a:cxn ang="0">
                <a:pos x="connsiteX17501" y="connsiteY17501"/>
              </a:cxn>
              <a:cxn ang="0">
                <a:pos x="connsiteX17502" y="connsiteY17502"/>
              </a:cxn>
              <a:cxn ang="0">
                <a:pos x="connsiteX17503" y="connsiteY17503"/>
              </a:cxn>
              <a:cxn ang="0">
                <a:pos x="connsiteX17504" y="connsiteY17504"/>
              </a:cxn>
              <a:cxn ang="0">
                <a:pos x="connsiteX17505" y="connsiteY17505"/>
              </a:cxn>
              <a:cxn ang="0">
                <a:pos x="connsiteX17506" y="connsiteY17506"/>
              </a:cxn>
              <a:cxn ang="0">
                <a:pos x="connsiteX17507" y="connsiteY17507"/>
              </a:cxn>
              <a:cxn ang="0">
                <a:pos x="connsiteX17508" y="connsiteY17508"/>
              </a:cxn>
              <a:cxn ang="0">
                <a:pos x="connsiteX17509" y="connsiteY17509"/>
              </a:cxn>
              <a:cxn ang="0">
                <a:pos x="connsiteX17510" y="connsiteY17510"/>
              </a:cxn>
              <a:cxn ang="0">
                <a:pos x="connsiteX17511" y="connsiteY17511"/>
              </a:cxn>
              <a:cxn ang="0">
                <a:pos x="connsiteX17512" y="connsiteY17512"/>
              </a:cxn>
              <a:cxn ang="0">
                <a:pos x="connsiteX17513" y="connsiteY17513"/>
              </a:cxn>
              <a:cxn ang="0">
                <a:pos x="connsiteX17514" y="connsiteY17514"/>
              </a:cxn>
              <a:cxn ang="0">
                <a:pos x="connsiteX17515" y="connsiteY17515"/>
              </a:cxn>
              <a:cxn ang="0">
                <a:pos x="connsiteX17516" y="connsiteY17516"/>
              </a:cxn>
              <a:cxn ang="0">
                <a:pos x="connsiteX17517" y="connsiteY17517"/>
              </a:cxn>
              <a:cxn ang="0">
                <a:pos x="connsiteX17518" y="connsiteY17518"/>
              </a:cxn>
              <a:cxn ang="0">
                <a:pos x="connsiteX17519" y="connsiteY17519"/>
              </a:cxn>
              <a:cxn ang="0">
                <a:pos x="connsiteX17520" y="connsiteY17520"/>
              </a:cxn>
              <a:cxn ang="0">
                <a:pos x="connsiteX17521" y="connsiteY17521"/>
              </a:cxn>
              <a:cxn ang="0">
                <a:pos x="connsiteX17522" y="connsiteY17522"/>
              </a:cxn>
              <a:cxn ang="0">
                <a:pos x="connsiteX17523" y="connsiteY17523"/>
              </a:cxn>
              <a:cxn ang="0">
                <a:pos x="connsiteX17524" y="connsiteY17524"/>
              </a:cxn>
              <a:cxn ang="0">
                <a:pos x="connsiteX17525" y="connsiteY17525"/>
              </a:cxn>
              <a:cxn ang="0">
                <a:pos x="connsiteX17526" y="connsiteY17526"/>
              </a:cxn>
              <a:cxn ang="0">
                <a:pos x="connsiteX17527" y="connsiteY17527"/>
              </a:cxn>
              <a:cxn ang="0">
                <a:pos x="connsiteX17528" y="connsiteY17528"/>
              </a:cxn>
              <a:cxn ang="0">
                <a:pos x="connsiteX17529" y="connsiteY17529"/>
              </a:cxn>
              <a:cxn ang="0">
                <a:pos x="connsiteX17530" y="connsiteY17530"/>
              </a:cxn>
              <a:cxn ang="0">
                <a:pos x="connsiteX17531" y="connsiteY17531"/>
              </a:cxn>
              <a:cxn ang="0">
                <a:pos x="connsiteX17532" y="connsiteY17532"/>
              </a:cxn>
              <a:cxn ang="0">
                <a:pos x="connsiteX17533" y="connsiteY17533"/>
              </a:cxn>
              <a:cxn ang="0">
                <a:pos x="connsiteX17534" y="connsiteY17534"/>
              </a:cxn>
              <a:cxn ang="0">
                <a:pos x="connsiteX17535" y="connsiteY17535"/>
              </a:cxn>
              <a:cxn ang="0">
                <a:pos x="connsiteX17536" y="connsiteY17536"/>
              </a:cxn>
              <a:cxn ang="0">
                <a:pos x="connsiteX17537" y="connsiteY17537"/>
              </a:cxn>
              <a:cxn ang="0">
                <a:pos x="connsiteX17538" y="connsiteY17538"/>
              </a:cxn>
              <a:cxn ang="0">
                <a:pos x="connsiteX17539" y="connsiteY17539"/>
              </a:cxn>
              <a:cxn ang="0">
                <a:pos x="connsiteX17540" y="connsiteY17540"/>
              </a:cxn>
              <a:cxn ang="0">
                <a:pos x="connsiteX17541" y="connsiteY17541"/>
              </a:cxn>
              <a:cxn ang="0">
                <a:pos x="connsiteX17542" y="connsiteY17542"/>
              </a:cxn>
              <a:cxn ang="0">
                <a:pos x="connsiteX17543" y="connsiteY17543"/>
              </a:cxn>
              <a:cxn ang="0">
                <a:pos x="connsiteX17544" y="connsiteY17544"/>
              </a:cxn>
              <a:cxn ang="0">
                <a:pos x="connsiteX17545" y="connsiteY17545"/>
              </a:cxn>
              <a:cxn ang="0">
                <a:pos x="connsiteX17546" y="connsiteY17546"/>
              </a:cxn>
              <a:cxn ang="0">
                <a:pos x="connsiteX17547" y="connsiteY17547"/>
              </a:cxn>
              <a:cxn ang="0">
                <a:pos x="connsiteX17548" y="connsiteY17548"/>
              </a:cxn>
              <a:cxn ang="0">
                <a:pos x="connsiteX17549" y="connsiteY17549"/>
              </a:cxn>
              <a:cxn ang="0">
                <a:pos x="connsiteX17550" y="connsiteY17550"/>
              </a:cxn>
              <a:cxn ang="0">
                <a:pos x="connsiteX17551" y="connsiteY17551"/>
              </a:cxn>
              <a:cxn ang="0">
                <a:pos x="connsiteX17552" y="connsiteY17552"/>
              </a:cxn>
              <a:cxn ang="0">
                <a:pos x="connsiteX17553" y="connsiteY17553"/>
              </a:cxn>
              <a:cxn ang="0">
                <a:pos x="connsiteX17554" y="connsiteY17554"/>
              </a:cxn>
              <a:cxn ang="0">
                <a:pos x="connsiteX17555" y="connsiteY17555"/>
              </a:cxn>
              <a:cxn ang="0">
                <a:pos x="connsiteX17556" y="connsiteY17556"/>
              </a:cxn>
              <a:cxn ang="0">
                <a:pos x="connsiteX17557" y="connsiteY17557"/>
              </a:cxn>
              <a:cxn ang="0">
                <a:pos x="connsiteX17558" y="connsiteY17558"/>
              </a:cxn>
              <a:cxn ang="0">
                <a:pos x="connsiteX17559" y="connsiteY17559"/>
              </a:cxn>
              <a:cxn ang="0">
                <a:pos x="connsiteX17560" y="connsiteY17560"/>
              </a:cxn>
              <a:cxn ang="0">
                <a:pos x="connsiteX17561" y="connsiteY17561"/>
              </a:cxn>
              <a:cxn ang="0">
                <a:pos x="connsiteX17562" y="connsiteY17562"/>
              </a:cxn>
              <a:cxn ang="0">
                <a:pos x="connsiteX17563" y="connsiteY17563"/>
              </a:cxn>
              <a:cxn ang="0">
                <a:pos x="connsiteX17564" y="connsiteY17564"/>
              </a:cxn>
              <a:cxn ang="0">
                <a:pos x="connsiteX17565" y="connsiteY17565"/>
              </a:cxn>
              <a:cxn ang="0">
                <a:pos x="connsiteX17566" y="connsiteY17566"/>
              </a:cxn>
              <a:cxn ang="0">
                <a:pos x="connsiteX17567" y="connsiteY17567"/>
              </a:cxn>
              <a:cxn ang="0">
                <a:pos x="connsiteX17568" y="connsiteY17568"/>
              </a:cxn>
              <a:cxn ang="0">
                <a:pos x="connsiteX17569" y="connsiteY17569"/>
              </a:cxn>
              <a:cxn ang="0">
                <a:pos x="connsiteX17570" y="connsiteY17570"/>
              </a:cxn>
              <a:cxn ang="0">
                <a:pos x="connsiteX17571" y="connsiteY17571"/>
              </a:cxn>
              <a:cxn ang="0">
                <a:pos x="connsiteX17572" y="connsiteY17572"/>
              </a:cxn>
              <a:cxn ang="0">
                <a:pos x="connsiteX17573" y="connsiteY17573"/>
              </a:cxn>
              <a:cxn ang="0">
                <a:pos x="connsiteX17574" y="connsiteY17574"/>
              </a:cxn>
              <a:cxn ang="0">
                <a:pos x="connsiteX17575" y="connsiteY17575"/>
              </a:cxn>
              <a:cxn ang="0">
                <a:pos x="connsiteX17576" y="connsiteY17576"/>
              </a:cxn>
              <a:cxn ang="0">
                <a:pos x="connsiteX17577" y="connsiteY17577"/>
              </a:cxn>
              <a:cxn ang="0">
                <a:pos x="connsiteX17578" y="connsiteY17578"/>
              </a:cxn>
              <a:cxn ang="0">
                <a:pos x="connsiteX17579" y="connsiteY17579"/>
              </a:cxn>
              <a:cxn ang="0">
                <a:pos x="connsiteX17580" y="connsiteY17580"/>
              </a:cxn>
              <a:cxn ang="0">
                <a:pos x="connsiteX17581" y="connsiteY17581"/>
              </a:cxn>
              <a:cxn ang="0">
                <a:pos x="connsiteX17582" y="connsiteY17582"/>
              </a:cxn>
              <a:cxn ang="0">
                <a:pos x="connsiteX17583" y="connsiteY17583"/>
              </a:cxn>
              <a:cxn ang="0">
                <a:pos x="connsiteX17584" y="connsiteY17584"/>
              </a:cxn>
              <a:cxn ang="0">
                <a:pos x="connsiteX17585" y="connsiteY17585"/>
              </a:cxn>
              <a:cxn ang="0">
                <a:pos x="connsiteX17586" y="connsiteY17586"/>
              </a:cxn>
              <a:cxn ang="0">
                <a:pos x="connsiteX17587" y="connsiteY17587"/>
              </a:cxn>
              <a:cxn ang="0">
                <a:pos x="connsiteX17588" y="connsiteY17588"/>
              </a:cxn>
              <a:cxn ang="0">
                <a:pos x="connsiteX17589" y="connsiteY17589"/>
              </a:cxn>
              <a:cxn ang="0">
                <a:pos x="connsiteX17590" y="connsiteY17590"/>
              </a:cxn>
              <a:cxn ang="0">
                <a:pos x="connsiteX17591" y="connsiteY17591"/>
              </a:cxn>
              <a:cxn ang="0">
                <a:pos x="connsiteX17592" y="connsiteY17592"/>
              </a:cxn>
              <a:cxn ang="0">
                <a:pos x="connsiteX17593" y="connsiteY17593"/>
              </a:cxn>
              <a:cxn ang="0">
                <a:pos x="connsiteX17594" y="connsiteY17594"/>
              </a:cxn>
              <a:cxn ang="0">
                <a:pos x="connsiteX17595" y="connsiteY17595"/>
              </a:cxn>
              <a:cxn ang="0">
                <a:pos x="connsiteX17596" y="connsiteY17596"/>
              </a:cxn>
              <a:cxn ang="0">
                <a:pos x="connsiteX17597" y="connsiteY17597"/>
              </a:cxn>
              <a:cxn ang="0">
                <a:pos x="connsiteX17598" y="connsiteY17598"/>
              </a:cxn>
              <a:cxn ang="0">
                <a:pos x="connsiteX17599" y="connsiteY17599"/>
              </a:cxn>
              <a:cxn ang="0">
                <a:pos x="connsiteX17600" y="connsiteY17600"/>
              </a:cxn>
              <a:cxn ang="0">
                <a:pos x="connsiteX17601" y="connsiteY17601"/>
              </a:cxn>
              <a:cxn ang="0">
                <a:pos x="connsiteX17602" y="connsiteY17602"/>
              </a:cxn>
              <a:cxn ang="0">
                <a:pos x="connsiteX17603" y="connsiteY17603"/>
              </a:cxn>
              <a:cxn ang="0">
                <a:pos x="connsiteX17604" y="connsiteY17604"/>
              </a:cxn>
              <a:cxn ang="0">
                <a:pos x="connsiteX17605" y="connsiteY17605"/>
              </a:cxn>
              <a:cxn ang="0">
                <a:pos x="connsiteX17606" y="connsiteY17606"/>
              </a:cxn>
              <a:cxn ang="0">
                <a:pos x="connsiteX17607" y="connsiteY17607"/>
              </a:cxn>
              <a:cxn ang="0">
                <a:pos x="connsiteX17608" y="connsiteY17608"/>
              </a:cxn>
              <a:cxn ang="0">
                <a:pos x="connsiteX17609" y="connsiteY17609"/>
              </a:cxn>
              <a:cxn ang="0">
                <a:pos x="connsiteX17610" y="connsiteY17610"/>
              </a:cxn>
              <a:cxn ang="0">
                <a:pos x="connsiteX17611" y="connsiteY17611"/>
              </a:cxn>
              <a:cxn ang="0">
                <a:pos x="connsiteX17612" y="connsiteY17612"/>
              </a:cxn>
              <a:cxn ang="0">
                <a:pos x="connsiteX17613" y="connsiteY17613"/>
              </a:cxn>
              <a:cxn ang="0">
                <a:pos x="connsiteX17614" y="connsiteY17614"/>
              </a:cxn>
              <a:cxn ang="0">
                <a:pos x="connsiteX17615" y="connsiteY17615"/>
              </a:cxn>
              <a:cxn ang="0">
                <a:pos x="connsiteX17616" y="connsiteY17616"/>
              </a:cxn>
              <a:cxn ang="0">
                <a:pos x="connsiteX17617" y="connsiteY17617"/>
              </a:cxn>
              <a:cxn ang="0">
                <a:pos x="connsiteX17618" y="connsiteY17618"/>
              </a:cxn>
              <a:cxn ang="0">
                <a:pos x="connsiteX17619" y="connsiteY17619"/>
              </a:cxn>
              <a:cxn ang="0">
                <a:pos x="connsiteX17620" y="connsiteY17620"/>
              </a:cxn>
              <a:cxn ang="0">
                <a:pos x="connsiteX17621" y="connsiteY17621"/>
              </a:cxn>
              <a:cxn ang="0">
                <a:pos x="connsiteX17622" y="connsiteY17622"/>
              </a:cxn>
              <a:cxn ang="0">
                <a:pos x="connsiteX17623" y="connsiteY17623"/>
              </a:cxn>
              <a:cxn ang="0">
                <a:pos x="connsiteX17624" y="connsiteY17624"/>
              </a:cxn>
              <a:cxn ang="0">
                <a:pos x="connsiteX17625" y="connsiteY17625"/>
              </a:cxn>
              <a:cxn ang="0">
                <a:pos x="connsiteX17626" y="connsiteY17626"/>
              </a:cxn>
              <a:cxn ang="0">
                <a:pos x="connsiteX17627" y="connsiteY17627"/>
              </a:cxn>
              <a:cxn ang="0">
                <a:pos x="connsiteX17628" y="connsiteY17628"/>
              </a:cxn>
              <a:cxn ang="0">
                <a:pos x="connsiteX17629" y="connsiteY17629"/>
              </a:cxn>
              <a:cxn ang="0">
                <a:pos x="connsiteX17630" y="connsiteY17630"/>
              </a:cxn>
              <a:cxn ang="0">
                <a:pos x="connsiteX17631" y="connsiteY17631"/>
              </a:cxn>
              <a:cxn ang="0">
                <a:pos x="connsiteX17632" y="connsiteY17632"/>
              </a:cxn>
              <a:cxn ang="0">
                <a:pos x="connsiteX17633" y="connsiteY17633"/>
              </a:cxn>
              <a:cxn ang="0">
                <a:pos x="connsiteX17634" y="connsiteY17634"/>
              </a:cxn>
              <a:cxn ang="0">
                <a:pos x="connsiteX17635" y="connsiteY17635"/>
              </a:cxn>
              <a:cxn ang="0">
                <a:pos x="connsiteX17636" y="connsiteY17636"/>
              </a:cxn>
              <a:cxn ang="0">
                <a:pos x="connsiteX17637" y="connsiteY17637"/>
              </a:cxn>
              <a:cxn ang="0">
                <a:pos x="connsiteX17638" y="connsiteY17638"/>
              </a:cxn>
              <a:cxn ang="0">
                <a:pos x="connsiteX17639" y="connsiteY17639"/>
              </a:cxn>
              <a:cxn ang="0">
                <a:pos x="connsiteX17640" y="connsiteY17640"/>
              </a:cxn>
              <a:cxn ang="0">
                <a:pos x="connsiteX17641" y="connsiteY17641"/>
              </a:cxn>
              <a:cxn ang="0">
                <a:pos x="connsiteX17642" y="connsiteY17642"/>
              </a:cxn>
              <a:cxn ang="0">
                <a:pos x="connsiteX17643" y="connsiteY17643"/>
              </a:cxn>
              <a:cxn ang="0">
                <a:pos x="connsiteX17644" y="connsiteY17644"/>
              </a:cxn>
              <a:cxn ang="0">
                <a:pos x="connsiteX17645" y="connsiteY17645"/>
              </a:cxn>
              <a:cxn ang="0">
                <a:pos x="connsiteX17646" y="connsiteY17646"/>
              </a:cxn>
              <a:cxn ang="0">
                <a:pos x="connsiteX17647" y="connsiteY17647"/>
              </a:cxn>
              <a:cxn ang="0">
                <a:pos x="connsiteX17648" y="connsiteY17648"/>
              </a:cxn>
              <a:cxn ang="0">
                <a:pos x="connsiteX17649" y="connsiteY17649"/>
              </a:cxn>
              <a:cxn ang="0">
                <a:pos x="connsiteX17650" y="connsiteY17650"/>
              </a:cxn>
              <a:cxn ang="0">
                <a:pos x="connsiteX17651" y="connsiteY17651"/>
              </a:cxn>
              <a:cxn ang="0">
                <a:pos x="connsiteX17652" y="connsiteY17652"/>
              </a:cxn>
              <a:cxn ang="0">
                <a:pos x="connsiteX17653" y="connsiteY17653"/>
              </a:cxn>
              <a:cxn ang="0">
                <a:pos x="connsiteX17654" y="connsiteY17654"/>
              </a:cxn>
              <a:cxn ang="0">
                <a:pos x="connsiteX17655" y="connsiteY17655"/>
              </a:cxn>
              <a:cxn ang="0">
                <a:pos x="connsiteX17656" y="connsiteY17656"/>
              </a:cxn>
              <a:cxn ang="0">
                <a:pos x="connsiteX17657" y="connsiteY17657"/>
              </a:cxn>
              <a:cxn ang="0">
                <a:pos x="connsiteX17658" y="connsiteY17658"/>
              </a:cxn>
              <a:cxn ang="0">
                <a:pos x="connsiteX17659" y="connsiteY17659"/>
              </a:cxn>
              <a:cxn ang="0">
                <a:pos x="connsiteX17660" y="connsiteY17660"/>
              </a:cxn>
              <a:cxn ang="0">
                <a:pos x="connsiteX17661" y="connsiteY17661"/>
              </a:cxn>
              <a:cxn ang="0">
                <a:pos x="connsiteX17662" y="connsiteY17662"/>
              </a:cxn>
              <a:cxn ang="0">
                <a:pos x="connsiteX17663" y="connsiteY17663"/>
              </a:cxn>
              <a:cxn ang="0">
                <a:pos x="connsiteX17664" y="connsiteY17664"/>
              </a:cxn>
              <a:cxn ang="0">
                <a:pos x="connsiteX17665" y="connsiteY17665"/>
              </a:cxn>
              <a:cxn ang="0">
                <a:pos x="connsiteX17666" y="connsiteY17666"/>
              </a:cxn>
              <a:cxn ang="0">
                <a:pos x="connsiteX17667" y="connsiteY17667"/>
              </a:cxn>
              <a:cxn ang="0">
                <a:pos x="connsiteX17668" y="connsiteY17668"/>
              </a:cxn>
              <a:cxn ang="0">
                <a:pos x="connsiteX17669" y="connsiteY17669"/>
              </a:cxn>
              <a:cxn ang="0">
                <a:pos x="connsiteX17670" y="connsiteY17670"/>
              </a:cxn>
              <a:cxn ang="0">
                <a:pos x="connsiteX17671" y="connsiteY17671"/>
              </a:cxn>
              <a:cxn ang="0">
                <a:pos x="connsiteX17672" y="connsiteY17672"/>
              </a:cxn>
              <a:cxn ang="0">
                <a:pos x="connsiteX17673" y="connsiteY17673"/>
              </a:cxn>
              <a:cxn ang="0">
                <a:pos x="connsiteX17674" y="connsiteY17674"/>
              </a:cxn>
              <a:cxn ang="0">
                <a:pos x="connsiteX17675" y="connsiteY17675"/>
              </a:cxn>
              <a:cxn ang="0">
                <a:pos x="connsiteX17676" y="connsiteY17676"/>
              </a:cxn>
              <a:cxn ang="0">
                <a:pos x="connsiteX17677" y="connsiteY17677"/>
              </a:cxn>
              <a:cxn ang="0">
                <a:pos x="connsiteX17678" y="connsiteY17678"/>
              </a:cxn>
              <a:cxn ang="0">
                <a:pos x="connsiteX17679" y="connsiteY17679"/>
              </a:cxn>
              <a:cxn ang="0">
                <a:pos x="connsiteX17680" y="connsiteY17680"/>
              </a:cxn>
              <a:cxn ang="0">
                <a:pos x="connsiteX17681" y="connsiteY17681"/>
              </a:cxn>
              <a:cxn ang="0">
                <a:pos x="connsiteX17682" y="connsiteY17682"/>
              </a:cxn>
              <a:cxn ang="0">
                <a:pos x="connsiteX17683" y="connsiteY17683"/>
              </a:cxn>
              <a:cxn ang="0">
                <a:pos x="connsiteX17684" y="connsiteY17684"/>
              </a:cxn>
              <a:cxn ang="0">
                <a:pos x="connsiteX17685" y="connsiteY17685"/>
              </a:cxn>
              <a:cxn ang="0">
                <a:pos x="connsiteX17686" y="connsiteY17686"/>
              </a:cxn>
              <a:cxn ang="0">
                <a:pos x="connsiteX17687" y="connsiteY17687"/>
              </a:cxn>
              <a:cxn ang="0">
                <a:pos x="connsiteX17688" y="connsiteY17688"/>
              </a:cxn>
              <a:cxn ang="0">
                <a:pos x="connsiteX17689" y="connsiteY17689"/>
              </a:cxn>
              <a:cxn ang="0">
                <a:pos x="connsiteX17690" y="connsiteY17690"/>
              </a:cxn>
              <a:cxn ang="0">
                <a:pos x="connsiteX17691" y="connsiteY17691"/>
              </a:cxn>
              <a:cxn ang="0">
                <a:pos x="connsiteX17692" y="connsiteY17692"/>
              </a:cxn>
              <a:cxn ang="0">
                <a:pos x="connsiteX17693" y="connsiteY17693"/>
              </a:cxn>
              <a:cxn ang="0">
                <a:pos x="connsiteX17694" y="connsiteY17694"/>
              </a:cxn>
              <a:cxn ang="0">
                <a:pos x="connsiteX17695" y="connsiteY17695"/>
              </a:cxn>
              <a:cxn ang="0">
                <a:pos x="connsiteX17696" y="connsiteY17696"/>
              </a:cxn>
              <a:cxn ang="0">
                <a:pos x="connsiteX17697" y="connsiteY17697"/>
              </a:cxn>
              <a:cxn ang="0">
                <a:pos x="connsiteX17698" y="connsiteY17698"/>
              </a:cxn>
              <a:cxn ang="0">
                <a:pos x="connsiteX17699" y="connsiteY17699"/>
              </a:cxn>
              <a:cxn ang="0">
                <a:pos x="connsiteX17700" y="connsiteY17700"/>
              </a:cxn>
              <a:cxn ang="0">
                <a:pos x="connsiteX17701" y="connsiteY17701"/>
              </a:cxn>
              <a:cxn ang="0">
                <a:pos x="connsiteX17702" y="connsiteY17702"/>
              </a:cxn>
              <a:cxn ang="0">
                <a:pos x="connsiteX17703" y="connsiteY17703"/>
              </a:cxn>
              <a:cxn ang="0">
                <a:pos x="connsiteX17704" y="connsiteY17704"/>
              </a:cxn>
              <a:cxn ang="0">
                <a:pos x="connsiteX17705" y="connsiteY17705"/>
              </a:cxn>
              <a:cxn ang="0">
                <a:pos x="connsiteX17706" y="connsiteY17706"/>
              </a:cxn>
              <a:cxn ang="0">
                <a:pos x="connsiteX17707" y="connsiteY17707"/>
              </a:cxn>
              <a:cxn ang="0">
                <a:pos x="connsiteX17708" y="connsiteY17708"/>
              </a:cxn>
              <a:cxn ang="0">
                <a:pos x="connsiteX17709" y="connsiteY17709"/>
              </a:cxn>
              <a:cxn ang="0">
                <a:pos x="connsiteX17710" y="connsiteY17710"/>
              </a:cxn>
              <a:cxn ang="0">
                <a:pos x="connsiteX17711" y="connsiteY17711"/>
              </a:cxn>
              <a:cxn ang="0">
                <a:pos x="connsiteX17712" y="connsiteY17712"/>
              </a:cxn>
              <a:cxn ang="0">
                <a:pos x="connsiteX17713" y="connsiteY17713"/>
              </a:cxn>
              <a:cxn ang="0">
                <a:pos x="connsiteX17714" y="connsiteY17714"/>
              </a:cxn>
              <a:cxn ang="0">
                <a:pos x="connsiteX17715" y="connsiteY17715"/>
              </a:cxn>
              <a:cxn ang="0">
                <a:pos x="connsiteX17716" y="connsiteY17716"/>
              </a:cxn>
              <a:cxn ang="0">
                <a:pos x="connsiteX17717" y="connsiteY17717"/>
              </a:cxn>
              <a:cxn ang="0">
                <a:pos x="connsiteX17718" y="connsiteY17718"/>
              </a:cxn>
              <a:cxn ang="0">
                <a:pos x="connsiteX17719" y="connsiteY17719"/>
              </a:cxn>
              <a:cxn ang="0">
                <a:pos x="connsiteX17720" y="connsiteY17720"/>
              </a:cxn>
              <a:cxn ang="0">
                <a:pos x="connsiteX17721" y="connsiteY17721"/>
              </a:cxn>
              <a:cxn ang="0">
                <a:pos x="connsiteX17722" y="connsiteY17722"/>
              </a:cxn>
              <a:cxn ang="0">
                <a:pos x="connsiteX17723" y="connsiteY17723"/>
              </a:cxn>
              <a:cxn ang="0">
                <a:pos x="connsiteX17724" y="connsiteY17724"/>
              </a:cxn>
              <a:cxn ang="0">
                <a:pos x="connsiteX17725" y="connsiteY17725"/>
              </a:cxn>
              <a:cxn ang="0">
                <a:pos x="connsiteX17726" y="connsiteY17726"/>
              </a:cxn>
              <a:cxn ang="0">
                <a:pos x="connsiteX17727" y="connsiteY17727"/>
              </a:cxn>
              <a:cxn ang="0">
                <a:pos x="connsiteX17728" y="connsiteY17728"/>
              </a:cxn>
              <a:cxn ang="0">
                <a:pos x="connsiteX17729" y="connsiteY17729"/>
              </a:cxn>
              <a:cxn ang="0">
                <a:pos x="connsiteX17730" y="connsiteY17730"/>
              </a:cxn>
              <a:cxn ang="0">
                <a:pos x="connsiteX17731" y="connsiteY17731"/>
              </a:cxn>
              <a:cxn ang="0">
                <a:pos x="connsiteX17732" y="connsiteY17732"/>
              </a:cxn>
              <a:cxn ang="0">
                <a:pos x="connsiteX17733" y="connsiteY17733"/>
              </a:cxn>
              <a:cxn ang="0">
                <a:pos x="connsiteX17734" y="connsiteY17734"/>
              </a:cxn>
              <a:cxn ang="0">
                <a:pos x="connsiteX17735" y="connsiteY17735"/>
              </a:cxn>
              <a:cxn ang="0">
                <a:pos x="connsiteX17736" y="connsiteY17736"/>
              </a:cxn>
              <a:cxn ang="0">
                <a:pos x="connsiteX17737" y="connsiteY17737"/>
              </a:cxn>
              <a:cxn ang="0">
                <a:pos x="connsiteX17738" y="connsiteY17738"/>
              </a:cxn>
              <a:cxn ang="0">
                <a:pos x="connsiteX17739" y="connsiteY17739"/>
              </a:cxn>
              <a:cxn ang="0">
                <a:pos x="connsiteX17740" y="connsiteY17740"/>
              </a:cxn>
              <a:cxn ang="0">
                <a:pos x="connsiteX17741" y="connsiteY17741"/>
              </a:cxn>
              <a:cxn ang="0">
                <a:pos x="connsiteX17742" y="connsiteY17742"/>
              </a:cxn>
              <a:cxn ang="0">
                <a:pos x="connsiteX17743" y="connsiteY17743"/>
              </a:cxn>
              <a:cxn ang="0">
                <a:pos x="connsiteX17744" y="connsiteY17744"/>
              </a:cxn>
              <a:cxn ang="0">
                <a:pos x="connsiteX17745" y="connsiteY17745"/>
              </a:cxn>
              <a:cxn ang="0">
                <a:pos x="connsiteX17746" y="connsiteY17746"/>
              </a:cxn>
              <a:cxn ang="0">
                <a:pos x="connsiteX17747" y="connsiteY17747"/>
              </a:cxn>
              <a:cxn ang="0">
                <a:pos x="connsiteX17748" y="connsiteY17748"/>
              </a:cxn>
              <a:cxn ang="0">
                <a:pos x="connsiteX17749" y="connsiteY17749"/>
              </a:cxn>
              <a:cxn ang="0">
                <a:pos x="connsiteX17750" y="connsiteY17750"/>
              </a:cxn>
              <a:cxn ang="0">
                <a:pos x="connsiteX17751" y="connsiteY17751"/>
              </a:cxn>
              <a:cxn ang="0">
                <a:pos x="connsiteX17752" y="connsiteY17752"/>
              </a:cxn>
              <a:cxn ang="0">
                <a:pos x="connsiteX17753" y="connsiteY17753"/>
              </a:cxn>
              <a:cxn ang="0">
                <a:pos x="connsiteX17754" y="connsiteY17754"/>
              </a:cxn>
              <a:cxn ang="0">
                <a:pos x="connsiteX17755" y="connsiteY17755"/>
              </a:cxn>
              <a:cxn ang="0">
                <a:pos x="connsiteX17756" y="connsiteY17756"/>
              </a:cxn>
              <a:cxn ang="0">
                <a:pos x="connsiteX17757" y="connsiteY17757"/>
              </a:cxn>
              <a:cxn ang="0">
                <a:pos x="connsiteX17758" y="connsiteY17758"/>
              </a:cxn>
              <a:cxn ang="0">
                <a:pos x="connsiteX17759" y="connsiteY17759"/>
              </a:cxn>
              <a:cxn ang="0">
                <a:pos x="connsiteX17760" y="connsiteY17760"/>
              </a:cxn>
              <a:cxn ang="0">
                <a:pos x="connsiteX17761" y="connsiteY17761"/>
              </a:cxn>
              <a:cxn ang="0">
                <a:pos x="connsiteX17762" y="connsiteY17762"/>
              </a:cxn>
              <a:cxn ang="0">
                <a:pos x="connsiteX17763" y="connsiteY17763"/>
              </a:cxn>
              <a:cxn ang="0">
                <a:pos x="connsiteX17764" y="connsiteY17764"/>
              </a:cxn>
              <a:cxn ang="0">
                <a:pos x="connsiteX17765" y="connsiteY17765"/>
              </a:cxn>
              <a:cxn ang="0">
                <a:pos x="connsiteX17766" y="connsiteY17766"/>
              </a:cxn>
              <a:cxn ang="0">
                <a:pos x="connsiteX17767" y="connsiteY17767"/>
              </a:cxn>
              <a:cxn ang="0">
                <a:pos x="connsiteX17768" y="connsiteY17768"/>
              </a:cxn>
              <a:cxn ang="0">
                <a:pos x="connsiteX17769" y="connsiteY17769"/>
              </a:cxn>
              <a:cxn ang="0">
                <a:pos x="connsiteX17770" y="connsiteY17770"/>
              </a:cxn>
              <a:cxn ang="0">
                <a:pos x="connsiteX17771" y="connsiteY17771"/>
              </a:cxn>
              <a:cxn ang="0">
                <a:pos x="connsiteX17772" y="connsiteY17772"/>
              </a:cxn>
              <a:cxn ang="0">
                <a:pos x="connsiteX17773" y="connsiteY17773"/>
              </a:cxn>
              <a:cxn ang="0">
                <a:pos x="connsiteX17774" y="connsiteY17774"/>
              </a:cxn>
              <a:cxn ang="0">
                <a:pos x="connsiteX17775" y="connsiteY17775"/>
              </a:cxn>
              <a:cxn ang="0">
                <a:pos x="connsiteX17776" y="connsiteY17776"/>
              </a:cxn>
              <a:cxn ang="0">
                <a:pos x="connsiteX17777" y="connsiteY17777"/>
              </a:cxn>
              <a:cxn ang="0">
                <a:pos x="connsiteX17778" y="connsiteY17778"/>
              </a:cxn>
              <a:cxn ang="0">
                <a:pos x="connsiteX17779" y="connsiteY17779"/>
              </a:cxn>
              <a:cxn ang="0">
                <a:pos x="connsiteX17780" y="connsiteY17780"/>
              </a:cxn>
              <a:cxn ang="0">
                <a:pos x="connsiteX17781" y="connsiteY17781"/>
              </a:cxn>
              <a:cxn ang="0">
                <a:pos x="connsiteX17782" y="connsiteY17782"/>
              </a:cxn>
              <a:cxn ang="0">
                <a:pos x="connsiteX17783" y="connsiteY17783"/>
              </a:cxn>
              <a:cxn ang="0">
                <a:pos x="connsiteX17784" y="connsiteY17784"/>
              </a:cxn>
              <a:cxn ang="0">
                <a:pos x="connsiteX17785" y="connsiteY17785"/>
              </a:cxn>
              <a:cxn ang="0">
                <a:pos x="connsiteX17786" y="connsiteY17786"/>
              </a:cxn>
              <a:cxn ang="0">
                <a:pos x="connsiteX17787" y="connsiteY17787"/>
              </a:cxn>
              <a:cxn ang="0">
                <a:pos x="connsiteX17788" y="connsiteY17788"/>
              </a:cxn>
              <a:cxn ang="0">
                <a:pos x="connsiteX17789" y="connsiteY17789"/>
              </a:cxn>
              <a:cxn ang="0">
                <a:pos x="connsiteX17790" y="connsiteY17790"/>
              </a:cxn>
              <a:cxn ang="0">
                <a:pos x="connsiteX17791" y="connsiteY17791"/>
              </a:cxn>
              <a:cxn ang="0">
                <a:pos x="connsiteX17792" y="connsiteY17792"/>
              </a:cxn>
              <a:cxn ang="0">
                <a:pos x="connsiteX17793" y="connsiteY17793"/>
              </a:cxn>
              <a:cxn ang="0">
                <a:pos x="connsiteX17794" y="connsiteY17794"/>
              </a:cxn>
              <a:cxn ang="0">
                <a:pos x="connsiteX17795" y="connsiteY17795"/>
              </a:cxn>
              <a:cxn ang="0">
                <a:pos x="connsiteX17796" y="connsiteY17796"/>
              </a:cxn>
              <a:cxn ang="0">
                <a:pos x="connsiteX17797" y="connsiteY17797"/>
              </a:cxn>
              <a:cxn ang="0">
                <a:pos x="connsiteX17798" y="connsiteY17798"/>
              </a:cxn>
              <a:cxn ang="0">
                <a:pos x="connsiteX17799" y="connsiteY17799"/>
              </a:cxn>
              <a:cxn ang="0">
                <a:pos x="connsiteX17800" y="connsiteY17800"/>
              </a:cxn>
              <a:cxn ang="0">
                <a:pos x="connsiteX17801" y="connsiteY17801"/>
              </a:cxn>
              <a:cxn ang="0">
                <a:pos x="connsiteX17802" y="connsiteY17802"/>
              </a:cxn>
              <a:cxn ang="0">
                <a:pos x="connsiteX17803" y="connsiteY17803"/>
              </a:cxn>
              <a:cxn ang="0">
                <a:pos x="connsiteX17804" y="connsiteY17804"/>
              </a:cxn>
              <a:cxn ang="0">
                <a:pos x="connsiteX17805" y="connsiteY17805"/>
              </a:cxn>
              <a:cxn ang="0">
                <a:pos x="connsiteX17806" y="connsiteY17806"/>
              </a:cxn>
              <a:cxn ang="0">
                <a:pos x="connsiteX17807" y="connsiteY17807"/>
              </a:cxn>
              <a:cxn ang="0">
                <a:pos x="connsiteX17808" y="connsiteY17808"/>
              </a:cxn>
              <a:cxn ang="0">
                <a:pos x="connsiteX17809" y="connsiteY17809"/>
              </a:cxn>
              <a:cxn ang="0">
                <a:pos x="connsiteX17810" y="connsiteY17810"/>
              </a:cxn>
              <a:cxn ang="0">
                <a:pos x="connsiteX17811" y="connsiteY17811"/>
              </a:cxn>
              <a:cxn ang="0">
                <a:pos x="connsiteX17812" y="connsiteY17812"/>
              </a:cxn>
              <a:cxn ang="0">
                <a:pos x="connsiteX17813" y="connsiteY17813"/>
              </a:cxn>
              <a:cxn ang="0">
                <a:pos x="connsiteX17814" y="connsiteY17814"/>
              </a:cxn>
              <a:cxn ang="0">
                <a:pos x="connsiteX17815" y="connsiteY17815"/>
              </a:cxn>
              <a:cxn ang="0">
                <a:pos x="connsiteX17816" y="connsiteY17816"/>
              </a:cxn>
              <a:cxn ang="0">
                <a:pos x="connsiteX17817" y="connsiteY17817"/>
              </a:cxn>
              <a:cxn ang="0">
                <a:pos x="connsiteX17818" y="connsiteY17818"/>
              </a:cxn>
              <a:cxn ang="0">
                <a:pos x="connsiteX17819" y="connsiteY17819"/>
              </a:cxn>
              <a:cxn ang="0">
                <a:pos x="connsiteX17820" y="connsiteY17820"/>
              </a:cxn>
              <a:cxn ang="0">
                <a:pos x="connsiteX17821" y="connsiteY17821"/>
              </a:cxn>
              <a:cxn ang="0">
                <a:pos x="connsiteX17822" y="connsiteY17822"/>
              </a:cxn>
              <a:cxn ang="0">
                <a:pos x="connsiteX17823" y="connsiteY17823"/>
              </a:cxn>
              <a:cxn ang="0">
                <a:pos x="connsiteX17824" y="connsiteY17824"/>
              </a:cxn>
              <a:cxn ang="0">
                <a:pos x="connsiteX17825" y="connsiteY17825"/>
              </a:cxn>
              <a:cxn ang="0">
                <a:pos x="connsiteX17826" y="connsiteY17826"/>
              </a:cxn>
              <a:cxn ang="0">
                <a:pos x="connsiteX17827" y="connsiteY17827"/>
              </a:cxn>
              <a:cxn ang="0">
                <a:pos x="connsiteX17828" y="connsiteY17828"/>
              </a:cxn>
              <a:cxn ang="0">
                <a:pos x="connsiteX17829" y="connsiteY17829"/>
              </a:cxn>
              <a:cxn ang="0">
                <a:pos x="connsiteX17830" y="connsiteY17830"/>
              </a:cxn>
              <a:cxn ang="0">
                <a:pos x="connsiteX17831" y="connsiteY17831"/>
              </a:cxn>
              <a:cxn ang="0">
                <a:pos x="connsiteX17832" y="connsiteY17832"/>
              </a:cxn>
              <a:cxn ang="0">
                <a:pos x="connsiteX17833" y="connsiteY17833"/>
              </a:cxn>
              <a:cxn ang="0">
                <a:pos x="connsiteX17834" y="connsiteY17834"/>
              </a:cxn>
              <a:cxn ang="0">
                <a:pos x="connsiteX17835" y="connsiteY17835"/>
              </a:cxn>
              <a:cxn ang="0">
                <a:pos x="connsiteX17836" y="connsiteY17836"/>
              </a:cxn>
              <a:cxn ang="0">
                <a:pos x="connsiteX17837" y="connsiteY17837"/>
              </a:cxn>
              <a:cxn ang="0">
                <a:pos x="connsiteX17838" y="connsiteY17838"/>
              </a:cxn>
              <a:cxn ang="0">
                <a:pos x="connsiteX17839" y="connsiteY17839"/>
              </a:cxn>
              <a:cxn ang="0">
                <a:pos x="connsiteX17840" y="connsiteY17840"/>
              </a:cxn>
              <a:cxn ang="0">
                <a:pos x="connsiteX17841" y="connsiteY17841"/>
              </a:cxn>
              <a:cxn ang="0">
                <a:pos x="connsiteX17842" y="connsiteY17842"/>
              </a:cxn>
              <a:cxn ang="0">
                <a:pos x="connsiteX17843" y="connsiteY17843"/>
              </a:cxn>
              <a:cxn ang="0">
                <a:pos x="connsiteX17844" y="connsiteY17844"/>
              </a:cxn>
              <a:cxn ang="0">
                <a:pos x="connsiteX17845" y="connsiteY17845"/>
              </a:cxn>
              <a:cxn ang="0">
                <a:pos x="connsiteX17846" y="connsiteY17846"/>
              </a:cxn>
              <a:cxn ang="0">
                <a:pos x="connsiteX17847" y="connsiteY17847"/>
              </a:cxn>
              <a:cxn ang="0">
                <a:pos x="connsiteX17848" y="connsiteY17848"/>
              </a:cxn>
              <a:cxn ang="0">
                <a:pos x="connsiteX17849" y="connsiteY17849"/>
              </a:cxn>
              <a:cxn ang="0">
                <a:pos x="connsiteX17850" y="connsiteY17850"/>
              </a:cxn>
              <a:cxn ang="0">
                <a:pos x="connsiteX17851" y="connsiteY17851"/>
              </a:cxn>
              <a:cxn ang="0">
                <a:pos x="connsiteX17852" y="connsiteY17852"/>
              </a:cxn>
              <a:cxn ang="0">
                <a:pos x="connsiteX17853" y="connsiteY17853"/>
              </a:cxn>
              <a:cxn ang="0">
                <a:pos x="connsiteX17854" y="connsiteY17854"/>
              </a:cxn>
              <a:cxn ang="0">
                <a:pos x="connsiteX17855" y="connsiteY17855"/>
              </a:cxn>
              <a:cxn ang="0">
                <a:pos x="connsiteX17856" y="connsiteY17856"/>
              </a:cxn>
              <a:cxn ang="0">
                <a:pos x="connsiteX17857" y="connsiteY17857"/>
              </a:cxn>
              <a:cxn ang="0">
                <a:pos x="connsiteX17858" y="connsiteY17858"/>
              </a:cxn>
              <a:cxn ang="0">
                <a:pos x="connsiteX17859" y="connsiteY17859"/>
              </a:cxn>
              <a:cxn ang="0">
                <a:pos x="connsiteX17860" y="connsiteY17860"/>
              </a:cxn>
              <a:cxn ang="0">
                <a:pos x="connsiteX17861" y="connsiteY17861"/>
              </a:cxn>
              <a:cxn ang="0">
                <a:pos x="connsiteX17862" y="connsiteY17862"/>
              </a:cxn>
              <a:cxn ang="0">
                <a:pos x="connsiteX17863" y="connsiteY17863"/>
              </a:cxn>
              <a:cxn ang="0">
                <a:pos x="connsiteX17864" y="connsiteY17864"/>
              </a:cxn>
              <a:cxn ang="0">
                <a:pos x="connsiteX17865" y="connsiteY17865"/>
              </a:cxn>
              <a:cxn ang="0">
                <a:pos x="connsiteX17866" y="connsiteY17866"/>
              </a:cxn>
              <a:cxn ang="0">
                <a:pos x="connsiteX17867" y="connsiteY17867"/>
              </a:cxn>
              <a:cxn ang="0">
                <a:pos x="connsiteX17868" y="connsiteY17868"/>
              </a:cxn>
              <a:cxn ang="0">
                <a:pos x="connsiteX17869" y="connsiteY17869"/>
              </a:cxn>
              <a:cxn ang="0">
                <a:pos x="connsiteX17870" y="connsiteY17870"/>
              </a:cxn>
              <a:cxn ang="0">
                <a:pos x="connsiteX17871" y="connsiteY17871"/>
              </a:cxn>
              <a:cxn ang="0">
                <a:pos x="connsiteX17872" y="connsiteY17872"/>
              </a:cxn>
              <a:cxn ang="0">
                <a:pos x="connsiteX17873" y="connsiteY17873"/>
              </a:cxn>
              <a:cxn ang="0">
                <a:pos x="connsiteX17874" y="connsiteY17874"/>
              </a:cxn>
              <a:cxn ang="0">
                <a:pos x="connsiteX17875" y="connsiteY17875"/>
              </a:cxn>
              <a:cxn ang="0">
                <a:pos x="connsiteX17876" y="connsiteY17876"/>
              </a:cxn>
              <a:cxn ang="0">
                <a:pos x="connsiteX17877" y="connsiteY17877"/>
              </a:cxn>
              <a:cxn ang="0">
                <a:pos x="connsiteX17878" y="connsiteY17878"/>
              </a:cxn>
              <a:cxn ang="0">
                <a:pos x="connsiteX17879" y="connsiteY17879"/>
              </a:cxn>
              <a:cxn ang="0">
                <a:pos x="connsiteX17880" y="connsiteY17880"/>
              </a:cxn>
              <a:cxn ang="0">
                <a:pos x="connsiteX17881" y="connsiteY17881"/>
              </a:cxn>
              <a:cxn ang="0">
                <a:pos x="connsiteX17882" y="connsiteY17882"/>
              </a:cxn>
              <a:cxn ang="0">
                <a:pos x="connsiteX17883" y="connsiteY17883"/>
              </a:cxn>
              <a:cxn ang="0">
                <a:pos x="connsiteX17884" y="connsiteY17884"/>
              </a:cxn>
              <a:cxn ang="0">
                <a:pos x="connsiteX17885" y="connsiteY17885"/>
              </a:cxn>
              <a:cxn ang="0">
                <a:pos x="connsiteX17886" y="connsiteY17886"/>
              </a:cxn>
              <a:cxn ang="0">
                <a:pos x="connsiteX17887" y="connsiteY17887"/>
              </a:cxn>
              <a:cxn ang="0">
                <a:pos x="connsiteX17888" y="connsiteY17888"/>
              </a:cxn>
              <a:cxn ang="0">
                <a:pos x="connsiteX17889" y="connsiteY17889"/>
              </a:cxn>
              <a:cxn ang="0">
                <a:pos x="connsiteX17890" y="connsiteY17890"/>
              </a:cxn>
              <a:cxn ang="0">
                <a:pos x="connsiteX17891" y="connsiteY17891"/>
              </a:cxn>
              <a:cxn ang="0">
                <a:pos x="connsiteX17892" y="connsiteY17892"/>
              </a:cxn>
              <a:cxn ang="0">
                <a:pos x="connsiteX17893" y="connsiteY17893"/>
              </a:cxn>
              <a:cxn ang="0">
                <a:pos x="connsiteX17894" y="connsiteY17894"/>
              </a:cxn>
              <a:cxn ang="0">
                <a:pos x="connsiteX17895" y="connsiteY17895"/>
              </a:cxn>
              <a:cxn ang="0">
                <a:pos x="connsiteX17896" y="connsiteY17896"/>
              </a:cxn>
              <a:cxn ang="0">
                <a:pos x="connsiteX17897" y="connsiteY17897"/>
              </a:cxn>
              <a:cxn ang="0">
                <a:pos x="connsiteX17898" y="connsiteY17898"/>
              </a:cxn>
              <a:cxn ang="0">
                <a:pos x="connsiteX17899" y="connsiteY17899"/>
              </a:cxn>
              <a:cxn ang="0">
                <a:pos x="connsiteX17900" y="connsiteY17900"/>
              </a:cxn>
              <a:cxn ang="0">
                <a:pos x="connsiteX17901" y="connsiteY17901"/>
              </a:cxn>
              <a:cxn ang="0">
                <a:pos x="connsiteX17902" y="connsiteY17902"/>
              </a:cxn>
              <a:cxn ang="0">
                <a:pos x="connsiteX17903" y="connsiteY17903"/>
              </a:cxn>
              <a:cxn ang="0">
                <a:pos x="connsiteX17904" y="connsiteY17904"/>
              </a:cxn>
              <a:cxn ang="0">
                <a:pos x="connsiteX17905" y="connsiteY17905"/>
              </a:cxn>
              <a:cxn ang="0">
                <a:pos x="connsiteX17906" y="connsiteY17906"/>
              </a:cxn>
              <a:cxn ang="0">
                <a:pos x="connsiteX17907" y="connsiteY17907"/>
              </a:cxn>
              <a:cxn ang="0">
                <a:pos x="connsiteX17908" y="connsiteY17908"/>
              </a:cxn>
              <a:cxn ang="0">
                <a:pos x="connsiteX17909" y="connsiteY17909"/>
              </a:cxn>
              <a:cxn ang="0">
                <a:pos x="connsiteX17910" y="connsiteY17910"/>
              </a:cxn>
              <a:cxn ang="0">
                <a:pos x="connsiteX17911" y="connsiteY17911"/>
              </a:cxn>
              <a:cxn ang="0">
                <a:pos x="connsiteX17912" y="connsiteY17912"/>
              </a:cxn>
              <a:cxn ang="0">
                <a:pos x="connsiteX17913" y="connsiteY17913"/>
              </a:cxn>
              <a:cxn ang="0">
                <a:pos x="connsiteX17914" y="connsiteY17914"/>
              </a:cxn>
              <a:cxn ang="0">
                <a:pos x="connsiteX17915" y="connsiteY17915"/>
              </a:cxn>
              <a:cxn ang="0">
                <a:pos x="connsiteX17916" y="connsiteY17916"/>
              </a:cxn>
              <a:cxn ang="0">
                <a:pos x="connsiteX17917" y="connsiteY17917"/>
              </a:cxn>
              <a:cxn ang="0">
                <a:pos x="connsiteX17918" y="connsiteY17918"/>
              </a:cxn>
              <a:cxn ang="0">
                <a:pos x="connsiteX17919" y="connsiteY17919"/>
              </a:cxn>
              <a:cxn ang="0">
                <a:pos x="connsiteX17920" y="connsiteY17920"/>
              </a:cxn>
              <a:cxn ang="0">
                <a:pos x="connsiteX17921" y="connsiteY17921"/>
              </a:cxn>
              <a:cxn ang="0">
                <a:pos x="connsiteX17922" y="connsiteY17922"/>
              </a:cxn>
              <a:cxn ang="0">
                <a:pos x="connsiteX17923" y="connsiteY17923"/>
              </a:cxn>
              <a:cxn ang="0">
                <a:pos x="connsiteX17924" y="connsiteY17924"/>
              </a:cxn>
              <a:cxn ang="0">
                <a:pos x="connsiteX17925" y="connsiteY17925"/>
              </a:cxn>
              <a:cxn ang="0">
                <a:pos x="connsiteX17926" y="connsiteY17926"/>
              </a:cxn>
              <a:cxn ang="0">
                <a:pos x="connsiteX17927" y="connsiteY17927"/>
              </a:cxn>
              <a:cxn ang="0">
                <a:pos x="connsiteX17928" y="connsiteY17928"/>
              </a:cxn>
              <a:cxn ang="0">
                <a:pos x="connsiteX17929" y="connsiteY17929"/>
              </a:cxn>
              <a:cxn ang="0">
                <a:pos x="connsiteX17930" y="connsiteY17930"/>
              </a:cxn>
              <a:cxn ang="0">
                <a:pos x="connsiteX17931" y="connsiteY17931"/>
              </a:cxn>
              <a:cxn ang="0">
                <a:pos x="connsiteX17932" y="connsiteY17932"/>
              </a:cxn>
              <a:cxn ang="0">
                <a:pos x="connsiteX17933" y="connsiteY17933"/>
              </a:cxn>
              <a:cxn ang="0">
                <a:pos x="connsiteX17934" y="connsiteY17934"/>
              </a:cxn>
              <a:cxn ang="0">
                <a:pos x="connsiteX17935" y="connsiteY17935"/>
              </a:cxn>
              <a:cxn ang="0">
                <a:pos x="connsiteX17936" y="connsiteY17936"/>
              </a:cxn>
              <a:cxn ang="0">
                <a:pos x="connsiteX17937" y="connsiteY17937"/>
              </a:cxn>
              <a:cxn ang="0">
                <a:pos x="connsiteX17938" y="connsiteY17938"/>
              </a:cxn>
              <a:cxn ang="0">
                <a:pos x="connsiteX17939" y="connsiteY17939"/>
              </a:cxn>
              <a:cxn ang="0">
                <a:pos x="connsiteX17940" y="connsiteY17940"/>
              </a:cxn>
              <a:cxn ang="0">
                <a:pos x="connsiteX17941" y="connsiteY17941"/>
              </a:cxn>
              <a:cxn ang="0">
                <a:pos x="connsiteX17942" y="connsiteY17942"/>
              </a:cxn>
              <a:cxn ang="0">
                <a:pos x="connsiteX17943" y="connsiteY17943"/>
              </a:cxn>
              <a:cxn ang="0">
                <a:pos x="connsiteX17944" y="connsiteY17944"/>
              </a:cxn>
              <a:cxn ang="0">
                <a:pos x="connsiteX17945" y="connsiteY17945"/>
              </a:cxn>
              <a:cxn ang="0">
                <a:pos x="connsiteX17946" y="connsiteY17946"/>
              </a:cxn>
              <a:cxn ang="0">
                <a:pos x="connsiteX17947" y="connsiteY17947"/>
              </a:cxn>
              <a:cxn ang="0">
                <a:pos x="connsiteX17948" y="connsiteY17948"/>
              </a:cxn>
              <a:cxn ang="0">
                <a:pos x="connsiteX17949" y="connsiteY17949"/>
              </a:cxn>
              <a:cxn ang="0">
                <a:pos x="connsiteX17950" y="connsiteY17950"/>
              </a:cxn>
              <a:cxn ang="0">
                <a:pos x="connsiteX17951" y="connsiteY17951"/>
              </a:cxn>
              <a:cxn ang="0">
                <a:pos x="connsiteX17952" y="connsiteY17952"/>
              </a:cxn>
              <a:cxn ang="0">
                <a:pos x="connsiteX17953" y="connsiteY17953"/>
              </a:cxn>
              <a:cxn ang="0">
                <a:pos x="connsiteX17954" y="connsiteY17954"/>
              </a:cxn>
              <a:cxn ang="0">
                <a:pos x="connsiteX17955" y="connsiteY17955"/>
              </a:cxn>
              <a:cxn ang="0">
                <a:pos x="connsiteX17956" y="connsiteY17956"/>
              </a:cxn>
              <a:cxn ang="0">
                <a:pos x="connsiteX17957" y="connsiteY17957"/>
              </a:cxn>
              <a:cxn ang="0">
                <a:pos x="connsiteX17958" y="connsiteY17958"/>
              </a:cxn>
              <a:cxn ang="0">
                <a:pos x="connsiteX17959" y="connsiteY17959"/>
              </a:cxn>
              <a:cxn ang="0">
                <a:pos x="connsiteX17960" y="connsiteY17960"/>
              </a:cxn>
              <a:cxn ang="0">
                <a:pos x="connsiteX17961" y="connsiteY17961"/>
              </a:cxn>
              <a:cxn ang="0">
                <a:pos x="connsiteX17962" y="connsiteY17962"/>
              </a:cxn>
              <a:cxn ang="0">
                <a:pos x="connsiteX17963" y="connsiteY17963"/>
              </a:cxn>
              <a:cxn ang="0">
                <a:pos x="connsiteX17964" y="connsiteY17964"/>
              </a:cxn>
              <a:cxn ang="0">
                <a:pos x="connsiteX17965" y="connsiteY17965"/>
              </a:cxn>
              <a:cxn ang="0">
                <a:pos x="connsiteX17966" y="connsiteY17966"/>
              </a:cxn>
              <a:cxn ang="0">
                <a:pos x="connsiteX17967" y="connsiteY17967"/>
              </a:cxn>
              <a:cxn ang="0">
                <a:pos x="connsiteX17968" y="connsiteY17968"/>
              </a:cxn>
              <a:cxn ang="0">
                <a:pos x="connsiteX17969" y="connsiteY17969"/>
              </a:cxn>
              <a:cxn ang="0">
                <a:pos x="connsiteX17970" y="connsiteY17970"/>
              </a:cxn>
              <a:cxn ang="0">
                <a:pos x="connsiteX17971" y="connsiteY17971"/>
              </a:cxn>
              <a:cxn ang="0">
                <a:pos x="connsiteX17972" y="connsiteY17972"/>
              </a:cxn>
              <a:cxn ang="0">
                <a:pos x="connsiteX17973" y="connsiteY17973"/>
              </a:cxn>
              <a:cxn ang="0">
                <a:pos x="connsiteX17974" y="connsiteY17974"/>
              </a:cxn>
              <a:cxn ang="0">
                <a:pos x="connsiteX17975" y="connsiteY17975"/>
              </a:cxn>
              <a:cxn ang="0">
                <a:pos x="connsiteX17976" y="connsiteY17976"/>
              </a:cxn>
              <a:cxn ang="0">
                <a:pos x="connsiteX17977" y="connsiteY17977"/>
              </a:cxn>
              <a:cxn ang="0">
                <a:pos x="connsiteX17978" y="connsiteY17978"/>
              </a:cxn>
              <a:cxn ang="0">
                <a:pos x="connsiteX17979" y="connsiteY17979"/>
              </a:cxn>
              <a:cxn ang="0">
                <a:pos x="connsiteX17980" y="connsiteY17980"/>
              </a:cxn>
              <a:cxn ang="0">
                <a:pos x="connsiteX17981" y="connsiteY17981"/>
              </a:cxn>
              <a:cxn ang="0">
                <a:pos x="connsiteX17982" y="connsiteY17982"/>
              </a:cxn>
              <a:cxn ang="0">
                <a:pos x="connsiteX17983" y="connsiteY17983"/>
              </a:cxn>
              <a:cxn ang="0">
                <a:pos x="connsiteX17984" y="connsiteY17984"/>
              </a:cxn>
              <a:cxn ang="0">
                <a:pos x="connsiteX17985" y="connsiteY17985"/>
              </a:cxn>
              <a:cxn ang="0">
                <a:pos x="connsiteX17986" y="connsiteY17986"/>
              </a:cxn>
              <a:cxn ang="0">
                <a:pos x="connsiteX17987" y="connsiteY17987"/>
              </a:cxn>
              <a:cxn ang="0">
                <a:pos x="connsiteX17988" y="connsiteY17988"/>
              </a:cxn>
              <a:cxn ang="0">
                <a:pos x="connsiteX17989" y="connsiteY17989"/>
              </a:cxn>
              <a:cxn ang="0">
                <a:pos x="connsiteX17990" y="connsiteY17990"/>
              </a:cxn>
              <a:cxn ang="0">
                <a:pos x="connsiteX17991" y="connsiteY17991"/>
              </a:cxn>
              <a:cxn ang="0">
                <a:pos x="connsiteX17992" y="connsiteY17992"/>
              </a:cxn>
              <a:cxn ang="0">
                <a:pos x="connsiteX17993" y="connsiteY17993"/>
              </a:cxn>
              <a:cxn ang="0">
                <a:pos x="connsiteX17994" y="connsiteY17994"/>
              </a:cxn>
              <a:cxn ang="0">
                <a:pos x="connsiteX17995" y="connsiteY17995"/>
              </a:cxn>
              <a:cxn ang="0">
                <a:pos x="connsiteX17996" y="connsiteY17996"/>
              </a:cxn>
              <a:cxn ang="0">
                <a:pos x="connsiteX17997" y="connsiteY17997"/>
              </a:cxn>
              <a:cxn ang="0">
                <a:pos x="connsiteX17998" y="connsiteY17998"/>
              </a:cxn>
              <a:cxn ang="0">
                <a:pos x="connsiteX17999" y="connsiteY17999"/>
              </a:cxn>
              <a:cxn ang="0">
                <a:pos x="connsiteX18000" y="connsiteY18000"/>
              </a:cxn>
              <a:cxn ang="0">
                <a:pos x="connsiteX18001" y="connsiteY18001"/>
              </a:cxn>
              <a:cxn ang="0">
                <a:pos x="connsiteX18002" y="connsiteY18002"/>
              </a:cxn>
              <a:cxn ang="0">
                <a:pos x="connsiteX18003" y="connsiteY18003"/>
              </a:cxn>
              <a:cxn ang="0">
                <a:pos x="connsiteX18004" y="connsiteY18004"/>
              </a:cxn>
              <a:cxn ang="0">
                <a:pos x="connsiteX18005" y="connsiteY18005"/>
              </a:cxn>
              <a:cxn ang="0">
                <a:pos x="connsiteX18006" y="connsiteY18006"/>
              </a:cxn>
              <a:cxn ang="0">
                <a:pos x="connsiteX18007" y="connsiteY18007"/>
              </a:cxn>
              <a:cxn ang="0">
                <a:pos x="connsiteX18008" y="connsiteY18008"/>
              </a:cxn>
              <a:cxn ang="0">
                <a:pos x="connsiteX18009" y="connsiteY18009"/>
              </a:cxn>
              <a:cxn ang="0">
                <a:pos x="connsiteX18010" y="connsiteY18010"/>
              </a:cxn>
              <a:cxn ang="0">
                <a:pos x="connsiteX18011" y="connsiteY18011"/>
              </a:cxn>
              <a:cxn ang="0">
                <a:pos x="connsiteX18012" y="connsiteY18012"/>
              </a:cxn>
              <a:cxn ang="0">
                <a:pos x="connsiteX18013" y="connsiteY18013"/>
              </a:cxn>
              <a:cxn ang="0">
                <a:pos x="connsiteX18014" y="connsiteY18014"/>
              </a:cxn>
              <a:cxn ang="0">
                <a:pos x="connsiteX18015" y="connsiteY18015"/>
              </a:cxn>
              <a:cxn ang="0">
                <a:pos x="connsiteX18016" y="connsiteY18016"/>
              </a:cxn>
              <a:cxn ang="0">
                <a:pos x="connsiteX18017" y="connsiteY18017"/>
              </a:cxn>
              <a:cxn ang="0">
                <a:pos x="connsiteX18018" y="connsiteY18018"/>
              </a:cxn>
              <a:cxn ang="0">
                <a:pos x="connsiteX18019" y="connsiteY18019"/>
              </a:cxn>
              <a:cxn ang="0">
                <a:pos x="connsiteX18020" y="connsiteY18020"/>
              </a:cxn>
              <a:cxn ang="0">
                <a:pos x="connsiteX18021" y="connsiteY18021"/>
              </a:cxn>
              <a:cxn ang="0">
                <a:pos x="connsiteX18022" y="connsiteY18022"/>
              </a:cxn>
              <a:cxn ang="0">
                <a:pos x="connsiteX18023" y="connsiteY18023"/>
              </a:cxn>
              <a:cxn ang="0">
                <a:pos x="connsiteX18024" y="connsiteY18024"/>
              </a:cxn>
              <a:cxn ang="0">
                <a:pos x="connsiteX18025" y="connsiteY18025"/>
              </a:cxn>
              <a:cxn ang="0">
                <a:pos x="connsiteX18026" y="connsiteY18026"/>
              </a:cxn>
              <a:cxn ang="0">
                <a:pos x="connsiteX18027" y="connsiteY18027"/>
              </a:cxn>
              <a:cxn ang="0">
                <a:pos x="connsiteX18028" y="connsiteY18028"/>
              </a:cxn>
              <a:cxn ang="0">
                <a:pos x="connsiteX18029" y="connsiteY18029"/>
              </a:cxn>
              <a:cxn ang="0">
                <a:pos x="connsiteX18030" y="connsiteY18030"/>
              </a:cxn>
              <a:cxn ang="0">
                <a:pos x="connsiteX18031" y="connsiteY18031"/>
              </a:cxn>
              <a:cxn ang="0">
                <a:pos x="connsiteX18032" y="connsiteY18032"/>
              </a:cxn>
              <a:cxn ang="0">
                <a:pos x="connsiteX18033" y="connsiteY18033"/>
              </a:cxn>
              <a:cxn ang="0">
                <a:pos x="connsiteX18034" y="connsiteY18034"/>
              </a:cxn>
              <a:cxn ang="0">
                <a:pos x="connsiteX18035" y="connsiteY18035"/>
              </a:cxn>
              <a:cxn ang="0">
                <a:pos x="connsiteX18036" y="connsiteY18036"/>
              </a:cxn>
              <a:cxn ang="0">
                <a:pos x="connsiteX18037" y="connsiteY18037"/>
              </a:cxn>
              <a:cxn ang="0">
                <a:pos x="connsiteX18038" y="connsiteY18038"/>
              </a:cxn>
              <a:cxn ang="0">
                <a:pos x="connsiteX18039" y="connsiteY18039"/>
              </a:cxn>
              <a:cxn ang="0">
                <a:pos x="connsiteX18040" y="connsiteY18040"/>
              </a:cxn>
              <a:cxn ang="0">
                <a:pos x="connsiteX18041" y="connsiteY18041"/>
              </a:cxn>
              <a:cxn ang="0">
                <a:pos x="connsiteX18042" y="connsiteY18042"/>
              </a:cxn>
              <a:cxn ang="0">
                <a:pos x="connsiteX18043" y="connsiteY18043"/>
              </a:cxn>
              <a:cxn ang="0">
                <a:pos x="connsiteX18044" y="connsiteY18044"/>
              </a:cxn>
              <a:cxn ang="0">
                <a:pos x="connsiteX18045" y="connsiteY18045"/>
              </a:cxn>
              <a:cxn ang="0">
                <a:pos x="connsiteX18046" y="connsiteY18046"/>
              </a:cxn>
              <a:cxn ang="0">
                <a:pos x="connsiteX18047" y="connsiteY18047"/>
              </a:cxn>
              <a:cxn ang="0">
                <a:pos x="connsiteX18048" y="connsiteY18048"/>
              </a:cxn>
              <a:cxn ang="0">
                <a:pos x="connsiteX18049" y="connsiteY18049"/>
              </a:cxn>
              <a:cxn ang="0">
                <a:pos x="connsiteX18050" y="connsiteY18050"/>
              </a:cxn>
              <a:cxn ang="0">
                <a:pos x="connsiteX18051" y="connsiteY18051"/>
              </a:cxn>
              <a:cxn ang="0">
                <a:pos x="connsiteX18052" y="connsiteY18052"/>
              </a:cxn>
              <a:cxn ang="0">
                <a:pos x="connsiteX18053" y="connsiteY18053"/>
              </a:cxn>
              <a:cxn ang="0">
                <a:pos x="connsiteX18054" y="connsiteY18054"/>
              </a:cxn>
              <a:cxn ang="0">
                <a:pos x="connsiteX18055" y="connsiteY18055"/>
              </a:cxn>
              <a:cxn ang="0">
                <a:pos x="connsiteX18056" y="connsiteY18056"/>
              </a:cxn>
              <a:cxn ang="0">
                <a:pos x="connsiteX18057" y="connsiteY18057"/>
              </a:cxn>
              <a:cxn ang="0">
                <a:pos x="connsiteX18058" y="connsiteY18058"/>
              </a:cxn>
              <a:cxn ang="0">
                <a:pos x="connsiteX18059" y="connsiteY18059"/>
              </a:cxn>
              <a:cxn ang="0">
                <a:pos x="connsiteX18060" y="connsiteY18060"/>
              </a:cxn>
              <a:cxn ang="0">
                <a:pos x="connsiteX18061" y="connsiteY18061"/>
              </a:cxn>
              <a:cxn ang="0">
                <a:pos x="connsiteX18062" y="connsiteY18062"/>
              </a:cxn>
              <a:cxn ang="0">
                <a:pos x="connsiteX18063" y="connsiteY18063"/>
              </a:cxn>
              <a:cxn ang="0">
                <a:pos x="connsiteX18064" y="connsiteY18064"/>
              </a:cxn>
              <a:cxn ang="0">
                <a:pos x="connsiteX18065" y="connsiteY18065"/>
              </a:cxn>
              <a:cxn ang="0">
                <a:pos x="connsiteX18066" y="connsiteY18066"/>
              </a:cxn>
              <a:cxn ang="0">
                <a:pos x="connsiteX18067" y="connsiteY18067"/>
              </a:cxn>
              <a:cxn ang="0">
                <a:pos x="connsiteX18068" y="connsiteY18068"/>
              </a:cxn>
              <a:cxn ang="0">
                <a:pos x="connsiteX18069" y="connsiteY18069"/>
              </a:cxn>
              <a:cxn ang="0">
                <a:pos x="connsiteX18070" y="connsiteY18070"/>
              </a:cxn>
              <a:cxn ang="0">
                <a:pos x="connsiteX18071" y="connsiteY18071"/>
              </a:cxn>
              <a:cxn ang="0">
                <a:pos x="connsiteX18072" y="connsiteY18072"/>
              </a:cxn>
              <a:cxn ang="0">
                <a:pos x="connsiteX18073" y="connsiteY18073"/>
              </a:cxn>
              <a:cxn ang="0">
                <a:pos x="connsiteX18074" y="connsiteY18074"/>
              </a:cxn>
              <a:cxn ang="0">
                <a:pos x="connsiteX18075" y="connsiteY18075"/>
              </a:cxn>
              <a:cxn ang="0">
                <a:pos x="connsiteX18076" y="connsiteY18076"/>
              </a:cxn>
              <a:cxn ang="0">
                <a:pos x="connsiteX18077" y="connsiteY18077"/>
              </a:cxn>
              <a:cxn ang="0">
                <a:pos x="connsiteX18078" y="connsiteY18078"/>
              </a:cxn>
              <a:cxn ang="0">
                <a:pos x="connsiteX18079" y="connsiteY18079"/>
              </a:cxn>
              <a:cxn ang="0">
                <a:pos x="connsiteX18080" y="connsiteY18080"/>
              </a:cxn>
              <a:cxn ang="0">
                <a:pos x="connsiteX18081" y="connsiteY18081"/>
              </a:cxn>
              <a:cxn ang="0">
                <a:pos x="connsiteX18082" y="connsiteY18082"/>
              </a:cxn>
              <a:cxn ang="0">
                <a:pos x="connsiteX18083" y="connsiteY18083"/>
              </a:cxn>
              <a:cxn ang="0">
                <a:pos x="connsiteX18084" y="connsiteY18084"/>
              </a:cxn>
              <a:cxn ang="0">
                <a:pos x="connsiteX18085" y="connsiteY18085"/>
              </a:cxn>
              <a:cxn ang="0">
                <a:pos x="connsiteX18086" y="connsiteY18086"/>
              </a:cxn>
              <a:cxn ang="0">
                <a:pos x="connsiteX18087" y="connsiteY18087"/>
              </a:cxn>
              <a:cxn ang="0">
                <a:pos x="connsiteX18088" y="connsiteY18088"/>
              </a:cxn>
              <a:cxn ang="0">
                <a:pos x="connsiteX18089" y="connsiteY18089"/>
              </a:cxn>
              <a:cxn ang="0">
                <a:pos x="connsiteX18090" y="connsiteY18090"/>
              </a:cxn>
              <a:cxn ang="0">
                <a:pos x="connsiteX18091" y="connsiteY18091"/>
              </a:cxn>
              <a:cxn ang="0">
                <a:pos x="connsiteX18092" y="connsiteY18092"/>
              </a:cxn>
              <a:cxn ang="0">
                <a:pos x="connsiteX18093" y="connsiteY18093"/>
              </a:cxn>
              <a:cxn ang="0">
                <a:pos x="connsiteX18094" y="connsiteY18094"/>
              </a:cxn>
              <a:cxn ang="0">
                <a:pos x="connsiteX18095" y="connsiteY18095"/>
              </a:cxn>
              <a:cxn ang="0">
                <a:pos x="connsiteX18096" y="connsiteY18096"/>
              </a:cxn>
              <a:cxn ang="0">
                <a:pos x="connsiteX18097" y="connsiteY18097"/>
              </a:cxn>
              <a:cxn ang="0">
                <a:pos x="connsiteX18098" y="connsiteY18098"/>
              </a:cxn>
              <a:cxn ang="0">
                <a:pos x="connsiteX18099" y="connsiteY18099"/>
              </a:cxn>
              <a:cxn ang="0">
                <a:pos x="connsiteX18100" y="connsiteY18100"/>
              </a:cxn>
              <a:cxn ang="0">
                <a:pos x="connsiteX18101" y="connsiteY18101"/>
              </a:cxn>
              <a:cxn ang="0">
                <a:pos x="connsiteX18102" y="connsiteY18102"/>
              </a:cxn>
              <a:cxn ang="0">
                <a:pos x="connsiteX18103" y="connsiteY18103"/>
              </a:cxn>
              <a:cxn ang="0">
                <a:pos x="connsiteX18104" y="connsiteY18104"/>
              </a:cxn>
              <a:cxn ang="0">
                <a:pos x="connsiteX18105" y="connsiteY18105"/>
              </a:cxn>
              <a:cxn ang="0">
                <a:pos x="connsiteX18106" y="connsiteY18106"/>
              </a:cxn>
              <a:cxn ang="0">
                <a:pos x="connsiteX18107" y="connsiteY18107"/>
              </a:cxn>
              <a:cxn ang="0">
                <a:pos x="connsiteX18108" y="connsiteY18108"/>
              </a:cxn>
              <a:cxn ang="0">
                <a:pos x="connsiteX18109" y="connsiteY18109"/>
              </a:cxn>
              <a:cxn ang="0">
                <a:pos x="connsiteX18110" y="connsiteY18110"/>
              </a:cxn>
              <a:cxn ang="0">
                <a:pos x="connsiteX18111" y="connsiteY18111"/>
              </a:cxn>
              <a:cxn ang="0">
                <a:pos x="connsiteX18112" y="connsiteY18112"/>
              </a:cxn>
              <a:cxn ang="0">
                <a:pos x="connsiteX18113" y="connsiteY18113"/>
              </a:cxn>
              <a:cxn ang="0">
                <a:pos x="connsiteX18114" y="connsiteY18114"/>
              </a:cxn>
              <a:cxn ang="0">
                <a:pos x="connsiteX18115" y="connsiteY18115"/>
              </a:cxn>
              <a:cxn ang="0">
                <a:pos x="connsiteX18116" y="connsiteY18116"/>
              </a:cxn>
              <a:cxn ang="0">
                <a:pos x="connsiteX18117" y="connsiteY18117"/>
              </a:cxn>
              <a:cxn ang="0">
                <a:pos x="connsiteX18118" y="connsiteY18118"/>
              </a:cxn>
              <a:cxn ang="0">
                <a:pos x="connsiteX18119" y="connsiteY18119"/>
              </a:cxn>
              <a:cxn ang="0">
                <a:pos x="connsiteX18120" y="connsiteY18120"/>
              </a:cxn>
              <a:cxn ang="0">
                <a:pos x="connsiteX18121" y="connsiteY18121"/>
              </a:cxn>
              <a:cxn ang="0">
                <a:pos x="connsiteX18122" y="connsiteY18122"/>
              </a:cxn>
              <a:cxn ang="0">
                <a:pos x="connsiteX18123" y="connsiteY18123"/>
              </a:cxn>
              <a:cxn ang="0">
                <a:pos x="connsiteX18124" y="connsiteY18124"/>
              </a:cxn>
              <a:cxn ang="0">
                <a:pos x="connsiteX18125" y="connsiteY18125"/>
              </a:cxn>
              <a:cxn ang="0">
                <a:pos x="connsiteX18126" y="connsiteY18126"/>
              </a:cxn>
              <a:cxn ang="0">
                <a:pos x="connsiteX18127" y="connsiteY18127"/>
              </a:cxn>
              <a:cxn ang="0">
                <a:pos x="connsiteX18128" y="connsiteY18128"/>
              </a:cxn>
              <a:cxn ang="0">
                <a:pos x="connsiteX18129" y="connsiteY18129"/>
              </a:cxn>
              <a:cxn ang="0">
                <a:pos x="connsiteX18130" y="connsiteY18130"/>
              </a:cxn>
              <a:cxn ang="0">
                <a:pos x="connsiteX18131" y="connsiteY18131"/>
              </a:cxn>
              <a:cxn ang="0">
                <a:pos x="connsiteX18132" y="connsiteY18132"/>
              </a:cxn>
              <a:cxn ang="0">
                <a:pos x="connsiteX18133" y="connsiteY18133"/>
              </a:cxn>
              <a:cxn ang="0">
                <a:pos x="connsiteX18134" y="connsiteY18134"/>
              </a:cxn>
              <a:cxn ang="0">
                <a:pos x="connsiteX18135" y="connsiteY18135"/>
              </a:cxn>
              <a:cxn ang="0">
                <a:pos x="connsiteX18136" y="connsiteY18136"/>
              </a:cxn>
              <a:cxn ang="0">
                <a:pos x="connsiteX18137" y="connsiteY18137"/>
              </a:cxn>
              <a:cxn ang="0">
                <a:pos x="connsiteX18138" y="connsiteY18138"/>
              </a:cxn>
              <a:cxn ang="0">
                <a:pos x="connsiteX18139" y="connsiteY18139"/>
              </a:cxn>
              <a:cxn ang="0">
                <a:pos x="connsiteX18140" y="connsiteY18140"/>
              </a:cxn>
              <a:cxn ang="0">
                <a:pos x="connsiteX18141" y="connsiteY18141"/>
              </a:cxn>
              <a:cxn ang="0">
                <a:pos x="connsiteX18142" y="connsiteY18142"/>
              </a:cxn>
              <a:cxn ang="0">
                <a:pos x="connsiteX18143" y="connsiteY18143"/>
              </a:cxn>
              <a:cxn ang="0">
                <a:pos x="connsiteX18144" y="connsiteY18144"/>
              </a:cxn>
              <a:cxn ang="0">
                <a:pos x="connsiteX18145" y="connsiteY18145"/>
              </a:cxn>
              <a:cxn ang="0">
                <a:pos x="connsiteX18146" y="connsiteY18146"/>
              </a:cxn>
              <a:cxn ang="0">
                <a:pos x="connsiteX18147" y="connsiteY18147"/>
              </a:cxn>
              <a:cxn ang="0">
                <a:pos x="connsiteX18148" y="connsiteY18148"/>
              </a:cxn>
              <a:cxn ang="0">
                <a:pos x="connsiteX18149" y="connsiteY18149"/>
              </a:cxn>
              <a:cxn ang="0">
                <a:pos x="connsiteX18150" y="connsiteY18150"/>
              </a:cxn>
              <a:cxn ang="0">
                <a:pos x="connsiteX18151" y="connsiteY18151"/>
              </a:cxn>
              <a:cxn ang="0">
                <a:pos x="connsiteX18152" y="connsiteY18152"/>
              </a:cxn>
              <a:cxn ang="0">
                <a:pos x="connsiteX18153" y="connsiteY18153"/>
              </a:cxn>
              <a:cxn ang="0">
                <a:pos x="connsiteX18154" y="connsiteY18154"/>
              </a:cxn>
              <a:cxn ang="0">
                <a:pos x="connsiteX18155" y="connsiteY18155"/>
              </a:cxn>
              <a:cxn ang="0">
                <a:pos x="connsiteX18156" y="connsiteY18156"/>
              </a:cxn>
              <a:cxn ang="0">
                <a:pos x="connsiteX18157" y="connsiteY18157"/>
              </a:cxn>
              <a:cxn ang="0">
                <a:pos x="connsiteX18158" y="connsiteY18158"/>
              </a:cxn>
              <a:cxn ang="0">
                <a:pos x="connsiteX18159" y="connsiteY18159"/>
              </a:cxn>
              <a:cxn ang="0">
                <a:pos x="connsiteX18160" y="connsiteY18160"/>
              </a:cxn>
              <a:cxn ang="0">
                <a:pos x="connsiteX18161" y="connsiteY18161"/>
              </a:cxn>
              <a:cxn ang="0">
                <a:pos x="connsiteX18162" y="connsiteY18162"/>
              </a:cxn>
              <a:cxn ang="0">
                <a:pos x="connsiteX18163" y="connsiteY18163"/>
              </a:cxn>
              <a:cxn ang="0">
                <a:pos x="connsiteX18164" y="connsiteY18164"/>
              </a:cxn>
              <a:cxn ang="0">
                <a:pos x="connsiteX18165" y="connsiteY18165"/>
              </a:cxn>
              <a:cxn ang="0">
                <a:pos x="connsiteX18166" y="connsiteY18166"/>
              </a:cxn>
              <a:cxn ang="0">
                <a:pos x="connsiteX18167" y="connsiteY18167"/>
              </a:cxn>
              <a:cxn ang="0">
                <a:pos x="connsiteX18168" y="connsiteY18168"/>
              </a:cxn>
              <a:cxn ang="0">
                <a:pos x="connsiteX18169" y="connsiteY18169"/>
              </a:cxn>
              <a:cxn ang="0">
                <a:pos x="connsiteX18170" y="connsiteY18170"/>
              </a:cxn>
              <a:cxn ang="0">
                <a:pos x="connsiteX18171" y="connsiteY18171"/>
              </a:cxn>
              <a:cxn ang="0">
                <a:pos x="connsiteX18172" y="connsiteY18172"/>
              </a:cxn>
              <a:cxn ang="0">
                <a:pos x="connsiteX18173" y="connsiteY18173"/>
              </a:cxn>
              <a:cxn ang="0">
                <a:pos x="connsiteX18174" y="connsiteY18174"/>
              </a:cxn>
              <a:cxn ang="0">
                <a:pos x="connsiteX18175" y="connsiteY18175"/>
              </a:cxn>
              <a:cxn ang="0">
                <a:pos x="connsiteX18176" y="connsiteY18176"/>
              </a:cxn>
              <a:cxn ang="0">
                <a:pos x="connsiteX18177" y="connsiteY18177"/>
              </a:cxn>
              <a:cxn ang="0">
                <a:pos x="connsiteX18178" y="connsiteY18178"/>
              </a:cxn>
              <a:cxn ang="0">
                <a:pos x="connsiteX18179" y="connsiteY18179"/>
              </a:cxn>
              <a:cxn ang="0">
                <a:pos x="connsiteX18180" y="connsiteY18180"/>
              </a:cxn>
              <a:cxn ang="0">
                <a:pos x="connsiteX18181" y="connsiteY18181"/>
              </a:cxn>
              <a:cxn ang="0">
                <a:pos x="connsiteX18182" y="connsiteY18182"/>
              </a:cxn>
              <a:cxn ang="0">
                <a:pos x="connsiteX18183" y="connsiteY18183"/>
              </a:cxn>
              <a:cxn ang="0">
                <a:pos x="connsiteX18184" y="connsiteY18184"/>
              </a:cxn>
              <a:cxn ang="0">
                <a:pos x="connsiteX18185" y="connsiteY18185"/>
              </a:cxn>
              <a:cxn ang="0">
                <a:pos x="connsiteX18186" y="connsiteY18186"/>
              </a:cxn>
              <a:cxn ang="0">
                <a:pos x="connsiteX18187" y="connsiteY18187"/>
              </a:cxn>
              <a:cxn ang="0">
                <a:pos x="connsiteX18188" y="connsiteY18188"/>
              </a:cxn>
              <a:cxn ang="0">
                <a:pos x="connsiteX18189" y="connsiteY18189"/>
              </a:cxn>
              <a:cxn ang="0">
                <a:pos x="connsiteX18190" y="connsiteY18190"/>
              </a:cxn>
              <a:cxn ang="0">
                <a:pos x="connsiteX18191" y="connsiteY18191"/>
              </a:cxn>
              <a:cxn ang="0">
                <a:pos x="connsiteX18192" y="connsiteY18192"/>
              </a:cxn>
              <a:cxn ang="0">
                <a:pos x="connsiteX18193" y="connsiteY18193"/>
              </a:cxn>
              <a:cxn ang="0">
                <a:pos x="connsiteX18194" y="connsiteY18194"/>
              </a:cxn>
              <a:cxn ang="0">
                <a:pos x="connsiteX18195" y="connsiteY18195"/>
              </a:cxn>
              <a:cxn ang="0">
                <a:pos x="connsiteX18196" y="connsiteY18196"/>
              </a:cxn>
              <a:cxn ang="0">
                <a:pos x="connsiteX18197" y="connsiteY18197"/>
              </a:cxn>
              <a:cxn ang="0">
                <a:pos x="connsiteX18198" y="connsiteY18198"/>
              </a:cxn>
              <a:cxn ang="0">
                <a:pos x="connsiteX18199" y="connsiteY18199"/>
              </a:cxn>
              <a:cxn ang="0">
                <a:pos x="connsiteX18200" y="connsiteY18200"/>
              </a:cxn>
              <a:cxn ang="0">
                <a:pos x="connsiteX18201" y="connsiteY18201"/>
              </a:cxn>
              <a:cxn ang="0">
                <a:pos x="connsiteX18202" y="connsiteY18202"/>
              </a:cxn>
              <a:cxn ang="0">
                <a:pos x="connsiteX18203" y="connsiteY18203"/>
              </a:cxn>
              <a:cxn ang="0">
                <a:pos x="connsiteX18204" y="connsiteY18204"/>
              </a:cxn>
              <a:cxn ang="0">
                <a:pos x="connsiteX18205" y="connsiteY18205"/>
              </a:cxn>
              <a:cxn ang="0">
                <a:pos x="connsiteX18206" y="connsiteY18206"/>
              </a:cxn>
              <a:cxn ang="0">
                <a:pos x="connsiteX18207" y="connsiteY18207"/>
              </a:cxn>
              <a:cxn ang="0">
                <a:pos x="connsiteX18208" y="connsiteY18208"/>
              </a:cxn>
              <a:cxn ang="0">
                <a:pos x="connsiteX18209" y="connsiteY18209"/>
              </a:cxn>
              <a:cxn ang="0">
                <a:pos x="connsiteX18210" y="connsiteY18210"/>
              </a:cxn>
              <a:cxn ang="0">
                <a:pos x="connsiteX18211" y="connsiteY18211"/>
              </a:cxn>
              <a:cxn ang="0">
                <a:pos x="connsiteX18212" y="connsiteY18212"/>
              </a:cxn>
              <a:cxn ang="0">
                <a:pos x="connsiteX18213" y="connsiteY18213"/>
              </a:cxn>
              <a:cxn ang="0">
                <a:pos x="connsiteX18214" y="connsiteY18214"/>
              </a:cxn>
              <a:cxn ang="0">
                <a:pos x="connsiteX18215" y="connsiteY18215"/>
              </a:cxn>
              <a:cxn ang="0">
                <a:pos x="connsiteX18216" y="connsiteY18216"/>
              </a:cxn>
              <a:cxn ang="0">
                <a:pos x="connsiteX18217" y="connsiteY18217"/>
              </a:cxn>
              <a:cxn ang="0">
                <a:pos x="connsiteX18218" y="connsiteY18218"/>
              </a:cxn>
              <a:cxn ang="0">
                <a:pos x="connsiteX18219" y="connsiteY18219"/>
              </a:cxn>
              <a:cxn ang="0">
                <a:pos x="connsiteX18220" y="connsiteY18220"/>
              </a:cxn>
              <a:cxn ang="0">
                <a:pos x="connsiteX18221" y="connsiteY18221"/>
              </a:cxn>
              <a:cxn ang="0">
                <a:pos x="connsiteX18222" y="connsiteY18222"/>
              </a:cxn>
              <a:cxn ang="0">
                <a:pos x="connsiteX18223" y="connsiteY18223"/>
              </a:cxn>
              <a:cxn ang="0">
                <a:pos x="connsiteX18224" y="connsiteY18224"/>
              </a:cxn>
              <a:cxn ang="0">
                <a:pos x="connsiteX18225" y="connsiteY18225"/>
              </a:cxn>
              <a:cxn ang="0">
                <a:pos x="connsiteX18226" y="connsiteY18226"/>
              </a:cxn>
              <a:cxn ang="0">
                <a:pos x="connsiteX18227" y="connsiteY18227"/>
              </a:cxn>
              <a:cxn ang="0">
                <a:pos x="connsiteX18228" y="connsiteY18228"/>
              </a:cxn>
              <a:cxn ang="0">
                <a:pos x="connsiteX18229" y="connsiteY18229"/>
              </a:cxn>
              <a:cxn ang="0">
                <a:pos x="connsiteX18230" y="connsiteY18230"/>
              </a:cxn>
              <a:cxn ang="0">
                <a:pos x="connsiteX18231" y="connsiteY18231"/>
              </a:cxn>
              <a:cxn ang="0">
                <a:pos x="connsiteX18232" y="connsiteY18232"/>
              </a:cxn>
              <a:cxn ang="0">
                <a:pos x="connsiteX18233" y="connsiteY18233"/>
              </a:cxn>
              <a:cxn ang="0">
                <a:pos x="connsiteX18234" y="connsiteY18234"/>
              </a:cxn>
              <a:cxn ang="0">
                <a:pos x="connsiteX18235" y="connsiteY18235"/>
              </a:cxn>
              <a:cxn ang="0">
                <a:pos x="connsiteX18236" y="connsiteY18236"/>
              </a:cxn>
              <a:cxn ang="0">
                <a:pos x="connsiteX18237" y="connsiteY18237"/>
              </a:cxn>
              <a:cxn ang="0">
                <a:pos x="connsiteX18238" y="connsiteY18238"/>
              </a:cxn>
              <a:cxn ang="0">
                <a:pos x="connsiteX18239" y="connsiteY18239"/>
              </a:cxn>
              <a:cxn ang="0">
                <a:pos x="connsiteX18240" y="connsiteY18240"/>
              </a:cxn>
              <a:cxn ang="0">
                <a:pos x="connsiteX18241" y="connsiteY18241"/>
              </a:cxn>
              <a:cxn ang="0">
                <a:pos x="connsiteX18242" y="connsiteY18242"/>
              </a:cxn>
              <a:cxn ang="0">
                <a:pos x="connsiteX18243" y="connsiteY18243"/>
              </a:cxn>
              <a:cxn ang="0">
                <a:pos x="connsiteX18244" y="connsiteY18244"/>
              </a:cxn>
              <a:cxn ang="0">
                <a:pos x="connsiteX18245" y="connsiteY18245"/>
              </a:cxn>
              <a:cxn ang="0">
                <a:pos x="connsiteX18246" y="connsiteY18246"/>
              </a:cxn>
              <a:cxn ang="0">
                <a:pos x="connsiteX18247" y="connsiteY18247"/>
              </a:cxn>
              <a:cxn ang="0">
                <a:pos x="connsiteX18248" y="connsiteY18248"/>
              </a:cxn>
              <a:cxn ang="0">
                <a:pos x="connsiteX18249" y="connsiteY18249"/>
              </a:cxn>
              <a:cxn ang="0">
                <a:pos x="connsiteX18250" y="connsiteY18250"/>
              </a:cxn>
              <a:cxn ang="0">
                <a:pos x="connsiteX18251" y="connsiteY18251"/>
              </a:cxn>
              <a:cxn ang="0">
                <a:pos x="connsiteX18252" y="connsiteY18252"/>
              </a:cxn>
              <a:cxn ang="0">
                <a:pos x="connsiteX18253" y="connsiteY18253"/>
              </a:cxn>
              <a:cxn ang="0">
                <a:pos x="connsiteX18254" y="connsiteY18254"/>
              </a:cxn>
              <a:cxn ang="0">
                <a:pos x="connsiteX18255" y="connsiteY18255"/>
              </a:cxn>
              <a:cxn ang="0">
                <a:pos x="connsiteX18256" y="connsiteY18256"/>
              </a:cxn>
              <a:cxn ang="0">
                <a:pos x="connsiteX18257" y="connsiteY18257"/>
              </a:cxn>
              <a:cxn ang="0">
                <a:pos x="connsiteX18258" y="connsiteY18258"/>
              </a:cxn>
              <a:cxn ang="0">
                <a:pos x="connsiteX18259" y="connsiteY18259"/>
              </a:cxn>
              <a:cxn ang="0">
                <a:pos x="connsiteX18260" y="connsiteY18260"/>
              </a:cxn>
              <a:cxn ang="0">
                <a:pos x="connsiteX18261" y="connsiteY18261"/>
              </a:cxn>
              <a:cxn ang="0">
                <a:pos x="connsiteX18262" y="connsiteY18262"/>
              </a:cxn>
              <a:cxn ang="0">
                <a:pos x="connsiteX18263" y="connsiteY18263"/>
              </a:cxn>
              <a:cxn ang="0">
                <a:pos x="connsiteX18264" y="connsiteY18264"/>
              </a:cxn>
              <a:cxn ang="0">
                <a:pos x="connsiteX18265" y="connsiteY18265"/>
              </a:cxn>
              <a:cxn ang="0">
                <a:pos x="connsiteX18266" y="connsiteY18266"/>
              </a:cxn>
              <a:cxn ang="0">
                <a:pos x="connsiteX18267" y="connsiteY18267"/>
              </a:cxn>
              <a:cxn ang="0">
                <a:pos x="connsiteX18268" y="connsiteY18268"/>
              </a:cxn>
              <a:cxn ang="0">
                <a:pos x="connsiteX18269" y="connsiteY18269"/>
              </a:cxn>
              <a:cxn ang="0">
                <a:pos x="connsiteX18270" y="connsiteY18270"/>
              </a:cxn>
              <a:cxn ang="0">
                <a:pos x="connsiteX18271" y="connsiteY18271"/>
              </a:cxn>
              <a:cxn ang="0">
                <a:pos x="connsiteX18272" y="connsiteY18272"/>
              </a:cxn>
              <a:cxn ang="0">
                <a:pos x="connsiteX18273" y="connsiteY18273"/>
              </a:cxn>
              <a:cxn ang="0">
                <a:pos x="connsiteX18274" y="connsiteY18274"/>
              </a:cxn>
              <a:cxn ang="0">
                <a:pos x="connsiteX18275" y="connsiteY18275"/>
              </a:cxn>
              <a:cxn ang="0">
                <a:pos x="connsiteX18276" y="connsiteY18276"/>
              </a:cxn>
              <a:cxn ang="0">
                <a:pos x="connsiteX18277" y="connsiteY18277"/>
              </a:cxn>
              <a:cxn ang="0">
                <a:pos x="connsiteX18278" y="connsiteY18278"/>
              </a:cxn>
              <a:cxn ang="0">
                <a:pos x="connsiteX18279" y="connsiteY18279"/>
              </a:cxn>
              <a:cxn ang="0">
                <a:pos x="connsiteX18280" y="connsiteY18280"/>
              </a:cxn>
              <a:cxn ang="0">
                <a:pos x="connsiteX18281" y="connsiteY18281"/>
              </a:cxn>
              <a:cxn ang="0">
                <a:pos x="connsiteX18282" y="connsiteY18282"/>
              </a:cxn>
              <a:cxn ang="0">
                <a:pos x="connsiteX18283" y="connsiteY18283"/>
              </a:cxn>
              <a:cxn ang="0">
                <a:pos x="connsiteX18284" y="connsiteY18284"/>
              </a:cxn>
              <a:cxn ang="0">
                <a:pos x="connsiteX18285" y="connsiteY18285"/>
              </a:cxn>
              <a:cxn ang="0">
                <a:pos x="connsiteX18286" y="connsiteY18286"/>
              </a:cxn>
              <a:cxn ang="0">
                <a:pos x="connsiteX18287" y="connsiteY18287"/>
              </a:cxn>
              <a:cxn ang="0">
                <a:pos x="connsiteX18288" y="connsiteY18288"/>
              </a:cxn>
              <a:cxn ang="0">
                <a:pos x="connsiteX18289" y="connsiteY18289"/>
              </a:cxn>
              <a:cxn ang="0">
                <a:pos x="connsiteX18290" y="connsiteY18290"/>
              </a:cxn>
              <a:cxn ang="0">
                <a:pos x="connsiteX18291" y="connsiteY18291"/>
              </a:cxn>
              <a:cxn ang="0">
                <a:pos x="connsiteX18292" y="connsiteY18292"/>
              </a:cxn>
              <a:cxn ang="0">
                <a:pos x="connsiteX18293" y="connsiteY18293"/>
              </a:cxn>
              <a:cxn ang="0">
                <a:pos x="connsiteX18294" y="connsiteY18294"/>
              </a:cxn>
              <a:cxn ang="0">
                <a:pos x="connsiteX18295" y="connsiteY18295"/>
              </a:cxn>
              <a:cxn ang="0">
                <a:pos x="connsiteX18296" y="connsiteY18296"/>
              </a:cxn>
              <a:cxn ang="0">
                <a:pos x="connsiteX18297" y="connsiteY18297"/>
              </a:cxn>
              <a:cxn ang="0">
                <a:pos x="connsiteX18298" y="connsiteY18298"/>
              </a:cxn>
              <a:cxn ang="0">
                <a:pos x="connsiteX18299" y="connsiteY18299"/>
              </a:cxn>
              <a:cxn ang="0">
                <a:pos x="connsiteX18300" y="connsiteY18300"/>
              </a:cxn>
              <a:cxn ang="0">
                <a:pos x="connsiteX18301" y="connsiteY18301"/>
              </a:cxn>
              <a:cxn ang="0">
                <a:pos x="connsiteX18302" y="connsiteY18302"/>
              </a:cxn>
              <a:cxn ang="0">
                <a:pos x="connsiteX18303" y="connsiteY18303"/>
              </a:cxn>
              <a:cxn ang="0">
                <a:pos x="connsiteX18304" y="connsiteY18304"/>
              </a:cxn>
              <a:cxn ang="0">
                <a:pos x="connsiteX18305" y="connsiteY18305"/>
              </a:cxn>
              <a:cxn ang="0">
                <a:pos x="connsiteX18306" y="connsiteY18306"/>
              </a:cxn>
              <a:cxn ang="0">
                <a:pos x="connsiteX18307" y="connsiteY18307"/>
              </a:cxn>
              <a:cxn ang="0">
                <a:pos x="connsiteX18308" y="connsiteY18308"/>
              </a:cxn>
              <a:cxn ang="0">
                <a:pos x="connsiteX18309" y="connsiteY18309"/>
              </a:cxn>
              <a:cxn ang="0">
                <a:pos x="connsiteX18310" y="connsiteY18310"/>
              </a:cxn>
              <a:cxn ang="0">
                <a:pos x="connsiteX18311" y="connsiteY18311"/>
              </a:cxn>
              <a:cxn ang="0">
                <a:pos x="connsiteX18312" y="connsiteY18312"/>
              </a:cxn>
              <a:cxn ang="0">
                <a:pos x="connsiteX18313" y="connsiteY18313"/>
              </a:cxn>
              <a:cxn ang="0">
                <a:pos x="connsiteX18314" y="connsiteY18314"/>
              </a:cxn>
              <a:cxn ang="0">
                <a:pos x="connsiteX18315" y="connsiteY18315"/>
              </a:cxn>
              <a:cxn ang="0">
                <a:pos x="connsiteX18316" y="connsiteY18316"/>
              </a:cxn>
              <a:cxn ang="0">
                <a:pos x="connsiteX18317" y="connsiteY18317"/>
              </a:cxn>
              <a:cxn ang="0">
                <a:pos x="connsiteX18318" y="connsiteY18318"/>
              </a:cxn>
              <a:cxn ang="0">
                <a:pos x="connsiteX18319" y="connsiteY18319"/>
              </a:cxn>
              <a:cxn ang="0">
                <a:pos x="connsiteX18320" y="connsiteY18320"/>
              </a:cxn>
              <a:cxn ang="0">
                <a:pos x="connsiteX18321" y="connsiteY18321"/>
              </a:cxn>
              <a:cxn ang="0">
                <a:pos x="connsiteX18322" y="connsiteY18322"/>
              </a:cxn>
              <a:cxn ang="0">
                <a:pos x="connsiteX18323" y="connsiteY18323"/>
              </a:cxn>
              <a:cxn ang="0">
                <a:pos x="connsiteX18324" y="connsiteY18324"/>
              </a:cxn>
              <a:cxn ang="0">
                <a:pos x="connsiteX18325" y="connsiteY18325"/>
              </a:cxn>
              <a:cxn ang="0">
                <a:pos x="connsiteX18326" y="connsiteY18326"/>
              </a:cxn>
              <a:cxn ang="0">
                <a:pos x="connsiteX18327" y="connsiteY18327"/>
              </a:cxn>
              <a:cxn ang="0">
                <a:pos x="connsiteX18328" y="connsiteY18328"/>
              </a:cxn>
              <a:cxn ang="0">
                <a:pos x="connsiteX18329" y="connsiteY18329"/>
              </a:cxn>
              <a:cxn ang="0">
                <a:pos x="connsiteX18330" y="connsiteY18330"/>
              </a:cxn>
              <a:cxn ang="0">
                <a:pos x="connsiteX18331" y="connsiteY18331"/>
              </a:cxn>
              <a:cxn ang="0">
                <a:pos x="connsiteX18332" y="connsiteY18332"/>
              </a:cxn>
              <a:cxn ang="0">
                <a:pos x="connsiteX18333" y="connsiteY18333"/>
              </a:cxn>
              <a:cxn ang="0">
                <a:pos x="connsiteX18334" y="connsiteY18334"/>
              </a:cxn>
              <a:cxn ang="0">
                <a:pos x="connsiteX18335" y="connsiteY18335"/>
              </a:cxn>
              <a:cxn ang="0">
                <a:pos x="connsiteX18336" y="connsiteY18336"/>
              </a:cxn>
              <a:cxn ang="0">
                <a:pos x="connsiteX18337" y="connsiteY18337"/>
              </a:cxn>
              <a:cxn ang="0">
                <a:pos x="connsiteX18338" y="connsiteY18338"/>
              </a:cxn>
              <a:cxn ang="0">
                <a:pos x="connsiteX18339" y="connsiteY18339"/>
              </a:cxn>
              <a:cxn ang="0">
                <a:pos x="connsiteX18340" y="connsiteY18340"/>
              </a:cxn>
              <a:cxn ang="0">
                <a:pos x="connsiteX18341" y="connsiteY18341"/>
              </a:cxn>
              <a:cxn ang="0">
                <a:pos x="connsiteX18342" y="connsiteY18342"/>
              </a:cxn>
              <a:cxn ang="0">
                <a:pos x="connsiteX18343" y="connsiteY18343"/>
              </a:cxn>
              <a:cxn ang="0">
                <a:pos x="connsiteX18344" y="connsiteY18344"/>
              </a:cxn>
              <a:cxn ang="0">
                <a:pos x="connsiteX18345" y="connsiteY18345"/>
              </a:cxn>
              <a:cxn ang="0">
                <a:pos x="connsiteX18346" y="connsiteY18346"/>
              </a:cxn>
              <a:cxn ang="0">
                <a:pos x="connsiteX18347" y="connsiteY18347"/>
              </a:cxn>
              <a:cxn ang="0">
                <a:pos x="connsiteX18348" y="connsiteY18348"/>
              </a:cxn>
              <a:cxn ang="0">
                <a:pos x="connsiteX18349" y="connsiteY18349"/>
              </a:cxn>
              <a:cxn ang="0">
                <a:pos x="connsiteX18350" y="connsiteY18350"/>
              </a:cxn>
              <a:cxn ang="0">
                <a:pos x="connsiteX18351" y="connsiteY18351"/>
              </a:cxn>
              <a:cxn ang="0">
                <a:pos x="connsiteX18352" y="connsiteY18352"/>
              </a:cxn>
              <a:cxn ang="0">
                <a:pos x="connsiteX18353" y="connsiteY18353"/>
              </a:cxn>
              <a:cxn ang="0">
                <a:pos x="connsiteX18354" y="connsiteY18354"/>
              </a:cxn>
              <a:cxn ang="0">
                <a:pos x="connsiteX18355" y="connsiteY18355"/>
              </a:cxn>
              <a:cxn ang="0">
                <a:pos x="connsiteX18356" y="connsiteY18356"/>
              </a:cxn>
              <a:cxn ang="0">
                <a:pos x="connsiteX18357" y="connsiteY18357"/>
              </a:cxn>
              <a:cxn ang="0">
                <a:pos x="connsiteX18358" y="connsiteY18358"/>
              </a:cxn>
              <a:cxn ang="0">
                <a:pos x="connsiteX18359" y="connsiteY18359"/>
              </a:cxn>
              <a:cxn ang="0">
                <a:pos x="connsiteX18360" y="connsiteY18360"/>
              </a:cxn>
              <a:cxn ang="0">
                <a:pos x="connsiteX18361" y="connsiteY18361"/>
              </a:cxn>
              <a:cxn ang="0">
                <a:pos x="connsiteX18362" y="connsiteY18362"/>
              </a:cxn>
              <a:cxn ang="0">
                <a:pos x="connsiteX18363" y="connsiteY18363"/>
              </a:cxn>
              <a:cxn ang="0">
                <a:pos x="connsiteX18364" y="connsiteY18364"/>
              </a:cxn>
              <a:cxn ang="0">
                <a:pos x="connsiteX18365" y="connsiteY18365"/>
              </a:cxn>
              <a:cxn ang="0">
                <a:pos x="connsiteX18366" y="connsiteY18366"/>
              </a:cxn>
              <a:cxn ang="0">
                <a:pos x="connsiteX18367" y="connsiteY18367"/>
              </a:cxn>
              <a:cxn ang="0">
                <a:pos x="connsiteX18368" y="connsiteY18368"/>
              </a:cxn>
              <a:cxn ang="0">
                <a:pos x="connsiteX18369" y="connsiteY18369"/>
              </a:cxn>
              <a:cxn ang="0">
                <a:pos x="connsiteX18370" y="connsiteY18370"/>
              </a:cxn>
              <a:cxn ang="0">
                <a:pos x="connsiteX18371" y="connsiteY18371"/>
              </a:cxn>
              <a:cxn ang="0">
                <a:pos x="connsiteX18372" y="connsiteY18372"/>
              </a:cxn>
              <a:cxn ang="0">
                <a:pos x="connsiteX18373" y="connsiteY18373"/>
              </a:cxn>
              <a:cxn ang="0">
                <a:pos x="connsiteX18374" y="connsiteY18374"/>
              </a:cxn>
              <a:cxn ang="0">
                <a:pos x="connsiteX18375" y="connsiteY18375"/>
              </a:cxn>
              <a:cxn ang="0">
                <a:pos x="connsiteX18376" y="connsiteY18376"/>
              </a:cxn>
              <a:cxn ang="0">
                <a:pos x="connsiteX18377" y="connsiteY18377"/>
              </a:cxn>
              <a:cxn ang="0">
                <a:pos x="connsiteX18378" y="connsiteY18378"/>
              </a:cxn>
              <a:cxn ang="0">
                <a:pos x="connsiteX18379" y="connsiteY18379"/>
              </a:cxn>
              <a:cxn ang="0">
                <a:pos x="connsiteX18380" y="connsiteY18380"/>
              </a:cxn>
              <a:cxn ang="0">
                <a:pos x="connsiteX18381" y="connsiteY18381"/>
              </a:cxn>
              <a:cxn ang="0">
                <a:pos x="connsiteX18382" y="connsiteY18382"/>
              </a:cxn>
              <a:cxn ang="0">
                <a:pos x="connsiteX18383" y="connsiteY18383"/>
              </a:cxn>
              <a:cxn ang="0">
                <a:pos x="connsiteX18384" y="connsiteY18384"/>
              </a:cxn>
              <a:cxn ang="0">
                <a:pos x="connsiteX18385" y="connsiteY18385"/>
              </a:cxn>
              <a:cxn ang="0">
                <a:pos x="connsiteX18386" y="connsiteY18386"/>
              </a:cxn>
              <a:cxn ang="0">
                <a:pos x="connsiteX18387" y="connsiteY18387"/>
              </a:cxn>
              <a:cxn ang="0">
                <a:pos x="connsiteX18388" y="connsiteY18388"/>
              </a:cxn>
              <a:cxn ang="0">
                <a:pos x="connsiteX18389" y="connsiteY18389"/>
              </a:cxn>
              <a:cxn ang="0">
                <a:pos x="connsiteX18390" y="connsiteY18390"/>
              </a:cxn>
              <a:cxn ang="0">
                <a:pos x="connsiteX18391" y="connsiteY18391"/>
              </a:cxn>
              <a:cxn ang="0">
                <a:pos x="connsiteX18392" y="connsiteY18392"/>
              </a:cxn>
              <a:cxn ang="0">
                <a:pos x="connsiteX18393" y="connsiteY18393"/>
              </a:cxn>
              <a:cxn ang="0">
                <a:pos x="connsiteX18394" y="connsiteY18394"/>
              </a:cxn>
              <a:cxn ang="0">
                <a:pos x="connsiteX18395" y="connsiteY18395"/>
              </a:cxn>
              <a:cxn ang="0">
                <a:pos x="connsiteX18396" y="connsiteY18396"/>
              </a:cxn>
              <a:cxn ang="0">
                <a:pos x="connsiteX18397" y="connsiteY18397"/>
              </a:cxn>
              <a:cxn ang="0">
                <a:pos x="connsiteX18398" y="connsiteY18398"/>
              </a:cxn>
              <a:cxn ang="0">
                <a:pos x="connsiteX18399" y="connsiteY18399"/>
              </a:cxn>
              <a:cxn ang="0">
                <a:pos x="connsiteX18400" y="connsiteY18400"/>
              </a:cxn>
              <a:cxn ang="0">
                <a:pos x="connsiteX18401" y="connsiteY18401"/>
              </a:cxn>
              <a:cxn ang="0">
                <a:pos x="connsiteX18402" y="connsiteY18402"/>
              </a:cxn>
              <a:cxn ang="0">
                <a:pos x="connsiteX18403" y="connsiteY18403"/>
              </a:cxn>
              <a:cxn ang="0">
                <a:pos x="connsiteX18404" y="connsiteY18404"/>
              </a:cxn>
              <a:cxn ang="0">
                <a:pos x="connsiteX18405" y="connsiteY18405"/>
              </a:cxn>
              <a:cxn ang="0">
                <a:pos x="connsiteX18406" y="connsiteY18406"/>
              </a:cxn>
              <a:cxn ang="0">
                <a:pos x="connsiteX18407" y="connsiteY18407"/>
              </a:cxn>
              <a:cxn ang="0">
                <a:pos x="connsiteX18408" y="connsiteY18408"/>
              </a:cxn>
              <a:cxn ang="0">
                <a:pos x="connsiteX18409" y="connsiteY18409"/>
              </a:cxn>
              <a:cxn ang="0">
                <a:pos x="connsiteX18410" y="connsiteY18410"/>
              </a:cxn>
              <a:cxn ang="0">
                <a:pos x="connsiteX18411" y="connsiteY18411"/>
              </a:cxn>
              <a:cxn ang="0">
                <a:pos x="connsiteX18412" y="connsiteY18412"/>
              </a:cxn>
              <a:cxn ang="0">
                <a:pos x="connsiteX18413" y="connsiteY18413"/>
              </a:cxn>
              <a:cxn ang="0">
                <a:pos x="connsiteX18414" y="connsiteY18414"/>
              </a:cxn>
              <a:cxn ang="0">
                <a:pos x="connsiteX18415" y="connsiteY18415"/>
              </a:cxn>
              <a:cxn ang="0">
                <a:pos x="connsiteX18416" y="connsiteY18416"/>
              </a:cxn>
              <a:cxn ang="0">
                <a:pos x="connsiteX18417" y="connsiteY18417"/>
              </a:cxn>
              <a:cxn ang="0">
                <a:pos x="connsiteX18418" y="connsiteY18418"/>
              </a:cxn>
              <a:cxn ang="0">
                <a:pos x="connsiteX18419" y="connsiteY18419"/>
              </a:cxn>
              <a:cxn ang="0">
                <a:pos x="connsiteX18420" y="connsiteY18420"/>
              </a:cxn>
              <a:cxn ang="0">
                <a:pos x="connsiteX18421" y="connsiteY18421"/>
              </a:cxn>
              <a:cxn ang="0">
                <a:pos x="connsiteX18422" y="connsiteY18422"/>
              </a:cxn>
              <a:cxn ang="0">
                <a:pos x="connsiteX18423" y="connsiteY18423"/>
              </a:cxn>
              <a:cxn ang="0">
                <a:pos x="connsiteX18424" y="connsiteY18424"/>
              </a:cxn>
              <a:cxn ang="0">
                <a:pos x="connsiteX18425" y="connsiteY18425"/>
              </a:cxn>
              <a:cxn ang="0">
                <a:pos x="connsiteX18426" y="connsiteY18426"/>
              </a:cxn>
              <a:cxn ang="0">
                <a:pos x="connsiteX18427" y="connsiteY18427"/>
              </a:cxn>
              <a:cxn ang="0">
                <a:pos x="connsiteX18428" y="connsiteY18428"/>
              </a:cxn>
              <a:cxn ang="0">
                <a:pos x="connsiteX18429" y="connsiteY18429"/>
              </a:cxn>
              <a:cxn ang="0">
                <a:pos x="connsiteX18430" y="connsiteY18430"/>
              </a:cxn>
              <a:cxn ang="0">
                <a:pos x="connsiteX18431" y="connsiteY18431"/>
              </a:cxn>
              <a:cxn ang="0">
                <a:pos x="connsiteX18432" y="connsiteY18432"/>
              </a:cxn>
              <a:cxn ang="0">
                <a:pos x="connsiteX18433" y="connsiteY18433"/>
              </a:cxn>
              <a:cxn ang="0">
                <a:pos x="connsiteX18434" y="connsiteY18434"/>
              </a:cxn>
              <a:cxn ang="0">
                <a:pos x="connsiteX18435" y="connsiteY18435"/>
              </a:cxn>
              <a:cxn ang="0">
                <a:pos x="connsiteX18436" y="connsiteY18436"/>
              </a:cxn>
              <a:cxn ang="0">
                <a:pos x="connsiteX18437" y="connsiteY18437"/>
              </a:cxn>
              <a:cxn ang="0">
                <a:pos x="connsiteX18438" y="connsiteY18438"/>
              </a:cxn>
              <a:cxn ang="0">
                <a:pos x="connsiteX18439" y="connsiteY18439"/>
              </a:cxn>
              <a:cxn ang="0">
                <a:pos x="connsiteX18440" y="connsiteY18440"/>
              </a:cxn>
              <a:cxn ang="0">
                <a:pos x="connsiteX18441" y="connsiteY18441"/>
              </a:cxn>
              <a:cxn ang="0">
                <a:pos x="connsiteX18442" y="connsiteY18442"/>
              </a:cxn>
              <a:cxn ang="0">
                <a:pos x="connsiteX18443" y="connsiteY18443"/>
              </a:cxn>
              <a:cxn ang="0">
                <a:pos x="connsiteX18444" y="connsiteY18444"/>
              </a:cxn>
              <a:cxn ang="0">
                <a:pos x="connsiteX18445" y="connsiteY18445"/>
              </a:cxn>
              <a:cxn ang="0">
                <a:pos x="connsiteX18446" y="connsiteY18446"/>
              </a:cxn>
              <a:cxn ang="0">
                <a:pos x="connsiteX18447" y="connsiteY18447"/>
              </a:cxn>
              <a:cxn ang="0">
                <a:pos x="connsiteX18448" y="connsiteY18448"/>
              </a:cxn>
              <a:cxn ang="0">
                <a:pos x="connsiteX18449" y="connsiteY18449"/>
              </a:cxn>
              <a:cxn ang="0">
                <a:pos x="connsiteX18450" y="connsiteY18450"/>
              </a:cxn>
              <a:cxn ang="0">
                <a:pos x="connsiteX18451" y="connsiteY18451"/>
              </a:cxn>
              <a:cxn ang="0">
                <a:pos x="connsiteX18452" y="connsiteY18452"/>
              </a:cxn>
              <a:cxn ang="0">
                <a:pos x="connsiteX18453" y="connsiteY18453"/>
              </a:cxn>
              <a:cxn ang="0">
                <a:pos x="connsiteX18454" y="connsiteY18454"/>
              </a:cxn>
              <a:cxn ang="0">
                <a:pos x="connsiteX18455" y="connsiteY18455"/>
              </a:cxn>
              <a:cxn ang="0">
                <a:pos x="connsiteX18456" y="connsiteY18456"/>
              </a:cxn>
              <a:cxn ang="0">
                <a:pos x="connsiteX18457" y="connsiteY18457"/>
              </a:cxn>
              <a:cxn ang="0">
                <a:pos x="connsiteX18458" y="connsiteY18458"/>
              </a:cxn>
              <a:cxn ang="0">
                <a:pos x="connsiteX18459" y="connsiteY18459"/>
              </a:cxn>
              <a:cxn ang="0">
                <a:pos x="connsiteX18460" y="connsiteY18460"/>
              </a:cxn>
              <a:cxn ang="0">
                <a:pos x="connsiteX18461" y="connsiteY18461"/>
              </a:cxn>
              <a:cxn ang="0">
                <a:pos x="connsiteX18462" y="connsiteY18462"/>
              </a:cxn>
              <a:cxn ang="0">
                <a:pos x="connsiteX18463" y="connsiteY18463"/>
              </a:cxn>
              <a:cxn ang="0">
                <a:pos x="connsiteX18464" y="connsiteY18464"/>
              </a:cxn>
              <a:cxn ang="0">
                <a:pos x="connsiteX18465" y="connsiteY18465"/>
              </a:cxn>
              <a:cxn ang="0">
                <a:pos x="connsiteX18466" y="connsiteY18466"/>
              </a:cxn>
              <a:cxn ang="0">
                <a:pos x="connsiteX18467" y="connsiteY18467"/>
              </a:cxn>
              <a:cxn ang="0">
                <a:pos x="connsiteX18468" y="connsiteY18468"/>
              </a:cxn>
              <a:cxn ang="0">
                <a:pos x="connsiteX18469" y="connsiteY18469"/>
              </a:cxn>
              <a:cxn ang="0">
                <a:pos x="connsiteX18470" y="connsiteY18470"/>
              </a:cxn>
              <a:cxn ang="0">
                <a:pos x="connsiteX18471" y="connsiteY18471"/>
              </a:cxn>
              <a:cxn ang="0">
                <a:pos x="connsiteX18472" y="connsiteY18472"/>
              </a:cxn>
              <a:cxn ang="0">
                <a:pos x="connsiteX18473" y="connsiteY18473"/>
              </a:cxn>
              <a:cxn ang="0">
                <a:pos x="connsiteX18474" y="connsiteY18474"/>
              </a:cxn>
              <a:cxn ang="0">
                <a:pos x="connsiteX18475" y="connsiteY18475"/>
              </a:cxn>
              <a:cxn ang="0">
                <a:pos x="connsiteX18476" y="connsiteY18476"/>
              </a:cxn>
              <a:cxn ang="0">
                <a:pos x="connsiteX18477" y="connsiteY18477"/>
              </a:cxn>
              <a:cxn ang="0">
                <a:pos x="connsiteX18478" y="connsiteY18478"/>
              </a:cxn>
              <a:cxn ang="0">
                <a:pos x="connsiteX18479" y="connsiteY18479"/>
              </a:cxn>
              <a:cxn ang="0">
                <a:pos x="connsiteX18480" y="connsiteY18480"/>
              </a:cxn>
              <a:cxn ang="0">
                <a:pos x="connsiteX18481" y="connsiteY18481"/>
              </a:cxn>
              <a:cxn ang="0">
                <a:pos x="connsiteX18482" y="connsiteY18482"/>
              </a:cxn>
              <a:cxn ang="0">
                <a:pos x="connsiteX18483" y="connsiteY18483"/>
              </a:cxn>
              <a:cxn ang="0">
                <a:pos x="connsiteX18484" y="connsiteY18484"/>
              </a:cxn>
              <a:cxn ang="0">
                <a:pos x="connsiteX18485" y="connsiteY18485"/>
              </a:cxn>
              <a:cxn ang="0">
                <a:pos x="connsiteX18486" y="connsiteY18486"/>
              </a:cxn>
              <a:cxn ang="0">
                <a:pos x="connsiteX18487" y="connsiteY18487"/>
              </a:cxn>
              <a:cxn ang="0">
                <a:pos x="connsiteX18488" y="connsiteY18488"/>
              </a:cxn>
              <a:cxn ang="0">
                <a:pos x="connsiteX18489" y="connsiteY18489"/>
              </a:cxn>
              <a:cxn ang="0">
                <a:pos x="connsiteX18490" y="connsiteY18490"/>
              </a:cxn>
              <a:cxn ang="0">
                <a:pos x="connsiteX18491" y="connsiteY18491"/>
              </a:cxn>
              <a:cxn ang="0">
                <a:pos x="connsiteX18492" y="connsiteY18492"/>
              </a:cxn>
              <a:cxn ang="0">
                <a:pos x="connsiteX18493" y="connsiteY18493"/>
              </a:cxn>
              <a:cxn ang="0">
                <a:pos x="connsiteX18494" y="connsiteY18494"/>
              </a:cxn>
              <a:cxn ang="0">
                <a:pos x="connsiteX18495" y="connsiteY18495"/>
              </a:cxn>
              <a:cxn ang="0">
                <a:pos x="connsiteX18496" y="connsiteY18496"/>
              </a:cxn>
              <a:cxn ang="0">
                <a:pos x="connsiteX18497" y="connsiteY18497"/>
              </a:cxn>
              <a:cxn ang="0">
                <a:pos x="connsiteX18498" y="connsiteY18498"/>
              </a:cxn>
              <a:cxn ang="0">
                <a:pos x="connsiteX18499" y="connsiteY18499"/>
              </a:cxn>
              <a:cxn ang="0">
                <a:pos x="connsiteX18500" y="connsiteY18500"/>
              </a:cxn>
              <a:cxn ang="0">
                <a:pos x="connsiteX18501" y="connsiteY18501"/>
              </a:cxn>
              <a:cxn ang="0">
                <a:pos x="connsiteX18502" y="connsiteY18502"/>
              </a:cxn>
              <a:cxn ang="0">
                <a:pos x="connsiteX18503" y="connsiteY18503"/>
              </a:cxn>
              <a:cxn ang="0">
                <a:pos x="connsiteX18504" y="connsiteY18504"/>
              </a:cxn>
              <a:cxn ang="0">
                <a:pos x="connsiteX18505" y="connsiteY18505"/>
              </a:cxn>
              <a:cxn ang="0">
                <a:pos x="connsiteX18506" y="connsiteY18506"/>
              </a:cxn>
              <a:cxn ang="0">
                <a:pos x="connsiteX18507" y="connsiteY18507"/>
              </a:cxn>
              <a:cxn ang="0">
                <a:pos x="connsiteX18508" y="connsiteY18508"/>
              </a:cxn>
              <a:cxn ang="0">
                <a:pos x="connsiteX18509" y="connsiteY18509"/>
              </a:cxn>
              <a:cxn ang="0">
                <a:pos x="connsiteX18510" y="connsiteY18510"/>
              </a:cxn>
              <a:cxn ang="0">
                <a:pos x="connsiteX18511" y="connsiteY18511"/>
              </a:cxn>
              <a:cxn ang="0">
                <a:pos x="connsiteX18512" y="connsiteY18512"/>
              </a:cxn>
              <a:cxn ang="0">
                <a:pos x="connsiteX18513" y="connsiteY18513"/>
              </a:cxn>
              <a:cxn ang="0">
                <a:pos x="connsiteX18514" y="connsiteY18514"/>
              </a:cxn>
              <a:cxn ang="0">
                <a:pos x="connsiteX18515" y="connsiteY18515"/>
              </a:cxn>
              <a:cxn ang="0">
                <a:pos x="connsiteX18516" y="connsiteY18516"/>
              </a:cxn>
              <a:cxn ang="0">
                <a:pos x="connsiteX18517" y="connsiteY18517"/>
              </a:cxn>
              <a:cxn ang="0">
                <a:pos x="connsiteX18518" y="connsiteY18518"/>
              </a:cxn>
              <a:cxn ang="0">
                <a:pos x="connsiteX18519" y="connsiteY18519"/>
              </a:cxn>
              <a:cxn ang="0">
                <a:pos x="connsiteX18520" y="connsiteY18520"/>
              </a:cxn>
              <a:cxn ang="0">
                <a:pos x="connsiteX18521" y="connsiteY18521"/>
              </a:cxn>
              <a:cxn ang="0">
                <a:pos x="connsiteX18522" y="connsiteY18522"/>
              </a:cxn>
              <a:cxn ang="0">
                <a:pos x="connsiteX18523" y="connsiteY18523"/>
              </a:cxn>
              <a:cxn ang="0">
                <a:pos x="connsiteX18524" y="connsiteY18524"/>
              </a:cxn>
              <a:cxn ang="0">
                <a:pos x="connsiteX18525" y="connsiteY18525"/>
              </a:cxn>
              <a:cxn ang="0">
                <a:pos x="connsiteX18526" y="connsiteY18526"/>
              </a:cxn>
              <a:cxn ang="0">
                <a:pos x="connsiteX18527" y="connsiteY18527"/>
              </a:cxn>
              <a:cxn ang="0">
                <a:pos x="connsiteX18528" y="connsiteY18528"/>
              </a:cxn>
              <a:cxn ang="0">
                <a:pos x="connsiteX18529" y="connsiteY18529"/>
              </a:cxn>
              <a:cxn ang="0">
                <a:pos x="connsiteX18530" y="connsiteY18530"/>
              </a:cxn>
              <a:cxn ang="0">
                <a:pos x="connsiteX18531" y="connsiteY18531"/>
              </a:cxn>
              <a:cxn ang="0">
                <a:pos x="connsiteX18532" y="connsiteY18532"/>
              </a:cxn>
              <a:cxn ang="0">
                <a:pos x="connsiteX18533" y="connsiteY18533"/>
              </a:cxn>
              <a:cxn ang="0">
                <a:pos x="connsiteX18534" y="connsiteY18534"/>
              </a:cxn>
              <a:cxn ang="0">
                <a:pos x="connsiteX18535" y="connsiteY18535"/>
              </a:cxn>
              <a:cxn ang="0">
                <a:pos x="connsiteX18536" y="connsiteY18536"/>
              </a:cxn>
              <a:cxn ang="0">
                <a:pos x="connsiteX18537" y="connsiteY18537"/>
              </a:cxn>
              <a:cxn ang="0">
                <a:pos x="connsiteX18538" y="connsiteY18538"/>
              </a:cxn>
              <a:cxn ang="0">
                <a:pos x="connsiteX18539" y="connsiteY18539"/>
              </a:cxn>
              <a:cxn ang="0">
                <a:pos x="connsiteX18540" y="connsiteY18540"/>
              </a:cxn>
              <a:cxn ang="0">
                <a:pos x="connsiteX18541" y="connsiteY18541"/>
              </a:cxn>
              <a:cxn ang="0">
                <a:pos x="connsiteX18542" y="connsiteY18542"/>
              </a:cxn>
              <a:cxn ang="0">
                <a:pos x="connsiteX18543" y="connsiteY18543"/>
              </a:cxn>
              <a:cxn ang="0">
                <a:pos x="connsiteX18544" y="connsiteY18544"/>
              </a:cxn>
              <a:cxn ang="0">
                <a:pos x="connsiteX18545" y="connsiteY18545"/>
              </a:cxn>
              <a:cxn ang="0">
                <a:pos x="connsiteX18546" y="connsiteY18546"/>
              </a:cxn>
              <a:cxn ang="0">
                <a:pos x="connsiteX18547" y="connsiteY18547"/>
              </a:cxn>
              <a:cxn ang="0">
                <a:pos x="connsiteX18548" y="connsiteY18548"/>
              </a:cxn>
              <a:cxn ang="0">
                <a:pos x="connsiteX18549" y="connsiteY18549"/>
              </a:cxn>
              <a:cxn ang="0">
                <a:pos x="connsiteX18550" y="connsiteY18550"/>
              </a:cxn>
              <a:cxn ang="0">
                <a:pos x="connsiteX18551" y="connsiteY18551"/>
              </a:cxn>
              <a:cxn ang="0">
                <a:pos x="connsiteX18552" y="connsiteY18552"/>
              </a:cxn>
              <a:cxn ang="0">
                <a:pos x="connsiteX18553" y="connsiteY18553"/>
              </a:cxn>
              <a:cxn ang="0">
                <a:pos x="connsiteX18554" y="connsiteY18554"/>
              </a:cxn>
              <a:cxn ang="0">
                <a:pos x="connsiteX18555" y="connsiteY18555"/>
              </a:cxn>
              <a:cxn ang="0">
                <a:pos x="connsiteX18556" y="connsiteY18556"/>
              </a:cxn>
              <a:cxn ang="0">
                <a:pos x="connsiteX18557" y="connsiteY18557"/>
              </a:cxn>
              <a:cxn ang="0">
                <a:pos x="connsiteX18558" y="connsiteY18558"/>
              </a:cxn>
              <a:cxn ang="0">
                <a:pos x="connsiteX18559" y="connsiteY18559"/>
              </a:cxn>
              <a:cxn ang="0">
                <a:pos x="connsiteX18560" y="connsiteY18560"/>
              </a:cxn>
              <a:cxn ang="0">
                <a:pos x="connsiteX18561" y="connsiteY18561"/>
              </a:cxn>
              <a:cxn ang="0">
                <a:pos x="connsiteX18562" y="connsiteY18562"/>
              </a:cxn>
              <a:cxn ang="0">
                <a:pos x="connsiteX18563" y="connsiteY18563"/>
              </a:cxn>
              <a:cxn ang="0">
                <a:pos x="connsiteX18564" y="connsiteY18564"/>
              </a:cxn>
              <a:cxn ang="0">
                <a:pos x="connsiteX18565" y="connsiteY18565"/>
              </a:cxn>
              <a:cxn ang="0">
                <a:pos x="connsiteX18566" y="connsiteY18566"/>
              </a:cxn>
              <a:cxn ang="0">
                <a:pos x="connsiteX18567" y="connsiteY18567"/>
              </a:cxn>
              <a:cxn ang="0">
                <a:pos x="connsiteX18568" y="connsiteY18568"/>
              </a:cxn>
              <a:cxn ang="0">
                <a:pos x="connsiteX18569" y="connsiteY18569"/>
              </a:cxn>
              <a:cxn ang="0">
                <a:pos x="connsiteX18570" y="connsiteY18570"/>
              </a:cxn>
              <a:cxn ang="0">
                <a:pos x="connsiteX18571" y="connsiteY18571"/>
              </a:cxn>
              <a:cxn ang="0">
                <a:pos x="connsiteX18572" y="connsiteY18572"/>
              </a:cxn>
              <a:cxn ang="0">
                <a:pos x="connsiteX18573" y="connsiteY18573"/>
              </a:cxn>
              <a:cxn ang="0">
                <a:pos x="connsiteX18574" y="connsiteY18574"/>
              </a:cxn>
              <a:cxn ang="0">
                <a:pos x="connsiteX18575" y="connsiteY18575"/>
              </a:cxn>
              <a:cxn ang="0">
                <a:pos x="connsiteX18576" y="connsiteY18576"/>
              </a:cxn>
              <a:cxn ang="0">
                <a:pos x="connsiteX18577" y="connsiteY18577"/>
              </a:cxn>
              <a:cxn ang="0">
                <a:pos x="connsiteX18578" y="connsiteY18578"/>
              </a:cxn>
              <a:cxn ang="0">
                <a:pos x="connsiteX18579" y="connsiteY18579"/>
              </a:cxn>
              <a:cxn ang="0">
                <a:pos x="connsiteX18580" y="connsiteY18580"/>
              </a:cxn>
              <a:cxn ang="0">
                <a:pos x="connsiteX18581" y="connsiteY18581"/>
              </a:cxn>
              <a:cxn ang="0">
                <a:pos x="connsiteX18582" y="connsiteY18582"/>
              </a:cxn>
              <a:cxn ang="0">
                <a:pos x="connsiteX18583" y="connsiteY18583"/>
              </a:cxn>
              <a:cxn ang="0">
                <a:pos x="connsiteX18584" y="connsiteY18584"/>
              </a:cxn>
              <a:cxn ang="0">
                <a:pos x="connsiteX18585" y="connsiteY18585"/>
              </a:cxn>
              <a:cxn ang="0">
                <a:pos x="connsiteX18586" y="connsiteY18586"/>
              </a:cxn>
              <a:cxn ang="0">
                <a:pos x="connsiteX18587" y="connsiteY18587"/>
              </a:cxn>
              <a:cxn ang="0">
                <a:pos x="connsiteX18588" y="connsiteY18588"/>
              </a:cxn>
              <a:cxn ang="0">
                <a:pos x="connsiteX18589" y="connsiteY18589"/>
              </a:cxn>
              <a:cxn ang="0">
                <a:pos x="connsiteX18590" y="connsiteY18590"/>
              </a:cxn>
              <a:cxn ang="0">
                <a:pos x="connsiteX18591" y="connsiteY18591"/>
              </a:cxn>
              <a:cxn ang="0">
                <a:pos x="connsiteX18592" y="connsiteY18592"/>
              </a:cxn>
              <a:cxn ang="0">
                <a:pos x="connsiteX18593" y="connsiteY18593"/>
              </a:cxn>
              <a:cxn ang="0">
                <a:pos x="connsiteX18594" y="connsiteY18594"/>
              </a:cxn>
              <a:cxn ang="0">
                <a:pos x="connsiteX18595" y="connsiteY18595"/>
              </a:cxn>
              <a:cxn ang="0">
                <a:pos x="connsiteX18596" y="connsiteY18596"/>
              </a:cxn>
              <a:cxn ang="0">
                <a:pos x="connsiteX18597" y="connsiteY18597"/>
              </a:cxn>
              <a:cxn ang="0">
                <a:pos x="connsiteX18598" y="connsiteY18598"/>
              </a:cxn>
              <a:cxn ang="0">
                <a:pos x="connsiteX18599" y="connsiteY18599"/>
              </a:cxn>
              <a:cxn ang="0">
                <a:pos x="connsiteX18600" y="connsiteY18600"/>
              </a:cxn>
              <a:cxn ang="0">
                <a:pos x="connsiteX18601" y="connsiteY18601"/>
              </a:cxn>
              <a:cxn ang="0">
                <a:pos x="connsiteX18602" y="connsiteY18602"/>
              </a:cxn>
              <a:cxn ang="0">
                <a:pos x="connsiteX18603" y="connsiteY18603"/>
              </a:cxn>
              <a:cxn ang="0">
                <a:pos x="connsiteX18604" y="connsiteY18604"/>
              </a:cxn>
              <a:cxn ang="0">
                <a:pos x="connsiteX18605" y="connsiteY18605"/>
              </a:cxn>
              <a:cxn ang="0">
                <a:pos x="connsiteX18606" y="connsiteY18606"/>
              </a:cxn>
              <a:cxn ang="0">
                <a:pos x="connsiteX18607" y="connsiteY18607"/>
              </a:cxn>
              <a:cxn ang="0">
                <a:pos x="connsiteX18608" y="connsiteY18608"/>
              </a:cxn>
              <a:cxn ang="0">
                <a:pos x="connsiteX18609" y="connsiteY18609"/>
              </a:cxn>
              <a:cxn ang="0">
                <a:pos x="connsiteX18610" y="connsiteY18610"/>
              </a:cxn>
              <a:cxn ang="0">
                <a:pos x="connsiteX18611" y="connsiteY18611"/>
              </a:cxn>
              <a:cxn ang="0">
                <a:pos x="connsiteX18612" y="connsiteY18612"/>
              </a:cxn>
              <a:cxn ang="0">
                <a:pos x="connsiteX18613" y="connsiteY18613"/>
              </a:cxn>
              <a:cxn ang="0">
                <a:pos x="connsiteX18614" y="connsiteY18614"/>
              </a:cxn>
              <a:cxn ang="0">
                <a:pos x="connsiteX18615" y="connsiteY18615"/>
              </a:cxn>
              <a:cxn ang="0">
                <a:pos x="connsiteX18616" y="connsiteY18616"/>
              </a:cxn>
              <a:cxn ang="0">
                <a:pos x="connsiteX18617" y="connsiteY18617"/>
              </a:cxn>
              <a:cxn ang="0">
                <a:pos x="connsiteX18618" y="connsiteY18618"/>
              </a:cxn>
              <a:cxn ang="0">
                <a:pos x="connsiteX18619" y="connsiteY18619"/>
              </a:cxn>
              <a:cxn ang="0">
                <a:pos x="connsiteX18620" y="connsiteY18620"/>
              </a:cxn>
              <a:cxn ang="0">
                <a:pos x="connsiteX18621" y="connsiteY18621"/>
              </a:cxn>
              <a:cxn ang="0">
                <a:pos x="connsiteX18622" y="connsiteY18622"/>
              </a:cxn>
              <a:cxn ang="0">
                <a:pos x="connsiteX18623" y="connsiteY18623"/>
              </a:cxn>
              <a:cxn ang="0">
                <a:pos x="connsiteX18624" y="connsiteY18624"/>
              </a:cxn>
              <a:cxn ang="0">
                <a:pos x="connsiteX18625" y="connsiteY18625"/>
              </a:cxn>
              <a:cxn ang="0">
                <a:pos x="connsiteX18626" y="connsiteY18626"/>
              </a:cxn>
              <a:cxn ang="0">
                <a:pos x="connsiteX18627" y="connsiteY18627"/>
              </a:cxn>
              <a:cxn ang="0">
                <a:pos x="connsiteX18628" y="connsiteY18628"/>
              </a:cxn>
              <a:cxn ang="0">
                <a:pos x="connsiteX18629" y="connsiteY18629"/>
              </a:cxn>
              <a:cxn ang="0">
                <a:pos x="connsiteX18630" y="connsiteY18630"/>
              </a:cxn>
              <a:cxn ang="0">
                <a:pos x="connsiteX18631" y="connsiteY18631"/>
              </a:cxn>
              <a:cxn ang="0">
                <a:pos x="connsiteX18632" y="connsiteY18632"/>
              </a:cxn>
              <a:cxn ang="0">
                <a:pos x="connsiteX18633" y="connsiteY18633"/>
              </a:cxn>
              <a:cxn ang="0">
                <a:pos x="connsiteX18634" y="connsiteY18634"/>
              </a:cxn>
              <a:cxn ang="0">
                <a:pos x="connsiteX18635" y="connsiteY18635"/>
              </a:cxn>
              <a:cxn ang="0">
                <a:pos x="connsiteX18636" y="connsiteY18636"/>
              </a:cxn>
              <a:cxn ang="0">
                <a:pos x="connsiteX18637" y="connsiteY18637"/>
              </a:cxn>
              <a:cxn ang="0">
                <a:pos x="connsiteX18638" y="connsiteY18638"/>
              </a:cxn>
              <a:cxn ang="0">
                <a:pos x="connsiteX18639" y="connsiteY18639"/>
              </a:cxn>
              <a:cxn ang="0">
                <a:pos x="connsiteX18640" y="connsiteY18640"/>
              </a:cxn>
              <a:cxn ang="0">
                <a:pos x="connsiteX18641" y="connsiteY18641"/>
              </a:cxn>
              <a:cxn ang="0">
                <a:pos x="connsiteX18642" y="connsiteY18642"/>
              </a:cxn>
              <a:cxn ang="0">
                <a:pos x="connsiteX18643" y="connsiteY18643"/>
              </a:cxn>
              <a:cxn ang="0">
                <a:pos x="connsiteX18644" y="connsiteY18644"/>
              </a:cxn>
              <a:cxn ang="0">
                <a:pos x="connsiteX18645" y="connsiteY18645"/>
              </a:cxn>
              <a:cxn ang="0">
                <a:pos x="connsiteX18646" y="connsiteY18646"/>
              </a:cxn>
              <a:cxn ang="0">
                <a:pos x="connsiteX18647" y="connsiteY18647"/>
              </a:cxn>
              <a:cxn ang="0">
                <a:pos x="connsiteX18648" y="connsiteY18648"/>
              </a:cxn>
              <a:cxn ang="0">
                <a:pos x="connsiteX18649" y="connsiteY18649"/>
              </a:cxn>
              <a:cxn ang="0">
                <a:pos x="connsiteX18650" y="connsiteY18650"/>
              </a:cxn>
              <a:cxn ang="0">
                <a:pos x="connsiteX18651" y="connsiteY18651"/>
              </a:cxn>
              <a:cxn ang="0">
                <a:pos x="connsiteX18652" y="connsiteY18652"/>
              </a:cxn>
              <a:cxn ang="0">
                <a:pos x="connsiteX18653" y="connsiteY18653"/>
              </a:cxn>
              <a:cxn ang="0">
                <a:pos x="connsiteX18654" y="connsiteY18654"/>
              </a:cxn>
              <a:cxn ang="0">
                <a:pos x="connsiteX18655" y="connsiteY18655"/>
              </a:cxn>
              <a:cxn ang="0">
                <a:pos x="connsiteX18656" y="connsiteY18656"/>
              </a:cxn>
              <a:cxn ang="0">
                <a:pos x="connsiteX18657" y="connsiteY18657"/>
              </a:cxn>
              <a:cxn ang="0">
                <a:pos x="connsiteX18658" y="connsiteY18658"/>
              </a:cxn>
              <a:cxn ang="0">
                <a:pos x="connsiteX18659" y="connsiteY18659"/>
              </a:cxn>
              <a:cxn ang="0">
                <a:pos x="connsiteX18660" y="connsiteY18660"/>
              </a:cxn>
              <a:cxn ang="0">
                <a:pos x="connsiteX18661" y="connsiteY18661"/>
              </a:cxn>
              <a:cxn ang="0">
                <a:pos x="connsiteX18662" y="connsiteY18662"/>
              </a:cxn>
              <a:cxn ang="0">
                <a:pos x="connsiteX18663" y="connsiteY18663"/>
              </a:cxn>
              <a:cxn ang="0">
                <a:pos x="connsiteX18664" y="connsiteY18664"/>
              </a:cxn>
              <a:cxn ang="0">
                <a:pos x="connsiteX18665" y="connsiteY18665"/>
              </a:cxn>
              <a:cxn ang="0">
                <a:pos x="connsiteX18666" y="connsiteY18666"/>
              </a:cxn>
              <a:cxn ang="0">
                <a:pos x="connsiteX18667" y="connsiteY18667"/>
              </a:cxn>
              <a:cxn ang="0">
                <a:pos x="connsiteX18668" y="connsiteY18668"/>
              </a:cxn>
              <a:cxn ang="0">
                <a:pos x="connsiteX18669" y="connsiteY18669"/>
              </a:cxn>
              <a:cxn ang="0">
                <a:pos x="connsiteX18670" y="connsiteY18670"/>
              </a:cxn>
              <a:cxn ang="0">
                <a:pos x="connsiteX18671" y="connsiteY18671"/>
              </a:cxn>
              <a:cxn ang="0">
                <a:pos x="connsiteX18672" y="connsiteY18672"/>
              </a:cxn>
              <a:cxn ang="0">
                <a:pos x="connsiteX18673" y="connsiteY18673"/>
              </a:cxn>
              <a:cxn ang="0">
                <a:pos x="connsiteX18674" y="connsiteY18674"/>
              </a:cxn>
              <a:cxn ang="0">
                <a:pos x="connsiteX18675" y="connsiteY18675"/>
              </a:cxn>
              <a:cxn ang="0">
                <a:pos x="connsiteX18676" y="connsiteY18676"/>
              </a:cxn>
              <a:cxn ang="0">
                <a:pos x="connsiteX18677" y="connsiteY18677"/>
              </a:cxn>
              <a:cxn ang="0">
                <a:pos x="connsiteX18678" y="connsiteY18678"/>
              </a:cxn>
              <a:cxn ang="0">
                <a:pos x="connsiteX18679" y="connsiteY18679"/>
              </a:cxn>
              <a:cxn ang="0">
                <a:pos x="connsiteX18680" y="connsiteY18680"/>
              </a:cxn>
              <a:cxn ang="0">
                <a:pos x="connsiteX18681" y="connsiteY18681"/>
              </a:cxn>
              <a:cxn ang="0">
                <a:pos x="connsiteX18682" y="connsiteY18682"/>
              </a:cxn>
              <a:cxn ang="0">
                <a:pos x="connsiteX18683" y="connsiteY18683"/>
              </a:cxn>
              <a:cxn ang="0">
                <a:pos x="connsiteX18684" y="connsiteY18684"/>
              </a:cxn>
              <a:cxn ang="0">
                <a:pos x="connsiteX18685" y="connsiteY18685"/>
              </a:cxn>
              <a:cxn ang="0">
                <a:pos x="connsiteX18686" y="connsiteY18686"/>
              </a:cxn>
              <a:cxn ang="0">
                <a:pos x="connsiteX18687" y="connsiteY18687"/>
              </a:cxn>
              <a:cxn ang="0">
                <a:pos x="connsiteX18688" y="connsiteY18688"/>
              </a:cxn>
              <a:cxn ang="0">
                <a:pos x="connsiteX18689" y="connsiteY18689"/>
              </a:cxn>
              <a:cxn ang="0">
                <a:pos x="connsiteX18690" y="connsiteY18690"/>
              </a:cxn>
              <a:cxn ang="0">
                <a:pos x="connsiteX18691" y="connsiteY18691"/>
              </a:cxn>
              <a:cxn ang="0">
                <a:pos x="connsiteX18692" y="connsiteY18692"/>
              </a:cxn>
              <a:cxn ang="0">
                <a:pos x="connsiteX18693" y="connsiteY18693"/>
              </a:cxn>
              <a:cxn ang="0">
                <a:pos x="connsiteX18694" y="connsiteY18694"/>
              </a:cxn>
              <a:cxn ang="0">
                <a:pos x="connsiteX18695" y="connsiteY18695"/>
              </a:cxn>
              <a:cxn ang="0">
                <a:pos x="connsiteX18696" y="connsiteY18696"/>
              </a:cxn>
              <a:cxn ang="0">
                <a:pos x="connsiteX18697" y="connsiteY18697"/>
              </a:cxn>
              <a:cxn ang="0">
                <a:pos x="connsiteX18698" y="connsiteY18698"/>
              </a:cxn>
              <a:cxn ang="0">
                <a:pos x="connsiteX18699" y="connsiteY18699"/>
              </a:cxn>
              <a:cxn ang="0">
                <a:pos x="connsiteX18700" y="connsiteY18700"/>
              </a:cxn>
              <a:cxn ang="0">
                <a:pos x="connsiteX18701" y="connsiteY18701"/>
              </a:cxn>
              <a:cxn ang="0">
                <a:pos x="connsiteX18702" y="connsiteY18702"/>
              </a:cxn>
              <a:cxn ang="0">
                <a:pos x="connsiteX18703" y="connsiteY18703"/>
              </a:cxn>
              <a:cxn ang="0">
                <a:pos x="connsiteX18704" y="connsiteY18704"/>
              </a:cxn>
              <a:cxn ang="0">
                <a:pos x="connsiteX18705" y="connsiteY18705"/>
              </a:cxn>
              <a:cxn ang="0">
                <a:pos x="connsiteX18706" y="connsiteY18706"/>
              </a:cxn>
              <a:cxn ang="0">
                <a:pos x="connsiteX18707" y="connsiteY18707"/>
              </a:cxn>
              <a:cxn ang="0">
                <a:pos x="connsiteX18708" y="connsiteY18708"/>
              </a:cxn>
              <a:cxn ang="0">
                <a:pos x="connsiteX18709" y="connsiteY18709"/>
              </a:cxn>
              <a:cxn ang="0">
                <a:pos x="connsiteX18710" y="connsiteY18710"/>
              </a:cxn>
              <a:cxn ang="0">
                <a:pos x="connsiteX18711" y="connsiteY18711"/>
              </a:cxn>
              <a:cxn ang="0">
                <a:pos x="connsiteX18712" y="connsiteY18712"/>
              </a:cxn>
              <a:cxn ang="0">
                <a:pos x="connsiteX18713" y="connsiteY18713"/>
              </a:cxn>
              <a:cxn ang="0">
                <a:pos x="connsiteX18714" y="connsiteY18714"/>
              </a:cxn>
              <a:cxn ang="0">
                <a:pos x="connsiteX18715" y="connsiteY18715"/>
              </a:cxn>
              <a:cxn ang="0">
                <a:pos x="connsiteX18716" y="connsiteY18716"/>
              </a:cxn>
              <a:cxn ang="0">
                <a:pos x="connsiteX18717" y="connsiteY18717"/>
              </a:cxn>
              <a:cxn ang="0">
                <a:pos x="connsiteX18718" y="connsiteY18718"/>
              </a:cxn>
              <a:cxn ang="0">
                <a:pos x="connsiteX18719" y="connsiteY18719"/>
              </a:cxn>
              <a:cxn ang="0">
                <a:pos x="connsiteX18720" y="connsiteY18720"/>
              </a:cxn>
              <a:cxn ang="0">
                <a:pos x="connsiteX18721" y="connsiteY18721"/>
              </a:cxn>
              <a:cxn ang="0">
                <a:pos x="connsiteX18722" y="connsiteY18722"/>
              </a:cxn>
              <a:cxn ang="0">
                <a:pos x="connsiteX18723" y="connsiteY18723"/>
              </a:cxn>
              <a:cxn ang="0">
                <a:pos x="connsiteX18724" y="connsiteY18724"/>
              </a:cxn>
              <a:cxn ang="0">
                <a:pos x="connsiteX18725" y="connsiteY18725"/>
              </a:cxn>
              <a:cxn ang="0">
                <a:pos x="connsiteX18726" y="connsiteY18726"/>
              </a:cxn>
              <a:cxn ang="0">
                <a:pos x="connsiteX18727" y="connsiteY18727"/>
              </a:cxn>
              <a:cxn ang="0">
                <a:pos x="connsiteX18728" y="connsiteY18728"/>
              </a:cxn>
              <a:cxn ang="0">
                <a:pos x="connsiteX18729" y="connsiteY18729"/>
              </a:cxn>
              <a:cxn ang="0">
                <a:pos x="connsiteX18730" y="connsiteY18730"/>
              </a:cxn>
              <a:cxn ang="0">
                <a:pos x="connsiteX18731" y="connsiteY18731"/>
              </a:cxn>
              <a:cxn ang="0">
                <a:pos x="connsiteX18732" y="connsiteY18732"/>
              </a:cxn>
              <a:cxn ang="0">
                <a:pos x="connsiteX18733" y="connsiteY18733"/>
              </a:cxn>
              <a:cxn ang="0">
                <a:pos x="connsiteX18734" y="connsiteY18734"/>
              </a:cxn>
              <a:cxn ang="0">
                <a:pos x="connsiteX18735" y="connsiteY18735"/>
              </a:cxn>
              <a:cxn ang="0">
                <a:pos x="connsiteX18736" y="connsiteY18736"/>
              </a:cxn>
              <a:cxn ang="0">
                <a:pos x="connsiteX18737" y="connsiteY18737"/>
              </a:cxn>
              <a:cxn ang="0">
                <a:pos x="connsiteX18738" y="connsiteY18738"/>
              </a:cxn>
              <a:cxn ang="0">
                <a:pos x="connsiteX18739" y="connsiteY18739"/>
              </a:cxn>
              <a:cxn ang="0">
                <a:pos x="connsiteX18740" y="connsiteY18740"/>
              </a:cxn>
              <a:cxn ang="0">
                <a:pos x="connsiteX18741" y="connsiteY18741"/>
              </a:cxn>
              <a:cxn ang="0">
                <a:pos x="connsiteX18742" y="connsiteY18742"/>
              </a:cxn>
              <a:cxn ang="0">
                <a:pos x="connsiteX18743" y="connsiteY18743"/>
              </a:cxn>
              <a:cxn ang="0">
                <a:pos x="connsiteX18744" y="connsiteY18744"/>
              </a:cxn>
              <a:cxn ang="0">
                <a:pos x="connsiteX18745" y="connsiteY18745"/>
              </a:cxn>
              <a:cxn ang="0">
                <a:pos x="connsiteX18746" y="connsiteY18746"/>
              </a:cxn>
              <a:cxn ang="0">
                <a:pos x="connsiteX18747" y="connsiteY18747"/>
              </a:cxn>
              <a:cxn ang="0">
                <a:pos x="connsiteX18748" y="connsiteY18748"/>
              </a:cxn>
              <a:cxn ang="0">
                <a:pos x="connsiteX18749" y="connsiteY18749"/>
              </a:cxn>
              <a:cxn ang="0">
                <a:pos x="connsiteX18750" y="connsiteY18750"/>
              </a:cxn>
              <a:cxn ang="0">
                <a:pos x="connsiteX18751" y="connsiteY18751"/>
              </a:cxn>
              <a:cxn ang="0">
                <a:pos x="connsiteX18752" y="connsiteY18752"/>
              </a:cxn>
              <a:cxn ang="0">
                <a:pos x="connsiteX18753" y="connsiteY18753"/>
              </a:cxn>
              <a:cxn ang="0">
                <a:pos x="connsiteX18754" y="connsiteY18754"/>
              </a:cxn>
              <a:cxn ang="0">
                <a:pos x="connsiteX18755" y="connsiteY18755"/>
              </a:cxn>
              <a:cxn ang="0">
                <a:pos x="connsiteX18756" y="connsiteY18756"/>
              </a:cxn>
              <a:cxn ang="0">
                <a:pos x="connsiteX18757" y="connsiteY18757"/>
              </a:cxn>
              <a:cxn ang="0">
                <a:pos x="connsiteX18758" y="connsiteY18758"/>
              </a:cxn>
              <a:cxn ang="0">
                <a:pos x="connsiteX18759" y="connsiteY18759"/>
              </a:cxn>
              <a:cxn ang="0">
                <a:pos x="connsiteX18760" y="connsiteY18760"/>
              </a:cxn>
              <a:cxn ang="0">
                <a:pos x="connsiteX18761" y="connsiteY18761"/>
              </a:cxn>
              <a:cxn ang="0">
                <a:pos x="connsiteX18762" y="connsiteY18762"/>
              </a:cxn>
              <a:cxn ang="0">
                <a:pos x="connsiteX18763" y="connsiteY18763"/>
              </a:cxn>
              <a:cxn ang="0">
                <a:pos x="connsiteX18764" y="connsiteY18764"/>
              </a:cxn>
              <a:cxn ang="0">
                <a:pos x="connsiteX18765" y="connsiteY18765"/>
              </a:cxn>
              <a:cxn ang="0">
                <a:pos x="connsiteX18766" y="connsiteY18766"/>
              </a:cxn>
              <a:cxn ang="0">
                <a:pos x="connsiteX18767" y="connsiteY18767"/>
              </a:cxn>
              <a:cxn ang="0">
                <a:pos x="connsiteX18768" y="connsiteY18768"/>
              </a:cxn>
              <a:cxn ang="0">
                <a:pos x="connsiteX18769" y="connsiteY18769"/>
              </a:cxn>
              <a:cxn ang="0">
                <a:pos x="connsiteX18770" y="connsiteY18770"/>
              </a:cxn>
              <a:cxn ang="0">
                <a:pos x="connsiteX18771" y="connsiteY18771"/>
              </a:cxn>
              <a:cxn ang="0">
                <a:pos x="connsiteX18772" y="connsiteY18772"/>
              </a:cxn>
              <a:cxn ang="0">
                <a:pos x="connsiteX18773" y="connsiteY18773"/>
              </a:cxn>
              <a:cxn ang="0">
                <a:pos x="connsiteX18774" y="connsiteY18774"/>
              </a:cxn>
              <a:cxn ang="0">
                <a:pos x="connsiteX18775" y="connsiteY18775"/>
              </a:cxn>
              <a:cxn ang="0">
                <a:pos x="connsiteX18776" y="connsiteY18776"/>
              </a:cxn>
              <a:cxn ang="0">
                <a:pos x="connsiteX18777" y="connsiteY18777"/>
              </a:cxn>
              <a:cxn ang="0">
                <a:pos x="connsiteX18778" y="connsiteY18778"/>
              </a:cxn>
              <a:cxn ang="0">
                <a:pos x="connsiteX18779" y="connsiteY18779"/>
              </a:cxn>
              <a:cxn ang="0">
                <a:pos x="connsiteX18780" y="connsiteY18780"/>
              </a:cxn>
              <a:cxn ang="0">
                <a:pos x="connsiteX18781" y="connsiteY18781"/>
              </a:cxn>
              <a:cxn ang="0">
                <a:pos x="connsiteX18782" y="connsiteY18782"/>
              </a:cxn>
              <a:cxn ang="0">
                <a:pos x="connsiteX18783" y="connsiteY18783"/>
              </a:cxn>
              <a:cxn ang="0">
                <a:pos x="connsiteX18784" y="connsiteY18784"/>
              </a:cxn>
              <a:cxn ang="0">
                <a:pos x="connsiteX18785" y="connsiteY18785"/>
              </a:cxn>
              <a:cxn ang="0">
                <a:pos x="connsiteX18786" y="connsiteY18786"/>
              </a:cxn>
              <a:cxn ang="0">
                <a:pos x="connsiteX18787" y="connsiteY18787"/>
              </a:cxn>
              <a:cxn ang="0">
                <a:pos x="connsiteX18788" y="connsiteY18788"/>
              </a:cxn>
              <a:cxn ang="0">
                <a:pos x="connsiteX18789" y="connsiteY18789"/>
              </a:cxn>
              <a:cxn ang="0">
                <a:pos x="connsiteX18790" y="connsiteY18790"/>
              </a:cxn>
              <a:cxn ang="0">
                <a:pos x="connsiteX18791" y="connsiteY18791"/>
              </a:cxn>
              <a:cxn ang="0">
                <a:pos x="connsiteX18792" y="connsiteY18792"/>
              </a:cxn>
              <a:cxn ang="0">
                <a:pos x="connsiteX18793" y="connsiteY18793"/>
              </a:cxn>
              <a:cxn ang="0">
                <a:pos x="connsiteX18794" y="connsiteY18794"/>
              </a:cxn>
              <a:cxn ang="0">
                <a:pos x="connsiteX18795" y="connsiteY18795"/>
              </a:cxn>
              <a:cxn ang="0">
                <a:pos x="connsiteX18796" y="connsiteY18796"/>
              </a:cxn>
              <a:cxn ang="0">
                <a:pos x="connsiteX18797" y="connsiteY18797"/>
              </a:cxn>
              <a:cxn ang="0">
                <a:pos x="connsiteX18798" y="connsiteY18798"/>
              </a:cxn>
              <a:cxn ang="0">
                <a:pos x="connsiteX18799" y="connsiteY18799"/>
              </a:cxn>
              <a:cxn ang="0">
                <a:pos x="connsiteX18800" y="connsiteY18800"/>
              </a:cxn>
              <a:cxn ang="0">
                <a:pos x="connsiteX18801" y="connsiteY18801"/>
              </a:cxn>
              <a:cxn ang="0">
                <a:pos x="connsiteX18802" y="connsiteY18802"/>
              </a:cxn>
              <a:cxn ang="0">
                <a:pos x="connsiteX18803" y="connsiteY18803"/>
              </a:cxn>
              <a:cxn ang="0">
                <a:pos x="connsiteX18804" y="connsiteY18804"/>
              </a:cxn>
              <a:cxn ang="0">
                <a:pos x="connsiteX18805" y="connsiteY18805"/>
              </a:cxn>
              <a:cxn ang="0">
                <a:pos x="connsiteX18806" y="connsiteY18806"/>
              </a:cxn>
              <a:cxn ang="0">
                <a:pos x="connsiteX18807" y="connsiteY18807"/>
              </a:cxn>
              <a:cxn ang="0">
                <a:pos x="connsiteX18808" y="connsiteY18808"/>
              </a:cxn>
              <a:cxn ang="0">
                <a:pos x="connsiteX18809" y="connsiteY18809"/>
              </a:cxn>
              <a:cxn ang="0">
                <a:pos x="connsiteX18810" y="connsiteY18810"/>
              </a:cxn>
              <a:cxn ang="0">
                <a:pos x="connsiteX18811" y="connsiteY18811"/>
              </a:cxn>
              <a:cxn ang="0">
                <a:pos x="connsiteX18812" y="connsiteY18812"/>
              </a:cxn>
              <a:cxn ang="0">
                <a:pos x="connsiteX18813" y="connsiteY18813"/>
              </a:cxn>
              <a:cxn ang="0">
                <a:pos x="connsiteX18814" y="connsiteY18814"/>
              </a:cxn>
              <a:cxn ang="0">
                <a:pos x="connsiteX18815" y="connsiteY18815"/>
              </a:cxn>
              <a:cxn ang="0">
                <a:pos x="connsiteX18816" y="connsiteY18816"/>
              </a:cxn>
              <a:cxn ang="0">
                <a:pos x="connsiteX18817" y="connsiteY18817"/>
              </a:cxn>
              <a:cxn ang="0">
                <a:pos x="connsiteX18818" y="connsiteY18818"/>
              </a:cxn>
              <a:cxn ang="0">
                <a:pos x="connsiteX18819" y="connsiteY18819"/>
              </a:cxn>
              <a:cxn ang="0">
                <a:pos x="connsiteX18820" y="connsiteY18820"/>
              </a:cxn>
              <a:cxn ang="0">
                <a:pos x="connsiteX18821" y="connsiteY18821"/>
              </a:cxn>
              <a:cxn ang="0">
                <a:pos x="connsiteX18822" y="connsiteY18822"/>
              </a:cxn>
              <a:cxn ang="0">
                <a:pos x="connsiteX18823" y="connsiteY18823"/>
              </a:cxn>
              <a:cxn ang="0">
                <a:pos x="connsiteX18824" y="connsiteY18824"/>
              </a:cxn>
              <a:cxn ang="0">
                <a:pos x="connsiteX18825" y="connsiteY18825"/>
              </a:cxn>
              <a:cxn ang="0">
                <a:pos x="connsiteX18826" y="connsiteY18826"/>
              </a:cxn>
              <a:cxn ang="0">
                <a:pos x="connsiteX18827" y="connsiteY18827"/>
              </a:cxn>
              <a:cxn ang="0">
                <a:pos x="connsiteX18828" y="connsiteY18828"/>
              </a:cxn>
              <a:cxn ang="0">
                <a:pos x="connsiteX18829" y="connsiteY18829"/>
              </a:cxn>
              <a:cxn ang="0">
                <a:pos x="connsiteX18830" y="connsiteY18830"/>
              </a:cxn>
              <a:cxn ang="0">
                <a:pos x="connsiteX18831" y="connsiteY18831"/>
              </a:cxn>
              <a:cxn ang="0">
                <a:pos x="connsiteX18832" y="connsiteY18832"/>
              </a:cxn>
              <a:cxn ang="0">
                <a:pos x="connsiteX18833" y="connsiteY18833"/>
              </a:cxn>
              <a:cxn ang="0">
                <a:pos x="connsiteX18834" y="connsiteY18834"/>
              </a:cxn>
              <a:cxn ang="0">
                <a:pos x="connsiteX18835" y="connsiteY18835"/>
              </a:cxn>
              <a:cxn ang="0">
                <a:pos x="connsiteX18836" y="connsiteY18836"/>
              </a:cxn>
              <a:cxn ang="0">
                <a:pos x="connsiteX18837" y="connsiteY18837"/>
              </a:cxn>
              <a:cxn ang="0">
                <a:pos x="connsiteX18838" y="connsiteY18838"/>
              </a:cxn>
              <a:cxn ang="0">
                <a:pos x="connsiteX18839" y="connsiteY18839"/>
              </a:cxn>
              <a:cxn ang="0">
                <a:pos x="connsiteX18840" y="connsiteY18840"/>
              </a:cxn>
              <a:cxn ang="0">
                <a:pos x="connsiteX18841" y="connsiteY18841"/>
              </a:cxn>
              <a:cxn ang="0">
                <a:pos x="connsiteX18842" y="connsiteY18842"/>
              </a:cxn>
              <a:cxn ang="0">
                <a:pos x="connsiteX18843" y="connsiteY18843"/>
              </a:cxn>
              <a:cxn ang="0">
                <a:pos x="connsiteX18844" y="connsiteY18844"/>
              </a:cxn>
              <a:cxn ang="0">
                <a:pos x="connsiteX18845" y="connsiteY18845"/>
              </a:cxn>
              <a:cxn ang="0">
                <a:pos x="connsiteX18846" y="connsiteY18846"/>
              </a:cxn>
              <a:cxn ang="0">
                <a:pos x="connsiteX18847" y="connsiteY18847"/>
              </a:cxn>
              <a:cxn ang="0">
                <a:pos x="connsiteX18848" y="connsiteY18848"/>
              </a:cxn>
              <a:cxn ang="0">
                <a:pos x="connsiteX18849" y="connsiteY18849"/>
              </a:cxn>
              <a:cxn ang="0">
                <a:pos x="connsiteX18850" y="connsiteY18850"/>
              </a:cxn>
              <a:cxn ang="0">
                <a:pos x="connsiteX18851" y="connsiteY18851"/>
              </a:cxn>
              <a:cxn ang="0">
                <a:pos x="connsiteX18852" y="connsiteY18852"/>
              </a:cxn>
              <a:cxn ang="0">
                <a:pos x="connsiteX18853" y="connsiteY18853"/>
              </a:cxn>
              <a:cxn ang="0">
                <a:pos x="connsiteX18854" y="connsiteY18854"/>
              </a:cxn>
              <a:cxn ang="0">
                <a:pos x="connsiteX18855" y="connsiteY18855"/>
              </a:cxn>
              <a:cxn ang="0">
                <a:pos x="connsiteX18856" y="connsiteY18856"/>
              </a:cxn>
              <a:cxn ang="0">
                <a:pos x="connsiteX18857" y="connsiteY18857"/>
              </a:cxn>
              <a:cxn ang="0">
                <a:pos x="connsiteX18858" y="connsiteY18858"/>
              </a:cxn>
              <a:cxn ang="0">
                <a:pos x="connsiteX18859" y="connsiteY18859"/>
              </a:cxn>
              <a:cxn ang="0">
                <a:pos x="connsiteX18860" y="connsiteY18860"/>
              </a:cxn>
              <a:cxn ang="0">
                <a:pos x="connsiteX18861" y="connsiteY18861"/>
              </a:cxn>
              <a:cxn ang="0">
                <a:pos x="connsiteX18862" y="connsiteY18862"/>
              </a:cxn>
              <a:cxn ang="0">
                <a:pos x="connsiteX18863" y="connsiteY18863"/>
              </a:cxn>
              <a:cxn ang="0">
                <a:pos x="connsiteX18864" y="connsiteY18864"/>
              </a:cxn>
              <a:cxn ang="0">
                <a:pos x="connsiteX18865" y="connsiteY18865"/>
              </a:cxn>
              <a:cxn ang="0">
                <a:pos x="connsiteX18866" y="connsiteY18866"/>
              </a:cxn>
              <a:cxn ang="0">
                <a:pos x="connsiteX18867" y="connsiteY18867"/>
              </a:cxn>
              <a:cxn ang="0">
                <a:pos x="connsiteX18868" y="connsiteY18868"/>
              </a:cxn>
              <a:cxn ang="0">
                <a:pos x="connsiteX18869" y="connsiteY18869"/>
              </a:cxn>
              <a:cxn ang="0">
                <a:pos x="connsiteX18870" y="connsiteY18870"/>
              </a:cxn>
              <a:cxn ang="0">
                <a:pos x="connsiteX18871" y="connsiteY18871"/>
              </a:cxn>
              <a:cxn ang="0">
                <a:pos x="connsiteX18872" y="connsiteY18872"/>
              </a:cxn>
              <a:cxn ang="0">
                <a:pos x="connsiteX18873" y="connsiteY18873"/>
              </a:cxn>
              <a:cxn ang="0">
                <a:pos x="connsiteX18874" y="connsiteY18874"/>
              </a:cxn>
              <a:cxn ang="0">
                <a:pos x="connsiteX18875" y="connsiteY18875"/>
              </a:cxn>
              <a:cxn ang="0">
                <a:pos x="connsiteX18876" y="connsiteY18876"/>
              </a:cxn>
              <a:cxn ang="0">
                <a:pos x="connsiteX18877" y="connsiteY18877"/>
              </a:cxn>
              <a:cxn ang="0">
                <a:pos x="connsiteX18878" y="connsiteY18878"/>
              </a:cxn>
              <a:cxn ang="0">
                <a:pos x="connsiteX18879" y="connsiteY18879"/>
              </a:cxn>
              <a:cxn ang="0">
                <a:pos x="connsiteX18880" y="connsiteY18880"/>
              </a:cxn>
              <a:cxn ang="0">
                <a:pos x="connsiteX18881" y="connsiteY18881"/>
              </a:cxn>
              <a:cxn ang="0">
                <a:pos x="connsiteX18882" y="connsiteY18882"/>
              </a:cxn>
              <a:cxn ang="0">
                <a:pos x="connsiteX18883" y="connsiteY18883"/>
              </a:cxn>
              <a:cxn ang="0">
                <a:pos x="connsiteX18884" y="connsiteY18884"/>
              </a:cxn>
              <a:cxn ang="0">
                <a:pos x="connsiteX18885" y="connsiteY18885"/>
              </a:cxn>
              <a:cxn ang="0">
                <a:pos x="connsiteX18886" y="connsiteY18886"/>
              </a:cxn>
              <a:cxn ang="0">
                <a:pos x="connsiteX18887" y="connsiteY18887"/>
              </a:cxn>
              <a:cxn ang="0">
                <a:pos x="connsiteX18888" y="connsiteY18888"/>
              </a:cxn>
              <a:cxn ang="0">
                <a:pos x="connsiteX18889" y="connsiteY18889"/>
              </a:cxn>
              <a:cxn ang="0">
                <a:pos x="connsiteX18890" y="connsiteY18890"/>
              </a:cxn>
              <a:cxn ang="0">
                <a:pos x="connsiteX18891" y="connsiteY18891"/>
              </a:cxn>
              <a:cxn ang="0">
                <a:pos x="connsiteX18892" y="connsiteY18892"/>
              </a:cxn>
              <a:cxn ang="0">
                <a:pos x="connsiteX18893" y="connsiteY18893"/>
              </a:cxn>
              <a:cxn ang="0">
                <a:pos x="connsiteX18894" y="connsiteY18894"/>
              </a:cxn>
              <a:cxn ang="0">
                <a:pos x="connsiteX18895" y="connsiteY18895"/>
              </a:cxn>
              <a:cxn ang="0">
                <a:pos x="connsiteX18896" y="connsiteY18896"/>
              </a:cxn>
              <a:cxn ang="0">
                <a:pos x="connsiteX18897" y="connsiteY18897"/>
              </a:cxn>
              <a:cxn ang="0">
                <a:pos x="connsiteX18898" y="connsiteY18898"/>
              </a:cxn>
              <a:cxn ang="0">
                <a:pos x="connsiteX18899" y="connsiteY18899"/>
              </a:cxn>
              <a:cxn ang="0">
                <a:pos x="connsiteX18900" y="connsiteY18900"/>
              </a:cxn>
              <a:cxn ang="0">
                <a:pos x="connsiteX18901" y="connsiteY18901"/>
              </a:cxn>
              <a:cxn ang="0">
                <a:pos x="connsiteX18902" y="connsiteY18902"/>
              </a:cxn>
              <a:cxn ang="0">
                <a:pos x="connsiteX18903" y="connsiteY18903"/>
              </a:cxn>
              <a:cxn ang="0">
                <a:pos x="connsiteX18904" y="connsiteY18904"/>
              </a:cxn>
              <a:cxn ang="0">
                <a:pos x="connsiteX18905" y="connsiteY18905"/>
              </a:cxn>
              <a:cxn ang="0">
                <a:pos x="connsiteX18906" y="connsiteY18906"/>
              </a:cxn>
              <a:cxn ang="0">
                <a:pos x="connsiteX18907" y="connsiteY18907"/>
              </a:cxn>
              <a:cxn ang="0">
                <a:pos x="connsiteX18908" y="connsiteY18908"/>
              </a:cxn>
              <a:cxn ang="0">
                <a:pos x="connsiteX18909" y="connsiteY18909"/>
              </a:cxn>
              <a:cxn ang="0">
                <a:pos x="connsiteX18910" y="connsiteY18910"/>
              </a:cxn>
              <a:cxn ang="0">
                <a:pos x="connsiteX18911" y="connsiteY18911"/>
              </a:cxn>
              <a:cxn ang="0">
                <a:pos x="connsiteX18912" y="connsiteY18912"/>
              </a:cxn>
              <a:cxn ang="0">
                <a:pos x="connsiteX18913" y="connsiteY18913"/>
              </a:cxn>
              <a:cxn ang="0">
                <a:pos x="connsiteX18914" y="connsiteY18914"/>
              </a:cxn>
              <a:cxn ang="0">
                <a:pos x="connsiteX18915" y="connsiteY18915"/>
              </a:cxn>
              <a:cxn ang="0">
                <a:pos x="connsiteX18916" y="connsiteY18916"/>
              </a:cxn>
              <a:cxn ang="0">
                <a:pos x="connsiteX18917" y="connsiteY18917"/>
              </a:cxn>
              <a:cxn ang="0">
                <a:pos x="connsiteX18918" y="connsiteY18918"/>
              </a:cxn>
              <a:cxn ang="0">
                <a:pos x="connsiteX18919" y="connsiteY18919"/>
              </a:cxn>
              <a:cxn ang="0">
                <a:pos x="connsiteX18920" y="connsiteY18920"/>
              </a:cxn>
              <a:cxn ang="0">
                <a:pos x="connsiteX18921" y="connsiteY18921"/>
              </a:cxn>
              <a:cxn ang="0">
                <a:pos x="connsiteX18922" y="connsiteY18922"/>
              </a:cxn>
              <a:cxn ang="0">
                <a:pos x="connsiteX18923" y="connsiteY18923"/>
              </a:cxn>
              <a:cxn ang="0">
                <a:pos x="connsiteX18924" y="connsiteY18924"/>
              </a:cxn>
              <a:cxn ang="0">
                <a:pos x="connsiteX18925" y="connsiteY18925"/>
              </a:cxn>
              <a:cxn ang="0">
                <a:pos x="connsiteX18926" y="connsiteY18926"/>
              </a:cxn>
              <a:cxn ang="0">
                <a:pos x="connsiteX18927" y="connsiteY18927"/>
              </a:cxn>
              <a:cxn ang="0">
                <a:pos x="connsiteX18928" y="connsiteY18928"/>
              </a:cxn>
              <a:cxn ang="0">
                <a:pos x="connsiteX18929" y="connsiteY18929"/>
              </a:cxn>
              <a:cxn ang="0">
                <a:pos x="connsiteX18930" y="connsiteY18930"/>
              </a:cxn>
              <a:cxn ang="0">
                <a:pos x="connsiteX18931" y="connsiteY18931"/>
              </a:cxn>
              <a:cxn ang="0">
                <a:pos x="connsiteX18932" y="connsiteY18932"/>
              </a:cxn>
              <a:cxn ang="0">
                <a:pos x="connsiteX18933" y="connsiteY18933"/>
              </a:cxn>
              <a:cxn ang="0">
                <a:pos x="connsiteX18934" y="connsiteY18934"/>
              </a:cxn>
              <a:cxn ang="0">
                <a:pos x="connsiteX18935" y="connsiteY18935"/>
              </a:cxn>
              <a:cxn ang="0">
                <a:pos x="connsiteX18936" y="connsiteY18936"/>
              </a:cxn>
              <a:cxn ang="0">
                <a:pos x="connsiteX18937" y="connsiteY18937"/>
              </a:cxn>
              <a:cxn ang="0">
                <a:pos x="connsiteX18938" y="connsiteY18938"/>
              </a:cxn>
              <a:cxn ang="0">
                <a:pos x="connsiteX18939" y="connsiteY18939"/>
              </a:cxn>
              <a:cxn ang="0">
                <a:pos x="connsiteX18940" y="connsiteY18940"/>
              </a:cxn>
              <a:cxn ang="0">
                <a:pos x="connsiteX18941" y="connsiteY18941"/>
              </a:cxn>
              <a:cxn ang="0">
                <a:pos x="connsiteX18942" y="connsiteY18942"/>
              </a:cxn>
              <a:cxn ang="0">
                <a:pos x="connsiteX18943" y="connsiteY18943"/>
              </a:cxn>
              <a:cxn ang="0">
                <a:pos x="connsiteX18944" y="connsiteY18944"/>
              </a:cxn>
              <a:cxn ang="0">
                <a:pos x="connsiteX18945" y="connsiteY18945"/>
              </a:cxn>
              <a:cxn ang="0">
                <a:pos x="connsiteX18946" y="connsiteY18946"/>
              </a:cxn>
              <a:cxn ang="0">
                <a:pos x="connsiteX18947" y="connsiteY18947"/>
              </a:cxn>
              <a:cxn ang="0">
                <a:pos x="connsiteX18948" y="connsiteY18948"/>
              </a:cxn>
              <a:cxn ang="0">
                <a:pos x="connsiteX18949" y="connsiteY18949"/>
              </a:cxn>
              <a:cxn ang="0">
                <a:pos x="connsiteX18950" y="connsiteY18950"/>
              </a:cxn>
              <a:cxn ang="0">
                <a:pos x="connsiteX18951" y="connsiteY18951"/>
              </a:cxn>
              <a:cxn ang="0">
                <a:pos x="connsiteX18952" y="connsiteY18952"/>
              </a:cxn>
              <a:cxn ang="0">
                <a:pos x="connsiteX18953" y="connsiteY18953"/>
              </a:cxn>
              <a:cxn ang="0">
                <a:pos x="connsiteX18954" y="connsiteY18954"/>
              </a:cxn>
              <a:cxn ang="0">
                <a:pos x="connsiteX18955" y="connsiteY18955"/>
              </a:cxn>
              <a:cxn ang="0">
                <a:pos x="connsiteX18956" y="connsiteY18956"/>
              </a:cxn>
              <a:cxn ang="0">
                <a:pos x="connsiteX18957" y="connsiteY18957"/>
              </a:cxn>
              <a:cxn ang="0">
                <a:pos x="connsiteX18958" y="connsiteY18958"/>
              </a:cxn>
              <a:cxn ang="0">
                <a:pos x="connsiteX18959" y="connsiteY18959"/>
              </a:cxn>
              <a:cxn ang="0">
                <a:pos x="connsiteX18960" y="connsiteY18960"/>
              </a:cxn>
              <a:cxn ang="0">
                <a:pos x="connsiteX18961" y="connsiteY18961"/>
              </a:cxn>
              <a:cxn ang="0">
                <a:pos x="connsiteX18962" y="connsiteY18962"/>
              </a:cxn>
              <a:cxn ang="0">
                <a:pos x="connsiteX18963" y="connsiteY18963"/>
              </a:cxn>
              <a:cxn ang="0">
                <a:pos x="connsiteX18964" y="connsiteY18964"/>
              </a:cxn>
              <a:cxn ang="0">
                <a:pos x="connsiteX18965" y="connsiteY18965"/>
              </a:cxn>
              <a:cxn ang="0">
                <a:pos x="connsiteX18966" y="connsiteY18966"/>
              </a:cxn>
              <a:cxn ang="0">
                <a:pos x="connsiteX18967" y="connsiteY18967"/>
              </a:cxn>
              <a:cxn ang="0">
                <a:pos x="connsiteX18968" y="connsiteY18968"/>
              </a:cxn>
              <a:cxn ang="0">
                <a:pos x="connsiteX18969" y="connsiteY18969"/>
              </a:cxn>
              <a:cxn ang="0">
                <a:pos x="connsiteX18970" y="connsiteY18970"/>
              </a:cxn>
              <a:cxn ang="0">
                <a:pos x="connsiteX18971" y="connsiteY18971"/>
              </a:cxn>
              <a:cxn ang="0">
                <a:pos x="connsiteX18972" y="connsiteY18972"/>
              </a:cxn>
              <a:cxn ang="0">
                <a:pos x="connsiteX18973" y="connsiteY18973"/>
              </a:cxn>
              <a:cxn ang="0">
                <a:pos x="connsiteX18974" y="connsiteY18974"/>
              </a:cxn>
              <a:cxn ang="0">
                <a:pos x="connsiteX18975" y="connsiteY18975"/>
              </a:cxn>
              <a:cxn ang="0">
                <a:pos x="connsiteX18976" y="connsiteY18976"/>
              </a:cxn>
              <a:cxn ang="0">
                <a:pos x="connsiteX18977" y="connsiteY18977"/>
              </a:cxn>
              <a:cxn ang="0">
                <a:pos x="connsiteX18978" y="connsiteY18978"/>
              </a:cxn>
              <a:cxn ang="0">
                <a:pos x="connsiteX18979" y="connsiteY18979"/>
              </a:cxn>
              <a:cxn ang="0">
                <a:pos x="connsiteX18980" y="connsiteY18980"/>
              </a:cxn>
              <a:cxn ang="0">
                <a:pos x="connsiteX18981" y="connsiteY18981"/>
              </a:cxn>
              <a:cxn ang="0">
                <a:pos x="connsiteX18982" y="connsiteY18982"/>
              </a:cxn>
              <a:cxn ang="0">
                <a:pos x="connsiteX18983" y="connsiteY18983"/>
              </a:cxn>
              <a:cxn ang="0">
                <a:pos x="connsiteX18984" y="connsiteY18984"/>
              </a:cxn>
              <a:cxn ang="0">
                <a:pos x="connsiteX18985" y="connsiteY18985"/>
              </a:cxn>
              <a:cxn ang="0">
                <a:pos x="connsiteX18986" y="connsiteY18986"/>
              </a:cxn>
              <a:cxn ang="0">
                <a:pos x="connsiteX18987" y="connsiteY18987"/>
              </a:cxn>
              <a:cxn ang="0">
                <a:pos x="connsiteX18988" y="connsiteY18988"/>
              </a:cxn>
              <a:cxn ang="0">
                <a:pos x="connsiteX18989" y="connsiteY18989"/>
              </a:cxn>
              <a:cxn ang="0">
                <a:pos x="connsiteX18990" y="connsiteY18990"/>
              </a:cxn>
              <a:cxn ang="0">
                <a:pos x="connsiteX18991" y="connsiteY18991"/>
              </a:cxn>
              <a:cxn ang="0">
                <a:pos x="connsiteX18992" y="connsiteY18992"/>
              </a:cxn>
              <a:cxn ang="0">
                <a:pos x="connsiteX18993" y="connsiteY18993"/>
              </a:cxn>
              <a:cxn ang="0">
                <a:pos x="connsiteX18994" y="connsiteY18994"/>
              </a:cxn>
              <a:cxn ang="0">
                <a:pos x="connsiteX18995" y="connsiteY18995"/>
              </a:cxn>
              <a:cxn ang="0">
                <a:pos x="connsiteX18996" y="connsiteY18996"/>
              </a:cxn>
              <a:cxn ang="0">
                <a:pos x="connsiteX18997" y="connsiteY18997"/>
              </a:cxn>
              <a:cxn ang="0">
                <a:pos x="connsiteX18998" y="connsiteY18998"/>
              </a:cxn>
              <a:cxn ang="0">
                <a:pos x="connsiteX18999" y="connsiteY18999"/>
              </a:cxn>
              <a:cxn ang="0">
                <a:pos x="connsiteX19000" y="connsiteY19000"/>
              </a:cxn>
              <a:cxn ang="0">
                <a:pos x="connsiteX19001" y="connsiteY19001"/>
              </a:cxn>
              <a:cxn ang="0">
                <a:pos x="connsiteX19002" y="connsiteY19002"/>
              </a:cxn>
              <a:cxn ang="0">
                <a:pos x="connsiteX19003" y="connsiteY19003"/>
              </a:cxn>
              <a:cxn ang="0">
                <a:pos x="connsiteX19004" y="connsiteY19004"/>
              </a:cxn>
              <a:cxn ang="0">
                <a:pos x="connsiteX19005" y="connsiteY19005"/>
              </a:cxn>
              <a:cxn ang="0">
                <a:pos x="connsiteX19006" y="connsiteY19006"/>
              </a:cxn>
              <a:cxn ang="0">
                <a:pos x="connsiteX19007" y="connsiteY19007"/>
              </a:cxn>
              <a:cxn ang="0">
                <a:pos x="connsiteX19008" y="connsiteY19008"/>
              </a:cxn>
              <a:cxn ang="0">
                <a:pos x="connsiteX19009" y="connsiteY19009"/>
              </a:cxn>
              <a:cxn ang="0">
                <a:pos x="connsiteX19010" y="connsiteY19010"/>
              </a:cxn>
              <a:cxn ang="0">
                <a:pos x="connsiteX19011" y="connsiteY19011"/>
              </a:cxn>
              <a:cxn ang="0">
                <a:pos x="connsiteX19012" y="connsiteY19012"/>
              </a:cxn>
              <a:cxn ang="0">
                <a:pos x="connsiteX19013" y="connsiteY19013"/>
              </a:cxn>
              <a:cxn ang="0">
                <a:pos x="connsiteX19014" y="connsiteY19014"/>
              </a:cxn>
              <a:cxn ang="0">
                <a:pos x="connsiteX19015" y="connsiteY19015"/>
              </a:cxn>
              <a:cxn ang="0">
                <a:pos x="connsiteX19016" y="connsiteY19016"/>
              </a:cxn>
              <a:cxn ang="0">
                <a:pos x="connsiteX19017" y="connsiteY19017"/>
              </a:cxn>
              <a:cxn ang="0">
                <a:pos x="connsiteX19018" y="connsiteY19018"/>
              </a:cxn>
              <a:cxn ang="0">
                <a:pos x="connsiteX19019" y="connsiteY19019"/>
              </a:cxn>
              <a:cxn ang="0">
                <a:pos x="connsiteX19020" y="connsiteY19020"/>
              </a:cxn>
              <a:cxn ang="0">
                <a:pos x="connsiteX19021" y="connsiteY19021"/>
              </a:cxn>
              <a:cxn ang="0">
                <a:pos x="connsiteX19022" y="connsiteY19022"/>
              </a:cxn>
              <a:cxn ang="0">
                <a:pos x="connsiteX19023" y="connsiteY19023"/>
              </a:cxn>
              <a:cxn ang="0">
                <a:pos x="connsiteX19024" y="connsiteY19024"/>
              </a:cxn>
              <a:cxn ang="0">
                <a:pos x="connsiteX19025" y="connsiteY19025"/>
              </a:cxn>
              <a:cxn ang="0">
                <a:pos x="connsiteX19026" y="connsiteY19026"/>
              </a:cxn>
              <a:cxn ang="0">
                <a:pos x="connsiteX19027" y="connsiteY19027"/>
              </a:cxn>
              <a:cxn ang="0">
                <a:pos x="connsiteX19028" y="connsiteY19028"/>
              </a:cxn>
              <a:cxn ang="0">
                <a:pos x="connsiteX19029" y="connsiteY19029"/>
              </a:cxn>
              <a:cxn ang="0">
                <a:pos x="connsiteX19030" y="connsiteY19030"/>
              </a:cxn>
              <a:cxn ang="0">
                <a:pos x="connsiteX19031" y="connsiteY19031"/>
              </a:cxn>
              <a:cxn ang="0">
                <a:pos x="connsiteX19032" y="connsiteY19032"/>
              </a:cxn>
              <a:cxn ang="0">
                <a:pos x="connsiteX19033" y="connsiteY19033"/>
              </a:cxn>
              <a:cxn ang="0">
                <a:pos x="connsiteX19034" y="connsiteY19034"/>
              </a:cxn>
              <a:cxn ang="0">
                <a:pos x="connsiteX19035" y="connsiteY19035"/>
              </a:cxn>
              <a:cxn ang="0">
                <a:pos x="connsiteX19036" y="connsiteY19036"/>
              </a:cxn>
              <a:cxn ang="0">
                <a:pos x="connsiteX19037" y="connsiteY19037"/>
              </a:cxn>
              <a:cxn ang="0">
                <a:pos x="connsiteX19038" y="connsiteY19038"/>
              </a:cxn>
              <a:cxn ang="0">
                <a:pos x="connsiteX19039" y="connsiteY19039"/>
              </a:cxn>
              <a:cxn ang="0">
                <a:pos x="connsiteX19040" y="connsiteY19040"/>
              </a:cxn>
              <a:cxn ang="0">
                <a:pos x="connsiteX19041" y="connsiteY19041"/>
              </a:cxn>
              <a:cxn ang="0">
                <a:pos x="connsiteX19042" y="connsiteY19042"/>
              </a:cxn>
              <a:cxn ang="0">
                <a:pos x="connsiteX19043" y="connsiteY19043"/>
              </a:cxn>
              <a:cxn ang="0">
                <a:pos x="connsiteX19044" y="connsiteY19044"/>
              </a:cxn>
              <a:cxn ang="0">
                <a:pos x="connsiteX19045" y="connsiteY19045"/>
              </a:cxn>
              <a:cxn ang="0">
                <a:pos x="connsiteX19046" y="connsiteY19046"/>
              </a:cxn>
              <a:cxn ang="0">
                <a:pos x="connsiteX19047" y="connsiteY19047"/>
              </a:cxn>
              <a:cxn ang="0">
                <a:pos x="connsiteX19048" y="connsiteY19048"/>
              </a:cxn>
              <a:cxn ang="0">
                <a:pos x="connsiteX19049" y="connsiteY19049"/>
              </a:cxn>
              <a:cxn ang="0">
                <a:pos x="connsiteX19050" y="connsiteY19050"/>
              </a:cxn>
              <a:cxn ang="0">
                <a:pos x="connsiteX19051" y="connsiteY19051"/>
              </a:cxn>
              <a:cxn ang="0">
                <a:pos x="connsiteX19052" y="connsiteY19052"/>
              </a:cxn>
              <a:cxn ang="0">
                <a:pos x="connsiteX19053" y="connsiteY19053"/>
              </a:cxn>
              <a:cxn ang="0">
                <a:pos x="connsiteX19054" y="connsiteY19054"/>
              </a:cxn>
              <a:cxn ang="0">
                <a:pos x="connsiteX19055" y="connsiteY19055"/>
              </a:cxn>
              <a:cxn ang="0">
                <a:pos x="connsiteX19056" y="connsiteY19056"/>
              </a:cxn>
              <a:cxn ang="0">
                <a:pos x="connsiteX19057" y="connsiteY19057"/>
              </a:cxn>
              <a:cxn ang="0">
                <a:pos x="connsiteX19058" y="connsiteY19058"/>
              </a:cxn>
              <a:cxn ang="0">
                <a:pos x="connsiteX19059" y="connsiteY19059"/>
              </a:cxn>
              <a:cxn ang="0">
                <a:pos x="connsiteX19060" y="connsiteY19060"/>
              </a:cxn>
              <a:cxn ang="0">
                <a:pos x="connsiteX19061" y="connsiteY19061"/>
              </a:cxn>
              <a:cxn ang="0">
                <a:pos x="connsiteX19062" y="connsiteY19062"/>
              </a:cxn>
              <a:cxn ang="0">
                <a:pos x="connsiteX19063" y="connsiteY19063"/>
              </a:cxn>
              <a:cxn ang="0">
                <a:pos x="connsiteX19064" y="connsiteY19064"/>
              </a:cxn>
              <a:cxn ang="0">
                <a:pos x="connsiteX19065" y="connsiteY19065"/>
              </a:cxn>
              <a:cxn ang="0">
                <a:pos x="connsiteX19066" y="connsiteY19066"/>
              </a:cxn>
              <a:cxn ang="0">
                <a:pos x="connsiteX19067" y="connsiteY19067"/>
              </a:cxn>
              <a:cxn ang="0">
                <a:pos x="connsiteX19068" y="connsiteY19068"/>
              </a:cxn>
              <a:cxn ang="0">
                <a:pos x="connsiteX19069" y="connsiteY19069"/>
              </a:cxn>
              <a:cxn ang="0">
                <a:pos x="connsiteX19070" y="connsiteY19070"/>
              </a:cxn>
              <a:cxn ang="0">
                <a:pos x="connsiteX19071" y="connsiteY19071"/>
              </a:cxn>
              <a:cxn ang="0">
                <a:pos x="connsiteX19072" y="connsiteY19072"/>
              </a:cxn>
              <a:cxn ang="0">
                <a:pos x="connsiteX19073" y="connsiteY19073"/>
              </a:cxn>
              <a:cxn ang="0">
                <a:pos x="connsiteX19074" y="connsiteY19074"/>
              </a:cxn>
              <a:cxn ang="0">
                <a:pos x="connsiteX19075" y="connsiteY19075"/>
              </a:cxn>
              <a:cxn ang="0">
                <a:pos x="connsiteX19076" y="connsiteY19076"/>
              </a:cxn>
              <a:cxn ang="0">
                <a:pos x="connsiteX19077" y="connsiteY19077"/>
              </a:cxn>
              <a:cxn ang="0">
                <a:pos x="connsiteX19078" y="connsiteY19078"/>
              </a:cxn>
              <a:cxn ang="0">
                <a:pos x="connsiteX19079" y="connsiteY19079"/>
              </a:cxn>
              <a:cxn ang="0">
                <a:pos x="connsiteX19080" y="connsiteY19080"/>
              </a:cxn>
              <a:cxn ang="0">
                <a:pos x="connsiteX19081" y="connsiteY19081"/>
              </a:cxn>
              <a:cxn ang="0">
                <a:pos x="connsiteX19082" y="connsiteY19082"/>
              </a:cxn>
              <a:cxn ang="0">
                <a:pos x="connsiteX19083" y="connsiteY19083"/>
              </a:cxn>
              <a:cxn ang="0">
                <a:pos x="connsiteX19084" y="connsiteY19084"/>
              </a:cxn>
              <a:cxn ang="0">
                <a:pos x="connsiteX19085" y="connsiteY19085"/>
              </a:cxn>
              <a:cxn ang="0">
                <a:pos x="connsiteX19086" y="connsiteY19086"/>
              </a:cxn>
              <a:cxn ang="0">
                <a:pos x="connsiteX19087" y="connsiteY19087"/>
              </a:cxn>
              <a:cxn ang="0">
                <a:pos x="connsiteX19088" y="connsiteY19088"/>
              </a:cxn>
              <a:cxn ang="0">
                <a:pos x="connsiteX19089" y="connsiteY19089"/>
              </a:cxn>
              <a:cxn ang="0">
                <a:pos x="connsiteX19090" y="connsiteY19090"/>
              </a:cxn>
              <a:cxn ang="0">
                <a:pos x="connsiteX19091" y="connsiteY19091"/>
              </a:cxn>
              <a:cxn ang="0">
                <a:pos x="connsiteX19092" y="connsiteY19092"/>
              </a:cxn>
              <a:cxn ang="0">
                <a:pos x="connsiteX19093" y="connsiteY19093"/>
              </a:cxn>
              <a:cxn ang="0">
                <a:pos x="connsiteX19094" y="connsiteY19094"/>
              </a:cxn>
              <a:cxn ang="0">
                <a:pos x="connsiteX19095" y="connsiteY19095"/>
              </a:cxn>
              <a:cxn ang="0">
                <a:pos x="connsiteX19096" y="connsiteY19096"/>
              </a:cxn>
              <a:cxn ang="0">
                <a:pos x="connsiteX19097" y="connsiteY19097"/>
              </a:cxn>
              <a:cxn ang="0">
                <a:pos x="connsiteX19098" y="connsiteY19098"/>
              </a:cxn>
              <a:cxn ang="0">
                <a:pos x="connsiteX19099" y="connsiteY19099"/>
              </a:cxn>
              <a:cxn ang="0">
                <a:pos x="connsiteX19100" y="connsiteY19100"/>
              </a:cxn>
              <a:cxn ang="0">
                <a:pos x="connsiteX19101" y="connsiteY19101"/>
              </a:cxn>
              <a:cxn ang="0">
                <a:pos x="connsiteX19102" y="connsiteY19102"/>
              </a:cxn>
              <a:cxn ang="0">
                <a:pos x="connsiteX19103" y="connsiteY19103"/>
              </a:cxn>
              <a:cxn ang="0">
                <a:pos x="connsiteX19104" y="connsiteY19104"/>
              </a:cxn>
              <a:cxn ang="0">
                <a:pos x="connsiteX19105" y="connsiteY19105"/>
              </a:cxn>
              <a:cxn ang="0">
                <a:pos x="connsiteX19106" y="connsiteY19106"/>
              </a:cxn>
              <a:cxn ang="0">
                <a:pos x="connsiteX19107" y="connsiteY19107"/>
              </a:cxn>
              <a:cxn ang="0">
                <a:pos x="connsiteX19108" y="connsiteY19108"/>
              </a:cxn>
              <a:cxn ang="0">
                <a:pos x="connsiteX19109" y="connsiteY19109"/>
              </a:cxn>
              <a:cxn ang="0">
                <a:pos x="connsiteX19110" y="connsiteY19110"/>
              </a:cxn>
              <a:cxn ang="0">
                <a:pos x="connsiteX19111" y="connsiteY19111"/>
              </a:cxn>
              <a:cxn ang="0">
                <a:pos x="connsiteX19112" y="connsiteY19112"/>
              </a:cxn>
              <a:cxn ang="0">
                <a:pos x="connsiteX19113" y="connsiteY19113"/>
              </a:cxn>
              <a:cxn ang="0">
                <a:pos x="connsiteX19114" y="connsiteY19114"/>
              </a:cxn>
              <a:cxn ang="0">
                <a:pos x="connsiteX19115" y="connsiteY19115"/>
              </a:cxn>
              <a:cxn ang="0">
                <a:pos x="connsiteX19116" y="connsiteY19116"/>
              </a:cxn>
              <a:cxn ang="0">
                <a:pos x="connsiteX19117" y="connsiteY19117"/>
              </a:cxn>
              <a:cxn ang="0">
                <a:pos x="connsiteX19118" y="connsiteY19118"/>
              </a:cxn>
              <a:cxn ang="0">
                <a:pos x="connsiteX19119" y="connsiteY19119"/>
              </a:cxn>
              <a:cxn ang="0">
                <a:pos x="connsiteX19120" y="connsiteY19120"/>
              </a:cxn>
              <a:cxn ang="0">
                <a:pos x="connsiteX19121" y="connsiteY19121"/>
              </a:cxn>
              <a:cxn ang="0">
                <a:pos x="connsiteX19122" y="connsiteY19122"/>
              </a:cxn>
              <a:cxn ang="0">
                <a:pos x="connsiteX19123" y="connsiteY19123"/>
              </a:cxn>
              <a:cxn ang="0">
                <a:pos x="connsiteX19124" y="connsiteY19124"/>
              </a:cxn>
              <a:cxn ang="0">
                <a:pos x="connsiteX19125" y="connsiteY19125"/>
              </a:cxn>
              <a:cxn ang="0">
                <a:pos x="connsiteX19126" y="connsiteY19126"/>
              </a:cxn>
              <a:cxn ang="0">
                <a:pos x="connsiteX19127" y="connsiteY19127"/>
              </a:cxn>
              <a:cxn ang="0">
                <a:pos x="connsiteX19128" y="connsiteY19128"/>
              </a:cxn>
              <a:cxn ang="0">
                <a:pos x="connsiteX19129" y="connsiteY19129"/>
              </a:cxn>
              <a:cxn ang="0">
                <a:pos x="connsiteX19130" y="connsiteY19130"/>
              </a:cxn>
              <a:cxn ang="0">
                <a:pos x="connsiteX19131" y="connsiteY19131"/>
              </a:cxn>
              <a:cxn ang="0">
                <a:pos x="connsiteX19132" y="connsiteY19132"/>
              </a:cxn>
              <a:cxn ang="0">
                <a:pos x="connsiteX19133" y="connsiteY19133"/>
              </a:cxn>
              <a:cxn ang="0">
                <a:pos x="connsiteX19134" y="connsiteY19134"/>
              </a:cxn>
              <a:cxn ang="0">
                <a:pos x="connsiteX19135" y="connsiteY19135"/>
              </a:cxn>
              <a:cxn ang="0">
                <a:pos x="connsiteX19136" y="connsiteY19136"/>
              </a:cxn>
              <a:cxn ang="0">
                <a:pos x="connsiteX19137" y="connsiteY19137"/>
              </a:cxn>
              <a:cxn ang="0">
                <a:pos x="connsiteX19138" y="connsiteY19138"/>
              </a:cxn>
              <a:cxn ang="0">
                <a:pos x="connsiteX19139" y="connsiteY19139"/>
              </a:cxn>
              <a:cxn ang="0">
                <a:pos x="connsiteX19140" y="connsiteY19140"/>
              </a:cxn>
              <a:cxn ang="0">
                <a:pos x="connsiteX19141" y="connsiteY19141"/>
              </a:cxn>
              <a:cxn ang="0">
                <a:pos x="connsiteX19142" y="connsiteY19142"/>
              </a:cxn>
              <a:cxn ang="0">
                <a:pos x="connsiteX19143" y="connsiteY19143"/>
              </a:cxn>
              <a:cxn ang="0">
                <a:pos x="connsiteX19144" y="connsiteY19144"/>
              </a:cxn>
              <a:cxn ang="0">
                <a:pos x="connsiteX19145" y="connsiteY19145"/>
              </a:cxn>
              <a:cxn ang="0">
                <a:pos x="connsiteX19146" y="connsiteY19146"/>
              </a:cxn>
              <a:cxn ang="0">
                <a:pos x="connsiteX19147" y="connsiteY19147"/>
              </a:cxn>
              <a:cxn ang="0">
                <a:pos x="connsiteX19148" y="connsiteY19148"/>
              </a:cxn>
              <a:cxn ang="0">
                <a:pos x="connsiteX19149" y="connsiteY19149"/>
              </a:cxn>
              <a:cxn ang="0">
                <a:pos x="connsiteX19150" y="connsiteY19150"/>
              </a:cxn>
              <a:cxn ang="0">
                <a:pos x="connsiteX19151" y="connsiteY19151"/>
              </a:cxn>
              <a:cxn ang="0">
                <a:pos x="connsiteX19152" y="connsiteY19152"/>
              </a:cxn>
              <a:cxn ang="0">
                <a:pos x="connsiteX19153" y="connsiteY19153"/>
              </a:cxn>
              <a:cxn ang="0">
                <a:pos x="connsiteX19154" y="connsiteY19154"/>
              </a:cxn>
              <a:cxn ang="0">
                <a:pos x="connsiteX19155" y="connsiteY19155"/>
              </a:cxn>
              <a:cxn ang="0">
                <a:pos x="connsiteX19156" y="connsiteY19156"/>
              </a:cxn>
              <a:cxn ang="0">
                <a:pos x="connsiteX19157" y="connsiteY19157"/>
              </a:cxn>
              <a:cxn ang="0">
                <a:pos x="connsiteX19158" y="connsiteY19158"/>
              </a:cxn>
              <a:cxn ang="0">
                <a:pos x="connsiteX19159" y="connsiteY19159"/>
              </a:cxn>
              <a:cxn ang="0">
                <a:pos x="connsiteX19160" y="connsiteY19160"/>
              </a:cxn>
              <a:cxn ang="0">
                <a:pos x="connsiteX19161" y="connsiteY19161"/>
              </a:cxn>
              <a:cxn ang="0">
                <a:pos x="connsiteX19162" y="connsiteY19162"/>
              </a:cxn>
              <a:cxn ang="0">
                <a:pos x="connsiteX19163" y="connsiteY19163"/>
              </a:cxn>
              <a:cxn ang="0">
                <a:pos x="connsiteX19164" y="connsiteY19164"/>
              </a:cxn>
              <a:cxn ang="0">
                <a:pos x="connsiteX19165" y="connsiteY19165"/>
              </a:cxn>
              <a:cxn ang="0">
                <a:pos x="connsiteX19166" y="connsiteY19166"/>
              </a:cxn>
              <a:cxn ang="0">
                <a:pos x="connsiteX19167" y="connsiteY19167"/>
              </a:cxn>
              <a:cxn ang="0">
                <a:pos x="connsiteX19168" y="connsiteY19168"/>
              </a:cxn>
              <a:cxn ang="0">
                <a:pos x="connsiteX19169" y="connsiteY19169"/>
              </a:cxn>
              <a:cxn ang="0">
                <a:pos x="connsiteX19170" y="connsiteY19170"/>
              </a:cxn>
              <a:cxn ang="0">
                <a:pos x="connsiteX19171" y="connsiteY19171"/>
              </a:cxn>
              <a:cxn ang="0">
                <a:pos x="connsiteX19172" y="connsiteY19172"/>
              </a:cxn>
              <a:cxn ang="0">
                <a:pos x="connsiteX19173" y="connsiteY19173"/>
              </a:cxn>
              <a:cxn ang="0">
                <a:pos x="connsiteX19174" y="connsiteY19174"/>
              </a:cxn>
              <a:cxn ang="0">
                <a:pos x="connsiteX19175" y="connsiteY19175"/>
              </a:cxn>
              <a:cxn ang="0">
                <a:pos x="connsiteX19176" y="connsiteY19176"/>
              </a:cxn>
              <a:cxn ang="0">
                <a:pos x="connsiteX19177" y="connsiteY19177"/>
              </a:cxn>
              <a:cxn ang="0">
                <a:pos x="connsiteX19178" y="connsiteY19178"/>
              </a:cxn>
              <a:cxn ang="0">
                <a:pos x="connsiteX19179" y="connsiteY19179"/>
              </a:cxn>
              <a:cxn ang="0">
                <a:pos x="connsiteX19180" y="connsiteY19180"/>
              </a:cxn>
              <a:cxn ang="0">
                <a:pos x="connsiteX19181" y="connsiteY19181"/>
              </a:cxn>
              <a:cxn ang="0">
                <a:pos x="connsiteX19182" y="connsiteY19182"/>
              </a:cxn>
              <a:cxn ang="0">
                <a:pos x="connsiteX19183" y="connsiteY19183"/>
              </a:cxn>
              <a:cxn ang="0">
                <a:pos x="connsiteX19184" y="connsiteY19184"/>
              </a:cxn>
              <a:cxn ang="0">
                <a:pos x="connsiteX19185" y="connsiteY19185"/>
              </a:cxn>
              <a:cxn ang="0">
                <a:pos x="connsiteX19186" y="connsiteY19186"/>
              </a:cxn>
              <a:cxn ang="0">
                <a:pos x="connsiteX19187" y="connsiteY19187"/>
              </a:cxn>
              <a:cxn ang="0">
                <a:pos x="connsiteX19188" y="connsiteY19188"/>
              </a:cxn>
              <a:cxn ang="0">
                <a:pos x="connsiteX19189" y="connsiteY19189"/>
              </a:cxn>
              <a:cxn ang="0">
                <a:pos x="connsiteX19190" y="connsiteY19190"/>
              </a:cxn>
              <a:cxn ang="0">
                <a:pos x="connsiteX19191" y="connsiteY19191"/>
              </a:cxn>
              <a:cxn ang="0">
                <a:pos x="connsiteX19192" y="connsiteY19192"/>
              </a:cxn>
              <a:cxn ang="0">
                <a:pos x="connsiteX19193" y="connsiteY19193"/>
              </a:cxn>
              <a:cxn ang="0">
                <a:pos x="connsiteX19194" y="connsiteY19194"/>
              </a:cxn>
              <a:cxn ang="0">
                <a:pos x="connsiteX19195" y="connsiteY19195"/>
              </a:cxn>
              <a:cxn ang="0">
                <a:pos x="connsiteX19196" y="connsiteY19196"/>
              </a:cxn>
              <a:cxn ang="0">
                <a:pos x="connsiteX19197" y="connsiteY19197"/>
              </a:cxn>
              <a:cxn ang="0">
                <a:pos x="connsiteX19198" y="connsiteY19198"/>
              </a:cxn>
              <a:cxn ang="0">
                <a:pos x="connsiteX19199" y="connsiteY19199"/>
              </a:cxn>
              <a:cxn ang="0">
                <a:pos x="connsiteX19200" y="connsiteY19200"/>
              </a:cxn>
              <a:cxn ang="0">
                <a:pos x="connsiteX19201" y="connsiteY19201"/>
              </a:cxn>
              <a:cxn ang="0">
                <a:pos x="connsiteX19202" y="connsiteY19202"/>
              </a:cxn>
              <a:cxn ang="0">
                <a:pos x="connsiteX19203" y="connsiteY19203"/>
              </a:cxn>
              <a:cxn ang="0">
                <a:pos x="connsiteX19204" y="connsiteY19204"/>
              </a:cxn>
              <a:cxn ang="0">
                <a:pos x="connsiteX19205" y="connsiteY19205"/>
              </a:cxn>
              <a:cxn ang="0">
                <a:pos x="connsiteX19206" y="connsiteY19206"/>
              </a:cxn>
              <a:cxn ang="0">
                <a:pos x="connsiteX19207" y="connsiteY19207"/>
              </a:cxn>
              <a:cxn ang="0">
                <a:pos x="connsiteX19208" y="connsiteY19208"/>
              </a:cxn>
              <a:cxn ang="0">
                <a:pos x="connsiteX19209" y="connsiteY19209"/>
              </a:cxn>
              <a:cxn ang="0">
                <a:pos x="connsiteX19210" y="connsiteY19210"/>
              </a:cxn>
              <a:cxn ang="0">
                <a:pos x="connsiteX19211" y="connsiteY19211"/>
              </a:cxn>
              <a:cxn ang="0">
                <a:pos x="connsiteX19212" y="connsiteY19212"/>
              </a:cxn>
              <a:cxn ang="0">
                <a:pos x="connsiteX19213" y="connsiteY19213"/>
              </a:cxn>
              <a:cxn ang="0">
                <a:pos x="connsiteX19214" y="connsiteY19214"/>
              </a:cxn>
              <a:cxn ang="0">
                <a:pos x="connsiteX19215" y="connsiteY19215"/>
              </a:cxn>
              <a:cxn ang="0">
                <a:pos x="connsiteX19216" y="connsiteY19216"/>
              </a:cxn>
              <a:cxn ang="0">
                <a:pos x="connsiteX19217" y="connsiteY19217"/>
              </a:cxn>
              <a:cxn ang="0">
                <a:pos x="connsiteX19218" y="connsiteY19218"/>
              </a:cxn>
              <a:cxn ang="0">
                <a:pos x="connsiteX19219" y="connsiteY19219"/>
              </a:cxn>
              <a:cxn ang="0">
                <a:pos x="connsiteX19220" y="connsiteY19220"/>
              </a:cxn>
              <a:cxn ang="0">
                <a:pos x="connsiteX19221" y="connsiteY19221"/>
              </a:cxn>
              <a:cxn ang="0">
                <a:pos x="connsiteX19222" y="connsiteY19222"/>
              </a:cxn>
              <a:cxn ang="0">
                <a:pos x="connsiteX19223" y="connsiteY19223"/>
              </a:cxn>
              <a:cxn ang="0">
                <a:pos x="connsiteX19224" y="connsiteY19224"/>
              </a:cxn>
              <a:cxn ang="0">
                <a:pos x="connsiteX19225" y="connsiteY19225"/>
              </a:cxn>
              <a:cxn ang="0">
                <a:pos x="connsiteX19226" y="connsiteY19226"/>
              </a:cxn>
              <a:cxn ang="0">
                <a:pos x="connsiteX19227" y="connsiteY19227"/>
              </a:cxn>
              <a:cxn ang="0">
                <a:pos x="connsiteX19228" y="connsiteY19228"/>
              </a:cxn>
              <a:cxn ang="0">
                <a:pos x="connsiteX19229" y="connsiteY19229"/>
              </a:cxn>
              <a:cxn ang="0">
                <a:pos x="connsiteX19230" y="connsiteY19230"/>
              </a:cxn>
              <a:cxn ang="0">
                <a:pos x="connsiteX19231" y="connsiteY19231"/>
              </a:cxn>
              <a:cxn ang="0">
                <a:pos x="connsiteX19232" y="connsiteY19232"/>
              </a:cxn>
              <a:cxn ang="0">
                <a:pos x="connsiteX19233" y="connsiteY19233"/>
              </a:cxn>
              <a:cxn ang="0">
                <a:pos x="connsiteX19234" y="connsiteY19234"/>
              </a:cxn>
              <a:cxn ang="0">
                <a:pos x="connsiteX19235" y="connsiteY19235"/>
              </a:cxn>
              <a:cxn ang="0">
                <a:pos x="connsiteX19236" y="connsiteY19236"/>
              </a:cxn>
              <a:cxn ang="0">
                <a:pos x="connsiteX19237" y="connsiteY19237"/>
              </a:cxn>
              <a:cxn ang="0">
                <a:pos x="connsiteX19238" y="connsiteY19238"/>
              </a:cxn>
              <a:cxn ang="0">
                <a:pos x="connsiteX19239" y="connsiteY19239"/>
              </a:cxn>
              <a:cxn ang="0">
                <a:pos x="connsiteX19240" y="connsiteY19240"/>
              </a:cxn>
              <a:cxn ang="0">
                <a:pos x="connsiteX19241" y="connsiteY19241"/>
              </a:cxn>
              <a:cxn ang="0">
                <a:pos x="connsiteX19242" y="connsiteY19242"/>
              </a:cxn>
              <a:cxn ang="0">
                <a:pos x="connsiteX19243" y="connsiteY19243"/>
              </a:cxn>
              <a:cxn ang="0">
                <a:pos x="connsiteX19244" y="connsiteY19244"/>
              </a:cxn>
              <a:cxn ang="0">
                <a:pos x="connsiteX19245" y="connsiteY19245"/>
              </a:cxn>
              <a:cxn ang="0">
                <a:pos x="connsiteX19246" y="connsiteY19246"/>
              </a:cxn>
              <a:cxn ang="0">
                <a:pos x="connsiteX19247" y="connsiteY19247"/>
              </a:cxn>
              <a:cxn ang="0">
                <a:pos x="connsiteX19248" y="connsiteY19248"/>
              </a:cxn>
              <a:cxn ang="0">
                <a:pos x="connsiteX19249" y="connsiteY19249"/>
              </a:cxn>
              <a:cxn ang="0">
                <a:pos x="connsiteX19250" y="connsiteY19250"/>
              </a:cxn>
              <a:cxn ang="0">
                <a:pos x="connsiteX19251" y="connsiteY19251"/>
              </a:cxn>
              <a:cxn ang="0">
                <a:pos x="connsiteX19252" y="connsiteY19252"/>
              </a:cxn>
              <a:cxn ang="0">
                <a:pos x="connsiteX19253" y="connsiteY19253"/>
              </a:cxn>
              <a:cxn ang="0">
                <a:pos x="connsiteX19254" y="connsiteY19254"/>
              </a:cxn>
              <a:cxn ang="0">
                <a:pos x="connsiteX19255" y="connsiteY19255"/>
              </a:cxn>
              <a:cxn ang="0">
                <a:pos x="connsiteX19256" y="connsiteY19256"/>
              </a:cxn>
              <a:cxn ang="0">
                <a:pos x="connsiteX19257" y="connsiteY19257"/>
              </a:cxn>
              <a:cxn ang="0">
                <a:pos x="connsiteX19258" y="connsiteY19258"/>
              </a:cxn>
              <a:cxn ang="0">
                <a:pos x="connsiteX19259" y="connsiteY19259"/>
              </a:cxn>
              <a:cxn ang="0">
                <a:pos x="connsiteX19260" y="connsiteY19260"/>
              </a:cxn>
              <a:cxn ang="0">
                <a:pos x="connsiteX19261" y="connsiteY19261"/>
              </a:cxn>
              <a:cxn ang="0">
                <a:pos x="connsiteX19262" y="connsiteY19262"/>
              </a:cxn>
              <a:cxn ang="0">
                <a:pos x="connsiteX19263" y="connsiteY19263"/>
              </a:cxn>
              <a:cxn ang="0">
                <a:pos x="connsiteX19264" y="connsiteY19264"/>
              </a:cxn>
              <a:cxn ang="0">
                <a:pos x="connsiteX19265" y="connsiteY19265"/>
              </a:cxn>
              <a:cxn ang="0">
                <a:pos x="connsiteX19266" y="connsiteY19266"/>
              </a:cxn>
              <a:cxn ang="0">
                <a:pos x="connsiteX19267" y="connsiteY19267"/>
              </a:cxn>
              <a:cxn ang="0">
                <a:pos x="connsiteX19268" y="connsiteY19268"/>
              </a:cxn>
              <a:cxn ang="0">
                <a:pos x="connsiteX19269" y="connsiteY19269"/>
              </a:cxn>
              <a:cxn ang="0">
                <a:pos x="connsiteX19270" y="connsiteY19270"/>
              </a:cxn>
              <a:cxn ang="0">
                <a:pos x="connsiteX19271" y="connsiteY19271"/>
              </a:cxn>
              <a:cxn ang="0">
                <a:pos x="connsiteX19272" y="connsiteY19272"/>
              </a:cxn>
              <a:cxn ang="0">
                <a:pos x="connsiteX19273" y="connsiteY19273"/>
              </a:cxn>
              <a:cxn ang="0">
                <a:pos x="connsiteX19274" y="connsiteY19274"/>
              </a:cxn>
              <a:cxn ang="0">
                <a:pos x="connsiteX19275" y="connsiteY19275"/>
              </a:cxn>
              <a:cxn ang="0">
                <a:pos x="connsiteX19276" y="connsiteY19276"/>
              </a:cxn>
              <a:cxn ang="0">
                <a:pos x="connsiteX19277" y="connsiteY19277"/>
              </a:cxn>
              <a:cxn ang="0">
                <a:pos x="connsiteX19278" y="connsiteY19278"/>
              </a:cxn>
              <a:cxn ang="0">
                <a:pos x="connsiteX19279" y="connsiteY19279"/>
              </a:cxn>
              <a:cxn ang="0">
                <a:pos x="connsiteX19280" y="connsiteY19280"/>
              </a:cxn>
              <a:cxn ang="0">
                <a:pos x="connsiteX19281" y="connsiteY19281"/>
              </a:cxn>
              <a:cxn ang="0">
                <a:pos x="connsiteX19282" y="connsiteY19282"/>
              </a:cxn>
              <a:cxn ang="0">
                <a:pos x="connsiteX19283" y="connsiteY19283"/>
              </a:cxn>
              <a:cxn ang="0">
                <a:pos x="connsiteX19284" y="connsiteY19284"/>
              </a:cxn>
              <a:cxn ang="0">
                <a:pos x="connsiteX19285" y="connsiteY19285"/>
              </a:cxn>
              <a:cxn ang="0">
                <a:pos x="connsiteX19286" y="connsiteY19286"/>
              </a:cxn>
              <a:cxn ang="0">
                <a:pos x="connsiteX19287" y="connsiteY19287"/>
              </a:cxn>
              <a:cxn ang="0">
                <a:pos x="connsiteX19288" y="connsiteY19288"/>
              </a:cxn>
              <a:cxn ang="0">
                <a:pos x="connsiteX19289" y="connsiteY19289"/>
              </a:cxn>
              <a:cxn ang="0">
                <a:pos x="connsiteX19290" y="connsiteY19290"/>
              </a:cxn>
              <a:cxn ang="0">
                <a:pos x="connsiteX19291" y="connsiteY19291"/>
              </a:cxn>
              <a:cxn ang="0">
                <a:pos x="connsiteX19292" y="connsiteY19292"/>
              </a:cxn>
              <a:cxn ang="0">
                <a:pos x="connsiteX19293" y="connsiteY19293"/>
              </a:cxn>
              <a:cxn ang="0">
                <a:pos x="connsiteX19294" y="connsiteY19294"/>
              </a:cxn>
              <a:cxn ang="0">
                <a:pos x="connsiteX19295" y="connsiteY19295"/>
              </a:cxn>
              <a:cxn ang="0">
                <a:pos x="connsiteX19296" y="connsiteY19296"/>
              </a:cxn>
              <a:cxn ang="0">
                <a:pos x="connsiteX19297" y="connsiteY19297"/>
              </a:cxn>
              <a:cxn ang="0">
                <a:pos x="connsiteX19298" y="connsiteY19298"/>
              </a:cxn>
              <a:cxn ang="0">
                <a:pos x="connsiteX19299" y="connsiteY19299"/>
              </a:cxn>
              <a:cxn ang="0">
                <a:pos x="connsiteX19300" y="connsiteY19300"/>
              </a:cxn>
              <a:cxn ang="0">
                <a:pos x="connsiteX19301" y="connsiteY19301"/>
              </a:cxn>
              <a:cxn ang="0">
                <a:pos x="connsiteX19302" y="connsiteY19302"/>
              </a:cxn>
              <a:cxn ang="0">
                <a:pos x="connsiteX19303" y="connsiteY19303"/>
              </a:cxn>
              <a:cxn ang="0">
                <a:pos x="connsiteX19304" y="connsiteY19304"/>
              </a:cxn>
              <a:cxn ang="0">
                <a:pos x="connsiteX19305" y="connsiteY19305"/>
              </a:cxn>
              <a:cxn ang="0">
                <a:pos x="connsiteX19306" y="connsiteY19306"/>
              </a:cxn>
              <a:cxn ang="0">
                <a:pos x="connsiteX19307" y="connsiteY19307"/>
              </a:cxn>
              <a:cxn ang="0">
                <a:pos x="connsiteX19308" y="connsiteY19308"/>
              </a:cxn>
              <a:cxn ang="0">
                <a:pos x="connsiteX19309" y="connsiteY19309"/>
              </a:cxn>
              <a:cxn ang="0">
                <a:pos x="connsiteX19310" y="connsiteY19310"/>
              </a:cxn>
              <a:cxn ang="0">
                <a:pos x="connsiteX19311" y="connsiteY19311"/>
              </a:cxn>
              <a:cxn ang="0">
                <a:pos x="connsiteX19312" y="connsiteY19312"/>
              </a:cxn>
              <a:cxn ang="0">
                <a:pos x="connsiteX19313" y="connsiteY19313"/>
              </a:cxn>
              <a:cxn ang="0">
                <a:pos x="connsiteX19314" y="connsiteY19314"/>
              </a:cxn>
              <a:cxn ang="0">
                <a:pos x="connsiteX19315" y="connsiteY19315"/>
              </a:cxn>
              <a:cxn ang="0">
                <a:pos x="connsiteX19316" y="connsiteY19316"/>
              </a:cxn>
              <a:cxn ang="0">
                <a:pos x="connsiteX19317" y="connsiteY19317"/>
              </a:cxn>
              <a:cxn ang="0">
                <a:pos x="connsiteX19318" y="connsiteY19318"/>
              </a:cxn>
              <a:cxn ang="0">
                <a:pos x="connsiteX19319" y="connsiteY19319"/>
              </a:cxn>
              <a:cxn ang="0">
                <a:pos x="connsiteX19320" y="connsiteY19320"/>
              </a:cxn>
              <a:cxn ang="0">
                <a:pos x="connsiteX19321" y="connsiteY19321"/>
              </a:cxn>
              <a:cxn ang="0">
                <a:pos x="connsiteX19322" y="connsiteY19322"/>
              </a:cxn>
              <a:cxn ang="0">
                <a:pos x="connsiteX19323" y="connsiteY19323"/>
              </a:cxn>
              <a:cxn ang="0">
                <a:pos x="connsiteX19324" y="connsiteY19324"/>
              </a:cxn>
              <a:cxn ang="0">
                <a:pos x="connsiteX19325" y="connsiteY19325"/>
              </a:cxn>
              <a:cxn ang="0">
                <a:pos x="connsiteX19326" y="connsiteY19326"/>
              </a:cxn>
              <a:cxn ang="0">
                <a:pos x="connsiteX19327" y="connsiteY19327"/>
              </a:cxn>
              <a:cxn ang="0">
                <a:pos x="connsiteX19328" y="connsiteY19328"/>
              </a:cxn>
              <a:cxn ang="0">
                <a:pos x="connsiteX19329" y="connsiteY19329"/>
              </a:cxn>
              <a:cxn ang="0">
                <a:pos x="connsiteX19330" y="connsiteY19330"/>
              </a:cxn>
              <a:cxn ang="0">
                <a:pos x="connsiteX19331" y="connsiteY19331"/>
              </a:cxn>
              <a:cxn ang="0">
                <a:pos x="connsiteX19332" y="connsiteY19332"/>
              </a:cxn>
              <a:cxn ang="0">
                <a:pos x="connsiteX19333" y="connsiteY19333"/>
              </a:cxn>
              <a:cxn ang="0">
                <a:pos x="connsiteX19334" y="connsiteY19334"/>
              </a:cxn>
              <a:cxn ang="0">
                <a:pos x="connsiteX19335" y="connsiteY19335"/>
              </a:cxn>
              <a:cxn ang="0">
                <a:pos x="connsiteX19336" y="connsiteY19336"/>
              </a:cxn>
              <a:cxn ang="0">
                <a:pos x="connsiteX19337" y="connsiteY19337"/>
              </a:cxn>
              <a:cxn ang="0">
                <a:pos x="connsiteX19338" y="connsiteY19338"/>
              </a:cxn>
              <a:cxn ang="0">
                <a:pos x="connsiteX19339" y="connsiteY19339"/>
              </a:cxn>
              <a:cxn ang="0">
                <a:pos x="connsiteX19340" y="connsiteY19340"/>
              </a:cxn>
              <a:cxn ang="0">
                <a:pos x="connsiteX19341" y="connsiteY19341"/>
              </a:cxn>
              <a:cxn ang="0">
                <a:pos x="connsiteX19342" y="connsiteY19342"/>
              </a:cxn>
              <a:cxn ang="0">
                <a:pos x="connsiteX19343" y="connsiteY19343"/>
              </a:cxn>
              <a:cxn ang="0">
                <a:pos x="connsiteX19344" y="connsiteY19344"/>
              </a:cxn>
              <a:cxn ang="0">
                <a:pos x="connsiteX19345" y="connsiteY19345"/>
              </a:cxn>
              <a:cxn ang="0">
                <a:pos x="connsiteX19346" y="connsiteY19346"/>
              </a:cxn>
              <a:cxn ang="0">
                <a:pos x="connsiteX19347" y="connsiteY19347"/>
              </a:cxn>
              <a:cxn ang="0">
                <a:pos x="connsiteX19348" y="connsiteY19348"/>
              </a:cxn>
              <a:cxn ang="0">
                <a:pos x="connsiteX19349" y="connsiteY19349"/>
              </a:cxn>
              <a:cxn ang="0">
                <a:pos x="connsiteX19350" y="connsiteY19350"/>
              </a:cxn>
              <a:cxn ang="0">
                <a:pos x="connsiteX19351" y="connsiteY19351"/>
              </a:cxn>
              <a:cxn ang="0">
                <a:pos x="connsiteX19352" y="connsiteY19352"/>
              </a:cxn>
              <a:cxn ang="0">
                <a:pos x="connsiteX19353" y="connsiteY19353"/>
              </a:cxn>
              <a:cxn ang="0">
                <a:pos x="connsiteX19354" y="connsiteY19354"/>
              </a:cxn>
              <a:cxn ang="0">
                <a:pos x="connsiteX19355" y="connsiteY19355"/>
              </a:cxn>
              <a:cxn ang="0">
                <a:pos x="connsiteX19356" y="connsiteY19356"/>
              </a:cxn>
              <a:cxn ang="0">
                <a:pos x="connsiteX19357" y="connsiteY19357"/>
              </a:cxn>
              <a:cxn ang="0">
                <a:pos x="connsiteX19358" y="connsiteY19358"/>
              </a:cxn>
              <a:cxn ang="0">
                <a:pos x="connsiteX19359" y="connsiteY19359"/>
              </a:cxn>
              <a:cxn ang="0">
                <a:pos x="connsiteX19360" y="connsiteY19360"/>
              </a:cxn>
              <a:cxn ang="0">
                <a:pos x="connsiteX19361" y="connsiteY19361"/>
              </a:cxn>
              <a:cxn ang="0">
                <a:pos x="connsiteX19362" y="connsiteY19362"/>
              </a:cxn>
              <a:cxn ang="0">
                <a:pos x="connsiteX19363" y="connsiteY19363"/>
              </a:cxn>
              <a:cxn ang="0">
                <a:pos x="connsiteX19364" y="connsiteY19364"/>
              </a:cxn>
              <a:cxn ang="0">
                <a:pos x="connsiteX19365" y="connsiteY19365"/>
              </a:cxn>
              <a:cxn ang="0">
                <a:pos x="connsiteX19366" y="connsiteY19366"/>
              </a:cxn>
              <a:cxn ang="0">
                <a:pos x="connsiteX19367" y="connsiteY19367"/>
              </a:cxn>
              <a:cxn ang="0">
                <a:pos x="connsiteX19368" y="connsiteY19368"/>
              </a:cxn>
              <a:cxn ang="0">
                <a:pos x="connsiteX19369" y="connsiteY19369"/>
              </a:cxn>
              <a:cxn ang="0">
                <a:pos x="connsiteX19370" y="connsiteY19370"/>
              </a:cxn>
              <a:cxn ang="0">
                <a:pos x="connsiteX19371" y="connsiteY19371"/>
              </a:cxn>
              <a:cxn ang="0">
                <a:pos x="connsiteX19372" y="connsiteY19372"/>
              </a:cxn>
              <a:cxn ang="0">
                <a:pos x="connsiteX19373" y="connsiteY19373"/>
              </a:cxn>
              <a:cxn ang="0">
                <a:pos x="connsiteX19374" y="connsiteY19374"/>
              </a:cxn>
              <a:cxn ang="0">
                <a:pos x="connsiteX19375" y="connsiteY19375"/>
              </a:cxn>
              <a:cxn ang="0">
                <a:pos x="connsiteX19376" y="connsiteY19376"/>
              </a:cxn>
              <a:cxn ang="0">
                <a:pos x="connsiteX19377" y="connsiteY19377"/>
              </a:cxn>
              <a:cxn ang="0">
                <a:pos x="connsiteX19378" y="connsiteY19378"/>
              </a:cxn>
              <a:cxn ang="0">
                <a:pos x="connsiteX19379" y="connsiteY19379"/>
              </a:cxn>
              <a:cxn ang="0">
                <a:pos x="connsiteX19380" y="connsiteY19380"/>
              </a:cxn>
              <a:cxn ang="0">
                <a:pos x="connsiteX19381" y="connsiteY19381"/>
              </a:cxn>
              <a:cxn ang="0">
                <a:pos x="connsiteX19382" y="connsiteY19382"/>
              </a:cxn>
              <a:cxn ang="0">
                <a:pos x="connsiteX19383" y="connsiteY19383"/>
              </a:cxn>
              <a:cxn ang="0">
                <a:pos x="connsiteX19384" y="connsiteY19384"/>
              </a:cxn>
              <a:cxn ang="0">
                <a:pos x="connsiteX19385" y="connsiteY19385"/>
              </a:cxn>
              <a:cxn ang="0">
                <a:pos x="connsiteX19386" y="connsiteY19386"/>
              </a:cxn>
              <a:cxn ang="0">
                <a:pos x="connsiteX19387" y="connsiteY19387"/>
              </a:cxn>
              <a:cxn ang="0">
                <a:pos x="connsiteX19388" y="connsiteY19388"/>
              </a:cxn>
              <a:cxn ang="0">
                <a:pos x="connsiteX19389" y="connsiteY19389"/>
              </a:cxn>
              <a:cxn ang="0">
                <a:pos x="connsiteX19390" y="connsiteY19390"/>
              </a:cxn>
              <a:cxn ang="0">
                <a:pos x="connsiteX19391" y="connsiteY19391"/>
              </a:cxn>
              <a:cxn ang="0">
                <a:pos x="connsiteX19392" y="connsiteY19392"/>
              </a:cxn>
              <a:cxn ang="0">
                <a:pos x="connsiteX19393" y="connsiteY19393"/>
              </a:cxn>
              <a:cxn ang="0">
                <a:pos x="connsiteX19394" y="connsiteY19394"/>
              </a:cxn>
              <a:cxn ang="0">
                <a:pos x="connsiteX19395" y="connsiteY19395"/>
              </a:cxn>
              <a:cxn ang="0">
                <a:pos x="connsiteX19396" y="connsiteY19396"/>
              </a:cxn>
              <a:cxn ang="0">
                <a:pos x="connsiteX19397" y="connsiteY19397"/>
              </a:cxn>
              <a:cxn ang="0">
                <a:pos x="connsiteX19398" y="connsiteY19398"/>
              </a:cxn>
              <a:cxn ang="0">
                <a:pos x="connsiteX19399" y="connsiteY19399"/>
              </a:cxn>
              <a:cxn ang="0">
                <a:pos x="connsiteX19400" y="connsiteY19400"/>
              </a:cxn>
              <a:cxn ang="0">
                <a:pos x="connsiteX19401" y="connsiteY19401"/>
              </a:cxn>
              <a:cxn ang="0">
                <a:pos x="connsiteX19402" y="connsiteY19402"/>
              </a:cxn>
              <a:cxn ang="0">
                <a:pos x="connsiteX19403" y="connsiteY19403"/>
              </a:cxn>
              <a:cxn ang="0">
                <a:pos x="connsiteX19404" y="connsiteY19404"/>
              </a:cxn>
              <a:cxn ang="0">
                <a:pos x="connsiteX19405" y="connsiteY19405"/>
              </a:cxn>
              <a:cxn ang="0">
                <a:pos x="connsiteX19406" y="connsiteY19406"/>
              </a:cxn>
              <a:cxn ang="0">
                <a:pos x="connsiteX19407" y="connsiteY19407"/>
              </a:cxn>
              <a:cxn ang="0">
                <a:pos x="connsiteX19408" y="connsiteY19408"/>
              </a:cxn>
              <a:cxn ang="0">
                <a:pos x="connsiteX19409" y="connsiteY19409"/>
              </a:cxn>
              <a:cxn ang="0">
                <a:pos x="connsiteX19410" y="connsiteY19410"/>
              </a:cxn>
              <a:cxn ang="0">
                <a:pos x="connsiteX19411" y="connsiteY19411"/>
              </a:cxn>
              <a:cxn ang="0">
                <a:pos x="connsiteX19412" y="connsiteY19412"/>
              </a:cxn>
              <a:cxn ang="0">
                <a:pos x="connsiteX19413" y="connsiteY19413"/>
              </a:cxn>
              <a:cxn ang="0">
                <a:pos x="connsiteX19414" y="connsiteY19414"/>
              </a:cxn>
              <a:cxn ang="0">
                <a:pos x="connsiteX19415" y="connsiteY19415"/>
              </a:cxn>
              <a:cxn ang="0">
                <a:pos x="connsiteX19416" y="connsiteY19416"/>
              </a:cxn>
              <a:cxn ang="0">
                <a:pos x="connsiteX19417" y="connsiteY19417"/>
              </a:cxn>
              <a:cxn ang="0">
                <a:pos x="connsiteX19418" y="connsiteY19418"/>
              </a:cxn>
              <a:cxn ang="0">
                <a:pos x="connsiteX19419" y="connsiteY19419"/>
              </a:cxn>
              <a:cxn ang="0">
                <a:pos x="connsiteX19420" y="connsiteY19420"/>
              </a:cxn>
              <a:cxn ang="0">
                <a:pos x="connsiteX19421" y="connsiteY19421"/>
              </a:cxn>
              <a:cxn ang="0">
                <a:pos x="connsiteX19422" y="connsiteY19422"/>
              </a:cxn>
              <a:cxn ang="0">
                <a:pos x="connsiteX19423" y="connsiteY19423"/>
              </a:cxn>
              <a:cxn ang="0">
                <a:pos x="connsiteX19424" y="connsiteY19424"/>
              </a:cxn>
              <a:cxn ang="0">
                <a:pos x="connsiteX19425" y="connsiteY19425"/>
              </a:cxn>
              <a:cxn ang="0">
                <a:pos x="connsiteX19426" y="connsiteY19426"/>
              </a:cxn>
              <a:cxn ang="0">
                <a:pos x="connsiteX19427" y="connsiteY19427"/>
              </a:cxn>
              <a:cxn ang="0">
                <a:pos x="connsiteX19428" y="connsiteY19428"/>
              </a:cxn>
              <a:cxn ang="0">
                <a:pos x="connsiteX19429" y="connsiteY19429"/>
              </a:cxn>
              <a:cxn ang="0">
                <a:pos x="connsiteX19430" y="connsiteY19430"/>
              </a:cxn>
              <a:cxn ang="0">
                <a:pos x="connsiteX19431" y="connsiteY19431"/>
              </a:cxn>
              <a:cxn ang="0">
                <a:pos x="connsiteX19432" y="connsiteY19432"/>
              </a:cxn>
              <a:cxn ang="0">
                <a:pos x="connsiteX19433" y="connsiteY19433"/>
              </a:cxn>
              <a:cxn ang="0">
                <a:pos x="connsiteX19434" y="connsiteY19434"/>
              </a:cxn>
              <a:cxn ang="0">
                <a:pos x="connsiteX19435" y="connsiteY19435"/>
              </a:cxn>
              <a:cxn ang="0">
                <a:pos x="connsiteX19436" y="connsiteY19436"/>
              </a:cxn>
              <a:cxn ang="0">
                <a:pos x="connsiteX19437" y="connsiteY19437"/>
              </a:cxn>
              <a:cxn ang="0">
                <a:pos x="connsiteX19438" y="connsiteY19438"/>
              </a:cxn>
              <a:cxn ang="0">
                <a:pos x="connsiteX19439" y="connsiteY19439"/>
              </a:cxn>
              <a:cxn ang="0">
                <a:pos x="connsiteX19440" y="connsiteY19440"/>
              </a:cxn>
              <a:cxn ang="0">
                <a:pos x="connsiteX19441" y="connsiteY19441"/>
              </a:cxn>
              <a:cxn ang="0">
                <a:pos x="connsiteX19442" y="connsiteY19442"/>
              </a:cxn>
              <a:cxn ang="0">
                <a:pos x="connsiteX19443" y="connsiteY19443"/>
              </a:cxn>
              <a:cxn ang="0">
                <a:pos x="connsiteX19444" y="connsiteY19444"/>
              </a:cxn>
              <a:cxn ang="0">
                <a:pos x="connsiteX19445" y="connsiteY19445"/>
              </a:cxn>
              <a:cxn ang="0">
                <a:pos x="connsiteX19446" y="connsiteY19446"/>
              </a:cxn>
              <a:cxn ang="0">
                <a:pos x="connsiteX19447" y="connsiteY19447"/>
              </a:cxn>
              <a:cxn ang="0">
                <a:pos x="connsiteX19448" y="connsiteY19448"/>
              </a:cxn>
              <a:cxn ang="0">
                <a:pos x="connsiteX19449" y="connsiteY19449"/>
              </a:cxn>
              <a:cxn ang="0">
                <a:pos x="connsiteX19450" y="connsiteY19450"/>
              </a:cxn>
              <a:cxn ang="0">
                <a:pos x="connsiteX19451" y="connsiteY19451"/>
              </a:cxn>
              <a:cxn ang="0">
                <a:pos x="connsiteX19452" y="connsiteY19452"/>
              </a:cxn>
              <a:cxn ang="0">
                <a:pos x="connsiteX19453" y="connsiteY19453"/>
              </a:cxn>
              <a:cxn ang="0">
                <a:pos x="connsiteX19454" y="connsiteY19454"/>
              </a:cxn>
              <a:cxn ang="0">
                <a:pos x="connsiteX19455" y="connsiteY19455"/>
              </a:cxn>
              <a:cxn ang="0">
                <a:pos x="connsiteX19456" y="connsiteY19456"/>
              </a:cxn>
              <a:cxn ang="0">
                <a:pos x="connsiteX19457" y="connsiteY19457"/>
              </a:cxn>
              <a:cxn ang="0">
                <a:pos x="connsiteX19458" y="connsiteY19458"/>
              </a:cxn>
              <a:cxn ang="0">
                <a:pos x="connsiteX19459" y="connsiteY19459"/>
              </a:cxn>
              <a:cxn ang="0">
                <a:pos x="connsiteX19460" y="connsiteY19460"/>
              </a:cxn>
              <a:cxn ang="0">
                <a:pos x="connsiteX19461" y="connsiteY19461"/>
              </a:cxn>
              <a:cxn ang="0">
                <a:pos x="connsiteX19462" y="connsiteY19462"/>
              </a:cxn>
              <a:cxn ang="0">
                <a:pos x="connsiteX19463" y="connsiteY19463"/>
              </a:cxn>
              <a:cxn ang="0">
                <a:pos x="connsiteX19464" y="connsiteY19464"/>
              </a:cxn>
              <a:cxn ang="0">
                <a:pos x="connsiteX19465" y="connsiteY19465"/>
              </a:cxn>
              <a:cxn ang="0">
                <a:pos x="connsiteX19466" y="connsiteY19466"/>
              </a:cxn>
              <a:cxn ang="0">
                <a:pos x="connsiteX19467" y="connsiteY19467"/>
              </a:cxn>
              <a:cxn ang="0">
                <a:pos x="connsiteX19468" y="connsiteY19468"/>
              </a:cxn>
              <a:cxn ang="0">
                <a:pos x="connsiteX19469" y="connsiteY19469"/>
              </a:cxn>
              <a:cxn ang="0">
                <a:pos x="connsiteX19470" y="connsiteY19470"/>
              </a:cxn>
              <a:cxn ang="0">
                <a:pos x="connsiteX19471" y="connsiteY19471"/>
              </a:cxn>
              <a:cxn ang="0">
                <a:pos x="connsiteX19472" y="connsiteY19472"/>
              </a:cxn>
              <a:cxn ang="0">
                <a:pos x="connsiteX19473" y="connsiteY19473"/>
              </a:cxn>
              <a:cxn ang="0">
                <a:pos x="connsiteX19474" y="connsiteY19474"/>
              </a:cxn>
              <a:cxn ang="0">
                <a:pos x="connsiteX19475" y="connsiteY19475"/>
              </a:cxn>
              <a:cxn ang="0">
                <a:pos x="connsiteX19476" y="connsiteY19476"/>
              </a:cxn>
              <a:cxn ang="0">
                <a:pos x="connsiteX19477" y="connsiteY19477"/>
              </a:cxn>
              <a:cxn ang="0">
                <a:pos x="connsiteX19478" y="connsiteY19478"/>
              </a:cxn>
              <a:cxn ang="0">
                <a:pos x="connsiteX19479" y="connsiteY19479"/>
              </a:cxn>
              <a:cxn ang="0">
                <a:pos x="connsiteX19480" y="connsiteY19480"/>
              </a:cxn>
              <a:cxn ang="0">
                <a:pos x="connsiteX19481" y="connsiteY19481"/>
              </a:cxn>
              <a:cxn ang="0">
                <a:pos x="connsiteX19482" y="connsiteY19482"/>
              </a:cxn>
              <a:cxn ang="0">
                <a:pos x="connsiteX19483" y="connsiteY19483"/>
              </a:cxn>
              <a:cxn ang="0">
                <a:pos x="connsiteX19484" y="connsiteY19484"/>
              </a:cxn>
              <a:cxn ang="0">
                <a:pos x="connsiteX19485" y="connsiteY19485"/>
              </a:cxn>
              <a:cxn ang="0">
                <a:pos x="connsiteX19486" y="connsiteY19486"/>
              </a:cxn>
              <a:cxn ang="0">
                <a:pos x="connsiteX19487" y="connsiteY19487"/>
              </a:cxn>
              <a:cxn ang="0">
                <a:pos x="connsiteX19488" y="connsiteY19488"/>
              </a:cxn>
              <a:cxn ang="0">
                <a:pos x="connsiteX19489" y="connsiteY19489"/>
              </a:cxn>
              <a:cxn ang="0">
                <a:pos x="connsiteX19490" y="connsiteY19490"/>
              </a:cxn>
              <a:cxn ang="0">
                <a:pos x="connsiteX19491" y="connsiteY19491"/>
              </a:cxn>
              <a:cxn ang="0">
                <a:pos x="connsiteX19492" y="connsiteY19492"/>
              </a:cxn>
              <a:cxn ang="0">
                <a:pos x="connsiteX19493" y="connsiteY19493"/>
              </a:cxn>
              <a:cxn ang="0">
                <a:pos x="connsiteX19494" y="connsiteY19494"/>
              </a:cxn>
              <a:cxn ang="0">
                <a:pos x="connsiteX19495" y="connsiteY19495"/>
              </a:cxn>
              <a:cxn ang="0">
                <a:pos x="connsiteX19496" y="connsiteY19496"/>
              </a:cxn>
              <a:cxn ang="0">
                <a:pos x="connsiteX19497" y="connsiteY19497"/>
              </a:cxn>
              <a:cxn ang="0">
                <a:pos x="connsiteX19498" y="connsiteY19498"/>
              </a:cxn>
              <a:cxn ang="0">
                <a:pos x="connsiteX19499" y="connsiteY19499"/>
              </a:cxn>
              <a:cxn ang="0">
                <a:pos x="connsiteX19500" y="connsiteY19500"/>
              </a:cxn>
              <a:cxn ang="0">
                <a:pos x="connsiteX19501" y="connsiteY19501"/>
              </a:cxn>
              <a:cxn ang="0">
                <a:pos x="connsiteX19502" y="connsiteY19502"/>
              </a:cxn>
              <a:cxn ang="0">
                <a:pos x="connsiteX19503" y="connsiteY19503"/>
              </a:cxn>
              <a:cxn ang="0">
                <a:pos x="connsiteX19504" y="connsiteY19504"/>
              </a:cxn>
              <a:cxn ang="0">
                <a:pos x="connsiteX19505" y="connsiteY19505"/>
              </a:cxn>
              <a:cxn ang="0">
                <a:pos x="connsiteX19506" y="connsiteY19506"/>
              </a:cxn>
              <a:cxn ang="0">
                <a:pos x="connsiteX19507" y="connsiteY19507"/>
              </a:cxn>
              <a:cxn ang="0">
                <a:pos x="connsiteX19508" y="connsiteY19508"/>
              </a:cxn>
              <a:cxn ang="0">
                <a:pos x="connsiteX19509" y="connsiteY19509"/>
              </a:cxn>
              <a:cxn ang="0">
                <a:pos x="connsiteX19510" y="connsiteY19510"/>
              </a:cxn>
              <a:cxn ang="0">
                <a:pos x="connsiteX19511" y="connsiteY19511"/>
              </a:cxn>
              <a:cxn ang="0">
                <a:pos x="connsiteX19512" y="connsiteY19512"/>
              </a:cxn>
              <a:cxn ang="0">
                <a:pos x="connsiteX19513" y="connsiteY19513"/>
              </a:cxn>
              <a:cxn ang="0">
                <a:pos x="connsiteX19514" y="connsiteY19514"/>
              </a:cxn>
              <a:cxn ang="0">
                <a:pos x="connsiteX19515" y="connsiteY19515"/>
              </a:cxn>
              <a:cxn ang="0">
                <a:pos x="connsiteX19516" y="connsiteY19516"/>
              </a:cxn>
              <a:cxn ang="0">
                <a:pos x="connsiteX19517" y="connsiteY19517"/>
              </a:cxn>
              <a:cxn ang="0">
                <a:pos x="connsiteX19518" y="connsiteY19518"/>
              </a:cxn>
              <a:cxn ang="0">
                <a:pos x="connsiteX19519" y="connsiteY19519"/>
              </a:cxn>
              <a:cxn ang="0">
                <a:pos x="connsiteX19520" y="connsiteY19520"/>
              </a:cxn>
              <a:cxn ang="0">
                <a:pos x="connsiteX19521" y="connsiteY19521"/>
              </a:cxn>
              <a:cxn ang="0">
                <a:pos x="connsiteX19522" y="connsiteY19522"/>
              </a:cxn>
              <a:cxn ang="0">
                <a:pos x="connsiteX19523" y="connsiteY19523"/>
              </a:cxn>
              <a:cxn ang="0">
                <a:pos x="connsiteX19524" y="connsiteY19524"/>
              </a:cxn>
              <a:cxn ang="0">
                <a:pos x="connsiteX19525" y="connsiteY19525"/>
              </a:cxn>
              <a:cxn ang="0">
                <a:pos x="connsiteX19526" y="connsiteY19526"/>
              </a:cxn>
              <a:cxn ang="0">
                <a:pos x="connsiteX19527" y="connsiteY19527"/>
              </a:cxn>
              <a:cxn ang="0">
                <a:pos x="connsiteX19528" y="connsiteY19528"/>
              </a:cxn>
              <a:cxn ang="0">
                <a:pos x="connsiteX19529" y="connsiteY19529"/>
              </a:cxn>
              <a:cxn ang="0">
                <a:pos x="connsiteX19530" y="connsiteY19530"/>
              </a:cxn>
              <a:cxn ang="0">
                <a:pos x="connsiteX19531" y="connsiteY19531"/>
              </a:cxn>
              <a:cxn ang="0">
                <a:pos x="connsiteX19532" y="connsiteY19532"/>
              </a:cxn>
              <a:cxn ang="0">
                <a:pos x="connsiteX19533" y="connsiteY19533"/>
              </a:cxn>
              <a:cxn ang="0">
                <a:pos x="connsiteX19534" y="connsiteY19534"/>
              </a:cxn>
              <a:cxn ang="0">
                <a:pos x="connsiteX19535" y="connsiteY19535"/>
              </a:cxn>
              <a:cxn ang="0">
                <a:pos x="connsiteX19536" y="connsiteY19536"/>
              </a:cxn>
              <a:cxn ang="0">
                <a:pos x="connsiteX19537" y="connsiteY19537"/>
              </a:cxn>
              <a:cxn ang="0">
                <a:pos x="connsiteX19538" y="connsiteY19538"/>
              </a:cxn>
              <a:cxn ang="0">
                <a:pos x="connsiteX19539" y="connsiteY19539"/>
              </a:cxn>
              <a:cxn ang="0">
                <a:pos x="connsiteX19540" y="connsiteY19540"/>
              </a:cxn>
              <a:cxn ang="0">
                <a:pos x="connsiteX19541" y="connsiteY19541"/>
              </a:cxn>
              <a:cxn ang="0">
                <a:pos x="connsiteX19542" y="connsiteY19542"/>
              </a:cxn>
              <a:cxn ang="0">
                <a:pos x="connsiteX19543" y="connsiteY19543"/>
              </a:cxn>
              <a:cxn ang="0">
                <a:pos x="connsiteX19544" y="connsiteY19544"/>
              </a:cxn>
              <a:cxn ang="0">
                <a:pos x="connsiteX19545" y="connsiteY19545"/>
              </a:cxn>
              <a:cxn ang="0">
                <a:pos x="connsiteX19546" y="connsiteY19546"/>
              </a:cxn>
              <a:cxn ang="0">
                <a:pos x="connsiteX19547" y="connsiteY19547"/>
              </a:cxn>
              <a:cxn ang="0">
                <a:pos x="connsiteX19548" y="connsiteY19548"/>
              </a:cxn>
              <a:cxn ang="0">
                <a:pos x="connsiteX19549" y="connsiteY19549"/>
              </a:cxn>
              <a:cxn ang="0">
                <a:pos x="connsiteX19550" y="connsiteY19550"/>
              </a:cxn>
              <a:cxn ang="0">
                <a:pos x="connsiteX19551" y="connsiteY19551"/>
              </a:cxn>
              <a:cxn ang="0">
                <a:pos x="connsiteX19552" y="connsiteY19552"/>
              </a:cxn>
              <a:cxn ang="0">
                <a:pos x="connsiteX19553" y="connsiteY19553"/>
              </a:cxn>
              <a:cxn ang="0">
                <a:pos x="connsiteX19554" y="connsiteY19554"/>
              </a:cxn>
              <a:cxn ang="0">
                <a:pos x="connsiteX19555" y="connsiteY19555"/>
              </a:cxn>
              <a:cxn ang="0">
                <a:pos x="connsiteX19556" y="connsiteY19556"/>
              </a:cxn>
              <a:cxn ang="0">
                <a:pos x="connsiteX19557" y="connsiteY19557"/>
              </a:cxn>
              <a:cxn ang="0">
                <a:pos x="connsiteX19558" y="connsiteY19558"/>
              </a:cxn>
              <a:cxn ang="0">
                <a:pos x="connsiteX19559" y="connsiteY19559"/>
              </a:cxn>
              <a:cxn ang="0">
                <a:pos x="connsiteX19560" y="connsiteY19560"/>
              </a:cxn>
              <a:cxn ang="0">
                <a:pos x="connsiteX19561" y="connsiteY19561"/>
              </a:cxn>
              <a:cxn ang="0">
                <a:pos x="connsiteX19562" y="connsiteY19562"/>
              </a:cxn>
              <a:cxn ang="0">
                <a:pos x="connsiteX19563" y="connsiteY19563"/>
              </a:cxn>
              <a:cxn ang="0">
                <a:pos x="connsiteX19564" y="connsiteY19564"/>
              </a:cxn>
              <a:cxn ang="0">
                <a:pos x="connsiteX19565" y="connsiteY19565"/>
              </a:cxn>
              <a:cxn ang="0">
                <a:pos x="connsiteX19566" y="connsiteY19566"/>
              </a:cxn>
              <a:cxn ang="0">
                <a:pos x="connsiteX19567" y="connsiteY19567"/>
              </a:cxn>
              <a:cxn ang="0">
                <a:pos x="connsiteX19568" y="connsiteY19568"/>
              </a:cxn>
              <a:cxn ang="0">
                <a:pos x="connsiteX19569" y="connsiteY19569"/>
              </a:cxn>
              <a:cxn ang="0">
                <a:pos x="connsiteX19570" y="connsiteY19570"/>
              </a:cxn>
              <a:cxn ang="0">
                <a:pos x="connsiteX19571" y="connsiteY19571"/>
              </a:cxn>
              <a:cxn ang="0">
                <a:pos x="connsiteX19572" y="connsiteY19572"/>
              </a:cxn>
              <a:cxn ang="0">
                <a:pos x="connsiteX19573" y="connsiteY19573"/>
              </a:cxn>
              <a:cxn ang="0">
                <a:pos x="connsiteX19574" y="connsiteY19574"/>
              </a:cxn>
              <a:cxn ang="0">
                <a:pos x="connsiteX19575" y="connsiteY19575"/>
              </a:cxn>
              <a:cxn ang="0">
                <a:pos x="connsiteX19576" y="connsiteY19576"/>
              </a:cxn>
              <a:cxn ang="0">
                <a:pos x="connsiteX19577" y="connsiteY19577"/>
              </a:cxn>
              <a:cxn ang="0">
                <a:pos x="connsiteX19578" y="connsiteY19578"/>
              </a:cxn>
              <a:cxn ang="0">
                <a:pos x="connsiteX19579" y="connsiteY19579"/>
              </a:cxn>
              <a:cxn ang="0">
                <a:pos x="connsiteX19580" y="connsiteY19580"/>
              </a:cxn>
              <a:cxn ang="0">
                <a:pos x="connsiteX19581" y="connsiteY19581"/>
              </a:cxn>
              <a:cxn ang="0">
                <a:pos x="connsiteX19582" y="connsiteY19582"/>
              </a:cxn>
              <a:cxn ang="0">
                <a:pos x="connsiteX19583" y="connsiteY19583"/>
              </a:cxn>
              <a:cxn ang="0">
                <a:pos x="connsiteX19584" y="connsiteY19584"/>
              </a:cxn>
              <a:cxn ang="0">
                <a:pos x="connsiteX19585" y="connsiteY19585"/>
              </a:cxn>
              <a:cxn ang="0">
                <a:pos x="connsiteX19586" y="connsiteY19586"/>
              </a:cxn>
              <a:cxn ang="0">
                <a:pos x="connsiteX19587" y="connsiteY19587"/>
              </a:cxn>
              <a:cxn ang="0">
                <a:pos x="connsiteX19588" y="connsiteY19588"/>
              </a:cxn>
              <a:cxn ang="0">
                <a:pos x="connsiteX19589" y="connsiteY19589"/>
              </a:cxn>
              <a:cxn ang="0">
                <a:pos x="connsiteX19590" y="connsiteY19590"/>
              </a:cxn>
              <a:cxn ang="0">
                <a:pos x="connsiteX19591" y="connsiteY19591"/>
              </a:cxn>
              <a:cxn ang="0">
                <a:pos x="connsiteX19592" y="connsiteY19592"/>
              </a:cxn>
              <a:cxn ang="0">
                <a:pos x="connsiteX19593" y="connsiteY19593"/>
              </a:cxn>
              <a:cxn ang="0">
                <a:pos x="connsiteX19594" y="connsiteY19594"/>
              </a:cxn>
              <a:cxn ang="0">
                <a:pos x="connsiteX19595" y="connsiteY19595"/>
              </a:cxn>
              <a:cxn ang="0">
                <a:pos x="connsiteX19596" y="connsiteY19596"/>
              </a:cxn>
              <a:cxn ang="0">
                <a:pos x="connsiteX19597" y="connsiteY19597"/>
              </a:cxn>
              <a:cxn ang="0">
                <a:pos x="connsiteX19598" y="connsiteY19598"/>
              </a:cxn>
              <a:cxn ang="0">
                <a:pos x="connsiteX19599" y="connsiteY19599"/>
              </a:cxn>
              <a:cxn ang="0">
                <a:pos x="connsiteX19600" y="connsiteY19600"/>
              </a:cxn>
              <a:cxn ang="0">
                <a:pos x="connsiteX19601" y="connsiteY19601"/>
              </a:cxn>
              <a:cxn ang="0">
                <a:pos x="connsiteX19602" y="connsiteY19602"/>
              </a:cxn>
              <a:cxn ang="0">
                <a:pos x="connsiteX19603" y="connsiteY19603"/>
              </a:cxn>
              <a:cxn ang="0">
                <a:pos x="connsiteX19604" y="connsiteY19604"/>
              </a:cxn>
              <a:cxn ang="0">
                <a:pos x="connsiteX19605" y="connsiteY19605"/>
              </a:cxn>
              <a:cxn ang="0">
                <a:pos x="connsiteX19606" y="connsiteY19606"/>
              </a:cxn>
              <a:cxn ang="0">
                <a:pos x="connsiteX19607" y="connsiteY19607"/>
              </a:cxn>
              <a:cxn ang="0">
                <a:pos x="connsiteX19608" y="connsiteY19608"/>
              </a:cxn>
              <a:cxn ang="0">
                <a:pos x="connsiteX19609" y="connsiteY19609"/>
              </a:cxn>
              <a:cxn ang="0">
                <a:pos x="connsiteX19610" y="connsiteY19610"/>
              </a:cxn>
              <a:cxn ang="0">
                <a:pos x="connsiteX19611" y="connsiteY19611"/>
              </a:cxn>
              <a:cxn ang="0">
                <a:pos x="connsiteX19612" y="connsiteY19612"/>
              </a:cxn>
              <a:cxn ang="0">
                <a:pos x="connsiteX19613" y="connsiteY19613"/>
              </a:cxn>
              <a:cxn ang="0">
                <a:pos x="connsiteX19614" y="connsiteY19614"/>
              </a:cxn>
              <a:cxn ang="0">
                <a:pos x="connsiteX19615" y="connsiteY19615"/>
              </a:cxn>
              <a:cxn ang="0">
                <a:pos x="connsiteX19616" y="connsiteY19616"/>
              </a:cxn>
              <a:cxn ang="0">
                <a:pos x="connsiteX19617" y="connsiteY19617"/>
              </a:cxn>
              <a:cxn ang="0">
                <a:pos x="connsiteX19618" y="connsiteY19618"/>
              </a:cxn>
              <a:cxn ang="0">
                <a:pos x="connsiteX19619" y="connsiteY19619"/>
              </a:cxn>
              <a:cxn ang="0">
                <a:pos x="connsiteX19620" y="connsiteY19620"/>
              </a:cxn>
              <a:cxn ang="0">
                <a:pos x="connsiteX19621" y="connsiteY19621"/>
              </a:cxn>
              <a:cxn ang="0">
                <a:pos x="connsiteX19622" y="connsiteY19622"/>
              </a:cxn>
              <a:cxn ang="0">
                <a:pos x="connsiteX19623" y="connsiteY19623"/>
              </a:cxn>
              <a:cxn ang="0">
                <a:pos x="connsiteX19624" y="connsiteY19624"/>
              </a:cxn>
              <a:cxn ang="0">
                <a:pos x="connsiteX19625" y="connsiteY19625"/>
              </a:cxn>
              <a:cxn ang="0">
                <a:pos x="connsiteX19626" y="connsiteY19626"/>
              </a:cxn>
              <a:cxn ang="0">
                <a:pos x="connsiteX19627" y="connsiteY19627"/>
              </a:cxn>
              <a:cxn ang="0">
                <a:pos x="connsiteX19628" y="connsiteY19628"/>
              </a:cxn>
              <a:cxn ang="0">
                <a:pos x="connsiteX19629" y="connsiteY19629"/>
              </a:cxn>
              <a:cxn ang="0">
                <a:pos x="connsiteX19630" y="connsiteY19630"/>
              </a:cxn>
              <a:cxn ang="0">
                <a:pos x="connsiteX19631" y="connsiteY19631"/>
              </a:cxn>
              <a:cxn ang="0">
                <a:pos x="connsiteX19632" y="connsiteY19632"/>
              </a:cxn>
              <a:cxn ang="0">
                <a:pos x="connsiteX19633" y="connsiteY19633"/>
              </a:cxn>
              <a:cxn ang="0">
                <a:pos x="connsiteX19634" y="connsiteY19634"/>
              </a:cxn>
              <a:cxn ang="0">
                <a:pos x="connsiteX19635" y="connsiteY19635"/>
              </a:cxn>
              <a:cxn ang="0">
                <a:pos x="connsiteX19636" y="connsiteY19636"/>
              </a:cxn>
              <a:cxn ang="0">
                <a:pos x="connsiteX19637" y="connsiteY19637"/>
              </a:cxn>
              <a:cxn ang="0">
                <a:pos x="connsiteX19638" y="connsiteY19638"/>
              </a:cxn>
              <a:cxn ang="0">
                <a:pos x="connsiteX19639" y="connsiteY19639"/>
              </a:cxn>
              <a:cxn ang="0">
                <a:pos x="connsiteX19640" y="connsiteY19640"/>
              </a:cxn>
              <a:cxn ang="0">
                <a:pos x="connsiteX19641" y="connsiteY19641"/>
              </a:cxn>
              <a:cxn ang="0">
                <a:pos x="connsiteX19642" y="connsiteY19642"/>
              </a:cxn>
              <a:cxn ang="0">
                <a:pos x="connsiteX19643" y="connsiteY19643"/>
              </a:cxn>
              <a:cxn ang="0">
                <a:pos x="connsiteX19644" y="connsiteY19644"/>
              </a:cxn>
              <a:cxn ang="0">
                <a:pos x="connsiteX19645" y="connsiteY19645"/>
              </a:cxn>
              <a:cxn ang="0">
                <a:pos x="connsiteX19646" y="connsiteY19646"/>
              </a:cxn>
              <a:cxn ang="0">
                <a:pos x="connsiteX19647" y="connsiteY19647"/>
              </a:cxn>
              <a:cxn ang="0">
                <a:pos x="connsiteX19648" y="connsiteY19648"/>
              </a:cxn>
              <a:cxn ang="0">
                <a:pos x="connsiteX19649" y="connsiteY19649"/>
              </a:cxn>
              <a:cxn ang="0">
                <a:pos x="connsiteX19650" y="connsiteY19650"/>
              </a:cxn>
              <a:cxn ang="0">
                <a:pos x="connsiteX19651" y="connsiteY19651"/>
              </a:cxn>
              <a:cxn ang="0">
                <a:pos x="connsiteX19652" y="connsiteY19652"/>
              </a:cxn>
              <a:cxn ang="0">
                <a:pos x="connsiteX19653" y="connsiteY19653"/>
              </a:cxn>
              <a:cxn ang="0">
                <a:pos x="connsiteX19654" y="connsiteY19654"/>
              </a:cxn>
              <a:cxn ang="0">
                <a:pos x="connsiteX19655" y="connsiteY19655"/>
              </a:cxn>
              <a:cxn ang="0">
                <a:pos x="connsiteX19656" y="connsiteY19656"/>
              </a:cxn>
              <a:cxn ang="0">
                <a:pos x="connsiteX19657" y="connsiteY19657"/>
              </a:cxn>
              <a:cxn ang="0">
                <a:pos x="connsiteX19658" y="connsiteY19658"/>
              </a:cxn>
              <a:cxn ang="0">
                <a:pos x="connsiteX19659" y="connsiteY19659"/>
              </a:cxn>
              <a:cxn ang="0">
                <a:pos x="connsiteX19660" y="connsiteY19660"/>
              </a:cxn>
              <a:cxn ang="0">
                <a:pos x="connsiteX19661" y="connsiteY19661"/>
              </a:cxn>
              <a:cxn ang="0">
                <a:pos x="connsiteX19662" y="connsiteY19662"/>
              </a:cxn>
              <a:cxn ang="0">
                <a:pos x="connsiteX19663" y="connsiteY19663"/>
              </a:cxn>
              <a:cxn ang="0">
                <a:pos x="connsiteX19664" y="connsiteY19664"/>
              </a:cxn>
              <a:cxn ang="0">
                <a:pos x="connsiteX19665" y="connsiteY19665"/>
              </a:cxn>
              <a:cxn ang="0">
                <a:pos x="connsiteX19666" y="connsiteY19666"/>
              </a:cxn>
              <a:cxn ang="0">
                <a:pos x="connsiteX19667" y="connsiteY19667"/>
              </a:cxn>
              <a:cxn ang="0">
                <a:pos x="connsiteX19668" y="connsiteY19668"/>
              </a:cxn>
              <a:cxn ang="0">
                <a:pos x="connsiteX19669" y="connsiteY19669"/>
              </a:cxn>
              <a:cxn ang="0">
                <a:pos x="connsiteX19670" y="connsiteY19670"/>
              </a:cxn>
              <a:cxn ang="0">
                <a:pos x="connsiteX19671" y="connsiteY19671"/>
              </a:cxn>
              <a:cxn ang="0">
                <a:pos x="connsiteX19672" y="connsiteY19672"/>
              </a:cxn>
              <a:cxn ang="0">
                <a:pos x="connsiteX19673" y="connsiteY19673"/>
              </a:cxn>
              <a:cxn ang="0">
                <a:pos x="connsiteX19674" y="connsiteY19674"/>
              </a:cxn>
              <a:cxn ang="0">
                <a:pos x="connsiteX19675" y="connsiteY19675"/>
              </a:cxn>
              <a:cxn ang="0">
                <a:pos x="connsiteX19676" y="connsiteY19676"/>
              </a:cxn>
              <a:cxn ang="0">
                <a:pos x="connsiteX19677" y="connsiteY19677"/>
              </a:cxn>
              <a:cxn ang="0">
                <a:pos x="connsiteX19678" y="connsiteY19678"/>
              </a:cxn>
              <a:cxn ang="0">
                <a:pos x="connsiteX19679" y="connsiteY19679"/>
              </a:cxn>
              <a:cxn ang="0">
                <a:pos x="connsiteX19680" y="connsiteY19680"/>
              </a:cxn>
              <a:cxn ang="0">
                <a:pos x="connsiteX19681" y="connsiteY19681"/>
              </a:cxn>
              <a:cxn ang="0">
                <a:pos x="connsiteX19682" y="connsiteY19682"/>
              </a:cxn>
              <a:cxn ang="0">
                <a:pos x="connsiteX19683" y="connsiteY19683"/>
              </a:cxn>
              <a:cxn ang="0">
                <a:pos x="connsiteX19684" y="connsiteY19684"/>
              </a:cxn>
              <a:cxn ang="0">
                <a:pos x="connsiteX19685" y="connsiteY19685"/>
              </a:cxn>
              <a:cxn ang="0">
                <a:pos x="connsiteX19686" y="connsiteY19686"/>
              </a:cxn>
              <a:cxn ang="0">
                <a:pos x="connsiteX19687" y="connsiteY19687"/>
              </a:cxn>
              <a:cxn ang="0">
                <a:pos x="connsiteX19688" y="connsiteY19688"/>
              </a:cxn>
              <a:cxn ang="0">
                <a:pos x="connsiteX19689" y="connsiteY19689"/>
              </a:cxn>
              <a:cxn ang="0">
                <a:pos x="connsiteX19690" y="connsiteY19690"/>
              </a:cxn>
              <a:cxn ang="0">
                <a:pos x="connsiteX19691" y="connsiteY19691"/>
              </a:cxn>
              <a:cxn ang="0">
                <a:pos x="connsiteX19692" y="connsiteY19692"/>
              </a:cxn>
              <a:cxn ang="0">
                <a:pos x="connsiteX19693" y="connsiteY19693"/>
              </a:cxn>
              <a:cxn ang="0">
                <a:pos x="connsiteX19694" y="connsiteY19694"/>
              </a:cxn>
              <a:cxn ang="0">
                <a:pos x="connsiteX19695" y="connsiteY19695"/>
              </a:cxn>
              <a:cxn ang="0">
                <a:pos x="connsiteX19696" y="connsiteY19696"/>
              </a:cxn>
              <a:cxn ang="0">
                <a:pos x="connsiteX19697" y="connsiteY19697"/>
              </a:cxn>
              <a:cxn ang="0">
                <a:pos x="connsiteX19698" y="connsiteY19698"/>
              </a:cxn>
              <a:cxn ang="0">
                <a:pos x="connsiteX19699" y="connsiteY19699"/>
              </a:cxn>
              <a:cxn ang="0">
                <a:pos x="connsiteX19700" y="connsiteY19700"/>
              </a:cxn>
              <a:cxn ang="0">
                <a:pos x="connsiteX19701" y="connsiteY19701"/>
              </a:cxn>
              <a:cxn ang="0">
                <a:pos x="connsiteX19702" y="connsiteY19702"/>
              </a:cxn>
              <a:cxn ang="0">
                <a:pos x="connsiteX19703" y="connsiteY19703"/>
              </a:cxn>
              <a:cxn ang="0">
                <a:pos x="connsiteX19704" y="connsiteY19704"/>
              </a:cxn>
              <a:cxn ang="0">
                <a:pos x="connsiteX19705" y="connsiteY19705"/>
              </a:cxn>
              <a:cxn ang="0">
                <a:pos x="connsiteX19706" y="connsiteY19706"/>
              </a:cxn>
              <a:cxn ang="0">
                <a:pos x="connsiteX19707" y="connsiteY19707"/>
              </a:cxn>
              <a:cxn ang="0">
                <a:pos x="connsiteX19708" y="connsiteY19708"/>
              </a:cxn>
              <a:cxn ang="0">
                <a:pos x="connsiteX19709" y="connsiteY19709"/>
              </a:cxn>
              <a:cxn ang="0">
                <a:pos x="connsiteX19710" y="connsiteY19710"/>
              </a:cxn>
              <a:cxn ang="0">
                <a:pos x="connsiteX19711" y="connsiteY19711"/>
              </a:cxn>
              <a:cxn ang="0">
                <a:pos x="connsiteX19712" y="connsiteY19712"/>
              </a:cxn>
              <a:cxn ang="0">
                <a:pos x="connsiteX19713" y="connsiteY19713"/>
              </a:cxn>
              <a:cxn ang="0">
                <a:pos x="connsiteX19714" y="connsiteY19714"/>
              </a:cxn>
              <a:cxn ang="0">
                <a:pos x="connsiteX19715" y="connsiteY19715"/>
              </a:cxn>
              <a:cxn ang="0">
                <a:pos x="connsiteX19716" y="connsiteY19716"/>
              </a:cxn>
              <a:cxn ang="0">
                <a:pos x="connsiteX19717" y="connsiteY19717"/>
              </a:cxn>
              <a:cxn ang="0">
                <a:pos x="connsiteX19718" y="connsiteY19718"/>
              </a:cxn>
              <a:cxn ang="0">
                <a:pos x="connsiteX19719" y="connsiteY19719"/>
              </a:cxn>
              <a:cxn ang="0">
                <a:pos x="connsiteX19720" y="connsiteY19720"/>
              </a:cxn>
              <a:cxn ang="0">
                <a:pos x="connsiteX19721" y="connsiteY19721"/>
              </a:cxn>
              <a:cxn ang="0">
                <a:pos x="connsiteX19722" y="connsiteY19722"/>
              </a:cxn>
              <a:cxn ang="0">
                <a:pos x="connsiteX19723" y="connsiteY19723"/>
              </a:cxn>
              <a:cxn ang="0">
                <a:pos x="connsiteX19724" y="connsiteY19724"/>
              </a:cxn>
              <a:cxn ang="0">
                <a:pos x="connsiteX19725" y="connsiteY19725"/>
              </a:cxn>
              <a:cxn ang="0">
                <a:pos x="connsiteX19726" y="connsiteY19726"/>
              </a:cxn>
              <a:cxn ang="0">
                <a:pos x="connsiteX19727" y="connsiteY19727"/>
              </a:cxn>
              <a:cxn ang="0">
                <a:pos x="connsiteX19728" y="connsiteY19728"/>
              </a:cxn>
              <a:cxn ang="0">
                <a:pos x="connsiteX19729" y="connsiteY19729"/>
              </a:cxn>
              <a:cxn ang="0">
                <a:pos x="connsiteX19730" y="connsiteY19730"/>
              </a:cxn>
              <a:cxn ang="0">
                <a:pos x="connsiteX19731" y="connsiteY19731"/>
              </a:cxn>
              <a:cxn ang="0">
                <a:pos x="connsiteX19732" y="connsiteY19732"/>
              </a:cxn>
              <a:cxn ang="0">
                <a:pos x="connsiteX19733" y="connsiteY19733"/>
              </a:cxn>
              <a:cxn ang="0">
                <a:pos x="connsiteX19734" y="connsiteY19734"/>
              </a:cxn>
              <a:cxn ang="0">
                <a:pos x="connsiteX19735" y="connsiteY19735"/>
              </a:cxn>
              <a:cxn ang="0">
                <a:pos x="connsiteX19736" y="connsiteY19736"/>
              </a:cxn>
              <a:cxn ang="0">
                <a:pos x="connsiteX19737" y="connsiteY19737"/>
              </a:cxn>
              <a:cxn ang="0">
                <a:pos x="connsiteX19738" y="connsiteY19738"/>
              </a:cxn>
              <a:cxn ang="0">
                <a:pos x="connsiteX19739" y="connsiteY19739"/>
              </a:cxn>
              <a:cxn ang="0">
                <a:pos x="connsiteX19740" y="connsiteY19740"/>
              </a:cxn>
              <a:cxn ang="0">
                <a:pos x="connsiteX19741" y="connsiteY19741"/>
              </a:cxn>
              <a:cxn ang="0">
                <a:pos x="connsiteX19742" y="connsiteY19742"/>
              </a:cxn>
              <a:cxn ang="0">
                <a:pos x="connsiteX19743" y="connsiteY19743"/>
              </a:cxn>
              <a:cxn ang="0">
                <a:pos x="connsiteX19744" y="connsiteY19744"/>
              </a:cxn>
              <a:cxn ang="0">
                <a:pos x="connsiteX19745" y="connsiteY19745"/>
              </a:cxn>
              <a:cxn ang="0">
                <a:pos x="connsiteX19746" y="connsiteY19746"/>
              </a:cxn>
              <a:cxn ang="0">
                <a:pos x="connsiteX19747" y="connsiteY19747"/>
              </a:cxn>
              <a:cxn ang="0">
                <a:pos x="connsiteX19748" y="connsiteY19748"/>
              </a:cxn>
              <a:cxn ang="0">
                <a:pos x="connsiteX19749" y="connsiteY19749"/>
              </a:cxn>
              <a:cxn ang="0">
                <a:pos x="connsiteX19750" y="connsiteY19750"/>
              </a:cxn>
              <a:cxn ang="0">
                <a:pos x="connsiteX19751" y="connsiteY19751"/>
              </a:cxn>
              <a:cxn ang="0">
                <a:pos x="connsiteX19752" y="connsiteY19752"/>
              </a:cxn>
              <a:cxn ang="0">
                <a:pos x="connsiteX19753" y="connsiteY19753"/>
              </a:cxn>
              <a:cxn ang="0">
                <a:pos x="connsiteX19754" y="connsiteY19754"/>
              </a:cxn>
              <a:cxn ang="0">
                <a:pos x="connsiteX19755" y="connsiteY19755"/>
              </a:cxn>
              <a:cxn ang="0">
                <a:pos x="connsiteX19756" y="connsiteY19756"/>
              </a:cxn>
              <a:cxn ang="0">
                <a:pos x="connsiteX19757" y="connsiteY19757"/>
              </a:cxn>
              <a:cxn ang="0">
                <a:pos x="connsiteX19758" y="connsiteY19758"/>
              </a:cxn>
              <a:cxn ang="0">
                <a:pos x="connsiteX19759" y="connsiteY19759"/>
              </a:cxn>
              <a:cxn ang="0">
                <a:pos x="connsiteX19760" y="connsiteY19760"/>
              </a:cxn>
              <a:cxn ang="0">
                <a:pos x="connsiteX19761" y="connsiteY19761"/>
              </a:cxn>
              <a:cxn ang="0">
                <a:pos x="connsiteX19762" y="connsiteY19762"/>
              </a:cxn>
              <a:cxn ang="0">
                <a:pos x="connsiteX19763" y="connsiteY19763"/>
              </a:cxn>
              <a:cxn ang="0">
                <a:pos x="connsiteX19764" y="connsiteY19764"/>
              </a:cxn>
              <a:cxn ang="0">
                <a:pos x="connsiteX19765" y="connsiteY19765"/>
              </a:cxn>
              <a:cxn ang="0">
                <a:pos x="connsiteX19766" y="connsiteY19766"/>
              </a:cxn>
              <a:cxn ang="0">
                <a:pos x="connsiteX19767" y="connsiteY19767"/>
              </a:cxn>
              <a:cxn ang="0">
                <a:pos x="connsiteX19768" y="connsiteY19768"/>
              </a:cxn>
              <a:cxn ang="0">
                <a:pos x="connsiteX19769" y="connsiteY19769"/>
              </a:cxn>
              <a:cxn ang="0">
                <a:pos x="connsiteX19770" y="connsiteY19770"/>
              </a:cxn>
              <a:cxn ang="0">
                <a:pos x="connsiteX19771" y="connsiteY19771"/>
              </a:cxn>
              <a:cxn ang="0">
                <a:pos x="connsiteX19772" y="connsiteY19772"/>
              </a:cxn>
              <a:cxn ang="0">
                <a:pos x="connsiteX19773" y="connsiteY19773"/>
              </a:cxn>
              <a:cxn ang="0">
                <a:pos x="connsiteX19774" y="connsiteY19774"/>
              </a:cxn>
              <a:cxn ang="0">
                <a:pos x="connsiteX19775" y="connsiteY19775"/>
              </a:cxn>
              <a:cxn ang="0">
                <a:pos x="connsiteX19776" y="connsiteY19776"/>
              </a:cxn>
              <a:cxn ang="0">
                <a:pos x="connsiteX19777" y="connsiteY19777"/>
              </a:cxn>
              <a:cxn ang="0">
                <a:pos x="connsiteX19778" y="connsiteY19778"/>
              </a:cxn>
              <a:cxn ang="0">
                <a:pos x="connsiteX19779" y="connsiteY19779"/>
              </a:cxn>
              <a:cxn ang="0">
                <a:pos x="connsiteX19780" y="connsiteY19780"/>
              </a:cxn>
              <a:cxn ang="0">
                <a:pos x="connsiteX19781" y="connsiteY19781"/>
              </a:cxn>
              <a:cxn ang="0">
                <a:pos x="connsiteX19782" y="connsiteY19782"/>
              </a:cxn>
              <a:cxn ang="0">
                <a:pos x="connsiteX19783" y="connsiteY19783"/>
              </a:cxn>
              <a:cxn ang="0">
                <a:pos x="connsiteX19784" y="connsiteY19784"/>
              </a:cxn>
              <a:cxn ang="0">
                <a:pos x="connsiteX19785" y="connsiteY19785"/>
              </a:cxn>
              <a:cxn ang="0">
                <a:pos x="connsiteX19786" y="connsiteY19786"/>
              </a:cxn>
              <a:cxn ang="0">
                <a:pos x="connsiteX19787" y="connsiteY19787"/>
              </a:cxn>
              <a:cxn ang="0">
                <a:pos x="connsiteX19788" y="connsiteY19788"/>
              </a:cxn>
              <a:cxn ang="0">
                <a:pos x="connsiteX19789" y="connsiteY19789"/>
              </a:cxn>
              <a:cxn ang="0">
                <a:pos x="connsiteX19790" y="connsiteY19790"/>
              </a:cxn>
              <a:cxn ang="0">
                <a:pos x="connsiteX19791" y="connsiteY19791"/>
              </a:cxn>
              <a:cxn ang="0">
                <a:pos x="connsiteX19792" y="connsiteY19792"/>
              </a:cxn>
              <a:cxn ang="0">
                <a:pos x="connsiteX19793" y="connsiteY19793"/>
              </a:cxn>
              <a:cxn ang="0">
                <a:pos x="connsiteX19794" y="connsiteY19794"/>
              </a:cxn>
              <a:cxn ang="0">
                <a:pos x="connsiteX19795" y="connsiteY19795"/>
              </a:cxn>
              <a:cxn ang="0">
                <a:pos x="connsiteX19796" y="connsiteY19796"/>
              </a:cxn>
              <a:cxn ang="0">
                <a:pos x="connsiteX19797" y="connsiteY19797"/>
              </a:cxn>
              <a:cxn ang="0">
                <a:pos x="connsiteX19798" y="connsiteY19798"/>
              </a:cxn>
              <a:cxn ang="0">
                <a:pos x="connsiteX19799" y="connsiteY19799"/>
              </a:cxn>
              <a:cxn ang="0">
                <a:pos x="connsiteX19800" y="connsiteY19800"/>
              </a:cxn>
              <a:cxn ang="0">
                <a:pos x="connsiteX19801" y="connsiteY19801"/>
              </a:cxn>
              <a:cxn ang="0">
                <a:pos x="connsiteX19802" y="connsiteY19802"/>
              </a:cxn>
              <a:cxn ang="0">
                <a:pos x="connsiteX19803" y="connsiteY19803"/>
              </a:cxn>
              <a:cxn ang="0">
                <a:pos x="connsiteX19804" y="connsiteY19804"/>
              </a:cxn>
              <a:cxn ang="0">
                <a:pos x="connsiteX19805" y="connsiteY19805"/>
              </a:cxn>
              <a:cxn ang="0">
                <a:pos x="connsiteX19806" y="connsiteY19806"/>
              </a:cxn>
              <a:cxn ang="0">
                <a:pos x="connsiteX19807" y="connsiteY19807"/>
              </a:cxn>
              <a:cxn ang="0">
                <a:pos x="connsiteX19808" y="connsiteY19808"/>
              </a:cxn>
              <a:cxn ang="0">
                <a:pos x="connsiteX19809" y="connsiteY19809"/>
              </a:cxn>
              <a:cxn ang="0">
                <a:pos x="connsiteX19810" y="connsiteY19810"/>
              </a:cxn>
              <a:cxn ang="0">
                <a:pos x="connsiteX19811" y="connsiteY19811"/>
              </a:cxn>
              <a:cxn ang="0">
                <a:pos x="connsiteX19812" y="connsiteY19812"/>
              </a:cxn>
              <a:cxn ang="0">
                <a:pos x="connsiteX19813" y="connsiteY19813"/>
              </a:cxn>
              <a:cxn ang="0">
                <a:pos x="connsiteX19814" y="connsiteY19814"/>
              </a:cxn>
              <a:cxn ang="0">
                <a:pos x="connsiteX19815" y="connsiteY19815"/>
              </a:cxn>
              <a:cxn ang="0">
                <a:pos x="connsiteX19816" y="connsiteY19816"/>
              </a:cxn>
              <a:cxn ang="0">
                <a:pos x="connsiteX19817" y="connsiteY19817"/>
              </a:cxn>
              <a:cxn ang="0">
                <a:pos x="connsiteX19818" y="connsiteY19818"/>
              </a:cxn>
              <a:cxn ang="0">
                <a:pos x="connsiteX19819" y="connsiteY19819"/>
              </a:cxn>
              <a:cxn ang="0">
                <a:pos x="connsiteX19820" y="connsiteY19820"/>
              </a:cxn>
              <a:cxn ang="0">
                <a:pos x="connsiteX19821" y="connsiteY19821"/>
              </a:cxn>
              <a:cxn ang="0">
                <a:pos x="connsiteX19822" y="connsiteY19822"/>
              </a:cxn>
              <a:cxn ang="0">
                <a:pos x="connsiteX19823" y="connsiteY19823"/>
              </a:cxn>
              <a:cxn ang="0">
                <a:pos x="connsiteX19824" y="connsiteY19824"/>
              </a:cxn>
              <a:cxn ang="0">
                <a:pos x="connsiteX19825" y="connsiteY19825"/>
              </a:cxn>
              <a:cxn ang="0">
                <a:pos x="connsiteX19826" y="connsiteY19826"/>
              </a:cxn>
              <a:cxn ang="0">
                <a:pos x="connsiteX19827" y="connsiteY19827"/>
              </a:cxn>
              <a:cxn ang="0">
                <a:pos x="connsiteX19828" y="connsiteY19828"/>
              </a:cxn>
              <a:cxn ang="0">
                <a:pos x="connsiteX19829" y="connsiteY19829"/>
              </a:cxn>
              <a:cxn ang="0">
                <a:pos x="connsiteX19830" y="connsiteY19830"/>
              </a:cxn>
              <a:cxn ang="0">
                <a:pos x="connsiteX19831" y="connsiteY19831"/>
              </a:cxn>
              <a:cxn ang="0">
                <a:pos x="connsiteX19832" y="connsiteY19832"/>
              </a:cxn>
              <a:cxn ang="0">
                <a:pos x="connsiteX19833" y="connsiteY19833"/>
              </a:cxn>
              <a:cxn ang="0">
                <a:pos x="connsiteX19834" y="connsiteY19834"/>
              </a:cxn>
              <a:cxn ang="0">
                <a:pos x="connsiteX19835" y="connsiteY19835"/>
              </a:cxn>
              <a:cxn ang="0">
                <a:pos x="connsiteX19836" y="connsiteY19836"/>
              </a:cxn>
              <a:cxn ang="0">
                <a:pos x="connsiteX19837" y="connsiteY19837"/>
              </a:cxn>
              <a:cxn ang="0">
                <a:pos x="connsiteX19838" y="connsiteY19838"/>
              </a:cxn>
              <a:cxn ang="0">
                <a:pos x="connsiteX19839" y="connsiteY19839"/>
              </a:cxn>
              <a:cxn ang="0">
                <a:pos x="connsiteX19840" y="connsiteY19840"/>
              </a:cxn>
              <a:cxn ang="0">
                <a:pos x="connsiteX19841" y="connsiteY19841"/>
              </a:cxn>
              <a:cxn ang="0">
                <a:pos x="connsiteX19842" y="connsiteY19842"/>
              </a:cxn>
              <a:cxn ang="0">
                <a:pos x="connsiteX19843" y="connsiteY19843"/>
              </a:cxn>
              <a:cxn ang="0">
                <a:pos x="connsiteX19844" y="connsiteY19844"/>
              </a:cxn>
              <a:cxn ang="0">
                <a:pos x="connsiteX19845" y="connsiteY19845"/>
              </a:cxn>
              <a:cxn ang="0">
                <a:pos x="connsiteX19846" y="connsiteY19846"/>
              </a:cxn>
              <a:cxn ang="0">
                <a:pos x="connsiteX19847" y="connsiteY19847"/>
              </a:cxn>
              <a:cxn ang="0">
                <a:pos x="connsiteX19848" y="connsiteY19848"/>
              </a:cxn>
              <a:cxn ang="0">
                <a:pos x="connsiteX19849" y="connsiteY19849"/>
              </a:cxn>
              <a:cxn ang="0">
                <a:pos x="connsiteX19850" y="connsiteY19850"/>
              </a:cxn>
              <a:cxn ang="0">
                <a:pos x="connsiteX19851" y="connsiteY19851"/>
              </a:cxn>
              <a:cxn ang="0">
                <a:pos x="connsiteX19852" y="connsiteY19852"/>
              </a:cxn>
              <a:cxn ang="0">
                <a:pos x="connsiteX19853" y="connsiteY19853"/>
              </a:cxn>
              <a:cxn ang="0">
                <a:pos x="connsiteX19854" y="connsiteY19854"/>
              </a:cxn>
              <a:cxn ang="0">
                <a:pos x="connsiteX19855" y="connsiteY19855"/>
              </a:cxn>
              <a:cxn ang="0">
                <a:pos x="connsiteX19856" y="connsiteY19856"/>
              </a:cxn>
              <a:cxn ang="0">
                <a:pos x="connsiteX19857" y="connsiteY19857"/>
              </a:cxn>
              <a:cxn ang="0">
                <a:pos x="connsiteX19858" y="connsiteY19858"/>
              </a:cxn>
              <a:cxn ang="0">
                <a:pos x="connsiteX19859" y="connsiteY19859"/>
              </a:cxn>
              <a:cxn ang="0">
                <a:pos x="connsiteX19860" y="connsiteY19860"/>
              </a:cxn>
              <a:cxn ang="0">
                <a:pos x="connsiteX19861" y="connsiteY19861"/>
              </a:cxn>
              <a:cxn ang="0">
                <a:pos x="connsiteX19862" y="connsiteY19862"/>
              </a:cxn>
              <a:cxn ang="0">
                <a:pos x="connsiteX19863" y="connsiteY19863"/>
              </a:cxn>
              <a:cxn ang="0">
                <a:pos x="connsiteX19864" y="connsiteY19864"/>
              </a:cxn>
              <a:cxn ang="0">
                <a:pos x="connsiteX19865" y="connsiteY19865"/>
              </a:cxn>
              <a:cxn ang="0">
                <a:pos x="connsiteX19866" y="connsiteY19866"/>
              </a:cxn>
              <a:cxn ang="0">
                <a:pos x="connsiteX19867" y="connsiteY19867"/>
              </a:cxn>
              <a:cxn ang="0">
                <a:pos x="connsiteX19868" y="connsiteY19868"/>
              </a:cxn>
              <a:cxn ang="0">
                <a:pos x="connsiteX19869" y="connsiteY19869"/>
              </a:cxn>
              <a:cxn ang="0">
                <a:pos x="connsiteX19870" y="connsiteY19870"/>
              </a:cxn>
              <a:cxn ang="0">
                <a:pos x="connsiteX19871" y="connsiteY19871"/>
              </a:cxn>
              <a:cxn ang="0">
                <a:pos x="connsiteX19872" y="connsiteY19872"/>
              </a:cxn>
              <a:cxn ang="0">
                <a:pos x="connsiteX19873" y="connsiteY19873"/>
              </a:cxn>
              <a:cxn ang="0">
                <a:pos x="connsiteX19874" y="connsiteY19874"/>
              </a:cxn>
              <a:cxn ang="0">
                <a:pos x="connsiteX19875" y="connsiteY19875"/>
              </a:cxn>
              <a:cxn ang="0">
                <a:pos x="connsiteX19876" y="connsiteY19876"/>
              </a:cxn>
              <a:cxn ang="0">
                <a:pos x="connsiteX19877" y="connsiteY19877"/>
              </a:cxn>
              <a:cxn ang="0">
                <a:pos x="connsiteX19878" y="connsiteY19878"/>
              </a:cxn>
              <a:cxn ang="0">
                <a:pos x="connsiteX19879" y="connsiteY19879"/>
              </a:cxn>
              <a:cxn ang="0">
                <a:pos x="connsiteX19880" y="connsiteY19880"/>
              </a:cxn>
              <a:cxn ang="0">
                <a:pos x="connsiteX19881" y="connsiteY19881"/>
              </a:cxn>
              <a:cxn ang="0">
                <a:pos x="connsiteX19882" y="connsiteY19882"/>
              </a:cxn>
              <a:cxn ang="0">
                <a:pos x="connsiteX19883" y="connsiteY19883"/>
              </a:cxn>
              <a:cxn ang="0">
                <a:pos x="connsiteX19884" y="connsiteY19884"/>
              </a:cxn>
              <a:cxn ang="0">
                <a:pos x="connsiteX19885" y="connsiteY19885"/>
              </a:cxn>
              <a:cxn ang="0">
                <a:pos x="connsiteX19886" y="connsiteY19886"/>
              </a:cxn>
              <a:cxn ang="0">
                <a:pos x="connsiteX19887" y="connsiteY19887"/>
              </a:cxn>
              <a:cxn ang="0">
                <a:pos x="connsiteX19888" y="connsiteY19888"/>
              </a:cxn>
              <a:cxn ang="0">
                <a:pos x="connsiteX19889" y="connsiteY19889"/>
              </a:cxn>
              <a:cxn ang="0">
                <a:pos x="connsiteX19890" y="connsiteY19890"/>
              </a:cxn>
              <a:cxn ang="0">
                <a:pos x="connsiteX19891" y="connsiteY19891"/>
              </a:cxn>
              <a:cxn ang="0">
                <a:pos x="connsiteX19892" y="connsiteY19892"/>
              </a:cxn>
              <a:cxn ang="0">
                <a:pos x="connsiteX19893" y="connsiteY19893"/>
              </a:cxn>
              <a:cxn ang="0">
                <a:pos x="connsiteX19894" y="connsiteY19894"/>
              </a:cxn>
              <a:cxn ang="0">
                <a:pos x="connsiteX19895" y="connsiteY19895"/>
              </a:cxn>
              <a:cxn ang="0">
                <a:pos x="connsiteX19896" y="connsiteY19896"/>
              </a:cxn>
              <a:cxn ang="0">
                <a:pos x="connsiteX19897" y="connsiteY19897"/>
              </a:cxn>
              <a:cxn ang="0">
                <a:pos x="connsiteX19898" y="connsiteY19898"/>
              </a:cxn>
              <a:cxn ang="0">
                <a:pos x="connsiteX19899" y="connsiteY19899"/>
              </a:cxn>
              <a:cxn ang="0">
                <a:pos x="connsiteX19900" y="connsiteY19900"/>
              </a:cxn>
              <a:cxn ang="0">
                <a:pos x="connsiteX19901" y="connsiteY19901"/>
              </a:cxn>
              <a:cxn ang="0">
                <a:pos x="connsiteX19902" y="connsiteY19902"/>
              </a:cxn>
              <a:cxn ang="0">
                <a:pos x="connsiteX19903" y="connsiteY19903"/>
              </a:cxn>
              <a:cxn ang="0">
                <a:pos x="connsiteX19904" y="connsiteY19904"/>
              </a:cxn>
              <a:cxn ang="0">
                <a:pos x="connsiteX19905" y="connsiteY19905"/>
              </a:cxn>
              <a:cxn ang="0">
                <a:pos x="connsiteX19906" y="connsiteY19906"/>
              </a:cxn>
              <a:cxn ang="0">
                <a:pos x="connsiteX19907" y="connsiteY19907"/>
              </a:cxn>
              <a:cxn ang="0">
                <a:pos x="connsiteX19908" y="connsiteY19908"/>
              </a:cxn>
              <a:cxn ang="0">
                <a:pos x="connsiteX19909" y="connsiteY19909"/>
              </a:cxn>
              <a:cxn ang="0">
                <a:pos x="connsiteX19910" y="connsiteY19910"/>
              </a:cxn>
              <a:cxn ang="0">
                <a:pos x="connsiteX19911" y="connsiteY19911"/>
              </a:cxn>
              <a:cxn ang="0">
                <a:pos x="connsiteX19912" y="connsiteY19912"/>
              </a:cxn>
              <a:cxn ang="0">
                <a:pos x="connsiteX19913" y="connsiteY19913"/>
              </a:cxn>
              <a:cxn ang="0">
                <a:pos x="connsiteX19914" y="connsiteY19914"/>
              </a:cxn>
              <a:cxn ang="0">
                <a:pos x="connsiteX19915" y="connsiteY19915"/>
              </a:cxn>
              <a:cxn ang="0">
                <a:pos x="connsiteX19916" y="connsiteY19916"/>
              </a:cxn>
              <a:cxn ang="0">
                <a:pos x="connsiteX19917" y="connsiteY19917"/>
              </a:cxn>
              <a:cxn ang="0">
                <a:pos x="connsiteX19918" y="connsiteY19918"/>
              </a:cxn>
              <a:cxn ang="0">
                <a:pos x="connsiteX19919" y="connsiteY19919"/>
              </a:cxn>
              <a:cxn ang="0">
                <a:pos x="connsiteX19920" y="connsiteY19920"/>
              </a:cxn>
              <a:cxn ang="0">
                <a:pos x="connsiteX19921" y="connsiteY19921"/>
              </a:cxn>
              <a:cxn ang="0">
                <a:pos x="connsiteX19922" y="connsiteY19922"/>
              </a:cxn>
              <a:cxn ang="0">
                <a:pos x="connsiteX19923" y="connsiteY19923"/>
              </a:cxn>
              <a:cxn ang="0">
                <a:pos x="connsiteX19924" y="connsiteY19924"/>
              </a:cxn>
              <a:cxn ang="0">
                <a:pos x="connsiteX19925" y="connsiteY19925"/>
              </a:cxn>
              <a:cxn ang="0">
                <a:pos x="connsiteX19926" y="connsiteY19926"/>
              </a:cxn>
              <a:cxn ang="0">
                <a:pos x="connsiteX19927" y="connsiteY19927"/>
              </a:cxn>
              <a:cxn ang="0">
                <a:pos x="connsiteX19928" y="connsiteY19928"/>
              </a:cxn>
              <a:cxn ang="0">
                <a:pos x="connsiteX19929" y="connsiteY19929"/>
              </a:cxn>
              <a:cxn ang="0">
                <a:pos x="connsiteX19930" y="connsiteY19930"/>
              </a:cxn>
              <a:cxn ang="0">
                <a:pos x="connsiteX19931" y="connsiteY19931"/>
              </a:cxn>
              <a:cxn ang="0">
                <a:pos x="connsiteX19932" y="connsiteY19932"/>
              </a:cxn>
              <a:cxn ang="0">
                <a:pos x="connsiteX19933" y="connsiteY19933"/>
              </a:cxn>
              <a:cxn ang="0">
                <a:pos x="connsiteX19934" y="connsiteY19934"/>
              </a:cxn>
              <a:cxn ang="0">
                <a:pos x="connsiteX19935" y="connsiteY19935"/>
              </a:cxn>
              <a:cxn ang="0">
                <a:pos x="connsiteX19936" y="connsiteY19936"/>
              </a:cxn>
              <a:cxn ang="0">
                <a:pos x="connsiteX19937" y="connsiteY19937"/>
              </a:cxn>
              <a:cxn ang="0">
                <a:pos x="connsiteX19938" y="connsiteY19938"/>
              </a:cxn>
              <a:cxn ang="0">
                <a:pos x="connsiteX19939" y="connsiteY19939"/>
              </a:cxn>
              <a:cxn ang="0">
                <a:pos x="connsiteX19940" y="connsiteY19940"/>
              </a:cxn>
              <a:cxn ang="0">
                <a:pos x="connsiteX19941" y="connsiteY19941"/>
              </a:cxn>
              <a:cxn ang="0">
                <a:pos x="connsiteX19942" y="connsiteY19942"/>
              </a:cxn>
              <a:cxn ang="0">
                <a:pos x="connsiteX19943" y="connsiteY19943"/>
              </a:cxn>
              <a:cxn ang="0">
                <a:pos x="connsiteX19944" y="connsiteY19944"/>
              </a:cxn>
              <a:cxn ang="0">
                <a:pos x="connsiteX19945" y="connsiteY19945"/>
              </a:cxn>
              <a:cxn ang="0">
                <a:pos x="connsiteX19946" y="connsiteY19946"/>
              </a:cxn>
              <a:cxn ang="0">
                <a:pos x="connsiteX19947" y="connsiteY19947"/>
              </a:cxn>
              <a:cxn ang="0">
                <a:pos x="connsiteX19948" y="connsiteY19948"/>
              </a:cxn>
              <a:cxn ang="0">
                <a:pos x="connsiteX19949" y="connsiteY19949"/>
              </a:cxn>
              <a:cxn ang="0">
                <a:pos x="connsiteX19950" y="connsiteY19950"/>
              </a:cxn>
              <a:cxn ang="0">
                <a:pos x="connsiteX19951" y="connsiteY19951"/>
              </a:cxn>
              <a:cxn ang="0">
                <a:pos x="connsiteX19952" y="connsiteY19952"/>
              </a:cxn>
              <a:cxn ang="0">
                <a:pos x="connsiteX19953" y="connsiteY19953"/>
              </a:cxn>
              <a:cxn ang="0">
                <a:pos x="connsiteX19954" y="connsiteY19954"/>
              </a:cxn>
              <a:cxn ang="0">
                <a:pos x="connsiteX19955" y="connsiteY19955"/>
              </a:cxn>
              <a:cxn ang="0">
                <a:pos x="connsiteX19956" y="connsiteY19956"/>
              </a:cxn>
              <a:cxn ang="0">
                <a:pos x="connsiteX19957" y="connsiteY19957"/>
              </a:cxn>
              <a:cxn ang="0">
                <a:pos x="connsiteX19958" y="connsiteY19958"/>
              </a:cxn>
              <a:cxn ang="0">
                <a:pos x="connsiteX19959" y="connsiteY19959"/>
              </a:cxn>
              <a:cxn ang="0">
                <a:pos x="connsiteX19960" y="connsiteY19960"/>
              </a:cxn>
              <a:cxn ang="0">
                <a:pos x="connsiteX19961" y="connsiteY19961"/>
              </a:cxn>
              <a:cxn ang="0">
                <a:pos x="connsiteX19962" y="connsiteY19962"/>
              </a:cxn>
              <a:cxn ang="0">
                <a:pos x="connsiteX19963" y="connsiteY19963"/>
              </a:cxn>
              <a:cxn ang="0">
                <a:pos x="connsiteX19964" y="connsiteY19964"/>
              </a:cxn>
              <a:cxn ang="0">
                <a:pos x="connsiteX19965" y="connsiteY19965"/>
              </a:cxn>
              <a:cxn ang="0">
                <a:pos x="connsiteX19966" y="connsiteY19966"/>
              </a:cxn>
              <a:cxn ang="0">
                <a:pos x="connsiteX19967" y="connsiteY19967"/>
              </a:cxn>
              <a:cxn ang="0">
                <a:pos x="connsiteX19968" y="connsiteY19968"/>
              </a:cxn>
              <a:cxn ang="0">
                <a:pos x="connsiteX19969" y="connsiteY19969"/>
              </a:cxn>
              <a:cxn ang="0">
                <a:pos x="connsiteX19970" y="connsiteY19970"/>
              </a:cxn>
              <a:cxn ang="0">
                <a:pos x="connsiteX19971" y="connsiteY19971"/>
              </a:cxn>
              <a:cxn ang="0">
                <a:pos x="connsiteX19972" y="connsiteY19972"/>
              </a:cxn>
              <a:cxn ang="0">
                <a:pos x="connsiteX19973" y="connsiteY19973"/>
              </a:cxn>
              <a:cxn ang="0">
                <a:pos x="connsiteX19974" y="connsiteY19974"/>
              </a:cxn>
              <a:cxn ang="0">
                <a:pos x="connsiteX19975" y="connsiteY19975"/>
              </a:cxn>
              <a:cxn ang="0">
                <a:pos x="connsiteX19976" y="connsiteY19976"/>
              </a:cxn>
              <a:cxn ang="0">
                <a:pos x="connsiteX19977" y="connsiteY19977"/>
              </a:cxn>
              <a:cxn ang="0">
                <a:pos x="connsiteX19978" y="connsiteY19978"/>
              </a:cxn>
              <a:cxn ang="0">
                <a:pos x="connsiteX19979" y="connsiteY19979"/>
              </a:cxn>
              <a:cxn ang="0">
                <a:pos x="connsiteX19980" y="connsiteY19980"/>
              </a:cxn>
              <a:cxn ang="0">
                <a:pos x="connsiteX19981" y="connsiteY19981"/>
              </a:cxn>
              <a:cxn ang="0">
                <a:pos x="connsiteX19982" y="connsiteY19982"/>
              </a:cxn>
              <a:cxn ang="0">
                <a:pos x="connsiteX19983" y="connsiteY19983"/>
              </a:cxn>
              <a:cxn ang="0">
                <a:pos x="connsiteX19984" y="connsiteY19984"/>
              </a:cxn>
              <a:cxn ang="0">
                <a:pos x="connsiteX19985" y="connsiteY19985"/>
              </a:cxn>
              <a:cxn ang="0">
                <a:pos x="connsiteX19986" y="connsiteY19986"/>
              </a:cxn>
              <a:cxn ang="0">
                <a:pos x="connsiteX19987" y="connsiteY19987"/>
              </a:cxn>
              <a:cxn ang="0">
                <a:pos x="connsiteX19988" y="connsiteY19988"/>
              </a:cxn>
              <a:cxn ang="0">
                <a:pos x="connsiteX19989" y="connsiteY19989"/>
              </a:cxn>
              <a:cxn ang="0">
                <a:pos x="connsiteX19990" y="connsiteY19990"/>
              </a:cxn>
              <a:cxn ang="0">
                <a:pos x="connsiteX19991" y="connsiteY19991"/>
              </a:cxn>
              <a:cxn ang="0">
                <a:pos x="connsiteX19992" y="connsiteY19992"/>
              </a:cxn>
              <a:cxn ang="0">
                <a:pos x="connsiteX19993" y="connsiteY19993"/>
              </a:cxn>
              <a:cxn ang="0">
                <a:pos x="connsiteX19994" y="connsiteY19994"/>
              </a:cxn>
              <a:cxn ang="0">
                <a:pos x="connsiteX19995" y="connsiteY19995"/>
              </a:cxn>
              <a:cxn ang="0">
                <a:pos x="connsiteX19996" y="connsiteY19996"/>
              </a:cxn>
              <a:cxn ang="0">
                <a:pos x="connsiteX19997" y="connsiteY19997"/>
              </a:cxn>
              <a:cxn ang="0">
                <a:pos x="connsiteX19998" y="connsiteY19998"/>
              </a:cxn>
              <a:cxn ang="0">
                <a:pos x="connsiteX19999" y="connsiteY19999"/>
              </a:cxn>
              <a:cxn ang="0">
                <a:pos x="connsiteX20000" y="connsiteY20000"/>
              </a:cxn>
              <a:cxn ang="0">
                <a:pos x="connsiteX20001" y="connsiteY20001"/>
              </a:cxn>
              <a:cxn ang="0">
                <a:pos x="connsiteX20002" y="connsiteY20002"/>
              </a:cxn>
              <a:cxn ang="0">
                <a:pos x="connsiteX20003" y="connsiteY20003"/>
              </a:cxn>
              <a:cxn ang="0">
                <a:pos x="connsiteX20004" y="connsiteY20004"/>
              </a:cxn>
              <a:cxn ang="0">
                <a:pos x="connsiteX20005" y="connsiteY20005"/>
              </a:cxn>
              <a:cxn ang="0">
                <a:pos x="connsiteX20006" y="connsiteY20006"/>
              </a:cxn>
              <a:cxn ang="0">
                <a:pos x="connsiteX20007" y="connsiteY20007"/>
              </a:cxn>
              <a:cxn ang="0">
                <a:pos x="connsiteX20008" y="connsiteY20008"/>
              </a:cxn>
              <a:cxn ang="0">
                <a:pos x="connsiteX20009" y="connsiteY20009"/>
              </a:cxn>
              <a:cxn ang="0">
                <a:pos x="connsiteX20010" y="connsiteY20010"/>
              </a:cxn>
              <a:cxn ang="0">
                <a:pos x="connsiteX20011" y="connsiteY20011"/>
              </a:cxn>
              <a:cxn ang="0">
                <a:pos x="connsiteX20012" y="connsiteY20012"/>
              </a:cxn>
              <a:cxn ang="0">
                <a:pos x="connsiteX20013" y="connsiteY20013"/>
              </a:cxn>
              <a:cxn ang="0">
                <a:pos x="connsiteX20014" y="connsiteY20014"/>
              </a:cxn>
              <a:cxn ang="0">
                <a:pos x="connsiteX20015" y="connsiteY20015"/>
              </a:cxn>
              <a:cxn ang="0">
                <a:pos x="connsiteX20016" y="connsiteY20016"/>
              </a:cxn>
              <a:cxn ang="0">
                <a:pos x="connsiteX20017" y="connsiteY20017"/>
              </a:cxn>
              <a:cxn ang="0">
                <a:pos x="connsiteX20018" y="connsiteY20018"/>
              </a:cxn>
              <a:cxn ang="0">
                <a:pos x="connsiteX20019" y="connsiteY20019"/>
              </a:cxn>
              <a:cxn ang="0">
                <a:pos x="connsiteX20020" y="connsiteY20020"/>
              </a:cxn>
              <a:cxn ang="0">
                <a:pos x="connsiteX20021" y="connsiteY20021"/>
              </a:cxn>
              <a:cxn ang="0">
                <a:pos x="connsiteX20022" y="connsiteY20022"/>
              </a:cxn>
              <a:cxn ang="0">
                <a:pos x="connsiteX20023" y="connsiteY20023"/>
              </a:cxn>
              <a:cxn ang="0">
                <a:pos x="connsiteX20024" y="connsiteY20024"/>
              </a:cxn>
              <a:cxn ang="0">
                <a:pos x="connsiteX20025" y="connsiteY20025"/>
              </a:cxn>
              <a:cxn ang="0">
                <a:pos x="connsiteX20026" y="connsiteY20026"/>
              </a:cxn>
              <a:cxn ang="0">
                <a:pos x="connsiteX20027" y="connsiteY20027"/>
              </a:cxn>
              <a:cxn ang="0">
                <a:pos x="connsiteX20028" y="connsiteY20028"/>
              </a:cxn>
              <a:cxn ang="0">
                <a:pos x="connsiteX20029" y="connsiteY20029"/>
              </a:cxn>
              <a:cxn ang="0">
                <a:pos x="connsiteX20030" y="connsiteY20030"/>
              </a:cxn>
              <a:cxn ang="0">
                <a:pos x="connsiteX20031" y="connsiteY20031"/>
              </a:cxn>
              <a:cxn ang="0">
                <a:pos x="connsiteX20032" y="connsiteY20032"/>
              </a:cxn>
              <a:cxn ang="0">
                <a:pos x="connsiteX20033" y="connsiteY20033"/>
              </a:cxn>
              <a:cxn ang="0">
                <a:pos x="connsiteX20034" y="connsiteY20034"/>
              </a:cxn>
              <a:cxn ang="0">
                <a:pos x="connsiteX20035" y="connsiteY20035"/>
              </a:cxn>
              <a:cxn ang="0">
                <a:pos x="connsiteX20036" y="connsiteY20036"/>
              </a:cxn>
              <a:cxn ang="0">
                <a:pos x="connsiteX20037" y="connsiteY20037"/>
              </a:cxn>
              <a:cxn ang="0">
                <a:pos x="connsiteX20038" y="connsiteY20038"/>
              </a:cxn>
              <a:cxn ang="0">
                <a:pos x="connsiteX20039" y="connsiteY20039"/>
              </a:cxn>
              <a:cxn ang="0">
                <a:pos x="connsiteX20040" y="connsiteY20040"/>
              </a:cxn>
              <a:cxn ang="0">
                <a:pos x="connsiteX20041" y="connsiteY20041"/>
              </a:cxn>
              <a:cxn ang="0">
                <a:pos x="connsiteX20042" y="connsiteY20042"/>
              </a:cxn>
              <a:cxn ang="0">
                <a:pos x="connsiteX20043" y="connsiteY20043"/>
              </a:cxn>
              <a:cxn ang="0">
                <a:pos x="connsiteX20044" y="connsiteY20044"/>
              </a:cxn>
              <a:cxn ang="0">
                <a:pos x="connsiteX20045" y="connsiteY20045"/>
              </a:cxn>
              <a:cxn ang="0">
                <a:pos x="connsiteX20046" y="connsiteY20046"/>
              </a:cxn>
              <a:cxn ang="0">
                <a:pos x="connsiteX20047" y="connsiteY20047"/>
              </a:cxn>
              <a:cxn ang="0">
                <a:pos x="connsiteX20048" y="connsiteY20048"/>
              </a:cxn>
              <a:cxn ang="0">
                <a:pos x="connsiteX20049" y="connsiteY20049"/>
              </a:cxn>
              <a:cxn ang="0">
                <a:pos x="connsiteX20050" y="connsiteY20050"/>
              </a:cxn>
              <a:cxn ang="0">
                <a:pos x="connsiteX20051" y="connsiteY20051"/>
              </a:cxn>
              <a:cxn ang="0">
                <a:pos x="connsiteX20052" y="connsiteY20052"/>
              </a:cxn>
              <a:cxn ang="0">
                <a:pos x="connsiteX20053" y="connsiteY20053"/>
              </a:cxn>
              <a:cxn ang="0">
                <a:pos x="connsiteX20054" y="connsiteY20054"/>
              </a:cxn>
              <a:cxn ang="0">
                <a:pos x="connsiteX20055" y="connsiteY20055"/>
              </a:cxn>
              <a:cxn ang="0">
                <a:pos x="connsiteX20056" y="connsiteY20056"/>
              </a:cxn>
              <a:cxn ang="0">
                <a:pos x="connsiteX20057" y="connsiteY20057"/>
              </a:cxn>
              <a:cxn ang="0">
                <a:pos x="connsiteX20058" y="connsiteY20058"/>
              </a:cxn>
              <a:cxn ang="0">
                <a:pos x="connsiteX20059" y="connsiteY20059"/>
              </a:cxn>
              <a:cxn ang="0">
                <a:pos x="connsiteX20060" y="connsiteY20060"/>
              </a:cxn>
              <a:cxn ang="0">
                <a:pos x="connsiteX20061" y="connsiteY20061"/>
              </a:cxn>
              <a:cxn ang="0">
                <a:pos x="connsiteX20062" y="connsiteY20062"/>
              </a:cxn>
              <a:cxn ang="0">
                <a:pos x="connsiteX20063" y="connsiteY20063"/>
              </a:cxn>
              <a:cxn ang="0">
                <a:pos x="connsiteX20064" y="connsiteY20064"/>
              </a:cxn>
              <a:cxn ang="0">
                <a:pos x="connsiteX20065" y="connsiteY20065"/>
              </a:cxn>
              <a:cxn ang="0">
                <a:pos x="connsiteX20066" y="connsiteY20066"/>
              </a:cxn>
              <a:cxn ang="0">
                <a:pos x="connsiteX20067" y="connsiteY20067"/>
              </a:cxn>
              <a:cxn ang="0">
                <a:pos x="connsiteX20068" y="connsiteY20068"/>
              </a:cxn>
              <a:cxn ang="0">
                <a:pos x="connsiteX20069" y="connsiteY20069"/>
              </a:cxn>
              <a:cxn ang="0">
                <a:pos x="connsiteX20070" y="connsiteY20070"/>
              </a:cxn>
              <a:cxn ang="0">
                <a:pos x="connsiteX20071" y="connsiteY20071"/>
              </a:cxn>
              <a:cxn ang="0">
                <a:pos x="connsiteX20072" y="connsiteY20072"/>
              </a:cxn>
              <a:cxn ang="0">
                <a:pos x="connsiteX20073" y="connsiteY20073"/>
              </a:cxn>
              <a:cxn ang="0">
                <a:pos x="connsiteX20074" y="connsiteY20074"/>
              </a:cxn>
              <a:cxn ang="0">
                <a:pos x="connsiteX20075" y="connsiteY20075"/>
              </a:cxn>
              <a:cxn ang="0">
                <a:pos x="connsiteX20076" y="connsiteY20076"/>
              </a:cxn>
              <a:cxn ang="0">
                <a:pos x="connsiteX20077" y="connsiteY20077"/>
              </a:cxn>
              <a:cxn ang="0">
                <a:pos x="connsiteX20078" y="connsiteY20078"/>
              </a:cxn>
              <a:cxn ang="0">
                <a:pos x="connsiteX20079" y="connsiteY20079"/>
              </a:cxn>
              <a:cxn ang="0">
                <a:pos x="connsiteX20080" y="connsiteY20080"/>
              </a:cxn>
              <a:cxn ang="0">
                <a:pos x="connsiteX20081" y="connsiteY20081"/>
              </a:cxn>
              <a:cxn ang="0">
                <a:pos x="connsiteX20082" y="connsiteY20082"/>
              </a:cxn>
              <a:cxn ang="0">
                <a:pos x="connsiteX20083" y="connsiteY20083"/>
              </a:cxn>
              <a:cxn ang="0">
                <a:pos x="connsiteX20084" y="connsiteY20084"/>
              </a:cxn>
              <a:cxn ang="0">
                <a:pos x="connsiteX20085" y="connsiteY20085"/>
              </a:cxn>
              <a:cxn ang="0">
                <a:pos x="connsiteX20086" y="connsiteY20086"/>
              </a:cxn>
              <a:cxn ang="0">
                <a:pos x="connsiteX20087" y="connsiteY20087"/>
              </a:cxn>
              <a:cxn ang="0">
                <a:pos x="connsiteX20088" y="connsiteY20088"/>
              </a:cxn>
              <a:cxn ang="0">
                <a:pos x="connsiteX20089" y="connsiteY20089"/>
              </a:cxn>
              <a:cxn ang="0">
                <a:pos x="connsiteX20090" y="connsiteY20090"/>
              </a:cxn>
              <a:cxn ang="0">
                <a:pos x="connsiteX20091" y="connsiteY20091"/>
              </a:cxn>
              <a:cxn ang="0">
                <a:pos x="connsiteX20092" y="connsiteY20092"/>
              </a:cxn>
              <a:cxn ang="0">
                <a:pos x="connsiteX20093" y="connsiteY20093"/>
              </a:cxn>
              <a:cxn ang="0">
                <a:pos x="connsiteX20094" y="connsiteY20094"/>
              </a:cxn>
              <a:cxn ang="0">
                <a:pos x="connsiteX20095" y="connsiteY20095"/>
              </a:cxn>
              <a:cxn ang="0">
                <a:pos x="connsiteX20096" y="connsiteY20096"/>
              </a:cxn>
              <a:cxn ang="0">
                <a:pos x="connsiteX20097" y="connsiteY20097"/>
              </a:cxn>
              <a:cxn ang="0">
                <a:pos x="connsiteX20098" y="connsiteY20098"/>
              </a:cxn>
              <a:cxn ang="0">
                <a:pos x="connsiteX20099" y="connsiteY20099"/>
              </a:cxn>
              <a:cxn ang="0">
                <a:pos x="connsiteX20100" y="connsiteY20100"/>
              </a:cxn>
              <a:cxn ang="0">
                <a:pos x="connsiteX20101" y="connsiteY20101"/>
              </a:cxn>
              <a:cxn ang="0">
                <a:pos x="connsiteX20102" y="connsiteY20102"/>
              </a:cxn>
              <a:cxn ang="0">
                <a:pos x="connsiteX20103" y="connsiteY20103"/>
              </a:cxn>
              <a:cxn ang="0">
                <a:pos x="connsiteX20104" y="connsiteY20104"/>
              </a:cxn>
              <a:cxn ang="0">
                <a:pos x="connsiteX20105" y="connsiteY20105"/>
              </a:cxn>
              <a:cxn ang="0">
                <a:pos x="connsiteX20106" y="connsiteY20106"/>
              </a:cxn>
              <a:cxn ang="0">
                <a:pos x="connsiteX20107" y="connsiteY20107"/>
              </a:cxn>
              <a:cxn ang="0">
                <a:pos x="connsiteX20108" y="connsiteY20108"/>
              </a:cxn>
              <a:cxn ang="0">
                <a:pos x="connsiteX20109" y="connsiteY20109"/>
              </a:cxn>
              <a:cxn ang="0">
                <a:pos x="connsiteX20110" y="connsiteY20110"/>
              </a:cxn>
              <a:cxn ang="0">
                <a:pos x="connsiteX20111" y="connsiteY20111"/>
              </a:cxn>
              <a:cxn ang="0">
                <a:pos x="connsiteX20112" y="connsiteY20112"/>
              </a:cxn>
              <a:cxn ang="0">
                <a:pos x="connsiteX20113" y="connsiteY20113"/>
              </a:cxn>
              <a:cxn ang="0">
                <a:pos x="connsiteX20114" y="connsiteY20114"/>
              </a:cxn>
              <a:cxn ang="0">
                <a:pos x="connsiteX20115" y="connsiteY20115"/>
              </a:cxn>
              <a:cxn ang="0">
                <a:pos x="connsiteX20116" y="connsiteY20116"/>
              </a:cxn>
              <a:cxn ang="0">
                <a:pos x="connsiteX20117" y="connsiteY20117"/>
              </a:cxn>
              <a:cxn ang="0">
                <a:pos x="connsiteX20118" y="connsiteY20118"/>
              </a:cxn>
              <a:cxn ang="0">
                <a:pos x="connsiteX20119" y="connsiteY20119"/>
              </a:cxn>
              <a:cxn ang="0">
                <a:pos x="connsiteX20120" y="connsiteY20120"/>
              </a:cxn>
              <a:cxn ang="0">
                <a:pos x="connsiteX20121" y="connsiteY20121"/>
              </a:cxn>
              <a:cxn ang="0">
                <a:pos x="connsiteX20122" y="connsiteY20122"/>
              </a:cxn>
              <a:cxn ang="0">
                <a:pos x="connsiteX20123" y="connsiteY20123"/>
              </a:cxn>
              <a:cxn ang="0">
                <a:pos x="connsiteX20124" y="connsiteY20124"/>
              </a:cxn>
              <a:cxn ang="0">
                <a:pos x="connsiteX20125" y="connsiteY20125"/>
              </a:cxn>
              <a:cxn ang="0">
                <a:pos x="connsiteX20126" y="connsiteY20126"/>
              </a:cxn>
              <a:cxn ang="0">
                <a:pos x="connsiteX20127" y="connsiteY20127"/>
              </a:cxn>
              <a:cxn ang="0">
                <a:pos x="connsiteX20128" y="connsiteY20128"/>
              </a:cxn>
              <a:cxn ang="0">
                <a:pos x="connsiteX20129" y="connsiteY20129"/>
              </a:cxn>
              <a:cxn ang="0">
                <a:pos x="connsiteX20130" y="connsiteY20130"/>
              </a:cxn>
              <a:cxn ang="0">
                <a:pos x="connsiteX20131" y="connsiteY20131"/>
              </a:cxn>
              <a:cxn ang="0">
                <a:pos x="connsiteX20132" y="connsiteY20132"/>
              </a:cxn>
              <a:cxn ang="0">
                <a:pos x="connsiteX20133" y="connsiteY20133"/>
              </a:cxn>
              <a:cxn ang="0">
                <a:pos x="connsiteX20134" y="connsiteY20134"/>
              </a:cxn>
              <a:cxn ang="0">
                <a:pos x="connsiteX20135" y="connsiteY20135"/>
              </a:cxn>
              <a:cxn ang="0">
                <a:pos x="connsiteX20136" y="connsiteY20136"/>
              </a:cxn>
              <a:cxn ang="0">
                <a:pos x="connsiteX20137" y="connsiteY20137"/>
              </a:cxn>
              <a:cxn ang="0">
                <a:pos x="connsiteX20138" y="connsiteY20138"/>
              </a:cxn>
              <a:cxn ang="0">
                <a:pos x="connsiteX20139" y="connsiteY20139"/>
              </a:cxn>
              <a:cxn ang="0">
                <a:pos x="connsiteX20140" y="connsiteY20140"/>
              </a:cxn>
              <a:cxn ang="0">
                <a:pos x="connsiteX20141" y="connsiteY20141"/>
              </a:cxn>
              <a:cxn ang="0">
                <a:pos x="connsiteX20142" y="connsiteY20142"/>
              </a:cxn>
              <a:cxn ang="0">
                <a:pos x="connsiteX20143" y="connsiteY20143"/>
              </a:cxn>
              <a:cxn ang="0">
                <a:pos x="connsiteX20144" y="connsiteY20144"/>
              </a:cxn>
              <a:cxn ang="0">
                <a:pos x="connsiteX20145" y="connsiteY20145"/>
              </a:cxn>
              <a:cxn ang="0">
                <a:pos x="connsiteX20146" y="connsiteY20146"/>
              </a:cxn>
              <a:cxn ang="0">
                <a:pos x="connsiteX20147" y="connsiteY20147"/>
              </a:cxn>
              <a:cxn ang="0">
                <a:pos x="connsiteX20148" y="connsiteY20148"/>
              </a:cxn>
              <a:cxn ang="0">
                <a:pos x="connsiteX20149" y="connsiteY20149"/>
              </a:cxn>
              <a:cxn ang="0">
                <a:pos x="connsiteX20150" y="connsiteY20150"/>
              </a:cxn>
              <a:cxn ang="0">
                <a:pos x="connsiteX20151" y="connsiteY20151"/>
              </a:cxn>
              <a:cxn ang="0">
                <a:pos x="connsiteX20152" y="connsiteY20152"/>
              </a:cxn>
              <a:cxn ang="0">
                <a:pos x="connsiteX20153" y="connsiteY20153"/>
              </a:cxn>
              <a:cxn ang="0">
                <a:pos x="connsiteX20154" y="connsiteY20154"/>
              </a:cxn>
              <a:cxn ang="0">
                <a:pos x="connsiteX20155" y="connsiteY20155"/>
              </a:cxn>
              <a:cxn ang="0">
                <a:pos x="connsiteX20156" y="connsiteY20156"/>
              </a:cxn>
              <a:cxn ang="0">
                <a:pos x="connsiteX20157" y="connsiteY20157"/>
              </a:cxn>
              <a:cxn ang="0">
                <a:pos x="connsiteX20158" y="connsiteY20158"/>
              </a:cxn>
              <a:cxn ang="0">
                <a:pos x="connsiteX20159" y="connsiteY20159"/>
              </a:cxn>
              <a:cxn ang="0">
                <a:pos x="connsiteX20160" y="connsiteY20160"/>
              </a:cxn>
              <a:cxn ang="0">
                <a:pos x="connsiteX20161" y="connsiteY20161"/>
              </a:cxn>
              <a:cxn ang="0">
                <a:pos x="connsiteX20162" y="connsiteY20162"/>
              </a:cxn>
              <a:cxn ang="0">
                <a:pos x="connsiteX20163" y="connsiteY20163"/>
              </a:cxn>
              <a:cxn ang="0">
                <a:pos x="connsiteX20164" y="connsiteY20164"/>
              </a:cxn>
              <a:cxn ang="0">
                <a:pos x="connsiteX20165" y="connsiteY20165"/>
              </a:cxn>
              <a:cxn ang="0">
                <a:pos x="connsiteX20166" y="connsiteY20166"/>
              </a:cxn>
              <a:cxn ang="0">
                <a:pos x="connsiteX20167" y="connsiteY20167"/>
              </a:cxn>
              <a:cxn ang="0">
                <a:pos x="connsiteX20168" y="connsiteY20168"/>
              </a:cxn>
              <a:cxn ang="0">
                <a:pos x="connsiteX20169" y="connsiteY20169"/>
              </a:cxn>
              <a:cxn ang="0">
                <a:pos x="connsiteX20170" y="connsiteY20170"/>
              </a:cxn>
              <a:cxn ang="0">
                <a:pos x="connsiteX20171" y="connsiteY20171"/>
              </a:cxn>
              <a:cxn ang="0">
                <a:pos x="connsiteX20172" y="connsiteY20172"/>
              </a:cxn>
              <a:cxn ang="0">
                <a:pos x="connsiteX20173" y="connsiteY20173"/>
              </a:cxn>
              <a:cxn ang="0">
                <a:pos x="connsiteX20174" y="connsiteY20174"/>
              </a:cxn>
              <a:cxn ang="0">
                <a:pos x="connsiteX20175" y="connsiteY20175"/>
              </a:cxn>
              <a:cxn ang="0">
                <a:pos x="connsiteX20176" y="connsiteY20176"/>
              </a:cxn>
              <a:cxn ang="0">
                <a:pos x="connsiteX20177" y="connsiteY20177"/>
              </a:cxn>
              <a:cxn ang="0">
                <a:pos x="connsiteX20178" y="connsiteY20178"/>
              </a:cxn>
              <a:cxn ang="0">
                <a:pos x="connsiteX20179" y="connsiteY20179"/>
              </a:cxn>
              <a:cxn ang="0">
                <a:pos x="connsiteX20180" y="connsiteY20180"/>
              </a:cxn>
              <a:cxn ang="0">
                <a:pos x="connsiteX20181" y="connsiteY20181"/>
              </a:cxn>
              <a:cxn ang="0">
                <a:pos x="connsiteX20182" y="connsiteY20182"/>
              </a:cxn>
              <a:cxn ang="0">
                <a:pos x="connsiteX20183" y="connsiteY20183"/>
              </a:cxn>
              <a:cxn ang="0">
                <a:pos x="connsiteX20184" y="connsiteY20184"/>
              </a:cxn>
              <a:cxn ang="0">
                <a:pos x="connsiteX20185" y="connsiteY20185"/>
              </a:cxn>
              <a:cxn ang="0">
                <a:pos x="connsiteX20186" y="connsiteY20186"/>
              </a:cxn>
              <a:cxn ang="0">
                <a:pos x="connsiteX20187" y="connsiteY20187"/>
              </a:cxn>
              <a:cxn ang="0">
                <a:pos x="connsiteX20188" y="connsiteY20188"/>
              </a:cxn>
              <a:cxn ang="0">
                <a:pos x="connsiteX20189" y="connsiteY20189"/>
              </a:cxn>
              <a:cxn ang="0">
                <a:pos x="connsiteX20190" y="connsiteY20190"/>
              </a:cxn>
              <a:cxn ang="0">
                <a:pos x="connsiteX20191" y="connsiteY20191"/>
              </a:cxn>
              <a:cxn ang="0">
                <a:pos x="connsiteX20192" y="connsiteY20192"/>
              </a:cxn>
              <a:cxn ang="0">
                <a:pos x="connsiteX20193" y="connsiteY20193"/>
              </a:cxn>
              <a:cxn ang="0">
                <a:pos x="connsiteX20194" y="connsiteY20194"/>
              </a:cxn>
              <a:cxn ang="0">
                <a:pos x="connsiteX20195" y="connsiteY20195"/>
              </a:cxn>
              <a:cxn ang="0">
                <a:pos x="connsiteX20196" y="connsiteY20196"/>
              </a:cxn>
              <a:cxn ang="0">
                <a:pos x="connsiteX20197" y="connsiteY20197"/>
              </a:cxn>
              <a:cxn ang="0">
                <a:pos x="connsiteX20198" y="connsiteY20198"/>
              </a:cxn>
              <a:cxn ang="0">
                <a:pos x="connsiteX20199" y="connsiteY20199"/>
              </a:cxn>
              <a:cxn ang="0">
                <a:pos x="connsiteX20200" y="connsiteY20200"/>
              </a:cxn>
              <a:cxn ang="0">
                <a:pos x="connsiteX20201" y="connsiteY20201"/>
              </a:cxn>
              <a:cxn ang="0">
                <a:pos x="connsiteX20202" y="connsiteY20202"/>
              </a:cxn>
              <a:cxn ang="0">
                <a:pos x="connsiteX20203" y="connsiteY20203"/>
              </a:cxn>
              <a:cxn ang="0">
                <a:pos x="connsiteX20204" y="connsiteY20204"/>
              </a:cxn>
              <a:cxn ang="0">
                <a:pos x="connsiteX20205" y="connsiteY20205"/>
              </a:cxn>
              <a:cxn ang="0">
                <a:pos x="connsiteX20206" y="connsiteY20206"/>
              </a:cxn>
              <a:cxn ang="0">
                <a:pos x="connsiteX20207" y="connsiteY20207"/>
              </a:cxn>
              <a:cxn ang="0">
                <a:pos x="connsiteX20208" y="connsiteY20208"/>
              </a:cxn>
              <a:cxn ang="0">
                <a:pos x="connsiteX20209" y="connsiteY20209"/>
              </a:cxn>
              <a:cxn ang="0">
                <a:pos x="connsiteX20210" y="connsiteY20210"/>
              </a:cxn>
              <a:cxn ang="0">
                <a:pos x="connsiteX20211" y="connsiteY20211"/>
              </a:cxn>
              <a:cxn ang="0">
                <a:pos x="connsiteX20212" y="connsiteY20212"/>
              </a:cxn>
              <a:cxn ang="0">
                <a:pos x="connsiteX20213" y="connsiteY20213"/>
              </a:cxn>
              <a:cxn ang="0">
                <a:pos x="connsiteX20214" y="connsiteY20214"/>
              </a:cxn>
              <a:cxn ang="0">
                <a:pos x="connsiteX20215" y="connsiteY20215"/>
              </a:cxn>
              <a:cxn ang="0">
                <a:pos x="connsiteX20216" y="connsiteY20216"/>
              </a:cxn>
              <a:cxn ang="0">
                <a:pos x="connsiteX20217" y="connsiteY20217"/>
              </a:cxn>
              <a:cxn ang="0">
                <a:pos x="connsiteX20218" y="connsiteY20218"/>
              </a:cxn>
              <a:cxn ang="0">
                <a:pos x="connsiteX20219" y="connsiteY20219"/>
              </a:cxn>
              <a:cxn ang="0">
                <a:pos x="connsiteX20220" y="connsiteY20220"/>
              </a:cxn>
              <a:cxn ang="0">
                <a:pos x="connsiteX20221" y="connsiteY20221"/>
              </a:cxn>
              <a:cxn ang="0">
                <a:pos x="connsiteX20222" y="connsiteY20222"/>
              </a:cxn>
              <a:cxn ang="0">
                <a:pos x="connsiteX20223" y="connsiteY20223"/>
              </a:cxn>
              <a:cxn ang="0">
                <a:pos x="connsiteX20224" y="connsiteY20224"/>
              </a:cxn>
              <a:cxn ang="0">
                <a:pos x="connsiteX20225" y="connsiteY20225"/>
              </a:cxn>
              <a:cxn ang="0">
                <a:pos x="connsiteX20226" y="connsiteY20226"/>
              </a:cxn>
              <a:cxn ang="0">
                <a:pos x="connsiteX20227" y="connsiteY20227"/>
              </a:cxn>
              <a:cxn ang="0">
                <a:pos x="connsiteX20228" y="connsiteY20228"/>
              </a:cxn>
              <a:cxn ang="0">
                <a:pos x="connsiteX20229" y="connsiteY20229"/>
              </a:cxn>
              <a:cxn ang="0">
                <a:pos x="connsiteX20230" y="connsiteY20230"/>
              </a:cxn>
              <a:cxn ang="0">
                <a:pos x="connsiteX20231" y="connsiteY20231"/>
              </a:cxn>
              <a:cxn ang="0">
                <a:pos x="connsiteX20232" y="connsiteY20232"/>
              </a:cxn>
              <a:cxn ang="0">
                <a:pos x="connsiteX20233" y="connsiteY20233"/>
              </a:cxn>
              <a:cxn ang="0">
                <a:pos x="connsiteX20234" y="connsiteY20234"/>
              </a:cxn>
              <a:cxn ang="0">
                <a:pos x="connsiteX20235" y="connsiteY20235"/>
              </a:cxn>
              <a:cxn ang="0">
                <a:pos x="connsiteX20236" y="connsiteY20236"/>
              </a:cxn>
              <a:cxn ang="0">
                <a:pos x="connsiteX20237" y="connsiteY20237"/>
              </a:cxn>
              <a:cxn ang="0">
                <a:pos x="connsiteX20238" y="connsiteY20238"/>
              </a:cxn>
              <a:cxn ang="0">
                <a:pos x="connsiteX20239" y="connsiteY20239"/>
              </a:cxn>
              <a:cxn ang="0">
                <a:pos x="connsiteX20240" y="connsiteY20240"/>
              </a:cxn>
              <a:cxn ang="0">
                <a:pos x="connsiteX20241" y="connsiteY20241"/>
              </a:cxn>
              <a:cxn ang="0">
                <a:pos x="connsiteX20242" y="connsiteY20242"/>
              </a:cxn>
              <a:cxn ang="0">
                <a:pos x="connsiteX20243" y="connsiteY20243"/>
              </a:cxn>
              <a:cxn ang="0">
                <a:pos x="connsiteX20244" y="connsiteY20244"/>
              </a:cxn>
              <a:cxn ang="0">
                <a:pos x="connsiteX20245" y="connsiteY20245"/>
              </a:cxn>
              <a:cxn ang="0">
                <a:pos x="connsiteX20246" y="connsiteY20246"/>
              </a:cxn>
              <a:cxn ang="0">
                <a:pos x="connsiteX20247" y="connsiteY20247"/>
              </a:cxn>
              <a:cxn ang="0">
                <a:pos x="connsiteX20248" y="connsiteY20248"/>
              </a:cxn>
              <a:cxn ang="0">
                <a:pos x="connsiteX20249" y="connsiteY20249"/>
              </a:cxn>
              <a:cxn ang="0">
                <a:pos x="connsiteX20250" y="connsiteY20250"/>
              </a:cxn>
              <a:cxn ang="0">
                <a:pos x="connsiteX20251" y="connsiteY20251"/>
              </a:cxn>
              <a:cxn ang="0">
                <a:pos x="connsiteX20252" y="connsiteY20252"/>
              </a:cxn>
              <a:cxn ang="0">
                <a:pos x="connsiteX20253" y="connsiteY20253"/>
              </a:cxn>
              <a:cxn ang="0">
                <a:pos x="connsiteX20254" y="connsiteY20254"/>
              </a:cxn>
              <a:cxn ang="0">
                <a:pos x="connsiteX20255" y="connsiteY20255"/>
              </a:cxn>
              <a:cxn ang="0">
                <a:pos x="connsiteX20256" y="connsiteY20256"/>
              </a:cxn>
              <a:cxn ang="0">
                <a:pos x="connsiteX20257" y="connsiteY20257"/>
              </a:cxn>
              <a:cxn ang="0">
                <a:pos x="connsiteX20258" y="connsiteY20258"/>
              </a:cxn>
              <a:cxn ang="0">
                <a:pos x="connsiteX20259" y="connsiteY20259"/>
              </a:cxn>
              <a:cxn ang="0">
                <a:pos x="connsiteX20260" y="connsiteY20260"/>
              </a:cxn>
              <a:cxn ang="0">
                <a:pos x="connsiteX20261" y="connsiteY20261"/>
              </a:cxn>
              <a:cxn ang="0">
                <a:pos x="connsiteX20262" y="connsiteY20262"/>
              </a:cxn>
              <a:cxn ang="0">
                <a:pos x="connsiteX20263" y="connsiteY20263"/>
              </a:cxn>
              <a:cxn ang="0">
                <a:pos x="connsiteX20264" y="connsiteY20264"/>
              </a:cxn>
              <a:cxn ang="0">
                <a:pos x="connsiteX20265" y="connsiteY20265"/>
              </a:cxn>
              <a:cxn ang="0">
                <a:pos x="connsiteX20266" y="connsiteY20266"/>
              </a:cxn>
              <a:cxn ang="0">
                <a:pos x="connsiteX20267" y="connsiteY20267"/>
              </a:cxn>
              <a:cxn ang="0">
                <a:pos x="connsiteX20268" y="connsiteY20268"/>
              </a:cxn>
              <a:cxn ang="0">
                <a:pos x="connsiteX20269" y="connsiteY20269"/>
              </a:cxn>
              <a:cxn ang="0">
                <a:pos x="connsiteX20270" y="connsiteY20270"/>
              </a:cxn>
              <a:cxn ang="0">
                <a:pos x="connsiteX20271" y="connsiteY20271"/>
              </a:cxn>
              <a:cxn ang="0">
                <a:pos x="connsiteX20272" y="connsiteY20272"/>
              </a:cxn>
              <a:cxn ang="0">
                <a:pos x="connsiteX20273" y="connsiteY20273"/>
              </a:cxn>
              <a:cxn ang="0">
                <a:pos x="connsiteX20274" y="connsiteY20274"/>
              </a:cxn>
              <a:cxn ang="0">
                <a:pos x="connsiteX20275" y="connsiteY20275"/>
              </a:cxn>
              <a:cxn ang="0">
                <a:pos x="connsiteX20276" y="connsiteY20276"/>
              </a:cxn>
              <a:cxn ang="0">
                <a:pos x="connsiteX20277" y="connsiteY20277"/>
              </a:cxn>
              <a:cxn ang="0">
                <a:pos x="connsiteX20278" y="connsiteY20278"/>
              </a:cxn>
              <a:cxn ang="0">
                <a:pos x="connsiteX20279" y="connsiteY20279"/>
              </a:cxn>
              <a:cxn ang="0">
                <a:pos x="connsiteX20280" y="connsiteY20280"/>
              </a:cxn>
              <a:cxn ang="0">
                <a:pos x="connsiteX20281" y="connsiteY20281"/>
              </a:cxn>
              <a:cxn ang="0">
                <a:pos x="connsiteX20282" y="connsiteY20282"/>
              </a:cxn>
              <a:cxn ang="0">
                <a:pos x="connsiteX20283" y="connsiteY20283"/>
              </a:cxn>
              <a:cxn ang="0">
                <a:pos x="connsiteX20284" y="connsiteY20284"/>
              </a:cxn>
              <a:cxn ang="0">
                <a:pos x="connsiteX20285" y="connsiteY20285"/>
              </a:cxn>
              <a:cxn ang="0">
                <a:pos x="connsiteX20286" y="connsiteY20286"/>
              </a:cxn>
              <a:cxn ang="0">
                <a:pos x="connsiteX20287" y="connsiteY20287"/>
              </a:cxn>
              <a:cxn ang="0">
                <a:pos x="connsiteX20288" y="connsiteY20288"/>
              </a:cxn>
              <a:cxn ang="0">
                <a:pos x="connsiteX20289" y="connsiteY20289"/>
              </a:cxn>
              <a:cxn ang="0">
                <a:pos x="connsiteX20290" y="connsiteY20290"/>
              </a:cxn>
              <a:cxn ang="0">
                <a:pos x="connsiteX20291" y="connsiteY20291"/>
              </a:cxn>
              <a:cxn ang="0">
                <a:pos x="connsiteX20292" y="connsiteY20292"/>
              </a:cxn>
              <a:cxn ang="0">
                <a:pos x="connsiteX20293" y="connsiteY20293"/>
              </a:cxn>
              <a:cxn ang="0">
                <a:pos x="connsiteX20294" y="connsiteY20294"/>
              </a:cxn>
              <a:cxn ang="0">
                <a:pos x="connsiteX20295" y="connsiteY20295"/>
              </a:cxn>
              <a:cxn ang="0">
                <a:pos x="connsiteX20296" y="connsiteY20296"/>
              </a:cxn>
              <a:cxn ang="0">
                <a:pos x="connsiteX20297" y="connsiteY20297"/>
              </a:cxn>
              <a:cxn ang="0">
                <a:pos x="connsiteX20298" y="connsiteY20298"/>
              </a:cxn>
              <a:cxn ang="0">
                <a:pos x="connsiteX20299" y="connsiteY20299"/>
              </a:cxn>
              <a:cxn ang="0">
                <a:pos x="connsiteX20300" y="connsiteY20300"/>
              </a:cxn>
              <a:cxn ang="0">
                <a:pos x="connsiteX20301" y="connsiteY20301"/>
              </a:cxn>
              <a:cxn ang="0">
                <a:pos x="connsiteX20302" y="connsiteY20302"/>
              </a:cxn>
              <a:cxn ang="0">
                <a:pos x="connsiteX20303" y="connsiteY20303"/>
              </a:cxn>
              <a:cxn ang="0">
                <a:pos x="connsiteX20304" y="connsiteY20304"/>
              </a:cxn>
              <a:cxn ang="0">
                <a:pos x="connsiteX20305" y="connsiteY20305"/>
              </a:cxn>
              <a:cxn ang="0">
                <a:pos x="connsiteX20306" y="connsiteY20306"/>
              </a:cxn>
              <a:cxn ang="0">
                <a:pos x="connsiteX20307" y="connsiteY20307"/>
              </a:cxn>
              <a:cxn ang="0">
                <a:pos x="connsiteX20308" y="connsiteY20308"/>
              </a:cxn>
              <a:cxn ang="0">
                <a:pos x="connsiteX20309" y="connsiteY20309"/>
              </a:cxn>
              <a:cxn ang="0">
                <a:pos x="connsiteX20310" y="connsiteY20310"/>
              </a:cxn>
              <a:cxn ang="0">
                <a:pos x="connsiteX20311" y="connsiteY20311"/>
              </a:cxn>
              <a:cxn ang="0">
                <a:pos x="connsiteX20312" y="connsiteY20312"/>
              </a:cxn>
              <a:cxn ang="0">
                <a:pos x="connsiteX20313" y="connsiteY20313"/>
              </a:cxn>
              <a:cxn ang="0">
                <a:pos x="connsiteX20314" y="connsiteY20314"/>
              </a:cxn>
              <a:cxn ang="0">
                <a:pos x="connsiteX20315" y="connsiteY20315"/>
              </a:cxn>
              <a:cxn ang="0">
                <a:pos x="connsiteX20316" y="connsiteY20316"/>
              </a:cxn>
              <a:cxn ang="0">
                <a:pos x="connsiteX20317" y="connsiteY20317"/>
              </a:cxn>
              <a:cxn ang="0">
                <a:pos x="connsiteX20318" y="connsiteY20318"/>
              </a:cxn>
              <a:cxn ang="0">
                <a:pos x="connsiteX20319" y="connsiteY20319"/>
              </a:cxn>
              <a:cxn ang="0">
                <a:pos x="connsiteX20320" y="connsiteY20320"/>
              </a:cxn>
              <a:cxn ang="0">
                <a:pos x="connsiteX20321" y="connsiteY20321"/>
              </a:cxn>
              <a:cxn ang="0">
                <a:pos x="connsiteX20322" y="connsiteY20322"/>
              </a:cxn>
              <a:cxn ang="0">
                <a:pos x="connsiteX20323" y="connsiteY20323"/>
              </a:cxn>
              <a:cxn ang="0">
                <a:pos x="connsiteX20324" y="connsiteY20324"/>
              </a:cxn>
              <a:cxn ang="0">
                <a:pos x="connsiteX20325" y="connsiteY20325"/>
              </a:cxn>
              <a:cxn ang="0">
                <a:pos x="connsiteX20326" y="connsiteY20326"/>
              </a:cxn>
              <a:cxn ang="0">
                <a:pos x="connsiteX20327" y="connsiteY20327"/>
              </a:cxn>
              <a:cxn ang="0">
                <a:pos x="connsiteX20328" y="connsiteY20328"/>
              </a:cxn>
              <a:cxn ang="0">
                <a:pos x="connsiteX20329" y="connsiteY20329"/>
              </a:cxn>
              <a:cxn ang="0">
                <a:pos x="connsiteX20330" y="connsiteY20330"/>
              </a:cxn>
              <a:cxn ang="0">
                <a:pos x="connsiteX20331" y="connsiteY20331"/>
              </a:cxn>
              <a:cxn ang="0">
                <a:pos x="connsiteX20332" y="connsiteY20332"/>
              </a:cxn>
              <a:cxn ang="0">
                <a:pos x="connsiteX20333" y="connsiteY20333"/>
              </a:cxn>
              <a:cxn ang="0">
                <a:pos x="connsiteX20334" y="connsiteY20334"/>
              </a:cxn>
              <a:cxn ang="0">
                <a:pos x="connsiteX20335" y="connsiteY20335"/>
              </a:cxn>
              <a:cxn ang="0">
                <a:pos x="connsiteX20336" y="connsiteY20336"/>
              </a:cxn>
              <a:cxn ang="0">
                <a:pos x="connsiteX20337" y="connsiteY20337"/>
              </a:cxn>
              <a:cxn ang="0">
                <a:pos x="connsiteX20338" y="connsiteY20338"/>
              </a:cxn>
              <a:cxn ang="0">
                <a:pos x="connsiteX20339" y="connsiteY20339"/>
              </a:cxn>
              <a:cxn ang="0">
                <a:pos x="connsiteX20340" y="connsiteY20340"/>
              </a:cxn>
              <a:cxn ang="0">
                <a:pos x="connsiteX20341" y="connsiteY20341"/>
              </a:cxn>
              <a:cxn ang="0">
                <a:pos x="connsiteX20342" y="connsiteY20342"/>
              </a:cxn>
              <a:cxn ang="0">
                <a:pos x="connsiteX20343" y="connsiteY20343"/>
              </a:cxn>
              <a:cxn ang="0">
                <a:pos x="connsiteX20344" y="connsiteY20344"/>
              </a:cxn>
              <a:cxn ang="0">
                <a:pos x="connsiteX20345" y="connsiteY20345"/>
              </a:cxn>
              <a:cxn ang="0">
                <a:pos x="connsiteX20346" y="connsiteY20346"/>
              </a:cxn>
              <a:cxn ang="0">
                <a:pos x="connsiteX20347" y="connsiteY20347"/>
              </a:cxn>
              <a:cxn ang="0">
                <a:pos x="connsiteX20348" y="connsiteY20348"/>
              </a:cxn>
              <a:cxn ang="0">
                <a:pos x="connsiteX20349" y="connsiteY20349"/>
              </a:cxn>
              <a:cxn ang="0">
                <a:pos x="connsiteX20350" y="connsiteY20350"/>
              </a:cxn>
              <a:cxn ang="0">
                <a:pos x="connsiteX20351" y="connsiteY20351"/>
              </a:cxn>
              <a:cxn ang="0">
                <a:pos x="connsiteX20352" y="connsiteY20352"/>
              </a:cxn>
              <a:cxn ang="0">
                <a:pos x="connsiteX20353" y="connsiteY20353"/>
              </a:cxn>
              <a:cxn ang="0">
                <a:pos x="connsiteX20354" y="connsiteY20354"/>
              </a:cxn>
              <a:cxn ang="0">
                <a:pos x="connsiteX20355" y="connsiteY20355"/>
              </a:cxn>
              <a:cxn ang="0">
                <a:pos x="connsiteX20356" y="connsiteY20356"/>
              </a:cxn>
              <a:cxn ang="0">
                <a:pos x="connsiteX20357" y="connsiteY20357"/>
              </a:cxn>
              <a:cxn ang="0">
                <a:pos x="connsiteX20358" y="connsiteY20358"/>
              </a:cxn>
              <a:cxn ang="0">
                <a:pos x="connsiteX20359" y="connsiteY20359"/>
              </a:cxn>
              <a:cxn ang="0">
                <a:pos x="connsiteX20360" y="connsiteY20360"/>
              </a:cxn>
              <a:cxn ang="0">
                <a:pos x="connsiteX20361" y="connsiteY20361"/>
              </a:cxn>
              <a:cxn ang="0">
                <a:pos x="connsiteX20362" y="connsiteY20362"/>
              </a:cxn>
              <a:cxn ang="0">
                <a:pos x="connsiteX20363" y="connsiteY20363"/>
              </a:cxn>
              <a:cxn ang="0">
                <a:pos x="connsiteX20364" y="connsiteY20364"/>
              </a:cxn>
              <a:cxn ang="0">
                <a:pos x="connsiteX20365" y="connsiteY20365"/>
              </a:cxn>
              <a:cxn ang="0">
                <a:pos x="connsiteX20366" y="connsiteY20366"/>
              </a:cxn>
              <a:cxn ang="0">
                <a:pos x="connsiteX20367" y="connsiteY20367"/>
              </a:cxn>
              <a:cxn ang="0">
                <a:pos x="connsiteX20368" y="connsiteY20368"/>
              </a:cxn>
              <a:cxn ang="0">
                <a:pos x="connsiteX20369" y="connsiteY20369"/>
              </a:cxn>
              <a:cxn ang="0">
                <a:pos x="connsiteX20370" y="connsiteY20370"/>
              </a:cxn>
              <a:cxn ang="0">
                <a:pos x="connsiteX20371" y="connsiteY20371"/>
              </a:cxn>
              <a:cxn ang="0">
                <a:pos x="connsiteX20372" y="connsiteY20372"/>
              </a:cxn>
              <a:cxn ang="0">
                <a:pos x="connsiteX20373" y="connsiteY20373"/>
              </a:cxn>
              <a:cxn ang="0">
                <a:pos x="connsiteX20374" y="connsiteY20374"/>
              </a:cxn>
              <a:cxn ang="0">
                <a:pos x="connsiteX20375" y="connsiteY20375"/>
              </a:cxn>
              <a:cxn ang="0">
                <a:pos x="connsiteX20376" y="connsiteY20376"/>
              </a:cxn>
              <a:cxn ang="0">
                <a:pos x="connsiteX20377" y="connsiteY20377"/>
              </a:cxn>
              <a:cxn ang="0">
                <a:pos x="connsiteX20378" y="connsiteY20378"/>
              </a:cxn>
              <a:cxn ang="0">
                <a:pos x="connsiteX20379" y="connsiteY20379"/>
              </a:cxn>
              <a:cxn ang="0">
                <a:pos x="connsiteX20380" y="connsiteY20380"/>
              </a:cxn>
              <a:cxn ang="0">
                <a:pos x="connsiteX20381" y="connsiteY20381"/>
              </a:cxn>
              <a:cxn ang="0">
                <a:pos x="connsiteX20382" y="connsiteY20382"/>
              </a:cxn>
              <a:cxn ang="0">
                <a:pos x="connsiteX20383" y="connsiteY20383"/>
              </a:cxn>
              <a:cxn ang="0">
                <a:pos x="connsiteX20384" y="connsiteY20384"/>
              </a:cxn>
              <a:cxn ang="0">
                <a:pos x="connsiteX20385" y="connsiteY20385"/>
              </a:cxn>
              <a:cxn ang="0">
                <a:pos x="connsiteX20386" y="connsiteY20386"/>
              </a:cxn>
              <a:cxn ang="0">
                <a:pos x="connsiteX20387" y="connsiteY20387"/>
              </a:cxn>
              <a:cxn ang="0">
                <a:pos x="connsiteX20388" y="connsiteY20388"/>
              </a:cxn>
              <a:cxn ang="0">
                <a:pos x="connsiteX20389" y="connsiteY20389"/>
              </a:cxn>
              <a:cxn ang="0">
                <a:pos x="connsiteX20390" y="connsiteY20390"/>
              </a:cxn>
              <a:cxn ang="0">
                <a:pos x="connsiteX20391" y="connsiteY20391"/>
              </a:cxn>
              <a:cxn ang="0">
                <a:pos x="connsiteX20392" y="connsiteY20392"/>
              </a:cxn>
              <a:cxn ang="0">
                <a:pos x="connsiteX20393" y="connsiteY20393"/>
              </a:cxn>
              <a:cxn ang="0">
                <a:pos x="connsiteX20394" y="connsiteY20394"/>
              </a:cxn>
              <a:cxn ang="0">
                <a:pos x="connsiteX20395" y="connsiteY20395"/>
              </a:cxn>
              <a:cxn ang="0">
                <a:pos x="connsiteX20396" y="connsiteY20396"/>
              </a:cxn>
              <a:cxn ang="0">
                <a:pos x="connsiteX20397" y="connsiteY20397"/>
              </a:cxn>
              <a:cxn ang="0">
                <a:pos x="connsiteX20398" y="connsiteY20398"/>
              </a:cxn>
              <a:cxn ang="0">
                <a:pos x="connsiteX20399" y="connsiteY20399"/>
              </a:cxn>
              <a:cxn ang="0">
                <a:pos x="connsiteX20400" y="connsiteY20400"/>
              </a:cxn>
              <a:cxn ang="0">
                <a:pos x="connsiteX20401" y="connsiteY20401"/>
              </a:cxn>
              <a:cxn ang="0">
                <a:pos x="connsiteX20402" y="connsiteY20402"/>
              </a:cxn>
              <a:cxn ang="0">
                <a:pos x="connsiteX20403" y="connsiteY20403"/>
              </a:cxn>
              <a:cxn ang="0">
                <a:pos x="connsiteX20404" y="connsiteY20404"/>
              </a:cxn>
              <a:cxn ang="0">
                <a:pos x="connsiteX20405" y="connsiteY20405"/>
              </a:cxn>
              <a:cxn ang="0">
                <a:pos x="connsiteX20406" y="connsiteY20406"/>
              </a:cxn>
              <a:cxn ang="0">
                <a:pos x="connsiteX20407" y="connsiteY20407"/>
              </a:cxn>
              <a:cxn ang="0">
                <a:pos x="connsiteX20408" y="connsiteY20408"/>
              </a:cxn>
              <a:cxn ang="0">
                <a:pos x="connsiteX20409" y="connsiteY20409"/>
              </a:cxn>
              <a:cxn ang="0">
                <a:pos x="connsiteX20410" y="connsiteY20410"/>
              </a:cxn>
              <a:cxn ang="0">
                <a:pos x="connsiteX20411" y="connsiteY20411"/>
              </a:cxn>
              <a:cxn ang="0">
                <a:pos x="connsiteX20412" y="connsiteY20412"/>
              </a:cxn>
              <a:cxn ang="0">
                <a:pos x="connsiteX20413" y="connsiteY20413"/>
              </a:cxn>
              <a:cxn ang="0">
                <a:pos x="connsiteX20414" y="connsiteY20414"/>
              </a:cxn>
              <a:cxn ang="0">
                <a:pos x="connsiteX20415" y="connsiteY20415"/>
              </a:cxn>
              <a:cxn ang="0">
                <a:pos x="connsiteX20416" y="connsiteY20416"/>
              </a:cxn>
              <a:cxn ang="0">
                <a:pos x="connsiteX20417" y="connsiteY20417"/>
              </a:cxn>
              <a:cxn ang="0">
                <a:pos x="connsiteX20418" y="connsiteY20418"/>
              </a:cxn>
              <a:cxn ang="0">
                <a:pos x="connsiteX20419" y="connsiteY20419"/>
              </a:cxn>
              <a:cxn ang="0">
                <a:pos x="connsiteX20420" y="connsiteY20420"/>
              </a:cxn>
              <a:cxn ang="0">
                <a:pos x="connsiteX20421" y="connsiteY20421"/>
              </a:cxn>
              <a:cxn ang="0">
                <a:pos x="connsiteX20422" y="connsiteY20422"/>
              </a:cxn>
              <a:cxn ang="0">
                <a:pos x="connsiteX20423" y="connsiteY20423"/>
              </a:cxn>
              <a:cxn ang="0">
                <a:pos x="connsiteX20424" y="connsiteY20424"/>
              </a:cxn>
              <a:cxn ang="0">
                <a:pos x="connsiteX20425" y="connsiteY20425"/>
              </a:cxn>
              <a:cxn ang="0">
                <a:pos x="connsiteX20426" y="connsiteY20426"/>
              </a:cxn>
              <a:cxn ang="0">
                <a:pos x="connsiteX20427" y="connsiteY20427"/>
              </a:cxn>
              <a:cxn ang="0">
                <a:pos x="connsiteX20428" y="connsiteY20428"/>
              </a:cxn>
              <a:cxn ang="0">
                <a:pos x="connsiteX20429" y="connsiteY20429"/>
              </a:cxn>
              <a:cxn ang="0">
                <a:pos x="connsiteX20430" y="connsiteY20430"/>
              </a:cxn>
              <a:cxn ang="0">
                <a:pos x="connsiteX20431" y="connsiteY20431"/>
              </a:cxn>
              <a:cxn ang="0">
                <a:pos x="connsiteX20432" y="connsiteY20432"/>
              </a:cxn>
              <a:cxn ang="0">
                <a:pos x="connsiteX20433" y="connsiteY20433"/>
              </a:cxn>
              <a:cxn ang="0">
                <a:pos x="connsiteX20434" y="connsiteY20434"/>
              </a:cxn>
              <a:cxn ang="0">
                <a:pos x="connsiteX20435" y="connsiteY20435"/>
              </a:cxn>
              <a:cxn ang="0">
                <a:pos x="connsiteX20436" y="connsiteY20436"/>
              </a:cxn>
              <a:cxn ang="0">
                <a:pos x="connsiteX20437" y="connsiteY20437"/>
              </a:cxn>
              <a:cxn ang="0">
                <a:pos x="connsiteX20438" y="connsiteY20438"/>
              </a:cxn>
              <a:cxn ang="0">
                <a:pos x="connsiteX20439" y="connsiteY20439"/>
              </a:cxn>
              <a:cxn ang="0">
                <a:pos x="connsiteX20440" y="connsiteY20440"/>
              </a:cxn>
              <a:cxn ang="0">
                <a:pos x="connsiteX20441" y="connsiteY20441"/>
              </a:cxn>
              <a:cxn ang="0">
                <a:pos x="connsiteX20442" y="connsiteY20442"/>
              </a:cxn>
              <a:cxn ang="0">
                <a:pos x="connsiteX20443" y="connsiteY20443"/>
              </a:cxn>
              <a:cxn ang="0">
                <a:pos x="connsiteX20444" y="connsiteY20444"/>
              </a:cxn>
              <a:cxn ang="0">
                <a:pos x="connsiteX20445" y="connsiteY20445"/>
              </a:cxn>
              <a:cxn ang="0">
                <a:pos x="connsiteX20446" y="connsiteY20446"/>
              </a:cxn>
              <a:cxn ang="0">
                <a:pos x="connsiteX20447" y="connsiteY20447"/>
              </a:cxn>
              <a:cxn ang="0">
                <a:pos x="connsiteX20448" y="connsiteY20448"/>
              </a:cxn>
              <a:cxn ang="0">
                <a:pos x="connsiteX20449" y="connsiteY20449"/>
              </a:cxn>
              <a:cxn ang="0">
                <a:pos x="connsiteX20450" y="connsiteY20450"/>
              </a:cxn>
              <a:cxn ang="0">
                <a:pos x="connsiteX20451" y="connsiteY20451"/>
              </a:cxn>
              <a:cxn ang="0">
                <a:pos x="connsiteX20452" y="connsiteY20452"/>
              </a:cxn>
              <a:cxn ang="0">
                <a:pos x="connsiteX20453" y="connsiteY20453"/>
              </a:cxn>
              <a:cxn ang="0">
                <a:pos x="connsiteX20454" y="connsiteY20454"/>
              </a:cxn>
              <a:cxn ang="0">
                <a:pos x="connsiteX20455" y="connsiteY20455"/>
              </a:cxn>
              <a:cxn ang="0">
                <a:pos x="connsiteX20456" y="connsiteY20456"/>
              </a:cxn>
              <a:cxn ang="0">
                <a:pos x="connsiteX20457" y="connsiteY20457"/>
              </a:cxn>
              <a:cxn ang="0">
                <a:pos x="connsiteX20458" y="connsiteY20458"/>
              </a:cxn>
              <a:cxn ang="0">
                <a:pos x="connsiteX20459" y="connsiteY20459"/>
              </a:cxn>
              <a:cxn ang="0">
                <a:pos x="connsiteX20460" y="connsiteY20460"/>
              </a:cxn>
              <a:cxn ang="0">
                <a:pos x="connsiteX20461" y="connsiteY20461"/>
              </a:cxn>
              <a:cxn ang="0">
                <a:pos x="connsiteX20462" y="connsiteY20462"/>
              </a:cxn>
              <a:cxn ang="0">
                <a:pos x="connsiteX20463" y="connsiteY20463"/>
              </a:cxn>
              <a:cxn ang="0">
                <a:pos x="connsiteX20464" y="connsiteY20464"/>
              </a:cxn>
              <a:cxn ang="0">
                <a:pos x="connsiteX20465" y="connsiteY20465"/>
              </a:cxn>
              <a:cxn ang="0">
                <a:pos x="connsiteX20466" y="connsiteY20466"/>
              </a:cxn>
              <a:cxn ang="0">
                <a:pos x="connsiteX20467" y="connsiteY20467"/>
              </a:cxn>
              <a:cxn ang="0">
                <a:pos x="connsiteX20468" y="connsiteY20468"/>
              </a:cxn>
              <a:cxn ang="0">
                <a:pos x="connsiteX20469" y="connsiteY20469"/>
              </a:cxn>
              <a:cxn ang="0">
                <a:pos x="connsiteX20470" y="connsiteY20470"/>
              </a:cxn>
              <a:cxn ang="0">
                <a:pos x="connsiteX20471" y="connsiteY20471"/>
              </a:cxn>
              <a:cxn ang="0">
                <a:pos x="connsiteX20472" y="connsiteY20472"/>
              </a:cxn>
              <a:cxn ang="0">
                <a:pos x="connsiteX20473" y="connsiteY20473"/>
              </a:cxn>
              <a:cxn ang="0">
                <a:pos x="connsiteX20474" y="connsiteY20474"/>
              </a:cxn>
              <a:cxn ang="0">
                <a:pos x="connsiteX20475" y="connsiteY20475"/>
              </a:cxn>
              <a:cxn ang="0">
                <a:pos x="connsiteX20476" y="connsiteY20476"/>
              </a:cxn>
              <a:cxn ang="0">
                <a:pos x="connsiteX20477" y="connsiteY20477"/>
              </a:cxn>
              <a:cxn ang="0">
                <a:pos x="connsiteX20478" y="connsiteY20478"/>
              </a:cxn>
              <a:cxn ang="0">
                <a:pos x="connsiteX20479" y="connsiteY20479"/>
              </a:cxn>
              <a:cxn ang="0">
                <a:pos x="connsiteX20480" y="connsiteY20480"/>
              </a:cxn>
              <a:cxn ang="0">
                <a:pos x="connsiteX20481" y="connsiteY20481"/>
              </a:cxn>
              <a:cxn ang="0">
                <a:pos x="connsiteX20482" y="connsiteY20482"/>
              </a:cxn>
              <a:cxn ang="0">
                <a:pos x="connsiteX20483" y="connsiteY20483"/>
              </a:cxn>
              <a:cxn ang="0">
                <a:pos x="connsiteX20484" y="connsiteY20484"/>
              </a:cxn>
              <a:cxn ang="0">
                <a:pos x="connsiteX20485" y="connsiteY20485"/>
              </a:cxn>
              <a:cxn ang="0">
                <a:pos x="connsiteX20486" y="connsiteY20486"/>
              </a:cxn>
              <a:cxn ang="0">
                <a:pos x="connsiteX20487" y="connsiteY20487"/>
              </a:cxn>
              <a:cxn ang="0">
                <a:pos x="connsiteX20488" y="connsiteY20488"/>
              </a:cxn>
              <a:cxn ang="0">
                <a:pos x="connsiteX20489" y="connsiteY20489"/>
              </a:cxn>
              <a:cxn ang="0">
                <a:pos x="connsiteX20490" y="connsiteY20490"/>
              </a:cxn>
              <a:cxn ang="0">
                <a:pos x="connsiteX20491" y="connsiteY20491"/>
              </a:cxn>
              <a:cxn ang="0">
                <a:pos x="connsiteX20492" y="connsiteY20492"/>
              </a:cxn>
              <a:cxn ang="0">
                <a:pos x="connsiteX20493" y="connsiteY20493"/>
              </a:cxn>
              <a:cxn ang="0">
                <a:pos x="connsiteX20494" y="connsiteY20494"/>
              </a:cxn>
              <a:cxn ang="0">
                <a:pos x="connsiteX20495" y="connsiteY20495"/>
              </a:cxn>
              <a:cxn ang="0">
                <a:pos x="connsiteX20496" y="connsiteY20496"/>
              </a:cxn>
              <a:cxn ang="0">
                <a:pos x="connsiteX20497" y="connsiteY20497"/>
              </a:cxn>
              <a:cxn ang="0">
                <a:pos x="connsiteX20498" y="connsiteY20498"/>
              </a:cxn>
              <a:cxn ang="0">
                <a:pos x="connsiteX20499" y="connsiteY20499"/>
              </a:cxn>
              <a:cxn ang="0">
                <a:pos x="connsiteX20500" y="connsiteY20500"/>
              </a:cxn>
              <a:cxn ang="0">
                <a:pos x="connsiteX20501" y="connsiteY20501"/>
              </a:cxn>
              <a:cxn ang="0">
                <a:pos x="connsiteX20502" y="connsiteY20502"/>
              </a:cxn>
              <a:cxn ang="0">
                <a:pos x="connsiteX20503" y="connsiteY20503"/>
              </a:cxn>
              <a:cxn ang="0">
                <a:pos x="connsiteX20504" y="connsiteY20504"/>
              </a:cxn>
              <a:cxn ang="0">
                <a:pos x="connsiteX20505" y="connsiteY20505"/>
              </a:cxn>
              <a:cxn ang="0">
                <a:pos x="connsiteX20506" y="connsiteY20506"/>
              </a:cxn>
              <a:cxn ang="0">
                <a:pos x="connsiteX20507" y="connsiteY20507"/>
              </a:cxn>
              <a:cxn ang="0">
                <a:pos x="connsiteX20508" y="connsiteY20508"/>
              </a:cxn>
              <a:cxn ang="0">
                <a:pos x="connsiteX20509" y="connsiteY20509"/>
              </a:cxn>
              <a:cxn ang="0">
                <a:pos x="connsiteX20510" y="connsiteY20510"/>
              </a:cxn>
              <a:cxn ang="0">
                <a:pos x="connsiteX20511" y="connsiteY20511"/>
              </a:cxn>
              <a:cxn ang="0">
                <a:pos x="connsiteX20512" y="connsiteY20512"/>
              </a:cxn>
              <a:cxn ang="0">
                <a:pos x="connsiteX20513" y="connsiteY20513"/>
              </a:cxn>
              <a:cxn ang="0">
                <a:pos x="connsiteX20514" y="connsiteY20514"/>
              </a:cxn>
              <a:cxn ang="0">
                <a:pos x="connsiteX20515" y="connsiteY20515"/>
              </a:cxn>
              <a:cxn ang="0">
                <a:pos x="connsiteX20516" y="connsiteY20516"/>
              </a:cxn>
              <a:cxn ang="0">
                <a:pos x="connsiteX20517" y="connsiteY20517"/>
              </a:cxn>
              <a:cxn ang="0">
                <a:pos x="connsiteX20518" y="connsiteY20518"/>
              </a:cxn>
              <a:cxn ang="0">
                <a:pos x="connsiteX20519" y="connsiteY20519"/>
              </a:cxn>
              <a:cxn ang="0">
                <a:pos x="connsiteX20520" y="connsiteY20520"/>
              </a:cxn>
              <a:cxn ang="0">
                <a:pos x="connsiteX20521" y="connsiteY20521"/>
              </a:cxn>
              <a:cxn ang="0">
                <a:pos x="connsiteX20522" y="connsiteY20522"/>
              </a:cxn>
              <a:cxn ang="0">
                <a:pos x="connsiteX20523" y="connsiteY20523"/>
              </a:cxn>
              <a:cxn ang="0">
                <a:pos x="connsiteX20524" y="connsiteY20524"/>
              </a:cxn>
              <a:cxn ang="0">
                <a:pos x="connsiteX20525" y="connsiteY20525"/>
              </a:cxn>
              <a:cxn ang="0">
                <a:pos x="connsiteX20526" y="connsiteY20526"/>
              </a:cxn>
              <a:cxn ang="0">
                <a:pos x="connsiteX20527" y="connsiteY20527"/>
              </a:cxn>
              <a:cxn ang="0">
                <a:pos x="connsiteX20528" y="connsiteY20528"/>
              </a:cxn>
              <a:cxn ang="0">
                <a:pos x="connsiteX20529" y="connsiteY20529"/>
              </a:cxn>
              <a:cxn ang="0">
                <a:pos x="connsiteX20530" y="connsiteY20530"/>
              </a:cxn>
              <a:cxn ang="0">
                <a:pos x="connsiteX20531" y="connsiteY20531"/>
              </a:cxn>
              <a:cxn ang="0">
                <a:pos x="connsiteX20532" y="connsiteY20532"/>
              </a:cxn>
              <a:cxn ang="0">
                <a:pos x="connsiteX20533" y="connsiteY20533"/>
              </a:cxn>
              <a:cxn ang="0">
                <a:pos x="connsiteX20534" y="connsiteY20534"/>
              </a:cxn>
              <a:cxn ang="0">
                <a:pos x="connsiteX20535" y="connsiteY20535"/>
              </a:cxn>
              <a:cxn ang="0">
                <a:pos x="connsiteX20536" y="connsiteY20536"/>
              </a:cxn>
              <a:cxn ang="0">
                <a:pos x="connsiteX20537" y="connsiteY20537"/>
              </a:cxn>
              <a:cxn ang="0">
                <a:pos x="connsiteX20538" y="connsiteY20538"/>
              </a:cxn>
              <a:cxn ang="0">
                <a:pos x="connsiteX20539" y="connsiteY20539"/>
              </a:cxn>
              <a:cxn ang="0">
                <a:pos x="connsiteX20540" y="connsiteY20540"/>
              </a:cxn>
              <a:cxn ang="0">
                <a:pos x="connsiteX20541" y="connsiteY20541"/>
              </a:cxn>
              <a:cxn ang="0">
                <a:pos x="connsiteX20542" y="connsiteY20542"/>
              </a:cxn>
              <a:cxn ang="0">
                <a:pos x="connsiteX20543" y="connsiteY20543"/>
              </a:cxn>
              <a:cxn ang="0">
                <a:pos x="connsiteX20544" y="connsiteY20544"/>
              </a:cxn>
              <a:cxn ang="0">
                <a:pos x="connsiteX20545" y="connsiteY20545"/>
              </a:cxn>
              <a:cxn ang="0">
                <a:pos x="connsiteX20546" y="connsiteY20546"/>
              </a:cxn>
              <a:cxn ang="0">
                <a:pos x="connsiteX20547" y="connsiteY20547"/>
              </a:cxn>
              <a:cxn ang="0">
                <a:pos x="connsiteX20548" y="connsiteY20548"/>
              </a:cxn>
              <a:cxn ang="0">
                <a:pos x="connsiteX20549" y="connsiteY20549"/>
              </a:cxn>
              <a:cxn ang="0">
                <a:pos x="connsiteX20550" y="connsiteY20550"/>
              </a:cxn>
              <a:cxn ang="0">
                <a:pos x="connsiteX20551" y="connsiteY20551"/>
              </a:cxn>
              <a:cxn ang="0">
                <a:pos x="connsiteX20552" y="connsiteY20552"/>
              </a:cxn>
              <a:cxn ang="0">
                <a:pos x="connsiteX20553" y="connsiteY20553"/>
              </a:cxn>
              <a:cxn ang="0">
                <a:pos x="connsiteX20554" y="connsiteY20554"/>
              </a:cxn>
              <a:cxn ang="0">
                <a:pos x="connsiteX20555" y="connsiteY20555"/>
              </a:cxn>
              <a:cxn ang="0">
                <a:pos x="connsiteX20556" y="connsiteY20556"/>
              </a:cxn>
              <a:cxn ang="0">
                <a:pos x="connsiteX20557" y="connsiteY20557"/>
              </a:cxn>
              <a:cxn ang="0">
                <a:pos x="connsiteX20558" y="connsiteY20558"/>
              </a:cxn>
              <a:cxn ang="0">
                <a:pos x="connsiteX20559" y="connsiteY20559"/>
              </a:cxn>
              <a:cxn ang="0">
                <a:pos x="connsiteX20560" y="connsiteY20560"/>
              </a:cxn>
              <a:cxn ang="0">
                <a:pos x="connsiteX20561" y="connsiteY20561"/>
              </a:cxn>
              <a:cxn ang="0">
                <a:pos x="connsiteX20562" y="connsiteY20562"/>
              </a:cxn>
              <a:cxn ang="0">
                <a:pos x="connsiteX20563" y="connsiteY20563"/>
              </a:cxn>
              <a:cxn ang="0">
                <a:pos x="connsiteX20564" y="connsiteY20564"/>
              </a:cxn>
              <a:cxn ang="0">
                <a:pos x="connsiteX20565" y="connsiteY20565"/>
              </a:cxn>
              <a:cxn ang="0">
                <a:pos x="connsiteX20566" y="connsiteY20566"/>
              </a:cxn>
              <a:cxn ang="0">
                <a:pos x="connsiteX20567" y="connsiteY20567"/>
              </a:cxn>
              <a:cxn ang="0">
                <a:pos x="connsiteX20568" y="connsiteY20568"/>
              </a:cxn>
              <a:cxn ang="0">
                <a:pos x="connsiteX20569" y="connsiteY20569"/>
              </a:cxn>
              <a:cxn ang="0">
                <a:pos x="connsiteX20570" y="connsiteY20570"/>
              </a:cxn>
              <a:cxn ang="0">
                <a:pos x="connsiteX20571" y="connsiteY20571"/>
              </a:cxn>
              <a:cxn ang="0">
                <a:pos x="connsiteX20572" y="connsiteY20572"/>
              </a:cxn>
              <a:cxn ang="0">
                <a:pos x="connsiteX20573" y="connsiteY20573"/>
              </a:cxn>
              <a:cxn ang="0">
                <a:pos x="connsiteX20574" y="connsiteY20574"/>
              </a:cxn>
              <a:cxn ang="0">
                <a:pos x="connsiteX20575" y="connsiteY20575"/>
              </a:cxn>
              <a:cxn ang="0">
                <a:pos x="connsiteX20576" y="connsiteY20576"/>
              </a:cxn>
              <a:cxn ang="0">
                <a:pos x="connsiteX20577" y="connsiteY20577"/>
              </a:cxn>
              <a:cxn ang="0">
                <a:pos x="connsiteX20578" y="connsiteY20578"/>
              </a:cxn>
              <a:cxn ang="0">
                <a:pos x="connsiteX20579" y="connsiteY20579"/>
              </a:cxn>
              <a:cxn ang="0">
                <a:pos x="connsiteX20580" y="connsiteY20580"/>
              </a:cxn>
              <a:cxn ang="0">
                <a:pos x="connsiteX20581" y="connsiteY20581"/>
              </a:cxn>
              <a:cxn ang="0">
                <a:pos x="connsiteX20582" y="connsiteY20582"/>
              </a:cxn>
              <a:cxn ang="0">
                <a:pos x="connsiteX20583" y="connsiteY20583"/>
              </a:cxn>
              <a:cxn ang="0">
                <a:pos x="connsiteX20584" y="connsiteY20584"/>
              </a:cxn>
              <a:cxn ang="0">
                <a:pos x="connsiteX20585" y="connsiteY20585"/>
              </a:cxn>
              <a:cxn ang="0">
                <a:pos x="connsiteX20586" y="connsiteY20586"/>
              </a:cxn>
              <a:cxn ang="0">
                <a:pos x="connsiteX20587" y="connsiteY20587"/>
              </a:cxn>
              <a:cxn ang="0">
                <a:pos x="connsiteX20588" y="connsiteY20588"/>
              </a:cxn>
              <a:cxn ang="0">
                <a:pos x="connsiteX20589" y="connsiteY20589"/>
              </a:cxn>
              <a:cxn ang="0">
                <a:pos x="connsiteX20590" y="connsiteY20590"/>
              </a:cxn>
              <a:cxn ang="0">
                <a:pos x="connsiteX20591" y="connsiteY20591"/>
              </a:cxn>
              <a:cxn ang="0">
                <a:pos x="connsiteX20592" y="connsiteY20592"/>
              </a:cxn>
              <a:cxn ang="0">
                <a:pos x="connsiteX20593" y="connsiteY20593"/>
              </a:cxn>
              <a:cxn ang="0">
                <a:pos x="connsiteX20594" y="connsiteY20594"/>
              </a:cxn>
              <a:cxn ang="0">
                <a:pos x="connsiteX20595" y="connsiteY20595"/>
              </a:cxn>
              <a:cxn ang="0">
                <a:pos x="connsiteX20596" y="connsiteY20596"/>
              </a:cxn>
              <a:cxn ang="0">
                <a:pos x="connsiteX20597" y="connsiteY20597"/>
              </a:cxn>
              <a:cxn ang="0">
                <a:pos x="connsiteX20598" y="connsiteY20598"/>
              </a:cxn>
              <a:cxn ang="0">
                <a:pos x="connsiteX20599" y="connsiteY20599"/>
              </a:cxn>
              <a:cxn ang="0">
                <a:pos x="connsiteX20600" y="connsiteY20600"/>
              </a:cxn>
              <a:cxn ang="0">
                <a:pos x="connsiteX20601" y="connsiteY20601"/>
              </a:cxn>
              <a:cxn ang="0">
                <a:pos x="connsiteX20602" y="connsiteY20602"/>
              </a:cxn>
              <a:cxn ang="0">
                <a:pos x="connsiteX20603" y="connsiteY20603"/>
              </a:cxn>
              <a:cxn ang="0">
                <a:pos x="connsiteX20604" y="connsiteY20604"/>
              </a:cxn>
              <a:cxn ang="0">
                <a:pos x="connsiteX20605" y="connsiteY20605"/>
              </a:cxn>
              <a:cxn ang="0">
                <a:pos x="connsiteX20606" y="connsiteY20606"/>
              </a:cxn>
              <a:cxn ang="0">
                <a:pos x="connsiteX20607" y="connsiteY20607"/>
              </a:cxn>
              <a:cxn ang="0">
                <a:pos x="connsiteX20608" y="connsiteY20608"/>
              </a:cxn>
              <a:cxn ang="0">
                <a:pos x="connsiteX20609" y="connsiteY20609"/>
              </a:cxn>
              <a:cxn ang="0">
                <a:pos x="connsiteX20610" y="connsiteY20610"/>
              </a:cxn>
              <a:cxn ang="0">
                <a:pos x="connsiteX20611" y="connsiteY20611"/>
              </a:cxn>
              <a:cxn ang="0">
                <a:pos x="connsiteX20612" y="connsiteY20612"/>
              </a:cxn>
              <a:cxn ang="0">
                <a:pos x="connsiteX20613" y="connsiteY20613"/>
              </a:cxn>
              <a:cxn ang="0">
                <a:pos x="connsiteX20614" y="connsiteY20614"/>
              </a:cxn>
              <a:cxn ang="0">
                <a:pos x="connsiteX20615" y="connsiteY20615"/>
              </a:cxn>
              <a:cxn ang="0">
                <a:pos x="connsiteX20616" y="connsiteY20616"/>
              </a:cxn>
              <a:cxn ang="0">
                <a:pos x="connsiteX20617" y="connsiteY20617"/>
              </a:cxn>
              <a:cxn ang="0">
                <a:pos x="connsiteX20618" y="connsiteY20618"/>
              </a:cxn>
              <a:cxn ang="0">
                <a:pos x="connsiteX20619" y="connsiteY20619"/>
              </a:cxn>
              <a:cxn ang="0">
                <a:pos x="connsiteX20620" y="connsiteY20620"/>
              </a:cxn>
              <a:cxn ang="0">
                <a:pos x="connsiteX20621" y="connsiteY20621"/>
              </a:cxn>
              <a:cxn ang="0">
                <a:pos x="connsiteX20622" y="connsiteY20622"/>
              </a:cxn>
              <a:cxn ang="0">
                <a:pos x="connsiteX20623" y="connsiteY20623"/>
              </a:cxn>
              <a:cxn ang="0">
                <a:pos x="connsiteX20624" y="connsiteY20624"/>
              </a:cxn>
              <a:cxn ang="0">
                <a:pos x="connsiteX20625" y="connsiteY20625"/>
              </a:cxn>
              <a:cxn ang="0">
                <a:pos x="connsiteX20626" y="connsiteY20626"/>
              </a:cxn>
              <a:cxn ang="0">
                <a:pos x="connsiteX20627" y="connsiteY20627"/>
              </a:cxn>
              <a:cxn ang="0">
                <a:pos x="connsiteX20628" y="connsiteY20628"/>
              </a:cxn>
              <a:cxn ang="0">
                <a:pos x="connsiteX20629" y="connsiteY20629"/>
              </a:cxn>
              <a:cxn ang="0">
                <a:pos x="connsiteX20630" y="connsiteY20630"/>
              </a:cxn>
              <a:cxn ang="0">
                <a:pos x="connsiteX20631" y="connsiteY20631"/>
              </a:cxn>
              <a:cxn ang="0">
                <a:pos x="connsiteX20632" y="connsiteY20632"/>
              </a:cxn>
              <a:cxn ang="0">
                <a:pos x="connsiteX20633" y="connsiteY20633"/>
              </a:cxn>
              <a:cxn ang="0">
                <a:pos x="connsiteX20634" y="connsiteY20634"/>
              </a:cxn>
              <a:cxn ang="0">
                <a:pos x="connsiteX20635" y="connsiteY20635"/>
              </a:cxn>
              <a:cxn ang="0">
                <a:pos x="connsiteX20636" y="connsiteY20636"/>
              </a:cxn>
              <a:cxn ang="0">
                <a:pos x="connsiteX20637" y="connsiteY20637"/>
              </a:cxn>
              <a:cxn ang="0">
                <a:pos x="connsiteX20638" y="connsiteY20638"/>
              </a:cxn>
              <a:cxn ang="0">
                <a:pos x="connsiteX20639" y="connsiteY20639"/>
              </a:cxn>
              <a:cxn ang="0">
                <a:pos x="connsiteX20640" y="connsiteY20640"/>
              </a:cxn>
              <a:cxn ang="0">
                <a:pos x="connsiteX20641" y="connsiteY20641"/>
              </a:cxn>
              <a:cxn ang="0">
                <a:pos x="connsiteX20642" y="connsiteY20642"/>
              </a:cxn>
              <a:cxn ang="0">
                <a:pos x="connsiteX20643" y="connsiteY20643"/>
              </a:cxn>
              <a:cxn ang="0">
                <a:pos x="connsiteX20644" y="connsiteY20644"/>
              </a:cxn>
              <a:cxn ang="0">
                <a:pos x="connsiteX20645" y="connsiteY20645"/>
              </a:cxn>
              <a:cxn ang="0">
                <a:pos x="connsiteX20646" y="connsiteY20646"/>
              </a:cxn>
              <a:cxn ang="0">
                <a:pos x="connsiteX20647" y="connsiteY20647"/>
              </a:cxn>
              <a:cxn ang="0">
                <a:pos x="connsiteX20648" y="connsiteY20648"/>
              </a:cxn>
              <a:cxn ang="0">
                <a:pos x="connsiteX20649" y="connsiteY20649"/>
              </a:cxn>
              <a:cxn ang="0">
                <a:pos x="connsiteX20650" y="connsiteY20650"/>
              </a:cxn>
              <a:cxn ang="0">
                <a:pos x="connsiteX20651" y="connsiteY20651"/>
              </a:cxn>
              <a:cxn ang="0">
                <a:pos x="connsiteX20652" y="connsiteY20652"/>
              </a:cxn>
              <a:cxn ang="0">
                <a:pos x="connsiteX20653" y="connsiteY20653"/>
              </a:cxn>
              <a:cxn ang="0">
                <a:pos x="connsiteX20654" y="connsiteY20654"/>
              </a:cxn>
              <a:cxn ang="0">
                <a:pos x="connsiteX20655" y="connsiteY20655"/>
              </a:cxn>
              <a:cxn ang="0">
                <a:pos x="connsiteX20656" y="connsiteY20656"/>
              </a:cxn>
              <a:cxn ang="0">
                <a:pos x="connsiteX20657" y="connsiteY20657"/>
              </a:cxn>
              <a:cxn ang="0">
                <a:pos x="connsiteX20658" y="connsiteY20658"/>
              </a:cxn>
              <a:cxn ang="0">
                <a:pos x="connsiteX20659" y="connsiteY20659"/>
              </a:cxn>
              <a:cxn ang="0">
                <a:pos x="connsiteX20660" y="connsiteY20660"/>
              </a:cxn>
              <a:cxn ang="0">
                <a:pos x="connsiteX20661" y="connsiteY20661"/>
              </a:cxn>
              <a:cxn ang="0">
                <a:pos x="connsiteX20662" y="connsiteY20662"/>
              </a:cxn>
              <a:cxn ang="0">
                <a:pos x="connsiteX20663" y="connsiteY20663"/>
              </a:cxn>
              <a:cxn ang="0">
                <a:pos x="connsiteX20664" y="connsiteY20664"/>
              </a:cxn>
              <a:cxn ang="0">
                <a:pos x="connsiteX20665" y="connsiteY20665"/>
              </a:cxn>
              <a:cxn ang="0">
                <a:pos x="connsiteX20666" y="connsiteY20666"/>
              </a:cxn>
              <a:cxn ang="0">
                <a:pos x="connsiteX20667" y="connsiteY20667"/>
              </a:cxn>
              <a:cxn ang="0">
                <a:pos x="connsiteX20668" y="connsiteY20668"/>
              </a:cxn>
              <a:cxn ang="0">
                <a:pos x="connsiteX20669" y="connsiteY20669"/>
              </a:cxn>
              <a:cxn ang="0">
                <a:pos x="connsiteX20670" y="connsiteY20670"/>
              </a:cxn>
              <a:cxn ang="0">
                <a:pos x="connsiteX20671" y="connsiteY20671"/>
              </a:cxn>
              <a:cxn ang="0">
                <a:pos x="connsiteX20672" y="connsiteY20672"/>
              </a:cxn>
              <a:cxn ang="0">
                <a:pos x="connsiteX20673" y="connsiteY20673"/>
              </a:cxn>
              <a:cxn ang="0">
                <a:pos x="connsiteX20674" y="connsiteY20674"/>
              </a:cxn>
              <a:cxn ang="0">
                <a:pos x="connsiteX20675" y="connsiteY20675"/>
              </a:cxn>
              <a:cxn ang="0">
                <a:pos x="connsiteX20676" y="connsiteY20676"/>
              </a:cxn>
              <a:cxn ang="0">
                <a:pos x="connsiteX20677" y="connsiteY20677"/>
              </a:cxn>
              <a:cxn ang="0">
                <a:pos x="connsiteX20678" y="connsiteY20678"/>
              </a:cxn>
              <a:cxn ang="0">
                <a:pos x="connsiteX20679" y="connsiteY20679"/>
              </a:cxn>
              <a:cxn ang="0">
                <a:pos x="connsiteX20680" y="connsiteY20680"/>
              </a:cxn>
              <a:cxn ang="0">
                <a:pos x="connsiteX20681" y="connsiteY20681"/>
              </a:cxn>
              <a:cxn ang="0">
                <a:pos x="connsiteX20682" y="connsiteY20682"/>
              </a:cxn>
              <a:cxn ang="0">
                <a:pos x="connsiteX20683" y="connsiteY20683"/>
              </a:cxn>
              <a:cxn ang="0">
                <a:pos x="connsiteX20684" y="connsiteY20684"/>
              </a:cxn>
              <a:cxn ang="0">
                <a:pos x="connsiteX20685" y="connsiteY20685"/>
              </a:cxn>
              <a:cxn ang="0">
                <a:pos x="connsiteX20686" y="connsiteY20686"/>
              </a:cxn>
              <a:cxn ang="0">
                <a:pos x="connsiteX20687" y="connsiteY20687"/>
              </a:cxn>
              <a:cxn ang="0">
                <a:pos x="connsiteX20688" y="connsiteY20688"/>
              </a:cxn>
              <a:cxn ang="0">
                <a:pos x="connsiteX20689" y="connsiteY20689"/>
              </a:cxn>
              <a:cxn ang="0">
                <a:pos x="connsiteX20690" y="connsiteY20690"/>
              </a:cxn>
              <a:cxn ang="0">
                <a:pos x="connsiteX20691" y="connsiteY20691"/>
              </a:cxn>
              <a:cxn ang="0">
                <a:pos x="connsiteX20692" y="connsiteY20692"/>
              </a:cxn>
              <a:cxn ang="0">
                <a:pos x="connsiteX20693" y="connsiteY20693"/>
              </a:cxn>
              <a:cxn ang="0">
                <a:pos x="connsiteX20694" y="connsiteY20694"/>
              </a:cxn>
              <a:cxn ang="0">
                <a:pos x="connsiteX20695" y="connsiteY20695"/>
              </a:cxn>
              <a:cxn ang="0">
                <a:pos x="connsiteX20696" y="connsiteY20696"/>
              </a:cxn>
              <a:cxn ang="0">
                <a:pos x="connsiteX20697" y="connsiteY20697"/>
              </a:cxn>
              <a:cxn ang="0">
                <a:pos x="connsiteX20698" y="connsiteY20698"/>
              </a:cxn>
              <a:cxn ang="0">
                <a:pos x="connsiteX20699" y="connsiteY20699"/>
              </a:cxn>
              <a:cxn ang="0">
                <a:pos x="connsiteX20700" y="connsiteY20700"/>
              </a:cxn>
              <a:cxn ang="0">
                <a:pos x="connsiteX20701" y="connsiteY20701"/>
              </a:cxn>
              <a:cxn ang="0">
                <a:pos x="connsiteX20702" y="connsiteY20702"/>
              </a:cxn>
              <a:cxn ang="0">
                <a:pos x="connsiteX20703" y="connsiteY20703"/>
              </a:cxn>
              <a:cxn ang="0">
                <a:pos x="connsiteX20704" y="connsiteY20704"/>
              </a:cxn>
              <a:cxn ang="0">
                <a:pos x="connsiteX20705" y="connsiteY20705"/>
              </a:cxn>
              <a:cxn ang="0">
                <a:pos x="connsiteX20706" y="connsiteY20706"/>
              </a:cxn>
              <a:cxn ang="0">
                <a:pos x="connsiteX20707" y="connsiteY20707"/>
              </a:cxn>
              <a:cxn ang="0">
                <a:pos x="connsiteX20708" y="connsiteY20708"/>
              </a:cxn>
              <a:cxn ang="0">
                <a:pos x="connsiteX20709" y="connsiteY20709"/>
              </a:cxn>
              <a:cxn ang="0">
                <a:pos x="connsiteX20710" y="connsiteY20710"/>
              </a:cxn>
              <a:cxn ang="0">
                <a:pos x="connsiteX20711" y="connsiteY20711"/>
              </a:cxn>
              <a:cxn ang="0">
                <a:pos x="connsiteX20712" y="connsiteY20712"/>
              </a:cxn>
              <a:cxn ang="0">
                <a:pos x="connsiteX20713" y="connsiteY20713"/>
              </a:cxn>
              <a:cxn ang="0">
                <a:pos x="connsiteX20714" y="connsiteY20714"/>
              </a:cxn>
              <a:cxn ang="0">
                <a:pos x="connsiteX20715" y="connsiteY20715"/>
              </a:cxn>
              <a:cxn ang="0">
                <a:pos x="connsiteX20716" y="connsiteY20716"/>
              </a:cxn>
              <a:cxn ang="0">
                <a:pos x="connsiteX20717" y="connsiteY20717"/>
              </a:cxn>
              <a:cxn ang="0">
                <a:pos x="connsiteX20718" y="connsiteY20718"/>
              </a:cxn>
              <a:cxn ang="0">
                <a:pos x="connsiteX20719" y="connsiteY20719"/>
              </a:cxn>
              <a:cxn ang="0">
                <a:pos x="connsiteX20720" y="connsiteY20720"/>
              </a:cxn>
              <a:cxn ang="0">
                <a:pos x="connsiteX20721" y="connsiteY20721"/>
              </a:cxn>
              <a:cxn ang="0">
                <a:pos x="connsiteX20722" y="connsiteY20722"/>
              </a:cxn>
              <a:cxn ang="0">
                <a:pos x="connsiteX20723" y="connsiteY20723"/>
              </a:cxn>
              <a:cxn ang="0">
                <a:pos x="connsiteX20724" y="connsiteY20724"/>
              </a:cxn>
              <a:cxn ang="0">
                <a:pos x="connsiteX20725" y="connsiteY20725"/>
              </a:cxn>
              <a:cxn ang="0">
                <a:pos x="connsiteX20726" y="connsiteY20726"/>
              </a:cxn>
              <a:cxn ang="0">
                <a:pos x="connsiteX20727" y="connsiteY20727"/>
              </a:cxn>
              <a:cxn ang="0">
                <a:pos x="connsiteX20728" y="connsiteY20728"/>
              </a:cxn>
              <a:cxn ang="0">
                <a:pos x="connsiteX20729" y="connsiteY20729"/>
              </a:cxn>
              <a:cxn ang="0">
                <a:pos x="connsiteX20730" y="connsiteY20730"/>
              </a:cxn>
              <a:cxn ang="0">
                <a:pos x="connsiteX20731" y="connsiteY20731"/>
              </a:cxn>
              <a:cxn ang="0">
                <a:pos x="connsiteX20732" y="connsiteY20732"/>
              </a:cxn>
              <a:cxn ang="0">
                <a:pos x="connsiteX20733" y="connsiteY20733"/>
              </a:cxn>
              <a:cxn ang="0">
                <a:pos x="connsiteX20734" y="connsiteY20734"/>
              </a:cxn>
              <a:cxn ang="0">
                <a:pos x="connsiteX20735" y="connsiteY20735"/>
              </a:cxn>
              <a:cxn ang="0">
                <a:pos x="connsiteX20736" y="connsiteY20736"/>
              </a:cxn>
              <a:cxn ang="0">
                <a:pos x="connsiteX20737" y="connsiteY20737"/>
              </a:cxn>
              <a:cxn ang="0">
                <a:pos x="connsiteX20738" y="connsiteY20738"/>
              </a:cxn>
              <a:cxn ang="0">
                <a:pos x="connsiteX20739" y="connsiteY20739"/>
              </a:cxn>
              <a:cxn ang="0">
                <a:pos x="connsiteX20740" y="connsiteY20740"/>
              </a:cxn>
              <a:cxn ang="0">
                <a:pos x="connsiteX20741" y="connsiteY20741"/>
              </a:cxn>
              <a:cxn ang="0">
                <a:pos x="connsiteX20742" y="connsiteY20742"/>
              </a:cxn>
              <a:cxn ang="0">
                <a:pos x="connsiteX20743" y="connsiteY20743"/>
              </a:cxn>
              <a:cxn ang="0">
                <a:pos x="connsiteX20744" y="connsiteY20744"/>
              </a:cxn>
              <a:cxn ang="0">
                <a:pos x="connsiteX20745" y="connsiteY20745"/>
              </a:cxn>
              <a:cxn ang="0">
                <a:pos x="connsiteX20746" y="connsiteY20746"/>
              </a:cxn>
              <a:cxn ang="0">
                <a:pos x="connsiteX20747" y="connsiteY20747"/>
              </a:cxn>
              <a:cxn ang="0">
                <a:pos x="connsiteX20748" y="connsiteY20748"/>
              </a:cxn>
              <a:cxn ang="0">
                <a:pos x="connsiteX20749" y="connsiteY20749"/>
              </a:cxn>
              <a:cxn ang="0">
                <a:pos x="connsiteX20750" y="connsiteY20750"/>
              </a:cxn>
              <a:cxn ang="0">
                <a:pos x="connsiteX20751" y="connsiteY20751"/>
              </a:cxn>
              <a:cxn ang="0">
                <a:pos x="connsiteX20752" y="connsiteY20752"/>
              </a:cxn>
              <a:cxn ang="0">
                <a:pos x="connsiteX20753" y="connsiteY20753"/>
              </a:cxn>
              <a:cxn ang="0">
                <a:pos x="connsiteX20754" y="connsiteY20754"/>
              </a:cxn>
              <a:cxn ang="0">
                <a:pos x="connsiteX20755" y="connsiteY20755"/>
              </a:cxn>
              <a:cxn ang="0">
                <a:pos x="connsiteX20756" y="connsiteY20756"/>
              </a:cxn>
              <a:cxn ang="0">
                <a:pos x="connsiteX20757" y="connsiteY20757"/>
              </a:cxn>
              <a:cxn ang="0">
                <a:pos x="connsiteX20758" y="connsiteY20758"/>
              </a:cxn>
              <a:cxn ang="0">
                <a:pos x="connsiteX20759" y="connsiteY20759"/>
              </a:cxn>
              <a:cxn ang="0">
                <a:pos x="connsiteX20760" y="connsiteY20760"/>
              </a:cxn>
              <a:cxn ang="0">
                <a:pos x="connsiteX20761" y="connsiteY20761"/>
              </a:cxn>
              <a:cxn ang="0">
                <a:pos x="connsiteX20762" y="connsiteY20762"/>
              </a:cxn>
              <a:cxn ang="0">
                <a:pos x="connsiteX20763" y="connsiteY20763"/>
              </a:cxn>
              <a:cxn ang="0">
                <a:pos x="connsiteX20764" y="connsiteY20764"/>
              </a:cxn>
              <a:cxn ang="0">
                <a:pos x="connsiteX20765" y="connsiteY20765"/>
              </a:cxn>
              <a:cxn ang="0">
                <a:pos x="connsiteX20766" y="connsiteY20766"/>
              </a:cxn>
              <a:cxn ang="0">
                <a:pos x="connsiteX20767" y="connsiteY20767"/>
              </a:cxn>
              <a:cxn ang="0">
                <a:pos x="connsiteX20768" y="connsiteY20768"/>
              </a:cxn>
              <a:cxn ang="0">
                <a:pos x="connsiteX20769" y="connsiteY20769"/>
              </a:cxn>
              <a:cxn ang="0">
                <a:pos x="connsiteX20770" y="connsiteY20770"/>
              </a:cxn>
              <a:cxn ang="0">
                <a:pos x="connsiteX20771" y="connsiteY20771"/>
              </a:cxn>
              <a:cxn ang="0">
                <a:pos x="connsiteX20772" y="connsiteY20772"/>
              </a:cxn>
              <a:cxn ang="0">
                <a:pos x="connsiteX20773" y="connsiteY20773"/>
              </a:cxn>
              <a:cxn ang="0">
                <a:pos x="connsiteX20774" y="connsiteY20774"/>
              </a:cxn>
              <a:cxn ang="0">
                <a:pos x="connsiteX20775" y="connsiteY20775"/>
              </a:cxn>
              <a:cxn ang="0">
                <a:pos x="connsiteX20776" y="connsiteY20776"/>
              </a:cxn>
              <a:cxn ang="0">
                <a:pos x="connsiteX20777" y="connsiteY20777"/>
              </a:cxn>
              <a:cxn ang="0">
                <a:pos x="connsiteX20778" y="connsiteY20778"/>
              </a:cxn>
              <a:cxn ang="0">
                <a:pos x="connsiteX20779" y="connsiteY20779"/>
              </a:cxn>
              <a:cxn ang="0">
                <a:pos x="connsiteX20780" y="connsiteY20780"/>
              </a:cxn>
              <a:cxn ang="0">
                <a:pos x="connsiteX20781" y="connsiteY20781"/>
              </a:cxn>
              <a:cxn ang="0">
                <a:pos x="connsiteX20782" y="connsiteY20782"/>
              </a:cxn>
              <a:cxn ang="0">
                <a:pos x="connsiteX20783" y="connsiteY20783"/>
              </a:cxn>
              <a:cxn ang="0">
                <a:pos x="connsiteX20784" y="connsiteY20784"/>
              </a:cxn>
              <a:cxn ang="0">
                <a:pos x="connsiteX20785" y="connsiteY20785"/>
              </a:cxn>
              <a:cxn ang="0">
                <a:pos x="connsiteX20786" y="connsiteY20786"/>
              </a:cxn>
              <a:cxn ang="0">
                <a:pos x="connsiteX20787" y="connsiteY20787"/>
              </a:cxn>
              <a:cxn ang="0">
                <a:pos x="connsiteX20788" y="connsiteY20788"/>
              </a:cxn>
              <a:cxn ang="0">
                <a:pos x="connsiteX20789" y="connsiteY20789"/>
              </a:cxn>
              <a:cxn ang="0">
                <a:pos x="connsiteX20790" y="connsiteY20790"/>
              </a:cxn>
              <a:cxn ang="0">
                <a:pos x="connsiteX20791" y="connsiteY20791"/>
              </a:cxn>
              <a:cxn ang="0">
                <a:pos x="connsiteX20792" y="connsiteY20792"/>
              </a:cxn>
              <a:cxn ang="0">
                <a:pos x="connsiteX20793" y="connsiteY20793"/>
              </a:cxn>
              <a:cxn ang="0">
                <a:pos x="connsiteX20794" y="connsiteY20794"/>
              </a:cxn>
              <a:cxn ang="0">
                <a:pos x="connsiteX20795" y="connsiteY20795"/>
              </a:cxn>
              <a:cxn ang="0">
                <a:pos x="connsiteX20796" y="connsiteY20796"/>
              </a:cxn>
              <a:cxn ang="0">
                <a:pos x="connsiteX20797" y="connsiteY20797"/>
              </a:cxn>
              <a:cxn ang="0">
                <a:pos x="connsiteX20798" y="connsiteY20798"/>
              </a:cxn>
              <a:cxn ang="0">
                <a:pos x="connsiteX20799" y="connsiteY20799"/>
              </a:cxn>
              <a:cxn ang="0">
                <a:pos x="connsiteX20800" y="connsiteY20800"/>
              </a:cxn>
              <a:cxn ang="0">
                <a:pos x="connsiteX20801" y="connsiteY20801"/>
              </a:cxn>
              <a:cxn ang="0">
                <a:pos x="connsiteX20802" y="connsiteY20802"/>
              </a:cxn>
              <a:cxn ang="0">
                <a:pos x="connsiteX20803" y="connsiteY20803"/>
              </a:cxn>
              <a:cxn ang="0">
                <a:pos x="connsiteX20804" y="connsiteY20804"/>
              </a:cxn>
              <a:cxn ang="0">
                <a:pos x="connsiteX20805" y="connsiteY20805"/>
              </a:cxn>
              <a:cxn ang="0">
                <a:pos x="connsiteX20806" y="connsiteY20806"/>
              </a:cxn>
              <a:cxn ang="0">
                <a:pos x="connsiteX20807" y="connsiteY20807"/>
              </a:cxn>
              <a:cxn ang="0">
                <a:pos x="connsiteX20808" y="connsiteY20808"/>
              </a:cxn>
              <a:cxn ang="0">
                <a:pos x="connsiteX20809" y="connsiteY20809"/>
              </a:cxn>
              <a:cxn ang="0">
                <a:pos x="connsiteX20810" y="connsiteY20810"/>
              </a:cxn>
              <a:cxn ang="0">
                <a:pos x="connsiteX20811" y="connsiteY20811"/>
              </a:cxn>
              <a:cxn ang="0">
                <a:pos x="connsiteX20812" y="connsiteY20812"/>
              </a:cxn>
              <a:cxn ang="0">
                <a:pos x="connsiteX20813" y="connsiteY20813"/>
              </a:cxn>
              <a:cxn ang="0">
                <a:pos x="connsiteX20814" y="connsiteY20814"/>
              </a:cxn>
              <a:cxn ang="0">
                <a:pos x="connsiteX20815" y="connsiteY20815"/>
              </a:cxn>
              <a:cxn ang="0">
                <a:pos x="connsiteX20816" y="connsiteY20816"/>
              </a:cxn>
              <a:cxn ang="0">
                <a:pos x="connsiteX20817" y="connsiteY20817"/>
              </a:cxn>
              <a:cxn ang="0">
                <a:pos x="connsiteX20818" y="connsiteY20818"/>
              </a:cxn>
              <a:cxn ang="0">
                <a:pos x="connsiteX20819" y="connsiteY20819"/>
              </a:cxn>
              <a:cxn ang="0">
                <a:pos x="connsiteX20820" y="connsiteY20820"/>
              </a:cxn>
              <a:cxn ang="0">
                <a:pos x="connsiteX20821" y="connsiteY20821"/>
              </a:cxn>
              <a:cxn ang="0">
                <a:pos x="connsiteX20822" y="connsiteY20822"/>
              </a:cxn>
              <a:cxn ang="0">
                <a:pos x="connsiteX20823" y="connsiteY20823"/>
              </a:cxn>
              <a:cxn ang="0">
                <a:pos x="connsiteX20824" y="connsiteY20824"/>
              </a:cxn>
              <a:cxn ang="0">
                <a:pos x="connsiteX20825" y="connsiteY20825"/>
              </a:cxn>
              <a:cxn ang="0">
                <a:pos x="connsiteX20826" y="connsiteY20826"/>
              </a:cxn>
              <a:cxn ang="0">
                <a:pos x="connsiteX20827" y="connsiteY20827"/>
              </a:cxn>
              <a:cxn ang="0">
                <a:pos x="connsiteX20828" y="connsiteY20828"/>
              </a:cxn>
              <a:cxn ang="0">
                <a:pos x="connsiteX20829" y="connsiteY20829"/>
              </a:cxn>
              <a:cxn ang="0">
                <a:pos x="connsiteX20830" y="connsiteY20830"/>
              </a:cxn>
              <a:cxn ang="0">
                <a:pos x="connsiteX20831" y="connsiteY20831"/>
              </a:cxn>
              <a:cxn ang="0">
                <a:pos x="connsiteX20832" y="connsiteY20832"/>
              </a:cxn>
              <a:cxn ang="0">
                <a:pos x="connsiteX20833" y="connsiteY20833"/>
              </a:cxn>
              <a:cxn ang="0">
                <a:pos x="connsiteX20834" y="connsiteY20834"/>
              </a:cxn>
              <a:cxn ang="0">
                <a:pos x="connsiteX20835" y="connsiteY20835"/>
              </a:cxn>
              <a:cxn ang="0">
                <a:pos x="connsiteX20836" y="connsiteY20836"/>
              </a:cxn>
              <a:cxn ang="0">
                <a:pos x="connsiteX20837" y="connsiteY20837"/>
              </a:cxn>
              <a:cxn ang="0">
                <a:pos x="connsiteX20838" y="connsiteY20838"/>
              </a:cxn>
              <a:cxn ang="0">
                <a:pos x="connsiteX20839" y="connsiteY20839"/>
              </a:cxn>
              <a:cxn ang="0">
                <a:pos x="connsiteX20840" y="connsiteY20840"/>
              </a:cxn>
              <a:cxn ang="0">
                <a:pos x="connsiteX20841" y="connsiteY20841"/>
              </a:cxn>
              <a:cxn ang="0">
                <a:pos x="connsiteX20842" y="connsiteY20842"/>
              </a:cxn>
              <a:cxn ang="0">
                <a:pos x="connsiteX20843" y="connsiteY20843"/>
              </a:cxn>
              <a:cxn ang="0">
                <a:pos x="connsiteX20844" y="connsiteY20844"/>
              </a:cxn>
              <a:cxn ang="0">
                <a:pos x="connsiteX20845" y="connsiteY20845"/>
              </a:cxn>
              <a:cxn ang="0">
                <a:pos x="connsiteX20846" y="connsiteY20846"/>
              </a:cxn>
              <a:cxn ang="0">
                <a:pos x="connsiteX20847" y="connsiteY20847"/>
              </a:cxn>
              <a:cxn ang="0">
                <a:pos x="connsiteX20848" y="connsiteY20848"/>
              </a:cxn>
              <a:cxn ang="0">
                <a:pos x="connsiteX20849" y="connsiteY20849"/>
              </a:cxn>
              <a:cxn ang="0">
                <a:pos x="connsiteX20850" y="connsiteY20850"/>
              </a:cxn>
              <a:cxn ang="0">
                <a:pos x="connsiteX20851" y="connsiteY20851"/>
              </a:cxn>
              <a:cxn ang="0">
                <a:pos x="connsiteX20852" y="connsiteY20852"/>
              </a:cxn>
              <a:cxn ang="0">
                <a:pos x="connsiteX20853" y="connsiteY20853"/>
              </a:cxn>
              <a:cxn ang="0">
                <a:pos x="connsiteX20854" y="connsiteY20854"/>
              </a:cxn>
              <a:cxn ang="0">
                <a:pos x="connsiteX20855" y="connsiteY20855"/>
              </a:cxn>
              <a:cxn ang="0">
                <a:pos x="connsiteX20856" y="connsiteY20856"/>
              </a:cxn>
              <a:cxn ang="0">
                <a:pos x="connsiteX20857" y="connsiteY20857"/>
              </a:cxn>
              <a:cxn ang="0">
                <a:pos x="connsiteX20858" y="connsiteY20858"/>
              </a:cxn>
              <a:cxn ang="0">
                <a:pos x="connsiteX20859" y="connsiteY20859"/>
              </a:cxn>
              <a:cxn ang="0">
                <a:pos x="connsiteX20860" y="connsiteY20860"/>
              </a:cxn>
              <a:cxn ang="0">
                <a:pos x="connsiteX20861" y="connsiteY20861"/>
              </a:cxn>
              <a:cxn ang="0">
                <a:pos x="connsiteX20862" y="connsiteY20862"/>
              </a:cxn>
              <a:cxn ang="0">
                <a:pos x="connsiteX20863" y="connsiteY20863"/>
              </a:cxn>
              <a:cxn ang="0">
                <a:pos x="connsiteX20864" y="connsiteY20864"/>
              </a:cxn>
              <a:cxn ang="0">
                <a:pos x="connsiteX20865" y="connsiteY20865"/>
              </a:cxn>
              <a:cxn ang="0">
                <a:pos x="connsiteX20866" y="connsiteY20866"/>
              </a:cxn>
              <a:cxn ang="0">
                <a:pos x="connsiteX20867" y="connsiteY20867"/>
              </a:cxn>
              <a:cxn ang="0">
                <a:pos x="connsiteX20868" y="connsiteY20868"/>
              </a:cxn>
              <a:cxn ang="0">
                <a:pos x="connsiteX20869" y="connsiteY20869"/>
              </a:cxn>
              <a:cxn ang="0">
                <a:pos x="connsiteX20870" y="connsiteY20870"/>
              </a:cxn>
              <a:cxn ang="0">
                <a:pos x="connsiteX20871" y="connsiteY20871"/>
              </a:cxn>
              <a:cxn ang="0">
                <a:pos x="connsiteX20872" y="connsiteY20872"/>
              </a:cxn>
              <a:cxn ang="0">
                <a:pos x="connsiteX20873" y="connsiteY20873"/>
              </a:cxn>
              <a:cxn ang="0">
                <a:pos x="connsiteX20874" y="connsiteY20874"/>
              </a:cxn>
              <a:cxn ang="0">
                <a:pos x="connsiteX20875" y="connsiteY20875"/>
              </a:cxn>
              <a:cxn ang="0">
                <a:pos x="connsiteX20876" y="connsiteY20876"/>
              </a:cxn>
              <a:cxn ang="0">
                <a:pos x="connsiteX20877" y="connsiteY20877"/>
              </a:cxn>
              <a:cxn ang="0">
                <a:pos x="connsiteX20878" y="connsiteY20878"/>
              </a:cxn>
              <a:cxn ang="0">
                <a:pos x="connsiteX20879" y="connsiteY20879"/>
              </a:cxn>
              <a:cxn ang="0">
                <a:pos x="connsiteX20880" y="connsiteY20880"/>
              </a:cxn>
              <a:cxn ang="0">
                <a:pos x="connsiteX20881" y="connsiteY20881"/>
              </a:cxn>
              <a:cxn ang="0">
                <a:pos x="connsiteX20882" y="connsiteY20882"/>
              </a:cxn>
              <a:cxn ang="0">
                <a:pos x="connsiteX20883" y="connsiteY20883"/>
              </a:cxn>
              <a:cxn ang="0">
                <a:pos x="connsiteX20884" y="connsiteY20884"/>
              </a:cxn>
              <a:cxn ang="0">
                <a:pos x="connsiteX20885" y="connsiteY20885"/>
              </a:cxn>
              <a:cxn ang="0">
                <a:pos x="connsiteX20886" y="connsiteY20886"/>
              </a:cxn>
              <a:cxn ang="0">
                <a:pos x="connsiteX20887" y="connsiteY20887"/>
              </a:cxn>
              <a:cxn ang="0">
                <a:pos x="connsiteX20888" y="connsiteY20888"/>
              </a:cxn>
              <a:cxn ang="0">
                <a:pos x="connsiteX20889" y="connsiteY20889"/>
              </a:cxn>
              <a:cxn ang="0">
                <a:pos x="connsiteX20890" y="connsiteY20890"/>
              </a:cxn>
              <a:cxn ang="0">
                <a:pos x="connsiteX20891" y="connsiteY20891"/>
              </a:cxn>
              <a:cxn ang="0">
                <a:pos x="connsiteX20892" y="connsiteY20892"/>
              </a:cxn>
              <a:cxn ang="0">
                <a:pos x="connsiteX20893" y="connsiteY20893"/>
              </a:cxn>
              <a:cxn ang="0">
                <a:pos x="connsiteX20894" y="connsiteY20894"/>
              </a:cxn>
              <a:cxn ang="0">
                <a:pos x="connsiteX20895" y="connsiteY20895"/>
              </a:cxn>
              <a:cxn ang="0">
                <a:pos x="connsiteX20896" y="connsiteY20896"/>
              </a:cxn>
              <a:cxn ang="0">
                <a:pos x="connsiteX20897" y="connsiteY20897"/>
              </a:cxn>
              <a:cxn ang="0">
                <a:pos x="connsiteX20898" y="connsiteY20898"/>
              </a:cxn>
              <a:cxn ang="0">
                <a:pos x="connsiteX20899" y="connsiteY20899"/>
              </a:cxn>
              <a:cxn ang="0">
                <a:pos x="connsiteX20900" y="connsiteY20900"/>
              </a:cxn>
              <a:cxn ang="0">
                <a:pos x="connsiteX20901" y="connsiteY20901"/>
              </a:cxn>
              <a:cxn ang="0">
                <a:pos x="connsiteX20902" y="connsiteY20902"/>
              </a:cxn>
              <a:cxn ang="0">
                <a:pos x="connsiteX20903" y="connsiteY20903"/>
              </a:cxn>
              <a:cxn ang="0">
                <a:pos x="connsiteX20904" y="connsiteY20904"/>
              </a:cxn>
              <a:cxn ang="0">
                <a:pos x="connsiteX20905" y="connsiteY20905"/>
              </a:cxn>
              <a:cxn ang="0">
                <a:pos x="connsiteX20906" y="connsiteY20906"/>
              </a:cxn>
              <a:cxn ang="0">
                <a:pos x="connsiteX20907" y="connsiteY20907"/>
              </a:cxn>
              <a:cxn ang="0">
                <a:pos x="connsiteX20908" y="connsiteY20908"/>
              </a:cxn>
              <a:cxn ang="0">
                <a:pos x="connsiteX20909" y="connsiteY20909"/>
              </a:cxn>
              <a:cxn ang="0">
                <a:pos x="connsiteX20910" y="connsiteY20910"/>
              </a:cxn>
              <a:cxn ang="0">
                <a:pos x="connsiteX20911" y="connsiteY20911"/>
              </a:cxn>
              <a:cxn ang="0">
                <a:pos x="connsiteX20912" y="connsiteY20912"/>
              </a:cxn>
              <a:cxn ang="0">
                <a:pos x="connsiteX20913" y="connsiteY20913"/>
              </a:cxn>
              <a:cxn ang="0">
                <a:pos x="connsiteX20914" y="connsiteY20914"/>
              </a:cxn>
              <a:cxn ang="0">
                <a:pos x="connsiteX20915" y="connsiteY20915"/>
              </a:cxn>
              <a:cxn ang="0">
                <a:pos x="connsiteX20916" y="connsiteY20916"/>
              </a:cxn>
              <a:cxn ang="0">
                <a:pos x="connsiteX20917" y="connsiteY20917"/>
              </a:cxn>
              <a:cxn ang="0">
                <a:pos x="connsiteX20918" y="connsiteY20918"/>
              </a:cxn>
              <a:cxn ang="0">
                <a:pos x="connsiteX20919" y="connsiteY20919"/>
              </a:cxn>
              <a:cxn ang="0">
                <a:pos x="connsiteX20920" y="connsiteY20920"/>
              </a:cxn>
              <a:cxn ang="0">
                <a:pos x="connsiteX20921" y="connsiteY20921"/>
              </a:cxn>
              <a:cxn ang="0">
                <a:pos x="connsiteX20922" y="connsiteY20922"/>
              </a:cxn>
              <a:cxn ang="0">
                <a:pos x="connsiteX20923" y="connsiteY20923"/>
              </a:cxn>
              <a:cxn ang="0">
                <a:pos x="connsiteX20924" y="connsiteY20924"/>
              </a:cxn>
              <a:cxn ang="0">
                <a:pos x="connsiteX20925" y="connsiteY20925"/>
              </a:cxn>
              <a:cxn ang="0">
                <a:pos x="connsiteX20926" y="connsiteY20926"/>
              </a:cxn>
              <a:cxn ang="0">
                <a:pos x="connsiteX20927" y="connsiteY20927"/>
              </a:cxn>
              <a:cxn ang="0">
                <a:pos x="connsiteX20928" y="connsiteY20928"/>
              </a:cxn>
              <a:cxn ang="0">
                <a:pos x="connsiteX20929" y="connsiteY20929"/>
              </a:cxn>
              <a:cxn ang="0">
                <a:pos x="connsiteX20930" y="connsiteY20930"/>
              </a:cxn>
              <a:cxn ang="0">
                <a:pos x="connsiteX20931" y="connsiteY20931"/>
              </a:cxn>
              <a:cxn ang="0">
                <a:pos x="connsiteX20932" y="connsiteY20932"/>
              </a:cxn>
              <a:cxn ang="0">
                <a:pos x="connsiteX20933" y="connsiteY20933"/>
              </a:cxn>
              <a:cxn ang="0">
                <a:pos x="connsiteX20934" y="connsiteY20934"/>
              </a:cxn>
              <a:cxn ang="0">
                <a:pos x="connsiteX20935" y="connsiteY20935"/>
              </a:cxn>
              <a:cxn ang="0">
                <a:pos x="connsiteX20936" y="connsiteY20936"/>
              </a:cxn>
              <a:cxn ang="0">
                <a:pos x="connsiteX20937" y="connsiteY20937"/>
              </a:cxn>
              <a:cxn ang="0">
                <a:pos x="connsiteX20938" y="connsiteY20938"/>
              </a:cxn>
              <a:cxn ang="0">
                <a:pos x="connsiteX20939" y="connsiteY20939"/>
              </a:cxn>
              <a:cxn ang="0">
                <a:pos x="connsiteX20940" y="connsiteY20940"/>
              </a:cxn>
              <a:cxn ang="0">
                <a:pos x="connsiteX20941" y="connsiteY20941"/>
              </a:cxn>
              <a:cxn ang="0">
                <a:pos x="connsiteX20942" y="connsiteY20942"/>
              </a:cxn>
              <a:cxn ang="0">
                <a:pos x="connsiteX20943" y="connsiteY20943"/>
              </a:cxn>
              <a:cxn ang="0">
                <a:pos x="connsiteX20944" y="connsiteY20944"/>
              </a:cxn>
              <a:cxn ang="0">
                <a:pos x="connsiteX20945" y="connsiteY20945"/>
              </a:cxn>
              <a:cxn ang="0">
                <a:pos x="connsiteX20946" y="connsiteY20946"/>
              </a:cxn>
              <a:cxn ang="0">
                <a:pos x="connsiteX20947" y="connsiteY20947"/>
              </a:cxn>
              <a:cxn ang="0">
                <a:pos x="connsiteX20948" y="connsiteY20948"/>
              </a:cxn>
              <a:cxn ang="0">
                <a:pos x="connsiteX20949" y="connsiteY20949"/>
              </a:cxn>
              <a:cxn ang="0">
                <a:pos x="connsiteX20950" y="connsiteY20950"/>
              </a:cxn>
              <a:cxn ang="0">
                <a:pos x="connsiteX20951" y="connsiteY20951"/>
              </a:cxn>
              <a:cxn ang="0">
                <a:pos x="connsiteX20952" y="connsiteY20952"/>
              </a:cxn>
              <a:cxn ang="0">
                <a:pos x="connsiteX20953" y="connsiteY20953"/>
              </a:cxn>
              <a:cxn ang="0">
                <a:pos x="connsiteX20954" y="connsiteY20954"/>
              </a:cxn>
              <a:cxn ang="0">
                <a:pos x="connsiteX20955" y="connsiteY20955"/>
              </a:cxn>
              <a:cxn ang="0">
                <a:pos x="connsiteX20956" y="connsiteY20956"/>
              </a:cxn>
              <a:cxn ang="0">
                <a:pos x="connsiteX20957" y="connsiteY20957"/>
              </a:cxn>
              <a:cxn ang="0">
                <a:pos x="connsiteX20958" y="connsiteY20958"/>
              </a:cxn>
              <a:cxn ang="0">
                <a:pos x="connsiteX20959" y="connsiteY20959"/>
              </a:cxn>
              <a:cxn ang="0">
                <a:pos x="connsiteX20960" y="connsiteY20960"/>
              </a:cxn>
              <a:cxn ang="0">
                <a:pos x="connsiteX20961" y="connsiteY20961"/>
              </a:cxn>
              <a:cxn ang="0">
                <a:pos x="connsiteX20962" y="connsiteY20962"/>
              </a:cxn>
              <a:cxn ang="0">
                <a:pos x="connsiteX20963" y="connsiteY20963"/>
              </a:cxn>
              <a:cxn ang="0">
                <a:pos x="connsiteX20964" y="connsiteY20964"/>
              </a:cxn>
              <a:cxn ang="0">
                <a:pos x="connsiteX20965" y="connsiteY20965"/>
              </a:cxn>
              <a:cxn ang="0">
                <a:pos x="connsiteX20966" y="connsiteY20966"/>
              </a:cxn>
              <a:cxn ang="0">
                <a:pos x="connsiteX20967" y="connsiteY20967"/>
              </a:cxn>
              <a:cxn ang="0">
                <a:pos x="connsiteX20968" y="connsiteY20968"/>
              </a:cxn>
              <a:cxn ang="0">
                <a:pos x="connsiteX20969" y="connsiteY20969"/>
              </a:cxn>
              <a:cxn ang="0">
                <a:pos x="connsiteX20970" y="connsiteY20970"/>
              </a:cxn>
              <a:cxn ang="0">
                <a:pos x="connsiteX20971" y="connsiteY20971"/>
              </a:cxn>
              <a:cxn ang="0">
                <a:pos x="connsiteX20972" y="connsiteY20972"/>
              </a:cxn>
              <a:cxn ang="0">
                <a:pos x="connsiteX20973" y="connsiteY20973"/>
              </a:cxn>
              <a:cxn ang="0">
                <a:pos x="connsiteX20974" y="connsiteY20974"/>
              </a:cxn>
              <a:cxn ang="0">
                <a:pos x="connsiteX20975" y="connsiteY20975"/>
              </a:cxn>
              <a:cxn ang="0">
                <a:pos x="connsiteX20976" y="connsiteY20976"/>
              </a:cxn>
              <a:cxn ang="0">
                <a:pos x="connsiteX20977" y="connsiteY20977"/>
              </a:cxn>
              <a:cxn ang="0">
                <a:pos x="connsiteX20978" y="connsiteY20978"/>
              </a:cxn>
              <a:cxn ang="0">
                <a:pos x="connsiteX20979" y="connsiteY20979"/>
              </a:cxn>
              <a:cxn ang="0">
                <a:pos x="connsiteX20980" y="connsiteY20980"/>
              </a:cxn>
              <a:cxn ang="0">
                <a:pos x="connsiteX20981" y="connsiteY20981"/>
              </a:cxn>
              <a:cxn ang="0">
                <a:pos x="connsiteX20982" y="connsiteY20982"/>
              </a:cxn>
              <a:cxn ang="0">
                <a:pos x="connsiteX20983" y="connsiteY20983"/>
              </a:cxn>
              <a:cxn ang="0">
                <a:pos x="connsiteX20984" y="connsiteY20984"/>
              </a:cxn>
              <a:cxn ang="0">
                <a:pos x="connsiteX20985" y="connsiteY20985"/>
              </a:cxn>
              <a:cxn ang="0">
                <a:pos x="connsiteX20986" y="connsiteY20986"/>
              </a:cxn>
              <a:cxn ang="0">
                <a:pos x="connsiteX20987" y="connsiteY20987"/>
              </a:cxn>
              <a:cxn ang="0">
                <a:pos x="connsiteX20988" y="connsiteY20988"/>
              </a:cxn>
              <a:cxn ang="0">
                <a:pos x="connsiteX20989" y="connsiteY20989"/>
              </a:cxn>
              <a:cxn ang="0">
                <a:pos x="connsiteX20990" y="connsiteY20990"/>
              </a:cxn>
              <a:cxn ang="0">
                <a:pos x="connsiteX20991" y="connsiteY20991"/>
              </a:cxn>
              <a:cxn ang="0">
                <a:pos x="connsiteX20992" y="connsiteY20992"/>
              </a:cxn>
              <a:cxn ang="0">
                <a:pos x="connsiteX20993" y="connsiteY20993"/>
              </a:cxn>
              <a:cxn ang="0">
                <a:pos x="connsiteX20994" y="connsiteY20994"/>
              </a:cxn>
              <a:cxn ang="0">
                <a:pos x="connsiteX20995" y="connsiteY20995"/>
              </a:cxn>
              <a:cxn ang="0">
                <a:pos x="connsiteX20996" y="connsiteY20996"/>
              </a:cxn>
              <a:cxn ang="0">
                <a:pos x="connsiteX20997" y="connsiteY20997"/>
              </a:cxn>
              <a:cxn ang="0">
                <a:pos x="connsiteX20998" y="connsiteY20998"/>
              </a:cxn>
              <a:cxn ang="0">
                <a:pos x="connsiteX20999" y="connsiteY20999"/>
              </a:cxn>
              <a:cxn ang="0">
                <a:pos x="connsiteX21000" y="connsiteY21000"/>
              </a:cxn>
              <a:cxn ang="0">
                <a:pos x="connsiteX21001" y="connsiteY21001"/>
              </a:cxn>
              <a:cxn ang="0">
                <a:pos x="connsiteX21002" y="connsiteY21002"/>
              </a:cxn>
              <a:cxn ang="0">
                <a:pos x="connsiteX21003" y="connsiteY21003"/>
              </a:cxn>
              <a:cxn ang="0">
                <a:pos x="connsiteX21004" y="connsiteY21004"/>
              </a:cxn>
              <a:cxn ang="0">
                <a:pos x="connsiteX21005" y="connsiteY21005"/>
              </a:cxn>
              <a:cxn ang="0">
                <a:pos x="connsiteX21006" y="connsiteY21006"/>
              </a:cxn>
              <a:cxn ang="0">
                <a:pos x="connsiteX21007" y="connsiteY21007"/>
              </a:cxn>
              <a:cxn ang="0">
                <a:pos x="connsiteX21008" y="connsiteY21008"/>
              </a:cxn>
              <a:cxn ang="0">
                <a:pos x="connsiteX21009" y="connsiteY21009"/>
              </a:cxn>
              <a:cxn ang="0">
                <a:pos x="connsiteX21010" y="connsiteY21010"/>
              </a:cxn>
              <a:cxn ang="0">
                <a:pos x="connsiteX21011" y="connsiteY21011"/>
              </a:cxn>
              <a:cxn ang="0">
                <a:pos x="connsiteX21012" y="connsiteY21012"/>
              </a:cxn>
              <a:cxn ang="0">
                <a:pos x="connsiteX21013" y="connsiteY21013"/>
              </a:cxn>
              <a:cxn ang="0">
                <a:pos x="connsiteX21014" y="connsiteY21014"/>
              </a:cxn>
              <a:cxn ang="0">
                <a:pos x="connsiteX21015" y="connsiteY21015"/>
              </a:cxn>
              <a:cxn ang="0">
                <a:pos x="connsiteX21016" y="connsiteY21016"/>
              </a:cxn>
              <a:cxn ang="0">
                <a:pos x="connsiteX21017" y="connsiteY21017"/>
              </a:cxn>
              <a:cxn ang="0">
                <a:pos x="connsiteX21018" y="connsiteY21018"/>
              </a:cxn>
              <a:cxn ang="0">
                <a:pos x="connsiteX21019" y="connsiteY21019"/>
              </a:cxn>
              <a:cxn ang="0">
                <a:pos x="connsiteX21020" y="connsiteY21020"/>
              </a:cxn>
              <a:cxn ang="0">
                <a:pos x="connsiteX21021" y="connsiteY21021"/>
              </a:cxn>
              <a:cxn ang="0">
                <a:pos x="connsiteX21022" y="connsiteY21022"/>
              </a:cxn>
              <a:cxn ang="0">
                <a:pos x="connsiteX21023" y="connsiteY21023"/>
              </a:cxn>
              <a:cxn ang="0">
                <a:pos x="connsiteX21024" y="connsiteY21024"/>
              </a:cxn>
              <a:cxn ang="0">
                <a:pos x="connsiteX21025" y="connsiteY21025"/>
              </a:cxn>
              <a:cxn ang="0">
                <a:pos x="connsiteX21026" y="connsiteY21026"/>
              </a:cxn>
              <a:cxn ang="0">
                <a:pos x="connsiteX21027" y="connsiteY21027"/>
              </a:cxn>
              <a:cxn ang="0">
                <a:pos x="connsiteX21028" y="connsiteY21028"/>
              </a:cxn>
              <a:cxn ang="0">
                <a:pos x="connsiteX21029" y="connsiteY21029"/>
              </a:cxn>
              <a:cxn ang="0">
                <a:pos x="connsiteX21030" y="connsiteY21030"/>
              </a:cxn>
              <a:cxn ang="0">
                <a:pos x="connsiteX21031" y="connsiteY21031"/>
              </a:cxn>
              <a:cxn ang="0">
                <a:pos x="connsiteX21032" y="connsiteY21032"/>
              </a:cxn>
              <a:cxn ang="0">
                <a:pos x="connsiteX21033" y="connsiteY21033"/>
              </a:cxn>
              <a:cxn ang="0">
                <a:pos x="connsiteX21034" y="connsiteY21034"/>
              </a:cxn>
              <a:cxn ang="0">
                <a:pos x="connsiteX21035" y="connsiteY21035"/>
              </a:cxn>
              <a:cxn ang="0">
                <a:pos x="connsiteX21036" y="connsiteY21036"/>
              </a:cxn>
              <a:cxn ang="0">
                <a:pos x="connsiteX21037" y="connsiteY21037"/>
              </a:cxn>
              <a:cxn ang="0">
                <a:pos x="connsiteX21038" y="connsiteY21038"/>
              </a:cxn>
              <a:cxn ang="0">
                <a:pos x="connsiteX21039" y="connsiteY21039"/>
              </a:cxn>
              <a:cxn ang="0">
                <a:pos x="connsiteX21040" y="connsiteY21040"/>
              </a:cxn>
              <a:cxn ang="0">
                <a:pos x="connsiteX21041" y="connsiteY21041"/>
              </a:cxn>
              <a:cxn ang="0">
                <a:pos x="connsiteX21042" y="connsiteY21042"/>
              </a:cxn>
              <a:cxn ang="0">
                <a:pos x="connsiteX21043" y="connsiteY21043"/>
              </a:cxn>
              <a:cxn ang="0">
                <a:pos x="connsiteX21044" y="connsiteY21044"/>
              </a:cxn>
              <a:cxn ang="0">
                <a:pos x="connsiteX21045" y="connsiteY21045"/>
              </a:cxn>
              <a:cxn ang="0">
                <a:pos x="connsiteX21046" y="connsiteY21046"/>
              </a:cxn>
              <a:cxn ang="0">
                <a:pos x="connsiteX21047" y="connsiteY21047"/>
              </a:cxn>
              <a:cxn ang="0">
                <a:pos x="connsiteX21048" y="connsiteY21048"/>
              </a:cxn>
              <a:cxn ang="0">
                <a:pos x="connsiteX21049" y="connsiteY21049"/>
              </a:cxn>
              <a:cxn ang="0">
                <a:pos x="connsiteX21050" y="connsiteY21050"/>
              </a:cxn>
              <a:cxn ang="0">
                <a:pos x="connsiteX21051" y="connsiteY21051"/>
              </a:cxn>
              <a:cxn ang="0">
                <a:pos x="connsiteX21052" y="connsiteY21052"/>
              </a:cxn>
              <a:cxn ang="0">
                <a:pos x="connsiteX21053" y="connsiteY21053"/>
              </a:cxn>
              <a:cxn ang="0">
                <a:pos x="connsiteX21054" y="connsiteY21054"/>
              </a:cxn>
              <a:cxn ang="0">
                <a:pos x="connsiteX21055" y="connsiteY21055"/>
              </a:cxn>
              <a:cxn ang="0">
                <a:pos x="connsiteX21056" y="connsiteY21056"/>
              </a:cxn>
              <a:cxn ang="0">
                <a:pos x="connsiteX21057" y="connsiteY21057"/>
              </a:cxn>
              <a:cxn ang="0">
                <a:pos x="connsiteX21058" y="connsiteY21058"/>
              </a:cxn>
              <a:cxn ang="0">
                <a:pos x="connsiteX21059" y="connsiteY21059"/>
              </a:cxn>
              <a:cxn ang="0">
                <a:pos x="connsiteX21060" y="connsiteY21060"/>
              </a:cxn>
              <a:cxn ang="0">
                <a:pos x="connsiteX21061" y="connsiteY21061"/>
              </a:cxn>
              <a:cxn ang="0">
                <a:pos x="connsiteX21062" y="connsiteY21062"/>
              </a:cxn>
              <a:cxn ang="0">
                <a:pos x="connsiteX21063" y="connsiteY21063"/>
              </a:cxn>
              <a:cxn ang="0">
                <a:pos x="connsiteX21064" y="connsiteY21064"/>
              </a:cxn>
              <a:cxn ang="0">
                <a:pos x="connsiteX21065" y="connsiteY21065"/>
              </a:cxn>
              <a:cxn ang="0">
                <a:pos x="connsiteX21066" y="connsiteY21066"/>
              </a:cxn>
              <a:cxn ang="0">
                <a:pos x="connsiteX21067" y="connsiteY21067"/>
              </a:cxn>
              <a:cxn ang="0">
                <a:pos x="connsiteX21068" y="connsiteY21068"/>
              </a:cxn>
              <a:cxn ang="0">
                <a:pos x="connsiteX21069" y="connsiteY21069"/>
              </a:cxn>
              <a:cxn ang="0">
                <a:pos x="connsiteX21070" y="connsiteY21070"/>
              </a:cxn>
              <a:cxn ang="0">
                <a:pos x="connsiteX21071" y="connsiteY21071"/>
              </a:cxn>
              <a:cxn ang="0">
                <a:pos x="connsiteX21072" y="connsiteY21072"/>
              </a:cxn>
              <a:cxn ang="0">
                <a:pos x="connsiteX21073" y="connsiteY21073"/>
              </a:cxn>
              <a:cxn ang="0">
                <a:pos x="connsiteX21074" y="connsiteY21074"/>
              </a:cxn>
              <a:cxn ang="0">
                <a:pos x="connsiteX21075" y="connsiteY21075"/>
              </a:cxn>
              <a:cxn ang="0">
                <a:pos x="connsiteX21076" y="connsiteY21076"/>
              </a:cxn>
              <a:cxn ang="0">
                <a:pos x="connsiteX21077" y="connsiteY21077"/>
              </a:cxn>
              <a:cxn ang="0">
                <a:pos x="connsiteX21078" y="connsiteY21078"/>
              </a:cxn>
              <a:cxn ang="0">
                <a:pos x="connsiteX21079" y="connsiteY21079"/>
              </a:cxn>
              <a:cxn ang="0">
                <a:pos x="connsiteX21080" y="connsiteY21080"/>
              </a:cxn>
              <a:cxn ang="0">
                <a:pos x="connsiteX21081" y="connsiteY21081"/>
              </a:cxn>
              <a:cxn ang="0">
                <a:pos x="connsiteX21082" y="connsiteY21082"/>
              </a:cxn>
              <a:cxn ang="0">
                <a:pos x="connsiteX21083" y="connsiteY21083"/>
              </a:cxn>
              <a:cxn ang="0">
                <a:pos x="connsiteX21084" y="connsiteY21084"/>
              </a:cxn>
              <a:cxn ang="0">
                <a:pos x="connsiteX21085" y="connsiteY21085"/>
              </a:cxn>
              <a:cxn ang="0">
                <a:pos x="connsiteX21086" y="connsiteY21086"/>
              </a:cxn>
              <a:cxn ang="0">
                <a:pos x="connsiteX21087" y="connsiteY21087"/>
              </a:cxn>
              <a:cxn ang="0">
                <a:pos x="connsiteX21088" y="connsiteY21088"/>
              </a:cxn>
              <a:cxn ang="0">
                <a:pos x="connsiteX21089" y="connsiteY21089"/>
              </a:cxn>
              <a:cxn ang="0">
                <a:pos x="connsiteX21090" y="connsiteY21090"/>
              </a:cxn>
              <a:cxn ang="0">
                <a:pos x="connsiteX21091" y="connsiteY21091"/>
              </a:cxn>
              <a:cxn ang="0">
                <a:pos x="connsiteX21092" y="connsiteY21092"/>
              </a:cxn>
              <a:cxn ang="0">
                <a:pos x="connsiteX21093" y="connsiteY21093"/>
              </a:cxn>
              <a:cxn ang="0">
                <a:pos x="connsiteX21094" y="connsiteY21094"/>
              </a:cxn>
              <a:cxn ang="0">
                <a:pos x="connsiteX21095" y="connsiteY21095"/>
              </a:cxn>
              <a:cxn ang="0">
                <a:pos x="connsiteX21096" y="connsiteY21096"/>
              </a:cxn>
              <a:cxn ang="0">
                <a:pos x="connsiteX21097" y="connsiteY21097"/>
              </a:cxn>
              <a:cxn ang="0">
                <a:pos x="connsiteX21098" y="connsiteY21098"/>
              </a:cxn>
              <a:cxn ang="0">
                <a:pos x="connsiteX21099" y="connsiteY21099"/>
              </a:cxn>
              <a:cxn ang="0">
                <a:pos x="connsiteX21100" y="connsiteY21100"/>
              </a:cxn>
              <a:cxn ang="0">
                <a:pos x="connsiteX21101" y="connsiteY21101"/>
              </a:cxn>
              <a:cxn ang="0">
                <a:pos x="connsiteX21102" y="connsiteY21102"/>
              </a:cxn>
              <a:cxn ang="0">
                <a:pos x="connsiteX21103" y="connsiteY21103"/>
              </a:cxn>
              <a:cxn ang="0">
                <a:pos x="connsiteX21104" y="connsiteY21104"/>
              </a:cxn>
              <a:cxn ang="0">
                <a:pos x="connsiteX21105" y="connsiteY21105"/>
              </a:cxn>
              <a:cxn ang="0">
                <a:pos x="connsiteX21106" y="connsiteY21106"/>
              </a:cxn>
              <a:cxn ang="0">
                <a:pos x="connsiteX21107" y="connsiteY21107"/>
              </a:cxn>
              <a:cxn ang="0">
                <a:pos x="connsiteX21108" y="connsiteY21108"/>
              </a:cxn>
              <a:cxn ang="0">
                <a:pos x="connsiteX21109" y="connsiteY21109"/>
              </a:cxn>
              <a:cxn ang="0">
                <a:pos x="connsiteX21110" y="connsiteY21110"/>
              </a:cxn>
              <a:cxn ang="0">
                <a:pos x="connsiteX21111" y="connsiteY21111"/>
              </a:cxn>
              <a:cxn ang="0">
                <a:pos x="connsiteX21112" y="connsiteY21112"/>
              </a:cxn>
              <a:cxn ang="0">
                <a:pos x="connsiteX21113" y="connsiteY21113"/>
              </a:cxn>
              <a:cxn ang="0">
                <a:pos x="connsiteX21114" y="connsiteY21114"/>
              </a:cxn>
              <a:cxn ang="0">
                <a:pos x="connsiteX21115" y="connsiteY21115"/>
              </a:cxn>
              <a:cxn ang="0">
                <a:pos x="connsiteX21116" y="connsiteY21116"/>
              </a:cxn>
              <a:cxn ang="0">
                <a:pos x="connsiteX21117" y="connsiteY21117"/>
              </a:cxn>
              <a:cxn ang="0">
                <a:pos x="connsiteX21118" y="connsiteY21118"/>
              </a:cxn>
              <a:cxn ang="0">
                <a:pos x="connsiteX21119" y="connsiteY21119"/>
              </a:cxn>
              <a:cxn ang="0">
                <a:pos x="connsiteX21120" y="connsiteY21120"/>
              </a:cxn>
              <a:cxn ang="0">
                <a:pos x="connsiteX21121" y="connsiteY21121"/>
              </a:cxn>
              <a:cxn ang="0">
                <a:pos x="connsiteX21122" y="connsiteY21122"/>
              </a:cxn>
              <a:cxn ang="0">
                <a:pos x="connsiteX21123" y="connsiteY21123"/>
              </a:cxn>
              <a:cxn ang="0">
                <a:pos x="connsiteX21124" y="connsiteY21124"/>
              </a:cxn>
              <a:cxn ang="0">
                <a:pos x="connsiteX21125" y="connsiteY21125"/>
              </a:cxn>
              <a:cxn ang="0">
                <a:pos x="connsiteX21126" y="connsiteY21126"/>
              </a:cxn>
              <a:cxn ang="0">
                <a:pos x="connsiteX21127" y="connsiteY21127"/>
              </a:cxn>
              <a:cxn ang="0">
                <a:pos x="connsiteX21128" y="connsiteY21128"/>
              </a:cxn>
              <a:cxn ang="0">
                <a:pos x="connsiteX21129" y="connsiteY21129"/>
              </a:cxn>
              <a:cxn ang="0">
                <a:pos x="connsiteX21130" y="connsiteY21130"/>
              </a:cxn>
              <a:cxn ang="0">
                <a:pos x="connsiteX21131" y="connsiteY21131"/>
              </a:cxn>
              <a:cxn ang="0">
                <a:pos x="connsiteX21132" y="connsiteY21132"/>
              </a:cxn>
              <a:cxn ang="0">
                <a:pos x="connsiteX21133" y="connsiteY21133"/>
              </a:cxn>
              <a:cxn ang="0">
                <a:pos x="connsiteX21134" y="connsiteY21134"/>
              </a:cxn>
              <a:cxn ang="0">
                <a:pos x="connsiteX21135" y="connsiteY21135"/>
              </a:cxn>
              <a:cxn ang="0">
                <a:pos x="connsiteX21136" y="connsiteY21136"/>
              </a:cxn>
              <a:cxn ang="0">
                <a:pos x="connsiteX21137" y="connsiteY21137"/>
              </a:cxn>
              <a:cxn ang="0">
                <a:pos x="connsiteX21138" y="connsiteY21138"/>
              </a:cxn>
              <a:cxn ang="0">
                <a:pos x="connsiteX21139" y="connsiteY21139"/>
              </a:cxn>
              <a:cxn ang="0">
                <a:pos x="connsiteX21140" y="connsiteY21140"/>
              </a:cxn>
              <a:cxn ang="0">
                <a:pos x="connsiteX21141" y="connsiteY21141"/>
              </a:cxn>
              <a:cxn ang="0">
                <a:pos x="connsiteX21142" y="connsiteY21142"/>
              </a:cxn>
              <a:cxn ang="0">
                <a:pos x="connsiteX21143" y="connsiteY21143"/>
              </a:cxn>
              <a:cxn ang="0">
                <a:pos x="connsiteX21144" y="connsiteY21144"/>
              </a:cxn>
              <a:cxn ang="0">
                <a:pos x="connsiteX21145" y="connsiteY21145"/>
              </a:cxn>
              <a:cxn ang="0">
                <a:pos x="connsiteX21146" y="connsiteY21146"/>
              </a:cxn>
              <a:cxn ang="0">
                <a:pos x="connsiteX21147" y="connsiteY21147"/>
              </a:cxn>
              <a:cxn ang="0">
                <a:pos x="connsiteX21148" y="connsiteY21148"/>
              </a:cxn>
              <a:cxn ang="0">
                <a:pos x="connsiteX21149" y="connsiteY21149"/>
              </a:cxn>
              <a:cxn ang="0">
                <a:pos x="connsiteX21150" y="connsiteY21150"/>
              </a:cxn>
              <a:cxn ang="0">
                <a:pos x="connsiteX21151" y="connsiteY21151"/>
              </a:cxn>
              <a:cxn ang="0">
                <a:pos x="connsiteX21152" y="connsiteY21152"/>
              </a:cxn>
              <a:cxn ang="0">
                <a:pos x="connsiteX21153" y="connsiteY21153"/>
              </a:cxn>
              <a:cxn ang="0">
                <a:pos x="connsiteX21154" y="connsiteY21154"/>
              </a:cxn>
              <a:cxn ang="0">
                <a:pos x="connsiteX21155" y="connsiteY21155"/>
              </a:cxn>
              <a:cxn ang="0">
                <a:pos x="connsiteX21156" y="connsiteY21156"/>
              </a:cxn>
              <a:cxn ang="0">
                <a:pos x="connsiteX21157" y="connsiteY21157"/>
              </a:cxn>
              <a:cxn ang="0">
                <a:pos x="connsiteX21158" y="connsiteY21158"/>
              </a:cxn>
              <a:cxn ang="0">
                <a:pos x="connsiteX21159" y="connsiteY21159"/>
              </a:cxn>
              <a:cxn ang="0">
                <a:pos x="connsiteX21160" y="connsiteY21160"/>
              </a:cxn>
              <a:cxn ang="0">
                <a:pos x="connsiteX21161" y="connsiteY21161"/>
              </a:cxn>
              <a:cxn ang="0">
                <a:pos x="connsiteX21162" y="connsiteY21162"/>
              </a:cxn>
              <a:cxn ang="0">
                <a:pos x="connsiteX21163" y="connsiteY21163"/>
              </a:cxn>
              <a:cxn ang="0">
                <a:pos x="connsiteX21164" y="connsiteY21164"/>
              </a:cxn>
              <a:cxn ang="0">
                <a:pos x="connsiteX21165" y="connsiteY21165"/>
              </a:cxn>
              <a:cxn ang="0">
                <a:pos x="connsiteX21166" y="connsiteY21166"/>
              </a:cxn>
              <a:cxn ang="0">
                <a:pos x="connsiteX21167" y="connsiteY21167"/>
              </a:cxn>
              <a:cxn ang="0">
                <a:pos x="connsiteX21168" y="connsiteY21168"/>
              </a:cxn>
              <a:cxn ang="0">
                <a:pos x="connsiteX21169" y="connsiteY21169"/>
              </a:cxn>
              <a:cxn ang="0">
                <a:pos x="connsiteX21170" y="connsiteY21170"/>
              </a:cxn>
              <a:cxn ang="0">
                <a:pos x="connsiteX21171" y="connsiteY21171"/>
              </a:cxn>
              <a:cxn ang="0">
                <a:pos x="connsiteX21172" y="connsiteY21172"/>
              </a:cxn>
              <a:cxn ang="0">
                <a:pos x="connsiteX21173" y="connsiteY21173"/>
              </a:cxn>
              <a:cxn ang="0">
                <a:pos x="connsiteX21174" y="connsiteY21174"/>
              </a:cxn>
              <a:cxn ang="0">
                <a:pos x="connsiteX21175" y="connsiteY21175"/>
              </a:cxn>
              <a:cxn ang="0">
                <a:pos x="connsiteX21176" y="connsiteY21176"/>
              </a:cxn>
              <a:cxn ang="0">
                <a:pos x="connsiteX21177" y="connsiteY21177"/>
              </a:cxn>
              <a:cxn ang="0">
                <a:pos x="connsiteX21178" y="connsiteY21178"/>
              </a:cxn>
              <a:cxn ang="0">
                <a:pos x="connsiteX21179" y="connsiteY21179"/>
              </a:cxn>
              <a:cxn ang="0">
                <a:pos x="connsiteX21180" y="connsiteY21180"/>
              </a:cxn>
              <a:cxn ang="0">
                <a:pos x="connsiteX21181" y="connsiteY21181"/>
              </a:cxn>
              <a:cxn ang="0">
                <a:pos x="connsiteX21182" y="connsiteY21182"/>
              </a:cxn>
              <a:cxn ang="0">
                <a:pos x="connsiteX21183" y="connsiteY21183"/>
              </a:cxn>
              <a:cxn ang="0">
                <a:pos x="connsiteX21184" y="connsiteY21184"/>
              </a:cxn>
              <a:cxn ang="0">
                <a:pos x="connsiteX21185" y="connsiteY21185"/>
              </a:cxn>
              <a:cxn ang="0">
                <a:pos x="connsiteX21186" y="connsiteY21186"/>
              </a:cxn>
              <a:cxn ang="0">
                <a:pos x="connsiteX21187" y="connsiteY21187"/>
              </a:cxn>
              <a:cxn ang="0">
                <a:pos x="connsiteX21188" y="connsiteY21188"/>
              </a:cxn>
              <a:cxn ang="0">
                <a:pos x="connsiteX21189" y="connsiteY21189"/>
              </a:cxn>
              <a:cxn ang="0">
                <a:pos x="connsiteX21190" y="connsiteY21190"/>
              </a:cxn>
              <a:cxn ang="0">
                <a:pos x="connsiteX21191" y="connsiteY21191"/>
              </a:cxn>
              <a:cxn ang="0">
                <a:pos x="connsiteX21192" y="connsiteY21192"/>
              </a:cxn>
              <a:cxn ang="0">
                <a:pos x="connsiteX21193" y="connsiteY21193"/>
              </a:cxn>
              <a:cxn ang="0">
                <a:pos x="connsiteX21194" y="connsiteY21194"/>
              </a:cxn>
              <a:cxn ang="0">
                <a:pos x="connsiteX21195" y="connsiteY21195"/>
              </a:cxn>
              <a:cxn ang="0">
                <a:pos x="connsiteX21196" y="connsiteY21196"/>
              </a:cxn>
              <a:cxn ang="0">
                <a:pos x="connsiteX21197" y="connsiteY21197"/>
              </a:cxn>
              <a:cxn ang="0">
                <a:pos x="connsiteX21198" y="connsiteY21198"/>
              </a:cxn>
              <a:cxn ang="0">
                <a:pos x="connsiteX21199" y="connsiteY21199"/>
              </a:cxn>
              <a:cxn ang="0">
                <a:pos x="connsiteX21200" y="connsiteY21200"/>
              </a:cxn>
              <a:cxn ang="0">
                <a:pos x="connsiteX21201" y="connsiteY21201"/>
              </a:cxn>
              <a:cxn ang="0">
                <a:pos x="connsiteX21202" y="connsiteY21202"/>
              </a:cxn>
              <a:cxn ang="0">
                <a:pos x="connsiteX21203" y="connsiteY21203"/>
              </a:cxn>
              <a:cxn ang="0">
                <a:pos x="connsiteX21204" y="connsiteY21204"/>
              </a:cxn>
              <a:cxn ang="0">
                <a:pos x="connsiteX21205" y="connsiteY21205"/>
              </a:cxn>
              <a:cxn ang="0">
                <a:pos x="connsiteX21206" y="connsiteY21206"/>
              </a:cxn>
              <a:cxn ang="0">
                <a:pos x="connsiteX21207" y="connsiteY21207"/>
              </a:cxn>
              <a:cxn ang="0">
                <a:pos x="connsiteX21208" y="connsiteY21208"/>
              </a:cxn>
              <a:cxn ang="0">
                <a:pos x="connsiteX21209" y="connsiteY21209"/>
              </a:cxn>
              <a:cxn ang="0">
                <a:pos x="connsiteX21210" y="connsiteY21210"/>
              </a:cxn>
              <a:cxn ang="0">
                <a:pos x="connsiteX21211" y="connsiteY21211"/>
              </a:cxn>
              <a:cxn ang="0">
                <a:pos x="connsiteX21212" y="connsiteY21212"/>
              </a:cxn>
              <a:cxn ang="0">
                <a:pos x="connsiteX21213" y="connsiteY21213"/>
              </a:cxn>
              <a:cxn ang="0">
                <a:pos x="connsiteX21214" y="connsiteY21214"/>
              </a:cxn>
              <a:cxn ang="0">
                <a:pos x="connsiteX21215" y="connsiteY21215"/>
              </a:cxn>
              <a:cxn ang="0">
                <a:pos x="connsiteX21216" y="connsiteY21216"/>
              </a:cxn>
              <a:cxn ang="0">
                <a:pos x="connsiteX21217" y="connsiteY21217"/>
              </a:cxn>
              <a:cxn ang="0">
                <a:pos x="connsiteX21218" y="connsiteY21218"/>
              </a:cxn>
              <a:cxn ang="0">
                <a:pos x="connsiteX21219" y="connsiteY21219"/>
              </a:cxn>
              <a:cxn ang="0">
                <a:pos x="connsiteX21220" y="connsiteY21220"/>
              </a:cxn>
              <a:cxn ang="0">
                <a:pos x="connsiteX21221" y="connsiteY21221"/>
              </a:cxn>
              <a:cxn ang="0">
                <a:pos x="connsiteX21222" y="connsiteY21222"/>
              </a:cxn>
              <a:cxn ang="0">
                <a:pos x="connsiteX21223" y="connsiteY21223"/>
              </a:cxn>
              <a:cxn ang="0">
                <a:pos x="connsiteX21224" y="connsiteY21224"/>
              </a:cxn>
              <a:cxn ang="0">
                <a:pos x="connsiteX21225" y="connsiteY21225"/>
              </a:cxn>
              <a:cxn ang="0">
                <a:pos x="connsiteX21226" y="connsiteY21226"/>
              </a:cxn>
              <a:cxn ang="0">
                <a:pos x="connsiteX21227" y="connsiteY21227"/>
              </a:cxn>
              <a:cxn ang="0">
                <a:pos x="connsiteX21228" y="connsiteY21228"/>
              </a:cxn>
              <a:cxn ang="0">
                <a:pos x="connsiteX21229" y="connsiteY21229"/>
              </a:cxn>
              <a:cxn ang="0">
                <a:pos x="connsiteX21230" y="connsiteY21230"/>
              </a:cxn>
              <a:cxn ang="0">
                <a:pos x="connsiteX21231" y="connsiteY21231"/>
              </a:cxn>
              <a:cxn ang="0">
                <a:pos x="connsiteX21232" y="connsiteY21232"/>
              </a:cxn>
              <a:cxn ang="0">
                <a:pos x="connsiteX21233" y="connsiteY21233"/>
              </a:cxn>
              <a:cxn ang="0">
                <a:pos x="connsiteX21234" y="connsiteY21234"/>
              </a:cxn>
              <a:cxn ang="0">
                <a:pos x="connsiteX21235" y="connsiteY21235"/>
              </a:cxn>
              <a:cxn ang="0">
                <a:pos x="connsiteX21236" y="connsiteY21236"/>
              </a:cxn>
              <a:cxn ang="0">
                <a:pos x="connsiteX21237" y="connsiteY21237"/>
              </a:cxn>
              <a:cxn ang="0">
                <a:pos x="connsiteX21238" y="connsiteY21238"/>
              </a:cxn>
              <a:cxn ang="0">
                <a:pos x="connsiteX21239" y="connsiteY21239"/>
              </a:cxn>
              <a:cxn ang="0">
                <a:pos x="connsiteX21240" y="connsiteY21240"/>
              </a:cxn>
              <a:cxn ang="0">
                <a:pos x="connsiteX21241" y="connsiteY21241"/>
              </a:cxn>
              <a:cxn ang="0">
                <a:pos x="connsiteX21242" y="connsiteY21242"/>
              </a:cxn>
              <a:cxn ang="0">
                <a:pos x="connsiteX21243" y="connsiteY21243"/>
              </a:cxn>
              <a:cxn ang="0">
                <a:pos x="connsiteX21244" y="connsiteY21244"/>
              </a:cxn>
              <a:cxn ang="0">
                <a:pos x="connsiteX21245" y="connsiteY21245"/>
              </a:cxn>
              <a:cxn ang="0">
                <a:pos x="connsiteX21246" y="connsiteY21246"/>
              </a:cxn>
              <a:cxn ang="0">
                <a:pos x="connsiteX21247" y="connsiteY21247"/>
              </a:cxn>
              <a:cxn ang="0">
                <a:pos x="connsiteX21248" y="connsiteY21248"/>
              </a:cxn>
              <a:cxn ang="0">
                <a:pos x="connsiteX21249" y="connsiteY21249"/>
              </a:cxn>
              <a:cxn ang="0">
                <a:pos x="connsiteX21250" y="connsiteY21250"/>
              </a:cxn>
              <a:cxn ang="0">
                <a:pos x="connsiteX21251" y="connsiteY21251"/>
              </a:cxn>
              <a:cxn ang="0">
                <a:pos x="connsiteX21252" y="connsiteY21252"/>
              </a:cxn>
              <a:cxn ang="0">
                <a:pos x="connsiteX21253" y="connsiteY21253"/>
              </a:cxn>
              <a:cxn ang="0">
                <a:pos x="connsiteX21254" y="connsiteY21254"/>
              </a:cxn>
              <a:cxn ang="0">
                <a:pos x="connsiteX21255" y="connsiteY21255"/>
              </a:cxn>
              <a:cxn ang="0">
                <a:pos x="connsiteX21256" y="connsiteY21256"/>
              </a:cxn>
              <a:cxn ang="0">
                <a:pos x="connsiteX21257" y="connsiteY21257"/>
              </a:cxn>
              <a:cxn ang="0">
                <a:pos x="connsiteX21258" y="connsiteY21258"/>
              </a:cxn>
              <a:cxn ang="0">
                <a:pos x="connsiteX21259" y="connsiteY21259"/>
              </a:cxn>
              <a:cxn ang="0">
                <a:pos x="connsiteX21260" y="connsiteY21260"/>
              </a:cxn>
              <a:cxn ang="0">
                <a:pos x="connsiteX21261" y="connsiteY21261"/>
              </a:cxn>
              <a:cxn ang="0">
                <a:pos x="connsiteX21262" y="connsiteY21262"/>
              </a:cxn>
              <a:cxn ang="0">
                <a:pos x="connsiteX21263" y="connsiteY21263"/>
              </a:cxn>
              <a:cxn ang="0">
                <a:pos x="connsiteX21264" y="connsiteY21264"/>
              </a:cxn>
              <a:cxn ang="0">
                <a:pos x="connsiteX21265" y="connsiteY21265"/>
              </a:cxn>
              <a:cxn ang="0">
                <a:pos x="connsiteX21266" y="connsiteY21266"/>
              </a:cxn>
              <a:cxn ang="0">
                <a:pos x="connsiteX21267" y="connsiteY21267"/>
              </a:cxn>
              <a:cxn ang="0">
                <a:pos x="connsiteX21268" y="connsiteY21268"/>
              </a:cxn>
              <a:cxn ang="0">
                <a:pos x="connsiteX21269" y="connsiteY21269"/>
              </a:cxn>
              <a:cxn ang="0">
                <a:pos x="connsiteX21270" y="connsiteY21270"/>
              </a:cxn>
              <a:cxn ang="0">
                <a:pos x="connsiteX21271" y="connsiteY21271"/>
              </a:cxn>
              <a:cxn ang="0">
                <a:pos x="connsiteX21272" y="connsiteY21272"/>
              </a:cxn>
              <a:cxn ang="0">
                <a:pos x="connsiteX21273" y="connsiteY21273"/>
              </a:cxn>
              <a:cxn ang="0">
                <a:pos x="connsiteX21274" y="connsiteY21274"/>
              </a:cxn>
              <a:cxn ang="0">
                <a:pos x="connsiteX21275" y="connsiteY21275"/>
              </a:cxn>
              <a:cxn ang="0">
                <a:pos x="connsiteX21276" y="connsiteY21276"/>
              </a:cxn>
              <a:cxn ang="0">
                <a:pos x="connsiteX21277" y="connsiteY21277"/>
              </a:cxn>
              <a:cxn ang="0">
                <a:pos x="connsiteX21278" y="connsiteY21278"/>
              </a:cxn>
              <a:cxn ang="0">
                <a:pos x="connsiteX21279" y="connsiteY21279"/>
              </a:cxn>
              <a:cxn ang="0">
                <a:pos x="connsiteX21280" y="connsiteY21280"/>
              </a:cxn>
              <a:cxn ang="0">
                <a:pos x="connsiteX21281" y="connsiteY21281"/>
              </a:cxn>
              <a:cxn ang="0">
                <a:pos x="connsiteX21282" y="connsiteY21282"/>
              </a:cxn>
              <a:cxn ang="0">
                <a:pos x="connsiteX21283" y="connsiteY21283"/>
              </a:cxn>
              <a:cxn ang="0">
                <a:pos x="connsiteX21284" y="connsiteY21284"/>
              </a:cxn>
              <a:cxn ang="0">
                <a:pos x="connsiteX21285" y="connsiteY21285"/>
              </a:cxn>
              <a:cxn ang="0">
                <a:pos x="connsiteX21286" y="connsiteY21286"/>
              </a:cxn>
              <a:cxn ang="0">
                <a:pos x="connsiteX21287" y="connsiteY21287"/>
              </a:cxn>
              <a:cxn ang="0">
                <a:pos x="connsiteX21288" y="connsiteY21288"/>
              </a:cxn>
              <a:cxn ang="0">
                <a:pos x="connsiteX21289" y="connsiteY21289"/>
              </a:cxn>
              <a:cxn ang="0">
                <a:pos x="connsiteX21290" y="connsiteY21290"/>
              </a:cxn>
              <a:cxn ang="0">
                <a:pos x="connsiteX21291" y="connsiteY21291"/>
              </a:cxn>
              <a:cxn ang="0">
                <a:pos x="connsiteX21292" y="connsiteY21292"/>
              </a:cxn>
              <a:cxn ang="0">
                <a:pos x="connsiteX21293" y="connsiteY21293"/>
              </a:cxn>
              <a:cxn ang="0">
                <a:pos x="connsiteX21294" y="connsiteY21294"/>
              </a:cxn>
              <a:cxn ang="0">
                <a:pos x="connsiteX21295" y="connsiteY21295"/>
              </a:cxn>
              <a:cxn ang="0">
                <a:pos x="connsiteX21296" y="connsiteY21296"/>
              </a:cxn>
              <a:cxn ang="0">
                <a:pos x="connsiteX21297" y="connsiteY21297"/>
              </a:cxn>
              <a:cxn ang="0">
                <a:pos x="connsiteX21298" y="connsiteY21298"/>
              </a:cxn>
              <a:cxn ang="0">
                <a:pos x="connsiteX21299" y="connsiteY21299"/>
              </a:cxn>
              <a:cxn ang="0">
                <a:pos x="connsiteX21300" y="connsiteY21300"/>
              </a:cxn>
              <a:cxn ang="0">
                <a:pos x="connsiteX21301" y="connsiteY21301"/>
              </a:cxn>
              <a:cxn ang="0">
                <a:pos x="connsiteX21302" y="connsiteY21302"/>
              </a:cxn>
              <a:cxn ang="0">
                <a:pos x="connsiteX21303" y="connsiteY21303"/>
              </a:cxn>
              <a:cxn ang="0">
                <a:pos x="connsiteX21304" y="connsiteY21304"/>
              </a:cxn>
              <a:cxn ang="0">
                <a:pos x="connsiteX21305" y="connsiteY21305"/>
              </a:cxn>
              <a:cxn ang="0">
                <a:pos x="connsiteX21306" y="connsiteY21306"/>
              </a:cxn>
              <a:cxn ang="0">
                <a:pos x="connsiteX21307" y="connsiteY21307"/>
              </a:cxn>
              <a:cxn ang="0">
                <a:pos x="connsiteX21308" y="connsiteY21308"/>
              </a:cxn>
              <a:cxn ang="0">
                <a:pos x="connsiteX21309" y="connsiteY21309"/>
              </a:cxn>
              <a:cxn ang="0">
                <a:pos x="connsiteX21310" y="connsiteY21310"/>
              </a:cxn>
              <a:cxn ang="0">
                <a:pos x="connsiteX21311" y="connsiteY21311"/>
              </a:cxn>
              <a:cxn ang="0">
                <a:pos x="connsiteX21312" y="connsiteY21312"/>
              </a:cxn>
              <a:cxn ang="0">
                <a:pos x="connsiteX21313" y="connsiteY21313"/>
              </a:cxn>
              <a:cxn ang="0">
                <a:pos x="connsiteX21314" y="connsiteY21314"/>
              </a:cxn>
              <a:cxn ang="0">
                <a:pos x="connsiteX21315" y="connsiteY21315"/>
              </a:cxn>
              <a:cxn ang="0">
                <a:pos x="connsiteX21316" y="connsiteY21316"/>
              </a:cxn>
              <a:cxn ang="0">
                <a:pos x="connsiteX21317" y="connsiteY21317"/>
              </a:cxn>
              <a:cxn ang="0">
                <a:pos x="connsiteX21318" y="connsiteY21318"/>
              </a:cxn>
              <a:cxn ang="0">
                <a:pos x="connsiteX21319" y="connsiteY21319"/>
              </a:cxn>
              <a:cxn ang="0">
                <a:pos x="connsiteX21320" y="connsiteY21320"/>
              </a:cxn>
              <a:cxn ang="0">
                <a:pos x="connsiteX21321" y="connsiteY21321"/>
              </a:cxn>
              <a:cxn ang="0">
                <a:pos x="connsiteX21322" y="connsiteY21322"/>
              </a:cxn>
              <a:cxn ang="0">
                <a:pos x="connsiteX21323" y="connsiteY21323"/>
              </a:cxn>
              <a:cxn ang="0">
                <a:pos x="connsiteX21324" y="connsiteY21324"/>
              </a:cxn>
              <a:cxn ang="0">
                <a:pos x="connsiteX21325" y="connsiteY21325"/>
              </a:cxn>
              <a:cxn ang="0">
                <a:pos x="connsiteX21326" y="connsiteY21326"/>
              </a:cxn>
              <a:cxn ang="0">
                <a:pos x="connsiteX21327" y="connsiteY21327"/>
              </a:cxn>
              <a:cxn ang="0">
                <a:pos x="connsiteX21328" y="connsiteY21328"/>
              </a:cxn>
              <a:cxn ang="0">
                <a:pos x="connsiteX21329" y="connsiteY21329"/>
              </a:cxn>
              <a:cxn ang="0">
                <a:pos x="connsiteX21330" y="connsiteY21330"/>
              </a:cxn>
              <a:cxn ang="0">
                <a:pos x="connsiteX21331" y="connsiteY21331"/>
              </a:cxn>
              <a:cxn ang="0">
                <a:pos x="connsiteX21332" y="connsiteY21332"/>
              </a:cxn>
              <a:cxn ang="0">
                <a:pos x="connsiteX21333" y="connsiteY21333"/>
              </a:cxn>
              <a:cxn ang="0">
                <a:pos x="connsiteX21334" y="connsiteY21334"/>
              </a:cxn>
              <a:cxn ang="0">
                <a:pos x="connsiteX21335" y="connsiteY21335"/>
              </a:cxn>
              <a:cxn ang="0">
                <a:pos x="connsiteX21336" y="connsiteY21336"/>
              </a:cxn>
              <a:cxn ang="0">
                <a:pos x="connsiteX21337" y="connsiteY21337"/>
              </a:cxn>
              <a:cxn ang="0">
                <a:pos x="connsiteX21338" y="connsiteY21338"/>
              </a:cxn>
              <a:cxn ang="0">
                <a:pos x="connsiteX21339" y="connsiteY21339"/>
              </a:cxn>
              <a:cxn ang="0">
                <a:pos x="connsiteX21340" y="connsiteY21340"/>
              </a:cxn>
              <a:cxn ang="0">
                <a:pos x="connsiteX21341" y="connsiteY21341"/>
              </a:cxn>
              <a:cxn ang="0">
                <a:pos x="connsiteX21342" y="connsiteY21342"/>
              </a:cxn>
              <a:cxn ang="0">
                <a:pos x="connsiteX21343" y="connsiteY21343"/>
              </a:cxn>
              <a:cxn ang="0">
                <a:pos x="connsiteX21344" y="connsiteY21344"/>
              </a:cxn>
              <a:cxn ang="0">
                <a:pos x="connsiteX21345" y="connsiteY21345"/>
              </a:cxn>
              <a:cxn ang="0">
                <a:pos x="connsiteX21346" y="connsiteY21346"/>
              </a:cxn>
              <a:cxn ang="0">
                <a:pos x="connsiteX21347" y="connsiteY21347"/>
              </a:cxn>
              <a:cxn ang="0">
                <a:pos x="connsiteX21348" y="connsiteY21348"/>
              </a:cxn>
              <a:cxn ang="0">
                <a:pos x="connsiteX21349" y="connsiteY21349"/>
              </a:cxn>
              <a:cxn ang="0">
                <a:pos x="connsiteX21350" y="connsiteY21350"/>
              </a:cxn>
              <a:cxn ang="0">
                <a:pos x="connsiteX21351" y="connsiteY21351"/>
              </a:cxn>
              <a:cxn ang="0">
                <a:pos x="connsiteX21352" y="connsiteY21352"/>
              </a:cxn>
              <a:cxn ang="0">
                <a:pos x="connsiteX21353" y="connsiteY21353"/>
              </a:cxn>
              <a:cxn ang="0">
                <a:pos x="connsiteX21354" y="connsiteY21354"/>
              </a:cxn>
              <a:cxn ang="0">
                <a:pos x="connsiteX21355" y="connsiteY21355"/>
              </a:cxn>
              <a:cxn ang="0">
                <a:pos x="connsiteX21356" y="connsiteY21356"/>
              </a:cxn>
              <a:cxn ang="0">
                <a:pos x="connsiteX21357" y="connsiteY21357"/>
              </a:cxn>
              <a:cxn ang="0">
                <a:pos x="connsiteX21358" y="connsiteY21358"/>
              </a:cxn>
              <a:cxn ang="0">
                <a:pos x="connsiteX21359" y="connsiteY21359"/>
              </a:cxn>
              <a:cxn ang="0">
                <a:pos x="connsiteX21360" y="connsiteY21360"/>
              </a:cxn>
              <a:cxn ang="0">
                <a:pos x="connsiteX21361" y="connsiteY21361"/>
              </a:cxn>
              <a:cxn ang="0">
                <a:pos x="connsiteX21362" y="connsiteY21362"/>
              </a:cxn>
              <a:cxn ang="0">
                <a:pos x="connsiteX21363" y="connsiteY21363"/>
              </a:cxn>
              <a:cxn ang="0">
                <a:pos x="connsiteX21364" y="connsiteY21364"/>
              </a:cxn>
              <a:cxn ang="0">
                <a:pos x="connsiteX21365" y="connsiteY21365"/>
              </a:cxn>
              <a:cxn ang="0">
                <a:pos x="connsiteX21366" y="connsiteY21366"/>
              </a:cxn>
              <a:cxn ang="0">
                <a:pos x="connsiteX21367" y="connsiteY21367"/>
              </a:cxn>
              <a:cxn ang="0">
                <a:pos x="connsiteX21368" y="connsiteY21368"/>
              </a:cxn>
              <a:cxn ang="0">
                <a:pos x="connsiteX21369" y="connsiteY21369"/>
              </a:cxn>
              <a:cxn ang="0">
                <a:pos x="connsiteX21370" y="connsiteY21370"/>
              </a:cxn>
              <a:cxn ang="0">
                <a:pos x="connsiteX21371" y="connsiteY21371"/>
              </a:cxn>
              <a:cxn ang="0">
                <a:pos x="connsiteX21372" y="connsiteY21372"/>
              </a:cxn>
              <a:cxn ang="0">
                <a:pos x="connsiteX21373" y="connsiteY21373"/>
              </a:cxn>
              <a:cxn ang="0">
                <a:pos x="connsiteX21374" y="connsiteY21374"/>
              </a:cxn>
              <a:cxn ang="0">
                <a:pos x="connsiteX21375" y="connsiteY21375"/>
              </a:cxn>
              <a:cxn ang="0">
                <a:pos x="connsiteX21376" y="connsiteY21376"/>
              </a:cxn>
              <a:cxn ang="0">
                <a:pos x="connsiteX21377" y="connsiteY21377"/>
              </a:cxn>
              <a:cxn ang="0">
                <a:pos x="connsiteX21378" y="connsiteY21378"/>
              </a:cxn>
              <a:cxn ang="0">
                <a:pos x="connsiteX21379" y="connsiteY21379"/>
              </a:cxn>
              <a:cxn ang="0">
                <a:pos x="connsiteX21380" y="connsiteY21380"/>
              </a:cxn>
              <a:cxn ang="0">
                <a:pos x="connsiteX21381" y="connsiteY21381"/>
              </a:cxn>
              <a:cxn ang="0">
                <a:pos x="connsiteX21382" y="connsiteY21382"/>
              </a:cxn>
              <a:cxn ang="0">
                <a:pos x="connsiteX21383" y="connsiteY21383"/>
              </a:cxn>
              <a:cxn ang="0">
                <a:pos x="connsiteX21384" y="connsiteY21384"/>
              </a:cxn>
              <a:cxn ang="0">
                <a:pos x="connsiteX21385" y="connsiteY21385"/>
              </a:cxn>
              <a:cxn ang="0">
                <a:pos x="connsiteX21386" y="connsiteY21386"/>
              </a:cxn>
              <a:cxn ang="0">
                <a:pos x="connsiteX21387" y="connsiteY21387"/>
              </a:cxn>
              <a:cxn ang="0">
                <a:pos x="connsiteX21388" y="connsiteY21388"/>
              </a:cxn>
              <a:cxn ang="0">
                <a:pos x="connsiteX21389" y="connsiteY21389"/>
              </a:cxn>
              <a:cxn ang="0">
                <a:pos x="connsiteX21390" y="connsiteY21390"/>
              </a:cxn>
              <a:cxn ang="0">
                <a:pos x="connsiteX21391" y="connsiteY21391"/>
              </a:cxn>
              <a:cxn ang="0">
                <a:pos x="connsiteX21392" y="connsiteY21392"/>
              </a:cxn>
              <a:cxn ang="0">
                <a:pos x="connsiteX21393" y="connsiteY21393"/>
              </a:cxn>
              <a:cxn ang="0">
                <a:pos x="connsiteX21394" y="connsiteY21394"/>
              </a:cxn>
              <a:cxn ang="0">
                <a:pos x="connsiteX21395" y="connsiteY21395"/>
              </a:cxn>
              <a:cxn ang="0">
                <a:pos x="connsiteX21396" y="connsiteY21396"/>
              </a:cxn>
              <a:cxn ang="0">
                <a:pos x="connsiteX21397" y="connsiteY21397"/>
              </a:cxn>
              <a:cxn ang="0">
                <a:pos x="connsiteX21398" y="connsiteY21398"/>
              </a:cxn>
              <a:cxn ang="0">
                <a:pos x="connsiteX21399" y="connsiteY21399"/>
              </a:cxn>
              <a:cxn ang="0">
                <a:pos x="connsiteX21400" y="connsiteY21400"/>
              </a:cxn>
              <a:cxn ang="0">
                <a:pos x="connsiteX21401" y="connsiteY21401"/>
              </a:cxn>
              <a:cxn ang="0">
                <a:pos x="connsiteX21402" y="connsiteY21402"/>
              </a:cxn>
              <a:cxn ang="0">
                <a:pos x="connsiteX21403" y="connsiteY21403"/>
              </a:cxn>
              <a:cxn ang="0">
                <a:pos x="connsiteX21404" y="connsiteY21404"/>
              </a:cxn>
              <a:cxn ang="0">
                <a:pos x="connsiteX21405" y="connsiteY21405"/>
              </a:cxn>
              <a:cxn ang="0">
                <a:pos x="connsiteX21406" y="connsiteY21406"/>
              </a:cxn>
              <a:cxn ang="0">
                <a:pos x="connsiteX21407" y="connsiteY21407"/>
              </a:cxn>
              <a:cxn ang="0">
                <a:pos x="connsiteX21408" y="connsiteY21408"/>
              </a:cxn>
              <a:cxn ang="0">
                <a:pos x="connsiteX21409" y="connsiteY21409"/>
              </a:cxn>
              <a:cxn ang="0">
                <a:pos x="connsiteX21410" y="connsiteY21410"/>
              </a:cxn>
              <a:cxn ang="0">
                <a:pos x="connsiteX21411" y="connsiteY21411"/>
              </a:cxn>
              <a:cxn ang="0">
                <a:pos x="connsiteX21412" y="connsiteY21412"/>
              </a:cxn>
              <a:cxn ang="0">
                <a:pos x="connsiteX21413" y="connsiteY21413"/>
              </a:cxn>
              <a:cxn ang="0">
                <a:pos x="connsiteX21414" y="connsiteY21414"/>
              </a:cxn>
              <a:cxn ang="0">
                <a:pos x="connsiteX21415" y="connsiteY21415"/>
              </a:cxn>
              <a:cxn ang="0">
                <a:pos x="connsiteX21416" y="connsiteY21416"/>
              </a:cxn>
              <a:cxn ang="0">
                <a:pos x="connsiteX21417" y="connsiteY21417"/>
              </a:cxn>
              <a:cxn ang="0">
                <a:pos x="connsiteX21418" y="connsiteY21418"/>
              </a:cxn>
              <a:cxn ang="0">
                <a:pos x="connsiteX21419" y="connsiteY21419"/>
              </a:cxn>
              <a:cxn ang="0">
                <a:pos x="connsiteX21420" y="connsiteY21420"/>
              </a:cxn>
              <a:cxn ang="0">
                <a:pos x="connsiteX21421" y="connsiteY21421"/>
              </a:cxn>
              <a:cxn ang="0">
                <a:pos x="connsiteX21422" y="connsiteY21422"/>
              </a:cxn>
              <a:cxn ang="0">
                <a:pos x="connsiteX21423" y="connsiteY21423"/>
              </a:cxn>
              <a:cxn ang="0">
                <a:pos x="connsiteX21424" y="connsiteY21424"/>
              </a:cxn>
              <a:cxn ang="0">
                <a:pos x="connsiteX21425" y="connsiteY21425"/>
              </a:cxn>
              <a:cxn ang="0">
                <a:pos x="connsiteX21426" y="connsiteY21426"/>
              </a:cxn>
              <a:cxn ang="0">
                <a:pos x="connsiteX21427" y="connsiteY21427"/>
              </a:cxn>
              <a:cxn ang="0">
                <a:pos x="connsiteX21428" y="connsiteY21428"/>
              </a:cxn>
              <a:cxn ang="0">
                <a:pos x="connsiteX21429" y="connsiteY21429"/>
              </a:cxn>
              <a:cxn ang="0">
                <a:pos x="connsiteX21430" y="connsiteY21430"/>
              </a:cxn>
              <a:cxn ang="0">
                <a:pos x="connsiteX21431" y="connsiteY21431"/>
              </a:cxn>
              <a:cxn ang="0">
                <a:pos x="connsiteX21432" y="connsiteY21432"/>
              </a:cxn>
              <a:cxn ang="0">
                <a:pos x="connsiteX21433" y="connsiteY21433"/>
              </a:cxn>
              <a:cxn ang="0">
                <a:pos x="connsiteX21434" y="connsiteY21434"/>
              </a:cxn>
              <a:cxn ang="0">
                <a:pos x="connsiteX21435" y="connsiteY21435"/>
              </a:cxn>
              <a:cxn ang="0">
                <a:pos x="connsiteX21436" y="connsiteY21436"/>
              </a:cxn>
              <a:cxn ang="0">
                <a:pos x="connsiteX21437" y="connsiteY21437"/>
              </a:cxn>
              <a:cxn ang="0">
                <a:pos x="connsiteX21438" y="connsiteY21438"/>
              </a:cxn>
              <a:cxn ang="0">
                <a:pos x="connsiteX21439" y="connsiteY21439"/>
              </a:cxn>
              <a:cxn ang="0">
                <a:pos x="connsiteX21440" y="connsiteY21440"/>
              </a:cxn>
              <a:cxn ang="0">
                <a:pos x="connsiteX21441" y="connsiteY21441"/>
              </a:cxn>
              <a:cxn ang="0">
                <a:pos x="connsiteX21442" y="connsiteY21442"/>
              </a:cxn>
              <a:cxn ang="0">
                <a:pos x="connsiteX21443" y="connsiteY21443"/>
              </a:cxn>
              <a:cxn ang="0">
                <a:pos x="connsiteX21444" y="connsiteY21444"/>
              </a:cxn>
              <a:cxn ang="0">
                <a:pos x="connsiteX21445" y="connsiteY21445"/>
              </a:cxn>
              <a:cxn ang="0">
                <a:pos x="connsiteX21446" y="connsiteY21446"/>
              </a:cxn>
              <a:cxn ang="0">
                <a:pos x="connsiteX21447" y="connsiteY21447"/>
              </a:cxn>
              <a:cxn ang="0">
                <a:pos x="connsiteX21448" y="connsiteY21448"/>
              </a:cxn>
              <a:cxn ang="0">
                <a:pos x="connsiteX21449" y="connsiteY21449"/>
              </a:cxn>
              <a:cxn ang="0">
                <a:pos x="connsiteX21450" y="connsiteY21450"/>
              </a:cxn>
              <a:cxn ang="0">
                <a:pos x="connsiteX21451" y="connsiteY21451"/>
              </a:cxn>
              <a:cxn ang="0">
                <a:pos x="connsiteX21452" y="connsiteY21452"/>
              </a:cxn>
              <a:cxn ang="0">
                <a:pos x="connsiteX21453" y="connsiteY21453"/>
              </a:cxn>
              <a:cxn ang="0">
                <a:pos x="connsiteX21454" y="connsiteY21454"/>
              </a:cxn>
              <a:cxn ang="0">
                <a:pos x="connsiteX21455" y="connsiteY21455"/>
              </a:cxn>
              <a:cxn ang="0">
                <a:pos x="connsiteX21456" y="connsiteY21456"/>
              </a:cxn>
              <a:cxn ang="0">
                <a:pos x="connsiteX21457" y="connsiteY21457"/>
              </a:cxn>
              <a:cxn ang="0">
                <a:pos x="connsiteX21458" y="connsiteY21458"/>
              </a:cxn>
              <a:cxn ang="0">
                <a:pos x="connsiteX21459" y="connsiteY21459"/>
              </a:cxn>
              <a:cxn ang="0">
                <a:pos x="connsiteX21460" y="connsiteY21460"/>
              </a:cxn>
              <a:cxn ang="0">
                <a:pos x="connsiteX21461" y="connsiteY21461"/>
              </a:cxn>
              <a:cxn ang="0">
                <a:pos x="connsiteX21462" y="connsiteY21462"/>
              </a:cxn>
              <a:cxn ang="0">
                <a:pos x="connsiteX21463" y="connsiteY21463"/>
              </a:cxn>
              <a:cxn ang="0">
                <a:pos x="connsiteX21464" y="connsiteY21464"/>
              </a:cxn>
              <a:cxn ang="0">
                <a:pos x="connsiteX21465" y="connsiteY21465"/>
              </a:cxn>
              <a:cxn ang="0">
                <a:pos x="connsiteX21466" y="connsiteY21466"/>
              </a:cxn>
              <a:cxn ang="0">
                <a:pos x="connsiteX21467" y="connsiteY21467"/>
              </a:cxn>
              <a:cxn ang="0">
                <a:pos x="connsiteX21468" y="connsiteY21468"/>
              </a:cxn>
              <a:cxn ang="0">
                <a:pos x="connsiteX21469" y="connsiteY21469"/>
              </a:cxn>
              <a:cxn ang="0">
                <a:pos x="connsiteX21470" y="connsiteY21470"/>
              </a:cxn>
              <a:cxn ang="0">
                <a:pos x="connsiteX21471" y="connsiteY21471"/>
              </a:cxn>
              <a:cxn ang="0">
                <a:pos x="connsiteX21472" y="connsiteY21472"/>
              </a:cxn>
              <a:cxn ang="0">
                <a:pos x="connsiteX21473" y="connsiteY21473"/>
              </a:cxn>
              <a:cxn ang="0">
                <a:pos x="connsiteX21474" y="connsiteY21474"/>
              </a:cxn>
              <a:cxn ang="0">
                <a:pos x="connsiteX21475" y="connsiteY21475"/>
              </a:cxn>
              <a:cxn ang="0">
                <a:pos x="connsiteX21476" y="connsiteY21476"/>
              </a:cxn>
              <a:cxn ang="0">
                <a:pos x="connsiteX21477" y="connsiteY21477"/>
              </a:cxn>
              <a:cxn ang="0">
                <a:pos x="connsiteX21478" y="connsiteY21478"/>
              </a:cxn>
              <a:cxn ang="0">
                <a:pos x="connsiteX21479" y="connsiteY21479"/>
              </a:cxn>
              <a:cxn ang="0">
                <a:pos x="connsiteX21480" y="connsiteY21480"/>
              </a:cxn>
              <a:cxn ang="0">
                <a:pos x="connsiteX21481" y="connsiteY21481"/>
              </a:cxn>
              <a:cxn ang="0">
                <a:pos x="connsiteX21482" y="connsiteY21482"/>
              </a:cxn>
              <a:cxn ang="0">
                <a:pos x="connsiteX21483" y="connsiteY21483"/>
              </a:cxn>
              <a:cxn ang="0">
                <a:pos x="connsiteX21484" y="connsiteY21484"/>
              </a:cxn>
              <a:cxn ang="0">
                <a:pos x="connsiteX21485" y="connsiteY21485"/>
              </a:cxn>
              <a:cxn ang="0">
                <a:pos x="connsiteX21486" y="connsiteY21486"/>
              </a:cxn>
              <a:cxn ang="0">
                <a:pos x="connsiteX21487" y="connsiteY21487"/>
              </a:cxn>
              <a:cxn ang="0">
                <a:pos x="connsiteX21488" y="connsiteY21488"/>
              </a:cxn>
              <a:cxn ang="0">
                <a:pos x="connsiteX21489" y="connsiteY21489"/>
              </a:cxn>
              <a:cxn ang="0">
                <a:pos x="connsiteX21490" y="connsiteY21490"/>
              </a:cxn>
              <a:cxn ang="0">
                <a:pos x="connsiteX21491" y="connsiteY21491"/>
              </a:cxn>
              <a:cxn ang="0">
                <a:pos x="connsiteX21492" y="connsiteY21492"/>
              </a:cxn>
              <a:cxn ang="0">
                <a:pos x="connsiteX21493" y="connsiteY21493"/>
              </a:cxn>
              <a:cxn ang="0">
                <a:pos x="connsiteX21494" y="connsiteY21494"/>
              </a:cxn>
              <a:cxn ang="0">
                <a:pos x="connsiteX21495" y="connsiteY21495"/>
              </a:cxn>
              <a:cxn ang="0">
                <a:pos x="connsiteX21496" y="connsiteY21496"/>
              </a:cxn>
              <a:cxn ang="0">
                <a:pos x="connsiteX21497" y="connsiteY21497"/>
              </a:cxn>
              <a:cxn ang="0">
                <a:pos x="connsiteX21498" y="connsiteY21498"/>
              </a:cxn>
              <a:cxn ang="0">
                <a:pos x="connsiteX21499" y="connsiteY21499"/>
              </a:cxn>
              <a:cxn ang="0">
                <a:pos x="connsiteX21500" y="connsiteY21500"/>
              </a:cxn>
              <a:cxn ang="0">
                <a:pos x="connsiteX21501" y="connsiteY21501"/>
              </a:cxn>
              <a:cxn ang="0">
                <a:pos x="connsiteX21502" y="connsiteY21502"/>
              </a:cxn>
              <a:cxn ang="0">
                <a:pos x="connsiteX21503" y="connsiteY21503"/>
              </a:cxn>
              <a:cxn ang="0">
                <a:pos x="connsiteX21504" y="connsiteY21504"/>
              </a:cxn>
              <a:cxn ang="0">
                <a:pos x="connsiteX21505" y="connsiteY21505"/>
              </a:cxn>
              <a:cxn ang="0">
                <a:pos x="connsiteX21506" y="connsiteY21506"/>
              </a:cxn>
              <a:cxn ang="0">
                <a:pos x="connsiteX21507" y="connsiteY21507"/>
              </a:cxn>
              <a:cxn ang="0">
                <a:pos x="connsiteX21508" y="connsiteY21508"/>
              </a:cxn>
              <a:cxn ang="0">
                <a:pos x="connsiteX21509" y="connsiteY21509"/>
              </a:cxn>
              <a:cxn ang="0">
                <a:pos x="connsiteX21510" y="connsiteY21510"/>
              </a:cxn>
              <a:cxn ang="0">
                <a:pos x="connsiteX21511" y="connsiteY21511"/>
              </a:cxn>
              <a:cxn ang="0">
                <a:pos x="connsiteX21512" y="connsiteY21512"/>
              </a:cxn>
              <a:cxn ang="0">
                <a:pos x="connsiteX21513" y="connsiteY21513"/>
              </a:cxn>
              <a:cxn ang="0">
                <a:pos x="connsiteX21514" y="connsiteY21514"/>
              </a:cxn>
              <a:cxn ang="0">
                <a:pos x="connsiteX21515" y="connsiteY21515"/>
              </a:cxn>
              <a:cxn ang="0">
                <a:pos x="connsiteX21516" y="connsiteY21516"/>
              </a:cxn>
              <a:cxn ang="0">
                <a:pos x="connsiteX21517" y="connsiteY21517"/>
              </a:cxn>
              <a:cxn ang="0">
                <a:pos x="connsiteX21518" y="connsiteY21518"/>
              </a:cxn>
              <a:cxn ang="0">
                <a:pos x="connsiteX21519" y="connsiteY21519"/>
              </a:cxn>
              <a:cxn ang="0">
                <a:pos x="connsiteX21520" y="connsiteY21520"/>
              </a:cxn>
              <a:cxn ang="0">
                <a:pos x="connsiteX21521" y="connsiteY21521"/>
              </a:cxn>
              <a:cxn ang="0">
                <a:pos x="connsiteX21522" y="connsiteY21522"/>
              </a:cxn>
              <a:cxn ang="0">
                <a:pos x="connsiteX21523" y="connsiteY21523"/>
              </a:cxn>
              <a:cxn ang="0">
                <a:pos x="connsiteX21524" y="connsiteY21524"/>
              </a:cxn>
              <a:cxn ang="0">
                <a:pos x="connsiteX21525" y="connsiteY21525"/>
              </a:cxn>
              <a:cxn ang="0">
                <a:pos x="connsiteX21526" y="connsiteY21526"/>
              </a:cxn>
              <a:cxn ang="0">
                <a:pos x="connsiteX21527" y="connsiteY21527"/>
              </a:cxn>
              <a:cxn ang="0">
                <a:pos x="connsiteX21528" y="connsiteY21528"/>
              </a:cxn>
              <a:cxn ang="0">
                <a:pos x="connsiteX21529" y="connsiteY21529"/>
              </a:cxn>
              <a:cxn ang="0">
                <a:pos x="connsiteX21530" y="connsiteY21530"/>
              </a:cxn>
              <a:cxn ang="0">
                <a:pos x="connsiteX21531" y="connsiteY21531"/>
              </a:cxn>
              <a:cxn ang="0">
                <a:pos x="connsiteX21532" y="connsiteY21532"/>
              </a:cxn>
              <a:cxn ang="0">
                <a:pos x="connsiteX21533" y="connsiteY21533"/>
              </a:cxn>
              <a:cxn ang="0">
                <a:pos x="connsiteX21534" y="connsiteY21534"/>
              </a:cxn>
              <a:cxn ang="0">
                <a:pos x="connsiteX21535" y="connsiteY21535"/>
              </a:cxn>
              <a:cxn ang="0">
                <a:pos x="connsiteX21536" y="connsiteY21536"/>
              </a:cxn>
              <a:cxn ang="0">
                <a:pos x="connsiteX21537" y="connsiteY21537"/>
              </a:cxn>
              <a:cxn ang="0">
                <a:pos x="connsiteX21538" y="connsiteY21538"/>
              </a:cxn>
              <a:cxn ang="0">
                <a:pos x="connsiteX21539" y="connsiteY21539"/>
              </a:cxn>
              <a:cxn ang="0">
                <a:pos x="connsiteX21540" y="connsiteY21540"/>
              </a:cxn>
              <a:cxn ang="0">
                <a:pos x="connsiteX21541" y="connsiteY21541"/>
              </a:cxn>
              <a:cxn ang="0">
                <a:pos x="connsiteX21542" y="connsiteY21542"/>
              </a:cxn>
              <a:cxn ang="0">
                <a:pos x="connsiteX21543" y="connsiteY21543"/>
              </a:cxn>
              <a:cxn ang="0">
                <a:pos x="connsiteX21544" y="connsiteY21544"/>
              </a:cxn>
              <a:cxn ang="0">
                <a:pos x="connsiteX21545" y="connsiteY21545"/>
              </a:cxn>
              <a:cxn ang="0">
                <a:pos x="connsiteX21546" y="connsiteY21546"/>
              </a:cxn>
              <a:cxn ang="0">
                <a:pos x="connsiteX21547" y="connsiteY21547"/>
              </a:cxn>
              <a:cxn ang="0">
                <a:pos x="connsiteX21548" y="connsiteY21548"/>
              </a:cxn>
              <a:cxn ang="0">
                <a:pos x="connsiteX21549" y="connsiteY21549"/>
              </a:cxn>
              <a:cxn ang="0">
                <a:pos x="connsiteX21550" y="connsiteY21550"/>
              </a:cxn>
              <a:cxn ang="0">
                <a:pos x="connsiteX21551" y="connsiteY21551"/>
              </a:cxn>
              <a:cxn ang="0">
                <a:pos x="connsiteX21552" y="connsiteY21552"/>
              </a:cxn>
              <a:cxn ang="0">
                <a:pos x="connsiteX21553" y="connsiteY21553"/>
              </a:cxn>
              <a:cxn ang="0">
                <a:pos x="connsiteX21554" y="connsiteY21554"/>
              </a:cxn>
              <a:cxn ang="0">
                <a:pos x="connsiteX21555" y="connsiteY21555"/>
              </a:cxn>
              <a:cxn ang="0">
                <a:pos x="connsiteX21556" y="connsiteY21556"/>
              </a:cxn>
              <a:cxn ang="0">
                <a:pos x="connsiteX21557" y="connsiteY21557"/>
              </a:cxn>
              <a:cxn ang="0">
                <a:pos x="connsiteX21558" y="connsiteY21558"/>
              </a:cxn>
              <a:cxn ang="0">
                <a:pos x="connsiteX21559" y="connsiteY21559"/>
              </a:cxn>
              <a:cxn ang="0">
                <a:pos x="connsiteX21560" y="connsiteY21560"/>
              </a:cxn>
              <a:cxn ang="0">
                <a:pos x="connsiteX21561" y="connsiteY21561"/>
              </a:cxn>
              <a:cxn ang="0">
                <a:pos x="connsiteX21562" y="connsiteY21562"/>
              </a:cxn>
              <a:cxn ang="0">
                <a:pos x="connsiteX21563" y="connsiteY21563"/>
              </a:cxn>
              <a:cxn ang="0">
                <a:pos x="connsiteX21564" y="connsiteY21564"/>
              </a:cxn>
              <a:cxn ang="0">
                <a:pos x="connsiteX21565" y="connsiteY21565"/>
              </a:cxn>
              <a:cxn ang="0">
                <a:pos x="connsiteX21566" y="connsiteY21566"/>
              </a:cxn>
              <a:cxn ang="0">
                <a:pos x="connsiteX21567" y="connsiteY21567"/>
              </a:cxn>
              <a:cxn ang="0">
                <a:pos x="connsiteX21568" y="connsiteY21568"/>
              </a:cxn>
              <a:cxn ang="0">
                <a:pos x="connsiteX21569" y="connsiteY21569"/>
              </a:cxn>
              <a:cxn ang="0">
                <a:pos x="connsiteX21570" y="connsiteY21570"/>
              </a:cxn>
              <a:cxn ang="0">
                <a:pos x="connsiteX21571" y="connsiteY21571"/>
              </a:cxn>
              <a:cxn ang="0">
                <a:pos x="connsiteX21572" y="connsiteY21572"/>
              </a:cxn>
              <a:cxn ang="0">
                <a:pos x="connsiteX21573" y="connsiteY21573"/>
              </a:cxn>
              <a:cxn ang="0">
                <a:pos x="connsiteX21574" y="connsiteY21574"/>
              </a:cxn>
              <a:cxn ang="0">
                <a:pos x="connsiteX21575" y="connsiteY21575"/>
              </a:cxn>
              <a:cxn ang="0">
                <a:pos x="connsiteX21576" y="connsiteY21576"/>
              </a:cxn>
              <a:cxn ang="0">
                <a:pos x="connsiteX21577" y="connsiteY21577"/>
              </a:cxn>
              <a:cxn ang="0">
                <a:pos x="connsiteX21578" y="connsiteY21578"/>
              </a:cxn>
              <a:cxn ang="0">
                <a:pos x="connsiteX21579" y="connsiteY21579"/>
              </a:cxn>
              <a:cxn ang="0">
                <a:pos x="connsiteX21580" y="connsiteY21580"/>
              </a:cxn>
              <a:cxn ang="0">
                <a:pos x="connsiteX21581" y="connsiteY21581"/>
              </a:cxn>
              <a:cxn ang="0">
                <a:pos x="connsiteX21582" y="connsiteY21582"/>
              </a:cxn>
              <a:cxn ang="0">
                <a:pos x="connsiteX21583" y="connsiteY21583"/>
              </a:cxn>
              <a:cxn ang="0">
                <a:pos x="connsiteX21584" y="connsiteY21584"/>
              </a:cxn>
              <a:cxn ang="0">
                <a:pos x="connsiteX21585" y="connsiteY21585"/>
              </a:cxn>
              <a:cxn ang="0">
                <a:pos x="connsiteX21586" y="connsiteY21586"/>
              </a:cxn>
              <a:cxn ang="0">
                <a:pos x="connsiteX21587" y="connsiteY21587"/>
              </a:cxn>
              <a:cxn ang="0">
                <a:pos x="connsiteX21588" y="connsiteY21588"/>
              </a:cxn>
              <a:cxn ang="0">
                <a:pos x="connsiteX21589" y="connsiteY21589"/>
              </a:cxn>
              <a:cxn ang="0">
                <a:pos x="connsiteX21590" y="connsiteY21590"/>
              </a:cxn>
              <a:cxn ang="0">
                <a:pos x="connsiteX21591" y="connsiteY21591"/>
              </a:cxn>
              <a:cxn ang="0">
                <a:pos x="connsiteX21592" y="connsiteY21592"/>
              </a:cxn>
              <a:cxn ang="0">
                <a:pos x="connsiteX21593" y="connsiteY21593"/>
              </a:cxn>
              <a:cxn ang="0">
                <a:pos x="connsiteX21594" y="connsiteY21594"/>
              </a:cxn>
              <a:cxn ang="0">
                <a:pos x="connsiteX21595" y="connsiteY21595"/>
              </a:cxn>
              <a:cxn ang="0">
                <a:pos x="connsiteX21596" y="connsiteY21596"/>
              </a:cxn>
              <a:cxn ang="0">
                <a:pos x="connsiteX21597" y="connsiteY21597"/>
              </a:cxn>
              <a:cxn ang="0">
                <a:pos x="connsiteX21598" y="connsiteY21598"/>
              </a:cxn>
              <a:cxn ang="0">
                <a:pos x="connsiteX21599" y="connsiteY21599"/>
              </a:cxn>
              <a:cxn ang="0">
                <a:pos x="connsiteX21600" y="connsiteY21600"/>
              </a:cxn>
              <a:cxn ang="0">
                <a:pos x="connsiteX21601" y="connsiteY21601"/>
              </a:cxn>
              <a:cxn ang="0">
                <a:pos x="connsiteX21602" y="connsiteY21602"/>
              </a:cxn>
              <a:cxn ang="0">
                <a:pos x="connsiteX21603" y="connsiteY21603"/>
              </a:cxn>
              <a:cxn ang="0">
                <a:pos x="connsiteX21604" y="connsiteY21604"/>
              </a:cxn>
              <a:cxn ang="0">
                <a:pos x="connsiteX21605" y="connsiteY21605"/>
              </a:cxn>
              <a:cxn ang="0">
                <a:pos x="connsiteX21606" y="connsiteY21606"/>
              </a:cxn>
              <a:cxn ang="0">
                <a:pos x="connsiteX21607" y="connsiteY21607"/>
              </a:cxn>
              <a:cxn ang="0">
                <a:pos x="connsiteX21608" y="connsiteY21608"/>
              </a:cxn>
              <a:cxn ang="0">
                <a:pos x="connsiteX21609" y="connsiteY21609"/>
              </a:cxn>
              <a:cxn ang="0">
                <a:pos x="connsiteX21610" y="connsiteY21610"/>
              </a:cxn>
              <a:cxn ang="0">
                <a:pos x="connsiteX21611" y="connsiteY21611"/>
              </a:cxn>
              <a:cxn ang="0">
                <a:pos x="connsiteX21612" y="connsiteY21612"/>
              </a:cxn>
              <a:cxn ang="0">
                <a:pos x="connsiteX21613" y="connsiteY21613"/>
              </a:cxn>
              <a:cxn ang="0">
                <a:pos x="connsiteX21614" y="connsiteY21614"/>
              </a:cxn>
              <a:cxn ang="0">
                <a:pos x="connsiteX21615" y="connsiteY21615"/>
              </a:cxn>
              <a:cxn ang="0">
                <a:pos x="connsiteX21616" y="connsiteY21616"/>
              </a:cxn>
              <a:cxn ang="0">
                <a:pos x="connsiteX21617" y="connsiteY21617"/>
              </a:cxn>
              <a:cxn ang="0">
                <a:pos x="connsiteX21618" y="connsiteY21618"/>
              </a:cxn>
              <a:cxn ang="0">
                <a:pos x="connsiteX21619" y="connsiteY21619"/>
              </a:cxn>
              <a:cxn ang="0">
                <a:pos x="connsiteX21620" y="connsiteY21620"/>
              </a:cxn>
              <a:cxn ang="0">
                <a:pos x="connsiteX21621" y="connsiteY21621"/>
              </a:cxn>
              <a:cxn ang="0">
                <a:pos x="connsiteX21622" y="connsiteY21622"/>
              </a:cxn>
              <a:cxn ang="0">
                <a:pos x="connsiteX21623" y="connsiteY21623"/>
              </a:cxn>
              <a:cxn ang="0">
                <a:pos x="connsiteX21624" y="connsiteY21624"/>
              </a:cxn>
              <a:cxn ang="0">
                <a:pos x="connsiteX21625" y="connsiteY21625"/>
              </a:cxn>
              <a:cxn ang="0">
                <a:pos x="connsiteX21626" y="connsiteY21626"/>
              </a:cxn>
              <a:cxn ang="0">
                <a:pos x="connsiteX21627" y="connsiteY21627"/>
              </a:cxn>
              <a:cxn ang="0">
                <a:pos x="connsiteX21628" y="connsiteY21628"/>
              </a:cxn>
              <a:cxn ang="0">
                <a:pos x="connsiteX21629" y="connsiteY21629"/>
              </a:cxn>
              <a:cxn ang="0">
                <a:pos x="connsiteX21630" y="connsiteY21630"/>
              </a:cxn>
              <a:cxn ang="0">
                <a:pos x="connsiteX21631" y="connsiteY21631"/>
              </a:cxn>
              <a:cxn ang="0">
                <a:pos x="connsiteX21632" y="connsiteY21632"/>
              </a:cxn>
              <a:cxn ang="0">
                <a:pos x="connsiteX21633" y="connsiteY21633"/>
              </a:cxn>
              <a:cxn ang="0">
                <a:pos x="connsiteX21634" y="connsiteY21634"/>
              </a:cxn>
              <a:cxn ang="0">
                <a:pos x="connsiteX21635" y="connsiteY21635"/>
              </a:cxn>
              <a:cxn ang="0">
                <a:pos x="connsiteX21636" y="connsiteY21636"/>
              </a:cxn>
              <a:cxn ang="0">
                <a:pos x="connsiteX21637" y="connsiteY21637"/>
              </a:cxn>
              <a:cxn ang="0">
                <a:pos x="connsiteX21638" y="connsiteY21638"/>
              </a:cxn>
              <a:cxn ang="0">
                <a:pos x="connsiteX21639" y="connsiteY21639"/>
              </a:cxn>
              <a:cxn ang="0">
                <a:pos x="connsiteX21640" y="connsiteY21640"/>
              </a:cxn>
              <a:cxn ang="0">
                <a:pos x="connsiteX21641" y="connsiteY21641"/>
              </a:cxn>
              <a:cxn ang="0">
                <a:pos x="connsiteX21642" y="connsiteY21642"/>
              </a:cxn>
              <a:cxn ang="0">
                <a:pos x="connsiteX21643" y="connsiteY21643"/>
              </a:cxn>
              <a:cxn ang="0">
                <a:pos x="connsiteX21644" y="connsiteY21644"/>
              </a:cxn>
              <a:cxn ang="0">
                <a:pos x="connsiteX21645" y="connsiteY21645"/>
              </a:cxn>
              <a:cxn ang="0">
                <a:pos x="connsiteX21646" y="connsiteY21646"/>
              </a:cxn>
              <a:cxn ang="0">
                <a:pos x="connsiteX21647" y="connsiteY21647"/>
              </a:cxn>
              <a:cxn ang="0">
                <a:pos x="connsiteX21648" y="connsiteY21648"/>
              </a:cxn>
              <a:cxn ang="0">
                <a:pos x="connsiteX21649" y="connsiteY21649"/>
              </a:cxn>
              <a:cxn ang="0">
                <a:pos x="connsiteX21650" y="connsiteY21650"/>
              </a:cxn>
              <a:cxn ang="0">
                <a:pos x="connsiteX21651" y="connsiteY21651"/>
              </a:cxn>
              <a:cxn ang="0">
                <a:pos x="connsiteX21652" y="connsiteY21652"/>
              </a:cxn>
              <a:cxn ang="0">
                <a:pos x="connsiteX21653" y="connsiteY21653"/>
              </a:cxn>
              <a:cxn ang="0">
                <a:pos x="connsiteX21654" y="connsiteY21654"/>
              </a:cxn>
              <a:cxn ang="0">
                <a:pos x="connsiteX21655" y="connsiteY21655"/>
              </a:cxn>
              <a:cxn ang="0">
                <a:pos x="connsiteX21656" y="connsiteY21656"/>
              </a:cxn>
              <a:cxn ang="0">
                <a:pos x="connsiteX21657" y="connsiteY21657"/>
              </a:cxn>
              <a:cxn ang="0">
                <a:pos x="connsiteX21658" y="connsiteY21658"/>
              </a:cxn>
              <a:cxn ang="0">
                <a:pos x="connsiteX21659" y="connsiteY21659"/>
              </a:cxn>
              <a:cxn ang="0">
                <a:pos x="connsiteX21660" y="connsiteY21660"/>
              </a:cxn>
              <a:cxn ang="0">
                <a:pos x="connsiteX21661" y="connsiteY21661"/>
              </a:cxn>
              <a:cxn ang="0">
                <a:pos x="connsiteX21662" y="connsiteY21662"/>
              </a:cxn>
              <a:cxn ang="0">
                <a:pos x="connsiteX21663" y="connsiteY21663"/>
              </a:cxn>
              <a:cxn ang="0">
                <a:pos x="connsiteX21664" y="connsiteY21664"/>
              </a:cxn>
              <a:cxn ang="0">
                <a:pos x="connsiteX21665" y="connsiteY21665"/>
              </a:cxn>
              <a:cxn ang="0">
                <a:pos x="connsiteX21666" y="connsiteY21666"/>
              </a:cxn>
              <a:cxn ang="0">
                <a:pos x="connsiteX21667" y="connsiteY21667"/>
              </a:cxn>
              <a:cxn ang="0">
                <a:pos x="connsiteX21668" y="connsiteY21668"/>
              </a:cxn>
              <a:cxn ang="0">
                <a:pos x="connsiteX21669" y="connsiteY21669"/>
              </a:cxn>
              <a:cxn ang="0">
                <a:pos x="connsiteX21670" y="connsiteY21670"/>
              </a:cxn>
              <a:cxn ang="0">
                <a:pos x="connsiteX21671" y="connsiteY21671"/>
              </a:cxn>
              <a:cxn ang="0">
                <a:pos x="connsiteX21672" y="connsiteY21672"/>
              </a:cxn>
              <a:cxn ang="0">
                <a:pos x="connsiteX21673" y="connsiteY21673"/>
              </a:cxn>
              <a:cxn ang="0">
                <a:pos x="connsiteX21674" y="connsiteY21674"/>
              </a:cxn>
              <a:cxn ang="0">
                <a:pos x="connsiteX21675" y="connsiteY21675"/>
              </a:cxn>
              <a:cxn ang="0">
                <a:pos x="connsiteX21676" y="connsiteY21676"/>
              </a:cxn>
              <a:cxn ang="0">
                <a:pos x="connsiteX21677" y="connsiteY21677"/>
              </a:cxn>
              <a:cxn ang="0">
                <a:pos x="connsiteX21678" y="connsiteY21678"/>
              </a:cxn>
              <a:cxn ang="0">
                <a:pos x="connsiteX21679" y="connsiteY21679"/>
              </a:cxn>
              <a:cxn ang="0">
                <a:pos x="connsiteX21680" y="connsiteY21680"/>
              </a:cxn>
              <a:cxn ang="0">
                <a:pos x="connsiteX21681" y="connsiteY21681"/>
              </a:cxn>
              <a:cxn ang="0">
                <a:pos x="connsiteX21682" y="connsiteY21682"/>
              </a:cxn>
              <a:cxn ang="0">
                <a:pos x="connsiteX21683" y="connsiteY21683"/>
              </a:cxn>
              <a:cxn ang="0">
                <a:pos x="connsiteX21684" y="connsiteY21684"/>
              </a:cxn>
              <a:cxn ang="0">
                <a:pos x="connsiteX21685" y="connsiteY21685"/>
              </a:cxn>
              <a:cxn ang="0">
                <a:pos x="connsiteX21686" y="connsiteY21686"/>
              </a:cxn>
              <a:cxn ang="0">
                <a:pos x="connsiteX21687" y="connsiteY21687"/>
              </a:cxn>
              <a:cxn ang="0">
                <a:pos x="connsiteX21688" y="connsiteY21688"/>
              </a:cxn>
              <a:cxn ang="0">
                <a:pos x="connsiteX21689" y="connsiteY21689"/>
              </a:cxn>
              <a:cxn ang="0">
                <a:pos x="connsiteX21690" y="connsiteY21690"/>
              </a:cxn>
              <a:cxn ang="0">
                <a:pos x="connsiteX21691" y="connsiteY21691"/>
              </a:cxn>
              <a:cxn ang="0">
                <a:pos x="connsiteX21692" y="connsiteY21692"/>
              </a:cxn>
              <a:cxn ang="0">
                <a:pos x="connsiteX21693" y="connsiteY21693"/>
              </a:cxn>
              <a:cxn ang="0">
                <a:pos x="connsiteX21694" y="connsiteY21694"/>
              </a:cxn>
              <a:cxn ang="0">
                <a:pos x="connsiteX21695" y="connsiteY21695"/>
              </a:cxn>
              <a:cxn ang="0">
                <a:pos x="connsiteX21696" y="connsiteY21696"/>
              </a:cxn>
              <a:cxn ang="0">
                <a:pos x="connsiteX21697" y="connsiteY21697"/>
              </a:cxn>
              <a:cxn ang="0">
                <a:pos x="connsiteX21698" y="connsiteY21698"/>
              </a:cxn>
              <a:cxn ang="0">
                <a:pos x="connsiteX21699" y="connsiteY21699"/>
              </a:cxn>
              <a:cxn ang="0">
                <a:pos x="connsiteX21700" y="connsiteY21700"/>
              </a:cxn>
              <a:cxn ang="0">
                <a:pos x="connsiteX21701" y="connsiteY21701"/>
              </a:cxn>
              <a:cxn ang="0">
                <a:pos x="connsiteX21702" y="connsiteY21702"/>
              </a:cxn>
              <a:cxn ang="0">
                <a:pos x="connsiteX21703" y="connsiteY21703"/>
              </a:cxn>
              <a:cxn ang="0">
                <a:pos x="connsiteX21704" y="connsiteY21704"/>
              </a:cxn>
              <a:cxn ang="0">
                <a:pos x="connsiteX21705" y="connsiteY21705"/>
              </a:cxn>
              <a:cxn ang="0">
                <a:pos x="connsiteX21706" y="connsiteY21706"/>
              </a:cxn>
              <a:cxn ang="0">
                <a:pos x="connsiteX21707" y="connsiteY21707"/>
              </a:cxn>
              <a:cxn ang="0">
                <a:pos x="connsiteX21708" y="connsiteY21708"/>
              </a:cxn>
              <a:cxn ang="0">
                <a:pos x="connsiteX21709" y="connsiteY21709"/>
              </a:cxn>
              <a:cxn ang="0">
                <a:pos x="connsiteX21710" y="connsiteY21710"/>
              </a:cxn>
              <a:cxn ang="0">
                <a:pos x="connsiteX21711" y="connsiteY21711"/>
              </a:cxn>
              <a:cxn ang="0">
                <a:pos x="connsiteX21712" y="connsiteY21712"/>
              </a:cxn>
              <a:cxn ang="0">
                <a:pos x="connsiteX21713" y="connsiteY21713"/>
              </a:cxn>
              <a:cxn ang="0">
                <a:pos x="connsiteX21714" y="connsiteY21714"/>
              </a:cxn>
              <a:cxn ang="0">
                <a:pos x="connsiteX21715" y="connsiteY21715"/>
              </a:cxn>
              <a:cxn ang="0">
                <a:pos x="connsiteX21716" y="connsiteY21716"/>
              </a:cxn>
              <a:cxn ang="0">
                <a:pos x="connsiteX21717" y="connsiteY21717"/>
              </a:cxn>
              <a:cxn ang="0">
                <a:pos x="connsiteX21718" y="connsiteY21718"/>
              </a:cxn>
              <a:cxn ang="0">
                <a:pos x="connsiteX21719" y="connsiteY21719"/>
              </a:cxn>
              <a:cxn ang="0">
                <a:pos x="connsiteX21720" y="connsiteY21720"/>
              </a:cxn>
              <a:cxn ang="0">
                <a:pos x="connsiteX21721" y="connsiteY21721"/>
              </a:cxn>
              <a:cxn ang="0">
                <a:pos x="connsiteX21722" y="connsiteY21722"/>
              </a:cxn>
              <a:cxn ang="0">
                <a:pos x="connsiteX21723" y="connsiteY21723"/>
              </a:cxn>
              <a:cxn ang="0">
                <a:pos x="connsiteX21724" y="connsiteY21724"/>
              </a:cxn>
              <a:cxn ang="0">
                <a:pos x="connsiteX21725" y="connsiteY21725"/>
              </a:cxn>
              <a:cxn ang="0">
                <a:pos x="connsiteX21726" y="connsiteY21726"/>
              </a:cxn>
              <a:cxn ang="0">
                <a:pos x="connsiteX21727" y="connsiteY21727"/>
              </a:cxn>
              <a:cxn ang="0">
                <a:pos x="connsiteX21728" y="connsiteY21728"/>
              </a:cxn>
              <a:cxn ang="0">
                <a:pos x="connsiteX21729" y="connsiteY21729"/>
              </a:cxn>
              <a:cxn ang="0">
                <a:pos x="connsiteX21730" y="connsiteY21730"/>
              </a:cxn>
              <a:cxn ang="0">
                <a:pos x="connsiteX21731" y="connsiteY21731"/>
              </a:cxn>
              <a:cxn ang="0">
                <a:pos x="connsiteX21732" y="connsiteY21732"/>
              </a:cxn>
              <a:cxn ang="0">
                <a:pos x="connsiteX21733" y="connsiteY21733"/>
              </a:cxn>
              <a:cxn ang="0">
                <a:pos x="connsiteX21734" y="connsiteY21734"/>
              </a:cxn>
              <a:cxn ang="0">
                <a:pos x="connsiteX21735" y="connsiteY21735"/>
              </a:cxn>
              <a:cxn ang="0">
                <a:pos x="connsiteX21736" y="connsiteY21736"/>
              </a:cxn>
              <a:cxn ang="0">
                <a:pos x="connsiteX21737" y="connsiteY21737"/>
              </a:cxn>
              <a:cxn ang="0">
                <a:pos x="connsiteX21738" y="connsiteY21738"/>
              </a:cxn>
              <a:cxn ang="0">
                <a:pos x="connsiteX21739" y="connsiteY21739"/>
              </a:cxn>
              <a:cxn ang="0">
                <a:pos x="connsiteX21740" y="connsiteY21740"/>
              </a:cxn>
              <a:cxn ang="0">
                <a:pos x="connsiteX21741" y="connsiteY21741"/>
              </a:cxn>
              <a:cxn ang="0">
                <a:pos x="connsiteX21742" y="connsiteY21742"/>
              </a:cxn>
              <a:cxn ang="0">
                <a:pos x="connsiteX21743" y="connsiteY21743"/>
              </a:cxn>
              <a:cxn ang="0">
                <a:pos x="connsiteX21744" y="connsiteY21744"/>
              </a:cxn>
              <a:cxn ang="0">
                <a:pos x="connsiteX21745" y="connsiteY21745"/>
              </a:cxn>
              <a:cxn ang="0">
                <a:pos x="connsiteX21746" y="connsiteY21746"/>
              </a:cxn>
              <a:cxn ang="0">
                <a:pos x="connsiteX21747" y="connsiteY21747"/>
              </a:cxn>
              <a:cxn ang="0">
                <a:pos x="connsiteX21748" y="connsiteY21748"/>
              </a:cxn>
              <a:cxn ang="0">
                <a:pos x="connsiteX21749" y="connsiteY21749"/>
              </a:cxn>
              <a:cxn ang="0">
                <a:pos x="connsiteX21750" y="connsiteY21750"/>
              </a:cxn>
              <a:cxn ang="0">
                <a:pos x="connsiteX21751" y="connsiteY21751"/>
              </a:cxn>
              <a:cxn ang="0">
                <a:pos x="connsiteX21752" y="connsiteY21752"/>
              </a:cxn>
              <a:cxn ang="0">
                <a:pos x="connsiteX21753" y="connsiteY21753"/>
              </a:cxn>
              <a:cxn ang="0">
                <a:pos x="connsiteX21754" y="connsiteY21754"/>
              </a:cxn>
              <a:cxn ang="0">
                <a:pos x="connsiteX21755" y="connsiteY21755"/>
              </a:cxn>
              <a:cxn ang="0">
                <a:pos x="connsiteX21756" y="connsiteY21756"/>
              </a:cxn>
              <a:cxn ang="0">
                <a:pos x="connsiteX21757" y="connsiteY21757"/>
              </a:cxn>
              <a:cxn ang="0">
                <a:pos x="connsiteX21758" y="connsiteY21758"/>
              </a:cxn>
              <a:cxn ang="0">
                <a:pos x="connsiteX21759" y="connsiteY21759"/>
              </a:cxn>
              <a:cxn ang="0">
                <a:pos x="connsiteX21760" y="connsiteY21760"/>
              </a:cxn>
              <a:cxn ang="0">
                <a:pos x="connsiteX21761" y="connsiteY21761"/>
              </a:cxn>
              <a:cxn ang="0">
                <a:pos x="connsiteX21762" y="connsiteY21762"/>
              </a:cxn>
              <a:cxn ang="0">
                <a:pos x="connsiteX21763" y="connsiteY21763"/>
              </a:cxn>
              <a:cxn ang="0">
                <a:pos x="connsiteX21764" y="connsiteY21764"/>
              </a:cxn>
              <a:cxn ang="0">
                <a:pos x="connsiteX21765" y="connsiteY21765"/>
              </a:cxn>
              <a:cxn ang="0">
                <a:pos x="connsiteX21766" y="connsiteY21766"/>
              </a:cxn>
              <a:cxn ang="0">
                <a:pos x="connsiteX21767" y="connsiteY21767"/>
              </a:cxn>
              <a:cxn ang="0">
                <a:pos x="connsiteX21768" y="connsiteY21768"/>
              </a:cxn>
              <a:cxn ang="0">
                <a:pos x="connsiteX21769" y="connsiteY21769"/>
              </a:cxn>
              <a:cxn ang="0">
                <a:pos x="connsiteX21770" y="connsiteY21770"/>
              </a:cxn>
              <a:cxn ang="0">
                <a:pos x="connsiteX21771" y="connsiteY21771"/>
              </a:cxn>
              <a:cxn ang="0">
                <a:pos x="connsiteX21772" y="connsiteY21772"/>
              </a:cxn>
              <a:cxn ang="0">
                <a:pos x="connsiteX21773" y="connsiteY21773"/>
              </a:cxn>
              <a:cxn ang="0">
                <a:pos x="connsiteX21774" y="connsiteY21774"/>
              </a:cxn>
              <a:cxn ang="0">
                <a:pos x="connsiteX21775" y="connsiteY21775"/>
              </a:cxn>
              <a:cxn ang="0">
                <a:pos x="connsiteX21776" y="connsiteY21776"/>
              </a:cxn>
              <a:cxn ang="0">
                <a:pos x="connsiteX21777" y="connsiteY21777"/>
              </a:cxn>
              <a:cxn ang="0">
                <a:pos x="connsiteX21778" y="connsiteY21778"/>
              </a:cxn>
              <a:cxn ang="0">
                <a:pos x="connsiteX21779" y="connsiteY21779"/>
              </a:cxn>
              <a:cxn ang="0">
                <a:pos x="connsiteX21780" y="connsiteY21780"/>
              </a:cxn>
              <a:cxn ang="0">
                <a:pos x="connsiteX21781" y="connsiteY21781"/>
              </a:cxn>
              <a:cxn ang="0">
                <a:pos x="connsiteX21782" y="connsiteY21782"/>
              </a:cxn>
              <a:cxn ang="0">
                <a:pos x="connsiteX21783" y="connsiteY21783"/>
              </a:cxn>
              <a:cxn ang="0">
                <a:pos x="connsiteX21784" y="connsiteY21784"/>
              </a:cxn>
              <a:cxn ang="0">
                <a:pos x="connsiteX21785" y="connsiteY21785"/>
              </a:cxn>
              <a:cxn ang="0">
                <a:pos x="connsiteX21786" y="connsiteY21786"/>
              </a:cxn>
              <a:cxn ang="0">
                <a:pos x="connsiteX21787" y="connsiteY21787"/>
              </a:cxn>
              <a:cxn ang="0">
                <a:pos x="connsiteX21788" y="connsiteY21788"/>
              </a:cxn>
              <a:cxn ang="0">
                <a:pos x="connsiteX21789" y="connsiteY21789"/>
              </a:cxn>
              <a:cxn ang="0">
                <a:pos x="connsiteX21790" y="connsiteY21790"/>
              </a:cxn>
              <a:cxn ang="0">
                <a:pos x="connsiteX21791" y="connsiteY21791"/>
              </a:cxn>
              <a:cxn ang="0">
                <a:pos x="connsiteX21792" y="connsiteY21792"/>
              </a:cxn>
              <a:cxn ang="0">
                <a:pos x="connsiteX21793" y="connsiteY21793"/>
              </a:cxn>
              <a:cxn ang="0">
                <a:pos x="connsiteX21794" y="connsiteY21794"/>
              </a:cxn>
              <a:cxn ang="0">
                <a:pos x="connsiteX21795" y="connsiteY21795"/>
              </a:cxn>
              <a:cxn ang="0">
                <a:pos x="connsiteX21796" y="connsiteY21796"/>
              </a:cxn>
              <a:cxn ang="0">
                <a:pos x="connsiteX21797" y="connsiteY21797"/>
              </a:cxn>
              <a:cxn ang="0">
                <a:pos x="connsiteX21798" y="connsiteY21798"/>
              </a:cxn>
              <a:cxn ang="0">
                <a:pos x="connsiteX21799" y="connsiteY21799"/>
              </a:cxn>
              <a:cxn ang="0">
                <a:pos x="connsiteX21800" y="connsiteY21800"/>
              </a:cxn>
              <a:cxn ang="0">
                <a:pos x="connsiteX21801" y="connsiteY21801"/>
              </a:cxn>
              <a:cxn ang="0">
                <a:pos x="connsiteX21802" y="connsiteY21802"/>
              </a:cxn>
              <a:cxn ang="0">
                <a:pos x="connsiteX21803" y="connsiteY21803"/>
              </a:cxn>
              <a:cxn ang="0">
                <a:pos x="connsiteX21804" y="connsiteY21804"/>
              </a:cxn>
              <a:cxn ang="0">
                <a:pos x="connsiteX21805" y="connsiteY21805"/>
              </a:cxn>
              <a:cxn ang="0">
                <a:pos x="connsiteX21806" y="connsiteY21806"/>
              </a:cxn>
              <a:cxn ang="0">
                <a:pos x="connsiteX21807" y="connsiteY21807"/>
              </a:cxn>
              <a:cxn ang="0">
                <a:pos x="connsiteX21808" y="connsiteY21808"/>
              </a:cxn>
              <a:cxn ang="0">
                <a:pos x="connsiteX21809" y="connsiteY21809"/>
              </a:cxn>
              <a:cxn ang="0">
                <a:pos x="connsiteX21810" y="connsiteY21810"/>
              </a:cxn>
              <a:cxn ang="0">
                <a:pos x="connsiteX21811" y="connsiteY21811"/>
              </a:cxn>
              <a:cxn ang="0">
                <a:pos x="connsiteX21812" y="connsiteY21812"/>
              </a:cxn>
              <a:cxn ang="0">
                <a:pos x="connsiteX21813" y="connsiteY21813"/>
              </a:cxn>
              <a:cxn ang="0">
                <a:pos x="connsiteX21814" y="connsiteY21814"/>
              </a:cxn>
              <a:cxn ang="0">
                <a:pos x="connsiteX21815" y="connsiteY21815"/>
              </a:cxn>
              <a:cxn ang="0">
                <a:pos x="connsiteX21816" y="connsiteY21816"/>
              </a:cxn>
              <a:cxn ang="0">
                <a:pos x="connsiteX21817" y="connsiteY21817"/>
              </a:cxn>
              <a:cxn ang="0">
                <a:pos x="connsiteX21818" y="connsiteY21818"/>
              </a:cxn>
              <a:cxn ang="0">
                <a:pos x="connsiteX21819" y="connsiteY21819"/>
              </a:cxn>
              <a:cxn ang="0">
                <a:pos x="connsiteX21820" y="connsiteY21820"/>
              </a:cxn>
              <a:cxn ang="0">
                <a:pos x="connsiteX21821" y="connsiteY21821"/>
              </a:cxn>
              <a:cxn ang="0">
                <a:pos x="connsiteX21822" y="connsiteY21822"/>
              </a:cxn>
              <a:cxn ang="0">
                <a:pos x="connsiteX21823" y="connsiteY21823"/>
              </a:cxn>
              <a:cxn ang="0">
                <a:pos x="connsiteX21824" y="connsiteY21824"/>
              </a:cxn>
              <a:cxn ang="0">
                <a:pos x="connsiteX21825" y="connsiteY21825"/>
              </a:cxn>
              <a:cxn ang="0">
                <a:pos x="connsiteX21826" y="connsiteY21826"/>
              </a:cxn>
              <a:cxn ang="0">
                <a:pos x="connsiteX21827" y="connsiteY21827"/>
              </a:cxn>
              <a:cxn ang="0">
                <a:pos x="connsiteX21828" y="connsiteY21828"/>
              </a:cxn>
              <a:cxn ang="0">
                <a:pos x="connsiteX21829" y="connsiteY21829"/>
              </a:cxn>
              <a:cxn ang="0">
                <a:pos x="connsiteX21830" y="connsiteY21830"/>
              </a:cxn>
              <a:cxn ang="0">
                <a:pos x="connsiteX21831" y="connsiteY21831"/>
              </a:cxn>
              <a:cxn ang="0">
                <a:pos x="connsiteX21832" y="connsiteY21832"/>
              </a:cxn>
              <a:cxn ang="0">
                <a:pos x="connsiteX21833" y="connsiteY21833"/>
              </a:cxn>
              <a:cxn ang="0">
                <a:pos x="connsiteX21834" y="connsiteY21834"/>
              </a:cxn>
              <a:cxn ang="0">
                <a:pos x="connsiteX21835" y="connsiteY21835"/>
              </a:cxn>
              <a:cxn ang="0">
                <a:pos x="connsiteX21836" y="connsiteY21836"/>
              </a:cxn>
              <a:cxn ang="0">
                <a:pos x="connsiteX21837" y="connsiteY21837"/>
              </a:cxn>
              <a:cxn ang="0">
                <a:pos x="connsiteX21838" y="connsiteY21838"/>
              </a:cxn>
              <a:cxn ang="0">
                <a:pos x="connsiteX21839" y="connsiteY21839"/>
              </a:cxn>
              <a:cxn ang="0">
                <a:pos x="connsiteX21840" y="connsiteY21840"/>
              </a:cxn>
              <a:cxn ang="0">
                <a:pos x="connsiteX21841" y="connsiteY21841"/>
              </a:cxn>
              <a:cxn ang="0">
                <a:pos x="connsiteX21842" y="connsiteY21842"/>
              </a:cxn>
              <a:cxn ang="0">
                <a:pos x="connsiteX21843" y="connsiteY21843"/>
              </a:cxn>
              <a:cxn ang="0">
                <a:pos x="connsiteX21844" y="connsiteY21844"/>
              </a:cxn>
              <a:cxn ang="0">
                <a:pos x="connsiteX21845" y="connsiteY21845"/>
              </a:cxn>
              <a:cxn ang="0">
                <a:pos x="connsiteX21846" y="connsiteY21846"/>
              </a:cxn>
              <a:cxn ang="0">
                <a:pos x="connsiteX21847" y="connsiteY21847"/>
              </a:cxn>
              <a:cxn ang="0">
                <a:pos x="connsiteX21848" y="connsiteY21848"/>
              </a:cxn>
              <a:cxn ang="0">
                <a:pos x="connsiteX21849" y="connsiteY21849"/>
              </a:cxn>
              <a:cxn ang="0">
                <a:pos x="connsiteX21850" y="connsiteY21850"/>
              </a:cxn>
              <a:cxn ang="0">
                <a:pos x="connsiteX21851" y="connsiteY21851"/>
              </a:cxn>
              <a:cxn ang="0">
                <a:pos x="connsiteX21852" y="connsiteY21852"/>
              </a:cxn>
              <a:cxn ang="0">
                <a:pos x="connsiteX21853" y="connsiteY21853"/>
              </a:cxn>
              <a:cxn ang="0">
                <a:pos x="connsiteX21854" y="connsiteY21854"/>
              </a:cxn>
              <a:cxn ang="0">
                <a:pos x="connsiteX21855" y="connsiteY21855"/>
              </a:cxn>
              <a:cxn ang="0">
                <a:pos x="connsiteX21856" y="connsiteY21856"/>
              </a:cxn>
              <a:cxn ang="0">
                <a:pos x="connsiteX21857" y="connsiteY21857"/>
              </a:cxn>
              <a:cxn ang="0">
                <a:pos x="connsiteX21858" y="connsiteY21858"/>
              </a:cxn>
              <a:cxn ang="0">
                <a:pos x="connsiteX21859" y="connsiteY21859"/>
              </a:cxn>
              <a:cxn ang="0">
                <a:pos x="connsiteX21860" y="connsiteY21860"/>
              </a:cxn>
              <a:cxn ang="0">
                <a:pos x="connsiteX21861" y="connsiteY21861"/>
              </a:cxn>
              <a:cxn ang="0">
                <a:pos x="connsiteX21862" y="connsiteY21862"/>
              </a:cxn>
              <a:cxn ang="0">
                <a:pos x="connsiteX21863" y="connsiteY21863"/>
              </a:cxn>
              <a:cxn ang="0">
                <a:pos x="connsiteX21864" y="connsiteY21864"/>
              </a:cxn>
              <a:cxn ang="0">
                <a:pos x="connsiteX21865" y="connsiteY21865"/>
              </a:cxn>
              <a:cxn ang="0">
                <a:pos x="connsiteX21866" y="connsiteY21866"/>
              </a:cxn>
              <a:cxn ang="0">
                <a:pos x="connsiteX21867" y="connsiteY21867"/>
              </a:cxn>
              <a:cxn ang="0">
                <a:pos x="connsiteX21868" y="connsiteY21868"/>
              </a:cxn>
              <a:cxn ang="0">
                <a:pos x="connsiteX21869" y="connsiteY21869"/>
              </a:cxn>
              <a:cxn ang="0">
                <a:pos x="connsiteX21870" y="connsiteY21870"/>
              </a:cxn>
              <a:cxn ang="0">
                <a:pos x="connsiteX21871" y="connsiteY21871"/>
              </a:cxn>
              <a:cxn ang="0">
                <a:pos x="connsiteX21872" y="connsiteY21872"/>
              </a:cxn>
              <a:cxn ang="0">
                <a:pos x="connsiteX21873" y="connsiteY21873"/>
              </a:cxn>
              <a:cxn ang="0">
                <a:pos x="connsiteX21874" y="connsiteY21874"/>
              </a:cxn>
              <a:cxn ang="0">
                <a:pos x="connsiteX21875" y="connsiteY21875"/>
              </a:cxn>
              <a:cxn ang="0">
                <a:pos x="connsiteX21876" y="connsiteY21876"/>
              </a:cxn>
              <a:cxn ang="0">
                <a:pos x="connsiteX21877" y="connsiteY21877"/>
              </a:cxn>
              <a:cxn ang="0">
                <a:pos x="connsiteX21878" y="connsiteY21878"/>
              </a:cxn>
              <a:cxn ang="0">
                <a:pos x="connsiteX21879" y="connsiteY21879"/>
              </a:cxn>
              <a:cxn ang="0">
                <a:pos x="connsiteX21880" y="connsiteY21880"/>
              </a:cxn>
              <a:cxn ang="0">
                <a:pos x="connsiteX21881" y="connsiteY21881"/>
              </a:cxn>
              <a:cxn ang="0">
                <a:pos x="connsiteX21882" y="connsiteY21882"/>
              </a:cxn>
              <a:cxn ang="0">
                <a:pos x="connsiteX21883" y="connsiteY21883"/>
              </a:cxn>
              <a:cxn ang="0">
                <a:pos x="connsiteX21884" y="connsiteY21884"/>
              </a:cxn>
              <a:cxn ang="0">
                <a:pos x="connsiteX21885" y="connsiteY21885"/>
              </a:cxn>
              <a:cxn ang="0">
                <a:pos x="connsiteX21886" y="connsiteY21886"/>
              </a:cxn>
              <a:cxn ang="0">
                <a:pos x="connsiteX21887" y="connsiteY21887"/>
              </a:cxn>
              <a:cxn ang="0">
                <a:pos x="connsiteX21888" y="connsiteY21888"/>
              </a:cxn>
              <a:cxn ang="0">
                <a:pos x="connsiteX21889" y="connsiteY21889"/>
              </a:cxn>
              <a:cxn ang="0">
                <a:pos x="connsiteX21890" y="connsiteY21890"/>
              </a:cxn>
              <a:cxn ang="0">
                <a:pos x="connsiteX21891" y="connsiteY21891"/>
              </a:cxn>
              <a:cxn ang="0">
                <a:pos x="connsiteX21892" y="connsiteY21892"/>
              </a:cxn>
              <a:cxn ang="0">
                <a:pos x="connsiteX21893" y="connsiteY21893"/>
              </a:cxn>
              <a:cxn ang="0">
                <a:pos x="connsiteX21894" y="connsiteY21894"/>
              </a:cxn>
              <a:cxn ang="0">
                <a:pos x="connsiteX21895" y="connsiteY21895"/>
              </a:cxn>
              <a:cxn ang="0">
                <a:pos x="connsiteX21896" y="connsiteY21896"/>
              </a:cxn>
              <a:cxn ang="0">
                <a:pos x="connsiteX21897" y="connsiteY21897"/>
              </a:cxn>
              <a:cxn ang="0">
                <a:pos x="connsiteX21898" y="connsiteY21898"/>
              </a:cxn>
              <a:cxn ang="0">
                <a:pos x="connsiteX21899" y="connsiteY21899"/>
              </a:cxn>
              <a:cxn ang="0">
                <a:pos x="connsiteX21900" y="connsiteY21900"/>
              </a:cxn>
              <a:cxn ang="0">
                <a:pos x="connsiteX21901" y="connsiteY21901"/>
              </a:cxn>
              <a:cxn ang="0">
                <a:pos x="connsiteX21902" y="connsiteY21902"/>
              </a:cxn>
              <a:cxn ang="0">
                <a:pos x="connsiteX21903" y="connsiteY21903"/>
              </a:cxn>
              <a:cxn ang="0">
                <a:pos x="connsiteX21904" y="connsiteY21904"/>
              </a:cxn>
              <a:cxn ang="0">
                <a:pos x="connsiteX21905" y="connsiteY21905"/>
              </a:cxn>
              <a:cxn ang="0">
                <a:pos x="connsiteX21906" y="connsiteY21906"/>
              </a:cxn>
              <a:cxn ang="0">
                <a:pos x="connsiteX21907" y="connsiteY21907"/>
              </a:cxn>
              <a:cxn ang="0">
                <a:pos x="connsiteX21908" y="connsiteY21908"/>
              </a:cxn>
              <a:cxn ang="0">
                <a:pos x="connsiteX21909" y="connsiteY21909"/>
              </a:cxn>
              <a:cxn ang="0">
                <a:pos x="connsiteX21910" y="connsiteY21910"/>
              </a:cxn>
              <a:cxn ang="0">
                <a:pos x="connsiteX21911" y="connsiteY21911"/>
              </a:cxn>
              <a:cxn ang="0">
                <a:pos x="connsiteX21912" y="connsiteY21912"/>
              </a:cxn>
              <a:cxn ang="0">
                <a:pos x="connsiteX21913" y="connsiteY21913"/>
              </a:cxn>
              <a:cxn ang="0">
                <a:pos x="connsiteX21914" y="connsiteY21914"/>
              </a:cxn>
              <a:cxn ang="0">
                <a:pos x="connsiteX21915" y="connsiteY21915"/>
              </a:cxn>
              <a:cxn ang="0">
                <a:pos x="connsiteX21916" y="connsiteY21916"/>
              </a:cxn>
              <a:cxn ang="0">
                <a:pos x="connsiteX21917" y="connsiteY21917"/>
              </a:cxn>
              <a:cxn ang="0">
                <a:pos x="connsiteX21918" y="connsiteY21918"/>
              </a:cxn>
              <a:cxn ang="0">
                <a:pos x="connsiteX21919" y="connsiteY21919"/>
              </a:cxn>
              <a:cxn ang="0">
                <a:pos x="connsiteX21920" y="connsiteY21920"/>
              </a:cxn>
              <a:cxn ang="0">
                <a:pos x="connsiteX21921" y="connsiteY21921"/>
              </a:cxn>
              <a:cxn ang="0">
                <a:pos x="connsiteX21922" y="connsiteY21922"/>
              </a:cxn>
              <a:cxn ang="0">
                <a:pos x="connsiteX21923" y="connsiteY21923"/>
              </a:cxn>
              <a:cxn ang="0">
                <a:pos x="connsiteX21924" y="connsiteY21924"/>
              </a:cxn>
              <a:cxn ang="0">
                <a:pos x="connsiteX21925" y="connsiteY21925"/>
              </a:cxn>
              <a:cxn ang="0">
                <a:pos x="connsiteX21926" y="connsiteY21926"/>
              </a:cxn>
              <a:cxn ang="0">
                <a:pos x="connsiteX21927" y="connsiteY21927"/>
              </a:cxn>
              <a:cxn ang="0">
                <a:pos x="connsiteX21928" y="connsiteY21928"/>
              </a:cxn>
              <a:cxn ang="0">
                <a:pos x="connsiteX21929" y="connsiteY21929"/>
              </a:cxn>
              <a:cxn ang="0">
                <a:pos x="connsiteX21930" y="connsiteY21930"/>
              </a:cxn>
              <a:cxn ang="0">
                <a:pos x="connsiteX21931" y="connsiteY21931"/>
              </a:cxn>
              <a:cxn ang="0">
                <a:pos x="connsiteX21932" y="connsiteY21932"/>
              </a:cxn>
              <a:cxn ang="0">
                <a:pos x="connsiteX21933" y="connsiteY21933"/>
              </a:cxn>
              <a:cxn ang="0">
                <a:pos x="connsiteX21934" y="connsiteY21934"/>
              </a:cxn>
              <a:cxn ang="0">
                <a:pos x="connsiteX21935" y="connsiteY21935"/>
              </a:cxn>
              <a:cxn ang="0">
                <a:pos x="connsiteX21936" y="connsiteY21936"/>
              </a:cxn>
              <a:cxn ang="0">
                <a:pos x="connsiteX21937" y="connsiteY21937"/>
              </a:cxn>
              <a:cxn ang="0">
                <a:pos x="connsiteX21938" y="connsiteY21938"/>
              </a:cxn>
              <a:cxn ang="0">
                <a:pos x="connsiteX21939" y="connsiteY21939"/>
              </a:cxn>
              <a:cxn ang="0">
                <a:pos x="connsiteX21940" y="connsiteY21940"/>
              </a:cxn>
              <a:cxn ang="0">
                <a:pos x="connsiteX21941" y="connsiteY21941"/>
              </a:cxn>
              <a:cxn ang="0">
                <a:pos x="connsiteX21942" y="connsiteY21942"/>
              </a:cxn>
              <a:cxn ang="0">
                <a:pos x="connsiteX21943" y="connsiteY21943"/>
              </a:cxn>
              <a:cxn ang="0">
                <a:pos x="connsiteX21944" y="connsiteY21944"/>
              </a:cxn>
              <a:cxn ang="0">
                <a:pos x="connsiteX21945" y="connsiteY21945"/>
              </a:cxn>
              <a:cxn ang="0">
                <a:pos x="connsiteX21946" y="connsiteY21946"/>
              </a:cxn>
              <a:cxn ang="0">
                <a:pos x="connsiteX21947" y="connsiteY21947"/>
              </a:cxn>
              <a:cxn ang="0">
                <a:pos x="connsiteX21948" y="connsiteY21948"/>
              </a:cxn>
              <a:cxn ang="0">
                <a:pos x="connsiteX21949" y="connsiteY21949"/>
              </a:cxn>
              <a:cxn ang="0">
                <a:pos x="connsiteX21950" y="connsiteY21950"/>
              </a:cxn>
              <a:cxn ang="0">
                <a:pos x="connsiteX21951" y="connsiteY21951"/>
              </a:cxn>
              <a:cxn ang="0">
                <a:pos x="connsiteX21952" y="connsiteY21952"/>
              </a:cxn>
              <a:cxn ang="0">
                <a:pos x="connsiteX21953" y="connsiteY21953"/>
              </a:cxn>
              <a:cxn ang="0">
                <a:pos x="connsiteX21954" y="connsiteY21954"/>
              </a:cxn>
              <a:cxn ang="0">
                <a:pos x="connsiteX21955" y="connsiteY21955"/>
              </a:cxn>
              <a:cxn ang="0">
                <a:pos x="connsiteX21956" y="connsiteY21956"/>
              </a:cxn>
              <a:cxn ang="0">
                <a:pos x="connsiteX21957" y="connsiteY21957"/>
              </a:cxn>
              <a:cxn ang="0">
                <a:pos x="connsiteX21958" y="connsiteY21958"/>
              </a:cxn>
              <a:cxn ang="0">
                <a:pos x="connsiteX21959" y="connsiteY21959"/>
              </a:cxn>
              <a:cxn ang="0">
                <a:pos x="connsiteX21960" y="connsiteY21960"/>
              </a:cxn>
              <a:cxn ang="0">
                <a:pos x="connsiteX21961" y="connsiteY21961"/>
              </a:cxn>
              <a:cxn ang="0">
                <a:pos x="connsiteX21962" y="connsiteY21962"/>
              </a:cxn>
              <a:cxn ang="0">
                <a:pos x="connsiteX21963" y="connsiteY21963"/>
              </a:cxn>
              <a:cxn ang="0">
                <a:pos x="connsiteX21964" y="connsiteY21964"/>
              </a:cxn>
              <a:cxn ang="0">
                <a:pos x="connsiteX21965" y="connsiteY21965"/>
              </a:cxn>
              <a:cxn ang="0">
                <a:pos x="connsiteX21966" y="connsiteY21966"/>
              </a:cxn>
              <a:cxn ang="0">
                <a:pos x="connsiteX21967" y="connsiteY21967"/>
              </a:cxn>
              <a:cxn ang="0">
                <a:pos x="connsiteX21968" y="connsiteY21968"/>
              </a:cxn>
              <a:cxn ang="0">
                <a:pos x="connsiteX21969" y="connsiteY21969"/>
              </a:cxn>
              <a:cxn ang="0">
                <a:pos x="connsiteX21970" y="connsiteY21970"/>
              </a:cxn>
              <a:cxn ang="0">
                <a:pos x="connsiteX21971" y="connsiteY21971"/>
              </a:cxn>
              <a:cxn ang="0">
                <a:pos x="connsiteX21972" y="connsiteY21972"/>
              </a:cxn>
              <a:cxn ang="0">
                <a:pos x="connsiteX21973" y="connsiteY21973"/>
              </a:cxn>
              <a:cxn ang="0">
                <a:pos x="connsiteX21974" y="connsiteY21974"/>
              </a:cxn>
              <a:cxn ang="0">
                <a:pos x="connsiteX21975" y="connsiteY21975"/>
              </a:cxn>
              <a:cxn ang="0">
                <a:pos x="connsiteX21976" y="connsiteY21976"/>
              </a:cxn>
              <a:cxn ang="0">
                <a:pos x="connsiteX21977" y="connsiteY21977"/>
              </a:cxn>
              <a:cxn ang="0">
                <a:pos x="connsiteX21978" y="connsiteY21978"/>
              </a:cxn>
              <a:cxn ang="0">
                <a:pos x="connsiteX21979" y="connsiteY21979"/>
              </a:cxn>
              <a:cxn ang="0">
                <a:pos x="connsiteX21980" y="connsiteY21980"/>
              </a:cxn>
              <a:cxn ang="0">
                <a:pos x="connsiteX21981" y="connsiteY21981"/>
              </a:cxn>
              <a:cxn ang="0">
                <a:pos x="connsiteX21982" y="connsiteY21982"/>
              </a:cxn>
              <a:cxn ang="0">
                <a:pos x="connsiteX21983" y="connsiteY21983"/>
              </a:cxn>
              <a:cxn ang="0">
                <a:pos x="connsiteX21984" y="connsiteY21984"/>
              </a:cxn>
              <a:cxn ang="0">
                <a:pos x="connsiteX21985" y="connsiteY21985"/>
              </a:cxn>
              <a:cxn ang="0">
                <a:pos x="connsiteX21986" y="connsiteY21986"/>
              </a:cxn>
              <a:cxn ang="0">
                <a:pos x="connsiteX21987" y="connsiteY21987"/>
              </a:cxn>
              <a:cxn ang="0">
                <a:pos x="connsiteX21988" y="connsiteY21988"/>
              </a:cxn>
              <a:cxn ang="0">
                <a:pos x="connsiteX21989" y="connsiteY21989"/>
              </a:cxn>
              <a:cxn ang="0">
                <a:pos x="connsiteX21990" y="connsiteY21990"/>
              </a:cxn>
              <a:cxn ang="0">
                <a:pos x="connsiteX21991" y="connsiteY21991"/>
              </a:cxn>
              <a:cxn ang="0">
                <a:pos x="connsiteX21992" y="connsiteY21992"/>
              </a:cxn>
              <a:cxn ang="0">
                <a:pos x="connsiteX21993" y="connsiteY21993"/>
              </a:cxn>
              <a:cxn ang="0">
                <a:pos x="connsiteX21994" y="connsiteY21994"/>
              </a:cxn>
              <a:cxn ang="0">
                <a:pos x="connsiteX21995" y="connsiteY21995"/>
              </a:cxn>
              <a:cxn ang="0">
                <a:pos x="connsiteX21996" y="connsiteY21996"/>
              </a:cxn>
              <a:cxn ang="0">
                <a:pos x="connsiteX21997" y="connsiteY21997"/>
              </a:cxn>
              <a:cxn ang="0">
                <a:pos x="connsiteX21998" y="connsiteY21998"/>
              </a:cxn>
              <a:cxn ang="0">
                <a:pos x="connsiteX21999" y="connsiteY21999"/>
              </a:cxn>
              <a:cxn ang="0">
                <a:pos x="connsiteX22000" y="connsiteY22000"/>
              </a:cxn>
              <a:cxn ang="0">
                <a:pos x="connsiteX22001" y="connsiteY22001"/>
              </a:cxn>
              <a:cxn ang="0">
                <a:pos x="connsiteX22002" y="connsiteY22002"/>
              </a:cxn>
              <a:cxn ang="0">
                <a:pos x="connsiteX22003" y="connsiteY22003"/>
              </a:cxn>
              <a:cxn ang="0">
                <a:pos x="connsiteX22004" y="connsiteY22004"/>
              </a:cxn>
              <a:cxn ang="0">
                <a:pos x="connsiteX22005" y="connsiteY22005"/>
              </a:cxn>
              <a:cxn ang="0">
                <a:pos x="connsiteX22006" y="connsiteY22006"/>
              </a:cxn>
              <a:cxn ang="0">
                <a:pos x="connsiteX22007" y="connsiteY22007"/>
              </a:cxn>
              <a:cxn ang="0">
                <a:pos x="connsiteX22008" y="connsiteY22008"/>
              </a:cxn>
              <a:cxn ang="0">
                <a:pos x="connsiteX22009" y="connsiteY22009"/>
              </a:cxn>
              <a:cxn ang="0">
                <a:pos x="connsiteX22010" y="connsiteY22010"/>
              </a:cxn>
              <a:cxn ang="0">
                <a:pos x="connsiteX22011" y="connsiteY22011"/>
              </a:cxn>
              <a:cxn ang="0">
                <a:pos x="connsiteX22012" y="connsiteY22012"/>
              </a:cxn>
              <a:cxn ang="0">
                <a:pos x="connsiteX22013" y="connsiteY22013"/>
              </a:cxn>
              <a:cxn ang="0">
                <a:pos x="connsiteX22014" y="connsiteY22014"/>
              </a:cxn>
              <a:cxn ang="0">
                <a:pos x="connsiteX22015" y="connsiteY22015"/>
              </a:cxn>
              <a:cxn ang="0">
                <a:pos x="connsiteX22016" y="connsiteY22016"/>
              </a:cxn>
              <a:cxn ang="0">
                <a:pos x="connsiteX22017" y="connsiteY22017"/>
              </a:cxn>
              <a:cxn ang="0">
                <a:pos x="connsiteX22018" y="connsiteY22018"/>
              </a:cxn>
              <a:cxn ang="0">
                <a:pos x="connsiteX22019" y="connsiteY22019"/>
              </a:cxn>
              <a:cxn ang="0">
                <a:pos x="connsiteX22020" y="connsiteY22020"/>
              </a:cxn>
              <a:cxn ang="0">
                <a:pos x="connsiteX22021" y="connsiteY22021"/>
              </a:cxn>
              <a:cxn ang="0">
                <a:pos x="connsiteX22022" y="connsiteY22022"/>
              </a:cxn>
              <a:cxn ang="0">
                <a:pos x="connsiteX22023" y="connsiteY22023"/>
              </a:cxn>
              <a:cxn ang="0">
                <a:pos x="connsiteX22024" y="connsiteY22024"/>
              </a:cxn>
              <a:cxn ang="0">
                <a:pos x="connsiteX22025" y="connsiteY22025"/>
              </a:cxn>
              <a:cxn ang="0">
                <a:pos x="connsiteX22026" y="connsiteY22026"/>
              </a:cxn>
              <a:cxn ang="0">
                <a:pos x="connsiteX22027" y="connsiteY22027"/>
              </a:cxn>
              <a:cxn ang="0">
                <a:pos x="connsiteX22028" y="connsiteY22028"/>
              </a:cxn>
              <a:cxn ang="0">
                <a:pos x="connsiteX22029" y="connsiteY22029"/>
              </a:cxn>
              <a:cxn ang="0">
                <a:pos x="connsiteX22030" y="connsiteY22030"/>
              </a:cxn>
              <a:cxn ang="0">
                <a:pos x="connsiteX22031" y="connsiteY22031"/>
              </a:cxn>
              <a:cxn ang="0">
                <a:pos x="connsiteX22032" y="connsiteY22032"/>
              </a:cxn>
              <a:cxn ang="0">
                <a:pos x="connsiteX22033" y="connsiteY22033"/>
              </a:cxn>
              <a:cxn ang="0">
                <a:pos x="connsiteX22034" y="connsiteY22034"/>
              </a:cxn>
              <a:cxn ang="0">
                <a:pos x="connsiteX22035" y="connsiteY22035"/>
              </a:cxn>
              <a:cxn ang="0">
                <a:pos x="connsiteX22036" y="connsiteY22036"/>
              </a:cxn>
              <a:cxn ang="0">
                <a:pos x="connsiteX22037" y="connsiteY22037"/>
              </a:cxn>
              <a:cxn ang="0">
                <a:pos x="connsiteX22038" y="connsiteY22038"/>
              </a:cxn>
              <a:cxn ang="0">
                <a:pos x="connsiteX22039" y="connsiteY22039"/>
              </a:cxn>
              <a:cxn ang="0">
                <a:pos x="connsiteX22040" y="connsiteY22040"/>
              </a:cxn>
              <a:cxn ang="0">
                <a:pos x="connsiteX22041" y="connsiteY22041"/>
              </a:cxn>
              <a:cxn ang="0">
                <a:pos x="connsiteX22042" y="connsiteY22042"/>
              </a:cxn>
              <a:cxn ang="0">
                <a:pos x="connsiteX22043" y="connsiteY22043"/>
              </a:cxn>
              <a:cxn ang="0">
                <a:pos x="connsiteX22044" y="connsiteY22044"/>
              </a:cxn>
              <a:cxn ang="0">
                <a:pos x="connsiteX22045" y="connsiteY22045"/>
              </a:cxn>
              <a:cxn ang="0">
                <a:pos x="connsiteX22046" y="connsiteY22046"/>
              </a:cxn>
              <a:cxn ang="0">
                <a:pos x="connsiteX22047" y="connsiteY22047"/>
              </a:cxn>
              <a:cxn ang="0">
                <a:pos x="connsiteX22048" y="connsiteY22048"/>
              </a:cxn>
              <a:cxn ang="0">
                <a:pos x="connsiteX22049" y="connsiteY22049"/>
              </a:cxn>
              <a:cxn ang="0">
                <a:pos x="connsiteX22050" y="connsiteY22050"/>
              </a:cxn>
              <a:cxn ang="0">
                <a:pos x="connsiteX22051" y="connsiteY22051"/>
              </a:cxn>
              <a:cxn ang="0">
                <a:pos x="connsiteX22052" y="connsiteY22052"/>
              </a:cxn>
              <a:cxn ang="0">
                <a:pos x="connsiteX22053" y="connsiteY22053"/>
              </a:cxn>
              <a:cxn ang="0">
                <a:pos x="connsiteX22054" y="connsiteY22054"/>
              </a:cxn>
              <a:cxn ang="0">
                <a:pos x="connsiteX22055" y="connsiteY22055"/>
              </a:cxn>
              <a:cxn ang="0">
                <a:pos x="connsiteX22056" y="connsiteY22056"/>
              </a:cxn>
              <a:cxn ang="0">
                <a:pos x="connsiteX22057" y="connsiteY22057"/>
              </a:cxn>
              <a:cxn ang="0">
                <a:pos x="connsiteX22058" y="connsiteY22058"/>
              </a:cxn>
              <a:cxn ang="0">
                <a:pos x="connsiteX22059" y="connsiteY22059"/>
              </a:cxn>
              <a:cxn ang="0">
                <a:pos x="connsiteX22060" y="connsiteY22060"/>
              </a:cxn>
              <a:cxn ang="0">
                <a:pos x="connsiteX22061" y="connsiteY22061"/>
              </a:cxn>
              <a:cxn ang="0">
                <a:pos x="connsiteX22062" y="connsiteY22062"/>
              </a:cxn>
              <a:cxn ang="0">
                <a:pos x="connsiteX22063" y="connsiteY22063"/>
              </a:cxn>
              <a:cxn ang="0">
                <a:pos x="connsiteX22064" y="connsiteY22064"/>
              </a:cxn>
              <a:cxn ang="0">
                <a:pos x="connsiteX22065" y="connsiteY22065"/>
              </a:cxn>
              <a:cxn ang="0">
                <a:pos x="connsiteX22066" y="connsiteY22066"/>
              </a:cxn>
              <a:cxn ang="0">
                <a:pos x="connsiteX22067" y="connsiteY22067"/>
              </a:cxn>
              <a:cxn ang="0">
                <a:pos x="connsiteX22068" y="connsiteY22068"/>
              </a:cxn>
              <a:cxn ang="0">
                <a:pos x="connsiteX22069" y="connsiteY22069"/>
              </a:cxn>
              <a:cxn ang="0">
                <a:pos x="connsiteX22070" y="connsiteY22070"/>
              </a:cxn>
              <a:cxn ang="0">
                <a:pos x="connsiteX22071" y="connsiteY22071"/>
              </a:cxn>
              <a:cxn ang="0">
                <a:pos x="connsiteX22072" y="connsiteY22072"/>
              </a:cxn>
              <a:cxn ang="0">
                <a:pos x="connsiteX22073" y="connsiteY22073"/>
              </a:cxn>
              <a:cxn ang="0">
                <a:pos x="connsiteX22074" y="connsiteY22074"/>
              </a:cxn>
              <a:cxn ang="0">
                <a:pos x="connsiteX22075" y="connsiteY22075"/>
              </a:cxn>
              <a:cxn ang="0">
                <a:pos x="connsiteX22076" y="connsiteY22076"/>
              </a:cxn>
              <a:cxn ang="0">
                <a:pos x="connsiteX22077" y="connsiteY22077"/>
              </a:cxn>
              <a:cxn ang="0">
                <a:pos x="connsiteX22078" y="connsiteY22078"/>
              </a:cxn>
              <a:cxn ang="0">
                <a:pos x="connsiteX22079" y="connsiteY22079"/>
              </a:cxn>
              <a:cxn ang="0">
                <a:pos x="connsiteX22080" y="connsiteY22080"/>
              </a:cxn>
              <a:cxn ang="0">
                <a:pos x="connsiteX22081" y="connsiteY22081"/>
              </a:cxn>
              <a:cxn ang="0">
                <a:pos x="connsiteX22082" y="connsiteY22082"/>
              </a:cxn>
              <a:cxn ang="0">
                <a:pos x="connsiteX22083" y="connsiteY22083"/>
              </a:cxn>
              <a:cxn ang="0">
                <a:pos x="connsiteX22084" y="connsiteY22084"/>
              </a:cxn>
              <a:cxn ang="0">
                <a:pos x="connsiteX22085" y="connsiteY22085"/>
              </a:cxn>
              <a:cxn ang="0">
                <a:pos x="connsiteX22086" y="connsiteY22086"/>
              </a:cxn>
              <a:cxn ang="0">
                <a:pos x="connsiteX22087" y="connsiteY22087"/>
              </a:cxn>
              <a:cxn ang="0">
                <a:pos x="connsiteX22088" y="connsiteY22088"/>
              </a:cxn>
              <a:cxn ang="0">
                <a:pos x="connsiteX22089" y="connsiteY22089"/>
              </a:cxn>
              <a:cxn ang="0">
                <a:pos x="connsiteX22090" y="connsiteY22090"/>
              </a:cxn>
              <a:cxn ang="0">
                <a:pos x="connsiteX22091" y="connsiteY22091"/>
              </a:cxn>
              <a:cxn ang="0">
                <a:pos x="connsiteX22092" y="connsiteY22092"/>
              </a:cxn>
              <a:cxn ang="0">
                <a:pos x="connsiteX22093" y="connsiteY22093"/>
              </a:cxn>
              <a:cxn ang="0">
                <a:pos x="connsiteX22094" y="connsiteY22094"/>
              </a:cxn>
              <a:cxn ang="0">
                <a:pos x="connsiteX22095" y="connsiteY22095"/>
              </a:cxn>
              <a:cxn ang="0">
                <a:pos x="connsiteX22096" y="connsiteY22096"/>
              </a:cxn>
              <a:cxn ang="0">
                <a:pos x="connsiteX22097" y="connsiteY22097"/>
              </a:cxn>
              <a:cxn ang="0">
                <a:pos x="connsiteX22098" y="connsiteY22098"/>
              </a:cxn>
              <a:cxn ang="0">
                <a:pos x="connsiteX22099" y="connsiteY22099"/>
              </a:cxn>
              <a:cxn ang="0">
                <a:pos x="connsiteX22100" y="connsiteY22100"/>
              </a:cxn>
              <a:cxn ang="0">
                <a:pos x="connsiteX22101" y="connsiteY22101"/>
              </a:cxn>
              <a:cxn ang="0">
                <a:pos x="connsiteX22102" y="connsiteY22102"/>
              </a:cxn>
              <a:cxn ang="0">
                <a:pos x="connsiteX22103" y="connsiteY22103"/>
              </a:cxn>
              <a:cxn ang="0">
                <a:pos x="connsiteX22104" y="connsiteY22104"/>
              </a:cxn>
              <a:cxn ang="0">
                <a:pos x="connsiteX22105" y="connsiteY22105"/>
              </a:cxn>
              <a:cxn ang="0">
                <a:pos x="connsiteX22106" y="connsiteY22106"/>
              </a:cxn>
              <a:cxn ang="0">
                <a:pos x="connsiteX22107" y="connsiteY22107"/>
              </a:cxn>
              <a:cxn ang="0">
                <a:pos x="connsiteX22108" y="connsiteY22108"/>
              </a:cxn>
              <a:cxn ang="0">
                <a:pos x="connsiteX22109" y="connsiteY22109"/>
              </a:cxn>
              <a:cxn ang="0">
                <a:pos x="connsiteX22110" y="connsiteY22110"/>
              </a:cxn>
              <a:cxn ang="0">
                <a:pos x="connsiteX22111" y="connsiteY22111"/>
              </a:cxn>
              <a:cxn ang="0">
                <a:pos x="connsiteX22112" y="connsiteY22112"/>
              </a:cxn>
              <a:cxn ang="0">
                <a:pos x="connsiteX22113" y="connsiteY22113"/>
              </a:cxn>
              <a:cxn ang="0">
                <a:pos x="connsiteX22114" y="connsiteY22114"/>
              </a:cxn>
              <a:cxn ang="0">
                <a:pos x="connsiteX22115" y="connsiteY22115"/>
              </a:cxn>
              <a:cxn ang="0">
                <a:pos x="connsiteX22116" y="connsiteY22116"/>
              </a:cxn>
              <a:cxn ang="0">
                <a:pos x="connsiteX22117" y="connsiteY22117"/>
              </a:cxn>
              <a:cxn ang="0">
                <a:pos x="connsiteX22118" y="connsiteY22118"/>
              </a:cxn>
              <a:cxn ang="0">
                <a:pos x="connsiteX22119" y="connsiteY22119"/>
              </a:cxn>
              <a:cxn ang="0">
                <a:pos x="connsiteX22120" y="connsiteY22120"/>
              </a:cxn>
              <a:cxn ang="0">
                <a:pos x="connsiteX22121" y="connsiteY22121"/>
              </a:cxn>
              <a:cxn ang="0">
                <a:pos x="connsiteX22122" y="connsiteY22122"/>
              </a:cxn>
              <a:cxn ang="0">
                <a:pos x="connsiteX22123" y="connsiteY22123"/>
              </a:cxn>
              <a:cxn ang="0">
                <a:pos x="connsiteX22124" y="connsiteY22124"/>
              </a:cxn>
              <a:cxn ang="0">
                <a:pos x="connsiteX22125" y="connsiteY22125"/>
              </a:cxn>
              <a:cxn ang="0">
                <a:pos x="connsiteX22126" y="connsiteY22126"/>
              </a:cxn>
              <a:cxn ang="0">
                <a:pos x="connsiteX22127" y="connsiteY22127"/>
              </a:cxn>
              <a:cxn ang="0">
                <a:pos x="connsiteX22128" y="connsiteY22128"/>
              </a:cxn>
              <a:cxn ang="0">
                <a:pos x="connsiteX22129" y="connsiteY22129"/>
              </a:cxn>
              <a:cxn ang="0">
                <a:pos x="connsiteX22130" y="connsiteY22130"/>
              </a:cxn>
              <a:cxn ang="0">
                <a:pos x="connsiteX22131" y="connsiteY22131"/>
              </a:cxn>
              <a:cxn ang="0">
                <a:pos x="connsiteX22132" y="connsiteY22132"/>
              </a:cxn>
              <a:cxn ang="0">
                <a:pos x="connsiteX22133" y="connsiteY22133"/>
              </a:cxn>
              <a:cxn ang="0">
                <a:pos x="connsiteX22134" y="connsiteY22134"/>
              </a:cxn>
              <a:cxn ang="0">
                <a:pos x="connsiteX22135" y="connsiteY22135"/>
              </a:cxn>
              <a:cxn ang="0">
                <a:pos x="connsiteX22136" y="connsiteY22136"/>
              </a:cxn>
              <a:cxn ang="0">
                <a:pos x="connsiteX22137" y="connsiteY22137"/>
              </a:cxn>
              <a:cxn ang="0">
                <a:pos x="connsiteX22138" y="connsiteY22138"/>
              </a:cxn>
              <a:cxn ang="0">
                <a:pos x="connsiteX22139" y="connsiteY22139"/>
              </a:cxn>
              <a:cxn ang="0">
                <a:pos x="connsiteX22140" y="connsiteY22140"/>
              </a:cxn>
              <a:cxn ang="0">
                <a:pos x="connsiteX22141" y="connsiteY22141"/>
              </a:cxn>
              <a:cxn ang="0">
                <a:pos x="connsiteX22142" y="connsiteY22142"/>
              </a:cxn>
              <a:cxn ang="0">
                <a:pos x="connsiteX22143" y="connsiteY22143"/>
              </a:cxn>
              <a:cxn ang="0">
                <a:pos x="connsiteX22144" y="connsiteY22144"/>
              </a:cxn>
              <a:cxn ang="0">
                <a:pos x="connsiteX22145" y="connsiteY22145"/>
              </a:cxn>
              <a:cxn ang="0">
                <a:pos x="connsiteX22146" y="connsiteY22146"/>
              </a:cxn>
              <a:cxn ang="0">
                <a:pos x="connsiteX22147" y="connsiteY22147"/>
              </a:cxn>
              <a:cxn ang="0">
                <a:pos x="connsiteX22148" y="connsiteY22148"/>
              </a:cxn>
              <a:cxn ang="0">
                <a:pos x="connsiteX22149" y="connsiteY22149"/>
              </a:cxn>
              <a:cxn ang="0">
                <a:pos x="connsiteX22150" y="connsiteY22150"/>
              </a:cxn>
              <a:cxn ang="0">
                <a:pos x="connsiteX22151" y="connsiteY22151"/>
              </a:cxn>
              <a:cxn ang="0">
                <a:pos x="connsiteX22152" y="connsiteY22152"/>
              </a:cxn>
              <a:cxn ang="0">
                <a:pos x="connsiteX22153" y="connsiteY22153"/>
              </a:cxn>
              <a:cxn ang="0">
                <a:pos x="connsiteX22154" y="connsiteY22154"/>
              </a:cxn>
              <a:cxn ang="0">
                <a:pos x="connsiteX22155" y="connsiteY22155"/>
              </a:cxn>
              <a:cxn ang="0">
                <a:pos x="connsiteX22156" y="connsiteY22156"/>
              </a:cxn>
              <a:cxn ang="0">
                <a:pos x="connsiteX22157" y="connsiteY22157"/>
              </a:cxn>
              <a:cxn ang="0">
                <a:pos x="connsiteX22158" y="connsiteY22158"/>
              </a:cxn>
              <a:cxn ang="0">
                <a:pos x="connsiteX22159" y="connsiteY22159"/>
              </a:cxn>
              <a:cxn ang="0">
                <a:pos x="connsiteX22160" y="connsiteY22160"/>
              </a:cxn>
              <a:cxn ang="0">
                <a:pos x="connsiteX22161" y="connsiteY22161"/>
              </a:cxn>
              <a:cxn ang="0">
                <a:pos x="connsiteX22162" y="connsiteY22162"/>
              </a:cxn>
              <a:cxn ang="0">
                <a:pos x="connsiteX22163" y="connsiteY22163"/>
              </a:cxn>
              <a:cxn ang="0">
                <a:pos x="connsiteX22164" y="connsiteY22164"/>
              </a:cxn>
              <a:cxn ang="0">
                <a:pos x="connsiteX22165" y="connsiteY22165"/>
              </a:cxn>
              <a:cxn ang="0">
                <a:pos x="connsiteX22166" y="connsiteY22166"/>
              </a:cxn>
              <a:cxn ang="0">
                <a:pos x="connsiteX22167" y="connsiteY22167"/>
              </a:cxn>
              <a:cxn ang="0">
                <a:pos x="connsiteX22168" y="connsiteY22168"/>
              </a:cxn>
              <a:cxn ang="0">
                <a:pos x="connsiteX22169" y="connsiteY22169"/>
              </a:cxn>
              <a:cxn ang="0">
                <a:pos x="connsiteX22170" y="connsiteY22170"/>
              </a:cxn>
              <a:cxn ang="0">
                <a:pos x="connsiteX22171" y="connsiteY22171"/>
              </a:cxn>
              <a:cxn ang="0">
                <a:pos x="connsiteX22172" y="connsiteY22172"/>
              </a:cxn>
              <a:cxn ang="0">
                <a:pos x="connsiteX22173" y="connsiteY22173"/>
              </a:cxn>
              <a:cxn ang="0">
                <a:pos x="connsiteX22174" y="connsiteY22174"/>
              </a:cxn>
              <a:cxn ang="0">
                <a:pos x="connsiteX22175" y="connsiteY22175"/>
              </a:cxn>
              <a:cxn ang="0">
                <a:pos x="connsiteX22176" y="connsiteY22176"/>
              </a:cxn>
              <a:cxn ang="0">
                <a:pos x="connsiteX22177" y="connsiteY22177"/>
              </a:cxn>
              <a:cxn ang="0">
                <a:pos x="connsiteX22178" y="connsiteY22178"/>
              </a:cxn>
              <a:cxn ang="0">
                <a:pos x="connsiteX22179" y="connsiteY22179"/>
              </a:cxn>
              <a:cxn ang="0">
                <a:pos x="connsiteX22180" y="connsiteY22180"/>
              </a:cxn>
              <a:cxn ang="0">
                <a:pos x="connsiteX22181" y="connsiteY22181"/>
              </a:cxn>
              <a:cxn ang="0">
                <a:pos x="connsiteX22182" y="connsiteY22182"/>
              </a:cxn>
              <a:cxn ang="0">
                <a:pos x="connsiteX22183" y="connsiteY22183"/>
              </a:cxn>
              <a:cxn ang="0">
                <a:pos x="connsiteX22184" y="connsiteY22184"/>
              </a:cxn>
              <a:cxn ang="0">
                <a:pos x="connsiteX22185" y="connsiteY22185"/>
              </a:cxn>
              <a:cxn ang="0">
                <a:pos x="connsiteX22186" y="connsiteY22186"/>
              </a:cxn>
              <a:cxn ang="0">
                <a:pos x="connsiteX22187" y="connsiteY22187"/>
              </a:cxn>
              <a:cxn ang="0">
                <a:pos x="connsiteX22188" y="connsiteY22188"/>
              </a:cxn>
              <a:cxn ang="0">
                <a:pos x="connsiteX22189" y="connsiteY22189"/>
              </a:cxn>
              <a:cxn ang="0">
                <a:pos x="connsiteX22190" y="connsiteY22190"/>
              </a:cxn>
              <a:cxn ang="0">
                <a:pos x="connsiteX22191" y="connsiteY22191"/>
              </a:cxn>
              <a:cxn ang="0">
                <a:pos x="connsiteX22192" y="connsiteY22192"/>
              </a:cxn>
              <a:cxn ang="0">
                <a:pos x="connsiteX22193" y="connsiteY22193"/>
              </a:cxn>
              <a:cxn ang="0">
                <a:pos x="connsiteX22194" y="connsiteY22194"/>
              </a:cxn>
              <a:cxn ang="0">
                <a:pos x="connsiteX22195" y="connsiteY22195"/>
              </a:cxn>
              <a:cxn ang="0">
                <a:pos x="connsiteX22196" y="connsiteY22196"/>
              </a:cxn>
              <a:cxn ang="0">
                <a:pos x="connsiteX22197" y="connsiteY22197"/>
              </a:cxn>
              <a:cxn ang="0">
                <a:pos x="connsiteX22198" y="connsiteY22198"/>
              </a:cxn>
              <a:cxn ang="0">
                <a:pos x="connsiteX22199" y="connsiteY22199"/>
              </a:cxn>
              <a:cxn ang="0">
                <a:pos x="connsiteX22200" y="connsiteY22200"/>
              </a:cxn>
              <a:cxn ang="0">
                <a:pos x="connsiteX22201" y="connsiteY22201"/>
              </a:cxn>
              <a:cxn ang="0">
                <a:pos x="connsiteX22202" y="connsiteY22202"/>
              </a:cxn>
              <a:cxn ang="0">
                <a:pos x="connsiteX22203" y="connsiteY22203"/>
              </a:cxn>
              <a:cxn ang="0">
                <a:pos x="connsiteX22204" y="connsiteY22204"/>
              </a:cxn>
              <a:cxn ang="0">
                <a:pos x="connsiteX22205" y="connsiteY22205"/>
              </a:cxn>
              <a:cxn ang="0">
                <a:pos x="connsiteX22206" y="connsiteY22206"/>
              </a:cxn>
              <a:cxn ang="0">
                <a:pos x="connsiteX22207" y="connsiteY22207"/>
              </a:cxn>
              <a:cxn ang="0">
                <a:pos x="connsiteX22208" y="connsiteY22208"/>
              </a:cxn>
              <a:cxn ang="0">
                <a:pos x="connsiteX22209" y="connsiteY22209"/>
              </a:cxn>
              <a:cxn ang="0">
                <a:pos x="connsiteX22210" y="connsiteY22210"/>
              </a:cxn>
              <a:cxn ang="0">
                <a:pos x="connsiteX22211" y="connsiteY22211"/>
              </a:cxn>
              <a:cxn ang="0">
                <a:pos x="connsiteX22212" y="connsiteY22212"/>
              </a:cxn>
              <a:cxn ang="0">
                <a:pos x="connsiteX22213" y="connsiteY22213"/>
              </a:cxn>
              <a:cxn ang="0">
                <a:pos x="connsiteX22214" y="connsiteY22214"/>
              </a:cxn>
              <a:cxn ang="0">
                <a:pos x="connsiteX22215" y="connsiteY22215"/>
              </a:cxn>
              <a:cxn ang="0">
                <a:pos x="connsiteX22216" y="connsiteY22216"/>
              </a:cxn>
              <a:cxn ang="0">
                <a:pos x="connsiteX22217" y="connsiteY22217"/>
              </a:cxn>
              <a:cxn ang="0">
                <a:pos x="connsiteX22218" y="connsiteY22218"/>
              </a:cxn>
              <a:cxn ang="0">
                <a:pos x="connsiteX22219" y="connsiteY22219"/>
              </a:cxn>
              <a:cxn ang="0">
                <a:pos x="connsiteX22220" y="connsiteY22220"/>
              </a:cxn>
              <a:cxn ang="0">
                <a:pos x="connsiteX22221" y="connsiteY22221"/>
              </a:cxn>
              <a:cxn ang="0">
                <a:pos x="connsiteX22222" y="connsiteY22222"/>
              </a:cxn>
              <a:cxn ang="0">
                <a:pos x="connsiteX22223" y="connsiteY22223"/>
              </a:cxn>
              <a:cxn ang="0">
                <a:pos x="connsiteX22224" y="connsiteY22224"/>
              </a:cxn>
              <a:cxn ang="0">
                <a:pos x="connsiteX22225" y="connsiteY22225"/>
              </a:cxn>
              <a:cxn ang="0">
                <a:pos x="connsiteX22226" y="connsiteY22226"/>
              </a:cxn>
              <a:cxn ang="0">
                <a:pos x="connsiteX22227" y="connsiteY22227"/>
              </a:cxn>
              <a:cxn ang="0">
                <a:pos x="connsiteX22228" y="connsiteY22228"/>
              </a:cxn>
              <a:cxn ang="0">
                <a:pos x="connsiteX22229" y="connsiteY22229"/>
              </a:cxn>
              <a:cxn ang="0">
                <a:pos x="connsiteX22230" y="connsiteY22230"/>
              </a:cxn>
              <a:cxn ang="0">
                <a:pos x="connsiteX22231" y="connsiteY22231"/>
              </a:cxn>
              <a:cxn ang="0">
                <a:pos x="connsiteX22232" y="connsiteY22232"/>
              </a:cxn>
              <a:cxn ang="0">
                <a:pos x="connsiteX22233" y="connsiteY22233"/>
              </a:cxn>
              <a:cxn ang="0">
                <a:pos x="connsiteX22234" y="connsiteY22234"/>
              </a:cxn>
              <a:cxn ang="0">
                <a:pos x="connsiteX22235" y="connsiteY22235"/>
              </a:cxn>
              <a:cxn ang="0">
                <a:pos x="connsiteX22236" y="connsiteY22236"/>
              </a:cxn>
              <a:cxn ang="0">
                <a:pos x="connsiteX22237" y="connsiteY22237"/>
              </a:cxn>
              <a:cxn ang="0">
                <a:pos x="connsiteX22238" y="connsiteY22238"/>
              </a:cxn>
              <a:cxn ang="0">
                <a:pos x="connsiteX22239" y="connsiteY22239"/>
              </a:cxn>
              <a:cxn ang="0">
                <a:pos x="connsiteX22240" y="connsiteY22240"/>
              </a:cxn>
              <a:cxn ang="0">
                <a:pos x="connsiteX22241" y="connsiteY22241"/>
              </a:cxn>
              <a:cxn ang="0">
                <a:pos x="connsiteX22242" y="connsiteY22242"/>
              </a:cxn>
              <a:cxn ang="0">
                <a:pos x="connsiteX22243" y="connsiteY22243"/>
              </a:cxn>
              <a:cxn ang="0">
                <a:pos x="connsiteX22244" y="connsiteY22244"/>
              </a:cxn>
              <a:cxn ang="0">
                <a:pos x="connsiteX22245" y="connsiteY22245"/>
              </a:cxn>
              <a:cxn ang="0">
                <a:pos x="connsiteX22246" y="connsiteY22246"/>
              </a:cxn>
              <a:cxn ang="0">
                <a:pos x="connsiteX22247" y="connsiteY22247"/>
              </a:cxn>
              <a:cxn ang="0">
                <a:pos x="connsiteX22248" y="connsiteY22248"/>
              </a:cxn>
              <a:cxn ang="0">
                <a:pos x="connsiteX22249" y="connsiteY22249"/>
              </a:cxn>
              <a:cxn ang="0">
                <a:pos x="connsiteX22250" y="connsiteY22250"/>
              </a:cxn>
              <a:cxn ang="0">
                <a:pos x="connsiteX22251" y="connsiteY22251"/>
              </a:cxn>
              <a:cxn ang="0">
                <a:pos x="connsiteX22252" y="connsiteY22252"/>
              </a:cxn>
              <a:cxn ang="0">
                <a:pos x="connsiteX22253" y="connsiteY22253"/>
              </a:cxn>
              <a:cxn ang="0">
                <a:pos x="connsiteX22254" y="connsiteY22254"/>
              </a:cxn>
              <a:cxn ang="0">
                <a:pos x="connsiteX22255" y="connsiteY22255"/>
              </a:cxn>
              <a:cxn ang="0">
                <a:pos x="connsiteX22256" y="connsiteY22256"/>
              </a:cxn>
              <a:cxn ang="0">
                <a:pos x="connsiteX22257" y="connsiteY22257"/>
              </a:cxn>
              <a:cxn ang="0">
                <a:pos x="connsiteX22258" y="connsiteY22258"/>
              </a:cxn>
              <a:cxn ang="0">
                <a:pos x="connsiteX22259" y="connsiteY22259"/>
              </a:cxn>
              <a:cxn ang="0">
                <a:pos x="connsiteX22260" y="connsiteY22260"/>
              </a:cxn>
              <a:cxn ang="0">
                <a:pos x="connsiteX22261" y="connsiteY22261"/>
              </a:cxn>
              <a:cxn ang="0">
                <a:pos x="connsiteX22262" y="connsiteY22262"/>
              </a:cxn>
              <a:cxn ang="0">
                <a:pos x="connsiteX22263" y="connsiteY22263"/>
              </a:cxn>
              <a:cxn ang="0">
                <a:pos x="connsiteX22264" y="connsiteY22264"/>
              </a:cxn>
              <a:cxn ang="0">
                <a:pos x="connsiteX22265" y="connsiteY22265"/>
              </a:cxn>
              <a:cxn ang="0">
                <a:pos x="connsiteX22266" y="connsiteY22266"/>
              </a:cxn>
              <a:cxn ang="0">
                <a:pos x="connsiteX22267" y="connsiteY22267"/>
              </a:cxn>
              <a:cxn ang="0">
                <a:pos x="connsiteX22268" y="connsiteY22268"/>
              </a:cxn>
              <a:cxn ang="0">
                <a:pos x="connsiteX22269" y="connsiteY22269"/>
              </a:cxn>
              <a:cxn ang="0">
                <a:pos x="connsiteX22270" y="connsiteY22270"/>
              </a:cxn>
              <a:cxn ang="0">
                <a:pos x="connsiteX22271" y="connsiteY22271"/>
              </a:cxn>
              <a:cxn ang="0">
                <a:pos x="connsiteX22272" y="connsiteY22272"/>
              </a:cxn>
              <a:cxn ang="0">
                <a:pos x="connsiteX22273" y="connsiteY22273"/>
              </a:cxn>
              <a:cxn ang="0">
                <a:pos x="connsiteX22274" y="connsiteY22274"/>
              </a:cxn>
              <a:cxn ang="0">
                <a:pos x="connsiteX22275" y="connsiteY22275"/>
              </a:cxn>
              <a:cxn ang="0">
                <a:pos x="connsiteX22276" y="connsiteY22276"/>
              </a:cxn>
              <a:cxn ang="0">
                <a:pos x="connsiteX22277" y="connsiteY22277"/>
              </a:cxn>
              <a:cxn ang="0">
                <a:pos x="connsiteX22278" y="connsiteY22278"/>
              </a:cxn>
              <a:cxn ang="0">
                <a:pos x="connsiteX22279" y="connsiteY22279"/>
              </a:cxn>
              <a:cxn ang="0">
                <a:pos x="connsiteX22280" y="connsiteY22280"/>
              </a:cxn>
              <a:cxn ang="0">
                <a:pos x="connsiteX22281" y="connsiteY22281"/>
              </a:cxn>
              <a:cxn ang="0">
                <a:pos x="connsiteX22282" y="connsiteY22282"/>
              </a:cxn>
              <a:cxn ang="0">
                <a:pos x="connsiteX22283" y="connsiteY22283"/>
              </a:cxn>
              <a:cxn ang="0">
                <a:pos x="connsiteX22284" y="connsiteY22284"/>
              </a:cxn>
              <a:cxn ang="0">
                <a:pos x="connsiteX22285" y="connsiteY22285"/>
              </a:cxn>
              <a:cxn ang="0">
                <a:pos x="connsiteX22286" y="connsiteY22286"/>
              </a:cxn>
              <a:cxn ang="0">
                <a:pos x="connsiteX22287" y="connsiteY22287"/>
              </a:cxn>
              <a:cxn ang="0">
                <a:pos x="connsiteX22288" y="connsiteY22288"/>
              </a:cxn>
              <a:cxn ang="0">
                <a:pos x="connsiteX22289" y="connsiteY22289"/>
              </a:cxn>
              <a:cxn ang="0">
                <a:pos x="connsiteX22290" y="connsiteY22290"/>
              </a:cxn>
              <a:cxn ang="0">
                <a:pos x="connsiteX22291" y="connsiteY22291"/>
              </a:cxn>
              <a:cxn ang="0">
                <a:pos x="connsiteX22292" y="connsiteY22292"/>
              </a:cxn>
              <a:cxn ang="0">
                <a:pos x="connsiteX22293" y="connsiteY22293"/>
              </a:cxn>
              <a:cxn ang="0">
                <a:pos x="connsiteX22294" y="connsiteY22294"/>
              </a:cxn>
              <a:cxn ang="0">
                <a:pos x="connsiteX22295" y="connsiteY22295"/>
              </a:cxn>
              <a:cxn ang="0">
                <a:pos x="connsiteX22296" y="connsiteY22296"/>
              </a:cxn>
              <a:cxn ang="0">
                <a:pos x="connsiteX22297" y="connsiteY22297"/>
              </a:cxn>
              <a:cxn ang="0">
                <a:pos x="connsiteX22298" y="connsiteY22298"/>
              </a:cxn>
              <a:cxn ang="0">
                <a:pos x="connsiteX22299" y="connsiteY22299"/>
              </a:cxn>
              <a:cxn ang="0">
                <a:pos x="connsiteX22300" y="connsiteY22300"/>
              </a:cxn>
              <a:cxn ang="0">
                <a:pos x="connsiteX22301" y="connsiteY22301"/>
              </a:cxn>
              <a:cxn ang="0">
                <a:pos x="connsiteX22302" y="connsiteY22302"/>
              </a:cxn>
              <a:cxn ang="0">
                <a:pos x="connsiteX22303" y="connsiteY22303"/>
              </a:cxn>
              <a:cxn ang="0">
                <a:pos x="connsiteX22304" y="connsiteY22304"/>
              </a:cxn>
              <a:cxn ang="0">
                <a:pos x="connsiteX22305" y="connsiteY22305"/>
              </a:cxn>
              <a:cxn ang="0">
                <a:pos x="connsiteX22306" y="connsiteY22306"/>
              </a:cxn>
              <a:cxn ang="0">
                <a:pos x="connsiteX22307" y="connsiteY22307"/>
              </a:cxn>
              <a:cxn ang="0">
                <a:pos x="connsiteX22308" y="connsiteY22308"/>
              </a:cxn>
              <a:cxn ang="0">
                <a:pos x="connsiteX22309" y="connsiteY22309"/>
              </a:cxn>
              <a:cxn ang="0">
                <a:pos x="connsiteX22310" y="connsiteY22310"/>
              </a:cxn>
              <a:cxn ang="0">
                <a:pos x="connsiteX22311" y="connsiteY22311"/>
              </a:cxn>
              <a:cxn ang="0">
                <a:pos x="connsiteX22312" y="connsiteY22312"/>
              </a:cxn>
              <a:cxn ang="0">
                <a:pos x="connsiteX22313" y="connsiteY22313"/>
              </a:cxn>
              <a:cxn ang="0">
                <a:pos x="connsiteX22314" y="connsiteY22314"/>
              </a:cxn>
              <a:cxn ang="0">
                <a:pos x="connsiteX22315" y="connsiteY22315"/>
              </a:cxn>
              <a:cxn ang="0">
                <a:pos x="connsiteX22316" y="connsiteY22316"/>
              </a:cxn>
              <a:cxn ang="0">
                <a:pos x="connsiteX22317" y="connsiteY22317"/>
              </a:cxn>
              <a:cxn ang="0">
                <a:pos x="connsiteX22318" y="connsiteY22318"/>
              </a:cxn>
              <a:cxn ang="0">
                <a:pos x="connsiteX22319" y="connsiteY22319"/>
              </a:cxn>
              <a:cxn ang="0">
                <a:pos x="connsiteX22320" y="connsiteY22320"/>
              </a:cxn>
              <a:cxn ang="0">
                <a:pos x="connsiteX22321" y="connsiteY22321"/>
              </a:cxn>
              <a:cxn ang="0">
                <a:pos x="connsiteX22322" y="connsiteY22322"/>
              </a:cxn>
              <a:cxn ang="0">
                <a:pos x="connsiteX22323" y="connsiteY22323"/>
              </a:cxn>
              <a:cxn ang="0">
                <a:pos x="connsiteX22324" y="connsiteY22324"/>
              </a:cxn>
              <a:cxn ang="0">
                <a:pos x="connsiteX22325" y="connsiteY22325"/>
              </a:cxn>
              <a:cxn ang="0">
                <a:pos x="connsiteX22326" y="connsiteY22326"/>
              </a:cxn>
              <a:cxn ang="0">
                <a:pos x="connsiteX22327" y="connsiteY22327"/>
              </a:cxn>
              <a:cxn ang="0">
                <a:pos x="connsiteX22328" y="connsiteY22328"/>
              </a:cxn>
              <a:cxn ang="0">
                <a:pos x="connsiteX22329" y="connsiteY22329"/>
              </a:cxn>
              <a:cxn ang="0">
                <a:pos x="connsiteX22330" y="connsiteY22330"/>
              </a:cxn>
              <a:cxn ang="0">
                <a:pos x="connsiteX22331" y="connsiteY22331"/>
              </a:cxn>
              <a:cxn ang="0">
                <a:pos x="connsiteX22332" y="connsiteY22332"/>
              </a:cxn>
              <a:cxn ang="0">
                <a:pos x="connsiteX22333" y="connsiteY22333"/>
              </a:cxn>
              <a:cxn ang="0">
                <a:pos x="connsiteX22334" y="connsiteY22334"/>
              </a:cxn>
              <a:cxn ang="0">
                <a:pos x="connsiteX22335" y="connsiteY22335"/>
              </a:cxn>
              <a:cxn ang="0">
                <a:pos x="connsiteX22336" y="connsiteY22336"/>
              </a:cxn>
              <a:cxn ang="0">
                <a:pos x="connsiteX22337" y="connsiteY22337"/>
              </a:cxn>
              <a:cxn ang="0">
                <a:pos x="connsiteX22338" y="connsiteY22338"/>
              </a:cxn>
              <a:cxn ang="0">
                <a:pos x="connsiteX22339" y="connsiteY22339"/>
              </a:cxn>
              <a:cxn ang="0">
                <a:pos x="connsiteX22340" y="connsiteY22340"/>
              </a:cxn>
              <a:cxn ang="0">
                <a:pos x="connsiteX22341" y="connsiteY22341"/>
              </a:cxn>
              <a:cxn ang="0">
                <a:pos x="connsiteX22342" y="connsiteY22342"/>
              </a:cxn>
              <a:cxn ang="0">
                <a:pos x="connsiteX22343" y="connsiteY22343"/>
              </a:cxn>
              <a:cxn ang="0">
                <a:pos x="connsiteX22344" y="connsiteY22344"/>
              </a:cxn>
              <a:cxn ang="0">
                <a:pos x="connsiteX22345" y="connsiteY22345"/>
              </a:cxn>
              <a:cxn ang="0">
                <a:pos x="connsiteX22346" y="connsiteY22346"/>
              </a:cxn>
              <a:cxn ang="0">
                <a:pos x="connsiteX22347" y="connsiteY22347"/>
              </a:cxn>
              <a:cxn ang="0">
                <a:pos x="connsiteX22348" y="connsiteY22348"/>
              </a:cxn>
              <a:cxn ang="0">
                <a:pos x="connsiteX22349" y="connsiteY22349"/>
              </a:cxn>
              <a:cxn ang="0">
                <a:pos x="connsiteX22350" y="connsiteY22350"/>
              </a:cxn>
              <a:cxn ang="0">
                <a:pos x="connsiteX22351" y="connsiteY22351"/>
              </a:cxn>
              <a:cxn ang="0">
                <a:pos x="connsiteX22352" y="connsiteY22352"/>
              </a:cxn>
              <a:cxn ang="0">
                <a:pos x="connsiteX22353" y="connsiteY22353"/>
              </a:cxn>
              <a:cxn ang="0">
                <a:pos x="connsiteX22354" y="connsiteY22354"/>
              </a:cxn>
              <a:cxn ang="0">
                <a:pos x="connsiteX22355" y="connsiteY22355"/>
              </a:cxn>
              <a:cxn ang="0">
                <a:pos x="connsiteX22356" y="connsiteY22356"/>
              </a:cxn>
              <a:cxn ang="0">
                <a:pos x="connsiteX22357" y="connsiteY22357"/>
              </a:cxn>
              <a:cxn ang="0">
                <a:pos x="connsiteX22358" y="connsiteY22358"/>
              </a:cxn>
              <a:cxn ang="0">
                <a:pos x="connsiteX22359" y="connsiteY22359"/>
              </a:cxn>
              <a:cxn ang="0">
                <a:pos x="connsiteX22360" y="connsiteY22360"/>
              </a:cxn>
              <a:cxn ang="0">
                <a:pos x="connsiteX22361" y="connsiteY22361"/>
              </a:cxn>
              <a:cxn ang="0">
                <a:pos x="connsiteX22362" y="connsiteY22362"/>
              </a:cxn>
              <a:cxn ang="0">
                <a:pos x="connsiteX22363" y="connsiteY22363"/>
              </a:cxn>
              <a:cxn ang="0">
                <a:pos x="connsiteX22364" y="connsiteY22364"/>
              </a:cxn>
              <a:cxn ang="0">
                <a:pos x="connsiteX22365" y="connsiteY22365"/>
              </a:cxn>
              <a:cxn ang="0">
                <a:pos x="connsiteX22366" y="connsiteY22366"/>
              </a:cxn>
              <a:cxn ang="0">
                <a:pos x="connsiteX22367" y="connsiteY22367"/>
              </a:cxn>
              <a:cxn ang="0">
                <a:pos x="connsiteX22368" y="connsiteY22368"/>
              </a:cxn>
              <a:cxn ang="0">
                <a:pos x="connsiteX22369" y="connsiteY22369"/>
              </a:cxn>
              <a:cxn ang="0">
                <a:pos x="connsiteX22370" y="connsiteY22370"/>
              </a:cxn>
              <a:cxn ang="0">
                <a:pos x="connsiteX22371" y="connsiteY22371"/>
              </a:cxn>
              <a:cxn ang="0">
                <a:pos x="connsiteX22372" y="connsiteY22372"/>
              </a:cxn>
              <a:cxn ang="0">
                <a:pos x="connsiteX22373" y="connsiteY22373"/>
              </a:cxn>
              <a:cxn ang="0">
                <a:pos x="connsiteX22374" y="connsiteY22374"/>
              </a:cxn>
              <a:cxn ang="0">
                <a:pos x="connsiteX22375" y="connsiteY22375"/>
              </a:cxn>
              <a:cxn ang="0">
                <a:pos x="connsiteX22376" y="connsiteY22376"/>
              </a:cxn>
              <a:cxn ang="0">
                <a:pos x="connsiteX22377" y="connsiteY22377"/>
              </a:cxn>
              <a:cxn ang="0">
                <a:pos x="connsiteX22378" y="connsiteY22378"/>
              </a:cxn>
              <a:cxn ang="0">
                <a:pos x="connsiteX22379" y="connsiteY22379"/>
              </a:cxn>
              <a:cxn ang="0">
                <a:pos x="connsiteX22380" y="connsiteY22380"/>
              </a:cxn>
              <a:cxn ang="0">
                <a:pos x="connsiteX22381" y="connsiteY22381"/>
              </a:cxn>
              <a:cxn ang="0">
                <a:pos x="connsiteX22382" y="connsiteY22382"/>
              </a:cxn>
              <a:cxn ang="0">
                <a:pos x="connsiteX22383" y="connsiteY22383"/>
              </a:cxn>
              <a:cxn ang="0">
                <a:pos x="connsiteX22384" y="connsiteY22384"/>
              </a:cxn>
              <a:cxn ang="0">
                <a:pos x="connsiteX22385" y="connsiteY22385"/>
              </a:cxn>
              <a:cxn ang="0">
                <a:pos x="connsiteX22386" y="connsiteY22386"/>
              </a:cxn>
              <a:cxn ang="0">
                <a:pos x="connsiteX22387" y="connsiteY22387"/>
              </a:cxn>
              <a:cxn ang="0">
                <a:pos x="connsiteX22388" y="connsiteY22388"/>
              </a:cxn>
              <a:cxn ang="0">
                <a:pos x="connsiteX22389" y="connsiteY22389"/>
              </a:cxn>
              <a:cxn ang="0">
                <a:pos x="connsiteX22390" y="connsiteY22390"/>
              </a:cxn>
              <a:cxn ang="0">
                <a:pos x="connsiteX22391" y="connsiteY22391"/>
              </a:cxn>
              <a:cxn ang="0">
                <a:pos x="connsiteX22392" y="connsiteY22392"/>
              </a:cxn>
              <a:cxn ang="0">
                <a:pos x="connsiteX22393" y="connsiteY22393"/>
              </a:cxn>
              <a:cxn ang="0">
                <a:pos x="connsiteX22394" y="connsiteY22394"/>
              </a:cxn>
              <a:cxn ang="0">
                <a:pos x="connsiteX22395" y="connsiteY22395"/>
              </a:cxn>
              <a:cxn ang="0">
                <a:pos x="connsiteX22396" y="connsiteY22396"/>
              </a:cxn>
              <a:cxn ang="0">
                <a:pos x="connsiteX22397" y="connsiteY22397"/>
              </a:cxn>
              <a:cxn ang="0">
                <a:pos x="connsiteX22398" y="connsiteY22398"/>
              </a:cxn>
              <a:cxn ang="0">
                <a:pos x="connsiteX22399" y="connsiteY22399"/>
              </a:cxn>
              <a:cxn ang="0">
                <a:pos x="connsiteX22400" y="connsiteY22400"/>
              </a:cxn>
              <a:cxn ang="0">
                <a:pos x="connsiteX22401" y="connsiteY22401"/>
              </a:cxn>
              <a:cxn ang="0">
                <a:pos x="connsiteX22402" y="connsiteY22402"/>
              </a:cxn>
              <a:cxn ang="0">
                <a:pos x="connsiteX22403" y="connsiteY22403"/>
              </a:cxn>
              <a:cxn ang="0">
                <a:pos x="connsiteX22404" y="connsiteY22404"/>
              </a:cxn>
              <a:cxn ang="0">
                <a:pos x="connsiteX22405" y="connsiteY22405"/>
              </a:cxn>
              <a:cxn ang="0">
                <a:pos x="connsiteX22406" y="connsiteY22406"/>
              </a:cxn>
              <a:cxn ang="0">
                <a:pos x="connsiteX22407" y="connsiteY22407"/>
              </a:cxn>
              <a:cxn ang="0">
                <a:pos x="connsiteX22408" y="connsiteY22408"/>
              </a:cxn>
              <a:cxn ang="0">
                <a:pos x="connsiteX22409" y="connsiteY22409"/>
              </a:cxn>
              <a:cxn ang="0">
                <a:pos x="connsiteX22410" y="connsiteY22410"/>
              </a:cxn>
              <a:cxn ang="0">
                <a:pos x="connsiteX22411" y="connsiteY22411"/>
              </a:cxn>
              <a:cxn ang="0">
                <a:pos x="connsiteX22412" y="connsiteY22412"/>
              </a:cxn>
              <a:cxn ang="0">
                <a:pos x="connsiteX22413" y="connsiteY22413"/>
              </a:cxn>
              <a:cxn ang="0">
                <a:pos x="connsiteX22414" y="connsiteY22414"/>
              </a:cxn>
              <a:cxn ang="0">
                <a:pos x="connsiteX22415" y="connsiteY22415"/>
              </a:cxn>
              <a:cxn ang="0">
                <a:pos x="connsiteX22416" y="connsiteY22416"/>
              </a:cxn>
              <a:cxn ang="0">
                <a:pos x="connsiteX22417" y="connsiteY22417"/>
              </a:cxn>
              <a:cxn ang="0">
                <a:pos x="connsiteX22418" y="connsiteY22418"/>
              </a:cxn>
              <a:cxn ang="0">
                <a:pos x="connsiteX22419" y="connsiteY22419"/>
              </a:cxn>
              <a:cxn ang="0">
                <a:pos x="connsiteX22420" y="connsiteY22420"/>
              </a:cxn>
              <a:cxn ang="0">
                <a:pos x="connsiteX22421" y="connsiteY22421"/>
              </a:cxn>
              <a:cxn ang="0">
                <a:pos x="connsiteX22422" y="connsiteY22422"/>
              </a:cxn>
              <a:cxn ang="0">
                <a:pos x="connsiteX22423" y="connsiteY22423"/>
              </a:cxn>
              <a:cxn ang="0">
                <a:pos x="connsiteX22424" y="connsiteY22424"/>
              </a:cxn>
              <a:cxn ang="0">
                <a:pos x="connsiteX22425" y="connsiteY22425"/>
              </a:cxn>
              <a:cxn ang="0">
                <a:pos x="connsiteX22426" y="connsiteY22426"/>
              </a:cxn>
              <a:cxn ang="0">
                <a:pos x="connsiteX22427" y="connsiteY22427"/>
              </a:cxn>
              <a:cxn ang="0">
                <a:pos x="connsiteX22428" y="connsiteY22428"/>
              </a:cxn>
              <a:cxn ang="0">
                <a:pos x="connsiteX22429" y="connsiteY22429"/>
              </a:cxn>
              <a:cxn ang="0">
                <a:pos x="connsiteX22430" y="connsiteY22430"/>
              </a:cxn>
              <a:cxn ang="0">
                <a:pos x="connsiteX22431" y="connsiteY22431"/>
              </a:cxn>
              <a:cxn ang="0">
                <a:pos x="connsiteX22432" y="connsiteY22432"/>
              </a:cxn>
              <a:cxn ang="0">
                <a:pos x="connsiteX22433" y="connsiteY22433"/>
              </a:cxn>
              <a:cxn ang="0">
                <a:pos x="connsiteX22434" y="connsiteY22434"/>
              </a:cxn>
              <a:cxn ang="0">
                <a:pos x="connsiteX22435" y="connsiteY22435"/>
              </a:cxn>
              <a:cxn ang="0">
                <a:pos x="connsiteX22436" y="connsiteY22436"/>
              </a:cxn>
              <a:cxn ang="0">
                <a:pos x="connsiteX22437" y="connsiteY22437"/>
              </a:cxn>
              <a:cxn ang="0">
                <a:pos x="connsiteX22438" y="connsiteY22438"/>
              </a:cxn>
              <a:cxn ang="0">
                <a:pos x="connsiteX22439" y="connsiteY22439"/>
              </a:cxn>
              <a:cxn ang="0">
                <a:pos x="connsiteX22440" y="connsiteY22440"/>
              </a:cxn>
              <a:cxn ang="0">
                <a:pos x="connsiteX22441" y="connsiteY22441"/>
              </a:cxn>
              <a:cxn ang="0">
                <a:pos x="connsiteX22442" y="connsiteY22442"/>
              </a:cxn>
              <a:cxn ang="0">
                <a:pos x="connsiteX22443" y="connsiteY22443"/>
              </a:cxn>
              <a:cxn ang="0">
                <a:pos x="connsiteX22444" y="connsiteY22444"/>
              </a:cxn>
              <a:cxn ang="0">
                <a:pos x="connsiteX22445" y="connsiteY22445"/>
              </a:cxn>
              <a:cxn ang="0">
                <a:pos x="connsiteX22446" y="connsiteY22446"/>
              </a:cxn>
              <a:cxn ang="0">
                <a:pos x="connsiteX22447" y="connsiteY22447"/>
              </a:cxn>
              <a:cxn ang="0">
                <a:pos x="connsiteX22448" y="connsiteY22448"/>
              </a:cxn>
              <a:cxn ang="0">
                <a:pos x="connsiteX22449" y="connsiteY22449"/>
              </a:cxn>
              <a:cxn ang="0">
                <a:pos x="connsiteX22450" y="connsiteY22450"/>
              </a:cxn>
              <a:cxn ang="0">
                <a:pos x="connsiteX22451" y="connsiteY22451"/>
              </a:cxn>
              <a:cxn ang="0">
                <a:pos x="connsiteX22452" y="connsiteY22452"/>
              </a:cxn>
              <a:cxn ang="0">
                <a:pos x="connsiteX22453" y="connsiteY22453"/>
              </a:cxn>
              <a:cxn ang="0">
                <a:pos x="connsiteX22454" y="connsiteY22454"/>
              </a:cxn>
              <a:cxn ang="0">
                <a:pos x="connsiteX22455" y="connsiteY22455"/>
              </a:cxn>
              <a:cxn ang="0">
                <a:pos x="connsiteX22456" y="connsiteY22456"/>
              </a:cxn>
              <a:cxn ang="0">
                <a:pos x="connsiteX22457" y="connsiteY22457"/>
              </a:cxn>
              <a:cxn ang="0">
                <a:pos x="connsiteX22458" y="connsiteY22458"/>
              </a:cxn>
              <a:cxn ang="0">
                <a:pos x="connsiteX22459" y="connsiteY22459"/>
              </a:cxn>
              <a:cxn ang="0">
                <a:pos x="connsiteX22460" y="connsiteY22460"/>
              </a:cxn>
              <a:cxn ang="0">
                <a:pos x="connsiteX22461" y="connsiteY22461"/>
              </a:cxn>
              <a:cxn ang="0">
                <a:pos x="connsiteX22462" y="connsiteY22462"/>
              </a:cxn>
              <a:cxn ang="0">
                <a:pos x="connsiteX22463" y="connsiteY22463"/>
              </a:cxn>
              <a:cxn ang="0">
                <a:pos x="connsiteX22464" y="connsiteY22464"/>
              </a:cxn>
              <a:cxn ang="0">
                <a:pos x="connsiteX22465" y="connsiteY22465"/>
              </a:cxn>
              <a:cxn ang="0">
                <a:pos x="connsiteX22466" y="connsiteY22466"/>
              </a:cxn>
              <a:cxn ang="0">
                <a:pos x="connsiteX22467" y="connsiteY22467"/>
              </a:cxn>
              <a:cxn ang="0">
                <a:pos x="connsiteX22468" y="connsiteY22468"/>
              </a:cxn>
              <a:cxn ang="0">
                <a:pos x="connsiteX22469" y="connsiteY22469"/>
              </a:cxn>
              <a:cxn ang="0">
                <a:pos x="connsiteX22470" y="connsiteY22470"/>
              </a:cxn>
              <a:cxn ang="0">
                <a:pos x="connsiteX22471" y="connsiteY22471"/>
              </a:cxn>
              <a:cxn ang="0">
                <a:pos x="connsiteX22472" y="connsiteY22472"/>
              </a:cxn>
              <a:cxn ang="0">
                <a:pos x="connsiteX22473" y="connsiteY22473"/>
              </a:cxn>
              <a:cxn ang="0">
                <a:pos x="connsiteX22474" y="connsiteY22474"/>
              </a:cxn>
              <a:cxn ang="0">
                <a:pos x="connsiteX22475" y="connsiteY22475"/>
              </a:cxn>
              <a:cxn ang="0">
                <a:pos x="connsiteX22476" y="connsiteY22476"/>
              </a:cxn>
              <a:cxn ang="0">
                <a:pos x="connsiteX22477" y="connsiteY22477"/>
              </a:cxn>
              <a:cxn ang="0">
                <a:pos x="connsiteX22478" y="connsiteY22478"/>
              </a:cxn>
              <a:cxn ang="0">
                <a:pos x="connsiteX22479" y="connsiteY22479"/>
              </a:cxn>
              <a:cxn ang="0">
                <a:pos x="connsiteX22480" y="connsiteY22480"/>
              </a:cxn>
              <a:cxn ang="0">
                <a:pos x="connsiteX22481" y="connsiteY22481"/>
              </a:cxn>
              <a:cxn ang="0">
                <a:pos x="connsiteX22482" y="connsiteY22482"/>
              </a:cxn>
              <a:cxn ang="0">
                <a:pos x="connsiteX22483" y="connsiteY22483"/>
              </a:cxn>
              <a:cxn ang="0">
                <a:pos x="connsiteX22484" y="connsiteY22484"/>
              </a:cxn>
              <a:cxn ang="0">
                <a:pos x="connsiteX22485" y="connsiteY22485"/>
              </a:cxn>
              <a:cxn ang="0">
                <a:pos x="connsiteX22486" y="connsiteY22486"/>
              </a:cxn>
              <a:cxn ang="0">
                <a:pos x="connsiteX22487" y="connsiteY22487"/>
              </a:cxn>
              <a:cxn ang="0">
                <a:pos x="connsiteX22488" y="connsiteY22488"/>
              </a:cxn>
              <a:cxn ang="0">
                <a:pos x="connsiteX22489" y="connsiteY22489"/>
              </a:cxn>
              <a:cxn ang="0">
                <a:pos x="connsiteX22490" y="connsiteY22490"/>
              </a:cxn>
              <a:cxn ang="0">
                <a:pos x="connsiteX22491" y="connsiteY22491"/>
              </a:cxn>
              <a:cxn ang="0">
                <a:pos x="connsiteX22492" y="connsiteY22492"/>
              </a:cxn>
              <a:cxn ang="0">
                <a:pos x="connsiteX22493" y="connsiteY22493"/>
              </a:cxn>
              <a:cxn ang="0">
                <a:pos x="connsiteX22494" y="connsiteY22494"/>
              </a:cxn>
              <a:cxn ang="0">
                <a:pos x="connsiteX22495" y="connsiteY22495"/>
              </a:cxn>
              <a:cxn ang="0">
                <a:pos x="connsiteX22496" y="connsiteY22496"/>
              </a:cxn>
              <a:cxn ang="0">
                <a:pos x="connsiteX22497" y="connsiteY22497"/>
              </a:cxn>
              <a:cxn ang="0">
                <a:pos x="connsiteX22498" y="connsiteY22498"/>
              </a:cxn>
              <a:cxn ang="0">
                <a:pos x="connsiteX22499" y="connsiteY22499"/>
              </a:cxn>
              <a:cxn ang="0">
                <a:pos x="connsiteX22500" y="connsiteY22500"/>
              </a:cxn>
              <a:cxn ang="0">
                <a:pos x="connsiteX22501" y="connsiteY22501"/>
              </a:cxn>
              <a:cxn ang="0">
                <a:pos x="connsiteX22502" y="connsiteY22502"/>
              </a:cxn>
              <a:cxn ang="0">
                <a:pos x="connsiteX22503" y="connsiteY22503"/>
              </a:cxn>
              <a:cxn ang="0">
                <a:pos x="connsiteX22504" y="connsiteY22504"/>
              </a:cxn>
              <a:cxn ang="0">
                <a:pos x="connsiteX22505" y="connsiteY22505"/>
              </a:cxn>
              <a:cxn ang="0">
                <a:pos x="connsiteX22506" y="connsiteY22506"/>
              </a:cxn>
              <a:cxn ang="0">
                <a:pos x="connsiteX22507" y="connsiteY22507"/>
              </a:cxn>
              <a:cxn ang="0">
                <a:pos x="connsiteX22508" y="connsiteY22508"/>
              </a:cxn>
              <a:cxn ang="0">
                <a:pos x="connsiteX22509" y="connsiteY22509"/>
              </a:cxn>
              <a:cxn ang="0">
                <a:pos x="connsiteX22510" y="connsiteY22510"/>
              </a:cxn>
              <a:cxn ang="0">
                <a:pos x="connsiteX22511" y="connsiteY22511"/>
              </a:cxn>
              <a:cxn ang="0">
                <a:pos x="connsiteX22512" y="connsiteY22512"/>
              </a:cxn>
              <a:cxn ang="0">
                <a:pos x="connsiteX22513" y="connsiteY22513"/>
              </a:cxn>
              <a:cxn ang="0">
                <a:pos x="connsiteX22514" y="connsiteY22514"/>
              </a:cxn>
              <a:cxn ang="0">
                <a:pos x="connsiteX22515" y="connsiteY22515"/>
              </a:cxn>
              <a:cxn ang="0">
                <a:pos x="connsiteX22516" y="connsiteY22516"/>
              </a:cxn>
              <a:cxn ang="0">
                <a:pos x="connsiteX22517" y="connsiteY22517"/>
              </a:cxn>
              <a:cxn ang="0">
                <a:pos x="connsiteX22518" y="connsiteY22518"/>
              </a:cxn>
              <a:cxn ang="0">
                <a:pos x="connsiteX22519" y="connsiteY22519"/>
              </a:cxn>
              <a:cxn ang="0">
                <a:pos x="connsiteX22520" y="connsiteY22520"/>
              </a:cxn>
              <a:cxn ang="0">
                <a:pos x="connsiteX22521" y="connsiteY22521"/>
              </a:cxn>
              <a:cxn ang="0">
                <a:pos x="connsiteX22522" y="connsiteY22522"/>
              </a:cxn>
              <a:cxn ang="0">
                <a:pos x="connsiteX22523" y="connsiteY22523"/>
              </a:cxn>
              <a:cxn ang="0">
                <a:pos x="connsiteX22524" y="connsiteY22524"/>
              </a:cxn>
              <a:cxn ang="0">
                <a:pos x="connsiteX22525" y="connsiteY22525"/>
              </a:cxn>
              <a:cxn ang="0">
                <a:pos x="connsiteX22526" y="connsiteY22526"/>
              </a:cxn>
              <a:cxn ang="0">
                <a:pos x="connsiteX22527" y="connsiteY22527"/>
              </a:cxn>
              <a:cxn ang="0">
                <a:pos x="connsiteX22528" y="connsiteY22528"/>
              </a:cxn>
              <a:cxn ang="0">
                <a:pos x="connsiteX22529" y="connsiteY22529"/>
              </a:cxn>
              <a:cxn ang="0">
                <a:pos x="connsiteX22530" y="connsiteY22530"/>
              </a:cxn>
              <a:cxn ang="0">
                <a:pos x="connsiteX22531" y="connsiteY22531"/>
              </a:cxn>
              <a:cxn ang="0">
                <a:pos x="connsiteX22532" y="connsiteY22532"/>
              </a:cxn>
              <a:cxn ang="0">
                <a:pos x="connsiteX22533" y="connsiteY22533"/>
              </a:cxn>
              <a:cxn ang="0">
                <a:pos x="connsiteX22534" y="connsiteY22534"/>
              </a:cxn>
              <a:cxn ang="0">
                <a:pos x="connsiteX22535" y="connsiteY22535"/>
              </a:cxn>
              <a:cxn ang="0">
                <a:pos x="connsiteX22536" y="connsiteY22536"/>
              </a:cxn>
              <a:cxn ang="0">
                <a:pos x="connsiteX22537" y="connsiteY22537"/>
              </a:cxn>
              <a:cxn ang="0">
                <a:pos x="connsiteX22538" y="connsiteY22538"/>
              </a:cxn>
              <a:cxn ang="0">
                <a:pos x="connsiteX22539" y="connsiteY22539"/>
              </a:cxn>
              <a:cxn ang="0">
                <a:pos x="connsiteX22540" y="connsiteY22540"/>
              </a:cxn>
              <a:cxn ang="0">
                <a:pos x="connsiteX22541" y="connsiteY22541"/>
              </a:cxn>
              <a:cxn ang="0">
                <a:pos x="connsiteX22542" y="connsiteY22542"/>
              </a:cxn>
              <a:cxn ang="0">
                <a:pos x="connsiteX22543" y="connsiteY22543"/>
              </a:cxn>
              <a:cxn ang="0">
                <a:pos x="connsiteX22544" y="connsiteY22544"/>
              </a:cxn>
              <a:cxn ang="0">
                <a:pos x="connsiteX22545" y="connsiteY22545"/>
              </a:cxn>
              <a:cxn ang="0">
                <a:pos x="connsiteX22546" y="connsiteY22546"/>
              </a:cxn>
              <a:cxn ang="0">
                <a:pos x="connsiteX22547" y="connsiteY22547"/>
              </a:cxn>
              <a:cxn ang="0">
                <a:pos x="connsiteX22548" y="connsiteY22548"/>
              </a:cxn>
              <a:cxn ang="0">
                <a:pos x="connsiteX22549" y="connsiteY22549"/>
              </a:cxn>
              <a:cxn ang="0">
                <a:pos x="connsiteX22550" y="connsiteY22550"/>
              </a:cxn>
              <a:cxn ang="0">
                <a:pos x="connsiteX22551" y="connsiteY22551"/>
              </a:cxn>
              <a:cxn ang="0">
                <a:pos x="connsiteX22552" y="connsiteY22552"/>
              </a:cxn>
              <a:cxn ang="0">
                <a:pos x="connsiteX22553" y="connsiteY22553"/>
              </a:cxn>
              <a:cxn ang="0">
                <a:pos x="connsiteX22554" y="connsiteY22554"/>
              </a:cxn>
              <a:cxn ang="0">
                <a:pos x="connsiteX22555" y="connsiteY22555"/>
              </a:cxn>
              <a:cxn ang="0">
                <a:pos x="connsiteX22556" y="connsiteY22556"/>
              </a:cxn>
              <a:cxn ang="0">
                <a:pos x="connsiteX22557" y="connsiteY22557"/>
              </a:cxn>
              <a:cxn ang="0">
                <a:pos x="connsiteX22558" y="connsiteY22558"/>
              </a:cxn>
              <a:cxn ang="0">
                <a:pos x="connsiteX22559" y="connsiteY22559"/>
              </a:cxn>
              <a:cxn ang="0">
                <a:pos x="connsiteX22560" y="connsiteY22560"/>
              </a:cxn>
              <a:cxn ang="0">
                <a:pos x="connsiteX22561" y="connsiteY22561"/>
              </a:cxn>
              <a:cxn ang="0">
                <a:pos x="connsiteX22562" y="connsiteY22562"/>
              </a:cxn>
              <a:cxn ang="0">
                <a:pos x="connsiteX22563" y="connsiteY22563"/>
              </a:cxn>
              <a:cxn ang="0">
                <a:pos x="connsiteX22564" y="connsiteY22564"/>
              </a:cxn>
              <a:cxn ang="0">
                <a:pos x="connsiteX22565" y="connsiteY22565"/>
              </a:cxn>
              <a:cxn ang="0">
                <a:pos x="connsiteX22566" y="connsiteY22566"/>
              </a:cxn>
              <a:cxn ang="0">
                <a:pos x="connsiteX22567" y="connsiteY22567"/>
              </a:cxn>
              <a:cxn ang="0">
                <a:pos x="connsiteX22568" y="connsiteY22568"/>
              </a:cxn>
              <a:cxn ang="0">
                <a:pos x="connsiteX22569" y="connsiteY22569"/>
              </a:cxn>
              <a:cxn ang="0">
                <a:pos x="connsiteX22570" y="connsiteY22570"/>
              </a:cxn>
              <a:cxn ang="0">
                <a:pos x="connsiteX22571" y="connsiteY22571"/>
              </a:cxn>
              <a:cxn ang="0">
                <a:pos x="connsiteX22572" y="connsiteY22572"/>
              </a:cxn>
              <a:cxn ang="0">
                <a:pos x="connsiteX22573" y="connsiteY22573"/>
              </a:cxn>
              <a:cxn ang="0">
                <a:pos x="connsiteX22574" y="connsiteY22574"/>
              </a:cxn>
              <a:cxn ang="0">
                <a:pos x="connsiteX22575" y="connsiteY22575"/>
              </a:cxn>
              <a:cxn ang="0">
                <a:pos x="connsiteX22576" y="connsiteY22576"/>
              </a:cxn>
              <a:cxn ang="0">
                <a:pos x="connsiteX22577" y="connsiteY22577"/>
              </a:cxn>
              <a:cxn ang="0">
                <a:pos x="connsiteX22578" y="connsiteY22578"/>
              </a:cxn>
              <a:cxn ang="0">
                <a:pos x="connsiteX22579" y="connsiteY22579"/>
              </a:cxn>
              <a:cxn ang="0">
                <a:pos x="connsiteX22580" y="connsiteY22580"/>
              </a:cxn>
              <a:cxn ang="0">
                <a:pos x="connsiteX22581" y="connsiteY22581"/>
              </a:cxn>
              <a:cxn ang="0">
                <a:pos x="connsiteX22582" y="connsiteY22582"/>
              </a:cxn>
              <a:cxn ang="0">
                <a:pos x="connsiteX22583" y="connsiteY22583"/>
              </a:cxn>
              <a:cxn ang="0">
                <a:pos x="connsiteX22584" y="connsiteY22584"/>
              </a:cxn>
              <a:cxn ang="0">
                <a:pos x="connsiteX22585" y="connsiteY22585"/>
              </a:cxn>
              <a:cxn ang="0">
                <a:pos x="connsiteX22586" y="connsiteY22586"/>
              </a:cxn>
              <a:cxn ang="0">
                <a:pos x="connsiteX22587" y="connsiteY22587"/>
              </a:cxn>
              <a:cxn ang="0">
                <a:pos x="connsiteX22588" y="connsiteY22588"/>
              </a:cxn>
              <a:cxn ang="0">
                <a:pos x="connsiteX22589" y="connsiteY22589"/>
              </a:cxn>
              <a:cxn ang="0">
                <a:pos x="connsiteX22590" y="connsiteY22590"/>
              </a:cxn>
              <a:cxn ang="0">
                <a:pos x="connsiteX22591" y="connsiteY22591"/>
              </a:cxn>
              <a:cxn ang="0">
                <a:pos x="connsiteX22592" y="connsiteY22592"/>
              </a:cxn>
              <a:cxn ang="0">
                <a:pos x="connsiteX22593" y="connsiteY22593"/>
              </a:cxn>
              <a:cxn ang="0">
                <a:pos x="connsiteX22594" y="connsiteY22594"/>
              </a:cxn>
              <a:cxn ang="0">
                <a:pos x="connsiteX22595" y="connsiteY22595"/>
              </a:cxn>
              <a:cxn ang="0">
                <a:pos x="connsiteX22596" y="connsiteY22596"/>
              </a:cxn>
              <a:cxn ang="0">
                <a:pos x="connsiteX22597" y="connsiteY22597"/>
              </a:cxn>
              <a:cxn ang="0">
                <a:pos x="connsiteX22598" y="connsiteY22598"/>
              </a:cxn>
              <a:cxn ang="0">
                <a:pos x="connsiteX22599" y="connsiteY22599"/>
              </a:cxn>
              <a:cxn ang="0">
                <a:pos x="connsiteX22600" y="connsiteY22600"/>
              </a:cxn>
              <a:cxn ang="0">
                <a:pos x="connsiteX22601" y="connsiteY22601"/>
              </a:cxn>
              <a:cxn ang="0">
                <a:pos x="connsiteX22602" y="connsiteY22602"/>
              </a:cxn>
              <a:cxn ang="0">
                <a:pos x="connsiteX22603" y="connsiteY22603"/>
              </a:cxn>
              <a:cxn ang="0">
                <a:pos x="connsiteX22604" y="connsiteY22604"/>
              </a:cxn>
              <a:cxn ang="0">
                <a:pos x="connsiteX22605" y="connsiteY22605"/>
              </a:cxn>
              <a:cxn ang="0">
                <a:pos x="connsiteX22606" y="connsiteY22606"/>
              </a:cxn>
              <a:cxn ang="0">
                <a:pos x="connsiteX22607" y="connsiteY22607"/>
              </a:cxn>
              <a:cxn ang="0">
                <a:pos x="connsiteX22608" y="connsiteY22608"/>
              </a:cxn>
              <a:cxn ang="0">
                <a:pos x="connsiteX22609" y="connsiteY22609"/>
              </a:cxn>
              <a:cxn ang="0">
                <a:pos x="connsiteX22610" y="connsiteY22610"/>
              </a:cxn>
              <a:cxn ang="0">
                <a:pos x="connsiteX22611" y="connsiteY22611"/>
              </a:cxn>
              <a:cxn ang="0">
                <a:pos x="connsiteX22612" y="connsiteY22612"/>
              </a:cxn>
              <a:cxn ang="0">
                <a:pos x="connsiteX22613" y="connsiteY22613"/>
              </a:cxn>
              <a:cxn ang="0">
                <a:pos x="connsiteX22614" y="connsiteY22614"/>
              </a:cxn>
              <a:cxn ang="0">
                <a:pos x="connsiteX22615" y="connsiteY22615"/>
              </a:cxn>
              <a:cxn ang="0">
                <a:pos x="connsiteX22616" y="connsiteY22616"/>
              </a:cxn>
              <a:cxn ang="0">
                <a:pos x="connsiteX22617" y="connsiteY22617"/>
              </a:cxn>
              <a:cxn ang="0">
                <a:pos x="connsiteX22618" y="connsiteY22618"/>
              </a:cxn>
              <a:cxn ang="0">
                <a:pos x="connsiteX22619" y="connsiteY22619"/>
              </a:cxn>
              <a:cxn ang="0">
                <a:pos x="connsiteX22620" y="connsiteY22620"/>
              </a:cxn>
              <a:cxn ang="0">
                <a:pos x="connsiteX22621" y="connsiteY22621"/>
              </a:cxn>
              <a:cxn ang="0">
                <a:pos x="connsiteX22622" y="connsiteY22622"/>
              </a:cxn>
              <a:cxn ang="0">
                <a:pos x="connsiteX22623" y="connsiteY22623"/>
              </a:cxn>
              <a:cxn ang="0">
                <a:pos x="connsiteX22624" y="connsiteY22624"/>
              </a:cxn>
              <a:cxn ang="0">
                <a:pos x="connsiteX22625" y="connsiteY22625"/>
              </a:cxn>
              <a:cxn ang="0">
                <a:pos x="connsiteX22626" y="connsiteY22626"/>
              </a:cxn>
              <a:cxn ang="0">
                <a:pos x="connsiteX22627" y="connsiteY22627"/>
              </a:cxn>
              <a:cxn ang="0">
                <a:pos x="connsiteX22628" y="connsiteY22628"/>
              </a:cxn>
              <a:cxn ang="0">
                <a:pos x="connsiteX22629" y="connsiteY22629"/>
              </a:cxn>
              <a:cxn ang="0">
                <a:pos x="connsiteX22630" y="connsiteY22630"/>
              </a:cxn>
              <a:cxn ang="0">
                <a:pos x="connsiteX22631" y="connsiteY22631"/>
              </a:cxn>
              <a:cxn ang="0">
                <a:pos x="connsiteX22632" y="connsiteY22632"/>
              </a:cxn>
              <a:cxn ang="0">
                <a:pos x="connsiteX22633" y="connsiteY22633"/>
              </a:cxn>
              <a:cxn ang="0">
                <a:pos x="connsiteX22634" y="connsiteY22634"/>
              </a:cxn>
              <a:cxn ang="0">
                <a:pos x="connsiteX22635" y="connsiteY22635"/>
              </a:cxn>
              <a:cxn ang="0">
                <a:pos x="connsiteX22636" y="connsiteY22636"/>
              </a:cxn>
              <a:cxn ang="0">
                <a:pos x="connsiteX22637" y="connsiteY22637"/>
              </a:cxn>
              <a:cxn ang="0">
                <a:pos x="connsiteX22638" y="connsiteY22638"/>
              </a:cxn>
              <a:cxn ang="0">
                <a:pos x="connsiteX22639" y="connsiteY22639"/>
              </a:cxn>
              <a:cxn ang="0">
                <a:pos x="connsiteX22640" y="connsiteY22640"/>
              </a:cxn>
              <a:cxn ang="0">
                <a:pos x="connsiteX22641" y="connsiteY22641"/>
              </a:cxn>
              <a:cxn ang="0">
                <a:pos x="connsiteX22642" y="connsiteY22642"/>
              </a:cxn>
              <a:cxn ang="0">
                <a:pos x="connsiteX22643" y="connsiteY22643"/>
              </a:cxn>
              <a:cxn ang="0">
                <a:pos x="connsiteX22644" y="connsiteY22644"/>
              </a:cxn>
              <a:cxn ang="0">
                <a:pos x="connsiteX22645" y="connsiteY22645"/>
              </a:cxn>
              <a:cxn ang="0">
                <a:pos x="connsiteX22646" y="connsiteY22646"/>
              </a:cxn>
              <a:cxn ang="0">
                <a:pos x="connsiteX22647" y="connsiteY22647"/>
              </a:cxn>
              <a:cxn ang="0">
                <a:pos x="connsiteX22648" y="connsiteY22648"/>
              </a:cxn>
              <a:cxn ang="0">
                <a:pos x="connsiteX22649" y="connsiteY22649"/>
              </a:cxn>
              <a:cxn ang="0">
                <a:pos x="connsiteX22650" y="connsiteY22650"/>
              </a:cxn>
              <a:cxn ang="0">
                <a:pos x="connsiteX22651" y="connsiteY22651"/>
              </a:cxn>
              <a:cxn ang="0">
                <a:pos x="connsiteX22652" y="connsiteY22652"/>
              </a:cxn>
              <a:cxn ang="0">
                <a:pos x="connsiteX22653" y="connsiteY22653"/>
              </a:cxn>
              <a:cxn ang="0">
                <a:pos x="connsiteX22654" y="connsiteY22654"/>
              </a:cxn>
              <a:cxn ang="0">
                <a:pos x="connsiteX22655" y="connsiteY22655"/>
              </a:cxn>
              <a:cxn ang="0">
                <a:pos x="connsiteX22656" y="connsiteY22656"/>
              </a:cxn>
              <a:cxn ang="0">
                <a:pos x="connsiteX22657" y="connsiteY22657"/>
              </a:cxn>
              <a:cxn ang="0">
                <a:pos x="connsiteX22658" y="connsiteY22658"/>
              </a:cxn>
              <a:cxn ang="0">
                <a:pos x="connsiteX22659" y="connsiteY22659"/>
              </a:cxn>
              <a:cxn ang="0">
                <a:pos x="connsiteX22660" y="connsiteY22660"/>
              </a:cxn>
              <a:cxn ang="0">
                <a:pos x="connsiteX22661" y="connsiteY22661"/>
              </a:cxn>
              <a:cxn ang="0">
                <a:pos x="connsiteX22662" y="connsiteY22662"/>
              </a:cxn>
              <a:cxn ang="0">
                <a:pos x="connsiteX22663" y="connsiteY22663"/>
              </a:cxn>
              <a:cxn ang="0">
                <a:pos x="connsiteX22664" y="connsiteY22664"/>
              </a:cxn>
              <a:cxn ang="0">
                <a:pos x="connsiteX22665" y="connsiteY22665"/>
              </a:cxn>
              <a:cxn ang="0">
                <a:pos x="connsiteX22666" y="connsiteY22666"/>
              </a:cxn>
              <a:cxn ang="0">
                <a:pos x="connsiteX22667" y="connsiteY22667"/>
              </a:cxn>
              <a:cxn ang="0">
                <a:pos x="connsiteX22668" y="connsiteY22668"/>
              </a:cxn>
              <a:cxn ang="0">
                <a:pos x="connsiteX22669" y="connsiteY22669"/>
              </a:cxn>
              <a:cxn ang="0">
                <a:pos x="connsiteX22670" y="connsiteY22670"/>
              </a:cxn>
              <a:cxn ang="0">
                <a:pos x="connsiteX22671" y="connsiteY22671"/>
              </a:cxn>
              <a:cxn ang="0">
                <a:pos x="connsiteX22672" y="connsiteY22672"/>
              </a:cxn>
              <a:cxn ang="0">
                <a:pos x="connsiteX22673" y="connsiteY22673"/>
              </a:cxn>
              <a:cxn ang="0">
                <a:pos x="connsiteX22674" y="connsiteY22674"/>
              </a:cxn>
              <a:cxn ang="0">
                <a:pos x="connsiteX22675" y="connsiteY22675"/>
              </a:cxn>
              <a:cxn ang="0">
                <a:pos x="connsiteX22676" y="connsiteY22676"/>
              </a:cxn>
              <a:cxn ang="0">
                <a:pos x="connsiteX22677" y="connsiteY22677"/>
              </a:cxn>
              <a:cxn ang="0">
                <a:pos x="connsiteX22678" y="connsiteY22678"/>
              </a:cxn>
              <a:cxn ang="0">
                <a:pos x="connsiteX22679" y="connsiteY22679"/>
              </a:cxn>
              <a:cxn ang="0">
                <a:pos x="connsiteX22680" y="connsiteY22680"/>
              </a:cxn>
              <a:cxn ang="0">
                <a:pos x="connsiteX22681" y="connsiteY22681"/>
              </a:cxn>
              <a:cxn ang="0">
                <a:pos x="connsiteX22682" y="connsiteY22682"/>
              </a:cxn>
              <a:cxn ang="0">
                <a:pos x="connsiteX22683" y="connsiteY22683"/>
              </a:cxn>
              <a:cxn ang="0">
                <a:pos x="connsiteX22684" y="connsiteY22684"/>
              </a:cxn>
              <a:cxn ang="0">
                <a:pos x="connsiteX22685" y="connsiteY22685"/>
              </a:cxn>
              <a:cxn ang="0">
                <a:pos x="connsiteX22686" y="connsiteY22686"/>
              </a:cxn>
              <a:cxn ang="0">
                <a:pos x="connsiteX22687" y="connsiteY22687"/>
              </a:cxn>
              <a:cxn ang="0">
                <a:pos x="connsiteX22688" y="connsiteY22688"/>
              </a:cxn>
              <a:cxn ang="0">
                <a:pos x="connsiteX22689" y="connsiteY22689"/>
              </a:cxn>
              <a:cxn ang="0">
                <a:pos x="connsiteX22690" y="connsiteY22690"/>
              </a:cxn>
              <a:cxn ang="0">
                <a:pos x="connsiteX22691" y="connsiteY22691"/>
              </a:cxn>
              <a:cxn ang="0">
                <a:pos x="connsiteX22692" y="connsiteY22692"/>
              </a:cxn>
              <a:cxn ang="0">
                <a:pos x="connsiteX22693" y="connsiteY22693"/>
              </a:cxn>
              <a:cxn ang="0">
                <a:pos x="connsiteX22694" y="connsiteY22694"/>
              </a:cxn>
              <a:cxn ang="0">
                <a:pos x="connsiteX22695" y="connsiteY22695"/>
              </a:cxn>
              <a:cxn ang="0">
                <a:pos x="connsiteX22696" y="connsiteY22696"/>
              </a:cxn>
              <a:cxn ang="0">
                <a:pos x="connsiteX22697" y="connsiteY22697"/>
              </a:cxn>
              <a:cxn ang="0">
                <a:pos x="connsiteX22698" y="connsiteY22698"/>
              </a:cxn>
              <a:cxn ang="0">
                <a:pos x="connsiteX22699" y="connsiteY22699"/>
              </a:cxn>
              <a:cxn ang="0">
                <a:pos x="connsiteX22700" y="connsiteY22700"/>
              </a:cxn>
              <a:cxn ang="0">
                <a:pos x="connsiteX22701" y="connsiteY22701"/>
              </a:cxn>
              <a:cxn ang="0">
                <a:pos x="connsiteX22702" y="connsiteY22702"/>
              </a:cxn>
              <a:cxn ang="0">
                <a:pos x="connsiteX22703" y="connsiteY22703"/>
              </a:cxn>
              <a:cxn ang="0">
                <a:pos x="connsiteX22704" y="connsiteY22704"/>
              </a:cxn>
              <a:cxn ang="0">
                <a:pos x="connsiteX22705" y="connsiteY22705"/>
              </a:cxn>
              <a:cxn ang="0">
                <a:pos x="connsiteX22706" y="connsiteY22706"/>
              </a:cxn>
              <a:cxn ang="0">
                <a:pos x="connsiteX22707" y="connsiteY22707"/>
              </a:cxn>
              <a:cxn ang="0">
                <a:pos x="connsiteX22708" y="connsiteY22708"/>
              </a:cxn>
              <a:cxn ang="0">
                <a:pos x="connsiteX22709" y="connsiteY22709"/>
              </a:cxn>
              <a:cxn ang="0">
                <a:pos x="connsiteX22710" y="connsiteY22710"/>
              </a:cxn>
              <a:cxn ang="0">
                <a:pos x="connsiteX22711" y="connsiteY22711"/>
              </a:cxn>
              <a:cxn ang="0">
                <a:pos x="connsiteX22712" y="connsiteY22712"/>
              </a:cxn>
              <a:cxn ang="0">
                <a:pos x="connsiteX22713" y="connsiteY22713"/>
              </a:cxn>
              <a:cxn ang="0">
                <a:pos x="connsiteX22714" y="connsiteY22714"/>
              </a:cxn>
              <a:cxn ang="0">
                <a:pos x="connsiteX22715" y="connsiteY22715"/>
              </a:cxn>
              <a:cxn ang="0">
                <a:pos x="connsiteX22716" y="connsiteY22716"/>
              </a:cxn>
              <a:cxn ang="0">
                <a:pos x="connsiteX22717" y="connsiteY22717"/>
              </a:cxn>
              <a:cxn ang="0">
                <a:pos x="connsiteX22718" y="connsiteY22718"/>
              </a:cxn>
              <a:cxn ang="0">
                <a:pos x="connsiteX22719" y="connsiteY22719"/>
              </a:cxn>
              <a:cxn ang="0">
                <a:pos x="connsiteX22720" y="connsiteY22720"/>
              </a:cxn>
              <a:cxn ang="0">
                <a:pos x="connsiteX22721" y="connsiteY22721"/>
              </a:cxn>
              <a:cxn ang="0">
                <a:pos x="connsiteX22722" y="connsiteY22722"/>
              </a:cxn>
              <a:cxn ang="0">
                <a:pos x="connsiteX22723" y="connsiteY22723"/>
              </a:cxn>
              <a:cxn ang="0">
                <a:pos x="connsiteX22724" y="connsiteY22724"/>
              </a:cxn>
              <a:cxn ang="0">
                <a:pos x="connsiteX22725" y="connsiteY22725"/>
              </a:cxn>
              <a:cxn ang="0">
                <a:pos x="connsiteX22726" y="connsiteY22726"/>
              </a:cxn>
              <a:cxn ang="0">
                <a:pos x="connsiteX22727" y="connsiteY22727"/>
              </a:cxn>
              <a:cxn ang="0">
                <a:pos x="connsiteX22728" y="connsiteY22728"/>
              </a:cxn>
              <a:cxn ang="0">
                <a:pos x="connsiteX22729" y="connsiteY22729"/>
              </a:cxn>
              <a:cxn ang="0">
                <a:pos x="connsiteX22730" y="connsiteY22730"/>
              </a:cxn>
              <a:cxn ang="0">
                <a:pos x="connsiteX22731" y="connsiteY22731"/>
              </a:cxn>
              <a:cxn ang="0">
                <a:pos x="connsiteX22732" y="connsiteY22732"/>
              </a:cxn>
              <a:cxn ang="0">
                <a:pos x="connsiteX22733" y="connsiteY22733"/>
              </a:cxn>
              <a:cxn ang="0">
                <a:pos x="connsiteX22734" y="connsiteY22734"/>
              </a:cxn>
              <a:cxn ang="0">
                <a:pos x="connsiteX22735" y="connsiteY22735"/>
              </a:cxn>
              <a:cxn ang="0">
                <a:pos x="connsiteX22736" y="connsiteY22736"/>
              </a:cxn>
              <a:cxn ang="0">
                <a:pos x="connsiteX22737" y="connsiteY22737"/>
              </a:cxn>
              <a:cxn ang="0">
                <a:pos x="connsiteX22738" y="connsiteY22738"/>
              </a:cxn>
              <a:cxn ang="0">
                <a:pos x="connsiteX22739" y="connsiteY22739"/>
              </a:cxn>
              <a:cxn ang="0">
                <a:pos x="connsiteX22740" y="connsiteY22740"/>
              </a:cxn>
              <a:cxn ang="0">
                <a:pos x="connsiteX22741" y="connsiteY22741"/>
              </a:cxn>
              <a:cxn ang="0">
                <a:pos x="connsiteX22742" y="connsiteY22742"/>
              </a:cxn>
              <a:cxn ang="0">
                <a:pos x="connsiteX22743" y="connsiteY22743"/>
              </a:cxn>
              <a:cxn ang="0">
                <a:pos x="connsiteX22744" y="connsiteY22744"/>
              </a:cxn>
              <a:cxn ang="0">
                <a:pos x="connsiteX22745" y="connsiteY22745"/>
              </a:cxn>
              <a:cxn ang="0">
                <a:pos x="connsiteX22746" y="connsiteY22746"/>
              </a:cxn>
              <a:cxn ang="0">
                <a:pos x="connsiteX22747" y="connsiteY22747"/>
              </a:cxn>
              <a:cxn ang="0">
                <a:pos x="connsiteX22748" y="connsiteY22748"/>
              </a:cxn>
              <a:cxn ang="0">
                <a:pos x="connsiteX22749" y="connsiteY22749"/>
              </a:cxn>
              <a:cxn ang="0">
                <a:pos x="connsiteX22750" y="connsiteY22750"/>
              </a:cxn>
              <a:cxn ang="0">
                <a:pos x="connsiteX22751" y="connsiteY22751"/>
              </a:cxn>
              <a:cxn ang="0">
                <a:pos x="connsiteX22752" y="connsiteY22752"/>
              </a:cxn>
              <a:cxn ang="0">
                <a:pos x="connsiteX22753" y="connsiteY22753"/>
              </a:cxn>
              <a:cxn ang="0">
                <a:pos x="connsiteX22754" y="connsiteY22754"/>
              </a:cxn>
              <a:cxn ang="0">
                <a:pos x="connsiteX22755" y="connsiteY22755"/>
              </a:cxn>
              <a:cxn ang="0">
                <a:pos x="connsiteX22756" y="connsiteY22756"/>
              </a:cxn>
              <a:cxn ang="0">
                <a:pos x="connsiteX22757" y="connsiteY22757"/>
              </a:cxn>
              <a:cxn ang="0">
                <a:pos x="connsiteX22758" y="connsiteY22758"/>
              </a:cxn>
              <a:cxn ang="0">
                <a:pos x="connsiteX22759" y="connsiteY22759"/>
              </a:cxn>
              <a:cxn ang="0">
                <a:pos x="connsiteX22760" y="connsiteY22760"/>
              </a:cxn>
              <a:cxn ang="0">
                <a:pos x="connsiteX22761" y="connsiteY22761"/>
              </a:cxn>
              <a:cxn ang="0">
                <a:pos x="connsiteX22762" y="connsiteY22762"/>
              </a:cxn>
              <a:cxn ang="0">
                <a:pos x="connsiteX22763" y="connsiteY22763"/>
              </a:cxn>
              <a:cxn ang="0">
                <a:pos x="connsiteX22764" y="connsiteY22764"/>
              </a:cxn>
              <a:cxn ang="0">
                <a:pos x="connsiteX22765" y="connsiteY22765"/>
              </a:cxn>
              <a:cxn ang="0">
                <a:pos x="connsiteX22766" y="connsiteY22766"/>
              </a:cxn>
              <a:cxn ang="0">
                <a:pos x="connsiteX22767" y="connsiteY22767"/>
              </a:cxn>
              <a:cxn ang="0">
                <a:pos x="connsiteX22768" y="connsiteY22768"/>
              </a:cxn>
              <a:cxn ang="0">
                <a:pos x="connsiteX22769" y="connsiteY22769"/>
              </a:cxn>
              <a:cxn ang="0">
                <a:pos x="connsiteX22770" y="connsiteY22770"/>
              </a:cxn>
              <a:cxn ang="0">
                <a:pos x="connsiteX22771" y="connsiteY22771"/>
              </a:cxn>
              <a:cxn ang="0">
                <a:pos x="connsiteX22772" y="connsiteY22772"/>
              </a:cxn>
              <a:cxn ang="0">
                <a:pos x="connsiteX22773" y="connsiteY22773"/>
              </a:cxn>
              <a:cxn ang="0">
                <a:pos x="connsiteX22774" y="connsiteY22774"/>
              </a:cxn>
              <a:cxn ang="0">
                <a:pos x="connsiteX22775" y="connsiteY22775"/>
              </a:cxn>
              <a:cxn ang="0">
                <a:pos x="connsiteX22776" y="connsiteY22776"/>
              </a:cxn>
              <a:cxn ang="0">
                <a:pos x="connsiteX22777" y="connsiteY22777"/>
              </a:cxn>
              <a:cxn ang="0">
                <a:pos x="connsiteX22778" y="connsiteY22778"/>
              </a:cxn>
              <a:cxn ang="0">
                <a:pos x="connsiteX22779" y="connsiteY22779"/>
              </a:cxn>
              <a:cxn ang="0">
                <a:pos x="connsiteX22780" y="connsiteY22780"/>
              </a:cxn>
              <a:cxn ang="0">
                <a:pos x="connsiteX22781" y="connsiteY22781"/>
              </a:cxn>
              <a:cxn ang="0">
                <a:pos x="connsiteX22782" y="connsiteY22782"/>
              </a:cxn>
              <a:cxn ang="0">
                <a:pos x="connsiteX22783" y="connsiteY22783"/>
              </a:cxn>
              <a:cxn ang="0">
                <a:pos x="connsiteX22784" y="connsiteY22784"/>
              </a:cxn>
              <a:cxn ang="0">
                <a:pos x="connsiteX22785" y="connsiteY22785"/>
              </a:cxn>
              <a:cxn ang="0">
                <a:pos x="connsiteX22786" y="connsiteY22786"/>
              </a:cxn>
              <a:cxn ang="0">
                <a:pos x="connsiteX22787" y="connsiteY22787"/>
              </a:cxn>
              <a:cxn ang="0">
                <a:pos x="connsiteX22788" y="connsiteY22788"/>
              </a:cxn>
              <a:cxn ang="0">
                <a:pos x="connsiteX22789" y="connsiteY22789"/>
              </a:cxn>
              <a:cxn ang="0">
                <a:pos x="connsiteX22790" y="connsiteY22790"/>
              </a:cxn>
              <a:cxn ang="0">
                <a:pos x="connsiteX22791" y="connsiteY22791"/>
              </a:cxn>
              <a:cxn ang="0">
                <a:pos x="connsiteX22792" y="connsiteY22792"/>
              </a:cxn>
              <a:cxn ang="0">
                <a:pos x="connsiteX22793" y="connsiteY22793"/>
              </a:cxn>
              <a:cxn ang="0">
                <a:pos x="connsiteX22794" y="connsiteY22794"/>
              </a:cxn>
              <a:cxn ang="0">
                <a:pos x="connsiteX22795" y="connsiteY22795"/>
              </a:cxn>
              <a:cxn ang="0">
                <a:pos x="connsiteX22796" y="connsiteY22796"/>
              </a:cxn>
              <a:cxn ang="0">
                <a:pos x="connsiteX22797" y="connsiteY22797"/>
              </a:cxn>
              <a:cxn ang="0">
                <a:pos x="connsiteX22798" y="connsiteY22798"/>
              </a:cxn>
              <a:cxn ang="0">
                <a:pos x="connsiteX22799" y="connsiteY22799"/>
              </a:cxn>
              <a:cxn ang="0">
                <a:pos x="connsiteX22800" y="connsiteY22800"/>
              </a:cxn>
              <a:cxn ang="0">
                <a:pos x="connsiteX22801" y="connsiteY22801"/>
              </a:cxn>
              <a:cxn ang="0">
                <a:pos x="connsiteX22802" y="connsiteY22802"/>
              </a:cxn>
              <a:cxn ang="0">
                <a:pos x="connsiteX22803" y="connsiteY22803"/>
              </a:cxn>
              <a:cxn ang="0">
                <a:pos x="connsiteX22804" y="connsiteY22804"/>
              </a:cxn>
              <a:cxn ang="0">
                <a:pos x="connsiteX22805" y="connsiteY22805"/>
              </a:cxn>
              <a:cxn ang="0">
                <a:pos x="connsiteX22806" y="connsiteY22806"/>
              </a:cxn>
              <a:cxn ang="0">
                <a:pos x="connsiteX22807" y="connsiteY22807"/>
              </a:cxn>
              <a:cxn ang="0">
                <a:pos x="connsiteX22808" y="connsiteY22808"/>
              </a:cxn>
              <a:cxn ang="0">
                <a:pos x="connsiteX22809" y="connsiteY22809"/>
              </a:cxn>
              <a:cxn ang="0">
                <a:pos x="connsiteX22810" y="connsiteY22810"/>
              </a:cxn>
              <a:cxn ang="0">
                <a:pos x="connsiteX22811" y="connsiteY22811"/>
              </a:cxn>
              <a:cxn ang="0">
                <a:pos x="connsiteX22812" y="connsiteY22812"/>
              </a:cxn>
              <a:cxn ang="0">
                <a:pos x="connsiteX22813" y="connsiteY22813"/>
              </a:cxn>
              <a:cxn ang="0">
                <a:pos x="connsiteX22814" y="connsiteY22814"/>
              </a:cxn>
              <a:cxn ang="0">
                <a:pos x="connsiteX22815" y="connsiteY22815"/>
              </a:cxn>
              <a:cxn ang="0">
                <a:pos x="connsiteX22816" y="connsiteY22816"/>
              </a:cxn>
              <a:cxn ang="0">
                <a:pos x="connsiteX22817" y="connsiteY22817"/>
              </a:cxn>
              <a:cxn ang="0">
                <a:pos x="connsiteX22818" y="connsiteY22818"/>
              </a:cxn>
              <a:cxn ang="0">
                <a:pos x="connsiteX22819" y="connsiteY22819"/>
              </a:cxn>
              <a:cxn ang="0">
                <a:pos x="connsiteX22820" y="connsiteY22820"/>
              </a:cxn>
              <a:cxn ang="0">
                <a:pos x="connsiteX22821" y="connsiteY22821"/>
              </a:cxn>
              <a:cxn ang="0">
                <a:pos x="connsiteX22822" y="connsiteY22822"/>
              </a:cxn>
              <a:cxn ang="0">
                <a:pos x="connsiteX22823" y="connsiteY22823"/>
              </a:cxn>
              <a:cxn ang="0">
                <a:pos x="connsiteX22824" y="connsiteY22824"/>
              </a:cxn>
              <a:cxn ang="0">
                <a:pos x="connsiteX22825" y="connsiteY22825"/>
              </a:cxn>
              <a:cxn ang="0">
                <a:pos x="connsiteX22826" y="connsiteY22826"/>
              </a:cxn>
              <a:cxn ang="0">
                <a:pos x="connsiteX22827" y="connsiteY22827"/>
              </a:cxn>
              <a:cxn ang="0">
                <a:pos x="connsiteX22828" y="connsiteY22828"/>
              </a:cxn>
              <a:cxn ang="0">
                <a:pos x="connsiteX22829" y="connsiteY22829"/>
              </a:cxn>
              <a:cxn ang="0">
                <a:pos x="connsiteX22830" y="connsiteY22830"/>
              </a:cxn>
              <a:cxn ang="0">
                <a:pos x="connsiteX22831" y="connsiteY22831"/>
              </a:cxn>
              <a:cxn ang="0">
                <a:pos x="connsiteX22832" y="connsiteY22832"/>
              </a:cxn>
              <a:cxn ang="0">
                <a:pos x="connsiteX22833" y="connsiteY22833"/>
              </a:cxn>
              <a:cxn ang="0">
                <a:pos x="connsiteX22834" y="connsiteY22834"/>
              </a:cxn>
              <a:cxn ang="0">
                <a:pos x="connsiteX22835" y="connsiteY22835"/>
              </a:cxn>
              <a:cxn ang="0">
                <a:pos x="connsiteX22836" y="connsiteY22836"/>
              </a:cxn>
              <a:cxn ang="0">
                <a:pos x="connsiteX22837" y="connsiteY22837"/>
              </a:cxn>
              <a:cxn ang="0">
                <a:pos x="connsiteX22838" y="connsiteY22838"/>
              </a:cxn>
              <a:cxn ang="0">
                <a:pos x="connsiteX22839" y="connsiteY22839"/>
              </a:cxn>
              <a:cxn ang="0">
                <a:pos x="connsiteX22840" y="connsiteY22840"/>
              </a:cxn>
              <a:cxn ang="0">
                <a:pos x="connsiteX22841" y="connsiteY22841"/>
              </a:cxn>
              <a:cxn ang="0">
                <a:pos x="connsiteX22842" y="connsiteY22842"/>
              </a:cxn>
              <a:cxn ang="0">
                <a:pos x="connsiteX22843" y="connsiteY22843"/>
              </a:cxn>
              <a:cxn ang="0">
                <a:pos x="connsiteX22844" y="connsiteY22844"/>
              </a:cxn>
              <a:cxn ang="0">
                <a:pos x="connsiteX22845" y="connsiteY22845"/>
              </a:cxn>
              <a:cxn ang="0">
                <a:pos x="connsiteX22846" y="connsiteY22846"/>
              </a:cxn>
              <a:cxn ang="0">
                <a:pos x="connsiteX22847" y="connsiteY22847"/>
              </a:cxn>
              <a:cxn ang="0">
                <a:pos x="connsiteX22848" y="connsiteY22848"/>
              </a:cxn>
              <a:cxn ang="0">
                <a:pos x="connsiteX22849" y="connsiteY22849"/>
              </a:cxn>
              <a:cxn ang="0">
                <a:pos x="connsiteX22850" y="connsiteY22850"/>
              </a:cxn>
              <a:cxn ang="0">
                <a:pos x="connsiteX22851" y="connsiteY22851"/>
              </a:cxn>
              <a:cxn ang="0">
                <a:pos x="connsiteX22852" y="connsiteY22852"/>
              </a:cxn>
              <a:cxn ang="0">
                <a:pos x="connsiteX22853" y="connsiteY22853"/>
              </a:cxn>
              <a:cxn ang="0">
                <a:pos x="connsiteX22854" y="connsiteY22854"/>
              </a:cxn>
              <a:cxn ang="0">
                <a:pos x="connsiteX22855" y="connsiteY22855"/>
              </a:cxn>
              <a:cxn ang="0">
                <a:pos x="connsiteX22856" y="connsiteY22856"/>
              </a:cxn>
              <a:cxn ang="0">
                <a:pos x="connsiteX22857" y="connsiteY22857"/>
              </a:cxn>
              <a:cxn ang="0">
                <a:pos x="connsiteX22858" y="connsiteY22858"/>
              </a:cxn>
              <a:cxn ang="0">
                <a:pos x="connsiteX22859" y="connsiteY22859"/>
              </a:cxn>
              <a:cxn ang="0">
                <a:pos x="connsiteX22860" y="connsiteY22860"/>
              </a:cxn>
              <a:cxn ang="0">
                <a:pos x="connsiteX22861" y="connsiteY22861"/>
              </a:cxn>
              <a:cxn ang="0">
                <a:pos x="connsiteX22862" y="connsiteY22862"/>
              </a:cxn>
              <a:cxn ang="0">
                <a:pos x="connsiteX22863" y="connsiteY22863"/>
              </a:cxn>
              <a:cxn ang="0">
                <a:pos x="connsiteX22864" y="connsiteY22864"/>
              </a:cxn>
              <a:cxn ang="0">
                <a:pos x="connsiteX22865" y="connsiteY22865"/>
              </a:cxn>
              <a:cxn ang="0">
                <a:pos x="connsiteX22866" y="connsiteY22866"/>
              </a:cxn>
              <a:cxn ang="0">
                <a:pos x="connsiteX22867" y="connsiteY22867"/>
              </a:cxn>
              <a:cxn ang="0">
                <a:pos x="connsiteX22868" y="connsiteY22868"/>
              </a:cxn>
              <a:cxn ang="0">
                <a:pos x="connsiteX22869" y="connsiteY22869"/>
              </a:cxn>
              <a:cxn ang="0">
                <a:pos x="connsiteX22870" y="connsiteY22870"/>
              </a:cxn>
              <a:cxn ang="0">
                <a:pos x="connsiteX22871" y="connsiteY22871"/>
              </a:cxn>
              <a:cxn ang="0">
                <a:pos x="connsiteX22872" y="connsiteY22872"/>
              </a:cxn>
              <a:cxn ang="0">
                <a:pos x="connsiteX22873" y="connsiteY22873"/>
              </a:cxn>
              <a:cxn ang="0">
                <a:pos x="connsiteX22874" y="connsiteY22874"/>
              </a:cxn>
              <a:cxn ang="0">
                <a:pos x="connsiteX22875" y="connsiteY22875"/>
              </a:cxn>
              <a:cxn ang="0">
                <a:pos x="connsiteX22876" y="connsiteY22876"/>
              </a:cxn>
              <a:cxn ang="0">
                <a:pos x="connsiteX22877" y="connsiteY22877"/>
              </a:cxn>
              <a:cxn ang="0">
                <a:pos x="connsiteX22878" y="connsiteY22878"/>
              </a:cxn>
              <a:cxn ang="0">
                <a:pos x="connsiteX22879" y="connsiteY22879"/>
              </a:cxn>
              <a:cxn ang="0">
                <a:pos x="connsiteX22880" y="connsiteY22880"/>
              </a:cxn>
              <a:cxn ang="0">
                <a:pos x="connsiteX22881" y="connsiteY22881"/>
              </a:cxn>
              <a:cxn ang="0">
                <a:pos x="connsiteX22882" y="connsiteY22882"/>
              </a:cxn>
              <a:cxn ang="0">
                <a:pos x="connsiteX22883" y="connsiteY22883"/>
              </a:cxn>
              <a:cxn ang="0">
                <a:pos x="connsiteX22884" y="connsiteY22884"/>
              </a:cxn>
              <a:cxn ang="0">
                <a:pos x="connsiteX22885" y="connsiteY22885"/>
              </a:cxn>
              <a:cxn ang="0">
                <a:pos x="connsiteX22886" y="connsiteY22886"/>
              </a:cxn>
              <a:cxn ang="0">
                <a:pos x="connsiteX22887" y="connsiteY22887"/>
              </a:cxn>
              <a:cxn ang="0">
                <a:pos x="connsiteX22888" y="connsiteY22888"/>
              </a:cxn>
              <a:cxn ang="0">
                <a:pos x="connsiteX22889" y="connsiteY22889"/>
              </a:cxn>
              <a:cxn ang="0">
                <a:pos x="connsiteX22890" y="connsiteY22890"/>
              </a:cxn>
              <a:cxn ang="0">
                <a:pos x="connsiteX22891" y="connsiteY22891"/>
              </a:cxn>
              <a:cxn ang="0">
                <a:pos x="connsiteX22892" y="connsiteY22892"/>
              </a:cxn>
              <a:cxn ang="0">
                <a:pos x="connsiteX22893" y="connsiteY22893"/>
              </a:cxn>
              <a:cxn ang="0">
                <a:pos x="connsiteX22894" y="connsiteY22894"/>
              </a:cxn>
              <a:cxn ang="0">
                <a:pos x="connsiteX22895" y="connsiteY22895"/>
              </a:cxn>
              <a:cxn ang="0">
                <a:pos x="connsiteX22896" y="connsiteY22896"/>
              </a:cxn>
              <a:cxn ang="0">
                <a:pos x="connsiteX22897" y="connsiteY22897"/>
              </a:cxn>
              <a:cxn ang="0">
                <a:pos x="connsiteX22898" y="connsiteY22898"/>
              </a:cxn>
              <a:cxn ang="0">
                <a:pos x="connsiteX22899" y="connsiteY22899"/>
              </a:cxn>
              <a:cxn ang="0">
                <a:pos x="connsiteX22900" y="connsiteY22900"/>
              </a:cxn>
              <a:cxn ang="0">
                <a:pos x="connsiteX22901" y="connsiteY22901"/>
              </a:cxn>
              <a:cxn ang="0">
                <a:pos x="connsiteX22902" y="connsiteY22902"/>
              </a:cxn>
              <a:cxn ang="0">
                <a:pos x="connsiteX22903" y="connsiteY22903"/>
              </a:cxn>
              <a:cxn ang="0">
                <a:pos x="connsiteX22904" y="connsiteY22904"/>
              </a:cxn>
              <a:cxn ang="0">
                <a:pos x="connsiteX22905" y="connsiteY22905"/>
              </a:cxn>
              <a:cxn ang="0">
                <a:pos x="connsiteX22906" y="connsiteY22906"/>
              </a:cxn>
              <a:cxn ang="0">
                <a:pos x="connsiteX22907" y="connsiteY22907"/>
              </a:cxn>
              <a:cxn ang="0">
                <a:pos x="connsiteX22908" y="connsiteY22908"/>
              </a:cxn>
              <a:cxn ang="0">
                <a:pos x="connsiteX22909" y="connsiteY22909"/>
              </a:cxn>
              <a:cxn ang="0">
                <a:pos x="connsiteX22910" y="connsiteY22910"/>
              </a:cxn>
              <a:cxn ang="0">
                <a:pos x="connsiteX22911" y="connsiteY22911"/>
              </a:cxn>
              <a:cxn ang="0">
                <a:pos x="connsiteX22912" y="connsiteY22912"/>
              </a:cxn>
              <a:cxn ang="0">
                <a:pos x="connsiteX22913" y="connsiteY22913"/>
              </a:cxn>
              <a:cxn ang="0">
                <a:pos x="connsiteX22914" y="connsiteY22914"/>
              </a:cxn>
              <a:cxn ang="0">
                <a:pos x="connsiteX22915" y="connsiteY22915"/>
              </a:cxn>
              <a:cxn ang="0">
                <a:pos x="connsiteX22916" y="connsiteY22916"/>
              </a:cxn>
              <a:cxn ang="0">
                <a:pos x="connsiteX22917" y="connsiteY22917"/>
              </a:cxn>
              <a:cxn ang="0">
                <a:pos x="connsiteX22918" y="connsiteY22918"/>
              </a:cxn>
              <a:cxn ang="0">
                <a:pos x="connsiteX22919" y="connsiteY22919"/>
              </a:cxn>
              <a:cxn ang="0">
                <a:pos x="connsiteX22920" y="connsiteY22920"/>
              </a:cxn>
              <a:cxn ang="0">
                <a:pos x="connsiteX22921" y="connsiteY22921"/>
              </a:cxn>
              <a:cxn ang="0">
                <a:pos x="connsiteX22922" y="connsiteY22922"/>
              </a:cxn>
              <a:cxn ang="0">
                <a:pos x="connsiteX22923" y="connsiteY22923"/>
              </a:cxn>
              <a:cxn ang="0">
                <a:pos x="connsiteX22924" y="connsiteY22924"/>
              </a:cxn>
              <a:cxn ang="0">
                <a:pos x="connsiteX22925" y="connsiteY22925"/>
              </a:cxn>
              <a:cxn ang="0">
                <a:pos x="connsiteX22926" y="connsiteY22926"/>
              </a:cxn>
              <a:cxn ang="0">
                <a:pos x="connsiteX22927" y="connsiteY22927"/>
              </a:cxn>
              <a:cxn ang="0">
                <a:pos x="connsiteX22928" y="connsiteY22928"/>
              </a:cxn>
              <a:cxn ang="0">
                <a:pos x="connsiteX22929" y="connsiteY22929"/>
              </a:cxn>
              <a:cxn ang="0">
                <a:pos x="connsiteX22930" y="connsiteY22930"/>
              </a:cxn>
              <a:cxn ang="0">
                <a:pos x="connsiteX22931" y="connsiteY22931"/>
              </a:cxn>
              <a:cxn ang="0">
                <a:pos x="connsiteX22932" y="connsiteY22932"/>
              </a:cxn>
              <a:cxn ang="0">
                <a:pos x="connsiteX22933" y="connsiteY22933"/>
              </a:cxn>
              <a:cxn ang="0">
                <a:pos x="connsiteX22934" y="connsiteY22934"/>
              </a:cxn>
              <a:cxn ang="0">
                <a:pos x="connsiteX22935" y="connsiteY22935"/>
              </a:cxn>
              <a:cxn ang="0">
                <a:pos x="connsiteX22936" y="connsiteY22936"/>
              </a:cxn>
              <a:cxn ang="0">
                <a:pos x="connsiteX22937" y="connsiteY22937"/>
              </a:cxn>
              <a:cxn ang="0">
                <a:pos x="connsiteX22938" y="connsiteY22938"/>
              </a:cxn>
              <a:cxn ang="0">
                <a:pos x="connsiteX22939" y="connsiteY22939"/>
              </a:cxn>
              <a:cxn ang="0">
                <a:pos x="connsiteX22940" y="connsiteY22940"/>
              </a:cxn>
              <a:cxn ang="0">
                <a:pos x="connsiteX22941" y="connsiteY22941"/>
              </a:cxn>
              <a:cxn ang="0">
                <a:pos x="connsiteX22942" y="connsiteY22942"/>
              </a:cxn>
              <a:cxn ang="0">
                <a:pos x="connsiteX22943" y="connsiteY22943"/>
              </a:cxn>
              <a:cxn ang="0">
                <a:pos x="connsiteX22944" y="connsiteY22944"/>
              </a:cxn>
              <a:cxn ang="0">
                <a:pos x="connsiteX22945" y="connsiteY22945"/>
              </a:cxn>
              <a:cxn ang="0">
                <a:pos x="connsiteX22946" y="connsiteY22946"/>
              </a:cxn>
              <a:cxn ang="0">
                <a:pos x="connsiteX22947" y="connsiteY22947"/>
              </a:cxn>
              <a:cxn ang="0">
                <a:pos x="connsiteX22948" y="connsiteY22948"/>
              </a:cxn>
              <a:cxn ang="0">
                <a:pos x="connsiteX22949" y="connsiteY22949"/>
              </a:cxn>
              <a:cxn ang="0">
                <a:pos x="connsiteX22950" y="connsiteY22950"/>
              </a:cxn>
              <a:cxn ang="0">
                <a:pos x="connsiteX22951" y="connsiteY22951"/>
              </a:cxn>
              <a:cxn ang="0">
                <a:pos x="connsiteX22952" y="connsiteY22952"/>
              </a:cxn>
              <a:cxn ang="0">
                <a:pos x="connsiteX22953" y="connsiteY22953"/>
              </a:cxn>
              <a:cxn ang="0">
                <a:pos x="connsiteX22954" y="connsiteY22954"/>
              </a:cxn>
              <a:cxn ang="0">
                <a:pos x="connsiteX22955" y="connsiteY22955"/>
              </a:cxn>
              <a:cxn ang="0">
                <a:pos x="connsiteX22956" y="connsiteY22956"/>
              </a:cxn>
              <a:cxn ang="0">
                <a:pos x="connsiteX22957" y="connsiteY22957"/>
              </a:cxn>
              <a:cxn ang="0">
                <a:pos x="connsiteX22958" y="connsiteY22958"/>
              </a:cxn>
              <a:cxn ang="0">
                <a:pos x="connsiteX22959" y="connsiteY22959"/>
              </a:cxn>
              <a:cxn ang="0">
                <a:pos x="connsiteX22960" y="connsiteY22960"/>
              </a:cxn>
              <a:cxn ang="0">
                <a:pos x="connsiteX22961" y="connsiteY22961"/>
              </a:cxn>
              <a:cxn ang="0">
                <a:pos x="connsiteX22962" y="connsiteY22962"/>
              </a:cxn>
              <a:cxn ang="0">
                <a:pos x="connsiteX22963" y="connsiteY22963"/>
              </a:cxn>
              <a:cxn ang="0">
                <a:pos x="connsiteX22964" y="connsiteY22964"/>
              </a:cxn>
              <a:cxn ang="0">
                <a:pos x="connsiteX22965" y="connsiteY22965"/>
              </a:cxn>
              <a:cxn ang="0">
                <a:pos x="connsiteX22966" y="connsiteY22966"/>
              </a:cxn>
              <a:cxn ang="0">
                <a:pos x="connsiteX22967" y="connsiteY22967"/>
              </a:cxn>
              <a:cxn ang="0">
                <a:pos x="connsiteX22968" y="connsiteY22968"/>
              </a:cxn>
              <a:cxn ang="0">
                <a:pos x="connsiteX22969" y="connsiteY22969"/>
              </a:cxn>
              <a:cxn ang="0">
                <a:pos x="connsiteX22970" y="connsiteY22970"/>
              </a:cxn>
              <a:cxn ang="0">
                <a:pos x="connsiteX22971" y="connsiteY22971"/>
              </a:cxn>
              <a:cxn ang="0">
                <a:pos x="connsiteX22972" y="connsiteY22972"/>
              </a:cxn>
              <a:cxn ang="0">
                <a:pos x="connsiteX22973" y="connsiteY22973"/>
              </a:cxn>
              <a:cxn ang="0">
                <a:pos x="connsiteX22974" y="connsiteY22974"/>
              </a:cxn>
              <a:cxn ang="0">
                <a:pos x="connsiteX22975" y="connsiteY22975"/>
              </a:cxn>
              <a:cxn ang="0">
                <a:pos x="connsiteX22976" y="connsiteY22976"/>
              </a:cxn>
              <a:cxn ang="0">
                <a:pos x="connsiteX22977" y="connsiteY22977"/>
              </a:cxn>
              <a:cxn ang="0">
                <a:pos x="connsiteX22978" y="connsiteY22978"/>
              </a:cxn>
              <a:cxn ang="0">
                <a:pos x="connsiteX22979" y="connsiteY22979"/>
              </a:cxn>
              <a:cxn ang="0">
                <a:pos x="connsiteX22980" y="connsiteY22980"/>
              </a:cxn>
              <a:cxn ang="0">
                <a:pos x="connsiteX22981" y="connsiteY22981"/>
              </a:cxn>
              <a:cxn ang="0">
                <a:pos x="connsiteX22982" y="connsiteY22982"/>
              </a:cxn>
              <a:cxn ang="0">
                <a:pos x="connsiteX22983" y="connsiteY22983"/>
              </a:cxn>
              <a:cxn ang="0">
                <a:pos x="connsiteX22984" y="connsiteY22984"/>
              </a:cxn>
              <a:cxn ang="0">
                <a:pos x="connsiteX22985" y="connsiteY22985"/>
              </a:cxn>
              <a:cxn ang="0">
                <a:pos x="connsiteX22986" y="connsiteY22986"/>
              </a:cxn>
              <a:cxn ang="0">
                <a:pos x="connsiteX22987" y="connsiteY22987"/>
              </a:cxn>
              <a:cxn ang="0">
                <a:pos x="connsiteX22988" y="connsiteY22988"/>
              </a:cxn>
              <a:cxn ang="0">
                <a:pos x="connsiteX22989" y="connsiteY22989"/>
              </a:cxn>
              <a:cxn ang="0">
                <a:pos x="connsiteX22990" y="connsiteY22990"/>
              </a:cxn>
              <a:cxn ang="0">
                <a:pos x="connsiteX22991" y="connsiteY22991"/>
              </a:cxn>
              <a:cxn ang="0">
                <a:pos x="connsiteX22992" y="connsiteY22992"/>
              </a:cxn>
              <a:cxn ang="0">
                <a:pos x="connsiteX22993" y="connsiteY22993"/>
              </a:cxn>
              <a:cxn ang="0">
                <a:pos x="connsiteX22994" y="connsiteY22994"/>
              </a:cxn>
              <a:cxn ang="0">
                <a:pos x="connsiteX22995" y="connsiteY22995"/>
              </a:cxn>
              <a:cxn ang="0">
                <a:pos x="connsiteX22996" y="connsiteY22996"/>
              </a:cxn>
              <a:cxn ang="0">
                <a:pos x="connsiteX22997" y="connsiteY22997"/>
              </a:cxn>
              <a:cxn ang="0">
                <a:pos x="connsiteX22998" y="connsiteY22998"/>
              </a:cxn>
              <a:cxn ang="0">
                <a:pos x="connsiteX22999" y="connsiteY22999"/>
              </a:cxn>
              <a:cxn ang="0">
                <a:pos x="connsiteX23000" y="connsiteY23000"/>
              </a:cxn>
              <a:cxn ang="0">
                <a:pos x="connsiteX23001" y="connsiteY23001"/>
              </a:cxn>
              <a:cxn ang="0">
                <a:pos x="connsiteX23002" y="connsiteY23002"/>
              </a:cxn>
              <a:cxn ang="0">
                <a:pos x="connsiteX23003" y="connsiteY23003"/>
              </a:cxn>
              <a:cxn ang="0">
                <a:pos x="connsiteX23004" y="connsiteY23004"/>
              </a:cxn>
              <a:cxn ang="0">
                <a:pos x="connsiteX23005" y="connsiteY23005"/>
              </a:cxn>
              <a:cxn ang="0">
                <a:pos x="connsiteX23006" y="connsiteY23006"/>
              </a:cxn>
              <a:cxn ang="0">
                <a:pos x="connsiteX23007" y="connsiteY23007"/>
              </a:cxn>
              <a:cxn ang="0">
                <a:pos x="connsiteX23008" y="connsiteY23008"/>
              </a:cxn>
              <a:cxn ang="0">
                <a:pos x="connsiteX23009" y="connsiteY23009"/>
              </a:cxn>
              <a:cxn ang="0">
                <a:pos x="connsiteX23010" y="connsiteY23010"/>
              </a:cxn>
              <a:cxn ang="0">
                <a:pos x="connsiteX23011" y="connsiteY23011"/>
              </a:cxn>
              <a:cxn ang="0">
                <a:pos x="connsiteX23012" y="connsiteY23012"/>
              </a:cxn>
              <a:cxn ang="0">
                <a:pos x="connsiteX23013" y="connsiteY23013"/>
              </a:cxn>
              <a:cxn ang="0">
                <a:pos x="connsiteX23014" y="connsiteY23014"/>
              </a:cxn>
              <a:cxn ang="0">
                <a:pos x="connsiteX23015" y="connsiteY23015"/>
              </a:cxn>
              <a:cxn ang="0">
                <a:pos x="connsiteX23016" y="connsiteY23016"/>
              </a:cxn>
              <a:cxn ang="0">
                <a:pos x="connsiteX23017" y="connsiteY23017"/>
              </a:cxn>
              <a:cxn ang="0">
                <a:pos x="connsiteX23018" y="connsiteY23018"/>
              </a:cxn>
              <a:cxn ang="0">
                <a:pos x="connsiteX23019" y="connsiteY23019"/>
              </a:cxn>
              <a:cxn ang="0">
                <a:pos x="connsiteX23020" y="connsiteY23020"/>
              </a:cxn>
              <a:cxn ang="0">
                <a:pos x="connsiteX23021" y="connsiteY23021"/>
              </a:cxn>
              <a:cxn ang="0">
                <a:pos x="connsiteX23022" y="connsiteY23022"/>
              </a:cxn>
              <a:cxn ang="0">
                <a:pos x="connsiteX23023" y="connsiteY23023"/>
              </a:cxn>
              <a:cxn ang="0">
                <a:pos x="connsiteX23024" y="connsiteY23024"/>
              </a:cxn>
              <a:cxn ang="0">
                <a:pos x="connsiteX23025" y="connsiteY23025"/>
              </a:cxn>
              <a:cxn ang="0">
                <a:pos x="connsiteX23026" y="connsiteY23026"/>
              </a:cxn>
              <a:cxn ang="0">
                <a:pos x="connsiteX23027" y="connsiteY23027"/>
              </a:cxn>
              <a:cxn ang="0">
                <a:pos x="connsiteX23028" y="connsiteY23028"/>
              </a:cxn>
              <a:cxn ang="0">
                <a:pos x="connsiteX23029" y="connsiteY23029"/>
              </a:cxn>
              <a:cxn ang="0">
                <a:pos x="connsiteX23030" y="connsiteY23030"/>
              </a:cxn>
              <a:cxn ang="0">
                <a:pos x="connsiteX23031" y="connsiteY23031"/>
              </a:cxn>
              <a:cxn ang="0">
                <a:pos x="connsiteX23032" y="connsiteY23032"/>
              </a:cxn>
              <a:cxn ang="0">
                <a:pos x="connsiteX23033" y="connsiteY23033"/>
              </a:cxn>
              <a:cxn ang="0">
                <a:pos x="connsiteX23034" y="connsiteY23034"/>
              </a:cxn>
              <a:cxn ang="0">
                <a:pos x="connsiteX23035" y="connsiteY23035"/>
              </a:cxn>
              <a:cxn ang="0">
                <a:pos x="connsiteX23036" y="connsiteY23036"/>
              </a:cxn>
              <a:cxn ang="0">
                <a:pos x="connsiteX23037" y="connsiteY23037"/>
              </a:cxn>
              <a:cxn ang="0">
                <a:pos x="connsiteX23038" y="connsiteY23038"/>
              </a:cxn>
              <a:cxn ang="0">
                <a:pos x="connsiteX23039" y="connsiteY23039"/>
              </a:cxn>
              <a:cxn ang="0">
                <a:pos x="connsiteX23040" y="connsiteY23040"/>
              </a:cxn>
              <a:cxn ang="0">
                <a:pos x="connsiteX23041" y="connsiteY23041"/>
              </a:cxn>
              <a:cxn ang="0">
                <a:pos x="connsiteX23042" y="connsiteY23042"/>
              </a:cxn>
              <a:cxn ang="0">
                <a:pos x="connsiteX23043" y="connsiteY23043"/>
              </a:cxn>
              <a:cxn ang="0">
                <a:pos x="connsiteX23044" y="connsiteY23044"/>
              </a:cxn>
              <a:cxn ang="0">
                <a:pos x="connsiteX23045" y="connsiteY23045"/>
              </a:cxn>
              <a:cxn ang="0">
                <a:pos x="connsiteX23046" y="connsiteY23046"/>
              </a:cxn>
              <a:cxn ang="0">
                <a:pos x="connsiteX23047" y="connsiteY23047"/>
              </a:cxn>
              <a:cxn ang="0">
                <a:pos x="connsiteX23048" y="connsiteY23048"/>
              </a:cxn>
              <a:cxn ang="0">
                <a:pos x="connsiteX23049" y="connsiteY23049"/>
              </a:cxn>
              <a:cxn ang="0">
                <a:pos x="connsiteX23050" y="connsiteY23050"/>
              </a:cxn>
              <a:cxn ang="0">
                <a:pos x="connsiteX23051" y="connsiteY23051"/>
              </a:cxn>
              <a:cxn ang="0">
                <a:pos x="connsiteX23052" y="connsiteY23052"/>
              </a:cxn>
              <a:cxn ang="0">
                <a:pos x="connsiteX23053" y="connsiteY23053"/>
              </a:cxn>
              <a:cxn ang="0">
                <a:pos x="connsiteX23054" y="connsiteY23054"/>
              </a:cxn>
              <a:cxn ang="0">
                <a:pos x="connsiteX23055" y="connsiteY23055"/>
              </a:cxn>
              <a:cxn ang="0">
                <a:pos x="connsiteX23056" y="connsiteY23056"/>
              </a:cxn>
              <a:cxn ang="0">
                <a:pos x="connsiteX23057" y="connsiteY23057"/>
              </a:cxn>
              <a:cxn ang="0">
                <a:pos x="connsiteX23058" y="connsiteY23058"/>
              </a:cxn>
              <a:cxn ang="0">
                <a:pos x="connsiteX23059" y="connsiteY23059"/>
              </a:cxn>
              <a:cxn ang="0">
                <a:pos x="connsiteX23060" y="connsiteY23060"/>
              </a:cxn>
              <a:cxn ang="0">
                <a:pos x="connsiteX23061" y="connsiteY23061"/>
              </a:cxn>
              <a:cxn ang="0">
                <a:pos x="connsiteX23062" y="connsiteY23062"/>
              </a:cxn>
              <a:cxn ang="0">
                <a:pos x="connsiteX23063" y="connsiteY23063"/>
              </a:cxn>
              <a:cxn ang="0">
                <a:pos x="connsiteX23064" y="connsiteY23064"/>
              </a:cxn>
              <a:cxn ang="0">
                <a:pos x="connsiteX23065" y="connsiteY23065"/>
              </a:cxn>
              <a:cxn ang="0">
                <a:pos x="connsiteX23066" y="connsiteY23066"/>
              </a:cxn>
              <a:cxn ang="0">
                <a:pos x="connsiteX23067" y="connsiteY23067"/>
              </a:cxn>
              <a:cxn ang="0">
                <a:pos x="connsiteX23068" y="connsiteY23068"/>
              </a:cxn>
              <a:cxn ang="0">
                <a:pos x="connsiteX23069" y="connsiteY23069"/>
              </a:cxn>
              <a:cxn ang="0">
                <a:pos x="connsiteX23070" y="connsiteY23070"/>
              </a:cxn>
              <a:cxn ang="0">
                <a:pos x="connsiteX23071" y="connsiteY23071"/>
              </a:cxn>
              <a:cxn ang="0">
                <a:pos x="connsiteX23072" y="connsiteY23072"/>
              </a:cxn>
              <a:cxn ang="0">
                <a:pos x="connsiteX23073" y="connsiteY23073"/>
              </a:cxn>
              <a:cxn ang="0">
                <a:pos x="connsiteX23074" y="connsiteY23074"/>
              </a:cxn>
              <a:cxn ang="0">
                <a:pos x="connsiteX23075" y="connsiteY23075"/>
              </a:cxn>
              <a:cxn ang="0">
                <a:pos x="connsiteX23076" y="connsiteY23076"/>
              </a:cxn>
              <a:cxn ang="0">
                <a:pos x="connsiteX23077" y="connsiteY23077"/>
              </a:cxn>
              <a:cxn ang="0">
                <a:pos x="connsiteX23078" y="connsiteY23078"/>
              </a:cxn>
              <a:cxn ang="0">
                <a:pos x="connsiteX23079" y="connsiteY23079"/>
              </a:cxn>
              <a:cxn ang="0">
                <a:pos x="connsiteX23080" y="connsiteY23080"/>
              </a:cxn>
              <a:cxn ang="0">
                <a:pos x="connsiteX23081" y="connsiteY23081"/>
              </a:cxn>
              <a:cxn ang="0">
                <a:pos x="connsiteX23082" y="connsiteY23082"/>
              </a:cxn>
              <a:cxn ang="0">
                <a:pos x="connsiteX23083" y="connsiteY23083"/>
              </a:cxn>
              <a:cxn ang="0">
                <a:pos x="connsiteX23084" y="connsiteY23084"/>
              </a:cxn>
              <a:cxn ang="0">
                <a:pos x="connsiteX23085" y="connsiteY23085"/>
              </a:cxn>
              <a:cxn ang="0">
                <a:pos x="connsiteX23086" y="connsiteY23086"/>
              </a:cxn>
              <a:cxn ang="0">
                <a:pos x="connsiteX23087" y="connsiteY23087"/>
              </a:cxn>
              <a:cxn ang="0">
                <a:pos x="connsiteX23088" y="connsiteY23088"/>
              </a:cxn>
              <a:cxn ang="0">
                <a:pos x="connsiteX23089" y="connsiteY23089"/>
              </a:cxn>
              <a:cxn ang="0">
                <a:pos x="connsiteX23090" y="connsiteY23090"/>
              </a:cxn>
              <a:cxn ang="0">
                <a:pos x="connsiteX23091" y="connsiteY23091"/>
              </a:cxn>
              <a:cxn ang="0">
                <a:pos x="connsiteX23092" y="connsiteY23092"/>
              </a:cxn>
              <a:cxn ang="0">
                <a:pos x="connsiteX23093" y="connsiteY23093"/>
              </a:cxn>
              <a:cxn ang="0">
                <a:pos x="connsiteX23094" y="connsiteY23094"/>
              </a:cxn>
              <a:cxn ang="0">
                <a:pos x="connsiteX23095" y="connsiteY23095"/>
              </a:cxn>
              <a:cxn ang="0">
                <a:pos x="connsiteX23096" y="connsiteY23096"/>
              </a:cxn>
              <a:cxn ang="0">
                <a:pos x="connsiteX23097" y="connsiteY23097"/>
              </a:cxn>
              <a:cxn ang="0">
                <a:pos x="connsiteX23098" y="connsiteY23098"/>
              </a:cxn>
              <a:cxn ang="0">
                <a:pos x="connsiteX23099" y="connsiteY23099"/>
              </a:cxn>
              <a:cxn ang="0">
                <a:pos x="connsiteX23100" y="connsiteY23100"/>
              </a:cxn>
              <a:cxn ang="0">
                <a:pos x="connsiteX23101" y="connsiteY23101"/>
              </a:cxn>
              <a:cxn ang="0">
                <a:pos x="connsiteX23102" y="connsiteY23102"/>
              </a:cxn>
              <a:cxn ang="0">
                <a:pos x="connsiteX23103" y="connsiteY23103"/>
              </a:cxn>
              <a:cxn ang="0">
                <a:pos x="connsiteX23104" y="connsiteY23104"/>
              </a:cxn>
              <a:cxn ang="0">
                <a:pos x="connsiteX23105" y="connsiteY23105"/>
              </a:cxn>
              <a:cxn ang="0">
                <a:pos x="connsiteX23106" y="connsiteY23106"/>
              </a:cxn>
              <a:cxn ang="0">
                <a:pos x="connsiteX23107" y="connsiteY23107"/>
              </a:cxn>
              <a:cxn ang="0">
                <a:pos x="connsiteX23108" y="connsiteY23108"/>
              </a:cxn>
              <a:cxn ang="0">
                <a:pos x="connsiteX23109" y="connsiteY23109"/>
              </a:cxn>
              <a:cxn ang="0">
                <a:pos x="connsiteX23110" y="connsiteY23110"/>
              </a:cxn>
              <a:cxn ang="0">
                <a:pos x="connsiteX23111" y="connsiteY23111"/>
              </a:cxn>
              <a:cxn ang="0">
                <a:pos x="connsiteX23112" y="connsiteY23112"/>
              </a:cxn>
              <a:cxn ang="0">
                <a:pos x="connsiteX23113" y="connsiteY23113"/>
              </a:cxn>
              <a:cxn ang="0">
                <a:pos x="connsiteX23114" y="connsiteY23114"/>
              </a:cxn>
              <a:cxn ang="0">
                <a:pos x="connsiteX23115" y="connsiteY23115"/>
              </a:cxn>
              <a:cxn ang="0">
                <a:pos x="connsiteX23116" y="connsiteY23116"/>
              </a:cxn>
              <a:cxn ang="0">
                <a:pos x="connsiteX23117" y="connsiteY23117"/>
              </a:cxn>
              <a:cxn ang="0">
                <a:pos x="connsiteX23118" y="connsiteY23118"/>
              </a:cxn>
              <a:cxn ang="0">
                <a:pos x="connsiteX23119" y="connsiteY23119"/>
              </a:cxn>
              <a:cxn ang="0">
                <a:pos x="connsiteX23120" y="connsiteY23120"/>
              </a:cxn>
              <a:cxn ang="0">
                <a:pos x="connsiteX23121" y="connsiteY23121"/>
              </a:cxn>
              <a:cxn ang="0">
                <a:pos x="connsiteX23122" y="connsiteY23122"/>
              </a:cxn>
              <a:cxn ang="0">
                <a:pos x="connsiteX23123" y="connsiteY23123"/>
              </a:cxn>
              <a:cxn ang="0">
                <a:pos x="connsiteX23124" y="connsiteY23124"/>
              </a:cxn>
              <a:cxn ang="0">
                <a:pos x="connsiteX23125" y="connsiteY23125"/>
              </a:cxn>
              <a:cxn ang="0">
                <a:pos x="connsiteX23126" y="connsiteY23126"/>
              </a:cxn>
              <a:cxn ang="0">
                <a:pos x="connsiteX23127" y="connsiteY23127"/>
              </a:cxn>
              <a:cxn ang="0">
                <a:pos x="connsiteX23128" y="connsiteY23128"/>
              </a:cxn>
              <a:cxn ang="0">
                <a:pos x="connsiteX23129" y="connsiteY23129"/>
              </a:cxn>
              <a:cxn ang="0">
                <a:pos x="connsiteX23130" y="connsiteY23130"/>
              </a:cxn>
              <a:cxn ang="0">
                <a:pos x="connsiteX23131" y="connsiteY23131"/>
              </a:cxn>
              <a:cxn ang="0">
                <a:pos x="connsiteX23132" y="connsiteY23132"/>
              </a:cxn>
              <a:cxn ang="0">
                <a:pos x="connsiteX23133" y="connsiteY23133"/>
              </a:cxn>
              <a:cxn ang="0">
                <a:pos x="connsiteX23134" y="connsiteY23134"/>
              </a:cxn>
              <a:cxn ang="0">
                <a:pos x="connsiteX23135" y="connsiteY23135"/>
              </a:cxn>
              <a:cxn ang="0">
                <a:pos x="connsiteX23136" y="connsiteY23136"/>
              </a:cxn>
              <a:cxn ang="0">
                <a:pos x="connsiteX23137" y="connsiteY23137"/>
              </a:cxn>
              <a:cxn ang="0">
                <a:pos x="connsiteX23138" y="connsiteY23138"/>
              </a:cxn>
              <a:cxn ang="0">
                <a:pos x="connsiteX23139" y="connsiteY23139"/>
              </a:cxn>
              <a:cxn ang="0">
                <a:pos x="connsiteX23140" y="connsiteY23140"/>
              </a:cxn>
              <a:cxn ang="0">
                <a:pos x="connsiteX23141" y="connsiteY23141"/>
              </a:cxn>
              <a:cxn ang="0">
                <a:pos x="connsiteX23142" y="connsiteY23142"/>
              </a:cxn>
              <a:cxn ang="0">
                <a:pos x="connsiteX23143" y="connsiteY23143"/>
              </a:cxn>
              <a:cxn ang="0">
                <a:pos x="connsiteX23144" y="connsiteY23144"/>
              </a:cxn>
              <a:cxn ang="0">
                <a:pos x="connsiteX23145" y="connsiteY23145"/>
              </a:cxn>
              <a:cxn ang="0">
                <a:pos x="connsiteX23146" y="connsiteY23146"/>
              </a:cxn>
              <a:cxn ang="0">
                <a:pos x="connsiteX23147" y="connsiteY23147"/>
              </a:cxn>
              <a:cxn ang="0">
                <a:pos x="connsiteX23148" y="connsiteY23148"/>
              </a:cxn>
              <a:cxn ang="0">
                <a:pos x="connsiteX23149" y="connsiteY23149"/>
              </a:cxn>
              <a:cxn ang="0">
                <a:pos x="connsiteX23150" y="connsiteY23150"/>
              </a:cxn>
              <a:cxn ang="0">
                <a:pos x="connsiteX23151" y="connsiteY23151"/>
              </a:cxn>
              <a:cxn ang="0">
                <a:pos x="connsiteX23152" y="connsiteY23152"/>
              </a:cxn>
              <a:cxn ang="0">
                <a:pos x="connsiteX23153" y="connsiteY23153"/>
              </a:cxn>
              <a:cxn ang="0">
                <a:pos x="connsiteX23154" y="connsiteY23154"/>
              </a:cxn>
              <a:cxn ang="0">
                <a:pos x="connsiteX23155" y="connsiteY23155"/>
              </a:cxn>
              <a:cxn ang="0">
                <a:pos x="connsiteX23156" y="connsiteY23156"/>
              </a:cxn>
              <a:cxn ang="0">
                <a:pos x="connsiteX23157" y="connsiteY23157"/>
              </a:cxn>
              <a:cxn ang="0">
                <a:pos x="connsiteX23158" y="connsiteY23158"/>
              </a:cxn>
              <a:cxn ang="0">
                <a:pos x="connsiteX23159" y="connsiteY23159"/>
              </a:cxn>
              <a:cxn ang="0">
                <a:pos x="connsiteX23160" y="connsiteY23160"/>
              </a:cxn>
              <a:cxn ang="0">
                <a:pos x="connsiteX23161" y="connsiteY23161"/>
              </a:cxn>
              <a:cxn ang="0">
                <a:pos x="connsiteX23162" y="connsiteY23162"/>
              </a:cxn>
              <a:cxn ang="0">
                <a:pos x="connsiteX23163" y="connsiteY23163"/>
              </a:cxn>
              <a:cxn ang="0">
                <a:pos x="connsiteX23164" y="connsiteY23164"/>
              </a:cxn>
              <a:cxn ang="0">
                <a:pos x="connsiteX23165" y="connsiteY23165"/>
              </a:cxn>
              <a:cxn ang="0">
                <a:pos x="connsiteX23166" y="connsiteY23166"/>
              </a:cxn>
              <a:cxn ang="0">
                <a:pos x="connsiteX23167" y="connsiteY23167"/>
              </a:cxn>
              <a:cxn ang="0">
                <a:pos x="connsiteX23168" y="connsiteY23168"/>
              </a:cxn>
              <a:cxn ang="0">
                <a:pos x="connsiteX23169" y="connsiteY23169"/>
              </a:cxn>
              <a:cxn ang="0">
                <a:pos x="connsiteX23170" y="connsiteY23170"/>
              </a:cxn>
              <a:cxn ang="0">
                <a:pos x="connsiteX23171" y="connsiteY23171"/>
              </a:cxn>
              <a:cxn ang="0">
                <a:pos x="connsiteX23172" y="connsiteY23172"/>
              </a:cxn>
              <a:cxn ang="0">
                <a:pos x="connsiteX23173" y="connsiteY23173"/>
              </a:cxn>
              <a:cxn ang="0">
                <a:pos x="connsiteX23174" y="connsiteY23174"/>
              </a:cxn>
              <a:cxn ang="0">
                <a:pos x="connsiteX23175" y="connsiteY23175"/>
              </a:cxn>
              <a:cxn ang="0">
                <a:pos x="connsiteX23176" y="connsiteY23176"/>
              </a:cxn>
              <a:cxn ang="0">
                <a:pos x="connsiteX23177" y="connsiteY23177"/>
              </a:cxn>
              <a:cxn ang="0">
                <a:pos x="connsiteX23178" y="connsiteY23178"/>
              </a:cxn>
              <a:cxn ang="0">
                <a:pos x="connsiteX23179" y="connsiteY23179"/>
              </a:cxn>
              <a:cxn ang="0">
                <a:pos x="connsiteX23180" y="connsiteY23180"/>
              </a:cxn>
              <a:cxn ang="0">
                <a:pos x="connsiteX23181" y="connsiteY23181"/>
              </a:cxn>
              <a:cxn ang="0">
                <a:pos x="connsiteX23182" y="connsiteY23182"/>
              </a:cxn>
              <a:cxn ang="0">
                <a:pos x="connsiteX23183" y="connsiteY23183"/>
              </a:cxn>
              <a:cxn ang="0">
                <a:pos x="connsiteX23184" y="connsiteY23184"/>
              </a:cxn>
              <a:cxn ang="0">
                <a:pos x="connsiteX23185" y="connsiteY23185"/>
              </a:cxn>
              <a:cxn ang="0">
                <a:pos x="connsiteX23186" y="connsiteY23186"/>
              </a:cxn>
              <a:cxn ang="0">
                <a:pos x="connsiteX23187" y="connsiteY23187"/>
              </a:cxn>
              <a:cxn ang="0">
                <a:pos x="connsiteX23188" y="connsiteY23188"/>
              </a:cxn>
              <a:cxn ang="0">
                <a:pos x="connsiteX23189" y="connsiteY23189"/>
              </a:cxn>
              <a:cxn ang="0">
                <a:pos x="connsiteX23190" y="connsiteY23190"/>
              </a:cxn>
              <a:cxn ang="0">
                <a:pos x="connsiteX23191" y="connsiteY23191"/>
              </a:cxn>
              <a:cxn ang="0">
                <a:pos x="connsiteX23192" y="connsiteY23192"/>
              </a:cxn>
              <a:cxn ang="0">
                <a:pos x="connsiteX23193" y="connsiteY23193"/>
              </a:cxn>
              <a:cxn ang="0">
                <a:pos x="connsiteX23194" y="connsiteY23194"/>
              </a:cxn>
              <a:cxn ang="0">
                <a:pos x="connsiteX23195" y="connsiteY23195"/>
              </a:cxn>
              <a:cxn ang="0">
                <a:pos x="connsiteX23196" y="connsiteY23196"/>
              </a:cxn>
              <a:cxn ang="0">
                <a:pos x="connsiteX23197" y="connsiteY23197"/>
              </a:cxn>
              <a:cxn ang="0">
                <a:pos x="connsiteX23198" y="connsiteY23198"/>
              </a:cxn>
              <a:cxn ang="0">
                <a:pos x="connsiteX23199" y="connsiteY23199"/>
              </a:cxn>
              <a:cxn ang="0">
                <a:pos x="connsiteX23200" y="connsiteY23200"/>
              </a:cxn>
              <a:cxn ang="0">
                <a:pos x="connsiteX23201" y="connsiteY23201"/>
              </a:cxn>
              <a:cxn ang="0">
                <a:pos x="connsiteX23202" y="connsiteY23202"/>
              </a:cxn>
              <a:cxn ang="0">
                <a:pos x="connsiteX23203" y="connsiteY23203"/>
              </a:cxn>
              <a:cxn ang="0">
                <a:pos x="connsiteX23204" y="connsiteY23204"/>
              </a:cxn>
              <a:cxn ang="0">
                <a:pos x="connsiteX23205" y="connsiteY23205"/>
              </a:cxn>
              <a:cxn ang="0">
                <a:pos x="connsiteX23206" y="connsiteY23206"/>
              </a:cxn>
              <a:cxn ang="0">
                <a:pos x="connsiteX23207" y="connsiteY23207"/>
              </a:cxn>
              <a:cxn ang="0">
                <a:pos x="connsiteX23208" y="connsiteY23208"/>
              </a:cxn>
              <a:cxn ang="0">
                <a:pos x="connsiteX23209" y="connsiteY23209"/>
              </a:cxn>
              <a:cxn ang="0">
                <a:pos x="connsiteX23210" y="connsiteY23210"/>
              </a:cxn>
              <a:cxn ang="0">
                <a:pos x="connsiteX23211" y="connsiteY23211"/>
              </a:cxn>
              <a:cxn ang="0">
                <a:pos x="connsiteX23212" y="connsiteY23212"/>
              </a:cxn>
              <a:cxn ang="0">
                <a:pos x="connsiteX23213" y="connsiteY23213"/>
              </a:cxn>
              <a:cxn ang="0">
                <a:pos x="connsiteX23214" y="connsiteY23214"/>
              </a:cxn>
              <a:cxn ang="0">
                <a:pos x="connsiteX23215" y="connsiteY23215"/>
              </a:cxn>
              <a:cxn ang="0">
                <a:pos x="connsiteX23216" y="connsiteY23216"/>
              </a:cxn>
              <a:cxn ang="0">
                <a:pos x="connsiteX23217" y="connsiteY23217"/>
              </a:cxn>
              <a:cxn ang="0">
                <a:pos x="connsiteX23218" y="connsiteY23218"/>
              </a:cxn>
              <a:cxn ang="0">
                <a:pos x="connsiteX23219" y="connsiteY23219"/>
              </a:cxn>
              <a:cxn ang="0">
                <a:pos x="connsiteX23220" y="connsiteY23220"/>
              </a:cxn>
              <a:cxn ang="0">
                <a:pos x="connsiteX23221" y="connsiteY23221"/>
              </a:cxn>
              <a:cxn ang="0">
                <a:pos x="connsiteX23222" y="connsiteY23222"/>
              </a:cxn>
              <a:cxn ang="0">
                <a:pos x="connsiteX23223" y="connsiteY23223"/>
              </a:cxn>
              <a:cxn ang="0">
                <a:pos x="connsiteX23224" y="connsiteY23224"/>
              </a:cxn>
              <a:cxn ang="0">
                <a:pos x="connsiteX23225" y="connsiteY23225"/>
              </a:cxn>
              <a:cxn ang="0">
                <a:pos x="connsiteX23226" y="connsiteY23226"/>
              </a:cxn>
              <a:cxn ang="0">
                <a:pos x="connsiteX23227" y="connsiteY23227"/>
              </a:cxn>
              <a:cxn ang="0">
                <a:pos x="connsiteX23228" y="connsiteY23228"/>
              </a:cxn>
              <a:cxn ang="0">
                <a:pos x="connsiteX23229" y="connsiteY23229"/>
              </a:cxn>
              <a:cxn ang="0">
                <a:pos x="connsiteX23230" y="connsiteY23230"/>
              </a:cxn>
              <a:cxn ang="0">
                <a:pos x="connsiteX23231" y="connsiteY23231"/>
              </a:cxn>
              <a:cxn ang="0">
                <a:pos x="connsiteX23232" y="connsiteY23232"/>
              </a:cxn>
              <a:cxn ang="0">
                <a:pos x="connsiteX23233" y="connsiteY23233"/>
              </a:cxn>
              <a:cxn ang="0">
                <a:pos x="connsiteX23234" y="connsiteY23234"/>
              </a:cxn>
              <a:cxn ang="0">
                <a:pos x="connsiteX23235" y="connsiteY23235"/>
              </a:cxn>
              <a:cxn ang="0">
                <a:pos x="connsiteX23236" y="connsiteY23236"/>
              </a:cxn>
              <a:cxn ang="0">
                <a:pos x="connsiteX23237" y="connsiteY23237"/>
              </a:cxn>
              <a:cxn ang="0">
                <a:pos x="connsiteX23238" y="connsiteY23238"/>
              </a:cxn>
              <a:cxn ang="0">
                <a:pos x="connsiteX23239" y="connsiteY23239"/>
              </a:cxn>
              <a:cxn ang="0">
                <a:pos x="connsiteX23240" y="connsiteY23240"/>
              </a:cxn>
              <a:cxn ang="0">
                <a:pos x="connsiteX23241" y="connsiteY23241"/>
              </a:cxn>
              <a:cxn ang="0">
                <a:pos x="connsiteX23242" y="connsiteY23242"/>
              </a:cxn>
              <a:cxn ang="0">
                <a:pos x="connsiteX23243" y="connsiteY23243"/>
              </a:cxn>
              <a:cxn ang="0">
                <a:pos x="connsiteX23244" y="connsiteY23244"/>
              </a:cxn>
              <a:cxn ang="0">
                <a:pos x="connsiteX23245" y="connsiteY23245"/>
              </a:cxn>
              <a:cxn ang="0">
                <a:pos x="connsiteX23246" y="connsiteY23246"/>
              </a:cxn>
              <a:cxn ang="0">
                <a:pos x="connsiteX23247" y="connsiteY23247"/>
              </a:cxn>
              <a:cxn ang="0">
                <a:pos x="connsiteX23248" y="connsiteY23248"/>
              </a:cxn>
              <a:cxn ang="0">
                <a:pos x="connsiteX23249" y="connsiteY23249"/>
              </a:cxn>
              <a:cxn ang="0">
                <a:pos x="connsiteX23250" y="connsiteY23250"/>
              </a:cxn>
              <a:cxn ang="0">
                <a:pos x="connsiteX23251" y="connsiteY23251"/>
              </a:cxn>
              <a:cxn ang="0">
                <a:pos x="connsiteX23252" y="connsiteY23252"/>
              </a:cxn>
              <a:cxn ang="0">
                <a:pos x="connsiteX23253" y="connsiteY23253"/>
              </a:cxn>
              <a:cxn ang="0">
                <a:pos x="connsiteX23254" y="connsiteY23254"/>
              </a:cxn>
              <a:cxn ang="0">
                <a:pos x="connsiteX23255" y="connsiteY23255"/>
              </a:cxn>
              <a:cxn ang="0">
                <a:pos x="connsiteX23256" y="connsiteY23256"/>
              </a:cxn>
              <a:cxn ang="0">
                <a:pos x="connsiteX23257" y="connsiteY23257"/>
              </a:cxn>
              <a:cxn ang="0">
                <a:pos x="connsiteX23258" y="connsiteY23258"/>
              </a:cxn>
              <a:cxn ang="0">
                <a:pos x="connsiteX23259" y="connsiteY23259"/>
              </a:cxn>
              <a:cxn ang="0">
                <a:pos x="connsiteX23260" y="connsiteY23260"/>
              </a:cxn>
              <a:cxn ang="0">
                <a:pos x="connsiteX23261" y="connsiteY23261"/>
              </a:cxn>
              <a:cxn ang="0">
                <a:pos x="connsiteX23262" y="connsiteY23262"/>
              </a:cxn>
              <a:cxn ang="0">
                <a:pos x="connsiteX23263" y="connsiteY23263"/>
              </a:cxn>
              <a:cxn ang="0">
                <a:pos x="connsiteX23264" y="connsiteY23264"/>
              </a:cxn>
              <a:cxn ang="0">
                <a:pos x="connsiteX23265" y="connsiteY23265"/>
              </a:cxn>
              <a:cxn ang="0">
                <a:pos x="connsiteX23266" y="connsiteY23266"/>
              </a:cxn>
              <a:cxn ang="0">
                <a:pos x="connsiteX23267" y="connsiteY23267"/>
              </a:cxn>
              <a:cxn ang="0">
                <a:pos x="connsiteX23268" y="connsiteY23268"/>
              </a:cxn>
              <a:cxn ang="0">
                <a:pos x="connsiteX23269" y="connsiteY23269"/>
              </a:cxn>
              <a:cxn ang="0">
                <a:pos x="connsiteX23270" y="connsiteY23270"/>
              </a:cxn>
              <a:cxn ang="0">
                <a:pos x="connsiteX23271" y="connsiteY23271"/>
              </a:cxn>
              <a:cxn ang="0">
                <a:pos x="connsiteX23272" y="connsiteY23272"/>
              </a:cxn>
              <a:cxn ang="0">
                <a:pos x="connsiteX23273" y="connsiteY23273"/>
              </a:cxn>
              <a:cxn ang="0">
                <a:pos x="connsiteX23274" y="connsiteY23274"/>
              </a:cxn>
              <a:cxn ang="0">
                <a:pos x="connsiteX23275" y="connsiteY23275"/>
              </a:cxn>
              <a:cxn ang="0">
                <a:pos x="connsiteX23276" y="connsiteY23276"/>
              </a:cxn>
              <a:cxn ang="0">
                <a:pos x="connsiteX23277" y="connsiteY23277"/>
              </a:cxn>
              <a:cxn ang="0">
                <a:pos x="connsiteX23278" y="connsiteY23278"/>
              </a:cxn>
              <a:cxn ang="0">
                <a:pos x="connsiteX23279" y="connsiteY23279"/>
              </a:cxn>
              <a:cxn ang="0">
                <a:pos x="connsiteX23280" y="connsiteY23280"/>
              </a:cxn>
              <a:cxn ang="0">
                <a:pos x="connsiteX23281" y="connsiteY23281"/>
              </a:cxn>
              <a:cxn ang="0">
                <a:pos x="connsiteX23282" y="connsiteY23282"/>
              </a:cxn>
              <a:cxn ang="0">
                <a:pos x="connsiteX23283" y="connsiteY23283"/>
              </a:cxn>
              <a:cxn ang="0">
                <a:pos x="connsiteX23284" y="connsiteY23284"/>
              </a:cxn>
              <a:cxn ang="0">
                <a:pos x="connsiteX23285" y="connsiteY23285"/>
              </a:cxn>
              <a:cxn ang="0">
                <a:pos x="connsiteX23286" y="connsiteY23286"/>
              </a:cxn>
              <a:cxn ang="0">
                <a:pos x="connsiteX23287" y="connsiteY23287"/>
              </a:cxn>
              <a:cxn ang="0">
                <a:pos x="connsiteX23288" y="connsiteY23288"/>
              </a:cxn>
              <a:cxn ang="0">
                <a:pos x="connsiteX23289" y="connsiteY23289"/>
              </a:cxn>
              <a:cxn ang="0">
                <a:pos x="connsiteX23290" y="connsiteY23290"/>
              </a:cxn>
              <a:cxn ang="0">
                <a:pos x="connsiteX23291" y="connsiteY23291"/>
              </a:cxn>
              <a:cxn ang="0">
                <a:pos x="connsiteX23292" y="connsiteY23292"/>
              </a:cxn>
              <a:cxn ang="0">
                <a:pos x="connsiteX23293" y="connsiteY23293"/>
              </a:cxn>
              <a:cxn ang="0">
                <a:pos x="connsiteX23294" y="connsiteY23294"/>
              </a:cxn>
              <a:cxn ang="0">
                <a:pos x="connsiteX23295" y="connsiteY23295"/>
              </a:cxn>
              <a:cxn ang="0">
                <a:pos x="connsiteX23296" y="connsiteY23296"/>
              </a:cxn>
              <a:cxn ang="0">
                <a:pos x="connsiteX23297" y="connsiteY23297"/>
              </a:cxn>
              <a:cxn ang="0">
                <a:pos x="connsiteX23298" y="connsiteY23298"/>
              </a:cxn>
              <a:cxn ang="0">
                <a:pos x="connsiteX23299" y="connsiteY23299"/>
              </a:cxn>
              <a:cxn ang="0">
                <a:pos x="connsiteX23300" y="connsiteY23300"/>
              </a:cxn>
              <a:cxn ang="0">
                <a:pos x="connsiteX23301" y="connsiteY23301"/>
              </a:cxn>
              <a:cxn ang="0">
                <a:pos x="connsiteX23302" y="connsiteY23302"/>
              </a:cxn>
              <a:cxn ang="0">
                <a:pos x="connsiteX23303" y="connsiteY23303"/>
              </a:cxn>
              <a:cxn ang="0">
                <a:pos x="connsiteX23304" y="connsiteY23304"/>
              </a:cxn>
              <a:cxn ang="0">
                <a:pos x="connsiteX23305" y="connsiteY23305"/>
              </a:cxn>
              <a:cxn ang="0">
                <a:pos x="connsiteX23306" y="connsiteY23306"/>
              </a:cxn>
              <a:cxn ang="0">
                <a:pos x="connsiteX23307" y="connsiteY23307"/>
              </a:cxn>
              <a:cxn ang="0">
                <a:pos x="connsiteX23308" y="connsiteY23308"/>
              </a:cxn>
              <a:cxn ang="0">
                <a:pos x="connsiteX23309" y="connsiteY23309"/>
              </a:cxn>
              <a:cxn ang="0">
                <a:pos x="connsiteX23310" y="connsiteY23310"/>
              </a:cxn>
              <a:cxn ang="0">
                <a:pos x="connsiteX23311" y="connsiteY23311"/>
              </a:cxn>
              <a:cxn ang="0">
                <a:pos x="connsiteX23312" y="connsiteY23312"/>
              </a:cxn>
              <a:cxn ang="0">
                <a:pos x="connsiteX23313" y="connsiteY23313"/>
              </a:cxn>
              <a:cxn ang="0">
                <a:pos x="connsiteX23314" y="connsiteY23314"/>
              </a:cxn>
              <a:cxn ang="0">
                <a:pos x="connsiteX23315" y="connsiteY23315"/>
              </a:cxn>
              <a:cxn ang="0">
                <a:pos x="connsiteX23316" y="connsiteY23316"/>
              </a:cxn>
              <a:cxn ang="0">
                <a:pos x="connsiteX23317" y="connsiteY23317"/>
              </a:cxn>
              <a:cxn ang="0">
                <a:pos x="connsiteX23318" y="connsiteY23318"/>
              </a:cxn>
              <a:cxn ang="0">
                <a:pos x="connsiteX23319" y="connsiteY23319"/>
              </a:cxn>
              <a:cxn ang="0">
                <a:pos x="connsiteX23320" y="connsiteY23320"/>
              </a:cxn>
              <a:cxn ang="0">
                <a:pos x="connsiteX23321" y="connsiteY23321"/>
              </a:cxn>
              <a:cxn ang="0">
                <a:pos x="connsiteX23322" y="connsiteY23322"/>
              </a:cxn>
              <a:cxn ang="0">
                <a:pos x="connsiteX23323" y="connsiteY23323"/>
              </a:cxn>
              <a:cxn ang="0">
                <a:pos x="connsiteX23324" y="connsiteY23324"/>
              </a:cxn>
              <a:cxn ang="0">
                <a:pos x="connsiteX23325" y="connsiteY23325"/>
              </a:cxn>
              <a:cxn ang="0">
                <a:pos x="connsiteX23326" y="connsiteY23326"/>
              </a:cxn>
              <a:cxn ang="0">
                <a:pos x="connsiteX23327" y="connsiteY23327"/>
              </a:cxn>
              <a:cxn ang="0">
                <a:pos x="connsiteX23328" y="connsiteY23328"/>
              </a:cxn>
              <a:cxn ang="0">
                <a:pos x="connsiteX23329" y="connsiteY23329"/>
              </a:cxn>
              <a:cxn ang="0">
                <a:pos x="connsiteX23330" y="connsiteY23330"/>
              </a:cxn>
              <a:cxn ang="0">
                <a:pos x="connsiteX23331" y="connsiteY23331"/>
              </a:cxn>
              <a:cxn ang="0">
                <a:pos x="connsiteX23332" y="connsiteY23332"/>
              </a:cxn>
              <a:cxn ang="0">
                <a:pos x="connsiteX23333" y="connsiteY23333"/>
              </a:cxn>
              <a:cxn ang="0">
                <a:pos x="connsiteX23334" y="connsiteY23334"/>
              </a:cxn>
              <a:cxn ang="0">
                <a:pos x="connsiteX23335" y="connsiteY23335"/>
              </a:cxn>
              <a:cxn ang="0">
                <a:pos x="connsiteX23336" y="connsiteY23336"/>
              </a:cxn>
              <a:cxn ang="0">
                <a:pos x="connsiteX23337" y="connsiteY23337"/>
              </a:cxn>
              <a:cxn ang="0">
                <a:pos x="connsiteX23338" y="connsiteY23338"/>
              </a:cxn>
              <a:cxn ang="0">
                <a:pos x="connsiteX23339" y="connsiteY23339"/>
              </a:cxn>
              <a:cxn ang="0">
                <a:pos x="connsiteX23340" y="connsiteY23340"/>
              </a:cxn>
              <a:cxn ang="0">
                <a:pos x="connsiteX23341" y="connsiteY23341"/>
              </a:cxn>
              <a:cxn ang="0">
                <a:pos x="connsiteX23342" y="connsiteY23342"/>
              </a:cxn>
              <a:cxn ang="0">
                <a:pos x="connsiteX23343" y="connsiteY23343"/>
              </a:cxn>
              <a:cxn ang="0">
                <a:pos x="connsiteX23344" y="connsiteY23344"/>
              </a:cxn>
              <a:cxn ang="0">
                <a:pos x="connsiteX23345" y="connsiteY23345"/>
              </a:cxn>
              <a:cxn ang="0">
                <a:pos x="connsiteX23346" y="connsiteY23346"/>
              </a:cxn>
              <a:cxn ang="0">
                <a:pos x="connsiteX23347" y="connsiteY23347"/>
              </a:cxn>
              <a:cxn ang="0">
                <a:pos x="connsiteX23348" y="connsiteY23348"/>
              </a:cxn>
              <a:cxn ang="0">
                <a:pos x="connsiteX23349" y="connsiteY23349"/>
              </a:cxn>
              <a:cxn ang="0">
                <a:pos x="connsiteX23350" y="connsiteY23350"/>
              </a:cxn>
              <a:cxn ang="0">
                <a:pos x="connsiteX23351" y="connsiteY23351"/>
              </a:cxn>
              <a:cxn ang="0">
                <a:pos x="connsiteX23352" y="connsiteY23352"/>
              </a:cxn>
              <a:cxn ang="0">
                <a:pos x="connsiteX23353" y="connsiteY23353"/>
              </a:cxn>
              <a:cxn ang="0">
                <a:pos x="connsiteX23354" y="connsiteY23354"/>
              </a:cxn>
              <a:cxn ang="0">
                <a:pos x="connsiteX23355" y="connsiteY23355"/>
              </a:cxn>
              <a:cxn ang="0">
                <a:pos x="connsiteX23356" y="connsiteY23356"/>
              </a:cxn>
              <a:cxn ang="0">
                <a:pos x="connsiteX23357" y="connsiteY23357"/>
              </a:cxn>
              <a:cxn ang="0">
                <a:pos x="connsiteX23358" y="connsiteY23358"/>
              </a:cxn>
              <a:cxn ang="0">
                <a:pos x="connsiteX23359" y="connsiteY23359"/>
              </a:cxn>
              <a:cxn ang="0">
                <a:pos x="connsiteX23360" y="connsiteY23360"/>
              </a:cxn>
              <a:cxn ang="0">
                <a:pos x="connsiteX23361" y="connsiteY23361"/>
              </a:cxn>
              <a:cxn ang="0">
                <a:pos x="connsiteX23362" y="connsiteY23362"/>
              </a:cxn>
              <a:cxn ang="0">
                <a:pos x="connsiteX23363" y="connsiteY23363"/>
              </a:cxn>
              <a:cxn ang="0">
                <a:pos x="connsiteX23364" y="connsiteY23364"/>
              </a:cxn>
              <a:cxn ang="0">
                <a:pos x="connsiteX23365" y="connsiteY23365"/>
              </a:cxn>
              <a:cxn ang="0">
                <a:pos x="connsiteX23366" y="connsiteY23366"/>
              </a:cxn>
              <a:cxn ang="0">
                <a:pos x="connsiteX23367" y="connsiteY23367"/>
              </a:cxn>
              <a:cxn ang="0">
                <a:pos x="connsiteX23368" y="connsiteY23368"/>
              </a:cxn>
              <a:cxn ang="0">
                <a:pos x="connsiteX23369" y="connsiteY23369"/>
              </a:cxn>
              <a:cxn ang="0">
                <a:pos x="connsiteX23370" y="connsiteY23370"/>
              </a:cxn>
              <a:cxn ang="0">
                <a:pos x="connsiteX23371" y="connsiteY23371"/>
              </a:cxn>
              <a:cxn ang="0">
                <a:pos x="connsiteX23372" y="connsiteY23372"/>
              </a:cxn>
              <a:cxn ang="0">
                <a:pos x="connsiteX23373" y="connsiteY23373"/>
              </a:cxn>
              <a:cxn ang="0">
                <a:pos x="connsiteX23374" y="connsiteY23374"/>
              </a:cxn>
              <a:cxn ang="0">
                <a:pos x="connsiteX23375" y="connsiteY23375"/>
              </a:cxn>
              <a:cxn ang="0">
                <a:pos x="connsiteX23376" y="connsiteY23376"/>
              </a:cxn>
              <a:cxn ang="0">
                <a:pos x="connsiteX23377" y="connsiteY23377"/>
              </a:cxn>
              <a:cxn ang="0">
                <a:pos x="connsiteX23378" y="connsiteY23378"/>
              </a:cxn>
              <a:cxn ang="0">
                <a:pos x="connsiteX23379" y="connsiteY23379"/>
              </a:cxn>
              <a:cxn ang="0">
                <a:pos x="connsiteX23380" y="connsiteY23380"/>
              </a:cxn>
              <a:cxn ang="0">
                <a:pos x="connsiteX23381" y="connsiteY23381"/>
              </a:cxn>
              <a:cxn ang="0">
                <a:pos x="connsiteX23382" y="connsiteY23382"/>
              </a:cxn>
              <a:cxn ang="0">
                <a:pos x="connsiteX23383" y="connsiteY23383"/>
              </a:cxn>
              <a:cxn ang="0">
                <a:pos x="connsiteX23384" y="connsiteY23384"/>
              </a:cxn>
              <a:cxn ang="0">
                <a:pos x="connsiteX23385" y="connsiteY23385"/>
              </a:cxn>
              <a:cxn ang="0">
                <a:pos x="connsiteX23386" y="connsiteY23386"/>
              </a:cxn>
              <a:cxn ang="0">
                <a:pos x="connsiteX23387" y="connsiteY23387"/>
              </a:cxn>
              <a:cxn ang="0">
                <a:pos x="connsiteX23388" y="connsiteY23388"/>
              </a:cxn>
              <a:cxn ang="0">
                <a:pos x="connsiteX23389" y="connsiteY23389"/>
              </a:cxn>
              <a:cxn ang="0">
                <a:pos x="connsiteX23390" y="connsiteY23390"/>
              </a:cxn>
              <a:cxn ang="0">
                <a:pos x="connsiteX23391" y="connsiteY23391"/>
              </a:cxn>
              <a:cxn ang="0">
                <a:pos x="connsiteX23392" y="connsiteY23392"/>
              </a:cxn>
              <a:cxn ang="0">
                <a:pos x="connsiteX23393" y="connsiteY23393"/>
              </a:cxn>
              <a:cxn ang="0">
                <a:pos x="connsiteX23394" y="connsiteY23394"/>
              </a:cxn>
              <a:cxn ang="0">
                <a:pos x="connsiteX23395" y="connsiteY23395"/>
              </a:cxn>
              <a:cxn ang="0">
                <a:pos x="connsiteX23396" y="connsiteY23396"/>
              </a:cxn>
              <a:cxn ang="0">
                <a:pos x="connsiteX23397" y="connsiteY23397"/>
              </a:cxn>
              <a:cxn ang="0">
                <a:pos x="connsiteX23398" y="connsiteY23398"/>
              </a:cxn>
              <a:cxn ang="0">
                <a:pos x="connsiteX23399" y="connsiteY23399"/>
              </a:cxn>
              <a:cxn ang="0">
                <a:pos x="connsiteX23400" y="connsiteY23400"/>
              </a:cxn>
              <a:cxn ang="0">
                <a:pos x="connsiteX23401" y="connsiteY23401"/>
              </a:cxn>
              <a:cxn ang="0">
                <a:pos x="connsiteX23402" y="connsiteY23402"/>
              </a:cxn>
              <a:cxn ang="0">
                <a:pos x="connsiteX23403" y="connsiteY23403"/>
              </a:cxn>
              <a:cxn ang="0">
                <a:pos x="connsiteX23404" y="connsiteY23404"/>
              </a:cxn>
              <a:cxn ang="0">
                <a:pos x="connsiteX23405" y="connsiteY23405"/>
              </a:cxn>
              <a:cxn ang="0">
                <a:pos x="connsiteX23406" y="connsiteY23406"/>
              </a:cxn>
              <a:cxn ang="0">
                <a:pos x="connsiteX23407" y="connsiteY23407"/>
              </a:cxn>
              <a:cxn ang="0">
                <a:pos x="connsiteX23408" y="connsiteY23408"/>
              </a:cxn>
              <a:cxn ang="0">
                <a:pos x="connsiteX23409" y="connsiteY23409"/>
              </a:cxn>
              <a:cxn ang="0">
                <a:pos x="connsiteX23410" y="connsiteY23410"/>
              </a:cxn>
              <a:cxn ang="0">
                <a:pos x="connsiteX23411" y="connsiteY23411"/>
              </a:cxn>
              <a:cxn ang="0">
                <a:pos x="connsiteX23412" y="connsiteY23412"/>
              </a:cxn>
              <a:cxn ang="0">
                <a:pos x="connsiteX23413" y="connsiteY23413"/>
              </a:cxn>
              <a:cxn ang="0">
                <a:pos x="connsiteX23414" y="connsiteY23414"/>
              </a:cxn>
              <a:cxn ang="0">
                <a:pos x="connsiteX23415" y="connsiteY23415"/>
              </a:cxn>
              <a:cxn ang="0">
                <a:pos x="connsiteX23416" y="connsiteY23416"/>
              </a:cxn>
              <a:cxn ang="0">
                <a:pos x="connsiteX23417" y="connsiteY23417"/>
              </a:cxn>
              <a:cxn ang="0">
                <a:pos x="connsiteX23418" y="connsiteY23418"/>
              </a:cxn>
              <a:cxn ang="0">
                <a:pos x="connsiteX23419" y="connsiteY23419"/>
              </a:cxn>
              <a:cxn ang="0">
                <a:pos x="connsiteX23420" y="connsiteY23420"/>
              </a:cxn>
              <a:cxn ang="0">
                <a:pos x="connsiteX23421" y="connsiteY23421"/>
              </a:cxn>
              <a:cxn ang="0">
                <a:pos x="connsiteX23422" y="connsiteY23422"/>
              </a:cxn>
              <a:cxn ang="0">
                <a:pos x="connsiteX23423" y="connsiteY23423"/>
              </a:cxn>
              <a:cxn ang="0">
                <a:pos x="connsiteX23424" y="connsiteY23424"/>
              </a:cxn>
              <a:cxn ang="0">
                <a:pos x="connsiteX23425" y="connsiteY23425"/>
              </a:cxn>
              <a:cxn ang="0">
                <a:pos x="connsiteX23426" y="connsiteY23426"/>
              </a:cxn>
              <a:cxn ang="0">
                <a:pos x="connsiteX23427" y="connsiteY23427"/>
              </a:cxn>
              <a:cxn ang="0">
                <a:pos x="connsiteX23428" y="connsiteY23428"/>
              </a:cxn>
              <a:cxn ang="0">
                <a:pos x="connsiteX23429" y="connsiteY23429"/>
              </a:cxn>
              <a:cxn ang="0">
                <a:pos x="connsiteX23430" y="connsiteY23430"/>
              </a:cxn>
              <a:cxn ang="0">
                <a:pos x="connsiteX23431" y="connsiteY23431"/>
              </a:cxn>
              <a:cxn ang="0">
                <a:pos x="connsiteX23432" y="connsiteY23432"/>
              </a:cxn>
              <a:cxn ang="0">
                <a:pos x="connsiteX23433" y="connsiteY23433"/>
              </a:cxn>
              <a:cxn ang="0">
                <a:pos x="connsiteX23434" y="connsiteY23434"/>
              </a:cxn>
              <a:cxn ang="0">
                <a:pos x="connsiteX23435" y="connsiteY23435"/>
              </a:cxn>
              <a:cxn ang="0">
                <a:pos x="connsiteX23436" y="connsiteY23436"/>
              </a:cxn>
              <a:cxn ang="0">
                <a:pos x="connsiteX23437" y="connsiteY23437"/>
              </a:cxn>
              <a:cxn ang="0">
                <a:pos x="connsiteX23438" y="connsiteY23438"/>
              </a:cxn>
              <a:cxn ang="0">
                <a:pos x="connsiteX23439" y="connsiteY23439"/>
              </a:cxn>
              <a:cxn ang="0">
                <a:pos x="connsiteX23440" y="connsiteY23440"/>
              </a:cxn>
              <a:cxn ang="0">
                <a:pos x="connsiteX23441" y="connsiteY23441"/>
              </a:cxn>
              <a:cxn ang="0">
                <a:pos x="connsiteX23442" y="connsiteY23442"/>
              </a:cxn>
              <a:cxn ang="0">
                <a:pos x="connsiteX23443" y="connsiteY23443"/>
              </a:cxn>
              <a:cxn ang="0">
                <a:pos x="connsiteX23444" y="connsiteY23444"/>
              </a:cxn>
              <a:cxn ang="0">
                <a:pos x="connsiteX23445" y="connsiteY23445"/>
              </a:cxn>
              <a:cxn ang="0">
                <a:pos x="connsiteX23446" y="connsiteY23446"/>
              </a:cxn>
              <a:cxn ang="0">
                <a:pos x="connsiteX23447" y="connsiteY23447"/>
              </a:cxn>
              <a:cxn ang="0">
                <a:pos x="connsiteX23448" y="connsiteY23448"/>
              </a:cxn>
              <a:cxn ang="0">
                <a:pos x="connsiteX23449" y="connsiteY23449"/>
              </a:cxn>
              <a:cxn ang="0">
                <a:pos x="connsiteX23450" y="connsiteY23450"/>
              </a:cxn>
              <a:cxn ang="0">
                <a:pos x="connsiteX23451" y="connsiteY23451"/>
              </a:cxn>
              <a:cxn ang="0">
                <a:pos x="connsiteX23452" y="connsiteY23452"/>
              </a:cxn>
              <a:cxn ang="0">
                <a:pos x="connsiteX23453" y="connsiteY23453"/>
              </a:cxn>
              <a:cxn ang="0">
                <a:pos x="connsiteX23454" y="connsiteY23454"/>
              </a:cxn>
              <a:cxn ang="0">
                <a:pos x="connsiteX23455" y="connsiteY23455"/>
              </a:cxn>
              <a:cxn ang="0">
                <a:pos x="connsiteX23456" y="connsiteY23456"/>
              </a:cxn>
              <a:cxn ang="0">
                <a:pos x="connsiteX23457" y="connsiteY23457"/>
              </a:cxn>
              <a:cxn ang="0">
                <a:pos x="connsiteX23458" y="connsiteY23458"/>
              </a:cxn>
              <a:cxn ang="0">
                <a:pos x="connsiteX23459" y="connsiteY23459"/>
              </a:cxn>
              <a:cxn ang="0">
                <a:pos x="connsiteX23460" y="connsiteY23460"/>
              </a:cxn>
              <a:cxn ang="0">
                <a:pos x="connsiteX23461" y="connsiteY23461"/>
              </a:cxn>
              <a:cxn ang="0">
                <a:pos x="connsiteX23462" y="connsiteY23462"/>
              </a:cxn>
              <a:cxn ang="0">
                <a:pos x="connsiteX23463" y="connsiteY23463"/>
              </a:cxn>
              <a:cxn ang="0">
                <a:pos x="connsiteX23464" y="connsiteY23464"/>
              </a:cxn>
              <a:cxn ang="0">
                <a:pos x="connsiteX23465" y="connsiteY23465"/>
              </a:cxn>
              <a:cxn ang="0">
                <a:pos x="connsiteX23466" y="connsiteY23466"/>
              </a:cxn>
              <a:cxn ang="0">
                <a:pos x="connsiteX23467" y="connsiteY23467"/>
              </a:cxn>
              <a:cxn ang="0">
                <a:pos x="connsiteX23468" y="connsiteY23468"/>
              </a:cxn>
              <a:cxn ang="0">
                <a:pos x="connsiteX23469" y="connsiteY23469"/>
              </a:cxn>
              <a:cxn ang="0">
                <a:pos x="connsiteX23470" y="connsiteY23470"/>
              </a:cxn>
              <a:cxn ang="0">
                <a:pos x="connsiteX23471" y="connsiteY23471"/>
              </a:cxn>
              <a:cxn ang="0">
                <a:pos x="connsiteX23472" y="connsiteY23472"/>
              </a:cxn>
              <a:cxn ang="0">
                <a:pos x="connsiteX23473" y="connsiteY23473"/>
              </a:cxn>
              <a:cxn ang="0">
                <a:pos x="connsiteX23474" y="connsiteY23474"/>
              </a:cxn>
              <a:cxn ang="0">
                <a:pos x="connsiteX23475" y="connsiteY23475"/>
              </a:cxn>
              <a:cxn ang="0">
                <a:pos x="connsiteX23476" y="connsiteY23476"/>
              </a:cxn>
              <a:cxn ang="0">
                <a:pos x="connsiteX23477" y="connsiteY23477"/>
              </a:cxn>
              <a:cxn ang="0">
                <a:pos x="connsiteX23478" y="connsiteY23478"/>
              </a:cxn>
              <a:cxn ang="0">
                <a:pos x="connsiteX23479" y="connsiteY23479"/>
              </a:cxn>
              <a:cxn ang="0">
                <a:pos x="connsiteX23480" y="connsiteY23480"/>
              </a:cxn>
              <a:cxn ang="0">
                <a:pos x="connsiteX23481" y="connsiteY23481"/>
              </a:cxn>
              <a:cxn ang="0">
                <a:pos x="connsiteX23482" y="connsiteY23482"/>
              </a:cxn>
              <a:cxn ang="0">
                <a:pos x="connsiteX23483" y="connsiteY23483"/>
              </a:cxn>
              <a:cxn ang="0">
                <a:pos x="connsiteX23484" y="connsiteY23484"/>
              </a:cxn>
              <a:cxn ang="0">
                <a:pos x="connsiteX23485" y="connsiteY23485"/>
              </a:cxn>
              <a:cxn ang="0">
                <a:pos x="connsiteX23486" y="connsiteY23486"/>
              </a:cxn>
              <a:cxn ang="0">
                <a:pos x="connsiteX23487" y="connsiteY23487"/>
              </a:cxn>
              <a:cxn ang="0">
                <a:pos x="connsiteX23488" y="connsiteY23488"/>
              </a:cxn>
              <a:cxn ang="0">
                <a:pos x="connsiteX23489" y="connsiteY23489"/>
              </a:cxn>
              <a:cxn ang="0">
                <a:pos x="connsiteX23490" y="connsiteY23490"/>
              </a:cxn>
              <a:cxn ang="0">
                <a:pos x="connsiteX23491" y="connsiteY23491"/>
              </a:cxn>
              <a:cxn ang="0">
                <a:pos x="connsiteX23492" y="connsiteY23492"/>
              </a:cxn>
              <a:cxn ang="0">
                <a:pos x="connsiteX23493" y="connsiteY23493"/>
              </a:cxn>
              <a:cxn ang="0">
                <a:pos x="connsiteX23494" y="connsiteY23494"/>
              </a:cxn>
              <a:cxn ang="0">
                <a:pos x="connsiteX23495" y="connsiteY23495"/>
              </a:cxn>
              <a:cxn ang="0">
                <a:pos x="connsiteX23496" y="connsiteY23496"/>
              </a:cxn>
              <a:cxn ang="0">
                <a:pos x="connsiteX23497" y="connsiteY23497"/>
              </a:cxn>
              <a:cxn ang="0">
                <a:pos x="connsiteX23498" y="connsiteY23498"/>
              </a:cxn>
              <a:cxn ang="0">
                <a:pos x="connsiteX23499" y="connsiteY23499"/>
              </a:cxn>
              <a:cxn ang="0">
                <a:pos x="connsiteX23500" y="connsiteY23500"/>
              </a:cxn>
              <a:cxn ang="0">
                <a:pos x="connsiteX23501" y="connsiteY23501"/>
              </a:cxn>
              <a:cxn ang="0">
                <a:pos x="connsiteX23502" y="connsiteY23502"/>
              </a:cxn>
              <a:cxn ang="0">
                <a:pos x="connsiteX23503" y="connsiteY23503"/>
              </a:cxn>
              <a:cxn ang="0">
                <a:pos x="connsiteX23504" y="connsiteY23504"/>
              </a:cxn>
              <a:cxn ang="0">
                <a:pos x="connsiteX23505" y="connsiteY23505"/>
              </a:cxn>
              <a:cxn ang="0">
                <a:pos x="connsiteX23506" y="connsiteY23506"/>
              </a:cxn>
              <a:cxn ang="0">
                <a:pos x="connsiteX23507" y="connsiteY23507"/>
              </a:cxn>
              <a:cxn ang="0">
                <a:pos x="connsiteX23508" y="connsiteY23508"/>
              </a:cxn>
              <a:cxn ang="0">
                <a:pos x="connsiteX23509" y="connsiteY23509"/>
              </a:cxn>
              <a:cxn ang="0">
                <a:pos x="connsiteX23510" y="connsiteY23510"/>
              </a:cxn>
              <a:cxn ang="0">
                <a:pos x="connsiteX23511" y="connsiteY23511"/>
              </a:cxn>
              <a:cxn ang="0">
                <a:pos x="connsiteX23512" y="connsiteY23512"/>
              </a:cxn>
              <a:cxn ang="0">
                <a:pos x="connsiteX23513" y="connsiteY23513"/>
              </a:cxn>
              <a:cxn ang="0">
                <a:pos x="connsiteX23514" y="connsiteY23514"/>
              </a:cxn>
              <a:cxn ang="0">
                <a:pos x="connsiteX23515" y="connsiteY23515"/>
              </a:cxn>
              <a:cxn ang="0">
                <a:pos x="connsiteX23516" y="connsiteY23516"/>
              </a:cxn>
              <a:cxn ang="0">
                <a:pos x="connsiteX23517" y="connsiteY23517"/>
              </a:cxn>
              <a:cxn ang="0">
                <a:pos x="connsiteX23518" y="connsiteY23518"/>
              </a:cxn>
              <a:cxn ang="0">
                <a:pos x="connsiteX23519" y="connsiteY23519"/>
              </a:cxn>
              <a:cxn ang="0">
                <a:pos x="connsiteX23520" y="connsiteY23520"/>
              </a:cxn>
              <a:cxn ang="0">
                <a:pos x="connsiteX23521" y="connsiteY23521"/>
              </a:cxn>
              <a:cxn ang="0">
                <a:pos x="connsiteX23522" y="connsiteY23522"/>
              </a:cxn>
              <a:cxn ang="0">
                <a:pos x="connsiteX23523" y="connsiteY23523"/>
              </a:cxn>
              <a:cxn ang="0">
                <a:pos x="connsiteX23524" y="connsiteY23524"/>
              </a:cxn>
              <a:cxn ang="0">
                <a:pos x="connsiteX23525" y="connsiteY23525"/>
              </a:cxn>
              <a:cxn ang="0">
                <a:pos x="connsiteX23526" y="connsiteY23526"/>
              </a:cxn>
              <a:cxn ang="0">
                <a:pos x="connsiteX23527" y="connsiteY23527"/>
              </a:cxn>
              <a:cxn ang="0">
                <a:pos x="connsiteX23528" y="connsiteY23528"/>
              </a:cxn>
              <a:cxn ang="0">
                <a:pos x="connsiteX23529" y="connsiteY23529"/>
              </a:cxn>
              <a:cxn ang="0">
                <a:pos x="connsiteX23530" y="connsiteY23530"/>
              </a:cxn>
              <a:cxn ang="0">
                <a:pos x="connsiteX23531" y="connsiteY23531"/>
              </a:cxn>
              <a:cxn ang="0">
                <a:pos x="connsiteX23532" y="connsiteY23532"/>
              </a:cxn>
              <a:cxn ang="0">
                <a:pos x="connsiteX23533" y="connsiteY23533"/>
              </a:cxn>
              <a:cxn ang="0">
                <a:pos x="connsiteX23534" y="connsiteY23534"/>
              </a:cxn>
              <a:cxn ang="0">
                <a:pos x="connsiteX23535" y="connsiteY23535"/>
              </a:cxn>
              <a:cxn ang="0">
                <a:pos x="connsiteX23536" y="connsiteY23536"/>
              </a:cxn>
              <a:cxn ang="0">
                <a:pos x="connsiteX23537" y="connsiteY23537"/>
              </a:cxn>
              <a:cxn ang="0">
                <a:pos x="connsiteX23538" y="connsiteY23538"/>
              </a:cxn>
              <a:cxn ang="0">
                <a:pos x="connsiteX23539" y="connsiteY23539"/>
              </a:cxn>
              <a:cxn ang="0">
                <a:pos x="connsiteX23540" y="connsiteY23540"/>
              </a:cxn>
              <a:cxn ang="0">
                <a:pos x="connsiteX23541" y="connsiteY23541"/>
              </a:cxn>
              <a:cxn ang="0">
                <a:pos x="connsiteX23542" y="connsiteY23542"/>
              </a:cxn>
              <a:cxn ang="0">
                <a:pos x="connsiteX23543" y="connsiteY23543"/>
              </a:cxn>
              <a:cxn ang="0">
                <a:pos x="connsiteX23544" y="connsiteY23544"/>
              </a:cxn>
              <a:cxn ang="0">
                <a:pos x="connsiteX23545" y="connsiteY23545"/>
              </a:cxn>
              <a:cxn ang="0">
                <a:pos x="connsiteX23546" y="connsiteY23546"/>
              </a:cxn>
              <a:cxn ang="0">
                <a:pos x="connsiteX23547" y="connsiteY23547"/>
              </a:cxn>
              <a:cxn ang="0">
                <a:pos x="connsiteX23548" y="connsiteY23548"/>
              </a:cxn>
              <a:cxn ang="0">
                <a:pos x="connsiteX23549" y="connsiteY23549"/>
              </a:cxn>
              <a:cxn ang="0">
                <a:pos x="connsiteX23550" y="connsiteY23550"/>
              </a:cxn>
              <a:cxn ang="0">
                <a:pos x="connsiteX23551" y="connsiteY23551"/>
              </a:cxn>
              <a:cxn ang="0">
                <a:pos x="connsiteX23552" y="connsiteY23552"/>
              </a:cxn>
              <a:cxn ang="0">
                <a:pos x="connsiteX23553" y="connsiteY23553"/>
              </a:cxn>
              <a:cxn ang="0">
                <a:pos x="connsiteX23554" y="connsiteY23554"/>
              </a:cxn>
              <a:cxn ang="0">
                <a:pos x="connsiteX23555" y="connsiteY23555"/>
              </a:cxn>
              <a:cxn ang="0">
                <a:pos x="connsiteX23556" y="connsiteY23556"/>
              </a:cxn>
              <a:cxn ang="0">
                <a:pos x="connsiteX23557" y="connsiteY23557"/>
              </a:cxn>
              <a:cxn ang="0">
                <a:pos x="connsiteX23558" y="connsiteY23558"/>
              </a:cxn>
              <a:cxn ang="0">
                <a:pos x="connsiteX23559" y="connsiteY23559"/>
              </a:cxn>
              <a:cxn ang="0">
                <a:pos x="connsiteX23560" y="connsiteY23560"/>
              </a:cxn>
              <a:cxn ang="0">
                <a:pos x="connsiteX23561" y="connsiteY23561"/>
              </a:cxn>
              <a:cxn ang="0">
                <a:pos x="connsiteX23562" y="connsiteY23562"/>
              </a:cxn>
              <a:cxn ang="0">
                <a:pos x="connsiteX23563" y="connsiteY23563"/>
              </a:cxn>
              <a:cxn ang="0">
                <a:pos x="connsiteX23564" y="connsiteY23564"/>
              </a:cxn>
              <a:cxn ang="0">
                <a:pos x="connsiteX23565" y="connsiteY23565"/>
              </a:cxn>
              <a:cxn ang="0">
                <a:pos x="connsiteX23566" y="connsiteY23566"/>
              </a:cxn>
              <a:cxn ang="0">
                <a:pos x="connsiteX23567" y="connsiteY23567"/>
              </a:cxn>
              <a:cxn ang="0">
                <a:pos x="connsiteX23568" y="connsiteY23568"/>
              </a:cxn>
              <a:cxn ang="0">
                <a:pos x="connsiteX23569" y="connsiteY23569"/>
              </a:cxn>
              <a:cxn ang="0">
                <a:pos x="connsiteX23570" y="connsiteY23570"/>
              </a:cxn>
              <a:cxn ang="0">
                <a:pos x="connsiteX23571" y="connsiteY23571"/>
              </a:cxn>
              <a:cxn ang="0">
                <a:pos x="connsiteX23572" y="connsiteY23572"/>
              </a:cxn>
              <a:cxn ang="0">
                <a:pos x="connsiteX23573" y="connsiteY23573"/>
              </a:cxn>
              <a:cxn ang="0">
                <a:pos x="connsiteX23574" y="connsiteY23574"/>
              </a:cxn>
              <a:cxn ang="0">
                <a:pos x="connsiteX23575" y="connsiteY23575"/>
              </a:cxn>
              <a:cxn ang="0">
                <a:pos x="connsiteX23576" y="connsiteY23576"/>
              </a:cxn>
              <a:cxn ang="0">
                <a:pos x="connsiteX23577" y="connsiteY23577"/>
              </a:cxn>
              <a:cxn ang="0">
                <a:pos x="connsiteX23578" y="connsiteY23578"/>
              </a:cxn>
              <a:cxn ang="0">
                <a:pos x="connsiteX23579" y="connsiteY23579"/>
              </a:cxn>
              <a:cxn ang="0">
                <a:pos x="connsiteX23580" y="connsiteY23580"/>
              </a:cxn>
              <a:cxn ang="0">
                <a:pos x="connsiteX23581" y="connsiteY23581"/>
              </a:cxn>
              <a:cxn ang="0">
                <a:pos x="connsiteX23582" y="connsiteY23582"/>
              </a:cxn>
              <a:cxn ang="0">
                <a:pos x="connsiteX23583" y="connsiteY23583"/>
              </a:cxn>
              <a:cxn ang="0">
                <a:pos x="connsiteX23584" y="connsiteY23584"/>
              </a:cxn>
              <a:cxn ang="0">
                <a:pos x="connsiteX23585" y="connsiteY23585"/>
              </a:cxn>
              <a:cxn ang="0">
                <a:pos x="connsiteX23586" y="connsiteY23586"/>
              </a:cxn>
              <a:cxn ang="0">
                <a:pos x="connsiteX23587" y="connsiteY23587"/>
              </a:cxn>
              <a:cxn ang="0">
                <a:pos x="connsiteX23588" y="connsiteY23588"/>
              </a:cxn>
              <a:cxn ang="0">
                <a:pos x="connsiteX23589" y="connsiteY23589"/>
              </a:cxn>
              <a:cxn ang="0">
                <a:pos x="connsiteX23590" y="connsiteY23590"/>
              </a:cxn>
              <a:cxn ang="0">
                <a:pos x="connsiteX23591" y="connsiteY23591"/>
              </a:cxn>
              <a:cxn ang="0">
                <a:pos x="connsiteX23592" y="connsiteY23592"/>
              </a:cxn>
              <a:cxn ang="0">
                <a:pos x="connsiteX23593" y="connsiteY23593"/>
              </a:cxn>
              <a:cxn ang="0">
                <a:pos x="connsiteX23594" y="connsiteY23594"/>
              </a:cxn>
              <a:cxn ang="0">
                <a:pos x="connsiteX23595" y="connsiteY23595"/>
              </a:cxn>
              <a:cxn ang="0">
                <a:pos x="connsiteX23596" y="connsiteY23596"/>
              </a:cxn>
              <a:cxn ang="0">
                <a:pos x="connsiteX23597" y="connsiteY23597"/>
              </a:cxn>
              <a:cxn ang="0">
                <a:pos x="connsiteX23598" y="connsiteY23598"/>
              </a:cxn>
              <a:cxn ang="0">
                <a:pos x="connsiteX23599" y="connsiteY23599"/>
              </a:cxn>
              <a:cxn ang="0">
                <a:pos x="connsiteX23600" y="connsiteY23600"/>
              </a:cxn>
              <a:cxn ang="0">
                <a:pos x="connsiteX23601" y="connsiteY23601"/>
              </a:cxn>
              <a:cxn ang="0">
                <a:pos x="connsiteX23602" y="connsiteY23602"/>
              </a:cxn>
              <a:cxn ang="0">
                <a:pos x="connsiteX23603" y="connsiteY23603"/>
              </a:cxn>
              <a:cxn ang="0">
                <a:pos x="connsiteX23604" y="connsiteY23604"/>
              </a:cxn>
              <a:cxn ang="0">
                <a:pos x="connsiteX23605" y="connsiteY23605"/>
              </a:cxn>
              <a:cxn ang="0">
                <a:pos x="connsiteX23606" y="connsiteY23606"/>
              </a:cxn>
              <a:cxn ang="0">
                <a:pos x="connsiteX23607" y="connsiteY23607"/>
              </a:cxn>
              <a:cxn ang="0">
                <a:pos x="connsiteX23608" y="connsiteY23608"/>
              </a:cxn>
              <a:cxn ang="0">
                <a:pos x="connsiteX23609" y="connsiteY23609"/>
              </a:cxn>
              <a:cxn ang="0">
                <a:pos x="connsiteX23610" y="connsiteY23610"/>
              </a:cxn>
              <a:cxn ang="0">
                <a:pos x="connsiteX23611" y="connsiteY23611"/>
              </a:cxn>
              <a:cxn ang="0">
                <a:pos x="connsiteX23612" y="connsiteY23612"/>
              </a:cxn>
              <a:cxn ang="0">
                <a:pos x="connsiteX23613" y="connsiteY23613"/>
              </a:cxn>
              <a:cxn ang="0">
                <a:pos x="connsiteX23614" y="connsiteY23614"/>
              </a:cxn>
              <a:cxn ang="0">
                <a:pos x="connsiteX23615" y="connsiteY23615"/>
              </a:cxn>
              <a:cxn ang="0">
                <a:pos x="connsiteX23616" y="connsiteY23616"/>
              </a:cxn>
              <a:cxn ang="0">
                <a:pos x="connsiteX23617" y="connsiteY23617"/>
              </a:cxn>
              <a:cxn ang="0">
                <a:pos x="connsiteX23618" y="connsiteY23618"/>
              </a:cxn>
              <a:cxn ang="0">
                <a:pos x="connsiteX23619" y="connsiteY23619"/>
              </a:cxn>
              <a:cxn ang="0">
                <a:pos x="connsiteX23620" y="connsiteY23620"/>
              </a:cxn>
              <a:cxn ang="0">
                <a:pos x="connsiteX23621" y="connsiteY23621"/>
              </a:cxn>
              <a:cxn ang="0">
                <a:pos x="connsiteX23622" y="connsiteY23622"/>
              </a:cxn>
              <a:cxn ang="0">
                <a:pos x="connsiteX23623" y="connsiteY23623"/>
              </a:cxn>
              <a:cxn ang="0">
                <a:pos x="connsiteX23624" y="connsiteY23624"/>
              </a:cxn>
              <a:cxn ang="0">
                <a:pos x="connsiteX23625" y="connsiteY23625"/>
              </a:cxn>
              <a:cxn ang="0">
                <a:pos x="connsiteX23626" y="connsiteY23626"/>
              </a:cxn>
              <a:cxn ang="0">
                <a:pos x="connsiteX23627" y="connsiteY23627"/>
              </a:cxn>
              <a:cxn ang="0">
                <a:pos x="connsiteX23628" y="connsiteY23628"/>
              </a:cxn>
              <a:cxn ang="0">
                <a:pos x="connsiteX23629" y="connsiteY23629"/>
              </a:cxn>
              <a:cxn ang="0">
                <a:pos x="connsiteX23630" y="connsiteY23630"/>
              </a:cxn>
              <a:cxn ang="0">
                <a:pos x="connsiteX23631" y="connsiteY23631"/>
              </a:cxn>
              <a:cxn ang="0">
                <a:pos x="connsiteX23632" y="connsiteY23632"/>
              </a:cxn>
              <a:cxn ang="0">
                <a:pos x="connsiteX23633" y="connsiteY23633"/>
              </a:cxn>
              <a:cxn ang="0">
                <a:pos x="connsiteX23634" y="connsiteY23634"/>
              </a:cxn>
              <a:cxn ang="0">
                <a:pos x="connsiteX23635" y="connsiteY23635"/>
              </a:cxn>
              <a:cxn ang="0">
                <a:pos x="connsiteX23636" y="connsiteY23636"/>
              </a:cxn>
              <a:cxn ang="0">
                <a:pos x="connsiteX23637" y="connsiteY23637"/>
              </a:cxn>
              <a:cxn ang="0">
                <a:pos x="connsiteX23638" y="connsiteY23638"/>
              </a:cxn>
              <a:cxn ang="0">
                <a:pos x="connsiteX23639" y="connsiteY23639"/>
              </a:cxn>
              <a:cxn ang="0">
                <a:pos x="connsiteX23640" y="connsiteY23640"/>
              </a:cxn>
              <a:cxn ang="0">
                <a:pos x="connsiteX23641" y="connsiteY23641"/>
              </a:cxn>
              <a:cxn ang="0">
                <a:pos x="connsiteX23642" y="connsiteY23642"/>
              </a:cxn>
              <a:cxn ang="0">
                <a:pos x="connsiteX23643" y="connsiteY23643"/>
              </a:cxn>
              <a:cxn ang="0">
                <a:pos x="connsiteX23644" y="connsiteY23644"/>
              </a:cxn>
              <a:cxn ang="0">
                <a:pos x="connsiteX23645" y="connsiteY23645"/>
              </a:cxn>
              <a:cxn ang="0">
                <a:pos x="connsiteX23646" y="connsiteY23646"/>
              </a:cxn>
              <a:cxn ang="0">
                <a:pos x="connsiteX23647" y="connsiteY23647"/>
              </a:cxn>
              <a:cxn ang="0">
                <a:pos x="connsiteX23648" y="connsiteY23648"/>
              </a:cxn>
              <a:cxn ang="0">
                <a:pos x="connsiteX23649" y="connsiteY23649"/>
              </a:cxn>
              <a:cxn ang="0">
                <a:pos x="connsiteX23650" y="connsiteY23650"/>
              </a:cxn>
              <a:cxn ang="0">
                <a:pos x="connsiteX23651" y="connsiteY23651"/>
              </a:cxn>
              <a:cxn ang="0">
                <a:pos x="connsiteX23652" y="connsiteY23652"/>
              </a:cxn>
              <a:cxn ang="0">
                <a:pos x="connsiteX23653" y="connsiteY23653"/>
              </a:cxn>
              <a:cxn ang="0">
                <a:pos x="connsiteX23654" y="connsiteY23654"/>
              </a:cxn>
              <a:cxn ang="0">
                <a:pos x="connsiteX23655" y="connsiteY23655"/>
              </a:cxn>
              <a:cxn ang="0">
                <a:pos x="connsiteX23656" y="connsiteY23656"/>
              </a:cxn>
              <a:cxn ang="0">
                <a:pos x="connsiteX23657" y="connsiteY23657"/>
              </a:cxn>
              <a:cxn ang="0">
                <a:pos x="connsiteX23658" y="connsiteY23658"/>
              </a:cxn>
              <a:cxn ang="0">
                <a:pos x="connsiteX23659" y="connsiteY23659"/>
              </a:cxn>
              <a:cxn ang="0">
                <a:pos x="connsiteX23660" y="connsiteY23660"/>
              </a:cxn>
              <a:cxn ang="0">
                <a:pos x="connsiteX23661" y="connsiteY23661"/>
              </a:cxn>
              <a:cxn ang="0">
                <a:pos x="connsiteX23662" y="connsiteY23662"/>
              </a:cxn>
              <a:cxn ang="0">
                <a:pos x="connsiteX23663" y="connsiteY23663"/>
              </a:cxn>
              <a:cxn ang="0">
                <a:pos x="connsiteX23664" y="connsiteY23664"/>
              </a:cxn>
              <a:cxn ang="0">
                <a:pos x="connsiteX23665" y="connsiteY23665"/>
              </a:cxn>
              <a:cxn ang="0">
                <a:pos x="connsiteX23666" y="connsiteY23666"/>
              </a:cxn>
              <a:cxn ang="0">
                <a:pos x="connsiteX23667" y="connsiteY23667"/>
              </a:cxn>
              <a:cxn ang="0">
                <a:pos x="connsiteX23668" y="connsiteY23668"/>
              </a:cxn>
              <a:cxn ang="0">
                <a:pos x="connsiteX23669" y="connsiteY23669"/>
              </a:cxn>
              <a:cxn ang="0">
                <a:pos x="connsiteX23670" y="connsiteY23670"/>
              </a:cxn>
              <a:cxn ang="0">
                <a:pos x="connsiteX23671" y="connsiteY23671"/>
              </a:cxn>
              <a:cxn ang="0">
                <a:pos x="connsiteX23672" y="connsiteY23672"/>
              </a:cxn>
              <a:cxn ang="0">
                <a:pos x="connsiteX23673" y="connsiteY23673"/>
              </a:cxn>
              <a:cxn ang="0">
                <a:pos x="connsiteX23674" y="connsiteY23674"/>
              </a:cxn>
              <a:cxn ang="0">
                <a:pos x="connsiteX23675" y="connsiteY23675"/>
              </a:cxn>
              <a:cxn ang="0">
                <a:pos x="connsiteX23676" y="connsiteY23676"/>
              </a:cxn>
              <a:cxn ang="0">
                <a:pos x="connsiteX23677" y="connsiteY23677"/>
              </a:cxn>
              <a:cxn ang="0">
                <a:pos x="connsiteX23678" y="connsiteY23678"/>
              </a:cxn>
              <a:cxn ang="0">
                <a:pos x="connsiteX23679" y="connsiteY23679"/>
              </a:cxn>
              <a:cxn ang="0">
                <a:pos x="connsiteX23680" y="connsiteY23680"/>
              </a:cxn>
              <a:cxn ang="0">
                <a:pos x="connsiteX23681" y="connsiteY23681"/>
              </a:cxn>
              <a:cxn ang="0">
                <a:pos x="connsiteX23682" y="connsiteY23682"/>
              </a:cxn>
              <a:cxn ang="0">
                <a:pos x="connsiteX23683" y="connsiteY23683"/>
              </a:cxn>
              <a:cxn ang="0">
                <a:pos x="connsiteX23684" y="connsiteY23684"/>
              </a:cxn>
              <a:cxn ang="0">
                <a:pos x="connsiteX23685" y="connsiteY23685"/>
              </a:cxn>
              <a:cxn ang="0">
                <a:pos x="connsiteX23686" y="connsiteY23686"/>
              </a:cxn>
              <a:cxn ang="0">
                <a:pos x="connsiteX23687" y="connsiteY23687"/>
              </a:cxn>
              <a:cxn ang="0">
                <a:pos x="connsiteX23688" y="connsiteY23688"/>
              </a:cxn>
              <a:cxn ang="0">
                <a:pos x="connsiteX23689" y="connsiteY23689"/>
              </a:cxn>
              <a:cxn ang="0">
                <a:pos x="connsiteX23690" y="connsiteY23690"/>
              </a:cxn>
              <a:cxn ang="0">
                <a:pos x="connsiteX23691" y="connsiteY23691"/>
              </a:cxn>
              <a:cxn ang="0">
                <a:pos x="connsiteX23692" y="connsiteY23692"/>
              </a:cxn>
              <a:cxn ang="0">
                <a:pos x="connsiteX23693" y="connsiteY23693"/>
              </a:cxn>
              <a:cxn ang="0">
                <a:pos x="connsiteX23694" y="connsiteY23694"/>
              </a:cxn>
              <a:cxn ang="0">
                <a:pos x="connsiteX23695" y="connsiteY23695"/>
              </a:cxn>
              <a:cxn ang="0">
                <a:pos x="connsiteX23696" y="connsiteY23696"/>
              </a:cxn>
              <a:cxn ang="0">
                <a:pos x="connsiteX23697" y="connsiteY23697"/>
              </a:cxn>
              <a:cxn ang="0">
                <a:pos x="connsiteX23698" y="connsiteY23698"/>
              </a:cxn>
              <a:cxn ang="0">
                <a:pos x="connsiteX23699" y="connsiteY23699"/>
              </a:cxn>
              <a:cxn ang="0">
                <a:pos x="connsiteX23700" y="connsiteY23700"/>
              </a:cxn>
              <a:cxn ang="0">
                <a:pos x="connsiteX23701" y="connsiteY23701"/>
              </a:cxn>
              <a:cxn ang="0">
                <a:pos x="connsiteX23702" y="connsiteY23702"/>
              </a:cxn>
              <a:cxn ang="0">
                <a:pos x="connsiteX23703" y="connsiteY23703"/>
              </a:cxn>
              <a:cxn ang="0">
                <a:pos x="connsiteX23704" y="connsiteY23704"/>
              </a:cxn>
              <a:cxn ang="0">
                <a:pos x="connsiteX23705" y="connsiteY23705"/>
              </a:cxn>
              <a:cxn ang="0">
                <a:pos x="connsiteX23706" y="connsiteY23706"/>
              </a:cxn>
              <a:cxn ang="0">
                <a:pos x="connsiteX23707" y="connsiteY23707"/>
              </a:cxn>
              <a:cxn ang="0">
                <a:pos x="connsiteX23708" y="connsiteY23708"/>
              </a:cxn>
              <a:cxn ang="0">
                <a:pos x="connsiteX23709" y="connsiteY23709"/>
              </a:cxn>
              <a:cxn ang="0">
                <a:pos x="connsiteX23710" y="connsiteY23710"/>
              </a:cxn>
              <a:cxn ang="0">
                <a:pos x="connsiteX23711" y="connsiteY23711"/>
              </a:cxn>
              <a:cxn ang="0">
                <a:pos x="connsiteX23712" y="connsiteY23712"/>
              </a:cxn>
              <a:cxn ang="0">
                <a:pos x="connsiteX23713" y="connsiteY23713"/>
              </a:cxn>
              <a:cxn ang="0">
                <a:pos x="connsiteX23714" y="connsiteY23714"/>
              </a:cxn>
              <a:cxn ang="0">
                <a:pos x="connsiteX23715" y="connsiteY23715"/>
              </a:cxn>
              <a:cxn ang="0">
                <a:pos x="connsiteX23716" y="connsiteY23716"/>
              </a:cxn>
              <a:cxn ang="0">
                <a:pos x="connsiteX23717" y="connsiteY23717"/>
              </a:cxn>
              <a:cxn ang="0">
                <a:pos x="connsiteX23718" y="connsiteY23718"/>
              </a:cxn>
              <a:cxn ang="0">
                <a:pos x="connsiteX23719" y="connsiteY23719"/>
              </a:cxn>
              <a:cxn ang="0">
                <a:pos x="connsiteX23720" y="connsiteY23720"/>
              </a:cxn>
              <a:cxn ang="0">
                <a:pos x="connsiteX23721" y="connsiteY23721"/>
              </a:cxn>
              <a:cxn ang="0">
                <a:pos x="connsiteX23722" y="connsiteY23722"/>
              </a:cxn>
              <a:cxn ang="0">
                <a:pos x="connsiteX23723" y="connsiteY23723"/>
              </a:cxn>
              <a:cxn ang="0">
                <a:pos x="connsiteX23724" y="connsiteY23724"/>
              </a:cxn>
              <a:cxn ang="0">
                <a:pos x="connsiteX23725" y="connsiteY23725"/>
              </a:cxn>
              <a:cxn ang="0">
                <a:pos x="connsiteX23726" y="connsiteY23726"/>
              </a:cxn>
              <a:cxn ang="0">
                <a:pos x="connsiteX23727" y="connsiteY23727"/>
              </a:cxn>
              <a:cxn ang="0">
                <a:pos x="connsiteX23728" y="connsiteY23728"/>
              </a:cxn>
              <a:cxn ang="0">
                <a:pos x="connsiteX23729" y="connsiteY23729"/>
              </a:cxn>
              <a:cxn ang="0">
                <a:pos x="connsiteX23730" y="connsiteY23730"/>
              </a:cxn>
              <a:cxn ang="0">
                <a:pos x="connsiteX23731" y="connsiteY23731"/>
              </a:cxn>
              <a:cxn ang="0">
                <a:pos x="connsiteX23732" y="connsiteY23732"/>
              </a:cxn>
              <a:cxn ang="0">
                <a:pos x="connsiteX23733" y="connsiteY23733"/>
              </a:cxn>
              <a:cxn ang="0">
                <a:pos x="connsiteX23734" y="connsiteY23734"/>
              </a:cxn>
              <a:cxn ang="0">
                <a:pos x="connsiteX23735" y="connsiteY23735"/>
              </a:cxn>
              <a:cxn ang="0">
                <a:pos x="connsiteX23736" y="connsiteY23736"/>
              </a:cxn>
              <a:cxn ang="0">
                <a:pos x="connsiteX23737" y="connsiteY23737"/>
              </a:cxn>
              <a:cxn ang="0">
                <a:pos x="connsiteX23738" y="connsiteY23738"/>
              </a:cxn>
              <a:cxn ang="0">
                <a:pos x="connsiteX23739" y="connsiteY23739"/>
              </a:cxn>
              <a:cxn ang="0">
                <a:pos x="connsiteX23740" y="connsiteY23740"/>
              </a:cxn>
              <a:cxn ang="0">
                <a:pos x="connsiteX23741" y="connsiteY23741"/>
              </a:cxn>
              <a:cxn ang="0">
                <a:pos x="connsiteX23742" y="connsiteY23742"/>
              </a:cxn>
              <a:cxn ang="0">
                <a:pos x="connsiteX23743" y="connsiteY23743"/>
              </a:cxn>
              <a:cxn ang="0">
                <a:pos x="connsiteX23744" y="connsiteY23744"/>
              </a:cxn>
              <a:cxn ang="0">
                <a:pos x="connsiteX23745" y="connsiteY23745"/>
              </a:cxn>
              <a:cxn ang="0">
                <a:pos x="connsiteX23746" y="connsiteY23746"/>
              </a:cxn>
              <a:cxn ang="0">
                <a:pos x="connsiteX23747" y="connsiteY23747"/>
              </a:cxn>
              <a:cxn ang="0">
                <a:pos x="connsiteX23748" y="connsiteY23748"/>
              </a:cxn>
              <a:cxn ang="0">
                <a:pos x="connsiteX23749" y="connsiteY23749"/>
              </a:cxn>
              <a:cxn ang="0">
                <a:pos x="connsiteX23750" y="connsiteY23750"/>
              </a:cxn>
              <a:cxn ang="0">
                <a:pos x="connsiteX23751" y="connsiteY23751"/>
              </a:cxn>
              <a:cxn ang="0">
                <a:pos x="connsiteX23752" y="connsiteY23752"/>
              </a:cxn>
              <a:cxn ang="0">
                <a:pos x="connsiteX23753" y="connsiteY23753"/>
              </a:cxn>
              <a:cxn ang="0">
                <a:pos x="connsiteX23754" y="connsiteY23754"/>
              </a:cxn>
              <a:cxn ang="0">
                <a:pos x="connsiteX23755" y="connsiteY23755"/>
              </a:cxn>
              <a:cxn ang="0">
                <a:pos x="connsiteX23756" y="connsiteY23756"/>
              </a:cxn>
              <a:cxn ang="0">
                <a:pos x="connsiteX23757" y="connsiteY23757"/>
              </a:cxn>
              <a:cxn ang="0">
                <a:pos x="connsiteX23758" y="connsiteY23758"/>
              </a:cxn>
              <a:cxn ang="0">
                <a:pos x="connsiteX23759" y="connsiteY23759"/>
              </a:cxn>
              <a:cxn ang="0">
                <a:pos x="connsiteX23760" y="connsiteY23760"/>
              </a:cxn>
              <a:cxn ang="0">
                <a:pos x="connsiteX23761" y="connsiteY23761"/>
              </a:cxn>
              <a:cxn ang="0">
                <a:pos x="connsiteX23762" y="connsiteY23762"/>
              </a:cxn>
              <a:cxn ang="0">
                <a:pos x="connsiteX23763" y="connsiteY23763"/>
              </a:cxn>
              <a:cxn ang="0">
                <a:pos x="connsiteX23764" y="connsiteY23764"/>
              </a:cxn>
              <a:cxn ang="0">
                <a:pos x="connsiteX23765" y="connsiteY23765"/>
              </a:cxn>
              <a:cxn ang="0">
                <a:pos x="connsiteX23766" y="connsiteY23766"/>
              </a:cxn>
              <a:cxn ang="0">
                <a:pos x="connsiteX23767" y="connsiteY23767"/>
              </a:cxn>
              <a:cxn ang="0">
                <a:pos x="connsiteX23768" y="connsiteY23768"/>
              </a:cxn>
              <a:cxn ang="0">
                <a:pos x="connsiteX23769" y="connsiteY23769"/>
              </a:cxn>
              <a:cxn ang="0">
                <a:pos x="connsiteX23770" y="connsiteY23770"/>
              </a:cxn>
              <a:cxn ang="0">
                <a:pos x="connsiteX23771" y="connsiteY23771"/>
              </a:cxn>
              <a:cxn ang="0">
                <a:pos x="connsiteX23772" y="connsiteY23772"/>
              </a:cxn>
              <a:cxn ang="0">
                <a:pos x="connsiteX23773" y="connsiteY23773"/>
              </a:cxn>
              <a:cxn ang="0">
                <a:pos x="connsiteX23774" y="connsiteY23774"/>
              </a:cxn>
              <a:cxn ang="0">
                <a:pos x="connsiteX23775" y="connsiteY23775"/>
              </a:cxn>
              <a:cxn ang="0">
                <a:pos x="connsiteX23776" y="connsiteY23776"/>
              </a:cxn>
              <a:cxn ang="0">
                <a:pos x="connsiteX23777" y="connsiteY23777"/>
              </a:cxn>
              <a:cxn ang="0">
                <a:pos x="connsiteX23778" y="connsiteY23778"/>
              </a:cxn>
              <a:cxn ang="0">
                <a:pos x="connsiteX23779" y="connsiteY23779"/>
              </a:cxn>
              <a:cxn ang="0">
                <a:pos x="connsiteX23780" y="connsiteY23780"/>
              </a:cxn>
              <a:cxn ang="0">
                <a:pos x="connsiteX23781" y="connsiteY23781"/>
              </a:cxn>
              <a:cxn ang="0">
                <a:pos x="connsiteX23782" y="connsiteY23782"/>
              </a:cxn>
              <a:cxn ang="0">
                <a:pos x="connsiteX23783" y="connsiteY23783"/>
              </a:cxn>
              <a:cxn ang="0">
                <a:pos x="connsiteX23784" y="connsiteY23784"/>
              </a:cxn>
              <a:cxn ang="0">
                <a:pos x="connsiteX23785" y="connsiteY23785"/>
              </a:cxn>
              <a:cxn ang="0">
                <a:pos x="connsiteX23786" y="connsiteY23786"/>
              </a:cxn>
              <a:cxn ang="0">
                <a:pos x="connsiteX23787" y="connsiteY23787"/>
              </a:cxn>
              <a:cxn ang="0">
                <a:pos x="connsiteX23788" y="connsiteY23788"/>
              </a:cxn>
              <a:cxn ang="0">
                <a:pos x="connsiteX23789" y="connsiteY23789"/>
              </a:cxn>
              <a:cxn ang="0">
                <a:pos x="connsiteX23790" y="connsiteY23790"/>
              </a:cxn>
              <a:cxn ang="0">
                <a:pos x="connsiteX23791" y="connsiteY23791"/>
              </a:cxn>
              <a:cxn ang="0">
                <a:pos x="connsiteX23792" y="connsiteY23792"/>
              </a:cxn>
              <a:cxn ang="0">
                <a:pos x="connsiteX23793" y="connsiteY23793"/>
              </a:cxn>
              <a:cxn ang="0">
                <a:pos x="connsiteX23794" y="connsiteY23794"/>
              </a:cxn>
              <a:cxn ang="0">
                <a:pos x="connsiteX23795" y="connsiteY23795"/>
              </a:cxn>
              <a:cxn ang="0">
                <a:pos x="connsiteX23796" y="connsiteY23796"/>
              </a:cxn>
              <a:cxn ang="0">
                <a:pos x="connsiteX23797" y="connsiteY23797"/>
              </a:cxn>
              <a:cxn ang="0">
                <a:pos x="connsiteX23798" y="connsiteY23798"/>
              </a:cxn>
              <a:cxn ang="0">
                <a:pos x="connsiteX23799" y="connsiteY23799"/>
              </a:cxn>
              <a:cxn ang="0">
                <a:pos x="connsiteX23800" y="connsiteY23800"/>
              </a:cxn>
              <a:cxn ang="0">
                <a:pos x="connsiteX23801" y="connsiteY23801"/>
              </a:cxn>
              <a:cxn ang="0">
                <a:pos x="connsiteX23802" y="connsiteY23802"/>
              </a:cxn>
              <a:cxn ang="0">
                <a:pos x="connsiteX23803" y="connsiteY23803"/>
              </a:cxn>
              <a:cxn ang="0">
                <a:pos x="connsiteX23804" y="connsiteY23804"/>
              </a:cxn>
              <a:cxn ang="0">
                <a:pos x="connsiteX23805" y="connsiteY23805"/>
              </a:cxn>
              <a:cxn ang="0">
                <a:pos x="connsiteX23806" y="connsiteY23806"/>
              </a:cxn>
              <a:cxn ang="0">
                <a:pos x="connsiteX23807" y="connsiteY23807"/>
              </a:cxn>
              <a:cxn ang="0">
                <a:pos x="connsiteX23808" y="connsiteY23808"/>
              </a:cxn>
              <a:cxn ang="0">
                <a:pos x="connsiteX23809" y="connsiteY23809"/>
              </a:cxn>
              <a:cxn ang="0">
                <a:pos x="connsiteX23810" y="connsiteY23810"/>
              </a:cxn>
              <a:cxn ang="0">
                <a:pos x="connsiteX23811" y="connsiteY23811"/>
              </a:cxn>
              <a:cxn ang="0">
                <a:pos x="connsiteX23812" y="connsiteY23812"/>
              </a:cxn>
              <a:cxn ang="0">
                <a:pos x="connsiteX23813" y="connsiteY23813"/>
              </a:cxn>
              <a:cxn ang="0">
                <a:pos x="connsiteX23814" y="connsiteY23814"/>
              </a:cxn>
              <a:cxn ang="0">
                <a:pos x="connsiteX23815" y="connsiteY23815"/>
              </a:cxn>
              <a:cxn ang="0">
                <a:pos x="connsiteX23816" y="connsiteY23816"/>
              </a:cxn>
              <a:cxn ang="0">
                <a:pos x="connsiteX23817" y="connsiteY23817"/>
              </a:cxn>
              <a:cxn ang="0">
                <a:pos x="connsiteX23818" y="connsiteY23818"/>
              </a:cxn>
              <a:cxn ang="0">
                <a:pos x="connsiteX23819" y="connsiteY23819"/>
              </a:cxn>
              <a:cxn ang="0">
                <a:pos x="connsiteX23820" y="connsiteY23820"/>
              </a:cxn>
              <a:cxn ang="0">
                <a:pos x="connsiteX23821" y="connsiteY23821"/>
              </a:cxn>
              <a:cxn ang="0">
                <a:pos x="connsiteX23822" y="connsiteY23822"/>
              </a:cxn>
              <a:cxn ang="0">
                <a:pos x="connsiteX23823" y="connsiteY23823"/>
              </a:cxn>
              <a:cxn ang="0">
                <a:pos x="connsiteX23824" y="connsiteY23824"/>
              </a:cxn>
              <a:cxn ang="0">
                <a:pos x="connsiteX23825" y="connsiteY23825"/>
              </a:cxn>
              <a:cxn ang="0">
                <a:pos x="connsiteX23826" y="connsiteY23826"/>
              </a:cxn>
              <a:cxn ang="0">
                <a:pos x="connsiteX23827" y="connsiteY23827"/>
              </a:cxn>
              <a:cxn ang="0">
                <a:pos x="connsiteX23828" y="connsiteY23828"/>
              </a:cxn>
              <a:cxn ang="0">
                <a:pos x="connsiteX23829" y="connsiteY23829"/>
              </a:cxn>
              <a:cxn ang="0">
                <a:pos x="connsiteX23830" y="connsiteY23830"/>
              </a:cxn>
              <a:cxn ang="0">
                <a:pos x="connsiteX23831" y="connsiteY23831"/>
              </a:cxn>
              <a:cxn ang="0">
                <a:pos x="connsiteX23832" y="connsiteY23832"/>
              </a:cxn>
              <a:cxn ang="0">
                <a:pos x="connsiteX23833" y="connsiteY23833"/>
              </a:cxn>
              <a:cxn ang="0">
                <a:pos x="connsiteX23834" y="connsiteY23834"/>
              </a:cxn>
              <a:cxn ang="0">
                <a:pos x="connsiteX23835" y="connsiteY23835"/>
              </a:cxn>
              <a:cxn ang="0">
                <a:pos x="connsiteX23836" y="connsiteY23836"/>
              </a:cxn>
              <a:cxn ang="0">
                <a:pos x="connsiteX23837" y="connsiteY23837"/>
              </a:cxn>
              <a:cxn ang="0">
                <a:pos x="connsiteX23838" y="connsiteY23838"/>
              </a:cxn>
              <a:cxn ang="0">
                <a:pos x="connsiteX23839" y="connsiteY23839"/>
              </a:cxn>
              <a:cxn ang="0">
                <a:pos x="connsiteX23840" y="connsiteY23840"/>
              </a:cxn>
              <a:cxn ang="0">
                <a:pos x="connsiteX23841" y="connsiteY23841"/>
              </a:cxn>
              <a:cxn ang="0">
                <a:pos x="connsiteX23842" y="connsiteY23842"/>
              </a:cxn>
              <a:cxn ang="0">
                <a:pos x="connsiteX23843" y="connsiteY23843"/>
              </a:cxn>
              <a:cxn ang="0">
                <a:pos x="connsiteX23844" y="connsiteY23844"/>
              </a:cxn>
              <a:cxn ang="0">
                <a:pos x="connsiteX23845" y="connsiteY23845"/>
              </a:cxn>
              <a:cxn ang="0">
                <a:pos x="connsiteX23846" y="connsiteY23846"/>
              </a:cxn>
              <a:cxn ang="0">
                <a:pos x="connsiteX23847" y="connsiteY23847"/>
              </a:cxn>
              <a:cxn ang="0">
                <a:pos x="connsiteX23848" y="connsiteY23848"/>
              </a:cxn>
              <a:cxn ang="0">
                <a:pos x="connsiteX23849" y="connsiteY23849"/>
              </a:cxn>
              <a:cxn ang="0">
                <a:pos x="connsiteX23850" y="connsiteY23850"/>
              </a:cxn>
              <a:cxn ang="0">
                <a:pos x="connsiteX23851" y="connsiteY23851"/>
              </a:cxn>
              <a:cxn ang="0">
                <a:pos x="connsiteX23852" y="connsiteY23852"/>
              </a:cxn>
              <a:cxn ang="0">
                <a:pos x="connsiteX23853" y="connsiteY23853"/>
              </a:cxn>
              <a:cxn ang="0">
                <a:pos x="connsiteX23854" y="connsiteY23854"/>
              </a:cxn>
              <a:cxn ang="0">
                <a:pos x="connsiteX23855" y="connsiteY23855"/>
              </a:cxn>
              <a:cxn ang="0">
                <a:pos x="connsiteX23856" y="connsiteY23856"/>
              </a:cxn>
              <a:cxn ang="0">
                <a:pos x="connsiteX23857" y="connsiteY23857"/>
              </a:cxn>
              <a:cxn ang="0">
                <a:pos x="connsiteX23858" y="connsiteY23858"/>
              </a:cxn>
              <a:cxn ang="0">
                <a:pos x="connsiteX23859" y="connsiteY23859"/>
              </a:cxn>
              <a:cxn ang="0">
                <a:pos x="connsiteX23860" y="connsiteY23860"/>
              </a:cxn>
              <a:cxn ang="0">
                <a:pos x="connsiteX23861" y="connsiteY23861"/>
              </a:cxn>
              <a:cxn ang="0">
                <a:pos x="connsiteX23862" y="connsiteY23862"/>
              </a:cxn>
              <a:cxn ang="0">
                <a:pos x="connsiteX23863" y="connsiteY23863"/>
              </a:cxn>
              <a:cxn ang="0">
                <a:pos x="connsiteX23864" y="connsiteY23864"/>
              </a:cxn>
              <a:cxn ang="0">
                <a:pos x="connsiteX23865" y="connsiteY23865"/>
              </a:cxn>
              <a:cxn ang="0">
                <a:pos x="connsiteX23866" y="connsiteY23866"/>
              </a:cxn>
              <a:cxn ang="0">
                <a:pos x="connsiteX23867" y="connsiteY23867"/>
              </a:cxn>
              <a:cxn ang="0">
                <a:pos x="connsiteX23868" y="connsiteY23868"/>
              </a:cxn>
              <a:cxn ang="0">
                <a:pos x="connsiteX23869" y="connsiteY23869"/>
              </a:cxn>
              <a:cxn ang="0">
                <a:pos x="connsiteX23870" y="connsiteY23870"/>
              </a:cxn>
              <a:cxn ang="0">
                <a:pos x="connsiteX23871" y="connsiteY23871"/>
              </a:cxn>
              <a:cxn ang="0">
                <a:pos x="connsiteX23872" y="connsiteY23872"/>
              </a:cxn>
              <a:cxn ang="0">
                <a:pos x="connsiteX23873" y="connsiteY23873"/>
              </a:cxn>
              <a:cxn ang="0">
                <a:pos x="connsiteX23874" y="connsiteY23874"/>
              </a:cxn>
              <a:cxn ang="0">
                <a:pos x="connsiteX23875" y="connsiteY23875"/>
              </a:cxn>
              <a:cxn ang="0">
                <a:pos x="connsiteX23876" y="connsiteY23876"/>
              </a:cxn>
              <a:cxn ang="0">
                <a:pos x="connsiteX23877" y="connsiteY23877"/>
              </a:cxn>
              <a:cxn ang="0">
                <a:pos x="connsiteX23878" y="connsiteY23878"/>
              </a:cxn>
              <a:cxn ang="0">
                <a:pos x="connsiteX23879" y="connsiteY23879"/>
              </a:cxn>
              <a:cxn ang="0">
                <a:pos x="connsiteX23880" y="connsiteY23880"/>
              </a:cxn>
              <a:cxn ang="0">
                <a:pos x="connsiteX23881" y="connsiteY23881"/>
              </a:cxn>
              <a:cxn ang="0">
                <a:pos x="connsiteX23882" y="connsiteY23882"/>
              </a:cxn>
              <a:cxn ang="0">
                <a:pos x="connsiteX23883" y="connsiteY23883"/>
              </a:cxn>
              <a:cxn ang="0">
                <a:pos x="connsiteX23884" y="connsiteY23884"/>
              </a:cxn>
              <a:cxn ang="0">
                <a:pos x="connsiteX23885" y="connsiteY23885"/>
              </a:cxn>
              <a:cxn ang="0">
                <a:pos x="connsiteX23886" y="connsiteY23886"/>
              </a:cxn>
              <a:cxn ang="0">
                <a:pos x="connsiteX23887" y="connsiteY23887"/>
              </a:cxn>
              <a:cxn ang="0">
                <a:pos x="connsiteX23888" y="connsiteY23888"/>
              </a:cxn>
              <a:cxn ang="0">
                <a:pos x="connsiteX23889" y="connsiteY23889"/>
              </a:cxn>
              <a:cxn ang="0">
                <a:pos x="connsiteX23890" y="connsiteY23890"/>
              </a:cxn>
              <a:cxn ang="0">
                <a:pos x="connsiteX23891" y="connsiteY23891"/>
              </a:cxn>
              <a:cxn ang="0">
                <a:pos x="connsiteX23892" y="connsiteY23892"/>
              </a:cxn>
              <a:cxn ang="0">
                <a:pos x="connsiteX23893" y="connsiteY23893"/>
              </a:cxn>
              <a:cxn ang="0">
                <a:pos x="connsiteX23894" y="connsiteY23894"/>
              </a:cxn>
              <a:cxn ang="0">
                <a:pos x="connsiteX23895" y="connsiteY23895"/>
              </a:cxn>
              <a:cxn ang="0">
                <a:pos x="connsiteX23896" y="connsiteY23896"/>
              </a:cxn>
              <a:cxn ang="0">
                <a:pos x="connsiteX23897" y="connsiteY23897"/>
              </a:cxn>
              <a:cxn ang="0">
                <a:pos x="connsiteX23898" y="connsiteY23898"/>
              </a:cxn>
              <a:cxn ang="0">
                <a:pos x="connsiteX23899" y="connsiteY23899"/>
              </a:cxn>
              <a:cxn ang="0">
                <a:pos x="connsiteX23900" y="connsiteY23900"/>
              </a:cxn>
              <a:cxn ang="0">
                <a:pos x="connsiteX23901" y="connsiteY23901"/>
              </a:cxn>
              <a:cxn ang="0">
                <a:pos x="connsiteX23902" y="connsiteY23902"/>
              </a:cxn>
              <a:cxn ang="0">
                <a:pos x="connsiteX23903" y="connsiteY23903"/>
              </a:cxn>
              <a:cxn ang="0">
                <a:pos x="connsiteX23904" y="connsiteY23904"/>
              </a:cxn>
              <a:cxn ang="0">
                <a:pos x="connsiteX23905" y="connsiteY23905"/>
              </a:cxn>
              <a:cxn ang="0">
                <a:pos x="connsiteX23906" y="connsiteY23906"/>
              </a:cxn>
              <a:cxn ang="0">
                <a:pos x="connsiteX23907" y="connsiteY23907"/>
              </a:cxn>
              <a:cxn ang="0">
                <a:pos x="connsiteX23908" y="connsiteY23908"/>
              </a:cxn>
              <a:cxn ang="0">
                <a:pos x="connsiteX23909" y="connsiteY23909"/>
              </a:cxn>
              <a:cxn ang="0">
                <a:pos x="connsiteX23910" y="connsiteY23910"/>
              </a:cxn>
              <a:cxn ang="0">
                <a:pos x="connsiteX23911" y="connsiteY23911"/>
              </a:cxn>
              <a:cxn ang="0">
                <a:pos x="connsiteX23912" y="connsiteY23912"/>
              </a:cxn>
              <a:cxn ang="0">
                <a:pos x="connsiteX23913" y="connsiteY23913"/>
              </a:cxn>
              <a:cxn ang="0">
                <a:pos x="connsiteX23914" y="connsiteY23914"/>
              </a:cxn>
              <a:cxn ang="0">
                <a:pos x="connsiteX23915" y="connsiteY23915"/>
              </a:cxn>
              <a:cxn ang="0">
                <a:pos x="connsiteX23916" y="connsiteY23916"/>
              </a:cxn>
              <a:cxn ang="0">
                <a:pos x="connsiteX23917" y="connsiteY23917"/>
              </a:cxn>
              <a:cxn ang="0">
                <a:pos x="connsiteX23918" y="connsiteY23918"/>
              </a:cxn>
              <a:cxn ang="0">
                <a:pos x="connsiteX23919" y="connsiteY23919"/>
              </a:cxn>
              <a:cxn ang="0">
                <a:pos x="connsiteX23920" y="connsiteY23920"/>
              </a:cxn>
              <a:cxn ang="0">
                <a:pos x="connsiteX23921" y="connsiteY23921"/>
              </a:cxn>
              <a:cxn ang="0">
                <a:pos x="connsiteX23922" y="connsiteY23922"/>
              </a:cxn>
              <a:cxn ang="0">
                <a:pos x="connsiteX23923" y="connsiteY23923"/>
              </a:cxn>
              <a:cxn ang="0">
                <a:pos x="connsiteX23924" y="connsiteY23924"/>
              </a:cxn>
              <a:cxn ang="0">
                <a:pos x="connsiteX23925" y="connsiteY23925"/>
              </a:cxn>
              <a:cxn ang="0">
                <a:pos x="connsiteX23926" y="connsiteY23926"/>
              </a:cxn>
              <a:cxn ang="0">
                <a:pos x="connsiteX23927" y="connsiteY23927"/>
              </a:cxn>
              <a:cxn ang="0">
                <a:pos x="connsiteX23928" y="connsiteY23928"/>
              </a:cxn>
              <a:cxn ang="0">
                <a:pos x="connsiteX23929" y="connsiteY23929"/>
              </a:cxn>
              <a:cxn ang="0">
                <a:pos x="connsiteX23930" y="connsiteY23930"/>
              </a:cxn>
              <a:cxn ang="0">
                <a:pos x="connsiteX23931" y="connsiteY23931"/>
              </a:cxn>
              <a:cxn ang="0">
                <a:pos x="connsiteX23932" y="connsiteY23932"/>
              </a:cxn>
              <a:cxn ang="0">
                <a:pos x="connsiteX23933" y="connsiteY23933"/>
              </a:cxn>
              <a:cxn ang="0">
                <a:pos x="connsiteX23934" y="connsiteY23934"/>
              </a:cxn>
              <a:cxn ang="0">
                <a:pos x="connsiteX23935" y="connsiteY23935"/>
              </a:cxn>
              <a:cxn ang="0">
                <a:pos x="connsiteX23936" y="connsiteY23936"/>
              </a:cxn>
              <a:cxn ang="0">
                <a:pos x="connsiteX23937" y="connsiteY23937"/>
              </a:cxn>
              <a:cxn ang="0">
                <a:pos x="connsiteX23938" y="connsiteY23938"/>
              </a:cxn>
              <a:cxn ang="0">
                <a:pos x="connsiteX23939" y="connsiteY23939"/>
              </a:cxn>
              <a:cxn ang="0">
                <a:pos x="connsiteX23940" y="connsiteY23940"/>
              </a:cxn>
              <a:cxn ang="0">
                <a:pos x="connsiteX23941" y="connsiteY23941"/>
              </a:cxn>
              <a:cxn ang="0">
                <a:pos x="connsiteX23942" y="connsiteY23942"/>
              </a:cxn>
              <a:cxn ang="0">
                <a:pos x="connsiteX23943" y="connsiteY23943"/>
              </a:cxn>
              <a:cxn ang="0">
                <a:pos x="connsiteX23944" y="connsiteY23944"/>
              </a:cxn>
              <a:cxn ang="0">
                <a:pos x="connsiteX23945" y="connsiteY23945"/>
              </a:cxn>
              <a:cxn ang="0">
                <a:pos x="connsiteX23946" y="connsiteY23946"/>
              </a:cxn>
              <a:cxn ang="0">
                <a:pos x="connsiteX23947" y="connsiteY23947"/>
              </a:cxn>
              <a:cxn ang="0">
                <a:pos x="connsiteX23948" y="connsiteY23948"/>
              </a:cxn>
              <a:cxn ang="0">
                <a:pos x="connsiteX23949" y="connsiteY23949"/>
              </a:cxn>
              <a:cxn ang="0">
                <a:pos x="connsiteX23950" y="connsiteY23950"/>
              </a:cxn>
              <a:cxn ang="0">
                <a:pos x="connsiteX23951" y="connsiteY23951"/>
              </a:cxn>
              <a:cxn ang="0">
                <a:pos x="connsiteX23952" y="connsiteY23952"/>
              </a:cxn>
              <a:cxn ang="0">
                <a:pos x="connsiteX23953" y="connsiteY23953"/>
              </a:cxn>
              <a:cxn ang="0">
                <a:pos x="connsiteX23954" y="connsiteY23954"/>
              </a:cxn>
              <a:cxn ang="0">
                <a:pos x="connsiteX23955" y="connsiteY23955"/>
              </a:cxn>
              <a:cxn ang="0">
                <a:pos x="connsiteX23956" y="connsiteY23956"/>
              </a:cxn>
              <a:cxn ang="0">
                <a:pos x="connsiteX23957" y="connsiteY23957"/>
              </a:cxn>
              <a:cxn ang="0">
                <a:pos x="connsiteX23958" y="connsiteY23958"/>
              </a:cxn>
              <a:cxn ang="0">
                <a:pos x="connsiteX23959" y="connsiteY23959"/>
              </a:cxn>
              <a:cxn ang="0">
                <a:pos x="connsiteX23960" y="connsiteY23960"/>
              </a:cxn>
              <a:cxn ang="0">
                <a:pos x="connsiteX23961" y="connsiteY23961"/>
              </a:cxn>
              <a:cxn ang="0">
                <a:pos x="connsiteX23962" y="connsiteY23962"/>
              </a:cxn>
              <a:cxn ang="0">
                <a:pos x="connsiteX23963" y="connsiteY23963"/>
              </a:cxn>
              <a:cxn ang="0">
                <a:pos x="connsiteX23964" y="connsiteY23964"/>
              </a:cxn>
              <a:cxn ang="0">
                <a:pos x="connsiteX23965" y="connsiteY23965"/>
              </a:cxn>
              <a:cxn ang="0">
                <a:pos x="connsiteX23966" y="connsiteY23966"/>
              </a:cxn>
              <a:cxn ang="0">
                <a:pos x="connsiteX23967" y="connsiteY23967"/>
              </a:cxn>
              <a:cxn ang="0">
                <a:pos x="connsiteX23968" y="connsiteY23968"/>
              </a:cxn>
              <a:cxn ang="0">
                <a:pos x="connsiteX23969" y="connsiteY23969"/>
              </a:cxn>
              <a:cxn ang="0">
                <a:pos x="connsiteX23970" y="connsiteY23970"/>
              </a:cxn>
              <a:cxn ang="0">
                <a:pos x="connsiteX23971" y="connsiteY23971"/>
              </a:cxn>
              <a:cxn ang="0">
                <a:pos x="connsiteX23972" y="connsiteY23972"/>
              </a:cxn>
              <a:cxn ang="0">
                <a:pos x="connsiteX23973" y="connsiteY23973"/>
              </a:cxn>
              <a:cxn ang="0">
                <a:pos x="connsiteX23974" y="connsiteY23974"/>
              </a:cxn>
              <a:cxn ang="0">
                <a:pos x="connsiteX23975" y="connsiteY23975"/>
              </a:cxn>
              <a:cxn ang="0">
                <a:pos x="connsiteX23976" y="connsiteY23976"/>
              </a:cxn>
              <a:cxn ang="0">
                <a:pos x="connsiteX23977" y="connsiteY23977"/>
              </a:cxn>
              <a:cxn ang="0">
                <a:pos x="connsiteX23978" y="connsiteY23978"/>
              </a:cxn>
              <a:cxn ang="0">
                <a:pos x="connsiteX23979" y="connsiteY23979"/>
              </a:cxn>
              <a:cxn ang="0">
                <a:pos x="connsiteX23980" y="connsiteY23980"/>
              </a:cxn>
              <a:cxn ang="0">
                <a:pos x="connsiteX23981" y="connsiteY23981"/>
              </a:cxn>
              <a:cxn ang="0">
                <a:pos x="connsiteX23982" y="connsiteY23982"/>
              </a:cxn>
              <a:cxn ang="0">
                <a:pos x="connsiteX23983" y="connsiteY23983"/>
              </a:cxn>
              <a:cxn ang="0">
                <a:pos x="connsiteX23984" y="connsiteY23984"/>
              </a:cxn>
              <a:cxn ang="0">
                <a:pos x="connsiteX23985" y="connsiteY23985"/>
              </a:cxn>
              <a:cxn ang="0">
                <a:pos x="connsiteX23986" y="connsiteY23986"/>
              </a:cxn>
              <a:cxn ang="0">
                <a:pos x="connsiteX23987" y="connsiteY23987"/>
              </a:cxn>
              <a:cxn ang="0">
                <a:pos x="connsiteX23988" y="connsiteY23988"/>
              </a:cxn>
              <a:cxn ang="0">
                <a:pos x="connsiteX23989" y="connsiteY23989"/>
              </a:cxn>
              <a:cxn ang="0">
                <a:pos x="connsiteX23990" y="connsiteY23990"/>
              </a:cxn>
              <a:cxn ang="0">
                <a:pos x="connsiteX23991" y="connsiteY23991"/>
              </a:cxn>
              <a:cxn ang="0">
                <a:pos x="connsiteX23992" y="connsiteY23992"/>
              </a:cxn>
              <a:cxn ang="0">
                <a:pos x="connsiteX23993" y="connsiteY23993"/>
              </a:cxn>
              <a:cxn ang="0">
                <a:pos x="connsiteX23994" y="connsiteY23994"/>
              </a:cxn>
              <a:cxn ang="0">
                <a:pos x="connsiteX23995" y="connsiteY23995"/>
              </a:cxn>
              <a:cxn ang="0">
                <a:pos x="connsiteX23996" y="connsiteY23996"/>
              </a:cxn>
              <a:cxn ang="0">
                <a:pos x="connsiteX23997" y="connsiteY23997"/>
              </a:cxn>
              <a:cxn ang="0">
                <a:pos x="connsiteX23998" y="connsiteY23998"/>
              </a:cxn>
              <a:cxn ang="0">
                <a:pos x="connsiteX23999" y="connsiteY23999"/>
              </a:cxn>
              <a:cxn ang="0">
                <a:pos x="connsiteX24000" y="connsiteY24000"/>
              </a:cxn>
              <a:cxn ang="0">
                <a:pos x="connsiteX24001" y="connsiteY24001"/>
              </a:cxn>
              <a:cxn ang="0">
                <a:pos x="connsiteX24002" y="connsiteY24002"/>
              </a:cxn>
              <a:cxn ang="0">
                <a:pos x="connsiteX24003" y="connsiteY24003"/>
              </a:cxn>
              <a:cxn ang="0">
                <a:pos x="connsiteX24004" y="connsiteY24004"/>
              </a:cxn>
              <a:cxn ang="0">
                <a:pos x="connsiteX24005" y="connsiteY24005"/>
              </a:cxn>
              <a:cxn ang="0">
                <a:pos x="connsiteX24006" y="connsiteY24006"/>
              </a:cxn>
              <a:cxn ang="0">
                <a:pos x="connsiteX24007" y="connsiteY24007"/>
              </a:cxn>
              <a:cxn ang="0">
                <a:pos x="connsiteX24008" y="connsiteY24008"/>
              </a:cxn>
              <a:cxn ang="0">
                <a:pos x="connsiteX24009" y="connsiteY24009"/>
              </a:cxn>
              <a:cxn ang="0">
                <a:pos x="connsiteX24010" y="connsiteY24010"/>
              </a:cxn>
              <a:cxn ang="0">
                <a:pos x="connsiteX24011" y="connsiteY24011"/>
              </a:cxn>
              <a:cxn ang="0">
                <a:pos x="connsiteX24012" y="connsiteY24012"/>
              </a:cxn>
              <a:cxn ang="0">
                <a:pos x="connsiteX24013" y="connsiteY24013"/>
              </a:cxn>
              <a:cxn ang="0">
                <a:pos x="connsiteX24014" y="connsiteY24014"/>
              </a:cxn>
              <a:cxn ang="0">
                <a:pos x="connsiteX24015" y="connsiteY24015"/>
              </a:cxn>
              <a:cxn ang="0">
                <a:pos x="connsiteX24016" y="connsiteY24016"/>
              </a:cxn>
              <a:cxn ang="0">
                <a:pos x="connsiteX24017" y="connsiteY24017"/>
              </a:cxn>
              <a:cxn ang="0">
                <a:pos x="connsiteX24018" y="connsiteY24018"/>
              </a:cxn>
              <a:cxn ang="0">
                <a:pos x="connsiteX24019" y="connsiteY24019"/>
              </a:cxn>
              <a:cxn ang="0">
                <a:pos x="connsiteX24020" y="connsiteY24020"/>
              </a:cxn>
              <a:cxn ang="0">
                <a:pos x="connsiteX24021" y="connsiteY24021"/>
              </a:cxn>
              <a:cxn ang="0">
                <a:pos x="connsiteX24022" y="connsiteY24022"/>
              </a:cxn>
              <a:cxn ang="0">
                <a:pos x="connsiteX24023" y="connsiteY24023"/>
              </a:cxn>
              <a:cxn ang="0">
                <a:pos x="connsiteX24024" y="connsiteY24024"/>
              </a:cxn>
              <a:cxn ang="0">
                <a:pos x="connsiteX24025" y="connsiteY24025"/>
              </a:cxn>
              <a:cxn ang="0">
                <a:pos x="connsiteX24026" y="connsiteY24026"/>
              </a:cxn>
              <a:cxn ang="0">
                <a:pos x="connsiteX24027" y="connsiteY24027"/>
              </a:cxn>
              <a:cxn ang="0">
                <a:pos x="connsiteX24028" y="connsiteY24028"/>
              </a:cxn>
              <a:cxn ang="0">
                <a:pos x="connsiteX24029" y="connsiteY24029"/>
              </a:cxn>
              <a:cxn ang="0">
                <a:pos x="connsiteX24030" y="connsiteY24030"/>
              </a:cxn>
              <a:cxn ang="0">
                <a:pos x="connsiteX24031" y="connsiteY24031"/>
              </a:cxn>
              <a:cxn ang="0">
                <a:pos x="connsiteX24032" y="connsiteY24032"/>
              </a:cxn>
              <a:cxn ang="0">
                <a:pos x="connsiteX24033" y="connsiteY24033"/>
              </a:cxn>
              <a:cxn ang="0">
                <a:pos x="connsiteX24034" y="connsiteY24034"/>
              </a:cxn>
              <a:cxn ang="0">
                <a:pos x="connsiteX24035" y="connsiteY24035"/>
              </a:cxn>
              <a:cxn ang="0">
                <a:pos x="connsiteX24036" y="connsiteY24036"/>
              </a:cxn>
              <a:cxn ang="0">
                <a:pos x="connsiteX24037" y="connsiteY24037"/>
              </a:cxn>
              <a:cxn ang="0">
                <a:pos x="connsiteX24038" y="connsiteY24038"/>
              </a:cxn>
              <a:cxn ang="0">
                <a:pos x="connsiteX24039" y="connsiteY24039"/>
              </a:cxn>
              <a:cxn ang="0">
                <a:pos x="connsiteX24040" y="connsiteY24040"/>
              </a:cxn>
              <a:cxn ang="0">
                <a:pos x="connsiteX24041" y="connsiteY24041"/>
              </a:cxn>
              <a:cxn ang="0">
                <a:pos x="connsiteX24042" y="connsiteY24042"/>
              </a:cxn>
              <a:cxn ang="0">
                <a:pos x="connsiteX24043" y="connsiteY24043"/>
              </a:cxn>
              <a:cxn ang="0">
                <a:pos x="connsiteX24044" y="connsiteY24044"/>
              </a:cxn>
              <a:cxn ang="0">
                <a:pos x="connsiteX24045" y="connsiteY24045"/>
              </a:cxn>
              <a:cxn ang="0">
                <a:pos x="connsiteX24046" y="connsiteY24046"/>
              </a:cxn>
              <a:cxn ang="0">
                <a:pos x="connsiteX24047" y="connsiteY24047"/>
              </a:cxn>
              <a:cxn ang="0">
                <a:pos x="connsiteX24048" y="connsiteY24048"/>
              </a:cxn>
              <a:cxn ang="0">
                <a:pos x="connsiteX24049" y="connsiteY24049"/>
              </a:cxn>
              <a:cxn ang="0">
                <a:pos x="connsiteX24050" y="connsiteY24050"/>
              </a:cxn>
              <a:cxn ang="0">
                <a:pos x="connsiteX24051" y="connsiteY24051"/>
              </a:cxn>
              <a:cxn ang="0">
                <a:pos x="connsiteX24052" y="connsiteY24052"/>
              </a:cxn>
              <a:cxn ang="0">
                <a:pos x="connsiteX24053" y="connsiteY24053"/>
              </a:cxn>
              <a:cxn ang="0">
                <a:pos x="connsiteX24054" y="connsiteY24054"/>
              </a:cxn>
              <a:cxn ang="0">
                <a:pos x="connsiteX24055" y="connsiteY24055"/>
              </a:cxn>
              <a:cxn ang="0">
                <a:pos x="connsiteX24056" y="connsiteY24056"/>
              </a:cxn>
              <a:cxn ang="0">
                <a:pos x="connsiteX24057" y="connsiteY24057"/>
              </a:cxn>
              <a:cxn ang="0">
                <a:pos x="connsiteX24058" y="connsiteY24058"/>
              </a:cxn>
              <a:cxn ang="0">
                <a:pos x="connsiteX24059" y="connsiteY24059"/>
              </a:cxn>
              <a:cxn ang="0">
                <a:pos x="connsiteX24060" y="connsiteY24060"/>
              </a:cxn>
              <a:cxn ang="0">
                <a:pos x="connsiteX24061" y="connsiteY24061"/>
              </a:cxn>
              <a:cxn ang="0">
                <a:pos x="connsiteX24062" y="connsiteY24062"/>
              </a:cxn>
              <a:cxn ang="0">
                <a:pos x="connsiteX24063" y="connsiteY24063"/>
              </a:cxn>
              <a:cxn ang="0">
                <a:pos x="connsiteX24064" y="connsiteY24064"/>
              </a:cxn>
              <a:cxn ang="0">
                <a:pos x="connsiteX24065" y="connsiteY24065"/>
              </a:cxn>
              <a:cxn ang="0">
                <a:pos x="connsiteX24066" y="connsiteY24066"/>
              </a:cxn>
              <a:cxn ang="0">
                <a:pos x="connsiteX24067" y="connsiteY24067"/>
              </a:cxn>
              <a:cxn ang="0">
                <a:pos x="connsiteX24068" y="connsiteY24068"/>
              </a:cxn>
              <a:cxn ang="0">
                <a:pos x="connsiteX24069" y="connsiteY24069"/>
              </a:cxn>
              <a:cxn ang="0">
                <a:pos x="connsiteX24070" y="connsiteY24070"/>
              </a:cxn>
              <a:cxn ang="0">
                <a:pos x="connsiteX24071" y="connsiteY24071"/>
              </a:cxn>
              <a:cxn ang="0">
                <a:pos x="connsiteX24072" y="connsiteY24072"/>
              </a:cxn>
              <a:cxn ang="0">
                <a:pos x="connsiteX24073" y="connsiteY24073"/>
              </a:cxn>
              <a:cxn ang="0">
                <a:pos x="connsiteX24074" y="connsiteY24074"/>
              </a:cxn>
              <a:cxn ang="0">
                <a:pos x="connsiteX24075" y="connsiteY24075"/>
              </a:cxn>
              <a:cxn ang="0">
                <a:pos x="connsiteX24076" y="connsiteY24076"/>
              </a:cxn>
              <a:cxn ang="0">
                <a:pos x="connsiteX24077" y="connsiteY24077"/>
              </a:cxn>
              <a:cxn ang="0">
                <a:pos x="connsiteX24078" y="connsiteY24078"/>
              </a:cxn>
              <a:cxn ang="0">
                <a:pos x="connsiteX24079" y="connsiteY24079"/>
              </a:cxn>
              <a:cxn ang="0">
                <a:pos x="connsiteX24080" y="connsiteY24080"/>
              </a:cxn>
              <a:cxn ang="0">
                <a:pos x="connsiteX24081" y="connsiteY24081"/>
              </a:cxn>
              <a:cxn ang="0">
                <a:pos x="connsiteX24082" y="connsiteY24082"/>
              </a:cxn>
              <a:cxn ang="0">
                <a:pos x="connsiteX24083" y="connsiteY24083"/>
              </a:cxn>
              <a:cxn ang="0">
                <a:pos x="connsiteX24084" y="connsiteY24084"/>
              </a:cxn>
              <a:cxn ang="0">
                <a:pos x="connsiteX24085" y="connsiteY24085"/>
              </a:cxn>
              <a:cxn ang="0">
                <a:pos x="connsiteX24086" y="connsiteY24086"/>
              </a:cxn>
              <a:cxn ang="0">
                <a:pos x="connsiteX24087" y="connsiteY24087"/>
              </a:cxn>
              <a:cxn ang="0">
                <a:pos x="connsiteX24088" y="connsiteY24088"/>
              </a:cxn>
              <a:cxn ang="0">
                <a:pos x="connsiteX24089" y="connsiteY24089"/>
              </a:cxn>
              <a:cxn ang="0">
                <a:pos x="connsiteX24090" y="connsiteY24090"/>
              </a:cxn>
              <a:cxn ang="0">
                <a:pos x="connsiteX24091" y="connsiteY24091"/>
              </a:cxn>
              <a:cxn ang="0">
                <a:pos x="connsiteX24092" y="connsiteY24092"/>
              </a:cxn>
              <a:cxn ang="0">
                <a:pos x="connsiteX24093" y="connsiteY24093"/>
              </a:cxn>
              <a:cxn ang="0">
                <a:pos x="connsiteX24094" y="connsiteY24094"/>
              </a:cxn>
              <a:cxn ang="0">
                <a:pos x="connsiteX24095" y="connsiteY24095"/>
              </a:cxn>
              <a:cxn ang="0">
                <a:pos x="connsiteX24096" y="connsiteY24096"/>
              </a:cxn>
              <a:cxn ang="0">
                <a:pos x="connsiteX24097" y="connsiteY24097"/>
              </a:cxn>
              <a:cxn ang="0">
                <a:pos x="connsiteX24098" y="connsiteY24098"/>
              </a:cxn>
              <a:cxn ang="0">
                <a:pos x="connsiteX24099" y="connsiteY24099"/>
              </a:cxn>
              <a:cxn ang="0">
                <a:pos x="connsiteX24100" y="connsiteY24100"/>
              </a:cxn>
              <a:cxn ang="0">
                <a:pos x="connsiteX24101" y="connsiteY24101"/>
              </a:cxn>
              <a:cxn ang="0">
                <a:pos x="connsiteX24102" y="connsiteY24102"/>
              </a:cxn>
              <a:cxn ang="0">
                <a:pos x="connsiteX24103" y="connsiteY24103"/>
              </a:cxn>
              <a:cxn ang="0">
                <a:pos x="connsiteX24104" y="connsiteY24104"/>
              </a:cxn>
              <a:cxn ang="0">
                <a:pos x="connsiteX24105" y="connsiteY24105"/>
              </a:cxn>
              <a:cxn ang="0">
                <a:pos x="connsiteX24106" y="connsiteY24106"/>
              </a:cxn>
              <a:cxn ang="0">
                <a:pos x="connsiteX24107" y="connsiteY24107"/>
              </a:cxn>
              <a:cxn ang="0">
                <a:pos x="connsiteX24108" y="connsiteY24108"/>
              </a:cxn>
              <a:cxn ang="0">
                <a:pos x="connsiteX24109" y="connsiteY24109"/>
              </a:cxn>
              <a:cxn ang="0">
                <a:pos x="connsiteX24110" y="connsiteY24110"/>
              </a:cxn>
              <a:cxn ang="0">
                <a:pos x="connsiteX24111" y="connsiteY24111"/>
              </a:cxn>
              <a:cxn ang="0">
                <a:pos x="connsiteX24112" y="connsiteY24112"/>
              </a:cxn>
              <a:cxn ang="0">
                <a:pos x="connsiteX24113" y="connsiteY24113"/>
              </a:cxn>
              <a:cxn ang="0">
                <a:pos x="connsiteX24114" y="connsiteY24114"/>
              </a:cxn>
              <a:cxn ang="0">
                <a:pos x="connsiteX24115" y="connsiteY24115"/>
              </a:cxn>
              <a:cxn ang="0">
                <a:pos x="connsiteX24116" y="connsiteY24116"/>
              </a:cxn>
              <a:cxn ang="0">
                <a:pos x="connsiteX24117" y="connsiteY24117"/>
              </a:cxn>
              <a:cxn ang="0">
                <a:pos x="connsiteX24118" y="connsiteY24118"/>
              </a:cxn>
              <a:cxn ang="0">
                <a:pos x="connsiteX24119" y="connsiteY24119"/>
              </a:cxn>
              <a:cxn ang="0">
                <a:pos x="connsiteX24120" y="connsiteY24120"/>
              </a:cxn>
              <a:cxn ang="0">
                <a:pos x="connsiteX24121" y="connsiteY24121"/>
              </a:cxn>
              <a:cxn ang="0">
                <a:pos x="connsiteX24122" y="connsiteY24122"/>
              </a:cxn>
              <a:cxn ang="0">
                <a:pos x="connsiteX24123" y="connsiteY24123"/>
              </a:cxn>
              <a:cxn ang="0">
                <a:pos x="connsiteX24124" y="connsiteY24124"/>
              </a:cxn>
              <a:cxn ang="0">
                <a:pos x="connsiteX24125" y="connsiteY24125"/>
              </a:cxn>
              <a:cxn ang="0">
                <a:pos x="connsiteX24126" y="connsiteY24126"/>
              </a:cxn>
              <a:cxn ang="0">
                <a:pos x="connsiteX24127" y="connsiteY24127"/>
              </a:cxn>
              <a:cxn ang="0">
                <a:pos x="connsiteX24128" y="connsiteY24128"/>
              </a:cxn>
              <a:cxn ang="0">
                <a:pos x="connsiteX24129" y="connsiteY24129"/>
              </a:cxn>
              <a:cxn ang="0">
                <a:pos x="connsiteX24130" y="connsiteY24130"/>
              </a:cxn>
              <a:cxn ang="0">
                <a:pos x="connsiteX24131" y="connsiteY24131"/>
              </a:cxn>
              <a:cxn ang="0">
                <a:pos x="connsiteX24132" y="connsiteY24132"/>
              </a:cxn>
              <a:cxn ang="0">
                <a:pos x="connsiteX24133" y="connsiteY24133"/>
              </a:cxn>
              <a:cxn ang="0">
                <a:pos x="connsiteX24134" y="connsiteY24134"/>
              </a:cxn>
              <a:cxn ang="0">
                <a:pos x="connsiteX24135" y="connsiteY24135"/>
              </a:cxn>
              <a:cxn ang="0">
                <a:pos x="connsiteX24136" y="connsiteY24136"/>
              </a:cxn>
              <a:cxn ang="0">
                <a:pos x="connsiteX24137" y="connsiteY24137"/>
              </a:cxn>
              <a:cxn ang="0">
                <a:pos x="connsiteX24138" y="connsiteY24138"/>
              </a:cxn>
              <a:cxn ang="0">
                <a:pos x="connsiteX24139" y="connsiteY24139"/>
              </a:cxn>
              <a:cxn ang="0">
                <a:pos x="connsiteX24140" y="connsiteY24140"/>
              </a:cxn>
              <a:cxn ang="0">
                <a:pos x="connsiteX24141" y="connsiteY24141"/>
              </a:cxn>
              <a:cxn ang="0">
                <a:pos x="connsiteX24142" y="connsiteY24142"/>
              </a:cxn>
              <a:cxn ang="0">
                <a:pos x="connsiteX24143" y="connsiteY24143"/>
              </a:cxn>
              <a:cxn ang="0">
                <a:pos x="connsiteX24144" y="connsiteY24144"/>
              </a:cxn>
              <a:cxn ang="0">
                <a:pos x="connsiteX24145" y="connsiteY24145"/>
              </a:cxn>
              <a:cxn ang="0">
                <a:pos x="connsiteX24146" y="connsiteY24146"/>
              </a:cxn>
              <a:cxn ang="0">
                <a:pos x="connsiteX24147" y="connsiteY24147"/>
              </a:cxn>
              <a:cxn ang="0">
                <a:pos x="connsiteX24148" y="connsiteY24148"/>
              </a:cxn>
              <a:cxn ang="0">
                <a:pos x="connsiteX24149" y="connsiteY24149"/>
              </a:cxn>
              <a:cxn ang="0">
                <a:pos x="connsiteX24150" y="connsiteY24150"/>
              </a:cxn>
              <a:cxn ang="0">
                <a:pos x="connsiteX24151" y="connsiteY24151"/>
              </a:cxn>
              <a:cxn ang="0">
                <a:pos x="connsiteX24152" y="connsiteY24152"/>
              </a:cxn>
              <a:cxn ang="0">
                <a:pos x="connsiteX24153" y="connsiteY24153"/>
              </a:cxn>
              <a:cxn ang="0">
                <a:pos x="connsiteX24154" y="connsiteY24154"/>
              </a:cxn>
              <a:cxn ang="0">
                <a:pos x="connsiteX24155" y="connsiteY24155"/>
              </a:cxn>
              <a:cxn ang="0">
                <a:pos x="connsiteX24156" y="connsiteY24156"/>
              </a:cxn>
              <a:cxn ang="0">
                <a:pos x="connsiteX24157" y="connsiteY24157"/>
              </a:cxn>
              <a:cxn ang="0">
                <a:pos x="connsiteX24158" y="connsiteY24158"/>
              </a:cxn>
              <a:cxn ang="0">
                <a:pos x="connsiteX24159" y="connsiteY24159"/>
              </a:cxn>
              <a:cxn ang="0">
                <a:pos x="connsiteX24160" y="connsiteY24160"/>
              </a:cxn>
              <a:cxn ang="0">
                <a:pos x="connsiteX24161" y="connsiteY24161"/>
              </a:cxn>
              <a:cxn ang="0">
                <a:pos x="connsiteX24162" y="connsiteY24162"/>
              </a:cxn>
              <a:cxn ang="0">
                <a:pos x="connsiteX24163" y="connsiteY24163"/>
              </a:cxn>
              <a:cxn ang="0">
                <a:pos x="connsiteX24164" y="connsiteY24164"/>
              </a:cxn>
              <a:cxn ang="0">
                <a:pos x="connsiteX24165" y="connsiteY24165"/>
              </a:cxn>
              <a:cxn ang="0">
                <a:pos x="connsiteX24166" y="connsiteY24166"/>
              </a:cxn>
              <a:cxn ang="0">
                <a:pos x="connsiteX24167" y="connsiteY24167"/>
              </a:cxn>
              <a:cxn ang="0">
                <a:pos x="connsiteX24168" y="connsiteY24168"/>
              </a:cxn>
              <a:cxn ang="0">
                <a:pos x="connsiteX24169" y="connsiteY24169"/>
              </a:cxn>
              <a:cxn ang="0">
                <a:pos x="connsiteX24170" y="connsiteY24170"/>
              </a:cxn>
              <a:cxn ang="0">
                <a:pos x="connsiteX24171" y="connsiteY24171"/>
              </a:cxn>
              <a:cxn ang="0">
                <a:pos x="connsiteX24172" y="connsiteY24172"/>
              </a:cxn>
              <a:cxn ang="0">
                <a:pos x="connsiteX24173" y="connsiteY24173"/>
              </a:cxn>
              <a:cxn ang="0">
                <a:pos x="connsiteX24174" y="connsiteY24174"/>
              </a:cxn>
              <a:cxn ang="0">
                <a:pos x="connsiteX24175" y="connsiteY24175"/>
              </a:cxn>
              <a:cxn ang="0">
                <a:pos x="connsiteX24176" y="connsiteY24176"/>
              </a:cxn>
              <a:cxn ang="0">
                <a:pos x="connsiteX24177" y="connsiteY24177"/>
              </a:cxn>
              <a:cxn ang="0">
                <a:pos x="connsiteX24178" y="connsiteY24178"/>
              </a:cxn>
              <a:cxn ang="0">
                <a:pos x="connsiteX24179" y="connsiteY24179"/>
              </a:cxn>
              <a:cxn ang="0">
                <a:pos x="connsiteX24180" y="connsiteY24180"/>
              </a:cxn>
              <a:cxn ang="0">
                <a:pos x="connsiteX24181" y="connsiteY24181"/>
              </a:cxn>
              <a:cxn ang="0">
                <a:pos x="connsiteX24182" y="connsiteY24182"/>
              </a:cxn>
              <a:cxn ang="0">
                <a:pos x="connsiteX24183" y="connsiteY24183"/>
              </a:cxn>
              <a:cxn ang="0">
                <a:pos x="connsiteX24184" y="connsiteY24184"/>
              </a:cxn>
              <a:cxn ang="0">
                <a:pos x="connsiteX24185" y="connsiteY24185"/>
              </a:cxn>
              <a:cxn ang="0">
                <a:pos x="connsiteX24186" y="connsiteY24186"/>
              </a:cxn>
              <a:cxn ang="0">
                <a:pos x="connsiteX24187" y="connsiteY24187"/>
              </a:cxn>
              <a:cxn ang="0">
                <a:pos x="connsiteX24188" y="connsiteY24188"/>
              </a:cxn>
              <a:cxn ang="0">
                <a:pos x="connsiteX24189" y="connsiteY24189"/>
              </a:cxn>
              <a:cxn ang="0">
                <a:pos x="connsiteX24190" y="connsiteY24190"/>
              </a:cxn>
              <a:cxn ang="0">
                <a:pos x="connsiteX24191" y="connsiteY24191"/>
              </a:cxn>
              <a:cxn ang="0">
                <a:pos x="connsiteX24192" y="connsiteY24192"/>
              </a:cxn>
              <a:cxn ang="0">
                <a:pos x="connsiteX24193" y="connsiteY24193"/>
              </a:cxn>
              <a:cxn ang="0">
                <a:pos x="connsiteX24194" y="connsiteY24194"/>
              </a:cxn>
              <a:cxn ang="0">
                <a:pos x="connsiteX24195" y="connsiteY24195"/>
              </a:cxn>
              <a:cxn ang="0">
                <a:pos x="connsiteX24196" y="connsiteY24196"/>
              </a:cxn>
              <a:cxn ang="0">
                <a:pos x="connsiteX24197" y="connsiteY24197"/>
              </a:cxn>
              <a:cxn ang="0">
                <a:pos x="connsiteX24198" y="connsiteY24198"/>
              </a:cxn>
              <a:cxn ang="0">
                <a:pos x="connsiteX24199" y="connsiteY24199"/>
              </a:cxn>
              <a:cxn ang="0">
                <a:pos x="connsiteX24200" y="connsiteY24200"/>
              </a:cxn>
              <a:cxn ang="0">
                <a:pos x="connsiteX24201" y="connsiteY24201"/>
              </a:cxn>
              <a:cxn ang="0">
                <a:pos x="connsiteX24202" y="connsiteY24202"/>
              </a:cxn>
              <a:cxn ang="0">
                <a:pos x="connsiteX24203" y="connsiteY24203"/>
              </a:cxn>
              <a:cxn ang="0">
                <a:pos x="connsiteX24204" y="connsiteY24204"/>
              </a:cxn>
              <a:cxn ang="0">
                <a:pos x="connsiteX24205" y="connsiteY24205"/>
              </a:cxn>
              <a:cxn ang="0">
                <a:pos x="connsiteX24206" y="connsiteY24206"/>
              </a:cxn>
              <a:cxn ang="0">
                <a:pos x="connsiteX24207" y="connsiteY24207"/>
              </a:cxn>
              <a:cxn ang="0">
                <a:pos x="connsiteX24208" y="connsiteY24208"/>
              </a:cxn>
              <a:cxn ang="0">
                <a:pos x="connsiteX24209" y="connsiteY24209"/>
              </a:cxn>
              <a:cxn ang="0">
                <a:pos x="connsiteX24210" y="connsiteY24210"/>
              </a:cxn>
              <a:cxn ang="0">
                <a:pos x="connsiteX24211" y="connsiteY24211"/>
              </a:cxn>
              <a:cxn ang="0">
                <a:pos x="connsiteX24212" y="connsiteY24212"/>
              </a:cxn>
              <a:cxn ang="0">
                <a:pos x="connsiteX24213" y="connsiteY24213"/>
              </a:cxn>
              <a:cxn ang="0">
                <a:pos x="connsiteX24214" y="connsiteY24214"/>
              </a:cxn>
              <a:cxn ang="0">
                <a:pos x="connsiteX24215" y="connsiteY24215"/>
              </a:cxn>
              <a:cxn ang="0">
                <a:pos x="connsiteX24216" y="connsiteY24216"/>
              </a:cxn>
              <a:cxn ang="0">
                <a:pos x="connsiteX24217" y="connsiteY24217"/>
              </a:cxn>
              <a:cxn ang="0">
                <a:pos x="connsiteX24218" y="connsiteY24218"/>
              </a:cxn>
              <a:cxn ang="0">
                <a:pos x="connsiteX24219" y="connsiteY24219"/>
              </a:cxn>
              <a:cxn ang="0">
                <a:pos x="connsiteX24220" y="connsiteY24220"/>
              </a:cxn>
              <a:cxn ang="0">
                <a:pos x="connsiteX24221" y="connsiteY24221"/>
              </a:cxn>
              <a:cxn ang="0">
                <a:pos x="connsiteX24222" y="connsiteY24222"/>
              </a:cxn>
              <a:cxn ang="0">
                <a:pos x="connsiteX24223" y="connsiteY24223"/>
              </a:cxn>
              <a:cxn ang="0">
                <a:pos x="connsiteX24224" y="connsiteY24224"/>
              </a:cxn>
              <a:cxn ang="0">
                <a:pos x="connsiteX24225" y="connsiteY24225"/>
              </a:cxn>
              <a:cxn ang="0">
                <a:pos x="connsiteX24226" y="connsiteY24226"/>
              </a:cxn>
              <a:cxn ang="0">
                <a:pos x="connsiteX24227" y="connsiteY24227"/>
              </a:cxn>
              <a:cxn ang="0">
                <a:pos x="connsiteX24228" y="connsiteY24228"/>
              </a:cxn>
              <a:cxn ang="0">
                <a:pos x="connsiteX24229" y="connsiteY24229"/>
              </a:cxn>
              <a:cxn ang="0">
                <a:pos x="connsiteX24230" y="connsiteY24230"/>
              </a:cxn>
              <a:cxn ang="0">
                <a:pos x="connsiteX24231" y="connsiteY24231"/>
              </a:cxn>
              <a:cxn ang="0">
                <a:pos x="connsiteX24232" y="connsiteY24232"/>
              </a:cxn>
              <a:cxn ang="0">
                <a:pos x="connsiteX24233" y="connsiteY24233"/>
              </a:cxn>
              <a:cxn ang="0">
                <a:pos x="connsiteX24234" y="connsiteY24234"/>
              </a:cxn>
              <a:cxn ang="0">
                <a:pos x="connsiteX24235" y="connsiteY24235"/>
              </a:cxn>
              <a:cxn ang="0">
                <a:pos x="connsiteX24236" y="connsiteY24236"/>
              </a:cxn>
              <a:cxn ang="0">
                <a:pos x="connsiteX24237" y="connsiteY24237"/>
              </a:cxn>
              <a:cxn ang="0">
                <a:pos x="connsiteX24238" y="connsiteY24238"/>
              </a:cxn>
              <a:cxn ang="0">
                <a:pos x="connsiteX24239" y="connsiteY24239"/>
              </a:cxn>
              <a:cxn ang="0">
                <a:pos x="connsiteX24240" y="connsiteY24240"/>
              </a:cxn>
              <a:cxn ang="0">
                <a:pos x="connsiteX24241" y="connsiteY24241"/>
              </a:cxn>
              <a:cxn ang="0">
                <a:pos x="connsiteX24242" y="connsiteY24242"/>
              </a:cxn>
              <a:cxn ang="0">
                <a:pos x="connsiteX24243" y="connsiteY24243"/>
              </a:cxn>
              <a:cxn ang="0">
                <a:pos x="connsiteX24244" y="connsiteY24244"/>
              </a:cxn>
              <a:cxn ang="0">
                <a:pos x="connsiteX24245" y="connsiteY24245"/>
              </a:cxn>
              <a:cxn ang="0">
                <a:pos x="connsiteX24246" y="connsiteY24246"/>
              </a:cxn>
              <a:cxn ang="0">
                <a:pos x="connsiteX24247" y="connsiteY24247"/>
              </a:cxn>
              <a:cxn ang="0">
                <a:pos x="connsiteX24248" y="connsiteY24248"/>
              </a:cxn>
              <a:cxn ang="0">
                <a:pos x="connsiteX24249" y="connsiteY24249"/>
              </a:cxn>
              <a:cxn ang="0">
                <a:pos x="connsiteX24250" y="connsiteY24250"/>
              </a:cxn>
              <a:cxn ang="0">
                <a:pos x="connsiteX24251" y="connsiteY24251"/>
              </a:cxn>
              <a:cxn ang="0">
                <a:pos x="connsiteX24252" y="connsiteY24252"/>
              </a:cxn>
              <a:cxn ang="0">
                <a:pos x="connsiteX24253" y="connsiteY24253"/>
              </a:cxn>
              <a:cxn ang="0">
                <a:pos x="connsiteX24254" y="connsiteY24254"/>
              </a:cxn>
              <a:cxn ang="0">
                <a:pos x="connsiteX24255" y="connsiteY24255"/>
              </a:cxn>
              <a:cxn ang="0">
                <a:pos x="connsiteX24256" y="connsiteY24256"/>
              </a:cxn>
              <a:cxn ang="0">
                <a:pos x="connsiteX24257" y="connsiteY24257"/>
              </a:cxn>
              <a:cxn ang="0">
                <a:pos x="connsiteX24258" y="connsiteY24258"/>
              </a:cxn>
              <a:cxn ang="0">
                <a:pos x="connsiteX24259" y="connsiteY24259"/>
              </a:cxn>
              <a:cxn ang="0">
                <a:pos x="connsiteX24260" y="connsiteY24260"/>
              </a:cxn>
              <a:cxn ang="0">
                <a:pos x="connsiteX24261" y="connsiteY24261"/>
              </a:cxn>
              <a:cxn ang="0">
                <a:pos x="connsiteX24262" y="connsiteY24262"/>
              </a:cxn>
              <a:cxn ang="0">
                <a:pos x="connsiteX24263" y="connsiteY24263"/>
              </a:cxn>
              <a:cxn ang="0">
                <a:pos x="connsiteX24264" y="connsiteY24264"/>
              </a:cxn>
              <a:cxn ang="0">
                <a:pos x="connsiteX24265" y="connsiteY24265"/>
              </a:cxn>
              <a:cxn ang="0">
                <a:pos x="connsiteX24266" y="connsiteY24266"/>
              </a:cxn>
              <a:cxn ang="0">
                <a:pos x="connsiteX24267" y="connsiteY24267"/>
              </a:cxn>
              <a:cxn ang="0">
                <a:pos x="connsiteX24268" y="connsiteY24268"/>
              </a:cxn>
              <a:cxn ang="0">
                <a:pos x="connsiteX24269" y="connsiteY24269"/>
              </a:cxn>
              <a:cxn ang="0">
                <a:pos x="connsiteX24270" y="connsiteY24270"/>
              </a:cxn>
              <a:cxn ang="0">
                <a:pos x="connsiteX24271" y="connsiteY24271"/>
              </a:cxn>
              <a:cxn ang="0">
                <a:pos x="connsiteX24272" y="connsiteY24272"/>
              </a:cxn>
              <a:cxn ang="0">
                <a:pos x="connsiteX24273" y="connsiteY24273"/>
              </a:cxn>
              <a:cxn ang="0">
                <a:pos x="connsiteX24274" y="connsiteY24274"/>
              </a:cxn>
              <a:cxn ang="0">
                <a:pos x="connsiteX24275" y="connsiteY24275"/>
              </a:cxn>
              <a:cxn ang="0">
                <a:pos x="connsiteX24276" y="connsiteY24276"/>
              </a:cxn>
              <a:cxn ang="0">
                <a:pos x="connsiteX24277" y="connsiteY24277"/>
              </a:cxn>
              <a:cxn ang="0">
                <a:pos x="connsiteX24278" y="connsiteY24278"/>
              </a:cxn>
              <a:cxn ang="0">
                <a:pos x="connsiteX24279" y="connsiteY24279"/>
              </a:cxn>
              <a:cxn ang="0">
                <a:pos x="connsiteX24280" y="connsiteY24280"/>
              </a:cxn>
              <a:cxn ang="0">
                <a:pos x="connsiteX24281" y="connsiteY24281"/>
              </a:cxn>
              <a:cxn ang="0">
                <a:pos x="connsiteX24282" y="connsiteY24282"/>
              </a:cxn>
              <a:cxn ang="0">
                <a:pos x="connsiteX24283" y="connsiteY24283"/>
              </a:cxn>
              <a:cxn ang="0">
                <a:pos x="connsiteX24284" y="connsiteY24284"/>
              </a:cxn>
              <a:cxn ang="0">
                <a:pos x="connsiteX24285" y="connsiteY24285"/>
              </a:cxn>
              <a:cxn ang="0">
                <a:pos x="connsiteX24286" y="connsiteY24286"/>
              </a:cxn>
              <a:cxn ang="0">
                <a:pos x="connsiteX24287" y="connsiteY24287"/>
              </a:cxn>
              <a:cxn ang="0">
                <a:pos x="connsiteX24288" y="connsiteY24288"/>
              </a:cxn>
              <a:cxn ang="0">
                <a:pos x="connsiteX24289" y="connsiteY24289"/>
              </a:cxn>
              <a:cxn ang="0">
                <a:pos x="connsiteX24290" y="connsiteY24290"/>
              </a:cxn>
              <a:cxn ang="0">
                <a:pos x="connsiteX24291" y="connsiteY24291"/>
              </a:cxn>
              <a:cxn ang="0">
                <a:pos x="connsiteX24292" y="connsiteY24292"/>
              </a:cxn>
              <a:cxn ang="0">
                <a:pos x="connsiteX24293" y="connsiteY24293"/>
              </a:cxn>
              <a:cxn ang="0">
                <a:pos x="connsiteX24294" y="connsiteY24294"/>
              </a:cxn>
              <a:cxn ang="0">
                <a:pos x="connsiteX24295" y="connsiteY24295"/>
              </a:cxn>
              <a:cxn ang="0">
                <a:pos x="connsiteX24296" y="connsiteY24296"/>
              </a:cxn>
              <a:cxn ang="0">
                <a:pos x="connsiteX24297" y="connsiteY24297"/>
              </a:cxn>
              <a:cxn ang="0">
                <a:pos x="connsiteX24298" y="connsiteY24298"/>
              </a:cxn>
              <a:cxn ang="0">
                <a:pos x="connsiteX24299" y="connsiteY24299"/>
              </a:cxn>
              <a:cxn ang="0">
                <a:pos x="connsiteX24300" y="connsiteY24300"/>
              </a:cxn>
              <a:cxn ang="0">
                <a:pos x="connsiteX24301" y="connsiteY24301"/>
              </a:cxn>
              <a:cxn ang="0">
                <a:pos x="connsiteX24302" y="connsiteY24302"/>
              </a:cxn>
              <a:cxn ang="0">
                <a:pos x="connsiteX24303" y="connsiteY24303"/>
              </a:cxn>
              <a:cxn ang="0">
                <a:pos x="connsiteX24304" y="connsiteY24304"/>
              </a:cxn>
              <a:cxn ang="0">
                <a:pos x="connsiteX24305" y="connsiteY24305"/>
              </a:cxn>
              <a:cxn ang="0">
                <a:pos x="connsiteX24306" y="connsiteY24306"/>
              </a:cxn>
              <a:cxn ang="0">
                <a:pos x="connsiteX24307" y="connsiteY24307"/>
              </a:cxn>
              <a:cxn ang="0">
                <a:pos x="connsiteX24308" y="connsiteY24308"/>
              </a:cxn>
              <a:cxn ang="0">
                <a:pos x="connsiteX24309" y="connsiteY24309"/>
              </a:cxn>
              <a:cxn ang="0">
                <a:pos x="connsiteX24310" y="connsiteY24310"/>
              </a:cxn>
              <a:cxn ang="0">
                <a:pos x="connsiteX24311" y="connsiteY24311"/>
              </a:cxn>
              <a:cxn ang="0">
                <a:pos x="connsiteX24312" y="connsiteY24312"/>
              </a:cxn>
              <a:cxn ang="0">
                <a:pos x="connsiteX24313" y="connsiteY24313"/>
              </a:cxn>
              <a:cxn ang="0">
                <a:pos x="connsiteX24314" y="connsiteY24314"/>
              </a:cxn>
              <a:cxn ang="0">
                <a:pos x="connsiteX24315" y="connsiteY24315"/>
              </a:cxn>
              <a:cxn ang="0">
                <a:pos x="connsiteX24316" y="connsiteY24316"/>
              </a:cxn>
              <a:cxn ang="0">
                <a:pos x="connsiteX24317" y="connsiteY24317"/>
              </a:cxn>
              <a:cxn ang="0">
                <a:pos x="connsiteX24318" y="connsiteY24318"/>
              </a:cxn>
              <a:cxn ang="0">
                <a:pos x="connsiteX24319" y="connsiteY24319"/>
              </a:cxn>
              <a:cxn ang="0">
                <a:pos x="connsiteX24320" y="connsiteY24320"/>
              </a:cxn>
              <a:cxn ang="0">
                <a:pos x="connsiteX24321" y="connsiteY24321"/>
              </a:cxn>
              <a:cxn ang="0">
                <a:pos x="connsiteX24322" y="connsiteY24322"/>
              </a:cxn>
              <a:cxn ang="0">
                <a:pos x="connsiteX24323" y="connsiteY24323"/>
              </a:cxn>
              <a:cxn ang="0">
                <a:pos x="connsiteX24324" y="connsiteY24324"/>
              </a:cxn>
              <a:cxn ang="0">
                <a:pos x="connsiteX24325" y="connsiteY24325"/>
              </a:cxn>
              <a:cxn ang="0">
                <a:pos x="connsiteX24326" y="connsiteY24326"/>
              </a:cxn>
              <a:cxn ang="0">
                <a:pos x="connsiteX24327" y="connsiteY24327"/>
              </a:cxn>
              <a:cxn ang="0">
                <a:pos x="connsiteX24328" y="connsiteY24328"/>
              </a:cxn>
              <a:cxn ang="0">
                <a:pos x="connsiteX24329" y="connsiteY24329"/>
              </a:cxn>
              <a:cxn ang="0">
                <a:pos x="connsiteX24330" y="connsiteY24330"/>
              </a:cxn>
              <a:cxn ang="0">
                <a:pos x="connsiteX24331" y="connsiteY24331"/>
              </a:cxn>
              <a:cxn ang="0">
                <a:pos x="connsiteX24332" y="connsiteY24332"/>
              </a:cxn>
              <a:cxn ang="0">
                <a:pos x="connsiteX24333" y="connsiteY24333"/>
              </a:cxn>
              <a:cxn ang="0">
                <a:pos x="connsiteX24334" y="connsiteY24334"/>
              </a:cxn>
              <a:cxn ang="0">
                <a:pos x="connsiteX24335" y="connsiteY24335"/>
              </a:cxn>
              <a:cxn ang="0">
                <a:pos x="connsiteX24336" y="connsiteY24336"/>
              </a:cxn>
              <a:cxn ang="0">
                <a:pos x="connsiteX24337" y="connsiteY24337"/>
              </a:cxn>
              <a:cxn ang="0">
                <a:pos x="connsiteX24338" y="connsiteY24338"/>
              </a:cxn>
              <a:cxn ang="0">
                <a:pos x="connsiteX24339" y="connsiteY24339"/>
              </a:cxn>
              <a:cxn ang="0">
                <a:pos x="connsiteX24340" y="connsiteY24340"/>
              </a:cxn>
              <a:cxn ang="0">
                <a:pos x="connsiteX24341" y="connsiteY24341"/>
              </a:cxn>
              <a:cxn ang="0">
                <a:pos x="connsiteX24342" y="connsiteY24342"/>
              </a:cxn>
              <a:cxn ang="0">
                <a:pos x="connsiteX24343" y="connsiteY24343"/>
              </a:cxn>
              <a:cxn ang="0">
                <a:pos x="connsiteX24344" y="connsiteY24344"/>
              </a:cxn>
              <a:cxn ang="0">
                <a:pos x="connsiteX24345" y="connsiteY24345"/>
              </a:cxn>
              <a:cxn ang="0">
                <a:pos x="connsiteX24346" y="connsiteY24346"/>
              </a:cxn>
              <a:cxn ang="0">
                <a:pos x="connsiteX24347" y="connsiteY24347"/>
              </a:cxn>
              <a:cxn ang="0">
                <a:pos x="connsiteX24348" y="connsiteY24348"/>
              </a:cxn>
              <a:cxn ang="0">
                <a:pos x="connsiteX24349" y="connsiteY24349"/>
              </a:cxn>
              <a:cxn ang="0">
                <a:pos x="connsiteX24350" y="connsiteY24350"/>
              </a:cxn>
              <a:cxn ang="0">
                <a:pos x="connsiteX24351" y="connsiteY24351"/>
              </a:cxn>
              <a:cxn ang="0">
                <a:pos x="connsiteX24352" y="connsiteY24352"/>
              </a:cxn>
              <a:cxn ang="0">
                <a:pos x="connsiteX24353" y="connsiteY24353"/>
              </a:cxn>
              <a:cxn ang="0">
                <a:pos x="connsiteX24354" y="connsiteY24354"/>
              </a:cxn>
              <a:cxn ang="0">
                <a:pos x="connsiteX24355" y="connsiteY24355"/>
              </a:cxn>
              <a:cxn ang="0">
                <a:pos x="connsiteX24356" y="connsiteY24356"/>
              </a:cxn>
              <a:cxn ang="0">
                <a:pos x="connsiteX24357" y="connsiteY24357"/>
              </a:cxn>
              <a:cxn ang="0">
                <a:pos x="connsiteX24358" y="connsiteY24358"/>
              </a:cxn>
              <a:cxn ang="0">
                <a:pos x="connsiteX24359" y="connsiteY24359"/>
              </a:cxn>
              <a:cxn ang="0">
                <a:pos x="connsiteX24360" y="connsiteY24360"/>
              </a:cxn>
              <a:cxn ang="0">
                <a:pos x="connsiteX24361" y="connsiteY24361"/>
              </a:cxn>
              <a:cxn ang="0">
                <a:pos x="connsiteX24362" y="connsiteY24362"/>
              </a:cxn>
              <a:cxn ang="0">
                <a:pos x="connsiteX24363" y="connsiteY24363"/>
              </a:cxn>
              <a:cxn ang="0">
                <a:pos x="connsiteX24364" y="connsiteY24364"/>
              </a:cxn>
              <a:cxn ang="0">
                <a:pos x="connsiteX24365" y="connsiteY24365"/>
              </a:cxn>
              <a:cxn ang="0">
                <a:pos x="connsiteX24366" y="connsiteY24366"/>
              </a:cxn>
              <a:cxn ang="0">
                <a:pos x="connsiteX24367" y="connsiteY24367"/>
              </a:cxn>
              <a:cxn ang="0">
                <a:pos x="connsiteX24368" y="connsiteY24368"/>
              </a:cxn>
              <a:cxn ang="0">
                <a:pos x="connsiteX24369" y="connsiteY24369"/>
              </a:cxn>
              <a:cxn ang="0">
                <a:pos x="connsiteX24370" y="connsiteY24370"/>
              </a:cxn>
              <a:cxn ang="0">
                <a:pos x="connsiteX24371" y="connsiteY24371"/>
              </a:cxn>
              <a:cxn ang="0">
                <a:pos x="connsiteX24372" y="connsiteY24372"/>
              </a:cxn>
              <a:cxn ang="0">
                <a:pos x="connsiteX24373" y="connsiteY24373"/>
              </a:cxn>
              <a:cxn ang="0">
                <a:pos x="connsiteX24374" y="connsiteY24374"/>
              </a:cxn>
              <a:cxn ang="0">
                <a:pos x="connsiteX24375" y="connsiteY24375"/>
              </a:cxn>
              <a:cxn ang="0">
                <a:pos x="connsiteX24376" y="connsiteY24376"/>
              </a:cxn>
              <a:cxn ang="0">
                <a:pos x="connsiteX24377" y="connsiteY24377"/>
              </a:cxn>
              <a:cxn ang="0">
                <a:pos x="connsiteX24378" y="connsiteY24378"/>
              </a:cxn>
              <a:cxn ang="0">
                <a:pos x="connsiteX24379" y="connsiteY24379"/>
              </a:cxn>
              <a:cxn ang="0">
                <a:pos x="connsiteX24380" y="connsiteY24380"/>
              </a:cxn>
              <a:cxn ang="0">
                <a:pos x="connsiteX24381" y="connsiteY24381"/>
              </a:cxn>
              <a:cxn ang="0">
                <a:pos x="connsiteX24382" y="connsiteY24382"/>
              </a:cxn>
              <a:cxn ang="0">
                <a:pos x="connsiteX24383" y="connsiteY24383"/>
              </a:cxn>
              <a:cxn ang="0">
                <a:pos x="connsiteX24384" y="connsiteY24384"/>
              </a:cxn>
              <a:cxn ang="0">
                <a:pos x="connsiteX24385" y="connsiteY24385"/>
              </a:cxn>
              <a:cxn ang="0">
                <a:pos x="connsiteX24386" y="connsiteY24386"/>
              </a:cxn>
              <a:cxn ang="0">
                <a:pos x="connsiteX24387" y="connsiteY24387"/>
              </a:cxn>
              <a:cxn ang="0">
                <a:pos x="connsiteX24388" y="connsiteY24388"/>
              </a:cxn>
              <a:cxn ang="0">
                <a:pos x="connsiteX24389" y="connsiteY24389"/>
              </a:cxn>
              <a:cxn ang="0">
                <a:pos x="connsiteX24390" y="connsiteY24390"/>
              </a:cxn>
              <a:cxn ang="0">
                <a:pos x="connsiteX24391" y="connsiteY24391"/>
              </a:cxn>
              <a:cxn ang="0">
                <a:pos x="connsiteX24392" y="connsiteY24392"/>
              </a:cxn>
              <a:cxn ang="0">
                <a:pos x="connsiteX24393" y="connsiteY24393"/>
              </a:cxn>
              <a:cxn ang="0">
                <a:pos x="connsiteX24394" y="connsiteY24394"/>
              </a:cxn>
              <a:cxn ang="0">
                <a:pos x="connsiteX24395" y="connsiteY24395"/>
              </a:cxn>
              <a:cxn ang="0">
                <a:pos x="connsiteX24396" y="connsiteY24396"/>
              </a:cxn>
              <a:cxn ang="0">
                <a:pos x="connsiteX24397" y="connsiteY24397"/>
              </a:cxn>
              <a:cxn ang="0">
                <a:pos x="connsiteX24398" y="connsiteY24398"/>
              </a:cxn>
              <a:cxn ang="0">
                <a:pos x="connsiteX24399" y="connsiteY24399"/>
              </a:cxn>
              <a:cxn ang="0">
                <a:pos x="connsiteX24400" y="connsiteY24400"/>
              </a:cxn>
              <a:cxn ang="0">
                <a:pos x="connsiteX24401" y="connsiteY24401"/>
              </a:cxn>
              <a:cxn ang="0">
                <a:pos x="connsiteX24402" y="connsiteY24402"/>
              </a:cxn>
              <a:cxn ang="0">
                <a:pos x="connsiteX24403" y="connsiteY24403"/>
              </a:cxn>
              <a:cxn ang="0">
                <a:pos x="connsiteX24404" y="connsiteY24404"/>
              </a:cxn>
              <a:cxn ang="0">
                <a:pos x="connsiteX24405" y="connsiteY24405"/>
              </a:cxn>
              <a:cxn ang="0">
                <a:pos x="connsiteX24406" y="connsiteY24406"/>
              </a:cxn>
              <a:cxn ang="0">
                <a:pos x="connsiteX24407" y="connsiteY24407"/>
              </a:cxn>
              <a:cxn ang="0">
                <a:pos x="connsiteX24408" y="connsiteY24408"/>
              </a:cxn>
              <a:cxn ang="0">
                <a:pos x="connsiteX24409" y="connsiteY24409"/>
              </a:cxn>
              <a:cxn ang="0">
                <a:pos x="connsiteX24410" y="connsiteY24410"/>
              </a:cxn>
              <a:cxn ang="0">
                <a:pos x="connsiteX24411" y="connsiteY24411"/>
              </a:cxn>
              <a:cxn ang="0">
                <a:pos x="connsiteX24412" y="connsiteY24412"/>
              </a:cxn>
              <a:cxn ang="0">
                <a:pos x="connsiteX24413" y="connsiteY24413"/>
              </a:cxn>
              <a:cxn ang="0">
                <a:pos x="connsiteX24414" y="connsiteY24414"/>
              </a:cxn>
              <a:cxn ang="0">
                <a:pos x="connsiteX24415" y="connsiteY24415"/>
              </a:cxn>
              <a:cxn ang="0">
                <a:pos x="connsiteX24416" y="connsiteY24416"/>
              </a:cxn>
              <a:cxn ang="0">
                <a:pos x="connsiteX24417" y="connsiteY24417"/>
              </a:cxn>
              <a:cxn ang="0">
                <a:pos x="connsiteX24418" y="connsiteY24418"/>
              </a:cxn>
              <a:cxn ang="0">
                <a:pos x="connsiteX24419" y="connsiteY24419"/>
              </a:cxn>
              <a:cxn ang="0">
                <a:pos x="connsiteX24420" y="connsiteY24420"/>
              </a:cxn>
              <a:cxn ang="0">
                <a:pos x="connsiteX24421" y="connsiteY24421"/>
              </a:cxn>
              <a:cxn ang="0">
                <a:pos x="connsiteX24422" y="connsiteY24422"/>
              </a:cxn>
              <a:cxn ang="0">
                <a:pos x="connsiteX24423" y="connsiteY24423"/>
              </a:cxn>
              <a:cxn ang="0">
                <a:pos x="connsiteX24424" y="connsiteY24424"/>
              </a:cxn>
              <a:cxn ang="0">
                <a:pos x="connsiteX24425" y="connsiteY24425"/>
              </a:cxn>
              <a:cxn ang="0">
                <a:pos x="connsiteX24426" y="connsiteY24426"/>
              </a:cxn>
              <a:cxn ang="0">
                <a:pos x="connsiteX24427" y="connsiteY24427"/>
              </a:cxn>
              <a:cxn ang="0">
                <a:pos x="connsiteX24428" y="connsiteY24428"/>
              </a:cxn>
              <a:cxn ang="0">
                <a:pos x="connsiteX24429" y="connsiteY24429"/>
              </a:cxn>
              <a:cxn ang="0">
                <a:pos x="connsiteX24430" y="connsiteY24430"/>
              </a:cxn>
              <a:cxn ang="0">
                <a:pos x="connsiteX24431" y="connsiteY24431"/>
              </a:cxn>
              <a:cxn ang="0">
                <a:pos x="connsiteX24432" y="connsiteY24432"/>
              </a:cxn>
              <a:cxn ang="0">
                <a:pos x="connsiteX24433" y="connsiteY24433"/>
              </a:cxn>
              <a:cxn ang="0">
                <a:pos x="connsiteX24434" y="connsiteY24434"/>
              </a:cxn>
              <a:cxn ang="0">
                <a:pos x="connsiteX24435" y="connsiteY24435"/>
              </a:cxn>
              <a:cxn ang="0">
                <a:pos x="connsiteX24436" y="connsiteY24436"/>
              </a:cxn>
              <a:cxn ang="0">
                <a:pos x="connsiteX24437" y="connsiteY24437"/>
              </a:cxn>
              <a:cxn ang="0">
                <a:pos x="connsiteX24438" y="connsiteY24438"/>
              </a:cxn>
              <a:cxn ang="0">
                <a:pos x="connsiteX24439" y="connsiteY24439"/>
              </a:cxn>
              <a:cxn ang="0">
                <a:pos x="connsiteX24440" y="connsiteY24440"/>
              </a:cxn>
              <a:cxn ang="0">
                <a:pos x="connsiteX24441" y="connsiteY24441"/>
              </a:cxn>
              <a:cxn ang="0">
                <a:pos x="connsiteX24442" y="connsiteY24442"/>
              </a:cxn>
              <a:cxn ang="0">
                <a:pos x="connsiteX24443" y="connsiteY24443"/>
              </a:cxn>
              <a:cxn ang="0">
                <a:pos x="connsiteX24444" y="connsiteY24444"/>
              </a:cxn>
              <a:cxn ang="0">
                <a:pos x="connsiteX24445" y="connsiteY24445"/>
              </a:cxn>
              <a:cxn ang="0">
                <a:pos x="connsiteX24446" y="connsiteY24446"/>
              </a:cxn>
              <a:cxn ang="0">
                <a:pos x="connsiteX24447" y="connsiteY24447"/>
              </a:cxn>
              <a:cxn ang="0">
                <a:pos x="connsiteX24448" y="connsiteY24448"/>
              </a:cxn>
              <a:cxn ang="0">
                <a:pos x="connsiteX24449" y="connsiteY24449"/>
              </a:cxn>
              <a:cxn ang="0">
                <a:pos x="connsiteX24450" y="connsiteY24450"/>
              </a:cxn>
              <a:cxn ang="0">
                <a:pos x="connsiteX24451" y="connsiteY24451"/>
              </a:cxn>
              <a:cxn ang="0">
                <a:pos x="connsiteX24452" y="connsiteY24452"/>
              </a:cxn>
              <a:cxn ang="0">
                <a:pos x="connsiteX24453" y="connsiteY24453"/>
              </a:cxn>
              <a:cxn ang="0">
                <a:pos x="connsiteX24454" y="connsiteY24454"/>
              </a:cxn>
              <a:cxn ang="0">
                <a:pos x="connsiteX24455" y="connsiteY24455"/>
              </a:cxn>
              <a:cxn ang="0">
                <a:pos x="connsiteX24456" y="connsiteY24456"/>
              </a:cxn>
              <a:cxn ang="0">
                <a:pos x="connsiteX24457" y="connsiteY24457"/>
              </a:cxn>
              <a:cxn ang="0">
                <a:pos x="connsiteX24458" y="connsiteY24458"/>
              </a:cxn>
              <a:cxn ang="0">
                <a:pos x="connsiteX24459" y="connsiteY24459"/>
              </a:cxn>
              <a:cxn ang="0">
                <a:pos x="connsiteX24460" y="connsiteY24460"/>
              </a:cxn>
              <a:cxn ang="0">
                <a:pos x="connsiteX24461" y="connsiteY24461"/>
              </a:cxn>
              <a:cxn ang="0">
                <a:pos x="connsiteX24462" y="connsiteY24462"/>
              </a:cxn>
              <a:cxn ang="0">
                <a:pos x="connsiteX24463" y="connsiteY24463"/>
              </a:cxn>
              <a:cxn ang="0">
                <a:pos x="connsiteX24464" y="connsiteY24464"/>
              </a:cxn>
              <a:cxn ang="0">
                <a:pos x="connsiteX24465" y="connsiteY24465"/>
              </a:cxn>
              <a:cxn ang="0">
                <a:pos x="connsiteX24466" y="connsiteY24466"/>
              </a:cxn>
              <a:cxn ang="0">
                <a:pos x="connsiteX24467" y="connsiteY24467"/>
              </a:cxn>
              <a:cxn ang="0">
                <a:pos x="connsiteX24468" y="connsiteY24468"/>
              </a:cxn>
              <a:cxn ang="0">
                <a:pos x="connsiteX24469" y="connsiteY24469"/>
              </a:cxn>
              <a:cxn ang="0">
                <a:pos x="connsiteX24470" y="connsiteY24470"/>
              </a:cxn>
              <a:cxn ang="0">
                <a:pos x="connsiteX24471" y="connsiteY24471"/>
              </a:cxn>
              <a:cxn ang="0">
                <a:pos x="connsiteX24472" y="connsiteY24472"/>
              </a:cxn>
              <a:cxn ang="0">
                <a:pos x="connsiteX24473" y="connsiteY24473"/>
              </a:cxn>
              <a:cxn ang="0">
                <a:pos x="connsiteX24474" y="connsiteY24474"/>
              </a:cxn>
              <a:cxn ang="0">
                <a:pos x="connsiteX24475" y="connsiteY24475"/>
              </a:cxn>
              <a:cxn ang="0">
                <a:pos x="connsiteX24476" y="connsiteY24476"/>
              </a:cxn>
              <a:cxn ang="0">
                <a:pos x="connsiteX24477" y="connsiteY24477"/>
              </a:cxn>
              <a:cxn ang="0">
                <a:pos x="connsiteX24478" y="connsiteY24478"/>
              </a:cxn>
              <a:cxn ang="0">
                <a:pos x="connsiteX24479" y="connsiteY24479"/>
              </a:cxn>
              <a:cxn ang="0">
                <a:pos x="connsiteX24480" y="connsiteY24480"/>
              </a:cxn>
              <a:cxn ang="0">
                <a:pos x="connsiteX24481" y="connsiteY24481"/>
              </a:cxn>
              <a:cxn ang="0">
                <a:pos x="connsiteX24482" y="connsiteY24482"/>
              </a:cxn>
              <a:cxn ang="0">
                <a:pos x="connsiteX24483" y="connsiteY24483"/>
              </a:cxn>
              <a:cxn ang="0">
                <a:pos x="connsiteX24484" y="connsiteY24484"/>
              </a:cxn>
              <a:cxn ang="0">
                <a:pos x="connsiteX24485" y="connsiteY24485"/>
              </a:cxn>
              <a:cxn ang="0">
                <a:pos x="connsiteX24486" y="connsiteY24486"/>
              </a:cxn>
              <a:cxn ang="0">
                <a:pos x="connsiteX24487" y="connsiteY24487"/>
              </a:cxn>
              <a:cxn ang="0">
                <a:pos x="connsiteX24488" y="connsiteY24488"/>
              </a:cxn>
              <a:cxn ang="0">
                <a:pos x="connsiteX24489" y="connsiteY24489"/>
              </a:cxn>
              <a:cxn ang="0">
                <a:pos x="connsiteX24490" y="connsiteY24490"/>
              </a:cxn>
              <a:cxn ang="0">
                <a:pos x="connsiteX24491" y="connsiteY24491"/>
              </a:cxn>
              <a:cxn ang="0">
                <a:pos x="connsiteX24492" y="connsiteY24492"/>
              </a:cxn>
              <a:cxn ang="0">
                <a:pos x="connsiteX24493" y="connsiteY24493"/>
              </a:cxn>
              <a:cxn ang="0">
                <a:pos x="connsiteX24494" y="connsiteY24494"/>
              </a:cxn>
              <a:cxn ang="0">
                <a:pos x="connsiteX24495" y="connsiteY24495"/>
              </a:cxn>
              <a:cxn ang="0">
                <a:pos x="connsiteX24496" y="connsiteY24496"/>
              </a:cxn>
              <a:cxn ang="0">
                <a:pos x="connsiteX24497" y="connsiteY24497"/>
              </a:cxn>
              <a:cxn ang="0">
                <a:pos x="connsiteX24498" y="connsiteY24498"/>
              </a:cxn>
              <a:cxn ang="0">
                <a:pos x="connsiteX24499" y="connsiteY24499"/>
              </a:cxn>
              <a:cxn ang="0">
                <a:pos x="connsiteX24500" y="connsiteY24500"/>
              </a:cxn>
              <a:cxn ang="0">
                <a:pos x="connsiteX24501" y="connsiteY24501"/>
              </a:cxn>
              <a:cxn ang="0">
                <a:pos x="connsiteX24502" y="connsiteY24502"/>
              </a:cxn>
              <a:cxn ang="0">
                <a:pos x="connsiteX24503" y="connsiteY24503"/>
              </a:cxn>
              <a:cxn ang="0">
                <a:pos x="connsiteX24504" y="connsiteY24504"/>
              </a:cxn>
              <a:cxn ang="0">
                <a:pos x="connsiteX24505" y="connsiteY24505"/>
              </a:cxn>
              <a:cxn ang="0">
                <a:pos x="connsiteX24506" y="connsiteY24506"/>
              </a:cxn>
              <a:cxn ang="0">
                <a:pos x="connsiteX24507" y="connsiteY24507"/>
              </a:cxn>
              <a:cxn ang="0">
                <a:pos x="connsiteX24508" y="connsiteY24508"/>
              </a:cxn>
              <a:cxn ang="0">
                <a:pos x="connsiteX24509" y="connsiteY24509"/>
              </a:cxn>
              <a:cxn ang="0">
                <a:pos x="connsiteX24510" y="connsiteY24510"/>
              </a:cxn>
              <a:cxn ang="0">
                <a:pos x="connsiteX24511" y="connsiteY24511"/>
              </a:cxn>
              <a:cxn ang="0">
                <a:pos x="connsiteX24512" y="connsiteY24512"/>
              </a:cxn>
              <a:cxn ang="0">
                <a:pos x="connsiteX24513" y="connsiteY24513"/>
              </a:cxn>
              <a:cxn ang="0">
                <a:pos x="connsiteX24514" y="connsiteY24514"/>
              </a:cxn>
              <a:cxn ang="0">
                <a:pos x="connsiteX24515" y="connsiteY24515"/>
              </a:cxn>
              <a:cxn ang="0">
                <a:pos x="connsiteX24516" y="connsiteY24516"/>
              </a:cxn>
              <a:cxn ang="0">
                <a:pos x="connsiteX24517" y="connsiteY24517"/>
              </a:cxn>
              <a:cxn ang="0">
                <a:pos x="connsiteX24518" y="connsiteY24518"/>
              </a:cxn>
              <a:cxn ang="0">
                <a:pos x="connsiteX24519" y="connsiteY24519"/>
              </a:cxn>
              <a:cxn ang="0">
                <a:pos x="connsiteX24520" y="connsiteY24520"/>
              </a:cxn>
              <a:cxn ang="0">
                <a:pos x="connsiteX24521" y="connsiteY24521"/>
              </a:cxn>
              <a:cxn ang="0">
                <a:pos x="connsiteX24522" y="connsiteY24522"/>
              </a:cxn>
              <a:cxn ang="0">
                <a:pos x="connsiteX24523" y="connsiteY24523"/>
              </a:cxn>
              <a:cxn ang="0">
                <a:pos x="connsiteX24524" y="connsiteY24524"/>
              </a:cxn>
              <a:cxn ang="0">
                <a:pos x="connsiteX24525" y="connsiteY24525"/>
              </a:cxn>
              <a:cxn ang="0">
                <a:pos x="connsiteX24526" y="connsiteY24526"/>
              </a:cxn>
              <a:cxn ang="0">
                <a:pos x="connsiteX24527" y="connsiteY24527"/>
              </a:cxn>
              <a:cxn ang="0">
                <a:pos x="connsiteX24528" y="connsiteY24528"/>
              </a:cxn>
              <a:cxn ang="0">
                <a:pos x="connsiteX24529" y="connsiteY24529"/>
              </a:cxn>
              <a:cxn ang="0">
                <a:pos x="connsiteX24530" y="connsiteY24530"/>
              </a:cxn>
              <a:cxn ang="0">
                <a:pos x="connsiteX24531" y="connsiteY24531"/>
              </a:cxn>
              <a:cxn ang="0">
                <a:pos x="connsiteX24532" y="connsiteY24532"/>
              </a:cxn>
              <a:cxn ang="0">
                <a:pos x="connsiteX24533" y="connsiteY24533"/>
              </a:cxn>
              <a:cxn ang="0">
                <a:pos x="connsiteX24534" y="connsiteY24534"/>
              </a:cxn>
              <a:cxn ang="0">
                <a:pos x="connsiteX24535" y="connsiteY24535"/>
              </a:cxn>
              <a:cxn ang="0">
                <a:pos x="connsiteX24536" y="connsiteY24536"/>
              </a:cxn>
              <a:cxn ang="0">
                <a:pos x="connsiteX24537" y="connsiteY24537"/>
              </a:cxn>
              <a:cxn ang="0">
                <a:pos x="connsiteX24538" y="connsiteY24538"/>
              </a:cxn>
              <a:cxn ang="0">
                <a:pos x="connsiteX24539" y="connsiteY24539"/>
              </a:cxn>
              <a:cxn ang="0">
                <a:pos x="connsiteX24540" y="connsiteY24540"/>
              </a:cxn>
              <a:cxn ang="0">
                <a:pos x="connsiteX24541" y="connsiteY24541"/>
              </a:cxn>
              <a:cxn ang="0">
                <a:pos x="connsiteX24542" y="connsiteY24542"/>
              </a:cxn>
              <a:cxn ang="0">
                <a:pos x="connsiteX24543" y="connsiteY24543"/>
              </a:cxn>
              <a:cxn ang="0">
                <a:pos x="connsiteX24544" y="connsiteY24544"/>
              </a:cxn>
              <a:cxn ang="0">
                <a:pos x="connsiteX24545" y="connsiteY24545"/>
              </a:cxn>
              <a:cxn ang="0">
                <a:pos x="connsiteX24546" y="connsiteY24546"/>
              </a:cxn>
              <a:cxn ang="0">
                <a:pos x="connsiteX24547" y="connsiteY24547"/>
              </a:cxn>
              <a:cxn ang="0">
                <a:pos x="connsiteX24548" y="connsiteY24548"/>
              </a:cxn>
              <a:cxn ang="0">
                <a:pos x="connsiteX24549" y="connsiteY24549"/>
              </a:cxn>
              <a:cxn ang="0">
                <a:pos x="connsiteX24550" y="connsiteY24550"/>
              </a:cxn>
              <a:cxn ang="0">
                <a:pos x="connsiteX24551" y="connsiteY24551"/>
              </a:cxn>
              <a:cxn ang="0">
                <a:pos x="connsiteX24552" y="connsiteY24552"/>
              </a:cxn>
              <a:cxn ang="0">
                <a:pos x="connsiteX24553" y="connsiteY24553"/>
              </a:cxn>
              <a:cxn ang="0">
                <a:pos x="connsiteX24554" y="connsiteY24554"/>
              </a:cxn>
              <a:cxn ang="0">
                <a:pos x="connsiteX24555" y="connsiteY24555"/>
              </a:cxn>
              <a:cxn ang="0">
                <a:pos x="connsiteX24556" y="connsiteY24556"/>
              </a:cxn>
              <a:cxn ang="0">
                <a:pos x="connsiteX24557" y="connsiteY24557"/>
              </a:cxn>
              <a:cxn ang="0">
                <a:pos x="connsiteX24558" y="connsiteY24558"/>
              </a:cxn>
              <a:cxn ang="0">
                <a:pos x="connsiteX24559" y="connsiteY24559"/>
              </a:cxn>
              <a:cxn ang="0">
                <a:pos x="connsiteX24560" y="connsiteY24560"/>
              </a:cxn>
              <a:cxn ang="0">
                <a:pos x="connsiteX24561" y="connsiteY24561"/>
              </a:cxn>
              <a:cxn ang="0">
                <a:pos x="connsiteX24562" y="connsiteY24562"/>
              </a:cxn>
              <a:cxn ang="0">
                <a:pos x="connsiteX24563" y="connsiteY24563"/>
              </a:cxn>
              <a:cxn ang="0">
                <a:pos x="connsiteX24564" y="connsiteY24564"/>
              </a:cxn>
              <a:cxn ang="0">
                <a:pos x="connsiteX24565" y="connsiteY24565"/>
              </a:cxn>
              <a:cxn ang="0">
                <a:pos x="connsiteX24566" y="connsiteY24566"/>
              </a:cxn>
              <a:cxn ang="0">
                <a:pos x="connsiteX24567" y="connsiteY24567"/>
              </a:cxn>
              <a:cxn ang="0">
                <a:pos x="connsiteX24568" y="connsiteY24568"/>
              </a:cxn>
              <a:cxn ang="0">
                <a:pos x="connsiteX24569" y="connsiteY24569"/>
              </a:cxn>
              <a:cxn ang="0">
                <a:pos x="connsiteX24570" y="connsiteY24570"/>
              </a:cxn>
              <a:cxn ang="0">
                <a:pos x="connsiteX24571" y="connsiteY24571"/>
              </a:cxn>
              <a:cxn ang="0">
                <a:pos x="connsiteX24572" y="connsiteY24572"/>
              </a:cxn>
              <a:cxn ang="0">
                <a:pos x="connsiteX24573" y="connsiteY24573"/>
              </a:cxn>
              <a:cxn ang="0">
                <a:pos x="connsiteX24574" y="connsiteY24574"/>
              </a:cxn>
              <a:cxn ang="0">
                <a:pos x="connsiteX24575" y="connsiteY24575"/>
              </a:cxn>
              <a:cxn ang="0">
                <a:pos x="connsiteX24576" y="connsiteY24576"/>
              </a:cxn>
              <a:cxn ang="0">
                <a:pos x="connsiteX24577" y="connsiteY24577"/>
              </a:cxn>
              <a:cxn ang="0">
                <a:pos x="connsiteX24578" y="connsiteY24578"/>
              </a:cxn>
              <a:cxn ang="0">
                <a:pos x="connsiteX24579" y="connsiteY24579"/>
              </a:cxn>
              <a:cxn ang="0">
                <a:pos x="connsiteX24580" y="connsiteY24580"/>
              </a:cxn>
              <a:cxn ang="0">
                <a:pos x="connsiteX24581" y="connsiteY24581"/>
              </a:cxn>
              <a:cxn ang="0">
                <a:pos x="connsiteX24582" y="connsiteY24582"/>
              </a:cxn>
              <a:cxn ang="0">
                <a:pos x="connsiteX24583" y="connsiteY24583"/>
              </a:cxn>
              <a:cxn ang="0">
                <a:pos x="connsiteX24584" y="connsiteY24584"/>
              </a:cxn>
              <a:cxn ang="0">
                <a:pos x="connsiteX24585" y="connsiteY24585"/>
              </a:cxn>
              <a:cxn ang="0">
                <a:pos x="connsiteX24586" y="connsiteY24586"/>
              </a:cxn>
              <a:cxn ang="0">
                <a:pos x="connsiteX24587" y="connsiteY24587"/>
              </a:cxn>
              <a:cxn ang="0">
                <a:pos x="connsiteX24588" y="connsiteY24588"/>
              </a:cxn>
              <a:cxn ang="0">
                <a:pos x="connsiteX24589" y="connsiteY24589"/>
              </a:cxn>
              <a:cxn ang="0">
                <a:pos x="connsiteX24590" y="connsiteY24590"/>
              </a:cxn>
              <a:cxn ang="0">
                <a:pos x="connsiteX24591" y="connsiteY24591"/>
              </a:cxn>
              <a:cxn ang="0">
                <a:pos x="connsiteX24592" y="connsiteY24592"/>
              </a:cxn>
              <a:cxn ang="0">
                <a:pos x="connsiteX24593" y="connsiteY24593"/>
              </a:cxn>
              <a:cxn ang="0">
                <a:pos x="connsiteX24594" y="connsiteY24594"/>
              </a:cxn>
              <a:cxn ang="0">
                <a:pos x="connsiteX24595" y="connsiteY24595"/>
              </a:cxn>
              <a:cxn ang="0">
                <a:pos x="connsiteX24596" y="connsiteY24596"/>
              </a:cxn>
              <a:cxn ang="0">
                <a:pos x="connsiteX24597" y="connsiteY24597"/>
              </a:cxn>
              <a:cxn ang="0">
                <a:pos x="connsiteX24598" y="connsiteY24598"/>
              </a:cxn>
              <a:cxn ang="0">
                <a:pos x="connsiteX24599" y="connsiteY24599"/>
              </a:cxn>
              <a:cxn ang="0">
                <a:pos x="connsiteX24600" y="connsiteY24600"/>
              </a:cxn>
              <a:cxn ang="0">
                <a:pos x="connsiteX24601" y="connsiteY24601"/>
              </a:cxn>
              <a:cxn ang="0">
                <a:pos x="connsiteX24602" y="connsiteY24602"/>
              </a:cxn>
              <a:cxn ang="0">
                <a:pos x="connsiteX24603" y="connsiteY24603"/>
              </a:cxn>
              <a:cxn ang="0">
                <a:pos x="connsiteX24604" y="connsiteY24604"/>
              </a:cxn>
              <a:cxn ang="0">
                <a:pos x="connsiteX24605" y="connsiteY24605"/>
              </a:cxn>
              <a:cxn ang="0">
                <a:pos x="connsiteX24606" y="connsiteY24606"/>
              </a:cxn>
              <a:cxn ang="0">
                <a:pos x="connsiteX24607" y="connsiteY24607"/>
              </a:cxn>
              <a:cxn ang="0">
                <a:pos x="connsiteX24608" y="connsiteY24608"/>
              </a:cxn>
              <a:cxn ang="0">
                <a:pos x="connsiteX24609" y="connsiteY24609"/>
              </a:cxn>
              <a:cxn ang="0">
                <a:pos x="connsiteX24610" y="connsiteY24610"/>
              </a:cxn>
              <a:cxn ang="0">
                <a:pos x="connsiteX24611" y="connsiteY24611"/>
              </a:cxn>
              <a:cxn ang="0">
                <a:pos x="connsiteX24612" y="connsiteY24612"/>
              </a:cxn>
              <a:cxn ang="0">
                <a:pos x="connsiteX24613" y="connsiteY24613"/>
              </a:cxn>
              <a:cxn ang="0">
                <a:pos x="connsiteX24614" y="connsiteY24614"/>
              </a:cxn>
              <a:cxn ang="0">
                <a:pos x="connsiteX24615" y="connsiteY24615"/>
              </a:cxn>
              <a:cxn ang="0">
                <a:pos x="connsiteX24616" y="connsiteY24616"/>
              </a:cxn>
              <a:cxn ang="0">
                <a:pos x="connsiteX24617" y="connsiteY24617"/>
              </a:cxn>
              <a:cxn ang="0">
                <a:pos x="connsiteX24618" y="connsiteY24618"/>
              </a:cxn>
              <a:cxn ang="0">
                <a:pos x="connsiteX24619" y="connsiteY24619"/>
              </a:cxn>
              <a:cxn ang="0">
                <a:pos x="connsiteX24620" y="connsiteY24620"/>
              </a:cxn>
              <a:cxn ang="0">
                <a:pos x="connsiteX24621" y="connsiteY24621"/>
              </a:cxn>
              <a:cxn ang="0">
                <a:pos x="connsiteX24622" y="connsiteY24622"/>
              </a:cxn>
              <a:cxn ang="0">
                <a:pos x="connsiteX24623" y="connsiteY24623"/>
              </a:cxn>
              <a:cxn ang="0">
                <a:pos x="connsiteX24624" y="connsiteY24624"/>
              </a:cxn>
              <a:cxn ang="0">
                <a:pos x="connsiteX24625" y="connsiteY24625"/>
              </a:cxn>
              <a:cxn ang="0">
                <a:pos x="connsiteX24626" y="connsiteY24626"/>
              </a:cxn>
              <a:cxn ang="0">
                <a:pos x="connsiteX24627" y="connsiteY24627"/>
              </a:cxn>
              <a:cxn ang="0">
                <a:pos x="connsiteX24628" y="connsiteY24628"/>
              </a:cxn>
              <a:cxn ang="0">
                <a:pos x="connsiteX24629" y="connsiteY24629"/>
              </a:cxn>
              <a:cxn ang="0">
                <a:pos x="connsiteX24630" y="connsiteY24630"/>
              </a:cxn>
              <a:cxn ang="0">
                <a:pos x="connsiteX24631" y="connsiteY24631"/>
              </a:cxn>
              <a:cxn ang="0">
                <a:pos x="connsiteX24632" y="connsiteY24632"/>
              </a:cxn>
              <a:cxn ang="0">
                <a:pos x="connsiteX24633" y="connsiteY24633"/>
              </a:cxn>
              <a:cxn ang="0">
                <a:pos x="connsiteX24634" y="connsiteY24634"/>
              </a:cxn>
              <a:cxn ang="0">
                <a:pos x="connsiteX24635" y="connsiteY24635"/>
              </a:cxn>
              <a:cxn ang="0">
                <a:pos x="connsiteX24636" y="connsiteY24636"/>
              </a:cxn>
              <a:cxn ang="0">
                <a:pos x="connsiteX24637" y="connsiteY24637"/>
              </a:cxn>
              <a:cxn ang="0">
                <a:pos x="connsiteX24638" y="connsiteY24638"/>
              </a:cxn>
              <a:cxn ang="0">
                <a:pos x="connsiteX24639" y="connsiteY24639"/>
              </a:cxn>
              <a:cxn ang="0">
                <a:pos x="connsiteX24640" y="connsiteY24640"/>
              </a:cxn>
              <a:cxn ang="0">
                <a:pos x="connsiteX24641" y="connsiteY24641"/>
              </a:cxn>
              <a:cxn ang="0">
                <a:pos x="connsiteX24642" y="connsiteY24642"/>
              </a:cxn>
              <a:cxn ang="0">
                <a:pos x="connsiteX24643" y="connsiteY24643"/>
              </a:cxn>
              <a:cxn ang="0">
                <a:pos x="connsiteX24644" y="connsiteY24644"/>
              </a:cxn>
              <a:cxn ang="0">
                <a:pos x="connsiteX24645" y="connsiteY24645"/>
              </a:cxn>
              <a:cxn ang="0">
                <a:pos x="connsiteX24646" y="connsiteY24646"/>
              </a:cxn>
              <a:cxn ang="0">
                <a:pos x="connsiteX24647" y="connsiteY24647"/>
              </a:cxn>
              <a:cxn ang="0">
                <a:pos x="connsiteX24648" y="connsiteY24648"/>
              </a:cxn>
              <a:cxn ang="0">
                <a:pos x="connsiteX24649" y="connsiteY24649"/>
              </a:cxn>
              <a:cxn ang="0">
                <a:pos x="connsiteX24650" y="connsiteY24650"/>
              </a:cxn>
              <a:cxn ang="0">
                <a:pos x="connsiteX24651" y="connsiteY24651"/>
              </a:cxn>
              <a:cxn ang="0">
                <a:pos x="connsiteX24652" y="connsiteY24652"/>
              </a:cxn>
              <a:cxn ang="0">
                <a:pos x="connsiteX24653" y="connsiteY24653"/>
              </a:cxn>
              <a:cxn ang="0">
                <a:pos x="connsiteX24654" y="connsiteY24654"/>
              </a:cxn>
              <a:cxn ang="0">
                <a:pos x="connsiteX24655" y="connsiteY24655"/>
              </a:cxn>
              <a:cxn ang="0">
                <a:pos x="connsiteX24656" y="connsiteY24656"/>
              </a:cxn>
              <a:cxn ang="0">
                <a:pos x="connsiteX24657" y="connsiteY24657"/>
              </a:cxn>
              <a:cxn ang="0">
                <a:pos x="connsiteX24658" y="connsiteY24658"/>
              </a:cxn>
              <a:cxn ang="0">
                <a:pos x="connsiteX24659" y="connsiteY24659"/>
              </a:cxn>
              <a:cxn ang="0">
                <a:pos x="connsiteX24660" y="connsiteY24660"/>
              </a:cxn>
              <a:cxn ang="0">
                <a:pos x="connsiteX24661" y="connsiteY24661"/>
              </a:cxn>
              <a:cxn ang="0">
                <a:pos x="connsiteX24662" y="connsiteY24662"/>
              </a:cxn>
              <a:cxn ang="0">
                <a:pos x="connsiteX24663" y="connsiteY24663"/>
              </a:cxn>
              <a:cxn ang="0">
                <a:pos x="connsiteX24664" y="connsiteY24664"/>
              </a:cxn>
              <a:cxn ang="0">
                <a:pos x="connsiteX24665" y="connsiteY24665"/>
              </a:cxn>
              <a:cxn ang="0">
                <a:pos x="connsiteX24666" y="connsiteY24666"/>
              </a:cxn>
              <a:cxn ang="0">
                <a:pos x="connsiteX24667" y="connsiteY24667"/>
              </a:cxn>
              <a:cxn ang="0">
                <a:pos x="connsiteX24668" y="connsiteY24668"/>
              </a:cxn>
              <a:cxn ang="0">
                <a:pos x="connsiteX24669" y="connsiteY24669"/>
              </a:cxn>
              <a:cxn ang="0">
                <a:pos x="connsiteX24670" y="connsiteY24670"/>
              </a:cxn>
              <a:cxn ang="0">
                <a:pos x="connsiteX24671" y="connsiteY24671"/>
              </a:cxn>
              <a:cxn ang="0">
                <a:pos x="connsiteX24672" y="connsiteY24672"/>
              </a:cxn>
              <a:cxn ang="0">
                <a:pos x="connsiteX24673" y="connsiteY24673"/>
              </a:cxn>
              <a:cxn ang="0">
                <a:pos x="connsiteX24674" y="connsiteY24674"/>
              </a:cxn>
              <a:cxn ang="0">
                <a:pos x="connsiteX24675" y="connsiteY24675"/>
              </a:cxn>
              <a:cxn ang="0">
                <a:pos x="connsiteX24676" y="connsiteY24676"/>
              </a:cxn>
              <a:cxn ang="0">
                <a:pos x="connsiteX24677" y="connsiteY24677"/>
              </a:cxn>
              <a:cxn ang="0">
                <a:pos x="connsiteX24678" y="connsiteY24678"/>
              </a:cxn>
              <a:cxn ang="0">
                <a:pos x="connsiteX24679" y="connsiteY24679"/>
              </a:cxn>
              <a:cxn ang="0">
                <a:pos x="connsiteX24680" y="connsiteY24680"/>
              </a:cxn>
              <a:cxn ang="0">
                <a:pos x="connsiteX24681" y="connsiteY24681"/>
              </a:cxn>
              <a:cxn ang="0">
                <a:pos x="connsiteX24682" y="connsiteY24682"/>
              </a:cxn>
              <a:cxn ang="0">
                <a:pos x="connsiteX24683" y="connsiteY24683"/>
              </a:cxn>
              <a:cxn ang="0">
                <a:pos x="connsiteX24684" y="connsiteY24684"/>
              </a:cxn>
              <a:cxn ang="0">
                <a:pos x="connsiteX24685" y="connsiteY24685"/>
              </a:cxn>
              <a:cxn ang="0">
                <a:pos x="connsiteX24686" y="connsiteY24686"/>
              </a:cxn>
              <a:cxn ang="0">
                <a:pos x="connsiteX24687" y="connsiteY24687"/>
              </a:cxn>
              <a:cxn ang="0">
                <a:pos x="connsiteX24688" y="connsiteY24688"/>
              </a:cxn>
              <a:cxn ang="0">
                <a:pos x="connsiteX24689" y="connsiteY24689"/>
              </a:cxn>
              <a:cxn ang="0">
                <a:pos x="connsiteX24690" y="connsiteY24690"/>
              </a:cxn>
              <a:cxn ang="0">
                <a:pos x="connsiteX24691" y="connsiteY24691"/>
              </a:cxn>
              <a:cxn ang="0">
                <a:pos x="connsiteX24692" y="connsiteY24692"/>
              </a:cxn>
              <a:cxn ang="0">
                <a:pos x="connsiteX24693" y="connsiteY24693"/>
              </a:cxn>
              <a:cxn ang="0">
                <a:pos x="connsiteX24694" y="connsiteY24694"/>
              </a:cxn>
              <a:cxn ang="0">
                <a:pos x="connsiteX24695" y="connsiteY24695"/>
              </a:cxn>
              <a:cxn ang="0">
                <a:pos x="connsiteX24696" y="connsiteY24696"/>
              </a:cxn>
              <a:cxn ang="0">
                <a:pos x="connsiteX24697" y="connsiteY24697"/>
              </a:cxn>
              <a:cxn ang="0">
                <a:pos x="connsiteX24698" y="connsiteY24698"/>
              </a:cxn>
              <a:cxn ang="0">
                <a:pos x="connsiteX24699" y="connsiteY24699"/>
              </a:cxn>
              <a:cxn ang="0">
                <a:pos x="connsiteX24700" y="connsiteY24700"/>
              </a:cxn>
              <a:cxn ang="0">
                <a:pos x="connsiteX24701" y="connsiteY24701"/>
              </a:cxn>
              <a:cxn ang="0">
                <a:pos x="connsiteX24702" y="connsiteY24702"/>
              </a:cxn>
              <a:cxn ang="0">
                <a:pos x="connsiteX24703" y="connsiteY24703"/>
              </a:cxn>
              <a:cxn ang="0">
                <a:pos x="connsiteX24704" y="connsiteY24704"/>
              </a:cxn>
              <a:cxn ang="0">
                <a:pos x="connsiteX24705" y="connsiteY24705"/>
              </a:cxn>
              <a:cxn ang="0">
                <a:pos x="connsiteX24706" y="connsiteY24706"/>
              </a:cxn>
              <a:cxn ang="0">
                <a:pos x="connsiteX24707" y="connsiteY24707"/>
              </a:cxn>
              <a:cxn ang="0">
                <a:pos x="connsiteX24708" y="connsiteY24708"/>
              </a:cxn>
              <a:cxn ang="0">
                <a:pos x="connsiteX24709" y="connsiteY24709"/>
              </a:cxn>
              <a:cxn ang="0">
                <a:pos x="connsiteX24710" y="connsiteY24710"/>
              </a:cxn>
              <a:cxn ang="0">
                <a:pos x="connsiteX24711" y="connsiteY24711"/>
              </a:cxn>
              <a:cxn ang="0">
                <a:pos x="connsiteX24712" y="connsiteY24712"/>
              </a:cxn>
              <a:cxn ang="0">
                <a:pos x="connsiteX24713" y="connsiteY24713"/>
              </a:cxn>
              <a:cxn ang="0">
                <a:pos x="connsiteX24714" y="connsiteY24714"/>
              </a:cxn>
              <a:cxn ang="0">
                <a:pos x="connsiteX24715" y="connsiteY24715"/>
              </a:cxn>
              <a:cxn ang="0">
                <a:pos x="connsiteX24716" y="connsiteY24716"/>
              </a:cxn>
              <a:cxn ang="0">
                <a:pos x="connsiteX24717" y="connsiteY24717"/>
              </a:cxn>
              <a:cxn ang="0">
                <a:pos x="connsiteX24718" y="connsiteY24718"/>
              </a:cxn>
              <a:cxn ang="0">
                <a:pos x="connsiteX24719" y="connsiteY24719"/>
              </a:cxn>
              <a:cxn ang="0">
                <a:pos x="connsiteX24720" y="connsiteY24720"/>
              </a:cxn>
              <a:cxn ang="0">
                <a:pos x="connsiteX24721" y="connsiteY24721"/>
              </a:cxn>
              <a:cxn ang="0">
                <a:pos x="connsiteX24722" y="connsiteY24722"/>
              </a:cxn>
              <a:cxn ang="0">
                <a:pos x="connsiteX24723" y="connsiteY24723"/>
              </a:cxn>
              <a:cxn ang="0">
                <a:pos x="connsiteX24724" y="connsiteY24724"/>
              </a:cxn>
              <a:cxn ang="0">
                <a:pos x="connsiteX24725" y="connsiteY24725"/>
              </a:cxn>
              <a:cxn ang="0">
                <a:pos x="connsiteX24726" y="connsiteY24726"/>
              </a:cxn>
              <a:cxn ang="0">
                <a:pos x="connsiteX24727" y="connsiteY24727"/>
              </a:cxn>
              <a:cxn ang="0">
                <a:pos x="connsiteX24728" y="connsiteY24728"/>
              </a:cxn>
              <a:cxn ang="0">
                <a:pos x="connsiteX24729" y="connsiteY24729"/>
              </a:cxn>
              <a:cxn ang="0">
                <a:pos x="connsiteX24730" y="connsiteY24730"/>
              </a:cxn>
              <a:cxn ang="0">
                <a:pos x="connsiteX24731" y="connsiteY24731"/>
              </a:cxn>
              <a:cxn ang="0">
                <a:pos x="connsiteX24732" y="connsiteY24732"/>
              </a:cxn>
              <a:cxn ang="0">
                <a:pos x="connsiteX24733" y="connsiteY24733"/>
              </a:cxn>
              <a:cxn ang="0">
                <a:pos x="connsiteX24734" y="connsiteY24734"/>
              </a:cxn>
              <a:cxn ang="0">
                <a:pos x="connsiteX24735" y="connsiteY24735"/>
              </a:cxn>
              <a:cxn ang="0">
                <a:pos x="connsiteX24736" y="connsiteY24736"/>
              </a:cxn>
              <a:cxn ang="0">
                <a:pos x="connsiteX24737" y="connsiteY24737"/>
              </a:cxn>
              <a:cxn ang="0">
                <a:pos x="connsiteX24738" y="connsiteY24738"/>
              </a:cxn>
              <a:cxn ang="0">
                <a:pos x="connsiteX24739" y="connsiteY24739"/>
              </a:cxn>
              <a:cxn ang="0">
                <a:pos x="connsiteX24740" y="connsiteY24740"/>
              </a:cxn>
              <a:cxn ang="0">
                <a:pos x="connsiteX24741" y="connsiteY24741"/>
              </a:cxn>
              <a:cxn ang="0">
                <a:pos x="connsiteX24742" y="connsiteY24742"/>
              </a:cxn>
              <a:cxn ang="0">
                <a:pos x="connsiteX24743" y="connsiteY24743"/>
              </a:cxn>
              <a:cxn ang="0">
                <a:pos x="connsiteX24744" y="connsiteY24744"/>
              </a:cxn>
              <a:cxn ang="0">
                <a:pos x="connsiteX24745" y="connsiteY24745"/>
              </a:cxn>
              <a:cxn ang="0">
                <a:pos x="connsiteX24746" y="connsiteY24746"/>
              </a:cxn>
              <a:cxn ang="0">
                <a:pos x="connsiteX24747" y="connsiteY24747"/>
              </a:cxn>
              <a:cxn ang="0">
                <a:pos x="connsiteX24748" y="connsiteY24748"/>
              </a:cxn>
              <a:cxn ang="0">
                <a:pos x="connsiteX24749" y="connsiteY24749"/>
              </a:cxn>
              <a:cxn ang="0">
                <a:pos x="connsiteX24750" y="connsiteY24750"/>
              </a:cxn>
              <a:cxn ang="0">
                <a:pos x="connsiteX24751" y="connsiteY24751"/>
              </a:cxn>
              <a:cxn ang="0">
                <a:pos x="connsiteX24752" y="connsiteY24752"/>
              </a:cxn>
              <a:cxn ang="0">
                <a:pos x="connsiteX24753" y="connsiteY24753"/>
              </a:cxn>
              <a:cxn ang="0">
                <a:pos x="connsiteX24754" y="connsiteY24754"/>
              </a:cxn>
              <a:cxn ang="0">
                <a:pos x="connsiteX24755" y="connsiteY24755"/>
              </a:cxn>
              <a:cxn ang="0">
                <a:pos x="connsiteX24756" y="connsiteY24756"/>
              </a:cxn>
              <a:cxn ang="0">
                <a:pos x="connsiteX24757" y="connsiteY24757"/>
              </a:cxn>
              <a:cxn ang="0">
                <a:pos x="connsiteX24758" y="connsiteY24758"/>
              </a:cxn>
              <a:cxn ang="0">
                <a:pos x="connsiteX24759" y="connsiteY24759"/>
              </a:cxn>
              <a:cxn ang="0">
                <a:pos x="connsiteX24760" y="connsiteY24760"/>
              </a:cxn>
              <a:cxn ang="0">
                <a:pos x="connsiteX24761" y="connsiteY24761"/>
              </a:cxn>
              <a:cxn ang="0">
                <a:pos x="connsiteX24762" y="connsiteY24762"/>
              </a:cxn>
              <a:cxn ang="0">
                <a:pos x="connsiteX24763" y="connsiteY24763"/>
              </a:cxn>
              <a:cxn ang="0">
                <a:pos x="connsiteX24764" y="connsiteY24764"/>
              </a:cxn>
              <a:cxn ang="0">
                <a:pos x="connsiteX24765" y="connsiteY24765"/>
              </a:cxn>
              <a:cxn ang="0">
                <a:pos x="connsiteX24766" y="connsiteY24766"/>
              </a:cxn>
              <a:cxn ang="0">
                <a:pos x="connsiteX24767" y="connsiteY24767"/>
              </a:cxn>
              <a:cxn ang="0">
                <a:pos x="connsiteX24768" y="connsiteY24768"/>
              </a:cxn>
              <a:cxn ang="0">
                <a:pos x="connsiteX24769" y="connsiteY24769"/>
              </a:cxn>
              <a:cxn ang="0">
                <a:pos x="connsiteX24770" y="connsiteY24770"/>
              </a:cxn>
              <a:cxn ang="0">
                <a:pos x="connsiteX24771" y="connsiteY24771"/>
              </a:cxn>
              <a:cxn ang="0">
                <a:pos x="connsiteX24772" y="connsiteY24772"/>
              </a:cxn>
              <a:cxn ang="0">
                <a:pos x="connsiteX24773" y="connsiteY24773"/>
              </a:cxn>
              <a:cxn ang="0">
                <a:pos x="connsiteX24774" y="connsiteY24774"/>
              </a:cxn>
              <a:cxn ang="0">
                <a:pos x="connsiteX24775" y="connsiteY24775"/>
              </a:cxn>
              <a:cxn ang="0">
                <a:pos x="connsiteX24776" y="connsiteY24776"/>
              </a:cxn>
              <a:cxn ang="0">
                <a:pos x="connsiteX24777" y="connsiteY24777"/>
              </a:cxn>
              <a:cxn ang="0">
                <a:pos x="connsiteX24778" y="connsiteY24778"/>
              </a:cxn>
              <a:cxn ang="0">
                <a:pos x="connsiteX24779" y="connsiteY24779"/>
              </a:cxn>
              <a:cxn ang="0">
                <a:pos x="connsiteX24780" y="connsiteY24780"/>
              </a:cxn>
              <a:cxn ang="0">
                <a:pos x="connsiteX24781" y="connsiteY24781"/>
              </a:cxn>
              <a:cxn ang="0">
                <a:pos x="connsiteX24782" y="connsiteY24782"/>
              </a:cxn>
              <a:cxn ang="0">
                <a:pos x="connsiteX24783" y="connsiteY24783"/>
              </a:cxn>
              <a:cxn ang="0">
                <a:pos x="connsiteX24784" y="connsiteY24784"/>
              </a:cxn>
              <a:cxn ang="0">
                <a:pos x="connsiteX24785" y="connsiteY24785"/>
              </a:cxn>
              <a:cxn ang="0">
                <a:pos x="connsiteX24786" y="connsiteY24786"/>
              </a:cxn>
              <a:cxn ang="0">
                <a:pos x="connsiteX24787" y="connsiteY24787"/>
              </a:cxn>
              <a:cxn ang="0">
                <a:pos x="connsiteX24788" y="connsiteY24788"/>
              </a:cxn>
              <a:cxn ang="0">
                <a:pos x="connsiteX24789" y="connsiteY24789"/>
              </a:cxn>
              <a:cxn ang="0">
                <a:pos x="connsiteX24790" y="connsiteY24790"/>
              </a:cxn>
              <a:cxn ang="0">
                <a:pos x="connsiteX24791" y="connsiteY24791"/>
              </a:cxn>
              <a:cxn ang="0">
                <a:pos x="connsiteX24792" y="connsiteY24792"/>
              </a:cxn>
              <a:cxn ang="0">
                <a:pos x="connsiteX24793" y="connsiteY24793"/>
              </a:cxn>
              <a:cxn ang="0">
                <a:pos x="connsiteX24794" y="connsiteY24794"/>
              </a:cxn>
              <a:cxn ang="0">
                <a:pos x="connsiteX24795" y="connsiteY24795"/>
              </a:cxn>
              <a:cxn ang="0">
                <a:pos x="connsiteX24796" y="connsiteY24796"/>
              </a:cxn>
              <a:cxn ang="0">
                <a:pos x="connsiteX24797" y="connsiteY24797"/>
              </a:cxn>
              <a:cxn ang="0">
                <a:pos x="connsiteX24798" y="connsiteY24798"/>
              </a:cxn>
              <a:cxn ang="0">
                <a:pos x="connsiteX24799" y="connsiteY24799"/>
              </a:cxn>
              <a:cxn ang="0">
                <a:pos x="connsiteX24800" y="connsiteY24800"/>
              </a:cxn>
              <a:cxn ang="0">
                <a:pos x="connsiteX24801" y="connsiteY24801"/>
              </a:cxn>
              <a:cxn ang="0">
                <a:pos x="connsiteX24802" y="connsiteY24802"/>
              </a:cxn>
              <a:cxn ang="0">
                <a:pos x="connsiteX24803" y="connsiteY24803"/>
              </a:cxn>
              <a:cxn ang="0">
                <a:pos x="connsiteX24804" y="connsiteY24804"/>
              </a:cxn>
              <a:cxn ang="0">
                <a:pos x="connsiteX24805" y="connsiteY24805"/>
              </a:cxn>
              <a:cxn ang="0">
                <a:pos x="connsiteX24806" y="connsiteY24806"/>
              </a:cxn>
              <a:cxn ang="0">
                <a:pos x="connsiteX24807" y="connsiteY24807"/>
              </a:cxn>
              <a:cxn ang="0">
                <a:pos x="connsiteX24808" y="connsiteY24808"/>
              </a:cxn>
              <a:cxn ang="0">
                <a:pos x="connsiteX24809" y="connsiteY24809"/>
              </a:cxn>
              <a:cxn ang="0">
                <a:pos x="connsiteX24810" y="connsiteY24810"/>
              </a:cxn>
              <a:cxn ang="0">
                <a:pos x="connsiteX24811" y="connsiteY24811"/>
              </a:cxn>
              <a:cxn ang="0">
                <a:pos x="connsiteX24812" y="connsiteY24812"/>
              </a:cxn>
              <a:cxn ang="0">
                <a:pos x="connsiteX24813" y="connsiteY24813"/>
              </a:cxn>
              <a:cxn ang="0">
                <a:pos x="connsiteX24814" y="connsiteY24814"/>
              </a:cxn>
              <a:cxn ang="0">
                <a:pos x="connsiteX24815" y="connsiteY24815"/>
              </a:cxn>
              <a:cxn ang="0">
                <a:pos x="connsiteX24816" y="connsiteY24816"/>
              </a:cxn>
              <a:cxn ang="0">
                <a:pos x="connsiteX24817" y="connsiteY24817"/>
              </a:cxn>
              <a:cxn ang="0">
                <a:pos x="connsiteX24818" y="connsiteY24818"/>
              </a:cxn>
              <a:cxn ang="0">
                <a:pos x="connsiteX24819" y="connsiteY24819"/>
              </a:cxn>
              <a:cxn ang="0">
                <a:pos x="connsiteX24820" y="connsiteY24820"/>
              </a:cxn>
              <a:cxn ang="0">
                <a:pos x="connsiteX24821" y="connsiteY24821"/>
              </a:cxn>
              <a:cxn ang="0">
                <a:pos x="connsiteX24822" y="connsiteY24822"/>
              </a:cxn>
              <a:cxn ang="0">
                <a:pos x="connsiteX24823" y="connsiteY24823"/>
              </a:cxn>
              <a:cxn ang="0">
                <a:pos x="connsiteX24824" y="connsiteY24824"/>
              </a:cxn>
              <a:cxn ang="0">
                <a:pos x="connsiteX24825" y="connsiteY24825"/>
              </a:cxn>
              <a:cxn ang="0">
                <a:pos x="connsiteX24826" y="connsiteY24826"/>
              </a:cxn>
              <a:cxn ang="0">
                <a:pos x="connsiteX24827" y="connsiteY24827"/>
              </a:cxn>
              <a:cxn ang="0">
                <a:pos x="connsiteX24828" y="connsiteY24828"/>
              </a:cxn>
              <a:cxn ang="0">
                <a:pos x="connsiteX24829" y="connsiteY24829"/>
              </a:cxn>
              <a:cxn ang="0">
                <a:pos x="connsiteX24830" y="connsiteY24830"/>
              </a:cxn>
              <a:cxn ang="0">
                <a:pos x="connsiteX24831" y="connsiteY24831"/>
              </a:cxn>
              <a:cxn ang="0">
                <a:pos x="connsiteX24832" y="connsiteY24832"/>
              </a:cxn>
              <a:cxn ang="0">
                <a:pos x="connsiteX24833" y="connsiteY24833"/>
              </a:cxn>
              <a:cxn ang="0">
                <a:pos x="connsiteX24834" y="connsiteY24834"/>
              </a:cxn>
              <a:cxn ang="0">
                <a:pos x="connsiteX24835" y="connsiteY24835"/>
              </a:cxn>
              <a:cxn ang="0">
                <a:pos x="connsiteX24836" y="connsiteY24836"/>
              </a:cxn>
              <a:cxn ang="0">
                <a:pos x="connsiteX24837" y="connsiteY24837"/>
              </a:cxn>
              <a:cxn ang="0">
                <a:pos x="connsiteX24838" y="connsiteY24838"/>
              </a:cxn>
              <a:cxn ang="0">
                <a:pos x="connsiteX24839" y="connsiteY24839"/>
              </a:cxn>
              <a:cxn ang="0">
                <a:pos x="connsiteX24840" y="connsiteY24840"/>
              </a:cxn>
              <a:cxn ang="0">
                <a:pos x="connsiteX24841" y="connsiteY24841"/>
              </a:cxn>
              <a:cxn ang="0">
                <a:pos x="connsiteX24842" y="connsiteY24842"/>
              </a:cxn>
              <a:cxn ang="0">
                <a:pos x="connsiteX24843" y="connsiteY24843"/>
              </a:cxn>
              <a:cxn ang="0">
                <a:pos x="connsiteX24844" y="connsiteY24844"/>
              </a:cxn>
              <a:cxn ang="0">
                <a:pos x="connsiteX24845" y="connsiteY24845"/>
              </a:cxn>
              <a:cxn ang="0">
                <a:pos x="connsiteX24846" y="connsiteY24846"/>
              </a:cxn>
              <a:cxn ang="0">
                <a:pos x="connsiteX24847" y="connsiteY24847"/>
              </a:cxn>
              <a:cxn ang="0">
                <a:pos x="connsiteX24848" y="connsiteY24848"/>
              </a:cxn>
              <a:cxn ang="0">
                <a:pos x="connsiteX24849" y="connsiteY24849"/>
              </a:cxn>
              <a:cxn ang="0">
                <a:pos x="connsiteX24850" y="connsiteY24850"/>
              </a:cxn>
              <a:cxn ang="0">
                <a:pos x="connsiteX24851" y="connsiteY24851"/>
              </a:cxn>
              <a:cxn ang="0">
                <a:pos x="connsiteX24852" y="connsiteY24852"/>
              </a:cxn>
              <a:cxn ang="0">
                <a:pos x="connsiteX24853" y="connsiteY24853"/>
              </a:cxn>
              <a:cxn ang="0">
                <a:pos x="connsiteX24854" y="connsiteY24854"/>
              </a:cxn>
              <a:cxn ang="0">
                <a:pos x="connsiteX24855" y="connsiteY24855"/>
              </a:cxn>
              <a:cxn ang="0">
                <a:pos x="connsiteX24856" y="connsiteY24856"/>
              </a:cxn>
              <a:cxn ang="0">
                <a:pos x="connsiteX24857" y="connsiteY24857"/>
              </a:cxn>
              <a:cxn ang="0">
                <a:pos x="connsiteX24858" y="connsiteY24858"/>
              </a:cxn>
              <a:cxn ang="0">
                <a:pos x="connsiteX24859" y="connsiteY24859"/>
              </a:cxn>
              <a:cxn ang="0">
                <a:pos x="connsiteX24860" y="connsiteY24860"/>
              </a:cxn>
              <a:cxn ang="0">
                <a:pos x="connsiteX24861" y="connsiteY24861"/>
              </a:cxn>
              <a:cxn ang="0">
                <a:pos x="connsiteX24862" y="connsiteY24862"/>
              </a:cxn>
              <a:cxn ang="0">
                <a:pos x="connsiteX24863" y="connsiteY24863"/>
              </a:cxn>
              <a:cxn ang="0">
                <a:pos x="connsiteX24864" y="connsiteY24864"/>
              </a:cxn>
              <a:cxn ang="0">
                <a:pos x="connsiteX24865" y="connsiteY24865"/>
              </a:cxn>
              <a:cxn ang="0">
                <a:pos x="connsiteX24866" y="connsiteY24866"/>
              </a:cxn>
              <a:cxn ang="0">
                <a:pos x="connsiteX24867" y="connsiteY24867"/>
              </a:cxn>
              <a:cxn ang="0">
                <a:pos x="connsiteX24868" y="connsiteY24868"/>
              </a:cxn>
              <a:cxn ang="0">
                <a:pos x="connsiteX24869" y="connsiteY24869"/>
              </a:cxn>
              <a:cxn ang="0">
                <a:pos x="connsiteX24870" y="connsiteY24870"/>
              </a:cxn>
              <a:cxn ang="0">
                <a:pos x="connsiteX24871" y="connsiteY24871"/>
              </a:cxn>
              <a:cxn ang="0">
                <a:pos x="connsiteX24872" y="connsiteY24872"/>
              </a:cxn>
              <a:cxn ang="0">
                <a:pos x="connsiteX24873" y="connsiteY24873"/>
              </a:cxn>
              <a:cxn ang="0">
                <a:pos x="connsiteX24874" y="connsiteY24874"/>
              </a:cxn>
              <a:cxn ang="0">
                <a:pos x="connsiteX24875" y="connsiteY24875"/>
              </a:cxn>
              <a:cxn ang="0">
                <a:pos x="connsiteX24876" y="connsiteY24876"/>
              </a:cxn>
              <a:cxn ang="0">
                <a:pos x="connsiteX24877" y="connsiteY24877"/>
              </a:cxn>
              <a:cxn ang="0">
                <a:pos x="connsiteX24878" y="connsiteY24878"/>
              </a:cxn>
              <a:cxn ang="0">
                <a:pos x="connsiteX24879" y="connsiteY24879"/>
              </a:cxn>
              <a:cxn ang="0">
                <a:pos x="connsiteX24880" y="connsiteY24880"/>
              </a:cxn>
              <a:cxn ang="0">
                <a:pos x="connsiteX24881" y="connsiteY24881"/>
              </a:cxn>
              <a:cxn ang="0">
                <a:pos x="connsiteX24882" y="connsiteY24882"/>
              </a:cxn>
              <a:cxn ang="0">
                <a:pos x="connsiteX24883" y="connsiteY24883"/>
              </a:cxn>
              <a:cxn ang="0">
                <a:pos x="connsiteX24884" y="connsiteY24884"/>
              </a:cxn>
              <a:cxn ang="0">
                <a:pos x="connsiteX24885" y="connsiteY24885"/>
              </a:cxn>
              <a:cxn ang="0">
                <a:pos x="connsiteX24886" y="connsiteY24886"/>
              </a:cxn>
              <a:cxn ang="0">
                <a:pos x="connsiteX24887" y="connsiteY24887"/>
              </a:cxn>
              <a:cxn ang="0">
                <a:pos x="connsiteX24888" y="connsiteY24888"/>
              </a:cxn>
              <a:cxn ang="0">
                <a:pos x="connsiteX24889" y="connsiteY24889"/>
              </a:cxn>
              <a:cxn ang="0">
                <a:pos x="connsiteX24890" y="connsiteY24890"/>
              </a:cxn>
              <a:cxn ang="0">
                <a:pos x="connsiteX24891" y="connsiteY24891"/>
              </a:cxn>
              <a:cxn ang="0">
                <a:pos x="connsiteX24892" y="connsiteY24892"/>
              </a:cxn>
              <a:cxn ang="0">
                <a:pos x="connsiteX24893" y="connsiteY24893"/>
              </a:cxn>
              <a:cxn ang="0">
                <a:pos x="connsiteX24894" y="connsiteY24894"/>
              </a:cxn>
              <a:cxn ang="0">
                <a:pos x="connsiteX24895" y="connsiteY24895"/>
              </a:cxn>
              <a:cxn ang="0">
                <a:pos x="connsiteX24896" y="connsiteY24896"/>
              </a:cxn>
              <a:cxn ang="0">
                <a:pos x="connsiteX24897" y="connsiteY24897"/>
              </a:cxn>
              <a:cxn ang="0">
                <a:pos x="connsiteX24898" y="connsiteY24898"/>
              </a:cxn>
              <a:cxn ang="0">
                <a:pos x="connsiteX24899" y="connsiteY24899"/>
              </a:cxn>
              <a:cxn ang="0">
                <a:pos x="connsiteX24900" y="connsiteY24900"/>
              </a:cxn>
              <a:cxn ang="0">
                <a:pos x="connsiteX24901" y="connsiteY24901"/>
              </a:cxn>
              <a:cxn ang="0">
                <a:pos x="connsiteX24902" y="connsiteY24902"/>
              </a:cxn>
              <a:cxn ang="0">
                <a:pos x="connsiteX24903" y="connsiteY24903"/>
              </a:cxn>
              <a:cxn ang="0">
                <a:pos x="connsiteX24904" y="connsiteY24904"/>
              </a:cxn>
              <a:cxn ang="0">
                <a:pos x="connsiteX24905" y="connsiteY24905"/>
              </a:cxn>
              <a:cxn ang="0">
                <a:pos x="connsiteX24906" y="connsiteY24906"/>
              </a:cxn>
              <a:cxn ang="0">
                <a:pos x="connsiteX24907" y="connsiteY24907"/>
              </a:cxn>
              <a:cxn ang="0">
                <a:pos x="connsiteX24908" y="connsiteY24908"/>
              </a:cxn>
              <a:cxn ang="0">
                <a:pos x="connsiteX24909" y="connsiteY24909"/>
              </a:cxn>
              <a:cxn ang="0">
                <a:pos x="connsiteX24910" y="connsiteY24910"/>
              </a:cxn>
              <a:cxn ang="0">
                <a:pos x="connsiteX24911" y="connsiteY24911"/>
              </a:cxn>
              <a:cxn ang="0">
                <a:pos x="connsiteX24912" y="connsiteY24912"/>
              </a:cxn>
              <a:cxn ang="0">
                <a:pos x="connsiteX24913" y="connsiteY24913"/>
              </a:cxn>
              <a:cxn ang="0">
                <a:pos x="connsiteX24914" y="connsiteY24914"/>
              </a:cxn>
              <a:cxn ang="0">
                <a:pos x="connsiteX24915" y="connsiteY24915"/>
              </a:cxn>
              <a:cxn ang="0">
                <a:pos x="connsiteX24916" y="connsiteY24916"/>
              </a:cxn>
              <a:cxn ang="0">
                <a:pos x="connsiteX24917" y="connsiteY24917"/>
              </a:cxn>
              <a:cxn ang="0">
                <a:pos x="connsiteX24918" y="connsiteY24918"/>
              </a:cxn>
              <a:cxn ang="0">
                <a:pos x="connsiteX24919" y="connsiteY24919"/>
              </a:cxn>
              <a:cxn ang="0">
                <a:pos x="connsiteX24920" y="connsiteY24920"/>
              </a:cxn>
              <a:cxn ang="0">
                <a:pos x="connsiteX24921" y="connsiteY24921"/>
              </a:cxn>
              <a:cxn ang="0">
                <a:pos x="connsiteX24922" y="connsiteY24922"/>
              </a:cxn>
              <a:cxn ang="0">
                <a:pos x="connsiteX24923" y="connsiteY24923"/>
              </a:cxn>
              <a:cxn ang="0">
                <a:pos x="connsiteX24924" y="connsiteY24924"/>
              </a:cxn>
              <a:cxn ang="0">
                <a:pos x="connsiteX24925" y="connsiteY24925"/>
              </a:cxn>
              <a:cxn ang="0">
                <a:pos x="connsiteX24926" y="connsiteY24926"/>
              </a:cxn>
              <a:cxn ang="0">
                <a:pos x="connsiteX24927" y="connsiteY24927"/>
              </a:cxn>
              <a:cxn ang="0">
                <a:pos x="connsiteX24928" y="connsiteY24928"/>
              </a:cxn>
              <a:cxn ang="0">
                <a:pos x="connsiteX24929" y="connsiteY24929"/>
              </a:cxn>
              <a:cxn ang="0">
                <a:pos x="connsiteX24930" y="connsiteY24930"/>
              </a:cxn>
              <a:cxn ang="0">
                <a:pos x="connsiteX24931" y="connsiteY24931"/>
              </a:cxn>
              <a:cxn ang="0">
                <a:pos x="connsiteX24932" y="connsiteY24932"/>
              </a:cxn>
              <a:cxn ang="0">
                <a:pos x="connsiteX24933" y="connsiteY24933"/>
              </a:cxn>
              <a:cxn ang="0">
                <a:pos x="connsiteX24934" y="connsiteY24934"/>
              </a:cxn>
              <a:cxn ang="0">
                <a:pos x="connsiteX24935" y="connsiteY24935"/>
              </a:cxn>
              <a:cxn ang="0">
                <a:pos x="connsiteX24936" y="connsiteY24936"/>
              </a:cxn>
              <a:cxn ang="0">
                <a:pos x="connsiteX24937" y="connsiteY24937"/>
              </a:cxn>
              <a:cxn ang="0">
                <a:pos x="connsiteX24938" y="connsiteY24938"/>
              </a:cxn>
              <a:cxn ang="0">
                <a:pos x="connsiteX24939" y="connsiteY24939"/>
              </a:cxn>
              <a:cxn ang="0">
                <a:pos x="connsiteX24940" y="connsiteY24940"/>
              </a:cxn>
              <a:cxn ang="0">
                <a:pos x="connsiteX24941" y="connsiteY24941"/>
              </a:cxn>
              <a:cxn ang="0">
                <a:pos x="connsiteX24942" y="connsiteY24942"/>
              </a:cxn>
              <a:cxn ang="0">
                <a:pos x="connsiteX24943" y="connsiteY24943"/>
              </a:cxn>
              <a:cxn ang="0">
                <a:pos x="connsiteX24944" y="connsiteY24944"/>
              </a:cxn>
              <a:cxn ang="0">
                <a:pos x="connsiteX24945" y="connsiteY24945"/>
              </a:cxn>
              <a:cxn ang="0">
                <a:pos x="connsiteX24946" y="connsiteY24946"/>
              </a:cxn>
              <a:cxn ang="0">
                <a:pos x="connsiteX24947" y="connsiteY24947"/>
              </a:cxn>
              <a:cxn ang="0">
                <a:pos x="connsiteX24948" y="connsiteY24948"/>
              </a:cxn>
              <a:cxn ang="0">
                <a:pos x="connsiteX24949" y="connsiteY24949"/>
              </a:cxn>
              <a:cxn ang="0">
                <a:pos x="connsiteX24950" y="connsiteY24950"/>
              </a:cxn>
              <a:cxn ang="0">
                <a:pos x="connsiteX24951" y="connsiteY24951"/>
              </a:cxn>
              <a:cxn ang="0">
                <a:pos x="connsiteX24952" y="connsiteY24952"/>
              </a:cxn>
              <a:cxn ang="0">
                <a:pos x="connsiteX24953" y="connsiteY24953"/>
              </a:cxn>
              <a:cxn ang="0">
                <a:pos x="connsiteX24954" y="connsiteY24954"/>
              </a:cxn>
              <a:cxn ang="0">
                <a:pos x="connsiteX24955" y="connsiteY24955"/>
              </a:cxn>
              <a:cxn ang="0">
                <a:pos x="connsiteX24956" y="connsiteY24956"/>
              </a:cxn>
              <a:cxn ang="0">
                <a:pos x="connsiteX24957" y="connsiteY24957"/>
              </a:cxn>
              <a:cxn ang="0">
                <a:pos x="connsiteX24958" y="connsiteY24958"/>
              </a:cxn>
              <a:cxn ang="0">
                <a:pos x="connsiteX24959" y="connsiteY24959"/>
              </a:cxn>
              <a:cxn ang="0">
                <a:pos x="connsiteX24960" y="connsiteY24960"/>
              </a:cxn>
              <a:cxn ang="0">
                <a:pos x="connsiteX24961" y="connsiteY24961"/>
              </a:cxn>
              <a:cxn ang="0">
                <a:pos x="connsiteX24962" y="connsiteY24962"/>
              </a:cxn>
              <a:cxn ang="0">
                <a:pos x="connsiteX24963" y="connsiteY24963"/>
              </a:cxn>
              <a:cxn ang="0">
                <a:pos x="connsiteX24964" y="connsiteY24964"/>
              </a:cxn>
              <a:cxn ang="0">
                <a:pos x="connsiteX24965" y="connsiteY24965"/>
              </a:cxn>
              <a:cxn ang="0">
                <a:pos x="connsiteX24966" y="connsiteY24966"/>
              </a:cxn>
              <a:cxn ang="0">
                <a:pos x="connsiteX24967" y="connsiteY24967"/>
              </a:cxn>
              <a:cxn ang="0">
                <a:pos x="connsiteX24968" y="connsiteY24968"/>
              </a:cxn>
              <a:cxn ang="0">
                <a:pos x="connsiteX24969" y="connsiteY24969"/>
              </a:cxn>
              <a:cxn ang="0">
                <a:pos x="connsiteX24970" y="connsiteY24970"/>
              </a:cxn>
              <a:cxn ang="0">
                <a:pos x="connsiteX24971" y="connsiteY24971"/>
              </a:cxn>
              <a:cxn ang="0">
                <a:pos x="connsiteX24972" y="connsiteY24972"/>
              </a:cxn>
              <a:cxn ang="0">
                <a:pos x="connsiteX24973" y="connsiteY24973"/>
              </a:cxn>
              <a:cxn ang="0">
                <a:pos x="connsiteX24974" y="connsiteY24974"/>
              </a:cxn>
              <a:cxn ang="0">
                <a:pos x="connsiteX24975" y="connsiteY24975"/>
              </a:cxn>
              <a:cxn ang="0">
                <a:pos x="connsiteX24976" y="connsiteY24976"/>
              </a:cxn>
              <a:cxn ang="0">
                <a:pos x="connsiteX24977" y="connsiteY24977"/>
              </a:cxn>
              <a:cxn ang="0">
                <a:pos x="connsiteX24978" y="connsiteY24978"/>
              </a:cxn>
              <a:cxn ang="0">
                <a:pos x="connsiteX24979" y="connsiteY24979"/>
              </a:cxn>
              <a:cxn ang="0">
                <a:pos x="connsiteX24980" y="connsiteY24980"/>
              </a:cxn>
              <a:cxn ang="0">
                <a:pos x="connsiteX24981" y="connsiteY24981"/>
              </a:cxn>
              <a:cxn ang="0">
                <a:pos x="connsiteX24982" y="connsiteY24982"/>
              </a:cxn>
              <a:cxn ang="0">
                <a:pos x="connsiteX24983" y="connsiteY24983"/>
              </a:cxn>
              <a:cxn ang="0">
                <a:pos x="connsiteX24984" y="connsiteY24984"/>
              </a:cxn>
              <a:cxn ang="0">
                <a:pos x="connsiteX24985" y="connsiteY24985"/>
              </a:cxn>
              <a:cxn ang="0">
                <a:pos x="connsiteX24986" y="connsiteY24986"/>
              </a:cxn>
              <a:cxn ang="0">
                <a:pos x="connsiteX24987" y="connsiteY24987"/>
              </a:cxn>
              <a:cxn ang="0">
                <a:pos x="connsiteX24988" y="connsiteY24988"/>
              </a:cxn>
              <a:cxn ang="0">
                <a:pos x="connsiteX24989" y="connsiteY24989"/>
              </a:cxn>
              <a:cxn ang="0">
                <a:pos x="connsiteX24990" y="connsiteY24990"/>
              </a:cxn>
              <a:cxn ang="0">
                <a:pos x="connsiteX24991" y="connsiteY24991"/>
              </a:cxn>
              <a:cxn ang="0">
                <a:pos x="connsiteX24992" y="connsiteY24992"/>
              </a:cxn>
              <a:cxn ang="0">
                <a:pos x="connsiteX24993" y="connsiteY24993"/>
              </a:cxn>
              <a:cxn ang="0">
                <a:pos x="connsiteX24994" y="connsiteY24994"/>
              </a:cxn>
              <a:cxn ang="0">
                <a:pos x="connsiteX24995" y="connsiteY24995"/>
              </a:cxn>
              <a:cxn ang="0">
                <a:pos x="connsiteX24996" y="connsiteY24996"/>
              </a:cxn>
              <a:cxn ang="0">
                <a:pos x="connsiteX24997" y="connsiteY24997"/>
              </a:cxn>
              <a:cxn ang="0">
                <a:pos x="connsiteX24998" y="connsiteY24998"/>
              </a:cxn>
              <a:cxn ang="0">
                <a:pos x="connsiteX24999" y="connsiteY24999"/>
              </a:cxn>
              <a:cxn ang="0">
                <a:pos x="connsiteX25000" y="connsiteY25000"/>
              </a:cxn>
              <a:cxn ang="0">
                <a:pos x="connsiteX25001" y="connsiteY25001"/>
              </a:cxn>
              <a:cxn ang="0">
                <a:pos x="connsiteX25002" y="connsiteY25002"/>
              </a:cxn>
              <a:cxn ang="0">
                <a:pos x="connsiteX25003" y="connsiteY25003"/>
              </a:cxn>
              <a:cxn ang="0">
                <a:pos x="connsiteX25004" y="connsiteY25004"/>
              </a:cxn>
              <a:cxn ang="0">
                <a:pos x="connsiteX25005" y="connsiteY25005"/>
              </a:cxn>
              <a:cxn ang="0">
                <a:pos x="connsiteX25006" y="connsiteY25006"/>
              </a:cxn>
              <a:cxn ang="0">
                <a:pos x="connsiteX25007" y="connsiteY25007"/>
              </a:cxn>
              <a:cxn ang="0">
                <a:pos x="connsiteX25008" y="connsiteY25008"/>
              </a:cxn>
              <a:cxn ang="0">
                <a:pos x="connsiteX25009" y="connsiteY25009"/>
              </a:cxn>
              <a:cxn ang="0">
                <a:pos x="connsiteX25010" y="connsiteY25010"/>
              </a:cxn>
              <a:cxn ang="0">
                <a:pos x="connsiteX25011" y="connsiteY25011"/>
              </a:cxn>
              <a:cxn ang="0">
                <a:pos x="connsiteX25012" y="connsiteY25012"/>
              </a:cxn>
              <a:cxn ang="0">
                <a:pos x="connsiteX25013" y="connsiteY25013"/>
              </a:cxn>
              <a:cxn ang="0">
                <a:pos x="connsiteX25014" y="connsiteY25014"/>
              </a:cxn>
              <a:cxn ang="0">
                <a:pos x="connsiteX25015" y="connsiteY25015"/>
              </a:cxn>
              <a:cxn ang="0">
                <a:pos x="connsiteX25016" y="connsiteY25016"/>
              </a:cxn>
              <a:cxn ang="0">
                <a:pos x="connsiteX25017" y="connsiteY25017"/>
              </a:cxn>
              <a:cxn ang="0">
                <a:pos x="connsiteX25018" y="connsiteY25018"/>
              </a:cxn>
              <a:cxn ang="0">
                <a:pos x="connsiteX25019" y="connsiteY25019"/>
              </a:cxn>
              <a:cxn ang="0">
                <a:pos x="connsiteX25020" y="connsiteY25020"/>
              </a:cxn>
              <a:cxn ang="0">
                <a:pos x="connsiteX25021" y="connsiteY25021"/>
              </a:cxn>
              <a:cxn ang="0">
                <a:pos x="connsiteX25022" y="connsiteY25022"/>
              </a:cxn>
              <a:cxn ang="0">
                <a:pos x="connsiteX25023" y="connsiteY25023"/>
              </a:cxn>
              <a:cxn ang="0">
                <a:pos x="connsiteX25024" y="connsiteY25024"/>
              </a:cxn>
              <a:cxn ang="0">
                <a:pos x="connsiteX25025" y="connsiteY25025"/>
              </a:cxn>
              <a:cxn ang="0">
                <a:pos x="connsiteX25026" y="connsiteY25026"/>
              </a:cxn>
              <a:cxn ang="0">
                <a:pos x="connsiteX25027" y="connsiteY25027"/>
              </a:cxn>
              <a:cxn ang="0">
                <a:pos x="connsiteX25028" y="connsiteY25028"/>
              </a:cxn>
              <a:cxn ang="0">
                <a:pos x="connsiteX25029" y="connsiteY25029"/>
              </a:cxn>
              <a:cxn ang="0">
                <a:pos x="connsiteX25030" y="connsiteY25030"/>
              </a:cxn>
              <a:cxn ang="0">
                <a:pos x="connsiteX25031" y="connsiteY25031"/>
              </a:cxn>
              <a:cxn ang="0">
                <a:pos x="connsiteX25032" y="connsiteY25032"/>
              </a:cxn>
              <a:cxn ang="0">
                <a:pos x="connsiteX25033" y="connsiteY25033"/>
              </a:cxn>
              <a:cxn ang="0">
                <a:pos x="connsiteX25034" y="connsiteY25034"/>
              </a:cxn>
              <a:cxn ang="0">
                <a:pos x="connsiteX25035" y="connsiteY25035"/>
              </a:cxn>
              <a:cxn ang="0">
                <a:pos x="connsiteX25036" y="connsiteY25036"/>
              </a:cxn>
              <a:cxn ang="0">
                <a:pos x="connsiteX25037" y="connsiteY25037"/>
              </a:cxn>
              <a:cxn ang="0">
                <a:pos x="connsiteX25038" y="connsiteY25038"/>
              </a:cxn>
              <a:cxn ang="0">
                <a:pos x="connsiteX25039" y="connsiteY25039"/>
              </a:cxn>
              <a:cxn ang="0">
                <a:pos x="connsiteX25040" y="connsiteY25040"/>
              </a:cxn>
              <a:cxn ang="0">
                <a:pos x="connsiteX25041" y="connsiteY25041"/>
              </a:cxn>
              <a:cxn ang="0">
                <a:pos x="connsiteX25042" y="connsiteY25042"/>
              </a:cxn>
              <a:cxn ang="0">
                <a:pos x="connsiteX25043" y="connsiteY25043"/>
              </a:cxn>
              <a:cxn ang="0">
                <a:pos x="connsiteX25044" y="connsiteY25044"/>
              </a:cxn>
              <a:cxn ang="0">
                <a:pos x="connsiteX25045" y="connsiteY25045"/>
              </a:cxn>
              <a:cxn ang="0">
                <a:pos x="connsiteX25046" y="connsiteY25046"/>
              </a:cxn>
              <a:cxn ang="0">
                <a:pos x="connsiteX25047" y="connsiteY25047"/>
              </a:cxn>
              <a:cxn ang="0">
                <a:pos x="connsiteX25048" y="connsiteY25048"/>
              </a:cxn>
              <a:cxn ang="0">
                <a:pos x="connsiteX25049" y="connsiteY25049"/>
              </a:cxn>
              <a:cxn ang="0">
                <a:pos x="connsiteX25050" y="connsiteY25050"/>
              </a:cxn>
              <a:cxn ang="0">
                <a:pos x="connsiteX25051" y="connsiteY25051"/>
              </a:cxn>
              <a:cxn ang="0">
                <a:pos x="connsiteX25052" y="connsiteY25052"/>
              </a:cxn>
              <a:cxn ang="0">
                <a:pos x="connsiteX25053" y="connsiteY25053"/>
              </a:cxn>
              <a:cxn ang="0">
                <a:pos x="connsiteX25054" y="connsiteY25054"/>
              </a:cxn>
              <a:cxn ang="0">
                <a:pos x="connsiteX25055" y="connsiteY25055"/>
              </a:cxn>
              <a:cxn ang="0">
                <a:pos x="connsiteX25056" y="connsiteY25056"/>
              </a:cxn>
              <a:cxn ang="0">
                <a:pos x="connsiteX25057" y="connsiteY25057"/>
              </a:cxn>
              <a:cxn ang="0">
                <a:pos x="connsiteX25058" y="connsiteY25058"/>
              </a:cxn>
              <a:cxn ang="0">
                <a:pos x="connsiteX25059" y="connsiteY25059"/>
              </a:cxn>
              <a:cxn ang="0">
                <a:pos x="connsiteX25060" y="connsiteY25060"/>
              </a:cxn>
              <a:cxn ang="0">
                <a:pos x="connsiteX25061" y="connsiteY25061"/>
              </a:cxn>
              <a:cxn ang="0">
                <a:pos x="connsiteX25062" y="connsiteY25062"/>
              </a:cxn>
              <a:cxn ang="0">
                <a:pos x="connsiteX25063" y="connsiteY25063"/>
              </a:cxn>
              <a:cxn ang="0">
                <a:pos x="connsiteX25064" y="connsiteY25064"/>
              </a:cxn>
              <a:cxn ang="0">
                <a:pos x="connsiteX25065" y="connsiteY25065"/>
              </a:cxn>
              <a:cxn ang="0">
                <a:pos x="connsiteX25066" y="connsiteY25066"/>
              </a:cxn>
              <a:cxn ang="0">
                <a:pos x="connsiteX25067" y="connsiteY25067"/>
              </a:cxn>
              <a:cxn ang="0">
                <a:pos x="connsiteX25068" y="connsiteY25068"/>
              </a:cxn>
              <a:cxn ang="0">
                <a:pos x="connsiteX25069" y="connsiteY25069"/>
              </a:cxn>
              <a:cxn ang="0">
                <a:pos x="connsiteX25070" y="connsiteY25070"/>
              </a:cxn>
              <a:cxn ang="0">
                <a:pos x="connsiteX25071" y="connsiteY25071"/>
              </a:cxn>
              <a:cxn ang="0">
                <a:pos x="connsiteX25072" y="connsiteY25072"/>
              </a:cxn>
              <a:cxn ang="0">
                <a:pos x="connsiteX25073" y="connsiteY25073"/>
              </a:cxn>
              <a:cxn ang="0">
                <a:pos x="connsiteX25074" y="connsiteY25074"/>
              </a:cxn>
              <a:cxn ang="0">
                <a:pos x="connsiteX25075" y="connsiteY25075"/>
              </a:cxn>
              <a:cxn ang="0">
                <a:pos x="connsiteX25076" y="connsiteY25076"/>
              </a:cxn>
              <a:cxn ang="0">
                <a:pos x="connsiteX25077" y="connsiteY25077"/>
              </a:cxn>
              <a:cxn ang="0">
                <a:pos x="connsiteX25078" y="connsiteY25078"/>
              </a:cxn>
              <a:cxn ang="0">
                <a:pos x="connsiteX25079" y="connsiteY25079"/>
              </a:cxn>
              <a:cxn ang="0">
                <a:pos x="connsiteX25080" y="connsiteY25080"/>
              </a:cxn>
              <a:cxn ang="0">
                <a:pos x="connsiteX25081" y="connsiteY25081"/>
              </a:cxn>
              <a:cxn ang="0">
                <a:pos x="connsiteX25082" y="connsiteY25082"/>
              </a:cxn>
              <a:cxn ang="0">
                <a:pos x="connsiteX25083" y="connsiteY25083"/>
              </a:cxn>
              <a:cxn ang="0">
                <a:pos x="connsiteX25084" y="connsiteY25084"/>
              </a:cxn>
              <a:cxn ang="0">
                <a:pos x="connsiteX25085" y="connsiteY25085"/>
              </a:cxn>
              <a:cxn ang="0">
                <a:pos x="connsiteX25086" y="connsiteY25086"/>
              </a:cxn>
              <a:cxn ang="0">
                <a:pos x="connsiteX25087" y="connsiteY25087"/>
              </a:cxn>
              <a:cxn ang="0">
                <a:pos x="connsiteX25088" y="connsiteY25088"/>
              </a:cxn>
              <a:cxn ang="0">
                <a:pos x="connsiteX25089" y="connsiteY25089"/>
              </a:cxn>
              <a:cxn ang="0">
                <a:pos x="connsiteX25090" y="connsiteY25090"/>
              </a:cxn>
              <a:cxn ang="0">
                <a:pos x="connsiteX25091" y="connsiteY25091"/>
              </a:cxn>
              <a:cxn ang="0">
                <a:pos x="connsiteX25092" y="connsiteY25092"/>
              </a:cxn>
              <a:cxn ang="0">
                <a:pos x="connsiteX25093" y="connsiteY25093"/>
              </a:cxn>
              <a:cxn ang="0">
                <a:pos x="connsiteX25094" y="connsiteY25094"/>
              </a:cxn>
              <a:cxn ang="0">
                <a:pos x="connsiteX25095" y="connsiteY25095"/>
              </a:cxn>
              <a:cxn ang="0">
                <a:pos x="connsiteX25096" y="connsiteY25096"/>
              </a:cxn>
              <a:cxn ang="0">
                <a:pos x="connsiteX25097" y="connsiteY25097"/>
              </a:cxn>
              <a:cxn ang="0">
                <a:pos x="connsiteX25098" y="connsiteY25098"/>
              </a:cxn>
              <a:cxn ang="0">
                <a:pos x="connsiteX25099" y="connsiteY25099"/>
              </a:cxn>
              <a:cxn ang="0">
                <a:pos x="connsiteX25100" y="connsiteY25100"/>
              </a:cxn>
              <a:cxn ang="0">
                <a:pos x="connsiteX25101" y="connsiteY25101"/>
              </a:cxn>
              <a:cxn ang="0">
                <a:pos x="connsiteX25102" y="connsiteY25102"/>
              </a:cxn>
              <a:cxn ang="0">
                <a:pos x="connsiteX25103" y="connsiteY25103"/>
              </a:cxn>
              <a:cxn ang="0">
                <a:pos x="connsiteX25104" y="connsiteY25104"/>
              </a:cxn>
              <a:cxn ang="0">
                <a:pos x="connsiteX25105" y="connsiteY25105"/>
              </a:cxn>
              <a:cxn ang="0">
                <a:pos x="connsiteX25106" y="connsiteY25106"/>
              </a:cxn>
              <a:cxn ang="0">
                <a:pos x="connsiteX25107" y="connsiteY25107"/>
              </a:cxn>
              <a:cxn ang="0">
                <a:pos x="connsiteX25108" y="connsiteY25108"/>
              </a:cxn>
              <a:cxn ang="0">
                <a:pos x="connsiteX25109" y="connsiteY25109"/>
              </a:cxn>
              <a:cxn ang="0">
                <a:pos x="connsiteX25110" y="connsiteY25110"/>
              </a:cxn>
              <a:cxn ang="0">
                <a:pos x="connsiteX25111" y="connsiteY25111"/>
              </a:cxn>
              <a:cxn ang="0">
                <a:pos x="connsiteX25112" y="connsiteY25112"/>
              </a:cxn>
              <a:cxn ang="0">
                <a:pos x="connsiteX25113" y="connsiteY25113"/>
              </a:cxn>
              <a:cxn ang="0">
                <a:pos x="connsiteX25114" y="connsiteY25114"/>
              </a:cxn>
              <a:cxn ang="0">
                <a:pos x="connsiteX25115" y="connsiteY25115"/>
              </a:cxn>
              <a:cxn ang="0">
                <a:pos x="connsiteX25116" y="connsiteY25116"/>
              </a:cxn>
              <a:cxn ang="0">
                <a:pos x="connsiteX25117" y="connsiteY25117"/>
              </a:cxn>
              <a:cxn ang="0">
                <a:pos x="connsiteX25118" y="connsiteY25118"/>
              </a:cxn>
              <a:cxn ang="0">
                <a:pos x="connsiteX25119" y="connsiteY25119"/>
              </a:cxn>
              <a:cxn ang="0">
                <a:pos x="connsiteX25120" y="connsiteY25120"/>
              </a:cxn>
              <a:cxn ang="0">
                <a:pos x="connsiteX25121" y="connsiteY25121"/>
              </a:cxn>
              <a:cxn ang="0">
                <a:pos x="connsiteX25122" y="connsiteY25122"/>
              </a:cxn>
              <a:cxn ang="0">
                <a:pos x="connsiteX25123" y="connsiteY25123"/>
              </a:cxn>
              <a:cxn ang="0">
                <a:pos x="connsiteX25124" y="connsiteY25124"/>
              </a:cxn>
              <a:cxn ang="0">
                <a:pos x="connsiteX25125" y="connsiteY25125"/>
              </a:cxn>
              <a:cxn ang="0">
                <a:pos x="connsiteX25126" y="connsiteY25126"/>
              </a:cxn>
              <a:cxn ang="0">
                <a:pos x="connsiteX25127" y="connsiteY25127"/>
              </a:cxn>
              <a:cxn ang="0">
                <a:pos x="connsiteX25128" y="connsiteY25128"/>
              </a:cxn>
              <a:cxn ang="0">
                <a:pos x="connsiteX25129" y="connsiteY25129"/>
              </a:cxn>
              <a:cxn ang="0">
                <a:pos x="connsiteX25130" y="connsiteY25130"/>
              </a:cxn>
              <a:cxn ang="0">
                <a:pos x="connsiteX25131" y="connsiteY25131"/>
              </a:cxn>
              <a:cxn ang="0">
                <a:pos x="connsiteX25132" y="connsiteY25132"/>
              </a:cxn>
              <a:cxn ang="0">
                <a:pos x="connsiteX25133" y="connsiteY25133"/>
              </a:cxn>
              <a:cxn ang="0">
                <a:pos x="connsiteX25134" y="connsiteY25134"/>
              </a:cxn>
              <a:cxn ang="0">
                <a:pos x="connsiteX25135" y="connsiteY25135"/>
              </a:cxn>
              <a:cxn ang="0">
                <a:pos x="connsiteX25136" y="connsiteY25136"/>
              </a:cxn>
              <a:cxn ang="0">
                <a:pos x="connsiteX25137" y="connsiteY25137"/>
              </a:cxn>
              <a:cxn ang="0">
                <a:pos x="connsiteX25138" y="connsiteY25138"/>
              </a:cxn>
              <a:cxn ang="0">
                <a:pos x="connsiteX25139" y="connsiteY25139"/>
              </a:cxn>
              <a:cxn ang="0">
                <a:pos x="connsiteX25140" y="connsiteY25140"/>
              </a:cxn>
              <a:cxn ang="0">
                <a:pos x="connsiteX25141" y="connsiteY25141"/>
              </a:cxn>
              <a:cxn ang="0">
                <a:pos x="connsiteX25142" y="connsiteY25142"/>
              </a:cxn>
              <a:cxn ang="0">
                <a:pos x="connsiteX25143" y="connsiteY25143"/>
              </a:cxn>
              <a:cxn ang="0">
                <a:pos x="connsiteX25144" y="connsiteY25144"/>
              </a:cxn>
              <a:cxn ang="0">
                <a:pos x="connsiteX25145" y="connsiteY25145"/>
              </a:cxn>
              <a:cxn ang="0">
                <a:pos x="connsiteX25146" y="connsiteY25146"/>
              </a:cxn>
              <a:cxn ang="0">
                <a:pos x="connsiteX25147" y="connsiteY25147"/>
              </a:cxn>
              <a:cxn ang="0">
                <a:pos x="connsiteX25148" y="connsiteY25148"/>
              </a:cxn>
              <a:cxn ang="0">
                <a:pos x="connsiteX25149" y="connsiteY25149"/>
              </a:cxn>
              <a:cxn ang="0">
                <a:pos x="connsiteX25150" y="connsiteY25150"/>
              </a:cxn>
              <a:cxn ang="0">
                <a:pos x="connsiteX25151" y="connsiteY25151"/>
              </a:cxn>
              <a:cxn ang="0">
                <a:pos x="connsiteX25152" y="connsiteY25152"/>
              </a:cxn>
              <a:cxn ang="0">
                <a:pos x="connsiteX25153" y="connsiteY25153"/>
              </a:cxn>
              <a:cxn ang="0">
                <a:pos x="connsiteX25154" y="connsiteY25154"/>
              </a:cxn>
              <a:cxn ang="0">
                <a:pos x="connsiteX25155" y="connsiteY25155"/>
              </a:cxn>
              <a:cxn ang="0">
                <a:pos x="connsiteX25156" y="connsiteY25156"/>
              </a:cxn>
              <a:cxn ang="0">
                <a:pos x="connsiteX25157" y="connsiteY25157"/>
              </a:cxn>
              <a:cxn ang="0">
                <a:pos x="connsiteX25158" y="connsiteY25158"/>
              </a:cxn>
              <a:cxn ang="0">
                <a:pos x="connsiteX25159" y="connsiteY25159"/>
              </a:cxn>
              <a:cxn ang="0">
                <a:pos x="connsiteX25160" y="connsiteY25160"/>
              </a:cxn>
              <a:cxn ang="0">
                <a:pos x="connsiteX25161" y="connsiteY25161"/>
              </a:cxn>
              <a:cxn ang="0">
                <a:pos x="connsiteX25162" y="connsiteY25162"/>
              </a:cxn>
              <a:cxn ang="0">
                <a:pos x="connsiteX25163" y="connsiteY25163"/>
              </a:cxn>
              <a:cxn ang="0">
                <a:pos x="connsiteX25164" y="connsiteY25164"/>
              </a:cxn>
              <a:cxn ang="0">
                <a:pos x="connsiteX25165" y="connsiteY25165"/>
              </a:cxn>
              <a:cxn ang="0">
                <a:pos x="connsiteX25166" y="connsiteY25166"/>
              </a:cxn>
              <a:cxn ang="0">
                <a:pos x="connsiteX25167" y="connsiteY25167"/>
              </a:cxn>
              <a:cxn ang="0">
                <a:pos x="connsiteX25168" y="connsiteY25168"/>
              </a:cxn>
              <a:cxn ang="0">
                <a:pos x="connsiteX25169" y="connsiteY25169"/>
              </a:cxn>
              <a:cxn ang="0">
                <a:pos x="connsiteX25170" y="connsiteY25170"/>
              </a:cxn>
              <a:cxn ang="0">
                <a:pos x="connsiteX25171" y="connsiteY25171"/>
              </a:cxn>
              <a:cxn ang="0">
                <a:pos x="connsiteX25172" y="connsiteY25172"/>
              </a:cxn>
              <a:cxn ang="0">
                <a:pos x="connsiteX25173" y="connsiteY25173"/>
              </a:cxn>
              <a:cxn ang="0">
                <a:pos x="connsiteX25174" y="connsiteY25174"/>
              </a:cxn>
              <a:cxn ang="0">
                <a:pos x="connsiteX25175" y="connsiteY25175"/>
              </a:cxn>
              <a:cxn ang="0">
                <a:pos x="connsiteX25176" y="connsiteY25176"/>
              </a:cxn>
              <a:cxn ang="0">
                <a:pos x="connsiteX25177" y="connsiteY25177"/>
              </a:cxn>
              <a:cxn ang="0">
                <a:pos x="connsiteX25178" y="connsiteY25178"/>
              </a:cxn>
              <a:cxn ang="0">
                <a:pos x="connsiteX25179" y="connsiteY25179"/>
              </a:cxn>
              <a:cxn ang="0">
                <a:pos x="connsiteX25180" y="connsiteY25180"/>
              </a:cxn>
              <a:cxn ang="0">
                <a:pos x="connsiteX25181" y="connsiteY25181"/>
              </a:cxn>
              <a:cxn ang="0">
                <a:pos x="connsiteX25182" y="connsiteY25182"/>
              </a:cxn>
              <a:cxn ang="0">
                <a:pos x="connsiteX25183" y="connsiteY25183"/>
              </a:cxn>
              <a:cxn ang="0">
                <a:pos x="connsiteX25184" y="connsiteY25184"/>
              </a:cxn>
              <a:cxn ang="0">
                <a:pos x="connsiteX25185" y="connsiteY25185"/>
              </a:cxn>
              <a:cxn ang="0">
                <a:pos x="connsiteX25186" y="connsiteY25186"/>
              </a:cxn>
              <a:cxn ang="0">
                <a:pos x="connsiteX25187" y="connsiteY25187"/>
              </a:cxn>
              <a:cxn ang="0">
                <a:pos x="connsiteX25188" y="connsiteY25188"/>
              </a:cxn>
              <a:cxn ang="0">
                <a:pos x="connsiteX25189" y="connsiteY25189"/>
              </a:cxn>
              <a:cxn ang="0">
                <a:pos x="connsiteX25190" y="connsiteY25190"/>
              </a:cxn>
              <a:cxn ang="0">
                <a:pos x="connsiteX25191" y="connsiteY25191"/>
              </a:cxn>
              <a:cxn ang="0">
                <a:pos x="connsiteX25192" y="connsiteY25192"/>
              </a:cxn>
              <a:cxn ang="0">
                <a:pos x="connsiteX25193" y="connsiteY25193"/>
              </a:cxn>
              <a:cxn ang="0">
                <a:pos x="connsiteX25194" y="connsiteY25194"/>
              </a:cxn>
              <a:cxn ang="0">
                <a:pos x="connsiteX25195" y="connsiteY25195"/>
              </a:cxn>
              <a:cxn ang="0">
                <a:pos x="connsiteX25196" y="connsiteY25196"/>
              </a:cxn>
              <a:cxn ang="0">
                <a:pos x="connsiteX25197" y="connsiteY25197"/>
              </a:cxn>
              <a:cxn ang="0">
                <a:pos x="connsiteX25198" y="connsiteY25198"/>
              </a:cxn>
              <a:cxn ang="0">
                <a:pos x="connsiteX25199" y="connsiteY25199"/>
              </a:cxn>
              <a:cxn ang="0">
                <a:pos x="connsiteX25200" y="connsiteY25200"/>
              </a:cxn>
              <a:cxn ang="0">
                <a:pos x="connsiteX25201" y="connsiteY25201"/>
              </a:cxn>
              <a:cxn ang="0">
                <a:pos x="connsiteX25202" y="connsiteY25202"/>
              </a:cxn>
              <a:cxn ang="0">
                <a:pos x="connsiteX25203" y="connsiteY25203"/>
              </a:cxn>
              <a:cxn ang="0">
                <a:pos x="connsiteX25204" y="connsiteY25204"/>
              </a:cxn>
              <a:cxn ang="0">
                <a:pos x="connsiteX25205" y="connsiteY25205"/>
              </a:cxn>
              <a:cxn ang="0">
                <a:pos x="connsiteX25206" y="connsiteY25206"/>
              </a:cxn>
              <a:cxn ang="0">
                <a:pos x="connsiteX25207" y="connsiteY25207"/>
              </a:cxn>
              <a:cxn ang="0">
                <a:pos x="connsiteX25208" y="connsiteY25208"/>
              </a:cxn>
              <a:cxn ang="0">
                <a:pos x="connsiteX25209" y="connsiteY25209"/>
              </a:cxn>
              <a:cxn ang="0">
                <a:pos x="connsiteX25210" y="connsiteY25210"/>
              </a:cxn>
              <a:cxn ang="0">
                <a:pos x="connsiteX25211" y="connsiteY25211"/>
              </a:cxn>
              <a:cxn ang="0">
                <a:pos x="connsiteX25212" y="connsiteY25212"/>
              </a:cxn>
              <a:cxn ang="0">
                <a:pos x="connsiteX25213" y="connsiteY25213"/>
              </a:cxn>
              <a:cxn ang="0">
                <a:pos x="connsiteX25214" y="connsiteY25214"/>
              </a:cxn>
              <a:cxn ang="0">
                <a:pos x="connsiteX25215" y="connsiteY25215"/>
              </a:cxn>
              <a:cxn ang="0">
                <a:pos x="connsiteX25216" y="connsiteY25216"/>
              </a:cxn>
              <a:cxn ang="0">
                <a:pos x="connsiteX25217" y="connsiteY25217"/>
              </a:cxn>
              <a:cxn ang="0">
                <a:pos x="connsiteX25218" y="connsiteY25218"/>
              </a:cxn>
              <a:cxn ang="0">
                <a:pos x="connsiteX25219" y="connsiteY25219"/>
              </a:cxn>
              <a:cxn ang="0">
                <a:pos x="connsiteX25220" y="connsiteY25220"/>
              </a:cxn>
              <a:cxn ang="0">
                <a:pos x="connsiteX25221" y="connsiteY25221"/>
              </a:cxn>
              <a:cxn ang="0">
                <a:pos x="connsiteX25222" y="connsiteY25222"/>
              </a:cxn>
              <a:cxn ang="0">
                <a:pos x="connsiteX25223" y="connsiteY25223"/>
              </a:cxn>
              <a:cxn ang="0">
                <a:pos x="connsiteX25224" y="connsiteY25224"/>
              </a:cxn>
              <a:cxn ang="0">
                <a:pos x="connsiteX25225" y="connsiteY25225"/>
              </a:cxn>
              <a:cxn ang="0">
                <a:pos x="connsiteX25226" y="connsiteY25226"/>
              </a:cxn>
              <a:cxn ang="0">
                <a:pos x="connsiteX25227" y="connsiteY25227"/>
              </a:cxn>
              <a:cxn ang="0">
                <a:pos x="connsiteX25228" y="connsiteY25228"/>
              </a:cxn>
              <a:cxn ang="0">
                <a:pos x="connsiteX25229" y="connsiteY25229"/>
              </a:cxn>
              <a:cxn ang="0">
                <a:pos x="connsiteX25230" y="connsiteY25230"/>
              </a:cxn>
              <a:cxn ang="0">
                <a:pos x="connsiteX25231" y="connsiteY25231"/>
              </a:cxn>
              <a:cxn ang="0">
                <a:pos x="connsiteX25232" y="connsiteY25232"/>
              </a:cxn>
              <a:cxn ang="0">
                <a:pos x="connsiteX25233" y="connsiteY25233"/>
              </a:cxn>
              <a:cxn ang="0">
                <a:pos x="connsiteX25234" y="connsiteY25234"/>
              </a:cxn>
              <a:cxn ang="0">
                <a:pos x="connsiteX25235" y="connsiteY25235"/>
              </a:cxn>
              <a:cxn ang="0">
                <a:pos x="connsiteX25236" y="connsiteY25236"/>
              </a:cxn>
              <a:cxn ang="0">
                <a:pos x="connsiteX25237" y="connsiteY25237"/>
              </a:cxn>
              <a:cxn ang="0">
                <a:pos x="connsiteX25238" y="connsiteY25238"/>
              </a:cxn>
              <a:cxn ang="0">
                <a:pos x="connsiteX25239" y="connsiteY25239"/>
              </a:cxn>
              <a:cxn ang="0">
                <a:pos x="connsiteX25240" y="connsiteY25240"/>
              </a:cxn>
              <a:cxn ang="0">
                <a:pos x="connsiteX25241" y="connsiteY25241"/>
              </a:cxn>
              <a:cxn ang="0">
                <a:pos x="connsiteX25242" y="connsiteY25242"/>
              </a:cxn>
              <a:cxn ang="0">
                <a:pos x="connsiteX25243" y="connsiteY25243"/>
              </a:cxn>
              <a:cxn ang="0">
                <a:pos x="connsiteX25244" y="connsiteY25244"/>
              </a:cxn>
              <a:cxn ang="0">
                <a:pos x="connsiteX25245" y="connsiteY25245"/>
              </a:cxn>
              <a:cxn ang="0">
                <a:pos x="connsiteX25246" y="connsiteY25246"/>
              </a:cxn>
              <a:cxn ang="0">
                <a:pos x="connsiteX25247" y="connsiteY25247"/>
              </a:cxn>
              <a:cxn ang="0">
                <a:pos x="connsiteX25248" y="connsiteY25248"/>
              </a:cxn>
              <a:cxn ang="0">
                <a:pos x="connsiteX25249" y="connsiteY25249"/>
              </a:cxn>
              <a:cxn ang="0">
                <a:pos x="connsiteX25250" y="connsiteY25250"/>
              </a:cxn>
              <a:cxn ang="0">
                <a:pos x="connsiteX25251" y="connsiteY25251"/>
              </a:cxn>
              <a:cxn ang="0">
                <a:pos x="connsiteX25252" y="connsiteY25252"/>
              </a:cxn>
              <a:cxn ang="0">
                <a:pos x="connsiteX25253" y="connsiteY25253"/>
              </a:cxn>
              <a:cxn ang="0">
                <a:pos x="connsiteX25254" y="connsiteY25254"/>
              </a:cxn>
              <a:cxn ang="0">
                <a:pos x="connsiteX25255" y="connsiteY25255"/>
              </a:cxn>
              <a:cxn ang="0">
                <a:pos x="connsiteX25256" y="connsiteY25256"/>
              </a:cxn>
              <a:cxn ang="0">
                <a:pos x="connsiteX25257" y="connsiteY25257"/>
              </a:cxn>
              <a:cxn ang="0">
                <a:pos x="connsiteX25258" y="connsiteY25258"/>
              </a:cxn>
              <a:cxn ang="0">
                <a:pos x="connsiteX25259" y="connsiteY25259"/>
              </a:cxn>
              <a:cxn ang="0">
                <a:pos x="connsiteX25260" y="connsiteY25260"/>
              </a:cxn>
              <a:cxn ang="0">
                <a:pos x="connsiteX25261" y="connsiteY25261"/>
              </a:cxn>
              <a:cxn ang="0">
                <a:pos x="connsiteX25262" y="connsiteY25262"/>
              </a:cxn>
              <a:cxn ang="0">
                <a:pos x="connsiteX25263" y="connsiteY25263"/>
              </a:cxn>
              <a:cxn ang="0">
                <a:pos x="connsiteX25264" y="connsiteY25264"/>
              </a:cxn>
              <a:cxn ang="0">
                <a:pos x="connsiteX25265" y="connsiteY25265"/>
              </a:cxn>
              <a:cxn ang="0">
                <a:pos x="connsiteX25266" y="connsiteY25266"/>
              </a:cxn>
              <a:cxn ang="0">
                <a:pos x="connsiteX25267" y="connsiteY25267"/>
              </a:cxn>
              <a:cxn ang="0">
                <a:pos x="connsiteX25268" y="connsiteY25268"/>
              </a:cxn>
              <a:cxn ang="0">
                <a:pos x="connsiteX25269" y="connsiteY25269"/>
              </a:cxn>
              <a:cxn ang="0">
                <a:pos x="connsiteX25270" y="connsiteY25270"/>
              </a:cxn>
              <a:cxn ang="0">
                <a:pos x="connsiteX25271" y="connsiteY25271"/>
              </a:cxn>
              <a:cxn ang="0">
                <a:pos x="connsiteX25272" y="connsiteY25272"/>
              </a:cxn>
              <a:cxn ang="0">
                <a:pos x="connsiteX25273" y="connsiteY25273"/>
              </a:cxn>
              <a:cxn ang="0">
                <a:pos x="connsiteX25274" y="connsiteY25274"/>
              </a:cxn>
              <a:cxn ang="0">
                <a:pos x="connsiteX25275" y="connsiteY25275"/>
              </a:cxn>
              <a:cxn ang="0">
                <a:pos x="connsiteX25276" y="connsiteY25276"/>
              </a:cxn>
              <a:cxn ang="0">
                <a:pos x="connsiteX25277" y="connsiteY25277"/>
              </a:cxn>
              <a:cxn ang="0">
                <a:pos x="connsiteX25278" y="connsiteY25278"/>
              </a:cxn>
              <a:cxn ang="0">
                <a:pos x="connsiteX25279" y="connsiteY25279"/>
              </a:cxn>
              <a:cxn ang="0">
                <a:pos x="connsiteX25280" y="connsiteY25280"/>
              </a:cxn>
              <a:cxn ang="0">
                <a:pos x="connsiteX25281" y="connsiteY25281"/>
              </a:cxn>
              <a:cxn ang="0">
                <a:pos x="connsiteX25282" y="connsiteY25282"/>
              </a:cxn>
              <a:cxn ang="0">
                <a:pos x="connsiteX25283" y="connsiteY25283"/>
              </a:cxn>
              <a:cxn ang="0">
                <a:pos x="connsiteX25284" y="connsiteY25284"/>
              </a:cxn>
              <a:cxn ang="0">
                <a:pos x="connsiteX25285" y="connsiteY25285"/>
              </a:cxn>
              <a:cxn ang="0">
                <a:pos x="connsiteX25286" y="connsiteY25286"/>
              </a:cxn>
              <a:cxn ang="0">
                <a:pos x="connsiteX25287" y="connsiteY25287"/>
              </a:cxn>
              <a:cxn ang="0">
                <a:pos x="connsiteX25288" y="connsiteY25288"/>
              </a:cxn>
              <a:cxn ang="0">
                <a:pos x="connsiteX25289" y="connsiteY25289"/>
              </a:cxn>
              <a:cxn ang="0">
                <a:pos x="connsiteX25290" y="connsiteY25290"/>
              </a:cxn>
              <a:cxn ang="0">
                <a:pos x="connsiteX25291" y="connsiteY25291"/>
              </a:cxn>
              <a:cxn ang="0">
                <a:pos x="connsiteX25292" y="connsiteY25292"/>
              </a:cxn>
              <a:cxn ang="0">
                <a:pos x="connsiteX25293" y="connsiteY25293"/>
              </a:cxn>
              <a:cxn ang="0">
                <a:pos x="connsiteX25294" y="connsiteY25294"/>
              </a:cxn>
              <a:cxn ang="0">
                <a:pos x="connsiteX25295" y="connsiteY25295"/>
              </a:cxn>
              <a:cxn ang="0">
                <a:pos x="connsiteX25296" y="connsiteY25296"/>
              </a:cxn>
              <a:cxn ang="0">
                <a:pos x="connsiteX25297" y="connsiteY25297"/>
              </a:cxn>
              <a:cxn ang="0">
                <a:pos x="connsiteX25298" y="connsiteY25298"/>
              </a:cxn>
              <a:cxn ang="0">
                <a:pos x="connsiteX25299" y="connsiteY25299"/>
              </a:cxn>
              <a:cxn ang="0">
                <a:pos x="connsiteX25300" y="connsiteY25300"/>
              </a:cxn>
              <a:cxn ang="0">
                <a:pos x="connsiteX25301" y="connsiteY25301"/>
              </a:cxn>
              <a:cxn ang="0">
                <a:pos x="connsiteX25302" y="connsiteY25302"/>
              </a:cxn>
              <a:cxn ang="0">
                <a:pos x="connsiteX25303" y="connsiteY25303"/>
              </a:cxn>
              <a:cxn ang="0">
                <a:pos x="connsiteX25304" y="connsiteY25304"/>
              </a:cxn>
              <a:cxn ang="0">
                <a:pos x="connsiteX25305" y="connsiteY25305"/>
              </a:cxn>
              <a:cxn ang="0">
                <a:pos x="connsiteX25306" y="connsiteY25306"/>
              </a:cxn>
              <a:cxn ang="0">
                <a:pos x="connsiteX25307" y="connsiteY25307"/>
              </a:cxn>
              <a:cxn ang="0">
                <a:pos x="connsiteX25308" y="connsiteY25308"/>
              </a:cxn>
              <a:cxn ang="0">
                <a:pos x="connsiteX25309" y="connsiteY25309"/>
              </a:cxn>
              <a:cxn ang="0">
                <a:pos x="connsiteX25310" y="connsiteY25310"/>
              </a:cxn>
              <a:cxn ang="0">
                <a:pos x="connsiteX25311" y="connsiteY25311"/>
              </a:cxn>
              <a:cxn ang="0">
                <a:pos x="connsiteX25312" y="connsiteY25312"/>
              </a:cxn>
              <a:cxn ang="0">
                <a:pos x="connsiteX25313" y="connsiteY25313"/>
              </a:cxn>
              <a:cxn ang="0">
                <a:pos x="connsiteX25314" y="connsiteY25314"/>
              </a:cxn>
              <a:cxn ang="0">
                <a:pos x="connsiteX25315" y="connsiteY25315"/>
              </a:cxn>
              <a:cxn ang="0">
                <a:pos x="connsiteX25316" y="connsiteY25316"/>
              </a:cxn>
              <a:cxn ang="0">
                <a:pos x="connsiteX25317" y="connsiteY25317"/>
              </a:cxn>
              <a:cxn ang="0">
                <a:pos x="connsiteX25318" y="connsiteY25318"/>
              </a:cxn>
              <a:cxn ang="0">
                <a:pos x="connsiteX25319" y="connsiteY25319"/>
              </a:cxn>
              <a:cxn ang="0">
                <a:pos x="connsiteX25320" y="connsiteY25320"/>
              </a:cxn>
              <a:cxn ang="0">
                <a:pos x="connsiteX25321" y="connsiteY25321"/>
              </a:cxn>
              <a:cxn ang="0">
                <a:pos x="connsiteX25322" y="connsiteY25322"/>
              </a:cxn>
              <a:cxn ang="0">
                <a:pos x="connsiteX25323" y="connsiteY25323"/>
              </a:cxn>
              <a:cxn ang="0">
                <a:pos x="connsiteX25324" y="connsiteY25324"/>
              </a:cxn>
              <a:cxn ang="0">
                <a:pos x="connsiteX25325" y="connsiteY25325"/>
              </a:cxn>
              <a:cxn ang="0">
                <a:pos x="connsiteX25326" y="connsiteY25326"/>
              </a:cxn>
              <a:cxn ang="0">
                <a:pos x="connsiteX25327" y="connsiteY25327"/>
              </a:cxn>
              <a:cxn ang="0">
                <a:pos x="connsiteX25328" y="connsiteY25328"/>
              </a:cxn>
              <a:cxn ang="0">
                <a:pos x="connsiteX25329" y="connsiteY25329"/>
              </a:cxn>
              <a:cxn ang="0">
                <a:pos x="connsiteX25330" y="connsiteY25330"/>
              </a:cxn>
              <a:cxn ang="0">
                <a:pos x="connsiteX25331" y="connsiteY25331"/>
              </a:cxn>
              <a:cxn ang="0">
                <a:pos x="connsiteX25332" y="connsiteY25332"/>
              </a:cxn>
              <a:cxn ang="0">
                <a:pos x="connsiteX25333" y="connsiteY25333"/>
              </a:cxn>
              <a:cxn ang="0">
                <a:pos x="connsiteX25334" y="connsiteY25334"/>
              </a:cxn>
              <a:cxn ang="0">
                <a:pos x="connsiteX25335" y="connsiteY25335"/>
              </a:cxn>
              <a:cxn ang="0">
                <a:pos x="connsiteX25336" y="connsiteY25336"/>
              </a:cxn>
              <a:cxn ang="0">
                <a:pos x="connsiteX25337" y="connsiteY25337"/>
              </a:cxn>
              <a:cxn ang="0">
                <a:pos x="connsiteX25338" y="connsiteY25338"/>
              </a:cxn>
              <a:cxn ang="0">
                <a:pos x="connsiteX25339" y="connsiteY25339"/>
              </a:cxn>
              <a:cxn ang="0">
                <a:pos x="connsiteX25340" y="connsiteY25340"/>
              </a:cxn>
              <a:cxn ang="0">
                <a:pos x="connsiteX25341" y="connsiteY25341"/>
              </a:cxn>
              <a:cxn ang="0">
                <a:pos x="connsiteX25342" y="connsiteY25342"/>
              </a:cxn>
              <a:cxn ang="0">
                <a:pos x="connsiteX25343" y="connsiteY25343"/>
              </a:cxn>
              <a:cxn ang="0">
                <a:pos x="connsiteX25344" y="connsiteY25344"/>
              </a:cxn>
              <a:cxn ang="0">
                <a:pos x="connsiteX25345" y="connsiteY25345"/>
              </a:cxn>
              <a:cxn ang="0">
                <a:pos x="connsiteX25346" y="connsiteY25346"/>
              </a:cxn>
              <a:cxn ang="0">
                <a:pos x="connsiteX25347" y="connsiteY25347"/>
              </a:cxn>
              <a:cxn ang="0">
                <a:pos x="connsiteX25348" y="connsiteY25348"/>
              </a:cxn>
              <a:cxn ang="0">
                <a:pos x="connsiteX25349" y="connsiteY25349"/>
              </a:cxn>
              <a:cxn ang="0">
                <a:pos x="connsiteX25350" y="connsiteY25350"/>
              </a:cxn>
              <a:cxn ang="0">
                <a:pos x="connsiteX25351" y="connsiteY25351"/>
              </a:cxn>
              <a:cxn ang="0">
                <a:pos x="connsiteX25352" y="connsiteY25352"/>
              </a:cxn>
              <a:cxn ang="0">
                <a:pos x="connsiteX25353" y="connsiteY25353"/>
              </a:cxn>
              <a:cxn ang="0">
                <a:pos x="connsiteX25354" y="connsiteY25354"/>
              </a:cxn>
              <a:cxn ang="0">
                <a:pos x="connsiteX25355" y="connsiteY25355"/>
              </a:cxn>
              <a:cxn ang="0">
                <a:pos x="connsiteX25356" y="connsiteY25356"/>
              </a:cxn>
              <a:cxn ang="0">
                <a:pos x="connsiteX25357" y="connsiteY25357"/>
              </a:cxn>
              <a:cxn ang="0">
                <a:pos x="connsiteX25358" y="connsiteY25358"/>
              </a:cxn>
              <a:cxn ang="0">
                <a:pos x="connsiteX25359" y="connsiteY25359"/>
              </a:cxn>
              <a:cxn ang="0">
                <a:pos x="connsiteX25360" y="connsiteY25360"/>
              </a:cxn>
              <a:cxn ang="0">
                <a:pos x="connsiteX25361" y="connsiteY25361"/>
              </a:cxn>
              <a:cxn ang="0">
                <a:pos x="connsiteX25362" y="connsiteY25362"/>
              </a:cxn>
              <a:cxn ang="0">
                <a:pos x="connsiteX25363" y="connsiteY25363"/>
              </a:cxn>
              <a:cxn ang="0">
                <a:pos x="connsiteX25364" y="connsiteY25364"/>
              </a:cxn>
              <a:cxn ang="0">
                <a:pos x="connsiteX25365" y="connsiteY25365"/>
              </a:cxn>
              <a:cxn ang="0">
                <a:pos x="connsiteX25366" y="connsiteY25366"/>
              </a:cxn>
              <a:cxn ang="0">
                <a:pos x="connsiteX25367" y="connsiteY25367"/>
              </a:cxn>
              <a:cxn ang="0">
                <a:pos x="connsiteX25368" y="connsiteY25368"/>
              </a:cxn>
              <a:cxn ang="0">
                <a:pos x="connsiteX25369" y="connsiteY25369"/>
              </a:cxn>
              <a:cxn ang="0">
                <a:pos x="connsiteX25370" y="connsiteY25370"/>
              </a:cxn>
              <a:cxn ang="0">
                <a:pos x="connsiteX25371" y="connsiteY25371"/>
              </a:cxn>
              <a:cxn ang="0">
                <a:pos x="connsiteX25372" y="connsiteY25372"/>
              </a:cxn>
              <a:cxn ang="0">
                <a:pos x="connsiteX25373" y="connsiteY25373"/>
              </a:cxn>
              <a:cxn ang="0">
                <a:pos x="connsiteX25374" y="connsiteY25374"/>
              </a:cxn>
              <a:cxn ang="0">
                <a:pos x="connsiteX25375" y="connsiteY25375"/>
              </a:cxn>
              <a:cxn ang="0">
                <a:pos x="connsiteX25376" y="connsiteY25376"/>
              </a:cxn>
              <a:cxn ang="0">
                <a:pos x="connsiteX25377" y="connsiteY25377"/>
              </a:cxn>
              <a:cxn ang="0">
                <a:pos x="connsiteX25378" y="connsiteY25378"/>
              </a:cxn>
              <a:cxn ang="0">
                <a:pos x="connsiteX25379" y="connsiteY25379"/>
              </a:cxn>
              <a:cxn ang="0">
                <a:pos x="connsiteX25380" y="connsiteY25380"/>
              </a:cxn>
              <a:cxn ang="0">
                <a:pos x="connsiteX25381" y="connsiteY25381"/>
              </a:cxn>
              <a:cxn ang="0">
                <a:pos x="connsiteX25382" y="connsiteY25382"/>
              </a:cxn>
              <a:cxn ang="0">
                <a:pos x="connsiteX25383" y="connsiteY25383"/>
              </a:cxn>
              <a:cxn ang="0">
                <a:pos x="connsiteX25384" y="connsiteY25384"/>
              </a:cxn>
              <a:cxn ang="0">
                <a:pos x="connsiteX25385" y="connsiteY25385"/>
              </a:cxn>
              <a:cxn ang="0">
                <a:pos x="connsiteX25386" y="connsiteY25386"/>
              </a:cxn>
              <a:cxn ang="0">
                <a:pos x="connsiteX25387" y="connsiteY25387"/>
              </a:cxn>
              <a:cxn ang="0">
                <a:pos x="connsiteX25388" y="connsiteY25388"/>
              </a:cxn>
              <a:cxn ang="0">
                <a:pos x="connsiteX25389" y="connsiteY25389"/>
              </a:cxn>
              <a:cxn ang="0">
                <a:pos x="connsiteX25390" y="connsiteY25390"/>
              </a:cxn>
              <a:cxn ang="0">
                <a:pos x="connsiteX25391" y="connsiteY25391"/>
              </a:cxn>
              <a:cxn ang="0">
                <a:pos x="connsiteX25392" y="connsiteY25392"/>
              </a:cxn>
              <a:cxn ang="0">
                <a:pos x="connsiteX25393" y="connsiteY25393"/>
              </a:cxn>
              <a:cxn ang="0">
                <a:pos x="connsiteX25394" y="connsiteY25394"/>
              </a:cxn>
              <a:cxn ang="0">
                <a:pos x="connsiteX25395" y="connsiteY25395"/>
              </a:cxn>
              <a:cxn ang="0">
                <a:pos x="connsiteX25396" y="connsiteY25396"/>
              </a:cxn>
              <a:cxn ang="0">
                <a:pos x="connsiteX25397" y="connsiteY25397"/>
              </a:cxn>
              <a:cxn ang="0">
                <a:pos x="connsiteX25398" y="connsiteY25398"/>
              </a:cxn>
              <a:cxn ang="0">
                <a:pos x="connsiteX25399" y="connsiteY25399"/>
              </a:cxn>
              <a:cxn ang="0">
                <a:pos x="connsiteX25400" y="connsiteY25400"/>
              </a:cxn>
              <a:cxn ang="0">
                <a:pos x="connsiteX25401" y="connsiteY25401"/>
              </a:cxn>
              <a:cxn ang="0">
                <a:pos x="connsiteX25402" y="connsiteY25402"/>
              </a:cxn>
              <a:cxn ang="0">
                <a:pos x="connsiteX25403" y="connsiteY25403"/>
              </a:cxn>
              <a:cxn ang="0">
                <a:pos x="connsiteX25404" y="connsiteY25404"/>
              </a:cxn>
              <a:cxn ang="0">
                <a:pos x="connsiteX25405" y="connsiteY25405"/>
              </a:cxn>
              <a:cxn ang="0">
                <a:pos x="connsiteX25406" y="connsiteY25406"/>
              </a:cxn>
              <a:cxn ang="0">
                <a:pos x="connsiteX25407" y="connsiteY25407"/>
              </a:cxn>
              <a:cxn ang="0">
                <a:pos x="connsiteX25408" y="connsiteY25408"/>
              </a:cxn>
              <a:cxn ang="0">
                <a:pos x="connsiteX25409" y="connsiteY25409"/>
              </a:cxn>
              <a:cxn ang="0">
                <a:pos x="connsiteX25410" y="connsiteY25410"/>
              </a:cxn>
              <a:cxn ang="0">
                <a:pos x="connsiteX25411" y="connsiteY25411"/>
              </a:cxn>
              <a:cxn ang="0">
                <a:pos x="connsiteX25412" y="connsiteY25412"/>
              </a:cxn>
              <a:cxn ang="0">
                <a:pos x="connsiteX25413" y="connsiteY25413"/>
              </a:cxn>
              <a:cxn ang="0">
                <a:pos x="connsiteX25414" y="connsiteY25414"/>
              </a:cxn>
              <a:cxn ang="0">
                <a:pos x="connsiteX25415" y="connsiteY25415"/>
              </a:cxn>
              <a:cxn ang="0">
                <a:pos x="connsiteX25416" y="connsiteY25416"/>
              </a:cxn>
              <a:cxn ang="0">
                <a:pos x="connsiteX25417" y="connsiteY25417"/>
              </a:cxn>
              <a:cxn ang="0">
                <a:pos x="connsiteX25418" y="connsiteY25418"/>
              </a:cxn>
              <a:cxn ang="0">
                <a:pos x="connsiteX25419" y="connsiteY25419"/>
              </a:cxn>
              <a:cxn ang="0">
                <a:pos x="connsiteX25420" y="connsiteY25420"/>
              </a:cxn>
              <a:cxn ang="0">
                <a:pos x="connsiteX25421" y="connsiteY25421"/>
              </a:cxn>
              <a:cxn ang="0">
                <a:pos x="connsiteX25422" y="connsiteY25422"/>
              </a:cxn>
              <a:cxn ang="0">
                <a:pos x="connsiteX25423" y="connsiteY25423"/>
              </a:cxn>
              <a:cxn ang="0">
                <a:pos x="connsiteX25424" y="connsiteY25424"/>
              </a:cxn>
              <a:cxn ang="0">
                <a:pos x="connsiteX25425" y="connsiteY25425"/>
              </a:cxn>
              <a:cxn ang="0">
                <a:pos x="connsiteX25426" y="connsiteY25426"/>
              </a:cxn>
              <a:cxn ang="0">
                <a:pos x="connsiteX25427" y="connsiteY25427"/>
              </a:cxn>
              <a:cxn ang="0">
                <a:pos x="connsiteX25428" y="connsiteY25428"/>
              </a:cxn>
              <a:cxn ang="0">
                <a:pos x="connsiteX25429" y="connsiteY25429"/>
              </a:cxn>
              <a:cxn ang="0">
                <a:pos x="connsiteX25430" y="connsiteY25430"/>
              </a:cxn>
              <a:cxn ang="0">
                <a:pos x="connsiteX25431" y="connsiteY25431"/>
              </a:cxn>
              <a:cxn ang="0">
                <a:pos x="connsiteX25432" y="connsiteY25432"/>
              </a:cxn>
              <a:cxn ang="0">
                <a:pos x="connsiteX25433" y="connsiteY25433"/>
              </a:cxn>
              <a:cxn ang="0">
                <a:pos x="connsiteX25434" y="connsiteY25434"/>
              </a:cxn>
              <a:cxn ang="0">
                <a:pos x="connsiteX25435" y="connsiteY25435"/>
              </a:cxn>
              <a:cxn ang="0">
                <a:pos x="connsiteX25436" y="connsiteY25436"/>
              </a:cxn>
              <a:cxn ang="0">
                <a:pos x="connsiteX25437" y="connsiteY25437"/>
              </a:cxn>
              <a:cxn ang="0">
                <a:pos x="connsiteX25438" y="connsiteY25438"/>
              </a:cxn>
              <a:cxn ang="0">
                <a:pos x="connsiteX25439" y="connsiteY25439"/>
              </a:cxn>
              <a:cxn ang="0">
                <a:pos x="connsiteX25440" y="connsiteY25440"/>
              </a:cxn>
              <a:cxn ang="0">
                <a:pos x="connsiteX25441" y="connsiteY25441"/>
              </a:cxn>
              <a:cxn ang="0">
                <a:pos x="connsiteX25442" y="connsiteY25442"/>
              </a:cxn>
              <a:cxn ang="0">
                <a:pos x="connsiteX25443" y="connsiteY25443"/>
              </a:cxn>
              <a:cxn ang="0">
                <a:pos x="connsiteX25444" y="connsiteY25444"/>
              </a:cxn>
              <a:cxn ang="0">
                <a:pos x="connsiteX25445" y="connsiteY25445"/>
              </a:cxn>
              <a:cxn ang="0">
                <a:pos x="connsiteX25446" y="connsiteY25446"/>
              </a:cxn>
              <a:cxn ang="0">
                <a:pos x="connsiteX25447" y="connsiteY25447"/>
              </a:cxn>
              <a:cxn ang="0">
                <a:pos x="connsiteX25448" y="connsiteY25448"/>
              </a:cxn>
              <a:cxn ang="0">
                <a:pos x="connsiteX25449" y="connsiteY25449"/>
              </a:cxn>
              <a:cxn ang="0">
                <a:pos x="connsiteX25450" y="connsiteY25450"/>
              </a:cxn>
              <a:cxn ang="0">
                <a:pos x="connsiteX25451" y="connsiteY25451"/>
              </a:cxn>
              <a:cxn ang="0">
                <a:pos x="connsiteX25452" y="connsiteY25452"/>
              </a:cxn>
              <a:cxn ang="0">
                <a:pos x="connsiteX25453" y="connsiteY25453"/>
              </a:cxn>
              <a:cxn ang="0">
                <a:pos x="connsiteX25454" y="connsiteY25454"/>
              </a:cxn>
              <a:cxn ang="0">
                <a:pos x="connsiteX25455" y="connsiteY25455"/>
              </a:cxn>
              <a:cxn ang="0">
                <a:pos x="connsiteX25456" y="connsiteY25456"/>
              </a:cxn>
              <a:cxn ang="0">
                <a:pos x="connsiteX25457" y="connsiteY25457"/>
              </a:cxn>
              <a:cxn ang="0">
                <a:pos x="connsiteX25458" y="connsiteY25458"/>
              </a:cxn>
              <a:cxn ang="0">
                <a:pos x="connsiteX25459" y="connsiteY25459"/>
              </a:cxn>
              <a:cxn ang="0">
                <a:pos x="connsiteX25460" y="connsiteY25460"/>
              </a:cxn>
              <a:cxn ang="0">
                <a:pos x="connsiteX25461" y="connsiteY25461"/>
              </a:cxn>
              <a:cxn ang="0">
                <a:pos x="connsiteX25462" y="connsiteY25462"/>
              </a:cxn>
              <a:cxn ang="0">
                <a:pos x="connsiteX25463" y="connsiteY25463"/>
              </a:cxn>
              <a:cxn ang="0">
                <a:pos x="connsiteX25464" y="connsiteY25464"/>
              </a:cxn>
              <a:cxn ang="0">
                <a:pos x="connsiteX25465" y="connsiteY25465"/>
              </a:cxn>
              <a:cxn ang="0">
                <a:pos x="connsiteX25466" y="connsiteY25466"/>
              </a:cxn>
              <a:cxn ang="0">
                <a:pos x="connsiteX25467" y="connsiteY25467"/>
              </a:cxn>
              <a:cxn ang="0">
                <a:pos x="connsiteX25468" y="connsiteY25468"/>
              </a:cxn>
              <a:cxn ang="0">
                <a:pos x="connsiteX25469" y="connsiteY25469"/>
              </a:cxn>
              <a:cxn ang="0">
                <a:pos x="connsiteX25470" y="connsiteY25470"/>
              </a:cxn>
              <a:cxn ang="0">
                <a:pos x="connsiteX25471" y="connsiteY25471"/>
              </a:cxn>
              <a:cxn ang="0">
                <a:pos x="connsiteX25472" y="connsiteY25472"/>
              </a:cxn>
              <a:cxn ang="0">
                <a:pos x="connsiteX25473" y="connsiteY25473"/>
              </a:cxn>
              <a:cxn ang="0">
                <a:pos x="connsiteX25474" y="connsiteY25474"/>
              </a:cxn>
              <a:cxn ang="0">
                <a:pos x="connsiteX25475" y="connsiteY25475"/>
              </a:cxn>
              <a:cxn ang="0">
                <a:pos x="connsiteX25476" y="connsiteY25476"/>
              </a:cxn>
              <a:cxn ang="0">
                <a:pos x="connsiteX25477" y="connsiteY25477"/>
              </a:cxn>
              <a:cxn ang="0">
                <a:pos x="connsiteX25478" y="connsiteY25478"/>
              </a:cxn>
              <a:cxn ang="0">
                <a:pos x="connsiteX25479" y="connsiteY25479"/>
              </a:cxn>
              <a:cxn ang="0">
                <a:pos x="connsiteX25480" y="connsiteY25480"/>
              </a:cxn>
              <a:cxn ang="0">
                <a:pos x="connsiteX25481" y="connsiteY25481"/>
              </a:cxn>
              <a:cxn ang="0">
                <a:pos x="connsiteX25482" y="connsiteY25482"/>
              </a:cxn>
              <a:cxn ang="0">
                <a:pos x="connsiteX25483" y="connsiteY25483"/>
              </a:cxn>
              <a:cxn ang="0">
                <a:pos x="connsiteX25484" y="connsiteY25484"/>
              </a:cxn>
              <a:cxn ang="0">
                <a:pos x="connsiteX25485" y="connsiteY25485"/>
              </a:cxn>
              <a:cxn ang="0">
                <a:pos x="connsiteX25486" y="connsiteY25486"/>
              </a:cxn>
              <a:cxn ang="0">
                <a:pos x="connsiteX25487" y="connsiteY25487"/>
              </a:cxn>
              <a:cxn ang="0">
                <a:pos x="connsiteX25488" y="connsiteY25488"/>
              </a:cxn>
              <a:cxn ang="0">
                <a:pos x="connsiteX25489" y="connsiteY25489"/>
              </a:cxn>
              <a:cxn ang="0">
                <a:pos x="connsiteX25490" y="connsiteY25490"/>
              </a:cxn>
              <a:cxn ang="0">
                <a:pos x="connsiteX25491" y="connsiteY25491"/>
              </a:cxn>
              <a:cxn ang="0">
                <a:pos x="connsiteX25492" y="connsiteY25492"/>
              </a:cxn>
              <a:cxn ang="0">
                <a:pos x="connsiteX25493" y="connsiteY25493"/>
              </a:cxn>
              <a:cxn ang="0">
                <a:pos x="connsiteX25494" y="connsiteY25494"/>
              </a:cxn>
              <a:cxn ang="0">
                <a:pos x="connsiteX25495" y="connsiteY25495"/>
              </a:cxn>
              <a:cxn ang="0">
                <a:pos x="connsiteX25496" y="connsiteY25496"/>
              </a:cxn>
              <a:cxn ang="0">
                <a:pos x="connsiteX25497" y="connsiteY25497"/>
              </a:cxn>
              <a:cxn ang="0">
                <a:pos x="connsiteX25498" y="connsiteY25498"/>
              </a:cxn>
              <a:cxn ang="0">
                <a:pos x="connsiteX25499" y="connsiteY25499"/>
              </a:cxn>
              <a:cxn ang="0">
                <a:pos x="connsiteX25500" y="connsiteY25500"/>
              </a:cxn>
              <a:cxn ang="0">
                <a:pos x="connsiteX25501" y="connsiteY25501"/>
              </a:cxn>
              <a:cxn ang="0">
                <a:pos x="connsiteX25502" y="connsiteY25502"/>
              </a:cxn>
              <a:cxn ang="0">
                <a:pos x="connsiteX25503" y="connsiteY25503"/>
              </a:cxn>
              <a:cxn ang="0">
                <a:pos x="connsiteX25504" y="connsiteY25504"/>
              </a:cxn>
              <a:cxn ang="0">
                <a:pos x="connsiteX25505" y="connsiteY25505"/>
              </a:cxn>
              <a:cxn ang="0">
                <a:pos x="connsiteX25506" y="connsiteY25506"/>
              </a:cxn>
              <a:cxn ang="0">
                <a:pos x="connsiteX25507" y="connsiteY25507"/>
              </a:cxn>
              <a:cxn ang="0">
                <a:pos x="connsiteX25508" y="connsiteY25508"/>
              </a:cxn>
              <a:cxn ang="0">
                <a:pos x="connsiteX25509" y="connsiteY25509"/>
              </a:cxn>
              <a:cxn ang="0">
                <a:pos x="connsiteX25510" y="connsiteY25510"/>
              </a:cxn>
              <a:cxn ang="0">
                <a:pos x="connsiteX25511" y="connsiteY25511"/>
              </a:cxn>
              <a:cxn ang="0">
                <a:pos x="connsiteX25512" y="connsiteY25512"/>
              </a:cxn>
              <a:cxn ang="0">
                <a:pos x="connsiteX25513" y="connsiteY25513"/>
              </a:cxn>
              <a:cxn ang="0">
                <a:pos x="connsiteX25514" y="connsiteY25514"/>
              </a:cxn>
              <a:cxn ang="0">
                <a:pos x="connsiteX25515" y="connsiteY25515"/>
              </a:cxn>
              <a:cxn ang="0">
                <a:pos x="connsiteX25516" y="connsiteY25516"/>
              </a:cxn>
              <a:cxn ang="0">
                <a:pos x="connsiteX25517" y="connsiteY25517"/>
              </a:cxn>
              <a:cxn ang="0">
                <a:pos x="connsiteX25518" y="connsiteY25518"/>
              </a:cxn>
              <a:cxn ang="0">
                <a:pos x="connsiteX25519" y="connsiteY25519"/>
              </a:cxn>
              <a:cxn ang="0">
                <a:pos x="connsiteX25520" y="connsiteY25520"/>
              </a:cxn>
              <a:cxn ang="0">
                <a:pos x="connsiteX25521" y="connsiteY25521"/>
              </a:cxn>
              <a:cxn ang="0">
                <a:pos x="connsiteX25522" y="connsiteY25522"/>
              </a:cxn>
              <a:cxn ang="0">
                <a:pos x="connsiteX25523" y="connsiteY25523"/>
              </a:cxn>
              <a:cxn ang="0">
                <a:pos x="connsiteX25524" y="connsiteY25524"/>
              </a:cxn>
              <a:cxn ang="0">
                <a:pos x="connsiteX25525" y="connsiteY25525"/>
              </a:cxn>
              <a:cxn ang="0">
                <a:pos x="connsiteX25526" y="connsiteY25526"/>
              </a:cxn>
              <a:cxn ang="0">
                <a:pos x="connsiteX25527" y="connsiteY25527"/>
              </a:cxn>
              <a:cxn ang="0">
                <a:pos x="connsiteX25528" y="connsiteY25528"/>
              </a:cxn>
              <a:cxn ang="0">
                <a:pos x="connsiteX25529" y="connsiteY25529"/>
              </a:cxn>
              <a:cxn ang="0">
                <a:pos x="connsiteX25530" y="connsiteY25530"/>
              </a:cxn>
              <a:cxn ang="0">
                <a:pos x="connsiteX25531" y="connsiteY25531"/>
              </a:cxn>
              <a:cxn ang="0">
                <a:pos x="connsiteX25532" y="connsiteY25532"/>
              </a:cxn>
              <a:cxn ang="0">
                <a:pos x="connsiteX25533" y="connsiteY25533"/>
              </a:cxn>
              <a:cxn ang="0">
                <a:pos x="connsiteX25534" y="connsiteY25534"/>
              </a:cxn>
              <a:cxn ang="0">
                <a:pos x="connsiteX25535" y="connsiteY25535"/>
              </a:cxn>
              <a:cxn ang="0">
                <a:pos x="connsiteX25536" y="connsiteY25536"/>
              </a:cxn>
              <a:cxn ang="0">
                <a:pos x="connsiteX25537" y="connsiteY25537"/>
              </a:cxn>
              <a:cxn ang="0">
                <a:pos x="connsiteX25538" y="connsiteY25538"/>
              </a:cxn>
              <a:cxn ang="0">
                <a:pos x="connsiteX25539" y="connsiteY25539"/>
              </a:cxn>
              <a:cxn ang="0">
                <a:pos x="connsiteX25540" y="connsiteY25540"/>
              </a:cxn>
              <a:cxn ang="0">
                <a:pos x="connsiteX25541" y="connsiteY25541"/>
              </a:cxn>
              <a:cxn ang="0">
                <a:pos x="connsiteX25542" y="connsiteY25542"/>
              </a:cxn>
              <a:cxn ang="0">
                <a:pos x="connsiteX25543" y="connsiteY25543"/>
              </a:cxn>
              <a:cxn ang="0">
                <a:pos x="connsiteX25544" y="connsiteY25544"/>
              </a:cxn>
              <a:cxn ang="0">
                <a:pos x="connsiteX25545" y="connsiteY25545"/>
              </a:cxn>
              <a:cxn ang="0">
                <a:pos x="connsiteX25546" y="connsiteY25546"/>
              </a:cxn>
              <a:cxn ang="0">
                <a:pos x="connsiteX25547" y="connsiteY25547"/>
              </a:cxn>
              <a:cxn ang="0">
                <a:pos x="connsiteX25548" y="connsiteY25548"/>
              </a:cxn>
              <a:cxn ang="0">
                <a:pos x="connsiteX25549" y="connsiteY25549"/>
              </a:cxn>
              <a:cxn ang="0">
                <a:pos x="connsiteX25550" y="connsiteY25550"/>
              </a:cxn>
              <a:cxn ang="0">
                <a:pos x="connsiteX25551" y="connsiteY25551"/>
              </a:cxn>
              <a:cxn ang="0">
                <a:pos x="connsiteX25552" y="connsiteY25552"/>
              </a:cxn>
              <a:cxn ang="0">
                <a:pos x="connsiteX25553" y="connsiteY25553"/>
              </a:cxn>
              <a:cxn ang="0">
                <a:pos x="connsiteX25554" y="connsiteY25554"/>
              </a:cxn>
              <a:cxn ang="0">
                <a:pos x="connsiteX25555" y="connsiteY25555"/>
              </a:cxn>
              <a:cxn ang="0">
                <a:pos x="connsiteX25556" y="connsiteY25556"/>
              </a:cxn>
              <a:cxn ang="0">
                <a:pos x="connsiteX25557" y="connsiteY25557"/>
              </a:cxn>
              <a:cxn ang="0">
                <a:pos x="connsiteX25558" y="connsiteY25558"/>
              </a:cxn>
              <a:cxn ang="0">
                <a:pos x="connsiteX25559" y="connsiteY25559"/>
              </a:cxn>
              <a:cxn ang="0">
                <a:pos x="connsiteX25560" y="connsiteY25560"/>
              </a:cxn>
              <a:cxn ang="0">
                <a:pos x="connsiteX25561" y="connsiteY25561"/>
              </a:cxn>
              <a:cxn ang="0">
                <a:pos x="connsiteX25562" y="connsiteY25562"/>
              </a:cxn>
              <a:cxn ang="0">
                <a:pos x="connsiteX25563" y="connsiteY25563"/>
              </a:cxn>
              <a:cxn ang="0">
                <a:pos x="connsiteX25564" y="connsiteY25564"/>
              </a:cxn>
              <a:cxn ang="0">
                <a:pos x="connsiteX25565" y="connsiteY25565"/>
              </a:cxn>
              <a:cxn ang="0">
                <a:pos x="connsiteX25566" y="connsiteY25566"/>
              </a:cxn>
              <a:cxn ang="0">
                <a:pos x="connsiteX25567" y="connsiteY25567"/>
              </a:cxn>
              <a:cxn ang="0">
                <a:pos x="connsiteX25568" y="connsiteY25568"/>
              </a:cxn>
              <a:cxn ang="0">
                <a:pos x="connsiteX25569" y="connsiteY25569"/>
              </a:cxn>
              <a:cxn ang="0">
                <a:pos x="connsiteX25570" y="connsiteY25570"/>
              </a:cxn>
              <a:cxn ang="0">
                <a:pos x="connsiteX25571" y="connsiteY25571"/>
              </a:cxn>
              <a:cxn ang="0">
                <a:pos x="connsiteX25572" y="connsiteY25572"/>
              </a:cxn>
              <a:cxn ang="0">
                <a:pos x="connsiteX25573" y="connsiteY25573"/>
              </a:cxn>
              <a:cxn ang="0">
                <a:pos x="connsiteX25574" y="connsiteY25574"/>
              </a:cxn>
              <a:cxn ang="0">
                <a:pos x="connsiteX25575" y="connsiteY25575"/>
              </a:cxn>
              <a:cxn ang="0">
                <a:pos x="connsiteX25576" y="connsiteY25576"/>
              </a:cxn>
              <a:cxn ang="0">
                <a:pos x="connsiteX25577" y="connsiteY25577"/>
              </a:cxn>
              <a:cxn ang="0">
                <a:pos x="connsiteX25578" y="connsiteY25578"/>
              </a:cxn>
              <a:cxn ang="0">
                <a:pos x="connsiteX25579" y="connsiteY25579"/>
              </a:cxn>
              <a:cxn ang="0">
                <a:pos x="connsiteX25580" y="connsiteY25580"/>
              </a:cxn>
              <a:cxn ang="0">
                <a:pos x="connsiteX25581" y="connsiteY25581"/>
              </a:cxn>
              <a:cxn ang="0">
                <a:pos x="connsiteX25582" y="connsiteY25582"/>
              </a:cxn>
              <a:cxn ang="0">
                <a:pos x="connsiteX25583" y="connsiteY25583"/>
              </a:cxn>
              <a:cxn ang="0">
                <a:pos x="connsiteX25584" y="connsiteY25584"/>
              </a:cxn>
              <a:cxn ang="0">
                <a:pos x="connsiteX25585" y="connsiteY25585"/>
              </a:cxn>
              <a:cxn ang="0">
                <a:pos x="connsiteX25586" y="connsiteY25586"/>
              </a:cxn>
              <a:cxn ang="0">
                <a:pos x="connsiteX25587" y="connsiteY25587"/>
              </a:cxn>
              <a:cxn ang="0">
                <a:pos x="connsiteX25588" y="connsiteY25588"/>
              </a:cxn>
              <a:cxn ang="0">
                <a:pos x="connsiteX25589" y="connsiteY25589"/>
              </a:cxn>
              <a:cxn ang="0">
                <a:pos x="connsiteX25590" y="connsiteY25590"/>
              </a:cxn>
              <a:cxn ang="0">
                <a:pos x="connsiteX25591" y="connsiteY25591"/>
              </a:cxn>
              <a:cxn ang="0">
                <a:pos x="connsiteX25592" y="connsiteY25592"/>
              </a:cxn>
              <a:cxn ang="0">
                <a:pos x="connsiteX25593" y="connsiteY25593"/>
              </a:cxn>
              <a:cxn ang="0">
                <a:pos x="connsiteX25594" y="connsiteY25594"/>
              </a:cxn>
              <a:cxn ang="0">
                <a:pos x="connsiteX25595" y="connsiteY25595"/>
              </a:cxn>
              <a:cxn ang="0">
                <a:pos x="connsiteX25596" y="connsiteY25596"/>
              </a:cxn>
              <a:cxn ang="0">
                <a:pos x="connsiteX25597" y="connsiteY25597"/>
              </a:cxn>
              <a:cxn ang="0">
                <a:pos x="connsiteX25598" y="connsiteY25598"/>
              </a:cxn>
              <a:cxn ang="0">
                <a:pos x="connsiteX25599" y="connsiteY25599"/>
              </a:cxn>
              <a:cxn ang="0">
                <a:pos x="connsiteX25600" y="connsiteY25600"/>
              </a:cxn>
              <a:cxn ang="0">
                <a:pos x="connsiteX25601" y="connsiteY25601"/>
              </a:cxn>
              <a:cxn ang="0">
                <a:pos x="connsiteX25602" y="connsiteY25602"/>
              </a:cxn>
              <a:cxn ang="0">
                <a:pos x="connsiteX25603" y="connsiteY25603"/>
              </a:cxn>
              <a:cxn ang="0">
                <a:pos x="connsiteX25604" y="connsiteY25604"/>
              </a:cxn>
              <a:cxn ang="0">
                <a:pos x="connsiteX25605" y="connsiteY25605"/>
              </a:cxn>
              <a:cxn ang="0">
                <a:pos x="connsiteX25606" y="connsiteY25606"/>
              </a:cxn>
              <a:cxn ang="0">
                <a:pos x="connsiteX25607" y="connsiteY25607"/>
              </a:cxn>
              <a:cxn ang="0">
                <a:pos x="connsiteX25608" y="connsiteY25608"/>
              </a:cxn>
              <a:cxn ang="0">
                <a:pos x="connsiteX25609" y="connsiteY25609"/>
              </a:cxn>
              <a:cxn ang="0">
                <a:pos x="connsiteX25610" y="connsiteY25610"/>
              </a:cxn>
              <a:cxn ang="0">
                <a:pos x="connsiteX25611" y="connsiteY25611"/>
              </a:cxn>
              <a:cxn ang="0">
                <a:pos x="connsiteX25612" y="connsiteY25612"/>
              </a:cxn>
              <a:cxn ang="0">
                <a:pos x="connsiteX25613" y="connsiteY25613"/>
              </a:cxn>
              <a:cxn ang="0">
                <a:pos x="connsiteX25614" y="connsiteY25614"/>
              </a:cxn>
              <a:cxn ang="0">
                <a:pos x="connsiteX25615" y="connsiteY25615"/>
              </a:cxn>
              <a:cxn ang="0">
                <a:pos x="connsiteX25616" y="connsiteY25616"/>
              </a:cxn>
              <a:cxn ang="0">
                <a:pos x="connsiteX25617" y="connsiteY25617"/>
              </a:cxn>
              <a:cxn ang="0">
                <a:pos x="connsiteX25618" y="connsiteY25618"/>
              </a:cxn>
              <a:cxn ang="0">
                <a:pos x="connsiteX25619" y="connsiteY25619"/>
              </a:cxn>
              <a:cxn ang="0">
                <a:pos x="connsiteX25620" y="connsiteY25620"/>
              </a:cxn>
              <a:cxn ang="0">
                <a:pos x="connsiteX25621" y="connsiteY25621"/>
              </a:cxn>
              <a:cxn ang="0">
                <a:pos x="connsiteX25622" y="connsiteY25622"/>
              </a:cxn>
              <a:cxn ang="0">
                <a:pos x="connsiteX25623" y="connsiteY25623"/>
              </a:cxn>
              <a:cxn ang="0">
                <a:pos x="connsiteX25624" y="connsiteY25624"/>
              </a:cxn>
              <a:cxn ang="0">
                <a:pos x="connsiteX25625" y="connsiteY25625"/>
              </a:cxn>
              <a:cxn ang="0">
                <a:pos x="connsiteX25626" y="connsiteY25626"/>
              </a:cxn>
              <a:cxn ang="0">
                <a:pos x="connsiteX25627" y="connsiteY25627"/>
              </a:cxn>
              <a:cxn ang="0">
                <a:pos x="connsiteX25628" y="connsiteY25628"/>
              </a:cxn>
              <a:cxn ang="0">
                <a:pos x="connsiteX25629" y="connsiteY25629"/>
              </a:cxn>
              <a:cxn ang="0">
                <a:pos x="connsiteX25630" y="connsiteY25630"/>
              </a:cxn>
              <a:cxn ang="0">
                <a:pos x="connsiteX25631" y="connsiteY25631"/>
              </a:cxn>
              <a:cxn ang="0">
                <a:pos x="connsiteX25632" y="connsiteY25632"/>
              </a:cxn>
              <a:cxn ang="0">
                <a:pos x="connsiteX25633" y="connsiteY25633"/>
              </a:cxn>
              <a:cxn ang="0">
                <a:pos x="connsiteX25634" y="connsiteY25634"/>
              </a:cxn>
              <a:cxn ang="0">
                <a:pos x="connsiteX25635" y="connsiteY25635"/>
              </a:cxn>
              <a:cxn ang="0">
                <a:pos x="connsiteX25636" y="connsiteY25636"/>
              </a:cxn>
              <a:cxn ang="0">
                <a:pos x="connsiteX25637" y="connsiteY25637"/>
              </a:cxn>
              <a:cxn ang="0">
                <a:pos x="connsiteX25638" y="connsiteY25638"/>
              </a:cxn>
              <a:cxn ang="0">
                <a:pos x="connsiteX25639" y="connsiteY25639"/>
              </a:cxn>
              <a:cxn ang="0">
                <a:pos x="connsiteX25640" y="connsiteY25640"/>
              </a:cxn>
              <a:cxn ang="0">
                <a:pos x="connsiteX25641" y="connsiteY25641"/>
              </a:cxn>
              <a:cxn ang="0">
                <a:pos x="connsiteX25642" y="connsiteY25642"/>
              </a:cxn>
              <a:cxn ang="0">
                <a:pos x="connsiteX25643" y="connsiteY25643"/>
              </a:cxn>
              <a:cxn ang="0">
                <a:pos x="connsiteX25644" y="connsiteY25644"/>
              </a:cxn>
              <a:cxn ang="0">
                <a:pos x="connsiteX25645" y="connsiteY25645"/>
              </a:cxn>
              <a:cxn ang="0">
                <a:pos x="connsiteX25646" y="connsiteY25646"/>
              </a:cxn>
              <a:cxn ang="0">
                <a:pos x="connsiteX25647" y="connsiteY25647"/>
              </a:cxn>
              <a:cxn ang="0">
                <a:pos x="connsiteX25648" y="connsiteY25648"/>
              </a:cxn>
              <a:cxn ang="0">
                <a:pos x="connsiteX25649" y="connsiteY25649"/>
              </a:cxn>
              <a:cxn ang="0">
                <a:pos x="connsiteX25650" y="connsiteY25650"/>
              </a:cxn>
              <a:cxn ang="0">
                <a:pos x="connsiteX25651" y="connsiteY25651"/>
              </a:cxn>
              <a:cxn ang="0">
                <a:pos x="connsiteX25652" y="connsiteY25652"/>
              </a:cxn>
              <a:cxn ang="0">
                <a:pos x="connsiteX25653" y="connsiteY25653"/>
              </a:cxn>
              <a:cxn ang="0">
                <a:pos x="connsiteX25654" y="connsiteY25654"/>
              </a:cxn>
              <a:cxn ang="0">
                <a:pos x="connsiteX25655" y="connsiteY25655"/>
              </a:cxn>
              <a:cxn ang="0">
                <a:pos x="connsiteX25656" y="connsiteY25656"/>
              </a:cxn>
              <a:cxn ang="0">
                <a:pos x="connsiteX25657" y="connsiteY25657"/>
              </a:cxn>
              <a:cxn ang="0">
                <a:pos x="connsiteX25658" y="connsiteY25658"/>
              </a:cxn>
              <a:cxn ang="0">
                <a:pos x="connsiteX25659" y="connsiteY25659"/>
              </a:cxn>
              <a:cxn ang="0">
                <a:pos x="connsiteX25660" y="connsiteY25660"/>
              </a:cxn>
              <a:cxn ang="0">
                <a:pos x="connsiteX25661" y="connsiteY25661"/>
              </a:cxn>
              <a:cxn ang="0">
                <a:pos x="connsiteX25662" y="connsiteY25662"/>
              </a:cxn>
              <a:cxn ang="0">
                <a:pos x="connsiteX25663" y="connsiteY25663"/>
              </a:cxn>
              <a:cxn ang="0">
                <a:pos x="connsiteX25664" y="connsiteY25664"/>
              </a:cxn>
              <a:cxn ang="0">
                <a:pos x="connsiteX25665" y="connsiteY25665"/>
              </a:cxn>
              <a:cxn ang="0">
                <a:pos x="connsiteX25666" y="connsiteY25666"/>
              </a:cxn>
              <a:cxn ang="0">
                <a:pos x="connsiteX25667" y="connsiteY25667"/>
              </a:cxn>
              <a:cxn ang="0">
                <a:pos x="connsiteX25668" y="connsiteY25668"/>
              </a:cxn>
              <a:cxn ang="0">
                <a:pos x="connsiteX25669" y="connsiteY25669"/>
              </a:cxn>
              <a:cxn ang="0">
                <a:pos x="connsiteX25670" y="connsiteY25670"/>
              </a:cxn>
              <a:cxn ang="0">
                <a:pos x="connsiteX25671" y="connsiteY25671"/>
              </a:cxn>
              <a:cxn ang="0">
                <a:pos x="connsiteX25672" y="connsiteY25672"/>
              </a:cxn>
              <a:cxn ang="0">
                <a:pos x="connsiteX25673" y="connsiteY25673"/>
              </a:cxn>
              <a:cxn ang="0">
                <a:pos x="connsiteX25674" y="connsiteY25674"/>
              </a:cxn>
              <a:cxn ang="0">
                <a:pos x="connsiteX25675" y="connsiteY25675"/>
              </a:cxn>
              <a:cxn ang="0">
                <a:pos x="connsiteX25676" y="connsiteY25676"/>
              </a:cxn>
              <a:cxn ang="0">
                <a:pos x="connsiteX25677" y="connsiteY25677"/>
              </a:cxn>
              <a:cxn ang="0">
                <a:pos x="connsiteX25678" y="connsiteY25678"/>
              </a:cxn>
              <a:cxn ang="0">
                <a:pos x="connsiteX25679" y="connsiteY25679"/>
              </a:cxn>
              <a:cxn ang="0">
                <a:pos x="connsiteX25680" y="connsiteY25680"/>
              </a:cxn>
              <a:cxn ang="0">
                <a:pos x="connsiteX25681" y="connsiteY25681"/>
              </a:cxn>
              <a:cxn ang="0">
                <a:pos x="connsiteX25682" y="connsiteY25682"/>
              </a:cxn>
              <a:cxn ang="0">
                <a:pos x="connsiteX25683" y="connsiteY25683"/>
              </a:cxn>
              <a:cxn ang="0">
                <a:pos x="connsiteX25684" y="connsiteY25684"/>
              </a:cxn>
              <a:cxn ang="0">
                <a:pos x="connsiteX25685" y="connsiteY25685"/>
              </a:cxn>
              <a:cxn ang="0">
                <a:pos x="connsiteX25686" y="connsiteY25686"/>
              </a:cxn>
              <a:cxn ang="0">
                <a:pos x="connsiteX25687" y="connsiteY25687"/>
              </a:cxn>
              <a:cxn ang="0">
                <a:pos x="connsiteX25688" y="connsiteY25688"/>
              </a:cxn>
              <a:cxn ang="0">
                <a:pos x="connsiteX25689" y="connsiteY25689"/>
              </a:cxn>
              <a:cxn ang="0">
                <a:pos x="connsiteX25690" y="connsiteY25690"/>
              </a:cxn>
              <a:cxn ang="0">
                <a:pos x="connsiteX25691" y="connsiteY25691"/>
              </a:cxn>
              <a:cxn ang="0">
                <a:pos x="connsiteX25692" y="connsiteY25692"/>
              </a:cxn>
              <a:cxn ang="0">
                <a:pos x="connsiteX25693" y="connsiteY25693"/>
              </a:cxn>
              <a:cxn ang="0">
                <a:pos x="connsiteX25694" y="connsiteY25694"/>
              </a:cxn>
              <a:cxn ang="0">
                <a:pos x="connsiteX25695" y="connsiteY25695"/>
              </a:cxn>
              <a:cxn ang="0">
                <a:pos x="connsiteX25696" y="connsiteY25696"/>
              </a:cxn>
              <a:cxn ang="0">
                <a:pos x="connsiteX25697" y="connsiteY25697"/>
              </a:cxn>
              <a:cxn ang="0">
                <a:pos x="connsiteX25698" y="connsiteY25698"/>
              </a:cxn>
              <a:cxn ang="0">
                <a:pos x="connsiteX25699" y="connsiteY25699"/>
              </a:cxn>
              <a:cxn ang="0">
                <a:pos x="connsiteX25700" y="connsiteY25700"/>
              </a:cxn>
              <a:cxn ang="0">
                <a:pos x="connsiteX25701" y="connsiteY25701"/>
              </a:cxn>
              <a:cxn ang="0">
                <a:pos x="connsiteX25702" y="connsiteY25702"/>
              </a:cxn>
              <a:cxn ang="0">
                <a:pos x="connsiteX25703" y="connsiteY25703"/>
              </a:cxn>
              <a:cxn ang="0">
                <a:pos x="connsiteX25704" y="connsiteY25704"/>
              </a:cxn>
              <a:cxn ang="0">
                <a:pos x="connsiteX25705" y="connsiteY25705"/>
              </a:cxn>
              <a:cxn ang="0">
                <a:pos x="connsiteX25706" y="connsiteY25706"/>
              </a:cxn>
              <a:cxn ang="0">
                <a:pos x="connsiteX25707" y="connsiteY25707"/>
              </a:cxn>
              <a:cxn ang="0">
                <a:pos x="connsiteX25708" y="connsiteY25708"/>
              </a:cxn>
              <a:cxn ang="0">
                <a:pos x="connsiteX25709" y="connsiteY25709"/>
              </a:cxn>
              <a:cxn ang="0">
                <a:pos x="connsiteX25710" y="connsiteY25710"/>
              </a:cxn>
              <a:cxn ang="0">
                <a:pos x="connsiteX25711" y="connsiteY25711"/>
              </a:cxn>
              <a:cxn ang="0">
                <a:pos x="connsiteX25712" y="connsiteY25712"/>
              </a:cxn>
              <a:cxn ang="0">
                <a:pos x="connsiteX25713" y="connsiteY25713"/>
              </a:cxn>
              <a:cxn ang="0">
                <a:pos x="connsiteX25714" y="connsiteY25714"/>
              </a:cxn>
              <a:cxn ang="0">
                <a:pos x="connsiteX25715" y="connsiteY25715"/>
              </a:cxn>
              <a:cxn ang="0">
                <a:pos x="connsiteX25716" y="connsiteY25716"/>
              </a:cxn>
              <a:cxn ang="0">
                <a:pos x="connsiteX25717" y="connsiteY25717"/>
              </a:cxn>
              <a:cxn ang="0">
                <a:pos x="connsiteX25718" y="connsiteY25718"/>
              </a:cxn>
              <a:cxn ang="0">
                <a:pos x="connsiteX25719" y="connsiteY25719"/>
              </a:cxn>
              <a:cxn ang="0">
                <a:pos x="connsiteX25720" y="connsiteY25720"/>
              </a:cxn>
              <a:cxn ang="0">
                <a:pos x="connsiteX25721" y="connsiteY25721"/>
              </a:cxn>
              <a:cxn ang="0">
                <a:pos x="connsiteX25722" y="connsiteY25722"/>
              </a:cxn>
              <a:cxn ang="0">
                <a:pos x="connsiteX25723" y="connsiteY25723"/>
              </a:cxn>
              <a:cxn ang="0">
                <a:pos x="connsiteX25724" y="connsiteY25724"/>
              </a:cxn>
              <a:cxn ang="0">
                <a:pos x="connsiteX25725" y="connsiteY25725"/>
              </a:cxn>
              <a:cxn ang="0">
                <a:pos x="connsiteX25726" y="connsiteY25726"/>
              </a:cxn>
              <a:cxn ang="0">
                <a:pos x="connsiteX25727" y="connsiteY25727"/>
              </a:cxn>
              <a:cxn ang="0">
                <a:pos x="connsiteX25728" y="connsiteY25728"/>
              </a:cxn>
              <a:cxn ang="0">
                <a:pos x="connsiteX25729" y="connsiteY25729"/>
              </a:cxn>
              <a:cxn ang="0">
                <a:pos x="connsiteX25730" y="connsiteY25730"/>
              </a:cxn>
              <a:cxn ang="0">
                <a:pos x="connsiteX25731" y="connsiteY25731"/>
              </a:cxn>
              <a:cxn ang="0">
                <a:pos x="connsiteX25732" y="connsiteY25732"/>
              </a:cxn>
              <a:cxn ang="0">
                <a:pos x="connsiteX25733" y="connsiteY25733"/>
              </a:cxn>
              <a:cxn ang="0">
                <a:pos x="connsiteX25734" y="connsiteY25734"/>
              </a:cxn>
              <a:cxn ang="0">
                <a:pos x="connsiteX25735" y="connsiteY25735"/>
              </a:cxn>
              <a:cxn ang="0">
                <a:pos x="connsiteX25736" y="connsiteY25736"/>
              </a:cxn>
              <a:cxn ang="0">
                <a:pos x="connsiteX25737" y="connsiteY25737"/>
              </a:cxn>
              <a:cxn ang="0">
                <a:pos x="connsiteX25738" y="connsiteY25738"/>
              </a:cxn>
              <a:cxn ang="0">
                <a:pos x="connsiteX25739" y="connsiteY25739"/>
              </a:cxn>
              <a:cxn ang="0">
                <a:pos x="connsiteX25740" y="connsiteY25740"/>
              </a:cxn>
              <a:cxn ang="0">
                <a:pos x="connsiteX25741" y="connsiteY25741"/>
              </a:cxn>
              <a:cxn ang="0">
                <a:pos x="connsiteX25742" y="connsiteY25742"/>
              </a:cxn>
              <a:cxn ang="0">
                <a:pos x="connsiteX25743" y="connsiteY25743"/>
              </a:cxn>
              <a:cxn ang="0">
                <a:pos x="connsiteX25744" y="connsiteY25744"/>
              </a:cxn>
              <a:cxn ang="0">
                <a:pos x="connsiteX25745" y="connsiteY25745"/>
              </a:cxn>
              <a:cxn ang="0">
                <a:pos x="connsiteX25746" y="connsiteY25746"/>
              </a:cxn>
              <a:cxn ang="0">
                <a:pos x="connsiteX25747" y="connsiteY25747"/>
              </a:cxn>
              <a:cxn ang="0">
                <a:pos x="connsiteX25748" y="connsiteY25748"/>
              </a:cxn>
              <a:cxn ang="0">
                <a:pos x="connsiteX25749" y="connsiteY25749"/>
              </a:cxn>
              <a:cxn ang="0">
                <a:pos x="connsiteX25750" y="connsiteY25750"/>
              </a:cxn>
              <a:cxn ang="0">
                <a:pos x="connsiteX25751" y="connsiteY25751"/>
              </a:cxn>
              <a:cxn ang="0">
                <a:pos x="connsiteX25752" y="connsiteY25752"/>
              </a:cxn>
              <a:cxn ang="0">
                <a:pos x="connsiteX25753" y="connsiteY25753"/>
              </a:cxn>
              <a:cxn ang="0">
                <a:pos x="connsiteX25754" y="connsiteY25754"/>
              </a:cxn>
              <a:cxn ang="0">
                <a:pos x="connsiteX25755" y="connsiteY25755"/>
              </a:cxn>
              <a:cxn ang="0">
                <a:pos x="connsiteX25756" y="connsiteY25756"/>
              </a:cxn>
              <a:cxn ang="0">
                <a:pos x="connsiteX25757" y="connsiteY25757"/>
              </a:cxn>
              <a:cxn ang="0">
                <a:pos x="connsiteX25758" y="connsiteY25758"/>
              </a:cxn>
              <a:cxn ang="0">
                <a:pos x="connsiteX25759" y="connsiteY25759"/>
              </a:cxn>
              <a:cxn ang="0">
                <a:pos x="connsiteX25760" y="connsiteY25760"/>
              </a:cxn>
              <a:cxn ang="0">
                <a:pos x="connsiteX25761" y="connsiteY25761"/>
              </a:cxn>
              <a:cxn ang="0">
                <a:pos x="connsiteX25762" y="connsiteY25762"/>
              </a:cxn>
              <a:cxn ang="0">
                <a:pos x="connsiteX25763" y="connsiteY25763"/>
              </a:cxn>
              <a:cxn ang="0">
                <a:pos x="connsiteX25764" y="connsiteY25764"/>
              </a:cxn>
              <a:cxn ang="0">
                <a:pos x="connsiteX25765" y="connsiteY25765"/>
              </a:cxn>
              <a:cxn ang="0">
                <a:pos x="connsiteX25766" y="connsiteY25766"/>
              </a:cxn>
              <a:cxn ang="0">
                <a:pos x="connsiteX25767" y="connsiteY25767"/>
              </a:cxn>
              <a:cxn ang="0">
                <a:pos x="connsiteX25768" y="connsiteY25768"/>
              </a:cxn>
              <a:cxn ang="0">
                <a:pos x="connsiteX25769" y="connsiteY25769"/>
              </a:cxn>
              <a:cxn ang="0">
                <a:pos x="connsiteX25770" y="connsiteY25770"/>
              </a:cxn>
              <a:cxn ang="0">
                <a:pos x="connsiteX25771" y="connsiteY25771"/>
              </a:cxn>
              <a:cxn ang="0">
                <a:pos x="connsiteX25772" y="connsiteY25772"/>
              </a:cxn>
              <a:cxn ang="0">
                <a:pos x="connsiteX25773" y="connsiteY25773"/>
              </a:cxn>
              <a:cxn ang="0">
                <a:pos x="connsiteX25774" y="connsiteY25774"/>
              </a:cxn>
              <a:cxn ang="0">
                <a:pos x="connsiteX25775" y="connsiteY25775"/>
              </a:cxn>
              <a:cxn ang="0">
                <a:pos x="connsiteX25776" y="connsiteY25776"/>
              </a:cxn>
              <a:cxn ang="0">
                <a:pos x="connsiteX25777" y="connsiteY25777"/>
              </a:cxn>
              <a:cxn ang="0">
                <a:pos x="connsiteX25778" y="connsiteY25778"/>
              </a:cxn>
              <a:cxn ang="0">
                <a:pos x="connsiteX25779" y="connsiteY25779"/>
              </a:cxn>
              <a:cxn ang="0">
                <a:pos x="connsiteX25780" y="connsiteY25780"/>
              </a:cxn>
              <a:cxn ang="0">
                <a:pos x="connsiteX25781" y="connsiteY25781"/>
              </a:cxn>
              <a:cxn ang="0">
                <a:pos x="connsiteX25782" y="connsiteY25782"/>
              </a:cxn>
              <a:cxn ang="0">
                <a:pos x="connsiteX25783" y="connsiteY25783"/>
              </a:cxn>
              <a:cxn ang="0">
                <a:pos x="connsiteX25784" y="connsiteY25784"/>
              </a:cxn>
              <a:cxn ang="0">
                <a:pos x="connsiteX25785" y="connsiteY25785"/>
              </a:cxn>
              <a:cxn ang="0">
                <a:pos x="connsiteX25786" y="connsiteY25786"/>
              </a:cxn>
              <a:cxn ang="0">
                <a:pos x="connsiteX25787" y="connsiteY25787"/>
              </a:cxn>
              <a:cxn ang="0">
                <a:pos x="connsiteX25788" y="connsiteY25788"/>
              </a:cxn>
              <a:cxn ang="0">
                <a:pos x="connsiteX25789" y="connsiteY25789"/>
              </a:cxn>
              <a:cxn ang="0">
                <a:pos x="connsiteX25790" y="connsiteY25790"/>
              </a:cxn>
              <a:cxn ang="0">
                <a:pos x="connsiteX25791" y="connsiteY25791"/>
              </a:cxn>
              <a:cxn ang="0">
                <a:pos x="connsiteX25792" y="connsiteY25792"/>
              </a:cxn>
              <a:cxn ang="0">
                <a:pos x="connsiteX25793" y="connsiteY25793"/>
              </a:cxn>
              <a:cxn ang="0">
                <a:pos x="connsiteX25794" y="connsiteY25794"/>
              </a:cxn>
              <a:cxn ang="0">
                <a:pos x="connsiteX25795" y="connsiteY25795"/>
              </a:cxn>
              <a:cxn ang="0">
                <a:pos x="connsiteX25796" y="connsiteY25796"/>
              </a:cxn>
              <a:cxn ang="0">
                <a:pos x="connsiteX25797" y="connsiteY25797"/>
              </a:cxn>
              <a:cxn ang="0">
                <a:pos x="connsiteX25798" y="connsiteY25798"/>
              </a:cxn>
              <a:cxn ang="0">
                <a:pos x="connsiteX25799" y="connsiteY25799"/>
              </a:cxn>
              <a:cxn ang="0">
                <a:pos x="connsiteX25800" y="connsiteY25800"/>
              </a:cxn>
              <a:cxn ang="0">
                <a:pos x="connsiteX25801" y="connsiteY25801"/>
              </a:cxn>
              <a:cxn ang="0">
                <a:pos x="connsiteX25802" y="connsiteY25802"/>
              </a:cxn>
              <a:cxn ang="0">
                <a:pos x="connsiteX25803" y="connsiteY25803"/>
              </a:cxn>
              <a:cxn ang="0">
                <a:pos x="connsiteX25804" y="connsiteY25804"/>
              </a:cxn>
              <a:cxn ang="0">
                <a:pos x="connsiteX25805" y="connsiteY25805"/>
              </a:cxn>
              <a:cxn ang="0">
                <a:pos x="connsiteX25806" y="connsiteY25806"/>
              </a:cxn>
              <a:cxn ang="0">
                <a:pos x="connsiteX25807" y="connsiteY25807"/>
              </a:cxn>
              <a:cxn ang="0">
                <a:pos x="connsiteX25808" y="connsiteY25808"/>
              </a:cxn>
              <a:cxn ang="0">
                <a:pos x="connsiteX25809" y="connsiteY25809"/>
              </a:cxn>
              <a:cxn ang="0">
                <a:pos x="connsiteX25810" y="connsiteY25810"/>
              </a:cxn>
              <a:cxn ang="0">
                <a:pos x="connsiteX25811" y="connsiteY25811"/>
              </a:cxn>
              <a:cxn ang="0">
                <a:pos x="connsiteX25812" y="connsiteY25812"/>
              </a:cxn>
              <a:cxn ang="0">
                <a:pos x="connsiteX25813" y="connsiteY25813"/>
              </a:cxn>
              <a:cxn ang="0">
                <a:pos x="connsiteX25814" y="connsiteY25814"/>
              </a:cxn>
              <a:cxn ang="0">
                <a:pos x="connsiteX25815" y="connsiteY25815"/>
              </a:cxn>
              <a:cxn ang="0">
                <a:pos x="connsiteX25816" y="connsiteY25816"/>
              </a:cxn>
              <a:cxn ang="0">
                <a:pos x="connsiteX25817" y="connsiteY25817"/>
              </a:cxn>
              <a:cxn ang="0">
                <a:pos x="connsiteX25818" y="connsiteY25818"/>
              </a:cxn>
              <a:cxn ang="0">
                <a:pos x="connsiteX25819" y="connsiteY25819"/>
              </a:cxn>
              <a:cxn ang="0">
                <a:pos x="connsiteX25820" y="connsiteY25820"/>
              </a:cxn>
              <a:cxn ang="0">
                <a:pos x="connsiteX25821" y="connsiteY25821"/>
              </a:cxn>
              <a:cxn ang="0">
                <a:pos x="connsiteX25822" y="connsiteY25822"/>
              </a:cxn>
              <a:cxn ang="0">
                <a:pos x="connsiteX25823" y="connsiteY25823"/>
              </a:cxn>
              <a:cxn ang="0">
                <a:pos x="connsiteX25824" y="connsiteY25824"/>
              </a:cxn>
              <a:cxn ang="0">
                <a:pos x="connsiteX25825" y="connsiteY25825"/>
              </a:cxn>
              <a:cxn ang="0">
                <a:pos x="connsiteX25826" y="connsiteY25826"/>
              </a:cxn>
              <a:cxn ang="0">
                <a:pos x="connsiteX25827" y="connsiteY25827"/>
              </a:cxn>
              <a:cxn ang="0">
                <a:pos x="connsiteX25828" y="connsiteY25828"/>
              </a:cxn>
              <a:cxn ang="0">
                <a:pos x="connsiteX25829" y="connsiteY25829"/>
              </a:cxn>
              <a:cxn ang="0">
                <a:pos x="connsiteX25830" y="connsiteY25830"/>
              </a:cxn>
              <a:cxn ang="0">
                <a:pos x="connsiteX25831" y="connsiteY25831"/>
              </a:cxn>
              <a:cxn ang="0">
                <a:pos x="connsiteX25832" y="connsiteY25832"/>
              </a:cxn>
              <a:cxn ang="0">
                <a:pos x="connsiteX25833" y="connsiteY25833"/>
              </a:cxn>
              <a:cxn ang="0">
                <a:pos x="connsiteX25834" y="connsiteY25834"/>
              </a:cxn>
              <a:cxn ang="0">
                <a:pos x="connsiteX25835" y="connsiteY25835"/>
              </a:cxn>
              <a:cxn ang="0">
                <a:pos x="connsiteX25836" y="connsiteY25836"/>
              </a:cxn>
              <a:cxn ang="0">
                <a:pos x="connsiteX25837" y="connsiteY25837"/>
              </a:cxn>
              <a:cxn ang="0">
                <a:pos x="connsiteX25838" y="connsiteY25838"/>
              </a:cxn>
              <a:cxn ang="0">
                <a:pos x="connsiteX25839" y="connsiteY25839"/>
              </a:cxn>
              <a:cxn ang="0">
                <a:pos x="connsiteX25840" y="connsiteY25840"/>
              </a:cxn>
              <a:cxn ang="0">
                <a:pos x="connsiteX25841" y="connsiteY25841"/>
              </a:cxn>
              <a:cxn ang="0">
                <a:pos x="connsiteX25842" y="connsiteY25842"/>
              </a:cxn>
              <a:cxn ang="0">
                <a:pos x="connsiteX25843" y="connsiteY25843"/>
              </a:cxn>
              <a:cxn ang="0">
                <a:pos x="connsiteX25844" y="connsiteY25844"/>
              </a:cxn>
              <a:cxn ang="0">
                <a:pos x="connsiteX25845" y="connsiteY25845"/>
              </a:cxn>
              <a:cxn ang="0">
                <a:pos x="connsiteX25846" y="connsiteY25846"/>
              </a:cxn>
              <a:cxn ang="0">
                <a:pos x="connsiteX25847" y="connsiteY25847"/>
              </a:cxn>
              <a:cxn ang="0">
                <a:pos x="connsiteX25848" y="connsiteY25848"/>
              </a:cxn>
              <a:cxn ang="0">
                <a:pos x="connsiteX25849" y="connsiteY25849"/>
              </a:cxn>
              <a:cxn ang="0">
                <a:pos x="connsiteX25850" y="connsiteY25850"/>
              </a:cxn>
              <a:cxn ang="0">
                <a:pos x="connsiteX25851" y="connsiteY25851"/>
              </a:cxn>
              <a:cxn ang="0">
                <a:pos x="connsiteX25852" y="connsiteY25852"/>
              </a:cxn>
              <a:cxn ang="0">
                <a:pos x="connsiteX25853" y="connsiteY25853"/>
              </a:cxn>
              <a:cxn ang="0">
                <a:pos x="connsiteX25854" y="connsiteY25854"/>
              </a:cxn>
              <a:cxn ang="0">
                <a:pos x="connsiteX25855" y="connsiteY25855"/>
              </a:cxn>
              <a:cxn ang="0">
                <a:pos x="connsiteX25856" y="connsiteY25856"/>
              </a:cxn>
              <a:cxn ang="0">
                <a:pos x="connsiteX25857" y="connsiteY25857"/>
              </a:cxn>
              <a:cxn ang="0">
                <a:pos x="connsiteX25858" y="connsiteY25858"/>
              </a:cxn>
              <a:cxn ang="0">
                <a:pos x="connsiteX25859" y="connsiteY25859"/>
              </a:cxn>
              <a:cxn ang="0">
                <a:pos x="connsiteX25860" y="connsiteY25860"/>
              </a:cxn>
              <a:cxn ang="0">
                <a:pos x="connsiteX25861" y="connsiteY25861"/>
              </a:cxn>
              <a:cxn ang="0">
                <a:pos x="connsiteX25862" y="connsiteY25862"/>
              </a:cxn>
              <a:cxn ang="0">
                <a:pos x="connsiteX25863" y="connsiteY25863"/>
              </a:cxn>
              <a:cxn ang="0">
                <a:pos x="connsiteX25864" y="connsiteY25864"/>
              </a:cxn>
              <a:cxn ang="0">
                <a:pos x="connsiteX25865" y="connsiteY25865"/>
              </a:cxn>
              <a:cxn ang="0">
                <a:pos x="connsiteX25866" y="connsiteY25866"/>
              </a:cxn>
              <a:cxn ang="0">
                <a:pos x="connsiteX25867" y="connsiteY25867"/>
              </a:cxn>
              <a:cxn ang="0">
                <a:pos x="connsiteX25868" y="connsiteY25868"/>
              </a:cxn>
              <a:cxn ang="0">
                <a:pos x="connsiteX25869" y="connsiteY25869"/>
              </a:cxn>
              <a:cxn ang="0">
                <a:pos x="connsiteX25870" y="connsiteY25870"/>
              </a:cxn>
              <a:cxn ang="0">
                <a:pos x="connsiteX25871" y="connsiteY25871"/>
              </a:cxn>
              <a:cxn ang="0">
                <a:pos x="connsiteX25872" y="connsiteY25872"/>
              </a:cxn>
              <a:cxn ang="0">
                <a:pos x="connsiteX25873" y="connsiteY25873"/>
              </a:cxn>
              <a:cxn ang="0">
                <a:pos x="connsiteX25874" y="connsiteY25874"/>
              </a:cxn>
              <a:cxn ang="0">
                <a:pos x="connsiteX25875" y="connsiteY25875"/>
              </a:cxn>
              <a:cxn ang="0">
                <a:pos x="connsiteX25876" y="connsiteY25876"/>
              </a:cxn>
              <a:cxn ang="0">
                <a:pos x="connsiteX25877" y="connsiteY25877"/>
              </a:cxn>
              <a:cxn ang="0">
                <a:pos x="connsiteX25878" y="connsiteY25878"/>
              </a:cxn>
              <a:cxn ang="0">
                <a:pos x="connsiteX25879" y="connsiteY25879"/>
              </a:cxn>
              <a:cxn ang="0">
                <a:pos x="connsiteX25880" y="connsiteY25880"/>
              </a:cxn>
              <a:cxn ang="0">
                <a:pos x="connsiteX25881" y="connsiteY25881"/>
              </a:cxn>
              <a:cxn ang="0">
                <a:pos x="connsiteX25882" y="connsiteY25882"/>
              </a:cxn>
              <a:cxn ang="0">
                <a:pos x="connsiteX25883" y="connsiteY25883"/>
              </a:cxn>
              <a:cxn ang="0">
                <a:pos x="connsiteX25884" y="connsiteY25884"/>
              </a:cxn>
              <a:cxn ang="0">
                <a:pos x="connsiteX25885" y="connsiteY25885"/>
              </a:cxn>
              <a:cxn ang="0">
                <a:pos x="connsiteX25886" y="connsiteY25886"/>
              </a:cxn>
              <a:cxn ang="0">
                <a:pos x="connsiteX25887" y="connsiteY25887"/>
              </a:cxn>
              <a:cxn ang="0">
                <a:pos x="connsiteX25888" y="connsiteY25888"/>
              </a:cxn>
              <a:cxn ang="0">
                <a:pos x="connsiteX25889" y="connsiteY25889"/>
              </a:cxn>
              <a:cxn ang="0">
                <a:pos x="connsiteX25890" y="connsiteY25890"/>
              </a:cxn>
              <a:cxn ang="0">
                <a:pos x="connsiteX25891" y="connsiteY25891"/>
              </a:cxn>
              <a:cxn ang="0">
                <a:pos x="connsiteX25892" y="connsiteY25892"/>
              </a:cxn>
              <a:cxn ang="0">
                <a:pos x="connsiteX25893" y="connsiteY25893"/>
              </a:cxn>
              <a:cxn ang="0">
                <a:pos x="connsiteX25894" y="connsiteY25894"/>
              </a:cxn>
              <a:cxn ang="0">
                <a:pos x="connsiteX25895" y="connsiteY25895"/>
              </a:cxn>
              <a:cxn ang="0">
                <a:pos x="connsiteX25896" y="connsiteY25896"/>
              </a:cxn>
              <a:cxn ang="0">
                <a:pos x="connsiteX25897" y="connsiteY25897"/>
              </a:cxn>
              <a:cxn ang="0">
                <a:pos x="connsiteX25898" y="connsiteY25898"/>
              </a:cxn>
              <a:cxn ang="0">
                <a:pos x="connsiteX25899" y="connsiteY25899"/>
              </a:cxn>
              <a:cxn ang="0">
                <a:pos x="connsiteX25900" y="connsiteY25900"/>
              </a:cxn>
              <a:cxn ang="0">
                <a:pos x="connsiteX25901" y="connsiteY25901"/>
              </a:cxn>
              <a:cxn ang="0">
                <a:pos x="connsiteX25902" y="connsiteY25902"/>
              </a:cxn>
              <a:cxn ang="0">
                <a:pos x="connsiteX25903" y="connsiteY25903"/>
              </a:cxn>
              <a:cxn ang="0">
                <a:pos x="connsiteX25904" y="connsiteY25904"/>
              </a:cxn>
              <a:cxn ang="0">
                <a:pos x="connsiteX25905" y="connsiteY25905"/>
              </a:cxn>
              <a:cxn ang="0">
                <a:pos x="connsiteX25906" y="connsiteY25906"/>
              </a:cxn>
              <a:cxn ang="0">
                <a:pos x="connsiteX25907" y="connsiteY25907"/>
              </a:cxn>
              <a:cxn ang="0">
                <a:pos x="connsiteX25908" y="connsiteY25908"/>
              </a:cxn>
              <a:cxn ang="0">
                <a:pos x="connsiteX25909" y="connsiteY25909"/>
              </a:cxn>
              <a:cxn ang="0">
                <a:pos x="connsiteX25910" y="connsiteY25910"/>
              </a:cxn>
              <a:cxn ang="0">
                <a:pos x="connsiteX25911" y="connsiteY25911"/>
              </a:cxn>
              <a:cxn ang="0">
                <a:pos x="connsiteX25912" y="connsiteY25912"/>
              </a:cxn>
              <a:cxn ang="0">
                <a:pos x="connsiteX25913" y="connsiteY25913"/>
              </a:cxn>
              <a:cxn ang="0">
                <a:pos x="connsiteX25914" y="connsiteY25914"/>
              </a:cxn>
              <a:cxn ang="0">
                <a:pos x="connsiteX25915" y="connsiteY25915"/>
              </a:cxn>
              <a:cxn ang="0">
                <a:pos x="connsiteX25916" y="connsiteY25916"/>
              </a:cxn>
              <a:cxn ang="0">
                <a:pos x="connsiteX25917" y="connsiteY25917"/>
              </a:cxn>
              <a:cxn ang="0">
                <a:pos x="connsiteX25918" y="connsiteY25918"/>
              </a:cxn>
              <a:cxn ang="0">
                <a:pos x="connsiteX25919" y="connsiteY25919"/>
              </a:cxn>
              <a:cxn ang="0">
                <a:pos x="connsiteX25920" y="connsiteY25920"/>
              </a:cxn>
              <a:cxn ang="0">
                <a:pos x="connsiteX25921" y="connsiteY25921"/>
              </a:cxn>
              <a:cxn ang="0">
                <a:pos x="connsiteX25922" y="connsiteY25922"/>
              </a:cxn>
              <a:cxn ang="0">
                <a:pos x="connsiteX25923" y="connsiteY25923"/>
              </a:cxn>
              <a:cxn ang="0">
                <a:pos x="connsiteX25924" y="connsiteY25924"/>
              </a:cxn>
              <a:cxn ang="0">
                <a:pos x="connsiteX25925" y="connsiteY25925"/>
              </a:cxn>
              <a:cxn ang="0">
                <a:pos x="connsiteX25926" y="connsiteY25926"/>
              </a:cxn>
              <a:cxn ang="0">
                <a:pos x="connsiteX25927" y="connsiteY25927"/>
              </a:cxn>
              <a:cxn ang="0">
                <a:pos x="connsiteX25928" y="connsiteY25928"/>
              </a:cxn>
              <a:cxn ang="0">
                <a:pos x="connsiteX25929" y="connsiteY25929"/>
              </a:cxn>
              <a:cxn ang="0">
                <a:pos x="connsiteX25930" y="connsiteY25930"/>
              </a:cxn>
              <a:cxn ang="0">
                <a:pos x="connsiteX25931" y="connsiteY25931"/>
              </a:cxn>
              <a:cxn ang="0">
                <a:pos x="connsiteX25932" y="connsiteY25932"/>
              </a:cxn>
              <a:cxn ang="0">
                <a:pos x="connsiteX25933" y="connsiteY25933"/>
              </a:cxn>
              <a:cxn ang="0">
                <a:pos x="connsiteX25934" y="connsiteY25934"/>
              </a:cxn>
              <a:cxn ang="0">
                <a:pos x="connsiteX25935" y="connsiteY25935"/>
              </a:cxn>
              <a:cxn ang="0">
                <a:pos x="connsiteX25936" y="connsiteY25936"/>
              </a:cxn>
              <a:cxn ang="0">
                <a:pos x="connsiteX25937" y="connsiteY25937"/>
              </a:cxn>
              <a:cxn ang="0">
                <a:pos x="connsiteX25938" y="connsiteY25938"/>
              </a:cxn>
              <a:cxn ang="0">
                <a:pos x="connsiteX25939" y="connsiteY25939"/>
              </a:cxn>
              <a:cxn ang="0">
                <a:pos x="connsiteX25940" y="connsiteY25940"/>
              </a:cxn>
              <a:cxn ang="0">
                <a:pos x="connsiteX25941" y="connsiteY25941"/>
              </a:cxn>
              <a:cxn ang="0">
                <a:pos x="connsiteX25942" y="connsiteY25942"/>
              </a:cxn>
              <a:cxn ang="0">
                <a:pos x="connsiteX25943" y="connsiteY25943"/>
              </a:cxn>
              <a:cxn ang="0">
                <a:pos x="connsiteX25944" y="connsiteY25944"/>
              </a:cxn>
              <a:cxn ang="0">
                <a:pos x="connsiteX25945" y="connsiteY25945"/>
              </a:cxn>
              <a:cxn ang="0">
                <a:pos x="connsiteX25946" y="connsiteY25946"/>
              </a:cxn>
              <a:cxn ang="0">
                <a:pos x="connsiteX25947" y="connsiteY25947"/>
              </a:cxn>
              <a:cxn ang="0">
                <a:pos x="connsiteX25948" y="connsiteY25948"/>
              </a:cxn>
              <a:cxn ang="0">
                <a:pos x="connsiteX25949" y="connsiteY25949"/>
              </a:cxn>
              <a:cxn ang="0">
                <a:pos x="connsiteX25950" y="connsiteY25950"/>
              </a:cxn>
              <a:cxn ang="0">
                <a:pos x="connsiteX25951" y="connsiteY25951"/>
              </a:cxn>
              <a:cxn ang="0">
                <a:pos x="connsiteX25952" y="connsiteY25952"/>
              </a:cxn>
              <a:cxn ang="0">
                <a:pos x="connsiteX25953" y="connsiteY25953"/>
              </a:cxn>
              <a:cxn ang="0">
                <a:pos x="connsiteX25954" y="connsiteY25954"/>
              </a:cxn>
              <a:cxn ang="0">
                <a:pos x="connsiteX25955" y="connsiteY25955"/>
              </a:cxn>
              <a:cxn ang="0">
                <a:pos x="connsiteX25956" y="connsiteY25956"/>
              </a:cxn>
              <a:cxn ang="0">
                <a:pos x="connsiteX25957" y="connsiteY25957"/>
              </a:cxn>
              <a:cxn ang="0">
                <a:pos x="connsiteX25958" y="connsiteY25958"/>
              </a:cxn>
              <a:cxn ang="0">
                <a:pos x="connsiteX25959" y="connsiteY25959"/>
              </a:cxn>
              <a:cxn ang="0">
                <a:pos x="connsiteX25960" y="connsiteY25960"/>
              </a:cxn>
              <a:cxn ang="0">
                <a:pos x="connsiteX25961" y="connsiteY25961"/>
              </a:cxn>
              <a:cxn ang="0">
                <a:pos x="connsiteX25962" y="connsiteY25962"/>
              </a:cxn>
              <a:cxn ang="0">
                <a:pos x="connsiteX25963" y="connsiteY25963"/>
              </a:cxn>
              <a:cxn ang="0">
                <a:pos x="connsiteX25964" y="connsiteY25964"/>
              </a:cxn>
              <a:cxn ang="0">
                <a:pos x="connsiteX25965" y="connsiteY25965"/>
              </a:cxn>
              <a:cxn ang="0">
                <a:pos x="connsiteX25966" y="connsiteY25966"/>
              </a:cxn>
              <a:cxn ang="0">
                <a:pos x="connsiteX25967" y="connsiteY25967"/>
              </a:cxn>
              <a:cxn ang="0">
                <a:pos x="connsiteX25968" y="connsiteY25968"/>
              </a:cxn>
              <a:cxn ang="0">
                <a:pos x="connsiteX25969" y="connsiteY25969"/>
              </a:cxn>
              <a:cxn ang="0">
                <a:pos x="connsiteX25970" y="connsiteY25970"/>
              </a:cxn>
              <a:cxn ang="0">
                <a:pos x="connsiteX25971" y="connsiteY25971"/>
              </a:cxn>
              <a:cxn ang="0">
                <a:pos x="connsiteX25972" y="connsiteY25972"/>
              </a:cxn>
              <a:cxn ang="0">
                <a:pos x="connsiteX25973" y="connsiteY25973"/>
              </a:cxn>
              <a:cxn ang="0">
                <a:pos x="connsiteX25974" y="connsiteY25974"/>
              </a:cxn>
              <a:cxn ang="0">
                <a:pos x="connsiteX25975" y="connsiteY25975"/>
              </a:cxn>
              <a:cxn ang="0">
                <a:pos x="connsiteX25976" y="connsiteY25976"/>
              </a:cxn>
              <a:cxn ang="0">
                <a:pos x="connsiteX25977" y="connsiteY25977"/>
              </a:cxn>
              <a:cxn ang="0">
                <a:pos x="connsiteX25978" y="connsiteY25978"/>
              </a:cxn>
              <a:cxn ang="0">
                <a:pos x="connsiteX25979" y="connsiteY25979"/>
              </a:cxn>
              <a:cxn ang="0">
                <a:pos x="connsiteX25980" y="connsiteY25980"/>
              </a:cxn>
              <a:cxn ang="0">
                <a:pos x="connsiteX25981" y="connsiteY25981"/>
              </a:cxn>
              <a:cxn ang="0">
                <a:pos x="connsiteX25982" y="connsiteY25982"/>
              </a:cxn>
              <a:cxn ang="0">
                <a:pos x="connsiteX25983" y="connsiteY25983"/>
              </a:cxn>
              <a:cxn ang="0">
                <a:pos x="connsiteX25984" y="connsiteY25984"/>
              </a:cxn>
              <a:cxn ang="0">
                <a:pos x="connsiteX25985" y="connsiteY25985"/>
              </a:cxn>
              <a:cxn ang="0">
                <a:pos x="connsiteX25986" y="connsiteY25986"/>
              </a:cxn>
              <a:cxn ang="0">
                <a:pos x="connsiteX25987" y="connsiteY25987"/>
              </a:cxn>
              <a:cxn ang="0">
                <a:pos x="connsiteX25988" y="connsiteY25988"/>
              </a:cxn>
              <a:cxn ang="0">
                <a:pos x="connsiteX25989" y="connsiteY25989"/>
              </a:cxn>
              <a:cxn ang="0">
                <a:pos x="connsiteX25990" y="connsiteY25990"/>
              </a:cxn>
              <a:cxn ang="0">
                <a:pos x="connsiteX25991" y="connsiteY25991"/>
              </a:cxn>
              <a:cxn ang="0">
                <a:pos x="connsiteX25992" y="connsiteY25992"/>
              </a:cxn>
              <a:cxn ang="0">
                <a:pos x="connsiteX25993" y="connsiteY25993"/>
              </a:cxn>
              <a:cxn ang="0">
                <a:pos x="connsiteX25994" y="connsiteY25994"/>
              </a:cxn>
              <a:cxn ang="0">
                <a:pos x="connsiteX25995" y="connsiteY25995"/>
              </a:cxn>
              <a:cxn ang="0">
                <a:pos x="connsiteX25996" y="connsiteY25996"/>
              </a:cxn>
              <a:cxn ang="0">
                <a:pos x="connsiteX25997" y="connsiteY25997"/>
              </a:cxn>
              <a:cxn ang="0">
                <a:pos x="connsiteX25998" y="connsiteY25998"/>
              </a:cxn>
              <a:cxn ang="0">
                <a:pos x="connsiteX25999" y="connsiteY25999"/>
              </a:cxn>
              <a:cxn ang="0">
                <a:pos x="connsiteX26000" y="connsiteY26000"/>
              </a:cxn>
              <a:cxn ang="0">
                <a:pos x="connsiteX26001" y="connsiteY26001"/>
              </a:cxn>
              <a:cxn ang="0">
                <a:pos x="connsiteX26002" y="connsiteY26002"/>
              </a:cxn>
              <a:cxn ang="0">
                <a:pos x="connsiteX26003" y="connsiteY26003"/>
              </a:cxn>
              <a:cxn ang="0">
                <a:pos x="connsiteX26004" y="connsiteY26004"/>
              </a:cxn>
              <a:cxn ang="0">
                <a:pos x="connsiteX26005" y="connsiteY26005"/>
              </a:cxn>
              <a:cxn ang="0">
                <a:pos x="connsiteX26006" y="connsiteY26006"/>
              </a:cxn>
              <a:cxn ang="0">
                <a:pos x="connsiteX26007" y="connsiteY26007"/>
              </a:cxn>
              <a:cxn ang="0">
                <a:pos x="connsiteX26008" y="connsiteY26008"/>
              </a:cxn>
              <a:cxn ang="0">
                <a:pos x="connsiteX26009" y="connsiteY26009"/>
              </a:cxn>
              <a:cxn ang="0">
                <a:pos x="connsiteX26010" y="connsiteY26010"/>
              </a:cxn>
              <a:cxn ang="0">
                <a:pos x="connsiteX26011" y="connsiteY26011"/>
              </a:cxn>
              <a:cxn ang="0">
                <a:pos x="connsiteX26012" y="connsiteY26012"/>
              </a:cxn>
              <a:cxn ang="0">
                <a:pos x="connsiteX26013" y="connsiteY26013"/>
              </a:cxn>
              <a:cxn ang="0">
                <a:pos x="connsiteX26014" y="connsiteY26014"/>
              </a:cxn>
              <a:cxn ang="0">
                <a:pos x="connsiteX26015" y="connsiteY26015"/>
              </a:cxn>
              <a:cxn ang="0">
                <a:pos x="connsiteX26016" y="connsiteY26016"/>
              </a:cxn>
              <a:cxn ang="0">
                <a:pos x="connsiteX26017" y="connsiteY26017"/>
              </a:cxn>
              <a:cxn ang="0">
                <a:pos x="connsiteX26018" y="connsiteY26018"/>
              </a:cxn>
              <a:cxn ang="0">
                <a:pos x="connsiteX26019" y="connsiteY26019"/>
              </a:cxn>
              <a:cxn ang="0">
                <a:pos x="connsiteX26020" y="connsiteY26020"/>
              </a:cxn>
              <a:cxn ang="0">
                <a:pos x="connsiteX26021" y="connsiteY26021"/>
              </a:cxn>
              <a:cxn ang="0">
                <a:pos x="connsiteX26022" y="connsiteY26022"/>
              </a:cxn>
              <a:cxn ang="0">
                <a:pos x="connsiteX26023" y="connsiteY26023"/>
              </a:cxn>
              <a:cxn ang="0">
                <a:pos x="connsiteX26024" y="connsiteY26024"/>
              </a:cxn>
              <a:cxn ang="0">
                <a:pos x="connsiteX26025" y="connsiteY26025"/>
              </a:cxn>
              <a:cxn ang="0">
                <a:pos x="connsiteX26026" y="connsiteY26026"/>
              </a:cxn>
              <a:cxn ang="0">
                <a:pos x="connsiteX26027" y="connsiteY26027"/>
              </a:cxn>
              <a:cxn ang="0">
                <a:pos x="connsiteX26028" y="connsiteY26028"/>
              </a:cxn>
              <a:cxn ang="0">
                <a:pos x="connsiteX26029" y="connsiteY26029"/>
              </a:cxn>
              <a:cxn ang="0">
                <a:pos x="connsiteX26030" y="connsiteY26030"/>
              </a:cxn>
              <a:cxn ang="0">
                <a:pos x="connsiteX26031" y="connsiteY26031"/>
              </a:cxn>
              <a:cxn ang="0">
                <a:pos x="connsiteX26032" y="connsiteY26032"/>
              </a:cxn>
              <a:cxn ang="0">
                <a:pos x="connsiteX26033" y="connsiteY26033"/>
              </a:cxn>
              <a:cxn ang="0">
                <a:pos x="connsiteX26034" y="connsiteY26034"/>
              </a:cxn>
              <a:cxn ang="0">
                <a:pos x="connsiteX26035" y="connsiteY26035"/>
              </a:cxn>
              <a:cxn ang="0">
                <a:pos x="connsiteX26036" y="connsiteY26036"/>
              </a:cxn>
              <a:cxn ang="0">
                <a:pos x="connsiteX26037" y="connsiteY26037"/>
              </a:cxn>
              <a:cxn ang="0">
                <a:pos x="connsiteX26038" y="connsiteY26038"/>
              </a:cxn>
              <a:cxn ang="0">
                <a:pos x="connsiteX26039" y="connsiteY26039"/>
              </a:cxn>
              <a:cxn ang="0">
                <a:pos x="connsiteX26040" y="connsiteY26040"/>
              </a:cxn>
              <a:cxn ang="0">
                <a:pos x="connsiteX26041" y="connsiteY26041"/>
              </a:cxn>
              <a:cxn ang="0">
                <a:pos x="connsiteX26042" y="connsiteY26042"/>
              </a:cxn>
              <a:cxn ang="0">
                <a:pos x="connsiteX26043" y="connsiteY26043"/>
              </a:cxn>
              <a:cxn ang="0">
                <a:pos x="connsiteX26044" y="connsiteY26044"/>
              </a:cxn>
              <a:cxn ang="0">
                <a:pos x="connsiteX26045" y="connsiteY26045"/>
              </a:cxn>
              <a:cxn ang="0">
                <a:pos x="connsiteX26046" y="connsiteY26046"/>
              </a:cxn>
              <a:cxn ang="0">
                <a:pos x="connsiteX26047" y="connsiteY26047"/>
              </a:cxn>
              <a:cxn ang="0">
                <a:pos x="connsiteX26048" y="connsiteY26048"/>
              </a:cxn>
              <a:cxn ang="0">
                <a:pos x="connsiteX26049" y="connsiteY26049"/>
              </a:cxn>
              <a:cxn ang="0">
                <a:pos x="connsiteX26050" y="connsiteY26050"/>
              </a:cxn>
              <a:cxn ang="0">
                <a:pos x="connsiteX26051" y="connsiteY26051"/>
              </a:cxn>
              <a:cxn ang="0">
                <a:pos x="connsiteX26052" y="connsiteY26052"/>
              </a:cxn>
              <a:cxn ang="0">
                <a:pos x="connsiteX26053" y="connsiteY26053"/>
              </a:cxn>
              <a:cxn ang="0">
                <a:pos x="connsiteX26054" y="connsiteY26054"/>
              </a:cxn>
              <a:cxn ang="0">
                <a:pos x="connsiteX26055" y="connsiteY26055"/>
              </a:cxn>
              <a:cxn ang="0">
                <a:pos x="connsiteX26056" y="connsiteY26056"/>
              </a:cxn>
              <a:cxn ang="0">
                <a:pos x="connsiteX26057" y="connsiteY26057"/>
              </a:cxn>
              <a:cxn ang="0">
                <a:pos x="connsiteX26058" y="connsiteY26058"/>
              </a:cxn>
              <a:cxn ang="0">
                <a:pos x="connsiteX26059" y="connsiteY26059"/>
              </a:cxn>
              <a:cxn ang="0">
                <a:pos x="connsiteX26060" y="connsiteY26060"/>
              </a:cxn>
              <a:cxn ang="0">
                <a:pos x="connsiteX26061" y="connsiteY26061"/>
              </a:cxn>
              <a:cxn ang="0">
                <a:pos x="connsiteX26062" y="connsiteY26062"/>
              </a:cxn>
              <a:cxn ang="0">
                <a:pos x="connsiteX26063" y="connsiteY26063"/>
              </a:cxn>
              <a:cxn ang="0">
                <a:pos x="connsiteX26064" y="connsiteY26064"/>
              </a:cxn>
              <a:cxn ang="0">
                <a:pos x="connsiteX26065" y="connsiteY26065"/>
              </a:cxn>
              <a:cxn ang="0">
                <a:pos x="connsiteX26066" y="connsiteY26066"/>
              </a:cxn>
              <a:cxn ang="0">
                <a:pos x="connsiteX26067" y="connsiteY26067"/>
              </a:cxn>
              <a:cxn ang="0">
                <a:pos x="connsiteX26068" y="connsiteY26068"/>
              </a:cxn>
              <a:cxn ang="0">
                <a:pos x="connsiteX26069" y="connsiteY26069"/>
              </a:cxn>
              <a:cxn ang="0">
                <a:pos x="connsiteX26070" y="connsiteY26070"/>
              </a:cxn>
              <a:cxn ang="0">
                <a:pos x="connsiteX26071" y="connsiteY26071"/>
              </a:cxn>
              <a:cxn ang="0">
                <a:pos x="connsiteX26072" y="connsiteY26072"/>
              </a:cxn>
              <a:cxn ang="0">
                <a:pos x="connsiteX26073" y="connsiteY26073"/>
              </a:cxn>
              <a:cxn ang="0">
                <a:pos x="connsiteX26074" y="connsiteY26074"/>
              </a:cxn>
              <a:cxn ang="0">
                <a:pos x="connsiteX26075" y="connsiteY26075"/>
              </a:cxn>
              <a:cxn ang="0">
                <a:pos x="connsiteX26076" y="connsiteY26076"/>
              </a:cxn>
              <a:cxn ang="0">
                <a:pos x="connsiteX26077" y="connsiteY26077"/>
              </a:cxn>
              <a:cxn ang="0">
                <a:pos x="connsiteX26078" y="connsiteY26078"/>
              </a:cxn>
              <a:cxn ang="0">
                <a:pos x="connsiteX26079" y="connsiteY26079"/>
              </a:cxn>
              <a:cxn ang="0">
                <a:pos x="connsiteX26080" y="connsiteY26080"/>
              </a:cxn>
              <a:cxn ang="0">
                <a:pos x="connsiteX26081" y="connsiteY26081"/>
              </a:cxn>
              <a:cxn ang="0">
                <a:pos x="connsiteX26082" y="connsiteY26082"/>
              </a:cxn>
              <a:cxn ang="0">
                <a:pos x="connsiteX26083" y="connsiteY26083"/>
              </a:cxn>
              <a:cxn ang="0">
                <a:pos x="connsiteX26084" y="connsiteY26084"/>
              </a:cxn>
              <a:cxn ang="0">
                <a:pos x="connsiteX26085" y="connsiteY26085"/>
              </a:cxn>
              <a:cxn ang="0">
                <a:pos x="connsiteX26086" y="connsiteY26086"/>
              </a:cxn>
              <a:cxn ang="0">
                <a:pos x="connsiteX26087" y="connsiteY26087"/>
              </a:cxn>
              <a:cxn ang="0">
                <a:pos x="connsiteX26088" y="connsiteY26088"/>
              </a:cxn>
              <a:cxn ang="0">
                <a:pos x="connsiteX26089" y="connsiteY26089"/>
              </a:cxn>
              <a:cxn ang="0">
                <a:pos x="connsiteX26090" y="connsiteY26090"/>
              </a:cxn>
              <a:cxn ang="0">
                <a:pos x="connsiteX26091" y="connsiteY26091"/>
              </a:cxn>
              <a:cxn ang="0">
                <a:pos x="connsiteX26092" y="connsiteY26092"/>
              </a:cxn>
              <a:cxn ang="0">
                <a:pos x="connsiteX26093" y="connsiteY26093"/>
              </a:cxn>
              <a:cxn ang="0">
                <a:pos x="connsiteX26094" y="connsiteY26094"/>
              </a:cxn>
              <a:cxn ang="0">
                <a:pos x="connsiteX26095" y="connsiteY26095"/>
              </a:cxn>
              <a:cxn ang="0">
                <a:pos x="connsiteX26096" y="connsiteY26096"/>
              </a:cxn>
              <a:cxn ang="0">
                <a:pos x="connsiteX26097" y="connsiteY26097"/>
              </a:cxn>
              <a:cxn ang="0">
                <a:pos x="connsiteX26098" y="connsiteY26098"/>
              </a:cxn>
              <a:cxn ang="0">
                <a:pos x="connsiteX26099" y="connsiteY26099"/>
              </a:cxn>
              <a:cxn ang="0">
                <a:pos x="connsiteX26100" y="connsiteY26100"/>
              </a:cxn>
              <a:cxn ang="0">
                <a:pos x="connsiteX26101" y="connsiteY26101"/>
              </a:cxn>
              <a:cxn ang="0">
                <a:pos x="connsiteX26102" y="connsiteY26102"/>
              </a:cxn>
              <a:cxn ang="0">
                <a:pos x="connsiteX26103" y="connsiteY26103"/>
              </a:cxn>
              <a:cxn ang="0">
                <a:pos x="connsiteX26104" y="connsiteY26104"/>
              </a:cxn>
              <a:cxn ang="0">
                <a:pos x="connsiteX26105" y="connsiteY26105"/>
              </a:cxn>
              <a:cxn ang="0">
                <a:pos x="connsiteX26106" y="connsiteY26106"/>
              </a:cxn>
              <a:cxn ang="0">
                <a:pos x="connsiteX26107" y="connsiteY26107"/>
              </a:cxn>
              <a:cxn ang="0">
                <a:pos x="connsiteX26108" y="connsiteY26108"/>
              </a:cxn>
              <a:cxn ang="0">
                <a:pos x="connsiteX26109" y="connsiteY26109"/>
              </a:cxn>
              <a:cxn ang="0">
                <a:pos x="connsiteX26110" y="connsiteY26110"/>
              </a:cxn>
              <a:cxn ang="0">
                <a:pos x="connsiteX26111" y="connsiteY26111"/>
              </a:cxn>
              <a:cxn ang="0">
                <a:pos x="connsiteX26112" y="connsiteY26112"/>
              </a:cxn>
              <a:cxn ang="0">
                <a:pos x="connsiteX26113" y="connsiteY26113"/>
              </a:cxn>
              <a:cxn ang="0">
                <a:pos x="connsiteX26114" y="connsiteY26114"/>
              </a:cxn>
              <a:cxn ang="0">
                <a:pos x="connsiteX26115" y="connsiteY26115"/>
              </a:cxn>
              <a:cxn ang="0">
                <a:pos x="connsiteX26116" y="connsiteY26116"/>
              </a:cxn>
              <a:cxn ang="0">
                <a:pos x="connsiteX26117" y="connsiteY26117"/>
              </a:cxn>
              <a:cxn ang="0">
                <a:pos x="connsiteX26118" y="connsiteY26118"/>
              </a:cxn>
              <a:cxn ang="0">
                <a:pos x="connsiteX26119" y="connsiteY26119"/>
              </a:cxn>
              <a:cxn ang="0">
                <a:pos x="connsiteX26120" y="connsiteY26120"/>
              </a:cxn>
              <a:cxn ang="0">
                <a:pos x="connsiteX26121" y="connsiteY26121"/>
              </a:cxn>
              <a:cxn ang="0">
                <a:pos x="connsiteX26122" y="connsiteY26122"/>
              </a:cxn>
              <a:cxn ang="0">
                <a:pos x="connsiteX26123" y="connsiteY26123"/>
              </a:cxn>
              <a:cxn ang="0">
                <a:pos x="connsiteX26124" y="connsiteY26124"/>
              </a:cxn>
              <a:cxn ang="0">
                <a:pos x="connsiteX26125" y="connsiteY26125"/>
              </a:cxn>
              <a:cxn ang="0">
                <a:pos x="connsiteX26126" y="connsiteY26126"/>
              </a:cxn>
              <a:cxn ang="0">
                <a:pos x="connsiteX26127" y="connsiteY26127"/>
              </a:cxn>
              <a:cxn ang="0">
                <a:pos x="connsiteX26128" y="connsiteY26128"/>
              </a:cxn>
              <a:cxn ang="0">
                <a:pos x="connsiteX26129" y="connsiteY26129"/>
              </a:cxn>
              <a:cxn ang="0">
                <a:pos x="connsiteX26130" y="connsiteY26130"/>
              </a:cxn>
              <a:cxn ang="0">
                <a:pos x="connsiteX26131" y="connsiteY26131"/>
              </a:cxn>
              <a:cxn ang="0">
                <a:pos x="connsiteX26132" y="connsiteY26132"/>
              </a:cxn>
              <a:cxn ang="0">
                <a:pos x="connsiteX26133" y="connsiteY26133"/>
              </a:cxn>
              <a:cxn ang="0">
                <a:pos x="connsiteX26134" y="connsiteY26134"/>
              </a:cxn>
              <a:cxn ang="0">
                <a:pos x="connsiteX26135" y="connsiteY26135"/>
              </a:cxn>
              <a:cxn ang="0">
                <a:pos x="connsiteX26136" y="connsiteY26136"/>
              </a:cxn>
              <a:cxn ang="0">
                <a:pos x="connsiteX26137" y="connsiteY26137"/>
              </a:cxn>
              <a:cxn ang="0">
                <a:pos x="connsiteX26138" y="connsiteY26138"/>
              </a:cxn>
              <a:cxn ang="0">
                <a:pos x="connsiteX26139" y="connsiteY26139"/>
              </a:cxn>
              <a:cxn ang="0">
                <a:pos x="connsiteX26140" y="connsiteY26140"/>
              </a:cxn>
              <a:cxn ang="0">
                <a:pos x="connsiteX26141" y="connsiteY26141"/>
              </a:cxn>
              <a:cxn ang="0">
                <a:pos x="connsiteX26142" y="connsiteY26142"/>
              </a:cxn>
              <a:cxn ang="0">
                <a:pos x="connsiteX26143" y="connsiteY26143"/>
              </a:cxn>
              <a:cxn ang="0">
                <a:pos x="connsiteX26144" y="connsiteY26144"/>
              </a:cxn>
              <a:cxn ang="0">
                <a:pos x="connsiteX26145" y="connsiteY26145"/>
              </a:cxn>
              <a:cxn ang="0">
                <a:pos x="connsiteX26146" y="connsiteY26146"/>
              </a:cxn>
              <a:cxn ang="0">
                <a:pos x="connsiteX26147" y="connsiteY26147"/>
              </a:cxn>
              <a:cxn ang="0">
                <a:pos x="connsiteX26148" y="connsiteY26148"/>
              </a:cxn>
              <a:cxn ang="0">
                <a:pos x="connsiteX26149" y="connsiteY26149"/>
              </a:cxn>
              <a:cxn ang="0">
                <a:pos x="connsiteX26150" y="connsiteY26150"/>
              </a:cxn>
              <a:cxn ang="0">
                <a:pos x="connsiteX26151" y="connsiteY26151"/>
              </a:cxn>
              <a:cxn ang="0">
                <a:pos x="connsiteX26152" y="connsiteY26152"/>
              </a:cxn>
              <a:cxn ang="0">
                <a:pos x="connsiteX26153" y="connsiteY26153"/>
              </a:cxn>
              <a:cxn ang="0">
                <a:pos x="connsiteX26154" y="connsiteY26154"/>
              </a:cxn>
              <a:cxn ang="0">
                <a:pos x="connsiteX26155" y="connsiteY26155"/>
              </a:cxn>
              <a:cxn ang="0">
                <a:pos x="connsiteX26156" y="connsiteY26156"/>
              </a:cxn>
              <a:cxn ang="0">
                <a:pos x="connsiteX26157" y="connsiteY26157"/>
              </a:cxn>
              <a:cxn ang="0">
                <a:pos x="connsiteX26158" y="connsiteY26158"/>
              </a:cxn>
              <a:cxn ang="0">
                <a:pos x="connsiteX26159" y="connsiteY26159"/>
              </a:cxn>
              <a:cxn ang="0">
                <a:pos x="connsiteX26160" y="connsiteY26160"/>
              </a:cxn>
              <a:cxn ang="0">
                <a:pos x="connsiteX26161" y="connsiteY26161"/>
              </a:cxn>
              <a:cxn ang="0">
                <a:pos x="connsiteX26162" y="connsiteY26162"/>
              </a:cxn>
              <a:cxn ang="0">
                <a:pos x="connsiteX26163" y="connsiteY26163"/>
              </a:cxn>
              <a:cxn ang="0">
                <a:pos x="connsiteX26164" y="connsiteY26164"/>
              </a:cxn>
              <a:cxn ang="0">
                <a:pos x="connsiteX26165" y="connsiteY26165"/>
              </a:cxn>
              <a:cxn ang="0">
                <a:pos x="connsiteX26166" y="connsiteY26166"/>
              </a:cxn>
              <a:cxn ang="0">
                <a:pos x="connsiteX26167" y="connsiteY26167"/>
              </a:cxn>
              <a:cxn ang="0">
                <a:pos x="connsiteX26168" y="connsiteY26168"/>
              </a:cxn>
              <a:cxn ang="0">
                <a:pos x="connsiteX26169" y="connsiteY26169"/>
              </a:cxn>
              <a:cxn ang="0">
                <a:pos x="connsiteX26170" y="connsiteY26170"/>
              </a:cxn>
              <a:cxn ang="0">
                <a:pos x="connsiteX26171" y="connsiteY26171"/>
              </a:cxn>
              <a:cxn ang="0">
                <a:pos x="connsiteX26172" y="connsiteY26172"/>
              </a:cxn>
              <a:cxn ang="0">
                <a:pos x="connsiteX26173" y="connsiteY26173"/>
              </a:cxn>
              <a:cxn ang="0">
                <a:pos x="connsiteX26174" y="connsiteY26174"/>
              </a:cxn>
              <a:cxn ang="0">
                <a:pos x="connsiteX26175" y="connsiteY26175"/>
              </a:cxn>
              <a:cxn ang="0">
                <a:pos x="connsiteX26176" y="connsiteY26176"/>
              </a:cxn>
              <a:cxn ang="0">
                <a:pos x="connsiteX26177" y="connsiteY26177"/>
              </a:cxn>
              <a:cxn ang="0">
                <a:pos x="connsiteX26178" y="connsiteY26178"/>
              </a:cxn>
              <a:cxn ang="0">
                <a:pos x="connsiteX26179" y="connsiteY26179"/>
              </a:cxn>
              <a:cxn ang="0">
                <a:pos x="connsiteX26180" y="connsiteY26180"/>
              </a:cxn>
              <a:cxn ang="0">
                <a:pos x="connsiteX26181" y="connsiteY26181"/>
              </a:cxn>
              <a:cxn ang="0">
                <a:pos x="connsiteX26182" y="connsiteY26182"/>
              </a:cxn>
              <a:cxn ang="0">
                <a:pos x="connsiteX26183" y="connsiteY26183"/>
              </a:cxn>
              <a:cxn ang="0">
                <a:pos x="connsiteX26184" y="connsiteY26184"/>
              </a:cxn>
              <a:cxn ang="0">
                <a:pos x="connsiteX26185" y="connsiteY26185"/>
              </a:cxn>
              <a:cxn ang="0">
                <a:pos x="connsiteX26186" y="connsiteY26186"/>
              </a:cxn>
              <a:cxn ang="0">
                <a:pos x="connsiteX26187" y="connsiteY26187"/>
              </a:cxn>
              <a:cxn ang="0">
                <a:pos x="connsiteX26188" y="connsiteY26188"/>
              </a:cxn>
              <a:cxn ang="0">
                <a:pos x="connsiteX26189" y="connsiteY26189"/>
              </a:cxn>
              <a:cxn ang="0">
                <a:pos x="connsiteX26190" y="connsiteY26190"/>
              </a:cxn>
              <a:cxn ang="0">
                <a:pos x="connsiteX26191" y="connsiteY26191"/>
              </a:cxn>
              <a:cxn ang="0">
                <a:pos x="connsiteX26192" y="connsiteY26192"/>
              </a:cxn>
              <a:cxn ang="0">
                <a:pos x="connsiteX26193" y="connsiteY26193"/>
              </a:cxn>
              <a:cxn ang="0">
                <a:pos x="connsiteX26194" y="connsiteY26194"/>
              </a:cxn>
              <a:cxn ang="0">
                <a:pos x="connsiteX26195" y="connsiteY26195"/>
              </a:cxn>
              <a:cxn ang="0">
                <a:pos x="connsiteX26196" y="connsiteY26196"/>
              </a:cxn>
              <a:cxn ang="0">
                <a:pos x="connsiteX26197" y="connsiteY26197"/>
              </a:cxn>
              <a:cxn ang="0">
                <a:pos x="connsiteX26198" y="connsiteY26198"/>
              </a:cxn>
              <a:cxn ang="0">
                <a:pos x="connsiteX26199" y="connsiteY26199"/>
              </a:cxn>
              <a:cxn ang="0">
                <a:pos x="connsiteX26200" y="connsiteY26200"/>
              </a:cxn>
              <a:cxn ang="0">
                <a:pos x="connsiteX26201" y="connsiteY26201"/>
              </a:cxn>
              <a:cxn ang="0">
                <a:pos x="connsiteX26202" y="connsiteY26202"/>
              </a:cxn>
              <a:cxn ang="0">
                <a:pos x="connsiteX26203" y="connsiteY26203"/>
              </a:cxn>
              <a:cxn ang="0">
                <a:pos x="connsiteX26204" y="connsiteY26204"/>
              </a:cxn>
              <a:cxn ang="0">
                <a:pos x="connsiteX26205" y="connsiteY26205"/>
              </a:cxn>
              <a:cxn ang="0">
                <a:pos x="connsiteX26206" y="connsiteY26206"/>
              </a:cxn>
              <a:cxn ang="0">
                <a:pos x="connsiteX26207" y="connsiteY26207"/>
              </a:cxn>
              <a:cxn ang="0">
                <a:pos x="connsiteX26208" y="connsiteY26208"/>
              </a:cxn>
              <a:cxn ang="0">
                <a:pos x="connsiteX26209" y="connsiteY26209"/>
              </a:cxn>
              <a:cxn ang="0">
                <a:pos x="connsiteX26210" y="connsiteY26210"/>
              </a:cxn>
              <a:cxn ang="0">
                <a:pos x="connsiteX26211" y="connsiteY26211"/>
              </a:cxn>
              <a:cxn ang="0">
                <a:pos x="connsiteX26212" y="connsiteY26212"/>
              </a:cxn>
              <a:cxn ang="0">
                <a:pos x="connsiteX26213" y="connsiteY26213"/>
              </a:cxn>
              <a:cxn ang="0">
                <a:pos x="connsiteX26214" y="connsiteY26214"/>
              </a:cxn>
              <a:cxn ang="0">
                <a:pos x="connsiteX26215" y="connsiteY26215"/>
              </a:cxn>
              <a:cxn ang="0">
                <a:pos x="connsiteX26216" y="connsiteY26216"/>
              </a:cxn>
              <a:cxn ang="0">
                <a:pos x="connsiteX26217" y="connsiteY26217"/>
              </a:cxn>
              <a:cxn ang="0">
                <a:pos x="connsiteX26218" y="connsiteY26218"/>
              </a:cxn>
              <a:cxn ang="0">
                <a:pos x="connsiteX26219" y="connsiteY26219"/>
              </a:cxn>
              <a:cxn ang="0">
                <a:pos x="connsiteX26220" y="connsiteY26220"/>
              </a:cxn>
              <a:cxn ang="0">
                <a:pos x="connsiteX26221" y="connsiteY26221"/>
              </a:cxn>
              <a:cxn ang="0">
                <a:pos x="connsiteX26222" y="connsiteY26222"/>
              </a:cxn>
              <a:cxn ang="0">
                <a:pos x="connsiteX26223" y="connsiteY26223"/>
              </a:cxn>
              <a:cxn ang="0">
                <a:pos x="connsiteX26224" y="connsiteY26224"/>
              </a:cxn>
              <a:cxn ang="0">
                <a:pos x="connsiteX26225" y="connsiteY26225"/>
              </a:cxn>
              <a:cxn ang="0">
                <a:pos x="connsiteX26226" y="connsiteY26226"/>
              </a:cxn>
              <a:cxn ang="0">
                <a:pos x="connsiteX26227" y="connsiteY26227"/>
              </a:cxn>
              <a:cxn ang="0">
                <a:pos x="connsiteX26228" y="connsiteY26228"/>
              </a:cxn>
              <a:cxn ang="0">
                <a:pos x="connsiteX26229" y="connsiteY26229"/>
              </a:cxn>
              <a:cxn ang="0">
                <a:pos x="connsiteX26230" y="connsiteY26230"/>
              </a:cxn>
              <a:cxn ang="0">
                <a:pos x="connsiteX26231" y="connsiteY26231"/>
              </a:cxn>
              <a:cxn ang="0">
                <a:pos x="connsiteX26232" y="connsiteY26232"/>
              </a:cxn>
              <a:cxn ang="0">
                <a:pos x="connsiteX26233" y="connsiteY26233"/>
              </a:cxn>
              <a:cxn ang="0">
                <a:pos x="connsiteX26234" y="connsiteY26234"/>
              </a:cxn>
              <a:cxn ang="0">
                <a:pos x="connsiteX26235" y="connsiteY26235"/>
              </a:cxn>
              <a:cxn ang="0">
                <a:pos x="connsiteX26236" y="connsiteY26236"/>
              </a:cxn>
              <a:cxn ang="0">
                <a:pos x="connsiteX26237" y="connsiteY26237"/>
              </a:cxn>
              <a:cxn ang="0">
                <a:pos x="connsiteX26238" y="connsiteY26238"/>
              </a:cxn>
              <a:cxn ang="0">
                <a:pos x="connsiteX26239" y="connsiteY26239"/>
              </a:cxn>
              <a:cxn ang="0">
                <a:pos x="connsiteX26240" y="connsiteY26240"/>
              </a:cxn>
              <a:cxn ang="0">
                <a:pos x="connsiteX26241" y="connsiteY26241"/>
              </a:cxn>
              <a:cxn ang="0">
                <a:pos x="connsiteX26242" y="connsiteY26242"/>
              </a:cxn>
              <a:cxn ang="0">
                <a:pos x="connsiteX26243" y="connsiteY26243"/>
              </a:cxn>
              <a:cxn ang="0">
                <a:pos x="connsiteX26244" y="connsiteY26244"/>
              </a:cxn>
              <a:cxn ang="0">
                <a:pos x="connsiteX26245" y="connsiteY26245"/>
              </a:cxn>
              <a:cxn ang="0">
                <a:pos x="connsiteX26246" y="connsiteY26246"/>
              </a:cxn>
              <a:cxn ang="0">
                <a:pos x="connsiteX26247" y="connsiteY26247"/>
              </a:cxn>
              <a:cxn ang="0">
                <a:pos x="connsiteX26248" y="connsiteY26248"/>
              </a:cxn>
              <a:cxn ang="0">
                <a:pos x="connsiteX26249" y="connsiteY26249"/>
              </a:cxn>
              <a:cxn ang="0">
                <a:pos x="connsiteX26250" y="connsiteY26250"/>
              </a:cxn>
              <a:cxn ang="0">
                <a:pos x="connsiteX26251" y="connsiteY26251"/>
              </a:cxn>
              <a:cxn ang="0">
                <a:pos x="connsiteX26252" y="connsiteY26252"/>
              </a:cxn>
              <a:cxn ang="0">
                <a:pos x="connsiteX26253" y="connsiteY26253"/>
              </a:cxn>
              <a:cxn ang="0">
                <a:pos x="connsiteX26254" y="connsiteY26254"/>
              </a:cxn>
              <a:cxn ang="0">
                <a:pos x="connsiteX26255" y="connsiteY26255"/>
              </a:cxn>
              <a:cxn ang="0">
                <a:pos x="connsiteX26256" y="connsiteY26256"/>
              </a:cxn>
              <a:cxn ang="0">
                <a:pos x="connsiteX26257" y="connsiteY26257"/>
              </a:cxn>
              <a:cxn ang="0">
                <a:pos x="connsiteX26258" y="connsiteY26258"/>
              </a:cxn>
              <a:cxn ang="0">
                <a:pos x="connsiteX26259" y="connsiteY26259"/>
              </a:cxn>
              <a:cxn ang="0">
                <a:pos x="connsiteX26260" y="connsiteY26260"/>
              </a:cxn>
              <a:cxn ang="0">
                <a:pos x="connsiteX26261" y="connsiteY26261"/>
              </a:cxn>
              <a:cxn ang="0">
                <a:pos x="connsiteX26262" y="connsiteY26262"/>
              </a:cxn>
              <a:cxn ang="0">
                <a:pos x="connsiteX26263" y="connsiteY26263"/>
              </a:cxn>
              <a:cxn ang="0">
                <a:pos x="connsiteX26264" y="connsiteY26264"/>
              </a:cxn>
              <a:cxn ang="0">
                <a:pos x="connsiteX26265" y="connsiteY26265"/>
              </a:cxn>
              <a:cxn ang="0">
                <a:pos x="connsiteX26266" y="connsiteY26266"/>
              </a:cxn>
              <a:cxn ang="0">
                <a:pos x="connsiteX26267" y="connsiteY26267"/>
              </a:cxn>
              <a:cxn ang="0">
                <a:pos x="connsiteX26268" y="connsiteY26268"/>
              </a:cxn>
              <a:cxn ang="0">
                <a:pos x="connsiteX26269" y="connsiteY26269"/>
              </a:cxn>
              <a:cxn ang="0">
                <a:pos x="connsiteX26270" y="connsiteY26270"/>
              </a:cxn>
              <a:cxn ang="0">
                <a:pos x="connsiteX26271" y="connsiteY26271"/>
              </a:cxn>
              <a:cxn ang="0">
                <a:pos x="connsiteX26272" y="connsiteY26272"/>
              </a:cxn>
              <a:cxn ang="0">
                <a:pos x="connsiteX26273" y="connsiteY26273"/>
              </a:cxn>
              <a:cxn ang="0">
                <a:pos x="connsiteX26274" y="connsiteY26274"/>
              </a:cxn>
              <a:cxn ang="0">
                <a:pos x="connsiteX26275" y="connsiteY26275"/>
              </a:cxn>
              <a:cxn ang="0">
                <a:pos x="connsiteX26276" y="connsiteY26276"/>
              </a:cxn>
              <a:cxn ang="0">
                <a:pos x="connsiteX26277" y="connsiteY26277"/>
              </a:cxn>
              <a:cxn ang="0">
                <a:pos x="connsiteX26278" y="connsiteY26278"/>
              </a:cxn>
              <a:cxn ang="0">
                <a:pos x="connsiteX26279" y="connsiteY26279"/>
              </a:cxn>
              <a:cxn ang="0">
                <a:pos x="connsiteX26280" y="connsiteY26280"/>
              </a:cxn>
              <a:cxn ang="0">
                <a:pos x="connsiteX26281" y="connsiteY26281"/>
              </a:cxn>
              <a:cxn ang="0">
                <a:pos x="connsiteX26282" y="connsiteY26282"/>
              </a:cxn>
              <a:cxn ang="0">
                <a:pos x="connsiteX26283" y="connsiteY26283"/>
              </a:cxn>
              <a:cxn ang="0">
                <a:pos x="connsiteX26284" y="connsiteY26284"/>
              </a:cxn>
              <a:cxn ang="0">
                <a:pos x="connsiteX26285" y="connsiteY26285"/>
              </a:cxn>
              <a:cxn ang="0">
                <a:pos x="connsiteX26286" y="connsiteY26286"/>
              </a:cxn>
              <a:cxn ang="0">
                <a:pos x="connsiteX26287" y="connsiteY26287"/>
              </a:cxn>
              <a:cxn ang="0">
                <a:pos x="connsiteX26288" y="connsiteY26288"/>
              </a:cxn>
              <a:cxn ang="0">
                <a:pos x="connsiteX26289" y="connsiteY26289"/>
              </a:cxn>
              <a:cxn ang="0">
                <a:pos x="connsiteX26290" y="connsiteY26290"/>
              </a:cxn>
              <a:cxn ang="0">
                <a:pos x="connsiteX26291" y="connsiteY26291"/>
              </a:cxn>
              <a:cxn ang="0">
                <a:pos x="connsiteX26292" y="connsiteY26292"/>
              </a:cxn>
              <a:cxn ang="0">
                <a:pos x="connsiteX26293" y="connsiteY26293"/>
              </a:cxn>
              <a:cxn ang="0">
                <a:pos x="connsiteX26294" y="connsiteY26294"/>
              </a:cxn>
              <a:cxn ang="0">
                <a:pos x="connsiteX26295" y="connsiteY26295"/>
              </a:cxn>
              <a:cxn ang="0">
                <a:pos x="connsiteX26296" y="connsiteY26296"/>
              </a:cxn>
              <a:cxn ang="0">
                <a:pos x="connsiteX26297" y="connsiteY26297"/>
              </a:cxn>
              <a:cxn ang="0">
                <a:pos x="connsiteX26298" y="connsiteY26298"/>
              </a:cxn>
              <a:cxn ang="0">
                <a:pos x="connsiteX26299" y="connsiteY26299"/>
              </a:cxn>
              <a:cxn ang="0">
                <a:pos x="connsiteX26300" y="connsiteY26300"/>
              </a:cxn>
              <a:cxn ang="0">
                <a:pos x="connsiteX26301" y="connsiteY26301"/>
              </a:cxn>
              <a:cxn ang="0">
                <a:pos x="connsiteX26302" y="connsiteY26302"/>
              </a:cxn>
              <a:cxn ang="0">
                <a:pos x="connsiteX26303" y="connsiteY26303"/>
              </a:cxn>
              <a:cxn ang="0">
                <a:pos x="connsiteX26304" y="connsiteY26304"/>
              </a:cxn>
              <a:cxn ang="0">
                <a:pos x="connsiteX26305" y="connsiteY26305"/>
              </a:cxn>
              <a:cxn ang="0">
                <a:pos x="connsiteX26306" y="connsiteY26306"/>
              </a:cxn>
              <a:cxn ang="0">
                <a:pos x="connsiteX26307" y="connsiteY26307"/>
              </a:cxn>
              <a:cxn ang="0">
                <a:pos x="connsiteX26308" y="connsiteY26308"/>
              </a:cxn>
              <a:cxn ang="0">
                <a:pos x="connsiteX26309" y="connsiteY26309"/>
              </a:cxn>
              <a:cxn ang="0">
                <a:pos x="connsiteX26310" y="connsiteY26310"/>
              </a:cxn>
              <a:cxn ang="0">
                <a:pos x="connsiteX26311" y="connsiteY26311"/>
              </a:cxn>
              <a:cxn ang="0">
                <a:pos x="connsiteX26312" y="connsiteY26312"/>
              </a:cxn>
              <a:cxn ang="0">
                <a:pos x="connsiteX26313" y="connsiteY26313"/>
              </a:cxn>
              <a:cxn ang="0">
                <a:pos x="connsiteX26314" y="connsiteY26314"/>
              </a:cxn>
              <a:cxn ang="0">
                <a:pos x="connsiteX26315" y="connsiteY26315"/>
              </a:cxn>
              <a:cxn ang="0">
                <a:pos x="connsiteX26316" y="connsiteY26316"/>
              </a:cxn>
              <a:cxn ang="0">
                <a:pos x="connsiteX26317" y="connsiteY26317"/>
              </a:cxn>
              <a:cxn ang="0">
                <a:pos x="connsiteX26318" y="connsiteY26318"/>
              </a:cxn>
              <a:cxn ang="0">
                <a:pos x="connsiteX26319" y="connsiteY26319"/>
              </a:cxn>
              <a:cxn ang="0">
                <a:pos x="connsiteX26320" y="connsiteY26320"/>
              </a:cxn>
              <a:cxn ang="0">
                <a:pos x="connsiteX26321" y="connsiteY26321"/>
              </a:cxn>
              <a:cxn ang="0">
                <a:pos x="connsiteX26322" y="connsiteY26322"/>
              </a:cxn>
              <a:cxn ang="0">
                <a:pos x="connsiteX26323" y="connsiteY26323"/>
              </a:cxn>
              <a:cxn ang="0">
                <a:pos x="connsiteX26324" y="connsiteY26324"/>
              </a:cxn>
              <a:cxn ang="0">
                <a:pos x="connsiteX26325" y="connsiteY26325"/>
              </a:cxn>
              <a:cxn ang="0">
                <a:pos x="connsiteX26326" y="connsiteY26326"/>
              </a:cxn>
              <a:cxn ang="0">
                <a:pos x="connsiteX26327" y="connsiteY26327"/>
              </a:cxn>
              <a:cxn ang="0">
                <a:pos x="connsiteX26328" y="connsiteY26328"/>
              </a:cxn>
              <a:cxn ang="0">
                <a:pos x="connsiteX26329" y="connsiteY26329"/>
              </a:cxn>
              <a:cxn ang="0">
                <a:pos x="connsiteX26330" y="connsiteY26330"/>
              </a:cxn>
              <a:cxn ang="0">
                <a:pos x="connsiteX26331" y="connsiteY26331"/>
              </a:cxn>
              <a:cxn ang="0">
                <a:pos x="connsiteX26332" y="connsiteY26332"/>
              </a:cxn>
              <a:cxn ang="0">
                <a:pos x="connsiteX26333" y="connsiteY26333"/>
              </a:cxn>
              <a:cxn ang="0">
                <a:pos x="connsiteX26334" y="connsiteY26334"/>
              </a:cxn>
              <a:cxn ang="0">
                <a:pos x="connsiteX26335" y="connsiteY26335"/>
              </a:cxn>
              <a:cxn ang="0">
                <a:pos x="connsiteX26336" y="connsiteY26336"/>
              </a:cxn>
              <a:cxn ang="0">
                <a:pos x="connsiteX26337" y="connsiteY26337"/>
              </a:cxn>
              <a:cxn ang="0">
                <a:pos x="connsiteX26338" y="connsiteY26338"/>
              </a:cxn>
              <a:cxn ang="0">
                <a:pos x="connsiteX26339" y="connsiteY26339"/>
              </a:cxn>
              <a:cxn ang="0">
                <a:pos x="connsiteX26340" y="connsiteY26340"/>
              </a:cxn>
              <a:cxn ang="0">
                <a:pos x="connsiteX26341" y="connsiteY26341"/>
              </a:cxn>
              <a:cxn ang="0">
                <a:pos x="connsiteX26342" y="connsiteY26342"/>
              </a:cxn>
              <a:cxn ang="0">
                <a:pos x="connsiteX26343" y="connsiteY26343"/>
              </a:cxn>
              <a:cxn ang="0">
                <a:pos x="connsiteX26344" y="connsiteY26344"/>
              </a:cxn>
              <a:cxn ang="0">
                <a:pos x="connsiteX26345" y="connsiteY26345"/>
              </a:cxn>
              <a:cxn ang="0">
                <a:pos x="connsiteX26346" y="connsiteY26346"/>
              </a:cxn>
              <a:cxn ang="0">
                <a:pos x="connsiteX26347" y="connsiteY26347"/>
              </a:cxn>
              <a:cxn ang="0">
                <a:pos x="connsiteX26348" y="connsiteY26348"/>
              </a:cxn>
              <a:cxn ang="0">
                <a:pos x="connsiteX26349" y="connsiteY26349"/>
              </a:cxn>
              <a:cxn ang="0">
                <a:pos x="connsiteX26350" y="connsiteY26350"/>
              </a:cxn>
              <a:cxn ang="0">
                <a:pos x="connsiteX26351" y="connsiteY26351"/>
              </a:cxn>
              <a:cxn ang="0">
                <a:pos x="connsiteX26352" y="connsiteY26352"/>
              </a:cxn>
              <a:cxn ang="0">
                <a:pos x="connsiteX26353" y="connsiteY26353"/>
              </a:cxn>
              <a:cxn ang="0">
                <a:pos x="connsiteX26354" y="connsiteY26354"/>
              </a:cxn>
              <a:cxn ang="0">
                <a:pos x="connsiteX26355" y="connsiteY26355"/>
              </a:cxn>
              <a:cxn ang="0">
                <a:pos x="connsiteX26356" y="connsiteY26356"/>
              </a:cxn>
              <a:cxn ang="0">
                <a:pos x="connsiteX26357" y="connsiteY26357"/>
              </a:cxn>
              <a:cxn ang="0">
                <a:pos x="connsiteX26358" y="connsiteY26358"/>
              </a:cxn>
              <a:cxn ang="0">
                <a:pos x="connsiteX26359" y="connsiteY26359"/>
              </a:cxn>
              <a:cxn ang="0">
                <a:pos x="connsiteX26360" y="connsiteY26360"/>
              </a:cxn>
              <a:cxn ang="0">
                <a:pos x="connsiteX26361" y="connsiteY26361"/>
              </a:cxn>
              <a:cxn ang="0">
                <a:pos x="connsiteX26362" y="connsiteY26362"/>
              </a:cxn>
              <a:cxn ang="0">
                <a:pos x="connsiteX26363" y="connsiteY26363"/>
              </a:cxn>
              <a:cxn ang="0">
                <a:pos x="connsiteX26364" y="connsiteY26364"/>
              </a:cxn>
              <a:cxn ang="0">
                <a:pos x="connsiteX26365" y="connsiteY26365"/>
              </a:cxn>
              <a:cxn ang="0">
                <a:pos x="connsiteX26366" y="connsiteY26366"/>
              </a:cxn>
              <a:cxn ang="0">
                <a:pos x="connsiteX26367" y="connsiteY26367"/>
              </a:cxn>
              <a:cxn ang="0">
                <a:pos x="connsiteX26368" y="connsiteY26368"/>
              </a:cxn>
              <a:cxn ang="0">
                <a:pos x="connsiteX26369" y="connsiteY26369"/>
              </a:cxn>
              <a:cxn ang="0">
                <a:pos x="connsiteX26370" y="connsiteY26370"/>
              </a:cxn>
              <a:cxn ang="0">
                <a:pos x="connsiteX26371" y="connsiteY26371"/>
              </a:cxn>
              <a:cxn ang="0">
                <a:pos x="connsiteX26372" y="connsiteY26372"/>
              </a:cxn>
              <a:cxn ang="0">
                <a:pos x="connsiteX26373" y="connsiteY26373"/>
              </a:cxn>
              <a:cxn ang="0">
                <a:pos x="connsiteX26374" y="connsiteY26374"/>
              </a:cxn>
              <a:cxn ang="0">
                <a:pos x="connsiteX26375" y="connsiteY26375"/>
              </a:cxn>
              <a:cxn ang="0">
                <a:pos x="connsiteX26376" y="connsiteY26376"/>
              </a:cxn>
              <a:cxn ang="0">
                <a:pos x="connsiteX26377" y="connsiteY26377"/>
              </a:cxn>
              <a:cxn ang="0">
                <a:pos x="connsiteX26378" y="connsiteY26378"/>
              </a:cxn>
              <a:cxn ang="0">
                <a:pos x="connsiteX26379" y="connsiteY26379"/>
              </a:cxn>
              <a:cxn ang="0">
                <a:pos x="connsiteX26380" y="connsiteY26380"/>
              </a:cxn>
              <a:cxn ang="0">
                <a:pos x="connsiteX26381" y="connsiteY26381"/>
              </a:cxn>
              <a:cxn ang="0">
                <a:pos x="connsiteX26382" y="connsiteY26382"/>
              </a:cxn>
              <a:cxn ang="0">
                <a:pos x="connsiteX26383" y="connsiteY26383"/>
              </a:cxn>
              <a:cxn ang="0">
                <a:pos x="connsiteX26384" y="connsiteY26384"/>
              </a:cxn>
              <a:cxn ang="0">
                <a:pos x="connsiteX26385" y="connsiteY26385"/>
              </a:cxn>
              <a:cxn ang="0">
                <a:pos x="connsiteX26386" y="connsiteY26386"/>
              </a:cxn>
              <a:cxn ang="0">
                <a:pos x="connsiteX26387" y="connsiteY26387"/>
              </a:cxn>
              <a:cxn ang="0">
                <a:pos x="connsiteX26388" y="connsiteY26388"/>
              </a:cxn>
              <a:cxn ang="0">
                <a:pos x="connsiteX26389" y="connsiteY26389"/>
              </a:cxn>
              <a:cxn ang="0">
                <a:pos x="connsiteX26390" y="connsiteY26390"/>
              </a:cxn>
              <a:cxn ang="0">
                <a:pos x="connsiteX26391" y="connsiteY26391"/>
              </a:cxn>
              <a:cxn ang="0">
                <a:pos x="connsiteX26392" y="connsiteY26392"/>
              </a:cxn>
              <a:cxn ang="0">
                <a:pos x="connsiteX26393" y="connsiteY26393"/>
              </a:cxn>
              <a:cxn ang="0">
                <a:pos x="connsiteX26394" y="connsiteY26394"/>
              </a:cxn>
              <a:cxn ang="0">
                <a:pos x="connsiteX26395" y="connsiteY26395"/>
              </a:cxn>
              <a:cxn ang="0">
                <a:pos x="connsiteX26396" y="connsiteY26396"/>
              </a:cxn>
              <a:cxn ang="0">
                <a:pos x="connsiteX26397" y="connsiteY26397"/>
              </a:cxn>
              <a:cxn ang="0">
                <a:pos x="connsiteX26398" y="connsiteY26398"/>
              </a:cxn>
              <a:cxn ang="0">
                <a:pos x="connsiteX26399" y="connsiteY26399"/>
              </a:cxn>
              <a:cxn ang="0">
                <a:pos x="connsiteX26400" y="connsiteY26400"/>
              </a:cxn>
              <a:cxn ang="0">
                <a:pos x="connsiteX26401" y="connsiteY26401"/>
              </a:cxn>
              <a:cxn ang="0">
                <a:pos x="connsiteX26402" y="connsiteY26402"/>
              </a:cxn>
              <a:cxn ang="0">
                <a:pos x="connsiteX26403" y="connsiteY26403"/>
              </a:cxn>
              <a:cxn ang="0">
                <a:pos x="connsiteX26404" y="connsiteY26404"/>
              </a:cxn>
              <a:cxn ang="0">
                <a:pos x="connsiteX26405" y="connsiteY26405"/>
              </a:cxn>
              <a:cxn ang="0">
                <a:pos x="connsiteX26406" y="connsiteY26406"/>
              </a:cxn>
              <a:cxn ang="0">
                <a:pos x="connsiteX26407" y="connsiteY26407"/>
              </a:cxn>
              <a:cxn ang="0">
                <a:pos x="connsiteX26408" y="connsiteY26408"/>
              </a:cxn>
              <a:cxn ang="0">
                <a:pos x="connsiteX26409" y="connsiteY26409"/>
              </a:cxn>
              <a:cxn ang="0">
                <a:pos x="connsiteX26410" y="connsiteY26410"/>
              </a:cxn>
              <a:cxn ang="0">
                <a:pos x="connsiteX26411" y="connsiteY26411"/>
              </a:cxn>
              <a:cxn ang="0">
                <a:pos x="connsiteX26412" y="connsiteY26412"/>
              </a:cxn>
              <a:cxn ang="0">
                <a:pos x="connsiteX26413" y="connsiteY26413"/>
              </a:cxn>
              <a:cxn ang="0">
                <a:pos x="connsiteX26414" y="connsiteY26414"/>
              </a:cxn>
              <a:cxn ang="0">
                <a:pos x="connsiteX26415" y="connsiteY26415"/>
              </a:cxn>
              <a:cxn ang="0">
                <a:pos x="connsiteX26416" y="connsiteY26416"/>
              </a:cxn>
              <a:cxn ang="0">
                <a:pos x="connsiteX26417" y="connsiteY26417"/>
              </a:cxn>
              <a:cxn ang="0">
                <a:pos x="connsiteX26418" y="connsiteY26418"/>
              </a:cxn>
              <a:cxn ang="0">
                <a:pos x="connsiteX26419" y="connsiteY26419"/>
              </a:cxn>
              <a:cxn ang="0">
                <a:pos x="connsiteX26420" y="connsiteY26420"/>
              </a:cxn>
              <a:cxn ang="0">
                <a:pos x="connsiteX26421" y="connsiteY26421"/>
              </a:cxn>
              <a:cxn ang="0">
                <a:pos x="connsiteX26422" y="connsiteY26422"/>
              </a:cxn>
              <a:cxn ang="0">
                <a:pos x="connsiteX26423" y="connsiteY26423"/>
              </a:cxn>
              <a:cxn ang="0">
                <a:pos x="connsiteX26424" y="connsiteY26424"/>
              </a:cxn>
              <a:cxn ang="0">
                <a:pos x="connsiteX26425" y="connsiteY26425"/>
              </a:cxn>
              <a:cxn ang="0">
                <a:pos x="connsiteX26426" y="connsiteY26426"/>
              </a:cxn>
              <a:cxn ang="0">
                <a:pos x="connsiteX26427" y="connsiteY26427"/>
              </a:cxn>
              <a:cxn ang="0">
                <a:pos x="connsiteX26428" y="connsiteY26428"/>
              </a:cxn>
              <a:cxn ang="0">
                <a:pos x="connsiteX26429" y="connsiteY26429"/>
              </a:cxn>
              <a:cxn ang="0">
                <a:pos x="connsiteX26430" y="connsiteY26430"/>
              </a:cxn>
              <a:cxn ang="0">
                <a:pos x="connsiteX26431" y="connsiteY26431"/>
              </a:cxn>
              <a:cxn ang="0">
                <a:pos x="connsiteX26432" y="connsiteY26432"/>
              </a:cxn>
              <a:cxn ang="0">
                <a:pos x="connsiteX26433" y="connsiteY26433"/>
              </a:cxn>
              <a:cxn ang="0">
                <a:pos x="connsiteX26434" y="connsiteY26434"/>
              </a:cxn>
              <a:cxn ang="0">
                <a:pos x="connsiteX26435" y="connsiteY26435"/>
              </a:cxn>
              <a:cxn ang="0">
                <a:pos x="connsiteX26436" y="connsiteY26436"/>
              </a:cxn>
              <a:cxn ang="0">
                <a:pos x="connsiteX26437" y="connsiteY26437"/>
              </a:cxn>
              <a:cxn ang="0">
                <a:pos x="connsiteX26438" y="connsiteY26438"/>
              </a:cxn>
              <a:cxn ang="0">
                <a:pos x="connsiteX26439" y="connsiteY26439"/>
              </a:cxn>
              <a:cxn ang="0">
                <a:pos x="connsiteX26440" y="connsiteY26440"/>
              </a:cxn>
              <a:cxn ang="0">
                <a:pos x="connsiteX26441" y="connsiteY26441"/>
              </a:cxn>
              <a:cxn ang="0">
                <a:pos x="connsiteX26442" y="connsiteY26442"/>
              </a:cxn>
              <a:cxn ang="0">
                <a:pos x="connsiteX26443" y="connsiteY26443"/>
              </a:cxn>
              <a:cxn ang="0">
                <a:pos x="connsiteX26444" y="connsiteY26444"/>
              </a:cxn>
              <a:cxn ang="0">
                <a:pos x="connsiteX26445" y="connsiteY26445"/>
              </a:cxn>
              <a:cxn ang="0">
                <a:pos x="connsiteX26446" y="connsiteY26446"/>
              </a:cxn>
              <a:cxn ang="0">
                <a:pos x="connsiteX26447" y="connsiteY26447"/>
              </a:cxn>
              <a:cxn ang="0">
                <a:pos x="connsiteX26448" y="connsiteY26448"/>
              </a:cxn>
              <a:cxn ang="0">
                <a:pos x="connsiteX26449" y="connsiteY26449"/>
              </a:cxn>
              <a:cxn ang="0">
                <a:pos x="connsiteX26450" y="connsiteY26450"/>
              </a:cxn>
              <a:cxn ang="0">
                <a:pos x="connsiteX26451" y="connsiteY26451"/>
              </a:cxn>
              <a:cxn ang="0">
                <a:pos x="connsiteX26452" y="connsiteY26452"/>
              </a:cxn>
              <a:cxn ang="0">
                <a:pos x="connsiteX26453" y="connsiteY26453"/>
              </a:cxn>
              <a:cxn ang="0">
                <a:pos x="connsiteX26454" y="connsiteY26454"/>
              </a:cxn>
              <a:cxn ang="0">
                <a:pos x="connsiteX26455" y="connsiteY26455"/>
              </a:cxn>
              <a:cxn ang="0">
                <a:pos x="connsiteX26456" y="connsiteY26456"/>
              </a:cxn>
              <a:cxn ang="0">
                <a:pos x="connsiteX26457" y="connsiteY26457"/>
              </a:cxn>
              <a:cxn ang="0">
                <a:pos x="connsiteX26458" y="connsiteY26458"/>
              </a:cxn>
              <a:cxn ang="0">
                <a:pos x="connsiteX26459" y="connsiteY26459"/>
              </a:cxn>
              <a:cxn ang="0">
                <a:pos x="connsiteX26460" y="connsiteY26460"/>
              </a:cxn>
              <a:cxn ang="0">
                <a:pos x="connsiteX26461" y="connsiteY26461"/>
              </a:cxn>
              <a:cxn ang="0">
                <a:pos x="connsiteX26462" y="connsiteY26462"/>
              </a:cxn>
              <a:cxn ang="0">
                <a:pos x="connsiteX26463" y="connsiteY26463"/>
              </a:cxn>
              <a:cxn ang="0">
                <a:pos x="connsiteX26464" y="connsiteY26464"/>
              </a:cxn>
              <a:cxn ang="0">
                <a:pos x="connsiteX26465" y="connsiteY26465"/>
              </a:cxn>
              <a:cxn ang="0">
                <a:pos x="connsiteX26466" y="connsiteY26466"/>
              </a:cxn>
              <a:cxn ang="0">
                <a:pos x="connsiteX26467" y="connsiteY26467"/>
              </a:cxn>
              <a:cxn ang="0">
                <a:pos x="connsiteX26468" y="connsiteY26468"/>
              </a:cxn>
              <a:cxn ang="0">
                <a:pos x="connsiteX26469" y="connsiteY26469"/>
              </a:cxn>
              <a:cxn ang="0">
                <a:pos x="connsiteX26470" y="connsiteY26470"/>
              </a:cxn>
              <a:cxn ang="0">
                <a:pos x="connsiteX26471" y="connsiteY26471"/>
              </a:cxn>
              <a:cxn ang="0">
                <a:pos x="connsiteX26472" y="connsiteY26472"/>
              </a:cxn>
              <a:cxn ang="0">
                <a:pos x="connsiteX26473" y="connsiteY26473"/>
              </a:cxn>
              <a:cxn ang="0">
                <a:pos x="connsiteX26474" y="connsiteY26474"/>
              </a:cxn>
              <a:cxn ang="0">
                <a:pos x="connsiteX26475" y="connsiteY26475"/>
              </a:cxn>
              <a:cxn ang="0">
                <a:pos x="connsiteX26476" y="connsiteY26476"/>
              </a:cxn>
              <a:cxn ang="0">
                <a:pos x="connsiteX26477" y="connsiteY26477"/>
              </a:cxn>
              <a:cxn ang="0">
                <a:pos x="connsiteX26478" y="connsiteY26478"/>
              </a:cxn>
              <a:cxn ang="0">
                <a:pos x="connsiteX26479" y="connsiteY26479"/>
              </a:cxn>
              <a:cxn ang="0">
                <a:pos x="connsiteX26480" y="connsiteY26480"/>
              </a:cxn>
              <a:cxn ang="0">
                <a:pos x="connsiteX26481" y="connsiteY26481"/>
              </a:cxn>
              <a:cxn ang="0">
                <a:pos x="connsiteX26482" y="connsiteY26482"/>
              </a:cxn>
              <a:cxn ang="0">
                <a:pos x="connsiteX26483" y="connsiteY26483"/>
              </a:cxn>
              <a:cxn ang="0">
                <a:pos x="connsiteX26484" y="connsiteY26484"/>
              </a:cxn>
              <a:cxn ang="0">
                <a:pos x="connsiteX26485" y="connsiteY26485"/>
              </a:cxn>
              <a:cxn ang="0">
                <a:pos x="connsiteX26486" y="connsiteY26486"/>
              </a:cxn>
              <a:cxn ang="0">
                <a:pos x="connsiteX26487" y="connsiteY26487"/>
              </a:cxn>
              <a:cxn ang="0">
                <a:pos x="connsiteX26488" y="connsiteY26488"/>
              </a:cxn>
              <a:cxn ang="0">
                <a:pos x="connsiteX26489" y="connsiteY26489"/>
              </a:cxn>
              <a:cxn ang="0">
                <a:pos x="connsiteX26490" y="connsiteY26490"/>
              </a:cxn>
              <a:cxn ang="0">
                <a:pos x="connsiteX26491" y="connsiteY26491"/>
              </a:cxn>
              <a:cxn ang="0">
                <a:pos x="connsiteX26492" y="connsiteY26492"/>
              </a:cxn>
              <a:cxn ang="0">
                <a:pos x="connsiteX26493" y="connsiteY26493"/>
              </a:cxn>
              <a:cxn ang="0">
                <a:pos x="connsiteX26494" y="connsiteY26494"/>
              </a:cxn>
              <a:cxn ang="0">
                <a:pos x="connsiteX26495" y="connsiteY26495"/>
              </a:cxn>
              <a:cxn ang="0">
                <a:pos x="connsiteX26496" y="connsiteY26496"/>
              </a:cxn>
              <a:cxn ang="0">
                <a:pos x="connsiteX26497" y="connsiteY26497"/>
              </a:cxn>
              <a:cxn ang="0">
                <a:pos x="connsiteX26498" y="connsiteY26498"/>
              </a:cxn>
              <a:cxn ang="0">
                <a:pos x="connsiteX26499" y="connsiteY26499"/>
              </a:cxn>
              <a:cxn ang="0">
                <a:pos x="connsiteX26500" y="connsiteY26500"/>
              </a:cxn>
              <a:cxn ang="0">
                <a:pos x="connsiteX26501" y="connsiteY26501"/>
              </a:cxn>
              <a:cxn ang="0">
                <a:pos x="connsiteX26502" y="connsiteY26502"/>
              </a:cxn>
              <a:cxn ang="0">
                <a:pos x="connsiteX26503" y="connsiteY26503"/>
              </a:cxn>
              <a:cxn ang="0">
                <a:pos x="connsiteX26504" y="connsiteY26504"/>
              </a:cxn>
              <a:cxn ang="0">
                <a:pos x="connsiteX26505" y="connsiteY26505"/>
              </a:cxn>
              <a:cxn ang="0">
                <a:pos x="connsiteX26506" y="connsiteY26506"/>
              </a:cxn>
              <a:cxn ang="0">
                <a:pos x="connsiteX26507" y="connsiteY26507"/>
              </a:cxn>
              <a:cxn ang="0">
                <a:pos x="connsiteX26508" y="connsiteY26508"/>
              </a:cxn>
              <a:cxn ang="0">
                <a:pos x="connsiteX26509" y="connsiteY26509"/>
              </a:cxn>
              <a:cxn ang="0">
                <a:pos x="connsiteX26510" y="connsiteY26510"/>
              </a:cxn>
              <a:cxn ang="0">
                <a:pos x="connsiteX26511" y="connsiteY26511"/>
              </a:cxn>
              <a:cxn ang="0">
                <a:pos x="connsiteX26512" y="connsiteY26512"/>
              </a:cxn>
              <a:cxn ang="0">
                <a:pos x="connsiteX26513" y="connsiteY26513"/>
              </a:cxn>
              <a:cxn ang="0">
                <a:pos x="connsiteX26514" y="connsiteY26514"/>
              </a:cxn>
              <a:cxn ang="0">
                <a:pos x="connsiteX26515" y="connsiteY26515"/>
              </a:cxn>
              <a:cxn ang="0">
                <a:pos x="connsiteX26516" y="connsiteY26516"/>
              </a:cxn>
              <a:cxn ang="0">
                <a:pos x="connsiteX26517" y="connsiteY26517"/>
              </a:cxn>
              <a:cxn ang="0">
                <a:pos x="connsiteX26518" y="connsiteY26518"/>
              </a:cxn>
              <a:cxn ang="0">
                <a:pos x="connsiteX26519" y="connsiteY26519"/>
              </a:cxn>
              <a:cxn ang="0">
                <a:pos x="connsiteX26520" y="connsiteY26520"/>
              </a:cxn>
              <a:cxn ang="0">
                <a:pos x="connsiteX26521" y="connsiteY26521"/>
              </a:cxn>
              <a:cxn ang="0">
                <a:pos x="connsiteX26522" y="connsiteY26522"/>
              </a:cxn>
              <a:cxn ang="0">
                <a:pos x="connsiteX26523" y="connsiteY26523"/>
              </a:cxn>
              <a:cxn ang="0">
                <a:pos x="connsiteX26524" y="connsiteY26524"/>
              </a:cxn>
              <a:cxn ang="0">
                <a:pos x="connsiteX26525" y="connsiteY26525"/>
              </a:cxn>
              <a:cxn ang="0">
                <a:pos x="connsiteX26526" y="connsiteY26526"/>
              </a:cxn>
              <a:cxn ang="0">
                <a:pos x="connsiteX26527" y="connsiteY26527"/>
              </a:cxn>
              <a:cxn ang="0">
                <a:pos x="connsiteX26528" y="connsiteY26528"/>
              </a:cxn>
              <a:cxn ang="0">
                <a:pos x="connsiteX26529" y="connsiteY26529"/>
              </a:cxn>
              <a:cxn ang="0">
                <a:pos x="connsiteX26530" y="connsiteY26530"/>
              </a:cxn>
              <a:cxn ang="0">
                <a:pos x="connsiteX26531" y="connsiteY26531"/>
              </a:cxn>
              <a:cxn ang="0">
                <a:pos x="connsiteX26532" y="connsiteY26532"/>
              </a:cxn>
              <a:cxn ang="0">
                <a:pos x="connsiteX26533" y="connsiteY26533"/>
              </a:cxn>
              <a:cxn ang="0">
                <a:pos x="connsiteX26534" y="connsiteY26534"/>
              </a:cxn>
              <a:cxn ang="0">
                <a:pos x="connsiteX26535" y="connsiteY26535"/>
              </a:cxn>
              <a:cxn ang="0">
                <a:pos x="connsiteX26536" y="connsiteY26536"/>
              </a:cxn>
              <a:cxn ang="0">
                <a:pos x="connsiteX26537" y="connsiteY26537"/>
              </a:cxn>
              <a:cxn ang="0">
                <a:pos x="connsiteX26538" y="connsiteY26538"/>
              </a:cxn>
              <a:cxn ang="0">
                <a:pos x="connsiteX26539" y="connsiteY26539"/>
              </a:cxn>
              <a:cxn ang="0">
                <a:pos x="connsiteX26540" y="connsiteY26540"/>
              </a:cxn>
              <a:cxn ang="0">
                <a:pos x="connsiteX26541" y="connsiteY26541"/>
              </a:cxn>
              <a:cxn ang="0">
                <a:pos x="connsiteX26542" y="connsiteY26542"/>
              </a:cxn>
              <a:cxn ang="0">
                <a:pos x="connsiteX26543" y="connsiteY26543"/>
              </a:cxn>
              <a:cxn ang="0">
                <a:pos x="connsiteX26544" y="connsiteY26544"/>
              </a:cxn>
              <a:cxn ang="0">
                <a:pos x="connsiteX26545" y="connsiteY26545"/>
              </a:cxn>
              <a:cxn ang="0">
                <a:pos x="connsiteX26546" y="connsiteY26546"/>
              </a:cxn>
              <a:cxn ang="0">
                <a:pos x="connsiteX26547" y="connsiteY26547"/>
              </a:cxn>
              <a:cxn ang="0">
                <a:pos x="connsiteX26548" y="connsiteY26548"/>
              </a:cxn>
              <a:cxn ang="0">
                <a:pos x="connsiteX26549" y="connsiteY26549"/>
              </a:cxn>
              <a:cxn ang="0">
                <a:pos x="connsiteX26550" y="connsiteY26550"/>
              </a:cxn>
              <a:cxn ang="0">
                <a:pos x="connsiteX26551" y="connsiteY26551"/>
              </a:cxn>
              <a:cxn ang="0">
                <a:pos x="connsiteX26552" y="connsiteY26552"/>
              </a:cxn>
              <a:cxn ang="0">
                <a:pos x="connsiteX26553" y="connsiteY26553"/>
              </a:cxn>
              <a:cxn ang="0">
                <a:pos x="connsiteX26554" y="connsiteY26554"/>
              </a:cxn>
              <a:cxn ang="0">
                <a:pos x="connsiteX26555" y="connsiteY26555"/>
              </a:cxn>
              <a:cxn ang="0">
                <a:pos x="connsiteX26556" y="connsiteY26556"/>
              </a:cxn>
              <a:cxn ang="0">
                <a:pos x="connsiteX26557" y="connsiteY26557"/>
              </a:cxn>
              <a:cxn ang="0">
                <a:pos x="connsiteX26558" y="connsiteY26558"/>
              </a:cxn>
              <a:cxn ang="0">
                <a:pos x="connsiteX26559" y="connsiteY26559"/>
              </a:cxn>
              <a:cxn ang="0">
                <a:pos x="connsiteX26560" y="connsiteY26560"/>
              </a:cxn>
              <a:cxn ang="0">
                <a:pos x="connsiteX26561" y="connsiteY26561"/>
              </a:cxn>
              <a:cxn ang="0">
                <a:pos x="connsiteX26562" y="connsiteY26562"/>
              </a:cxn>
              <a:cxn ang="0">
                <a:pos x="connsiteX26563" y="connsiteY26563"/>
              </a:cxn>
              <a:cxn ang="0">
                <a:pos x="connsiteX26564" y="connsiteY26564"/>
              </a:cxn>
              <a:cxn ang="0">
                <a:pos x="connsiteX26565" y="connsiteY26565"/>
              </a:cxn>
              <a:cxn ang="0">
                <a:pos x="connsiteX26566" y="connsiteY26566"/>
              </a:cxn>
              <a:cxn ang="0">
                <a:pos x="connsiteX26567" y="connsiteY26567"/>
              </a:cxn>
              <a:cxn ang="0">
                <a:pos x="connsiteX26568" y="connsiteY26568"/>
              </a:cxn>
              <a:cxn ang="0">
                <a:pos x="connsiteX26569" y="connsiteY26569"/>
              </a:cxn>
              <a:cxn ang="0">
                <a:pos x="connsiteX26570" y="connsiteY26570"/>
              </a:cxn>
              <a:cxn ang="0">
                <a:pos x="connsiteX26571" y="connsiteY26571"/>
              </a:cxn>
              <a:cxn ang="0">
                <a:pos x="connsiteX26572" y="connsiteY26572"/>
              </a:cxn>
              <a:cxn ang="0">
                <a:pos x="connsiteX26573" y="connsiteY26573"/>
              </a:cxn>
              <a:cxn ang="0">
                <a:pos x="connsiteX26574" y="connsiteY26574"/>
              </a:cxn>
              <a:cxn ang="0">
                <a:pos x="connsiteX26575" y="connsiteY26575"/>
              </a:cxn>
              <a:cxn ang="0">
                <a:pos x="connsiteX26576" y="connsiteY26576"/>
              </a:cxn>
              <a:cxn ang="0">
                <a:pos x="connsiteX26577" y="connsiteY26577"/>
              </a:cxn>
              <a:cxn ang="0">
                <a:pos x="connsiteX26578" y="connsiteY26578"/>
              </a:cxn>
              <a:cxn ang="0">
                <a:pos x="connsiteX26579" y="connsiteY26579"/>
              </a:cxn>
              <a:cxn ang="0">
                <a:pos x="connsiteX26580" y="connsiteY26580"/>
              </a:cxn>
              <a:cxn ang="0">
                <a:pos x="connsiteX26581" y="connsiteY26581"/>
              </a:cxn>
              <a:cxn ang="0">
                <a:pos x="connsiteX26582" y="connsiteY26582"/>
              </a:cxn>
              <a:cxn ang="0">
                <a:pos x="connsiteX26583" y="connsiteY26583"/>
              </a:cxn>
              <a:cxn ang="0">
                <a:pos x="connsiteX26584" y="connsiteY26584"/>
              </a:cxn>
              <a:cxn ang="0">
                <a:pos x="connsiteX26585" y="connsiteY26585"/>
              </a:cxn>
              <a:cxn ang="0">
                <a:pos x="connsiteX26586" y="connsiteY26586"/>
              </a:cxn>
              <a:cxn ang="0">
                <a:pos x="connsiteX26587" y="connsiteY26587"/>
              </a:cxn>
              <a:cxn ang="0">
                <a:pos x="connsiteX26588" y="connsiteY26588"/>
              </a:cxn>
              <a:cxn ang="0">
                <a:pos x="connsiteX26589" y="connsiteY26589"/>
              </a:cxn>
              <a:cxn ang="0">
                <a:pos x="connsiteX26590" y="connsiteY26590"/>
              </a:cxn>
              <a:cxn ang="0">
                <a:pos x="connsiteX26591" y="connsiteY26591"/>
              </a:cxn>
              <a:cxn ang="0">
                <a:pos x="connsiteX26592" y="connsiteY26592"/>
              </a:cxn>
              <a:cxn ang="0">
                <a:pos x="connsiteX26593" y="connsiteY26593"/>
              </a:cxn>
              <a:cxn ang="0">
                <a:pos x="connsiteX26594" y="connsiteY26594"/>
              </a:cxn>
              <a:cxn ang="0">
                <a:pos x="connsiteX26595" y="connsiteY26595"/>
              </a:cxn>
              <a:cxn ang="0">
                <a:pos x="connsiteX26596" y="connsiteY26596"/>
              </a:cxn>
              <a:cxn ang="0">
                <a:pos x="connsiteX26597" y="connsiteY26597"/>
              </a:cxn>
              <a:cxn ang="0">
                <a:pos x="connsiteX26598" y="connsiteY26598"/>
              </a:cxn>
              <a:cxn ang="0">
                <a:pos x="connsiteX26599" y="connsiteY26599"/>
              </a:cxn>
              <a:cxn ang="0">
                <a:pos x="connsiteX26600" y="connsiteY26600"/>
              </a:cxn>
              <a:cxn ang="0">
                <a:pos x="connsiteX26601" y="connsiteY26601"/>
              </a:cxn>
              <a:cxn ang="0">
                <a:pos x="connsiteX26602" y="connsiteY26602"/>
              </a:cxn>
              <a:cxn ang="0">
                <a:pos x="connsiteX26603" y="connsiteY26603"/>
              </a:cxn>
              <a:cxn ang="0">
                <a:pos x="connsiteX26604" y="connsiteY26604"/>
              </a:cxn>
              <a:cxn ang="0">
                <a:pos x="connsiteX26605" y="connsiteY26605"/>
              </a:cxn>
              <a:cxn ang="0">
                <a:pos x="connsiteX26606" y="connsiteY26606"/>
              </a:cxn>
              <a:cxn ang="0">
                <a:pos x="connsiteX26607" y="connsiteY26607"/>
              </a:cxn>
              <a:cxn ang="0">
                <a:pos x="connsiteX26608" y="connsiteY26608"/>
              </a:cxn>
              <a:cxn ang="0">
                <a:pos x="connsiteX26609" y="connsiteY26609"/>
              </a:cxn>
              <a:cxn ang="0">
                <a:pos x="connsiteX26610" y="connsiteY26610"/>
              </a:cxn>
              <a:cxn ang="0">
                <a:pos x="connsiteX26611" y="connsiteY26611"/>
              </a:cxn>
              <a:cxn ang="0">
                <a:pos x="connsiteX26612" y="connsiteY26612"/>
              </a:cxn>
              <a:cxn ang="0">
                <a:pos x="connsiteX26613" y="connsiteY26613"/>
              </a:cxn>
              <a:cxn ang="0">
                <a:pos x="connsiteX26614" y="connsiteY26614"/>
              </a:cxn>
              <a:cxn ang="0">
                <a:pos x="connsiteX26615" y="connsiteY26615"/>
              </a:cxn>
              <a:cxn ang="0">
                <a:pos x="connsiteX26616" y="connsiteY26616"/>
              </a:cxn>
              <a:cxn ang="0">
                <a:pos x="connsiteX26617" y="connsiteY26617"/>
              </a:cxn>
              <a:cxn ang="0">
                <a:pos x="connsiteX26618" y="connsiteY26618"/>
              </a:cxn>
              <a:cxn ang="0">
                <a:pos x="connsiteX26619" y="connsiteY26619"/>
              </a:cxn>
              <a:cxn ang="0">
                <a:pos x="connsiteX26620" y="connsiteY26620"/>
              </a:cxn>
              <a:cxn ang="0">
                <a:pos x="connsiteX26621" y="connsiteY26621"/>
              </a:cxn>
              <a:cxn ang="0">
                <a:pos x="connsiteX26622" y="connsiteY26622"/>
              </a:cxn>
              <a:cxn ang="0">
                <a:pos x="connsiteX26623" y="connsiteY26623"/>
              </a:cxn>
              <a:cxn ang="0">
                <a:pos x="connsiteX26624" y="connsiteY26624"/>
              </a:cxn>
              <a:cxn ang="0">
                <a:pos x="connsiteX26625" y="connsiteY26625"/>
              </a:cxn>
              <a:cxn ang="0">
                <a:pos x="connsiteX26626" y="connsiteY26626"/>
              </a:cxn>
              <a:cxn ang="0">
                <a:pos x="connsiteX26627" y="connsiteY26627"/>
              </a:cxn>
              <a:cxn ang="0">
                <a:pos x="connsiteX26628" y="connsiteY26628"/>
              </a:cxn>
              <a:cxn ang="0">
                <a:pos x="connsiteX26629" y="connsiteY26629"/>
              </a:cxn>
              <a:cxn ang="0">
                <a:pos x="connsiteX26630" y="connsiteY26630"/>
              </a:cxn>
              <a:cxn ang="0">
                <a:pos x="connsiteX26631" y="connsiteY26631"/>
              </a:cxn>
              <a:cxn ang="0">
                <a:pos x="connsiteX26632" y="connsiteY26632"/>
              </a:cxn>
              <a:cxn ang="0">
                <a:pos x="connsiteX26633" y="connsiteY26633"/>
              </a:cxn>
              <a:cxn ang="0">
                <a:pos x="connsiteX26634" y="connsiteY26634"/>
              </a:cxn>
              <a:cxn ang="0">
                <a:pos x="connsiteX26635" y="connsiteY26635"/>
              </a:cxn>
              <a:cxn ang="0">
                <a:pos x="connsiteX26636" y="connsiteY26636"/>
              </a:cxn>
              <a:cxn ang="0">
                <a:pos x="connsiteX26637" y="connsiteY26637"/>
              </a:cxn>
              <a:cxn ang="0">
                <a:pos x="connsiteX26638" y="connsiteY26638"/>
              </a:cxn>
              <a:cxn ang="0">
                <a:pos x="connsiteX26639" y="connsiteY26639"/>
              </a:cxn>
              <a:cxn ang="0">
                <a:pos x="connsiteX26640" y="connsiteY26640"/>
              </a:cxn>
              <a:cxn ang="0">
                <a:pos x="connsiteX26641" y="connsiteY26641"/>
              </a:cxn>
              <a:cxn ang="0">
                <a:pos x="connsiteX26642" y="connsiteY26642"/>
              </a:cxn>
              <a:cxn ang="0">
                <a:pos x="connsiteX26643" y="connsiteY26643"/>
              </a:cxn>
              <a:cxn ang="0">
                <a:pos x="connsiteX26644" y="connsiteY26644"/>
              </a:cxn>
              <a:cxn ang="0">
                <a:pos x="connsiteX26645" y="connsiteY26645"/>
              </a:cxn>
              <a:cxn ang="0">
                <a:pos x="connsiteX26646" y="connsiteY26646"/>
              </a:cxn>
              <a:cxn ang="0">
                <a:pos x="connsiteX26647" y="connsiteY26647"/>
              </a:cxn>
              <a:cxn ang="0">
                <a:pos x="connsiteX26648" y="connsiteY26648"/>
              </a:cxn>
              <a:cxn ang="0">
                <a:pos x="connsiteX26649" y="connsiteY26649"/>
              </a:cxn>
              <a:cxn ang="0">
                <a:pos x="connsiteX26650" y="connsiteY26650"/>
              </a:cxn>
              <a:cxn ang="0">
                <a:pos x="connsiteX26651" y="connsiteY26651"/>
              </a:cxn>
              <a:cxn ang="0">
                <a:pos x="connsiteX26652" y="connsiteY26652"/>
              </a:cxn>
              <a:cxn ang="0">
                <a:pos x="connsiteX26653" y="connsiteY26653"/>
              </a:cxn>
              <a:cxn ang="0">
                <a:pos x="connsiteX26654" y="connsiteY26654"/>
              </a:cxn>
              <a:cxn ang="0">
                <a:pos x="connsiteX26655" y="connsiteY26655"/>
              </a:cxn>
              <a:cxn ang="0">
                <a:pos x="connsiteX26656" y="connsiteY26656"/>
              </a:cxn>
              <a:cxn ang="0">
                <a:pos x="connsiteX26657" y="connsiteY26657"/>
              </a:cxn>
              <a:cxn ang="0">
                <a:pos x="connsiteX26658" y="connsiteY26658"/>
              </a:cxn>
              <a:cxn ang="0">
                <a:pos x="connsiteX26659" y="connsiteY26659"/>
              </a:cxn>
              <a:cxn ang="0">
                <a:pos x="connsiteX26660" y="connsiteY26660"/>
              </a:cxn>
              <a:cxn ang="0">
                <a:pos x="connsiteX26661" y="connsiteY26661"/>
              </a:cxn>
              <a:cxn ang="0">
                <a:pos x="connsiteX26662" y="connsiteY26662"/>
              </a:cxn>
              <a:cxn ang="0">
                <a:pos x="connsiteX26663" y="connsiteY26663"/>
              </a:cxn>
              <a:cxn ang="0">
                <a:pos x="connsiteX26664" y="connsiteY26664"/>
              </a:cxn>
              <a:cxn ang="0">
                <a:pos x="connsiteX26665" y="connsiteY26665"/>
              </a:cxn>
              <a:cxn ang="0">
                <a:pos x="connsiteX26666" y="connsiteY26666"/>
              </a:cxn>
              <a:cxn ang="0">
                <a:pos x="connsiteX26667" y="connsiteY26667"/>
              </a:cxn>
              <a:cxn ang="0">
                <a:pos x="connsiteX26668" y="connsiteY26668"/>
              </a:cxn>
              <a:cxn ang="0">
                <a:pos x="connsiteX26669" y="connsiteY26669"/>
              </a:cxn>
              <a:cxn ang="0">
                <a:pos x="connsiteX26670" y="connsiteY26670"/>
              </a:cxn>
              <a:cxn ang="0">
                <a:pos x="connsiteX26671" y="connsiteY26671"/>
              </a:cxn>
              <a:cxn ang="0">
                <a:pos x="connsiteX26672" y="connsiteY26672"/>
              </a:cxn>
              <a:cxn ang="0">
                <a:pos x="connsiteX26673" y="connsiteY26673"/>
              </a:cxn>
              <a:cxn ang="0">
                <a:pos x="connsiteX26674" y="connsiteY26674"/>
              </a:cxn>
              <a:cxn ang="0">
                <a:pos x="connsiteX26675" y="connsiteY26675"/>
              </a:cxn>
              <a:cxn ang="0">
                <a:pos x="connsiteX26676" y="connsiteY26676"/>
              </a:cxn>
              <a:cxn ang="0">
                <a:pos x="connsiteX26677" y="connsiteY26677"/>
              </a:cxn>
              <a:cxn ang="0">
                <a:pos x="connsiteX26678" y="connsiteY26678"/>
              </a:cxn>
              <a:cxn ang="0">
                <a:pos x="connsiteX26679" y="connsiteY26679"/>
              </a:cxn>
              <a:cxn ang="0">
                <a:pos x="connsiteX26680" y="connsiteY26680"/>
              </a:cxn>
              <a:cxn ang="0">
                <a:pos x="connsiteX26681" y="connsiteY26681"/>
              </a:cxn>
              <a:cxn ang="0">
                <a:pos x="connsiteX26682" y="connsiteY26682"/>
              </a:cxn>
              <a:cxn ang="0">
                <a:pos x="connsiteX26683" y="connsiteY26683"/>
              </a:cxn>
              <a:cxn ang="0">
                <a:pos x="connsiteX26684" y="connsiteY26684"/>
              </a:cxn>
              <a:cxn ang="0">
                <a:pos x="connsiteX26685" y="connsiteY26685"/>
              </a:cxn>
              <a:cxn ang="0">
                <a:pos x="connsiteX26686" y="connsiteY26686"/>
              </a:cxn>
              <a:cxn ang="0">
                <a:pos x="connsiteX26687" y="connsiteY26687"/>
              </a:cxn>
              <a:cxn ang="0">
                <a:pos x="connsiteX26688" y="connsiteY26688"/>
              </a:cxn>
              <a:cxn ang="0">
                <a:pos x="connsiteX26689" y="connsiteY26689"/>
              </a:cxn>
              <a:cxn ang="0">
                <a:pos x="connsiteX26690" y="connsiteY26690"/>
              </a:cxn>
              <a:cxn ang="0">
                <a:pos x="connsiteX26691" y="connsiteY26691"/>
              </a:cxn>
              <a:cxn ang="0">
                <a:pos x="connsiteX26692" y="connsiteY26692"/>
              </a:cxn>
              <a:cxn ang="0">
                <a:pos x="connsiteX26693" y="connsiteY26693"/>
              </a:cxn>
              <a:cxn ang="0">
                <a:pos x="connsiteX26694" y="connsiteY26694"/>
              </a:cxn>
              <a:cxn ang="0">
                <a:pos x="connsiteX26695" y="connsiteY26695"/>
              </a:cxn>
              <a:cxn ang="0">
                <a:pos x="connsiteX26696" y="connsiteY26696"/>
              </a:cxn>
              <a:cxn ang="0">
                <a:pos x="connsiteX26697" y="connsiteY26697"/>
              </a:cxn>
              <a:cxn ang="0">
                <a:pos x="connsiteX26698" y="connsiteY26698"/>
              </a:cxn>
              <a:cxn ang="0">
                <a:pos x="connsiteX26699" y="connsiteY26699"/>
              </a:cxn>
              <a:cxn ang="0">
                <a:pos x="connsiteX26700" y="connsiteY26700"/>
              </a:cxn>
              <a:cxn ang="0">
                <a:pos x="connsiteX26701" y="connsiteY26701"/>
              </a:cxn>
              <a:cxn ang="0">
                <a:pos x="connsiteX26702" y="connsiteY26702"/>
              </a:cxn>
              <a:cxn ang="0">
                <a:pos x="connsiteX26703" y="connsiteY26703"/>
              </a:cxn>
              <a:cxn ang="0">
                <a:pos x="connsiteX26704" y="connsiteY26704"/>
              </a:cxn>
              <a:cxn ang="0">
                <a:pos x="connsiteX26705" y="connsiteY26705"/>
              </a:cxn>
              <a:cxn ang="0">
                <a:pos x="connsiteX26706" y="connsiteY26706"/>
              </a:cxn>
              <a:cxn ang="0">
                <a:pos x="connsiteX26707" y="connsiteY26707"/>
              </a:cxn>
              <a:cxn ang="0">
                <a:pos x="connsiteX26708" y="connsiteY26708"/>
              </a:cxn>
              <a:cxn ang="0">
                <a:pos x="connsiteX26709" y="connsiteY26709"/>
              </a:cxn>
              <a:cxn ang="0">
                <a:pos x="connsiteX26710" y="connsiteY26710"/>
              </a:cxn>
              <a:cxn ang="0">
                <a:pos x="connsiteX26711" y="connsiteY26711"/>
              </a:cxn>
              <a:cxn ang="0">
                <a:pos x="connsiteX26712" y="connsiteY26712"/>
              </a:cxn>
              <a:cxn ang="0">
                <a:pos x="connsiteX26713" y="connsiteY26713"/>
              </a:cxn>
              <a:cxn ang="0">
                <a:pos x="connsiteX26714" y="connsiteY26714"/>
              </a:cxn>
              <a:cxn ang="0">
                <a:pos x="connsiteX26715" y="connsiteY26715"/>
              </a:cxn>
              <a:cxn ang="0">
                <a:pos x="connsiteX26716" y="connsiteY26716"/>
              </a:cxn>
              <a:cxn ang="0">
                <a:pos x="connsiteX26717" y="connsiteY26717"/>
              </a:cxn>
              <a:cxn ang="0">
                <a:pos x="connsiteX26718" y="connsiteY26718"/>
              </a:cxn>
              <a:cxn ang="0">
                <a:pos x="connsiteX26719" y="connsiteY26719"/>
              </a:cxn>
              <a:cxn ang="0">
                <a:pos x="connsiteX26720" y="connsiteY26720"/>
              </a:cxn>
              <a:cxn ang="0">
                <a:pos x="connsiteX26721" y="connsiteY26721"/>
              </a:cxn>
              <a:cxn ang="0">
                <a:pos x="connsiteX26722" y="connsiteY26722"/>
              </a:cxn>
              <a:cxn ang="0">
                <a:pos x="connsiteX26723" y="connsiteY26723"/>
              </a:cxn>
              <a:cxn ang="0">
                <a:pos x="connsiteX26724" y="connsiteY26724"/>
              </a:cxn>
              <a:cxn ang="0">
                <a:pos x="connsiteX26725" y="connsiteY26725"/>
              </a:cxn>
              <a:cxn ang="0">
                <a:pos x="connsiteX26726" y="connsiteY26726"/>
              </a:cxn>
              <a:cxn ang="0">
                <a:pos x="connsiteX26727" y="connsiteY26727"/>
              </a:cxn>
              <a:cxn ang="0">
                <a:pos x="connsiteX26728" y="connsiteY26728"/>
              </a:cxn>
              <a:cxn ang="0">
                <a:pos x="connsiteX26729" y="connsiteY26729"/>
              </a:cxn>
              <a:cxn ang="0">
                <a:pos x="connsiteX26730" y="connsiteY26730"/>
              </a:cxn>
              <a:cxn ang="0">
                <a:pos x="connsiteX26731" y="connsiteY26731"/>
              </a:cxn>
              <a:cxn ang="0">
                <a:pos x="connsiteX26732" y="connsiteY26732"/>
              </a:cxn>
              <a:cxn ang="0">
                <a:pos x="connsiteX26733" y="connsiteY26733"/>
              </a:cxn>
              <a:cxn ang="0">
                <a:pos x="connsiteX26734" y="connsiteY26734"/>
              </a:cxn>
              <a:cxn ang="0">
                <a:pos x="connsiteX26735" y="connsiteY26735"/>
              </a:cxn>
              <a:cxn ang="0">
                <a:pos x="connsiteX26736" y="connsiteY26736"/>
              </a:cxn>
              <a:cxn ang="0">
                <a:pos x="connsiteX26737" y="connsiteY26737"/>
              </a:cxn>
              <a:cxn ang="0">
                <a:pos x="connsiteX26738" y="connsiteY26738"/>
              </a:cxn>
              <a:cxn ang="0">
                <a:pos x="connsiteX26739" y="connsiteY26739"/>
              </a:cxn>
              <a:cxn ang="0">
                <a:pos x="connsiteX26740" y="connsiteY26740"/>
              </a:cxn>
              <a:cxn ang="0">
                <a:pos x="connsiteX26741" y="connsiteY26741"/>
              </a:cxn>
              <a:cxn ang="0">
                <a:pos x="connsiteX26742" y="connsiteY26742"/>
              </a:cxn>
              <a:cxn ang="0">
                <a:pos x="connsiteX26743" y="connsiteY26743"/>
              </a:cxn>
              <a:cxn ang="0">
                <a:pos x="connsiteX26744" y="connsiteY26744"/>
              </a:cxn>
              <a:cxn ang="0">
                <a:pos x="connsiteX26745" y="connsiteY26745"/>
              </a:cxn>
              <a:cxn ang="0">
                <a:pos x="connsiteX26746" y="connsiteY26746"/>
              </a:cxn>
              <a:cxn ang="0">
                <a:pos x="connsiteX26747" y="connsiteY26747"/>
              </a:cxn>
              <a:cxn ang="0">
                <a:pos x="connsiteX26748" y="connsiteY26748"/>
              </a:cxn>
              <a:cxn ang="0">
                <a:pos x="connsiteX26749" y="connsiteY26749"/>
              </a:cxn>
              <a:cxn ang="0">
                <a:pos x="connsiteX26750" y="connsiteY26750"/>
              </a:cxn>
              <a:cxn ang="0">
                <a:pos x="connsiteX26751" y="connsiteY26751"/>
              </a:cxn>
              <a:cxn ang="0">
                <a:pos x="connsiteX26752" y="connsiteY26752"/>
              </a:cxn>
              <a:cxn ang="0">
                <a:pos x="connsiteX26753" y="connsiteY26753"/>
              </a:cxn>
              <a:cxn ang="0">
                <a:pos x="connsiteX26754" y="connsiteY26754"/>
              </a:cxn>
              <a:cxn ang="0">
                <a:pos x="connsiteX26755" y="connsiteY26755"/>
              </a:cxn>
              <a:cxn ang="0">
                <a:pos x="connsiteX26756" y="connsiteY26756"/>
              </a:cxn>
              <a:cxn ang="0">
                <a:pos x="connsiteX26757" y="connsiteY26757"/>
              </a:cxn>
              <a:cxn ang="0">
                <a:pos x="connsiteX26758" y="connsiteY26758"/>
              </a:cxn>
              <a:cxn ang="0">
                <a:pos x="connsiteX26759" y="connsiteY26759"/>
              </a:cxn>
              <a:cxn ang="0">
                <a:pos x="connsiteX26760" y="connsiteY26760"/>
              </a:cxn>
              <a:cxn ang="0">
                <a:pos x="connsiteX26761" y="connsiteY26761"/>
              </a:cxn>
              <a:cxn ang="0">
                <a:pos x="connsiteX26762" y="connsiteY26762"/>
              </a:cxn>
              <a:cxn ang="0">
                <a:pos x="connsiteX26763" y="connsiteY26763"/>
              </a:cxn>
              <a:cxn ang="0">
                <a:pos x="connsiteX26764" y="connsiteY26764"/>
              </a:cxn>
              <a:cxn ang="0">
                <a:pos x="connsiteX26765" y="connsiteY26765"/>
              </a:cxn>
              <a:cxn ang="0">
                <a:pos x="connsiteX26766" y="connsiteY26766"/>
              </a:cxn>
              <a:cxn ang="0">
                <a:pos x="connsiteX26767" y="connsiteY26767"/>
              </a:cxn>
              <a:cxn ang="0">
                <a:pos x="connsiteX26768" y="connsiteY26768"/>
              </a:cxn>
              <a:cxn ang="0">
                <a:pos x="connsiteX26769" y="connsiteY26769"/>
              </a:cxn>
              <a:cxn ang="0">
                <a:pos x="connsiteX26770" y="connsiteY26770"/>
              </a:cxn>
              <a:cxn ang="0">
                <a:pos x="connsiteX26771" y="connsiteY26771"/>
              </a:cxn>
              <a:cxn ang="0">
                <a:pos x="connsiteX26772" y="connsiteY26772"/>
              </a:cxn>
              <a:cxn ang="0">
                <a:pos x="connsiteX26773" y="connsiteY26773"/>
              </a:cxn>
              <a:cxn ang="0">
                <a:pos x="connsiteX26774" y="connsiteY26774"/>
              </a:cxn>
              <a:cxn ang="0">
                <a:pos x="connsiteX26775" y="connsiteY26775"/>
              </a:cxn>
              <a:cxn ang="0">
                <a:pos x="connsiteX26776" y="connsiteY26776"/>
              </a:cxn>
              <a:cxn ang="0">
                <a:pos x="connsiteX26777" y="connsiteY26777"/>
              </a:cxn>
              <a:cxn ang="0">
                <a:pos x="connsiteX26778" y="connsiteY26778"/>
              </a:cxn>
              <a:cxn ang="0">
                <a:pos x="connsiteX26779" y="connsiteY26779"/>
              </a:cxn>
              <a:cxn ang="0">
                <a:pos x="connsiteX26780" y="connsiteY26780"/>
              </a:cxn>
              <a:cxn ang="0">
                <a:pos x="connsiteX26781" y="connsiteY26781"/>
              </a:cxn>
              <a:cxn ang="0">
                <a:pos x="connsiteX26782" y="connsiteY26782"/>
              </a:cxn>
              <a:cxn ang="0">
                <a:pos x="connsiteX26783" y="connsiteY26783"/>
              </a:cxn>
              <a:cxn ang="0">
                <a:pos x="connsiteX26784" y="connsiteY26784"/>
              </a:cxn>
              <a:cxn ang="0">
                <a:pos x="connsiteX26785" y="connsiteY26785"/>
              </a:cxn>
              <a:cxn ang="0">
                <a:pos x="connsiteX26786" y="connsiteY26786"/>
              </a:cxn>
              <a:cxn ang="0">
                <a:pos x="connsiteX26787" y="connsiteY26787"/>
              </a:cxn>
              <a:cxn ang="0">
                <a:pos x="connsiteX26788" y="connsiteY26788"/>
              </a:cxn>
              <a:cxn ang="0">
                <a:pos x="connsiteX26789" y="connsiteY26789"/>
              </a:cxn>
              <a:cxn ang="0">
                <a:pos x="connsiteX26790" y="connsiteY26790"/>
              </a:cxn>
              <a:cxn ang="0">
                <a:pos x="connsiteX26791" y="connsiteY26791"/>
              </a:cxn>
              <a:cxn ang="0">
                <a:pos x="connsiteX26792" y="connsiteY26792"/>
              </a:cxn>
              <a:cxn ang="0">
                <a:pos x="connsiteX26793" y="connsiteY26793"/>
              </a:cxn>
              <a:cxn ang="0">
                <a:pos x="connsiteX26794" y="connsiteY26794"/>
              </a:cxn>
              <a:cxn ang="0">
                <a:pos x="connsiteX26795" y="connsiteY26795"/>
              </a:cxn>
              <a:cxn ang="0">
                <a:pos x="connsiteX26796" y="connsiteY26796"/>
              </a:cxn>
              <a:cxn ang="0">
                <a:pos x="connsiteX26797" y="connsiteY26797"/>
              </a:cxn>
              <a:cxn ang="0">
                <a:pos x="connsiteX26798" y="connsiteY26798"/>
              </a:cxn>
              <a:cxn ang="0">
                <a:pos x="connsiteX26799" y="connsiteY26799"/>
              </a:cxn>
              <a:cxn ang="0">
                <a:pos x="connsiteX26800" y="connsiteY26800"/>
              </a:cxn>
              <a:cxn ang="0">
                <a:pos x="connsiteX26801" y="connsiteY26801"/>
              </a:cxn>
              <a:cxn ang="0">
                <a:pos x="connsiteX26802" y="connsiteY26802"/>
              </a:cxn>
              <a:cxn ang="0">
                <a:pos x="connsiteX26803" y="connsiteY26803"/>
              </a:cxn>
              <a:cxn ang="0">
                <a:pos x="connsiteX26804" y="connsiteY26804"/>
              </a:cxn>
              <a:cxn ang="0">
                <a:pos x="connsiteX26805" y="connsiteY26805"/>
              </a:cxn>
              <a:cxn ang="0">
                <a:pos x="connsiteX26806" y="connsiteY26806"/>
              </a:cxn>
              <a:cxn ang="0">
                <a:pos x="connsiteX26807" y="connsiteY26807"/>
              </a:cxn>
              <a:cxn ang="0">
                <a:pos x="connsiteX26808" y="connsiteY26808"/>
              </a:cxn>
              <a:cxn ang="0">
                <a:pos x="connsiteX26809" y="connsiteY26809"/>
              </a:cxn>
              <a:cxn ang="0">
                <a:pos x="connsiteX26810" y="connsiteY26810"/>
              </a:cxn>
              <a:cxn ang="0">
                <a:pos x="connsiteX26811" y="connsiteY26811"/>
              </a:cxn>
              <a:cxn ang="0">
                <a:pos x="connsiteX26812" y="connsiteY26812"/>
              </a:cxn>
              <a:cxn ang="0">
                <a:pos x="connsiteX26813" y="connsiteY26813"/>
              </a:cxn>
              <a:cxn ang="0">
                <a:pos x="connsiteX26814" y="connsiteY26814"/>
              </a:cxn>
              <a:cxn ang="0">
                <a:pos x="connsiteX26815" y="connsiteY26815"/>
              </a:cxn>
              <a:cxn ang="0">
                <a:pos x="connsiteX26816" y="connsiteY26816"/>
              </a:cxn>
              <a:cxn ang="0">
                <a:pos x="connsiteX26817" y="connsiteY26817"/>
              </a:cxn>
              <a:cxn ang="0">
                <a:pos x="connsiteX26818" y="connsiteY26818"/>
              </a:cxn>
              <a:cxn ang="0">
                <a:pos x="connsiteX26819" y="connsiteY26819"/>
              </a:cxn>
              <a:cxn ang="0">
                <a:pos x="connsiteX26820" y="connsiteY26820"/>
              </a:cxn>
              <a:cxn ang="0">
                <a:pos x="connsiteX26821" y="connsiteY26821"/>
              </a:cxn>
              <a:cxn ang="0">
                <a:pos x="connsiteX26822" y="connsiteY26822"/>
              </a:cxn>
              <a:cxn ang="0">
                <a:pos x="connsiteX26823" y="connsiteY26823"/>
              </a:cxn>
              <a:cxn ang="0">
                <a:pos x="connsiteX26824" y="connsiteY26824"/>
              </a:cxn>
              <a:cxn ang="0">
                <a:pos x="connsiteX26825" y="connsiteY26825"/>
              </a:cxn>
              <a:cxn ang="0">
                <a:pos x="connsiteX26826" y="connsiteY26826"/>
              </a:cxn>
              <a:cxn ang="0">
                <a:pos x="connsiteX26827" y="connsiteY26827"/>
              </a:cxn>
              <a:cxn ang="0">
                <a:pos x="connsiteX26828" y="connsiteY26828"/>
              </a:cxn>
              <a:cxn ang="0">
                <a:pos x="connsiteX26829" y="connsiteY26829"/>
              </a:cxn>
              <a:cxn ang="0">
                <a:pos x="connsiteX26830" y="connsiteY26830"/>
              </a:cxn>
              <a:cxn ang="0">
                <a:pos x="connsiteX26831" y="connsiteY26831"/>
              </a:cxn>
              <a:cxn ang="0">
                <a:pos x="connsiteX26832" y="connsiteY26832"/>
              </a:cxn>
              <a:cxn ang="0">
                <a:pos x="connsiteX26833" y="connsiteY26833"/>
              </a:cxn>
              <a:cxn ang="0">
                <a:pos x="connsiteX26834" y="connsiteY26834"/>
              </a:cxn>
              <a:cxn ang="0">
                <a:pos x="connsiteX26835" y="connsiteY26835"/>
              </a:cxn>
              <a:cxn ang="0">
                <a:pos x="connsiteX26836" y="connsiteY26836"/>
              </a:cxn>
              <a:cxn ang="0">
                <a:pos x="connsiteX26837" y="connsiteY26837"/>
              </a:cxn>
              <a:cxn ang="0">
                <a:pos x="connsiteX26838" y="connsiteY26838"/>
              </a:cxn>
              <a:cxn ang="0">
                <a:pos x="connsiteX26839" y="connsiteY26839"/>
              </a:cxn>
              <a:cxn ang="0">
                <a:pos x="connsiteX26840" y="connsiteY26840"/>
              </a:cxn>
              <a:cxn ang="0">
                <a:pos x="connsiteX26841" y="connsiteY26841"/>
              </a:cxn>
              <a:cxn ang="0">
                <a:pos x="connsiteX26842" y="connsiteY26842"/>
              </a:cxn>
              <a:cxn ang="0">
                <a:pos x="connsiteX26843" y="connsiteY26843"/>
              </a:cxn>
              <a:cxn ang="0">
                <a:pos x="connsiteX26844" y="connsiteY26844"/>
              </a:cxn>
              <a:cxn ang="0">
                <a:pos x="connsiteX26845" y="connsiteY26845"/>
              </a:cxn>
              <a:cxn ang="0">
                <a:pos x="connsiteX26846" y="connsiteY26846"/>
              </a:cxn>
              <a:cxn ang="0">
                <a:pos x="connsiteX26847" y="connsiteY26847"/>
              </a:cxn>
              <a:cxn ang="0">
                <a:pos x="connsiteX26848" y="connsiteY26848"/>
              </a:cxn>
              <a:cxn ang="0">
                <a:pos x="connsiteX26849" y="connsiteY26849"/>
              </a:cxn>
              <a:cxn ang="0">
                <a:pos x="connsiteX26850" y="connsiteY26850"/>
              </a:cxn>
              <a:cxn ang="0">
                <a:pos x="connsiteX26851" y="connsiteY26851"/>
              </a:cxn>
              <a:cxn ang="0">
                <a:pos x="connsiteX26852" y="connsiteY26852"/>
              </a:cxn>
              <a:cxn ang="0">
                <a:pos x="connsiteX26853" y="connsiteY26853"/>
              </a:cxn>
              <a:cxn ang="0">
                <a:pos x="connsiteX26854" y="connsiteY26854"/>
              </a:cxn>
              <a:cxn ang="0">
                <a:pos x="connsiteX26855" y="connsiteY26855"/>
              </a:cxn>
              <a:cxn ang="0">
                <a:pos x="connsiteX26856" y="connsiteY26856"/>
              </a:cxn>
              <a:cxn ang="0">
                <a:pos x="connsiteX26857" y="connsiteY26857"/>
              </a:cxn>
              <a:cxn ang="0">
                <a:pos x="connsiteX26858" y="connsiteY26858"/>
              </a:cxn>
              <a:cxn ang="0">
                <a:pos x="connsiteX26859" y="connsiteY26859"/>
              </a:cxn>
              <a:cxn ang="0">
                <a:pos x="connsiteX26860" y="connsiteY26860"/>
              </a:cxn>
              <a:cxn ang="0">
                <a:pos x="connsiteX26861" y="connsiteY26861"/>
              </a:cxn>
              <a:cxn ang="0">
                <a:pos x="connsiteX26862" y="connsiteY26862"/>
              </a:cxn>
              <a:cxn ang="0">
                <a:pos x="connsiteX26863" y="connsiteY26863"/>
              </a:cxn>
              <a:cxn ang="0">
                <a:pos x="connsiteX26864" y="connsiteY26864"/>
              </a:cxn>
              <a:cxn ang="0">
                <a:pos x="connsiteX26865" y="connsiteY26865"/>
              </a:cxn>
              <a:cxn ang="0">
                <a:pos x="connsiteX26866" y="connsiteY26866"/>
              </a:cxn>
              <a:cxn ang="0">
                <a:pos x="connsiteX26867" y="connsiteY26867"/>
              </a:cxn>
              <a:cxn ang="0">
                <a:pos x="connsiteX26868" y="connsiteY26868"/>
              </a:cxn>
              <a:cxn ang="0">
                <a:pos x="connsiteX26869" y="connsiteY26869"/>
              </a:cxn>
              <a:cxn ang="0">
                <a:pos x="connsiteX26870" y="connsiteY26870"/>
              </a:cxn>
              <a:cxn ang="0">
                <a:pos x="connsiteX26871" y="connsiteY26871"/>
              </a:cxn>
              <a:cxn ang="0">
                <a:pos x="connsiteX26872" y="connsiteY26872"/>
              </a:cxn>
              <a:cxn ang="0">
                <a:pos x="connsiteX26873" y="connsiteY26873"/>
              </a:cxn>
              <a:cxn ang="0">
                <a:pos x="connsiteX26874" y="connsiteY26874"/>
              </a:cxn>
              <a:cxn ang="0">
                <a:pos x="connsiteX26875" y="connsiteY26875"/>
              </a:cxn>
              <a:cxn ang="0">
                <a:pos x="connsiteX26876" y="connsiteY26876"/>
              </a:cxn>
              <a:cxn ang="0">
                <a:pos x="connsiteX26877" y="connsiteY26877"/>
              </a:cxn>
              <a:cxn ang="0">
                <a:pos x="connsiteX26878" y="connsiteY26878"/>
              </a:cxn>
              <a:cxn ang="0">
                <a:pos x="connsiteX26879" y="connsiteY26879"/>
              </a:cxn>
              <a:cxn ang="0">
                <a:pos x="connsiteX26880" y="connsiteY26880"/>
              </a:cxn>
              <a:cxn ang="0">
                <a:pos x="connsiteX26881" y="connsiteY26881"/>
              </a:cxn>
              <a:cxn ang="0">
                <a:pos x="connsiteX26882" y="connsiteY26882"/>
              </a:cxn>
              <a:cxn ang="0">
                <a:pos x="connsiteX26883" y="connsiteY26883"/>
              </a:cxn>
              <a:cxn ang="0">
                <a:pos x="connsiteX26884" y="connsiteY26884"/>
              </a:cxn>
              <a:cxn ang="0">
                <a:pos x="connsiteX26885" y="connsiteY26885"/>
              </a:cxn>
              <a:cxn ang="0">
                <a:pos x="connsiteX26886" y="connsiteY26886"/>
              </a:cxn>
              <a:cxn ang="0">
                <a:pos x="connsiteX26887" y="connsiteY26887"/>
              </a:cxn>
              <a:cxn ang="0">
                <a:pos x="connsiteX26888" y="connsiteY26888"/>
              </a:cxn>
              <a:cxn ang="0">
                <a:pos x="connsiteX26889" y="connsiteY26889"/>
              </a:cxn>
              <a:cxn ang="0">
                <a:pos x="connsiteX26890" y="connsiteY26890"/>
              </a:cxn>
              <a:cxn ang="0">
                <a:pos x="connsiteX26891" y="connsiteY26891"/>
              </a:cxn>
              <a:cxn ang="0">
                <a:pos x="connsiteX26892" y="connsiteY26892"/>
              </a:cxn>
              <a:cxn ang="0">
                <a:pos x="connsiteX26893" y="connsiteY26893"/>
              </a:cxn>
              <a:cxn ang="0">
                <a:pos x="connsiteX26894" y="connsiteY26894"/>
              </a:cxn>
              <a:cxn ang="0">
                <a:pos x="connsiteX26895" y="connsiteY26895"/>
              </a:cxn>
              <a:cxn ang="0">
                <a:pos x="connsiteX26896" y="connsiteY26896"/>
              </a:cxn>
              <a:cxn ang="0">
                <a:pos x="connsiteX26897" y="connsiteY26897"/>
              </a:cxn>
              <a:cxn ang="0">
                <a:pos x="connsiteX26898" y="connsiteY26898"/>
              </a:cxn>
              <a:cxn ang="0">
                <a:pos x="connsiteX26899" y="connsiteY26899"/>
              </a:cxn>
              <a:cxn ang="0">
                <a:pos x="connsiteX26900" y="connsiteY26900"/>
              </a:cxn>
              <a:cxn ang="0">
                <a:pos x="connsiteX26901" y="connsiteY26901"/>
              </a:cxn>
              <a:cxn ang="0">
                <a:pos x="connsiteX26902" y="connsiteY26902"/>
              </a:cxn>
              <a:cxn ang="0">
                <a:pos x="connsiteX26903" y="connsiteY26903"/>
              </a:cxn>
              <a:cxn ang="0">
                <a:pos x="connsiteX26904" y="connsiteY26904"/>
              </a:cxn>
              <a:cxn ang="0">
                <a:pos x="connsiteX26905" y="connsiteY26905"/>
              </a:cxn>
              <a:cxn ang="0">
                <a:pos x="connsiteX26906" y="connsiteY26906"/>
              </a:cxn>
              <a:cxn ang="0">
                <a:pos x="connsiteX26907" y="connsiteY26907"/>
              </a:cxn>
              <a:cxn ang="0">
                <a:pos x="connsiteX26908" y="connsiteY26908"/>
              </a:cxn>
              <a:cxn ang="0">
                <a:pos x="connsiteX26909" y="connsiteY26909"/>
              </a:cxn>
              <a:cxn ang="0">
                <a:pos x="connsiteX26910" y="connsiteY26910"/>
              </a:cxn>
              <a:cxn ang="0">
                <a:pos x="connsiteX26911" y="connsiteY26911"/>
              </a:cxn>
              <a:cxn ang="0">
                <a:pos x="connsiteX26912" y="connsiteY26912"/>
              </a:cxn>
              <a:cxn ang="0">
                <a:pos x="connsiteX26913" y="connsiteY26913"/>
              </a:cxn>
              <a:cxn ang="0">
                <a:pos x="connsiteX26914" y="connsiteY26914"/>
              </a:cxn>
              <a:cxn ang="0">
                <a:pos x="connsiteX26915" y="connsiteY26915"/>
              </a:cxn>
              <a:cxn ang="0">
                <a:pos x="connsiteX26916" y="connsiteY26916"/>
              </a:cxn>
              <a:cxn ang="0">
                <a:pos x="connsiteX26917" y="connsiteY26917"/>
              </a:cxn>
              <a:cxn ang="0">
                <a:pos x="connsiteX26918" y="connsiteY26918"/>
              </a:cxn>
              <a:cxn ang="0">
                <a:pos x="connsiteX26919" y="connsiteY26919"/>
              </a:cxn>
              <a:cxn ang="0">
                <a:pos x="connsiteX26920" y="connsiteY26920"/>
              </a:cxn>
              <a:cxn ang="0">
                <a:pos x="connsiteX26921" y="connsiteY26921"/>
              </a:cxn>
              <a:cxn ang="0">
                <a:pos x="connsiteX26922" y="connsiteY26922"/>
              </a:cxn>
              <a:cxn ang="0">
                <a:pos x="connsiteX26923" y="connsiteY26923"/>
              </a:cxn>
              <a:cxn ang="0">
                <a:pos x="connsiteX26924" y="connsiteY26924"/>
              </a:cxn>
              <a:cxn ang="0">
                <a:pos x="connsiteX26925" y="connsiteY26925"/>
              </a:cxn>
              <a:cxn ang="0">
                <a:pos x="connsiteX26926" y="connsiteY26926"/>
              </a:cxn>
              <a:cxn ang="0">
                <a:pos x="connsiteX26927" y="connsiteY26927"/>
              </a:cxn>
              <a:cxn ang="0">
                <a:pos x="connsiteX26928" y="connsiteY26928"/>
              </a:cxn>
              <a:cxn ang="0">
                <a:pos x="connsiteX26929" y="connsiteY26929"/>
              </a:cxn>
              <a:cxn ang="0">
                <a:pos x="connsiteX26930" y="connsiteY26930"/>
              </a:cxn>
              <a:cxn ang="0">
                <a:pos x="connsiteX26931" y="connsiteY26931"/>
              </a:cxn>
              <a:cxn ang="0">
                <a:pos x="connsiteX26932" y="connsiteY26932"/>
              </a:cxn>
              <a:cxn ang="0">
                <a:pos x="connsiteX26933" y="connsiteY26933"/>
              </a:cxn>
              <a:cxn ang="0">
                <a:pos x="connsiteX26934" y="connsiteY26934"/>
              </a:cxn>
              <a:cxn ang="0">
                <a:pos x="connsiteX26935" y="connsiteY26935"/>
              </a:cxn>
              <a:cxn ang="0">
                <a:pos x="connsiteX26936" y="connsiteY26936"/>
              </a:cxn>
              <a:cxn ang="0">
                <a:pos x="connsiteX26937" y="connsiteY26937"/>
              </a:cxn>
              <a:cxn ang="0">
                <a:pos x="connsiteX26938" y="connsiteY26938"/>
              </a:cxn>
              <a:cxn ang="0">
                <a:pos x="connsiteX26939" y="connsiteY26939"/>
              </a:cxn>
              <a:cxn ang="0">
                <a:pos x="connsiteX26940" y="connsiteY26940"/>
              </a:cxn>
              <a:cxn ang="0">
                <a:pos x="connsiteX26941" y="connsiteY26941"/>
              </a:cxn>
              <a:cxn ang="0">
                <a:pos x="connsiteX26942" y="connsiteY26942"/>
              </a:cxn>
              <a:cxn ang="0">
                <a:pos x="connsiteX26943" y="connsiteY26943"/>
              </a:cxn>
              <a:cxn ang="0">
                <a:pos x="connsiteX26944" y="connsiteY26944"/>
              </a:cxn>
              <a:cxn ang="0">
                <a:pos x="connsiteX26945" y="connsiteY26945"/>
              </a:cxn>
              <a:cxn ang="0">
                <a:pos x="connsiteX26946" y="connsiteY26946"/>
              </a:cxn>
              <a:cxn ang="0">
                <a:pos x="connsiteX26947" y="connsiteY26947"/>
              </a:cxn>
              <a:cxn ang="0">
                <a:pos x="connsiteX26948" y="connsiteY26948"/>
              </a:cxn>
              <a:cxn ang="0">
                <a:pos x="connsiteX26949" y="connsiteY26949"/>
              </a:cxn>
              <a:cxn ang="0">
                <a:pos x="connsiteX26950" y="connsiteY26950"/>
              </a:cxn>
              <a:cxn ang="0">
                <a:pos x="connsiteX26951" y="connsiteY26951"/>
              </a:cxn>
              <a:cxn ang="0">
                <a:pos x="connsiteX26952" y="connsiteY26952"/>
              </a:cxn>
              <a:cxn ang="0">
                <a:pos x="connsiteX26953" y="connsiteY26953"/>
              </a:cxn>
              <a:cxn ang="0">
                <a:pos x="connsiteX26954" y="connsiteY26954"/>
              </a:cxn>
              <a:cxn ang="0">
                <a:pos x="connsiteX26955" y="connsiteY26955"/>
              </a:cxn>
              <a:cxn ang="0">
                <a:pos x="connsiteX26956" y="connsiteY26956"/>
              </a:cxn>
              <a:cxn ang="0">
                <a:pos x="connsiteX26957" y="connsiteY26957"/>
              </a:cxn>
              <a:cxn ang="0">
                <a:pos x="connsiteX26958" y="connsiteY26958"/>
              </a:cxn>
              <a:cxn ang="0">
                <a:pos x="connsiteX26959" y="connsiteY26959"/>
              </a:cxn>
              <a:cxn ang="0">
                <a:pos x="connsiteX26960" y="connsiteY26960"/>
              </a:cxn>
              <a:cxn ang="0">
                <a:pos x="connsiteX26961" y="connsiteY26961"/>
              </a:cxn>
              <a:cxn ang="0">
                <a:pos x="connsiteX26962" y="connsiteY26962"/>
              </a:cxn>
              <a:cxn ang="0">
                <a:pos x="connsiteX26963" y="connsiteY26963"/>
              </a:cxn>
              <a:cxn ang="0">
                <a:pos x="connsiteX26964" y="connsiteY26964"/>
              </a:cxn>
              <a:cxn ang="0">
                <a:pos x="connsiteX26965" y="connsiteY26965"/>
              </a:cxn>
              <a:cxn ang="0">
                <a:pos x="connsiteX26966" y="connsiteY26966"/>
              </a:cxn>
              <a:cxn ang="0">
                <a:pos x="connsiteX26967" y="connsiteY26967"/>
              </a:cxn>
              <a:cxn ang="0">
                <a:pos x="connsiteX26968" y="connsiteY26968"/>
              </a:cxn>
              <a:cxn ang="0">
                <a:pos x="connsiteX26969" y="connsiteY26969"/>
              </a:cxn>
              <a:cxn ang="0">
                <a:pos x="connsiteX26970" y="connsiteY26970"/>
              </a:cxn>
              <a:cxn ang="0">
                <a:pos x="connsiteX26971" y="connsiteY26971"/>
              </a:cxn>
              <a:cxn ang="0">
                <a:pos x="connsiteX26972" y="connsiteY26972"/>
              </a:cxn>
              <a:cxn ang="0">
                <a:pos x="connsiteX26973" y="connsiteY26973"/>
              </a:cxn>
              <a:cxn ang="0">
                <a:pos x="connsiteX26974" y="connsiteY26974"/>
              </a:cxn>
              <a:cxn ang="0">
                <a:pos x="connsiteX26975" y="connsiteY26975"/>
              </a:cxn>
              <a:cxn ang="0">
                <a:pos x="connsiteX26976" y="connsiteY26976"/>
              </a:cxn>
              <a:cxn ang="0">
                <a:pos x="connsiteX26977" y="connsiteY26977"/>
              </a:cxn>
              <a:cxn ang="0">
                <a:pos x="connsiteX26978" y="connsiteY26978"/>
              </a:cxn>
              <a:cxn ang="0">
                <a:pos x="connsiteX26979" y="connsiteY26979"/>
              </a:cxn>
              <a:cxn ang="0">
                <a:pos x="connsiteX26980" y="connsiteY26980"/>
              </a:cxn>
              <a:cxn ang="0">
                <a:pos x="connsiteX26981" y="connsiteY26981"/>
              </a:cxn>
              <a:cxn ang="0">
                <a:pos x="connsiteX26982" y="connsiteY26982"/>
              </a:cxn>
              <a:cxn ang="0">
                <a:pos x="connsiteX26983" y="connsiteY26983"/>
              </a:cxn>
              <a:cxn ang="0">
                <a:pos x="connsiteX26984" y="connsiteY26984"/>
              </a:cxn>
              <a:cxn ang="0">
                <a:pos x="connsiteX26985" y="connsiteY26985"/>
              </a:cxn>
              <a:cxn ang="0">
                <a:pos x="connsiteX26986" y="connsiteY26986"/>
              </a:cxn>
              <a:cxn ang="0">
                <a:pos x="connsiteX26987" y="connsiteY26987"/>
              </a:cxn>
              <a:cxn ang="0">
                <a:pos x="connsiteX26988" y="connsiteY26988"/>
              </a:cxn>
              <a:cxn ang="0">
                <a:pos x="connsiteX26989" y="connsiteY26989"/>
              </a:cxn>
              <a:cxn ang="0">
                <a:pos x="connsiteX26990" y="connsiteY26990"/>
              </a:cxn>
              <a:cxn ang="0">
                <a:pos x="connsiteX26991" y="connsiteY26991"/>
              </a:cxn>
              <a:cxn ang="0">
                <a:pos x="connsiteX26992" y="connsiteY26992"/>
              </a:cxn>
              <a:cxn ang="0">
                <a:pos x="connsiteX26993" y="connsiteY26993"/>
              </a:cxn>
              <a:cxn ang="0">
                <a:pos x="connsiteX26994" y="connsiteY26994"/>
              </a:cxn>
              <a:cxn ang="0">
                <a:pos x="connsiteX26995" y="connsiteY26995"/>
              </a:cxn>
              <a:cxn ang="0">
                <a:pos x="connsiteX26996" y="connsiteY26996"/>
              </a:cxn>
              <a:cxn ang="0">
                <a:pos x="connsiteX26997" y="connsiteY26997"/>
              </a:cxn>
              <a:cxn ang="0">
                <a:pos x="connsiteX26998" y="connsiteY26998"/>
              </a:cxn>
              <a:cxn ang="0">
                <a:pos x="connsiteX26999" y="connsiteY26999"/>
              </a:cxn>
              <a:cxn ang="0">
                <a:pos x="connsiteX27000" y="connsiteY27000"/>
              </a:cxn>
              <a:cxn ang="0">
                <a:pos x="connsiteX27001" y="connsiteY27001"/>
              </a:cxn>
              <a:cxn ang="0">
                <a:pos x="connsiteX27002" y="connsiteY27002"/>
              </a:cxn>
              <a:cxn ang="0">
                <a:pos x="connsiteX27003" y="connsiteY27003"/>
              </a:cxn>
              <a:cxn ang="0">
                <a:pos x="connsiteX27004" y="connsiteY27004"/>
              </a:cxn>
              <a:cxn ang="0">
                <a:pos x="connsiteX27005" y="connsiteY27005"/>
              </a:cxn>
              <a:cxn ang="0">
                <a:pos x="connsiteX27006" y="connsiteY27006"/>
              </a:cxn>
              <a:cxn ang="0">
                <a:pos x="connsiteX27007" y="connsiteY27007"/>
              </a:cxn>
              <a:cxn ang="0">
                <a:pos x="connsiteX27008" y="connsiteY27008"/>
              </a:cxn>
              <a:cxn ang="0">
                <a:pos x="connsiteX27009" y="connsiteY27009"/>
              </a:cxn>
              <a:cxn ang="0">
                <a:pos x="connsiteX27010" y="connsiteY27010"/>
              </a:cxn>
              <a:cxn ang="0">
                <a:pos x="connsiteX27011" y="connsiteY27011"/>
              </a:cxn>
              <a:cxn ang="0">
                <a:pos x="connsiteX27012" y="connsiteY27012"/>
              </a:cxn>
              <a:cxn ang="0">
                <a:pos x="connsiteX27013" y="connsiteY27013"/>
              </a:cxn>
              <a:cxn ang="0">
                <a:pos x="connsiteX27014" y="connsiteY27014"/>
              </a:cxn>
              <a:cxn ang="0">
                <a:pos x="connsiteX27015" y="connsiteY27015"/>
              </a:cxn>
              <a:cxn ang="0">
                <a:pos x="connsiteX27016" y="connsiteY27016"/>
              </a:cxn>
              <a:cxn ang="0">
                <a:pos x="connsiteX27017" y="connsiteY27017"/>
              </a:cxn>
              <a:cxn ang="0">
                <a:pos x="connsiteX27018" y="connsiteY27018"/>
              </a:cxn>
              <a:cxn ang="0">
                <a:pos x="connsiteX27019" y="connsiteY27019"/>
              </a:cxn>
              <a:cxn ang="0">
                <a:pos x="connsiteX27020" y="connsiteY27020"/>
              </a:cxn>
              <a:cxn ang="0">
                <a:pos x="connsiteX27021" y="connsiteY27021"/>
              </a:cxn>
              <a:cxn ang="0">
                <a:pos x="connsiteX27022" y="connsiteY27022"/>
              </a:cxn>
              <a:cxn ang="0">
                <a:pos x="connsiteX27023" y="connsiteY27023"/>
              </a:cxn>
              <a:cxn ang="0">
                <a:pos x="connsiteX27024" y="connsiteY27024"/>
              </a:cxn>
              <a:cxn ang="0">
                <a:pos x="connsiteX27025" y="connsiteY27025"/>
              </a:cxn>
              <a:cxn ang="0">
                <a:pos x="connsiteX27026" y="connsiteY27026"/>
              </a:cxn>
              <a:cxn ang="0">
                <a:pos x="connsiteX27027" y="connsiteY27027"/>
              </a:cxn>
              <a:cxn ang="0">
                <a:pos x="connsiteX27028" y="connsiteY27028"/>
              </a:cxn>
              <a:cxn ang="0">
                <a:pos x="connsiteX27029" y="connsiteY27029"/>
              </a:cxn>
              <a:cxn ang="0">
                <a:pos x="connsiteX27030" y="connsiteY27030"/>
              </a:cxn>
              <a:cxn ang="0">
                <a:pos x="connsiteX27031" y="connsiteY27031"/>
              </a:cxn>
              <a:cxn ang="0">
                <a:pos x="connsiteX27032" y="connsiteY27032"/>
              </a:cxn>
              <a:cxn ang="0">
                <a:pos x="connsiteX27033" y="connsiteY27033"/>
              </a:cxn>
              <a:cxn ang="0">
                <a:pos x="connsiteX27034" y="connsiteY27034"/>
              </a:cxn>
              <a:cxn ang="0">
                <a:pos x="connsiteX27035" y="connsiteY27035"/>
              </a:cxn>
              <a:cxn ang="0">
                <a:pos x="connsiteX27036" y="connsiteY27036"/>
              </a:cxn>
              <a:cxn ang="0">
                <a:pos x="connsiteX27037" y="connsiteY27037"/>
              </a:cxn>
              <a:cxn ang="0">
                <a:pos x="connsiteX27038" y="connsiteY27038"/>
              </a:cxn>
              <a:cxn ang="0">
                <a:pos x="connsiteX27039" y="connsiteY27039"/>
              </a:cxn>
              <a:cxn ang="0">
                <a:pos x="connsiteX27040" y="connsiteY27040"/>
              </a:cxn>
              <a:cxn ang="0">
                <a:pos x="connsiteX27041" y="connsiteY27041"/>
              </a:cxn>
              <a:cxn ang="0">
                <a:pos x="connsiteX27042" y="connsiteY27042"/>
              </a:cxn>
              <a:cxn ang="0">
                <a:pos x="connsiteX27043" y="connsiteY27043"/>
              </a:cxn>
              <a:cxn ang="0">
                <a:pos x="connsiteX27044" y="connsiteY27044"/>
              </a:cxn>
              <a:cxn ang="0">
                <a:pos x="connsiteX27045" y="connsiteY27045"/>
              </a:cxn>
              <a:cxn ang="0">
                <a:pos x="connsiteX27046" y="connsiteY27046"/>
              </a:cxn>
              <a:cxn ang="0">
                <a:pos x="connsiteX27047" y="connsiteY27047"/>
              </a:cxn>
              <a:cxn ang="0">
                <a:pos x="connsiteX27048" y="connsiteY27048"/>
              </a:cxn>
              <a:cxn ang="0">
                <a:pos x="connsiteX27049" y="connsiteY27049"/>
              </a:cxn>
              <a:cxn ang="0">
                <a:pos x="connsiteX27050" y="connsiteY27050"/>
              </a:cxn>
              <a:cxn ang="0">
                <a:pos x="connsiteX27051" y="connsiteY27051"/>
              </a:cxn>
              <a:cxn ang="0">
                <a:pos x="connsiteX27052" y="connsiteY27052"/>
              </a:cxn>
              <a:cxn ang="0">
                <a:pos x="connsiteX27053" y="connsiteY27053"/>
              </a:cxn>
              <a:cxn ang="0">
                <a:pos x="connsiteX27054" y="connsiteY27054"/>
              </a:cxn>
              <a:cxn ang="0">
                <a:pos x="connsiteX27055" y="connsiteY27055"/>
              </a:cxn>
              <a:cxn ang="0">
                <a:pos x="connsiteX27056" y="connsiteY27056"/>
              </a:cxn>
              <a:cxn ang="0">
                <a:pos x="connsiteX27057" y="connsiteY27057"/>
              </a:cxn>
              <a:cxn ang="0">
                <a:pos x="connsiteX27058" y="connsiteY27058"/>
              </a:cxn>
              <a:cxn ang="0">
                <a:pos x="connsiteX27059" y="connsiteY27059"/>
              </a:cxn>
              <a:cxn ang="0">
                <a:pos x="connsiteX27060" y="connsiteY27060"/>
              </a:cxn>
              <a:cxn ang="0">
                <a:pos x="connsiteX27061" y="connsiteY27061"/>
              </a:cxn>
              <a:cxn ang="0">
                <a:pos x="connsiteX27062" y="connsiteY27062"/>
              </a:cxn>
              <a:cxn ang="0">
                <a:pos x="connsiteX27063" y="connsiteY27063"/>
              </a:cxn>
              <a:cxn ang="0">
                <a:pos x="connsiteX27064" y="connsiteY27064"/>
              </a:cxn>
              <a:cxn ang="0">
                <a:pos x="connsiteX27065" y="connsiteY27065"/>
              </a:cxn>
              <a:cxn ang="0">
                <a:pos x="connsiteX27066" y="connsiteY27066"/>
              </a:cxn>
              <a:cxn ang="0">
                <a:pos x="connsiteX27067" y="connsiteY27067"/>
              </a:cxn>
              <a:cxn ang="0">
                <a:pos x="connsiteX27068" y="connsiteY27068"/>
              </a:cxn>
              <a:cxn ang="0">
                <a:pos x="connsiteX27069" y="connsiteY27069"/>
              </a:cxn>
              <a:cxn ang="0">
                <a:pos x="connsiteX27070" y="connsiteY27070"/>
              </a:cxn>
              <a:cxn ang="0">
                <a:pos x="connsiteX27071" y="connsiteY27071"/>
              </a:cxn>
              <a:cxn ang="0">
                <a:pos x="connsiteX27072" y="connsiteY27072"/>
              </a:cxn>
              <a:cxn ang="0">
                <a:pos x="connsiteX27073" y="connsiteY27073"/>
              </a:cxn>
              <a:cxn ang="0">
                <a:pos x="connsiteX27074" y="connsiteY27074"/>
              </a:cxn>
              <a:cxn ang="0">
                <a:pos x="connsiteX27075" y="connsiteY27075"/>
              </a:cxn>
              <a:cxn ang="0">
                <a:pos x="connsiteX27076" y="connsiteY27076"/>
              </a:cxn>
              <a:cxn ang="0">
                <a:pos x="connsiteX27077" y="connsiteY27077"/>
              </a:cxn>
              <a:cxn ang="0">
                <a:pos x="connsiteX27078" y="connsiteY27078"/>
              </a:cxn>
              <a:cxn ang="0">
                <a:pos x="connsiteX27079" y="connsiteY27079"/>
              </a:cxn>
              <a:cxn ang="0">
                <a:pos x="connsiteX27080" y="connsiteY27080"/>
              </a:cxn>
              <a:cxn ang="0">
                <a:pos x="connsiteX27081" y="connsiteY27081"/>
              </a:cxn>
              <a:cxn ang="0">
                <a:pos x="connsiteX27082" y="connsiteY27082"/>
              </a:cxn>
              <a:cxn ang="0">
                <a:pos x="connsiteX27083" y="connsiteY27083"/>
              </a:cxn>
              <a:cxn ang="0">
                <a:pos x="connsiteX27084" y="connsiteY27084"/>
              </a:cxn>
              <a:cxn ang="0">
                <a:pos x="connsiteX27085" y="connsiteY27085"/>
              </a:cxn>
              <a:cxn ang="0">
                <a:pos x="connsiteX27086" y="connsiteY27086"/>
              </a:cxn>
              <a:cxn ang="0">
                <a:pos x="connsiteX27087" y="connsiteY27087"/>
              </a:cxn>
              <a:cxn ang="0">
                <a:pos x="connsiteX27088" y="connsiteY27088"/>
              </a:cxn>
              <a:cxn ang="0">
                <a:pos x="connsiteX27089" y="connsiteY27089"/>
              </a:cxn>
              <a:cxn ang="0">
                <a:pos x="connsiteX27090" y="connsiteY27090"/>
              </a:cxn>
              <a:cxn ang="0">
                <a:pos x="connsiteX27091" y="connsiteY27091"/>
              </a:cxn>
              <a:cxn ang="0">
                <a:pos x="connsiteX27092" y="connsiteY27092"/>
              </a:cxn>
              <a:cxn ang="0">
                <a:pos x="connsiteX27093" y="connsiteY27093"/>
              </a:cxn>
              <a:cxn ang="0">
                <a:pos x="connsiteX27094" y="connsiteY27094"/>
              </a:cxn>
              <a:cxn ang="0">
                <a:pos x="connsiteX27095" y="connsiteY27095"/>
              </a:cxn>
              <a:cxn ang="0">
                <a:pos x="connsiteX27096" y="connsiteY27096"/>
              </a:cxn>
              <a:cxn ang="0">
                <a:pos x="connsiteX27097" y="connsiteY27097"/>
              </a:cxn>
              <a:cxn ang="0">
                <a:pos x="connsiteX27098" y="connsiteY27098"/>
              </a:cxn>
              <a:cxn ang="0">
                <a:pos x="connsiteX27099" y="connsiteY27099"/>
              </a:cxn>
              <a:cxn ang="0">
                <a:pos x="connsiteX27100" y="connsiteY27100"/>
              </a:cxn>
              <a:cxn ang="0">
                <a:pos x="connsiteX27101" y="connsiteY27101"/>
              </a:cxn>
              <a:cxn ang="0">
                <a:pos x="connsiteX27102" y="connsiteY27102"/>
              </a:cxn>
              <a:cxn ang="0">
                <a:pos x="connsiteX27103" y="connsiteY27103"/>
              </a:cxn>
              <a:cxn ang="0">
                <a:pos x="connsiteX27104" y="connsiteY27104"/>
              </a:cxn>
              <a:cxn ang="0">
                <a:pos x="connsiteX27105" y="connsiteY27105"/>
              </a:cxn>
              <a:cxn ang="0">
                <a:pos x="connsiteX27106" y="connsiteY27106"/>
              </a:cxn>
              <a:cxn ang="0">
                <a:pos x="connsiteX27107" y="connsiteY27107"/>
              </a:cxn>
              <a:cxn ang="0">
                <a:pos x="connsiteX27108" y="connsiteY27108"/>
              </a:cxn>
              <a:cxn ang="0">
                <a:pos x="connsiteX27109" y="connsiteY27109"/>
              </a:cxn>
              <a:cxn ang="0">
                <a:pos x="connsiteX27110" y="connsiteY27110"/>
              </a:cxn>
              <a:cxn ang="0">
                <a:pos x="connsiteX27111" y="connsiteY27111"/>
              </a:cxn>
              <a:cxn ang="0">
                <a:pos x="connsiteX27112" y="connsiteY27112"/>
              </a:cxn>
              <a:cxn ang="0">
                <a:pos x="connsiteX27113" y="connsiteY27113"/>
              </a:cxn>
              <a:cxn ang="0">
                <a:pos x="connsiteX27114" y="connsiteY27114"/>
              </a:cxn>
              <a:cxn ang="0">
                <a:pos x="connsiteX27115" y="connsiteY27115"/>
              </a:cxn>
              <a:cxn ang="0">
                <a:pos x="connsiteX27116" y="connsiteY27116"/>
              </a:cxn>
              <a:cxn ang="0">
                <a:pos x="connsiteX27117" y="connsiteY27117"/>
              </a:cxn>
              <a:cxn ang="0">
                <a:pos x="connsiteX27118" y="connsiteY27118"/>
              </a:cxn>
              <a:cxn ang="0">
                <a:pos x="connsiteX27119" y="connsiteY27119"/>
              </a:cxn>
              <a:cxn ang="0">
                <a:pos x="connsiteX27120" y="connsiteY27120"/>
              </a:cxn>
              <a:cxn ang="0">
                <a:pos x="connsiteX27121" y="connsiteY27121"/>
              </a:cxn>
              <a:cxn ang="0">
                <a:pos x="connsiteX27122" y="connsiteY27122"/>
              </a:cxn>
              <a:cxn ang="0">
                <a:pos x="connsiteX27123" y="connsiteY27123"/>
              </a:cxn>
              <a:cxn ang="0">
                <a:pos x="connsiteX27124" y="connsiteY27124"/>
              </a:cxn>
              <a:cxn ang="0">
                <a:pos x="connsiteX27125" y="connsiteY27125"/>
              </a:cxn>
              <a:cxn ang="0">
                <a:pos x="connsiteX27126" y="connsiteY27126"/>
              </a:cxn>
              <a:cxn ang="0">
                <a:pos x="connsiteX27127" y="connsiteY27127"/>
              </a:cxn>
              <a:cxn ang="0">
                <a:pos x="connsiteX27128" y="connsiteY27128"/>
              </a:cxn>
              <a:cxn ang="0">
                <a:pos x="connsiteX27129" y="connsiteY27129"/>
              </a:cxn>
              <a:cxn ang="0">
                <a:pos x="connsiteX27130" y="connsiteY27130"/>
              </a:cxn>
              <a:cxn ang="0">
                <a:pos x="connsiteX27131" y="connsiteY27131"/>
              </a:cxn>
              <a:cxn ang="0">
                <a:pos x="connsiteX27132" y="connsiteY27132"/>
              </a:cxn>
              <a:cxn ang="0">
                <a:pos x="connsiteX27133" y="connsiteY27133"/>
              </a:cxn>
              <a:cxn ang="0">
                <a:pos x="connsiteX27134" y="connsiteY27134"/>
              </a:cxn>
              <a:cxn ang="0">
                <a:pos x="connsiteX27135" y="connsiteY27135"/>
              </a:cxn>
              <a:cxn ang="0">
                <a:pos x="connsiteX27136" y="connsiteY27136"/>
              </a:cxn>
              <a:cxn ang="0">
                <a:pos x="connsiteX27137" y="connsiteY27137"/>
              </a:cxn>
              <a:cxn ang="0">
                <a:pos x="connsiteX27138" y="connsiteY27138"/>
              </a:cxn>
              <a:cxn ang="0">
                <a:pos x="connsiteX27139" y="connsiteY27139"/>
              </a:cxn>
              <a:cxn ang="0">
                <a:pos x="connsiteX27140" y="connsiteY27140"/>
              </a:cxn>
              <a:cxn ang="0">
                <a:pos x="connsiteX27141" y="connsiteY27141"/>
              </a:cxn>
              <a:cxn ang="0">
                <a:pos x="connsiteX27142" y="connsiteY27142"/>
              </a:cxn>
              <a:cxn ang="0">
                <a:pos x="connsiteX27143" y="connsiteY27143"/>
              </a:cxn>
              <a:cxn ang="0">
                <a:pos x="connsiteX27144" y="connsiteY27144"/>
              </a:cxn>
              <a:cxn ang="0">
                <a:pos x="connsiteX27145" y="connsiteY27145"/>
              </a:cxn>
              <a:cxn ang="0">
                <a:pos x="connsiteX27146" y="connsiteY27146"/>
              </a:cxn>
              <a:cxn ang="0">
                <a:pos x="connsiteX27147" y="connsiteY27147"/>
              </a:cxn>
              <a:cxn ang="0">
                <a:pos x="connsiteX27148" y="connsiteY27148"/>
              </a:cxn>
              <a:cxn ang="0">
                <a:pos x="connsiteX27149" y="connsiteY27149"/>
              </a:cxn>
              <a:cxn ang="0">
                <a:pos x="connsiteX27150" y="connsiteY27150"/>
              </a:cxn>
              <a:cxn ang="0">
                <a:pos x="connsiteX27151" y="connsiteY27151"/>
              </a:cxn>
              <a:cxn ang="0">
                <a:pos x="connsiteX27152" y="connsiteY27152"/>
              </a:cxn>
              <a:cxn ang="0">
                <a:pos x="connsiteX27153" y="connsiteY27153"/>
              </a:cxn>
              <a:cxn ang="0">
                <a:pos x="connsiteX27154" y="connsiteY27154"/>
              </a:cxn>
              <a:cxn ang="0">
                <a:pos x="connsiteX27155" y="connsiteY27155"/>
              </a:cxn>
              <a:cxn ang="0">
                <a:pos x="connsiteX27156" y="connsiteY27156"/>
              </a:cxn>
              <a:cxn ang="0">
                <a:pos x="connsiteX27157" y="connsiteY27157"/>
              </a:cxn>
              <a:cxn ang="0">
                <a:pos x="connsiteX27158" y="connsiteY27158"/>
              </a:cxn>
              <a:cxn ang="0">
                <a:pos x="connsiteX27159" y="connsiteY27159"/>
              </a:cxn>
              <a:cxn ang="0">
                <a:pos x="connsiteX27160" y="connsiteY27160"/>
              </a:cxn>
              <a:cxn ang="0">
                <a:pos x="connsiteX27161" y="connsiteY27161"/>
              </a:cxn>
              <a:cxn ang="0">
                <a:pos x="connsiteX27162" y="connsiteY27162"/>
              </a:cxn>
              <a:cxn ang="0">
                <a:pos x="connsiteX27163" y="connsiteY27163"/>
              </a:cxn>
              <a:cxn ang="0">
                <a:pos x="connsiteX27164" y="connsiteY27164"/>
              </a:cxn>
              <a:cxn ang="0">
                <a:pos x="connsiteX27165" y="connsiteY27165"/>
              </a:cxn>
              <a:cxn ang="0">
                <a:pos x="connsiteX27166" y="connsiteY27166"/>
              </a:cxn>
              <a:cxn ang="0">
                <a:pos x="connsiteX27167" y="connsiteY27167"/>
              </a:cxn>
              <a:cxn ang="0">
                <a:pos x="connsiteX27168" y="connsiteY27168"/>
              </a:cxn>
              <a:cxn ang="0">
                <a:pos x="connsiteX27169" y="connsiteY27169"/>
              </a:cxn>
              <a:cxn ang="0">
                <a:pos x="connsiteX27170" y="connsiteY27170"/>
              </a:cxn>
              <a:cxn ang="0">
                <a:pos x="connsiteX27171" y="connsiteY27171"/>
              </a:cxn>
              <a:cxn ang="0">
                <a:pos x="connsiteX27172" y="connsiteY27172"/>
              </a:cxn>
              <a:cxn ang="0">
                <a:pos x="connsiteX27173" y="connsiteY27173"/>
              </a:cxn>
              <a:cxn ang="0">
                <a:pos x="connsiteX27174" y="connsiteY27174"/>
              </a:cxn>
              <a:cxn ang="0">
                <a:pos x="connsiteX27175" y="connsiteY27175"/>
              </a:cxn>
              <a:cxn ang="0">
                <a:pos x="connsiteX27176" y="connsiteY27176"/>
              </a:cxn>
              <a:cxn ang="0">
                <a:pos x="connsiteX27177" y="connsiteY27177"/>
              </a:cxn>
              <a:cxn ang="0">
                <a:pos x="connsiteX27178" y="connsiteY27178"/>
              </a:cxn>
              <a:cxn ang="0">
                <a:pos x="connsiteX27179" y="connsiteY27179"/>
              </a:cxn>
              <a:cxn ang="0">
                <a:pos x="connsiteX27180" y="connsiteY27180"/>
              </a:cxn>
              <a:cxn ang="0">
                <a:pos x="connsiteX27181" y="connsiteY27181"/>
              </a:cxn>
              <a:cxn ang="0">
                <a:pos x="connsiteX27182" y="connsiteY27182"/>
              </a:cxn>
              <a:cxn ang="0">
                <a:pos x="connsiteX27183" y="connsiteY27183"/>
              </a:cxn>
              <a:cxn ang="0">
                <a:pos x="connsiteX27184" y="connsiteY27184"/>
              </a:cxn>
              <a:cxn ang="0">
                <a:pos x="connsiteX27185" y="connsiteY27185"/>
              </a:cxn>
              <a:cxn ang="0">
                <a:pos x="connsiteX27186" y="connsiteY27186"/>
              </a:cxn>
              <a:cxn ang="0">
                <a:pos x="connsiteX27187" y="connsiteY27187"/>
              </a:cxn>
              <a:cxn ang="0">
                <a:pos x="connsiteX27188" y="connsiteY27188"/>
              </a:cxn>
              <a:cxn ang="0">
                <a:pos x="connsiteX27189" y="connsiteY27189"/>
              </a:cxn>
              <a:cxn ang="0">
                <a:pos x="connsiteX27190" y="connsiteY27190"/>
              </a:cxn>
              <a:cxn ang="0">
                <a:pos x="connsiteX27191" y="connsiteY27191"/>
              </a:cxn>
              <a:cxn ang="0">
                <a:pos x="connsiteX27192" y="connsiteY27192"/>
              </a:cxn>
              <a:cxn ang="0">
                <a:pos x="connsiteX27193" y="connsiteY27193"/>
              </a:cxn>
              <a:cxn ang="0">
                <a:pos x="connsiteX27194" y="connsiteY27194"/>
              </a:cxn>
              <a:cxn ang="0">
                <a:pos x="connsiteX27195" y="connsiteY27195"/>
              </a:cxn>
              <a:cxn ang="0">
                <a:pos x="connsiteX27196" y="connsiteY27196"/>
              </a:cxn>
              <a:cxn ang="0">
                <a:pos x="connsiteX27197" y="connsiteY27197"/>
              </a:cxn>
              <a:cxn ang="0">
                <a:pos x="connsiteX27198" y="connsiteY27198"/>
              </a:cxn>
              <a:cxn ang="0">
                <a:pos x="connsiteX27199" y="connsiteY27199"/>
              </a:cxn>
              <a:cxn ang="0">
                <a:pos x="connsiteX27200" y="connsiteY27200"/>
              </a:cxn>
              <a:cxn ang="0">
                <a:pos x="connsiteX27201" y="connsiteY27201"/>
              </a:cxn>
              <a:cxn ang="0">
                <a:pos x="connsiteX27202" y="connsiteY27202"/>
              </a:cxn>
              <a:cxn ang="0">
                <a:pos x="connsiteX27203" y="connsiteY27203"/>
              </a:cxn>
              <a:cxn ang="0">
                <a:pos x="connsiteX27204" y="connsiteY27204"/>
              </a:cxn>
              <a:cxn ang="0">
                <a:pos x="connsiteX27205" y="connsiteY27205"/>
              </a:cxn>
              <a:cxn ang="0">
                <a:pos x="connsiteX27206" y="connsiteY27206"/>
              </a:cxn>
              <a:cxn ang="0">
                <a:pos x="connsiteX27207" y="connsiteY27207"/>
              </a:cxn>
              <a:cxn ang="0">
                <a:pos x="connsiteX27208" y="connsiteY27208"/>
              </a:cxn>
              <a:cxn ang="0">
                <a:pos x="connsiteX27209" y="connsiteY27209"/>
              </a:cxn>
              <a:cxn ang="0">
                <a:pos x="connsiteX27210" y="connsiteY27210"/>
              </a:cxn>
              <a:cxn ang="0">
                <a:pos x="connsiteX27211" y="connsiteY27211"/>
              </a:cxn>
              <a:cxn ang="0">
                <a:pos x="connsiteX27212" y="connsiteY27212"/>
              </a:cxn>
              <a:cxn ang="0">
                <a:pos x="connsiteX27213" y="connsiteY27213"/>
              </a:cxn>
              <a:cxn ang="0">
                <a:pos x="connsiteX27214" y="connsiteY27214"/>
              </a:cxn>
              <a:cxn ang="0">
                <a:pos x="connsiteX27215" y="connsiteY27215"/>
              </a:cxn>
              <a:cxn ang="0">
                <a:pos x="connsiteX27216" y="connsiteY27216"/>
              </a:cxn>
              <a:cxn ang="0">
                <a:pos x="connsiteX27217" y="connsiteY27217"/>
              </a:cxn>
              <a:cxn ang="0">
                <a:pos x="connsiteX27218" y="connsiteY27218"/>
              </a:cxn>
              <a:cxn ang="0">
                <a:pos x="connsiteX27219" y="connsiteY27219"/>
              </a:cxn>
              <a:cxn ang="0">
                <a:pos x="connsiteX27220" y="connsiteY27220"/>
              </a:cxn>
              <a:cxn ang="0">
                <a:pos x="connsiteX27221" y="connsiteY27221"/>
              </a:cxn>
              <a:cxn ang="0">
                <a:pos x="connsiteX27222" y="connsiteY27222"/>
              </a:cxn>
              <a:cxn ang="0">
                <a:pos x="connsiteX27223" y="connsiteY27223"/>
              </a:cxn>
              <a:cxn ang="0">
                <a:pos x="connsiteX27224" y="connsiteY27224"/>
              </a:cxn>
              <a:cxn ang="0">
                <a:pos x="connsiteX27225" y="connsiteY27225"/>
              </a:cxn>
              <a:cxn ang="0">
                <a:pos x="connsiteX27226" y="connsiteY27226"/>
              </a:cxn>
              <a:cxn ang="0">
                <a:pos x="connsiteX27227" y="connsiteY27227"/>
              </a:cxn>
              <a:cxn ang="0">
                <a:pos x="connsiteX27228" y="connsiteY27228"/>
              </a:cxn>
              <a:cxn ang="0">
                <a:pos x="connsiteX27229" y="connsiteY27229"/>
              </a:cxn>
              <a:cxn ang="0">
                <a:pos x="connsiteX27230" y="connsiteY27230"/>
              </a:cxn>
              <a:cxn ang="0">
                <a:pos x="connsiteX27231" y="connsiteY27231"/>
              </a:cxn>
              <a:cxn ang="0">
                <a:pos x="connsiteX27232" y="connsiteY27232"/>
              </a:cxn>
              <a:cxn ang="0">
                <a:pos x="connsiteX27233" y="connsiteY27233"/>
              </a:cxn>
              <a:cxn ang="0">
                <a:pos x="connsiteX27234" y="connsiteY27234"/>
              </a:cxn>
              <a:cxn ang="0">
                <a:pos x="connsiteX27235" y="connsiteY27235"/>
              </a:cxn>
              <a:cxn ang="0">
                <a:pos x="connsiteX27236" y="connsiteY27236"/>
              </a:cxn>
              <a:cxn ang="0">
                <a:pos x="connsiteX27237" y="connsiteY27237"/>
              </a:cxn>
              <a:cxn ang="0">
                <a:pos x="connsiteX27238" y="connsiteY27238"/>
              </a:cxn>
              <a:cxn ang="0">
                <a:pos x="connsiteX27239" y="connsiteY27239"/>
              </a:cxn>
              <a:cxn ang="0">
                <a:pos x="connsiteX27240" y="connsiteY27240"/>
              </a:cxn>
              <a:cxn ang="0">
                <a:pos x="connsiteX27241" y="connsiteY27241"/>
              </a:cxn>
              <a:cxn ang="0">
                <a:pos x="connsiteX27242" y="connsiteY27242"/>
              </a:cxn>
              <a:cxn ang="0">
                <a:pos x="connsiteX27243" y="connsiteY27243"/>
              </a:cxn>
              <a:cxn ang="0">
                <a:pos x="connsiteX27244" y="connsiteY27244"/>
              </a:cxn>
              <a:cxn ang="0">
                <a:pos x="connsiteX27245" y="connsiteY27245"/>
              </a:cxn>
              <a:cxn ang="0">
                <a:pos x="connsiteX27246" y="connsiteY27246"/>
              </a:cxn>
              <a:cxn ang="0">
                <a:pos x="connsiteX27247" y="connsiteY27247"/>
              </a:cxn>
              <a:cxn ang="0">
                <a:pos x="connsiteX27248" y="connsiteY27248"/>
              </a:cxn>
              <a:cxn ang="0">
                <a:pos x="connsiteX27249" y="connsiteY27249"/>
              </a:cxn>
              <a:cxn ang="0">
                <a:pos x="connsiteX27250" y="connsiteY27250"/>
              </a:cxn>
              <a:cxn ang="0">
                <a:pos x="connsiteX27251" y="connsiteY27251"/>
              </a:cxn>
              <a:cxn ang="0">
                <a:pos x="connsiteX27252" y="connsiteY27252"/>
              </a:cxn>
              <a:cxn ang="0">
                <a:pos x="connsiteX27253" y="connsiteY27253"/>
              </a:cxn>
              <a:cxn ang="0">
                <a:pos x="connsiteX27254" y="connsiteY27254"/>
              </a:cxn>
              <a:cxn ang="0">
                <a:pos x="connsiteX27255" y="connsiteY27255"/>
              </a:cxn>
              <a:cxn ang="0">
                <a:pos x="connsiteX27256" y="connsiteY27256"/>
              </a:cxn>
              <a:cxn ang="0">
                <a:pos x="connsiteX27257" y="connsiteY27257"/>
              </a:cxn>
              <a:cxn ang="0">
                <a:pos x="connsiteX27258" y="connsiteY27258"/>
              </a:cxn>
              <a:cxn ang="0">
                <a:pos x="connsiteX27259" y="connsiteY27259"/>
              </a:cxn>
              <a:cxn ang="0">
                <a:pos x="connsiteX27260" y="connsiteY27260"/>
              </a:cxn>
              <a:cxn ang="0">
                <a:pos x="connsiteX27261" y="connsiteY27261"/>
              </a:cxn>
              <a:cxn ang="0">
                <a:pos x="connsiteX27262" y="connsiteY27262"/>
              </a:cxn>
              <a:cxn ang="0">
                <a:pos x="connsiteX27263" y="connsiteY27263"/>
              </a:cxn>
              <a:cxn ang="0">
                <a:pos x="connsiteX27264" y="connsiteY27264"/>
              </a:cxn>
              <a:cxn ang="0">
                <a:pos x="connsiteX27265" y="connsiteY27265"/>
              </a:cxn>
              <a:cxn ang="0">
                <a:pos x="connsiteX27266" y="connsiteY27266"/>
              </a:cxn>
              <a:cxn ang="0">
                <a:pos x="connsiteX27267" y="connsiteY27267"/>
              </a:cxn>
              <a:cxn ang="0">
                <a:pos x="connsiteX27268" y="connsiteY27268"/>
              </a:cxn>
              <a:cxn ang="0">
                <a:pos x="connsiteX27269" y="connsiteY27269"/>
              </a:cxn>
              <a:cxn ang="0">
                <a:pos x="connsiteX27270" y="connsiteY27270"/>
              </a:cxn>
              <a:cxn ang="0">
                <a:pos x="connsiteX27271" y="connsiteY27271"/>
              </a:cxn>
              <a:cxn ang="0">
                <a:pos x="connsiteX27272" y="connsiteY27272"/>
              </a:cxn>
              <a:cxn ang="0">
                <a:pos x="connsiteX27273" y="connsiteY27273"/>
              </a:cxn>
              <a:cxn ang="0">
                <a:pos x="connsiteX27274" y="connsiteY27274"/>
              </a:cxn>
              <a:cxn ang="0">
                <a:pos x="connsiteX27275" y="connsiteY27275"/>
              </a:cxn>
              <a:cxn ang="0">
                <a:pos x="connsiteX27276" y="connsiteY27276"/>
              </a:cxn>
              <a:cxn ang="0">
                <a:pos x="connsiteX27277" y="connsiteY27277"/>
              </a:cxn>
              <a:cxn ang="0">
                <a:pos x="connsiteX27278" y="connsiteY27278"/>
              </a:cxn>
              <a:cxn ang="0">
                <a:pos x="connsiteX27279" y="connsiteY27279"/>
              </a:cxn>
              <a:cxn ang="0">
                <a:pos x="connsiteX27280" y="connsiteY27280"/>
              </a:cxn>
              <a:cxn ang="0">
                <a:pos x="connsiteX27281" y="connsiteY27281"/>
              </a:cxn>
              <a:cxn ang="0">
                <a:pos x="connsiteX27282" y="connsiteY27282"/>
              </a:cxn>
              <a:cxn ang="0">
                <a:pos x="connsiteX27283" y="connsiteY27283"/>
              </a:cxn>
              <a:cxn ang="0">
                <a:pos x="connsiteX27284" y="connsiteY27284"/>
              </a:cxn>
              <a:cxn ang="0">
                <a:pos x="connsiteX27285" y="connsiteY27285"/>
              </a:cxn>
              <a:cxn ang="0">
                <a:pos x="connsiteX27286" y="connsiteY27286"/>
              </a:cxn>
              <a:cxn ang="0">
                <a:pos x="connsiteX27287" y="connsiteY27287"/>
              </a:cxn>
              <a:cxn ang="0">
                <a:pos x="connsiteX27288" y="connsiteY27288"/>
              </a:cxn>
              <a:cxn ang="0">
                <a:pos x="connsiteX27289" y="connsiteY27289"/>
              </a:cxn>
              <a:cxn ang="0">
                <a:pos x="connsiteX27290" y="connsiteY27290"/>
              </a:cxn>
              <a:cxn ang="0">
                <a:pos x="connsiteX27291" y="connsiteY27291"/>
              </a:cxn>
              <a:cxn ang="0">
                <a:pos x="connsiteX27292" y="connsiteY27292"/>
              </a:cxn>
              <a:cxn ang="0">
                <a:pos x="connsiteX27293" y="connsiteY27293"/>
              </a:cxn>
              <a:cxn ang="0">
                <a:pos x="connsiteX27294" y="connsiteY27294"/>
              </a:cxn>
              <a:cxn ang="0">
                <a:pos x="connsiteX27295" y="connsiteY27295"/>
              </a:cxn>
              <a:cxn ang="0">
                <a:pos x="connsiteX27296" y="connsiteY27296"/>
              </a:cxn>
              <a:cxn ang="0">
                <a:pos x="connsiteX27297" y="connsiteY27297"/>
              </a:cxn>
              <a:cxn ang="0">
                <a:pos x="connsiteX27298" y="connsiteY27298"/>
              </a:cxn>
              <a:cxn ang="0">
                <a:pos x="connsiteX27299" y="connsiteY27299"/>
              </a:cxn>
              <a:cxn ang="0">
                <a:pos x="connsiteX27300" y="connsiteY27300"/>
              </a:cxn>
              <a:cxn ang="0">
                <a:pos x="connsiteX27301" y="connsiteY27301"/>
              </a:cxn>
              <a:cxn ang="0">
                <a:pos x="connsiteX27302" y="connsiteY27302"/>
              </a:cxn>
              <a:cxn ang="0">
                <a:pos x="connsiteX27303" y="connsiteY27303"/>
              </a:cxn>
              <a:cxn ang="0">
                <a:pos x="connsiteX27304" y="connsiteY27304"/>
              </a:cxn>
              <a:cxn ang="0">
                <a:pos x="connsiteX27305" y="connsiteY27305"/>
              </a:cxn>
              <a:cxn ang="0">
                <a:pos x="connsiteX27306" y="connsiteY27306"/>
              </a:cxn>
              <a:cxn ang="0">
                <a:pos x="connsiteX27307" y="connsiteY27307"/>
              </a:cxn>
              <a:cxn ang="0">
                <a:pos x="connsiteX27308" y="connsiteY27308"/>
              </a:cxn>
              <a:cxn ang="0">
                <a:pos x="connsiteX27309" y="connsiteY27309"/>
              </a:cxn>
              <a:cxn ang="0">
                <a:pos x="connsiteX27310" y="connsiteY27310"/>
              </a:cxn>
              <a:cxn ang="0">
                <a:pos x="connsiteX27311" y="connsiteY27311"/>
              </a:cxn>
              <a:cxn ang="0">
                <a:pos x="connsiteX27312" y="connsiteY27312"/>
              </a:cxn>
              <a:cxn ang="0">
                <a:pos x="connsiteX27313" y="connsiteY27313"/>
              </a:cxn>
              <a:cxn ang="0">
                <a:pos x="connsiteX27314" y="connsiteY27314"/>
              </a:cxn>
              <a:cxn ang="0">
                <a:pos x="connsiteX27315" y="connsiteY27315"/>
              </a:cxn>
              <a:cxn ang="0">
                <a:pos x="connsiteX27316" y="connsiteY27316"/>
              </a:cxn>
              <a:cxn ang="0">
                <a:pos x="connsiteX27317" y="connsiteY27317"/>
              </a:cxn>
              <a:cxn ang="0">
                <a:pos x="connsiteX27318" y="connsiteY27318"/>
              </a:cxn>
              <a:cxn ang="0">
                <a:pos x="connsiteX27319" y="connsiteY27319"/>
              </a:cxn>
              <a:cxn ang="0">
                <a:pos x="connsiteX27320" y="connsiteY27320"/>
              </a:cxn>
              <a:cxn ang="0">
                <a:pos x="connsiteX27321" y="connsiteY27321"/>
              </a:cxn>
              <a:cxn ang="0">
                <a:pos x="connsiteX27322" y="connsiteY27322"/>
              </a:cxn>
              <a:cxn ang="0">
                <a:pos x="connsiteX27323" y="connsiteY27323"/>
              </a:cxn>
              <a:cxn ang="0">
                <a:pos x="connsiteX27324" y="connsiteY27324"/>
              </a:cxn>
              <a:cxn ang="0">
                <a:pos x="connsiteX27325" y="connsiteY27325"/>
              </a:cxn>
              <a:cxn ang="0">
                <a:pos x="connsiteX27326" y="connsiteY27326"/>
              </a:cxn>
              <a:cxn ang="0">
                <a:pos x="connsiteX27327" y="connsiteY27327"/>
              </a:cxn>
              <a:cxn ang="0">
                <a:pos x="connsiteX27328" y="connsiteY27328"/>
              </a:cxn>
              <a:cxn ang="0">
                <a:pos x="connsiteX27329" y="connsiteY27329"/>
              </a:cxn>
              <a:cxn ang="0">
                <a:pos x="connsiteX27330" y="connsiteY27330"/>
              </a:cxn>
              <a:cxn ang="0">
                <a:pos x="connsiteX27331" y="connsiteY27331"/>
              </a:cxn>
              <a:cxn ang="0">
                <a:pos x="connsiteX27332" y="connsiteY27332"/>
              </a:cxn>
              <a:cxn ang="0">
                <a:pos x="connsiteX27333" y="connsiteY27333"/>
              </a:cxn>
              <a:cxn ang="0">
                <a:pos x="connsiteX27334" y="connsiteY27334"/>
              </a:cxn>
              <a:cxn ang="0">
                <a:pos x="connsiteX27335" y="connsiteY27335"/>
              </a:cxn>
              <a:cxn ang="0">
                <a:pos x="connsiteX27336" y="connsiteY27336"/>
              </a:cxn>
              <a:cxn ang="0">
                <a:pos x="connsiteX27337" y="connsiteY27337"/>
              </a:cxn>
              <a:cxn ang="0">
                <a:pos x="connsiteX27338" y="connsiteY27338"/>
              </a:cxn>
              <a:cxn ang="0">
                <a:pos x="connsiteX27339" y="connsiteY27339"/>
              </a:cxn>
              <a:cxn ang="0">
                <a:pos x="connsiteX27340" y="connsiteY27340"/>
              </a:cxn>
              <a:cxn ang="0">
                <a:pos x="connsiteX27341" y="connsiteY27341"/>
              </a:cxn>
              <a:cxn ang="0">
                <a:pos x="connsiteX27342" y="connsiteY27342"/>
              </a:cxn>
              <a:cxn ang="0">
                <a:pos x="connsiteX27343" y="connsiteY27343"/>
              </a:cxn>
              <a:cxn ang="0">
                <a:pos x="connsiteX27344" y="connsiteY27344"/>
              </a:cxn>
              <a:cxn ang="0">
                <a:pos x="connsiteX27345" y="connsiteY27345"/>
              </a:cxn>
              <a:cxn ang="0">
                <a:pos x="connsiteX27346" y="connsiteY27346"/>
              </a:cxn>
              <a:cxn ang="0">
                <a:pos x="connsiteX27347" y="connsiteY27347"/>
              </a:cxn>
              <a:cxn ang="0">
                <a:pos x="connsiteX27348" y="connsiteY27348"/>
              </a:cxn>
              <a:cxn ang="0">
                <a:pos x="connsiteX27349" y="connsiteY27349"/>
              </a:cxn>
              <a:cxn ang="0">
                <a:pos x="connsiteX27350" y="connsiteY27350"/>
              </a:cxn>
              <a:cxn ang="0">
                <a:pos x="connsiteX27351" y="connsiteY27351"/>
              </a:cxn>
              <a:cxn ang="0">
                <a:pos x="connsiteX27352" y="connsiteY27352"/>
              </a:cxn>
              <a:cxn ang="0">
                <a:pos x="connsiteX27353" y="connsiteY27353"/>
              </a:cxn>
              <a:cxn ang="0">
                <a:pos x="connsiteX27354" y="connsiteY27354"/>
              </a:cxn>
              <a:cxn ang="0">
                <a:pos x="connsiteX27355" y="connsiteY27355"/>
              </a:cxn>
              <a:cxn ang="0">
                <a:pos x="connsiteX27356" y="connsiteY27356"/>
              </a:cxn>
              <a:cxn ang="0">
                <a:pos x="connsiteX27357" y="connsiteY27357"/>
              </a:cxn>
              <a:cxn ang="0">
                <a:pos x="connsiteX27358" y="connsiteY27358"/>
              </a:cxn>
              <a:cxn ang="0">
                <a:pos x="connsiteX27359" y="connsiteY27359"/>
              </a:cxn>
              <a:cxn ang="0">
                <a:pos x="connsiteX27360" y="connsiteY27360"/>
              </a:cxn>
              <a:cxn ang="0">
                <a:pos x="connsiteX27361" y="connsiteY27361"/>
              </a:cxn>
              <a:cxn ang="0">
                <a:pos x="connsiteX27362" y="connsiteY27362"/>
              </a:cxn>
              <a:cxn ang="0">
                <a:pos x="connsiteX27363" y="connsiteY27363"/>
              </a:cxn>
              <a:cxn ang="0">
                <a:pos x="connsiteX27364" y="connsiteY27364"/>
              </a:cxn>
              <a:cxn ang="0">
                <a:pos x="connsiteX27365" y="connsiteY27365"/>
              </a:cxn>
              <a:cxn ang="0">
                <a:pos x="connsiteX27366" y="connsiteY27366"/>
              </a:cxn>
              <a:cxn ang="0">
                <a:pos x="connsiteX27367" y="connsiteY27367"/>
              </a:cxn>
              <a:cxn ang="0">
                <a:pos x="connsiteX27368" y="connsiteY27368"/>
              </a:cxn>
              <a:cxn ang="0">
                <a:pos x="connsiteX27369" y="connsiteY27369"/>
              </a:cxn>
              <a:cxn ang="0">
                <a:pos x="connsiteX27370" y="connsiteY27370"/>
              </a:cxn>
              <a:cxn ang="0">
                <a:pos x="connsiteX27371" y="connsiteY27371"/>
              </a:cxn>
              <a:cxn ang="0">
                <a:pos x="connsiteX27372" y="connsiteY27372"/>
              </a:cxn>
              <a:cxn ang="0">
                <a:pos x="connsiteX27373" y="connsiteY27373"/>
              </a:cxn>
              <a:cxn ang="0">
                <a:pos x="connsiteX27374" y="connsiteY27374"/>
              </a:cxn>
              <a:cxn ang="0">
                <a:pos x="connsiteX27375" y="connsiteY27375"/>
              </a:cxn>
              <a:cxn ang="0">
                <a:pos x="connsiteX27376" y="connsiteY27376"/>
              </a:cxn>
              <a:cxn ang="0">
                <a:pos x="connsiteX27377" y="connsiteY27377"/>
              </a:cxn>
              <a:cxn ang="0">
                <a:pos x="connsiteX27378" y="connsiteY27378"/>
              </a:cxn>
              <a:cxn ang="0">
                <a:pos x="connsiteX27379" y="connsiteY27379"/>
              </a:cxn>
              <a:cxn ang="0">
                <a:pos x="connsiteX27380" y="connsiteY27380"/>
              </a:cxn>
              <a:cxn ang="0">
                <a:pos x="connsiteX27381" y="connsiteY27381"/>
              </a:cxn>
              <a:cxn ang="0">
                <a:pos x="connsiteX27382" y="connsiteY27382"/>
              </a:cxn>
              <a:cxn ang="0">
                <a:pos x="connsiteX27383" y="connsiteY27383"/>
              </a:cxn>
              <a:cxn ang="0">
                <a:pos x="connsiteX27384" y="connsiteY27384"/>
              </a:cxn>
              <a:cxn ang="0">
                <a:pos x="connsiteX27385" y="connsiteY27385"/>
              </a:cxn>
              <a:cxn ang="0">
                <a:pos x="connsiteX27386" y="connsiteY27386"/>
              </a:cxn>
              <a:cxn ang="0">
                <a:pos x="connsiteX27387" y="connsiteY27387"/>
              </a:cxn>
              <a:cxn ang="0">
                <a:pos x="connsiteX27388" y="connsiteY27388"/>
              </a:cxn>
              <a:cxn ang="0">
                <a:pos x="connsiteX27389" y="connsiteY27389"/>
              </a:cxn>
              <a:cxn ang="0">
                <a:pos x="connsiteX27390" y="connsiteY27390"/>
              </a:cxn>
              <a:cxn ang="0">
                <a:pos x="connsiteX27391" y="connsiteY27391"/>
              </a:cxn>
              <a:cxn ang="0">
                <a:pos x="connsiteX27392" y="connsiteY27392"/>
              </a:cxn>
              <a:cxn ang="0">
                <a:pos x="connsiteX27393" y="connsiteY27393"/>
              </a:cxn>
              <a:cxn ang="0">
                <a:pos x="connsiteX27394" y="connsiteY27394"/>
              </a:cxn>
              <a:cxn ang="0">
                <a:pos x="connsiteX27395" y="connsiteY27395"/>
              </a:cxn>
              <a:cxn ang="0">
                <a:pos x="connsiteX27396" y="connsiteY27396"/>
              </a:cxn>
              <a:cxn ang="0">
                <a:pos x="connsiteX27397" y="connsiteY27397"/>
              </a:cxn>
              <a:cxn ang="0">
                <a:pos x="connsiteX27398" y="connsiteY27398"/>
              </a:cxn>
              <a:cxn ang="0">
                <a:pos x="connsiteX27399" y="connsiteY27399"/>
              </a:cxn>
              <a:cxn ang="0">
                <a:pos x="connsiteX27400" y="connsiteY27400"/>
              </a:cxn>
              <a:cxn ang="0">
                <a:pos x="connsiteX27401" y="connsiteY27401"/>
              </a:cxn>
              <a:cxn ang="0">
                <a:pos x="connsiteX27402" y="connsiteY27402"/>
              </a:cxn>
              <a:cxn ang="0">
                <a:pos x="connsiteX27403" y="connsiteY27403"/>
              </a:cxn>
              <a:cxn ang="0">
                <a:pos x="connsiteX27404" y="connsiteY27404"/>
              </a:cxn>
              <a:cxn ang="0">
                <a:pos x="connsiteX27405" y="connsiteY27405"/>
              </a:cxn>
              <a:cxn ang="0">
                <a:pos x="connsiteX27406" y="connsiteY27406"/>
              </a:cxn>
              <a:cxn ang="0">
                <a:pos x="connsiteX27407" y="connsiteY27407"/>
              </a:cxn>
              <a:cxn ang="0">
                <a:pos x="connsiteX27408" y="connsiteY27408"/>
              </a:cxn>
              <a:cxn ang="0">
                <a:pos x="connsiteX27409" y="connsiteY27409"/>
              </a:cxn>
              <a:cxn ang="0">
                <a:pos x="connsiteX27410" y="connsiteY27410"/>
              </a:cxn>
              <a:cxn ang="0">
                <a:pos x="connsiteX27411" y="connsiteY27411"/>
              </a:cxn>
              <a:cxn ang="0">
                <a:pos x="connsiteX27412" y="connsiteY27412"/>
              </a:cxn>
              <a:cxn ang="0">
                <a:pos x="connsiteX27413" y="connsiteY27413"/>
              </a:cxn>
              <a:cxn ang="0">
                <a:pos x="connsiteX27414" y="connsiteY27414"/>
              </a:cxn>
              <a:cxn ang="0">
                <a:pos x="connsiteX27415" y="connsiteY27415"/>
              </a:cxn>
              <a:cxn ang="0">
                <a:pos x="connsiteX27416" y="connsiteY27416"/>
              </a:cxn>
              <a:cxn ang="0">
                <a:pos x="connsiteX27417" y="connsiteY27417"/>
              </a:cxn>
              <a:cxn ang="0">
                <a:pos x="connsiteX27418" y="connsiteY27418"/>
              </a:cxn>
              <a:cxn ang="0">
                <a:pos x="connsiteX27419" y="connsiteY27419"/>
              </a:cxn>
              <a:cxn ang="0">
                <a:pos x="connsiteX27420" y="connsiteY27420"/>
              </a:cxn>
              <a:cxn ang="0">
                <a:pos x="connsiteX27421" y="connsiteY27421"/>
              </a:cxn>
              <a:cxn ang="0">
                <a:pos x="connsiteX27422" y="connsiteY27422"/>
              </a:cxn>
              <a:cxn ang="0">
                <a:pos x="connsiteX27423" y="connsiteY27423"/>
              </a:cxn>
              <a:cxn ang="0">
                <a:pos x="connsiteX27424" y="connsiteY27424"/>
              </a:cxn>
              <a:cxn ang="0">
                <a:pos x="connsiteX27425" y="connsiteY27425"/>
              </a:cxn>
              <a:cxn ang="0">
                <a:pos x="connsiteX27426" y="connsiteY27426"/>
              </a:cxn>
              <a:cxn ang="0">
                <a:pos x="connsiteX27427" y="connsiteY27427"/>
              </a:cxn>
              <a:cxn ang="0">
                <a:pos x="connsiteX27428" y="connsiteY27428"/>
              </a:cxn>
              <a:cxn ang="0">
                <a:pos x="connsiteX27429" y="connsiteY27429"/>
              </a:cxn>
              <a:cxn ang="0">
                <a:pos x="connsiteX27430" y="connsiteY27430"/>
              </a:cxn>
              <a:cxn ang="0">
                <a:pos x="connsiteX27431" y="connsiteY27431"/>
              </a:cxn>
              <a:cxn ang="0">
                <a:pos x="connsiteX27432" y="connsiteY27432"/>
              </a:cxn>
              <a:cxn ang="0">
                <a:pos x="connsiteX27433" y="connsiteY27433"/>
              </a:cxn>
              <a:cxn ang="0">
                <a:pos x="connsiteX27434" y="connsiteY27434"/>
              </a:cxn>
              <a:cxn ang="0">
                <a:pos x="connsiteX27435" y="connsiteY27435"/>
              </a:cxn>
              <a:cxn ang="0">
                <a:pos x="connsiteX27436" y="connsiteY27436"/>
              </a:cxn>
              <a:cxn ang="0">
                <a:pos x="connsiteX27437" y="connsiteY27437"/>
              </a:cxn>
              <a:cxn ang="0">
                <a:pos x="connsiteX27438" y="connsiteY27438"/>
              </a:cxn>
              <a:cxn ang="0">
                <a:pos x="connsiteX27439" y="connsiteY27439"/>
              </a:cxn>
              <a:cxn ang="0">
                <a:pos x="connsiteX27440" y="connsiteY27440"/>
              </a:cxn>
              <a:cxn ang="0">
                <a:pos x="connsiteX27441" y="connsiteY27441"/>
              </a:cxn>
              <a:cxn ang="0">
                <a:pos x="connsiteX27442" y="connsiteY27442"/>
              </a:cxn>
              <a:cxn ang="0">
                <a:pos x="connsiteX27443" y="connsiteY27443"/>
              </a:cxn>
              <a:cxn ang="0">
                <a:pos x="connsiteX27444" y="connsiteY27444"/>
              </a:cxn>
              <a:cxn ang="0">
                <a:pos x="connsiteX27445" y="connsiteY27445"/>
              </a:cxn>
              <a:cxn ang="0">
                <a:pos x="connsiteX27446" y="connsiteY27446"/>
              </a:cxn>
              <a:cxn ang="0">
                <a:pos x="connsiteX27447" y="connsiteY27447"/>
              </a:cxn>
              <a:cxn ang="0">
                <a:pos x="connsiteX27448" y="connsiteY27448"/>
              </a:cxn>
              <a:cxn ang="0">
                <a:pos x="connsiteX27449" y="connsiteY27449"/>
              </a:cxn>
              <a:cxn ang="0">
                <a:pos x="connsiteX27450" y="connsiteY27450"/>
              </a:cxn>
              <a:cxn ang="0">
                <a:pos x="connsiteX27451" y="connsiteY27451"/>
              </a:cxn>
              <a:cxn ang="0">
                <a:pos x="connsiteX27452" y="connsiteY27452"/>
              </a:cxn>
              <a:cxn ang="0">
                <a:pos x="connsiteX27453" y="connsiteY27453"/>
              </a:cxn>
              <a:cxn ang="0">
                <a:pos x="connsiteX27454" y="connsiteY27454"/>
              </a:cxn>
              <a:cxn ang="0">
                <a:pos x="connsiteX27455" y="connsiteY27455"/>
              </a:cxn>
              <a:cxn ang="0">
                <a:pos x="connsiteX27456" y="connsiteY27456"/>
              </a:cxn>
              <a:cxn ang="0">
                <a:pos x="connsiteX27457" y="connsiteY27457"/>
              </a:cxn>
              <a:cxn ang="0">
                <a:pos x="connsiteX27458" y="connsiteY27458"/>
              </a:cxn>
              <a:cxn ang="0">
                <a:pos x="connsiteX27459" y="connsiteY27459"/>
              </a:cxn>
              <a:cxn ang="0">
                <a:pos x="connsiteX27460" y="connsiteY27460"/>
              </a:cxn>
              <a:cxn ang="0">
                <a:pos x="connsiteX27461" y="connsiteY27461"/>
              </a:cxn>
              <a:cxn ang="0">
                <a:pos x="connsiteX27462" y="connsiteY27462"/>
              </a:cxn>
              <a:cxn ang="0">
                <a:pos x="connsiteX27463" y="connsiteY27463"/>
              </a:cxn>
              <a:cxn ang="0">
                <a:pos x="connsiteX27464" y="connsiteY27464"/>
              </a:cxn>
              <a:cxn ang="0">
                <a:pos x="connsiteX27465" y="connsiteY27465"/>
              </a:cxn>
              <a:cxn ang="0">
                <a:pos x="connsiteX27466" y="connsiteY27466"/>
              </a:cxn>
              <a:cxn ang="0">
                <a:pos x="connsiteX27467" y="connsiteY27467"/>
              </a:cxn>
              <a:cxn ang="0">
                <a:pos x="connsiteX27468" y="connsiteY27468"/>
              </a:cxn>
              <a:cxn ang="0">
                <a:pos x="connsiteX27469" y="connsiteY27469"/>
              </a:cxn>
              <a:cxn ang="0">
                <a:pos x="connsiteX27470" y="connsiteY27470"/>
              </a:cxn>
              <a:cxn ang="0">
                <a:pos x="connsiteX27471" y="connsiteY27471"/>
              </a:cxn>
              <a:cxn ang="0">
                <a:pos x="connsiteX27472" y="connsiteY27472"/>
              </a:cxn>
              <a:cxn ang="0">
                <a:pos x="connsiteX27473" y="connsiteY27473"/>
              </a:cxn>
              <a:cxn ang="0">
                <a:pos x="connsiteX27474" y="connsiteY27474"/>
              </a:cxn>
              <a:cxn ang="0">
                <a:pos x="connsiteX27475" y="connsiteY27475"/>
              </a:cxn>
              <a:cxn ang="0">
                <a:pos x="connsiteX27476" y="connsiteY27476"/>
              </a:cxn>
              <a:cxn ang="0">
                <a:pos x="connsiteX27477" y="connsiteY27477"/>
              </a:cxn>
              <a:cxn ang="0">
                <a:pos x="connsiteX27478" y="connsiteY27478"/>
              </a:cxn>
              <a:cxn ang="0">
                <a:pos x="connsiteX27479" y="connsiteY27479"/>
              </a:cxn>
              <a:cxn ang="0">
                <a:pos x="connsiteX27480" y="connsiteY27480"/>
              </a:cxn>
              <a:cxn ang="0">
                <a:pos x="connsiteX27481" y="connsiteY27481"/>
              </a:cxn>
              <a:cxn ang="0">
                <a:pos x="connsiteX27482" y="connsiteY27482"/>
              </a:cxn>
              <a:cxn ang="0">
                <a:pos x="connsiteX27483" y="connsiteY27483"/>
              </a:cxn>
              <a:cxn ang="0">
                <a:pos x="connsiteX27484" y="connsiteY27484"/>
              </a:cxn>
              <a:cxn ang="0">
                <a:pos x="connsiteX27485" y="connsiteY27485"/>
              </a:cxn>
              <a:cxn ang="0">
                <a:pos x="connsiteX27486" y="connsiteY27486"/>
              </a:cxn>
              <a:cxn ang="0">
                <a:pos x="connsiteX27487" y="connsiteY27487"/>
              </a:cxn>
              <a:cxn ang="0">
                <a:pos x="connsiteX27488" y="connsiteY27488"/>
              </a:cxn>
              <a:cxn ang="0">
                <a:pos x="connsiteX27489" y="connsiteY27489"/>
              </a:cxn>
              <a:cxn ang="0">
                <a:pos x="connsiteX27490" y="connsiteY27490"/>
              </a:cxn>
              <a:cxn ang="0">
                <a:pos x="connsiteX27491" y="connsiteY27491"/>
              </a:cxn>
              <a:cxn ang="0">
                <a:pos x="connsiteX27492" y="connsiteY27492"/>
              </a:cxn>
              <a:cxn ang="0">
                <a:pos x="connsiteX27493" y="connsiteY27493"/>
              </a:cxn>
              <a:cxn ang="0">
                <a:pos x="connsiteX27494" y="connsiteY27494"/>
              </a:cxn>
              <a:cxn ang="0">
                <a:pos x="connsiteX27495" y="connsiteY27495"/>
              </a:cxn>
              <a:cxn ang="0">
                <a:pos x="connsiteX27496" y="connsiteY27496"/>
              </a:cxn>
              <a:cxn ang="0">
                <a:pos x="connsiteX27497" y="connsiteY27497"/>
              </a:cxn>
              <a:cxn ang="0">
                <a:pos x="connsiteX27498" y="connsiteY27498"/>
              </a:cxn>
              <a:cxn ang="0">
                <a:pos x="connsiteX27499" y="connsiteY27499"/>
              </a:cxn>
              <a:cxn ang="0">
                <a:pos x="connsiteX27500" y="connsiteY27500"/>
              </a:cxn>
              <a:cxn ang="0">
                <a:pos x="connsiteX27501" y="connsiteY27501"/>
              </a:cxn>
              <a:cxn ang="0">
                <a:pos x="connsiteX27502" y="connsiteY27502"/>
              </a:cxn>
              <a:cxn ang="0">
                <a:pos x="connsiteX27503" y="connsiteY27503"/>
              </a:cxn>
              <a:cxn ang="0">
                <a:pos x="connsiteX27504" y="connsiteY27504"/>
              </a:cxn>
              <a:cxn ang="0">
                <a:pos x="connsiteX27505" y="connsiteY27505"/>
              </a:cxn>
              <a:cxn ang="0">
                <a:pos x="connsiteX27506" y="connsiteY27506"/>
              </a:cxn>
              <a:cxn ang="0">
                <a:pos x="connsiteX27507" y="connsiteY27507"/>
              </a:cxn>
              <a:cxn ang="0">
                <a:pos x="connsiteX27508" y="connsiteY27508"/>
              </a:cxn>
              <a:cxn ang="0">
                <a:pos x="connsiteX27509" y="connsiteY27509"/>
              </a:cxn>
              <a:cxn ang="0">
                <a:pos x="connsiteX27510" y="connsiteY27510"/>
              </a:cxn>
              <a:cxn ang="0">
                <a:pos x="connsiteX27511" y="connsiteY27511"/>
              </a:cxn>
              <a:cxn ang="0">
                <a:pos x="connsiteX27512" y="connsiteY27512"/>
              </a:cxn>
              <a:cxn ang="0">
                <a:pos x="connsiteX27513" y="connsiteY27513"/>
              </a:cxn>
              <a:cxn ang="0">
                <a:pos x="connsiteX27514" y="connsiteY27514"/>
              </a:cxn>
              <a:cxn ang="0">
                <a:pos x="connsiteX27515" y="connsiteY27515"/>
              </a:cxn>
              <a:cxn ang="0">
                <a:pos x="connsiteX27516" y="connsiteY27516"/>
              </a:cxn>
              <a:cxn ang="0">
                <a:pos x="connsiteX27517" y="connsiteY27517"/>
              </a:cxn>
              <a:cxn ang="0">
                <a:pos x="connsiteX27518" y="connsiteY27518"/>
              </a:cxn>
              <a:cxn ang="0">
                <a:pos x="connsiteX27519" y="connsiteY27519"/>
              </a:cxn>
              <a:cxn ang="0">
                <a:pos x="connsiteX27520" y="connsiteY27520"/>
              </a:cxn>
              <a:cxn ang="0">
                <a:pos x="connsiteX27521" y="connsiteY27521"/>
              </a:cxn>
              <a:cxn ang="0">
                <a:pos x="connsiteX27522" y="connsiteY27522"/>
              </a:cxn>
              <a:cxn ang="0">
                <a:pos x="connsiteX27523" y="connsiteY27523"/>
              </a:cxn>
              <a:cxn ang="0">
                <a:pos x="connsiteX27524" y="connsiteY27524"/>
              </a:cxn>
              <a:cxn ang="0">
                <a:pos x="connsiteX27525" y="connsiteY27525"/>
              </a:cxn>
              <a:cxn ang="0">
                <a:pos x="connsiteX27526" y="connsiteY27526"/>
              </a:cxn>
              <a:cxn ang="0">
                <a:pos x="connsiteX27527" y="connsiteY27527"/>
              </a:cxn>
              <a:cxn ang="0">
                <a:pos x="connsiteX27528" y="connsiteY27528"/>
              </a:cxn>
              <a:cxn ang="0">
                <a:pos x="connsiteX27529" y="connsiteY27529"/>
              </a:cxn>
              <a:cxn ang="0">
                <a:pos x="connsiteX27530" y="connsiteY27530"/>
              </a:cxn>
              <a:cxn ang="0">
                <a:pos x="connsiteX27531" y="connsiteY27531"/>
              </a:cxn>
              <a:cxn ang="0">
                <a:pos x="connsiteX27532" y="connsiteY27532"/>
              </a:cxn>
              <a:cxn ang="0">
                <a:pos x="connsiteX27533" y="connsiteY27533"/>
              </a:cxn>
              <a:cxn ang="0">
                <a:pos x="connsiteX27534" y="connsiteY27534"/>
              </a:cxn>
              <a:cxn ang="0">
                <a:pos x="connsiteX27535" y="connsiteY27535"/>
              </a:cxn>
              <a:cxn ang="0">
                <a:pos x="connsiteX27536" y="connsiteY27536"/>
              </a:cxn>
              <a:cxn ang="0">
                <a:pos x="connsiteX27537" y="connsiteY27537"/>
              </a:cxn>
              <a:cxn ang="0">
                <a:pos x="connsiteX27538" y="connsiteY27538"/>
              </a:cxn>
              <a:cxn ang="0">
                <a:pos x="connsiteX27539" y="connsiteY27539"/>
              </a:cxn>
              <a:cxn ang="0">
                <a:pos x="connsiteX27540" y="connsiteY27540"/>
              </a:cxn>
              <a:cxn ang="0">
                <a:pos x="connsiteX27541" y="connsiteY27541"/>
              </a:cxn>
              <a:cxn ang="0">
                <a:pos x="connsiteX27542" y="connsiteY27542"/>
              </a:cxn>
              <a:cxn ang="0">
                <a:pos x="connsiteX27543" y="connsiteY27543"/>
              </a:cxn>
              <a:cxn ang="0">
                <a:pos x="connsiteX27544" y="connsiteY27544"/>
              </a:cxn>
              <a:cxn ang="0">
                <a:pos x="connsiteX27545" y="connsiteY27545"/>
              </a:cxn>
              <a:cxn ang="0">
                <a:pos x="connsiteX27546" y="connsiteY27546"/>
              </a:cxn>
              <a:cxn ang="0">
                <a:pos x="connsiteX27547" y="connsiteY27547"/>
              </a:cxn>
              <a:cxn ang="0">
                <a:pos x="connsiteX27548" y="connsiteY27548"/>
              </a:cxn>
              <a:cxn ang="0">
                <a:pos x="connsiteX27549" y="connsiteY27549"/>
              </a:cxn>
              <a:cxn ang="0">
                <a:pos x="connsiteX27550" y="connsiteY27550"/>
              </a:cxn>
              <a:cxn ang="0">
                <a:pos x="connsiteX27551" y="connsiteY27551"/>
              </a:cxn>
              <a:cxn ang="0">
                <a:pos x="connsiteX27552" y="connsiteY27552"/>
              </a:cxn>
              <a:cxn ang="0">
                <a:pos x="connsiteX27553" y="connsiteY27553"/>
              </a:cxn>
              <a:cxn ang="0">
                <a:pos x="connsiteX27554" y="connsiteY27554"/>
              </a:cxn>
              <a:cxn ang="0">
                <a:pos x="connsiteX27555" y="connsiteY27555"/>
              </a:cxn>
              <a:cxn ang="0">
                <a:pos x="connsiteX27556" y="connsiteY27556"/>
              </a:cxn>
              <a:cxn ang="0">
                <a:pos x="connsiteX27557" y="connsiteY27557"/>
              </a:cxn>
              <a:cxn ang="0">
                <a:pos x="connsiteX27558" y="connsiteY27558"/>
              </a:cxn>
              <a:cxn ang="0">
                <a:pos x="connsiteX27559" y="connsiteY27559"/>
              </a:cxn>
              <a:cxn ang="0">
                <a:pos x="connsiteX27560" y="connsiteY27560"/>
              </a:cxn>
              <a:cxn ang="0">
                <a:pos x="connsiteX27561" y="connsiteY27561"/>
              </a:cxn>
              <a:cxn ang="0">
                <a:pos x="connsiteX27562" y="connsiteY27562"/>
              </a:cxn>
              <a:cxn ang="0">
                <a:pos x="connsiteX27563" y="connsiteY27563"/>
              </a:cxn>
              <a:cxn ang="0">
                <a:pos x="connsiteX27564" y="connsiteY27564"/>
              </a:cxn>
              <a:cxn ang="0">
                <a:pos x="connsiteX27565" y="connsiteY27565"/>
              </a:cxn>
              <a:cxn ang="0">
                <a:pos x="connsiteX27566" y="connsiteY27566"/>
              </a:cxn>
              <a:cxn ang="0">
                <a:pos x="connsiteX27567" y="connsiteY27567"/>
              </a:cxn>
              <a:cxn ang="0">
                <a:pos x="connsiteX27568" y="connsiteY27568"/>
              </a:cxn>
              <a:cxn ang="0">
                <a:pos x="connsiteX27569" y="connsiteY27569"/>
              </a:cxn>
              <a:cxn ang="0">
                <a:pos x="connsiteX27570" y="connsiteY27570"/>
              </a:cxn>
              <a:cxn ang="0">
                <a:pos x="connsiteX27571" y="connsiteY27571"/>
              </a:cxn>
              <a:cxn ang="0">
                <a:pos x="connsiteX27572" y="connsiteY27572"/>
              </a:cxn>
              <a:cxn ang="0">
                <a:pos x="connsiteX27573" y="connsiteY27573"/>
              </a:cxn>
              <a:cxn ang="0">
                <a:pos x="connsiteX27574" y="connsiteY27574"/>
              </a:cxn>
              <a:cxn ang="0">
                <a:pos x="connsiteX27575" y="connsiteY27575"/>
              </a:cxn>
              <a:cxn ang="0">
                <a:pos x="connsiteX27576" y="connsiteY27576"/>
              </a:cxn>
              <a:cxn ang="0">
                <a:pos x="connsiteX27577" y="connsiteY27577"/>
              </a:cxn>
              <a:cxn ang="0">
                <a:pos x="connsiteX27578" y="connsiteY27578"/>
              </a:cxn>
              <a:cxn ang="0">
                <a:pos x="connsiteX27579" y="connsiteY27579"/>
              </a:cxn>
              <a:cxn ang="0">
                <a:pos x="connsiteX27580" y="connsiteY27580"/>
              </a:cxn>
              <a:cxn ang="0">
                <a:pos x="connsiteX27581" y="connsiteY27581"/>
              </a:cxn>
              <a:cxn ang="0">
                <a:pos x="connsiteX27582" y="connsiteY27582"/>
              </a:cxn>
              <a:cxn ang="0">
                <a:pos x="connsiteX27583" y="connsiteY27583"/>
              </a:cxn>
              <a:cxn ang="0">
                <a:pos x="connsiteX27584" y="connsiteY27584"/>
              </a:cxn>
              <a:cxn ang="0">
                <a:pos x="connsiteX27585" y="connsiteY27585"/>
              </a:cxn>
              <a:cxn ang="0">
                <a:pos x="connsiteX27586" y="connsiteY27586"/>
              </a:cxn>
              <a:cxn ang="0">
                <a:pos x="connsiteX27587" y="connsiteY27587"/>
              </a:cxn>
              <a:cxn ang="0">
                <a:pos x="connsiteX27588" y="connsiteY27588"/>
              </a:cxn>
              <a:cxn ang="0">
                <a:pos x="connsiteX27589" y="connsiteY27589"/>
              </a:cxn>
              <a:cxn ang="0">
                <a:pos x="connsiteX27590" y="connsiteY27590"/>
              </a:cxn>
              <a:cxn ang="0">
                <a:pos x="connsiteX27591" y="connsiteY27591"/>
              </a:cxn>
              <a:cxn ang="0">
                <a:pos x="connsiteX27592" y="connsiteY27592"/>
              </a:cxn>
              <a:cxn ang="0">
                <a:pos x="connsiteX27593" y="connsiteY27593"/>
              </a:cxn>
              <a:cxn ang="0">
                <a:pos x="connsiteX27594" y="connsiteY27594"/>
              </a:cxn>
              <a:cxn ang="0">
                <a:pos x="connsiteX27595" y="connsiteY27595"/>
              </a:cxn>
              <a:cxn ang="0">
                <a:pos x="connsiteX27596" y="connsiteY27596"/>
              </a:cxn>
              <a:cxn ang="0">
                <a:pos x="connsiteX27597" y="connsiteY27597"/>
              </a:cxn>
              <a:cxn ang="0">
                <a:pos x="connsiteX27598" y="connsiteY27598"/>
              </a:cxn>
              <a:cxn ang="0">
                <a:pos x="connsiteX27599" y="connsiteY27599"/>
              </a:cxn>
              <a:cxn ang="0">
                <a:pos x="connsiteX27600" y="connsiteY27600"/>
              </a:cxn>
              <a:cxn ang="0">
                <a:pos x="connsiteX27601" y="connsiteY27601"/>
              </a:cxn>
              <a:cxn ang="0">
                <a:pos x="connsiteX27602" y="connsiteY27602"/>
              </a:cxn>
              <a:cxn ang="0">
                <a:pos x="connsiteX27603" y="connsiteY27603"/>
              </a:cxn>
              <a:cxn ang="0">
                <a:pos x="connsiteX27604" y="connsiteY27604"/>
              </a:cxn>
              <a:cxn ang="0">
                <a:pos x="connsiteX27605" y="connsiteY27605"/>
              </a:cxn>
              <a:cxn ang="0">
                <a:pos x="connsiteX27606" y="connsiteY27606"/>
              </a:cxn>
              <a:cxn ang="0">
                <a:pos x="connsiteX27607" y="connsiteY27607"/>
              </a:cxn>
              <a:cxn ang="0">
                <a:pos x="connsiteX27608" y="connsiteY27608"/>
              </a:cxn>
              <a:cxn ang="0">
                <a:pos x="connsiteX27609" y="connsiteY27609"/>
              </a:cxn>
              <a:cxn ang="0">
                <a:pos x="connsiteX27610" y="connsiteY27610"/>
              </a:cxn>
              <a:cxn ang="0">
                <a:pos x="connsiteX27611" y="connsiteY27611"/>
              </a:cxn>
              <a:cxn ang="0">
                <a:pos x="connsiteX27612" y="connsiteY27612"/>
              </a:cxn>
              <a:cxn ang="0">
                <a:pos x="connsiteX27613" y="connsiteY27613"/>
              </a:cxn>
              <a:cxn ang="0">
                <a:pos x="connsiteX27614" y="connsiteY27614"/>
              </a:cxn>
              <a:cxn ang="0">
                <a:pos x="connsiteX27615" y="connsiteY27615"/>
              </a:cxn>
              <a:cxn ang="0">
                <a:pos x="connsiteX27616" y="connsiteY27616"/>
              </a:cxn>
              <a:cxn ang="0">
                <a:pos x="connsiteX27617" y="connsiteY27617"/>
              </a:cxn>
              <a:cxn ang="0">
                <a:pos x="connsiteX27618" y="connsiteY27618"/>
              </a:cxn>
              <a:cxn ang="0">
                <a:pos x="connsiteX27619" y="connsiteY27619"/>
              </a:cxn>
              <a:cxn ang="0">
                <a:pos x="connsiteX27620" y="connsiteY27620"/>
              </a:cxn>
              <a:cxn ang="0">
                <a:pos x="connsiteX27621" y="connsiteY27621"/>
              </a:cxn>
              <a:cxn ang="0">
                <a:pos x="connsiteX27622" y="connsiteY27622"/>
              </a:cxn>
              <a:cxn ang="0">
                <a:pos x="connsiteX27623" y="connsiteY27623"/>
              </a:cxn>
              <a:cxn ang="0">
                <a:pos x="connsiteX27624" y="connsiteY27624"/>
              </a:cxn>
              <a:cxn ang="0">
                <a:pos x="connsiteX27625" y="connsiteY27625"/>
              </a:cxn>
              <a:cxn ang="0">
                <a:pos x="connsiteX27626" y="connsiteY27626"/>
              </a:cxn>
              <a:cxn ang="0">
                <a:pos x="connsiteX27627" y="connsiteY27627"/>
              </a:cxn>
              <a:cxn ang="0">
                <a:pos x="connsiteX27628" y="connsiteY27628"/>
              </a:cxn>
              <a:cxn ang="0">
                <a:pos x="connsiteX27629" y="connsiteY27629"/>
              </a:cxn>
              <a:cxn ang="0">
                <a:pos x="connsiteX27630" y="connsiteY27630"/>
              </a:cxn>
              <a:cxn ang="0">
                <a:pos x="connsiteX27631" y="connsiteY27631"/>
              </a:cxn>
              <a:cxn ang="0">
                <a:pos x="connsiteX27632" y="connsiteY27632"/>
              </a:cxn>
              <a:cxn ang="0">
                <a:pos x="connsiteX27633" y="connsiteY27633"/>
              </a:cxn>
              <a:cxn ang="0">
                <a:pos x="connsiteX27634" y="connsiteY27634"/>
              </a:cxn>
              <a:cxn ang="0">
                <a:pos x="connsiteX27635" y="connsiteY27635"/>
              </a:cxn>
              <a:cxn ang="0">
                <a:pos x="connsiteX27636" y="connsiteY27636"/>
              </a:cxn>
              <a:cxn ang="0">
                <a:pos x="connsiteX27637" y="connsiteY27637"/>
              </a:cxn>
              <a:cxn ang="0">
                <a:pos x="connsiteX27638" y="connsiteY27638"/>
              </a:cxn>
              <a:cxn ang="0">
                <a:pos x="connsiteX27639" y="connsiteY27639"/>
              </a:cxn>
              <a:cxn ang="0">
                <a:pos x="connsiteX27640" y="connsiteY27640"/>
              </a:cxn>
              <a:cxn ang="0">
                <a:pos x="connsiteX27641" y="connsiteY27641"/>
              </a:cxn>
              <a:cxn ang="0">
                <a:pos x="connsiteX27642" y="connsiteY27642"/>
              </a:cxn>
              <a:cxn ang="0">
                <a:pos x="connsiteX27643" y="connsiteY27643"/>
              </a:cxn>
              <a:cxn ang="0">
                <a:pos x="connsiteX27644" y="connsiteY27644"/>
              </a:cxn>
              <a:cxn ang="0">
                <a:pos x="connsiteX27645" y="connsiteY27645"/>
              </a:cxn>
              <a:cxn ang="0">
                <a:pos x="connsiteX27646" y="connsiteY27646"/>
              </a:cxn>
              <a:cxn ang="0">
                <a:pos x="connsiteX27647" y="connsiteY27647"/>
              </a:cxn>
              <a:cxn ang="0">
                <a:pos x="connsiteX27648" y="connsiteY27648"/>
              </a:cxn>
              <a:cxn ang="0">
                <a:pos x="connsiteX27649" y="connsiteY27649"/>
              </a:cxn>
              <a:cxn ang="0">
                <a:pos x="connsiteX27650" y="connsiteY27650"/>
              </a:cxn>
              <a:cxn ang="0">
                <a:pos x="connsiteX27651" y="connsiteY27651"/>
              </a:cxn>
              <a:cxn ang="0">
                <a:pos x="connsiteX27652" y="connsiteY27652"/>
              </a:cxn>
              <a:cxn ang="0">
                <a:pos x="connsiteX27653" y="connsiteY27653"/>
              </a:cxn>
              <a:cxn ang="0">
                <a:pos x="connsiteX27654" y="connsiteY27654"/>
              </a:cxn>
              <a:cxn ang="0">
                <a:pos x="connsiteX27655" y="connsiteY27655"/>
              </a:cxn>
              <a:cxn ang="0">
                <a:pos x="connsiteX27656" y="connsiteY27656"/>
              </a:cxn>
              <a:cxn ang="0">
                <a:pos x="connsiteX27657" y="connsiteY27657"/>
              </a:cxn>
              <a:cxn ang="0">
                <a:pos x="connsiteX27658" y="connsiteY27658"/>
              </a:cxn>
              <a:cxn ang="0">
                <a:pos x="connsiteX27659" y="connsiteY27659"/>
              </a:cxn>
              <a:cxn ang="0">
                <a:pos x="connsiteX27660" y="connsiteY27660"/>
              </a:cxn>
              <a:cxn ang="0">
                <a:pos x="connsiteX27661" y="connsiteY27661"/>
              </a:cxn>
              <a:cxn ang="0">
                <a:pos x="connsiteX27662" y="connsiteY27662"/>
              </a:cxn>
              <a:cxn ang="0">
                <a:pos x="connsiteX27663" y="connsiteY27663"/>
              </a:cxn>
              <a:cxn ang="0">
                <a:pos x="connsiteX27664" y="connsiteY27664"/>
              </a:cxn>
              <a:cxn ang="0">
                <a:pos x="connsiteX27665" y="connsiteY27665"/>
              </a:cxn>
              <a:cxn ang="0">
                <a:pos x="connsiteX27666" y="connsiteY27666"/>
              </a:cxn>
              <a:cxn ang="0">
                <a:pos x="connsiteX27667" y="connsiteY27667"/>
              </a:cxn>
              <a:cxn ang="0">
                <a:pos x="connsiteX27668" y="connsiteY27668"/>
              </a:cxn>
              <a:cxn ang="0">
                <a:pos x="connsiteX27669" y="connsiteY27669"/>
              </a:cxn>
              <a:cxn ang="0">
                <a:pos x="connsiteX27670" y="connsiteY27670"/>
              </a:cxn>
              <a:cxn ang="0">
                <a:pos x="connsiteX27671" y="connsiteY27671"/>
              </a:cxn>
              <a:cxn ang="0">
                <a:pos x="connsiteX27672" y="connsiteY27672"/>
              </a:cxn>
              <a:cxn ang="0">
                <a:pos x="connsiteX27673" y="connsiteY27673"/>
              </a:cxn>
              <a:cxn ang="0">
                <a:pos x="connsiteX27674" y="connsiteY27674"/>
              </a:cxn>
              <a:cxn ang="0">
                <a:pos x="connsiteX27675" y="connsiteY27675"/>
              </a:cxn>
              <a:cxn ang="0">
                <a:pos x="connsiteX27676" y="connsiteY27676"/>
              </a:cxn>
              <a:cxn ang="0">
                <a:pos x="connsiteX27677" y="connsiteY27677"/>
              </a:cxn>
              <a:cxn ang="0">
                <a:pos x="connsiteX27678" y="connsiteY27678"/>
              </a:cxn>
              <a:cxn ang="0">
                <a:pos x="connsiteX27679" y="connsiteY27679"/>
              </a:cxn>
              <a:cxn ang="0">
                <a:pos x="connsiteX27680" y="connsiteY27680"/>
              </a:cxn>
              <a:cxn ang="0">
                <a:pos x="connsiteX27681" y="connsiteY27681"/>
              </a:cxn>
              <a:cxn ang="0">
                <a:pos x="connsiteX27682" y="connsiteY27682"/>
              </a:cxn>
              <a:cxn ang="0">
                <a:pos x="connsiteX27683" y="connsiteY27683"/>
              </a:cxn>
              <a:cxn ang="0">
                <a:pos x="connsiteX27684" y="connsiteY27684"/>
              </a:cxn>
              <a:cxn ang="0">
                <a:pos x="connsiteX27685" y="connsiteY27685"/>
              </a:cxn>
              <a:cxn ang="0">
                <a:pos x="connsiteX27686" y="connsiteY27686"/>
              </a:cxn>
              <a:cxn ang="0">
                <a:pos x="connsiteX27687" y="connsiteY27687"/>
              </a:cxn>
              <a:cxn ang="0">
                <a:pos x="connsiteX27688" y="connsiteY27688"/>
              </a:cxn>
              <a:cxn ang="0">
                <a:pos x="connsiteX27689" y="connsiteY27689"/>
              </a:cxn>
              <a:cxn ang="0">
                <a:pos x="connsiteX27690" y="connsiteY27690"/>
              </a:cxn>
              <a:cxn ang="0">
                <a:pos x="connsiteX27691" y="connsiteY27691"/>
              </a:cxn>
              <a:cxn ang="0">
                <a:pos x="connsiteX27692" y="connsiteY27692"/>
              </a:cxn>
              <a:cxn ang="0">
                <a:pos x="connsiteX27693" y="connsiteY27693"/>
              </a:cxn>
              <a:cxn ang="0">
                <a:pos x="connsiteX27694" y="connsiteY27694"/>
              </a:cxn>
              <a:cxn ang="0">
                <a:pos x="connsiteX27695" y="connsiteY27695"/>
              </a:cxn>
              <a:cxn ang="0">
                <a:pos x="connsiteX27696" y="connsiteY27696"/>
              </a:cxn>
              <a:cxn ang="0">
                <a:pos x="connsiteX27697" y="connsiteY27697"/>
              </a:cxn>
              <a:cxn ang="0">
                <a:pos x="connsiteX27698" y="connsiteY27698"/>
              </a:cxn>
              <a:cxn ang="0">
                <a:pos x="connsiteX27699" y="connsiteY27699"/>
              </a:cxn>
              <a:cxn ang="0">
                <a:pos x="connsiteX27700" y="connsiteY27700"/>
              </a:cxn>
              <a:cxn ang="0">
                <a:pos x="connsiteX27701" y="connsiteY27701"/>
              </a:cxn>
              <a:cxn ang="0">
                <a:pos x="connsiteX27702" y="connsiteY27702"/>
              </a:cxn>
              <a:cxn ang="0">
                <a:pos x="connsiteX27703" y="connsiteY27703"/>
              </a:cxn>
              <a:cxn ang="0">
                <a:pos x="connsiteX27704" y="connsiteY27704"/>
              </a:cxn>
              <a:cxn ang="0">
                <a:pos x="connsiteX27705" y="connsiteY27705"/>
              </a:cxn>
              <a:cxn ang="0">
                <a:pos x="connsiteX27706" y="connsiteY27706"/>
              </a:cxn>
              <a:cxn ang="0">
                <a:pos x="connsiteX27707" y="connsiteY27707"/>
              </a:cxn>
              <a:cxn ang="0">
                <a:pos x="connsiteX27708" y="connsiteY27708"/>
              </a:cxn>
              <a:cxn ang="0">
                <a:pos x="connsiteX27709" y="connsiteY27709"/>
              </a:cxn>
              <a:cxn ang="0">
                <a:pos x="connsiteX27710" y="connsiteY27710"/>
              </a:cxn>
              <a:cxn ang="0">
                <a:pos x="connsiteX27711" y="connsiteY27711"/>
              </a:cxn>
              <a:cxn ang="0">
                <a:pos x="connsiteX27712" y="connsiteY27712"/>
              </a:cxn>
              <a:cxn ang="0">
                <a:pos x="connsiteX27713" y="connsiteY27713"/>
              </a:cxn>
              <a:cxn ang="0">
                <a:pos x="connsiteX27714" y="connsiteY27714"/>
              </a:cxn>
              <a:cxn ang="0">
                <a:pos x="connsiteX27715" y="connsiteY27715"/>
              </a:cxn>
              <a:cxn ang="0">
                <a:pos x="connsiteX27716" y="connsiteY27716"/>
              </a:cxn>
              <a:cxn ang="0">
                <a:pos x="connsiteX27717" y="connsiteY27717"/>
              </a:cxn>
              <a:cxn ang="0">
                <a:pos x="connsiteX27718" y="connsiteY27718"/>
              </a:cxn>
              <a:cxn ang="0">
                <a:pos x="connsiteX27719" y="connsiteY27719"/>
              </a:cxn>
              <a:cxn ang="0">
                <a:pos x="connsiteX27720" y="connsiteY27720"/>
              </a:cxn>
              <a:cxn ang="0">
                <a:pos x="connsiteX27721" y="connsiteY27721"/>
              </a:cxn>
              <a:cxn ang="0">
                <a:pos x="connsiteX27722" y="connsiteY27722"/>
              </a:cxn>
              <a:cxn ang="0">
                <a:pos x="connsiteX27723" y="connsiteY27723"/>
              </a:cxn>
              <a:cxn ang="0">
                <a:pos x="connsiteX27724" y="connsiteY27724"/>
              </a:cxn>
              <a:cxn ang="0">
                <a:pos x="connsiteX27725" y="connsiteY27725"/>
              </a:cxn>
              <a:cxn ang="0">
                <a:pos x="connsiteX27726" y="connsiteY27726"/>
              </a:cxn>
              <a:cxn ang="0">
                <a:pos x="connsiteX27727" y="connsiteY27727"/>
              </a:cxn>
              <a:cxn ang="0">
                <a:pos x="connsiteX27728" y="connsiteY27728"/>
              </a:cxn>
              <a:cxn ang="0">
                <a:pos x="connsiteX27729" y="connsiteY27729"/>
              </a:cxn>
              <a:cxn ang="0">
                <a:pos x="connsiteX27730" y="connsiteY27730"/>
              </a:cxn>
              <a:cxn ang="0">
                <a:pos x="connsiteX27731" y="connsiteY27731"/>
              </a:cxn>
              <a:cxn ang="0">
                <a:pos x="connsiteX27732" y="connsiteY27732"/>
              </a:cxn>
              <a:cxn ang="0">
                <a:pos x="connsiteX27733" y="connsiteY27733"/>
              </a:cxn>
              <a:cxn ang="0">
                <a:pos x="connsiteX27734" y="connsiteY27734"/>
              </a:cxn>
              <a:cxn ang="0">
                <a:pos x="connsiteX27735" y="connsiteY27735"/>
              </a:cxn>
              <a:cxn ang="0">
                <a:pos x="connsiteX27736" y="connsiteY27736"/>
              </a:cxn>
              <a:cxn ang="0">
                <a:pos x="connsiteX27737" y="connsiteY27737"/>
              </a:cxn>
              <a:cxn ang="0">
                <a:pos x="connsiteX27738" y="connsiteY27738"/>
              </a:cxn>
              <a:cxn ang="0">
                <a:pos x="connsiteX27739" y="connsiteY27739"/>
              </a:cxn>
              <a:cxn ang="0">
                <a:pos x="connsiteX27740" y="connsiteY27740"/>
              </a:cxn>
              <a:cxn ang="0">
                <a:pos x="connsiteX27741" y="connsiteY27741"/>
              </a:cxn>
              <a:cxn ang="0">
                <a:pos x="connsiteX27742" y="connsiteY27742"/>
              </a:cxn>
              <a:cxn ang="0">
                <a:pos x="connsiteX27743" y="connsiteY27743"/>
              </a:cxn>
              <a:cxn ang="0">
                <a:pos x="connsiteX27744" y="connsiteY27744"/>
              </a:cxn>
              <a:cxn ang="0">
                <a:pos x="connsiteX27745" y="connsiteY27745"/>
              </a:cxn>
              <a:cxn ang="0">
                <a:pos x="connsiteX27746" y="connsiteY27746"/>
              </a:cxn>
              <a:cxn ang="0">
                <a:pos x="connsiteX27747" y="connsiteY27747"/>
              </a:cxn>
              <a:cxn ang="0">
                <a:pos x="connsiteX27748" y="connsiteY27748"/>
              </a:cxn>
              <a:cxn ang="0">
                <a:pos x="connsiteX27749" y="connsiteY27749"/>
              </a:cxn>
              <a:cxn ang="0">
                <a:pos x="connsiteX27750" y="connsiteY27750"/>
              </a:cxn>
              <a:cxn ang="0">
                <a:pos x="connsiteX27751" y="connsiteY27751"/>
              </a:cxn>
              <a:cxn ang="0">
                <a:pos x="connsiteX27752" y="connsiteY27752"/>
              </a:cxn>
              <a:cxn ang="0">
                <a:pos x="connsiteX27753" y="connsiteY27753"/>
              </a:cxn>
              <a:cxn ang="0">
                <a:pos x="connsiteX27754" y="connsiteY27754"/>
              </a:cxn>
              <a:cxn ang="0">
                <a:pos x="connsiteX27755" y="connsiteY27755"/>
              </a:cxn>
              <a:cxn ang="0">
                <a:pos x="connsiteX27756" y="connsiteY27756"/>
              </a:cxn>
              <a:cxn ang="0">
                <a:pos x="connsiteX27757" y="connsiteY27757"/>
              </a:cxn>
              <a:cxn ang="0">
                <a:pos x="connsiteX27758" y="connsiteY27758"/>
              </a:cxn>
              <a:cxn ang="0">
                <a:pos x="connsiteX27759" y="connsiteY27759"/>
              </a:cxn>
              <a:cxn ang="0">
                <a:pos x="connsiteX27760" y="connsiteY27760"/>
              </a:cxn>
              <a:cxn ang="0">
                <a:pos x="connsiteX27761" y="connsiteY27761"/>
              </a:cxn>
              <a:cxn ang="0">
                <a:pos x="connsiteX27762" y="connsiteY27762"/>
              </a:cxn>
              <a:cxn ang="0">
                <a:pos x="connsiteX27763" y="connsiteY27763"/>
              </a:cxn>
              <a:cxn ang="0">
                <a:pos x="connsiteX27764" y="connsiteY27764"/>
              </a:cxn>
              <a:cxn ang="0">
                <a:pos x="connsiteX27765" y="connsiteY27765"/>
              </a:cxn>
              <a:cxn ang="0">
                <a:pos x="connsiteX27766" y="connsiteY27766"/>
              </a:cxn>
              <a:cxn ang="0">
                <a:pos x="connsiteX27767" y="connsiteY27767"/>
              </a:cxn>
              <a:cxn ang="0">
                <a:pos x="connsiteX27768" y="connsiteY27768"/>
              </a:cxn>
              <a:cxn ang="0">
                <a:pos x="connsiteX27769" y="connsiteY27769"/>
              </a:cxn>
              <a:cxn ang="0">
                <a:pos x="connsiteX27770" y="connsiteY27770"/>
              </a:cxn>
              <a:cxn ang="0">
                <a:pos x="connsiteX27771" y="connsiteY27771"/>
              </a:cxn>
              <a:cxn ang="0">
                <a:pos x="connsiteX27772" y="connsiteY27772"/>
              </a:cxn>
              <a:cxn ang="0">
                <a:pos x="connsiteX27773" y="connsiteY27773"/>
              </a:cxn>
              <a:cxn ang="0">
                <a:pos x="connsiteX27774" y="connsiteY27774"/>
              </a:cxn>
              <a:cxn ang="0">
                <a:pos x="connsiteX27775" y="connsiteY27775"/>
              </a:cxn>
              <a:cxn ang="0">
                <a:pos x="connsiteX27776" y="connsiteY27776"/>
              </a:cxn>
              <a:cxn ang="0">
                <a:pos x="connsiteX27777" y="connsiteY27777"/>
              </a:cxn>
              <a:cxn ang="0">
                <a:pos x="connsiteX27778" y="connsiteY27778"/>
              </a:cxn>
              <a:cxn ang="0">
                <a:pos x="connsiteX27779" y="connsiteY27779"/>
              </a:cxn>
              <a:cxn ang="0">
                <a:pos x="connsiteX27780" y="connsiteY27780"/>
              </a:cxn>
              <a:cxn ang="0">
                <a:pos x="connsiteX27781" y="connsiteY27781"/>
              </a:cxn>
              <a:cxn ang="0">
                <a:pos x="connsiteX27782" y="connsiteY27782"/>
              </a:cxn>
              <a:cxn ang="0">
                <a:pos x="connsiteX27783" y="connsiteY27783"/>
              </a:cxn>
              <a:cxn ang="0">
                <a:pos x="connsiteX27784" y="connsiteY27784"/>
              </a:cxn>
              <a:cxn ang="0">
                <a:pos x="connsiteX27785" y="connsiteY27785"/>
              </a:cxn>
              <a:cxn ang="0">
                <a:pos x="connsiteX27786" y="connsiteY27786"/>
              </a:cxn>
              <a:cxn ang="0">
                <a:pos x="connsiteX27787" y="connsiteY27787"/>
              </a:cxn>
              <a:cxn ang="0">
                <a:pos x="connsiteX27788" y="connsiteY27788"/>
              </a:cxn>
              <a:cxn ang="0">
                <a:pos x="connsiteX27789" y="connsiteY27789"/>
              </a:cxn>
              <a:cxn ang="0">
                <a:pos x="connsiteX27790" y="connsiteY27790"/>
              </a:cxn>
              <a:cxn ang="0">
                <a:pos x="connsiteX27791" y="connsiteY27791"/>
              </a:cxn>
              <a:cxn ang="0">
                <a:pos x="connsiteX27792" y="connsiteY27792"/>
              </a:cxn>
              <a:cxn ang="0">
                <a:pos x="connsiteX27793" y="connsiteY27793"/>
              </a:cxn>
              <a:cxn ang="0">
                <a:pos x="connsiteX27794" y="connsiteY27794"/>
              </a:cxn>
              <a:cxn ang="0">
                <a:pos x="connsiteX27795" y="connsiteY27795"/>
              </a:cxn>
              <a:cxn ang="0">
                <a:pos x="connsiteX27796" y="connsiteY27796"/>
              </a:cxn>
              <a:cxn ang="0">
                <a:pos x="connsiteX27797" y="connsiteY27797"/>
              </a:cxn>
              <a:cxn ang="0">
                <a:pos x="connsiteX27798" y="connsiteY27798"/>
              </a:cxn>
              <a:cxn ang="0">
                <a:pos x="connsiteX27799" y="connsiteY27799"/>
              </a:cxn>
              <a:cxn ang="0">
                <a:pos x="connsiteX27800" y="connsiteY27800"/>
              </a:cxn>
              <a:cxn ang="0">
                <a:pos x="connsiteX27801" y="connsiteY27801"/>
              </a:cxn>
              <a:cxn ang="0">
                <a:pos x="connsiteX27802" y="connsiteY27802"/>
              </a:cxn>
              <a:cxn ang="0">
                <a:pos x="connsiteX27803" y="connsiteY27803"/>
              </a:cxn>
              <a:cxn ang="0">
                <a:pos x="connsiteX27804" y="connsiteY27804"/>
              </a:cxn>
              <a:cxn ang="0">
                <a:pos x="connsiteX27805" y="connsiteY27805"/>
              </a:cxn>
              <a:cxn ang="0">
                <a:pos x="connsiteX27806" y="connsiteY27806"/>
              </a:cxn>
              <a:cxn ang="0">
                <a:pos x="connsiteX27807" y="connsiteY27807"/>
              </a:cxn>
              <a:cxn ang="0">
                <a:pos x="connsiteX27808" y="connsiteY27808"/>
              </a:cxn>
              <a:cxn ang="0">
                <a:pos x="connsiteX27809" y="connsiteY27809"/>
              </a:cxn>
              <a:cxn ang="0">
                <a:pos x="connsiteX27810" y="connsiteY27810"/>
              </a:cxn>
              <a:cxn ang="0">
                <a:pos x="connsiteX27811" y="connsiteY27811"/>
              </a:cxn>
              <a:cxn ang="0">
                <a:pos x="connsiteX27812" y="connsiteY27812"/>
              </a:cxn>
              <a:cxn ang="0">
                <a:pos x="connsiteX27813" y="connsiteY27813"/>
              </a:cxn>
              <a:cxn ang="0">
                <a:pos x="connsiteX27814" y="connsiteY27814"/>
              </a:cxn>
              <a:cxn ang="0">
                <a:pos x="connsiteX27815" y="connsiteY27815"/>
              </a:cxn>
              <a:cxn ang="0">
                <a:pos x="connsiteX27816" y="connsiteY27816"/>
              </a:cxn>
              <a:cxn ang="0">
                <a:pos x="connsiteX27817" y="connsiteY27817"/>
              </a:cxn>
              <a:cxn ang="0">
                <a:pos x="connsiteX27818" y="connsiteY27818"/>
              </a:cxn>
              <a:cxn ang="0">
                <a:pos x="connsiteX27819" y="connsiteY27819"/>
              </a:cxn>
              <a:cxn ang="0">
                <a:pos x="connsiteX27820" y="connsiteY27820"/>
              </a:cxn>
              <a:cxn ang="0">
                <a:pos x="connsiteX27821" y="connsiteY27821"/>
              </a:cxn>
              <a:cxn ang="0">
                <a:pos x="connsiteX27822" y="connsiteY27822"/>
              </a:cxn>
              <a:cxn ang="0">
                <a:pos x="connsiteX27823" y="connsiteY27823"/>
              </a:cxn>
              <a:cxn ang="0">
                <a:pos x="connsiteX27824" y="connsiteY27824"/>
              </a:cxn>
              <a:cxn ang="0">
                <a:pos x="connsiteX27825" y="connsiteY27825"/>
              </a:cxn>
              <a:cxn ang="0">
                <a:pos x="connsiteX27826" y="connsiteY27826"/>
              </a:cxn>
              <a:cxn ang="0">
                <a:pos x="connsiteX27827" y="connsiteY27827"/>
              </a:cxn>
              <a:cxn ang="0">
                <a:pos x="connsiteX27828" y="connsiteY27828"/>
              </a:cxn>
              <a:cxn ang="0">
                <a:pos x="connsiteX27829" y="connsiteY27829"/>
              </a:cxn>
              <a:cxn ang="0">
                <a:pos x="connsiteX27830" y="connsiteY27830"/>
              </a:cxn>
              <a:cxn ang="0">
                <a:pos x="connsiteX27831" y="connsiteY27831"/>
              </a:cxn>
              <a:cxn ang="0">
                <a:pos x="connsiteX27832" y="connsiteY27832"/>
              </a:cxn>
              <a:cxn ang="0">
                <a:pos x="connsiteX27833" y="connsiteY27833"/>
              </a:cxn>
              <a:cxn ang="0">
                <a:pos x="connsiteX27834" y="connsiteY27834"/>
              </a:cxn>
              <a:cxn ang="0">
                <a:pos x="connsiteX27835" y="connsiteY27835"/>
              </a:cxn>
              <a:cxn ang="0">
                <a:pos x="connsiteX27836" y="connsiteY27836"/>
              </a:cxn>
              <a:cxn ang="0">
                <a:pos x="connsiteX27837" y="connsiteY27837"/>
              </a:cxn>
              <a:cxn ang="0">
                <a:pos x="connsiteX27838" y="connsiteY27838"/>
              </a:cxn>
              <a:cxn ang="0">
                <a:pos x="connsiteX27839" y="connsiteY27839"/>
              </a:cxn>
              <a:cxn ang="0">
                <a:pos x="connsiteX27840" y="connsiteY27840"/>
              </a:cxn>
              <a:cxn ang="0">
                <a:pos x="connsiteX27841" y="connsiteY27841"/>
              </a:cxn>
              <a:cxn ang="0">
                <a:pos x="connsiteX27842" y="connsiteY27842"/>
              </a:cxn>
              <a:cxn ang="0">
                <a:pos x="connsiteX27843" y="connsiteY27843"/>
              </a:cxn>
              <a:cxn ang="0">
                <a:pos x="connsiteX27844" y="connsiteY27844"/>
              </a:cxn>
              <a:cxn ang="0">
                <a:pos x="connsiteX27845" y="connsiteY27845"/>
              </a:cxn>
              <a:cxn ang="0">
                <a:pos x="connsiteX27846" y="connsiteY27846"/>
              </a:cxn>
              <a:cxn ang="0">
                <a:pos x="connsiteX27847" y="connsiteY27847"/>
              </a:cxn>
              <a:cxn ang="0">
                <a:pos x="connsiteX27848" y="connsiteY27848"/>
              </a:cxn>
              <a:cxn ang="0">
                <a:pos x="connsiteX27849" y="connsiteY27849"/>
              </a:cxn>
              <a:cxn ang="0">
                <a:pos x="connsiteX27850" y="connsiteY27850"/>
              </a:cxn>
              <a:cxn ang="0">
                <a:pos x="connsiteX27851" y="connsiteY27851"/>
              </a:cxn>
              <a:cxn ang="0">
                <a:pos x="connsiteX27852" y="connsiteY27852"/>
              </a:cxn>
              <a:cxn ang="0">
                <a:pos x="connsiteX27853" y="connsiteY27853"/>
              </a:cxn>
              <a:cxn ang="0">
                <a:pos x="connsiteX27854" y="connsiteY27854"/>
              </a:cxn>
              <a:cxn ang="0">
                <a:pos x="connsiteX27855" y="connsiteY27855"/>
              </a:cxn>
              <a:cxn ang="0">
                <a:pos x="connsiteX27856" y="connsiteY27856"/>
              </a:cxn>
              <a:cxn ang="0">
                <a:pos x="connsiteX27857" y="connsiteY27857"/>
              </a:cxn>
              <a:cxn ang="0">
                <a:pos x="connsiteX27858" y="connsiteY27858"/>
              </a:cxn>
              <a:cxn ang="0">
                <a:pos x="connsiteX27859" y="connsiteY27859"/>
              </a:cxn>
              <a:cxn ang="0">
                <a:pos x="connsiteX27860" y="connsiteY27860"/>
              </a:cxn>
              <a:cxn ang="0">
                <a:pos x="connsiteX27861" y="connsiteY27861"/>
              </a:cxn>
              <a:cxn ang="0">
                <a:pos x="connsiteX27862" y="connsiteY27862"/>
              </a:cxn>
              <a:cxn ang="0">
                <a:pos x="connsiteX27863" y="connsiteY27863"/>
              </a:cxn>
              <a:cxn ang="0">
                <a:pos x="connsiteX27864" y="connsiteY27864"/>
              </a:cxn>
              <a:cxn ang="0">
                <a:pos x="connsiteX27865" y="connsiteY27865"/>
              </a:cxn>
              <a:cxn ang="0">
                <a:pos x="connsiteX27866" y="connsiteY27866"/>
              </a:cxn>
              <a:cxn ang="0">
                <a:pos x="connsiteX27867" y="connsiteY27867"/>
              </a:cxn>
              <a:cxn ang="0">
                <a:pos x="connsiteX27868" y="connsiteY27868"/>
              </a:cxn>
              <a:cxn ang="0">
                <a:pos x="connsiteX27869" y="connsiteY27869"/>
              </a:cxn>
              <a:cxn ang="0">
                <a:pos x="connsiteX27870" y="connsiteY27870"/>
              </a:cxn>
              <a:cxn ang="0">
                <a:pos x="connsiteX27871" y="connsiteY27871"/>
              </a:cxn>
              <a:cxn ang="0">
                <a:pos x="connsiteX27872" y="connsiteY27872"/>
              </a:cxn>
              <a:cxn ang="0">
                <a:pos x="connsiteX27873" y="connsiteY27873"/>
              </a:cxn>
              <a:cxn ang="0">
                <a:pos x="connsiteX27874" y="connsiteY27874"/>
              </a:cxn>
              <a:cxn ang="0">
                <a:pos x="connsiteX27875" y="connsiteY27875"/>
              </a:cxn>
              <a:cxn ang="0">
                <a:pos x="connsiteX27876" y="connsiteY27876"/>
              </a:cxn>
              <a:cxn ang="0">
                <a:pos x="connsiteX27877" y="connsiteY27877"/>
              </a:cxn>
              <a:cxn ang="0">
                <a:pos x="connsiteX27878" y="connsiteY27878"/>
              </a:cxn>
              <a:cxn ang="0">
                <a:pos x="connsiteX27879" y="connsiteY27879"/>
              </a:cxn>
              <a:cxn ang="0">
                <a:pos x="connsiteX27880" y="connsiteY27880"/>
              </a:cxn>
              <a:cxn ang="0">
                <a:pos x="connsiteX27881" y="connsiteY27881"/>
              </a:cxn>
              <a:cxn ang="0">
                <a:pos x="connsiteX27882" y="connsiteY27882"/>
              </a:cxn>
              <a:cxn ang="0">
                <a:pos x="connsiteX27883" y="connsiteY27883"/>
              </a:cxn>
              <a:cxn ang="0">
                <a:pos x="connsiteX27884" y="connsiteY27884"/>
              </a:cxn>
              <a:cxn ang="0">
                <a:pos x="connsiteX27885" y="connsiteY27885"/>
              </a:cxn>
              <a:cxn ang="0">
                <a:pos x="connsiteX27886" y="connsiteY27886"/>
              </a:cxn>
              <a:cxn ang="0">
                <a:pos x="connsiteX27887" y="connsiteY27887"/>
              </a:cxn>
              <a:cxn ang="0">
                <a:pos x="connsiteX27888" y="connsiteY27888"/>
              </a:cxn>
              <a:cxn ang="0">
                <a:pos x="connsiteX27889" y="connsiteY27889"/>
              </a:cxn>
              <a:cxn ang="0">
                <a:pos x="connsiteX27890" y="connsiteY27890"/>
              </a:cxn>
              <a:cxn ang="0">
                <a:pos x="connsiteX27891" y="connsiteY27891"/>
              </a:cxn>
              <a:cxn ang="0">
                <a:pos x="connsiteX27892" y="connsiteY27892"/>
              </a:cxn>
              <a:cxn ang="0">
                <a:pos x="connsiteX27893" y="connsiteY27893"/>
              </a:cxn>
              <a:cxn ang="0">
                <a:pos x="connsiteX27894" y="connsiteY27894"/>
              </a:cxn>
              <a:cxn ang="0">
                <a:pos x="connsiteX27895" y="connsiteY27895"/>
              </a:cxn>
              <a:cxn ang="0">
                <a:pos x="connsiteX27896" y="connsiteY27896"/>
              </a:cxn>
              <a:cxn ang="0">
                <a:pos x="connsiteX27897" y="connsiteY27897"/>
              </a:cxn>
              <a:cxn ang="0">
                <a:pos x="connsiteX27898" y="connsiteY27898"/>
              </a:cxn>
              <a:cxn ang="0">
                <a:pos x="connsiteX27899" y="connsiteY27899"/>
              </a:cxn>
              <a:cxn ang="0">
                <a:pos x="connsiteX27900" y="connsiteY27900"/>
              </a:cxn>
              <a:cxn ang="0">
                <a:pos x="connsiteX27901" y="connsiteY27901"/>
              </a:cxn>
              <a:cxn ang="0">
                <a:pos x="connsiteX27902" y="connsiteY27902"/>
              </a:cxn>
              <a:cxn ang="0">
                <a:pos x="connsiteX27903" y="connsiteY27903"/>
              </a:cxn>
              <a:cxn ang="0">
                <a:pos x="connsiteX27904" y="connsiteY27904"/>
              </a:cxn>
              <a:cxn ang="0">
                <a:pos x="connsiteX27905" y="connsiteY27905"/>
              </a:cxn>
              <a:cxn ang="0">
                <a:pos x="connsiteX27906" y="connsiteY27906"/>
              </a:cxn>
              <a:cxn ang="0">
                <a:pos x="connsiteX27907" y="connsiteY27907"/>
              </a:cxn>
              <a:cxn ang="0">
                <a:pos x="connsiteX27908" y="connsiteY27908"/>
              </a:cxn>
              <a:cxn ang="0">
                <a:pos x="connsiteX27909" y="connsiteY27909"/>
              </a:cxn>
              <a:cxn ang="0">
                <a:pos x="connsiteX27910" y="connsiteY27910"/>
              </a:cxn>
              <a:cxn ang="0">
                <a:pos x="connsiteX27911" y="connsiteY27911"/>
              </a:cxn>
              <a:cxn ang="0">
                <a:pos x="connsiteX27912" y="connsiteY27912"/>
              </a:cxn>
              <a:cxn ang="0">
                <a:pos x="connsiteX27913" y="connsiteY27913"/>
              </a:cxn>
              <a:cxn ang="0">
                <a:pos x="connsiteX27914" y="connsiteY27914"/>
              </a:cxn>
              <a:cxn ang="0">
                <a:pos x="connsiteX27915" y="connsiteY27915"/>
              </a:cxn>
              <a:cxn ang="0">
                <a:pos x="connsiteX27916" y="connsiteY27916"/>
              </a:cxn>
              <a:cxn ang="0">
                <a:pos x="connsiteX27917" y="connsiteY27917"/>
              </a:cxn>
              <a:cxn ang="0">
                <a:pos x="connsiteX27918" y="connsiteY27918"/>
              </a:cxn>
              <a:cxn ang="0">
                <a:pos x="connsiteX27919" y="connsiteY27919"/>
              </a:cxn>
              <a:cxn ang="0">
                <a:pos x="connsiteX27920" y="connsiteY27920"/>
              </a:cxn>
              <a:cxn ang="0">
                <a:pos x="connsiteX27921" y="connsiteY27921"/>
              </a:cxn>
              <a:cxn ang="0">
                <a:pos x="connsiteX27922" y="connsiteY27922"/>
              </a:cxn>
              <a:cxn ang="0">
                <a:pos x="connsiteX27923" y="connsiteY27923"/>
              </a:cxn>
              <a:cxn ang="0">
                <a:pos x="connsiteX27924" y="connsiteY27924"/>
              </a:cxn>
              <a:cxn ang="0">
                <a:pos x="connsiteX27925" y="connsiteY27925"/>
              </a:cxn>
              <a:cxn ang="0">
                <a:pos x="connsiteX27926" y="connsiteY27926"/>
              </a:cxn>
              <a:cxn ang="0">
                <a:pos x="connsiteX27927" y="connsiteY27927"/>
              </a:cxn>
              <a:cxn ang="0">
                <a:pos x="connsiteX27928" y="connsiteY27928"/>
              </a:cxn>
              <a:cxn ang="0">
                <a:pos x="connsiteX27929" y="connsiteY27929"/>
              </a:cxn>
              <a:cxn ang="0">
                <a:pos x="connsiteX27930" y="connsiteY27930"/>
              </a:cxn>
              <a:cxn ang="0">
                <a:pos x="connsiteX27931" y="connsiteY27931"/>
              </a:cxn>
              <a:cxn ang="0">
                <a:pos x="connsiteX27932" y="connsiteY27932"/>
              </a:cxn>
              <a:cxn ang="0">
                <a:pos x="connsiteX27933" y="connsiteY27933"/>
              </a:cxn>
              <a:cxn ang="0">
                <a:pos x="connsiteX27934" y="connsiteY27934"/>
              </a:cxn>
              <a:cxn ang="0">
                <a:pos x="connsiteX27935" y="connsiteY27935"/>
              </a:cxn>
              <a:cxn ang="0">
                <a:pos x="connsiteX27936" y="connsiteY27936"/>
              </a:cxn>
              <a:cxn ang="0">
                <a:pos x="connsiteX27937" y="connsiteY27937"/>
              </a:cxn>
              <a:cxn ang="0">
                <a:pos x="connsiteX27938" y="connsiteY27938"/>
              </a:cxn>
              <a:cxn ang="0">
                <a:pos x="connsiteX27939" y="connsiteY27939"/>
              </a:cxn>
              <a:cxn ang="0">
                <a:pos x="connsiteX27940" y="connsiteY27940"/>
              </a:cxn>
              <a:cxn ang="0">
                <a:pos x="connsiteX27941" y="connsiteY27941"/>
              </a:cxn>
              <a:cxn ang="0">
                <a:pos x="connsiteX27942" y="connsiteY27942"/>
              </a:cxn>
              <a:cxn ang="0">
                <a:pos x="connsiteX27943" y="connsiteY27943"/>
              </a:cxn>
              <a:cxn ang="0">
                <a:pos x="connsiteX27944" y="connsiteY27944"/>
              </a:cxn>
              <a:cxn ang="0">
                <a:pos x="connsiteX27945" y="connsiteY27945"/>
              </a:cxn>
              <a:cxn ang="0">
                <a:pos x="connsiteX27946" y="connsiteY27946"/>
              </a:cxn>
              <a:cxn ang="0">
                <a:pos x="connsiteX27947" y="connsiteY27947"/>
              </a:cxn>
              <a:cxn ang="0">
                <a:pos x="connsiteX27948" y="connsiteY27948"/>
              </a:cxn>
              <a:cxn ang="0">
                <a:pos x="connsiteX27949" y="connsiteY27949"/>
              </a:cxn>
              <a:cxn ang="0">
                <a:pos x="connsiteX27950" y="connsiteY27950"/>
              </a:cxn>
              <a:cxn ang="0">
                <a:pos x="connsiteX27951" y="connsiteY27951"/>
              </a:cxn>
              <a:cxn ang="0">
                <a:pos x="connsiteX27952" y="connsiteY27952"/>
              </a:cxn>
              <a:cxn ang="0">
                <a:pos x="connsiteX27953" y="connsiteY27953"/>
              </a:cxn>
              <a:cxn ang="0">
                <a:pos x="connsiteX27954" y="connsiteY27954"/>
              </a:cxn>
              <a:cxn ang="0">
                <a:pos x="connsiteX27955" y="connsiteY27955"/>
              </a:cxn>
              <a:cxn ang="0">
                <a:pos x="connsiteX27956" y="connsiteY27956"/>
              </a:cxn>
              <a:cxn ang="0">
                <a:pos x="connsiteX27957" y="connsiteY27957"/>
              </a:cxn>
              <a:cxn ang="0">
                <a:pos x="connsiteX27958" y="connsiteY27958"/>
              </a:cxn>
              <a:cxn ang="0">
                <a:pos x="connsiteX27959" y="connsiteY27959"/>
              </a:cxn>
              <a:cxn ang="0">
                <a:pos x="connsiteX27960" y="connsiteY27960"/>
              </a:cxn>
              <a:cxn ang="0">
                <a:pos x="connsiteX27961" y="connsiteY27961"/>
              </a:cxn>
              <a:cxn ang="0">
                <a:pos x="connsiteX27962" y="connsiteY27962"/>
              </a:cxn>
              <a:cxn ang="0">
                <a:pos x="connsiteX27963" y="connsiteY27963"/>
              </a:cxn>
              <a:cxn ang="0">
                <a:pos x="connsiteX27964" y="connsiteY27964"/>
              </a:cxn>
              <a:cxn ang="0">
                <a:pos x="connsiteX27965" y="connsiteY27965"/>
              </a:cxn>
              <a:cxn ang="0">
                <a:pos x="connsiteX27966" y="connsiteY27966"/>
              </a:cxn>
              <a:cxn ang="0">
                <a:pos x="connsiteX27967" y="connsiteY27967"/>
              </a:cxn>
              <a:cxn ang="0">
                <a:pos x="connsiteX27968" y="connsiteY27968"/>
              </a:cxn>
              <a:cxn ang="0">
                <a:pos x="connsiteX27969" y="connsiteY27969"/>
              </a:cxn>
              <a:cxn ang="0">
                <a:pos x="connsiteX27970" y="connsiteY27970"/>
              </a:cxn>
              <a:cxn ang="0">
                <a:pos x="connsiteX27971" y="connsiteY27971"/>
              </a:cxn>
              <a:cxn ang="0">
                <a:pos x="connsiteX27972" y="connsiteY27972"/>
              </a:cxn>
              <a:cxn ang="0">
                <a:pos x="connsiteX27973" y="connsiteY27973"/>
              </a:cxn>
              <a:cxn ang="0">
                <a:pos x="connsiteX27974" y="connsiteY27974"/>
              </a:cxn>
              <a:cxn ang="0">
                <a:pos x="connsiteX27975" y="connsiteY27975"/>
              </a:cxn>
              <a:cxn ang="0">
                <a:pos x="connsiteX27976" y="connsiteY27976"/>
              </a:cxn>
              <a:cxn ang="0">
                <a:pos x="connsiteX27977" y="connsiteY27977"/>
              </a:cxn>
              <a:cxn ang="0">
                <a:pos x="connsiteX27978" y="connsiteY27978"/>
              </a:cxn>
              <a:cxn ang="0">
                <a:pos x="connsiteX27979" y="connsiteY27979"/>
              </a:cxn>
              <a:cxn ang="0">
                <a:pos x="connsiteX27980" y="connsiteY27980"/>
              </a:cxn>
              <a:cxn ang="0">
                <a:pos x="connsiteX27981" y="connsiteY27981"/>
              </a:cxn>
              <a:cxn ang="0">
                <a:pos x="connsiteX27982" y="connsiteY27982"/>
              </a:cxn>
              <a:cxn ang="0">
                <a:pos x="connsiteX27983" y="connsiteY27983"/>
              </a:cxn>
              <a:cxn ang="0">
                <a:pos x="connsiteX27984" y="connsiteY27984"/>
              </a:cxn>
              <a:cxn ang="0">
                <a:pos x="connsiteX27985" y="connsiteY27985"/>
              </a:cxn>
              <a:cxn ang="0">
                <a:pos x="connsiteX27986" y="connsiteY27986"/>
              </a:cxn>
              <a:cxn ang="0">
                <a:pos x="connsiteX27987" y="connsiteY27987"/>
              </a:cxn>
              <a:cxn ang="0">
                <a:pos x="connsiteX27988" y="connsiteY27988"/>
              </a:cxn>
              <a:cxn ang="0">
                <a:pos x="connsiteX27989" y="connsiteY27989"/>
              </a:cxn>
              <a:cxn ang="0">
                <a:pos x="connsiteX27990" y="connsiteY27990"/>
              </a:cxn>
              <a:cxn ang="0">
                <a:pos x="connsiteX27991" y="connsiteY27991"/>
              </a:cxn>
              <a:cxn ang="0">
                <a:pos x="connsiteX27992" y="connsiteY27992"/>
              </a:cxn>
              <a:cxn ang="0">
                <a:pos x="connsiteX27993" y="connsiteY27993"/>
              </a:cxn>
              <a:cxn ang="0">
                <a:pos x="connsiteX27994" y="connsiteY27994"/>
              </a:cxn>
              <a:cxn ang="0">
                <a:pos x="connsiteX27995" y="connsiteY27995"/>
              </a:cxn>
              <a:cxn ang="0">
                <a:pos x="connsiteX27996" y="connsiteY27996"/>
              </a:cxn>
              <a:cxn ang="0">
                <a:pos x="connsiteX27997" y="connsiteY27997"/>
              </a:cxn>
              <a:cxn ang="0">
                <a:pos x="connsiteX27998" y="connsiteY27998"/>
              </a:cxn>
              <a:cxn ang="0">
                <a:pos x="connsiteX27999" y="connsiteY27999"/>
              </a:cxn>
              <a:cxn ang="0">
                <a:pos x="connsiteX28000" y="connsiteY28000"/>
              </a:cxn>
              <a:cxn ang="0">
                <a:pos x="connsiteX28001" y="connsiteY28001"/>
              </a:cxn>
              <a:cxn ang="0">
                <a:pos x="connsiteX28002" y="connsiteY28002"/>
              </a:cxn>
              <a:cxn ang="0">
                <a:pos x="connsiteX28003" y="connsiteY28003"/>
              </a:cxn>
              <a:cxn ang="0">
                <a:pos x="connsiteX28004" y="connsiteY28004"/>
              </a:cxn>
              <a:cxn ang="0">
                <a:pos x="connsiteX28005" y="connsiteY28005"/>
              </a:cxn>
              <a:cxn ang="0">
                <a:pos x="connsiteX28006" y="connsiteY28006"/>
              </a:cxn>
              <a:cxn ang="0">
                <a:pos x="connsiteX28007" y="connsiteY28007"/>
              </a:cxn>
              <a:cxn ang="0">
                <a:pos x="connsiteX28008" y="connsiteY28008"/>
              </a:cxn>
              <a:cxn ang="0">
                <a:pos x="connsiteX28009" y="connsiteY28009"/>
              </a:cxn>
              <a:cxn ang="0">
                <a:pos x="connsiteX28010" y="connsiteY28010"/>
              </a:cxn>
              <a:cxn ang="0">
                <a:pos x="connsiteX28011" y="connsiteY28011"/>
              </a:cxn>
              <a:cxn ang="0">
                <a:pos x="connsiteX28012" y="connsiteY28012"/>
              </a:cxn>
              <a:cxn ang="0">
                <a:pos x="connsiteX28013" y="connsiteY28013"/>
              </a:cxn>
              <a:cxn ang="0">
                <a:pos x="connsiteX28014" y="connsiteY28014"/>
              </a:cxn>
              <a:cxn ang="0">
                <a:pos x="connsiteX28015" y="connsiteY28015"/>
              </a:cxn>
              <a:cxn ang="0">
                <a:pos x="connsiteX28016" y="connsiteY28016"/>
              </a:cxn>
              <a:cxn ang="0">
                <a:pos x="connsiteX28017" y="connsiteY28017"/>
              </a:cxn>
              <a:cxn ang="0">
                <a:pos x="connsiteX28018" y="connsiteY28018"/>
              </a:cxn>
              <a:cxn ang="0">
                <a:pos x="connsiteX28019" y="connsiteY28019"/>
              </a:cxn>
              <a:cxn ang="0">
                <a:pos x="connsiteX28020" y="connsiteY28020"/>
              </a:cxn>
              <a:cxn ang="0">
                <a:pos x="connsiteX28021" y="connsiteY28021"/>
              </a:cxn>
              <a:cxn ang="0">
                <a:pos x="connsiteX28022" y="connsiteY28022"/>
              </a:cxn>
              <a:cxn ang="0">
                <a:pos x="connsiteX28023" y="connsiteY28023"/>
              </a:cxn>
              <a:cxn ang="0">
                <a:pos x="connsiteX28024" y="connsiteY28024"/>
              </a:cxn>
              <a:cxn ang="0">
                <a:pos x="connsiteX28025" y="connsiteY28025"/>
              </a:cxn>
              <a:cxn ang="0">
                <a:pos x="connsiteX28026" y="connsiteY28026"/>
              </a:cxn>
              <a:cxn ang="0">
                <a:pos x="connsiteX28027" y="connsiteY28027"/>
              </a:cxn>
              <a:cxn ang="0">
                <a:pos x="connsiteX28028" y="connsiteY28028"/>
              </a:cxn>
              <a:cxn ang="0">
                <a:pos x="connsiteX28029" y="connsiteY28029"/>
              </a:cxn>
              <a:cxn ang="0">
                <a:pos x="connsiteX28030" y="connsiteY28030"/>
              </a:cxn>
              <a:cxn ang="0">
                <a:pos x="connsiteX28031" y="connsiteY28031"/>
              </a:cxn>
              <a:cxn ang="0">
                <a:pos x="connsiteX28032" y="connsiteY28032"/>
              </a:cxn>
              <a:cxn ang="0">
                <a:pos x="connsiteX28033" y="connsiteY28033"/>
              </a:cxn>
              <a:cxn ang="0">
                <a:pos x="connsiteX28034" y="connsiteY28034"/>
              </a:cxn>
              <a:cxn ang="0">
                <a:pos x="connsiteX28035" y="connsiteY28035"/>
              </a:cxn>
              <a:cxn ang="0">
                <a:pos x="connsiteX28036" y="connsiteY28036"/>
              </a:cxn>
              <a:cxn ang="0">
                <a:pos x="connsiteX28037" y="connsiteY28037"/>
              </a:cxn>
              <a:cxn ang="0">
                <a:pos x="connsiteX28038" y="connsiteY28038"/>
              </a:cxn>
              <a:cxn ang="0">
                <a:pos x="connsiteX28039" y="connsiteY28039"/>
              </a:cxn>
              <a:cxn ang="0">
                <a:pos x="connsiteX28040" y="connsiteY28040"/>
              </a:cxn>
              <a:cxn ang="0">
                <a:pos x="connsiteX28041" y="connsiteY28041"/>
              </a:cxn>
              <a:cxn ang="0">
                <a:pos x="connsiteX28042" y="connsiteY28042"/>
              </a:cxn>
              <a:cxn ang="0">
                <a:pos x="connsiteX28043" y="connsiteY28043"/>
              </a:cxn>
              <a:cxn ang="0">
                <a:pos x="connsiteX28044" y="connsiteY28044"/>
              </a:cxn>
              <a:cxn ang="0">
                <a:pos x="connsiteX28045" y="connsiteY28045"/>
              </a:cxn>
              <a:cxn ang="0">
                <a:pos x="connsiteX28046" y="connsiteY28046"/>
              </a:cxn>
              <a:cxn ang="0">
                <a:pos x="connsiteX28047" y="connsiteY28047"/>
              </a:cxn>
              <a:cxn ang="0">
                <a:pos x="connsiteX28048" y="connsiteY28048"/>
              </a:cxn>
              <a:cxn ang="0">
                <a:pos x="connsiteX28049" y="connsiteY28049"/>
              </a:cxn>
              <a:cxn ang="0">
                <a:pos x="connsiteX28050" y="connsiteY28050"/>
              </a:cxn>
              <a:cxn ang="0">
                <a:pos x="connsiteX28051" y="connsiteY28051"/>
              </a:cxn>
              <a:cxn ang="0">
                <a:pos x="connsiteX28052" y="connsiteY28052"/>
              </a:cxn>
              <a:cxn ang="0">
                <a:pos x="connsiteX28053" y="connsiteY28053"/>
              </a:cxn>
              <a:cxn ang="0">
                <a:pos x="connsiteX28054" y="connsiteY28054"/>
              </a:cxn>
              <a:cxn ang="0">
                <a:pos x="connsiteX28055" y="connsiteY28055"/>
              </a:cxn>
              <a:cxn ang="0">
                <a:pos x="connsiteX28056" y="connsiteY28056"/>
              </a:cxn>
              <a:cxn ang="0">
                <a:pos x="connsiteX28057" y="connsiteY28057"/>
              </a:cxn>
              <a:cxn ang="0">
                <a:pos x="connsiteX28058" y="connsiteY28058"/>
              </a:cxn>
              <a:cxn ang="0">
                <a:pos x="connsiteX28059" y="connsiteY28059"/>
              </a:cxn>
              <a:cxn ang="0">
                <a:pos x="connsiteX28060" y="connsiteY28060"/>
              </a:cxn>
              <a:cxn ang="0">
                <a:pos x="connsiteX28061" y="connsiteY28061"/>
              </a:cxn>
              <a:cxn ang="0">
                <a:pos x="connsiteX28062" y="connsiteY28062"/>
              </a:cxn>
              <a:cxn ang="0">
                <a:pos x="connsiteX28063" y="connsiteY28063"/>
              </a:cxn>
              <a:cxn ang="0">
                <a:pos x="connsiteX28064" y="connsiteY28064"/>
              </a:cxn>
              <a:cxn ang="0">
                <a:pos x="connsiteX28065" y="connsiteY28065"/>
              </a:cxn>
              <a:cxn ang="0">
                <a:pos x="connsiteX28066" y="connsiteY28066"/>
              </a:cxn>
              <a:cxn ang="0">
                <a:pos x="connsiteX28067" y="connsiteY28067"/>
              </a:cxn>
              <a:cxn ang="0">
                <a:pos x="connsiteX28068" y="connsiteY28068"/>
              </a:cxn>
              <a:cxn ang="0">
                <a:pos x="connsiteX28069" y="connsiteY28069"/>
              </a:cxn>
              <a:cxn ang="0">
                <a:pos x="connsiteX28070" y="connsiteY28070"/>
              </a:cxn>
              <a:cxn ang="0">
                <a:pos x="connsiteX28071" y="connsiteY28071"/>
              </a:cxn>
              <a:cxn ang="0">
                <a:pos x="connsiteX28072" y="connsiteY28072"/>
              </a:cxn>
              <a:cxn ang="0">
                <a:pos x="connsiteX28073" y="connsiteY28073"/>
              </a:cxn>
              <a:cxn ang="0">
                <a:pos x="connsiteX28074" y="connsiteY28074"/>
              </a:cxn>
              <a:cxn ang="0">
                <a:pos x="connsiteX28075" y="connsiteY28075"/>
              </a:cxn>
              <a:cxn ang="0">
                <a:pos x="connsiteX28076" y="connsiteY28076"/>
              </a:cxn>
              <a:cxn ang="0">
                <a:pos x="connsiteX28077" y="connsiteY28077"/>
              </a:cxn>
              <a:cxn ang="0">
                <a:pos x="connsiteX28078" y="connsiteY28078"/>
              </a:cxn>
              <a:cxn ang="0">
                <a:pos x="connsiteX28079" y="connsiteY28079"/>
              </a:cxn>
              <a:cxn ang="0">
                <a:pos x="connsiteX28080" y="connsiteY28080"/>
              </a:cxn>
              <a:cxn ang="0">
                <a:pos x="connsiteX28081" y="connsiteY28081"/>
              </a:cxn>
              <a:cxn ang="0">
                <a:pos x="connsiteX28082" y="connsiteY28082"/>
              </a:cxn>
              <a:cxn ang="0">
                <a:pos x="connsiteX28083" y="connsiteY28083"/>
              </a:cxn>
              <a:cxn ang="0">
                <a:pos x="connsiteX28084" y="connsiteY28084"/>
              </a:cxn>
              <a:cxn ang="0">
                <a:pos x="connsiteX28085" y="connsiteY28085"/>
              </a:cxn>
              <a:cxn ang="0">
                <a:pos x="connsiteX28086" y="connsiteY28086"/>
              </a:cxn>
              <a:cxn ang="0">
                <a:pos x="connsiteX28087" y="connsiteY28087"/>
              </a:cxn>
              <a:cxn ang="0">
                <a:pos x="connsiteX28088" y="connsiteY28088"/>
              </a:cxn>
              <a:cxn ang="0">
                <a:pos x="connsiteX28089" y="connsiteY28089"/>
              </a:cxn>
              <a:cxn ang="0">
                <a:pos x="connsiteX28090" y="connsiteY28090"/>
              </a:cxn>
              <a:cxn ang="0">
                <a:pos x="connsiteX28091" y="connsiteY28091"/>
              </a:cxn>
              <a:cxn ang="0">
                <a:pos x="connsiteX28092" y="connsiteY28092"/>
              </a:cxn>
              <a:cxn ang="0">
                <a:pos x="connsiteX28093" y="connsiteY28093"/>
              </a:cxn>
              <a:cxn ang="0">
                <a:pos x="connsiteX28094" y="connsiteY28094"/>
              </a:cxn>
              <a:cxn ang="0">
                <a:pos x="connsiteX28095" y="connsiteY28095"/>
              </a:cxn>
              <a:cxn ang="0">
                <a:pos x="connsiteX28096" y="connsiteY28096"/>
              </a:cxn>
              <a:cxn ang="0">
                <a:pos x="connsiteX28097" y="connsiteY28097"/>
              </a:cxn>
              <a:cxn ang="0">
                <a:pos x="connsiteX28098" y="connsiteY28098"/>
              </a:cxn>
              <a:cxn ang="0">
                <a:pos x="connsiteX28099" y="connsiteY28099"/>
              </a:cxn>
              <a:cxn ang="0">
                <a:pos x="connsiteX28100" y="connsiteY28100"/>
              </a:cxn>
              <a:cxn ang="0">
                <a:pos x="connsiteX28101" y="connsiteY28101"/>
              </a:cxn>
              <a:cxn ang="0">
                <a:pos x="connsiteX28102" y="connsiteY28102"/>
              </a:cxn>
              <a:cxn ang="0">
                <a:pos x="connsiteX28103" y="connsiteY28103"/>
              </a:cxn>
              <a:cxn ang="0">
                <a:pos x="connsiteX28104" y="connsiteY28104"/>
              </a:cxn>
              <a:cxn ang="0">
                <a:pos x="connsiteX28105" y="connsiteY28105"/>
              </a:cxn>
              <a:cxn ang="0">
                <a:pos x="connsiteX28106" y="connsiteY28106"/>
              </a:cxn>
              <a:cxn ang="0">
                <a:pos x="connsiteX28107" y="connsiteY28107"/>
              </a:cxn>
              <a:cxn ang="0">
                <a:pos x="connsiteX28108" y="connsiteY28108"/>
              </a:cxn>
              <a:cxn ang="0">
                <a:pos x="connsiteX28109" y="connsiteY28109"/>
              </a:cxn>
              <a:cxn ang="0">
                <a:pos x="connsiteX28110" y="connsiteY28110"/>
              </a:cxn>
              <a:cxn ang="0">
                <a:pos x="connsiteX28111" y="connsiteY28111"/>
              </a:cxn>
              <a:cxn ang="0">
                <a:pos x="connsiteX28112" y="connsiteY28112"/>
              </a:cxn>
              <a:cxn ang="0">
                <a:pos x="connsiteX28113" y="connsiteY28113"/>
              </a:cxn>
              <a:cxn ang="0">
                <a:pos x="connsiteX28114" y="connsiteY28114"/>
              </a:cxn>
              <a:cxn ang="0">
                <a:pos x="connsiteX28115" y="connsiteY28115"/>
              </a:cxn>
              <a:cxn ang="0">
                <a:pos x="connsiteX28116" y="connsiteY28116"/>
              </a:cxn>
              <a:cxn ang="0">
                <a:pos x="connsiteX28117" y="connsiteY28117"/>
              </a:cxn>
              <a:cxn ang="0">
                <a:pos x="connsiteX28118" y="connsiteY28118"/>
              </a:cxn>
              <a:cxn ang="0">
                <a:pos x="connsiteX28119" y="connsiteY28119"/>
              </a:cxn>
              <a:cxn ang="0">
                <a:pos x="connsiteX28120" y="connsiteY28120"/>
              </a:cxn>
              <a:cxn ang="0">
                <a:pos x="connsiteX28121" y="connsiteY28121"/>
              </a:cxn>
              <a:cxn ang="0">
                <a:pos x="connsiteX28122" y="connsiteY28122"/>
              </a:cxn>
              <a:cxn ang="0">
                <a:pos x="connsiteX28123" y="connsiteY28123"/>
              </a:cxn>
              <a:cxn ang="0">
                <a:pos x="connsiteX28124" y="connsiteY28124"/>
              </a:cxn>
              <a:cxn ang="0">
                <a:pos x="connsiteX28125" y="connsiteY28125"/>
              </a:cxn>
              <a:cxn ang="0">
                <a:pos x="connsiteX28126" y="connsiteY28126"/>
              </a:cxn>
              <a:cxn ang="0">
                <a:pos x="connsiteX28127" y="connsiteY28127"/>
              </a:cxn>
              <a:cxn ang="0">
                <a:pos x="connsiteX28128" y="connsiteY28128"/>
              </a:cxn>
              <a:cxn ang="0">
                <a:pos x="connsiteX28129" y="connsiteY28129"/>
              </a:cxn>
              <a:cxn ang="0">
                <a:pos x="connsiteX28130" y="connsiteY28130"/>
              </a:cxn>
              <a:cxn ang="0">
                <a:pos x="connsiteX28131" y="connsiteY28131"/>
              </a:cxn>
              <a:cxn ang="0">
                <a:pos x="connsiteX28132" y="connsiteY28132"/>
              </a:cxn>
              <a:cxn ang="0">
                <a:pos x="connsiteX28133" y="connsiteY28133"/>
              </a:cxn>
              <a:cxn ang="0">
                <a:pos x="connsiteX28134" y="connsiteY28134"/>
              </a:cxn>
              <a:cxn ang="0">
                <a:pos x="connsiteX28135" y="connsiteY28135"/>
              </a:cxn>
              <a:cxn ang="0">
                <a:pos x="connsiteX28136" y="connsiteY28136"/>
              </a:cxn>
              <a:cxn ang="0">
                <a:pos x="connsiteX28137" y="connsiteY28137"/>
              </a:cxn>
              <a:cxn ang="0">
                <a:pos x="connsiteX28138" y="connsiteY28138"/>
              </a:cxn>
              <a:cxn ang="0">
                <a:pos x="connsiteX28139" y="connsiteY28139"/>
              </a:cxn>
              <a:cxn ang="0">
                <a:pos x="connsiteX28140" y="connsiteY28140"/>
              </a:cxn>
              <a:cxn ang="0">
                <a:pos x="connsiteX28141" y="connsiteY28141"/>
              </a:cxn>
              <a:cxn ang="0">
                <a:pos x="connsiteX28142" y="connsiteY28142"/>
              </a:cxn>
              <a:cxn ang="0">
                <a:pos x="connsiteX28143" y="connsiteY28143"/>
              </a:cxn>
              <a:cxn ang="0">
                <a:pos x="connsiteX28144" y="connsiteY28144"/>
              </a:cxn>
              <a:cxn ang="0">
                <a:pos x="connsiteX28145" y="connsiteY28145"/>
              </a:cxn>
              <a:cxn ang="0">
                <a:pos x="connsiteX28146" y="connsiteY28146"/>
              </a:cxn>
              <a:cxn ang="0">
                <a:pos x="connsiteX28147" y="connsiteY28147"/>
              </a:cxn>
              <a:cxn ang="0">
                <a:pos x="connsiteX28148" y="connsiteY28148"/>
              </a:cxn>
              <a:cxn ang="0">
                <a:pos x="connsiteX28149" y="connsiteY28149"/>
              </a:cxn>
              <a:cxn ang="0">
                <a:pos x="connsiteX28150" y="connsiteY28150"/>
              </a:cxn>
              <a:cxn ang="0">
                <a:pos x="connsiteX28151" y="connsiteY28151"/>
              </a:cxn>
              <a:cxn ang="0">
                <a:pos x="connsiteX28152" y="connsiteY28152"/>
              </a:cxn>
              <a:cxn ang="0">
                <a:pos x="connsiteX28153" y="connsiteY28153"/>
              </a:cxn>
              <a:cxn ang="0">
                <a:pos x="connsiteX28154" y="connsiteY28154"/>
              </a:cxn>
              <a:cxn ang="0">
                <a:pos x="connsiteX28155" y="connsiteY28155"/>
              </a:cxn>
              <a:cxn ang="0">
                <a:pos x="connsiteX28156" y="connsiteY28156"/>
              </a:cxn>
              <a:cxn ang="0">
                <a:pos x="connsiteX28157" y="connsiteY28157"/>
              </a:cxn>
              <a:cxn ang="0">
                <a:pos x="connsiteX28158" y="connsiteY28158"/>
              </a:cxn>
              <a:cxn ang="0">
                <a:pos x="connsiteX28159" y="connsiteY28159"/>
              </a:cxn>
              <a:cxn ang="0">
                <a:pos x="connsiteX28160" y="connsiteY28160"/>
              </a:cxn>
              <a:cxn ang="0">
                <a:pos x="connsiteX28161" y="connsiteY28161"/>
              </a:cxn>
              <a:cxn ang="0">
                <a:pos x="connsiteX28162" y="connsiteY28162"/>
              </a:cxn>
              <a:cxn ang="0">
                <a:pos x="connsiteX28163" y="connsiteY28163"/>
              </a:cxn>
              <a:cxn ang="0">
                <a:pos x="connsiteX28164" y="connsiteY28164"/>
              </a:cxn>
              <a:cxn ang="0">
                <a:pos x="connsiteX28165" y="connsiteY28165"/>
              </a:cxn>
              <a:cxn ang="0">
                <a:pos x="connsiteX28166" y="connsiteY28166"/>
              </a:cxn>
              <a:cxn ang="0">
                <a:pos x="connsiteX28167" y="connsiteY28167"/>
              </a:cxn>
              <a:cxn ang="0">
                <a:pos x="connsiteX28168" y="connsiteY28168"/>
              </a:cxn>
              <a:cxn ang="0">
                <a:pos x="connsiteX28169" y="connsiteY28169"/>
              </a:cxn>
              <a:cxn ang="0">
                <a:pos x="connsiteX28170" y="connsiteY28170"/>
              </a:cxn>
              <a:cxn ang="0">
                <a:pos x="connsiteX28171" y="connsiteY28171"/>
              </a:cxn>
              <a:cxn ang="0">
                <a:pos x="connsiteX28172" y="connsiteY28172"/>
              </a:cxn>
              <a:cxn ang="0">
                <a:pos x="connsiteX28173" y="connsiteY28173"/>
              </a:cxn>
              <a:cxn ang="0">
                <a:pos x="connsiteX28174" y="connsiteY28174"/>
              </a:cxn>
              <a:cxn ang="0">
                <a:pos x="connsiteX28175" y="connsiteY28175"/>
              </a:cxn>
              <a:cxn ang="0">
                <a:pos x="connsiteX28176" y="connsiteY28176"/>
              </a:cxn>
              <a:cxn ang="0">
                <a:pos x="connsiteX28177" y="connsiteY28177"/>
              </a:cxn>
              <a:cxn ang="0">
                <a:pos x="connsiteX28178" y="connsiteY28178"/>
              </a:cxn>
              <a:cxn ang="0">
                <a:pos x="connsiteX28179" y="connsiteY28179"/>
              </a:cxn>
              <a:cxn ang="0">
                <a:pos x="connsiteX28180" y="connsiteY28180"/>
              </a:cxn>
              <a:cxn ang="0">
                <a:pos x="connsiteX28181" y="connsiteY28181"/>
              </a:cxn>
              <a:cxn ang="0">
                <a:pos x="connsiteX28182" y="connsiteY28182"/>
              </a:cxn>
              <a:cxn ang="0">
                <a:pos x="connsiteX28183" y="connsiteY28183"/>
              </a:cxn>
              <a:cxn ang="0">
                <a:pos x="connsiteX28184" y="connsiteY28184"/>
              </a:cxn>
              <a:cxn ang="0">
                <a:pos x="connsiteX28185" y="connsiteY28185"/>
              </a:cxn>
              <a:cxn ang="0">
                <a:pos x="connsiteX28186" y="connsiteY28186"/>
              </a:cxn>
              <a:cxn ang="0">
                <a:pos x="connsiteX28187" y="connsiteY28187"/>
              </a:cxn>
              <a:cxn ang="0">
                <a:pos x="connsiteX28188" y="connsiteY28188"/>
              </a:cxn>
              <a:cxn ang="0">
                <a:pos x="connsiteX28189" y="connsiteY28189"/>
              </a:cxn>
              <a:cxn ang="0">
                <a:pos x="connsiteX28190" y="connsiteY28190"/>
              </a:cxn>
              <a:cxn ang="0">
                <a:pos x="connsiteX28191" y="connsiteY28191"/>
              </a:cxn>
              <a:cxn ang="0">
                <a:pos x="connsiteX28192" y="connsiteY28192"/>
              </a:cxn>
              <a:cxn ang="0">
                <a:pos x="connsiteX28193" y="connsiteY28193"/>
              </a:cxn>
              <a:cxn ang="0">
                <a:pos x="connsiteX28194" y="connsiteY28194"/>
              </a:cxn>
              <a:cxn ang="0">
                <a:pos x="connsiteX28195" y="connsiteY28195"/>
              </a:cxn>
              <a:cxn ang="0">
                <a:pos x="connsiteX28196" y="connsiteY28196"/>
              </a:cxn>
              <a:cxn ang="0">
                <a:pos x="connsiteX28197" y="connsiteY28197"/>
              </a:cxn>
              <a:cxn ang="0">
                <a:pos x="connsiteX28198" y="connsiteY28198"/>
              </a:cxn>
              <a:cxn ang="0">
                <a:pos x="connsiteX28199" y="connsiteY28199"/>
              </a:cxn>
              <a:cxn ang="0">
                <a:pos x="connsiteX28200" y="connsiteY28200"/>
              </a:cxn>
              <a:cxn ang="0">
                <a:pos x="connsiteX28201" y="connsiteY28201"/>
              </a:cxn>
              <a:cxn ang="0">
                <a:pos x="connsiteX28202" y="connsiteY28202"/>
              </a:cxn>
              <a:cxn ang="0">
                <a:pos x="connsiteX28203" y="connsiteY28203"/>
              </a:cxn>
              <a:cxn ang="0">
                <a:pos x="connsiteX28204" y="connsiteY28204"/>
              </a:cxn>
              <a:cxn ang="0">
                <a:pos x="connsiteX28205" y="connsiteY28205"/>
              </a:cxn>
              <a:cxn ang="0">
                <a:pos x="connsiteX28206" y="connsiteY28206"/>
              </a:cxn>
              <a:cxn ang="0">
                <a:pos x="connsiteX28207" y="connsiteY28207"/>
              </a:cxn>
              <a:cxn ang="0">
                <a:pos x="connsiteX28208" y="connsiteY28208"/>
              </a:cxn>
              <a:cxn ang="0">
                <a:pos x="connsiteX28209" y="connsiteY28209"/>
              </a:cxn>
              <a:cxn ang="0">
                <a:pos x="connsiteX28210" y="connsiteY28210"/>
              </a:cxn>
              <a:cxn ang="0">
                <a:pos x="connsiteX28211" y="connsiteY28211"/>
              </a:cxn>
              <a:cxn ang="0">
                <a:pos x="connsiteX28212" y="connsiteY28212"/>
              </a:cxn>
              <a:cxn ang="0">
                <a:pos x="connsiteX28213" y="connsiteY28213"/>
              </a:cxn>
              <a:cxn ang="0">
                <a:pos x="connsiteX28214" y="connsiteY28214"/>
              </a:cxn>
              <a:cxn ang="0">
                <a:pos x="connsiteX28215" y="connsiteY28215"/>
              </a:cxn>
              <a:cxn ang="0">
                <a:pos x="connsiteX28216" y="connsiteY28216"/>
              </a:cxn>
              <a:cxn ang="0">
                <a:pos x="connsiteX28217" y="connsiteY28217"/>
              </a:cxn>
              <a:cxn ang="0">
                <a:pos x="connsiteX28218" y="connsiteY28218"/>
              </a:cxn>
              <a:cxn ang="0">
                <a:pos x="connsiteX28219" y="connsiteY28219"/>
              </a:cxn>
              <a:cxn ang="0">
                <a:pos x="connsiteX28220" y="connsiteY28220"/>
              </a:cxn>
              <a:cxn ang="0">
                <a:pos x="connsiteX28221" y="connsiteY28221"/>
              </a:cxn>
              <a:cxn ang="0">
                <a:pos x="connsiteX28222" y="connsiteY28222"/>
              </a:cxn>
              <a:cxn ang="0">
                <a:pos x="connsiteX28223" y="connsiteY28223"/>
              </a:cxn>
              <a:cxn ang="0">
                <a:pos x="connsiteX28224" y="connsiteY28224"/>
              </a:cxn>
              <a:cxn ang="0">
                <a:pos x="connsiteX28225" y="connsiteY28225"/>
              </a:cxn>
              <a:cxn ang="0">
                <a:pos x="connsiteX28226" y="connsiteY28226"/>
              </a:cxn>
              <a:cxn ang="0">
                <a:pos x="connsiteX28227" y="connsiteY28227"/>
              </a:cxn>
              <a:cxn ang="0">
                <a:pos x="connsiteX28228" y="connsiteY28228"/>
              </a:cxn>
              <a:cxn ang="0">
                <a:pos x="connsiteX28229" y="connsiteY28229"/>
              </a:cxn>
              <a:cxn ang="0">
                <a:pos x="connsiteX28230" y="connsiteY28230"/>
              </a:cxn>
              <a:cxn ang="0">
                <a:pos x="connsiteX28231" y="connsiteY28231"/>
              </a:cxn>
              <a:cxn ang="0">
                <a:pos x="connsiteX28232" y="connsiteY28232"/>
              </a:cxn>
              <a:cxn ang="0">
                <a:pos x="connsiteX28233" y="connsiteY28233"/>
              </a:cxn>
              <a:cxn ang="0">
                <a:pos x="connsiteX28234" y="connsiteY28234"/>
              </a:cxn>
              <a:cxn ang="0">
                <a:pos x="connsiteX28235" y="connsiteY28235"/>
              </a:cxn>
              <a:cxn ang="0">
                <a:pos x="connsiteX28236" y="connsiteY28236"/>
              </a:cxn>
              <a:cxn ang="0">
                <a:pos x="connsiteX28237" y="connsiteY28237"/>
              </a:cxn>
              <a:cxn ang="0">
                <a:pos x="connsiteX28238" y="connsiteY28238"/>
              </a:cxn>
              <a:cxn ang="0">
                <a:pos x="connsiteX28239" y="connsiteY28239"/>
              </a:cxn>
              <a:cxn ang="0">
                <a:pos x="connsiteX28240" y="connsiteY28240"/>
              </a:cxn>
              <a:cxn ang="0">
                <a:pos x="connsiteX28241" y="connsiteY28241"/>
              </a:cxn>
              <a:cxn ang="0">
                <a:pos x="connsiteX28242" y="connsiteY28242"/>
              </a:cxn>
              <a:cxn ang="0">
                <a:pos x="connsiteX28243" y="connsiteY28243"/>
              </a:cxn>
              <a:cxn ang="0">
                <a:pos x="connsiteX28244" y="connsiteY28244"/>
              </a:cxn>
              <a:cxn ang="0">
                <a:pos x="connsiteX28245" y="connsiteY28245"/>
              </a:cxn>
              <a:cxn ang="0">
                <a:pos x="connsiteX28246" y="connsiteY28246"/>
              </a:cxn>
              <a:cxn ang="0">
                <a:pos x="connsiteX28247" y="connsiteY28247"/>
              </a:cxn>
              <a:cxn ang="0">
                <a:pos x="connsiteX28248" y="connsiteY28248"/>
              </a:cxn>
              <a:cxn ang="0">
                <a:pos x="connsiteX28249" y="connsiteY28249"/>
              </a:cxn>
              <a:cxn ang="0">
                <a:pos x="connsiteX28250" y="connsiteY28250"/>
              </a:cxn>
              <a:cxn ang="0">
                <a:pos x="connsiteX28251" y="connsiteY28251"/>
              </a:cxn>
              <a:cxn ang="0">
                <a:pos x="connsiteX28252" y="connsiteY28252"/>
              </a:cxn>
              <a:cxn ang="0">
                <a:pos x="connsiteX28253" y="connsiteY28253"/>
              </a:cxn>
              <a:cxn ang="0">
                <a:pos x="connsiteX28254" y="connsiteY28254"/>
              </a:cxn>
              <a:cxn ang="0">
                <a:pos x="connsiteX28255" y="connsiteY28255"/>
              </a:cxn>
              <a:cxn ang="0">
                <a:pos x="connsiteX28256" y="connsiteY28256"/>
              </a:cxn>
              <a:cxn ang="0">
                <a:pos x="connsiteX28257" y="connsiteY28257"/>
              </a:cxn>
              <a:cxn ang="0">
                <a:pos x="connsiteX28258" y="connsiteY28258"/>
              </a:cxn>
              <a:cxn ang="0">
                <a:pos x="connsiteX28259" y="connsiteY28259"/>
              </a:cxn>
              <a:cxn ang="0">
                <a:pos x="connsiteX28260" y="connsiteY28260"/>
              </a:cxn>
              <a:cxn ang="0">
                <a:pos x="connsiteX28261" y="connsiteY28261"/>
              </a:cxn>
              <a:cxn ang="0">
                <a:pos x="connsiteX28262" y="connsiteY28262"/>
              </a:cxn>
              <a:cxn ang="0">
                <a:pos x="connsiteX28263" y="connsiteY28263"/>
              </a:cxn>
              <a:cxn ang="0">
                <a:pos x="connsiteX28264" y="connsiteY28264"/>
              </a:cxn>
              <a:cxn ang="0">
                <a:pos x="connsiteX28265" y="connsiteY28265"/>
              </a:cxn>
              <a:cxn ang="0">
                <a:pos x="connsiteX28266" y="connsiteY28266"/>
              </a:cxn>
              <a:cxn ang="0">
                <a:pos x="connsiteX28267" y="connsiteY28267"/>
              </a:cxn>
              <a:cxn ang="0">
                <a:pos x="connsiteX28268" y="connsiteY28268"/>
              </a:cxn>
              <a:cxn ang="0">
                <a:pos x="connsiteX28269" y="connsiteY28269"/>
              </a:cxn>
              <a:cxn ang="0">
                <a:pos x="connsiteX28270" y="connsiteY28270"/>
              </a:cxn>
              <a:cxn ang="0">
                <a:pos x="connsiteX28271" y="connsiteY28271"/>
              </a:cxn>
              <a:cxn ang="0">
                <a:pos x="connsiteX28272" y="connsiteY28272"/>
              </a:cxn>
              <a:cxn ang="0">
                <a:pos x="connsiteX28273" y="connsiteY28273"/>
              </a:cxn>
              <a:cxn ang="0">
                <a:pos x="connsiteX28274" y="connsiteY28274"/>
              </a:cxn>
              <a:cxn ang="0">
                <a:pos x="connsiteX28275" y="connsiteY28275"/>
              </a:cxn>
              <a:cxn ang="0">
                <a:pos x="connsiteX28276" y="connsiteY28276"/>
              </a:cxn>
              <a:cxn ang="0">
                <a:pos x="connsiteX28277" y="connsiteY28277"/>
              </a:cxn>
              <a:cxn ang="0">
                <a:pos x="connsiteX28278" y="connsiteY28278"/>
              </a:cxn>
              <a:cxn ang="0">
                <a:pos x="connsiteX28279" y="connsiteY28279"/>
              </a:cxn>
              <a:cxn ang="0">
                <a:pos x="connsiteX28280" y="connsiteY28280"/>
              </a:cxn>
              <a:cxn ang="0">
                <a:pos x="connsiteX28281" y="connsiteY28281"/>
              </a:cxn>
              <a:cxn ang="0">
                <a:pos x="connsiteX28282" y="connsiteY28282"/>
              </a:cxn>
              <a:cxn ang="0">
                <a:pos x="connsiteX28283" y="connsiteY28283"/>
              </a:cxn>
              <a:cxn ang="0">
                <a:pos x="connsiteX28284" y="connsiteY28284"/>
              </a:cxn>
              <a:cxn ang="0">
                <a:pos x="connsiteX28285" y="connsiteY28285"/>
              </a:cxn>
              <a:cxn ang="0">
                <a:pos x="connsiteX28286" y="connsiteY28286"/>
              </a:cxn>
              <a:cxn ang="0">
                <a:pos x="connsiteX28287" y="connsiteY28287"/>
              </a:cxn>
              <a:cxn ang="0">
                <a:pos x="connsiteX28288" y="connsiteY28288"/>
              </a:cxn>
              <a:cxn ang="0">
                <a:pos x="connsiteX28289" y="connsiteY28289"/>
              </a:cxn>
              <a:cxn ang="0">
                <a:pos x="connsiteX28290" y="connsiteY28290"/>
              </a:cxn>
              <a:cxn ang="0">
                <a:pos x="connsiteX28291" y="connsiteY28291"/>
              </a:cxn>
              <a:cxn ang="0">
                <a:pos x="connsiteX28292" y="connsiteY28292"/>
              </a:cxn>
              <a:cxn ang="0">
                <a:pos x="connsiteX28293" y="connsiteY28293"/>
              </a:cxn>
              <a:cxn ang="0">
                <a:pos x="connsiteX28294" y="connsiteY28294"/>
              </a:cxn>
              <a:cxn ang="0">
                <a:pos x="connsiteX28295" y="connsiteY28295"/>
              </a:cxn>
              <a:cxn ang="0">
                <a:pos x="connsiteX28296" y="connsiteY28296"/>
              </a:cxn>
              <a:cxn ang="0">
                <a:pos x="connsiteX28297" y="connsiteY28297"/>
              </a:cxn>
              <a:cxn ang="0">
                <a:pos x="connsiteX28298" y="connsiteY28298"/>
              </a:cxn>
              <a:cxn ang="0">
                <a:pos x="connsiteX28299" y="connsiteY28299"/>
              </a:cxn>
              <a:cxn ang="0">
                <a:pos x="connsiteX28300" y="connsiteY28300"/>
              </a:cxn>
              <a:cxn ang="0">
                <a:pos x="connsiteX28301" y="connsiteY28301"/>
              </a:cxn>
              <a:cxn ang="0">
                <a:pos x="connsiteX28302" y="connsiteY28302"/>
              </a:cxn>
              <a:cxn ang="0">
                <a:pos x="connsiteX28303" y="connsiteY28303"/>
              </a:cxn>
              <a:cxn ang="0">
                <a:pos x="connsiteX28304" y="connsiteY28304"/>
              </a:cxn>
              <a:cxn ang="0">
                <a:pos x="connsiteX28305" y="connsiteY28305"/>
              </a:cxn>
              <a:cxn ang="0">
                <a:pos x="connsiteX28306" y="connsiteY28306"/>
              </a:cxn>
              <a:cxn ang="0">
                <a:pos x="connsiteX28307" y="connsiteY28307"/>
              </a:cxn>
              <a:cxn ang="0">
                <a:pos x="connsiteX28308" y="connsiteY28308"/>
              </a:cxn>
              <a:cxn ang="0">
                <a:pos x="connsiteX28309" y="connsiteY28309"/>
              </a:cxn>
              <a:cxn ang="0">
                <a:pos x="connsiteX28310" y="connsiteY28310"/>
              </a:cxn>
              <a:cxn ang="0">
                <a:pos x="connsiteX28311" y="connsiteY28311"/>
              </a:cxn>
              <a:cxn ang="0">
                <a:pos x="connsiteX28312" y="connsiteY28312"/>
              </a:cxn>
              <a:cxn ang="0">
                <a:pos x="connsiteX28313" y="connsiteY28313"/>
              </a:cxn>
              <a:cxn ang="0">
                <a:pos x="connsiteX28314" y="connsiteY28314"/>
              </a:cxn>
              <a:cxn ang="0">
                <a:pos x="connsiteX28315" y="connsiteY28315"/>
              </a:cxn>
              <a:cxn ang="0">
                <a:pos x="connsiteX28316" y="connsiteY28316"/>
              </a:cxn>
              <a:cxn ang="0">
                <a:pos x="connsiteX28317" y="connsiteY28317"/>
              </a:cxn>
              <a:cxn ang="0">
                <a:pos x="connsiteX28318" y="connsiteY28318"/>
              </a:cxn>
              <a:cxn ang="0">
                <a:pos x="connsiteX28319" y="connsiteY28319"/>
              </a:cxn>
              <a:cxn ang="0">
                <a:pos x="connsiteX28320" y="connsiteY28320"/>
              </a:cxn>
              <a:cxn ang="0">
                <a:pos x="connsiteX28321" y="connsiteY28321"/>
              </a:cxn>
              <a:cxn ang="0">
                <a:pos x="connsiteX28322" y="connsiteY28322"/>
              </a:cxn>
              <a:cxn ang="0">
                <a:pos x="connsiteX28323" y="connsiteY28323"/>
              </a:cxn>
              <a:cxn ang="0">
                <a:pos x="connsiteX28324" y="connsiteY28324"/>
              </a:cxn>
              <a:cxn ang="0">
                <a:pos x="connsiteX28325" y="connsiteY28325"/>
              </a:cxn>
              <a:cxn ang="0">
                <a:pos x="connsiteX28326" y="connsiteY28326"/>
              </a:cxn>
              <a:cxn ang="0">
                <a:pos x="connsiteX28327" y="connsiteY28327"/>
              </a:cxn>
              <a:cxn ang="0">
                <a:pos x="connsiteX28328" y="connsiteY28328"/>
              </a:cxn>
              <a:cxn ang="0">
                <a:pos x="connsiteX28329" y="connsiteY28329"/>
              </a:cxn>
              <a:cxn ang="0">
                <a:pos x="connsiteX28330" y="connsiteY28330"/>
              </a:cxn>
              <a:cxn ang="0">
                <a:pos x="connsiteX28331" y="connsiteY28331"/>
              </a:cxn>
              <a:cxn ang="0">
                <a:pos x="connsiteX28332" y="connsiteY28332"/>
              </a:cxn>
              <a:cxn ang="0">
                <a:pos x="connsiteX28333" y="connsiteY28333"/>
              </a:cxn>
              <a:cxn ang="0">
                <a:pos x="connsiteX28334" y="connsiteY28334"/>
              </a:cxn>
              <a:cxn ang="0">
                <a:pos x="connsiteX28335" y="connsiteY28335"/>
              </a:cxn>
              <a:cxn ang="0">
                <a:pos x="connsiteX28336" y="connsiteY28336"/>
              </a:cxn>
              <a:cxn ang="0">
                <a:pos x="connsiteX28337" y="connsiteY28337"/>
              </a:cxn>
              <a:cxn ang="0">
                <a:pos x="connsiteX28338" y="connsiteY28338"/>
              </a:cxn>
              <a:cxn ang="0">
                <a:pos x="connsiteX28339" y="connsiteY28339"/>
              </a:cxn>
              <a:cxn ang="0">
                <a:pos x="connsiteX28340" y="connsiteY28340"/>
              </a:cxn>
              <a:cxn ang="0">
                <a:pos x="connsiteX28341" y="connsiteY28341"/>
              </a:cxn>
              <a:cxn ang="0">
                <a:pos x="connsiteX28342" y="connsiteY28342"/>
              </a:cxn>
              <a:cxn ang="0">
                <a:pos x="connsiteX28343" y="connsiteY28343"/>
              </a:cxn>
              <a:cxn ang="0">
                <a:pos x="connsiteX28344" y="connsiteY28344"/>
              </a:cxn>
              <a:cxn ang="0">
                <a:pos x="connsiteX28345" y="connsiteY28345"/>
              </a:cxn>
              <a:cxn ang="0">
                <a:pos x="connsiteX28346" y="connsiteY28346"/>
              </a:cxn>
              <a:cxn ang="0">
                <a:pos x="connsiteX28347" y="connsiteY28347"/>
              </a:cxn>
              <a:cxn ang="0">
                <a:pos x="connsiteX28348" y="connsiteY28348"/>
              </a:cxn>
              <a:cxn ang="0">
                <a:pos x="connsiteX28349" y="connsiteY28349"/>
              </a:cxn>
              <a:cxn ang="0">
                <a:pos x="connsiteX28350" y="connsiteY28350"/>
              </a:cxn>
              <a:cxn ang="0">
                <a:pos x="connsiteX28351" y="connsiteY28351"/>
              </a:cxn>
              <a:cxn ang="0">
                <a:pos x="connsiteX28352" y="connsiteY28352"/>
              </a:cxn>
              <a:cxn ang="0">
                <a:pos x="connsiteX28353" y="connsiteY28353"/>
              </a:cxn>
              <a:cxn ang="0">
                <a:pos x="connsiteX28354" y="connsiteY28354"/>
              </a:cxn>
              <a:cxn ang="0">
                <a:pos x="connsiteX28355" y="connsiteY28355"/>
              </a:cxn>
              <a:cxn ang="0">
                <a:pos x="connsiteX28356" y="connsiteY28356"/>
              </a:cxn>
              <a:cxn ang="0">
                <a:pos x="connsiteX28357" y="connsiteY28357"/>
              </a:cxn>
              <a:cxn ang="0">
                <a:pos x="connsiteX28358" y="connsiteY28358"/>
              </a:cxn>
              <a:cxn ang="0">
                <a:pos x="connsiteX28359" y="connsiteY28359"/>
              </a:cxn>
              <a:cxn ang="0">
                <a:pos x="connsiteX28360" y="connsiteY28360"/>
              </a:cxn>
              <a:cxn ang="0">
                <a:pos x="connsiteX28361" y="connsiteY28361"/>
              </a:cxn>
              <a:cxn ang="0">
                <a:pos x="connsiteX28362" y="connsiteY28362"/>
              </a:cxn>
              <a:cxn ang="0">
                <a:pos x="connsiteX28363" y="connsiteY28363"/>
              </a:cxn>
              <a:cxn ang="0">
                <a:pos x="connsiteX28364" y="connsiteY28364"/>
              </a:cxn>
              <a:cxn ang="0">
                <a:pos x="connsiteX28365" y="connsiteY28365"/>
              </a:cxn>
              <a:cxn ang="0">
                <a:pos x="connsiteX28366" y="connsiteY28366"/>
              </a:cxn>
              <a:cxn ang="0">
                <a:pos x="connsiteX28367" y="connsiteY28367"/>
              </a:cxn>
              <a:cxn ang="0">
                <a:pos x="connsiteX28368" y="connsiteY28368"/>
              </a:cxn>
              <a:cxn ang="0">
                <a:pos x="connsiteX28369" y="connsiteY28369"/>
              </a:cxn>
              <a:cxn ang="0">
                <a:pos x="connsiteX28370" y="connsiteY28370"/>
              </a:cxn>
              <a:cxn ang="0">
                <a:pos x="connsiteX28371" y="connsiteY28371"/>
              </a:cxn>
              <a:cxn ang="0">
                <a:pos x="connsiteX28372" y="connsiteY28372"/>
              </a:cxn>
              <a:cxn ang="0">
                <a:pos x="connsiteX28373" y="connsiteY28373"/>
              </a:cxn>
              <a:cxn ang="0">
                <a:pos x="connsiteX28374" y="connsiteY28374"/>
              </a:cxn>
              <a:cxn ang="0">
                <a:pos x="connsiteX28375" y="connsiteY28375"/>
              </a:cxn>
              <a:cxn ang="0">
                <a:pos x="connsiteX28376" y="connsiteY28376"/>
              </a:cxn>
              <a:cxn ang="0">
                <a:pos x="connsiteX28377" y="connsiteY28377"/>
              </a:cxn>
              <a:cxn ang="0">
                <a:pos x="connsiteX28378" y="connsiteY28378"/>
              </a:cxn>
              <a:cxn ang="0">
                <a:pos x="connsiteX28379" y="connsiteY28379"/>
              </a:cxn>
              <a:cxn ang="0">
                <a:pos x="connsiteX28380" y="connsiteY28380"/>
              </a:cxn>
              <a:cxn ang="0">
                <a:pos x="connsiteX28381" y="connsiteY28381"/>
              </a:cxn>
              <a:cxn ang="0">
                <a:pos x="connsiteX28382" y="connsiteY28382"/>
              </a:cxn>
              <a:cxn ang="0">
                <a:pos x="connsiteX28383" y="connsiteY28383"/>
              </a:cxn>
              <a:cxn ang="0">
                <a:pos x="connsiteX28384" y="connsiteY28384"/>
              </a:cxn>
              <a:cxn ang="0">
                <a:pos x="connsiteX28385" y="connsiteY28385"/>
              </a:cxn>
              <a:cxn ang="0">
                <a:pos x="connsiteX28386" y="connsiteY28386"/>
              </a:cxn>
              <a:cxn ang="0">
                <a:pos x="connsiteX28387" y="connsiteY28387"/>
              </a:cxn>
              <a:cxn ang="0">
                <a:pos x="connsiteX28388" y="connsiteY28388"/>
              </a:cxn>
              <a:cxn ang="0">
                <a:pos x="connsiteX28389" y="connsiteY28389"/>
              </a:cxn>
              <a:cxn ang="0">
                <a:pos x="connsiteX28390" y="connsiteY28390"/>
              </a:cxn>
              <a:cxn ang="0">
                <a:pos x="connsiteX28391" y="connsiteY28391"/>
              </a:cxn>
              <a:cxn ang="0">
                <a:pos x="connsiteX28392" y="connsiteY28392"/>
              </a:cxn>
              <a:cxn ang="0">
                <a:pos x="connsiteX28393" y="connsiteY28393"/>
              </a:cxn>
              <a:cxn ang="0">
                <a:pos x="connsiteX28394" y="connsiteY28394"/>
              </a:cxn>
              <a:cxn ang="0">
                <a:pos x="connsiteX28395" y="connsiteY28395"/>
              </a:cxn>
              <a:cxn ang="0">
                <a:pos x="connsiteX28396" y="connsiteY28396"/>
              </a:cxn>
              <a:cxn ang="0">
                <a:pos x="connsiteX28397" y="connsiteY28397"/>
              </a:cxn>
              <a:cxn ang="0">
                <a:pos x="connsiteX28398" y="connsiteY28398"/>
              </a:cxn>
              <a:cxn ang="0">
                <a:pos x="connsiteX28399" y="connsiteY28399"/>
              </a:cxn>
              <a:cxn ang="0">
                <a:pos x="connsiteX28400" y="connsiteY28400"/>
              </a:cxn>
              <a:cxn ang="0">
                <a:pos x="connsiteX28401" y="connsiteY28401"/>
              </a:cxn>
              <a:cxn ang="0">
                <a:pos x="connsiteX28402" y="connsiteY28402"/>
              </a:cxn>
              <a:cxn ang="0">
                <a:pos x="connsiteX28403" y="connsiteY28403"/>
              </a:cxn>
              <a:cxn ang="0">
                <a:pos x="connsiteX28404" y="connsiteY28404"/>
              </a:cxn>
              <a:cxn ang="0">
                <a:pos x="connsiteX28405" y="connsiteY28405"/>
              </a:cxn>
              <a:cxn ang="0">
                <a:pos x="connsiteX28406" y="connsiteY28406"/>
              </a:cxn>
              <a:cxn ang="0">
                <a:pos x="connsiteX28407" y="connsiteY28407"/>
              </a:cxn>
              <a:cxn ang="0">
                <a:pos x="connsiteX28408" y="connsiteY28408"/>
              </a:cxn>
              <a:cxn ang="0">
                <a:pos x="connsiteX28409" y="connsiteY28409"/>
              </a:cxn>
              <a:cxn ang="0">
                <a:pos x="connsiteX28410" y="connsiteY28410"/>
              </a:cxn>
              <a:cxn ang="0">
                <a:pos x="connsiteX28411" y="connsiteY28411"/>
              </a:cxn>
              <a:cxn ang="0">
                <a:pos x="connsiteX28412" y="connsiteY28412"/>
              </a:cxn>
              <a:cxn ang="0">
                <a:pos x="connsiteX28413" y="connsiteY28413"/>
              </a:cxn>
              <a:cxn ang="0">
                <a:pos x="connsiteX28414" y="connsiteY28414"/>
              </a:cxn>
              <a:cxn ang="0">
                <a:pos x="connsiteX28415" y="connsiteY28415"/>
              </a:cxn>
              <a:cxn ang="0">
                <a:pos x="connsiteX28416" y="connsiteY28416"/>
              </a:cxn>
              <a:cxn ang="0">
                <a:pos x="connsiteX28417" y="connsiteY28417"/>
              </a:cxn>
              <a:cxn ang="0">
                <a:pos x="connsiteX28418" y="connsiteY28418"/>
              </a:cxn>
              <a:cxn ang="0">
                <a:pos x="connsiteX28419" y="connsiteY28419"/>
              </a:cxn>
              <a:cxn ang="0">
                <a:pos x="connsiteX28420" y="connsiteY28420"/>
              </a:cxn>
              <a:cxn ang="0">
                <a:pos x="connsiteX28421" y="connsiteY28421"/>
              </a:cxn>
              <a:cxn ang="0">
                <a:pos x="connsiteX28422" y="connsiteY28422"/>
              </a:cxn>
              <a:cxn ang="0">
                <a:pos x="connsiteX28423" y="connsiteY28423"/>
              </a:cxn>
              <a:cxn ang="0">
                <a:pos x="connsiteX28424" y="connsiteY28424"/>
              </a:cxn>
              <a:cxn ang="0">
                <a:pos x="connsiteX28425" y="connsiteY28425"/>
              </a:cxn>
              <a:cxn ang="0">
                <a:pos x="connsiteX28426" y="connsiteY28426"/>
              </a:cxn>
              <a:cxn ang="0">
                <a:pos x="connsiteX28427" y="connsiteY28427"/>
              </a:cxn>
              <a:cxn ang="0">
                <a:pos x="connsiteX28428" y="connsiteY28428"/>
              </a:cxn>
              <a:cxn ang="0">
                <a:pos x="connsiteX28429" y="connsiteY28429"/>
              </a:cxn>
              <a:cxn ang="0">
                <a:pos x="connsiteX28430" y="connsiteY28430"/>
              </a:cxn>
              <a:cxn ang="0">
                <a:pos x="connsiteX28431" y="connsiteY28431"/>
              </a:cxn>
              <a:cxn ang="0">
                <a:pos x="connsiteX28432" y="connsiteY28432"/>
              </a:cxn>
              <a:cxn ang="0">
                <a:pos x="connsiteX28433" y="connsiteY28433"/>
              </a:cxn>
              <a:cxn ang="0">
                <a:pos x="connsiteX28434" y="connsiteY28434"/>
              </a:cxn>
              <a:cxn ang="0">
                <a:pos x="connsiteX28435" y="connsiteY28435"/>
              </a:cxn>
              <a:cxn ang="0">
                <a:pos x="connsiteX28436" y="connsiteY28436"/>
              </a:cxn>
              <a:cxn ang="0">
                <a:pos x="connsiteX28437" y="connsiteY28437"/>
              </a:cxn>
              <a:cxn ang="0">
                <a:pos x="connsiteX28438" y="connsiteY28438"/>
              </a:cxn>
              <a:cxn ang="0">
                <a:pos x="connsiteX28439" y="connsiteY28439"/>
              </a:cxn>
              <a:cxn ang="0">
                <a:pos x="connsiteX28440" y="connsiteY28440"/>
              </a:cxn>
              <a:cxn ang="0">
                <a:pos x="connsiteX28441" y="connsiteY28441"/>
              </a:cxn>
              <a:cxn ang="0">
                <a:pos x="connsiteX28442" y="connsiteY28442"/>
              </a:cxn>
              <a:cxn ang="0">
                <a:pos x="connsiteX28443" y="connsiteY28443"/>
              </a:cxn>
              <a:cxn ang="0">
                <a:pos x="connsiteX28444" y="connsiteY28444"/>
              </a:cxn>
              <a:cxn ang="0">
                <a:pos x="connsiteX28445" y="connsiteY28445"/>
              </a:cxn>
              <a:cxn ang="0">
                <a:pos x="connsiteX28446" y="connsiteY28446"/>
              </a:cxn>
              <a:cxn ang="0">
                <a:pos x="connsiteX28447" y="connsiteY28447"/>
              </a:cxn>
              <a:cxn ang="0">
                <a:pos x="connsiteX28448" y="connsiteY28448"/>
              </a:cxn>
              <a:cxn ang="0">
                <a:pos x="connsiteX28449" y="connsiteY28449"/>
              </a:cxn>
              <a:cxn ang="0">
                <a:pos x="connsiteX28450" y="connsiteY28450"/>
              </a:cxn>
              <a:cxn ang="0">
                <a:pos x="connsiteX28451" y="connsiteY28451"/>
              </a:cxn>
              <a:cxn ang="0">
                <a:pos x="connsiteX28452" y="connsiteY28452"/>
              </a:cxn>
              <a:cxn ang="0">
                <a:pos x="connsiteX28453" y="connsiteY28453"/>
              </a:cxn>
              <a:cxn ang="0">
                <a:pos x="connsiteX28454" y="connsiteY28454"/>
              </a:cxn>
              <a:cxn ang="0">
                <a:pos x="connsiteX28455" y="connsiteY28455"/>
              </a:cxn>
              <a:cxn ang="0">
                <a:pos x="connsiteX28456" y="connsiteY28456"/>
              </a:cxn>
              <a:cxn ang="0">
                <a:pos x="connsiteX28457" y="connsiteY28457"/>
              </a:cxn>
              <a:cxn ang="0">
                <a:pos x="connsiteX28458" y="connsiteY28458"/>
              </a:cxn>
              <a:cxn ang="0">
                <a:pos x="connsiteX28459" y="connsiteY28459"/>
              </a:cxn>
              <a:cxn ang="0">
                <a:pos x="connsiteX28460" y="connsiteY28460"/>
              </a:cxn>
              <a:cxn ang="0">
                <a:pos x="connsiteX28461" y="connsiteY28461"/>
              </a:cxn>
              <a:cxn ang="0">
                <a:pos x="connsiteX28462" y="connsiteY28462"/>
              </a:cxn>
              <a:cxn ang="0">
                <a:pos x="connsiteX28463" y="connsiteY28463"/>
              </a:cxn>
              <a:cxn ang="0">
                <a:pos x="connsiteX28464" y="connsiteY28464"/>
              </a:cxn>
              <a:cxn ang="0">
                <a:pos x="connsiteX28465" y="connsiteY28465"/>
              </a:cxn>
              <a:cxn ang="0">
                <a:pos x="connsiteX28466" y="connsiteY28466"/>
              </a:cxn>
              <a:cxn ang="0">
                <a:pos x="connsiteX28467" y="connsiteY28467"/>
              </a:cxn>
              <a:cxn ang="0">
                <a:pos x="connsiteX28468" y="connsiteY28468"/>
              </a:cxn>
              <a:cxn ang="0">
                <a:pos x="connsiteX28469" y="connsiteY28469"/>
              </a:cxn>
              <a:cxn ang="0">
                <a:pos x="connsiteX28470" y="connsiteY28470"/>
              </a:cxn>
              <a:cxn ang="0">
                <a:pos x="connsiteX28471" y="connsiteY28471"/>
              </a:cxn>
              <a:cxn ang="0">
                <a:pos x="connsiteX28472" y="connsiteY28472"/>
              </a:cxn>
              <a:cxn ang="0">
                <a:pos x="connsiteX28473" y="connsiteY28473"/>
              </a:cxn>
              <a:cxn ang="0">
                <a:pos x="connsiteX28474" y="connsiteY28474"/>
              </a:cxn>
              <a:cxn ang="0">
                <a:pos x="connsiteX28475" y="connsiteY28475"/>
              </a:cxn>
              <a:cxn ang="0">
                <a:pos x="connsiteX28476" y="connsiteY28476"/>
              </a:cxn>
              <a:cxn ang="0">
                <a:pos x="connsiteX28477" y="connsiteY28477"/>
              </a:cxn>
              <a:cxn ang="0">
                <a:pos x="connsiteX28478" y="connsiteY28478"/>
              </a:cxn>
              <a:cxn ang="0">
                <a:pos x="connsiteX28479" y="connsiteY28479"/>
              </a:cxn>
              <a:cxn ang="0">
                <a:pos x="connsiteX28480" y="connsiteY28480"/>
              </a:cxn>
              <a:cxn ang="0">
                <a:pos x="connsiteX28481" y="connsiteY28481"/>
              </a:cxn>
              <a:cxn ang="0">
                <a:pos x="connsiteX28482" y="connsiteY28482"/>
              </a:cxn>
              <a:cxn ang="0">
                <a:pos x="connsiteX28483" y="connsiteY28483"/>
              </a:cxn>
              <a:cxn ang="0">
                <a:pos x="connsiteX28484" y="connsiteY28484"/>
              </a:cxn>
              <a:cxn ang="0">
                <a:pos x="connsiteX28485" y="connsiteY28485"/>
              </a:cxn>
              <a:cxn ang="0">
                <a:pos x="connsiteX28486" y="connsiteY28486"/>
              </a:cxn>
              <a:cxn ang="0">
                <a:pos x="connsiteX28487" y="connsiteY28487"/>
              </a:cxn>
              <a:cxn ang="0">
                <a:pos x="connsiteX28488" y="connsiteY28488"/>
              </a:cxn>
              <a:cxn ang="0">
                <a:pos x="connsiteX28489" y="connsiteY28489"/>
              </a:cxn>
              <a:cxn ang="0">
                <a:pos x="connsiteX28490" y="connsiteY28490"/>
              </a:cxn>
              <a:cxn ang="0">
                <a:pos x="connsiteX28491" y="connsiteY28491"/>
              </a:cxn>
              <a:cxn ang="0">
                <a:pos x="connsiteX28492" y="connsiteY28492"/>
              </a:cxn>
              <a:cxn ang="0">
                <a:pos x="connsiteX28493" y="connsiteY28493"/>
              </a:cxn>
              <a:cxn ang="0">
                <a:pos x="connsiteX28494" y="connsiteY28494"/>
              </a:cxn>
              <a:cxn ang="0">
                <a:pos x="connsiteX28495" y="connsiteY28495"/>
              </a:cxn>
              <a:cxn ang="0">
                <a:pos x="connsiteX28496" y="connsiteY28496"/>
              </a:cxn>
              <a:cxn ang="0">
                <a:pos x="connsiteX28497" y="connsiteY28497"/>
              </a:cxn>
              <a:cxn ang="0">
                <a:pos x="connsiteX28498" y="connsiteY28498"/>
              </a:cxn>
              <a:cxn ang="0">
                <a:pos x="connsiteX28499" y="connsiteY28499"/>
              </a:cxn>
              <a:cxn ang="0">
                <a:pos x="connsiteX28500" y="connsiteY28500"/>
              </a:cxn>
              <a:cxn ang="0">
                <a:pos x="connsiteX28501" y="connsiteY28501"/>
              </a:cxn>
              <a:cxn ang="0">
                <a:pos x="connsiteX28502" y="connsiteY28502"/>
              </a:cxn>
              <a:cxn ang="0">
                <a:pos x="connsiteX28503" y="connsiteY28503"/>
              </a:cxn>
              <a:cxn ang="0">
                <a:pos x="connsiteX28504" y="connsiteY28504"/>
              </a:cxn>
              <a:cxn ang="0">
                <a:pos x="connsiteX28505" y="connsiteY28505"/>
              </a:cxn>
              <a:cxn ang="0">
                <a:pos x="connsiteX28506" y="connsiteY28506"/>
              </a:cxn>
              <a:cxn ang="0">
                <a:pos x="connsiteX28507" y="connsiteY28507"/>
              </a:cxn>
              <a:cxn ang="0">
                <a:pos x="connsiteX28508" y="connsiteY28508"/>
              </a:cxn>
              <a:cxn ang="0">
                <a:pos x="connsiteX28509" y="connsiteY28509"/>
              </a:cxn>
              <a:cxn ang="0">
                <a:pos x="connsiteX28510" y="connsiteY28510"/>
              </a:cxn>
              <a:cxn ang="0">
                <a:pos x="connsiteX28511" y="connsiteY28511"/>
              </a:cxn>
              <a:cxn ang="0">
                <a:pos x="connsiteX28512" y="connsiteY28512"/>
              </a:cxn>
              <a:cxn ang="0">
                <a:pos x="connsiteX28513" y="connsiteY28513"/>
              </a:cxn>
              <a:cxn ang="0">
                <a:pos x="connsiteX28514" y="connsiteY28514"/>
              </a:cxn>
              <a:cxn ang="0">
                <a:pos x="connsiteX28515" y="connsiteY28515"/>
              </a:cxn>
              <a:cxn ang="0">
                <a:pos x="connsiteX28516" y="connsiteY28516"/>
              </a:cxn>
              <a:cxn ang="0">
                <a:pos x="connsiteX28517" y="connsiteY28517"/>
              </a:cxn>
              <a:cxn ang="0">
                <a:pos x="connsiteX28518" y="connsiteY28518"/>
              </a:cxn>
              <a:cxn ang="0">
                <a:pos x="connsiteX28519" y="connsiteY28519"/>
              </a:cxn>
              <a:cxn ang="0">
                <a:pos x="connsiteX28520" y="connsiteY28520"/>
              </a:cxn>
              <a:cxn ang="0">
                <a:pos x="connsiteX28521" y="connsiteY28521"/>
              </a:cxn>
              <a:cxn ang="0">
                <a:pos x="connsiteX28522" y="connsiteY28522"/>
              </a:cxn>
              <a:cxn ang="0">
                <a:pos x="connsiteX28523" y="connsiteY28523"/>
              </a:cxn>
              <a:cxn ang="0">
                <a:pos x="connsiteX28524" y="connsiteY28524"/>
              </a:cxn>
              <a:cxn ang="0">
                <a:pos x="connsiteX28525" y="connsiteY28525"/>
              </a:cxn>
              <a:cxn ang="0">
                <a:pos x="connsiteX28526" y="connsiteY28526"/>
              </a:cxn>
              <a:cxn ang="0">
                <a:pos x="connsiteX28527" y="connsiteY28527"/>
              </a:cxn>
              <a:cxn ang="0">
                <a:pos x="connsiteX28528" y="connsiteY28528"/>
              </a:cxn>
              <a:cxn ang="0">
                <a:pos x="connsiteX28529" y="connsiteY28529"/>
              </a:cxn>
              <a:cxn ang="0">
                <a:pos x="connsiteX28530" y="connsiteY28530"/>
              </a:cxn>
              <a:cxn ang="0">
                <a:pos x="connsiteX28531" y="connsiteY28531"/>
              </a:cxn>
              <a:cxn ang="0">
                <a:pos x="connsiteX28532" y="connsiteY28532"/>
              </a:cxn>
              <a:cxn ang="0">
                <a:pos x="connsiteX28533" y="connsiteY28533"/>
              </a:cxn>
              <a:cxn ang="0">
                <a:pos x="connsiteX28534" y="connsiteY28534"/>
              </a:cxn>
              <a:cxn ang="0">
                <a:pos x="connsiteX28535" y="connsiteY28535"/>
              </a:cxn>
              <a:cxn ang="0">
                <a:pos x="connsiteX28536" y="connsiteY28536"/>
              </a:cxn>
              <a:cxn ang="0">
                <a:pos x="connsiteX28537" y="connsiteY28537"/>
              </a:cxn>
              <a:cxn ang="0">
                <a:pos x="connsiteX28538" y="connsiteY28538"/>
              </a:cxn>
              <a:cxn ang="0">
                <a:pos x="connsiteX28539" y="connsiteY28539"/>
              </a:cxn>
              <a:cxn ang="0">
                <a:pos x="connsiteX28540" y="connsiteY28540"/>
              </a:cxn>
              <a:cxn ang="0">
                <a:pos x="connsiteX28541" y="connsiteY28541"/>
              </a:cxn>
              <a:cxn ang="0">
                <a:pos x="connsiteX28542" y="connsiteY28542"/>
              </a:cxn>
              <a:cxn ang="0">
                <a:pos x="connsiteX28543" y="connsiteY28543"/>
              </a:cxn>
              <a:cxn ang="0">
                <a:pos x="connsiteX28544" y="connsiteY28544"/>
              </a:cxn>
              <a:cxn ang="0">
                <a:pos x="connsiteX28545" y="connsiteY28545"/>
              </a:cxn>
              <a:cxn ang="0">
                <a:pos x="connsiteX28546" y="connsiteY28546"/>
              </a:cxn>
              <a:cxn ang="0">
                <a:pos x="connsiteX28547" y="connsiteY28547"/>
              </a:cxn>
              <a:cxn ang="0">
                <a:pos x="connsiteX28548" y="connsiteY28548"/>
              </a:cxn>
              <a:cxn ang="0">
                <a:pos x="connsiteX28549" y="connsiteY28549"/>
              </a:cxn>
              <a:cxn ang="0">
                <a:pos x="connsiteX28550" y="connsiteY28550"/>
              </a:cxn>
              <a:cxn ang="0">
                <a:pos x="connsiteX28551" y="connsiteY28551"/>
              </a:cxn>
              <a:cxn ang="0">
                <a:pos x="connsiteX28552" y="connsiteY28552"/>
              </a:cxn>
              <a:cxn ang="0">
                <a:pos x="connsiteX28553" y="connsiteY28553"/>
              </a:cxn>
              <a:cxn ang="0">
                <a:pos x="connsiteX28554" y="connsiteY28554"/>
              </a:cxn>
              <a:cxn ang="0">
                <a:pos x="connsiteX28555" y="connsiteY28555"/>
              </a:cxn>
              <a:cxn ang="0">
                <a:pos x="connsiteX28556" y="connsiteY28556"/>
              </a:cxn>
              <a:cxn ang="0">
                <a:pos x="connsiteX28557" y="connsiteY28557"/>
              </a:cxn>
              <a:cxn ang="0">
                <a:pos x="connsiteX28558" y="connsiteY28558"/>
              </a:cxn>
              <a:cxn ang="0">
                <a:pos x="connsiteX28559" y="connsiteY28559"/>
              </a:cxn>
              <a:cxn ang="0">
                <a:pos x="connsiteX28560" y="connsiteY28560"/>
              </a:cxn>
              <a:cxn ang="0">
                <a:pos x="connsiteX28561" y="connsiteY28561"/>
              </a:cxn>
              <a:cxn ang="0">
                <a:pos x="connsiteX28562" y="connsiteY28562"/>
              </a:cxn>
              <a:cxn ang="0">
                <a:pos x="connsiteX28563" y="connsiteY28563"/>
              </a:cxn>
              <a:cxn ang="0">
                <a:pos x="connsiteX28564" y="connsiteY28564"/>
              </a:cxn>
              <a:cxn ang="0">
                <a:pos x="connsiteX28565" y="connsiteY28565"/>
              </a:cxn>
              <a:cxn ang="0">
                <a:pos x="connsiteX28566" y="connsiteY28566"/>
              </a:cxn>
              <a:cxn ang="0">
                <a:pos x="connsiteX28567" y="connsiteY28567"/>
              </a:cxn>
              <a:cxn ang="0">
                <a:pos x="connsiteX28568" y="connsiteY28568"/>
              </a:cxn>
              <a:cxn ang="0">
                <a:pos x="connsiteX28569" y="connsiteY28569"/>
              </a:cxn>
              <a:cxn ang="0">
                <a:pos x="connsiteX28570" y="connsiteY28570"/>
              </a:cxn>
              <a:cxn ang="0">
                <a:pos x="connsiteX28571" y="connsiteY28571"/>
              </a:cxn>
              <a:cxn ang="0">
                <a:pos x="connsiteX28572" y="connsiteY28572"/>
              </a:cxn>
              <a:cxn ang="0">
                <a:pos x="connsiteX28573" y="connsiteY28573"/>
              </a:cxn>
              <a:cxn ang="0">
                <a:pos x="connsiteX28574" y="connsiteY28574"/>
              </a:cxn>
              <a:cxn ang="0">
                <a:pos x="connsiteX28575" y="connsiteY28575"/>
              </a:cxn>
              <a:cxn ang="0">
                <a:pos x="connsiteX28576" y="connsiteY28576"/>
              </a:cxn>
              <a:cxn ang="0">
                <a:pos x="connsiteX28577" y="connsiteY28577"/>
              </a:cxn>
              <a:cxn ang="0">
                <a:pos x="connsiteX28578" y="connsiteY28578"/>
              </a:cxn>
              <a:cxn ang="0">
                <a:pos x="connsiteX28579" y="connsiteY28579"/>
              </a:cxn>
              <a:cxn ang="0">
                <a:pos x="connsiteX28580" y="connsiteY28580"/>
              </a:cxn>
              <a:cxn ang="0">
                <a:pos x="connsiteX28581" y="connsiteY28581"/>
              </a:cxn>
              <a:cxn ang="0">
                <a:pos x="connsiteX28582" y="connsiteY28582"/>
              </a:cxn>
              <a:cxn ang="0">
                <a:pos x="connsiteX28583" y="connsiteY28583"/>
              </a:cxn>
              <a:cxn ang="0">
                <a:pos x="connsiteX28584" y="connsiteY28584"/>
              </a:cxn>
              <a:cxn ang="0">
                <a:pos x="connsiteX28585" y="connsiteY28585"/>
              </a:cxn>
              <a:cxn ang="0">
                <a:pos x="connsiteX28586" y="connsiteY28586"/>
              </a:cxn>
              <a:cxn ang="0">
                <a:pos x="connsiteX28587" y="connsiteY28587"/>
              </a:cxn>
              <a:cxn ang="0">
                <a:pos x="connsiteX28588" y="connsiteY28588"/>
              </a:cxn>
              <a:cxn ang="0">
                <a:pos x="connsiteX28589" y="connsiteY28589"/>
              </a:cxn>
              <a:cxn ang="0">
                <a:pos x="connsiteX28590" y="connsiteY28590"/>
              </a:cxn>
              <a:cxn ang="0">
                <a:pos x="connsiteX28591" y="connsiteY28591"/>
              </a:cxn>
              <a:cxn ang="0">
                <a:pos x="connsiteX28592" y="connsiteY28592"/>
              </a:cxn>
              <a:cxn ang="0">
                <a:pos x="connsiteX28593" y="connsiteY28593"/>
              </a:cxn>
              <a:cxn ang="0">
                <a:pos x="connsiteX28594" y="connsiteY28594"/>
              </a:cxn>
              <a:cxn ang="0">
                <a:pos x="connsiteX28595" y="connsiteY28595"/>
              </a:cxn>
              <a:cxn ang="0">
                <a:pos x="connsiteX28596" y="connsiteY28596"/>
              </a:cxn>
              <a:cxn ang="0">
                <a:pos x="connsiteX28597" y="connsiteY28597"/>
              </a:cxn>
              <a:cxn ang="0">
                <a:pos x="connsiteX28598" y="connsiteY28598"/>
              </a:cxn>
              <a:cxn ang="0">
                <a:pos x="connsiteX28599" y="connsiteY28599"/>
              </a:cxn>
              <a:cxn ang="0">
                <a:pos x="connsiteX28600" y="connsiteY28600"/>
              </a:cxn>
              <a:cxn ang="0">
                <a:pos x="connsiteX28601" y="connsiteY28601"/>
              </a:cxn>
              <a:cxn ang="0">
                <a:pos x="connsiteX28602" y="connsiteY28602"/>
              </a:cxn>
              <a:cxn ang="0">
                <a:pos x="connsiteX28603" y="connsiteY28603"/>
              </a:cxn>
              <a:cxn ang="0">
                <a:pos x="connsiteX28604" y="connsiteY28604"/>
              </a:cxn>
              <a:cxn ang="0">
                <a:pos x="connsiteX28605" y="connsiteY28605"/>
              </a:cxn>
              <a:cxn ang="0">
                <a:pos x="connsiteX28606" y="connsiteY28606"/>
              </a:cxn>
              <a:cxn ang="0">
                <a:pos x="connsiteX28607" y="connsiteY28607"/>
              </a:cxn>
              <a:cxn ang="0">
                <a:pos x="connsiteX28608" y="connsiteY28608"/>
              </a:cxn>
              <a:cxn ang="0">
                <a:pos x="connsiteX28609" y="connsiteY28609"/>
              </a:cxn>
              <a:cxn ang="0">
                <a:pos x="connsiteX28610" y="connsiteY28610"/>
              </a:cxn>
              <a:cxn ang="0">
                <a:pos x="connsiteX28611" y="connsiteY28611"/>
              </a:cxn>
              <a:cxn ang="0">
                <a:pos x="connsiteX28612" y="connsiteY28612"/>
              </a:cxn>
              <a:cxn ang="0">
                <a:pos x="connsiteX28613" y="connsiteY28613"/>
              </a:cxn>
              <a:cxn ang="0">
                <a:pos x="connsiteX28614" y="connsiteY28614"/>
              </a:cxn>
              <a:cxn ang="0">
                <a:pos x="connsiteX28615" y="connsiteY28615"/>
              </a:cxn>
              <a:cxn ang="0">
                <a:pos x="connsiteX28616" y="connsiteY28616"/>
              </a:cxn>
              <a:cxn ang="0">
                <a:pos x="connsiteX28617" y="connsiteY28617"/>
              </a:cxn>
              <a:cxn ang="0">
                <a:pos x="connsiteX28618" y="connsiteY28618"/>
              </a:cxn>
              <a:cxn ang="0">
                <a:pos x="connsiteX28619" y="connsiteY28619"/>
              </a:cxn>
              <a:cxn ang="0">
                <a:pos x="connsiteX28620" y="connsiteY28620"/>
              </a:cxn>
              <a:cxn ang="0">
                <a:pos x="connsiteX28621" y="connsiteY28621"/>
              </a:cxn>
              <a:cxn ang="0">
                <a:pos x="connsiteX28622" y="connsiteY28622"/>
              </a:cxn>
              <a:cxn ang="0">
                <a:pos x="connsiteX28623" y="connsiteY28623"/>
              </a:cxn>
              <a:cxn ang="0">
                <a:pos x="connsiteX28624" y="connsiteY28624"/>
              </a:cxn>
              <a:cxn ang="0">
                <a:pos x="connsiteX28625" y="connsiteY28625"/>
              </a:cxn>
              <a:cxn ang="0">
                <a:pos x="connsiteX28626" y="connsiteY28626"/>
              </a:cxn>
              <a:cxn ang="0">
                <a:pos x="connsiteX28627" y="connsiteY28627"/>
              </a:cxn>
              <a:cxn ang="0">
                <a:pos x="connsiteX28628" y="connsiteY28628"/>
              </a:cxn>
              <a:cxn ang="0">
                <a:pos x="connsiteX28629" y="connsiteY28629"/>
              </a:cxn>
              <a:cxn ang="0">
                <a:pos x="connsiteX28630" y="connsiteY28630"/>
              </a:cxn>
              <a:cxn ang="0">
                <a:pos x="connsiteX28631" y="connsiteY28631"/>
              </a:cxn>
              <a:cxn ang="0">
                <a:pos x="connsiteX28632" y="connsiteY28632"/>
              </a:cxn>
              <a:cxn ang="0">
                <a:pos x="connsiteX28633" y="connsiteY28633"/>
              </a:cxn>
              <a:cxn ang="0">
                <a:pos x="connsiteX28634" y="connsiteY28634"/>
              </a:cxn>
              <a:cxn ang="0">
                <a:pos x="connsiteX28635" y="connsiteY28635"/>
              </a:cxn>
              <a:cxn ang="0">
                <a:pos x="connsiteX28636" y="connsiteY28636"/>
              </a:cxn>
              <a:cxn ang="0">
                <a:pos x="connsiteX28637" y="connsiteY28637"/>
              </a:cxn>
              <a:cxn ang="0">
                <a:pos x="connsiteX28638" y="connsiteY28638"/>
              </a:cxn>
              <a:cxn ang="0">
                <a:pos x="connsiteX28639" y="connsiteY28639"/>
              </a:cxn>
              <a:cxn ang="0">
                <a:pos x="connsiteX28640" y="connsiteY28640"/>
              </a:cxn>
              <a:cxn ang="0">
                <a:pos x="connsiteX28641" y="connsiteY28641"/>
              </a:cxn>
              <a:cxn ang="0">
                <a:pos x="connsiteX28642" y="connsiteY28642"/>
              </a:cxn>
              <a:cxn ang="0">
                <a:pos x="connsiteX28643" y="connsiteY28643"/>
              </a:cxn>
              <a:cxn ang="0">
                <a:pos x="connsiteX28644" y="connsiteY28644"/>
              </a:cxn>
              <a:cxn ang="0">
                <a:pos x="connsiteX28645" y="connsiteY28645"/>
              </a:cxn>
              <a:cxn ang="0">
                <a:pos x="connsiteX28646" y="connsiteY28646"/>
              </a:cxn>
              <a:cxn ang="0">
                <a:pos x="connsiteX28647" y="connsiteY28647"/>
              </a:cxn>
              <a:cxn ang="0">
                <a:pos x="connsiteX28648" y="connsiteY28648"/>
              </a:cxn>
              <a:cxn ang="0">
                <a:pos x="connsiteX28649" y="connsiteY28649"/>
              </a:cxn>
              <a:cxn ang="0">
                <a:pos x="connsiteX28650" y="connsiteY28650"/>
              </a:cxn>
              <a:cxn ang="0">
                <a:pos x="connsiteX28651" y="connsiteY28651"/>
              </a:cxn>
              <a:cxn ang="0">
                <a:pos x="connsiteX28652" y="connsiteY28652"/>
              </a:cxn>
              <a:cxn ang="0">
                <a:pos x="connsiteX28653" y="connsiteY28653"/>
              </a:cxn>
              <a:cxn ang="0">
                <a:pos x="connsiteX28654" y="connsiteY28654"/>
              </a:cxn>
              <a:cxn ang="0">
                <a:pos x="connsiteX28655" y="connsiteY28655"/>
              </a:cxn>
              <a:cxn ang="0">
                <a:pos x="connsiteX28656" y="connsiteY28656"/>
              </a:cxn>
              <a:cxn ang="0">
                <a:pos x="connsiteX28657" y="connsiteY28657"/>
              </a:cxn>
              <a:cxn ang="0">
                <a:pos x="connsiteX28658" y="connsiteY28658"/>
              </a:cxn>
              <a:cxn ang="0">
                <a:pos x="connsiteX28659" y="connsiteY28659"/>
              </a:cxn>
              <a:cxn ang="0">
                <a:pos x="connsiteX28660" y="connsiteY28660"/>
              </a:cxn>
              <a:cxn ang="0">
                <a:pos x="connsiteX28661" y="connsiteY28661"/>
              </a:cxn>
              <a:cxn ang="0">
                <a:pos x="connsiteX28662" y="connsiteY28662"/>
              </a:cxn>
              <a:cxn ang="0">
                <a:pos x="connsiteX28663" y="connsiteY28663"/>
              </a:cxn>
              <a:cxn ang="0">
                <a:pos x="connsiteX28664" y="connsiteY28664"/>
              </a:cxn>
              <a:cxn ang="0">
                <a:pos x="connsiteX28665" y="connsiteY28665"/>
              </a:cxn>
              <a:cxn ang="0">
                <a:pos x="connsiteX28666" y="connsiteY28666"/>
              </a:cxn>
              <a:cxn ang="0">
                <a:pos x="connsiteX28667" y="connsiteY28667"/>
              </a:cxn>
              <a:cxn ang="0">
                <a:pos x="connsiteX28668" y="connsiteY28668"/>
              </a:cxn>
              <a:cxn ang="0">
                <a:pos x="connsiteX28669" y="connsiteY28669"/>
              </a:cxn>
              <a:cxn ang="0">
                <a:pos x="connsiteX28670" y="connsiteY28670"/>
              </a:cxn>
              <a:cxn ang="0">
                <a:pos x="connsiteX28671" y="connsiteY28671"/>
              </a:cxn>
              <a:cxn ang="0">
                <a:pos x="connsiteX28672" y="connsiteY28672"/>
              </a:cxn>
              <a:cxn ang="0">
                <a:pos x="connsiteX28673" y="connsiteY28673"/>
              </a:cxn>
              <a:cxn ang="0">
                <a:pos x="connsiteX28674" y="connsiteY28674"/>
              </a:cxn>
              <a:cxn ang="0">
                <a:pos x="connsiteX28675" y="connsiteY28675"/>
              </a:cxn>
              <a:cxn ang="0">
                <a:pos x="connsiteX28676" y="connsiteY28676"/>
              </a:cxn>
              <a:cxn ang="0">
                <a:pos x="connsiteX28677" y="connsiteY28677"/>
              </a:cxn>
              <a:cxn ang="0">
                <a:pos x="connsiteX28678" y="connsiteY28678"/>
              </a:cxn>
              <a:cxn ang="0">
                <a:pos x="connsiteX28679" y="connsiteY28679"/>
              </a:cxn>
              <a:cxn ang="0">
                <a:pos x="connsiteX28680" y="connsiteY28680"/>
              </a:cxn>
              <a:cxn ang="0">
                <a:pos x="connsiteX28681" y="connsiteY28681"/>
              </a:cxn>
              <a:cxn ang="0">
                <a:pos x="connsiteX28682" y="connsiteY28682"/>
              </a:cxn>
              <a:cxn ang="0">
                <a:pos x="connsiteX28683" y="connsiteY28683"/>
              </a:cxn>
              <a:cxn ang="0">
                <a:pos x="connsiteX28684" y="connsiteY28684"/>
              </a:cxn>
              <a:cxn ang="0">
                <a:pos x="connsiteX28685" y="connsiteY28685"/>
              </a:cxn>
              <a:cxn ang="0">
                <a:pos x="connsiteX28686" y="connsiteY28686"/>
              </a:cxn>
              <a:cxn ang="0">
                <a:pos x="connsiteX28687" y="connsiteY28687"/>
              </a:cxn>
              <a:cxn ang="0">
                <a:pos x="connsiteX28688" y="connsiteY28688"/>
              </a:cxn>
              <a:cxn ang="0">
                <a:pos x="connsiteX28689" y="connsiteY28689"/>
              </a:cxn>
              <a:cxn ang="0">
                <a:pos x="connsiteX28690" y="connsiteY28690"/>
              </a:cxn>
              <a:cxn ang="0">
                <a:pos x="connsiteX28691" y="connsiteY28691"/>
              </a:cxn>
              <a:cxn ang="0">
                <a:pos x="connsiteX28692" y="connsiteY28692"/>
              </a:cxn>
              <a:cxn ang="0">
                <a:pos x="connsiteX28693" y="connsiteY28693"/>
              </a:cxn>
              <a:cxn ang="0">
                <a:pos x="connsiteX28694" y="connsiteY28694"/>
              </a:cxn>
              <a:cxn ang="0">
                <a:pos x="connsiteX28695" y="connsiteY28695"/>
              </a:cxn>
              <a:cxn ang="0">
                <a:pos x="connsiteX28696" y="connsiteY28696"/>
              </a:cxn>
              <a:cxn ang="0">
                <a:pos x="connsiteX28697" y="connsiteY28697"/>
              </a:cxn>
              <a:cxn ang="0">
                <a:pos x="connsiteX28698" y="connsiteY28698"/>
              </a:cxn>
              <a:cxn ang="0">
                <a:pos x="connsiteX28699" y="connsiteY28699"/>
              </a:cxn>
              <a:cxn ang="0">
                <a:pos x="connsiteX28700" y="connsiteY28700"/>
              </a:cxn>
              <a:cxn ang="0">
                <a:pos x="connsiteX28701" y="connsiteY28701"/>
              </a:cxn>
              <a:cxn ang="0">
                <a:pos x="connsiteX28702" y="connsiteY28702"/>
              </a:cxn>
              <a:cxn ang="0">
                <a:pos x="connsiteX28703" y="connsiteY28703"/>
              </a:cxn>
              <a:cxn ang="0">
                <a:pos x="connsiteX28704" y="connsiteY28704"/>
              </a:cxn>
              <a:cxn ang="0">
                <a:pos x="connsiteX28705" y="connsiteY28705"/>
              </a:cxn>
              <a:cxn ang="0">
                <a:pos x="connsiteX28706" y="connsiteY28706"/>
              </a:cxn>
              <a:cxn ang="0">
                <a:pos x="connsiteX28707" y="connsiteY28707"/>
              </a:cxn>
              <a:cxn ang="0">
                <a:pos x="connsiteX28708" y="connsiteY28708"/>
              </a:cxn>
              <a:cxn ang="0">
                <a:pos x="connsiteX28709" y="connsiteY28709"/>
              </a:cxn>
              <a:cxn ang="0">
                <a:pos x="connsiteX28710" y="connsiteY28710"/>
              </a:cxn>
              <a:cxn ang="0">
                <a:pos x="connsiteX28711" y="connsiteY28711"/>
              </a:cxn>
              <a:cxn ang="0">
                <a:pos x="connsiteX28712" y="connsiteY28712"/>
              </a:cxn>
              <a:cxn ang="0">
                <a:pos x="connsiteX28713" y="connsiteY28713"/>
              </a:cxn>
              <a:cxn ang="0">
                <a:pos x="connsiteX28714" y="connsiteY28714"/>
              </a:cxn>
              <a:cxn ang="0">
                <a:pos x="connsiteX28715" y="connsiteY28715"/>
              </a:cxn>
              <a:cxn ang="0">
                <a:pos x="connsiteX28716" y="connsiteY28716"/>
              </a:cxn>
              <a:cxn ang="0">
                <a:pos x="connsiteX28717" y="connsiteY28717"/>
              </a:cxn>
              <a:cxn ang="0">
                <a:pos x="connsiteX28718" y="connsiteY28718"/>
              </a:cxn>
              <a:cxn ang="0">
                <a:pos x="connsiteX28719" y="connsiteY28719"/>
              </a:cxn>
              <a:cxn ang="0">
                <a:pos x="connsiteX28720" y="connsiteY28720"/>
              </a:cxn>
              <a:cxn ang="0">
                <a:pos x="connsiteX28721" y="connsiteY28721"/>
              </a:cxn>
              <a:cxn ang="0">
                <a:pos x="connsiteX28722" y="connsiteY28722"/>
              </a:cxn>
              <a:cxn ang="0">
                <a:pos x="connsiteX28723" y="connsiteY28723"/>
              </a:cxn>
              <a:cxn ang="0">
                <a:pos x="connsiteX28724" y="connsiteY28724"/>
              </a:cxn>
              <a:cxn ang="0">
                <a:pos x="connsiteX28725" y="connsiteY28725"/>
              </a:cxn>
              <a:cxn ang="0">
                <a:pos x="connsiteX28726" y="connsiteY28726"/>
              </a:cxn>
              <a:cxn ang="0">
                <a:pos x="connsiteX28727" y="connsiteY28727"/>
              </a:cxn>
              <a:cxn ang="0">
                <a:pos x="connsiteX28728" y="connsiteY28728"/>
              </a:cxn>
              <a:cxn ang="0">
                <a:pos x="connsiteX28729" y="connsiteY28729"/>
              </a:cxn>
              <a:cxn ang="0">
                <a:pos x="connsiteX28730" y="connsiteY28730"/>
              </a:cxn>
              <a:cxn ang="0">
                <a:pos x="connsiteX28731" y="connsiteY28731"/>
              </a:cxn>
              <a:cxn ang="0">
                <a:pos x="connsiteX28732" y="connsiteY28732"/>
              </a:cxn>
              <a:cxn ang="0">
                <a:pos x="connsiteX28733" y="connsiteY28733"/>
              </a:cxn>
              <a:cxn ang="0">
                <a:pos x="connsiteX28734" y="connsiteY28734"/>
              </a:cxn>
              <a:cxn ang="0">
                <a:pos x="connsiteX28735" y="connsiteY28735"/>
              </a:cxn>
              <a:cxn ang="0">
                <a:pos x="connsiteX28736" y="connsiteY28736"/>
              </a:cxn>
              <a:cxn ang="0">
                <a:pos x="connsiteX28737" y="connsiteY28737"/>
              </a:cxn>
              <a:cxn ang="0">
                <a:pos x="connsiteX28738" y="connsiteY28738"/>
              </a:cxn>
              <a:cxn ang="0">
                <a:pos x="connsiteX28739" y="connsiteY28739"/>
              </a:cxn>
              <a:cxn ang="0">
                <a:pos x="connsiteX28740" y="connsiteY28740"/>
              </a:cxn>
              <a:cxn ang="0">
                <a:pos x="connsiteX28741" y="connsiteY28741"/>
              </a:cxn>
              <a:cxn ang="0">
                <a:pos x="connsiteX28742" y="connsiteY28742"/>
              </a:cxn>
              <a:cxn ang="0">
                <a:pos x="connsiteX28743" y="connsiteY28743"/>
              </a:cxn>
              <a:cxn ang="0">
                <a:pos x="connsiteX28744" y="connsiteY28744"/>
              </a:cxn>
              <a:cxn ang="0">
                <a:pos x="connsiteX28745" y="connsiteY28745"/>
              </a:cxn>
              <a:cxn ang="0">
                <a:pos x="connsiteX28746" y="connsiteY28746"/>
              </a:cxn>
              <a:cxn ang="0">
                <a:pos x="connsiteX28747" y="connsiteY28747"/>
              </a:cxn>
              <a:cxn ang="0">
                <a:pos x="connsiteX28748" y="connsiteY28748"/>
              </a:cxn>
              <a:cxn ang="0">
                <a:pos x="connsiteX28749" y="connsiteY28749"/>
              </a:cxn>
              <a:cxn ang="0">
                <a:pos x="connsiteX28750" y="connsiteY28750"/>
              </a:cxn>
              <a:cxn ang="0">
                <a:pos x="connsiteX28751" y="connsiteY28751"/>
              </a:cxn>
              <a:cxn ang="0">
                <a:pos x="connsiteX28752" y="connsiteY28752"/>
              </a:cxn>
              <a:cxn ang="0">
                <a:pos x="connsiteX28753" y="connsiteY28753"/>
              </a:cxn>
              <a:cxn ang="0">
                <a:pos x="connsiteX28754" y="connsiteY28754"/>
              </a:cxn>
              <a:cxn ang="0">
                <a:pos x="connsiteX28755" y="connsiteY28755"/>
              </a:cxn>
              <a:cxn ang="0">
                <a:pos x="connsiteX28756" y="connsiteY28756"/>
              </a:cxn>
              <a:cxn ang="0">
                <a:pos x="connsiteX28757" y="connsiteY28757"/>
              </a:cxn>
              <a:cxn ang="0">
                <a:pos x="connsiteX28758" y="connsiteY28758"/>
              </a:cxn>
              <a:cxn ang="0">
                <a:pos x="connsiteX28759" y="connsiteY28759"/>
              </a:cxn>
              <a:cxn ang="0">
                <a:pos x="connsiteX28760" y="connsiteY28760"/>
              </a:cxn>
              <a:cxn ang="0">
                <a:pos x="connsiteX28761" y="connsiteY28761"/>
              </a:cxn>
              <a:cxn ang="0">
                <a:pos x="connsiteX28762" y="connsiteY28762"/>
              </a:cxn>
              <a:cxn ang="0">
                <a:pos x="connsiteX28763" y="connsiteY28763"/>
              </a:cxn>
              <a:cxn ang="0">
                <a:pos x="connsiteX28764" y="connsiteY28764"/>
              </a:cxn>
              <a:cxn ang="0">
                <a:pos x="connsiteX28765" y="connsiteY28765"/>
              </a:cxn>
              <a:cxn ang="0">
                <a:pos x="connsiteX28766" y="connsiteY28766"/>
              </a:cxn>
              <a:cxn ang="0">
                <a:pos x="connsiteX28767" y="connsiteY28767"/>
              </a:cxn>
              <a:cxn ang="0">
                <a:pos x="connsiteX28768" y="connsiteY28768"/>
              </a:cxn>
              <a:cxn ang="0">
                <a:pos x="connsiteX28769" y="connsiteY28769"/>
              </a:cxn>
              <a:cxn ang="0">
                <a:pos x="connsiteX28770" y="connsiteY28770"/>
              </a:cxn>
              <a:cxn ang="0">
                <a:pos x="connsiteX28771" y="connsiteY28771"/>
              </a:cxn>
              <a:cxn ang="0">
                <a:pos x="connsiteX28772" y="connsiteY28772"/>
              </a:cxn>
              <a:cxn ang="0">
                <a:pos x="connsiteX28773" y="connsiteY28773"/>
              </a:cxn>
              <a:cxn ang="0">
                <a:pos x="connsiteX28774" y="connsiteY28774"/>
              </a:cxn>
              <a:cxn ang="0">
                <a:pos x="connsiteX28775" y="connsiteY28775"/>
              </a:cxn>
              <a:cxn ang="0">
                <a:pos x="connsiteX28776" y="connsiteY28776"/>
              </a:cxn>
              <a:cxn ang="0">
                <a:pos x="connsiteX28777" y="connsiteY28777"/>
              </a:cxn>
              <a:cxn ang="0">
                <a:pos x="connsiteX28778" y="connsiteY28778"/>
              </a:cxn>
              <a:cxn ang="0">
                <a:pos x="connsiteX28779" y="connsiteY28779"/>
              </a:cxn>
              <a:cxn ang="0">
                <a:pos x="connsiteX28780" y="connsiteY28780"/>
              </a:cxn>
              <a:cxn ang="0">
                <a:pos x="connsiteX28781" y="connsiteY28781"/>
              </a:cxn>
              <a:cxn ang="0">
                <a:pos x="connsiteX28782" y="connsiteY28782"/>
              </a:cxn>
              <a:cxn ang="0">
                <a:pos x="connsiteX28783" y="connsiteY28783"/>
              </a:cxn>
              <a:cxn ang="0">
                <a:pos x="connsiteX28784" y="connsiteY28784"/>
              </a:cxn>
              <a:cxn ang="0">
                <a:pos x="connsiteX28785" y="connsiteY28785"/>
              </a:cxn>
              <a:cxn ang="0">
                <a:pos x="connsiteX28786" y="connsiteY28786"/>
              </a:cxn>
              <a:cxn ang="0">
                <a:pos x="connsiteX28787" y="connsiteY28787"/>
              </a:cxn>
              <a:cxn ang="0">
                <a:pos x="connsiteX28788" y="connsiteY28788"/>
              </a:cxn>
              <a:cxn ang="0">
                <a:pos x="connsiteX28789" y="connsiteY28789"/>
              </a:cxn>
              <a:cxn ang="0">
                <a:pos x="connsiteX28790" y="connsiteY28790"/>
              </a:cxn>
              <a:cxn ang="0">
                <a:pos x="connsiteX28791" y="connsiteY28791"/>
              </a:cxn>
              <a:cxn ang="0">
                <a:pos x="connsiteX28792" y="connsiteY28792"/>
              </a:cxn>
              <a:cxn ang="0">
                <a:pos x="connsiteX28793" y="connsiteY28793"/>
              </a:cxn>
              <a:cxn ang="0">
                <a:pos x="connsiteX28794" y="connsiteY28794"/>
              </a:cxn>
              <a:cxn ang="0">
                <a:pos x="connsiteX28795" y="connsiteY28795"/>
              </a:cxn>
              <a:cxn ang="0">
                <a:pos x="connsiteX28796" y="connsiteY28796"/>
              </a:cxn>
              <a:cxn ang="0">
                <a:pos x="connsiteX28797" y="connsiteY28797"/>
              </a:cxn>
              <a:cxn ang="0">
                <a:pos x="connsiteX28798" y="connsiteY28798"/>
              </a:cxn>
              <a:cxn ang="0">
                <a:pos x="connsiteX28799" y="connsiteY28799"/>
              </a:cxn>
              <a:cxn ang="0">
                <a:pos x="connsiteX28800" y="connsiteY28800"/>
              </a:cxn>
              <a:cxn ang="0">
                <a:pos x="connsiteX28801" y="connsiteY28801"/>
              </a:cxn>
              <a:cxn ang="0">
                <a:pos x="connsiteX28802" y="connsiteY28802"/>
              </a:cxn>
              <a:cxn ang="0">
                <a:pos x="connsiteX28803" y="connsiteY28803"/>
              </a:cxn>
              <a:cxn ang="0">
                <a:pos x="connsiteX28804" y="connsiteY28804"/>
              </a:cxn>
              <a:cxn ang="0">
                <a:pos x="connsiteX28805" y="connsiteY28805"/>
              </a:cxn>
              <a:cxn ang="0">
                <a:pos x="connsiteX28806" y="connsiteY28806"/>
              </a:cxn>
              <a:cxn ang="0">
                <a:pos x="connsiteX28807" y="connsiteY28807"/>
              </a:cxn>
              <a:cxn ang="0">
                <a:pos x="connsiteX28808" y="connsiteY28808"/>
              </a:cxn>
              <a:cxn ang="0">
                <a:pos x="connsiteX28809" y="connsiteY28809"/>
              </a:cxn>
              <a:cxn ang="0">
                <a:pos x="connsiteX28810" y="connsiteY28810"/>
              </a:cxn>
              <a:cxn ang="0">
                <a:pos x="connsiteX28811" y="connsiteY28811"/>
              </a:cxn>
              <a:cxn ang="0">
                <a:pos x="connsiteX28812" y="connsiteY28812"/>
              </a:cxn>
              <a:cxn ang="0">
                <a:pos x="connsiteX28813" y="connsiteY28813"/>
              </a:cxn>
              <a:cxn ang="0">
                <a:pos x="connsiteX28814" y="connsiteY28814"/>
              </a:cxn>
              <a:cxn ang="0">
                <a:pos x="connsiteX28815" y="connsiteY28815"/>
              </a:cxn>
              <a:cxn ang="0">
                <a:pos x="connsiteX28816" y="connsiteY28816"/>
              </a:cxn>
              <a:cxn ang="0">
                <a:pos x="connsiteX28817" y="connsiteY28817"/>
              </a:cxn>
              <a:cxn ang="0">
                <a:pos x="connsiteX28818" y="connsiteY28818"/>
              </a:cxn>
              <a:cxn ang="0">
                <a:pos x="connsiteX28819" y="connsiteY28819"/>
              </a:cxn>
              <a:cxn ang="0">
                <a:pos x="connsiteX28820" y="connsiteY28820"/>
              </a:cxn>
              <a:cxn ang="0">
                <a:pos x="connsiteX28821" y="connsiteY28821"/>
              </a:cxn>
              <a:cxn ang="0">
                <a:pos x="connsiteX28822" y="connsiteY28822"/>
              </a:cxn>
              <a:cxn ang="0">
                <a:pos x="connsiteX28823" y="connsiteY28823"/>
              </a:cxn>
              <a:cxn ang="0">
                <a:pos x="connsiteX28824" y="connsiteY28824"/>
              </a:cxn>
              <a:cxn ang="0">
                <a:pos x="connsiteX28825" y="connsiteY28825"/>
              </a:cxn>
              <a:cxn ang="0">
                <a:pos x="connsiteX28826" y="connsiteY28826"/>
              </a:cxn>
              <a:cxn ang="0">
                <a:pos x="connsiteX28827" y="connsiteY28827"/>
              </a:cxn>
              <a:cxn ang="0">
                <a:pos x="connsiteX28828" y="connsiteY28828"/>
              </a:cxn>
              <a:cxn ang="0">
                <a:pos x="connsiteX28829" y="connsiteY28829"/>
              </a:cxn>
              <a:cxn ang="0">
                <a:pos x="connsiteX28830" y="connsiteY28830"/>
              </a:cxn>
              <a:cxn ang="0">
                <a:pos x="connsiteX28831" y="connsiteY28831"/>
              </a:cxn>
              <a:cxn ang="0">
                <a:pos x="connsiteX28832" y="connsiteY28832"/>
              </a:cxn>
              <a:cxn ang="0">
                <a:pos x="connsiteX28833" y="connsiteY28833"/>
              </a:cxn>
              <a:cxn ang="0">
                <a:pos x="connsiteX28834" y="connsiteY28834"/>
              </a:cxn>
              <a:cxn ang="0">
                <a:pos x="connsiteX28835" y="connsiteY28835"/>
              </a:cxn>
              <a:cxn ang="0">
                <a:pos x="connsiteX28836" y="connsiteY28836"/>
              </a:cxn>
              <a:cxn ang="0">
                <a:pos x="connsiteX28837" y="connsiteY28837"/>
              </a:cxn>
              <a:cxn ang="0">
                <a:pos x="connsiteX28838" y="connsiteY28838"/>
              </a:cxn>
              <a:cxn ang="0">
                <a:pos x="connsiteX28839" y="connsiteY28839"/>
              </a:cxn>
              <a:cxn ang="0">
                <a:pos x="connsiteX28840" y="connsiteY28840"/>
              </a:cxn>
              <a:cxn ang="0">
                <a:pos x="connsiteX28841" y="connsiteY28841"/>
              </a:cxn>
              <a:cxn ang="0">
                <a:pos x="connsiteX28842" y="connsiteY28842"/>
              </a:cxn>
              <a:cxn ang="0">
                <a:pos x="connsiteX28843" y="connsiteY28843"/>
              </a:cxn>
              <a:cxn ang="0">
                <a:pos x="connsiteX28844" y="connsiteY28844"/>
              </a:cxn>
              <a:cxn ang="0">
                <a:pos x="connsiteX28845" y="connsiteY28845"/>
              </a:cxn>
              <a:cxn ang="0">
                <a:pos x="connsiteX28846" y="connsiteY28846"/>
              </a:cxn>
              <a:cxn ang="0">
                <a:pos x="connsiteX28847" y="connsiteY28847"/>
              </a:cxn>
              <a:cxn ang="0">
                <a:pos x="connsiteX28848" y="connsiteY28848"/>
              </a:cxn>
              <a:cxn ang="0">
                <a:pos x="connsiteX28849" y="connsiteY28849"/>
              </a:cxn>
              <a:cxn ang="0">
                <a:pos x="connsiteX28850" y="connsiteY28850"/>
              </a:cxn>
              <a:cxn ang="0">
                <a:pos x="connsiteX28851" y="connsiteY28851"/>
              </a:cxn>
              <a:cxn ang="0">
                <a:pos x="connsiteX28852" y="connsiteY28852"/>
              </a:cxn>
              <a:cxn ang="0">
                <a:pos x="connsiteX28853" y="connsiteY28853"/>
              </a:cxn>
              <a:cxn ang="0">
                <a:pos x="connsiteX28854" y="connsiteY28854"/>
              </a:cxn>
              <a:cxn ang="0">
                <a:pos x="connsiteX28855" y="connsiteY28855"/>
              </a:cxn>
              <a:cxn ang="0">
                <a:pos x="connsiteX28856" y="connsiteY28856"/>
              </a:cxn>
              <a:cxn ang="0">
                <a:pos x="connsiteX28857" y="connsiteY28857"/>
              </a:cxn>
              <a:cxn ang="0">
                <a:pos x="connsiteX28858" y="connsiteY28858"/>
              </a:cxn>
              <a:cxn ang="0">
                <a:pos x="connsiteX28859" y="connsiteY28859"/>
              </a:cxn>
              <a:cxn ang="0">
                <a:pos x="connsiteX28860" y="connsiteY28860"/>
              </a:cxn>
              <a:cxn ang="0">
                <a:pos x="connsiteX28861" y="connsiteY28861"/>
              </a:cxn>
              <a:cxn ang="0">
                <a:pos x="connsiteX28862" y="connsiteY28862"/>
              </a:cxn>
              <a:cxn ang="0">
                <a:pos x="connsiteX28863" y="connsiteY28863"/>
              </a:cxn>
              <a:cxn ang="0">
                <a:pos x="connsiteX28864" y="connsiteY28864"/>
              </a:cxn>
              <a:cxn ang="0">
                <a:pos x="connsiteX28865" y="connsiteY28865"/>
              </a:cxn>
              <a:cxn ang="0">
                <a:pos x="connsiteX28866" y="connsiteY28866"/>
              </a:cxn>
              <a:cxn ang="0">
                <a:pos x="connsiteX28867" y="connsiteY28867"/>
              </a:cxn>
              <a:cxn ang="0">
                <a:pos x="connsiteX28868" y="connsiteY28868"/>
              </a:cxn>
              <a:cxn ang="0">
                <a:pos x="connsiteX28869" y="connsiteY28869"/>
              </a:cxn>
              <a:cxn ang="0">
                <a:pos x="connsiteX28870" y="connsiteY28870"/>
              </a:cxn>
              <a:cxn ang="0">
                <a:pos x="connsiteX28871" y="connsiteY28871"/>
              </a:cxn>
              <a:cxn ang="0">
                <a:pos x="connsiteX28872" y="connsiteY28872"/>
              </a:cxn>
              <a:cxn ang="0">
                <a:pos x="connsiteX28873" y="connsiteY28873"/>
              </a:cxn>
              <a:cxn ang="0">
                <a:pos x="connsiteX28874" y="connsiteY28874"/>
              </a:cxn>
              <a:cxn ang="0">
                <a:pos x="connsiteX28875" y="connsiteY28875"/>
              </a:cxn>
              <a:cxn ang="0">
                <a:pos x="connsiteX28876" y="connsiteY28876"/>
              </a:cxn>
              <a:cxn ang="0">
                <a:pos x="connsiteX28877" y="connsiteY28877"/>
              </a:cxn>
              <a:cxn ang="0">
                <a:pos x="connsiteX28878" y="connsiteY28878"/>
              </a:cxn>
              <a:cxn ang="0">
                <a:pos x="connsiteX28879" y="connsiteY28879"/>
              </a:cxn>
              <a:cxn ang="0">
                <a:pos x="connsiteX28880" y="connsiteY28880"/>
              </a:cxn>
              <a:cxn ang="0">
                <a:pos x="connsiteX28881" y="connsiteY28881"/>
              </a:cxn>
              <a:cxn ang="0">
                <a:pos x="connsiteX28882" y="connsiteY28882"/>
              </a:cxn>
              <a:cxn ang="0">
                <a:pos x="connsiteX28883" y="connsiteY28883"/>
              </a:cxn>
              <a:cxn ang="0">
                <a:pos x="connsiteX28884" y="connsiteY28884"/>
              </a:cxn>
              <a:cxn ang="0">
                <a:pos x="connsiteX28885" y="connsiteY28885"/>
              </a:cxn>
              <a:cxn ang="0">
                <a:pos x="connsiteX28886" y="connsiteY28886"/>
              </a:cxn>
              <a:cxn ang="0">
                <a:pos x="connsiteX28887" y="connsiteY28887"/>
              </a:cxn>
              <a:cxn ang="0">
                <a:pos x="connsiteX28888" y="connsiteY28888"/>
              </a:cxn>
              <a:cxn ang="0">
                <a:pos x="connsiteX28889" y="connsiteY28889"/>
              </a:cxn>
              <a:cxn ang="0">
                <a:pos x="connsiteX28890" y="connsiteY28890"/>
              </a:cxn>
              <a:cxn ang="0">
                <a:pos x="connsiteX28891" y="connsiteY28891"/>
              </a:cxn>
              <a:cxn ang="0">
                <a:pos x="connsiteX28892" y="connsiteY28892"/>
              </a:cxn>
              <a:cxn ang="0">
                <a:pos x="connsiteX28893" y="connsiteY28893"/>
              </a:cxn>
              <a:cxn ang="0">
                <a:pos x="connsiteX28894" y="connsiteY28894"/>
              </a:cxn>
              <a:cxn ang="0">
                <a:pos x="connsiteX28895" y="connsiteY28895"/>
              </a:cxn>
              <a:cxn ang="0">
                <a:pos x="connsiteX28896" y="connsiteY28896"/>
              </a:cxn>
              <a:cxn ang="0">
                <a:pos x="connsiteX28897" y="connsiteY28897"/>
              </a:cxn>
              <a:cxn ang="0">
                <a:pos x="connsiteX28898" y="connsiteY28898"/>
              </a:cxn>
              <a:cxn ang="0">
                <a:pos x="connsiteX28899" y="connsiteY28899"/>
              </a:cxn>
              <a:cxn ang="0">
                <a:pos x="connsiteX28900" y="connsiteY28900"/>
              </a:cxn>
              <a:cxn ang="0">
                <a:pos x="connsiteX28901" y="connsiteY28901"/>
              </a:cxn>
              <a:cxn ang="0">
                <a:pos x="connsiteX28902" y="connsiteY28902"/>
              </a:cxn>
              <a:cxn ang="0">
                <a:pos x="connsiteX28903" y="connsiteY28903"/>
              </a:cxn>
              <a:cxn ang="0">
                <a:pos x="connsiteX28904" y="connsiteY28904"/>
              </a:cxn>
              <a:cxn ang="0">
                <a:pos x="connsiteX28905" y="connsiteY28905"/>
              </a:cxn>
              <a:cxn ang="0">
                <a:pos x="connsiteX28906" y="connsiteY28906"/>
              </a:cxn>
              <a:cxn ang="0">
                <a:pos x="connsiteX28907" y="connsiteY28907"/>
              </a:cxn>
              <a:cxn ang="0">
                <a:pos x="connsiteX28908" y="connsiteY28908"/>
              </a:cxn>
              <a:cxn ang="0">
                <a:pos x="connsiteX28909" y="connsiteY28909"/>
              </a:cxn>
              <a:cxn ang="0">
                <a:pos x="connsiteX28910" y="connsiteY28910"/>
              </a:cxn>
              <a:cxn ang="0">
                <a:pos x="connsiteX28911" y="connsiteY28911"/>
              </a:cxn>
              <a:cxn ang="0">
                <a:pos x="connsiteX28912" y="connsiteY28912"/>
              </a:cxn>
              <a:cxn ang="0">
                <a:pos x="connsiteX28913" y="connsiteY28913"/>
              </a:cxn>
              <a:cxn ang="0">
                <a:pos x="connsiteX28914" y="connsiteY28914"/>
              </a:cxn>
              <a:cxn ang="0">
                <a:pos x="connsiteX28915" y="connsiteY28915"/>
              </a:cxn>
              <a:cxn ang="0">
                <a:pos x="connsiteX28916" y="connsiteY28916"/>
              </a:cxn>
              <a:cxn ang="0">
                <a:pos x="connsiteX28917" y="connsiteY28917"/>
              </a:cxn>
              <a:cxn ang="0">
                <a:pos x="connsiteX28918" y="connsiteY28918"/>
              </a:cxn>
              <a:cxn ang="0">
                <a:pos x="connsiteX28919" y="connsiteY28919"/>
              </a:cxn>
              <a:cxn ang="0">
                <a:pos x="connsiteX28920" y="connsiteY28920"/>
              </a:cxn>
              <a:cxn ang="0">
                <a:pos x="connsiteX28921" y="connsiteY28921"/>
              </a:cxn>
              <a:cxn ang="0">
                <a:pos x="connsiteX28922" y="connsiteY28922"/>
              </a:cxn>
              <a:cxn ang="0">
                <a:pos x="connsiteX28923" y="connsiteY28923"/>
              </a:cxn>
              <a:cxn ang="0">
                <a:pos x="connsiteX28924" y="connsiteY28924"/>
              </a:cxn>
              <a:cxn ang="0">
                <a:pos x="connsiteX28925" y="connsiteY28925"/>
              </a:cxn>
              <a:cxn ang="0">
                <a:pos x="connsiteX28926" y="connsiteY28926"/>
              </a:cxn>
              <a:cxn ang="0">
                <a:pos x="connsiteX28927" y="connsiteY28927"/>
              </a:cxn>
              <a:cxn ang="0">
                <a:pos x="connsiteX28928" y="connsiteY28928"/>
              </a:cxn>
              <a:cxn ang="0">
                <a:pos x="connsiteX28929" y="connsiteY28929"/>
              </a:cxn>
              <a:cxn ang="0">
                <a:pos x="connsiteX28930" y="connsiteY28930"/>
              </a:cxn>
              <a:cxn ang="0">
                <a:pos x="connsiteX28931" y="connsiteY28931"/>
              </a:cxn>
              <a:cxn ang="0">
                <a:pos x="connsiteX28932" y="connsiteY28932"/>
              </a:cxn>
              <a:cxn ang="0">
                <a:pos x="connsiteX28933" y="connsiteY28933"/>
              </a:cxn>
              <a:cxn ang="0">
                <a:pos x="connsiteX28934" y="connsiteY28934"/>
              </a:cxn>
              <a:cxn ang="0">
                <a:pos x="connsiteX28935" y="connsiteY28935"/>
              </a:cxn>
              <a:cxn ang="0">
                <a:pos x="connsiteX28936" y="connsiteY28936"/>
              </a:cxn>
              <a:cxn ang="0">
                <a:pos x="connsiteX28937" y="connsiteY28937"/>
              </a:cxn>
              <a:cxn ang="0">
                <a:pos x="connsiteX28938" y="connsiteY28938"/>
              </a:cxn>
              <a:cxn ang="0">
                <a:pos x="connsiteX28939" y="connsiteY28939"/>
              </a:cxn>
              <a:cxn ang="0">
                <a:pos x="connsiteX28940" y="connsiteY28940"/>
              </a:cxn>
              <a:cxn ang="0">
                <a:pos x="connsiteX28941" y="connsiteY28941"/>
              </a:cxn>
              <a:cxn ang="0">
                <a:pos x="connsiteX28942" y="connsiteY28942"/>
              </a:cxn>
              <a:cxn ang="0">
                <a:pos x="connsiteX28943" y="connsiteY28943"/>
              </a:cxn>
              <a:cxn ang="0">
                <a:pos x="connsiteX28944" y="connsiteY28944"/>
              </a:cxn>
              <a:cxn ang="0">
                <a:pos x="connsiteX28945" y="connsiteY28945"/>
              </a:cxn>
              <a:cxn ang="0">
                <a:pos x="connsiteX28946" y="connsiteY28946"/>
              </a:cxn>
              <a:cxn ang="0">
                <a:pos x="connsiteX28947" y="connsiteY28947"/>
              </a:cxn>
              <a:cxn ang="0">
                <a:pos x="connsiteX28948" y="connsiteY28948"/>
              </a:cxn>
              <a:cxn ang="0">
                <a:pos x="connsiteX28949" y="connsiteY28949"/>
              </a:cxn>
              <a:cxn ang="0">
                <a:pos x="connsiteX28950" y="connsiteY28950"/>
              </a:cxn>
              <a:cxn ang="0">
                <a:pos x="connsiteX28951" y="connsiteY28951"/>
              </a:cxn>
              <a:cxn ang="0">
                <a:pos x="connsiteX28952" y="connsiteY28952"/>
              </a:cxn>
              <a:cxn ang="0">
                <a:pos x="connsiteX28953" y="connsiteY28953"/>
              </a:cxn>
              <a:cxn ang="0">
                <a:pos x="connsiteX28954" y="connsiteY28954"/>
              </a:cxn>
              <a:cxn ang="0">
                <a:pos x="connsiteX28955" y="connsiteY28955"/>
              </a:cxn>
              <a:cxn ang="0">
                <a:pos x="connsiteX28956" y="connsiteY28956"/>
              </a:cxn>
              <a:cxn ang="0">
                <a:pos x="connsiteX28957" y="connsiteY28957"/>
              </a:cxn>
              <a:cxn ang="0">
                <a:pos x="connsiteX28958" y="connsiteY28958"/>
              </a:cxn>
              <a:cxn ang="0">
                <a:pos x="connsiteX28959" y="connsiteY28959"/>
              </a:cxn>
              <a:cxn ang="0">
                <a:pos x="connsiteX28960" y="connsiteY28960"/>
              </a:cxn>
              <a:cxn ang="0">
                <a:pos x="connsiteX28961" y="connsiteY28961"/>
              </a:cxn>
              <a:cxn ang="0">
                <a:pos x="connsiteX28962" y="connsiteY28962"/>
              </a:cxn>
              <a:cxn ang="0">
                <a:pos x="connsiteX28963" y="connsiteY28963"/>
              </a:cxn>
              <a:cxn ang="0">
                <a:pos x="connsiteX28964" y="connsiteY28964"/>
              </a:cxn>
              <a:cxn ang="0">
                <a:pos x="connsiteX28965" y="connsiteY28965"/>
              </a:cxn>
              <a:cxn ang="0">
                <a:pos x="connsiteX28966" y="connsiteY28966"/>
              </a:cxn>
              <a:cxn ang="0">
                <a:pos x="connsiteX28967" y="connsiteY28967"/>
              </a:cxn>
              <a:cxn ang="0">
                <a:pos x="connsiteX28968" y="connsiteY28968"/>
              </a:cxn>
              <a:cxn ang="0">
                <a:pos x="connsiteX28969" y="connsiteY28969"/>
              </a:cxn>
              <a:cxn ang="0">
                <a:pos x="connsiteX28970" y="connsiteY28970"/>
              </a:cxn>
              <a:cxn ang="0">
                <a:pos x="connsiteX28971" y="connsiteY28971"/>
              </a:cxn>
              <a:cxn ang="0">
                <a:pos x="connsiteX28972" y="connsiteY28972"/>
              </a:cxn>
              <a:cxn ang="0">
                <a:pos x="connsiteX28973" y="connsiteY28973"/>
              </a:cxn>
              <a:cxn ang="0">
                <a:pos x="connsiteX28974" y="connsiteY28974"/>
              </a:cxn>
              <a:cxn ang="0">
                <a:pos x="connsiteX28975" y="connsiteY28975"/>
              </a:cxn>
              <a:cxn ang="0">
                <a:pos x="connsiteX28976" y="connsiteY28976"/>
              </a:cxn>
              <a:cxn ang="0">
                <a:pos x="connsiteX28977" y="connsiteY28977"/>
              </a:cxn>
              <a:cxn ang="0">
                <a:pos x="connsiteX28978" y="connsiteY28978"/>
              </a:cxn>
              <a:cxn ang="0">
                <a:pos x="connsiteX28979" y="connsiteY28979"/>
              </a:cxn>
              <a:cxn ang="0">
                <a:pos x="connsiteX28980" y="connsiteY28980"/>
              </a:cxn>
              <a:cxn ang="0">
                <a:pos x="connsiteX28981" y="connsiteY28981"/>
              </a:cxn>
              <a:cxn ang="0">
                <a:pos x="connsiteX28982" y="connsiteY28982"/>
              </a:cxn>
              <a:cxn ang="0">
                <a:pos x="connsiteX28983" y="connsiteY28983"/>
              </a:cxn>
              <a:cxn ang="0">
                <a:pos x="connsiteX28984" y="connsiteY28984"/>
              </a:cxn>
              <a:cxn ang="0">
                <a:pos x="connsiteX28985" y="connsiteY28985"/>
              </a:cxn>
              <a:cxn ang="0">
                <a:pos x="connsiteX28986" y="connsiteY28986"/>
              </a:cxn>
              <a:cxn ang="0">
                <a:pos x="connsiteX28987" y="connsiteY28987"/>
              </a:cxn>
              <a:cxn ang="0">
                <a:pos x="connsiteX28988" y="connsiteY28988"/>
              </a:cxn>
              <a:cxn ang="0">
                <a:pos x="connsiteX28989" y="connsiteY28989"/>
              </a:cxn>
              <a:cxn ang="0">
                <a:pos x="connsiteX28990" y="connsiteY28990"/>
              </a:cxn>
              <a:cxn ang="0">
                <a:pos x="connsiteX28991" y="connsiteY28991"/>
              </a:cxn>
              <a:cxn ang="0">
                <a:pos x="connsiteX28992" y="connsiteY28992"/>
              </a:cxn>
              <a:cxn ang="0">
                <a:pos x="connsiteX28993" y="connsiteY28993"/>
              </a:cxn>
              <a:cxn ang="0">
                <a:pos x="connsiteX28994" y="connsiteY28994"/>
              </a:cxn>
              <a:cxn ang="0">
                <a:pos x="connsiteX28995" y="connsiteY28995"/>
              </a:cxn>
              <a:cxn ang="0">
                <a:pos x="connsiteX28996" y="connsiteY28996"/>
              </a:cxn>
              <a:cxn ang="0">
                <a:pos x="connsiteX28997" y="connsiteY28997"/>
              </a:cxn>
              <a:cxn ang="0">
                <a:pos x="connsiteX28998" y="connsiteY28998"/>
              </a:cxn>
              <a:cxn ang="0">
                <a:pos x="connsiteX28999" y="connsiteY28999"/>
              </a:cxn>
              <a:cxn ang="0">
                <a:pos x="connsiteX29000" y="connsiteY29000"/>
              </a:cxn>
              <a:cxn ang="0">
                <a:pos x="connsiteX29001" y="connsiteY29001"/>
              </a:cxn>
              <a:cxn ang="0">
                <a:pos x="connsiteX29002" y="connsiteY29002"/>
              </a:cxn>
              <a:cxn ang="0">
                <a:pos x="connsiteX29003" y="connsiteY29003"/>
              </a:cxn>
              <a:cxn ang="0">
                <a:pos x="connsiteX29004" y="connsiteY29004"/>
              </a:cxn>
              <a:cxn ang="0">
                <a:pos x="connsiteX29005" y="connsiteY29005"/>
              </a:cxn>
              <a:cxn ang="0">
                <a:pos x="connsiteX29006" y="connsiteY29006"/>
              </a:cxn>
              <a:cxn ang="0">
                <a:pos x="connsiteX29007" y="connsiteY29007"/>
              </a:cxn>
              <a:cxn ang="0">
                <a:pos x="connsiteX29008" y="connsiteY29008"/>
              </a:cxn>
              <a:cxn ang="0">
                <a:pos x="connsiteX29009" y="connsiteY29009"/>
              </a:cxn>
              <a:cxn ang="0">
                <a:pos x="connsiteX29010" y="connsiteY29010"/>
              </a:cxn>
              <a:cxn ang="0">
                <a:pos x="connsiteX29011" y="connsiteY29011"/>
              </a:cxn>
              <a:cxn ang="0">
                <a:pos x="connsiteX29012" y="connsiteY29012"/>
              </a:cxn>
              <a:cxn ang="0">
                <a:pos x="connsiteX29013" y="connsiteY29013"/>
              </a:cxn>
              <a:cxn ang="0">
                <a:pos x="connsiteX29014" y="connsiteY29014"/>
              </a:cxn>
              <a:cxn ang="0">
                <a:pos x="connsiteX29015" y="connsiteY29015"/>
              </a:cxn>
              <a:cxn ang="0">
                <a:pos x="connsiteX29016" y="connsiteY29016"/>
              </a:cxn>
              <a:cxn ang="0">
                <a:pos x="connsiteX29017" y="connsiteY29017"/>
              </a:cxn>
              <a:cxn ang="0">
                <a:pos x="connsiteX29018" y="connsiteY29018"/>
              </a:cxn>
              <a:cxn ang="0">
                <a:pos x="connsiteX29019" y="connsiteY29019"/>
              </a:cxn>
              <a:cxn ang="0">
                <a:pos x="connsiteX29020" y="connsiteY29020"/>
              </a:cxn>
              <a:cxn ang="0">
                <a:pos x="connsiteX29021" y="connsiteY29021"/>
              </a:cxn>
              <a:cxn ang="0">
                <a:pos x="connsiteX29022" y="connsiteY29022"/>
              </a:cxn>
              <a:cxn ang="0">
                <a:pos x="connsiteX29023" y="connsiteY29023"/>
              </a:cxn>
              <a:cxn ang="0">
                <a:pos x="connsiteX29024" y="connsiteY29024"/>
              </a:cxn>
              <a:cxn ang="0">
                <a:pos x="connsiteX29025" y="connsiteY29025"/>
              </a:cxn>
              <a:cxn ang="0">
                <a:pos x="connsiteX29026" y="connsiteY29026"/>
              </a:cxn>
              <a:cxn ang="0">
                <a:pos x="connsiteX29027" y="connsiteY29027"/>
              </a:cxn>
              <a:cxn ang="0">
                <a:pos x="connsiteX29028" y="connsiteY29028"/>
              </a:cxn>
              <a:cxn ang="0">
                <a:pos x="connsiteX29029" y="connsiteY29029"/>
              </a:cxn>
              <a:cxn ang="0">
                <a:pos x="connsiteX29030" y="connsiteY29030"/>
              </a:cxn>
              <a:cxn ang="0">
                <a:pos x="connsiteX29031" y="connsiteY29031"/>
              </a:cxn>
              <a:cxn ang="0">
                <a:pos x="connsiteX29032" y="connsiteY29032"/>
              </a:cxn>
              <a:cxn ang="0">
                <a:pos x="connsiteX29033" y="connsiteY29033"/>
              </a:cxn>
              <a:cxn ang="0">
                <a:pos x="connsiteX29034" y="connsiteY29034"/>
              </a:cxn>
              <a:cxn ang="0">
                <a:pos x="connsiteX29035" y="connsiteY29035"/>
              </a:cxn>
              <a:cxn ang="0">
                <a:pos x="connsiteX29036" y="connsiteY29036"/>
              </a:cxn>
              <a:cxn ang="0">
                <a:pos x="connsiteX29037" y="connsiteY29037"/>
              </a:cxn>
              <a:cxn ang="0">
                <a:pos x="connsiteX29038" y="connsiteY29038"/>
              </a:cxn>
              <a:cxn ang="0">
                <a:pos x="connsiteX29039" y="connsiteY29039"/>
              </a:cxn>
              <a:cxn ang="0">
                <a:pos x="connsiteX29040" y="connsiteY29040"/>
              </a:cxn>
              <a:cxn ang="0">
                <a:pos x="connsiteX29041" y="connsiteY29041"/>
              </a:cxn>
              <a:cxn ang="0">
                <a:pos x="connsiteX29042" y="connsiteY29042"/>
              </a:cxn>
              <a:cxn ang="0">
                <a:pos x="connsiteX29043" y="connsiteY29043"/>
              </a:cxn>
              <a:cxn ang="0">
                <a:pos x="connsiteX29044" y="connsiteY29044"/>
              </a:cxn>
              <a:cxn ang="0">
                <a:pos x="connsiteX29045" y="connsiteY29045"/>
              </a:cxn>
              <a:cxn ang="0">
                <a:pos x="connsiteX29046" y="connsiteY29046"/>
              </a:cxn>
              <a:cxn ang="0">
                <a:pos x="connsiteX29047" y="connsiteY29047"/>
              </a:cxn>
              <a:cxn ang="0">
                <a:pos x="connsiteX29048" y="connsiteY29048"/>
              </a:cxn>
              <a:cxn ang="0">
                <a:pos x="connsiteX29049" y="connsiteY29049"/>
              </a:cxn>
              <a:cxn ang="0">
                <a:pos x="connsiteX29050" y="connsiteY29050"/>
              </a:cxn>
              <a:cxn ang="0">
                <a:pos x="connsiteX29051" y="connsiteY29051"/>
              </a:cxn>
              <a:cxn ang="0">
                <a:pos x="connsiteX29052" y="connsiteY29052"/>
              </a:cxn>
              <a:cxn ang="0">
                <a:pos x="connsiteX29053" y="connsiteY29053"/>
              </a:cxn>
              <a:cxn ang="0">
                <a:pos x="connsiteX29054" y="connsiteY29054"/>
              </a:cxn>
              <a:cxn ang="0">
                <a:pos x="connsiteX29055" y="connsiteY29055"/>
              </a:cxn>
              <a:cxn ang="0">
                <a:pos x="connsiteX29056" y="connsiteY29056"/>
              </a:cxn>
              <a:cxn ang="0">
                <a:pos x="connsiteX29057" y="connsiteY29057"/>
              </a:cxn>
              <a:cxn ang="0">
                <a:pos x="connsiteX29058" y="connsiteY29058"/>
              </a:cxn>
              <a:cxn ang="0">
                <a:pos x="connsiteX29059" y="connsiteY29059"/>
              </a:cxn>
              <a:cxn ang="0">
                <a:pos x="connsiteX29060" y="connsiteY29060"/>
              </a:cxn>
              <a:cxn ang="0">
                <a:pos x="connsiteX29061" y="connsiteY29061"/>
              </a:cxn>
              <a:cxn ang="0">
                <a:pos x="connsiteX29062" y="connsiteY29062"/>
              </a:cxn>
              <a:cxn ang="0">
                <a:pos x="connsiteX29063" y="connsiteY29063"/>
              </a:cxn>
              <a:cxn ang="0">
                <a:pos x="connsiteX29064" y="connsiteY29064"/>
              </a:cxn>
              <a:cxn ang="0">
                <a:pos x="connsiteX29065" y="connsiteY29065"/>
              </a:cxn>
              <a:cxn ang="0">
                <a:pos x="connsiteX29066" y="connsiteY29066"/>
              </a:cxn>
              <a:cxn ang="0">
                <a:pos x="connsiteX29067" y="connsiteY29067"/>
              </a:cxn>
              <a:cxn ang="0">
                <a:pos x="connsiteX29068" y="connsiteY29068"/>
              </a:cxn>
              <a:cxn ang="0">
                <a:pos x="connsiteX29069" y="connsiteY29069"/>
              </a:cxn>
              <a:cxn ang="0">
                <a:pos x="connsiteX29070" y="connsiteY29070"/>
              </a:cxn>
              <a:cxn ang="0">
                <a:pos x="connsiteX29071" y="connsiteY29071"/>
              </a:cxn>
              <a:cxn ang="0">
                <a:pos x="connsiteX29072" y="connsiteY29072"/>
              </a:cxn>
              <a:cxn ang="0">
                <a:pos x="connsiteX29073" y="connsiteY29073"/>
              </a:cxn>
              <a:cxn ang="0">
                <a:pos x="connsiteX29074" y="connsiteY29074"/>
              </a:cxn>
              <a:cxn ang="0">
                <a:pos x="connsiteX29075" y="connsiteY29075"/>
              </a:cxn>
              <a:cxn ang="0">
                <a:pos x="connsiteX29076" y="connsiteY29076"/>
              </a:cxn>
              <a:cxn ang="0">
                <a:pos x="connsiteX29077" y="connsiteY29077"/>
              </a:cxn>
              <a:cxn ang="0">
                <a:pos x="connsiteX29078" y="connsiteY29078"/>
              </a:cxn>
              <a:cxn ang="0">
                <a:pos x="connsiteX29079" y="connsiteY29079"/>
              </a:cxn>
              <a:cxn ang="0">
                <a:pos x="connsiteX29080" y="connsiteY29080"/>
              </a:cxn>
              <a:cxn ang="0">
                <a:pos x="connsiteX29081" y="connsiteY29081"/>
              </a:cxn>
              <a:cxn ang="0">
                <a:pos x="connsiteX29082" y="connsiteY29082"/>
              </a:cxn>
              <a:cxn ang="0">
                <a:pos x="connsiteX29083" y="connsiteY29083"/>
              </a:cxn>
              <a:cxn ang="0">
                <a:pos x="connsiteX29084" y="connsiteY29084"/>
              </a:cxn>
              <a:cxn ang="0">
                <a:pos x="connsiteX29085" y="connsiteY29085"/>
              </a:cxn>
              <a:cxn ang="0">
                <a:pos x="connsiteX29086" y="connsiteY29086"/>
              </a:cxn>
              <a:cxn ang="0">
                <a:pos x="connsiteX29087" y="connsiteY29087"/>
              </a:cxn>
              <a:cxn ang="0">
                <a:pos x="connsiteX29088" y="connsiteY29088"/>
              </a:cxn>
              <a:cxn ang="0">
                <a:pos x="connsiteX29089" y="connsiteY29089"/>
              </a:cxn>
              <a:cxn ang="0">
                <a:pos x="connsiteX29090" y="connsiteY29090"/>
              </a:cxn>
              <a:cxn ang="0">
                <a:pos x="connsiteX29091" y="connsiteY29091"/>
              </a:cxn>
              <a:cxn ang="0">
                <a:pos x="connsiteX29092" y="connsiteY29092"/>
              </a:cxn>
              <a:cxn ang="0">
                <a:pos x="connsiteX29093" y="connsiteY29093"/>
              </a:cxn>
              <a:cxn ang="0">
                <a:pos x="connsiteX29094" y="connsiteY29094"/>
              </a:cxn>
              <a:cxn ang="0">
                <a:pos x="connsiteX29095" y="connsiteY29095"/>
              </a:cxn>
              <a:cxn ang="0">
                <a:pos x="connsiteX29096" y="connsiteY29096"/>
              </a:cxn>
              <a:cxn ang="0">
                <a:pos x="connsiteX29097" y="connsiteY29097"/>
              </a:cxn>
              <a:cxn ang="0">
                <a:pos x="connsiteX29098" y="connsiteY29098"/>
              </a:cxn>
              <a:cxn ang="0">
                <a:pos x="connsiteX29099" y="connsiteY29099"/>
              </a:cxn>
              <a:cxn ang="0">
                <a:pos x="connsiteX29100" y="connsiteY29100"/>
              </a:cxn>
              <a:cxn ang="0">
                <a:pos x="connsiteX29101" y="connsiteY29101"/>
              </a:cxn>
              <a:cxn ang="0">
                <a:pos x="connsiteX29102" y="connsiteY29102"/>
              </a:cxn>
              <a:cxn ang="0">
                <a:pos x="connsiteX29103" y="connsiteY29103"/>
              </a:cxn>
              <a:cxn ang="0">
                <a:pos x="connsiteX29104" y="connsiteY29104"/>
              </a:cxn>
              <a:cxn ang="0">
                <a:pos x="connsiteX29105" y="connsiteY29105"/>
              </a:cxn>
              <a:cxn ang="0">
                <a:pos x="connsiteX29106" y="connsiteY29106"/>
              </a:cxn>
              <a:cxn ang="0">
                <a:pos x="connsiteX29107" y="connsiteY29107"/>
              </a:cxn>
              <a:cxn ang="0">
                <a:pos x="connsiteX29108" y="connsiteY29108"/>
              </a:cxn>
              <a:cxn ang="0">
                <a:pos x="connsiteX29109" y="connsiteY29109"/>
              </a:cxn>
              <a:cxn ang="0">
                <a:pos x="connsiteX29110" y="connsiteY29110"/>
              </a:cxn>
              <a:cxn ang="0">
                <a:pos x="connsiteX29111" y="connsiteY29111"/>
              </a:cxn>
              <a:cxn ang="0">
                <a:pos x="connsiteX29112" y="connsiteY29112"/>
              </a:cxn>
              <a:cxn ang="0">
                <a:pos x="connsiteX29113" y="connsiteY29113"/>
              </a:cxn>
              <a:cxn ang="0">
                <a:pos x="connsiteX29114" y="connsiteY29114"/>
              </a:cxn>
              <a:cxn ang="0">
                <a:pos x="connsiteX29115" y="connsiteY29115"/>
              </a:cxn>
              <a:cxn ang="0">
                <a:pos x="connsiteX29116" y="connsiteY29116"/>
              </a:cxn>
              <a:cxn ang="0">
                <a:pos x="connsiteX29117" y="connsiteY29117"/>
              </a:cxn>
              <a:cxn ang="0">
                <a:pos x="connsiteX29118" y="connsiteY29118"/>
              </a:cxn>
              <a:cxn ang="0">
                <a:pos x="connsiteX29119" y="connsiteY29119"/>
              </a:cxn>
              <a:cxn ang="0">
                <a:pos x="connsiteX29120" y="connsiteY29120"/>
              </a:cxn>
              <a:cxn ang="0">
                <a:pos x="connsiteX29121" y="connsiteY29121"/>
              </a:cxn>
              <a:cxn ang="0">
                <a:pos x="connsiteX29122" y="connsiteY29122"/>
              </a:cxn>
              <a:cxn ang="0">
                <a:pos x="connsiteX29123" y="connsiteY29123"/>
              </a:cxn>
              <a:cxn ang="0">
                <a:pos x="connsiteX29124" y="connsiteY29124"/>
              </a:cxn>
              <a:cxn ang="0">
                <a:pos x="connsiteX29125" y="connsiteY29125"/>
              </a:cxn>
              <a:cxn ang="0">
                <a:pos x="connsiteX29126" y="connsiteY29126"/>
              </a:cxn>
              <a:cxn ang="0">
                <a:pos x="connsiteX29127" y="connsiteY29127"/>
              </a:cxn>
              <a:cxn ang="0">
                <a:pos x="connsiteX29128" y="connsiteY29128"/>
              </a:cxn>
              <a:cxn ang="0">
                <a:pos x="connsiteX29129" y="connsiteY29129"/>
              </a:cxn>
              <a:cxn ang="0">
                <a:pos x="connsiteX29130" y="connsiteY29130"/>
              </a:cxn>
              <a:cxn ang="0">
                <a:pos x="connsiteX29131" y="connsiteY29131"/>
              </a:cxn>
              <a:cxn ang="0">
                <a:pos x="connsiteX29132" y="connsiteY29132"/>
              </a:cxn>
              <a:cxn ang="0">
                <a:pos x="connsiteX29133" y="connsiteY29133"/>
              </a:cxn>
              <a:cxn ang="0">
                <a:pos x="connsiteX29134" y="connsiteY29134"/>
              </a:cxn>
              <a:cxn ang="0">
                <a:pos x="connsiteX29135" y="connsiteY29135"/>
              </a:cxn>
              <a:cxn ang="0">
                <a:pos x="connsiteX29136" y="connsiteY29136"/>
              </a:cxn>
              <a:cxn ang="0">
                <a:pos x="connsiteX29137" y="connsiteY29137"/>
              </a:cxn>
              <a:cxn ang="0">
                <a:pos x="connsiteX29138" y="connsiteY29138"/>
              </a:cxn>
              <a:cxn ang="0">
                <a:pos x="connsiteX29139" y="connsiteY29139"/>
              </a:cxn>
              <a:cxn ang="0">
                <a:pos x="connsiteX29140" y="connsiteY29140"/>
              </a:cxn>
              <a:cxn ang="0">
                <a:pos x="connsiteX29141" y="connsiteY29141"/>
              </a:cxn>
              <a:cxn ang="0">
                <a:pos x="connsiteX29142" y="connsiteY29142"/>
              </a:cxn>
              <a:cxn ang="0">
                <a:pos x="connsiteX29143" y="connsiteY29143"/>
              </a:cxn>
              <a:cxn ang="0">
                <a:pos x="connsiteX29144" y="connsiteY29144"/>
              </a:cxn>
              <a:cxn ang="0">
                <a:pos x="connsiteX29145" y="connsiteY29145"/>
              </a:cxn>
              <a:cxn ang="0">
                <a:pos x="connsiteX29146" y="connsiteY29146"/>
              </a:cxn>
              <a:cxn ang="0">
                <a:pos x="connsiteX29147" y="connsiteY29147"/>
              </a:cxn>
              <a:cxn ang="0">
                <a:pos x="connsiteX29148" y="connsiteY29148"/>
              </a:cxn>
              <a:cxn ang="0">
                <a:pos x="connsiteX29149" y="connsiteY29149"/>
              </a:cxn>
              <a:cxn ang="0">
                <a:pos x="connsiteX29150" y="connsiteY29150"/>
              </a:cxn>
              <a:cxn ang="0">
                <a:pos x="connsiteX29151" y="connsiteY29151"/>
              </a:cxn>
              <a:cxn ang="0">
                <a:pos x="connsiteX29152" y="connsiteY29152"/>
              </a:cxn>
              <a:cxn ang="0">
                <a:pos x="connsiteX29153" y="connsiteY29153"/>
              </a:cxn>
              <a:cxn ang="0">
                <a:pos x="connsiteX29154" y="connsiteY29154"/>
              </a:cxn>
              <a:cxn ang="0">
                <a:pos x="connsiteX29155" y="connsiteY29155"/>
              </a:cxn>
              <a:cxn ang="0">
                <a:pos x="connsiteX29156" y="connsiteY29156"/>
              </a:cxn>
              <a:cxn ang="0">
                <a:pos x="connsiteX29157" y="connsiteY29157"/>
              </a:cxn>
              <a:cxn ang="0">
                <a:pos x="connsiteX29158" y="connsiteY29158"/>
              </a:cxn>
              <a:cxn ang="0">
                <a:pos x="connsiteX29159" y="connsiteY29159"/>
              </a:cxn>
              <a:cxn ang="0">
                <a:pos x="connsiteX29160" y="connsiteY29160"/>
              </a:cxn>
              <a:cxn ang="0">
                <a:pos x="connsiteX29161" y="connsiteY29161"/>
              </a:cxn>
              <a:cxn ang="0">
                <a:pos x="connsiteX29162" y="connsiteY29162"/>
              </a:cxn>
              <a:cxn ang="0">
                <a:pos x="connsiteX29163" y="connsiteY29163"/>
              </a:cxn>
              <a:cxn ang="0">
                <a:pos x="connsiteX29164" y="connsiteY29164"/>
              </a:cxn>
              <a:cxn ang="0">
                <a:pos x="connsiteX29165" y="connsiteY29165"/>
              </a:cxn>
              <a:cxn ang="0">
                <a:pos x="connsiteX29166" y="connsiteY29166"/>
              </a:cxn>
              <a:cxn ang="0">
                <a:pos x="connsiteX29167" y="connsiteY29167"/>
              </a:cxn>
              <a:cxn ang="0">
                <a:pos x="connsiteX29168" y="connsiteY29168"/>
              </a:cxn>
              <a:cxn ang="0">
                <a:pos x="connsiteX29169" y="connsiteY29169"/>
              </a:cxn>
              <a:cxn ang="0">
                <a:pos x="connsiteX29170" y="connsiteY29170"/>
              </a:cxn>
              <a:cxn ang="0">
                <a:pos x="connsiteX29171" y="connsiteY29171"/>
              </a:cxn>
              <a:cxn ang="0">
                <a:pos x="connsiteX29172" y="connsiteY29172"/>
              </a:cxn>
              <a:cxn ang="0">
                <a:pos x="connsiteX29173" y="connsiteY29173"/>
              </a:cxn>
              <a:cxn ang="0">
                <a:pos x="connsiteX29174" y="connsiteY29174"/>
              </a:cxn>
              <a:cxn ang="0">
                <a:pos x="connsiteX29175" y="connsiteY29175"/>
              </a:cxn>
              <a:cxn ang="0">
                <a:pos x="connsiteX29176" y="connsiteY29176"/>
              </a:cxn>
              <a:cxn ang="0">
                <a:pos x="connsiteX29177" y="connsiteY29177"/>
              </a:cxn>
              <a:cxn ang="0">
                <a:pos x="connsiteX29178" y="connsiteY29178"/>
              </a:cxn>
              <a:cxn ang="0">
                <a:pos x="connsiteX29179" y="connsiteY29179"/>
              </a:cxn>
              <a:cxn ang="0">
                <a:pos x="connsiteX29180" y="connsiteY29180"/>
              </a:cxn>
              <a:cxn ang="0">
                <a:pos x="connsiteX29181" y="connsiteY29181"/>
              </a:cxn>
              <a:cxn ang="0">
                <a:pos x="connsiteX29182" y="connsiteY29182"/>
              </a:cxn>
              <a:cxn ang="0">
                <a:pos x="connsiteX29183" y="connsiteY29183"/>
              </a:cxn>
              <a:cxn ang="0">
                <a:pos x="connsiteX29184" y="connsiteY29184"/>
              </a:cxn>
              <a:cxn ang="0">
                <a:pos x="connsiteX29185" y="connsiteY29185"/>
              </a:cxn>
              <a:cxn ang="0">
                <a:pos x="connsiteX29186" y="connsiteY29186"/>
              </a:cxn>
              <a:cxn ang="0">
                <a:pos x="connsiteX29187" y="connsiteY29187"/>
              </a:cxn>
              <a:cxn ang="0">
                <a:pos x="connsiteX29188" y="connsiteY29188"/>
              </a:cxn>
              <a:cxn ang="0">
                <a:pos x="connsiteX29189" y="connsiteY29189"/>
              </a:cxn>
              <a:cxn ang="0">
                <a:pos x="connsiteX29190" y="connsiteY29190"/>
              </a:cxn>
              <a:cxn ang="0">
                <a:pos x="connsiteX29191" y="connsiteY29191"/>
              </a:cxn>
              <a:cxn ang="0">
                <a:pos x="connsiteX29192" y="connsiteY29192"/>
              </a:cxn>
              <a:cxn ang="0">
                <a:pos x="connsiteX29193" y="connsiteY29193"/>
              </a:cxn>
              <a:cxn ang="0">
                <a:pos x="connsiteX29194" y="connsiteY29194"/>
              </a:cxn>
              <a:cxn ang="0">
                <a:pos x="connsiteX29195" y="connsiteY29195"/>
              </a:cxn>
              <a:cxn ang="0">
                <a:pos x="connsiteX29196" y="connsiteY29196"/>
              </a:cxn>
              <a:cxn ang="0">
                <a:pos x="connsiteX29197" y="connsiteY29197"/>
              </a:cxn>
              <a:cxn ang="0">
                <a:pos x="connsiteX29198" y="connsiteY29198"/>
              </a:cxn>
              <a:cxn ang="0">
                <a:pos x="connsiteX29199" y="connsiteY29199"/>
              </a:cxn>
              <a:cxn ang="0">
                <a:pos x="connsiteX29200" y="connsiteY29200"/>
              </a:cxn>
              <a:cxn ang="0">
                <a:pos x="connsiteX29201" y="connsiteY29201"/>
              </a:cxn>
              <a:cxn ang="0">
                <a:pos x="connsiteX29202" y="connsiteY29202"/>
              </a:cxn>
              <a:cxn ang="0">
                <a:pos x="connsiteX29203" y="connsiteY29203"/>
              </a:cxn>
              <a:cxn ang="0">
                <a:pos x="connsiteX29204" y="connsiteY29204"/>
              </a:cxn>
              <a:cxn ang="0">
                <a:pos x="connsiteX29205" y="connsiteY29205"/>
              </a:cxn>
              <a:cxn ang="0">
                <a:pos x="connsiteX29206" y="connsiteY29206"/>
              </a:cxn>
              <a:cxn ang="0">
                <a:pos x="connsiteX29207" y="connsiteY29207"/>
              </a:cxn>
              <a:cxn ang="0">
                <a:pos x="connsiteX29208" y="connsiteY29208"/>
              </a:cxn>
              <a:cxn ang="0">
                <a:pos x="connsiteX29209" y="connsiteY29209"/>
              </a:cxn>
              <a:cxn ang="0">
                <a:pos x="connsiteX29210" y="connsiteY29210"/>
              </a:cxn>
              <a:cxn ang="0">
                <a:pos x="connsiteX29211" y="connsiteY29211"/>
              </a:cxn>
              <a:cxn ang="0">
                <a:pos x="connsiteX29212" y="connsiteY29212"/>
              </a:cxn>
              <a:cxn ang="0">
                <a:pos x="connsiteX29213" y="connsiteY29213"/>
              </a:cxn>
              <a:cxn ang="0">
                <a:pos x="connsiteX29214" y="connsiteY29214"/>
              </a:cxn>
              <a:cxn ang="0">
                <a:pos x="connsiteX29215" y="connsiteY29215"/>
              </a:cxn>
              <a:cxn ang="0">
                <a:pos x="connsiteX29216" y="connsiteY29216"/>
              </a:cxn>
              <a:cxn ang="0">
                <a:pos x="connsiteX29217" y="connsiteY29217"/>
              </a:cxn>
              <a:cxn ang="0">
                <a:pos x="connsiteX29218" y="connsiteY29218"/>
              </a:cxn>
              <a:cxn ang="0">
                <a:pos x="connsiteX29219" y="connsiteY29219"/>
              </a:cxn>
              <a:cxn ang="0">
                <a:pos x="connsiteX29220" y="connsiteY29220"/>
              </a:cxn>
              <a:cxn ang="0">
                <a:pos x="connsiteX29221" y="connsiteY29221"/>
              </a:cxn>
              <a:cxn ang="0">
                <a:pos x="connsiteX29222" y="connsiteY29222"/>
              </a:cxn>
              <a:cxn ang="0">
                <a:pos x="connsiteX29223" y="connsiteY29223"/>
              </a:cxn>
              <a:cxn ang="0">
                <a:pos x="connsiteX29224" y="connsiteY29224"/>
              </a:cxn>
              <a:cxn ang="0">
                <a:pos x="connsiteX29225" y="connsiteY29225"/>
              </a:cxn>
              <a:cxn ang="0">
                <a:pos x="connsiteX29226" y="connsiteY29226"/>
              </a:cxn>
              <a:cxn ang="0">
                <a:pos x="connsiteX29227" y="connsiteY29227"/>
              </a:cxn>
              <a:cxn ang="0">
                <a:pos x="connsiteX29228" y="connsiteY29228"/>
              </a:cxn>
              <a:cxn ang="0">
                <a:pos x="connsiteX29229" y="connsiteY29229"/>
              </a:cxn>
              <a:cxn ang="0">
                <a:pos x="connsiteX29230" y="connsiteY29230"/>
              </a:cxn>
              <a:cxn ang="0">
                <a:pos x="connsiteX29231" y="connsiteY29231"/>
              </a:cxn>
              <a:cxn ang="0">
                <a:pos x="connsiteX29232" y="connsiteY29232"/>
              </a:cxn>
              <a:cxn ang="0">
                <a:pos x="connsiteX29233" y="connsiteY29233"/>
              </a:cxn>
              <a:cxn ang="0">
                <a:pos x="connsiteX29234" y="connsiteY29234"/>
              </a:cxn>
              <a:cxn ang="0">
                <a:pos x="connsiteX29235" y="connsiteY29235"/>
              </a:cxn>
              <a:cxn ang="0">
                <a:pos x="connsiteX29236" y="connsiteY29236"/>
              </a:cxn>
              <a:cxn ang="0">
                <a:pos x="connsiteX29237" y="connsiteY29237"/>
              </a:cxn>
              <a:cxn ang="0">
                <a:pos x="connsiteX29238" y="connsiteY29238"/>
              </a:cxn>
              <a:cxn ang="0">
                <a:pos x="connsiteX29239" y="connsiteY29239"/>
              </a:cxn>
              <a:cxn ang="0">
                <a:pos x="connsiteX29240" y="connsiteY29240"/>
              </a:cxn>
              <a:cxn ang="0">
                <a:pos x="connsiteX29241" y="connsiteY29241"/>
              </a:cxn>
              <a:cxn ang="0">
                <a:pos x="connsiteX29242" y="connsiteY29242"/>
              </a:cxn>
              <a:cxn ang="0">
                <a:pos x="connsiteX29243" y="connsiteY29243"/>
              </a:cxn>
              <a:cxn ang="0">
                <a:pos x="connsiteX29244" y="connsiteY29244"/>
              </a:cxn>
              <a:cxn ang="0">
                <a:pos x="connsiteX29245" y="connsiteY29245"/>
              </a:cxn>
              <a:cxn ang="0">
                <a:pos x="connsiteX29246" y="connsiteY29246"/>
              </a:cxn>
              <a:cxn ang="0">
                <a:pos x="connsiteX29247" y="connsiteY29247"/>
              </a:cxn>
              <a:cxn ang="0">
                <a:pos x="connsiteX29248" y="connsiteY29248"/>
              </a:cxn>
              <a:cxn ang="0">
                <a:pos x="connsiteX29249" y="connsiteY29249"/>
              </a:cxn>
              <a:cxn ang="0">
                <a:pos x="connsiteX29250" y="connsiteY29250"/>
              </a:cxn>
              <a:cxn ang="0">
                <a:pos x="connsiteX29251" y="connsiteY29251"/>
              </a:cxn>
              <a:cxn ang="0">
                <a:pos x="connsiteX29252" y="connsiteY29252"/>
              </a:cxn>
              <a:cxn ang="0">
                <a:pos x="connsiteX29253" y="connsiteY29253"/>
              </a:cxn>
              <a:cxn ang="0">
                <a:pos x="connsiteX29254" y="connsiteY29254"/>
              </a:cxn>
              <a:cxn ang="0">
                <a:pos x="connsiteX29255" y="connsiteY29255"/>
              </a:cxn>
              <a:cxn ang="0">
                <a:pos x="connsiteX29256" y="connsiteY29256"/>
              </a:cxn>
              <a:cxn ang="0">
                <a:pos x="connsiteX29257" y="connsiteY29257"/>
              </a:cxn>
              <a:cxn ang="0">
                <a:pos x="connsiteX29258" y="connsiteY29258"/>
              </a:cxn>
              <a:cxn ang="0">
                <a:pos x="connsiteX29259" y="connsiteY29259"/>
              </a:cxn>
              <a:cxn ang="0">
                <a:pos x="connsiteX29260" y="connsiteY29260"/>
              </a:cxn>
              <a:cxn ang="0">
                <a:pos x="connsiteX29261" y="connsiteY29261"/>
              </a:cxn>
              <a:cxn ang="0">
                <a:pos x="connsiteX29262" y="connsiteY29262"/>
              </a:cxn>
              <a:cxn ang="0">
                <a:pos x="connsiteX29263" y="connsiteY29263"/>
              </a:cxn>
              <a:cxn ang="0">
                <a:pos x="connsiteX29264" y="connsiteY29264"/>
              </a:cxn>
              <a:cxn ang="0">
                <a:pos x="connsiteX29265" y="connsiteY29265"/>
              </a:cxn>
              <a:cxn ang="0">
                <a:pos x="connsiteX29266" y="connsiteY29266"/>
              </a:cxn>
              <a:cxn ang="0">
                <a:pos x="connsiteX29267" y="connsiteY29267"/>
              </a:cxn>
              <a:cxn ang="0">
                <a:pos x="connsiteX29268" y="connsiteY29268"/>
              </a:cxn>
              <a:cxn ang="0">
                <a:pos x="connsiteX29269" y="connsiteY29269"/>
              </a:cxn>
              <a:cxn ang="0">
                <a:pos x="connsiteX29270" y="connsiteY29270"/>
              </a:cxn>
              <a:cxn ang="0">
                <a:pos x="connsiteX29271" y="connsiteY29271"/>
              </a:cxn>
              <a:cxn ang="0">
                <a:pos x="connsiteX29272" y="connsiteY29272"/>
              </a:cxn>
              <a:cxn ang="0">
                <a:pos x="connsiteX29273" y="connsiteY29273"/>
              </a:cxn>
              <a:cxn ang="0">
                <a:pos x="connsiteX29274" y="connsiteY29274"/>
              </a:cxn>
              <a:cxn ang="0">
                <a:pos x="connsiteX29275" y="connsiteY29275"/>
              </a:cxn>
              <a:cxn ang="0">
                <a:pos x="connsiteX29276" y="connsiteY29276"/>
              </a:cxn>
              <a:cxn ang="0">
                <a:pos x="connsiteX29277" y="connsiteY29277"/>
              </a:cxn>
              <a:cxn ang="0">
                <a:pos x="connsiteX29278" y="connsiteY29278"/>
              </a:cxn>
              <a:cxn ang="0">
                <a:pos x="connsiteX29279" y="connsiteY29279"/>
              </a:cxn>
              <a:cxn ang="0">
                <a:pos x="connsiteX29280" y="connsiteY29280"/>
              </a:cxn>
              <a:cxn ang="0">
                <a:pos x="connsiteX29281" y="connsiteY29281"/>
              </a:cxn>
              <a:cxn ang="0">
                <a:pos x="connsiteX29282" y="connsiteY29282"/>
              </a:cxn>
              <a:cxn ang="0">
                <a:pos x="connsiteX29283" y="connsiteY29283"/>
              </a:cxn>
              <a:cxn ang="0">
                <a:pos x="connsiteX29284" y="connsiteY29284"/>
              </a:cxn>
              <a:cxn ang="0">
                <a:pos x="connsiteX29285" y="connsiteY29285"/>
              </a:cxn>
              <a:cxn ang="0">
                <a:pos x="connsiteX29286" y="connsiteY29286"/>
              </a:cxn>
              <a:cxn ang="0">
                <a:pos x="connsiteX29287" y="connsiteY29287"/>
              </a:cxn>
              <a:cxn ang="0">
                <a:pos x="connsiteX29288" y="connsiteY29288"/>
              </a:cxn>
              <a:cxn ang="0">
                <a:pos x="connsiteX29289" y="connsiteY29289"/>
              </a:cxn>
              <a:cxn ang="0">
                <a:pos x="connsiteX29290" y="connsiteY29290"/>
              </a:cxn>
              <a:cxn ang="0">
                <a:pos x="connsiteX29291" y="connsiteY29291"/>
              </a:cxn>
              <a:cxn ang="0">
                <a:pos x="connsiteX29292" y="connsiteY29292"/>
              </a:cxn>
              <a:cxn ang="0">
                <a:pos x="connsiteX29293" y="connsiteY29293"/>
              </a:cxn>
              <a:cxn ang="0">
                <a:pos x="connsiteX29294" y="connsiteY29294"/>
              </a:cxn>
              <a:cxn ang="0">
                <a:pos x="connsiteX29295" y="connsiteY29295"/>
              </a:cxn>
              <a:cxn ang="0">
                <a:pos x="connsiteX29296" y="connsiteY29296"/>
              </a:cxn>
              <a:cxn ang="0">
                <a:pos x="connsiteX29297" y="connsiteY29297"/>
              </a:cxn>
              <a:cxn ang="0">
                <a:pos x="connsiteX29298" y="connsiteY29298"/>
              </a:cxn>
              <a:cxn ang="0">
                <a:pos x="connsiteX29299" y="connsiteY29299"/>
              </a:cxn>
              <a:cxn ang="0">
                <a:pos x="connsiteX29300" y="connsiteY29300"/>
              </a:cxn>
              <a:cxn ang="0">
                <a:pos x="connsiteX29301" y="connsiteY29301"/>
              </a:cxn>
              <a:cxn ang="0">
                <a:pos x="connsiteX29302" y="connsiteY29302"/>
              </a:cxn>
              <a:cxn ang="0">
                <a:pos x="connsiteX29303" y="connsiteY29303"/>
              </a:cxn>
              <a:cxn ang="0">
                <a:pos x="connsiteX29304" y="connsiteY29304"/>
              </a:cxn>
              <a:cxn ang="0">
                <a:pos x="connsiteX29305" y="connsiteY29305"/>
              </a:cxn>
              <a:cxn ang="0">
                <a:pos x="connsiteX29306" y="connsiteY29306"/>
              </a:cxn>
              <a:cxn ang="0">
                <a:pos x="connsiteX29307" y="connsiteY29307"/>
              </a:cxn>
              <a:cxn ang="0">
                <a:pos x="connsiteX29308" y="connsiteY29308"/>
              </a:cxn>
              <a:cxn ang="0">
                <a:pos x="connsiteX29309" y="connsiteY29309"/>
              </a:cxn>
              <a:cxn ang="0">
                <a:pos x="connsiteX29310" y="connsiteY29310"/>
              </a:cxn>
              <a:cxn ang="0">
                <a:pos x="connsiteX29311" y="connsiteY29311"/>
              </a:cxn>
              <a:cxn ang="0">
                <a:pos x="connsiteX29312" y="connsiteY29312"/>
              </a:cxn>
              <a:cxn ang="0">
                <a:pos x="connsiteX29313" y="connsiteY29313"/>
              </a:cxn>
              <a:cxn ang="0">
                <a:pos x="connsiteX29314" y="connsiteY29314"/>
              </a:cxn>
              <a:cxn ang="0">
                <a:pos x="connsiteX29315" y="connsiteY29315"/>
              </a:cxn>
              <a:cxn ang="0">
                <a:pos x="connsiteX29316" y="connsiteY29316"/>
              </a:cxn>
              <a:cxn ang="0">
                <a:pos x="connsiteX29317" y="connsiteY29317"/>
              </a:cxn>
              <a:cxn ang="0">
                <a:pos x="connsiteX29318" y="connsiteY29318"/>
              </a:cxn>
              <a:cxn ang="0">
                <a:pos x="connsiteX29319" y="connsiteY29319"/>
              </a:cxn>
              <a:cxn ang="0">
                <a:pos x="connsiteX29320" y="connsiteY29320"/>
              </a:cxn>
              <a:cxn ang="0">
                <a:pos x="connsiteX29321" y="connsiteY29321"/>
              </a:cxn>
              <a:cxn ang="0">
                <a:pos x="connsiteX29322" y="connsiteY29322"/>
              </a:cxn>
              <a:cxn ang="0">
                <a:pos x="connsiteX29323" y="connsiteY29323"/>
              </a:cxn>
              <a:cxn ang="0">
                <a:pos x="connsiteX29324" y="connsiteY29324"/>
              </a:cxn>
              <a:cxn ang="0">
                <a:pos x="connsiteX29325" y="connsiteY29325"/>
              </a:cxn>
              <a:cxn ang="0">
                <a:pos x="connsiteX29326" y="connsiteY29326"/>
              </a:cxn>
              <a:cxn ang="0">
                <a:pos x="connsiteX29327" y="connsiteY29327"/>
              </a:cxn>
              <a:cxn ang="0">
                <a:pos x="connsiteX29328" y="connsiteY29328"/>
              </a:cxn>
              <a:cxn ang="0">
                <a:pos x="connsiteX29329" y="connsiteY29329"/>
              </a:cxn>
              <a:cxn ang="0">
                <a:pos x="connsiteX29330" y="connsiteY29330"/>
              </a:cxn>
              <a:cxn ang="0">
                <a:pos x="connsiteX29331" y="connsiteY29331"/>
              </a:cxn>
              <a:cxn ang="0">
                <a:pos x="connsiteX29332" y="connsiteY29332"/>
              </a:cxn>
              <a:cxn ang="0">
                <a:pos x="connsiteX29333" y="connsiteY29333"/>
              </a:cxn>
              <a:cxn ang="0">
                <a:pos x="connsiteX29334" y="connsiteY29334"/>
              </a:cxn>
              <a:cxn ang="0">
                <a:pos x="connsiteX29335" y="connsiteY29335"/>
              </a:cxn>
              <a:cxn ang="0">
                <a:pos x="connsiteX29336" y="connsiteY29336"/>
              </a:cxn>
              <a:cxn ang="0">
                <a:pos x="connsiteX29337" y="connsiteY29337"/>
              </a:cxn>
              <a:cxn ang="0">
                <a:pos x="connsiteX29338" y="connsiteY29338"/>
              </a:cxn>
              <a:cxn ang="0">
                <a:pos x="connsiteX29339" y="connsiteY29339"/>
              </a:cxn>
              <a:cxn ang="0">
                <a:pos x="connsiteX29340" y="connsiteY29340"/>
              </a:cxn>
              <a:cxn ang="0">
                <a:pos x="connsiteX29341" y="connsiteY29341"/>
              </a:cxn>
              <a:cxn ang="0">
                <a:pos x="connsiteX29342" y="connsiteY29342"/>
              </a:cxn>
              <a:cxn ang="0">
                <a:pos x="connsiteX29343" y="connsiteY29343"/>
              </a:cxn>
              <a:cxn ang="0">
                <a:pos x="connsiteX29344" y="connsiteY29344"/>
              </a:cxn>
              <a:cxn ang="0">
                <a:pos x="connsiteX29345" y="connsiteY29345"/>
              </a:cxn>
              <a:cxn ang="0">
                <a:pos x="connsiteX29346" y="connsiteY29346"/>
              </a:cxn>
              <a:cxn ang="0">
                <a:pos x="connsiteX29347" y="connsiteY29347"/>
              </a:cxn>
              <a:cxn ang="0">
                <a:pos x="connsiteX29348" y="connsiteY29348"/>
              </a:cxn>
              <a:cxn ang="0">
                <a:pos x="connsiteX29349" y="connsiteY29349"/>
              </a:cxn>
              <a:cxn ang="0">
                <a:pos x="connsiteX29350" y="connsiteY29350"/>
              </a:cxn>
              <a:cxn ang="0">
                <a:pos x="connsiteX29351" y="connsiteY29351"/>
              </a:cxn>
              <a:cxn ang="0">
                <a:pos x="connsiteX29352" y="connsiteY29352"/>
              </a:cxn>
              <a:cxn ang="0">
                <a:pos x="connsiteX29353" y="connsiteY29353"/>
              </a:cxn>
              <a:cxn ang="0">
                <a:pos x="connsiteX29354" y="connsiteY29354"/>
              </a:cxn>
              <a:cxn ang="0">
                <a:pos x="connsiteX29355" y="connsiteY29355"/>
              </a:cxn>
              <a:cxn ang="0">
                <a:pos x="connsiteX29356" y="connsiteY29356"/>
              </a:cxn>
              <a:cxn ang="0">
                <a:pos x="connsiteX29357" y="connsiteY29357"/>
              </a:cxn>
              <a:cxn ang="0">
                <a:pos x="connsiteX29358" y="connsiteY29358"/>
              </a:cxn>
              <a:cxn ang="0">
                <a:pos x="connsiteX29359" y="connsiteY29359"/>
              </a:cxn>
              <a:cxn ang="0">
                <a:pos x="connsiteX29360" y="connsiteY29360"/>
              </a:cxn>
              <a:cxn ang="0">
                <a:pos x="connsiteX29361" y="connsiteY29361"/>
              </a:cxn>
              <a:cxn ang="0">
                <a:pos x="connsiteX29362" y="connsiteY29362"/>
              </a:cxn>
              <a:cxn ang="0">
                <a:pos x="connsiteX29363" y="connsiteY29363"/>
              </a:cxn>
              <a:cxn ang="0">
                <a:pos x="connsiteX29364" y="connsiteY29364"/>
              </a:cxn>
              <a:cxn ang="0">
                <a:pos x="connsiteX29365" y="connsiteY29365"/>
              </a:cxn>
              <a:cxn ang="0">
                <a:pos x="connsiteX29366" y="connsiteY29366"/>
              </a:cxn>
              <a:cxn ang="0">
                <a:pos x="connsiteX29367" y="connsiteY29367"/>
              </a:cxn>
              <a:cxn ang="0">
                <a:pos x="connsiteX29368" y="connsiteY29368"/>
              </a:cxn>
              <a:cxn ang="0">
                <a:pos x="connsiteX29369" y="connsiteY29369"/>
              </a:cxn>
              <a:cxn ang="0">
                <a:pos x="connsiteX29370" y="connsiteY29370"/>
              </a:cxn>
              <a:cxn ang="0">
                <a:pos x="connsiteX29371" y="connsiteY29371"/>
              </a:cxn>
              <a:cxn ang="0">
                <a:pos x="connsiteX29372" y="connsiteY29372"/>
              </a:cxn>
              <a:cxn ang="0">
                <a:pos x="connsiteX29373" y="connsiteY29373"/>
              </a:cxn>
              <a:cxn ang="0">
                <a:pos x="connsiteX29374" y="connsiteY29374"/>
              </a:cxn>
              <a:cxn ang="0">
                <a:pos x="connsiteX29375" y="connsiteY29375"/>
              </a:cxn>
              <a:cxn ang="0">
                <a:pos x="connsiteX29376" y="connsiteY29376"/>
              </a:cxn>
              <a:cxn ang="0">
                <a:pos x="connsiteX29377" y="connsiteY29377"/>
              </a:cxn>
              <a:cxn ang="0">
                <a:pos x="connsiteX29378" y="connsiteY29378"/>
              </a:cxn>
              <a:cxn ang="0">
                <a:pos x="connsiteX29379" y="connsiteY29379"/>
              </a:cxn>
              <a:cxn ang="0">
                <a:pos x="connsiteX29380" y="connsiteY29380"/>
              </a:cxn>
              <a:cxn ang="0">
                <a:pos x="connsiteX29381" y="connsiteY29381"/>
              </a:cxn>
              <a:cxn ang="0">
                <a:pos x="connsiteX29382" y="connsiteY29382"/>
              </a:cxn>
              <a:cxn ang="0">
                <a:pos x="connsiteX29383" y="connsiteY29383"/>
              </a:cxn>
              <a:cxn ang="0">
                <a:pos x="connsiteX29384" y="connsiteY29384"/>
              </a:cxn>
              <a:cxn ang="0">
                <a:pos x="connsiteX29385" y="connsiteY29385"/>
              </a:cxn>
              <a:cxn ang="0">
                <a:pos x="connsiteX29386" y="connsiteY29386"/>
              </a:cxn>
              <a:cxn ang="0">
                <a:pos x="connsiteX29387" y="connsiteY29387"/>
              </a:cxn>
              <a:cxn ang="0">
                <a:pos x="connsiteX29388" y="connsiteY29388"/>
              </a:cxn>
              <a:cxn ang="0">
                <a:pos x="connsiteX29389" y="connsiteY29389"/>
              </a:cxn>
              <a:cxn ang="0">
                <a:pos x="connsiteX29390" y="connsiteY29390"/>
              </a:cxn>
              <a:cxn ang="0">
                <a:pos x="connsiteX29391" y="connsiteY29391"/>
              </a:cxn>
              <a:cxn ang="0">
                <a:pos x="connsiteX29392" y="connsiteY29392"/>
              </a:cxn>
              <a:cxn ang="0">
                <a:pos x="connsiteX29393" y="connsiteY29393"/>
              </a:cxn>
              <a:cxn ang="0">
                <a:pos x="connsiteX29394" y="connsiteY29394"/>
              </a:cxn>
              <a:cxn ang="0">
                <a:pos x="connsiteX29395" y="connsiteY29395"/>
              </a:cxn>
              <a:cxn ang="0">
                <a:pos x="connsiteX29396" y="connsiteY29396"/>
              </a:cxn>
              <a:cxn ang="0">
                <a:pos x="connsiteX29397" y="connsiteY29397"/>
              </a:cxn>
              <a:cxn ang="0">
                <a:pos x="connsiteX29398" y="connsiteY29398"/>
              </a:cxn>
              <a:cxn ang="0">
                <a:pos x="connsiteX29399" y="connsiteY29399"/>
              </a:cxn>
              <a:cxn ang="0">
                <a:pos x="connsiteX29400" y="connsiteY29400"/>
              </a:cxn>
              <a:cxn ang="0">
                <a:pos x="connsiteX29401" y="connsiteY29401"/>
              </a:cxn>
              <a:cxn ang="0">
                <a:pos x="connsiteX29402" y="connsiteY29402"/>
              </a:cxn>
              <a:cxn ang="0">
                <a:pos x="connsiteX29403" y="connsiteY29403"/>
              </a:cxn>
              <a:cxn ang="0">
                <a:pos x="connsiteX29404" y="connsiteY29404"/>
              </a:cxn>
              <a:cxn ang="0">
                <a:pos x="connsiteX29405" y="connsiteY29405"/>
              </a:cxn>
              <a:cxn ang="0">
                <a:pos x="connsiteX29406" y="connsiteY29406"/>
              </a:cxn>
              <a:cxn ang="0">
                <a:pos x="connsiteX29407" y="connsiteY29407"/>
              </a:cxn>
              <a:cxn ang="0">
                <a:pos x="connsiteX29408" y="connsiteY29408"/>
              </a:cxn>
              <a:cxn ang="0">
                <a:pos x="connsiteX29409" y="connsiteY29409"/>
              </a:cxn>
              <a:cxn ang="0">
                <a:pos x="connsiteX29410" y="connsiteY29410"/>
              </a:cxn>
              <a:cxn ang="0">
                <a:pos x="connsiteX29411" y="connsiteY29411"/>
              </a:cxn>
              <a:cxn ang="0">
                <a:pos x="connsiteX29412" y="connsiteY29412"/>
              </a:cxn>
              <a:cxn ang="0">
                <a:pos x="connsiteX29413" y="connsiteY29413"/>
              </a:cxn>
              <a:cxn ang="0">
                <a:pos x="connsiteX29414" y="connsiteY29414"/>
              </a:cxn>
              <a:cxn ang="0">
                <a:pos x="connsiteX29415" y="connsiteY29415"/>
              </a:cxn>
              <a:cxn ang="0">
                <a:pos x="connsiteX29416" y="connsiteY29416"/>
              </a:cxn>
              <a:cxn ang="0">
                <a:pos x="connsiteX29417" y="connsiteY29417"/>
              </a:cxn>
              <a:cxn ang="0">
                <a:pos x="connsiteX29418" y="connsiteY29418"/>
              </a:cxn>
              <a:cxn ang="0">
                <a:pos x="connsiteX29419" y="connsiteY29419"/>
              </a:cxn>
              <a:cxn ang="0">
                <a:pos x="connsiteX29420" y="connsiteY29420"/>
              </a:cxn>
              <a:cxn ang="0">
                <a:pos x="connsiteX29421" y="connsiteY29421"/>
              </a:cxn>
              <a:cxn ang="0">
                <a:pos x="connsiteX29422" y="connsiteY29422"/>
              </a:cxn>
              <a:cxn ang="0">
                <a:pos x="connsiteX29423" y="connsiteY29423"/>
              </a:cxn>
              <a:cxn ang="0">
                <a:pos x="connsiteX29424" y="connsiteY29424"/>
              </a:cxn>
              <a:cxn ang="0">
                <a:pos x="connsiteX29425" y="connsiteY29425"/>
              </a:cxn>
              <a:cxn ang="0">
                <a:pos x="connsiteX29426" y="connsiteY29426"/>
              </a:cxn>
              <a:cxn ang="0">
                <a:pos x="connsiteX29427" y="connsiteY29427"/>
              </a:cxn>
              <a:cxn ang="0">
                <a:pos x="connsiteX29428" y="connsiteY29428"/>
              </a:cxn>
              <a:cxn ang="0">
                <a:pos x="connsiteX29429" y="connsiteY29429"/>
              </a:cxn>
              <a:cxn ang="0">
                <a:pos x="connsiteX29430" y="connsiteY29430"/>
              </a:cxn>
              <a:cxn ang="0">
                <a:pos x="connsiteX29431" y="connsiteY29431"/>
              </a:cxn>
              <a:cxn ang="0">
                <a:pos x="connsiteX29432" y="connsiteY29432"/>
              </a:cxn>
              <a:cxn ang="0">
                <a:pos x="connsiteX29433" y="connsiteY29433"/>
              </a:cxn>
              <a:cxn ang="0">
                <a:pos x="connsiteX29434" y="connsiteY29434"/>
              </a:cxn>
              <a:cxn ang="0">
                <a:pos x="connsiteX29435" y="connsiteY29435"/>
              </a:cxn>
              <a:cxn ang="0">
                <a:pos x="connsiteX29436" y="connsiteY29436"/>
              </a:cxn>
              <a:cxn ang="0">
                <a:pos x="connsiteX29437" y="connsiteY29437"/>
              </a:cxn>
              <a:cxn ang="0">
                <a:pos x="connsiteX29438" y="connsiteY29438"/>
              </a:cxn>
              <a:cxn ang="0">
                <a:pos x="connsiteX29439" y="connsiteY29439"/>
              </a:cxn>
              <a:cxn ang="0">
                <a:pos x="connsiteX29440" y="connsiteY29440"/>
              </a:cxn>
              <a:cxn ang="0">
                <a:pos x="connsiteX29441" y="connsiteY29441"/>
              </a:cxn>
              <a:cxn ang="0">
                <a:pos x="connsiteX29442" y="connsiteY29442"/>
              </a:cxn>
              <a:cxn ang="0">
                <a:pos x="connsiteX29443" y="connsiteY29443"/>
              </a:cxn>
              <a:cxn ang="0">
                <a:pos x="connsiteX29444" y="connsiteY29444"/>
              </a:cxn>
              <a:cxn ang="0">
                <a:pos x="connsiteX29445" y="connsiteY29445"/>
              </a:cxn>
              <a:cxn ang="0">
                <a:pos x="connsiteX29446" y="connsiteY29446"/>
              </a:cxn>
              <a:cxn ang="0">
                <a:pos x="connsiteX29447" y="connsiteY29447"/>
              </a:cxn>
              <a:cxn ang="0">
                <a:pos x="connsiteX29448" y="connsiteY29448"/>
              </a:cxn>
              <a:cxn ang="0">
                <a:pos x="connsiteX29449" y="connsiteY29449"/>
              </a:cxn>
              <a:cxn ang="0">
                <a:pos x="connsiteX29450" y="connsiteY29450"/>
              </a:cxn>
              <a:cxn ang="0">
                <a:pos x="connsiteX29451" y="connsiteY29451"/>
              </a:cxn>
              <a:cxn ang="0">
                <a:pos x="connsiteX29452" y="connsiteY29452"/>
              </a:cxn>
              <a:cxn ang="0">
                <a:pos x="connsiteX29453" y="connsiteY29453"/>
              </a:cxn>
              <a:cxn ang="0">
                <a:pos x="connsiteX29454" y="connsiteY29454"/>
              </a:cxn>
              <a:cxn ang="0">
                <a:pos x="connsiteX29455" y="connsiteY29455"/>
              </a:cxn>
              <a:cxn ang="0">
                <a:pos x="connsiteX29456" y="connsiteY29456"/>
              </a:cxn>
              <a:cxn ang="0">
                <a:pos x="connsiteX29457" y="connsiteY29457"/>
              </a:cxn>
              <a:cxn ang="0">
                <a:pos x="connsiteX29458" y="connsiteY29458"/>
              </a:cxn>
              <a:cxn ang="0">
                <a:pos x="connsiteX29459" y="connsiteY29459"/>
              </a:cxn>
              <a:cxn ang="0">
                <a:pos x="connsiteX29460" y="connsiteY29460"/>
              </a:cxn>
              <a:cxn ang="0">
                <a:pos x="connsiteX29461" y="connsiteY29461"/>
              </a:cxn>
              <a:cxn ang="0">
                <a:pos x="connsiteX29462" y="connsiteY29462"/>
              </a:cxn>
              <a:cxn ang="0">
                <a:pos x="connsiteX29463" y="connsiteY29463"/>
              </a:cxn>
              <a:cxn ang="0">
                <a:pos x="connsiteX29464" y="connsiteY29464"/>
              </a:cxn>
              <a:cxn ang="0">
                <a:pos x="connsiteX29465" y="connsiteY29465"/>
              </a:cxn>
              <a:cxn ang="0">
                <a:pos x="connsiteX29466" y="connsiteY29466"/>
              </a:cxn>
              <a:cxn ang="0">
                <a:pos x="connsiteX29467" y="connsiteY29467"/>
              </a:cxn>
              <a:cxn ang="0">
                <a:pos x="connsiteX29468" y="connsiteY29468"/>
              </a:cxn>
              <a:cxn ang="0">
                <a:pos x="connsiteX29469" y="connsiteY29469"/>
              </a:cxn>
              <a:cxn ang="0">
                <a:pos x="connsiteX29470" y="connsiteY29470"/>
              </a:cxn>
              <a:cxn ang="0">
                <a:pos x="connsiteX29471" y="connsiteY29471"/>
              </a:cxn>
              <a:cxn ang="0">
                <a:pos x="connsiteX29472" y="connsiteY29472"/>
              </a:cxn>
              <a:cxn ang="0">
                <a:pos x="connsiteX29473" y="connsiteY29473"/>
              </a:cxn>
              <a:cxn ang="0">
                <a:pos x="connsiteX29474" y="connsiteY29474"/>
              </a:cxn>
              <a:cxn ang="0">
                <a:pos x="connsiteX29475" y="connsiteY29475"/>
              </a:cxn>
              <a:cxn ang="0">
                <a:pos x="connsiteX29476" y="connsiteY29476"/>
              </a:cxn>
              <a:cxn ang="0">
                <a:pos x="connsiteX29477" y="connsiteY29477"/>
              </a:cxn>
              <a:cxn ang="0">
                <a:pos x="connsiteX29478" y="connsiteY29478"/>
              </a:cxn>
              <a:cxn ang="0">
                <a:pos x="connsiteX29479" y="connsiteY29479"/>
              </a:cxn>
              <a:cxn ang="0">
                <a:pos x="connsiteX29480" y="connsiteY29480"/>
              </a:cxn>
              <a:cxn ang="0">
                <a:pos x="connsiteX29481" y="connsiteY29481"/>
              </a:cxn>
              <a:cxn ang="0">
                <a:pos x="connsiteX29482" y="connsiteY29482"/>
              </a:cxn>
              <a:cxn ang="0">
                <a:pos x="connsiteX29483" y="connsiteY29483"/>
              </a:cxn>
              <a:cxn ang="0">
                <a:pos x="connsiteX29484" y="connsiteY29484"/>
              </a:cxn>
              <a:cxn ang="0">
                <a:pos x="connsiteX29485" y="connsiteY29485"/>
              </a:cxn>
              <a:cxn ang="0">
                <a:pos x="connsiteX29486" y="connsiteY29486"/>
              </a:cxn>
              <a:cxn ang="0">
                <a:pos x="connsiteX29487" y="connsiteY29487"/>
              </a:cxn>
              <a:cxn ang="0">
                <a:pos x="connsiteX29488" y="connsiteY29488"/>
              </a:cxn>
              <a:cxn ang="0">
                <a:pos x="connsiteX29489" y="connsiteY29489"/>
              </a:cxn>
              <a:cxn ang="0">
                <a:pos x="connsiteX29490" y="connsiteY29490"/>
              </a:cxn>
              <a:cxn ang="0">
                <a:pos x="connsiteX29491" y="connsiteY29491"/>
              </a:cxn>
              <a:cxn ang="0">
                <a:pos x="connsiteX29492" y="connsiteY29492"/>
              </a:cxn>
              <a:cxn ang="0">
                <a:pos x="connsiteX29493" y="connsiteY29493"/>
              </a:cxn>
              <a:cxn ang="0">
                <a:pos x="connsiteX29494" y="connsiteY29494"/>
              </a:cxn>
              <a:cxn ang="0">
                <a:pos x="connsiteX29495" y="connsiteY29495"/>
              </a:cxn>
              <a:cxn ang="0">
                <a:pos x="connsiteX29496" y="connsiteY29496"/>
              </a:cxn>
              <a:cxn ang="0">
                <a:pos x="connsiteX29497" y="connsiteY29497"/>
              </a:cxn>
              <a:cxn ang="0">
                <a:pos x="connsiteX29498" y="connsiteY29498"/>
              </a:cxn>
              <a:cxn ang="0">
                <a:pos x="connsiteX29499" y="connsiteY29499"/>
              </a:cxn>
              <a:cxn ang="0">
                <a:pos x="connsiteX29500" y="connsiteY29500"/>
              </a:cxn>
              <a:cxn ang="0">
                <a:pos x="connsiteX29501" y="connsiteY29501"/>
              </a:cxn>
              <a:cxn ang="0">
                <a:pos x="connsiteX29502" y="connsiteY29502"/>
              </a:cxn>
              <a:cxn ang="0">
                <a:pos x="connsiteX29503" y="connsiteY29503"/>
              </a:cxn>
              <a:cxn ang="0">
                <a:pos x="connsiteX29504" y="connsiteY29504"/>
              </a:cxn>
              <a:cxn ang="0">
                <a:pos x="connsiteX29505" y="connsiteY29505"/>
              </a:cxn>
              <a:cxn ang="0">
                <a:pos x="connsiteX29506" y="connsiteY29506"/>
              </a:cxn>
              <a:cxn ang="0">
                <a:pos x="connsiteX29507" y="connsiteY29507"/>
              </a:cxn>
              <a:cxn ang="0">
                <a:pos x="connsiteX29508" y="connsiteY29508"/>
              </a:cxn>
              <a:cxn ang="0">
                <a:pos x="connsiteX29509" y="connsiteY29509"/>
              </a:cxn>
              <a:cxn ang="0">
                <a:pos x="connsiteX29510" y="connsiteY29510"/>
              </a:cxn>
              <a:cxn ang="0">
                <a:pos x="connsiteX29511" y="connsiteY29511"/>
              </a:cxn>
              <a:cxn ang="0">
                <a:pos x="connsiteX29512" y="connsiteY29512"/>
              </a:cxn>
              <a:cxn ang="0">
                <a:pos x="connsiteX29513" y="connsiteY29513"/>
              </a:cxn>
              <a:cxn ang="0">
                <a:pos x="connsiteX29514" y="connsiteY29514"/>
              </a:cxn>
              <a:cxn ang="0">
                <a:pos x="connsiteX29515" y="connsiteY29515"/>
              </a:cxn>
              <a:cxn ang="0">
                <a:pos x="connsiteX29516" y="connsiteY29516"/>
              </a:cxn>
              <a:cxn ang="0">
                <a:pos x="connsiteX29517" y="connsiteY29517"/>
              </a:cxn>
              <a:cxn ang="0">
                <a:pos x="connsiteX29518" y="connsiteY29518"/>
              </a:cxn>
              <a:cxn ang="0">
                <a:pos x="connsiteX29519" y="connsiteY29519"/>
              </a:cxn>
              <a:cxn ang="0">
                <a:pos x="connsiteX29520" y="connsiteY29520"/>
              </a:cxn>
              <a:cxn ang="0">
                <a:pos x="connsiteX29521" y="connsiteY29521"/>
              </a:cxn>
              <a:cxn ang="0">
                <a:pos x="connsiteX29522" y="connsiteY29522"/>
              </a:cxn>
              <a:cxn ang="0">
                <a:pos x="connsiteX29523" y="connsiteY29523"/>
              </a:cxn>
              <a:cxn ang="0">
                <a:pos x="connsiteX29524" y="connsiteY29524"/>
              </a:cxn>
              <a:cxn ang="0">
                <a:pos x="connsiteX29525" y="connsiteY29525"/>
              </a:cxn>
              <a:cxn ang="0">
                <a:pos x="connsiteX29526" y="connsiteY29526"/>
              </a:cxn>
              <a:cxn ang="0">
                <a:pos x="connsiteX29527" y="connsiteY29527"/>
              </a:cxn>
              <a:cxn ang="0">
                <a:pos x="connsiteX29528" y="connsiteY29528"/>
              </a:cxn>
              <a:cxn ang="0">
                <a:pos x="connsiteX29529" y="connsiteY29529"/>
              </a:cxn>
              <a:cxn ang="0">
                <a:pos x="connsiteX29530" y="connsiteY29530"/>
              </a:cxn>
              <a:cxn ang="0">
                <a:pos x="connsiteX29531" y="connsiteY29531"/>
              </a:cxn>
              <a:cxn ang="0">
                <a:pos x="connsiteX29532" y="connsiteY29532"/>
              </a:cxn>
              <a:cxn ang="0">
                <a:pos x="connsiteX29533" y="connsiteY29533"/>
              </a:cxn>
              <a:cxn ang="0">
                <a:pos x="connsiteX29534" y="connsiteY29534"/>
              </a:cxn>
              <a:cxn ang="0">
                <a:pos x="connsiteX29535" y="connsiteY29535"/>
              </a:cxn>
              <a:cxn ang="0">
                <a:pos x="connsiteX29536" y="connsiteY29536"/>
              </a:cxn>
              <a:cxn ang="0">
                <a:pos x="connsiteX29537" y="connsiteY29537"/>
              </a:cxn>
              <a:cxn ang="0">
                <a:pos x="connsiteX29538" y="connsiteY29538"/>
              </a:cxn>
              <a:cxn ang="0">
                <a:pos x="connsiteX29539" y="connsiteY29539"/>
              </a:cxn>
              <a:cxn ang="0">
                <a:pos x="connsiteX29540" y="connsiteY29540"/>
              </a:cxn>
              <a:cxn ang="0">
                <a:pos x="connsiteX29541" y="connsiteY29541"/>
              </a:cxn>
              <a:cxn ang="0">
                <a:pos x="connsiteX29542" y="connsiteY29542"/>
              </a:cxn>
              <a:cxn ang="0">
                <a:pos x="connsiteX29543" y="connsiteY29543"/>
              </a:cxn>
              <a:cxn ang="0">
                <a:pos x="connsiteX29544" y="connsiteY29544"/>
              </a:cxn>
              <a:cxn ang="0">
                <a:pos x="connsiteX29545" y="connsiteY29545"/>
              </a:cxn>
              <a:cxn ang="0">
                <a:pos x="connsiteX29546" y="connsiteY29546"/>
              </a:cxn>
              <a:cxn ang="0">
                <a:pos x="connsiteX29547" y="connsiteY29547"/>
              </a:cxn>
              <a:cxn ang="0">
                <a:pos x="connsiteX29548" y="connsiteY29548"/>
              </a:cxn>
              <a:cxn ang="0">
                <a:pos x="connsiteX29549" y="connsiteY29549"/>
              </a:cxn>
              <a:cxn ang="0">
                <a:pos x="connsiteX29550" y="connsiteY29550"/>
              </a:cxn>
              <a:cxn ang="0">
                <a:pos x="connsiteX29551" y="connsiteY29551"/>
              </a:cxn>
              <a:cxn ang="0">
                <a:pos x="connsiteX29552" y="connsiteY29552"/>
              </a:cxn>
              <a:cxn ang="0">
                <a:pos x="connsiteX29553" y="connsiteY29553"/>
              </a:cxn>
              <a:cxn ang="0">
                <a:pos x="connsiteX29554" y="connsiteY29554"/>
              </a:cxn>
              <a:cxn ang="0">
                <a:pos x="connsiteX29555" y="connsiteY29555"/>
              </a:cxn>
              <a:cxn ang="0">
                <a:pos x="connsiteX29556" y="connsiteY29556"/>
              </a:cxn>
              <a:cxn ang="0">
                <a:pos x="connsiteX29557" y="connsiteY29557"/>
              </a:cxn>
              <a:cxn ang="0">
                <a:pos x="connsiteX29558" y="connsiteY29558"/>
              </a:cxn>
              <a:cxn ang="0">
                <a:pos x="connsiteX29559" y="connsiteY29559"/>
              </a:cxn>
              <a:cxn ang="0">
                <a:pos x="connsiteX29560" y="connsiteY29560"/>
              </a:cxn>
              <a:cxn ang="0">
                <a:pos x="connsiteX29561" y="connsiteY29561"/>
              </a:cxn>
              <a:cxn ang="0">
                <a:pos x="connsiteX29562" y="connsiteY29562"/>
              </a:cxn>
              <a:cxn ang="0">
                <a:pos x="connsiteX29563" y="connsiteY29563"/>
              </a:cxn>
              <a:cxn ang="0">
                <a:pos x="connsiteX29564" y="connsiteY29564"/>
              </a:cxn>
              <a:cxn ang="0">
                <a:pos x="connsiteX29565" y="connsiteY29565"/>
              </a:cxn>
              <a:cxn ang="0">
                <a:pos x="connsiteX29566" y="connsiteY29566"/>
              </a:cxn>
              <a:cxn ang="0">
                <a:pos x="connsiteX29567" y="connsiteY29567"/>
              </a:cxn>
              <a:cxn ang="0">
                <a:pos x="connsiteX29568" y="connsiteY29568"/>
              </a:cxn>
              <a:cxn ang="0">
                <a:pos x="connsiteX29569" y="connsiteY29569"/>
              </a:cxn>
              <a:cxn ang="0">
                <a:pos x="connsiteX29570" y="connsiteY29570"/>
              </a:cxn>
              <a:cxn ang="0">
                <a:pos x="connsiteX29571" y="connsiteY29571"/>
              </a:cxn>
              <a:cxn ang="0">
                <a:pos x="connsiteX29572" y="connsiteY29572"/>
              </a:cxn>
              <a:cxn ang="0">
                <a:pos x="connsiteX29573" y="connsiteY29573"/>
              </a:cxn>
              <a:cxn ang="0">
                <a:pos x="connsiteX29574" y="connsiteY29574"/>
              </a:cxn>
              <a:cxn ang="0">
                <a:pos x="connsiteX29575" y="connsiteY29575"/>
              </a:cxn>
              <a:cxn ang="0">
                <a:pos x="connsiteX29576" y="connsiteY29576"/>
              </a:cxn>
              <a:cxn ang="0">
                <a:pos x="connsiteX29577" y="connsiteY29577"/>
              </a:cxn>
              <a:cxn ang="0">
                <a:pos x="connsiteX29578" y="connsiteY29578"/>
              </a:cxn>
              <a:cxn ang="0">
                <a:pos x="connsiteX29579" y="connsiteY29579"/>
              </a:cxn>
              <a:cxn ang="0">
                <a:pos x="connsiteX29580" y="connsiteY29580"/>
              </a:cxn>
              <a:cxn ang="0">
                <a:pos x="connsiteX29581" y="connsiteY29581"/>
              </a:cxn>
              <a:cxn ang="0">
                <a:pos x="connsiteX29582" y="connsiteY29582"/>
              </a:cxn>
              <a:cxn ang="0">
                <a:pos x="connsiteX29583" y="connsiteY29583"/>
              </a:cxn>
              <a:cxn ang="0">
                <a:pos x="connsiteX29584" y="connsiteY29584"/>
              </a:cxn>
              <a:cxn ang="0">
                <a:pos x="connsiteX29585" y="connsiteY29585"/>
              </a:cxn>
              <a:cxn ang="0">
                <a:pos x="connsiteX29586" y="connsiteY29586"/>
              </a:cxn>
              <a:cxn ang="0">
                <a:pos x="connsiteX29587" y="connsiteY29587"/>
              </a:cxn>
              <a:cxn ang="0">
                <a:pos x="connsiteX29588" y="connsiteY29588"/>
              </a:cxn>
              <a:cxn ang="0">
                <a:pos x="connsiteX29589" y="connsiteY29589"/>
              </a:cxn>
              <a:cxn ang="0">
                <a:pos x="connsiteX29590" y="connsiteY29590"/>
              </a:cxn>
              <a:cxn ang="0">
                <a:pos x="connsiteX29591" y="connsiteY29591"/>
              </a:cxn>
              <a:cxn ang="0">
                <a:pos x="connsiteX29592" y="connsiteY29592"/>
              </a:cxn>
              <a:cxn ang="0">
                <a:pos x="connsiteX29593" y="connsiteY29593"/>
              </a:cxn>
              <a:cxn ang="0">
                <a:pos x="connsiteX29594" y="connsiteY29594"/>
              </a:cxn>
              <a:cxn ang="0">
                <a:pos x="connsiteX29595" y="connsiteY29595"/>
              </a:cxn>
              <a:cxn ang="0">
                <a:pos x="connsiteX29596" y="connsiteY29596"/>
              </a:cxn>
              <a:cxn ang="0">
                <a:pos x="connsiteX29597" y="connsiteY29597"/>
              </a:cxn>
              <a:cxn ang="0">
                <a:pos x="connsiteX29598" y="connsiteY29598"/>
              </a:cxn>
              <a:cxn ang="0">
                <a:pos x="connsiteX29599" y="connsiteY29599"/>
              </a:cxn>
              <a:cxn ang="0">
                <a:pos x="connsiteX29600" y="connsiteY29600"/>
              </a:cxn>
              <a:cxn ang="0">
                <a:pos x="connsiteX29601" y="connsiteY29601"/>
              </a:cxn>
              <a:cxn ang="0">
                <a:pos x="connsiteX29602" y="connsiteY29602"/>
              </a:cxn>
              <a:cxn ang="0">
                <a:pos x="connsiteX29603" y="connsiteY29603"/>
              </a:cxn>
              <a:cxn ang="0">
                <a:pos x="connsiteX29604" y="connsiteY29604"/>
              </a:cxn>
              <a:cxn ang="0">
                <a:pos x="connsiteX29605" y="connsiteY29605"/>
              </a:cxn>
              <a:cxn ang="0">
                <a:pos x="connsiteX29606" y="connsiteY29606"/>
              </a:cxn>
              <a:cxn ang="0">
                <a:pos x="connsiteX29607" y="connsiteY29607"/>
              </a:cxn>
              <a:cxn ang="0">
                <a:pos x="connsiteX29608" y="connsiteY29608"/>
              </a:cxn>
              <a:cxn ang="0">
                <a:pos x="connsiteX29609" y="connsiteY29609"/>
              </a:cxn>
              <a:cxn ang="0">
                <a:pos x="connsiteX29610" y="connsiteY29610"/>
              </a:cxn>
              <a:cxn ang="0">
                <a:pos x="connsiteX29611" y="connsiteY29611"/>
              </a:cxn>
              <a:cxn ang="0">
                <a:pos x="connsiteX29612" y="connsiteY29612"/>
              </a:cxn>
              <a:cxn ang="0">
                <a:pos x="connsiteX29613" y="connsiteY29613"/>
              </a:cxn>
              <a:cxn ang="0">
                <a:pos x="connsiteX29614" y="connsiteY29614"/>
              </a:cxn>
              <a:cxn ang="0">
                <a:pos x="connsiteX29615" y="connsiteY29615"/>
              </a:cxn>
              <a:cxn ang="0">
                <a:pos x="connsiteX29616" y="connsiteY29616"/>
              </a:cxn>
              <a:cxn ang="0">
                <a:pos x="connsiteX29617" y="connsiteY29617"/>
              </a:cxn>
              <a:cxn ang="0">
                <a:pos x="connsiteX29618" y="connsiteY29618"/>
              </a:cxn>
              <a:cxn ang="0">
                <a:pos x="connsiteX29619" y="connsiteY29619"/>
              </a:cxn>
              <a:cxn ang="0">
                <a:pos x="connsiteX29620" y="connsiteY29620"/>
              </a:cxn>
              <a:cxn ang="0">
                <a:pos x="connsiteX29621" y="connsiteY29621"/>
              </a:cxn>
              <a:cxn ang="0">
                <a:pos x="connsiteX29622" y="connsiteY29622"/>
              </a:cxn>
              <a:cxn ang="0">
                <a:pos x="connsiteX29623" y="connsiteY29623"/>
              </a:cxn>
              <a:cxn ang="0">
                <a:pos x="connsiteX29624" y="connsiteY29624"/>
              </a:cxn>
              <a:cxn ang="0">
                <a:pos x="connsiteX29625" y="connsiteY29625"/>
              </a:cxn>
              <a:cxn ang="0">
                <a:pos x="connsiteX29626" y="connsiteY29626"/>
              </a:cxn>
              <a:cxn ang="0">
                <a:pos x="connsiteX29627" y="connsiteY29627"/>
              </a:cxn>
              <a:cxn ang="0">
                <a:pos x="connsiteX29628" y="connsiteY29628"/>
              </a:cxn>
              <a:cxn ang="0">
                <a:pos x="connsiteX29629" y="connsiteY29629"/>
              </a:cxn>
              <a:cxn ang="0">
                <a:pos x="connsiteX29630" y="connsiteY29630"/>
              </a:cxn>
              <a:cxn ang="0">
                <a:pos x="connsiteX29631" y="connsiteY29631"/>
              </a:cxn>
              <a:cxn ang="0">
                <a:pos x="connsiteX29632" y="connsiteY29632"/>
              </a:cxn>
              <a:cxn ang="0">
                <a:pos x="connsiteX29633" y="connsiteY29633"/>
              </a:cxn>
              <a:cxn ang="0">
                <a:pos x="connsiteX29634" y="connsiteY29634"/>
              </a:cxn>
              <a:cxn ang="0">
                <a:pos x="connsiteX29635" y="connsiteY29635"/>
              </a:cxn>
              <a:cxn ang="0">
                <a:pos x="connsiteX29636" y="connsiteY29636"/>
              </a:cxn>
              <a:cxn ang="0">
                <a:pos x="connsiteX29637" y="connsiteY29637"/>
              </a:cxn>
              <a:cxn ang="0">
                <a:pos x="connsiteX29638" y="connsiteY29638"/>
              </a:cxn>
              <a:cxn ang="0">
                <a:pos x="connsiteX29639" y="connsiteY29639"/>
              </a:cxn>
              <a:cxn ang="0">
                <a:pos x="connsiteX29640" y="connsiteY29640"/>
              </a:cxn>
              <a:cxn ang="0">
                <a:pos x="connsiteX29641" y="connsiteY29641"/>
              </a:cxn>
              <a:cxn ang="0">
                <a:pos x="connsiteX29642" y="connsiteY29642"/>
              </a:cxn>
              <a:cxn ang="0">
                <a:pos x="connsiteX29643" y="connsiteY29643"/>
              </a:cxn>
              <a:cxn ang="0">
                <a:pos x="connsiteX29644" y="connsiteY29644"/>
              </a:cxn>
              <a:cxn ang="0">
                <a:pos x="connsiteX29645" y="connsiteY29645"/>
              </a:cxn>
              <a:cxn ang="0">
                <a:pos x="connsiteX29646" y="connsiteY29646"/>
              </a:cxn>
              <a:cxn ang="0">
                <a:pos x="connsiteX29647" y="connsiteY29647"/>
              </a:cxn>
              <a:cxn ang="0">
                <a:pos x="connsiteX29648" y="connsiteY29648"/>
              </a:cxn>
              <a:cxn ang="0">
                <a:pos x="connsiteX29649" y="connsiteY29649"/>
              </a:cxn>
              <a:cxn ang="0">
                <a:pos x="connsiteX29650" y="connsiteY29650"/>
              </a:cxn>
              <a:cxn ang="0">
                <a:pos x="connsiteX29651" y="connsiteY29651"/>
              </a:cxn>
              <a:cxn ang="0">
                <a:pos x="connsiteX29652" y="connsiteY29652"/>
              </a:cxn>
              <a:cxn ang="0">
                <a:pos x="connsiteX29653" y="connsiteY29653"/>
              </a:cxn>
              <a:cxn ang="0">
                <a:pos x="connsiteX29654" y="connsiteY29654"/>
              </a:cxn>
              <a:cxn ang="0">
                <a:pos x="connsiteX29655" y="connsiteY29655"/>
              </a:cxn>
              <a:cxn ang="0">
                <a:pos x="connsiteX29656" y="connsiteY29656"/>
              </a:cxn>
              <a:cxn ang="0">
                <a:pos x="connsiteX29657" y="connsiteY29657"/>
              </a:cxn>
              <a:cxn ang="0">
                <a:pos x="connsiteX29658" y="connsiteY29658"/>
              </a:cxn>
              <a:cxn ang="0">
                <a:pos x="connsiteX29659" y="connsiteY29659"/>
              </a:cxn>
              <a:cxn ang="0">
                <a:pos x="connsiteX29660" y="connsiteY29660"/>
              </a:cxn>
              <a:cxn ang="0">
                <a:pos x="connsiteX29661" y="connsiteY29661"/>
              </a:cxn>
              <a:cxn ang="0">
                <a:pos x="connsiteX29662" y="connsiteY29662"/>
              </a:cxn>
              <a:cxn ang="0">
                <a:pos x="connsiteX29663" y="connsiteY29663"/>
              </a:cxn>
              <a:cxn ang="0">
                <a:pos x="connsiteX29664" y="connsiteY29664"/>
              </a:cxn>
              <a:cxn ang="0">
                <a:pos x="connsiteX29665" y="connsiteY29665"/>
              </a:cxn>
              <a:cxn ang="0">
                <a:pos x="connsiteX29666" y="connsiteY29666"/>
              </a:cxn>
              <a:cxn ang="0">
                <a:pos x="connsiteX29667" y="connsiteY29667"/>
              </a:cxn>
              <a:cxn ang="0">
                <a:pos x="connsiteX29668" y="connsiteY29668"/>
              </a:cxn>
              <a:cxn ang="0">
                <a:pos x="connsiteX29669" y="connsiteY29669"/>
              </a:cxn>
              <a:cxn ang="0">
                <a:pos x="connsiteX29670" y="connsiteY29670"/>
              </a:cxn>
              <a:cxn ang="0">
                <a:pos x="connsiteX29671" y="connsiteY29671"/>
              </a:cxn>
              <a:cxn ang="0">
                <a:pos x="connsiteX29672" y="connsiteY29672"/>
              </a:cxn>
              <a:cxn ang="0">
                <a:pos x="connsiteX29673" y="connsiteY29673"/>
              </a:cxn>
              <a:cxn ang="0">
                <a:pos x="connsiteX29674" y="connsiteY29674"/>
              </a:cxn>
              <a:cxn ang="0">
                <a:pos x="connsiteX29675" y="connsiteY29675"/>
              </a:cxn>
              <a:cxn ang="0">
                <a:pos x="connsiteX29676" y="connsiteY29676"/>
              </a:cxn>
              <a:cxn ang="0">
                <a:pos x="connsiteX29677" y="connsiteY29677"/>
              </a:cxn>
              <a:cxn ang="0">
                <a:pos x="connsiteX29678" y="connsiteY29678"/>
              </a:cxn>
              <a:cxn ang="0">
                <a:pos x="connsiteX29679" y="connsiteY29679"/>
              </a:cxn>
              <a:cxn ang="0">
                <a:pos x="connsiteX29680" y="connsiteY29680"/>
              </a:cxn>
              <a:cxn ang="0">
                <a:pos x="connsiteX29681" y="connsiteY29681"/>
              </a:cxn>
              <a:cxn ang="0">
                <a:pos x="connsiteX29682" y="connsiteY29682"/>
              </a:cxn>
              <a:cxn ang="0">
                <a:pos x="connsiteX29683" y="connsiteY29683"/>
              </a:cxn>
              <a:cxn ang="0">
                <a:pos x="connsiteX29684" y="connsiteY29684"/>
              </a:cxn>
              <a:cxn ang="0">
                <a:pos x="connsiteX29685" y="connsiteY29685"/>
              </a:cxn>
              <a:cxn ang="0">
                <a:pos x="connsiteX29686" y="connsiteY29686"/>
              </a:cxn>
              <a:cxn ang="0">
                <a:pos x="connsiteX29687" y="connsiteY29687"/>
              </a:cxn>
              <a:cxn ang="0">
                <a:pos x="connsiteX29688" y="connsiteY29688"/>
              </a:cxn>
              <a:cxn ang="0">
                <a:pos x="connsiteX29689" y="connsiteY29689"/>
              </a:cxn>
              <a:cxn ang="0">
                <a:pos x="connsiteX29690" y="connsiteY29690"/>
              </a:cxn>
              <a:cxn ang="0">
                <a:pos x="connsiteX29691" y="connsiteY29691"/>
              </a:cxn>
              <a:cxn ang="0">
                <a:pos x="connsiteX29692" y="connsiteY29692"/>
              </a:cxn>
              <a:cxn ang="0">
                <a:pos x="connsiteX29693" y="connsiteY29693"/>
              </a:cxn>
              <a:cxn ang="0">
                <a:pos x="connsiteX29694" y="connsiteY29694"/>
              </a:cxn>
              <a:cxn ang="0">
                <a:pos x="connsiteX29695" y="connsiteY29695"/>
              </a:cxn>
              <a:cxn ang="0">
                <a:pos x="connsiteX29696" y="connsiteY29696"/>
              </a:cxn>
              <a:cxn ang="0">
                <a:pos x="connsiteX29697" y="connsiteY29697"/>
              </a:cxn>
              <a:cxn ang="0">
                <a:pos x="connsiteX29698" y="connsiteY29698"/>
              </a:cxn>
              <a:cxn ang="0">
                <a:pos x="connsiteX29699" y="connsiteY29699"/>
              </a:cxn>
              <a:cxn ang="0">
                <a:pos x="connsiteX29700" y="connsiteY29700"/>
              </a:cxn>
              <a:cxn ang="0">
                <a:pos x="connsiteX29701" y="connsiteY29701"/>
              </a:cxn>
              <a:cxn ang="0">
                <a:pos x="connsiteX29702" y="connsiteY29702"/>
              </a:cxn>
              <a:cxn ang="0">
                <a:pos x="connsiteX29703" y="connsiteY29703"/>
              </a:cxn>
              <a:cxn ang="0">
                <a:pos x="connsiteX29704" y="connsiteY29704"/>
              </a:cxn>
              <a:cxn ang="0">
                <a:pos x="connsiteX29705" y="connsiteY29705"/>
              </a:cxn>
              <a:cxn ang="0">
                <a:pos x="connsiteX29706" y="connsiteY29706"/>
              </a:cxn>
              <a:cxn ang="0">
                <a:pos x="connsiteX29707" y="connsiteY29707"/>
              </a:cxn>
              <a:cxn ang="0">
                <a:pos x="connsiteX29708" y="connsiteY29708"/>
              </a:cxn>
              <a:cxn ang="0">
                <a:pos x="connsiteX29709" y="connsiteY29709"/>
              </a:cxn>
              <a:cxn ang="0">
                <a:pos x="connsiteX29710" y="connsiteY29710"/>
              </a:cxn>
              <a:cxn ang="0">
                <a:pos x="connsiteX29711" y="connsiteY29711"/>
              </a:cxn>
              <a:cxn ang="0">
                <a:pos x="connsiteX29712" y="connsiteY29712"/>
              </a:cxn>
              <a:cxn ang="0">
                <a:pos x="connsiteX29713" y="connsiteY29713"/>
              </a:cxn>
              <a:cxn ang="0">
                <a:pos x="connsiteX29714" y="connsiteY29714"/>
              </a:cxn>
              <a:cxn ang="0">
                <a:pos x="connsiteX29715" y="connsiteY29715"/>
              </a:cxn>
              <a:cxn ang="0">
                <a:pos x="connsiteX29716" y="connsiteY29716"/>
              </a:cxn>
              <a:cxn ang="0">
                <a:pos x="connsiteX29717" y="connsiteY29717"/>
              </a:cxn>
              <a:cxn ang="0">
                <a:pos x="connsiteX29718" y="connsiteY29718"/>
              </a:cxn>
              <a:cxn ang="0">
                <a:pos x="connsiteX29719" y="connsiteY29719"/>
              </a:cxn>
              <a:cxn ang="0">
                <a:pos x="connsiteX29720" y="connsiteY29720"/>
              </a:cxn>
              <a:cxn ang="0">
                <a:pos x="connsiteX29721" y="connsiteY29721"/>
              </a:cxn>
              <a:cxn ang="0">
                <a:pos x="connsiteX29722" y="connsiteY29722"/>
              </a:cxn>
              <a:cxn ang="0">
                <a:pos x="connsiteX29723" y="connsiteY29723"/>
              </a:cxn>
              <a:cxn ang="0">
                <a:pos x="connsiteX29724" y="connsiteY29724"/>
              </a:cxn>
              <a:cxn ang="0">
                <a:pos x="connsiteX29725" y="connsiteY29725"/>
              </a:cxn>
              <a:cxn ang="0">
                <a:pos x="connsiteX29726" y="connsiteY29726"/>
              </a:cxn>
              <a:cxn ang="0">
                <a:pos x="connsiteX29727" y="connsiteY29727"/>
              </a:cxn>
              <a:cxn ang="0">
                <a:pos x="connsiteX29728" y="connsiteY29728"/>
              </a:cxn>
              <a:cxn ang="0">
                <a:pos x="connsiteX29729" y="connsiteY29729"/>
              </a:cxn>
              <a:cxn ang="0">
                <a:pos x="connsiteX29730" y="connsiteY29730"/>
              </a:cxn>
              <a:cxn ang="0">
                <a:pos x="connsiteX29731" y="connsiteY29731"/>
              </a:cxn>
              <a:cxn ang="0">
                <a:pos x="connsiteX29732" y="connsiteY29732"/>
              </a:cxn>
              <a:cxn ang="0">
                <a:pos x="connsiteX29733" y="connsiteY29733"/>
              </a:cxn>
              <a:cxn ang="0">
                <a:pos x="connsiteX29734" y="connsiteY29734"/>
              </a:cxn>
              <a:cxn ang="0">
                <a:pos x="connsiteX29735" y="connsiteY29735"/>
              </a:cxn>
              <a:cxn ang="0">
                <a:pos x="connsiteX29736" y="connsiteY29736"/>
              </a:cxn>
              <a:cxn ang="0">
                <a:pos x="connsiteX29737" y="connsiteY29737"/>
              </a:cxn>
              <a:cxn ang="0">
                <a:pos x="connsiteX29738" y="connsiteY29738"/>
              </a:cxn>
              <a:cxn ang="0">
                <a:pos x="connsiteX29739" y="connsiteY29739"/>
              </a:cxn>
              <a:cxn ang="0">
                <a:pos x="connsiteX29740" y="connsiteY29740"/>
              </a:cxn>
              <a:cxn ang="0">
                <a:pos x="connsiteX29741" y="connsiteY29741"/>
              </a:cxn>
              <a:cxn ang="0">
                <a:pos x="connsiteX29742" y="connsiteY29742"/>
              </a:cxn>
              <a:cxn ang="0">
                <a:pos x="connsiteX29743" y="connsiteY29743"/>
              </a:cxn>
              <a:cxn ang="0">
                <a:pos x="connsiteX29744" y="connsiteY29744"/>
              </a:cxn>
              <a:cxn ang="0">
                <a:pos x="connsiteX29745" y="connsiteY29745"/>
              </a:cxn>
              <a:cxn ang="0">
                <a:pos x="connsiteX29746" y="connsiteY29746"/>
              </a:cxn>
              <a:cxn ang="0">
                <a:pos x="connsiteX29747" y="connsiteY29747"/>
              </a:cxn>
              <a:cxn ang="0">
                <a:pos x="connsiteX29748" y="connsiteY29748"/>
              </a:cxn>
              <a:cxn ang="0">
                <a:pos x="connsiteX29749" y="connsiteY29749"/>
              </a:cxn>
              <a:cxn ang="0">
                <a:pos x="connsiteX29750" y="connsiteY29750"/>
              </a:cxn>
              <a:cxn ang="0">
                <a:pos x="connsiteX29751" y="connsiteY29751"/>
              </a:cxn>
              <a:cxn ang="0">
                <a:pos x="connsiteX29752" y="connsiteY29752"/>
              </a:cxn>
              <a:cxn ang="0">
                <a:pos x="connsiteX29753" y="connsiteY29753"/>
              </a:cxn>
              <a:cxn ang="0">
                <a:pos x="connsiteX29754" y="connsiteY29754"/>
              </a:cxn>
              <a:cxn ang="0">
                <a:pos x="connsiteX29755" y="connsiteY29755"/>
              </a:cxn>
              <a:cxn ang="0">
                <a:pos x="connsiteX29756" y="connsiteY29756"/>
              </a:cxn>
              <a:cxn ang="0">
                <a:pos x="connsiteX29757" y="connsiteY29757"/>
              </a:cxn>
              <a:cxn ang="0">
                <a:pos x="connsiteX29758" y="connsiteY29758"/>
              </a:cxn>
              <a:cxn ang="0">
                <a:pos x="connsiteX29759" y="connsiteY29759"/>
              </a:cxn>
              <a:cxn ang="0">
                <a:pos x="connsiteX29760" y="connsiteY29760"/>
              </a:cxn>
              <a:cxn ang="0">
                <a:pos x="connsiteX29761" y="connsiteY29761"/>
              </a:cxn>
              <a:cxn ang="0">
                <a:pos x="connsiteX29762" y="connsiteY29762"/>
              </a:cxn>
              <a:cxn ang="0">
                <a:pos x="connsiteX29763" y="connsiteY29763"/>
              </a:cxn>
              <a:cxn ang="0">
                <a:pos x="connsiteX29764" y="connsiteY29764"/>
              </a:cxn>
              <a:cxn ang="0">
                <a:pos x="connsiteX29765" y="connsiteY29765"/>
              </a:cxn>
              <a:cxn ang="0">
                <a:pos x="connsiteX29766" y="connsiteY29766"/>
              </a:cxn>
              <a:cxn ang="0">
                <a:pos x="connsiteX29767" y="connsiteY29767"/>
              </a:cxn>
              <a:cxn ang="0">
                <a:pos x="connsiteX29768" y="connsiteY29768"/>
              </a:cxn>
              <a:cxn ang="0">
                <a:pos x="connsiteX29769" y="connsiteY29769"/>
              </a:cxn>
              <a:cxn ang="0">
                <a:pos x="connsiteX29770" y="connsiteY29770"/>
              </a:cxn>
              <a:cxn ang="0">
                <a:pos x="connsiteX29771" y="connsiteY29771"/>
              </a:cxn>
              <a:cxn ang="0">
                <a:pos x="connsiteX29772" y="connsiteY29772"/>
              </a:cxn>
              <a:cxn ang="0">
                <a:pos x="connsiteX29773" y="connsiteY29773"/>
              </a:cxn>
              <a:cxn ang="0">
                <a:pos x="connsiteX29774" y="connsiteY29774"/>
              </a:cxn>
              <a:cxn ang="0">
                <a:pos x="connsiteX29775" y="connsiteY29775"/>
              </a:cxn>
              <a:cxn ang="0">
                <a:pos x="connsiteX29776" y="connsiteY29776"/>
              </a:cxn>
              <a:cxn ang="0">
                <a:pos x="connsiteX29777" y="connsiteY29777"/>
              </a:cxn>
              <a:cxn ang="0">
                <a:pos x="connsiteX29778" y="connsiteY29778"/>
              </a:cxn>
              <a:cxn ang="0">
                <a:pos x="connsiteX29779" y="connsiteY29779"/>
              </a:cxn>
              <a:cxn ang="0">
                <a:pos x="connsiteX29780" y="connsiteY29780"/>
              </a:cxn>
              <a:cxn ang="0">
                <a:pos x="connsiteX29781" y="connsiteY29781"/>
              </a:cxn>
              <a:cxn ang="0">
                <a:pos x="connsiteX29782" y="connsiteY29782"/>
              </a:cxn>
              <a:cxn ang="0">
                <a:pos x="connsiteX29783" y="connsiteY29783"/>
              </a:cxn>
              <a:cxn ang="0">
                <a:pos x="connsiteX29784" y="connsiteY29784"/>
              </a:cxn>
              <a:cxn ang="0">
                <a:pos x="connsiteX29785" y="connsiteY29785"/>
              </a:cxn>
              <a:cxn ang="0">
                <a:pos x="connsiteX29786" y="connsiteY29786"/>
              </a:cxn>
              <a:cxn ang="0">
                <a:pos x="connsiteX29787" y="connsiteY29787"/>
              </a:cxn>
              <a:cxn ang="0">
                <a:pos x="connsiteX29788" y="connsiteY29788"/>
              </a:cxn>
              <a:cxn ang="0">
                <a:pos x="connsiteX29789" y="connsiteY29789"/>
              </a:cxn>
              <a:cxn ang="0">
                <a:pos x="connsiteX29790" y="connsiteY29790"/>
              </a:cxn>
              <a:cxn ang="0">
                <a:pos x="connsiteX29791" y="connsiteY29791"/>
              </a:cxn>
              <a:cxn ang="0">
                <a:pos x="connsiteX29792" y="connsiteY29792"/>
              </a:cxn>
              <a:cxn ang="0">
                <a:pos x="connsiteX29793" y="connsiteY29793"/>
              </a:cxn>
              <a:cxn ang="0">
                <a:pos x="connsiteX29794" y="connsiteY29794"/>
              </a:cxn>
              <a:cxn ang="0">
                <a:pos x="connsiteX29795" y="connsiteY29795"/>
              </a:cxn>
              <a:cxn ang="0">
                <a:pos x="connsiteX29796" y="connsiteY29796"/>
              </a:cxn>
              <a:cxn ang="0">
                <a:pos x="connsiteX29797" y="connsiteY29797"/>
              </a:cxn>
              <a:cxn ang="0">
                <a:pos x="connsiteX29798" y="connsiteY29798"/>
              </a:cxn>
              <a:cxn ang="0">
                <a:pos x="connsiteX29799" y="connsiteY29799"/>
              </a:cxn>
              <a:cxn ang="0">
                <a:pos x="connsiteX29800" y="connsiteY29800"/>
              </a:cxn>
              <a:cxn ang="0">
                <a:pos x="connsiteX29801" y="connsiteY29801"/>
              </a:cxn>
              <a:cxn ang="0">
                <a:pos x="connsiteX29802" y="connsiteY29802"/>
              </a:cxn>
              <a:cxn ang="0">
                <a:pos x="connsiteX29803" y="connsiteY29803"/>
              </a:cxn>
              <a:cxn ang="0">
                <a:pos x="connsiteX29804" y="connsiteY29804"/>
              </a:cxn>
              <a:cxn ang="0">
                <a:pos x="connsiteX29805" y="connsiteY29805"/>
              </a:cxn>
              <a:cxn ang="0">
                <a:pos x="connsiteX29806" y="connsiteY29806"/>
              </a:cxn>
              <a:cxn ang="0">
                <a:pos x="connsiteX29807" y="connsiteY29807"/>
              </a:cxn>
              <a:cxn ang="0">
                <a:pos x="connsiteX29808" y="connsiteY29808"/>
              </a:cxn>
              <a:cxn ang="0">
                <a:pos x="connsiteX29809" y="connsiteY29809"/>
              </a:cxn>
              <a:cxn ang="0">
                <a:pos x="connsiteX29810" y="connsiteY29810"/>
              </a:cxn>
              <a:cxn ang="0">
                <a:pos x="connsiteX29811" y="connsiteY29811"/>
              </a:cxn>
              <a:cxn ang="0">
                <a:pos x="connsiteX29812" y="connsiteY29812"/>
              </a:cxn>
              <a:cxn ang="0">
                <a:pos x="connsiteX29813" y="connsiteY29813"/>
              </a:cxn>
              <a:cxn ang="0">
                <a:pos x="connsiteX29814" y="connsiteY29814"/>
              </a:cxn>
              <a:cxn ang="0">
                <a:pos x="connsiteX29815" y="connsiteY29815"/>
              </a:cxn>
              <a:cxn ang="0">
                <a:pos x="connsiteX29816" y="connsiteY29816"/>
              </a:cxn>
              <a:cxn ang="0">
                <a:pos x="connsiteX29817" y="connsiteY29817"/>
              </a:cxn>
              <a:cxn ang="0">
                <a:pos x="connsiteX29818" y="connsiteY29818"/>
              </a:cxn>
              <a:cxn ang="0">
                <a:pos x="connsiteX29819" y="connsiteY29819"/>
              </a:cxn>
              <a:cxn ang="0">
                <a:pos x="connsiteX29820" y="connsiteY29820"/>
              </a:cxn>
              <a:cxn ang="0">
                <a:pos x="connsiteX29821" y="connsiteY29821"/>
              </a:cxn>
              <a:cxn ang="0">
                <a:pos x="connsiteX29822" y="connsiteY29822"/>
              </a:cxn>
              <a:cxn ang="0">
                <a:pos x="connsiteX29823" y="connsiteY29823"/>
              </a:cxn>
              <a:cxn ang="0">
                <a:pos x="connsiteX29824" y="connsiteY29824"/>
              </a:cxn>
              <a:cxn ang="0">
                <a:pos x="connsiteX29825" y="connsiteY29825"/>
              </a:cxn>
              <a:cxn ang="0">
                <a:pos x="connsiteX29826" y="connsiteY29826"/>
              </a:cxn>
              <a:cxn ang="0">
                <a:pos x="connsiteX29827" y="connsiteY29827"/>
              </a:cxn>
              <a:cxn ang="0">
                <a:pos x="connsiteX29828" y="connsiteY29828"/>
              </a:cxn>
              <a:cxn ang="0">
                <a:pos x="connsiteX29829" y="connsiteY29829"/>
              </a:cxn>
              <a:cxn ang="0">
                <a:pos x="connsiteX29830" y="connsiteY29830"/>
              </a:cxn>
              <a:cxn ang="0">
                <a:pos x="connsiteX29831" y="connsiteY29831"/>
              </a:cxn>
              <a:cxn ang="0">
                <a:pos x="connsiteX29832" y="connsiteY29832"/>
              </a:cxn>
              <a:cxn ang="0">
                <a:pos x="connsiteX29833" y="connsiteY29833"/>
              </a:cxn>
              <a:cxn ang="0">
                <a:pos x="connsiteX29834" y="connsiteY29834"/>
              </a:cxn>
              <a:cxn ang="0">
                <a:pos x="connsiteX29835" y="connsiteY29835"/>
              </a:cxn>
              <a:cxn ang="0">
                <a:pos x="connsiteX29836" y="connsiteY29836"/>
              </a:cxn>
              <a:cxn ang="0">
                <a:pos x="connsiteX29837" y="connsiteY29837"/>
              </a:cxn>
              <a:cxn ang="0">
                <a:pos x="connsiteX29838" y="connsiteY29838"/>
              </a:cxn>
              <a:cxn ang="0">
                <a:pos x="connsiteX29839" y="connsiteY29839"/>
              </a:cxn>
              <a:cxn ang="0">
                <a:pos x="connsiteX29840" y="connsiteY29840"/>
              </a:cxn>
              <a:cxn ang="0">
                <a:pos x="connsiteX29841" y="connsiteY29841"/>
              </a:cxn>
              <a:cxn ang="0">
                <a:pos x="connsiteX29842" y="connsiteY29842"/>
              </a:cxn>
              <a:cxn ang="0">
                <a:pos x="connsiteX29843" y="connsiteY29843"/>
              </a:cxn>
              <a:cxn ang="0">
                <a:pos x="connsiteX29844" y="connsiteY29844"/>
              </a:cxn>
              <a:cxn ang="0">
                <a:pos x="connsiteX29845" y="connsiteY29845"/>
              </a:cxn>
              <a:cxn ang="0">
                <a:pos x="connsiteX29846" y="connsiteY29846"/>
              </a:cxn>
              <a:cxn ang="0">
                <a:pos x="connsiteX29847" y="connsiteY29847"/>
              </a:cxn>
              <a:cxn ang="0">
                <a:pos x="connsiteX29848" y="connsiteY29848"/>
              </a:cxn>
              <a:cxn ang="0">
                <a:pos x="connsiteX29849" y="connsiteY29849"/>
              </a:cxn>
              <a:cxn ang="0">
                <a:pos x="connsiteX29850" y="connsiteY29850"/>
              </a:cxn>
              <a:cxn ang="0">
                <a:pos x="connsiteX29851" y="connsiteY29851"/>
              </a:cxn>
              <a:cxn ang="0">
                <a:pos x="connsiteX29852" y="connsiteY29852"/>
              </a:cxn>
              <a:cxn ang="0">
                <a:pos x="connsiteX29853" y="connsiteY29853"/>
              </a:cxn>
              <a:cxn ang="0">
                <a:pos x="connsiteX29854" y="connsiteY29854"/>
              </a:cxn>
              <a:cxn ang="0">
                <a:pos x="connsiteX29855" y="connsiteY29855"/>
              </a:cxn>
              <a:cxn ang="0">
                <a:pos x="connsiteX29856" y="connsiteY29856"/>
              </a:cxn>
              <a:cxn ang="0">
                <a:pos x="connsiteX29857" y="connsiteY29857"/>
              </a:cxn>
              <a:cxn ang="0">
                <a:pos x="connsiteX29858" y="connsiteY29858"/>
              </a:cxn>
              <a:cxn ang="0">
                <a:pos x="connsiteX29859" y="connsiteY29859"/>
              </a:cxn>
              <a:cxn ang="0">
                <a:pos x="connsiteX29860" y="connsiteY29860"/>
              </a:cxn>
              <a:cxn ang="0">
                <a:pos x="connsiteX29861" y="connsiteY29861"/>
              </a:cxn>
              <a:cxn ang="0">
                <a:pos x="connsiteX29862" y="connsiteY29862"/>
              </a:cxn>
              <a:cxn ang="0">
                <a:pos x="connsiteX29863" y="connsiteY29863"/>
              </a:cxn>
              <a:cxn ang="0">
                <a:pos x="connsiteX29864" y="connsiteY29864"/>
              </a:cxn>
              <a:cxn ang="0">
                <a:pos x="connsiteX29865" y="connsiteY29865"/>
              </a:cxn>
              <a:cxn ang="0">
                <a:pos x="connsiteX29866" y="connsiteY29866"/>
              </a:cxn>
              <a:cxn ang="0">
                <a:pos x="connsiteX29867" y="connsiteY29867"/>
              </a:cxn>
              <a:cxn ang="0">
                <a:pos x="connsiteX29868" y="connsiteY29868"/>
              </a:cxn>
              <a:cxn ang="0">
                <a:pos x="connsiteX29869" y="connsiteY29869"/>
              </a:cxn>
              <a:cxn ang="0">
                <a:pos x="connsiteX29870" y="connsiteY29870"/>
              </a:cxn>
              <a:cxn ang="0">
                <a:pos x="connsiteX29871" y="connsiteY29871"/>
              </a:cxn>
              <a:cxn ang="0">
                <a:pos x="connsiteX29872" y="connsiteY29872"/>
              </a:cxn>
              <a:cxn ang="0">
                <a:pos x="connsiteX29873" y="connsiteY29873"/>
              </a:cxn>
              <a:cxn ang="0">
                <a:pos x="connsiteX29874" y="connsiteY29874"/>
              </a:cxn>
              <a:cxn ang="0">
                <a:pos x="connsiteX29875" y="connsiteY29875"/>
              </a:cxn>
              <a:cxn ang="0">
                <a:pos x="connsiteX29876" y="connsiteY29876"/>
              </a:cxn>
              <a:cxn ang="0">
                <a:pos x="connsiteX29877" y="connsiteY29877"/>
              </a:cxn>
              <a:cxn ang="0">
                <a:pos x="connsiteX29878" y="connsiteY29878"/>
              </a:cxn>
              <a:cxn ang="0">
                <a:pos x="connsiteX29879" y="connsiteY29879"/>
              </a:cxn>
              <a:cxn ang="0">
                <a:pos x="connsiteX29880" y="connsiteY29880"/>
              </a:cxn>
              <a:cxn ang="0">
                <a:pos x="connsiteX29881" y="connsiteY29881"/>
              </a:cxn>
              <a:cxn ang="0">
                <a:pos x="connsiteX29882" y="connsiteY29882"/>
              </a:cxn>
              <a:cxn ang="0">
                <a:pos x="connsiteX29883" y="connsiteY29883"/>
              </a:cxn>
              <a:cxn ang="0">
                <a:pos x="connsiteX29884" y="connsiteY29884"/>
              </a:cxn>
              <a:cxn ang="0">
                <a:pos x="connsiteX29885" y="connsiteY29885"/>
              </a:cxn>
              <a:cxn ang="0">
                <a:pos x="connsiteX29886" y="connsiteY29886"/>
              </a:cxn>
              <a:cxn ang="0">
                <a:pos x="connsiteX29887" y="connsiteY29887"/>
              </a:cxn>
              <a:cxn ang="0">
                <a:pos x="connsiteX29888" y="connsiteY29888"/>
              </a:cxn>
              <a:cxn ang="0">
                <a:pos x="connsiteX29889" y="connsiteY29889"/>
              </a:cxn>
              <a:cxn ang="0">
                <a:pos x="connsiteX29890" y="connsiteY29890"/>
              </a:cxn>
              <a:cxn ang="0">
                <a:pos x="connsiteX29891" y="connsiteY29891"/>
              </a:cxn>
              <a:cxn ang="0">
                <a:pos x="connsiteX29892" y="connsiteY29892"/>
              </a:cxn>
              <a:cxn ang="0">
                <a:pos x="connsiteX29893" y="connsiteY29893"/>
              </a:cxn>
              <a:cxn ang="0">
                <a:pos x="connsiteX29894" y="connsiteY29894"/>
              </a:cxn>
              <a:cxn ang="0">
                <a:pos x="connsiteX29895" y="connsiteY29895"/>
              </a:cxn>
              <a:cxn ang="0">
                <a:pos x="connsiteX29896" y="connsiteY29896"/>
              </a:cxn>
              <a:cxn ang="0">
                <a:pos x="connsiteX29897" y="connsiteY29897"/>
              </a:cxn>
              <a:cxn ang="0">
                <a:pos x="connsiteX29898" y="connsiteY29898"/>
              </a:cxn>
              <a:cxn ang="0">
                <a:pos x="connsiteX29899" y="connsiteY29899"/>
              </a:cxn>
              <a:cxn ang="0">
                <a:pos x="connsiteX29900" y="connsiteY29900"/>
              </a:cxn>
              <a:cxn ang="0">
                <a:pos x="connsiteX29901" y="connsiteY29901"/>
              </a:cxn>
              <a:cxn ang="0">
                <a:pos x="connsiteX29902" y="connsiteY29902"/>
              </a:cxn>
              <a:cxn ang="0">
                <a:pos x="connsiteX29903" y="connsiteY29903"/>
              </a:cxn>
              <a:cxn ang="0">
                <a:pos x="connsiteX29904" y="connsiteY29904"/>
              </a:cxn>
              <a:cxn ang="0">
                <a:pos x="connsiteX29905" y="connsiteY29905"/>
              </a:cxn>
              <a:cxn ang="0">
                <a:pos x="connsiteX29906" y="connsiteY29906"/>
              </a:cxn>
              <a:cxn ang="0">
                <a:pos x="connsiteX29907" y="connsiteY29907"/>
              </a:cxn>
              <a:cxn ang="0">
                <a:pos x="connsiteX29908" y="connsiteY29908"/>
              </a:cxn>
              <a:cxn ang="0">
                <a:pos x="connsiteX29909" y="connsiteY29909"/>
              </a:cxn>
              <a:cxn ang="0">
                <a:pos x="connsiteX29910" y="connsiteY29910"/>
              </a:cxn>
              <a:cxn ang="0">
                <a:pos x="connsiteX29911" y="connsiteY29911"/>
              </a:cxn>
              <a:cxn ang="0">
                <a:pos x="connsiteX29912" y="connsiteY29912"/>
              </a:cxn>
              <a:cxn ang="0">
                <a:pos x="connsiteX29913" y="connsiteY29913"/>
              </a:cxn>
              <a:cxn ang="0">
                <a:pos x="connsiteX29914" y="connsiteY29914"/>
              </a:cxn>
              <a:cxn ang="0">
                <a:pos x="connsiteX29915" y="connsiteY29915"/>
              </a:cxn>
              <a:cxn ang="0">
                <a:pos x="connsiteX29916" y="connsiteY29916"/>
              </a:cxn>
              <a:cxn ang="0">
                <a:pos x="connsiteX29917" y="connsiteY29917"/>
              </a:cxn>
              <a:cxn ang="0">
                <a:pos x="connsiteX29918" y="connsiteY29918"/>
              </a:cxn>
              <a:cxn ang="0">
                <a:pos x="connsiteX29919" y="connsiteY29919"/>
              </a:cxn>
              <a:cxn ang="0">
                <a:pos x="connsiteX29920" y="connsiteY29920"/>
              </a:cxn>
              <a:cxn ang="0">
                <a:pos x="connsiteX29921" y="connsiteY29921"/>
              </a:cxn>
              <a:cxn ang="0">
                <a:pos x="connsiteX29922" y="connsiteY29922"/>
              </a:cxn>
              <a:cxn ang="0">
                <a:pos x="connsiteX29923" y="connsiteY29923"/>
              </a:cxn>
              <a:cxn ang="0">
                <a:pos x="connsiteX29924" y="connsiteY29924"/>
              </a:cxn>
              <a:cxn ang="0">
                <a:pos x="connsiteX29925" y="connsiteY29925"/>
              </a:cxn>
              <a:cxn ang="0">
                <a:pos x="connsiteX29926" y="connsiteY29926"/>
              </a:cxn>
              <a:cxn ang="0">
                <a:pos x="connsiteX29927" y="connsiteY29927"/>
              </a:cxn>
              <a:cxn ang="0">
                <a:pos x="connsiteX29928" y="connsiteY29928"/>
              </a:cxn>
              <a:cxn ang="0">
                <a:pos x="connsiteX29929" y="connsiteY29929"/>
              </a:cxn>
              <a:cxn ang="0">
                <a:pos x="connsiteX29930" y="connsiteY29930"/>
              </a:cxn>
              <a:cxn ang="0">
                <a:pos x="connsiteX29931" y="connsiteY29931"/>
              </a:cxn>
              <a:cxn ang="0">
                <a:pos x="connsiteX29932" y="connsiteY29932"/>
              </a:cxn>
              <a:cxn ang="0">
                <a:pos x="connsiteX29933" y="connsiteY29933"/>
              </a:cxn>
              <a:cxn ang="0">
                <a:pos x="connsiteX29934" y="connsiteY29934"/>
              </a:cxn>
              <a:cxn ang="0">
                <a:pos x="connsiteX29935" y="connsiteY29935"/>
              </a:cxn>
              <a:cxn ang="0">
                <a:pos x="connsiteX29936" y="connsiteY29936"/>
              </a:cxn>
              <a:cxn ang="0">
                <a:pos x="connsiteX29937" y="connsiteY29937"/>
              </a:cxn>
              <a:cxn ang="0">
                <a:pos x="connsiteX29938" y="connsiteY29938"/>
              </a:cxn>
              <a:cxn ang="0">
                <a:pos x="connsiteX29939" y="connsiteY29939"/>
              </a:cxn>
              <a:cxn ang="0">
                <a:pos x="connsiteX29940" y="connsiteY29940"/>
              </a:cxn>
              <a:cxn ang="0">
                <a:pos x="connsiteX29941" y="connsiteY29941"/>
              </a:cxn>
              <a:cxn ang="0">
                <a:pos x="connsiteX29942" y="connsiteY29942"/>
              </a:cxn>
              <a:cxn ang="0">
                <a:pos x="connsiteX29943" y="connsiteY29943"/>
              </a:cxn>
              <a:cxn ang="0">
                <a:pos x="connsiteX29944" y="connsiteY29944"/>
              </a:cxn>
              <a:cxn ang="0">
                <a:pos x="connsiteX29945" y="connsiteY29945"/>
              </a:cxn>
              <a:cxn ang="0">
                <a:pos x="connsiteX29946" y="connsiteY29946"/>
              </a:cxn>
              <a:cxn ang="0">
                <a:pos x="connsiteX29947" y="connsiteY29947"/>
              </a:cxn>
              <a:cxn ang="0">
                <a:pos x="connsiteX29948" y="connsiteY29948"/>
              </a:cxn>
              <a:cxn ang="0">
                <a:pos x="connsiteX29949" y="connsiteY29949"/>
              </a:cxn>
              <a:cxn ang="0">
                <a:pos x="connsiteX29950" y="connsiteY29950"/>
              </a:cxn>
              <a:cxn ang="0">
                <a:pos x="connsiteX29951" y="connsiteY29951"/>
              </a:cxn>
              <a:cxn ang="0">
                <a:pos x="connsiteX29952" y="connsiteY29952"/>
              </a:cxn>
              <a:cxn ang="0">
                <a:pos x="connsiteX29953" y="connsiteY29953"/>
              </a:cxn>
              <a:cxn ang="0">
                <a:pos x="connsiteX29954" y="connsiteY29954"/>
              </a:cxn>
              <a:cxn ang="0">
                <a:pos x="connsiteX29955" y="connsiteY29955"/>
              </a:cxn>
              <a:cxn ang="0">
                <a:pos x="connsiteX29956" y="connsiteY29956"/>
              </a:cxn>
              <a:cxn ang="0">
                <a:pos x="connsiteX29957" y="connsiteY29957"/>
              </a:cxn>
              <a:cxn ang="0">
                <a:pos x="connsiteX29958" y="connsiteY29958"/>
              </a:cxn>
              <a:cxn ang="0">
                <a:pos x="connsiteX29959" y="connsiteY29959"/>
              </a:cxn>
              <a:cxn ang="0">
                <a:pos x="connsiteX29960" y="connsiteY29960"/>
              </a:cxn>
              <a:cxn ang="0">
                <a:pos x="connsiteX29961" y="connsiteY29961"/>
              </a:cxn>
              <a:cxn ang="0">
                <a:pos x="connsiteX29962" y="connsiteY29962"/>
              </a:cxn>
              <a:cxn ang="0">
                <a:pos x="connsiteX29963" y="connsiteY29963"/>
              </a:cxn>
              <a:cxn ang="0">
                <a:pos x="connsiteX29964" y="connsiteY29964"/>
              </a:cxn>
              <a:cxn ang="0">
                <a:pos x="connsiteX29965" y="connsiteY29965"/>
              </a:cxn>
              <a:cxn ang="0">
                <a:pos x="connsiteX29966" y="connsiteY29966"/>
              </a:cxn>
              <a:cxn ang="0">
                <a:pos x="connsiteX29967" y="connsiteY29967"/>
              </a:cxn>
              <a:cxn ang="0">
                <a:pos x="connsiteX29968" y="connsiteY29968"/>
              </a:cxn>
              <a:cxn ang="0">
                <a:pos x="connsiteX29969" y="connsiteY29969"/>
              </a:cxn>
              <a:cxn ang="0">
                <a:pos x="connsiteX29970" y="connsiteY29970"/>
              </a:cxn>
              <a:cxn ang="0">
                <a:pos x="connsiteX29971" y="connsiteY29971"/>
              </a:cxn>
              <a:cxn ang="0">
                <a:pos x="connsiteX29972" y="connsiteY29972"/>
              </a:cxn>
              <a:cxn ang="0">
                <a:pos x="connsiteX29973" y="connsiteY29973"/>
              </a:cxn>
              <a:cxn ang="0">
                <a:pos x="connsiteX29974" y="connsiteY29974"/>
              </a:cxn>
              <a:cxn ang="0">
                <a:pos x="connsiteX29975" y="connsiteY29975"/>
              </a:cxn>
              <a:cxn ang="0">
                <a:pos x="connsiteX29976" y="connsiteY29976"/>
              </a:cxn>
              <a:cxn ang="0">
                <a:pos x="connsiteX29977" y="connsiteY29977"/>
              </a:cxn>
              <a:cxn ang="0">
                <a:pos x="connsiteX29978" y="connsiteY29978"/>
              </a:cxn>
              <a:cxn ang="0">
                <a:pos x="connsiteX29979" y="connsiteY29979"/>
              </a:cxn>
              <a:cxn ang="0">
                <a:pos x="connsiteX29980" y="connsiteY29980"/>
              </a:cxn>
              <a:cxn ang="0">
                <a:pos x="connsiteX29981" y="connsiteY29981"/>
              </a:cxn>
              <a:cxn ang="0">
                <a:pos x="connsiteX29982" y="connsiteY29982"/>
              </a:cxn>
              <a:cxn ang="0">
                <a:pos x="connsiteX29983" y="connsiteY29983"/>
              </a:cxn>
              <a:cxn ang="0">
                <a:pos x="connsiteX29984" y="connsiteY29984"/>
              </a:cxn>
              <a:cxn ang="0">
                <a:pos x="connsiteX29985" y="connsiteY29985"/>
              </a:cxn>
              <a:cxn ang="0">
                <a:pos x="connsiteX29986" y="connsiteY29986"/>
              </a:cxn>
              <a:cxn ang="0">
                <a:pos x="connsiteX29987" y="connsiteY29987"/>
              </a:cxn>
              <a:cxn ang="0">
                <a:pos x="connsiteX29988" y="connsiteY29988"/>
              </a:cxn>
              <a:cxn ang="0">
                <a:pos x="connsiteX29989" y="connsiteY29989"/>
              </a:cxn>
              <a:cxn ang="0">
                <a:pos x="connsiteX29990" y="connsiteY29990"/>
              </a:cxn>
              <a:cxn ang="0">
                <a:pos x="connsiteX29991" y="connsiteY29991"/>
              </a:cxn>
              <a:cxn ang="0">
                <a:pos x="connsiteX29992" y="connsiteY29992"/>
              </a:cxn>
              <a:cxn ang="0">
                <a:pos x="connsiteX29993" y="connsiteY29993"/>
              </a:cxn>
              <a:cxn ang="0">
                <a:pos x="connsiteX29994" y="connsiteY29994"/>
              </a:cxn>
              <a:cxn ang="0">
                <a:pos x="connsiteX29995" y="connsiteY29995"/>
              </a:cxn>
              <a:cxn ang="0">
                <a:pos x="connsiteX29996" y="connsiteY29996"/>
              </a:cxn>
              <a:cxn ang="0">
                <a:pos x="connsiteX29997" y="connsiteY29997"/>
              </a:cxn>
              <a:cxn ang="0">
                <a:pos x="connsiteX29998" y="connsiteY29998"/>
              </a:cxn>
              <a:cxn ang="0">
                <a:pos x="connsiteX29999" y="connsiteY29999"/>
              </a:cxn>
              <a:cxn ang="0">
                <a:pos x="connsiteX30000" y="connsiteY30000"/>
              </a:cxn>
              <a:cxn ang="0">
                <a:pos x="connsiteX30001" y="connsiteY30001"/>
              </a:cxn>
              <a:cxn ang="0">
                <a:pos x="connsiteX30002" y="connsiteY30002"/>
              </a:cxn>
              <a:cxn ang="0">
                <a:pos x="connsiteX30003" y="connsiteY30003"/>
              </a:cxn>
              <a:cxn ang="0">
                <a:pos x="connsiteX30004" y="connsiteY30004"/>
              </a:cxn>
              <a:cxn ang="0">
                <a:pos x="connsiteX30005" y="connsiteY30005"/>
              </a:cxn>
              <a:cxn ang="0">
                <a:pos x="connsiteX30006" y="connsiteY30006"/>
              </a:cxn>
              <a:cxn ang="0">
                <a:pos x="connsiteX30007" y="connsiteY30007"/>
              </a:cxn>
              <a:cxn ang="0">
                <a:pos x="connsiteX30008" y="connsiteY30008"/>
              </a:cxn>
              <a:cxn ang="0">
                <a:pos x="connsiteX30009" y="connsiteY30009"/>
              </a:cxn>
              <a:cxn ang="0">
                <a:pos x="connsiteX30010" y="connsiteY30010"/>
              </a:cxn>
              <a:cxn ang="0">
                <a:pos x="connsiteX30011" y="connsiteY30011"/>
              </a:cxn>
              <a:cxn ang="0">
                <a:pos x="connsiteX30012" y="connsiteY30012"/>
              </a:cxn>
              <a:cxn ang="0">
                <a:pos x="connsiteX30013" y="connsiteY30013"/>
              </a:cxn>
              <a:cxn ang="0">
                <a:pos x="connsiteX30014" y="connsiteY30014"/>
              </a:cxn>
              <a:cxn ang="0">
                <a:pos x="connsiteX30015" y="connsiteY30015"/>
              </a:cxn>
              <a:cxn ang="0">
                <a:pos x="connsiteX30016" y="connsiteY30016"/>
              </a:cxn>
              <a:cxn ang="0">
                <a:pos x="connsiteX30017" y="connsiteY30017"/>
              </a:cxn>
              <a:cxn ang="0">
                <a:pos x="connsiteX30018" y="connsiteY30018"/>
              </a:cxn>
              <a:cxn ang="0">
                <a:pos x="connsiteX30019" y="connsiteY30019"/>
              </a:cxn>
              <a:cxn ang="0">
                <a:pos x="connsiteX30020" y="connsiteY30020"/>
              </a:cxn>
              <a:cxn ang="0">
                <a:pos x="connsiteX30021" y="connsiteY30021"/>
              </a:cxn>
              <a:cxn ang="0">
                <a:pos x="connsiteX30022" y="connsiteY30022"/>
              </a:cxn>
              <a:cxn ang="0">
                <a:pos x="connsiteX30023" y="connsiteY30023"/>
              </a:cxn>
              <a:cxn ang="0">
                <a:pos x="connsiteX30024" y="connsiteY30024"/>
              </a:cxn>
              <a:cxn ang="0">
                <a:pos x="connsiteX30025" y="connsiteY30025"/>
              </a:cxn>
              <a:cxn ang="0">
                <a:pos x="connsiteX30026" y="connsiteY30026"/>
              </a:cxn>
              <a:cxn ang="0">
                <a:pos x="connsiteX30027" y="connsiteY30027"/>
              </a:cxn>
              <a:cxn ang="0">
                <a:pos x="connsiteX30028" y="connsiteY30028"/>
              </a:cxn>
              <a:cxn ang="0">
                <a:pos x="connsiteX30029" y="connsiteY30029"/>
              </a:cxn>
              <a:cxn ang="0">
                <a:pos x="connsiteX30030" y="connsiteY30030"/>
              </a:cxn>
              <a:cxn ang="0">
                <a:pos x="connsiteX30031" y="connsiteY30031"/>
              </a:cxn>
              <a:cxn ang="0">
                <a:pos x="connsiteX30032" y="connsiteY30032"/>
              </a:cxn>
              <a:cxn ang="0">
                <a:pos x="connsiteX30033" y="connsiteY30033"/>
              </a:cxn>
              <a:cxn ang="0">
                <a:pos x="connsiteX30034" y="connsiteY30034"/>
              </a:cxn>
              <a:cxn ang="0">
                <a:pos x="connsiteX30035" y="connsiteY30035"/>
              </a:cxn>
              <a:cxn ang="0">
                <a:pos x="connsiteX30036" y="connsiteY30036"/>
              </a:cxn>
              <a:cxn ang="0">
                <a:pos x="connsiteX30037" y="connsiteY30037"/>
              </a:cxn>
              <a:cxn ang="0">
                <a:pos x="connsiteX30038" y="connsiteY30038"/>
              </a:cxn>
              <a:cxn ang="0">
                <a:pos x="connsiteX30039" y="connsiteY30039"/>
              </a:cxn>
              <a:cxn ang="0">
                <a:pos x="connsiteX30040" y="connsiteY30040"/>
              </a:cxn>
              <a:cxn ang="0">
                <a:pos x="connsiteX30041" y="connsiteY30041"/>
              </a:cxn>
              <a:cxn ang="0">
                <a:pos x="connsiteX30042" y="connsiteY30042"/>
              </a:cxn>
              <a:cxn ang="0">
                <a:pos x="connsiteX30043" y="connsiteY30043"/>
              </a:cxn>
              <a:cxn ang="0">
                <a:pos x="connsiteX30044" y="connsiteY30044"/>
              </a:cxn>
              <a:cxn ang="0">
                <a:pos x="connsiteX30045" y="connsiteY30045"/>
              </a:cxn>
              <a:cxn ang="0">
                <a:pos x="connsiteX30046" y="connsiteY30046"/>
              </a:cxn>
              <a:cxn ang="0">
                <a:pos x="connsiteX30047" y="connsiteY30047"/>
              </a:cxn>
              <a:cxn ang="0">
                <a:pos x="connsiteX30048" y="connsiteY30048"/>
              </a:cxn>
              <a:cxn ang="0">
                <a:pos x="connsiteX30049" y="connsiteY30049"/>
              </a:cxn>
              <a:cxn ang="0">
                <a:pos x="connsiteX30050" y="connsiteY30050"/>
              </a:cxn>
              <a:cxn ang="0">
                <a:pos x="connsiteX30051" y="connsiteY30051"/>
              </a:cxn>
              <a:cxn ang="0">
                <a:pos x="connsiteX30052" y="connsiteY30052"/>
              </a:cxn>
              <a:cxn ang="0">
                <a:pos x="connsiteX30053" y="connsiteY30053"/>
              </a:cxn>
              <a:cxn ang="0">
                <a:pos x="connsiteX30054" y="connsiteY30054"/>
              </a:cxn>
              <a:cxn ang="0">
                <a:pos x="connsiteX30055" y="connsiteY30055"/>
              </a:cxn>
              <a:cxn ang="0">
                <a:pos x="connsiteX30056" y="connsiteY30056"/>
              </a:cxn>
              <a:cxn ang="0">
                <a:pos x="connsiteX30057" y="connsiteY30057"/>
              </a:cxn>
              <a:cxn ang="0">
                <a:pos x="connsiteX30058" y="connsiteY30058"/>
              </a:cxn>
              <a:cxn ang="0">
                <a:pos x="connsiteX30059" y="connsiteY30059"/>
              </a:cxn>
              <a:cxn ang="0">
                <a:pos x="connsiteX30060" y="connsiteY30060"/>
              </a:cxn>
              <a:cxn ang="0">
                <a:pos x="connsiteX30061" y="connsiteY30061"/>
              </a:cxn>
              <a:cxn ang="0">
                <a:pos x="connsiteX30062" y="connsiteY30062"/>
              </a:cxn>
              <a:cxn ang="0">
                <a:pos x="connsiteX30063" y="connsiteY30063"/>
              </a:cxn>
              <a:cxn ang="0">
                <a:pos x="connsiteX30064" y="connsiteY30064"/>
              </a:cxn>
              <a:cxn ang="0">
                <a:pos x="connsiteX30065" y="connsiteY30065"/>
              </a:cxn>
              <a:cxn ang="0">
                <a:pos x="connsiteX30066" y="connsiteY30066"/>
              </a:cxn>
              <a:cxn ang="0">
                <a:pos x="connsiteX30067" y="connsiteY30067"/>
              </a:cxn>
              <a:cxn ang="0">
                <a:pos x="connsiteX30068" y="connsiteY30068"/>
              </a:cxn>
              <a:cxn ang="0">
                <a:pos x="connsiteX30069" y="connsiteY30069"/>
              </a:cxn>
              <a:cxn ang="0">
                <a:pos x="connsiteX30070" y="connsiteY30070"/>
              </a:cxn>
              <a:cxn ang="0">
                <a:pos x="connsiteX30071" y="connsiteY30071"/>
              </a:cxn>
              <a:cxn ang="0">
                <a:pos x="connsiteX30072" y="connsiteY30072"/>
              </a:cxn>
              <a:cxn ang="0">
                <a:pos x="connsiteX30073" y="connsiteY30073"/>
              </a:cxn>
              <a:cxn ang="0">
                <a:pos x="connsiteX30074" y="connsiteY30074"/>
              </a:cxn>
              <a:cxn ang="0">
                <a:pos x="connsiteX30075" y="connsiteY30075"/>
              </a:cxn>
              <a:cxn ang="0">
                <a:pos x="connsiteX30076" y="connsiteY30076"/>
              </a:cxn>
              <a:cxn ang="0">
                <a:pos x="connsiteX30077" y="connsiteY30077"/>
              </a:cxn>
              <a:cxn ang="0">
                <a:pos x="connsiteX30078" y="connsiteY30078"/>
              </a:cxn>
              <a:cxn ang="0">
                <a:pos x="connsiteX30079" y="connsiteY30079"/>
              </a:cxn>
              <a:cxn ang="0">
                <a:pos x="connsiteX30080" y="connsiteY30080"/>
              </a:cxn>
              <a:cxn ang="0">
                <a:pos x="connsiteX30081" y="connsiteY30081"/>
              </a:cxn>
              <a:cxn ang="0">
                <a:pos x="connsiteX30082" y="connsiteY30082"/>
              </a:cxn>
              <a:cxn ang="0">
                <a:pos x="connsiteX30083" y="connsiteY30083"/>
              </a:cxn>
              <a:cxn ang="0">
                <a:pos x="connsiteX30084" y="connsiteY30084"/>
              </a:cxn>
              <a:cxn ang="0">
                <a:pos x="connsiteX30085" y="connsiteY30085"/>
              </a:cxn>
              <a:cxn ang="0">
                <a:pos x="connsiteX30086" y="connsiteY30086"/>
              </a:cxn>
              <a:cxn ang="0">
                <a:pos x="connsiteX30087" y="connsiteY30087"/>
              </a:cxn>
              <a:cxn ang="0">
                <a:pos x="connsiteX30088" y="connsiteY30088"/>
              </a:cxn>
              <a:cxn ang="0">
                <a:pos x="connsiteX30089" y="connsiteY30089"/>
              </a:cxn>
              <a:cxn ang="0">
                <a:pos x="connsiteX30090" y="connsiteY30090"/>
              </a:cxn>
              <a:cxn ang="0">
                <a:pos x="connsiteX30091" y="connsiteY30091"/>
              </a:cxn>
              <a:cxn ang="0">
                <a:pos x="connsiteX30092" y="connsiteY30092"/>
              </a:cxn>
              <a:cxn ang="0">
                <a:pos x="connsiteX30093" y="connsiteY30093"/>
              </a:cxn>
              <a:cxn ang="0">
                <a:pos x="connsiteX30094" y="connsiteY30094"/>
              </a:cxn>
              <a:cxn ang="0">
                <a:pos x="connsiteX30095" y="connsiteY30095"/>
              </a:cxn>
              <a:cxn ang="0">
                <a:pos x="connsiteX30096" y="connsiteY30096"/>
              </a:cxn>
              <a:cxn ang="0">
                <a:pos x="connsiteX30097" y="connsiteY30097"/>
              </a:cxn>
              <a:cxn ang="0">
                <a:pos x="connsiteX30098" y="connsiteY30098"/>
              </a:cxn>
              <a:cxn ang="0">
                <a:pos x="connsiteX30099" y="connsiteY30099"/>
              </a:cxn>
              <a:cxn ang="0">
                <a:pos x="connsiteX30100" y="connsiteY30100"/>
              </a:cxn>
              <a:cxn ang="0">
                <a:pos x="connsiteX30101" y="connsiteY30101"/>
              </a:cxn>
              <a:cxn ang="0">
                <a:pos x="connsiteX30102" y="connsiteY30102"/>
              </a:cxn>
              <a:cxn ang="0">
                <a:pos x="connsiteX30103" y="connsiteY30103"/>
              </a:cxn>
              <a:cxn ang="0">
                <a:pos x="connsiteX30104" y="connsiteY30104"/>
              </a:cxn>
              <a:cxn ang="0">
                <a:pos x="connsiteX30105" y="connsiteY30105"/>
              </a:cxn>
              <a:cxn ang="0">
                <a:pos x="connsiteX30106" y="connsiteY30106"/>
              </a:cxn>
              <a:cxn ang="0">
                <a:pos x="connsiteX30107" y="connsiteY30107"/>
              </a:cxn>
              <a:cxn ang="0">
                <a:pos x="connsiteX30108" y="connsiteY30108"/>
              </a:cxn>
              <a:cxn ang="0">
                <a:pos x="connsiteX30109" y="connsiteY30109"/>
              </a:cxn>
              <a:cxn ang="0">
                <a:pos x="connsiteX30110" y="connsiteY30110"/>
              </a:cxn>
              <a:cxn ang="0">
                <a:pos x="connsiteX30111" y="connsiteY30111"/>
              </a:cxn>
              <a:cxn ang="0">
                <a:pos x="connsiteX30112" y="connsiteY30112"/>
              </a:cxn>
              <a:cxn ang="0">
                <a:pos x="connsiteX30113" y="connsiteY30113"/>
              </a:cxn>
              <a:cxn ang="0">
                <a:pos x="connsiteX30114" y="connsiteY30114"/>
              </a:cxn>
              <a:cxn ang="0">
                <a:pos x="connsiteX30115" y="connsiteY30115"/>
              </a:cxn>
              <a:cxn ang="0">
                <a:pos x="connsiteX30116" y="connsiteY30116"/>
              </a:cxn>
              <a:cxn ang="0">
                <a:pos x="connsiteX30117" y="connsiteY30117"/>
              </a:cxn>
              <a:cxn ang="0">
                <a:pos x="connsiteX30118" y="connsiteY30118"/>
              </a:cxn>
              <a:cxn ang="0">
                <a:pos x="connsiteX30119" y="connsiteY30119"/>
              </a:cxn>
              <a:cxn ang="0">
                <a:pos x="connsiteX30120" y="connsiteY30120"/>
              </a:cxn>
              <a:cxn ang="0">
                <a:pos x="connsiteX30121" y="connsiteY30121"/>
              </a:cxn>
              <a:cxn ang="0">
                <a:pos x="connsiteX30122" y="connsiteY30122"/>
              </a:cxn>
              <a:cxn ang="0">
                <a:pos x="connsiteX30123" y="connsiteY30123"/>
              </a:cxn>
              <a:cxn ang="0">
                <a:pos x="connsiteX30124" y="connsiteY30124"/>
              </a:cxn>
              <a:cxn ang="0">
                <a:pos x="connsiteX30125" y="connsiteY30125"/>
              </a:cxn>
              <a:cxn ang="0">
                <a:pos x="connsiteX30126" y="connsiteY30126"/>
              </a:cxn>
              <a:cxn ang="0">
                <a:pos x="connsiteX30127" y="connsiteY30127"/>
              </a:cxn>
              <a:cxn ang="0">
                <a:pos x="connsiteX30128" y="connsiteY30128"/>
              </a:cxn>
              <a:cxn ang="0">
                <a:pos x="connsiteX30129" y="connsiteY30129"/>
              </a:cxn>
              <a:cxn ang="0">
                <a:pos x="connsiteX30130" y="connsiteY30130"/>
              </a:cxn>
              <a:cxn ang="0">
                <a:pos x="connsiteX30131" y="connsiteY30131"/>
              </a:cxn>
              <a:cxn ang="0">
                <a:pos x="connsiteX30132" y="connsiteY30132"/>
              </a:cxn>
              <a:cxn ang="0">
                <a:pos x="connsiteX30133" y="connsiteY30133"/>
              </a:cxn>
              <a:cxn ang="0">
                <a:pos x="connsiteX30134" y="connsiteY30134"/>
              </a:cxn>
              <a:cxn ang="0">
                <a:pos x="connsiteX30135" y="connsiteY30135"/>
              </a:cxn>
              <a:cxn ang="0">
                <a:pos x="connsiteX30136" y="connsiteY30136"/>
              </a:cxn>
              <a:cxn ang="0">
                <a:pos x="connsiteX30137" y="connsiteY30137"/>
              </a:cxn>
              <a:cxn ang="0">
                <a:pos x="connsiteX30138" y="connsiteY30138"/>
              </a:cxn>
              <a:cxn ang="0">
                <a:pos x="connsiteX30139" y="connsiteY30139"/>
              </a:cxn>
              <a:cxn ang="0">
                <a:pos x="connsiteX30140" y="connsiteY30140"/>
              </a:cxn>
              <a:cxn ang="0">
                <a:pos x="connsiteX30141" y="connsiteY30141"/>
              </a:cxn>
              <a:cxn ang="0">
                <a:pos x="connsiteX30142" y="connsiteY30142"/>
              </a:cxn>
              <a:cxn ang="0">
                <a:pos x="connsiteX30143" y="connsiteY30143"/>
              </a:cxn>
              <a:cxn ang="0">
                <a:pos x="connsiteX30144" y="connsiteY30144"/>
              </a:cxn>
              <a:cxn ang="0">
                <a:pos x="connsiteX30145" y="connsiteY30145"/>
              </a:cxn>
              <a:cxn ang="0">
                <a:pos x="connsiteX30146" y="connsiteY30146"/>
              </a:cxn>
              <a:cxn ang="0">
                <a:pos x="connsiteX30147" y="connsiteY30147"/>
              </a:cxn>
              <a:cxn ang="0">
                <a:pos x="connsiteX30148" y="connsiteY30148"/>
              </a:cxn>
              <a:cxn ang="0">
                <a:pos x="connsiteX30149" y="connsiteY30149"/>
              </a:cxn>
              <a:cxn ang="0">
                <a:pos x="connsiteX30150" y="connsiteY30150"/>
              </a:cxn>
              <a:cxn ang="0">
                <a:pos x="connsiteX30151" y="connsiteY30151"/>
              </a:cxn>
              <a:cxn ang="0">
                <a:pos x="connsiteX30152" y="connsiteY30152"/>
              </a:cxn>
              <a:cxn ang="0">
                <a:pos x="connsiteX30153" y="connsiteY30153"/>
              </a:cxn>
              <a:cxn ang="0">
                <a:pos x="connsiteX30154" y="connsiteY30154"/>
              </a:cxn>
              <a:cxn ang="0">
                <a:pos x="connsiteX30155" y="connsiteY30155"/>
              </a:cxn>
              <a:cxn ang="0">
                <a:pos x="connsiteX30156" y="connsiteY30156"/>
              </a:cxn>
              <a:cxn ang="0">
                <a:pos x="connsiteX30157" y="connsiteY30157"/>
              </a:cxn>
              <a:cxn ang="0">
                <a:pos x="connsiteX30158" y="connsiteY30158"/>
              </a:cxn>
              <a:cxn ang="0">
                <a:pos x="connsiteX30159" y="connsiteY30159"/>
              </a:cxn>
              <a:cxn ang="0">
                <a:pos x="connsiteX30160" y="connsiteY30160"/>
              </a:cxn>
              <a:cxn ang="0">
                <a:pos x="connsiteX30161" y="connsiteY30161"/>
              </a:cxn>
              <a:cxn ang="0">
                <a:pos x="connsiteX30162" y="connsiteY30162"/>
              </a:cxn>
              <a:cxn ang="0">
                <a:pos x="connsiteX30163" y="connsiteY30163"/>
              </a:cxn>
              <a:cxn ang="0">
                <a:pos x="connsiteX30164" y="connsiteY30164"/>
              </a:cxn>
              <a:cxn ang="0">
                <a:pos x="connsiteX30165" y="connsiteY30165"/>
              </a:cxn>
              <a:cxn ang="0">
                <a:pos x="connsiteX30166" y="connsiteY30166"/>
              </a:cxn>
              <a:cxn ang="0">
                <a:pos x="connsiteX30167" y="connsiteY30167"/>
              </a:cxn>
              <a:cxn ang="0">
                <a:pos x="connsiteX30168" y="connsiteY30168"/>
              </a:cxn>
              <a:cxn ang="0">
                <a:pos x="connsiteX30169" y="connsiteY30169"/>
              </a:cxn>
              <a:cxn ang="0">
                <a:pos x="connsiteX30170" y="connsiteY30170"/>
              </a:cxn>
              <a:cxn ang="0">
                <a:pos x="connsiteX30171" y="connsiteY30171"/>
              </a:cxn>
              <a:cxn ang="0">
                <a:pos x="connsiteX30172" y="connsiteY30172"/>
              </a:cxn>
              <a:cxn ang="0">
                <a:pos x="connsiteX30173" y="connsiteY30173"/>
              </a:cxn>
              <a:cxn ang="0">
                <a:pos x="connsiteX30174" y="connsiteY30174"/>
              </a:cxn>
              <a:cxn ang="0">
                <a:pos x="connsiteX30175" y="connsiteY30175"/>
              </a:cxn>
              <a:cxn ang="0">
                <a:pos x="connsiteX30176" y="connsiteY30176"/>
              </a:cxn>
              <a:cxn ang="0">
                <a:pos x="connsiteX30177" y="connsiteY30177"/>
              </a:cxn>
              <a:cxn ang="0">
                <a:pos x="connsiteX30178" y="connsiteY30178"/>
              </a:cxn>
              <a:cxn ang="0">
                <a:pos x="connsiteX30179" y="connsiteY30179"/>
              </a:cxn>
              <a:cxn ang="0">
                <a:pos x="connsiteX30180" y="connsiteY30180"/>
              </a:cxn>
              <a:cxn ang="0">
                <a:pos x="connsiteX30181" y="connsiteY30181"/>
              </a:cxn>
              <a:cxn ang="0">
                <a:pos x="connsiteX30182" y="connsiteY30182"/>
              </a:cxn>
              <a:cxn ang="0">
                <a:pos x="connsiteX30183" y="connsiteY30183"/>
              </a:cxn>
              <a:cxn ang="0">
                <a:pos x="connsiteX30184" y="connsiteY30184"/>
              </a:cxn>
              <a:cxn ang="0">
                <a:pos x="connsiteX30185" y="connsiteY30185"/>
              </a:cxn>
              <a:cxn ang="0">
                <a:pos x="connsiteX30186" y="connsiteY30186"/>
              </a:cxn>
              <a:cxn ang="0">
                <a:pos x="connsiteX30187" y="connsiteY30187"/>
              </a:cxn>
              <a:cxn ang="0">
                <a:pos x="connsiteX30188" y="connsiteY30188"/>
              </a:cxn>
              <a:cxn ang="0">
                <a:pos x="connsiteX30189" y="connsiteY30189"/>
              </a:cxn>
              <a:cxn ang="0">
                <a:pos x="connsiteX30190" y="connsiteY30190"/>
              </a:cxn>
              <a:cxn ang="0">
                <a:pos x="connsiteX30191" y="connsiteY30191"/>
              </a:cxn>
              <a:cxn ang="0">
                <a:pos x="connsiteX30192" y="connsiteY30192"/>
              </a:cxn>
              <a:cxn ang="0">
                <a:pos x="connsiteX30193" y="connsiteY30193"/>
              </a:cxn>
              <a:cxn ang="0">
                <a:pos x="connsiteX30194" y="connsiteY30194"/>
              </a:cxn>
              <a:cxn ang="0">
                <a:pos x="connsiteX30195" y="connsiteY30195"/>
              </a:cxn>
              <a:cxn ang="0">
                <a:pos x="connsiteX30196" y="connsiteY30196"/>
              </a:cxn>
              <a:cxn ang="0">
                <a:pos x="connsiteX30197" y="connsiteY30197"/>
              </a:cxn>
              <a:cxn ang="0">
                <a:pos x="connsiteX30198" y="connsiteY30198"/>
              </a:cxn>
              <a:cxn ang="0">
                <a:pos x="connsiteX30199" y="connsiteY30199"/>
              </a:cxn>
              <a:cxn ang="0">
                <a:pos x="connsiteX30200" y="connsiteY30200"/>
              </a:cxn>
              <a:cxn ang="0">
                <a:pos x="connsiteX30201" y="connsiteY30201"/>
              </a:cxn>
              <a:cxn ang="0">
                <a:pos x="connsiteX30202" y="connsiteY30202"/>
              </a:cxn>
              <a:cxn ang="0">
                <a:pos x="connsiteX30203" y="connsiteY30203"/>
              </a:cxn>
              <a:cxn ang="0">
                <a:pos x="connsiteX30204" y="connsiteY30204"/>
              </a:cxn>
              <a:cxn ang="0">
                <a:pos x="connsiteX30205" y="connsiteY30205"/>
              </a:cxn>
              <a:cxn ang="0">
                <a:pos x="connsiteX30206" y="connsiteY30206"/>
              </a:cxn>
              <a:cxn ang="0">
                <a:pos x="connsiteX30207" y="connsiteY30207"/>
              </a:cxn>
              <a:cxn ang="0">
                <a:pos x="connsiteX30208" y="connsiteY30208"/>
              </a:cxn>
              <a:cxn ang="0">
                <a:pos x="connsiteX30209" y="connsiteY30209"/>
              </a:cxn>
              <a:cxn ang="0">
                <a:pos x="connsiteX30210" y="connsiteY30210"/>
              </a:cxn>
              <a:cxn ang="0">
                <a:pos x="connsiteX30211" y="connsiteY30211"/>
              </a:cxn>
              <a:cxn ang="0">
                <a:pos x="connsiteX30212" y="connsiteY30212"/>
              </a:cxn>
              <a:cxn ang="0">
                <a:pos x="connsiteX30213" y="connsiteY30213"/>
              </a:cxn>
              <a:cxn ang="0">
                <a:pos x="connsiteX30214" y="connsiteY30214"/>
              </a:cxn>
              <a:cxn ang="0">
                <a:pos x="connsiteX30215" y="connsiteY30215"/>
              </a:cxn>
              <a:cxn ang="0">
                <a:pos x="connsiteX30216" y="connsiteY30216"/>
              </a:cxn>
              <a:cxn ang="0">
                <a:pos x="connsiteX30217" y="connsiteY30217"/>
              </a:cxn>
              <a:cxn ang="0">
                <a:pos x="connsiteX30218" y="connsiteY30218"/>
              </a:cxn>
              <a:cxn ang="0">
                <a:pos x="connsiteX30219" y="connsiteY30219"/>
              </a:cxn>
              <a:cxn ang="0">
                <a:pos x="connsiteX30220" y="connsiteY30220"/>
              </a:cxn>
              <a:cxn ang="0">
                <a:pos x="connsiteX30221" y="connsiteY30221"/>
              </a:cxn>
              <a:cxn ang="0">
                <a:pos x="connsiteX30222" y="connsiteY30222"/>
              </a:cxn>
              <a:cxn ang="0">
                <a:pos x="connsiteX30223" y="connsiteY30223"/>
              </a:cxn>
              <a:cxn ang="0">
                <a:pos x="connsiteX30224" y="connsiteY30224"/>
              </a:cxn>
              <a:cxn ang="0">
                <a:pos x="connsiteX30225" y="connsiteY30225"/>
              </a:cxn>
              <a:cxn ang="0">
                <a:pos x="connsiteX30226" y="connsiteY30226"/>
              </a:cxn>
              <a:cxn ang="0">
                <a:pos x="connsiteX30227" y="connsiteY30227"/>
              </a:cxn>
              <a:cxn ang="0">
                <a:pos x="connsiteX30228" y="connsiteY30228"/>
              </a:cxn>
              <a:cxn ang="0">
                <a:pos x="connsiteX30229" y="connsiteY30229"/>
              </a:cxn>
              <a:cxn ang="0">
                <a:pos x="connsiteX30230" y="connsiteY30230"/>
              </a:cxn>
              <a:cxn ang="0">
                <a:pos x="connsiteX30231" y="connsiteY30231"/>
              </a:cxn>
              <a:cxn ang="0">
                <a:pos x="connsiteX30232" y="connsiteY30232"/>
              </a:cxn>
              <a:cxn ang="0">
                <a:pos x="connsiteX30233" y="connsiteY30233"/>
              </a:cxn>
              <a:cxn ang="0">
                <a:pos x="connsiteX30234" y="connsiteY30234"/>
              </a:cxn>
              <a:cxn ang="0">
                <a:pos x="connsiteX30235" y="connsiteY30235"/>
              </a:cxn>
              <a:cxn ang="0">
                <a:pos x="connsiteX30236" y="connsiteY30236"/>
              </a:cxn>
              <a:cxn ang="0">
                <a:pos x="connsiteX30237" y="connsiteY30237"/>
              </a:cxn>
              <a:cxn ang="0">
                <a:pos x="connsiteX30238" y="connsiteY30238"/>
              </a:cxn>
              <a:cxn ang="0">
                <a:pos x="connsiteX30239" y="connsiteY30239"/>
              </a:cxn>
              <a:cxn ang="0">
                <a:pos x="connsiteX30240" y="connsiteY30240"/>
              </a:cxn>
              <a:cxn ang="0">
                <a:pos x="connsiteX30241" y="connsiteY30241"/>
              </a:cxn>
              <a:cxn ang="0">
                <a:pos x="connsiteX30242" y="connsiteY30242"/>
              </a:cxn>
              <a:cxn ang="0">
                <a:pos x="connsiteX30243" y="connsiteY30243"/>
              </a:cxn>
              <a:cxn ang="0">
                <a:pos x="connsiteX30244" y="connsiteY30244"/>
              </a:cxn>
              <a:cxn ang="0">
                <a:pos x="connsiteX30245" y="connsiteY30245"/>
              </a:cxn>
              <a:cxn ang="0">
                <a:pos x="connsiteX30246" y="connsiteY30246"/>
              </a:cxn>
              <a:cxn ang="0">
                <a:pos x="connsiteX30247" y="connsiteY30247"/>
              </a:cxn>
              <a:cxn ang="0">
                <a:pos x="connsiteX30248" y="connsiteY30248"/>
              </a:cxn>
              <a:cxn ang="0">
                <a:pos x="connsiteX30249" y="connsiteY30249"/>
              </a:cxn>
              <a:cxn ang="0">
                <a:pos x="connsiteX30250" y="connsiteY30250"/>
              </a:cxn>
              <a:cxn ang="0">
                <a:pos x="connsiteX30251" y="connsiteY30251"/>
              </a:cxn>
              <a:cxn ang="0">
                <a:pos x="connsiteX30252" y="connsiteY30252"/>
              </a:cxn>
              <a:cxn ang="0">
                <a:pos x="connsiteX30253" y="connsiteY30253"/>
              </a:cxn>
              <a:cxn ang="0">
                <a:pos x="connsiteX30254" y="connsiteY30254"/>
              </a:cxn>
              <a:cxn ang="0">
                <a:pos x="connsiteX30255" y="connsiteY30255"/>
              </a:cxn>
              <a:cxn ang="0">
                <a:pos x="connsiteX30256" y="connsiteY30256"/>
              </a:cxn>
              <a:cxn ang="0">
                <a:pos x="connsiteX30257" y="connsiteY30257"/>
              </a:cxn>
              <a:cxn ang="0">
                <a:pos x="connsiteX30258" y="connsiteY30258"/>
              </a:cxn>
              <a:cxn ang="0">
                <a:pos x="connsiteX30259" y="connsiteY30259"/>
              </a:cxn>
              <a:cxn ang="0">
                <a:pos x="connsiteX30260" y="connsiteY30260"/>
              </a:cxn>
              <a:cxn ang="0">
                <a:pos x="connsiteX30261" y="connsiteY30261"/>
              </a:cxn>
              <a:cxn ang="0">
                <a:pos x="connsiteX30262" y="connsiteY30262"/>
              </a:cxn>
              <a:cxn ang="0">
                <a:pos x="connsiteX30263" y="connsiteY30263"/>
              </a:cxn>
              <a:cxn ang="0">
                <a:pos x="connsiteX30264" y="connsiteY30264"/>
              </a:cxn>
              <a:cxn ang="0">
                <a:pos x="connsiteX30265" y="connsiteY30265"/>
              </a:cxn>
              <a:cxn ang="0">
                <a:pos x="connsiteX30266" y="connsiteY30266"/>
              </a:cxn>
              <a:cxn ang="0">
                <a:pos x="connsiteX30267" y="connsiteY30267"/>
              </a:cxn>
              <a:cxn ang="0">
                <a:pos x="connsiteX30268" y="connsiteY30268"/>
              </a:cxn>
              <a:cxn ang="0">
                <a:pos x="connsiteX30269" y="connsiteY30269"/>
              </a:cxn>
              <a:cxn ang="0">
                <a:pos x="connsiteX30270" y="connsiteY30270"/>
              </a:cxn>
              <a:cxn ang="0">
                <a:pos x="connsiteX30271" y="connsiteY30271"/>
              </a:cxn>
              <a:cxn ang="0">
                <a:pos x="connsiteX30272" y="connsiteY30272"/>
              </a:cxn>
              <a:cxn ang="0">
                <a:pos x="connsiteX30273" y="connsiteY30273"/>
              </a:cxn>
              <a:cxn ang="0">
                <a:pos x="connsiteX30274" y="connsiteY30274"/>
              </a:cxn>
              <a:cxn ang="0">
                <a:pos x="connsiteX30275" y="connsiteY30275"/>
              </a:cxn>
              <a:cxn ang="0">
                <a:pos x="connsiteX30276" y="connsiteY30276"/>
              </a:cxn>
              <a:cxn ang="0">
                <a:pos x="connsiteX30277" y="connsiteY30277"/>
              </a:cxn>
              <a:cxn ang="0">
                <a:pos x="connsiteX30278" y="connsiteY30278"/>
              </a:cxn>
              <a:cxn ang="0">
                <a:pos x="connsiteX30279" y="connsiteY30279"/>
              </a:cxn>
              <a:cxn ang="0">
                <a:pos x="connsiteX30280" y="connsiteY30280"/>
              </a:cxn>
              <a:cxn ang="0">
                <a:pos x="connsiteX30281" y="connsiteY30281"/>
              </a:cxn>
              <a:cxn ang="0">
                <a:pos x="connsiteX30282" y="connsiteY30282"/>
              </a:cxn>
              <a:cxn ang="0">
                <a:pos x="connsiteX30283" y="connsiteY30283"/>
              </a:cxn>
              <a:cxn ang="0">
                <a:pos x="connsiteX30284" y="connsiteY30284"/>
              </a:cxn>
              <a:cxn ang="0">
                <a:pos x="connsiteX30285" y="connsiteY30285"/>
              </a:cxn>
              <a:cxn ang="0">
                <a:pos x="connsiteX30286" y="connsiteY30286"/>
              </a:cxn>
              <a:cxn ang="0">
                <a:pos x="connsiteX30287" y="connsiteY30287"/>
              </a:cxn>
              <a:cxn ang="0">
                <a:pos x="connsiteX30288" y="connsiteY30288"/>
              </a:cxn>
              <a:cxn ang="0">
                <a:pos x="connsiteX30289" y="connsiteY30289"/>
              </a:cxn>
              <a:cxn ang="0">
                <a:pos x="connsiteX30290" y="connsiteY30290"/>
              </a:cxn>
              <a:cxn ang="0">
                <a:pos x="connsiteX30291" y="connsiteY30291"/>
              </a:cxn>
              <a:cxn ang="0">
                <a:pos x="connsiteX30292" y="connsiteY30292"/>
              </a:cxn>
              <a:cxn ang="0">
                <a:pos x="connsiteX30293" y="connsiteY30293"/>
              </a:cxn>
              <a:cxn ang="0">
                <a:pos x="connsiteX30294" y="connsiteY30294"/>
              </a:cxn>
              <a:cxn ang="0">
                <a:pos x="connsiteX30295" y="connsiteY30295"/>
              </a:cxn>
              <a:cxn ang="0">
                <a:pos x="connsiteX30296" y="connsiteY30296"/>
              </a:cxn>
              <a:cxn ang="0">
                <a:pos x="connsiteX30297" y="connsiteY30297"/>
              </a:cxn>
              <a:cxn ang="0">
                <a:pos x="connsiteX30298" y="connsiteY30298"/>
              </a:cxn>
              <a:cxn ang="0">
                <a:pos x="connsiteX30299" y="connsiteY30299"/>
              </a:cxn>
              <a:cxn ang="0">
                <a:pos x="connsiteX30300" y="connsiteY30300"/>
              </a:cxn>
              <a:cxn ang="0">
                <a:pos x="connsiteX30301" y="connsiteY30301"/>
              </a:cxn>
              <a:cxn ang="0">
                <a:pos x="connsiteX30302" y="connsiteY30302"/>
              </a:cxn>
              <a:cxn ang="0">
                <a:pos x="connsiteX30303" y="connsiteY30303"/>
              </a:cxn>
              <a:cxn ang="0">
                <a:pos x="connsiteX30304" y="connsiteY30304"/>
              </a:cxn>
              <a:cxn ang="0">
                <a:pos x="connsiteX30305" y="connsiteY30305"/>
              </a:cxn>
              <a:cxn ang="0">
                <a:pos x="connsiteX30306" y="connsiteY30306"/>
              </a:cxn>
              <a:cxn ang="0">
                <a:pos x="connsiteX30307" y="connsiteY30307"/>
              </a:cxn>
              <a:cxn ang="0">
                <a:pos x="connsiteX30308" y="connsiteY30308"/>
              </a:cxn>
              <a:cxn ang="0">
                <a:pos x="connsiteX30309" y="connsiteY30309"/>
              </a:cxn>
              <a:cxn ang="0">
                <a:pos x="connsiteX30310" y="connsiteY30310"/>
              </a:cxn>
              <a:cxn ang="0">
                <a:pos x="connsiteX30311" y="connsiteY30311"/>
              </a:cxn>
              <a:cxn ang="0">
                <a:pos x="connsiteX30312" y="connsiteY30312"/>
              </a:cxn>
              <a:cxn ang="0">
                <a:pos x="connsiteX30313" y="connsiteY30313"/>
              </a:cxn>
              <a:cxn ang="0">
                <a:pos x="connsiteX30314" y="connsiteY30314"/>
              </a:cxn>
              <a:cxn ang="0">
                <a:pos x="connsiteX30315" y="connsiteY30315"/>
              </a:cxn>
              <a:cxn ang="0">
                <a:pos x="connsiteX30316" y="connsiteY30316"/>
              </a:cxn>
              <a:cxn ang="0">
                <a:pos x="connsiteX30317" y="connsiteY30317"/>
              </a:cxn>
              <a:cxn ang="0">
                <a:pos x="connsiteX30318" y="connsiteY30318"/>
              </a:cxn>
              <a:cxn ang="0">
                <a:pos x="connsiteX30319" y="connsiteY30319"/>
              </a:cxn>
              <a:cxn ang="0">
                <a:pos x="connsiteX30320" y="connsiteY30320"/>
              </a:cxn>
              <a:cxn ang="0">
                <a:pos x="connsiteX30321" y="connsiteY30321"/>
              </a:cxn>
              <a:cxn ang="0">
                <a:pos x="connsiteX30322" y="connsiteY30322"/>
              </a:cxn>
              <a:cxn ang="0">
                <a:pos x="connsiteX30323" y="connsiteY30323"/>
              </a:cxn>
              <a:cxn ang="0">
                <a:pos x="connsiteX30324" y="connsiteY30324"/>
              </a:cxn>
              <a:cxn ang="0">
                <a:pos x="connsiteX30325" y="connsiteY30325"/>
              </a:cxn>
              <a:cxn ang="0">
                <a:pos x="connsiteX30326" y="connsiteY30326"/>
              </a:cxn>
              <a:cxn ang="0">
                <a:pos x="connsiteX30327" y="connsiteY30327"/>
              </a:cxn>
              <a:cxn ang="0">
                <a:pos x="connsiteX30328" y="connsiteY30328"/>
              </a:cxn>
              <a:cxn ang="0">
                <a:pos x="connsiteX30329" y="connsiteY30329"/>
              </a:cxn>
              <a:cxn ang="0">
                <a:pos x="connsiteX30330" y="connsiteY30330"/>
              </a:cxn>
              <a:cxn ang="0">
                <a:pos x="connsiteX30331" y="connsiteY30331"/>
              </a:cxn>
              <a:cxn ang="0">
                <a:pos x="connsiteX30332" y="connsiteY30332"/>
              </a:cxn>
              <a:cxn ang="0">
                <a:pos x="connsiteX30333" y="connsiteY30333"/>
              </a:cxn>
              <a:cxn ang="0">
                <a:pos x="connsiteX30334" y="connsiteY30334"/>
              </a:cxn>
              <a:cxn ang="0">
                <a:pos x="connsiteX30335" y="connsiteY30335"/>
              </a:cxn>
              <a:cxn ang="0">
                <a:pos x="connsiteX30336" y="connsiteY30336"/>
              </a:cxn>
              <a:cxn ang="0">
                <a:pos x="connsiteX30337" y="connsiteY30337"/>
              </a:cxn>
              <a:cxn ang="0">
                <a:pos x="connsiteX30338" y="connsiteY30338"/>
              </a:cxn>
              <a:cxn ang="0">
                <a:pos x="connsiteX30339" y="connsiteY30339"/>
              </a:cxn>
              <a:cxn ang="0">
                <a:pos x="connsiteX30340" y="connsiteY30340"/>
              </a:cxn>
              <a:cxn ang="0">
                <a:pos x="connsiteX30341" y="connsiteY30341"/>
              </a:cxn>
              <a:cxn ang="0">
                <a:pos x="connsiteX30342" y="connsiteY30342"/>
              </a:cxn>
              <a:cxn ang="0">
                <a:pos x="connsiteX30343" y="connsiteY30343"/>
              </a:cxn>
              <a:cxn ang="0">
                <a:pos x="connsiteX30344" y="connsiteY30344"/>
              </a:cxn>
              <a:cxn ang="0">
                <a:pos x="connsiteX30345" y="connsiteY30345"/>
              </a:cxn>
              <a:cxn ang="0">
                <a:pos x="connsiteX30346" y="connsiteY30346"/>
              </a:cxn>
              <a:cxn ang="0">
                <a:pos x="connsiteX30347" y="connsiteY30347"/>
              </a:cxn>
              <a:cxn ang="0">
                <a:pos x="connsiteX30348" y="connsiteY30348"/>
              </a:cxn>
              <a:cxn ang="0">
                <a:pos x="connsiteX30349" y="connsiteY30349"/>
              </a:cxn>
              <a:cxn ang="0">
                <a:pos x="connsiteX30350" y="connsiteY30350"/>
              </a:cxn>
              <a:cxn ang="0">
                <a:pos x="connsiteX30351" y="connsiteY30351"/>
              </a:cxn>
              <a:cxn ang="0">
                <a:pos x="connsiteX30352" y="connsiteY30352"/>
              </a:cxn>
              <a:cxn ang="0">
                <a:pos x="connsiteX30353" y="connsiteY30353"/>
              </a:cxn>
              <a:cxn ang="0">
                <a:pos x="connsiteX30354" y="connsiteY30354"/>
              </a:cxn>
              <a:cxn ang="0">
                <a:pos x="connsiteX30355" y="connsiteY30355"/>
              </a:cxn>
              <a:cxn ang="0">
                <a:pos x="connsiteX30356" y="connsiteY30356"/>
              </a:cxn>
              <a:cxn ang="0">
                <a:pos x="connsiteX30357" y="connsiteY30357"/>
              </a:cxn>
              <a:cxn ang="0">
                <a:pos x="connsiteX30358" y="connsiteY30358"/>
              </a:cxn>
              <a:cxn ang="0">
                <a:pos x="connsiteX30359" y="connsiteY30359"/>
              </a:cxn>
              <a:cxn ang="0">
                <a:pos x="connsiteX30360" y="connsiteY30360"/>
              </a:cxn>
              <a:cxn ang="0">
                <a:pos x="connsiteX30361" y="connsiteY30361"/>
              </a:cxn>
              <a:cxn ang="0">
                <a:pos x="connsiteX30362" y="connsiteY30362"/>
              </a:cxn>
              <a:cxn ang="0">
                <a:pos x="connsiteX30363" y="connsiteY30363"/>
              </a:cxn>
              <a:cxn ang="0">
                <a:pos x="connsiteX30364" y="connsiteY30364"/>
              </a:cxn>
              <a:cxn ang="0">
                <a:pos x="connsiteX30365" y="connsiteY30365"/>
              </a:cxn>
              <a:cxn ang="0">
                <a:pos x="connsiteX30366" y="connsiteY30366"/>
              </a:cxn>
              <a:cxn ang="0">
                <a:pos x="connsiteX30367" y="connsiteY30367"/>
              </a:cxn>
              <a:cxn ang="0">
                <a:pos x="connsiteX30368" y="connsiteY30368"/>
              </a:cxn>
              <a:cxn ang="0">
                <a:pos x="connsiteX30369" y="connsiteY30369"/>
              </a:cxn>
              <a:cxn ang="0">
                <a:pos x="connsiteX30370" y="connsiteY30370"/>
              </a:cxn>
              <a:cxn ang="0">
                <a:pos x="connsiteX30371" y="connsiteY30371"/>
              </a:cxn>
              <a:cxn ang="0">
                <a:pos x="connsiteX30372" y="connsiteY30372"/>
              </a:cxn>
              <a:cxn ang="0">
                <a:pos x="connsiteX30373" y="connsiteY30373"/>
              </a:cxn>
              <a:cxn ang="0">
                <a:pos x="connsiteX30374" y="connsiteY30374"/>
              </a:cxn>
              <a:cxn ang="0">
                <a:pos x="connsiteX30375" y="connsiteY30375"/>
              </a:cxn>
              <a:cxn ang="0">
                <a:pos x="connsiteX30376" y="connsiteY30376"/>
              </a:cxn>
              <a:cxn ang="0">
                <a:pos x="connsiteX30377" y="connsiteY30377"/>
              </a:cxn>
              <a:cxn ang="0">
                <a:pos x="connsiteX30378" y="connsiteY30378"/>
              </a:cxn>
              <a:cxn ang="0">
                <a:pos x="connsiteX30379" y="connsiteY30379"/>
              </a:cxn>
              <a:cxn ang="0">
                <a:pos x="connsiteX30380" y="connsiteY30380"/>
              </a:cxn>
              <a:cxn ang="0">
                <a:pos x="connsiteX30381" y="connsiteY30381"/>
              </a:cxn>
              <a:cxn ang="0">
                <a:pos x="connsiteX30382" y="connsiteY30382"/>
              </a:cxn>
              <a:cxn ang="0">
                <a:pos x="connsiteX30383" y="connsiteY30383"/>
              </a:cxn>
              <a:cxn ang="0">
                <a:pos x="connsiteX30384" y="connsiteY30384"/>
              </a:cxn>
              <a:cxn ang="0">
                <a:pos x="connsiteX30385" y="connsiteY30385"/>
              </a:cxn>
              <a:cxn ang="0">
                <a:pos x="connsiteX30386" y="connsiteY30386"/>
              </a:cxn>
              <a:cxn ang="0">
                <a:pos x="connsiteX30387" y="connsiteY30387"/>
              </a:cxn>
              <a:cxn ang="0">
                <a:pos x="connsiteX30388" y="connsiteY30388"/>
              </a:cxn>
              <a:cxn ang="0">
                <a:pos x="connsiteX30389" y="connsiteY30389"/>
              </a:cxn>
              <a:cxn ang="0">
                <a:pos x="connsiteX30390" y="connsiteY30390"/>
              </a:cxn>
              <a:cxn ang="0">
                <a:pos x="connsiteX30391" y="connsiteY30391"/>
              </a:cxn>
              <a:cxn ang="0">
                <a:pos x="connsiteX30392" y="connsiteY30392"/>
              </a:cxn>
              <a:cxn ang="0">
                <a:pos x="connsiteX30393" y="connsiteY30393"/>
              </a:cxn>
              <a:cxn ang="0">
                <a:pos x="connsiteX30394" y="connsiteY30394"/>
              </a:cxn>
              <a:cxn ang="0">
                <a:pos x="connsiteX30395" y="connsiteY30395"/>
              </a:cxn>
              <a:cxn ang="0">
                <a:pos x="connsiteX30396" y="connsiteY30396"/>
              </a:cxn>
              <a:cxn ang="0">
                <a:pos x="connsiteX30397" y="connsiteY30397"/>
              </a:cxn>
              <a:cxn ang="0">
                <a:pos x="connsiteX30398" y="connsiteY30398"/>
              </a:cxn>
              <a:cxn ang="0">
                <a:pos x="connsiteX30399" y="connsiteY30399"/>
              </a:cxn>
              <a:cxn ang="0">
                <a:pos x="connsiteX30400" y="connsiteY30400"/>
              </a:cxn>
              <a:cxn ang="0">
                <a:pos x="connsiteX30401" y="connsiteY30401"/>
              </a:cxn>
              <a:cxn ang="0">
                <a:pos x="connsiteX30402" y="connsiteY30402"/>
              </a:cxn>
              <a:cxn ang="0">
                <a:pos x="connsiteX30403" y="connsiteY30403"/>
              </a:cxn>
              <a:cxn ang="0">
                <a:pos x="connsiteX30404" y="connsiteY30404"/>
              </a:cxn>
              <a:cxn ang="0">
                <a:pos x="connsiteX30405" y="connsiteY30405"/>
              </a:cxn>
              <a:cxn ang="0">
                <a:pos x="connsiteX30406" y="connsiteY30406"/>
              </a:cxn>
              <a:cxn ang="0">
                <a:pos x="connsiteX30407" y="connsiteY30407"/>
              </a:cxn>
              <a:cxn ang="0">
                <a:pos x="connsiteX30408" y="connsiteY30408"/>
              </a:cxn>
              <a:cxn ang="0">
                <a:pos x="connsiteX30409" y="connsiteY30409"/>
              </a:cxn>
              <a:cxn ang="0">
                <a:pos x="connsiteX30410" y="connsiteY30410"/>
              </a:cxn>
              <a:cxn ang="0">
                <a:pos x="connsiteX30411" y="connsiteY30411"/>
              </a:cxn>
              <a:cxn ang="0">
                <a:pos x="connsiteX30412" y="connsiteY30412"/>
              </a:cxn>
              <a:cxn ang="0">
                <a:pos x="connsiteX30413" y="connsiteY30413"/>
              </a:cxn>
              <a:cxn ang="0">
                <a:pos x="connsiteX30414" y="connsiteY30414"/>
              </a:cxn>
              <a:cxn ang="0">
                <a:pos x="connsiteX30415" y="connsiteY30415"/>
              </a:cxn>
              <a:cxn ang="0">
                <a:pos x="connsiteX30416" y="connsiteY30416"/>
              </a:cxn>
              <a:cxn ang="0">
                <a:pos x="connsiteX30417" y="connsiteY30417"/>
              </a:cxn>
              <a:cxn ang="0">
                <a:pos x="connsiteX30418" y="connsiteY30418"/>
              </a:cxn>
              <a:cxn ang="0">
                <a:pos x="connsiteX30419" y="connsiteY30419"/>
              </a:cxn>
              <a:cxn ang="0">
                <a:pos x="connsiteX30420" y="connsiteY30420"/>
              </a:cxn>
              <a:cxn ang="0">
                <a:pos x="connsiteX30421" y="connsiteY30421"/>
              </a:cxn>
              <a:cxn ang="0">
                <a:pos x="connsiteX30422" y="connsiteY30422"/>
              </a:cxn>
              <a:cxn ang="0">
                <a:pos x="connsiteX30423" y="connsiteY30423"/>
              </a:cxn>
              <a:cxn ang="0">
                <a:pos x="connsiteX30424" y="connsiteY30424"/>
              </a:cxn>
              <a:cxn ang="0">
                <a:pos x="connsiteX30425" y="connsiteY30425"/>
              </a:cxn>
              <a:cxn ang="0">
                <a:pos x="connsiteX30426" y="connsiteY30426"/>
              </a:cxn>
              <a:cxn ang="0">
                <a:pos x="connsiteX30427" y="connsiteY30427"/>
              </a:cxn>
              <a:cxn ang="0">
                <a:pos x="connsiteX30428" y="connsiteY30428"/>
              </a:cxn>
              <a:cxn ang="0">
                <a:pos x="connsiteX30429" y="connsiteY30429"/>
              </a:cxn>
              <a:cxn ang="0">
                <a:pos x="connsiteX30430" y="connsiteY30430"/>
              </a:cxn>
              <a:cxn ang="0">
                <a:pos x="connsiteX30431" y="connsiteY30431"/>
              </a:cxn>
              <a:cxn ang="0">
                <a:pos x="connsiteX30432" y="connsiteY30432"/>
              </a:cxn>
              <a:cxn ang="0">
                <a:pos x="connsiteX30433" y="connsiteY30433"/>
              </a:cxn>
              <a:cxn ang="0">
                <a:pos x="connsiteX30434" y="connsiteY30434"/>
              </a:cxn>
              <a:cxn ang="0">
                <a:pos x="connsiteX30435" y="connsiteY30435"/>
              </a:cxn>
              <a:cxn ang="0">
                <a:pos x="connsiteX30436" y="connsiteY30436"/>
              </a:cxn>
              <a:cxn ang="0">
                <a:pos x="connsiteX30437" y="connsiteY30437"/>
              </a:cxn>
              <a:cxn ang="0">
                <a:pos x="connsiteX30438" y="connsiteY30438"/>
              </a:cxn>
              <a:cxn ang="0">
                <a:pos x="connsiteX30439" y="connsiteY30439"/>
              </a:cxn>
              <a:cxn ang="0">
                <a:pos x="connsiteX30440" y="connsiteY30440"/>
              </a:cxn>
              <a:cxn ang="0">
                <a:pos x="connsiteX30441" y="connsiteY30441"/>
              </a:cxn>
              <a:cxn ang="0">
                <a:pos x="connsiteX30442" y="connsiteY30442"/>
              </a:cxn>
              <a:cxn ang="0">
                <a:pos x="connsiteX30443" y="connsiteY30443"/>
              </a:cxn>
              <a:cxn ang="0">
                <a:pos x="connsiteX30444" y="connsiteY30444"/>
              </a:cxn>
              <a:cxn ang="0">
                <a:pos x="connsiteX30445" y="connsiteY30445"/>
              </a:cxn>
              <a:cxn ang="0">
                <a:pos x="connsiteX30446" y="connsiteY30446"/>
              </a:cxn>
              <a:cxn ang="0">
                <a:pos x="connsiteX30447" y="connsiteY30447"/>
              </a:cxn>
              <a:cxn ang="0">
                <a:pos x="connsiteX30448" y="connsiteY30448"/>
              </a:cxn>
              <a:cxn ang="0">
                <a:pos x="connsiteX30449" y="connsiteY30449"/>
              </a:cxn>
              <a:cxn ang="0">
                <a:pos x="connsiteX30450" y="connsiteY30450"/>
              </a:cxn>
              <a:cxn ang="0">
                <a:pos x="connsiteX30451" y="connsiteY30451"/>
              </a:cxn>
              <a:cxn ang="0">
                <a:pos x="connsiteX30452" y="connsiteY30452"/>
              </a:cxn>
              <a:cxn ang="0">
                <a:pos x="connsiteX30453" y="connsiteY30453"/>
              </a:cxn>
              <a:cxn ang="0">
                <a:pos x="connsiteX30454" y="connsiteY30454"/>
              </a:cxn>
              <a:cxn ang="0">
                <a:pos x="connsiteX30455" y="connsiteY30455"/>
              </a:cxn>
              <a:cxn ang="0">
                <a:pos x="connsiteX30456" y="connsiteY30456"/>
              </a:cxn>
              <a:cxn ang="0">
                <a:pos x="connsiteX30457" y="connsiteY30457"/>
              </a:cxn>
              <a:cxn ang="0">
                <a:pos x="connsiteX30458" y="connsiteY30458"/>
              </a:cxn>
              <a:cxn ang="0">
                <a:pos x="connsiteX30459" y="connsiteY30459"/>
              </a:cxn>
              <a:cxn ang="0">
                <a:pos x="connsiteX30460" y="connsiteY30460"/>
              </a:cxn>
              <a:cxn ang="0">
                <a:pos x="connsiteX30461" y="connsiteY30461"/>
              </a:cxn>
              <a:cxn ang="0">
                <a:pos x="connsiteX30462" y="connsiteY30462"/>
              </a:cxn>
              <a:cxn ang="0">
                <a:pos x="connsiteX30463" y="connsiteY30463"/>
              </a:cxn>
              <a:cxn ang="0">
                <a:pos x="connsiteX30464" y="connsiteY30464"/>
              </a:cxn>
              <a:cxn ang="0">
                <a:pos x="connsiteX30465" y="connsiteY30465"/>
              </a:cxn>
              <a:cxn ang="0">
                <a:pos x="connsiteX30466" y="connsiteY30466"/>
              </a:cxn>
              <a:cxn ang="0">
                <a:pos x="connsiteX30467" y="connsiteY30467"/>
              </a:cxn>
              <a:cxn ang="0">
                <a:pos x="connsiteX30468" y="connsiteY30468"/>
              </a:cxn>
              <a:cxn ang="0">
                <a:pos x="connsiteX30469" y="connsiteY30469"/>
              </a:cxn>
              <a:cxn ang="0">
                <a:pos x="connsiteX30470" y="connsiteY30470"/>
              </a:cxn>
              <a:cxn ang="0">
                <a:pos x="connsiteX30471" y="connsiteY30471"/>
              </a:cxn>
              <a:cxn ang="0">
                <a:pos x="connsiteX30472" y="connsiteY30472"/>
              </a:cxn>
              <a:cxn ang="0">
                <a:pos x="connsiteX30473" y="connsiteY30473"/>
              </a:cxn>
              <a:cxn ang="0">
                <a:pos x="connsiteX30474" y="connsiteY30474"/>
              </a:cxn>
              <a:cxn ang="0">
                <a:pos x="connsiteX30475" y="connsiteY30475"/>
              </a:cxn>
              <a:cxn ang="0">
                <a:pos x="connsiteX30476" y="connsiteY30476"/>
              </a:cxn>
              <a:cxn ang="0">
                <a:pos x="connsiteX30477" y="connsiteY30477"/>
              </a:cxn>
              <a:cxn ang="0">
                <a:pos x="connsiteX30478" y="connsiteY30478"/>
              </a:cxn>
              <a:cxn ang="0">
                <a:pos x="connsiteX30479" y="connsiteY30479"/>
              </a:cxn>
              <a:cxn ang="0">
                <a:pos x="connsiteX30480" y="connsiteY30480"/>
              </a:cxn>
              <a:cxn ang="0">
                <a:pos x="connsiteX30481" y="connsiteY30481"/>
              </a:cxn>
              <a:cxn ang="0">
                <a:pos x="connsiteX30482" y="connsiteY30482"/>
              </a:cxn>
              <a:cxn ang="0">
                <a:pos x="connsiteX30483" y="connsiteY30483"/>
              </a:cxn>
              <a:cxn ang="0">
                <a:pos x="connsiteX30484" y="connsiteY30484"/>
              </a:cxn>
              <a:cxn ang="0">
                <a:pos x="connsiteX30485" y="connsiteY30485"/>
              </a:cxn>
              <a:cxn ang="0">
                <a:pos x="connsiteX30486" y="connsiteY30486"/>
              </a:cxn>
              <a:cxn ang="0">
                <a:pos x="connsiteX30487" y="connsiteY30487"/>
              </a:cxn>
              <a:cxn ang="0">
                <a:pos x="connsiteX30488" y="connsiteY30488"/>
              </a:cxn>
              <a:cxn ang="0">
                <a:pos x="connsiteX30489" y="connsiteY30489"/>
              </a:cxn>
              <a:cxn ang="0">
                <a:pos x="connsiteX30490" y="connsiteY30490"/>
              </a:cxn>
              <a:cxn ang="0">
                <a:pos x="connsiteX30491" y="connsiteY30491"/>
              </a:cxn>
              <a:cxn ang="0">
                <a:pos x="connsiteX30492" y="connsiteY30492"/>
              </a:cxn>
              <a:cxn ang="0">
                <a:pos x="connsiteX30493" y="connsiteY30493"/>
              </a:cxn>
              <a:cxn ang="0">
                <a:pos x="connsiteX30494" y="connsiteY30494"/>
              </a:cxn>
              <a:cxn ang="0">
                <a:pos x="connsiteX30495" y="connsiteY30495"/>
              </a:cxn>
              <a:cxn ang="0">
                <a:pos x="connsiteX30496" y="connsiteY30496"/>
              </a:cxn>
              <a:cxn ang="0">
                <a:pos x="connsiteX30497" y="connsiteY30497"/>
              </a:cxn>
              <a:cxn ang="0">
                <a:pos x="connsiteX30498" y="connsiteY30498"/>
              </a:cxn>
              <a:cxn ang="0">
                <a:pos x="connsiteX30499" y="connsiteY30499"/>
              </a:cxn>
              <a:cxn ang="0">
                <a:pos x="connsiteX30500" y="connsiteY30500"/>
              </a:cxn>
              <a:cxn ang="0">
                <a:pos x="connsiteX30501" y="connsiteY30501"/>
              </a:cxn>
              <a:cxn ang="0">
                <a:pos x="connsiteX30502" y="connsiteY30502"/>
              </a:cxn>
              <a:cxn ang="0">
                <a:pos x="connsiteX30503" y="connsiteY30503"/>
              </a:cxn>
              <a:cxn ang="0">
                <a:pos x="connsiteX30504" y="connsiteY30504"/>
              </a:cxn>
              <a:cxn ang="0">
                <a:pos x="connsiteX30505" y="connsiteY30505"/>
              </a:cxn>
              <a:cxn ang="0">
                <a:pos x="connsiteX30506" y="connsiteY30506"/>
              </a:cxn>
              <a:cxn ang="0">
                <a:pos x="connsiteX30507" y="connsiteY30507"/>
              </a:cxn>
              <a:cxn ang="0">
                <a:pos x="connsiteX30508" y="connsiteY30508"/>
              </a:cxn>
              <a:cxn ang="0">
                <a:pos x="connsiteX30509" y="connsiteY30509"/>
              </a:cxn>
              <a:cxn ang="0">
                <a:pos x="connsiteX30510" y="connsiteY30510"/>
              </a:cxn>
              <a:cxn ang="0">
                <a:pos x="connsiteX30511" y="connsiteY30511"/>
              </a:cxn>
              <a:cxn ang="0">
                <a:pos x="connsiteX30512" y="connsiteY30512"/>
              </a:cxn>
              <a:cxn ang="0">
                <a:pos x="connsiteX30513" y="connsiteY30513"/>
              </a:cxn>
              <a:cxn ang="0">
                <a:pos x="connsiteX30514" y="connsiteY30514"/>
              </a:cxn>
              <a:cxn ang="0">
                <a:pos x="connsiteX30515" y="connsiteY30515"/>
              </a:cxn>
              <a:cxn ang="0">
                <a:pos x="connsiteX30516" y="connsiteY30516"/>
              </a:cxn>
              <a:cxn ang="0">
                <a:pos x="connsiteX30517" y="connsiteY30517"/>
              </a:cxn>
              <a:cxn ang="0">
                <a:pos x="connsiteX30518" y="connsiteY30518"/>
              </a:cxn>
              <a:cxn ang="0">
                <a:pos x="connsiteX30519" y="connsiteY30519"/>
              </a:cxn>
              <a:cxn ang="0">
                <a:pos x="connsiteX30520" y="connsiteY30520"/>
              </a:cxn>
              <a:cxn ang="0">
                <a:pos x="connsiteX30521" y="connsiteY30521"/>
              </a:cxn>
              <a:cxn ang="0">
                <a:pos x="connsiteX30522" y="connsiteY30522"/>
              </a:cxn>
              <a:cxn ang="0">
                <a:pos x="connsiteX30523" y="connsiteY30523"/>
              </a:cxn>
              <a:cxn ang="0">
                <a:pos x="connsiteX30524" y="connsiteY30524"/>
              </a:cxn>
              <a:cxn ang="0">
                <a:pos x="connsiteX30525" y="connsiteY30525"/>
              </a:cxn>
              <a:cxn ang="0">
                <a:pos x="connsiteX30526" y="connsiteY30526"/>
              </a:cxn>
              <a:cxn ang="0">
                <a:pos x="connsiteX30527" y="connsiteY30527"/>
              </a:cxn>
              <a:cxn ang="0">
                <a:pos x="connsiteX30528" y="connsiteY30528"/>
              </a:cxn>
              <a:cxn ang="0">
                <a:pos x="connsiteX30529" y="connsiteY30529"/>
              </a:cxn>
              <a:cxn ang="0">
                <a:pos x="connsiteX30530" y="connsiteY30530"/>
              </a:cxn>
              <a:cxn ang="0">
                <a:pos x="connsiteX30531" y="connsiteY30531"/>
              </a:cxn>
              <a:cxn ang="0">
                <a:pos x="connsiteX30532" y="connsiteY30532"/>
              </a:cxn>
              <a:cxn ang="0">
                <a:pos x="connsiteX30533" y="connsiteY30533"/>
              </a:cxn>
              <a:cxn ang="0">
                <a:pos x="connsiteX30534" y="connsiteY30534"/>
              </a:cxn>
              <a:cxn ang="0">
                <a:pos x="connsiteX30535" y="connsiteY30535"/>
              </a:cxn>
              <a:cxn ang="0">
                <a:pos x="connsiteX30536" y="connsiteY30536"/>
              </a:cxn>
              <a:cxn ang="0">
                <a:pos x="connsiteX30537" y="connsiteY30537"/>
              </a:cxn>
              <a:cxn ang="0">
                <a:pos x="connsiteX30538" y="connsiteY30538"/>
              </a:cxn>
              <a:cxn ang="0">
                <a:pos x="connsiteX30539" y="connsiteY30539"/>
              </a:cxn>
              <a:cxn ang="0">
                <a:pos x="connsiteX30540" y="connsiteY30540"/>
              </a:cxn>
              <a:cxn ang="0">
                <a:pos x="connsiteX30541" y="connsiteY30541"/>
              </a:cxn>
              <a:cxn ang="0">
                <a:pos x="connsiteX30542" y="connsiteY30542"/>
              </a:cxn>
              <a:cxn ang="0">
                <a:pos x="connsiteX30543" y="connsiteY30543"/>
              </a:cxn>
              <a:cxn ang="0">
                <a:pos x="connsiteX30544" y="connsiteY30544"/>
              </a:cxn>
              <a:cxn ang="0">
                <a:pos x="connsiteX30545" y="connsiteY30545"/>
              </a:cxn>
              <a:cxn ang="0">
                <a:pos x="connsiteX30546" y="connsiteY30546"/>
              </a:cxn>
              <a:cxn ang="0">
                <a:pos x="connsiteX30547" y="connsiteY30547"/>
              </a:cxn>
              <a:cxn ang="0">
                <a:pos x="connsiteX30548" y="connsiteY30548"/>
              </a:cxn>
              <a:cxn ang="0">
                <a:pos x="connsiteX30549" y="connsiteY30549"/>
              </a:cxn>
              <a:cxn ang="0">
                <a:pos x="connsiteX30550" y="connsiteY30550"/>
              </a:cxn>
              <a:cxn ang="0">
                <a:pos x="connsiteX30551" y="connsiteY30551"/>
              </a:cxn>
              <a:cxn ang="0">
                <a:pos x="connsiteX30552" y="connsiteY30552"/>
              </a:cxn>
              <a:cxn ang="0">
                <a:pos x="connsiteX30553" y="connsiteY30553"/>
              </a:cxn>
              <a:cxn ang="0">
                <a:pos x="connsiteX30554" y="connsiteY30554"/>
              </a:cxn>
              <a:cxn ang="0">
                <a:pos x="connsiteX30555" y="connsiteY30555"/>
              </a:cxn>
              <a:cxn ang="0">
                <a:pos x="connsiteX30556" y="connsiteY30556"/>
              </a:cxn>
              <a:cxn ang="0">
                <a:pos x="connsiteX30557" y="connsiteY30557"/>
              </a:cxn>
              <a:cxn ang="0">
                <a:pos x="connsiteX30558" y="connsiteY30558"/>
              </a:cxn>
              <a:cxn ang="0">
                <a:pos x="connsiteX30559" y="connsiteY30559"/>
              </a:cxn>
              <a:cxn ang="0">
                <a:pos x="connsiteX30560" y="connsiteY30560"/>
              </a:cxn>
              <a:cxn ang="0">
                <a:pos x="connsiteX30561" y="connsiteY30561"/>
              </a:cxn>
              <a:cxn ang="0">
                <a:pos x="connsiteX30562" y="connsiteY30562"/>
              </a:cxn>
              <a:cxn ang="0">
                <a:pos x="connsiteX30563" y="connsiteY30563"/>
              </a:cxn>
              <a:cxn ang="0">
                <a:pos x="connsiteX30564" y="connsiteY30564"/>
              </a:cxn>
              <a:cxn ang="0">
                <a:pos x="connsiteX30565" y="connsiteY30565"/>
              </a:cxn>
              <a:cxn ang="0">
                <a:pos x="connsiteX30566" y="connsiteY30566"/>
              </a:cxn>
              <a:cxn ang="0">
                <a:pos x="connsiteX30567" y="connsiteY30567"/>
              </a:cxn>
              <a:cxn ang="0">
                <a:pos x="connsiteX30568" y="connsiteY30568"/>
              </a:cxn>
              <a:cxn ang="0">
                <a:pos x="connsiteX30569" y="connsiteY30569"/>
              </a:cxn>
              <a:cxn ang="0">
                <a:pos x="connsiteX30570" y="connsiteY30570"/>
              </a:cxn>
              <a:cxn ang="0">
                <a:pos x="connsiteX30571" y="connsiteY30571"/>
              </a:cxn>
              <a:cxn ang="0">
                <a:pos x="connsiteX30572" y="connsiteY30572"/>
              </a:cxn>
              <a:cxn ang="0">
                <a:pos x="connsiteX30573" y="connsiteY30573"/>
              </a:cxn>
              <a:cxn ang="0">
                <a:pos x="connsiteX30574" y="connsiteY30574"/>
              </a:cxn>
              <a:cxn ang="0">
                <a:pos x="connsiteX30575" y="connsiteY30575"/>
              </a:cxn>
              <a:cxn ang="0">
                <a:pos x="connsiteX30576" y="connsiteY30576"/>
              </a:cxn>
              <a:cxn ang="0">
                <a:pos x="connsiteX30577" y="connsiteY30577"/>
              </a:cxn>
              <a:cxn ang="0">
                <a:pos x="connsiteX30578" y="connsiteY30578"/>
              </a:cxn>
              <a:cxn ang="0">
                <a:pos x="connsiteX30579" y="connsiteY30579"/>
              </a:cxn>
              <a:cxn ang="0">
                <a:pos x="connsiteX30580" y="connsiteY30580"/>
              </a:cxn>
              <a:cxn ang="0">
                <a:pos x="connsiteX30581" y="connsiteY30581"/>
              </a:cxn>
              <a:cxn ang="0">
                <a:pos x="connsiteX30582" y="connsiteY30582"/>
              </a:cxn>
              <a:cxn ang="0">
                <a:pos x="connsiteX30583" y="connsiteY30583"/>
              </a:cxn>
              <a:cxn ang="0">
                <a:pos x="connsiteX30584" y="connsiteY30584"/>
              </a:cxn>
              <a:cxn ang="0">
                <a:pos x="connsiteX30585" y="connsiteY30585"/>
              </a:cxn>
              <a:cxn ang="0">
                <a:pos x="connsiteX30586" y="connsiteY30586"/>
              </a:cxn>
              <a:cxn ang="0">
                <a:pos x="connsiteX30587" y="connsiteY30587"/>
              </a:cxn>
              <a:cxn ang="0">
                <a:pos x="connsiteX30588" y="connsiteY30588"/>
              </a:cxn>
              <a:cxn ang="0">
                <a:pos x="connsiteX30589" y="connsiteY30589"/>
              </a:cxn>
              <a:cxn ang="0">
                <a:pos x="connsiteX30590" y="connsiteY30590"/>
              </a:cxn>
              <a:cxn ang="0">
                <a:pos x="connsiteX30591" y="connsiteY30591"/>
              </a:cxn>
              <a:cxn ang="0">
                <a:pos x="connsiteX30592" y="connsiteY30592"/>
              </a:cxn>
              <a:cxn ang="0">
                <a:pos x="connsiteX30593" y="connsiteY30593"/>
              </a:cxn>
              <a:cxn ang="0">
                <a:pos x="connsiteX30594" y="connsiteY30594"/>
              </a:cxn>
              <a:cxn ang="0">
                <a:pos x="connsiteX30595" y="connsiteY30595"/>
              </a:cxn>
              <a:cxn ang="0">
                <a:pos x="connsiteX30596" y="connsiteY30596"/>
              </a:cxn>
              <a:cxn ang="0">
                <a:pos x="connsiteX30597" y="connsiteY30597"/>
              </a:cxn>
              <a:cxn ang="0">
                <a:pos x="connsiteX30598" y="connsiteY30598"/>
              </a:cxn>
              <a:cxn ang="0">
                <a:pos x="connsiteX30599" y="connsiteY30599"/>
              </a:cxn>
              <a:cxn ang="0">
                <a:pos x="connsiteX30600" y="connsiteY30600"/>
              </a:cxn>
              <a:cxn ang="0">
                <a:pos x="connsiteX30601" y="connsiteY30601"/>
              </a:cxn>
              <a:cxn ang="0">
                <a:pos x="connsiteX30602" y="connsiteY30602"/>
              </a:cxn>
              <a:cxn ang="0">
                <a:pos x="connsiteX30603" y="connsiteY30603"/>
              </a:cxn>
              <a:cxn ang="0">
                <a:pos x="connsiteX30604" y="connsiteY30604"/>
              </a:cxn>
              <a:cxn ang="0">
                <a:pos x="connsiteX30605" y="connsiteY30605"/>
              </a:cxn>
              <a:cxn ang="0">
                <a:pos x="connsiteX30606" y="connsiteY30606"/>
              </a:cxn>
              <a:cxn ang="0">
                <a:pos x="connsiteX30607" y="connsiteY30607"/>
              </a:cxn>
              <a:cxn ang="0">
                <a:pos x="connsiteX30608" y="connsiteY30608"/>
              </a:cxn>
              <a:cxn ang="0">
                <a:pos x="connsiteX30609" y="connsiteY30609"/>
              </a:cxn>
              <a:cxn ang="0">
                <a:pos x="connsiteX30610" y="connsiteY30610"/>
              </a:cxn>
              <a:cxn ang="0">
                <a:pos x="connsiteX30611" y="connsiteY30611"/>
              </a:cxn>
              <a:cxn ang="0">
                <a:pos x="connsiteX30612" y="connsiteY30612"/>
              </a:cxn>
              <a:cxn ang="0">
                <a:pos x="connsiteX30613" y="connsiteY30613"/>
              </a:cxn>
              <a:cxn ang="0">
                <a:pos x="connsiteX30614" y="connsiteY30614"/>
              </a:cxn>
              <a:cxn ang="0">
                <a:pos x="connsiteX30615" y="connsiteY30615"/>
              </a:cxn>
              <a:cxn ang="0">
                <a:pos x="connsiteX30616" y="connsiteY30616"/>
              </a:cxn>
              <a:cxn ang="0">
                <a:pos x="connsiteX30617" y="connsiteY30617"/>
              </a:cxn>
              <a:cxn ang="0">
                <a:pos x="connsiteX30618" y="connsiteY30618"/>
              </a:cxn>
              <a:cxn ang="0">
                <a:pos x="connsiteX30619" y="connsiteY30619"/>
              </a:cxn>
              <a:cxn ang="0">
                <a:pos x="connsiteX30620" y="connsiteY30620"/>
              </a:cxn>
              <a:cxn ang="0">
                <a:pos x="connsiteX30621" y="connsiteY30621"/>
              </a:cxn>
              <a:cxn ang="0">
                <a:pos x="connsiteX30622" y="connsiteY30622"/>
              </a:cxn>
              <a:cxn ang="0">
                <a:pos x="connsiteX30623" y="connsiteY30623"/>
              </a:cxn>
              <a:cxn ang="0">
                <a:pos x="connsiteX30624" y="connsiteY30624"/>
              </a:cxn>
              <a:cxn ang="0">
                <a:pos x="connsiteX30625" y="connsiteY30625"/>
              </a:cxn>
              <a:cxn ang="0">
                <a:pos x="connsiteX30626" y="connsiteY30626"/>
              </a:cxn>
              <a:cxn ang="0">
                <a:pos x="connsiteX30627" y="connsiteY30627"/>
              </a:cxn>
              <a:cxn ang="0">
                <a:pos x="connsiteX30628" y="connsiteY30628"/>
              </a:cxn>
              <a:cxn ang="0">
                <a:pos x="connsiteX30629" y="connsiteY30629"/>
              </a:cxn>
              <a:cxn ang="0">
                <a:pos x="connsiteX30630" y="connsiteY30630"/>
              </a:cxn>
              <a:cxn ang="0">
                <a:pos x="connsiteX30631" y="connsiteY30631"/>
              </a:cxn>
              <a:cxn ang="0">
                <a:pos x="connsiteX30632" y="connsiteY30632"/>
              </a:cxn>
              <a:cxn ang="0">
                <a:pos x="connsiteX30633" y="connsiteY30633"/>
              </a:cxn>
              <a:cxn ang="0">
                <a:pos x="connsiteX30634" y="connsiteY30634"/>
              </a:cxn>
              <a:cxn ang="0">
                <a:pos x="connsiteX30635" y="connsiteY30635"/>
              </a:cxn>
              <a:cxn ang="0">
                <a:pos x="connsiteX30636" y="connsiteY30636"/>
              </a:cxn>
              <a:cxn ang="0">
                <a:pos x="connsiteX30637" y="connsiteY30637"/>
              </a:cxn>
              <a:cxn ang="0">
                <a:pos x="connsiteX30638" y="connsiteY30638"/>
              </a:cxn>
              <a:cxn ang="0">
                <a:pos x="connsiteX30639" y="connsiteY30639"/>
              </a:cxn>
              <a:cxn ang="0">
                <a:pos x="connsiteX30640" y="connsiteY30640"/>
              </a:cxn>
              <a:cxn ang="0">
                <a:pos x="connsiteX30641" y="connsiteY30641"/>
              </a:cxn>
              <a:cxn ang="0">
                <a:pos x="connsiteX30642" y="connsiteY30642"/>
              </a:cxn>
              <a:cxn ang="0">
                <a:pos x="connsiteX30643" y="connsiteY30643"/>
              </a:cxn>
              <a:cxn ang="0">
                <a:pos x="connsiteX30644" y="connsiteY30644"/>
              </a:cxn>
              <a:cxn ang="0">
                <a:pos x="connsiteX30645" y="connsiteY30645"/>
              </a:cxn>
              <a:cxn ang="0">
                <a:pos x="connsiteX30646" y="connsiteY30646"/>
              </a:cxn>
              <a:cxn ang="0">
                <a:pos x="connsiteX30647" y="connsiteY30647"/>
              </a:cxn>
              <a:cxn ang="0">
                <a:pos x="connsiteX30648" y="connsiteY30648"/>
              </a:cxn>
              <a:cxn ang="0">
                <a:pos x="connsiteX30649" y="connsiteY30649"/>
              </a:cxn>
              <a:cxn ang="0">
                <a:pos x="connsiteX30650" y="connsiteY30650"/>
              </a:cxn>
              <a:cxn ang="0">
                <a:pos x="connsiteX30651" y="connsiteY30651"/>
              </a:cxn>
              <a:cxn ang="0">
                <a:pos x="connsiteX30652" y="connsiteY30652"/>
              </a:cxn>
              <a:cxn ang="0">
                <a:pos x="connsiteX30653" y="connsiteY30653"/>
              </a:cxn>
              <a:cxn ang="0">
                <a:pos x="connsiteX30654" y="connsiteY30654"/>
              </a:cxn>
              <a:cxn ang="0">
                <a:pos x="connsiteX30655" y="connsiteY30655"/>
              </a:cxn>
              <a:cxn ang="0">
                <a:pos x="connsiteX30656" y="connsiteY30656"/>
              </a:cxn>
              <a:cxn ang="0">
                <a:pos x="connsiteX30657" y="connsiteY30657"/>
              </a:cxn>
              <a:cxn ang="0">
                <a:pos x="connsiteX30658" y="connsiteY30658"/>
              </a:cxn>
              <a:cxn ang="0">
                <a:pos x="connsiteX30659" y="connsiteY30659"/>
              </a:cxn>
              <a:cxn ang="0">
                <a:pos x="connsiteX30660" y="connsiteY30660"/>
              </a:cxn>
              <a:cxn ang="0">
                <a:pos x="connsiteX30661" y="connsiteY30661"/>
              </a:cxn>
              <a:cxn ang="0">
                <a:pos x="connsiteX30662" y="connsiteY30662"/>
              </a:cxn>
              <a:cxn ang="0">
                <a:pos x="connsiteX30663" y="connsiteY30663"/>
              </a:cxn>
              <a:cxn ang="0">
                <a:pos x="connsiteX30664" y="connsiteY30664"/>
              </a:cxn>
              <a:cxn ang="0">
                <a:pos x="connsiteX30665" y="connsiteY30665"/>
              </a:cxn>
              <a:cxn ang="0">
                <a:pos x="connsiteX30666" y="connsiteY30666"/>
              </a:cxn>
              <a:cxn ang="0">
                <a:pos x="connsiteX30667" y="connsiteY30667"/>
              </a:cxn>
              <a:cxn ang="0">
                <a:pos x="connsiteX30668" y="connsiteY30668"/>
              </a:cxn>
              <a:cxn ang="0">
                <a:pos x="connsiteX30669" y="connsiteY30669"/>
              </a:cxn>
              <a:cxn ang="0">
                <a:pos x="connsiteX30670" y="connsiteY30670"/>
              </a:cxn>
              <a:cxn ang="0">
                <a:pos x="connsiteX30671" y="connsiteY30671"/>
              </a:cxn>
              <a:cxn ang="0">
                <a:pos x="connsiteX30672" y="connsiteY30672"/>
              </a:cxn>
              <a:cxn ang="0">
                <a:pos x="connsiteX30673" y="connsiteY30673"/>
              </a:cxn>
              <a:cxn ang="0">
                <a:pos x="connsiteX30674" y="connsiteY30674"/>
              </a:cxn>
              <a:cxn ang="0">
                <a:pos x="connsiteX30675" y="connsiteY30675"/>
              </a:cxn>
              <a:cxn ang="0">
                <a:pos x="connsiteX30676" y="connsiteY30676"/>
              </a:cxn>
              <a:cxn ang="0">
                <a:pos x="connsiteX30677" y="connsiteY30677"/>
              </a:cxn>
              <a:cxn ang="0">
                <a:pos x="connsiteX30678" y="connsiteY30678"/>
              </a:cxn>
              <a:cxn ang="0">
                <a:pos x="connsiteX30679" y="connsiteY30679"/>
              </a:cxn>
              <a:cxn ang="0">
                <a:pos x="connsiteX30680" y="connsiteY30680"/>
              </a:cxn>
              <a:cxn ang="0">
                <a:pos x="connsiteX30681" y="connsiteY30681"/>
              </a:cxn>
              <a:cxn ang="0">
                <a:pos x="connsiteX30682" y="connsiteY30682"/>
              </a:cxn>
              <a:cxn ang="0">
                <a:pos x="connsiteX30683" y="connsiteY30683"/>
              </a:cxn>
              <a:cxn ang="0">
                <a:pos x="connsiteX30684" y="connsiteY30684"/>
              </a:cxn>
              <a:cxn ang="0">
                <a:pos x="connsiteX30685" y="connsiteY30685"/>
              </a:cxn>
              <a:cxn ang="0">
                <a:pos x="connsiteX30686" y="connsiteY30686"/>
              </a:cxn>
              <a:cxn ang="0">
                <a:pos x="connsiteX30687" y="connsiteY30687"/>
              </a:cxn>
              <a:cxn ang="0">
                <a:pos x="connsiteX30688" y="connsiteY30688"/>
              </a:cxn>
              <a:cxn ang="0">
                <a:pos x="connsiteX30689" y="connsiteY30689"/>
              </a:cxn>
              <a:cxn ang="0">
                <a:pos x="connsiteX30690" y="connsiteY30690"/>
              </a:cxn>
              <a:cxn ang="0">
                <a:pos x="connsiteX30691" y="connsiteY30691"/>
              </a:cxn>
              <a:cxn ang="0">
                <a:pos x="connsiteX30692" y="connsiteY30692"/>
              </a:cxn>
              <a:cxn ang="0">
                <a:pos x="connsiteX30693" y="connsiteY30693"/>
              </a:cxn>
              <a:cxn ang="0">
                <a:pos x="connsiteX30694" y="connsiteY30694"/>
              </a:cxn>
              <a:cxn ang="0">
                <a:pos x="connsiteX30695" y="connsiteY30695"/>
              </a:cxn>
              <a:cxn ang="0">
                <a:pos x="connsiteX30696" y="connsiteY30696"/>
              </a:cxn>
              <a:cxn ang="0">
                <a:pos x="connsiteX30697" y="connsiteY30697"/>
              </a:cxn>
              <a:cxn ang="0">
                <a:pos x="connsiteX30698" y="connsiteY30698"/>
              </a:cxn>
              <a:cxn ang="0">
                <a:pos x="connsiteX30699" y="connsiteY30699"/>
              </a:cxn>
              <a:cxn ang="0">
                <a:pos x="connsiteX30700" y="connsiteY30700"/>
              </a:cxn>
              <a:cxn ang="0">
                <a:pos x="connsiteX30701" y="connsiteY30701"/>
              </a:cxn>
              <a:cxn ang="0">
                <a:pos x="connsiteX30702" y="connsiteY30702"/>
              </a:cxn>
              <a:cxn ang="0">
                <a:pos x="connsiteX30703" y="connsiteY30703"/>
              </a:cxn>
              <a:cxn ang="0">
                <a:pos x="connsiteX30704" y="connsiteY30704"/>
              </a:cxn>
              <a:cxn ang="0">
                <a:pos x="connsiteX30705" y="connsiteY30705"/>
              </a:cxn>
              <a:cxn ang="0">
                <a:pos x="connsiteX30706" y="connsiteY30706"/>
              </a:cxn>
              <a:cxn ang="0">
                <a:pos x="connsiteX30707" y="connsiteY30707"/>
              </a:cxn>
              <a:cxn ang="0">
                <a:pos x="connsiteX30708" y="connsiteY30708"/>
              </a:cxn>
              <a:cxn ang="0">
                <a:pos x="connsiteX30709" y="connsiteY30709"/>
              </a:cxn>
              <a:cxn ang="0">
                <a:pos x="connsiteX30710" y="connsiteY30710"/>
              </a:cxn>
              <a:cxn ang="0">
                <a:pos x="connsiteX30711" y="connsiteY30711"/>
              </a:cxn>
              <a:cxn ang="0">
                <a:pos x="connsiteX30712" y="connsiteY30712"/>
              </a:cxn>
              <a:cxn ang="0">
                <a:pos x="connsiteX30713" y="connsiteY30713"/>
              </a:cxn>
              <a:cxn ang="0">
                <a:pos x="connsiteX30714" y="connsiteY30714"/>
              </a:cxn>
              <a:cxn ang="0">
                <a:pos x="connsiteX30715" y="connsiteY30715"/>
              </a:cxn>
              <a:cxn ang="0">
                <a:pos x="connsiteX30716" y="connsiteY30716"/>
              </a:cxn>
              <a:cxn ang="0">
                <a:pos x="connsiteX30717" y="connsiteY30717"/>
              </a:cxn>
              <a:cxn ang="0">
                <a:pos x="connsiteX30718" y="connsiteY30718"/>
              </a:cxn>
              <a:cxn ang="0">
                <a:pos x="connsiteX30719" y="connsiteY30719"/>
              </a:cxn>
              <a:cxn ang="0">
                <a:pos x="connsiteX30720" y="connsiteY30720"/>
              </a:cxn>
              <a:cxn ang="0">
                <a:pos x="connsiteX30721" y="connsiteY30721"/>
              </a:cxn>
              <a:cxn ang="0">
                <a:pos x="connsiteX30722" y="connsiteY30722"/>
              </a:cxn>
              <a:cxn ang="0">
                <a:pos x="connsiteX30723" y="connsiteY30723"/>
              </a:cxn>
              <a:cxn ang="0">
                <a:pos x="connsiteX30724" y="connsiteY30724"/>
              </a:cxn>
              <a:cxn ang="0">
                <a:pos x="connsiteX30725" y="connsiteY30725"/>
              </a:cxn>
              <a:cxn ang="0">
                <a:pos x="connsiteX30726" y="connsiteY30726"/>
              </a:cxn>
              <a:cxn ang="0">
                <a:pos x="connsiteX30727" y="connsiteY30727"/>
              </a:cxn>
              <a:cxn ang="0">
                <a:pos x="connsiteX30728" y="connsiteY30728"/>
              </a:cxn>
              <a:cxn ang="0">
                <a:pos x="connsiteX30729" y="connsiteY30729"/>
              </a:cxn>
              <a:cxn ang="0">
                <a:pos x="connsiteX30730" y="connsiteY30730"/>
              </a:cxn>
              <a:cxn ang="0">
                <a:pos x="connsiteX30731" y="connsiteY30731"/>
              </a:cxn>
              <a:cxn ang="0">
                <a:pos x="connsiteX30732" y="connsiteY30732"/>
              </a:cxn>
              <a:cxn ang="0">
                <a:pos x="connsiteX30733" y="connsiteY30733"/>
              </a:cxn>
              <a:cxn ang="0">
                <a:pos x="connsiteX30734" y="connsiteY30734"/>
              </a:cxn>
              <a:cxn ang="0">
                <a:pos x="connsiteX30735" y="connsiteY30735"/>
              </a:cxn>
              <a:cxn ang="0">
                <a:pos x="connsiteX30736" y="connsiteY30736"/>
              </a:cxn>
              <a:cxn ang="0">
                <a:pos x="connsiteX30737" y="connsiteY30737"/>
              </a:cxn>
              <a:cxn ang="0">
                <a:pos x="connsiteX30738" y="connsiteY30738"/>
              </a:cxn>
              <a:cxn ang="0">
                <a:pos x="connsiteX30739" y="connsiteY30739"/>
              </a:cxn>
              <a:cxn ang="0">
                <a:pos x="connsiteX30740" y="connsiteY30740"/>
              </a:cxn>
              <a:cxn ang="0">
                <a:pos x="connsiteX30741" y="connsiteY30741"/>
              </a:cxn>
              <a:cxn ang="0">
                <a:pos x="connsiteX30742" y="connsiteY30742"/>
              </a:cxn>
              <a:cxn ang="0">
                <a:pos x="connsiteX30743" y="connsiteY30743"/>
              </a:cxn>
              <a:cxn ang="0">
                <a:pos x="connsiteX30744" y="connsiteY30744"/>
              </a:cxn>
              <a:cxn ang="0">
                <a:pos x="connsiteX30745" y="connsiteY30745"/>
              </a:cxn>
              <a:cxn ang="0">
                <a:pos x="connsiteX30746" y="connsiteY30746"/>
              </a:cxn>
              <a:cxn ang="0">
                <a:pos x="connsiteX30747" y="connsiteY30747"/>
              </a:cxn>
              <a:cxn ang="0">
                <a:pos x="connsiteX30748" y="connsiteY30748"/>
              </a:cxn>
              <a:cxn ang="0">
                <a:pos x="connsiteX30749" y="connsiteY30749"/>
              </a:cxn>
              <a:cxn ang="0">
                <a:pos x="connsiteX30750" y="connsiteY30750"/>
              </a:cxn>
              <a:cxn ang="0">
                <a:pos x="connsiteX30751" y="connsiteY30751"/>
              </a:cxn>
              <a:cxn ang="0">
                <a:pos x="connsiteX30752" y="connsiteY30752"/>
              </a:cxn>
              <a:cxn ang="0">
                <a:pos x="connsiteX30753" y="connsiteY30753"/>
              </a:cxn>
              <a:cxn ang="0">
                <a:pos x="connsiteX30754" y="connsiteY30754"/>
              </a:cxn>
              <a:cxn ang="0">
                <a:pos x="connsiteX30755" y="connsiteY30755"/>
              </a:cxn>
              <a:cxn ang="0">
                <a:pos x="connsiteX30756" y="connsiteY30756"/>
              </a:cxn>
              <a:cxn ang="0">
                <a:pos x="connsiteX30757" y="connsiteY30757"/>
              </a:cxn>
              <a:cxn ang="0">
                <a:pos x="connsiteX30758" y="connsiteY30758"/>
              </a:cxn>
              <a:cxn ang="0">
                <a:pos x="connsiteX30759" y="connsiteY30759"/>
              </a:cxn>
              <a:cxn ang="0">
                <a:pos x="connsiteX30760" y="connsiteY30760"/>
              </a:cxn>
              <a:cxn ang="0">
                <a:pos x="connsiteX30761" y="connsiteY30761"/>
              </a:cxn>
              <a:cxn ang="0">
                <a:pos x="connsiteX30762" y="connsiteY30762"/>
              </a:cxn>
              <a:cxn ang="0">
                <a:pos x="connsiteX30763" y="connsiteY30763"/>
              </a:cxn>
              <a:cxn ang="0">
                <a:pos x="connsiteX30764" y="connsiteY30764"/>
              </a:cxn>
              <a:cxn ang="0">
                <a:pos x="connsiteX30765" y="connsiteY30765"/>
              </a:cxn>
              <a:cxn ang="0">
                <a:pos x="connsiteX30766" y="connsiteY30766"/>
              </a:cxn>
              <a:cxn ang="0">
                <a:pos x="connsiteX30767" y="connsiteY30767"/>
              </a:cxn>
              <a:cxn ang="0">
                <a:pos x="connsiteX30768" y="connsiteY30768"/>
              </a:cxn>
              <a:cxn ang="0">
                <a:pos x="connsiteX30769" y="connsiteY30769"/>
              </a:cxn>
              <a:cxn ang="0">
                <a:pos x="connsiteX30770" y="connsiteY30770"/>
              </a:cxn>
              <a:cxn ang="0">
                <a:pos x="connsiteX30771" y="connsiteY30771"/>
              </a:cxn>
              <a:cxn ang="0">
                <a:pos x="connsiteX30772" y="connsiteY30772"/>
              </a:cxn>
              <a:cxn ang="0">
                <a:pos x="connsiteX30773" y="connsiteY30773"/>
              </a:cxn>
              <a:cxn ang="0">
                <a:pos x="connsiteX30774" y="connsiteY30774"/>
              </a:cxn>
              <a:cxn ang="0">
                <a:pos x="connsiteX30775" y="connsiteY30775"/>
              </a:cxn>
              <a:cxn ang="0">
                <a:pos x="connsiteX30776" y="connsiteY30776"/>
              </a:cxn>
              <a:cxn ang="0">
                <a:pos x="connsiteX30777" y="connsiteY30777"/>
              </a:cxn>
              <a:cxn ang="0">
                <a:pos x="connsiteX30778" y="connsiteY30778"/>
              </a:cxn>
              <a:cxn ang="0">
                <a:pos x="connsiteX30779" y="connsiteY30779"/>
              </a:cxn>
              <a:cxn ang="0">
                <a:pos x="connsiteX30780" y="connsiteY30780"/>
              </a:cxn>
              <a:cxn ang="0">
                <a:pos x="connsiteX30781" y="connsiteY30781"/>
              </a:cxn>
              <a:cxn ang="0">
                <a:pos x="connsiteX30782" y="connsiteY30782"/>
              </a:cxn>
              <a:cxn ang="0">
                <a:pos x="connsiteX30783" y="connsiteY30783"/>
              </a:cxn>
              <a:cxn ang="0">
                <a:pos x="connsiteX30784" y="connsiteY30784"/>
              </a:cxn>
              <a:cxn ang="0">
                <a:pos x="connsiteX30785" y="connsiteY30785"/>
              </a:cxn>
              <a:cxn ang="0">
                <a:pos x="connsiteX30786" y="connsiteY30786"/>
              </a:cxn>
              <a:cxn ang="0">
                <a:pos x="connsiteX30787" y="connsiteY30787"/>
              </a:cxn>
              <a:cxn ang="0">
                <a:pos x="connsiteX30788" y="connsiteY30788"/>
              </a:cxn>
              <a:cxn ang="0">
                <a:pos x="connsiteX30789" y="connsiteY30789"/>
              </a:cxn>
              <a:cxn ang="0">
                <a:pos x="connsiteX30790" y="connsiteY30790"/>
              </a:cxn>
              <a:cxn ang="0">
                <a:pos x="connsiteX30791" y="connsiteY30791"/>
              </a:cxn>
              <a:cxn ang="0">
                <a:pos x="connsiteX30792" y="connsiteY30792"/>
              </a:cxn>
              <a:cxn ang="0">
                <a:pos x="connsiteX30793" y="connsiteY30793"/>
              </a:cxn>
              <a:cxn ang="0">
                <a:pos x="connsiteX30794" y="connsiteY30794"/>
              </a:cxn>
              <a:cxn ang="0">
                <a:pos x="connsiteX30795" y="connsiteY30795"/>
              </a:cxn>
              <a:cxn ang="0">
                <a:pos x="connsiteX30796" y="connsiteY30796"/>
              </a:cxn>
              <a:cxn ang="0">
                <a:pos x="connsiteX30797" y="connsiteY30797"/>
              </a:cxn>
              <a:cxn ang="0">
                <a:pos x="connsiteX30798" y="connsiteY30798"/>
              </a:cxn>
              <a:cxn ang="0">
                <a:pos x="connsiteX30799" y="connsiteY30799"/>
              </a:cxn>
              <a:cxn ang="0">
                <a:pos x="connsiteX30800" y="connsiteY30800"/>
              </a:cxn>
              <a:cxn ang="0">
                <a:pos x="connsiteX30801" y="connsiteY30801"/>
              </a:cxn>
              <a:cxn ang="0">
                <a:pos x="connsiteX30802" y="connsiteY30802"/>
              </a:cxn>
              <a:cxn ang="0">
                <a:pos x="connsiteX30803" y="connsiteY30803"/>
              </a:cxn>
              <a:cxn ang="0">
                <a:pos x="connsiteX30804" y="connsiteY30804"/>
              </a:cxn>
              <a:cxn ang="0">
                <a:pos x="connsiteX30805" y="connsiteY30805"/>
              </a:cxn>
              <a:cxn ang="0">
                <a:pos x="connsiteX30806" y="connsiteY30806"/>
              </a:cxn>
              <a:cxn ang="0">
                <a:pos x="connsiteX30807" y="connsiteY30807"/>
              </a:cxn>
              <a:cxn ang="0">
                <a:pos x="connsiteX30808" y="connsiteY30808"/>
              </a:cxn>
              <a:cxn ang="0">
                <a:pos x="connsiteX30809" y="connsiteY30809"/>
              </a:cxn>
              <a:cxn ang="0">
                <a:pos x="connsiteX30810" y="connsiteY30810"/>
              </a:cxn>
              <a:cxn ang="0">
                <a:pos x="connsiteX30811" y="connsiteY30811"/>
              </a:cxn>
              <a:cxn ang="0">
                <a:pos x="connsiteX30812" y="connsiteY30812"/>
              </a:cxn>
              <a:cxn ang="0">
                <a:pos x="connsiteX30813" y="connsiteY30813"/>
              </a:cxn>
              <a:cxn ang="0">
                <a:pos x="connsiteX30814" y="connsiteY30814"/>
              </a:cxn>
              <a:cxn ang="0">
                <a:pos x="connsiteX30815" y="connsiteY30815"/>
              </a:cxn>
              <a:cxn ang="0">
                <a:pos x="connsiteX30816" y="connsiteY30816"/>
              </a:cxn>
              <a:cxn ang="0">
                <a:pos x="connsiteX30817" y="connsiteY30817"/>
              </a:cxn>
              <a:cxn ang="0">
                <a:pos x="connsiteX30818" y="connsiteY30818"/>
              </a:cxn>
              <a:cxn ang="0">
                <a:pos x="connsiteX30819" y="connsiteY30819"/>
              </a:cxn>
              <a:cxn ang="0">
                <a:pos x="connsiteX30820" y="connsiteY30820"/>
              </a:cxn>
              <a:cxn ang="0">
                <a:pos x="connsiteX30821" y="connsiteY30821"/>
              </a:cxn>
              <a:cxn ang="0">
                <a:pos x="connsiteX30822" y="connsiteY30822"/>
              </a:cxn>
              <a:cxn ang="0">
                <a:pos x="connsiteX30823" y="connsiteY30823"/>
              </a:cxn>
              <a:cxn ang="0">
                <a:pos x="connsiteX30824" y="connsiteY30824"/>
              </a:cxn>
              <a:cxn ang="0">
                <a:pos x="connsiteX30825" y="connsiteY30825"/>
              </a:cxn>
              <a:cxn ang="0">
                <a:pos x="connsiteX30826" y="connsiteY30826"/>
              </a:cxn>
              <a:cxn ang="0">
                <a:pos x="connsiteX30827" y="connsiteY30827"/>
              </a:cxn>
              <a:cxn ang="0">
                <a:pos x="connsiteX30828" y="connsiteY30828"/>
              </a:cxn>
              <a:cxn ang="0">
                <a:pos x="connsiteX30829" y="connsiteY30829"/>
              </a:cxn>
              <a:cxn ang="0">
                <a:pos x="connsiteX30830" y="connsiteY30830"/>
              </a:cxn>
              <a:cxn ang="0">
                <a:pos x="connsiteX30831" y="connsiteY30831"/>
              </a:cxn>
              <a:cxn ang="0">
                <a:pos x="connsiteX30832" y="connsiteY30832"/>
              </a:cxn>
              <a:cxn ang="0">
                <a:pos x="connsiteX30833" y="connsiteY30833"/>
              </a:cxn>
              <a:cxn ang="0">
                <a:pos x="connsiteX30834" y="connsiteY30834"/>
              </a:cxn>
              <a:cxn ang="0">
                <a:pos x="connsiteX30835" y="connsiteY30835"/>
              </a:cxn>
              <a:cxn ang="0">
                <a:pos x="connsiteX30836" y="connsiteY30836"/>
              </a:cxn>
              <a:cxn ang="0">
                <a:pos x="connsiteX30837" y="connsiteY30837"/>
              </a:cxn>
              <a:cxn ang="0">
                <a:pos x="connsiteX30838" y="connsiteY30838"/>
              </a:cxn>
              <a:cxn ang="0">
                <a:pos x="connsiteX30839" y="connsiteY30839"/>
              </a:cxn>
              <a:cxn ang="0">
                <a:pos x="connsiteX30840" y="connsiteY30840"/>
              </a:cxn>
              <a:cxn ang="0">
                <a:pos x="connsiteX30841" y="connsiteY30841"/>
              </a:cxn>
              <a:cxn ang="0">
                <a:pos x="connsiteX30842" y="connsiteY30842"/>
              </a:cxn>
              <a:cxn ang="0">
                <a:pos x="connsiteX30843" y="connsiteY30843"/>
              </a:cxn>
              <a:cxn ang="0">
                <a:pos x="connsiteX30844" y="connsiteY30844"/>
              </a:cxn>
              <a:cxn ang="0">
                <a:pos x="connsiteX30845" y="connsiteY30845"/>
              </a:cxn>
              <a:cxn ang="0">
                <a:pos x="connsiteX30846" y="connsiteY30846"/>
              </a:cxn>
              <a:cxn ang="0">
                <a:pos x="connsiteX30847" y="connsiteY30847"/>
              </a:cxn>
              <a:cxn ang="0">
                <a:pos x="connsiteX30848" y="connsiteY30848"/>
              </a:cxn>
              <a:cxn ang="0">
                <a:pos x="connsiteX30849" y="connsiteY30849"/>
              </a:cxn>
              <a:cxn ang="0">
                <a:pos x="connsiteX30850" y="connsiteY30850"/>
              </a:cxn>
              <a:cxn ang="0">
                <a:pos x="connsiteX30851" y="connsiteY30851"/>
              </a:cxn>
              <a:cxn ang="0">
                <a:pos x="connsiteX30852" y="connsiteY30852"/>
              </a:cxn>
              <a:cxn ang="0">
                <a:pos x="connsiteX30853" y="connsiteY30853"/>
              </a:cxn>
              <a:cxn ang="0">
                <a:pos x="connsiteX30854" y="connsiteY30854"/>
              </a:cxn>
              <a:cxn ang="0">
                <a:pos x="connsiteX30855" y="connsiteY30855"/>
              </a:cxn>
              <a:cxn ang="0">
                <a:pos x="connsiteX30856" y="connsiteY30856"/>
              </a:cxn>
              <a:cxn ang="0">
                <a:pos x="connsiteX30857" y="connsiteY30857"/>
              </a:cxn>
              <a:cxn ang="0">
                <a:pos x="connsiteX30858" y="connsiteY30858"/>
              </a:cxn>
              <a:cxn ang="0">
                <a:pos x="connsiteX30859" y="connsiteY30859"/>
              </a:cxn>
              <a:cxn ang="0">
                <a:pos x="connsiteX30860" y="connsiteY30860"/>
              </a:cxn>
              <a:cxn ang="0">
                <a:pos x="connsiteX30861" y="connsiteY30861"/>
              </a:cxn>
              <a:cxn ang="0">
                <a:pos x="connsiteX30862" y="connsiteY30862"/>
              </a:cxn>
              <a:cxn ang="0">
                <a:pos x="connsiteX30863" y="connsiteY30863"/>
              </a:cxn>
              <a:cxn ang="0">
                <a:pos x="connsiteX30864" y="connsiteY30864"/>
              </a:cxn>
              <a:cxn ang="0">
                <a:pos x="connsiteX30865" y="connsiteY30865"/>
              </a:cxn>
              <a:cxn ang="0">
                <a:pos x="connsiteX30866" y="connsiteY30866"/>
              </a:cxn>
              <a:cxn ang="0">
                <a:pos x="connsiteX30867" y="connsiteY30867"/>
              </a:cxn>
              <a:cxn ang="0">
                <a:pos x="connsiteX30868" y="connsiteY30868"/>
              </a:cxn>
              <a:cxn ang="0">
                <a:pos x="connsiteX30869" y="connsiteY30869"/>
              </a:cxn>
              <a:cxn ang="0">
                <a:pos x="connsiteX30870" y="connsiteY30870"/>
              </a:cxn>
              <a:cxn ang="0">
                <a:pos x="connsiteX30871" y="connsiteY30871"/>
              </a:cxn>
              <a:cxn ang="0">
                <a:pos x="connsiteX30872" y="connsiteY30872"/>
              </a:cxn>
              <a:cxn ang="0">
                <a:pos x="connsiteX30873" y="connsiteY30873"/>
              </a:cxn>
              <a:cxn ang="0">
                <a:pos x="connsiteX30874" y="connsiteY30874"/>
              </a:cxn>
              <a:cxn ang="0">
                <a:pos x="connsiteX30875" y="connsiteY30875"/>
              </a:cxn>
              <a:cxn ang="0">
                <a:pos x="connsiteX30876" y="connsiteY30876"/>
              </a:cxn>
              <a:cxn ang="0">
                <a:pos x="connsiteX30877" y="connsiteY30877"/>
              </a:cxn>
              <a:cxn ang="0">
                <a:pos x="connsiteX30878" y="connsiteY30878"/>
              </a:cxn>
              <a:cxn ang="0">
                <a:pos x="connsiteX30879" y="connsiteY30879"/>
              </a:cxn>
              <a:cxn ang="0">
                <a:pos x="connsiteX30880" y="connsiteY30880"/>
              </a:cxn>
              <a:cxn ang="0">
                <a:pos x="connsiteX30881" y="connsiteY30881"/>
              </a:cxn>
              <a:cxn ang="0">
                <a:pos x="connsiteX30882" y="connsiteY30882"/>
              </a:cxn>
              <a:cxn ang="0">
                <a:pos x="connsiteX30883" y="connsiteY30883"/>
              </a:cxn>
              <a:cxn ang="0">
                <a:pos x="connsiteX30884" y="connsiteY30884"/>
              </a:cxn>
              <a:cxn ang="0">
                <a:pos x="connsiteX30885" y="connsiteY30885"/>
              </a:cxn>
              <a:cxn ang="0">
                <a:pos x="connsiteX30886" y="connsiteY30886"/>
              </a:cxn>
              <a:cxn ang="0">
                <a:pos x="connsiteX30887" y="connsiteY30887"/>
              </a:cxn>
              <a:cxn ang="0">
                <a:pos x="connsiteX30888" y="connsiteY30888"/>
              </a:cxn>
              <a:cxn ang="0">
                <a:pos x="connsiteX30889" y="connsiteY30889"/>
              </a:cxn>
              <a:cxn ang="0">
                <a:pos x="connsiteX30890" y="connsiteY30890"/>
              </a:cxn>
              <a:cxn ang="0">
                <a:pos x="connsiteX30891" y="connsiteY30891"/>
              </a:cxn>
              <a:cxn ang="0">
                <a:pos x="connsiteX30892" y="connsiteY30892"/>
              </a:cxn>
              <a:cxn ang="0">
                <a:pos x="connsiteX30893" y="connsiteY30893"/>
              </a:cxn>
              <a:cxn ang="0">
                <a:pos x="connsiteX30894" y="connsiteY30894"/>
              </a:cxn>
              <a:cxn ang="0">
                <a:pos x="connsiteX30895" y="connsiteY30895"/>
              </a:cxn>
              <a:cxn ang="0">
                <a:pos x="connsiteX30896" y="connsiteY30896"/>
              </a:cxn>
              <a:cxn ang="0">
                <a:pos x="connsiteX30897" y="connsiteY30897"/>
              </a:cxn>
              <a:cxn ang="0">
                <a:pos x="connsiteX30898" y="connsiteY30898"/>
              </a:cxn>
              <a:cxn ang="0">
                <a:pos x="connsiteX30899" y="connsiteY30899"/>
              </a:cxn>
              <a:cxn ang="0">
                <a:pos x="connsiteX30900" y="connsiteY30900"/>
              </a:cxn>
              <a:cxn ang="0">
                <a:pos x="connsiteX30901" y="connsiteY30901"/>
              </a:cxn>
              <a:cxn ang="0">
                <a:pos x="connsiteX30902" y="connsiteY30902"/>
              </a:cxn>
              <a:cxn ang="0">
                <a:pos x="connsiteX30903" y="connsiteY30903"/>
              </a:cxn>
              <a:cxn ang="0">
                <a:pos x="connsiteX30904" y="connsiteY30904"/>
              </a:cxn>
              <a:cxn ang="0">
                <a:pos x="connsiteX30905" y="connsiteY30905"/>
              </a:cxn>
              <a:cxn ang="0">
                <a:pos x="connsiteX30906" y="connsiteY30906"/>
              </a:cxn>
              <a:cxn ang="0">
                <a:pos x="connsiteX30907" y="connsiteY30907"/>
              </a:cxn>
              <a:cxn ang="0">
                <a:pos x="connsiteX30908" y="connsiteY30908"/>
              </a:cxn>
              <a:cxn ang="0">
                <a:pos x="connsiteX30909" y="connsiteY30909"/>
              </a:cxn>
              <a:cxn ang="0">
                <a:pos x="connsiteX30910" y="connsiteY30910"/>
              </a:cxn>
              <a:cxn ang="0">
                <a:pos x="connsiteX30911" y="connsiteY30911"/>
              </a:cxn>
              <a:cxn ang="0">
                <a:pos x="connsiteX30912" y="connsiteY30912"/>
              </a:cxn>
              <a:cxn ang="0">
                <a:pos x="connsiteX30913" y="connsiteY30913"/>
              </a:cxn>
              <a:cxn ang="0">
                <a:pos x="connsiteX30914" y="connsiteY30914"/>
              </a:cxn>
              <a:cxn ang="0">
                <a:pos x="connsiteX30915" y="connsiteY30915"/>
              </a:cxn>
              <a:cxn ang="0">
                <a:pos x="connsiteX30916" y="connsiteY30916"/>
              </a:cxn>
              <a:cxn ang="0">
                <a:pos x="connsiteX30917" y="connsiteY30917"/>
              </a:cxn>
              <a:cxn ang="0">
                <a:pos x="connsiteX30918" y="connsiteY30918"/>
              </a:cxn>
              <a:cxn ang="0">
                <a:pos x="connsiteX30919" y="connsiteY30919"/>
              </a:cxn>
              <a:cxn ang="0">
                <a:pos x="connsiteX30920" y="connsiteY30920"/>
              </a:cxn>
              <a:cxn ang="0">
                <a:pos x="connsiteX30921" y="connsiteY30921"/>
              </a:cxn>
              <a:cxn ang="0">
                <a:pos x="connsiteX30922" y="connsiteY30922"/>
              </a:cxn>
              <a:cxn ang="0">
                <a:pos x="connsiteX30923" y="connsiteY30923"/>
              </a:cxn>
              <a:cxn ang="0">
                <a:pos x="connsiteX30924" y="connsiteY30924"/>
              </a:cxn>
              <a:cxn ang="0">
                <a:pos x="connsiteX30925" y="connsiteY30925"/>
              </a:cxn>
              <a:cxn ang="0">
                <a:pos x="connsiteX30926" y="connsiteY30926"/>
              </a:cxn>
              <a:cxn ang="0">
                <a:pos x="connsiteX30927" y="connsiteY30927"/>
              </a:cxn>
              <a:cxn ang="0">
                <a:pos x="connsiteX30928" y="connsiteY30928"/>
              </a:cxn>
              <a:cxn ang="0">
                <a:pos x="connsiteX30929" y="connsiteY30929"/>
              </a:cxn>
              <a:cxn ang="0">
                <a:pos x="connsiteX30930" y="connsiteY30930"/>
              </a:cxn>
              <a:cxn ang="0">
                <a:pos x="connsiteX30931" y="connsiteY30931"/>
              </a:cxn>
              <a:cxn ang="0">
                <a:pos x="connsiteX30932" y="connsiteY30932"/>
              </a:cxn>
              <a:cxn ang="0">
                <a:pos x="connsiteX30933" y="connsiteY30933"/>
              </a:cxn>
              <a:cxn ang="0">
                <a:pos x="connsiteX30934" y="connsiteY30934"/>
              </a:cxn>
              <a:cxn ang="0">
                <a:pos x="connsiteX30935" y="connsiteY30935"/>
              </a:cxn>
              <a:cxn ang="0">
                <a:pos x="connsiteX30936" y="connsiteY30936"/>
              </a:cxn>
              <a:cxn ang="0">
                <a:pos x="connsiteX30937" y="connsiteY30937"/>
              </a:cxn>
              <a:cxn ang="0">
                <a:pos x="connsiteX30938" y="connsiteY30938"/>
              </a:cxn>
              <a:cxn ang="0">
                <a:pos x="connsiteX30939" y="connsiteY30939"/>
              </a:cxn>
              <a:cxn ang="0">
                <a:pos x="connsiteX30940" y="connsiteY30940"/>
              </a:cxn>
              <a:cxn ang="0">
                <a:pos x="connsiteX30941" y="connsiteY30941"/>
              </a:cxn>
              <a:cxn ang="0">
                <a:pos x="connsiteX30942" y="connsiteY30942"/>
              </a:cxn>
              <a:cxn ang="0">
                <a:pos x="connsiteX30943" y="connsiteY30943"/>
              </a:cxn>
              <a:cxn ang="0">
                <a:pos x="connsiteX30944" y="connsiteY30944"/>
              </a:cxn>
              <a:cxn ang="0">
                <a:pos x="connsiteX30945" y="connsiteY30945"/>
              </a:cxn>
              <a:cxn ang="0">
                <a:pos x="connsiteX30946" y="connsiteY30946"/>
              </a:cxn>
              <a:cxn ang="0">
                <a:pos x="connsiteX30947" y="connsiteY30947"/>
              </a:cxn>
              <a:cxn ang="0">
                <a:pos x="connsiteX30948" y="connsiteY30948"/>
              </a:cxn>
              <a:cxn ang="0">
                <a:pos x="connsiteX30949" y="connsiteY30949"/>
              </a:cxn>
              <a:cxn ang="0">
                <a:pos x="connsiteX30950" y="connsiteY30950"/>
              </a:cxn>
              <a:cxn ang="0">
                <a:pos x="connsiteX30951" y="connsiteY30951"/>
              </a:cxn>
              <a:cxn ang="0">
                <a:pos x="connsiteX30952" y="connsiteY30952"/>
              </a:cxn>
              <a:cxn ang="0">
                <a:pos x="connsiteX30953" y="connsiteY30953"/>
              </a:cxn>
              <a:cxn ang="0">
                <a:pos x="connsiteX30954" y="connsiteY30954"/>
              </a:cxn>
              <a:cxn ang="0">
                <a:pos x="connsiteX30955" y="connsiteY30955"/>
              </a:cxn>
              <a:cxn ang="0">
                <a:pos x="connsiteX30956" y="connsiteY30956"/>
              </a:cxn>
              <a:cxn ang="0">
                <a:pos x="connsiteX30957" y="connsiteY30957"/>
              </a:cxn>
              <a:cxn ang="0">
                <a:pos x="connsiteX30958" y="connsiteY30958"/>
              </a:cxn>
              <a:cxn ang="0">
                <a:pos x="connsiteX30959" y="connsiteY30959"/>
              </a:cxn>
              <a:cxn ang="0">
                <a:pos x="connsiteX30960" y="connsiteY30960"/>
              </a:cxn>
              <a:cxn ang="0">
                <a:pos x="connsiteX30961" y="connsiteY30961"/>
              </a:cxn>
              <a:cxn ang="0">
                <a:pos x="connsiteX30962" y="connsiteY30962"/>
              </a:cxn>
              <a:cxn ang="0">
                <a:pos x="connsiteX30963" y="connsiteY30963"/>
              </a:cxn>
              <a:cxn ang="0">
                <a:pos x="connsiteX30964" y="connsiteY30964"/>
              </a:cxn>
              <a:cxn ang="0">
                <a:pos x="connsiteX30965" y="connsiteY30965"/>
              </a:cxn>
              <a:cxn ang="0">
                <a:pos x="connsiteX30966" y="connsiteY30966"/>
              </a:cxn>
              <a:cxn ang="0">
                <a:pos x="connsiteX30967" y="connsiteY30967"/>
              </a:cxn>
              <a:cxn ang="0">
                <a:pos x="connsiteX30968" y="connsiteY30968"/>
              </a:cxn>
              <a:cxn ang="0">
                <a:pos x="connsiteX30969" y="connsiteY30969"/>
              </a:cxn>
              <a:cxn ang="0">
                <a:pos x="connsiteX30970" y="connsiteY30970"/>
              </a:cxn>
              <a:cxn ang="0">
                <a:pos x="connsiteX30971" y="connsiteY30971"/>
              </a:cxn>
              <a:cxn ang="0">
                <a:pos x="connsiteX30972" y="connsiteY30972"/>
              </a:cxn>
              <a:cxn ang="0">
                <a:pos x="connsiteX30973" y="connsiteY30973"/>
              </a:cxn>
              <a:cxn ang="0">
                <a:pos x="connsiteX30974" y="connsiteY30974"/>
              </a:cxn>
              <a:cxn ang="0">
                <a:pos x="connsiteX30975" y="connsiteY30975"/>
              </a:cxn>
              <a:cxn ang="0">
                <a:pos x="connsiteX30976" y="connsiteY30976"/>
              </a:cxn>
              <a:cxn ang="0">
                <a:pos x="connsiteX30977" y="connsiteY30977"/>
              </a:cxn>
              <a:cxn ang="0">
                <a:pos x="connsiteX30978" y="connsiteY30978"/>
              </a:cxn>
              <a:cxn ang="0">
                <a:pos x="connsiteX30979" y="connsiteY30979"/>
              </a:cxn>
              <a:cxn ang="0">
                <a:pos x="connsiteX30980" y="connsiteY30980"/>
              </a:cxn>
              <a:cxn ang="0">
                <a:pos x="connsiteX30981" y="connsiteY30981"/>
              </a:cxn>
              <a:cxn ang="0">
                <a:pos x="connsiteX30982" y="connsiteY30982"/>
              </a:cxn>
              <a:cxn ang="0">
                <a:pos x="connsiteX30983" y="connsiteY30983"/>
              </a:cxn>
              <a:cxn ang="0">
                <a:pos x="connsiteX30984" y="connsiteY30984"/>
              </a:cxn>
              <a:cxn ang="0">
                <a:pos x="connsiteX30985" y="connsiteY30985"/>
              </a:cxn>
              <a:cxn ang="0">
                <a:pos x="connsiteX30986" y="connsiteY30986"/>
              </a:cxn>
              <a:cxn ang="0">
                <a:pos x="connsiteX30987" y="connsiteY30987"/>
              </a:cxn>
              <a:cxn ang="0">
                <a:pos x="connsiteX30988" y="connsiteY30988"/>
              </a:cxn>
              <a:cxn ang="0">
                <a:pos x="connsiteX30989" y="connsiteY30989"/>
              </a:cxn>
              <a:cxn ang="0">
                <a:pos x="connsiteX30990" y="connsiteY30990"/>
              </a:cxn>
              <a:cxn ang="0">
                <a:pos x="connsiteX30991" y="connsiteY30991"/>
              </a:cxn>
              <a:cxn ang="0">
                <a:pos x="connsiteX30992" y="connsiteY30992"/>
              </a:cxn>
              <a:cxn ang="0">
                <a:pos x="connsiteX30993" y="connsiteY30993"/>
              </a:cxn>
              <a:cxn ang="0">
                <a:pos x="connsiteX30994" y="connsiteY30994"/>
              </a:cxn>
              <a:cxn ang="0">
                <a:pos x="connsiteX30995" y="connsiteY30995"/>
              </a:cxn>
              <a:cxn ang="0">
                <a:pos x="connsiteX30996" y="connsiteY30996"/>
              </a:cxn>
              <a:cxn ang="0">
                <a:pos x="connsiteX30997" y="connsiteY30997"/>
              </a:cxn>
              <a:cxn ang="0">
                <a:pos x="connsiteX30998" y="connsiteY30998"/>
              </a:cxn>
              <a:cxn ang="0">
                <a:pos x="connsiteX30999" y="connsiteY30999"/>
              </a:cxn>
              <a:cxn ang="0">
                <a:pos x="connsiteX31000" y="connsiteY31000"/>
              </a:cxn>
              <a:cxn ang="0">
                <a:pos x="connsiteX31001" y="connsiteY31001"/>
              </a:cxn>
              <a:cxn ang="0">
                <a:pos x="connsiteX31002" y="connsiteY31002"/>
              </a:cxn>
              <a:cxn ang="0">
                <a:pos x="connsiteX31003" y="connsiteY31003"/>
              </a:cxn>
              <a:cxn ang="0">
                <a:pos x="connsiteX31004" y="connsiteY31004"/>
              </a:cxn>
              <a:cxn ang="0">
                <a:pos x="connsiteX31005" y="connsiteY31005"/>
              </a:cxn>
              <a:cxn ang="0">
                <a:pos x="connsiteX31006" y="connsiteY31006"/>
              </a:cxn>
              <a:cxn ang="0">
                <a:pos x="connsiteX31007" y="connsiteY31007"/>
              </a:cxn>
              <a:cxn ang="0">
                <a:pos x="connsiteX31008" y="connsiteY31008"/>
              </a:cxn>
              <a:cxn ang="0">
                <a:pos x="connsiteX31009" y="connsiteY31009"/>
              </a:cxn>
              <a:cxn ang="0">
                <a:pos x="connsiteX31010" y="connsiteY31010"/>
              </a:cxn>
              <a:cxn ang="0">
                <a:pos x="connsiteX31011" y="connsiteY31011"/>
              </a:cxn>
              <a:cxn ang="0">
                <a:pos x="connsiteX31012" y="connsiteY31012"/>
              </a:cxn>
              <a:cxn ang="0">
                <a:pos x="connsiteX31013" y="connsiteY31013"/>
              </a:cxn>
              <a:cxn ang="0">
                <a:pos x="connsiteX31014" y="connsiteY31014"/>
              </a:cxn>
              <a:cxn ang="0">
                <a:pos x="connsiteX31015" y="connsiteY31015"/>
              </a:cxn>
              <a:cxn ang="0">
                <a:pos x="connsiteX31016" y="connsiteY31016"/>
              </a:cxn>
              <a:cxn ang="0">
                <a:pos x="connsiteX31017" y="connsiteY31017"/>
              </a:cxn>
              <a:cxn ang="0">
                <a:pos x="connsiteX31018" y="connsiteY31018"/>
              </a:cxn>
              <a:cxn ang="0">
                <a:pos x="connsiteX31019" y="connsiteY31019"/>
              </a:cxn>
              <a:cxn ang="0">
                <a:pos x="connsiteX31020" y="connsiteY31020"/>
              </a:cxn>
              <a:cxn ang="0">
                <a:pos x="connsiteX31021" y="connsiteY31021"/>
              </a:cxn>
              <a:cxn ang="0">
                <a:pos x="connsiteX31022" y="connsiteY31022"/>
              </a:cxn>
              <a:cxn ang="0">
                <a:pos x="connsiteX31023" y="connsiteY31023"/>
              </a:cxn>
              <a:cxn ang="0">
                <a:pos x="connsiteX31024" y="connsiteY31024"/>
              </a:cxn>
              <a:cxn ang="0">
                <a:pos x="connsiteX31025" y="connsiteY31025"/>
              </a:cxn>
              <a:cxn ang="0">
                <a:pos x="connsiteX31026" y="connsiteY31026"/>
              </a:cxn>
              <a:cxn ang="0">
                <a:pos x="connsiteX31027" y="connsiteY31027"/>
              </a:cxn>
              <a:cxn ang="0">
                <a:pos x="connsiteX31028" y="connsiteY31028"/>
              </a:cxn>
              <a:cxn ang="0">
                <a:pos x="connsiteX31029" y="connsiteY31029"/>
              </a:cxn>
              <a:cxn ang="0">
                <a:pos x="connsiteX31030" y="connsiteY31030"/>
              </a:cxn>
              <a:cxn ang="0">
                <a:pos x="connsiteX31031" y="connsiteY31031"/>
              </a:cxn>
              <a:cxn ang="0">
                <a:pos x="connsiteX31032" y="connsiteY31032"/>
              </a:cxn>
              <a:cxn ang="0">
                <a:pos x="connsiteX31033" y="connsiteY31033"/>
              </a:cxn>
              <a:cxn ang="0">
                <a:pos x="connsiteX31034" y="connsiteY31034"/>
              </a:cxn>
              <a:cxn ang="0">
                <a:pos x="connsiteX31035" y="connsiteY31035"/>
              </a:cxn>
              <a:cxn ang="0">
                <a:pos x="connsiteX31036" y="connsiteY31036"/>
              </a:cxn>
              <a:cxn ang="0">
                <a:pos x="connsiteX31037" y="connsiteY31037"/>
              </a:cxn>
              <a:cxn ang="0">
                <a:pos x="connsiteX31038" y="connsiteY31038"/>
              </a:cxn>
              <a:cxn ang="0">
                <a:pos x="connsiteX31039" y="connsiteY31039"/>
              </a:cxn>
              <a:cxn ang="0">
                <a:pos x="connsiteX31040" y="connsiteY31040"/>
              </a:cxn>
              <a:cxn ang="0">
                <a:pos x="connsiteX31041" y="connsiteY31041"/>
              </a:cxn>
              <a:cxn ang="0">
                <a:pos x="connsiteX31042" y="connsiteY31042"/>
              </a:cxn>
              <a:cxn ang="0">
                <a:pos x="connsiteX31043" y="connsiteY31043"/>
              </a:cxn>
              <a:cxn ang="0">
                <a:pos x="connsiteX31044" y="connsiteY31044"/>
              </a:cxn>
              <a:cxn ang="0">
                <a:pos x="connsiteX31045" y="connsiteY31045"/>
              </a:cxn>
              <a:cxn ang="0">
                <a:pos x="connsiteX31046" y="connsiteY31046"/>
              </a:cxn>
              <a:cxn ang="0">
                <a:pos x="connsiteX31047" y="connsiteY31047"/>
              </a:cxn>
              <a:cxn ang="0">
                <a:pos x="connsiteX31048" y="connsiteY31048"/>
              </a:cxn>
              <a:cxn ang="0">
                <a:pos x="connsiteX31049" y="connsiteY31049"/>
              </a:cxn>
              <a:cxn ang="0">
                <a:pos x="connsiteX31050" y="connsiteY31050"/>
              </a:cxn>
              <a:cxn ang="0">
                <a:pos x="connsiteX31051" y="connsiteY31051"/>
              </a:cxn>
              <a:cxn ang="0">
                <a:pos x="connsiteX31052" y="connsiteY31052"/>
              </a:cxn>
              <a:cxn ang="0">
                <a:pos x="connsiteX31053" y="connsiteY31053"/>
              </a:cxn>
              <a:cxn ang="0">
                <a:pos x="connsiteX31054" y="connsiteY31054"/>
              </a:cxn>
              <a:cxn ang="0">
                <a:pos x="connsiteX31055" y="connsiteY31055"/>
              </a:cxn>
              <a:cxn ang="0">
                <a:pos x="connsiteX31056" y="connsiteY31056"/>
              </a:cxn>
              <a:cxn ang="0">
                <a:pos x="connsiteX31057" y="connsiteY31057"/>
              </a:cxn>
              <a:cxn ang="0">
                <a:pos x="connsiteX31058" y="connsiteY31058"/>
              </a:cxn>
              <a:cxn ang="0">
                <a:pos x="connsiteX31059" y="connsiteY31059"/>
              </a:cxn>
              <a:cxn ang="0">
                <a:pos x="connsiteX31060" y="connsiteY31060"/>
              </a:cxn>
              <a:cxn ang="0">
                <a:pos x="connsiteX31061" y="connsiteY31061"/>
              </a:cxn>
              <a:cxn ang="0">
                <a:pos x="connsiteX31062" y="connsiteY31062"/>
              </a:cxn>
              <a:cxn ang="0">
                <a:pos x="connsiteX31063" y="connsiteY31063"/>
              </a:cxn>
              <a:cxn ang="0">
                <a:pos x="connsiteX31064" y="connsiteY31064"/>
              </a:cxn>
              <a:cxn ang="0">
                <a:pos x="connsiteX31065" y="connsiteY31065"/>
              </a:cxn>
              <a:cxn ang="0">
                <a:pos x="connsiteX31066" y="connsiteY31066"/>
              </a:cxn>
              <a:cxn ang="0">
                <a:pos x="connsiteX31067" y="connsiteY31067"/>
              </a:cxn>
              <a:cxn ang="0">
                <a:pos x="connsiteX31068" y="connsiteY31068"/>
              </a:cxn>
              <a:cxn ang="0">
                <a:pos x="connsiteX31069" y="connsiteY31069"/>
              </a:cxn>
              <a:cxn ang="0">
                <a:pos x="connsiteX31070" y="connsiteY31070"/>
              </a:cxn>
              <a:cxn ang="0">
                <a:pos x="connsiteX31071" y="connsiteY31071"/>
              </a:cxn>
              <a:cxn ang="0">
                <a:pos x="connsiteX31072" y="connsiteY31072"/>
              </a:cxn>
              <a:cxn ang="0">
                <a:pos x="connsiteX31073" y="connsiteY31073"/>
              </a:cxn>
              <a:cxn ang="0">
                <a:pos x="connsiteX31074" y="connsiteY31074"/>
              </a:cxn>
              <a:cxn ang="0">
                <a:pos x="connsiteX31075" y="connsiteY31075"/>
              </a:cxn>
              <a:cxn ang="0">
                <a:pos x="connsiteX31076" y="connsiteY31076"/>
              </a:cxn>
              <a:cxn ang="0">
                <a:pos x="connsiteX31077" y="connsiteY31077"/>
              </a:cxn>
              <a:cxn ang="0">
                <a:pos x="connsiteX31078" y="connsiteY31078"/>
              </a:cxn>
              <a:cxn ang="0">
                <a:pos x="connsiteX31079" y="connsiteY31079"/>
              </a:cxn>
              <a:cxn ang="0">
                <a:pos x="connsiteX31080" y="connsiteY31080"/>
              </a:cxn>
              <a:cxn ang="0">
                <a:pos x="connsiteX31081" y="connsiteY31081"/>
              </a:cxn>
              <a:cxn ang="0">
                <a:pos x="connsiteX31082" y="connsiteY31082"/>
              </a:cxn>
              <a:cxn ang="0">
                <a:pos x="connsiteX31083" y="connsiteY31083"/>
              </a:cxn>
              <a:cxn ang="0">
                <a:pos x="connsiteX31084" y="connsiteY31084"/>
              </a:cxn>
              <a:cxn ang="0">
                <a:pos x="connsiteX31085" y="connsiteY31085"/>
              </a:cxn>
              <a:cxn ang="0">
                <a:pos x="connsiteX31086" y="connsiteY31086"/>
              </a:cxn>
              <a:cxn ang="0">
                <a:pos x="connsiteX31087" y="connsiteY31087"/>
              </a:cxn>
              <a:cxn ang="0">
                <a:pos x="connsiteX31088" y="connsiteY31088"/>
              </a:cxn>
              <a:cxn ang="0">
                <a:pos x="connsiteX31089" y="connsiteY31089"/>
              </a:cxn>
              <a:cxn ang="0">
                <a:pos x="connsiteX31090" y="connsiteY31090"/>
              </a:cxn>
              <a:cxn ang="0">
                <a:pos x="connsiteX31091" y="connsiteY31091"/>
              </a:cxn>
              <a:cxn ang="0">
                <a:pos x="connsiteX31092" y="connsiteY31092"/>
              </a:cxn>
              <a:cxn ang="0">
                <a:pos x="connsiteX31093" y="connsiteY31093"/>
              </a:cxn>
              <a:cxn ang="0">
                <a:pos x="connsiteX31094" y="connsiteY31094"/>
              </a:cxn>
              <a:cxn ang="0">
                <a:pos x="connsiteX31095" y="connsiteY31095"/>
              </a:cxn>
              <a:cxn ang="0">
                <a:pos x="connsiteX31096" y="connsiteY31096"/>
              </a:cxn>
              <a:cxn ang="0">
                <a:pos x="connsiteX31097" y="connsiteY31097"/>
              </a:cxn>
              <a:cxn ang="0">
                <a:pos x="connsiteX31098" y="connsiteY31098"/>
              </a:cxn>
              <a:cxn ang="0">
                <a:pos x="connsiteX31099" y="connsiteY31099"/>
              </a:cxn>
              <a:cxn ang="0">
                <a:pos x="connsiteX31100" y="connsiteY31100"/>
              </a:cxn>
              <a:cxn ang="0">
                <a:pos x="connsiteX31101" y="connsiteY31101"/>
              </a:cxn>
              <a:cxn ang="0">
                <a:pos x="connsiteX31102" y="connsiteY31102"/>
              </a:cxn>
              <a:cxn ang="0">
                <a:pos x="connsiteX31103" y="connsiteY31103"/>
              </a:cxn>
              <a:cxn ang="0">
                <a:pos x="connsiteX31104" y="connsiteY31104"/>
              </a:cxn>
              <a:cxn ang="0">
                <a:pos x="connsiteX31105" y="connsiteY31105"/>
              </a:cxn>
              <a:cxn ang="0">
                <a:pos x="connsiteX31106" y="connsiteY31106"/>
              </a:cxn>
              <a:cxn ang="0">
                <a:pos x="connsiteX31107" y="connsiteY31107"/>
              </a:cxn>
              <a:cxn ang="0">
                <a:pos x="connsiteX31108" y="connsiteY31108"/>
              </a:cxn>
              <a:cxn ang="0">
                <a:pos x="connsiteX31109" y="connsiteY31109"/>
              </a:cxn>
              <a:cxn ang="0">
                <a:pos x="connsiteX31110" y="connsiteY31110"/>
              </a:cxn>
              <a:cxn ang="0">
                <a:pos x="connsiteX31111" y="connsiteY31111"/>
              </a:cxn>
              <a:cxn ang="0">
                <a:pos x="connsiteX31112" y="connsiteY31112"/>
              </a:cxn>
              <a:cxn ang="0">
                <a:pos x="connsiteX31113" y="connsiteY31113"/>
              </a:cxn>
              <a:cxn ang="0">
                <a:pos x="connsiteX31114" y="connsiteY31114"/>
              </a:cxn>
              <a:cxn ang="0">
                <a:pos x="connsiteX31115" y="connsiteY31115"/>
              </a:cxn>
              <a:cxn ang="0">
                <a:pos x="connsiteX31116" y="connsiteY31116"/>
              </a:cxn>
              <a:cxn ang="0">
                <a:pos x="connsiteX31117" y="connsiteY31117"/>
              </a:cxn>
              <a:cxn ang="0">
                <a:pos x="connsiteX31118" y="connsiteY31118"/>
              </a:cxn>
              <a:cxn ang="0">
                <a:pos x="connsiteX31119" y="connsiteY31119"/>
              </a:cxn>
              <a:cxn ang="0">
                <a:pos x="connsiteX31120" y="connsiteY31120"/>
              </a:cxn>
              <a:cxn ang="0">
                <a:pos x="connsiteX31121" y="connsiteY31121"/>
              </a:cxn>
              <a:cxn ang="0">
                <a:pos x="connsiteX31122" y="connsiteY31122"/>
              </a:cxn>
              <a:cxn ang="0">
                <a:pos x="connsiteX31123" y="connsiteY31123"/>
              </a:cxn>
              <a:cxn ang="0">
                <a:pos x="connsiteX31124" y="connsiteY31124"/>
              </a:cxn>
              <a:cxn ang="0">
                <a:pos x="connsiteX31125" y="connsiteY31125"/>
              </a:cxn>
              <a:cxn ang="0">
                <a:pos x="connsiteX31126" y="connsiteY31126"/>
              </a:cxn>
              <a:cxn ang="0">
                <a:pos x="connsiteX31127" y="connsiteY31127"/>
              </a:cxn>
              <a:cxn ang="0">
                <a:pos x="connsiteX31128" y="connsiteY31128"/>
              </a:cxn>
              <a:cxn ang="0">
                <a:pos x="connsiteX31129" y="connsiteY31129"/>
              </a:cxn>
              <a:cxn ang="0">
                <a:pos x="connsiteX31130" y="connsiteY31130"/>
              </a:cxn>
              <a:cxn ang="0">
                <a:pos x="connsiteX31131" y="connsiteY31131"/>
              </a:cxn>
              <a:cxn ang="0">
                <a:pos x="connsiteX31132" y="connsiteY31132"/>
              </a:cxn>
              <a:cxn ang="0">
                <a:pos x="connsiteX31133" y="connsiteY31133"/>
              </a:cxn>
              <a:cxn ang="0">
                <a:pos x="connsiteX31134" y="connsiteY31134"/>
              </a:cxn>
              <a:cxn ang="0">
                <a:pos x="connsiteX31135" y="connsiteY31135"/>
              </a:cxn>
              <a:cxn ang="0">
                <a:pos x="connsiteX31136" y="connsiteY31136"/>
              </a:cxn>
              <a:cxn ang="0">
                <a:pos x="connsiteX31137" y="connsiteY31137"/>
              </a:cxn>
              <a:cxn ang="0">
                <a:pos x="connsiteX31138" y="connsiteY31138"/>
              </a:cxn>
              <a:cxn ang="0">
                <a:pos x="connsiteX31139" y="connsiteY31139"/>
              </a:cxn>
              <a:cxn ang="0">
                <a:pos x="connsiteX31140" y="connsiteY31140"/>
              </a:cxn>
              <a:cxn ang="0">
                <a:pos x="connsiteX31141" y="connsiteY31141"/>
              </a:cxn>
              <a:cxn ang="0">
                <a:pos x="connsiteX31142" y="connsiteY31142"/>
              </a:cxn>
              <a:cxn ang="0">
                <a:pos x="connsiteX31143" y="connsiteY31143"/>
              </a:cxn>
              <a:cxn ang="0">
                <a:pos x="connsiteX31144" y="connsiteY31144"/>
              </a:cxn>
              <a:cxn ang="0">
                <a:pos x="connsiteX31145" y="connsiteY31145"/>
              </a:cxn>
              <a:cxn ang="0">
                <a:pos x="connsiteX31146" y="connsiteY31146"/>
              </a:cxn>
              <a:cxn ang="0">
                <a:pos x="connsiteX31147" y="connsiteY31147"/>
              </a:cxn>
              <a:cxn ang="0">
                <a:pos x="connsiteX31148" y="connsiteY31148"/>
              </a:cxn>
              <a:cxn ang="0">
                <a:pos x="connsiteX31149" y="connsiteY31149"/>
              </a:cxn>
              <a:cxn ang="0">
                <a:pos x="connsiteX31150" y="connsiteY31150"/>
              </a:cxn>
              <a:cxn ang="0">
                <a:pos x="connsiteX31151" y="connsiteY31151"/>
              </a:cxn>
              <a:cxn ang="0">
                <a:pos x="connsiteX31152" y="connsiteY31152"/>
              </a:cxn>
              <a:cxn ang="0">
                <a:pos x="connsiteX31153" y="connsiteY31153"/>
              </a:cxn>
              <a:cxn ang="0">
                <a:pos x="connsiteX31154" y="connsiteY31154"/>
              </a:cxn>
              <a:cxn ang="0">
                <a:pos x="connsiteX31155" y="connsiteY31155"/>
              </a:cxn>
              <a:cxn ang="0">
                <a:pos x="connsiteX31156" y="connsiteY31156"/>
              </a:cxn>
              <a:cxn ang="0">
                <a:pos x="connsiteX31157" y="connsiteY31157"/>
              </a:cxn>
              <a:cxn ang="0">
                <a:pos x="connsiteX31158" y="connsiteY31158"/>
              </a:cxn>
              <a:cxn ang="0">
                <a:pos x="connsiteX31159" y="connsiteY31159"/>
              </a:cxn>
              <a:cxn ang="0">
                <a:pos x="connsiteX31160" y="connsiteY31160"/>
              </a:cxn>
              <a:cxn ang="0">
                <a:pos x="connsiteX31161" y="connsiteY31161"/>
              </a:cxn>
              <a:cxn ang="0">
                <a:pos x="connsiteX31162" y="connsiteY31162"/>
              </a:cxn>
              <a:cxn ang="0">
                <a:pos x="connsiteX31163" y="connsiteY31163"/>
              </a:cxn>
              <a:cxn ang="0">
                <a:pos x="connsiteX31164" y="connsiteY31164"/>
              </a:cxn>
              <a:cxn ang="0">
                <a:pos x="connsiteX31165" y="connsiteY31165"/>
              </a:cxn>
              <a:cxn ang="0">
                <a:pos x="connsiteX31166" y="connsiteY31166"/>
              </a:cxn>
              <a:cxn ang="0">
                <a:pos x="connsiteX31167" y="connsiteY31167"/>
              </a:cxn>
              <a:cxn ang="0">
                <a:pos x="connsiteX31168" y="connsiteY31168"/>
              </a:cxn>
              <a:cxn ang="0">
                <a:pos x="connsiteX31169" y="connsiteY31169"/>
              </a:cxn>
              <a:cxn ang="0">
                <a:pos x="connsiteX31170" y="connsiteY31170"/>
              </a:cxn>
              <a:cxn ang="0">
                <a:pos x="connsiteX31171" y="connsiteY31171"/>
              </a:cxn>
              <a:cxn ang="0">
                <a:pos x="connsiteX31172" y="connsiteY31172"/>
              </a:cxn>
              <a:cxn ang="0">
                <a:pos x="connsiteX31173" y="connsiteY31173"/>
              </a:cxn>
              <a:cxn ang="0">
                <a:pos x="connsiteX31174" y="connsiteY31174"/>
              </a:cxn>
              <a:cxn ang="0">
                <a:pos x="connsiteX31175" y="connsiteY31175"/>
              </a:cxn>
              <a:cxn ang="0">
                <a:pos x="connsiteX31176" y="connsiteY31176"/>
              </a:cxn>
              <a:cxn ang="0">
                <a:pos x="connsiteX31177" y="connsiteY31177"/>
              </a:cxn>
              <a:cxn ang="0">
                <a:pos x="connsiteX31178" y="connsiteY31178"/>
              </a:cxn>
              <a:cxn ang="0">
                <a:pos x="connsiteX31179" y="connsiteY31179"/>
              </a:cxn>
              <a:cxn ang="0">
                <a:pos x="connsiteX31180" y="connsiteY31180"/>
              </a:cxn>
              <a:cxn ang="0">
                <a:pos x="connsiteX31181" y="connsiteY31181"/>
              </a:cxn>
              <a:cxn ang="0">
                <a:pos x="connsiteX31182" y="connsiteY31182"/>
              </a:cxn>
              <a:cxn ang="0">
                <a:pos x="connsiteX31183" y="connsiteY31183"/>
              </a:cxn>
              <a:cxn ang="0">
                <a:pos x="connsiteX31184" y="connsiteY31184"/>
              </a:cxn>
              <a:cxn ang="0">
                <a:pos x="connsiteX31185" y="connsiteY31185"/>
              </a:cxn>
              <a:cxn ang="0">
                <a:pos x="connsiteX31186" y="connsiteY31186"/>
              </a:cxn>
              <a:cxn ang="0">
                <a:pos x="connsiteX31187" y="connsiteY31187"/>
              </a:cxn>
              <a:cxn ang="0">
                <a:pos x="connsiteX31188" y="connsiteY31188"/>
              </a:cxn>
              <a:cxn ang="0">
                <a:pos x="connsiteX31189" y="connsiteY31189"/>
              </a:cxn>
              <a:cxn ang="0">
                <a:pos x="connsiteX31190" y="connsiteY31190"/>
              </a:cxn>
              <a:cxn ang="0">
                <a:pos x="connsiteX31191" y="connsiteY31191"/>
              </a:cxn>
              <a:cxn ang="0">
                <a:pos x="connsiteX31192" y="connsiteY31192"/>
              </a:cxn>
              <a:cxn ang="0">
                <a:pos x="connsiteX31193" y="connsiteY31193"/>
              </a:cxn>
              <a:cxn ang="0">
                <a:pos x="connsiteX31194" y="connsiteY31194"/>
              </a:cxn>
              <a:cxn ang="0">
                <a:pos x="connsiteX31195" y="connsiteY31195"/>
              </a:cxn>
              <a:cxn ang="0">
                <a:pos x="connsiteX31196" y="connsiteY31196"/>
              </a:cxn>
              <a:cxn ang="0">
                <a:pos x="connsiteX31197" y="connsiteY31197"/>
              </a:cxn>
              <a:cxn ang="0">
                <a:pos x="connsiteX31198" y="connsiteY31198"/>
              </a:cxn>
              <a:cxn ang="0">
                <a:pos x="connsiteX31199" y="connsiteY31199"/>
              </a:cxn>
              <a:cxn ang="0">
                <a:pos x="connsiteX31200" y="connsiteY31200"/>
              </a:cxn>
              <a:cxn ang="0">
                <a:pos x="connsiteX31201" y="connsiteY31201"/>
              </a:cxn>
              <a:cxn ang="0">
                <a:pos x="connsiteX31202" y="connsiteY31202"/>
              </a:cxn>
              <a:cxn ang="0">
                <a:pos x="connsiteX31203" y="connsiteY31203"/>
              </a:cxn>
              <a:cxn ang="0">
                <a:pos x="connsiteX31204" y="connsiteY31204"/>
              </a:cxn>
              <a:cxn ang="0">
                <a:pos x="connsiteX31205" y="connsiteY31205"/>
              </a:cxn>
              <a:cxn ang="0">
                <a:pos x="connsiteX31206" y="connsiteY31206"/>
              </a:cxn>
              <a:cxn ang="0">
                <a:pos x="connsiteX31207" y="connsiteY31207"/>
              </a:cxn>
              <a:cxn ang="0">
                <a:pos x="connsiteX31208" y="connsiteY31208"/>
              </a:cxn>
              <a:cxn ang="0">
                <a:pos x="connsiteX31209" y="connsiteY31209"/>
              </a:cxn>
              <a:cxn ang="0">
                <a:pos x="connsiteX31210" y="connsiteY31210"/>
              </a:cxn>
              <a:cxn ang="0">
                <a:pos x="connsiteX31211" y="connsiteY31211"/>
              </a:cxn>
              <a:cxn ang="0">
                <a:pos x="connsiteX31212" y="connsiteY31212"/>
              </a:cxn>
              <a:cxn ang="0">
                <a:pos x="connsiteX31213" y="connsiteY31213"/>
              </a:cxn>
              <a:cxn ang="0">
                <a:pos x="connsiteX31214" y="connsiteY31214"/>
              </a:cxn>
              <a:cxn ang="0">
                <a:pos x="connsiteX31215" y="connsiteY31215"/>
              </a:cxn>
              <a:cxn ang="0">
                <a:pos x="connsiteX31216" y="connsiteY31216"/>
              </a:cxn>
              <a:cxn ang="0">
                <a:pos x="connsiteX31217" y="connsiteY31217"/>
              </a:cxn>
              <a:cxn ang="0">
                <a:pos x="connsiteX31218" y="connsiteY31218"/>
              </a:cxn>
              <a:cxn ang="0">
                <a:pos x="connsiteX31219" y="connsiteY31219"/>
              </a:cxn>
              <a:cxn ang="0">
                <a:pos x="connsiteX31220" y="connsiteY31220"/>
              </a:cxn>
              <a:cxn ang="0">
                <a:pos x="connsiteX31221" y="connsiteY31221"/>
              </a:cxn>
              <a:cxn ang="0">
                <a:pos x="connsiteX31222" y="connsiteY31222"/>
              </a:cxn>
              <a:cxn ang="0">
                <a:pos x="connsiteX31223" y="connsiteY31223"/>
              </a:cxn>
              <a:cxn ang="0">
                <a:pos x="connsiteX31224" y="connsiteY31224"/>
              </a:cxn>
              <a:cxn ang="0">
                <a:pos x="connsiteX31225" y="connsiteY31225"/>
              </a:cxn>
              <a:cxn ang="0">
                <a:pos x="connsiteX31226" y="connsiteY31226"/>
              </a:cxn>
              <a:cxn ang="0">
                <a:pos x="connsiteX31227" y="connsiteY31227"/>
              </a:cxn>
              <a:cxn ang="0">
                <a:pos x="connsiteX31228" y="connsiteY31228"/>
              </a:cxn>
              <a:cxn ang="0">
                <a:pos x="connsiteX31229" y="connsiteY31229"/>
              </a:cxn>
              <a:cxn ang="0">
                <a:pos x="connsiteX31230" y="connsiteY31230"/>
              </a:cxn>
              <a:cxn ang="0">
                <a:pos x="connsiteX31231" y="connsiteY31231"/>
              </a:cxn>
              <a:cxn ang="0">
                <a:pos x="connsiteX31232" y="connsiteY31232"/>
              </a:cxn>
              <a:cxn ang="0">
                <a:pos x="connsiteX31233" y="connsiteY31233"/>
              </a:cxn>
              <a:cxn ang="0">
                <a:pos x="connsiteX31234" y="connsiteY31234"/>
              </a:cxn>
              <a:cxn ang="0">
                <a:pos x="connsiteX31235" y="connsiteY31235"/>
              </a:cxn>
              <a:cxn ang="0">
                <a:pos x="connsiteX31236" y="connsiteY31236"/>
              </a:cxn>
              <a:cxn ang="0">
                <a:pos x="connsiteX31237" y="connsiteY31237"/>
              </a:cxn>
              <a:cxn ang="0">
                <a:pos x="connsiteX31238" y="connsiteY31238"/>
              </a:cxn>
              <a:cxn ang="0">
                <a:pos x="connsiteX31239" y="connsiteY31239"/>
              </a:cxn>
              <a:cxn ang="0">
                <a:pos x="connsiteX31240" y="connsiteY31240"/>
              </a:cxn>
              <a:cxn ang="0">
                <a:pos x="connsiteX31241" y="connsiteY31241"/>
              </a:cxn>
              <a:cxn ang="0">
                <a:pos x="connsiteX31242" y="connsiteY31242"/>
              </a:cxn>
              <a:cxn ang="0">
                <a:pos x="connsiteX31243" y="connsiteY31243"/>
              </a:cxn>
              <a:cxn ang="0">
                <a:pos x="connsiteX31244" y="connsiteY31244"/>
              </a:cxn>
              <a:cxn ang="0">
                <a:pos x="connsiteX31245" y="connsiteY31245"/>
              </a:cxn>
              <a:cxn ang="0">
                <a:pos x="connsiteX31246" y="connsiteY31246"/>
              </a:cxn>
              <a:cxn ang="0">
                <a:pos x="connsiteX31247" y="connsiteY31247"/>
              </a:cxn>
              <a:cxn ang="0">
                <a:pos x="connsiteX31248" y="connsiteY31248"/>
              </a:cxn>
              <a:cxn ang="0">
                <a:pos x="connsiteX31249" y="connsiteY31249"/>
              </a:cxn>
              <a:cxn ang="0">
                <a:pos x="connsiteX31250" y="connsiteY31250"/>
              </a:cxn>
              <a:cxn ang="0">
                <a:pos x="connsiteX31251" y="connsiteY31251"/>
              </a:cxn>
              <a:cxn ang="0">
                <a:pos x="connsiteX31252" y="connsiteY31252"/>
              </a:cxn>
              <a:cxn ang="0">
                <a:pos x="connsiteX31253" y="connsiteY31253"/>
              </a:cxn>
              <a:cxn ang="0">
                <a:pos x="connsiteX31254" y="connsiteY31254"/>
              </a:cxn>
              <a:cxn ang="0">
                <a:pos x="connsiteX31255" y="connsiteY31255"/>
              </a:cxn>
              <a:cxn ang="0">
                <a:pos x="connsiteX31256" y="connsiteY31256"/>
              </a:cxn>
              <a:cxn ang="0">
                <a:pos x="connsiteX31257" y="connsiteY31257"/>
              </a:cxn>
              <a:cxn ang="0">
                <a:pos x="connsiteX31258" y="connsiteY31258"/>
              </a:cxn>
              <a:cxn ang="0">
                <a:pos x="connsiteX31259" y="connsiteY31259"/>
              </a:cxn>
              <a:cxn ang="0">
                <a:pos x="connsiteX31260" y="connsiteY31260"/>
              </a:cxn>
              <a:cxn ang="0">
                <a:pos x="connsiteX31261" y="connsiteY31261"/>
              </a:cxn>
              <a:cxn ang="0">
                <a:pos x="connsiteX31262" y="connsiteY31262"/>
              </a:cxn>
              <a:cxn ang="0">
                <a:pos x="connsiteX31263" y="connsiteY31263"/>
              </a:cxn>
              <a:cxn ang="0">
                <a:pos x="connsiteX31264" y="connsiteY31264"/>
              </a:cxn>
              <a:cxn ang="0">
                <a:pos x="connsiteX31265" y="connsiteY31265"/>
              </a:cxn>
              <a:cxn ang="0">
                <a:pos x="connsiteX31266" y="connsiteY31266"/>
              </a:cxn>
              <a:cxn ang="0">
                <a:pos x="connsiteX31267" y="connsiteY31267"/>
              </a:cxn>
              <a:cxn ang="0">
                <a:pos x="connsiteX31268" y="connsiteY31268"/>
              </a:cxn>
              <a:cxn ang="0">
                <a:pos x="connsiteX31269" y="connsiteY31269"/>
              </a:cxn>
              <a:cxn ang="0">
                <a:pos x="connsiteX31270" y="connsiteY31270"/>
              </a:cxn>
              <a:cxn ang="0">
                <a:pos x="connsiteX31271" y="connsiteY31271"/>
              </a:cxn>
              <a:cxn ang="0">
                <a:pos x="connsiteX31272" y="connsiteY31272"/>
              </a:cxn>
              <a:cxn ang="0">
                <a:pos x="connsiteX31273" y="connsiteY31273"/>
              </a:cxn>
              <a:cxn ang="0">
                <a:pos x="connsiteX31274" y="connsiteY31274"/>
              </a:cxn>
              <a:cxn ang="0">
                <a:pos x="connsiteX31275" y="connsiteY31275"/>
              </a:cxn>
              <a:cxn ang="0">
                <a:pos x="connsiteX31276" y="connsiteY31276"/>
              </a:cxn>
              <a:cxn ang="0">
                <a:pos x="connsiteX31277" y="connsiteY31277"/>
              </a:cxn>
              <a:cxn ang="0">
                <a:pos x="connsiteX31278" y="connsiteY31278"/>
              </a:cxn>
              <a:cxn ang="0">
                <a:pos x="connsiteX31279" y="connsiteY31279"/>
              </a:cxn>
              <a:cxn ang="0">
                <a:pos x="connsiteX31280" y="connsiteY31280"/>
              </a:cxn>
              <a:cxn ang="0">
                <a:pos x="connsiteX31281" y="connsiteY31281"/>
              </a:cxn>
              <a:cxn ang="0">
                <a:pos x="connsiteX31282" y="connsiteY31282"/>
              </a:cxn>
              <a:cxn ang="0">
                <a:pos x="connsiteX31283" y="connsiteY31283"/>
              </a:cxn>
              <a:cxn ang="0">
                <a:pos x="connsiteX31284" y="connsiteY31284"/>
              </a:cxn>
              <a:cxn ang="0">
                <a:pos x="connsiteX31285" y="connsiteY31285"/>
              </a:cxn>
              <a:cxn ang="0">
                <a:pos x="connsiteX31286" y="connsiteY31286"/>
              </a:cxn>
              <a:cxn ang="0">
                <a:pos x="connsiteX31287" y="connsiteY31287"/>
              </a:cxn>
              <a:cxn ang="0">
                <a:pos x="connsiteX31288" y="connsiteY31288"/>
              </a:cxn>
              <a:cxn ang="0">
                <a:pos x="connsiteX31289" y="connsiteY31289"/>
              </a:cxn>
              <a:cxn ang="0">
                <a:pos x="connsiteX31290" y="connsiteY31290"/>
              </a:cxn>
              <a:cxn ang="0">
                <a:pos x="connsiteX31291" y="connsiteY31291"/>
              </a:cxn>
              <a:cxn ang="0">
                <a:pos x="connsiteX31292" y="connsiteY31292"/>
              </a:cxn>
              <a:cxn ang="0">
                <a:pos x="connsiteX31293" y="connsiteY31293"/>
              </a:cxn>
              <a:cxn ang="0">
                <a:pos x="connsiteX31294" y="connsiteY31294"/>
              </a:cxn>
              <a:cxn ang="0">
                <a:pos x="connsiteX31295" y="connsiteY31295"/>
              </a:cxn>
              <a:cxn ang="0">
                <a:pos x="connsiteX31296" y="connsiteY31296"/>
              </a:cxn>
              <a:cxn ang="0">
                <a:pos x="connsiteX31297" y="connsiteY31297"/>
              </a:cxn>
              <a:cxn ang="0">
                <a:pos x="connsiteX31298" y="connsiteY31298"/>
              </a:cxn>
              <a:cxn ang="0">
                <a:pos x="connsiteX31299" y="connsiteY31299"/>
              </a:cxn>
              <a:cxn ang="0">
                <a:pos x="connsiteX31300" y="connsiteY31300"/>
              </a:cxn>
              <a:cxn ang="0">
                <a:pos x="connsiteX31301" y="connsiteY31301"/>
              </a:cxn>
              <a:cxn ang="0">
                <a:pos x="connsiteX31302" y="connsiteY31302"/>
              </a:cxn>
              <a:cxn ang="0">
                <a:pos x="connsiteX31303" y="connsiteY31303"/>
              </a:cxn>
              <a:cxn ang="0">
                <a:pos x="connsiteX31304" y="connsiteY31304"/>
              </a:cxn>
              <a:cxn ang="0">
                <a:pos x="connsiteX31305" y="connsiteY31305"/>
              </a:cxn>
              <a:cxn ang="0">
                <a:pos x="connsiteX31306" y="connsiteY31306"/>
              </a:cxn>
              <a:cxn ang="0">
                <a:pos x="connsiteX31307" y="connsiteY31307"/>
              </a:cxn>
              <a:cxn ang="0">
                <a:pos x="connsiteX31308" y="connsiteY31308"/>
              </a:cxn>
              <a:cxn ang="0">
                <a:pos x="connsiteX31309" y="connsiteY31309"/>
              </a:cxn>
              <a:cxn ang="0">
                <a:pos x="connsiteX31310" y="connsiteY31310"/>
              </a:cxn>
              <a:cxn ang="0">
                <a:pos x="connsiteX31311" y="connsiteY31311"/>
              </a:cxn>
              <a:cxn ang="0">
                <a:pos x="connsiteX31312" y="connsiteY31312"/>
              </a:cxn>
              <a:cxn ang="0">
                <a:pos x="connsiteX31313" y="connsiteY31313"/>
              </a:cxn>
              <a:cxn ang="0">
                <a:pos x="connsiteX31314" y="connsiteY31314"/>
              </a:cxn>
              <a:cxn ang="0">
                <a:pos x="connsiteX31315" y="connsiteY31315"/>
              </a:cxn>
              <a:cxn ang="0">
                <a:pos x="connsiteX31316" y="connsiteY31316"/>
              </a:cxn>
              <a:cxn ang="0">
                <a:pos x="connsiteX31317" y="connsiteY31317"/>
              </a:cxn>
              <a:cxn ang="0">
                <a:pos x="connsiteX31318" y="connsiteY31318"/>
              </a:cxn>
              <a:cxn ang="0">
                <a:pos x="connsiteX31319" y="connsiteY31319"/>
              </a:cxn>
              <a:cxn ang="0">
                <a:pos x="connsiteX31320" y="connsiteY31320"/>
              </a:cxn>
              <a:cxn ang="0">
                <a:pos x="connsiteX31321" y="connsiteY31321"/>
              </a:cxn>
              <a:cxn ang="0">
                <a:pos x="connsiteX31322" y="connsiteY31322"/>
              </a:cxn>
              <a:cxn ang="0">
                <a:pos x="connsiteX31323" y="connsiteY31323"/>
              </a:cxn>
              <a:cxn ang="0">
                <a:pos x="connsiteX31324" y="connsiteY31324"/>
              </a:cxn>
              <a:cxn ang="0">
                <a:pos x="connsiteX31325" y="connsiteY31325"/>
              </a:cxn>
              <a:cxn ang="0">
                <a:pos x="connsiteX31326" y="connsiteY31326"/>
              </a:cxn>
              <a:cxn ang="0">
                <a:pos x="connsiteX31327" y="connsiteY31327"/>
              </a:cxn>
              <a:cxn ang="0">
                <a:pos x="connsiteX31328" y="connsiteY31328"/>
              </a:cxn>
              <a:cxn ang="0">
                <a:pos x="connsiteX31329" y="connsiteY31329"/>
              </a:cxn>
              <a:cxn ang="0">
                <a:pos x="connsiteX31330" y="connsiteY31330"/>
              </a:cxn>
              <a:cxn ang="0">
                <a:pos x="connsiteX31331" y="connsiteY31331"/>
              </a:cxn>
              <a:cxn ang="0">
                <a:pos x="connsiteX31332" y="connsiteY31332"/>
              </a:cxn>
              <a:cxn ang="0">
                <a:pos x="connsiteX31333" y="connsiteY31333"/>
              </a:cxn>
              <a:cxn ang="0">
                <a:pos x="connsiteX31334" y="connsiteY31334"/>
              </a:cxn>
              <a:cxn ang="0">
                <a:pos x="connsiteX31335" y="connsiteY31335"/>
              </a:cxn>
              <a:cxn ang="0">
                <a:pos x="connsiteX31336" y="connsiteY31336"/>
              </a:cxn>
              <a:cxn ang="0">
                <a:pos x="connsiteX31337" y="connsiteY31337"/>
              </a:cxn>
              <a:cxn ang="0">
                <a:pos x="connsiteX31338" y="connsiteY31338"/>
              </a:cxn>
              <a:cxn ang="0">
                <a:pos x="connsiteX31339" y="connsiteY31339"/>
              </a:cxn>
              <a:cxn ang="0">
                <a:pos x="connsiteX31340" y="connsiteY31340"/>
              </a:cxn>
              <a:cxn ang="0">
                <a:pos x="connsiteX31341" y="connsiteY31341"/>
              </a:cxn>
              <a:cxn ang="0">
                <a:pos x="connsiteX31342" y="connsiteY31342"/>
              </a:cxn>
              <a:cxn ang="0">
                <a:pos x="connsiteX31343" y="connsiteY31343"/>
              </a:cxn>
              <a:cxn ang="0">
                <a:pos x="connsiteX31344" y="connsiteY31344"/>
              </a:cxn>
              <a:cxn ang="0">
                <a:pos x="connsiteX31345" y="connsiteY31345"/>
              </a:cxn>
              <a:cxn ang="0">
                <a:pos x="connsiteX31346" y="connsiteY31346"/>
              </a:cxn>
              <a:cxn ang="0">
                <a:pos x="connsiteX31347" y="connsiteY31347"/>
              </a:cxn>
              <a:cxn ang="0">
                <a:pos x="connsiteX31348" y="connsiteY31348"/>
              </a:cxn>
              <a:cxn ang="0">
                <a:pos x="connsiteX31349" y="connsiteY31349"/>
              </a:cxn>
              <a:cxn ang="0">
                <a:pos x="connsiteX31350" y="connsiteY31350"/>
              </a:cxn>
              <a:cxn ang="0">
                <a:pos x="connsiteX31351" y="connsiteY31351"/>
              </a:cxn>
              <a:cxn ang="0">
                <a:pos x="connsiteX31352" y="connsiteY31352"/>
              </a:cxn>
              <a:cxn ang="0">
                <a:pos x="connsiteX31353" y="connsiteY31353"/>
              </a:cxn>
              <a:cxn ang="0">
                <a:pos x="connsiteX31354" y="connsiteY31354"/>
              </a:cxn>
              <a:cxn ang="0">
                <a:pos x="connsiteX31355" y="connsiteY31355"/>
              </a:cxn>
              <a:cxn ang="0">
                <a:pos x="connsiteX31356" y="connsiteY31356"/>
              </a:cxn>
              <a:cxn ang="0">
                <a:pos x="connsiteX31357" y="connsiteY31357"/>
              </a:cxn>
              <a:cxn ang="0">
                <a:pos x="connsiteX31358" y="connsiteY31358"/>
              </a:cxn>
              <a:cxn ang="0">
                <a:pos x="connsiteX31359" y="connsiteY31359"/>
              </a:cxn>
              <a:cxn ang="0">
                <a:pos x="connsiteX31360" y="connsiteY31360"/>
              </a:cxn>
              <a:cxn ang="0">
                <a:pos x="connsiteX31361" y="connsiteY31361"/>
              </a:cxn>
              <a:cxn ang="0">
                <a:pos x="connsiteX31362" y="connsiteY31362"/>
              </a:cxn>
              <a:cxn ang="0">
                <a:pos x="connsiteX31363" y="connsiteY31363"/>
              </a:cxn>
              <a:cxn ang="0">
                <a:pos x="connsiteX31364" y="connsiteY31364"/>
              </a:cxn>
              <a:cxn ang="0">
                <a:pos x="connsiteX31365" y="connsiteY31365"/>
              </a:cxn>
              <a:cxn ang="0">
                <a:pos x="connsiteX31366" y="connsiteY31366"/>
              </a:cxn>
              <a:cxn ang="0">
                <a:pos x="connsiteX31367" y="connsiteY31367"/>
              </a:cxn>
              <a:cxn ang="0">
                <a:pos x="connsiteX31368" y="connsiteY31368"/>
              </a:cxn>
              <a:cxn ang="0">
                <a:pos x="connsiteX31369" y="connsiteY31369"/>
              </a:cxn>
              <a:cxn ang="0">
                <a:pos x="connsiteX31370" y="connsiteY31370"/>
              </a:cxn>
              <a:cxn ang="0">
                <a:pos x="connsiteX31371" y="connsiteY31371"/>
              </a:cxn>
              <a:cxn ang="0">
                <a:pos x="connsiteX31372" y="connsiteY31372"/>
              </a:cxn>
              <a:cxn ang="0">
                <a:pos x="connsiteX31373" y="connsiteY31373"/>
              </a:cxn>
              <a:cxn ang="0">
                <a:pos x="connsiteX31374" y="connsiteY31374"/>
              </a:cxn>
              <a:cxn ang="0">
                <a:pos x="connsiteX31375" y="connsiteY31375"/>
              </a:cxn>
              <a:cxn ang="0">
                <a:pos x="connsiteX31376" y="connsiteY31376"/>
              </a:cxn>
              <a:cxn ang="0">
                <a:pos x="connsiteX31377" y="connsiteY31377"/>
              </a:cxn>
              <a:cxn ang="0">
                <a:pos x="connsiteX31378" y="connsiteY31378"/>
              </a:cxn>
              <a:cxn ang="0">
                <a:pos x="connsiteX31379" y="connsiteY31379"/>
              </a:cxn>
              <a:cxn ang="0">
                <a:pos x="connsiteX31380" y="connsiteY31380"/>
              </a:cxn>
              <a:cxn ang="0">
                <a:pos x="connsiteX31381" y="connsiteY31381"/>
              </a:cxn>
              <a:cxn ang="0">
                <a:pos x="connsiteX31382" y="connsiteY31382"/>
              </a:cxn>
              <a:cxn ang="0">
                <a:pos x="connsiteX31383" y="connsiteY31383"/>
              </a:cxn>
              <a:cxn ang="0">
                <a:pos x="connsiteX31384" y="connsiteY31384"/>
              </a:cxn>
              <a:cxn ang="0">
                <a:pos x="connsiteX31385" y="connsiteY31385"/>
              </a:cxn>
              <a:cxn ang="0">
                <a:pos x="connsiteX31386" y="connsiteY31386"/>
              </a:cxn>
              <a:cxn ang="0">
                <a:pos x="connsiteX31387" y="connsiteY31387"/>
              </a:cxn>
              <a:cxn ang="0">
                <a:pos x="connsiteX31388" y="connsiteY31388"/>
              </a:cxn>
              <a:cxn ang="0">
                <a:pos x="connsiteX31389" y="connsiteY31389"/>
              </a:cxn>
              <a:cxn ang="0">
                <a:pos x="connsiteX31390" y="connsiteY31390"/>
              </a:cxn>
              <a:cxn ang="0">
                <a:pos x="connsiteX31391" y="connsiteY31391"/>
              </a:cxn>
              <a:cxn ang="0">
                <a:pos x="connsiteX31392" y="connsiteY31392"/>
              </a:cxn>
              <a:cxn ang="0">
                <a:pos x="connsiteX31393" y="connsiteY31393"/>
              </a:cxn>
              <a:cxn ang="0">
                <a:pos x="connsiteX31394" y="connsiteY31394"/>
              </a:cxn>
              <a:cxn ang="0">
                <a:pos x="connsiteX31395" y="connsiteY31395"/>
              </a:cxn>
              <a:cxn ang="0">
                <a:pos x="connsiteX31396" y="connsiteY31396"/>
              </a:cxn>
              <a:cxn ang="0">
                <a:pos x="connsiteX31397" y="connsiteY31397"/>
              </a:cxn>
              <a:cxn ang="0">
                <a:pos x="connsiteX31398" y="connsiteY31398"/>
              </a:cxn>
              <a:cxn ang="0">
                <a:pos x="connsiteX31399" y="connsiteY31399"/>
              </a:cxn>
              <a:cxn ang="0">
                <a:pos x="connsiteX31400" y="connsiteY31400"/>
              </a:cxn>
              <a:cxn ang="0">
                <a:pos x="connsiteX31401" y="connsiteY31401"/>
              </a:cxn>
              <a:cxn ang="0">
                <a:pos x="connsiteX31402" y="connsiteY31402"/>
              </a:cxn>
              <a:cxn ang="0">
                <a:pos x="connsiteX31403" y="connsiteY31403"/>
              </a:cxn>
              <a:cxn ang="0">
                <a:pos x="connsiteX31404" y="connsiteY31404"/>
              </a:cxn>
              <a:cxn ang="0">
                <a:pos x="connsiteX31405" y="connsiteY31405"/>
              </a:cxn>
              <a:cxn ang="0">
                <a:pos x="connsiteX31406" y="connsiteY31406"/>
              </a:cxn>
              <a:cxn ang="0">
                <a:pos x="connsiteX31407" y="connsiteY31407"/>
              </a:cxn>
              <a:cxn ang="0">
                <a:pos x="connsiteX31408" y="connsiteY31408"/>
              </a:cxn>
              <a:cxn ang="0">
                <a:pos x="connsiteX31409" y="connsiteY31409"/>
              </a:cxn>
              <a:cxn ang="0">
                <a:pos x="connsiteX31410" y="connsiteY31410"/>
              </a:cxn>
              <a:cxn ang="0">
                <a:pos x="connsiteX31411" y="connsiteY31411"/>
              </a:cxn>
              <a:cxn ang="0">
                <a:pos x="connsiteX31412" y="connsiteY31412"/>
              </a:cxn>
              <a:cxn ang="0">
                <a:pos x="connsiteX31413" y="connsiteY31413"/>
              </a:cxn>
              <a:cxn ang="0">
                <a:pos x="connsiteX31414" y="connsiteY31414"/>
              </a:cxn>
              <a:cxn ang="0">
                <a:pos x="connsiteX31415" y="connsiteY31415"/>
              </a:cxn>
              <a:cxn ang="0">
                <a:pos x="connsiteX31416" y="connsiteY31416"/>
              </a:cxn>
              <a:cxn ang="0">
                <a:pos x="connsiteX31417" y="connsiteY31417"/>
              </a:cxn>
              <a:cxn ang="0">
                <a:pos x="connsiteX31418" y="connsiteY31418"/>
              </a:cxn>
              <a:cxn ang="0">
                <a:pos x="connsiteX31419" y="connsiteY31419"/>
              </a:cxn>
              <a:cxn ang="0">
                <a:pos x="connsiteX31420" y="connsiteY31420"/>
              </a:cxn>
              <a:cxn ang="0">
                <a:pos x="connsiteX31421" y="connsiteY31421"/>
              </a:cxn>
              <a:cxn ang="0">
                <a:pos x="connsiteX31422" y="connsiteY31422"/>
              </a:cxn>
              <a:cxn ang="0">
                <a:pos x="connsiteX31423" y="connsiteY31423"/>
              </a:cxn>
              <a:cxn ang="0">
                <a:pos x="connsiteX31424" y="connsiteY31424"/>
              </a:cxn>
              <a:cxn ang="0">
                <a:pos x="connsiteX31425" y="connsiteY31425"/>
              </a:cxn>
              <a:cxn ang="0">
                <a:pos x="connsiteX31426" y="connsiteY31426"/>
              </a:cxn>
              <a:cxn ang="0">
                <a:pos x="connsiteX31427" y="connsiteY31427"/>
              </a:cxn>
              <a:cxn ang="0">
                <a:pos x="connsiteX31428" y="connsiteY31428"/>
              </a:cxn>
              <a:cxn ang="0">
                <a:pos x="connsiteX31429" y="connsiteY31429"/>
              </a:cxn>
              <a:cxn ang="0">
                <a:pos x="connsiteX31430" y="connsiteY31430"/>
              </a:cxn>
              <a:cxn ang="0">
                <a:pos x="connsiteX31431" y="connsiteY31431"/>
              </a:cxn>
              <a:cxn ang="0">
                <a:pos x="connsiteX31432" y="connsiteY31432"/>
              </a:cxn>
              <a:cxn ang="0">
                <a:pos x="connsiteX31433" y="connsiteY31433"/>
              </a:cxn>
              <a:cxn ang="0">
                <a:pos x="connsiteX31434" y="connsiteY31434"/>
              </a:cxn>
              <a:cxn ang="0">
                <a:pos x="connsiteX31435" y="connsiteY31435"/>
              </a:cxn>
              <a:cxn ang="0">
                <a:pos x="connsiteX31436" y="connsiteY31436"/>
              </a:cxn>
              <a:cxn ang="0">
                <a:pos x="connsiteX31437" y="connsiteY31437"/>
              </a:cxn>
              <a:cxn ang="0">
                <a:pos x="connsiteX31438" y="connsiteY31438"/>
              </a:cxn>
              <a:cxn ang="0">
                <a:pos x="connsiteX31439" y="connsiteY31439"/>
              </a:cxn>
              <a:cxn ang="0">
                <a:pos x="connsiteX31440" y="connsiteY31440"/>
              </a:cxn>
              <a:cxn ang="0">
                <a:pos x="connsiteX31441" y="connsiteY31441"/>
              </a:cxn>
              <a:cxn ang="0">
                <a:pos x="connsiteX31442" y="connsiteY31442"/>
              </a:cxn>
              <a:cxn ang="0">
                <a:pos x="connsiteX31443" y="connsiteY31443"/>
              </a:cxn>
              <a:cxn ang="0">
                <a:pos x="connsiteX31444" y="connsiteY31444"/>
              </a:cxn>
              <a:cxn ang="0">
                <a:pos x="connsiteX31445" y="connsiteY31445"/>
              </a:cxn>
              <a:cxn ang="0">
                <a:pos x="connsiteX31446" y="connsiteY31446"/>
              </a:cxn>
              <a:cxn ang="0">
                <a:pos x="connsiteX31447" y="connsiteY31447"/>
              </a:cxn>
              <a:cxn ang="0">
                <a:pos x="connsiteX31448" y="connsiteY31448"/>
              </a:cxn>
              <a:cxn ang="0">
                <a:pos x="connsiteX31449" y="connsiteY31449"/>
              </a:cxn>
              <a:cxn ang="0">
                <a:pos x="connsiteX31450" y="connsiteY31450"/>
              </a:cxn>
              <a:cxn ang="0">
                <a:pos x="connsiteX31451" y="connsiteY31451"/>
              </a:cxn>
              <a:cxn ang="0">
                <a:pos x="connsiteX31452" y="connsiteY31452"/>
              </a:cxn>
              <a:cxn ang="0">
                <a:pos x="connsiteX31453" y="connsiteY31453"/>
              </a:cxn>
              <a:cxn ang="0">
                <a:pos x="connsiteX31454" y="connsiteY31454"/>
              </a:cxn>
              <a:cxn ang="0">
                <a:pos x="connsiteX31455" y="connsiteY31455"/>
              </a:cxn>
              <a:cxn ang="0">
                <a:pos x="connsiteX31456" y="connsiteY31456"/>
              </a:cxn>
              <a:cxn ang="0">
                <a:pos x="connsiteX31457" y="connsiteY31457"/>
              </a:cxn>
              <a:cxn ang="0">
                <a:pos x="connsiteX31458" y="connsiteY31458"/>
              </a:cxn>
              <a:cxn ang="0">
                <a:pos x="connsiteX31459" y="connsiteY31459"/>
              </a:cxn>
              <a:cxn ang="0">
                <a:pos x="connsiteX31460" y="connsiteY31460"/>
              </a:cxn>
              <a:cxn ang="0">
                <a:pos x="connsiteX31461" y="connsiteY31461"/>
              </a:cxn>
              <a:cxn ang="0">
                <a:pos x="connsiteX31462" y="connsiteY31462"/>
              </a:cxn>
              <a:cxn ang="0">
                <a:pos x="connsiteX31463" y="connsiteY31463"/>
              </a:cxn>
              <a:cxn ang="0">
                <a:pos x="connsiteX31464" y="connsiteY31464"/>
              </a:cxn>
              <a:cxn ang="0">
                <a:pos x="connsiteX31465" y="connsiteY31465"/>
              </a:cxn>
              <a:cxn ang="0">
                <a:pos x="connsiteX31466" y="connsiteY31466"/>
              </a:cxn>
              <a:cxn ang="0">
                <a:pos x="connsiteX31467" y="connsiteY31467"/>
              </a:cxn>
              <a:cxn ang="0">
                <a:pos x="connsiteX31468" y="connsiteY31468"/>
              </a:cxn>
              <a:cxn ang="0">
                <a:pos x="connsiteX31469" y="connsiteY31469"/>
              </a:cxn>
              <a:cxn ang="0">
                <a:pos x="connsiteX31470" y="connsiteY31470"/>
              </a:cxn>
              <a:cxn ang="0">
                <a:pos x="connsiteX31471" y="connsiteY31471"/>
              </a:cxn>
              <a:cxn ang="0">
                <a:pos x="connsiteX31472" y="connsiteY31472"/>
              </a:cxn>
              <a:cxn ang="0">
                <a:pos x="connsiteX31473" y="connsiteY31473"/>
              </a:cxn>
              <a:cxn ang="0">
                <a:pos x="connsiteX31474" y="connsiteY31474"/>
              </a:cxn>
              <a:cxn ang="0">
                <a:pos x="connsiteX31475" y="connsiteY31475"/>
              </a:cxn>
              <a:cxn ang="0">
                <a:pos x="connsiteX31476" y="connsiteY31476"/>
              </a:cxn>
              <a:cxn ang="0">
                <a:pos x="connsiteX31477" y="connsiteY31477"/>
              </a:cxn>
              <a:cxn ang="0">
                <a:pos x="connsiteX31478" y="connsiteY31478"/>
              </a:cxn>
              <a:cxn ang="0">
                <a:pos x="connsiteX31479" y="connsiteY31479"/>
              </a:cxn>
              <a:cxn ang="0">
                <a:pos x="connsiteX31480" y="connsiteY31480"/>
              </a:cxn>
              <a:cxn ang="0">
                <a:pos x="connsiteX31481" y="connsiteY31481"/>
              </a:cxn>
              <a:cxn ang="0">
                <a:pos x="connsiteX31482" y="connsiteY31482"/>
              </a:cxn>
              <a:cxn ang="0">
                <a:pos x="connsiteX31483" y="connsiteY31483"/>
              </a:cxn>
              <a:cxn ang="0">
                <a:pos x="connsiteX31484" y="connsiteY31484"/>
              </a:cxn>
              <a:cxn ang="0">
                <a:pos x="connsiteX31485" y="connsiteY31485"/>
              </a:cxn>
              <a:cxn ang="0">
                <a:pos x="connsiteX31486" y="connsiteY31486"/>
              </a:cxn>
              <a:cxn ang="0">
                <a:pos x="connsiteX31487" y="connsiteY31487"/>
              </a:cxn>
              <a:cxn ang="0">
                <a:pos x="connsiteX31488" y="connsiteY31488"/>
              </a:cxn>
              <a:cxn ang="0">
                <a:pos x="connsiteX31489" y="connsiteY31489"/>
              </a:cxn>
              <a:cxn ang="0">
                <a:pos x="connsiteX31490" y="connsiteY31490"/>
              </a:cxn>
              <a:cxn ang="0">
                <a:pos x="connsiteX31491" y="connsiteY31491"/>
              </a:cxn>
              <a:cxn ang="0">
                <a:pos x="connsiteX31492" y="connsiteY31492"/>
              </a:cxn>
              <a:cxn ang="0">
                <a:pos x="connsiteX31493" y="connsiteY31493"/>
              </a:cxn>
              <a:cxn ang="0">
                <a:pos x="connsiteX31494" y="connsiteY31494"/>
              </a:cxn>
              <a:cxn ang="0">
                <a:pos x="connsiteX31495" y="connsiteY31495"/>
              </a:cxn>
              <a:cxn ang="0">
                <a:pos x="connsiteX31496" y="connsiteY31496"/>
              </a:cxn>
              <a:cxn ang="0">
                <a:pos x="connsiteX31497" y="connsiteY31497"/>
              </a:cxn>
              <a:cxn ang="0">
                <a:pos x="connsiteX31498" y="connsiteY31498"/>
              </a:cxn>
              <a:cxn ang="0">
                <a:pos x="connsiteX31499" y="connsiteY31499"/>
              </a:cxn>
              <a:cxn ang="0">
                <a:pos x="connsiteX31500" y="connsiteY31500"/>
              </a:cxn>
              <a:cxn ang="0">
                <a:pos x="connsiteX31501" y="connsiteY31501"/>
              </a:cxn>
              <a:cxn ang="0">
                <a:pos x="connsiteX31502" y="connsiteY31502"/>
              </a:cxn>
              <a:cxn ang="0">
                <a:pos x="connsiteX31503" y="connsiteY31503"/>
              </a:cxn>
              <a:cxn ang="0">
                <a:pos x="connsiteX31504" y="connsiteY31504"/>
              </a:cxn>
              <a:cxn ang="0">
                <a:pos x="connsiteX31505" y="connsiteY31505"/>
              </a:cxn>
              <a:cxn ang="0">
                <a:pos x="connsiteX31506" y="connsiteY31506"/>
              </a:cxn>
              <a:cxn ang="0">
                <a:pos x="connsiteX31507" y="connsiteY31507"/>
              </a:cxn>
              <a:cxn ang="0">
                <a:pos x="connsiteX31508" y="connsiteY31508"/>
              </a:cxn>
              <a:cxn ang="0">
                <a:pos x="connsiteX31509" y="connsiteY31509"/>
              </a:cxn>
              <a:cxn ang="0">
                <a:pos x="connsiteX31510" y="connsiteY31510"/>
              </a:cxn>
              <a:cxn ang="0">
                <a:pos x="connsiteX31511" y="connsiteY31511"/>
              </a:cxn>
              <a:cxn ang="0">
                <a:pos x="connsiteX31512" y="connsiteY31512"/>
              </a:cxn>
              <a:cxn ang="0">
                <a:pos x="connsiteX31513" y="connsiteY31513"/>
              </a:cxn>
              <a:cxn ang="0">
                <a:pos x="connsiteX31514" y="connsiteY31514"/>
              </a:cxn>
              <a:cxn ang="0">
                <a:pos x="connsiteX31515" y="connsiteY31515"/>
              </a:cxn>
              <a:cxn ang="0">
                <a:pos x="connsiteX31516" y="connsiteY31516"/>
              </a:cxn>
              <a:cxn ang="0">
                <a:pos x="connsiteX31517" y="connsiteY31517"/>
              </a:cxn>
              <a:cxn ang="0">
                <a:pos x="connsiteX31518" y="connsiteY31518"/>
              </a:cxn>
              <a:cxn ang="0">
                <a:pos x="connsiteX31519" y="connsiteY31519"/>
              </a:cxn>
              <a:cxn ang="0">
                <a:pos x="connsiteX31520" y="connsiteY31520"/>
              </a:cxn>
              <a:cxn ang="0">
                <a:pos x="connsiteX31521" y="connsiteY31521"/>
              </a:cxn>
              <a:cxn ang="0">
                <a:pos x="connsiteX31522" y="connsiteY31522"/>
              </a:cxn>
              <a:cxn ang="0">
                <a:pos x="connsiteX31523" y="connsiteY31523"/>
              </a:cxn>
              <a:cxn ang="0">
                <a:pos x="connsiteX31524" y="connsiteY31524"/>
              </a:cxn>
              <a:cxn ang="0">
                <a:pos x="connsiteX31525" y="connsiteY31525"/>
              </a:cxn>
              <a:cxn ang="0">
                <a:pos x="connsiteX31526" y="connsiteY31526"/>
              </a:cxn>
              <a:cxn ang="0">
                <a:pos x="connsiteX31527" y="connsiteY31527"/>
              </a:cxn>
              <a:cxn ang="0">
                <a:pos x="connsiteX31528" y="connsiteY31528"/>
              </a:cxn>
              <a:cxn ang="0">
                <a:pos x="connsiteX31529" y="connsiteY31529"/>
              </a:cxn>
              <a:cxn ang="0">
                <a:pos x="connsiteX31530" y="connsiteY31530"/>
              </a:cxn>
              <a:cxn ang="0">
                <a:pos x="connsiteX31531" y="connsiteY31531"/>
              </a:cxn>
              <a:cxn ang="0">
                <a:pos x="connsiteX31532" y="connsiteY31532"/>
              </a:cxn>
              <a:cxn ang="0">
                <a:pos x="connsiteX31533" y="connsiteY31533"/>
              </a:cxn>
              <a:cxn ang="0">
                <a:pos x="connsiteX31534" y="connsiteY31534"/>
              </a:cxn>
              <a:cxn ang="0">
                <a:pos x="connsiteX31535" y="connsiteY31535"/>
              </a:cxn>
              <a:cxn ang="0">
                <a:pos x="connsiteX31536" y="connsiteY31536"/>
              </a:cxn>
              <a:cxn ang="0">
                <a:pos x="connsiteX31537" y="connsiteY31537"/>
              </a:cxn>
              <a:cxn ang="0">
                <a:pos x="connsiteX31538" y="connsiteY31538"/>
              </a:cxn>
              <a:cxn ang="0">
                <a:pos x="connsiteX31539" y="connsiteY31539"/>
              </a:cxn>
              <a:cxn ang="0">
                <a:pos x="connsiteX31540" y="connsiteY31540"/>
              </a:cxn>
              <a:cxn ang="0">
                <a:pos x="connsiteX31541" y="connsiteY31541"/>
              </a:cxn>
              <a:cxn ang="0">
                <a:pos x="connsiteX31542" y="connsiteY31542"/>
              </a:cxn>
              <a:cxn ang="0">
                <a:pos x="connsiteX31543" y="connsiteY31543"/>
              </a:cxn>
              <a:cxn ang="0">
                <a:pos x="connsiteX31544" y="connsiteY31544"/>
              </a:cxn>
              <a:cxn ang="0">
                <a:pos x="connsiteX31545" y="connsiteY31545"/>
              </a:cxn>
              <a:cxn ang="0">
                <a:pos x="connsiteX31546" y="connsiteY31546"/>
              </a:cxn>
              <a:cxn ang="0">
                <a:pos x="connsiteX31547" y="connsiteY31547"/>
              </a:cxn>
              <a:cxn ang="0">
                <a:pos x="connsiteX31548" y="connsiteY31548"/>
              </a:cxn>
              <a:cxn ang="0">
                <a:pos x="connsiteX31549" y="connsiteY31549"/>
              </a:cxn>
              <a:cxn ang="0">
                <a:pos x="connsiteX31550" y="connsiteY31550"/>
              </a:cxn>
              <a:cxn ang="0">
                <a:pos x="connsiteX31551" y="connsiteY31551"/>
              </a:cxn>
              <a:cxn ang="0">
                <a:pos x="connsiteX31552" y="connsiteY31552"/>
              </a:cxn>
              <a:cxn ang="0">
                <a:pos x="connsiteX31553" y="connsiteY31553"/>
              </a:cxn>
              <a:cxn ang="0">
                <a:pos x="connsiteX31554" y="connsiteY31554"/>
              </a:cxn>
              <a:cxn ang="0">
                <a:pos x="connsiteX31555" y="connsiteY31555"/>
              </a:cxn>
              <a:cxn ang="0">
                <a:pos x="connsiteX31556" y="connsiteY31556"/>
              </a:cxn>
              <a:cxn ang="0">
                <a:pos x="connsiteX31557" y="connsiteY31557"/>
              </a:cxn>
              <a:cxn ang="0">
                <a:pos x="connsiteX31558" y="connsiteY31558"/>
              </a:cxn>
              <a:cxn ang="0">
                <a:pos x="connsiteX31559" y="connsiteY31559"/>
              </a:cxn>
              <a:cxn ang="0">
                <a:pos x="connsiteX31560" y="connsiteY31560"/>
              </a:cxn>
              <a:cxn ang="0">
                <a:pos x="connsiteX31561" y="connsiteY31561"/>
              </a:cxn>
              <a:cxn ang="0">
                <a:pos x="connsiteX31562" y="connsiteY31562"/>
              </a:cxn>
              <a:cxn ang="0">
                <a:pos x="connsiteX31563" y="connsiteY31563"/>
              </a:cxn>
              <a:cxn ang="0">
                <a:pos x="connsiteX31564" y="connsiteY31564"/>
              </a:cxn>
              <a:cxn ang="0">
                <a:pos x="connsiteX31565" y="connsiteY31565"/>
              </a:cxn>
              <a:cxn ang="0">
                <a:pos x="connsiteX31566" y="connsiteY31566"/>
              </a:cxn>
              <a:cxn ang="0">
                <a:pos x="connsiteX31567" y="connsiteY31567"/>
              </a:cxn>
              <a:cxn ang="0">
                <a:pos x="connsiteX31568" y="connsiteY31568"/>
              </a:cxn>
              <a:cxn ang="0">
                <a:pos x="connsiteX31569" y="connsiteY31569"/>
              </a:cxn>
              <a:cxn ang="0">
                <a:pos x="connsiteX31570" y="connsiteY31570"/>
              </a:cxn>
              <a:cxn ang="0">
                <a:pos x="connsiteX31571" y="connsiteY31571"/>
              </a:cxn>
              <a:cxn ang="0">
                <a:pos x="connsiteX31572" y="connsiteY31572"/>
              </a:cxn>
              <a:cxn ang="0">
                <a:pos x="connsiteX31573" y="connsiteY31573"/>
              </a:cxn>
              <a:cxn ang="0">
                <a:pos x="connsiteX31574" y="connsiteY31574"/>
              </a:cxn>
              <a:cxn ang="0">
                <a:pos x="connsiteX31575" y="connsiteY31575"/>
              </a:cxn>
              <a:cxn ang="0">
                <a:pos x="connsiteX31576" y="connsiteY31576"/>
              </a:cxn>
              <a:cxn ang="0">
                <a:pos x="connsiteX31577" y="connsiteY31577"/>
              </a:cxn>
              <a:cxn ang="0">
                <a:pos x="connsiteX31578" y="connsiteY31578"/>
              </a:cxn>
              <a:cxn ang="0">
                <a:pos x="connsiteX31579" y="connsiteY31579"/>
              </a:cxn>
              <a:cxn ang="0">
                <a:pos x="connsiteX31580" y="connsiteY31580"/>
              </a:cxn>
              <a:cxn ang="0">
                <a:pos x="connsiteX31581" y="connsiteY31581"/>
              </a:cxn>
              <a:cxn ang="0">
                <a:pos x="connsiteX31582" y="connsiteY31582"/>
              </a:cxn>
              <a:cxn ang="0">
                <a:pos x="connsiteX31583" y="connsiteY31583"/>
              </a:cxn>
              <a:cxn ang="0">
                <a:pos x="connsiteX31584" y="connsiteY31584"/>
              </a:cxn>
              <a:cxn ang="0">
                <a:pos x="connsiteX31585" y="connsiteY31585"/>
              </a:cxn>
              <a:cxn ang="0">
                <a:pos x="connsiteX31586" y="connsiteY31586"/>
              </a:cxn>
              <a:cxn ang="0">
                <a:pos x="connsiteX31587" y="connsiteY31587"/>
              </a:cxn>
              <a:cxn ang="0">
                <a:pos x="connsiteX31588" y="connsiteY31588"/>
              </a:cxn>
              <a:cxn ang="0">
                <a:pos x="connsiteX31589" y="connsiteY31589"/>
              </a:cxn>
              <a:cxn ang="0">
                <a:pos x="connsiteX31590" y="connsiteY31590"/>
              </a:cxn>
              <a:cxn ang="0">
                <a:pos x="connsiteX31591" y="connsiteY31591"/>
              </a:cxn>
              <a:cxn ang="0">
                <a:pos x="connsiteX31592" y="connsiteY31592"/>
              </a:cxn>
              <a:cxn ang="0">
                <a:pos x="connsiteX31593" y="connsiteY31593"/>
              </a:cxn>
              <a:cxn ang="0">
                <a:pos x="connsiteX31594" y="connsiteY31594"/>
              </a:cxn>
              <a:cxn ang="0">
                <a:pos x="connsiteX31595" y="connsiteY31595"/>
              </a:cxn>
              <a:cxn ang="0">
                <a:pos x="connsiteX31596" y="connsiteY31596"/>
              </a:cxn>
              <a:cxn ang="0">
                <a:pos x="connsiteX31597" y="connsiteY31597"/>
              </a:cxn>
              <a:cxn ang="0">
                <a:pos x="connsiteX31598" y="connsiteY31598"/>
              </a:cxn>
              <a:cxn ang="0">
                <a:pos x="connsiteX31599" y="connsiteY31599"/>
              </a:cxn>
              <a:cxn ang="0">
                <a:pos x="connsiteX31600" y="connsiteY31600"/>
              </a:cxn>
              <a:cxn ang="0">
                <a:pos x="connsiteX31601" y="connsiteY31601"/>
              </a:cxn>
              <a:cxn ang="0">
                <a:pos x="connsiteX31602" y="connsiteY31602"/>
              </a:cxn>
              <a:cxn ang="0">
                <a:pos x="connsiteX31603" y="connsiteY31603"/>
              </a:cxn>
              <a:cxn ang="0">
                <a:pos x="connsiteX31604" y="connsiteY31604"/>
              </a:cxn>
              <a:cxn ang="0">
                <a:pos x="connsiteX31605" y="connsiteY31605"/>
              </a:cxn>
              <a:cxn ang="0">
                <a:pos x="connsiteX31606" y="connsiteY31606"/>
              </a:cxn>
              <a:cxn ang="0">
                <a:pos x="connsiteX31607" y="connsiteY31607"/>
              </a:cxn>
              <a:cxn ang="0">
                <a:pos x="connsiteX31608" y="connsiteY31608"/>
              </a:cxn>
              <a:cxn ang="0">
                <a:pos x="connsiteX31609" y="connsiteY31609"/>
              </a:cxn>
              <a:cxn ang="0">
                <a:pos x="connsiteX31610" y="connsiteY31610"/>
              </a:cxn>
              <a:cxn ang="0">
                <a:pos x="connsiteX31611" y="connsiteY31611"/>
              </a:cxn>
              <a:cxn ang="0">
                <a:pos x="connsiteX31612" y="connsiteY31612"/>
              </a:cxn>
              <a:cxn ang="0">
                <a:pos x="connsiteX31613" y="connsiteY31613"/>
              </a:cxn>
              <a:cxn ang="0">
                <a:pos x="connsiteX31614" y="connsiteY31614"/>
              </a:cxn>
              <a:cxn ang="0">
                <a:pos x="connsiteX31615" y="connsiteY31615"/>
              </a:cxn>
              <a:cxn ang="0">
                <a:pos x="connsiteX31616" y="connsiteY31616"/>
              </a:cxn>
              <a:cxn ang="0">
                <a:pos x="connsiteX31617" y="connsiteY31617"/>
              </a:cxn>
              <a:cxn ang="0">
                <a:pos x="connsiteX31618" y="connsiteY31618"/>
              </a:cxn>
              <a:cxn ang="0">
                <a:pos x="connsiteX31619" y="connsiteY31619"/>
              </a:cxn>
              <a:cxn ang="0">
                <a:pos x="connsiteX31620" y="connsiteY31620"/>
              </a:cxn>
              <a:cxn ang="0">
                <a:pos x="connsiteX31621" y="connsiteY31621"/>
              </a:cxn>
              <a:cxn ang="0">
                <a:pos x="connsiteX31622" y="connsiteY31622"/>
              </a:cxn>
              <a:cxn ang="0">
                <a:pos x="connsiteX31623" y="connsiteY31623"/>
              </a:cxn>
              <a:cxn ang="0">
                <a:pos x="connsiteX31624" y="connsiteY31624"/>
              </a:cxn>
              <a:cxn ang="0">
                <a:pos x="connsiteX31625" y="connsiteY31625"/>
              </a:cxn>
              <a:cxn ang="0">
                <a:pos x="connsiteX31626" y="connsiteY31626"/>
              </a:cxn>
              <a:cxn ang="0">
                <a:pos x="connsiteX31627" y="connsiteY31627"/>
              </a:cxn>
              <a:cxn ang="0">
                <a:pos x="connsiteX31628" y="connsiteY31628"/>
              </a:cxn>
              <a:cxn ang="0">
                <a:pos x="connsiteX31629" y="connsiteY31629"/>
              </a:cxn>
              <a:cxn ang="0">
                <a:pos x="connsiteX31630" y="connsiteY31630"/>
              </a:cxn>
              <a:cxn ang="0">
                <a:pos x="connsiteX31631" y="connsiteY31631"/>
              </a:cxn>
              <a:cxn ang="0">
                <a:pos x="connsiteX31632" y="connsiteY31632"/>
              </a:cxn>
              <a:cxn ang="0">
                <a:pos x="connsiteX31633" y="connsiteY31633"/>
              </a:cxn>
              <a:cxn ang="0">
                <a:pos x="connsiteX31634" y="connsiteY31634"/>
              </a:cxn>
              <a:cxn ang="0">
                <a:pos x="connsiteX31635" y="connsiteY31635"/>
              </a:cxn>
              <a:cxn ang="0">
                <a:pos x="connsiteX31636" y="connsiteY31636"/>
              </a:cxn>
              <a:cxn ang="0">
                <a:pos x="connsiteX31637" y="connsiteY31637"/>
              </a:cxn>
              <a:cxn ang="0">
                <a:pos x="connsiteX31638" y="connsiteY31638"/>
              </a:cxn>
              <a:cxn ang="0">
                <a:pos x="connsiteX31639" y="connsiteY31639"/>
              </a:cxn>
              <a:cxn ang="0">
                <a:pos x="connsiteX31640" y="connsiteY31640"/>
              </a:cxn>
              <a:cxn ang="0">
                <a:pos x="connsiteX31641" y="connsiteY31641"/>
              </a:cxn>
              <a:cxn ang="0">
                <a:pos x="connsiteX31642" y="connsiteY31642"/>
              </a:cxn>
              <a:cxn ang="0">
                <a:pos x="connsiteX31643" y="connsiteY31643"/>
              </a:cxn>
              <a:cxn ang="0">
                <a:pos x="connsiteX31644" y="connsiteY31644"/>
              </a:cxn>
              <a:cxn ang="0">
                <a:pos x="connsiteX31645" y="connsiteY31645"/>
              </a:cxn>
              <a:cxn ang="0">
                <a:pos x="connsiteX31646" y="connsiteY31646"/>
              </a:cxn>
              <a:cxn ang="0">
                <a:pos x="connsiteX31647" y="connsiteY31647"/>
              </a:cxn>
              <a:cxn ang="0">
                <a:pos x="connsiteX31648" y="connsiteY31648"/>
              </a:cxn>
              <a:cxn ang="0">
                <a:pos x="connsiteX31649" y="connsiteY31649"/>
              </a:cxn>
              <a:cxn ang="0">
                <a:pos x="connsiteX31650" y="connsiteY31650"/>
              </a:cxn>
              <a:cxn ang="0">
                <a:pos x="connsiteX31651" y="connsiteY31651"/>
              </a:cxn>
              <a:cxn ang="0">
                <a:pos x="connsiteX31652" y="connsiteY31652"/>
              </a:cxn>
              <a:cxn ang="0">
                <a:pos x="connsiteX31653" y="connsiteY31653"/>
              </a:cxn>
              <a:cxn ang="0">
                <a:pos x="connsiteX31654" y="connsiteY31654"/>
              </a:cxn>
              <a:cxn ang="0">
                <a:pos x="connsiteX31655" y="connsiteY31655"/>
              </a:cxn>
              <a:cxn ang="0">
                <a:pos x="connsiteX31656" y="connsiteY31656"/>
              </a:cxn>
              <a:cxn ang="0">
                <a:pos x="connsiteX31657" y="connsiteY31657"/>
              </a:cxn>
              <a:cxn ang="0">
                <a:pos x="connsiteX31658" y="connsiteY31658"/>
              </a:cxn>
              <a:cxn ang="0">
                <a:pos x="connsiteX31659" y="connsiteY31659"/>
              </a:cxn>
              <a:cxn ang="0">
                <a:pos x="connsiteX31660" y="connsiteY31660"/>
              </a:cxn>
              <a:cxn ang="0">
                <a:pos x="connsiteX31661" y="connsiteY31661"/>
              </a:cxn>
              <a:cxn ang="0">
                <a:pos x="connsiteX31662" y="connsiteY31662"/>
              </a:cxn>
              <a:cxn ang="0">
                <a:pos x="connsiteX31663" y="connsiteY31663"/>
              </a:cxn>
              <a:cxn ang="0">
                <a:pos x="connsiteX31664" y="connsiteY31664"/>
              </a:cxn>
              <a:cxn ang="0">
                <a:pos x="connsiteX31665" y="connsiteY31665"/>
              </a:cxn>
              <a:cxn ang="0">
                <a:pos x="connsiteX31666" y="connsiteY31666"/>
              </a:cxn>
              <a:cxn ang="0">
                <a:pos x="connsiteX31667" y="connsiteY31667"/>
              </a:cxn>
              <a:cxn ang="0">
                <a:pos x="connsiteX31668" y="connsiteY31668"/>
              </a:cxn>
              <a:cxn ang="0">
                <a:pos x="connsiteX31669" y="connsiteY31669"/>
              </a:cxn>
              <a:cxn ang="0">
                <a:pos x="connsiteX31670" y="connsiteY31670"/>
              </a:cxn>
              <a:cxn ang="0">
                <a:pos x="connsiteX31671" y="connsiteY31671"/>
              </a:cxn>
              <a:cxn ang="0">
                <a:pos x="connsiteX31672" y="connsiteY31672"/>
              </a:cxn>
              <a:cxn ang="0">
                <a:pos x="connsiteX31673" y="connsiteY31673"/>
              </a:cxn>
              <a:cxn ang="0">
                <a:pos x="connsiteX31674" y="connsiteY31674"/>
              </a:cxn>
              <a:cxn ang="0">
                <a:pos x="connsiteX31675" y="connsiteY31675"/>
              </a:cxn>
              <a:cxn ang="0">
                <a:pos x="connsiteX31676" y="connsiteY31676"/>
              </a:cxn>
              <a:cxn ang="0">
                <a:pos x="connsiteX31677" y="connsiteY31677"/>
              </a:cxn>
              <a:cxn ang="0">
                <a:pos x="connsiteX31678" y="connsiteY31678"/>
              </a:cxn>
              <a:cxn ang="0">
                <a:pos x="connsiteX31679" y="connsiteY31679"/>
              </a:cxn>
              <a:cxn ang="0">
                <a:pos x="connsiteX31680" y="connsiteY31680"/>
              </a:cxn>
              <a:cxn ang="0">
                <a:pos x="connsiteX31681" y="connsiteY31681"/>
              </a:cxn>
              <a:cxn ang="0">
                <a:pos x="connsiteX31682" y="connsiteY31682"/>
              </a:cxn>
              <a:cxn ang="0">
                <a:pos x="connsiteX31683" y="connsiteY31683"/>
              </a:cxn>
              <a:cxn ang="0">
                <a:pos x="connsiteX31684" y="connsiteY31684"/>
              </a:cxn>
              <a:cxn ang="0">
                <a:pos x="connsiteX31685" y="connsiteY31685"/>
              </a:cxn>
              <a:cxn ang="0">
                <a:pos x="connsiteX31686" y="connsiteY31686"/>
              </a:cxn>
              <a:cxn ang="0">
                <a:pos x="connsiteX31687" y="connsiteY31687"/>
              </a:cxn>
              <a:cxn ang="0">
                <a:pos x="connsiteX31688" y="connsiteY31688"/>
              </a:cxn>
              <a:cxn ang="0">
                <a:pos x="connsiteX31689" y="connsiteY31689"/>
              </a:cxn>
              <a:cxn ang="0">
                <a:pos x="connsiteX31690" y="connsiteY31690"/>
              </a:cxn>
              <a:cxn ang="0">
                <a:pos x="connsiteX31691" y="connsiteY31691"/>
              </a:cxn>
              <a:cxn ang="0">
                <a:pos x="connsiteX31692" y="connsiteY31692"/>
              </a:cxn>
              <a:cxn ang="0">
                <a:pos x="connsiteX31693" y="connsiteY31693"/>
              </a:cxn>
              <a:cxn ang="0">
                <a:pos x="connsiteX31694" y="connsiteY31694"/>
              </a:cxn>
              <a:cxn ang="0">
                <a:pos x="connsiteX31695" y="connsiteY31695"/>
              </a:cxn>
              <a:cxn ang="0">
                <a:pos x="connsiteX31696" y="connsiteY31696"/>
              </a:cxn>
              <a:cxn ang="0">
                <a:pos x="connsiteX31697" y="connsiteY31697"/>
              </a:cxn>
              <a:cxn ang="0">
                <a:pos x="connsiteX31698" y="connsiteY31698"/>
              </a:cxn>
              <a:cxn ang="0">
                <a:pos x="connsiteX31699" y="connsiteY31699"/>
              </a:cxn>
              <a:cxn ang="0">
                <a:pos x="connsiteX31700" y="connsiteY31700"/>
              </a:cxn>
              <a:cxn ang="0">
                <a:pos x="connsiteX31701" y="connsiteY31701"/>
              </a:cxn>
              <a:cxn ang="0">
                <a:pos x="connsiteX31702" y="connsiteY31702"/>
              </a:cxn>
              <a:cxn ang="0">
                <a:pos x="connsiteX31703" y="connsiteY31703"/>
              </a:cxn>
              <a:cxn ang="0">
                <a:pos x="connsiteX31704" y="connsiteY31704"/>
              </a:cxn>
              <a:cxn ang="0">
                <a:pos x="connsiteX31705" y="connsiteY31705"/>
              </a:cxn>
              <a:cxn ang="0">
                <a:pos x="connsiteX31706" y="connsiteY31706"/>
              </a:cxn>
              <a:cxn ang="0">
                <a:pos x="connsiteX31707" y="connsiteY31707"/>
              </a:cxn>
              <a:cxn ang="0">
                <a:pos x="connsiteX31708" y="connsiteY31708"/>
              </a:cxn>
              <a:cxn ang="0">
                <a:pos x="connsiteX31709" y="connsiteY31709"/>
              </a:cxn>
              <a:cxn ang="0">
                <a:pos x="connsiteX31710" y="connsiteY31710"/>
              </a:cxn>
              <a:cxn ang="0">
                <a:pos x="connsiteX31711" y="connsiteY31711"/>
              </a:cxn>
              <a:cxn ang="0">
                <a:pos x="connsiteX31712" y="connsiteY31712"/>
              </a:cxn>
              <a:cxn ang="0">
                <a:pos x="connsiteX31713" y="connsiteY31713"/>
              </a:cxn>
              <a:cxn ang="0">
                <a:pos x="connsiteX31714" y="connsiteY31714"/>
              </a:cxn>
              <a:cxn ang="0">
                <a:pos x="connsiteX31715" y="connsiteY31715"/>
              </a:cxn>
              <a:cxn ang="0">
                <a:pos x="connsiteX31716" y="connsiteY31716"/>
              </a:cxn>
              <a:cxn ang="0">
                <a:pos x="connsiteX31717" y="connsiteY31717"/>
              </a:cxn>
              <a:cxn ang="0">
                <a:pos x="connsiteX31718" y="connsiteY31718"/>
              </a:cxn>
              <a:cxn ang="0">
                <a:pos x="connsiteX31719" y="connsiteY31719"/>
              </a:cxn>
              <a:cxn ang="0">
                <a:pos x="connsiteX31720" y="connsiteY31720"/>
              </a:cxn>
              <a:cxn ang="0">
                <a:pos x="connsiteX31721" y="connsiteY31721"/>
              </a:cxn>
              <a:cxn ang="0">
                <a:pos x="connsiteX31722" y="connsiteY31722"/>
              </a:cxn>
              <a:cxn ang="0">
                <a:pos x="connsiteX31723" y="connsiteY31723"/>
              </a:cxn>
              <a:cxn ang="0">
                <a:pos x="connsiteX31724" y="connsiteY31724"/>
              </a:cxn>
              <a:cxn ang="0">
                <a:pos x="connsiteX31725" y="connsiteY31725"/>
              </a:cxn>
              <a:cxn ang="0">
                <a:pos x="connsiteX31726" y="connsiteY31726"/>
              </a:cxn>
              <a:cxn ang="0">
                <a:pos x="connsiteX31727" y="connsiteY31727"/>
              </a:cxn>
              <a:cxn ang="0">
                <a:pos x="connsiteX31728" y="connsiteY31728"/>
              </a:cxn>
              <a:cxn ang="0">
                <a:pos x="connsiteX31729" y="connsiteY31729"/>
              </a:cxn>
              <a:cxn ang="0">
                <a:pos x="connsiteX31730" y="connsiteY31730"/>
              </a:cxn>
              <a:cxn ang="0">
                <a:pos x="connsiteX31731" y="connsiteY31731"/>
              </a:cxn>
              <a:cxn ang="0">
                <a:pos x="connsiteX31732" y="connsiteY31732"/>
              </a:cxn>
              <a:cxn ang="0">
                <a:pos x="connsiteX31733" y="connsiteY31733"/>
              </a:cxn>
              <a:cxn ang="0">
                <a:pos x="connsiteX31734" y="connsiteY31734"/>
              </a:cxn>
              <a:cxn ang="0">
                <a:pos x="connsiteX31735" y="connsiteY31735"/>
              </a:cxn>
              <a:cxn ang="0">
                <a:pos x="connsiteX31736" y="connsiteY31736"/>
              </a:cxn>
              <a:cxn ang="0">
                <a:pos x="connsiteX31737" y="connsiteY31737"/>
              </a:cxn>
              <a:cxn ang="0">
                <a:pos x="connsiteX31738" y="connsiteY31738"/>
              </a:cxn>
              <a:cxn ang="0">
                <a:pos x="connsiteX31739" y="connsiteY31739"/>
              </a:cxn>
              <a:cxn ang="0">
                <a:pos x="connsiteX31740" y="connsiteY31740"/>
              </a:cxn>
              <a:cxn ang="0">
                <a:pos x="connsiteX31741" y="connsiteY31741"/>
              </a:cxn>
              <a:cxn ang="0">
                <a:pos x="connsiteX31742" y="connsiteY31742"/>
              </a:cxn>
              <a:cxn ang="0">
                <a:pos x="connsiteX31743" y="connsiteY31743"/>
              </a:cxn>
              <a:cxn ang="0">
                <a:pos x="connsiteX31744" y="connsiteY31744"/>
              </a:cxn>
              <a:cxn ang="0">
                <a:pos x="connsiteX31745" y="connsiteY31745"/>
              </a:cxn>
              <a:cxn ang="0">
                <a:pos x="connsiteX31746" y="connsiteY31746"/>
              </a:cxn>
              <a:cxn ang="0">
                <a:pos x="connsiteX31747" y="connsiteY31747"/>
              </a:cxn>
              <a:cxn ang="0">
                <a:pos x="connsiteX31748" y="connsiteY31748"/>
              </a:cxn>
              <a:cxn ang="0">
                <a:pos x="connsiteX31749" y="connsiteY31749"/>
              </a:cxn>
              <a:cxn ang="0">
                <a:pos x="connsiteX31750" y="connsiteY31750"/>
              </a:cxn>
              <a:cxn ang="0">
                <a:pos x="connsiteX31751" y="connsiteY31751"/>
              </a:cxn>
              <a:cxn ang="0">
                <a:pos x="connsiteX31752" y="connsiteY31752"/>
              </a:cxn>
              <a:cxn ang="0">
                <a:pos x="connsiteX31753" y="connsiteY31753"/>
              </a:cxn>
              <a:cxn ang="0">
                <a:pos x="connsiteX31754" y="connsiteY31754"/>
              </a:cxn>
              <a:cxn ang="0">
                <a:pos x="connsiteX31755" y="connsiteY31755"/>
              </a:cxn>
              <a:cxn ang="0">
                <a:pos x="connsiteX31756" y="connsiteY31756"/>
              </a:cxn>
              <a:cxn ang="0">
                <a:pos x="connsiteX31757" y="connsiteY31757"/>
              </a:cxn>
              <a:cxn ang="0">
                <a:pos x="connsiteX31758" y="connsiteY31758"/>
              </a:cxn>
              <a:cxn ang="0">
                <a:pos x="connsiteX31759" y="connsiteY31759"/>
              </a:cxn>
              <a:cxn ang="0">
                <a:pos x="connsiteX31760" y="connsiteY31760"/>
              </a:cxn>
              <a:cxn ang="0">
                <a:pos x="connsiteX31761" y="connsiteY31761"/>
              </a:cxn>
              <a:cxn ang="0">
                <a:pos x="connsiteX31762" y="connsiteY31762"/>
              </a:cxn>
              <a:cxn ang="0">
                <a:pos x="connsiteX31763" y="connsiteY31763"/>
              </a:cxn>
              <a:cxn ang="0">
                <a:pos x="connsiteX31764" y="connsiteY31764"/>
              </a:cxn>
              <a:cxn ang="0">
                <a:pos x="connsiteX31765" y="connsiteY31765"/>
              </a:cxn>
              <a:cxn ang="0">
                <a:pos x="connsiteX31766" y="connsiteY31766"/>
              </a:cxn>
              <a:cxn ang="0">
                <a:pos x="connsiteX31767" y="connsiteY31767"/>
              </a:cxn>
              <a:cxn ang="0">
                <a:pos x="connsiteX31768" y="connsiteY31768"/>
              </a:cxn>
              <a:cxn ang="0">
                <a:pos x="connsiteX31769" y="connsiteY31769"/>
              </a:cxn>
              <a:cxn ang="0">
                <a:pos x="connsiteX31770" y="connsiteY31770"/>
              </a:cxn>
              <a:cxn ang="0">
                <a:pos x="connsiteX31771" y="connsiteY31771"/>
              </a:cxn>
              <a:cxn ang="0">
                <a:pos x="connsiteX31772" y="connsiteY31772"/>
              </a:cxn>
              <a:cxn ang="0">
                <a:pos x="connsiteX31773" y="connsiteY31773"/>
              </a:cxn>
              <a:cxn ang="0">
                <a:pos x="connsiteX31774" y="connsiteY31774"/>
              </a:cxn>
              <a:cxn ang="0">
                <a:pos x="connsiteX31775" y="connsiteY31775"/>
              </a:cxn>
              <a:cxn ang="0">
                <a:pos x="connsiteX31776" y="connsiteY31776"/>
              </a:cxn>
              <a:cxn ang="0">
                <a:pos x="connsiteX31777" y="connsiteY31777"/>
              </a:cxn>
              <a:cxn ang="0">
                <a:pos x="connsiteX31778" y="connsiteY31778"/>
              </a:cxn>
              <a:cxn ang="0">
                <a:pos x="connsiteX31779" y="connsiteY31779"/>
              </a:cxn>
              <a:cxn ang="0">
                <a:pos x="connsiteX31780" y="connsiteY31780"/>
              </a:cxn>
              <a:cxn ang="0">
                <a:pos x="connsiteX31781" y="connsiteY31781"/>
              </a:cxn>
              <a:cxn ang="0">
                <a:pos x="connsiteX31782" y="connsiteY31782"/>
              </a:cxn>
              <a:cxn ang="0">
                <a:pos x="connsiteX31783" y="connsiteY31783"/>
              </a:cxn>
              <a:cxn ang="0">
                <a:pos x="connsiteX31784" y="connsiteY31784"/>
              </a:cxn>
              <a:cxn ang="0">
                <a:pos x="connsiteX31785" y="connsiteY31785"/>
              </a:cxn>
              <a:cxn ang="0">
                <a:pos x="connsiteX31786" y="connsiteY31786"/>
              </a:cxn>
              <a:cxn ang="0">
                <a:pos x="connsiteX31787" y="connsiteY31787"/>
              </a:cxn>
              <a:cxn ang="0">
                <a:pos x="connsiteX31788" y="connsiteY31788"/>
              </a:cxn>
              <a:cxn ang="0">
                <a:pos x="connsiteX31789" y="connsiteY31789"/>
              </a:cxn>
              <a:cxn ang="0">
                <a:pos x="connsiteX31790" y="connsiteY31790"/>
              </a:cxn>
              <a:cxn ang="0">
                <a:pos x="connsiteX31791" y="connsiteY31791"/>
              </a:cxn>
              <a:cxn ang="0">
                <a:pos x="connsiteX31792" y="connsiteY31792"/>
              </a:cxn>
              <a:cxn ang="0">
                <a:pos x="connsiteX31793" y="connsiteY31793"/>
              </a:cxn>
              <a:cxn ang="0">
                <a:pos x="connsiteX31794" y="connsiteY31794"/>
              </a:cxn>
              <a:cxn ang="0">
                <a:pos x="connsiteX31795" y="connsiteY31795"/>
              </a:cxn>
              <a:cxn ang="0">
                <a:pos x="connsiteX31796" y="connsiteY31796"/>
              </a:cxn>
              <a:cxn ang="0">
                <a:pos x="connsiteX31797" y="connsiteY31797"/>
              </a:cxn>
              <a:cxn ang="0">
                <a:pos x="connsiteX31798" y="connsiteY31798"/>
              </a:cxn>
              <a:cxn ang="0">
                <a:pos x="connsiteX31799" y="connsiteY31799"/>
              </a:cxn>
              <a:cxn ang="0">
                <a:pos x="connsiteX31800" y="connsiteY31800"/>
              </a:cxn>
              <a:cxn ang="0">
                <a:pos x="connsiteX31801" y="connsiteY31801"/>
              </a:cxn>
              <a:cxn ang="0">
                <a:pos x="connsiteX31802" y="connsiteY31802"/>
              </a:cxn>
              <a:cxn ang="0">
                <a:pos x="connsiteX31803" y="connsiteY31803"/>
              </a:cxn>
              <a:cxn ang="0">
                <a:pos x="connsiteX31804" y="connsiteY31804"/>
              </a:cxn>
              <a:cxn ang="0">
                <a:pos x="connsiteX31805" y="connsiteY31805"/>
              </a:cxn>
              <a:cxn ang="0">
                <a:pos x="connsiteX31806" y="connsiteY31806"/>
              </a:cxn>
              <a:cxn ang="0">
                <a:pos x="connsiteX31807" y="connsiteY31807"/>
              </a:cxn>
              <a:cxn ang="0">
                <a:pos x="connsiteX31808" y="connsiteY31808"/>
              </a:cxn>
              <a:cxn ang="0">
                <a:pos x="connsiteX31809" y="connsiteY31809"/>
              </a:cxn>
              <a:cxn ang="0">
                <a:pos x="connsiteX31810" y="connsiteY31810"/>
              </a:cxn>
              <a:cxn ang="0">
                <a:pos x="connsiteX31811" y="connsiteY31811"/>
              </a:cxn>
              <a:cxn ang="0">
                <a:pos x="connsiteX31812" y="connsiteY31812"/>
              </a:cxn>
              <a:cxn ang="0">
                <a:pos x="connsiteX31813" y="connsiteY31813"/>
              </a:cxn>
              <a:cxn ang="0">
                <a:pos x="connsiteX31814" y="connsiteY31814"/>
              </a:cxn>
              <a:cxn ang="0">
                <a:pos x="connsiteX31815" y="connsiteY31815"/>
              </a:cxn>
              <a:cxn ang="0">
                <a:pos x="connsiteX31816" y="connsiteY31816"/>
              </a:cxn>
              <a:cxn ang="0">
                <a:pos x="connsiteX31817" y="connsiteY31817"/>
              </a:cxn>
              <a:cxn ang="0">
                <a:pos x="connsiteX31818" y="connsiteY31818"/>
              </a:cxn>
              <a:cxn ang="0">
                <a:pos x="connsiteX31819" y="connsiteY31819"/>
              </a:cxn>
              <a:cxn ang="0">
                <a:pos x="connsiteX31820" y="connsiteY31820"/>
              </a:cxn>
              <a:cxn ang="0">
                <a:pos x="connsiteX31821" y="connsiteY31821"/>
              </a:cxn>
              <a:cxn ang="0">
                <a:pos x="connsiteX31822" y="connsiteY31822"/>
              </a:cxn>
              <a:cxn ang="0">
                <a:pos x="connsiteX31823" y="connsiteY31823"/>
              </a:cxn>
              <a:cxn ang="0">
                <a:pos x="connsiteX31824" y="connsiteY31824"/>
              </a:cxn>
              <a:cxn ang="0">
                <a:pos x="connsiteX31825" y="connsiteY31825"/>
              </a:cxn>
              <a:cxn ang="0">
                <a:pos x="connsiteX31826" y="connsiteY31826"/>
              </a:cxn>
              <a:cxn ang="0">
                <a:pos x="connsiteX31827" y="connsiteY31827"/>
              </a:cxn>
              <a:cxn ang="0">
                <a:pos x="connsiteX31828" y="connsiteY31828"/>
              </a:cxn>
              <a:cxn ang="0">
                <a:pos x="connsiteX31829" y="connsiteY31829"/>
              </a:cxn>
              <a:cxn ang="0">
                <a:pos x="connsiteX31830" y="connsiteY31830"/>
              </a:cxn>
              <a:cxn ang="0">
                <a:pos x="connsiteX31831" y="connsiteY31831"/>
              </a:cxn>
              <a:cxn ang="0">
                <a:pos x="connsiteX31832" y="connsiteY31832"/>
              </a:cxn>
              <a:cxn ang="0">
                <a:pos x="connsiteX31833" y="connsiteY31833"/>
              </a:cxn>
              <a:cxn ang="0">
                <a:pos x="connsiteX31834" y="connsiteY31834"/>
              </a:cxn>
              <a:cxn ang="0">
                <a:pos x="connsiteX31835" y="connsiteY31835"/>
              </a:cxn>
              <a:cxn ang="0">
                <a:pos x="connsiteX31836" y="connsiteY31836"/>
              </a:cxn>
              <a:cxn ang="0">
                <a:pos x="connsiteX31837" y="connsiteY31837"/>
              </a:cxn>
              <a:cxn ang="0">
                <a:pos x="connsiteX31838" y="connsiteY31838"/>
              </a:cxn>
              <a:cxn ang="0">
                <a:pos x="connsiteX31839" y="connsiteY31839"/>
              </a:cxn>
              <a:cxn ang="0">
                <a:pos x="connsiteX31840" y="connsiteY31840"/>
              </a:cxn>
              <a:cxn ang="0">
                <a:pos x="connsiteX31841" y="connsiteY31841"/>
              </a:cxn>
              <a:cxn ang="0">
                <a:pos x="connsiteX31842" y="connsiteY31842"/>
              </a:cxn>
              <a:cxn ang="0">
                <a:pos x="connsiteX31843" y="connsiteY31843"/>
              </a:cxn>
              <a:cxn ang="0">
                <a:pos x="connsiteX31844" y="connsiteY31844"/>
              </a:cxn>
              <a:cxn ang="0">
                <a:pos x="connsiteX31845" y="connsiteY31845"/>
              </a:cxn>
              <a:cxn ang="0">
                <a:pos x="connsiteX31846" y="connsiteY31846"/>
              </a:cxn>
              <a:cxn ang="0">
                <a:pos x="connsiteX31847" y="connsiteY31847"/>
              </a:cxn>
              <a:cxn ang="0">
                <a:pos x="connsiteX31848" y="connsiteY31848"/>
              </a:cxn>
              <a:cxn ang="0">
                <a:pos x="connsiteX31849" y="connsiteY31849"/>
              </a:cxn>
              <a:cxn ang="0">
                <a:pos x="connsiteX31850" y="connsiteY31850"/>
              </a:cxn>
              <a:cxn ang="0">
                <a:pos x="connsiteX31851" y="connsiteY31851"/>
              </a:cxn>
              <a:cxn ang="0">
                <a:pos x="connsiteX31852" y="connsiteY31852"/>
              </a:cxn>
              <a:cxn ang="0">
                <a:pos x="connsiteX31853" y="connsiteY31853"/>
              </a:cxn>
              <a:cxn ang="0">
                <a:pos x="connsiteX31854" y="connsiteY31854"/>
              </a:cxn>
              <a:cxn ang="0">
                <a:pos x="connsiteX31855" y="connsiteY31855"/>
              </a:cxn>
              <a:cxn ang="0">
                <a:pos x="connsiteX31856" y="connsiteY31856"/>
              </a:cxn>
              <a:cxn ang="0">
                <a:pos x="connsiteX31857" y="connsiteY31857"/>
              </a:cxn>
              <a:cxn ang="0">
                <a:pos x="connsiteX31858" y="connsiteY31858"/>
              </a:cxn>
              <a:cxn ang="0">
                <a:pos x="connsiteX31859" y="connsiteY31859"/>
              </a:cxn>
              <a:cxn ang="0">
                <a:pos x="connsiteX31860" y="connsiteY31860"/>
              </a:cxn>
              <a:cxn ang="0">
                <a:pos x="connsiteX31861" y="connsiteY31861"/>
              </a:cxn>
              <a:cxn ang="0">
                <a:pos x="connsiteX31862" y="connsiteY31862"/>
              </a:cxn>
              <a:cxn ang="0">
                <a:pos x="connsiteX31863" y="connsiteY31863"/>
              </a:cxn>
              <a:cxn ang="0">
                <a:pos x="connsiteX31864" y="connsiteY31864"/>
              </a:cxn>
              <a:cxn ang="0">
                <a:pos x="connsiteX31865" y="connsiteY31865"/>
              </a:cxn>
              <a:cxn ang="0">
                <a:pos x="connsiteX31866" y="connsiteY31866"/>
              </a:cxn>
              <a:cxn ang="0">
                <a:pos x="connsiteX31867" y="connsiteY31867"/>
              </a:cxn>
              <a:cxn ang="0">
                <a:pos x="connsiteX31868" y="connsiteY31868"/>
              </a:cxn>
              <a:cxn ang="0">
                <a:pos x="connsiteX31869" y="connsiteY31869"/>
              </a:cxn>
              <a:cxn ang="0">
                <a:pos x="connsiteX31870" y="connsiteY31870"/>
              </a:cxn>
              <a:cxn ang="0">
                <a:pos x="connsiteX31871" y="connsiteY31871"/>
              </a:cxn>
              <a:cxn ang="0">
                <a:pos x="connsiteX31872" y="connsiteY31872"/>
              </a:cxn>
              <a:cxn ang="0">
                <a:pos x="connsiteX31873" y="connsiteY31873"/>
              </a:cxn>
              <a:cxn ang="0">
                <a:pos x="connsiteX31874" y="connsiteY31874"/>
              </a:cxn>
              <a:cxn ang="0">
                <a:pos x="connsiteX31875" y="connsiteY31875"/>
              </a:cxn>
              <a:cxn ang="0">
                <a:pos x="connsiteX31876" y="connsiteY31876"/>
              </a:cxn>
              <a:cxn ang="0">
                <a:pos x="connsiteX31877" y="connsiteY31877"/>
              </a:cxn>
              <a:cxn ang="0">
                <a:pos x="connsiteX31878" y="connsiteY31878"/>
              </a:cxn>
              <a:cxn ang="0">
                <a:pos x="connsiteX31879" y="connsiteY31879"/>
              </a:cxn>
              <a:cxn ang="0">
                <a:pos x="connsiteX31880" y="connsiteY31880"/>
              </a:cxn>
              <a:cxn ang="0">
                <a:pos x="connsiteX31881" y="connsiteY31881"/>
              </a:cxn>
              <a:cxn ang="0">
                <a:pos x="connsiteX31882" y="connsiteY31882"/>
              </a:cxn>
              <a:cxn ang="0">
                <a:pos x="connsiteX31883" y="connsiteY31883"/>
              </a:cxn>
              <a:cxn ang="0">
                <a:pos x="connsiteX31884" y="connsiteY31884"/>
              </a:cxn>
              <a:cxn ang="0">
                <a:pos x="connsiteX31885" y="connsiteY31885"/>
              </a:cxn>
              <a:cxn ang="0">
                <a:pos x="connsiteX31886" y="connsiteY31886"/>
              </a:cxn>
              <a:cxn ang="0">
                <a:pos x="connsiteX31887" y="connsiteY31887"/>
              </a:cxn>
              <a:cxn ang="0">
                <a:pos x="connsiteX31888" y="connsiteY31888"/>
              </a:cxn>
              <a:cxn ang="0">
                <a:pos x="connsiteX31889" y="connsiteY31889"/>
              </a:cxn>
              <a:cxn ang="0">
                <a:pos x="connsiteX31890" y="connsiteY31890"/>
              </a:cxn>
              <a:cxn ang="0">
                <a:pos x="connsiteX31891" y="connsiteY31891"/>
              </a:cxn>
              <a:cxn ang="0">
                <a:pos x="connsiteX31892" y="connsiteY31892"/>
              </a:cxn>
              <a:cxn ang="0">
                <a:pos x="connsiteX31893" y="connsiteY31893"/>
              </a:cxn>
              <a:cxn ang="0">
                <a:pos x="connsiteX31894" y="connsiteY31894"/>
              </a:cxn>
              <a:cxn ang="0">
                <a:pos x="connsiteX31895" y="connsiteY31895"/>
              </a:cxn>
              <a:cxn ang="0">
                <a:pos x="connsiteX31896" y="connsiteY31896"/>
              </a:cxn>
              <a:cxn ang="0">
                <a:pos x="connsiteX31897" y="connsiteY31897"/>
              </a:cxn>
              <a:cxn ang="0">
                <a:pos x="connsiteX31898" y="connsiteY31898"/>
              </a:cxn>
              <a:cxn ang="0">
                <a:pos x="connsiteX31899" y="connsiteY31899"/>
              </a:cxn>
              <a:cxn ang="0">
                <a:pos x="connsiteX31900" y="connsiteY31900"/>
              </a:cxn>
              <a:cxn ang="0">
                <a:pos x="connsiteX31901" y="connsiteY31901"/>
              </a:cxn>
              <a:cxn ang="0">
                <a:pos x="connsiteX31902" y="connsiteY31902"/>
              </a:cxn>
              <a:cxn ang="0">
                <a:pos x="connsiteX31903" y="connsiteY31903"/>
              </a:cxn>
              <a:cxn ang="0">
                <a:pos x="connsiteX31904" y="connsiteY31904"/>
              </a:cxn>
              <a:cxn ang="0">
                <a:pos x="connsiteX31905" y="connsiteY31905"/>
              </a:cxn>
              <a:cxn ang="0">
                <a:pos x="connsiteX31906" y="connsiteY31906"/>
              </a:cxn>
              <a:cxn ang="0">
                <a:pos x="connsiteX31907" y="connsiteY31907"/>
              </a:cxn>
              <a:cxn ang="0">
                <a:pos x="connsiteX31908" y="connsiteY31908"/>
              </a:cxn>
              <a:cxn ang="0">
                <a:pos x="connsiteX31909" y="connsiteY31909"/>
              </a:cxn>
              <a:cxn ang="0">
                <a:pos x="connsiteX31910" y="connsiteY31910"/>
              </a:cxn>
              <a:cxn ang="0">
                <a:pos x="connsiteX31911" y="connsiteY31911"/>
              </a:cxn>
              <a:cxn ang="0">
                <a:pos x="connsiteX31912" y="connsiteY31912"/>
              </a:cxn>
              <a:cxn ang="0">
                <a:pos x="connsiteX31913" y="connsiteY31913"/>
              </a:cxn>
              <a:cxn ang="0">
                <a:pos x="connsiteX31914" y="connsiteY31914"/>
              </a:cxn>
              <a:cxn ang="0">
                <a:pos x="connsiteX31915" y="connsiteY31915"/>
              </a:cxn>
              <a:cxn ang="0">
                <a:pos x="connsiteX31916" y="connsiteY31916"/>
              </a:cxn>
              <a:cxn ang="0">
                <a:pos x="connsiteX31917" y="connsiteY31917"/>
              </a:cxn>
              <a:cxn ang="0">
                <a:pos x="connsiteX31918" y="connsiteY31918"/>
              </a:cxn>
              <a:cxn ang="0">
                <a:pos x="connsiteX31919" y="connsiteY31919"/>
              </a:cxn>
              <a:cxn ang="0">
                <a:pos x="connsiteX31920" y="connsiteY31920"/>
              </a:cxn>
              <a:cxn ang="0">
                <a:pos x="connsiteX31921" y="connsiteY31921"/>
              </a:cxn>
              <a:cxn ang="0">
                <a:pos x="connsiteX31922" y="connsiteY31922"/>
              </a:cxn>
              <a:cxn ang="0">
                <a:pos x="connsiteX31923" y="connsiteY31923"/>
              </a:cxn>
              <a:cxn ang="0">
                <a:pos x="connsiteX31924" y="connsiteY31924"/>
              </a:cxn>
              <a:cxn ang="0">
                <a:pos x="connsiteX31925" y="connsiteY31925"/>
              </a:cxn>
              <a:cxn ang="0">
                <a:pos x="connsiteX31926" y="connsiteY31926"/>
              </a:cxn>
              <a:cxn ang="0">
                <a:pos x="connsiteX31927" y="connsiteY31927"/>
              </a:cxn>
              <a:cxn ang="0">
                <a:pos x="connsiteX31928" y="connsiteY31928"/>
              </a:cxn>
              <a:cxn ang="0">
                <a:pos x="connsiteX31929" y="connsiteY31929"/>
              </a:cxn>
              <a:cxn ang="0">
                <a:pos x="connsiteX31930" y="connsiteY31930"/>
              </a:cxn>
              <a:cxn ang="0">
                <a:pos x="connsiteX31931" y="connsiteY31931"/>
              </a:cxn>
              <a:cxn ang="0">
                <a:pos x="connsiteX31932" y="connsiteY31932"/>
              </a:cxn>
              <a:cxn ang="0">
                <a:pos x="connsiteX31933" y="connsiteY31933"/>
              </a:cxn>
              <a:cxn ang="0">
                <a:pos x="connsiteX31934" y="connsiteY31934"/>
              </a:cxn>
              <a:cxn ang="0">
                <a:pos x="connsiteX31935" y="connsiteY31935"/>
              </a:cxn>
              <a:cxn ang="0">
                <a:pos x="connsiteX31936" y="connsiteY31936"/>
              </a:cxn>
              <a:cxn ang="0">
                <a:pos x="connsiteX31937" y="connsiteY31937"/>
              </a:cxn>
              <a:cxn ang="0">
                <a:pos x="connsiteX31938" y="connsiteY31938"/>
              </a:cxn>
              <a:cxn ang="0">
                <a:pos x="connsiteX31939" y="connsiteY31939"/>
              </a:cxn>
              <a:cxn ang="0">
                <a:pos x="connsiteX31940" y="connsiteY31940"/>
              </a:cxn>
              <a:cxn ang="0">
                <a:pos x="connsiteX31941" y="connsiteY31941"/>
              </a:cxn>
              <a:cxn ang="0">
                <a:pos x="connsiteX31942" y="connsiteY31942"/>
              </a:cxn>
              <a:cxn ang="0">
                <a:pos x="connsiteX31943" y="connsiteY31943"/>
              </a:cxn>
              <a:cxn ang="0">
                <a:pos x="connsiteX31944" y="connsiteY31944"/>
              </a:cxn>
              <a:cxn ang="0">
                <a:pos x="connsiteX31945" y="connsiteY31945"/>
              </a:cxn>
              <a:cxn ang="0">
                <a:pos x="connsiteX31946" y="connsiteY31946"/>
              </a:cxn>
              <a:cxn ang="0">
                <a:pos x="connsiteX31947" y="connsiteY31947"/>
              </a:cxn>
              <a:cxn ang="0">
                <a:pos x="connsiteX31948" y="connsiteY31948"/>
              </a:cxn>
              <a:cxn ang="0">
                <a:pos x="connsiteX31949" y="connsiteY31949"/>
              </a:cxn>
              <a:cxn ang="0">
                <a:pos x="connsiteX31950" y="connsiteY31950"/>
              </a:cxn>
              <a:cxn ang="0">
                <a:pos x="connsiteX31951" y="connsiteY31951"/>
              </a:cxn>
              <a:cxn ang="0">
                <a:pos x="connsiteX31952" y="connsiteY31952"/>
              </a:cxn>
              <a:cxn ang="0">
                <a:pos x="connsiteX31953" y="connsiteY31953"/>
              </a:cxn>
              <a:cxn ang="0">
                <a:pos x="connsiteX31954" y="connsiteY31954"/>
              </a:cxn>
              <a:cxn ang="0">
                <a:pos x="connsiteX31955" y="connsiteY31955"/>
              </a:cxn>
              <a:cxn ang="0">
                <a:pos x="connsiteX31956" y="connsiteY31956"/>
              </a:cxn>
              <a:cxn ang="0">
                <a:pos x="connsiteX31957" y="connsiteY31957"/>
              </a:cxn>
              <a:cxn ang="0">
                <a:pos x="connsiteX31958" y="connsiteY31958"/>
              </a:cxn>
              <a:cxn ang="0">
                <a:pos x="connsiteX31959" y="connsiteY31959"/>
              </a:cxn>
              <a:cxn ang="0">
                <a:pos x="connsiteX31960" y="connsiteY31960"/>
              </a:cxn>
              <a:cxn ang="0">
                <a:pos x="connsiteX31961" y="connsiteY31961"/>
              </a:cxn>
              <a:cxn ang="0">
                <a:pos x="connsiteX31962" y="connsiteY31962"/>
              </a:cxn>
              <a:cxn ang="0">
                <a:pos x="connsiteX31963" y="connsiteY31963"/>
              </a:cxn>
              <a:cxn ang="0">
                <a:pos x="connsiteX31964" y="connsiteY31964"/>
              </a:cxn>
              <a:cxn ang="0">
                <a:pos x="connsiteX31965" y="connsiteY31965"/>
              </a:cxn>
              <a:cxn ang="0">
                <a:pos x="connsiteX31966" y="connsiteY31966"/>
              </a:cxn>
              <a:cxn ang="0">
                <a:pos x="connsiteX31967" y="connsiteY31967"/>
              </a:cxn>
              <a:cxn ang="0">
                <a:pos x="connsiteX31968" y="connsiteY31968"/>
              </a:cxn>
              <a:cxn ang="0">
                <a:pos x="connsiteX31969" y="connsiteY31969"/>
              </a:cxn>
              <a:cxn ang="0">
                <a:pos x="connsiteX31970" y="connsiteY31970"/>
              </a:cxn>
              <a:cxn ang="0">
                <a:pos x="connsiteX31971" y="connsiteY31971"/>
              </a:cxn>
              <a:cxn ang="0">
                <a:pos x="connsiteX31972" y="connsiteY31972"/>
              </a:cxn>
              <a:cxn ang="0">
                <a:pos x="connsiteX31973" y="connsiteY31973"/>
              </a:cxn>
              <a:cxn ang="0">
                <a:pos x="connsiteX31974" y="connsiteY31974"/>
              </a:cxn>
              <a:cxn ang="0">
                <a:pos x="connsiteX31975" y="connsiteY31975"/>
              </a:cxn>
              <a:cxn ang="0">
                <a:pos x="connsiteX31976" y="connsiteY31976"/>
              </a:cxn>
              <a:cxn ang="0">
                <a:pos x="connsiteX31977" y="connsiteY31977"/>
              </a:cxn>
              <a:cxn ang="0">
                <a:pos x="connsiteX31978" y="connsiteY31978"/>
              </a:cxn>
              <a:cxn ang="0">
                <a:pos x="connsiteX31979" y="connsiteY31979"/>
              </a:cxn>
              <a:cxn ang="0">
                <a:pos x="connsiteX31980" y="connsiteY31980"/>
              </a:cxn>
              <a:cxn ang="0">
                <a:pos x="connsiteX31981" y="connsiteY31981"/>
              </a:cxn>
              <a:cxn ang="0">
                <a:pos x="connsiteX31982" y="connsiteY31982"/>
              </a:cxn>
              <a:cxn ang="0">
                <a:pos x="connsiteX31983" y="connsiteY31983"/>
              </a:cxn>
              <a:cxn ang="0">
                <a:pos x="connsiteX31984" y="connsiteY31984"/>
              </a:cxn>
              <a:cxn ang="0">
                <a:pos x="connsiteX31985" y="connsiteY31985"/>
              </a:cxn>
              <a:cxn ang="0">
                <a:pos x="connsiteX31986" y="connsiteY31986"/>
              </a:cxn>
              <a:cxn ang="0">
                <a:pos x="connsiteX31987" y="connsiteY31987"/>
              </a:cxn>
              <a:cxn ang="0">
                <a:pos x="connsiteX31988" y="connsiteY31988"/>
              </a:cxn>
              <a:cxn ang="0">
                <a:pos x="connsiteX31989" y="connsiteY31989"/>
              </a:cxn>
              <a:cxn ang="0">
                <a:pos x="connsiteX31990" y="connsiteY31990"/>
              </a:cxn>
              <a:cxn ang="0">
                <a:pos x="connsiteX31991" y="connsiteY31991"/>
              </a:cxn>
              <a:cxn ang="0">
                <a:pos x="connsiteX31992" y="connsiteY31992"/>
              </a:cxn>
              <a:cxn ang="0">
                <a:pos x="connsiteX31993" y="connsiteY31993"/>
              </a:cxn>
              <a:cxn ang="0">
                <a:pos x="connsiteX31994" y="connsiteY31994"/>
              </a:cxn>
              <a:cxn ang="0">
                <a:pos x="connsiteX31995" y="connsiteY31995"/>
              </a:cxn>
              <a:cxn ang="0">
                <a:pos x="connsiteX31996" y="connsiteY31996"/>
              </a:cxn>
              <a:cxn ang="0">
                <a:pos x="connsiteX31997" y="connsiteY31997"/>
              </a:cxn>
              <a:cxn ang="0">
                <a:pos x="connsiteX31998" y="connsiteY31998"/>
              </a:cxn>
              <a:cxn ang="0">
                <a:pos x="connsiteX31999" y="connsiteY31999"/>
              </a:cxn>
              <a:cxn ang="0">
                <a:pos x="connsiteX32000" y="connsiteY32000"/>
              </a:cxn>
              <a:cxn ang="0">
                <a:pos x="connsiteX32001" y="connsiteY32001"/>
              </a:cxn>
              <a:cxn ang="0">
                <a:pos x="connsiteX32002" y="connsiteY32002"/>
              </a:cxn>
              <a:cxn ang="0">
                <a:pos x="connsiteX32003" y="connsiteY32003"/>
              </a:cxn>
              <a:cxn ang="0">
                <a:pos x="connsiteX32004" y="connsiteY32004"/>
              </a:cxn>
              <a:cxn ang="0">
                <a:pos x="connsiteX32005" y="connsiteY32005"/>
              </a:cxn>
              <a:cxn ang="0">
                <a:pos x="connsiteX32006" y="connsiteY32006"/>
              </a:cxn>
              <a:cxn ang="0">
                <a:pos x="connsiteX32007" y="connsiteY32007"/>
              </a:cxn>
              <a:cxn ang="0">
                <a:pos x="connsiteX32008" y="connsiteY32008"/>
              </a:cxn>
              <a:cxn ang="0">
                <a:pos x="connsiteX32009" y="connsiteY32009"/>
              </a:cxn>
              <a:cxn ang="0">
                <a:pos x="connsiteX32010" y="connsiteY32010"/>
              </a:cxn>
              <a:cxn ang="0">
                <a:pos x="connsiteX32011" y="connsiteY32011"/>
              </a:cxn>
              <a:cxn ang="0">
                <a:pos x="connsiteX32012" y="connsiteY32012"/>
              </a:cxn>
              <a:cxn ang="0">
                <a:pos x="connsiteX32013" y="connsiteY32013"/>
              </a:cxn>
              <a:cxn ang="0">
                <a:pos x="connsiteX32014" y="connsiteY32014"/>
              </a:cxn>
              <a:cxn ang="0">
                <a:pos x="connsiteX32015" y="connsiteY32015"/>
              </a:cxn>
              <a:cxn ang="0">
                <a:pos x="connsiteX32016" y="connsiteY32016"/>
              </a:cxn>
              <a:cxn ang="0">
                <a:pos x="connsiteX32017" y="connsiteY32017"/>
              </a:cxn>
              <a:cxn ang="0">
                <a:pos x="connsiteX32018" y="connsiteY32018"/>
              </a:cxn>
              <a:cxn ang="0">
                <a:pos x="connsiteX32019" y="connsiteY32019"/>
              </a:cxn>
              <a:cxn ang="0">
                <a:pos x="connsiteX32020" y="connsiteY32020"/>
              </a:cxn>
              <a:cxn ang="0">
                <a:pos x="connsiteX32021" y="connsiteY32021"/>
              </a:cxn>
              <a:cxn ang="0">
                <a:pos x="connsiteX32022" y="connsiteY32022"/>
              </a:cxn>
              <a:cxn ang="0">
                <a:pos x="connsiteX32023" y="connsiteY32023"/>
              </a:cxn>
              <a:cxn ang="0">
                <a:pos x="connsiteX32024" y="connsiteY32024"/>
              </a:cxn>
              <a:cxn ang="0">
                <a:pos x="connsiteX32025" y="connsiteY32025"/>
              </a:cxn>
              <a:cxn ang="0">
                <a:pos x="connsiteX32026" y="connsiteY32026"/>
              </a:cxn>
              <a:cxn ang="0">
                <a:pos x="connsiteX32027" y="connsiteY32027"/>
              </a:cxn>
              <a:cxn ang="0">
                <a:pos x="connsiteX32028" y="connsiteY32028"/>
              </a:cxn>
              <a:cxn ang="0">
                <a:pos x="connsiteX32029" y="connsiteY32029"/>
              </a:cxn>
              <a:cxn ang="0">
                <a:pos x="connsiteX32030" y="connsiteY32030"/>
              </a:cxn>
              <a:cxn ang="0">
                <a:pos x="connsiteX32031" y="connsiteY32031"/>
              </a:cxn>
              <a:cxn ang="0">
                <a:pos x="connsiteX32032" y="connsiteY32032"/>
              </a:cxn>
              <a:cxn ang="0">
                <a:pos x="connsiteX32033" y="connsiteY32033"/>
              </a:cxn>
              <a:cxn ang="0">
                <a:pos x="connsiteX32034" y="connsiteY32034"/>
              </a:cxn>
              <a:cxn ang="0">
                <a:pos x="connsiteX32035" y="connsiteY32035"/>
              </a:cxn>
              <a:cxn ang="0">
                <a:pos x="connsiteX32036" y="connsiteY32036"/>
              </a:cxn>
              <a:cxn ang="0">
                <a:pos x="connsiteX32037" y="connsiteY32037"/>
              </a:cxn>
              <a:cxn ang="0">
                <a:pos x="connsiteX32038" y="connsiteY32038"/>
              </a:cxn>
              <a:cxn ang="0">
                <a:pos x="connsiteX32039" y="connsiteY32039"/>
              </a:cxn>
              <a:cxn ang="0">
                <a:pos x="connsiteX32040" y="connsiteY32040"/>
              </a:cxn>
              <a:cxn ang="0">
                <a:pos x="connsiteX32041" y="connsiteY32041"/>
              </a:cxn>
              <a:cxn ang="0">
                <a:pos x="connsiteX32042" y="connsiteY32042"/>
              </a:cxn>
              <a:cxn ang="0">
                <a:pos x="connsiteX32043" y="connsiteY32043"/>
              </a:cxn>
              <a:cxn ang="0">
                <a:pos x="connsiteX32044" y="connsiteY32044"/>
              </a:cxn>
              <a:cxn ang="0">
                <a:pos x="connsiteX32045" y="connsiteY32045"/>
              </a:cxn>
              <a:cxn ang="0">
                <a:pos x="connsiteX32046" y="connsiteY32046"/>
              </a:cxn>
              <a:cxn ang="0">
                <a:pos x="connsiteX32047" y="connsiteY32047"/>
              </a:cxn>
              <a:cxn ang="0">
                <a:pos x="connsiteX32048" y="connsiteY32048"/>
              </a:cxn>
              <a:cxn ang="0">
                <a:pos x="connsiteX32049" y="connsiteY32049"/>
              </a:cxn>
              <a:cxn ang="0">
                <a:pos x="connsiteX32050" y="connsiteY32050"/>
              </a:cxn>
              <a:cxn ang="0">
                <a:pos x="connsiteX32051" y="connsiteY32051"/>
              </a:cxn>
              <a:cxn ang="0">
                <a:pos x="connsiteX32052" y="connsiteY32052"/>
              </a:cxn>
              <a:cxn ang="0">
                <a:pos x="connsiteX32053" y="connsiteY32053"/>
              </a:cxn>
              <a:cxn ang="0">
                <a:pos x="connsiteX32054" y="connsiteY32054"/>
              </a:cxn>
              <a:cxn ang="0">
                <a:pos x="connsiteX32055" y="connsiteY32055"/>
              </a:cxn>
              <a:cxn ang="0">
                <a:pos x="connsiteX32056" y="connsiteY32056"/>
              </a:cxn>
              <a:cxn ang="0">
                <a:pos x="connsiteX32057" y="connsiteY32057"/>
              </a:cxn>
              <a:cxn ang="0">
                <a:pos x="connsiteX32058" y="connsiteY32058"/>
              </a:cxn>
              <a:cxn ang="0">
                <a:pos x="connsiteX32059" y="connsiteY32059"/>
              </a:cxn>
              <a:cxn ang="0">
                <a:pos x="connsiteX32060" y="connsiteY32060"/>
              </a:cxn>
              <a:cxn ang="0">
                <a:pos x="connsiteX32061" y="connsiteY32061"/>
              </a:cxn>
              <a:cxn ang="0">
                <a:pos x="connsiteX32062" y="connsiteY32062"/>
              </a:cxn>
              <a:cxn ang="0">
                <a:pos x="connsiteX32063" y="connsiteY32063"/>
              </a:cxn>
              <a:cxn ang="0">
                <a:pos x="connsiteX32064" y="connsiteY32064"/>
              </a:cxn>
              <a:cxn ang="0">
                <a:pos x="connsiteX32065" y="connsiteY32065"/>
              </a:cxn>
              <a:cxn ang="0">
                <a:pos x="connsiteX32066" y="connsiteY32066"/>
              </a:cxn>
              <a:cxn ang="0">
                <a:pos x="connsiteX32067" y="connsiteY32067"/>
              </a:cxn>
              <a:cxn ang="0">
                <a:pos x="connsiteX32068" y="connsiteY32068"/>
              </a:cxn>
              <a:cxn ang="0">
                <a:pos x="connsiteX32069" y="connsiteY32069"/>
              </a:cxn>
              <a:cxn ang="0">
                <a:pos x="connsiteX32070" y="connsiteY32070"/>
              </a:cxn>
              <a:cxn ang="0">
                <a:pos x="connsiteX32071" y="connsiteY32071"/>
              </a:cxn>
              <a:cxn ang="0">
                <a:pos x="connsiteX32072" y="connsiteY32072"/>
              </a:cxn>
              <a:cxn ang="0">
                <a:pos x="connsiteX32073" y="connsiteY32073"/>
              </a:cxn>
              <a:cxn ang="0">
                <a:pos x="connsiteX32074" y="connsiteY32074"/>
              </a:cxn>
              <a:cxn ang="0">
                <a:pos x="connsiteX32075" y="connsiteY32075"/>
              </a:cxn>
              <a:cxn ang="0">
                <a:pos x="connsiteX32076" y="connsiteY32076"/>
              </a:cxn>
              <a:cxn ang="0">
                <a:pos x="connsiteX32077" y="connsiteY32077"/>
              </a:cxn>
              <a:cxn ang="0">
                <a:pos x="connsiteX32078" y="connsiteY32078"/>
              </a:cxn>
              <a:cxn ang="0">
                <a:pos x="connsiteX32079" y="connsiteY32079"/>
              </a:cxn>
              <a:cxn ang="0">
                <a:pos x="connsiteX32080" y="connsiteY32080"/>
              </a:cxn>
              <a:cxn ang="0">
                <a:pos x="connsiteX32081" y="connsiteY32081"/>
              </a:cxn>
              <a:cxn ang="0">
                <a:pos x="connsiteX32082" y="connsiteY32082"/>
              </a:cxn>
              <a:cxn ang="0">
                <a:pos x="connsiteX32083" y="connsiteY32083"/>
              </a:cxn>
              <a:cxn ang="0">
                <a:pos x="connsiteX32084" y="connsiteY32084"/>
              </a:cxn>
              <a:cxn ang="0">
                <a:pos x="connsiteX32085" y="connsiteY32085"/>
              </a:cxn>
              <a:cxn ang="0">
                <a:pos x="connsiteX32086" y="connsiteY32086"/>
              </a:cxn>
              <a:cxn ang="0">
                <a:pos x="connsiteX32087" y="connsiteY32087"/>
              </a:cxn>
              <a:cxn ang="0">
                <a:pos x="connsiteX32088" y="connsiteY32088"/>
              </a:cxn>
              <a:cxn ang="0">
                <a:pos x="connsiteX32089" y="connsiteY32089"/>
              </a:cxn>
              <a:cxn ang="0">
                <a:pos x="connsiteX32090" y="connsiteY32090"/>
              </a:cxn>
              <a:cxn ang="0">
                <a:pos x="connsiteX32091" y="connsiteY32091"/>
              </a:cxn>
              <a:cxn ang="0">
                <a:pos x="connsiteX32092" y="connsiteY32092"/>
              </a:cxn>
              <a:cxn ang="0">
                <a:pos x="connsiteX32093" y="connsiteY32093"/>
              </a:cxn>
              <a:cxn ang="0">
                <a:pos x="connsiteX32094" y="connsiteY32094"/>
              </a:cxn>
              <a:cxn ang="0">
                <a:pos x="connsiteX32095" y="connsiteY32095"/>
              </a:cxn>
              <a:cxn ang="0">
                <a:pos x="connsiteX32096" y="connsiteY32096"/>
              </a:cxn>
              <a:cxn ang="0">
                <a:pos x="connsiteX32097" y="connsiteY32097"/>
              </a:cxn>
              <a:cxn ang="0">
                <a:pos x="connsiteX32098" y="connsiteY32098"/>
              </a:cxn>
              <a:cxn ang="0">
                <a:pos x="connsiteX32099" y="connsiteY32099"/>
              </a:cxn>
              <a:cxn ang="0">
                <a:pos x="connsiteX32100" y="connsiteY32100"/>
              </a:cxn>
              <a:cxn ang="0">
                <a:pos x="connsiteX32101" y="connsiteY32101"/>
              </a:cxn>
              <a:cxn ang="0">
                <a:pos x="connsiteX32102" y="connsiteY32102"/>
              </a:cxn>
              <a:cxn ang="0">
                <a:pos x="connsiteX32103" y="connsiteY32103"/>
              </a:cxn>
              <a:cxn ang="0">
                <a:pos x="connsiteX32104" y="connsiteY32104"/>
              </a:cxn>
              <a:cxn ang="0">
                <a:pos x="connsiteX32105" y="connsiteY32105"/>
              </a:cxn>
              <a:cxn ang="0">
                <a:pos x="connsiteX32106" y="connsiteY32106"/>
              </a:cxn>
              <a:cxn ang="0">
                <a:pos x="connsiteX32107" y="connsiteY32107"/>
              </a:cxn>
              <a:cxn ang="0">
                <a:pos x="connsiteX32108" y="connsiteY32108"/>
              </a:cxn>
              <a:cxn ang="0">
                <a:pos x="connsiteX32109" y="connsiteY32109"/>
              </a:cxn>
              <a:cxn ang="0">
                <a:pos x="connsiteX32110" y="connsiteY32110"/>
              </a:cxn>
              <a:cxn ang="0">
                <a:pos x="connsiteX32111" y="connsiteY32111"/>
              </a:cxn>
              <a:cxn ang="0">
                <a:pos x="connsiteX32112" y="connsiteY32112"/>
              </a:cxn>
              <a:cxn ang="0">
                <a:pos x="connsiteX32113" y="connsiteY32113"/>
              </a:cxn>
              <a:cxn ang="0">
                <a:pos x="connsiteX32114" y="connsiteY32114"/>
              </a:cxn>
              <a:cxn ang="0">
                <a:pos x="connsiteX32115" y="connsiteY32115"/>
              </a:cxn>
              <a:cxn ang="0">
                <a:pos x="connsiteX32116" y="connsiteY32116"/>
              </a:cxn>
              <a:cxn ang="0">
                <a:pos x="connsiteX32117" y="connsiteY32117"/>
              </a:cxn>
              <a:cxn ang="0">
                <a:pos x="connsiteX32118" y="connsiteY32118"/>
              </a:cxn>
              <a:cxn ang="0">
                <a:pos x="connsiteX32119" y="connsiteY32119"/>
              </a:cxn>
              <a:cxn ang="0">
                <a:pos x="connsiteX32120" y="connsiteY32120"/>
              </a:cxn>
              <a:cxn ang="0">
                <a:pos x="connsiteX32121" y="connsiteY32121"/>
              </a:cxn>
              <a:cxn ang="0">
                <a:pos x="connsiteX32122" y="connsiteY32122"/>
              </a:cxn>
              <a:cxn ang="0">
                <a:pos x="connsiteX32123" y="connsiteY32123"/>
              </a:cxn>
              <a:cxn ang="0">
                <a:pos x="connsiteX32124" y="connsiteY32124"/>
              </a:cxn>
              <a:cxn ang="0">
                <a:pos x="connsiteX32125" y="connsiteY32125"/>
              </a:cxn>
              <a:cxn ang="0">
                <a:pos x="connsiteX32126" y="connsiteY32126"/>
              </a:cxn>
              <a:cxn ang="0">
                <a:pos x="connsiteX32127" y="connsiteY32127"/>
              </a:cxn>
              <a:cxn ang="0">
                <a:pos x="connsiteX32128" y="connsiteY32128"/>
              </a:cxn>
              <a:cxn ang="0">
                <a:pos x="connsiteX32129" y="connsiteY32129"/>
              </a:cxn>
              <a:cxn ang="0">
                <a:pos x="connsiteX32130" y="connsiteY32130"/>
              </a:cxn>
              <a:cxn ang="0">
                <a:pos x="connsiteX32131" y="connsiteY32131"/>
              </a:cxn>
              <a:cxn ang="0">
                <a:pos x="connsiteX32132" y="connsiteY32132"/>
              </a:cxn>
              <a:cxn ang="0">
                <a:pos x="connsiteX32133" y="connsiteY32133"/>
              </a:cxn>
              <a:cxn ang="0">
                <a:pos x="connsiteX32134" y="connsiteY32134"/>
              </a:cxn>
              <a:cxn ang="0">
                <a:pos x="connsiteX32135" y="connsiteY32135"/>
              </a:cxn>
              <a:cxn ang="0">
                <a:pos x="connsiteX32136" y="connsiteY32136"/>
              </a:cxn>
              <a:cxn ang="0">
                <a:pos x="connsiteX32137" y="connsiteY32137"/>
              </a:cxn>
              <a:cxn ang="0">
                <a:pos x="connsiteX32138" y="connsiteY32138"/>
              </a:cxn>
              <a:cxn ang="0">
                <a:pos x="connsiteX32139" y="connsiteY32139"/>
              </a:cxn>
              <a:cxn ang="0">
                <a:pos x="connsiteX32140" y="connsiteY32140"/>
              </a:cxn>
              <a:cxn ang="0">
                <a:pos x="connsiteX32141" y="connsiteY32141"/>
              </a:cxn>
              <a:cxn ang="0">
                <a:pos x="connsiteX32142" y="connsiteY32142"/>
              </a:cxn>
              <a:cxn ang="0">
                <a:pos x="connsiteX32143" y="connsiteY32143"/>
              </a:cxn>
              <a:cxn ang="0">
                <a:pos x="connsiteX32144" y="connsiteY32144"/>
              </a:cxn>
              <a:cxn ang="0">
                <a:pos x="connsiteX32145" y="connsiteY32145"/>
              </a:cxn>
              <a:cxn ang="0">
                <a:pos x="connsiteX32146" y="connsiteY32146"/>
              </a:cxn>
              <a:cxn ang="0">
                <a:pos x="connsiteX32147" y="connsiteY32147"/>
              </a:cxn>
              <a:cxn ang="0">
                <a:pos x="connsiteX32148" y="connsiteY32148"/>
              </a:cxn>
              <a:cxn ang="0">
                <a:pos x="connsiteX32149" y="connsiteY32149"/>
              </a:cxn>
              <a:cxn ang="0">
                <a:pos x="connsiteX32150" y="connsiteY32150"/>
              </a:cxn>
              <a:cxn ang="0">
                <a:pos x="connsiteX32151" y="connsiteY32151"/>
              </a:cxn>
              <a:cxn ang="0">
                <a:pos x="connsiteX32152" y="connsiteY32152"/>
              </a:cxn>
              <a:cxn ang="0">
                <a:pos x="connsiteX32153" y="connsiteY32153"/>
              </a:cxn>
              <a:cxn ang="0">
                <a:pos x="connsiteX32154" y="connsiteY32154"/>
              </a:cxn>
              <a:cxn ang="0">
                <a:pos x="connsiteX32155" y="connsiteY32155"/>
              </a:cxn>
              <a:cxn ang="0">
                <a:pos x="connsiteX32156" y="connsiteY32156"/>
              </a:cxn>
              <a:cxn ang="0">
                <a:pos x="connsiteX32157" y="connsiteY32157"/>
              </a:cxn>
              <a:cxn ang="0">
                <a:pos x="connsiteX32158" y="connsiteY32158"/>
              </a:cxn>
              <a:cxn ang="0">
                <a:pos x="connsiteX32159" y="connsiteY32159"/>
              </a:cxn>
              <a:cxn ang="0">
                <a:pos x="connsiteX32160" y="connsiteY32160"/>
              </a:cxn>
              <a:cxn ang="0">
                <a:pos x="connsiteX32161" y="connsiteY32161"/>
              </a:cxn>
              <a:cxn ang="0">
                <a:pos x="connsiteX32162" y="connsiteY32162"/>
              </a:cxn>
              <a:cxn ang="0">
                <a:pos x="connsiteX32163" y="connsiteY32163"/>
              </a:cxn>
              <a:cxn ang="0">
                <a:pos x="connsiteX32164" y="connsiteY32164"/>
              </a:cxn>
              <a:cxn ang="0">
                <a:pos x="connsiteX32165" y="connsiteY32165"/>
              </a:cxn>
              <a:cxn ang="0">
                <a:pos x="connsiteX32166" y="connsiteY32166"/>
              </a:cxn>
              <a:cxn ang="0">
                <a:pos x="connsiteX32167" y="connsiteY32167"/>
              </a:cxn>
              <a:cxn ang="0">
                <a:pos x="connsiteX32168" y="connsiteY32168"/>
              </a:cxn>
              <a:cxn ang="0">
                <a:pos x="connsiteX32169" y="connsiteY32169"/>
              </a:cxn>
              <a:cxn ang="0">
                <a:pos x="connsiteX32170" y="connsiteY32170"/>
              </a:cxn>
              <a:cxn ang="0">
                <a:pos x="connsiteX32171" y="connsiteY32171"/>
              </a:cxn>
              <a:cxn ang="0">
                <a:pos x="connsiteX32172" y="connsiteY32172"/>
              </a:cxn>
              <a:cxn ang="0">
                <a:pos x="connsiteX32173" y="connsiteY32173"/>
              </a:cxn>
              <a:cxn ang="0">
                <a:pos x="connsiteX32174" y="connsiteY32174"/>
              </a:cxn>
              <a:cxn ang="0">
                <a:pos x="connsiteX32175" y="connsiteY32175"/>
              </a:cxn>
              <a:cxn ang="0">
                <a:pos x="connsiteX32176" y="connsiteY32176"/>
              </a:cxn>
              <a:cxn ang="0">
                <a:pos x="connsiteX32177" y="connsiteY32177"/>
              </a:cxn>
              <a:cxn ang="0">
                <a:pos x="connsiteX32178" y="connsiteY32178"/>
              </a:cxn>
              <a:cxn ang="0">
                <a:pos x="connsiteX32179" y="connsiteY32179"/>
              </a:cxn>
              <a:cxn ang="0">
                <a:pos x="connsiteX32180" y="connsiteY32180"/>
              </a:cxn>
              <a:cxn ang="0">
                <a:pos x="connsiteX32181" y="connsiteY32181"/>
              </a:cxn>
              <a:cxn ang="0">
                <a:pos x="connsiteX32182" y="connsiteY32182"/>
              </a:cxn>
              <a:cxn ang="0">
                <a:pos x="connsiteX32183" y="connsiteY32183"/>
              </a:cxn>
              <a:cxn ang="0">
                <a:pos x="connsiteX32184" y="connsiteY32184"/>
              </a:cxn>
              <a:cxn ang="0">
                <a:pos x="connsiteX32185" y="connsiteY32185"/>
              </a:cxn>
              <a:cxn ang="0">
                <a:pos x="connsiteX32186" y="connsiteY32186"/>
              </a:cxn>
              <a:cxn ang="0">
                <a:pos x="connsiteX32187" y="connsiteY32187"/>
              </a:cxn>
              <a:cxn ang="0">
                <a:pos x="connsiteX32188" y="connsiteY32188"/>
              </a:cxn>
              <a:cxn ang="0">
                <a:pos x="connsiteX32189" y="connsiteY32189"/>
              </a:cxn>
              <a:cxn ang="0">
                <a:pos x="connsiteX32190" y="connsiteY32190"/>
              </a:cxn>
              <a:cxn ang="0">
                <a:pos x="connsiteX32191" y="connsiteY32191"/>
              </a:cxn>
              <a:cxn ang="0">
                <a:pos x="connsiteX32192" y="connsiteY32192"/>
              </a:cxn>
              <a:cxn ang="0">
                <a:pos x="connsiteX32193" y="connsiteY32193"/>
              </a:cxn>
              <a:cxn ang="0">
                <a:pos x="connsiteX32194" y="connsiteY32194"/>
              </a:cxn>
              <a:cxn ang="0">
                <a:pos x="connsiteX32195" y="connsiteY32195"/>
              </a:cxn>
              <a:cxn ang="0">
                <a:pos x="connsiteX32196" y="connsiteY32196"/>
              </a:cxn>
              <a:cxn ang="0">
                <a:pos x="connsiteX32197" y="connsiteY32197"/>
              </a:cxn>
              <a:cxn ang="0">
                <a:pos x="connsiteX32198" y="connsiteY32198"/>
              </a:cxn>
              <a:cxn ang="0">
                <a:pos x="connsiteX32199" y="connsiteY32199"/>
              </a:cxn>
              <a:cxn ang="0">
                <a:pos x="connsiteX32200" y="connsiteY32200"/>
              </a:cxn>
              <a:cxn ang="0">
                <a:pos x="connsiteX32201" y="connsiteY32201"/>
              </a:cxn>
              <a:cxn ang="0">
                <a:pos x="connsiteX32202" y="connsiteY32202"/>
              </a:cxn>
              <a:cxn ang="0">
                <a:pos x="connsiteX32203" y="connsiteY32203"/>
              </a:cxn>
              <a:cxn ang="0">
                <a:pos x="connsiteX32204" y="connsiteY32204"/>
              </a:cxn>
              <a:cxn ang="0">
                <a:pos x="connsiteX32205" y="connsiteY32205"/>
              </a:cxn>
              <a:cxn ang="0">
                <a:pos x="connsiteX32206" y="connsiteY32206"/>
              </a:cxn>
              <a:cxn ang="0">
                <a:pos x="connsiteX32207" y="connsiteY32207"/>
              </a:cxn>
              <a:cxn ang="0">
                <a:pos x="connsiteX32208" y="connsiteY32208"/>
              </a:cxn>
              <a:cxn ang="0">
                <a:pos x="connsiteX32209" y="connsiteY32209"/>
              </a:cxn>
              <a:cxn ang="0">
                <a:pos x="connsiteX32210" y="connsiteY32210"/>
              </a:cxn>
              <a:cxn ang="0">
                <a:pos x="connsiteX32211" y="connsiteY32211"/>
              </a:cxn>
              <a:cxn ang="0">
                <a:pos x="connsiteX32212" y="connsiteY32212"/>
              </a:cxn>
              <a:cxn ang="0">
                <a:pos x="connsiteX32213" y="connsiteY32213"/>
              </a:cxn>
              <a:cxn ang="0">
                <a:pos x="connsiteX32214" y="connsiteY32214"/>
              </a:cxn>
              <a:cxn ang="0">
                <a:pos x="connsiteX32215" y="connsiteY32215"/>
              </a:cxn>
              <a:cxn ang="0">
                <a:pos x="connsiteX32216" y="connsiteY32216"/>
              </a:cxn>
              <a:cxn ang="0">
                <a:pos x="connsiteX32217" y="connsiteY32217"/>
              </a:cxn>
              <a:cxn ang="0">
                <a:pos x="connsiteX32218" y="connsiteY32218"/>
              </a:cxn>
              <a:cxn ang="0">
                <a:pos x="connsiteX32219" y="connsiteY32219"/>
              </a:cxn>
              <a:cxn ang="0">
                <a:pos x="connsiteX32220" y="connsiteY32220"/>
              </a:cxn>
              <a:cxn ang="0">
                <a:pos x="connsiteX32221" y="connsiteY32221"/>
              </a:cxn>
              <a:cxn ang="0">
                <a:pos x="connsiteX32222" y="connsiteY32222"/>
              </a:cxn>
              <a:cxn ang="0">
                <a:pos x="connsiteX32223" y="connsiteY32223"/>
              </a:cxn>
              <a:cxn ang="0">
                <a:pos x="connsiteX32224" y="connsiteY32224"/>
              </a:cxn>
              <a:cxn ang="0">
                <a:pos x="connsiteX32225" y="connsiteY32225"/>
              </a:cxn>
              <a:cxn ang="0">
                <a:pos x="connsiteX32226" y="connsiteY32226"/>
              </a:cxn>
              <a:cxn ang="0">
                <a:pos x="connsiteX32227" y="connsiteY32227"/>
              </a:cxn>
              <a:cxn ang="0">
                <a:pos x="connsiteX32228" y="connsiteY32228"/>
              </a:cxn>
              <a:cxn ang="0">
                <a:pos x="connsiteX32229" y="connsiteY32229"/>
              </a:cxn>
              <a:cxn ang="0">
                <a:pos x="connsiteX32230" y="connsiteY32230"/>
              </a:cxn>
              <a:cxn ang="0">
                <a:pos x="connsiteX32231" y="connsiteY32231"/>
              </a:cxn>
              <a:cxn ang="0">
                <a:pos x="connsiteX32232" y="connsiteY32232"/>
              </a:cxn>
              <a:cxn ang="0">
                <a:pos x="connsiteX32233" y="connsiteY32233"/>
              </a:cxn>
              <a:cxn ang="0">
                <a:pos x="connsiteX32234" y="connsiteY32234"/>
              </a:cxn>
              <a:cxn ang="0">
                <a:pos x="connsiteX32235" y="connsiteY32235"/>
              </a:cxn>
              <a:cxn ang="0">
                <a:pos x="connsiteX32236" y="connsiteY32236"/>
              </a:cxn>
              <a:cxn ang="0">
                <a:pos x="connsiteX32237" y="connsiteY32237"/>
              </a:cxn>
              <a:cxn ang="0">
                <a:pos x="connsiteX32238" y="connsiteY32238"/>
              </a:cxn>
              <a:cxn ang="0">
                <a:pos x="connsiteX32239" y="connsiteY32239"/>
              </a:cxn>
              <a:cxn ang="0">
                <a:pos x="connsiteX32240" y="connsiteY32240"/>
              </a:cxn>
              <a:cxn ang="0">
                <a:pos x="connsiteX32241" y="connsiteY32241"/>
              </a:cxn>
              <a:cxn ang="0">
                <a:pos x="connsiteX32242" y="connsiteY32242"/>
              </a:cxn>
              <a:cxn ang="0">
                <a:pos x="connsiteX32243" y="connsiteY32243"/>
              </a:cxn>
              <a:cxn ang="0">
                <a:pos x="connsiteX32244" y="connsiteY32244"/>
              </a:cxn>
              <a:cxn ang="0">
                <a:pos x="connsiteX32245" y="connsiteY32245"/>
              </a:cxn>
              <a:cxn ang="0">
                <a:pos x="connsiteX32246" y="connsiteY32246"/>
              </a:cxn>
              <a:cxn ang="0">
                <a:pos x="connsiteX32247" y="connsiteY32247"/>
              </a:cxn>
              <a:cxn ang="0">
                <a:pos x="connsiteX32248" y="connsiteY32248"/>
              </a:cxn>
              <a:cxn ang="0">
                <a:pos x="connsiteX32249" y="connsiteY32249"/>
              </a:cxn>
              <a:cxn ang="0">
                <a:pos x="connsiteX32250" y="connsiteY32250"/>
              </a:cxn>
              <a:cxn ang="0">
                <a:pos x="connsiteX32251" y="connsiteY32251"/>
              </a:cxn>
              <a:cxn ang="0">
                <a:pos x="connsiteX32252" y="connsiteY32252"/>
              </a:cxn>
              <a:cxn ang="0">
                <a:pos x="connsiteX32253" y="connsiteY32253"/>
              </a:cxn>
              <a:cxn ang="0">
                <a:pos x="connsiteX32254" y="connsiteY32254"/>
              </a:cxn>
              <a:cxn ang="0">
                <a:pos x="connsiteX32255" y="connsiteY32255"/>
              </a:cxn>
              <a:cxn ang="0">
                <a:pos x="connsiteX32256" y="connsiteY32256"/>
              </a:cxn>
              <a:cxn ang="0">
                <a:pos x="connsiteX32257" y="connsiteY32257"/>
              </a:cxn>
              <a:cxn ang="0">
                <a:pos x="connsiteX32258" y="connsiteY32258"/>
              </a:cxn>
              <a:cxn ang="0">
                <a:pos x="connsiteX32259" y="connsiteY32259"/>
              </a:cxn>
              <a:cxn ang="0">
                <a:pos x="connsiteX32260" y="connsiteY32260"/>
              </a:cxn>
              <a:cxn ang="0">
                <a:pos x="connsiteX32261" y="connsiteY32261"/>
              </a:cxn>
              <a:cxn ang="0">
                <a:pos x="connsiteX32262" y="connsiteY32262"/>
              </a:cxn>
              <a:cxn ang="0">
                <a:pos x="connsiteX32263" y="connsiteY32263"/>
              </a:cxn>
              <a:cxn ang="0">
                <a:pos x="connsiteX32264" y="connsiteY32264"/>
              </a:cxn>
              <a:cxn ang="0">
                <a:pos x="connsiteX32265" y="connsiteY32265"/>
              </a:cxn>
              <a:cxn ang="0">
                <a:pos x="connsiteX32266" y="connsiteY32266"/>
              </a:cxn>
              <a:cxn ang="0">
                <a:pos x="connsiteX32267" y="connsiteY32267"/>
              </a:cxn>
              <a:cxn ang="0">
                <a:pos x="connsiteX32268" y="connsiteY32268"/>
              </a:cxn>
              <a:cxn ang="0">
                <a:pos x="connsiteX32269" y="connsiteY32269"/>
              </a:cxn>
              <a:cxn ang="0">
                <a:pos x="connsiteX32270" y="connsiteY32270"/>
              </a:cxn>
              <a:cxn ang="0">
                <a:pos x="connsiteX32271" y="connsiteY32271"/>
              </a:cxn>
              <a:cxn ang="0">
                <a:pos x="connsiteX32272" y="connsiteY32272"/>
              </a:cxn>
              <a:cxn ang="0">
                <a:pos x="connsiteX32273" y="connsiteY32273"/>
              </a:cxn>
              <a:cxn ang="0">
                <a:pos x="connsiteX32274" y="connsiteY32274"/>
              </a:cxn>
              <a:cxn ang="0">
                <a:pos x="connsiteX32275" y="connsiteY32275"/>
              </a:cxn>
              <a:cxn ang="0">
                <a:pos x="connsiteX32276" y="connsiteY32276"/>
              </a:cxn>
              <a:cxn ang="0">
                <a:pos x="connsiteX32277" y="connsiteY32277"/>
              </a:cxn>
              <a:cxn ang="0">
                <a:pos x="connsiteX32278" y="connsiteY32278"/>
              </a:cxn>
              <a:cxn ang="0">
                <a:pos x="connsiteX32279" y="connsiteY32279"/>
              </a:cxn>
              <a:cxn ang="0">
                <a:pos x="connsiteX32280" y="connsiteY32280"/>
              </a:cxn>
              <a:cxn ang="0">
                <a:pos x="connsiteX32281" y="connsiteY32281"/>
              </a:cxn>
              <a:cxn ang="0">
                <a:pos x="connsiteX32282" y="connsiteY32282"/>
              </a:cxn>
              <a:cxn ang="0">
                <a:pos x="connsiteX32283" y="connsiteY32283"/>
              </a:cxn>
              <a:cxn ang="0">
                <a:pos x="connsiteX32284" y="connsiteY32284"/>
              </a:cxn>
              <a:cxn ang="0">
                <a:pos x="connsiteX32285" y="connsiteY32285"/>
              </a:cxn>
              <a:cxn ang="0">
                <a:pos x="connsiteX32286" y="connsiteY32286"/>
              </a:cxn>
              <a:cxn ang="0">
                <a:pos x="connsiteX32287" y="connsiteY32287"/>
              </a:cxn>
              <a:cxn ang="0">
                <a:pos x="connsiteX32288" y="connsiteY32288"/>
              </a:cxn>
              <a:cxn ang="0">
                <a:pos x="connsiteX32289" y="connsiteY32289"/>
              </a:cxn>
              <a:cxn ang="0">
                <a:pos x="connsiteX32290" y="connsiteY32290"/>
              </a:cxn>
              <a:cxn ang="0">
                <a:pos x="connsiteX32291" y="connsiteY32291"/>
              </a:cxn>
              <a:cxn ang="0">
                <a:pos x="connsiteX32292" y="connsiteY32292"/>
              </a:cxn>
              <a:cxn ang="0">
                <a:pos x="connsiteX32293" y="connsiteY32293"/>
              </a:cxn>
              <a:cxn ang="0">
                <a:pos x="connsiteX32294" y="connsiteY32294"/>
              </a:cxn>
              <a:cxn ang="0">
                <a:pos x="connsiteX32295" y="connsiteY32295"/>
              </a:cxn>
              <a:cxn ang="0">
                <a:pos x="connsiteX32296" y="connsiteY32296"/>
              </a:cxn>
              <a:cxn ang="0">
                <a:pos x="connsiteX32297" y="connsiteY32297"/>
              </a:cxn>
              <a:cxn ang="0">
                <a:pos x="connsiteX32298" y="connsiteY32298"/>
              </a:cxn>
              <a:cxn ang="0">
                <a:pos x="connsiteX32299" y="connsiteY32299"/>
              </a:cxn>
              <a:cxn ang="0">
                <a:pos x="connsiteX32300" y="connsiteY32300"/>
              </a:cxn>
              <a:cxn ang="0">
                <a:pos x="connsiteX32301" y="connsiteY32301"/>
              </a:cxn>
              <a:cxn ang="0">
                <a:pos x="connsiteX32302" y="connsiteY32302"/>
              </a:cxn>
              <a:cxn ang="0">
                <a:pos x="connsiteX32303" y="connsiteY32303"/>
              </a:cxn>
              <a:cxn ang="0">
                <a:pos x="connsiteX32304" y="connsiteY32304"/>
              </a:cxn>
              <a:cxn ang="0">
                <a:pos x="connsiteX32305" y="connsiteY32305"/>
              </a:cxn>
              <a:cxn ang="0">
                <a:pos x="connsiteX32306" y="connsiteY32306"/>
              </a:cxn>
              <a:cxn ang="0">
                <a:pos x="connsiteX32307" y="connsiteY32307"/>
              </a:cxn>
              <a:cxn ang="0">
                <a:pos x="connsiteX32308" y="connsiteY32308"/>
              </a:cxn>
              <a:cxn ang="0">
                <a:pos x="connsiteX32309" y="connsiteY32309"/>
              </a:cxn>
              <a:cxn ang="0">
                <a:pos x="connsiteX32310" y="connsiteY32310"/>
              </a:cxn>
              <a:cxn ang="0">
                <a:pos x="connsiteX32311" y="connsiteY32311"/>
              </a:cxn>
              <a:cxn ang="0">
                <a:pos x="connsiteX32312" y="connsiteY32312"/>
              </a:cxn>
              <a:cxn ang="0">
                <a:pos x="connsiteX32313" y="connsiteY32313"/>
              </a:cxn>
              <a:cxn ang="0">
                <a:pos x="connsiteX32314" y="connsiteY32314"/>
              </a:cxn>
              <a:cxn ang="0">
                <a:pos x="connsiteX32315" y="connsiteY32315"/>
              </a:cxn>
              <a:cxn ang="0">
                <a:pos x="connsiteX32316" y="connsiteY32316"/>
              </a:cxn>
              <a:cxn ang="0">
                <a:pos x="connsiteX32317" y="connsiteY32317"/>
              </a:cxn>
              <a:cxn ang="0">
                <a:pos x="connsiteX32318" y="connsiteY32318"/>
              </a:cxn>
              <a:cxn ang="0">
                <a:pos x="connsiteX32319" y="connsiteY32319"/>
              </a:cxn>
              <a:cxn ang="0">
                <a:pos x="connsiteX32320" y="connsiteY32320"/>
              </a:cxn>
              <a:cxn ang="0">
                <a:pos x="connsiteX32321" y="connsiteY32321"/>
              </a:cxn>
              <a:cxn ang="0">
                <a:pos x="connsiteX32322" y="connsiteY32322"/>
              </a:cxn>
              <a:cxn ang="0">
                <a:pos x="connsiteX32323" y="connsiteY32323"/>
              </a:cxn>
              <a:cxn ang="0">
                <a:pos x="connsiteX32324" y="connsiteY32324"/>
              </a:cxn>
              <a:cxn ang="0">
                <a:pos x="connsiteX32325" y="connsiteY32325"/>
              </a:cxn>
              <a:cxn ang="0">
                <a:pos x="connsiteX32326" y="connsiteY32326"/>
              </a:cxn>
              <a:cxn ang="0">
                <a:pos x="connsiteX32327" y="connsiteY32327"/>
              </a:cxn>
              <a:cxn ang="0">
                <a:pos x="connsiteX32328" y="connsiteY32328"/>
              </a:cxn>
              <a:cxn ang="0">
                <a:pos x="connsiteX32329" y="connsiteY32329"/>
              </a:cxn>
              <a:cxn ang="0">
                <a:pos x="connsiteX32330" y="connsiteY32330"/>
              </a:cxn>
              <a:cxn ang="0">
                <a:pos x="connsiteX32331" y="connsiteY32331"/>
              </a:cxn>
              <a:cxn ang="0">
                <a:pos x="connsiteX32332" y="connsiteY32332"/>
              </a:cxn>
              <a:cxn ang="0">
                <a:pos x="connsiteX32333" y="connsiteY32333"/>
              </a:cxn>
              <a:cxn ang="0">
                <a:pos x="connsiteX32334" y="connsiteY32334"/>
              </a:cxn>
              <a:cxn ang="0">
                <a:pos x="connsiteX32335" y="connsiteY32335"/>
              </a:cxn>
              <a:cxn ang="0">
                <a:pos x="connsiteX32336" y="connsiteY32336"/>
              </a:cxn>
              <a:cxn ang="0">
                <a:pos x="connsiteX32337" y="connsiteY32337"/>
              </a:cxn>
              <a:cxn ang="0">
                <a:pos x="connsiteX32338" y="connsiteY32338"/>
              </a:cxn>
              <a:cxn ang="0">
                <a:pos x="connsiteX32339" y="connsiteY32339"/>
              </a:cxn>
              <a:cxn ang="0">
                <a:pos x="connsiteX32340" y="connsiteY32340"/>
              </a:cxn>
              <a:cxn ang="0">
                <a:pos x="connsiteX32341" y="connsiteY32341"/>
              </a:cxn>
              <a:cxn ang="0">
                <a:pos x="connsiteX32342" y="connsiteY32342"/>
              </a:cxn>
              <a:cxn ang="0">
                <a:pos x="connsiteX32343" y="connsiteY32343"/>
              </a:cxn>
              <a:cxn ang="0">
                <a:pos x="connsiteX32344" y="connsiteY32344"/>
              </a:cxn>
              <a:cxn ang="0">
                <a:pos x="connsiteX32345" y="connsiteY32345"/>
              </a:cxn>
              <a:cxn ang="0">
                <a:pos x="connsiteX32346" y="connsiteY32346"/>
              </a:cxn>
              <a:cxn ang="0">
                <a:pos x="connsiteX32347" y="connsiteY32347"/>
              </a:cxn>
              <a:cxn ang="0">
                <a:pos x="connsiteX32348" y="connsiteY32348"/>
              </a:cxn>
              <a:cxn ang="0">
                <a:pos x="connsiteX32349" y="connsiteY32349"/>
              </a:cxn>
              <a:cxn ang="0">
                <a:pos x="connsiteX32350" y="connsiteY32350"/>
              </a:cxn>
              <a:cxn ang="0">
                <a:pos x="connsiteX32351" y="connsiteY32351"/>
              </a:cxn>
              <a:cxn ang="0">
                <a:pos x="connsiteX32352" y="connsiteY32352"/>
              </a:cxn>
              <a:cxn ang="0">
                <a:pos x="connsiteX32353" y="connsiteY32353"/>
              </a:cxn>
              <a:cxn ang="0">
                <a:pos x="connsiteX32354" y="connsiteY32354"/>
              </a:cxn>
              <a:cxn ang="0">
                <a:pos x="connsiteX32355" y="connsiteY32355"/>
              </a:cxn>
              <a:cxn ang="0">
                <a:pos x="connsiteX32356" y="connsiteY32356"/>
              </a:cxn>
              <a:cxn ang="0">
                <a:pos x="connsiteX32357" y="connsiteY32357"/>
              </a:cxn>
              <a:cxn ang="0">
                <a:pos x="connsiteX32358" y="connsiteY32358"/>
              </a:cxn>
              <a:cxn ang="0">
                <a:pos x="connsiteX32359" y="connsiteY32359"/>
              </a:cxn>
              <a:cxn ang="0">
                <a:pos x="connsiteX32360" y="connsiteY32360"/>
              </a:cxn>
              <a:cxn ang="0">
                <a:pos x="connsiteX32361" y="connsiteY32361"/>
              </a:cxn>
              <a:cxn ang="0">
                <a:pos x="connsiteX32362" y="connsiteY32362"/>
              </a:cxn>
              <a:cxn ang="0">
                <a:pos x="connsiteX32363" y="connsiteY32363"/>
              </a:cxn>
              <a:cxn ang="0">
                <a:pos x="connsiteX32364" y="connsiteY32364"/>
              </a:cxn>
              <a:cxn ang="0">
                <a:pos x="connsiteX32365" y="connsiteY32365"/>
              </a:cxn>
              <a:cxn ang="0">
                <a:pos x="connsiteX32366" y="connsiteY32366"/>
              </a:cxn>
              <a:cxn ang="0">
                <a:pos x="connsiteX32367" y="connsiteY32367"/>
              </a:cxn>
              <a:cxn ang="0">
                <a:pos x="connsiteX32368" y="connsiteY32368"/>
              </a:cxn>
              <a:cxn ang="0">
                <a:pos x="connsiteX32369" y="connsiteY32369"/>
              </a:cxn>
              <a:cxn ang="0">
                <a:pos x="connsiteX32370" y="connsiteY32370"/>
              </a:cxn>
              <a:cxn ang="0">
                <a:pos x="connsiteX32371" y="connsiteY32371"/>
              </a:cxn>
              <a:cxn ang="0">
                <a:pos x="connsiteX32372" y="connsiteY32372"/>
              </a:cxn>
              <a:cxn ang="0">
                <a:pos x="connsiteX32373" y="connsiteY32373"/>
              </a:cxn>
              <a:cxn ang="0">
                <a:pos x="connsiteX32374" y="connsiteY32374"/>
              </a:cxn>
              <a:cxn ang="0">
                <a:pos x="connsiteX32375" y="connsiteY32375"/>
              </a:cxn>
              <a:cxn ang="0">
                <a:pos x="connsiteX32376" y="connsiteY32376"/>
              </a:cxn>
              <a:cxn ang="0">
                <a:pos x="connsiteX32377" y="connsiteY32377"/>
              </a:cxn>
              <a:cxn ang="0">
                <a:pos x="connsiteX32378" y="connsiteY32378"/>
              </a:cxn>
              <a:cxn ang="0">
                <a:pos x="connsiteX32379" y="connsiteY32379"/>
              </a:cxn>
              <a:cxn ang="0">
                <a:pos x="connsiteX32380" y="connsiteY32380"/>
              </a:cxn>
              <a:cxn ang="0">
                <a:pos x="connsiteX32381" y="connsiteY32381"/>
              </a:cxn>
              <a:cxn ang="0">
                <a:pos x="connsiteX32382" y="connsiteY32382"/>
              </a:cxn>
              <a:cxn ang="0">
                <a:pos x="connsiteX32383" y="connsiteY32383"/>
              </a:cxn>
              <a:cxn ang="0">
                <a:pos x="connsiteX32384" y="connsiteY32384"/>
              </a:cxn>
              <a:cxn ang="0">
                <a:pos x="connsiteX32385" y="connsiteY32385"/>
              </a:cxn>
              <a:cxn ang="0">
                <a:pos x="connsiteX32386" y="connsiteY32386"/>
              </a:cxn>
              <a:cxn ang="0">
                <a:pos x="connsiteX32387" y="connsiteY32387"/>
              </a:cxn>
              <a:cxn ang="0">
                <a:pos x="connsiteX32388" y="connsiteY32388"/>
              </a:cxn>
              <a:cxn ang="0">
                <a:pos x="connsiteX32389" y="connsiteY32389"/>
              </a:cxn>
              <a:cxn ang="0">
                <a:pos x="connsiteX32390" y="connsiteY32390"/>
              </a:cxn>
              <a:cxn ang="0">
                <a:pos x="connsiteX32391" y="connsiteY32391"/>
              </a:cxn>
              <a:cxn ang="0">
                <a:pos x="connsiteX32392" y="connsiteY32392"/>
              </a:cxn>
              <a:cxn ang="0">
                <a:pos x="connsiteX32393" y="connsiteY32393"/>
              </a:cxn>
              <a:cxn ang="0">
                <a:pos x="connsiteX32394" y="connsiteY32394"/>
              </a:cxn>
              <a:cxn ang="0">
                <a:pos x="connsiteX32395" y="connsiteY32395"/>
              </a:cxn>
              <a:cxn ang="0">
                <a:pos x="connsiteX32396" y="connsiteY32396"/>
              </a:cxn>
              <a:cxn ang="0">
                <a:pos x="connsiteX32397" y="connsiteY32397"/>
              </a:cxn>
              <a:cxn ang="0">
                <a:pos x="connsiteX32398" y="connsiteY32398"/>
              </a:cxn>
              <a:cxn ang="0">
                <a:pos x="connsiteX32399" y="connsiteY32399"/>
              </a:cxn>
              <a:cxn ang="0">
                <a:pos x="connsiteX32400" y="connsiteY32400"/>
              </a:cxn>
              <a:cxn ang="0">
                <a:pos x="connsiteX32401" y="connsiteY32401"/>
              </a:cxn>
              <a:cxn ang="0">
                <a:pos x="connsiteX32402" y="connsiteY32402"/>
              </a:cxn>
              <a:cxn ang="0">
                <a:pos x="connsiteX32403" y="connsiteY32403"/>
              </a:cxn>
              <a:cxn ang="0">
                <a:pos x="connsiteX32404" y="connsiteY32404"/>
              </a:cxn>
              <a:cxn ang="0">
                <a:pos x="connsiteX32405" y="connsiteY32405"/>
              </a:cxn>
              <a:cxn ang="0">
                <a:pos x="connsiteX32406" y="connsiteY32406"/>
              </a:cxn>
              <a:cxn ang="0">
                <a:pos x="connsiteX32407" y="connsiteY32407"/>
              </a:cxn>
              <a:cxn ang="0">
                <a:pos x="connsiteX32408" y="connsiteY32408"/>
              </a:cxn>
              <a:cxn ang="0">
                <a:pos x="connsiteX32409" y="connsiteY32409"/>
              </a:cxn>
              <a:cxn ang="0">
                <a:pos x="connsiteX32410" y="connsiteY32410"/>
              </a:cxn>
              <a:cxn ang="0">
                <a:pos x="connsiteX32411" y="connsiteY32411"/>
              </a:cxn>
              <a:cxn ang="0">
                <a:pos x="connsiteX32412" y="connsiteY32412"/>
              </a:cxn>
              <a:cxn ang="0">
                <a:pos x="connsiteX32413" y="connsiteY32413"/>
              </a:cxn>
              <a:cxn ang="0">
                <a:pos x="connsiteX32414" y="connsiteY32414"/>
              </a:cxn>
              <a:cxn ang="0">
                <a:pos x="connsiteX32415" y="connsiteY32415"/>
              </a:cxn>
              <a:cxn ang="0">
                <a:pos x="connsiteX32416" y="connsiteY32416"/>
              </a:cxn>
              <a:cxn ang="0">
                <a:pos x="connsiteX32417" y="connsiteY32417"/>
              </a:cxn>
              <a:cxn ang="0">
                <a:pos x="connsiteX32418" y="connsiteY32418"/>
              </a:cxn>
              <a:cxn ang="0">
                <a:pos x="connsiteX32419" y="connsiteY32419"/>
              </a:cxn>
              <a:cxn ang="0">
                <a:pos x="connsiteX32420" y="connsiteY32420"/>
              </a:cxn>
              <a:cxn ang="0">
                <a:pos x="connsiteX32421" y="connsiteY32421"/>
              </a:cxn>
              <a:cxn ang="0">
                <a:pos x="connsiteX32422" y="connsiteY32422"/>
              </a:cxn>
              <a:cxn ang="0">
                <a:pos x="connsiteX32423" y="connsiteY32423"/>
              </a:cxn>
              <a:cxn ang="0">
                <a:pos x="connsiteX32424" y="connsiteY32424"/>
              </a:cxn>
              <a:cxn ang="0">
                <a:pos x="connsiteX32425" y="connsiteY32425"/>
              </a:cxn>
              <a:cxn ang="0">
                <a:pos x="connsiteX32426" y="connsiteY32426"/>
              </a:cxn>
              <a:cxn ang="0">
                <a:pos x="connsiteX32427" y="connsiteY32427"/>
              </a:cxn>
              <a:cxn ang="0">
                <a:pos x="connsiteX32428" y="connsiteY32428"/>
              </a:cxn>
              <a:cxn ang="0">
                <a:pos x="connsiteX32429" y="connsiteY32429"/>
              </a:cxn>
              <a:cxn ang="0">
                <a:pos x="connsiteX32430" y="connsiteY32430"/>
              </a:cxn>
              <a:cxn ang="0">
                <a:pos x="connsiteX32431" y="connsiteY32431"/>
              </a:cxn>
              <a:cxn ang="0">
                <a:pos x="connsiteX32432" y="connsiteY32432"/>
              </a:cxn>
              <a:cxn ang="0">
                <a:pos x="connsiteX32433" y="connsiteY32433"/>
              </a:cxn>
              <a:cxn ang="0">
                <a:pos x="connsiteX32434" y="connsiteY32434"/>
              </a:cxn>
              <a:cxn ang="0">
                <a:pos x="connsiteX32435" y="connsiteY32435"/>
              </a:cxn>
              <a:cxn ang="0">
                <a:pos x="connsiteX32436" y="connsiteY32436"/>
              </a:cxn>
              <a:cxn ang="0">
                <a:pos x="connsiteX32437" y="connsiteY32437"/>
              </a:cxn>
              <a:cxn ang="0">
                <a:pos x="connsiteX32438" y="connsiteY32438"/>
              </a:cxn>
              <a:cxn ang="0">
                <a:pos x="connsiteX32439" y="connsiteY32439"/>
              </a:cxn>
              <a:cxn ang="0">
                <a:pos x="connsiteX32440" y="connsiteY32440"/>
              </a:cxn>
              <a:cxn ang="0">
                <a:pos x="connsiteX32441" y="connsiteY32441"/>
              </a:cxn>
              <a:cxn ang="0">
                <a:pos x="connsiteX32442" y="connsiteY32442"/>
              </a:cxn>
              <a:cxn ang="0">
                <a:pos x="connsiteX32443" y="connsiteY32443"/>
              </a:cxn>
              <a:cxn ang="0">
                <a:pos x="connsiteX32444" y="connsiteY32444"/>
              </a:cxn>
              <a:cxn ang="0">
                <a:pos x="connsiteX32445" y="connsiteY32445"/>
              </a:cxn>
              <a:cxn ang="0">
                <a:pos x="connsiteX32446" y="connsiteY32446"/>
              </a:cxn>
              <a:cxn ang="0">
                <a:pos x="connsiteX32447" y="connsiteY32447"/>
              </a:cxn>
              <a:cxn ang="0">
                <a:pos x="connsiteX32448" y="connsiteY32448"/>
              </a:cxn>
              <a:cxn ang="0">
                <a:pos x="connsiteX32449" y="connsiteY32449"/>
              </a:cxn>
              <a:cxn ang="0">
                <a:pos x="connsiteX32450" y="connsiteY32450"/>
              </a:cxn>
              <a:cxn ang="0">
                <a:pos x="connsiteX32451" y="connsiteY32451"/>
              </a:cxn>
              <a:cxn ang="0">
                <a:pos x="connsiteX32452" y="connsiteY32452"/>
              </a:cxn>
              <a:cxn ang="0">
                <a:pos x="connsiteX32453" y="connsiteY32453"/>
              </a:cxn>
              <a:cxn ang="0">
                <a:pos x="connsiteX32454" y="connsiteY32454"/>
              </a:cxn>
              <a:cxn ang="0">
                <a:pos x="connsiteX32455" y="connsiteY32455"/>
              </a:cxn>
              <a:cxn ang="0">
                <a:pos x="connsiteX32456" y="connsiteY32456"/>
              </a:cxn>
              <a:cxn ang="0">
                <a:pos x="connsiteX32457" y="connsiteY32457"/>
              </a:cxn>
              <a:cxn ang="0">
                <a:pos x="connsiteX32458" y="connsiteY32458"/>
              </a:cxn>
              <a:cxn ang="0">
                <a:pos x="connsiteX32459" y="connsiteY32459"/>
              </a:cxn>
              <a:cxn ang="0">
                <a:pos x="connsiteX32460" y="connsiteY32460"/>
              </a:cxn>
              <a:cxn ang="0">
                <a:pos x="connsiteX32461" y="connsiteY32461"/>
              </a:cxn>
              <a:cxn ang="0">
                <a:pos x="connsiteX32462" y="connsiteY32462"/>
              </a:cxn>
              <a:cxn ang="0">
                <a:pos x="connsiteX32463" y="connsiteY32463"/>
              </a:cxn>
              <a:cxn ang="0">
                <a:pos x="connsiteX32464" y="connsiteY32464"/>
              </a:cxn>
              <a:cxn ang="0">
                <a:pos x="connsiteX32465" y="connsiteY32465"/>
              </a:cxn>
              <a:cxn ang="0">
                <a:pos x="connsiteX32466" y="connsiteY32466"/>
              </a:cxn>
              <a:cxn ang="0">
                <a:pos x="connsiteX32467" y="connsiteY32467"/>
              </a:cxn>
              <a:cxn ang="0">
                <a:pos x="connsiteX32468" y="connsiteY32468"/>
              </a:cxn>
              <a:cxn ang="0">
                <a:pos x="connsiteX32469" y="connsiteY32469"/>
              </a:cxn>
              <a:cxn ang="0">
                <a:pos x="connsiteX32470" y="connsiteY32470"/>
              </a:cxn>
              <a:cxn ang="0">
                <a:pos x="connsiteX32471" y="connsiteY32471"/>
              </a:cxn>
              <a:cxn ang="0">
                <a:pos x="connsiteX32472" y="connsiteY32472"/>
              </a:cxn>
              <a:cxn ang="0">
                <a:pos x="connsiteX32473" y="connsiteY32473"/>
              </a:cxn>
              <a:cxn ang="0">
                <a:pos x="connsiteX32474" y="connsiteY32474"/>
              </a:cxn>
              <a:cxn ang="0">
                <a:pos x="connsiteX32475" y="connsiteY32475"/>
              </a:cxn>
              <a:cxn ang="0">
                <a:pos x="connsiteX32476" y="connsiteY32476"/>
              </a:cxn>
              <a:cxn ang="0">
                <a:pos x="connsiteX32477" y="connsiteY32477"/>
              </a:cxn>
              <a:cxn ang="0">
                <a:pos x="connsiteX32478" y="connsiteY32478"/>
              </a:cxn>
              <a:cxn ang="0">
                <a:pos x="connsiteX32479" y="connsiteY32479"/>
              </a:cxn>
              <a:cxn ang="0">
                <a:pos x="connsiteX32480" y="connsiteY32480"/>
              </a:cxn>
              <a:cxn ang="0">
                <a:pos x="connsiteX32481" y="connsiteY32481"/>
              </a:cxn>
              <a:cxn ang="0">
                <a:pos x="connsiteX32482" y="connsiteY32482"/>
              </a:cxn>
              <a:cxn ang="0">
                <a:pos x="connsiteX32483" y="connsiteY32483"/>
              </a:cxn>
              <a:cxn ang="0">
                <a:pos x="connsiteX32484" y="connsiteY32484"/>
              </a:cxn>
              <a:cxn ang="0">
                <a:pos x="connsiteX32485" y="connsiteY32485"/>
              </a:cxn>
              <a:cxn ang="0">
                <a:pos x="connsiteX32486" y="connsiteY32486"/>
              </a:cxn>
              <a:cxn ang="0">
                <a:pos x="connsiteX32487" y="connsiteY32487"/>
              </a:cxn>
              <a:cxn ang="0">
                <a:pos x="connsiteX32488" y="connsiteY32488"/>
              </a:cxn>
              <a:cxn ang="0">
                <a:pos x="connsiteX32489" y="connsiteY32489"/>
              </a:cxn>
              <a:cxn ang="0">
                <a:pos x="connsiteX32490" y="connsiteY32490"/>
              </a:cxn>
              <a:cxn ang="0">
                <a:pos x="connsiteX32491" y="connsiteY32491"/>
              </a:cxn>
              <a:cxn ang="0">
                <a:pos x="connsiteX32492" y="connsiteY32492"/>
              </a:cxn>
              <a:cxn ang="0">
                <a:pos x="connsiteX32493" y="connsiteY32493"/>
              </a:cxn>
              <a:cxn ang="0">
                <a:pos x="connsiteX32494" y="connsiteY32494"/>
              </a:cxn>
              <a:cxn ang="0">
                <a:pos x="connsiteX32495" y="connsiteY32495"/>
              </a:cxn>
              <a:cxn ang="0">
                <a:pos x="connsiteX32496" y="connsiteY32496"/>
              </a:cxn>
              <a:cxn ang="0">
                <a:pos x="connsiteX32497" y="connsiteY32497"/>
              </a:cxn>
              <a:cxn ang="0">
                <a:pos x="connsiteX32498" y="connsiteY32498"/>
              </a:cxn>
              <a:cxn ang="0">
                <a:pos x="connsiteX32499" y="connsiteY32499"/>
              </a:cxn>
              <a:cxn ang="0">
                <a:pos x="connsiteX32500" y="connsiteY32500"/>
              </a:cxn>
              <a:cxn ang="0">
                <a:pos x="connsiteX32501" y="connsiteY32501"/>
              </a:cxn>
              <a:cxn ang="0">
                <a:pos x="connsiteX32502" y="connsiteY32502"/>
              </a:cxn>
              <a:cxn ang="0">
                <a:pos x="connsiteX32503" y="connsiteY32503"/>
              </a:cxn>
              <a:cxn ang="0">
                <a:pos x="connsiteX32504" y="connsiteY32504"/>
              </a:cxn>
              <a:cxn ang="0">
                <a:pos x="connsiteX32505" y="connsiteY32505"/>
              </a:cxn>
              <a:cxn ang="0">
                <a:pos x="connsiteX32506" y="connsiteY32506"/>
              </a:cxn>
              <a:cxn ang="0">
                <a:pos x="connsiteX32507" y="connsiteY32507"/>
              </a:cxn>
              <a:cxn ang="0">
                <a:pos x="connsiteX32508" y="connsiteY32508"/>
              </a:cxn>
              <a:cxn ang="0">
                <a:pos x="connsiteX32509" y="connsiteY32509"/>
              </a:cxn>
              <a:cxn ang="0">
                <a:pos x="connsiteX32510" y="connsiteY32510"/>
              </a:cxn>
              <a:cxn ang="0">
                <a:pos x="connsiteX32511" y="connsiteY32511"/>
              </a:cxn>
              <a:cxn ang="0">
                <a:pos x="connsiteX32512" y="connsiteY32512"/>
              </a:cxn>
              <a:cxn ang="0">
                <a:pos x="connsiteX32513" y="connsiteY32513"/>
              </a:cxn>
              <a:cxn ang="0">
                <a:pos x="connsiteX32514" y="connsiteY32514"/>
              </a:cxn>
              <a:cxn ang="0">
                <a:pos x="connsiteX32515" y="connsiteY32515"/>
              </a:cxn>
              <a:cxn ang="0">
                <a:pos x="connsiteX32516" y="connsiteY32516"/>
              </a:cxn>
              <a:cxn ang="0">
                <a:pos x="connsiteX32517" y="connsiteY32517"/>
              </a:cxn>
              <a:cxn ang="0">
                <a:pos x="connsiteX32518" y="connsiteY32518"/>
              </a:cxn>
              <a:cxn ang="0">
                <a:pos x="connsiteX32519" y="connsiteY32519"/>
              </a:cxn>
              <a:cxn ang="0">
                <a:pos x="connsiteX32520" y="connsiteY32520"/>
              </a:cxn>
              <a:cxn ang="0">
                <a:pos x="connsiteX32521" y="connsiteY32521"/>
              </a:cxn>
              <a:cxn ang="0">
                <a:pos x="connsiteX32522" y="connsiteY32522"/>
              </a:cxn>
              <a:cxn ang="0">
                <a:pos x="connsiteX32523" y="connsiteY32523"/>
              </a:cxn>
              <a:cxn ang="0">
                <a:pos x="connsiteX32524" y="connsiteY32524"/>
              </a:cxn>
              <a:cxn ang="0">
                <a:pos x="connsiteX32525" y="connsiteY32525"/>
              </a:cxn>
              <a:cxn ang="0">
                <a:pos x="connsiteX32526" y="connsiteY32526"/>
              </a:cxn>
              <a:cxn ang="0">
                <a:pos x="connsiteX32527" y="connsiteY32527"/>
              </a:cxn>
              <a:cxn ang="0">
                <a:pos x="connsiteX32528" y="connsiteY32528"/>
              </a:cxn>
              <a:cxn ang="0">
                <a:pos x="connsiteX32529" y="connsiteY32529"/>
              </a:cxn>
              <a:cxn ang="0">
                <a:pos x="connsiteX32530" y="connsiteY32530"/>
              </a:cxn>
              <a:cxn ang="0">
                <a:pos x="connsiteX32531" y="connsiteY32531"/>
              </a:cxn>
              <a:cxn ang="0">
                <a:pos x="connsiteX32532" y="connsiteY32532"/>
              </a:cxn>
              <a:cxn ang="0">
                <a:pos x="connsiteX32533" y="connsiteY32533"/>
              </a:cxn>
              <a:cxn ang="0">
                <a:pos x="connsiteX32534" y="connsiteY32534"/>
              </a:cxn>
              <a:cxn ang="0">
                <a:pos x="connsiteX32535" y="connsiteY32535"/>
              </a:cxn>
              <a:cxn ang="0">
                <a:pos x="connsiteX32536" y="connsiteY32536"/>
              </a:cxn>
              <a:cxn ang="0">
                <a:pos x="connsiteX32537" y="connsiteY32537"/>
              </a:cxn>
              <a:cxn ang="0">
                <a:pos x="connsiteX32538" y="connsiteY32538"/>
              </a:cxn>
              <a:cxn ang="0">
                <a:pos x="connsiteX32539" y="connsiteY32539"/>
              </a:cxn>
              <a:cxn ang="0">
                <a:pos x="connsiteX32540" y="connsiteY32540"/>
              </a:cxn>
              <a:cxn ang="0">
                <a:pos x="connsiteX32541" y="connsiteY32541"/>
              </a:cxn>
              <a:cxn ang="0">
                <a:pos x="connsiteX32542" y="connsiteY32542"/>
              </a:cxn>
              <a:cxn ang="0">
                <a:pos x="connsiteX32543" y="connsiteY32543"/>
              </a:cxn>
              <a:cxn ang="0">
                <a:pos x="connsiteX32544" y="connsiteY32544"/>
              </a:cxn>
              <a:cxn ang="0">
                <a:pos x="connsiteX32545" y="connsiteY32545"/>
              </a:cxn>
              <a:cxn ang="0">
                <a:pos x="connsiteX32546" y="connsiteY32546"/>
              </a:cxn>
              <a:cxn ang="0">
                <a:pos x="connsiteX32547" y="connsiteY32547"/>
              </a:cxn>
              <a:cxn ang="0">
                <a:pos x="connsiteX32548" y="connsiteY32548"/>
              </a:cxn>
              <a:cxn ang="0">
                <a:pos x="connsiteX32549" y="connsiteY32549"/>
              </a:cxn>
              <a:cxn ang="0">
                <a:pos x="connsiteX32550" y="connsiteY32550"/>
              </a:cxn>
              <a:cxn ang="0">
                <a:pos x="connsiteX32551" y="connsiteY32551"/>
              </a:cxn>
              <a:cxn ang="0">
                <a:pos x="connsiteX32552" y="connsiteY32552"/>
              </a:cxn>
              <a:cxn ang="0">
                <a:pos x="connsiteX32553" y="connsiteY32553"/>
              </a:cxn>
              <a:cxn ang="0">
                <a:pos x="connsiteX32554" y="connsiteY32554"/>
              </a:cxn>
              <a:cxn ang="0">
                <a:pos x="connsiteX32555" y="connsiteY32555"/>
              </a:cxn>
              <a:cxn ang="0">
                <a:pos x="connsiteX32556" y="connsiteY32556"/>
              </a:cxn>
              <a:cxn ang="0">
                <a:pos x="connsiteX32557" y="connsiteY32557"/>
              </a:cxn>
              <a:cxn ang="0">
                <a:pos x="connsiteX32558" y="connsiteY32558"/>
              </a:cxn>
              <a:cxn ang="0">
                <a:pos x="connsiteX32559" y="connsiteY32559"/>
              </a:cxn>
              <a:cxn ang="0">
                <a:pos x="connsiteX32560" y="connsiteY32560"/>
              </a:cxn>
              <a:cxn ang="0">
                <a:pos x="connsiteX32561" y="connsiteY32561"/>
              </a:cxn>
              <a:cxn ang="0">
                <a:pos x="connsiteX32562" y="connsiteY32562"/>
              </a:cxn>
              <a:cxn ang="0">
                <a:pos x="connsiteX32563" y="connsiteY32563"/>
              </a:cxn>
              <a:cxn ang="0">
                <a:pos x="connsiteX32564" y="connsiteY32564"/>
              </a:cxn>
              <a:cxn ang="0">
                <a:pos x="connsiteX32565" y="connsiteY32565"/>
              </a:cxn>
              <a:cxn ang="0">
                <a:pos x="connsiteX32566" y="connsiteY32566"/>
              </a:cxn>
              <a:cxn ang="0">
                <a:pos x="connsiteX32567" y="connsiteY32567"/>
              </a:cxn>
              <a:cxn ang="0">
                <a:pos x="connsiteX32568" y="connsiteY32568"/>
              </a:cxn>
              <a:cxn ang="0">
                <a:pos x="connsiteX32569" y="connsiteY32569"/>
              </a:cxn>
              <a:cxn ang="0">
                <a:pos x="connsiteX32570" y="connsiteY32570"/>
              </a:cxn>
              <a:cxn ang="0">
                <a:pos x="connsiteX32571" y="connsiteY32571"/>
              </a:cxn>
              <a:cxn ang="0">
                <a:pos x="connsiteX32572" y="connsiteY32572"/>
              </a:cxn>
              <a:cxn ang="0">
                <a:pos x="connsiteX32573" y="connsiteY32573"/>
              </a:cxn>
              <a:cxn ang="0">
                <a:pos x="connsiteX32574" y="connsiteY32574"/>
              </a:cxn>
              <a:cxn ang="0">
                <a:pos x="connsiteX32575" y="connsiteY32575"/>
              </a:cxn>
              <a:cxn ang="0">
                <a:pos x="connsiteX32576" y="connsiteY32576"/>
              </a:cxn>
              <a:cxn ang="0">
                <a:pos x="connsiteX32577" y="connsiteY32577"/>
              </a:cxn>
              <a:cxn ang="0">
                <a:pos x="connsiteX32578" y="connsiteY32578"/>
              </a:cxn>
              <a:cxn ang="0">
                <a:pos x="connsiteX32579" y="connsiteY32579"/>
              </a:cxn>
              <a:cxn ang="0">
                <a:pos x="connsiteX32580" y="connsiteY32580"/>
              </a:cxn>
              <a:cxn ang="0">
                <a:pos x="connsiteX32581" y="connsiteY32581"/>
              </a:cxn>
              <a:cxn ang="0">
                <a:pos x="connsiteX32582" y="connsiteY32582"/>
              </a:cxn>
              <a:cxn ang="0">
                <a:pos x="connsiteX32583" y="connsiteY32583"/>
              </a:cxn>
              <a:cxn ang="0">
                <a:pos x="connsiteX32584" y="connsiteY32584"/>
              </a:cxn>
              <a:cxn ang="0">
                <a:pos x="connsiteX32585" y="connsiteY32585"/>
              </a:cxn>
              <a:cxn ang="0">
                <a:pos x="connsiteX32586" y="connsiteY32586"/>
              </a:cxn>
              <a:cxn ang="0">
                <a:pos x="connsiteX32587" y="connsiteY32587"/>
              </a:cxn>
              <a:cxn ang="0">
                <a:pos x="connsiteX32588" y="connsiteY32588"/>
              </a:cxn>
              <a:cxn ang="0">
                <a:pos x="connsiteX32589" y="connsiteY32589"/>
              </a:cxn>
              <a:cxn ang="0">
                <a:pos x="connsiteX32590" y="connsiteY32590"/>
              </a:cxn>
              <a:cxn ang="0">
                <a:pos x="connsiteX32591" y="connsiteY32591"/>
              </a:cxn>
              <a:cxn ang="0">
                <a:pos x="connsiteX32592" y="connsiteY32592"/>
              </a:cxn>
              <a:cxn ang="0">
                <a:pos x="connsiteX32593" y="connsiteY32593"/>
              </a:cxn>
              <a:cxn ang="0">
                <a:pos x="connsiteX32594" y="connsiteY32594"/>
              </a:cxn>
              <a:cxn ang="0">
                <a:pos x="connsiteX32595" y="connsiteY32595"/>
              </a:cxn>
              <a:cxn ang="0">
                <a:pos x="connsiteX32596" y="connsiteY32596"/>
              </a:cxn>
              <a:cxn ang="0">
                <a:pos x="connsiteX32597" y="connsiteY32597"/>
              </a:cxn>
              <a:cxn ang="0">
                <a:pos x="connsiteX32598" y="connsiteY32598"/>
              </a:cxn>
              <a:cxn ang="0">
                <a:pos x="connsiteX32599" y="connsiteY32599"/>
              </a:cxn>
              <a:cxn ang="0">
                <a:pos x="connsiteX32600" y="connsiteY32600"/>
              </a:cxn>
              <a:cxn ang="0">
                <a:pos x="connsiteX32601" y="connsiteY32601"/>
              </a:cxn>
              <a:cxn ang="0">
                <a:pos x="connsiteX32602" y="connsiteY32602"/>
              </a:cxn>
              <a:cxn ang="0">
                <a:pos x="connsiteX32603" y="connsiteY32603"/>
              </a:cxn>
              <a:cxn ang="0">
                <a:pos x="connsiteX32604" y="connsiteY32604"/>
              </a:cxn>
              <a:cxn ang="0">
                <a:pos x="connsiteX32605" y="connsiteY32605"/>
              </a:cxn>
              <a:cxn ang="0">
                <a:pos x="connsiteX32606" y="connsiteY32606"/>
              </a:cxn>
              <a:cxn ang="0">
                <a:pos x="connsiteX32607" y="connsiteY32607"/>
              </a:cxn>
              <a:cxn ang="0">
                <a:pos x="connsiteX32608" y="connsiteY32608"/>
              </a:cxn>
              <a:cxn ang="0">
                <a:pos x="connsiteX32609" y="connsiteY32609"/>
              </a:cxn>
              <a:cxn ang="0">
                <a:pos x="connsiteX32610" y="connsiteY32610"/>
              </a:cxn>
              <a:cxn ang="0">
                <a:pos x="connsiteX32611" y="connsiteY32611"/>
              </a:cxn>
              <a:cxn ang="0">
                <a:pos x="connsiteX32612" y="connsiteY32612"/>
              </a:cxn>
              <a:cxn ang="0">
                <a:pos x="connsiteX32613" y="connsiteY32613"/>
              </a:cxn>
              <a:cxn ang="0">
                <a:pos x="connsiteX32614" y="connsiteY32614"/>
              </a:cxn>
              <a:cxn ang="0">
                <a:pos x="connsiteX32615" y="connsiteY32615"/>
              </a:cxn>
              <a:cxn ang="0">
                <a:pos x="connsiteX32616" y="connsiteY32616"/>
              </a:cxn>
              <a:cxn ang="0">
                <a:pos x="connsiteX32617" y="connsiteY32617"/>
              </a:cxn>
              <a:cxn ang="0">
                <a:pos x="connsiteX32618" y="connsiteY32618"/>
              </a:cxn>
              <a:cxn ang="0">
                <a:pos x="connsiteX32619" y="connsiteY32619"/>
              </a:cxn>
              <a:cxn ang="0">
                <a:pos x="connsiteX32620" y="connsiteY32620"/>
              </a:cxn>
              <a:cxn ang="0">
                <a:pos x="connsiteX32621" y="connsiteY32621"/>
              </a:cxn>
              <a:cxn ang="0">
                <a:pos x="connsiteX32622" y="connsiteY32622"/>
              </a:cxn>
              <a:cxn ang="0">
                <a:pos x="connsiteX32623" y="connsiteY32623"/>
              </a:cxn>
              <a:cxn ang="0">
                <a:pos x="connsiteX32624" y="connsiteY32624"/>
              </a:cxn>
              <a:cxn ang="0">
                <a:pos x="connsiteX32625" y="connsiteY32625"/>
              </a:cxn>
              <a:cxn ang="0">
                <a:pos x="connsiteX32626" y="connsiteY32626"/>
              </a:cxn>
              <a:cxn ang="0">
                <a:pos x="connsiteX32627" y="connsiteY32627"/>
              </a:cxn>
              <a:cxn ang="0">
                <a:pos x="connsiteX32628" y="connsiteY32628"/>
              </a:cxn>
              <a:cxn ang="0">
                <a:pos x="connsiteX32629" y="connsiteY32629"/>
              </a:cxn>
              <a:cxn ang="0">
                <a:pos x="connsiteX32630" y="connsiteY32630"/>
              </a:cxn>
              <a:cxn ang="0">
                <a:pos x="connsiteX32631" y="connsiteY32631"/>
              </a:cxn>
              <a:cxn ang="0">
                <a:pos x="connsiteX32632" y="connsiteY32632"/>
              </a:cxn>
              <a:cxn ang="0">
                <a:pos x="connsiteX32633" y="connsiteY32633"/>
              </a:cxn>
              <a:cxn ang="0">
                <a:pos x="connsiteX32634" y="connsiteY32634"/>
              </a:cxn>
              <a:cxn ang="0">
                <a:pos x="connsiteX32635" y="connsiteY32635"/>
              </a:cxn>
              <a:cxn ang="0">
                <a:pos x="connsiteX32636" y="connsiteY32636"/>
              </a:cxn>
              <a:cxn ang="0">
                <a:pos x="connsiteX32637" y="connsiteY32637"/>
              </a:cxn>
              <a:cxn ang="0">
                <a:pos x="connsiteX32638" y="connsiteY32638"/>
              </a:cxn>
              <a:cxn ang="0">
                <a:pos x="connsiteX32639" y="connsiteY32639"/>
              </a:cxn>
              <a:cxn ang="0">
                <a:pos x="connsiteX32640" y="connsiteY32640"/>
              </a:cxn>
              <a:cxn ang="0">
                <a:pos x="connsiteX32641" y="connsiteY32641"/>
              </a:cxn>
              <a:cxn ang="0">
                <a:pos x="connsiteX32642" y="connsiteY32642"/>
              </a:cxn>
              <a:cxn ang="0">
                <a:pos x="connsiteX32643" y="connsiteY32643"/>
              </a:cxn>
              <a:cxn ang="0">
                <a:pos x="connsiteX32644" y="connsiteY32644"/>
              </a:cxn>
              <a:cxn ang="0">
                <a:pos x="connsiteX32645" y="connsiteY32645"/>
              </a:cxn>
              <a:cxn ang="0">
                <a:pos x="connsiteX32646" y="connsiteY32646"/>
              </a:cxn>
              <a:cxn ang="0">
                <a:pos x="connsiteX32647" y="connsiteY32647"/>
              </a:cxn>
              <a:cxn ang="0">
                <a:pos x="connsiteX32648" y="connsiteY32648"/>
              </a:cxn>
              <a:cxn ang="0">
                <a:pos x="connsiteX32649" y="connsiteY32649"/>
              </a:cxn>
              <a:cxn ang="0">
                <a:pos x="connsiteX32650" y="connsiteY32650"/>
              </a:cxn>
              <a:cxn ang="0">
                <a:pos x="connsiteX32651" y="connsiteY32651"/>
              </a:cxn>
              <a:cxn ang="0">
                <a:pos x="connsiteX32652" y="connsiteY32652"/>
              </a:cxn>
              <a:cxn ang="0">
                <a:pos x="connsiteX32653" y="connsiteY32653"/>
              </a:cxn>
              <a:cxn ang="0">
                <a:pos x="connsiteX32654" y="connsiteY32654"/>
              </a:cxn>
              <a:cxn ang="0">
                <a:pos x="connsiteX32655" y="connsiteY32655"/>
              </a:cxn>
              <a:cxn ang="0">
                <a:pos x="connsiteX32656" y="connsiteY32656"/>
              </a:cxn>
              <a:cxn ang="0">
                <a:pos x="connsiteX32657" y="connsiteY32657"/>
              </a:cxn>
              <a:cxn ang="0">
                <a:pos x="connsiteX32658" y="connsiteY32658"/>
              </a:cxn>
              <a:cxn ang="0">
                <a:pos x="connsiteX32659" y="connsiteY32659"/>
              </a:cxn>
              <a:cxn ang="0">
                <a:pos x="connsiteX32660" y="connsiteY32660"/>
              </a:cxn>
              <a:cxn ang="0">
                <a:pos x="connsiteX32661" y="connsiteY32661"/>
              </a:cxn>
              <a:cxn ang="0">
                <a:pos x="connsiteX32662" y="connsiteY32662"/>
              </a:cxn>
              <a:cxn ang="0">
                <a:pos x="connsiteX32663" y="connsiteY32663"/>
              </a:cxn>
              <a:cxn ang="0">
                <a:pos x="connsiteX32664" y="connsiteY32664"/>
              </a:cxn>
              <a:cxn ang="0">
                <a:pos x="connsiteX32665" y="connsiteY32665"/>
              </a:cxn>
              <a:cxn ang="0">
                <a:pos x="connsiteX32666" y="connsiteY32666"/>
              </a:cxn>
              <a:cxn ang="0">
                <a:pos x="connsiteX32667" y="connsiteY32667"/>
              </a:cxn>
              <a:cxn ang="0">
                <a:pos x="connsiteX32668" y="connsiteY32668"/>
              </a:cxn>
              <a:cxn ang="0">
                <a:pos x="connsiteX32669" y="connsiteY32669"/>
              </a:cxn>
              <a:cxn ang="0">
                <a:pos x="connsiteX32670" y="connsiteY32670"/>
              </a:cxn>
              <a:cxn ang="0">
                <a:pos x="connsiteX32671" y="connsiteY32671"/>
              </a:cxn>
              <a:cxn ang="0">
                <a:pos x="connsiteX32672" y="connsiteY32672"/>
              </a:cxn>
              <a:cxn ang="0">
                <a:pos x="connsiteX32673" y="connsiteY32673"/>
              </a:cxn>
              <a:cxn ang="0">
                <a:pos x="connsiteX32674" y="connsiteY32674"/>
              </a:cxn>
              <a:cxn ang="0">
                <a:pos x="connsiteX32675" y="connsiteY32675"/>
              </a:cxn>
              <a:cxn ang="0">
                <a:pos x="connsiteX32676" y="connsiteY32676"/>
              </a:cxn>
              <a:cxn ang="0">
                <a:pos x="connsiteX32677" y="connsiteY32677"/>
              </a:cxn>
              <a:cxn ang="0">
                <a:pos x="connsiteX32678" y="connsiteY32678"/>
              </a:cxn>
              <a:cxn ang="0">
                <a:pos x="connsiteX32679" y="connsiteY32679"/>
              </a:cxn>
              <a:cxn ang="0">
                <a:pos x="connsiteX32680" y="connsiteY32680"/>
              </a:cxn>
              <a:cxn ang="0">
                <a:pos x="connsiteX32681" y="connsiteY32681"/>
              </a:cxn>
              <a:cxn ang="0">
                <a:pos x="connsiteX32682" y="connsiteY32682"/>
              </a:cxn>
              <a:cxn ang="0">
                <a:pos x="connsiteX32683" y="connsiteY32683"/>
              </a:cxn>
              <a:cxn ang="0">
                <a:pos x="connsiteX32684" y="connsiteY32684"/>
              </a:cxn>
              <a:cxn ang="0">
                <a:pos x="connsiteX32685" y="connsiteY32685"/>
              </a:cxn>
              <a:cxn ang="0">
                <a:pos x="connsiteX32686" y="connsiteY32686"/>
              </a:cxn>
              <a:cxn ang="0">
                <a:pos x="connsiteX32687" y="connsiteY32687"/>
              </a:cxn>
              <a:cxn ang="0">
                <a:pos x="connsiteX32688" y="connsiteY32688"/>
              </a:cxn>
              <a:cxn ang="0">
                <a:pos x="connsiteX32689" y="connsiteY32689"/>
              </a:cxn>
              <a:cxn ang="0">
                <a:pos x="connsiteX32690" y="connsiteY32690"/>
              </a:cxn>
              <a:cxn ang="0">
                <a:pos x="connsiteX32691" y="connsiteY32691"/>
              </a:cxn>
              <a:cxn ang="0">
                <a:pos x="connsiteX32692" y="connsiteY32692"/>
              </a:cxn>
              <a:cxn ang="0">
                <a:pos x="connsiteX32693" y="connsiteY32693"/>
              </a:cxn>
              <a:cxn ang="0">
                <a:pos x="connsiteX32694" y="connsiteY32694"/>
              </a:cxn>
              <a:cxn ang="0">
                <a:pos x="connsiteX32695" y="connsiteY32695"/>
              </a:cxn>
              <a:cxn ang="0">
                <a:pos x="connsiteX32696" y="connsiteY32696"/>
              </a:cxn>
              <a:cxn ang="0">
                <a:pos x="connsiteX32697" y="connsiteY32697"/>
              </a:cxn>
              <a:cxn ang="0">
                <a:pos x="connsiteX32698" y="connsiteY32698"/>
              </a:cxn>
              <a:cxn ang="0">
                <a:pos x="connsiteX32699" y="connsiteY32699"/>
              </a:cxn>
              <a:cxn ang="0">
                <a:pos x="connsiteX32700" y="connsiteY32700"/>
              </a:cxn>
              <a:cxn ang="0">
                <a:pos x="connsiteX32701" y="connsiteY32701"/>
              </a:cxn>
              <a:cxn ang="0">
                <a:pos x="connsiteX32702" y="connsiteY32702"/>
              </a:cxn>
              <a:cxn ang="0">
                <a:pos x="connsiteX32703" y="connsiteY32703"/>
              </a:cxn>
              <a:cxn ang="0">
                <a:pos x="connsiteX32704" y="connsiteY32704"/>
              </a:cxn>
              <a:cxn ang="0">
                <a:pos x="connsiteX32705" y="connsiteY32705"/>
              </a:cxn>
              <a:cxn ang="0">
                <a:pos x="connsiteX32706" y="connsiteY32706"/>
              </a:cxn>
              <a:cxn ang="0">
                <a:pos x="connsiteX32707" y="connsiteY32707"/>
              </a:cxn>
              <a:cxn ang="0">
                <a:pos x="connsiteX32708" y="connsiteY32708"/>
              </a:cxn>
              <a:cxn ang="0">
                <a:pos x="connsiteX32709" y="connsiteY32709"/>
              </a:cxn>
              <a:cxn ang="0">
                <a:pos x="connsiteX32710" y="connsiteY32710"/>
              </a:cxn>
              <a:cxn ang="0">
                <a:pos x="connsiteX32711" y="connsiteY32711"/>
              </a:cxn>
              <a:cxn ang="0">
                <a:pos x="connsiteX32712" y="connsiteY32712"/>
              </a:cxn>
              <a:cxn ang="0">
                <a:pos x="connsiteX32713" y="connsiteY32713"/>
              </a:cxn>
              <a:cxn ang="0">
                <a:pos x="connsiteX32714" y="connsiteY32714"/>
              </a:cxn>
              <a:cxn ang="0">
                <a:pos x="connsiteX32715" y="connsiteY32715"/>
              </a:cxn>
              <a:cxn ang="0">
                <a:pos x="connsiteX32716" y="connsiteY32716"/>
              </a:cxn>
              <a:cxn ang="0">
                <a:pos x="connsiteX32717" y="connsiteY32717"/>
              </a:cxn>
              <a:cxn ang="0">
                <a:pos x="connsiteX32718" y="connsiteY32718"/>
              </a:cxn>
              <a:cxn ang="0">
                <a:pos x="connsiteX32719" y="connsiteY32719"/>
              </a:cxn>
              <a:cxn ang="0">
                <a:pos x="connsiteX32720" y="connsiteY32720"/>
              </a:cxn>
              <a:cxn ang="0">
                <a:pos x="connsiteX32721" y="connsiteY32721"/>
              </a:cxn>
              <a:cxn ang="0">
                <a:pos x="connsiteX32722" y="connsiteY32722"/>
              </a:cxn>
              <a:cxn ang="0">
                <a:pos x="connsiteX32723" y="connsiteY32723"/>
              </a:cxn>
              <a:cxn ang="0">
                <a:pos x="connsiteX32724" y="connsiteY32724"/>
              </a:cxn>
              <a:cxn ang="0">
                <a:pos x="connsiteX32725" y="connsiteY32725"/>
              </a:cxn>
              <a:cxn ang="0">
                <a:pos x="connsiteX32726" y="connsiteY32726"/>
              </a:cxn>
              <a:cxn ang="0">
                <a:pos x="connsiteX32727" y="connsiteY32727"/>
              </a:cxn>
              <a:cxn ang="0">
                <a:pos x="connsiteX32728" y="connsiteY32728"/>
              </a:cxn>
              <a:cxn ang="0">
                <a:pos x="connsiteX32729" y="connsiteY32729"/>
              </a:cxn>
              <a:cxn ang="0">
                <a:pos x="connsiteX32730" y="connsiteY32730"/>
              </a:cxn>
              <a:cxn ang="0">
                <a:pos x="connsiteX32731" y="connsiteY32731"/>
              </a:cxn>
              <a:cxn ang="0">
                <a:pos x="connsiteX32732" y="connsiteY32732"/>
              </a:cxn>
              <a:cxn ang="0">
                <a:pos x="connsiteX32733" y="connsiteY32733"/>
              </a:cxn>
              <a:cxn ang="0">
                <a:pos x="connsiteX32734" y="connsiteY32734"/>
              </a:cxn>
              <a:cxn ang="0">
                <a:pos x="connsiteX32735" y="connsiteY32735"/>
              </a:cxn>
              <a:cxn ang="0">
                <a:pos x="connsiteX32736" y="connsiteY32736"/>
              </a:cxn>
              <a:cxn ang="0">
                <a:pos x="connsiteX32737" y="connsiteY32737"/>
              </a:cxn>
              <a:cxn ang="0">
                <a:pos x="connsiteX32738" y="connsiteY32738"/>
              </a:cxn>
              <a:cxn ang="0">
                <a:pos x="connsiteX32739" y="connsiteY32739"/>
              </a:cxn>
              <a:cxn ang="0">
                <a:pos x="connsiteX32740" y="connsiteY32740"/>
              </a:cxn>
              <a:cxn ang="0">
                <a:pos x="connsiteX32741" y="connsiteY32741"/>
              </a:cxn>
              <a:cxn ang="0">
                <a:pos x="connsiteX32742" y="connsiteY32742"/>
              </a:cxn>
              <a:cxn ang="0">
                <a:pos x="connsiteX32743" y="connsiteY32743"/>
              </a:cxn>
              <a:cxn ang="0">
                <a:pos x="connsiteX32744" y="connsiteY32744"/>
              </a:cxn>
              <a:cxn ang="0">
                <a:pos x="connsiteX32745" y="connsiteY32745"/>
              </a:cxn>
              <a:cxn ang="0">
                <a:pos x="connsiteX32746" y="connsiteY32746"/>
              </a:cxn>
              <a:cxn ang="0">
                <a:pos x="connsiteX32747" y="connsiteY32747"/>
              </a:cxn>
              <a:cxn ang="0">
                <a:pos x="connsiteX32748" y="connsiteY32748"/>
              </a:cxn>
              <a:cxn ang="0">
                <a:pos x="connsiteX32749" y="connsiteY32749"/>
              </a:cxn>
              <a:cxn ang="0">
                <a:pos x="connsiteX32750" y="connsiteY32750"/>
              </a:cxn>
              <a:cxn ang="0">
                <a:pos x="connsiteX32751" y="connsiteY32751"/>
              </a:cxn>
              <a:cxn ang="0">
                <a:pos x="connsiteX32752" y="connsiteY32752"/>
              </a:cxn>
              <a:cxn ang="0">
                <a:pos x="connsiteX32753" y="connsiteY32753"/>
              </a:cxn>
              <a:cxn ang="0">
                <a:pos x="connsiteX32754" y="connsiteY32754"/>
              </a:cxn>
              <a:cxn ang="0">
                <a:pos x="connsiteX32755" y="connsiteY32755"/>
              </a:cxn>
              <a:cxn ang="0">
                <a:pos x="connsiteX32756" y="connsiteY32756"/>
              </a:cxn>
              <a:cxn ang="0">
                <a:pos x="connsiteX32757" y="connsiteY32757"/>
              </a:cxn>
              <a:cxn ang="0">
                <a:pos x="connsiteX32758" y="connsiteY32758"/>
              </a:cxn>
              <a:cxn ang="0">
                <a:pos x="connsiteX32759" y="connsiteY32759"/>
              </a:cxn>
              <a:cxn ang="0">
                <a:pos x="connsiteX32760" y="connsiteY32760"/>
              </a:cxn>
              <a:cxn ang="0">
                <a:pos x="connsiteX32761" y="connsiteY32761"/>
              </a:cxn>
              <a:cxn ang="0">
                <a:pos x="connsiteX32762" y="connsiteY32762"/>
              </a:cxn>
              <a:cxn ang="0">
                <a:pos x="connsiteX32763" y="connsiteY32763"/>
              </a:cxn>
              <a:cxn ang="0">
                <a:pos x="connsiteX32764" y="connsiteY32764"/>
              </a:cxn>
              <a:cxn ang="0">
                <a:pos x="connsiteX32765" y="connsiteY32765"/>
              </a:cxn>
              <a:cxn ang="0">
                <a:pos x="connsiteX32766" y="connsiteY32766"/>
              </a:cxn>
              <a:cxn ang="0">
                <a:pos x="connsiteX32767" y="connsiteY32767"/>
              </a:cxn>
              <a:cxn ang="0">
                <a:pos x="connsiteX32768" y="connsiteY32768"/>
              </a:cxn>
              <a:cxn ang="0">
                <a:pos x="connsiteX32769" y="connsiteY32769"/>
              </a:cxn>
              <a:cxn ang="0">
                <a:pos x="connsiteX32770" y="connsiteY32770"/>
              </a:cxn>
              <a:cxn ang="0">
                <a:pos x="connsiteX32771" y="connsiteY32771"/>
              </a:cxn>
              <a:cxn ang="0">
                <a:pos x="connsiteX32772" y="connsiteY32772"/>
              </a:cxn>
              <a:cxn ang="0">
                <a:pos x="connsiteX32773" y="connsiteY32773"/>
              </a:cxn>
              <a:cxn ang="0">
                <a:pos x="connsiteX32774" y="connsiteY32774"/>
              </a:cxn>
              <a:cxn ang="0">
                <a:pos x="connsiteX32775" y="connsiteY32775"/>
              </a:cxn>
              <a:cxn ang="0">
                <a:pos x="connsiteX32776" y="connsiteY32776"/>
              </a:cxn>
              <a:cxn ang="0">
                <a:pos x="connsiteX32777" y="connsiteY32777"/>
              </a:cxn>
              <a:cxn ang="0">
                <a:pos x="connsiteX32778" y="connsiteY32778"/>
              </a:cxn>
              <a:cxn ang="0">
                <a:pos x="connsiteX32779" y="connsiteY32779"/>
              </a:cxn>
              <a:cxn ang="0">
                <a:pos x="connsiteX32780" y="connsiteY32780"/>
              </a:cxn>
              <a:cxn ang="0">
                <a:pos x="connsiteX32781" y="connsiteY32781"/>
              </a:cxn>
              <a:cxn ang="0">
                <a:pos x="connsiteX32782" y="connsiteY32782"/>
              </a:cxn>
              <a:cxn ang="0">
                <a:pos x="connsiteX32783" y="connsiteY32783"/>
              </a:cxn>
              <a:cxn ang="0">
                <a:pos x="connsiteX32784" y="connsiteY32784"/>
              </a:cxn>
              <a:cxn ang="0">
                <a:pos x="connsiteX32785" y="connsiteY32785"/>
              </a:cxn>
              <a:cxn ang="0">
                <a:pos x="connsiteX32786" y="connsiteY32786"/>
              </a:cxn>
              <a:cxn ang="0">
                <a:pos x="connsiteX32787" y="connsiteY32787"/>
              </a:cxn>
              <a:cxn ang="0">
                <a:pos x="connsiteX32788" y="connsiteY32788"/>
              </a:cxn>
              <a:cxn ang="0">
                <a:pos x="connsiteX32789" y="connsiteY32789"/>
              </a:cxn>
              <a:cxn ang="0">
                <a:pos x="connsiteX32790" y="connsiteY32790"/>
              </a:cxn>
              <a:cxn ang="0">
                <a:pos x="connsiteX32791" y="connsiteY32791"/>
              </a:cxn>
              <a:cxn ang="0">
                <a:pos x="connsiteX32792" y="connsiteY32792"/>
              </a:cxn>
              <a:cxn ang="0">
                <a:pos x="connsiteX32793" y="connsiteY32793"/>
              </a:cxn>
              <a:cxn ang="0">
                <a:pos x="connsiteX32794" y="connsiteY32794"/>
              </a:cxn>
              <a:cxn ang="0">
                <a:pos x="connsiteX32795" y="connsiteY32795"/>
              </a:cxn>
              <a:cxn ang="0">
                <a:pos x="connsiteX32796" y="connsiteY32796"/>
              </a:cxn>
              <a:cxn ang="0">
                <a:pos x="connsiteX32797" y="connsiteY32797"/>
              </a:cxn>
              <a:cxn ang="0">
                <a:pos x="connsiteX32798" y="connsiteY32798"/>
              </a:cxn>
              <a:cxn ang="0">
                <a:pos x="connsiteX32799" y="connsiteY32799"/>
              </a:cxn>
              <a:cxn ang="0">
                <a:pos x="connsiteX32800" y="connsiteY32800"/>
              </a:cxn>
              <a:cxn ang="0">
                <a:pos x="connsiteX32801" y="connsiteY32801"/>
              </a:cxn>
              <a:cxn ang="0">
                <a:pos x="connsiteX32802" y="connsiteY32802"/>
              </a:cxn>
              <a:cxn ang="0">
                <a:pos x="connsiteX32803" y="connsiteY32803"/>
              </a:cxn>
              <a:cxn ang="0">
                <a:pos x="connsiteX32804" y="connsiteY32804"/>
              </a:cxn>
              <a:cxn ang="0">
                <a:pos x="connsiteX32805" y="connsiteY32805"/>
              </a:cxn>
              <a:cxn ang="0">
                <a:pos x="connsiteX32806" y="connsiteY32806"/>
              </a:cxn>
              <a:cxn ang="0">
                <a:pos x="connsiteX32807" y="connsiteY32807"/>
              </a:cxn>
              <a:cxn ang="0">
                <a:pos x="connsiteX32808" y="connsiteY32808"/>
              </a:cxn>
              <a:cxn ang="0">
                <a:pos x="connsiteX32809" y="connsiteY32809"/>
              </a:cxn>
              <a:cxn ang="0">
                <a:pos x="connsiteX32810" y="connsiteY32810"/>
              </a:cxn>
              <a:cxn ang="0">
                <a:pos x="connsiteX32811" y="connsiteY32811"/>
              </a:cxn>
              <a:cxn ang="0">
                <a:pos x="connsiteX32812" y="connsiteY32812"/>
              </a:cxn>
              <a:cxn ang="0">
                <a:pos x="connsiteX32813" y="connsiteY32813"/>
              </a:cxn>
              <a:cxn ang="0">
                <a:pos x="connsiteX32814" y="connsiteY32814"/>
              </a:cxn>
              <a:cxn ang="0">
                <a:pos x="connsiteX32815" y="connsiteY32815"/>
              </a:cxn>
              <a:cxn ang="0">
                <a:pos x="connsiteX32816" y="connsiteY32816"/>
              </a:cxn>
              <a:cxn ang="0">
                <a:pos x="connsiteX32817" y="connsiteY32817"/>
              </a:cxn>
              <a:cxn ang="0">
                <a:pos x="connsiteX32818" y="connsiteY32818"/>
              </a:cxn>
              <a:cxn ang="0">
                <a:pos x="connsiteX32819" y="connsiteY32819"/>
              </a:cxn>
              <a:cxn ang="0">
                <a:pos x="connsiteX32820" y="connsiteY32820"/>
              </a:cxn>
              <a:cxn ang="0">
                <a:pos x="connsiteX32821" y="connsiteY32821"/>
              </a:cxn>
              <a:cxn ang="0">
                <a:pos x="connsiteX32822" y="connsiteY32822"/>
              </a:cxn>
              <a:cxn ang="0">
                <a:pos x="connsiteX32823" y="connsiteY32823"/>
              </a:cxn>
              <a:cxn ang="0">
                <a:pos x="connsiteX32824" y="connsiteY32824"/>
              </a:cxn>
              <a:cxn ang="0">
                <a:pos x="connsiteX32825" y="connsiteY32825"/>
              </a:cxn>
              <a:cxn ang="0">
                <a:pos x="connsiteX32826" y="connsiteY32826"/>
              </a:cxn>
              <a:cxn ang="0">
                <a:pos x="connsiteX32827" y="connsiteY32827"/>
              </a:cxn>
              <a:cxn ang="0">
                <a:pos x="connsiteX32828" y="connsiteY32828"/>
              </a:cxn>
              <a:cxn ang="0">
                <a:pos x="connsiteX32829" y="connsiteY32829"/>
              </a:cxn>
              <a:cxn ang="0">
                <a:pos x="connsiteX32830" y="connsiteY32830"/>
              </a:cxn>
              <a:cxn ang="0">
                <a:pos x="connsiteX32831" y="connsiteY32831"/>
              </a:cxn>
              <a:cxn ang="0">
                <a:pos x="connsiteX32832" y="connsiteY32832"/>
              </a:cxn>
              <a:cxn ang="0">
                <a:pos x="connsiteX32833" y="connsiteY32833"/>
              </a:cxn>
              <a:cxn ang="0">
                <a:pos x="connsiteX32834" y="connsiteY32834"/>
              </a:cxn>
              <a:cxn ang="0">
                <a:pos x="connsiteX32835" y="connsiteY32835"/>
              </a:cxn>
              <a:cxn ang="0">
                <a:pos x="connsiteX32836" y="connsiteY32836"/>
              </a:cxn>
              <a:cxn ang="0">
                <a:pos x="connsiteX32837" y="connsiteY32837"/>
              </a:cxn>
              <a:cxn ang="0">
                <a:pos x="connsiteX32838" y="connsiteY32838"/>
              </a:cxn>
              <a:cxn ang="0">
                <a:pos x="connsiteX32839" y="connsiteY32839"/>
              </a:cxn>
              <a:cxn ang="0">
                <a:pos x="connsiteX32840" y="connsiteY32840"/>
              </a:cxn>
              <a:cxn ang="0">
                <a:pos x="connsiteX32841" y="connsiteY32841"/>
              </a:cxn>
              <a:cxn ang="0">
                <a:pos x="connsiteX32842" y="connsiteY32842"/>
              </a:cxn>
              <a:cxn ang="0">
                <a:pos x="connsiteX32843" y="connsiteY32843"/>
              </a:cxn>
              <a:cxn ang="0">
                <a:pos x="connsiteX32844" y="connsiteY32844"/>
              </a:cxn>
              <a:cxn ang="0">
                <a:pos x="connsiteX32845" y="connsiteY32845"/>
              </a:cxn>
              <a:cxn ang="0">
                <a:pos x="connsiteX32846" y="connsiteY32846"/>
              </a:cxn>
              <a:cxn ang="0">
                <a:pos x="connsiteX32847" y="connsiteY32847"/>
              </a:cxn>
              <a:cxn ang="0">
                <a:pos x="connsiteX32848" y="connsiteY32848"/>
              </a:cxn>
              <a:cxn ang="0">
                <a:pos x="connsiteX32849" y="connsiteY32849"/>
              </a:cxn>
              <a:cxn ang="0">
                <a:pos x="connsiteX32850" y="connsiteY32850"/>
              </a:cxn>
              <a:cxn ang="0">
                <a:pos x="connsiteX32851" y="connsiteY32851"/>
              </a:cxn>
              <a:cxn ang="0">
                <a:pos x="connsiteX32852" y="connsiteY32852"/>
              </a:cxn>
              <a:cxn ang="0">
                <a:pos x="connsiteX32853" y="connsiteY32853"/>
              </a:cxn>
              <a:cxn ang="0">
                <a:pos x="connsiteX32854" y="connsiteY32854"/>
              </a:cxn>
              <a:cxn ang="0">
                <a:pos x="connsiteX32855" y="connsiteY32855"/>
              </a:cxn>
              <a:cxn ang="0">
                <a:pos x="connsiteX32856" y="connsiteY32856"/>
              </a:cxn>
              <a:cxn ang="0">
                <a:pos x="connsiteX32857" y="connsiteY32857"/>
              </a:cxn>
              <a:cxn ang="0">
                <a:pos x="connsiteX32858" y="connsiteY32858"/>
              </a:cxn>
              <a:cxn ang="0">
                <a:pos x="connsiteX32859" y="connsiteY32859"/>
              </a:cxn>
              <a:cxn ang="0">
                <a:pos x="connsiteX32860" y="connsiteY32860"/>
              </a:cxn>
              <a:cxn ang="0">
                <a:pos x="connsiteX32861" y="connsiteY32861"/>
              </a:cxn>
              <a:cxn ang="0">
                <a:pos x="connsiteX32862" y="connsiteY32862"/>
              </a:cxn>
              <a:cxn ang="0">
                <a:pos x="connsiteX32863" y="connsiteY32863"/>
              </a:cxn>
              <a:cxn ang="0">
                <a:pos x="connsiteX32864" y="connsiteY32864"/>
              </a:cxn>
              <a:cxn ang="0">
                <a:pos x="connsiteX32865" y="connsiteY32865"/>
              </a:cxn>
              <a:cxn ang="0">
                <a:pos x="connsiteX32866" y="connsiteY32866"/>
              </a:cxn>
              <a:cxn ang="0">
                <a:pos x="connsiteX32867" y="connsiteY32867"/>
              </a:cxn>
              <a:cxn ang="0">
                <a:pos x="connsiteX32868" y="connsiteY32868"/>
              </a:cxn>
              <a:cxn ang="0">
                <a:pos x="connsiteX32869" y="connsiteY32869"/>
              </a:cxn>
              <a:cxn ang="0">
                <a:pos x="connsiteX32870" y="connsiteY32870"/>
              </a:cxn>
              <a:cxn ang="0">
                <a:pos x="connsiteX32871" y="connsiteY32871"/>
              </a:cxn>
              <a:cxn ang="0">
                <a:pos x="connsiteX32872" y="connsiteY32872"/>
              </a:cxn>
              <a:cxn ang="0">
                <a:pos x="connsiteX32873" y="connsiteY32873"/>
              </a:cxn>
              <a:cxn ang="0">
                <a:pos x="connsiteX32874" y="connsiteY32874"/>
              </a:cxn>
              <a:cxn ang="0">
                <a:pos x="connsiteX32875" y="connsiteY32875"/>
              </a:cxn>
              <a:cxn ang="0">
                <a:pos x="connsiteX32876" y="connsiteY32876"/>
              </a:cxn>
              <a:cxn ang="0">
                <a:pos x="connsiteX32877" y="connsiteY32877"/>
              </a:cxn>
              <a:cxn ang="0">
                <a:pos x="connsiteX32878" y="connsiteY32878"/>
              </a:cxn>
              <a:cxn ang="0">
                <a:pos x="connsiteX32879" y="connsiteY32879"/>
              </a:cxn>
              <a:cxn ang="0">
                <a:pos x="connsiteX32880" y="connsiteY32880"/>
              </a:cxn>
              <a:cxn ang="0">
                <a:pos x="connsiteX32881" y="connsiteY32881"/>
              </a:cxn>
              <a:cxn ang="0">
                <a:pos x="connsiteX32882" y="connsiteY32882"/>
              </a:cxn>
              <a:cxn ang="0">
                <a:pos x="connsiteX32883" y="connsiteY32883"/>
              </a:cxn>
              <a:cxn ang="0">
                <a:pos x="connsiteX32884" y="connsiteY32884"/>
              </a:cxn>
              <a:cxn ang="0">
                <a:pos x="connsiteX32885" y="connsiteY32885"/>
              </a:cxn>
              <a:cxn ang="0">
                <a:pos x="connsiteX32886" y="connsiteY32886"/>
              </a:cxn>
              <a:cxn ang="0">
                <a:pos x="connsiteX32887" y="connsiteY32887"/>
              </a:cxn>
              <a:cxn ang="0">
                <a:pos x="connsiteX32888" y="connsiteY32888"/>
              </a:cxn>
              <a:cxn ang="0">
                <a:pos x="connsiteX32889" y="connsiteY32889"/>
              </a:cxn>
              <a:cxn ang="0">
                <a:pos x="connsiteX32890" y="connsiteY32890"/>
              </a:cxn>
              <a:cxn ang="0">
                <a:pos x="connsiteX32891" y="connsiteY32891"/>
              </a:cxn>
              <a:cxn ang="0">
                <a:pos x="connsiteX32892" y="connsiteY32892"/>
              </a:cxn>
              <a:cxn ang="0">
                <a:pos x="connsiteX32893" y="connsiteY32893"/>
              </a:cxn>
              <a:cxn ang="0">
                <a:pos x="connsiteX32894" y="connsiteY32894"/>
              </a:cxn>
              <a:cxn ang="0">
                <a:pos x="connsiteX32895" y="connsiteY32895"/>
              </a:cxn>
              <a:cxn ang="0">
                <a:pos x="connsiteX32896" y="connsiteY32896"/>
              </a:cxn>
              <a:cxn ang="0">
                <a:pos x="connsiteX32897" y="connsiteY32897"/>
              </a:cxn>
              <a:cxn ang="0">
                <a:pos x="connsiteX32898" y="connsiteY32898"/>
              </a:cxn>
              <a:cxn ang="0">
                <a:pos x="connsiteX32899" y="connsiteY32899"/>
              </a:cxn>
              <a:cxn ang="0">
                <a:pos x="connsiteX32900" y="connsiteY32900"/>
              </a:cxn>
              <a:cxn ang="0">
                <a:pos x="connsiteX32901" y="connsiteY32901"/>
              </a:cxn>
              <a:cxn ang="0">
                <a:pos x="connsiteX32902" y="connsiteY32902"/>
              </a:cxn>
              <a:cxn ang="0">
                <a:pos x="connsiteX32903" y="connsiteY32903"/>
              </a:cxn>
              <a:cxn ang="0">
                <a:pos x="connsiteX32904" y="connsiteY32904"/>
              </a:cxn>
              <a:cxn ang="0">
                <a:pos x="connsiteX32905" y="connsiteY32905"/>
              </a:cxn>
              <a:cxn ang="0">
                <a:pos x="connsiteX32906" y="connsiteY32906"/>
              </a:cxn>
              <a:cxn ang="0">
                <a:pos x="connsiteX32907" y="connsiteY32907"/>
              </a:cxn>
              <a:cxn ang="0">
                <a:pos x="connsiteX32908" y="connsiteY32908"/>
              </a:cxn>
              <a:cxn ang="0">
                <a:pos x="connsiteX32909" y="connsiteY32909"/>
              </a:cxn>
              <a:cxn ang="0">
                <a:pos x="connsiteX32910" y="connsiteY32910"/>
              </a:cxn>
              <a:cxn ang="0">
                <a:pos x="connsiteX32911" y="connsiteY32911"/>
              </a:cxn>
              <a:cxn ang="0">
                <a:pos x="connsiteX32912" y="connsiteY32912"/>
              </a:cxn>
              <a:cxn ang="0">
                <a:pos x="connsiteX32913" y="connsiteY32913"/>
              </a:cxn>
              <a:cxn ang="0">
                <a:pos x="connsiteX32914" y="connsiteY32914"/>
              </a:cxn>
              <a:cxn ang="0">
                <a:pos x="connsiteX32915" y="connsiteY32915"/>
              </a:cxn>
              <a:cxn ang="0">
                <a:pos x="connsiteX32916" y="connsiteY32916"/>
              </a:cxn>
              <a:cxn ang="0">
                <a:pos x="connsiteX32917" y="connsiteY32917"/>
              </a:cxn>
              <a:cxn ang="0">
                <a:pos x="connsiteX32918" y="connsiteY32918"/>
              </a:cxn>
              <a:cxn ang="0">
                <a:pos x="connsiteX32919" y="connsiteY32919"/>
              </a:cxn>
              <a:cxn ang="0">
                <a:pos x="connsiteX32920" y="connsiteY32920"/>
              </a:cxn>
              <a:cxn ang="0">
                <a:pos x="connsiteX32921" y="connsiteY32921"/>
              </a:cxn>
              <a:cxn ang="0">
                <a:pos x="connsiteX32922" y="connsiteY32922"/>
              </a:cxn>
              <a:cxn ang="0">
                <a:pos x="connsiteX32923" y="connsiteY32923"/>
              </a:cxn>
              <a:cxn ang="0">
                <a:pos x="connsiteX32924" y="connsiteY32924"/>
              </a:cxn>
              <a:cxn ang="0">
                <a:pos x="connsiteX32925" y="connsiteY32925"/>
              </a:cxn>
              <a:cxn ang="0">
                <a:pos x="connsiteX32926" y="connsiteY32926"/>
              </a:cxn>
              <a:cxn ang="0">
                <a:pos x="connsiteX32927" y="connsiteY32927"/>
              </a:cxn>
              <a:cxn ang="0">
                <a:pos x="connsiteX32928" y="connsiteY32928"/>
              </a:cxn>
              <a:cxn ang="0">
                <a:pos x="connsiteX32929" y="connsiteY32929"/>
              </a:cxn>
              <a:cxn ang="0">
                <a:pos x="connsiteX32930" y="connsiteY32930"/>
              </a:cxn>
              <a:cxn ang="0">
                <a:pos x="connsiteX32931" y="connsiteY32931"/>
              </a:cxn>
              <a:cxn ang="0">
                <a:pos x="connsiteX32932" y="connsiteY32932"/>
              </a:cxn>
              <a:cxn ang="0">
                <a:pos x="connsiteX32933" y="connsiteY32933"/>
              </a:cxn>
              <a:cxn ang="0">
                <a:pos x="connsiteX32934" y="connsiteY32934"/>
              </a:cxn>
              <a:cxn ang="0">
                <a:pos x="connsiteX32935" y="connsiteY32935"/>
              </a:cxn>
              <a:cxn ang="0">
                <a:pos x="connsiteX32936" y="connsiteY32936"/>
              </a:cxn>
              <a:cxn ang="0">
                <a:pos x="connsiteX32937" y="connsiteY32937"/>
              </a:cxn>
              <a:cxn ang="0">
                <a:pos x="connsiteX32938" y="connsiteY32938"/>
              </a:cxn>
              <a:cxn ang="0">
                <a:pos x="connsiteX32939" y="connsiteY32939"/>
              </a:cxn>
              <a:cxn ang="0">
                <a:pos x="connsiteX32940" y="connsiteY32940"/>
              </a:cxn>
              <a:cxn ang="0">
                <a:pos x="connsiteX32941" y="connsiteY32941"/>
              </a:cxn>
              <a:cxn ang="0">
                <a:pos x="connsiteX32942" y="connsiteY32942"/>
              </a:cxn>
              <a:cxn ang="0">
                <a:pos x="connsiteX32943" y="connsiteY32943"/>
              </a:cxn>
              <a:cxn ang="0">
                <a:pos x="connsiteX32944" y="connsiteY32944"/>
              </a:cxn>
              <a:cxn ang="0">
                <a:pos x="connsiteX32945" y="connsiteY32945"/>
              </a:cxn>
              <a:cxn ang="0">
                <a:pos x="connsiteX32946" y="connsiteY32946"/>
              </a:cxn>
              <a:cxn ang="0">
                <a:pos x="connsiteX32947" y="connsiteY32947"/>
              </a:cxn>
              <a:cxn ang="0">
                <a:pos x="connsiteX32948" y="connsiteY32948"/>
              </a:cxn>
              <a:cxn ang="0">
                <a:pos x="connsiteX32949" y="connsiteY32949"/>
              </a:cxn>
              <a:cxn ang="0">
                <a:pos x="connsiteX32950" y="connsiteY32950"/>
              </a:cxn>
              <a:cxn ang="0">
                <a:pos x="connsiteX32951" y="connsiteY32951"/>
              </a:cxn>
              <a:cxn ang="0">
                <a:pos x="connsiteX32952" y="connsiteY32952"/>
              </a:cxn>
              <a:cxn ang="0">
                <a:pos x="connsiteX32953" y="connsiteY32953"/>
              </a:cxn>
              <a:cxn ang="0">
                <a:pos x="connsiteX32954" y="connsiteY32954"/>
              </a:cxn>
              <a:cxn ang="0">
                <a:pos x="connsiteX32955" y="connsiteY32955"/>
              </a:cxn>
              <a:cxn ang="0">
                <a:pos x="connsiteX32956" y="connsiteY32956"/>
              </a:cxn>
              <a:cxn ang="0">
                <a:pos x="connsiteX32957" y="connsiteY32957"/>
              </a:cxn>
              <a:cxn ang="0">
                <a:pos x="connsiteX32958" y="connsiteY32958"/>
              </a:cxn>
              <a:cxn ang="0">
                <a:pos x="connsiteX32959" y="connsiteY32959"/>
              </a:cxn>
              <a:cxn ang="0">
                <a:pos x="connsiteX32960" y="connsiteY32960"/>
              </a:cxn>
              <a:cxn ang="0">
                <a:pos x="connsiteX32961" y="connsiteY32961"/>
              </a:cxn>
              <a:cxn ang="0">
                <a:pos x="connsiteX32962" y="connsiteY32962"/>
              </a:cxn>
              <a:cxn ang="0">
                <a:pos x="connsiteX32963" y="connsiteY32963"/>
              </a:cxn>
              <a:cxn ang="0">
                <a:pos x="connsiteX32964" y="connsiteY32964"/>
              </a:cxn>
              <a:cxn ang="0">
                <a:pos x="connsiteX32965" y="connsiteY32965"/>
              </a:cxn>
              <a:cxn ang="0">
                <a:pos x="connsiteX32966" y="connsiteY32966"/>
              </a:cxn>
              <a:cxn ang="0">
                <a:pos x="connsiteX32967" y="connsiteY32967"/>
              </a:cxn>
              <a:cxn ang="0">
                <a:pos x="connsiteX32968" y="connsiteY32968"/>
              </a:cxn>
              <a:cxn ang="0">
                <a:pos x="connsiteX32969" y="connsiteY32969"/>
              </a:cxn>
              <a:cxn ang="0">
                <a:pos x="connsiteX32970" y="connsiteY32970"/>
              </a:cxn>
              <a:cxn ang="0">
                <a:pos x="connsiteX32971" y="connsiteY32971"/>
              </a:cxn>
              <a:cxn ang="0">
                <a:pos x="connsiteX32972" y="connsiteY32972"/>
              </a:cxn>
              <a:cxn ang="0">
                <a:pos x="connsiteX32973" y="connsiteY32973"/>
              </a:cxn>
              <a:cxn ang="0">
                <a:pos x="connsiteX32974" y="connsiteY32974"/>
              </a:cxn>
              <a:cxn ang="0">
                <a:pos x="connsiteX32975" y="connsiteY32975"/>
              </a:cxn>
              <a:cxn ang="0">
                <a:pos x="connsiteX32976" y="connsiteY32976"/>
              </a:cxn>
              <a:cxn ang="0">
                <a:pos x="connsiteX32977" y="connsiteY32977"/>
              </a:cxn>
              <a:cxn ang="0">
                <a:pos x="connsiteX32978" y="connsiteY32978"/>
              </a:cxn>
              <a:cxn ang="0">
                <a:pos x="connsiteX32979" y="connsiteY32979"/>
              </a:cxn>
              <a:cxn ang="0">
                <a:pos x="connsiteX32980" y="connsiteY32980"/>
              </a:cxn>
              <a:cxn ang="0">
                <a:pos x="connsiteX32981" y="connsiteY32981"/>
              </a:cxn>
              <a:cxn ang="0">
                <a:pos x="connsiteX32982" y="connsiteY32982"/>
              </a:cxn>
              <a:cxn ang="0">
                <a:pos x="connsiteX32983" y="connsiteY32983"/>
              </a:cxn>
              <a:cxn ang="0">
                <a:pos x="connsiteX32984" y="connsiteY32984"/>
              </a:cxn>
              <a:cxn ang="0">
                <a:pos x="connsiteX32985" y="connsiteY32985"/>
              </a:cxn>
              <a:cxn ang="0">
                <a:pos x="connsiteX32986" y="connsiteY32986"/>
              </a:cxn>
              <a:cxn ang="0">
                <a:pos x="connsiteX32987" y="connsiteY32987"/>
              </a:cxn>
              <a:cxn ang="0">
                <a:pos x="connsiteX32988" y="connsiteY32988"/>
              </a:cxn>
              <a:cxn ang="0">
                <a:pos x="connsiteX32989" y="connsiteY32989"/>
              </a:cxn>
              <a:cxn ang="0">
                <a:pos x="connsiteX32990" y="connsiteY32990"/>
              </a:cxn>
              <a:cxn ang="0">
                <a:pos x="connsiteX32991" y="connsiteY32991"/>
              </a:cxn>
              <a:cxn ang="0">
                <a:pos x="connsiteX32992" y="connsiteY32992"/>
              </a:cxn>
              <a:cxn ang="0">
                <a:pos x="connsiteX32993" y="connsiteY32993"/>
              </a:cxn>
              <a:cxn ang="0">
                <a:pos x="connsiteX32994" y="connsiteY32994"/>
              </a:cxn>
              <a:cxn ang="0">
                <a:pos x="connsiteX32995" y="connsiteY32995"/>
              </a:cxn>
              <a:cxn ang="0">
                <a:pos x="connsiteX32996" y="connsiteY32996"/>
              </a:cxn>
              <a:cxn ang="0">
                <a:pos x="connsiteX32997" y="connsiteY32997"/>
              </a:cxn>
              <a:cxn ang="0">
                <a:pos x="connsiteX32998" y="connsiteY32998"/>
              </a:cxn>
              <a:cxn ang="0">
                <a:pos x="connsiteX32999" y="connsiteY32999"/>
              </a:cxn>
              <a:cxn ang="0">
                <a:pos x="connsiteX33000" y="connsiteY33000"/>
              </a:cxn>
              <a:cxn ang="0">
                <a:pos x="connsiteX33001" y="connsiteY33001"/>
              </a:cxn>
              <a:cxn ang="0">
                <a:pos x="connsiteX33002" y="connsiteY33002"/>
              </a:cxn>
              <a:cxn ang="0">
                <a:pos x="connsiteX33003" y="connsiteY33003"/>
              </a:cxn>
              <a:cxn ang="0">
                <a:pos x="connsiteX33004" y="connsiteY33004"/>
              </a:cxn>
              <a:cxn ang="0">
                <a:pos x="connsiteX33005" y="connsiteY33005"/>
              </a:cxn>
              <a:cxn ang="0">
                <a:pos x="connsiteX33006" y="connsiteY33006"/>
              </a:cxn>
              <a:cxn ang="0">
                <a:pos x="connsiteX33007" y="connsiteY33007"/>
              </a:cxn>
              <a:cxn ang="0">
                <a:pos x="connsiteX33008" y="connsiteY33008"/>
              </a:cxn>
              <a:cxn ang="0">
                <a:pos x="connsiteX33009" y="connsiteY33009"/>
              </a:cxn>
              <a:cxn ang="0">
                <a:pos x="connsiteX33010" y="connsiteY33010"/>
              </a:cxn>
              <a:cxn ang="0">
                <a:pos x="connsiteX33011" y="connsiteY33011"/>
              </a:cxn>
              <a:cxn ang="0">
                <a:pos x="connsiteX33012" y="connsiteY33012"/>
              </a:cxn>
              <a:cxn ang="0">
                <a:pos x="connsiteX33013" y="connsiteY33013"/>
              </a:cxn>
              <a:cxn ang="0">
                <a:pos x="connsiteX33014" y="connsiteY33014"/>
              </a:cxn>
              <a:cxn ang="0">
                <a:pos x="connsiteX33015" y="connsiteY33015"/>
              </a:cxn>
              <a:cxn ang="0">
                <a:pos x="connsiteX33016" y="connsiteY33016"/>
              </a:cxn>
              <a:cxn ang="0">
                <a:pos x="connsiteX33017" y="connsiteY33017"/>
              </a:cxn>
              <a:cxn ang="0">
                <a:pos x="connsiteX33018" y="connsiteY33018"/>
              </a:cxn>
              <a:cxn ang="0">
                <a:pos x="connsiteX33019" y="connsiteY33019"/>
              </a:cxn>
              <a:cxn ang="0">
                <a:pos x="connsiteX33020" y="connsiteY33020"/>
              </a:cxn>
              <a:cxn ang="0">
                <a:pos x="connsiteX33021" y="connsiteY33021"/>
              </a:cxn>
              <a:cxn ang="0">
                <a:pos x="connsiteX33022" y="connsiteY33022"/>
              </a:cxn>
              <a:cxn ang="0">
                <a:pos x="connsiteX33023" y="connsiteY33023"/>
              </a:cxn>
              <a:cxn ang="0">
                <a:pos x="connsiteX33024" y="connsiteY33024"/>
              </a:cxn>
              <a:cxn ang="0">
                <a:pos x="connsiteX33025" y="connsiteY33025"/>
              </a:cxn>
              <a:cxn ang="0">
                <a:pos x="connsiteX33026" y="connsiteY33026"/>
              </a:cxn>
              <a:cxn ang="0">
                <a:pos x="connsiteX33027" y="connsiteY33027"/>
              </a:cxn>
              <a:cxn ang="0">
                <a:pos x="connsiteX33028" y="connsiteY33028"/>
              </a:cxn>
              <a:cxn ang="0">
                <a:pos x="connsiteX33029" y="connsiteY33029"/>
              </a:cxn>
              <a:cxn ang="0">
                <a:pos x="connsiteX33030" y="connsiteY33030"/>
              </a:cxn>
              <a:cxn ang="0">
                <a:pos x="connsiteX33031" y="connsiteY33031"/>
              </a:cxn>
              <a:cxn ang="0">
                <a:pos x="connsiteX33032" y="connsiteY33032"/>
              </a:cxn>
              <a:cxn ang="0">
                <a:pos x="connsiteX33033" y="connsiteY33033"/>
              </a:cxn>
              <a:cxn ang="0">
                <a:pos x="connsiteX33034" y="connsiteY33034"/>
              </a:cxn>
              <a:cxn ang="0">
                <a:pos x="connsiteX33035" y="connsiteY33035"/>
              </a:cxn>
              <a:cxn ang="0">
                <a:pos x="connsiteX33036" y="connsiteY33036"/>
              </a:cxn>
              <a:cxn ang="0">
                <a:pos x="connsiteX33037" y="connsiteY33037"/>
              </a:cxn>
              <a:cxn ang="0">
                <a:pos x="connsiteX33038" y="connsiteY33038"/>
              </a:cxn>
              <a:cxn ang="0">
                <a:pos x="connsiteX33039" y="connsiteY33039"/>
              </a:cxn>
              <a:cxn ang="0">
                <a:pos x="connsiteX33040" y="connsiteY33040"/>
              </a:cxn>
              <a:cxn ang="0">
                <a:pos x="connsiteX33041" y="connsiteY33041"/>
              </a:cxn>
              <a:cxn ang="0">
                <a:pos x="connsiteX33042" y="connsiteY33042"/>
              </a:cxn>
              <a:cxn ang="0">
                <a:pos x="connsiteX33043" y="connsiteY33043"/>
              </a:cxn>
              <a:cxn ang="0">
                <a:pos x="connsiteX33044" y="connsiteY33044"/>
              </a:cxn>
              <a:cxn ang="0">
                <a:pos x="connsiteX33045" y="connsiteY33045"/>
              </a:cxn>
              <a:cxn ang="0">
                <a:pos x="connsiteX33046" y="connsiteY33046"/>
              </a:cxn>
              <a:cxn ang="0">
                <a:pos x="connsiteX33047" y="connsiteY33047"/>
              </a:cxn>
              <a:cxn ang="0">
                <a:pos x="connsiteX33048" y="connsiteY33048"/>
              </a:cxn>
              <a:cxn ang="0">
                <a:pos x="connsiteX33049" y="connsiteY33049"/>
              </a:cxn>
              <a:cxn ang="0">
                <a:pos x="connsiteX33050" y="connsiteY33050"/>
              </a:cxn>
              <a:cxn ang="0">
                <a:pos x="connsiteX33051" y="connsiteY33051"/>
              </a:cxn>
              <a:cxn ang="0">
                <a:pos x="connsiteX33052" y="connsiteY33052"/>
              </a:cxn>
              <a:cxn ang="0">
                <a:pos x="connsiteX33053" y="connsiteY33053"/>
              </a:cxn>
              <a:cxn ang="0">
                <a:pos x="connsiteX33054" y="connsiteY33054"/>
              </a:cxn>
              <a:cxn ang="0">
                <a:pos x="connsiteX33055" y="connsiteY33055"/>
              </a:cxn>
              <a:cxn ang="0">
                <a:pos x="connsiteX33056" y="connsiteY33056"/>
              </a:cxn>
              <a:cxn ang="0">
                <a:pos x="connsiteX33057" y="connsiteY33057"/>
              </a:cxn>
              <a:cxn ang="0">
                <a:pos x="connsiteX33058" y="connsiteY33058"/>
              </a:cxn>
              <a:cxn ang="0">
                <a:pos x="connsiteX33059" y="connsiteY33059"/>
              </a:cxn>
              <a:cxn ang="0">
                <a:pos x="connsiteX33060" y="connsiteY33060"/>
              </a:cxn>
              <a:cxn ang="0">
                <a:pos x="connsiteX33061" y="connsiteY33061"/>
              </a:cxn>
              <a:cxn ang="0">
                <a:pos x="connsiteX33062" y="connsiteY33062"/>
              </a:cxn>
              <a:cxn ang="0">
                <a:pos x="connsiteX33063" y="connsiteY33063"/>
              </a:cxn>
              <a:cxn ang="0">
                <a:pos x="connsiteX33064" y="connsiteY33064"/>
              </a:cxn>
              <a:cxn ang="0">
                <a:pos x="connsiteX33065" y="connsiteY33065"/>
              </a:cxn>
              <a:cxn ang="0">
                <a:pos x="connsiteX33066" y="connsiteY33066"/>
              </a:cxn>
              <a:cxn ang="0">
                <a:pos x="connsiteX33067" y="connsiteY33067"/>
              </a:cxn>
              <a:cxn ang="0">
                <a:pos x="connsiteX33068" y="connsiteY33068"/>
              </a:cxn>
              <a:cxn ang="0">
                <a:pos x="connsiteX33069" y="connsiteY33069"/>
              </a:cxn>
              <a:cxn ang="0">
                <a:pos x="connsiteX33070" y="connsiteY33070"/>
              </a:cxn>
              <a:cxn ang="0">
                <a:pos x="connsiteX33071" y="connsiteY33071"/>
              </a:cxn>
              <a:cxn ang="0">
                <a:pos x="connsiteX33072" y="connsiteY33072"/>
              </a:cxn>
              <a:cxn ang="0">
                <a:pos x="connsiteX33073" y="connsiteY33073"/>
              </a:cxn>
              <a:cxn ang="0">
                <a:pos x="connsiteX33074" y="connsiteY33074"/>
              </a:cxn>
              <a:cxn ang="0">
                <a:pos x="connsiteX33075" y="connsiteY33075"/>
              </a:cxn>
              <a:cxn ang="0">
                <a:pos x="connsiteX33076" y="connsiteY33076"/>
              </a:cxn>
              <a:cxn ang="0">
                <a:pos x="connsiteX33077" y="connsiteY33077"/>
              </a:cxn>
              <a:cxn ang="0">
                <a:pos x="connsiteX33078" y="connsiteY33078"/>
              </a:cxn>
              <a:cxn ang="0">
                <a:pos x="connsiteX33079" y="connsiteY33079"/>
              </a:cxn>
              <a:cxn ang="0">
                <a:pos x="connsiteX33080" y="connsiteY33080"/>
              </a:cxn>
              <a:cxn ang="0">
                <a:pos x="connsiteX33081" y="connsiteY33081"/>
              </a:cxn>
              <a:cxn ang="0">
                <a:pos x="connsiteX33082" y="connsiteY33082"/>
              </a:cxn>
              <a:cxn ang="0">
                <a:pos x="connsiteX33083" y="connsiteY33083"/>
              </a:cxn>
              <a:cxn ang="0">
                <a:pos x="connsiteX33084" y="connsiteY33084"/>
              </a:cxn>
              <a:cxn ang="0">
                <a:pos x="connsiteX33085" y="connsiteY33085"/>
              </a:cxn>
              <a:cxn ang="0">
                <a:pos x="connsiteX33086" y="connsiteY33086"/>
              </a:cxn>
              <a:cxn ang="0">
                <a:pos x="connsiteX33087" y="connsiteY33087"/>
              </a:cxn>
              <a:cxn ang="0">
                <a:pos x="connsiteX33088" y="connsiteY33088"/>
              </a:cxn>
              <a:cxn ang="0">
                <a:pos x="connsiteX33089" y="connsiteY33089"/>
              </a:cxn>
              <a:cxn ang="0">
                <a:pos x="connsiteX33090" y="connsiteY33090"/>
              </a:cxn>
              <a:cxn ang="0">
                <a:pos x="connsiteX33091" y="connsiteY33091"/>
              </a:cxn>
              <a:cxn ang="0">
                <a:pos x="connsiteX33092" y="connsiteY33092"/>
              </a:cxn>
              <a:cxn ang="0">
                <a:pos x="connsiteX33093" y="connsiteY33093"/>
              </a:cxn>
              <a:cxn ang="0">
                <a:pos x="connsiteX33094" y="connsiteY33094"/>
              </a:cxn>
              <a:cxn ang="0">
                <a:pos x="connsiteX33095" y="connsiteY33095"/>
              </a:cxn>
              <a:cxn ang="0">
                <a:pos x="connsiteX33096" y="connsiteY33096"/>
              </a:cxn>
              <a:cxn ang="0">
                <a:pos x="connsiteX33097" y="connsiteY33097"/>
              </a:cxn>
              <a:cxn ang="0">
                <a:pos x="connsiteX33098" y="connsiteY33098"/>
              </a:cxn>
              <a:cxn ang="0">
                <a:pos x="connsiteX33099" y="connsiteY33099"/>
              </a:cxn>
              <a:cxn ang="0">
                <a:pos x="connsiteX33100" y="connsiteY33100"/>
              </a:cxn>
              <a:cxn ang="0">
                <a:pos x="connsiteX33101" y="connsiteY33101"/>
              </a:cxn>
              <a:cxn ang="0">
                <a:pos x="connsiteX33102" y="connsiteY33102"/>
              </a:cxn>
              <a:cxn ang="0">
                <a:pos x="connsiteX33103" y="connsiteY33103"/>
              </a:cxn>
              <a:cxn ang="0">
                <a:pos x="connsiteX33104" y="connsiteY33104"/>
              </a:cxn>
              <a:cxn ang="0">
                <a:pos x="connsiteX33105" y="connsiteY33105"/>
              </a:cxn>
              <a:cxn ang="0">
                <a:pos x="connsiteX33106" y="connsiteY33106"/>
              </a:cxn>
              <a:cxn ang="0">
                <a:pos x="connsiteX33107" y="connsiteY33107"/>
              </a:cxn>
              <a:cxn ang="0">
                <a:pos x="connsiteX33108" y="connsiteY33108"/>
              </a:cxn>
              <a:cxn ang="0">
                <a:pos x="connsiteX33109" y="connsiteY33109"/>
              </a:cxn>
              <a:cxn ang="0">
                <a:pos x="connsiteX33110" y="connsiteY33110"/>
              </a:cxn>
              <a:cxn ang="0">
                <a:pos x="connsiteX33111" y="connsiteY33111"/>
              </a:cxn>
              <a:cxn ang="0">
                <a:pos x="connsiteX33112" y="connsiteY33112"/>
              </a:cxn>
              <a:cxn ang="0">
                <a:pos x="connsiteX33113" y="connsiteY33113"/>
              </a:cxn>
              <a:cxn ang="0">
                <a:pos x="connsiteX33114" y="connsiteY33114"/>
              </a:cxn>
              <a:cxn ang="0">
                <a:pos x="connsiteX33115" y="connsiteY33115"/>
              </a:cxn>
              <a:cxn ang="0">
                <a:pos x="connsiteX33116" y="connsiteY33116"/>
              </a:cxn>
              <a:cxn ang="0">
                <a:pos x="connsiteX33117" y="connsiteY33117"/>
              </a:cxn>
              <a:cxn ang="0">
                <a:pos x="connsiteX33118" y="connsiteY33118"/>
              </a:cxn>
              <a:cxn ang="0">
                <a:pos x="connsiteX33119" y="connsiteY33119"/>
              </a:cxn>
              <a:cxn ang="0">
                <a:pos x="connsiteX33120" y="connsiteY33120"/>
              </a:cxn>
              <a:cxn ang="0">
                <a:pos x="connsiteX33121" y="connsiteY33121"/>
              </a:cxn>
              <a:cxn ang="0">
                <a:pos x="connsiteX33122" y="connsiteY33122"/>
              </a:cxn>
              <a:cxn ang="0">
                <a:pos x="connsiteX33123" y="connsiteY33123"/>
              </a:cxn>
              <a:cxn ang="0">
                <a:pos x="connsiteX33124" y="connsiteY33124"/>
              </a:cxn>
              <a:cxn ang="0">
                <a:pos x="connsiteX33125" y="connsiteY33125"/>
              </a:cxn>
              <a:cxn ang="0">
                <a:pos x="connsiteX33126" y="connsiteY33126"/>
              </a:cxn>
              <a:cxn ang="0">
                <a:pos x="connsiteX33127" y="connsiteY33127"/>
              </a:cxn>
              <a:cxn ang="0">
                <a:pos x="connsiteX33128" y="connsiteY33128"/>
              </a:cxn>
              <a:cxn ang="0">
                <a:pos x="connsiteX33129" y="connsiteY33129"/>
              </a:cxn>
              <a:cxn ang="0">
                <a:pos x="connsiteX33130" y="connsiteY33130"/>
              </a:cxn>
              <a:cxn ang="0">
                <a:pos x="connsiteX33131" y="connsiteY33131"/>
              </a:cxn>
              <a:cxn ang="0">
                <a:pos x="connsiteX33132" y="connsiteY33132"/>
              </a:cxn>
              <a:cxn ang="0">
                <a:pos x="connsiteX33133" y="connsiteY33133"/>
              </a:cxn>
              <a:cxn ang="0">
                <a:pos x="connsiteX33134" y="connsiteY33134"/>
              </a:cxn>
              <a:cxn ang="0">
                <a:pos x="connsiteX33135" y="connsiteY33135"/>
              </a:cxn>
              <a:cxn ang="0">
                <a:pos x="connsiteX33136" y="connsiteY33136"/>
              </a:cxn>
              <a:cxn ang="0">
                <a:pos x="connsiteX33137" y="connsiteY33137"/>
              </a:cxn>
              <a:cxn ang="0">
                <a:pos x="connsiteX33138" y="connsiteY33138"/>
              </a:cxn>
              <a:cxn ang="0">
                <a:pos x="connsiteX33139" y="connsiteY33139"/>
              </a:cxn>
              <a:cxn ang="0">
                <a:pos x="connsiteX33140" y="connsiteY33140"/>
              </a:cxn>
              <a:cxn ang="0">
                <a:pos x="connsiteX33141" y="connsiteY33141"/>
              </a:cxn>
              <a:cxn ang="0">
                <a:pos x="connsiteX33142" y="connsiteY33142"/>
              </a:cxn>
              <a:cxn ang="0">
                <a:pos x="connsiteX33143" y="connsiteY33143"/>
              </a:cxn>
              <a:cxn ang="0">
                <a:pos x="connsiteX33144" y="connsiteY33144"/>
              </a:cxn>
              <a:cxn ang="0">
                <a:pos x="connsiteX33145" y="connsiteY33145"/>
              </a:cxn>
              <a:cxn ang="0">
                <a:pos x="connsiteX33146" y="connsiteY33146"/>
              </a:cxn>
              <a:cxn ang="0">
                <a:pos x="connsiteX33147" y="connsiteY33147"/>
              </a:cxn>
              <a:cxn ang="0">
                <a:pos x="connsiteX33148" y="connsiteY33148"/>
              </a:cxn>
              <a:cxn ang="0">
                <a:pos x="connsiteX33149" y="connsiteY33149"/>
              </a:cxn>
              <a:cxn ang="0">
                <a:pos x="connsiteX33150" y="connsiteY33150"/>
              </a:cxn>
              <a:cxn ang="0">
                <a:pos x="connsiteX33151" y="connsiteY33151"/>
              </a:cxn>
              <a:cxn ang="0">
                <a:pos x="connsiteX33152" y="connsiteY33152"/>
              </a:cxn>
              <a:cxn ang="0">
                <a:pos x="connsiteX33153" y="connsiteY33153"/>
              </a:cxn>
              <a:cxn ang="0">
                <a:pos x="connsiteX33154" y="connsiteY33154"/>
              </a:cxn>
              <a:cxn ang="0">
                <a:pos x="connsiteX33155" y="connsiteY33155"/>
              </a:cxn>
              <a:cxn ang="0">
                <a:pos x="connsiteX33156" y="connsiteY33156"/>
              </a:cxn>
              <a:cxn ang="0">
                <a:pos x="connsiteX33157" y="connsiteY33157"/>
              </a:cxn>
              <a:cxn ang="0">
                <a:pos x="connsiteX33158" y="connsiteY33158"/>
              </a:cxn>
              <a:cxn ang="0">
                <a:pos x="connsiteX33159" y="connsiteY33159"/>
              </a:cxn>
              <a:cxn ang="0">
                <a:pos x="connsiteX33160" y="connsiteY33160"/>
              </a:cxn>
              <a:cxn ang="0">
                <a:pos x="connsiteX33161" y="connsiteY33161"/>
              </a:cxn>
              <a:cxn ang="0">
                <a:pos x="connsiteX33162" y="connsiteY33162"/>
              </a:cxn>
              <a:cxn ang="0">
                <a:pos x="connsiteX33163" y="connsiteY33163"/>
              </a:cxn>
              <a:cxn ang="0">
                <a:pos x="connsiteX33164" y="connsiteY33164"/>
              </a:cxn>
              <a:cxn ang="0">
                <a:pos x="connsiteX33165" y="connsiteY33165"/>
              </a:cxn>
              <a:cxn ang="0">
                <a:pos x="connsiteX33166" y="connsiteY33166"/>
              </a:cxn>
              <a:cxn ang="0">
                <a:pos x="connsiteX33167" y="connsiteY33167"/>
              </a:cxn>
              <a:cxn ang="0">
                <a:pos x="connsiteX33168" y="connsiteY33168"/>
              </a:cxn>
              <a:cxn ang="0">
                <a:pos x="connsiteX33169" y="connsiteY33169"/>
              </a:cxn>
              <a:cxn ang="0">
                <a:pos x="connsiteX33170" y="connsiteY33170"/>
              </a:cxn>
              <a:cxn ang="0">
                <a:pos x="connsiteX33171" y="connsiteY33171"/>
              </a:cxn>
              <a:cxn ang="0">
                <a:pos x="connsiteX33172" y="connsiteY33172"/>
              </a:cxn>
              <a:cxn ang="0">
                <a:pos x="connsiteX33173" y="connsiteY33173"/>
              </a:cxn>
              <a:cxn ang="0">
                <a:pos x="connsiteX33174" y="connsiteY33174"/>
              </a:cxn>
              <a:cxn ang="0">
                <a:pos x="connsiteX33175" y="connsiteY33175"/>
              </a:cxn>
              <a:cxn ang="0">
                <a:pos x="connsiteX33176" y="connsiteY33176"/>
              </a:cxn>
              <a:cxn ang="0">
                <a:pos x="connsiteX33177" y="connsiteY33177"/>
              </a:cxn>
              <a:cxn ang="0">
                <a:pos x="connsiteX33178" y="connsiteY33178"/>
              </a:cxn>
              <a:cxn ang="0">
                <a:pos x="connsiteX33179" y="connsiteY33179"/>
              </a:cxn>
              <a:cxn ang="0">
                <a:pos x="connsiteX33180" y="connsiteY33180"/>
              </a:cxn>
              <a:cxn ang="0">
                <a:pos x="connsiteX33181" y="connsiteY33181"/>
              </a:cxn>
              <a:cxn ang="0">
                <a:pos x="connsiteX33182" y="connsiteY33182"/>
              </a:cxn>
              <a:cxn ang="0">
                <a:pos x="connsiteX33183" y="connsiteY33183"/>
              </a:cxn>
              <a:cxn ang="0">
                <a:pos x="connsiteX33184" y="connsiteY33184"/>
              </a:cxn>
              <a:cxn ang="0">
                <a:pos x="connsiteX33185" y="connsiteY33185"/>
              </a:cxn>
              <a:cxn ang="0">
                <a:pos x="connsiteX33186" y="connsiteY33186"/>
              </a:cxn>
              <a:cxn ang="0">
                <a:pos x="connsiteX33187" y="connsiteY33187"/>
              </a:cxn>
              <a:cxn ang="0">
                <a:pos x="connsiteX33188" y="connsiteY33188"/>
              </a:cxn>
              <a:cxn ang="0">
                <a:pos x="connsiteX33189" y="connsiteY33189"/>
              </a:cxn>
              <a:cxn ang="0">
                <a:pos x="connsiteX33190" y="connsiteY33190"/>
              </a:cxn>
              <a:cxn ang="0">
                <a:pos x="connsiteX33191" y="connsiteY33191"/>
              </a:cxn>
              <a:cxn ang="0">
                <a:pos x="connsiteX33192" y="connsiteY33192"/>
              </a:cxn>
              <a:cxn ang="0">
                <a:pos x="connsiteX33193" y="connsiteY33193"/>
              </a:cxn>
              <a:cxn ang="0">
                <a:pos x="connsiteX33194" y="connsiteY33194"/>
              </a:cxn>
              <a:cxn ang="0">
                <a:pos x="connsiteX33195" y="connsiteY33195"/>
              </a:cxn>
              <a:cxn ang="0">
                <a:pos x="connsiteX33196" y="connsiteY33196"/>
              </a:cxn>
              <a:cxn ang="0">
                <a:pos x="connsiteX33197" y="connsiteY33197"/>
              </a:cxn>
              <a:cxn ang="0">
                <a:pos x="connsiteX33198" y="connsiteY33198"/>
              </a:cxn>
              <a:cxn ang="0">
                <a:pos x="connsiteX33199" y="connsiteY33199"/>
              </a:cxn>
              <a:cxn ang="0">
                <a:pos x="connsiteX33200" y="connsiteY33200"/>
              </a:cxn>
              <a:cxn ang="0">
                <a:pos x="connsiteX33201" y="connsiteY33201"/>
              </a:cxn>
              <a:cxn ang="0">
                <a:pos x="connsiteX33202" y="connsiteY33202"/>
              </a:cxn>
              <a:cxn ang="0">
                <a:pos x="connsiteX33203" y="connsiteY33203"/>
              </a:cxn>
              <a:cxn ang="0">
                <a:pos x="connsiteX33204" y="connsiteY33204"/>
              </a:cxn>
              <a:cxn ang="0">
                <a:pos x="connsiteX33205" y="connsiteY33205"/>
              </a:cxn>
              <a:cxn ang="0">
                <a:pos x="connsiteX33206" y="connsiteY33206"/>
              </a:cxn>
              <a:cxn ang="0">
                <a:pos x="connsiteX33207" y="connsiteY33207"/>
              </a:cxn>
              <a:cxn ang="0">
                <a:pos x="connsiteX33208" y="connsiteY33208"/>
              </a:cxn>
              <a:cxn ang="0">
                <a:pos x="connsiteX33209" y="connsiteY33209"/>
              </a:cxn>
              <a:cxn ang="0">
                <a:pos x="connsiteX33210" y="connsiteY33210"/>
              </a:cxn>
              <a:cxn ang="0">
                <a:pos x="connsiteX33211" y="connsiteY33211"/>
              </a:cxn>
              <a:cxn ang="0">
                <a:pos x="connsiteX33212" y="connsiteY33212"/>
              </a:cxn>
              <a:cxn ang="0">
                <a:pos x="connsiteX33213" y="connsiteY33213"/>
              </a:cxn>
              <a:cxn ang="0">
                <a:pos x="connsiteX33214" y="connsiteY33214"/>
              </a:cxn>
              <a:cxn ang="0">
                <a:pos x="connsiteX33215" y="connsiteY33215"/>
              </a:cxn>
              <a:cxn ang="0">
                <a:pos x="connsiteX33216" y="connsiteY33216"/>
              </a:cxn>
              <a:cxn ang="0">
                <a:pos x="connsiteX33217" y="connsiteY33217"/>
              </a:cxn>
              <a:cxn ang="0">
                <a:pos x="connsiteX33218" y="connsiteY33218"/>
              </a:cxn>
              <a:cxn ang="0">
                <a:pos x="connsiteX33219" y="connsiteY33219"/>
              </a:cxn>
              <a:cxn ang="0">
                <a:pos x="connsiteX33220" y="connsiteY33220"/>
              </a:cxn>
              <a:cxn ang="0">
                <a:pos x="connsiteX33221" y="connsiteY33221"/>
              </a:cxn>
              <a:cxn ang="0">
                <a:pos x="connsiteX33222" y="connsiteY33222"/>
              </a:cxn>
              <a:cxn ang="0">
                <a:pos x="connsiteX33223" y="connsiteY33223"/>
              </a:cxn>
              <a:cxn ang="0">
                <a:pos x="connsiteX33224" y="connsiteY33224"/>
              </a:cxn>
              <a:cxn ang="0">
                <a:pos x="connsiteX33225" y="connsiteY33225"/>
              </a:cxn>
              <a:cxn ang="0">
                <a:pos x="connsiteX33226" y="connsiteY33226"/>
              </a:cxn>
              <a:cxn ang="0">
                <a:pos x="connsiteX33227" y="connsiteY33227"/>
              </a:cxn>
              <a:cxn ang="0">
                <a:pos x="connsiteX33228" y="connsiteY33228"/>
              </a:cxn>
              <a:cxn ang="0">
                <a:pos x="connsiteX33229" y="connsiteY33229"/>
              </a:cxn>
              <a:cxn ang="0">
                <a:pos x="connsiteX33230" y="connsiteY33230"/>
              </a:cxn>
              <a:cxn ang="0">
                <a:pos x="connsiteX33231" y="connsiteY33231"/>
              </a:cxn>
              <a:cxn ang="0">
                <a:pos x="connsiteX33232" y="connsiteY33232"/>
              </a:cxn>
              <a:cxn ang="0">
                <a:pos x="connsiteX33233" y="connsiteY33233"/>
              </a:cxn>
              <a:cxn ang="0">
                <a:pos x="connsiteX33234" y="connsiteY33234"/>
              </a:cxn>
              <a:cxn ang="0">
                <a:pos x="connsiteX33235" y="connsiteY33235"/>
              </a:cxn>
              <a:cxn ang="0">
                <a:pos x="connsiteX33236" y="connsiteY33236"/>
              </a:cxn>
              <a:cxn ang="0">
                <a:pos x="connsiteX33237" y="connsiteY33237"/>
              </a:cxn>
              <a:cxn ang="0">
                <a:pos x="connsiteX33238" y="connsiteY33238"/>
              </a:cxn>
              <a:cxn ang="0">
                <a:pos x="connsiteX33239" y="connsiteY33239"/>
              </a:cxn>
              <a:cxn ang="0">
                <a:pos x="connsiteX33240" y="connsiteY33240"/>
              </a:cxn>
              <a:cxn ang="0">
                <a:pos x="connsiteX33241" y="connsiteY33241"/>
              </a:cxn>
              <a:cxn ang="0">
                <a:pos x="connsiteX33242" y="connsiteY33242"/>
              </a:cxn>
              <a:cxn ang="0">
                <a:pos x="connsiteX33243" y="connsiteY33243"/>
              </a:cxn>
              <a:cxn ang="0">
                <a:pos x="connsiteX33244" y="connsiteY33244"/>
              </a:cxn>
              <a:cxn ang="0">
                <a:pos x="connsiteX33245" y="connsiteY33245"/>
              </a:cxn>
              <a:cxn ang="0">
                <a:pos x="connsiteX33246" y="connsiteY33246"/>
              </a:cxn>
              <a:cxn ang="0">
                <a:pos x="connsiteX33247" y="connsiteY33247"/>
              </a:cxn>
              <a:cxn ang="0">
                <a:pos x="connsiteX33248" y="connsiteY33248"/>
              </a:cxn>
              <a:cxn ang="0">
                <a:pos x="connsiteX33249" y="connsiteY33249"/>
              </a:cxn>
              <a:cxn ang="0">
                <a:pos x="connsiteX33250" y="connsiteY33250"/>
              </a:cxn>
              <a:cxn ang="0">
                <a:pos x="connsiteX33251" y="connsiteY33251"/>
              </a:cxn>
              <a:cxn ang="0">
                <a:pos x="connsiteX33252" y="connsiteY33252"/>
              </a:cxn>
              <a:cxn ang="0">
                <a:pos x="connsiteX33253" y="connsiteY33253"/>
              </a:cxn>
              <a:cxn ang="0">
                <a:pos x="connsiteX33254" y="connsiteY33254"/>
              </a:cxn>
              <a:cxn ang="0">
                <a:pos x="connsiteX33255" y="connsiteY33255"/>
              </a:cxn>
              <a:cxn ang="0">
                <a:pos x="connsiteX33256" y="connsiteY33256"/>
              </a:cxn>
              <a:cxn ang="0">
                <a:pos x="connsiteX33257" y="connsiteY33257"/>
              </a:cxn>
              <a:cxn ang="0">
                <a:pos x="connsiteX33258" y="connsiteY33258"/>
              </a:cxn>
              <a:cxn ang="0">
                <a:pos x="connsiteX33259" y="connsiteY33259"/>
              </a:cxn>
              <a:cxn ang="0">
                <a:pos x="connsiteX33260" y="connsiteY33260"/>
              </a:cxn>
              <a:cxn ang="0">
                <a:pos x="connsiteX33261" y="connsiteY33261"/>
              </a:cxn>
              <a:cxn ang="0">
                <a:pos x="connsiteX33262" y="connsiteY33262"/>
              </a:cxn>
              <a:cxn ang="0">
                <a:pos x="connsiteX33263" y="connsiteY33263"/>
              </a:cxn>
              <a:cxn ang="0">
                <a:pos x="connsiteX33264" y="connsiteY33264"/>
              </a:cxn>
              <a:cxn ang="0">
                <a:pos x="connsiteX33265" y="connsiteY33265"/>
              </a:cxn>
              <a:cxn ang="0">
                <a:pos x="connsiteX33266" y="connsiteY33266"/>
              </a:cxn>
              <a:cxn ang="0">
                <a:pos x="connsiteX33267" y="connsiteY33267"/>
              </a:cxn>
              <a:cxn ang="0">
                <a:pos x="connsiteX33268" y="connsiteY33268"/>
              </a:cxn>
              <a:cxn ang="0">
                <a:pos x="connsiteX33269" y="connsiteY33269"/>
              </a:cxn>
              <a:cxn ang="0">
                <a:pos x="connsiteX33270" y="connsiteY33270"/>
              </a:cxn>
              <a:cxn ang="0">
                <a:pos x="connsiteX33271" y="connsiteY33271"/>
              </a:cxn>
              <a:cxn ang="0">
                <a:pos x="connsiteX33272" y="connsiteY33272"/>
              </a:cxn>
              <a:cxn ang="0">
                <a:pos x="connsiteX33273" y="connsiteY33273"/>
              </a:cxn>
              <a:cxn ang="0">
                <a:pos x="connsiteX33274" y="connsiteY33274"/>
              </a:cxn>
              <a:cxn ang="0">
                <a:pos x="connsiteX33275" y="connsiteY33275"/>
              </a:cxn>
              <a:cxn ang="0">
                <a:pos x="connsiteX33276" y="connsiteY33276"/>
              </a:cxn>
              <a:cxn ang="0">
                <a:pos x="connsiteX33277" y="connsiteY33277"/>
              </a:cxn>
              <a:cxn ang="0">
                <a:pos x="connsiteX33278" y="connsiteY33278"/>
              </a:cxn>
              <a:cxn ang="0">
                <a:pos x="connsiteX33279" y="connsiteY33279"/>
              </a:cxn>
              <a:cxn ang="0">
                <a:pos x="connsiteX33280" y="connsiteY33280"/>
              </a:cxn>
              <a:cxn ang="0">
                <a:pos x="connsiteX33281" y="connsiteY33281"/>
              </a:cxn>
              <a:cxn ang="0">
                <a:pos x="connsiteX33282" y="connsiteY33282"/>
              </a:cxn>
              <a:cxn ang="0">
                <a:pos x="connsiteX33283" y="connsiteY33283"/>
              </a:cxn>
              <a:cxn ang="0">
                <a:pos x="connsiteX33284" y="connsiteY33284"/>
              </a:cxn>
              <a:cxn ang="0">
                <a:pos x="connsiteX33285" y="connsiteY33285"/>
              </a:cxn>
              <a:cxn ang="0">
                <a:pos x="connsiteX33286" y="connsiteY33286"/>
              </a:cxn>
              <a:cxn ang="0">
                <a:pos x="connsiteX33287" y="connsiteY33287"/>
              </a:cxn>
              <a:cxn ang="0">
                <a:pos x="connsiteX33288" y="connsiteY33288"/>
              </a:cxn>
              <a:cxn ang="0">
                <a:pos x="connsiteX33289" y="connsiteY33289"/>
              </a:cxn>
              <a:cxn ang="0">
                <a:pos x="connsiteX33290" y="connsiteY33290"/>
              </a:cxn>
              <a:cxn ang="0">
                <a:pos x="connsiteX33291" y="connsiteY33291"/>
              </a:cxn>
              <a:cxn ang="0">
                <a:pos x="connsiteX33292" y="connsiteY33292"/>
              </a:cxn>
              <a:cxn ang="0">
                <a:pos x="connsiteX33293" y="connsiteY33293"/>
              </a:cxn>
              <a:cxn ang="0">
                <a:pos x="connsiteX33294" y="connsiteY33294"/>
              </a:cxn>
              <a:cxn ang="0">
                <a:pos x="connsiteX33295" y="connsiteY33295"/>
              </a:cxn>
              <a:cxn ang="0">
                <a:pos x="connsiteX33296" y="connsiteY33296"/>
              </a:cxn>
              <a:cxn ang="0">
                <a:pos x="connsiteX33297" y="connsiteY33297"/>
              </a:cxn>
              <a:cxn ang="0">
                <a:pos x="connsiteX33298" y="connsiteY33298"/>
              </a:cxn>
              <a:cxn ang="0">
                <a:pos x="connsiteX33299" y="connsiteY33299"/>
              </a:cxn>
              <a:cxn ang="0">
                <a:pos x="connsiteX33300" y="connsiteY33300"/>
              </a:cxn>
              <a:cxn ang="0">
                <a:pos x="connsiteX33301" y="connsiteY33301"/>
              </a:cxn>
              <a:cxn ang="0">
                <a:pos x="connsiteX33302" y="connsiteY33302"/>
              </a:cxn>
              <a:cxn ang="0">
                <a:pos x="connsiteX33303" y="connsiteY33303"/>
              </a:cxn>
              <a:cxn ang="0">
                <a:pos x="connsiteX33304" y="connsiteY33304"/>
              </a:cxn>
              <a:cxn ang="0">
                <a:pos x="connsiteX33305" y="connsiteY33305"/>
              </a:cxn>
              <a:cxn ang="0">
                <a:pos x="connsiteX33306" y="connsiteY33306"/>
              </a:cxn>
              <a:cxn ang="0">
                <a:pos x="connsiteX33307" y="connsiteY33307"/>
              </a:cxn>
              <a:cxn ang="0">
                <a:pos x="connsiteX33308" y="connsiteY33308"/>
              </a:cxn>
              <a:cxn ang="0">
                <a:pos x="connsiteX33309" y="connsiteY33309"/>
              </a:cxn>
              <a:cxn ang="0">
                <a:pos x="connsiteX33310" y="connsiteY33310"/>
              </a:cxn>
              <a:cxn ang="0">
                <a:pos x="connsiteX33311" y="connsiteY33311"/>
              </a:cxn>
              <a:cxn ang="0">
                <a:pos x="connsiteX33312" y="connsiteY33312"/>
              </a:cxn>
              <a:cxn ang="0">
                <a:pos x="connsiteX33313" y="connsiteY33313"/>
              </a:cxn>
              <a:cxn ang="0">
                <a:pos x="connsiteX33314" y="connsiteY33314"/>
              </a:cxn>
              <a:cxn ang="0">
                <a:pos x="connsiteX33315" y="connsiteY33315"/>
              </a:cxn>
              <a:cxn ang="0">
                <a:pos x="connsiteX33316" y="connsiteY33316"/>
              </a:cxn>
              <a:cxn ang="0">
                <a:pos x="connsiteX33317" y="connsiteY33317"/>
              </a:cxn>
              <a:cxn ang="0">
                <a:pos x="connsiteX33318" y="connsiteY33318"/>
              </a:cxn>
              <a:cxn ang="0">
                <a:pos x="connsiteX33319" y="connsiteY33319"/>
              </a:cxn>
              <a:cxn ang="0">
                <a:pos x="connsiteX33320" y="connsiteY33320"/>
              </a:cxn>
              <a:cxn ang="0">
                <a:pos x="connsiteX33321" y="connsiteY33321"/>
              </a:cxn>
              <a:cxn ang="0">
                <a:pos x="connsiteX33322" y="connsiteY33322"/>
              </a:cxn>
              <a:cxn ang="0">
                <a:pos x="connsiteX33323" y="connsiteY33323"/>
              </a:cxn>
              <a:cxn ang="0">
                <a:pos x="connsiteX33324" y="connsiteY33324"/>
              </a:cxn>
              <a:cxn ang="0">
                <a:pos x="connsiteX33325" y="connsiteY33325"/>
              </a:cxn>
              <a:cxn ang="0">
                <a:pos x="connsiteX33326" y="connsiteY33326"/>
              </a:cxn>
              <a:cxn ang="0">
                <a:pos x="connsiteX33327" y="connsiteY33327"/>
              </a:cxn>
              <a:cxn ang="0">
                <a:pos x="connsiteX33328" y="connsiteY33328"/>
              </a:cxn>
              <a:cxn ang="0">
                <a:pos x="connsiteX33329" y="connsiteY33329"/>
              </a:cxn>
              <a:cxn ang="0">
                <a:pos x="connsiteX33330" y="connsiteY33330"/>
              </a:cxn>
              <a:cxn ang="0">
                <a:pos x="connsiteX33331" y="connsiteY33331"/>
              </a:cxn>
              <a:cxn ang="0">
                <a:pos x="connsiteX33332" y="connsiteY33332"/>
              </a:cxn>
              <a:cxn ang="0">
                <a:pos x="connsiteX33333" y="connsiteY33333"/>
              </a:cxn>
              <a:cxn ang="0">
                <a:pos x="connsiteX33334" y="connsiteY33334"/>
              </a:cxn>
              <a:cxn ang="0">
                <a:pos x="connsiteX33335" y="connsiteY33335"/>
              </a:cxn>
              <a:cxn ang="0">
                <a:pos x="connsiteX33336" y="connsiteY33336"/>
              </a:cxn>
              <a:cxn ang="0">
                <a:pos x="connsiteX33337" y="connsiteY33337"/>
              </a:cxn>
              <a:cxn ang="0">
                <a:pos x="connsiteX33338" y="connsiteY33338"/>
              </a:cxn>
              <a:cxn ang="0">
                <a:pos x="connsiteX33339" y="connsiteY33339"/>
              </a:cxn>
              <a:cxn ang="0">
                <a:pos x="connsiteX33340" y="connsiteY33340"/>
              </a:cxn>
              <a:cxn ang="0">
                <a:pos x="connsiteX33341" y="connsiteY33341"/>
              </a:cxn>
              <a:cxn ang="0">
                <a:pos x="connsiteX33342" y="connsiteY33342"/>
              </a:cxn>
              <a:cxn ang="0">
                <a:pos x="connsiteX33343" y="connsiteY33343"/>
              </a:cxn>
              <a:cxn ang="0">
                <a:pos x="connsiteX33344" y="connsiteY33344"/>
              </a:cxn>
              <a:cxn ang="0">
                <a:pos x="connsiteX33345" y="connsiteY33345"/>
              </a:cxn>
              <a:cxn ang="0">
                <a:pos x="connsiteX33346" y="connsiteY33346"/>
              </a:cxn>
              <a:cxn ang="0">
                <a:pos x="connsiteX33347" y="connsiteY33347"/>
              </a:cxn>
              <a:cxn ang="0">
                <a:pos x="connsiteX33348" y="connsiteY33348"/>
              </a:cxn>
              <a:cxn ang="0">
                <a:pos x="connsiteX33349" y="connsiteY33349"/>
              </a:cxn>
              <a:cxn ang="0">
                <a:pos x="connsiteX33350" y="connsiteY33350"/>
              </a:cxn>
              <a:cxn ang="0">
                <a:pos x="connsiteX33351" y="connsiteY33351"/>
              </a:cxn>
              <a:cxn ang="0">
                <a:pos x="connsiteX33352" y="connsiteY33352"/>
              </a:cxn>
              <a:cxn ang="0">
                <a:pos x="connsiteX33353" y="connsiteY33353"/>
              </a:cxn>
              <a:cxn ang="0">
                <a:pos x="connsiteX33354" y="connsiteY33354"/>
              </a:cxn>
              <a:cxn ang="0">
                <a:pos x="connsiteX33355" y="connsiteY33355"/>
              </a:cxn>
              <a:cxn ang="0">
                <a:pos x="connsiteX33356" y="connsiteY33356"/>
              </a:cxn>
              <a:cxn ang="0">
                <a:pos x="connsiteX33357" y="connsiteY33357"/>
              </a:cxn>
              <a:cxn ang="0">
                <a:pos x="connsiteX33358" y="connsiteY33358"/>
              </a:cxn>
              <a:cxn ang="0">
                <a:pos x="connsiteX33359" y="connsiteY33359"/>
              </a:cxn>
              <a:cxn ang="0">
                <a:pos x="connsiteX33360" y="connsiteY33360"/>
              </a:cxn>
              <a:cxn ang="0">
                <a:pos x="connsiteX33361" y="connsiteY33361"/>
              </a:cxn>
              <a:cxn ang="0">
                <a:pos x="connsiteX33362" y="connsiteY33362"/>
              </a:cxn>
              <a:cxn ang="0">
                <a:pos x="connsiteX33363" y="connsiteY33363"/>
              </a:cxn>
              <a:cxn ang="0">
                <a:pos x="connsiteX33364" y="connsiteY33364"/>
              </a:cxn>
              <a:cxn ang="0">
                <a:pos x="connsiteX33365" y="connsiteY33365"/>
              </a:cxn>
              <a:cxn ang="0">
                <a:pos x="connsiteX33366" y="connsiteY33366"/>
              </a:cxn>
              <a:cxn ang="0">
                <a:pos x="connsiteX33367" y="connsiteY33367"/>
              </a:cxn>
              <a:cxn ang="0">
                <a:pos x="connsiteX33368" y="connsiteY33368"/>
              </a:cxn>
              <a:cxn ang="0">
                <a:pos x="connsiteX33369" y="connsiteY33369"/>
              </a:cxn>
              <a:cxn ang="0">
                <a:pos x="connsiteX33370" y="connsiteY33370"/>
              </a:cxn>
              <a:cxn ang="0">
                <a:pos x="connsiteX33371" y="connsiteY33371"/>
              </a:cxn>
              <a:cxn ang="0">
                <a:pos x="connsiteX33372" y="connsiteY33372"/>
              </a:cxn>
              <a:cxn ang="0">
                <a:pos x="connsiteX33373" y="connsiteY33373"/>
              </a:cxn>
              <a:cxn ang="0">
                <a:pos x="connsiteX33374" y="connsiteY33374"/>
              </a:cxn>
              <a:cxn ang="0">
                <a:pos x="connsiteX33375" y="connsiteY33375"/>
              </a:cxn>
              <a:cxn ang="0">
                <a:pos x="connsiteX33376" y="connsiteY33376"/>
              </a:cxn>
              <a:cxn ang="0">
                <a:pos x="connsiteX33377" y="connsiteY33377"/>
              </a:cxn>
              <a:cxn ang="0">
                <a:pos x="connsiteX33378" y="connsiteY33378"/>
              </a:cxn>
              <a:cxn ang="0">
                <a:pos x="connsiteX33379" y="connsiteY33379"/>
              </a:cxn>
              <a:cxn ang="0">
                <a:pos x="connsiteX33380" y="connsiteY33380"/>
              </a:cxn>
              <a:cxn ang="0">
                <a:pos x="connsiteX33381" y="connsiteY33381"/>
              </a:cxn>
              <a:cxn ang="0">
                <a:pos x="connsiteX33382" y="connsiteY33382"/>
              </a:cxn>
              <a:cxn ang="0">
                <a:pos x="connsiteX33383" y="connsiteY33383"/>
              </a:cxn>
              <a:cxn ang="0">
                <a:pos x="connsiteX33384" y="connsiteY33384"/>
              </a:cxn>
              <a:cxn ang="0">
                <a:pos x="connsiteX33385" y="connsiteY33385"/>
              </a:cxn>
              <a:cxn ang="0">
                <a:pos x="connsiteX33386" y="connsiteY33386"/>
              </a:cxn>
              <a:cxn ang="0">
                <a:pos x="connsiteX33387" y="connsiteY33387"/>
              </a:cxn>
              <a:cxn ang="0">
                <a:pos x="connsiteX33388" y="connsiteY33388"/>
              </a:cxn>
              <a:cxn ang="0">
                <a:pos x="connsiteX33389" y="connsiteY33389"/>
              </a:cxn>
              <a:cxn ang="0">
                <a:pos x="connsiteX33390" y="connsiteY33390"/>
              </a:cxn>
              <a:cxn ang="0">
                <a:pos x="connsiteX33391" y="connsiteY33391"/>
              </a:cxn>
              <a:cxn ang="0">
                <a:pos x="connsiteX33392" y="connsiteY33392"/>
              </a:cxn>
              <a:cxn ang="0">
                <a:pos x="connsiteX33393" y="connsiteY33393"/>
              </a:cxn>
              <a:cxn ang="0">
                <a:pos x="connsiteX33394" y="connsiteY33394"/>
              </a:cxn>
              <a:cxn ang="0">
                <a:pos x="connsiteX33395" y="connsiteY33395"/>
              </a:cxn>
              <a:cxn ang="0">
                <a:pos x="connsiteX33396" y="connsiteY33396"/>
              </a:cxn>
              <a:cxn ang="0">
                <a:pos x="connsiteX33397" y="connsiteY33397"/>
              </a:cxn>
              <a:cxn ang="0">
                <a:pos x="connsiteX33398" y="connsiteY33398"/>
              </a:cxn>
              <a:cxn ang="0">
                <a:pos x="connsiteX33399" y="connsiteY33399"/>
              </a:cxn>
              <a:cxn ang="0">
                <a:pos x="connsiteX33400" y="connsiteY33400"/>
              </a:cxn>
              <a:cxn ang="0">
                <a:pos x="connsiteX33401" y="connsiteY33401"/>
              </a:cxn>
              <a:cxn ang="0">
                <a:pos x="connsiteX33402" y="connsiteY33402"/>
              </a:cxn>
              <a:cxn ang="0">
                <a:pos x="connsiteX33403" y="connsiteY33403"/>
              </a:cxn>
              <a:cxn ang="0">
                <a:pos x="connsiteX33404" y="connsiteY33404"/>
              </a:cxn>
              <a:cxn ang="0">
                <a:pos x="connsiteX33405" y="connsiteY33405"/>
              </a:cxn>
              <a:cxn ang="0">
                <a:pos x="connsiteX33406" y="connsiteY33406"/>
              </a:cxn>
              <a:cxn ang="0">
                <a:pos x="connsiteX33407" y="connsiteY33407"/>
              </a:cxn>
              <a:cxn ang="0">
                <a:pos x="connsiteX33408" y="connsiteY33408"/>
              </a:cxn>
              <a:cxn ang="0">
                <a:pos x="connsiteX33409" y="connsiteY33409"/>
              </a:cxn>
              <a:cxn ang="0">
                <a:pos x="connsiteX33410" y="connsiteY33410"/>
              </a:cxn>
              <a:cxn ang="0">
                <a:pos x="connsiteX33411" y="connsiteY33411"/>
              </a:cxn>
              <a:cxn ang="0">
                <a:pos x="connsiteX33412" y="connsiteY33412"/>
              </a:cxn>
              <a:cxn ang="0">
                <a:pos x="connsiteX33413" y="connsiteY33413"/>
              </a:cxn>
              <a:cxn ang="0">
                <a:pos x="connsiteX33414" y="connsiteY33414"/>
              </a:cxn>
              <a:cxn ang="0">
                <a:pos x="connsiteX33415" y="connsiteY33415"/>
              </a:cxn>
              <a:cxn ang="0">
                <a:pos x="connsiteX33416" y="connsiteY33416"/>
              </a:cxn>
              <a:cxn ang="0">
                <a:pos x="connsiteX33417" y="connsiteY33417"/>
              </a:cxn>
              <a:cxn ang="0">
                <a:pos x="connsiteX33418" y="connsiteY33418"/>
              </a:cxn>
              <a:cxn ang="0">
                <a:pos x="connsiteX33419" y="connsiteY33419"/>
              </a:cxn>
              <a:cxn ang="0">
                <a:pos x="connsiteX33420" y="connsiteY33420"/>
              </a:cxn>
              <a:cxn ang="0">
                <a:pos x="connsiteX33421" y="connsiteY33421"/>
              </a:cxn>
              <a:cxn ang="0">
                <a:pos x="connsiteX33422" y="connsiteY33422"/>
              </a:cxn>
              <a:cxn ang="0">
                <a:pos x="connsiteX33423" y="connsiteY33423"/>
              </a:cxn>
              <a:cxn ang="0">
                <a:pos x="connsiteX33424" y="connsiteY33424"/>
              </a:cxn>
              <a:cxn ang="0">
                <a:pos x="connsiteX33425" y="connsiteY33425"/>
              </a:cxn>
              <a:cxn ang="0">
                <a:pos x="connsiteX33426" y="connsiteY33426"/>
              </a:cxn>
              <a:cxn ang="0">
                <a:pos x="connsiteX33427" y="connsiteY33427"/>
              </a:cxn>
              <a:cxn ang="0">
                <a:pos x="connsiteX33428" y="connsiteY33428"/>
              </a:cxn>
              <a:cxn ang="0">
                <a:pos x="connsiteX33429" y="connsiteY33429"/>
              </a:cxn>
              <a:cxn ang="0">
                <a:pos x="connsiteX33430" y="connsiteY33430"/>
              </a:cxn>
              <a:cxn ang="0">
                <a:pos x="connsiteX33431" y="connsiteY33431"/>
              </a:cxn>
              <a:cxn ang="0">
                <a:pos x="connsiteX33432" y="connsiteY33432"/>
              </a:cxn>
              <a:cxn ang="0">
                <a:pos x="connsiteX33433" y="connsiteY33433"/>
              </a:cxn>
              <a:cxn ang="0">
                <a:pos x="connsiteX33434" y="connsiteY33434"/>
              </a:cxn>
              <a:cxn ang="0">
                <a:pos x="connsiteX33435" y="connsiteY33435"/>
              </a:cxn>
              <a:cxn ang="0">
                <a:pos x="connsiteX33436" y="connsiteY33436"/>
              </a:cxn>
              <a:cxn ang="0">
                <a:pos x="connsiteX33437" y="connsiteY33437"/>
              </a:cxn>
              <a:cxn ang="0">
                <a:pos x="connsiteX33438" y="connsiteY33438"/>
              </a:cxn>
              <a:cxn ang="0">
                <a:pos x="connsiteX33439" y="connsiteY33439"/>
              </a:cxn>
              <a:cxn ang="0">
                <a:pos x="connsiteX33440" y="connsiteY33440"/>
              </a:cxn>
              <a:cxn ang="0">
                <a:pos x="connsiteX33441" y="connsiteY33441"/>
              </a:cxn>
              <a:cxn ang="0">
                <a:pos x="connsiteX33442" y="connsiteY33442"/>
              </a:cxn>
              <a:cxn ang="0">
                <a:pos x="connsiteX33443" y="connsiteY33443"/>
              </a:cxn>
              <a:cxn ang="0">
                <a:pos x="connsiteX33444" y="connsiteY33444"/>
              </a:cxn>
              <a:cxn ang="0">
                <a:pos x="connsiteX33445" y="connsiteY33445"/>
              </a:cxn>
              <a:cxn ang="0">
                <a:pos x="connsiteX33446" y="connsiteY33446"/>
              </a:cxn>
              <a:cxn ang="0">
                <a:pos x="connsiteX33447" y="connsiteY33447"/>
              </a:cxn>
              <a:cxn ang="0">
                <a:pos x="connsiteX33448" y="connsiteY33448"/>
              </a:cxn>
              <a:cxn ang="0">
                <a:pos x="connsiteX33449" y="connsiteY33449"/>
              </a:cxn>
              <a:cxn ang="0">
                <a:pos x="connsiteX33450" y="connsiteY33450"/>
              </a:cxn>
              <a:cxn ang="0">
                <a:pos x="connsiteX33451" y="connsiteY33451"/>
              </a:cxn>
              <a:cxn ang="0">
                <a:pos x="connsiteX33452" y="connsiteY33452"/>
              </a:cxn>
              <a:cxn ang="0">
                <a:pos x="connsiteX33453" y="connsiteY33453"/>
              </a:cxn>
              <a:cxn ang="0">
                <a:pos x="connsiteX33454" y="connsiteY33454"/>
              </a:cxn>
              <a:cxn ang="0">
                <a:pos x="connsiteX33455" y="connsiteY33455"/>
              </a:cxn>
              <a:cxn ang="0">
                <a:pos x="connsiteX33456" y="connsiteY33456"/>
              </a:cxn>
              <a:cxn ang="0">
                <a:pos x="connsiteX33457" y="connsiteY33457"/>
              </a:cxn>
              <a:cxn ang="0">
                <a:pos x="connsiteX33458" y="connsiteY33458"/>
              </a:cxn>
              <a:cxn ang="0">
                <a:pos x="connsiteX33459" y="connsiteY33459"/>
              </a:cxn>
              <a:cxn ang="0">
                <a:pos x="connsiteX33460" y="connsiteY33460"/>
              </a:cxn>
              <a:cxn ang="0">
                <a:pos x="connsiteX33461" y="connsiteY33461"/>
              </a:cxn>
              <a:cxn ang="0">
                <a:pos x="connsiteX33462" y="connsiteY33462"/>
              </a:cxn>
              <a:cxn ang="0">
                <a:pos x="connsiteX33463" y="connsiteY33463"/>
              </a:cxn>
              <a:cxn ang="0">
                <a:pos x="connsiteX33464" y="connsiteY33464"/>
              </a:cxn>
              <a:cxn ang="0">
                <a:pos x="connsiteX33465" y="connsiteY33465"/>
              </a:cxn>
              <a:cxn ang="0">
                <a:pos x="connsiteX33466" y="connsiteY33466"/>
              </a:cxn>
              <a:cxn ang="0">
                <a:pos x="connsiteX33467" y="connsiteY33467"/>
              </a:cxn>
              <a:cxn ang="0">
                <a:pos x="connsiteX33468" y="connsiteY33468"/>
              </a:cxn>
              <a:cxn ang="0">
                <a:pos x="connsiteX33469" y="connsiteY33469"/>
              </a:cxn>
              <a:cxn ang="0">
                <a:pos x="connsiteX33470" y="connsiteY33470"/>
              </a:cxn>
              <a:cxn ang="0">
                <a:pos x="connsiteX33471" y="connsiteY33471"/>
              </a:cxn>
              <a:cxn ang="0">
                <a:pos x="connsiteX33472" y="connsiteY33472"/>
              </a:cxn>
              <a:cxn ang="0">
                <a:pos x="connsiteX33473" y="connsiteY33473"/>
              </a:cxn>
              <a:cxn ang="0">
                <a:pos x="connsiteX33474" y="connsiteY33474"/>
              </a:cxn>
              <a:cxn ang="0">
                <a:pos x="connsiteX33475" y="connsiteY33475"/>
              </a:cxn>
              <a:cxn ang="0">
                <a:pos x="connsiteX33476" y="connsiteY33476"/>
              </a:cxn>
              <a:cxn ang="0">
                <a:pos x="connsiteX33477" y="connsiteY33477"/>
              </a:cxn>
              <a:cxn ang="0">
                <a:pos x="connsiteX33478" y="connsiteY33478"/>
              </a:cxn>
              <a:cxn ang="0">
                <a:pos x="connsiteX33479" y="connsiteY33479"/>
              </a:cxn>
              <a:cxn ang="0">
                <a:pos x="connsiteX33480" y="connsiteY33480"/>
              </a:cxn>
              <a:cxn ang="0">
                <a:pos x="connsiteX33481" y="connsiteY33481"/>
              </a:cxn>
              <a:cxn ang="0">
                <a:pos x="connsiteX33482" y="connsiteY33482"/>
              </a:cxn>
              <a:cxn ang="0">
                <a:pos x="connsiteX33483" y="connsiteY33483"/>
              </a:cxn>
              <a:cxn ang="0">
                <a:pos x="connsiteX33484" y="connsiteY33484"/>
              </a:cxn>
              <a:cxn ang="0">
                <a:pos x="connsiteX33485" y="connsiteY33485"/>
              </a:cxn>
              <a:cxn ang="0">
                <a:pos x="connsiteX33486" y="connsiteY33486"/>
              </a:cxn>
              <a:cxn ang="0">
                <a:pos x="connsiteX33487" y="connsiteY33487"/>
              </a:cxn>
              <a:cxn ang="0">
                <a:pos x="connsiteX33488" y="connsiteY33488"/>
              </a:cxn>
              <a:cxn ang="0">
                <a:pos x="connsiteX33489" y="connsiteY33489"/>
              </a:cxn>
              <a:cxn ang="0">
                <a:pos x="connsiteX33490" y="connsiteY33490"/>
              </a:cxn>
              <a:cxn ang="0">
                <a:pos x="connsiteX33491" y="connsiteY33491"/>
              </a:cxn>
              <a:cxn ang="0">
                <a:pos x="connsiteX33492" y="connsiteY33492"/>
              </a:cxn>
              <a:cxn ang="0">
                <a:pos x="connsiteX33493" y="connsiteY33493"/>
              </a:cxn>
              <a:cxn ang="0">
                <a:pos x="connsiteX33494" y="connsiteY33494"/>
              </a:cxn>
              <a:cxn ang="0">
                <a:pos x="connsiteX33495" y="connsiteY33495"/>
              </a:cxn>
              <a:cxn ang="0">
                <a:pos x="connsiteX33496" y="connsiteY33496"/>
              </a:cxn>
              <a:cxn ang="0">
                <a:pos x="connsiteX33497" y="connsiteY33497"/>
              </a:cxn>
              <a:cxn ang="0">
                <a:pos x="connsiteX33498" y="connsiteY33498"/>
              </a:cxn>
              <a:cxn ang="0">
                <a:pos x="connsiteX33499" y="connsiteY33499"/>
              </a:cxn>
              <a:cxn ang="0">
                <a:pos x="connsiteX33500" y="connsiteY33500"/>
              </a:cxn>
              <a:cxn ang="0">
                <a:pos x="connsiteX33501" y="connsiteY33501"/>
              </a:cxn>
              <a:cxn ang="0">
                <a:pos x="connsiteX33502" y="connsiteY33502"/>
              </a:cxn>
              <a:cxn ang="0">
                <a:pos x="connsiteX33503" y="connsiteY33503"/>
              </a:cxn>
              <a:cxn ang="0">
                <a:pos x="connsiteX33504" y="connsiteY33504"/>
              </a:cxn>
              <a:cxn ang="0">
                <a:pos x="connsiteX33505" y="connsiteY33505"/>
              </a:cxn>
              <a:cxn ang="0">
                <a:pos x="connsiteX33506" y="connsiteY33506"/>
              </a:cxn>
              <a:cxn ang="0">
                <a:pos x="connsiteX33507" y="connsiteY33507"/>
              </a:cxn>
              <a:cxn ang="0">
                <a:pos x="connsiteX33508" y="connsiteY33508"/>
              </a:cxn>
              <a:cxn ang="0">
                <a:pos x="connsiteX33509" y="connsiteY33509"/>
              </a:cxn>
              <a:cxn ang="0">
                <a:pos x="connsiteX33510" y="connsiteY33510"/>
              </a:cxn>
              <a:cxn ang="0">
                <a:pos x="connsiteX33511" y="connsiteY33511"/>
              </a:cxn>
              <a:cxn ang="0">
                <a:pos x="connsiteX33512" y="connsiteY33512"/>
              </a:cxn>
              <a:cxn ang="0">
                <a:pos x="connsiteX33513" y="connsiteY33513"/>
              </a:cxn>
              <a:cxn ang="0">
                <a:pos x="connsiteX33514" y="connsiteY33514"/>
              </a:cxn>
              <a:cxn ang="0">
                <a:pos x="connsiteX33515" y="connsiteY33515"/>
              </a:cxn>
              <a:cxn ang="0">
                <a:pos x="connsiteX33516" y="connsiteY33516"/>
              </a:cxn>
              <a:cxn ang="0">
                <a:pos x="connsiteX33517" y="connsiteY33517"/>
              </a:cxn>
              <a:cxn ang="0">
                <a:pos x="connsiteX33518" y="connsiteY33518"/>
              </a:cxn>
              <a:cxn ang="0">
                <a:pos x="connsiteX33519" y="connsiteY33519"/>
              </a:cxn>
              <a:cxn ang="0">
                <a:pos x="connsiteX33520" y="connsiteY33520"/>
              </a:cxn>
              <a:cxn ang="0">
                <a:pos x="connsiteX33521" y="connsiteY33521"/>
              </a:cxn>
              <a:cxn ang="0">
                <a:pos x="connsiteX33522" y="connsiteY33522"/>
              </a:cxn>
              <a:cxn ang="0">
                <a:pos x="connsiteX33523" y="connsiteY33523"/>
              </a:cxn>
              <a:cxn ang="0">
                <a:pos x="connsiteX33524" y="connsiteY33524"/>
              </a:cxn>
              <a:cxn ang="0">
                <a:pos x="connsiteX33525" y="connsiteY33525"/>
              </a:cxn>
              <a:cxn ang="0">
                <a:pos x="connsiteX33526" y="connsiteY33526"/>
              </a:cxn>
              <a:cxn ang="0">
                <a:pos x="connsiteX33527" y="connsiteY33527"/>
              </a:cxn>
              <a:cxn ang="0">
                <a:pos x="connsiteX33528" y="connsiteY33528"/>
              </a:cxn>
              <a:cxn ang="0">
                <a:pos x="connsiteX33529" y="connsiteY33529"/>
              </a:cxn>
              <a:cxn ang="0">
                <a:pos x="connsiteX33530" y="connsiteY33530"/>
              </a:cxn>
              <a:cxn ang="0">
                <a:pos x="connsiteX33531" y="connsiteY33531"/>
              </a:cxn>
              <a:cxn ang="0">
                <a:pos x="connsiteX33532" y="connsiteY33532"/>
              </a:cxn>
              <a:cxn ang="0">
                <a:pos x="connsiteX33533" y="connsiteY33533"/>
              </a:cxn>
              <a:cxn ang="0">
                <a:pos x="connsiteX33534" y="connsiteY33534"/>
              </a:cxn>
              <a:cxn ang="0">
                <a:pos x="connsiteX33535" y="connsiteY33535"/>
              </a:cxn>
              <a:cxn ang="0">
                <a:pos x="connsiteX33536" y="connsiteY33536"/>
              </a:cxn>
              <a:cxn ang="0">
                <a:pos x="connsiteX33537" y="connsiteY33537"/>
              </a:cxn>
              <a:cxn ang="0">
                <a:pos x="connsiteX33538" y="connsiteY33538"/>
              </a:cxn>
              <a:cxn ang="0">
                <a:pos x="connsiteX33539" y="connsiteY33539"/>
              </a:cxn>
              <a:cxn ang="0">
                <a:pos x="connsiteX33540" y="connsiteY33540"/>
              </a:cxn>
              <a:cxn ang="0">
                <a:pos x="connsiteX33541" y="connsiteY33541"/>
              </a:cxn>
              <a:cxn ang="0">
                <a:pos x="connsiteX33542" y="connsiteY33542"/>
              </a:cxn>
              <a:cxn ang="0">
                <a:pos x="connsiteX33543" y="connsiteY33543"/>
              </a:cxn>
              <a:cxn ang="0">
                <a:pos x="connsiteX33544" y="connsiteY33544"/>
              </a:cxn>
              <a:cxn ang="0">
                <a:pos x="connsiteX33545" y="connsiteY33545"/>
              </a:cxn>
              <a:cxn ang="0">
                <a:pos x="connsiteX33546" y="connsiteY33546"/>
              </a:cxn>
              <a:cxn ang="0">
                <a:pos x="connsiteX33547" y="connsiteY33547"/>
              </a:cxn>
              <a:cxn ang="0">
                <a:pos x="connsiteX33548" y="connsiteY33548"/>
              </a:cxn>
              <a:cxn ang="0">
                <a:pos x="connsiteX33549" y="connsiteY33549"/>
              </a:cxn>
              <a:cxn ang="0">
                <a:pos x="connsiteX33550" y="connsiteY33550"/>
              </a:cxn>
              <a:cxn ang="0">
                <a:pos x="connsiteX33551" y="connsiteY33551"/>
              </a:cxn>
              <a:cxn ang="0">
                <a:pos x="connsiteX33552" y="connsiteY33552"/>
              </a:cxn>
              <a:cxn ang="0">
                <a:pos x="connsiteX33553" y="connsiteY33553"/>
              </a:cxn>
              <a:cxn ang="0">
                <a:pos x="connsiteX33554" y="connsiteY33554"/>
              </a:cxn>
              <a:cxn ang="0">
                <a:pos x="connsiteX33555" y="connsiteY33555"/>
              </a:cxn>
              <a:cxn ang="0">
                <a:pos x="connsiteX33556" y="connsiteY33556"/>
              </a:cxn>
              <a:cxn ang="0">
                <a:pos x="connsiteX33557" y="connsiteY33557"/>
              </a:cxn>
              <a:cxn ang="0">
                <a:pos x="connsiteX33558" y="connsiteY33558"/>
              </a:cxn>
              <a:cxn ang="0">
                <a:pos x="connsiteX33559" y="connsiteY33559"/>
              </a:cxn>
              <a:cxn ang="0">
                <a:pos x="connsiteX33560" y="connsiteY33560"/>
              </a:cxn>
              <a:cxn ang="0">
                <a:pos x="connsiteX33561" y="connsiteY33561"/>
              </a:cxn>
              <a:cxn ang="0">
                <a:pos x="connsiteX33562" y="connsiteY33562"/>
              </a:cxn>
              <a:cxn ang="0">
                <a:pos x="connsiteX33563" y="connsiteY33563"/>
              </a:cxn>
              <a:cxn ang="0">
                <a:pos x="connsiteX33564" y="connsiteY33564"/>
              </a:cxn>
              <a:cxn ang="0">
                <a:pos x="connsiteX33565" y="connsiteY33565"/>
              </a:cxn>
              <a:cxn ang="0">
                <a:pos x="connsiteX33566" y="connsiteY33566"/>
              </a:cxn>
              <a:cxn ang="0">
                <a:pos x="connsiteX33567" y="connsiteY33567"/>
              </a:cxn>
              <a:cxn ang="0">
                <a:pos x="connsiteX33568" y="connsiteY33568"/>
              </a:cxn>
              <a:cxn ang="0">
                <a:pos x="connsiteX33569" y="connsiteY33569"/>
              </a:cxn>
              <a:cxn ang="0">
                <a:pos x="connsiteX33570" y="connsiteY33570"/>
              </a:cxn>
              <a:cxn ang="0">
                <a:pos x="connsiteX33571" y="connsiteY33571"/>
              </a:cxn>
              <a:cxn ang="0">
                <a:pos x="connsiteX33572" y="connsiteY33572"/>
              </a:cxn>
              <a:cxn ang="0">
                <a:pos x="connsiteX33573" y="connsiteY33573"/>
              </a:cxn>
              <a:cxn ang="0">
                <a:pos x="connsiteX33574" y="connsiteY33574"/>
              </a:cxn>
              <a:cxn ang="0">
                <a:pos x="connsiteX33575" y="connsiteY33575"/>
              </a:cxn>
              <a:cxn ang="0">
                <a:pos x="connsiteX33576" y="connsiteY33576"/>
              </a:cxn>
              <a:cxn ang="0">
                <a:pos x="connsiteX33577" y="connsiteY33577"/>
              </a:cxn>
              <a:cxn ang="0">
                <a:pos x="connsiteX33578" y="connsiteY33578"/>
              </a:cxn>
              <a:cxn ang="0">
                <a:pos x="connsiteX33579" y="connsiteY33579"/>
              </a:cxn>
              <a:cxn ang="0">
                <a:pos x="connsiteX33580" y="connsiteY33580"/>
              </a:cxn>
              <a:cxn ang="0">
                <a:pos x="connsiteX33581" y="connsiteY33581"/>
              </a:cxn>
              <a:cxn ang="0">
                <a:pos x="connsiteX33582" y="connsiteY33582"/>
              </a:cxn>
              <a:cxn ang="0">
                <a:pos x="connsiteX33583" y="connsiteY33583"/>
              </a:cxn>
              <a:cxn ang="0">
                <a:pos x="connsiteX33584" y="connsiteY33584"/>
              </a:cxn>
              <a:cxn ang="0">
                <a:pos x="connsiteX33585" y="connsiteY33585"/>
              </a:cxn>
              <a:cxn ang="0">
                <a:pos x="connsiteX33586" y="connsiteY33586"/>
              </a:cxn>
              <a:cxn ang="0">
                <a:pos x="connsiteX33587" y="connsiteY33587"/>
              </a:cxn>
              <a:cxn ang="0">
                <a:pos x="connsiteX33588" y="connsiteY33588"/>
              </a:cxn>
              <a:cxn ang="0">
                <a:pos x="connsiteX33589" y="connsiteY33589"/>
              </a:cxn>
              <a:cxn ang="0">
                <a:pos x="connsiteX33590" y="connsiteY33590"/>
              </a:cxn>
              <a:cxn ang="0">
                <a:pos x="connsiteX33591" y="connsiteY33591"/>
              </a:cxn>
              <a:cxn ang="0">
                <a:pos x="connsiteX33592" y="connsiteY33592"/>
              </a:cxn>
              <a:cxn ang="0">
                <a:pos x="connsiteX33593" y="connsiteY33593"/>
              </a:cxn>
              <a:cxn ang="0">
                <a:pos x="connsiteX33594" y="connsiteY33594"/>
              </a:cxn>
              <a:cxn ang="0">
                <a:pos x="connsiteX33595" y="connsiteY33595"/>
              </a:cxn>
              <a:cxn ang="0">
                <a:pos x="connsiteX33596" y="connsiteY33596"/>
              </a:cxn>
              <a:cxn ang="0">
                <a:pos x="connsiteX33597" y="connsiteY33597"/>
              </a:cxn>
              <a:cxn ang="0">
                <a:pos x="connsiteX33598" y="connsiteY33598"/>
              </a:cxn>
              <a:cxn ang="0">
                <a:pos x="connsiteX33599" y="connsiteY33599"/>
              </a:cxn>
              <a:cxn ang="0">
                <a:pos x="connsiteX33600" y="connsiteY33600"/>
              </a:cxn>
              <a:cxn ang="0">
                <a:pos x="connsiteX33601" y="connsiteY33601"/>
              </a:cxn>
              <a:cxn ang="0">
                <a:pos x="connsiteX33602" y="connsiteY33602"/>
              </a:cxn>
              <a:cxn ang="0">
                <a:pos x="connsiteX33603" y="connsiteY33603"/>
              </a:cxn>
              <a:cxn ang="0">
                <a:pos x="connsiteX33604" y="connsiteY33604"/>
              </a:cxn>
              <a:cxn ang="0">
                <a:pos x="connsiteX33605" y="connsiteY33605"/>
              </a:cxn>
              <a:cxn ang="0">
                <a:pos x="connsiteX33606" y="connsiteY33606"/>
              </a:cxn>
              <a:cxn ang="0">
                <a:pos x="connsiteX33607" y="connsiteY33607"/>
              </a:cxn>
              <a:cxn ang="0">
                <a:pos x="connsiteX33608" y="connsiteY33608"/>
              </a:cxn>
              <a:cxn ang="0">
                <a:pos x="connsiteX33609" y="connsiteY33609"/>
              </a:cxn>
              <a:cxn ang="0">
                <a:pos x="connsiteX33610" y="connsiteY33610"/>
              </a:cxn>
              <a:cxn ang="0">
                <a:pos x="connsiteX33611" y="connsiteY33611"/>
              </a:cxn>
              <a:cxn ang="0">
                <a:pos x="connsiteX33612" y="connsiteY33612"/>
              </a:cxn>
              <a:cxn ang="0">
                <a:pos x="connsiteX33613" y="connsiteY33613"/>
              </a:cxn>
              <a:cxn ang="0">
                <a:pos x="connsiteX33614" y="connsiteY33614"/>
              </a:cxn>
              <a:cxn ang="0">
                <a:pos x="connsiteX33615" y="connsiteY33615"/>
              </a:cxn>
              <a:cxn ang="0">
                <a:pos x="connsiteX33616" y="connsiteY33616"/>
              </a:cxn>
              <a:cxn ang="0">
                <a:pos x="connsiteX33617" y="connsiteY33617"/>
              </a:cxn>
              <a:cxn ang="0">
                <a:pos x="connsiteX33618" y="connsiteY33618"/>
              </a:cxn>
              <a:cxn ang="0">
                <a:pos x="connsiteX33619" y="connsiteY33619"/>
              </a:cxn>
              <a:cxn ang="0">
                <a:pos x="connsiteX33620" y="connsiteY33620"/>
              </a:cxn>
              <a:cxn ang="0">
                <a:pos x="connsiteX33621" y="connsiteY33621"/>
              </a:cxn>
              <a:cxn ang="0">
                <a:pos x="connsiteX33622" y="connsiteY33622"/>
              </a:cxn>
              <a:cxn ang="0">
                <a:pos x="connsiteX33623" y="connsiteY33623"/>
              </a:cxn>
              <a:cxn ang="0">
                <a:pos x="connsiteX33624" y="connsiteY33624"/>
              </a:cxn>
              <a:cxn ang="0">
                <a:pos x="connsiteX33625" y="connsiteY33625"/>
              </a:cxn>
              <a:cxn ang="0">
                <a:pos x="connsiteX33626" y="connsiteY33626"/>
              </a:cxn>
              <a:cxn ang="0">
                <a:pos x="connsiteX33627" y="connsiteY33627"/>
              </a:cxn>
              <a:cxn ang="0">
                <a:pos x="connsiteX33628" y="connsiteY33628"/>
              </a:cxn>
              <a:cxn ang="0">
                <a:pos x="connsiteX33629" y="connsiteY33629"/>
              </a:cxn>
              <a:cxn ang="0">
                <a:pos x="connsiteX33630" y="connsiteY33630"/>
              </a:cxn>
              <a:cxn ang="0">
                <a:pos x="connsiteX33631" y="connsiteY33631"/>
              </a:cxn>
              <a:cxn ang="0">
                <a:pos x="connsiteX33632" y="connsiteY33632"/>
              </a:cxn>
              <a:cxn ang="0">
                <a:pos x="connsiteX33633" y="connsiteY33633"/>
              </a:cxn>
              <a:cxn ang="0">
                <a:pos x="connsiteX33634" y="connsiteY33634"/>
              </a:cxn>
              <a:cxn ang="0">
                <a:pos x="connsiteX33635" y="connsiteY33635"/>
              </a:cxn>
              <a:cxn ang="0">
                <a:pos x="connsiteX33636" y="connsiteY33636"/>
              </a:cxn>
              <a:cxn ang="0">
                <a:pos x="connsiteX33637" y="connsiteY33637"/>
              </a:cxn>
              <a:cxn ang="0">
                <a:pos x="connsiteX33638" y="connsiteY33638"/>
              </a:cxn>
              <a:cxn ang="0">
                <a:pos x="connsiteX33639" y="connsiteY33639"/>
              </a:cxn>
              <a:cxn ang="0">
                <a:pos x="connsiteX33640" y="connsiteY33640"/>
              </a:cxn>
              <a:cxn ang="0">
                <a:pos x="connsiteX33641" y="connsiteY33641"/>
              </a:cxn>
              <a:cxn ang="0">
                <a:pos x="connsiteX33642" y="connsiteY33642"/>
              </a:cxn>
              <a:cxn ang="0">
                <a:pos x="connsiteX33643" y="connsiteY33643"/>
              </a:cxn>
              <a:cxn ang="0">
                <a:pos x="connsiteX33644" y="connsiteY33644"/>
              </a:cxn>
              <a:cxn ang="0">
                <a:pos x="connsiteX33645" y="connsiteY33645"/>
              </a:cxn>
              <a:cxn ang="0">
                <a:pos x="connsiteX33646" y="connsiteY33646"/>
              </a:cxn>
              <a:cxn ang="0">
                <a:pos x="connsiteX33647" y="connsiteY33647"/>
              </a:cxn>
              <a:cxn ang="0">
                <a:pos x="connsiteX33648" y="connsiteY33648"/>
              </a:cxn>
              <a:cxn ang="0">
                <a:pos x="connsiteX33649" y="connsiteY33649"/>
              </a:cxn>
              <a:cxn ang="0">
                <a:pos x="connsiteX33650" y="connsiteY33650"/>
              </a:cxn>
              <a:cxn ang="0">
                <a:pos x="connsiteX33651" y="connsiteY33651"/>
              </a:cxn>
              <a:cxn ang="0">
                <a:pos x="connsiteX33652" y="connsiteY33652"/>
              </a:cxn>
              <a:cxn ang="0">
                <a:pos x="connsiteX33653" y="connsiteY33653"/>
              </a:cxn>
              <a:cxn ang="0">
                <a:pos x="connsiteX33654" y="connsiteY33654"/>
              </a:cxn>
              <a:cxn ang="0">
                <a:pos x="connsiteX33655" y="connsiteY33655"/>
              </a:cxn>
              <a:cxn ang="0">
                <a:pos x="connsiteX33656" y="connsiteY33656"/>
              </a:cxn>
              <a:cxn ang="0">
                <a:pos x="connsiteX33657" y="connsiteY33657"/>
              </a:cxn>
              <a:cxn ang="0">
                <a:pos x="connsiteX33658" y="connsiteY33658"/>
              </a:cxn>
              <a:cxn ang="0">
                <a:pos x="connsiteX33659" y="connsiteY33659"/>
              </a:cxn>
              <a:cxn ang="0">
                <a:pos x="connsiteX33660" y="connsiteY33660"/>
              </a:cxn>
              <a:cxn ang="0">
                <a:pos x="connsiteX33661" y="connsiteY33661"/>
              </a:cxn>
              <a:cxn ang="0">
                <a:pos x="connsiteX33662" y="connsiteY33662"/>
              </a:cxn>
              <a:cxn ang="0">
                <a:pos x="connsiteX33663" y="connsiteY33663"/>
              </a:cxn>
              <a:cxn ang="0">
                <a:pos x="connsiteX33664" y="connsiteY33664"/>
              </a:cxn>
              <a:cxn ang="0">
                <a:pos x="connsiteX33665" y="connsiteY33665"/>
              </a:cxn>
              <a:cxn ang="0">
                <a:pos x="connsiteX33666" y="connsiteY33666"/>
              </a:cxn>
              <a:cxn ang="0">
                <a:pos x="connsiteX33667" y="connsiteY33667"/>
              </a:cxn>
              <a:cxn ang="0">
                <a:pos x="connsiteX33668" y="connsiteY33668"/>
              </a:cxn>
              <a:cxn ang="0">
                <a:pos x="connsiteX33669" y="connsiteY33669"/>
              </a:cxn>
              <a:cxn ang="0">
                <a:pos x="connsiteX33670" y="connsiteY33670"/>
              </a:cxn>
              <a:cxn ang="0">
                <a:pos x="connsiteX33671" y="connsiteY33671"/>
              </a:cxn>
              <a:cxn ang="0">
                <a:pos x="connsiteX33672" y="connsiteY33672"/>
              </a:cxn>
              <a:cxn ang="0">
                <a:pos x="connsiteX33673" y="connsiteY33673"/>
              </a:cxn>
              <a:cxn ang="0">
                <a:pos x="connsiteX33674" y="connsiteY33674"/>
              </a:cxn>
              <a:cxn ang="0">
                <a:pos x="connsiteX33675" y="connsiteY33675"/>
              </a:cxn>
              <a:cxn ang="0">
                <a:pos x="connsiteX33676" y="connsiteY33676"/>
              </a:cxn>
              <a:cxn ang="0">
                <a:pos x="connsiteX33677" y="connsiteY33677"/>
              </a:cxn>
              <a:cxn ang="0">
                <a:pos x="connsiteX33678" y="connsiteY33678"/>
              </a:cxn>
              <a:cxn ang="0">
                <a:pos x="connsiteX33679" y="connsiteY33679"/>
              </a:cxn>
              <a:cxn ang="0">
                <a:pos x="connsiteX33680" y="connsiteY33680"/>
              </a:cxn>
              <a:cxn ang="0">
                <a:pos x="connsiteX33681" y="connsiteY33681"/>
              </a:cxn>
              <a:cxn ang="0">
                <a:pos x="connsiteX33682" y="connsiteY33682"/>
              </a:cxn>
              <a:cxn ang="0">
                <a:pos x="connsiteX33683" y="connsiteY33683"/>
              </a:cxn>
              <a:cxn ang="0">
                <a:pos x="connsiteX33684" y="connsiteY33684"/>
              </a:cxn>
              <a:cxn ang="0">
                <a:pos x="connsiteX33685" y="connsiteY33685"/>
              </a:cxn>
              <a:cxn ang="0">
                <a:pos x="connsiteX33686" y="connsiteY33686"/>
              </a:cxn>
              <a:cxn ang="0">
                <a:pos x="connsiteX33687" y="connsiteY33687"/>
              </a:cxn>
              <a:cxn ang="0">
                <a:pos x="connsiteX33688" y="connsiteY33688"/>
              </a:cxn>
              <a:cxn ang="0">
                <a:pos x="connsiteX33689" y="connsiteY33689"/>
              </a:cxn>
              <a:cxn ang="0">
                <a:pos x="connsiteX33690" y="connsiteY33690"/>
              </a:cxn>
              <a:cxn ang="0">
                <a:pos x="connsiteX33691" y="connsiteY33691"/>
              </a:cxn>
              <a:cxn ang="0">
                <a:pos x="connsiteX33692" y="connsiteY33692"/>
              </a:cxn>
              <a:cxn ang="0">
                <a:pos x="connsiteX33693" y="connsiteY33693"/>
              </a:cxn>
              <a:cxn ang="0">
                <a:pos x="connsiteX33694" y="connsiteY33694"/>
              </a:cxn>
              <a:cxn ang="0">
                <a:pos x="connsiteX33695" y="connsiteY33695"/>
              </a:cxn>
              <a:cxn ang="0">
                <a:pos x="connsiteX33696" y="connsiteY33696"/>
              </a:cxn>
              <a:cxn ang="0">
                <a:pos x="connsiteX33697" y="connsiteY33697"/>
              </a:cxn>
              <a:cxn ang="0">
                <a:pos x="connsiteX33698" y="connsiteY33698"/>
              </a:cxn>
              <a:cxn ang="0">
                <a:pos x="connsiteX33699" y="connsiteY33699"/>
              </a:cxn>
              <a:cxn ang="0">
                <a:pos x="connsiteX33700" y="connsiteY33700"/>
              </a:cxn>
              <a:cxn ang="0">
                <a:pos x="connsiteX33701" y="connsiteY33701"/>
              </a:cxn>
              <a:cxn ang="0">
                <a:pos x="connsiteX33702" y="connsiteY33702"/>
              </a:cxn>
              <a:cxn ang="0">
                <a:pos x="connsiteX33703" y="connsiteY33703"/>
              </a:cxn>
              <a:cxn ang="0">
                <a:pos x="connsiteX33704" y="connsiteY33704"/>
              </a:cxn>
              <a:cxn ang="0">
                <a:pos x="connsiteX33705" y="connsiteY33705"/>
              </a:cxn>
              <a:cxn ang="0">
                <a:pos x="connsiteX33706" y="connsiteY33706"/>
              </a:cxn>
              <a:cxn ang="0">
                <a:pos x="connsiteX33707" y="connsiteY33707"/>
              </a:cxn>
              <a:cxn ang="0">
                <a:pos x="connsiteX33708" y="connsiteY33708"/>
              </a:cxn>
              <a:cxn ang="0">
                <a:pos x="connsiteX33709" y="connsiteY33709"/>
              </a:cxn>
              <a:cxn ang="0">
                <a:pos x="connsiteX33710" y="connsiteY33710"/>
              </a:cxn>
              <a:cxn ang="0">
                <a:pos x="connsiteX33711" y="connsiteY33711"/>
              </a:cxn>
              <a:cxn ang="0">
                <a:pos x="connsiteX33712" y="connsiteY33712"/>
              </a:cxn>
              <a:cxn ang="0">
                <a:pos x="connsiteX33713" y="connsiteY33713"/>
              </a:cxn>
              <a:cxn ang="0">
                <a:pos x="connsiteX33714" y="connsiteY33714"/>
              </a:cxn>
              <a:cxn ang="0">
                <a:pos x="connsiteX33715" y="connsiteY33715"/>
              </a:cxn>
              <a:cxn ang="0">
                <a:pos x="connsiteX33716" y="connsiteY33716"/>
              </a:cxn>
              <a:cxn ang="0">
                <a:pos x="connsiteX33717" y="connsiteY33717"/>
              </a:cxn>
              <a:cxn ang="0">
                <a:pos x="connsiteX33718" y="connsiteY33718"/>
              </a:cxn>
              <a:cxn ang="0">
                <a:pos x="connsiteX33719" y="connsiteY33719"/>
              </a:cxn>
              <a:cxn ang="0">
                <a:pos x="connsiteX33720" y="connsiteY33720"/>
              </a:cxn>
              <a:cxn ang="0">
                <a:pos x="connsiteX33721" y="connsiteY33721"/>
              </a:cxn>
              <a:cxn ang="0">
                <a:pos x="connsiteX33722" y="connsiteY33722"/>
              </a:cxn>
              <a:cxn ang="0">
                <a:pos x="connsiteX33723" y="connsiteY33723"/>
              </a:cxn>
              <a:cxn ang="0">
                <a:pos x="connsiteX33724" y="connsiteY33724"/>
              </a:cxn>
              <a:cxn ang="0">
                <a:pos x="connsiteX33725" y="connsiteY33725"/>
              </a:cxn>
              <a:cxn ang="0">
                <a:pos x="connsiteX33726" y="connsiteY33726"/>
              </a:cxn>
              <a:cxn ang="0">
                <a:pos x="connsiteX33727" y="connsiteY33727"/>
              </a:cxn>
              <a:cxn ang="0">
                <a:pos x="connsiteX33728" y="connsiteY33728"/>
              </a:cxn>
              <a:cxn ang="0">
                <a:pos x="connsiteX33729" y="connsiteY33729"/>
              </a:cxn>
              <a:cxn ang="0">
                <a:pos x="connsiteX33730" y="connsiteY33730"/>
              </a:cxn>
              <a:cxn ang="0">
                <a:pos x="connsiteX33731" y="connsiteY33731"/>
              </a:cxn>
              <a:cxn ang="0">
                <a:pos x="connsiteX33732" y="connsiteY33732"/>
              </a:cxn>
              <a:cxn ang="0">
                <a:pos x="connsiteX33733" y="connsiteY33733"/>
              </a:cxn>
              <a:cxn ang="0">
                <a:pos x="connsiteX33734" y="connsiteY33734"/>
              </a:cxn>
              <a:cxn ang="0">
                <a:pos x="connsiteX33735" y="connsiteY33735"/>
              </a:cxn>
              <a:cxn ang="0">
                <a:pos x="connsiteX33736" y="connsiteY33736"/>
              </a:cxn>
              <a:cxn ang="0">
                <a:pos x="connsiteX33737" y="connsiteY33737"/>
              </a:cxn>
              <a:cxn ang="0">
                <a:pos x="connsiteX33738" y="connsiteY33738"/>
              </a:cxn>
              <a:cxn ang="0">
                <a:pos x="connsiteX33739" y="connsiteY33739"/>
              </a:cxn>
              <a:cxn ang="0">
                <a:pos x="connsiteX33740" y="connsiteY33740"/>
              </a:cxn>
              <a:cxn ang="0">
                <a:pos x="connsiteX33741" y="connsiteY33741"/>
              </a:cxn>
              <a:cxn ang="0">
                <a:pos x="connsiteX33742" y="connsiteY33742"/>
              </a:cxn>
              <a:cxn ang="0">
                <a:pos x="connsiteX33743" y="connsiteY33743"/>
              </a:cxn>
              <a:cxn ang="0">
                <a:pos x="connsiteX33744" y="connsiteY33744"/>
              </a:cxn>
              <a:cxn ang="0">
                <a:pos x="connsiteX33745" y="connsiteY33745"/>
              </a:cxn>
              <a:cxn ang="0">
                <a:pos x="connsiteX33746" y="connsiteY33746"/>
              </a:cxn>
              <a:cxn ang="0">
                <a:pos x="connsiteX33747" y="connsiteY33747"/>
              </a:cxn>
              <a:cxn ang="0">
                <a:pos x="connsiteX33748" y="connsiteY33748"/>
              </a:cxn>
              <a:cxn ang="0">
                <a:pos x="connsiteX33749" y="connsiteY33749"/>
              </a:cxn>
              <a:cxn ang="0">
                <a:pos x="connsiteX33750" y="connsiteY33750"/>
              </a:cxn>
              <a:cxn ang="0">
                <a:pos x="connsiteX33751" y="connsiteY33751"/>
              </a:cxn>
              <a:cxn ang="0">
                <a:pos x="connsiteX33752" y="connsiteY33752"/>
              </a:cxn>
              <a:cxn ang="0">
                <a:pos x="connsiteX33753" y="connsiteY33753"/>
              </a:cxn>
              <a:cxn ang="0">
                <a:pos x="connsiteX33754" y="connsiteY33754"/>
              </a:cxn>
              <a:cxn ang="0">
                <a:pos x="connsiteX33755" y="connsiteY33755"/>
              </a:cxn>
              <a:cxn ang="0">
                <a:pos x="connsiteX33756" y="connsiteY33756"/>
              </a:cxn>
              <a:cxn ang="0">
                <a:pos x="connsiteX33757" y="connsiteY33757"/>
              </a:cxn>
              <a:cxn ang="0">
                <a:pos x="connsiteX33758" y="connsiteY33758"/>
              </a:cxn>
              <a:cxn ang="0">
                <a:pos x="connsiteX33759" y="connsiteY33759"/>
              </a:cxn>
              <a:cxn ang="0">
                <a:pos x="connsiteX33760" y="connsiteY33760"/>
              </a:cxn>
              <a:cxn ang="0">
                <a:pos x="connsiteX33761" y="connsiteY33761"/>
              </a:cxn>
              <a:cxn ang="0">
                <a:pos x="connsiteX33762" y="connsiteY33762"/>
              </a:cxn>
              <a:cxn ang="0">
                <a:pos x="connsiteX33763" y="connsiteY33763"/>
              </a:cxn>
              <a:cxn ang="0">
                <a:pos x="connsiteX33764" y="connsiteY33764"/>
              </a:cxn>
              <a:cxn ang="0">
                <a:pos x="connsiteX33765" y="connsiteY33765"/>
              </a:cxn>
              <a:cxn ang="0">
                <a:pos x="connsiteX33766" y="connsiteY33766"/>
              </a:cxn>
              <a:cxn ang="0">
                <a:pos x="connsiteX33767" y="connsiteY33767"/>
              </a:cxn>
              <a:cxn ang="0">
                <a:pos x="connsiteX33768" y="connsiteY33768"/>
              </a:cxn>
              <a:cxn ang="0">
                <a:pos x="connsiteX33769" y="connsiteY33769"/>
              </a:cxn>
              <a:cxn ang="0">
                <a:pos x="connsiteX33770" y="connsiteY33770"/>
              </a:cxn>
              <a:cxn ang="0">
                <a:pos x="connsiteX33771" y="connsiteY33771"/>
              </a:cxn>
              <a:cxn ang="0">
                <a:pos x="connsiteX33772" y="connsiteY33772"/>
              </a:cxn>
              <a:cxn ang="0">
                <a:pos x="connsiteX33773" y="connsiteY33773"/>
              </a:cxn>
              <a:cxn ang="0">
                <a:pos x="connsiteX33774" y="connsiteY33774"/>
              </a:cxn>
              <a:cxn ang="0">
                <a:pos x="connsiteX33775" y="connsiteY33775"/>
              </a:cxn>
              <a:cxn ang="0">
                <a:pos x="connsiteX33776" y="connsiteY33776"/>
              </a:cxn>
              <a:cxn ang="0">
                <a:pos x="connsiteX33777" y="connsiteY33777"/>
              </a:cxn>
              <a:cxn ang="0">
                <a:pos x="connsiteX33778" y="connsiteY33778"/>
              </a:cxn>
              <a:cxn ang="0">
                <a:pos x="connsiteX33779" y="connsiteY33779"/>
              </a:cxn>
              <a:cxn ang="0">
                <a:pos x="connsiteX33780" y="connsiteY33780"/>
              </a:cxn>
              <a:cxn ang="0">
                <a:pos x="connsiteX33781" y="connsiteY33781"/>
              </a:cxn>
              <a:cxn ang="0">
                <a:pos x="connsiteX33782" y="connsiteY33782"/>
              </a:cxn>
              <a:cxn ang="0">
                <a:pos x="connsiteX33783" y="connsiteY33783"/>
              </a:cxn>
              <a:cxn ang="0">
                <a:pos x="connsiteX33784" y="connsiteY33784"/>
              </a:cxn>
              <a:cxn ang="0">
                <a:pos x="connsiteX33785" y="connsiteY33785"/>
              </a:cxn>
              <a:cxn ang="0">
                <a:pos x="connsiteX33786" y="connsiteY33786"/>
              </a:cxn>
              <a:cxn ang="0">
                <a:pos x="connsiteX33787" y="connsiteY33787"/>
              </a:cxn>
              <a:cxn ang="0">
                <a:pos x="connsiteX33788" y="connsiteY33788"/>
              </a:cxn>
              <a:cxn ang="0">
                <a:pos x="connsiteX33789" y="connsiteY33789"/>
              </a:cxn>
              <a:cxn ang="0">
                <a:pos x="connsiteX33790" y="connsiteY33790"/>
              </a:cxn>
              <a:cxn ang="0">
                <a:pos x="connsiteX33791" y="connsiteY33791"/>
              </a:cxn>
              <a:cxn ang="0">
                <a:pos x="connsiteX33792" y="connsiteY33792"/>
              </a:cxn>
              <a:cxn ang="0">
                <a:pos x="connsiteX33793" y="connsiteY33793"/>
              </a:cxn>
              <a:cxn ang="0">
                <a:pos x="connsiteX33794" y="connsiteY33794"/>
              </a:cxn>
              <a:cxn ang="0">
                <a:pos x="connsiteX33795" y="connsiteY33795"/>
              </a:cxn>
              <a:cxn ang="0">
                <a:pos x="connsiteX33796" y="connsiteY33796"/>
              </a:cxn>
              <a:cxn ang="0">
                <a:pos x="connsiteX33797" y="connsiteY33797"/>
              </a:cxn>
              <a:cxn ang="0">
                <a:pos x="connsiteX33798" y="connsiteY33798"/>
              </a:cxn>
              <a:cxn ang="0">
                <a:pos x="connsiteX33799" y="connsiteY33799"/>
              </a:cxn>
              <a:cxn ang="0">
                <a:pos x="connsiteX33800" y="connsiteY33800"/>
              </a:cxn>
              <a:cxn ang="0">
                <a:pos x="connsiteX33801" y="connsiteY33801"/>
              </a:cxn>
              <a:cxn ang="0">
                <a:pos x="connsiteX33802" y="connsiteY33802"/>
              </a:cxn>
              <a:cxn ang="0">
                <a:pos x="connsiteX33803" y="connsiteY33803"/>
              </a:cxn>
              <a:cxn ang="0">
                <a:pos x="connsiteX33804" y="connsiteY33804"/>
              </a:cxn>
              <a:cxn ang="0">
                <a:pos x="connsiteX33805" y="connsiteY33805"/>
              </a:cxn>
              <a:cxn ang="0">
                <a:pos x="connsiteX33806" y="connsiteY33806"/>
              </a:cxn>
              <a:cxn ang="0">
                <a:pos x="connsiteX33807" y="connsiteY33807"/>
              </a:cxn>
              <a:cxn ang="0">
                <a:pos x="connsiteX33808" y="connsiteY33808"/>
              </a:cxn>
              <a:cxn ang="0">
                <a:pos x="connsiteX33809" y="connsiteY33809"/>
              </a:cxn>
              <a:cxn ang="0">
                <a:pos x="connsiteX33810" y="connsiteY33810"/>
              </a:cxn>
              <a:cxn ang="0">
                <a:pos x="connsiteX33811" y="connsiteY33811"/>
              </a:cxn>
              <a:cxn ang="0">
                <a:pos x="connsiteX33812" y="connsiteY33812"/>
              </a:cxn>
              <a:cxn ang="0">
                <a:pos x="connsiteX33813" y="connsiteY33813"/>
              </a:cxn>
              <a:cxn ang="0">
                <a:pos x="connsiteX33814" y="connsiteY33814"/>
              </a:cxn>
              <a:cxn ang="0">
                <a:pos x="connsiteX33815" y="connsiteY33815"/>
              </a:cxn>
              <a:cxn ang="0">
                <a:pos x="connsiteX33816" y="connsiteY33816"/>
              </a:cxn>
              <a:cxn ang="0">
                <a:pos x="connsiteX33817" y="connsiteY33817"/>
              </a:cxn>
              <a:cxn ang="0">
                <a:pos x="connsiteX33818" y="connsiteY33818"/>
              </a:cxn>
              <a:cxn ang="0">
                <a:pos x="connsiteX33819" y="connsiteY33819"/>
              </a:cxn>
              <a:cxn ang="0">
                <a:pos x="connsiteX33820" y="connsiteY33820"/>
              </a:cxn>
              <a:cxn ang="0">
                <a:pos x="connsiteX33821" y="connsiteY33821"/>
              </a:cxn>
              <a:cxn ang="0">
                <a:pos x="connsiteX33822" y="connsiteY33822"/>
              </a:cxn>
              <a:cxn ang="0">
                <a:pos x="connsiteX33823" y="connsiteY33823"/>
              </a:cxn>
              <a:cxn ang="0">
                <a:pos x="connsiteX33824" y="connsiteY33824"/>
              </a:cxn>
              <a:cxn ang="0">
                <a:pos x="connsiteX33825" y="connsiteY33825"/>
              </a:cxn>
              <a:cxn ang="0">
                <a:pos x="connsiteX33826" y="connsiteY33826"/>
              </a:cxn>
              <a:cxn ang="0">
                <a:pos x="connsiteX33827" y="connsiteY33827"/>
              </a:cxn>
              <a:cxn ang="0">
                <a:pos x="connsiteX33828" y="connsiteY33828"/>
              </a:cxn>
              <a:cxn ang="0">
                <a:pos x="connsiteX33829" y="connsiteY33829"/>
              </a:cxn>
              <a:cxn ang="0">
                <a:pos x="connsiteX33830" y="connsiteY33830"/>
              </a:cxn>
              <a:cxn ang="0">
                <a:pos x="connsiteX33831" y="connsiteY33831"/>
              </a:cxn>
              <a:cxn ang="0">
                <a:pos x="connsiteX33832" y="connsiteY33832"/>
              </a:cxn>
              <a:cxn ang="0">
                <a:pos x="connsiteX33833" y="connsiteY33833"/>
              </a:cxn>
              <a:cxn ang="0">
                <a:pos x="connsiteX33834" y="connsiteY33834"/>
              </a:cxn>
              <a:cxn ang="0">
                <a:pos x="connsiteX33835" y="connsiteY33835"/>
              </a:cxn>
              <a:cxn ang="0">
                <a:pos x="connsiteX33836" y="connsiteY33836"/>
              </a:cxn>
              <a:cxn ang="0">
                <a:pos x="connsiteX33837" y="connsiteY33837"/>
              </a:cxn>
              <a:cxn ang="0">
                <a:pos x="connsiteX33838" y="connsiteY33838"/>
              </a:cxn>
              <a:cxn ang="0">
                <a:pos x="connsiteX33839" y="connsiteY33839"/>
              </a:cxn>
              <a:cxn ang="0">
                <a:pos x="connsiteX33840" y="connsiteY33840"/>
              </a:cxn>
              <a:cxn ang="0">
                <a:pos x="connsiteX33841" y="connsiteY33841"/>
              </a:cxn>
              <a:cxn ang="0">
                <a:pos x="connsiteX33842" y="connsiteY33842"/>
              </a:cxn>
              <a:cxn ang="0">
                <a:pos x="connsiteX33843" y="connsiteY33843"/>
              </a:cxn>
              <a:cxn ang="0">
                <a:pos x="connsiteX33844" y="connsiteY33844"/>
              </a:cxn>
              <a:cxn ang="0">
                <a:pos x="connsiteX33845" y="connsiteY33845"/>
              </a:cxn>
              <a:cxn ang="0">
                <a:pos x="connsiteX33846" y="connsiteY33846"/>
              </a:cxn>
              <a:cxn ang="0">
                <a:pos x="connsiteX33847" y="connsiteY33847"/>
              </a:cxn>
              <a:cxn ang="0">
                <a:pos x="connsiteX33848" y="connsiteY33848"/>
              </a:cxn>
              <a:cxn ang="0">
                <a:pos x="connsiteX33849" y="connsiteY33849"/>
              </a:cxn>
              <a:cxn ang="0">
                <a:pos x="connsiteX33850" y="connsiteY33850"/>
              </a:cxn>
              <a:cxn ang="0">
                <a:pos x="connsiteX33851" y="connsiteY33851"/>
              </a:cxn>
              <a:cxn ang="0">
                <a:pos x="connsiteX33852" y="connsiteY33852"/>
              </a:cxn>
              <a:cxn ang="0">
                <a:pos x="connsiteX33853" y="connsiteY33853"/>
              </a:cxn>
              <a:cxn ang="0">
                <a:pos x="connsiteX33854" y="connsiteY33854"/>
              </a:cxn>
              <a:cxn ang="0">
                <a:pos x="connsiteX33855" y="connsiteY33855"/>
              </a:cxn>
              <a:cxn ang="0">
                <a:pos x="connsiteX33856" y="connsiteY33856"/>
              </a:cxn>
              <a:cxn ang="0">
                <a:pos x="connsiteX33857" y="connsiteY33857"/>
              </a:cxn>
              <a:cxn ang="0">
                <a:pos x="connsiteX33858" y="connsiteY33858"/>
              </a:cxn>
              <a:cxn ang="0">
                <a:pos x="connsiteX33859" y="connsiteY33859"/>
              </a:cxn>
              <a:cxn ang="0">
                <a:pos x="connsiteX33860" y="connsiteY33860"/>
              </a:cxn>
              <a:cxn ang="0">
                <a:pos x="connsiteX33861" y="connsiteY33861"/>
              </a:cxn>
              <a:cxn ang="0">
                <a:pos x="connsiteX33862" y="connsiteY33862"/>
              </a:cxn>
              <a:cxn ang="0">
                <a:pos x="connsiteX33863" y="connsiteY33863"/>
              </a:cxn>
              <a:cxn ang="0">
                <a:pos x="connsiteX33864" y="connsiteY33864"/>
              </a:cxn>
              <a:cxn ang="0">
                <a:pos x="connsiteX33865" y="connsiteY33865"/>
              </a:cxn>
              <a:cxn ang="0">
                <a:pos x="connsiteX33866" y="connsiteY33866"/>
              </a:cxn>
              <a:cxn ang="0">
                <a:pos x="connsiteX33867" y="connsiteY33867"/>
              </a:cxn>
              <a:cxn ang="0">
                <a:pos x="connsiteX33868" y="connsiteY33868"/>
              </a:cxn>
              <a:cxn ang="0">
                <a:pos x="connsiteX33869" y="connsiteY33869"/>
              </a:cxn>
              <a:cxn ang="0">
                <a:pos x="connsiteX33870" y="connsiteY33870"/>
              </a:cxn>
              <a:cxn ang="0">
                <a:pos x="connsiteX33871" y="connsiteY33871"/>
              </a:cxn>
              <a:cxn ang="0">
                <a:pos x="connsiteX33872" y="connsiteY33872"/>
              </a:cxn>
              <a:cxn ang="0">
                <a:pos x="connsiteX33873" y="connsiteY33873"/>
              </a:cxn>
              <a:cxn ang="0">
                <a:pos x="connsiteX33874" y="connsiteY33874"/>
              </a:cxn>
              <a:cxn ang="0">
                <a:pos x="connsiteX33875" y="connsiteY33875"/>
              </a:cxn>
              <a:cxn ang="0">
                <a:pos x="connsiteX33876" y="connsiteY33876"/>
              </a:cxn>
              <a:cxn ang="0">
                <a:pos x="connsiteX33877" y="connsiteY33877"/>
              </a:cxn>
              <a:cxn ang="0">
                <a:pos x="connsiteX33878" y="connsiteY33878"/>
              </a:cxn>
              <a:cxn ang="0">
                <a:pos x="connsiteX33879" y="connsiteY33879"/>
              </a:cxn>
              <a:cxn ang="0">
                <a:pos x="connsiteX33880" y="connsiteY33880"/>
              </a:cxn>
              <a:cxn ang="0">
                <a:pos x="connsiteX33881" y="connsiteY33881"/>
              </a:cxn>
              <a:cxn ang="0">
                <a:pos x="connsiteX33882" y="connsiteY33882"/>
              </a:cxn>
              <a:cxn ang="0">
                <a:pos x="connsiteX33883" y="connsiteY33883"/>
              </a:cxn>
              <a:cxn ang="0">
                <a:pos x="connsiteX33884" y="connsiteY33884"/>
              </a:cxn>
              <a:cxn ang="0">
                <a:pos x="connsiteX33885" y="connsiteY33885"/>
              </a:cxn>
              <a:cxn ang="0">
                <a:pos x="connsiteX33886" y="connsiteY33886"/>
              </a:cxn>
              <a:cxn ang="0">
                <a:pos x="connsiteX33887" y="connsiteY33887"/>
              </a:cxn>
              <a:cxn ang="0">
                <a:pos x="connsiteX33888" y="connsiteY33888"/>
              </a:cxn>
              <a:cxn ang="0">
                <a:pos x="connsiteX33889" y="connsiteY33889"/>
              </a:cxn>
              <a:cxn ang="0">
                <a:pos x="connsiteX33890" y="connsiteY33890"/>
              </a:cxn>
              <a:cxn ang="0">
                <a:pos x="connsiteX33891" y="connsiteY33891"/>
              </a:cxn>
              <a:cxn ang="0">
                <a:pos x="connsiteX33892" y="connsiteY33892"/>
              </a:cxn>
              <a:cxn ang="0">
                <a:pos x="connsiteX33893" y="connsiteY33893"/>
              </a:cxn>
              <a:cxn ang="0">
                <a:pos x="connsiteX33894" y="connsiteY33894"/>
              </a:cxn>
              <a:cxn ang="0">
                <a:pos x="connsiteX33895" y="connsiteY33895"/>
              </a:cxn>
              <a:cxn ang="0">
                <a:pos x="connsiteX33896" y="connsiteY33896"/>
              </a:cxn>
              <a:cxn ang="0">
                <a:pos x="connsiteX33897" y="connsiteY33897"/>
              </a:cxn>
              <a:cxn ang="0">
                <a:pos x="connsiteX33898" y="connsiteY33898"/>
              </a:cxn>
              <a:cxn ang="0">
                <a:pos x="connsiteX33899" y="connsiteY33899"/>
              </a:cxn>
              <a:cxn ang="0">
                <a:pos x="connsiteX33900" y="connsiteY33900"/>
              </a:cxn>
              <a:cxn ang="0">
                <a:pos x="connsiteX33901" y="connsiteY33901"/>
              </a:cxn>
              <a:cxn ang="0">
                <a:pos x="connsiteX33902" y="connsiteY33902"/>
              </a:cxn>
              <a:cxn ang="0">
                <a:pos x="connsiteX33903" y="connsiteY33903"/>
              </a:cxn>
              <a:cxn ang="0">
                <a:pos x="connsiteX33904" y="connsiteY33904"/>
              </a:cxn>
              <a:cxn ang="0">
                <a:pos x="connsiteX33905" y="connsiteY33905"/>
              </a:cxn>
              <a:cxn ang="0">
                <a:pos x="connsiteX33906" y="connsiteY33906"/>
              </a:cxn>
              <a:cxn ang="0">
                <a:pos x="connsiteX33907" y="connsiteY33907"/>
              </a:cxn>
              <a:cxn ang="0">
                <a:pos x="connsiteX33908" y="connsiteY33908"/>
              </a:cxn>
              <a:cxn ang="0">
                <a:pos x="connsiteX33909" y="connsiteY33909"/>
              </a:cxn>
              <a:cxn ang="0">
                <a:pos x="connsiteX33910" y="connsiteY33910"/>
              </a:cxn>
              <a:cxn ang="0">
                <a:pos x="connsiteX33911" y="connsiteY33911"/>
              </a:cxn>
              <a:cxn ang="0">
                <a:pos x="connsiteX33912" y="connsiteY33912"/>
              </a:cxn>
              <a:cxn ang="0">
                <a:pos x="connsiteX33913" y="connsiteY33913"/>
              </a:cxn>
              <a:cxn ang="0">
                <a:pos x="connsiteX33914" y="connsiteY33914"/>
              </a:cxn>
              <a:cxn ang="0">
                <a:pos x="connsiteX33915" y="connsiteY33915"/>
              </a:cxn>
              <a:cxn ang="0">
                <a:pos x="connsiteX33916" y="connsiteY33916"/>
              </a:cxn>
              <a:cxn ang="0">
                <a:pos x="connsiteX33917" y="connsiteY33917"/>
              </a:cxn>
              <a:cxn ang="0">
                <a:pos x="connsiteX33918" y="connsiteY33918"/>
              </a:cxn>
              <a:cxn ang="0">
                <a:pos x="connsiteX33919" y="connsiteY33919"/>
              </a:cxn>
              <a:cxn ang="0">
                <a:pos x="connsiteX33920" y="connsiteY33920"/>
              </a:cxn>
              <a:cxn ang="0">
                <a:pos x="connsiteX33921" y="connsiteY33921"/>
              </a:cxn>
              <a:cxn ang="0">
                <a:pos x="connsiteX33922" y="connsiteY33922"/>
              </a:cxn>
              <a:cxn ang="0">
                <a:pos x="connsiteX33923" y="connsiteY33923"/>
              </a:cxn>
              <a:cxn ang="0">
                <a:pos x="connsiteX33924" y="connsiteY33924"/>
              </a:cxn>
              <a:cxn ang="0">
                <a:pos x="connsiteX33925" y="connsiteY33925"/>
              </a:cxn>
              <a:cxn ang="0">
                <a:pos x="connsiteX33926" y="connsiteY33926"/>
              </a:cxn>
              <a:cxn ang="0">
                <a:pos x="connsiteX33927" y="connsiteY33927"/>
              </a:cxn>
              <a:cxn ang="0">
                <a:pos x="connsiteX33928" y="connsiteY33928"/>
              </a:cxn>
              <a:cxn ang="0">
                <a:pos x="connsiteX33929" y="connsiteY33929"/>
              </a:cxn>
              <a:cxn ang="0">
                <a:pos x="connsiteX33930" y="connsiteY33930"/>
              </a:cxn>
              <a:cxn ang="0">
                <a:pos x="connsiteX33931" y="connsiteY33931"/>
              </a:cxn>
              <a:cxn ang="0">
                <a:pos x="connsiteX33932" y="connsiteY33932"/>
              </a:cxn>
              <a:cxn ang="0">
                <a:pos x="connsiteX33933" y="connsiteY33933"/>
              </a:cxn>
              <a:cxn ang="0">
                <a:pos x="connsiteX33934" y="connsiteY33934"/>
              </a:cxn>
              <a:cxn ang="0">
                <a:pos x="connsiteX33935" y="connsiteY33935"/>
              </a:cxn>
              <a:cxn ang="0">
                <a:pos x="connsiteX33936" y="connsiteY33936"/>
              </a:cxn>
              <a:cxn ang="0">
                <a:pos x="connsiteX33937" y="connsiteY33937"/>
              </a:cxn>
              <a:cxn ang="0">
                <a:pos x="connsiteX33938" y="connsiteY33938"/>
              </a:cxn>
              <a:cxn ang="0">
                <a:pos x="connsiteX33939" y="connsiteY33939"/>
              </a:cxn>
              <a:cxn ang="0">
                <a:pos x="connsiteX33940" y="connsiteY33940"/>
              </a:cxn>
              <a:cxn ang="0">
                <a:pos x="connsiteX33941" y="connsiteY33941"/>
              </a:cxn>
              <a:cxn ang="0">
                <a:pos x="connsiteX33942" y="connsiteY33942"/>
              </a:cxn>
              <a:cxn ang="0">
                <a:pos x="connsiteX33943" y="connsiteY33943"/>
              </a:cxn>
              <a:cxn ang="0">
                <a:pos x="connsiteX33944" y="connsiteY33944"/>
              </a:cxn>
              <a:cxn ang="0">
                <a:pos x="connsiteX33945" y="connsiteY33945"/>
              </a:cxn>
              <a:cxn ang="0">
                <a:pos x="connsiteX33946" y="connsiteY33946"/>
              </a:cxn>
              <a:cxn ang="0">
                <a:pos x="connsiteX33947" y="connsiteY33947"/>
              </a:cxn>
              <a:cxn ang="0">
                <a:pos x="connsiteX33948" y="connsiteY33948"/>
              </a:cxn>
              <a:cxn ang="0">
                <a:pos x="connsiteX33949" y="connsiteY33949"/>
              </a:cxn>
              <a:cxn ang="0">
                <a:pos x="connsiteX33950" y="connsiteY33950"/>
              </a:cxn>
              <a:cxn ang="0">
                <a:pos x="connsiteX33951" y="connsiteY33951"/>
              </a:cxn>
              <a:cxn ang="0">
                <a:pos x="connsiteX33952" y="connsiteY33952"/>
              </a:cxn>
              <a:cxn ang="0">
                <a:pos x="connsiteX33953" y="connsiteY33953"/>
              </a:cxn>
              <a:cxn ang="0">
                <a:pos x="connsiteX33954" y="connsiteY33954"/>
              </a:cxn>
              <a:cxn ang="0">
                <a:pos x="connsiteX33955" y="connsiteY33955"/>
              </a:cxn>
              <a:cxn ang="0">
                <a:pos x="connsiteX33956" y="connsiteY33956"/>
              </a:cxn>
              <a:cxn ang="0">
                <a:pos x="connsiteX33957" y="connsiteY33957"/>
              </a:cxn>
              <a:cxn ang="0">
                <a:pos x="connsiteX33958" y="connsiteY33958"/>
              </a:cxn>
              <a:cxn ang="0">
                <a:pos x="connsiteX33959" y="connsiteY33959"/>
              </a:cxn>
              <a:cxn ang="0">
                <a:pos x="connsiteX33960" y="connsiteY33960"/>
              </a:cxn>
              <a:cxn ang="0">
                <a:pos x="connsiteX33961" y="connsiteY33961"/>
              </a:cxn>
              <a:cxn ang="0">
                <a:pos x="connsiteX33962" y="connsiteY33962"/>
              </a:cxn>
              <a:cxn ang="0">
                <a:pos x="connsiteX33963" y="connsiteY33963"/>
              </a:cxn>
              <a:cxn ang="0">
                <a:pos x="connsiteX33964" y="connsiteY33964"/>
              </a:cxn>
              <a:cxn ang="0">
                <a:pos x="connsiteX33965" y="connsiteY33965"/>
              </a:cxn>
              <a:cxn ang="0">
                <a:pos x="connsiteX33966" y="connsiteY33966"/>
              </a:cxn>
              <a:cxn ang="0">
                <a:pos x="connsiteX33967" y="connsiteY33967"/>
              </a:cxn>
              <a:cxn ang="0">
                <a:pos x="connsiteX33968" y="connsiteY33968"/>
              </a:cxn>
              <a:cxn ang="0">
                <a:pos x="connsiteX33969" y="connsiteY33969"/>
              </a:cxn>
              <a:cxn ang="0">
                <a:pos x="connsiteX33970" y="connsiteY33970"/>
              </a:cxn>
              <a:cxn ang="0">
                <a:pos x="connsiteX33971" y="connsiteY33971"/>
              </a:cxn>
              <a:cxn ang="0">
                <a:pos x="connsiteX33972" y="connsiteY33972"/>
              </a:cxn>
              <a:cxn ang="0">
                <a:pos x="connsiteX33973" y="connsiteY33973"/>
              </a:cxn>
              <a:cxn ang="0">
                <a:pos x="connsiteX33974" y="connsiteY33974"/>
              </a:cxn>
              <a:cxn ang="0">
                <a:pos x="connsiteX33975" y="connsiteY33975"/>
              </a:cxn>
              <a:cxn ang="0">
                <a:pos x="connsiteX33976" y="connsiteY33976"/>
              </a:cxn>
              <a:cxn ang="0">
                <a:pos x="connsiteX33977" y="connsiteY33977"/>
              </a:cxn>
              <a:cxn ang="0">
                <a:pos x="connsiteX33978" y="connsiteY33978"/>
              </a:cxn>
              <a:cxn ang="0">
                <a:pos x="connsiteX33979" y="connsiteY33979"/>
              </a:cxn>
              <a:cxn ang="0">
                <a:pos x="connsiteX33980" y="connsiteY33980"/>
              </a:cxn>
              <a:cxn ang="0">
                <a:pos x="connsiteX33981" y="connsiteY33981"/>
              </a:cxn>
              <a:cxn ang="0">
                <a:pos x="connsiteX33982" y="connsiteY33982"/>
              </a:cxn>
              <a:cxn ang="0">
                <a:pos x="connsiteX33983" y="connsiteY33983"/>
              </a:cxn>
              <a:cxn ang="0">
                <a:pos x="connsiteX33984" y="connsiteY33984"/>
              </a:cxn>
              <a:cxn ang="0">
                <a:pos x="connsiteX33985" y="connsiteY33985"/>
              </a:cxn>
              <a:cxn ang="0">
                <a:pos x="connsiteX33986" y="connsiteY33986"/>
              </a:cxn>
              <a:cxn ang="0">
                <a:pos x="connsiteX33987" y="connsiteY33987"/>
              </a:cxn>
              <a:cxn ang="0">
                <a:pos x="connsiteX33988" y="connsiteY33988"/>
              </a:cxn>
              <a:cxn ang="0">
                <a:pos x="connsiteX33989" y="connsiteY33989"/>
              </a:cxn>
              <a:cxn ang="0">
                <a:pos x="connsiteX33990" y="connsiteY33990"/>
              </a:cxn>
              <a:cxn ang="0">
                <a:pos x="connsiteX33991" y="connsiteY33991"/>
              </a:cxn>
              <a:cxn ang="0">
                <a:pos x="connsiteX33992" y="connsiteY33992"/>
              </a:cxn>
              <a:cxn ang="0">
                <a:pos x="connsiteX33993" y="connsiteY33993"/>
              </a:cxn>
              <a:cxn ang="0">
                <a:pos x="connsiteX33994" y="connsiteY33994"/>
              </a:cxn>
              <a:cxn ang="0">
                <a:pos x="connsiteX33995" y="connsiteY33995"/>
              </a:cxn>
              <a:cxn ang="0">
                <a:pos x="connsiteX33996" y="connsiteY33996"/>
              </a:cxn>
              <a:cxn ang="0">
                <a:pos x="connsiteX33997" y="connsiteY33997"/>
              </a:cxn>
              <a:cxn ang="0">
                <a:pos x="connsiteX33998" y="connsiteY33998"/>
              </a:cxn>
              <a:cxn ang="0">
                <a:pos x="connsiteX33999" y="connsiteY33999"/>
              </a:cxn>
              <a:cxn ang="0">
                <a:pos x="connsiteX34000" y="connsiteY34000"/>
              </a:cxn>
              <a:cxn ang="0">
                <a:pos x="connsiteX34001" y="connsiteY34001"/>
              </a:cxn>
              <a:cxn ang="0">
                <a:pos x="connsiteX34002" y="connsiteY34002"/>
              </a:cxn>
              <a:cxn ang="0">
                <a:pos x="connsiteX34003" y="connsiteY34003"/>
              </a:cxn>
              <a:cxn ang="0">
                <a:pos x="connsiteX34004" y="connsiteY34004"/>
              </a:cxn>
              <a:cxn ang="0">
                <a:pos x="connsiteX34005" y="connsiteY34005"/>
              </a:cxn>
              <a:cxn ang="0">
                <a:pos x="connsiteX34006" y="connsiteY34006"/>
              </a:cxn>
              <a:cxn ang="0">
                <a:pos x="connsiteX34007" y="connsiteY34007"/>
              </a:cxn>
              <a:cxn ang="0">
                <a:pos x="connsiteX34008" y="connsiteY34008"/>
              </a:cxn>
              <a:cxn ang="0">
                <a:pos x="connsiteX34009" y="connsiteY34009"/>
              </a:cxn>
              <a:cxn ang="0">
                <a:pos x="connsiteX34010" y="connsiteY34010"/>
              </a:cxn>
              <a:cxn ang="0">
                <a:pos x="connsiteX34011" y="connsiteY34011"/>
              </a:cxn>
              <a:cxn ang="0">
                <a:pos x="connsiteX34012" y="connsiteY34012"/>
              </a:cxn>
              <a:cxn ang="0">
                <a:pos x="connsiteX34013" y="connsiteY34013"/>
              </a:cxn>
              <a:cxn ang="0">
                <a:pos x="connsiteX34014" y="connsiteY34014"/>
              </a:cxn>
              <a:cxn ang="0">
                <a:pos x="connsiteX34015" y="connsiteY34015"/>
              </a:cxn>
              <a:cxn ang="0">
                <a:pos x="connsiteX34016" y="connsiteY34016"/>
              </a:cxn>
              <a:cxn ang="0">
                <a:pos x="connsiteX34017" y="connsiteY34017"/>
              </a:cxn>
              <a:cxn ang="0">
                <a:pos x="connsiteX34018" y="connsiteY34018"/>
              </a:cxn>
              <a:cxn ang="0">
                <a:pos x="connsiteX34019" y="connsiteY34019"/>
              </a:cxn>
              <a:cxn ang="0">
                <a:pos x="connsiteX34020" y="connsiteY34020"/>
              </a:cxn>
              <a:cxn ang="0">
                <a:pos x="connsiteX34021" y="connsiteY34021"/>
              </a:cxn>
              <a:cxn ang="0">
                <a:pos x="connsiteX34022" y="connsiteY34022"/>
              </a:cxn>
              <a:cxn ang="0">
                <a:pos x="connsiteX34023" y="connsiteY34023"/>
              </a:cxn>
              <a:cxn ang="0">
                <a:pos x="connsiteX34024" y="connsiteY34024"/>
              </a:cxn>
              <a:cxn ang="0">
                <a:pos x="connsiteX34025" y="connsiteY34025"/>
              </a:cxn>
              <a:cxn ang="0">
                <a:pos x="connsiteX34026" y="connsiteY34026"/>
              </a:cxn>
              <a:cxn ang="0">
                <a:pos x="connsiteX34027" y="connsiteY34027"/>
              </a:cxn>
              <a:cxn ang="0">
                <a:pos x="connsiteX34028" y="connsiteY34028"/>
              </a:cxn>
              <a:cxn ang="0">
                <a:pos x="connsiteX34029" y="connsiteY34029"/>
              </a:cxn>
              <a:cxn ang="0">
                <a:pos x="connsiteX34030" y="connsiteY34030"/>
              </a:cxn>
              <a:cxn ang="0">
                <a:pos x="connsiteX34031" y="connsiteY34031"/>
              </a:cxn>
              <a:cxn ang="0">
                <a:pos x="connsiteX34032" y="connsiteY34032"/>
              </a:cxn>
              <a:cxn ang="0">
                <a:pos x="connsiteX34033" y="connsiteY34033"/>
              </a:cxn>
              <a:cxn ang="0">
                <a:pos x="connsiteX34034" y="connsiteY34034"/>
              </a:cxn>
              <a:cxn ang="0">
                <a:pos x="connsiteX34035" y="connsiteY34035"/>
              </a:cxn>
              <a:cxn ang="0">
                <a:pos x="connsiteX34036" y="connsiteY34036"/>
              </a:cxn>
              <a:cxn ang="0">
                <a:pos x="connsiteX34037" y="connsiteY34037"/>
              </a:cxn>
              <a:cxn ang="0">
                <a:pos x="connsiteX34038" y="connsiteY34038"/>
              </a:cxn>
              <a:cxn ang="0">
                <a:pos x="connsiteX34039" y="connsiteY34039"/>
              </a:cxn>
              <a:cxn ang="0">
                <a:pos x="connsiteX34040" y="connsiteY34040"/>
              </a:cxn>
              <a:cxn ang="0">
                <a:pos x="connsiteX34041" y="connsiteY34041"/>
              </a:cxn>
              <a:cxn ang="0">
                <a:pos x="connsiteX34042" y="connsiteY34042"/>
              </a:cxn>
              <a:cxn ang="0">
                <a:pos x="connsiteX34043" y="connsiteY34043"/>
              </a:cxn>
              <a:cxn ang="0">
                <a:pos x="connsiteX34044" y="connsiteY34044"/>
              </a:cxn>
              <a:cxn ang="0">
                <a:pos x="connsiteX34045" y="connsiteY34045"/>
              </a:cxn>
              <a:cxn ang="0">
                <a:pos x="connsiteX34046" y="connsiteY34046"/>
              </a:cxn>
              <a:cxn ang="0">
                <a:pos x="connsiteX34047" y="connsiteY34047"/>
              </a:cxn>
              <a:cxn ang="0">
                <a:pos x="connsiteX34048" y="connsiteY34048"/>
              </a:cxn>
              <a:cxn ang="0">
                <a:pos x="connsiteX34049" y="connsiteY34049"/>
              </a:cxn>
              <a:cxn ang="0">
                <a:pos x="connsiteX34050" y="connsiteY34050"/>
              </a:cxn>
              <a:cxn ang="0">
                <a:pos x="connsiteX34051" y="connsiteY34051"/>
              </a:cxn>
              <a:cxn ang="0">
                <a:pos x="connsiteX34052" y="connsiteY34052"/>
              </a:cxn>
              <a:cxn ang="0">
                <a:pos x="connsiteX34053" y="connsiteY34053"/>
              </a:cxn>
              <a:cxn ang="0">
                <a:pos x="connsiteX34054" y="connsiteY34054"/>
              </a:cxn>
              <a:cxn ang="0">
                <a:pos x="connsiteX34055" y="connsiteY34055"/>
              </a:cxn>
              <a:cxn ang="0">
                <a:pos x="connsiteX34056" y="connsiteY34056"/>
              </a:cxn>
              <a:cxn ang="0">
                <a:pos x="connsiteX34057" y="connsiteY34057"/>
              </a:cxn>
              <a:cxn ang="0">
                <a:pos x="connsiteX34058" y="connsiteY34058"/>
              </a:cxn>
              <a:cxn ang="0">
                <a:pos x="connsiteX34059" y="connsiteY34059"/>
              </a:cxn>
              <a:cxn ang="0">
                <a:pos x="connsiteX34060" y="connsiteY34060"/>
              </a:cxn>
              <a:cxn ang="0">
                <a:pos x="connsiteX34061" y="connsiteY34061"/>
              </a:cxn>
              <a:cxn ang="0">
                <a:pos x="connsiteX34062" y="connsiteY34062"/>
              </a:cxn>
              <a:cxn ang="0">
                <a:pos x="connsiteX34063" y="connsiteY34063"/>
              </a:cxn>
              <a:cxn ang="0">
                <a:pos x="connsiteX34064" y="connsiteY34064"/>
              </a:cxn>
              <a:cxn ang="0">
                <a:pos x="connsiteX34065" y="connsiteY34065"/>
              </a:cxn>
              <a:cxn ang="0">
                <a:pos x="connsiteX34066" y="connsiteY34066"/>
              </a:cxn>
              <a:cxn ang="0">
                <a:pos x="connsiteX34067" y="connsiteY34067"/>
              </a:cxn>
              <a:cxn ang="0">
                <a:pos x="connsiteX34068" y="connsiteY34068"/>
              </a:cxn>
              <a:cxn ang="0">
                <a:pos x="connsiteX34069" y="connsiteY34069"/>
              </a:cxn>
              <a:cxn ang="0">
                <a:pos x="connsiteX34070" y="connsiteY34070"/>
              </a:cxn>
              <a:cxn ang="0">
                <a:pos x="connsiteX34071" y="connsiteY34071"/>
              </a:cxn>
              <a:cxn ang="0">
                <a:pos x="connsiteX34072" y="connsiteY34072"/>
              </a:cxn>
              <a:cxn ang="0">
                <a:pos x="connsiteX34073" y="connsiteY34073"/>
              </a:cxn>
              <a:cxn ang="0">
                <a:pos x="connsiteX34074" y="connsiteY34074"/>
              </a:cxn>
              <a:cxn ang="0">
                <a:pos x="connsiteX34075" y="connsiteY34075"/>
              </a:cxn>
              <a:cxn ang="0">
                <a:pos x="connsiteX34076" y="connsiteY34076"/>
              </a:cxn>
              <a:cxn ang="0">
                <a:pos x="connsiteX34077" y="connsiteY34077"/>
              </a:cxn>
              <a:cxn ang="0">
                <a:pos x="connsiteX34078" y="connsiteY34078"/>
              </a:cxn>
              <a:cxn ang="0">
                <a:pos x="connsiteX34079" y="connsiteY34079"/>
              </a:cxn>
              <a:cxn ang="0">
                <a:pos x="connsiteX34080" y="connsiteY34080"/>
              </a:cxn>
              <a:cxn ang="0">
                <a:pos x="connsiteX34081" y="connsiteY34081"/>
              </a:cxn>
              <a:cxn ang="0">
                <a:pos x="connsiteX34082" y="connsiteY34082"/>
              </a:cxn>
              <a:cxn ang="0">
                <a:pos x="connsiteX34083" y="connsiteY34083"/>
              </a:cxn>
              <a:cxn ang="0">
                <a:pos x="connsiteX34084" y="connsiteY34084"/>
              </a:cxn>
              <a:cxn ang="0">
                <a:pos x="connsiteX34085" y="connsiteY34085"/>
              </a:cxn>
              <a:cxn ang="0">
                <a:pos x="connsiteX34086" y="connsiteY34086"/>
              </a:cxn>
              <a:cxn ang="0">
                <a:pos x="connsiteX34087" y="connsiteY34087"/>
              </a:cxn>
              <a:cxn ang="0">
                <a:pos x="connsiteX34088" y="connsiteY34088"/>
              </a:cxn>
              <a:cxn ang="0">
                <a:pos x="connsiteX34089" y="connsiteY34089"/>
              </a:cxn>
              <a:cxn ang="0">
                <a:pos x="connsiteX34090" y="connsiteY34090"/>
              </a:cxn>
              <a:cxn ang="0">
                <a:pos x="connsiteX34091" y="connsiteY34091"/>
              </a:cxn>
              <a:cxn ang="0">
                <a:pos x="connsiteX34092" y="connsiteY34092"/>
              </a:cxn>
              <a:cxn ang="0">
                <a:pos x="connsiteX34093" y="connsiteY34093"/>
              </a:cxn>
              <a:cxn ang="0">
                <a:pos x="connsiteX34094" y="connsiteY34094"/>
              </a:cxn>
              <a:cxn ang="0">
                <a:pos x="connsiteX34095" y="connsiteY34095"/>
              </a:cxn>
              <a:cxn ang="0">
                <a:pos x="connsiteX34096" y="connsiteY34096"/>
              </a:cxn>
              <a:cxn ang="0">
                <a:pos x="connsiteX34097" y="connsiteY34097"/>
              </a:cxn>
              <a:cxn ang="0">
                <a:pos x="connsiteX34098" y="connsiteY34098"/>
              </a:cxn>
              <a:cxn ang="0">
                <a:pos x="connsiteX34099" y="connsiteY34099"/>
              </a:cxn>
              <a:cxn ang="0">
                <a:pos x="connsiteX34100" y="connsiteY34100"/>
              </a:cxn>
              <a:cxn ang="0">
                <a:pos x="connsiteX34101" y="connsiteY34101"/>
              </a:cxn>
              <a:cxn ang="0">
                <a:pos x="connsiteX34102" y="connsiteY34102"/>
              </a:cxn>
              <a:cxn ang="0">
                <a:pos x="connsiteX34103" y="connsiteY34103"/>
              </a:cxn>
              <a:cxn ang="0">
                <a:pos x="connsiteX34104" y="connsiteY34104"/>
              </a:cxn>
              <a:cxn ang="0">
                <a:pos x="connsiteX34105" y="connsiteY34105"/>
              </a:cxn>
              <a:cxn ang="0">
                <a:pos x="connsiteX34106" y="connsiteY34106"/>
              </a:cxn>
              <a:cxn ang="0">
                <a:pos x="connsiteX34107" y="connsiteY34107"/>
              </a:cxn>
              <a:cxn ang="0">
                <a:pos x="connsiteX34108" y="connsiteY34108"/>
              </a:cxn>
              <a:cxn ang="0">
                <a:pos x="connsiteX34109" y="connsiteY34109"/>
              </a:cxn>
              <a:cxn ang="0">
                <a:pos x="connsiteX34110" y="connsiteY34110"/>
              </a:cxn>
              <a:cxn ang="0">
                <a:pos x="connsiteX34111" y="connsiteY34111"/>
              </a:cxn>
              <a:cxn ang="0">
                <a:pos x="connsiteX34112" y="connsiteY34112"/>
              </a:cxn>
              <a:cxn ang="0">
                <a:pos x="connsiteX34113" y="connsiteY34113"/>
              </a:cxn>
              <a:cxn ang="0">
                <a:pos x="connsiteX34114" y="connsiteY34114"/>
              </a:cxn>
              <a:cxn ang="0">
                <a:pos x="connsiteX34115" y="connsiteY34115"/>
              </a:cxn>
              <a:cxn ang="0">
                <a:pos x="connsiteX34116" y="connsiteY34116"/>
              </a:cxn>
              <a:cxn ang="0">
                <a:pos x="connsiteX34117" y="connsiteY34117"/>
              </a:cxn>
              <a:cxn ang="0">
                <a:pos x="connsiteX34118" y="connsiteY34118"/>
              </a:cxn>
              <a:cxn ang="0">
                <a:pos x="connsiteX34119" y="connsiteY34119"/>
              </a:cxn>
              <a:cxn ang="0">
                <a:pos x="connsiteX34120" y="connsiteY34120"/>
              </a:cxn>
              <a:cxn ang="0">
                <a:pos x="connsiteX34121" y="connsiteY34121"/>
              </a:cxn>
              <a:cxn ang="0">
                <a:pos x="connsiteX34122" y="connsiteY34122"/>
              </a:cxn>
              <a:cxn ang="0">
                <a:pos x="connsiteX34123" y="connsiteY34123"/>
              </a:cxn>
              <a:cxn ang="0">
                <a:pos x="connsiteX34124" y="connsiteY34124"/>
              </a:cxn>
              <a:cxn ang="0">
                <a:pos x="connsiteX34125" y="connsiteY34125"/>
              </a:cxn>
              <a:cxn ang="0">
                <a:pos x="connsiteX34126" y="connsiteY34126"/>
              </a:cxn>
              <a:cxn ang="0">
                <a:pos x="connsiteX34127" y="connsiteY34127"/>
              </a:cxn>
              <a:cxn ang="0">
                <a:pos x="connsiteX34128" y="connsiteY34128"/>
              </a:cxn>
              <a:cxn ang="0">
                <a:pos x="connsiteX34129" y="connsiteY34129"/>
              </a:cxn>
              <a:cxn ang="0">
                <a:pos x="connsiteX34130" y="connsiteY34130"/>
              </a:cxn>
              <a:cxn ang="0">
                <a:pos x="connsiteX34131" y="connsiteY34131"/>
              </a:cxn>
              <a:cxn ang="0">
                <a:pos x="connsiteX34132" y="connsiteY34132"/>
              </a:cxn>
              <a:cxn ang="0">
                <a:pos x="connsiteX34133" y="connsiteY34133"/>
              </a:cxn>
              <a:cxn ang="0">
                <a:pos x="connsiteX34134" y="connsiteY34134"/>
              </a:cxn>
              <a:cxn ang="0">
                <a:pos x="connsiteX34135" y="connsiteY34135"/>
              </a:cxn>
              <a:cxn ang="0">
                <a:pos x="connsiteX34136" y="connsiteY34136"/>
              </a:cxn>
              <a:cxn ang="0">
                <a:pos x="connsiteX34137" y="connsiteY34137"/>
              </a:cxn>
              <a:cxn ang="0">
                <a:pos x="connsiteX34138" y="connsiteY34138"/>
              </a:cxn>
              <a:cxn ang="0">
                <a:pos x="connsiteX34139" y="connsiteY34139"/>
              </a:cxn>
              <a:cxn ang="0">
                <a:pos x="connsiteX34140" y="connsiteY34140"/>
              </a:cxn>
              <a:cxn ang="0">
                <a:pos x="connsiteX34141" y="connsiteY34141"/>
              </a:cxn>
              <a:cxn ang="0">
                <a:pos x="connsiteX34142" y="connsiteY34142"/>
              </a:cxn>
              <a:cxn ang="0">
                <a:pos x="connsiteX34143" y="connsiteY34143"/>
              </a:cxn>
              <a:cxn ang="0">
                <a:pos x="connsiteX34144" y="connsiteY34144"/>
              </a:cxn>
              <a:cxn ang="0">
                <a:pos x="connsiteX34145" y="connsiteY34145"/>
              </a:cxn>
              <a:cxn ang="0">
                <a:pos x="connsiteX34146" y="connsiteY34146"/>
              </a:cxn>
              <a:cxn ang="0">
                <a:pos x="connsiteX34147" y="connsiteY34147"/>
              </a:cxn>
              <a:cxn ang="0">
                <a:pos x="connsiteX34148" y="connsiteY34148"/>
              </a:cxn>
              <a:cxn ang="0">
                <a:pos x="connsiteX34149" y="connsiteY34149"/>
              </a:cxn>
              <a:cxn ang="0">
                <a:pos x="connsiteX34150" y="connsiteY34150"/>
              </a:cxn>
              <a:cxn ang="0">
                <a:pos x="connsiteX34151" y="connsiteY34151"/>
              </a:cxn>
              <a:cxn ang="0">
                <a:pos x="connsiteX34152" y="connsiteY34152"/>
              </a:cxn>
              <a:cxn ang="0">
                <a:pos x="connsiteX34153" y="connsiteY34153"/>
              </a:cxn>
              <a:cxn ang="0">
                <a:pos x="connsiteX34154" y="connsiteY34154"/>
              </a:cxn>
              <a:cxn ang="0">
                <a:pos x="connsiteX34155" y="connsiteY34155"/>
              </a:cxn>
              <a:cxn ang="0">
                <a:pos x="connsiteX34156" y="connsiteY34156"/>
              </a:cxn>
              <a:cxn ang="0">
                <a:pos x="connsiteX34157" y="connsiteY34157"/>
              </a:cxn>
              <a:cxn ang="0">
                <a:pos x="connsiteX34158" y="connsiteY34158"/>
              </a:cxn>
              <a:cxn ang="0">
                <a:pos x="connsiteX34159" y="connsiteY34159"/>
              </a:cxn>
              <a:cxn ang="0">
                <a:pos x="connsiteX34160" y="connsiteY34160"/>
              </a:cxn>
              <a:cxn ang="0">
                <a:pos x="connsiteX34161" y="connsiteY34161"/>
              </a:cxn>
              <a:cxn ang="0">
                <a:pos x="connsiteX34162" y="connsiteY34162"/>
              </a:cxn>
              <a:cxn ang="0">
                <a:pos x="connsiteX34163" y="connsiteY34163"/>
              </a:cxn>
              <a:cxn ang="0">
                <a:pos x="connsiteX34164" y="connsiteY34164"/>
              </a:cxn>
              <a:cxn ang="0">
                <a:pos x="connsiteX34165" y="connsiteY34165"/>
              </a:cxn>
              <a:cxn ang="0">
                <a:pos x="connsiteX34166" y="connsiteY34166"/>
              </a:cxn>
              <a:cxn ang="0">
                <a:pos x="connsiteX34167" y="connsiteY34167"/>
              </a:cxn>
              <a:cxn ang="0">
                <a:pos x="connsiteX34168" y="connsiteY34168"/>
              </a:cxn>
              <a:cxn ang="0">
                <a:pos x="connsiteX34169" y="connsiteY34169"/>
              </a:cxn>
              <a:cxn ang="0">
                <a:pos x="connsiteX34170" y="connsiteY34170"/>
              </a:cxn>
              <a:cxn ang="0">
                <a:pos x="connsiteX34171" y="connsiteY34171"/>
              </a:cxn>
              <a:cxn ang="0">
                <a:pos x="connsiteX34172" y="connsiteY34172"/>
              </a:cxn>
              <a:cxn ang="0">
                <a:pos x="connsiteX34173" y="connsiteY34173"/>
              </a:cxn>
              <a:cxn ang="0">
                <a:pos x="connsiteX34174" y="connsiteY34174"/>
              </a:cxn>
              <a:cxn ang="0">
                <a:pos x="connsiteX34175" y="connsiteY34175"/>
              </a:cxn>
              <a:cxn ang="0">
                <a:pos x="connsiteX34176" y="connsiteY34176"/>
              </a:cxn>
              <a:cxn ang="0">
                <a:pos x="connsiteX34177" y="connsiteY34177"/>
              </a:cxn>
              <a:cxn ang="0">
                <a:pos x="connsiteX34178" y="connsiteY34178"/>
              </a:cxn>
              <a:cxn ang="0">
                <a:pos x="connsiteX34179" y="connsiteY34179"/>
              </a:cxn>
              <a:cxn ang="0">
                <a:pos x="connsiteX34180" y="connsiteY34180"/>
              </a:cxn>
              <a:cxn ang="0">
                <a:pos x="connsiteX34181" y="connsiteY34181"/>
              </a:cxn>
              <a:cxn ang="0">
                <a:pos x="connsiteX34182" y="connsiteY34182"/>
              </a:cxn>
              <a:cxn ang="0">
                <a:pos x="connsiteX34183" y="connsiteY34183"/>
              </a:cxn>
              <a:cxn ang="0">
                <a:pos x="connsiteX34184" y="connsiteY34184"/>
              </a:cxn>
              <a:cxn ang="0">
                <a:pos x="connsiteX34185" y="connsiteY34185"/>
              </a:cxn>
              <a:cxn ang="0">
                <a:pos x="connsiteX34186" y="connsiteY34186"/>
              </a:cxn>
              <a:cxn ang="0">
                <a:pos x="connsiteX34187" y="connsiteY34187"/>
              </a:cxn>
              <a:cxn ang="0">
                <a:pos x="connsiteX34188" y="connsiteY34188"/>
              </a:cxn>
              <a:cxn ang="0">
                <a:pos x="connsiteX34189" y="connsiteY34189"/>
              </a:cxn>
              <a:cxn ang="0">
                <a:pos x="connsiteX34190" y="connsiteY34190"/>
              </a:cxn>
              <a:cxn ang="0">
                <a:pos x="connsiteX34191" y="connsiteY34191"/>
              </a:cxn>
              <a:cxn ang="0">
                <a:pos x="connsiteX34192" y="connsiteY34192"/>
              </a:cxn>
              <a:cxn ang="0">
                <a:pos x="connsiteX34193" y="connsiteY34193"/>
              </a:cxn>
              <a:cxn ang="0">
                <a:pos x="connsiteX34194" y="connsiteY34194"/>
              </a:cxn>
              <a:cxn ang="0">
                <a:pos x="connsiteX34195" y="connsiteY34195"/>
              </a:cxn>
              <a:cxn ang="0">
                <a:pos x="connsiteX34196" y="connsiteY34196"/>
              </a:cxn>
              <a:cxn ang="0">
                <a:pos x="connsiteX34197" y="connsiteY34197"/>
              </a:cxn>
              <a:cxn ang="0">
                <a:pos x="connsiteX34198" y="connsiteY34198"/>
              </a:cxn>
              <a:cxn ang="0">
                <a:pos x="connsiteX34199" y="connsiteY34199"/>
              </a:cxn>
              <a:cxn ang="0">
                <a:pos x="connsiteX34200" y="connsiteY34200"/>
              </a:cxn>
              <a:cxn ang="0">
                <a:pos x="connsiteX34201" y="connsiteY34201"/>
              </a:cxn>
              <a:cxn ang="0">
                <a:pos x="connsiteX34202" y="connsiteY34202"/>
              </a:cxn>
              <a:cxn ang="0">
                <a:pos x="connsiteX34203" y="connsiteY34203"/>
              </a:cxn>
              <a:cxn ang="0">
                <a:pos x="connsiteX34204" y="connsiteY34204"/>
              </a:cxn>
              <a:cxn ang="0">
                <a:pos x="connsiteX34205" y="connsiteY34205"/>
              </a:cxn>
              <a:cxn ang="0">
                <a:pos x="connsiteX34206" y="connsiteY34206"/>
              </a:cxn>
              <a:cxn ang="0">
                <a:pos x="connsiteX34207" y="connsiteY34207"/>
              </a:cxn>
              <a:cxn ang="0">
                <a:pos x="connsiteX34208" y="connsiteY34208"/>
              </a:cxn>
              <a:cxn ang="0">
                <a:pos x="connsiteX34209" y="connsiteY34209"/>
              </a:cxn>
              <a:cxn ang="0">
                <a:pos x="connsiteX34210" y="connsiteY34210"/>
              </a:cxn>
              <a:cxn ang="0">
                <a:pos x="connsiteX34211" y="connsiteY34211"/>
              </a:cxn>
              <a:cxn ang="0">
                <a:pos x="connsiteX34212" y="connsiteY34212"/>
              </a:cxn>
              <a:cxn ang="0">
                <a:pos x="connsiteX34213" y="connsiteY34213"/>
              </a:cxn>
              <a:cxn ang="0">
                <a:pos x="connsiteX34214" y="connsiteY34214"/>
              </a:cxn>
              <a:cxn ang="0">
                <a:pos x="connsiteX34215" y="connsiteY34215"/>
              </a:cxn>
              <a:cxn ang="0">
                <a:pos x="connsiteX34216" y="connsiteY34216"/>
              </a:cxn>
              <a:cxn ang="0">
                <a:pos x="connsiteX34217" y="connsiteY34217"/>
              </a:cxn>
              <a:cxn ang="0">
                <a:pos x="connsiteX34218" y="connsiteY34218"/>
              </a:cxn>
              <a:cxn ang="0">
                <a:pos x="connsiteX34219" y="connsiteY34219"/>
              </a:cxn>
              <a:cxn ang="0">
                <a:pos x="connsiteX34220" y="connsiteY34220"/>
              </a:cxn>
              <a:cxn ang="0">
                <a:pos x="connsiteX34221" y="connsiteY34221"/>
              </a:cxn>
              <a:cxn ang="0">
                <a:pos x="connsiteX34222" y="connsiteY34222"/>
              </a:cxn>
              <a:cxn ang="0">
                <a:pos x="connsiteX34223" y="connsiteY34223"/>
              </a:cxn>
              <a:cxn ang="0">
                <a:pos x="connsiteX34224" y="connsiteY34224"/>
              </a:cxn>
              <a:cxn ang="0">
                <a:pos x="connsiteX34225" y="connsiteY34225"/>
              </a:cxn>
              <a:cxn ang="0">
                <a:pos x="connsiteX34226" y="connsiteY34226"/>
              </a:cxn>
              <a:cxn ang="0">
                <a:pos x="connsiteX34227" y="connsiteY34227"/>
              </a:cxn>
              <a:cxn ang="0">
                <a:pos x="connsiteX34228" y="connsiteY34228"/>
              </a:cxn>
              <a:cxn ang="0">
                <a:pos x="connsiteX34229" y="connsiteY34229"/>
              </a:cxn>
              <a:cxn ang="0">
                <a:pos x="connsiteX34230" y="connsiteY34230"/>
              </a:cxn>
              <a:cxn ang="0">
                <a:pos x="connsiteX34231" y="connsiteY34231"/>
              </a:cxn>
              <a:cxn ang="0">
                <a:pos x="connsiteX34232" y="connsiteY34232"/>
              </a:cxn>
              <a:cxn ang="0">
                <a:pos x="connsiteX34233" y="connsiteY34233"/>
              </a:cxn>
              <a:cxn ang="0">
                <a:pos x="connsiteX34234" y="connsiteY34234"/>
              </a:cxn>
              <a:cxn ang="0">
                <a:pos x="connsiteX34235" y="connsiteY34235"/>
              </a:cxn>
              <a:cxn ang="0">
                <a:pos x="connsiteX34236" y="connsiteY34236"/>
              </a:cxn>
              <a:cxn ang="0">
                <a:pos x="connsiteX34237" y="connsiteY34237"/>
              </a:cxn>
              <a:cxn ang="0">
                <a:pos x="connsiteX34238" y="connsiteY34238"/>
              </a:cxn>
              <a:cxn ang="0">
                <a:pos x="connsiteX34239" y="connsiteY34239"/>
              </a:cxn>
              <a:cxn ang="0">
                <a:pos x="connsiteX34240" y="connsiteY34240"/>
              </a:cxn>
              <a:cxn ang="0">
                <a:pos x="connsiteX34241" y="connsiteY34241"/>
              </a:cxn>
              <a:cxn ang="0">
                <a:pos x="connsiteX34242" y="connsiteY34242"/>
              </a:cxn>
              <a:cxn ang="0">
                <a:pos x="connsiteX34243" y="connsiteY34243"/>
              </a:cxn>
              <a:cxn ang="0">
                <a:pos x="connsiteX34244" y="connsiteY34244"/>
              </a:cxn>
              <a:cxn ang="0">
                <a:pos x="connsiteX34245" y="connsiteY34245"/>
              </a:cxn>
              <a:cxn ang="0">
                <a:pos x="connsiteX34246" y="connsiteY34246"/>
              </a:cxn>
              <a:cxn ang="0">
                <a:pos x="connsiteX34247" y="connsiteY34247"/>
              </a:cxn>
              <a:cxn ang="0">
                <a:pos x="connsiteX34248" y="connsiteY34248"/>
              </a:cxn>
              <a:cxn ang="0">
                <a:pos x="connsiteX34249" y="connsiteY34249"/>
              </a:cxn>
              <a:cxn ang="0">
                <a:pos x="connsiteX34250" y="connsiteY34250"/>
              </a:cxn>
              <a:cxn ang="0">
                <a:pos x="connsiteX34251" y="connsiteY34251"/>
              </a:cxn>
              <a:cxn ang="0">
                <a:pos x="connsiteX34252" y="connsiteY34252"/>
              </a:cxn>
              <a:cxn ang="0">
                <a:pos x="connsiteX34253" y="connsiteY34253"/>
              </a:cxn>
              <a:cxn ang="0">
                <a:pos x="connsiteX34254" y="connsiteY34254"/>
              </a:cxn>
              <a:cxn ang="0">
                <a:pos x="connsiteX34255" y="connsiteY34255"/>
              </a:cxn>
              <a:cxn ang="0">
                <a:pos x="connsiteX34256" y="connsiteY34256"/>
              </a:cxn>
              <a:cxn ang="0">
                <a:pos x="connsiteX34257" y="connsiteY34257"/>
              </a:cxn>
              <a:cxn ang="0">
                <a:pos x="connsiteX34258" y="connsiteY34258"/>
              </a:cxn>
              <a:cxn ang="0">
                <a:pos x="connsiteX34259" y="connsiteY34259"/>
              </a:cxn>
              <a:cxn ang="0">
                <a:pos x="connsiteX34260" y="connsiteY34260"/>
              </a:cxn>
              <a:cxn ang="0">
                <a:pos x="connsiteX34261" y="connsiteY34261"/>
              </a:cxn>
              <a:cxn ang="0">
                <a:pos x="connsiteX34262" y="connsiteY34262"/>
              </a:cxn>
              <a:cxn ang="0">
                <a:pos x="connsiteX34263" y="connsiteY34263"/>
              </a:cxn>
              <a:cxn ang="0">
                <a:pos x="connsiteX34264" y="connsiteY34264"/>
              </a:cxn>
              <a:cxn ang="0">
                <a:pos x="connsiteX34265" y="connsiteY34265"/>
              </a:cxn>
              <a:cxn ang="0">
                <a:pos x="connsiteX34266" y="connsiteY34266"/>
              </a:cxn>
              <a:cxn ang="0">
                <a:pos x="connsiteX34267" y="connsiteY34267"/>
              </a:cxn>
              <a:cxn ang="0">
                <a:pos x="connsiteX34268" y="connsiteY34268"/>
              </a:cxn>
              <a:cxn ang="0">
                <a:pos x="connsiteX34269" y="connsiteY34269"/>
              </a:cxn>
              <a:cxn ang="0">
                <a:pos x="connsiteX34270" y="connsiteY34270"/>
              </a:cxn>
              <a:cxn ang="0">
                <a:pos x="connsiteX34271" y="connsiteY34271"/>
              </a:cxn>
              <a:cxn ang="0">
                <a:pos x="connsiteX34272" y="connsiteY34272"/>
              </a:cxn>
              <a:cxn ang="0">
                <a:pos x="connsiteX34273" y="connsiteY34273"/>
              </a:cxn>
              <a:cxn ang="0">
                <a:pos x="connsiteX34274" y="connsiteY34274"/>
              </a:cxn>
              <a:cxn ang="0">
                <a:pos x="connsiteX34275" y="connsiteY34275"/>
              </a:cxn>
              <a:cxn ang="0">
                <a:pos x="connsiteX34276" y="connsiteY34276"/>
              </a:cxn>
              <a:cxn ang="0">
                <a:pos x="connsiteX34277" y="connsiteY34277"/>
              </a:cxn>
              <a:cxn ang="0">
                <a:pos x="connsiteX34278" y="connsiteY34278"/>
              </a:cxn>
              <a:cxn ang="0">
                <a:pos x="connsiteX34279" y="connsiteY34279"/>
              </a:cxn>
              <a:cxn ang="0">
                <a:pos x="connsiteX34280" y="connsiteY34280"/>
              </a:cxn>
              <a:cxn ang="0">
                <a:pos x="connsiteX34281" y="connsiteY34281"/>
              </a:cxn>
              <a:cxn ang="0">
                <a:pos x="connsiteX34282" y="connsiteY34282"/>
              </a:cxn>
              <a:cxn ang="0">
                <a:pos x="connsiteX34283" y="connsiteY34283"/>
              </a:cxn>
              <a:cxn ang="0">
                <a:pos x="connsiteX34284" y="connsiteY34284"/>
              </a:cxn>
              <a:cxn ang="0">
                <a:pos x="connsiteX34285" y="connsiteY34285"/>
              </a:cxn>
              <a:cxn ang="0">
                <a:pos x="connsiteX34286" y="connsiteY34286"/>
              </a:cxn>
              <a:cxn ang="0">
                <a:pos x="connsiteX34287" y="connsiteY34287"/>
              </a:cxn>
              <a:cxn ang="0">
                <a:pos x="connsiteX34288" y="connsiteY34288"/>
              </a:cxn>
              <a:cxn ang="0">
                <a:pos x="connsiteX34289" y="connsiteY34289"/>
              </a:cxn>
              <a:cxn ang="0">
                <a:pos x="connsiteX34290" y="connsiteY34290"/>
              </a:cxn>
              <a:cxn ang="0">
                <a:pos x="connsiteX34291" y="connsiteY34291"/>
              </a:cxn>
              <a:cxn ang="0">
                <a:pos x="connsiteX34292" y="connsiteY34292"/>
              </a:cxn>
              <a:cxn ang="0">
                <a:pos x="connsiteX34293" y="connsiteY34293"/>
              </a:cxn>
              <a:cxn ang="0">
                <a:pos x="connsiteX34294" y="connsiteY34294"/>
              </a:cxn>
              <a:cxn ang="0">
                <a:pos x="connsiteX34295" y="connsiteY34295"/>
              </a:cxn>
              <a:cxn ang="0">
                <a:pos x="connsiteX34296" y="connsiteY34296"/>
              </a:cxn>
              <a:cxn ang="0">
                <a:pos x="connsiteX34297" y="connsiteY34297"/>
              </a:cxn>
              <a:cxn ang="0">
                <a:pos x="connsiteX34298" y="connsiteY34298"/>
              </a:cxn>
              <a:cxn ang="0">
                <a:pos x="connsiteX34299" y="connsiteY34299"/>
              </a:cxn>
              <a:cxn ang="0">
                <a:pos x="connsiteX34300" y="connsiteY34300"/>
              </a:cxn>
              <a:cxn ang="0">
                <a:pos x="connsiteX34301" y="connsiteY34301"/>
              </a:cxn>
              <a:cxn ang="0">
                <a:pos x="connsiteX34302" y="connsiteY34302"/>
              </a:cxn>
              <a:cxn ang="0">
                <a:pos x="connsiteX34303" y="connsiteY34303"/>
              </a:cxn>
              <a:cxn ang="0">
                <a:pos x="connsiteX34304" y="connsiteY34304"/>
              </a:cxn>
              <a:cxn ang="0">
                <a:pos x="connsiteX34305" y="connsiteY34305"/>
              </a:cxn>
              <a:cxn ang="0">
                <a:pos x="connsiteX34306" y="connsiteY34306"/>
              </a:cxn>
              <a:cxn ang="0">
                <a:pos x="connsiteX34307" y="connsiteY34307"/>
              </a:cxn>
              <a:cxn ang="0">
                <a:pos x="connsiteX34308" y="connsiteY34308"/>
              </a:cxn>
              <a:cxn ang="0">
                <a:pos x="connsiteX34309" y="connsiteY34309"/>
              </a:cxn>
              <a:cxn ang="0">
                <a:pos x="connsiteX34310" y="connsiteY34310"/>
              </a:cxn>
              <a:cxn ang="0">
                <a:pos x="connsiteX34311" y="connsiteY34311"/>
              </a:cxn>
              <a:cxn ang="0">
                <a:pos x="connsiteX34312" y="connsiteY34312"/>
              </a:cxn>
              <a:cxn ang="0">
                <a:pos x="connsiteX34313" y="connsiteY34313"/>
              </a:cxn>
              <a:cxn ang="0">
                <a:pos x="connsiteX34314" y="connsiteY34314"/>
              </a:cxn>
              <a:cxn ang="0">
                <a:pos x="connsiteX34315" y="connsiteY34315"/>
              </a:cxn>
              <a:cxn ang="0">
                <a:pos x="connsiteX34316" y="connsiteY34316"/>
              </a:cxn>
              <a:cxn ang="0">
                <a:pos x="connsiteX34317" y="connsiteY34317"/>
              </a:cxn>
              <a:cxn ang="0">
                <a:pos x="connsiteX34318" y="connsiteY34318"/>
              </a:cxn>
              <a:cxn ang="0">
                <a:pos x="connsiteX34319" y="connsiteY34319"/>
              </a:cxn>
              <a:cxn ang="0">
                <a:pos x="connsiteX34320" y="connsiteY34320"/>
              </a:cxn>
              <a:cxn ang="0">
                <a:pos x="connsiteX34321" y="connsiteY34321"/>
              </a:cxn>
              <a:cxn ang="0">
                <a:pos x="connsiteX34322" y="connsiteY34322"/>
              </a:cxn>
              <a:cxn ang="0">
                <a:pos x="connsiteX34323" y="connsiteY34323"/>
              </a:cxn>
              <a:cxn ang="0">
                <a:pos x="connsiteX34324" y="connsiteY34324"/>
              </a:cxn>
              <a:cxn ang="0">
                <a:pos x="connsiteX34325" y="connsiteY34325"/>
              </a:cxn>
              <a:cxn ang="0">
                <a:pos x="connsiteX34326" y="connsiteY34326"/>
              </a:cxn>
              <a:cxn ang="0">
                <a:pos x="connsiteX34327" y="connsiteY34327"/>
              </a:cxn>
              <a:cxn ang="0">
                <a:pos x="connsiteX34328" y="connsiteY34328"/>
              </a:cxn>
              <a:cxn ang="0">
                <a:pos x="connsiteX34329" y="connsiteY34329"/>
              </a:cxn>
              <a:cxn ang="0">
                <a:pos x="connsiteX34330" y="connsiteY34330"/>
              </a:cxn>
              <a:cxn ang="0">
                <a:pos x="connsiteX34331" y="connsiteY34331"/>
              </a:cxn>
              <a:cxn ang="0">
                <a:pos x="connsiteX34332" y="connsiteY34332"/>
              </a:cxn>
              <a:cxn ang="0">
                <a:pos x="connsiteX34333" y="connsiteY34333"/>
              </a:cxn>
              <a:cxn ang="0">
                <a:pos x="connsiteX34334" y="connsiteY34334"/>
              </a:cxn>
              <a:cxn ang="0">
                <a:pos x="connsiteX34335" y="connsiteY34335"/>
              </a:cxn>
              <a:cxn ang="0">
                <a:pos x="connsiteX34336" y="connsiteY34336"/>
              </a:cxn>
              <a:cxn ang="0">
                <a:pos x="connsiteX34337" y="connsiteY34337"/>
              </a:cxn>
              <a:cxn ang="0">
                <a:pos x="connsiteX34338" y="connsiteY34338"/>
              </a:cxn>
              <a:cxn ang="0">
                <a:pos x="connsiteX34339" y="connsiteY34339"/>
              </a:cxn>
              <a:cxn ang="0">
                <a:pos x="connsiteX34340" y="connsiteY34340"/>
              </a:cxn>
              <a:cxn ang="0">
                <a:pos x="connsiteX34341" y="connsiteY34341"/>
              </a:cxn>
              <a:cxn ang="0">
                <a:pos x="connsiteX34342" y="connsiteY34342"/>
              </a:cxn>
              <a:cxn ang="0">
                <a:pos x="connsiteX34343" y="connsiteY34343"/>
              </a:cxn>
              <a:cxn ang="0">
                <a:pos x="connsiteX34344" y="connsiteY34344"/>
              </a:cxn>
              <a:cxn ang="0">
                <a:pos x="connsiteX34345" y="connsiteY34345"/>
              </a:cxn>
              <a:cxn ang="0">
                <a:pos x="connsiteX34346" y="connsiteY34346"/>
              </a:cxn>
              <a:cxn ang="0">
                <a:pos x="connsiteX34347" y="connsiteY34347"/>
              </a:cxn>
              <a:cxn ang="0">
                <a:pos x="connsiteX34348" y="connsiteY34348"/>
              </a:cxn>
              <a:cxn ang="0">
                <a:pos x="connsiteX34349" y="connsiteY34349"/>
              </a:cxn>
              <a:cxn ang="0">
                <a:pos x="connsiteX34350" y="connsiteY34350"/>
              </a:cxn>
              <a:cxn ang="0">
                <a:pos x="connsiteX34351" y="connsiteY34351"/>
              </a:cxn>
              <a:cxn ang="0">
                <a:pos x="connsiteX34352" y="connsiteY34352"/>
              </a:cxn>
              <a:cxn ang="0">
                <a:pos x="connsiteX34353" y="connsiteY34353"/>
              </a:cxn>
              <a:cxn ang="0">
                <a:pos x="connsiteX34354" y="connsiteY34354"/>
              </a:cxn>
              <a:cxn ang="0">
                <a:pos x="connsiteX34355" y="connsiteY34355"/>
              </a:cxn>
              <a:cxn ang="0">
                <a:pos x="connsiteX34356" y="connsiteY34356"/>
              </a:cxn>
              <a:cxn ang="0">
                <a:pos x="connsiteX34357" y="connsiteY34357"/>
              </a:cxn>
              <a:cxn ang="0">
                <a:pos x="connsiteX34358" y="connsiteY34358"/>
              </a:cxn>
              <a:cxn ang="0">
                <a:pos x="connsiteX34359" y="connsiteY34359"/>
              </a:cxn>
              <a:cxn ang="0">
                <a:pos x="connsiteX34360" y="connsiteY34360"/>
              </a:cxn>
              <a:cxn ang="0">
                <a:pos x="connsiteX34361" y="connsiteY34361"/>
              </a:cxn>
              <a:cxn ang="0">
                <a:pos x="connsiteX34362" y="connsiteY34362"/>
              </a:cxn>
              <a:cxn ang="0">
                <a:pos x="connsiteX34363" y="connsiteY34363"/>
              </a:cxn>
              <a:cxn ang="0">
                <a:pos x="connsiteX34364" y="connsiteY34364"/>
              </a:cxn>
              <a:cxn ang="0">
                <a:pos x="connsiteX34365" y="connsiteY34365"/>
              </a:cxn>
              <a:cxn ang="0">
                <a:pos x="connsiteX34366" y="connsiteY34366"/>
              </a:cxn>
              <a:cxn ang="0">
                <a:pos x="connsiteX34367" y="connsiteY34367"/>
              </a:cxn>
              <a:cxn ang="0">
                <a:pos x="connsiteX34368" y="connsiteY34368"/>
              </a:cxn>
              <a:cxn ang="0">
                <a:pos x="connsiteX34369" y="connsiteY34369"/>
              </a:cxn>
              <a:cxn ang="0">
                <a:pos x="connsiteX34370" y="connsiteY34370"/>
              </a:cxn>
              <a:cxn ang="0">
                <a:pos x="connsiteX34371" y="connsiteY34371"/>
              </a:cxn>
              <a:cxn ang="0">
                <a:pos x="connsiteX34372" y="connsiteY34372"/>
              </a:cxn>
              <a:cxn ang="0">
                <a:pos x="connsiteX34373" y="connsiteY34373"/>
              </a:cxn>
              <a:cxn ang="0">
                <a:pos x="connsiteX34374" y="connsiteY34374"/>
              </a:cxn>
              <a:cxn ang="0">
                <a:pos x="connsiteX34375" y="connsiteY34375"/>
              </a:cxn>
              <a:cxn ang="0">
                <a:pos x="connsiteX34376" y="connsiteY34376"/>
              </a:cxn>
              <a:cxn ang="0">
                <a:pos x="connsiteX34377" y="connsiteY34377"/>
              </a:cxn>
              <a:cxn ang="0">
                <a:pos x="connsiteX34378" y="connsiteY34378"/>
              </a:cxn>
              <a:cxn ang="0">
                <a:pos x="connsiteX34379" y="connsiteY34379"/>
              </a:cxn>
              <a:cxn ang="0">
                <a:pos x="connsiteX34380" y="connsiteY34380"/>
              </a:cxn>
              <a:cxn ang="0">
                <a:pos x="connsiteX34381" y="connsiteY34381"/>
              </a:cxn>
              <a:cxn ang="0">
                <a:pos x="connsiteX34382" y="connsiteY34382"/>
              </a:cxn>
              <a:cxn ang="0">
                <a:pos x="connsiteX34383" y="connsiteY34383"/>
              </a:cxn>
              <a:cxn ang="0">
                <a:pos x="connsiteX34384" y="connsiteY34384"/>
              </a:cxn>
              <a:cxn ang="0">
                <a:pos x="connsiteX34385" y="connsiteY34385"/>
              </a:cxn>
              <a:cxn ang="0">
                <a:pos x="connsiteX34386" y="connsiteY34386"/>
              </a:cxn>
              <a:cxn ang="0">
                <a:pos x="connsiteX34387" y="connsiteY34387"/>
              </a:cxn>
              <a:cxn ang="0">
                <a:pos x="connsiteX34388" y="connsiteY34388"/>
              </a:cxn>
              <a:cxn ang="0">
                <a:pos x="connsiteX34389" y="connsiteY34389"/>
              </a:cxn>
              <a:cxn ang="0">
                <a:pos x="connsiteX34390" y="connsiteY34390"/>
              </a:cxn>
              <a:cxn ang="0">
                <a:pos x="connsiteX34391" y="connsiteY34391"/>
              </a:cxn>
              <a:cxn ang="0">
                <a:pos x="connsiteX34392" y="connsiteY34392"/>
              </a:cxn>
              <a:cxn ang="0">
                <a:pos x="connsiteX34393" y="connsiteY34393"/>
              </a:cxn>
              <a:cxn ang="0">
                <a:pos x="connsiteX34394" y="connsiteY34394"/>
              </a:cxn>
              <a:cxn ang="0">
                <a:pos x="connsiteX34395" y="connsiteY34395"/>
              </a:cxn>
              <a:cxn ang="0">
                <a:pos x="connsiteX34396" y="connsiteY34396"/>
              </a:cxn>
              <a:cxn ang="0">
                <a:pos x="connsiteX34397" y="connsiteY34397"/>
              </a:cxn>
              <a:cxn ang="0">
                <a:pos x="connsiteX34398" y="connsiteY34398"/>
              </a:cxn>
              <a:cxn ang="0">
                <a:pos x="connsiteX34399" y="connsiteY34399"/>
              </a:cxn>
              <a:cxn ang="0">
                <a:pos x="connsiteX34400" y="connsiteY34400"/>
              </a:cxn>
              <a:cxn ang="0">
                <a:pos x="connsiteX34401" y="connsiteY34401"/>
              </a:cxn>
              <a:cxn ang="0">
                <a:pos x="connsiteX34402" y="connsiteY34402"/>
              </a:cxn>
              <a:cxn ang="0">
                <a:pos x="connsiteX34403" y="connsiteY34403"/>
              </a:cxn>
              <a:cxn ang="0">
                <a:pos x="connsiteX34404" y="connsiteY34404"/>
              </a:cxn>
              <a:cxn ang="0">
                <a:pos x="connsiteX34405" y="connsiteY34405"/>
              </a:cxn>
              <a:cxn ang="0">
                <a:pos x="connsiteX34406" y="connsiteY34406"/>
              </a:cxn>
              <a:cxn ang="0">
                <a:pos x="connsiteX34407" y="connsiteY34407"/>
              </a:cxn>
              <a:cxn ang="0">
                <a:pos x="connsiteX34408" y="connsiteY34408"/>
              </a:cxn>
              <a:cxn ang="0">
                <a:pos x="connsiteX34409" y="connsiteY34409"/>
              </a:cxn>
              <a:cxn ang="0">
                <a:pos x="connsiteX34410" y="connsiteY34410"/>
              </a:cxn>
              <a:cxn ang="0">
                <a:pos x="connsiteX34411" y="connsiteY34411"/>
              </a:cxn>
              <a:cxn ang="0">
                <a:pos x="connsiteX34412" y="connsiteY34412"/>
              </a:cxn>
              <a:cxn ang="0">
                <a:pos x="connsiteX34413" y="connsiteY34413"/>
              </a:cxn>
              <a:cxn ang="0">
                <a:pos x="connsiteX34414" y="connsiteY34414"/>
              </a:cxn>
              <a:cxn ang="0">
                <a:pos x="connsiteX34415" y="connsiteY34415"/>
              </a:cxn>
              <a:cxn ang="0">
                <a:pos x="connsiteX34416" y="connsiteY34416"/>
              </a:cxn>
              <a:cxn ang="0">
                <a:pos x="connsiteX34417" y="connsiteY34417"/>
              </a:cxn>
              <a:cxn ang="0">
                <a:pos x="connsiteX34418" y="connsiteY34418"/>
              </a:cxn>
              <a:cxn ang="0">
                <a:pos x="connsiteX34419" y="connsiteY34419"/>
              </a:cxn>
              <a:cxn ang="0">
                <a:pos x="connsiteX34420" y="connsiteY34420"/>
              </a:cxn>
              <a:cxn ang="0">
                <a:pos x="connsiteX34421" y="connsiteY34421"/>
              </a:cxn>
              <a:cxn ang="0">
                <a:pos x="connsiteX34422" y="connsiteY34422"/>
              </a:cxn>
              <a:cxn ang="0">
                <a:pos x="connsiteX34423" y="connsiteY34423"/>
              </a:cxn>
              <a:cxn ang="0">
                <a:pos x="connsiteX34424" y="connsiteY34424"/>
              </a:cxn>
              <a:cxn ang="0">
                <a:pos x="connsiteX34425" y="connsiteY34425"/>
              </a:cxn>
              <a:cxn ang="0">
                <a:pos x="connsiteX34426" y="connsiteY34426"/>
              </a:cxn>
              <a:cxn ang="0">
                <a:pos x="connsiteX34427" y="connsiteY34427"/>
              </a:cxn>
              <a:cxn ang="0">
                <a:pos x="connsiteX34428" y="connsiteY34428"/>
              </a:cxn>
              <a:cxn ang="0">
                <a:pos x="connsiteX34429" y="connsiteY34429"/>
              </a:cxn>
              <a:cxn ang="0">
                <a:pos x="connsiteX34430" y="connsiteY34430"/>
              </a:cxn>
              <a:cxn ang="0">
                <a:pos x="connsiteX34431" y="connsiteY34431"/>
              </a:cxn>
              <a:cxn ang="0">
                <a:pos x="connsiteX34432" y="connsiteY34432"/>
              </a:cxn>
              <a:cxn ang="0">
                <a:pos x="connsiteX34433" y="connsiteY34433"/>
              </a:cxn>
              <a:cxn ang="0">
                <a:pos x="connsiteX34434" y="connsiteY34434"/>
              </a:cxn>
              <a:cxn ang="0">
                <a:pos x="connsiteX34435" y="connsiteY34435"/>
              </a:cxn>
              <a:cxn ang="0">
                <a:pos x="connsiteX34436" y="connsiteY34436"/>
              </a:cxn>
              <a:cxn ang="0">
                <a:pos x="connsiteX34437" y="connsiteY34437"/>
              </a:cxn>
              <a:cxn ang="0">
                <a:pos x="connsiteX34438" y="connsiteY34438"/>
              </a:cxn>
              <a:cxn ang="0">
                <a:pos x="connsiteX34439" y="connsiteY34439"/>
              </a:cxn>
              <a:cxn ang="0">
                <a:pos x="connsiteX34440" y="connsiteY34440"/>
              </a:cxn>
              <a:cxn ang="0">
                <a:pos x="connsiteX34441" y="connsiteY34441"/>
              </a:cxn>
              <a:cxn ang="0">
                <a:pos x="connsiteX34442" y="connsiteY34442"/>
              </a:cxn>
              <a:cxn ang="0">
                <a:pos x="connsiteX34443" y="connsiteY34443"/>
              </a:cxn>
              <a:cxn ang="0">
                <a:pos x="connsiteX34444" y="connsiteY34444"/>
              </a:cxn>
              <a:cxn ang="0">
                <a:pos x="connsiteX34445" y="connsiteY34445"/>
              </a:cxn>
              <a:cxn ang="0">
                <a:pos x="connsiteX34446" y="connsiteY34446"/>
              </a:cxn>
              <a:cxn ang="0">
                <a:pos x="connsiteX34447" y="connsiteY34447"/>
              </a:cxn>
              <a:cxn ang="0">
                <a:pos x="connsiteX34448" y="connsiteY34448"/>
              </a:cxn>
              <a:cxn ang="0">
                <a:pos x="connsiteX34449" y="connsiteY34449"/>
              </a:cxn>
              <a:cxn ang="0">
                <a:pos x="connsiteX34450" y="connsiteY34450"/>
              </a:cxn>
              <a:cxn ang="0">
                <a:pos x="connsiteX34451" y="connsiteY34451"/>
              </a:cxn>
              <a:cxn ang="0">
                <a:pos x="connsiteX34452" y="connsiteY34452"/>
              </a:cxn>
              <a:cxn ang="0">
                <a:pos x="connsiteX34453" y="connsiteY34453"/>
              </a:cxn>
              <a:cxn ang="0">
                <a:pos x="connsiteX34454" y="connsiteY34454"/>
              </a:cxn>
              <a:cxn ang="0">
                <a:pos x="connsiteX34455" y="connsiteY34455"/>
              </a:cxn>
              <a:cxn ang="0">
                <a:pos x="connsiteX34456" y="connsiteY34456"/>
              </a:cxn>
              <a:cxn ang="0">
                <a:pos x="connsiteX34457" y="connsiteY34457"/>
              </a:cxn>
              <a:cxn ang="0">
                <a:pos x="connsiteX34458" y="connsiteY34458"/>
              </a:cxn>
              <a:cxn ang="0">
                <a:pos x="connsiteX34459" y="connsiteY34459"/>
              </a:cxn>
              <a:cxn ang="0">
                <a:pos x="connsiteX34460" y="connsiteY34460"/>
              </a:cxn>
              <a:cxn ang="0">
                <a:pos x="connsiteX34461" y="connsiteY34461"/>
              </a:cxn>
              <a:cxn ang="0">
                <a:pos x="connsiteX34462" y="connsiteY34462"/>
              </a:cxn>
              <a:cxn ang="0">
                <a:pos x="connsiteX34463" y="connsiteY34463"/>
              </a:cxn>
              <a:cxn ang="0">
                <a:pos x="connsiteX34464" y="connsiteY34464"/>
              </a:cxn>
              <a:cxn ang="0">
                <a:pos x="connsiteX34465" y="connsiteY34465"/>
              </a:cxn>
              <a:cxn ang="0">
                <a:pos x="connsiteX34466" y="connsiteY34466"/>
              </a:cxn>
              <a:cxn ang="0">
                <a:pos x="connsiteX34467" y="connsiteY34467"/>
              </a:cxn>
              <a:cxn ang="0">
                <a:pos x="connsiteX34468" y="connsiteY34468"/>
              </a:cxn>
              <a:cxn ang="0">
                <a:pos x="connsiteX34469" y="connsiteY34469"/>
              </a:cxn>
              <a:cxn ang="0">
                <a:pos x="connsiteX34470" y="connsiteY34470"/>
              </a:cxn>
              <a:cxn ang="0">
                <a:pos x="connsiteX34471" y="connsiteY34471"/>
              </a:cxn>
              <a:cxn ang="0">
                <a:pos x="connsiteX34472" y="connsiteY34472"/>
              </a:cxn>
              <a:cxn ang="0">
                <a:pos x="connsiteX34473" y="connsiteY34473"/>
              </a:cxn>
              <a:cxn ang="0">
                <a:pos x="connsiteX34474" y="connsiteY34474"/>
              </a:cxn>
              <a:cxn ang="0">
                <a:pos x="connsiteX34475" y="connsiteY34475"/>
              </a:cxn>
              <a:cxn ang="0">
                <a:pos x="connsiteX34476" y="connsiteY34476"/>
              </a:cxn>
              <a:cxn ang="0">
                <a:pos x="connsiteX34477" y="connsiteY34477"/>
              </a:cxn>
              <a:cxn ang="0">
                <a:pos x="connsiteX34478" y="connsiteY34478"/>
              </a:cxn>
              <a:cxn ang="0">
                <a:pos x="connsiteX34479" y="connsiteY34479"/>
              </a:cxn>
              <a:cxn ang="0">
                <a:pos x="connsiteX34480" y="connsiteY34480"/>
              </a:cxn>
              <a:cxn ang="0">
                <a:pos x="connsiteX34481" y="connsiteY34481"/>
              </a:cxn>
              <a:cxn ang="0">
                <a:pos x="connsiteX34482" y="connsiteY34482"/>
              </a:cxn>
              <a:cxn ang="0">
                <a:pos x="connsiteX34483" y="connsiteY34483"/>
              </a:cxn>
              <a:cxn ang="0">
                <a:pos x="connsiteX34484" y="connsiteY34484"/>
              </a:cxn>
              <a:cxn ang="0">
                <a:pos x="connsiteX34485" y="connsiteY34485"/>
              </a:cxn>
              <a:cxn ang="0">
                <a:pos x="connsiteX34486" y="connsiteY34486"/>
              </a:cxn>
              <a:cxn ang="0">
                <a:pos x="connsiteX34487" y="connsiteY34487"/>
              </a:cxn>
              <a:cxn ang="0">
                <a:pos x="connsiteX34488" y="connsiteY34488"/>
              </a:cxn>
              <a:cxn ang="0">
                <a:pos x="connsiteX34489" y="connsiteY34489"/>
              </a:cxn>
              <a:cxn ang="0">
                <a:pos x="connsiteX34490" y="connsiteY34490"/>
              </a:cxn>
              <a:cxn ang="0">
                <a:pos x="connsiteX34491" y="connsiteY34491"/>
              </a:cxn>
              <a:cxn ang="0">
                <a:pos x="connsiteX34492" y="connsiteY34492"/>
              </a:cxn>
              <a:cxn ang="0">
                <a:pos x="connsiteX34493" y="connsiteY34493"/>
              </a:cxn>
              <a:cxn ang="0">
                <a:pos x="connsiteX34494" y="connsiteY34494"/>
              </a:cxn>
              <a:cxn ang="0">
                <a:pos x="connsiteX34495" y="connsiteY34495"/>
              </a:cxn>
              <a:cxn ang="0">
                <a:pos x="connsiteX34496" y="connsiteY34496"/>
              </a:cxn>
              <a:cxn ang="0">
                <a:pos x="connsiteX34497" y="connsiteY34497"/>
              </a:cxn>
              <a:cxn ang="0">
                <a:pos x="connsiteX34498" y="connsiteY34498"/>
              </a:cxn>
              <a:cxn ang="0">
                <a:pos x="connsiteX34499" y="connsiteY34499"/>
              </a:cxn>
              <a:cxn ang="0">
                <a:pos x="connsiteX34500" y="connsiteY34500"/>
              </a:cxn>
              <a:cxn ang="0">
                <a:pos x="connsiteX34501" y="connsiteY34501"/>
              </a:cxn>
              <a:cxn ang="0">
                <a:pos x="connsiteX34502" y="connsiteY34502"/>
              </a:cxn>
              <a:cxn ang="0">
                <a:pos x="connsiteX34503" y="connsiteY34503"/>
              </a:cxn>
              <a:cxn ang="0">
                <a:pos x="connsiteX34504" y="connsiteY34504"/>
              </a:cxn>
              <a:cxn ang="0">
                <a:pos x="connsiteX34505" y="connsiteY34505"/>
              </a:cxn>
              <a:cxn ang="0">
                <a:pos x="connsiteX34506" y="connsiteY34506"/>
              </a:cxn>
              <a:cxn ang="0">
                <a:pos x="connsiteX34507" y="connsiteY34507"/>
              </a:cxn>
              <a:cxn ang="0">
                <a:pos x="connsiteX34508" y="connsiteY34508"/>
              </a:cxn>
              <a:cxn ang="0">
                <a:pos x="connsiteX34509" y="connsiteY34509"/>
              </a:cxn>
              <a:cxn ang="0">
                <a:pos x="connsiteX34510" y="connsiteY34510"/>
              </a:cxn>
              <a:cxn ang="0">
                <a:pos x="connsiteX34511" y="connsiteY34511"/>
              </a:cxn>
              <a:cxn ang="0">
                <a:pos x="connsiteX34512" y="connsiteY34512"/>
              </a:cxn>
              <a:cxn ang="0">
                <a:pos x="connsiteX34513" y="connsiteY34513"/>
              </a:cxn>
              <a:cxn ang="0">
                <a:pos x="connsiteX34514" y="connsiteY34514"/>
              </a:cxn>
              <a:cxn ang="0">
                <a:pos x="connsiteX34515" y="connsiteY34515"/>
              </a:cxn>
              <a:cxn ang="0">
                <a:pos x="connsiteX34516" y="connsiteY34516"/>
              </a:cxn>
              <a:cxn ang="0">
                <a:pos x="connsiteX34517" y="connsiteY34517"/>
              </a:cxn>
              <a:cxn ang="0">
                <a:pos x="connsiteX34518" y="connsiteY34518"/>
              </a:cxn>
              <a:cxn ang="0">
                <a:pos x="connsiteX34519" y="connsiteY34519"/>
              </a:cxn>
              <a:cxn ang="0">
                <a:pos x="connsiteX34520" y="connsiteY34520"/>
              </a:cxn>
              <a:cxn ang="0">
                <a:pos x="connsiteX34521" y="connsiteY34521"/>
              </a:cxn>
              <a:cxn ang="0">
                <a:pos x="connsiteX34522" y="connsiteY34522"/>
              </a:cxn>
              <a:cxn ang="0">
                <a:pos x="connsiteX34523" y="connsiteY34523"/>
              </a:cxn>
              <a:cxn ang="0">
                <a:pos x="connsiteX34524" y="connsiteY34524"/>
              </a:cxn>
              <a:cxn ang="0">
                <a:pos x="connsiteX34525" y="connsiteY34525"/>
              </a:cxn>
              <a:cxn ang="0">
                <a:pos x="connsiteX34526" y="connsiteY34526"/>
              </a:cxn>
              <a:cxn ang="0">
                <a:pos x="connsiteX34527" y="connsiteY34527"/>
              </a:cxn>
              <a:cxn ang="0">
                <a:pos x="connsiteX34528" y="connsiteY34528"/>
              </a:cxn>
              <a:cxn ang="0">
                <a:pos x="connsiteX34529" y="connsiteY34529"/>
              </a:cxn>
              <a:cxn ang="0">
                <a:pos x="connsiteX34530" y="connsiteY34530"/>
              </a:cxn>
              <a:cxn ang="0">
                <a:pos x="connsiteX34531" y="connsiteY34531"/>
              </a:cxn>
              <a:cxn ang="0">
                <a:pos x="connsiteX34532" y="connsiteY34532"/>
              </a:cxn>
              <a:cxn ang="0">
                <a:pos x="connsiteX34533" y="connsiteY34533"/>
              </a:cxn>
              <a:cxn ang="0">
                <a:pos x="connsiteX34534" y="connsiteY34534"/>
              </a:cxn>
              <a:cxn ang="0">
                <a:pos x="connsiteX34535" y="connsiteY34535"/>
              </a:cxn>
              <a:cxn ang="0">
                <a:pos x="connsiteX34536" y="connsiteY34536"/>
              </a:cxn>
              <a:cxn ang="0">
                <a:pos x="connsiteX34537" y="connsiteY34537"/>
              </a:cxn>
              <a:cxn ang="0">
                <a:pos x="connsiteX34538" y="connsiteY34538"/>
              </a:cxn>
              <a:cxn ang="0">
                <a:pos x="connsiteX34539" y="connsiteY34539"/>
              </a:cxn>
              <a:cxn ang="0">
                <a:pos x="connsiteX34540" y="connsiteY34540"/>
              </a:cxn>
              <a:cxn ang="0">
                <a:pos x="connsiteX34541" y="connsiteY34541"/>
              </a:cxn>
              <a:cxn ang="0">
                <a:pos x="connsiteX34542" y="connsiteY34542"/>
              </a:cxn>
              <a:cxn ang="0">
                <a:pos x="connsiteX34543" y="connsiteY34543"/>
              </a:cxn>
              <a:cxn ang="0">
                <a:pos x="connsiteX34544" y="connsiteY34544"/>
              </a:cxn>
              <a:cxn ang="0">
                <a:pos x="connsiteX34545" y="connsiteY34545"/>
              </a:cxn>
              <a:cxn ang="0">
                <a:pos x="connsiteX34546" y="connsiteY34546"/>
              </a:cxn>
              <a:cxn ang="0">
                <a:pos x="connsiteX34547" y="connsiteY34547"/>
              </a:cxn>
              <a:cxn ang="0">
                <a:pos x="connsiteX34548" y="connsiteY34548"/>
              </a:cxn>
              <a:cxn ang="0">
                <a:pos x="connsiteX34549" y="connsiteY34549"/>
              </a:cxn>
              <a:cxn ang="0">
                <a:pos x="connsiteX34550" y="connsiteY34550"/>
              </a:cxn>
              <a:cxn ang="0">
                <a:pos x="connsiteX34551" y="connsiteY34551"/>
              </a:cxn>
              <a:cxn ang="0">
                <a:pos x="connsiteX34552" y="connsiteY34552"/>
              </a:cxn>
              <a:cxn ang="0">
                <a:pos x="connsiteX34553" y="connsiteY34553"/>
              </a:cxn>
              <a:cxn ang="0">
                <a:pos x="connsiteX34554" y="connsiteY34554"/>
              </a:cxn>
              <a:cxn ang="0">
                <a:pos x="connsiteX34555" y="connsiteY34555"/>
              </a:cxn>
              <a:cxn ang="0">
                <a:pos x="connsiteX34556" y="connsiteY34556"/>
              </a:cxn>
              <a:cxn ang="0">
                <a:pos x="connsiteX34557" y="connsiteY34557"/>
              </a:cxn>
              <a:cxn ang="0">
                <a:pos x="connsiteX34558" y="connsiteY34558"/>
              </a:cxn>
              <a:cxn ang="0">
                <a:pos x="connsiteX34559" y="connsiteY34559"/>
              </a:cxn>
              <a:cxn ang="0">
                <a:pos x="connsiteX34560" y="connsiteY34560"/>
              </a:cxn>
              <a:cxn ang="0">
                <a:pos x="connsiteX34561" y="connsiteY34561"/>
              </a:cxn>
              <a:cxn ang="0">
                <a:pos x="connsiteX34562" y="connsiteY34562"/>
              </a:cxn>
              <a:cxn ang="0">
                <a:pos x="connsiteX34563" y="connsiteY34563"/>
              </a:cxn>
              <a:cxn ang="0">
                <a:pos x="connsiteX34564" y="connsiteY34564"/>
              </a:cxn>
              <a:cxn ang="0">
                <a:pos x="connsiteX34565" y="connsiteY34565"/>
              </a:cxn>
              <a:cxn ang="0">
                <a:pos x="connsiteX34566" y="connsiteY34566"/>
              </a:cxn>
              <a:cxn ang="0">
                <a:pos x="connsiteX34567" y="connsiteY34567"/>
              </a:cxn>
              <a:cxn ang="0">
                <a:pos x="connsiteX34568" y="connsiteY34568"/>
              </a:cxn>
              <a:cxn ang="0">
                <a:pos x="connsiteX34569" y="connsiteY34569"/>
              </a:cxn>
              <a:cxn ang="0">
                <a:pos x="connsiteX34570" y="connsiteY34570"/>
              </a:cxn>
              <a:cxn ang="0">
                <a:pos x="connsiteX34571" y="connsiteY34571"/>
              </a:cxn>
              <a:cxn ang="0">
                <a:pos x="connsiteX34572" y="connsiteY34572"/>
              </a:cxn>
              <a:cxn ang="0">
                <a:pos x="connsiteX34573" y="connsiteY34573"/>
              </a:cxn>
              <a:cxn ang="0">
                <a:pos x="connsiteX34574" y="connsiteY34574"/>
              </a:cxn>
              <a:cxn ang="0">
                <a:pos x="connsiteX34575" y="connsiteY34575"/>
              </a:cxn>
              <a:cxn ang="0">
                <a:pos x="connsiteX34576" y="connsiteY34576"/>
              </a:cxn>
              <a:cxn ang="0">
                <a:pos x="connsiteX34577" y="connsiteY34577"/>
              </a:cxn>
              <a:cxn ang="0">
                <a:pos x="connsiteX34578" y="connsiteY34578"/>
              </a:cxn>
              <a:cxn ang="0">
                <a:pos x="connsiteX34579" y="connsiteY34579"/>
              </a:cxn>
              <a:cxn ang="0">
                <a:pos x="connsiteX34580" y="connsiteY34580"/>
              </a:cxn>
              <a:cxn ang="0">
                <a:pos x="connsiteX34581" y="connsiteY34581"/>
              </a:cxn>
              <a:cxn ang="0">
                <a:pos x="connsiteX34582" y="connsiteY34582"/>
              </a:cxn>
              <a:cxn ang="0">
                <a:pos x="connsiteX34583" y="connsiteY34583"/>
              </a:cxn>
              <a:cxn ang="0">
                <a:pos x="connsiteX34584" y="connsiteY34584"/>
              </a:cxn>
              <a:cxn ang="0">
                <a:pos x="connsiteX34585" y="connsiteY34585"/>
              </a:cxn>
              <a:cxn ang="0">
                <a:pos x="connsiteX34586" y="connsiteY34586"/>
              </a:cxn>
              <a:cxn ang="0">
                <a:pos x="connsiteX34587" y="connsiteY34587"/>
              </a:cxn>
              <a:cxn ang="0">
                <a:pos x="connsiteX34588" y="connsiteY34588"/>
              </a:cxn>
              <a:cxn ang="0">
                <a:pos x="connsiteX34589" y="connsiteY34589"/>
              </a:cxn>
              <a:cxn ang="0">
                <a:pos x="connsiteX34590" y="connsiteY34590"/>
              </a:cxn>
              <a:cxn ang="0">
                <a:pos x="connsiteX34591" y="connsiteY34591"/>
              </a:cxn>
              <a:cxn ang="0">
                <a:pos x="connsiteX34592" y="connsiteY34592"/>
              </a:cxn>
              <a:cxn ang="0">
                <a:pos x="connsiteX34593" y="connsiteY34593"/>
              </a:cxn>
              <a:cxn ang="0">
                <a:pos x="connsiteX34594" y="connsiteY34594"/>
              </a:cxn>
              <a:cxn ang="0">
                <a:pos x="connsiteX34595" y="connsiteY34595"/>
              </a:cxn>
              <a:cxn ang="0">
                <a:pos x="connsiteX34596" y="connsiteY34596"/>
              </a:cxn>
              <a:cxn ang="0">
                <a:pos x="connsiteX34597" y="connsiteY34597"/>
              </a:cxn>
              <a:cxn ang="0">
                <a:pos x="connsiteX34598" y="connsiteY34598"/>
              </a:cxn>
              <a:cxn ang="0">
                <a:pos x="connsiteX34599" y="connsiteY34599"/>
              </a:cxn>
              <a:cxn ang="0">
                <a:pos x="connsiteX34600" y="connsiteY34600"/>
              </a:cxn>
              <a:cxn ang="0">
                <a:pos x="connsiteX34601" y="connsiteY34601"/>
              </a:cxn>
              <a:cxn ang="0">
                <a:pos x="connsiteX34602" y="connsiteY34602"/>
              </a:cxn>
              <a:cxn ang="0">
                <a:pos x="connsiteX34603" y="connsiteY34603"/>
              </a:cxn>
              <a:cxn ang="0">
                <a:pos x="connsiteX34604" y="connsiteY34604"/>
              </a:cxn>
              <a:cxn ang="0">
                <a:pos x="connsiteX34605" y="connsiteY34605"/>
              </a:cxn>
              <a:cxn ang="0">
                <a:pos x="connsiteX34606" y="connsiteY34606"/>
              </a:cxn>
              <a:cxn ang="0">
                <a:pos x="connsiteX34607" y="connsiteY34607"/>
              </a:cxn>
              <a:cxn ang="0">
                <a:pos x="connsiteX34608" y="connsiteY34608"/>
              </a:cxn>
              <a:cxn ang="0">
                <a:pos x="connsiteX34609" y="connsiteY34609"/>
              </a:cxn>
              <a:cxn ang="0">
                <a:pos x="connsiteX34610" y="connsiteY34610"/>
              </a:cxn>
              <a:cxn ang="0">
                <a:pos x="connsiteX34611" y="connsiteY34611"/>
              </a:cxn>
              <a:cxn ang="0">
                <a:pos x="connsiteX34612" y="connsiteY34612"/>
              </a:cxn>
              <a:cxn ang="0">
                <a:pos x="connsiteX34613" y="connsiteY34613"/>
              </a:cxn>
              <a:cxn ang="0">
                <a:pos x="connsiteX34614" y="connsiteY34614"/>
              </a:cxn>
              <a:cxn ang="0">
                <a:pos x="connsiteX34615" y="connsiteY34615"/>
              </a:cxn>
              <a:cxn ang="0">
                <a:pos x="connsiteX34616" y="connsiteY34616"/>
              </a:cxn>
              <a:cxn ang="0">
                <a:pos x="connsiteX34617" y="connsiteY34617"/>
              </a:cxn>
              <a:cxn ang="0">
                <a:pos x="connsiteX34618" y="connsiteY34618"/>
              </a:cxn>
              <a:cxn ang="0">
                <a:pos x="connsiteX34619" y="connsiteY34619"/>
              </a:cxn>
              <a:cxn ang="0">
                <a:pos x="connsiteX34620" y="connsiteY34620"/>
              </a:cxn>
              <a:cxn ang="0">
                <a:pos x="connsiteX34621" y="connsiteY34621"/>
              </a:cxn>
              <a:cxn ang="0">
                <a:pos x="connsiteX34622" y="connsiteY34622"/>
              </a:cxn>
              <a:cxn ang="0">
                <a:pos x="connsiteX34623" y="connsiteY34623"/>
              </a:cxn>
              <a:cxn ang="0">
                <a:pos x="connsiteX34624" y="connsiteY34624"/>
              </a:cxn>
              <a:cxn ang="0">
                <a:pos x="connsiteX34625" y="connsiteY34625"/>
              </a:cxn>
              <a:cxn ang="0">
                <a:pos x="connsiteX34626" y="connsiteY34626"/>
              </a:cxn>
              <a:cxn ang="0">
                <a:pos x="connsiteX34627" y="connsiteY34627"/>
              </a:cxn>
              <a:cxn ang="0">
                <a:pos x="connsiteX34628" y="connsiteY34628"/>
              </a:cxn>
              <a:cxn ang="0">
                <a:pos x="connsiteX34629" y="connsiteY34629"/>
              </a:cxn>
              <a:cxn ang="0">
                <a:pos x="connsiteX34630" y="connsiteY34630"/>
              </a:cxn>
              <a:cxn ang="0">
                <a:pos x="connsiteX34631" y="connsiteY34631"/>
              </a:cxn>
              <a:cxn ang="0">
                <a:pos x="connsiteX34632" y="connsiteY34632"/>
              </a:cxn>
              <a:cxn ang="0">
                <a:pos x="connsiteX34633" y="connsiteY34633"/>
              </a:cxn>
              <a:cxn ang="0">
                <a:pos x="connsiteX34634" y="connsiteY34634"/>
              </a:cxn>
              <a:cxn ang="0">
                <a:pos x="connsiteX34635" y="connsiteY34635"/>
              </a:cxn>
              <a:cxn ang="0">
                <a:pos x="connsiteX34636" y="connsiteY34636"/>
              </a:cxn>
              <a:cxn ang="0">
                <a:pos x="connsiteX34637" y="connsiteY34637"/>
              </a:cxn>
              <a:cxn ang="0">
                <a:pos x="connsiteX34638" y="connsiteY34638"/>
              </a:cxn>
              <a:cxn ang="0">
                <a:pos x="connsiteX34639" y="connsiteY34639"/>
              </a:cxn>
              <a:cxn ang="0">
                <a:pos x="connsiteX34640" y="connsiteY34640"/>
              </a:cxn>
              <a:cxn ang="0">
                <a:pos x="connsiteX34641" y="connsiteY34641"/>
              </a:cxn>
              <a:cxn ang="0">
                <a:pos x="connsiteX34642" y="connsiteY34642"/>
              </a:cxn>
              <a:cxn ang="0">
                <a:pos x="connsiteX34643" y="connsiteY34643"/>
              </a:cxn>
              <a:cxn ang="0">
                <a:pos x="connsiteX34644" y="connsiteY34644"/>
              </a:cxn>
              <a:cxn ang="0">
                <a:pos x="connsiteX34645" y="connsiteY34645"/>
              </a:cxn>
              <a:cxn ang="0">
                <a:pos x="connsiteX34646" y="connsiteY34646"/>
              </a:cxn>
              <a:cxn ang="0">
                <a:pos x="connsiteX34647" y="connsiteY34647"/>
              </a:cxn>
              <a:cxn ang="0">
                <a:pos x="connsiteX34648" y="connsiteY34648"/>
              </a:cxn>
              <a:cxn ang="0">
                <a:pos x="connsiteX34649" y="connsiteY34649"/>
              </a:cxn>
              <a:cxn ang="0">
                <a:pos x="connsiteX34650" y="connsiteY34650"/>
              </a:cxn>
              <a:cxn ang="0">
                <a:pos x="connsiteX34651" y="connsiteY34651"/>
              </a:cxn>
              <a:cxn ang="0">
                <a:pos x="connsiteX34652" y="connsiteY34652"/>
              </a:cxn>
              <a:cxn ang="0">
                <a:pos x="connsiteX34653" y="connsiteY34653"/>
              </a:cxn>
              <a:cxn ang="0">
                <a:pos x="connsiteX34654" y="connsiteY34654"/>
              </a:cxn>
              <a:cxn ang="0">
                <a:pos x="connsiteX34655" y="connsiteY34655"/>
              </a:cxn>
              <a:cxn ang="0">
                <a:pos x="connsiteX34656" y="connsiteY34656"/>
              </a:cxn>
              <a:cxn ang="0">
                <a:pos x="connsiteX34657" y="connsiteY34657"/>
              </a:cxn>
              <a:cxn ang="0">
                <a:pos x="connsiteX34658" y="connsiteY34658"/>
              </a:cxn>
              <a:cxn ang="0">
                <a:pos x="connsiteX34659" y="connsiteY34659"/>
              </a:cxn>
              <a:cxn ang="0">
                <a:pos x="connsiteX34660" y="connsiteY34660"/>
              </a:cxn>
              <a:cxn ang="0">
                <a:pos x="connsiteX34661" y="connsiteY34661"/>
              </a:cxn>
              <a:cxn ang="0">
                <a:pos x="connsiteX34662" y="connsiteY34662"/>
              </a:cxn>
              <a:cxn ang="0">
                <a:pos x="connsiteX34663" y="connsiteY34663"/>
              </a:cxn>
              <a:cxn ang="0">
                <a:pos x="connsiteX34664" y="connsiteY34664"/>
              </a:cxn>
              <a:cxn ang="0">
                <a:pos x="connsiteX34665" y="connsiteY34665"/>
              </a:cxn>
              <a:cxn ang="0">
                <a:pos x="connsiteX34666" y="connsiteY34666"/>
              </a:cxn>
              <a:cxn ang="0">
                <a:pos x="connsiteX34667" y="connsiteY34667"/>
              </a:cxn>
              <a:cxn ang="0">
                <a:pos x="connsiteX34668" y="connsiteY34668"/>
              </a:cxn>
              <a:cxn ang="0">
                <a:pos x="connsiteX34669" y="connsiteY34669"/>
              </a:cxn>
              <a:cxn ang="0">
                <a:pos x="connsiteX34670" y="connsiteY34670"/>
              </a:cxn>
              <a:cxn ang="0">
                <a:pos x="connsiteX34671" y="connsiteY34671"/>
              </a:cxn>
              <a:cxn ang="0">
                <a:pos x="connsiteX34672" y="connsiteY34672"/>
              </a:cxn>
              <a:cxn ang="0">
                <a:pos x="connsiteX34673" y="connsiteY34673"/>
              </a:cxn>
              <a:cxn ang="0">
                <a:pos x="connsiteX34674" y="connsiteY34674"/>
              </a:cxn>
              <a:cxn ang="0">
                <a:pos x="connsiteX34675" y="connsiteY34675"/>
              </a:cxn>
              <a:cxn ang="0">
                <a:pos x="connsiteX34676" y="connsiteY34676"/>
              </a:cxn>
              <a:cxn ang="0">
                <a:pos x="connsiteX34677" y="connsiteY34677"/>
              </a:cxn>
              <a:cxn ang="0">
                <a:pos x="connsiteX34678" y="connsiteY34678"/>
              </a:cxn>
              <a:cxn ang="0">
                <a:pos x="connsiteX34679" y="connsiteY34679"/>
              </a:cxn>
              <a:cxn ang="0">
                <a:pos x="connsiteX34680" y="connsiteY34680"/>
              </a:cxn>
              <a:cxn ang="0">
                <a:pos x="connsiteX34681" y="connsiteY34681"/>
              </a:cxn>
              <a:cxn ang="0">
                <a:pos x="connsiteX34682" y="connsiteY34682"/>
              </a:cxn>
              <a:cxn ang="0">
                <a:pos x="connsiteX34683" y="connsiteY34683"/>
              </a:cxn>
              <a:cxn ang="0">
                <a:pos x="connsiteX34684" y="connsiteY34684"/>
              </a:cxn>
              <a:cxn ang="0">
                <a:pos x="connsiteX34685" y="connsiteY34685"/>
              </a:cxn>
              <a:cxn ang="0">
                <a:pos x="connsiteX34686" y="connsiteY34686"/>
              </a:cxn>
              <a:cxn ang="0">
                <a:pos x="connsiteX34687" y="connsiteY34687"/>
              </a:cxn>
              <a:cxn ang="0">
                <a:pos x="connsiteX34688" y="connsiteY34688"/>
              </a:cxn>
              <a:cxn ang="0">
                <a:pos x="connsiteX34689" y="connsiteY34689"/>
              </a:cxn>
              <a:cxn ang="0">
                <a:pos x="connsiteX34690" y="connsiteY34690"/>
              </a:cxn>
              <a:cxn ang="0">
                <a:pos x="connsiteX34691" y="connsiteY34691"/>
              </a:cxn>
              <a:cxn ang="0">
                <a:pos x="connsiteX34692" y="connsiteY34692"/>
              </a:cxn>
              <a:cxn ang="0">
                <a:pos x="connsiteX34693" y="connsiteY34693"/>
              </a:cxn>
              <a:cxn ang="0">
                <a:pos x="connsiteX34694" y="connsiteY34694"/>
              </a:cxn>
              <a:cxn ang="0">
                <a:pos x="connsiteX34695" y="connsiteY34695"/>
              </a:cxn>
              <a:cxn ang="0">
                <a:pos x="connsiteX34696" y="connsiteY34696"/>
              </a:cxn>
              <a:cxn ang="0">
                <a:pos x="connsiteX34697" y="connsiteY34697"/>
              </a:cxn>
              <a:cxn ang="0">
                <a:pos x="connsiteX34698" y="connsiteY34698"/>
              </a:cxn>
              <a:cxn ang="0">
                <a:pos x="connsiteX34699" y="connsiteY34699"/>
              </a:cxn>
              <a:cxn ang="0">
                <a:pos x="connsiteX34700" y="connsiteY34700"/>
              </a:cxn>
              <a:cxn ang="0">
                <a:pos x="connsiteX34701" y="connsiteY34701"/>
              </a:cxn>
              <a:cxn ang="0">
                <a:pos x="connsiteX34702" y="connsiteY34702"/>
              </a:cxn>
              <a:cxn ang="0">
                <a:pos x="connsiteX34703" y="connsiteY34703"/>
              </a:cxn>
              <a:cxn ang="0">
                <a:pos x="connsiteX34704" y="connsiteY34704"/>
              </a:cxn>
              <a:cxn ang="0">
                <a:pos x="connsiteX34705" y="connsiteY34705"/>
              </a:cxn>
              <a:cxn ang="0">
                <a:pos x="connsiteX34706" y="connsiteY34706"/>
              </a:cxn>
              <a:cxn ang="0">
                <a:pos x="connsiteX34707" y="connsiteY34707"/>
              </a:cxn>
              <a:cxn ang="0">
                <a:pos x="connsiteX34708" y="connsiteY34708"/>
              </a:cxn>
              <a:cxn ang="0">
                <a:pos x="connsiteX34709" y="connsiteY34709"/>
              </a:cxn>
              <a:cxn ang="0">
                <a:pos x="connsiteX34710" y="connsiteY34710"/>
              </a:cxn>
              <a:cxn ang="0">
                <a:pos x="connsiteX34711" y="connsiteY34711"/>
              </a:cxn>
              <a:cxn ang="0">
                <a:pos x="connsiteX34712" y="connsiteY34712"/>
              </a:cxn>
              <a:cxn ang="0">
                <a:pos x="connsiteX34713" y="connsiteY34713"/>
              </a:cxn>
              <a:cxn ang="0">
                <a:pos x="connsiteX34714" y="connsiteY34714"/>
              </a:cxn>
              <a:cxn ang="0">
                <a:pos x="connsiteX34715" y="connsiteY34715"/>
              </a:cxn>
              <a:cxn ang="0">
                <a:pos x="connsiteX34716" y="connsiteY34716"/>
              </a:cxn>
              <a:cxn ang="0">
                <a:pos x="connsiteX34717" y="connsiteY34717"/>
              </a:cxn>
              <a:cxn ang="0">
                <a:pos x="connsiteX34718" y="connsiteY34718"/>
              </a:cxn>
              <a:cxn ang="0">
                <a:pos x="connsiteX34719" y="connsiteY34719"/>
              </a:cxn>
              <a:cxn ang="0">
                <a:pos x="connsiteX34720" y="connsiteY34720"/>
              </a:cxn>
              <a:cxn ang="0">
                <a:pos x="connsiteX34721" y="connsiteY34721"/>
              </a:cxn>
              <a:cxn ang="0">
                <a:pos x="connsiteX34722" y="connsiteY34722"/>
              </a:cxn>
              <a:cxn ang="0">
                <a:pos x="connsiteX34723" y="connsiteY34723"/>
              </a:cxn>
              <a:cxn ang="0">
                <a:pos x="connsiteX34724" y="connsiteY34724"/>
              </a:cxn>
              <a:cxn ang="0">
                <a:pos x="connsiteX34725" y="connsiteY34725"/>
              </a:cxn>
              <a:cxn ang="0">
                <a:pos x="connsiteX34726" y="connsiteY34726"/>
              </a:cxn>
              <a:cxn ang="0">
                <a:pos x="connsiteX34727" y="connsiteY34727"/>
              </a:cxn>
              <a:cxn ang="0">
                <a:pos x="connsiteX34728" y="connsiteY34728"/>
              </a:cxn>
              <a:cxn ang="0">
                <a:pos x="connsiteX34729" y="connsiteY34729"/>
              </a:cxn>
              <a:cxn ang="0">
                <a:pos x="connsiteX34730" y="connsiteY34730"/>
              </a:cxn>
              <a:cxn ang="0">
                <a:pos x="connsiteX34731" y="connsiteY34731"/>
              </a:cxn>
              <a:cxn ang="0">
                <a:pos x="connsiteX34732" y="connsiteY34732"/>
              </a:cxn>
              <a:cxn ang="0">
                <a:pos x="connsiteX34733" y="connsiteY34733"/>
              </a:cxn>
              <a:cxn ang="0">
                <a:pos x="connsiteX34734" y="connsiteY34734"/>
              </a:cxn>
              <a:cxn ang="0">
                <a:pos x="connsiteX34735" y="connsiteY34735"/>
              </a:cxn>
              <a:cxn ang="0">
                <a:pos x="connsiteX34736" y="connsiteY34736"/>
              </a:cxn>
              <a:cxn ang="0">
                <a:pos x="connsiteX34737" y="connsiteY34737"/>
              </a:cxn>
              <a:cxn ang="0">
                <a:pos x="connsiteX34738" y="connsiteY34738"/>
              </a:cxn>
              <a:cxn ang="0">
                <a:pos x="connsiteX34739" y="connsiteY34739"/>
              </a:cxn>
              <a:cxn ang="0">
                <a:pos x="connsiteX34740" y="connsiteY34740"/>
              </a:cxn>
              <a:cxn ang="0">
                <a:pos x="connsiteX34741" y="connsiteY34741"/>
              </a:cxn>
              <a:cxn ang="0">
                <a:pos x="connsiteX34742" y="connsiteY34742"/>
              </a:cxn>
              <a:cxn ang="0">
                <a:pos x="connsiteX34743" y="connsiteY34743"/>
              </a:cxn>
              <a:cxn ang="0">
                <a:pos x="connsiteX34744" y="connsiteY34744"/>
              </a:cxn>
              <a:cxn ang="0">
                <a:pos x="connsiteX34745" y="connsiteY34745"/>
              </a:cxn>
              <a:cxn ang="0">
                <a:pos x="connsiteX34746" y="connsiteY34746"/>
              </a:cxn>
              <a:cxn ang="0">
                <a:pos x="connsiteX34747" y="connsiteY34747"/>
              </a:cxn>
              <a:cxn ang="0">
                <a:pos x="connsiteX34748" y="connsiteY34748"/>
              </a:cxn>
              <a:cxn ang="0">
                <a:pos x="connsiteX34749" y="connsiteY34749"/>
              </a:cxn>
              <a:cxn ang="0">
                <a:pos x="connsiteX34750" y="connsiteY34750"/>
              </a:cxn>
              <a:cxn ang="0">
                <a:pos x="connsiteX34751" y="connsiteY34751"/>
              </a:cxn>
              <a:cxn ang="0">
                <a:pos x="connsiteX34752" y="connsiteY34752"/>
              </a:cxn>
              <a:cxn ang="0">
                <a:pos x="connsiteX34753" y="connsiteY34753"/>
              </a:cxn>
              <a:cxn ang="0">
                <a:pos x="connsiteX34754" y="connsiteY34754"/>
              </a:cxn>
              <a:cxn ang="0">
                <a:pos x="connsiteX34755" y="connsiteY34755"/>
              </a:cxn>
              <a:cxn ang="0">
                <a:pos x="connsiteX34756" y="connsiteY34756"/>
              </a:cxn>
              <a:cxn ang="0">
                <a:pos x="connsiteX34757" y="connsiteY34757"/>
              </a:cxn>
              <a:cxn ang="0">
                <a:pos x="connsiteX34758" y="connsiteY34758"/>
              </a:cxn>
              <a:cxn ang="0">
                <a:pos x="connsiteX34759" y="connsiteY34759"/>
              </a:cxn>
              <a:cxn ang="0">
                <a:pos x="connsiteX34760" y="connsiteY34760"/>
              </a:cxn>
              <a:cxn ang="0">
                <a:pos x="connsiteX34761" y="connsiteY34761"/>
              </a:cxn>
              <a:cxn ang="0">
                <a:pos x="connsiteX34762" y="connsiteY34762"/>
              </a:cxn>
              <a:cxn ang="0">
                <a:pos x="connsiteX34763" y="connsiteY34763"/>
              </a:cxn>
              <a:cxn ang="0">
                <a:pos x="connsiteX34764" y="connsiteY34764"/>
              </a:cxn>
              <a:cxn ang="0">
                <a:pos x="connsiteX34765" y="connsiteY34765"/>
              </a:cxn>
              <a:cxn ang="0">
                <a:pos x="connsiteX34766" y="connsiteY34766"/>
              </a:cxn>
              <a:cxn ang="0">
                <a:pos x="connsiteX34767" y="connsiteY34767"/>
              </a:cxn>
              <a:cxn ang="0">
                <a:pos x="connsiteX34768" y="connsiteY34768"/>
              </a:cxn>
              <a:cxn ang="0">
                <a:pos x="connsiteX34769" y="connsiteY34769"/>
              </a:cxn>
              <a:cxn ang="0">
                <a:pos x="connsiteX34770" y="connsiteY34770"/>
              </a:cxn>
              <a:cxn ang="0">
                <a:pos x="connsiteX34771" y="connsiteY34771"/>
              </a:cxn>
              <a:cxn ang="0">
                <a:pos x="connsiteX34772" y="connsiteY34772"/>
              </a:cxn>
              <a:cxn ang="0">
                <a:pos x="connsiteX34773" y="connsiteY34773"/>
              </a:cxn>
              <a:cxn ang="0">
                <a:pos x="connsiteX34774" y="connsiteY34774"/>
              </a:cxn>
              <a:cxn ang="0">
                <a:pos x="connsiteX34775" y="connsiteY34775"/>
              </a:cxn>
              <a:cxn ang="0">
                <a:pos x="connsiteX34776" y="connsiteY34776"/>
              </a:cxn>
              <a:cxn ang="0">
                <a:pos x="connsiteX34777" y="connsiteY34777"/>
              </a:cxn>
              <a:cxn ang="0">
                <a:pos x="connsiteX34778" y="connsiteY34778"/>
              </a:cxn>
              <a:cxn ang="0">
                <a:pos x="connsiteX34779" y="connsiteY34779"/>
              </a:cxn>
              <a:cxn ang="0">
                <a:pos x="connsiteX34780" y="connsiteY34780"/>
              </a:cxn>
              <a:cxn ang="0">
                <a:pos x="connsiteX34781" y="connsiteY34781"/>
              </a:cxn>
              <a:cxn ang="0">
                <a:pos x="connsiteX34782" y="connsiteY34782"/>
              </a:cxn>
              <a:cxn ang="0">
                <a:pos x="connsiteX34783" y="connsiteY34783"/>
              </a:cxn>
              <a:cxn ang="0">
                <a:pos x="connsiteX34784" y="connsiteY34784"/>
              </a:cxn>
              <a:cxn ang="0">
                <a:pos x="connsiteX34785" y="connsiteY34785"/>
              </a:cxn>
              <a:cxn ang="0">
                <a:pos x="connsiteX34786" y="connsiteY34786"/>
              </a:cxn>
              <a:cxn ang="0">
                <a:pos x="connsiteX34787" y="connsiteY34787"/>
              </a:cxn>
              <a:cxn ang="0">
                <a:pos x="connsiteX34788" y="connsiteY34788"/>
              </a:cxn>
              <a:cxn ang="0">
                <a:pos x="connsiteX34789" y="connsiteY34789"/>
              </a:cxn>
              <a:cxn ang="0">
                <a:pos x="connsiteX34790" y="connsiteY34790"/>
              </a:cxn>
              <a:cxn ang="0">
                <a:pos x="connsiteX34791" y="connsiteY34791"/>
              </a:cxn>
              <a:cxn ang="0">
                <a:pos x="connsiteX34792" y="connsiteY34792"/>
              </a:cxn>
              <a:cxn ang="0">
                <a:pos x="connsiteX34793" y="connsiteY34793"/>
              </a:cxn>
              <a:cxn ang="0">
                <a:pos x="connsiteX34794" y="connsiteY34794"/>
              </a:cxn>
              <a:cxn ang="0">
                <a:pos x="connsiteX34795" y="connsiteY34795"/>
              </a:cxn>
              <a:cxn ang="0">
                <a:pos x="connsiteX34796" y="connsiteY34796"/>
              </a:cxn>
              <a:cxn ang="0">
                <a:pos x="connsiteX34797" y="connsiteY34797"/>
              </a:cxn>
              <a:cxn ang="0">
                <a:pos x="connsiteX34798" y="connsiteY34798"/>
              </a:cxn>
              <a:cxn ang="0">
                <a:pos x="connsiteX34799" y="connsiteY34799"/>
              </a:cxn>
              <a:cxn ang="0">
                <a:pos x="connsiteX34800" y="connsiteY34800"/>
              </a:cxn>
              <a:cxn ang="0">
                <a:pos x="connsiteX34801" y="connsiteY34801"/>
              </a:cxn>
              <a:cxn ang="0">
                <a:pos x="connsiteX34802" y="connsiteY34802"/>
              </a:cxn>
              <a:cxn ang="0">
                <a:pos x="connsiteX34803" y="connsiteY34803"/>
              </a:cxn>
              <a:cxn ang="0">
                <a:pos x="connsiteX34804" y="connsiteY34804"/>
              </a:cxn>
              <a:cxn ang="0">
                <a:pos x="connsiteX34805" y="connsiteY34805"/>
              </a:cxn>
              <a:cxn ang="0">
                <a:pos x="connsiteX34806" y="connsiteY34806"/>
              </a:cxn>
              <a:cxn ang="0">
                <a:pos x="connsiteX34807" y="connsiteY34807"/>
              </a:cxn>
              <a:cxn ang="0">
                <a:pos x="connsiteX34808" y="connsiteY34808"/>
              </a:cxn>
              <a:cxn ang="0">
                <a:pos x="connsiteX34809" y="connsiteY34809"/>
              </a:cxn>
              <a:cxn ang="0">
                <a:pos x="connsiteX34810" y="connsiteY34810"/>
              </a:cxn>
              <a:cxn ang="0">
                <a:pos x="connsiteX34811" y="connsiteY34811"/>
              </a:cxn>
              <a:cxn ang="0">
                <a:pos x="connsiteX34812" y="connsiteY34812"/>
              </a:cxn>
              <a:cxn ang="0">
                <a:pos x="connsiteX34813" y="connsiteY34813"/>
              </a:cxn>
              <a:cxn ang="0">
                <a:pos x="connsiteX34814" y="connsiteY34814"/>
              </a:cxn>
              <a:cxn ang="0">
                <a:pos x="connsiteX34815" y="connsiteY34815"/>
              </a:cxn>
              <a:cxn ang="0">
                <a:pos x="connsiteX34816" y="connsiteY34816"/>
              </a:cxn>
              <a:cxn ang="0">
                <a:pos x="connsiteX34817" y="connsiteY34817"/>
              </a:cxn>
              <a:cxn ang="0">
                <a:pos x="connsiteX34818" y="connsiteY34818"/>
              </a:cxn>
              <a:cxn ang="0">
                <a:pos x="connsiteX34819" y="connsiteY34819"/>
              </a:cxn>
              <a:cxn ang="0">
                <a:pos x="connsiteX34820" y="connsiteY34820"/>
              </a:cxn>
              <a:cxn ang="0">
                <a:pos x="connsiteX34821" y="connsiteY34821"/>
              </a:cxn>
              <a:cxn ang="0">
                <a:pos x="connsiteX34822" y="connsiteY34822"/>
              </a:cxn>
              <a:cxn ang="0">
                <a:pos x="connsiteX34823" y="connsiteY34823"/>
              </a:cxn>
              <a:cxn ang="0">
                <a:pos x="connsiteX34824" y="connsiteY34824"/>
              </a:cxn>
              <a:cxn ang="0">
                <a:pos x="connsiteX34825" y="connsiteY34825"/>
              </a:cxn>
              <a:cxn ang="0">
                <a:pos x="connsiteX34826" y="connsiteY34826"/>
              </a:cxn>
              <a:cxn ang="0">
                <a:pos x="connsiteX34827" y="connsiteY34827"/>
              </a:cxn>
              <a:cxn ang="0">
                <a:pos x="connsiteX34828" y="connsiteY34828"/>
              </a:cxn>
              <a:cxn ang="0">
                <a:pos x="connsiteX34829" y="connsiteY34829"/>
              </a:cxn>
              <a:cxn ang="0">
                <a:pos x="connsiteX34830" y="connsiteY34830"/>
              </a:cxn>
              <a:cxn ang="0">
                <a:pos x="connsiteX34831" y="connsiteY34831"/>
              </a:cxn>
              <a:cxn ang="0">
                <a:pos x="connsiteX34832" y="connsiteY34832"/>
              </a:cxn>
              <a:cxn ang="0">
                <a:pos x="connsiteX34833" y="connsiteY34833"/>
              </a:cxn>
              <a:cxn ang="0">
                <a:pos x="connsiteX34834" y="connsiteY34834"/>
              </a:cxn>
              <a:cxn ang="0">
                <a:pos x="connsiteX34835" y="connsiteY34835"/>
              </a:cxn>
              <a:cxn ang="0">
                <a:pos x="connsiteX34836" y="connsiteY34836"/>
              </a:cxn>
              <a:cxn ang="0">
                <a:pos x="connsiteX34837" y="connsiteY34837"/>
              </a:cxn>
              <a:cxn ang="0">
                <a:pos x="connsiteX34838" y="connsiteY34838"/>
              </a:cxn>
              <a:cxn ang="0">
                <a:pos x="connsiteX34839" y="connsiteY34839"/>
              </a:cxn>
              <a:cxn ang="0">
                <a:pos x="connsiteX34840" y="connsiteY34840"/>
              </a:cxn>
              <a:cxn ang="0">
                <a:pos x="connsiteX34841" y="connsiteY34841"/>
              </a:cxn>
              <a:cxn ang="0">
                <a:pos x="connsiteX34842" y="connsiteY34842"/>
              </a:cxn>
              <a:cxn ang="0">
                <a:pos x="connsiteX34843" y="connsiteY34843"/>
              </a:cxn>
              <a:cxn ang="0">
                <a:pos x="connsiteX34844" y="connsiteY34844"/>
              </a:cxn>
              <a:cxn ang="0">
                <a:pos x="connsiteX34845" y="connsiteY34845"/>
              </a:cxn>
              <a:cxn ang="0">
                <a:pos x="connsiteX34846" y="connsiteY34846"/>
              </a:cxn>
              <a:cxn ang="0">
                <a:pos x="connsiteX34847" y="connsiteY34847"/>
              </a:cxn>
              <a:cxn ang="0">
                <a:pos x="connsiteX34848" y="connsiteY34848"/>
              </a:cxn>
              <a:cxn ang="0">
                <a:pos x="connsiteX34849" y="connsiteY34849"/>
              </a:cxn>
              <a:cxn ang="0">
                <a:pos x="connsiteX34850" y="connsiteY34850"/>
              </a:cxn>
              <a:cxn ang="0">
                <a:pos x="connsiteX34851" y="connsiteY34851"/>
              </a:cxn>
              <a:cxn ang="0">
                <a:pos x="connsiteX34852" y="connsiteY34852"/>
              </a:cxn>
              <a:cxn ang="0">
                <a:pos x="connsiteX34853" y="connsiteY34853"/>
              </a:cxn>
              <a:cxn ang="0">
                <a:pos x="connsiteX34854" y="connsiteY34854"/>
              </a:cxn>
              <a:cxn ang="0">
                <a:pos x="connsiteX34855" y="connsiteY34855"/>
              </a:cxn>
              <a:cxn ang="0">
                <a:pos x="connsiteX34856" y="connsiteY34856"/>
              </a:cxn>
              <a:cxn ang="0">
                <a:pos x="connsiteX34857" y="connsiteY34857"/>
              </a:cxn>
              <a:cxn ang="0">
                <a:pos x="connsiteX34858" y="connsiteY34858"/>
              </a:cxn>
              <a:cxn ang="0">
                <a:pos x="connsiteX34859" y="connsiteY34859"/>
              </a:cxn>
              <a:cxn ang="0">
                <a:pos x="connsiteX34860" y="connsiteY34860"/>
              </a:cxn>
              <a:cxn ang="0">
                <a:pos x="connsiteX34861" y="connsiteY34861"/>
              </a:cxn>
              <a:cxn ang="0">
                <a:pos x="connsiteX34862" y="connsiteY34862"/>
              </a:cxn>
              <a:cxn ang="0">
                <a:pos x="connsiteX34863" y="connsiteY34863"/>
              </a:cxn>
              <a:cxn ang="0">
                <a:pos x="connsiteX34864" y="connsiteY34864"/>
              </a:cxn>
              <a:cxn ang="0">
                <a:pos x="connsiteX34865" y="connsiteY34865"/>
              </a:cxn>
              <a:cxn ang="0">
                <a:pos x="connsiteX34866" y="connsiteY34866"/>
              </a:cxn>
              <a:cxn ang="0">
                <a:pos x="connsiteX34867" y="connsiteY34867"/>
              </a:cxn>
              <a:cxn ang="0">
                <a:pos x="connsiteX34868" y="connsiteY34868"/>
              </a:cxn>
              <a:cxn ang="0">
                <a:pos x="connsiteX34869" y="connsiteY34869"/>
              </a:cxn>
              <a:cxn ang="0">
                <a:pos x="connsiteX34870" y="connsiteY34870"/>
              </a:cxn>
              <a:cxn ang="0">
                <a:pos x="connsiteX34871" y="connsiteY34871"/>
              </a:cxn>
              <a:cxn ang="0">
                <a:pos x="connsiteX34872" y="connsiteY34872"/>
              </a:cxn>
              <a:cxn ang="0">
                <a:pos x="connsiteX34873" y="connsiteY34873"/>
              </a:cxn>
              <a:cxn ang="0">
                <a:pos x="connsiteX34874" y="connsiteY34874"/>
              </a:cxn>
              <a:cxn ang="0">
                <a:pos x="connsiteX34875" y="connsiteY34875"/>
              </a:cxn>
              <a:cxn ang="0">
                <a:pos x="connsiteX34876" y="connsiteY34876"/>
              </a:cxn>
              <a:cxn ang="0">
                <a:pos x="connsiteX34877" y="connsiteY34877"/>
              </a:cxn>
              <a:cxn ang="0">
                <a:pos x="connsiteX34878" y="connsiteY34878"/>
              </a:cxn>
              <a:cxn ang="0">
                <a:pos x="connsiteX34879" y="connsiteY34879"/>
              </a:cxn>
              <a:cxn ang="0">
                <a:pos x="connsiteX34880" y="connsiteY34880"/>
              </a:cxn>
              <a:cxn ang="0">
                <a:pos x="connsiteX34881" y="connsiteY34881"/>
              </a:cxn>
              <a:cxn ang="0">
                <a:pos x="connsiteX34882" y="connsiteY34882"/>
              </a:cxn>
              <a:cxn ang="0">
                <a:pos x="connsiteX34883" y="connsiteY34883"/>
              </a:cxn>
              <a:cxn ang="0">
                <a:pos x="connsiteX34884" y="connsiteY34884"/>
              </a:cxn>
              <a:cxn ang="0">
                <a:pos x="connsiteX34885" y="connsiteY34885"/>
              </a:cxn>
              <a:cxn ang="0">
                <a:pos x="connsiteX34886" y="connsiteY34886"/>
              </a:cxn>
              <a:cxn ang="0">
                <a:pos x="connsiteX34887" y="connsiteY34887"/>
              </a:cxn>
              <a:cxn ang="0">
                <a:pos x="connsiteX34888" y="connsiteY34888"/>
              </a:cxn>
              <a:cxn ang="0">
                <a:pos x="connsiteX34889" y="connsiteY34889"/>
              </a:cxn>
              <a:cxn ang="0">
                <a:pos x="connsiteX34890" y="connsiteY34890"/>
              </a:cxn>
              <a:cxn ang="0">
                <a:pos x="connsiteX34891" y="connsiteY34891"/>
              </a:cxn>
              <a:cxn ang="0">
                <a:pos x="connsiteX34892" y="connsiteY34892"/>
              </a:cxn>
              <a:cxn ang="0">
                <a:pos x="connsiteX34893" y="connsiteY34893"/>
              </a:cxn>
              <a:cxn ang="0">
                <a:pos x="connsiteX34894" y="connsiteY34894"/>
              </a:cxn>
              <a:cxn ang="0">
                <a:pos x="connsiteX34895" y="connsiteY34895"/>
              </a:cxn>
              <a:cxn ang="0">
                <a:pos x="connsiteX34896" y="connsiteY34896"/>
              </a:cxn>
              <a:cxn ang="0">
                <a:pos x="connsiteX34897" y="connsiteY34897"/>
              </a:cxn>
              <a:cxn ang="0">
                <a:pos x="connsiteX34898" y="connsiteY34898"/>
              </a:cxn>
              <a:cxn ang="0">
                <a:pos x="connsiteX34899" y="connsiteY34899"/>
              </a:cxn>
              <a:cxn ang="0">
                <a:pos x="connsiteX34900" y="connsiteY34900"/>
              </a:cxn>
              <a:cxn ang="0">
                <a:pos x="connsiteX34901" y="connsiteY34901"/>
              </a:cxn>
              <a:cxn ang="0">
                <a:pos x="connsiteX34902" y="connsiteY34902"/>
              </a:cxn>
              <a:cxn ang="0">
                <a:pos x="connsiteX34903" y="connsiteY34903"/>
              </a:cxn>
              <a:cxn ang="0">
                <a:pos x="connsiteX34904" y="connsiteY34904"/>
              </a:cxn>
              <a:cxn ang="0">
                <a:pos x="connsiteX34905" y="connsiteY34905"/>
              </a:cxn>
              <a:cxn ang="0">
                <a:pos x="connsiteX34906" y="connsiteY34906"/>
              </a:cxn>
              <a:cxn ang="0">
                <a:pos x="connsiteX34907" y="connsiteY34907"/>
              </a:cxn>
              <a:cxn ang="0">
                <a:pos x="connsiteX34908" y="connsiteY34908"/>
              </a:cxn>
              <a:cxn ang="0">
                <a:pos x="connsiteX34909" y="connsiteY34909"/>
              </a:cxn>
              <a:cxn ang="0">
                <a:pos x="connsiteX34910" y="connsiteY34910"/>
              </a:cxn>
              <a:cxn ang="0">
                <a:pos x="connsiteX34911" y="connsiteY34911"/>
              </a:cxn>
              <a:cxn ang="0">
                <a:pos x="connsiteX34912" y="connsiteY34912"/>
              </a:cxn>
              <a:cxn ang="0">
                <a:pos x="connsiteX34913" y="connsiteY34913"/>
              </a:cxn>
              <a:cxn ang="0">
                <a:pos x="connsiteX34914" y="connsiteY34914"/>
              </a:cxn>
              <a:cxn ang="0">
                <a:pos x="connsiteX34915" y="connsiteY34915"/>
              </a:cxn>
              <a:cxn ang="0">
                <a:pos x="connsiteX34916" y="connsiteY34916"/>
              </a:cxn>
              <a:cxn ang="0">
                <a:pos x="connsiteX34917" y="connsiteY34917"/>
              </a:cxn>
              <a:cxn ang="0">
                <a:pos x="connsiteX34918" y="connsiteY34918"/>
              </a:cxn>
              <a:cxn ang="0">
                <a:pos x="connsiteX34919" y="connsiteY34919"/>
              </a:cxn>
              <a:cxn ang="0">
                <a:pos x="connsiteX34920" y="connsiteY34920"/>
              </a:cxn>
              <a:cxn ang="0">
                <a:pos x="connsiteX34921" y="connsiteY34921"/>
              </a:cxn>
              <a:cxn ang="0">
                <a:pos x="connsiteX34922" y="connsiteY34922"/>
              </a:cxn>
              <a:cxn ang="0">
                <a:pos x="connsiteX34923" y="connsiteY34923"/>
              </a:cxn>
              <a:cxn ang="0">
                <a:pos x="connsiteX34924" y="connsiteY34924"/>
              </a:cxn>
              <a:cxn ang="0">
                <a:pos x="connsiteX34925" y="connsiteY34925"/>
              </a:cxn>
              <a:cxn ang="0">
                <a:pos x="connsiteX34926" y="connsiteY34926"/>
              </a:cxn>
              <a:cxn ang="0">
                <a:pos x="connsiteX34927" y="connsiteY34927"/>
              </a:cxn>
              <a:cxn ang="0">
                <a:pos x="connsiteX34928" y="connsiteY34928"/>
              </a:cxn>
              <a:cxn ang="0">
                <a:pos x="connsiteX34929" y="connsiteY34929"/>
              </a:cxn>
              <a:cxn ang="0">
                <a:pos x="connsiteX34930" y="connsiteY34930"/>
              </a:cxn>
              <a:cxn ang="0">
                <a:pos x="connsiteX34931" y="connsiteY34931"/>
              </a:cxn>
              <a:cxn ang="0">
                <a:pos x="connsiteX34932" y="connsiteY34932"/>
              </a:cxn>
              <a:cxn ang="0">
                <a:pos x="connsiteX34933" y="connsiteY34933"/>
              </a:cxn>
              <a:cxn ang="0">
                <a:pos x="connsiteX34934" y="connsiteY34934"/>
              </a:cxn>
              <a:cxn ang="0">
                <a:pos x="connsiteX34935" y="connsiteY34935"/>
              </a:cxn>
              <a:cxn ang="0">
                <a:pos x="connsiteX34936" y="connsiteY34936"/>
              </a:cxn>
              <a:cxn ang="0">
                <a:pos x="connsiteX34937" y="connsiteY34937"/>
              </a:cxn>
              <a:cxn ang="0">
                <a:pos x="connsiteX34938" y="connsiteY34938"/>
              </a:cxn>
              <a:cxn ang="0">
                <a:pos x="connsiteX34939" y="connsiteY34939"/>
              </a:cxn>
              <a:cxn ang="0">
                <a:pos x="connsiteX34940" y="connsiteY34940"/>
              </a:cxn>
              <a:cxn ang="0">
                <a:pos x="connsiteX34941" y="connsiteY34941"/>
              </a:cxn>
              <a:cxn ang="0">
                <a:pos x="connsiteX34942" y="connsiteY34942"/>
              </a:cxn>
              <a:cxn ang="0">
                <a:pos x="connsiteX34943" y="connsiteY34943"/>
              </a:cxn>
              <a:cxn ang="0">
                <a:pos x="connsiteX34944" y="connsiteY34944"/>
              </a:cxn>
              <a:cxn ang="0">
                <a:pos x="connsiteX34945" y="connsiteY34945"/>
              </a:cxn>
              <a:cxn ang="0">
                <a:pos x="connsiteX34946" y="connsiteY34946"/>
              </a:cxn>
              <a:cxn ang="0">
                <a:pos x="connsiteX34947" y="connsiteY34947"/>
              </a:cxn>
              <a:cxn ang="0">
                <a:pos x="connsiteX34948" y="connsiteY34948"/>
              </a:cxn>
              <a:cxn ang="0">
                <a:pos x="connsiteX34949" y="connsiteY34949"/>
              </a:cxn>
              <a:cxn ang="0">
                <a:pos x="connsiteX34950" y="connsiteY34950"/>
              </a:cxn>
              <a:cxn ang="0">
                <a:pos x="connsiteX34951" y="connsiteY34951"/>
              </a:cxn>
              <a:cxn ang="0">
                <a:pos x="connsiteX34952" y="connsiteY34952"/>
              </a:cxn>
              <a:cxn ang="0">
                <a:pos x="connsiteX34953" y="connsiteY34953"/>
              </a:cxn>
              <a:cxn ang="0">
                <a:pos x="connsiteX34954" y="connsiteY34954"/>
              </a:cxn>
              <a:cxn ang="0">
                <a:pos x="connsiteX34955" y="connsiteY34955"/>
              </a:cxn>
              <a:cxn ang="0">
                <a:pos x="connsiteX34956" y="connsiteY34956"/>
              </a:cxn>
              <a:cxn ang="0">
                <a:pos x="connsiteX34957" y="connsiteY34957"/>
              </a:cxn>
              <a:cxn ang="0">
                <a:pos x="connsiteX34958" y="connsiteY34958"/>
              </a:cxn>
              <a:cxn ang="0">
                <a:pos x="connsiteX34959" y="connsiteY34959"/>
              </a:cxn>
              <a:cxn ang="0">
                <a:pos x="connsiteX34960" y="connsiteY34960"/>
              </a:cxn>
              <a:cxn ang="0">
                <a:pos x="connsiteX34961" y="connsiteY34961"/>
              </a:cxn>
              <a:cxn ang="0">
                <a:pos x="connsiteX34962" y="connsiteY34962"/>
              </a:cxn>
              <a:cxn ang="0">
                <a:pos x="connsiteX34963" y="connsiteY34963"/>
              </a:cxn>
              <a:cxn ang="0">
                <a:pos x="connsiteX34964" y="connsiteY34964"/>
              </a:cxn>
              <a:cxn ang="0">
                <a:pos x="connsiteX34965" y="connsiteY34965"/>
              </a:cxn>
              <a:cxn ang="0">
                <a:pos x="connsiteX34966" y="connsiteY34966"/>
              </a:cxn>
              <a:cxn ang="0">
                <a:pos x="connsiteX34967" y="connsiteY34967"/>
              </a:cxn>
              <a:cxn ang="0">
                <a:pos x="connsiteX34968" y="connsiteY34968"/>
              </a:cxn>
              <a:cxn ang="0">
                <a:pos x="connsiteX34969" y="connsiteY34969"/>
              </a:cxn>
              <a:cxn ang="0">
                <a:pos x="connsiteX34970" y="connsiteY34970"/>
              </a:cxn>
              <a:cxn ang="0">
                <a:pos x="connsiteX34971" y="connsiteY34971"/>
              </a:cxn>
              <a:cxn ang="0">
                <a:pos x="connsiteX34972" y="connsiteY34972"/>
              </a:cxn>
              <a:cxn ang="0">
                <a:pos x="connsiteX34973" y="connsiteY34973"/>
              </a:cxn>
              <a:cxn ang="0">
                <a:pos x="connsiteX34974" y="connsiteY34974"/>
              </a:cxn>
              <a:cxn ang="0">
                <a:pos x="connsiteX34975" y="connsiteY34975"/>
              </a:cxn>
              <a:cxn ang="0">
                <a:pos x="connsiteX34976" y="connsiteY34976"/>
              </a:cxn>
              <a:cxn ang="0">
                <a:pos x="connsiteX34977" y="connsiteY34977"/>
              </a:cxn>
              <a:cxn ang="0">
                <a:pos x="connsiteX34978" y="connsiteY34978"/>
              </a:cxn>
              <a:cxn ang="0">
                <a:pos x="connsiteX34979" y="connsiteY34979"/>
              </a:cxn>
              <a:cxn ang="0">
                <a:pos x="connsiteX34980" y="connsiteY34980"/>
              </a:cxn>
              <a:cxn ang="0">
                <a:pos x="connsiteX34981" y="connsiteY34981"/>
              </a:cxn>
              <a:cxn ang="0">
                <a:pos x="connsiteX34982" y="connsiteY34982"/>
              </a:cxn>
              <a:cxn ang="0">
                <a:pos x="connsiteX34983" y="connsiteY34983"/>
              </a:cxn>
              <a:cxn ang="0">
                <a:pos x="connsiteX34984" y="connsiteY34984"/>
              </a:cxn>
              <a:cxn ang="0">
                <a:pos x="connsiteX34985" y="connsiteY34985"/>
              </a:cxn>
              <a:cxn ang="0">
                <a:pos x="connsiteX34986" y="connsiteY34986"/>
              </a:cxn>
              <a:cxn ang="0">
                <a:pos x="connsiteX34987" y="connsiteY34987"/>
              </a:cxn>
              <a:cxn ang="0">
                <a:pos x="connsiteX34988" y="connsiteY34988"/>
              </a:cxn>
              <a:cxn ang="0">
                <a:pos x="connsiteX34989" y="connsiteY34989"/>
              </a:cxn>
              <a:cxn ang="0">
                <a:pos x="connsiteX34990" y="connsiteY34990"/>
              </a:cxn>
              <a:cxn ang="0">
                <a:pos x="connsiteX34991" y="connsiteY34991"/>
              </a:cxn>
              <a:cxn ang="0">
                <a:pos x="connsiteX34992" y="connsiteY34992"/>
              </a:cxn>
              <a:cxn ang="0">
                <a:pos x="connsiteX34993" y="connsiteY34993"/>
              </a:cxn>
              <a:cxn ang="0">
                <a:pos x="connsiteX34994" y="connsiteY34994"/>
              </a:cxn>
              <a:cxn ang="0">
                <a:pos x="connsiteX34995" y="connsiteY34995"/>
              </a:cxn>
              <a:cxn ang="0">
                <a:pos x="connsiteX34996" y="connsiteY34996"/>
              </a:cxn>
              <a:cxn ang="0">
                <a:pos x="connsiteX34997" y="connsiteY34997"/>
              </a:cxn>
              <a:cxn ang="0">
                <a:pos x="connsiteX34998" y="connsiteY34998"/>
              </a:cxn>
              <a:cxn ang="0">
                <a:pos x="connsiteX34999" y="connsiteY34999"/>
              </a:cxn>
              <a:cxn ang="0">
                <a:pos x="connsiteX35000" y="connsiteY35000"/>
              </a:cxn>
              <a:cxn ang="0">
                <a:pos x="connsiteX35001" y="connsiteY35001"/>
              </a:cxn>
              <a:cxn ang="0">
                <a:pos x="connsiteX35002" y="connsiteY35002"/>
              </a:cxn>
              <a:cxn ang="0">
                <a:pos x="connsiteX35003" y="connsiteY35003"/>
              </a:cxn>
              <a:cxn ang="0">
                <a:pos x="connsiteX35004" y="connsiteY35004"/>
              </a:cxn>
              <a:cxn ang="0">
                <a:pos x="connsiteX35005" y="connsiteY35005"/>
              </a:cxn>
              <a:cxn ang="0">
                <a:pos x="connsiteX35006" y="connsiteY35006"/>
              </a:cxn>
              <a:cxn ang="0">
                <a:pos x="connsiteX35007" y="connsiteY35007"/>
              </a:cxn>
              <a:cxn ang="0">
                <a:pos x="connsiteX35008" y="connsiteY35008"/>
              </a:cxn>
              <a:cxn ang="0">
                <a:pos x="connsiteX35009" y="connsiteY35009"/>
              </a:cxn>
              <a:cxn ang="0">
                <a:pos x="connsiteX35010" y="connsiteY35010"/>
              </a:cxn>
              <a:cxn ang="0">
                <a:pos x="connsiteX35011" y="connsiteY35011"/>
              </a:cxn>
              <a:cxn ang="0">
                <a:pos x="connsiteX35012" y="connsiteY35012"/>
              </a:cxn>
              <a:cxn ang="0">
                <a:pos x="connsiteX35013" y="connsiteY35013"/>
              </a:cxn>
              <a:cxn ang="0">
                <a:pos x="connsiteX35014" y="connsiteY35014"/>
              </a:cxn>
              <a:cxn ang="0">
                <a:pos x="connsiteX35015" y="connsiteY35015"/>
              </a:cxn>
              <a:cxn ang="0">
                <a:pos x="connsiteX35016" y="connsiteY35016"/>
              </a:cxn>
              <a:cxn ang="0">
                <a:pos x="connsiteX35017" y="connsiteY35017"/>
              </a:cxn>
              <a:cxn ang="0">
                <a:pos x="connsiteX35018" y="connsiteY35018"/>
              </a:cxn>
              <a:cxn ang="0">
                <a:pos x="connsiteX35019" y="connsiteY35019"/>
              </a:cxn>
              <a:cxn ang="0">
                <a:pos x="connsiteX35020" y="connsiteY35020"/>
              </a:cxn>
              <a:cxn ang="0">
                <a:pos x="connsiteX35021" y="connsiteY35021"/>
              </a:cxn>
              <a:cxn ang="0">
                <a:pos x="connsiteX35022" y="connsiteY35022"/>
              </a:cxn>
              <a:cxn ang="0">
                <a:pos x="connsiteX35023" y="connsiteY35023"/>
              </a:cxn>
              <a:cxn ang="0">
                <a:pos x="connsiteX35024" y="connsiteY35024"/>
              </a:cxn>
              <a:cxn ang="0">
                <a:pos x="connsiteX35025" y="connsiteY35025"/>
              </a:cxn>
              <a:cxn ang="0">
                <a:pos x="connsiteX35026" y="connsiteY35026"/>
              </a:cxn>
              <a:cxn ang="0">
                <a:pos x="connsiteX35027" y="connsiteY35027"/>
              </a:cxn>
              <a:cxn ang="0">
                <a:pos x="connsiteX35028" y="connsiteY35028"/>
              </a:cxn>
              <a:cxn ang="0">
                <a:pos x="connsiteX35029" y="connsiteY35029"/>
              </a:cxn>
              <a:cxn ang="0">
                <a:pos x="connsiteX35030" y="connsiteY35030"/>
              </a:cxn>
              <a:cxn ang="0">
                <a:pos x="connsiteX35031" y="connsiteY35031"/>
              </a:cxn>
              <a:cxn ang="0">
                <a:pos x="connsiteX35032" y="connsiteY35032"/>
              </a:cxn>
              <a:cxn ang="0">
                <a:pos x="connsiteX35033" y="connsiteY35033"/>
              </a:cxn>
              <a:cxn ang="0">
                <a:pos x="connsiteX35034" y="connsiteY35034"/>
              </a:cxn>
              <a:cxn ang="0">
                <a:pos x="connsiteX35035" y="connsiteY35035"/>
              </a:cxn>
              <a:cxn ang="0">
                <a:pos x="connsiteX35036" y="connsiteY35036"/>
              </a:cxn>
              <a:cxn ang="0">
                <a:pos x="connsiteX35037" y="connsiteY35037"/>
              </a:cxn>
              <a:cxn ang="0">
                <a:pos x="connsiteX35038" y="connsiteY35038"/>
              </a:cxn>
              <a:cxn ang="0">
                <a:pos x="connsiteX35039" y="connsiteY35039"/>
              </a:cxn>
              <a:cxn ang="0">
                <a:pos x="connsiteX35040" y="connsiteY35040"/>
              </a:cxn>
              <a:cxn ang="0">
                <a:pos x="connsiteX35041" y="connsiteY35041"/>
              </a:cxn>
              <a:cxn ang="0">
                <a:pos x="connsiteX35042" y="connsiteY35042"/>
              </a:cxn>
              <a:cxn ang="0">
                <a:pos x="connsiteX35043" y="connsiteY35043"/>
              </a:cxn>
              <a:cxn ang="0">
                <a:pos x="connsiteX35044" y="connsiteY35044"/>
              </a:cxn>
              <a:cxn ang="0">
                <a:pos x="connsiteX35045" y="connsiteY35045"/>
              </a:cxn>
              <a:cxn ang="0">
                <a:pos x="connsiteX35046" y="connsiteY35046"/>
              </a:cxn>
              <a:cxn ang="0">
                <a:pos x="connsiteX35047" y="connsiteY35047"/>
              </a:cxn>
              <a:cxn ang="0">
                <a:pos x="connsiteX35048" y="connsiteY35048"/>
              </a:cxn>
              <a:cxn ang="0">
                <a:pos x="connsiteX35049" y="connsiteY35049"/>
              </a:cxn>
              <a:cxn ang="0">
                <a:pos x="connsiteX35050" y="connsiteY35050"/>
              </a:cxn>
              <a:cxn ang="0">
                <a:pos x="connsiteX35051" y="connsiteY35051"/>
              </a:cxn>
              <a:cxn ang="0">
                <a:pos x="connsiteX35052" y="connsiteY35052"/>
              </a:cxn>
              <a:cxn ang="0">
                <a:pos x="connsiteX35053" y="connsiteY35053"/>
              </a:cxn>
              <a:cxn ang="0">
                <a:pos x="connsiteX35054" y="connsiteY35054"/>
              </a:cxn>
              <a:cxn ang="0">
                <a:pos x="connsiteX35055" y="connsiteY35055"/>
              </a:cxn>
              <a:cxn ang="0">
                <a:pos x="connsiteX35056" y="connsiteY35056"/>
              </a:cxn>
              <a:cxn ang="0">
                <a:pos x="connsiteX35057" y="connsiteY35057"/>
              </a:cxn>
              <a:cxn ang="0">
                <a:pos x="connsiteX35058" y="connsiteY35058"/>
              </a:cxn>
              <a:cxn ang="0">
                <a:pos x="connsiteX35059" y="connsiteY35059"/>
              </a:cxn>
              <a:cxn ang="0">
                <a:pos x="connsiteX35060" y="connsiteY35060"/>
              </a:cxn>
              <a:cxn ang="0">
                <a:pos x="connsiteX35061" y="connsiteY35061"/>
              </a:cxn>
              <a:cxn ang="0">
                <a:pos x="connsiteX35062" y="connsiteY35062"/>
              </a:cxn>
              <a:cxn ang="0">
                <a:pos x="connsiteX35063" y="connsiteY35063"/>
              </a:cxn>
              <a:cxn ang="0">
                <a:pos x="connsiteX35064" y="connsiteY35064"/>
              </a:cxn>
              <a:cxn ang="0">
                <a:pos x="connsiteX35065" y="connsiteY35065"/>
              </a:cxn>
              <a:cxn ang="0">
                <a:pos x="connsiteX35066" y="connsiteY35066"/>
              </a:cxn>
              <a:cxn ang="0">
                <a:pos x="connsiteX35067" y="connsiteY35067"/>
              </a:cxn>
              <a:cxn ang="0">
                <a:pos x="connsiteX35068" y="connsiteY35068"/>
              </a:cxn>
              <a:cxn ang="0">
                <a:pos x="connsiteX35069" y="connsiteY35069"/>
              </a:cxn>
              <a:cxn ang="0">
                <a:pos x="connsiteX35070" y="connsiteY35070"/>
              </a:cxn>
              <a:cxn ang="0">
                <a:pos x="connsiteX35071" y="connsiteY35071"/>
              </a:cxn>
              <a:cxn ang="0">
                <a:pos x="connsiteX35072" y="connsiteY35072"/>
              </a:cxn>
              <a:cxn ang="0">
                <a:pos x="connsiteX35073" y="connsiteY35073"/>
              </a:cxn>
              <a:cxn ang="0">
                <a:pos x="connsiteX35074" y="connsiteY35074"/>
              </a:cxn>
              <a:cxn ang="0">
                <a:pos x="connsiteX35075" y="connsiteY35075"/>
              </a:cxn>
              <a:cxn ang="0">
                <a:pos x="connsiteX35076" y="connsiteY35076"/>
              </a:cxn>
              <a:cxn ang="0">
                <a:pos x="connsiteX35077" y="connsiteY35077"/>
              </a:cxn>
              <a:cxn ang="0">
                <a:pos x="connsiteX35078" y="connsiteY35078"/>
              </a:cxn>
              <a:cxn ang="0">
                <a:pos x="connsiteX35079" y="connsiteY35079"/>
              </a:cxn>
              <a:cxn ang="0">
                <a:pos x="connsiteX35080" y="connsiteY35080"/>
              </a:cxn>
              <a:cxn ang="0">
                <a:pos x="connsiteX35081" y="connsiteY35081"/>
              </a:cxn>
              <a:cxn ang="0">
                <a:pos x="connsiteX35082" y="connsiteY35082"/>
              </a:cxn>
              <a:cxn ang="0">
                <a:pos x="connsiteX35083" y="connsiteY35083"/>
              </a:cxn>
              <a:cxn ang="0">
                <a:pos x="connsiteX35084" y="connsiteY35084"/>
              </a:cxn>
              <a:cxn ang="0">
                <a:pos x="connsiteX35085" y="connsiteY35085"/>
              </a:cxn>
              <a:cxn ang="0">
                <a:pos x="connsiteX35086" y="connsiteY35086"/>
              </a:cxn>
              <a:cxn ang="0">
                <a:pos x="connsiteX35087" y="connsiteY35087"/>
              </a:cxn>
              <a:cxn ang="0">
                <a:pos x="connsiteX35088" y="connsiteY35088"/>
              </a:cxn>
              <a:cxn ang="0">
                <a:pos x="connsiteX35089" y="connsiteY35089"/>
              </a:cxn>
              <a:cxn ang="0">
                <a:pos x="connsiteX35090" y="connsiteY35090"/>
              </a:cxn>
              <a:cxn ang="0">
                <a:pos x="connsiteX35091" y="connsiteY35091"/>
              </a:cxn>
              <a:cxn ang="0">
                <a:pos x="connsiteX35092" y="connsiteY35092"/>
              </a:cxn>
              <a:cxn ang="0">
                <a:pos x="connsiteX35093" y="connsiteY35093"/>
              </a:cxn>
              <a:cxn ang="0">
                <a:pos x="connsiteX35094" y="connsiteY35094"/>
              </a:cxn>
              <a:cxn ang="0">
                <a:pos x="connsiteX35095" y="connsiteY35095"/>
              </a:cxn>
              <a:cxn ang="0">
                <a:pos x="connsiteX35096" y="connsiteY35096"/>
              </a:cxn>
              <a:cxn ang="0">
                <a:pos x="connsiteX35097" y="connsiteY35097"/>
              </a:cxn>
              <a:cxn ang="0">
                <a:pos x="connsiteX35098" y="connsiteY35098"/>
              </a:cxn>
              <a:cxn ang="0">
                <a:pos x="connsiteX35099" y="connsiteY35099"/>
              </a:cxn>
              <a:cxn ang="0">
                <a:pos x="connsiteX35100" y="connsiteY35100"/>
              </a:cxn>
              <a:cxn ang="0">
                <a:pos x="connsiteX35101" y="connsiteY35101"/>
              </a:cxn>
              <a:cxn ang="0">
                <a:pos x="connsiteX35102" y="connsiteY35102"/>
              </a:cxn>
              <a:cxn ang="0">
                <a:pos x="connsiteX35103" y="connsiteY35103"/>
              </a:cxn>
              <a:cxn ang="0">
                <a:pos x="connsiteX35104" y="connsiteY35104"/>
              </a:cxn>
              <a:cxn ang="0">
                <a:pos x="connsiteX35105" y="connsiteY35105"/>
              </a:cxn>
              <a:cxn ang="0">
                <a:pos x="connsiteX35106" y="connsiteY35106"/>
              </a:cxn>
              <a:cxn ang="0">
                <a:pos x="connsiteX35107" y="connsiteY35107"/>
              </a:cxn>
              <a:cxn ang="0">
                <a:pos x="connsiteX35108" y="connsiteY35108"/>
              </a:cxn>
              <a:cxn ang="0">
                <a:pos x="connsiteX35109" y="connsiteY35109"/>
              </a:cxn>
              <a:cxn ang="0">
                <a:pos x="connsiteX35110" y="connsiteY35110"/>
              </a:cxn>
              <a:cxn ang="0">
                <a:pos x="connsiteX35111" y="connsiteY35111"/>
              </a:cxn>
              <a:cxn ang="0">
                <a:pos x="connsiteX35112" y="connsiteY35112"/>
              </a:cxn>
              <a:cxn ang="0">
                <a:pos x="connsiteX35113" y="connsiteY35113"/>
              </a:cxn>
              <a:cxn ang="0">
                <a:pos x="connsiteX35114" y="connsiteY35114"/>
              </a:cxn>
              <a:cxn ang="0">
                <a:pos x="connsiteX35115" y="connsiteY35115"/>
              </a:cxn>
              <a:cxn ang="0">
                <a:pos x="connsiteX35116" y="connsiteY35116"/>
              </a:cxn>
              <a:cxn ang="0">
                <a:pos x="connsiteX35117" y="connsiteY35117"/>
              </a:cxn>
              <a:cxn ang="0">
                <a:pos x="connsiteX35118" y="connsiteY35118"/>
              </a:cxn>
              <a:cxn ang="0">
                <a:pos x="connsiteX35119" y="connsiteY35119"/>
              </a:cxn>
              <a:cxn ang="0">
                <a:pos x="connsiteX35120" y="connsiteY35120"/>
              </a:cxn>
              <a:cxn ang="0">
                <a:pos x="connsiteX35121" y="connsiteY35121"/>
              </a:cxn>
              <a:cxn ang="0">
                <a:pos x="connsiteX35122" y="connsiteY35122"/>
              </a:cxn>
              <a:cxn ang="0">
                <a:pos x="connsiteX35123" y="connsiteY35123"/>
              </a:cxn>
              <a:cxn ang="0">
                <a:pos x="connsiteX35124" y="connsiteY35124"/>
              </a:cxn>
              <a:cxn ang="0">
                <a:pos x="connsiteX35125" y="connsiteY35125"/>
              </a:cxn>
              <a:cxn ang="0">
                <a:pos x="connsiteX35126" y="connsiteY35126"/>
              </a:cxn>
              <a:cxn ang="0">
                <a:pos x="connsiteX35127" y="connsiteY35127"/>
              </a:cxn>
              <a:cxn ang="0">
                <a:pos x="connsiteX35128" y="connsiteY35128"/>
              </a:cxn>
              <a:cxn ang="0">
                <a:pos x="connsiteX35129" y="connsiteY35129"/>
              </a:cxn>
              <a:cxn ang="0">
                <a:pos x="connsiteX35130" y="connsiteY35130"/>
              </a:cxn>
              <a:cxn ang="0">
                <a:pos x="connsiteX35131" y="connsiteY35131"/>
              </a:cxn>
              <a:cxn ang="0">
                <a:pos x="connsiteX35132" y="connsiteY35132"/>
              </a:cxn>
              <a:cxn ang="0">
                <a:pos x="connsiteX35133" y="connsiteY35133"/>
              </a:cxn>
              <a:cxn ang="0">
                <a:pos x="connsiteX35134" y="connsiteY35134"/>
              </a:cxn>
              <a:cxn ang="0">
                <a:pos x="connsiteX35135" y="connsiteY35135"/>
              </a:cxn>
              <a:cxn ang="0">
                <a:pos x="connsiteX35136" y="connsiteY35136"/>
              </a:cxn>
              <a:cxn ang="0">
                <a:pos x="connsiteX35137" y="connsiteY35137"/>
              </a:cxn>
              <a:cxn ang="0">
                <a:pos x="connsiteX35138" y="connsiteY35138"/>
              </a:cxn>
              <a:cxn ang="0">
                <a:pos x="connsiteX35139" y="connsiteY35139"/>
              </a:cxn>
              <a:cxn ang="0">
                <a:pos x="connsiteX35140" y="connsiteY35140"/>
              </a:cxn>
              <a:cxn ang="0">
                <a:pos x="connsiteX35141" y="connsiteY35141"/>
              </a:cxn>
              <a:cxn ang="0">
                <a:pos x="connsiteX35142" y="connsiteY35142"/>
              </a:cxn>
              <a:cxn ang="0">
                <a:pos x="connsiteX35143" y="connsiteY35143"/>
              </a:cxn>
              <a:cxn ang="0">
                <a:pos x="connsiteX35144" y="connsiteY35144"/>
              </a:cxn>
              <a:cxn ang="0">
                <a:pos x="connsiteX35145" y="connsiteY35145"/>
              </a:cxn>
              <a:cxn ang="0">
                <a:pos x="connsiteX35146" y="connsiteY35146"/>
              </a:cxn>
              <a:cxn ang="0">
                <a:pos x="connsiteX35147" y="connsiteY35147"/>
              </a:cxn>
              <a:cxn ang="0">
                <a:pos x="connsiteX35148" y="connsiteY35148"/>
              </a:cxn>
              <a:cxn ang="0">
                <a:pos x="connsiteX35149" y="connsiteY35149"/>
              </a:cxn>
              <a:cxn ang="0">
                <a:pos x="connsiteX35150" y="connsiteY35150"/>
              </a:cxn>
              <a:cxn ang="0">
                <a:pos x="connsiteX35151" y="connsiteY35151"/>
              </a:cxn>
              <a:cxn ang="0">
                <a:pos x="connsiteX35152" y="connsiteY35152"/>
              </a:cxn>
              <a:cxn ang="0">
                <a:pos x="connsiteX35153" y="connsiteY35153"/>
              </a:cxn>
              <a:cxn ang="0">
                <a:pos x="connsiteX35154" y="connsiteY35154"/>
              </a:cxn>
              <a:cxn ang="0">
                <a:pos x="connsiteX35155" y="connsiteY35155"/>
              </a:cxn>
              <a:cxn ang="0">
                <a:pos x="connsiteX35156" y="connsiteY35156"/>
              </a:cxn>
              <a:cxn ang="0">
                <a:pos x="connsiteX35157" y="connsiteY35157"/>
              </a:cxn>
              <a:cxn ang="0">
                <a:pos x="connsiteX35158" y="connsiteY35158"/>
              </a:cxn>
              <a:cxn ang="0">
                <a:pos x="connsiteX35159" y="connsiteY35159"/>
              </a:cxn>
              <a:cxn ang="0">
                <a:pos x="connsiteX35160" y="connsiteY35160"/>
              </a:cxn>
              <a:cxn ang="0">
                <a:pos x="connsiteX35161" y="connsiteY35161"/>
              </a:cxn>
              <a:cxn ang="0">
                <a:pos x="connsiteX35162" y="connsiteY35162"/>
              </a:cxn>
              <a:cxn ang="0">
                <a:pos x="connsiteX35163" y="connsiteY35163"/>
              </a:cxn>
              <a:cxn ang="0">
                <a:pos x="connsiteX35164" y="connsiteY35164"/>
              </a:cxn>
              <a:cxn ang="0">
                <a:pos x="connsiteX35165" y="connsiteY35165"/>
              </a:cxn>
              <a:cxn ang="0">
                <a:pos x="connsiteX35166" y="connsiteY35166"/>
              </a:cxn>
              <a:cxn ang="0">
                <a:pos x="connsiteX35167" y="connsiteY35167"/>
              </a:cxn>
              <a:cxn ang="0">
                <a:pos x="connsiteX35168" y="connsiteY35168"/>
              </a:cxn>
              <a:cxn ang="0">
                <a:pos x="connsiteX35169" y="connsiteY35169"/>
              </a:cxn>
              <a:cxn ang="0">
                <a:pos x="connsiteX35170" y="connsiteY35170"/>
              </a:cxn>
              <a:cxn ang="0">
                <a:pos x="connsiteX35171" y="connsiteY35171"/>
              </a:cxn>
              <a:cxn ang="0">
                <a:pos x="connsiteX35172" y="connsiteY35172"/>
              </a:cxn>
              <a:cxn ang="0">
                <a:pos x="connsiteX35173" y="connsiteY35173"/>
              </a:cxn>
              <a:cxn ang="0">
                <a:pos x="connsiteX35174" y="connsiteY35174"/>
              </a:cxn>
              <a:cxn ang="0">
                <a:pos x="connsiteX35175" y="connsiteY35175"/>
              </a:cxn>
              <a:cxn ang="0">
                <a:pos x="connsiteX35176" y="connsiteY35176"/>
              </a:cxn>
              <a:cxn ang="0">
                <a:pos x="connsiteX35177" y="connsiteY35177"/>
              </a:cxn>
              <a:cxn ang="0">
                <a:pos x="connsiteX35178" y="connsiteY35178"/>
              </a:cxn>
              <a:cxn ang="0">
                <a:pos x="connsiteX35179" y="connsiteY35179"/>
              </a:cxn>
              <a:cxn ang="0">
                <a:pos x="connsiteX35180" y="connsiteY35180"/>
              </a:cxn>
              <a:cxn ang="0">
                <a:pos x="connsiteX35181" y="connsiteY35181"/>
              </a:cxn>
              <a:cxn ang="0">
                <a:pos x="connsiteX35182" y="connsiteY35182"/>
              </a:cxn>
              <a:cxn ang="0">
                <a:pos x="connsiteX35183" y="connsiteY35183"/>
              </a:cxn>
              <a:cxn ang="0">
                <a:pos x="connsiteX35184" y="connsiteY35184"/>
              </a:cxn>
              <a:cxn ang="0">
                <a:pos x="connsiteX35185" y="connsiteY35185"/>
              </a:cxn>
              <a:cxn ang="0">
                <a:pos x="connsiteX35186" y="connsiteY35186"/>
              </a:cxn>
              <a:cxn ang="0">
                <a:pos x="connsiteX35187" y="connsiteY35187"/>
              </a:cxn>
              <a:cxn ang="0">
                <a:pos x="connsiteX35188" y="connsiteY35188"/>
              </a:cxn>
              <a:cxn ang="0">
                <a:pos x="connsiteX35189" y="connsiteY35189"/>
              </a:cxn>
              <a:cxn ang="0">
                <a:pos x="connsiteX35190" y="connsiteY35190"/>
              </a:cxn>
              <a:cxn ang="0">
                <a:pos x="connsiteX35191" y="connsiteY35191"/>
              </a:cxn>
              <a:cxn ang="0">
                <a:pos x="connsiteX35192" y="connsiteY35192"/>
              </a:cxn>
              <a:cxn ang="0">
                <a:pos x="connsiteX35193" y="connsiteY35193"/>
              </a:cxn>
              <a:cxn ang="0">
                <a:pos x="connsiteX35194" y="connsiteY35194"/>
              </a:cxn>
              <a:cxn ang="0">
                <a:pos x="connsiteX35195" y="connsiteY35195"/>
              </a:cxn>
              <a:cxn ang="0">
                <a:pos x="connsiteX35196" y="connsiteY35196"/>
              </a:cxn>
              <a:cxn ang="0">
                <a:pos x="connsiteX35197" y="connsiteY35197"/>
              </a:cxn>
              <a:cxn ang="0">
                <a:pos x="connsiteX35198" y="connsiteY35198"/>
              </a:cxn>
              <a:cxn ang="0">
                <a:pos x="connsiteX35199" y="connsiteY35199"/>
              </a:cxn>
              <a:cxn ang="0">
                <a:pos x="connsiteX35200" y="connsiteY35200"/>
              </a:cxn>
              <a:cxn ang="0">
                <a:pos x="connsiteX35201" y="connsiteY35201"/>
              </a:cxn>
              <a:cxn ang="0">
                <a:pos x="connsiteX35202" y="connsiteY35202"/>
              </a:cxn>
              <a:cxn ang="0">
                <a:pos x="connsiteX35203" y="connsiteY35203"/>
              </a:cxn>
              <a:cxn ang="0">
                <a:pos x="connsiteX35204" y="connsiteY35204"/>
              </a:cxn>
              <a:cxn ang="0">
                <a:pos x="connsiteX35205" y="connsiteY35205"/>
              </a:cxn>
              <a:cxn ang="0">
                <a:pos x="connsiteX35206" y="connsiteY35206"/>
              </a:cxn>
              <a:cxn ang="0">
                <a:pos x="connsiteX35207" y="connsiteY35207"/>
              </a:cxn>
              <a:cxn ang="0">
                <a:pos x="connsiteX35208" y="connsiteY35208"/>
              </a:cxn>
              <a:cxn ang="0">
                <a:pos x="connsiteX35209" y="connsiteY35209"/>
              </a:cxn>
              <a:cxn ang="0">
                <a:pos x="connsiteX35210" y="connsiteY35210"/>
              </a:cxn>
              <a:cxn ang="0">
                <a:pos x="connsiteX35211" y="connsiteY35211"/>
              </a:cxn>
              <a:cxn ang="0">
                <a:pos x="connsiteX35212" y="connsiteY35212"/>
              </a:cxn>
              <a:cxn ang="0">
                <a:pos x="connsiteX35213" y="connsiteY35213"/>
              </a:cxn>
              <a:cxn ang="0">
                <a:pos x="connsiteX35214" y="connsiteY35214"/>
              </a:cxn>
              <a:cxn ang="0">
                <a:pos x="connsiteX35215" y="connsiteY35215"/>
              </a:cxn>
              <a:cxn ang="0">
                <a:pos x="connsiteX35216" y="connsiteY35216"/>
              </a:cxn>
              <a:cxn ang="0">
                <a:pos x="connsiteX35217" y="connsiteY35217"/>
              </a:cxn>
              <a:cxn ang="0">
                <a:pos x="connsiteX35218" y="connsiteY35218"/>
              </a:cxn>
              <a:cxn ang="0">
                <a:pos x="connsiteX35219" y="connsiteY35219"/>
              </a:cxn>
              <a:cxn ang="0">
                <a:pos x="connsiteX35220" y="connsiteY35220"/>
              </a:cxn>
              <a:cxn ang="0">
                <a:pos x="connsiteX35221" y="connsiteY35221"/>
              </a:cxn>
              <a:cxn ang="0">
                <a:pos x="connsiteX35222" y="connsiteY35222"/>
              </a:cxn>
              <a:cxn ang="0">
                <a:pos x="connsiteX35223" y="connsiteY35223"/>
              </a:cxn>
              <a:cxn ang="0">
                <a:pos x="connsiteX35224" y="connsiteY35224"/>
              </a:cxn>
              <a:cxn ang="0">
                <a:pos x="connsiteX35225" y="connsiteY35225"/>
              </a:cxn>
              <a:cxn ang="0">
                <a:pos x="connsiteX35226" y="connsiteY35226"/>
              </a:cxn>
              <a:cxn ang="0">
                <a:pos x="connsiteX35227" y="connsiteY35227"/>
              </a:cxn>
              <a:cxn ang="0">
                <a:pos x="connsiteX35228" y="connsiteY35228"/>
              </a:cxn>
              <a:cxn ang="0">
                <a:pos x="connsiteX35229" y="connsiteY35229"/>
              </a:cxn>
              <a:cxn ang="0">
                <a:pos x="connsiteX35230" y="connsiteY35230"/>
              </a:cxn>
              <a:cxn ang="0">
                <a:pos x="connsiteX35231" y="connsiteY35231"/>
              </a:cxn>
              <a:cxn ang="0">
                <a:pos x="connsiteX35232" y="connsiteY35232"/>
              </a:cxn>
              <a:cxn ang="0">
                <a:pos x="connsiteX35233" y="connsiteY35233"/>
              </a:cxn>
              <a:cxn ang="0">
                <a:pos x="connsiteX35234" y="connsiteY35234"/>
              </a:cxn>
              <a:cxn ang="0">
                <a:pos x="connsiteX35235" y="connsiteY35235"/>
              </a:cxn>
              <a:cxn ang="0">
                <a:pos x="connsiteX35236" y="connsiteY35236"/>
              </a:cxn>
              <a:cxn ang="0">
                <a:pos x="connsiteX35237" y="connsiteY35237"/>
              </a:cxn>
              <a:cxn ang="0">
                <a:pos x="connsiteX35238" y="connsiteY35238"/>
              </a:cxn>
              <a:cxn ang="0">
                <a:pos x="connsiteX35239" y="connsiteY35239"/>
              </a:cxn>
              <a:cxn ang="0">
                <a:pos x="connsiteX35240" y="connsiteY35240"/>
              </a:cxn>
              <a:cxn ang="0">
                <a:pos x="connsiteX35241" y="connsiteY35241"/>
              </a:cxn>
              <a:cxn ang="0">
                <a:pos x="connsiteX35242" y="connsiteY35242"/>
              </a:cxn>
              <a:cxn ang="0">
                <a:pos x="connsiteX35243" y="connsiteY35243"/>
              </a:cxn>
              <a:cxn ang="0">
                <a:pos x="connsiteX35244" y="connsiteY35244"/>
              </a:cxn>
              <a:cxn ang="0">
                <a:pos x="connsiteX35245" y="connsiteY35245"/>
              </a:cxn>
              <a:cxn ang="0">
                <a:pos x="connsiteX35246" y="connsiteY35246"/>
              </a:cxn>
              <a:cxn ang="0">
                <a:pos x="connsiteX35247" y="connsiteY35247"/>
              </a:cxn>
              <a:cxn ang="0">
                <a:pos x="connsiteX35248" y="connsiteY35248"/>
              </a:cxn>
              <a:cxn ang="0">
                <a:pos x="connsiteX35249" y="connsiteY35249"/>
              </a:cxn>
              <a:cxn ang="0">
                <a:pos x="connsiteX35250" y="connsiteY35250"/>
              </a:cxn>
              <a:cxn ang="0">
                <a:pos x="connsiteX35251" y="connsiteY35251"/>
              </a:cxn>
              <a:cxn ang="0">
                <a:pos x="connsiteX35252" y="connsiteY35252"/>
              </a:cxn>
              <a:cxn ang="0">
                <a:pos x="connsiteX35253" y="connsiteY35253"/>
              </a:cxn>
              <a:cxn ang="0">
                <a:pos x="connsiteX35254" y="connsiteY35254"/>
              </a:cxn>
              <a:cxn ang="0">
                <a:pos x="connsiteX35255" y="connsiteY35255"/>
              </a:cxn>
              <a:cxn ang="0">
                <a:pos x="connsiteX35256" y="connsiteY35256"/>
              </a:cxn>
              <a:cxn ang="0">
                <a:pos x="connsiteX35257" y="connsiteY35257"/>
              </a:cxn>
              <a:cxn ang="0">
                <a:pos x="connsiteX35258" y="connsiteY35258"/>
              </a:cxn>
              <a:cxn ang="0">
                <a:pos x="connsiteX35259" y="connsiteY35259"/>
              </a:cxn>
              <a:cxn ang="0">
                <a:pos x="connsiteX35260" y="connsiteY35260"/>
              </a:cxn>
              <a:cxn ang="0">
                <a:pos x="connsiteX35261" y="connsiteY35261"/>
              </a:cxn>
              <a:cxn ang="0">
                <a:pos x="connsiteX35262" y="connsiteY35262"/>
              </a:cxn>
              <a:cxn ang="0">
                <a:pos x="connsiteX35263" y="connsiteY35263"/>
              </a:cxn>
              <a:cxn ang="0">
                <a:pos x="connsiteX35264" y="connsiteY35264"/>
              </a:cxn>
              <a:cxn ang="0">
                <a:pos x="connsiteX35265" y="connsiteY35265"/>
              </a:cxn>
              <a:cxn ang="0">
                <a:pos x="connsiteX35266" y="connsiteY35266"/>
              </a:cxn>
              <a:cxn ang="0">
                <a:pos x="connsiteX35267" y="connsiteY35267"/>
              </a:cxn>
              <a:cxn ang="0">
                <a:pos x="connsiteX35268" y="connsiteY35268"/>
              </a:cxn>
              <a:cxn ang="0">
                <a:pos x="connsiteX35269" y="connsiteY35269"/>
              </a:cxn>
              <a:cxn ang="0">
                <a:pos x="connsiteX35270" y="connsiteY35270"/>
              </a:cxn>
              <a:cxn ang="0">
                <a:pos x="connsiteX35271" y="connsiteY35271"/>
              </a:cxn>
              <a:cxn ang="0">
                <a:pos x="connsiteX35272" y="connsiteY35272"/>
              </a:cxn>
              <a:cxn ang="0">
                <a:pos x="connsiteX35273" y="connsiteY35273"/>
              </a:cxn>
              <a:cxn ang="0">
                <a:pos x="connsiteX35274" y="connsiteY35274"/>
              </a:cxn>
              <a:cxn ang="0">
                <a:pos x="connsiteX35275" y="connsiteY35275"/>
              </a:cxn>
              <a:cxn ang="0">
                <a:pos x="connsiteX35276" y="connsiteY35276"/>
              </a:cxn>
              <a:cxn ang="0">
                <a:pos x="connsiteX35277" y="connsiteY35277"/>
              </a:cxn>
              <a:cxn ang="0">
                <a:pos x="connsiteX35278" y="connsiteY35278"/>
              </a:cxn>
              <a:cxn ang="0">
                <a:pos x="connsiteX35279" y="connsiteY35279"/>
              </a:cxn>
              <a:cxn ang="0">
                <a:pos x="connsiteX35280" y="connsiteY35280"/>
              </a:cxn>
              <a:cxn ang="0">
                <a:pos x="connsiteX35281" y="connsiteY35281"/>
              </a:cxn>
              <a:cxn ang="0">
                <a:pos x="connsiteX35282" y="connsiteY35282"/>
              </a:cxn>
              <a:cxn ang="0">
                <a:pos x="connsiteX35283" y="connsiteY35283"/>
              </a:cxn>
              <a:cxn ang="0">
                <a:pos x="connsiteX35284" y="connsiteY35284"/>
              </a:cxn>
              <a:cxn ang="0">
                <a:pos x="connsiteX35285" y="connsiteY35285"/>
              </a:cxn>
              <a:cxn ang="0">
                <a:pos x="connsiteX35286" y="connsiteY35286"/>
              </a:cxn>
              <a:cxn ang="0">
                <a:pos x="connsiteX35287" y="connsiteY35287"/>
              </a:cxn>
              <a:cxn ang="0">
                <a:pos x="connsiteX35288" y="connsiteY35288"/>
              </a:cxn>
              <a:cxn ang="0">
                <a:pos x="connsiteX35289" y="connsiteY35289"/>
              </a:cxn>
              <a:cxn ang="0">
                <a:pos x="connsiteX35290" y="connsiteY35290"/>
              </a:cxn>
              <a:cxn ang="0">
                <a:pos x="connsiteX35291" y="connsiteY35291"/>
              </a:cxn>
              <a:cxn ang="0">
                <a:pos x="connsiteX35292" y="connsiteY35292"/>
              </a:cxn>
              <a:cxn ang="0">
                <a:pos x="connsiteX35293" y="connsiteY35293"/>
              </a:cxn>
              <a:cxn ang="0">
                <a:pos x="connsiteX35294" y="connsiteY35294"/>
              </a:cxn>
              <a:cxn ang="0">
                <a:pos x="connsiteX35295" y="connsiteY35295"/>
              </a:cxn>
              <a:cxn ang="0">
                <a:pos x="connsiteX35296" y="connsiteY35296"/>
              </a:cxn>
              <a:cxn ang="0">
                <a:pos x="connsiteX35297" y="connsiteY35297"/>
              </a:cxn>
              <a:cxn ang="0">
                <a:pos x="connsiteX35298" y="connsiteY35298"/>
              </a:cxn>
              <a:cxn ang="0">
                <a:pos x="connsiteX35299" y="connsiteY35299"/>
              </a:cxn>
              <a:cxn ang="0">
                <a:pos x="connsiteX35300" y="connsiteY35300"/>
              </a:cxn>
              <a:cxn ang="0">
                <a:pos x="connsiteX35301" y="connsiteY35301"/>
              </a:cxn>
              <a:cxn ang="0">
                <a:pos x="connsiteX35302" y="connsiteY35302"/>
              </a:cxn>
              <a:cxn ang="0">
                <a:pos x="connsiteX35303" y="connsiteY35303"/>
              </a:cxn>
              <a:cxn ang="0">
                <a:pos x="connsiteX35304" y="connsiteY35304"/>
              </a:cxn>
              <a:cxn ang="0">
                <a:pos x="connsiteX35305" y="connsiteY35305"/>
              </a:cxn>
              <a:cxn ang="0">
                <a:pos x="connsiteX35306" y="connsiteY35306"/>
              </a:cxn>
              <a:cxn ang="0">
                <a:pos x="connsiteX35307" y="connsiteY35307"/>
              </a:cxn>
              <a:cxn ang="0">
                <a:pos x="connsiteX35308" y="connsiteY35308"/>
              </a:cxn>
              <a:cxn ang="0">
                <a:pos x="connsiteX35309" y="connsiteY35309"/>
              </a:cxn>
              <a:cxn ang="0">
                <a:pos x="connsiteX35310" y="connsiteY35310"/>
              </a:cxn>
              <a:cxn ang="0">
                <a:pos x="connsiteX35311" y="connsiteY35311"/>
              </a:cxn>
              <a:cxn ang="0">
                <a:pos x="connsiteX35312" y="connsiteY35312"/>
              </a:cxn>
              <a:cxn ang="0">
                <a:pos x="connsiteX35313" y="connsiteY35313"/>
              </a:cxn>
              <a:cxn ang="0">
                <a:pos x="connsiteX35314" y="connsiteY35314"/>
              </a:cxn>
              <a:cxn ang="0">
                <a:pos x="connsiteX35315" y="connsiteY35315"/>
              </a:cxn>
              <a:cxn ang="0">
                <a:pos x="connsiteX35316" y="connsiteY35316"/>
              </a:cxn>
              <a:cxn ang="0">
                <a:pos x="connsiteX35317" y="connsiteY35317"/>
              </a:cxn>
              <a:cxn ang="0">
                <a:pos x="connsiteX35318" y="connsiteY35318"/>
              </a:cxn>
              <a:cxn ang="0">
                <a:pos x="connsiteX35319" y="connsiteY35319"/>
              </a:cxn>
              <a:cxn ang="0">
                <a:pos x="connsiteX35320" y="connsiteY35320"/>
              </a:cxn>
              <a:cxn ang="0">
                <a:pos x="connsiteX35321" y="connsiteY35321"/>
              </a:cxn>
              <a:cxn ang="0">
                <a:pos x="connsiteX35322" y="connsiteY35322"/>
              </a:cxn>
              <a:cxn ang="0">
                <a:pos x="connsiteX35323" y="connsiteY35323"/>
              </a:cxn>
              <a:cxn ang="0">
                <a:pos x="connsiteX35324" y="connsiteY35324"/>
              </a:cxn>
              <a:cxn ang="0">
                <a:pos x="connsiteX35325" y="connsiteY35325"/>
              </a:cxn>
              <a:cxn ang="0">
                <a:pos x="connsiteX35326" y="connsiteY35326"/>
              </a:cxn>
              <a:cxn ang="0">
                <a:pos x="connsiteX35327" y="connsiteY35327"/>
              </a:cxn>
              <a:cxn ang="0">
                <a:pos x="connsiteX35328" y="connsiteY35328"/>
              </a:cxn>
              <a:cxn ang="0">
                <a:pos x="connsiteX35329" y="connsiteY35329"/>
              </a:cxn>
              <a:cxn ang="0">
                <a:pos x="connsiteX35330" y="connsiteY35330"/>
              </a:cxn>
              <a:cxn ang="0">
                <a:pos x="connsiteX35331" y="connsiteY35331"/>
              </a:cxn>
              <a:cxn ang="0">
                <a:pos x="connsiteX35332" y="connsiteY35332"/>
              </a:cxn>
              <a:cxn ang="0">
                <a:pos x="connsiteX35333" y="connsiteY35333"/>
              </a:cxn>
              <a:cxn ang="0">
                <a:pos x="connsiteX35334" y="connsiteY35334"/>
              </a:cxn>
              <a:cxn ang="0">
                <a:pos x="connsiteX35335" y="connsiteY35335"/>
              </a:cxn>
              <a:cxn ang="0">
                <a:pos x="connsiteX35336" y="connsiteY35336"/>
              </a:cxn>
              <a:cxn ang="0">
                <a:pos x="connsiteX35337" y="connsiteY35337"/>
              </a:cxn>
              <a:cxn ang="0">
                <a:pos x="connsiteX35338" y="connsiteY35338"/>
              </a:cxn>
              <a:cxn ang="0">
                <a:pos x="connsiteX35339" y="connsiteY35339"/>
              </a:cxn>
              <a:cxn ang="0">
                <a:pos x="connsiteX35340" y="connsiteY35340"/>
              </a:cxn>
              <a:cxn ang="0">
                <a:pos x="connsiteX35341" y="connsiteY35341"/>
              </a:cxn>
              <a:cxn ang="0">
                <a:pos x="connsiteX35342" y="connsiteY35342"/>
              </a:cxn>
              <a:cxn ang="0">
                <a:pos x="connsiteX35343" y="connsiteY35343"/>
              </a:cxn>
              <a:cxn ang="0">
                <a:pos x="connsiteX35344" y="connsiteY35344"/>
              </a:cxn>
              <a:cxn ang="0">
                <a:pos x="connsiteX35345" y="connsiteY35345"/>
              </a:cxn>
              <a:cxn ang="0">
                <a:pos x="connsiteX35346" y="connsiteY35346"/>
              </a:cxn>
              <a:cxn ang="0">
                <a:pos x="connsiteX35347" y="connsiteY35347"/>
              </a:cxn>
              <a:cxn ang="0">
                <a:pos x="connsiteX35348" y="connsiteY35348"/>
              </a:cxn>
              <a:cxn ang="0">
                <a:pos x="connsiteX35349" y="connsiteY35349"/>
              </a:cxn>
              <a:cxn ang="0">
                <a:pos x="connsiteX35350" y="connsiteY35350"/>
              </a:cxn>
              <a:cxn ang="0">
                <a:pos x="connsiteX35351" y="connsiteY35351"/>
              </a:cxn>
              <a:cxn ang="0">
                <a:pos x="connsiteX35352" y="connsiteY35352"/>
              </a:cxn>
              <a:cxn ang="0">
                <a:pos x="connsiteX35353" y="connsiteY35353"/>
              </a:cxn>
              <a:cxn ang="0">
                <a:pos x="connsiteX35354" y="connsiteY35354"/>
              </a:cxn>
              <a:cxn ang="0">
                <a:pos x="connsiteX35355" y="connsiteY35355"/>
              </a:cxn>
              <a:cxn ang="0">
                <a:pos x="connsiteX35356" y="connsiteY35356"/>
              </a:cxn>
              <a:cxn ang="0">
                <a:pos x="connsiteX35357" y="connsiteY35357"/>
              </a:cxn>
              <a:cxn ang="0">
                <a:pos x="connsiteX35358" y="connsiteY35358"/>
              </a:cxn>
              <a:cxn ang="0">
                <a:pos x="connsiteX35359" y="connsiteY35359"/>
              </a:cxn>
              <a:cxn ang="0">
                <a:pos x="connsiteX35360" y="connsiteY35360"/>
              </a:cxn>
              <a:cxn ang="0">
                <a:pos x="connsiteX35361" y="connsiteY35361"/>
              </a:cxn>
              <a:cxn ang="0">
                <a:pos x="connsiteX35362" y="connsiteY35362"/>
              </a:cxn>
              <a:cxn ang="0">
                <a:pos x="connsiteX35363" y="connsiteY35363"/>
              </a:cxn>
              <a:cxn ang="0">
                <a:pos x="connsiteX35364" y="connsiteY35364"/>
              </a:cxn>
              <a:cxn ang="0">
                <a:pos x="connsiteX35365" y="connsiteY35365"/>
              </a:cxn>
              <a:cxn ang="0">
                <a:pos x="connsiteX35366" y="connsiteY35366"/>
              </a:cxn>
              <a:cxn ang="0">
                <a:pos x="connsiteX35367" y="connsiteY35367"/>
              </a:cxn>
              <a:cxn ang="0">
                <a:pos x="connsiteX35368" y="connsiteY35368"/>
              </a:cxn>
              <a:cxn ang="0">
                <a:pos x="connsiteX35369" y="connsiteY35369"/>
              </a:cxn>
              <a:cxn ang="0">
                <a:pos x="connsiteX35370" y="connsiteY35370"/>
              </a:cxn>
              <a:cxn ang="0">
                <a:pos x="connsiteX35371" y="connsiteY35371"/>
              </a:cxn>
              <a:cxn ang="0">
                <a:pos x="connsiteX35372" y="connsiteY35372"/>
              </a:cxn>
              <a:cxn ang="0">
                <a:pos x="connsiteX35373" y="connsiteY35373"/>
              </a:cxn>
              <a:cxn ang="0">
                <a:pos x="connsiteX35374" y="connsiteY35374"/>
              </a:cxn>
              <a:cxn ang="0">
                <a:pos x="connsiteX35375" y="connsiteY35375"/>
              </a:cxn>
              <a:cxn ang="0">
                <a:pos x="connsiteX35376" y="connsiteY35376"/>
              </a:cxn>
              <a:cxn ang="0">
                <a:pos x="connsiteX35377" y="connsiteY35377"/>
              </a:cxn>
              <a:cxn ang="0">
                <a:pos x="connsiteX35378" y="connsiteY35378"/>
              </a:cxn>
              <a:cxn ang="0">
                <a:pos x="connsiteX35379" y="connsiteY35379"/>
              </a:cxn>
              <a:cxn ang="0">
                <a:pos x="connsiteX35380" y="connsiteY35380"/>
              </a:cxn>
              <a:cxn ang="0">
                <a:pos x="connsiteX35381" y="connsiteY35381"/>
              </a:cxn>
              <a:cxn ang="0">
                <a:pos x="connsiteX35382" y="connsiteY35382"/>
              </a:cxn>
              <a:cxn ang="0">
                <a:pos x="connsiteX35383" y="connsiteY35383"/>
              </a:cxn>
              <a:cxn ang="0">
                <a:pos x="connsiteX35384" y="connsiteY35384"/>
              </a:cxn>
              <a:cxn ang="0">
                <a:pos x="connsiteX35385" y="connsiteY35385"/>
              </a:cxn>
              <a:cxn ang="0">
                <a:pos x="connsiteX35386" y="connsiteY35386"/>
              </a:cxn>
              <a:cxn ang="0">
                <a:pos x="connsiteX35387" y="connsiteY35387"/>
              </a:cxn>
              <a:cxn ang="0">
                <a:pos x="connsiteX35388" y="connsiteY35388"/>
              </a:cxn>
              <a:cxn ang="0">
                <a:pos x="connsiteX35389" y="connsiteY35389"/>
              </a:cxn>
              <a:cxn ang="0">
                <a:pos x="connsiteX35390" y="connsiteY35390"/>
              </a:cxn>
              <a:cxn ang="0">
                <a:pos x="connsiteX35391" y="connsiteY35391"/>
              </a:cxn>
              <a:cxn ang="0">
                <a:pos x="connsiteX35392" y="connsiteY35392"/>
              </a:cxn>
              <a:cxn ang="0">
                <a:pos x="connsiteX35393" y="connsiteY35393"/>
              </a:cxn>
              <a:cxn ang="0">
                <a:pos x="connsiteX35394" y="connsiteY35394"/>
              </a:cxn>
              <a:cxn ang="0">
                <a:pos x="connsiteX35395" y="connsiteY35395"/>
              </a:cxn>
              <a:cxn ang="0">
                <a:pos x="connsiteX35396" y="connsiteY35396"/>
              </a:cxn>
              <a:cxn ang="0">
                <a:pos x="connsiteX35397" y="connsiteY35397"/>
              </a:cxn>
              <a:cxn ang="0">
                <a:pos x="connsiteX35398" y="connsiteY35398"/>
              </a:cxn>
              <a:cxn ang="0">
                <a:pos x="connsiteX35399" y="connsiteY35399"/>
              </a:cxn>
              <a:cxn ang="0">
                <a:pos x="connsiteX35400" y="connsiteY35400"/>
              </a:cxn>
              <a:cxn ang="0">
                <a:pos x="connsiteX35401" y="connsiteY35401"/>
              </a:cxn>
              <a:cxn ang="0">
                <a:pos x="connsiteX35402" y="connsiteY35402"/>
              </a:cxn>
              <a:cxn ang="0">
                <a:pos x="connsiteX35403" y="connsiteY35403"/>
              </a:cxn>
              <a:cxn ang="0">
                <a:pos x="connsiteX35404" y="connsiteY35404"/>
              </a:cxn>
              <a:cxn ang="0">
                <a:pos x="connsiteX35405" y="connsiteY35405"/>
              </a:cxn>
              <a:cxn ang="0">
                <a:pos x="connsiteX35406" y="connsiteY35406"/>
              </a:cxn>
              <a:cxn ang="0">
                <a:pos x="connsiteX35407" y="connsiteY35407"/>
              </a:cxn>
              <a:cxn ang="0">
                <a:pos x="connsiteX35408" y="connsiteY35408"/>
              </a:cxn>
              <a:cxn ang="0">
                <a:pos x="connsiteX35409" y="connsiteY35409"/>
              </a:cxn>
              <a:cxn ang="0">
                <a:pos x="connsiteX35410" y="connsiteY35410"/>
              </a:cxn>
              <a:cxn ang="0">
                <a:pos x="connsiteX35411" y="connsiteY35411"/>
              </a:cxn>
              <a:cxn ang="0">
                <a:pos x="connsiteX35412" y="connsiteY35412"/>
              </a:cxn>
              <a:cxn ang="0">
                <a:pos x="connsiteX35413" y="connsiteY35413"/>
              </a:cxn>
              <a:cxn ang="0">
                <a:pos x="connsiteX35414" y="connsiteY35414"/>
              </a:cxn>
              <a:cxn ang="0">
                <a:pos x="connsiteX35415" y="connsiteY35415"/>
              </a:cxn>
              <a:cxn ang="0">
                <a:pos x="connsiteX35416" y="connsiteY35416"/>
              </a:cxn>
              <a:cxn ang="0">
                <a:pos x="connsiteX35417" y="connsiteY35417"/>
              </a:cxn>
              <a:cxn ang="0">
                <a:pos x="connsiteX35418" y="connsiteY35418"/>
              </a:cxn>
              <a:cxn ang="0">
                <a:pos x="connsiteX35419" y="connsiteY35419"/>
              </a:cxn>
              <a:cxn ang="0">
                <a:pos x="connsiteX35420" y="connsiteY35420"/>
              </a:cxn>
              <a:cxn ang="0">
                <a:pos x="connsiteX35421" y="connsiteY35421"/>
              </a:cxn>
              <a:cxn ang="0">
                <a:pos x="connsiteX35422" y="connsiteY35422"/>
              </a:cxn>
              <a:cxn ang="0">
                <a:pos x="connsiteX35423" y="connsiteY35423"/>
              </a:cxn>
              <a:cxn ang="0">
                <a:pos x="connsiteX35424" y="connsiteY35424"/>
              </a:cxn>
              <a:cxn ang="0">
                <a:pos x="connsiteX35425" y="connsiteY35425"/>
              </a:cxn>
              <a:cxn ang="0">
                <a:pos x="connsiteX35426" y="connsiteY35426"/>
              </a:cxn>
              <a:cxn ang="0">
                <a:pos x="connsiteX35427" y="connsiteY35427"/>
              </a:cxn>
              <a:cxn ang="0">
                <a:pos x="connsiteX35428" y="connsiteY35428"/>
              </a:cxn>
              <a:cxn ang="0">
                <a:pos x="connsiteX35429" y="connsiteY35429"/>
              </a:cxn>
              <a:cxn ang="0">
                <a:pos x="connsiteX35430" y="connsiteY35430"/>
              </a:cxn>
              <a:cxn ang="0">
                <a:pos x="connsiteX35431" y="connsiteY35431"/>
              </a:cxn>
              <a:cxn ang="0">
                <a:pos x="connsiteX35432" y="connsiteY35432"/>
              </a:cxn>
              <a:cxn ang="0">
                <a:pos x="connsiteX35433" y="connsiteY35433"/>
              </a:cxn>
              <a:cxn ang="0">
                <a:pos x="connsiteX35434" y="connsiteY35434"/>
              </a:cxn>
              <a:cxn ang="0">
                <a:pos x="connsiteX35435" y="connsiteY35435"/>
              </a:cxn>
              <a:cxn ang="0">
                <a:pos x="connsiteX35436" y="connsiteY35436"/>
              </a:cxn>
              <a:cxn ang="0">
                <a:pos x="connsiteX35437" y="connsiteY35437"/>
              </a:cxn>
              <a:cxn ang="0">
                <a:pos x="connsiteX35438" y="connsiteY35438"/>
              </a:cxn>
              <a:cxn ang="0">
                <a:pos x="connsiteX35439" y="connsiteY35439"/>
              </a:cxn>
              <a:cxn ang="0">
                <a:pos x="connsiteX35440" y="connsiteY35440"/>
              </a:cxn>
              <a:cxn ang="0">
                <a:pos x="connsiteX35441" y="connsiteY35441"/>
              </a:cxn>
              <a:cxn ang="0">
                <a:pos x="connsiteX35442" y="connsiteY35442"/>
              </a:cxn>
              <a:cxn ang="0">
                <a:pos x="connsiteX35443" y="connsiteY35443"/>
              </a:cxn>
              <a:cxn ang="0">
                <a:pos x="connsiteX35444" y="connsiteY35444"/>
              </a:cxn>
              <a:cxn ang="0">
                <a:pos x="connsiteX35445" y="connsiteY35445"/>
              </a:cxn>
              <a:cxn ang="0">
                <a:pos x="connsiteX35446" y="connsiteY35446"/>
              </a:cxn>
              <a:cxn ang="0">
                <a:pos x="connsiteX35447" y="connsiteY35447"/>
              </a:cxn>
              <a:cxn ang="0">
                <a:pos x="connsiteX35448" y="connsiteY35448"/>
              </a:cxn>
              <a:cxn ang="0">
                <a:pos x="connsiteX35449" y="connsiteY35449"/>
              </a:cxn>
              <a:cxn ang="0">
                <a:pos x="connsiteX35450" y="connsiteY35450"/>
              </a:cxn>
              <a:cxn ang="0">
                <a:pos x="connsiteX35451" y="connsiteY35451"/>
              </a:cxn>
              <a:cxn ang="0">
                <a:pos x="connsiteX35452" y="connsiteY35452"/>
              </a:cxn>
              <a:cxn ang="0">
                <a:pos x="connsiteX35453" y="connsiteY35453"/>
              </a:cxn>
              <a:cxn ang="0">
                <a:pos x="connsiteX35454" y="connsiteY35454"/>
              </a:cxn>
              <a:cxn ang="0">
                <a:pos x="connsiteX35455" y="connsiteY35455"/>
              </a:cxn>
              <a:cxn ang="0">
                <a:pos x="connsiteX35456" y="connsiteY35456"/>
              </a:cxn>
              <a:cxn ang="0">
                <a:pos x="connsiteX35457" y="connsiteY35457"/>
              </a:cxn>
              <a:cxn ang="0">
                <a:pos x="connsiteX35458" y="connsiteY35458"/>
              </a:cxn>
              <a:cxn ang="0">
                <a:pos x="connsiteX35459" y="connsiteY35459"/>
              </a:cxn>
              <a:cxn ang="0">
                <a:pos x="connsiteX35460" y="connsiteY35460"/>
              </a:cxn>
              <a:cxn ang="0">
                <a:pos x="connsiteX35461" y="connsiteY35461"/>
              </a:cxn>
              <a:cxn ang="0">
                <a:pos x="connsiteX35462" y="connsiteY35462"/>
              </a:cxn>
              <a:cxn ang="0">
                <a:pos x="connsiteX35463" y="connsiteY35463"/>
              </a:cxn>
              <a:cxn ang="0">
                <a:pos x="connsiteX35464" y="connsiteY35464"/>
              </a:cxn>
              <a:cxn ang="0">
                <a:pos x="connsiteX35465" y="connsiteY35465"/>
              </a:cxn>
              <a:cxn ang="0">
                <a:pos x="connsiteX35466" y="connsiteY35466"/>
              </a:cxn>
              <a:cxn ang="0">
                <a:pos x="connsiteX35467" y="connsiteY35467"/>
              </a:cxn>
              <a:cxn ang="0">
                <a:pos x="connsiteX35468" y="connsiteY35468"/>
              </a:cxn>
              <a:cxn ang="0">
                <a:pos x="connsiteX35469" y="connsiteY35469"/>
              </a:cxn>
              <a:cxn ang="0">
                <a:pos x="connsiteX35470" y="connsiteY35470"/>
              </a:cxn>
              <a:cxn ang="0">
                <a:pos x="connsiteX35471" y="connsiteY35471"/>
              </a:cxn>
              <a:cxn ang="0">
                <a:pos x="connsiteX35472" y="connsiteY35472"/>
              </a:cxn>
              <a:cxn ang="0">
                <a:pos x="connsiteX35473" y="connsiteY35473"/>
              </a:cxn>
              <a:cxn ang="0">
                <a:pos x="connsiteX35474" y="connsiteY35474"/>
              </a:cxn>
              <a:cxn ang="0">
                <a:pos x="connsiteX35475" y="connsiteY35475"/>
              </a:cxn>
              <a:cxn ang="0">
                <a:pos x="connsiteX35476" y="connsiteY35476"/>
              </a:cxn>
              <a:cxn ang="0">
                <a:pos x="connsiteX35477" y="connsiteY35477"/>
              </a:cxn>
              <a:cxn ang="0">
                <a:pos x="connsiteX35478" y="connsiteY35478"/>
              </a:cxn>
              <a:cxn ang="0">
                <a:pos x="connsiteX35479" y="connsiteY35479"/>
              </a:cxn>
              <a:cxn ang="0">
                <a:pos x="connsiteX35480" y="connsiteY35480"/>
              </a:cxn>
              <a:cxn ang="0">
                <a:pos x="connsiteX35481" y="connsiteY35481"/>
              </a:cxn>
              <a:cxn ang="0">
                <a:pos x="connsiteX35482" y="connsiteY35482"/>
              </a:cxn>
              <a:cxn ang="0">
                <a:pos x="connsiteX35483" y="connsiteY35483"/>
              </a:cxn>
              <a:cxn ang="0">
                <a:pos x="connsiteX35484" y="connsiteY35484"/>
              </a:cxn>
              <a:cxn ang="0">
                <a:pos x="connsiteX35485" y="connsiteY35485"/>
              </a:cxn>
              <a:cxn ang="0">
                <a:pos x="connsiteX35486" y="connsiteY35486"/>
              </a:cxn>
              <a:cxn ang="0">
                <a:pos x="connsiteX35487" y="connsiteY35487"/>
              </a:cxn>
              <a:cxn ang="0">
                <a:pos x="connsiteX35488" y="connsiteY35488"/>
              </a:cxn>
              <a:cxn ang="0">
                <a:pos x="connsiteX35489" y="connsiteY35489"/>
              </a:cxn>
              <a:cxn ang="0">
                <a:pos x="connsiteX35490" y="connsiteY35490"/>
              </a:cxn>
              <a:cxn ang="0">
                <a:pos x="connsiteX35491" y="connsiteY35491"/>
              </a:cxn>
              <a:cxn ang="0">
                <a:pos x="connsiteX35492" y="connsiteY35492"/>
              </a:cxn>
              <a:cxn ang="0">
                <a:pos x="connsiteX35493" y="connsiteY35493"/>
              </a:cxn>
              <a:cxn ang="0">
                <a:pos x="connsiteX35494" y="connsiteY35494"/>
              </a:cxn>
              <a:cxn ang="0">
                <a:pos x="connsiteX35495" y="connsiteY35495"/>
              </a:cxn>
              <a:cxn ang="0">
                <a:pos x="connsiteX35496" y="connsiteY35496"/>
              </a:cxn>
              <a:cxn ang="0">
                <a:pos x="connsiteX35497" y="connsiteY35497"/>
              </a:cxn>
              <a:cxn ang="0">
                <a:pos x="connsiteX35498" y="connsiteY35498"/>
              </a:cxn>
              <a:cxn ang="0">
                <a:pos x="connsiteX35499" y="connsiteY35499"/>
              </a:cxn>
              <a:cxn ang="0">
                <a:pos x="connsiteX35500" y="connsiteY35500"/>
              </a:cxn>
              <a:cxn ang="0">
                <a:pos x="connsiteX35501" y="connsiteY35501"/>
              </a:cxn>
              <a:cxn ang="0">
                <a:pos x="connsiteX35502" y="connsiteY35502"/>
              </a:cxn>
              <a:cxn ang="0">
                <a:pos x="connsiteX35503" y="connsiteY35503"/>
              </a:cxn>
              <a:cxn ang="0">
                <a:pos x="connsiteX35504" y="connsiteY35504"/>
              </a:cxn>
              <a:cxn ang="0">
                <a:pos x="connsiteX35505" y="connsiteY35505"/>
              </a:cxn>
              <a:cxn ang="0">
                <a:pos x="connsiteX35506" y="connsiteY35506"/>
              </a:cxn>
              <a:cxn ang="0">
                <a:pos x="connsiteX35507" y="connsiteY35507"/>
              </a:cxn>
              <a:cxn ang="0">
                <a:pos x="connsiteX35508" y="connsiteY35508"/>
              </a:cxn>
              <a:cxn ang="0">
                <a:pos x="connsiteX35509" y="connsiteY35509"/>
              </a:cxn>
              <a:cxn ang="0">
                <a:pos x="connsiteX35510" y="connsiteY35510"/>
              </a:cxn>
              <a:cxn ang="0">
                <a:pos x="connsiteX35511" y="connsiteY35511"/>
              </a:cxn>
              <a:cxn ang="0">
                <a:pos x="connsiteX35512" y="connsiteY35512"/>
              </a:cxn>
              <a:cxn ang="0">
                <a:pos x="connsiteX35513" y="connsiteY35513"/>
              </a:cxn>
              <a:cxn ang="0">
                <a:pos x="connsiteX35514" y="connsiteY35514"/>
              </a:cxn>
              <a:cxn ang="0">
                <a:pos x="connsiteX35515" y="connsiteY35515"/>
              </a:cxn>
              <a:cxn ang="0">
                <a:pos x="connsiteX35516" y="connsiteY35516"/>
              </a:cxn>
              <a:cxn ang="0">
                <a:pos x="connsiteX35517" y="connsiteY35517"/>
              </a:cxn>
              <a:cxn ang="0">
                <a:pos x="connsiteX35518" y="connsiteY35518"/>
              </a:cxn>
              <a:cxn ang="0">
                <a:pos x="connsiteX35519" y="connsiteY35519"/>
              </a:cxn>
              <a:cxn ang="0">
                <a:pos x="connsiteX35520" y="connsiteY35520"/>
              </a:cxn>
              <a:cxn ang="0">
                <a:pos x="connsiteX35521" y="connsiteY35521"/>
              </a:cxn>
              <a:cxn ang="0">
                <a:pos x="connsiteX35522" y="connsiteY35522"/>
              </a:cxn>
              <a:cxn ang="0">
                <a:pos x="connsiteX35523" y="connsiteY35523"/>
              </a:cxn>
              <a:cxn ang="0">
                <a:pos x="connsiteX35524" y="connsiteY35524"/>
              </a:cxn>
              <a:cxn ang="0">
                <a:pos x="connsiteX35525" y="connsiteY35525"/>
              </a:cxn>
              <a:cxn ang="0">
                <a:pos x="connsiteX35526" y="connsiteY35526"/>
              </a:cxn>
              <a:cxn ang="0">
                <a:pos x="connsiteX35527" y="connsiteY35527"/>
              </a:cxn>
              <a:cxn ang="0">
                <a:pos x="connsiteX35528" y="connsiteY35528"/>
              </a:cxn>
              <a:cxn ang="0">
                <a:pos x="connsiteX35529" y="connsiteY35529"/>
              </a:cxn>
              <a:cxn ang="0">
                <a:pos x="connsiteX35530" y="connsiteY35530"/>
              </a:cxn>
              <a:cxn ang="0">
                <a:pos x="connsiteX35531" y="connsiteY35531"/>
              </a:cxn>
              <a:cxn ang="0">
                <a:pos x="connsiteX35532" y="connsiteY35532"/>
              </a:cxn>
              <a:cxn ang="0">
                <a:pos x="connsiteX35533" y="connsiteY35533"/>
              </a:cxn>
              <a:cxn ang="0">
                <a:pos x="connsiteX35534" y="connsiteY35534"/>
              </a:cxn>
              <a:cxn ang="0">
                <a:pos x="connsiteX35535" y="connsiteY35535"/>
              </a:cxn>
              <a:cxn ang="0">
                <a:pos x="connsiteX35536" y="connsiteY35536"/>
              </a:cxn>
              <a:cxn ang="0">
                <a:pos x="connsiteX35537" y="connsiteY35537"/>
              </a:cxn>
              <a:cxn ang="0">
                <a:pos x="connsiteX35538" y="connsiteY35538"/>
              </a:cxn>
              <a:cxn ang="0">
                <a:pos x="connsiteX35539" y="connsiteY35539"/>
              </a:cxn>
              <a:cxn ang="0">
                <a:pos x="connsiteX35540" y="connsiteY35540"/>
              </a:cxn>
              <a:cxn ang="0">
                <a:pos x="connsiteX35541" y="connsiteY35541"/>
              </a:cxn>
              <a:cxn ang="0">
                <a:pos x="connsiteX35542" y="connsiteY35542"/>
              </a:cxn>
              <a:cxn ang="0">
                <a:pos x="connsiteX35543" y="connsiteY35543"/>
              </a:cxn>
              <a:cxn ang="0">
                <a:pos x="connsiteX35544" y="connsiteY35544"/>
              </a:cxn>
              <a:cxn ang="0">
                <a:pos x="connsiteX35545" y="connsiteY35545"/>
              </a:cxn>
              <a:cxn ang="0">
                <a:pos x="connsiteX35546" y="connsiteY35546"/>
              </a:cxn>
              <a:cxn ang="0">
                <a:pos x="connsiteX35547" y="connsiteY35547"/>
              </a:cxn>
              <a:cxn ang="0">
                <a:pos x="connsiteX35548" y="connsiteY35548"/>
              </a:cxn>
              <a:cxn ang="0">
                <a:pos x="connsiteX35549" y="connsiteY35549"/>
              </a:cxn>
              <a:cxn ang="0">
                <a:pos x="connsiteX35550" y="connsiteY35550"/>
              </a:cxn>
              <a:cxn ang="0">
                <a:pos x="connsiteX35551" y="connsiteY35551"/>
              </a:cxn>
              <a:cxn ang="0">
                <a:pos x="connsiteX35552" y="connsiteY35552"/>
              </a:cxn>
              <a:cxn ang="0">
                <a:pos x="connsiteX35553" y="connsiteY35553"/>
              </a:cxn>
              <a:cxn ang="0">
                <a:pos x="connsiteX35554" y="connsiteY35554"/>
              </a:cxn>
              <a:cxn ang="0">
                <a:pos x="connsiteX35555" y="connsiteY35555"/>
              </a:cxn>
              <a:cxn ang="0">
                <a:pos x="connsiteX35556" y="connsiteY35556"/>
              </a:cxn>
              <a:cxn ang="0">
                <a:pos x="connsiteX35557" y="connsiteY35557"/>
              </a:cxn>
              <a:cxn ang="0">
                <a:pos x="connsiteX35558" y="connsiteY35558"/>
              </a:cxn>
              <a:cxn ang="0">
                <a:pos x="connsiteX35559" y="connsiteY35559"/>
              </a:cxn>
              <a:cxn ang="0">
                <a:pos x="connsiteX35560" y="connsiteY35560"/>
              </a:cxn>
              <a:cxn ang="0">
                <a:pos x="connsiteX35561" y="connsiteY35561"/>
              </a:cxn>
              <a:cxn ang="0">
                <a:pos x="connsiteX35562" y="connsiteY35562"/>
              </a:cxn>
              <a:cxn ang="0">
                <a:pos x="connsiteX35563" y="connsiteY35563"/>
              </a:cxn>
              <a:cxn ang="0">
                <a:pos x="connsiteX35564" y="connsiteY35564"/>
              </a:cxn>
              <a:cxn ang="0">
                <a:pos x="connsiteX35565" y="connsiteY35565"/>
              </a:cxn>
              <a:cxn ang="0">
                <a:pos x="connsiteX35566" y="connsiteY35566"/>
              </a:cxn>
              <a:cxn ang="0">
                <a:pos x="connsiteX35567" y="connsiteY35567"/>
              </a:cxn>
              <a:cxn ang="0">
                <a:pos x="connsiteX35568" y="connsiteY35568"/>
              </a:cxn>
              <a:cxn ang="0">
                <a:pos x="connsiteX35569" y="connsiteY35569"/>
              </a:cxn>
              <a:cxn ang="0">
                <a:pos x="connsiteX35570" y="connsiteY35570"/>
              </a:cxn>
              <a:cxn ang="0">
                <a:pos x="connsiteX35571" y="connsiteY35571"/>
              </a:cxn>
              <a:cxn ang="0">
                <a:pos x="connsiteX35572" y="connsiteY35572"/>
              </a:cxn>
              <a:cxn ang="0">
                <a:pos x="connsiteX35573" y="connsiteY35573"/>
              </a:cxn>
              <a:cxn ang="0">
                <a:pos x="connsiteX35574" y="connsiteY35574"/>
              </a:cxn>
              <a:cxn ang="0">
                <a:pos x="connsiteX35575" y="connsiteY35575"/>
              </a:cxn>
              <a:cxn ang="0">
                <a:pos x="connsiteX35576" y="connsiteY35576"/>
              </a:cxn>
              <a:cxn ang="0">
                <a:pos x="connsiteX35577" y="connsiteY35577"/>
              </a:cxn>
              <a:cxn ang="0">
                <a:pos x="connsiteX35578" y="connsiteY35578"/>
              </a:cxn>
              <a:cxn ang="0">
                <a:pos x="connsiteX35579" y="connsiteY35579"/>
              </a:cxn>
              <a:cxn ang="0">
                <a:pos x="connsiteX35580" y="connsiteY35580"/>
              </a:cxn>
              <a:cxn ang="0">
                <a:pos x="connsiteX35581" y="connsiteY35581"/>
              </a:cxn>
              <a:cxn ang="0">
                <a:pos x="connsiteX35582" y="connsiteY35582"/>
              </a:cxn>
              <a:cxn ang="0">
                <a:pos x="connsiteX35583" y="connsiteY35583"/>
              </a:cxn>
              <a:cxn ang="0">
                <a:pos x="connsiteX35584" y="connsiteY35584"/>
              </a:cxn>
              <a:cxn ang="0">
                <a:pos x="connsiteX35585" y="connsiteY35585"/>
              </a:cxn>
              <a:cxn ang="0">
                <a:pos x="connsiteX35586" y="connsiteY35586"/>
              </a:cxn>
              <a:cxn ang="0">
                <a:pos x="connsiteX35587" y="connsiteY35587"/>
              </a:cxn>
              <a:cxn ang="0">
                <a:pos x="connsiteX35588" y="connsiteY35588"/>
              </a:cxn>
              <a:cxn ang="0">
                <a:pos x="connsiteX35589" y="connsiteY35589"/>
              </a:cxn>
              <a:cxn ang="0">
                <a:pos x="connsiteX35590" y="connsiteY35590"/>
              </a:cxn>
              <a:cxn ang="0">
                <a:pos x="connsiteX35591" y="connsiteY35591"/>
              </a:cxn>
              <a:cxn ang="0">
                <a:pos x="connsiteX35592" y="connsiteY35592"/>
              </a:cxn>
              <a:cxn ang="0">
                <a:pos x="connsiteX35593" y="connsiteY35593"/>
              </a:cxn>
              <a:cxn ang="0">
                <a:pos x="connsiteX35594" y="connsiteY35594"/>
              </a:cxn>
              <a:cxn ang="0">
                <a:pos x="connsiteX35595" y="connsiteY35595"/>
              </a:cxn>
              <a:cxn ang="0">
                <a:pos x="connsiteX35596" y="connsiteY35596"/>
              </a:cxn>
              <a:cxn ang="0">
                <a:pos x="connsiteX35597" y="connsiteY35597"/>
              </a:cxn>
              <a:cxn ang="0">
                <a:pos x="connsiteX35598" y="connsiteY35598"/>
              </a:cxn>
              <a:cxn ang="0">
                <a:pos x="connsiteX35599" y="connsiteY35599"/>
              </a:cxn>
              <a:cxn ang="0">
                <a:pos x="connsiteX35600" y="connsiteY35600"/>
              </a:cxn>
              <a:cxn ang="0">
                <a:pos x="connsiteX35601" y="connsiteY35601"/>
              </a:cxn>
              <a:cxn ang="0">
                <a:pos x="connsiteX35602" y="connsiteY35602"/>
              </a:cxn>
              <a:cxn ang="0">
                <a:pos x="connsiteX35603" y="connsiteY35603"/>
              </a:cxn>
              <a:cxn ang="0">
                <a:pos x="connsiteX35604" y="connsiteY35604"/>
              </a:cxn>
              <a:cxn ang="0">
                <a:pos x="connsiteX35605" y="connsiteY35605"/>
              </a:cxn>
              <a:cxn ang="0">
                <a:pos x="connsiteX35606" y="connsiteY35606"/>
              </a:cxn>
              <a:cxn ang="0">
                <a:pos x="connsiteX35607" y="connsiteY35607"/>
              </a:cxn>
              <a:cxn ang="0">
                <a:pos x="connsiteX35608" y="connsiteY35608"/>
              </a:cxn>
              <a:cxn ang="0">
                <a:pos x="connsiteX35609" y="connsiteY35609"/>
              </a:cxn>
              <a:cxn ang="0">
                <a:pos x="connsiteX35610" y="connsiteY35610"/>
              </a:cxn>
              <a:cxn ang="0">
                <a:pos x="connsiteX35611" y="connsiteY35611"/>
              </a:cxn>
              <a:cxn ang="0">
                <a:pos x="connsiteX35612" y="connsiteY35612"/>
              </a:cxn>
              <a:cxn ang="0">
                <a:pos x="connsiteX35613" y="connsiteY35613"/>
              </a:cxn>
              <a:cxn ang="0">
                <a:pos x="connsiteX35614" y="connsiteY35614"/>
              </a:cxn>
              <a:cxn ang="0">
                <a:pos x="connsiteX35615" y="connsiteY35615"/>
              </a:cxn>
              <a:cxn ang="0">
                <a:pos x="connsiteX35616" y="connsiteY35616"/>
              </a:cxn>
              <a:cxn ang="0">
                <a:pos x="connsiteX35617" y="connsiteY35617"/>
              </a:cxn>
              <a:cxn ang="0">
                <a:pos x="connsiteX35618" y="connsiteY35618"/>
              </a:cxn>
              <a:cxn ang="0">
                <a:pos x="connsiteX35619" y="connsiteY35619"/>
              </a:cxn>
              <a:cxn ang="0">
                <a:pos x="connsiteX35620" y="connsiteY35620"/>
              </a:cxn>
              <a:cxn ang="0">
                <a:pos x="connsiteX35621" y="connsiteY35621"/>
              </a:cxn>
              <a:cxn ang="0">
                <a:pos x="connsiteX35622" y="connsiteY35622"/>
              </a:cxn>
              <a:cxn ang="0">
                <a:pos x="connsiteX35623" y="connsiteY35623"/>
              </a:cxn>
              <a:cxn ang="0">
                <a:pos x="connsiteX35624" y="connsiteY35624"/>
              </a:cxn>
              <a:cxn ang="0">
                <a:pos x="connsiteX35625" y="connsiteY35625"/>
              </a:cxn>
              <a:cxn ang="0">
                <a:pos x="connsiteX35626" y="connsiteY35626"/>
              </a:cxn>
              <a:cxn ang="0">
                <a:pos x="connsiteX35627" y="connsiteY35627"/>
              </a:cxn>
              <a:cxn ang="0">
                <a:pos x="connsiteX35628" y="connsiteY35628"/>
              </a:cxn>
              <a:cxn ang="0">
                <a:pos x="connsiteX35629" y="connsiteY35629"/>
              </a:cxn>
              <a:cxn ang="0">
                <a:pos x="connsiteX35630" y="connsiteY35630"/>
              </a:cxn>
              <a:cxn ang="0">
                <a:pos x="connsiteX35631" y="connsiteY35631"/>
              </a:cxn>
              <a:cxn ang="0">
                <a:pos x="connsiteX35632" y="connsiteY35632"/>
              </a:cxn>
              <a:cxn ang="0">
                <a:pos x="connsiteX35633" y="connsiteY35633"/>
              </a:cxn>
              <a:cxn ang="0">
                <a:pos x="connsiteX35634" y="connsiteY35634"/>
              </a:cxn>
              <a:cxn ang="0">
                <a:pos x="connsiteX35635" y="connsiteY35635"/>
              </a:cxn>
              <a:cxn ang="0">
                <a:pos x="connsiteX35636" y="connsiteY35636"/>
              </a:cxn>
              <a:cxn ang="0">
                <a:pos x="connsiteX35637" y="connsiteY35637"/>
              </a:cxn>
              <a:cxn ang="0">
                <a:pos x="connsiteX35638" y="connsiteY35638"/>
              </a:cxn>
              <a:cxn ang="0">
                <a:pos x="connsiteX35639" y="connsiteY35639"/>
              </a:cxn>
              <a:cxn ang="0">
                <a:pos x="connsiteX35640" y="connsiteY35640"/>
              </a:cxn>
              <a:cxn ang="0">
                <a:pos x="connsiteX35641" y="connsiteY35641"/>
              </a:cxn>
              <a:cxn ang="0">
                <a:pos x="connsiteX35642" y="connsiteY35642"/>
              </a:cxn>
              <a:cxn ang="0">
                <a:pos x="connsiteX35643" y="connsiteY35643"/>
              </a:cxn>
              <a:cxn ang="0">
                <a:pos x="connsiteX35644" y="connsiteY35644"/>
              </a:cxn>
              <a:cxn ang="0">
                <a:pos x="connsiteX35645" y="connsiteY35645"/>
              </a:cxn>
              <a:cxn ang="0">
                <a:pos x="connsiteX35646" y="connsiteY35646"/>
              </a:cxn>
              <a:cxn ang="0">
                <a:pos x="connsiteX35647" y="connsiteY35647"/>
              </a:cxn>
              <a:cxn ang="0">
                <a:pos x="connsiteX35648" y="connsiteY35648"/>
              </a:cxn>
              <a:cxn ang="0">
                <a:pos x="connsiteX35649" y="connsiteY35649"/>
              </a:cxn>
              <a:cxn ang="0">
                <a:pos x="connsiteX35650" y="connsiteY35650"/>
              </a:cxn>
              <a:cxn ang="0">
                <a:pos x="connsiteX35651" y="connsiteY35651"/>
              </a:cxn>
              <a:cxn ang="0">
                <a:pos x="connsiteX35652" y="connsiteY35652"/>
              </a:cxn>
              <a:cxn ang="0">
                <a:pos x="connsiteX35653" y="connsiteY35653"/>
              </a:cxn>
              <a:cxn ang="0">
                <a:pos x="connsiteX35654" y="connsiteY35654"/>
              </a:cxn>
              <a:cxn ang="0">
                <a:pos x="connsiteX35655" y="connsiteY35655"/>
              </a:cxn>
              <a:cxn ang="0">
                <a:pos x="connsiteX35656" y="connsiteY35656"/>
              </a:cxn>
              <a:cxn ang="0">
                <a:pos x="connsiteX35657" y="connsiteY35657"/>
              </a:cxn>
              <a:cxn ang="0">
                <a:pos x="connsiteX35658" y="connsiteY35658"/>
              </a:cxn>
              <a:cxn ang="0">
                <a:pos x="connsiteX35659" y="connsiteY35659"/>
              </a:cxn>
              <a:cxn ang="0">
                <a:pos x="connsiteX35660" y="connsiteY35660"/>
              </a:cxn>
              <a:cxn ang="0">
                <a:pos x="connsiteX35661" y="connsiteY35661"/>
              </a:cxn>
              <a:cxn ang="0">
                <a:pos x="connsiteX35662" y="connsiteY35662"/>
              </a:cxn>
              <a:cxn ang="0">
                <a:pos x="connsiteX35663" y="connsiteY35663"/>
              </a:cxn>
              <a:cxn ang="0">
                <a:pos x="connsiteX35664" y="connsiteY35664"/>
              </a:cxn>
              <a:cxn ang="0">
                <a:pos x="connsiteX35665" y="connsiteY35665"/>
              </a:cxn>
              <a:cxn ang="0">
                <a:pos x="connsiteX35666" y="connsiteY35666"/>
              </a:cxn>
              <a:cxn ang="0">
                <a:pos x="connsiteX35667" y="connsiteY35667"/>
              </a:cxn>
              <a:cxn ang="0">
                <a:pos x="connsiteX35668" y="connsiteY35668"/>
              </a:cxn>
              <a:cxn ang="0">
                <a:pos x="connsiteX35669" y="connsiteY35669"/>
              </a:cxn>
              <a:cxn ang="0">
                <a:pos x="connsiteX35670" y="connsiteY35670"/>
              </a:cxn>
              <a:cxn ang="0">
                <a:pos x="connsiteX35671" y="connsiteY35671"/>
              </a:cxn>
              <a:cxn ang="0">
                <a:pos x="connsiteX35672" y="connsiteY35672"/>
              </a:cxn>
              <a:cxn ang="0">
                <a:pos x="connsiteX35673" y="connsiteY35673"/>
              </a:cxn>
              <a:cxn ang="0">
                <a:pos x="connsiteX35674" y="connsiteY35674"/>
              </a:cxn>
              <a:cxn ang="0">
                <a:pos x="connsiteX35675" y="connsiteY35675"/>
              </a:cxn>
              <a:cxn ang="0">
                <a:pos x="connsiteX35676" y="connsiteY35676"/>
              </a:cxn>
              <a:cxn ang="0">
                <a:pos x="connsiteX35677" y="connsiteY35677"/>
              </a:cxn>
              <a:cxn ang="0">
                <a:pos x="connsiteX35678" y="connsiteY35678"/>
              </a:cxn>
              <a:cxn ang="0">
                <a:pos x="connsiteX35679" y="connsiteY35679"/>
              </a:cxn>
              <a:cxn ang="0">
                <a:pos x="connsiteX35680" y="connsiteY35680"/>
              </a:cxn>
              <a:cxn ang="0">
                <a:pos x="connsiteX35681" y="connsiteY35681"/>
              </a:cxn>
              <a:cxn ang="0">
                <a:pos x="connsiteX35682" y="connsiteY35682"/>
              </a:cxn>
              <a:cxn ang="0">
                <a:pos x="connsiteX35683" y="connsiteY35683"/>
              </a:cxn>
              <a:cxn ang="0">
                <a:pos x="connsiteX35684" y="connsiteY35684"/>
              </a:cxn>
              <a:cxn ang="0">
                <a:pos x="connsiteX35685" y="connsiteY35685"/>
              </a:cxn>
              <a:cxn ang="0">
                <a:pos x="connsiteX35686" y="connsiteY35686"/>
              </a:cxn>
              <a:cxn ang="0">
                <a:pos x="connsiteX35687" y="connsiteY35687"/>
              </a:cxn>
              <a:cxn ang="0">
                <a:pos x="connsiteX35688" y="connsiteY35688"/>
              </a:cxn>
              <a:cxn ang="0">
                <a:pos x="connsiteX35689" y="connsiteY35689"/>
              </a:cxn>
              <a:cxn ang="0">
                <a:pos x="connsiteX35690" y="connsiteY35690"/>
              </a:cxn>
              <a:cxn ang="0">
                <a:pos x="connsiteX35691" y="connsiteY35691"/>
              </a:cxn>
              <a:cxn ang="0">
                <a:pos x="connsiteX35692" y="connsiteY35692"/>
              </a:cxn>
              <a:cxn ang="0">
                <a:pos x="connsiteX35693" y="connsiteY35693"/>
              </a:cxn>
              <a:cxn ang="0">
                <a:pos x="connsiteX35694" y="connsiteY35694"/>
              </a:cxn>
              <a:cxn ang="0">
                <a:pos x="connsiteX35695" y="connsiteY35695"/>
              </a:cxn>
              <a:cxn ang="0">
                <a:pos x="connsiteX35696" y="connsiteY35696"/>
              </a:cxn>
              <a:cxn ang="0">
                <a:pos x="connsiteX35697" y="connsiteY35697"/>
              </a:cxn>
              <a:cxn ang="0">
                <a:pos x="connsiteX35698" y="connsiteY35698"/>
              </a:cxn>
              <a:cxn ang="0">
                <a:pos x="connsiteX35699" y="connsiteY35699"/>
              </a:cxn>
              <a:cxn ang="0">
                <a:pos x="connsiteX35700" y="connsiteY35700"/>
              </a:cxn>
              <a:cxn ang="0">
                <a:pos x="connsiteX35701" y="connsiteY35701"/>
              </a:cxn>
              <a:cxn ang="0">
                <a:pos x="connsiteX35702" y="connsiteY35702"/>
              </a:cxn>
              <a:cxn ang="0">
                <a:pos x="connsiteX35703" y="connsiteY35703"/>
              </a:cxn>
              <a:cxn ang="0">
                <a:pos x="connsiteX35704" y="connsiteY35704"/>
              </a:cxn>
              <a:cxn ang="0">
                <a:pos x="connsiteX35705" y="connsiteY35705"/>
              </a:cxn>
              <a:cxn ang="0">
                <a:pos x="connsiteX35706" y="connsiteY35706"/>
              </a:cxn>
              <a:cxn ang="0">
                <a:pos x="connsiteX35707" y="connsiteY35707"/>
              </a:cxn>
              <a:cxn ang="0">
                <a:pos x="connsiteX35708" y="connsiteY35708"/>
              </a:cxn>
              <a:cxn ang="0">
                <a:pos x="connsiteX35709" y="connsiteY35709"/>
              </a:cxn>
              <a:cxn ang="0">
                <a:pos x="connsiteX35710" y="connsiteY35710"/>
              </a:cxn>
              <a:cxn ang="0">
                <a:pos x="connsiteX35711" y="connsiteY35711"/>
              </a:cxn>
              <a:cxn ang="0">
                <a:pos x="connsiteX35712" y="connsiteY35712"/>
              </a:cxn>
              <a:cxn ang="0">
                <a:pos x="connsiteX35713" y="connsiteY35713"/>
              </a:cxn>
              <a:cxn ang="0">
                <a:pos x="connsiteX35714" y="connsiteY35714"/>
              </a:cxn>
              <a:cxn ang="0">
                <a:pos x="connsiteX35715" y="connsiteY35715"/>
              </a:cxn>
              <a:cxn ang="0">
                <a:pos x="connsiteX35716" y="connsiteY35716"/>
              </a:cxn>
              <a:cxn ang="0">
                <a:pos x="connsiteX35717" y="connsiteY35717"/>
              </a:cxn>
              <a:cxn ang="0">
                <a:pos x="connsiteX35718" y="connsiteY35718"/>
              </a:cxn>
              <a:cxn ang="0">
                <a:pos x="connsiteX35719" y="connsiteY35719"/>
              </a:cxn>
              <a:cxn ang="0">
                <a:pos x="connsiteX35720" y="connsiteY35720"/>
              </a:cxn>
              <a:cxn ang="0">
                <a:pos x="connsiteX35721" y="connsiteY35721"/>
              </a:cxn>
              <a:cxn ang="0">
                <a:pos x="connsiteX35722" y="connsiteY35722"/>
              </a:cxn>
              <a:cxn ang="0">
                <a:pos x="connsiteX35723" y="connsiteY35723"/>
              </a:cxn>
              <a:cxn ang="0">
                <a:pos x="connsiteX35724" y="connsiteY35724"/>
              </a:cxn>
              <a:cxn ang="0">
                <a:pos x="connsiteX35725" y="connsiteY35725"/>
              </a:cxn>
              <a:cxn ang="0">
                <a:pos x="connsiteX35726" y="connsiteY35726"/>
              </a:cxn>
              <a:cxn ang="0">
                <a:pos x="connsiteX35727" y="connsiteY35727"/>
              </a:cxn>
              <a:cxn ang="0">
                <a:pos x="connsiteX35728" y="connsiteY35728"/>
              </a:cxn>
              <a:cxn ang="0">
                <a:pos x="connsiteX35729" y="connsiteY35729"/>
              </a:cxn>
              <a:cxn ang="0">
                <a:pos x="connsiteX35730" y="connsiteY35730"/>
              </a:cxn>
              <a:cxn ang="0">
                <a:pos x="connsiteX35731" y="connsiteY35731"/>
              </a:cxn>
              <a:cxn ang="0">
                <a:pos x="connsiteX35732" y="connsiteY35732"/>
              </a:cxn>
              <a:cxn ang="0">
                <a:pos x="connsiteX35733" y="connsiteY35733"/>
              </a:cxn>
              <a:cxn ang="0">
                <a:pos x="connsiteX35734" y="connsiteY35734"/>
              </a:cxn>
              <a:cxn ang="0">
                <a:pos x="connsiteX35735" y="connsiteY35735"/>
              </a:cxn>
              <a:cxn ang="0">
                <a:pos x="connsiteX35736" y="connsiteY35736"/>
              </a:cxn>
              <a:cxn ang="0">
                <a:pos x="connsiteX35737" y="connsiteY35737"/>
              </a:cxn>
              <a:cxn ang="0">
                <a:pos x="connsiteX35738" y="connsiteY35738"/>
              </a:cxn>
              <a:cxn ang="0">
                <a:pos x="connsiteX35739" y="connsiteY35739"/>
              </a:cxn>
              <a:cxn ang="0">
                <a:pos x="connsiteX35740" y="connsiteY35740"/>
              </a:cxn>
              <a:cxn ang="0">
                <a:pos x="connsiteX35741" y="connsiteY35741"/>
              </a:cxn>
              <a:cxn ang="0">
                <a:pos x="connsiteX35742" y="connsiteY35742"/>
              </a:cxn>
              <a:cxn ang="0">
                <a:pos x="connsiteX35743" y="connsiteY35743"/>
              </a:cxn>
              <a:cxn ang="0">
                <a:pos x="connsiteX35744" y="connsiteY35744"/>
              </a:cxn>
              <a:cxn ang="0">
                <a:pos x="connsiteX35745" y="connsiteY35745"/>
              </a:cxn>
              <a:cxn ang="0">
                <a:pos x="connsiteX35746" y="connsiteY35746"/>
              </a:cxn>
              <a:cxn ang="0">
                <a:pos x="connsiteX35747" y="connsiteY35747"/>
              </a:cxn>
              <a:cxn ang="0">
                <a:pos x="connsiteX35748" y="connsiteY35748"/>
              </a:cxn>
              <a:cxn ang="0">
                <a:pos x="connsiteX35749" y="connsiteY35749"/>
              </a:cxn>
              <a:cxn ang="0">
                <a:pos x="connsiteX35750" y="connsiteY35750"/>
              </a:cxn>
              <a:cxn ang="0">
                <a:pos x="connsiteX35751" y="connsiteY35751"/>
              </a:cxn>
              <a:cxn ang="0">
                <a:pos x="connsiteX35752" y="connsiteY35752"/>
              </a:cxn>
              <a:cxn ang="0">
                <a:pos x="connsiteX35753" y="connsiteY35753"/>
              </a:cxn>
              <a:cxn ang="0">
                <a:pos x="connsiteX35754" y="connsiteY35754"/>
              </a:cxn>
              <a:cxn ang="0">
                <a:pos x="connsiteX35755" y="connsiteY35755"/>
              </a:cxn>
              <a:cxn ang="0">
                <a:pos x="connsiteX35756" y="connsiteY35756"/>
              </a:cxn>
              <a:cxn ang="0">
                <a:pos x="connsiteX35757" y="connsiteY35757"/>
              </a:cxn>
              <a:cxn ang="0">
                <a:pos x="connsiteX35758" y="connsiteY35758"/>
              </a:cxn>
              <a:cxn ang="0">
                <a:pos x="connsiteX35759" y="connsiteY35759"/>
              </a:cxn>
              <a:cxn ang="0">
                <a:pos x="connsiteX35760" y="connsiteY35760"/>
              </a:cxn>
              <a:cxn ang="0">
                <a:pos x="connsiteX35761" y="connsiteY35761"/>
              </a:cxn>
              <a:cxn ang="0">
                <a:pos x="connsiteX35762" y="connsiteY35762"/>
              </a:cxn>
              <a:cxn ang="0">
                <a:pos x="connsiteX35763" y="connsiteY35763"/>
              </a:cxn>
              <a:cxn ang="0">
                <a:pos x="connsiteX35764" y="connsiteY35764"/>
              </a:cxn>
              <a:cxn ang="0">
                <a:pos x="connsiteX35765" y="connsiteY35765"/>
              </a:cxn>
              <a:cxn ang="0">
                <a:pos x="connsiteX35766" y="connsiteY35766"/>
              </a:cxn>
              <a:cxn ang="0">
                <a:pos x="connsiteX35767" y="connsiteY35767"/>
              </a:cxn>
              <a:cxn ang="0">
                <a:pos x="connsiteX35768" y="connsiteY35768"/>
              </a:cxn>
              <a:cxn ang="0">
                <a:pos x="connsiteX35769" y="connsiteY35769"/>
              </a:cxn>
              <a:cxn ang="0">
                <a:pos x="connsiteX35770" y="connsiteY35770"/>
              </a:cxn>
              <a:cxn ang="0">
                <a:pos x="connsiteX35771" y="connsiteY35771"/>
              </a:cxn>
              <a:cxn ang="0">
                <a:pos x="connsiteX35772" y="connsiteY35772"/>
              </a:cxn>
              <a:cxn ang="0">
                <a:pos x="connsiteX35773" y="connsiteY35773"/>
              </a:cxn>
              <a:cxn ang="0">
                <a:pos x="connsiteX35774" y="connsiteY35774"/>
              </a:cxn>
              <a:cxn ang="0">
                <a:pos x="connsiteX35775" y="connsiteY35775"/>
              </a:cxn>
              <a:cxn ang="0">
                <a:pos x="connsiteX35776" y="connsiteY35776"/>
              </a:cxn>
              <a:cxn ang="0">
                <a:pos x="connsiteX35777" y="connsiteY35777"/>
              </a:cxn>
              <a:cxn ang="0">
                <a:pos x="connsiteX35778" y="connsiteY35778"/>
              </a:cxn>
              <a:cxn ang="0">
                <a:pos x="connsiteX35779" y="connsiteY35779"/>
              </a:cxn>
              <a:cxn ang="0">
                <a:pos x="connsiteX35780" y="connsiteY35780"/>
              </a:cxn>
              <a:cxn ang="0">
                <a:pos x="connsiteX35781" y="connsiteY35781"/>
              </a:cxn>
              <a:cxn ang="0">
                <a:pos x="connsiteX35782" y="connsiteY35782"/>
              </a:cxn>
              <a:cxn ang="0">
                <a:pos x="connsiteX35783" y="connsiteY35783"/>
              </a:cxn>
              <a:cxn ang="0">
                <a:pos x="connsiteX35784" y="connsiteY35784"/>
              </a:cxn>
              <a:cxn ang="0">
                <a:pos x="connsiteX35785" y="connsiteY35785"/>
              </a:cxn>
              <a:cxn ang="0">
                <a:pos x="connsiteX35786" y="connsiteY35786"/>
              </a:cxn>
              <a:cxn ang="0">
                <a:pos x="connsiteX35787" y="connsiteY35787"/>
              </a:cxn>
              <a:cxn ang="0">
                <a:pos x="connsiteX35788" y="connsiteY35788"/>
              </a:cxn>
              <a:cxn ang="0">
                <a:pos x="connsiteX35789" y="connsiteY35789"/>
              </a:cxn>
              <a:cxn ang="0">
                <a:pos x="connsiteX35790" y="connsiteY35790"/>
              </a:cxn>
              <a:cxn ang="0">
                <a:pos x="connsiteX35791" y="connsiteY35791"/>
              </a:cxn>
              <a:cxn ang="0">
                <a:pos x="connsiteX35792" y="connsiteY35792"/>
              </a:cxn>
              <a:cxn ang="0">
                <a:pos x="connsiteX35793" y="connsiteY35793"/>
              </a:cxn>
              <a:cxn ang="0">
                <a:pos x="connsiteX35794" y="connsiteY35794"/>
              </a:cxn>
              <a:cxn ang="0">
                <a:pos x="connsiteX35795" y="connsiteY35795"/>
              </a:cxn>
              <a:cxn ang="0">
                <a:pos x="connsiteX35796" y="connsiteY35796"/>
              </a:cxn>
              <a:cxn ang="0">
                <a:pos x="connsiteX35797" y="connsiteY35797"/>
              </a:cxn>
              <a:cxn ang="0">
                <a:pos x="connsiteX35798" y="connsiteY35798"/>
              </a:cxn>
              <a:cxn ang="0">
                <a:pos x="connsiteX35799" y="connsiteY35799"/>
              </a:cxn>
              <a:cxn ang="0">
                <a:pos x="connsiteX35800" y="connsiteY35800"/>
              </a:cxn>
              <a:cxn ang="0">
                <a:pos x="connsiteX35801" y="connsiteY35801"/>
              </a:cxn>
              <a:cxn ang="0">
                <a:pos x="connsiteX35802" y="connsiteY35802"/>
              </a:cxn>
              <a:cxn ang="0">
                <a:pos x="connsiteX35803" y="connsiteY35803"/>
              </a:cxn>
              <a:cxn ang="0">
                <a:pos x="connsiteX35804" y="connsiteY35804"/>
              </a:cxn>
              <a:cxn ang="0">
                <a:pos x="connsiteX35805" y="connsiteY35805"/>
              </a:cxn>
              <a:cxn ang="0">
                <a:pos x="connsiteX35806" y="connsiteY35806"/>
              </a:cxn>
              <a:cxn ang="0">
                <a:pos x="connsiteX35807" y="connsiteY35807"/>
              </a:cxn>
              <a:cxn ang="0">
                <a:pos x="connsiteX35808" y="connsiteY35808"/>
              </a:cxn>
              <a:cxn ang="0">
                <a:pos x="connsiteX35809" y="connsiteY35809"/>
              </a:cxn>
              <a:cxn ang="0">
                <a:pos x="connsiteX35810" y="connsiteY35810"/>
              </a:cxn>
              <a:cxn ang="0">
                <a:pos x="connsiteX35811" y="connsiteY35811"/>
              </a:cxn>
              <a:cxn ang="0">
                <a:pos x="connsiteX35812" y="connsiteY35812"/>
              </a:cxn>
              <a:cxn ang="0">
                <a:pos x="connsiteX35813" y="connsiteY35813"/>
              </a:cxn>
              <a:cxn ang="0">
                <a:pos x="connsiteX35814" y="connsiteY35814"/>
              </a:cxn>
              <a:cxn ang="0">
                <a:pos x="connsiteX35815" y="connsiteY35815"/>
              </a:cxn>
              <a:cxn ang="0">
                <a:pos x="connsiteX35816" y="connsiteY35816"/>
              </a:cxn>
              <a:cxn ang="0">
                <a:pos x="connsiteX35817" y="connsiteY35817"/>
              </a:cxn>
              <a:cxn ang="0">
                <a:pos x="connsiteX35818" y="connsiteY35818"/>
              </a:cxn>
              <a:cxn ang="0">
                <a:pos x="connsiteX35819" y="connsiteY35819"/>
              </a:cxn>
              <a:cxn ang="0">
                <a:pos x="connsiteX35820" y="connsiteY35820"/>
              </a:cxn>
              <a:cxn ang="0">
                <a:pos x="connsiteX35821" y="connsiteY35821"/>
              </a:cxn>
              <a:cxn ang="0">
                <a:pos x="connsiteX35822" y="connsiteY35822"/>
              </a:cxn>
              <a:cxn ang="0">
                <a:pos x="connsiteX35823" y="connsiteY35823"/>
              </a:cxn>
              <a:cxn ang="0">
                <a:pos x="connsiteX35824" y="connsiteY35824"/>
              </a:cxn>
              <a:cxn ang="0">
                <a:pos x="connsiteX35825" y="connsiteY35825"/>
              </a:cxn>
              <a:cxn ang="0">
                <a:pos x="connsiteX35826" y="connsiteY35826"/>
              </a:cxn>
              <a:cxn ang="0">
                <a:pos x="connsiteX35827" y="connsiteY35827"/>
              </a:cxn>
              <a:cxn ang="0">
                <a:pos x="connsiteX35828" y="connsiteY35828"/>
              </a:cxn>
              <a:cxn ang="0">
                <a:pos x="connsiteX35829" y="connsiteY35829"/>
              </a:cxn>
              <a:cxn ang="0">
                <a:pos x="connsiteX35830" y="connsiteY35830"/>
              </a:cxn>
              <a:cxn ang="0">
                <a:pos x="connsiteX35831" y="connsiteY35831"/>
              </a:cxn>
              <a:cxn ang="0">
                <a:pos x="connsiteX35832" y="connsiteY35832"/>
              </a:cxn>
              <a:cxn ang="0">
                <a:pos x="connsiteX35833" y="connsiteY35833"/>
              </a:cxn>
              <a:cxn ang="0">
                <a:pos x="connsiteX35834" y="connsiteY35834"/>
              </a:cxn>
              <a:cxn ang="0">
                <a:pos x="connsiteX35835" y="connsiteY35835"/>
              </a:cxn>
              <a:cxn ang="0">
                <a:pos x="connsiteX35836" y="connsiteY35836"/>
              </a:cxn>
              <a:cxn ang="0">
                <a:pos x="connsiteX35837" y="connsiteY35837"/>
              </a:cxn>
              <a:cxn ang="0">
                <a:pos x="connsiteX35838" y="connsiteY35838"/>
              </a:cxn>
              <a:cxn ang="0">
                <a:pos x="connsiteX35839" y="connsiteY35839"/>
              </a:cxn>
              <a:cxn ang="0">
                <a:pos x="connsiteX35840" y="connsiteY35840"/>
              </a:cxn>
              <a:cxn ang="0">
                <a:pos x="connsiteX35841" y="connsiteY35841"/>
              </a:cxn>
              <a:cxn ang="0">
                <a:pos x="connsiteX35842" y="connsiteY35842"/>
              </a:cxn>
              <a:cxn ang="0">
                <a:pos x="connsiteX35843" y="connsiteY35843"/>
              </a:cxn>
              <a:cxn ang="0">
                <a:pos x="connsiteX35844" y="connsiteY35844"/>
              </a:cxn>
              <a:cxn ang="0">
                <a:pos x="connsiteX35845" y="connsiteY35845"/>
              </a:cxn>
              <a:cxn ang="0">
                <a:pos x="connsiteX35846" y="connsiteY35846"/>
              </a:cxn>
              <a:cxn ang="0">
                <a:pos x="connsiteX35847" y="connsiteY35847"/>
              </a:cxn>
              <a:cxn ang="0">
                <a:pos x="connsiteX35848" y="connsiteY35848"/>
              </a:cxn>
              <a:cxn ang="0">
                <a:pos x="connsiteX35849" y="connsiteY35849"/>
              </a:cxn>
              <a:cxn ang="0">
                <a:pos x="connsiteX35850" y="connsiteY35850"/>
              </a:cxn>
              <a:cxn ang="0">
                <a:pos x="connsiteX35851" y="connsiteY35851"/>
              </a:cxn>
              <a:cxn ang="0">
                <a:pos x="connsiteX35852" y="connsiteY35852"/>
              </a:cxn>
              <a:cxn ang="0">
                <a:pos x="connsiteX35853" y="connsiteY35853"/>
              </a:cxn>
              <a:cxn ang="0">
                <a:pos x="connsiteX35854" y="connsiteY35854"/>
              </a:cxn>
              <a:cxn ang="0">
                <a:pos x="connsiteX35855" y="connsiteY35855"/>
              </a:cxn>
              <a:cxn ang="0">
                <a:pos x="connsiteX35856" y="connsiteY35856"/>
              </a:cxn>
              <a:cxn ang="0">
                <a:pos x="connsiteX35857" y="connsiteY35857"/>
              </a:cxn>
              <a:cxn ang="0">
                <a:pos x="connsiteX35858" y="connsiteY35858"/>
              </a:cxn>
              <a:cxn ang="0">
                <a:pos x="connsiteX35859" y="connsiteY35859"/>
              </a:cxn>
              <a:cxn ang="0">
                <a:pos x="connsiteX35860" y="connsiteY35860"/>
              </a:cxn>
              <a:cxn ang="0">
                <a:pos x="connsiteX35861" y="connsiteY35861"/>
              </a:cxn>
              <a:cxn ang="0">
                <a:pos x="connsiteX35862" y="connsiteY35862"/>
              </a:cxn>
              <a:cxn ang="0">
                <a:pos x="connsiteX35863" y="connsiteY35863"/>
              </a:cxn>
              <a:cxn ang="0">
                <a:pos x="connsiteX35864" y="connsiteY35864"/>
              </a:cxn>
              <a:cxn ang="0">
                <a:pos x="connsiteX35865" y="connsiteY35865"/>
              </a:cxn>
              <a:cxn ang="0">
                <a:pos x="connsiteX35866" y="connsiteY35866"/>
              </a:cxn>
              <a:cxn ang="0">
                <a:pos x="connsiteX35867" y="connsiteY35867"/>
              </a:cxn>
              <a:cxn ang="0">
                <a:pos x="connsiteX35868" y="connsiteY35868"/>
              </a:cxn>
              <a:cxn ang="0">
                <a:pos x="connsiteX35869" y="connsiteY35869"/>
              </a:cxn>
              <a:cxn ang="0">
                <a:pos x="connsiteX35870" y="connsiteY35870"/>
              </a:cxn>
              <a:cxn ang="0">
                <a:pos x="connsiteX35871" y="connsiteY35871"/>
              </a:cxn>
              <a:cxn ang="0">
                <a:pos x="connsiteX35872" y="connsiteY35872"/>
              </a:cxn>
              <a:cxn ang="0">
                <a:pos x="connsiteX35873" y="connsiteY35873"/>
              </a:cxn>
              <a:cxn ang="0">
                <a:pos x="connsiteX35874" y="connsiteY35874"/>
              </a:cxn>
              <a:cxn ang="0">
                <a:pos x="connsiteX35875" y="connsiteY35875"/>
              </a:cxn>
              <a:cxn ang="0">
                <a:pos x="connsiteX35876" y="connsiteY35876"/>
              </a:cxn>
              <a:cxn ang="0">
                <a:pos x="connsiteX35877" y="connsiteY35877"/>
              </a:cxn>
              <a:cxn ang="0">
                <a:pos x="connsiteX35878" y="connsiteY35878"/>
              </a:cxn>
              <a:cxn ang="0">
                <a:pos x="connsiteX35879" y="connsiteY35879"/>
              </a:cxn>
              <a:cxn ang="0">
                <a:pos x="connsiteX35880" y="connsiteY35880"/>
              </a:cxn>
              <a:cxn ang="0">
                <a:pos x="connsiteX35881" y="connsiteY35881"/>
              </a:cxn>
              <a:cxn ang="0">
                <a:pos x="connsiteX35882" y="connsiteY35882"/>
              </a:cxn>
              <a:cxn ang="0">
                <a:pos x="connsiteX35883" y="connsiteY35883"/>
              </a:cxn>
              <a:cxn ang="0">
                <a:pos x="connsiteX35884" y="connsiteY35884"/>
              </a:cxn>
              <a:cxn ang="0">
                <a:pos x="connsiteX35885" y="connsiteY35885"/>
              </a:cxn>
              <a:cxn ang="0">
                <a:pos x="connsiteX35886" y="connsiteY35886"/>
              </a:cxn>
              <a:cxn ang="0">
                <a:pos x="connsiteX35887" y="connsiteY35887"/>
              </a:cxn>
              <a:cxn ang="0">
                <a:pos x="connsiteX35888" y="connsiteY35888"/>
              </a:cxn>
              <a:cxn ang="0">
                <a:pos x="connsiteX35889" y="connsiteY35889"/>
              </a:cxn>
              <a:cxn ang="0">
                <a:pos x="connsiteX35890" y="connsiteY35890"/>
              </a:cxn>
              <a:cxn ang="0">
                <a:pos x="connsiteX35891" y="connsiteY35891"/>
              </a:cxn>
              <a:cxn ang="0">
                <a:pos x="connsiteX35892" y="connsiteY35892"/>
              </a:cxn>
              <a:cxn ang="0">
                <a:pos x="connsiteX35893" y="connsiteY35893"/>
              </a:cxn>
              <a:cxn ang="0">
                <a:pos x="connsiteX35894" y="connsiteY35894"/>
              </a:cxn>
              <a:cxn ang="0">
                <a:pos x="connsiteX35895" y="connsiteY35895"/>
              </a:cxn>
              <a:cxn ang="0">
                <a:pos x="connsiteX35896" y="connsiteY35896"/>
              </a:cxn>
              <a:cxn ang="0">
                <a:pos x="connsiteX35897" y="connsiteY35897"/>
              </a:cxn>
              <a:cxn ang="0">
                <a:pos x="connsiteX35898" y="connsiteY35898"/>
              </a:cxn>
              <a:cxn ang="0">
                <a:pos x="connsiteX35899" y="connsiteY35899"/>
              </a:cxn>
              <a:cxn ang="0">
                <a:pos x="connsiteX35900" y="connsiteY35900"/>
              </a:cxn>
              <a:cxn ang="0">
                <a:pos x="connsiteX35901" y="connsiteY35901"/>
              </a:cxn>
              <a:cxn ang="0">
                <a:pos x="connsiteX35902" y="connsiteY35902"/>
              </a:cxn>
              <a:cxn ang="0">
                <a:pos x="connsiteX35903" y="connsiteY35903"/>
              </a:cxn>
              <a:cxn ang="0">
                <a:pos x="connsiteX35904" y="connsiteY35904"/>
              </a:cxn>
              <a:cxn ang="0">
                <a:pos x="connsiteX35905" y="connsiteY35905"/>
              </a:cxn>
              <a:cxn ang="0">
                <a:pos x="connsiteX35906" y="connsiteY35906"/>
              </a:cxn>
              <a:cxn ang="0">
                <a:pos x="connsiteX35907" y="connsiteY35907"/>
              </a:cxn>
              <a:cxn ang="0">
                <a:pos x="connsiteX35908" y="connsiteY35908"/>
              </a:cxn>
              <a:cxn ang="0">
                <a:pos x="connsiteX35909" y="connsiteY35909"/>
              </a:cxn>
              <a:cxn ang="0">
                <a:pos x="connsiteX35910" y="connsiteY35910"/>
              </a:cxn>
              <a:cxn ang="0">
                <a:pos x="connsiteX35911" y="connsiteY35911"/>
              </a:cxn>
              <a:cxn ang="0">
                <a:pos x="connsiteX35912" y="connsiteY35912"/>
              </a:cxn>
              <a:cxn ang="0">
                <a:pos x="connsiteX35913" y="connsiteY35913"/>
              </a:cxn>
              <a:cxn ang="0">
                <a:pos x="connsiteX35914" y="connsiteY35914"/>
              </a:cxn>
              <a:cxn ang="0">
                <a:pos x="connsiteX35915" y="connsiteY35915"/>
              </a:cxn>
              <a:cxn ang="0">
                <a:pos x="connsiteX35916" y="connsiteY35916"/>
              </a:cxn>
              <a:cxn ang="0">
                <a:pos x="connsiteX35917" y="connsiteY35917"/>
              </a:cxn>
              <a:cxn ang="0">
                <a:pos x="connsiteX35918" y="connsiteY35918"/>
              </a:cxn>
              <a:cxn ang="0">
                <a:pos x="connsiteX35919" y="connsiteY35919"/>
              </a:cxn>
              <a:cxn ang="0">
                <a:pos x="connsiteX35920" y="connsiteY35920"/>
              </a:cxn>
              <a:cxn ang="0">
                <a:pos x="connsiteX35921" y="connsiteY35921"/>
              </a:cxn>
              <a:cxn ang="0">
                <a:pos x="connsiteX35922" y="connsiteY35922"/>
              </a:cxn>
              <a:cxn ang="0">
                <a:pos x="connsiteX35923" y="connsiteY35923"/>
              </a:cxn>
              <a:cxn ang="0">
                <a:pos x="connsiteX35924" y="connsiteY35924"/>
              </a:cxn>
              <a:cxn ang="0">
                <a:pos x="connsiteX35925" y="connsiteY35925"/>
              </a:cxn>
              <a:cxn ang="0">
                <a:pos x="connsiteX35926" y="connsiteY35926"/>
              </a:cxn>
              <a:cxn ang="0">
                <a:pos x="connsiteX35927" y="connsiteY35927"/>
              </a:cxn>
              <a:cxn ang="0">
                <a:pos x="connsiteX35928" y="connsiteY35928"/>
              </a:cxn>
              <a:cxn ang="0">
                <a:pos x="connsiteX35929" y="connsiteY35929"/>
              </a:cxn>
              <a:cxn ang="0">
                <a:pos x="connsiteX35930" y="connsiteY35930"/>
              </a:cxn>
              <a:cxn ang="0">
                <a:pos x="connsiteX35931" y="connsiteY35931"/>
              </a:cxn>
              <a:cxn ang="0">
                <a:pos x="connsiteX35932" y="connsiteY35932"/>
              </a:cxn>
              <a:cxn ang="0">
                <a:pos x="connsiteX35933" y="connsiteY35933"/>
              </a:cxn>
              <a:cxn ang="0">
                <a:pos x="connsiteX35934" y="connsiteY35934"/>
              </a:cxn>
              <a:cxn ang="0">
                <a:pos x="connsiteX35935" y="connsiteY35935"/>
              </a:cxn>
              <a:cxn ang="0">
                <a:pos x="connsiteX35936" y="connsiteY35936"/>
              </a:cxn>
              <a:cxn ang="0">
                <a:pos x="connsiteX35937" y="connsiteY35937"/>
              </a:cxn>
              <a:cxn ang="0">
                <a:pos x="connsiteX35938" y="connsiteY35938"/>
              </a:cxn>
              <a:cxn ang="0">
                <a:pos x="connsiteX35939" y="connsiteY35939"/>
              </a:cxn>
              <a:cxn ang="0">
                <a:pos x="connsiteX35940" y="connsiteY35940"/>
              </a:cxn>
              <a:cxn ang="0">
                <a:pos x="connsiteX35941" y="connsiteY35941"/>
              </a:cxn>
              <a:cxn ang="0">
                <a:pos x="connsiteX35942" y="connsiteY35942"/>
              </a:cxn>
              <a:cxn ang="0">
                <a:pos x="connsiteX35943" y="connsiteY35943"/>
              </a:cxn>
              <a:cxn ang="0">
                <a:pos x="connsiteX35944" y="connsiteY35944"/>
              </a:cxn>
              <a:cxn ang="0">
                <a:pos x="connsiteX35945" y="connsiteY35945"/>
              </a:cxn>
              <a:cxn ang="0">
                <a:pos x="connsiteX35946" y="connsiteY35946"/>
              </a:cxn>
              <a:cxn ang="0">
                <a:pos x="connsiteX35947" y="connsiteY35947"/>
              </a:cxn>
              <a:cxn ang="0">
                <a:pos x="connsiteX35948" y="connsiteY35948"/>
              </a:cxn>
              <a:cxn ang="0">
                <a:pos x="connsiteX35949" y="connsiteY35949"/>
              </a:cxn>
              <a:cxn ang="0">
                <a:pos x="connsiteX35950" y="connsiteY35950"/>
              </a:cxn>
              <a:cxn ang="0">
                <a:pos x="connsiteX35951" y="connsiteY35951"/>
              </a:cxn>
              <a:cxn ang="0">
                <a:pos x="connsiteX35952" y="connsiteY35952"/>
              </a:cxn>
              <a:cxn ang="0">
                <a:pos x="connsiteX35953" y="connsiteY35953"/>
              </a:cxn>
              <a:cxn ang="0">
                <a:pos x="connsiteX35954" y="connsiteY35954"/>
              </a:cxn>
              <a:cxn ang="0">
                <a:pos x="connsiteX35955" y="connsiteY35955"/>
              </a:cxn>
              <a:cxn ang="0">
                <a:pos x="connsiteX35956" y="connsiteY35956"/>
              </a:cxn>
              <a:cxn ang="0">
                <a:pos x="connsiteX35957" y="connsiteY35957"/>
              </a:cxn>
              <a:cxn ang="0">
                <a:pos x="connsiteX35958" y="connsiteY35958"/>
              </a:cxn>
              <a:cxn ang="0">
                <a:pos x="connsiteX35959" y="connsiteY35959"/>
              </a:cxn>
              <a:cxn ang="0">
                <a:pos x="connsiteX35960" y="connsiteY35960"/>
              </a:cxn>
              <a:cxn ang="0">
                <a:pos x="connsiteX35961" y="connsiteY35961"/>
              </a:cxn>
              <a:cxn ang="0">
                <a:pos x="connsiteX35962" y="connsiteY35962"/>
              </a:cxn>
              <a:cxn ang="0">
                <a:pos x="connsiteX35963" y="connsiteY35963"/>
              </a:cxn>
              <a:cxn ang="0">
                <a:pos x="connsiteX35964" y="connsiteY35964"/>
              </a:cxn>
              <a:cxn ang="0">
                <a:pos x="connsiteX35965" y="connsiteY35965"/>
              </a:cxn>
              <a:cxn ang="0">
                <a:pos x="connsiteX35966" y="connsiteY35966"/>
              </a:cxn>
              <a:cxn ang="0">
                <a:pos x="connsiteX35967" y="connsiteY35967"/>
              </a:cxn>
              <a:cxn ang="0">
                <a:pos x="connsiteX35968" y="connsiteY35968"/>
              </a:cxn>
              <a:cxn ang="0">
                <a:pos x="connsiteX35969" y="connsiteY35969"/>
              </a:cxn>
              <a:cxn ang="0">
                <a:pos x="connsiteX35970" y="connsiteY35970"/>
              </a:cxn>
              <a:cxn ang="0">
                <a:pos x="connsiteX35971" y="connsiteY35971"/>
              </a:cxn>
              <a:cxn ang="0">
                <a:pos x="connsiteX35972" y="connsiteY35972"/>
              </a:cxn>
              <a:cxn ang="0">
                <a:pos x="connsiteX35973" y="connsiteY35973"/>
              </a:cxn>
              <a:cxn ang="0">
                <a:pos x="connsiteX35974" y="connsiteY35974"/>
              </a:cxn>
              <a:cxn ang="0">
                <a:pos x="connsiteX35975" y="connsiteY35975"/>
              </a:cxn>
              <a:cxn ang="0">
                <a:pos x="connsiteX35976" y="connsiteY35976"/>
              </a:cxn>
              <a:cxn ang="0">
                <a:pos x="connsiteX35977" y="connsiteY35977"/>
              </a:cxn>
              <a:cxn ang="0">
                <a:pos x="connsiteX35978" y="connsiteY35978"/>
              </a:cxn>
              <a:cxn ang="0">
                <a:pos x="connsiteX35979" y="connsiteY35979"/>
              </a:cxn>
              <a:cxn ang="0">
                <a:pos x="connsiteX35980" y="connsiteY35980"/>
              </a:cxn>
              <a:cxn ang="0">
                <a:pos x="connsiteX35981" y="connsiteY35981"/>
              </a:cxn>
              <a:cxn ang="0">
                <a:pos x="connsiteX35982" y="connsiteY35982"/>
              </a:cxn>
              <a:cxn ang="0">
                <a:pos x="connsiteX35983" y="connsiteY35983"/>
              </a:cxn>
              <a:cxn ang="0">
                <a:pos x="connsiteX35984" y="connsiteY35984"/>
              </a:cxn>
              <a:cxn ang="0">
                <a:pos x="connsiteX35985" y="connsiteY35985"/>
              </a:cxn>
              <a:cxn ang="0">
                <a:pos x="connsiteX35986" y="connsiteY35986"/>
              </a:cxn>
              <a:cxn ang="0">
                <a:pos x="connsiteX35987" y="connsiteY35987"/>
              </a:cxn>
              <a:cxn ang="0">
                <a:pos x="connsiteX35988" y="connsiteY35988"/>
              </a:cxn>
              <a:cxn ang="0">
                <a:pos x="connsiteX35989" y="connsiteY35989"/>
              </a:cxn>
              <a:cxn ang="0">
                <a:pos x="connsiteX35990" y="connsiteY35990"/>
              </a:cxn>
              <a:cxn ang="0">
                <a:pos x="connsiteX35991" y="connsiteY35991"/>
              </a:cxn>
              <a:cxn ang="0">
                <a:pos x="connsiteX35992" y="connsiteY35992"/>
              </a:cxn>
              <a:cxn ang="0">
                <a:pos x="connsiteX35993" y="connsiteY35993"/>
              </a:cxn>
              <a:cxn ang="0">
                <a:pos x="connsiteX35994" y="connsiteY35994"/>
              </a:cxn>
              <a:cxn ang="0">
                <a:pos x="connsiteX35995" y="connsiteY35995"/>
              </a:cxn>
              <a:cxn ang="0">
                <a:pos x="connsiteX35996" y="connsiteY35996"/>
              </a:cxn>
              <a:cxn ang="0">
                <a:pos x="connsiteX35997" y="connsiteY35997"/>
              </a:cxn>
              <a:cxn ang="0">
                <a:pos x="connsiteX35998" y="connsiteY35998"/>
              </a:cxn>
              <a:cxn ang="0">
                <a:pos x="connsiteX35999" y="connsiteY35999"/>
              </a:cxn>
              <a:cxn ang="0">
                <a:pos x="connsiteX36000" y="connsiteY36000"/>
              </a:cxn>
              <a:cxn ang="0">
                <a:pos x="connsiteX36001" y="connsiteY36001"/>
              </a:cxn>
              <a:cxn ang="0">
                <a:pos x="connsiteX36002" y="connsiteY36002"/>
              </a:cxn>
              <a:cxn ang="0">
                <a:pos x="connsiteX36003" y="connsiteY36003"/>
              </a:cxn>
              <a:cxn ang="0">
                <a:pos x="connsiteX36004" y="connsiteY36004"/>
              </a:cxn>
              <a:cxn ang="0">
                <a:pos x="connsiteX36005" y="connsiteY36005"/>
              </a:cxn>
              <a:cxn ang="0">
                <a:pos x="connsiteX36006" y="connsiteY36006"/>
              </a:cxn>
              <a:cxn ang="0">
                <a:pos x="connsiteX36007" y="connsiteY36007"/>
              </a:cxn>
              <a:cxn ang="0">
                <a:pos x="connsiteX36008" y="connsiteY36008"/>
              </a:cxn>
              <a:cxn ang="0">
                <a:pos x="connsiteX36009" y="connsiteY36009"/>
              </a:cxn>
              <a:cxn ang="0">
                <a:pos x="connsiteX36010" y="connsiteY36010"/>
              </a:cxn>
              <a:cxn ang="0">
                <a:pos x="connsiteX36011" y="connsiteY36011"/>
              </a:cxn>
              <a:cxn ang="0">
                <a:pos x="connsiteX36012" y="connsiteY36012"/>
              </a:cxn>
              <a:cxn ang="0">
                <a:pos x="connsiteX36013" y="connsiteY36013"/>
              </a:cxn>
              <a:cxn ang="0">
                <a:pos x="connsiteX36014" y="connsiteY36014"/>
              </a:cxn>
              <a:cxn ang="0">
                <a:pos x="connsiteX36015" y="connsiteY36015"/>
              </a:cxn>
              <a:cxn ang="0">
                <a:pos x="connsiteX36016" y="connsiteY36016"/>
              </a:cxn>
              <a:cxn ang="0">
                <a:pos x="connsiteX36017" y="connsiteY36017"/>
              </a:cxn>
              <a:cxn ang="0">
                <a:pos x="connsiteX36018" y="connsiteY36018"/>
              </a:cxn>
              <a:cxn ang="0">
                <a:pos x="connsiteX36019" y="connsiteY36019"/>
              </a:cxn>
              <a:cxn ang="0">
                <a:pos x="connsiteX36020" y="connsiteY36020"/>
              </a:cxn>
              <a:cxn ang="0">
                <a:pos x="connsiteX36021" y="connsiteY36021"/>
              </a:cxn>
              <a:cxn ang="0">
                <a:pos x="connsiteX36022" y="connsiteY36022"/>
              </a:cxn>
              <a:cxn ang="0">
                <a:pos x="connsiteX36023" y="connsiteY36023"/>
              </a:cxn>
              <a:cxn ang="0">
                <a:pos x="connsiteX36024" y="connsiteY36024"/>
              </a:cxn>
              <a:cxn ang="0">
                <a:pos x="connsiteX36025" y="connsiteY36025"/>
              </a:cxn>
              <a:cxn ang="0">
                <a:pos x="connsiteX36026" y="connsiteY36026"/>
              </a:cxn>
              <a:cxn ang="0">
                <a:pos x="connsiteX36027" y="connsiteY36027"/>
              </a:cxn>
              <a:cxn ang="0">
                <a:pos x="connsiteX36028" y="connsiteY36028"/>
              </a:cxn>
              <a:cxn ang="0">
                <a:pos x="connsiteX36029" y="connsiteY36029"/>
              </a:cxn>
              <a:cxn ang="0">
                <a:pos x="connsiteX36030" y="connsiteY36030"/>
              </a:cxn>
              <a:cxn ang="0">
                <a:pos x="connsiteX36031" y="connsiteY36031"/>
              </a:cxn>
              <a:cxn ang="0">
                <a:pos x="connsiteX36032" y="connsiteY36032"/>
              </a:cxn>
              <a:cxn ang="0">
                <a:pos x="connsiteX36033" y="connsiteY36033"/>
              </a:cxn>
              <a:cxn ang="0">
                <a:pos x="connsiteX36034" y="connsiteY36034"/>
              </a:cxn>
              <a:cxn ang="0">
                <a:pos x="connsiteX36035" y="connsiteY36035"/>
              </a:cxn>
              <a:cxn ang="0">
                <a:pos x="connsiteX36036" y="connsiteY36036"/>
              </a:cxn>
              <a:cxn ang="0">
                <a:pos x="connsiteX36037" y="connsiteY36037"/>
              </a:cxn>
              <a:cxn ang="0">
                <a:pos x="connsiteX36038" y="connsiteY36038"/>
              </a:cxn>
              <a:cxn ang="0">
                <a:pos x="connsiteX36039" y="connsiteY36039"/>
              </a:cxn>
              <a:cxn ang="0">
                <a:pos x="connsiteX36040" y="connsiteY36040"/>
              </a:cxn>
              <a:cxn ang="0">
                <a:pos x="connsiteX36041" y="connsiteY36041"/>
              </a:cxn>
              <a:cxn ang="0">
                <a:pos x="connsiteX36042" y="connsiteY36042"/>
              </a:cxn>
              <a:cxn ang="0">
                <a:pos x="connsiteX36043" y="connsiteY36043"/>
              </a:cxn>
              <a:cxn ang="0">
                <a:pos x="connsiteX36044" y="connsiteY36044"/>
              </a:cxn>
              <a:cxn ang="0">
                <a:pos x="connsiteX36045" y="connsiteY36045"/>
              </a:cxn>
              <a:cxn ang="0">
                <a:pos x="connsiteX36046" y="connsiteY36046"/>
              </a:cxn>
              <a:cxn ang="0">
                <a:pos x="connsiteX36047" y="connsiteY36047"/>
              </a:cxn>
              <a:cxn ang="0">
                <a:pos x="connsiteX36048" y="connsiteY36048"/>
              </a:cxn>
              <a:cxn ang="0">
                <a:pos x="connsiteX36049" y="connsiteY36049"/>
              </a:cxn>
              <a:cxn ang="0">
                <a:pos x="connsiteX36050" y="connsiteY36050"/>
              </a:cxn>
              <a:cxn ang="0">
                <a:pos x="connsiteX36051" y="connsiteY36051"/>
              </a:cxn>
              <a:cxn ang="0">
                <a:pos x="connsiteX36052" y="connsiteY36052"/>
              </a:cxn>
              <a:cxn ang="0">
                <a:pos x="connsiteX36053" y="connsiteY36053"/>
              </a:cxn>
              <a:cxn ang="0">
                <a:pos x="connsiteX36054" y="connsiteY36054"/>
              </a:cxn>
              <a:cxn ang="0">
                <a:pos x="connsiteX36055" y="connsiteY36055"/>
              </a:cxn>
              <a:cxn ang="0">
                <a:pos x="connsiteX36056" y="connsiteY36056"/>
              </a:cxn>
              <a:cxn ang="0">
                <a:pos x="connsiteX36057" y="connsiteY36057"/>
              </a:cxn>
              <a:cxn ang="0">
                <a:pos x="connsiteX36058" y="connsiteY36058"/>
              </a:cxn>
              <a:cxn ang="0">
                <a:pos x="connsiteX36059" y="connsiteY36059"/>
              </a:cxn>
              <a:cxn ang="0">
                <a:pos x="connsiteX36060" y="connsiteY36060"/>
              </a:cxn>
              <a:cxn ang="0">
                <a:pos x="connsiteX36061" y="connsiteY36061"/>
              </a:cxn>
              <a:cxn ang="0">
                <a:pos x="connsiteX36062" y="connsiteY36062"/>
              </a:cxn>
              <a:cxn ang="0">
                <a:pos x="connsiteX36063" y="connsiteY36063"/>
              </a:cxn>
              <a:cxn ang="0">
                <a:pos x="connsiteX36064" y="connsiteY36064"/>
              </a:cxn>
              <a:cxn ang="0">
                <a:pos x="connsiteX36065" y="connsiteY36065"/>
              </a:cxn>
              <a:cxn ang="0">
                <a:pos x="connsiteX36066" y="connsiteY36066"/>
              </a:cxn>
              <a:cxn ang="0">
                <a:pos x="connsiteX36067" y="connsiteY36067"/>
              </a:cxn>
              <a:cxn ang="0">
                <a:pos x="connsiteX36068" y="connsiteY36068"/>
              </a:cxn>
              <a:cxn ang="0">
                <a:pos x="connsiteX36069" y="connsiteY36069"/>
              </a:cxn>
              <a:cxn ang="0">
                <a:pos x="connsiteX36070" y="connsiteY36070"/>
              </a:cxn>
              <a:cxn ang="0">
                <a:pos x="connsiteX36071" y="connsiteY36071"/>
              </a:cxn>
              <a:cxn ang="0">
                <a:pos x="connsiteX36072" y="connsiteY36072"/>
              </a:cxn>
              <a:cxn ang="0">
                <a:pos x="connsiteX36073" y="connsiteY36073"/>
              </a:cxn>
              <a:cxn ang="0">
                <a:pos x="connsiteX36074" y="connsiteY36074"/>
              </a:cxn>
              <a:cxn ang="0">
                <a:pos x="connsiteX36075" y="connsiteY36075"/>
              </a:cxn>
              <a:cxn ang="0">
                <a:pos x="connsiteX36076" y="connsiteY36076"/>
              </a:cxn>
              <a:cxn ang="0">
                <a:pos x="connsiteX36077" y="connsiteY36077"/>
              </a:cxn>
              <a:cxn ang="0">
                <a:pos x="connsiteX36078" y="connsiteY36078"/>
              </a:cxn>
              <a:cxn ang="0">
                <a:pos x="connsiteX36079" y="connsiteY36079"/>
              </a:cxn>
              <a:cxn ang="0">
                <a:pos x="connsiteX36080" y="connsiteY36080"/>
              </a:cxn>
              <a:cxn ang="0">
                <a:pos x="connsiteX36081" y="connsiteY36081"/>
              </a:cxn>
              <a:cxn ang="0">
                <a:pos x="connsiteX36082" y="connsiteY36082"/>
              </a:cxn>
              <a:cxn ang="0">
                <a:pos x="connsiteX36083" y="connsiteY36083"/>
              </a:cxn>
              <a:cxn ang="0">
                <a:pos x="connsiteX36084" y="connsiteY36084"/>
              </a:cxn>
              <a:cxn ang="0">
                <a:pos x="connsiteX36085" y="connsiteY36085"/>
              </a:cxn>
              <a:cxn ang="0">
                <a:pos x="connsiteX36086" y="connsiteY36086"/>
              </a:cxn>
              <a:cxn ang="0">
                <a:pos x="connsiteX36087" y="connsiteY36087"/>
              </a:cxn>
              <a:cxn ang="0">
                <a:pos x="connsiteX36088" y="connsiteY36088"/>
              </a:cxn>
              <a:cxn ang="0">
                <a:pos x="connsiteX36089" y="connsiteY36089"/>
              </a:cxn>
              <a:cxn ang="0">
                <a:pos x="connsiteX36090" y="connsiteY36090"/>
              </a:cxn>
              <a:cxn ang="0">
                <a:pos x="connsiteX36091" y="connsiteY36091"/>
              </a:cxn>
              <a:cxn ang="0">
                <a:pos x="connsiteX36092" y="connsiteY36092"/>
              </a:cxn>
              <a:cxn ang="0">
                <a:pos x="connsiteX36093" y="connsiteY36093"/>
              </a:cxn>
              <a:cxn ang="0">
                <a:pos x="connsiteX36094" y="connsiteY36094"/>
              </a:cxn>
              <a:cxn ang="0">
                <a:pos x="connsiteX36095" y="connsiteY36095"/>
              </a:cxn>
              <a:cxn ang="0">
                <a:pos x="connsiteX36096" y="connsiteY36096"/>
              </a:cxn>
              <a:cxn ang="0">
                <a:pos x="connsiteX36097" y="connsiteY36097"/>
              </a:cxn>
              <a:cxn ang="0">
                <a:pos x="connsiteX36098" y="connsiteY36098"/>
              </a:cxn>
              <a:cxn ang="0">
                <a:pos x="connsiteX36099" y="connsiteY36099"/>
              </a:cxn>
              <a:cxn ang="0">
                <a:pos x="connsiteX36100" y="connsiteY36100"/>
              </a:cxn>
              <a:cxn ang="0">
                <a:pos x="connsiteX36101" y="connsiteY36101"/>
              </a:cxn>
              <a:cxn ang="0">
                <a:pos x="connsiteX36102" y="connsiteY36102"/>
              </a:cxn>
              <a:cxn ang="0">
                <a:pos x="connsiteX36103" y="connsiteY36103"/>
              </a:cxn>
              <a:cxn ang="0">
                <a:pos x="connsiteX36104" y="connsiteY36104"/>
              </a:cxn>
              <a:cxn ang="0">
                <a:pos x="connsiteX36105" y="connsiteY36105"/>
              </a:cxn>
              <a:cxn ang="0">
                <a:pos x="connsiteX36106" y="connsiteY36106"/>
              </a:cxn>
              <a:cxn ang="0">
                <a:pos x="connsiteX36107" y="connsiteY36107"/>
              </a:cxn>
              <a:cxn ang="0">
                <a:pos x="connsiteX36108" y="connsiteY36108"/>
              </a:cxn>
              <a:cxn ang="0">
                <a:pos x="connsiteX36109" y="connsiteY36109"/>
              </a:cxn>
              <a:cxn ang="0">
                <a:pos x="connsiteX36110" y="connsiteY36110"/>
              </a:cxn>
              <a:cxn ang="0">
                <a:pos x="connsiteX36111" y="connsiteY36111"/>
              </a:cxn>
              <a:cxn ang="0">
                <a:pos x="connsiteX36112" y="connsiteY36112"/>
              </a:cxn>
              <a:cxn ang="0">
                <a:pos x="connsiteX36113" y="connsiteY36113"/>
              </a:cxn>
              <a:cxn ang="0">
                <a:pos x="connsiteX36114" y="connsiteY36114"/>
              </a:cxn>
              <a:cxn ang="0">
                <a:pos x="connsiteX36115" y="connsiteY36115"/>
              </a:cxn>
              <a:cxn ang="0">
                <a:pos x="connsiteX36116" y="connsiteY36116"/>
              </a:cxn>
              <a:cxn ang="0">
                <a:pos x="connsiteX36117" y="connsiteY36117"/>
              </a:cxn>
              <a:cxn ang="0">
                <a:pos x="connsiteX36118" y="connsiteY36118"/>
              </a:cxn>
              <a:cxn ang="0">
                <a:pos x="connsiteX36119" y="connsiteY36119"/>
              </a:cxn>
              <a:cxn ang="0">
                <a:pos x="connsiteX36120" y="connsiteY36120"/>
              </a:cxn>
              <a:cxn ang="0">
                <a:pos x="connsiteX36121" y="connsiteY36121"/>
              </a:cxn>
              <a:cxn ang="0">
                <a:pos x="connsiteX36122" y="connsiteY36122"/>
              </a:cxn>
              <a:cxn ang="0">
                <a:pos x="connsiteX36123" y="connsiteY36123"/>
              </a:cxn>
              <a:cxn ang="0">
                <a:pos x="connsiteX36124" y="connsiteY36124"/>
              </a:cxn>
              <a:cxn ang="0">
                <a:pos x="connsiteX36125" y="connsiteY36125"/>
              </a:cxn>
              <a:cxn ang="0">
                <a:pos x="connsiteX36126" y="connsiteY36126"/>
              </a:cxn>
              <a:cxn ang="0">
                <a:pos x="connsiteX36127" y="connsiteY36127"/>
              </a:cxn>
              <a:cxn ang="0">
                <a:pos x="connsiteX36128" y="connsiteY36128"/>
              </a:cxn>
              <a:cxn ang="0">
                <a:pos x="connsiteX36129" y="connsiteY36129"/>
              </a:cxn>
              <a:cxn ang="0">
                <a:pos x="connsiteX36130" y="connsiteY36130"/>
              </a:cxn>
              <a:cxn ang="0">
                <a:pos x="connsiteX36131" y="connsiteY36131"/>
              </a:cxn>
              <a:cxn ang="0">
                <a:pos x="connsiteX36132" y="connsiteY36132"/>
              </a:cxn>
              <a:cxn ang="0">
                <a:pos x="connsiteX36133" y="connsiteY36133"/>
              </a:cxn>
              <a:cxn ang="0">
                <a:pos x="connsiteX36134" y="connsiteY36134"/>
              </a:cxn>
              <a:cxn ang="0">
                <a:pos x="connsiteX36135" y="connsiteY36135"/>
              </a:cxn>
              <a:cxn ang="0">
                <a:pos x="connsiteX36136" y="connsiteY36136"/>
              </a:cxn>
              <a:cxn ang="0">
                <a:pos x="connsiteX36137" y="connsiteY36137"/>
              </a:cxn>
              <a:cxn ang="0">
                <a:pos x="connsiteX36138" y="connsiteY36138"/>
              </a:cxn>
              <a:cxn ang="0">
                <a:pos x="connsiteX36139" y="connsiteY36139"/>
              </a:cxn>
              <a:cxn ang="0">
                <a:pos x="connsiteX36140" y="connsiteY36140"/>
              </a:cxn>
              <a:cxn ang="0">
                <a:pos x="connsiteX36141" y="connsiteY36141"/>
              </a:cxn>
              <a:cxn ang="0">
                <a:pos x="connsiteX36142" y="connsiteY36142"/>
              </a:cxn>
              <a:cxn ang="0">
                <a:pos x="connsiteX36143" y="connsiteY36143"/>
              </a:cxn>
              <a:cxn ang="0">
                <a:pos x="connsiteX36144" y="connsiteY36144"/>
              </a:cxn>
              <a:cxn ang="0">
                <a:pos x="connsiteX36145" y="connsiteY36145"/>
              </a:cxn>
              <a:cxn ang="0">
                <a:pos x="connsiteX36146" y="connsiteY36146"/>
              </a:cxn>
              <a:cxn ang="0">
                <a:pos x="connsiteX36147" y="connsiteY36147"/>
              </a:cxn>
              <a:cxn ang="0">
                <a:pos x="connsiteX36148" y="connsiteY36148"/>
              </a:cxn>
              <a:cxn ang="0">
                <a:pos x="connsiteX36149" y="connsiteY36149"/>
              </a:cxn>
              <a:cxn ang="0">
                <a:pos x="connsiteX36150" y="connsiteY36150"/>
              </a:cxn>
              <a:cxn ang="0">
                <a:pos x="connsiteX36151" y="connsiteY36151"/>
              </a:cxn>
              <a:cxn ang="0">
                <a:pos x="connsiteX36152" y="connsiteY36152"/>
              </a:cxn>
              <a:cxn ang="0">
                <a:pos x="connsiteX36153" y="connsiteY36153"/>
              </a:cxn>
              <a:cxn ang="0">
                <a:pos x="connsiteX36154" y="connsiteY36154"/>
              </a:cxn>
              <a:cxn ang="0">
                <a:pos x="connsiteX36155" y="connsiteY36155"/>
              </a:cxn>
              <a:cxn ang="0">
                <a:pos x="connsiteX36156" y="connsiteY36156"/>
              </a:cxn>
              <a:cxn ang="0">
                <a:pos x="connsiteX36157" y="connsiteY36157"/>
              </a:cxn>
              <a:cxn ang="0">
                <a:pos x="connsiteX36158" y="connsiteY36158"/>
              </a:cxn>
              <a:cxn ang="0">
                <a:pos x="connsiteX36159" y="connsiteY36159"/>
              </a:cxn>
              <a:cxn ang="0">
                <a:pos x="connsiteX36160" y="connsiteY36160"/>
              </a:cxn>
              <a:cxn ang="0">
                <a:pos x="connsiteX36161" y="connsiteY36161"/>
              </a:cxn>
              <a:cxn ang="0">
                <a:pos x="connsiteX36162" y="connsiteY36162"/>
              </a:cxn>
              <a:cxn ang="0">
                <a:pos x="connsiteX36163" y="connsiteY36163"/>
              </a:cxn>
              <a:cxn ang="0">
                <a:pos x="connsiteX36164" y="connsiteY36164"/>
              </a:cxn>
              <a:cxn ang="0">
                <a:pos x="connsiteX36165" y="connsiteY36165"/>
              </a:cxn>
              <a:cxn ang="0">
                <a:pos x="connsiteX36166" y="connsiteY36166"/>
              </a:cxn>
              <a:cxn ang="0">
                <a:pos x="connsiteX36167" y="connsiteY36167"/>
              </a:cxn>
              <a:cxn ang="0">
                <a:pos x="connsiteX36168" y="connsiteY36168"/>
              </a:cxn>
              <a:cxn ang="0">
                <a:pos x="connsiteX36169" y="connsiteY36169"/>
              </a:cxn>
              <a:cxn ang="0">
                <a:pos x="connsiteX36170" y="connsiteY36170"/>
              </a:cxn>
              <a:cxn ang="0">
                <a:pos x="connsiteX36171" y="connsiteY36171"/>
              </a:cxn>
              <a:cxn ang="0">
                <a:pos x="connsiteX36172" y="connsiteY36172"/>
              </a:cxn>
              <a:cxn ang="0">
                <a:pos x="connsiteX36173" y="connsiteY36173"/>
              </a:cxn>
              <a:cxn ang="0">
                <a:pos x="connsiteX36174" y="connsiteY36174"/>
              </a:cxn>
              <a:cxn ang="0">
                <a:pos x="connsiteX36175" y="connsiteY36175"/>
              </a:cxn>
              <a:cxn ang="0">
                <a:pos x="connsiteX36176" y="connsiteY36176"/>
              </a:cxn>
              <a:cxn ang="0">
                <a:pos x="connsiteX36177" y="connsiteY36177"/>
              </a:cxn>
              <a:cxn ang="0">
                <a:pos x="connsiteX36178" y="connsiteY36178"/>
              </a:cxn>
              <a:cxn ang="0">
                <a:pos x="connsiteX36179" y="connsiteY36179"/>
              </a:cxn>
              <a:cxn ang="0">
                <a:pos x="connsiteX36180" y="connsiteY36180"/>
              </a:cxn>
              <a:cxn ang="0">
                <a:pos x="connsiteX36181" y="connsiteY36181"/>
              </a:cxn>
              <a:cxn ang="0">
                <a:pos x="connsiteX36182" y="connsiteY36182"/>
              </a:cxn>
              <a:cxn ang="0">
                <a:pos x="connsiteX36183" y="connsiteY36183"/>
              </a:cxn>
              <a:cxn ang="0">
                <a:pos x="connsiteX36184" y="connsiteY36184"/>
              </a:cxn>
              <a:cxn ang="0">
                <a:pos x="connsiteX36185" y="connsiteY36185"/>
              </a:cxn>
              <a:cxn ang="0">
                <a:pos x="connsiteX36186" y="connsiteY36186"/>
              </a:cxn>
              <a:cxn ang="0">
                <a:pos x="connsiteX36187" y="connsiteY36187"/>
              </a:cxn>
              <a:cxn ang="0">
                <a:pos x="connsiteX36188" y="connsiteY36188"/>
              </a:cxn>
              <a:cxn ang="0">
                <a:pos x="connsiteX36189" y="connsiteY36189"/>
              </a:cxn>
              <a:cxn ang="0">
                <a:pos x="connsiteX36190" y="connsiteY36190"/>
              </a:cxn>
              <a:cxn ang="0">
                <a:pos x="connsiteX36191" y="connsiteY36191"/>
              </a:cxn>
              <a:cxn ang="0">
                <a:pos x="connsiteX36192" y="connsiteY36192"/>
              </a:cxn>
              <a:cxn ang="0">
                <a:pos x="connsiteX36193" y="connsiteY36193"/>
              </a:cxn>
              <a:cxn ang="0">
                <a:pos x="connsiteX36194" y="connsiteY36194"/>
              </a:cxn>
              <a:cxn ang="0">
                <a:pos x="connsiteX36195" y="connsiteY36195"/>
              </a:cxn>
              <a:cxn ang="0">
                <a:pos x="connsiteX36196" y="connsiteY36196"/>
              </a:cxn>
              <a:cxn ang="0">
                <a:pos x="connsiteX36197" y="connsiteY36197"/>
              </a:cxn>
              <a:cxn ang="0">
                <a:pos x="connsiteX36198" y="connsiteY36198"/>
              </a:cxn>
              <a:cxn ang="0">
                <a:pos x="connsiteX36199" y="connsiteY36199"/>
              </a:cxn>
              <a:cxn ang="0">
                <a:pos x="connsiteX36200" y="connsiteY36200"/>
              </a:cxn>
              <a:cxn ang="0">
                <a:pos x="connsiteX36201" y="connsiteY36201"/>
              </a:cxn>
              <a:cxn ang="0">
                <a:pos x="connsiteX36202" y="connsiteY36202"/>
              </a:cxn>
              <a:cxn ang="0">
                <a:pos x="connsiteX36203" y="connsiteY36203"/>
              </a:cxn>
              <a:cxn ang="0">
                <a:pos x="connsiteX36204" y="connsiteY36204"/>
              </a:cxn>
              <a:cxn ang="0">
                <a:pos x="connsiteX36205" y="connsiteY36205"/>
              </a:cxn>
              <a:cxn ang="0">
                <a:pos x="connsiteX36206" y="connsiteY36206"/>
              </a:cxn>
              <a:cxn ang="0">
                <a:pos x="connsiteX36207" y="connsiteY36207"/>
              </a:cxn>
              <a:cxn ang="0">
                <a:pos x="connsiteX36208" y="connsiteY36208"/>
              </a:cxn>
              <a:cxn ang="0">
                <a:pos x="connsiteX36209" y="connsiteY36209"/>
              </a:cxn>
              <a:cxn ang="0">
                <a:pos x="connsiteX36210" y="connsiteY36210"/>
              </a:cxn>
              <a:cxn ang="0">
                <a:pos x="connsiteX36211" y="connsiteY36211"/>
              </a:cxn>
              <a:cxn ang="0">
                <a:pos x="connsiteX36212" y="connsiteY36212"/>
              </a:cxn>
              <a:cxn ang="0">
                <a:pos x="connsiteX36213" y="connsiteY36213"/>
              </a:cxn>
              <a:cxn ang="0">
                <a:pos x="connsiteX36214" y="connsiteY36214"/>
              </a:cxn>
              <a:cxn ang="0">
                <a:pos x="connsiteX36215" y="connsiteY36215"/>
              </a:cxn>
              <a:cxn ang="0">
                <a:pos x="connsiteX36216" y="connsiteY36216"/>
              </a:cxn>
              <a:cxn ang="0">
                <a:pos x="connsiteX36217" y="connsiteY36217"/>
              </a:cxn>
              <a:cxn ang="0">
                <a:pos x="connsiteX36218" y="connsiteY36218"/>
              </a:cxn>
              <a:cxn ang="0">
                <a:pos x="connsiteX36219" y="connsiteY36219"/>
              </a:cxn>
              <a:cxn ang="0">
                <a:pos x="connsiteX36220" y="connsiteY36220"/>
              </a:cxn>
              <a:cxn ang="0">
                <a:pos x="connsiteX36221" y="connsiteY36221"/>
              </a:cxn>
              <a:cxn ang="0">
                <a:pos x="connsiteX36222" y="connsiteY36222"/>
              </a:cxn>
              <a:cxn ang="0">
                <a:pos x="connsiteX36223" y="connsiteY36223"/>
              </a:cxn>
              <a:cxn ang="0">
                <a:pos x="connsiteX36224" y="connsiteY36224"/>
              </a:cxn>
              <a:cxn ang="0">
                <a:pos x="connsiteX36225" y="connsiteY36225"/>
              </a:cxn>
              <a:cxn ang="0">
                <a:pos x="connsiteX36226" y="connsiteY36226"/>
              </a:cxn>
              <a:cxn ang="0">
                <a:pos x="connsiteX36227" y="connsiteY36227"/>
              </a:cxn>
              <a:cxn ang="0">
                <a:pos x="connsiteX36228" y="connsiteY36228"/>
              </a:cxn>
              <a:cxn ang="0">
                <a:pos x="connsiteX36229" y="connsiteY36229"/>
              </a:cxn>
              <a:cxn ang="0">
                <a:pos x="connsiteX36230" y="connsiteY36230"/>
              </a:cxn>
              <a:cxn ang="0">
                <a:pos x="connsiteX36231" y="connsiteY36231"/>
              </a:cxn>
              <a:cxn ang="0">
                <a:pos x="connsiteX36232" y="connsiteY36232"/>
              </a:cxn>
              <a:cxn ang="0">
                <a:pos x="connsiteX36233" y="connsiteY36233"/>
              </a:cxn>
              <a:cxn ang="0">
                <a:pos x="connsiteX36234" y="connsiteY36234"/>
              </a:cxn>
              <a:cxn ang="0">
                <a:pos x="connsiteX36235" y="connsiteY36235"/>
              </a:cxn>
              <a:cxn ang="0">
                <a:pos x="connsiteX36236" y="connsiteY36236"/>
              </a:cxn>
              <a:cxn ang="0">
                <a:pos x="connsiteX36237" y="connsiteY36237"/>
              </a:cxn>
              <a:cxn ang="0">
                <a:pos x="connsiteX36238" y="connsiteY36238"/>
              </a:cxn>
              <a:cxn ang="0">
                <a:pos x="connsiteX36239" y="connsiteY36239"/>
              </a:cxn>
              <a:cxn ang="0">
                <a:pos x="connsiteX36240" y="connsiteY36240"/>
              </a:cxn>
              <a:cxn ang="0">
                <a:pos x="connsiteX36241" y="connsiteY36241"/>
              </a:cxn>
              <a:cxn ang="0">
                <a:pos x="connsiteX36242" y="connsiteY36242"/>
              </a:cxn>
              <a:cxn ang="0">
                <a:pos x="connsiteX36243" y="connsiteY36243"/>
              </a:cxn>
              <a:cxn ang="0">
                <a:pos x="connsiteX36244" y="connsiteY36244"/>
              </a:cxn>
              <a:cxn ang="0">
                <a:pos x="connsiteX36245" y="connsiteY36245"/>
              </a:cxn>
              <a:cxn ang="0">
                <a:pos x="connsiteX36246" y="connsiteY36246"/>
              </a:cxn>
              <a:cxn ang="0">
                <a:pos x="connsiteX36247" y="connsiteY36247"/>
              </a:cxn>
              <a:cxn ang="0">
                <a:pos x="connsiteX36248" y="connsiteY36248"/>
              </a:cxn>
              <a:cxn ang="0">
                <a:pos x="connsiteX36249" y="connsiteY36249"/>
              </a:cxn>
              <a:cxn ang="0">
                <a:pos x="connsiteX36250" y="connsiteY36250"/>
              </a:cxn>
              <a:cxn ang="0">
                <a:pos x="connsiteX36251" y="connsiteY36251"/>
              </a:cxn>
              <a:cxn ang="0">
                <a:pos x="connsiteX36252" y="connsiteY36252"/>
              </a:cxn>
              <a:cxn ang="0">
                <a:pos x="connsiteX36253" y="connsiteY36253"/>
              </a:cxn>
              <a:cxn ang="0">
                <a:pos x="connsiteX36254" y="connsiteY36254"/>
              </a:cxn>
              <a:cxn ang="0">
                <a:pos x="connsiteX36255" y="connsiteY36255"/>
              </a:cxn>
              <a:cxn ang="0">
                <a:pos x="connsiteX36256" y="connsiteY36256"/>
              </a:cxn>
              <a:cxn ang="0">
                <a:pos x="connsiteX36257" y="connsiteY36257"/>
              </a:cxn>
              <a:cxn ang="0">
                <a:pos x="connsiteX36258" y="connsiteY36258"/>
              </a:cxn>
              <a:cxn ang="0">
                <a:pos x="connsiteX36259" y="connsiteY36259"/>
              </a:cxn>
              <a:cxn ang="0">
                <a:pos x="connsiteX36260" y="connsiteY36260"/>
              </a:cxn>
              <a:cxn ang="0">
                <a:pos x="connsiteX36261" y="connsiteY36261"/>
              </a:cxn>
              <a:cxn ang="0">
                <a:pos x="connsiteX36262" y="connsiteY36262"/>
              </a:cxn>
              <a:cxn ang="0">
                <a:pos x="connsiteX36263" y="connsiteY36263"/>
              </a:cxn>
              <a:cxn ang="0">
                <a:pos x="connsiteX36264" y="connsiteY36264"/>
              </a:cxn>
              <a:cxn ang="0">
                <a:pos x="connsiteX36265" y="connsiteY36265"/>
              </a:cxn>
              <a:cxn ang="0">
                <a:pos x="connsiteX36266" y="connsiteY36266"/>
              </a:cxn>
              <a:cxn ang="0">
                <a:pos x="connsiteX36267" y="connsiteY36267"/>
              </a:cxn>
              <a:cxn ang="0">
                <a:pos x="connsiteX36268" y="connsiteY36268"/>
              </a:cxn>
              <a:cxn ang="0">
                <a:pos x="connsiteX36269" y="connsiteY36269"/>
              </a:cxn>
              <a:cxn ang="0">
                <a:pos x="connsiteX36270" y="connsiteY36270"/>
              </a:cxn>
              <a:cxn ang="0">
                <a:pos x="connsiteX36271" y="connsiteY36271"/>
              </a:cxn>
              <a:cxn ang="0">
                <a:pos x="connsiteX36272" y="connsiteY36272"/>
              </a:cxn>
              <a:cxn ang="0">
                <a:pos x="connsiteX36273" y="connsiteY36273"/>
              </a:cxn>
              <a:cxn ang="0">
                <a:pos x="connsiteX36274" y="connsiteY36274"/>
              </a:cxn>
              <a:cxn ang="0">
                <a:pos x="connsiteX36275" y="connsiteY36275"/>
              </a:cxn>
              <a:cxn ang="0">
                <a:pos x="connsiteX36276" y="connsiteY36276"/>
              </a:cxn>
              <a:cxn ang="0">
                <a:pos x="connsiteX36277" y="connsiteY36277"/>
              </a:cxn>
              <a:cxn ang="0">
                <a:pos x="connsiteX36278" y="connsiteY36278"/>
              </a:cxn>
              <a:cxn ang="0">
                <a:pos x="connsiteX36279" y="connsiteY36279"/>
              </a:cxn>
              <a:cxn ang="0">
                <a:pos x="connsiteX36280" y="connsiteY36280"/>
              </a:cxn>
              <a:cxn ang="0">
                <a:pos x="connsiteX36281" y="connsiteY36281"/>
              </a:cxn>
              <a:cxn ang="0">
                <a:pos x="connsiteX36282" y="connsiteY36282"/>
              </a:cxn>
              <a:cxn ang="0">
                <a:pos x="connsiteX36283" y="connsiteY36283"/>
              </a:cxn>
              <a:cxn ang="0">
                <a:pos x="connsiteX36284" y="connsiteY36284"/>
              </a:cxn>
              <a:cxn ang="0">
                <a:pos x="connsiteX36285" y="connsiteY36285"/>
              </a:cxn>
              <a:cxn ang="0">
                <a:pos x="connsiteX36286" y="connsiteY36286"/>
              </a:cxn>
              <a:cxn ang="0">
                <a:pos x="connsiteX36287" y="connsiteY36287"/>
              </a:cxn>
              <a:cxn ang="0">
                <a:pos x="connsiteX36288" y="connsiteY36288"/>
              </a:cxn>
              <a:cxn ang="0">
                <a:pos x="connsiteX36289" y="connsiteY36289"/>
              </a:cxn>
              <a:cxn ang="0">
                <a:pos x="connsiteX36290" y="connsiteY36290"/>
              </a:cxn>
              <a:cxn ang="0">
                <a:pos x="connsiteX36291" y="connsiteY36291"/>
              </a:cxn>
              <a:cxn ang="0">
                <a:pos x="connsiteX36292" y="connsiteY36292"/>
              </a:cxn>
              <a:cxn ang="0">
                <a:pos x="connsiteX36293" y="connsiteY36293"/>
              </a:cxn>
              <a:cxn ang="0">
                <a:pos x="connsiteX36294" y="connsiteY36294"/>
              </a:cxn>
              <a:cxn ang="0">
                <a:pos x="connsiteX36295" y="connsiteY36295"/>
              </a:cxn>
              <a:cxn ang="0">
                <a:pos x="connsiteX36296" y="connsiteY36296"/>
              </a:cxn>
              <a:cxn ang="0">
                <a:pos x="connsiteX36297" y="connsiteY36297"/>
              </a:cxn>
              <a:cxn ang="0">
                <a:pos x="connsiteX36298" y="connsiteY36298"/>
              </a:cxn>
              <a:cxn ang="0">
                <a:pos x="connsiteX36299" y="connsiteY36299"/>
              </a:cxn>
              <a:cxn ang="0">
                <a:pos x="connsiteX36300" y="connsiteY36300"/>
              </a:cxn>
              <a:cxn ang="0">
                <a:pos x="connsiteX36301" y="connsiteY36301"/>
              </a:cxn>
              <a:cxn ang="0">
                <a:pos x="connsiteX36302" y="connsiteY36302"/>
              </a:cxn>
              <a:cxn ang="0">
                <a:pos x="connsiteX36303" y="connsiteY36303"/>
              </a:cxn>
              <a:cxn ang="0">
                <a:pos x="connsiteX36304" y="connsiteY36304"/>
              </a:cxn>
              <a:cxn ang="0">
                <a:pos x="connsiteX36305" y="connsiteY36305"/>
              </a:cxn>
              <a:cxn ang="0">
                <a:pos x="connsiteX36306" y="connsiteY36306"/>
              </a:cxn>
              <a:cxn ang="0">
                <a:pos x="connsiteX36307" y="connsiteY36307"/>
              </a:cxn>
              <a:cxn ang="0">
                <a:pos x="connsiteX36308" y="connsiteY36308"/>
              </a:cxn>
              <a:cxn ang="0">
                <a:pos x="connsiteX36309" y="connsiteY36309"/>
              </a:cxn>
              <a:cxn ang="0">
                <a:pos x="connsiteX36310" y="connsiteY36310"/>
              </a:cxn>
              <a:cxn ang="0">
                <a:pos x="connsiteX36311" y="connsiteY36311"/>
              </a:cxn>
              <a:cxn ang="0">
                <a:pos x="connsiteX36312" y="connsiteY36312"/>
              </a:cxn>
              <a:cxn ang="0">
                <a:pos x="connsiteX36313" y="connsiteY36313"/>
              </a:cxn>
              <a:cxn ang="0">
                <a:pos x="connsiteX36314" y="connsiteY36314"/>
              </a:cxn>
              <a:cxn ang="0">
                <a:pos x="connsiteX36315" y="connsiteY36315"/>
              </a:cxn>
              <a:cxn ang="0">
                <a:pos x="connsiteX36316" y="connsiteY36316"/>
              </a:cxn>
              <a:cxn ang="0">
                <a:pos x="connsiteX36317" y="connsiteY36317"/>
              </a:cxn>
              <a:cxn ang="0">
                <a:pos x="connsiteX36318" y="connsiteY36318"/>
              </a:cxn>
              <a:cxn ang="0">
                <a:pos x="connsiteX36319" y="connsiteY36319"/>
              </a:cxn>
              <a:cxn ang="0">
                <a:pos x="connsiteX36320" y="connsiteY36320"/>
              </a:cxn>
              <a:cxn ang="0">
                <a:pos x="connsiteX36321" y="connsiteY36321"/>
              </a:cxn>
              <a:cxn ang="0">
                <a:pos x="connsiteX36322" y="connsiteY36322"/>
              </a:cxn>
              <a:cxn ang="0">
                <a:pos x="connsiteX36323" y="connsiteY36323"/>
              </a:cxn>
              <a:cxn ang="0">
                <a:pos x="connsiteX36324" y="connsiteY36324"/>
              </a:cxn>
              <a:cxn ang="0">
                <a:pos x="connsiteX36325" y="connsiteY36325"/>
              </a:cxn>
              <a:cxn ang="0">
                <a:pos x="connsiteX36326" y="connsiteY36326"/>
              </a:cxn>
              <a:cxn ang="0">
                <a:pos x="connsiteX36327" y="connsiteY36327"/>
              </a:cxn>
              <a:cxn ang="0">
                <a:pos x="connsiteX36328" y="connsiteY36328"/>
              </a:cxn>
              <a:cxn ang="0">
                <a:pos x="connsiteX36329" y="connsiteY36329"/>
              </a:cxn>
              <a:cxn ang="0">
                <a:pos x="connsiteX36330" y="connsiteY36330"/>
              </a:cxn>
              <a:cxn ang="0">
                <a:pos x="connsiteX36331" y="connsiteY36331"/>
              </a:cxn>
              <a:cxn ang="0">
                <a:pos x="connsiteX36332" y="connsiteY36332"/>
              </a:cxn>
              <a:cxn ang="0">
                <a:pos x="connsiteX36333" y="connsiteY36333"/>
              </a:cxn>
              <a:cxn ang="0">
                <a:pos x="connsiteX36334" y="connsiteY36334"/>
              </a:cxn>
              <a:cxn ang="0">
                <a:pos x="connsiteX36335" y="connsiteY36335"/>
              </a:cxn>
              <a:cxn ang="0">
                <a:pos x="connsiteX36336" y="connsiteY36336"/>
              </a:cxn>
              <a:cxn ang="0">
                <a:pos x="connsiteX36337" y="connsiteY36337"/>
              </a:cxn>
              <a:cxn ang="0">
                <a:pos x="connsiteX36338" y="connsiteY36338"/>
              </a:cxn>
              <a:cxn ang="0">
                <a:pos x="connsiteX36339" y="connsiteY36339"/>
              </a:cxn>
              <a:cxn ang="0">
                <a:pos x="connsiteX36340" y="connsiteY36340"/>
              </a:cxn>
              <a:cxn ang="0">
                <a:pos x="connsiteX36341" y="connsiteY36341"/>
              </a:cxn>
              <a:cxn ang="0">
                <a:pos x="connsiteX36342" y="connsiteY36342"/>
              </a:cxn>
              <a:cxn ang="0">
                <a:pos x="connsiteX36343" y="connsiteY36343"/>
              </a:cxn>
              <a:cxn ang="0">
                <a:pos x="connsiteX36344" y="connsiteY36344"/>
              </a:cxn>
              <a:cxn ang="0">
                <a:pos x="connsiteX36345" y="connsiteY36345"/>
              </a:cxn>
              <a:cxn ang="0">
                <a:pos x="connsiteX36346" y="connsiteY36346"/>
              </a:cxn>
              <a:cxn ang="0">
                <a:pos x="connsiteX36347" y="connsiteY36347"/>
              </a:cxn>
              <a:cxn ang="0">
                <a:pos x="connsiteX36348" y="connsiteY36348"/>
              </a:cxn>
              <a:cxn ang="0">
                <a:pos x="connsiteX36349" y="connsiteY36349"/>
              </a:cxn>
              <a:cxn ang="0">
                <a:pos x="connsiteX36350" y="connsiteY36350"/>
              </a:cxn>
              <a:cxn ang="0">
                <a:pos x="connsiteX36351" y="connsiteY36351"/>
              </a:cxn>
              <a:cxn ang="0">
                <a:pos x="connsiteX36352" y="connsiteY36352"/>
              </a:cxn>
              <a:cxn ang="0">
                <a:pos x="connsiteX36353" y="connsiteY36353"/>
              </a:cxn>
              <a:cxn ang="0">
                <a:pos x="connsiteX36354" y="connsiteY36354"/>
              </a:cxn>
              <a:cxn ang="0">
                <a:pos x="connsiteX36355" y="connsiteY36355"/>
              </a:cxn>
              <a:cxn ang="0">
                <a:pos x="connsiteX36356" y="connsiteY36356"/>
              </a:cxn>
              <a:cxn ang="0">
                <a:pos x="connsiteX36357" y="connsiteY36357"/>
              </a:cxn>
              <a:cxn ang="0">
                <a:pos x="connsiteX36358" y="connsiteY36358"/>
              </a:cxn>
              <a:cxn ang="0">
                <a:pos x="connsiteX36359" y="connsiteY36359"/>
              </a:cxn>
              <a:cxn ang="0">
                <a:pos x="connsiteX36360" y="connsiteY36360"/>
              </a:cxn>
              <a:cxn ang="0">
                <a:pos x="connsiteX36361" y="connsiteY36361"/>
              </a:cxn>
              <a:cxn ang="0">
                <a:pos x="connsiteX36362" y="connsiteY36362"/>
              </a:cxn>
              <a:cxn ang="0">
                <a:pos x="connsiteX36363" y="connsiteY36363"/>
              </a:cxn>
              <a:cxn ang="0">
                <a:pos x="connsiteX36364" y="connsiteY36364"/>
              </a:cxn>
              <a:cxn ang="0">
                <a:pos x="connsiteX36365" y="connsiteY36365"/>
              </a:cxn>
              <a:cxn ang="0">
                <a:pos x="connsiteX36366" y="connsiteY36366"/>
              </a:cxn>
              <a:cxn ang="0">
                <a:pos x="connsiteX36367" y="connsiteY36367"/>
              </a:cxn>
              <a:cxn ang="0">
                <a:pos x="connsiteX36368" y="connsiteY36368"/>
              </a:cxn>
              <a:cxn ang="0">
                <a:pos x="connsiteX36369" y="connsiteY36369"/>
              </a:cxn>
              <a:cxn ang="0">
                <a:pos x="connsiteX36370" y="connsiteY36370"/>
              </a:cxn>
              <a:cxn ang="0">
                <a:pos x="connsiteX36371" y="connsiteY36371"/>
              </a:cxn>
              <a:cxn ang="0">
                <a:pos x="connsiteX36372" y="connsiteY36372"/>
              </a:cxn>
              <a:cxn ang="0">
                <a:pos x="connsiteX36373" y="connsiteY36373"/>
              </a:cxn>
              <a:cxn ang="0">
                <a:pos x="connsiteX36374" y="connsiteY36374"/>
              </a:cxn>
              <a:cxn ang="0">
                <a:pos x="connsiteX36375" y="connsiteY36375"/>
              </a:cxn>
              <a:cxn ang="0">
                <a:pos x="connsiteX36376" y="connsiteY36376"/>
              </a:cxn>
              <a:cxn ang="0">
                <a:pos x="connsiteX36377" y="connsiteY36377"/>
              </a:cxn>
              <a:cxn ang="0">
                <a:pos x="connsiteX36378" y="connsiteY36378"/>
              </a:cxn>
              <a:cxn ang="0">
                <a:pos x="connsiteX36379" y="connsiteY36379"/>
              </a:cxn>
              <a:cxn ang="0">
                <a:pos x="connsiteX36380" y="connsiteY36380"/>
              </a:cxn>
              <a:cxn ang="0">
                <a:pos x="connsiteX36381" y="connsiteY36381"/>
              </a:cxn>
              <a:cxn ang="0">
                <a:pos x="connsiteX36382" y="connsiteY36382"/>
              </a:cxn>
              <a:cxn ang="0">
                <a:pos x="connsiteX36383" y="connsiteY36383"/>
              </a:cxn>
              <a:cxn ang="0">
                <a:pos x="connsiteX36384" y="connsiteY36384"/>
              </a:cxn>
              <a:cxn ang="0">
                <a:pos x="connsiteX36385" y="connsiteY36385"/>
              </a:cxn>
              <a:cxn ang="0">
                <a:pos x="connsiteX36386" y="connsiteY36386"/>
              </a:cxn>
              <a:cxn ang="0">
                <a:pos x="connsiteX36387" y="connsiteY36387"/>
              </a:cxn>
              <a:cxn ang="0">
                <a:pos x="connsiteX36388" y="connsiteY36388"/>
              </a:cxn>
              <a:cxn ang="0">
                <a:pos x="connsiteX36389" y="connsiteY36389"/>
              </a:cxn>
              <a:cxn ang="0">
                <a:pos x="connsiteX36390" y="connsiteY36390"/>
              </a:cxn>
              <a:cxn ang="0">
                <a:pos x="connsiteX36391" y="connsiteY36391"/>
              </a:cxn>
              <a:cxn ang="0">
                <a:pos x="connsiteX36392" y="connsiteY36392"/>
              </a:cxn>
              <a:cxn ang="0">
                <a:pos x="connsiteX36393" y="connsiteY36393"/>
              </a:cxn>
              <a:cxn ang="0">
                <a:pos x="connsiteX36394" y="connsiteY36394"/>
              </a:cxn>
              <a:cxn ang="0">
                <a:pos x="connsiteX36395" y="connsiteY36395"/>
              </a:cxn>
              <a:cxn ang="0">
                <a:pos x="connsiteX36396" y="connsiteY36396"/>
              </a:cxn>
              <a:cxn ang="0">
                <a:pos x="connsiteX36397" y="connsiteY36397"/>
              </a:cxn>
              <a:cxn ang="0">
                <a:pos x="connsiteX36398" y="connsiteY36398"/>
              </a:cxn>
              <a:cxn ang="0">
                <a:pos x="connsiteX36399" y="connsiteY36399"/>
              </a:cxn>
              <a:cxn ang="0">
                <a:pos x="connsiteX36400" y="connsiteY36400"/>
              </a:cxn>
              <a:cxn ang="0">
                <a:pos x="connsiteX36401" y="connsiteY36401"/>
              </a:cxn>
              <a:cxn ang="0">
                <a:pos x="connsiteX36402" y="connsiteY36402"/>
              </a:cxn>
              <a:cxn ang="0">
                <a:pos x="connsiteX36403" y="connsiteY36403"/>
              </a:cxn>
              <a:cxn ang="0">
                <a:pos x="connsiteX36404" y="connsiteY36404"/>
              </a:cxn>
              <a:cxn ang="0">
                <a:pos x="connsiteX36405" y="connsiteY36405"/>
              </a:cxn>
              <a:cxn ang="0">
                <a:pos x="connsiteX36406" y="connsiteY36406"/>
              </a:cxn>
              <a:cxn ang="0">
                <a:pos x="connsiteX36407" y="connsiteY36407"/>
              </a:cxn>
              <a:cxn ang="0">
                <a:pos x="connsiteX36408" y="connsiteY36408"/>
              </a:cxn>
              <a:cxn ang="0">
                <a:pos x="connsiteX36409" y="connsiteY36409"/>
              </a:cxn>
              <a:cxn ang="0">
                <a:pos x="connsiteX36410" y="connsiteY36410"/>
              </a:cxn>
              <a:cxn ang="0">
                <a:pos x="connsiteX36411" y="connsiteY36411"/>
              </a:cxn>
              <a:cxn ang="0">
                <a:pos x="connsiteX36412" y="connsiteY36412"/>
              </a:cxn>
              <a:cxn ang="0">
                <a:pos x="connsiteX36413" y="connsiteY36413"/>
              </a:cxn>
              <a:cxn ang="0">
                <a:pos x="connsiteX36414" y="connsiteY36414"/>
              </a:cxn>
              <a:cxn ang="0">
                <a:pos x="connsiteX36415" y="connsiteY36415"/>
              </a:cxn>
              <a:cxn ang="0">
                <a:pos x="connsiteX36416" y="connsiteY36416"/>
              </a:cxn>
              <a:cxn ang="0">
                <a:pos x="connsiteX36417" y="connsiteY36417"/>
              </a:cxn>
              <a:cxn ang="0">
                <a:pos x="connsiteX36418" y="connsiteY36418"/>
              </a:cxn>
              <a:cxn ang="0">
                <a:pos x="connsiteX36419" y="connsiteY36419"/>
              </a:cxn>
              <a:cxn ang="0">
                <a:pos x="connsiteX36420" y="connsiteY36420"/>
              </a:cxn>
              <a:cxn ang="0">
                <a:pos x="connsiteX36421" y="connsiteY36421"/>
              </a:cxn>
              <a:cxn ang="0">
                <a:pos x="connsiteX36422" y="connsiteY36422"/>
              </a:cxn>
              <a:cxn ang="0">
                <a:pos x="connsiteX36423" y="connsiteY36423"/>
              </a:cxn>
              <a:cxn ang="0">
                <a:pos x="connsiteX36424" y="connsiteY36424"/>
              </a:cxn>
              <a:cxn ang="0">
                <a:pos x="connsiteX36425" y="connsiteY36425"/>
              </a:cxn>
              <a:cxn ang="0">
                <a:pos x="connsiteX36426" y="connsiteY36426"/>
              </a:cxn>
              <a:cxn ang="0">
                <a:pos x="connsiteX36427" y="connsiteY36427"/>
              </a:cxn>
              <a:cxn ang="0">
                <a:pos x="connsiteX36428" y="connsiteY36428"/>
              </a:cxn>
              <a:cxn ang="0">
                <a:pos x="connsiteX36429" y="connsiteY36429"/>
              </a:cxn>
              <a:cxn ang="0">
                <a:pos x="connsiteX36430" y="connsiteY36430"/>
              </a:cxn>
              <a:cxn ang="0">
                <a:pos x="connsiteX36431" y="connsiteY36431"/>
              </a:cxn>
              <a:cxn ang="0">
                <a:pos x="connsiteX36432" y="connsiteY36432"/>
              </a:cxn>
              <a:cxn ang="0">
                <a:pos x="connsiteX36433" y="connsiteY36433"/>
              </a:cxn>
              <a:cxn ang="0">
                <a:pos x="connsiteX36434" y="connsiteY36434"/>
              </a:cxn>
              <a:cxn ang="0">
                <a:pos x="connsiteX36435" y="connsiteY36435"/>
              </a:cxn>
              <a:cxn ang="0">
                <a:pos x="connsiteX36436" y="connsiteY36436"/>
              </a:cxn>
              <a:cxn ang="0">
                <a:pos x="connsiteX36437" y="connsiteY36437"/>
              </a:cxn>
              <a:cxn ang="0">
                <a:pos x="connsiteX36438" y="connsiteY36438"/>
              </a:cxn>
              <a:cxn ang="0">
                <a:pos x="connsiteX36439" y="connsiteY36439"/>
              </a:cxn>
              <a:cxn ang="0">
                <a:pos x="connsiteX36440" y="connsiteY36440"/>
              </a:cxn>
              <a:cxn ang="0">
                <a:pos x="connsiteX36441" y="connsiteY36441"/>
              </a:cxn>
              <a:cxn ang="0">
                <a:pos x="connsiteX36442" y="connsiteY36442"/>
              </a:cxn>
              <a:cxn ang="0">
                <a:pos x="connsiteX36443" y="connsiteY36443"/>
              </a:cxn>
              <a:cxn ang="0">
                <a:pos x="connsiteX36444" y="connsiteY36444"/>
              </a:cxn>
              <a:cxn ang="0">
                <a:pos x="connsiteX36445" y="connsiteY36445"/>
              </a:cxn>
              <a:cxn ang="0">
                <a:pos x="connsiteX36446" y="connsiteY36446"/>
              </a:cxn>
              <a:cxn ang="0">
                <a:pos x="connsiteX36447" y="connsiteY36447"/>
              </a:cxn>
              <a:cxn ang="0">
                <a:pos x="connsiteX36448" y="connsiteY36448"/>
              </a:cxn>
              <a:cxn ang="0">
                <a:pos x="connsiteX36449" y="connsiteY36449"/>
              </a:cxn>
              <a:cxn ang="0">
                <a:pos x="connsiteX36450" y="connsiteY36450"/>
              </a:cxn>
              <a:cxn ang="0">
                <a:pos x="connsiteX36451" y="connsiteY36451"/>
              </a:cxn>
              <a:cxn ang="0">
                <a:pos x="connsiteX36452" y="connsiteY36452"/>
              </a:cxn>
              <a:cxn ang="0">
                <a:pos x="connsiteX36453" y="connsiteY36453"/>
              </a:cxn>
              <a:cxn ang="0">
                <a:pos x="connsiteX36454" y="connsiteY36454"/>
              </a:cxn>
              <a:cxn ang="0">
                <a:pos x="connsiteX36455" y="connsiteY36455"/>
              </a:cxn>
              <a:cxn ang="0">
                <a:pos x="connsiteX36456" y="connsiteY36456"/>
              </a:cxn>
              <a:cxn ang="0">
                <a:pos x="connsiteX36457" y="connsiteY36457"/>
              </a:cxn>
              <a:cxn ang="0">
                <a:pos x="connsiteX36458" y="connsiteY36458"/>
              </a:cxn>
              <a:cxn ang="0">
                <a:pos x="connsiteX36459" y="connsiteY36459"/>
              </a:cxn>
              <a:cxn ang="0">
                <a:pos x="connsiteX36460" y="connsiteY36460"/>
              </a:cxn>
              <a:cxn ang="0">
                <a:pos x="connsiteX36461" y="connsiteY36461"/>
              </a:cxn>
              <a:cxn ang="0">
                <a:pos x="connsiteX36462" y="connsiteY36462"/>
              </a:cxn>
              <a:cxn ang="0">
                <a:pos x="connsiteX36463" y="connsiteY36463"/>
              </a:cxn>
              <a:cxn ang="0">
                <a:pos x="connsiteX36464" y="connsiteY36464"/>
              </a:cxn>
              <a:cxn ang="0">
                <a:pos x="connsiteX36465" y="connsiteY36465"/>
              </a:cxn>
              <a:cxn ang="0">
                <a:pos x="connsiteX36466" y="connsiteY36466"/>
              </a:cxn>
              <a:cxn ang="0">
                <a:pos x="connsiteX36467" y="connsiteY36467"/>
              </a:cxn>
              <a:cxn ang="0">
                <a:pos x="connsiteX36468" y="connsiteY36468"/>
              </a:cxn>
              <a:cxn ang="0">
                <a:pos x="connsiteX36469" y="connsiteY36469"/>
              </a:cxn>
              <a:cxn ang="0">
                <a:pos x="connsiteX36470" y="connsiteY36470"/>
              </a:cxn>
              <a:cxn ang="0">
                <a:pos x="connsiteX36471" y="connsiteY36471"/>
              </a:cxn>
              <a:cxn ang="0">
                <a:pos x="connsiteX36472" y="connsiteY36472"/>
              </a:cxn>
              <a:cxn ang="0">
                <a:pos x="connsiteX36473" y="connsiteY36473"/>
              </a:cxn>
              <a:cxn ang="0">
                <a:pos x="connsiteX36474" y="connsiteY36474"/>
              </a:cxn>
              <a:cxn ang="0">
                <a:pos x="connsiteX36475" y="connsiteY36475"/>
              </a:cxn>
              <a:cxn ang="0">
                <a:pos x="connsiteX36476" y="connsiteY36476"/>
              </a:cxn>
              <a:cxn ang="0">
                <a:pos x="connsiteX36477" y="connsiteY36477"/>
              </a:cxn>
              <a:cxn ang="0">
                <a:pos x="connsiteX36478" y="connsiteY36478"/>
              </a:cxn>
              <a:cxn ang="0">
                <a:pos x="connsiteX36479" y="connsiteY36479"/>
              </a:cxn>
              <a:cxn ang="0">
                <a:pos x="connsiteX36480" y="connsiteY36480"/>
              </a:cxn>
              <a:cxn ang="0">
                <a:pos x="connsiteX36481" y="connsiteY36481"/>
              </a:cxn>
              <a:cxn ang="0">
                <a:pos x="connsiteX36482" y="connsiteY36482"/>
              </a:cxn>
              <a:cxn ang="0">
                <a:pos x="connsiteX36483" y="connsiteY36483"/>
              </a:cxn>
              <a:cxn ang="0">
                <a:pos x="connsiteX36484" y="connsiteY36484"/>
              </a:cxn>
              <a:cxn ang="0">
                <a:pos x="connsiteX36485" y="connsiteY36485"/>
              </a:cxn>
              <a:cxn ang="0">
                <a:pos x="connsiteX36486" y="connsiteY36486"/>
              </a:cxn>
              <a:cxn ang="0">
                <a:pos x="connsiteX36487" y="connsiteY36487"/>
              </a:cxn>
              <a:cxn ang="0">
                <a:pos x="connsiteX36488" y="connsiteY36488"/>
              </a:cxn>
              <a:cxn ang="0">
                <a:pos x="connsiteX36489" y="connsiteY36489"/>
              </a:cxn>
              <a:cxn ang="0">
                <a:pos x="connsiteX36490" y="connsiteY36490"/>
              </a:cxn>
              <a:cxn ang="0">
                <a:pos x="connsiteX36491" y="connsiteY36491"/>
              </a:cxn>
              <a:cxn ang="0">
                <a:pos x="connsiteX36492" y="connsiteY36492"/>
              </a:cxn>
              <a:cxn ang="0">
                <a:pos x="connsiteX36493" y="connsiteY36493"/>
              </a:cxn>
              <a:cxn ang="0">
                <a:pos x="connsiteX36494" y="connsiteY36494"/>
              </a:cxn>
              <a:cxn ang="0">
                <a:pos x="connsiteX36495" y="connsiteY36495"/>
              </a:cxn>
              <a:cxn ang="0">
                <a:pos x="connsiteX36496" y="connsiteY36496"/>
              </a:cxn>
              <a:cxn ang="0">
                <a:pos x="connsiteX36497" y="connsiteY36497"/>
              </a:cxn>
              <a:cxn ang="0">
                <a:pos x="connsiteX36498" y="connsiteY36498"/>
              </a:cxn>
              <a:cxn ang="0">
                <a:pos x="connsiteX36499" y="connsiteY36499"/>
              </a:cxn>
              <a:cxn ang="0">
                <a:pos x="connsiteX36500" y="connsiteY36500"/>
              </a:cxn>
              <a:cxn ang="0">
                <a:pos x="connsiteX36501" y="connsiteY36501"/>
              </a:cxn>
              <a:cxn ang="0">
                <a:pos x="connsiteX36502" y="connsiteY36502"/>
              </a:cxn>
              <a:cxn ang="0">
                <a:pos x="connsiteX36503" y="connsiteY36503"/>
              </a:cxn>
              <a:cxn ang="0">
                <a:pos x="connsiteX36504" y="connsiteY36504"/>
              </a:cxn>
              <a:cxn ang="0">
                <a:pos x="connsiteX36505" y="connsiteY36505"/>
              </a:cxn>
              <a:cxn ang="0">
                <a:pos x="connsiteX36506" y="connsiteY36506"/>
              </a:cxn>
              <a:cxn ang="0">
                <a:pos x="connsiteX36507" y="connsiteY36507"/>
              </a:cxn>
              <a:cxn ang="0">
                <a:pos x="connsiteX36508" y="connsiteY36508"/>
              </a:cxn>
              <a:cxn ang="0">
                <a:pos x="connsiteX36509" y="connsiteY36509"/>
              </a:cxn>
              <a:cxn ang="0">
                <a:pos x="connsiteX36510" y="connsiteY36510"/>
              </a:cxn>
              <a:cxn ang="0">
                <a:pos x="connsiteX36511" y="connsiteY36511"/>
              </a:cxn>
              <a:cxn ang="0">
                <a:pos x="connsiteX36512" y="connsiteY36512"/>
              </a:cxn>
              <a:cxn ang="0">
                <a:pos x="connsiteX36513" y="connsiteY36513"/>
              </a:cxn>
              <a:cxn ang="0">
                <a:pos x="connsiteX36514" y="connsiteY36514"/>
              </a:cxn>
              <a:cxn ang="0">
                <a:pos x="connsiteX36515" y="connsiteY36515"/>
              </a:cxn>
              <a:cxn ang="0">
                <a:pos x="connsiteX36516" y="connsiteY36516"/>
              </a:cxn>
              <a:cxn ang="0">
                <a:pos x="connsiteX36517" y="connsiteY36517"/>
              </a:cxn>
              <a:cxn ang="0">
                <a:pos x="connsiteX36518" y="connsiteY36518"/>
              </a:cxn>
              <a:cxn ang="0">
                <a:pos x="connsiteX36519" y="connsiteY36519"/>
              </a:cxn>
              <a:cxn ang="0">
                <a:pos x="connsiteX36520" y="connsiteY36520"/>
              </a:cxn>
              <a:cxn ang="0">
                <a:pos x="connsiteX36521" y="connsiteY36521"/>
              </a:cxn>
              <a:cxn ang="0">
                <a:pos x="connsiteX36522" y="connsiteY36522"/>
              </a:cxn>
              <a:cxn ang="0">
                <a:pos x="connsiteX36523" y="connsiteY36523"/>
              </a:cxn>
              <a:cxn ang="0">
                <a:pos x="connsiteX36524" y="connsiteY36524"/>
              </a:cxn>
              <a:cxn ang="0">
                <a:pos x="connsiteX36525" y="connsiteY36525"/>
              </a:cxn>
              <a:cxn ang="0">
                <a:pos x="connsiteX36526" y="connsiteY36526"/>
              </a:cxn>
              <a:cxn ang="0">
                <a:pos x="connsiteX36527" y="connsiteY36527"/>
              </a:cxn>
              <a:cxn ang="0">
                <a:pos x="connsiteX36528" y="connsiteY36528"/>
              </a:cxn>
              <a:cxn ang="0">
                <a:pos x="connsiteX36529" y="connsiteY36529"/>
              </a:cxn>
              <a:cxn ang="0">
                <a:pos x="connsiteX36530" y="connsiteY36530"/>
              </a:cxn>
              <a:cxn ang="0">
                <a:pos x="connsiteX36531" y="connsiteY36531"/>
              </a:cxn>
              <a:cxn ang="0">
                <a:pos x="connsiteX36532" y="connsiteY36532"/>
              </a:cxn>
              <a:cxn ang="0">
                <a:pos x="connsiteX36533" y="connsiteY36533"/>
              </a:cxn>
              <a:cxn ang="0">
                <a:pos x="connsiteX36534" y="connsiteY36534"/>
              </a:cxn>
              <a:cxn ang="0">
                <a:pos x="connsiteX36535" y="connsiteY36535"/>
              </a:cxn>
              <a:cxn ang="0">
                <a:pos x="connsiteX36536" y="connsiteY36536"/>
              </a:cxn>
              <a:cxn ang="0">
                <a:pos x="connsiteX36537" y="connsiteY36537"/>
              </a:cxn>
              <a:cxn ang="0">
                <a:pos x="connsiteX36538" y="connsiteY36538"/>
              </a:cxn>
              <a:cxn ang="0">
                <a:pos x="connsiteX36539" y="connsiteY36539"/>
              </a:cxn>
              <a:cxn ang="0">
                <a:pos x="connsiteX36540" y="connsiteY36540"/>
              </a:cxn>
              <a:cxn ang="0">
                <a:pos x="connsiteX36541" y="connsiteY36541"/>
              </a:cxn>
              <a:cxn ang="0">
                <a:pos x="connsiteX36542" y="connsiteY36542"/>
              </a:cxn>
              <a:cxn ang="0">
                <a:pos x="connsiteX36543" y="connsiteY36543"/>
              </a:cxn>
              <a:cxn ang="0">
                <a:pos x="connsiteX36544" y="connsiteY36544"/>
              </a:cxn>
              <a:cxn ang="0">
                <a:pos x="connsiteX36545" y="connsiteY36545"/>
              </a:cxn>
              <a:cxn ang="0">
                <a:pos x="connsiteX36546" y="connsiteY36546"/>
              </a:cxn>
              <a:cxn ang="0">
                <a:pos x="connsiteX36547" y="connsiteY36547"/>
              </a:cxn>
              <a:cxn ang="0">
                <a:pos x="connsiteX36548" y="connsiteY36548"/>
              </a:cxn>
              <a:cxn ang="0">
                <a:pos x="connsiteX36549" y="connsiteY36549"/>
              </a:cxn>
              <a:cxn ang="0">
                <a:pos x="connsiteX36550" y="connsiteY36550"/>
              </a:cxn>
              <a:cxn ang="0">
                <a:pos x="connsiteX36551" y="connsiteY36551"/>
              </a:cxn>
              <a:cxn ang="0">
                <a:pos x="connsiteX36552" y="connsiteY36552"/>
              </a:cxn>
              <a:cxn ang="0">
                <a:pos x="connsiteX36553" y="connsiteY36553"/>
              </a:cxn>
              <a:cxn ang="0">
                <a:pos x="connsiteX36554" y="connsiteY36554"/>
              </a:cxn>
              <a:cxn ang="0">
                <a:pos x="connsiteX36555" y="connsiteY36555"/>
              </a:cxn>
              <a:cxn ang="0">
                <a:pos x="connsiteX36556" y="connsiteY36556"/>
              </a:cxn>
              <a:cxn ang="0">
                <a:pos x="connsiteX36557" y="connsiteY36557"/>
              </a:cxn>
              <a:cxn ang="0">
                <a:pos x="connsiteX36558" y="connsiteY36558"/>
              </a:cxn>
              <a:cxn ang="0">
                <a:pos x="connsiteX36559" y="connsiteY36559"/>
              </a:cxn>
              <a:cxn ang="0">
                <a:pos x="connsiteX36560" y="connsiteY36560"/>
              </a:cxn>
              <a:cxn ang="0">
                <a:pos x="connsiteX36561" y="connsiteY36561"/>
              </a:cxn>
              <a:cxn ang="0">
                <a:pos x="connsiteX36562" y="connsiteY36562"/>
              </a:cxn>
              <a:cxn ang="0">
                <a:pos x="connsiteX36563" y="connsiteY36563"/>
              </a:cxn>
              <a:cxn ang="0">
                <a:pos x="connsiteX36564" y="connsiteY36564"/>
              </a:cxn>
              <a:cxn ang="0">
                <a:pos x="connsiteX36565" y="connsiteY36565"/>
              </a:cxn>
              <a:cxn ang="0">
                <a:pos x="connsiteX36566" y="connsiteY36566"/>
              </a:cxn>
              <a:cxn ang="0">
                <a:pos x="connsiteX36567" y="connsiteY36567"/>
              </a:cxn>
              <a:cxn ang="0">
                <a:pos x="connsiteX36568" y="connsiteY36568"/>
              </a:cxn>
              <a:cxn ang="0">
                <a:pos x="connsiteX36569" y="connsiteY36569"/>
              </a:cxn>
              <a:cxn ang="0">
                <a:pos x="connsiteX36570" y="connsiteY36570"/>
              </a:cxn>
              <a:cxn ang="0">
                <a:pos x="connsiteX36571" y="connsiteY36571"/>
              </a:cxn>
              <a:cxn ang="0">
                <a:pos x="connsiteX36572" y="connsiteY36572"/>
              </a:cxn>
              <a:cxn ang="0">
                <a:pos x="connsiteX36573" y="connsiteY36573"/>
              </a:cxn>
              <a:cxn ang="0">
                <a:pos x="connsiteX36574" y="connsiteY36574"/>
              </a:cxn>
              <a:cxn ang="0">
                <a:pos x="connsiteX36575" y="connsiteY36575"/>
              </a:cxn>
              <a:cxn ang="0">
                <a:pos x="connsiteX36576" y="connsiteY36576"/>
              </a:cxn>
              <a:cxn ang="0">
                <a:pos x="connsiteX36577" y="connsiteY36577"/>
              </a:cxn>
              <a:cxn ang="0">
                <a:pos x="connsiteX36578" y="connsiteY36578"/>
              </a:cxn>
              <a:cxn ang="0">
                <a:pos x="connsiteX36579" y="connsiteY36579"/>
              </a:cxn>
              <a:cxn ang="0">
                <a:pos x="connsiteX36580" y="connsiteY36580"/>
              </a:cxn>
              <a:cxn ang="0">
                <a:pos x="connsiteX36581" y="connsiteY36581"/>
              </a:cxn>
              <a:cxn ang="0">
                <a:pos x="connsiteX36582" y="connsiteY36582"/>
              </a:cxn>
              <a:cxn ang="0">
                <a:pos x="connsiteX36583" y="connsiteY36583"/>
              </a:cxn>
              <a:cxn ang="0">
                <a:pos x="connsiteX36584" y="connsiteY36584"/>
              </a:cxn>
              <a:cxn ang="0">
                <a:pos x="connsiteX36585" y="connsiteY36585"/>
              </a:cxn>
              <a:cxn ang="0">
                <a:pos x="connsiteX36586" y="connsiteY36586"/>
              </a:cxn>
              <a:cxn ang="0">
                <a:pos x="connsiteX36587" y="connsiteY36587"/>
              </a:cxn>
              <a:cxn ang="0">
                <a:pos x="connsiteX36588" y="connsiteY36588"/>
              </a:cxn>
              <a:cxn ang="0">
                <a:pos x="connsiteX36589" y="connsiteY36589"/>
              </a:cxn>
              <a:cxn ang="0">
                <a:pos x="connsiteX36590" y="connsiteY36590"/>
              </a:cxn>
              <a:cxn ang="0">
                <a:pos x="connsiteX36591" y="connsiteY36591"/>
              </a:cxn>
              <a:cxn ang="0">
                <a:pos x="connsiteX36592" y="connsiteY36592"/>
              </a:cxn>
              <a:cxn ang="0">
                <a:pos x="connsiteX36593" y="connsiteY36593"/>
              </a:cxn>
              <a:cxn ang="0">
                <a:pos x="connsiteX36594" y="connsiteY36594"/>
              </a:cxn>
              <a:cxn ang="0">
                <a:pos x="connsiteX36595" y="connsiteY36595"/>
              </a:cxn>
              <a:cxn ang="0">
                <a:pos x="connsiteX36596" y="connsiteY36596"/>
              </a:cxn>
              <a:cxn ang="0">
                <a:pos x="connsiteX36597" y="connsiteY36597"/>
              </a:cxn>
              <a:cxn ang="0">
                <a:pos x="connsiteX36598" y="connsiteY36598"/>
              </a:cxn>
              <a:cxn ang="0">
                <a:pos x="connsiteX36599" y="connsiteY36599"/>
              </a:cxn>
              <a:cxn ang="0">
                <a:pos x="connsiteX36600" y="connsiteY36600"/>
              </a:cxn>
              <a:cxn ang="0">
                <a:pos x="connsiteX36601" y="connsiteY36601"/>
              </a:cxn>
              <a:cxn ang="0">
                <a:pos x="connsiteX36602" y="connsiteY36602"/>
              </a:cxn>
              <a:cxn ang="0">
                <a:pos x="connsiteX36603" y="connsiteY36603"/>
              </a:cxn>
              <a:cxn ang="0">
                <a:pos x="connsiteX36604" y="connsiteY36604"/>
              </a:cxn>
              <a:cxn ang="0">
                <a:pos x="connsiteX36605" y="connsiteY36605"/>
              </a:cxn>
              <a:cxn ang="0">
                <a:pos x="connsiteX36606" y="connsiteY36606"/>
              </a:cxn>
              <a:cxn ang="0">
                <a:pos x="connsiteX36607" y="connsiteY36607"/>
              </a:cxn>
              <a:cxn ang="0">
                <a:pos x="connsiteX36608" y="connsiteY36608"/>
              </a:cxn>
              <a:cxn ang="0">
                <a:pos x="connsiteX36609" y="connsiteY36609"/>
              </a:cxn>
              <a:cxn ang="0">
                <a:pos x="connsiteX36610" y="connsiteY36610"/>
              </a:cxn>
              <a:cxn ang="0">
                <a:pos x="connsiteX36611" y="connsiteY36611"/>
              </a:cxn>
              <a:cxn ang="0">
                <a:pos x="connsiteX36612" y="connsiteY36612"/>
              </a:cxn>
              <a:cxn ang="0">
                <a:pos x="connsiteX36613" y="connsiteY36613"/>
              </a:cxn>
              <a:cxn ang="0">
                <a:pos x="connsiteX36614" y="connsiteY36614"/>
              </a:cxn>
              <a:cxn ang="0">
                <a:pos x="connsiteX36615" y="connsiteY36615"/>
              </a:cxn>
              <a:cxn ang="0">
                <a:pos x="connsiteX36616" y="connsiteY36616"/>
              </a:cxn>
              <a:cxn ang="0">
                <a:pos x="connsiteX36617" y="connsiteY36617"/>
              </a:cxn>
              <a:cxn ang="0">
                <a:pos x="connsiteX36618" y="connsiteY36618"/>
              </a:cxn>
              <a:cxn ang="0">
                <a:pos x="connsiteX36619" y="connsiteY36619"/>
              </a:cxn>
              <a:cxn ang="0">
                <a:pos x="connsiteX36620" y="connsiteY36620"/>
              </a:cxn>
              <a:cxn ang="0">
                <a:pos x="connsiteX36621" y="connsiteY36621"/>
              </a:cxn>
              <a:cxn ang="0">
                <a:pos x="connsiteX36622" y="connsiteY36622"/>
              </a:cxn>
              <a:cxn ang="0">
                <a:pos x="connsiteX36623" y="connsiteY36623"/>
              </a:cxn>
              <a:cxn ang="0">
                <a:pos x="connsiteX36624" y="connsiteY36624"/>
              </a:cxn>
              <a:cxn ang="0">
                <a:pos x="connsiteX36625" y="connsiteY36625"/>
              </a:cxn>
              <a:cxn ang="0">
                <a:pos x="connsiteX36626" y="connsiteY36626"/>
              </a:cxn>
              <a:cxn ang="0">
                <a:pos x="connsiteX36627" y="connsiteY36627"/>
              </a:cxn>
              <a:cxn ang="0">
                <a:pos x="connsiteX36628" y="connsiteY36628"/>
              </a:cxn>
              <a:cxn ang="0">
                <a:pos x="connsiteX36629" y="connsiteY36629"/>
              </a:cxn>
              <a:cxn ang="0">
                <a:pos x="connsiteX36630" y="connsiteY36630"/>
              </a:cxn>
              <a:cxn ang="0">
                <a:pos x="connsiteX36631" y="connsiteY36631"/>
              </a:cxn>
              <a:cxn ang="0">
                <a:pos x="connsiteX36632" y="connsiteY36632"/>
              </a:cxn>
              <a:cxn ang="0">
                <a:pos x="connsiteX36633" y="connsiteY36633"/>
              </a:cxn>
              <a:cxn ang="0">
                <a:pos x="connsiteX36634" y="connsiteY36634"/>
              </a:cxn>
              <a:cxn ang="0">
                <a:pos x="connsiteX36635" y="connsiteY36635"/>
              </a:cxn>
              <a:cxn ang="0">
                <a:pos x="connsiteX36636" y="connsiteY36636"/>
              </a:cxn>
              <a:cxn ang="0">
                <a:pos x="connsiteX36637" y="connsiteY36637"/>
              </a:cxn>
              <a:cxn ang="0">
                <a:pos x="connsiteX36638" y="connsiteY36638"/>
              </a:cxn>
              <a:cxn ang="0">
                <a:pos x="connsiteX36639" y="connsiteY36639"/>
              </a:cxn>
              <a:cxn ang="0">
                <a:pos x="connsiteX36640" y="connsiteY36640"/>
              </a:cxn>
              <a:cxn ang="0">
                <a:pos x="connsiteX36641" y="connsiteY36641"/>
              </a:cxn>
              <a:cxn ang="0">
                <a:pos x="connsiteX36642" y="connsiteY36642"/>
              </a:cxn>
              <a:cxn ang="0">
                <a:pos x="connsiteX36643" y="connsiteY36643"/>
              </a:cxn>
              <a:cxn ang="0">
                <a:pos x="connsiteX36644" y="connsiteY36644"/>
              </a:cxn>
              <a:cxn ang="0">
                <a:pos x="connsiteX36645" y="connsiteY36645"/>
              </a:cxn>
              <a:cxn ang="0">
                <a:pos x="connsiteX36646" y="connsiteY36646"/>
              </a:cxn>
              <a:cxn ang="0">
                <a:pos x="connsiteX36647" y="connsiteY36647"/>
              </a:cxn>
              <a:cxn ang="0">
                <a:pos x="connsiteX36648" y="connsiteY36648"/>
              </a:cxn>
              <a:cxn ang="0">
                <a:pos x="connsiteX36649" y="connsiteY36649"/>
              </a:cxn>
              <a:cxn ang="0">
                <a:pos x="connsiteX36650" y="connsiteY36650"/>
              </a:cxn>
              <a:cxn ang="0">
                <a:pos x="connsiteX36651" y="connsiteY36651"/>
              </a:cxn>
              <a:cxn ang="0">
                <a:pos x="connsiteX36652" y="connsiteY36652"/>
              </a:cxn>
              <a:cxn ang="0">
                <a:pos x="connsiteX36653" y="connsiteY36653"/>
              </a:cxn>
              <a:cxn ang="0">
                <a:pos x="connsiteX36654" y="connsiteY36654"/>
              </a:cxn>
              <a:cxn ang="0">
                <a:pos x="connsiteX36655" y="connsiteY36655"/>
              </a:cxn>
              <a:cxn ang="0">
                <a:pos x="connsiteX36656" y="connsiteY36656"/>
              </a:cxn>
              <a:cxn ang="0">
                <a:pos x="connsiteX36657" y="connsiteY36657"/>
              </a:cxn>
              <a:cxn ang="0">
                <a:pos x="connsiteX36658" y="connsiteY36658"/>
              </a:cxn>
              <a:cxn ang="0">
                <a:pos x="connsiteX36659" y="connsiteY36659"/>
              </a:cxn>
              <a:cxn ang="0">
                <a:pos x="connsiteX36660" y="connsiteY36660"/>
              </a:cxn>
              <a:cxn ang="0">
                <a:pos x="connsiteX36661" y="connsiteY36661"/>
              </a:cxn>
              <a:cxn ang="0">
                <a:pos x="connsiteX36662" y="connsiteY36662"/>
              </a:cxn>
              <a:cxn ang="0">
                <a:pos x="connsiteX36663" y="connsiteY36663"/>
              </a:cxn>
              <a:cxn ang="0">
                <a:pos x="connsiteX36664" y="connsiteY36664"/>
              </a:cxn>
              <a:cxn ang="0">
                <a:pos x="connsiteX36665" y="connsiteY36665"/>
              </a:cxn>
              <a:cxn ang="0">
                <a:pos x="connsiteX36666" y="connsiteY36666"/>
              </a:cxn>
              <a:cxn ang="0">
                <a:pos x="connsiteX36667" y="connsiteY36667"/>
              </a:cxn>
              <a:cxn ang="0">
                <a:pos x="connsiteX36668" y="connsiteY36668"/>
              </a:cxn>
              <a:cxn ang="0">
                <a:pos x="connsiteX36669" y="connsiteY36669"/>
              </a:cxn>
              <a:cxn ang="0">
                <a:pos x="connsiteX36670" y="connsiteY36670"/>
              </a:cxn>
              <a:cxn ang="0">
                <a:pos x="connsiteX36671" y="connsiteY36671"/>
              </a:cxn>
              <a:cxn ang="0">
                <a:pos x="connsiteX36672" y="connsiteY36672"/>
              </a:cxn>
              <a:cxn ang="0">
                <a:pos x="connsiteX36673" y="connsiteY36673"/>
              </a:cxn>
              <a:cxn ang="0">
                <a:pos x="connsiteX36674" y="connsiteY36674"/>
              </a:cxn>
              <a:cxn ang="0">
                <a:pos x="connsiteX36675" y="connsiteY36675"/>
              </a:cxn>
              <a:cxn ang="0">
                <a:pos x="connsiteX36676" y="connsiteY36676"/>
              </a:cxn>
              <a:cxn ang="0">
                <a:pos x="connsiteX36677" y="connsiteY36677"/>
              </a:cxn>
              <a:cxn ang="0">
                <a:pos x="connsiteX36678" y="connsiteY36678"/>
              </a:cxn>
              <a:cxn ang="0">
                <a:pos x="connsiteX36679" y="connsiteY36679"/>
              </a:cxn>
              <a:cxn ang="0">
                <a:pos x="connsiteX36680" y="connsiteY36680"/>
              </a:cxn>
              <a:cxn ang="0">
                <a:pos x="connsiteX36681" y="connsiteY36681"/>
              </a:cxn>
              <a:cxn ang="0">
                <a:pos x="connsiteX36682" y="connsiteY36682"/>
              </a:cxn>
              <a:cxn ang="0">
                <a:pos x="connsiteX36683" y="connsiteY36683"/>
              </a:cxn>
              <a:cxn ang="0">
                <a:pos x="connsiteX36684" y="connsiteY36684"/>
              </a:cxn>
              <a:cxn ang="0">
                <a:pos x="connsiteX36685" y="connsiteY36685"/>
              </a:cxn>
              <a:cxn ang="0">
                <a:pos x="connsiteX36686" y="connsiteY36686"/>
              </a:cxn>
              <a:cxn ang="0">
                <a:pos x="connsiteX36687" y="connsiteY36687"/>
              </a:cxn>
              <a:cxn ang="0">
                <a:pos x="connsiteX36688" y="connsiteY36688"/>
              </a:cxn>
              <a:cxn ang="0">
                <a:pos x="connsiteX36689" y="connsiteY36689"/>
              </a:cxn>
              <a:cxn ang="0">
                <a:pos x="connsiteX36690" y="connsiteY36690"/>
              </a:cxn>
              <a:cxn ang="0">
                <a:pos x="connsiteX36691" y="connsiteY36691"/>
              </a:cxn>
              <a:cxn ang="0">
                <a:pos x="connsiteX36692" y="connsiteY36692"/>
              </a:cxn>
              <a:cxn ang="0">
                <a:pos x="connsiteX36693" y="connsiteY36693"/>
              </a:cxn>
              <a:cxn ang="0">
                <a:pos x="connsiteX36694" y="connsiteY36694"/>
              </a:cxn>
              <a:cxn ang="0">
                <a:pos x="connsiteX36695" y="connsiteY36695"/>
              </a:cxn>
              <a:cxn ang="0">
                <a:pos x="connsiteX36696" y="connsiteY36696"/>
              </a:cxn>
              <a:cxn ang="0">
                <a:pos x="connsiteX36697" y="connsiteY36697"/>
              </a:cxn>
              <a:cxn ang="0">
                <a:pos x="connsiteX36698" y="connsiteY36698"/>
              </a:cxn>
              <a:cxn ang="0">
                <a:pos x="connsiteX36699" y="connsiteY36699"/>
              </a:cxn>
              <a:cxn ang="0">
                <a:pos x="connsiteX36700" y="connsiteY36700"/>
              </a:cxn>
              <a:cxn ang="0">
                <a:pos x="connsiteX36701" y="connsiteY36701"/>
              </a:cxn>
              <a:cxn ang="0">
                <a:pos x="connsiteX36702" y="connsiteY36702"/>
              </a:cxn>
              <a:cxn ang="0">
                <a:pos x="connsiteX36703" y="connsiteY36703"/>
              </a:cxn>
              <a:cxn ang="0">
                <a:pos x="connsiteX36704" y="connsiteY36704"/>
              </a:cxn>
              <a:cxn ang="0">
                <a:pos x="connsiteX36705" y="connsiteY36705"/>
              </a:cxn>
              <a:cxn ang="0">
                <a:pos x="connsiteX36706" y="connsiteY36706"/>
              </a:cxn>
              <a:cxn ang="0">
                <a:pos x="connsiteX36707" y="connsiteY36707"/>
              </a:cxn>
              <a:cxn ang="0">
                <a:pos x="connsiteX36708" y="connsiteY36708"/>
              </a:cxn>
              <a:cxn ang="0">
                <a:pos x="connsiteX36709" y="connsiteY36709"/>
              </a:cxn>
              <a:cxn ang="0">
                <a:pos x="connsiteX36710" y="connsiteY36710"/>
              </a:cxn>
              <a:cxn ang="0">
                <a:pos x="connsiteX36711" y="connsiteY36711"/>
              </a:cxn>
              <a:cxn ang="0">
                <a:pos x="connsiteX36712" y="connsiteY36712"/>
              </a:cxn>
              <a:cxn ang="0">
                <a:pos x="connsiteX36713" y="connsiteY36713"/>
              </a:cxn>
              <a:cxn ang="0">
                <a:pos x="connsiteX36714" y="connsiteY36714"/>
              </a:cxn>
              <a:cxn ang="0">
                <a:pos x="connsiteX36715" y="connsiteY36715"/>
              </a:cxn>
              <a:cxn ang="0">
                <a:pos x="connsiteX36716" y="connsiteY36716"/>
              </a:cxn>
              <a:cxn ang="0">
                <a:pos x="connsiteX36717" y="connsiteY36717"/>
              </a:cxn>
              <a:cxn ang="0">
                <a:pos x="connsiteX36718" y="connsiteY36718"/>
              </a:cxn>
              <a:cxn ang="0">
                <a:pos x="connsiteX36719" y="connsiteY36719"/>
              </a:cxn>
              <a:cxn ang="0">
                <a:pos x="connsiteX36720" y="connsiteY36720"/>
              </a:cxn>
              <a:cxn ang="0">
                <a:pos x="connsiteX36721" y="connsiteY36721"/>
              </a:cxn>
              <a:cxn ang="0">
                <a:pos x="connsiteX36722" y="connsiteY36722"/>
              </a:cxn>
              <a:cxn ang="0">
                <a:pos x="connsiteX36723" y="connsiteY36723"/>
              </a:cxn>
              <a:cxn ang="0">
                <a:pos x="connsiteX36724" y="connsiteY36724"/>
              </a:cxn>
              <a:cxn ang="0">
                <a:pos x="connsiteX36725" y="connsiteY36725"/>
              </a:cxn>
              <a:cxn ang="0">
                <a:pos x="connsiteX36726" y="connsiteY36726"/>
              </a:cxn>
              <a:cxn ang="0">
                <a:pos x="connsiteX36727" y="connsiteY36727"/>
              </a:cxn>
              <a:cxn ang="0">
                <a:pos x="connsiteX36728" y="connsiteY36728"/>
              </a:cxn>
              <a:cxn ang="0">
                <a:pos x="connsiteX36729" y="connsiteY36729"/>
              </a:cxn>
              <a:cxn ang="0">
                <a:pos x="connsiteX36730" y="connsiteY36730"/>
              </a:cxn>
              <a:cxn ang="0">
                <a:pos x="connsiteX36731" y="connsiteY36731"/>
              </a:cxn>
              <a:cxn ang="0">
                <a:pos x="connsiteX36732" y="connsiteY36732"/>
              </a:cxn>
              <a:cxn ang="0">
                <a:pos x="connsiteX36733" y="connsiteY36733"/>
              </a:cxn>
              <a:cxn ang="0">
                <a:pos x="connsiteX36734" y="connsiteY36734"/>
              </a:cxn>
              <a:cxn ang="0">
                <a:pos x="connsiteX36735" y="connsiteY36735"/>
              </a:cxn>
              <a:cxn ang="0">
                <a:pos x="connsiteX36736" y="connsiteY36736"/>
              </a:cxn>
              <a:cxn ang="0">
                <a:pos x="connsiteX36737" y="connsiteY36737"/>
              </a:cxn>
              <a:cxn ang="0">
                <a:pos x="connsiteX36738" y="connsiteY36738"/>
              </a:cxn>
              <a:cxn ang="0">
                <a:pos x="connsiteX36739" y="connsiteY36739"/>
              </a:cxn>
              <a:cxn ang="0">
                <a:pos x="connsiteX36740" y="connsiteY36740"/>
              </a:cxn>
              <a:cxn ang="0">
                <a:pos x="connsiteX36741" y="connsiteY36741"/>
              </a:cxn>
              <a:cxn ang="0">
                <a:pos x="connsiteX36742" y="connsiteY36742"/>
              </a:cxn>
              <a:cxn ang="0">
                <a:pos x="connsiteX36743" y="connsiteY36743"/>
              </a:cxn>
              <a:cxn ang="0">
                <a:pos x="connsiteX36744" y="connsiteY36744"/>
              </a:cxn>
              <a:cxn ang="0">
                <a:pos x="connsiteX36745" y="connsiteY36745"/>
              </a:cxn>
              <a:cxn ang="0">
                <a:pos x="connsiteX36746" y="connsiteY36746"/>
              </a:cxn>
              <a:cxn ang="0">
                <a:pos x="connsiteX36747" y="connsiteY36747"/>
              </a:cxn>
              <a:cxn ang="0">
                <a:pos x="connsiteX36748" y="connsiteY36748"/>
              </a:cxn>
              <a:cxn ang="0">
                <a:pos x="connsiteX36749" y="connsiteY36749"/>
              </a:cxn>
              <a:cxn ang="0">
                <a:pos x="connsiteX36750" y="connsiteY36750"/>
              </a:cxn>
              <a:cxn ang="0">
                <a:pos x="connsiteX36751" y="connsiteY36751"/>
              </a:cxn>
              <a:cxn ang="0">
                <a:pos x="connsiteX36752" y="connsiteY36752"/>
              </a:cxn>
              <a:cxn ang="0">
                <a:pos x="connsiteX36753" y="connsiteY36753"/>
              </a:cxn>
              <a:cxn ang="0">
                <a:pos x="connsiteX36754" y="connsiteY36754"/>
              </a:cxn>
              <a:cxn ang="0">
                <a:pos x="connsiteX36755" y="connsiteY36755"/>
              </a:cxn>
              <a:cxn ang="0">
                <a:pos x="connsiteX36756" y="connsiteY36756"/>
              </a:cxn>
              <a:cxn ang="0">
                <a:pos x="connsiteX36757" y="connsiteY36757"/>
              </a:cxn>
              <a:cxn ang="0">
                <a:pos x="connsiteX36758" y="connsiteY36758"/>
              </a:cxn>
              <a:cxn ang="0">
                <a:pos x="connsiteX36759" y="connsiteY36759"/>
              </a:cxn>
              <a:cxn ang="0">
                <a:pos x="connsiteX36760" y="connsiteY36760"/>
              </a:cxn>
              <a:cxn ang="0">
                <a:pos x="connsiteX36761" y="connsiteY36761"/>
              </a:cxn>
              <a:cxn ang="0">
                <a:pos x="connsiteX36762" y="connsiteY36762"/>
              </a:cxn>
              <a:cxn ang="0">
                <a:pos x="connsiteX36763" y="connsiteY36763"/>
              </a:cxn>
              <a:cxn ang="0">
                <a:pos x="connsiteX36764" y="connsiteY36764"/>
              </a:cxn>
              <a:cxn ang="0">
                <a:pos x="connsiteX36765" y="connsiteY36765"/>
              </a:cxn>
              <a:cxn ang="0">
                <a:pos x="connsiteX36766" y="connsiteY36766"/>
              </a:cxn>
              <a:cxn ang="0">
                <a:pos x="connsiteX36767" y="connsiteY36767"/>
              </a:cxn>
              <a:cxn ang="0">
                <a:pos x="connsiteX36768" y="connsiteY36768"/>
              </a:cxn>
              <a:cxn ang="0">
                <a:pos x="connsiteX36769" y="connsiteY36769"/>
              </a:cxn>
              <a:cxn ang="0">
                <a:pos x="connsiteX36770" y="connsiteY36770"/>
              </a:cxn>
              <a:cxn ang="0">
                <a:pos x="connsiteX36771" y="connsiteY36771"/>
              </a:cxn>
              <a:cxn ang="0">
                <a:pos x="connsiteX36772" y="connsiteY36772"/>
              </a:cxn>
              <a:cxn ang="0">
                <a:pos x="connsiteX36773" y="connsiteY36773"/>
              </a:cxn>
              <a:cxn ang="0">
                <a:pos x="connsiteX36774" y="connsiteY36774"/>
              </a:cxn>
              <a:cxn ang="0">
                <a:pos x="connsiteX36775" y="connsiteY36775"/>
              </a:cxn>
              <a:cxn ang="0">
                <a:pos x="connsiteX36776" y="connsiteY36776"/>
              </a:cxn>
              <a:cxn ang="0">
                <a:pos x="connsiteX36777" y="connsiteY36777"/>
              </a:cxn>
              <a:cxn ang="0">
                <a:pos x="connsiteX36778" y="connsiteY36778"/>
              </a:cxn>
              <a:cxn ang="0">
                <a:pos x="connsiteX36779" y="connsiteY36779"/>
              </a:cxn>
              <a:cxn ang="0">
                <a:pos x="connsiteX36780" y="connsiteY36780"/>
              </a:cxn>
              <a:cxn ang="0">
                <a:pos x="connsiteX36781" y="connsiteY36781"/>
              </a:cxn>
              <a:cxn ang="0">
                <a:pos x="connsiteX36782" y="connsiteY36782"/>
              </a:cxn>
              <a:cxn ang="0">
                <a:pos x="connsiteX36783" y="connsiteY36783"/>
              </a:cxn>
              <a:cxn ang="0">
                <a:pos x="connsiteX36784" y="connsiteY36784"/>
              </a:cxn>
              <a:cxn ang="0">
                <a:pos x="connsiteX36785" y="connsiteY36785"/>
              </a:cxn>
              <a:cxn ang="0">
                <a:pos x="connsiteX36786" y="connsiteY36786"/>
              </a:cxn>
              <a:cxn ang="0">
                <a:pos x="connsiteX36787" y="connsiteY36787"/>
              </a:cxn>
              <a:cxn ang="0">
                <a:pos x="connsiteX36788" y="connsiteY36788"/>
              </a:cxn>
              <a:cxn ang="0">
                <a:pos x="connsiteX36789" y="connsiteY36789"/>
              </a:cxn>
              <a:cxn ang="0">
                <a:pos x="connsiteX36790" y="connsiteY36790"/>
              </a:cxn>
              <a:cxn ang="0">
                <a:pos x="connsiteX36791" y="connsiteY36791"/>
              </a:cxn>
              <a:cxn ang="0">
                <a:pos x="connsiteX36792" y="connsiteY36792"/>
              </a:cxn>
              <a:cxn ang="0">
                <a:pos x="connsiteX36793" y="connsiteY36793"/>
              </a:cxn>
              <a:cxn ang="0">
                <a:pos x="connsiteX36794" y="connsiteY36794"/>
              </a:cxn>
              <a:cxn ang="0">
                <a:pos x="connsiteX36795" y="connsiteY36795"/>
              </a:cxn>
              <a:cxn ang="0">
                <a:pos x="connsiteX36796" y="connsiteY36796"/>
              </a:cxn>
              <a:cxn ang="0">
                <a:pos x="connsiteX36797" y="connsiteY36797"/>
              </a:cxn>
              <a:cxn ang="0">
                <a:pos x="connsiteX36798" y="connsiteY36798"/>
              </a:cxn>
              <a:cxn ang="0">
                <a:pos x="connsiteX36799" y="connsiteY36799"/>
              </a:cxn>
              <a:cxn ang="0">
                <a:pos x="connsiteX36800" y="connsiteY36800"/>
              </a:cxn>
              <a:cxn ang="0">
                <a:pos x="connsiteX36801" y="connsiteY36801"/>
              </a:cxn>
              <a:cxn ang="0">
                <a:pos x="connsiteX36802" y="connsiteY36802"/>
              </a:cxn>
              <a:cxn ang="0">
                <a:pos x="connsiteX36803" y="connsiteY36803"/>
              </a:cxn>
              <a:cxn ang="0">
                <a:pos x="connsiteX36804" y="connsiteY36804"/>
              </a:cxn>
              <a:cxn ang="0">
                <a:pos x="connsiteX36805" y="connsiteY36805"/>
              </a:cxn>
              <a:cxn ang="0">
                <a:pos x="connsiteX36806" y="connsiteY36806"/>
              </a:cxn>
              <a:cxn ang="0">
                <a:pos x="connsiteX36807" y="connsiteY36807"/>
              </a:cxn>
              <a:cxn ang="0">
                <a:pos x="connsiteX36808" y="connsiteY36808"/>
              </a:cxn>
              <a:cxn ang="0">
                <a:pos x="connsiteX36809" y="connsiteY36809"/>
              </a:cxn>
              <a:cxn ang="0">
                <a:pos x="connsiteX36810" y="connsiteY36810"/>
              </a:cxn>
              <a:cxn ang="0">
                <a:pos x="connsiteX36811" y="connsiteY36811"/>
              </a:cxn>
              <a:cxn ang="0">
                <a:pos x="connsiteX36812" y="connsiteY36812"/>
              </a:cxn>
              <a:cxn ang="0">
                <a:pos x="connsiteX36813" y="connsiteY36813"/>
              </a:cxn>
              <a:cxn ang="0">
                <a:pos x="connsiteX36814" y="connsiteY36814"/>
              </a:cxn>
              <a:cxn ang="0">
                <a:pos x="connsiteX36815" y="connsiteY36815"/>
              </a:cxn>
              <a:cxn ang="0">
                <a:pos x="connsiteX36816" y="connsiteY36816"/>
              </a:cxn>
              <a:cxn ang="0">
                <a:pos x="connsiteX36817" y="connsiteY36817"/>
              </a:cxn>
              <a:cxn ang="0">
                <a:pos x="connsiteX36818" y="connsiteY36818"/>
              </a:cxn>
              <a:cxn ang="0">
                <a:pos x="connsiteX36819" y="connsiteY36819"/>
              </a:cxn>
              <a:cxn ang="0">
                <a:pos x="connsiteX36820" y="connsiteY36820"/>
              </a:cxn>
              <a:cxn ang="0">
                <a:pos x="connsiteX36821" y="connsiteY36821"/>
              </a:cxn>
              <a:cxn ang="0">
                <a:pos x="connsiteX36822" y="connsiteY36822"/>
              </a:cxn>
              <a:cxn ang="0">
                <a:pos x="connsiteX36823" y="connsiteY36823"/>
              </a:cxn>
              <a:cxn ang="0">
                <a:pos x="connsiteX36824" y="connsiteY36824"/>
              </a:cxn>
              <a:cxn ang="0">
                <a:pos x="connsiteX36825" y="connsiteY36825"/>
              </a:cxn>
              <a:cxn ang="0">
                <a:pos x="connsiteX36826" y="connsiteY36826"/>
              </a:cxn>
              <a:cxn ang="0">
                <a:pos x="connsiteX36827" y="connsiteY36827"/>
              </a:cxn>
              <a:cxn ang="0">
                <a:pos x="connsiteX36828" y="connsiteY36828"/>
              </a:cxn>
              <a:cxn ang="0">
                <a:pos x="connsiteX36829" y="connsiteY36829"/>
              </a:cxn>
              <a:cxn ang="0">
                <a:pos x="connsiteX36830" y="connsiteY36830"/>
              </a:cxn>
              <a:cxn ang="0">
                <a:pos x="connsiteX36831" y="connsiteY36831"/>
              </a:cxn>
              <a:cxn ang="0">
                <a:pos x="connsiteX36832" y="connsiteY36832"/>
              </a:cxn>
              <a:cxn ang="0">
                <a:pos x="connsiteX36833" y="connsiteY36833"/>
              </a:cxn>
              <a:cxn ang="0">
                <a:pos x="connsiteX36834" y="connsiteY36834"/>
              </a:cxn>
              <a:cxn ang="0">
                <a:pos x="connsiteX36835" y="connsiteY36835"/>
              </a:cxn>
              <a:cxn ang="0">
                <a:pos x="connsiteX36836" y="connsiteY36836"/>
              </a:cxn>
              <a:cxn ang="0">
                <a:pos x="connsiteX36837" y="connsiteY36837"/>
              </a:cxn>
              <a:cxn ang="0">
                <a:pos x="connsiteX36838" y="connsiteY36838"/>
              </a:cxn>
              <a:cxn ang="0">
                <a:pos x="connsiteX36839" y="connsiteY36839"/>
              </a:cxn>
              <a:cxn ang="0">
                <a:pos x="connsiteX36840" y="connsiteY36840"/>
              </a:cxn>
              <a:cxn ang="0">
                <a:pos x="connsiteX36841" y="connsiteY36841"/>
              </a:cxn>
              <a:cxn ang="0">
                <a:pos x="connsiteX36842" y="connsiteY36842"/>
              </a:cxn>
              <a:cxn ang="0">
                <a:pos x="connsiteX36843" y="connsiteY36843"/>
              </a:cxn>
              <a:cxn ang="0">
                <a:pos x="connsiteX36844" y="connsiteY36844"/>
              </a:cxn>
              <a:cxn ang="0">
                <a:pos x="connsiteX36845" y="connsiteY36845"/>
              </a:cxn>
              <a:cxn ang="0">
                <a:pos x="connsiteX36846" y="connsiteY36846"/>
              </a:cxn>
              <a:cxn ang="0">
                <a:pos x="connsiteX36847" y="connsiteY36847"/>
              </a:cxn>
              <a:cxn ang="0">
                <a:pos x="connsiteX36848" y="connsiteY36848"/>
              </a:cxn>
              <a:cxn ang="0">
                <a:pos x="connsiteX36849" y="connsiteY36849"/>
              </a:cxn>
              <a:cxn ang="0">
                <a:pos x="connsiteX36850" y="connsiteY36850"/>
              </a:cxn>
              <a:cxn ang="0">
                <a:pos x="connsiteX36851" y="connsiteY36851"/>
              </a:cxn>
              <a:cxn ang="0">
                <a:pos x="connsiteX36852" y="connsiteY36852"/>
              </a:cxn>
              <a:cxn ang="0">
                <a:pos x="connsiteX36853" y="connsiteY36853"/>
              </a:cxn>
              <a:cxn ang="0">
                <a:pos x="connsiteX36854" y="connsiteY36854"/>
              </a:cxn>
              <a:cxn ang="0">
                <a:pos x="connsiteX36855" y="connsiteY36855"/>
              </a:cxn>
              <a:cxn ang="0">
                <a:pos x="connsiteX36856" y="connsiteY36856"/>
              </a:cxn>
              <a:cxn ang="0">
                <a:pos x="connsiteX36857" y="connsiteY36857"/>
              </a:cxn>
              <a:cxn ang="0">
                <a:pos x="connsiteX36858" y="connsiteY36858"/>
              </a:cxn>
              <a:cxn ang="0">
                <a:pos x="connsiteX36859" y="connsiteY36859"/>
              </a:cxn>
              <a:cxn ang="0">
                <a:pos x="connsiteX36860" y="connsiteY36860"/>
              </a:cxn>
              <a:cxn ang="0">
                <a:pos x="connsiteX36861" y="connsiteY36861"/>
              </a:cxn>
              <a:cxn ang="0">
                <a:pos x="connsiteX36862" y="connsiteY36862"/>
              </a:cxn>
              <a:cxn ang="0">
                <a:pos x="connsiteX36863" y="connsiteY36863"/>
              </a:cxn>
              <a:cxn ang="0">
                <a:pos x="connsiteX36864" y="connsiteY36864"/>
              </a:cxn>
              <a:cxn ang="0">
                <a:pos x="connsiteX36865" y="connsiteY36865"/>
              </a:cxn>
              <a:cxn ang="0">
                <a:pos x="connsiteX36866" y="connsiteY36866"/>
              </a:cxn>
              <a:cxn ang="0">
                <a:pos x="connsiteX36867" y="connsiteY36867"/>
              </a:cxn>
              <a:cxn ang="0">
                <a:pos x="connsiteX36868" y="connsiteY36868"/>
              </a:cxn>
              <a:cxn ang="0">
                <a:pos x="connsiteX36869" y="connsiteY36869"/>
              </a:cxn>
              <a:cxn ang="0">
                <a:pos x="connsiteX36870" y="connsiteY36870"/>
              </a:cxn>
              <a:cxn ang="0">
                <a:pos x="connsiteX36871" y="connsiteY36871"/>
              </a:cxn>
              <a:cxn ang="0">
                <a:pos x="connsiteX36872" y="connsiteY36872"/>
              </a:cxn>
              <a:cxn ang="0">
                <a:pos x="connsiteX36873" y="connsiteY36873"/>
              </a:cxn>
              <a:cxn ang="0">
                <a:pos x="connsiteX36874" y="connsiteY36874"/>
              </a:cxn>
              <a:cxn ang="0">
                <a:pos x="connsiteX36875" y="connsiteY36875"/>
              </a:cxn>
              <a:cxn ang="0">
                <a:pos x="connsiteX36876" y="connsiteY36876"/>
              </a:cxn>
              <a:cxn ang="0">
                <a:pos x="connsiteX36877" y="connsiteY36877"/>
              </a:cxn>
              <a:cxn ang="0">
                <a:pos x="connsiteX36878" y="connsiteY36878"/>
              </a:cxn>
              <a:cxn ang="0">
                <a:pos x="connsiteX36879" y="connsiteY36879"/>
              </a:cxn>
              <a:cxn ang="0">
                <a:pos x="connsiteX36880" y="connsiteY36880"/>
              </a:cxn>
              <a:cxn ang="0">
                <a:pos x="connsiteX36881" y="connsiteY36881"/>
              </a:cxn>
              <a:cxn ang="0">
                <a:pos x="connsiteX36882" y="connsiteY36882"/>
              </a:cxn>
              <a:cxn ang="0">
                <a:pos x="connsiteX36883" y="connsiteY36883"/>
              </a:cxn>
              <a:cxn ang="0">
                <a:pos x="connsiteX36884" y="connsiteY36884"/>
              </a:cxn>
              <a:cxn ang="0">
                <a:pos x="connsiteX36885" y="connsiteY36885"/>
              </a:cxn>
              <a:cxn ang="0">
                <a:pos x="connsiteX36886" y="connsiteY36886"/>
              </a:cxn>
              <a:cxn ang="0">
                <a:pos x="connsiteX36887" y="connsiteY36887"/>
              </a:cxn>
              <a:cxn ang="0">
                <a:pos x="connsiteX36888" y="connsiteY36888"/>
              </a:cxn>
              <a:cxn ang="0">
                <a:pos x="connsiteX36889" y="connsiteY36889"/>
              </a:cxn>
              <a:cxn ang="0">
                <a:pos x="connsiteX36890" y="connsiteY36890"/>
              </a:cxn>
              <a:cxn ang="0">
                <a:pos x="connsiteX36891" y="connsiteY36891"/>
              </a:cxn>
              <a:cxn ang="0">
                <a:pos x="connsiteX36892" y="connsiteY36892"/>
              </a:cxn>
              <a:cxn ang="0">
                <a:pos x="connsiteX36893" y="connsiteY36893"/>
              </a:cxn>
              <a:cxn ang="0">
                <a:pos x="connsiteX36894" y="connsiteY36894"/>
              </a:cxn>
              <a:cxn ang="0">
                <a:pos x="connsiteX36895" y="connsiteY36895"/>
              </a:cxn>
              <a:cxn ang="0">
                <a:pos x="connsiteX36896" y="connsiteY36896"/>
              </a:cxn>
              <a:cxn ang="0">
                <a:pos x="connsiteX36897" y="connsiteY36897"/>
              </a:cxn>
              <a:cxn ang="0">
                <a:pos x="connsiteX36898" y="connsiteY36898"/>
              </a:cxn>
              <a:cxn ang="0">
                <a:pos x="connsiteX36899" y="connsiteY36899"/>
              </a:cxn>
              <a:cxn ang="0">
                <a:pos x="connsiteX36900" y="connsiteY36900"/>
              </a:cxn>
              <a:cxn ang="0">
                <a:pos x="connsiteX36901" y="connsiteY36901"/>
              </a:cxn>
              <a:cxn ang="0">
                <a:pos x="connsiteX36902" y="connsiteY36902"/>
              </a:cxn>
              <a:cxn ang="0">
                <a:pos x="connsiteX36903" y="connsiteY36903"/>
              </a:cxn>
              <a:cxn ang="0">
                <a:pos x="connsiteX36904" y="connsiteY36904"/>
              </a:cxn>
              <a:cxn ang="0">
                <a:pos x="connsiteX36905" y="connsiteY36905"/>
              </a:cxn>
              <a:cxn ang="0">
                <a:pos x="connsiteX36906" y="connsiteY36906"/>
              </a:cxn>
              <a:cxn ang="0">
                <a:pos x="connsiteX36907" y="connsiteY36907"/>
              </a:cxn>
              <a:cxn ang="0">
                <a:pos x="connsiteX36908" y="connsiteY36908"/>
              </a:cxn>
              <a:cxn ang="0">
                <a:pos x="connsiteX36909" y="connsiteY36909"/>
              </a:cxn>
              <a:cxn ang="0">
                <a:pos x="connsiteX36910" y="connsiteY36910"/>
              </a:cxn>
              <a:cxn ang="0">
                <a:pos x="connsiteX36911" y="connsiteY36911"/>
              </a:cxn>
              <a:cxn ang="0">
                <a:pos x="connsiteX36912" y="connsiteY36912"/>
              </a:cxn>
              <a:cxn ang="0">
                <a:pos x="connsiteX36913" y="connsiteY36913"/>
              </a:cxn>
              <a:cxn ang="0">
                <a:pos x="connsiteX36914" y="connsiteY36914"/>
              </a:cxn>
              <a:cxn ang="0">
                <a:pos x="connsiteX36915" y="connsiteY36915"/>
              </a:cxn>
              <a:cxn ang="0">
                <a:pos x="connsiteX36916" y="connsiteY36916"/>
              </a:cxn>
              <a:cxn ang="0">
                <a:pos x="connsiteX36917" y="connsiteY36917"/>
              </a:cxn>
              <a:cxn ang="0">
                <a:pos x="connsiteX36918" y="connsiteY36918"/>
              </a:cxn>
              <a:cxn ang="0">
                <a:pos x="connsiteX36919" y="connsiteY36919"/>
              </a:cxn>
              <a:cxn ang="0">
                <a:pos x="connsiteX36920" y="connsiteY36920"/>
              </a:cxn>
              <a:cxn ang="0">
                <a:pos x="connsiteX36921" y="connsiteY36921"/>
              </a:cxn>
              <a:cxn ang="0">
                <a:pos x="connsiteX36922" y="connsiteY36922"/>
              </a:cxn>
              <a:cxn ang="0">
                <a:pos x="connsiteX36923" y="connsiteY36923"/>
              </a:cxn>
              <a:cxn ang="0">
                <a:pos x="connsiteX36924" y="connsiteY36924"/>
              </a:cxn>
              <a:cxn ang="0">
                <a:pos x="connsiteX36925" y="connsiteY36925"/>
              </a:cxn>
              <a:cxn ang="0">
                <a:pos x="connsiteX36926" y="connsiteY36926"/>
              </a:cxn>
              <a:cxn ang="0">
                <a:pos x="connsiteX36927" y="connsiteY36927"/>
              </a:cxn>
              <a:cxn ang="0">
                <a:pos x="connsiteX36928" y="connsiteY36928"/>
              </a:cxn>
              <a:cxn ang="0">
                <a:pos x="connsiteX36929" y="connsiteY36929"/>
              </a:cxn>
              <a:cxn ang="0">
                <a:pos x="connsiteX36930" y="connsiteY36930"/>
              </a:cxn>
              <a:cxn ang="0">
                <a:pos x="connsiteX36931" y="connsiteY36931"/>
              </a:cxn>
              <a:cxn ang="0">
                <a:pos x="connsiteX36932" y="connsiteY36932"/>
              </a:cxn>
              <a:cxn ang="0">
                <a:pos x="connsiteX36933" y="connsiteY36933"/>
              </a:cxn>
              <a:cxn ang="0">
                <a:pos x="connsiteX36934" y="connsiteY36934"/>
              </a:cxn>
              <a:cxn ang="0">
                <a:pos x="connsiteX36935" y="connsiteY36935"/>
              </a:cxn>
              <a:cxn ang="0">
                <a:pos x="connsiteX36936" y="connsiteY36936"/>
              </a:cxn>
              <a:cxn ang="0">
                <a:pos x="connsiteX36937" y="connsiteY36937"/>
              </a:cxn>
              <a:cxn ang="0">
                <a:pos x="connsiteX36938" y="connsiteY36938"/>
              </a:cxn>
              <a:cxn ang="0">
                <a:pos x="connsiteX36939" y="connsiteY36939"/>
              </a:cxn>
              <a:cxn ang="0">
                <a:pos x="connsiteX36940" y="connsiteY36940"/>
              </a:cxn>
              <a:cxn ang="0">
                <a:pos x="connsiteX36941" y="connsiteY36941"/>
              </a:cxn>
              <a:cxn ang="0">
                <a:pos x="connsiteX36942" y="connsiteY36942"/>
              </a:cxn>
              <a:cxn ang="0">
                <a:pos x="connsiteX36943" y="connsiteY36943"/>
              </a:cxn>
              <a:cxn ang="0">
                <a:pos x="connsiteX36944" y="connsiteY36944"/>
              </a:cxn>
              <a:cxn ang="0">
                <a:pos x="connsiteX36945" y="connsiteY36945"/>
              </a:cxn>
              <a:cxn ang="0">
                <a:pos x="connsiteX36946" y="connsiteY36946"/>
              </a:cxn>
              <a:cxn ang="0">
                <a:pos x="connsiteX36947" y="connsiteY36947"/>
              </a:cxn>
              <a:cxn ang="0">
                <a:pos x="connsiteX36948" y="connsiteY36948"/>
              </a:cxn>
              <a:cxn ang="0">
                <a:pos x="connsiteX36949" y="connsiteY36949"/>
              </a:cxn>
              <a:cxn ang="0">
                <a:pos x="connsiteX36950" y="connsiteY36950"/>
              </a:cxn>
              <a:cxn ang="0">
                <a:pos x="connsiteX36951" y="connsiteY36951"/>
              </a:cxn>
              <a:cxn ang="0">
                <a:pos x="connsiteX36952" y="connsiteY36952"/>
              </a:cxn>
              <a:cxn ang="0">
                <a:pos x="connsiteX36953" y="connsiteY36953"/>
              </a:cxn>
              <a:cxn ang="0">
                <a:pos x="connsiteX36954" y="connsiteY36954"/>
              </a:cxn>
              <a:cxn ang="0">
                <a:pos x="connsiteX36955" y="connsiteY36955"/>
              </a:cxn>
              <a:cxn ang="0">
                <a:pos x="connsiteX36956" y="connsiteY36956"/>
              </a:cxn>
              <a:cxn ang="0">
                <a:pos x="connsiteX36957" y="connsiteY36957"/>
              </a:cxn>
              <a:cxn ang="0">
                <a:pos x="connsiteX36958" y="connsiteY36958"/>
              </a:cxn>
              <a:cxn ang="0">
                <a:pos x="connsiteX36959" y="connsiteY36959"/>
              </a:cxn>
              <a:cxn ang="0">
                <a:pos x="connsiteX36960" y="connsiteY36960"/>
              </a:cxn>
              <a:cxn ang="0">
                <a:pos x="connsiteX36961" y="connsiteY36961"/>
              </a:cxn>
              <a:cxn ang="0">
                <a:pos x="connsiteX36962" y="connsiteY36962"/>
              </a:cxn>
              <a:cxn ang="0">
                <a:pos x="connsiteX36963" y="connsiteY36963"/>
              </a:cxn>
              <a:cxn ang="0">
                <a:pos x="connsiteX36964" y="connsiteY36964"/>
              </a:cxn>
              <a:cxn ang="0">
                <a:pos x="connsiteX36965" y="connsiteY36965"/>
              </a:cxn>
              <a:cxn ang="0">
                <a:pos x="connsiteX36966" y="connsiteY36966"/>
              </a:cxn>
              <a:cxn ang="0">
                <a:pos x="connsiteX36967" y="connsiteY36967"/>
              </a:cxn>
              <a:cxn ang="0">
                <a:pos x="connsiteX36968" y="connsiteY36968"/>
              </a:cxn>
              <a:cxn ang="0">
                <a:pos x="connsiteX36969" y="connsiteY36969"/>
              </a:cxn>
              <a:cxn ang="0">
                <a:pos x="connsiteX36970" y="connsiteY36970"/>
              </a:cxn>
              <a:cxn ang="0">
                <a:pos x="connsiteX36971" y="connsiteY36971"/>
              </a:cxn>
              <a:cxn ang="0">
                <a:pos x="connsiteX36972" y="connsiteY36972"/>
              </a:cxn>
              <a:cxn ang="0">
                <a:pos x="connsiteX36973" y="connsiteY36973"/>
              </a:cxn>
              <a:cxn ang="0">
                <a:pos x="connsiteX36974" y="connsiteY36974"/>
              </a:cxn>
              <a:cxn ang="0">
                <a:pos x="connsiteX36975" y="connsiteY36975"/>
              </a:cxn>
              <a:cxn ang="0">
                <a:pos x="connsiteX36976" y="connsiteY36976"/>
              </a:cxn>
              <a:cxn ang="0">
                <a:pos x="connsiteX36977" y="connsiteY36977"/>
              </a:cxn>
              <a:cxn ang="0">
                <a:pos x="connsiteX36978" y="connsiteY36978"/>
              </a:cxn>
              <a:cxn ang="0">
                <a:pos x="connsiteX36979" y="connsiteY36979"/>
              </a:cxn>
              <a:cxn ang="0">
                <a:pos x="connsiteX36980" y="connsiteY36980"/>
              </a:cxn>
              <a:cxn ang="0">
                <a:pos x="connsiteX36981" y="connsiteY36981"/>
              </a:cxn>
              <a:cxn ang="0">
                <a:pos x="connsiteX36982" y="connsiteY36982"/>
              </a:cxn>
              <a:cxn ang="0">
                <a:pos x="connsiteX36983" y="connsiteY36983"/>
              </a:cxn>
              <a:cxn ang="0">
                <a:pos x="connsiteX36984" y="connsiteY36984"/>
              </a:cxn>
              <a:cxn ang="0">
                <a:pos x="connsiteX36985" y="connsiteY36985"/>
              </a:cxn>
              <a:cxn ang="0">
                <a:pos x="connsiteX36986" y="connsiteY36986"/>
              </a:cxn>
              <a:cxn ang="0">
                <a:pos x="connsiteX36987" y="connsiteY36987"/>
              </a:cxn>
              <a:cxn ang="0">
                <a:pos x="connsiteX36988" y="connsiteY36988"/>
              </a:cxn>
              <a:cxn ang="0">
                <a:pos x="connsiteX36989" y="connsiteY36989"/>
              </a:cxn>
              <a:cxn ang="0">
                <a:pos x="connsiteX36990" y="connsiteY36990"/>
              </a:cxn>
              <a:cxn ang="0">
                <a:pos x="connsiteX36991" y="connsiteY36991"/>
              </a:cxn>
              <a:cxn ang="0">
                <a:pos x="connsiteX36992" y="connsiteY36992"/>
              </a:cxn>
              <a:cxn ang="0">
                <a:pos x="connsiteX36993" y="connsiteY36993"/>
              </a:cxn>
              <a:cxn ang="0">
                <a:pos x="connsiteX36994" y="connsiteY36994"/>
              </a:cxn>
              <a:cxn ang="0">
                <a:pos x="connsiteX36995" y="connsiteY36995"/>
              </a:cxn>
              <a:cxn ang="0">
                <a:pos x="connsiteX36996" y="connsiteY36996"/>
              </a:cxn>
              <a:cxn ang="0">
                <a:pos x="connsiteX36997" y="connsiteY36997"/>
              </a:cxn>
              <a:cxn ang="0">
                <a:pos x="connsiteX36998" y="connsiteY36998"/>
              </a:cxn>
              <a:cxn ang="0">
                <a:pos x="connsiteX36999" y="connsiteY36999"/>
              </a:cxn>
              <a:cxn ang="0">
                <a:pos x="connsiteX37000" y="connsiteY37000"/>
              </a:cxn>
              <a:cxn ang="0">
                <a:pos x="connsiteX37001" y="connsiteY37001"/>
              </a:cxn>
              <a:cxn ang="0">
                <a:pos x="connsiteX37002" y="connsiteY37002"/>
              </a:cxn>
              <a:cxn ang="0">
                <a:pos x="connsiteX37003" y="connsiteY37003"/>
              </a:cxn>
              <a:cxn ang="0">
                <a:pos x="connsiteX37004" y="connsiteY37004"/>
              </a:cxn>
              <a:cxn ang="0">
                <a:pos x="connsiteX37005" y="connsiteY37005"/>
              </a:cxn>
              <a:cxn ang="0">
                <a:pos x="connsiteX37006" y="connsiteY37006"/>
              </a:cxn>
              <a:cxn ang="0">
                <a:pos x="connsiteX37007" y="connsiteY37007"/>
              </a:cxn>
              <a:cxn ang="0">
                <a:pos x="connsiteX37008" y="connsiteY37008"/>
              </a:cxn>
              <a:cxn ang="0">
                <a:pos x="connsiteX37009" y="connsiteY37009"/>
              </a:cxn>
              <a:cxn ang="0">
                <a:pos x="connsiteX37010" y="connsiteY37010"/>
              </a:cxn>
              <a:cxn ang="0">
                <a:pos x="connsiteX37011" y="connsiteY37011"/>
              </a:cxn>
              <a:cxn ang="0">
                <a:pos x="connsiteX37012" y="connsiteY37012"/>
              </a:cxn>
              <a:cxn ang="0">
                <a:pos x="connsiteX37013" y="connsiteY37013"/>
              </a:cxn>
              <a:cxn ang="0">
                <a:pos x="connsiteX37014" y="connsiteY37014"/>
              </a:cxn>
              <a:cxn ang="0">
                <a:pos x="connsiteX37015" y="connsiteY37015"/>
              </a:cxn>
              <a:cxn ang="0">
                <a:pos x="connsiteX37016" y="connsiteY37016"/>
              </a:cxn>
              <a:cxn ang="0">
                <a:pos x="connsiteX37017" y="connsiteY37017"/>
              </a:cxn>
              <a:cxn ang="0">
                <a:pos x="connsiteX37018" y="connsiteY37018"/>
              </a:cxn>
              <a:cxn ang="0">
                <a:pos x="connsiteX37019" y="connsiteY37019"/>
              </a:cxn>
              <a:cxn ang="0">
                <a:pos x="connsiteX37020" y="connsiteY37020"/>
              </a:cxn>
              <a:cxn ang="0">
                <a:pos x="connsiteX37021" y="connsiteY37021"/>
              </a:cxn>
              <a:cxn ang="0">
                <a:pos x="connsiteX37022" y="connsiteY37022"/>
              </a:cxn>
              <a:cxn ang="0">
                <a:pos x="connsiteX37023" y="connsiteY37023"/>
              </a:cxn>
              <a:cxn ang="0">
                <a:pos x="connsiteX37024" y="connsiteY37024"/>
              </a:cxn>
              <a:cxn ang="0">
                <a:pos x="connsiteX37025" y="connsiteY37025"/>
              </a:cxn>
              <a:cxn ang="0">
                <a:pos x="connsiteX37026" y="connsiteY37026"/>
              </a:cxn>
              <a:cxn ang="0">
                <a:pos x="connsiteX37027" y="connsiteY37027"/>
              </a:cxn>
              <a:cxn ang="0">
                <a:pos x="connsiteX37028" y="connsiteY37028"/>
              </a:cxn>
              <a:cxn ang="0">
                <a:pos x="connsiteX37029" y="connsiteY37029"/>
              </a:cxn>
              <a:cxn ang="0">
                <a:pos x="connsiteX37030" y="connsiteY37030"/>
              </a:cxn>
              <a:cxn ang="0">
                <a:pos x="connsiteX37031" y="connsiteY37031"/>
              </a:cxn>
              <a:cxn ang="0">
                <a:pos x="connsiteX37032" y="connsiteY37032"/>
              </a:cxn>
              <a:cxn ang="0">
                <a:pos x="connsiteX37033" y="connsiteY37033"/>
              </a:cxn>
              <a:cxn ang="0">
                <a:pos x="connsiteX37034" y="connsiteY37034"/>
              </a:cxn>
              <a:cxn ang="0">
                <a:pos x="connsiteX37035" y="connsiteY37035"/>
              </a:cxn>
              <a:cxn ang="0">
                <a:pos x="connsiteX37036" y="connsiteY37036"/>
              </a:cxn>
              <a:cxn ang="0">
                <a:pos x="connsiteX37037" y="connsiteY37037"/>
              </a:cxn>
              <a:cxn ang="0">
                <a:pos x="connsiteX37038" y="connsiteY37038"/>
              </a:cxn>
              <a:cxn ang="0">
                <a:pos x="connsiteX37039" y="connsiteY37039"/>
              </a:cxn>
              <a:cxn ang="0">
                <a:pos x="connsiteX37040" y="connsiteY37040"/>
              </a:cxn>
              <a:cxn ang="0">
                <a:pos x="connsiteX37041" y="connsiteY37041"/>
              </a:cxn>
              <a:cxn ang="0">
                <a:pos x="connsiteX37042" y="connsiteY37042"/>
              </a:cxn>
              <a:cxn ang="0">
                <a:pos x="connsiteX37043" y="connsiteY37043"/>
              </a:cxn>
              <a:cxn ang="0">
                <a:pos x="connsiteX37044" y="connsiteY37044"/>
              </a:cxn>
              <a:cxn ang="0">
                <a:pos x="connsiteX37045" y="connsiteY37045"/>
              </a:cxn>
              <a:cxn ang="0">
                <a:pos x="connsiteX37046" y="connsiteY37046"/>
              </a:cxn>
              <a:cxn ang="0">
                <a:pos x="connsiteX37047" y="connsiteY37047"/>
              </a:cxn>
              <a:cxn ang="0">
                <a:pos x="connsiteX37048" y="connsiteY37048"/>
              </a:cxn>
              <a:cxn ang="0">
                <a:pos x="connsiteX37049" y="connsiteY37049"/>
              </a:cxn>
              <a:cxn ang="0">
                <a:pos x="connsiteX37050" y="connsiteY37050"/>
              </a:cxn>
              <a:cxn ang="0">
                <a:pos x="connsiteX37051" y="connsiteY37051"/>
              </a:cxn>
              <a:cxn ang="0">
                <a:pos x="connsiteX37052" y="connsiteY37052"/>
              </a:cxn>
              <a:cxn ang="0">
                <a:pos x="connsiteX37053" y="connsiteY37053"/>
              </a:cxn>
              <a:cxn ang="0">
                <a:pos x="connsiteX37054" y="connsiteY37054"/>
              </a:cxn>
              <a:cxn ang="0">
                <a:pos x="connsiteX37055" y="connsiteY37055"/>
              </a:cxn>
              <a:cxn ang="0">
                <a:pos x="connsiteX37056" y="connsiteY37056"/>
              </a:cxn>
              <a:cxn ang="0">
                <a:pos x="connsiteX37057" y="connsiteY37057"/>
              </a:cxn>
              <a:cxn ang="0">
                <a:pos x="connsiteX37058" y="connsiteY37058"/>
              </a:cxn>
              <a:cxn ang="0">
                <a:pos x="connsiteX37059" y="connsiteY37059"/>
              </a:cxn>
              <a:cxn ang="0">
                <a:pos x="connsiteX37060" y="connsiteY37060"/>
              </a:cxn>
              <a:cxn ang="0">
                <a:pos x="connsiteX37061" y="connsiteY37061"/>
              </a:cxn>
              <a:cxn ang="0">
                <a:pos x="connsiteX37062" y="connsiteY37062"/>
              </a:cxn>
              <a:cxn ang="0">
                <a:pos x="connsiteX37063" y="connsiteY37063"/>
              </a:cxn>
              <a:cxn ang="0">
                <a:pos x="connsiteX37064" y="connsiteY37064"/>
              </a:cxn>
              <a:cxn ang="0">
                <a:pos x="connsiteX37065" y="connsiteY37065"/>
              </a:cxn>
              <a:cxn ang="0">
                <a:pos x="connsiteX37066" y="connsiteY37066"/>
              </a:cxn>
              <a:cxn ang="0">
                <a:pos x="connsiteX37067" y="connsiteY37067"/>
              </a:cxn>
              <a:cxn ang="0">
                <a:pos x="connsiteX37068" y="connsiteY37068"/>
              </a:cxn>
              <a:cxn ang="0">
                <a:pos x="connsiteX37069" y="connsiteY37069"/>
              </a:cxn>
              <a:cxn ang="0">
                <a:pos x="connsiteX37070" y="connsiteY37070"/>
              </a:cxn>
              <a:cxn ang="0">
                <a:pos x="connsiteX37071" y="connsiteY37071"/>
              </a:cxn>
              <a:cxn ang="0">
                <a:pos x="connsiteX37072" y="connsiteY37072"/>
              </a:cxn>
              <a:cxn ang="0">
                <a:pos x="connsiteX37073" y="connsiteY37073"/>
              </a:cxn>
              <a:cxn ang="0">
                <a:pos x="connsiteX37074" y="connsiteY37074"/>
              </a:cxn>
              <a:cxn ang="0">
                <a:pos x="connsiteX37075" y="connsiteY37075"/>
              </a:cxn>
              <a:cxn ang="0">
                <a:pos x="connsiteX37076" y="connsiteY37076"/>
              </a:cxn>
              <a:cxn ang="0">
                <a:pos x="connsiteX37077" y="connsiteY37077"/>
              </a:cxn>
              <a:cxn ang="0">
                <a:pos x="connsiteX37078" y="connsiteY37078"/>
              </a:cxn>
              <a:cxn ang="0">
                <a:pos x="connsiteX37079" y="connsiteY37079"/>
              </a:cxn>
              <a:cxn ang="0">
                <a:pos x="connsiteX37080" y="connsiteY37080"/>
              </a:cxn>
              <a:cxn ang="0">
                <a:pos x="connsiteX37081" y="connsiteY37081"/>
              </a:cxn>
              <a:cxn ang="0">
                <a:pos x="connsiteX37082" y="connsiteY37082"/>
              </a:cxn>
              <a:cxn ang="0">
                <a:pos x="connsiteX37083" y="connsiteY37083"/>
              </a:cxn>
              <a:cxn ang="0">
                <a:pos x="connsiteX37084" y="connsiteY37084"/>
              </a:cxn>
              <a:cxn ang="0">
                <a:pos x="connsiteX37085" y="connsiteY37085"/>
              </a:cxn>
              <a:cxn ang="0">
                <a:pos x="connsiteX37086" y="connsiteY37086"/>
              </a:cxn>
              <a:cxn ang="0">
                <a:pos x="connsiteX37087" y="connsiteY37087"/>
              </a:cxn>
              <a:cxn ang="0">
                <a:pos x="connsiteX37088" y="connsiteY37088"/>
              </a:cxn>
              <a:cxn ang="0">
                <a:pos x="connsiteX37089" y="connsiteY37089"/>
              </a:cxn>
              <a:cxn ang="0">
                <a:pos x="connsiteX37090" y="connsiteY37090"/>
              </a:cxn>
              <a:cxn ang="0">
                <a:pos x="connsiteX37091" y="connsiteY37091"/>
              </a:cxn>
              <a:cxn ang="0">
                <a:pos x="connsiteX37092" y="connsiteY37092"/>
              </a:cxn>
              <a:cxn ang="0">
                <a:pos x="connsiteX37093" y="connsiteY37093"/>
              </a:cxn>
              <a:cxn ang="0">
                <a:pos x="connsiteX37094" y="connsiteY37094"/>
              </a:cxn>
              <a:cxn ang="0">
                <a:pos x="connsiteX37095" y="connsiteY37095"/>
              </a:cxn>
              <a:cxn ang="0">
                <a:pos x="connsiteX37096" y="connsiteY37096"/>
              </a:cxn>
              <a:cxn ang="0">
                <a:pos x="connsiteX37097" y="connsiteY37097"/>
              </a:cxn>
              <a:cxn ang="0">
                <a:pos x="connsiteX37098" y="connsiteY37098"/>
              </a:cxn>
              <a:cxn ang="0">
                <a:pos x="connsiteX37099" y="connsiteY37099"/>
              </a:cxn>
              <a:cxn ang="0">
                <a:pos x="connsiteX37100" y="connsiteY37100"/>
              </a:cxn>
              <a:cxn ang="0">
                <a:pos x="connsiteX37101" y="connsiteY37101"/>
              </a:cxn>
              <a:cxn ang="0">
                <a:pos x="connsiteX37102" y="connsiteY37102"/>
              </a:cxn>
              <a:cxn ang="0">
                <a:pos x="connsiteX37103" y="connsiteY37103"/>
              </a:cxn>
              <a:cxn ang="0">
                <a:pos x="connsiteX37104" y="connsiteY37104"/>
              </a:cxn>
              <a:cxn ang="0">
                <a:pos x="connsiteX37105" y="connsiteY37105"/>
              </a:cxn>
              <a:cxn ang="0">
                <a:pos x="connsiteX37106" y="connsiteY37106"/>
              </a:cxn>
              <a:cxn ang="0">
                <a:pos x="connsiteX37107" y="connsiteY37107"/>
              </a:cxn>
              <a:cxn ang="0">
                <a:pos x="connsiteX37108" y="connsiteY37108"/>
              </a:cxn>
              <a:cxn ang="0">
                <a:pos x="connsiteX37109" y="connsiteY37109"/>
              </a:cxn>
              <a:cxn ang="0">
                <a:pos x="connsiteX37110" y="connsiteY37110"/>
              </a:cxn>
              <a:cxn ang="0">
                <a:pos x="connsiteX37111" y="connsiteY37111"/>
              </a:cxn>
              <a:cxn ang="0">
                <a:pos x="connsiteX37112" y="connsiteY37112"/>
              </a:cxn>
              <a:cxn ang="0">
                <a:pos x="connsiteX37113" y="connsiteY37113"/>
              </a:cxn>
              <a:cxn ang="0">
                <a:pos x="connsiteX37114" y="connsiteY37114"/>
              </a:cxn>
              <a:cxn ang="0">
                <a:pos x="connsiteX37115" y="connsiteY37115"/>
              </a:cxn>
              <a:cxn ang="0">
                <a:pos x="connsiteX37116" y="connsiteY37116"/>
              </a:cxn>
              <a:cxn ang="0">
                <a:pos x="connsiteX37117" y="connsiteY37117"/>
              </a:cxn>
              <a:cxn ang="0">
                <a:pos x="connsiteX37118" y="connsiteY37118"/>
              </a:cxn>
              <a:cxn ang="0">
                <a:pos x="connsiteX37119" y="connsiteY37119"/>
              </a:cxn>
              <a:cxn ang="0">
                <a:pos x="connsiteX37120" y="connsiteY37120"/>
              </a:cxn>
              <a:cxn ang="0">
                <a:pos x="connsiteX37121" y="connsiteY37121"/>
              </a:cxn>
              <a:cxn ang="0">
                <a:pos x="connsiteX37122" y="connsiteY37122"/>
              </a:cxn>
              <a:cxn ang="0">
                <a:pos x="connsiteX37123" y="connsiteY37123"/>
              </a:cxn>
              <a:cxn ang="0">
                <a:pos x="connsiteX37124" y="connsiteY37124"/>
              </a:cxn>
              <a:cxn ang="0">
                <a:pos x="connsiteX37125" y="connsiteY37125"/>
              </a:cxn>
              <a:cxn ang="0">
                <a:pos x="connsiteX37126" y="connsiteY37126"/>
              </a:cxn>
              <a:cxn ang="0">
                <a:pos x="connsiteX37127" y="connsiteY37127"/>
              </a:cxn>
              <a:cxn ang="0">
                <a:pos x="connsiteX37128" y="connsiteY37128"/>
              </a:cxn>
              <a:cxn ang="0">
                <a:pos x="connsiteX37129" y="connsiteY37129"/>
              </a:cxn>
              <a:cxn ang="0">
                <a:pos x="connsiteX37130" y="connsiteY37130"/>
              </a:cxn>
              <a:cxn ang="0">
                <a:pos x="connsiteX37131" y="connsiteY37131"/>
              </a:cxn>
              <a:cxn ang="0">
                <a:pos x="connsiteX37132" y="connsiteY37132"/>
              </a:cxn>
              <a:cxn ang="0">
                <a:pos x="connsiteX37133" y="connsiteY37133"/>
              </a:cxn>
              <a:cxn ang="0">
                <a:pos x="connsiteX37134" y="connsiteY37134"/>
              </a:cxn>
              <a:cxn ang="0">
                <a:pos x="connsiteX37135" y="connsiteY37135"/>
              </a:cxn>
              <a:cxn ang="0">
                <a:pos x="connsiteX37136" y="connsiteY37136"/>
              </a:cxn>
              <a:cxn ang="0">
                <a:pos x="connsiteX37137" y="connsiteY37137"/>
              </a:cxn>
              <a:cxn ang="0">
                <a:pos x="connsiteX37138" y="connsiteY37138"/>
              </a:cxn>
              <a:cxn ang="0">
                <a:pos x="connsiteX37139" y="connsiteY37139"/>
              </a:cxn>
              <a:cxn ang="0">
                <a:pos x="connsiteX37140" y="connsiteY37140"/>
              </a:cxn>
              <a:cxn ang="0">
                <a:pos x="connsiteX37141" y="connsiteY37141"/>
              </a:cxn>
              <a:cxn ang="0">
                <a:pos x="connsiteX37142" y="connsiteY37142"/>
              </a:cxn>
              <a:cxn ang="0">
                <a:pos x="connsiteX37143" y="connsiteY37143"/>
              </a:cxn>
              <a:cxn ang="0">
                <a:pos x="connsiteX37144" y="connsiteY37144"/>
              </a:cxn>
              <a:cxn ang="0">
                <a:pos x="connsiteX37145" y="connsiteY37145"/>
              </a:cxn>
              <a:cxn ang="0">
                <a:pos x="connsiteX37146" y="connsiteY37146"/>
              </a:cxn>
              <a:cxn ang="0">
                <a:pos x="connsiteX37147" y="connsiteY37147"/>
              </a:cxn>
              <a:cxn ang="0">
                <a:pos x="connsiteX37148" y="connsiteY37148"/>
              </a:cxn>
              <a:cxn ang="0">
                <a:pos x="connsiteX37149" y="connsiteY37149"/>
              </a:cxn>
              <a:cxn ang="0">
                <a:pos x="connsiteX37150" y="connsiteY37150"/>
              </a:cxn>
              <a:cxn ang="0">
                <a:pos x="connsiteX37151" y="connsiteY37151"/>
              </a:cxn>
              <a:cxn ang="0">
                <a:pos x="connsiteX37152" y="connsiteY37152"/>
              </a:cxn>
              <a:cxn ang="0">
                <a:pos x="connsiteX37153" y="connsiteY37153"/>
              </a:cxn>
              <a:cxn ang="0">
                <a:pos x="connsiteX37154" y="connsiteY37154"/>
              </a:cxn>
              <a:cxn ang="0">
                <a:pos x="connsiteX37155" y="connsiteY37155"/>
              </a:cxn>
              <a:cxn ang="0">
                <a:pos x="connsiteX37156" y="connsiteY37156"/>
              </a:cxn>
              <a:cxn ang="0">
                <a:pos x="connsiteX37157" y="connsiteY37157"/>
              </a:cxn>
              <a:cxn ang="0">
                <a:pos x="connsiteX37158" y="connsiteY37158"/>
              </a:cxn>
              <a:cxn ang="0">
                <a:pos x="connsiteX37159" y="connsiteY37159"/>
              </a:cxn>
              <a:cxn ang="0">
                <a:pos x="connsiteX37160" y="connsiteY37160"/>
              </a:cxn>
              <a:cxn ang="0">
                <a:pos x="connsiteX37161" y="connsiteY37161"/>
              </a:cxn>
              <a:cxn ang="0">
                <a:pos x="connsiteX37162" y="connsiteY37162"/>
              </a:cxn>
              <a:cxn ang="0">
                <a:pos x="connsiteX37163" y="connsiteY37163"/>
              </a:cxn>
              <a:cxn ang="0">
                <a:pos x="connsiteX37164" y="connsiteY37164"/>
              </a:cxn>
              <a:cxn ang="0">
                <a:pos x="connsiteX37165" y="connsiteY37165"/>
              </a:cxn>
              <a:cxn ang="0">
                <a:pos x="connsiteX37166" y="connsiteY37166"/>
              </a:cxn>
              <a:cxn ang="0">
                <a:pos x="connsiteX37167" y="connsiteY37167"/>
              </a:cxn>
              <a:cxn ang="0">
                <a:pos x="connsiteX37168" y="connsiteY37168"/>
              </a:cxn>
              <a:cxn ang="0">
                <a:pos x="connsiteX37169" y="connsiteY37169"/>
              </a:cxn>
              <a:cxn ang="0">
                <a:pos x="connsiteX37170" y="connsiteY37170"/>
              </a:cxn>
              <a:cxn ang="0">
                <a:pos x="connsiteX37171" y="connsiteY37171"/>
              </a:cxn>
              <a:cxn ang="0">
                <a:pos x="connsiteX37172" y="connsiteY37172"/>
              </a:cxn>
              <a:cxn ang="0">
                <a:pos x="connsiteX37173" y="connsiteY37173"/>
              </a:cxn>
              <a:cxn ang="0">
                <a:pos x="connsiteX37174" y="connsiteY37174"/>
              </a:cxn>
              <a:cxn ang="0">
                <a:pos x="connsiteX37175" y="connsiteY37175"/>
              </a:cxn>
              <a:cxn ang="0">
                <a:pos x="connsiteX37176" y="connsiteY37176"/>
              </a:cxn>
              <a:cxn ang="0">
                <a:pos x="connsiteX37177" y="connsiteY37177"/>
              </a:cxn>
              <a:cxn ang="0">
                <a:pos x="connsiteX37178" y="connsiteY37178"/>
              </a:cxn>
              <a:cxn ang="0">
                <a:pos x="connsiteX37179" y="connsiteY37179"/>
              </a:cxn>
              <a:cxn ang="0">
                <a:pos x="connsiteX37180" y="connsiteY37180"/>
              </a:cxn>
              <a:cxn ang="0">
                <a:pos x="connsiteX37181" y="connsiteY37181"/>
              </a:cxn>
              <a:cxn ang="0">
                <a:pos x="connsiteX37182" y="connsiteY37182"/>
              </a:cxn>
              <a:cxn ang="0">
                <a:pos x="connsiteX37183" y="connsiteY37183"/>
              </a:cxn>
              <a:cxn ang="0">
                <a:pos x="connsiteX37184" y="connsiteY37184"/>
              </a:cxn>
              <a:cxn ang="0">
                <a:pos x="connsiteX37185" y="connsiteY37185"/>
              </a:cxn>
              <a:cxn ang="0">
                <a:pos x="connsiteX37186" y="connsiteY37186"/>
              </a:cxn>
              <a:cxn ang="0">
                <a:pos x="connsiteX37187" y="connsiteY37187"/>
              </a:cxn>
              <a:cxn ang="0">
                <a:pos x="connsiteX37188" y="connsiteY37188"/>
              </a:cxn>
              <a:cxn ang="0">
                <a:pos x="connsiteX37189" y="connsiteY37189"/>
              </a:cxn>
              <a:cxn ang="0">
                <a:pos x="connsiteX37190" y="connsiteY37190"/>
              </a:cxn>
              <a:cxn ang="0">
                <a:pos x="connsiteX37191" y="connsiteY37191"/>
              </a:cxn>
              <a:cxn ang="0">
                <a:pos x="connsiteX37192" y="connsiteY37192"/>
              </a:cxn>
              <a:cxn ang="0">
                <a:pos x="connsiteX37193" y="connsiteY37193"/>
              </a:cxn>
              <a:cxn ang="0">
                <a:pos x="connsiteX37194" y="connsiteY37194"/>
              </a:cxn>
              <a:cxn ang="0">
                <a:pos x="connsiteX37195" y="connsiteY37195"/>
              </a:cxn>
              <a:cxn ang="0">
                <a:pos x="connsiteX37196" y="connsiteY37196"/>
              </a:cxn>
              <a:cxn ang="0">
                <a:pos x="connsiteX37197" y="connsiteY37197"/>
              </a:cxn>
              <a:cxn ang="0">
                <a:pos x="connsiteX37198" y="connsiteY37198"/>
              </a:cxn>
              <a:cxn ang="0">
                <a:pos x="connsiteX37199" y="connsiteY37199"/>
              </a:cxn>
              <a:cxn ang="0">
                <a:pos x="connsiteX37200" y="connsiteY37200"/>
              </a:cxn>
              <a:cxn ang="0">
                <a:pos x="connsiteX37201" y="connsiteY37201"/>
              </a:cxn>
              <a:cxn ang="0">
                <a:pos x="connsiteX37202" y="connsiteY37202"/>
              </a:cxn>
              <a:cxn ang="0">
                <a:pos x="connsiteX37203" y="connsiteY37203"/>
              </a:cxn>
              <a:cxn ang="0">
                <a:pos x="connsiteX37204" y="connsiteY37204"/>
              </a:cxn>
              <a:cxn ang="0">
                <a:pos x="connsiteX37205" y="connsiteY37205"/>
              </a:cxn>
              <a:cxn ang="0">
                <a:pos x="connsiteX37206" y="connsiteY37206"/>
              </a:cxn>
              <a:cxn ang="0">
                <a:pos x="connsiteX37207" y="connsiteY37207"/>
              </a:cxn>
              <a:cxn ang="0">
                <a:pos x="connsiteX37208" y="connsiteY37208"/>
              </a:cxn>
              <a:cxn ang="0">
                <a:pos x="connsiteX37209" y="connsiteY37209"/>
              </a:cxn>
              <a:cxn ang="0">
                <a:pos x="connsiteX37210" y="connsiteY37210"/>
              </a:cxn>
              <a:cxn ang="0">
                <a:pos x="connsiteX37211" y="connsiteY37211"/>
              </a:cxn>
              <a:cxn ang="0">
                <a:pos x="connsiteX37212" y="connsiteY37212"/>
              </a:cxn>
              <a:cxn ang="0">
                <a:pos x="connsiteX37213" y="connsiteY37213"/>
              </a:cxn>
              <a:cxn ang="0">
                <a:pos x="connsiteX37214" y="connsiteY37214"/>
              </a:cxn>
              <a:cxn ang="0">
                <a:pos x="connsiteX37215" y="connsiteY37215"/>
              </a:cxn>
              <a:cxn ang="0">
                <a:pos x="connsiteX37216" y="connsiteY37216"/>
              </a:cxn>
              <a:cxn ang="0">
                <a:pos x="connsiteX37217" y="connsiteY37217"/>
              </a:cxn>
              <a:cxn ang="0">
                <a:pos x="connsiteX37218" y="connsiteY37218"/>
              </a:cxn>
              <a:cxn ang="0">
                <a:pos x="connsiteX37219" y="connsiteY37219"/>
              </a:cxn>
              <a:cxn ang="0">
                <a:pos x="connsiteX37220" y="connsiteY37220"/>
              </a:cxn>
              <a:cxn ang="0">
                <a:pos x="connsiteX37221" y="connsiteY37221"/>
              </a:cxn>
              <a:cxn ang="0">
                <a:pos x="connsiteX37222" y="connsiteY37222"/>
              </a:cxn>
              <a:cxn ang="0">
                <a:pos x="connsiteX37223" y="connsiteY37223"/>
              </a:cxn>
              <a:cxn ang="0">
                <a:pos x="connsiteX37224" y="connsiteY37224"/>
              </a:cxn>
              <a:cxn ang="0">
                <a:pos x="connsiteX37225" y="connsiteY37225"/>
              </a:cxn>
              <a:cxn ang="0">
                <a:pos x="connsiteX37226" y="connsiteY37226"/>
              </a:cxn>
              <a:cxn ang="0">
                <a:pos x="connsiteX37227" y="connsiteY37227"/>
              </a:cxn>
              <a:cxn ang="0">
                <a:pos x="connsiteX37228" y="connsiteY37228"/>
              </a:cxn>
              <a:cxn ang="0">
                <a:pos x="connsiteX37229" y="connsiteY37229"/>
              </a:cxn>
              <a:cxn ang="0">
                <a:pos x="connsiteX37230" y="connsiteY37230"/>
              </a:cxn>
              <a:cxn ang="0">
                <a:pos x="connsiteX37231" y="connsiteY37231"/>
              </a:cxn>
              <a:cxn ang="0">
                <a:pos x="connsiteX37232" y="connsiteY37232"/>
              </a:cxn>
              <a:cxn ang="0">
                <a:pos x="connsiteX37233" y="connsiteY37233"/>
              </a:cxn>
              <a:cxn ang="0">
                <a:pos x="connsiteX37234" y="connsiteY37234"/>
              </a:cxn>
              <a:cxn ang="0">
                <a:pos x="connsiteX37235" y="connsiteY37235"/>
              </a:cxn>
              <a:cxn ang="0">
                <a:pos x="connsiteX37236" y="connsiteY37236"/>
              </a:cxn>
              <a:cxn ang="0">
                <a:pos x="connsiteX37237" y="connsiteY37237"/>
              </a:cxn>
              <a:cxn ang="0">
                <a:pos x="connsiteX37238" y="connsiteY37238"/>
              </a:cxn>
              <a:cxn ang="0">
                <a:pos x="connsiteX37239" y="connsiteY37239"/>
              </a:cxn>
              <a:cxn ang="0">
                <a:pos x="connsiteX37240" y="connsiteY37240"/>
              </a:cxn>
              <a:cxn ang="0">
                <a:pos x="connsiteX37241" y="connsiteY37241"/>
              </a:cxn>
              <a:cxn ang="0">
                <a:pos x="connsiteX37242" y="connsiteY37242"/>
              </a:cxn>
              <a:cxn ang="0">
                <a:pos x="connsiteX37243" y="connsiteY37243"/>
              </a:cxn>
              <a:cxn ang="0">
                <a:pos x="connsiteX37244" y="connsiteY37244"/>
              </a:cxn>
              <a:cxn ang="0">
                <a:pos x="connsiteX37245" y="connsiteY37245"/>
              </a:cxn>
              <a:cxn ang="0">
                <a:pos x="connsiteX37246" y="connsiteY37246"/>
              </a:cxn>
              <a:cxn ang="0">
                <a:pos x="connsiteX37247" y="connsiteY37247"/>
              </a:cxn>
              <a:cxn ang="0">
                <a:pos x="connsiteX37248" y="connsiteY37248"/>
              </a:cxn>
              <a:cxn ang="0">
                <a:pos x="connsiteX37249" y="connsiteY37249"/>
              </a:cxn>
              <a:cxn ang="0">
                <a:pos x="connsiteX37250" y="connsiteY37250"/>
              </a:cxn>
              <a:cxn ang="0">
                <a:pos x="connsiteX37251" y="connsiteY37251"/>
              </a:cxn>
              <a:cxn ang="0">
                <a:pos x="connsiteX37252" y="connsiteY37252"/>
              </a:cxn>
              <a:cxn ang="0">
                <a:pos x="connsiteX37253" y="connsiteY37253"/>
              </a:cxn>
              <a:cxn ang="0">
                <a:pos x="connsiteX37254" y="connsiteY37254"/>
              </a:cxn>
              <a:cxn ang="0">
                <a:pos x="connsiteX37255" y="connsiteY37255"/>
              </a:cxn>
              <a:cxn ang="0">
                <a:pos x="connsiteX37256" y="connsiteY37256"/>
              </a:cxn>
              <a:cxn ang="0">
                <a:pos x="connsiteX37257" y="connsiteY37257"/>
              </a:cxn>
              <a:cxn ang="0">
                <a:pos x="connsiteX37258" y="connsiteY37258"/>
              </a:cxn>
              <a:cxn ang="0">
                <a:pos x="connsiteX37259" y="connsiteY37259"/>
              </a:cxn>
              <a:cxn ang="0">
                <a:pos x="connsiteX37260" y="connsiteY37260"/>
              </a:cxn>
              <a:cxn ang="0">
                <a:pos x="connsiteX37261" y="connsiteY37261"/>
              </a:cxn>
              <a:cxn ang="0">
                <a:pos x="connsiteX37262" y="connsiteY37262"/>
              </a:cxn>
              <a:cxn ang="0">
                <a:pos x="connsiteX37263" y="connsiteY37263"/>
              </a:cxn>
              <a:cxn ang="0">
                <a:pos x="connsiteX37264" y="connsiteY37264"/>
              </a:cxn>
              <a:cxn ang="0">
                <a:pos x="connsiteX37265" y="connsiteY37265"/>
              </a:cxn>
              <a:cxn ang="0">
                <a:pos x="connsiteX37266" y="connsiteY37266"/>
              </a:cxn>
              <a:cxn ang="0">
                <a:pos x="connsiteX37267" y="connsiteY37267"/>
              </a:cxn>
              <a:cxn ang="0">
                <a:pos x="connsiteX37268" y="connsiteY37268"/>
              </a:cxn>
              <a:cxn ang="0">
                <a:pos x="connsiteX37269" y="connsiteY37269"/>
              </a:cxn>
              <a:cxn ang="0">
                <a:pos x="connsiteX37270" y="connsiteY37270"/>
              </a:cxn>
              <a:cxn ang="0">
                <a:pos x="connsiteX37271" y="connsiteY37271"/>
              </a:cxn>
              <a:cxn ang="0">
                <a:pos x="connsiteX37272" y="connsiteY37272"/>
              </a:cxn>
              <a:cxn ang="0">
                <a:pos x="connsiteX37273" y="connsiteY37273"/>
              </a:cxn>
              <a:cxn ang="0">
                <a:pos x="connsiteX37274" y="connsiteY37274"/>
              </a:cxn>
              <a:cxn ang="0">
                <a:pos x="connsiteX37275" y="connsiteY37275"/>
              </a:cxn>
              <a:cxn ang="0">
                <a:pos x="connsiteX37276" y="connsiteY37276"/>
              </a:cxn>
              <a:cxn ang="0">
                <a:pos x="connsiteX37277" y="connsiteY37277"/>
              </a:cxn>
              <a:cxn ang="0">
                <a:pos x="connsiteX37278" y="connsiteY37278"/>
              </a:cxn>
              <a:cxn ang="0">
                <a:pos x="connsiteX37279" y="connsiteY37279"/>
              </a:cxn>
              <a:cxn ang="0">
                <a:pos x="connsiteX37280" y="connsiteY37280"/>
              </a:cxn>
              <a:cxn ang="0">
                <a:pos x="connsiteX37281" y="connsiteY37281"/>
              </a:cxn>
              <a:cxn ang="0">
                <a:pos x="connsiteX37282" y="connsiteY37282"/>
              </a:cxn>
              <a:cxn ang="0">
                <a:pos x="connsiteX37283" y="connsiteY37283"/>
              </a:cxn>
              <a:cxn ang="0">
                <a:pos x="connsiteX37284" y="connsiteY37284"/>
              </a:cxn>
              <a:cxn ang="0">
                <a:pos x="connsiteX37285" y="connsiteY37285"/>
              </a:cxn>
              <a:cxn ang="0">
                <a:pos x="connsiteX37286" y="connsiteY37286"/>
              </a:cxn>
              <a:cxn ang="0">
                <a:pos x="connsiteX37287" y="connsiteY37287"/>
              </a:cxn>
              <a:cxn ang="0">
                <a:pos x="connsiteX37288" y="connsiteY37288"/>
              </a:cxn>
              <a:cxn ang="0">
                <a:pos x="connsiteX37289" y="connsiteY37289"/>
              </a:cxn>
              <a:cxn ang="0">
                <a:pos x="connsiteX37290" y="connsiteY37290"/>
              </a:cxn>
              <a:cxn ang="0">
                <a:pos x="connsiteX37291" y="connsiteY37291"/>
              </a:cxn>
              <a:cxn ang="0">
                <a:pos x="connsiteX37292" y="connsiteY37292"/>
              </a:cxn>
              <a:cxn ang="0">
                <a:pos x="connsiteX37293" y="connsiteY37293"/>
              </a:cxn>
              <a:cxn ang="0">
                <a:pos x="connsiteX37294" y="connsiteY37294"/>
              </a:cxn>
              <a:cxn ang="0">
                <a:pos x="connsiteX37295" y="connsiteY37295"/>
              </a:cxn>
              <a:cxn ang="0">
                <a:pos x="connsiteX37296" y="connsiteY37296"/>
              </a:cxn>
              <a:cxn ang="0">
                <a:pos x="connsiteX37297" y="connsiteY37297"/>
              </a:cxn>
              <a:cxn ang="0">
                <a:pos x="connsiteX37298" y="connsiteY37298"/>
              </a:cxn>
              <a:cxn ang="0">
                <a:pos x="connsiteX37299" y="connsiteY37299"/>
              </a:cxn>
              <a:cxn ang="0">
                <a:pos x="connsiteX37300" y="connsiteY37300"/>
              </a:cxn>
              <a:cxn ang="0">
                <a:pos x="connsiteX37301" y="connsiteY37301"/>
              </a:cxn>
              <a:cxn ang="0">
                <a:pos x="connsiteX37302" y="connsiteY37302"/>
              </a:cxn>
              <a:cxn ang="0">
                <a:pos x="connsiteX37303" y="connsiteY37303"/>
              </a:cxn>
              <a:cxn ang="0">
                <a:pos x="connsiteX37304" y="connsiteY37304"/>
              </a:cxn>
              <a:cxn ang="0">
                <a:pos x="connsiteX37305" y="connsiteY37305"/>
              </a:cxn>
              <a:cxn ang="0">
                <a:pos x="connsiteX37306" y="connsiteY37306"/>
              </a:cxn>
              <a:cxn ang="0">
                <a:pos x="connsiteX37307" y="connsiteY37307"/>
              </a:cxn>
              <a:cxn ang="0">
                <a:pos x="connsiteX37308" y="connsiteY37308"/>
              </a:cxn>
              <a:cxn ang="0">
                <a:pos x="connsiteX37309" y="connsiteY37309"/>
              </a:cxn>
              <a:cxn ang="0">
                <a:pos x="connsiteX37310" y="connsiteY37310"/>
              </a:cxn>
              <a:cxn ang="0">
                <a:pos x="connsiteX37311" y="connsiteY37311"/>
              </a:cxn>
              <a:cxn ang="0">
                <a:pos x="connsiteX37312" y="connsiteY37312"/>
              </a:cxn>
              <a:cxn ang="0">
                <a:pos x="connsiteX37313" y="connsiteY37313"/>
              </a:cxn>
              <a:cxn ang="0">
                <a:pos x="connsiteX37314" y="connsiteY37314"/>
              </a:cxn>
              <a:cxn ang="0">
                <a:pos x="connsiteX37315" y="connsiteY37315"/>
              </a:cxn>
              <a:cxn ang="0">
                <a:pos x="connsiteX37316" y="connsiteY37316"/>
              </a:cxn>
              <a:cxn ang="0">
                <a:pos x="connsiteX37317" y="connsiteY37317"/>
              </a:cxn>
              <a:cxn ang="0">
                <a:pos x="connsiteX37318" y="connsiteY37318"/>
              </a:cxn>
              <a:cxn ang="0">
                <a:pos x="connsiteX37319" y="connsiteY37319"/>
              </a:cxn>
              <a:cxn ang="0">
                <a:pos x="connsiteX37320" y="connsiteY37320"/>
              </a:cxn>
              <a:cxn ang="0">
                <a:pos x="connsiteX37321" y="connsiteY37321"/>
              </a:cxn>
              <a:cxn ang="0">
                <a:pos x="connsiteX37322" y="connsiteY37322"/>
              </a:cxn>
              <a:cxn ang="0">
                <a:pos x="connsiteX37323" y="connsiteY37323"/>
              </a:cxn>
              <a:cxn ang="0">
                <a:pos x="connsiteX37324" y="connsiteY37324"/>
              </a:cxn>
              <a:cxn ang="0">
                <a:pos x="connsiteX37325" y="connsiteY37325"/>
              </a:cxn>
              <a:cxn ang="0">
                <a:pos x="connsiteX37326" y="connsiteY37326"/>
              </a:cxn>
              <a:cxn ang="0">
                <a:pos x="connsiteX37327" y="connsiteY37327"/>
              </a:cxn>
              <a:cxn ang="0">
                <a:pos x="connsiteX37328" y="connsiteY37328"/>
              </a:cxn>
              <a:cxn ang="0">
                <a:pos x="connsiteX37329" y="connsiteY37329"/>
              </a:cxn>
              <a:cxn ang="0">
                <a:pos x="connsiteX37330" y="connsiteY37330"/>
              </a:cxn>
              <a:cxn ang="0">
                <a:pos x="connsiteX37331" y="connsiteY37331"/>
              </a:cxn>
              <a:cxn ang="0">
                <a:pos x="connsiteX37332" y="connsiteY37332"/>
              </a:cxn>
              <a:cxn ang="0">
                <a:pos x="connsiteX37333" y="connsiteY37333"/>
              </a:cxn>
              <a:cxn ang="0">
                <a:pos x="connsiteX37334" y="connsiteY37334"/>
              </a:cxn>
              <a:cxn ang="0">
                <a:pos x="connsiteX37335" y="connsiteY37335"/>
              </a:cxn>
              <a:cxn ang="0">
                <a:pos x="connsiteX37336" y="connsiteY37336"/>
              </a:cxn>
              <a:cxn ang="0">
                <a:pos x="connsiteX37337" y="connsiteY37337"/>
              </a:cxn>
              <a:cxn ang="0">
                <a:pos x="connsiteX37338" y="connsiteY37338"/>
              </a:cxn>
              <a:cxn ang="0">
                <a:pos x="connsiteX37339" y="connsiteY37339"/>
              </a:cxn>
              <a:cxn ang="0">
                <a:pos x="connsiteX37340" y="connsiteY37340"/>
              </a:cxn>
              <a:cxn ang="0">
                <a:pos x="connsiteX37341" y="connsiteY37341"/>
              </a:cxn>
              <a:cxn ang="0">
                <a:pos x="connsiteX37342" y="connsiteY37342"/>
              </a:cxn>
              <a:cxn ang="0">
                <a:pos x="connsiteX37343" y="connsiteY37343"/>
              </a:cxn>
              <a:cxn ang="0">
                <a:pos x="connsiteX37344" y="connsiteY37344"/>
              </a:cxn>
              <a:cxn ang="0">
                <a:pos x="connsiteX37345" y="connsiteY37345"/>
              </a:cxn>
              <a:cxn ang="0">
                <a:pos x="connsiteX37346" y="connsiteY37346"/>
              </a:cxn>
              <a:cxn ang="0">
                <a:pos x="connsiteX37347" y="connsiteY37347"/>
              </a:cxn>
              <a:cxn ang="0">
                <a:pos x="connsiteX37348" y="connsiteY37348"/>
              </a:cxn>
              <a:cxn ang="0">
                <a:pos x="connsiteX37349" y="connsiteY37349"/>
              </a:cxn>
              <a:cxn ang="0">
                <a:pos x="connsiteX37350" y="connsiteY37350"/>
              </a:cxn>
              <a:cxn ang="0">
                <a:pos x="connsiteX37351" y="connsiteY37351"/>
              </a:cxn>
              <a:cxn ang="0">
                <a:pos x="connsiteX37352" y="connsiteY37352"/>
              </a:cxn>
              <a:cxn ang="0">
                <a:pos x="connsiteX37353" y="connsiteY37353"/>
              </a:cxn>
              <a:cxn ang="0">
                <a:pos x="connsiteX37354" y="connsiteY37354"/>
              </a:cxn>
              <a:cxn ang="0">
                <a:pos x="connsiteX37355" y="connsiteY37355"/>
              </a:cxn>
              <a:cxn ang="0">
                <a:pos x="connsiteX37356" y="connsiteY37356"/>
              </a:cxn>
              <a:cxn ang="0">
                <a:pos x="connsiteX37357" y="connsiteY37357"/>
              </a:cxn>
              <a:cxn ang="0">
                <a:pos x="connsiteX37358" y="connsiteY37358"/>
              </a:cxn>
              <a:cxn ang="0">
                <a:pos x="connsiteX37359" y="connsiteY37359"/>
              </a:cxn>
              <a:cxn ang="0">
                <a:pos x="connsiteX37360" y="connsiteY37360"/>
              </a:cxn>
              <a:cxn ang="0">
                <a:pos x="connsiteX37361" y="connsiteY37361"/>
              </a:cxn>
              <a:cxn ang="0">
                <a:pos x="connsiteX37362" y="connsiteY37362"/>
              </a:cxn>
              <a:cxn ang="0">
                <a:pos x="connsiteX37363" y="connsiteY37363"/>
              </a:cxn>
              <a:cxn ang="0">
                <a:pos x="connsiteX37364" y="connsiteY37364"/>
              </a:cxn>
              <a:cxn ang="0">
                <a:pos x="connsiteX37365" y="connsiteY37365"/>
              </a:cxn>
              <a:cxn ang="0">
                <a:pos x="connsiteX37366" y="connsiteY37366"/>
              </a:cxn>
              <a:cxn ang="0">
                <a:pos x="connsiteX37367" y="connsiteY37367"/>
              </a:cxn>
              <a:cxn ang="0">
                <a:pos x="connsiteX37368" y="connsiteY37368"/>
              </a:cxn>
              <a:cxn ang="0">
                <a:pos x="connsiteX37369" y="connsiteY37369"/>
              </a:cxn>
              <a:cxn ang="0">
                <a:pos x="connsiteX37370" y="connsiteY37370"/>
              </a:cxn>
              <a:cxn ang="0">
                <a:pos x="connsiteX37371" y="connsiteY37371"/>
              </a:cxn>
              <a:cxn ang="0">
                <a:pos x="connsiteX37372" y="connsiteY37372"/>
              </a:cxn>
              <a:cxn ang="0">
                <a:pos x="connsiteX37373" y="connsiteY37373"/>
              </a:cxn>
              <a:cxn ang="0">
                <a:pos x="connsiteX37374" y="connsiteY37374"/>
              </a:cxn>
              <a:cxn ang="0">
                <a:pos x="connsiteX37375" y="connsiteY37375"/>
              </a:cxn>
              <a:cxn ang="0">
                <a:pos x="connsiteX37376" y="connsiteY37376"/>
              </a:cxn>
              <a:cxn ang="0">
                <a:pos x="connsiteX37377" y="connsiteY37377"/>
              </a:cxn>
              <a:cxn ang="0">
                <a:pos x="connsiteX37378" y="connsiteY37378"/>
              </a:cxn>
              <a:cxn ang="0">
                <a:pos x="connsiteX37379" y="connsiteY37379"/>
              </a:cxn>
              <a:cxn ang="0">
                <a:pos x="connsiteX37380" y="connsiteY37380"/>
              </a:cxn>
              <a:cxn ang="0">
                <a:pos x="connsiteX37381" y="connsiteY37381"/>
              </a:cxn>
              <a:cxn ang="0">
                <a:pos x="connsiteX37382" y="connsiteY37382"/>
              </a:cxn>
              <a:cxn ang="0">
                <a:pos x="connsiteX37383" y="connsiteY37383"/>
              </a:cxn>
              <a:cxn ang="0">
                <a:pos x="connsiteX37384" y="connsiteY37384"/>
              </a:cxn>
              <a:cxn ang="0">
                <a:pos x="connsiteX37385" y="connsiteY37385"/>
              </a:cxn>
              <a:cxn ang="0">
                <a:pos x="connsiteX37386" y="connsiteY37386"/>
              </a:cxn>
              <a:cxn ang="0">
                <a:pos x="connsiteX37387" y="connsiteY37387"/>
              </a:cxn>
              <a:cxn ang="0">
                <a:pos x="connsiteX37388" y="connsiteY37388"/>
              </a:cxn>
              <a:cxn ang="0">
                <a:pos x="connsiteX37389" y="connsiteY37389"/>
              </a:cxn>
              <a:cxn ang="0">
                <a:pos x="connsiteX37390" y="connsiteY37390"/>
              </a:cxn>
              <a:cxn ang="0">
                <a:pos x="connsiteX37391" y="connsiteY37391"/>
              </a:cxn>
              <a:cxn ang="0">
                <a:pos x="connsiteX37392" y="connsiteY37392"/>
              </a:cxn>
              <a:cxn ang="0">
                <a:pos x="connsiteX37393" y="connsiteY37393"/>
              </a:cxn>
              <a:cxn ang="0">
                <a:pos x="connsiteX37394" y="connsiteY37394"/>
              </a:cxn>
              <a:cxn ang="0">
                <a:pos x="connsiteX37395" y="connsiteY37395"/>
              </a:cxn>
              <a:cxn ang="0">
                <a:pos x="connsiteX37396" y="connsiteY37396"/>
              </a:cxn>
              <a:cxn ang="0">
                <a:pos x="connsiteX37397" y="connsiteY37397"/>
              </a:cxn>
              <a:cxn ang="0">
                <a:pos x="connsiteX37398" y="connsiteY37398"/>
              </a:cxn>
              <a:cxn ang="0">
                <a:pos x="connsiteX37399" y="connsiteY37399"/>
              </a:cxn>
              <a:cxn ang="0">
                <a:pos x="connsiteX37400" y="connsiteY37400"/>
              </a:cxn>
              <a:cxn ang="0">
                <a:pos x="connsiteX37401" y="connsiteY37401"/>
              </a:cxn>
              <a:cxn ang="0">
                <a:pos x="connsiteX37402" y="connsiteY37402"/>
              </a:cxn>
              <a:cxn ang="0">
                <a:pos x="connsiteX37403" y="connsiteY37403"/>
              </a:cxn>
              <a:cxn ang="0">
                <a:pos x="connsiteX37404" y="connsiteY37404"/>
              </a:cxn>
              <a:cxn ang="0">
                <a:pos x="connsiteX37405" y="connsiteY37405"/>
              </a:cxn>
              <a:cxn ang="0">
                <a:pos x="connsiteX37406" y="connsiteY37406"/>
              </a:cxn>
              <a:cxn ang="0">
                <a:pos x="connsiteX37407" y="connsiteY37407"/>
              </a:cxn>
              <a:cxn ang="0">
                <a:pos x="connsiteX37408" y="connsiteY37408"/>
              </a:cxn>
              <a:cxn ang="0">
                <a:pos x="connsiteX37409" y="connsiteY37409"/>
              </a:cxn>
              <a:cxn ang="0">
                <a:pos x="connsiteX37410" y="connsiteY37410"/>
              </a:cxn>
              <a:cxn ang="0">
                <a:pos x="connsiteX37411" y="connsiteY37411"/>
              </a:cxn>
              <a:cxn ang="0">
                <a:pos x="connsiteX37412" y="connsiteY37412"/>
              </a:cxn>
              <a:cxn ang="0">
                <a:pos x="connsiteX37413" y="connsiteY37413"/>
              </a:cxn>
              <a:cxn ang="0">
                <a:pos x="connsiteX37414" y="connsiteY37414"/>
              </a:cxn>
              <a:cxn ang="0">
                <a:pos x="connsiteX37415" y="connsiteY37415"/>
              </a:cxn>
              <a:cxn ang="0">
                <a:pos x="connsiteX37416" y="connsiteY37416"/>
              </a:cxn>
              <a:cxn ang="0">
                <a:pos x="connsiteX37417" y="connsiteY37417"/>
              </a:cxn>
              <a:cxn ang="0">
                <a:pos x="connsiteX37418" y="connsiteY37418"/>
              </a:cxn>
              <a:cxn ang="0">
                <a:pos x="connsiteX37419" y="connsiteY37419"/>
              </a:cxn>
              <a:cxn ang="0">
                <a:pos x="connsiteX37420" y="connsiteY37420"/>
              </a:cxn>
              <a:cxn ang="0">
                <a:pos x="connsiteX37421" y="connsiteY37421"/>
              </a:cxn>
              <a:cxn ang="0">
                <a:pos x="connsiteX37422" y="connsiteY37422"/>
              </a:cxn>
              <a:cxn ang="0">
                <a:pos x="connsiteX37423" y="connsiteY37423"/>
              </a:cxn>
              <a:cxn ang="0">
                <a:pos x="connsiteX37424" y="connsiteY37424"/>
              </a:cxn>
              <a:cxn ang="0">
                <a:pos x="connsiteX37425" y="connsiteY37425"/>
              </a:cxn>
              <a:cxn ang="0">
                <a:pos x="connsiteX37426" y="connsiteY37426"/>
              </a:cxn>
              <a:cxn ang="0">
                <a:pos x="connsiteX37427" y="connsiteY37427"/>
              </a:cxn>
              <a:cxn ang="0">
                <a:pos x="connsiteX37428" y="connsiteY37428"/>
              </a:cxn>
              <a:cxn ang="0">
                <a:pos x="connsiteX37429" y="connsiteY37429"/>
              </a:cxn>
              <a:cxn ang="0">
                <a:pos x="connsiteX37430" y="connsiteY37430"/>
              </a:cxn>
              <a:cxn ang="0">
                <a:pos x="connsiteX37431" y="connsiteY37431"/>
              </a:cxn>
              <a:cxn ang="0">
                <a:pos x="connsiteX37432" y="connsiteY37432"/>
              </a:cxn>
              <a:cxn ang="0">
                <a:pos x="connsiteX37433" y="connsiteY37433"/>
              </a:cxn>
              <a:cxn ang="0">
                <a:pos x="connsiteX37434" y="connsiteY37434"/>
              </a:cxn>
              <a:cxn ang="0">
                <a:pos x="connsiteX37435" y="connsiteY37435"/>
              </a:cxn>
              <a:cxn ang="0">
                <a:pos x="connsiteX37436" y="connsiteY37436"/>
              </a:cxn>
              <a:cxn ang="0">
                <a:pos x="connsiteX37437" y="connsiteY37437"/>
              </a:cxn>
              <a:cxn ang="0">
                <a:pos x="connsiteX37438" y="connsiteY37438"/>
              </a:cxn>
              <a:cxn ang="0">
                <a:pos x="connsiteX37439" y="connsiteY37439"/>
              </a:cxn>
              <a:cxn ang="0">
                <a:pos x="connsiteX37440" y="connsiteY37440"/>
              </a:cxn>
              <a:cxn ang="0">
                <a:pos x="connsiteX37441" y="connsiteY37441"/>
              </a:cxn>
              <a:cxn ang="0">
                <a:pos x="connsiteX37442" y="connsiteY37442"/>
              </a:cxn>
              <a:cxn ang="0">
                <a:pos x="connsiteX37443" y="connsiteY37443"/>
              </a:cxn>
              <a:cxn ang="0">
                <a:pos x="connsiteX37444" y="connsiteY37444"/>
              </a:cxn>
              <a:cxn ang="0">
                <a:pos x="connsiteX37445" y="connsiteY37445"/>
              </a:cxn>
              <a:cxn ang="0">
                <a:pos x="connsiteX37446" y="connsiteY37446"/>
              </a:cxn>
              <a:cxn ang="0">
                <a:pos x="connsiteX37447" y="connsiteY37447"/>
              </a:cxn>
              <a:cxn ang="0">
                <a:pos x="connsiteX37448" y="connsiteY37448"/>
              </a:cxn>
              <a:cxn ang="0">
                <a:pos x="connsiteX37449" y="connsiteY37449"/>
              </a:cxn>
              <a:cxn ang="0">
                <a:pos x="connsiteX37450" y="connsiteY37450"/>
              </a:cxn>
              <a:cxn ang="0">
                <a:pos x="connsiteX37451" y="connsiteY37451"/>
              </a:cxn>
              <a:cxn ang="0">
                <a:pos x="connsiteX37452" y="connsiteY37452"/>
              </a:cxn>
              <a:cxn ang="0">
                <a:pos x="connsiteX37453" y="connsiteY37453"/>
              </a:cxn>
              <a:cxn ang="0">
                <a:pos x="connsiteX37454" y="connsiteY37454"/>
              </a:cxn>
              <a:cxn ang="0">
                <a:pos x="connsiteX37455" y="connsiteY37455"/>
              </a:cxn>
              <a:cxn ang="0">
                <a:pos x="connsiteX37456" y="connsiteY37456"/>
              </a:cxn>
              <a:cxn ang="0">
                <a:pos x="connsiteX37457" y="connsiteY37457"/>
              </a:cxn>
              <a:cxn ang="0">
                <a:pos x="connsiteX37458" y="connsiteY37458"/>
              </a:cxn>
              <a:cxn ang="0">
                <a:pos x="connsiteX37459" y="connsiteY37459"/>
              </a:cxn>
              <a:cxn ang="0">
                <a:pos x="connsiteX37460" y="connsiteY37460"/>
              </a:cxn>
              <a:cxn ang="0">
                <a:pos x="connsiteX37461" y="connsiteY37461"/>
              </a:cxn>
              <a:cxn ang="0">
                <a:pos x="connsiteX37462" y="connsiteY37462"/>
              </a:cxn>
              <a:cxn ang="0">
                <a:pos x="connsiteX37463" y="connsiteY37463"/>
              </a:cxn>
              <a:cxn ang="0">
                <a:pos x="connsiteX37464" y="connsiteY37464"/>
              </a:cxn>
              <a:cxn ang="0">
                <a:pos x="connsiteX37465" y="connsiteY37465"/>
              </a:cxn>
              <a:cxn ang="0">
                <a:pos x="connsiteX37466" y="connsiteY37466"/>
              </a:cxn>
              <a:cxn ang="0">
                <a:pos x="connsiteX37467" y="connsiteY37467"/>
              </a:cxn>
              <a:cxn ang="0">
                <a:pos x="connsiteX37468" y="connsiteY37468"/>
              </a:cxn>
              <a:cxn ang="0">
                <a:pos x="connsiteX37469" y="connsiteY37469"/>
              </a:cxn>
              <a:cxn ang="0">
                <a:pos x="connsiteX37470" y="connsiteY37470"/>
              </a:cxn>
              <a:cxn ang="0">
                <a:pos x="connsiteX37471" y="connsiteY37471"/>
              </a:cxn>
              <a:cxn ang="0">
                <a:pos x="connsiteX37472" y="connsiteY37472"/>
              </a:cxn>
              <a:cxn ang="0">
                <a:pos x="connsiteX37473" y="connsiteY37473"/>
              </a:cxn>
              <a:cxn ang="0">
                <a:pos x="connsiteX37474" y="connsiteY37474"/>
              </a:cxn>
              <a:cxn ang="0">
                <a:pos x="connsiteX37475" y="connsiteY37475"/>
              </a:cxn>
              <a:cxn ang="0">
                <a:pos x="connsiteX37476" y="connsiteY37476"/>
              </a:cxn>
              <a:cxn ang="0">
                <a:pos x="connsiteX37477" y="connsiteY37477"/>
              </a:cxn>
              <a:cxn ang="0">
                <a:pos x="connsiteX37478" y="connsiteY37478"/>
              </a:cxn>
              <a:cxn ang="0">
                <a:pos x="connsiteX37479" y="connsiteY37479"/>
              </a:cxn>
              <a:cxn ang="0">
                <a:pos x="connsiteX37480" y="connsiteY37480"/>
              </a:cxn>
              <a:cxn ang="0">
                <a:pos x="connsiteX37481" y="connsiteY37481"/>
              </a:cxn>
              <a:cxn ang="0">
                <a:pos x="connsiteX37482" y="connsiteY37482"/>
              </a:cxn>
              <a:cxn ang="0">
                <a:pos x="connsiteX37483" y="connsiteY37483"/>
              </a:cxn>
              <a:cxn ang="0">
                <a:pos x="connsiteX37484" y="connsiteY37484"/>
              </a:cxn>
              <a:cxn ang="0">
                <a:pos x="connsiteX37485" y="connsiteY37485"/>
              </a:cxn>
              <a:cxn ang="0">
                <a:pos x="connsiteX37486" y="connsiteY37486"/>
              </a:cxn>
              <a:cxn ang="0">
                <a:pos x="connsiteX37487" y="connsiteY37487"/>
              </a:cxn>
              <a:cxn ang="0">
                <a:pos x="connsiteX37488" y="connsiteY37488"/>
              </a:cxn>
              <a:cxn ang="0">
                <a:pos x="connsiteX37489" y="connsiteY37489"/>
              </a:cxn>
              <a:cxn ang="0">
                <a:pos x="connsiteX37490" y="connsiteY37490"/>
              </a:cxn>
              <a:cxn ang="0">
                <a:pos x="connsiteX37491" y="connsiteY37491"/>
              </a:cxn>
              <a:cxn ang="0">
                <a:pos x="connsiteX37492" y="connsiteY37492"/>
              </a:cxn>
              <a:cxn ang="0">
                <a:pos x="connsiteX37493" y="connsiteY37493"/>
              </a:cxn>
              <a:cxn ang="0">
                <a:pos x="connsiteX37494" y="connsiteY37494"/>
              </a:cxn>
              <a:cxn ang="0">
                <a:pos x="connsiteX37495" y="connsiteY37495"/>
              </a:cxn>
              <a:cxn ang="0">
                <a:pos x="connsiteX37496" y="connsiteY37496"/>
              </a:cxn>
              <a:cxn ang="0">
                <a:pos x="connsiteX37497" y="connsiteY37497"/>
              </a:cxn>
              <a:cxn ang="0">
                <a:pos x="connsiteX37498" y="connsiteY37498"/>
              </a:cxn>
              <a:cxn ang="0">
                <a:pos x="connsiteX37499" y="connsiteY37499"/>
              </a:cxn>
              <a:cxn ang="0">
                <a:pos x="connsiteX37500" y="connsiteY37500"/>
              </a:cxn>
              <a:cxn ang="0">
                <a:pos x="connsiteX37501" y="connsiteY37501"/>
              </a:cxn>
              <a:cxn ang="0">
                <a:pos x="connsiteX37502" y="connsiteY37502"/>
              </a:cxn>
              <a:cxn ang="0">
                <a:pos x="connsiteX37503" y="connsiteY37503"/>
              </a:cxn>
              <a:cxn ang="0">
                <a:pos x="connsiteX37504" y="connsiteY37504"/>
              </a:cxn>
              <a:cxn ang="0">
                <a:pos x="connsiteX37505" y="connsiteY37505"/>
              </a:cxn>
              <a:cxn ang="0">
                <a:pos x="connsiteX37506" y="connsiteY37506"/>
              </a:cxn>
              <a:cxn ang="0">
                <a:pos x="connsiteX37507" y="connsiteY37507"/>
              </a:cxn>
              <a:cxn ang="0">
                <a:pos x="connsiteX37508" y="connsiteY37508"/>
              </a:cxn>
              <a:cxn ang="0">
                <a:pos x="connsiteX37509" y="connsiteY37509"/>
              </a:cxn>
              <a:cxn ang="0">
                <a:pos x="connsiteX37510" y="connsiteY37510"/>
              </a:cxn>
              <a:cxn ang="0">
                <a:pos x="connsiteX37511" y="connsiteY37511"/>
              </a:cxn>
              <a:cxn ang="0">
                <a:pos x="connsiteX37512" y="connsiteY37512"/>
              </a:cxn>
              <a:cxn ang="0">
                <a:pos x="connsiteX37513" y="connsiteY37513"/>
              </a:cxn>
              <a:cxn ang="0">
                <a:pos x="connsiteX37514" y="connsiteY37514"/>
              </a:cxn>
              <a:cxn ang="0">
                <a:pos x="connsiteX37515" y="connsiteY37515"/>
              </a:cxn>
              <a:cxn ang="0">
                <a:pos x="connsiteX37516" y="connsiteY37516"/>
              </a:cxn>
              <a:cxn ang="0">
                <a:pos x="connsiteX37517" y="connsiteY37517"/>
              </a:cxn>
              <a:cxn ang="0">
                <a:pos x="connsiteX37518" y="connsiteY37518"/>
              </a:cxn>
              <a:cxn ang="0">
                <a:pos x="connsiteX37519" y="connsiteY37519"/>
              </a:cxn>
              <a:cxn ang="0">
                <a:pos x="connsiteX37520" y="connsiteY37520"/>
              </a:cxn>
              <a:cxn ang="0">
                <a:pos x="connsiteX37521" y="connsiteY37521"/>
              </a:cxn>
              <a:cxn ang="0">
                <a:pos x="connsiteX37522" y="connsiteY37522"/>
              </a:cxn>
              <a:cxn ang="0">
                <a:pos x="connsiteX37523" y="connsiteY37523"/>
              </a:cxn>
              <a:cxn ang="0">
                <a:pos x="connsiteX37524" y="connsiteY37524"/>
              </a:cxn>
              <a:cxn ang="0">
                <a:pos x="connsiteX37525" y="connsiteY37525"/>
              </a:cxn>
              <a:cxn ang="0">
                <a:pos x="connsiteX37526" y="connsiteY37526"/>
              </a:cxn>
              <a:cxn ang="0">
                <a:pos x="connsiteX37527" y="connsiteY37527"/>
              </a:cxn>
              <a:cxn ang="0">
                <a:pos x="connsiteX37528" y="connsiteY37528"/>
              </a:cxn>
              <a:cxn ang="0">
                <a:pos x="connsiteX37529" y="connsiteY37529"/>
              </a:cxn>
              <a:cxn ang="0">
                <a:pos x="connsiteX37530" y="connsiteY37530"/>
              </a:cxn>
              <a:cxn ang="0">
                <a:pos x="connsiteX37531" y="connsiteY37531"/>
              </a:cxn>
              <a:cxn ang="0">
                <a:pos x="connsiteX37532" y="connsiteY37532"/>
              </a:cxn>
              <a:cxn ang="0">
                <a:pos x="connsiteX37533" y="connsiteY37533"/>
              </a:cxn>
              <a:cxn ang="0">
                <a:pos x="connsiteX37534" y="connsiteY37534"/>
              </a:cxn>
              <a:cxn ang="0">
                <a:pos x="connsiteX37535" y="connsiteY37535"/>
              </a:cxn>
              <a:cxn ang="0">
                <a:pos x="connsiteX37536" y="connsiteY37536"/>
              </a:cxn>
              <a:cxn ang="0">
                <a:pos x="connsiteX37537" y="connsiteY37537"/>
              </a:cxn>
              <a:cxn ang="0">
                <a:pos x="connsiteX37538" y="connsiteY37538"/>
              </a:cxn>
              <a:cxn ang="0">
                <a:pos x="connsiteX37539" y="connsiteY37539"/>
              </a:cxn>
              <a:cxn ang="0">
                <a:pos x="connsiteX37540" y="connsiteY37540"/>
              </a:cxn>
              <a:cxn ang="0">
                <a:pos x="connsiteX37541" y="connsiteY37541"/>
              </a:cxn>
              <a:cxn ang="0">
                <a:pos x="connsiteX37542" y="connsiteY37542"/>
              </a:cxn>
              <a:cxn ang="0">
                <a:pos x="connsiteX37543" y="connsiteY37543"/>
              </a:cxn>
              <a:cxn ang="0">
                <a:pos x="connsiteX37544" y="connsiteY37544"/>
              </a:cxn>
              <a:cxn ang="0">
                <a:pos x="connsiteX37545" y="connsiteY37545"/>
              </a:cxn>
              <a:cxn ang="0">
                <a:pos x="connsiteX37546" y="connsiteY37546"/>
              </a:cxn>
              <a:cxn ang="0">
                <a:pos x="connsiteX37547" y="connsiteY37547"/>
              </a:cxn>
              <a:cxn ang="0">
                <a:pos x="connsiteX37548" y="connsiteY37548"/>
              </a:cxn>
              <a:cxn ang="0">
                <a:pos x="connsiteX37549" y="connsiteY37549"/>
              </a:cxn>
              <a:cxn ang="0">
                <a:pos x="connsiteX37550" y="connsiteY37550"/>
              </a:cxn>
              <a:cxn ang="0">
                <a:pos x="connsiteX37551" y="connsiteY37551"/>
              </a:cxn>
              <a:cxn ang="0">
                <a:pos x="connsiteX37552" y="connsiteY37552"/>
              </a:cxn>
              <a:cxn ang="0">
                <a:pos x="connsiteX37553" y="connsiteY37553"/>
              </a:cxn>
              <a:cxn ang="0">
                <a:pos x="connsiteX37554" y="connsiteY37554"/>
              </a:cxn>
              <a:cxn ang="0">
                <a:pos x="connsiteX37555" y="connsiteY37555"/>
              </a:cxn>
              <a:cxn ang="0">
                <a:pos x="connsiteX37556" y="connsiteY37556"/>
              </a:cxn>
              <a:cxn ang="0">
                <a:pos x="connsiteX37557" y="connsiteY37557"/>
              </a:cxn>
              <a:cxn ang="0">
                <a:pos x="connsiteX37558" y="connsiteY37558"/>
              </a:cxn>
              <a:cxn ang="0">
                <a:pos x="connsiteX37559" y="connsiteY37559"/>
              </a:cxn>
              <a:cxn ang="0">
                <a:pos x="connsiteX37560" y="connsiteY37560"/>
              </a:cxn>
              <a:cxn ang="0">
                <a:pos x="connsiteX37561" y="connsiteY37561"/>
              </a:cxn>
              <a:cxn ang="0">
                <a:pos x="connsiteX37562" y="connsiteY37562"/>
              </a:cxn>
              <a:cxn ang="0">
                <a:pos x="connsiteX37563" y="connsiteY37563"/>
              </a:cxn>
              <a:cxn ang="0">
                <a:pos x="connsiteX37564" y="connsiteY37564"/>
              </a:cxn>
              <a:cxn ang="0">
                <a:pos x="connsiteX37565" y="connsiteY37565"/>
              </a:cxn>
              <a:cxn ang="0">
                <a:pos x="connsiteX37566" y="connsiteY37566"/>
              </a:cxn>
              <a:cxn ang="0">
                <a:pos x="connsiteX37567" y="connsiteY37567"/>
              </a:cxn>
              <a:cxn ang="0">
                <a:pos x="connsiteX37568" y="connsiteY37568"/>
              </a:cxn>
              <a:cxn ang="0">
                <a:pos x="connsiteX37569" y="connsiteY37569"/>
              </a:cxn>
              <a:cxn ang="0">
                <a:pos x="connsiteX37570" y="connsiteY37570"/>
              </a:cxn>
              <a:cxn ang="0">
                <a:pos x="connsiteX37571" y="connsiteY37571"/>
              </a:cxn>
              <a:cxn ang="0">
                <a:pos x="connsiteX37572" y="connsiteY37572"/>
              </a:cxn>
              <a:cxn ang="0">
                <a:pos x="connsiteX37573" y="connsiteY37573"/>
              </a:cxn>
              <a:cxn ang="0">
                <a:pos x="connsiteX37574" y="connsiteY37574"/>
              </a:cxn>
              <a:cxn ang="0">
                <a:pos x="connsiteX37575" y="connsiteY37575"/>
              </a:cxn>
              <a:cxn ang="0">
                <a:pos x="connsiteX37576" y="connsiteY37576"/>
              </a:cxn>
              <a:cxn ang="0">
                <a:pos x="connsiteX37577" y="connsiteY37577"/>
              </a:cxn>
              <a:cxn ang="0">
                <a:pos x="connsiteX37578" y="connsiteY37578"/>
              </a:cxn>
              <a:cxn ang="0">
                <a:pos x="connsiteX37579" y="connsiteY37579"/>
              </a:cxn>
              <a:cxn ang="0">
                <a:pos x="connsiteX37580" y="connsiteY37580"/>
              </a:cxn>
              <a:cxn ang="0">
                <a:pos x="connsiteX37581" y="connsiteY37581"/>
              </a:cxn>
              <a:cxn ang="0">
                <a:pos x="connsiteX37582" y="connsiteY37582"/>
              </a:cxn>
              <a:cxn ang="0">
                <a:pos x="connsiteX37583" y="connsiteY37583"/>
              </a:cxn>
              <a:cxn ang="0">
                <a:pos x="connsiteX37584" y="connsiteY37584"/>
              </a:cxn>
              <a:cxn ang="0">
                <a:pos x="connsiteX37585" y="connsiteY37585"/>
              </a:cxn>
              <a:cxn ang="0">
                <a:pos x="connsiteX37586" y="connsiteY37586"/>
              </a:cxn>
              <a:cxn ang="0">
                <a:pos x="connsiteX37587" y="connsiteY37587"/>
              </a:cxn>
              <a:cxn ang="0">
                <a:pos x="connsiteX37588" y="connsiteY37588"/>
              </a:cxn>
              <a:cxn ang="0">
                <a:pos x="connsiteX37589" y="connsiteY37589"/>
              </a:cxn>
              <a:cxn ang="0">
                <a:pos x="connsiteX37590" y="connsiteY37590"/>
              </a:cxn>
              <a:cxn ang="0">
                <a:pos x="connsiteX37591" y="connsiteY37591"/>
              </a:cxn>
              <a:cxn ang="0">
                <a:pos x="connsiteX37592" y="connsiteY37592"/>
              </a:cxn>
              <a:cxn ang="0">
                <a:pos x="connsiteX37593" y="connsiteY37593"/>
              </a:cxn>
              <a:cxn ang="0">
                <a:pos x="connsiteX37594" y="connsiteY37594"/>
              </a:cxn>
              <a:cxn ang="0">
                <a:pos x="connsiteX37595" y="connsiteY37595"/>
              </a:cxn>
              <a:cxn ang="0">
                <a:pos x="connsiteX37596" y="connsiteY37596"/>
              </a:cxn>
              <a:cxn ang="0">
                <a:pos x="connsiteX37597" y="connsiteY37597"/>
              </a:cxn>
              <a:cxn ang="0">
                <a:pos x="connsiteX37598" y="connsiteY37598"/>
              </a:cxn>
              <a:cxn ang="0">
                <a:pos x="connsiteX37599" y="connsiteY37599"/>
              </a:cxn>
              <a:cxn ang="0">
                <a:pos x="connsiteX37600" y="connsiteY37600"/>
              </a:cxn>
              <a:cxn ang="0">
                <a:pos x="connsiteX37601" y="connsiteY37601"/>
              </a:cxn>
              <a:cxn ang="0">
                <a:pos x="connsiteX37602" y="connsiteY37602"/>
              </a:cxn>
              <a:cxn ang="0">
                <a:pos x="connsiteX37603" y="connsiteY37603"/>
              </a:cxn>
              <a:cxn ang="0">
                <a:pos x="connsiteX37604" y="connsiteY37604"/>
              </a:cxn>
              <a:cxn ang="0">
                <a:pos x="connsiteX37605" y="connsiteY37605"/>
              </a:cxn>
              <a:cxn ang="0">
                <a:pos x="connsiteX37606" y="connsiteY37606"/>
              </a:cxn>
              <a:cxn ang="0">
                <a:pos x="connsiteX37607" y="connsiteY37607"/>
              </a:cxn>
              <a:cxn ang="0">
                <a:pos x="connsiteX37608" y="connsiteY37608"/>
              </a:cxn>
              <a:cxn ang="0">
                <a:pos x="connsiteX37609" y="connsiteY37609"/>
              </a:cxn>
              <a:cxn ang="0">
                <a:pos x="connsiteX37610" y="connsiteY37610"/>
              </a:cxn>
              <a:cxn ang="0">
                <a:pos x="connsiteX37611" y="connsiteY37611"/>
              </a:cxn>
              <a:cxn ang="0">
                <a:pos x="connsiteX37612" y="connsiteY37612"/>
              </a:cxn>
              <a:cxn ang="0">
                <a:pos x="connsiteX37613" y="connsiteY37613"/>
              </a:cxn>
              <a:cxn ang="0">
                <a:pos x="connsiteX37614" y="connsiteY37614"/>
              </a:cxn>
              <a:cxn ang="0">
                <a:pos x="connsiteX37615" y="connsiteY37615"/>
              </a:cxn>
              <a:cxn ang="0">
                <a:pos x="connsiteX37616" y="connsiteY37616"/>
              </a:cxn>
              <a:cxn ang="0">
                <a:pos x="connsiteX37617" y="connsiteY37617"/>
              </a:cxn>
              <a:cxn ang="0">
                <a:pos x="connsiteX37618" y="connsiteY37618"/>
              </a:cxn>
              <a:cxn ang="0">
                <a:pos x="connsiteX37619" y="connsiteY37619"/>
              </a:cxn>
              <a:cxn ang="0">
                <a:pos x="connsiteX37620" y="connsiteY37620"/>
              </a:cxn>
              <a:cxn ang="0">
                <a:pos x="connsiteX37621" y="connsiteY37621"/>
              </a:cxn>
              <a:cxn ang="0">
                <a:pos x="connsiteX37622" y="connsiteY37622"/>
              </a:cxn>
              <a:cxn ang="0">
                <a:pos x="connsiteX37623" y="connsiteY37623"/>
              </a:cxn>
              <a:cxn ang="0">
                <a:pos x="connsiteX37624" y="connsiteY37624"/>
              </a:cxn>
              <a:cxn ang="0">
                <a:pos x="connsiteX37625" y="connsiteY37625"/>
              </a:cxn>
              <a:cxn ang="0">
                <a:pos x="connsiteX37626" y="connsiteY37626"/>
              </a:cxn>
              <a:cxn ang="0">
                <a:pos x="connsiteX37627" y="connsiteY37627"/>
              </a:cxn>
              <a:cxn ang="0">
                <a:pos x="connsiteX37628" y="connsiteY37628"/>
              </a:cxn>
              <a:cxn ang="0">
                <a:pos x="connsiteX37629" y="connsiteY37629"/>
              </a:cxn>
              <a:cxn ang="0">
                <a:pos x="connsiteX37630" y="connsiteY37630"/>
              </a:cxn>
              <a:cxn ang="0">
                <a:pos x="connsiteX37631" y="connsiteY37631"/>
              </a:cxn>
              <a:cxn ang="0">
                <a:pos x="connsiteX37632" y="connsiteY37632"/>
              </a:cxn>
              <a:cxn ang="0">
                <a:pos x="connsiteX37633" y="connsiteY37633"/>
              </a:cxn>
              <a:cxn ang="0">
                <a:pos x="connsiteX37634" y="connsiteY37634"/>
              </a:cxn>
              <a:cxn ang="0">
                <a:pos x="connsiteX37635" y="connsiteY37635"/>
              </a:cxn>
              <a:cxn ang="0">
                <a:pos x="connsiteX37636" y="connsiteY37636"/>
              </a:cxn>
              <a:cxn ang="0">
                <a:pos x="connsiteX37637" y="connsiteY37637"/>
              </a:cxn>
              <a:cxn ang="0">
                <a:pos x="connsiteX37638" y="connsiteY37638"/>
              </a:cxn>
              <a:cxn ang="0">
                <a:pos x="connsiteX37639" y="connsiteY37639"/>
              </a:cxn>
              <a:cxn ang="0">
                <a:pos x="connsiteX37640" y="connsiteY37640"/>
              </a:cxn>
              <a:cxn ang="0">
                <a:pos x="connsiteX37641" y="connsiteY37641"/>
              </a:cxn>
              <a:cxn ang="0">
                <a:pos x="connsiteX37642" y="connsiteY37642"/>
              </a:cxn>
              <a:cxn ang="0">
                <a:pos x="connsiteX37643" y="connsiteY37643"/>
              </a:cxn>
              <a:cxn ang="0">
                <a:pos x="connsiteX37644" y="connsiteY37644"/>
              </a:cxn>
              <a:cxn ang="0">
                <a:pos x="connsiteX37645" y="connsiteY37645"/>
              </a:cxn>
              <a:cxn ang="0">
                <a:pos x="connsiteX37646" y="connsiteY37646"/>
              </a:cxn>
              <a:cxn ang="0">
                <a:pos x="connsiteX37647" y="connsiteY37647"/>
              </a:cxn>
              <a:cxn ang="0">
                <a:pos x="connsiteX37648" y="connsiteY37648"/>
              </a:cxn>
              <a:cxn ang="0">
                <a:pos x="connsiteX37649" y="connsiteY37649"/>
              </a:cxn>
              <a:cxn ang="0">
                <a:pos x="connsiteX37650" y="connsiteY37650"/>
              </a:cxn>
              <a:cxn ang="0">
                <a:pos x="connsiteX37651" y="connsiteY37651"/>
              </a:cxn>
              <a:cxn ang="0">
                <a:pos x="connsiteX37652" y="connsiteY37652"/>
              </a:cxn>
              <a:cxn ang="0">
                <a:pos x="connsiteX37653" y="connsiteY37653"/>
              </a:cxn>
              <a:cxn ang="0">
                <a:pos x="connsiteX37654" y="connsiteY37654"/>
              </a:cxn>
              <a:cxn ang="0">
                <a:pos x="connsiteX37655" y="connsiteY37655"/>
              </a:cxn>
              <a:cxn ang="0">
                <a:pos x="connsiteX37656" y="connsiteY37656"/>
              </a:cxn>
              <a:cxn ang="0">
                <a:pos x="connsiteX37657" y="connsiteY37657"/>
              </a:cxn>
              <a:cxn ang="0">
                <a:pos x="connsiteX37658" y="connsiteY37658"/>
              </a:cxn>
              <a:cxn ang="0">
                <a:pos x="connsiteX37659" y="connsiteY37659"/>
              </a:cxn>
              <a:cxn ang="0">
                <a:pos x="connsiteX37660" y="connsiteY37660"/>
              </a:cxn>
              <a:cxn ang="0">
                <a:pos x="connsiteX37661" y="connsiteY37661"/>
              </a:cxn>
              <a:cxn ang="0">
                <a:pos x="connsiteX37662" y="connsiteY37662"/>
              </a:cxn>
              <a:cxn ang="0">
                <a:pos x="connsiteX37663" y="connsiteY37663"/>
              </a:cxn>
              <a:cxn ang="0">
                <a:pos x="connsiteX37664" y="connsiteY37664"/>
              </a:cxn>
              <a:cxn ang="0">
                <a:pos x="connsiteX37665" y="connsiteY37665"/>
              </a:cxn>
              <a:cxn ang="0">
                <a:pos x="connsiteX37666" y="connsiteY37666"/>
              </a:cxn>
              <a:cxn ang="0">
                <a:pos x="connsiteX37667" y="connsiteY37667"/>
              </a:cxn>
              <a:cxn ang="0">
                <a:pos x="connsiteX37668" y="connsiteY37668"/>
              </a:cxn>
              <a:cxn ang="0">
                <a:pos x="connsiteX37669" y="connsiteY37669"/>
              </a:cxn>
              <a:cxn ang="0">
                <a:pos x="connsiteX37670" y="connsiteY37670"/>
              </a:cxn>
              <a:cxn ang="0">
                <a:pos x="connsiteX37671" y="connsiteY37671"/>
              </a:cxn>
              <a:cxn ang="0">
                <a:pos x="connsiteX37672" y="connsiteY37672"/>
              </a:cxn>
              <a:cxn ang="0">
                <a:pos x="connsiteX37673" y="connsiteY37673"/>
              </a:cxn>
              <a:cxn ang="0">
                <a:pos x="connsiteX37674" y="connsiteY37674"/>
              </a:cxn>
              <a:cxn ang="0">
                <a:pos x="connsiteX37675" y="connsiteY37675"/>
              </a:cxn>
              <a:cxn ang="0">
                <a:pos x="connsiteX37676" y="connsiteY37676"/>
              </a:cxn>
              <a:cxn ang="0">
                <a:pos x="connsiteX37677" y="connsiteY37677"/>
              </a:cxn>
              <a:cxn ang="0">
                <a:pos x="connsiteX37678" y="connsiteY37678"/>
              </a:cxn>
              <a:cxn ang="0">
                <a:pos x="connsiteX37679" y="connsiteY37679"/>
              </a:cxn>
              <a:cxn ang="0">
                <a:pos x="connsiteX37680" y="connsiteY37680"/>
              </a:cxn>
              <a:cxn ang="0">
                <a:pos x="connsiteX37681" y="connsiteY37681"/>
              </a:cxn>
              <a:cxn ang="0">
                <a:pos x="connsiteX37682" y="connsiteY37682"/>
              </a:cxn>
              <a:cxn ang="0">
                <a:pos x="connsiteX37683" y="connsiteY37683"/>
              </a:cxn>
              <a:cxn ang="0">
                <a:pos x="connsiteX37684" y="connsiteY37684"/>
              </a:cxn>
              <a:cxn ang="0">
                <a:pos x="connsiteX37685" y="connsiteY37685"/>
              </a:cxn>
              <a:cxn ang="0">
                <a:pos x="connsiteX37686" y="connsiteY37686"/>
              </a:cxn>
              <a:cxn ang="0">
                <a:pos x="connsiteX37687" y="connsiteY37687"/>
              </a:cxn>
              <a:cxn ang="0">
                <a:pos x="connsiteX37688" y="connsiteY37688"/>
              </a:cxn>
              <a:cxn ang="0">
                <a:pos x="connsiteX37689" y="connsiteY37689"/>
              </a:cxn>
              <a:cxn ang="0">
                <a:pos x="connsiteX37690" y="connsiteY37690"/>
              </a:cxn>
              <a:cxn ang="0">
                <a:pos x="connsiteX37691" y="connsiteY37691"/>
              </a:cxn>
              <a:cxn ang="0">
                <a:pos x="connsiteX37692" y="connsiteY37692"/>
              </a:cxn>
              <a:cxn ang="0">
                <a:pos x="connsiteX37693" y="connsiteY37693"/>
              </a:cxn>
              <a:cxn ang="0">
                <a:pos x="connsiteX37694" y="connsiteY37694"/>
              </a:cxn>
              <a:cxn ang="0">
                <a:pos x="connsiteX37695" y="connsiteY37695"/>
              </a:cxn>
              <a:cxn ang="0">
                <a:pos x="connsiteX37696" y="connsiteY37696"/>
              </a:cxn>
              <a:cxn ang="0">
                <a:pos x="connsiteX37697" y="connsiteY37697"/>
              </a:cxn>
              <a:cxn ang="0">
                <a:pos x="connsiteX37698" y="connsiteY37698"/>
              </a:cxn>
              <a:cxn ang="0">
                <a:pos x="connsiteX37699" y="connsiteY37699"/>
              </a:cxn>
              <a:cxn ang="0">
                <a:pos x="connsiteX37700" y="connsiteY37700"/>
              </a:cxn>
              <a:cxn ang="0">
                <a:pos x="connsiteX37701" y="connsiteY37701"/>
              </a:cxn>
              <a:cxn ang="0">
                <a:pos x="connsiteX37702" y="connsiteY37702"/>
              </a:cxn>
              <a:cxn ang="0">
                <a:pos x="connsiteX37703" y="connsiteY37703"/>
              </a:cxn>
              <a:cxn ang="0">
                <a:pos x="connsiteX37704" y="connsiteY37704"/>
              </a:cxn>
              <a:cxn ang="0">
                <a:pos x="connsiteX37705" y="connsiteY37705"/>
              </a:cxn>
              <a:cxn ang="0">
                <a:pos x="connsiteX37706" y="connsiteY37706"/>
              </a:cxn>
              <a:cxn ang="0">
                <a:pos x="connsiteX37707" y="connsiteY37707"/>
              </a:cxn>
              <a:cxn ang="0">
                <a:pos x="connsiteX37708" y="connsiteY37708"/>
              </a:cxn>
              <a:cxn ang="0">
                <a:pos x="connsiteX37709" y="connsiteY37709"/>
              </a:cxn>
              <a:cxn ang="0">
                <a:pos x="connsiteX37710" y="connsiteY37710"/>
              </a:cxn>
              <a:cxn ang="0">
                <a:pos x="connsiteX37711" y="connsiteY37711"/>
              </a:cxn>
              <a:cxn ang="0">
                <a:pos x="connsiteX37712" y="connsiteY37712"/>
              </a:cxn>
              <a:cxn ang="0">
                <a:pos x="connsiteX37713" y="connsiteY37713"/>
              </a:cxn>
              <a:cxn ang="0">
                <a:pos x="connsiteX37714" y="connsiteY37714"/>
              </a:cxn>
              <a:cxn ang="0">
                <a:pos x="connsiteX37715" y="connsiteY37715"/>
              </a:cxn>
              <a:cxn ang="0">
                <a:pos x="connsiteX37716" y="connsiteY37716"/>
              </a:cxn>
              <a:cxn ang="0">
                <a:pos x="connsiteX37717" y="connsiteY37717"/>
              </a:cxn>
              <a:cxn ang="0">
                <a:pos x="connsiteX37718" y="connsiteY37718"/>
              </a:cxn>
              <a:cxn ang="0">
                <a:pos x="connsiteX37719" y="connsiteY37719"/>
              </a:cxn>
              <a:cxn ang="0">
                <a:pos x="connsiteX37720" y="connsiteY37720"/>
              </a:cxn>
              <a:cxn ang="0">
                <a:pos x="connsiteX37721" y="connsiteY37721"/>
              </a:cxn>
              <a:cxn ang="0">
                <a:pos x="connsiteX37722" y="connsiteY37722"/>
              </a:cxn>
              <a:cxn ang="0">
                <a:pos x="connsiteX37723" y="connsiteY37723"/>
              </a:cxn>
              <a:cxn ang="0">
                <a:pos x="connsiteX37724" y="connsiteY37724"/>
              </a:cxn>
              <a:cxn ang="0">
                <a:pos x="connsiteX37725" y="connsiteY37725"/>
              </a:cxn>
              <a:cxn ang="0">
                <a:pos x="connsiteX37726" y="connsiteY37726"/>
              </a:cxn>
              <a:cxn ang="0">
                <a:pos x="connsiteX37727" y="connsiteY37727"/>
              </a:cxn>
              <a:cxn ang="0">
                <a:pos x="connsiteX37728" y="connsiteY37728"/>
              </a:cxn>
              <a:cxn ang="0">
                <a:pos x="connsiteX37729" y="connsiteY37729"/>
              </a:cxn>
              <a:cxn ang="0">
                <a:pos x="connsiteX37730" y="connsiteY37730"/>
              </a:cxn>
              <a:cxn ang="0">
                <a:pos x="connsiteX37731" y="connsiteY37731"/>
              </a:cxn>
              <a:cxn ang="0">
                <a:pos x="connsiteX37732" y="connsiteY37732"/>
              </a:cxn>
              <a:cxn ang="0">
                <a:pos x="connsiteX37733" y="connsiteY37733"/>
              </a:cxn>
              <a:cxn ang="0">
                <a:pos x="connsiteX37734" y="connsiteY37734"/>
              </a:cxn>
              <a:cxn ang="0">
                <a:pos x="connsiteX37735" y="connsiteY37735"/>
              </a:cxn>
              <a:cxn ang="0">
                <a:pos x="connsiteX37736" y="connsiteY37736"/>
              </a:cxn>
              <a:cxn ang="0">
                <a:pos x="connsiteX37737" y="connsiteY37737"/>
              </a:cxn>
              <a:cxn ang="0">
                <a:pos x="connsiteX37738" y="connsiteY37738"/>
              </a:cxn>
              <a:cxn ang="0">
                <a:pos x="connsiteX37739" y="connsiteY37739"/>
              </a:cxn>
              <a:cxn ang="0">
                <a:pos x="connsiteX37740" y="connsiteY37740"/>
              </a:cxn>
              <a:cxn ang="0">
                <a:pos x="connsiteX37741" y="connsiteY37741"/>
              </a:cxn>
              <a:cxn ang="0">
                <a:pos x="connsiteX37742" y="connsiteY37742"/>
              </a:cxn>
              <a:cxn ang="0">
                <a:pos x="connsiteX37743" y="connsiteY37743"/>
              </a:cxn>
              <a:cxn ang="0">
                <a:pos x="connsiteX37744" y="connsiteY37744"/>
              </a:cxn>
              <a:cxn ang="0">
                <a:pos x="connsiteX37745" y="connsiteY37745"/>
              </a:cxn>
              <a:cxn ang="0">
                <a:pos x="connsiteX37746" y="connsiteY37746"/>
              </a:cxn>
              <a:cxn ang="0">
                <a:pos x="connsiteX37747" y="connsiteY37747"/>
              </a:cxn>
              <a:cxn ang="0">
                <a:pos x="connsiteX37748" y="connsiteY37748"/>
              </a:cxn>
              <a:cxn ang="0">
                <a:pos x="connsiteX37749" y="connsiteY37749"/>
              </a:cxn>
              <a:cxn ang="0">
                <a:pos x="connsiteX37750" y="connsiteY37750"/>
              </a:cxn>
              <a:cxn ang="0">
                <a:pos x="connsiteX37751" y="connsiteY37751"/>
              </a:cxn>
              <a:cxn ang="0">
                <a:pos x="connsiteX37752" y="connsiteY37752"/>
              </a:cxn>
              <a:cxn ang="0">
                <a:pos x="connsiteX37753" y="connsiteY37753"/>
              </a:cxn>
              <a:cxn ang="0">
                <a:pos x="connsiteX37754" y="connsiteY37754"/>
              </a:cxn>
              <a:cxn ang="0">
                <a:pos x="connsiteX37755" y="connsiteY37755"/>
              </a:cxn>
              <a:cxn ang="0">
                <a:pos x="connsiteX37756" y="connsiteY37756"/>
              </a:cxn>
              <a:cxn ang="0">
                <a:pos x="connsiteX37757" y="connsiteY37757"/>
              </a:cxn>
              <a:cxn ang="0">
                <a:pos x="connsiteX37758" y="connsiteY37758"/>
              </a:cxn>
              <a:cxn ang="0">
                <a:pos x="connsiteX37759" y="connsiteY37759"/>
              </a:cxn>
              <a:cxn ang="0">
                <a:pos x="connsiteX37760" y="connsiteY37760"/>
              </a:cxn>
              <a:cxn ang="0">
                <a:pos x="connsiteX37761" y="connsiteY37761"/>
              </a:cxn>
              <a:cxn ang="0">
                <a:pos x="connsiteX37762" y="connsiteY37762"/>
              </a:cxn>
              <a:cxn ang="0">
                <a:pos x="connsiteX37763" y="connsiteY37763"/>
              </a:cxn>
              <a:cxn ang="0">
                <a:pos x="connsiteX37764" y="connsiteY37764"/>
              </a:cxn>
              <a:cxn ang="0">
                <a:pos x="connsiteX37765" y="connsiteY37765"/>
              </a:cxn>
              <a:cxn ang="0">
                <a:pos x="connsiteX37766" y="connsiteY37766"/>
              </a:cxn>
              <a:cxn ang="0">
                <a:pos x="connsiteX37767" y="connsiteY37767"/>
              </a:cxn>
              <a:cxn ang="0">
                <a:pos x="connsiteX37768" y="connsiteY37768"/>
              </a:cxn>
              <a:cxn ang="0">
                <a:pos x="connsiteX37769" y="connsiteY37769"/>
              </a:cxn>
              <a:cxn ang="0">
                <a:pos x="connsiteX37770" y="connsiteY37770"/>
              </a:cxn>
              <a:cxn ang="0">
                <a:pos x="connsiteX37771" y="connsiteY37771"/>
              </a:cxn>
              <a:cxn ang="0">
                <a:pos x="connsiteX37772" y="connsiteY37772"/>
              </a:cxn>
              <a:cxn ang="0">
                <a:pos x="connsiteX37773" y="connsiteY37773"/>
              </a:cxn>
              <a:cxn ang="0">
                <a:pos x="connsiteX37774" y="connsiteY37774"/>
              </a:cxn>
              <a:cxn ang="0">
                <a:pos x="connsiteX37775" y="connsiteY37775"/>
              </a:cxn>
              <a:cxn ang="0">
                <a:pos x="connsiteX37776" y="connsiteY37776"/>
              </a:cxn>
              <a:cxn ang="0">
                <a:pos x="connsiteX37777" y="connsiteY37777"/>
              </a:cxn>
              <a:cxn ang="0">
                <a:pos x="connsiteX37778" y="connsiteY37778"/>
              </a:cxn>
              <a:cxn ang="0">
                <a:pos x="connsiteX37779" y="connsiteY37779"/>
              </a:cxn>
              <a:cxn ang="0">
                <a:pos x="connsiteX37780" y="connsiteY37780"/>
              </a:cxn>
              <a:cxn ang="0">
                <a:pos x="connsiteX37781" y="connsiteY37781"/>
              </a:cxn>
              <a:cxn ang="0">
                <a:pos x="connsiteX37782" y="connsiteY37782"/>
              </a:cxn>
              <a:cxn ang="0">
                <a:pos x="connsiteX37783" y="connsiteY37783"/>
              </a:cxn>
              <a:cxn ang="0">
                <a:pos x="connsiteX37784" y="connsiteY37784"/>
              </a:cxn>
              <a:cxn ang="0">
                <a:pos x="connsiteX37785" y="connsiteY37785"/>
              </a:cxn>
              <a:cxn ang="0">
                <a:pos x="connsiteX37786" y="connsiteY37786"/>
              </a:cxn>
              <a:cxn ang="0">
                <a:pos x="connsiteX37787" y="connsiteY37787"/>
              </a:cxn>
              <a:cxn ang="0">
                <a:pos x="connsiteX37788" y="connsiteY37788"/>
              </a:cxn>
              <a:cxn ang="0">
                <a:pos x="connsiteX37789" y="connsiteY37789"/>
              </a:cxn>
              <a:cxn ang="0">
                <a:pos x="connsiteX37790" y="connsiteY37790"/>
              </a:cxn>
              <a:cxn ang="0">
                <a:pos x="connsiteX37791" y="connsiteY37791"/>
              </a:cxn>
              <a:cxn ang="0">
                <a:pos x="connsiteX37792" y="connsiteY37792"/>
              </a:cxn>
              <a:cxn ang="0">
                <a:pos x="connsiteX37793" y="connsiteY37793"/>
              </a:cxn>
              <a:cxn ang="0">
                <a:pos x="connsiteX37794" y="connsiteY37794"/>
              </a:cxn>
              <a:cxn ang="0">
                <a:pos x="connsiteX37795" y="connsiteY37795"/>
              </a:cxn>
              <a:cxn ang="0">
                <a:pos x="connsiteX37796" y="connsiteY37796"/>
              </a:cxn>
              <a:cxn ang="0">
                <a:pos x="connsiteX37797" y="connsiteY37797"/>
              </a:cxn>
              <a:cxn ang="0">
                <a:pos x="connsiteX37798" y="connsiteY37798"/>
              </a:cxn>
              <a:cxn ang="0">
                <a:pos x="connsiteX37799" y="connsiteY37799"/>
              </a:cxn>
              <a:cxn ang="0">
                <a:pos x="connsiteX37800" y="connsiteY37800"/>
              </a:cxn>
              <a:cxn ang="0">
                <a:pos x="connsiteX37801" y="connsiteY37801"/>
              </a:cxn>
              <a:cxn ang="0">
                <a:pos x="connsiteX37802" y="connsiteY37802"/>
              </a:cxn>
              <a:cxn ang="0">
                <a:pos x="connsiteX37803" y="connsiteY37803"/>
              </a:cxn>
              <a:cxn ang="0">
                <a:pos x="connsiteX37804" y="connsiteY37804"/>
              </a:cxn>
              <a:cxn ang="0">
                <a:pos x="connsiteX37805" y="connsiteY37805"/>
              </a:cxn>
              <a:cxn ang="0">
                <a:pos x="connsiteX37806" y="connsiteY37806"/>
              </a:cxn>
              <a:cxn ang="0">
                <a:pos x="connsiteX37807" y="connsiteY37807"/>
              </a:cxn>
              <a:cxn ang="0">
                <a:pos x="connsiteX37808" y="connsiteY37808"/>
              </a:cxn>
              <a:cxn ang="0">
                <a:pos x="connsiteX37809" y="connsiteY37809"/>
              </a:cxn>
              <a:cxn ang="0">
                <a:pos x="connsiteX37810" y="connsiteY37810"/>
              </a:cxn>
              <a:cxn ang="0">
                <a:pos x="connsiteX37811" y="connsiteY37811"/>
              </a:cxn>
              <a:cxn ang="0">
                <a:pos x="connsiteX37812" y="connsiteY37812"/>
              </a:cxn>
              <a:cxn ang="0">
                <a:pos x="connsiteX37813" y="connsiteY37813"/>
              </a:cxn>
              <a:cxn ang="0">
                <a:pos x="connsiteX37814" y="connsiteY37814"/>
              </a:cxn>
              <a:cxn ang="0">
                <a:pos x="connsiteX37815" y="connsiteY37815"/>
              </a:cxn>
              <a:cxn ang="0">
                <a:pos x="connsiteX37816" y="connsiteY37816"/>
              </a:cxn>
              <a:cxn ang="0">
                <a:pos x="connsiteX37817" y="connsiteY37817"/>
              </a:cxn>
              <a:cxn ang="0">
                <a:pos x="connsiteX37818" y="connsiteY37818"/>
              </a:cxn>
              <a:cxn ang="0">
                <a:pos x="connsiteX37819" y="connsiteY37819"/>
              </a:cxn>
              <a:cxn ang="0">
                <a:pos x="connsiteX37820" y="connsiteY37820"/>
              </a:cxn>
              <a:cxn ang="0">
                <a:pos x="connsiteX37821" y="connsiteY37821"/>
              </a:cxn>
              <a:cxn ang="0">
                <a:pos x="connsiteX37822" y="connsiteY37822"/>
              </a:cxn>
              <a:cxn ang="0">
                <a:pos x="connsiteX37823" y="connsiteY37823"/>
              </a:cxn>
              <a:cxn ang="0">
                <a:pos x="connsiteX37824" y="connsiteY37824"/>
              </a:cxn>
              <a:cxn ang="0">
                <a:pos x="connsiteX37825" y="connsiteY37825"/>
              </a:cxn>
              <a:cxn ang="0">
                <a:pos x="connsiteX37826" y="connsiteY37826"/>
              </a:cxn>
              <a:cxn ang="0">
                <a:pos x="connsiteX37827" y="connsiteY37827"/>
              </a:cxn>
              <a:cxn ang="0">
                <a:pos x="connsiteX37828" y="connsiteY37828"/>
              </a:cxn>
              <a:cxn ang="0">
                <a:pos x="connsiteX37829" y="connsiteY37829"/>
              </a:cxn>
              <a:cxn ang="0">
                <a:pos x="connsiteX37830" y="connsiteY37830"/>
              </a:cxn>
              <a:cxn ang="0">
                <a:pos x="connsiteX37831" y="connsiteY37831"/>
              </a:cxn>
              <a:cxn ang="0">
                <a:pos x="connsiteX37832" y="connsiteY37832"/>
              </a:cxn>
              <a:cxn ang="0">
                <a:pos x="connsiteX37833" y="connsiteY37833"/>
              </a:cxn>
              <a:cxn ang="0">
                <a:pos x="connsiteX37834" y="connsiteY37834"/>
              </a:cxn>
              <a:cxn ang="0">
                <a:pos x="connsiteX37835" y="connsiteY37835"/>
              </a:cxn>
              <a:cxn ang="0">
                <a:pos x="connsiteX37836" y="connsiteY37836"/>
              </a:cxn>
              <a:cxn ang="0">
                <a:pos x="connsiteX37837" y="connsiteY37837"/>
              </a:cxn>
              <a:cxn ang="0">
                <a:pos x="connsiteX37838" y="connsiteY37838"/>
              </a:cxn>
              <a:cxn ang="0">
                <a:pos x="connsiteX37839" y="connsiteY37839"/>
              </a:cxn>
              <a:cxn ang="0">
                <a:pos x="connsiteX37840" y="connsiteY37840"/>
              </a:cxn>
              <a:cxn ang="0">
                <a:pos x="connsiteX37841" y="connsiteY37841"/>
              </a:cxn>
              <a:cxn ang="0">
                <a:pos x="connsiteX37842" y="connsiteY37842"/>
              </a:cxn>
              <a:cxn ang="0">
                <a:pos x="connsiteX37843" y="connsiteY37843"/>
              </a:cxn>
              <a:cxn ang="0">
                <a:pos x="connsiteX37844" y="connsiteY37844"/>
              </a:cxn>
              <a:cxn ang="0">
                <a:pos x="connsiteX37845" y="connsiteY37845"/>
              </a:cxn>
              <a:cxn ang="0">
                <a:pos x="connsiteX37846" y="connsiteY37846"/>
              </a:cxn>
              <a:cxn ang="0">
                <a:pos x="connsiteX37847" y="connsiteY37847"/>
              </a:cxn>
              <a:cxn ang="0">
                <a:pos x="connsiteX37848" y="connsiteY37848"/>
              </a:cxn>
              <a:cxn ang="0">
                <a:pos x="connsiteX37849" y="connsiteY37849"/>
              </a:cxn>
              <a:cxn ang="0">
                <a:pos x="connsiteX37850" y="connsiteY37850"/>
              </a:cxn>
              <a:cxn ang="0">
                <a:pos x="connsiteX37851" y="connsiteY37851"/>
              </a:cxn>
              <a:cxn ang="0">
                <a:pos x="connsiteX37852" y="connsiteY37852"/>
              </a:cxn>
              <a:cxn ang="0">
                <a:pos x="connsiteX37853" y="connsiteY37853"/>
              </a:cxn>
              <a:cxn ang="0">
                <a:pos x="connsiteX37854" y="connsiteY37854"/>
              </a:cxn>
              <a:cxn ang="0">
                <a:pos x="connsiteX37855" y="connsiteY37855"/>
              </a:cxn>
              <a:cxn ang="0">
                <a:pos x="connsiteX37856" y="connsiteY37856"/>
              </a:cxn>
              <a:cxn ang="0">
                <a:pos x="connsiteX37857" y="connsiteY37857"/>
              </a:cxn>
              <a:cxn ang="0">
                <a:pos x="connsiteX37858" y="connsiteY37858"/>
              </a:cxn>
              <a:cxn ang="0">
                <a:pos x="connsiteX37859" y="connsiteY37859"/>
              </a:cxn>
              <a:cxn ang="0">
                <a:pos x="connsiteX37860" y="connsiteY37860"/>
              </a:cxn>
              <a:cxn ang="0">
                <a:pos x="connsiteX37861" y="connsiteY37861"/>
              </a:cxn>
              <a:cxn ang="0">
                <a:pos x="connsiteX37862" y="connsiteY37862"/>
              </a:cxn>
              <a:cxn ang="0">
                <a:pos x="connsiteX37863" y="connsiteY37863"/>
              </a:cxn>
              <a:cxn ang="0">
                <a:pos x="connsiteX37864" y="connsiteY37864"/>
              </a:cxn>
              <a:cxn ang="0">
                <a:pos x="connsiteX37865" y="connsiteY37865"/>
              </a:cxn>
              <a:cxn ang="0">
                <a:pos x="connsiteX37866" y="connsiteY37866"/>
              </a:cxn>
              <a:cxn ang="0">
                <a:pos x="connsiteX37867" y="connsiteY37867"/>
              </a:cxn>
              <a:cxn ang="0">
                <a:pos x="connsiteX37868" y="connsiteY37868"/>
              </a:cxn>
              <a:cxn ang="0">
                <a:pos x="connsiteX37869" y="connsiteY37869"/>
              </a:cxn>
              <a:cxn ang="0">
                <a:pos x="connsiteX37870" y="connsiteY37870"/>
              </a:cxn>
              <a:cxn ang="0">
                <a:pos x="connsiteX37871" y="connsiteY37871"/>
              </a:cxn>
              <a:cxn ang="0">
                <a:pos x="connsiteX37872" y="connsiteY37872"/>
              </a:cxn>
              <a:cxn ang="0">
                <a:pos x="connsiteX37873" y="connsiteY37873"/>
              </a:cxn>
              <a:cxn ang="0">
                <a:pos x="connsiteX37874" y="connsiteY37874"/>
              </a:cxn>
              <a:cxn ang="0">
                <a:pos x="connsiteX37875" y="connsiteY37875"/>
              </a:cxn>
              <a:cxn ang="0">
                <a:pos x="connsiteX37876" y="connsiteY37876"/>
              </a:cxn>
              <a:cxn ang="0">
                <a:pos x="connsiteX37877" y="connsiteY37877"/>
              </a:cxn>
              <a:cxn ang="0">
                <a:pos x="connsiteX37878" y="connsiteY37878"/>
              </a:cxn>
              <a:cxn ang="0">
                <a:pos x="connsiteX37879" y="connsiteY37879"/>
              </a:cxn>
              <a:cxn ang="0">
                <a:pos x="connsiteX37880" y="connsiteY37880"/>
              </a:cxn>
              <a:cxn ang="0">
                <a:pos x="connsiteX37881" y="connsiteY37881"/>
              </a:cxn>
              <a:cxn ang="0">
                <a:pos x="connsiteX37882" y="connsiteY37882"/>
              </a:cxn>
              <a:cxn ang="0">
                <a:pos x="connsiteX37883" y="connsiteY37883"/>
              </a:cxn>
              <a:cxn ang="0">
                <a:pos x="connsiteX37884" y="connsiteY37884"/>
              </a:cxn>
              <a:cxn ang="0">
                <a:pos x="connsiteX37885" y="connsiteY37885"/>
              </a:cxn>
              <a:cxn ang="0">
                <a:pos x="connsiteX37886" y="connsiteY37886"/>
              </a:cxn>
              <a:cxn ang="0">
                <a:pos x="connsiteX37887" y="connsiteY37887"/>
              </a:cxn>
              <a:cxn ang="0">
                <a:pos x="connsiteX37888" y="connsiteY37888"/>
              </a:cxn>
              <a:cxn ang="0">
                <a:pos x="connsiteX37889" y="connsiteY37889"/>
              </a:cxn>
              <a:cxn ang="0">
                <a:pos x="connsiteX37890" y="connsiteY37890"/>
              </a:cxn>
              <a:cxn ang="0">
                <a:pos x="connsiteX37891" y="connsiteY37891"/>
              </a:cxn>
              <a:cxn ang="0">
                <a:pos x="connsiteX37892" y="connsiteY37892"/>
              </a:cxn>
              <a:cxn ang="0">
                <a:pos x="connsiteX37893" y="connsiteY37893"/>
              </a:cxn>
              <a:cxn ang="0">
                <a:pos x="connsiteX37894" y="connsiteY37894"/>
              </a:cxn>
              <a:cxn ang="0">
                <a:pos x="connsiteX37895" y="connsiteY37895"/>
              </a:cxn>
              <a:cxn ang="0">
                <a:pos x="connsiteX37896" y="connsiteY37896"/>
              </a:cxn>
              <a:cxn ang="0">
                <a:pos x="connsiteX37897" y="connsiteY37897"/>
              </a:cxn>
              <a:cxn ang="0">
                <a:pos x="connsiteX37898" y="connsiteY37898"/>
              </a:cxn>
              <a:cxn ang="0">
                <a:pos x="connsiteX37899" y="connsiteY37899"/>
              </a:cxn>
              <a:cxn ang="0">
                <a:pos x="connsiteX37900" y="connsiteY37900"/>
              </a:cxn>
              <a:cxn ang="0">
                <a:pos x="connsiteX37901" y="connsiteY37901"/>
              </a:cxn>
              <a:cxn ang="0">
                <a:pos x="connsiteX37902" y="connsiteY37902"/>
              </a:cxn>
              <a:cxn ang="0">
                <a:pos x="connsiteX37903" y="connsiteY37903"/>
              </a:cxn>
              <a:cxn ang="0">
                <a:pos x="connsiteX37904" y="connsiteY37904"/>
              </a:cxn>
              <a:cxn ang="0">
                <a:pos x="connsiteX37905" y="connsiteY37905"/>
              </a:cxn>
              <a:cxn ang="0">
                <a:pos x="connsiteX37906" y="connsiteY37906"/>
              </a:cxn>
              <a:cxn ang="0">
                <a:pos x="connsiteX37907" y="connsiteY37907"/>
              </a:cxn>
              <a:cxn ang="0">
                <a:pos x="connsiteX37908" y="connsiteY37908"/>
              </a:cxn>
              <a:cxn ang="0">
                <a:pos x="connsiteX37909" y="connsiteY37909"/>
              </a:cxn>
              <a:cxn ang="0">
                <a:pos x="connsiteX37910" y="connsiteY37910"/>
              </a:cxn>
              <a:cxn ang="0">
                <a:pos x="connsiteX37911" y="connsiteY37911"/>
              </a:cxn>
              <a:cxn ang="0">
                <a:pos x="connsiteX37912" y="connsiteY37912"/>
              </a:cxn>
              <a:cxn ang="0">
                <a:pos x="connsiteX37913" y="connsiteY37913"/>
              </a:cxn>
              <a:cxn ang="0">
                <a:pos x="connsiteX37914" y="connsiteY37914"/>
              </a:cxn>
              <a:cxn ang="0">
                <a:pos x="connsiteX37915" y="connsiteY37915"/>
              </a:cxn>
              <a:cxn ang="0">
                <a:pos x="connsiteX37916" y="connsiteY37916"/>
              </a:cxn>
              <a:cxn ang="0">
                <a:pos x="connsiteX37917" y="connsiteY37917"/>
              </a:cxn>
              <a:cxn ang="0">
                <a:pos x="connsiteX37918" y="connsiteY37918"/>
              </a:cxn>
              <a:cxn ang="0">
                <a:pos x="connsiteX37919" y="connsiteY37919"/>
              </a:cxn>
              <a:cxn ang="0">
                <a:pos x="connsiteX37920" y="connsiteY37920"/>
              </a:cxn>
              <a:cxn ang="0">
                <a:pos x="connsiteX37921" y="connsiteY37921"/>
              </a:cxn>
              <a:cxn ang="0">
                <a:pos x="connsiteX37922" y="connsiteY37922"/>
              </a:cxn>
              <a:cxn ang="0">
                <a:pos x="connsiteX37923" y="connsiteY37923"/>
              </a:cxn>
              <a:cxn ang="0">
                <a:pos x="connsiteX37924" y="connsiteY37924"/>
              </a:cxn>
              <a:cxn ang="0">
                <a:pos x="connsiteX37925" y="connsiteY37925"/>
              </a:cxn>
              <a:cxn ang="0">
                <a:pos x="connsiteX37926" y="connsiteY37926"/>
              </a:cxn>
              <a:cxn ang="0">
                <a:pos x="connsiteX37927" y="connsiteY37927"/>
              </a:cxn>
              <a:cxn ang="0">
                <a:pos x="connsiteX37928" y="connsiteY37928"/>
              </a:cxn>
              <a:cxn ang="0">
                <a:pos x="connsiteX37929" y="connsiteY37929"/>
              </a:cxn>
              <a:cxn ang="0">
                <a:pos x="connsiteX37930" y="connsiteY37930"/>
              </a:cxn>
              <a:cxn ang="0">
                <a:pos x="connsiteX37931" y="connsiteY37931"/>
              </a:cxn>
              <a:cxn ang="0">
                <a:pos x="connsiteX37932" y="connsiteY37932"/>
              </a:cxn>
              <a:cxn ang="0">
                <a:pos x="connsiteX37933" y="connsiteY37933"/>
              </a:cxn>
              <a:cxn ang="0">
                <a:pos x="connsiteX37934" y="connsiteY37934"/>
              </a:cxn>
              <a:cxn ang="0">
                <a:pos x="connsiteX37935" y="connsiteY37935"/>
              </a:cxn>
              <a:cxn ang="0">
                <a:pos x="connsiteX37936" y="connsiteY37936"/>
              </a:cxn>
              <a:cxn ang="0">
                <a:pos x="connsiteX37937" y="connsiteY37937"/>
              </a:cxn>
              <a:cxn ang="0">
                <a:pos x="connsiteX37938" y="connsiteY37938"/>
              </a:cxn>
              <a:cxn ang="0">
                <a:pos x="connsiteX37939" y="connsiteY37939"/>
              </a:cxn>
              <a:cxn ang="0">
                <a:pos x="connsiteX37940" y="connsiteY37940"/>
              </a:cxn>
              <a:cxn ang="0">
                <a:pos x="connsiteX37941" y="connsiteY37941"/>
              </a:cxn>
              <a:cxn ang="0">
                <a:pos x="connsiteX37942" y="connsiteY37942"/>
              </a:cxn>
              <a:cxn ang="0">
                <a:pos x="connsiteX37943" y="connsiteY37943"/>
              </a:cxn>
              <a:cxn ang="0">
                <a:pos x="connsiteX37944" y="connsiteY37944"/>
              </a:cxn>
              <a:cxn ang="0">
                <a:pos x="connsiteX37945" y="connsiteY37945"/>
              </a:cxn>
              <a:cxn ang="0">
                <a:pos x="connsiteX37946" y="connsiteY37946"/>
              </a:cxn>
              <a:cxn ang="0">
                <a:pos x="connsiteX37947" y="connsiteY37947"/>
              </a:cxn>
              <a:cxn ang="0">
                <a:pos x="connsiteX37948" y="connsiteY37948"/>
              </a:cxn>
              <a:cxn ang="0">
                <a:pos x="connsiteX37949" y="connsiteY37949"/>
              </a:cxn>
              <a:cxn ang="0">
                <a:pos x="connsiteX37950" y="connsiteY37950"/>
              </a:cxn>
              <a:cxn ang="0">
                <a:pos x="connsiteX37951" y="connsiteY37951"/>
              </a:cxn>
              <a:cxn ang="0">
                <a:pos x="connsiteX37952" y="connsiteY37952"/>
              </a:cxn>
              <a:cxn ang="0">
                <a:pos x="connsiteX37953" y="connsiteY37953"/>
              </a:cxn>
              <a:cxn ang="0">
                <a:pos x="connsiteX37954" y="connsiteY37954"/>
              </a:cxn>
              <a:cxn ang="0">
                <a:pos x="connsiteX37955" y="connsiteY37955"/>
              </a:cxn>
              <a:cxn ang="0">
                <a:pos x="connsiteX37956" y="connsiteY37956"/>
              </a:cxn>
              <a:cxn ang="0">
                <a:pos x="connsiteX37957" y="connsiteY37957"/>
              </a:cxn>
              <a:cxn ang="0">
                <a:pos x="connsiteX37958" y="connsiteY37958"/>
              </a:cxn>
              <a:cxn ang="0">
                <a:pos x="connsiteX37959" y="connsiteY37959"/>
              </a:cxn>
              <a:cxn ang="0">
                <a:pos x="connsiteX37960" y="connsiteY37960"/>
              </a:cxn>
              <a:cxn ang="0">
                <a:pos x="connsiteX37961" y="connsiteY37961"/>
              </a:cxn>
              <a:cxn ang="0">
                <a:pos x="connsiteX37962" y="connsiteY37962"/>
              </a:cxn>
              <a:cxn ang="0">
                <a:pos x="connsiteX37963" y="connsiteY37963"/>
              </a:cxn>
              <a:cxn ang="0">
                <a:pos x="connsiteX37964" y="connsiteY37964"/>
              </a:cxn>
              <a:cxn ang="0">
                <a:pos x="connsiteX37965" y="connsiteY37965"/>
              </a:cxn>
              <a:cxn ang="0">
                <a:pos x="connsiteX37966" y="connsiteY37966"/>
              </a:cxn>
              <a:cxn ang="0">
                <a:pos x="connsiteX37967" y="connsiteY37967"/>
              </a:cxn>
              <a:cxn ang="0">
                <a:pos x="connsiteX37968" y="connsiteY37968"/>
              </a:cxn>
              <a:cxn ang="0">
                <a:pos x="connsiteX37969" y="connsiteY37969"/>
              </a:cxn>
              <a:cxn ang="0">
                <a:pos x="connsiteX37970" y="connsiteY37970"/>
              </a:cxn>
              <a:cxn ang="0">
                <a:pos x="connsiteX37971" y="connsiteY37971"/>
              </a:cxn>
              <a:cxn ang="0">
                <a:pos x="connsiteX37972" y="connsiteY37972"/>
              </a:cxn>
              <a:cxn ang="0">
                <a:pos x="connsiteX37973" y="connsiteY37973"/>
              </a:cxn>
              <a:cxn ang="0">
                <a:pos x="connsiteX37974" y="connsiteY37974"/>
              </a:cxn>
              <a:cxn ang="0">
                <a:pos x="connsiteX37975" y="connsiteY37975"/>
              </a:cxn>
              <a:cxn ang="0">
                <a:pos x="connsiteX37976" y="connsiteY37976"/>
              </a:cxn>
              <a:cxn ang="0">
                <a:pos x="connsiteX37977" y="connsiteY37977"/>
              </a:cxn>
              <a:cxn ang="0">
                <a:pos x="connsiteX37978" y="connsiteY37978"/>
              </a:cxn>
              <a:cxn ang="0">
                <a:pos x="connsiteX37979" y="connsiteY37979"/>
              </a:cxn>
              <a:cxn ang="0">
                <a:pos x="connsiteX37980" y="connsiteY37980"/>
              </a:cxn>
              <a:cxn ang="0">
                <a:pos x="connsiteX37981" y="connsiteY37981"/>
              </a:cxn>
              <a:cxn ang="0">
                <a:pos x="connsiteX37982" y="connsiteY37982"/>
              </a:cxn>
              <a:cxn ang="0">
                <a:pos x="connsiteX37983" y="connsiteY37983"/>
              </a:cxn>
              <a:cxn ang="0">
                <a:pos x="connsiteX37984" y="connsiteY37984"/>
              </a:cxn>
              <a:cxn ang="0">
                <a:pos x="connsiteX37985" y="connsiteY37985"/>
              </a:cxn>
              <a:cxn ang="0">
                <a:pos x="connsiteX37986" y="connsiteY37986"/>
              </a:cxn>
              <a:cxn ang="0">
                <a:pos x="connsiteX37987" y="connsiteY37987"/>
              </a:cxn>
              <a:cxn ang="0">
                <a:pos x="connsiteX37988" y="connsiteY37988"/>
              </a:cxn>
              <a:cxn ang="0">
                <a:pos x="connsiteX37989" y="connsiteY37989"/>
              </a:cxn>
              <a:cxn ang="0">
                <a:pos x="connsiteX37990" y="connsiteY37990"/>
              </a:cxn>
              <a:cxn ang="0">
                <a:pos x="connsiteX37991" y="connsiteY37991"/>
              </a:cxn>
              <a:cxn ang="0">
                <a:pos x="connsiteX37992" y="connsiteY37992"/>
              </a:cxn>
              <a:cxn ang="0">
                <a:pos x="connsiteX37993" y="connsiteY37993"/>
              </a:cxn>
              <a:cxn ang="0">
                <a:pos x="connsiteX37994" y="connsiteY37994"/>
              </a:cxn>
              <a:cxn ang="0">
                <a:pos x="connsiteX37995" y="connsiteY37995"/>
              </a:cxn>
              <a:cxn ang="0">
                <a:pos x="connsiteX37996" y="connsiteY37996"/>
              </a:cxn>
              <a:cxn ang="0">
                <a:pos x="connsiteX37997" y="connsiteY37997"/>
              </a:cxn>
              <a:cxn ang="0">
                <a:pos x="connsiteX37998" y="connsiteY37998"/>
              </a:cxn>
              <a:cxn ang="0">
                <a:pos x="connsiteX37999" y="connsiteY37999"/>
              </a:cxn>
              <a:cxn ang="0">
                <a:pos x="connsiteX38000" y="connsiteY38000"/>
              </a:cxn>
              <a:cxn ang="0">
                <a:pos x="connsiteX38001" y="connsiteY38001"/>
              </a:cxn>
              <a:cxn ang="0">
                <a:pos x="connsiteX38002" y="connsiteY38002"/>
              </a:cxn>
              <a:cxn ang="0">
                <a:pos x="connsiteX38003" y="connsiteY38003"/>
              </a:cxn>
              <a:cxn ang="0">
                <a:pos x="connsiteX38004" y="connsiteY38004"/>
              </a:cxn>
              <a:cxn ang="0">
                <a:pos x="connsiteX38005" y="connsiteY38005"/>
              </a:cxn>
              <a:cxn ang="0">
                <a:pos x="connsiteX38006" y="connsiteY38006"/>
              </a:cxn>
              <a:cxn ang="0">
                <a:pos x="connsiteX38007" y="connsiteY38007"/>
              </a:cxn>
              <a:cxn ang="0">
                <a:pos x="connsiteX38008" y="connsiteY38008"/>
              </a:cxn>
              <a:cxn ang="0">
                <a:pos x="connsiteX38009" y="connsiteY38009"/>
              </a:cxn>
              <a:cxn ang="0">
                <a:pos x="connsiteX38010" y="connsiteY38010"/>
              </a:cxn>
              <a:cxn ang="0">
                <a:pos x="connsiteX38011" y="connsiteY38011"/>
              </a:cxn>
              <a:cxn ang="0">
                <a:pos x="connsiteX38012" y="connsiteY38012"/>
              </a:cxn>
              <a:cxn ang="0">
                <a:pos x="connsiteX38013" y="connsiteY38013"/>
              </a:cxn>
              <a:cxn ang="0">
                <a:pos x="connsiteX38014" y="connsiteY38014"/>
              </a:cxn>
              <a:cxn ang="0">
                <a:pos x="connsiteX38015" y="connsiteY38015"/>
              </a:cxn>
              <a:cxn ang="0">
                <a:pos x="connsiteX38016" y="connsiteY38016"/>
              </a:cxn>
              <a:cxn ang="0">
                <a:pos x="connsiteX38017" y="connsiteY38017"/>
              </a:cxn>
              <a:cxn ang="0">
                <a:pos x="connsiteX38018" y="connsiteY38018"/>
              </a:cxn>
              <a:cxn ang="0">
                <a:pos x="connsiteX38019" y="connsiteY38019"/>
              </a:cxn>
              <a:cxn ang="0">
                <a:pos x="connsiteX38020" y="connsiteY38020"/>
              </a:cxn>
              <a:cxn ang="0">
                <a:pos x="connsiteX38021" y="connsiteY38021"/>
              </a:cxn>
              <a:cxn ang="0">
                <a:pos x="connsiteX38022" y="connsiteY38022"/>
              </a:cxn>
              <a:cxn ang="0">
                <a:pos x="connsiteX38023" y="connsiteY38023"/>
              </a:cxn>
              <a:cxn ang="0">
                <a:pos x="connsiteX38024" y="connsiteY38024"/>
              </a:cxn>
              <a:cxn ang="0">
                <a:pos x="connsiteX38025" y="connsiteY38025"/>
              </a:cxn>
              <a:cxn ang="0">
                <a:pos x="connsiteX38026" y="connsiteY38026"/>
              </a:cxn>
              <a:cxn ang="0">
                <a:pos x="connsiteX38027" y="connsiteY38027"/>
              </a:cxn>
              <a:cxn ang="0">
                <a:pos x="connsiteX38028" y="connsiteY38028"/>
              </a:cxn>
              <a:cxn ang="0">
                <a:pos x="connsiteX38029" y="connsiteY38029"/>
              </a:cxn>
              <a:cxn ang="0">
                <a:pos x="connsiteX38030" y="connsiteY38030"/>
              </a:cxn>
              <a:cxn ang="0">
                <a:pos x="connsiteX38031" y="connsiteY38031"/>
              </a:cxn>
              <a:cxn ang="0">
                <a:pos x="connsiteX38032" y="connsiteY38032"/>
              </a:cxn>
              <a:cxn ang="0">
                <a:pos x="connsiteX38033" y="connsiteY38033"/>
              </a:cxn>
              <a:cxn ang="0">
                <a:pos x="connsiteX38034" y="connsiteY38034"/>
              </a:cxn>
              <a:cxn ang="0">
                <a:pos x="connsiteX38035" y="connsiteY38035"/>
              </a:cxn>
              <a:cxn ang="0">
                <a:pos x="connsiteX38036" y="connsiteY38036"/>
              </a:cxn>
              <a:cxn ang="0">
                <a:pos x="connsiteX38037" y="connsiteY38037"/>
              </a:cxn>
              <a:cxn ang="0">
                <a:pos x="connsiteX38038" y="connsiteY38038"/>
              </a:cxn>
              <a:cxn ang="0">
                <a:pos x="connsiteX38039" y="connsiteY38039"/>
              </a:cxn>
              <a:cxn ang="0">
                <a:pos x="connsiteX38040" y="connsiteY38040"/>
              </a:cxn>
              <a:cxn ang="0">
                <a:pos x="connsiteX38041" y="connsiteY38041"/>
              </a:cxn>
              <a:cxn ang="0">
                <a:pos x="connsiteX38042" y="connsiteY38042"/>
              </a:cxn>
              <a:cxn ang="0">
                <a:pos x="connsiteX38043" y="connsiteY38043"/>
              </a:cxn>
              <a:cxn ang="0">
                <a:pos x="connsiteX38044" y="connsiteY38044"/>
              </a:cxn>
              <a:cxn ang="0">
                <a:pos x="connsiteX38045" y="connsiteY38045"/>
              </a:cxn>
              <a:cxn ang="0">
                <a:pos x="connsiteX38046" y="connsiteY38046"/>
              </a:cxn>
              <a:cxn ang="0">
                <a:pos x="connsiteX38047" y="connsiteY38047"/>
              </a:cxn>
              <a:cxn ang="0">
                <a:pos x="connsiteX38048" y="connsiteY38048"/>
              </a:cxn>
              <a:cxn ang="0">
                <a:pos x="connsiteX38049" y="connsiteY38049"/>
              </a:cxn>
              <a:cxn ang="0">
                <a:pos x="connsiteX38050" y="connsiteY38050"/>
              </a:cxn>
              <a:cxn ang="0">
                <a:pos x="connsiteX38051" y="connsiteY38051"/>
              </a:cxn>
              <a:cxn ang="0">
                <a:pos x="connsiteX38052" y="connsiteY38052"/>
              </a:cxn>
              <a:cxn ang="0">
                <a:pos x="connsiteX38053" y="connsiteY38053"/>
              </a:cxn>
              <a:cxn ang="0">
                <a:pos x="connsiteX38054" y="connsiteY38054"/>
              </a:cxn>
              <a:cxn ang="0">
                <a:pos x="connsiteX38055" y="connsiteY38055"/>
              </a:cxn>
              <a:cxn ang="0">
                <a:pos x="connsiteX38056" y="connsiteY38056"/>
              </a:cxn>
              <a:cxn ang="0">
                <a:pos x="connsiteX38057" y="connsiteY38057"/>
              </a:cxn>
              <a:cxn ang="0">
                <a:pos x="connsiteX38058" y="connsiteY38058"/>
              </a:cxn>
              <a:cxn ang="0">
                <a:pos x="connsiteX38059" y="connsiteY38059"/>
              </a:cxn>
              <a:cxn ang="0">
                <a:pos x="connsiteX38060" y="connsiteY38060"/>
              </a:cxn>
              <a:cxn ang="0">
                <a:pos x="connsiteX38061" y="connsiteY38061"/>
              </a:cxn>
              <a:cxn ang="0">
                <a:pos x="connsiteX38062" y="connsiteY38062"/>
              </a:cxn>
              <a:cxn ang="0">
                <a:pos x="connsiteX38063" y="connsiteY38063"/>
              </a:cxn>
              <a:cxn ang="0">
                <a:pos x="connsiteX38064" y="connsiteY38064"/>
              </a:cxn>
              <a:cxn ang="0">
                <a:pos x="connsiteX38065" y="connsiteY38065"/>
              </a:cxn>
              <a:cxn ang="0">
                <a:pos x="connsiteX38066" y="connsiteY38066"/>
              </a:cxn>
              <a:cxn ang="0">
                <a:pos x="connsiteX38067" y="connsiteY38067"/>
              </a:cxn>
              <a:cxn ang="0">
                <a:pos x="connsiteX38068" y="connsiteY38068"/>
              </a:cxn>
              <a:cxn ang="0">
                <a:pos x="connsiteX38069" y="connsiteY38069"/>
              </a:cxn>
              <a:cxn ang="0">
                <a:pos x="connsiteX38070" y="connsiteY38070"/>
              </a:cxn>
              <a:cxn ang="0">
                <a:pos x="connsiteX38071" y="connsiteY38071"/>
              </a:cxn>
              <a:cxn ang="0">
                <a:pos x="connsiteX38072" y="connsiteY38072"/>
              </a:cxn>
              <a:cxn ang="0">
                <a:pos x="connsiteX38073" y="connsiteY38073"/>
              </a:cxn>
              <a:cxn ang="0">
                <a:pos x="connsiteX38074" y="connsiteY38074"/>
              </a:cxn>
              <a:cxn ang="0">
                <a:pos x="connsiteX38075" y="connsiteY38075"/>
              </a:cxn>
              <a:cxn ang="0">
                <a:pos x="connsiteX38076" y="connsiteY38076"/>
              </a:cxn>
              <a:cxn ang="0">
                <a:pos x="connsiteX38077" y="connsiteY38077"/>
              </a:cxn>
              <a:cxn ang="0">
                <a:pos x="connsiteX38078" y="connsiteY38078"/>
              </a:cxn>
              <a:cxn ang="0">
                <a:pos x="connsiteX38079" y="connsiteY38079"/>
              </a:cxn>
              <a:cxn ang="0">
                <a:pos x="connsiteX38080" y="connsiteY38080"/>
              </a:cxn>
              <a:cxn ang="0">
                <a:pos x="connsiteX38081" y="connsiteY38081"/>
              </a:cxn>
              <a:cxn ang="0">
                <a:pos x="connsiteX38082" y="connsiteY38082"/>
              </a:cxn>
              <a:cxn ang="0">
                <a:pos x="connsiteX38083" y="connsiteY38083"/>
              </a:cxn>
              <a:cxn ang="0">
                <a:pos x="connsiteX38084" y="connsiteY38084"/>
              </a:cxn>
              <a:cxn ang="0">
                <a:pos x="connsiteX38085" y="connsiteY38085"/>
              </a:cxn>
              <a:cxn ang="0">
                <a:pos x="connsiteX38086" y="connsiteY38086"/>
              </a:cxn>
              <a:cxn ang="0">
                <a:pos x="connsiteX38087" y="connsiteY38087"/>
              </a:cxn>
              <a:cxn ang="0">
                <a:pos x="connsiteX38088" y="connsiteY38088"/>
              </a:cxn>
              <a:cxn ang="0">
                <a:pos x="connsiteX38089" y="connsiteY38089"/>
              </a:cxn>
              <a:cxn ang="0">
                <a:pos x="connsiteX38090" y="connsiteY38090"/>
              </a:cxn>
              <a:cxn ang="0">
                <a:pos x="connsiteX38091" y="connsiteY38091"/>
              </a:cxn>
              <a:cxn ang="0">
                <a:pos x="connsiteX38092" y="connsiteY38092"/>
              </a:cxn>
              <a:cxn ang="0">
                <a:pos x="connsiteX38093" y="connsiteY38093"/>
              </a:cxn>
              <a:cxn ang="0">
                <a:pos x="connsiteX38094" y="connsiteY38094"/>
              </a:cxn>
              <a:cxn ang="0">
                <a:pos x="connsiteX38095" y="connsiteY38095"/>
              </a:cxn>
              <a:cxn ang="0">
                <a:pos x="connsiteX38096" y="connsiteY38096"/>
              </a:cxn>
              <a:cxn ang="0">
                <a:pos x="connsiteX38097" y="connsiteY38097"/>
              </a:cxn>
              <a:cxn ang="0">
                <a:pos x="connsiteX38098" y="connsiteY38098"/>
              </a:cxn>
              <a:cxn ang="0">
                <a:pos x="connsiteX38099" y="connsiteY38099"/>
              </a:cxn>
              <a:cxn ang="0">
                <a:pos x="connsiteX38100" y="connsiteY38100"/>
              </a:cxn>
              <a:cxn ang="0">
                <a:pos x="connsiteX38101" y="connsiteY38101"/>
              </a:cxn>
              <a:cxn ang="0">
                <a:pos x="connsiteX38102" y="connsiteY38102"/>
              </a:cxn>
              <a:cxn ang="0">
                <a:pos x="connsiteX38103" y="connsiteY38103"/>
              </a:cxn>
              <a:cxn ang="0">
                <a:pos x="connsiteX38104" y="connsiteY38104"/>
              </a:cxn>
              <a:cxn ang="0">
                <a:pos x="connsiteX38105" y="connsiteY38105"/>
              </a:cxn>
              <a:cxn ang="0">
                <a:pos x="connsiteX38106" y="connsiteY38106"/>
              </a:cxn>
              <a:cxn ang="0">
                <a:pos x="connsiteX38107" y="connsiteY38107"/>
              </a:cxn>
              <a:cxn ang="0">
                <a:pos x="connsiteX38108" y="connsiteY38108"/>
              </a:cxn>
              <a:cxn ang="0">
                <a:pos x="connsiteX38109" y="connsiteY38109"/>
              </a:cxn>
              <a:cxn ang="0">
                <a:pos x="connsiteX38110" y="connsiteY38110"/>
              </a:cxn>
              <a:cxn ang="0">
                <a:pos x="connsiteX38111" y="connsiteY38111"/>
              </a:cxn>
              <a:cxn ang="0">
                <a:pos x="connsiteX38112" y="connsiteY38112"/>
              </a:cxn>
              <a:cxn ang="0">
                <a:pos x="connsiteX38113" y="connsiteY38113"/>
              </a:cxn>
              <a:cxn ang="0">
                <a:pos x="connsiteX38114" y="connsiteY38114"/>
              </a:cxn>
              <a:cxn ang="0">
                <a:pos x="connsiteX38115" y="connsiteY38115"/>
              </a:cxn>
              <a:cxn ang="0">
                <a:pos x="connsiteX38116" y="connsiteY38116"/>
              </a:cxn>
              <a:cxn ang="0">
                <a:pos x="connsiteX38117" y="connsiteY38117"/>
              </a:cxn>
              <a:cxn ang="0">
                <a:pos x="connsiteX38118" y="connsiteY38118"/>
              </a:cxn>
              <a:cxn ang="0">
                <a:pos x="connsiteX38119" y="connsiteY38119"/>
              </a:cxn>
              <a:cxn ang="0">
                <a:pos x="connsiteX38120" y="connsiteY38120"/>
              </a:cxn>
              <a:cxn ang="0">
                <a:pos x="connsiteX38121" y="connsiteY38121"/>
              </a:cxn>
              <a:cxn ang="0">
                <a:pos x="connsiteX38122" y="connsiteY38122"/>
              </a:cxn>
              <a:cxn ang="0">
                <a:pos x="connsiteX38123" y="connsiteY38123"/>
              </a:cxn>
              <a:cxn ang="0">
                <a:pos x="connsiteX38124" y="connsiteY38124"/>
              </a:cxn>
              <a:cxn ang="0">
                <a:pos x="connsiteX38125" y="connsiteY38125"/>
              </a:cxn>
              <a:cxn ang="0">
                <a:pos x="connsiteX38126" y="connsiteY38126"/>
              </a:cxn>
              <a:cxn ang="0">
                <a:pos x="connsiteX38127" y="connsiteY38127"/>
              </a:cxn>
              <a:cxn ang="0">
                <a:pos x="connsiteX38128" y="connsiteY38128"/>
              </a:cxn>
              <a:cxn ang="0">
                <a:pos x="connsiteX38129" y="connsiteY38129"/>
              </a:cxn>
              <a:cxn ang="0">
                <a:pos x="connsiteX38130" y="connsiteY38130"/>
              </a:cxn>
              <a:cxn ang="0">
                <a:pos x="connsiteX38131" y="connsiteY38131"/>
              </a:cxn>
              <a:cxn ang="0">
                <a:pos x="connsiteX38132" y="connsiteY38132"/>
              </a:cxn>
              <a:cxn ang="0">
                <a:pos x="connsiteX38133" y="connsiteY38133"/>
              </a:cxn>
              <a:cxn ang="0">
                <a:pos x="connsiteX38134" y="connsiteY38134"/>
              </a:cxn>
              <a:cxn ang="0">
                <a:pos x="connsiteX38135" y="connsiteY38135"/>
              </a:cxn>
              <a:cxn ang="0">
                <a:pos x="connsiteX38136" y="connsiteY38136"/>
              </a:cxn>
              <a:cxn ang="0">
                <a:pos x="connsiteX38137" y="connsiteY38137"/>
              </a:cxn>
              <a:cxn ang="0">
                <a:pos x="connsiteX38138" y="connsiteY38138"/>
              </a:cxn>
              <a:cxn ang="0">
                <a:pos x="connsiteX38139" y="connsiteY38139"/>
              </a:cxn>
              <a:cxn ang="0">
                <a:pos x="connsiteX38140" y="connsiteY38140"/>
              </a:cxn>
              <a:cxn ang="0">
                <a:pos x="connsiteX38141" y="connsiteY38141"/>
              </a:cxn>
              <a:cxn ang="0">
                <a:pos x="connsiteX38142" y="connsiteY38142"/>
              </a:cxn>
              <a:cxn ang="0">
                <a:pos x="connsiteX38143" y="connsiteY38143"/>
              </a:cxn>
              <a:cxn ang="0">
                <a:pos x="connsiteX38144" y="connsiteY38144"/>
              </a:cxn>
              <a:cxn ang="0">
                <a:pos x="connsiteX38145" y="connsiteY38145"/>
              </a:cxn>
              <a:cxn ang="0">
                <a:pos x="connsiteX38146" y="connsiteY38146"/>
              </a:cxn>
              <a:cxn ang="0">
                <a:pos x="connsiteX38147" y="connsiteY38147"/>
              </a:cxn>
              <a:cxn ang="0">
                <a:pos x="connsiteX38148" y="connsiteY38148"/>
              </a:cxn>
              <a:cxn ang="0">
                <a:pos x="connsiteX38149" y="connsiteY38149"/>
              </a:cxn>
              <a:cxn ang="0">
                <a:pos x="connsiteX38150" y="connsiteY38150"/>
              </a:cxn>
              <a:cxn ang="0">
                <a:pos x="connsiteX38151" y="connsiteY38151"/>
              </a:cxn>
              <a:cxn ang="0">
                <a:pos x="connsiteX38152" y="connsiteY38152"/>
              </a:cxn>
              <a:cxn ang="0">
                <a:pos x="connsiteX38153" y="connsiteY38153"/>
              </a:cxn>
              <a:cxn ang="0">
                <a:pos x="connsiteX38154" y="connsiteY38154"/>
              </a:cxn>
              <a:cxn ang="0">
                <a:pos x="connsiteX38155" y="connsiteY38155"/>
              </a:cxn>
              <a:cxn ang="0">
                <a:pos x="connsiteX38156" y="connsiteY38156"/>
              </a:cxn>
              <a:cxn ang="0">
                <a:pos x="connsiteX38157" y="connsiteY38157"/>
              </a:cxn>
              <a:cxn ang="0">
                <a:pos x="connsiteX38158" y="connsiteY38158"/>
              </a:cxn>
              <a:cxn ang="0">
                <a:pos x="connsiteX38159" y="connsiteY38159"/>
              </a:cxn>
              <a:cxn ang="0">
                <a:pos x="connsiteX38160" y="connsiteY38160"/>
              </a:cxn>
              <a:cxn ang="0">
                <a:pos x="connsiteX38161" y="connsiteY38161"/>
              </a:cxn>
              <a:cxn ang="0">
                <a:pos x="connsiteX38162" y="connsiteY38162"/>
              </a:cxn>
              <a:cxn ang="0">
                <a:pos x="connsiteX38163" y="connsiteY38163"/>
              </a:cxn>
              <a:cxn ang="0">
                <a:pos x="connsiteX38164" y="connsiteY38164"/>
              </a:cxn>
              <a:cxn ang="0">
                <a:pos x="connsiteX38165" y="connsiteY38165"/>
              </a:cxn>
              <a:cxn ang="0">
                <a:pos x="connsiteX38166" y="connsiteY38166"/>
              </a:cxn>
              <a:cxn ang="0">
                <a:pos x="connsiteX38167" y="connsiteY38167"/>
              </a:cxn>
              <a:cxn ang="0">
                <a:pos x="connsiteX38168" y="connsiteY38168"/>
              </a:cxn>
              <a:cxn ang="0">
                <a:pos x="connsiteX38169" y="connsiteY38169"/>
              </a:cxn>
              <a:cxn ang="0">
                <a:pos x="connsiteX38170" y="connsiteY38170"/>
              </a:cxn>
              <a:cxn ang="0">
                <a:pos x="connsiteX38171" y="connsiteY38171"/>
              </a:cxn>
              <a:cxn ang="0">
                <a:pos x="connsiteX38172" y="connsiteY38172"/>
              </a:cxn>
              <a:cxn ang="0">
                <a:pos x="connsiteX38173" y="connsiteY38173"/>
              </a:cxn>
              <a:cxn ang="0">
                <a:pos x="connsiteX38174" y="connsiteY38174"/>
              </a:cxn>
              <a:cxn ang="0">
                <a:pos x="connsiteX38175" y="connsiteY38175"/>
              </a:cxn>
              <a:cxn ang="0">
                <a:pos x="connsiteX38176" y="connsiteY38176"/>
              </a:cxn>
              <a:cxn ang="0">
                <a:pos x="connsiteX38177" y="connsiteY38177"/>
              </a:cxn>
              <a:cxn ang="0">
                <a:pos x="connsiteX38178" y="connsiteY38178"/>
              </a:cxn>
              <a:cxn ang="0">
                <a:pos x="connsiteX38179" y="connsiteY38179"/>
              </a:cxn>
              <a:cxn ang="0">
                <a:pos x="connsiteX38180" y="connsiteY38180"/>
              </a:cxn>
              <a:cxn ang="0">
                <a:pos x="connsiteX38181" y="connsiteY38181"/>
              </a:cxn>
              <a:cxn ang="0">
                <a:pos x="connsiteX38182" y="connsiteY38182"/>
              </a:cxn>
              <a:cxn ang="0">
                <a:pos x="connsiteX38183" y="connsiteY38183"/>
              </a:cxn>
              <a:cxn ang="0">
                <a:pos x="connsiteX38184" y="connsiteY38184"/>
              </a:cxn>
              <a:cxn ang="0">
                <a:pos x="connsiteX38185" y="connsiteY38185"/>
              </a:cxn>
              <a:cxn ang="0">
                <a:pos x="connsiteX38186" y="connsiteY38186"/>
              </a:cxn>
              <a:cxn ang="0">
                <a:pos x="connsiteX38187" y="connsiteY38187"/>
              </a:cxn>
              <a:cxn ang="0">
                <a:pos x="connsiteX38188" y="connsiteY38188"/>
              </a:cxn>
              <a:cxn ang="0">
                <a:pos x="connsiteX38189" y="connsiteY38189"/>
              </a:cxn>
              <a:cxn ang="0">
                <a:pos x="connsiteX38190" y="connsiteY38190"/>
              </a:cxn>
              <a:cxn ang="0">
                <a:pos x="connsiteX38191" y="connsiteY38191"/>
              </a:cxn>
              <a:cxn ang="0">
                <a:pos x="connsiteX38192" y="connsiteY38192"/>
              </a:cxn>
              <a:cxn ang="0">
                <a:pos x="connsiteX38193" y="connsiteY38193"/>
              </a:cxn>
              <a:cxn ang="0">
                <a:pos x="connsiteX38194" y="connsiteY38194"/>
              </a:cxn>
              <a:cxn ang="0">
                <a:pos x="connsiteX38195" y="connsiteY38195"/>
              </a:cxn>
              <a:cxn ang="0">
                <a:pos x="connsiteX38196" y="connsiteY38196"/>
              </a:cxn>
              <a:cxn ang="0">
                <a:pos x="connsiteX38197" y="connsiteY38197"/>
              </a:cxn>
              <a:cxn ang="0">
                <a:pos x="connsiteX38198" y="connsiteY38198"/>
              </a:cxn>
              <a:cxn ang="0">
                <a:pos x="connsiteX38199" y="connsiteY38199"/>
              </a:cxn>
              <a:cxn ang="0">
                <a:pos x="connsiteX38200" y="connsiteY38200"/>
              </a:cxn>
              <a:cxn ang="0">
                <a:pos x="connsiteX38201" y="connsiteY38201"/>
              </a:cxn>
              <a:cxn ang="0">
                <a:pos x="connsiteX38202" y="connsiteY38202"/>
              </a:cxn>
              <a:cxn ang="0">
                <a:pos x="connsiteX38203" y="connsiteY38203"/>
              </a:cxn>
              <a:cxn ang="0">
                <a:pos x="connsiteX38204" y="connsiteY38204"/>
              </a:cxn>
              <a:cxn ang="0">
                <a:pos x="connsiteX38205" y="connsiteY38205"/>
              </a:cxn>
              <a:cxn ang="0">
                <a:pos x="connsiteX38206" y="connsiteY38206"/>
              </a:cxn>
              <a:cxn ang="0">
                <a:pos x="connsiteX38207" y="connsiteY38207"/>
              </a:cxn>
              <a:cxn ang="0">
                <a:pos x="connsiteX38208" y="connsiteY38208"/>
              </a:cxn>
              <a:cxn ang="0">
                <a:pos x="connsiteX38209" y="connsiteY38209"/>
              </a:cxn>
              <a:cxn ang="0">
                <a:pos x="connsiteX38210" y="connsiteY38210"/>
              </a:cxn>
              <a:cxn ang="0">
                <a:pos x="connsiteX38211" y="connsiteY38211"/>
              </a:cxn>
              <a:cxn ang="0">
                <a:pos x="connsiteX38212" y="connsiteY38212"/>
              </a:cxn>
              <a:cxn ang="0">
                <a:pos x="connsiteX38213" y="connsiteY38213"/>
              </a:cxn>
              <a:cxn ang="0">
                <a:pos x="connsiteX38214" y="connsiteY38214"/>
              </a:cxn>
              <a:cxn ang="0">
                <a:pos x="connsiteX38215" y="connsiteY38215"/>
              </a:cxn>
              <a:cxn ang="0">
                <a:pos x="connsiteX38216" y="connsiteY38216"/>
              </a:cxn>
              <a:cxn ang="0">
                <a:pos x="connsiteX38217" y="connsiteY38217"/>
              </a:cxn>
              <a:cxn ang="0">
                <a:pos x="connsiteX38218" y="connsiteY38218"/>
              </a:cxn>
              <a:cxn ang="0">
                <a:pos x="connsiteX38219" y="connsiteY38219"/>
              </a:cxn>
              <a:cxn ang="0">
                <a:pos x="connsiteX38220" y="connsiteY38220"/>
              </a:cxn>
              <a:cxn ang="0">
                <a:pos x="connsiteX38221" y="connsiteY38221"/>
              </a:cxn>
              <a:cxn ang="0">
                <a:pos x="connsiteX38222" y="connsiteY38222"/>
              </a:cxn>
              <a:cxn ang="0">
                <a:pos x="connsiteX38223" y="connsiteY38223"/>
              </a:cxn>
              <a:cxn ang="0">
                <a:pos x="connsiteX38224" y="connsiteY38224"/>
              </a:cxn>
              <a:cxn ang="0">
                <a:pos x="connsiteX38225" y="connsiteY38225"/>
              </a:cxn>
              <a:cxn ang="0">
                <a:pos x="connsiteX38226" y="connsiteY38226"/>
              </a:cxn>
              <a:cxn ang="0">
                <a:pos x="connsiteX38227" y="connsiteY38227"/>
              </a:cxn>
              <a:cxn ang="0">
                <a:pos x="connsiteX38228" y="connsiteY38228"/>
              </a:cxn>
              <a:cxn ang="0">
                <a:pos x="connsiteX38229" y="connsiteY38229"/>
              </a:cxn>
              <a:cxn ang="0">
                <a:pos x="connsiteX38230" y="connsiteY38230"/>
              </a:cxn>
              <a:cxn ang="0">
                <a:pos x="connsiteX38231" y="connsiteY38231"/>
              </a:cxn>
              <a:cxn ang="0">
                <a:pos x="connsiteX38232" y="connsiteY38232"/>
              </a:cxn>
              <a:cxn ang="0">
                <a:pos x="connsiteX38233" y="connsiteY38233"/>
              </a:cxn>
              <a:cxn ang="0">
                <a:pos x="connsiteX38234" y="connsiteY38234"/>
              </a:cxn>
              <a:cxn ang="0">
                <a:pos x="connsiteX38235" y="connsiteY38235"/>
              </a:cxn>
              <a:cxn ang="0">
                <a:pos x="connsiteX38236" y="connsiteY38236"/>
              </a:cxn>
              <a:cxn ang="0">
                <a:pos x="connsiteX38237" y="connsiteY38237"/>
              </a:cxn>
              <a:cxn ang="0">
                <a:pos x="connsiteX38238" y="connsiteY38238"/>
              </a:cxn>
              <a:cxn ang="0">
                <a:pos x="connsiteX38239" y="connsiteY38239"/>
              </a:cxn>
              <a:cxn ang="0">
                <a:pos x="connsiteX38240" y="connsiteY38240"/>
              </a:cxn>
              <a:cxn ang="0">
                <a:pos x="connsiteX38241" y="connsiteY38241"/>
              </a:cxn>
              <a:cxn ang="0">
                <a:pos x="connsiteX38242" y="connsiteY38242"/>
              </a:cxn>
              <a:cxn ang="0">
                <a:pos x="connsiteX38243" y="connsiteY38243"/>
              </a:cxn>
              <a:cxn ang="0">
                <a:pos x="connsiteX38244" y="connsiteY38244"/>
              </a:cxn>
              <a:cxn ang="0">
                <a:pos x="connsiteX38245" y="connsiteY38245"/>
              </a:cxn>
              <a:cxn ang="0">
                <a:pos x="connsiteX38246" y="connsiteY38246"/>
              </a:cxn>
              <a:cxn ang="0">
                <a:pos x="connsiteX38247" y="connsiteY38247"/>
              </a:cxn>
              <a:cxn ang="0">
                <a:pos x="connsiteX38248" y="connsiteY38248"/>
              </a:cxn>
              <a:cxn ang="0">
                <a:pos x="connsiteX38249" y="connsiteY38249"/>
              </a:cxn>
              <a:cxn ang="0">
                <a:pos x="connsiteX38250" y="connsiteY38250"/>
              </a:cxn>
              <a:cxn ang="0">
                <a:pos x="connsiteX38251" y="connsiteY38251"/>
              </a:cxn>
              <a:cxn ang="0">
                <a:pos x="connsiteX38252" y="connsiteY38252"/>
              </a:cxn>
              <a:cxn ang="0">
                <a:pos x="connsiteX38253" y="connsiteY38253"/>
              </a:cxn>
              <a:cxn ang="0">
                <a:pos x="connsiteX38254" y="connsiteY38254"/>
              </a:cxn>
              <a:cxn ang="0">
                <a:pos x="connsiteX38255" y="connsiteY38255"/>
              </a:cxn>
              <a:cxn ang="0">
                <a:pos x="connsiteX38256" y="connsiteY38256"/>
              </a:cxn>
              <a:cxn ang="0">
                <a:pos x="connsiteX38257" y="connsiteY38257"/>
              </a:cxn>
              <a:cxn ang="0">
                <a:pos x="connsiteX38258" y="connsiteY38258"/>
              </a:cxn>
              <a:cxn ang="0">
                <a:pos x="connsiteX38259" y="connsiteY38259"/>
              </a:cxn>
              <a:cxn ang="0">
                <a:pos x="connsiteX38260" y="connsiteY38260"/>
              </a:cxn>
              <a:cxn ang="0">
                <a:pos x="connsiteX38261" y="connsiteY38261"/>
              </a:cxn>
              <a:cxn ang="0">
                <a:pos x="connsiteX38262" y="connsiteY38262"/>
              </a:cxn>
              <a:cxn ang="0">
                <a:pos x="connsiteX38263" y="connsiteY38263"/>
              </a:cxn>
              <a:cxn ang="0">
                <a:pos x="connsiteX38264" y="connsiteY38264"/>
              </a:cxn>
              <a:cxn ang="0">
                <a:pos x="connsiteX38265" y="connsiteY38265"/>
              </a:cxn>
              <a:cxn ang="0">
                <a:pos x="connsiteX38266" y="connsiteY38266"/>
              </a:cxn>
              <a:cxn ang="0">
                <a:pos x="connsiteX38267" y="connsiteY38267"/>
              </a:cxn>
              <a:cxn ang="0">
                <a:pos x="connsiteX38268" y="connsiteY38268"/>
              </a:cxn>
              <a:cxn ang="0">
                <a:pos x="connsiteX38269" y="connsiteY38269"/>
              </a:cxn>
              <a:cxn ang="0">
                <a:pos x="connsiteX38270" y="connsiteY38270"/>
              </a:cxn>
              <a:cxn ang="0">
                <a:pos x="connsiteX38271" y="connsiteY38271"/>
              </a:cxn>
              <a:cxn ang="0">
                <a:pos x="connsiteX38272" y="connsiteY38272"/>
              </a:cxn>
              <a:cxn ang="0">
                <a:pos x="connsiteX38273" y="connsiteY38273"/>
              </a:cxn>
              <a:cxn ang="0">
                <a:pos x="connsiteX38274" y="connsiteY38274"/>
              </a:cxn>
              <a:cxn ang="0">
                <a:pos x="connsiteX38275" y="connsiteY38275"/>
              </a:cxn>
              <a:cxn ang="0">
                <a:pos x="connsiteX38276" y="connsiteY38276"/>
              </a:cxn>
              <a:cxn ang="0">
                <a:pos x="connsiteX38277" y="connsiteY38277"/>
              </a:cxn>
              <a:cxn ang="0">
                <a:pos x="connsiteX38278" y="connsiteY38278"/>
              </a:cxn>
              <a:cxn ang="0">
                <a:pos x="connsiteX38279" y="connsiteY38279"/>
              </a:cxn>
              <a:cxn ang="0">
                <a:pos x="connsiteX38280" y="connsiteY38280"/>
              </a:cxn>
              <a:cxn ang="0">
                <a:pos x="connsiteX38281" y="connsiteY38281"/>
              </a:cxn>
              <a:cxn ang="0">
                <a:pos x="connsiteX38282" y="connsiteY38282"/>
              </a:cxn>
              <a:cxn ang="0">
                <a:pos x="connsiteX38283" y="connsiteY38283"/>
              </a:cxn>
              <a:cxn ang="0">
                <a:pos x="connsiteX38284" y="connsiteY38284"/>
              </a:cxn>
              <a:cxn ang="0">
                <a:pos x="connsiteX38285" y="connsiteY38285"/>
              </a:cxn>
              <a:cxn ang="0">
                <a:pos x="connsiteX38286" y="connsiteY38286"/>
              </a:cxn>
              <a:cxn ang="0">
                <a:pos x="connsiteX38287" y="connsiteY38287"/>
              </a:cxn>
              <a:cxn ang="0">
                <a:pos x="connsiteX38288" y="connsiteY38288"/>
              </a:cxn>
              <a:cxn ang="0">
                <a:pos x="connsiteX38289" y="connsiteY38289"/>
              </a:cxn>
              <a:cxn ang="0">
                <a:pos x="connsiteX38290" y="connsiteY38290"/>
              </a:cxn>
              <a:cxn ang="0">
                <a:pos x="connsiteX38291" y="connsiteY38291"/>
              </a:cxn>
              <a:cxn ang="0">
                <a:pos x="connsiteX38292" y="connsiteY38292"/>
              </a:cxn>
              <a:cxn ang="0">
                <a:pos x="connsiteX38293" y="connsiteY38293"/>
              </a:cxn>
              <a:cxn ang="0">
                <a:pos x="connsiteX38294" y="connsiteY38294"/>
              </a:cxn>
              <a:cxn ang="0">
                <a:pos x="connsiteX38295" y="connsiteY38295"/>
              </a:cxn>
              <a:cxn ang="0">
                <a:pos x="connsiteX38296" y="connsiteY38296"/>
              </a:cxn>
              <a:cxn ang="0">
                <a:pos x="connsiteX38297" y="connsiteY38297"/>
              </a:cxn>
              <a:cxn ang="0">
                <a:pos x="connsiteX38298" y="connsiteY38298"/>
              </a:cxn>
              <a:cxn ang="0">
                <a:pos x="connsiteX38299" y="connsiteY38299"/>
              </a:cxn>
              <a:cxn ang="0">
                <a:pos x="connsiteX38300" y="connsiteY38300"/>
              </a:cxn>
              <a:cxn ang="0">
                <a:pos x="connsiteX38301" y="connsiteY38301"/>
              </a:cxn>
              <a:cxn ang="0">
                <a:pos x="connsiteX38302" y="connsiteY38302"/>
              </a:cxn>
              <a:cxn ang="0">
                <a:pos x="connsiteX38303" y="connsiteY38303"/>
              </a:cxn>
              <a:cxn ang="0">
                <a:pos x="connsiteX38304" y="connsiteY38304"/>
              </a:cxn>
              <a:cxn ang="0">
                <a:pos x="connsiteX38305" y="connsiteY38305"/>
              </a:cxn>
              <a:cxn ang="0">
                <a:pos x="connsiteX38306" y="connsiteY38306"/>
              </a:cxn>
              <a:cxn ang="0">
                <a:pos x="connsiteX38307" y="connsiteY38307"/>
              </a:cxn>
              <a:cxn ang="0">
                <a:pos x="connsiteX38308" y="connsiteY38308"/>
              </a:cxn>
              <a:cxn ang="0">
                <a:pos x="connsiteX38309" y="connsiteY38309"/>
              </a:cxn>
              <a:cxn ang="0">
                <a:pos x="connsiteX38310" y="connsiteY38310"/>
              </a:cxn>
              <a:cxn ang="0">
                <a:pos x="connsiteX38311" y="connsiteY38311"/>
              </a:cxn>
              <a:cxn ang="0">
                <a:pos x="connsiteX38312" y="connsiteY38312"/>
              </a:cxn>
              <a:cxn ang="0">
                <a:pos x="connsiteX38313" y="connsiteY38313"/>
              </a:cxn>
              <a:cxn ang="0">
                <a:pos x="connsiteX38314" y="connsiteY38314"/>
              </a:cxn>
              <a:cxn ang="0">
                <a:pos x="connsiteX38315" y="connsiteY38315"/>
              </a:cxn>
              <a:cxn ang="0">
                <a:pos x="connsiteX38316" y="connsiteY38316"/>
              </a:cxn>
              <a:cxn ang="0">
                <a:pos x="connsiteX38317" y="connsiteY38317"/>
              </a:cxn>
              <a:cxn ang="0">
                <a:pos x="connsiteX38318" y="connsiteY38318"/>
              </a:cxn>
              <a:cxn ang="0">
                <a:pos x="connsiteX38319" y="connsiteY38319"/>
              </a:cxn>
              <a:cxn ang="0">
                <a:pos x="connsiteX38320" y="connsiteY38320"/>
              </a:cxn>
              <a:cxn ang="0">
                <a:pos x="connsiteX38321" y="connsiteY38321"/>
              </a:cxn>
              <a:cxn ang="0">
                <a:pos x="connsiteX38322" y="connsiteY38322"/>
              </a:cxn>
              <a:cxn ang="0">
                <a:pos x="connsiteX38323" y="connsiteY38323"/>
              </a:cxn>
              <a:cxn ang="0">
                <a:pos x="connsiteX38324" y="connsiteY38324"/>
              </a:cxn>
              <a:cxn ang="0">
                <a:pos x="connsiteX38325" y="connsiteY38325"/>
              </a:cxn>
              <a:cxn ang="0">
                <a:pos x="connsiteX38326" y="connsiteY38326"/>
              </a:cxn>
              <a:cxn ang="0">
                <a:pos x="connsiteX38327" y="connsiteY38327"/>
              </a:cxn>
              <a:cxn ang="0">
                <a:pos x="connsiteX38328" y="connsiteY38328"/>
              </a:cxn>
              <a:cxn ang="0">
                <a:pos x="connsiteX38329" y="connsiteY38329"/>
              </a:cxn>
              <a:cxn ang="0">
                <a:pos x="connsiteX38330" y="connsiteY38330"/>
              </a:cxn>
              <a:cxn ang="0">
                <a:pos x="connsiteX38331" y="connsiteY38331"/>
              </a:cxn>
              <a:cxn ang="0">
                <a:pos x="connsiteX38332" y="connsiteY38332"/>
              </a:cxn>
              <a:cxn ang="0">
                <a:pos x="connsiteX38333" y="connsiteY38333"/>
              </a:cxn>
              <a:cxn ang="0">
                <a:pos x="connsiteX38334" y="connsiteY38334"/>
              </a:cxn>
              <a:cxn ang="0">
                <a:pos x="connsiteX38335" y="connsiteY38335"/>
              </a:cxn>
              <a:cxn ang="0">
                <a:pos x="connsiteX38336" y="connsiteY38336"/>
              </a:cxn>
              <a:cxn ang="0">
                <a:pos x="connsiteX38337" y="connsiteY38337"/>
              </a:cxn>
              <a:cxn ang="0">
                <a:pos x="connsiteX38338" y="connsiteY38338"/>
              </a:cxn>
              <a:cxn ang="0">
                <a:pos x="connsiteX38339" y="connsiteY38339"/>
              </a:cxn>
              <a:cxn ang="0">
                <a:pos x="connsiteX38340" y="connsiteY38340"/>
              </a:cxn>
              <a:cxn ang="0">
                <a:pos x="connsiteX38341" y="connsiteY38341"/>
              </a:cxn>
              <a:cxn ang="0">
                <a:pos x="connsiteX38342" y="connsiteY38342"/>
              </a:cxn>
              <a:cxn ang="0">
                <a:pos x="connsiteX38343" y="connsiteY38343"/>
              </a:cxn>
              <a:cxn ang="0">
                <a:pos x="connsiteX38344" y="connsiteY38344"/>
              </a:cxn>
              <a:cxn ang="0">
                <a:pos x="connsiteX38345" y="connsiteY38345"/>
              </a:cxn>
              <a:cxn ang="0">
                <a:pos x="connsiteX38346" y="connsiteY38346"/>
              </a:cxn>
              <a:cxn ang="0">
                <a:pos x="connsiteX38347" y="connsiteY38347"/>
              </a:cxn>
              <a:cxn ang="0">
                <a:pos x="connsiteX38348" y="connsiteY38348"/>
              </a:cxn>
              <a:cxn ang="0">
                <a:pos x="connsiteX38349" y="connsiteY38349"/>
              </a:cxn>
              <a:cxn ang="0">
                <a:pos x="connsiteX38350" y="connsiteY38350"/>
              </a:cxn>
              <a:cxn ang="0">
                <a:pos x="connsiteX38351" y="connsiteY38351"/>
              </a:cxn>
              <a:cxn ang="0">
                <a:pos x="connsiteX38352" y="connsiteY38352"/>
              </a:cxn>
              <a:cxn ang="0">
                <a:pos x="connsiteX38353" y="connsiteY38353"/>
              </a:cxn>
              <a:cxn ang="0">
                <a:pos x="connsiteX38354" y="connsiteY38354"/>
              </a:cxn>
              <a:cxn ang="0">
                <a:pos x="connsiteX38355" y="connsiteY38355"/>
              </a:cxn>
              <a:cxn ang="0">
                <a:pos x="connsiteX38356" y="connsiteY38356"/>
              </a:cxn>
              <a:cxn ang="0">
                <a:pos x="connsiteX38357" y="connsiteY38357"/>
              </a:cxn>
              <a:cxn ang="0">
                <a:pos x="connsiteX38358" y="connsiteY38358"/>
              </a:cxn>
              <a:cxn ang="0">
                <a:pos x="connsiteX38359" y="connsiteY38359"/>
              </a:cxn>
              <a:cxn ang="0">
                <a:pos x="connsiteX38360" y="connsiteY38360"/>
              </a:cxn>
              <a:cxn ang="0">
                <a:pos x="connsiteX38361" y="connsiteY38361"/>
              </a:cxn>
              <a:cxn ang="0">
                <a:pos x="connsiteX38362" y="connsiteY38362"/>
              </a:cxn>
              <a:cxn ang="0">
                <a:pos x="connsiteX38363" y="connsiteY38363"/>
              </a:cxn>
              <a:cxn ang="0">
                <a:pos x="connsiteX38364" y="connsiteY38364"/>
              </a:cxn>
              <a:cxn ang="0">
                <a:pos x="connsiteX38365" y="connsiteY38365"/>
              </a:cxn>
              <a:cxn ang="0">
                <a:pos x="connsiteX38366" y="connsiteY38366"/>
              </a:cxn>
              <a:cxn ang="0">
                <a:pos x="connsiteX38367" y="connsiteY38367"/>
              </a:cxn>
              <a:cxn ang="0">
                <a:pos x="connsiteX38368" y="connsiteY38368"/>
              </a:cxn>
              <a:cxn ang="0">
                <a:pos x="connsiteX38369" y="connsiteY38369"/>
              </a:cxn>
              <a:cxn ang="0">
                <a:pos x="connsiteX38370" y="connsiteY38370"/>
              </a:cxn>
              <a:cxn ang="0">
                <a:pos x="connsiteX38371" y="connsiteY38371"/>
              </a:cxn>
              <a:cxn ang="0">
                <a:pos x="connsiteX38372" y="connsiteY38372"/>
              </a:cxn>
              <a:cxn ang="0">
                <a:pos x="connsiteX38373" y="connsiteY38373"/>
              </a:cxn>
              <a:cxn ang="0">
                <a:pos x="connsiteX38374" y="connsiteY38374"/>
              </a:cxn>
              <a:cxn ang="0">
                <a:pos x="connsiteX38375" y="connsiteY38375"/>
              </a:cxn>
              <a:cxn ang="0">
                <a:pos x="connsiteX38376" y="connsiteY38376"/>
              </a:cxn>
              <a:cxn ang="0">
                <a:pos x="connsiteX38377" y="connsiteY38377"/>
              </a:cxn>
              <a:cxn ang="0">
                <a:pos x="connsiteX38378" y="connsiteY38378"/>
              </a:cxn>
              <a:cxn ang="0">
                <a:pos x="connsiteX38379" y="connsiteY38379"/>
              </a:cxn>
              <a:cxn ang="0">
                <a:pos x="connsiteX38380" y="connsiteY38380"/>
              </a:cxn>
              <a:cxn ang="0">
                <a:pos x="connsiteX38381" y="connsiteY38381"/>
              </a:cxn>
              <a:cxn ang="0">
                <a:pos x="connsiteX38382" y="connsiteY38382"/>
              </a:cxn>
              <a:cxn ang="0">
                <a:pos x="connsiteX38383" y="connsiteY38383"/>
              </a:cxn>
              <a:cxn ang="0">
                <a:pos x="connsiteX38384" y="connsiteY38384"/>
              </a:cxn>
              <a:cxn ang="0">
                <a:pos x="connsiteX38385" y="connsiteY38385"/>
              </a:cxn>
              <a:cxn ang="0">
                <a:pos x="connsiteX38386" y="connsiteY38386"/>
              </a:cxn>
              <a:cxn ang="0">
                <a:pos x="connsiteX38387" y="connsiteY38387"/>
              </a:cxn>
              <a:cxn ang="0">
                <a:pos x="connsiteX38388" y="connsiteY38388"/>
              </a:cxn>
              <a:cxn ang="0">
                <a:pos x="connsiteX38389" y="connsiteY38389"/>
              </a:cxn>
              <a:cxn ang="0">
                <a:pos x="connsiteX38390" y="connsiteY38390"/>
              </a:cxn>
              <a:cxn ang="0">
                <a:pos x="connsiteX38391" y="connsiteY38391"/>
              </a:cxn>
              <a:cxn ang="0">
                <a:pos x="connsiteX38392" y="connsiteY38392"/>
              </a:cxn>
              <a:cxn ang="0">
                <a:pos x="connsiteX38393" y="connsiteY38393"/>
              </a:cxn>
              <a:cxn ang="0">
                <a:pos x="connsiteX38394" y="connsiteY38394"/>
              </a:cxn>
              <a:cxn ang="0">
                <a:pos x="connsiteX38395" y="connsiteY38395"/>
              </a:cxn>
              <a:cxn ang="0">
                <a:pos x="connsiteX38396" y="connsiteY38396"/>
              </a:cxn>
              <a:cxn ang="0">
                <a:pos x="connsiteX38397" y="connsiteY38397"/>
              </a:cxn>
              <a:cxn ang="0">
                <a:pos x="connsiteX38398" y="connsiteY38398"/>
              </a:cxn>
              <a:cxn ang="0">
                <a:pos x="connsiteX38399" y="connsiteY38399"/>
              </a:cxn>
              <a:cxn ang="0">
                <a:pos x="connsiteX38400" y="connsiteY38400"/>
              </a:cxn>
              <a:cxn ang="0">
                <a:pos x="connsiteX38401" y="connsiteY38401"/>
              </a:cxn>
              <a:cxn ang="0">
                <a:pos x="connsiteX38402" y="connsiteY38402"/>
              </a:cxn>
              <a:cxn ang="0">
                <a:pos x="connsiteX38403" y="connsiteY38403"/>
              </a:cxn>
              <a:cxn ang="0">
                <a:pos x="connsiteX38404" y="connsiteY38404"/>
              </a:cxn>
              <a:cxn ang="0">
                <a:pos x="connsiteX38405" y="connsiteY38405"/>
              </a:cxn>
              <a:cxn ang="0">
                <a:pos x="connsiteX38406" y="connsiteY38406"/>
              </a:cxn>
              <a:cxn ang="0">
                <a:pos x="connsiteX38407" y="connsiteY38407"/>
              </a:cxn>
              <a:cxn ang="0">
                <a:pos x="connsiteX38408" y="connsiteY38408"/>
              </a:cxn>
              <a:cxn ang="0">
                <a:pos x="connsiteX38409" y="connsiteY38409"/>
              </a:cxn>
              <a:cxn ang="0">
                <a:pos x="connsiteX38410" y="connsiteY38410"/>
              </a:cxn>
              <a:cxn ang="0">
                <a:pos x="connsiteX38411" y="connsiteY38411"/>
              </a:cxn>
              <a:cxn ang="0">
                <a:pos x="connsiteX38412" y="connsiteY38412"/>
              </a:cxn>
              <a:cxn ang="0">
                <a:pos x="connsiteX38413" y="connsiteY38413"/>
              </a:cxn>
              <a:cxn ang="0">
                <a:pos x="connsiteX38414" y="connsiteY38414"/>
              </a:cxn>
              <a:cxn ang="0">
                <a:pos x="connsiteX38415" y="connsiteY38415"/>
              </a:cxn>
              <a:cxn ang="0">
                <a:pos x="connsiteX38416" y="connsiteY38416"/>
              </a:cxn>
              <a:cxn ang="0">
                <a:pos x="connsiteX38417" y="connsiteY38417"/>
              </a:cxn>
              <a:cxn ang="0">
                <a:pos x="connsiteX38418" y="connsiteY38418"/>
              </a:cxn>
              <a:cxn ang="0">
                <a:pos x="connsiteX38419" y="connsiteY38419"/>
              </a:cxn>
              <a:cxn ang="0">
                <a:pos x="connsiteX38420" y="connsiteY38420"/>
              </a:cxn>
              <a:cxn ang="0">
                <a:pos x="connsiteX38421" y="connsiteY38421"/>
              </a:cxn>
              <a:cxn ang="0">
                <a:pos x="connsiteX38422" y="connsiteY38422"/>
              </a:cxn>
              <a:cxn ang="0">
                <a:pos x="connsiteX38423" y="connsiteY38423"/>
              </a:cxn>
              <a:cxn ang="0">
                <a:pos x="connsiteX38424" y="connsiteY38424"/>
              </a:cxn>
              <a:cxn ang="0">
                <a:pos x="connsiteX38425" y="connsiteY38425"/>
              </a:cxn>
              <a:cxn ang="0">
                <a:pos x="connsiteX38426" y="connsiteY38426"/>
              </a:cxn>
              <a:cxn ang="0">
                <a:pos x="connsiteX38427" y="connsiteY38427"/>
              </a:cxn>
              <a:cxn ang="0">
                <a:pos x="connsiteX38428" y="connsiteY38428"/>
              </a:cxn>
              <a:cxn ang="0">
                <a:pos x="connsiteX38429" y="connsiteY38429"/>
              </a:cxn>
              <a:cxn ang="0">
                <a:pos x="connsiteX38430" y="connsiteY38430"/>
              </a:cxn>
              <a:cxn ang="0">
                <a:pos x="connsiteX38431" y="connsiteY38431"/>
              </a:cxn>
              <a:cxn ang="0">
                <a:pos x="connsiteX38432" y="connsiteY38432"/>
              </a:cxn>
              <a:cxn ang="0">
                <a:pos x="connsiteX38433" y="connsiteY38433"/>
              </a:cxn>
              <a:cxn ang="0">
                <a:pos x="connsiteX38434" y="connsiteY38434"/>
              </a:cxn>
              <a:cxn ang="0">
                <a:pos x="connsiteX38435" y="connsiteY38435"/>
              </a:cxn>
              <a:cxn ang="0">
                <a:pos x="connsiteX38436" y="connsiteY38436"/>
              </a:cxn>
              <a:cxn ang="0">
                <a:pos x="connsiteX38437" y="connsiteY38437"/>
              </a:cxn>
              <a:cxn ang="0">
                <a:pos x="connsiteX38438" y="connsiteY38438"/>
              </a:cxn>
              <a:cxn ang="0">
                <a:pos x="connsiteX38439" y="connsiteY38439"/>
              </a:cxn>
              <a:cxn ang="0">
                <a:pos x="connsiteX38440" y="connsiteY38440"/>
              </a:cxn>
              <a:cxn ang="0">
                <a:pos x="connsiteX38441" y="connsiteY38441"/>
              </a:cxn>
              <a:cxn ang="0">
                <a:pos x="connsiteX38442" y="connsiteY38442"/>
              </a:cxn>
              <a:cxn ang="0">
                <a:pos x="connsiteX38443" y="connsiteY38443"/>
              </a:cxn>
              <a:cxn ang="0">
                <a:pos x="connsiteX38444" y="connsiteY38444"/>
              </a:cxn>
              <a:cxn ang="0">
                <a:pos x="connsiteX38445" y="connsiteY38445"/>
              </a:cxn>
              <a:cxn ang="0">
                <a:pos x="connsiteX38446" y="connsiteY38446"/>
              </a:cxn>
              <a:cxn ang="0">
                <a:pos x="connsiteX38447" y="connsiteY38447"/>
              </a:cxn>
              <a:cxn ang="0">
                <a:pos x="connsiteX38448" y="connsiteY38448"/>
              </a:cxn>
              <a:cxn ang="0">
                <a:pos x="connsiteX38449" y="connsiteY38449"/>
              </a:cxn>
              <a:cxn ang="0">
                <a:pos x="connsiteX38450" y="connsiteY38450"/>
              </a:cxn>
              <a:cxn ang="0">
                <a:pos x="connsiteX38451" y="connsiteY38451"/>
              </a:cxn>
              <a:cxn ang="0">
                <a:pos x="connsiteX38452" y="connsiteY38452"/>
              </a:cxn>
              <a:cxn ang="0">
                <a:pos x="connsiteX38453" y="connsiteY38453"/>
              </a:cxn>
              <a:cxn ang="0">
                <a:pos x="connsiteX38454" y="connsiteY38454"/>
              </a:cxn>
              <a:cxn ang="0">
                <a:pos x="connsiteX38455" y="connsiteY38455"/>
              </a:cxn>
              <a:cxn ang="0">
                <a:pos x="connsiteX38456" y="connsiteY38456"/>
              </a:cxn>
              <a:cxn ang="0">
                <a:pos x="connsiteX38457" y="connsiteY38457"/>
              </a:cxn>
              <a:cxn ang="0">
                <a:pos x="connsiteX38458" y="connsiteY38458"/>
              </a:cxn>
              <a:cxn ang="0">
                <a:pos x="connsiteX38459" y="connsiteY38459"/>
              </a:cxn>
              <a:cxn ang="0">
                <a:pos x="connsiteX38460" y="connsiteY38460"/>
              </a:cxn>
              <a:cxn ang="0">
                <a:pos x="connsiteX38461" y="connsiteY38461"/>
              </a:cxn>
              <a:cxn ang="0">
                <a:pos x="connsiteX38462" y="connsiteY38462"/>
              </a:cxn>
              <a:cxn ang="0">
                <a:pos x="connsiteX38463" y="connsiteY38463"/>
              </a:cxn>
              <a:cxn ang="0">
                <a:pos x="connsiteX38464" y="connsiteY38464"/>
              </a:cxn>
              <a:cxn ang="0">
                <a:pos x="connsiteX38465" y="connsiteY38465"/>
              </a:cxn>
              <a:cxn ang="0">
                <a:pos x="connsiteX38466" y="connsiteY38466"/>
              </a:cxn>
              <a:cxn ang="0">
                <a:pos x="connsiteX38467" y="connsiteY38467"/>
              </a:cxn>
              <a:cxn ang="0">
                <a:pos x="connsiteX38468" y="connsiteY38468"/>
              </a:cxn>
              <a:cxn ang="0">
                <a:pos x="connsiteX38469" y="connsiteY38469"/>
              </a:cxn>
              <a:cxn ang="0">
                <a:pos x="connsiteX38470" y="connsiteY38470"/>
              </a:cxn>
              <a:cxn ang="0">
                <a:pos x="connsiteX38471" y="connsiteY38471"/>
              </a:cxn>
              <a:cxn ang="0">
                <a:pos x="connsiteX38472" y="connsiteY38472"/>
              </a:cxn>
              <a:cxn ang="0">
                <a:pos x="connsiteX38473" y="connsiteY38473"/>
              </a:cxn>
              <a:cxn ang="0">
                <a:pos x="connsiteX38474" y="connsiteY38474"/>
              </a:cxn>
              <a:cxn ang="0">
                <a:pos x="connsiteX38475" y="connsiteY38475"/>
              </a:cxn>
              <a:cxn ang="0">
                <a:pos x="connsiteX38476" y="connsiteY38476"/>
              </a:cxn>
              <a:cxn ang="0">
                <a:pos x="connsiteX38477" y="connsiteY38477"/>
              </a:cxn>
              <a:cxn ang="0">
                <a:pos x="connsiteX38478" y="connsiteY38478"/>
              </a:cxn>
              <a:cxn ang="0">
                <a:pos x="connsiteX38479" y="connsiteY38479"/>
              </a:cxn>
              <a:cxn ang="0">
                <a:pos x="connsiteX38480" y="connsiteY38480"/>
              </a:cxn>
              <a:cxn ang="0">
                <a:pos x="connsiteX38481" y="connsiteY38481"/>
              </a:cxn>
              <a:cxn ang="0">
                <a:pos x="connsiteX38482" y="connsiteY38482"/>
              </a:cxn>
              <a:cxn ang="0">
                <a:pos x="connsiteX38483" y="connsiteY38483"/>
              </a:cxn>
              <a:cxn ang="0">
                <a:pos x="connsiteX38484" y="connsiteY38484"/>
              </a:cxn>
              <a:cxn ang="0">
                <a:pos x="connsiteX38485" y="connsiteY38485"/>
              </a:cxn>
              <a:cxn ang="0">
                <a:pos x="connsiteX38486" y="connsiteY38486"/>
              </a:cxn>
              <a:cxn ang="0">
                <a:pos x="connsiteX38487" y="connsiteY38487"/>
              </a:cxn>
              <a:cxn ang="0">
                <a:pos x="connsiteX38488" y="connsiteY38488"/>
              </a:cxn>
              <a:cxn ang="0">
                <a:pos x="connsiteX38489" y="connsiteY38489"/>
              </a:cxn>
              <a:cxn ang="0">
                <a:pos x="connsiteX38490" y="connsiteY38490"/>
              </a:cxn>
              <a:cxn ang="0">
                <a:pos x="connsiteX38491" y="connsiteY38491"/>
              </a:cxn>
              <a:cxn ang="0">
                <a:pos x="connsiteX38492" y="connsiteY38492"/>
              </a:cxn>
              <a:cxn ang="0">
                <a:pos x="connsiteX38493" y="connsiteY38493"/>
              </a:cxn>
              <a:cxn ang="0">
                <a:pos x="connsiteX38494" y="connsiteY38494"/>
              </a:cxn>
              <a:cxn ang="0">
                <a:pos x="connsiteX38495" y="connsiteY38495"/>
              </a:cxn>
              <a:cxn ang="0">
                <a:pos x="connsiteX38496" y="connsiteY38496"/>
              </a:cxn>
              <a:cxn ang="0">
                <a:pos x="connsiteX38497" y="connsiteY38497"/>
              </a:cxn>
              <a:cxn ang="0">
                <a:pos x="connsiteX38498" y="connsiteY38498"/>
              </a:cxn>
              <a:cxn ang="0">
                <a:pos x="connsiteX38499" y="connsiteY38499"/>
              </a:cxn>
              <a:cxn ang="0">
                <a:pos x="connsiteX38500" y="connsiteY38500"/>
              </a:cxn>
              <a:cxn ang="0">
                <a:pos x="connsiteX38501" y="connsiteY38501"/>
              </a:cxn>
              <a:cxn ang="0">
                <a:pos x="connsiteX38502" y="connsiteY38502"/>
              </a:cxn>
              <a:cxn ang="0">
                <a:pos x="connsiteX38503" y="connsiteY38503"/>
              </a:cxn>
              <a:cxn ang="0">
                <a:pos x="connsiteX38504" y="connsiteY38504"/>
              </a:cxn>
              <a:cxn ang="0">
                <a:pos x="connsiteX38505" y="connsiteY38505"/>
              </a:cxn>
              <a:cxn ang="0">
                <a:pos x="connsiteX38506" y="connsiteY38506"/>
              </a:cxn>
              <a:cxn ang="0">
                <a:pos x="connsiteX38507" y="connsiteY38507"/>
              </a:cxn>
              <a:cxn ang="0">
                <a:pos x="connsiteX38508" y="connsiteY38508"/>
              </a:cxn>
              <a:cxn ang="0">
                <a:pos x="connsiteX38509" y="connsiteY38509"/>
              </a:cxn>
              <a:cxn ang="0">
                <a:pos x="connsiteX38510" y="connsiteY38510"/>
              </a:cxn>
              <a:cxn ang="0">
                <a:pos x="connsiteX38511" y="connsiteY38511"/>
              </a:cxn>
              <a:cxn ang="0">
                <a:pos x="connsiteX38512" y="connsiteY38512"/>
              </a:cxn>
              <a:cxn ang="0">
                <a:pos x="connsiteX38513" y="connsiteY38513"/>
              </a:cxn>
              <a:cxn ang="0">
                <a:pos x="connsiteX38514" y="connsiteY38514"/>
              </a:cxn>
              <a:cxn ang="0">
                <a:pos x="connsiteX38515" y="connsiteY38515"/>
              </a:cxn>
              <a:cxn ang="0">
                <a:pos x="connsiteX38516" y="connsiteY38516"/>
              </a:cxn>
              <a:cxn ang="0">
                <a:pos x="connsiteX38517" y="connsiteY38517"/>
              </a:cxn>
              <a:cxn ang="0">
                <a:pos x="connsiteX38518" y="connsiteY38518"/>
              </a:cxn>
              <a:cxn ang="0">
                <a:pos x="connsiteX38519" y="connsiteY38519"/>
              </a:cxn>
              <a:cxn ang="0">
                <a:pos x="connsiteX38520" y="connsiteY38520"/>
              </a:cxn>
              <a:cxn ang="0">
                <a:pos x="connsiteX38521" y="connsiteY38521"/>
              </a:cxn>
              <a:cxn ang="0">
                <a:pos x="connsiteX38522" y="connsiteY38522"/>
              </a:cxn>
              <a:cxn ang="0">
                <a:pos x="connsiteX38523" y="connsiteY38523"/>
              </a:cxn>
              <a:cxn ang="0">
                <a:pos x="connsiteX38524" y="connsiteY38524"/>
              </a:cxn>
              <a:cxn ang="0">
                <a:pos x="connsiteX38525" y="connsiteY38525"/>
              </a:cxn>
              <a:cxn ang="0">
                <a:pos x="connsiteX38526" y="connsiteY38526"/>
              </a:cxn>
              <a:cxn ang="0">
                <a:pos x="connsiteX38527" y="connsiteY38527"/>
              </a:cxn>
              <a:cxn ang="0">
                <a:pos x="connsiteX38528" y="connsiteY38528"/>
              </a:cxn>
              <a:cxn ang="0">
                <a:pos x="connsiteX38529" y="connsiteY38529"/>
              </a:cxn>
              <a:cxn ang="0">
                <a:pos x="connsiteX38530" y="connsiteY38530"/>
              </a:cxn>
              <a:cxn ang="0">
                <a:pos x="connsiteX38531" y="connsiteY38531"/>
              </a:cxn>
              <a:cxn ang="0">
                <a:pos x="connsiteX38532" y="connsiteY38532"/>
              </a:cxn>
              <a:cxn ang="0">
                <a:pos x="connsiteX38533" y="connsiteY38533"/>
              </a:cxn>
              <a:cxn ang="0">
                <a:pos x="connsiteX38534" y="connsiteY38534"/>
              </a:cxn>
              <a:cxn ang="0">
                <a:pos x="connsiteX38535" y="connsiteY38535"/>
              </a:cxn>
              <a:cxn ang="0">
                <a:pos x="connsiteX38536" y="connsiteY38536"/>
              </a:cxn>
              <a:cxn ang="0">
                <a:pos x="connsiteX38537" y="connsiteY38537"/>
              </a:cxn>
              <a:cxn ang="0">
                <a:pos x="connsiteX38538" y="connsiteY38538"/>
              </a:cxn>
              <a:cxn ang="0">
                <a:pos x="connsiteX38539" y="connsiteY38539"/>
              </a:cxn>
              <a:cxn ang="0">
                <a:pos x="connsiteX38540" y="connsiteY38540"/>
              </a:cxn>
              <a:cxn ang="0">
                <a:pos x="connsiteX38541" y="connsiteY38541"/>
              </a:cxn>
              <a:cxn ang="0">
                <a:pos x="connsiteX38542" y="connsiteY38542"/>
              </a:cxn>
              <a:cxn ang="0">
                <a:pos x="connsiteX38543" y="connsiteY38543"/>
              </a:cxn>
              <a:cxn ang="0">
                <a:pos x="connsiteX38544" y="connsiteY38544"/>
              </a:cxn>
              <a:cxn ang="0">
                <a:pos x="connsiteX38545" y="connsiteY38545"/>
              </a:cxn>
              <a:cxn ang="0">
                <a:pos x="connsiteX38546" y="connsiteY38546"/>
              </a:cxn>
              <a:cxn ang="0">
                <a:pos x="connsiteX38547" y="connsiteY38547"/>
              </a:cxn>
              <a:cxn ang="0">
                <a:pos x="connsiteX38548" y="connsiteY38548"/>
              </a:cxn>
              <a:cxn ang="0">
                <a:pos x="connsiteX38549" y="connsiteY38549"/>
              </a:cxn>
              <a:cxn ang="0">
                <a:pos x="connsiteX38550" y="connsiteY38550"/>
              </a:cxn>
              <a:cxn ang="0">
                <a:pos x="connsiteX38551" y="connsiteY38551"/>
              </a:cxn>
              <a:cxn ang="0">
                <a:pos x="connsiteX38552" y="connsiteY38552"/>
              </a:cxn>
              <a:cxn ang="0">
                <a:pos x="connsiteX38553" y="connsiteY38553"/>
              </a:cxn>
              <a:cxn ang="0">
                <a:pos x="connsiteX38554" y="connsiteY38554"/>
              </a:cxn>
              <a:cxn ang="0">
                <a:pos x="connsiteX38555" y="connsiteY38555"/>
              </a:cxn>
              <a:cxn ang="0">
                <a:pos x="connsiteX38556" y="connsiteY38556"/>
              </a:cxn>
              <a:cxn ang="0">
                <a:pos x="connsiteX38557" y="connsiteY38557"/>
              </a:cxn>
              <a:cxn ang="0">
                <a:pos x="connsiteX38558" y="connsiteY38558"/>
              </a:cxn>
              <a:cxn ang="0">
                <a:pos x="connsiteX38559" y="connsiteY38559"/>
              </a:cxn>
              <a:cxn ang="0">
                <a:pos x="connsiteX38560" y="connsiteY38560"/>
              </a:cxn>
              <a:cxn ang="0">
                <a:pos x="connsiteX38561" y="connsiteY38561"/>
              </a:cxn>
              <a:cxn ang="0">
                <a:pos x="connsiteX38562" y="connsiteY38562"/>
              </a:cxn>
              <a:cxn ang="0">
                <a:pos x="connsiteX38563" y="connsiteY38563"/>
              </a:cxn>
              <a:cxn ang="0">
                <a:pos x="connsiteX38564" y="connsiteY38564"/>
              </a:cxn>
              <a:cxn ang="0">
                <a:pos x="connsiteX38565" y="connsiteY38565"/>
              </a:cxn>
              <a:cxn ang="0">
                <a:pos x="connsiteX38566" y="connsiteY38566"/>
              </a:cxn>
              <a:cxn ang="0">
                <a:pos x="connsiteX38567" y="connsiteY38567"/>
              </a:cxn>
              <a:cxn ang="0">
                <a:pos x="connsiteX38568" y="connsiteY38568"/>
              </a:cxn>
              <a:cxn ang="0">
                <a:pos x="connsiteX38569" y="connsiteY38569"/>
              </a:cxn>
              <a:cxn ang="0">
                <a:pos x="connsiteX38570" y="connsiteY38570"/>
              </a:cxn>
              <a:cxn ang="0">
                <a:pos x="connsiteX38571" y="connsiteY38571"/>
              </a:cxn>
              <a:cxn ang="0">
                <a:pos x="connsiteX38572" y="connsiteY38572"/>
              </a:cxn>
              <a:cxn ang="0">
                <a:pos x="connsiteX38573" y="connsiteY38573"/>
              </a:cxn>
              <a:cxn ang="0">
                <a:pos x="connsiteX38574" y="connsiteY38574"/>
              </a:cxn>
              <a:cxn ang="0">
                <a:pos x="connsiteX38575" y="connsiteY38575"/>
              </a:cxn>
              <a:cxn ang="0">
                <a:pos x="connsiteX38576" y="connsiteY38576"/>
              </a:cxn>
              <a:cxn ang="0">
                <a:pos x="connsiteX38577" y="connsiteY38577"/>
              </a:cxn>
              <a:cxn ang="0">
                <a:pos x="connsiteX38578" y="connsiteY38578"/>
              </a:cxn>
              <a:cxn ang="0">
                <a:pos x="connsiteX38579" y="connsiteY38579"/>
              </a:cxn>
              <a:cxn ang="0">
                <a:pos x="connsiteX38580" y="connsiteY38580"/>
              </a:cxn>
              <a:cxn ang="0">
                <a:pos x="connsiteX38581" y="connsiteY38581"/>
              </a:cxn>
              <a:cxn ang="0">
                <a:pos x="connsiteX38582" y="connsiteY38582"/>
              </a:cxn>
              <a:cxn ang="0">
                <a:pos x="connsiteX38583" y="connsiteY38583"/>
              </a:cxn>
              <a:cxn ang="0">
                <a:pos x="connsiteX38584" y="connsiteY38584"/>
              </a:cxn>
              <a:cxn ang="0">
                <a:pos x="connsiteX38585" y="connsiteY38585"/>
              </a:cxn>
              <a:cxn ang="0">
                <a:pos x="connsiteX38586" y="connsiteY38586"/>
              </a:cxn>
              <a:cxn ang="0">
                <a:pos x="connsiteX38587" y="connsiteY38587"/>
              </a:cxn>
              <a:cxn ang="0">
                <a:pos x="connsiteX38588" y="connsiteY38588"/>
              </a:cxn>
              <a:cxn ang="0">
                <a:pos x="connsiteX38589" y="connsiteY38589"/>
              </a:cxn>
              <a:cxn ang="0">
                <a:pos x="connsiteX38590" y="connsiteY38590"/>
              </a:cxn>
              <a:cxn ang="0">
                <a:pos x="connsiteX38591" y="connsiteY38591"/>
              </a:cxn>
              <a:cxn ang="0">
                <a:pos x="connsiteX38592" y="connsiteY38592"/>
              </a:cxn>
              <a:cxn ang="0">
                <a:pos x="connsiteX38593" y="connsiteY38593"/>
              </a:cxn>
              <a:cxn ang="0">
                <a:pos x="connsiteX38594" y="connsiteY38594"/>
              </a:cxn>
              <a:cxn ang="0">
                <a:pos x="connsiteX38595" y="connsiteY38595"/>
              </a:cxn>
              <a:cxn ang="0">
                <a:pos x="connsiteX38596" y="connsiteY38596"/>
              </a:cxn>
              <a:cxn ang="0">
                <a:pos x="connsiteX38597" y="connsiteY38597"/>
              </a:cxn>
              <a:cxn ang="0">
                <a:pos x="connsiteX38598" y="connsiteY38598"/>
              </a:cxn>
              <a:cxn ang="0">
                <a:pos x="connsiteX38599" y="connsiteY38599"/>
              </a:cxn>
              <a:cxn ang="0">
                <a:pos x="connsiteX38600" y="connsiteY38600"/>
              </a:cxn>
              <a:cxn ang="0">
                <a:pos x="connsiteX38601" y="connsiteY38601"/>
              </a:cxn>
              <a:cxn ang="0">
                <a:pos x="connsiteX38602" y="connsiteY38602"/>
              </a:cxn>
              <a:cxn ang="0">
                <a:pos x="connsiteX38603" y="connsiteY38603"/>
              </a:cxn>
              <a:cxn ang="0">
                <a:pos x="connsiteX38604" y="connsiteY38604"/>
              </a:cxn>
              <a:cxn ang="0">
                <a:pos x="connsiteX38605" y="connsiteY38605"/>
              </a:cxn>
              <a:cxn ang="0">
                <a:pos x="connsiteX38606" y="connsiteY38606"/>
              </a:cxn>
              <a:cxn ang="0">
                <a:pos x="connsiteX38607" y="connsiteY38607"/>
              </a:cxn>
              <a:cxn ang="0">
                <a:pos x="connsiteX38608" y="connsiteY38608"/>
              </a:cxn>
              <a:cxn ang="0">
                <a:pos x="connsiteX38609" y="connsiteY38609"/>
              </a:cxn>
              <a:cxn ang="0">
                <a:pos x="connsiteX38610" y="connsiteY38610"/>
              </a:cxn>
              <a:cxn ang="0">
                <a:pos x="connsiteX38611" y="connsiteY38611"/>
              </a:cxn>
              <a:cxn ang="0">
                <a:pos x="connsiteX38612" y="connsiteY38612"/>
              </a:cxn>
              <a:cxn ang="0">
                <a:pos x="connsiteX38613" y="connsiteY38613"/>
              </a:cxn>
              <a:cxn ang="0">
                <a:pos x="connsiteX38614" y="connsiteY38614"/>
              </a:cxn>
              <a:cxn ang="0">
                <a:pos x="connsiteX38615" y="connsiteY38615"/>
              </a:cxn>
              <a:cxn ang="0">
                <a:pos x="connsiteX38616" y="connsiteY38616"/>
              </a:cxn>
              <a:cxn ang="0">
                <a:pos x="connsiteX38617" y="connsiteY38617"/>
              </a:cxn>
              <a:cxn ang="0">
                <a:pos x="connsiteX38618" y="connsiteY38618"/>
              </a:cxn>
              <a:cxn ang="0">
                <a:pos x="connsiteX38619" y="connsiteY38619"/>
              </a:cxn>
              <a:cxn ang="0">
                <a:pos x="connsiteX38620" y="connsiteY38620"/>
              </a:cxn>
              <a:cxn ang="0">
                <a:pos x="connsiteX38621" y="connsiteY38621"/>
              </a:cxn>
              <a:cxn ang="0">
                <a:pos x="connsiteX38622" y="connsiteY38622"/>
              </a:cxn>
              <a:cxn ang="0">
                <a:pos x="connsiteX38623" y="connsiteY38623"/>
              </a:cxn>
              <a:cxn ang="0">
                <a:pos x="connsiteX38624" y="connsiteY38624"/>
              </a:cxn>
              <a:cxn ang="0">
                <a:pos x="connsiteX38625" y="connsiteY38625"/>
              </a:cxn>
              <a:cxn ang="0">
                <a:pos x="connsiteX38626" y="connsiteY38626"/>
              </a:cxn>
              <a:cxn ang="0">
                <a:pos x="connsiteX38627" y="connsiteY38627"/>
              </a:cxn>
              <a:cxn ang="0">
                <a:pos x="connsiteX38628" y="connsiteY38628"/>
              </a:cxn>
              <a:cxn ang="0">
                <a:pos x="connsiteX38629" y="connsiteY38629"/>
              </a:cxn>
              <a:cxn ang="0">
                <a:pos x="connsiteX38630" y="connsiteY38630"/>
              </a:cxn>
              <a:cxn ang="0">
                <a:pos x="connsiteX38631" y="connsiteY38631"/>
              </a:cxn>
              <a:cxn ang="0">
                <a:pos x="connsiteX38632" y="connsiteY38632"/>
              </a:cxn>
              <a:cxn ang="0">
                <a:pos x="connsiteX38633" y="connsiteY38633"/>
              </a:cxn>
              <a:cxn ang="0">
                <a:pos x="connsiteX38634" y="connsiteY38634"/>
              </a:cxn>
              <a:cxn ang="0">
                <a:pos x="connsiteX38635" y="connsiteY38635"/>
              </a:cxn>
              <a:cxn ang="0">
                <a:pos x="connsiteX38636" y="connsiteY38636"/>
              </a:cxn>
              <a:cxn ang="0">
                <a:pos x="connsiteX38637" y="connsiteY38637"/>
              </a:cxn>
              <a:cxn ang="0">
                <a:pos x="connsiteX38638" y="connsiteY38638"/>
              </a:cxn>
              <a:cxn ang="0">
                <a:pos x="connsiteX38639" y="connsiteY38639"/>
              </a:cxn>
              <a:cxn ang="0">
                <a:pos x="connsiteX38640" y="connsiteY38640"/>
              </a:cxn>
              <a:cxn ang="0">
                <a:pos x="connsiteX38641" y="connsiteY38641"/>
              </a:cxn>
              <a:cxn ang="0">
                <a:pos x="connsiteX38642" y="connsiteY38642"/>
              </a:cxn>
              <a:cxn ang="0">
                <a:pos x="connsiteX38643" y="connsiteY38643"/>
              </a:cxn>
              <a:cxn ang="0">
                <a:pos x="connsiteX38644" y="connsiteY38644"/>
              </a:cxn>
              <a:cxn ang="0">
                <a:pos x="connsiteX38645" y="connsiteY38645"/>
              </a:cxn>
              <a:cxn ang="0">
                <a:pos x="connsiteX38646" y="connsiteY38646"/>
              </a:cxn>
              <a:cxn ang="0">
                <a:pos x="connsiteX38647" y="connsiteY38647"/>
              </a:cxn>
              <a:cxn ang="0">
                <a:pos x="connsiteX38648" y="connsiteY38648"/>
              </a:cxn>
              <a:cxn ang="0">
                <a:pos x="connsiteX38649" y="connsiteY38649"/>
              </a:cxn>
              <a:cxn ang="0">
                <a:pos x="connsiteX38650" y="connsiteY38650"/>
              </a:cxn>
              <a:cxn ang="0">
                <a:pos x="connsiteX38651" y="connsiteY38651"/>
              </a:cxn>
              <a:cxn ang="0">
                <a:pos x="connsiteX38652" y="connsiteY38652"/>
              </a:cxn>
              <a:cxn ang="0">
                <a:pos x="connsiteX38653" y="connsiteY38653"/>
              </a:cxn>
              <a:cxn ang="0">
                <a:pos x="connsiteX38654" y="connsiteY38654"/>
              </a:cxn>
              <a:cxn ang="0">
                <a:pos x="connsiteX38655" y="connsiteY38655"/>
              </a:cxn>
              <a:cxn ang="0">
                <a:pos x="connsiteX38656" y="connsiteY38656"/>
              </a:cxn>
              <a:cxn ang="0">
                <a:pos x="connsiteX38657" y="connsiteY38657"/>
              </a:cxn>
              <a:cxn ang="0">
                <a:pos x="connsiteX38658" y="connsiteY38658"/>
              </a:cxn>
              <a:cxn ang="0">
                <a:pos x="connsiteX38659" y="connsiteY38659"/>
              </a:cxn>
              <a:cxn ang="0">
                <a:pos x="connsiteX38660" y="connsiteY38660"/>
              </a:cxn>
              <a:cxn ang="0">
                <a:pos x="connsiteX38661" y="connsiteY38661"/>
              </a:cxn>
              <a:cxn ang="0">
                <a:pos x="connsiteX38662" y="connsiteY38662"/>
              </a:cxn>
              <a:cxn ang="0">
                <a:pos x="connsiteX38663" y="connsiteY38663"/>
              </a:cxn>
              <a:cxn ang="0">
                <a:pos x="connsiteX38664" y="connsiteY38664"/>
              </a:cxn>
              <a:cxn ang="0">
                <a:pos x="connsiteX38665" y="connsiteY38665"/>
              </a:cxn>
              <a:cxn ang="0">
                <a:pos x="connsiteX38666" y="connsiteY38666"/>
              </a:cxn>
              <a:cxn ang="0">
                <a:pos x="connsiteX38667" y="connsiteY38667"/>
              </a:cxn>
              <a:cxn ang="0">
                <a:pos x="connsiteX38668" y="connsiteY38668"/>
              </a:cxn>
              <a:cxn ang="0">
                <a:pos x="connsiteX38669" y="connsiteY38669"/>
              </a:cxn>
              <a:cxn ang="0">
                <a:pos x="connsiteX38670" y="connsiteY38670"/>
              </a:cxn>
              <a:cxn ang="0">
                <a:pos x="connsiteX38671" y="connsiteY38671"/>
              </a:cxn>
              <a:cxn ang="0">
                <a:pos x="connsiteX38672" y="connsiteY38672"/>
              </a:cxn>
              <a:cxn ang="0">
                <a:pos x="connsiteX38673" y="connsiteY38673"/>
              </a:cxn>
              <a:cxn ang="0">
                <a:pos x="connsiteX38674" y="connsiteY38674"/>
              </a:cxn>
              <a:cxn ang="0">
                <a:pos x="connsiteX38675" y="connsiteY38675"/>
              </a:cxn>
              <a:cxn ang="0">
                <a:pos x="connsiteX38676" y="connsiteY38676"/>
              </a:cxn>
              <a:cxn ang="0">
                <a:pos x="connsiteX38677" y="connsiteY38677"/>
              </a:cxn>
              <a:cxn ang="0">
                <a:pos x="connsiteX38678" y="connsiteY38678"/>
              </a:cxn>
              <a:cxn ang="0">
                <a:pos x="connsiteX38679" y="connsiteY38679"/>
              </a:cxn>
              <a:cxn ang="0">
                <a:pos x="connsiteX38680" y="connsiteY38680"/>
              </a:cxn>
              <a:cxn ang="0">
                <a:pos x="connsiteX38681" y="connsiteY38681"/>
              </a:cxn>
              <a:cxn ang="0">
                <a:pos x="connsiteX38682" y="connsiteY38682"/>
              </a:cxn>
              <a:cxn ang="0">
                <a:pos x="connsiteX38683" y="connsiteY38683"/>
              </a:cxn>
              <a:cxn ang="0">
                <a:pos x="connsiteX38684" y="connsiteY38684"/>
              </a:cxn>
              <a:cxn ang="0">
                <a:pos x="connsiteX38685" y="connsiteY38685"/>
              </a:cxn>
              <a:cxn ang="0">
                <a:pos x="connsiteX38686" y="connsiteY38686"/>
              </a:cxn>
              <a:cxn ang="0">
                <a:pos x="connsiteX38687" y="connsiteY38687"/>
              </a:cxn>
              <a:cxn ang="0">
                <a:pos x="connsiteX38688" y="connsiteY38688"/>
              </a:cxn>
              <a:cxn ang="0">
                <a:pos x="connsiteX38689" y="connsiteY38689"/>
              </a:cxn>
              <a:cxn ang="0">
                <a:pos x="connsiteX38690" y="connsiteY38690"/>
              </a:cxn>
              <a:cxn ang="0">
                <a:pos x="connsiteX38691" y="connsiteY38691"/>
              </a:cxn>
              <a:cxn ang="0">
                <a:pos x="connsiteX38692" y="connsiteY38692"/>
              </a:cxn>
              <a:cxn ang="0">
                <a:pos x="connsiteX38693" y="connsiteY38693"/>
              </a:cxn>
              <a:cxn ang="0">
                <a:pos x="connsiteX38694" y="connsiteY38694"/>
              </a:cxn>
              <a:cxn ang="0">
                <a:pos x="connsiteX38695" y="connsiteY38695"/>
              </a:cxn>
              <a:cxn ang="0">
                <a:pos x="connsiteX38696" y="connsiteY38696"/>
              </a:cxn>
              <a:cxn ang="0">
                <a:pos x="connsiteX38697" y="connsiteY38697"/>
              </a:cxn>
              <a:cxn ang="0">
                <a:pos x="connsiteX38698" y="connsiteY38698"/>
              </a:cxn>
              <a:cxn ang="0">
                <a:pos x="connsiteX38699" y="connsiteY38699"/>
              </a:cxn>
              <a:cxn ang="0">
                <a:pos x="connsiteX38700" y="connsiteY38700"/>
              </a:cxn>
              <a:cxn ang="0">
                <a:pos x="connsiteX38701" y="connsiteY38701"/>
              </a:cxn>
              <a:cxn ang="0">
                <a:pos x="connsiteX38702" y="connsiteY38702"/>
              </a:cxn>
              <a:cxn ang="0">
                <a:pos x="connsiteX38703" y="connsiteY38703"/>
              </a:cxn>
              <a:cxn ang="0">
                <a:pos x="connsiteX38704" y="connsiteY38704"/>
              </a:cxn>
              <a:cxn ang="0">
                <a:pos x="connsiteX38705" y="connsiteY38705"/>
              </a:cxn>
              <a:cxn ang="0">
                <a:pos x="connsiteX38706" y="connsiteY38706"/>
              </a:cxn>
              <a:cxn ang="0">
                <a:pos x="connsiteX38707" y="connsiteY38707"/>
              </a:cxn>
              <a:cxn ang="0">
                <a:pos x="connsiteX38708" y="connsiteY38708"/>
              </a:cxn>
              <a:cxn ang="0">
                <a:pos x="connsiteX38709" y="connsiteY38709"/>
              </a:cxn>
              <a:cxn ang="0">
                <a:pos x="connsiteX38710" y="connsiteY38710"/>
              </a:cxn>
              <a:cxn ang="0">
                <a:pos x="connsiteX38711" y="connsiteY38711"/>
              </a:cxn>
              <a:cxn ang="0">
                <a:pos x="connsiteX38712" y="connsiteY38712"/>
              </a:cxn>
              <a:cxn ang="0">
                <a:pos x="connsiteX38713" y="connsiteY38713"/>
              </a:cxn>
              <a:cxn ang="0">
                <a:pos x="connsiteX38714" y="connsiteY38714"/>
              </a:cxn>
              <a:cxn ang="0">
                <a:pos x="connsiteX38715" y="connsiteY38715"/>
              </a:cxn>
              <a:cxn ang="0">
                <a:pos x="connsiteX38716" y="connsiteY38716"/>
              </a:cxn>
              <a:cxn ang="0">
                <a:pos x="connsiteX38717" y="connsiteY38717"/>
              </a:cxn>
              <a:cxn ang="0">
                <a:pos x="connsiteX38718" y="connsiteY38718"/>
              </a:cxn>
              <a:cxn ang="0">
                <a:pos x="connsiteX38719" y="connsiteY38719"/>
              </a:cxn>
              <a:cxn ang="0">
                <a:pos x="connsiteX38720" y="connsiteY38720"/>
              </a:cxn>
              <a:cxn ang="0">
                <a:pos x="connsiteX38721" y="connsiteY38721"/>
              </a:cxn>
              <a:cxn ang="0">
                <a:pos x="connsiteX38722" y="connsiteY38722"/>
              </a:cxn>
              <a:cxn ang="0">
                <a:pos x="connsiteX38723" y="connsiteY38723"/>
              </a:cxn>
              <a:cxn ang="0">
                <a:pos x="connsiteX38724" y="connsiteY38724"/>
              </a:cxn>
              <a:cxn ang="0">
                <a:pos x="connsiteX38725" y="connsiteY38725"/>
              </a:cxn>
              <a:cxn ang="0">
                <a:pos x="connsiteX38726" y="connsiteY38726"/>
              </a:cxn>
              <a:cxn ang="0">
                <a:pos x="connsiteX38727" y="connsiteY38727"/>
              </a:cxn>
              <a:cxn ang="0">
                <a:pos x="connsiteX38728" y="connsiteY38728"/>
              </a:cxn>
              <a:cxn ang="0">
                <a:pos x="connsiteX38729" y="connsiteY38729"/>
              </a:cxn>
              <a:cxn ang="0">
                <a:pos x="connsiteX38730" y="connsiteY38730"/>
              </a:cxn>
              <a:cxn ang="0">
                <a:pos x="connsiteX38731" y="connsiteY38731"/>
              </a:cxn>
              <a:cxn ang="0">
                <a:pos x="connsiteX38732" y="connsiteY38732"/>
              </a:cxn>
              <a:cxn ang="0">
                <a:pos x="connsiteX38733" y="connsiteY38733"/>
              </a:cxn>
              <a:cxn ang="0">
                <a:pos x="connsiteX38734" y="connsiteY38734"/>
              </a:cxn>
              <a:cxn ang="0">
                <a:pos x="connsiteX38735" y="connsiteY38735"/>
              </a:cxn>
              <a:cxn ang="0">
                <a:pos x="connsiteX38736" y="connsiteY38736"/>
              </a:cxn>
              <a:cxn ang="0">
                <a:pos x="connsiteX38737" y="connsiteY38737"/>
              </a:cxn>
              <a:cxn ang="0">
                <a:pos x="connsiteX38738" y="connsiteY38738"/>
              </a:cxn>
              <a:cxn ang="0">
                <a:pos x="connsiteX38739" y="connsiteY38739"/>
              </a:cxn>
              <a:cxn ang="0">
                <a:pos x="connsiteX38740" y="connsiteY38740"/>
              </a:cxn>
              <a:cxn ang="0">
                <a:pos x="connsiteX38741" y="connsiteY38741"/>
              </a:cxn>
              <a:cxn ang="0">
                <a:pos x="connsiteX38742" y="connsiteY38742"/>
              </a:cxn>
              <a:cxn ang="0">
                <a:pos x="connsiteX38743" y="connsiteY38743"/>
              </a:cxn>
              <a:cxn ang="0">
                <a:pos x="connsiteX38744" y="connsiteY38744"/>
              </a:cxn>
              <a:cxn ang="0">
                <a:pos x="connsiteX38745" y="connsiteY38745"/>
              </a:cxn>
              <a:cxn ang="0">
                <a:pos x="connsiteX38746" y="connsiteY38746"/>
              </a:cxn>
              <a:cxn ang="0">
                <a:pos x="connsiteX38747" y="connsiteY38747"/>
              </a:cxn>
              <a:cxn ang="0">
                <a:pos x="connsiteX38748" y="connsiteY38748"/>
              </a:cxn>
              <a:cxn ang="0">
                <a:pos x="connsiteX38749" y="connsiteY38749"/>
              </a:cxn>
              <a:cxn ang="0">
                <a:pos x="connsiteX38750" y="connsiteY38750"/>
              </a:cxn>
              <a:cxn ang="0">
                <a:pos x="connsiteX38751" y="connsiteY38751"/>
              </a:cxn>
              <a:cxn ang="0">
                <a:pos x="connsiteX38752" y="connsiteY38752"/>
              </a:cxn>
              <a:cxn ang="0">
                <a:pos x="connsiteX38753" y="connsiteY38753"/>
              </a:cxn>
              <a:cxn ang="0">
                <a:pos x="connsiteX38754" y="connsiteY38754"/>
              </a:cxn>
              <a:cxn ang="0">
                <a:pos x="connsiteX38755" y="connsiteY38755"/>
              </a:cxn>
              <a:cxn ang="0">
                <a:pos x="connsiteX38756" y="connsiteY38756"/>
              </a:cxn>
              <a:cxn ang="0">
                <a:pos x="connsiteX38757" y="connsiteY38757"/>
              </a:cxn>
              <a:cxn ang="0">
                <a:pos x="connsiteX38758" y="connsiteY38758"/>
              </a:cxn>
              <a:cxn ang="0">
                <a:pos x="connsiteX38759" y="connsiteY38759"/>
              </a:cxn>
              <a:cxn ang="0">
                <a:pos x="connsiteX38760" y="connsiteY38760"/>
              </a:cxn>
              <a:cxn ang="0">
                <a:pos x="connsiteX38761" y="connsiteY38761"/>
              </a:cxn>
              <a:cxn ang="0">
                <a:pos x="connsiteX38762" y="connsiteY38762"/>
              </a:cxn>
              <a:cxn ang="0">
                <a:pos x="connsiteX38763" y="connsiteY38763"/>
              </a:cxn>
              <a:cxn ang="0">
                <a:pos x="connsiteX38764" y="connsiteY38764"/>
              </a:cxn>
              <a:cxn ang="0">
                <a:pos x="connsiteX38765" y="connsiteY38765"/>
              </a:cxn>
              <a:cxn ang="0">
                <a:pos x="connsiteX38766" y="connsiteY38766"/>
              </a:cxn>
              <a:cxn ang="0">
                <a:pos x="connsiteX38767" y="connsiteY38767"/>
              </a:cxn>
              <a:cxn ang="0">
                <a:pos x="connsiteX38768" y="connsiteY38768"/>
              </a:cxn>
              <a:cxn ang="0">
                <a:pos x="connsiteX38769" y="connsiteY38769"/>
              </a:cxn>
              <a:cxn ang="0">
                <a:pos x="connsiteX38770" y="connsiteY38770"/>
              </a:cxn>
              <a:cxn ang="0">
                <a:pos x="connsiteX38771" y="connsiteY38771"/>
              </a:cxn>
              <a:cxn ang="0">
                <a:pos x="connsiteX38772" y="connsiteY38772"/>
              </a:cxn>
              <a:cxn ang="0">
                <a:pos x="connsiteX38773" y="connsiteY38773"/>
              </a:cxn>
              <a:cxn ang="0">
                <a:pos x="connsiteX38774" y="connsiteY38774"/>
              </a:cxn>
              <a:cxn ang="0">
                <a:pos x="connsiteX38775" y="connsiteY38775"/>
              </a:cxn>
              <a:cxn ang="0">
                <a:pos x="connsiteX38776" y="connsiteY38776"/>
              </a:cxn>
              <a:cxn ang="0">
                <a:pos x="connsiteX38777" y="connsiteY38777"/>
              </a:cxn>
              <a:cxn ang="0">
                <a:pos x="connsiteX38778" y="connsiteY38778"/>
              </a:cxn>
              <a:cxn ang="0">
                <a:pos x="connsiteX38779" y="connsiteY38779"/>
              </a:cxn>
              <a:cxn ang="0">
                <a:pos x="connsiteX38780" y="connsiteY38780"/>
              </a:cxn>
              <a:cxn ang="0">
                <a:pos x="connsiteX38781" y="connsiteY38781"/>
              </a:cxn>
              <a:cxn ang="0">
                <a:pos x="connsiteX38782" y="connsiteY38782"/>
              </a:cxn>
              <a:cxn ang="0">
                <a:pos x="connsiteX38783" y="connsiteY38783"/>
              </a:cxn>
              <a:cxn ang="0">
                <a:pos x="connsiteX38784" y="connsiteY38784"/>
              </a:cxn>
              <a:cxn ang="0">
                <a:pos x="connsiteX38785" y="connsiteY38785"/>
              </a:cxn>
              <a:cxn ang="0">
                <a:pos x="connsiteX38786" y="connsiteY38786"/>
              </a:cxn>
              <a:cxn ang="0">
                <a:pos x="connsiteX38787" y="connsiteY38787"/>
              </a:cxn>
              <a:cxn ang="0">
                <a:pos x="connsiteX38788" y="connsiteY38788"/>
              </a:cxn>
              <a:cxn ang="0">
                <a:pos x="connsiteX38789" y="connsiteY38789"/>
              </a:cxn>
              <a:cxn ang="0">
                <a:pos x="connsiteX38790" y="connsiteY38790"/>
              </a:cxn>
              <a:cxn ang="0">
                <a:pos x="connsiteX38791" y="connsiteY38791"/>
              </a:cxn>
              <a:cxn ang="0">
                <a:pos x="connsiteX38792" y="connsiteY38792"/>
              </a:cxn>
              <a:cxn ang="0">
                <a:pos x="connsiteX38793" y="connsiteY38793"/>
              </a:cxn>
              <a:cxn ang="0">
                <a:pos x="connsiteX38794" y="connsiteY38794"/>
              </a:cxn>
              <a:cxn ang="0">
                <a:pos x="connsiteX38795" y="connsiteY38795"/>
              </a:cxn>
              <a:cxn ang="0">
                <a:pos x="connsiteX38796" y="connsiteY38796"/>
              </a:cxn>
              <a:cxn ang="0">
                <a:pos x="connsiteX38797" y="connsiteY38797"/>
              </a:cxn>
              <a:cxn ang="0">
                <a:pos x="connsiteX38798" y="connsiteY38798"/>
              </a:cxn>
              <a:cxn ang="0">
                <a:pos x="connsiteX38799" y="connsiteY38799"/>
              </a:cxn>
              <a:cxn ang="0">
                <a:pos x="connsiteX38800" y="connsiteY38800"/>
              </a:cxn>
              <a:cxn ang="0">
                <a:pos x="connsiteX38801" y="connsiteY38801"/>
              </a:cxn>
              <a:cxn ang="0">
                <a:pos x="connsiteX38802" y="connsiteY38802"/>
              </a:cxn>
              <a:cxn ang="0">
                <a:pos x="connsiteX38803" y="connsiteY38803"/>
              </a:cxn>
              <a:cxn ang="0">
                <a:pos x="connsiteX38804" y="connsiteY38804"/>
              </a:cxn>
              <a:cxn ang="0">
                <a:pos x="connsiteX38805" y="connsiteY38805"/>
              </a:cxn>
              <a:cxn ang="0">
                <a:pos x="connsiteX38806" y="connsiteY38806"/>
              </a:cxn>
              <a:cxn ang="0">
                <a:pos x="connsiteX38807" y="connsiteY38807"/>
              </a:cxn>
              <a:cxn ang="0">
                <a:pos x="connsiteX38808" y="connsiteY38808"/>
              </a:cxn>
              <a:cxn ang="0">
                <a:pos x="connsiteX38809" y="connsiteY38809"/>
              </a:cxn>
              <a:cxn ang="0">
                <a:pos x="connsiteX38810" y="connsiteY38810"/>
              </a:cxn>
              <a:cxn ang="0">
                <a:pos x="connsiteX38811" y="connsiteY38811"/>
              </a:cxn>
              <a:cxn ang="0">
                <a:pos x="connsiteX38812" y="connsiteY38812"/>
              </a:cxn>
              <a:cxn ang="0">
                <a:pos x="connsiteX38813" y="connsiteY38813"/>
              </a:cxn>
              <a:cxn ang="0">
                <a:pos x="connsiteX38814" y="connsiteY38814"/>
              </a:cxn>
              <a:cxn ang="0">
                <a:pos x="connsiteX38815" y="connsiteY38815"/>
              </a:cxn>
              <a:cxn ang="0">
                <a:pos x="connsiteX38816" y="connsiteY38816"/>
              </a:cxn>
              <a:cxn ang="0">
                <a:pos x="connsiteX38817" y="connsiteY38817"/>
              </a:cxn>
              <a:cxn ang="0">
                <a:pos x="connsiteX38818" y="connsiteY38818"/>
              </a:cxn>
              <a:cxn ang="0">
                <a:pos x="connsiteX38819" y="connsiteY38819"/>
              </a:cxn>
              <a:cxn ang="0">
                <a:pos x="connsiteX38820" y="connsiteY38820"/>
              </a:cxn>
              <a:cxn ang="0">
                <a:pos x="connsiteX38821" y="connsiteY38821"/>
              </a:cxn>
              <a:cxn ang="0">
                <a:pos x="connsiteX38822" y="connsiteY38822"/>
              </a:cxn>
              <a:cxn ang="0">
                <a:pos x="connsiteX38823" y="connsiteY38823"/>
              </a:cxn>
              <a:cxn ang="0">
                <a:pos x="connsiteX38824" y="connsiteY38824"/>
              </a:cxn>
              <a:cxn ang="0">
                <a:pos x="connsiteX38825" y="connsiteY38825"/>
              </a:cxn>
              <a:cxn ang="0">
                <a:pos x="connsiteX38826" y="connsiteY38826"/>
              </a:cxn>
              <a:cxn ang="0">
                <a:pos x="connsiteX38827" y="connsiteY38827"/>
              </a:cxn>
              <a:cxn ang="0">
                <a:pos x="connsiteX38828" y="connsiteY38828"/>
              </a:cxn>
              <a:cxn ang="0">
                <a:pos x="connsiteX38829" y="connsiteY38829"/>
              </a:cxn>
              <a:cxn ang="0">
                <a:pos x="connsiteX38830" y="connsiteY38830"/>
              </a:cxn>
              <a:cxn ang="0">
                <a:pos x="connsiteX38831" y="connsiteY38831"/>
              </a:cxn>
              <a:cxn ang="0">
                <a:pos x="connsiteX38832" y="connsiteY38832"/>
              </a:cxn>
              <a:cxn ang="0">
                <a:pos x="connsiteX38833" y="connsiteY38833"/>
              </a:cxn>
              <a:cxn ang="0">
                <a:pos x="connsiteX38834" y="connsiteY38834"/>
              </a:cxn>
              <a:cxn ang="0">
                <a:pos x="connsiteX38835" y="connsiteY38835"/>
              </a:cxn>
              <a:cxn ang="0">
                <a:pos x="connsiteX38836" y="connsiteY38836"/>
              </a:cxn>
              <a:cxn ang="0">
                <a:pos x="connsiteX38837" y="connsiteY38837"/>
              </a:cxn>
              <a:cxn ang="0">
                <a:pos x="connsiteX38838" y="connsiteY38838"/>
              </a:cxn>
              <a:cxn ang="0">
                <a:pos x="connsiteX38839" y="connsiteY38839"/>
              </a:cxn>
              <a:cxn ang="0">
                <a:pos x="connsiteX38840" y="connsiteY38840"/>
              </a:cxn>
              <a:cxn ang="0">
                <a:pos x="connsiteX38841" y="connsiteY38841"/>
              </a:cxn>
              <a:cxn ang="0">
                <a:pos x="connsiteX38842" y="connsiteY38842"/>
              </a:cxn>
              <a:cxn ang="0">
                <a:pos x="connsiteX38843" y="connsiteY38843"/>
              </a:cxn>
              <a:cxn ang="0">
                <a:pos x="connsiteX38844" y="connsiteY38844"/>
              </a:cxn>
              <a:cxn ang="0">
                <a:pos x="connsiteX38845" y="connsiteY38845"/>
              </a:cxn>
              <a:cxn ang="0">
                <a:pos x="connsiteX38846" y="connsiteY38846"/>
              </a:cxn>
              <a:cxn ang="0">
                <a:pos x="connsiteX38847" y="connsiteY38847"/>
              </a:cxn>
              <a:cxn ang="0">
                <a:pos x="connsiteX38848" y="connsiteY38848"/>
              </a:cxn>
              <a:cxn ang="0">
                <a:pos x="connsiteX38849" y="connsiteY38849"/>
              </a:cxn>
              <a:cxn ang="0">
                <a:pos x="connsiteX38850" y="connsiteY38850"/>
              </a:cxn>
              <a:cxn ang="0">
                <a:pos x="connsiteX38851" y="connsiteY38851"/>
              </a:cxn>
              <a:cxn ang="0">
                <a:pos x="connsiteX38852" y="connsiteY38852"/>
              </a:cxn>
              <a:cxn ang="0">
                <a:pos x="connsiteX38853" y="connsiteY38853"/>
              </a:cxn>
              <a:cxn ang="0">
                <a:pos x="connsiteX38854" y="connsiteY38854"/>
              </a:cxn>
              <a:cxn ang="0">
                <a:pos x="connsiteX38855" y="connsiteY38855"/>
              </a:cxn>
              <a:cxn ang="0">
                <a:pos x="connsiteX38856" y="connsiteY38856"/>
              </a:cxn>
              <a:cxn ang="0">
                <a:pos x="connsiteX38857" y="connsiteY38857"/>
              </a:cxn>
              <a:cxn ang="0">
                <a:pos x="connsiteX38858" y="connsiteY38858"/>
              </a:cxn>
              <a:cxn ang="0">
                <a:pos x="connsiteX38859" y="connsiteY38859"/>
              </a:cxn>
              <a:cxn ang="0">
                <a:pos x="connsiteX38860" y="connsiteY38860"/>
              </a:cxn>
              <a:cxn ang="0">
                <a:pos x="connsiteX38861" y="connsiteY38861"/>
              </a:cxn>
              <a:cxn ang="0">
                <a:pos x="connsiteX38862" y="connsiteY38862"/>
              </a:cxn>
              <a:cxn ang="0">
                <a:pos x="connsiteX38863" y="connsiteY38863"/>
              </a:cxn>
              <a:cxn ang="0">
                <a:pos x="connsiteX38864" y="connsiteY38864"/>
              </a:cxn>
              <a:cxn ang="0">
                <a:pos x="connsiteX38865" y="connsiteY38865"/>
              </a:cxn>
              <a:cxn ang="0">
                <a:pos x="connsiteX38866" y="connsiteY38866"/>
              </a:cxn>
              <a:cxn ang="0">
                <a:pos x="connsiteX38867" y="connsiteY38867"/>
              </a:cxn>
              <a:cxn ang="0">
                <a:pos x="connsiteX38868" y="connsiteY38868"/>
              </a:cxn>
              <a:cxn ang="0">
                <a:pos x="connsiteX38869" y="connsiteY38869"/>
              </a:cxn>
              <a:cxn ang="0">
                <a:pos x="connsiteX38870" y="connsiteY38870"/>
              </a:cxn>
              <a:cxn ang="0">
                <a:pos x="connsiteX38871" y="connsiteY38871"/>
              </a:cxn>
              <a:cxn ang="0">
                <a:pos x="connsiteX38872" y="connsiteY38872"/>
              </a:cxn>
              <a:cxn ang="0">
                <a:pos x="connsiteX38873" y="connsiteY38873"/>
              </a:cxn>
              <a:cxn ang="0">
                <a:pos x="connsiteX38874" y="connsiteY38874"/>
              </a:cxn>
              <a:cxn ang="0">
                <a:pos x="connsiteX38875" y="connsiteY38875"/>
              </a:cxn>
              <a:cxn ang="0">
                <a:pos x="connsiteX38876" y="connsiteY38876"/>
              </a:cxn>
              <a:cxn ang="0">
                <a:pos x="connsiteX38877" y="connsiteY38877"/>
              </a:cxn>
              <a:cxn ang="0">
                <a:pos x="connsiteX38878" y="connsiteY38878"/>
              </a:cxn>
              <a:cxn ang="0">
                <a:pos x="connsiteX38879" y="connsiteY38879"/>
              </a:cxn>
              <a:cxn ang="0">
                <a:pos x="connsiteX38880" y="connsiteY38880"/>
              </a:cxn>
              <a:cxn ang="0">
                <a:pos x="connsiteX38881" y="connsiteY38881"/>
              </a:cxn>
              <a:cxn ang="0">
                <a:pos x="connsiteX38882" y="connsiteY38882"/>
              </a:cxn>
              <a:cxn ang="0">
                <a:pos x="connsiteX38883" y="connsiteY38883"/>
              </a:cxn>
              <a:cxn ang="0">
                <a:pos x="connsiteX38884" y="connsiteY38884"/>
              </a:cxn>
              <a:cxn ang="0">
                <a:pos x="connsiteX38885" y="connsiteY38885"/>
              </a:cxn>
              <a:cxn ang="0">
                <a:pos x="connsiteX38886" y="connsiteY38886"/>
              </a:cxn>
              <a:cxn ang="0">
                <a:pos x="connsiteX38887" y="connsiteY38887"/>
              </a:cxn>
              <a:cxn ang="0">
                <a:pos x="connsiteX38888" y="connsiteY38888"/>
              </a:cxn>
              <a:cxn ang="0">
                <a:pos x="connsiteX38889" y="connsiteY38889"/>
              </a:cxn>
              <a:cxn ang="0">
                <a:pos x="connsiteX38890" y="connsiteY38890"/>
              </a:cxn>
              <a:cxn ang="0">
                <a:pos x="connsiteX38891" y="connsiteY38891"/>
              </a:cxn>
              <a:cxn ang="0">
                <a:pos x="connsiteX38892" y="connsiteY38892"/>
              </a:cxn>
              <a:cxn ang="0">
                <a:pos x="connsiteX38893" y="connsiteY38893"/>
              </a:cxn>
              <a:cxn ang="0">
                <a:pos x="connsiteX38894" y="connsiteY38894"/>
              </a:cxn>
              <a:cxn ang="0">
                <a:pos x="connsiteX38895" y="connsiteY38895"/>
              </a:cxn>
              <a:cxn ang="0">
                <a:pos x="connsiteX38896" y="connsiteY38896"/>
              </a:cxn>
              <a:cxn ang="0">
                <a:pos x="connsiteX38897" y="connsiteY38897"/>
              </a:cxn>
              <a:cxn ang="0">
                <a:pos x="connsiteX38898" y="connsiteY38898"/>
              </a:cxn>
              <a:cxn ang="0">
                <a:pos x="connsiteX38899" y="connsiteY38899"/>
              </a:cxn>
              <a:cxn ang="0">
                <a:pos x="connsiteX38900" y="connsiteY38900"/>
              </a:cxn>
              <a:cxn ang="0">
                <a:pos x="connsiteX38901" y="connsiteY38901"/>
              </a:cxn>
              <a:cxn ang="0">
                <a:pos x="connsiteX38902" y="connsiteY38902"/>
              </a:cxn>
              <a:cxn ang="0">
                <a:pos x="connsiteX38903" y="connsiteY38903"/>
              </a:cxn>
              <a:cxn ang="0">
                <a:pos x="connsiteX38904" y="connsiteY38904"/>
              </a:cxn>
              <a:cxn ang="0">
                <a:pos x="connsiteX38905" y="connsiteY38905"/>
              </a:cxn>
              <a:cxn ang="0">
                <a:pos x="connsiteX38906" y="connsiteY38906"/>
              </a:cxn>
              <a:cxn ang="0">
                <a:pos x="connsiteX38907" y="connsiteY38907"/>
              </a:cxn>
              <a:cxn ang="0">
                <a:pos x="connsiteX38908" y="connsiteY38908"/>
              </a:cxn>
              <a:cxn ang="0">
                <a:pos x="connsiteX38909" y="connsiteY38909"/>
              </a:cxn>
              <a:cxn ang="0">
                <a:pos x="connsiteX38910" y="connsiteY38910"/>
              </a:cxn>
              <a:cxn ang="0">
                <a:pos x="connsiteX38911" y="connsiteY38911"/>
              </a:cxn>
              <a:cxn ang="0">
                <a:pos x="connsiteX38912" y="connsiteY38912"/>
              </a:cxn>
              <a:cxn ang="0">
                <a:pos x="connsiteX38913" y="connsiteY38913"/>
              </a:cxn>
              <a:cxn ang="0">
                <a:pos x="connsiteX38914" y="connsiteY38914"/>
              </a:cxn>
              <a:cxn ang="0">
                <a:pos x="connsiteX38915" y="connsiteY38915"/>
              </a:cxn>
              <a:cxn ang="0">
                <a:pos x="connsiteX38916" y="connsiteY38916"/>
              </a:cxn>
              <a:cxn ang="0">
                <a:pos x="connsiteX38917" y="connsiteY38917"/>
              </a:cxn>
              <a:cxn ang="0">
                <a:pos x="connsiteX38918" y="connsiteY38918"/>
              </a:cxn>
              <a:cxn ang="0">
                <a:pos x="connsiteX38919" y="connsiteY38919"/>
              </a:cxn>
              <a:cxn ang="0">
                <a:pos x="connsiteX38920" y="connsiteY38920"/>
              </a:cxn>
              <a:cxn ang="0">
                <a:pos x="connsiteX38921" y="connsiteY38921"/>
              </a:cxn>
              <a:cxn ang="0">
                <a:pos x="connsiteX38922" y="connsiteY38922"/>
              </a:cxn>
              <a:cxn ang="0">
                <a:pos x="connsiteX38923" y="connsiteY38923"/>
              </a:cxn>
              <a:cxn ang="0">
                <a:pos x="connsiteX38924" y="connsiteY38924"/>
              </a:cxn>
              <a:cxn ang="0">
                <a:pos x="connsiteX38925" y="connsiteY38925"/>
              </a:cxn>
              <a:cxn ang="0">
                <a:pos x="connsiteX38926" y="connsiteY38926"/>
              </a:cxn>
              <a:cxn ang="0">
                <a:pos x="connsiteX38927" y="connsiteY38927"/>
              </a:cxn>
              <a:cxn ang="0">
                <a:pos x="connsiteX38928" y="connsiteY38928"/>
              </a:cxn>
              <a:cxn ang="0">
                <a:pos x="connsiteX38929" y="connsiteY38929"/>
              </a:cxn>
              <a:cxn ang="0">
                <a:pos x="connsiteX38930" y="connsiteY38930"/>
              </a:cxn>
              <a:cxn ang="0">
                <a:pos x="connsiteX38931" y="connsiteY38931"/>
              </a:cxn>
              <a:cxn ang="0">
                <a:pos x="connsiteX38932" y="connsiteY38932"/>
              </a:cxn>
              <a:cxn ang="0">
                <a:pos x="connsiteX38933" y="connsiteY38933"/>
              </a:cxn>
              <a:cxn ang="0">
                <a:pos x="connsiteX38934" y="connsiteY38934"/>
              </a:cxn>
              <a:cxn ang="0">
                <a:pos x="connsiteX38935" y="connsiteY38935"/>
              </a:cxn>
              <a:cxn ang="0">
                <a:pos x="connsiteX38936" y="connsiteY38936"/>
              </a:cxn>
              <a:cxn ang="0">
                <a:pos x="connsiteX38937" y="connsiteY38937"/>
              </a:cxn>
              <a:cxn ang="0">
                <a:pos x="connsiteX38938" y="connsiteY38938"/>
              </a:cxn>
              <a:cxn ang="0">
                <a:pos x="connsiteX38939" y="connsiteY38939"/>
              </a:cxn>
              <a:cxn ang="0">
                <a:pos x="connsiteX38940" y="connsiteY38940"/>
              </a:cxn>
              <a:cxn ang="0">
                <a:pos x="connsiteX38941" y="connsiteY38941"/>
              </a:cxn>
              <a:cxn ang="0">
                <a:pos x="connsiteX38942" y="connsiteY38942"/>
              </a:cxn>
              <a:cxn ang="0">
                <a:pos x="connsiteX38943" y="connsiteY38943"/>
              </a:cxn>
              <a:cxn ang="0">
                <a:pos x="connsiteX38944" y="connsiteY38944"/>
              </a:cxn>
              <a:cxn ang="0">
                <a:pos x="connsiteX38945" y="connsiteY38945"/>
              </a:cxn>
              <a:cxn ang="0">
                <a:pos x="connsiteX38946" y="connsiteY38946"/>
              </a:cxn>
              <a:cxn ang="0">
                <a:pos x="connsiteX38947" y="connsiteY38947"/>
              </a:cxn>
              <a:cxn ang="0">
                <a:pos x="connsiteX38948" y="connsiteY38948"/>
              </a:cxn>
              <a:cxn ang="0">
                <a:pos x="connsiteX38949" y="connsiteY38949"/>
              </a:cxn>
              <a:cxn ang="0">
                <a:pos x="connsiteX38950" y="connsiteY38950"/>
              </a:cxn>
              <a:cxn ang="0">
                <a:pos x="connsiteX38951" y="connsiteY38951"/>
              </a:cxn>
              <a:cxn ang="0">
                <a:pos x="connsiteX38952" y="connsiteY38952"/>
              </a:cxn>
              <a:cxn ang="0">
                <a:pos x="connsiteX38953" y="connsiteY38953"/>
              </a:cxn>
              <a:cxn ang="0">
                <a:pos x="connsiteX38954" y="connsiteY38954"/>
              </a:cxn>
              <a:cxn ang="0">
                <a:pos x="connsiteX38955" y="connsiteY38955"/>
              </a:cxn>
              <a:cxn ang="0">
                <a:pos x="connsiteX38956" y="connsiteY38956"/>
              </a:cxn>
              <a:cxn ang="0">
                <a:pos x="connsiteX38957" y="connsiteY38957"/>
              </a:cxn>
              <a:cxn ang="0">
                <a:pos x="connsiteX38958" y="connsiteY38958"/>
              </a:cxn>
              <a:cxn ang="0">
                <a:pos x="connsiteX38959" y="connsiteY38959"/>
              </a:cxn>
              <a:cxn ang="0">
                <a:pos x="connsiteX38960" y="connsiteY38960"/>
              </a:cxn>
              <a:cxn ang="0">
                <a:pos x="connsiteX38961" y="connsiteY38961"/>
              </a:cxn>
              <a:cxn ang="0">
                <a:pos x="connsiteX38962" y="connsiteY38962"/>
              </a:cxn>
              <a:cxn ang="0">
                <a:pos x="connsiteX38963" y="connsiteY38963"/>
              </a:cxn>
              <a:cxn ang="0">
                <a:pos x="connsiteX38964" y="connsiteY38964"/>
              </a:cxn>
              <a:cxn ang="0">
                <a:pos x="connsiteX38965" y="connsiteY38965"/>
              </a:cxn>
              <a:cxn ang="0">
                <a:pos x="connsiteX38966" y="connsiteY38966"/>
              </a:cxn>
              <a:cxn ang="0">
                <a:pos x="connsiteX38967" y="connsiteY38967"/>
              </a:cxn>
              <a:cxn ang="0">
                <a:pos x="connsiteX38968" y="connsiteY38968"/>
              </a:cxn>
              <a:cxn ang="0">
                <a:pos x="connsiteX38969" y="connsiteY38969"/>
              </a:cxn>
              <a:cxn ang="0">
                <a:pos x="connsiteX38970" y="connsiteY38970"/>
              </a:cxn>
              <a:cxn ang="0">
                <a:pos x="connsiteX38971" y="connsiteY38971"/>
              </a:cxn>
              <a:cxn ang="0">
                <a:pos x="connsiteX38972" y="connsiteY38972"/>
              </a:cxn>
              <a:cxn ang="0">
                <a:pos x="connsiteX38973" y="connsiteY38973"/>
              </a:cxn>
              <a:cxn ang="0">
                <a:pos x="connsiteX38974" y="connsiteY38974"/>
              </a:cxn>
              <a:cxn ang="0">
                <a:pos x="connsiteX38975" y="connsiteY38975"/>
              </a:cxn>
              <a:cxn ang="0">
                <a:pos x="connsiteX38976" y="connsiteY38976"/>
              </a:cxn>
              <a:cxn ang="0">
                <a:pos x="connsiteX38977" y="connsiteY38977"/>
              </a:cxn>
              <a:cxn ang="0">
                <a:pos x="connsiteX38978" y="connsiteY38978"/>
              </a:cxn>
              <a:cxn ang="0">
                <a:pos x="connsiteX38979" y="connsiteY38979"/>
              </a:cxn>
              <a:cxn ang="0">
                <a:pos x="connsiteX38980" y="connsiteY38980"/>
              </a:cxn>
              <a:cxn ang="0">
                <a:pos x="connsiteX38981" y="connsiteY38981"/>
              </a:cxn>
              <a:cxn ang="0">
                <a:pos x="connsiteX38982" y="connsiteY38982"/>
              </a:cxn>
              <a:cxn ang="0">
                <a:pos x="connsiteX38983" y="connsiteY38983"/>
              </a:cxn>
              <a:cxn ang="0">
                <a:pos x="connsiteX38984" y="connsiteY38984"/>
              </a:cxn>
              <a:cxn ang="0">
                <a:pos x="connsiteX38985" y="connsiteY38985"/>
              </a:cxn>
              <a:cxn ang="0">
                <a:pos x="connsiteX38986" y="connsiteY38986"/>
              </a:cxn>
              <a:cxn ang="0">
                <a:pos x="connsiteX38987" y="connsiteY38987"/>
              </a:cxn>
              <a:cxn ang="0">
                <a:pos x="connsiteX38988" y="connsiteY38988"/>
              </a:cxn>
              <a:cxn ang="0">
                <a:pos x="connsiteX38989" y="connsiteY38989"/>
              </a:cxn>
              <a:cxn ang="0">
                <a:pos x="connsiteX38990" y="connsiteY38990"/>
              </a:cxn>
              <a:cxn ang="0">
                <a:pos x="connsiteX38991" y="connsiteY38991"/>
              </a:cxn>
              <a:cxn ang="0">
                <a:pos x="connsiteX38992" y="connsiteY38992"/>
              </a:cxn>
              <a:cxn ang="0">
                <a:pos x="connsiteX38993" y="connsiteY38993"/>
              </a:cxn>
              <a:cxn ang="0">
                <a:pos x="connsiteX38994" y="connsiteY38994"/>
              </a:cxn>
              <a:cxn ang="0">
                <a:pos x="connsiteX38995" y="connsiteY38995"/>
              </a:cxn>
              <a:cxn ang="0">
                <a:pos x="connsiteX38996" y="connsiteY38996"/>
              </a:cxn>
              <a:cxn ang="0">
                <a:pos x="connsiteX38997" y="connsiteY38997"/>
              </a:cxn>
              <a:cxn ang="0">
                <a:pos x="connsiteX38998" y="connsiteY38998"/>
              </a:cxn>
              <a:cxn ang="0">
                <a:pos x="connsiteX38999" y="connsiteY38999"/>
              </a:cxn>
              <a:cxn ang="0">
                <a:pos x="connsiteX39000" y="connsiteY39000"/>
              </a:cxn>
              <a:cxn ang="0">
                <a:pos x="connsiteX39001" y="connsiteY39001"/>
              </a:cxn>
              <a:cxn ang="0">
                <a:pos x="connsiteX39002" y="connsiteY39002"/>
              </a:cxn>
              <a:cxn ang="0">
                <a:pos x="connsiteX39003" y="connsiteY39003"/>
              </a:cxn>
              <a:cxn ang="0">
                <a:pos x="connsiteX39004" y="connsiteY39004"/>
              </a:cxn>
              <a:cxn ang="0">
                <a:pos x="connsiteX39005" y="connsiteY39005"/>
              </a:cxn>
              <a:cxn ang="0">
                <a:pos x="connsiteX39006" y="connsiteY39006"/>
              </a:cxn>
              <a:cxn ang="0">
                <a:pos x="connsiteX39007" y="connsiteY39007"/>
              </a:cxn>
              <a:cxn ang="0">
                <a:pos x="connsiteX39008" y="connsiteY39008"/>
              </a:cxn>
              <a:cxn ang="0">
                <a:pos x="connsiteX39009" y="connsiteY39009"/>
              </a:cxn>
              <a:cxn ang="0">
                <a:pos x="connsiteX39010" y="connsiteY39010"/>
              </a:cxn>
              <a:cxn ang="0">
                <a:pos x="connsiteX39011" y="connsiteY39011"/>
              </a:cxn>
              <a:cxn ang="0">
                <a:pos x="connsiteX39012" y="connsiteY39012"/>
              </a:cxn>
              <a:cxn ang="0">
                <a:pos x="connsiteX39013" y="connsiteY39013"/>
              </a:cxn>
              <a:cxn ang="0">
                <a:pos x="connsiteX39014" y="connsiteY39014"/>
              </a:cxn>
              <a:cxn ang="0">
                <a:pos x="connsiteX39015" y="connsiteY39015"/>
              </a:cxn>
              <a:cxn ang="0">
                <a:pos x="connsiteX39016" y="connsiteY39016"/>
              </a:cxn>
              <a:cxn ang="0">
                <a:pos x="connsiteX39017" y="connsiteY39017"/>
              </a:cxn>
              <a:cxn ang="0">
                <a:pos x="connsiteX39018" y="connsiteY39018"/>
              </a:cxn>
              <a:cxn ang="0">
                <a:pos x="connsiteX39019" y="connsiteY39019"/>
              </a:cxn>
              <a:cxn ang="0">
                <a:pos x="connsiteX39020" y="connsiteY39020"/>
              </a:cxn>
              <a:cxn ang="0">
                <a:pos x="connsiteX39021" y="connsiteY39021"/>
              </a:cxn>
              <a:cxn ang="0">
                <a:pos x="connsiteX39022" y="connsiteY39022"/>
              </a:cxn>
              <a:cxn ang="0">
                <a:pos x="connsiteX39023" y="connsiteY39023"/>
              </a:cxn>
              <a:cxn ang="0">
                <a:pos x="connsiteX39024" y="connsiteY39024"/>
              </a:cxn>
              <a:cxn ang="0">
                <a:pos x="connsiteX39025" y="connsiteY39025"/>
              </a:cxn>
              <a:cxn ang="0">
                <a:pos x="connsiteX39026" y="connsiteY39026"/>
              </a:cxn>
              <a:cxn ang="0">
                <a:pos x="connsiteX39027" y="connsiteY39027"/>
              </a:cxn>
              <a:cxn ang="0">
                <a:pos x="connsiteX39028" y="connsiteY39028"/>
              </a:cxn>
              <a:cxn ang="0">
                <a:pos x="connsiteX39029" y="connsiteY39029"/>
              </a:cxn>
              <a:cxn ang="0">
                <a:pos x="connsiteX39030" y="connsiteY39030"/>
              </a:cxn>
              <a:cxn ang="0">
                <a:pos x="connsiteX39031" y="connsiteY39031"/>
              </a:cxn>
              <a:cxn ang="0">
                <a:pos x="connsiteX39032" y="connsiteY39032"/>
              </a:cxn>
              <a:cxn ang="0">
                <a:pos x="connsiteX39033" y="connsiteY39033"/>
              </a:cxn>
              <a:cxn ang="0">
                <a:pos x="connsiteX39034" y="connsiteY39034"/>
              </a:cxn>
              <a:cxn ang="0">
                <a:pos x="connsiteX39035" y="connsiteY39035"/>
              </a:cxn>
              <a:cxn ang="0">
                <a:pos x="connsiteX39036" y="connsiteY39036"/>
              </a:cxn>
              <a:cxn ang="0">
                <a:pos x="connsiteX39037" y="connsiteY39037"/>
              </a:cxn>
              <a:cxn ang="0">
                <a:pos x="connsiteX39038" y="connsiteY39038"/>
              </a:cxn>
              <a:cxn ang="0">
                <a:pos x="connsiteX39039" y="connsiteY39039"/>
              </a:cxn>
              <a:cxn ang="0">
                <a:pos x="connsiteX39040" y="connsiteY39040"/>
              </a:cxn>
              <a:cxn ang="0">
                <a:pos x="connsiteX39041" y="connsiteY39041"/>
              </a:cxn>
              <a:cxn ang="0">
                <a:pos x="connsiteX39042" y="connsiteY39042"/>
              </a:cxn>
              <a:cxn ang="0">
                <a:pos x="connsiteX39043" y="connsiteY39043"/>
              </a:cxn>
              <a:cxn ang="0">
                <a:pos x="connsiteX39044" y="connsiteY39044"/>
              </a:cxn>
              <a:cxn ang="0">
                <a:pos x="connsiteX39045" y="connsiteY39045"/>
              </a:cxn>
              <a:cxn ang="0">
                <a:pos x="connsiteX39046" y="connsiteY39046"/>
              </a:cxn>
              <a:cxn ang="0">
                <a:pos x="connsiteX39047" y="connsiteY39047"/>
              </a:cxn>
              <a:cxn ang="0">
                <a:pos x="connsiteX39048" y="connsiteY39048"/>
              </a:cxn>
              <a:cxn ang="0">
                <a:pos x="connsiteX39049" y="connsiteY39049"/>
              </a:cxn>
              <a:cxn ang="0">
                <a:pos x="connsiteX39050" y="connsiteY39050"/>
              </a:cxn>
              <a:cxn ang="0">
                <a:pos x="connsiteX39051" y="connsiteY39051"/>
              </a:cxn>
              <a:cxn ang="0">
                <a:pos x="connsiteX39052" y="connsiteY39052"/>
              </a:cxn>
              <a:cxn ang="0">
                <a:pos x="connsiteX39053" y="connsiteY39053"/>
              </a:cxn>
              <a:cxn ang="0">
                <a:pos x="connsiteX39054" y="connsiteY39054"/>
              </a:cxn>
              <a:cxn ang="0">
                <a:pos x="connsiteX39055" y="connsiteY39055"/>
              </a:cxn>
              <a:cxn ang="0">
                <a:pos x="connsiteX39056" y="connsiteY39056"/>
              </a:cxn>
              <a:cxn ang="0">
                <a:pos x="connsiteX39057" y="connsiteY39057"/>
              </a:cxn>
              <a:cxn ang="0">
                <a:pos x="connsiteX39058" y="connsiteY39058"/>
              </a:cxn>
              <a:cxn ang="0">
                <a:pos x="connsiteX39059" y="connsiteY39059"/>
              </a:cxn>
              <a:cxn ang="0">
                <a:pos x="connsiteX39060" y="connsiteY39060"/>
              </a:cxn>
              <a:cxn ang="0">
                <a:pos x="connsiteX39061" y="connsiteY39061"/>
              </a:cxn>
              <a:cxn ang="0">
                <a:pos x="connsiteX39062" y="connsiteY39062"/>
              </a:cxn>
              <a:cxn ang="0">
                <a:pos x="connsiteX39063" y="connsiteY39063"/>
              </a:cxn>
              <a:cxn ang="0">
                <a:pos x="connsiteX39064" y="connsiteY39064"/>
              </a:cxn>
              <a:cxn ang="0">
                <a:pos x="connsiteX39065" y="connsiteY39065"/>
              </a:cxn>
              <a:cxn ang="0">
                <a:pos x="connsiteX39066" y="connsiteY39066"/>
              </a:cxn>
              <a:cxn ang="0">
                <a:pos x="connsiteX39067" y="connsiteY39067"/>
              </a:cxn>
              <a:cxn ang="0">
                <a:pos x="connsiteX39068" y="connsiteY39068"/>
              </a:cxn>
              <a:cxn ang="0">
                <a:pos x="connsiteX39069" y="connsiteY39069"/>
              </a:cxn>
              <a:cxn ang="0">
                <a:pos x="connsiteX39070" y="connsiteY39070"/>
              </a:cxn>
              <a:cxn ang="0">
                <a:pos x="connsiteX39071" y="connsiteY39071"/>
              </a:cxn>
              <a:cxn ang="0">
                <a:pos x="connsiteX39072" y="connsiteY39072"/>
              </a:cxn>
              <a:cxn ang="0">
                <a:pos x="connsiteX39073" y="connsiteY39073"/>
              </a:cxn>
              <a:cxn ang="0">
                <a:pos x="connsiteX39074" y="connsiteY39074"/>
              </a:cxn>
              <a:cxn ang="0">
                <a:pos x="connsiteX39075" y="connsiteY39075"/>
              </a:cxn>
              <a:cxn ang="0">
                <a:pos x="connsiteX39076" y="connsiteY39076"/>
              </a:cxn>
              <a:cxn ang="0">
                <a:pos x="connsiteX39077" y="connsiteY39077"/>
              </a:cxn>
              <a:cxn ang="0">
                <a:pos x="connsiteX39078" y="connsiteY39078"/>
              </a:cxn>
              <a:cxn ang="0">
                <a:pos x="connsiteX39079" y="connsiteY39079"/>
              </a:cxn>
              <a:cxn ang="0">
                <a:pos x="connsiteX39080" y="connsiteY39080"/>
              </a:cxn>
              <a:cxn ang="0">
                <a:pos x="connsiteX39081" y="connsiteY39081"/>
              </a:cxn>
              <a:cxn ang="0">
                <a:pos x="connsiteX39082" y="connsiteY39082"/>
              </a:cxn>
              <a:cxn ang="0">
                <a:pos x="connsiteX39083" y="connsiteY39083"/>
              </a:cxn>
              <a:cxn ang="0">
                <a:pos x="connsiteX39084" y="connsiteY39084"/>
              </a:cxn>
              <a:cxn ang="0">
                <a:pos x="connsiteX39085" y="connsiteY39085"/>
              </a:cxn>
              <a:cxn ang="0">
                <a:pos x="connsiteX39086" y="connsiteY39086"/>
              </a:cxn>
              <a:cxn ang="0">
                <a:pos x="connsiteX39087" y="connsiteY39087"/>
              </a:cxn>
              <a:cxn ang="0">
                <a:pos x="connsiteX39088" y="connsiteY39088"/>
              </a:cxn>
              <a:cxn ang="0">
                <a:pos x="connsiteX39089" y="connsiteY39089"/>
              </a:cxn>
              <a:cxn ang="0">
                <a:pos x="connsiteX39090" y="connsiteY39090"/>
              </a:cxn>
              <a:cxn ang="0">
                <a:pos x="connsiteX39091" y="connsiteY39091"/>
              </a:cxn>
              <a:cxn ang="0">
                <a:pos x="connsiteX39092" y="connsiteY39092"/>
              </a:cxn>
              <a:cxn ang="0">
                <a:pos x="connsiteX39093" y="connsiteY39093"/>
              </a:cxn>
              <a:cxn ang="0">
                <a:pos x="connsiteX39094" y="connsiteY39094"/>
              </a:cxn>
              <a:cxn ang="0">
                <a:pos x="connsiteX39095" y="connsiteY39095"/>
              </a:cxn>
              <a:cxn ang="0">
                <a:pos x="connsiteX39096" y="connsiteY39096"/>
              </a:cxn>
              <a:cxn ang="0">
                <a:pos x="connsiteX39097" y="connsiteY39097"/>
              </a:cxn>
              <a:cxn ang="0">
                <a:pos x="connsiteX39098" y="connsiteY39098"/>
              </a:cxn>
              <a:cxn ang="0">
                <a:pos x="connsiteX39099" y="connsiteY39099"/>
              </a:cxn>
              <a:cxn ang="0">
                <a:pos x="connsiteX39100" y="connsiteY39100"/>
              </a:cxn>
              <a:cxn ang="0">
                <a:pos x="connsiteX39101" y="connsiteY39101"/>
              </a:cxn>
              <a:cxn ang="0">
                <a:pos x="connsiteX39102" y="connsiteY39102"/>
              </a:cxn>
              <a:cxn ang="0">
                <a:pos x="connsiteX39103" y="connsiteY39103"/>
              </a:cxn>
              <a:cxn ang="0">
                <a:pos x="connsiteX39104" y="connsiteY39104"/>
              </a:cxn>
              <a:cxn ang="0">
                <a:pos x="connsiteX39105" y="connsiteY39105"/>
              </a:cxn>
              <a:cxn ang="0">
                <a:pos x="connsiteX39106" y="connsiteY39106"/>
              </a:cxn>
              <a:cxn ang="0">
                <a:pos x="connsiteX39107" y="connsiteY39107"/>
              </a:cxn>
              <a:cxn ang="0">
                <a:pos x="connsiteX39108" y="connsiteY39108"/>
              </a:cxn>
              <a:cxn ang="0">
                <a:pos x="connsiteX39109" y="connsiteY39109"/>
              </a:cxn>
              <a:cxn ang="0">
                <a:pos x="connsiteX39110" y="connsiteY39110"/>
              </a:cxn>
              <a:cxn ang="0">
                <a:pos x="connsiteX39111" y="connsiteY39111"/>
              </a:cxn>
              <a:cxn ang="0">
                <a:pos x="connsiteX39112" y="connsiteY39112"/>
              </a:cxn>
              <a:cxn ang="0">
                <a:pos x="connsiteX39113" y="connsiteY39113"/>
              </a:cxn>
              <a:cxn ang="0">
                <a:pos x="connsiteX39114" y="connsiteY39114"/>
              </a:cxn>
              <a:cxn ang="0">
                <a:pos x="connsiteX39115" y="connsiteY39115"/>
              </a:cxn>
              <a:cxn ang="0">
                <a:pos x="connsiteX39116" y="connsiteY39116"/>
              </a:cxn>
              <a:cxn ang="0">
                <a:pos x="connsiteX39117" y="connsiteY39117"/>
              </a:cxn>
              <a:cxn ang="0">
                <a:pos x="connsiteX39118" y="connsiteY39118"/>
              </a:cxn>
              <a:cxn ang="0">
                <a:pos x="connsiteX39119" y="connsiteY39119"/>
              </a:cxn>
              <a:cxn ang="0">
                <a:pos x="connsiteX39120" y="connsiteY39120"/>
              </a:cxn>
              <a:cxn ang="0">
                <a:pos x="connsiteX39121" y="connsiteY39121"/>
              </a:cxn>
              <a:cxn ang="0">
                <a:pos x="connsiteX39122" y="connsiteY39122"/>
              </a:cxn>
              <a:cxn ang="0">
                <a:pos x="connsiteX39123" y="connsiteY39123"/>
              </a:cxn>
              <a:cxn ang="0">
                <a:pos x="connsiteX39124" y="connsiteY39124"/>
              </a:cxn>
              <a:cxn ang="0">
                <a:pos x="connsiteX39125" y="connsiteY39125"/>
              </a:cxn>
              <a:cxn ang="0">
                <a:pos x="connsiteX39126" y="connsiteY39126"/>
              </a:cxn>
              <a:cxn ang="0">
                <a:pos x="connsiteX39127" y="connsiteY39127"/>
              </a:cxn>
              <a:cxn ang="0">
                <a:pos x="connsiteX39128" y="connsiteY39128"/>
              </a:cxn>
              <a:cxn ang="0">
                <a:pos x="connsiteX39129" y="connsiteY39129"/>
              </a:cxn>
              <a:cxn ang="0">
                <a:pos x="connsiteX39130" y="connsiteY39130"/>
              </a:cxn>
              <a:cxn ang="0">
                <a:pos x="connsiteX39131" y="connsiteY39131"/>
              </a:cxn>
              <a:cxn ang="0">
                <a:pos x="connsiteX39132" y="connsiteY39132"/>
              </a:cxn>
              <a:cxn ang="0">
                <a:pos x="connsiteX39133" y="connsiteY39133"/>
              </a:cxn>
              <a:cxn ang="0">
                <a:pos x="connsiteX39134" y="connsiteY39134"/>
              </a:cxn>
              <a:cxn ang="0">
                <a:pos x="connsiteX39135" y="connsiteY39135"/>
              </a:cxn>
              <a:cxn ang="0">
                <a:pos x="connsiteX39136" y="connsiteY39136"/>
              </a:cxn>
              <a:cxn ang="0">
                <a:pos x="connsiteX39137" y="connsiteY39137"/>
              </a:cxn>
              <a:cxn ang="0">
                <a:pos x="connsiteX39138" y="connsiteY39138"/>
              </a:cxn>
              <a:cxn ang="0">
                <a:pos x="connsiteX39139" y="connsiteY39139"/>
              </a:cxn>
              <a:cxn ang="0">
                <a:pos x="connsiteX39140" y="connsiteY39140"/>
              </a:cxn>
              <a:cxn ang="0">
                <a:pos x="connsiteX39141" y="connsiteY39141"/>
              </a:cxn>
              <a:cxn ang="0">
                <a:pos x="connsiteX39142" y="connsiteY39142"/>
              </a:cxn>
              <a:cxn ang="0">
                <a:pos x="connsiteX39143" y="connsiteY39143"/>
              </a:cxn>
              <a:cxn ang="0">
                <a:pos x="connsiteX39144" y="connsiteY39144"/>
              </a:cxn>
              <a:cxn ang="0">
                <a:pos x="connsiteX39145" y="connsiteY39145"/>
              </a:cxn>
              <a:cxn ang="0">
                <a:pos x="connsiteX39146" y="connsiteY39146"/>
              </a:cxn>
              <a:cxn ang="0">
                <a:pos x="connsiteX39147" y="connsiteY39147"/>
              </a:cxn>
              <a:cxn ang="0">
                <a:pos x="connsiteX39148" y="connsiteY39148"/>
              </a:cxn>
              <a:cxn ang="0">
                <a:pos x="connsiteX39149" y="connsiteY39149"/>
              </a:cxn>
              <a:cxn ang="0">
                <a:pos x="connsiteX39150" y="connsiteY39150"/>
              </a:cxn>
              <a:cxn ang="0">
                <a:pos x="connsiteX39151" y="connsiteY39151"/>
              </a:cxn>
              <a:cxn ang="0">
                <a:pos x="connsiteX39152" y="connsiteY39152"/>
              </a:cxn>
              <a:cxn ang="0">
                <a:pos x="connsiteX39153" y="connsiteY39153"/>
              </a:cxn>
              <a:cxn ang="0">
                <a:pos x="connsiteX39154" y="connsiteY39154"/>
              </a:cxn>
              <a:cxn ang="0">
                <a:pos x="connsiteX39155" y="connsiteY39155"/>
              </a:cxn>
              <a:cxn ang="0">
                <a:pos x="connsiteX39156" y="connsiteY39156"/>
              </a:cxn>
              <a:cxn ang="0">
                <a:pos x="connsiteX39157" y="connsiteY39157"/>
              </a:cxn>
              <a:cxn ang="0">
                <a:pos x="connsiteX39158" y="connsiteY39158"/>
              </a:cxn>
              <a:cxn ang="0">
                <a:pos x="connsiteX39159" y="connsiteY39159"/>
              </a:cxn>
              <a:cxn ang="0">
                <a:pos x="connsiteX39160" y="connsiteY39160"/>
              </a:cxn>
              <a:cxn ang="0">
                <a:pos x="connsiteX39161" y="connsiteY39161"/>
              </a:cxn>
              <a:cxn ang="0">
                <a:pos x="connsiteX39162" y="connsiteY39162"/>
              </a:cxn>
              <a:cxn ang="0">
                <a:pos x="connsiteX39163" y="connsiteY39163"/>
              </a:cxn>
              <a:cxn ang="0">
                <a:pos x="connsiteX39164" y="connsiteY39164"/>
              </a:cxn>
              <a:cxn ang="0">
                <a:pos x="connsiteX39165" y="connsiteY39165"/>
              </a:cxn>
              <a:cxn ang="0">
                <a:pos x="connsiteX39166" y="connsiteY39166"/>
              </a:cxn>
              <a:cxn ang="0">
                <a:pos x="connsiteX39167" y="connsiteY39167"/>
              </a:cxn>
              <a:cxn ang="0">
                <a:pos x="connsiteX39168" y="connsiteY39168"/>
              </a:cxn>
              <a:cxn ang="0">
                <a:pos x="connsiteX39169" y="connsiteY39169"/>
              </a:cxn>
              <a:cxn ang="0">
                <a:pos x="connsiteX39170" y="connsiteY39170"/>
              </a:cxn>
              <a:cxn ang="0">
                <a:pos x="connsiteX39171" y="connsiteY39171"/>
              </a:cxn>
              <a:cxn ang="0">
                <a:pos x="connsiteX39172" y="connsiteY39172"/>
              </a:cxn>
              <a:cxn ang="0">
                <a:pos x="connsiteX39173" y="connsiteY39173"/>
              </a:cxn>
              <a:cxn ang="0">
                <a:pos x="connsiteX39174" y="connsiteY39174"/>
              </a:cxn>
              <a:cxn ang="0">
                <a:pos x="connsiteX39175" y="connsiteY39175"/>
              </a:cxn>
              <a:cxn ang="0">
                <a:pos x="connsiteX39176" y="connsiteY39176"/>
              </a:cxn>
              <a:cxn ang="0">
                <a:pos x="connsiteX39177" y="connsiteY39177"/>
              </a:cxn>
              <a:cxn ang="0">
                <a:pos x="connsiteX39178" y="connsiteY39178"/>
              </a:cxn>
              <a:cxn ang="0">
                <a:pos x="connsiteX39179" y="connsiteY39179"/>
              </a:cxn>
              <a:cxn ang="0">
                <a:pos x="connsiteX39180" y="connsiteY39180"/>
              </a:cxn>
              <a:cxn ang="0">
                <a:pos x="connsiteX39181" y="connsiteY39181"/>
              </a:cxn>
              <a:cxn ang="0">
                <a:pos x="connsiteX39182" y="connsiteY39182"/>
              </a:cxn>
              <a:cxn ang="0">
                <a:pos x="connsiteX39183" y="connsiteY39183"/>
              </a:cxn>
              <a:cxn ang="0">
                <a:pos x="connsiteX39184" y="connsiteY39184"/>
              </a:cxn>
              <a:cxn ang="0">
                <a:pos x="connsiteX39185" y="connsiteY39185"/>
              </a:cxn>
              <a:cxn ang="0">
                <a:pos x="connsiteX39186" y="connsiteY39186"/>
              </a:cxn>
              <a:cxn ang="0">
                <a:pos x="connsiteX39187" y="connsiteY39187"/>
              </a:cxn>
              <a:cxn ang="0">
                <a:pos x="connsiteX39188" y="connsiteY39188"/>
              </a:cxn>
              <a:cxn ang="0">
                <a:pos x="connsiteX39189" y="connsiteY39189"/>
              </a:cxn>
              <a:cxn ang="0">
                <a:pos x="connsiteX39190" y="connsiteY39190"/>
              </a:cxn>
              <a:cxn ang="0">
                <a:pos x="connsiteX39191" y="connsiteY39191"/>
              </a:cxn>
              <a:cxn ang="0">
                <a:pos x="connsiteX39192" y="connsiteY39192"/>
              </a:cxn>
              <a:cxn ang="0">
                <a:pos x="connsiteX39193" y="connsiteY39193"/>
              </a:cxn>
              <a:cxn ang="0">
                <a:pos x="connsiteX39194" y="connsiteY39194"/>
              </a:cxn>
              <a:cxn ang="0">
                <a:pos x="connsiteX39195" y="connsiteY39195"/>
              </a:cxn>
              <a:cxn ang="0">
                <a:pos x="connsiteX39196" y="connsiteY39196"/>
              </a:cxn>
              <a:cxn ang="0">
                <a:pos x="connsiteX39197" y="connsiteY39197"/>
              </a:cxn>
              <a:cxn ang="0">
                <a:pos x="connsiteX39198" y="connsiteY39198"/>
              </a:cxn>
              <a:cxn ang="0">
                <a:pos x="connsiteX39199" y="connsiteY39199"/>
              </a:cxn>
              <a:cxn ang="0">
                <a:pos x="connsiteX39200" y="connsiteY39200"/>
              </a:cxn>
              <a:cxn ang="0">
                <a:pos x="connsiteX39201" y="connsiteY39201"/>
              </a:cxn>
              <a:cxn ang="0">
                <a:pos x="connsiteX39202" y="connsiteY39202"/>
              </a:cxn>
              <a:cxn ang="0">
                <a:pos x="connsiteX39203" y="connsiteY39203"/>
              </a:cxn>
              <a:cxn ang="0">
                <a:pos x="connsiteX39204" y="connsiteY39204"/>
              </a:cxn>
              <a:cxn ang="0">
                <a:pos x="connsiteX39205" y="connsiteY39205"/>
              </a:cxn>
              <a:cxn ang="0">
                <a:pos x="connsiteX39206" y="connsiteY39206"/>
              </a:cxn>
              <a:cxn ang="0">
                <a:pos x="connsiteX39207" y="connsiteY39207"/>
              </a:cxn>
              <a:cxn ang="0">
                <a:pos x="connsiteX39208" y="connsiteY39208"/>
              </a:cxn>
              <a:cxn ang="0">
                <a:pos x="connsiteX39209" y="connsiteY39209"/>
              </a:cxn>
              <a:cxn ang="0">
                <a:pos x="connsiteX39210" y="connsiteY39210"/>
              </a:cxn>
              <a:cxn ang="0">
                <a:pos x="connsiteX39211" y="connsiteY39211"/>
              </a:cxn>
              <a:cxn ang="0">
                <a:pos x="connsiteX39212" y="connsiteY39212"/>
              </a:cxn>
              <a:cxn ang="0">
                <a:pos x="connsiteX39213" y="connsiteY39213"/>
              </a:cxn>
              <a:cxn ang="0">
                <a:pos x="connsiteX39214" y="connsiteY39214"/>
              </a:cxn>
              <a:cxn ang="0">
                <a:pos x="connsiteX39215" y="connsiteY39215"/>
              </a:cxn>
              <a:cxn ang="0">
                <a:pos x="connsiteX39216" y="connsiteY39216"/>
              </a:cxn>
              <a:cxn ang="0">
                <a:pos x="connsiteX39217" y="connsiteY39217"/>
              </a:cxn>
              <a:cxn ang="0">
                <a:pos x="connsiteX39218" y="connsiteY39218"/>
              </a:cxn>
              <a:cxn ang="0">
                <a:pos x="connsiteX39219" y="connsiteY39219"/>
              </a:cxn>
              <a:cxn ang="0">
                <a:pos x="connsiteX39220" y="connsiteY39220"/>
              </a:cxn>
              <a:cxn ang="0">
                <a:pos x="connsiteX39221" y="connsiteY39221"/>
              </a:cxn>
              <a:cxn ang="0">
                <a:pos x="connsiteX39222" y="connsiteY39222"/>
              </a:cxn>
              <a:cxn ang="0">
                <a:pos x="connsiteX39223" y="connsiteY39223"/>
              </a:cxn>
              <a:cxn ang="0">
                <a:pos x="connsiteX39224" y="connsiteY39224"/>
              </a:cxn>
              <a:cxn ang="0">
                <a:pos x="connsiteX39225" y="connsiteY39225"/>
              </a:cxn>
              <a:cxn ang="0">
                <a:pos x="connsiteX39226" y="connsiteY39226"/>
              </a:cxn>
              <a:cxn ang="0">
                <a:pos x="connsiteX39227" y="connsiteY39227"/>
              </a:cxn>
              <a:cxn ang="0">
                <a:pos x="connsiteX39228" y="connsiteY39228"/>
              </a:cxn>
              <a:cxn ang="0">
                <a:pos x="connsiteX39229" y="connsiteY39229"/>
              </a:cxn>
              <a:cxn ang="0">
                <a:pos x="connsiteX39230" y="connsiteY39230"/>
              </a:cxn>
              <a:cxn ang="0">
                <a:pos x="connsiteX39231" y="connsiteY39231"/>
              </a:cxn>
              <a:cxn ang="0">
                <a:pos x="connsiteX39232" y="connsiteY39232"/>
              </a:cxn>
              <a:cxn ang="0">
                <a:pos x="connsiteX39233" y="connsiteY39233"/>
              </a:cxn>
              <a:cxn ang="0">
                <a:pos x="connsiteX39234" y="connsiteY39234"/>
              </a:cxn>
              <a:cxn ang="0">
                <a:pos x="connsiteX39235" y="connsiteY39235"/>
              </a:cxn>
              <a:cxn ang="0">
                <a:pos x="connsiteX39236" y="connsiteY39236"/>
              </a:cxn>
              <a:cxn ang="0">
                <a:pos x="connsiteX39237" y="connsiteY39237"/>
              </a:cxn>
              <a:cxn ang="0">
                <a:pos x="connsiteX39238" y="connsiteY39238"/>
              </a:cxn>
              <a:cxn ang="0">
                <a:pos x="connsiteX39239" y="connsiteY39239"/>
              </a:cxn>
              <a:cxn ang="0">
                <a:pos x="connsiteX39240" y="connsiteY39240"/>
              </a:cxn>
              <a:cxn ang="0">
                <a:pos x="connsiteX39241" y="connsiteY39241"/>
              </a:cxn>
              <a:cxn ang="0">
                <a:pos x="connsiteX39242" y="connsiteY39242"/>
              </a:cxn>
              <a:cxn ang="0">
                <a:pos x="connsiteX39243" y="connsiteY39243"/>
              </a:cxn>
              <a:cxn ang="0">
                <a:pos x="connsiteX39244" y="connsiteY39244"/>
              </a:cxn>
              <a:cxn ang="0">
                <a:pos x="connsiteX39245" y="connsiteY39245"/>
              </a:cxn>
              <a:cxn ang="0">
                <a:pos x="connsiteX39246" y="connsiteY39246"/>
              </a:cxn>
              <a:cxn ang="0">
                <a:pos x="connsiteX39247" y="connsiteY39247"/>
              </a:cxn>
              <a:cxn ang="0">
                <a:pos x="connsiteX39248" y="connsiteY39248"/>
              </a:cxn>
              <a:cxn ang="0">
                <a:pos x="connsiteX39249" y="connsiteY39249"/>
              </a:cxn>
              <a:cxn ang="0">
                <a:pos x="connsiteX39250" y="connsiteY39250"/>
              </a:cxn>
              <a:cxn ang="0">
                <a:pos x="connsiteX39251" y="connsiteY39251"/>
              </a:cxn>
              <a:cxn ang="0">
                <a:pos x="connsiteX39252" y="connsiteY39252"/>
              </a:cxn>
              <a:cxn ang="0">
                <a:pos x="connsiteX39253" y="connsiteY39253"/>
              </a:cxn>
              <a:cxn ang="0">
                <a:pos x="connsiteX39254" y="connsiteY39254"/>
              </a:cxn>
              <a:cxn ang="0">
                <a:pos x="connsiteX39255" y="connsiteY39255"/>
              </a:cxn>
              <a:cxn ang="0">
                <a:pos x="connsiteX39256" y="connsiteY39256"/>
              </a:cxn>
              <a:cxn ang="0">
                <a:pos x="connsiteX39257" y="connsiteY39257"/>
              </a:cxn>
              <a:cxn ang="0">
                <a:pos x="connsiteX39258" y="connsiteY39258"/>
              </a:cxn>
              <a:cxn ang="0">
                <a:pos x="connsiteX39259" y="connsiteY39259"/>
              </a:cxn>
              <a:cxn ang="0">
                <a:pos x="connsiteX39260" y="connsiteY39260"/>
              </a:cxn>
              <a:cxn ang="0">
                <a:pos x="connsiteX39261" y="connsiteY39261"/>
              </a:cxn>
              <a:cxn ang="0">
                <a:pos x="connsiteX39262" y="connsiteY39262"/>
              </a:cxn>
              <a:cxn ang="0">
                <a:pos x="connsiteX39263" y="connsiteY39263"/>
              </a:cxn>
              <a:cxn ang="0">
                <a:pos x="connsiteX39264" y="connsiteY39264"/>
              </a:cxn>
              <a:cxn ang="0">
                <a:pos x="connsiteX39265" y="connsiteY39265"/>
              </a:cxn>
              <a:cxn ang="0">
                <a:pos x="connsiteX39266" y="connsiteY39266"/>
              </a:cxn>
              <a:cxn ang="0">
                <a:pos x="connsiteX39267" y="connsiteY39267"/>
              </a:cxn>
              <a:cxn ang="0">
                <a:pos x="connsiteX39268" y="connsiteY39268"/>
              </a:cxn>
              <a:cxn ang="0">
                <a:pos x="connsiteX39269" y="connsiteY39269"/>
              </a:cxn>
              <a:cxn ang="0">
                <a:pos x="connsiteX39270" y="connsiteY39270"/>
              </a:cxn>
              <a:cxn ang="0">
                <a:pos x="connsiteX39271" y="connsiteY39271"/>
              </a:cxn>
              <a:cxn ang="0">
                <a:pos x="connsiteX39272" y="connsiteY39272"/>
              </a:cxn>
              <a:cxn ang="0">
                <a:pos x="connsiteX39273" y="connsiteY39273"/>
              </a:cxn>
              <a:cxn ang="0">
                <a:pos x="connsiteX39274" y="connsiteY39274"/>
              </a:cxn>
              <a:cxn ang="0">
                <a:pos x="connsiteX39275" y="connsiteY39275"/>
              </a:cxn>
              <a:cxn ang="0">
                <a:pos x="connsiteX39276" y="connsiteY39276"/>
              </a:cxn>
              <a:cxn ang="0">
                <a:pos x="connsiteX39277" y="connsiteY39277"/>
              </a:cxn>
              <a:cxn ang="0">
                <a:pos x="connsiteX39278" y="connsiteY39278"/>
              </a:cxn>
              <a:cxn ang="0">
                <a:pos x="connsiteX39279" y="connsiteY39279"/>
              </a:cxn>
              <a:cxn ang="0">
                <a:pos x="connsiteX39280" y="connsiteY39280"/>
              </a:cxn>
              <a:cxn ang="0">
                <a:pos x="connsiteX39281" y="connsiteY39281"/>
              </a:cxn>
              <a:cxn ang="0">
                <a:pos x="connsiteX39282" y="connsiteY39282"/>
              </a:cxn>
              <a:cxn ang="0">
                <a:pos x="connsiteX39283" y="connsiteY39283"/>
              </a:cxn>
              <a:cxn ang="0">
                <a:pos x="connsiteX39284" y="connsiteY39284"/>
              </a:cxn>
              <a:cxn ang="0">
                <a:pos x="connsiteX39285" y="connsiteY39285"/>
              </a:cxn>
              <a:cxn ang="0">
                <a:pos x="connsiteX39286" y="connsiteY39286"/>
              </a:cxn>
              <a:cxn ang="0">
                <a:pos x="connsiteX39287" y="connsiteY39287"/>
              </a:cxn>
              <a:cxn ang="0">
                <a:pos x="connsiteX39288" y="connsiteY39288"/>
              </a:cxn>
              <a:cxn ang="0">
                <a:pos x="connsiteX39289" y="connsiteY39289"/>
              </a:cxn>
              <a:cxn ang="0">
                <a:pos x="connsiteX39290" y="connsiteY39290"/>
              </a:cxn>
              <a:cxn ang="0">
                <a:pos x="connsiteX39291" y="connsiteY39291"/>
              </a:cxn>
              <a:cxn ang="0">
                <a:pos x="connsiteX39292" y="connsiteY39292"/>
              </a:cxn>
              <a:cxn ang="0">
                <a:pos x="connsiteX39293" y="connsiteY39293"/>
              </a:cxn>
              <a:cxn ang="0">
                <a:pos x="connsiteX39294" y="connsiteY39294"/>
              </a:cxn>
              <a:cxn ang="0">
                <a:pos x="connsiteX39295" y="connsiteY39295"/>
              </a:cxn>
              <a:cxn ang="0">
                <a:pos x="connsiteX39296" y="connsiteY39296"/>
              </a:cxn>
              <a:cxn ang="0">
                <a:pos x="connsiteX39297" y="connsiteY39297"/>
              </a:cxn>
              <a:cxn ang="0">
                <a:pos x="connsiteX39298" y="connsiteY39298"/>
              </a:cxn>
              <a:cxn ang="0">
                <a:pos x="connsiteX39299" y="connsiteY39299"/>
              </a:cxn>
              <a:cxn ang="0">
                <a:pos x="connsiteX39300" y="connsiteY39300"/>
              </a:cxn>
              <a:cxn ang="0">
                <a:pos x="connsiteX39301" y="connsiteY39301"/>
              </a:cxn>
              <a:cxn ang="0">
                <a:pos x="connsiteX39302" y="connsiteY39302"/>
              </a:cxn>
              <a:cxn ang="0">
                <a:pos x="connsiteX39303" y="connsiteY39303"/>
              </a:cxn>
              <a:cxn ang="0">
                <a:pos x="connsiteX39304" y="connsiteY39304"/>
              </a:cxn>
              <a:cxn ang="0">
                <a:pos x="connsiteX39305" y="connsiteY39305"/>
              </a:cxn>
              <a:cxn ang="0">
                <a:pos x="connsiteX39306" y="connsiteY39306"/>
              </a:cxn>
              <a:cxn ang="0">
                <a:pos x="connsiteX39307" y="connsiteY39307"/>
              </a:cxn>
              <a:cxn ang="0">
                <a:pos x="connsiteX39308" y="connsiteY39308"/>
              </a:cxn>
              <a:cxn ang="0">
                <a:pos x="connsiteX39309" y="connsiteY39309"/>
              </a:cxn>
              <a:cxn ang="0">
                <a:pos x="connsiteX39310" y="connsiteY39310"/>
              </a:cxn>
              <a:cxn ang="0">
                <a:pos x="connsiteX39311" y="connsiteY39311"/>
              </a:cxn>
              <a:cxn ang="0">
                <a:pos x="connsiteX39312" y="connsiteY39312"/>
              </a:cxn>
              <a:cxn ang="0">
                <a:pos x="connsiteX39313" y="connsiteY39313"/>
              </a:cxn>
              <a:cxn ang="0">
                <a:pos x="connsiteX39314" y="connsiteY39314"/>
              </a:cxn>
              <a:cxn ang="0">
                <a:pos x="connsiteX39315" y="connsiteY39315"/>
              </a:cxn>
              <a:cxn ang="0">
                <a:pos x="connsiteX39316" y="connsiteY39316"/>
              </a:cxn>
              <a:cxn ang="0">
                <a:pos x="connsiteX39317" y="connsiteY39317"/>
              </a:cxn>
              <a:cxn ang="0">
                <a:pos x="connsiteX39318" y="connsiteY39318"/>
              </a:cxn>
              <a:cxn ang="0">
                <a:pos x="connsiteX39319" y="connsiteY39319"/>
              </a:cxn>
              <a:cxn ang="0">
                <a:pos x="connsiteX39320" y="connsiteY39320"/>
              </a:cxn>
              <a:cxn ang="0">
                <a:pos x="connsiteX39321" y="connsiteY39321"/>
              </a:cxn>
              <a:cxn ang="0">
                <a:pos x="connsiteX39322" y="connsiteY39322"/>
              </a:cxn>
              <a:cxn ang="0">
                <a:pos x="connsiteX39323" y="connsiteY39323"/>
              </a:cxn>
              <a:cxn ang="0">
                <a:pos x="connsiteX39324" y="connsiteY39324"/>
              </a:cxn>
              <a:cxn ang="0">
                <a:pos x="connsiteX39325" y="connsiteY39325"/>
              </a:cxn>
              <a:cxn ang="0">
                <a:pos x="connsiteX39326" y="connsiteY39326"/>
              </a:cxn>
              <a:cxn ang="0">
                <a:pos x="connsiteX39327" y="connsiteY39327"/>
              </a:cxn>
              <a:cxn ang="0">
                <a:pos x="connsiteX39328" y="connsiteY39328"/>
              </a:cxn>
              <a:cxn ang="0">
                <a:pos x="connsiteX39329" y="connsiteY39329"/>
              </a:cxn>
              <a:cxn ang="0">
                <a:pos x="connsiteX39330" y="connsiteY39330"/>
              </a:cxn>
              <a:cxn ang="0">
                <a:pos x="connsiteX39331" y="connsiteY39331"/>
              </a:cxn>
              <a:cxn ang="0">
                <a:pos x="connsiteX39332" y="connsiteY39332"/>
              </a:cxn>
              <a:cxn ang="0">
                <a:pos x="connsiteX39333" y="connsiteY39333"/>
              </a:cxn>
              <a:cxn ang="0">
                <a:pos x="connsiteX39334" y="connsiteY39334"/>
              </a:cxn>
              <a:cxn ang="0">
                <a:pos x="connsiteX39335" y="connsiteY39335"/>
              </a:cxn>
              <a:cxn ang="0">
                <a:pos x="connsiteX39336" y="connsiteY39336"/>
              </a:cxn>
              <a:cxn ang="0">
                <a:pos x="connsiteX39337" y="connsiteY39337"/>
              </a:cxn>
              <a:cxn ang="0">
                <a:pos x="connsiteX39338" y="connsiteY39338"/>
              </a:cxn>
              <a:cxn ang="0">
                <a:pos x="connsiteX39339" y="connsiteY39339"/>
              </a:cxn>
              <a:cxn ang="0">
                <a:pos x="connsiteX39340" y="connsiteY39340"/>
              </a:cxn>
              <a:cxn ang="0">
                <a:pos x="connsiteX39341" y="connsiteY39341"/>
              </a:cxn>
              <a:cxn ang="0">
                <a:pos x="connsiteX39342" y="connsiteY39342"/>
              </a:cxn>
              <a:cxn ang="0">
                <a:pos x="connsiteX39343" y="connsiteY39343"/>
              </a:cxn>
              <a:cxn ang="0">
                <a:pos x="connsiteX39344" y="connsiteY39344"/>
              </a:cxn>
              <a:cxn ang="0">
                <a:pos x="connsiteX39345" y="connsiteY39345"/>
              </a:cxn>
              <a:cxn ang="0">
                <a:pos x="connsiteX39346" y="connsiteY39346"/>
              </a:cxn>
              <a:cxn ang="0">
                <a:pos x="connsiteX39347" y="connsiteY39347"/>
              </a:cxn>
              <a:cxn ang="0">
                <a:pos x="connsiteX39348" y="connsiteY39348"/>
              </a:cxn>
              <a:cxn ang="0">
                <a:pos x="connsiteX39349" y="connsiteY39349"/>
              </a:cxn>
              <a:cxn ang="0">
                <a:pos x="connsiteX39350" y="connsiteY39350"/>
              </a:cxn>
              <a:cxn ang="0">
                <a:pos x="connsiteX39351" y="connsiteY39351"/>
              </a:cxn>
              <a:cxn ang="0">
                <a:pos x="connsiteX39352" y="connsiteY39352"/>
              </a:cxn>
              <a:cxn ang="0">
                <a:pos x="connsiteX39353" y="connsiteY39353"/>
              </a:cxn>
              <a:cxn ang="0">
                <a:pos x="connsiteX39354" y="connsiteY39354"/>
              </a:cxn>
              <a:cxn ang="0">
                <a:pos x="connsiteX39355" y="connsiteY39355"/>
              </a:cxn>
              <a:cxn ang="0">
                <a:pos x="connsiteX39356" y="connsiteY39356"/>
              </a:cxn>
              <a:cxn ang="0">
                <a:pos x="connsiteX39357" y="connsiteY39357"/>
              </a:cxn>
              <a:cxn ang="0">
                <a:pos x="connsiteX39358" y="connsiteY39358"/>
              </a:cxn>
              <a:cxn ang="0">
                <a:pos x="connsiteX39359" y="connsiteY39359"/>
              </a:cxn>
              <a:cxn ang="0">
                <a:pos x="connsiteX39360" y="connsiteY39360"/>
              </a:cxn>
              <a:cxn ang="0">
                <a:pos x="connsiteX39361" y="connsiteY39361"/>
              </a:cxn>
              <a:cxn ang="0">
                <a:pos x="connsiteX39362" y="connsiteY39362"/>
              </a:cxn>
              <a:cxn ang="0">
                <a:pos x="connsiteX39363" y="connsiteY39363"/>
              </a:cxn>
              <a:cxn ang="0">
                <a:pos x="connsiteX39364" y="connsiteY39364"/>
              </a:cxn>
              <a:cxn ang="0">
                <a:pos x="connsiteX39365" y="connsiteY39365"/>
              </a:cxn>
              <a:cxn ang="0">
                <a:pos x="connsiteX39366" y="connsiteY39366"/>
              </a:cxn>
              <a:cxn ang="0">
                <a:pos x="connsiteX39367" y="connsiteY39367"/>
              </a:cxn>
              <a:cxn ang="0">
                <a:pos x="connsiteX39368" y="connsiteY39368"/>
              </a:cxn>
              <a:cxn ang="0">
                <a:pos x="connsiteX39369" y="connsiteY39369"/>
              </a:cxn>
              <a:cxn ang="0">
                <a:pos x="connsiteX39370" y="connsiteY39370"/>
              </a:cxn>
              <a:cxn ang="0">
                <a:pos x="connsiteX39371" y="connsiteY39371"/>
              </a:cxn>
              <a:cxn ang="0">
                <a:pos x="connsiteX39372" y="connsiteY39372"/>
              </a:cxn>
              <a:cxn ang="0">
                <a:pos x="connsiteX39373" y="connsiteY39373"/>
              </a:cxn>
              <a:cxn ang="0">
                <a:pos x="connsiteX39374" y="connsiteY39374"/>
              </a:cxn>
              <a:cxn ang="0">
                <a:pos x="connsiteX39375" y="connsiteY39375"/>
              </a:cxn>
              <a:cxn ang="0">
                <a:pos x="connsiteX39376" y="connsiteY39376"/>
              </a:cxn>
              <a:cxn ang="0">
                <a:pos x="connsiteX39377" y="connsiteY39377"/>
              </a:cxn>
              <a:cxn ang="0">
                <a:pos x="connsiteX39378" y="connsiteY39378"/>
              </a:cxn>
              <a:cxn ang="0">
                <a:pos x="connsiteX39379" y="connsiteY39379"/>
              </a:cxn>
              <a:cxn ang="0">
                <a:pos x="connsiteX39380" y="connsiteY39380"/>
              </a:cxn>
              <a:cxn ang="0">
                <a:pos x="connsiteX39381" y="connsiteY39381"/>
              </a:cxn>
              <a:cxn ang="0">
                <a:pos x="connsiteX39382" y="connsiteY39382"/>
              </a:cxn>
              <a:cxn ang="0">
                <a:pos x="connsiteX39383" y="connsiteY39383"/>
              </a:cxn>
              <a:cxn ang="0">
                <a:pos x="connsiteX39384" y="connsiteY39384"/>
              </a:cxn>
              <a:cxn ang="0">
                <a:pos x="connsiteX39385" y="connsiteY39385"/>
              </a:cxn>
              <a:cxn ang="0">
                <a:pos x="connsiteX39386" y="connsiteY39386"/>
              </a:cxn>
              <a:cxn ang="0">
                <a:pos x="connsiteX39387" y="connsiteY39387"/>
              </a:cxn>
              <a:cxn ang="0">
                <a:pos x="connsiteX39388" y="connsiteY39388"/>
              </a:cxn>
              <a:cxn ang="0">
                <a:pos x="connsiteX39389" y="connsiteY39389"/>
              </a:cxn>
              <a:cxn ang="0">
                <a:pos x="connsiteX39390" y="connsiteY39390"/>
              </a:cxn>
              <a:cxn ang="0">
                <a:pos x="connsiteX39391" y="connsiteY39391"/>
              </a:cxn>
              <a:cxn ang="0">
                <a:pos x="connsiteX39392" y="connsiteY39392"/>
              </a:cxn>
              <a:cxn ang="0">
                <a:pos x="connsiteX39393" y="connsiteY39393"/>
              </a:cxn>
              <a:cxn ang="0">
                <a:pos x="connsiteX39394" y="connsiteY39394"/>
              </a:cxn>
              <a:cxn ang="0">
                <a:pos x="connsiteX39395" y="connsiteY39395"/>
              </a:cxn>
              <a:cxn ang="0">
                <a:pos x="connsiteX39396" y="connsiteY39396"/>
              </a:cxn>
              <a:cxn ang="0">
                <a:pos x="connsiteX39397" y="connsiteY39397"/>
              </a:cxn>
              <a:cxn ang="0">
                <a:pos x="connsiteX39398" y="connsiteY39398"/>
              </a:cxn>
              <a:cxn ang="0">
                <a:pos x="connsiteX39399" y="connsiteY39399"/>
              </a:cxn>
              <a:cxn ang="0">
                <a:pos x="connsiteX39400" y="connsiteY39400"/>
              </a:cxn>
              <a:cxn ang="0">
                <a:pos x="connsiteX39401" y="connsiteY39401"/>
              </a:cxn>
              <a:cxn ang="0">
                <a:pos x="connsiteX39402" y="connsiteY39402"/>
              </a:cxn>
              <a:cxn ang="0">
                <a:pos x="connsiteX39403" y="connsiteY39403"/>
              </a:cxn>
              <a:cxn ang="0">
                <a:pos x="connsiteX39404" y="connsiteY39404"/>
              </a:cxn>
              <a:cxn ang="0">
                <a:pos x="connsiteX39405" y="connsiteY39405"/>
              </a:cxn>
              <a:cxn ang="0">
                <a:pos x="connsiteX39406" y="connsiteY39406"/>
              </a:cxn>
              <a:cxn ang="0">
                <a:pos x="connsiteX39407" y="connsiteY39407"/>
              </a:cxn>
              <a:cxn ang="0">
                <a:pos x="connsiteX39408" y="connsiteY39408"/>
              </a:cxn>
              <a:cxn ang="0">
                <a:pos x="connsiteX39409" y="connsiteY39409"/>
              </a:cxn>
              <a:cxn ang="0">
                <a:pos x="connsiteX39410" y="connsiteY39410"/>
              </a:cxn>
              <a:cxn ang="0">
                <a:pos x="connsiteX39411" y="connsiteY39411"/>
              </a:cxn>
              <a:cxn ang="0">
                <a:pos x="connsiteX39412" y="connsiteY39412"/>
              </a:cxn>
              <a:cxn ang="0">
                <a:pos x="connsiteX39413" y="connsiteY39413"/>
              </a:cxn>
              <a:cxn ang="0">
                <a:pos x="connsiteX39414" y="connsiteY39414"/>
              </a:cxn>
              <a:cxn ang="0">
                <a:pos x="connsiteX39415" y="connsiteY39415"/>
              </a:cxn>
              <a:cxn ang="0">
                <a:pos x="connsiteX39416" y="connsiteY39416"/>
              </a:cxn>
              <a:cxn ang="0">
                <a:pos x="connsiteX39417" y="connsiteY39417"/>
              </a:cxn>
              <a:cxn ang="0">
                <a:pos x="connsiteX39418" y="connsiteY39418"/>
              </a:cxn>
              <a:cxn ang="0">
                <a:pos x="connsiteX39419" y="connsiteY39419"/>
              </a:cxn>
              <a:cxn ang="0">
                <a:pos x="connsiteX39420" y="connsiteY39420"/>
              </a:cxn>
              <a:cxn ang="0">
                <a:pos x="connsiteX39421" y="connsiteY39421"/>
              </a:cxn>
              <a:cxn ang="0">
                <a:pos x="connsiteX39422" y="connsiteY39422"/>
              </a:cxn>
              <a:cxn ang="0">
                <a:pos x="connsiteX39423" y="connsiteY39423"/>
              </a:cxn>
              <a:cxn ang="0">
                <a:pos x="connsiteX39424" y="connsiteY39424"/>
              </a:cxn>
              <a:cxn ang="0">
                <a:pos x="connsiteX39425" y="connsiteY39425"/>
              </a:cxn>
              <a:cxn ang="0">
                <a:pos x="connsiteX39426" y="connsiteY39426"/>
              </a:cxn>
              <a:cxn ang="0">
                <a:pos x="connsiteX39427" y="connsiteY39427"/>
              </a:cxn>
              <a:cxn ang="0">
                <a:pos x="connsiteX39428" y="connsiteY39428"/>
              </a:cxn>
              <a:cxn ang="0">
                <a:pos x="connsiteX39429" y="connsiteY39429"/>
              </a:cxn>
              <a:cxn ang="0">
                <a:pos x="connsiteX39430" y="connsiteY39430"/>
              </a:cxn>
              <a:cxn ang="0">
                <a:pos x="connsiteX39431" y="connsiteY39431"/>
              </a:cxn>
              <a:cxn ang="0">
                <a:pos x="connsiteX39432" y="connsiteY39432"/>
              </a:cxn>
              <a:cxn ang="0">
                <a:pos x="connsiteX39433" y="connsiteY39433"/>
              </a:cxn>
              <a:cxn ang="0">
                <a:pos x="connsiteX39434" y="connsiteY39434"/>
              </a:cxn>
              <a:cxn ang="0">
                <a:pos x="connsiteX39435" y="connsiteY39435"/>
              </a:cxn>
              <a:cxn ang="0">
                <a:pos x="connsiteX39436" y="connsiteY39436"/>
              </a:cxn>
              <a:cxn ang="0">
                <a:pos x="connsiteX39437" y="connsiteY39437"/>
              </a:cxn>
              <a:cxn ang="0">
                <a:pos x="connsiteX39438" y="connsiteY39438"/>
              </a:cxn>
              <a:cxn ang="0">
                <a:pos x="connsiteX39439" y="connsiteY39439"/>
              </a:cxn>
              <a:cxn ang="0">
                <a:pos x="connsiteX39440" y="connsiteY39440"/>
              </a:cxn>
              <a:cxn ang="0">
                <a:pos x="connsiteX39441" y="connsiteY39441"/>
              </a:cxn>
              <a:cxn ang="0">
                <a:pos x="connsiteX39442" y="connsiteY39442"/>
              </a:cxn>
              <a:cxn ang="0">
                <a:pos x="connsiteX39443" y="connsiteY39443"/>
              </a:cxn>
              <a:cxn ang="0">
                <a:pos x="connsiteX39444" y="connsiteY39444"/>
              </a:cxn>
              <a:cxn ang="0">
                <a:pos x="connsiteX39445" y="connsiteY39445"/>
              </a:cxn>
              <a:cxn ang="0">
                <a:pos x="connsiteX39446" y="connsiteY39446"/>
              </a:cxn>
              <a:cxn ang="0">
                <a:pos x="connsiteX39447" y="connsiteY39447"/>
              </a:cxn>
              <a:cxn ang="0">
                <a:pos x="connsiteX39448" y="connsiteY39448"/>
              </a:cxn>
              <a:cxn ang="0">
                <a:pos x="connsiteX39449" y="connsiteY39449"/>
              </a:cxn>
              <a:cxn ang="0">
                <a:pos x="connsiteX39450" y="connsiteY39450"/>
              </a:cxn>
              <a:cxn ang="0">
                <a:pos x="connsiteX39451" y="connsiteY39451"/>
              </a:cxn>
              <a:cxn ang="0">
                <a:pos x="connsiteX39452" y="connsiteY39452"/>
              </a:cxn>
              <a:cxn ang="0">
                <a:pos x="connsiteX39453" y="connsiteY39453"/>
              </a:cxn>
              <a:cxn ang="0">
                <a:pos x="connsiteX39454" y="connsiteY39454"/>
              </a:cxn>
              <a:cxn ang="0">
                <a:pos x="connsiteX39455" y="connsiteY39455"/>
              </a:cxn>
              <a:cxn ang="0">
                <a:pos x="connsiteX39456" y="connsiteY39456"/>
              </a:cxn>
              <a:cxn ang="0">
                <a:pos x="connsiteX39457" y="connsiteY39457"/>
              </a:cxn>
              <a:cxn ang="0">
                <a:pos x="connsiteX39458" y="connsiteY39458"/>
              </a:cxn>
              <a:cxn ang="0">
                <a:pos x="connsiteX39459" y="connsiteY39459"/>
              </a:cxn>
              <a:cxn ang="0">
                <a:pos x="connsiteX39460" y="connsiteY39460"/>
              </a:cxn>
              <a:cxn ang="0">
                <a:pos x="connsiteX39461" y="connsiteY39461"/>
              </a:cxn>
              <a:cxn ang="0">
                <a:pos x="connsiteX39462" y="connsiteY39462"/>
              </a:cxn>
              <a:cxn ang="0">
                <a:pos x="connsiteX39463" y="connsiteY39463"/>
              </a:cxn>
              <a:cxn ang="0">
                <a:pos x="connsiteX39464" y="connsiteY39464"/>
              </a:cxn>
              <a:cxn ang="0">
                <a:pos x="connsiteX39465" y="connsiteY39465"/>
              </a:cxn>
              <a:cxn ang="0">
                <a:pos x="connsiteX39466" y="connsiteY39466"/>
              </a:cxn>
              <a:cxn ang="0">
                <a:pos x="connsiteX39467" y="connsiteY39467"/>
              </a:cxn>
              <a:cxn ang="0">
                <a:pos x="connsiteX39468" y="connsiteY39468"/>
              </a:cxn>
              <a:cxn ang="0">
                <a:pos x="connsiteX39469" y="connsiteY39469"/>
              </a:cxn>
              <a:cxn ang="0">
                <a:pos x="connsiteX39470" y="connsiteY39470"/>
              </a:cxn>
              <a:cxn ang="0">
                <a:pos x="connsiteX39471" y="connsiteY39471"/>
              </a:cxn>
              <a:cxn ang="0">
                <a:pos x="connsiteX39472" y="connsiteY39472"/>
              </a:cxn>
              <a:cxn ang="0">
                <a:pos x="connsiteX39473" y="connsiteY39473"/>
              </a:cxn>
              <a:cxn ang="0">
                <a:pos x="connsiteX39474" y="connsiteY39474"/>
              </a:cxn>
              <a:cxn ang="0">
                <a:pos x="connsiteX39475" y="connsiteY39475"/>
              </a:cxn>
              <a:cxn ang="0">
                <a:pos x="connsiteX39476" y="connsiteY39476"/>
              </a:cxn>
              <a:cxn ang="0">
                <a:pos x="connsiteX39477" y="connsiteY39477"/>
              </a:cxn>
              <a:cxn ang="0">
                <a:pos x="connsiteX39478" y="connsiteY39478"/>
              </a:cxn>
              <a:cxn ang="0">
                <a:pos x="connsiteX39479" y="connsiteY39479"/>
              </a:cxn>
              <a:cxn ang="0">
                <a:pos x="connsiteX39480" y="connsiteY39480"/>
              </a:cxn>
              <a:cxn ang="0">
                <a:pos x="connsiteX39481" y="connsiteY39481"/>
              </a:cxn>
              <a:cxn ang="0">
                <a:pos x="connsiteX39482" y="connsiteY39482"/>
              </a:cxn>
              <a:cxn ang="0">
                <a:pos x="connsiteX39483" y="connsiteY39483"/>
              </a:cxn>
              <a:cxn ang="0">
                <a:pos x="connsiteX39484" y="connsiteY39484"/>
              </a:cxn>
              <a:cxn ang="0">
                <a:pos x="connsiteX39485" y="connsiteY39485"/>
              </a:cxn>
              <a:cxn ang="0">
                <a:pos x="connsiteX39486" y="connsiteY39486"/>
              </a:cxn>
              <a:cxn ang="0">
                <a:pos x="connsiteX39487" y="connsiteY39487"/>
              </a:cxn>
              <a:cxn ang="0">
                <a:pos x="connsiteX39488" y="connsiteY39488"/>
              </a:cxn>
              <a:cxn ang="0">
                <a:pos x="connsiteX39489" y="connsiteY39489"/>
              </a:cxn>
              <a:cxn ang="0">
                <a:pos x="connsiteX39490" y="connsiteY39490"/>
              </a:cxn>
              <a:cxn ang="0">
                <a:pos x="connsiteX39491" y="connsiteY39491"/>
              </a:cxn>
              <a:cxn ang="0">
                <a:pos x="connsiteX39492" y="connsiteY39492"/>
              </a:cxn>
              <a:cxn ang="0">
                <a:pos x="connsiteX39493" y="connsiteY39493"/>
              </a:cxn>
              <a:cxn ang="0">
                <a:pos x="connsiteX39494" y="connsiteY39494"/>
              </a:cxn>
              <a:cxn ang="0">
                <a:pos x="connsiteX39495" y="connsiteY39495"/>
              </a:cxn>
              <a:cxn ang="0">
                <a:pos x="connsiteX39496" y="connsiteY39496"/>
              </a:cxn>
              <a:cxn ang="0">
                <a:pos x="connsiteX39497" y="connsiteY39497"/>
              </a:cxn>
              <a:cxn ang="0">
                <a:pos x="connsiteX39498" y="connsiteY39498"/>
              </a:cxn>
              <a:cxn ang="0">
                <a:pos x="connsiteX39499" y="connsiteY39499"/>
              </a:cxn>
              <a:cxn ang="0">
                <a:pos x="connsiteX39500" y="connsiteY39500"/>
              </a:cxn>
              <a:cxn ang="0">
                <a:pos x="connsiteX39501" y="connsiteY39501"/>
              </a:cxn>
              <a:cxn ang="0">
                <a:pos x="connsiteX39502" y="connsiteY39502"/>
              </a:cxn>
              <a:cxn ang="0">
                <a:pos x="connsiteX39503" y="connsiteY39503"/>
              </a:cxn>
              <a:cxn ang="0">
                <a:pos x="connsiteX39504" y="connsiteY39504"/>
              </a:cxn>
              <a:cxn ang="0">
                <a:pos x="connsiteX39505" y="connsiteY39505"/>
              </a:cxn>
              <a:cxn ang="0">
                <a:pos x="connsiteX39506" y="connsiteY39506"/>
              </a:cxn>
              <a:cxn ang="0">
                <a:pos x="connsiteX39507" y="connsiteY39507"/>
              </a:cxn>
              <a:cxn ang="0">
                <a:pos x="connsiteX39508" y="connsiteY39508"/>
              </a:cxn>
              <a:cxn ang="0">
                <a:pos x="connsiteX39509" y="connsiteY39509"/>
              </a:cxn>
              <a:cxn ang="0">
                <a:pos x="connsiteX39510" y="connsiteY39510"/>
              </a:cxn>
              <a:cxn ang="0">
                <a:pos x="connsiteX39511" y="connsiteY39511"/>
              </a:cxn>
              <a:cxn ang="0">
                <a:pos x="connsiteX39512" y="connsiteY39512"/>
              </a:cxn>
              <a:cxn ang="0">
                <a:pos x="connsiteX39513" y="connsiteY39513"/>
              </a:cxn>
              <a:cxn ang="0">
                <a:pos x="connsiteX39514" y="connsiteY39514"/>
              </a:cxn>
              <a:cxn ang="0">
                <a:pos x="connsiteX39515" y="connsiteY39515"/>
              </a:cxn>
              <a:cxn ang="0">
                <a:pos x="connsiteX39516" y="connsiteY39516"/>
              </a:cxn>
              <a:cxn ang="0">
                <a:pos x="connsiteX39517" y="connsiteY39517"/>
              </a:cxn>
              <a:cxn ang="0">
                <a:pos x="connsiteX39518" y="connsiteY39518"/>
              </a:cxn>
              <a:cxn ang="0">
                <a:pos x="connsiteX39519" y="connsiteY39519"/>
              </a:cxn>
              <a:cxn ang="0">
                <a:pos x="connsiteX39520" y="connsiteY39520"/>
              </a:cxn>
              <a:cxn ang="0">
                <a:pos x="connsiteX39521" y="connsiteY39521"/>
              </a:cxn>
              <a:cxn ang="0">
                <a:pos x="connsiteX39522" y="connsiteY39522"/>
              </a:cxn>
              <a:cxn ang="0">
                <a:pos x="connsiteX39523" y="connsiteY39523"/>
              </a:cxn>
              <a:cxn ang="0">
                <a:pos x="connsiteX39524" y="connsiteY39524"/>
              </a:cxn>
              <a:cxn ang="0">
                <a:pos x="connsiteX39525" y="connsiteY39525"/>
              </a:cxn>
              <a:cxn ang="0">
                <a:pos x="connsiteX39526" y="connsiteY39526"/>
              </a:cxn>
              <a:cxn ang="0">
                <a:pos x="connsiteX39527" y="connsiteY39527"/>
              </a:cxn>
              <a:cxn ang="0">
                <a:pos x="connsiteX39528" y="connsiteY39528"/>
              </a:cxn>
              <a:cxn ang="0">
                <a:pos x="connsiteX39529" y="connsiteY39529"/>
              </a:cxn>
              <a:cxn ang="0">
                <a:pos x="connsiteX39530" y="connsiteY39530"/>
              </a:cxn>
              <a:cxn ang="0">
                <a:pos x="connsiteX39531" y="connsiteY39531"/>
              </a:cxn>
              <a:cxn ang="0">
                <a:pos x="connsiteX39532" y="connsiteY39532"/>
              </a:cxn>
              <a:cxn ang="0">
                <a:pos x="connsiteX39533" y="connsiteY39533"/>
              </a:cxn>
              <a:cxn ang="0">
                <a:pos x="connsiteX39534" y="connsiteY39534"/>
              </a:cxn>
              <a:cxn ang="0">
                <a:pos x="connsiteX39535" y="connsiteY39535"/>
              </a:cxn>
              <a:cxn ang="0">
                <a:pos x="connsiteX39536" y="connsiteY39536"/>
              </a:cxn>
              <a:cxn ang="0">
                <a:pos x="connsiteX39537" y="connsiteY39537"/>
              </a:cxn>
              <a:cxn ang="0">
                <a:pos x="connsiteX39538" y="connsiteY39538"/>
              </a:cxn>
              <a:cxn ang="0">
                <a:pos x="connsiteX39539" y="connsiteY39539"/>
              </a:cxn>
              <a:cxn ang="0">
                <a:pos x="connsiteX39540" y="connsiteY39540"/>
              </a:cxn>
              <a:cxn ang="0">
                <a:pos x="connsiteX39541" y="connsiteY39541"/>
              </a:cxn>
              <a:cxn ang="0">
                <a:pos x="connsiteX39542" y="connsiteY39542"/>
              </a:cxn>
              <a:cxn ang="0">
                <a:pos x="connsiteX39543" y="connsiteY39543"/>
              </a:cxn>
              <a:cxn ang="0">
                <a:pos x="connsiteX39544" y="connsiteY39544"/>
              </a:cxn>
              <a:cxn ang="0">
                <a:pos x="connsiteX39545" y="connsiteY39545"/>
              </a:cxn>
              <a:cxn ang="0">
                <a:pos x="connsiteX39546" y="connsiteY39546"/>
              </a:cxn>
              <a:cxn ang="0">
                <a:pos x="connsiteX39547" y="connsiteY39547"/>
              </a:cxn>
              <a:cxn ang="0">
                <a:pos x="connsiteX39548" y="connsiteY39548"/>
              </a:cxn>
              <a:cxn ang="0">
                <a:pos x="connsiteX39549" y="connsiteY39549"/>
              </a:cxn>
              <a:cxn ang="0">
                <a:pos x="connsiteX39550" y="connsiteY39550"/>
              </a:cxn>
              <a:cxn ang="0">
                <a:pos x="connsiteX39551" y="connsiteY39551"/>
              </a:cxn>
              <a:cxn ang="0">
                <a:pos x="connsiteX39552" y="connsiteY39552"/>
              </a:cxn>
              <a:cxn ang="0">
                <a:pos x="connsiteX39553" y="connsiteY39553"/>
              </a:cxn>
              <a:cxn ang="0">
                <a:pos x="connsiteX39554" y="connsiteY39554"/>
              </a:cxn>
              <a:cxn ang="0">
                <a:pos x="connsiteX39555" y="connsiteY39555"/>
              </a:cxn>
              <a:cxn ang="0">
                <a:pos x="connsiteX39556" y="connsiteY39556"/>
              </a:cxn>
              <a:cxn ang="0">
                <a:pos x="connsiteX39557" y="connsiteY39557"/>
              </a:cxn>
              <a:cxn ang="0">
                <a:pos x="connsiteX39558" y="connsiteY39558"/>
              </a:cxn>
              <a:cxn ang="0">
                <a:pos x="connsiteX39559" y="connsiteY39559"/>
              </a:cxn>
              <a:cxn ang="0">
                <a:pos x="connsiteX39560" y="connsiteY39560"/>
              </a:cxn>
              <a:cxn ang="0">
                <a:pos x="connsiteX39561" y="connsiteY39561"/>
              </a:cxn>
              <a:cxn ang="0">
                <a:pos x="connsiteX39562" y="connsiteY39562"/>
              </a:cxn>
              <a:cxn ang="0">
                <a:pos x="connsiteX39563" y="connsiteY39563"/>
              </a:cxn>
              <a:cxn ang="0">
                <a:pos x="connsiteX39564" y="connsiteY39564"/>
              </a:cxn>
              <a:cxn ang="0">
                <a:pos x="connsiteX39565" y="connsiteY39565"/>
              </a:cxn>
              <a:cxn ang="0">
                <a:pos x="connsiteX39566" y="connsiteY39566"/>
              </a:cxn>
              <a:cxn ang="0">
                <a:pos x="connsiteX39567" y="connsiteY39567"/>
              </a:cxn>
              <a:cxn ang="0">
                <a:pos x="connsiteX39568" y="connsiteY39568"/>
              </a:cxn>
              <a:cxn ang="0">
                <a:pos x="connsiteX39569" y="connsiteY39569"/>
              </a:cxn>
              <a:cxn ang="0">
                <a:pos x="connsiteX39570" y="connsiteY39570"/>
              </a:cxn>
              <a:cxn ang="0">
                <a:pos x="connsiteX39571" y="connsiteY39571"/>
              </a:cxn>
              <a:cxn ang="0">
                <a:pos x="connsiteX39572" y="connsiteY39572"/>
              </a:cxn>
              <a:cxn ang="0">
                <a:pos x="connsiteX39573" y="connsiteY39573"/>
              </a:cxn>
              <a:cxn ang="0">
                <a:pos x="connsiteX39574" y="connsiteY39574"/>
              </a:cxn>
              <a:cxn ang="0">
                <a:pos x="connsiteX39575" y="connsiteY39575"/>
              </a:cxn>
              <a:cxn ang="0">
                <a:pos x="connsiteX39576" y="connsiteY39576"/>
              </a:cxn>
              <a:cxn ang="0">
                <a:pos x="connsiteX39577" y="connsiteY39577"/>
              </a:cxn>
              <a:cxn ang="0">
                <a:pos x="connsiteX39578" y="connsiteY39578"/>
              </a:cxn>
              <a:cxn ang="0">
                <a:pos x="connsiteX39579" y="connsiteY39579"/>
              </a:cxn>
              <a:cxn ang="0">
                <a:pos x="connsiteX39580" y="connsiteY39580"/>
              </a:cxn>
              <a:cxn ang="0">
                <a:pos x="connsiteX39581" y="connsiteY39581"/>
              </a:cxn>
              <a:cxn ang="0">
                <a:pos x="connsiteX39582" y="connsiteY39582"/>
              </a:cxn>
              <a:cxn ang="0">
                <a:pos x="connsiteX39583" y="connsiteY39583"/>
              </a:cxn>
              <a:cxn ang="0">
                <a:pos x="connsiteX39584" y="connsiteY39584"/>
              </a:cxn>
              <a:cxn ang="0">
                <a:pos x="connsiteX39585" y="connsiteY39585"/>
              </a:cxn>
              <a:cxn ang="0">
                <a:pos x="connsiteX39586" y="connsiteY39586"/>
              </a:cxn>
              <a:cxn ang="0">
                <a:pos x="connsiteX39587" y="connsiteY39587"/>
              </a:cxn>
              <a:cxn ang="0">
                <a:pos x="connsiteX39588" y="connsiteY39588"/>
              </a:cxn>
              <a:cxn ang="0">
                <a:pos x="connsiteX39589" y="connsiteY39589"/>
              </a:cxn>
              <a:cxn ang="0">
                <a:pos x="connsiteX39590" y="connsiteY39590"/>
              </a:cxn>
              <a:cxn ang="0">
                <a:pos x="connsiteX39591" y="connsiteY39591"/>
              </a:cxn>
              <a:cxn ang="0">
                <a:pos x="connsiteX39592" y="connsiteY39592"/>
              </a:cxn>
              <a:cxn ang="0">
                <a:pos x="connsiteX39593" y="connsiteY39593"/>
              </a:cxn>
              <a:cxn ang="0">
                <a:pos x="connsiteX39594" y="connsiteY39594"/>
              </a:cxn>
              <a:cxn ang="0">
                <a:pos x="connsiteX39595" y="connsiteY39595"/>
              </a:cxn>
              <a:cxn ang="0">
                <a:pos x="connsiteX39596" y="connsiteY39596"/>
              </a:cxn>
              <a:cxn ang="0">
                <a:pos x="connsiteX39597" y="connsiteY39597"/>
              </a:cxn>
              <a:cxn ang="0">
                <a:pos x="connsiteX39598" y="connsiteY39598"/>
              </a:cxn>
              <a:cxn ang="0">
                <a:pos x="connsiteX39599" y="connsiteY39599"/>
              </a:cxn>
              <a:cxn ang="0">
                <a:pos x="connsiteX39600" y="connsiteY39600"/>
              </a:cxn>
              <a:cxn ang="0">
                <a:pos x="connsiteX39601" y="connsiteY39601"/>
              </a:cxn>
              <a:cxn ang="0">
                <a:pos x="connsiteX39602" y="connsiteY39602"/>
              </a:cxn>
              <a:cxn ang="0">
                <a:pos x="connsiteX39603" y="connsiteY39603"/>
              </a:cxn>
              <a:cxn ang="0">
                <a:pos x="connsiteX39604" y="connsiteY39604"/>
              </a:cxn>
              <a:cxn ang="0">
                <a:pos x="connsiteX39605" y="connsiteY39605"/>
              </a:cxn>
              <a:cxn ang="0">
                <a:pos x="connsiteX39606" y="connsiteY39606"/>
              </a:cxn>
              <a:cxn ang="0">
                <a:pos x="connsiteX39607" y="connsiteY39607"/>
              </a:cxn>
              <a:cxn ang="0">
                <a:pos x="connsiteX39608" y="connsiteY39608"/>
              </a:cxn>
              <a:cxn ang="0">
                <a:pos x="connsiteX39609" y="connsiteY39609"/>
              </a:cxn>
              <a:cxn ang="0">
                <a:pos x="connsiteX39610" y="connsiteY39610"/>
              </a:cxn>
              <a:cxn ang="0">
                <a:pos x="connsiteX39611" y="connsiteY39611"/>
              </a:cxn>
              <a:cxn ang="0">
                <a:pos x="connsiteX39612" y="connsiteY39612"/>
              </a:cxn>
              <a:cxn ang="0">
                <a:pos x="connsiteX39613" y="connsiteY39613"/>
              </a:cxn>
              <a:cxn ang="0">
                <a:pos x="connsiteX39614" y="connsiteY39614"/>
              </a:cxn>
              <a:cxn ang="0">
                <a:pos x="connsiteX39615" y="connsiteY39615"/>
              </a:cxn>
              <a:cxn ang="0">
                <a:pos x="connsiteX39616" y="connsiteY39616"/>
              </a:cxn>
              <a:cxn ang="0">
                <a:pos x="connsiteX39617" y="connsiteY39617"/>
              </a:cxn>
              <a:cxn ang="0">
                <a:pos x="connsiteX39618" y="connsiteY39618"/>
              </a:cxn>
              <a:cxn ang="0">
                <a:pos x="connsiteX39619" y="connsiteY39619"/>
              </a:cxn>
              <a:cxn ang="0">
                <a:pos x="connsiteX39620" y="connsiteY39620"/>
              </a:cxn>
              <a:cxn ang="0">
                <a:pos x="connsiteX39621" y="connsiteY39621"/>
              </a:cxn>
              <a:cxn ang="0">
                <a:pos x="connsiteX39622" y="connsiteY39622"/>
              </a:cxn>
              <a:cxn ang="0">
                <a:pos x="connsiteX39623" y="connsiteY39623"/>
              </a:cxn>
              <a:cxn ang="0">
                <a:pos x="connsiteX39624" y="connsiteY39624"/>
              </a:cxn>
              <a:cxn ang="0">
                <a:pos x="connsiteX39625" y="connsiteY39625"/>
              </a:cxn>
              <a:cxn ang="0">
                <a:pos x="connsiteX39626" y="connsiteY39626"/>
              </a:cxn>
              <a:cxn ang="0">
                <a:pos x="connsiteX39627" y="connsiteY39627"/>
              </a:cxn>
              <a:cxn ang="0">
                <a:pos x="connsiteX39628" y="connsiteY39628"/>
              </a:cxn>
              <a:cxn ang="0">
                <a:pos x="connsiteX39629" y="connsiteY39629"/>
              </a:cxn>
              <a:cxn ang="0">
                <a:pos x="connsiteX39630" y="connsiteY39630"/>
              </a:cxn>
              <a:cxn ang="0">
                <a:pos x="connsiteX39631" y="connsiteY39631"/>
              </a:cxn>
              <a:cxn ang="0">
                <a:pos x="connsiteX39632" y="connsiteY39632"/>
              </a:cxn>
              <a:cxn ang="0">
                <a:pos x="connsiteX39633" y="connsiteY39633"/>
              </a:cxn>
              <a:cxn ang="0">
                <a:pos x="connsiteX39634" y="connsiteY39634"/>
              </a:cxn>
              <a:cxn ang="0">
                <a:pos x="connsiteX39635" y="connsiteY39635"/>
              </a:cxn>
              <a:cxn ang="0">
                <a:pos x="connsiteX39636" y="connsiteY39636"/>
              </a:cxn>
              <a:cxn ang="0">
                <a:pos x="connsiteX39637" y="connsiteY39637"/>
              </a:cxn>
              <a:cxn ang="0">
                <a:pos x="connsiteX39638" y="connsiteY39638"/>
              </a:cxn>
              <a:cxn ang="0">
                <a:pos x="connsiteX39639" y="connsiteY39639"/>
              </a:cxn>
              <a:cxn ang="0">
                <a:pos x="connsiteX39640" y="connsiteY39640"/>
              </a:cxn>
              <a:cxn ang="0">
                <a:pos x="connsiteX39641" y="connsiteY39641"/>
              </a:cxn>
              <a:cxn ang="0">
                <a:pos x="connsiteX39642" y="connsiteY39642"/>
              </a:cxn>
              <a:cxn ang="0">
                <a:pos x="connsiteX39643" y="connsiteY39643"/>
              </a:cxn>
              <a:cxn ang="0">
                <a:pos x="connsiteX39644" y="connsiteY39644"/>
              </a:cxn>
              <a:cxn ang="0">
                <a:pos x="connsiteX39645" y="connsiteY39645"/>
              </a:cxn>
              <a:cxn ang="0">
                <a:pos x="connsiteX39646" y="connsiteY39646"/>
              </a:cxn>
              <a:cxn ang="0">
                <a:pos x="connsiteX39647" y="connsiteY39647"/>
              </a:cxn>
              <a:cxn ang="0">
                <a:pos x="connsiteX39648" y="connsiteY39648"/>
              </a:cxn>
              <a:cxn ang="0">
                <a:pos x="connsiteX39649" y="connsiteY39649"/>
              </a:cxn>
              <a:cxn ang="0">
                <a:pos x="connsiteX39650" y="connsiteY39650"/>
              </a:cxn>
              <a:cxn ang="0">
                <a:pos x="connsiteX39651" y="connsiteY39651"/>
              </a:cxn>
              <a:cxn ang="0">
                <a:pos x="connsiteX39652" y="connsiteY39652"/>
              </a:cxn>
              <a:cxn ang="0">
                <a:pos x="connsiteX39653" y="connsiteY39653"/>
              </a:cxn>
              <a:cxn ang="0">
                <a:pos x="connsiteX39654" y="connsiteY39654"/>
              </a:cxn>
              <a:cxn ang="0">
                <a:pos x="connsiteX39655" y="connsiteY39655"/>
              </a:cxn>
              <a:cxn ang="0">
                <a:pos x="connsiteX39656" y="connsiteY39656"/>
              </a:cxn>
              <a:cxn ang="0">
                <a:pos x="connsiteX39657" y="connsiteY39657"/>
              </a:cxn>
              <a:cxn ang="0">
                <a:pos x="connsiteX39658" y="connsiteY39658"/>
              </a:cxn>
              <a:cxn ang="0">
                <a:pos x="connsiteX39659" y="connsiteY39659"/>
              </a:cxn>
              <a:cxn ang="0">
                <a:pos x="connsiteX39660" y="connsiteY39660"/>
              </a:cxn>
              <a:cxn ang="0">
                <a:pos x="connsiteX39661" y="connsiteY39661"/>
              </a:cxn>
              <a:cxn ang="0">
                <a:pos x="connsiteX39662" y="connsiteY39662"/>
              </a:cxn>
              <a:cxn ang="0">
                <a:pos x="connsiteX39663" y="connsiteY39663"/>
              </a:cxn>
              <a:cxn ang="0">
                <a:pos x="connsiteX39664" y="connsiteY39664"/>
              </a:cxn>
              <a:cxn ang="0">
                <a:pos x="connsiteX39665" y="connsiteY39665"/>
              </a:cxn>
              <a:cxn ang="0">
                <a:pos x="connsiteX39666" y="connsiteY39666"/>
              </a:cxn>
              <a:cxn ang="0">
                <a:pos x="connsiteX39667" y="connsiteY39667"/>
              </a:cxn>
              <a:cxn ang="0">
                <a:pos x="connsiteX39668" y="connsiteY39668"/>
              </a:cxn>
              <a:cxn ang="0">
                <a:pos x="connsiteX39669" y="connsiteY39669"/>
              </a:cxn>
              <a:cxn ang="0">
                <a:pos x="connsiteX39670" y="connsiteY39670"/>
              </a:cxn>
              <a:cxn ang="0">
                <a:pos x="connsiteX39671" y="connsiteY39671"/>
              </a:cxn>
              <a:cxn ang="0">
                <a:pos x="connsiteX39672" y="connsiteY39672"/>
              </a:cxn>
              <a:cxn ang="0">
                <a:pos x="connsiteX39673" y="connsiteY39673"/>
              </a:cxn>
              <a:cxn ang="0">
                <a:pos x="connsiteX39674" y="connsiteY39674"/>
              </a:cxn>
              <a:cxn ang="0">
                <a:pos x="connsiteX39675" y="connsiteY39675"/>
              </a:cxn>
              <a:cxn ang="0">
                <a:pos x="connsiteX39676" y="connsiteY39676"/>
              </a:cxn>
              <a:cxn ang="0">
                <a:pos x="connsiteX39677" y="connsiteY39677"/>
              </a:cxn>
              <a:cxn ang="0">
                <a:pos x="connsiteX39678" y="connsiteY39678"/>
              </a:cxn>
              <a:cxn ang="0">
                <a:pos x="connsiteX39679" y="connsiteY39679"/>
              </a:cxn>
              <a:cxn ang="0">
                <a:pos x="connsiteX39680" y="connsiteY39680"/>
              </a:cxn>
              <a:cxn ang="0">
                <a:pos x="connsiteX39681" y="connsiteY39681"/>
              </a:cxn>
              <a:cxn ang="0">
                <a:pos x="connsiteX39682" y="connsiteY39682"/>
              </a:cxn>
              <a:cxn ang="0">
                <a:pos x="connsiteX39683" y="connsiteY39683"/>
              </a:cxn>
              <a:cxn ang="0">
                <a:pos x="connsiteX39684" y="connsiteY39684"/>
              </a:cxn>
              <a:cxn ang="0">
                <a:pos x="connsiteX39685" y="connsiteY39685"/>
              </a:cxn>
              <a:cxn ang="0">
                <a:pos x="connsiteX39686" y="connsiteY39686"/>
              </a:cxn>
              <a:cxn ang="0">
                <a:pos x="connsiteX39687" y="connsiteY39687"/>
              </a:cxn>
              <a:cxn ang="0">
                <a:pos x="connsiteX39688" y="connsiteY39688"/>
              </a:cxn>
              <a:cxn ang="0">
                <a:pos x="connsiteX39689" y="connsiteY39689"/>
              </a:cxn>
              <a:cxn ang="0">
                <a:pos x="connsiteX39690" y="connsiteY39690"/>
              </a:cxn>
              <a:cxn ang="0">
                <a:pos x="connsiteX39691" y="connsiteY39691"/>
              </a:cxn>
              <a:cxn ang="0">
                <a:pos x="connsiteX39692" y="connsiteY39692"/>
              </a:cxn>
              <a:cxn ang="0">
                <a:pos x="connsiteX39693" y="connsiteY39693"/>
              </a:cxn>
              <a:cxn ang="0">
                <a:pos x="connsiteX39694" y="connsiteY39694"/>
              </a:cxn>
              <a:cxn ang="0">
                <a:pos x="connsiteX39695" y="connsiteY39695"/>
              </a:cxn>
              <a:cxn ang="0">
                <a:pos x="connsiteX39696" y="connsiteY39696"/>
              </a:cxn>
              <a:cxn ang="0">
                <a:pos x="connsiteX39697" y="connsiteY39697"/>
              </a:cxn>
              <a:cxn ang="0">
                <a:pos x="connsiteX39698" y="connsiteY39698"/>
              </a:cxn>
              <a:cxn ang="0">
                <a:pos x="connsiteX39699" y="connsiteY39699"/>
              </a:cxn>
              <a:cxn ang="0">
                <a:pos x="connsiteX39700" y="connsiteY39700"/>
              </a:cxn>
              <a:cxn ang="0">
                <a:pos x="connsiteX39701" y="connsiteY39701"/>
              </a:cxn>
              <a:cxn ang="0">
                <a:pos x="connsiteX39702" y="connsiteY39702"/>
              </a:cxn>
              <a:cxn ang="0">
                <a:pos x="connsiteX39703" y="connsiteY39703"/>
              </a:cxn>
              <a:cxn ang="0">
                <a:pos x="connsiteX39704" y="connsiteY39704"/>
              </a:cxn>
              <a:cxn ang="0">
                <a:pos x="connsiteX39705" y="connsiteY39705"/>
              </a:cxn>
              <a:cxn ang="0">
                <a:pos x="connsiteX39706" y="connsiteY39706"/>
              </a:cxn>
              <a:cxn ang="0">
                <a:pos x="connsiteX39707" y="connsiteY39707"/>
              </a:cxn>
              <a:cxn ang="0">
                <a:pos x="connsiteX39708" y="connsiteY39708"/>
              </a:cxn>
              <a:cxn ang="0">
                <a:pos x="connsiteX39709" y="connsiteY39709"/>
              </a:cxn>
              <a:cxn ang="0">
                <a:pos x="connsiteX39710" y="connsiteY39710"/>
              </a:cxn>
              <a:cxn ang="0">
                <a:pos x="connsiteX39711" y="connsiteY39711"/>
              </a:cxn>
              <a:cxn ang="0">
                <a:pos x="connsiteX39712" y="connsiteY39712"/>
              </a:cxn>
              <a:cxn ang="0">
                <a:pos x="connsiteX39713" y="connsiteY39713"/>
              </a:cxn>
              <a:cxn ang="0">
                <a:pos x="connsiteX39714" y="connsiteY39714"/>
              </a:cxn>
              <a:cxn ang="0">
                <a:pos x="connsiteX39715" y="connsiteY39715"/>
              </a:cxn>
              <a:cxn ang="0">
                <a:pos x="connsiteX39716" y="connsiteY39716"/>
              </a:cxn>
              <a:cxn ang="0">
                <a:pos x="connsiteX39717" y="connsiteY39717"/>
              </a:cxn>
              <a:cxn ang="0">
                <a:pos x="connsiteX39718" y="connsiteY39718"/>
              </a:cxn>
              <a:cxn ang="0">
                <a:pos x="connsiteX39719" y="connsiteY39719"/>
              </a:cxn>
              <a:cxn ang="0">
                <a:pos x="connsiteX39720" y="connsiteY39720"/>
              </a:cxn>
              <a:cxn ang="0">
                <a:pos x="connsiteX39721" y="connsiteY39721"/>
              </a:cxn>
              <a:cxn ang="0">
                <a:pos x="connsiteX39722" y="connsiteY39722"/>
              </a:cxn>
              <a:cxn ang="0">
                <a:pos x="connsiteX39723" y="connsiteY39723"/>
              </a:cxn>
              <a:cxn ang="0">
                <a:pos x="connsiteX39724" y="connsiteY39724"/>
              </a:cxn>
              <a:cxn ang="0">
                <a:pos x="connsiteX39725" y="connsiteY39725"/>
              </a:cxn>
              <a:cxn ang="0">
                <a:pos x="connsiteX39726" y="connsiteY39726"/>
              </a:cxn>
              <a:cxn ang="0">
                <a:pos x="connsiteX39727" y="connsiteY39727"/>
              </a:cxn>
              <a:cxn ang="0">
                <a:pos x="connsiteX39728" y="connsiteY39728"/>
              </a:cxn>
              <a:cxn ang="0">
                <a:pos x="connsiteX39729" y="connsiteY39729"/>
              </a:cxn>
              <a:cxn ang="0">
                <a:pos x="connsiteX39730" y="connsiteY39730"/>
              </a:cxn>
              <a:cxn ang="0">
                <a:pos x="connsiteX39731" y="connsiteY39731"/>
              </a:cxn>
              <a:cxn ang="0">
                <a:pos x="connsiteX39732" y="connsiteY39732"/>
              </a:cxn>
              <a:cxn ang="0">
                <a:pos x="connsiteX39733" y="connsiteY39733"/>
              </a:cxn>
              <a:cxn ang="0">
                <a:pos x="connsiteX39734" y="connsiteY39734"/>
              </a:cxn>
              <a:cxn ang="0">
                <a:pos x="connsiteX39735" y="connsiteY39735"/>
              </a:cxn>
              <a:cxn ang="0">
                <a:pos x="connsiteX39736" y="connsiteY39736"/>
              </a:cxn>
              <a:cxn ang="0">
                <a:pos x="connsiteX39737" y="connsiteY39737"/>
              </a:cxn>
              <a:cxn ang="0">
                <a:pos x="connsiteX39738" y="connsiteY39738"/>
              </a:cxn>
              <a:cxn ang="0">
                <a:pos x="connsiteX39739" y="connsiteY39739"/>
              </a:cxn>
              <a:cxn ang="0">
                <a:pos x="connsiteX39740" y="connsiteY39740"/>
              </a:cxn>
              <a:cxn ang="0">
                <a:pos x="connsiteX39741" y="connsiteY39741"/>
              </a:cxn>
              <a:cxn ang="0">
                <a:pos x="connsiteX39742" y="connsiteY39742"/>
              </a:cxn>
              <a:cxn ang="0">
                <a:pos x="connsiteX39743" y="connsiteY39743"/>
              </a:cxn>
              <a:cxn ang="0">
                <a:pos x="connsiteX39744" y="connsiteY39744"/>
              </a:cxn>
              <a:cxn ang="0">
                <a:pos x="connsiteX39745" y="connsiteY39745"/>
              </a:cxn>
              <a:cxn ang="0">
                <a:pos x="connsiteX39746" y="connsiteY39746"/>
              </a:cxn>
              <a:cxn ang="0">
                <a:pos x="connsiteX39747" y="connsiteY39747"/>
              </a:cxn>
              <a:cxn ang="0">
                <a:pos x="connsiteX39748" y="connsiteY39748"/>
              </a:cxn>
              <a:cxn ang="0">
                <a:pos x="connsiteX39749" y="connsiteY39749"/>
              </a:cxn>
              <a:cxn ang="0">
                <a:pos x="connsiteX39750" y="connsiteY39750"/>
              </a:cxn>
              <a:cxn ang="0">
                <a:pos x="connsiteX39751" y="connsiteY39751"/>
              </a:cxn>
              <a:cxn ang="0">
                <a:pos x="connsiteX39752" y="connsiteY39752"/>
              </a:cxn>
              <a:cxn ang="0">
                <a:pos x="connsiteX39753" y="connsiteY39753"/>
              </a:cxn>
              <a:cxn ang="0">
                <a:pos x="connsiteX39754" y="connsiteY39754"/>
              </a:cxn>
              <a:cxn ang="0">
                <a:pos x="connsiteX39755" y="connsiteY39755"/>
              </a:cxn>
              <a:cxn ang="0">
                <a:pos x="connsiteX39756" y="connsiteY39756"/>
              </a:cxn>
              <a:cxn ang="0">
                <a:pos x="connsiteX39757" y="connsiteY39757"/>
              </a:cxn>
              <a:cxn ang="0">
                <a:pos x="connsiteX39758" y="connsiteY39758"/>
              </a:cxn>
              <a:cxn ang="0">
                <a:pos x="connsiteX39759" y="connsiteY39759"/>
              </a:cxn>
              <a:cxn ang="0">
                <a:pos x="connsiteX39760" y="connsiteY39760"/>
              </a:cxn>
              <a:cxn ang="0">
                <a:pos x="connsiteX39761" y="connsiteY39761"/>
              </a:cxn>
              <a:cxn ang="0">
                <a:pos x="connsiteX39762" y="connsiteY39762"/>
              </a:cxn>
              <a:cxn ang="0">
                <a:pos x="connsiteX39763" y="connsiteY39763"/>
              </a:cxn>
              <a:cxn ang="0">
                <a:pos x="connsiteX39764" y="connsiteY39764"/>
              </a:cxn>
              <a:cxn ang="0">
                <a:pos x="connsiteX39765" y="connsiteY39765"/>
              </a:cxn>
              <a:cxn ang="0">
                <a:pos x="connsiteX39766" y="connsiteY39766"/>
              </a:cxn>
              <a:cxn ang="0">
                <a:pos x="connsiteX39767" y="connsiteY39767"/>
              </a:cxn>
              <a:cxn ang="0">
                <a:pos x="connsiteX39768" y="connsiteY39768"/>
              </a:cxn>
              <a:cxn ang="0">
                <a:pos x="connsiteX39769" y="connsiteY39769"/>
              </a:cxn>
              <a:cxn ang="0">
                <a:pos x="connsiteX39770" y="connsiteY39770"/>
              </a:cxn>
              <a:cxn ang="0">
                <a:pos x="connsiteX39771" y="connsiteY39771"/>
              </a:cxn>
              <a:cxn ang="0">
                <a:pos x="connsiteX39772" y="connsiteY39772"/>
              </a:cxn>
              <a:cxn ang="0">
                <a:pos x="connsiteX39773" y="connsiteY39773"/>
              </a:cxn>
              <a:cxn ang="0">
                <a:pos x="connsiteX39774" y="connsiteY39774"/>
              </a:cxn>
              <a:cxn ang="0">
                <a:pos x="connsiteX39775" y="connsiteY39775"/>
              </a:cxn>
              <a:cxn ang="0">
                <a:pos x="connsiteX39776" y="connsiteY39776"/>
              </a:cxn>
              <a:cxn ang="0">
                <a:pos x="connsiteX39777" y="connsiteY39777"/>
              </a:cxn>
              <a:cxn ang="0">
                <a:pos x="connsiteX39778" y="connsiteY39778"/>
              </a:cxn>
              <a:cxn ang="0">
                <a:pos x="connsiteX39779" y="connsiteY39779"/>
              </a:cxn>
              <a:cxn ang="0">
                <a:pos x="connsiteX39780" y="connsiteY39780"/>
              </a:cxn>
              <a:cxn ang="0">
                <a:pos x="connsiteX39781" y="connsiteY39781"/>
              </a:cxn>
              <a:cxn ang="0">
                <a:pos x="connsiteX39782" y="connsiteY39782"/>
              </a:cxn>
              <a:cxn ang="0">
                <a:pos x="connsiteX39783" y="connsiteY39783"/>
              </a:cxn>
              <a:cxn ang="0">
                <a:pos x="connsiteX39784" y="connsiteY39784"/>
              </a:cxn>
              <a:cxn ang="0">
                <a:pos x="connsiteX39785" y="connsiteY39785"/>
              </a:cxn>
              <a:cxn ang="0">
                <a:pos x="connsiteX39786" y="connsiteY39786"/>
              </a:cxn>
              <a:cxn ang="0">
                <a:pos x="connsiteX39787" y="connsiteY39787"/>
              </a:cxn>
              <a:cxn ang="0">
                <a:pos x="connsiteX39788" y="connsiteY39788"/>
              </a:cxn>
              <a:cxn ang="0">
                <a:pos x="connsiteX39789" y="connsiteY39789"/>
              </a:cxn>
              <a:cxn ang="0">
                <a:pos x="connsiteX39790" y="connsiteY39790"/>
              </a:cxn>
              <a:cxn ang="0">
                <a:pos x="connsiteX39791" y="connsiteY39791"/>
              </a:cxn>
              <a:cxn ang="0">
                <a:pos x="connsiteX39792" y="connsiteY39792"/>
              </a:cxn>
              <a:cxn ang="0">
                <a:pos x="connsiteX39793" y="connsiteY39793"/>
              </a:cxn>
              <a:cxn ang="0">
                <a:pos x="connsiteX39794" y="connsiteY39794"/>
              </a:cxn>
              <a:cxn ang="0">
                <a:pos x="connsiteX39795" y="connsiteY39795"/>
              </a:cxn>
              <a:cxn ang="0">
                <a:pos x="connsiteX39796" y="connsiteY39796"/>
              </a:cxn>
              <a:cxn ang="0">
                <a:pos x="connsiteX39797" y="connsiteY39797"/>
              </a:cxn>
              <a:cxn ang="0">
                <a:pos x="connsiteX39798" y="connsiteY39798"/>
              </a:cxn>
              <a:cxn ang="0">
                <a:pos x="connsiteX39799" y="connsiteY39799"/>
              </a:cxn>
              <a:cxn ang="0">
                <a:pos x="connsiteX39800" y="connsiteY39800"/>
              </a:cxn>
              <a:cxn ang="0">
                <a:pos x="connsiteX39801" y="connsiteY39801"/>
              </a:cxn>
              <a:cxn ang="0">
                <a:pos x="connsiteX39802" y="connsiteY39802"/>
              </a:cxn>
              <a:cxn ang="0">
                <a:pos x="connsiteX39803" y="connsiteY39803"/>
              </a:cxn>
              <a:cxn ang="0">
                <a:pos x="connsiteX39804" y="connsiteY39804"/>
              </a:cxn>
              <a:cxn ang="0">
                <a:pos x="connsiteX39805" y="connsiteY39805"/>
              </a:cxn>
              <a:cxn ang="0">
                <a:pos x="connsiteX39806" y="connsiteY39806"/>
              </a:cxn>
              <a:cxn ang="0">
                <a:pos x="connsiteX39807" y="connsiteY39807"/>
              </a:cxn>
              <a:cxn ang="0">
                <a:pos x="connsiteX39808" y="connsiteY39808"/>
              </a:cxn>
              <a:cxn ang="0">
                <a:pos x="connsiteX39809" y="connsiteY39809"/>
              </a:cxn>
              <a:cxn ang="0">
                <a:pos x="connsiteX39810" y="connsiteY39810"/>
              </a:cxn>
              <a:cxn ang="0">
                <a:pos x="connsiteX39811" y="connsiteY39811"/>
              </a:cxn>
              <a:cxn ang="0">
                <a:pos x="connsiteX39812" y="connsiteY39812"/>
              </a:cxn>
              <a:cxn ang="0">
                <a:pos x="connsiteX39813" y="connsiteY39813"/>
              </a:cxn>
              <a:cxn ang="0">
                <a:pos x="connsiteX39814" y="connsiteY39814"/>
              </a:cxn>
              <a:cxn ang="0">
                <a:pos x="connsiteX39815" y="connsiteY39815"/>
              </a:cxn>
              <a:cxn ang="0">
                <a:pos x="connsiteX39816" y="connsiteY39816"/>
              </a:cxn>
              <a:cxn ang="0">
                <a:pos x="connsiteX39817" y="connsiteY39817"/>
              </a:cxn>
              <a:cxn ang="0">
                <a:pos x="connsiteX39818" y="connsiteY39818"/>
              </a:cxn>
              <a:cxn ang="0">
                <a:pos x="connsiteX39819" y="connsiteY39819"/>
              </a:cxn>
              <a:cxn ang="0">
                <a:pos x="connsiteX39820" y="connsiteY39820"/>
              </a:cxn>
              <a:cxn ang="0">
                <a:pos x="connsiteX39821" y="connsiteY39821"/>
              </a:cxn>
              <a:cxn ang="0">
                <a:pos x="connsiteX39822" y="connsiteY39822"/>
              </a:cxn>
              <a:cxn ang="0">
                <a:pos x="connsiteX39823" y="connsiteY39823"/>
              </a:cxn>
              <a:cxn ang="0">
                <a:pos x="connsiteX39824" y="connsiteY39824"/>
              </a:cxn>
              <a:cxn ang="0">
                <a:pos x="connsiteX39825" y="connsiteY39825"/>
              </a:cxn>
              <a:cxn ang="0">
                <a:pos x="connsiteX39826" y="connsiteY39826"/>
              </a:cxn>
              <a:cxn ang="0">
                <a:pos x="connsiteX39827" y="connsiteY39827"/>
              </a:cxn>
              <a:cxn ang="0">
                <a:pos x="connsiteX39828" y="connsiteY39828"/>
              </a:cxn>
              <a:cxn ang="0">
                <a:pos x="connsiteX39829" y="connsiteY39829"/>
              </a:cxn>
              <a:cxn ang="0">
                <a:pos x="connsiteX39830" y="connsiteY39830"/>
              </a:cxn>
              <a:cxn ang="0">
                <a:pos x="connsiteX39831" y="connsiteY39831"/>
              </a:cxn>
              <a:cxn ang="0">
                <a:pos x="connsiteX39832" y="connsiteY39832"/>
              </a:cxn>
              <a:cxn ang="0">
                <a:pos x="connsiteX39833" y="connsiteY39833"/>
              </a:cxn>
              <a:cxn ang="0">
                <a:pos x="connsiteX39834" y="connsiteY39834"/>
              </a:cxn>
              <a:cxn ang="0">
                <a:pos x="connsiteX39835" y="connsiteY39835"/>
              </a:cxn>
              <a:cxn ang="0">
                <a:pos x="connsiteX39836" y="connsiteY39836"/>
              </a:cxn>
              <a:cxn ang="0">
                <a:pos x="connsiteX39837" y="connsiteY39837"/>
              </a:cxn>
              <a:cxn ang="0">
                <a:pos x="connsiteX39838" y="connsiteY39838"/>
              </a:cxn>
              <a:cxn ang="0">
                <a:pos x="connsiteX39839" y="connsiteY39839"/>
              </a:cxn>
              <a:cxn ang="0">
                <a:pos x="connsiteX39840" y="connsiteY39840"/>
              </a:cxn>
              <a:cxn ang="0">
                <a:pos x="connsiteX39841" y="connsiteY39841"/>
              </a:cxn>
              <a:cxn ang="0">
                <a:pos x="connsiteX39842" y="connsiteY39842"/>
              </a:cxn>
              <a:cxn ang="0">
                <a:pos x="connsiteX39843" y="connsiteY39843"/>
              </a:cxn>
              <a:cxn ang="0">
                <a:pos x="connsiteX39844" y="connsiteY39844"/>
              </a:cxn>
              <a:cxn ang="0">
                <a:pos x="connsiteX39845" y="connsiteY39845"/>
              </a:cxn>
              <a:cxn ang="0">
                <a:pos x="connsiteX39846" y="connsiteY39846"/>
              </a:cxn>
              <a:cxn ang="0">
                <a:pos x="connsiteX39847" y="connsiteY39847"/>
              </a:cxn>
              <a:cxn ang="0">
                <a:pos x="connsiteX39848" y="connsiteY39848"/>
              </a:cxn>
              <a:cxn ang="0">
                <a:pos x="connsiteX39849" y="connsiteY39849"/>
              </a:cxn>
              <a:cxn ang="0">
                <a:pos x="connsiteX39850" y="connsiteY39850"/>
              </a:cxn>
              <a:cxn ang="0">
                <a:pos x="connsiteX39851" y="connsiteY39851"/>
              </a:cxn>
              <a:cxn ang="0">
                <a:pos x="connsiteX39852" y="connsiteY39852"/>
              </a:cxn>
              <a:cxn ang="0">
                <a:pos x="connsiteX39853" y="connsiteY39853"/>
              </a:cxn>
              <a:cxn ang="0">
                <a:pos x="connsiteX39854" y="connsiteY39854"/>
              </a:cxn>
              <a:cxn ang="0">
                <a:pos x="connsiteX39855" y="connsiteY39855"/>
              </a:cxn>
              <a:cxn ang="0">
                <a:pos x="connsiteX39856" y="connsiteY39856"/>
              </a:cxn>
              <a:cxn ang="0">
                <a:pos x="connsiteX39857" y="connsiteY39857"/>
              </a:cxn>
              <a:cxn ang="0">
                <a:pos x="connsiteX39858" y="connsiteY39858"/>
              </a:cxn>
              <a:cxn ang="0">
                <a:pos x="connsiteX39859" y="connsiteY39859"/>
              </a:cxn>
              <a:cxn ang="0">
                <a:pos x="connsiteX39860" y="connsiteY39860"/>
              </a:cxn>
              <a:cxn ang="0">
                <a:pos x="connsiteX39861" y="connsiteY39861"/>
              </a:cxn>
              <a:cxn ang="0">
                <a:pos x="connsiteX39862" y="connsiteY39862"/>
              </a:cxn>
              <a:cxn ang="0">
                <a:pos x="connsiteX39863" y="connsiteY39863"/>
              </a:cxn>
              <a:cxn ang="0">
                <a:pos x="connsiteX39864" y="connsiteY39864"/>
              </a:cxn>
              <a:cxn ang="0">
                <a:pos x="connsiteX39865" y="connsiteY39865"/>
              </a:cxn>
              <a:cxn ang="0">
                <a:pos x="connsiteX39866" y="connsiteY39866"/>
              </a:cxn>
              <a:cxn ang="0">
                <a:pos x="connsiteX39867" y="connsiteY39867"/>
              </a:cxn>
              <a:cxn ang="0">
                <a:pos x="connsiteX39868" y="connsiteY39868"/>
              </a:cxn>
              <a:cxn ang="0">
                <a:pos x="connsiteX39869" y="connsiteY39869"/>
              </a:cxn>
              <a:cxn ang="0">
                <a:pos x="connsiteX39870" y="connsiteY39870"/>
              </a:cxn>
              <a:cxn ang="0">
                <a:pos x="connsiteX39871" y="connsiteY39871"/>
              </a:cxn>
              <a:cxn ang="0">
                <a:pos x="connsiteX39872" y="connsiteY39872"/>
              </a:cxn>
              <a:cxn ang="0">
                <a:pos x="connsiteX39873" y="connsiteY39873"/>
              </a:cxn>
              <a:cxn ang="0">
                <a:pos x="connsiteX39874" y="connsiteY39874"/>
              </a:cxn>
              <a:cxn ang="0">
                <a:pos x="connsiteX39875" y="connsiteY39875"/>
              </a:cxn>
              <a:cxn ang="0">
                <a:pos x="connsiteX39876" y="connsiteY39876"/>
              </a:cxn>
              <a:cxn ang="0">
                <a:pos x="connsiteX39877" y="connsiteY39877"/>
              </a:cxn>
              <a:cxn ang="0">
                <a:pos x="connsiteX39878" y="connsiteY39878"/>
              </a:cxn>
              <a:cxn ang="0">
                <a:pos x="connsiteX39879" y="connsiteY39879"/>
              </a:cxn>
              <a:cxn ang="0">
                <a:pos x="connsiteX39880" y="connsiteY39880"/>
              </a:cxn>
              <a:cxn ang="0">
                <a:pos x="connsiteX39881" y="connsiteY39881"/>
              </a:cxn>
              <a:cxn ang="0">
                <a:pos x="connsiteX39882" y="connsiteY39882"/>
              </a:cxn>
              <a:cxn ang="0">
                <a:pos x="connsiteX39883" y="connsiteY39883"/>
              </a:cxn>
              <a:cxn ang="0">
                <a:pos x="connsiteX39884" y="connsiteY39884"/>
              </a:cxn>
              <a:cxn ang="0">
                <a:pos x="connsiteX39885" y="connsiteY39885"/>
              </a:cxn>
              <a:cxn ang="0">
                <a:pos x="connsiteX39886" y="connsiteY39886"/>
              </a:cxn>
              <a:cxn ang="0">
                <a:pos x="connsiteX39887" y="connsiteY39887"/>
              </a:cxn>
              <a:cxn ang="0">
                <a:pos x="connsiteX39888" y="connsiteY39888"/>
              </a:cxn>
              <a:cxn ang="0">
                <a:pos x="connsiteX39889" y="connsiteY39889"/>
              </a:cxn>
              <a:cxn ang="0">
                <a:pos x="connsiteX39890" y="connsiteY39890"/>
              </a:cxn>
              <a:cxn ang="0">
                <a:pos x="connsiteX39891" y="connsiteY39891"/>
              </a:cxn>
              <a:cxn ang="0">
                <a:pos x="connsiteX39892" y="connsiteY39892"/>
              </a:cxn>
              <a:cxn ang="0">
                <a:pos x="connsiteX39893" y="connsiteY39893"/>
              </a:cxn>
              <a:cxn ang="0">
                <a:pos x="connsiteX39894" y="connsiteY39894"/>
              </a:cxn>
              <a:cxn ang="0">
                <a:pos x="connsiteX39895" y="connsiteY39895"/>
              </a:cxn>
              <a:cxn ang="0">
                <a:pos x="connsiteX39896" y="connsiteY39896"/>
              </a:cxn>
              <a:cxn ang="0">
                <a:pos x="connsiteX39897" y="connsiteY39897"/>
              </a:cxn>
              <a:cxn ang="0">
                <a:pos x="connsiteX39898" y="connsiteY39898"/>
              </a:cxn>
              <a:cxn ang="0">
                <a:pos x="connsiteX39899" y="connsiteY39899"/>
              </a:cxn>
              <a:cxn ang="0">
                <a:pos x="connsiteX39900" y="connsiteY39900"/>
              </a:cxn>
              <a:cxn ang="0">
                <a:pos x="connsiteX39901" y="connsiteY39901"/>
              </a:cxn>
              <a:cxn ang="0">
                <a:pos x="connsiteX39902" y="connsiteY39902"/>
              </a:cxn>
              <a:cxn ang="0">
                <a:pos x="connsiteX39903" y="connsiteY39903"/>
              </a:cxn>
              <a:cxn ang="0">
                <a:pos x="connsiteX39904" y="connsiteY39904"/>
              </a:cxn>
              <a:cxn ang="0">
                <a:pos x="connsiteX39905" y="connsiteY39905"/>
              </a:cxn>
              <a:cxn ang="0">
                <a:pos x="connsiteX39906" y="connsiteY39906"/>
              </a:cxn>
              <a:cxn ang="0">
                <a:pos x="connsiteX39907" y="connsiteY39907"/>
              </a:cxn>
              <a:cxn ang="0">
                <a:pos x="connsiteX39908" y="connsiteY39908"/>
              </a:cxn>
              <a:cxn ang="0">
                <a:pos x="connsiteX39909" y="connsiteY39909"/>
              </a:cxn>
              <a:cxn ang="0">
                <a:pos x="connsiteX39910" y="connsiteY39910"/>
              </a:cxn>
              <a:cxn ang="0">
                <a:pos x="connsiteX39911" y="connsiteY39911"/>
              </a:cxn>
              <a:cxn ang="0">
                <a:pos x="connsiteX39912" y="connsiteY39912"/>
              </a:cxn>
              <a:cxn ang="0">
                <a:pos x="connsiteX39913" y="connsiteY39913"/>
              </a:cxn>
              <a:cxn ang="0">
                <a:pos x="connsiteX39914" y="connsiteY39914"/>
              </a:cxn>
              <a:cxn ang="0">
                <a:pos x="connsiteX39915" y="connsiteY39915"/>
              </a:cxn>
              <a:cxn ang="0">
                <a:pos x="connsiteX39916" y="connsiteY39916"/>
              </a:cxn>
              <a:cxn ang="0">
                <a:pos x="connsiteX39917" y="connsiteY39917"/>
              </a:cxn>
              <a:cxn ang="0">
                <a:pos x="connsiteX39918" y="connsiteY39918"/>
              </a:cxn>
              <a:cxn ang="0">
                <a:pos x="connsiteX39919" y="connsiteY39919"/>
              </a:cxn>
              <a:cxn ang="0">
                <a:pos x="connsiteX39920" y="connsiteY39920"/>
              </a:cxn>
              <a:cxn ang="0">
                <a:pos x="connsiteX39921" y="connsiteY39921"/>
              </a:cxn>
              <a:cxn ang="0">
                <a:pos x="connsiteX39922" y="connsiteY39922"/>
              </a:cxn>
              <a:cxn ang="0">
                <a:pos x="connsiteX39923" y="connsiteY39923"/>
              </a:cxn>
              <a:cxn ang="0">
                <a:pos x="connsiteX39924" y="connsiteY39924"/>
              </a:cxn>
              <a:cxn ang="0">
                <a:pos x="connsiteX39925" y="connsiteY39925"/>
              </a:cxn>
              <a:cxn ang="0">
                <a:pos x="connsiteX39926" y="connsiteY39926"/>
              </a:cxn>
              <a:cxn ang="0">
                <a:pos x="connsiteX39927" y="connsiteY39927"/>
              </a:cxn>
              <a:cxn ang="0">
                <a:pos x="connsiteX39928" y="connsiteY39928"/>
              </a:cxn>
              <a:cxn ang="0">
                <a:pos x="connsiteX39929" y="connsiteY39929"/>
              </a:cxn>
              <a:cxn ang="0">
                <a:pos x="connsiteX39930" y="connsiteY39930"/>
              </a:cxn>
              <a:cxn ang="0">
                <a:pos x="connsiteX39931" y="connsiteY39931"/>
              </a:cxn>
              <a:cxn ang="0">
                <a:pos x="connsiteX39932" y="connsiteY39932"/>
              </a:cxn>
              <a:cxn ang="0">
                <a:pos x="connsiteX39933" y="connsiteY39933"/>
              </a:cxn>
              <a:cxn ang="0">
                <a:pos x="connsiteX39934" y="connsiteY39934"/>
              </a:cxn>
              <a:cxn ang="0">
                <a:pos x="connsiteX39935" y="connsiteY39935"/>
              </a:cxn>
              <a:cxn ang="0">
                <a:pos x="connsiteX39936" y="connsiteY39936"/>
              </a:cxn>
              <a:cxn ang="0">
                <a:pos x="connsiteX39937" y="connsiteY39937"/>
              </a:cxn>
              <a:cxn ang="0">
                <a:pos x="connsiteX39938" y="connsiteY39938"/>
              </a:cxn>
              <a:cxn ang="0">
                <a:pos x="connsiteX39939" y="connsiteY39939"/>
              </a:cxn>
              <a:cxn ang="0">
                <a:pos x="connsiteX39940" y="connsiteY39940"/>
              </a:cxn>
              <a:cxn ang="0">
                <a:pos x="connsiteX39941" y="connsiteY39941"/>
              </a:cxn>
              <a:cxn ang="0">
                <a:pos x="connsiteX39942" y="connsiteY39942"/>
              </a:cxn>
              <a:cxn ang="0">
                <a:pos x="connsiteX39943" y="connsiteY39943"/>
              </a:cxn>
              <a:cxn ang="0">
                <a:pos x="connsiteX39944" y="connsiteY39944"/>
              </a:cxn>
              <a:cxn ang="0">
                <a:pos x="connsiteX39945" y="connsiteY39945"/>
              </a:cxn>
              <a:cxn ang="0">
                <a:pos x="connsiteX39946" y="connsiteY39946"/>
              </a:cxn>
              <a:cxn ang="0">
                <a:pos x="connsiteX39947" y="connsiteY39947"/>
              </a:cxn>
              <a:cxn ang="0">
                <a:pos x="connsiteX39948" y="connsiteY39948"/>
              </a:cxn>
              <a:cxn ang="0">
                <a:pos x="connsiteX39949" y="connsiteY39949"/>
              </a:cxn>
              <a:cxn ang="0">
                <a:pos x="connsiteX39950" y="connsiteY39950"/>
              </a:cxn>
              <a:cxn ang="0">
                <a:pos x="connsiteX39951" y="connsiteY39951"/>
              </a:cxn>
              <a:cxn ang="0">
                <a:pos x="connsiteX39952" y="connsiteY39952"/>
              </a:cxn>
              <a:cxn ang="0">
                <a:pos x="connsiteX39953" y="connsiteY39953"/>
              </a:cxn>
              <a:cxn ang="0">
                <a:pos x="connsiteX39954" y="connsiteY39954"/>
              </a:cxn>
              <a:cxn ang="0">
                <a:pos x="connsiteX39955" y="connsiteY39955"/>
              </a:cxn>
              <a:cxn ang="0">
                <a:pos x="connsiteX39956" y="connsiteY39956"/>
              </a:cxn>
              <a:cxn ang="0">
                <a:pos x="connsiteX39957" y="connsiteY39957"/>
              </a:cxn>
              <a:cxn ang="0">
                <a:pos x="connsiteX39958" y="connsiteY39958"/>
              </a:cxn>
              <a:cxn ang="0">
                <a:pos x="connsiteX39959" y="connsiteY39959"/>
              </a:cxn>
              <a:cxn ang="0">
                <a:pos x="connsiteX39960" y="connsiteY39960"/>
              </a:cxn>
              <a:cxn ang="0">
                <a:pos x="connsiteX39961" y="connsiteY39961"/>
              </a:cxn>
              <a:cxn ang="0">
                <a:pos x="connsiteX39962" y="connsiteY39962"/>
              </a:cxn>
              <a:cxn ang="0">
                <a:pos x="connsiteX39963" y="connsiteY39963"/>
              </a:cxn>
              <a:cxn ang="0">
                <a:pos x="connsiteX39964" y="connsiteY39964"/>
              </a:cxn>
              <a:cxn ang="0">
                <a:pos x="connsiteX39965" y="connsiteY39965"/>
              </a:cxn>
              <a:cxn ang="0">
                <a:pos x="connsiteX39966" y="connsiteY39966"/>
              </a:cxn>
              <a:cxn ang="0">
                <a:pos x="connsiteX39967" y="connsiteY39967"/>
              </a:cxn>
              <a:cxn ang="0">
                <a:pos x="connsiteX39968" y="connsiteY39968"/>
              </a:cxn>
              <a:cxn ang="0">
                <a:pos x="connsiteX39969" y="connsiteY39969"/>
              </a:cxn>
              <a:cxn ang="0">
                <a:pos x="connsiteX39970" y="connsiteY39970"/>
              </a:cxn>
              <a:cxn ang="0">
                <a:pos x="connsiteX39971" y="connsiteY39971"/>
              </a:cxn>
              <a:cxn ang="0">
                <a:pos x="connsiteX39972" y="connsiteY39972"/>
              </a:cxn>
              <a:cxn ang="0">
                <a:pos x="connsiteX39973" y="connsiteY39973"/>
              </a:cxn>
              <a:cxn ang="0">
                <a:pos x="connsiteX39974" y="connsiteY39974"/>
              </a:cxn>
              <a:cxn ang="0">
                <a:pos x="connsiteX39975" y="connsiteY39975"/>
              </a:cxn>
              <a:cxn ang="0">
                <a:pos x="connsiteX39976" y="connsiteY39976"/>
              </a:cxn>
              <a:cxn ang="0">
                <a:pos x="connsiteX39977" y="connsiteY39977"/>
              </a:cxn>
              <a:cxn ang="0">
                <a:pos x="connsiteX39978" y="connsiteY39978"/>
              </a:cxn>
              <a:cxn ang="0">
                <a:pos x="connsiteX39979" y="connsiteY39979"/>
              </a:cxn>
              <a:cxn ang="0">
                <a:pos x="connsiteX39980" y="connsiteY39980"/>
              </a:cxn>
              <a:cxn ang="0">
                <a:pos x="connsiteX39981" y="connsiteY39981"/>
              </a:cxn>
              <a:cxn ang="0">
                <a:pos x="connsiteX39982" y="connsiteY39982"/>
              </a:cxn>
              <a:cxn ang="0">
                <a:pos x="connsiteX39983" y="connsiteY39983"/>
              </a:cxn>
              <a:cxn ang="0">
                <a:pos x="connsiteX39984" y="connsiteY39984"/>
              </a:cxn>
              <a:cxn ang="0">
                <a:pos x="connsiteX39985" y="connsiteY39985"/>
              </a:cxn>
              <a:cxn ang="0">
                <a:pos x="connsiteX39986" y="connsiteY39986"/>
              </a:cxn>
              <a:cxn ang="0">
                <a:pos x="connsiteX39987" y="connsiteY39987"/>
              </a:cxn>
              <a:cxn ang="0">
                <a:pos x="connsiteX39988" y="connsiteY39988"/>
              </a:cxn>
              <a:cxn ang="0">
                <a:pos x="connsiteX39989" y="connsiteY39989"/>
              </a:cxn>
              <a:cxn ang="0">
                <a:pos x="connsiteX39990" y="connsiteY39990"/>
              </a:cxn>
              <a:cxn ang="0">
                <a:pos x="connsiteX39991" y="connsiteY39991"/>
              </a:cxn>
              <a:cxn ang="0">
                <a:pos x="connsiteX39992" y="connsiteY39992"/>
              </a:cxn>
              <a:cxn ang="0">
                <a:pos x="connsiteX39993" y="connsiteY39993"/>
              </a:cxn>
              <a:cxn ang="0">
                <a:pos x="connsiteX39994" y="connsiteY39994"/>
              </a:cxn>
              <a:cxn ang="0">
                <a:pos x="connsiteX39995" y="connsiteY39995"/>
              </a:cxn>
              <a:cxn ang="0">
                <a:pos x="connsiteX39996" y="connsiteY39996"/>
              </a:cxn>
              <a:cxn ang="0">
                <a:pos x="connsiteX39997" y="connsiteY39997"/>
              </a:cxn>
              <a:cxn ang="0">
                <a:pos x="connsiteX39998" y="connsiteY39998"/>
              </a:cxn>
              <a:cxn ang="0">
                <a:pos x="connsiteX39999" y="connsiteY39999"/>
              </a:cxn>
              <a:cxn ang="0">
                <a:pos x="connsiteX40000" y="connsiteY40000"/>
              </a:cxn>
              <a:cxn ang="0">
                <a:pos x="connsiteX40001" y="connsiteY40001"/>
              </a:cxn>
              <a:cxn ang="0">
                <a:pos x="connsiteX40002" y="connsiteY40002"/>
              </a:cxn>
              <a:cxn ang="0">
                <a:pos x="connsiteX40003" y="connsiteY40003"/>
              </a:cxn>
              <a:cxn ang="0">
                <a:pos x="connsiteX40004" y="connsiteY40004"/>
              </a:cxn>
              <a:cxn ang="0">
                <a:pos x="connsiteX40005" y="connsiteY40005"/>
              </a:cxn>
              <a:cxn ang="0">
                <a:pos x="connsiteX40006" y="connsiteY40006"/>
              </a:cxn>
              <a:cxn ang="0">
                <a:pos x="connsiteX40007" y="connsiteY40007"/>
              </a:cxn>
              <a:cxn ang="0">
                <a:pos x="connsiteX40008" y="connsiteY40008"/>
              </a:cxn>
              <a:cxn ang="0">
                <a:pos x="connsiteX40009" y="connsiteY40009"/>
              </a:cxn>
              <a:cxn ang="0">
                <a:pos x="connsiteX40010" y="connsiteY40010"/>
              </a:cxn>
              <a:cxn ang="0">
                <a:pos x="connsiteX40011" y="connsiteY40011"/>
              </a:cxn>
              <a:cxn ang="0">
                <a:pos x="connsiteX40012" y="connsiteY40012"/>
              </a:cxn>
              <a:cxn ang="0">
                <a:pos x="connsiteX40013" y="connsiteY40013"/>
              </a:cxn>
              <a:cxn ang="0">
                <a:pos x="connsiteX40014" y="connsiteY40014"/>
              </a:cxn>
              <a:cxn ang="0">
                <a:pos x="connsiteX40015" y="connsiteY40015"/>
              </a:cxn>
              <a:cxn ang="0">
                <a:pos x="connsiteX40016" y="connsiteY40016"/>
              </a:cxn>
              <a:cxn ang="0">
                <a:pos x="connsiteX40017" y="connsiteY40017"/>
              </a:cxn>
              <a:cxn ang="0">
                <a:pos x="connsiteX40018" y="connsiteY40018"/>
              </a:cxn>
              <a:cxn ang="0">
                <a:pos x="connsiteX40019" y="connsiteY40019"/>
              </a:cxn>
              <a:cxn ang="0">
                <a:pos x="connsiteX40020" y="connsiteY40020"/>
              </a:cxn>
              <a:cxn ang="0">
                <a:pos x="connsiteX40021" y="connsiteY40021"/>
              </a:cxn>
              <a:cxn ang="0">
                <a:pos x="connsiteX40022" y="connsiteY40022"/>
              </a:cxn>
              <a:cxn ang="0">
                <a:pos x="connsiteX40023" y="connsiteY40023"/>
              </a:cxn>
              <a:cxn ang="0">
                <a:pos x="connsiteX40024" y="connsiteY40024"/>
              </a:cxn>
              <a:cxn ang="0">
                <a:pos x="connsiteX40025" y="connsiteY40025"/>
              </a:cxn>
              <a:cxn ang="0">
                <a:pos x="connsiteX40026" y="connsiteY40026"/>
              </a:cxn>
              <a:cxn ang="0">
                <a:pos x="connsiteX40027" y="connsiteY40027"/>
              </a:cxn>
              <a:cxn ang="0">
                <a:pos x="connsiteX40028" y="connsiteY40028"/>
              </a:cxn>
              <a:cxn ang="0">
                <a:pos x="connsiteX40029" y="connsiteY40029"/>
              </a:cxn>
              <a:cxn ang="0">
                <a:pos x="connsiteX40030" y="connsiteY40030"/>
              </a:cxn>
              <a:cxn ang="0">
                <a:pos x="connsiteX40031" y="connsiteY40031"/>
              </a:cxn>
              <a:cxn ang="0">
                <a:pos x="connsiteX40032" y="connsiteY40032"/>
              </a:cxn>
              <a:cxn ang="0">
                <a:pos x="connsiteX40033" y="connsiteY40033"/>
              </a:cxn>
              <a:cxn ang="0">
                <a:pos x="connsiteX40034" y="connsiteY40034"/>
              </a:cxn>
              <a:cxn ang="0">
                <a:pos x="connsiteX40035" y="connsiteY40035"/>
              </a:cxn>
              <a:cxn ang="0">
                <a:pos x="connsiteX40036" y="connsiteY40036"/>
              </a:cxn>
              <a:cxn ang="0">
                <a:pos x="connsiteX40037" y="connsiteY40037"/>
              </a:cxn>
              <a:cxn ang="0">
                <a:pos x="connsiteX40038" y="connsiteY40038"/>
              </a:cxn>
              <a:cxn ang="0">
                <a:pos x="connsiteX40039" y="connsiteY40039"/>
              </a:cxn>
              <a:cxn ang="0">
                <a:pos x="connsiteX40040" y="connsiteY40040"/>
              </a:cxn>
              <a:cxn ang="0">
                <a:pos x="connsiteX40041" y="connsiteY40041"/>
              </a:cxn>
              <a:cxn ang="0">
                <a:pos x="connsiteX40042" y="connsiteY40042"/>
              </a:cxn>
              <a:cxn ang="0">
                <a:pos x="connsiteX40043" y="connsiteY40043"/>
              </a:cxn>
              <a:cxn ang="0">
                <a:pos x="connsiteX40044" y="connsiteY40044"/>
              </a:cxn>
              <a:cxn ang="0">
                <a:pos x="connsiteX40045" y="connsiteY40045"/>
              </a:cxn>
              <a:cxn ang="0">
                <a:pos x="connsiteX40046" y="connsiteY40046"/>
              </a:cxn>
              <a:cxn ang="0">
                <a:pos x="connsiteX40047" y="connsiteY40047"/>
              </a:cxn>
              <a:cxn ang="0">
                <a:pos x="connsiteX40048" y="connsiteY40048"/>
              </a:cxn>
              <a:cxn ang="0">
                <a:pos x="connsiteX40049" y="connsiteY40049"/>
              </a:cxn>
              <a:cxn ang="0">
                <a:pos x="connsiteX40050" y="connsiteY40050"/>
              </a:cxn>
              <a:cxn ang="0">
                <a:pos x="connsiteX40051" y="connsiteY40051"/>
              </a:cxn>
              <a:cxn ang="0">
                <a:pos x="connsiteX40052" y="connsiteY40052"/>
              </a:cxn>
              <a:cxn ang="0">
                <a:pos x="connsiteX40053" y="connsiteY40053"/>
              </a:cxn>
              <a:cxn ang="0">
                <a:pos x="connsiteX40054" y="connsiteY40054"/>
              </a:cxn>
              <a:cxn ang="0">
                <a:pos x="connsiteX40055" y="connsiteY40055"/>
              </a:cxn>
              <a:cxn ang="0">
                <a:pos x="connsiteX40056" y="connsiteY40056"/>
              </a:cxn>
              <a:cxn ang="0">
                <a:pos x="connsiteX40057" y="connsiteY40057"/>
              </a:cxn>
              <a:cxn ang="0">
                <a:pos x="connsiteX40058" y="connsiteY40058"/>
              </a:cxn>
              <a:cxn ang="0">
                <a:pos x="connsiteX40059" y="connsiteY40059"/>
              </a:cxn>
              <a:cxn ang="0">
                <a:pos x="connsiteX40060" y="connsiteY40060"/>
              </a:cxn>
              <a:cxn ang="0">
                <a:pos x="connsiteX40061" y="connsiteY40061"/>
              </a:cxn>
              <a:cxn ang="0">
                <a:pos x="connsiteX40062" y="connsiteY40062"/>
              </a:cxn>
              <a:cxn ang="0">
                <a:pos x="connsiteX40063" y="connsiteY40063"/>
              </a:cxn>
              <a:cxn ang="0">
                <a:pos x="connsiteX40064" y="connsiteY40064"/>
              </a:cxn>
              <a:cxn ang="0">
                <a:pos x="connsiteX40065" y="connsiteY40065"/>
              </a:cxn>
              <a:cxn ang="0">
                <a:pos x="connsiteX40066" y="connsiteY40066"/>
              </a:cxn>
              <a:cxn ang="0">
                <a:pos x="connsiteX40067" y="connsiteY40067"/>
              </a:cxn>
              <a:cxn ang="0">
                <a:pos x="connsiteX40068" y="connsiteY40068"/>
              </a:cxn>
              <a:cxn ang="0">
                <a:pos x="connsiteX40069" y="connsiteY40069"/>
              </a:cxn>
              <a:cxn ang="0">
                <a:pos x="connsiteX40070" y="connsiteY40070"/>
              </a:cxn>
              <a:cxn ang="0">
                <a:pos x="connsiteX40071" y="connsiteY40071"/>
              </a:cxn>
              <a:cxn ang="0">
                <a:pos x="connsiteX40072" y="connsiteY40072"/>
              </a:cxn>
              <a:cxn ang="0">
                <a:pos x="connsiteX40073" y="connsiteY40073"/>
              </a:cxn>
              <a:cxn ang="0">
                <a:pos x="connsiteX40074" y="connsiteY40074"/>
              </a:cxn>
              <a:cxn ang="0">
                <a:pos x="connsiteX40075" y="connsiteY40075"/>
              </a:cxn>
              <a:cxn ang="0">
                <a:pos x="connsiteX40076" y="connsiteY40076"/>
              </a:cxn>
              <a:cxn ang="0">
                <a:pos x="connsiteX40077" y="connsiteY40077"/>
              </a:cxn>
              <a:cxn ang="0">
                <a:pos x="connsiteX40078" y="connsiteY40078"/>
              </a:cxn>
              <a:cxn ang="0">
                <a:pos x="connsiteX40079" y="connsiteY40079"/>
              </a:cxn>
              <a:cxn ang="0">
                <a:pos x="connsiteX40080" y="connsiteY40080"/>
              </a:cxn>
              <a:cxn ang="0">
                <a:pos x="connsiteX40081" y="connsiteY40081"/>
              </a:cxn>
              <a:cxn ang="0">
                <a:pos x="connsiteX40082" y="connsiteY40082"/>
              </a:cxn>
              <a:cxn ang="0">
                <a:pos x="connsiteX40083" y="connsiteY40083"/>
              </a:cxn>
              <a:cxn ang="0">
                <a:pos x="connsiteX40084" y="connsiteY40084"/>
              </a:cxn>
              <a:cxn ang="0">
                <a:pos x="connsiteX40085" y="connsiteY40085"/>
              </a:cxn>
              <a:cxn ang="0">
                <a:pos x="connsiteX40086" y="connsiteY40086"/>
              </a:cxn>
              <a:cxn ang="0">
                <a:pos x="connsiteX40087" y="connsiteY40087"/>
              </a:cxn>
              <a:cxn ang="0">
                <a:pos x="connsiteX40088" y="connsiteY40088"/>
              </a:cxn>
              <a:cxn ang="0">
                <a:pos x="connsiteX40089" y="connsiteY40089"/>
              </a:cxn>
              <a:cxn ang="0">
                <a:pos x="connsiteX40090" y="connsiteY40090"/>
              </a:cxn>
              <a:cxn ang="0">
                <a:pos x="connsiteX40091" y="connsiteY40091"/>
              </a:cxn>
              <a:cxn ang="0">
                <a:pos x="connsiteX40092" y="connsiteY40092"/>
              </a:cxn>
              <a:cxn ang="0">
                <a:pos x="connsiteX40093" y="connsiteY40093"/>
              </a:cxn>
              <a:cxn ang="0">
                <a:pos x="connsiteX40094" y="connsiteY40094"/>
              </a:cxn>
              <a:cxn ang="0">
                <a:pos x="connsiteX40095" y="connsiteY40095"/>
              </a:cxn>
              <a:cxn ang="0">
                <a:pos x="connsiteX40096" y="connsiteY40096"/>
              </a:cxn>
              <a:cxn ang="0">
                <a:pos x="connsiteX40097" y="connsiteY40097"/>
              </a:cxn>
              <a:cxn ang="0">
                <a:pos x="connsiteX40098" y="connsiteY40098"/>
              </a:cxn>
              <a:cxn ang="0">
                <a:pos x="connsiteX40099" y="connsiteY40099"/>
              </a:cxn>
              <a:cxn ang="0">
                <a:pos x="connsiteX40100" y="connsiteY40100"/>
              </a:cxn>
              <a:cxn ang="0">
                <a:pos x="connsiteX40101" y="connsiteY40101"/>
              </a:cxn>
              <a:cxn ang="0">
                <a:pos x="connsiteX40102" y="connsiteY40102"/>
              </a:cxn>
              <a:cxn ang="0">
                <a:pos x="connsiteX40103" y="connsiteY40103"/>
              </a:cxn>
              <a:cxn ang="0">
                <a:pos x="connsiteX40104" y="connsiteY40104"/>
              </a:cxn>
              <a:cxn ang="0">
                <a:pos x="connsiteX40105" y="connsiteY40105"/>
              </a:cxn>
              <a:cxn ang="0">
                <a:pos x="connsiteX40106" y="connsiteY40106"/>
              </a:cxn>
              <a:cxn ang="0">
                <a:pos x="connsiteX40107" y="connsiteY40107"/>
              </a:cxn>
              <a:cxn ang="0">
                <a:pos x="connsiteX40108" y="connsiteY40108"/>
              </a:cxn>
              <a:cxn ang="0">
                <a:pos x="connsiteX40109" y="connsiteY40109"/>
              </a:cxn>
              <a:cxn ang="0">
                <a:pos x="connsiteX40110" y="connsiteY40110"/>
              </a:cxn>
              <a:cxn ang="0">
                <a:pos x="connsiteX40111" y="connsiteY40111"/>
              </a:cxn>
              <a:cxn ang="0">
                <a:pos x="connsiteX40112" y="connsiteY40112"/>
              </a:cxn>
              <a:cxn ang="0">
                <a:pos x="connsiteX40113" y="connsiteY40113"/>
              </a:cxn>
              <a:cxn ang="0">
                <a:pos x="connsiteX40114" y="connsiteY40114"/>
              </a:cxn>
              <a:cxn ang="0">
                <a:pos x="connsiteX40115" y="connsiteY40115"/>
              </a:cxn>
              <a:cxn ang="0">
                <a:pos x="connsiteX40116" y="connsiteY40116"/>
              </a:cxn>
              <a:cxn ang="0">
                <a:pos x="connsiteX40117" y="connsiteY40117"/>
              </a:cxn>
              <a:cxn ang="0">
                <a:pos x="connsiteX40118" y="connsiteY40118"/>
              </a:cxn>
              <a:cxn ang="0">
                <a:pos x="connsiteX40119" y="connsiteY40119"/>
              </a:cxn>
              <a:cxn ang="0">
                <a:pos x="connsiteX40120" y="connsiteY40120"/>
              </a:cxn>
              <a:cxn ang="0">
                <a:pos x="connsiteX40121" y="connsiteY40121"/>
              </a:cxn>
              <a:cxn ang="0">
                <a:pos x="connsiteX40122" y="connsiteY40122"/>
              </a:cxn>
              <a:cxn ang="0">
                <a:pos x="connsiteX40123" y="connsiteY40123"/>
              </a:cxn>
              <a:cxn ang="0">
                <a:pos x="connsiteX40124" y="connsiteY40124"/>
              </a:cxn>
              <a:cxn ang="0">
                <a:pos x="connsiteX40125" y="connsiteY40125"/>
              </a:cxn>
              <a:cxn ang="0">
                <a:pos x="connsiteX40126" y="connsiteY40126"/>
              </a:cxn>
              <a:cxn ang="0">
                <a:pos x="connsiteX40127" y="connsiteY40127"/>
              </a:cxn>
              <a:cxn ang="0">
                <a:pos x="connsiteX40128" y="connsiteY40128"/>
              </a:cxn>
              <a:cxn ang="0">
                <a:pos x="connsiteX40129" y="connsiteY40129"/>
              </a:cxn>
              <a:cxn ang="0">
                <a:pos x="connsiteX40130" y="connsiteY40130"/>
              </a:cxn>
              <a:cxn ang="0">
                <a:pos x="connsiteX40131" y="connsiteY40131"/>
              </a:cxn>
              <a:cxn ang="0">
                <a:pos x="connsiteX40132" y="connsiteY40132"/>
              </a:cxn>
              <a:cxn ang="0">
                <a:pos x="connsiteX40133" y="connsiteY40133"/>
              </a:cxn>
              <a:cxn ang="0">
                <a:pos x="connsiteX40134" y="connsiteY40134"/>
              </a:cxn>
              <a:cxn ang="0">
                <a:pos x="connsiteX40135" y="connsiteY40135"/>
              </a:cxn>
              <a:cxn ang="0">
                <a:pos x="connsiteX40136" y="connsiteY40136"/>
              </a:cxn>
              <a:cxn ang="0">
                <a:pos x="connsiteX40137" y="connsiteY40137"/>
              </a:cxn>
              <a:cxn ang="0">
                <a:pos x="connsiteX40138" y="connsiteY40138"/>
              </a:cxn>
              <a:cxn ang="0">
                <a:pos x="connsiteX40139" y="connsiteY40139"/>
              </a:cxn>
              <a:cxn ang="0">
                <a:pos x="connsiteX40140" y="connsiteY40140"/>
              </a:cxn>
              <a:cxn ang="0">
                <a:pos x="connsiteX40141" y="connsiteY40141"/>
              </a:cxn>
              <a:cxn ang="0">
                <a:pos x="connsiteX40142" y="connsiteY40142"/>
              </a:cxn>
              <a:cxn ang="0">
                <a:pos x="connsiteX40143" y="connsiteY40143"/>
              </a:cxn>
              <a:cxn ang="0">
                <a:pos x="connsiteX40144" y="connsiteY40144"/>
              </a:cxn>
              <a:cxn ang="0">
                <a:pos x="connsiteX40145" y="connsiteY40145"/>
              </a:cxn>
              <a:cxn ang="0">
                <a:pos x="connsiteX40146" y="connsiteY40146"/>
              </a:cxn>
              <a:cxn ang="0">
                <a:pos x="connsiteX40147" y="connsiteY40147"/>
              </a:cxn>
              <a:cxn ang="0">
                <a:pos x="connsiteX40148" y="connsiteY40148"/>
              </a:cxn>
              <a:cxn ang="0">
                <a:pos x="connsiteX40149" y="connsiteY40149"/>
              </a:cxn>
              <a:cxn ang="0">
                <a:pos x="connsiteX40150" y="connsiteY40150"/>
              </a:cxn>
              <a:cxn ang="0">
                <a:pos x="connsiteX40151" y="connsiteY40151"/>
              </a:cxn>
              <a:cxn ang="0">
                <a:pos x="connsiteX40152" y="connsiteY40152"/>
              </a:cxn>
              <a:cxn ang="0">
                <a:pos x="connsiteX40153" y="connsiteY40153"/>
              </a:cxn>
              <a:cxn ang="0">
                <a:pos x="connsiteX40154" y="connsiteY40154"/>
              </a:cxn>
              <a:cxn ang="0">
                <a:pos x="connsiteX40155" y="connsiteY40155"/>
              </a:cxn>
              <a:cxn ang="0">
                <a:pos x="connsiteX40156" y="connsiteY40156"/>
              </a:cxn>
              <a:cxn ang="0">
                <a:pos x="connsiteX40157" y="connsiteY40157"/>
              </a:cxn>
              <a:cxn ang="0">
                <a:pos x="connsiteX40158" y="connsiteY40158"/>
              </a:cxn>
              <a:cxn ang="0">
                <a:pos x="connsiteX40159" y="connsiteY40159"/>
              </a:cxn>
              <a:cxn ang="0">
                <a:pos x="connsiteX40160" y="connsiteY40160"/>
              </a:cxn>
              <a:cxn ang="0">
                <a:pos x="connsiteX40161" y="connsiteY40161"/>
              </a:cxn>
              <a:cxn ang="0">
                <a:pos x="connsiteX40162" y="connsiteY40162"/>
              </a:cxn>
              <a:cxn ang="0">
                <a:pos x="connsiteX40163" y="connsiteY40163"/>
              </a:cxn>
              <a:cxn ang="0">
                <a:pos x="connsiteX40164" y="connsiteY40164"/>
              </a:cxn>
              <a:cxn ang="0">
                <a:pos x="connsiteX40165" y="connsiteY40165"/>
              </a:cxn>
              <a:cxn ang="0">
                <a:pos x="connsiteX40166" y="connsiteY40166"/>
              </a:cxn>
              <a:cxn ang="0">
                <a:pos x="connsiteX40167" y="connsiteY40167"/>
              </a:cxn>
              <a:cxn ang="0">
                <a:pos x="connsiteX40168" y="connsiteY40168"/>
              </a:cxn>
              <a:cxn ang="0">
                <a:pos x="connsiteX40169" y="connsiteY40169"/>
              </a:cxn>
              <a:cxn ang="0">
                <a:pos x="connsiteX40170" y="connsiteY40170"/>
              </a:cxn>
              <a:cxn ang="0">
                <a:pos x="connsiteX40171" y="connsiteY40171"/>
              </a:cxn>
              <a:cxn ang="0">
                <a:pos x="connsiteX40172" y="connsiteY40172"/>
              </a:cxn>
              <a:cxn ang="0">
                <a:pos x="connsiteX40173" y="connsiteY40173"/>
              </a:cxn>
              <a:cxn ang="0">
                <a:pos x="connsiteX40174" y="connsiteY40174"/>
              </a:cxn>
              <a:cxn ang="0">
                <a:pos x="connsiteX40175" y="connsiteY40175"/>
              </a:cxn>
              <a:cxn ang="0">
                <a:pos x="connsiteX40176" y="connsiteY40176"/>
              </a:cxn>
              <a:cxn ang="0">
                <a:pos x="connsiteX40177" y="connsiteY40177"/>
              </a:cxn>
              <a:cxn ang="0">
                <a:pos x="connsiteX40178" y="connsiteY40178"/>
              </a:cxn>
              <a:cxn ang="0">
                <a:pos x="connsiteX40179" y="connsiteY40179"/>
              </a:cxn>
              <a:cxn ang="0">
                <a:pos x="connsiteX40180" y="connsiteY40180"/>
              </a:cxn>
              <a:cxn ang="0">
                <a:pos x="connsiteX40181" y="connsiteY40181"/>
              </a:cxn>
              <a:cxn ang="0">
                <a:pos x="connsiteX40182" y="connsiteY40182"/>
              </a:cxn>
              <a:cxn ang="0">
                <a:pos x="connsiteX40183" y="connsiteY40183"/>
              </a:cxn>
              <a:cxn ang="0">
                <a:pos x="connsiteX40184" y="connsiteY40184"/>
              </a:cxn>
              <a:cxn ang="0">
                <a:pos x="connsiteX40185" y="connsiteY40185"/>
              </a:cxn>
              <a:cxn ang="0">
                <a:pos x="connsiteX40186" y="connsiteY40186"/>
              </a:cxn>
              <a:cxn ang="0">
                <a:pos x="connsiteX40187" y="connsiteY40187"/>
              </a:cxn>
              <a:cxn ang="0">
                <a:pos x="connsiteX40188" y="connsiteY40188"/>
              </a:cxn>
              <a:cxn ang="0">
                <a:pos x="connsiteX40189" y="connsiteY40189"/>
              </a:cxn>
              <a:cxn ang="0">
                <a:pos x="connsiteX40190" y="connsiteY40190"/>
              </a:cxn>
              <a:cxn ang="0">
                <a:pos x="connsiteX40191" y="connsiteY40191"/>
              </a:cxn>
              <a:cxn ang="0">
                <a:pos x="connsiteX40192" y="connsiteY40192"/>
              </a:cxn>
              <a:cxn ang="0">
                <a:pos x="connsiteX40193" y="connsiteY40193"/>
              </a:cxn>
              <a:cxn ang="0">
                <a:pos x="connsiteX40194" y="connsiteY40194"/>
              </a:cxn>
              <a:cxn ang="0">
                <a:pos x="connsiteX40195" y="connsiteY40195"/>
              </a:cxn>
              <a:cxn ang="0">
                <a:pos x="connsiteX40196" y="connsiteY40196"/>
              </a:cxn>
              <a:cxn ang="0">
                <a:pos x="connsiteX40197" y="connsiteY40197"/>
              </a:cxn>
              <a:cxn ang="0">
                <a:pos x="connsiteX40198" y="connsiteY40198"/>
              </a:cxn>
              <a:cxn ang="0">
                <a:pos x="connsiteX40199" y="connsiteY40199"/>
              </a:cxn>
              <a:cxn ang="0">
                <a:pos x="connsiteX40200" y="connsiteY40200"/>
              </a:cxn>
              <a:cxn ang="0">
                <a:pos x="connsiteX40201" y="connsiteY40201"/>
              </a:cxn>
              <a:cxn ang="0">
                <a:pos x="connsiteX40202" y="connsiteY40202"/>
              </a:cxn>
              <a:cxn ang="0">
                <a:pos x="connsiteX40203" y="connsiteY40203"/>
              </a:cxn>
              <a:cxn ang="0">
                <a:pos x="connsiteX40204" y="connsiteY40204"/>
              </a:cxn>
              <a:cxn ang="0">
                <a:pos x="connsiteX40205" y="connsiteY40205"/>
              </a:cxn>
              <a:cxn ang="0">
                <a:pos x="connsiteX40206" y="connsiteY40206"/>
              </a:cxn>
              <a:cxn ang="0">
                <a:pos x="connsiteX40207" y="connsiteY40207"/>
              </a:cxn>
              <a:cxn ang="0">
                <a:pos x="connsiteX40208" y="connsiteY40208"/>
              </a:cxn>
              <a:cxn ang="0">
                <a:pos x="connsiteX40209" y="connsiteY40209"/>
              </a:cxn>
              <a:cxn ang="0">
                <a:pos x="connsiteX40210" y="connsiteY40210"/>
              </a:cxn>
              <a:cxn ang="0">
                <a:pos x="connsiteX40211" y="connsiteY40211"/>
              </a:cxn>
              <a:cxn ang="0">
                <a:pos x="connsiteX40212" y="connsiteY40212"/>
              </a:cxn>
              <a:cxn ang="0">
                <a:pos x="connsiteX40213" y="connsiteY40213"/>
              </a:cxn>
              <a:cxn ang="0">
                <a:pos x="connsiteX40214" y="connsiteY40214"/>
              </a:cxn>
              <a:cxn ang="0">
                <a:pos x="connsiteX40215" y="connsiteY40215"/>
              </a:cxn>
              <a:cxn ang="0">
                <a:pos x="connsiteX40216" y="connsiteY40216"/>
              </a:cxn>
              <a:cxn ang="0">
                <a:pos x="connsiteX40217" y="connsiteY40217"/>
              </a:cxn>
              <a:cxn ang="0">
                <a:pos x="connsiteX40218" y="connsiteY40218"/>
              </a:cxn>
              <a:cxn ang="0">
                <a:pos x="connsiteX40219" y="connsiteY40219"/>
              </a:cxn>
              <a:cxn ang="0">
                <a:pos x="connsiteX40220" y="connsiteY40220"/>
              </a:cxn>
              <a:cxn ang="0">
                <a:pos x="connsiteX40221" y="connsiteY40221"/>
              </a:cxn>
              <a:cxn ang="0">
                <a:pos x="connsiteX40222" y="connsiteY40222"/>
              </a:cxn>
              <a:cxn ang="0">
                <a:pos x="connsiteX40223" y="connsiteY40223"/>
              </a:cxn>
              <a:cxn ang="0">
                <a:pos x="connsiteX40224" y="connsiteY40224"/>
              </a:cxn>
              <a:cxn ang="0">
                <a:pos x="connsiteX40225" y="connsiteY40225"/>
              </a:cxn>
              <a:cxn ang="0">
                <a:pos x="connsiteX40226" y="connsiteY40226"/>
              </a:cxn>
              <a:cxn ang="0">
                <a:pos x="connsiteX40227" y="connsiteY40227"/>
              </a:cxn>
              <a:cxn ang="0">
                <a:pos x="connsiteX40228" y="connsiteY40228"/>
              </a:cxn>
              <a:cxn ang="0">
                <a:pos x="connsiteX40229" y="connsiteY40229"/>
              </a:cxn>
              <a:cxn ang="0">
                <a:pos x="connsiteX40230" y="connsiteY40230"/>
              </a:cxn>
              <a:cxn ang="0">
                <a:pos x="connsiteX40231" y="connsiteY40231"/>
              </a:cxn>
              <a:cxn ang="0">
                <a:pos x="connsiteX40232" y="connsiteY40232"/>
              </a:cxn>
              <a:cxn ang="0">
                <a:pos x="connsiteX40233" y="connsiteY40233"/>
              </a:cxn>
              <a:cxn ang="0">
                <a:pos x="connsiteX40234" y="connsiteY40234"/>
              </a:cxn>
              <a:cxn ang="0">
                <a:pos x="connsiteX40235" y="connsiteY40235"/>
              </a:cxn>
              <a:cxn ang="0">
                <a:pos x="connsiteX40236" y="connsiteY40236"/>
              </a:cxn>
              <a:cxn ang="0">
                <a:pos x="connsiteX40237" y="connsiteY40237"/>
              </a:cxn>
              <a:cxn ang="0">
                <a:pos x="connsiteX40238" y="connsiteY40238"/>
              </a:cxn>
              <a:cxn ang="0">
                <a:pos x="connsiteX40239" y="connsiteY40239"/>
              </a:cxn>
              <a:cxn ang="0">
                <a:pos x="connsiteX40240" y="connsiteY40240"/>
              </a:cxn>
              <a:cxn ang="0">
                <a:pos x="connsiteX40241" y="connsiteY40241"/>
              </a:cxn>
              <a:cxn ang="0">
                <a:pos x="connsiteX40242" y="connsiteY40242"/>
              </a:cxn>
              <a:cxn ang="0">
                <a:pos x="connsiteX40243" y="connsiteY40243"/>
              </a:cxn>
              <a:cxn ang="0">
                <a:pos x="connsiteX40244" y="connsiteY40244"/>
              </a:cxn>
              <a:cxn ang="0">
                <a:pos x="connsiteX40245" y="connsiteY40245"/>
              </a:cxn>
              <a:cxn ang="0">
                <a:pos x="connsiteX40246" y="connsiteY40246"/>
              </a:cxn>
              <a:cxn ang="0">
                <a:pos x="connsiteX40247" y="connsiteY40247"/>
              </a:cxn>
              <a:cxn ang="0">
                <a:pos x="connsiteX40248" y="connsiteY40248"/>
              </a:cxn>
              <a:cxn ang="0">
                <a:pos x="connsiteX40249" y="connsiteY40249"/>
              </a:cxn>
              <a:cxn ang="0">
                <a:pos x="connsiteX40250" y="connsiteY40250"/>
              </a:cxn>
              <a:cxn ang="0">
                <a:pos x="connsiteX40251" y="connsiteY40251"/>
              </a:cxn>
              <a:cxn ang="0">
                <a:pos x="connsiteX40252" y="connsiteY40252"/>
              </a:cxn>
              <a:cxn ang="0">
                <a:pos x="connsiteX40253" y="connsiteY40253"/>
              </a:cxn>
              <a:cxn ang="0">
                <a:pos x="connsiteX40254" y="connsiteY40254"/>
              </a:cxn>
              <a:cxn ang="0">
                <a:pos x="connsiteX40255" y="connsiteY40255"/>
              </a:cxn>
              <a:cxn ang="0">
                <a:pos x="connsiteX40256" y="connsiteY40256"/>
              </a:cxn>
              <a:cxn ang="0">
                <a:pos x="connsiteX40257" y="connsiteY40257"/>
              </a:cxn>
              <a:cxn ang="0">
                <a:pos x="connsiteX40258" y="connsiteY40258"/>
              </a:cxn>
              <a:cxn ang="0">
                <a:pos x="connsiteX40259" y="connsiteY40259"/>
              </a:cxn>
              <a:cxn ang="0">
                <a:pos x="connsiteX40260" y="connsiteY40260"/>
              </a:cxn>
              <a:cxn ang="0">
                <a:pos x="connsiteX40261" y="connsiteY40261"/>
              </a:cxn>
              <a:cxn ang="0">
                <a:pos x="connsiteX40262" y="connsiteY40262"/>
              </a:cxn>
              <a:cxn ang="0">
                <a:pos x="connsiteX40263" y="connsiteY40263"/>
              </a:cxn>
              <a:cxn ang="0">
                <a:pos x="connsiteX40264" y="connsiteY40264"/>
              </a:cxn>
              <a:cxn ang="0">
                <a:pos x="connsiteX40265" y="connsiteY40265"/>
              </a:cxn>
              <a:cxn ang="0">
                <a:pos x="connsiteX40266" y="connsiteY40266"/>
              </a:cxn>
              <a:cxn ang="0">
                <a:pos x="connsiteX40267" y="connsiteY40267"/>
              </a:cxn>
              <a:cxn ang="0">
                <a:pos x="connsiteX40268" y="connsiteY40268"/>
              </a:cxn>
              <a:cxn ang="0">
                <a:pos x="connsiteX40269" y="connsiteY40269"/>
              </a:cxn>
              <a:cxn ang="0">
                <a:pos x="connsiteX40270" y="connsiteY40270"/>
              </a:cxn>
              <a:cxn ang="0">
                <a:pos x="connsiteX40271" y="connsiteY40271"/>
              </a:cxn>
              <a:cxn ang="0">
                <a:pos x="connsiteX40272" y="connsiteY40272"/>
              </a:cxn>
              <a:cxn ang="0">
                <a:pos x="connsiteX40273" y="connsiteY40273"/>
              </a:cxn>
              <a:cxn ang="0">
                <a:pos x="connsiteX40274" y="connsiteY40274"/>
              </a:cxn>
              <a:cxn ang="0">
                <a:pos x="connsiteX40275" y="connsiteY40275"/>
              </a:cxn>
              <a:cxn ang="0">
                <a:pos x="connsiteX40276" y="connsiteY40276"/>
              </a:cxn>
              <a:cxn ang="0">
                <a:pos x="connsiteX40277" y="connsiteY40277"/>
              </a:cxn>
              <a:cxn ang="0">
                <a:pos x="connsiteX40278" y="connsiteY40278"/>
              </a:cxn>
              <a:cxn ang="0">
                <a:pos x="connsiteX40279" y="connsiteY40279"/>
              </a:cxn>
              <a:cxn ang="0">
                <a:pos x="connsiteX40280" y="connsiteY40280"/>
              </a:cxn>
              <a:cxn ang="0">
                <a:pos x="connsiteX40281" y="connsiteY40281"/>
              </a:cxn>
              <a:cxn ang="0">
                <a:pos x="connsiteX40282" y="connsiteY40282"/>
              </a:cxn>
              <a:cxn ang="0">
                <a:pos x="connsiteX40283" y="connsiteY40283"/>
              </a:cxn>
              <a:cxn ang="0">
                <a:pos x="connsiteX40284" y="connsiteY40284"/>
              </a:cxn>
              <a:cxn ang="0">
                <a:pos x="connsiteX40285" y="connsiteY40285"/>
              </a:cxn>
              <a:cxn ang="0">
                <a:pos x="connsiteX40286" y="connsiteY40286"/>
              </a:cxn>
              <a:cxn ang="0">
                <a:pos x="connsiteX40287" y="connsiteY40287"/>
              </a:cxn>
              <a:cxn ang="0">
                <a:pos x="connsiteX40288" y="connsiteY40288"/>
              </a:cxn>
              <a:cxn ang="0">
                <a:pos x="connsiteX40289" y="connsiteY40289"/>
              </a:cxn>
              <a:cxn ang="0">
                <a:pos x="connsiteX40290" y="connsiteY40290"/>
              </a:cxn>
              <a:cxn ang="0">
                <a:pos x="connsiteX40291" y="connsiteY40291"/>
              </a:cxn>
              <a:cxn ang="0">
                <a:pos x="connsiteX40292" y="connsiteY40292"/>
              </a:cxn>
              <a:cxn ang="0">
                <a:pos x="connsiteX40293" y="connsiteY40293"/>
              </a:cxn>
              <a:cxn ang="0">
                <a:pos x="connsiteX40294" y="connsiteY40294"/>
              </a:cxn>
              <a:cxn ang="0">
                <a:pos x="connsiteX40295" y="connsiteY40295"/>
              </a:cxn>
              <a:cxn ang="0">
                <a:pos x="connsiteX40296" y="connsiteY40296"/>
              </a:cxn>
              <a:cxn ang="0">
                <a:pos x="connsiteX40297" y="connsiteY40297"/>
              </a:cxn>
              <a:cxn ang="0">
                <a:pos x="connsiteX40298" y="connsiteY40298"/>
              </a:cxn>
              <a:cxn ang="0">
                <a:pos x="connsiteX40299" y="connsiteY40299"/>
              </a:cxn>
              <a:cxn ang="0">
                <a:pos x="connsiteX40300" y="connsiteY40300"/>
              </a:cxn>
              <a:cxn ang="0">
                <a:pos x="connsiteX40301" y="connsiteY40301"/>
              </a:cxn>
              <a:cxn ang="0">
                <a:pos x="connsiteX40302" y="connsiteY40302"/>
              </a:cxn>
              <a:cxn ang="0">
                <a:pos x="connsiteX40303" y="connsiteY40303"/>
              </a:cxn>
              <a:cxn ang="0">
                <a:pos x="connsiteX40304" y="connsiteY40304"/>
              </a:cxn>
              <a:cxn ang="0">
                <a:pos x="connsiteX40305" y="connsiteY40305"/>
              </a:cxn>
              <a:cxn ang="0">
                <a:pos x="connsiteX40306" y="connsiteY40306"/>
              </a:cxn>
              <a:cxn ang="0">
                <a:pos x="connsiteX40307" y="connsiteY40307"/>
              </a:cxn>
              <a:cxn ang="0">
                <a:pos x="connsiteX40308" y="connsiteY40308"/>
              </a:cxn>
              <a:cxn ang="0">
                <a:pos x="connsiteX40309" y="connsiteY40309"/>
              </a:cxn>
              <a:cxn ang="0">
                <a:pos x="connsiteX40310" y="connsiteY40310"/>
              </a:cxn>
              <a:cxn ang="0">
                <a:pos x="connsiteX40311" y="connsiteY40311"/>
              </a:cxn>
              <a:cxn ang="0">
                <a:pos x="connsiteX40312" y="connsiteY40312"/>
              </a:cxn>
              <a:cxn ang="0">
                <a:pos x="connsiteX40313" y="connsiteY40313"/>
              </a:cxn>
              <a:cxn ang="0">
                <a:pos x="connsiteX40314" y="connsiteY40314"/>
              </a:cxn>
              <a:cxn ang="0">
                <a:pos x="connsiteX40315" y="connsiteY40315"/>
              </a:cxn>
              <a:cxn ang="0">
                <a:pos x="connsiteX40316" y="connsiteY40316"/>
              </a:cxn>
              <a:cxn ang="0">
                <a:pos x="connsiteX40317" y="connsiteY40317"/>
              </a:cxn>
              <a:cxn ang="0">
                <a:pos x="connsiteX40318" y="connsiteY40318"/>
              </a:cxn>
              <a:cxn ang="0">
                <a:pos x="connsiteX40319" y="connsiteY40319"/>
              </a:cxn>
              <a:cxn ang="0">
                <a:pos x="connsiteX40320" y="connsiteY40320"/>
              </a:cxn>
              <a:cxn ang="0">
                <a:pos x="connsiteX40321" y="connsiteY40321"/>
              </a:cxn>
              <a:cxn ang="0">
                <a:pos x="connsiteX40322" y="connsiteY40322"/>
              </a:cxn>
              <a:cxn ang="0">
                <a:pos x="connsiteX40323" y="connsiteY40323"/>
              </a:cxn>
              <a:cxn ang="0">
                <a:pos x="connsiteX40324" y="connsiteY40324"/>
              </a:cxn>
              <a:cxn ang="0">
                <a:pos x="connsiteX40325" y="connsiteY40325"/>
              </a:cxn>
              <a:cxn ang="0">
                <a:pos x="connsiteX40326" y="connsiteY40326"/>
              </a:cxn>
              <a:cxn ang="0">
                <a:pos x="connsiteX40327" y="connsiteY40327"/>
              </a:cxn>
              <a:cxn ang="0">
                <a:pos x="connsiteX40328" y="connsiteY40328"/>
              </a:cxn>
              <a:cxn ang="0">
                <a:pos x="connsiteX40329" y="connsiteY40329"/>
              </a:cxn>
              <a:cxn ang="0">
                <a:pos x="connsiteX40330" y="connsiteY40330"/>
              </a:cxn>
              <a:cxn ang="0">
                <a:pos x="connsiteX40331" y="connsiteY40331"/>
              </a:cxn>
              <a:cxn ang="0">
                <a:pos x="connsiteX40332" y="connsiteY40332"/>
              </a:cxn>
              <a:cxn ang="0">
                <a:pos x="connsiteX40333" y="connsiteY40333"/>
              </a:cxn>
              <a:cxn ang="0">
                <a:pos x="connsiteX40334" y="connsiteY40334"/>
              </a:cxn>
              <a:cxn ang="0">
                <a:pos x="connsiteX40335" y="connsiteY40335"/>
              </a:cxn>
              <a:cxn ang="0">
                <a:pos x="connsiteX40336" y="connsiteY40336"/>
              </a:cxn>
              <a:cxn ang="0">
                <a:pos x="connsiteX40337" y="connsiteY40337"/>
              </a:cxn>
              <a:cxn ang="0">
                <a:pos x="connsiteX40338" y="connsiteY40338"/>
              </a:cxn>
              <a:cxn ang="0">
                <a:pos x="connsiteX40339" y="connsiteY40339"/>
              </a:cxn>
              <a:cxn ang="0">
                <a:pos x="connsiteX40340" y="connsiteY40340"/>
              </a:cxn>
              <a:cxn ang="0">
                <a:pos x="connsiteX40341" y="connsiteY40341"/>
              </a:cxn>
              <a:cxn ang="0">
                <a:pos x="connsiteX40342" y="connsiteY40342"/>
              </a:cxn>
              <a:cxn ang="0">
                <a:pos x="connsiteX40343" y="connsiteY40343"/>
              </a:cxn>
              <a:cxn ang="0">
                <a:pos x="connsiteX40344" y="connsiteY40344"/>
              </a:cxn>
              <a:cxn ang="0">
                <a:pos x="connsiteX40345" y="connsiteY40345"/>
              </a:cxn>
              <a:cxn ang="0">
                <a:pos x="connsiteX40346" y="connsiteY40346"/>
              </a:cxn>
              <a:cxn ang="0">
                <a:pos x="connsiteX40347" y="connsiteY40347"/>
              </a:cxn>
              <a:cxn ang="0">
                <a:pos x="connsiteX40348" y="connsiteY40348"/>
              </a:cxn>
              <a:cxn ang="0">
                <a:pos x="connsiteX40349" y="connsiteY40349"/>
              </a:cxn>
              <a:cxn ang="0">
                <a:pos x="connsiteX40350" y="connsiteY40350"/>
              </a:cxn>
              <a:cxn ang="0">
                <a:pos x="connsiteX40351" y="connsiteY40351"/>
              </a:cxn>
              <a:cxn ang="0">
                <a:pos x="connsiteX40352" y="connsiteY40352"/>
              </a:cxn>
              <a:cxn ang="0">
                <a:pos x="connsiteX40353" y="connsiteY40353"/>
              </a:cxn>
              <a:cxn ang="0">
                <a:pos x="connsiteX40354" y="connsiteY40354"/>
              </a:cxn>
              <a:cxn ang="0">
                <a:pos x="connsiteX40355" y="connsiteY40355"/>
              </a:cxn>
              <a:cxn ang="0">
                <a:pos x="connsiteX40356" y="connsiteY40356"/>
              </a:cxn>
              <a:cxn ang="0">
                <a:pos x="connsiteX40357" y="connsiteY40357"/>
              </a:cxn>
              <a:cxn ang="0">
                <a:pos x="connsiteX40358" y="connsiteY40358"/>
              </a:cxn>
              <a:cxn ang="0">
                <a:pos x="connsiteX40359" y="connsiteY40359"/>
              </a:cxn>
              <a:cxn ang="0">
                <a:pos x="connsiteX40360" y="connsiteY40360"/>
              </a:cxn>
              <a:cxn ang="0">
                <a:pos x="connsiteX40361" y="connsiteY40361"/>
              </a:cxn>
              <a:cxn ang="0">
                <a:pos x="connsiteX40362" y="connsiteY40362"/>
              </a:cxn>
              <a:cxn ang="0">
                <a:pos x="connsiteX40363" y="connsiteY40363"/>
              </a:cxn>
              <a:cxn ang="0">
                <a:pos x="connsiteX40364" y="connsiteY40364"/>
              </a:cxn>
              <a:cxn ang="0">
                <a:pos x="connsiteX40365" y="connsiteY40365"/>
              </a:cxn>
              <a:cxn ang="0">
                <a:pos x="connsiteX40366" y="connsiteY40366"/>
              </a:cxn>
              <a:cxn ang="0">
                <a:pos x="connsiteX40367" y="connsiteY40367"/>
              </a:cxn>
              <a:cxn ang="0">
                <a:pos x="connsiteX40368" y="connsiteY40368"/>
              </a:cxn>
              <a:cxn ang="0">
                <a:pos x="connsiteX40369" y="connsiteY40369"/>
              </a:cxn>
              <a:cxn ang="0">
                <a:pos x="connsiteX40370" y="connsiteY40370"/>
              </a:cxn>
              <a:cxn ang="0">
                <a:pos x="connsiteX40371" y="connsiteY40371"/>
              </a:cxn>
              <a:cxn ang="0">
                <a:pos x="connsiteX40372" y="connsiteY40372"/>
              </a:cxn>
              <a:cxn ang="0">
                <a:pos x="connsiteX40373" y="connsiteY40373"/>
              </a:cxn>
              <a:cxn ang="0">
                <a:pos x="connsiteX40374" y="connsiteY40374"/>
              </a:cxn>
              <a:cxn ang="0">
                <a:pos x="connsiteX40375" y="connsiteY40375"/>
              </a:cxn>
              <a:cxn ang="0">
                <a:pos x="connsiteX40376" y="connsiteY40376"/>
              </a:cxn>
              <a:cxn ang="0">
                <a:pos x="connsiteX40377" y="connsiteY40377"/>
              </a:cxn>
              <a:cxn ang="0">
                <a:pos x="connsiteX40378" y="connsiteY40378"/>
              </a:cxn>
              <a:cxn ang="0">
                <a:pos x="connsiteX40379" y="connsiteY40379"/>
              </a:cxn>
              <a:cxn ang="0">
                <a:pos x="connsiteX40380" y="connsiteY40380"/>
              </a:cxn>
              <a:cxn ang="0">
                <a:pos x="connsiteX40381" y="connsiteY40381"/>
              </a:cxn>
              <a:cxn ang="0">
                <a:pos x="connsiteX40382" y="connsiteY40382"/>
              </a:cxn>
              <a:cxn ang="0">
                <a:pos x="connsiteX40383" y="connsiteY40383"/>
              </a:cxn>
              <a:cxn ang="0">
                <a:pos x="connsiteX40384" y="connsiteY40384"/>
              </a:cxn>
              <a:cxn ang="0">
                <a:pos x="connsiteX40385" y="connsiteY40385"/>
              </a:cxn>
              <a:cxn ang="0">
                <a:pos x="connsiteX40386" y="connsiteY40386"/>
              </a:cxn>
              <a:cxn ang="0">
                <a:pos x="connsiteX40387" y="connsiteY40387"/>
              </a:cxn>
              <a:cxn ang="0">
                <a:pos x="connsiteX40388" y="connsiteY40388"/>
              </a:cxn>
              <a:cxn ang="0">
                <a:pos x="connsiteX40389" y="connsiteY40389"/>
              </a:cxn>
              <a:cxn ang="0">
                <a:pos x="connsiteX40390" y="connsiteY40390"/>
              </a:cxn>
              <a:cxn ang="0">
                <a:pos x="connsiteX40391" y="connsiteY40391"/>
              </a:cxn>
              <a:cxn ang="0">
                <a:pos x="connsiteX40392" y="connsiteY40392"/>
              </a:cxn>
              <a:cxn ang="0">
                <a:pos x="connsiteX40393" y="connsiteY40393"/>
              </a:cxn>
              <a:cxn ang="0">
                <a:pos x="connsiteX40394" y="connsiteY40394"/>
              </a:cxn>
              <a:cxn ang="0">
                <a:pos x="connsiteX40395" y="connsiteY40395"/>
              </a:cxn>
              <a:cxn ang="0">
                <a:pos x="connsiteX40396" y="connsiteY40396"/>
              </a:cxn>
              <a:cxn ang="0">
                <a:pos x="connsiteX40397" y="connsiteY40397"/>
              </a:cxn>
              <a:cxn ang="0">
                <a:pos x="connsiteX40398" y="connsiteY40398"/>
              </a:cxn>
              <a:cxn ang="0">
                <a:pos x="connsiteX40399" y="connsiteY40399"/>
              </a:cxn>
              <a:cxn ang="0">
                <a:pos x="connsiteX40400" y="connsiteY40400"/>
              </a:cxn>
              <a:cxn ang="0">
                <a:pos x="connsiteX40401" y="connsiteY40401"/>
              </a:cxn>
              <a:cxn ang="0">
                <a:pos x="connsiteX40402" y="connsiteY40402"/>
              </a:cxn>
              <a:cxn ang="0">
                <a:pos x="connsiteX40403" y="connsiteY40403"/>
              </a:cxn>
              <a:cxn ang="0">
                <a:pos x="connsiteX40404" y="connsiteY40404"/>
              </a:cxn>
              <a:cxn ang="0">
                <a:pos x="connsiteX40405" y="connsiteY40405"/>
              </a:cxn>
              <a:cxn ang="0">
                <a:pos x="connsiteX40406" y="connsiteY40406"/>
              </a:cxn>
              <a:cxn ang="0">
                <a:pos x="connsiteX40407" y="connsiteY40407"/>
              </a:cxn>
              <a:cxn ang="0">
                <a:pos x="connsiteX40408" y="connsiteY40408"/>
              </a:cxn>
              <a:cxn ang="0">
                <a:pos x="connsiteX40409" y="connsiteY40409"/>
              </a:cxn>
              <a:cxn ang="0">
                <a:pos x="connsiteX40410" y="connsiteY40410"/>
              </a:cxn>
              <a:cxn ang="0">
                <a:pos x="connsiteX40411" y="connsiteY40411"/>
              </a:cxn>
              <a:cxn ang="0">
                <a:pos x="connsiteX40412" y="connsiteY40412"/>
              </a:cxn>
              <a:cxn ang="0">
                <a:pos x="connsiteX40413" y="connsiteY40413"/>
              </a:cxn>
              <a:cxn ang="0">
                <a:pos x="connsiteX40414" y="connsiteY40414"/>
              </a:cxn>
              <a:cxn ang="0">
                <a:pos x="connsiteX40415" y="connsiteY40415"/>
              </a:cxn>
              <a:cxn ang="0">
                <a:pos x="connsiteX40416" y="connsiteY40416"/>
              </a:cxn>
              <a:cxn ang="0">
                <a:pos x="connsiteX40417" y="connsiteY40417"/>
              </a:cxn>
              <a:cxn ang="0">
                <a:pos x="connsiteX40418" y="connsiteY40418"/>
              </a:cxn>
              <a:cxn ang="0">
                <a:pos x="connsiteX40419" y="connsiteY40419"/>
              </a:cxn>
              <a:cxn ang="0">
                <a:pos x="connsiteX40420" y="connsiteY40420"/>
              </a:cxn>
              <a:cxn ang="0">
                <a:pos x="connsiteX40421" y="connsiteY40421"/>
              </a:cxn>
              <a:cxn ang="0">
                <a:pos x="connsiteX40422" y="connsiteY40422"/>
              </a:cxn>
              <a:cxn ang="0">
                <a:pos x="connsiteX40423" y="connsiteY40423"/>
              </a:cxn>
              <a:cxn ang="0">
                <a:pos x="connsiteX40424" y="connsiteY40424"/>
              </a:cxn>
              <a:cxn ang="0">
                <a:pos x="connsiteX40425" y="connsiteY40425"/>
              </a:cxn>
              <a:cxn ang="0">
                <a:pos x="connsiteX40426" y="connsiteY40426"/>
              </a:cxn>
              <a:cxn ang="0">
                <a:pos x="connsiteX40427" y="connsiteY40427"/>
              </a:cxn>
              <a:cxn ang="0">
                <a:pos x="connsiteX40428" y="connsiteY40428"/>
              </a:cxn>
              <a:cxn ang="0">
                <a:pos x="connsiteX40429" y="connsiteY40429"/>
              </a:cxn>
              <a:cxn ang="0">
                <a:pos x="connsiteX40430" y="connsiteY40430"/>
              </a:cxn>
              <a:cxn ang="0">
                <a:pos x="connsiteX40431" y="connsiteY40431"/>
              </a:cxn>
              <a:cxn ang="0">
                <a:pos x="connsiteX40432" y="connsiteY40432"/>
              </a:cxn>
              <a:cxn ang="0">
                <a:pos x="connsiteX40433" y="connsiteY40433"/>
              </a:cxn>
              <a:cxn ang="0">
                <a:pos x="connsiteX40434" y="connsiteY40434"/>
              </a:cxn>
              <a:cxn ang="0">
                <a:pos x="connsiteX40435" y="connsiteY40435"/>
              </a:cxn>
              <a:cxn ang="0">
                <a:pos x="connsiteX40436" y="connsiteY40436"/>
              </a:cxn>
              <a:cxn ang="0">
                <a:pos x="connsiteX40437" y="connsiteY40437"/>
              </a:cxn>
              <a:cxn ang="0">
                <a:pos x="connsiteX40438" y="connsiteY40438"/>
              </a:cxn>
              <a:cxn ang="0">
                <a:pos x="connsiteX40439" y="connsiteY40439"/>
              </a:cxn>
              <a:cxn ang="0">
                <a:pos x="connsiteX40440" y="connsiteY40440"/>
              </a:cxn>
              <a:cxn ang="0">
                <a:pos x="connsiteX40441" y="connsiteY40441"/>
              </a:cxn>
              <a:cxn ang="0">
                <a:pos x="connsiteX40442" y="connsiteY40442"/>
              </a:cxn>
              <a:cxn ang="0">
                <a:pos x="connsiteX40443" y="connsiteY40443"/>
              </a:cxn>
              <a:cxn ang="0">
                <a:pos x="connsiteX40444" y="connsiteY40444"/>
              </a:cxn>
              <a:cxn ang="0">
                <a:pos x="connsiteX40445" y="connsiteY40445"/>
              </a:cxn>
              <a:cxn ang="0">
                <a:pos x="connsiteX40446" y="connsiteY40446"/>
              </a:cxn>
              <a:cxn ang="0">
                <a:pos x="connsiteX40447" y="connsiteY40447"/>
              </a:cxn>
              <a:cxn ang="0">
                <a:pos x="connsiteX40448" y="connsiteY40448"/>
              </a:cxn>
              <a:cxn ang="0">
                <a:pos x="connsiteX40449" y="connsiteY40449"/>
              </a:cxn>
              <a:cxn ang="0">
                <a:pos x="connsiteX40450" y="connsiteY40450"/>
              </a:cxn>
              <a:cxn ang="0">
                <a:pos x="connsiteX40451" y="connsiteY40451"/>
              </a:cxn>
              <a:cxn ang="0">
                <a:pos x="connsiteX40452" y="connsiteY40452"/>
              </a:cxn>
              <a:cxn ang="0">
                <a:pos x="connsiteX40453" y="connsiteY40453"/>
              </a:cxn>
              <a:cxn ang="0">
                <a:pos x="connsiteX40454" y="connsiteY40454"/>
              </a:cxn>
              <a:cxn ang="0">
                <a:pos x="connsiteX40455" y="connsiteY40455"/>
              </a:cxn>
              <a:cxn ang="0">
                <a:pos x="connsiteX40456" y="connsiteY40456"/>
              </a:cxn>
              <a:cxn ang="0">
                <a:pos x="connsiteX40457" y="connsiteY40457"/>
              </a:cxn>
              <a:cxn ang="0">
                <a:pos x="connsiteX40458" y="connsiteY40458"/>
              </a:cxn>
              <a:cxn ang="0">
                <a:pos x="connsiteX40459" y="connsiteY40459"/>
              </a:cxn>
              <a:cxn ang="0">
                <a:pos x="connsiteX40460" y="connsiteY40460"/>
              </a:cxn>
              <a:cxn ang="0">
                <a:pos x="connsiteX40461" y="connsiteY40461"/>
              </a:cxn>
              <a:cxn ang="0">
                <a:pos x="connsiteX40462" y="connsiteY40462"/>
              </a:cxn>
              <a:cxn ang="0">
                <a:pos x="connsiteX40463" y="connsiteY40463"/>
              </a:cxn>
              <a:cxn ang="0">
                <a:pos x="connsiteX40464" y="connsiteY40464"/>
              </a:cxn>
              <a:cxn ang="0">
                <a:pos x="connsiteX40465" y="connsiteY40465"/>
              </a:cxn>
              <a:cxn ang="0">
                <a:pos x="connsiteX40466" y="connsiteY40466"/>
              </a:cxn>
              <a:cxn ang="0">
                <a:pos x="connsiteX40467" y="connsiteY40467"/>
              </a:cxn>
              <a:cxn ang="0">
                <a:pos x="connsiteX40468" y="connsiteY40468"/>
              </a:cxn>
              <a:cxn ang="0">
                <a:pos x="connsiteX40469" y="connsiteY40469"/>
              </a:cxn>
              <a:cxn ang="0">
                <a:pos x="connsiteX40470" y="connsiteY40470"/>
              </a:cxn>
              <a:cxn ang="0">
                <a:pos x="connsiteX40471" y="connsiteY40471"/>
              </a:cxn>
              <a:cxn ang="0">
                <a:pos x="connsiteX40472" y="connsiteY40472"/>
              </a:cxn>
              <a:cxn ang="0">
                <a:pos x="connsiteX40473" y="connsiteY40473"/>
              </a:cxn>
              <a:cxn ang="0">
                <a:pos x="connsiteX40474" y="connsiteY40474"/>
              </a:cxn>
              <a:cxn ang="0">
                <a:pos x="connsiteX40475" y="connsiteY40475"/>
              </a:cxn>
              <a:cxn ang="0">
                <a:pos x="connsiteX40476" y="connsiteY40476"/>
              </a:cxn>
              <a:cxn ang="0">
                <a:pos x="connsiteX40477" y="connsiteY40477"/>
              </a:cxn>
              <a:cxn ang="0">
                <a:pos x="connsiteX40478" y="connsiteY40478"/>
              </a:cxn>
              <a:cxn ang="0">
                <a:pos x="connsiteX40479" y="connsiteY40479"/>
              </a:cxn>
              <a:cxn ang="0">
                <a:pos x="connsiteX40480" y="connsiteY40480"/>
              </a:cxn>
              <a:cxn ang="0">
                <a:pos x="connsiteX40481" y="connsiteY40481"/>
              </a:cxn>
              <a:cxn ang="0">
                <a:pos x="connsiteX40482" y="connsiteY40482"/>
              </a:cxn>
              <a:cxn ang="0">
                <a:pos x="connsiteX40483" y="connsiteY40483"/>
              </a:cxn>
              <a:cxn ang="0">
                <a:pos x="connsiteX40484" y="connsiteY40484"/>
              </a:cxn>
              <a:cxn ang="0">
                <a:pos x="connsiteX40485" y="connsiteY40485"/>
              </a:cxn>
              <a:cxn ang="0">
                <a:pos x="connsiteX40486" y="connsiteY40486"/>
              </a:cxn>
              <a:cxn ang="0">
                <a:pos x="connsiteX40487" y="connsiteY40487"/>
              </a:cxn>
              <a:cxn ang="0">
                <a:pos x="connsiteX40488" y="connsiteY40488"/>
              </a:cxn>
              <a:cxn ang="0">
                <a:pos x="connsiteX40489" y="connsiteY40489"/>
              </a:cxn>
              <a:cxn ang="0">
                <a:pos x="connsiteX40490" y="connsiteY40490"/>
              </a:cxn>
              <a:cxn ang="0">
                <a:pos x="connsiteX40491" y="connsiteY40491"/>
              </a:cxn>
              <a:cxn ang="0">
                <a:pos x="connsiteX40492" y="connsiteY40492"/>
              </a:cxn>
              <a:cxn ang="0">
                <a:pos x="connsiteX40493" y="connsiteY40493"/>
              </a:cxn>
              <a:cxn ang="0">
                <a:pos x="connsiteX40494" y="connsiteY40494"/>
              </a:cxn>
              <a:cxn ang="0">
                <a:pos x="connsiteX40495" y="connsiteY40495"/>
              </a:cxn>
              <a:cxn ang="0">
                <a:pos x="connsiteX40496" y="connsiteY40496"/>
              </a:cxn>
              <a:cxn ang="0">
                <a:pos x="connsiteX40497" y="connsiteY40497"/>
              </a:cxn>
              <a:cxn ang="0">
                <a:pos x="connsiteX40498" y="connsiteY40498"/>
              </a:cxn>
              <a:cxn ang="0">
                <a:pos x="connsiteX40499" y="connsiteY40499"/>
              </a:cxn>
              <a:cxn ang="0">
                <a:pos x="connsiteX40500" y="connsiteY40500"/>
              </a:cxn>
              <a:cxn ang="0">
                <a:pos x="connsiteX40501" y="connsiteY40501"/>
              </a:cxn>
              <a:cxn ang="0">
                <a:pos x="connsiteX40502" y="connsiteY40502"/>
              </a:cxn>
              <a:cxn ang="0">
                <a:pos x="connsiteX40503" y="connsiteY40503"/>
              </a:cxn>
              <a:cxn ang="0">
                <a:pos x="connsiteX40504" y="connsiteY40504"/>
              </a:cxn>
              <a:cxn ang="0">
                <a:pos x="connsiteX40505" y="connsiteY40505"/>
              </a:cxn>
              <a:cxn ang="0">
                <a:pos x="connsiteX40506" y="connsiteY40506"/>
              </a:cxn>
              <a:cxn ang="0">
                <a:pos x="connsiteX40507" y="connsiteY40507"/>
              </a:cxn>
              <a:cxn ang="0">
                <a:pos x="connsiteX40508" y="connsiteY40508"/>
              </a:cxn>
              <a:cxn ang="0">
                <a:pos x="connsiteX40509" y="connsiteY40509"/>
              </a:cxn>
              <a:cxn ang="0">
                <a:pos x="connsiteX40510" y="connsiteY40510"/>
              </a:cxn>
              <a:cxn ang="0">
                <a:pos x="connsiteX40511" y="connsiteY40511"/>
              </a:cxn>
              <a:cxn ang="0">
                <a:pos x="connsiteX40512" y="connsiteY40512"/>
              </a:cxn>
              <a:cxn ang="0">
                <a:pos x="connsiteX40513" y="connsiteY40513"/>
              </a:cxn>
              <a:cxn ang="0">
                <a:pos x="connsiteX40514" y="connsiteY40514"/>
              </a:cxn>
              <a:cxn ang="0">
                <a:pos x="connsiteX40515" y="connsiteY40515"/>
              </a:cxn>
              <a:cxn ang="0">
                <a:pos x="connsiteX40516" y="connsiteY40516"/>
              </a:cxn>
              <a:cxn ang="0">
                <a:pos x="connsiteX40517" y="connsiteY40517"/>
              </a:cxn>
              <a:cxn ang="0">
                <a:pos x="connsiteX40518" y="connsiteY40518"/>
              </a:cxn>
              <a:cxn ang="0">
                <a:pos x="connsiteX40519" y="connsiteY40519"/>
              </a:cxn>
              <a:cxn ang="0">
                <a:pos x="connsiteX40520" y="connsiteY40520"/>
              </a:cxn>
              <a:cxn ang="0">
                <a:pos x="connsiteX40521" y="connsiteY40521"/>
              </a:cxn>
              <a:cxn ang="0">
                <a:pos x="connsiteX40522" y="connsiteY40522"/>
              </a:cxn>
              <a:cxn ang="0">
                <a:pos x="connsiteX40523" y="connsiteY40523"/>
              </a:cxn>
              <a:cxn ang="0">
                <a:pos x="connsiteX40524" y="connsiteY40524"/>
              </a:cxn>
              <a:cxn ang="0">
                <a:pos x="connsiteX40525" y="connsiteY40525"/>
              </a:cxn>
              <a:cxn ang="0">
                <a:pos x="connsiteX40526" y="connsiteY40526"/>
              </a:cxn>
              <a:cxn ang="0">
                <a:pos x="connsiteX40527" y="connsiteY40527"/>
              </a:cxn>
              <a:cxn ang="0">
                <a:pos x="connsiteX40528" y="connsiteY40528"/>
              </a:cxn>
              <a:cxn ang="0">
                <a:pos x="connsiteX40529" y="connsiteY40529"/>
              </a:cxn>
              <a:cxn ang="0">
                <a:pos x="connsiteX40530" y="connsiteY40530"/>
              </a:cxn>
              <a:cxn ang="0">
                <a:pos x="connsiteX40531" y="connsiteY40531"/>
              </a:cxn>
              <a:cxn ang="0">
                <a:pos x="connsiteX40532" y="connsiteY40532"/>
              </a:cxn>
              <a:cxn ang="0">
                <a:pos x="connsiteX40533" y="connsiteY40533"/>
              </a:cxn>
              <a:cxn ang="0">
                <a:pos x="connsiteX40534" y="connsiteY40534"/>
              </a:cxn>
              <a:cxn ang="0">
                <a:pos x="connsiteX40535" y="connsiteY40535"/>
              </a:cxn>
              <a:cxn ang="0">
                <a:pos x="connsiteX40536" y="connsiteY40536"/>
              </a:cxn>
              <a:cxn ang="0">
                <a:pos x="connsiteX40537" y="connsiteY40537"/>
              </a:cxn>
              <a:cxn ang="0">
                <a:pos x="connsiteX40538" y="connsiteY40538"/>
              </a:cxn>
              <a:cxn ang="0">
                <a:pos x="connsiteX40539" y="connsiteY40539"/>
              </a:cxn>
              <a:cxn ang="0">
                <a:pos x="connsiteX40540" y="connsiteY40540"/>
              </a:cxn>
              <a:cxn ang="0">
                <a:pos x="connsiteX40541" y="connsiteY40541"/>
              </a:cxn>
              <a:cxn ang="0">
                <a:pos x="connsiteX40542" y="connsiteY40542"/>
              </a:cxn>
              <a:cxn ang="0">
                <a:pos x="connsiteX40543" y="connsiteY40543"/>
              </a:cxn>
              <a:cxn ang="0">
                <a:pos x="connsiteX40544" y="connsiteY40544"/>
              </a:cxn>
              <a:cxn ang="0">
                <a:pos x="connsiteX40545" y="connsiteY40545"/>
              </a:cxn>
              <a:cxn ang="0">
                <a:pos x="connsiteX40546" y="connsiteY40546"/>
              </a:cxn>
              <a:cxn ang="0">
                <a:pos x="connsiteX40547" y="connsiteY40547"/>
              </a:cxn>
              <a:cxn ang="0">
                <a:pos x="connsiteX40548" y="connsiteY40548"/>
              </a:cxn>
              <a:cxn ang="0">
                <a:pos x="connsiteX40549" y="connsiteY40549"/>
              </a:cxn>
              <a:cxn ang="0">
                <a:pos x="connsiteX40550" y="connsiteY40550"/>
              </a:cxn>
              <a:cxn ang="0">
                <a:pos x="connsiteX40551" y="connsiteY40551"/>
              </a:cxn>
              <a:cxn ang="0">
                <a:pos x="connsiteX40552" y="connsiteY40552"/>
              </a:cxn>
              <a:cxn ang="0">
                <a:pos x="connsiteX40553" y="connsiteY40553"/>
              </a:cxn>
              <a:cxn ang="0">
                <a:pos x="connsiteX40554" y="connsiteY40554"/>
              </a:cxn>
              <a:cxn ang="0">
                <a:pos x="connsiteX40555" y="connsiteY40555"/>
              </a:cxn>
              <a:cxn ang="0">
                <a:pos x="connsiteX40556" y="connsiteY40556"/>
              </a:cxn>
              <a:cxn ang="0">
                <a:pos x="connsiteX40557" y="connsiteY40557"/>
              </a:cxn>
              <a:cxn ang="0">
                <a:pos x="connsiteX40558" y="connsiteY40558"/>
              </a:cxn>
              <a:cxn ang="0">
                <a:pos x="connsiteX40559" y="connsiteY40559"/>
              </a:cxn>
              <a:cxn ang="0">
                <a:pos x="connsiteX40560" y="connsiteY40560"/>
              </a:cxn>
              <a:cxn ang="0">
                <a:pos x="connsiteX40561" y="connsiteY40561"/>
              </a:cxn>
              <a:cxn ang="0">
                <a:pos x="connsiteX40562" y="connsiteY40562"/>
              </a:cxn>
              <a:cxn ang="0">
                <a:pos x="connsiteX40563" y="connsiteY40563"/>
              </a:cxn>
              <a:cxn ang="0">
                <a:pos x="connsiteX40564" y="connsiteY40564"/>
              </a:cxn>
              <a:cxn ang="0">
                <a:pos x="connsiteX40565" y="connsiteY40565"/>
              </a:cxn>
              <a:cxn ang="0">
                <a:pos x="connsiteX40566" y="connsiteY40566"/>
              </a:cxn>
              <a:cxn ang="0">
                <a:pos x="connsiteX40567" y="connsiteY40567"/>
              </a:cxn>
              <a:cxn ang="0">
                <a:pos x="connsiteX40568" y="connsiteY40568"/>
              </a:cxn>
              <a:cxn ang="0">
                <a:pos x="connsiteX40569" y="connsiteY40569"/>
              </a:cxn>
              <a:cxn ang="0">
                <a:pos x="connsiteX40570" y="connsiteY40570"/>
              </a:cxn>
              <a:cxn ang="0">
                <a:pos x="connsiteX40571" y="connsiteY40571"/>
              </a:cxn>
              <a:cxn ang="0">
                <a:pos x="connsiteX40572" y="connsiteY40572"/>
              </a:cxn>
              <a:cxn ang="0">
                <a:pos x="connsiteX40573" y="connsiteY40573"/>
              </a:cxn>
              <a:cxn ang="0">
                <a:pos x="connsiteX40574" y="connsiteY40574"/>
              </a:cxn>
              <a:cxn ang="0">
                <a:pos x="connsiteX40575" y="connsiteY40575"/>
              </a:cxn>
              <a:cxn ang="0">
                <a:pos x="connsiteX40576" y="connsiteY40576"/>
              </a:cxn>
              <a:cxn ang="0">
                <a:pos x="connsiteX40577" y="connsiteY40577"/>
              </a:cxn>
              <a:cxn ang="0">
                <a:pos x="connsiteX40578" y="connsiteY40578"/>
              </a:cxn>
              <a:cxn ang="0">
                <a:pos x="connsiteX40579" y="connsiteY40579"/>
              </a:cxn>
              <a:cxn ang="0">
                <a:pos x="connsiteX40580" y="connsiteY40580"/>
              </a:cxn>
              <a:cxn ang="0">
                <a:pos x="connsiteX40581" y="connsiteY40581"/>
              </a:cxn>
              <a:cxn ang="0">
                <a:pos x="connsiteX40582" y="connsiteY40582"/>
              </a:cxn>
              <a:cxn ang="0">
                <a:pos x="connsiteX40583" y="connsiteY40583"/>
              </a:cxn>
              <a:cxn ang="0">
                <a:pos x="connsiteX40584" y="connsiteY40584"/>
              </a:cxn>
              <a:cxn ang="0">
                <a:pos x="connsiteX40585" y="connsiteY40585"/>
              </a:cxn>
              <a:cxn ang="0">
                <a:pos x="connsiteX40586" y="connsiteY40586"/>
              </a:cxn>
              <a:cxn ang="0">
                <a:pos x="connsiteX40587" y="connsiteY40587"/>
              </a:cxn>
              <a:cxn ang="0">
                <a:pos x="connsiteX40588" y="connsiteY40588"/>
              </a:cxn>
              <a:cxn ang="0">
                <a:pos x="connsiteX40589" y="connsiteY40589"/>
              </a:cxn>
              <a:cxn ang="0">
                <a:pos x="connsiteX40590" y="connsiteY40590"/>
              </a:cxn>
              <a:cxn ang="0">
                <a:pos x="connsiteX40591" y="connsiteY40591"/>
              </a:cxn>
              <a:cxn ang="0">
                <a:pos x="connsiteX40592" y="connsiteY40592"/>
              </a:cxn>
              <a:cxn ang="0">
                <a:pos x="connsiteX40593" y="connsiteY40593"/>
              </a:cxn>
              <a:cxn ang="0">
                <a:pos x="connsiteX40594" y="connsiteY40594"/>
              </a:cxn>
              <a:cxn ang="0">
                <a:pos x="connsiteX40595" y="connsiteY40595"/>
              </a:cxn>
              <a:cxn ang="0">
                <a:pos x="connsiteX40596" y="connsiteY40596"/>
              </a:cxn>
              <a:cxn ang="0">
                <a:pos x="connsiteX40597" y="connsiteY40597"/>
              </a:cxn>
              <a:cxn ang="0">
                <a:pos x="connsiteX40598" y="connsiteY40598"/>
              </a:cxn>
              <a:cxn ang="0">
                <a:pos x="connsiteX40599" y="connsiteY40599"/>
              </a:cxn>
              <a:cxn ang="0">
                <a:pos x="connsiteX40600" y="connsiteY40600"/>
              </a:cxn>
              <a:cxn ang="0">
                <a:pos x="connsiteX40601" y="connsiteY40601"/>
              </a:cxn>
              <a:cxn ang="0">
                <a:pos x="connsiteX40602" y="connsiteY40602"/>
              </a:cxn>
              <a:cxn ang="0">
                <a:pos x="connsiteX40603" y="connsiteY40603"/>
              </a:cxn>
              <a:cxn ang="0">
                <a:pos x="connsiteX40604" y="connsiteY40604"/>
              </a:cxn>
              <a:cxn ang="0">
                <a:pos x="connsiteX40605" y="connsiteY40605"/>
              </a:cxn>
              <a:cxn ang="0">
                <a:pos x="connsiteX40606" y="connsiteY40606"/>
              </a:cxn>
              <a:cxn ang="0">
                <a:pos x="connsiteX40607" y="connsiteY40607"/>
              </a:cxn>
              <a:cxn ang="0">
                <a:pos x="connsiteX40608" y="connsiteY40608"/>
              </a:cxn>
              <a:cxn ang="0">
                <a:pos x="connsiteX40609" y="connsiteY40609"/>
              </a:cxn>
              <a:cxn ang="0">
                <a:pos x="connsiteX40610" y="connsiteY40610"/>
              </a:cxn>
              <a:cxn ang="0">
                <a:pos x="connsiteX40611" y="connsiteY40611"/>
              </a:cxn>
              <a:cxn ang="0">
                <a:pos x="connsiteX40612" y="connsiteY40612"/>
              </a:cxn>
              <a:cxn ang="0">
                <a:pos x="connsiteX40613" y="connsiteY40613"/>
              </a:cxn>
              <a:cxn ang="0">
                <a:pos x="connsiteX40614" y="connsiteY40614"/>
              </a:cxn>
              <a:cxn ang="0">
                <a:pos x="connsiteX40615" y="connsiteY40615"/>
              </a:cxn>
              <a:cxn ang="0">
                <a:pos x="connsiteX40616" y="connsiteY40616"/>
              </a:cxn>
              <a:cxn ang="0">
                <a:pos x="connsiteX40617" y="connsiteY40617"/>
              </a:cxn>
              <a:cxn ang="0">
                <a:pos x="connsiteX40618" y="connsiteY40618"/>
              </a:cxn>
              <a:cxn ang="0">
                <a:pos x="connsiteX40619" y="connsiteY40619"/>
              </a:cxn>
              <a:cxn ang="0">
                <a:pos x="connsiteX40620" y="connsiteY40620"/>
              </a:cxn>
              <a:cxn ang="0">
                <a:pos x="connsiteX40621" y="connsiteY40621"/>
              </a:cxn>
              <a:cxn ang="0">
                <a:pos x="connsiteX40622" y="connsiteY40622"/>
              </a:cxn>
              <a:cxn ang="0">
                <a:pos x="connsiteX40623" y="connsiteY40623"/>
              </a:cxn>
              <a:cxn ang="0">
                <a:pos x="connsiteX40624" y="connsiteY40624"/>
              </a:cxn>
              <a:cxn ang="0">
                <a:pos x="connsiteX40625" y="connsiteY40625"/>
              </a:cxn>
              <a:cxn ang="0">
                <a:pos x="connsiteX40626" y="connsiteY40626"/>
              </a:cxn>
              <a:cxn ang="0">
                <a:pos x="connsiteX40627" y="connsiteY40627"/>
              </a:cxn>
              <a:cxn ang="0">
                <a:pos x="connsiteX40628" y="connsiteY40628"/>
              </a:cxn>
              <a:cxn ang="0">
                <a:pos x="connsiteX40629" y="connsiteY40629"/>
              </a:cxn>
              <a:cxn ang="0">
                <a:pos x="connsiteX40630" y="connsiteY40630"/>
              </a:cxn>
              <a:cxn ang="0">
                <a:pos x="connsiteX40631" y="connsiteY40631"/>
              </a:cxn>
              <a:cxn ang="0">
                <a:pos x="connsiteX40632" y="connsiteY40632"/>
              </a:cxn>
              <a:cxn ang="0">
                <a:pos x="connsiteX40633" y="connsiteY40633"/>
              </a:cxn>
              <a:cxn ang="0">
                <a:pos x="connsiteX40634" y="connsiteY40634"/>
              </a:cxn>
              <a:cxn ang="0">
                <a:pos x="connsiteX40635" y="connsiteY40635"/>
              </a:cxn>
              <a:cxn ang="0">
                <a:pos x="connsiteX40636" y="connsiteY40636"/>
              </a:cxn>
              <a:cxn ang="0">
                <a:pos x="connsiteX40637" y="connsiteY40637"/>
              </a:cxn>
              <a:cxn ang="0">
                <a:pos x="connsiteX40638" y="connsiteY40638"/>
              </a:cxn>
              <a:cxn ang="0">
                <a:pos x="connsiteX40639" y="connsiteY40639"/>
              </a:cxn>
              <a:cxn ang="0">
                <a:pos x="connsiteX40640" y="connsiteY40640"/>
              </a:cxn>
              <a:cxn ang="0">
                <a:pos x="connsiteX40641" y="connsiteY40641"/>
              </a:cxn>
              <a:cxn ang="0">
                <a:pos x="connsiteX40642" y="connsiteY40642"/>
              </a:cxn>
              <a:cxn ang="0">
                <a:pos x="connsiteX40643" y="connsiteY40643"/>
              </a:cxn>
              <a:cxn ang="0">
                <a:pos x="connsiteX40644" y="connsiteY40644"/>
              </a:cxn>
              <a:cxn ang="0">
                <a:pos x="connsiteX40645" y="connsiteY40645"/>
              </a:cxn>
              <a:cxn ang="0">
                <a:pos x="connsiteX40646" y="connsiteY40646"/>
              </a:cxn>
              <a:cxn ang="0">
                <a:pos x="connsiteX40647" y="connsiteY40647"/>
              </a:cxn>
              <a:cxn ang="0">
                <a:pos x="connsiteX40648" y="connsiteY40648"/>
              </a:cxn>
              <a:cxn ang="0">
                <a:pos x="connsiteX40649" y="connsiteY40649"/>
              </a:cxn>
              <a:cxn ang="0">
                <a:pos x="connsiteX40650" y="connsiteY40650"/>
              </a:cxn>
              <a:cxn ang="0">
                <a:pos x="connsiteX40651" y="connsiteY40651"/>
              </a:cxn>
              <a:cxn ang="0">
                <a:pos x="connsiteX40652" y="connsiteY40652"/>
              </a:cxn>
              <a:cxn ang="0">
                <a:pos x="connsiteX40653" y="connsiteY40653"/>
              </a:cxn>
              <a:cxn ang="0">
                <a:pos x="connsiteX40654" y="connsiteY40654"/>
              </a:cxn>
              <a:cxn ang="0">
                <a:pos x="connsiteX40655" y="connsiteY40655"/>
              </a:cxn>
              <a:cxn ang="0">
                <a:pos x="connsiteX40656" y="connsiteY40656"/>
              </a:cxn>
              <a:cxn ang="0">
                <a:pos x="connsiteX40657" y="connsiteY40657"/>
              </a:cxn>
              <a:cxn ang="0">
                <a:pos x="connsiteX40658" y="connsiteY40658"/>
              </a:cxn>
              <a:cxn ang="0">
                <a:pos x="connsiteX40659" y="connsiteY40659"/>
              </a:cxn>
              <a:cxn ang="0">
                <a:pos x="connsiteX40660" y="connsiteY40660"/>
              </a:cxn>
              <a:cxn ang="0">
                <a:pos x="connsiteX40661" y="connsiteY40661"/>
              </a:cxn>
              <a:cxn ang="0">
                <a:pos x="connsiteX40662" y="connsiteY40662"/>
              </a:cxn>
              <a:cxn ang="0">
                <a:pos x="connsiteX40663" y="connsiteY40663"/>
              </a:cxn>
              <a:cxn ang="0">
                <a:pos x="connsiteX40664" y="connsiteY40664"/>
              </a:cxn>
              <a:cxn ang="0">
                <a:pos x="connsiteX40665" y="connsiteY40665"/>
              </a:cxn>
              <a:cxn ang="0">
                <a:pos x="connsiteX40666" y="connsiteY40666"/>
              </a:cxn>
              <a:cxn ang="0">
                <a:pos x="connsiteX40667" y="connsiteY40667"/>
              </a:cxn>
              <a:cxn ang="0">
                <a:pos x="connsiteX40668" y="connsiteY40668"/>
              </a:cxn>
              <a:cxn ang="0">
                <a:pos x="connsiteX40669" y="connsiteY40669"/>
              </a:cxn>
              <a:cxn ang="0">
                <a:pos x="connsiteX40670" y="connsiteY40670"/>
              </a:cxn>
              <a:cxn ang="0">
                <a:pos x="connsiteX40671" y="connsiteY40671"/>
              </a:cxn>
              <a:cxn ang="0">
                <a:pos x="connsiteX40672" y="connsiteY40672"/>
              </a:cxn>
              <a:cxn ang="0">
                <a:pos x="connsiteX40673" y="connsiteY40673"/>
              </a:cxn>
              <a:cxn ang="0">
                <a:pos x="connsiteX40674" y="connsiteY40674"/>
              </a:cxn>
              <a:cxn ang="0">
                <a:pos x="connsiteX40675" y="connsiteY40675"/>
              </a:cxn>
              <a:cxn ang="0">
                <a:pos x="connsiteX40676" y="connsiteY40676"/>
              </a:cxn>
              <a:cxn ang="0">
                <a:pos x="connsiteX40677" y="connsiteY40677"/>
              </a:cxn>
              <a:cxn ang="0">
                <a:pos x="connsiteX40678" y="connsiteY40678"/>
              </a:cxn>
              <a:cxn ang="0">
                <a:pos x="connsiteX40679" y="connsiteY40679"/>
              </a:cxn>
              <a:cxn ang="0">
                <a:pos x="connsiteX40680" y="connsiteY40680"/>
              </a:cxn>
              <a:cxn ang="0">
                <a:pos x="connsiteX40681" y="connsiteY40681"/>
              </a:cxn>
              <a:cxn ang="0">
                <a:pos x="connsiteX40682" y="connsiteY40682"/>
              </a:cxn>
              <a:cxn ang="0">
                <a:pos x="connsiteX40683" y="connsiteY40683"/>
              </a:cxn>
              <a:cxn ang="0">
                <a:pos x="connsiteX40684" y="connsiteY40684"/>
              </a:cxn>
              <a:cxn ang="0">
                <a:pos x="connsiteX40685" y="connsiteY40685"/>
              </a:cxn>
              <a:cxn ang="0">
                <a:pos x="connsiteX40686" y="connsiteY40686"/>
              </a:cxn>
              <a:cxn ang="0">
                <a:pos x="connsiteX40687" y="connsiteY40687"/>
              </a:cxn>
              <a:cxn ang="0">
                <a:pos x="connsiteX40688" y="connsiteY40688"/>
              </a:cxn>
              <a:cxn ang="0">
                <a:pos x="connsiteX40689" y="connsiteY40689"/>
              </a:cxn>
              <a:cxn ang="0">
                <a:pos x="connsiteX40690" y="connsiteY40690"/>
              </a:cxn>
              <a:cxn ang="0">
                <a:pos x="connsiteX40691" y="connsiteY40691"/>
              </a:cxn>
              <a:cxn ang="0">
                <a:pos x="connsiteX40692" y="connsiteY40692"/>
              </a:cxn>
              <a:cxn ang="0">
                <a:pos x="connsiteX40693" y="connsiteY40693"/>
              </a:cxn>
              <a:cxn ang="0">
                <a:pos x="connsiteX40694" y="connsiteY40694"/>
              </a:cxn>
              <a:cxn ang="0">
                <a:pos x="connsiteX40695" y="connsiteY40695"/>
              </a:cxn>
              <a:cxn ang="0">
                <a:pos x="connsiteX40696" y="connsiteY40696"/>
              </a:cxn>
              <a:cxn ang="0">
                <a:pos x="connsiteX40697" y="connsiteY40697"/>
              </a:cxn>
              <a:cxn ang="0">
                <a:pos x="connsiteX40698" y="connsiteY40698"/>
              </a:cxn>
              <a:cxn ang="0">
                <a:pos x="connsiteX40699" y="connsiteY40699"/>
              </a:cxn>
              <a:cxn ang="0">
                <a:pos x="connsiteX40700" y="connsiteY40700"/>
              </a:cxn>
              <a:cxn ang="0">
                <a:pos x="connsiteX40701" y="connsiteY40701"/>
              </a:cxn>
              <a:cxn ang="0">
                <a:pos x="connsiteX40702" y="connsiteY40702"/>
              </a:cxn>
              <a:cxn ang="0">
                <a:pos x="connsiteX40703" y="connsiteY40703"/>
              </a:cxn>
              <a:cxn ang="0">
                <a:pos x="connsiteX40704" y="connsiteY40704"/>
              </a:cxn>
              <a:cxn ang="0">
                <a:pos x="connsiteX40705" y="connsiteY40705"/>
              </a:cxn>
              <a:cxn ang="0">
                <a:pos x="connsiteX40706" y="connsiteY40706"/>
              </a:cxn>
              <a:cxn ang="0">
                <a:pos x="connsiteX40707" y="connsiteY40707"/>
              </a:cxn>
              <a:cxn ang="0">
                <a:pos x="connsiteX40708" y="connsiteY40708"/>
              </a:cxn>
              <a:cxn ang="0">
                <a:pos x="connsiteX40709" y="connsiteY40709"/>
              </a:cxn>
              <a:cxn ang="0">
                <a:pos x="connsiteX40710" y="connsiteY40710"/>
              </a:cxn>
              <a:cxn ang="0">
                <a:pos x="connsiteX40711" y="connsiteY40711"/>
              </a:cxn>
              <a:cxn ang="0">
                <a:pos x="connsiteX40712" y="connsiteY40712"/>
              </a:cxn>
              <a:cxn ang="0">
                <a:pos x="connsiteX40713" y="connsiteY40713"/>
              </a:cxn>
              <a:cxn ang="0">
                <a:pos x="connsiteX40714" y="connsiteY40714"/>
              </a:cxn>
              <a:cxn ang="0">
                <a:pos x="connsiteX40715" y="connsiteY40715"/>
              </a:cxn>
              <a:cxn ang="0">
                <a:pos x="connsiteX40716" y="connsiteY40716"/>
              </a:cxn>
              <a:cxn ang="0">
                <a:pos x="connsiteX40717" y="connsiteY40717"/>
              </a:cxn>
              <a:cxn ang="0">
                <a:pos x="connsiteX40718" y="connsiteY40718"/>
              </a:cxn>
              <a:cxn ang="0">
                <a:pos x="connsiteX40719" y="connsiteY40719"/>
              </a:cxn>
              <a:cxn ang="0">
                <a:pos x="connsiteX40720" y="connsiteY40720"/>
              </a:cxn>
              <a:cxn ang="0">
                <a:pos x="connsiteX40721" y="connsiteY40721"/>
              </a:cxn>
              <a:cxn ang="0">
                <a:pos x="connsiteX40722" y="connsiteY40722"/>
              </a:cxn>
              <a:cxn ang="0">
                <a:pos x="connsiteX40723" y="connsiteY40723"/>
              </a:cxn>
              <a:cxn ang="0">
                <a:pos x="connsiteX40724" y="connsiteY40724"/>
              </a:cxn>
              <a:cxn ang="0">
                <a:pos x="connsiteX40725" y="connsiteY40725"/>
              </a:cxn>
              <a:cxn ang="0">
                <a:pos x="connsiteX40726" y="connsiteY40726"/>
              </a:cxn>
              <a:cxn ang="0">
                <a:pos x="connsiteX40727" y="connsiteY40727"/>
              </a:cxn>
              <a:cxn ang="0">
                <a:pos x="connsiteX40728" y="connsiteY40728"/>
              </a:cxn>
              <a:cxn ang="0">
                <a:pos x="connsiteX40729" y="connsiteY40729"/>
              </a:cxn>
              <a:cxn ang="0">
                <a:pos x="connsiteX40730" y="connsiteY40730"/>
              </a:cxn>
              <a:cxn ang="0">
                <a:pos x="connsiteX40731" y="connsiteY40731"/>
              </a:cxn>
              <a:cxn ang="0">
                <a:pos x="connsiteX40732" y="connsiteY40732"/>
              </a:cxn>
              <a:cxn ang="0">
                <a:pos x="connsiteX40733" y="connsiteY40733"/>
              </a:cxn>
              <a:cxn ang="0">
                <a:pos x="connsiteX40734" y="connsiteY40734"/>
              </a:cxn>
              <a:cxn ang="0">
                <a:pos x="connsiteX40735" y="connsiteY40735"/>
              </a:cxn>
              <a:cxn ang="0">
                <a:pos x="connsiteX40736" y="connsiteY40736"/>
              </a:cxn>
              <a:cxn ang="0">
                <a:pos x="connsiteX40737" y="connsiteY40737"/>
              </a:cxn>
              <a:cxn ang="0">
                <a:pos x="connsiteX40738" y="connsiteY40738"/>
              </a:cxn>
              <a:cxn ang="0">
                <a:pos x="connsiteX40739" y="connsiteY40739"/>
              </a:cxn>
              <a:cxn ang="0">
                <a:pos x="connsiteX40740" y="connsiteY40740"/>
              </a:cxn>
              <a:cxn ang="0">
                <a:pos x="connsiteX40741" y="connsiteY40741"/>
              </a:cxn>
              <a:cxn ang="0">
                <a:pos x="connsiteX40742" y="connsiteY40742"/>
              </a:cxn>
              <a:cxn ang="0">
                <a:pos x="connsiteX40743" y="connsiteY40743"/>
              </a:cxn>
              <a:cxn ang="0">
                <a:pos x="connsiteX40744" y="connsiteY40744"/>
              </a:cxn>
              <a:cxn ang="0">
                <a:pos x="connsiteX40745" y="connsiteY40745"/>
              </a:cxn>
              <a:cxn ang="0">
                <a:pos x="connsiteX40746" y="connsiteY40746"/>
              </a:cxn>
              <a:cxn ang="0">
                <a:pos x="connsiteX40747" y="connsiteY40747"/>
              </a:cxn>
              <a:cxn ang="0">
                <a:pos x="connsiteX40748" y="connsiteY40748"/>
              </a:cxn>
              <a:cxn ang="0">
                <a:pos x="connsiteX40749" y="connsiteY40749"/>
              </a:cxn>
              <a:cxn ang="0">
                <a:pos x="connsiteX40750" y="connsiteY40750"/>
              </a:cxn>
              <a:cxn ang="0">
                <a:pos x="connsiteX40751" y="connsiteY40751"/>
              </a:cxn>
              <a:cxn ang="0">
                <a:pos x="connsiteX40752" y="connsiteY40752"/>
              </a:cxn>
              <a:cxn ang="0">
                <a:pos x="connsiteX40753" y="connsiteY40753"/>
              </a:cxn>
              <a:cxn ang="0">
                <a:pos x="connsiteX40754" y="connsiteY40754"/>
              </a:cxn>
              <a:cxn ang="0">
                <a:pos x="connsiteX40755" y="connsiteY40755"/>
              </a:cxn>
              <a:cxn ang="0">
                <a:pos x="connsiteX40756" y="connsiteY40756"/>
              </a:cxn>
              <a:cxn ang="0">
                <a:pos x="connsiteX40757" y="connsiteY40757"/>
              </a:cxn>
              <a:cxn ang="0">
                <a:pos x="connsiteX40758" y="connsiteY40758"/>
              </a:cxn>
              <a:cxn ang="0">
                <a:pos x="connsiteX40759" y="connsiteY40759"/>
              </a:cxn>
              <a:cxn ang="0">
                <a:pos x="connsiteX40760" y="connsiteY40760"/>
              </a:cxn>
              <a:cxn ang="0">
                <a:pos x="connsiteX40761" y="connsiteY40761"/>
              </a:cxn>
              <a:cxn ang="0">
                <a:pos x="connsiteX40762" y="connsiteY40762"/>
              </a:cxn>
              <a:cxn ang="0">
                <a:pos x="connsiteX40763" y="connsiteY40763"/>
              </a:cxn>
              <a:cxn ang="0">
                <a:pos x="connsiteX40764" y="connsiteY40764"/>
              </a:cxn>
              <a:cxn ang="0">
                <a:pos x="connsiteX40765" y="connsiteY40765"/>
              </a:cxn>
              <a:cxn ang="0">
                <a:pos x="connsiteX40766" y="connsiteY40766"/>
              </a:cxn>
              <a:cxn ang="0">
                <a:pos x="connsiteX40767" y="connsiteY40767"/>
              </a:cxn>
              <a:cxn ang="0">
                <a:pos x="connsiteX40768" y="connsiteY40768"/>
              </a:cxn>
              <a:cxn ang="0">
                <a:pos x="connsiteX40769" y="connsiteY40769"/>
              </a:cxn>
              <a:cxn ang="0">
                <a:pos x="connsiteX40770" y="connsiteY40770"/>
              </a:cxn>
              <a:cxn ang="0">
                <a:pos x="connsiteX40771" y="connsiteY40771"/>
              </a:cxn>
              <a:cxn ang="0">
                <a:pos x="connsiteX40772" y="connsiteY40772"/>
              </a:cxn>
              <a:cxn ang="0">
                <a:pos x="connsiteX40773" y="connsiteY40773"/>
              </a:cxn>
              <a:cxn ang="0">
                <a:pos x="connsiteX40774" y="connsiteY40774"/>
              </a:cxn>
              <a:cxn ang="0">
                <a:pos x="connsiteX40775" y="connsiteY40775"/>
              </a:cxn>
              <a:cxn ang="0">
                <a:pos x="connsiteX40776" y="connsiteY40776"/>
              </a:cxn>
              <a:cxn ang="0">
                <a:pos x="connsiteX40777" y="connsiteY40777"/>
              </a:cxn>
              <a:cxn ang="0">
                <a:pos x="connsiteX40778" y="connsiteY40778"/>
              </a:cxn>
              <a:cxn ang="0">
                <a:pos x="connsiteX40779" y="connsiteY40779"/>
              </a:cxn>
              <a:cxn ang="0">
                <a:pos x="connsiteX40780" y="connsiteY40780"/>
              </a:cxn>
              <a:cxn ang="0">
                <a:pos x="connsiteX40781" y="connsiteY40781"/>
              </a:cxn>
              <a:cxn ang="0">
                <a:pos x="connsiteX40782" y="connsiteY40782"/>
              </a:cxn>
              <a:cxn ang="0">
                <a:pos x="connsiteX40783" y="connsiteY40783"/>
              </a:cxn>
              <a:cxn ang="0">
                <a:pos x="connsiteX40784" y="connsiteY40784"/>
              </a:cxn>
              <a:cxn ang="0">
                <a:pos x="connsiteX40785" y="connsiteY40785"/>
              </a:cxn>
              <a:cxn ang="0">
                <a:pos x="connsiteX40786" y="connsiteY40786"/>
              </a:cxn>
              <a:cxn ang="0">
                <a:pos x="connsiteX40787" y="connsiteY40787"/>
              </a:cxn>
              <a:cxn ang="0">
                <a:pos x="connsiteX40788" y="connsiteY40788"/>
              </a:cxn>
              <a:cxn ang="0">
                <a:pos x="connsiteX40789" y="connsiteY40789"/>
              </a:cxn>
              <a:cxn ang="0">
                <a:pos x="connsiteX40790" y="connsiteY40790"/>
              </a:cxn>
              <a:cxn ang="0">
                <a:pos x="connsiteX40791" y="connsiteY40791"/>
              </a:cxn>
              <a:cxn ang="0">
                <a:pos x="connsiteX40792" y="connsiteY40792"/>
              </a:cxn>
              <a:cxn ang="0">
                <a:pos x="connsiteX40793" y="connsiteY40793"/>
              </a:cxn>
              <a:cxn ang="0">
                <a:pos x="connsiteX40794" y="connsiteY40794"/>
              </a:cxn>
              <a:cxn ang="0">
                <a:pos x="connsiteX40795" y="connsiteY40795"/>
              </a:cxn>
              <a:cxn ang="0">
                <a:pos x="connsiteX40796" y="connsiteY40796"/>
              </a:cxn>
              <a:cxn ang="0">
                <a:pos x="connsiteX40797" y="connsiteY40797"/>
              </a:cxn>
              <a:cxn ang="0">
                <a:pos x="connsiteX40798" y="connsiteY40798"/>
              </a:cxn>
              <a:cxn ang="0">
                <a:pos x="connsiteX40799" y="connsiteY40799"/>
              </a:cxn>
              <a:cxn ang="0">
                <a:pos x="connsiteX40800" y="connsiteY40800"/>
              </a:cxn>
              <a:cxn ang="0">
                <a:pos x="connsiteX40801" y="connsiteY40801"/>
              </a:cxn>
              <a:cxn ang="0">
                <a:pos x="connsiteX40802" y="connsiteY40802"/>
              </a:cxn>
              <a:cxn ang="0">
                <a:pos x="connsiteX40803" y="connsiteY40803"/>
              </a:cxn>
              <a:cxn ang="0">
                <a:pos x="connsiteX40804" y="connsiteY40804"/>
              </a:cxn>
              <a:cxn ang="0">
                <a:pos x="connsiteX40805" y="connsiteY40805"/>
              </a:cxn>
              <a:cxn ang="0">
                <a:pos x="connsiteX40806" y="connsiteY40806"/>
              </a:cxn>
              <a:cxn ang="0">
                <a:pos x="connsiteX40807" y="connsiteY40807"/>
              </a:cxn>
              <a:cxn ang="0">
                <a:pos x="connsiteX40808" y="connsiteY40808"/>
              </a:cxn>
              <a:cxn ang="0">
                <a:pos x="connsiteX40809" y="connsiteY40809"/>
              </a:cxn>
              <a:cxn ang="0">
                <a:pos x="connsiteX40810" y="connsiteY40810"/>
              </a:cxn>
              <a:cxn ang="0">
                <a:pos x="connsiteX40811" y="connsiteY40811"/>
              </a:cxn>
              <a:cxn ang="0">
                <a:pos x="connsiteX40812" y="connsiteY40812"/>
              </a:cxn>
              <a:cxn ang="0">
                <a:pos x="connsiteX40813" y="connsiteY40813"/>
              </a:cxn>
              <a:cxn ang="0">
                <a:pos x="connsiteX40814" y="connsiteY40814"/>
              </a:cxn>
              <a:cxn ang="0">
                <a:pos x="connsiteX40815" y="connsiteY40815"/>
              </a:cxn>
              <a:cxn ang="0">
                <a:pos x="connsiteX40816" y="connsiteY40816"/>
              </a:cxn>
              <a:cxn ang="0">
                <a:pos x="connsiteX40817" y="connsiteY40817"/>
              </a:cxn>
              <a:cxn ang="0">
                <a:pos x="connsiteX40818" y="connsiteY40818"/>
              </a:cxn>
              <a:cxn ang="0">
                <a:pos x="connsiteX40819" y="connsiteY40819"/>
              </a:cxn>
              <a:cxn ang="0">
                <a:pos x="connsiteX40820" y="connsiteY40820"/>
              </a:cxn>
              <a:cxn ang="0">
                <a:pos x="connsiteX40821" y="connsiteY40821"/>
              </a:cxn>
              <a:cxn ang="0">
                <a:pos x="connsiteX40822" y="connsiteY40822"/>
              </a:cxn>
              <a:cxn ang="0">
                <a:pos x="connsiteX40823" y="connsiteY40823"/>
              </a:cxn>
              <a:cxn ang="0">
                <a:pos x="connsiteX40824" y="connsiteY40824"/>
              </a:cxn>
              <a:cxn ang="0">
                <a:pos x="connsiteX40825" y="connsiteY40825"/>
              </a:cxn>
              <a:cxn ang="0">
                <a:pos x="connsiteX40826" y="connsiteY40826"/>
              </a:cxn>
              <a:cxn ang="0">
                <a:pos x="connsiteX40827" y="connsiteY40827"/>
              </a:cxn>
              <a:cxn ang="0">
                <a:pos x="connsiteX40828" y="connsiteY40828"/>
              </a:cxn>
              <a:cxn ang="0">
                <a:pos x="connsiteX40829" y="connsiteY40829"/>
              </a:cxn>
              <a:cxn ang="0">
                <a:pos x="connsiteX40830" y="connsiteY40830"/>
              </a:cxn>
              <a:cxn ang="0">
                <a:pos x="connsiteX40831" y="connsiteY40831"/>
              </a:cxn>
              <a:cxn ang="0">
                <a:pos x="connsiteX40832" y="connsiteY40832"/>
              </a:cxn>
              <a:cxn ang="0">
                <a:pos x="connsiteX40833" y="connsiteY40833"/>
              </a:cxn>
              <a:cxn ang="0">
                <a:pos x="connsiteX40834" y="connsiteY40834"/>
              </a:cxn>
              <a:cxn ang="0">
                <a:pos x="connsiteX40835" y="connsiteY40835"/>
              </a:cxn>
              <a:cxn ang="0">
                <a:pos x="connsiteX40836" y="connsiteY40836"/>
              </a:cxn>
              <a:cxn ang="0">
                <a:pos x="connsiteX40837" y="connsiteY40837"/>
              </a:cxn>
              <a:cxn ang="0">
                <a:pos x="connsiteX40838" y="connsiteY40838"/>
              </a:cxn>
              <a:cxn ang="0">
                <a:pos x="connsiteX40839" y="connsiteY40839"/>
              </a:cxn>
              <a:cxn ang="0">
                <a:pos x="connsiteX40840" y="connsiteY40840"/>
              </a:cxn>
              <a:cxn ang="0">
                <a:pos x="connsiteX40841" y="connsiteY40841"/>
              </a:cxn>
              <a:cxn ang="0">
                <a:pos x="connsiteX40842" y="connsiteY40842"/>
              </a:cxn>
              <a:cxn ang="0">
                <a:pos x="connsiteX40843" y="connsiteY40843"/>
              </a:cxn>
              <a:cxn ang="0">
                <a:pos x="connsiteX40844" y="connsiteY40844"/>
              </a:cxn>
              <a:cxn ang="0">
                <a:pos x="connsiteX40845" y="connsiteY40845"/>
              </a:cxn>
              <a:cxn ang="0">
                <a:pos x="connsiteX40846" y="connsiteY40846"/>
              </a:cxn>
              <a:cxn ang="0">
                <a:pos x="connsiteX40847" y="connsiteY40847"/>
              </a:cxn>
              <a:cxn ang="0">
                <a:pos x="connsiteX40848" y="connsiteY40848"/>
              </a:cxn>
              <a:cxn ang="0">
                <a:pos x="connsiteX40849" y="connsiteY40849"/>
              </a:cxn>
              <a:cxn ang="0">
                <a:pos x="connsiteX40850" y="connsiteY40850"/>
              </a:cxn>
              <a:cxn ang="0">
                <a:pos x="connsiteX40851" y="connsiteY40851"/>
              </a:cxn>
              <a:cxn ang="0">
                <a:pos x="connsiteX40852" y="connsiteY40852"/>
              </a:cxn>
              <a:cxn ang="0">
                <a:pos x="connsiteX40853" y="connsiteY40853"/>
              </a:cxn>
              <a:cxn ang="0">
                <a:pos x="connsiteX40854" y="connsiteY40854"/>
              </a:cxn>
              <a:cxn ang="0">
                <a:pos x="connsiteX40855" y="connsiteY40855"/>
              </a:cxn>
              <a:cxn ang="0">
                <a:pos x="connsiteX40856" y="connsiteY40856"/>
              </a:cxn>
              <a:cxn ang="0">
                <a:pos x="connsiteX40857" y="connsiteY40857"/>
              </a:cxn>
              <a:cxn ang="0">
                <a:pos x="connsiteX40858" y="connsiteY40858"/>
              </a:cxn>
              <a:cxn ang="0">
                <a:pos x="connsiteX40859" y="connsiteY40859"/>
              </a:cxn>
              <a:cxn ang="0">
                <a:pos x="connsiteX40860" y="connsiteY40860"/>
              </a:cxn>
              <a:cxn ang="0">
                <a:pos x="connsiteX40861" y="connsiteY40861"/>
              </a:cxn>
              <a:cxn ang="0">
                <a:pos x="connsiteX40862" y="connsiteY40862"/>
              </a:cxn>
              <a:cxn ang="0">
                <a:pos x="connsiteX40863" y="connsiteY40863"/>
              </a:cxn>
              <a:cxn ang="0">
                <a:pos x="connsiteX40864" y="connsiteY40864"/>
              </a:cxn>
              <a:cxn ang="0">
                <a:pos x="connsiteX40865" y="connsiteY40865"/>
              </a:cxn>
              <a:cxn ang="0">
                <a:pos x="connsiteX40866" y="connsiteY40866"/>
              </a:cxn>
              <a:cxn ang="0">
                <a:pos x="connsiteX40867" y="connsiteY40867"/>
              </a:cxn>
              <a:cxn ang="0">
                <a:pos x="connsiteX40868" y="connsiteY40868"/>
              </a:cxn>
              <a:cxn ang="0">
                <a:pos x="connsiteX40869" y="connsiteY40869"/>
              </a:cxn>
              <a:cxn ang="0">
                <a:pos x="connsiteX40870" y="connsiteY40870"/>
              </a:cxn>
              <a:cxn ang="0">
                <a:pos x="connsiteX40871" y="connsiteY40871"/>
              </a:cxn>
              <a:cxn ang="0">
                <a:pos x="connsiteX40872" y="connsiteY40872"/>
              </a:cxn>
              <a:cxn ang="0">
                <a:pos x="connsiteX40873" y="connsiteY40873"/>
              </a:cxn>
              <a:cxn ang="0">
                <a:pos x="connsiteX40874" y="connsiteY40874"/>
              </a:cxn>
              <a:cxn ang="0">
                <a:pos x="connsiteX40875" y="connsiteY40875"/>
              </a:cxn>
              <a:cxn ang="0">
                <a:pos x="connsiteX40876" y="connsiteY40876"/>
              </a:cxn>
              <a:cxn ang="0">
                <a:pos x="connsiteX40877" y="connsiteY40877"/>
              </a:cxn>
              <a:cxn ang="0">
                <a:pos x="connsiteX40878" y="connsiteY40878"/>
              </a:cxn>
              <a:cxn ang="0">
                <a:pos x="connsiteX40879" y="connsiteY40879"/>
              </a:cxn>
              <a:cxn ang="0">
                <a:pos x="connsiteX40880" y="connsiteY40880"/>
              </a:cxn>
              <a:cxn ang="0">
                <a:pos x="connsiteX40881" y="connsiteY40881"/>
              </a:cxn>
              <a:cxn ang="0">
                <a:pos x="connsiteX40882" y="connsiteY40882"/>
              </a:cxn>
              <a:cxn ang="0">
                <a:pos x="connsiteX40883" y="connsiteY40883"/>
              </a:cxn>
              <a:cxn ang="0">
                <a:pos x="connsiteX40884" y="connsiteY40884"/>
              </a:cxn>
              <a:cxn ang="0">
                <a:pos x="connsiteX40885" y="connsiteY40885"/>
              </a:cxn>
              <a:cxn ang="0">
                <a:pos x="connsiteX40886" y="connsiteY40886"/>
              </a:cxn>
              <a:cxn ang="0">
                <a:pos x="connsiteX40887" y="connsiteY40887"/>
              </a:cxn>
              <a:cxn ang="0">
                <a:pos x="connsiteX40888" y="connsiteY40888"/>
              </a:cxn>
              <a:cxn ang="0">
                <a:pos x="connsiteX40889" y="connsiteY40889"/>
              </a:cxn>
              <a:cxn ang="0">
                <a:pos x="connsiteX40890" y="connsiteY40890"/>
              </a:cxn>
              <a:cxn ang="0">
                <a:pos x="connsiteX40891" y="connsiteY40891"/>
              </a:cxn>
              <a:cxn ang="0">
                <a:pos x="connsiteX40892" y="connsiteY40892"/>
              </a:cxn>
              <a:cxn ang="0">
                <a:pos x="connsiteX40893" y="connsiteY40893"/>
              </a:cxn>
              <a:cxn ang="0">
                <a:pos x="connsiteX40894" y="connsiteY40894"/>
              </a:cxn>
              <a:cxn ang="0">
                <a:pos x="connsiteX40895" y="connsiteY40895"/>
              </a:cxn>
              <a:cxn ang="0">
                <a:pos x="connsiteX40896" y="connsiteY40896"/>
              </a:cxn>
              <a:cxn ang="0">
                <a:pos x="connsiteX40897" y="connsiteY40897"/>
              </a:cxn>
              <a:cxn ang="0">
                <a:pos x="connsiteX40898" y="connsiteY40898"/>
              </a:cxn>
              <a:cxn ang="0">
                <a:pos x="connsiteX40899" y="connsiteY40899"/>
              </a:cxn>
              <a:cxn ang="0">
                <a:pos x="connsiteX40900" y="connsiteY40900"/>
              </a:cxn>
              <a:cxn ang="0">
                <a:pos x="connsiteX40901" y="connsiteY40901"/>
              </a:cxn>
              <a:cxn ang="0">
                <a:pos x="connsiteX40902" y="connsiteY40902"/>
              </a:cxn>
              <a:cxn ang="0">
                <a:pos x="connsiteX40903" y="connsiteY40903"/>
              </a:cxn>
              <a:cxn ang="0">
                <a:pos x="connsiteX40904" y="connsiteY40904"/>
              </a:cxn>
              <a:cxn ang="0">
                <a:pos x="connsiteX40905" y="connsiteY40905"/>
              </a:cxn>
              <a:cxn ang="0">
                <a:pos x="connsiteX40906" y="connsiteY40906"/>
              </a:cxn>
              <a:cxn ang="0">
                <a:pos x="connsiteX40907" y="connsiteY40907"/>
              </a:cxn>
              <a:cxn ang="0">
                <a:pos x="connsiteX40908" y="connsiteY40908"/>
              </a:cxn>
              <a:cxn ang="0">
                <a:pos x="connsiteX40909" y="connsiteY40909"/>
              </a:cxn>
              <a:cxn ang="0">
                <a:pos x="connsiteX40910" y="connsiteY40910"/>
              </a:cxn>
              <a:cxn ang="0">
                <a:pos x="connsiteX40911" y="connsiteY40911"/>
              </a:cxn>
              <a:cxn ang="0">
                <a:pos x="connsiteX40912" y="connsiteY40912"/>
              </a:cxn>
              <a:cxn ang="0">
                <a:pos x="connsiteX40913" y="connsiteY40913"/>
              </a:cxn>
              <a:cxn ang="0">
                <a:pos x="connsiteX40914" y="connsiteY40914"/>
              </a:cxn>
              <a:cxn ang="0">
                <a:pos x="connsiteX40915" y="connsiteY40915"/>
              </a:cxn>
              <a:cxn ang="0">
                <a:pos x="connsiteX40916" y="connsiteY40916"/>
              </a:cxn>
              <a:cxn ang="0">
                <a:pos x="connsiteX40917" y="connsiteY40917"/>
              </a:cxn>
              <a:cxn ang="0">
                <a:pos x="connsiteX40918" y="connsiteY40918"/>
              </a:cxn>
              <a:cxn ang="0">
                <a:pos x="connsiteX40919" y="connsiteY40919"/>
              </a:cxn>
              <a:cxn ang="0">
                <a:pos x="connsiteX40920" y="connsiteY40920"/>
              </a:cxn>
              <a:cxn ang="0">
                <a:pos x="connsiteX40921" y="connsiteY40921"/>
              </a:cxn>
              <a:cxn ang="0">
                <a:pos x="connsiteX40922" y="connsiteY40922"/>
              </a:cxn>
              <a:cxn ang="0">
                <a:pos x="connsiteX40923" y="connsiteY40923"/>
              </a:cxn>
              <a:cxn ang="0">
                <a:pos x="connsiteX40924" y="connsiteY40924"/>
              </a:cxn>
              <a:cxn ang="0">
                <a:pos x="connsiteX40925" y="connsiteY40925"/>
              </a:cxn>
              <a:cxn ang="0">
                <a:pos x="connsiteX40926" y="connsiteY40926"/>
              </a:cxn>
              <a:cxn ang="0">
                <a:pos x="connsiteX40927" y="connsiteY40927"/>
              </a:cxn>
              <a:cxn ang="0">
                <a:pos x="connsiteX40928" y="connsiteY40928"/>
              </a:cxn>
              <a:cxn ang="0">
                <a:pos x="connsiteX40929" y="connsiteY40929"/>
              </a:cxn>
              <a:cxn ang="0">
                <a:pos x="connsiteX40930" y="connsiteY40930"/>
              </a:cxn>
              <a:cxn ang="0">
                <a:pos x="connsiteX40931" y="connsiteY40931"/>
              </a:cxn>
              <a:cxn ang="0">
                <a:pos x="connsiteX40932" y="connsiteY40932"/>
              </a:cxn>
              <a:cxn ang="0">
                <a:pos x="connsiteX40933" y="connsiteY40933"/>
              </a:cxn>
              <a:cxn ang="0">
                <a:pos x="connsiteX40934" y="connsiteY40934"/>
              </a:cxn>
              <a:cxn ang="0">
                <a:pos x="connsiteX40935" y="connsiteY40935"/>
              </a:cxn>
              <a:cxn ang="0">
                <a:pos x="connsiteX40936" y="connsiteY40936"/>
              </a:cxn>
              <a:cxn ang="0">
                <a:pos x="connsiteX40937" y="connsiteY40937"/>
              </a:cxn>
              <a:cxn ang="0">
                <a:pos x="connsiteX40938" y="connsiteY40938"/>
              </a:cxn>
              <a:cxn ang="0">
                <a:pos x="connsiteX40939" y="connsiteY40939"/>
              </a:cxn>
              <a:cxn ang="0">
                <a:pos x="connsiteX40940" y="connsiteY40940"/>
              </a:cxn>
              <a:cxn ang="0">
                <a:pos x="connsiteX40941" y="connsiteY40941"/>
              </a:cxn>
              <a:cxn ang="0">
                <a:pos x="connsiteX40942" y="connsiteY40942"/>
              </a:cxn>
              <a:cxn ang="0">
                <a:pos x="connsiteX40943" y="connsiteY40943"/>
              </a:cxn>
              <a:cxn ang="0">
                <a:pos x="connsiteX40944" y="connsiteY40944"/>
              </a:cxn>
              <a:cxn ang="0">
                <a:pos x="connsiteX40945" y="connsiteY40945"/>
              </a:cxn>
              <a:cxn ang="0">
                <a:pos x="connsiteX40946" y="connsiteY40946"/>
              </a:cxn>
              <a:cxn ang="0">
                <a:pos x="connsiteX40947" y="connsiteY40947"/>
              </a:cxn>
              <a:cxn ang="0">
                <a:pos x="connsiteX40948" y="connsiteY40948"/>
              </a:cxn>
              <a:cxn ang="0">
                <a:pos x="connsiteX40949" y="connsiteY40949"/>
              </a:cxn>
              <a:cxn ang="0">
                <a:pos x="connsiteX40950" y="connsiteY40950"/>
              </a:cxn>
              <a:cxn ang="0">
                <a:pos x="connsiteX40951" y="connsiteY40951"/>
              </a:cxn>
              <a:cxn ang="0">
                <a:pos x="connsiteX40952" y="connsiteY40952"/>
              </a:cxn>
              <a:cxn ang="0">
                <a:pos x="connsiteX40953" y="connsiteY40953"/>
              </a:cxn>
              <a:cxn ang="0">
                <a:pos x="connsiteX40954" y="connsiteY40954"/>
              </a:cxn>
              <a:cxn ang="0">
                <a:pos x="connsiteX40955" y="connsiteY40955"/>
              </a:cxn>
              <a:cxn ang="0">
                <a:pos x="connsiteX40956" y="connsiteY40956"/>
              </a:cxn>
              <a:cxn ang="0">
                <a:pos x="connsiteX40957" y="connsiteY40957"/>
              </a:cxn>
              <a:cxn ang="0">
                <a:pos x="connsiteX40958" y="connsiteY40958"/>
              </a:cxn>
              <a:cxn ang="0">
                <a:pos x="connsiteX40959" y="connsiteY40959"/>
              </a:cxn>
              <a:cxn ang="0">
                <a:pos x="connsiteX40960" y="connsiteY40960"/>
              </a:cxn>
              <a:cxn ang="0">
                <a:pos x="connsiteX40961" y="connsiteY40961"/>
              </a:cxn>
              <a:cxn ang="0">
                <a:pos x="connsiteX40962" y="connsiteY40962"/>
              </a:cxn>
              <a:cxn ang="0">
                <a:pos x="connsiteX40963" y="connsiteY40963"/>
              </a:cxn>
              <a:cxn ang="0">
                <a:pos x="connsiteX40964" y="connsiteY40964"/>
              </a:cxn>
              <a:cxn ang="0">
                <a:pos x="connsiteX40965" y="connsiteY40965"/>
              </a:cxn>
              <a:cxn ang="0">
                <a:pos x="connsiteX40966" y="connsiteY40966"/>
              </a:cxn>
              <a:cxn ang="0">
                <a:pos x="connsiteX40967" y="connsiteY40967"/>
              </a:cxn>
              <a:cxn ang="0">
                <a:pos x="connsiteX40968" y="connsiteY40968"/>
              </a:cxn>
              <a:cxn ang="0">
                <a:pos x="connsiteX40969" y="connsiteY40969"/>
              </a:cxn>
              <a:cxn ang="0">
                <a:pos x="connsiteX40970" y="connsiteY40970"/>
              </a:cxn>
              <a:cxn ang="0">
                <a:pos x="connsiteX40971" y="connsiteY40971"/>
              </a:cxn>
              <a:cxn ang="0">
                <a:pos x="connsiteX40972" y="connsiteY40972"/>
              </a:cxn>
              <a:cxn ang="0">
                <a:pos x="connsiteX40973" y="connsiteY40973"/>
              </a:cxn>
              <a:cxn ang="0">
                <a:pos x="connsiteX40974" y="connsiteY40974"/>
              </a:cxn>
              <a:cxn ang="0">
                <a:pos x="connsiteX40975" y="connsiteY40975"/>
              </a:cxn>
              <a:cxn ang="0">
                <a:pos x="connsiteX40976" y="connsiteY40976"/>
              </a:cxn>
              <a:cxn ang="0">
                <a:pos x="connsiteX40977" y="connsiteY40977"/>
              </a:cxn>
              <a:cxn ang="0">
                <a:pos x="connsiteX40978" y="connsiteY40978"/>
              </a:cxn>
              <a:cxn ang="0">
                <a:pos x="connsiteX40979" y="connsiteY40979"/>
              </a:cxn>
              <a:cxn ang="0">
                <a:pos x="connsiteX40980" y="connsiteY40980"/>
              </a:cxn>
              <a:cxn ang="0">
                <a:pos x="connsiteX40981" y="connsiteY40981"/>
              </a:cxn>
              <a:cxn ang="0">
                <a:pos x="connsiteX40982" y="connsiteY40982"/>
              </a:cxn>
              <a:cxn ang="0">
                <a:pos x="connsiteX40983" y="connsiteY40983"/>
              </a:cxn>
              <a:cxn ang="0">
                <a:pos x="connsiteX40984" y="connsiteY40984"/>
              </a:cxn>
              <a:cxn ang="0">
                <a:pos x="connsiteX40985" y="connsiteY40985"/>
              </a:cxn>
              <a:cxn ang="0">
                <a:pos x="connsiteX40986" y="connsiteY40986"/>
              </a:cxn>
              <a:cxn ang="0">
                <a:pos x="connsiteX40987" y="connsiteY40987"/>
              </a:cxn>
              <a:cxn ang="0">
                <a:pos x="connsiteX40988" y="connsiteY40988"/>
              </a:cxn>
              <a:cxn ang="0">
                <a:pos x="connsiteX40989" y="connsiteY40989"/>
              </a:cxn>
              <a:cxn ang="0">
                <a:pos x="connsiteX40990" y="connsiteY40990"/>
              </a:cxn>
              <a:cxn ang="0">
                <a:pos x="connsiteX40991" y="connsiteY40991"/>
              </a:cxn>
              <a:cxn ang="0">
                <a:pos x="connsiteX40992" y="connsiteY40992"/>
              </a:cxn>
              <a:cxn ang="0">
                <a:pos x="connsiteX40993" y="connsiteY40993"/>
              </a:cxn>
              <a:cxn ang="0">
                <a:pos x="connsiteX40994" y="connsiteY40994"/>
              </a:cxn>
              <a:cxn ang="0">
                <a:pos x="connsiteX40995" y="connsiteY40995"/>
              </a:cxn>
              <a:cxn ang="0">
                <a:pos x="connsiteX40996" y="connsiteY40996"/>
              </a:cxn>
              <a:cxn ang="0">
                <a:pos x="connsiteX40997" y="connsiteY40997"/>
              </a:cxn>
              <a:cxn ang="0">
                <a:pos x="connsiteX40998" y="connsiteY40998"/>
              </a:cxn>
              <a:cxn ang="0">
                <a:pos x="connsiteX40999" y="connsiteY40999"/>
              </a:cxn>
              <a:cxn ang="0">
                <a:pos x="connsiteX41000" y="connsiteY41000"/>
              </a:cxn>
              <a:cxn ang="0">
                <a:pos x="connsiteX41001" y="connsiteY41001"/>
              </a:cxn>
              <a:cxn ang="0">
                <a:pos x="connsiteX41002" y="connsiteY41002"/>
              </a:cxn>
              <a:cxn ang="0">
                <a:pos x="connsiteX41003" y="connsiteY41003"/>
              </a:cxn>
              <a:cxn ang="0">
                <a:pos x="connsiteX41004" y="connsiteY41004"/>
              </a:cxn>
              <a:cxn ang="0">
                <a:pos x="connsiteX41005" y="connsiteY41005"/>
              </a:cxn>
              <a:cxn ang="0">
                <a:pos x="connsiteX41006" y="connsiteY41006"/>
              </a:cxn>
              <a:cxn ang="0">
                <a:pos x="connsiteX41007" y="connsiteY41007"/>
              </a:cxn>
              <a:cxn ang="0">
                <a:pos x="connsiteX41008" y="connsiteY41008"/>
              </a:cxn>
              <a:cxn ang="0">
                <a:pos x="connsiteX41009" y="connsiteY41009"/>
              </a:cxn>
              <a:cxn ang="0">
                <a:pos x="connsiteX41010" y="connsiteY41010"/>
              </a:cxn>
              <a:cxn ang="0">
                <a:pos x="connsiteX41011" y="connsiteY41011"/>
              </a:cxn>
              <a:cxn ang="0">
                <a:pos x="connsiteX41012" y="connsiteY41012"/>
              </a:cxn>
              <a:cxn ang="0">
                <a:pos x="connsiteX41013" y="connsiteY41013"/>
              </a:cxn>
              <a:cxn ang="0">
                <a:pos x="connsiteX41014" y="connsiteY41014"/>
              </a:cxn>
              <a:cxn ang="0">
                <a:pos x="connsiteX41015" y="connsiteY41015"/>
              </a:cxn>
              <a:cxn ang="0">
                <a:pos x="connsiteX41016" y="connsiteY41016"/>
              </a:cxn>
              <a:cxn ang="0">
                <a:pos x="connsiteX41017" y="connsiteY41017"/>
              </a:cxn>
              <a:cxn ang="0">
                <a:pos x="connsiteX41018" y="connsiteY41018"/>
              </a:cxn>
              <a:cxn ang="0">
                <a:pos x="connsiteX41019" y="connsiteY41019"/>
              </a:cxn>
              <a:cxn ang="0">
                <a:pos x="connsiteX41020" y="connsiteY41020"/>
              </a:cxn>
              <a:cxn ang="0">
                <a:pos x="connsiteX41021" y="connsiteY41021"/>
              </a:cxn>
              <a:cxn ang="0">
                <a:pos x="connsiteX41022" y="connsiteY41022"/>
              </a:cxn>
              <a:cxn ang="0">
                <a:pos x="connsiteX41023" y="connsiteY41023"/>
              </a:cxn>
              <a:cxn ang="0">
                <a:pos x="connsiteX41024" y="connsiteY41024"/>
              </a:cxn>
              <a:cxn ang="0">
                <a:pos x="connsiteX41025" y="connsiteY41025"/>
              </a:cxn>
              <a:cxn ang="0">
                <a:pos x="connsiteX41026" y="connsiteY41026"/>
              </a:cxn>
              <a:cxn ang="0">
                <a:pos x="connsiteX41027" y="connsiteY41027"/>
              </a:cxn>
              <a:cxn ang="0">
                <a:pos x="connsiteX41028" y="connsiteY41028"/>
              </a:cxn>
              <a:cxn ang="0">
                <a:pos x="connsiteX41029" y="connsiteY41029"/>
              </a:cxn>
              <a:cxn ang="0">
                <a:pos x="connsiteX41030" y="connsiteY41030"/>
              </a:cxn>
              <a:cxn ang="0">
                <a:pos x="connsiteX41031" y="connsiteY41031"/>
              </a:cxn>
              <a:cxn ang="0">
                <a:pos x="connsiteX41032" y="connsiteY41032"/>
              </a:cxn>
              <a:cxn ang="0">
                <a:pos x="connsiteX41033" y="connsiteY41033"/>
              </a:cxn>
              <a:cxn ang="0">
                <a:pos x="connsiteX41034" y="connsiteY41034"/>
              </a:cxn>
              <a:cxn ang="0">
                <a:pos x="connsiteX41035" y="connsiteY41035"/>
              </a:cxn>
              <a:cxn ang="0">
                <a:pos x="connsiteX41036" y="connsiteY41036"/>
              </a:cxn>
              <a:cxn ang="0">
                <a:pos x="connsiteX41037" y="connsiteY41037"/>
              </a:cxn>
              <a:cxn ang="0">
                <a:pos x="connsiteX41038" y="connsiteY41038"/>
              </a:cxn>
              <a:cxn ang="0">
                <a:pos x="connsiteX41039" y="connsiteY41039"/>
              </a:cxn>
              <a:cxn ang="0">
                <a:pos x="connsiteX41040" y="connsiteY41040"/>
              </a:cxn>
              <a:cxn ang="0">
                <a:pos x="connsiteX41041" y="connsiteY41041"/>
              </a:cxn>
              <a:cxn ang="0">
                <a:pos x="connsiteX41042" y="connsiteY41042"/>
              </a:cxn>
              <a:cxn ang="0">
                <a:pos x="connsiteX41043" y="connsiteY41043"/>
              </a:cxn>
              <a:cxn ang="0">
                <a:pos x="connsiteX41044" y="connsiteY41044"/>
              </a:cxn>
              <a:cxn ang="0">
                <a:pos x="connsiteX41045" y="connsiteY41045"/>
              </a:cxn>
              <a:cxn ang="0">
                <a:pos x="connsiteX41046" y="connsiteY41046"/>
              </a:cxn>
              <a:cxn ang="0">
                <a:pos x="connsiteX41047" y="connsiteY41047"/>
              </a:cxn>
              <a:cxn ang="0">
                <a:pos x="connsiteX41048" y="connsiteY41048"/>
              </a:cxn>
              <a:cxn ang="0">
                <a:pos x="connsiteX41049" y="connsiteY41049"/>
              </a:cxn>
              <a:cxn ang="0">
                <a:pos x="connsiteX41050" y="connsiteY41050"/>
              </a:cxn>
              <a:cxn ang="0">
                <a:pos x="connsiteX41051" y="connsiteY41051"/>
              </a:cxn>
              <a:cxn ang="0">
                <a:pos x="connsiteX41052" y="connsiteY41052"/>
              </a:cxn>
              <a:cxn ang="0">
                <a:pos x="connsiteX41053" y="connsiteY41053"/>
              </a:cxn>
              <a:cxn ang="0">
                <a:pos x="connsiteX41054" y="connsiteY41054"/>
              </a:cxn>
              <a:cxn ang="0">
                <a:pos x="connsiteX41055" y="connsiteY41055"/>
              </a:cxn>
              <a:cxn ang="0">
                <a:pos x="connsiteX41056" y="connsiteY41056"/>
              </a:cxn>
              <a:cxn ang="0">
                <a:pos x="connsiteX41057" y="connsiteY41057"/>
              </a:cxn>
              <a:cxn ang="0">
                <a:pos x="connsiteX41058" y="connsiteY41058"/>
              </a:cxn>
              <a:cxn ang="0">
                <a:pos x="connsiteX41059" y="connsiteY41059"/>
              </a:cxn>
              <a:cxn ang="0">
                <a:pos x="connsiteX41060" y="connsiteY41060"/>
              </a:cxn>
              <a:cxn ang="0">
                <a:pos x="connsiteX41061" y="connsiteY41061"/>
              </a:cxn>
              <a:cxn ang="0">
                <a:pos x="connsiteX41062" y="connsiteY41062"/>
              </a:cxn>
              <a:cxn ang="0">
                <a:pos x="connsiteX41063" y="connsiteY41063"/>
              </a:cxn>
              <a:cxn ang="0">
                <a:pos x="connsiteX41064" y="connsiteY41064"/>
              </a:cxn>
              <a:cxn ang="0">
                <a:pos x="connsiteX41065" y="connsiteY41065"/>
              </a:cxn>
              <a:cxn ang="0">
                <a:pos x="connsiteX41066" y="connsiteY41066"/>
              </a:cxn>
              <a:cxn ang="0">
                <a:pos x="connsiteX41067" y="connsiteY41067"/>
              </a:cxn>
              <a:cxn ang="0">
                <a:pos x="connsiteX41068" y="connsiteY41068"/>
              </a:cxn>
              <a:cxn ang="0">
                <a:pos x="connsiteX41069" y="connsiteY41069"/>
              </a:cxn>
              <a:cxn ang="0">
                <a:pos x="connsiteX41070" y="connsiteY41070"/>
              </a:cxn>
              <a:cxn ang="0">
                <a:pos x="connsiteX41071" y="connsiteY41071"/>
              </a:cxn>
              <a:cxn ang="0">
                <a:pos x="connsiteX41072" y="connsiteY41072"/>
              </a:cxn>
              <a:cxn ang="0">
                <a:pos x="connsiteX41073" y="connsiteY41073"/>
              </a:cxn>
              <a:cxn ang="0">
                <a:pos x="connsiteX41074" y="connsiteY41074"/>
              </a:cxn>
              <a:cxn ang="0">
                <a:pos x="connsiteX41075" y="connsiteY41075"/>
              </a:cxn>
              <a:cxn ang="0">
                <a:pos x="connsiteX41076" y="connsiteY41076"/>
              </a:cxn>
              <a:cxn ang="0">
                <a:pos x="connsiteX41077" y="connsiteY41077"/>
              </a:cxn>
              <a:cxn ang="0">
                <a:pos x="connsiteX41078" y="connsiteY41078"/>
              </a:cxn>
              <a:cxn ang="0">
                <a:pos x="connsiteX41079" y="connsiteY41079"/>
              </a:cxn>
              <a:cxn ang="0">
                <a:pos x="connsiteX41080" y="connsiteY41080"/>
              </a:cxn>
              <a:cxn ang="0">
                <a:pos x="connsiteX41081" y="connsiteY41081"/>
              </a:cxn>
              <a:cxn ang="0">
                <a:pos x="connsiteX41082" y="connsiteY41082"/>
              </a:cxn>
              <a:cxn ang="0">
                <a:pos x="connsiteX41083" y="connsiteY41083"/>
              </a:cxn>
              <a:cxn ang="0">
                <a:pos x="connsiteX41084" y="connsiteY41084"/>
              </a:cxn>
              <a:cxn ang="0">
                <a:pos x="connsiteX41085" y="connsiteY41085"/>
              </a:cxn>
              <a:cxn ang="0">
                <a:pos x="connsiteX41086" y="connsiteY41086"/>
              </a:cxn>
              <a:cxn ang="0">
                <a:pos x="connsiteX41087" y="connsiteY41087"/>
              </a:cxn>
              <a:cxn ang="0">
                <a:pos x="connsiteX41088" y="connsiteY41088"/>
              </a:cxn>
              <a:cxn ang="0">
                <a:pos x="connsiteX41089" y="connsiteY41089"/>
              </a:cxn>
              <a:cxn ang="0">
                <a:pos x="connsiteX41090" y="connsiteY41090"/>
              </a:cxn>
              <a:cxn ang="0">
                <a:pos x="connsiteX41091" y="connsiteY41091"/>
              </a:cxn>
              <a:cxn ang="0">
                <a:pos x="connsiteX41092" y="connsiteY41092"/>
              </a:cxn>
              <a:cxn ang="0">
                <a:pos x="connsiteX41093" y="connsiteY41093"/>
              </a:cxn>
              <a:cxn ang="0">
                <a:pos x="connsiteX41094" y="connsiteY41094"/>
              </a:cxn>
              <a:cxn ang="0">
                <a:pos x="connsiteX41095" y="connsiteY41095"/>
              </a:cxn>
              <a:cxn ang="0">
                <a:pos x="connsiteX41096" y="connsiteY41096"/>
              </a:cxn>
              <a:cxn ang="0">
                <a:pos x="connsiteX41097" y="connsiteY41097"/>
              </a:cxn>
              <a:cxn ang="0">
                <a:pos x="connsiteX41098" y="connsiteY41098"/>
              </a:cxn>
              <a:cxn ang="0">
                <a:pos x="connsiteX41099" y="connsiteY41099"/>
              </a:cxn>
              <a:cxn ang="0">
                <a:pos x="connsiteX41100" y="connsiteY41100"/>
              </a:cxn>
              <a:cxn ang="0">
                <a:pos x="connsiteX41101" y="connsiteY41101"/>
              </a:cxn>
              <a:cxn ang="0">
                <a:pos x="connsiteX41102" y="connsiteY41102"/>
              </a:cxn>
              <a:cxn ang="0">
                <a:pos x="connsiteX41103" y="connsiteY41103"/>
              </a:cxn>
              <a:cxn ang="0">
                <a:pos x="connsiteX41104" y="connsiteY41104"/>
              </a:cxn>
              <a:cxn ang="0">
                <a:pos x="connsiteX41105" y="connsiteY41105"/>
              </a:cxn>
              <a:cxn ang="0">
                <a:pos x="connsiteX41106" y="connsiteY41106"/>
              </a:cxn>
              <a:cxn ang="0">
                <a:pos x="connsiteX41107" y="connsiteY41107"/>
              </a:cxn>
              <a:cxn ang="0">
                <a:pos x="connsiteX41108" y="connsiteY41108"/>
              </a:cxn>
              <a:cxn ang="0">
                <a:pos x="connsiteX41109" y="connsiteY41109"/>
              </a:cxn>
              <a:cxn ang="0">
                <a:pos x="connsiteX41110" y="connsiteY41110"/>
              </a:cxn>
              <a:cxn ang="0">
                <a:pos x="connsiteX41111" y="connsiteY41111"/>
              </a:cxn>
              <a:cxn ang="0">
                <a:pos x="connsiteX41112" y="connsiteY41112"/>
              </a:cxn>
              <a:cxn ang="0">
                <a:pos x="connsiteX41113" y="connsiteY41113"/>
              </a:cxn>
              <a:cxn ang="0">
                <a:pos x="connsiteX41114" y="connsiteY41114"/>
              </a:cxn>
              <a:cxn ang="0">
                <a:pos x="connsiteX41115" y="connsiteY41115"/>
              </a:cxn>
              <a:cxn ang="0">
                <a:pos x="connsiteX41116" y="connsiteY41116"/>
              </a:cxn>
              <a:cxn ang="0">
                <a:pos x="connsiteX41117" y="connsiteY41117"/>
              </a:cxn>
              <a:cxn ang="0">
                <a:pos x="connsiteX41118" y="connsiteY41118"/>
              </a:cxn>
              <a:cxn ang="0">
                <a:pos x="connsiteX41119" y="connsiteY41119"/>
              </a:cxn>
              <a:cxn ang="0">
                <a:pos x="connsiteX41120" y="connsiteY41120"/>
              </a:cxn>
              <a:cxn ang="0">
                <a:pos x="connsiteX41121" y="connsiteY41121"/>
              </a:cxn>
              <a:cxn ang="0">
                <a:pos x="connsiteX41122" y="connsiteY41122"/>
              </a:cxn>
              <a:cxn ang="0">
                <a:pos x="connsiteX41123" y="connsiteY41123"/>
              </a:cxn>
              <a:cxn ang="0">
                <a:pos x="connsiteX41124" y="connsiteY41124"/>
              </a:cxn>
              <a:cxn ang="0">
                <a:pos x="connsiteX41125" y="connsiteY41125"/>
              </a:cxn>
              <a:cxn ang="0">
                <a:pos x="connsiteX41126" y="connsiteY41126"/>
              </a:cxn>
              <a:cxn ang="0">
                <a:pos x="connsiteX41127" y="connsiteY41127"/>
              </a:cxn>
              <a:cxn ang="0">
                <a:pos x="connsiteX41128" y="connsiteY41128"/>
              </a:cxn>
              <a:cxn ang="0">
                <a:pos x="connsiteX41129" y="connsiteY41129"/>
              </a:cxn>
              <a:cxn ang="0">
                <a:pos x="connsiteX41130" y="connsiteY41130"/>
              </a:cxn>
              <a:cxn ang="0">
                <a:pos x="connsiteX41131" y="connsiteY41131"/>
              </a:cxn>
              <a:cxn ang="0">
                <a:pos x="connsiteX41132" y="connsiteY41132"/>
              </a:cxn>
              <a:cxn ang="0">
                <a:pos x="connsiteX41133" y="connsiteY41133"/>
              </a:cxn>
              <a:cxn ang="0">
                <a:pos x="connsiteX41134" y="connsiteY41134"/>
              </a:cxn>
              <a:cxn ang="0">
                <a:pos x="connsiteX41135" y="connsiteY41135"/>
              </a:cxn>
              <a:cxn ang="0">
                <a:pos x="connsiteX41136" y="connsiteY41136"/>
              </a:cxn>
              <a:cxn ang="0">
                <a:pos x="connsiteX41137" y="connsiteY41137"/>
              </a:cxn>
              <a:cxn ang="0">
                <a:pos x="connsiteX41138" y="connsiteY41138"/>
              </a:cxn>
              <a:cxn ang="0">
                <a:pos x="connsiteX41139" y="connsiteY41139"/>
              </a:cxn>
              <a:cxn ang="0">
                <a:pos x="connsiteX41140" y="connsiteY41140"/>
              </a:cxn>
              <a:cxn ang="0">
                <a:pos x="connsiteX41141" y="connsiteY41141"/>
              </a:cxn>
              <a:cxn ang="0">
                <a:pos x="connsiteX41142" y="connsiteY41142"/>
              </a:cxn>
              <a:cxn ang="0">
                <a:pos x="connsiteX41143" y="connsiteY41143"/>
              </a:cxn>
              <a:cxn ang="0">
                <a:pos x="connsiteX41144" y="connsiteY41144"/>
              </a:cxn>
              <a:cxn ang="0">
                <a:pos x="connsiteX41145" y="connsiteY41145"/>
              </a:cxn>
              <a:cxn ang="0">
                <a:pos x="connsiteX41146" y="connsiteY41146"/>
              </a:cxn>
              <a:cxn ang="0">
                <a:pos x="connsiteX41147" y="connsiteY41147"/>
              </a:cxn>
              <a:cxn ang="0">
                <a:pos x="connsiteX41148" y="connsiteY41148"/>
              </a:cxn>
              <a:cxn ang="0">
                <a:pos x="connsiteX41149" y="connsiteY41149"/>
              </a:cxn>
              <a:cxn ang="0">
                <a:pos x="connsiteX41150" y="connsiteY41150"/>
              </a:cxn>
              <a:cxn ang="0">
                <a:pos x="connsiteX41151" y="connsiteY41151"/>
              </a:cxn>
              <a:cxn ang="0">
                <a:pos x="connsiteX41152" y="connsiteY41152"/>
              </a:cxn>
              <a:cxn ang="0">
                <a:pos x="connsiteX41153" y="connsiteY41153"/>
              </a:cxn>
              <a:cxn ang="0">
                <a:pos x="connsiteX41154" y="connsiteY41154"/>
              </a:cxn>
              <a:cxn ang="0">
                <a:pos x="connsiteX41155" y="connsiteY41155"/>
              </a:cxn>
              <a:cxn ang="0">
                <a:pos x="connsiteX41156" y="connsiteY41156"/>
              </a:cxn>
              <a:cxn ang="0">
                <a:pos x="connsiteX41157" y="connsiteY41157"/>
              </a:cxn>
              <a:cxn ang="0">
                <a:pos x="connsiteX41158" y="connsiteY41158"/>
              </a:cxn>
              <a:cxn ang="0">
                <a:pos x="connsiteX41159" y="connsiteY41159"/>
              </a:cxn>
              <a:cxn ang="0">
                <a:pos x="connsiteX41160" y="connsiteY41160"/>
              </a:cxn>
              <a:cxn ang="0">
                <a:pos x="connsiteX41161" y="connsiteY41161"/>
              </a:cxn>
              <a:cxn ang="0">
                <a:pos x="connsiteX41162" y="connsiteY41162"/>
              </a:cxn>
              <a:cxn ang="0">
                <a:pos x="connsiteX41163" y="connsiteY41163"/>
              </a:cxn>
              <a:cxn ang="0">
                <a:pos x="connsiteX41164" y="connsiteY41164"/>
              </a:cxn>
              <a:cxn ang="0">
                <a:pos x="connsiteX41165" y="connsiteY41165"/>
              </a:cxn>
              <a:cxn ang="0">
                <a:pos x="connsiteX41166" y="connsiteY41166"/>
              </a:cxn>
              <a:cxn ang="0">
                <a:pos x="connsiteX41167" y="connsiteY41167"/>
              </a:cxn>
              <a:cxn ang="0">
                <a:pos x="connsiteX41168" y="connsiteY41168"/>
              </a:cxn>
              <a:cxn ang="0">
                <a:pos x="connsiteX41169" y="connsiteY41169"/>
              </a:cxn>
              <a:cxn ang="0">
                <a:pos x="connsiteX41170" y="connsiteY41170"/>
              </a:cxn>
              <a:cxn ang="0">
                <a:pos x="connsiteX41171" y="connsiteY41171"/>
              </a:cxn>
              <a:cxn ang="0">
                <a:pos x="connsiteX41172" y="connsiteY41172"/>
              </a:cxn>
              <a:cxn ang="0">
                <a:pos x="connsiteX41173" y="connsiteY41173"/>
              </a:cxn>
              <a:cxn ang="0">
                <a:pos x="connsiteX41174" y="connsiteY41174"/>
              </a:cxn>
              <a:cxn ang="0">
                <a:pos x="connsiteX41175" y="connsiteY41175"/>
              </a:cxn>
              <a:cxn ang="0">
                <a:pos x="connsiteX41176" y="connsiteY41176"/>
              </a:cxn>
              <a:cxn ang="0">
                <a:pos x="connsiteX41177" y="connsiteY41177"/>
              </a:cxn>
              <a:cxn ang="0">
                <a:pos x="connsiteX41178" y="connsiteY41178"/>
              </a:cxn>
              <a:cxn ang="0">
                <a:pos x="connsiteX41179" y="connsiteY41179"/>
              </a:cxn>
              <a:cxn ang="0">
                <a:pos x="connsiteX41180" y="connsiteY41180"/>
              </a:cxn>
              <a:cxn ang="0">
                <a:pos x="connsiteX41181" y="connsiteY41181"/>
              </a:cxn>
              <a:cxn ang="0">
                <a:pos x="connsiteX41182" y="connsiteY41182"/>
              </a:cxn>
              <a:cxn ang="0">
                <a:pos x="connsiteX41183" y="connsiteY41183"/>
              </a:cxn>
              <a:cxn ang="0">
                <a:pos x="connsiteX41184" y="connsiteY41184"/>
              </a:cxn>
              <a:cxn ang="0">
                <a:pos x="connsiteX41185" y="connsiteY41185"/>
              </a:cxn>
              <a:cxn ang="0">
                <a:pos x="connsiteX41186" y="connsiteY41186"/>
              </a:cxn>
              <a:cxn ang="0">
                <a:pos x="connsiteX41187" y="connsiteY41187"/>
              </a:cxn>
              <a:cxn ang="0">
                <a:pos x="connsiteX41188" y="connsiteY41188"/>
              </a:cxn>
              <a:cxn ang="0">
                <a:pos x="connsiteX41189" y="connsiteY41189"/>
              </a:cxn>
              <a:cxn ang="0">
                <a:pos x="connsiteX41190" y="connsiteY41190"/>
              </a:cxn>
              <a:cxn ang="0">
                <a:pos x="connsiteX41191" y="connsiteY41191"/>
              </a:cxn>
              <a:cxn ang="0">
                <a:pos x="connsiteX41192" y="connsiteY41192"/>
              </a:cxn>
              <a:cxn ang="0">
                <a:pos x="connsiteX41193" y="connsiteY41193"/>
              </a:cxn>
              <a:cxn ang="0">
                <a:pos x="connsiteX41194" y="connsiteY41194"/>
              </a:cxn>
              <a:cxn ang="0">
                <a:pos x="connsiteX41195" y="connsiteY41195"/>
              </a:cxn>
              <a:cxn ang="0">
                <a:pos x="connsiteX41196" y="connsiteY41196"/>
              </a:cxn>
              <a:cxn ang="0">
                <a:pos x="connsiteX41197" y="connsiteY41197"/>
              </a:cxn>
              <a:cxn ang="0">
                <a:pos x="connsiteX41198" y="connsiteY41198"/>
              </a:cxn>
              <a:cxn ang="0">
                <a:pos x="connsiteX41199" y="connsiteY41199"/>
              </a:cxn>
              <a:cxn ang="0">
                <a:pos x="connsiteX41200" y="connsiteY41200"/>
              </a:cxn>
              <a:cxn ang="0">
                <a:pos x="connsiteX41201" y="connsiteY41201"/>
              </a:cxn>
              <a:cxn ang="0">
                <a:pos x="connsiteX41202" y="connsiteY41202"/>
              </a:cxn>
              <a:cxn ang="0">
                <a:pos x="connsiteX41203" y="connsiteY41203"/>
              </a:cxn>
              <a:cxn ang="0">
                <a:pos x="connsiteX41204" y="connsiteY41204"/>
              </a:cxn>
              <a:cxn ang="0">
                <a:pos x="connsiteX41205" y="connsiteY41205"/>
              </a:cxn>
              <a:cxn ang="0">
                <a:pos x="connsiteX41206" y="connsiteY41206"/>
              </a:cxn>
              <a:cxn ang="0">
                <a:pos x="connsiteX41207" y="connsiteY41207"/>
              </a:cxn>
              <a:cxn ang="0">
                <a:pos x="connsiteX41208" y="connsiteY41208"/>
              </a:cxn>
              <a:cxn ang="0">
                <a:pos x="connsiteX41209" y="connsiteY41209"/>
              </a:cxn>
              <a:cxn ang="0">
                <a:pos x="connsiteX41210" y="connsiteY41210"/>
              </a:cxn>
              <a:cxn ang="0">
                <a:pos x="connsiteX41211" y="connsiteY41211"/>
              </a:cxn>
              <a:cxn ang="0">
                <a:pos x="connsiteX41212" y="connsiteY41212"/>
              </a:cxn>
              <a:cxn ang="0">
                <a:pos x="connsiteX41213" y="connsiteY41213"/>
              </a:cxn>
              <a:cxn ang="0">
                <a:pos x="connsiteX41214" y="connsiteY41214"/>
              </a:cxn>
              <a:cxn ang="0">
                <a:pos x="connsiteX41215" y="connsiteY41215"/>
              </a:cxn>
              <a:cxn ang="0">
                <a:pos x="connsiteX41216" y="connsiteY41216"/>
              </a:cxn>
              <a:cxn ang="0">
                <a:pos x="connsiteX41217" y="connsiteY41217"/>
              </a:cxn>
              <a:cxn ang="0">
                <a:pos x="connsiteX41218" y="connsiteY41218"/>
              </a:cxn>
              <a:cxn ang="0">
                <a:pos x="connsiteX41219" y="connsiteY41219"/>
              </a:cxn>
              <a:cxn ang="0">
                <a:pos x="connsiteX41220" y="connsiteY41220"/>
              </a:cxn>
              <a:cxn ang="0">
                <a:pos x="connsiteX41221" y="connsiteY41221"/>
              </a:cxn>
              <a:cxn ang="0">
                <a:pos x="connsiteX41222" y="connsiteY41222"/>
              </a:cxn>
              <a:cxn ang="0">
                <a:pos x="connsiteX41223" y="connsiteY41223"/>
              </a:cxn>
              <a:cxn ang="0">
                <a:pos x="connsiteX41224" y="connsiteY41224"/>
              </a:cxn>
              <a:cxn ang="0">
                <a:pos x="connsiteX41225" y="connsiteY41225"/>
              </a:cxn>
              <a:cxn ang="0">
                <a:pos x="connsiteX41226" y="connsiteY41226"/>
              </a:cxn>
              <a:cxn ang="0">
                <a:pos x="connsiteX41227" y="connsiteY41227"/>
              </a:cxn>
              <a:cxn ang="0">
                <a:pos x="connsiteX41228" y="connsiteY41228"/>
              </a:cxn>
              <a:cxn ang="0">
                <a:pos x="connsiteX41229" y="connsiteY41229"/>
              </a:cxn>
              <a:cxn ang="0">
                <a:pos x="connsiteX41230" y="connsiteY41230"/>
              </a:cxn>
              <a:cxn ang="0">
                <a:pos x="connsiteX41231" y="connsiteY41231"/>
              </a:cxn>
              <a:cxn ang="0">
                <a:pos x="connsiteX41232" y="connsiteY41232"/>
              </a:cxn>
              <a:cxn ang="0">
                <a:pos x="connsiteX41233" y="connsiteY41233"/>
              </a:cxn>
              <a:cxn ang="0">
                <a:pos x="connsiteX41234" y="connsiteY41234"/>
              </a:cxn>
              <a:cxn ang="0">
                <a:pos x="connsiteX41235" y="connsiteY41235"/>
              </a:cxn>
              <a:cxn ang="0">
                <a:pos x="connsiteX41236" y="connsiteY41236"/>
              </a:cxn>
              <a:cxn ang="0">
                <a:pos x="connsiteX41237" y="connsiteY41237"/>
              </a:cxn>
              <a:cxn ang="0">
                <a:pos x="connsiteX41238" y="connsiteY41238"/>
              </a:cxn>
              <a:cxn ang="0">
                <a:pos x="connsiteX41239" y="connsiteY41239"/>
              </a:cxn>
              <a:cxn ang="0">
                <a:pos x="connsiteX41240" y="connsiteY41240"/>
              </a:cxn>
              <a:cxn ang="0">
                <a:pos x="connsiteX41241" y="connsiteY41241"/>
              </a:cxn>
              <a:cxn ang="0">
                <a:pos x="connsiteX41242" y="connsiteY41242"/>
              </a:cxn>
              <a:cxn ang="0">
                <a:pos x="connsiteX41243" y="connsiteY41243"/>
              </a:cxn>
              <a:cxn ang="0">
                <a:pos x="connsiteX41244" y="connsiteY41244"/>
              </a:cxn>
              <a:cxn ang="0">
                <a:pos x="connsiteX41245" y="connsiteY41245"/>
              </a:cxn>
              <a:cxn ang="0">
                <a:pos x="connsiteX41246" y="connsiteY41246"/>
              </a:cxn>
              <a:cxn ang="0">
                <a:pos x="connsiteX41247" y="connsiteY41247"/>
              </a:cxn>
              <a:cxn ang="0">
                <a:pos x="connsiteX41248" y="connsiteY41248"/>
              </a:cxn>
              <a:cxn ang="0">
                <a:pos x="connsiteX41249" y="connsiteY41249"/>
              </a:cxn>
              <a:cxn ang="0">
                <a:pos x="connsiteX41250" y="connsiteY41250"/>
              </a:cxn>
              <a:cxn ang="0">
                <a:pos x="connsiteX41251" y="connsiteY41251"/>
              </a:cxn>
              <a:cxn ang="0">
                <a:pos x="connsiteX41252" y="connsiteY41252"/>
              </a:cxn>
              <a:cxn ang="0">
                <a:pos x="connsiteX41253" y="connsiteY41253"/>
              </a:cxn>
              <a:cxn ang="0">
                <a:pos x="connsiteX41254" y="connsiteY41254"/>
              </a:cxn>
              <a:cxn ang="0">
                <a:pos x="connsiteX41255" y="connsiteY41255"/>
              </a:cxn>
              <a:cxn ang="0">
                <a:pos x="connsiteX41256" y="connsiteY41256"/>
              </a:cxn>
              <a:cxn ang="0">
                <a:pos x="connsiteX41257" y="connsiteY41257"/>
              </a:cxn>
              <a:cxn ang="0">
                <a:pos x="connsiteX41258" y="connsiteY41258"/>
              </a:cxn>
              <a:cxn ang="0">
                <a:pos x="connsiteX41259" y="connsiteY41259"/>
              </a:cxn>
              <a:cxn ang="0">
                <a:pos x="connsiteX41260" y="connsiteY41260"/>
              </a:cxn>
              <a:cxn ang="0">
                <a:pos x="connsiteX41261" y="connsiteY41261"/>
              </a:cxn>
              <a:cxn ang="0">
                <a:pos x="connsiteX41262" y="connsiteY41262"/>
              </a:cxn>
              <a:cxn ang="0">
                <a:pos x="connsiteX41263" y="connsiteY41263"/>
              </a:cxn>
              <a:cxn ang="0">
                <a:pos x="connsiteX41264" y="connsiteY41264"/>
              </a:cxn>
              <a:cxn ang="0">
                <a:pos x="connsiteX41265" y="connsiteY41265"/>
              </a:cxn>
              <a:cxn ang="0">
                <a:pos x="connsiteX41266" y="connsiteY41266"/>
              </a:cxn>
              <a:cxn ang="0">
                <a:pos x="connsiteX41267" y="connsiteY41267"/>
              </a:cxn>
              <a:cxn ang="0">
                <a:pos x="connsiteX41268" y="connsiteY41268"/>
              </a:cxn>
              <a:cxn ang="0">
                <a:pos x="connsiteX41269" y="connsiteY41269"/>
              </a:cxn>
              <a:cxn ang="0">
                <a:pos x="connsiteX41270" y="connsiteY41270"/>
              </a:cxn>
              <a:cxn ang="0">
                <a:pos x="connsiteX41271" y="connsiteY41271"/>
              </a:cxn>
              <a:cxn ang="0">
                <a:pos x="connsiteX41272" y="connsiteY41272"/>
              </a:cxn>
              <a:cxn ang="0">
                <a:pos x="connsiteX41273" y="connsiteY41273"/>
              </a:cxn>
              <a:cxn ang="0">
                <a:pos x="connsiteX41274" y="connsiteY41274"/>
              </a:cxn>
              <a:cxn ang="0">
                <a:pos x="connsiteX41275" y="connsiteY41275"/>
              </a:cxn>
              <a:cxn ang="0">
                <a:pos x="connsiteX41276" y="connsiteY41276"/>
              </a:cxn>
              <a:cxn ang="0">
                <a:pos x="connsiteX41277" y="connsiteY41277"/>
              </a:cxn>
              <a:cxn ang="0">
                <a:pos x="connsiteX41278" y="connsiteY41278"/>
              </a:cxn>
              <a:cxn ang="0">
                <a:pos x="connsiteX41279" y="connsiteY41279"/>
              </a:cxn>
              <a:cxn ang="0">
                <a:pos x="connsiteX41280" y="connsiteY41280"/>
              </a:cxn>
              <a:cxn ang="0">
                <a:pos x="connsiteX41281" y="connsiteY41281"/>
              </a:cxn>
              <a:cxn ang="0">
                <a:pos x="connsiteX41282" y="connsiteY41282"/>
              </a:cxn>
              <a:cxn ang="0">
                <a:pos x="connsiteX41283" y="connsiteY41283"/>
              </a:cxn>
              <a:cxn ang="0">
                <a:pos x="connsiteX41284" y="connsiteY41284"/>
              </a:cxn>
              <a:cxn ang="0">
                <a:pos x="connsiteX41285" y="connsiteY41285"/>
              </a:cxn>
              <a:cxn ang="0">
                <a:pos x="connsiteX41286" y="connsiteY41286"/>
              </a:cxn>
              <a:cxn ang="0">
                <a:pos x="connsiteX41287" y="connsiteY41287"/>
              </a:cxn>
              <a:cxn ang="0">
                <a:pos x="connsiteX41288" y="connsiteY41288"/>
              </a:cxn>
              <a:cxn ang="0">
                <a:pos x="connsiteX41289" y="connsiteY41289"/>
              </a:cxn>
              <a:cxn ang="0">
                <a:pos x="connsiteX41290" y="connsiteY41290"/>
              </a:cxn>
              <a:cxn ang="0">
                <a:pos x="connsiteX41291" y="connsiteY41291"/>
              </a:cxn>
              <a:cxn ang="0">
                <a:pos x="connsiteX41292" y="connsiteY41292"/>
              </a:cxn>
              <a:cxn ang="0">
                <a:pos x="connsiteX41293" y="connsiteY41293"/>
              </a:cxn>
              <a:cxn ang="0">
                <a:pos x="connsiteX41294" y="connsiteY41294"/>
              </a:cxn>
              <a:cxn ang="0">
                <a:pos x="connsiteX41295" y="connsiteY41295"/>
              </a:cxn>
              <a:cxn ang="0">
                <a:pos x="connsiteX41296" y="connsiteY41296"/>
              </a:cxn>
              <a:cxn ang="0">
                <a:pos x="connsiteX41297" y="connsiteY41297"/>
              </a:cxn>
              <a:cxn ang="0">
                <a:pos x="connsiteX41298" y="connsiteY41298"/>
              </a:cxn>
              <a:cxn ang="0">
                <a:pos x="connsiteX41299" y="connsiteY41299"/>
              </a:cxn>
              <a:cxn ang="0">
                <a:pos x="connsiteX41300" y="connsiteY41300"/>
              </a:cxn>
              <a:cxn ang="0">
                <a:pos x="connsiteX41301" y="connsiteY41301"/>
              </a:cxn>
              <a:cxn ang="0">
                <a:pos x="connsiteX41302" y="connsiteY41302"/>
              </a:cxn>
              <a:cxn ang="0">
                <a:pos x="connsiteX41303" y="connsiteY41303"/>
              </a:cxn>
              <a:cxn ang="0">
                <a:pos x="connsiteX41304" y="connsiteY41304"/>
              </a:cxn>
              <a:cxn ang="0">
                <a:pos x="connsiteX41305" y="connsiteY41305"/>
              </a:cxn>
              <a:cxn ang="0">
                <a:pos x="connsiteX41306" y="connsiteY41306"/>
              </a:cxn>
              <a:cxn ang="0">
                <a:pos x="connsiteX41307" y="connsiteY41307"/>
              </a:cxn>
              <a:cxn ang="0">
                <a:pos x="connsiteX41308" y="connsiteY41308"/>
              </a:cxn>
              <a:cxn ang="0">
                <a:pos x="connsiteX41309" y="connsiteY41309"/>
              </a:cxn>
              <a:cxn ang="0">
                <a:pos x="connsiteX41310" y="connsiteY41310"/>
              </a:cxn>
              <a:cxn ang="0">
                <a:pos x="connsiteX41311" y="connsiteY41311"/>
              </a:cxn>
              <a:cxn ang="0">
                <a:pos x="connsiteX41312" y="connsiteY41312"/>
              </a:cxn>
              <a:cxn ang="0">
                <a:pos x="connsiteX41313" y="connsiteY41313"/>
              </a:cxn>
              <a:cxn ang="0">
                <a:pos x="connsiteX41314" y="connsiteY41314"/>
              </a:cxn>
              <a:cxn ang="0">
                <a:pos x="connsiteX41315" y="connsiteY41315"/>
              </a:cxn>
              <a:cxn ang="0">
                <a:pos x="connsiteX41316" y="connsiteY41316"/>
              </a:cxn>
              <a:cxn ang="0">
                <a:pos x="connsiteX41317" y="connsiteY41317"/>
              </a:cxn>
              <a:cxn ang="0">
                <a:pos x="connsiteX41318" y="connsiteY41318"/>
              </a:cxn>
              <a:cxn ang="0">
                <a:pos x="connsiteX41319" y="connsiteY41319"/>
              </a:cxn>
              <a:cxn ang="0">
                <a:pos x="connsiteX41320" y="connsiteY41320"/>
              </a:cxn>
              <a:cxn ang="0">
                <a:pos x="connsiteX41321" y="connsiteY41321"/>
              </a:cxn>
              <a:cxn ang="0">
                <a:pos x="connsiteX41322" y="connsiteY41322"/>
              </a:cxn>
              <a:cxn ang="0">
                <a:pos x="connsiteX41323" y="connsiteY41323"/>
              </a:cxn>
              <a:cxn ang="0">
                <a:pos x="connsiteX41324" y="connsiteY41324"/>
              </a:cxn>
              <a:cxn ang="0">
                <a:pos x="connsiteX41325" y="connsiteY41325"/>
              </a:cxn>
              <a:cxn ang="0">
                <a:pos x="connsiteX41326" y="connsiteY41326"/>
              </a:cxn>
              <a:cxn ang="0">
                <a:pos x="connsiteX41327" y="connsiteY41327"/>
              </a:cxn>
              <a:cxn ang="0">
                <a:pos x="connsiteX41328" y="connsiteY41328"/>
              </a:cxn>
              <a:cxn ang="0">
                <a:pos x="connsiteX41329" y="connsiteY41329"/>
              </a:cxn>
              <a:cxn ang="0">
                <a:pos x="connsiteX41330" y="connsiteY41330"/>
              </a:cxn>
              <a:cxn ang="0">
                <a:pos x="connsiteX41331" y="connsiteY41331"/>
              </a:cxn>
              <a:cxn ang="0">
                <a:pos x="connsiteX41332" y="connsiteY41332"/>
              </a:cxn>
              <a:cxn ang="0">
                <a:pos x="connsiteX41333" y="connsiteY41333"/>
              </a:cxn>
              <a:cxn ang="0">
                <a:pos x="connsiteX41334" y="connsiteY41334"/>
              </a:cxn>
              <a:cxn ang="0">
                <a:pos x="connsiteX41335" y="connsiteY41335"/>
              </a:cxn>
              <a:cxn ang="0">
                <a:pos x="connsiteX41336" y="connsiteY41336"/>
              </a:cxn>
              <a:cxn ang="0">
                <a:pos x="connsiteX41337" y="connsiteY41337"/>
              </a:cxn>
              <a:cxn ang="0">
                <a:pos x="connsiteX41338" y="connsiteY41338"/>
              </a:cxn>
              <a:cxn ang="0">
                <a:pos x="connsiteX41339" y="connsiteY41339"/>
              </a:cxn>
              <a:cxn ang="0">
                <a:pos x="connsiteX41340" y="connsiteY41340"/>
              </a:cxn>
              <a:cxn ang="0">
                <a:pos x="connsiteX41341" y="connsiteY41341"/>
              </a:cxn>
              <a:cxn ang="0">
                <a:pos x="connsiteX41342" y="connsiteY41342"/>
              </a:cxn>
              <a:cxn ang="0">
                <a:pos x="connsiteX41343" y="connsiteY41343"/>
              </a:cxn>
              <a:cxn ang="0">
                <a:pos x="connsiteX41344" y="connsiteY41344"/>
              </a:cxn>
              <a:cxn ang="0">
                <a:pos x="connsiteX41345" y="connsiteY41345"/>
              </a:cxn>
              <a:cxn ang="0">
                <a:pos x="connsiteX41346" y="connsiteY41346"/>
              </a:cxn>
              <a:cxn ang="0">
                <a:pos x="connsiteX41347" y="connsiteY41347"/>
              </a:cxn>
              <a:cxn ang="0">
                <a:pos x="connsiteX41348" y="connsiteY41348"/>
              </a:cxn>
              <a:cxn ang="0">
                <a:pos x="connsiteX41349" y="connsiteY41349"/>
              </a:cxn>
              <a:cxn ang="0">
                <a:pos x="connsiteX41350" y="connsiteY41350"/>
              </a:cxn>
              <a:cxn ang="0">
                <a:pos x="connsiteX41351" y="connsiteY41351"/>
              </a:cxn>
              <a:cxn ang="0">
                <a:pos x="connsiteX41352" y="connsiteY41352"/>
              </a:cxn>
              <a:cxn ang="0">
                <a:pos x="connsiteX41353" y="connsiteY41353"/>
              </a:cxn>
              <a:cxn ang="0">
                <a:pos x="connsiteX41354" y="connsiteY41354"/>
              </a:cxn>
              <a:cxn ang="0">
                <a:pos x="connsiteX41355" y="connsiteY41355"/>
              </a:cxn>
              <a:cxn ang="0">
                <a:pos x="connsiteX41356" y="connsiteY41356"/>
              </a:cxn>
              <a:cxn ang="0">
                <a:pos x="connsiteX41357" y="connsiteY41357"/>
              </a:cxn>
              <a:cxn ang="0">
                <a:pos x="connsiteX41358" y="connsiteY41358"/>
              </a:cxn>
              <a:cxn ang="0">
                <a:pos x="connsiteX41359" y="connsiteY41359"/>
              </a:cxn>
              <a:cxn ang="0">
                <a:pos x="connsiteX41360" y="connsiteY41360"/>
              </a:cxn>
              <a:cxn ang="0">
                <a:pos x="connsiteX41361" y="connsiteY41361"/>
              </a:cxn>
              <a:cxn ang="0">
                <a:pos x="connsiteX41362" y="connsiteY41362"/>
              </a:cxn>
              <a:cxn ang="0">
                <a:pos x="connsiteX41363" y="connsiteY41363"/>
              </a:cxn>
              <a:cxn ang="0">
                <a:pos x="connsiteX41364" y="connsiteY41364"/>
              </a:cxn>
              <a:cxn ang="0">
                <a:pos x="connsiteX41365" y="connsiteY41365"/>
              </a:cxn>
              <a:cxn ang="0">
                <a:pos x="connsiteX41366" y="connsiteY41366"/>
              </a:cxn>
              <a:cxn ang="0">
                <a:pos x="connsiteX41367" y="connsiteY41367"/>
              </a:cxn>
              <a:cxn ang="0">
                <a:pos x="connsiteX41368" y="connsiteY41368"/>
              </a:cxn>
              <a:cxn ang="0">
                <a:pos x="connsiteX41369" y="connsiteY41369"/>
              </a:cxn>
              <a:cxn ang="0">
                <a:pos x="connsiteX41370" y="connsiteY41370"/>
              </a:cxn>
              <a:cxn ang="0">
                <a:pos x="connsiteX41371" y="connsiteY41371"/>
              </a:cxn>
              <a:cxn ang="0">
                <a:pos x="connsiteX41372" y="connsiteY41372"/>
              </a:cxn>
              <a:cxn ang="0">
                <a:pos x="connsiteX41373" y="connsiteY41373"/>
              </a:cxn>
              <a:cxn ang="0">
                <a:pos x="connsiteX41374" y="connsiteY41374"/>
              </a:cxn>
              <a:cxn ang="0">
                <a:pos x="connsiteX41375" y="connsiteY41375"/>
              </a:cxn>
              <a:cxn ang="0">
                <a:pos x="connsiteX41376" y="connsiteY41376"/>
              </a:cxn>
              <a:cxn ang="0">
                <a:pos x="connsiteX41377" y="connsiteY41377"/>
              </a:cxn>
              <a:cxn ang="0">
                <a:pos x="connsiteX41378" y="connsiteY41378"/>
              </a:cxn>
              <a:cxn ang="0">
                <a:pos x="connsiteX41379" y="connsiteY41379"/>
              </a:cxn>
              <a:cxn ang="0">
                <a:pos x="connsiteX41380" y="connsiteY41380"/>
              </a:cxn>
              <a:cxn ang="0">
                <a:pos x="connsiteX41381" y="connsiteY41381"/>
              </a:cxn>
              <a:cxn ang="0">
                <a:pos x="connsiteX41382" y="connsiteY41382"/>
              </a:cxn>
              <a:cxn ang="0">
                <a:pos x="connsiteX41383" y="connsiteY41383"/>
              </a:cxn>
              <a:cxn ang="0">
                <a:pos x="connsiteX41384" y="connsiteY41384"/>
              </a:cxn>
              <a:cxn ang="0">
                <a:pos x="connsiteX41385" y="connsiteY41385"/>
              </a:cxn>
              <a:cxn ang="0">
                <a:pos x="connsiteX41386" y="connsiteY41386"/>
              </a:cxn>
              <a:cxn ang="0">
                <a:pos x="connsiteX41387" y="connsiteY41387"/>
              </a:cxn>
              <a:cxn ang="0">
                <a:pos x="connsiteX41388" y="connsiteY41388"/>
              </a:cxn>
              <a:cxn ang="0">
                <a:pos x="connsiteX41389" y="connsiteY41389"/>
              </a:cxn>
              <a:cxn ang="0">
                <a:pos x="connsiteX41390" y="connsiteY41390"/>
              </a:cxn>
              <a:cxn ang="0">
                <a:pos x="connsiteX41391" y="connsiteY41391"/>
              </a:cxn>
              <a:cxn ang="0">
                <a:pos x="connsiteX41392" y="connsiteY41392"/>
              </a:cxn>
              <a:cxn ang="0">
                <a:pos x="connsiteX41393" y="connsiteY41393"/>
              </a:cxn>
              <a:cxn ang="0">
                <a:pos x="connsiteX41394" y="connsiteY41394"/>
              </a:cxn>
              <a:cxn ang="0">
                <a:pos x="connsiteX41395" y="connsiteY41395"/>
              </a:cxn>
              <a:cxn ang="0">
                <a:pos x="connsiteX41396" y="connsiteY41396"/>
              </a:cxn>
              <a:cxn ang="0">
                <a:pos x="connsiteX41397" y="connsiteY41397"/>
              </a:cxn>
              <a:cxn ang="0">
                <a:pos x="connsiteX41398" y="connsiteY41398"/>
              </a:cxn>
              <a:cxn ang="0">
                <a:pos x="connsiteX41399" y="connsiteY41399"/>
              </a:cxn>
              <a:cxn ang="0">
                <a:pos x="connsiteX41400" y="connsiteY41400"/>
              </a:cxn>
              <a:cxn ang="0">
                <a:pos x="connsiteX41401" y="connsiteY41401"/>
              </a:cxn>
              <a:cxn ang="0">
                <a:pos x="connsiteX41402" y="connsiteY41402"/>
              </a:cxn>
              <a:cxn ang="0">
                <a:pos x="connsiteX41403" y="connsiteY41403"/>
              </a:cxn>
              <a:cxn ang="0">
                <a:pos x="connsiteX41404" y="connsiteY41404"/>
              </a:cxn>
              <a:cxn ang="0">
                <a:pos x="connsiteX41405" y="connsiteY41405"/>
              </a:cxn>
              <a:cxn ang="0">
                <a:pos x="connsiteX41406" y="connsiteY41406"/>
              </a:cxn>
              <a:cxn ang="0">
                <a:pos x="connsiteX41407" y="connsiteY41407"/>
              </a:cxn>
              <a:cxn ang="0">
                <a:pos x="connsiteX41408" y="connsiteY41408"/>
              </a:cxn>
              <a:cxn ang="0">
                <a:pos x="connsiteX41409" y="connsiteY41409"/>
              </a:cxn>
              <a:cxn ang="0">
                <a:pos x="connsiteX41410" y="connsiteY41410"/>
              </a:cxn>
              <a:cxn ang="0">
                <a:pos x="connsiteX41411" y="connsiteY41411"/>
              </a:cxn>
              <a:cxn ang="0">
                <a:pos x="connsiteX41412" y="connsiteY41412"/>
              </a:cxn>
              <a:cxn ang="0">
                <a:pos x="connsiteX41413" y="connsiteY41413"/>
              </a:cxn>
              <a:cxn ang="0">
                <a:pos x="connsiteX41414" y="connsiteY41414"/>
              </a:cxn>
              <a:cxn ang="0">
                <a:pos x="connsiteX41415" y="connsiteY41415"/>
              </a:cxn>
              <a:cxn ang="0">
                <a:pos x="connsiteX41416" y="connsiteY41416"/>
              </a:cxn>
              <a:cxn ang="0">
                <a:pos x="connsiteX41417" y="connsiteY41417"/>
              </a:cxn>
              <a:cxn ang="0">
                <a:pos x="connsiteX41418" y="connsiteY41418"/>
              </a:cxn>
              <a:cxn ang="0">
                <a:pos x="connsiteX41419" y="connsiteY41419"/>
              </a:cxn>
              <a:cxn ang="0">
                <a:pos x="connsiteX41420" y="connsiteY41420"/>
              </a:cxn>
              <a:cxn ang="0">
                <a:pos x="connsiteX41421" y="connsiteY41421"/>
              </a:cxn>
              <a:cxn ang="0">
                <a:pos x="connsiteX41422" y="connsiteY41422"/>
              </a:cxn>
              <a:cxn ang="0">
                <a:pos x="connsiteX41423" y="connsiteY41423"/>
              </a:cxn>
              <a:cxn ang="0">
                <a:pos x="connsiteX41424" y="connsiteY41424"/>
              </a:cxn>
              <a:cxn ang="0">
                <a:pos x="connsiteX41425" y="connsiteY41425"/>
              </a:cxn>
              <a:cxn ang="0">
                <a:pos x="connsiteX41426" y="connsiteY41426"/>
              </a:cxn>
              <a:cxn ang="0">
                <a:pos x="connsiteX41427" y="connsiteY41427"/>
              </a:cxn>
              <a:cxn ang="0">
                <a:pos x="connsiteX41428" y="connsiteY41428"/>
              </a:cxn>
              <a:cxn ang="0">
                <a:pos x="connsiteX41429" y="connsiteY41429"/>
              </a:cxn>
              <a:cxn ang="0">
                <a:pos x="connsiteX41430" y="connsiteY41430"/>
              </a:cxn>
              <a:cxn ang="0">
                <a:pos x="connsiteX41431" y="connsiteY41431"/>
              </a:cxn>
              <a:cxn ang="0">
                <a:pos x="connsiteX41432" y="connsiteY41432"/>
              </a:cxn>
              <a:cxn ang="0">
                <a:pos x="connsiteX41433" y="connsiteY41433"/>
              </a:cxn>
              <a:cxn ang="0">
                <a:pos x="connsiteX41434" y="connsiteY41434"/>
              </a:cxn>
              <a:cxn ang="0">
                <a:pos x="connsiteX41435" y="connsiteY41435"/>
              </a:cxn>
              <a:cxn ang="0">
                <a:pos x="connsiteX41436" y="connsiteY41436"/>
              </a:cxn>
              <a:cxn ang="0">
                <a:pos x="connsiteX41437" y="connsiteY41437"/>
              </a:cxn>
              <a:cxn ang="0">
                <a:pos x="connsiteX41438" y="connsiteY41438"/>
              </a:cxn>
              <a:cxn ang="0">
                <a:pos x="connsiteX41439" y="connsiteY41439"/>
              </a:cxn>
              <a:cxn ang="0">
                <a:pos x="connsiteX41440" y="connsiteY41440"/>
              </a:cxn>
              <a:cxn ang="0">
                <a:pos x="connsiteX41441" y="connsiteY41441"/>
              </a:cxn>
              <a:cxn ang="0">
                <a:pos x="connsiteX41442" y="connsiteY41442"/>
              </a:cxn>
              <a:cxn ang="0">
                <a:pos x="connsiteX41443" y="connsiteY41443"/>
              </a:cxn>
              <a:cxn ang="0">
                <a:pos x="connsiteX41444" y="connsiteY41444"/>
              </a:cxn>
              <a:cxn ang="0">
                <a:pos x="connsiteX41445" y="connsiteY41445"/>
              </a:cxn>
              <a:cxn ang="0">
                <a:pos x="connsiteX41446" y="connsiteY41446"/>
              </a:cxn>
              <a:cxn ang="0">
                <a:pos x="connsiteX41447" y="connsiteY41447"/>
              </a:cxn>
              <a:cxn ang="0">
                <a:pos x="connsiteX41448" y="connsiteY41448"/>
              </a:cxn>
              <a:cxn ang="0">
                <a:pos x="connsiteX41449" y="connsiteY41449"/>
              </a:cxn>
              <a:cxn ang="0">
                <a:pos x="connsiteX41450" y="connsiteY41450"/>
              </a:cxn>
              <a:cxn ang="0">
                <a:pos x="connsiteX41451" y="connsiteY41451"/>
              </a:cxn>
              <a:cxn ang="0">
                <a:pos x="connsiteX41452" y="connsiteY41452"/>
              </a:cxn>
              <a:cxn ang="0">
                <a:pos x="connsiteX41453" y="connsiteY41453"/>
              </a:cxn>
              <a:cxn ang="0">
                <a:pos x="connsiteX41454" y="connsiteY41454"/>
              </a:cxn>
              <a:cxn ang="0">
                <a:pos x="connsiteX41455" y="connsiteY41455"/>
              </a:cxn>
              <a:cxn ang="0">
                <a:pos x="connsiteX41456" y="connsiteY41456"/>
              </a:cxn>
              <a:cxn ang="0">
                <a:pos x="connsiteX41457" y="connsiteY41457"/>
              </a:cxn>
              <a:cxn ang="0">
                <a:pos x="connsiteX41458" y="connsiteY41458"/>
              </a:cxn>
              <a:cxn ang="0">
                <a:pos x="connsiteX41459" y="connsiteY41459"/>
              </a:cxn>
              <a:cxn ang="0">
                <a:pos x="connsiteX41460" y="connsiteY41460"/>
              </a:cxn>
              <a:cxn ang="0">
                <a:pos x="connsiteX41461" y="connsiteY41461"/>
              </a:cxn>
              <a:cxn ang="0">
                <a:pos x="connsiteX41462" y="connsiteY41462"/>
              </a:cxn>
              <a:cxn ang="0">
                <a:pos x="connsiteX41463" y="connsiteY41463"/>
              </a:cxn>
              <a:cxn ang="0">
                <a:pos x="connsiteX41464" y="connsiteY41464"/>
              </a:cxn>
              <a:cxn ang="0">
                <a:pos x="connsiteX41465" y="connsiteY41465"/>
              </a:cxn>
              <a:cxn ang="0">
                <a:pos x="connsiteX41466" y="connsiteY41466"/>
              </a:cxn>
              <a:cxn ang="0">
                <a:pos x="connsiteX41467" y="connsiteY41467"/>
              </a:cxn>
              <a:cxn ang="0">
                <a:pos x="connsiteX41468" y="connsiteY41468"/>
              </a:cxn>
              <a:cxn ang="0">
                <a:pos x="connsiteX41469" y="connsiteY41469"/>
              </a:cxn>
              <a:cxn ang="0">
                <a:pos x="connsiteX41470" y="connsiteY41470"/>
              </a:cxn>
              <a:cxn ang="0">
                <a:pos x="connsiteX41471" y="connsiteY41471"/>
              </a:cxn>
              <a:cxn ang="0">
                <a:pos x="connsiteX41472" y="connsiteY41472"/>
              </a:cxn>
              <a:cxn ang="0">
                <a:pos x="connsiteX41473" y="connsiteY41473"/>
              </a:cxn>
              <a:cxn ang="0">
                <a:pos x="connsiteX41474" y="connsiteY41474"/>
              </a:cxn>
              <a:cxn ang="0">
                <a:pos x="connsiteX41475" y="connsiteY41475"/>
              </a:cxn>
              <a:cxn ang="0">
                <a:pos x="connsiteX41476" y="connsiteY41476"/>
              </a:cxn>
              <a:cxn ang="0">
                <a:pos x="connsiteX41477" y="connsiteY41477"/>
              </a:cxn>
              <a:cxn ang="0">
                <a:pos x="connsiteX41478" y="connsiteY41478"/>
              </a:cxn>
              <a:cxn ang="0">
                <a:pos x="connsiteX41479" y="connsiteY41479"/>
              </a:cxn>
              <a:cxn ang="0">
                <a:pos x="connsiteX41480" y="connsiteY41480"/>
              </a:cxn>
              <a:cxn ang="0">
                <a:pos x="connsiteX41481" y="connsiteY41481"/>
              </a:cxn>
              <a:cxn ang="0">
                <a:pos x="connsiteX41482" y="connsiteY41482"/>
              </a:cxn>
              <a:cxn ang="0">
                <a:pos x="connsiteX41483" y="connsiteY41483"/>
              </a:cxn>
              <a:cxn ang="0">
                <a:pos x="connsiteX41484" y="connsiteY41484"/>
              </a:cxn>
              <a:cxn ang="0">
                <a:pos x="connsiteX41485" y="connsiteY41485"/>
              </a:cxn>
              <a:cxn ang="0">
                <a:pos x="connsiteX41486" y="connsiteY41486"/>
              </a:cxn>
              <a:cxn ang="0">
                <a:pos x="connsiteX41487" y="connsiteY41487"/>
              </a:cxn>
              <a:cxn ang="0">
                <a:pos x="connsiteX41488" y="connsiteY41488"/>
              </a:cxn>
              <a:cxn ang="0">
                <a:pos x="connsiteX41489" y="connsiteY41489"/>
              </a:cxn>
              <a:cxn ang="0">
                <a:pos x="connsiteX41490" y="connsiteY41490"/>
              </a:cxn>
              <a:cxn ang="0">
                <a:pos x="connsiteX41491" y="connsiteY41491"/>
              </a:cxn>
              <a:cxn ang="0">
                <a:pos x="connsiteX41492" y="connsiteY41492"/>
              </a:cxn>
              <a:cxn ang="0">
                <a:pos x="connsiteX41493" y="connsiteY41493"/>
              </a:cxn>
              <a:cxn ang="0">
                <a:pos x="connsiteX41494" y="connsiteY41494"/>
              </a:cxn>
              <a:cxn ang="0">
                <a:pos x="connsiteX41495" y="connsiteY41495"/>
              </a:cxn>
              <a:cxn ang="0">
                <a:pos x="connsiteX41496" y="connsiteY41496"/>
              </a:cxn>
              <a:cxn ang="0">
                <a:pos x="connsiteX41497" y="connsiteY41497"/>
              </a:cxn>
              <a:cxn ang="0">
                <a:pos x="connsiteX41498" y="connsiteY41498"/>
              </a:cxn>
              <a:cxn ang="0">
                <a:pos x="connsiteX41499" y="connsiteY41499"/>
              </a:cxn>
              <a:cxn ang="0">
                <a:pos x="connsiteX41500" y="connsiteY41500"/>
              </a:cxn>
              <a:cxn ang="0">
                <a:pos x="connsiteX41501" y="connsiteY41501"/>
              </a:cxn>
              <a:cxn ang="0">
                <a:pos x="connsiteX41502" y="connsiteY41502"/>
              </a:cxn>
              <a:cxn ang="0">
                <a:pos x="connsiteX41503" y="connsiteY41503"/>
              </a:cxn>
              <a:cxn ang="0">
                <a:pos x="connsiteX41504" y="connsiteY41504"/>
              </a:cxn>
              <a:cxn ang="0">
                <a:pos x="connsiteX41505" y="connsiteY41505"/>
              </a:cxn>
              <a:cxn ang="0">
                <a:pos x="connsiteX41506" y="connsiteY41506"/>
              </a:cxn>
              <a:cxn ang="0">
                <a:pos x="connsiteX41507" y="connsiteY41507"/>
              </a:cxn>
              <a:cxn ang="0">
                <a:pos x="connsiteX41508" y="connsiteY41508"/>
              </a:cxn>
              <a:cxn ang="0">
                <a:pos x="connsiteX41509" y="connsiteY41509"/>
              </a:cxn>
              <a:cxn ang="0">
                <a:pos x="connsiteX41510" y="connsiteY41510"/>
              </a:cxn>
              <a:cxn ang="0">
                <a:pos x="connsiteX41511" y="connsiteY41511"/>
              </a:cxn>
              <a:cxn ang="0">
                <a:pos x="connsiteX41512" y="connsiteY41512"/>
              </a:cxn>
              <a:cxn ang="0">
                <a:pos x="connsiteX41513" y="connsiteY41513"/>
              </a:cxn>
              <a:cxn ang="0">
                <a:pos x="connsiteX41514" y="connsiteY41514"/>
              </a:cxn>
              <a:cxn ang="0">
                <a:pos x="connsiteX41515" y="connsiteY41515"/>
              </a:cxn>
              <a:cxn ang="0">
                <a:pos x="connsiteX41516" y="connsiteY41516"/>
              </a:cxn>
              <a:cxn ang="0">
                <a:pos x="connsiteX41517" y="connsiteY41517"/>
              </a:cxn>
              <a:cxn ang="0">
                <a:pos x="connsiteX41518" y="connsiteY41518"/>
              </a:cxn>
              <a:cxn ang="0">
                <a:pos x="connsiteX41519" y="connsiteY41519"/>
              </a:cxn>
              <a:cxn ang="0">
                <a:pos x="connsiteX41520" y="connsiteY41520"/>
              </a:cxn>
              <a:cxn ang="0">
                <a:pos x="connsiteX41521" y="connsiteY41521"/>
              </a:cxn>
              <a:cxn ang="0">
                <a:pos x="connsiteX41522" y="connsiteY41522"/>
              </a:cxn>
              <a:cxn ang="0">
                <a:pos x="connsiteX41523" y="connsiteY41523"/>
              </a:cxn>
              <a:cxn ang="0">
                <a:pos x="connsiteX41524" y="connsiteY41524"/>
              </a:cxn>
              <a:cxn ang="0">
                <a:pos x="connsiteX41525" y="connsiteY41525"/>
              </a:cxn>
              <a:cxn ang="0">
                <a:pos x="connsiteX41526" y="connsiteY41526"/>
              </a:cxn>
              <a:cxn ang="0">
                <a:pos x="connsiteX41527" y="connsiteY41527"/>
              </a:cxn>
              <a:cxn ang="0">
                <a:pos x="connsiteX41528" y="connsiteY41528"/>
              </a:cxn>
              <a:cxn ang="0">
                <a:pos x="connsiteX41529" y="connsiteY41529"/>
              </a:cxn>
              <a:cxn ang="0">
                <a:pos x="connsiteX41530" y="connsiteY41530"/>
              </a:cxn>
              <a:cxn ang="0">
                <a:pos x="connsiteX41531" y="connsiteY41531"/>
              </a:cxn>
              <a:cxn ang="0">
                <a:pos x="connsiteX41532" y="connsiteY41532"/>
              </a:cxn>
              <a:cxn ang="0">
                <a:pos x="connsiteX41533" y="connsiteY41533"/>
              </a:cxn>
              <a:cxn ang="0">
                <a:pos x="connsiteX41534" y="connsiteY41534"/>
              </a:cxn>
              <a:cxn ang="0">
                <a:pos x="connsiteX41535" y="connsiteY41535"/>
              </a:cxn>
              <a:cxn ang="0">
                <a:pos x="connsiteX41536" y="connsiteY41536"/>
              </a:cxn>
              <a:cxn ang="0">
                <a:pos x="connsiteX41537" y="connsiteY41537"/>
              </a:cxn>
              <a:cxn ang="0">
                <a:pos x="connsiteX41538" y="connsiteY41538"/>
              </a:cxn>
              <a:cxn ang="0">
                <a:pos x="connsiteX41539" y="connsiteY41539"/>
              </a:cxn>
              <a:cxn ang="0">
                <a:pos x="connsiteX41540" y="connsiteY41540"/>
              </a:cxn>
              <a:cxn ang="0">
                <a:pos x="connsiteX41541" y="connsiteY41541"/>
              </a:cxn>
              <a:cxn ang="0">
                <a:pos x="connsiteX41542" y="connsiteY41542"/>
              </a:cxn>
              <a:cxn ang="0">
                <a:pos x="connsiteX41543" y="connsiteY41543"/>
              </a:cxn>
              <a:cxn ang="0">
                <a:pos x="connsiteX41544" y="connsiteY41544"/>
              </a:cxn>
              <a:cxn ang="0">
                <a:pos x="connsiteX41545" y="connsiteY41545"/>
              </a:cxn>
              <a:cxn ang="0">
                <a:pos x="connsiteX41546" y="connsiteY41546"/>
              </a:cxn>
              <a:cxn ang="0">
                <a:pos x="connsiteX41547" y="connsiteY41547"/>
              </a:cxn>
              <a:cxn ang="0">
                <a:pos x="connsiteX41548" y="connsiteY41548"/>
              </a:cxn>
              <a:cxn ang="0">
                <a:pos x="connsiteX41549" y="connsiteY41549"/>
              </a:cxn>
              <a:cxn ang="0">
                <a:pos x="connsiteX41550" y="connsiteY41550"/>
              </a:cxn>
              <a:cxn ang="0">
                <a:pos x="connsiteX41551" y="connsiteY41551"/>
              </a:cxn>
              <a:cxn ang="0">
                <a:pos x="connsiteX41552" y="connsiteY41552"/>
              </a:cxn>
              <a:cxn ang="0">
                <a:pos x="connsiteX41553" y="connsiteY41553"/>
              </a:cxn>
              <a:cxn ang="0">
                <a:pos x="connsiteX41554" y="connsiteY41554"/>
              </a:cxn>
              <a:cxn ang="0">
                <a:pos x="connsiteX41555" y="connsiteY41555"/>
              </a:cxn>
              <a:cxn ang="0">
                <a:pos x="connsiteX41556" y="connsiteY41556"/>
              </a:cxn>
              <a:cxn ang="0">
                <a:pos x="connsiteX41557" y="connsiteY41557"/>
              </a:cxn>
              <a:cxn ang="0">
                <a:pos x="connsiteX41558" y="connsiteY41558"/>
              </a:cxn>
              <a:cxn ang="0">
                <a:pos x="connsiteX41559" y="connsiteY41559"/>
              </a:cxn>
              <a:cxn ang="0">
                <a:pos x="connsiteX41560" y="connsiteY41560"/>
              </a:cxn>
              <a:cxn ang="0">
                <a:pos x="connsiteX41561" y="connsiteY41561"/>
              </a:cxn>
              <a:cxn ang="0">
                <a:pos x="connsiteX41562" y="connsiteY41562"/>
              </a:cxn>
              <a:cxn ang="0">
                <a:pos x="connsiteX41563" y="connsiteY41563"/>
              </a:cxn>
              <a:cxn ang="0">
                <a:pos x="connsiteX41564" y="connsiteY41564"/>
              </a:cxn>
              <a:cxn ang="0">
                <a:pos x="connsiteX41565" y="connsiteY41565"/>
              </a:cxn>
              <a:cxn ang="0">
                <a:pos x="connsiteX41566" y="connsiteY41566"/>
              </a:cxn>
              <a:cxn ang="0">
                <a:pos x="connsiteX41567" y="connsiteY41567"/>
              </a:cxn>
              <a:cxn ang="0">
                <a:pos x="connsiteX41568" y="connsiteY41568"/>
              </a:cxn>
              <a:cxn ang="0">
                <a:pos x="connsiteX41569" y="connsiteY41569"/>
              </a:cxn>
              <a:cxn ang="0">
                <a:pos x="connsiteX41570" y="connsiteY41570"/>
              </a:cxn>
              <a:cxn ang="0">
                <a:pos x="connsiteX41571" y="connsiteY41571"/>
              </a:cxn>
              <a:cxn ang="0">
                <a:pos x="connsiteX41572" y="connsiteY41572"/>
              </a:cxn>
              <a:cxn ang="0">
                <a:pos x="connsiteX41573" y="connsiteY41573"/>
              </a:cxn>
              <a:cxn ang="0">
                <a:pos x="connsiteX41574" y="connsiteY41574"/>
              </a:cxn>
              <a:cxn ang="0">
                <a:pos x="connsiteX41575" y="connsiteY41575"/>
              </a:cxn>
              <a:cxn ang="0">
                <a:pos x="connsiteX41576" y="connsiteY41576"/>
              </a:cxn>
              <a:cxn ang="0">
                <a:pos x="connsiteX41577" y="connsiteY41577"/>
              </a:cxn>
              <a:cxn ang="0">
                <a:pos x="connsiteX41578" y="connsiteY41578"/>
              </a:cxn>
              <a:cxn ang="0">
                <a:pos x="connsiteX41579" y="connsiteY41579"/>
              </a:cxn>
              <a:cxn ang="0">
                <a:pos x="connsiteX41580" y="connsiteY41580"/>
              </a:cxn>
              <a:cxn ang="0">
                <a:pos x="connsiteX41581" y="connsiteY41581"/>
              </a:cxn>
              <a:cxn ang="0">
                <a:pos x="connsiteX41582" y="connsiteY41582"/>
              </a:cxn>
              <a:cxn ang="0">
                <a:pos x="connsiteX41583" y="connsiteY41583"/>
              </a:cxn>
              <a:cxn ang="0">
                <a:pos x="connsiteX41584" y="connsiteY41584"/>
              </a:cxn>
              <a:cxn ang="0">
                <a:pos x="connsiteX41585" y="connsiteY41585"/>
              </a:cxn>
              <a:cxn ang="0">
                <a:pos x="connsiteX41586" y="connsiteY41586"/>
              </a:cxn>
              <a:cxn ang="0">
                <a:pos x="connsiteX41587" y="connsiteY41587"/>
              </a:cxn>
              <a:cxn ang="0">
                <a:pos x="connsiteX41588" y="connsiteY41588"/>
              </a:cxn>
              <a:cxn ang="0">
                <a:pos x="connsiteX41589" y="connsiteY41589"/>
              </a:cxn>
              <a:cxn ang="0">
                <a:pos x="connsiteX41590" y="connsiteY41590"/>
              </a:cxn>
              <a:cxn ang="0">
                <a:pos x="connsiteX41591" y="connsiteY41591"/>
              </a:cxn>
              <a:cxn ang="0">
                <a:pos x="connsiteX41592" y="connsiteY41592"/>
              </a:cxn>
              <a:cxn ang="0">
                <a:pos x="connsiteX41593" y="connsiteY41593"/>
              </a:cxn>
              <a:cxn ang="0">
                <a:pos x="connsiteX41594" y="connsiteY41594"/>
              </a:cxn>
              <a:cxn ang="0">
                <a:pos x="connsiteX41595" y="connsiteY41595"/>
              </a:cxn>
              <a:cxn ang="0">
                <a:pos x="connsiteX41596" y="connsiteY41596"/>
              </a:cxn>
              <a:cxn ang="0">
                <a:pos x="connsiteX41597" y="connsiteY41597"/>
              </a:cxn>
              <a:cxn ang="0">
                <a:pos x="connsiteX41598" y="connsiteY41598"/>
              </a:cxn>
              <a:cxn ang="0">
                <a:pos x="connsiteX41599" y="connsiteY41599"/>
              </a:cxn>
              <a:cxn ang="0">
                <a:pos x="connsiteX41600" y="connsiteY41600"/>
              </a:cxn>
              <a:cxn ang="0">
                <a:pos x="connsiteX41601" y="connsiteY41601"/>
              </a:cxn>
              <a:cxn ang="0">
                <a:pos x="connsiteX41602" y="connsiteY41602"/>
              </a:cxn>
              <a:cxn ang="0">
                <a:pos x="connsiteX41603" y="connsiteY41603"/>
              </a:cxn>
              <a:cxn ang="0">
                <a:pos x="connsiteX41604" y="connsiteY41604"/>
              </a:cxn>
              <a:cxn ang="0">
                <a:pos x="connsiteX41605" y="connsiteY41605"/>
              </a:cxn>
              <a:cxn ang="0">
                <a:pos x="connsiteX41606" y="connsiteY41606"/>
              </a:cxn>
              <a:cxn ang="0">
                <a:pos x="connsiteX41607" y="connsiteY41607"/>
              </a:cxn>
              <a:cxn ang="0">
                <a:pos x="connsiteX41608" y="connsiteY41608"/>
              </a:cxn>
              <a:cxn ang="0">
                <a:pos x="connsiteX41609" y="connsiteY41609"/>
              </a:cxn>
              <a:cxn ang="0">
                <a:pos x="connsiteX41610" y="connsiteY41610"/>
              </a:cxn>
              <a:cxn ang="0">
                <a:pos x="connsiteX41611" y="connsiteY41611"/>
              </a:cxn>
              <a:cxn ang="0">
                <a:pos x="connsiteX41612" y="connsiteY41612"/>
              </a:cxn>
              <a:cxn ang="0">
                <a:pos x="connsiteX41613" y="connsiteY41613"/>
              </a:cxn>
              <a:cxn ang="0">
                <a:pos x="connsiteX41614" y="connsiteY41614"/>
              </a:cxn>
              <a:cxn ang="0">
                <a:pos x="connsiteX41615" y="connsiteY41615"/>
              </a:cxn>
              <a:cxn ang="0">
                <a:pos x="connsiteX41616" y="connsiteY41616"/>
              </a:cxn>
              <a:cxn ang="0">
                <a:pos x="connsiteX41617" y="connsiteY41617"/>
              </a:cxn>
              <a:cxn ang="0">
                <a:pos x="connsiteX41618" y="connsiteY41618"/>
              </a:cxn>
              <a:cxn ang="0">
                <a:pos x="connsiteX41619" y="connsiteY41619"/>
              </a:cxn>
              <a:cxn ang="0">
                <a:pos x="connsiteX41620" y="connsiteY41620"/>
              </a:cxn>
              <a:cxn ang="0">
                <a:pos x="connsiteX41621" y="connsiteY41621"/>
              </a:cxn>
              <a:cxn ang="0">
                <a:pos x="connsiteX41622" y="connsiteY41622"/>
              </a:cxn>
              <a:cxn ang="0">
                <a:pos x="connsiteX41623" y="connsiteY41623"/>
              </a:cxn>
              <a:cxn ang="0">
                <a:pos x="connsiteX41624" y="connsiteY41624"/>
              </a:cxn>
              <a:cxn ang="0">
                <a:pos x="connsiteX41625" y="connsiteY41625"/>
              </a:cxn>
              <a:cxn ang="0">
                <a:pos x="connsiteX41626" y="connsiteY41626"/>
              </a:cxn>
              <a:cxn ang="0">
                <a:pos x="connsiteX41627" y="connsiteY41627"/>
              </a:cxn>
              <a:cxn ang="0">
                <a:pos x="connsiteX41628" y="connsiteY41628"/>
              </a:cxn>
              <a:cxn ang="0">
                <a:pos x="connsiteX41629" y="connsiteY41629"/>
              </a:cxn>
              <a:cxn ang="0">
                <a:pos x="connsiteX41630" y="connsiteY41630"/>
              </a:cxn>
              <a:cxn ang="0">
                <a:pos x="connsiteX41631" y="connsiteY41631"/>
              </a:cxn>
              <a:cxn ang="0">
                <a:pos x="connsiteX41632" y="connsiteY41632"/>
              </a:cxn>
              <a:cxn ang="0">
                <a:pos x="connsiteX41633" y="connsiteY41633"/>
              </a:cxn>
              <a:cxn ang="0">
                <a:pos x="connsiteX41634" y="connsiteY41634"/>
              </a:cxn>
              <a:cxn ang="0">
                <a:pos x="connsiteX41635" y="connsiteY41635"/>
              </a:cxn>
              <a:cxn ang="0">
                <a:pos x="connsiteX41636" y="connsiteY41636"/>
              </a:cxn>
              <a:cxn ang="0">
                <a:pos x="connsiteX41637" y="connsiteY41637"/>
              </a:cxn>
              <a:cxn ang="0">
                <a:pos x="connsiteX41638" y="connsiteY41638"/>
              </a:cxn>
              <a:cxn ang="0">
                <a:pos x="connsiteX41639" y="connsiteY41639"/>
              </a:cxn>
              <a:cxn ang="0">
                <a:pos x="connsiteX41640" y="connsiteY41640"/>
              </a:cxn>
              <a:cxn ang="0">
                <a:pos x="connsiteX41641" y="connsiteY41641"/>
              </a:cxn>
              <a:cxn ang="0">
                <a:pos x="connsiteX41642" y="connsiteY41642"/>
              </a:cxn>
              <a:cxn ang="0">
                <a:pos x="connsiteX41643" y="connsiteY41643"/>
              </a:cxn>
              <a:cxn ang="0">
                <a:pos x="connsiteX41644" y="connsiteY41644"/>
              </a:cxn>
              <a:cxn ang="0">
                <a:pos x="connsiteX41645" y="connsiteY41645"/>
              </a:cxn>
              <a:cxn ang="0">
                <a:pos x="connsiteX41646" y="connsiteY41646"/>
              </a:cxn>
              <a:cxn ang="0">
                <a:pos x="connsiteX41647" y="connsiteY41647"/>
              </a:cxn>
              <a:cxn ang="0">
                <a:pos x="connsiteX41648" y="connsiteY41648"/>
              </a:cxn>
              <a:cxn ang="0">
                <a:pos x="connsiteX41649" y="connsiteY41649"/>
              </a:cxn>
              <a:cxn ang="0">
                <a:pos x="connsiteX41650" y="connsiteY41650"/>
              </a:cxn>
              <a:cxn ang="0">
                <a:pos x="connsiteX41651" y="connsiteY41651"/>
              </a:cxn>
              <a:cxn ang="0">
                <a:pos x="connsiteX41652" y="connsiteY41652"/>
              </a:cxn>
              <a:cxn ang="0">
                <a:pos x="connsiteX41653" y="connsiteY41653"/>
              </a:cxn>
              <a:cxn ang="0">
                <a:pos x="connsiteX41654" y="connsiteY41654"/>
              </a:cxn>
              <a:cxn ang="0">
                <a:pos x="connsiteX41655" y="connsiteY41655"/>
              </a:cxn>
              <a:cxn ang="0">
                <a:pos x="connsiteX41656" y="connsiteY41656"/>
              </a:cxn>
              <a:cxn ang="0">
                <a:pos x="connsiteX41657" y="connsiteY41657"/>
              </a:cxn>
              <a:cxn ang="0">
                <a:pos x="connsiteX41658" y="connsiteY41658"/>
              </a:cxn>
              <a:cxn ang="0">
                <a:pos x="connsiteX41659" y="connsiteY41659"/>
              </a:cxn>
              <a:cxn ang="0">
                <a:pos x="connsiteX41660" y="connsiteY41660"/>
              </a:cxn>
              <a:cxn ang="0">
                <a:pos x="connsiteX41661" y="connsiteY41661"/>
              </a:cxn>
              <a:cxn ang="0">
                <a:pos x="connsiteX41662" y="connsiteY41662"/>
              </a:cxn>
              <a:cxn ang="0">
                <a:pos x="connsiteX41663" y="connsiteY41663"/>
              </a:cxn>
              <a:cxn ang="0">
                <a:pos x="connsiteX41664" y="connsiteY41664"/>
              </a:cxn>
              <a:cxn ang="0">
                <a:pos x="connsiteX41665" y="connsiteY41665"/>
              </a:cxn>
              <a:cxn ang="0">
                <a:pos x="connsiteX41666" y="connsiteY41666"/>
              </a:cxn>
              <a:cxn ang="0">
                <a:pos x="connsiteX41667" y="connsiteY41667"/>
              </a:cxn>
              <a:cxn ang="0">
                <a:pos x="connsiteX41668" y="connsiteY41668"/>
              </a:cxn>
              <a:cxn ang="0">
                <a:pos x="connsiteX41669" y="connsiteY41669"/>
              </a:cxn>
              <a:cxn ang="0">
                <a:pos x="connsiteX41670" y="connsiteY41670"/>
              </a:cxn>
              <a:cxn ang="0">
                <a:pos x="connsiteX41671" y="connsiteY41671"/>
              </a:cxn>
              <a:cxn ang="0">
                <a:pos x="connsiteX41672" y="connsiteY41672"/>
              </a:cxn>
              <a:cxn ang="0">
                <a:pos x="connsiteX41673" y="connsiteY41673"/>
              </a:cxn>
              <a:cxn ang="0">
                <a:pos x="connsiteX41674" y="connsiteY41674"/>
              </a:cxn>
              <a:cxn ang="0">
                <a:pos x="connsiteX41675" y="connsiteY41675"/>
              </a:cxn>
              <a:cxn ang="0">
                <a:pos x="connsiteX41676" y="connsiteY41676"/>
              </a:cxn>
              <a:cxn ang="0">
                <a:pos x="connsiteX41677" y="connsiteY41677"/>
              </a:cxn>
              <a:cxn ang="0">
                <a:pos x="connsiteX41678" y="connsiteY41678"/>
              </a:cxn>
              <a:cxn ang="0">
                <a:pos x="connsiteX41679" y="connsiteY41679"/>
              </a:cxn>
              <a:cxn ang="0">
                <a:pos x="connsiteX41680" y="connsiteY41680"/>
              </a:cxn>
              <a:cxn ang="0">
                <a:pos x="connsiteX41681" y="connsiteY41681"/>
              </a:cxn>
              <a:cxn ang="0">
                <a:pos x="connsiteX41682" y="connsiteY41682"/>
              </a:cxn>
              <a:cxn ang="0">
                <a:pos x="connsiteX41683" y="connsiteY41683"/>
              </a:cxn>
              <a:cxn ang="0">
                <a:pos x="connsiteX41684" y="connsiteY41684"/>
              </a:cxn>
              <a:cxn ang="0">
                <a:pos x="connsiteX41685" y="connsiteY41685"/>
              </a:cxn>
              <a:cxn ang="0">
                <a:pos x="connsiteX41686" y="connsiteY41686"/>
              </a:cxn>
              <a:cxn ang="0">
                <a:pos x="connsiteX41687" y="connsiteY41687"/>
              </a:cxn>
              <a:cxn ang="0">
                <a:pos x="connsiteX41688" y="connsiteY41688"/>
              </a:cxn>
              <a:cxn ang="0">
                <a:pos x="connsiteX41689" y="connsiteY41689"/>
              </a:cxn>
              <a:cxn ang="0">
                <a:pos x="connsiteX41690" y="connsiteY41690"/>
              </a:cxn>
              <a:cxn ang="0">
                <a:pos x="connsiteX41691" y="connsiteY41691"/>
              </a:cxn>
              <a:cxn ang="0">
                <a:pos x="connsiteX41692" y="connsiteY41692"/>
              </a:cxn>
              <a:cxn ang="0">
                <a:pos x="connsiteX41693" y="connsiteY41693"/>
              </a:cxn>
              <a:cxn ang="0">
                <a:pos x="connsiteX41694" y="connsiteY41694"/>
              </a:cxn>
              <a:cxn ang="0">
                <a:pos x="connsiteX41695" y="connsiteY41695"/>
              </a:cxn>
              <a:cxn ang="0">
                <a:pos x="connsiteX41696" y="connsiteY41696"/>
              </a:cxn>
              <a:cxn ang="0">
                <a:pos x="connsiteX41697" y="connsiteY41697"/>
              </a:cxn>
              <a:cxn ang="0">
                <a:pos x="connsiteX41698" y="connsiteY41698"/>
              </a:cxn>
              <a:cxn ang="0">
                <a:pos x="connsiteX41699" y="connsiteY41699"/>
              </a:cxn>
              <a:cxn ang="0">
                <a:pos x="connsiteX41700" y="connsiteY41700"/>
              </a:cxn>
              <a:cxn ang="0">
                <a:pos x="connsiteX41701" y="connsiteY41701"/>
              </a:cxn>
              <a:cxn ang="0">
                <a:pos x="connsiteX41702" y="connsiteY41702"/>
              </a:cxn>
              <a:cxn ang="0">
                <a:pos x="connsiteX41703" y="connsiteY41703"/>
              </a:cxn>
              <a:cxn ang="0">
                <a:pos x="connsiteX41704" y="connsiteY41704"/>
              </a:cxn>
              <a:cxn ang="0">
                <a:pos x="connsiteX41705" y="connsiteY41705"/>
              </a:cxn>
              <a:cxn ang="0">
                <a:pos x="connsiteX41706" y="connsiteY41706"/>
              </a:cxn>
              <a:cxn ang="0">
                <a:pos x="connsiteX41707" y="connsiteY41707"/>
              </a:cxn>
              <a:cxn ang="0">
                <a:pos x="connsiteX41708" y="connsiteY41708"/>
              </a:cxn>
              <a:cxn ang="0">
                <a:pos x="connsiteX41709" y="connsiteY41709"/>
              </a:cxn>
              <a:cxn ang="0">
                <a:pos x="connsiteX41710" y="connsiteY41710"/>
              </a:cxn>
              <a:cxn ang="0">
                <a:pos x="connsiteX41711" y="connsiteY41711"/>
              </a:cxn>
              <a:cxn ang="0">
                <a:pos x="connsiteX41712" y="connsiteY41712"/>
              </a:cxn>
              <a:cxn ang="0">
                <a:pos x="connsiteX41713" y="connsiteY41713"/>
              </a:cxn>
              <a:cxn ang="0">
                <a:pos x="connsiteX41714" y="connsiteY41714"/>
              </a:cxn>
              <a:cxn ang="0">
                <a:pos x="connsiteX41715" y="connsiteY41715"/>
              </a:cxn>
              <a:cxn ang="0">
                <a:pos x="connsiteX41716" y="connsiteY41716"/>
              </a:cxn>
              <a:cxn ang="0">
                <a:pos x="connsiteX41717" y="connsiteY41717"/>
              </a:cxn>
              <a:cxn ang="0">
                <a:pos x="connsiteX41718" y="connsiteY41718"/>
              </a:cxn>
              <a:cxn ang="0">
                <a:pos x="connsiteX41719" y="connsiteY41719"/>
              </a:cxn>
              <a:cxn ang="0">
                <a:pos x="connsiteX41720" y="connsiteY41720"/>
              </a:cxn>
              <a:cxn ang="0">
                <a:pos x="connsiteX41721" y="connsiteY41721"/>
              </a:cxn>
              <a:cxn ang="0">
                <a:pos x="connsiteX41722" y="connsiteY41722"/>
              </a:cxn>
              <a:cxn ang="0">
                <a:pos x="connsiteX41723" y="connsiteY41723"/>
              </a:cxn>
              <a:cxn ang="0">
                <a:pos x="connsiteX41724" y="connsiteY41724"/>
              </a:cxn>
              <a:cxn ang="0">
                <a:pos x="connsiteX41725" y="connsiteY41725"/>
              </a:cxn>
              <a:cxn ang="0">
                <a:pos x="connsiteX41726" y="connsiteY41726"/>
              </a:cxn>
              <a:cxn ang="0">
                <a:pos x="connsiteX41727" y="connsiteY41727"/>
              </a:cxn>
              <a:cxn ang="0">
                <a:pos x="connsiteX41728" y="connsiteY41728"/>
              </a:cxn>
              <a:cxn ang="0">
                <a:pos x="connsiteX41729" y="connsiteY41729"/>
              </a:cxn>
              <a:cxn ang="0">
                <a:pos x="connsiteX41730" y="connsiteY41730"/>
              </a:cxn>
              <a:cxn ang="0">
                <a:pos x="connsiteX41731" y="connsiteY41731"/>
              </a:cxn>
              <a:cxn ang="0">
                <a:pos x="connsiteX41732" y="connsiteY41732"/>
              </a:cxn>
              <a:cxn ang="0">
                <a:pos x="connsiteX41733" y="connsiteY41733"/>
              </a:cxn>
              <a:cxn ang="0">
                <a:pos x="connsiteX41734" y="connsiteY41734"/>
              </a:cxn>
              <a:cxn ang="0">
                <a:pos x="connsiteX41735" y="connsiteY41735"/>
              </a:cxn>
              <a:cxn ang="0">
                <a:pos x="connsiteX41736" y="connsiteY41736"/>
              </a:cxn>
              <a:cxn ang="0">
                <a:pos x="connsiteX41737" y="connsiteY41737"/>
              </a:cxn>
              <a:cxn ang="0">
                <a:pos x="connsiteX41738" y="connsiteY41738"/>
              </a:cxn>
              <a:cxn ang="0">
                <a:pos x="connsiteX41739" y="connsiteY41739"/>
              </a:cxn>
              <a:cxn ang="0">
                <a:pos x="connsiteX41740" y="connsiteY41740"/>
              </a:cxn>
              <a:cxn ang="0">
                <a:pos x="connsiteX41741" y="connsiteY41741"/>
              </a:cxn>
              <a:cxn ang="0">
                <a:pos x="connsiteX41742" y="connsiteY41742"/>
              </a:cxn>
              <a:cxn ang="0">
                <a:pos x="connsiteX41743" y="connsiteY41743"/>
              </a:cxn>
              <a:cxn ang="0">
                <a:pos x="connsiteX41744" y="connsiteY41744"/>
              </a:cxn>
              <a:cxn ang="0">
                <a:pos x="connsiteX41745" y="connsiteY41745"/>
              </a:cxn>
              <a:cxn ang="0">
                <a:pos x="connsiteX41746" y="connsiteY41746"/>
              </a:cxn>
              <a:cxn ang="0">
                <a:pos x="connsiteX41747" y="connsiteY41747"/>
              </a:cxn>
              <a:cxn ang="0">
                <a:pos x="connsiteX41748" y="connsiteY41748"/>
              </a:cxn>
              <a:cxn ang="0">
                <a:pos x="connsiteX41749" y="connsiteY41749"/>
              </a:cxn>
              <a:cxn ang="0">
                <a:pos x="connsiteX41750" y="connsiteY41750"/>
              </a:cxn>
              <a:cxn ang="0">
                <a:pos x="connsiteX41751" y="connsiteY41751"/>
              </a:cxn>
              <a:cxn ang="0">
                <a:pos x="connsiteX41752" y="connsiteY41752"/>
              </a:cxn>
              <a:cxn ang="0">
                <a:pos x="connsiteX41753" y="connsiteY41753"/>
              </a:cxn>
              <a:cxn ang="0">
                <a:pos x="connsiteX41754" y="connsiteY41754"/>
              </a:cxn>
              <a:cxn ang="0">
                <a:pos x="connsiteX41755" y="connsiteY41755"/>
              </a:cxn>
              <a:cxn ang="0">
                <a:pos x="connsiteX41756" y="connsiteY41756"/>
              </a:cxn>
              <a:cxn ang="0">
                <a:pos x="connsiteX41757" y="connsiteY41757"/>
              </a:cxn>
              <a:cxn ang="0">
                <a:pos x="connsiteX41758" y="connsiteY41758"/>
              </a:cxn>
              <a:cxn ang="0">
                <a:pos x="connsiteX41759" y="connsiteY41759"/>
              </a:cxn>
              <a:cxn ang="0">
                <a:pos x="connsiteX41760" y="connsiteY41760"/>
              </a:cxn>
              <a:cxn ang="0">
                <a:pos x="connsiteX41761" y="connsiteY41761"/>
              </a:cxn>
              <a:cxn ang="0">
                <a:pos x="connsiteX41762" y="connsiteY41762"/>
              </a:cxn>
              <a:cxn ang="0">
                <a:pos x="connsiteX41763" y="connsiteY41763"/>
              </a:cxn>
              <a:cxn ang="0">
                <a:pos x="connsiteX41764" y="connsiteY41764"/>
              </a:cxn>
              <a:cxn ang="0">
                <a:pos x="connsiteX41765" y="connsiteY41765"/>
              </a:cxn>
              <a:cxn ang="0">
                <a:pos x="connsiteX41766" y="connsiteY41766"/>
              </a:cxn>
              <a:cxn ang="0">
                <a:pos x="connsiteX41767" y="connsiteY41767"/>
              </a:cxn>
              <a:cxn ang="0">
                <a:pos x="connsiteX41768" y="connsiteY41768"/>
              </a:cxn>
              <a:cxn ang="0">
                <a:pos x="connsiteX41769" y="connsiteY41769"/>
              </a:cxn>
              <a:cxn ang="0">
                <a:pos x="connsiteX41770" y="connsiteY41770"/>
              </a:cxn>
              <a:cxn ang="0">
                <a:pos x="connsiteX41771" y="connsiteY41771"/>
              </a:cxn>
              <a:cxn ang="0">
                <a:pos x="connsiteX41772" y="connsiteY41772"/>
              </a:cxn>
              <a:cxn ang="0">
                <a:pos x="connsiteX41773" y="connsiteY41773"/>
              </a:cxn>
              <a:cxn ang="0">
                <a:pos x="connsiteX41774" y="connsiteY41774"/>
              </a:cxn>
              <a:cxn ang="0">
                <a:pos x="connsiteX41775" y="connsiteY41775"/>
              </a:cxn>
              <a:cxn ang="0">
                <a:pos x="connsiteX41776" y="connsiteY41776"/>
              </a:cxn>
              <a:cxn ang="0">
                <a:pos x="connsiteX41777" y="connsiteY41777"/>
              </a:cxn>
              <a:cxn ang="0">
                <a:pos x="connsiteX41778" y="connsiteY41778"/>
              </a:cxn>
              <a:cxn ang="0">
                <a:pos x="connsiteX41779" y="connsiteY41779"/>
              </a:cxn>
              <a:cxn ang="0">
                <a:pos x="connsiteX41780" y="connsiteY41780"/>
              </a:cxn>
              <a:cxn ang="0">
                <a:pos x="connsiteX41781" y="connsiteY41781"/>
              </a:cxn>
              <a:cxn ang="0">
                <a:pos x="connsiteX41782" y="connsiteY41782"/>
              </a:cxn>
              <a:cxn ang="0">
                <a:pos x="connsiteX41783" y="connsiteY41783"/>
              </a:cxn>
              <a:cxn ang="0">
                <a:pos x="connsiteX41784" y="connsiteY41784"/>
              </a:cxn>
              <a:cxn ang="0">
                <a:pos x="connsiteX41785" y="connsiteY41785"/>
              </a:cxn>
              <a:cxn ang="0">
                <a:pos x="connsiteX41786" y="connsiteY41786"/>
              </a:cxn>
              <a:cxn ang="0">
                <a:pos x="connsiteX41787" y="connsiteY41787"/>
              </a:cxn>
              <a:cxn ang="0">
                <a:pos x="connsiteX41788" y="connsiteY41788"/>
              </a:cxn>
              <a:cxn ang="0">
                <a:pos x="connsiteX41789" y="connsiteY41789"/>
              </a:cxn>
              <a:cxn ang="0">
                <a:pos x="connsiteX41790" y="connsiteY41790"/>
              </a:cxn>
              <a:cxn ang="0">
                <a:pos x="connsiteX41791" y="connsiteY41791"/>
              </a:cxn>
              <a:cxn ang="0">
                <a:pos x="connsiteX41792" y="connsiteY41792"/>
              </a:cxn>
              <a:cxn ang="0">
                <a:pos x="connsiteX41793" y="connsiteY41793"/>
              </a:cxn>
              <a:cxn ang="0">
                <a:pos x="connsiteX41794" y="connsiteY41794"/>
              </a:cxn>
              <a:cxn ang="0">
                <a:pos x="connsiteX41795" y="connsiteY41795"/>
              </a:cxn>
              <a:cxn ang="0">
                <a:pos x="connsiteX41796" y="connsiteY41796"/>
              </a:cxn>
              <a:cxn ang="0">
                <a:pos x="connsiteX41797" y="connsiteY41797"/>
              </a:cxn>
              <a:cxn ang="0">
                <a:pos x="connsiteX41798" y="connsiteY41798"/>
              </a:cxn>
              <a:cxn ang="0">
                <a:pos x="connsiteX41799" y="connsiteY41799"/>
              </a:cxn>
              <a:cxn ang="0">
                <a:pos x="connsiteX41800" y="connsiteY41800"/>
              </a:cxn>
              <a:cxn ang="0">
                <a:pos x="connsiteX41801" y="connsiteY41801"/>
              </a:cxn>
              <a:cxn ang="0">
                <a:pos x="connsiteX41802" y="connsiteY41802"/>
              </a:cxn>
              <a:cxn ang="0">
                <a:pos x="connsiteX41803" y="connsiteY41803"/>
              </a:cxn>
              <a:cxn ang="0">
                <a:pos x="connsiteX41804" y="connsiteY41804"/>
              </a:cxn>
              <a:cxn ang="0">
                <a:pos x="connsiteX41805" y="connsiteY41805"/>
              </a:cxn>
              <a:cxn ang="0">
                <a:pos x="connsiteX41806" y="connsiteY41806"/>
              </a:cxn>
              <a:cxn ang="0">
                <a:pos x="connsiteX41807" y="connsiteY41807"/>
              </a:cxn>
              <a:cxn ang="0">
                <a:pos x="connsiteX41808" y="connsiteY41808"/>
              </a:cxn>
              <a:cxn ang="0">
                <a:pos x="connsiteX41809" y="connsiteY41809"/>
              </a:cxn>
              <a:cxn ang="0">
                <a:pos x="connsiteX41810" y="connsiteY41810"/>
              </a:cxn>
              <a:cxn ang="0">
                <a:pos x="connsiteX41811" y="connsiteY41811"/>
              </a:cxn>
              <a:cxn ang="0">
                <a:pos x="connsiteX41812" y="connsiteY41812"/>
              </a:cxn>
              <a:cxn ang="0">
                <a:pos x="connsiteX41813" y="connsiteY41813"/>
              </a:cxn>
              <a:cxn ang="0">
                <a:pos x="connsiteX41814" y="connsiteY41814"/>
              </a:cxn>
              <a:cxn ang="0">
                <a:pos x="connsiteX41815" y="connsiteY41815"/>
              </a:cxn>
              <a:cxn ang="0">
                <a:pos x="connsiteX41816" y="connsiteY41816"/>
              </a:cxn>
              <a:cxn ang="0">
                <a:pos x="connsiteX41817" y="connsiteY41817"/>
              </a:cxn>
              <a:cxn ang="0">
                <a:pos x="connsiteX41818" y="connsiteY41818"/>
              </a:cxn>
              <a:cxn ang="0">
                <a:pos x="connsiteX41819" y="connsiteY41819"/>
              </a:cxn>
              <a:cxn ang="0">
                <a:pos x="connsiteX41820" y="connsiteY41820"/>
              </a:cxn>
              <a:cxn ang="0">
                <a:pos x="connsiteX41821" y="connsiteY41821"/>
              </a:cxn>
              <a:cxn ang="0">
                <a:pos x="connsiteX41822" y="connsiteY41822"/>
              </a:cxn>
              <a:cxn ang="0">
                <a:pos x="connsiteX41823" y="connsiteY41823"/>
              </a:cxn>
              <a:cxn ang="0">
                <a:pos x="connsiteX41824" y="connsiteY41824"/>
              </a:cxn>
              <a:cxn ang="0">
                <a:pos x="connsiteX41825" y="connsiteY41825"/>
              </a:cxn>
              <a:cxn ang="0">
                <a:pos x="connsiteX41826" y="connsiteY41826"/>
              </a:cxn>
              <a:cxn ang="0">
                <a:pos x="connsiteX41827" y="connsiteY41827"/>
              </a:cxn>
              <a:cxn ang="0">
                <a:pos x="connsiteX41828" y="connsiteY41828"/>
              </a:cxn>
              <a:cxn ang="0">
                <a:pos x="connsiteX41829" y="connsiteY41829"/>
              </a:cxn>
              <a:cxn ang="0">
                <a:pos x="connsiteX41830" y="connsiteY41830"/>
              </a:cxn>
              <a:cxn ang="0">
                <a:pos x="connsiteX41831" y="connsiteY41831"/>
              </a:cxn>
              <a:cxn ang="0">
                <a:pos x="connsiteX41832" y="connsiteY41832"/>
              </a:cxn>
              <a:cxn ang="0">
                <a:pos x="connsiteX41833" y="connsiteY41833"/>
              </a:cxn>
              <a:cxn ang="0">
                <a:pos x="connsiteX41834" y="connsiteY41834"/>
              </a:cxn>
              <a:cxn ang="0">
                <a:pos x="connsiteX41835" y="connsiteY41835"/>
              </a:cxn>
              <a:cxn ang="0">
                <a:pos x="connsiteX41836" y="connsiteY41836"/>
              </a:cxn>
              <a:cxn ang="0">
                <a:pos x="connsiteX41837" y="connsiteY41837"/>
              </a:cxn>
              <a:cxn ang="0">
                <a:pos x="connsiteX41838" y="connsiteY41838"/>
              </a:cxn>
              <a:cxn ang="0">
                <a:pos x="connsiteX41839" y="connsiteY41839"/>
              </a:cxn>
              <a:cxn ang="0">
                <a:pos x="connsiteX41840" y="connsiteY41840"/>
              </a:cxn>
              <a:cxn ang="0">
                <a:pos x="connsiteX41841" y="connsiteY41841"/>
              </a:cxn>
              <a:cxn ang="0">
                <a:pos x="connsiteX41842" y="connsiteY41842"/>
              </a:cxn>
              <a:cxn ang="0">
                <a:pos x="connsiteX41843" y="connsiteY41843"/>
              </a:cxn>
              <a:cxn ang="0">
                <a:pos x="connsiteX41844" y="connsiteY41844"/>
              </a:cxn>
              <a:cxn ang="0">
                <a:pos x="connsiteX41845" y="connsiteY41845"/>
              </a:cxn>
              <a:cxn ang="0">
                <a:pos x="connsiteX41846" y="connsiteY41846"/>
              </a:cxn>
              <a:cxn ang="0">
                <a:pos x="connsiteX41847" y="connsiteY41847"/>
              </a:cxn>
              <a:cxn ang="0">
                <a:pos x="connsiteX41848" y="connsiteY41848"/>
              </a:cxn>
              <a:cxn ang="0">
                <a:pos x="connsiteX41849" y="connsiteY41849"/>
              </a:cxn>
              <a:cxn ang="0">
                <a:pos x="connsiteX41850" y="connsiteY41850"/>
              </a:cxn>
              <a:cxn ang="0">
                <a:pos x="connsiteX41851" y="connsiteY41851"/>
              </a:cxn>
              <a:cxn ang="0">
                <a:pos x="connsiteX41852" y="connsiteY41852"/>
              </a:cxn>
              <a:cxn ang="0">
                <a:pos x="connsiteX41853" y="connsiteY41853"/>
              </a:cxn>
              <a:cxn ang="0">
                <a:pos x="connsiteX41854" y="connsiteY41854"/>
              </a:cxn>
              <a:cxn ang="0">
                <a:pos x="connsiteX41855" y="connsiteY41855"/>
              </a:cxn>
              <a:cxn ang="0">
                <a:pos x="connsiteX41856" y="connsiteY41856"/>
              </a:cxn>
              <a:cxn ang="0">
                <a:pos x="connsiteX41857" y="connsiteY41857"/>
              </a:cxn>
              <a:cxn ang="0">
                <a:pos x="connsiteX41858" y="connsiteY41858"/>
              </a:cxn>
              <a:cxn ang="0">
                <a:pos x="connsiteX41859" y="connsiteY41859"/>
              </a:cxn>
              <a:cxn ang="0">
                <a:pos x="connsiteX41860" y="connsiteY41860"/>
              </a:cxn>
              <a:cxn ang="0">
                <a:pos x="connsiteX41861" y="connsiteY41861"/>
              </a:cxn>
              <a:cxn ang="0">
                <a:pos x="connsiteX41862" y="connsiteY41862"/>
              </a:cxn>
              <a:cxn ang="0">
                <a:pos x="connsiteX41863" y="connsiteY41863"/>
              </a:cxn>
              <a:cxn ang="0">
                <a:pos x="connsiteX41864" y="connsiteY41864"/>
              </a:cxn>
              <a:cxn ang="0">
                <a:pos x="connsiteX41865" y="connsiteY41865"/>
              </a:cxn>
              <a:cxn ang="0">
                <a:pos x="connsiteX41866" y="connsiteY41866"/>
              </a:cxn>
              <a:cxn ang="0">
                <a:pos x="connsiteX41867" y="connsiteY41867"/>
              </a:cxn>
              <a:cxn ang="0">
                <a:pos x="connsiteX41868" y="connsiteY41868"/>
              </a:cxn>
              <a:cxn ang="0">
                <a:pos x="connsiteX41869" y="connsiteY41869"/>
              </a:cxn>
              <a:cxn ang="0">
                <a:pos x="connsiteX41870" y="connsiteY41870"/>
              </a:cxn>
              <a:cxn ang="0">
                <a:pos x="connsiteX41871" y="connsiteY41871"/>
              </a:cxn>
              <a:cxn ang="0">
                <a:pos x="connsiteX41872" y="connsiteY41872"/>
              </a:cxn>
              <a:cxn ang="0">
                <a:pos x="connsiteX41873" y="connsiteY41873"/>
              </a:cxn>
              <a:cxn ang="0">
                <a:pos x="connsiteX41874" y="connsiteY41874"/>
              </a:cxn>
              <a:cxn ang="0">
                <a:pos x="connsiteX41875" y="connsiteY41875"/>
              </a:cxn>
              <a:cxn ang="0">
                <a:pos x="connsiteX41876" y="connsiteY41876"/>
              </a:cxn>
              <a:cxn ang="0">
                <a:pos x="connsiteX41877" y="connsiteY41877"/>
              </a:cxn>
              <a:cxn ang="0">
                <a:pos x="connsiteX41878" y="connsiteY41878"/>
              </a:cxn>
              <a:cxn ang="0">
                <a:pos x="connsiteX41879" y="connsiteY41879"/>
              </a:cxn>
              <a:cxn ang="0">
                <a:pos x="connsiteX41880" y="connsiteY41880"/>
              </a:cxn>
              <a:cxn ang="0">
                <a:pos x="connsiteX41881" y="connsiteY41881"/>
              </a:cxn>
              <a:cxn ang="0">
                <a:pos x="connsiteX41882" y="connsiteY41882"/>
              </a:cxn>
              <a:cxn ang="0">
                <a:pos x="connsiteX41883" y="connsiteY41883"/>
              </a:cxn>
              <a:cxn ang="0">
                <a:pos x="connsiteX41884" y="connsiteY41884"/>
              </a:cxn>
              <a:cxn ang="0">
                <a:pos x="connsiteX41885" y="connsiteY41885"/>
              </a:cxn>
              <a:cxn ang="0">
                <a:pos x="connsiteX41886" y="connsiteY41886"/>
              </a:cxn>
              <a:cxn ang="0">
                <a:pos x="connsiteX41887" y="connsiteY41887"/>
              </a:cxn>
              <a:cxn ang="0">
                <a:pos x="connsiteX41888" y="connsiteY41888"/>
              </a:cxn>
              <a:cxn ang="0">
                <a:pos x="connsiteX41889" y="connsiteY41889"/>
              </a:cxn>
              <a:cxn ang="0">
                <a:pos x="connsiteX41890" y="connsiteY41890"/>
              </a:cxn>
              <a:cxn ang="0">
                <a:pos x="connsiteX41891" y="connsiteY41891"/>
              </a:cxn>
              <a:cxn ang="0">
                <a:pos x="connsiteX41892" y="connsiteY41892"/>
              </a:cxn>
              <a:cxn ang="0">
                <a:pos x="connsiteX41893" y="connsiteY41893"/>
              </a:cxn>
              <a:cxn ang="0">
                <a:pos x="connsiteX41894" y="connsiteY41894"/>
              </a:cxn>
              <a:cxn ang="0">
                <a:pos x="connsiteX41895" y="connsiteY41895"/>
              </a:cxn>
              <a:cxn ang="0">
                <a:pos x="connsiteX41896" y="connsiteY41896"/>
              </a:cxn>
              <a:cxn ang="0">
                <a:pos x="connsiteX41897" y="connsiteY41897"/>
              </a:cxn>
              <a:cxn ang="0">
                <a:pos x="connsiteX41898" y="connsiteY41898"/>
              </a:cxn>
              <a:cxn ang="0">
                <a:pos x="connsiteX41899" y="connsiteY41899"/>
              </a:cxn>
              <a:cxn ang="0">
                <a:pos x="connsiteX41900" y="connsiteY41900"/>
              </a:cxn>
              <a:cxn ang="0">
                <a:pos x="connsiteX41901" y="connsiteY41901"/>
              </a:cxn>
              <a:cxn ang="0">
                <a:pos x="connsiteX41902" y="connsiteY41902"/>
              </a:cxn>
              <a:cxn ang="0">
                <a:pos x="connsiteX41903" y="connsiteY41903"/>
              </a:cxn>
              <a:cxn ang="0">
                <a:pos x="connsiteX41904" y="connsiteY41904"/>
              </a:cxn>
              <a:cxn ang="0">
                <a:pos x="connsiteX41905" y="connsiteY41905"/>
              </a:cxn>
              <a:cxn ang="0">
                <a:pos x="connsiteX41906" y="connsiteY41906"/>
              </a:cxn>
              <a:cxn ang="0">
                <a:pos x="connsiteX41907" y="connsiteY41907"/>
              </a:cxn>
              <a:cxn ang="0">
                <a:pos x="connsiteX41908" y="connsiteY41908"/>
              </a:cxn>
              <a:cxn ang="0">
                <a:pos x="connsiteX41909" y="connsiteY41909"/>
              </a:cxn>
              <a:cxn ang="0">
                <a:pos x="connsiteX41910" y="connsiteY41910"/>
              </a:cxn>
              <a:cxn ang="0">
                <a:pos x="connsiteX41911" y="connsiteY41911"/>
              </a:cxn>
              <a:cxn ang="0">
                <a:pos x="connsiteX41912" y="connsiteY41912"/>
              </a:cxn>
              <a:cxn ang="0">
                <a:pos x="connsiteX41913" y="connsiteY41913"/>
              </a:cxn>
              <a:cxn ang="0">
                <a:pos x="connsiteX41914" y="connsiteY41914"/>
              </a:cxn>
              <a:cxn ang="0">
                <a:pos x="connsiteX41915" y="connsiteY41915"/>
              </a:cxn>
              <a:cxn ang="0">
                <a:pos x="connsiteX41916" y="connsiteY41916"/>
              </a:cxn>
              <a:cxn ang="0">
                <a:pos x="connsiteX41917" y="connsiteY41917"/>
              </a:cxn>
              <a:cxn ang="0">
                <a:pos x="connsiteX41918" y="connsiteY41918"/>
              </a:cxn>
              <a:cxn ang="0">
                <a:pos x="connsiteX41919" y="connsiteY41919"/>
              </a:cxn>
              <a:cxn ang="0">
                <a:pos x="connsiteX41920" y="connsiteY41920"/>
              </a:cxn>
              <a:cxn ang="0">
                <a:pos x="connsiteX41921" y="connsiteY41921"/>
              </a:cxn>
              <a:cxn ang="0">
                <a:pos x="connsiteX41922" y="connsiteY41922"/>
              </a:cxn>
              <a:cxn ang="0">
                <a:pos x="connsiteX41923" y="connsiteY41923"/>
              </a:cxn>
              <a:cxn ang="0">
                <a:pos x="connsiteX41924" y="connsiteY41924"/>
              </a:cxn>
              <a:cxn ang="0">
                <a:pos x="connsiteX41925" y="connsiteY41925"/>
              </a:cxn>
              <a:cxn ang="0">
                <a:pos x="connsiteX41926" y="connsiteY41926"/>
              </a:cxn>
              <a:cxn ang="0">
                <a:pos x="connsiteX41927" y="connsiteY41927"/>
              </a:cxn>
              <a:cxn ang="0">
                <a:pos x="connsiteX41928" y="connsiteY41928"/>
              </a:cxn>
              <a:cxn ang="0">
                <a:pos x="connsiteX41929" y="connsiteY41929"/>
              </a:cxn>
              <a:cxn ang="0">
                <a:pos x="connsiteX41930" y="connsiteY41930"/>
              </a:cxn>
              <a:cxn ang="0">
                <a:pos x="connsiteX41931" y="connsiteY41931"/>
              </a:cxn>
              <a:cxn ang="0">
                <a:pos x="connsiteX41932" y="connsiteY41932"/>
              </a:cxn>
              <a:cxn ang="0">
                <a:pos x="connsiteX41933" y="connsiteY41933"/>
              </a:cxn>
              <a:cxn ang="0">
                <a:pos x="connsiteX41934" y="connsiteY41934"/>
              </a:cxn>
              <a:cxn ang="0">
                <a:pos x="connsiteX41935" y="connsiteY41935"/>
              </a:cxn>
              <a:cxn ang="0">
                <a:pos x="connsiteX41936" y="connsiteY41936"/>
              </a:cxn>
              <a:cxn ang="0">
                <a:pos x="connsiteX41937" y="connsiteY41937"/>
              </a:cxn>
              <a:cxn ang="0">
                <a:pos x="connsiteX41938" y="connsiteY41938"/>
              </a:cxn>
              <a:cxn ang="0">
                <a:pos x="connsiteX41939" y="connsiteY41939"/>
              </a:cxn>
              <a:cxn ang="0">
                <a:pos x="connsiteX41940" y="connsiteY41940"/>
              </a:cxn>
              <a:cxn ang="0">
                <a:pos x="connsiteX41941" y="connsiteY41941"/>
              </a:cxn>
              <a:cxn ang="0">
                <a:pos x="connsiteX41942" y="connsiteY41942"/>
              </a:cxn>
              <a:cxn ang="0">
                <a:pos x="connsiteX41943" y="connsiteY41943"/>
              </a:cxn>
              <a:cxn ang="0">
                <a:pos x="connsiteX41944" y="connsiteY41944"/>
              </a:cxn>
              <a:cxn ang="0">
                <a:pos x="connsiteX41945" y="connsiteY41945"/>
              </a:cxn>
              <a:cxn ang="0">
                <a:pos x="connsiteX41946" y="connsiteY41946"/>
              </a:cxn>
              <a:cxn ang="0">
                <a:pos x="connsiteX41947" y="connsiteY41947"/>
              </a:cxn>
              <a:cxn ang="0">
                <a:pos x="connsiteX41948" y="connsiteY41948"/>
              </a:cxn>
              <a:cxn ang="0">
                <a:pos x="connsiteX41949" y="connsiteY41949"/>
              </a:cxn>
              <a:cxn ang="0">
                <a:pos x="connsiteX41950" y="connsiteY41950"/>
              </a:cxn>
              <a:cxn ang="0">
                <a:pos x="connsiteX41951" y="connsiteY41951"/>
              </a:cxn>
              <a:cxn ang="0">
                <a:pos x="connsiteX41952" y="connsiteY41952"/>
              </a:cxn>
              <a:cxn ang="0">
                <a:pos x="connsiteX41953" y="connsiteY41953"/>
              </a:cxn>
              <a:cxn ang="0">
                <a:pos x="connsiteX41954" y="connsiteY41954"/>
              </a:cxn>
              <a:cxn ang="0">
                <a:pos x="connsiteX41955" y="connsiteY41955"/>
              </a:cxn>
              <a:cxn ang="0">
                <a:pos x="connsiteX41956" y="connsiteY41956"/>
              </a:cxn>
              <a:cxn ang="0">
                <a:pos x="connsiteX41957" y="connsiteY41957"/>
              </a:cxn>
              <a:cxn ang="0">
                <a:pos x="connsiteX41958" y="connsiteY41958"/>
              </a:cxn>
              <a:cxn ang="0">
                <a:pos x="connsiteX41959" y="connsiteY41959"/>
              </a:cxn>
              <a:cxn ang="0">
                <a:pos x="connsiteX41960" y="connsiteY41960"/>
              </a:cxn>
              <a:cxn ang="0">
                <a:pos x="connsiteX41961" y="connsiteY41961"/>
              </a:cxn>
              <a:cxn ang="0">
                <a:pos x="connsiteX41962" y="connsiteY41962"/>
              </a:cxn>
              <a:cxn ang="0">
                <a:pos x="connsiteX41963" y="connsiteY41963"/>
              </a:cxn>
              <a:cxn ang="0">
                <a:pos x="connsiteX41964" y="connsiteY41964"/>
              </a:cxn>
              <a:cxn ang="0">
                <a:pos x="connsiteX41965" y="connsiteY41965"/>
              </a:cxn>
              <a:cxn ang="0">
                <a:pos x="connsiteX41966" y="connsiteY41966"/>
              </a:cxn>
              <a:cxn ang="0">
                <a:pos x="connsiteX41967" y="connsiteY41967"/>
              </a:cxn>
              <a:cxn ang="0">
                <a:pos x="connsiteX41968" y="connsiteY41968"/>
              </a:cxn>
              <a:cxn ang="0">
                <a:pos x="connsiteX41969" y="connsiteY41969"/>
              </a:cxn>
              <a:cxn ang="0">
                <a:pos x="connsiteX41970" y="connsiteY41970"/>
              </a:cxn>
              <a:cxn ang="0">
                <a:pos x="connsiteX41971" y="connsiteY41971"/>
              </a:cxn>
              <a:cxn ang="0">
                <a:pos x="connsiteX41972" y="connsiteY41972"/>
              </a:cxn>
              <a:cxn ang="0">
                <a:pos x="connsiteX41973" y="connsiteY41973"/>
              </a:cxn>
              <a:cxn ang="0">
                <a:pos x="connsiteX41974" y="connsiteY41974"/>
              </a:cxn>
              <a:cxn ang="0">
                <a:pos x="connsiteX41975" y="connsiteY41975"/>
              </a:cxn>
              <a:cxn ang="0">
                <a:pos x="connsiteX41976" y="connsiteY41976"/>
              </a:cxn>
              <a:cxn ang="0">
                <a:pos x="connsiteX41977" y="connsiteY41977"/>
              </a:cxn>
              <a:cxn ang="0">
                <a:pos x="connsiteX41978" y="connsiteY41978"/>
              </a:cxn>
              <a:cxn ang="0">
                <a:pos x="connsiteX41979" y="connsiteY41979"/>
              </a:cxn>
              <a:cxn ang="0">
                <a:pos x="connsiteX41980" y="connsiteY41980"/>
              </a:cxn>
              <a:cxn ang="0">
                <a:pos x="connsiteX41981" y="connsiteY41981"/>
              </a:cxn>
              <a:cxn ang="0">
                <a:pos x="connsiteX41982" y="connsiteY41982"/>
              </a:cxn>
              <a:cxn ang="0">
                <a:pos x="connsiteX41983" y="connsiteY41983"/>
              </a:cxn>
              <a:cxn ang="0">
                <a:pos x="connsiteX41984" y="connsiteY41984"/>
              </a:cxn>
              <a:cxn ang="0">
                <a:pos x="connsiteX41985" y="connsiteY41985"/>
              </a:cxn>
              <a:cxn ang="0">
                <a:pos x="connsiteX41986" y="connsiteY41986"/>
              </a:cxn>
              <a:cxn ang="0">
                <a:pos x="connsiteX41987" y="connsiteY41987"/>
              </a:cxn>
              <a:cxn ang="0">
                <a:pos x="connsiteX41988" y="connsiteY41988"/>
              </a:cxn>
              <a:cxn ang="0">
                <a:pos x="connsiteX41989" y="connsiteY41989"/>
              </a:cxn>
              <a:cxn ang="0">
                <a:pos x="connsiteX41990" y="connsiteY41990"/>
              </a:cxn>
              <a:cxn ang="0">
                <a:pos x="connsiteX41991" y="connsiteY41991"/>
              </a:cxn>
              <a:cxn ang="0">
                <a:pos x="connsiteX41992" y="connsiteY41992"/>
              </a:cxn>
              <a:cxn ang="0">
                <a:pos x="connsiteX41993" y="connsiteY41993"/>
              </a:cxn>
              <a:cxn ang="0">
                <a:pos x="connsiteX41994" y="connsiteY41994"/>
              </a:cxn>
              <a:cxn ang="0">
                <a:pos x="connsiteX41995" y="connsiteY41995"/>
              </a:cxn>
              <a:cxn ang="0">
                <a:pos x="connsiteX41996" y="connsiteY41996"/>
              </a:cxn>
              <a:cxn ang="0">
                <a:pos x="connsiteX41997" y="connsiteY41997"/>
              </a:cxn>
              <a:cxn ang="0">
                <a:pos x="connsiteX41998" y="connsiteY41998"/>
              </a:cxn>
              <a:cxn ang="0">
                <a:pos x="connsiteX41999" y="connsiteY41999"/>
              </a:cxn>
              <a:cxn ang="0">
                <a:pos x="connsiteX42000" y="connsiteY42000"/>
              </a:cxn>
              <a:cxn ang="0">
                <a:pos x="connsiteX42001" y="connsiteY42001"/>
              </a:cxn>
              <a:cxn ang="0">
                <a:pos x="connsiteX42002" y="connsiteY42002"/>
              </a:cxn>
              <a:cxn ang="0">
                <a:pos x="connsiteX42003" y="connsiteY42003"/>
              </a:cxn>
              <a:cxn ang="0">
                <a:pos x="connsiteX42004" y="connsiteY42004"/>
              </a:cxn>
              <a:cxn ang="0">
                <a:pos x="connsiteX42005" y="connsiteY42005"/>
              </a:cxn>
              <a:cxn ang="0">
                <a:pos x="connsiteX42006" y="connsiteY42006"/>
              </a:cxn>
              <a:cxn ang="0">
                <a:pos x="connsiteX42007" y="connsiteY42007"/>
              </a:cxn>
              <a:cxn ang="0">
                <a:pos x="connsiteX42008" y="connsiteY42008"/>
              </a:cxn>
              <a:cxn ang="0">
                <a:pos x="connsiteX42009" y="connsiteY42009"/>
              </a:cxn>
              <a:cxn ang="0">
                <a:pos x="connsiteX42010" y="connsiteY42010"/>
              </a:cxn>
              <a:cxn ang="0">
                <a:pos x="connsiteX42011" y="connsiteY42011"/>
              </a:cxn>
              <a:cxn ang="0">
                <a:pos x="connsiteX42012" y="connsiteY42012"/>
              </a:cxn>
              <a:cxn ang="0">
                <a:pos x="connsiteX42013" y="connsiteY42013"/>
              </a:cxn>
              <a:cxn ang="0">
                <a:pos x="connsiteX42014" y="connsiteY42014"/>
              </a:cxn>
              <a:cxn ang="0">
                <a:pos x="connsiteX42015" y="connsiteY42015"/>
              </a:cxn>
              <a:cxn ang="0">
                <a:pos x="connsiteX42016" y="connsiteY42016"/>
              </a:cxn>
              <a:cxn ang="0">
                <a:pos x="connsiteX42017" y="connsiteY42017"/>
              </a:cxn>
              <a:cxn ang="0">
                <a:pos x="connsiteX42018" y="connsiteY42018"/>
              </a:cxn>
              <a:cxn ang="0">
                <a:pos x="connsiteX42019" y="connsiteY42019"/>
              </a:cxn>
              <a:cxn ang="0">
                <a:pos x="connsiteX42020" y="connsiteY42020"/>
              </a:cxn>
              <a:cxn ang="0">
                <a:pos x="connsiteX42021" y="connsiteY42021"/>
              </a:cxn>
              <a:cxn ang="0">
                <a:pos x="connsiteX42022" y="connsiteY42022"/>
              </a:cxn>
              <a:cxn ang="0">
                <a:pos x="connsiteX42023" y="connsiteY42023"/>
              </a:cxn>
              <a:cxn ang="0">
                <a:pos x="connsiteX42024" y="connsiteY42024"/>
              </a:cxn>
              <a:cxn ang="0">
                <a:pos x="connsiteX42025" y="connsiteY42025"/>
              </a:cxn>
              <a:cxn ang="0">
                <a:pos x="connsiteX42026" y="connsiteY42026"/>
              </a:cxn>
              <a:cxn ang="0">
                <a:pos x="connsiteX42027" y="connsiteY42027"/>
              </a:cxn>
              <a:cxn ang="0">
                <a:pos x="connsiteX42028" y="connsiteY42028"/>
              </a:cxn>
              <a:cxn ang="0">
                <a:pos x="connsiteX42029" y="connsiteY42029"/>
              </a:cxn>
              <a:cxn ang="0">
                <a:pos x="connsiteX42030" y="connsiteY42030"/>
              </a:cxn>
              <a:cxn ang="0">
                <a:pos x="connsiteX42031" y="connsiteY42031"/>
              </a:cxn>
              <a:cxn ang="0">
                <a:pos x="connsiteX42032" y="connsiteY42032"/>
              </a:cxn>
              <a:cxn ang="0">
                <a:pos x="connsiteX42033" y="connsiteY42033"/>
              </a:cxn>
              <a:cxn ang="0">
                <a:pos x="connsiteX42034" y="connsiteY42034"/>
              </a:cxn>
              <a:cxn ang="0">
                <a:pos x="connsiteX42035" y="connsiteY42035"/>
              </a:cxn>
              <a:cxn ang="0">
                <a:pos x="connsiteX42036" y="connsiteY42036"/>
              </a:cxn>
              <a:cxn ang="0">
                <a:pos x="connsiteX42037" y="connsiteY42037"/>
              </a:cxn>
              <a:cxn ang="0">
                <a:pos x="connsiteX42038" y="connsiteY42038"/>
              </a:cxn>
              <a:cxn ang="0">
                <a:pos x="connsiteX42039" y="connsiteY42039"/>
              </a:cxn>
              <a:cxn ang="0">
                <a:pos x="connsiteX42040" y="connsiteY42040"/>
              </a:cxn>
              <a:cxn ang="0">
                <a:pos x="connsiteX42041" y="connsiteY42041"/>
              </a:cxn>
              <a:cxn ang="0">
                <a:pos x="connsiteX42042" y="connsiteY42042"/>
              </a:cxn>
              <a:cxn ang="0">
                <a:pos x="connsiteX42043" y="connsiteY42043"/>
              </a:cxn>
              <a:cxn ang="0">
                <a:pos x="connsiteX42044" y="connsiteY42044"/>
              </a:cxn>
              <a:cxn ang="0">
                <a:pos x="connsiteX42045" y="connsiteY42045"/>
              </a:cxn>
              <a:cxn ang="0">
                <a:pos x="connsiteX42046" y="connsiteY42046"/>
              </a:cxn>
              <a:cxn ang="0">
                <a:pos x="connsiteX42047" y="connsiteY42047"/>
              </a:cxn>
              <a:cxn ang="0">
                <a:pos x="connsiteX42048" y="connsiteY42048"/>
              </a:cxn>
              <a:cxn ang="0">
                <a:pos x="connsiteX42049" y="connsiteY42049"/>
              </a:cxn>
              <a:cxn ang="0">
                <a:pos x="connsiteX42050" y="connsiteY42050"/>
              </a:cxn>
              <a:cxn ang="0">
                <a:pos x="connsiteX42051" y="connsiteY42051"/>
              </a:cxn>
              <a:cxn ang="0">
                <a:pos x="connsiteX42052" y="connsiteY42052"/>
              </a:cxn>
              <a:cxn ang="0">
                <a:pos x="connsiteX42053" y="connsiteY42053"/>
              </a:cxn>
              <a:cxn ang="0">
                <a:pos x="connsiteX42054" y="connsiteY42054"/>
              </a:cxn>
              <a:cxn ang="0">
                <a:pos x="connsiteX42055" y="connsiteY42055"/>
              </a:cxn>
              <a:cxn ang="0">
                <a:pos x="connsiteX42056" y="connsiteY42056"/>
              </a:cxn>
              <a:cxn ang="0">
                <a:pos x="connsiteX42057" y="connsiteY42057"/>
              </a:cxn>
              <a:cxn ang="0">
                <a:pos x="connsiteX42058" y="connsiteY42058"/>
              </a:cxn>
              <a:cxn ang="0">
                <a:pos x="connsiteX42059" y="connsiteY42059"/>
              </a:cxn>
              <a:cxn ang="0">
                <a:pos x="connsiteX42060" y="connsiteY42060"/>
              </a:cxn>
              <a:cxn ang="0">
                <a:pos x="connsiteX42061" y="connsiteY42061"/>
              </a:cxn>
              <a:cxn ang="0">
                <a:pos x="connsiteX42062" y="connsiteY42062"/>
              </a:cxn>
              <a:cxn ang="0">
                <a:pos x="connsiteX42063" y="connsiteY42063"/>
              </a:cxn>
              <a:cxn ang="0">
                <a:pos x="connsiteX42064" y="connsiteY42064"/>
              </a:cxn>
              <a:cxn ang="0">
                <a:pos x="connsiteX42065" y="connsiteY42065"/>
              </a:cxn>
              <a:cxn ang="0">
                <a:pos x="connsiteX42066" y="connsiteY42066"/>
              </a:cxn>
              <a:cxn ang="0">
                <a:pos x="connsiteX42067" y="connsiteY42067"/>
              </a:cxn>
              <a:cxn ang="0">
                <a:pos x="connsiteX42068" y="connsiteY42068"/>
              </a:cxn>
              <a:cxn ang="0">
                <a:pos x="connsiteX42069" y="connsiteY42069"/>
              </a:cxn>
              <a:cxn ang="0">
                <a:pos x="connsiteX42070" y="connsiteY42070"/>
              </a:cxn>
              <a:cxn ang="0">
                <a:pos x="connsiteX42071" y="connsiteY42071"/>
              </a:cxn>
              <a:cxn ang="0">
                <a:pos x="connsiteX42072" y="connsiteY42072"/>
              </a:cxn>
              <a:cxn ang="0">
                <a:pos x="connsiteX42073" y="connsiteY42073"/>
              </a:cxn>
              <a:cxn ang="0">
                <a:pos x="connsiteX42074" y="connsiteY42074"/>
              </a:cxn>
              <a:cxn ang="0">
                <a:pos x="connsiteX42075" y="connsiteY42075"/>
              </a:cxn>
              <a:cxn ang="0">
                <a:pos x="connsiteX42076" y="connsiteY42076"/>
              </a:cxn>
              <a:cxn ang="0">
                <a:pos x="connsiteX42077" y="connsiteY42077"/>
              </a:cxn>
              <a:cxn ang="0">
                <a:pos x="connsiteX42078" y="connsiteY42078"/>
              </a:cxn>
              <a:cxn ang="0">
                <a:pos x="connsiteX42079" y="connsiteY42079"/>
              </a:cxn>
              <a:cxn ang="0">
                <a:pos x="connsiteX42080" y="connsiteY42080"/>
              </a:cxn>
              <a:cxn ang="0">
                <a:pos x="connsiteX42081" y="connsiteY42081"/>
              </a:cxn>
              <a:cxn ang="0">
                <a:pos x="connsiteX42082" y="connsiteY42082"/>
              </a:cxn>
              <a:cxn ang="0">
                <a:pos x="connsiteX42083" y="connsiteY42083"/>
              </a:cxn>
              <a:cxn ang="0">
                <a:pos x="connsiteX42084" y="connsiteY42084"/>
              </a:cxn>
              <a:cxn ang="0">
                <a:pos x="connsiteX42085" y="connsiteY42085"/>
              </a:cxn>
              <a:cxn ang="0">
                <a:pos x="connsiteX42086" y="connsiteY42086"/>
              </a:cxn>
              <a:cxn ang="0">
                <a:pos x="connsiteX42087" y="connsiteY42087"/>
              </a:cxn>
              <a:cxn ang="0">
                <a:pos x="connsiteX42088" y="connsiteY42088"/>
              </a:cxn>
              <a:cxn ang="0">
                <a:pos x="connsiteX42089" y="connsiteY42089"/>
              </a:cxn>
              <a:cxn ang="0">
                <a:pos x="connsiteX42090" y="connsiteY42090"/>
              </a:cxn>
              <a:cxn ang="0">
                <a:pos x="connsiteX42091" y="connsiteY42091"/>
              </a:cxn>
              <a:cxn ang="0">
                <a:pos x="connsiteX42092" y="connsiteY42092"/>
              </a:cxn>
              <a:cxn ang="0">
                <a:pos x="connsiteX42093" y="connsiteY42093"/>
              </a:cxn>
              <a:cxn ang="0">
                <a:pos x="connsiteX42094" y="connsiteY42094"/>
              </a:cxn>
              <a:cxn ang="0">
                <a:pos x="connsiteX42095" y="connsiteY42095"/>
              </a:cxn>
              <a:cxn ang="0">
                <a:pos x="connsiteX42096" y="connsiteY42096"/>
              </a:cxn>
              <a:cxn ang="0">
                <a:pos x="connsiteX42097" y="connsiteY42097"/>
              </a:cxn>
              <a:cxn ang="0">
                <a:pos x="connsiteX42098" y="connsiteY42098"/>
              </a:cxn>
              <a:cxn ang="0">
                <a:pos x="connsiteX42099" y="connsiteY42099"/>
              </a:cxn>
              <a:cxn ang="0">
                <a:pos x="connsiteX42100" y="connsiteY42100"/>
              </a:cxn>
              <a:cxn ang="0">
                <a:pos x="connsiteX42101" y="connsiteY42101"/>
              </a:cxn>
              <a:cxn ang="0">
                <a:pos x="connsiteX42102" y="connsiteY42102"/>
              </a:cxn>
              <a:cxn ang="0">
                <a:pos x="connsiteX42103" y="connsiteY42103"/>
              </a:cxn>
              <a:cxn ang="0">
                <a:pos x="connsiteX42104" y="connsiteY42104"/>
              </a:cxn>
              <a:cxn ang="0">
                <a:pos x="connsiteX42105" y="connsiteY42105"/>
              </a:cxn>
              <a:cxn ang="0">
                <a:pos x="connsiteX42106" y="connsiteY42106"/>
              </a:cxn>
              <a:cxn ang="0">
                <a:pos x="connsiteX42107" y="connsiteY42107"/>
              </a:cxn>
              <a:cxn ang="0">
                <a:pos x="connsiteX42108" y="connsiteY42108"/>
              </a:cxn>
              <a:cxn ang="0">
                <a:pos x="connsiteX42109" y="connsiteY42109"/>
              </a:cxn>
              <a:cxn ang="0">
                <a:pos x="connsiteX42110" y="connsiteY42110"/>
              </a:cxn>
              <a:cxn ang="0">
                <a:pos x="connsiteX42111" y="connsiteY42111"/>
              </a:cxn>
              <a:cxn ang="0">
                <a:pos x="connsiteX42112" y="connsiteY42112"/>
              </a:cxn>
              <a:cxn ang="0">
                <a:pos x="connsiteX42113" y="connsiteY42113"/>
              </a:cxn>
              <a:cxn ang="0">
                <a:pos x="connsiteX42114" y="connsiteY42114"/>
              </a:cxn>
              <a:cxn ang="0">
                <a:pos x="connsiteX42115" y="connsiteY42115"/>
              </a:cxn>
              <a:cxn ang="0">
                <a:pos x="connsiteX42116" y="connsiteY42116"/>
              </a:cxn>
              <a:cxn ang="0">
                <a:pos x="connsiteX42117" y="connsiteY42117"/>
              </a:cxn>
              <a:cxn ang="0">
                <a:pos x="connsiteX42118" y="connsiteY42118"/>
              </a:cxn>
              <a:cxn ang="0">
                <a:pos x="connsiteX42119" y="connsiteY42119"/>
              </a:cxn>
              <a:cxn ang="0">
                <a:pos x="connsiteX42120" y="connsiteY42120"/>
              </a:cxn>
              <a:cxn ang="0">
                <a:pos x="connsiteX42121" y="connsiteY42121"/>
              </a:cxn>
              <a:cxn ang="0">
                <a:pos x="connsiteX42122" y="connsiteY42122"/>
              </a:cxn>
              <a:cxn ang="0">
                <a:pos x="connsiteX42123" y="connsiteY42123"/>
              </a:cxn>
              <a:cxn ang="0">
                <a:pos x="connsiteX42124" y="connsiteY42124"/>
              </a:cxn>
              <a:cxn ang="0">
                <a:pos x="connsiteX42125" y="connsiteY42125"/>
              </a:cxn>
              <a:cxn ang="0">
                <a:pos x="connsiteX42126" y="connsiteY42126"/>
              </a:cxn>
              <a:cxn ang="0">
                <a:pos x="connsiteX42127" y="connsiteY42127"/>
              </a:cxn>
              <a:cxn ang="0">
                <a:pos x="connsiteX42128" y="connsiteY42128"/>
              </a:cxn>
              <a:cxn ang="0">
                <a:pos x="connsiteX42129" y="connsiteY42129"/>
              </a:cxn>
              <a:cxn ang="0">
                <a:pos x="connsiteX42130" y="connsiteY42130"/>
              </a:cxn>
              <a:cxn ang="0">
                <a:pos x="connsiteX42131" y="connsiteY42131"/>
              </a:cxn>
              <a:cxn ang="0">
                <a:pos x="connsiteX42132" y="connsiteY42132"/>
              </a:cxn>
              <a:cxn ang="0">
                <a:pos x="connsiteX42133" y="connsiteY42133"/>
              </a:cxn>
              <a:cxn ang="0">
                <a:pos x="connsiteX42134" y="connsiteY42134"/>
              </a:cxn>
              <a:cxn ang="0">
                <a:pos x="connsiteX42135" y="connsiteY42135"/>
              </a:cxn>
              <a:cxn ang="0">
                <a:pos x="connsiteX42136" y="connsiteY42136"/>
              </a:cxn>
              <a:cxn ang="0">
                <a:pos x="connsiteX42137" y="connsiteY42137"/>
              </a:cxn>
              <a:cxn ang="0">
                <a:pos x="connsiteX42138" y="connsiteY42138"/>
              </a:cxn>
              <a:cxn ang="0">
                <a:pos x="connsiteX42139" y="connsiteY42139"/>
              </a:cxn>
              <a:cxn ang="0">
                <a:pos x="connsiteX42140" y="connsiteY42140"/>
              </a:cxn>
              <a:cxn ang="0">
                <a:pos x="connsiteX42141" y="connsiteY42141"/>
              </a:cxn>
              <a:cxn ang="0">
                <a:pos x="connsiteX42142" y="connsiteY42142"/>
              </a:cxn>
              <a:cxn ang="0">
                <a:pos x="connsiteX42143" y="connsiteY42143"/>
              </a:cxn>
              <a:cxn ang="0">
                <a:pos x="connsiteX42144" y="connsiteY42144"/>
              </a:cxn>
              <a:cxn ang="0">
                <a:pos x="connsiteX42145" y="connsiteY42145"/>
              </a:cxn>
              <a:cxn ang="0">
                <a:pos x="connsiteX42146" y="connsiteY42146"/>
              </a:cxn>
              <a:cxn ang="0">
                <a:pos x="connsiteX42147" y="connsiteY42147"/>
              </a:cxn>
              <a:cxn ang="0">
                <a:pos x="connsiteX42148" y="connsiteY42148"/>
              </a:cxn>
              <a:cxn ang="0">
                <a:pos x="connsiteX42149" y="connsiteY42149"/>
              </a:cxn>
              <a:cxn ang="0">
                <a:pos x="connsiteX42150" y="connsiteY42150"/>
              </a:cxn>
              <a:cxn ang="0">
                <a:pos x="connsiteX42151" y="connsiteY42151"/>
              </a:cxn>
              <a:cxn ang="0">
                <a:pos x="connsiteX42152" y="connsiteY42152"/>
              </a:cxn>
              <a:cxn ang="0">
                <a:pos x="connsiteX42153" y="connsiteY42153"/>
              </a:cxn>
              <a:cxn ang="0">
                <a:pos x="connsiteX42154" y="connsiteY42154"/>
              </a:cxn>
              <a:cxn ang="0">
                <a:pos x="connsiteX42155" y="connsiteY42155"/>
              </a:cxn>
              <a:cxn ang="0">
                <a:pos x="connsiteX42156" y="connsiteY42156"/>
              </a:cxn>
              <a:cxn ang="0">
                <a:pos x="connsiteX42157" y="connsiteY42157"/>
              </a:cxn>
              <a:cxn ang="0">
                <a:pos x="connsiteX42158" y="connsiteY42158"/>
              </a:cxn>
              <a:cxn ang="0">
                <a:pos x="connsiteX42159" y="connsiteY42159"/>
              </a:cxn>
              <a:cxn ang="0">
                <a:pos x="connsiteX42160" y="connsiteY42160"/>
              </a:cxn>
              <a:cxn ang="0">
                <a:pos x="connsiteX42161" y="connsiteY42161"/>
              </a:cxn>
              <a:cxn ang="0">
                <a:pos x="connsiteX42162" y="connsiteY42162"/>
              </a:cxn>
              <a:cxn ang="0">
                <a:pos x="connsiteX42163" y="connsiteY42163"/>
              </a:cxn>
              <a:cxn ang="0">
                <a:pos x="connsiteX42164" y="connsiteY42164"/>
              </a:cxn>
              <a:cxn ang="0">
                <a:pos x="connsiteX42165" y="connsiteY42165"/>
              </a:cxn>
              <a:cxn ang="0">
                <a:pos x="connsiteX42166" y="connsiteY42166"/>
              </a:cxn>
              <a:cxn ang="0">
                <a:pos x="connsiteX42167" y="connsiteY42167"/>
              </a:cxn>
              <a:cxn ang="0">
                <a:pos x="connsiteX42168" y="connsiteY42168"/>
              </a:cxn>
              <a:cxn ang="0">
                <a:pos x="connsiteX42169" y="connsiteY42169"/>
              </a:cxn>
              <a:cxn ang="0">
                <a:pos x="connsiteX42170" y="connsiteY42170"/>
              </a:cxn>
              <a:cxn ang="0">
                <a:pos x="connsiteX42171" y="connsiteY42171"/>
              </a:cxn>
              <a:cxn ang="0">
                <a:pos x="connsiteX42172" y="connsiteY42172"/>
              </a:cxn>
              <a:cxn ang="0">
                <a:pos x="connsiteX42173" y="connsiteY42173"/>
              </a:cxn>
              <a:cxn ang="0">
                <a:pos x="connsiteX42174" y="connsiteY42174"/>
              </a:cxn>
              <a:cxn ang="0">
                <a:pos x="connsiteX42175" y="connsiteY42175"/>
              </a:cxn>
              <a:cxn ang="0">
                <a:pos x="connsiteX42176" y="connsiteY42176"/>
              </a:cxn>
              <a:cxn ang="0">
                <a:pos x="connsiteX42177" y="connsiteY42177"/>
              </a:cxn>
              <a:cxn ang="0">
                <a:pos x="connsiteX42178" y="connsiteY42178"/>
              </a:cxn>
              <a:cxn ang="0">
                <a:pos x="connsiteX42179" y="connsiteY42179"/>
              </a:cxn>
              <a:cxn ang="0">
                <a:pos x="connsiteX42180" y="connsiteY42180"/>
              </a:cxn>
              <a:cxn ang="0">
                <a:pos x="connsiteX42181" y="connsiteY42181"/>
              </a:cxn>
              <a:cxn ang="0">
                <a:pos x="connsiteX42182" y="connsiteY42182"/>
              </a:cxn>
              <a:cxn ang="0">
                <a:pos x="connsiteX42183" y="connsiteY42183"/>
              </a:cxn>
              <a:cxn ang="0">
                <a:pos x="connsiteX42184" y="connsiteY42184"/>
              </a:cxn>
              <a:cxn ang="0">
                <a:pos x="connsiteX42185" y="connsiteY42185"/>
              </a:cxn>
              <a:cxn ang="0">
                <a:pos x="connsiteX42186" y="connsiteY42186"/>
              </a:cxn>
              <a:cxn ang="0">
                <a:pos x="connsiteX42187" y="connsiteY42187"/>
              </a:cxn>
              <a:cxn ang="0">
                <a:pos x="connsiteX42188" y="connsiteY42188"/>
              </a:cxn>
              <a:cxn ang="0">
                <a:pos x="connsiteX42189" y="connsiteY42189"/>
              </a:cxn>
              <a:cxn ang="0">
                <a:pos x="connsiteX42190" y="connsiteY42190"/>
              </a:cxn>
              <a:cxn ang="0">
                <a:pos x="connsiteX42191" y="connsiteY42191"/>
              </a:cxn>
              <a:cxn ang="0">
                <a:pos x="connsiteX42192" y="connsiteY42192"/>
              </a:cxn>
              <a:cxn ang="0">
                <a:pos x="connsiteX42193" y="connsiteY42193"/>
              </a:cxn>
              <a:cxn ang="0">
                <a:pos x="connsiteX42194" y="connsiteY42194"/>
              </a:cxn>
              <a:cxn ang="0">
                <a:pos x="connsiteX42195" y="connsiteY42195"/>
              </a:cxn>
              <a:cxn ang="0">
                <a:pos x="connsiteX42196" y="connsiteY42196"/>
              </a:cxn>
              <a:cxn ang="0">
                <a:pos x="connsiteX42197" y="connsiteY42197"/>
              </a:cxn>
              <a:cxn ang="0">
                <a:pos x="connsiteX42198" y="connsiteY42198"/>
              </a:cxn>
              <a:cxn ang="0">
                <a:pos x="connsiteX42199" y="connsiteY42199"/>
              </a:cxn>
              <a:cxn ang="0">
                <a:pos x="connsiteX42200" y="connsiteY42200"/>
              </a:cxn>
              <a:cxn ang="0">
                <a:pos x="connsiteX42201" y="connsiteY42201"/>
              </a:cxn>
              <a:cxn ang="0">
                <a:pos x="connsiteX42202" y="connsiteY42202"/>
              </a:cxn>
              <a:cxn ang="0">
                <a:pos x="connsiteX42203" y="connsiteY42203"/>
              </a:cxn>
              <a:cxn ang="0">
                <a:pos x="connsiteX42204" y="connsiteY42204"/>
              </a:cxn>
              <a:cxn ang="0">
                <a:pos x="connsiteX42205" y="connsiteY42205"/>
              </a:cxn>
              <a:cxn ang="0">
                <a:pos x="connsiteX42206" y="connsiteY42206"/>
              </a:cxn>
              <a:cxn ang="0">
                <a:pos x="connsiteX42207" y="connsiteY42207"/>
              </a:cxn>
              <a:cxn ang="0">
                <a:pos x="connsiteX42208" y="connsiteY42208"/>
              </a:cxn>
              <a:cxn ang="0">
                <a:pos x="connsiteX42209" y="connsiteY42209"/>
              </a:cxn>
              <a:cxn ang="0">
                <a:pos x="connsiteX42210" y="connsiteY42210"/>
              </a:cxn>
              <a:cxn ang="0">
                <a:pos x="connsiteX42211" y="connsiteY42211"/>
              </a:cxn>
              <a:cxn ang="0">
                <a:pos x="connsiteX42212" y="connsiteY42212"/>
              </a:cxn>
              <a:cxn ang="0">
                <a:pos x="connsiteX42213" y="connsiteY42213"/>
              </a:cxn>
              <a:cxn ang="0">
                <a:pos x="connsiteX42214" y="connsiteY42214"/>
              </a:cxn>
              <a:cxn ang="0">
                <a:pos x="connsiteX42215" y="connsiteY42215"/>
              </a:cxn>
              <a:cxn ang="0">
                <a:pos x="connsiteX42216" y="connsiteY42216"/>
              </a:cxn>
              <a:cxn ang="0">
                <a:pos x="connsiteX42217" y="connsiteY42217"/>
              </a:cxn>
              <a:cxn ang="0">
                <a:pos x="connsiteX42218" y="connsiteY42218"/>
              </a:cxn>
              <a:cxn ang="0">
                <a:pos x="connsiteX42219" y="connsiteY42219"/>
              </a:cxn>
              <a:cxn ang="0">
                <a:pos x="connsiteX42220" y="connsiteY42220"/>
              </a:cxn>
              <a:cxn ang="0">
                <a:pos x="connsiteX42221" y="connsiteY42221"/>
              </a:cxn>
              <a:cxn ang="0">
                <a:pos x="connsiteX42222" y="connsiteY42222"/>
              </a:cxn>
              <a:cxn ang="0">
                <a:pos x="connsiteX42223" y="connsiteY42223"/>
              </a:cxn>
              <a:cxn ang="0">
                <a:pos x="connsiteX42224" y="connsiteY42224"/>
              </a:cxn>
              <a:cxn ang="0">
                <a:pos x="connsiteX42225" y="connsiteY42225"/>
              </a:cxn>
              <a:cxn ang="0">
                <a:pos x="connsiteX42226" y="connsiteY42226"/>
              </a:cxn>
              <a:cxn ang="0">
                <a:pos x="connsiteX42227" y="connsiteY42227"/>
              </a:cxn>
              <a:cxn ang="0">
                <a:pos x="connsiteX42228" y="connsiteY42228"/>
              </a:cxn>
              <a:cxn ang="0">
                <a:pos x="connsiteX42229" y="connsiteY42229"/>
              </a:cxn>
              <a:cxn ang="0">
                <a:pos x="connsiteX42230" y="connsiteY42230"/>
              </a:cxn>
              <a:cxn ang="0">
                <a:pos x="connsiteX42231" y="connsiteY42231"/>
              </a:cxn>
              <a:cxn ang="0">
                <a:pos x="connsiteX42232" y="connsiteY42232"/>
              </a:cxn>
              <a:cxn ang="0">
                <a:pos x="connsiteX42233" y="connsiteY42233"/>
              </a:cxn>
              <a:cxn ang="0">
                <a:pos x="connsiteX42234" y="connsiteY42234"/>
              </a:cxn>
              <a:cxn ang="0">
                <a:pos x="connsiteX42235" y="connsiteY42235"/>
              </a:cxn>
              <a:cxn ang="0">
                <a:pos x="connsiteX42236" y="connsiteY42236"/>
              </a:cxn>
              <a:cxn ang="0">
                <a:pos x="connsiteX42237" y="connsiteY42237"/>
              </a:cxn>
              <a:cxn ang="0">
                <a:pos x="connsiteX42238" y="connsiteY42238"/>
              </a:cxn>
              <a:cxn ang="0">
                <a:pos x="connsiteX42239" y="connsiteY42239"/>
              </a:cxn>
              <a:cxn ang="0">
                <a:pos x="connsiteX42240" y="connsiteY42240"/>
              </a:cxn>
              <a:cxn ang="0">
                <a:pos x="connsiteX42241" y="connsiteY42241"/>
              </a:cxn>
              <a:cxn ang="0">
                <a:pos x="connsiteX42242" y="connsiteY42242"/>
              </a:cxn>
              <a:cxn ang="0">
                <a:pos x="connsiteX42243" y="connsiteY42243"/>
              </a:cxn>
              <a:cxn ang="0">
                <a:pos x="connsiteX42244" y="connsiteY42244"/>
              </a:cxn>
              <a:cxn ang="0">
                <a:pos x="connsiteX42245" y="connsiteY42245"/>
              </a:cxn>
              <a:cxn ang="0">
                <a:pos x="connsiteX42246" y="connsiteY42246"/>
              </a:cxn>
              <a:cxn ang="0">
                <a:pos x="connsiteX42247" y="connsiteY42247"/>
              </a:cxn>
              <a:cxn ang="0">
                <a:pos x="connsiteX42248" y="connsiteY42248"/>
              </a:cxn>
              <a:cxn ang="0">
                <a:pos x="connsiteX42249" y="connsiteY42249"/>
              </a:cxn>
              <a:cxn ang="0">
                <a:pos x="connsiteX42250" y="connsiteY42250"/>
              </a:cxn>
              <a:cxn ang="0">
                <a:pos x="connsiteX42251" y="connsiteY42251"/>
              </a:cxn>
              <a:cxn ang="0">
                <a:pos x="connsiteX42252" y="connsiteY42252"/>
              </a:cxn>
              <a:cxn ang="0">
                <a:pos x="connsiteX42253" y="connsiteY42253"/>
              </a:cxn>
              <a:cxn ang="0">
                <a:pos x="connsiteX42254" y="connsiteY42254"/>
              </a:cxn>
              <a:cxn ang="0">
                <a:pos x="connsiteX42255" y="connsiteY42255"/>
              </a:cxn>
              <a:cxn ang="0">
                <a:pos x="connsiteX42256" y="connsiteY42256"/>
              </a:cxn>
              <a:cxn ang="0">
                <a:pos x="connsiteX42257" y="connsiteY42257"/>
              </a:cxn>
              <a:cxn ang="0">
                <a:pos x="connsiteX42258" y="connsiteY42258"/>
              </a:cxn>
              <a:cxn ang="0">
                <a:pos x="connsiteX42259" y="connsiteY42259"/>
              </a:cxn>
              <a:cxn ang="0">
                <a:pos x="connsiteX42260" y="connsiteY42260"/>
              </a:cxn>
              <a:cxn ang="0">
                <a:pos x="connsiteX42261" y="connsiteY42261"/>
              </a:cxn>
              <a:cxn ang="0">
                <a:pos x="connsiteX42262" y="connsiteY42262"/>
              </a:cxn>
              <a:cxn ang="0">
                <a:pos x="connsiteX42263" y="connsiteY42263"/>
              </a:cxn>
              <a:cxn ang="0">
                <a:pos x="connsiteX42264" y="connsiteY42264"/>
              </a:cxn>
              <a:cxn ang="0">
                <a:pos x="connsiteX42265" y="connsiteY42265"/>
              </a:cxn>
              <a:cxn ang="0">
                <a:pos x="connsiteX42266" y="connsiteY42266"/>
              </a:cxn>
              <a:cxn ang="0">
                <a:pos x="connsiteX42267" y="connsiteY42267"/>
              </a:cxn>
              <a:cxn ang="0">
                <a:pos x="connsiteX42268" y="connsiteY42268"/>
              </a:cxn>
              <a:cxn ang="0">
                <a:pos x="connsiteX42269" y="connsiteY42269"/>
              </a:cxn>
              <a:cxn ang="0">
                <a:pos x="connsiteX42270" y="connsiteY42270"/>
              </a:cxn>
              <a:cxn ang="0">
                <a:pos x="connsiteX42271" y="connsiteY42271"/>
              </a:cxn>
              <a:cxn ang="0">
                <a:pos x="connsiteX42272" y="connsiteY42272"/>
              </a:cxn>
              <a:cxn ang="0">
                <a:pos x="connsiteX42273" y="connsiteY42273"/>
              </a:cxn>
              <a:cxn ang="0">
                <a:pos x="connsiteX42274" y="connsiteY42274"/>
              </a:cxn>
              <a:cxn ang="0">
                <a:pos x="connsiteX42275" y="connsiteY42275"/>
              </a:cxn>
              <a:cxn ang="0">
                <a:pos x="connsiteX42276" y="connsiteY42276"/>
              </a:cxn>
              <a:cxn ang="0">
                <a:pos x="connsiteX42277" y="connsiteY42277"/>
              </a:cxn>
              <a:cxn ang="0">
                <a:pos x="connsiteX42278" y="connsiteY42278"/>
              </a:cxn>
              <a:cxn ang="0">
                <a:pos x="connsiteX42279" y="connsiteY42279"/>
              </a:cxn>
              <a:cxn ang="0">
                <a:pos x="connsiteX42280" y="connsiteY42280"/>
              </a:cxn>
              <a:cxn ang="0">
                <a:pos x="connsiteX42281" y="connsiteY42281"/>
              </a:cxn>
              <a:cxn ang="0">
                <a:pos x="connsiteX42282" y="connsiteY42282"/>
              </a:cxn>
              <a:cxn ang="0">
                <a:pos x="connsiteX42283" y="connsiteY42283"/>
              </a:cxn>
              <a:cxn ang="0">
                <a:pos x="connsiteX42284" y="connsiteY42284"/>
              </a:cxn>
              <a:cxn ang="0">
                <a:pos x="connsiteX42285" y="connsiteY42285"/>
              </a:cxn>
              <a:cxn ang="0">
                <a:pos x="connsiteX42286" y="connsiteY42286"/>
              </a:cxn>
              <a:cxn ang="0">
                <a:pos x="connsiteX42287" y="connsiteY42287"/>
              </a:cxn>
              <a:cxn ang="0">
                <a:pos x="connsiteX42288" y="connsiteY42288"/>
              </a:cxn>
              <a:cxn ang="0">
                <a:pos x="connsiteX42289" y="connsiteY42289"/>
              </a:cxn>
              <a:cxn ang="0">
                <a:pos x="connsiteX42290" y="connsiteY42290"/>
              </a:cxn>
              <a:cxn ang="0">
                <a:pos x="connsiteX42291" y="connsiteY42291"/>
              </a:cxn>
              <a:cxn ang="0">
                <a:pos x="connsiteX42292" y="connsiteY42292"/>
              </a:cxn>
              <a:cxn ang="0">
                <a:pos x="connsiteX42293" y="connsiteY42293"/>
              </a:cxn>
              <a:cxn ang="0">
                <a:pos x="connsiteX42294" y="connsiteY42294"/>
              </a:cxn>
              <a:cxn ang="0">
                <a:pos x="connsiteX42295" y="connsiteY42295"/>
              </a:cxn>
              <a:cxn ang="0">
                <a:pos x="connsiteX42296" y="connsiteY42296"/>
              </a:cxn>
              <a:cxn ang="0">
                <a:pos x="connsiteX42297" y="connsiteY42297"/>
              </a:cxn>
              <a:cxn ang="0">
                <a:pos x="connsiteX42298" y="connsiteY42298"/>
              </a:cxn>
              <a:cxn ang="0">
                <a:pos x="connsiteX42299" y="connsiteY42299"/>
              </a:cxn>
              <a:cxn ang="0">
                <a:pos x="connsiteX42300" y="connsiteY42300"/>
              </a:cxn>
              <a:cxn ang="0">
                <a:pos x="connsiteX42301" y="connsiteY42301"/>
              </a:cxn>
              <a:cxn ang="0">
                <a:pos x="connsiteX42302" y="connsiteY42302"/>
              </a:cxn>
              <a:cxn ang="0">
                <a:pos x="connsiteX42303" y="connsiteY42303"/>
              </a:cxn>
              <a:cxn ang="0">
                <a:pos x="connsiteX42304" y="connsiteY42304"/>
              </a:cxn>
              <a:cxn ang="0">
                <a:pos x="connsiteX42305" y="connsiteY42305"/>
              </a:cxn>
              <a:cxn ang="0">
                <a:pos x="connsiteX42306" y="connsiteY42306"/>
              </a:cxn>
              <a:cxn ang="0">
                <a:pos x="connsiteX42307" y="connsiteY42307"/>
              </a:cxn>
              <a:cxn ang="0">
                <a:pos x="connsiteX42308" y="connsiteY42308"/>
              </a:cxn>
              <a:cxn ang="0">
                <a:pos x="connsiteX42309" y="connsiteY42309"/>
              </a:cxn>
              <a:cxn ang="0">
                <a:pos x="connsiteX42310" y="connsiteY42310"/>
              </a:cxn>
              <a:cxn ang="0">
                <a:pos x="connsiteX42311" y="connsiteY42311"/>
              </a:cxn>
              <a:cxn ang="0">
                <a:pos x="connsiteX42312" y="connsiteY42312"/>
              </a:cxn>
              <a:cxn ang="0">
                <a:pos x="connsiteX42313" y="connsiteY42313"/>
              </a:cxn>
              <a:cxn ang="0">
                <a:pos x="connsiteX42314" y="connsiteY42314"/>
              </a:cxn>
              <a:cxn ang="0">
                <a:pos x="connsiteX42315" y="connsiteY42315"/>
              </a:cxn>
              <a:cxn ang="0">
                <a:pos x="connsiteX42316" y="connsiteY42316"/>
              </a:cxn>
              <a:cxn ang="0">
                <a:pos x="connsiteX42317" y="connsiteY42317"/>
              </a:cxn>
              <a:cxn ang="0">
                <a:pos x="connsiteX42318" y="connsiteY42318"/>
              </a:cxn>
              <a:cxn ang="0">
                <a:pos x="connsiteX42319" y="connsiteY42319"/>
              </a:cxn>
              <a:cxn ang="0">
                <a:pos x="connsiteX42320" y="connsiteY42320"/>
              </a:cxn>
              <a:cxn ang="0">
                <a:pos x="connsiteX42321" y="connsiteY42321"/>
              </a:cxn>
              <a:cxn ang="0">
                <a:pos x="connsiteX42322" y="connsiteY42322"/>
              </a:cxn>
              <a:cxn ang="0">
                <a:pos x="connsiteX42323" y="connsiteY42323"/>
              </a:cxn>
              <a:cxn ang="0">
                <a:pos x="connsiteX42324" y="connsiteY42324"/>
              </a:cxn>
              <a:cxn ang="0">
                <a:pos x="connsiteX42325" y="connsiteY42325"/>
              </a:cxn>
              <a:cxn ang="0">
                <a:pos x="connsiteX42326" y="connsiteY42326"/>
              </a:cxn>
              <a:cxn ang="0">
                <a:pos x="connsiteX42327" y="connsiteY42327"/>
              </a:cxn>
              <a:cxn ang="0">
                <a:pos x="connsiteX42328" y="connsiteY42328"/>
              </a:cxn>
              <a:cxn ang="0">
                <a:pos x="connsiteX42329" y="connsiteY42329"/>
              </a:cxn>
              <a:cxn ang="0">
                <a:pos x="connsiteX42330" y="connsiteY42330"/>
              </a:cxn>
              <a:cxn ang="0">
                <a:pos x="connsiteX42331" y="connsiteY42331"/>
              </a:cxn>
              <a:cxn ang="0">
                <a:pos x="connsiteX42332" y="connsiteY42332"/>
              </a:cxn>
              <a:cxn ang="0">
                <a:pos x="connsiteX42333" y="connsiteY42333"/>
              </a:cxn>
              <a:cxn ang="0">
                <a:pos x="connsiteX42334" y="connsiteY42334"/>
              </a:cxn>
              <a:cxn ang="0">
                <a:pos x="connsiteX42335" y="connsiteY42335"/>
              </a:cxn>
              <a:cxn ang="0">
                <a:pos x="connsiteX42336" y="connsiteY42336"/>
              </a:cxn>
              <a:cxn ang="0">
                <a:pos x="connsiteX42337" y="connsiteY42337"/>
              </a:cxn>
              <a:cxn ang="0">
                <a:pos x="connsiteX42338" y="connsiteY42338"/>
              </a:cxn>
              <a:cxn ang="0">
                <a:pos x="connsiteX42339" y="connsiteY42339"/>
              </a:cxn>
              <a:cxn ang="0">
                <a:pos x="connsiteX42340" y="connsiteY42340"/>
              </a:cxn>
              <a:cxn ang="0">
                <a:pos x="connsiteX42341" y="connsiteY42341"/>
              </a:cxn>
              <a:cxn ang="0">
                <a:pos x="connsiteX42342" y="connsiteY42342"/>
              </a:cxn>
              <a:cxn ang="0">
                <a:pos x="connsiteX42343" y="connsiteY42343"/>
              </a:cxn>
              <a:cxn ang="0">
                <a:pos x="connsiteX42344" y="connsiteY42344"/>
              </a:cxn>
              <a:cxn ang="0">
                <a:pos x="connsiteX42345" y="connsiteY42345"/>
              </a:cxn>
              <a:cxn ang="0">
                <a:pos x="connsiteX42346" y="connsiteY42346"/>
              </a:cxn>
              <a:cxn ang="0">
                <a:pos x="connsiteX42347" y="connsiteY42347"/>
              </a:cxn>
              <a:cxn ang="0">
                <a:pos x="connsiteX42348" y="connsiteY42348"/>
              </a:cxn>
              <a:cxn ang="0">
                <a:pos x="connsiteX42349" y="connsiteY42349"/>
              </a:cxn>
              <a:cxn ang="0">
                <a:pos x="connsiteX42350" y="connsiteY42350"/>
              </a:cxn>
              <a:cxn ang="0">
                <a:pos x="connsiteX42351" y="connsiteY42351"/>
              </a:cxn>
              <a:cxn ang="0">
                <a:pos x="connsiteX42352" y="connsiteY42352"/>
              </a:cxn>
              <a:cxn ang="0">
                <a:pos x="connsiteX42353" y="connsiteY42353"/>
              </a:cxn>
              <a:cxn ang="0">
                <a:pos x="connsiteX42354" y="connsiteY42354"/>
              </a:cxn>
              <a:cxn ang="0">
                <a:pos x="connsiteX42355" y="connsiteY42355"/>
              </a:cxn>
              <a:cxn ang="0">
                <a:pos x="connsiteX42356" y="connsiteY42356"/>
              </a:cxn>
              <a:cxn ang="0">
                <a:pos x="connsiteX42357" y="connsiteY42357"/>
              </a:cxn>
              <a:cxn ang="0">
                <a:pos x="connsiteX42358" y="connsiteY42358"/>
              </a:cxn>
              <a:cxn ang="0">
                <a:pos x="connsiteX42359" y="connsiteY42359"/>
              </a:cxn>
              <a:cxn ang="0">
                <a:pos x="connsiteX42360" y="connsiteY42360"/>
              </a:cxn>
              <a:cxn ang="0">
                <a:pos x="connsiteX42361" y="connsiteY42361"/>
              </a:cxn>
              <a:cxn ang="0">
                <a:pos x="connsiteX42362" y="connsiteY42362"/>
              </a:cxn>
              <a:cxn ang="0">
                <a:pos x="connsiteX42363" y="connsiteY42363"/>
              </a:cxn>
              <a:cxn ang="0">
                <a:pos x="connsiteX42364" y="connsiteY42364"/>
              </a:cxn>
              <a:cxn ang="0">
                <a:pos x="connsiteX42365" y="connsiteY42365"/>
              </a:cxn>
              <a:cxn ang="0">
                <a:pos x="connsiteX42366" y="connsiteY42366"/>
              </a:cxn>
              <a:cxn ang="0">
                <a:pos x="connsiteX42367" y="connsiteY42367"/>
              </a:cxn>
              <a:cxn ang="0">
                <a:pos x="connsiteX42368" y="connsiteY42368"/>
              </a:cxn>
              <a:cxn ang="0">
                <a:pos x="connsiteX42369" y="connsiteY42369"/>
              </a:cxn>
              <a:cxn ang="0">
                <a:pos x="connsiteX42370" y="connsiteY42370"/>
              </a:cxn>
              <a:cxn ang="0">
                <a:pos x="connsiteX42371" y="connsiteY42371"/>
              </a:cxn>
              <a:cxn ang="0">
                <a:pos x="connsiteX42372" y="connsiteY42372"/>
              </a:cxn>
              <a:cxn ang="0">
                <a:pos x="connsiteX42373" y="connsiteY42373"/>
              </a:cxn>
              <a:cxn ang="0">
                <a:pos x="connsiteX42374" y="connsiteY42374"/>
              </a:cxn>
              <a:cxn ang="0">
                <a:pos x="connsiteX42375" y="connsiteY42375"/>
              </a:cxn>
              <a:cxn ang="0">
                <a:pos x="connsiteX42376" y="connsiteY42376"/>
              </a:cxn>
              <a:cxn ang="0">
                <a:pos x="connsiteX42377" y="connsiteY42377"/>
              </a:cxn>
              <a:cxn ang="0">
                <a:pos x="connsiteX42378" y="connsiteY42378"/>
              </a:cxn>
              <a:cxn ang="0">
                <a:pos x="connsiteX42379" y="connsiteY42379"/>
              </a:cxn>
              <a:cxn ang="0">
                <a:pos x="connsiteX42380" y="connsiteY42380"/>
              </a:cxn>
              <a:cxn ang="0">
                <a:pos x="connsiteX42381" y="connsiteY42381"/>
              </a:cxn>
              <a:cxn ang="0">
                <a:pos x="connsiteX42382" y="connsiteY42382"/>
              </a:cxn>
              <a:cxn ang="0">
                <a:pos x="connsiteX42383" y="connsiteY42383"/>
              </a:cxn>
              <a:cxn ang="0">
                <a:pos x="connsiteX42384" y="connsiteY42384"/>
              </a:cxn>
              <a:cxn ang="0">
                <a:pos x="connsiteX42385" y="connsiteY42385"/>
              </a:cxn>
              <a:cxn ang="0">
                <a:pos x="connsiteX42386" y="connsiteY42386"/>
              </a:cxn>
              <a:cxn ang="0">
                <a:pos x="connsiteX42387" y="connsiteY42387"/>
              </a:cxn>
              <a:cxn ang="0">
                <a:pos x="connsiteX42388" y="connsiteY42388"/>
              </a:cxn>
              <a:cxn ang="0">
                <a:pos x="connsiteX42389" y="connsiteY42389"/>
              </a:cxn>
              <a:cxn ang="0">
                <a:pos x="connsiteX42390" y="connsiteY42390"/>
              </a:cxn>
              <a:cxn ang="0">
                <a:pos x="connsiteX42391" y="connsiteY42391"/>
              </a:cxn>
              <a:cxn ang="0">
                <a:pos x="connsiteX42392" y="connsiteY42392"/>
              </a:cxn>
              <a:cxn ang="0">
                <a:pos x="connsiteX42393" y="connsiteY42393"/>
              </a:cxn>
              <a:cxn ang="0">
                <a:pos x="connsiteX42394" y="connsiteY42394"/>
              </a:cxn>
              <a:cxn ang="0">
                <a:pos x="connsiteX42395" y="connsiteY42395"/>
              </a:cxn>
              <a:cxn ang="0">
                <a:pos x="connsiteX42396" y="connsiteY42396"/>
              </a:cxn>
              <a:cxn ang="0">
                <a:pos x="connsiteX42397" y="connsiteY42397"/>
              </a:cxn>
              <a:cxn ang="0">
                <a:pos x="connsiteX42398" y="connsiteY42398"/>
              </a:cxn>
              <a:cxn ang="0">
                <a:pos x="connsiteX42399" y="connsiteY42399"/>
              </a:cxn>
              <a:cxn ang="0">
                <a:pos x="connsiteX42400" y="connsiteY42400"/>
              </a:cxn>
              <a:cxn ang="0">
                <a:pos x="connsiteX42401" y="connsiteY42401"/>
              </a:cxn>
              <a:cxn ang="0">
                <a:pos x="connsiteX42402" y="connsiteY42402"/>
              </a:cxn>
              <a:cxn ang="0">
                <a:pos x="connsiteX42403" y="connsiteY42403"/>
              </a:cxn>
              <a:cxn ang="0">
                <a:pos x="connsiteX42404" y="connsiteY42404"/>
              </a:cxn>
              <a:cxn ang="0">
                <a:pos x="connsiteX42405" y="connsiteY42405"/>
              </a:cxn>
              <a:cxn ang="0">
                <a:pos x="connsiteX42406" y="connsiteY42406"/>
              </a:cxn>
              <a:cxn ang="0">
                <a:pos x="connsiteX42407" y="connsiteY42407"/>
              </a:cxn>
              <a:cxn ang="0">
                <a:pos x="connsiteX42408" y="connsiteY42408"/>
              </a:cxn>
              <a:cxn ang="0">
                <a:pos x="connsiteX42409" y="connsiteY42409"/>
              </a:cxn>
              <a:cxn ang="0">
                <a:pos x="connsiteX42410" y="connsiteY42410"/>
              </a:cxn>
              <a:cxn ang="0">
                <a:pos x="connsiteX42411" y="connsiteY42411"/>
              </a:cxn>
              <a:cxn ang="0">
                <a:pos x="connsiteX42412" y="connsiteY42412"/>
              </a:cxn>
              <a:cxn ang="0">
                <a:pos x="connsiteX42413" y="connsiteY42413"/>
              </a:cxn>
              <a:cxn ang="0">
                <a:pos x="connsiteX42414" y="connsiteY42414"/>
              </a:cxn>
              <a:cxn ang="0">
                <a:pos x="connsiteX42415" y="connsiteY42415"/>
              </a:cxn>
              <a:cxn ang="0">
                <a:pos x="connsiteX42416" y="connsiteY42416"/>
              </a:cxn>
              <a:cxn ang="0">
                <a:pos x="connsiteX42417" y="connsiteY42417"/>
              </a:cxn>
              <a:cxn ang="0">
                <a:pos x="connsiteX42418" y="connsiteY42418"/>
              </a:cxn>
              <a:cxn ang="0">
                <a:pos x="connsiteX42419" y="connsiteY42419"/>
              </a:cxn>
              <a:cxn ang="0">
                <a:pos x="connsiteX42420" y="connsiteY42420"/>
              </a:cxn>
              <a:cxn ang="0">
                <a:pos x="connsiteX42421" y="connsiteY42421"/>
              </a:cxn>
              <a:cxn ang="0">
                <a:pos x="connsiteX42422" y="connsiteY42422"/>
              </a:cxn>
              <a:cxn ang="0">
                <a:pos x="connsiteX42423" y="connsiteY42423"/>
              </a:cxn>
              <a:cxn ang="0">
                <a:pos x="connsiteX42424" y="connsiteY42424"/>
              </a:cxn>
              <a:cxn ang="0">
                <a:pos x="connsiteX42425" y="connsiteY42425"/>
              </a:cxn>
              <a:cxn ang="0">
                <a:pos x="connsiteX42426" y="connsiteY42426"/>
              </a:cxn>
              <a:cxn ang="0">
                <a:pos x="connsiteX42427" y="connsiteY42427"/>
              </a:cxn>
              <a:cxn ang="0">
                <a:pos x="connsiteX42428" y="connsiteY42428"/>
              </a:cxn>
              <a:cxn ang="0">
                <a:pos x="connsiteX42429" y="connsiteY42429"/>
              </a:cxn>
              <a:cxn ang="0">
                <a:pos x="connsiteX42430" y="connsiteY42430"/>
              </a:cxn>
              <a:cxn ang="0">
                <a:pos x="connsiteX42431" y="connsiteY42431"/>
              </a:cxn>
              <a:cxn ang="0">
                <a:pos x="connsiteX42432" y="connsiteY42432"/>
              </a:cxn>
              <a:cxn ang="0">
                <a:pos x="connsiteX42433" y="connsiteY42433"/>
              </a:cxn>
              <a:cxn ang="0">
                <a:pos x="connsiteX42434" y="connsiteY42434"/>
              </a:cxn>
              <a:cxn ang="0">
                <a:pos x="connsiteX42435" y="connsiteY42435"/>
              </a:cxn>
              <a:cxn ang="0">
                <a:pos x="connsiteX42436" y="connsiteY42436"/>
              </a:cxn>
              <a:cxn ang="0">
                <a:pos x="connsiteX42437" y="connsiteY42437"/>
              </a:cxn>
              <a:cxn ang="0">
                <a:pos x="connsiteX42438" y="connsiteY42438"/>
              </a:cxn>
              <a:cxn ang="0">
                <a:pos x="connsiteX42439" y="connsiteY42439"/>
              </a:cxn>
              <a:cxn ang="0">
                <a:pos x="connsiteX42440" y="connsiteY42440"/>
              </a:cxn>
              <a:cxn ang="0">
                <a:pos x="connsiteX42441" y="connsiteY42441"/>
              </a:cxn>
              <a:cxn ang="0">
                <a:pos x="connsiteX42442" y="connsiteY42442"/>
              </a:cxn>
              <a:cxn ang="0">
                <a:pos x="connsiteX42443" y="connsiteY42443"/>
              </a:cxn>
              <a:cxn ang="0">
                <a:pos x="connsiteX42444" y="connsiteY42444"/>
              </a:cxn>
              <a:cxn ang="0">
                <a:pos x="connsiteX42445" y="connsiteY42445"/>
              </a:cxn>
              <a:cxn ang="0">
                <a:pos x="connsiteX42446" y="connsiteY42446"/>
              </a:cxn>
              <a:cxn ang="0">
                <a:pos x="connsiteX42447" y="connsiteY42447"/>
              </a:cxn>
              <a:cxn ang="0">
                <a:pos x="connsiteX42448" y="connsiteY42448"/>
              </a:cxn>
              <a:cxn ang="0">
                <a:pos x="connsiteX42449" y="connsiteY42449"/>
              </a:cxn>
              <a:cxn ang="0">
                <a:pos x="connsiteX42450" y="connsiteY42450"/>
              </a:cxn>
              <a:cxn ang="0">
                <a:pos x="connsiteX42451" y="connsiteY42451"/>
              </a:cxn>
              <a:cxn ang="0">
                <a:pos x="connsiteX42452" y="connsiteY42452"/>
              </a:cxn>
              <a:cxn ang="0">
                <a:pos x="connsiteX42453" y="connsiteY42453"/>
              </a:cxn>
              <a:cxn ang="0">
                <a:pos x="connsiteX42454" y="connsiteY42454"/>
              </a:cxn>
              <a:cxn ang="0">
                <a:pos x="connsiteX42455" y="connsiteY42455"/>
              </a:cxn>
              <a:cxn ang="0">
                <a:pos x="connsiteX42456" y="connsiteY42456"/>
              </a:cxn>
              <a:cxn ang="0">
                <a:pos x="connsiteX42457" y="connsiteY42457"/>
              </a:cxn>
              <a:cxn ang="0">
                <a:pos x="connsiteX42458" y="connsiteY42458"/>
              </a:cxn>
              <a:cxn ang="0">
                <a:pos x="connsiteX42459" y="connsiteY42459"/>
              </a:cxn>
              <a:cxn ang="0">
                <a:pos x="connsiteX42460" y="connsiteY42460"/>
              </a:cxn>
              <a:cxn ang="0">
                <a:pos x="connsiteX42461" y="connsiteY42461"/>
              </a:cxn>
              <a:cxn ang="0">
                <a:pos x="connsiteX42462" y="connsiteY42462"/>
              </a:cxn>
              <a:cxn ang="0">
                <a:pos x="connsiteX42463" y="connsiteY42463"/>
              </a:cxn>
              <a:cxn ang="0">
                <a:pos x="connsiteX42464" y="connsiteY42464"/>
              </a:cxn>
              <a:cxn ang="0">
                <a:pos x="connsiteX42465" y="connsiteY42465"/>
              </a:cxn>
              <a:cxn ang="0">
                <a:pos x="connsiteX42466" y="connsiteY42466"/>
              </a:cxn>
              <a:cxn ang="0">
                <a:pos x="connsiteX42467" y="connsiteY42467"/>
              </a:cxn>
              <a:cxn ang="0">
                <a:pos x="connsiteX42468" y="connsiteY42468"/>
              </a:cxn>
              <a:cxn ang="0">
                <a:pos x="connsiteX42469" y="connsiteY42469"/>
              </a:cxn>
              <a:cxn ang="0">
                <a:pos x="connsiteX42470" y="connsiteY42470"/>
              </a:cxn>
              <a:cxn ang="0">
                <a:pos x="connsiteX42471" y="connsiteY42471"/>
              </a:cxn>
              <a:cxn ang="0">
                <a:pos x="connsiteX42472" y="connsiteY42472"/>
              </a:cxn>
              <a:cxn ang="0">
                <a:pos x="connsiteX42473" y="connsiteY42473"/>
              </a:cxn>
              <a:cxn ang="0">
                <a:pos x="connsiteX42474" y="connsiteY42474"/>
              </a:cxn>
              <a:cxn ang="0">
                <a:pos x="connsiteX42475" y="connsiteY42475"/>
              </a:cxn>
              <a:cxn ang="0">
                <a:pos x="connsiteX42476" y="connsiteY42476"/>
              </a:cxn>
              <a:cxn ang="0">
                <a:pos x="connsiteX42477" y="connsiteY42477"/>
              </a:cxn>
              <a:cxn ang="0">
                <a:pos x="connsiteX42478" y="connsiteY42478"/>
              </a:cxn>
              <a:cxn ang="0">
                <a:pos x="connsiteX42479" y="connsiteY42479"/>
              </a:cxn>
              <a:cxn ang="0">
                <a:pos x="connsiteX42480" y="connsiteY42480"/>
              </a:cxn>
              <a:cxn ang="0">
                <a:pos x="connsiteX42481" y="connsiteY42481"/>
              </a:cxn>
              <a:cxn ang="0">
                <a:pos x="connsiteX42482" y="connsiteY42482"/>
              </a:cxn>
              <a:cxn ang="0">
                <a:pos x="connsiteX42483" y="connsiteY42483"/>
              </a:cxn>
              <a:cxn ang="0">
                <a:pos x="connsiteX42484" y="connsiteY42484"/>
              </a:cxn>
              <a:cxn ang="0">
                <a:pos x="connsiteX42485" y="connsiteY42485"/>
              </a:cxn>
              <a:cxn ang="0">
                <a:pos x="connsiteX42486" y="connsiteY42486"/>
              </a:cxn>
              <a:cxn ang="0">
                <a:pos x="connsiteX42487" y="connsiteY42487"/>
              </a:cxn>
              <a:cxn ang="0">
                <a:pos x="connsiteX42488" y="connsiteY42488"/>
              </a:cxn>
              <a:cxn ang="0">
                <a:pos x="connsiteX42489" y="connsiteY42489"/>
              </a:cxn>
              <a:cxn ang="0">
                <a:pos x="connsiteX42490" y="connsiteY42490"/>
              </a:cxn>
              <a:cxn ang="0">
                <a:pos x="connsiteX42491" y="connsiteY42491"/>
              </a:cxn>
              <a:cxn ang="0">
                <a:pos x="connsiteX42492" y="connsiteY42492"/>
              </a:cxn>
              <a:cxn ang="0">
                <a:pos x="connsiteX42493" y="connsiteY42493"/>
              </a:cxn>
              <a:cxn ang="0">
                <a:pos x="connsiteX42494" y="connsiteY42494"/>
              </a:cxn>
              <a:cxn ang="0">
                <a:pos x="connsiteX42495" y="connsiteY42495"/>
              </a:cxn>
              <a:cxn ang="0">
                <a:pos x="connsiteX42496" y="connsiteY42496"/>
              </a:cxn>
              <a:cxn ang="0">
                <a:pos x="connsiteX42497" y="connsiteY42497"/>
              </a:cxn>
              <a:cxn ang="0">
                <a:pos x="connsiteX42498" y="connsiteY42498"/>
              </a:cxn>
              <a:cxn ang="0">
                <a:pos x="connsiteX42499" y="connsiteY42499"/>
              </a:cxn>
              <a:cxn ang="0">
                <a:pos x="connsiteX42500" y="connsiteY42500"/>
              </a:cxn>
              <a:cxn ang="0">
                <a:pos x="connsiteX42501" y="connsiteY42501"/>
              </a:cxn>
              <a:cxn ang="0">
                <a:pos x="connsiteX42502" y="connsiteY42502"/>
              </a:cxn>
              <a:cxn ang="0">
                <a:pos x="connsiteX42503" y="connsiteY42503"/>
              </a:cxn>
              <a:cxn ang="0">
                <a:pos x="connsiteX42504" y="connsiteY42504"/>
              </a:cxn>
              <a:cxn ang="0">
                <a:pos x="connsiteX42505" y="connsiteY42505"/>
              </a:cxn>
              <a:cxn ang="0">
                <a:pos x="connsiteX42506" y="connsiteY42506"/>
              </a:cxn>
              <a:cxn ang="0">
                <a:pos x="connsiteX42507" y="connsiteY42507"/>
              </a:cxn>
              <a:cxn ang="0">
                <a:pos x="connsiteX42508" y="connsiteY42508"/>
              </a:cxn>
              <a:cxn ang="0">
                <a:pos x="connsiteX42509" y="connsiteY42509"/>
              </a:cxn>
              <a:cxn ang="0">
                <a:pos x="connsiteX42510" y="connsiteY42510"/>
              </a:cxn>
              <a:cxn ang="0">
                <a:pos x="connsiteX42511" y="connsiteY42511"/>
              </a:cxn>
              <a:cxn ang="0">
                <a:pos x="connsiteX42512" y="connsiteY42512"/>
              </a:cxn>
              <a:cxn ang="0">
                <a:pos x="connsiteX42513" y="connsiteY42513"/>
              </a:cxn>
              <a:cxn ang="0">
                <a:pos x="connsiteX42514" y="connsiteY42514"/>
              </a:cxn>
              <a:cxn ang="0">
                <a:pos x="connsiteX42515" y="connsiteY42515"/>
              </a:cxn>
              <a:cxn ang="0">
                <a:pos x="connsiteX42516" y="connsiteY42516"/>
              </a:cxn>
              <a:cxn ang="0">
                <a:pos x="connsiteX42517" y="connsiteY42517"/>
              </a:cxn>
              <a:cxn ang="0">
                <a:pos x="connsiteX42518" y="connsiteY42518"/>
              </a:cxn>
              <a:cxn ang="0">
                <a:pos x="connsiteX42519" y="connsiteY42519"/>
              </a:cxn>
              <a:cxn ang="0">
                <a:pos x="connsiteX42520" y="connsiteY42520"/>
              </a:cxn>
              <a:cxn ang="0">
                <a:pos x="connsiteX42521" y="connsiteY42521"/>
              </a:cxn>
              <a:cxn ang="0">
                <a:pos x="connsiteX42522" y="connsiteY42522"/>
              </a:cxn>
              <a:cxn ang="0">
                <a:pos x="connsiteX42523" y="connsiteY42523"/>
              </a:cxn>
              <a:cxn ang="0">
                <a:pos x="connsiteX42524" y="connsiteY42524"/>
              </a:cxn>
              <a:cxn ang="0">
                <a:pos x="connsiteX42525" y="connsiteY42525"/>
              </a:cxn>
              <a:cxn ang="0">
                <a:pos x="connsiteX42526" y="connsiteY42526"/>
              </a:cxn>
              <a:cxn ang="0">
                <a:pos x="connsiteX42527" y="connsiteY42527"/>
              </a:cxn>
              <a:cxn ang="0">
                <a:pos x="connsiteX42528" y="connsiteY42528"/>
              </a:cxn>
              <a:cxn ang="0">
                <a:pos x="connsiteX42529" y="connsiteY42529"/>
              </a:cxn>
              <a:cxn ang="0">
                <a:pos x="connsiteX42530" y="connsiteY42530"/>
              </a:cxn>
              <a:cxn ang="0">
                <a:pos x="connsiteX42531" y="connsiteY42531"/>
              </a:cxn>
              <a:cxn ang="0">
                <a:pos x="connsiteX42532" y="connsiteY42532"/>
              </a:cxn>
              <a:cxn ang="0">
                <a:pos x="connsiteX42533" y="connsiteY42533"/>
              </a:cxn>
              <a:cxn ang="0">
                <a:pos x="connsiteX42534" y="connsiteY42534"/>
              </a:cxn>
              <a:cxn ang="0">
                <a:pos x="connsiteX42535" y="connsiteY42535"/>
              </a:cxn>
              <a:cxn ang="0">
                <a:pos x="connsiteX42536" y="connsiteY42536"/>
              </a:cxn>
              <a:cxn ang="0">
                <a:pos x="connsiteX42537" y="connsiteY42537"/>
              </a:cxn>
              <a:cxn ang="0">
                <a:pos x="connsiteX42538" y="connsiteY42538"/>
              </a:cxn>
              <a:cxn ang="0">
                <a:pos x="connsiteX42539" y="connsiteY42539"/>
              </a:cxn>
              <a:cxn ang="0">
                <a:pos x="connsiteX42540" y="connsiteY42540"/>
              </a:cxn>
              <a:cxn ang="0">
                <a:pos x="connsiteX42541" y="connsiteY42541"/>
              </a:cxn>
              <a:cxn ang="0">
                <a:pos x="connsiteX42542" y="connsiteY42542"/>
              </a:cxn>
              <a:cxn ang="0">
                <a:pos x="connsiteX42543" y="connsiteY42543"/>
              </a:cxn>
              <a:cxn ang="0">
                <a:pos x="connsiteX42544" y="connsiteY42544"/>
              </a:cxn>
              <a:cxn ang="0">
                <a:pos x="connsiteX42545" y="connsiteY42545"/>
              </a:cxn>
              <a:cxn ang="0">
                <a:pos x="connsiteX42546" y="connsiteY42546"/>
              </a:cxn>
              <a:cxn ang="0">
                <a:pos x="connsiteX42547" y="connsiteY42547"/>
              </a:cxn>
              <a:cxn ang="0">
                <a:pos x="connsiteX42548" y="connsiteY42548"/>
              </a:cxn>
              <a:cxn ang="0">
                <a:pos x="connsiteX42549" y="connsiteY42549"/>
              </a:cxn>
              <a:cxn ang="0">
                <a:pos x="connsiteX42550" y="connsiteY42550"/>
              </a:cxn>
              <a:cxn ang="0">
                <a:pos x="connsiteX42551" y="connsiteY42551"/>
              </a:cxn>
              <a:cxn ang="0">
                <a:pos x="connsiteX42552" y="connsiteY42552"/>
              </a:cxn>
              <a:cxn ang="0">
                <a:pos x="connsiteX42553" y="connsiteY42553"/>
              </a:cxn>
              <a:cxn ang="0">
                <a:pos x="connsiteX42554" y="connsiteY42554"/>
              </a:cxn>
              <a:cxn ang="0">
                <a:pos x="connsiteX42555" y="connsiteY42555"/>
              </a:cxn>
              <a:cxn ang="0">
                <a:pos x="connsiteX42556" y="connsiteY42556"/>
              </a:cxn>
              <a:cxn ang="0">
                <a:pos x="connsiteX42557" y="connsiteY42557"/>
              </a:cxn>
              <a:cxn ang="0">
                <a:pos x="connsiteX42558" y="connsiteY42558"/>
              </a:cxn>
              <a:cxn ang="0">
                <a:pos x="connsiteX42559" y="connsiteY42559"/>
              </a:cxn>
              <a:cxn ang="0">
                <a:pos x="connsiteX42560" y="connsiteY42560"/>
              </a:cxn>
              <a:cxn ang="0">
                <a:pos x="connsiteX42561" y="connsiteY42561"/>
              </a:cxn>
              <a:cxn ang="0">
                <a:pos x="connsiteX42562" y="connsiteY42562"/>
              </a:cxn>
              <a:cxn ang="0">
                <a:pos x="connsiteX42563" y="connsiteY42563"/>
              </a:cxn>
              <a:cxn ang="0">
                <a:pos x="connsiteX42564" y="connsiteY42564"/>
              </a:cxn>
              <a:cxn ang="0">
                <a:pos x="connsiteX42565" y="connsiteY42565"/>
              </a:cxn>
              <a:cxn ang="0">
                <a:pos x="connsiteX42566" y="connsiteY42566"/>
              </a:cxn>
              <a:cxn ang="0">
                <a:pos x="connsiteX42567" y="connsiteY42567"/>
              </a:cxn>
              <a:cxn ang="0">
                <a:pos x="connsiteX42568" y="connsiteY42568"/>
              </a:cxn>
              <a:cxn ang="0">
                <a:pos x="connsiteX42569" y="connsiteY42569"/>
              </a:cxn>
              <a:cxn ang="0">
                <a:pos x="connsiteX42570" y="connsiteY42570"/>
              </a:cxn>
              <a:cxn ang="0">
                <a:pos x="connsiteX42571" y="connsiteY42571"/>
              </a:cxn>
              <a:cxn ang="0">
                <a:pos x="connsiteX42572" y="connsiteY42572"/>
              </a:cxn>
              <a:cxn ang="0">
                <a:pos x="connsiteX42573" y="connsiteY42573"/>
              </a:cxn>
              <a:cxn ang="0">
                <a:pos x="connsiteX42574" y="connsiteY42574"/>
              </a:cxn>
              <a:cxn ang="0">
                <a:pos x="connsiteX42575" y="connsiteY42575"/>
              </a:cxn>
              <a:cxn ang="0">
                <a:pos x="connsiteX42576" y="connsiteY42576"/>
              </a:cxn>
              <a:cxn ang="0">
                <a:pos x="connsiteX42577" y="connsiteY42577"/>
              </a:cxn>
              <a:cxn ang="0">
                <a:pos x="connsiteX42578" y="connsiteY42578"/>
              </a:cxn>
              <a:cxn ang="0">
                <a:pos x="connsiteX42579" y="connsiteY42579"/>
              </a:cxn>
              <a:cxn ang="0">
                <a:pos x="connsiteX42580" y="connsiteY42580"/>
              </a:cxn>
              <a:cxn ang="0">
                <a:pos x="connsiteX42581" y="connsiteY42581"/>
              </a:cxn>
              <a:cxn ang="0">
                <a:pos x="connsiteX42582" y="connsiteY42582"/>
              </a:cxn>
              <a:cxn ang="0">
                <a:pos x="connsiteX42583" y="connsiteY42583"/>
              </a:cxn>
              <a:cxn ang="0">
                <a:pos x="connsiteX42584" y="connsiteY42584"/>
              </a:cxn>
              <a:cxn ang="0">
                <a:pos x="connsiteX42585" y="connsiteY42585"/>
              </a:cxn>
              <a:cxn ang="0">
                <a:pos x="connsiteX42586" y="connsiteY42586"/>
              </a:cxn>
              <a:cxn ang="0">
                <a:pos x="connsiteX42587" y="connsiteY42587"/>
              </a:cxn>
              <a:cxn ang="0">
                <a:pos x="connsiteX42588" y="connsiteY42588"/>
              </a:cxn>
              <a:cxn ang="0">
                <a:pos x="connsiteX42589" y="connsiteY42589"/>
              </a:cxn>
              <a:cxn ang="0">
                <a:pos x="connsiteX42590" y="connsiteY42590"/>
              </a:cxn>
              <a:cxn ang="0">
                <a:pos x="connsiteX42591" y="connsiteY42591"/>
              </a:cxn>
              <a:cxn ang="0">
                <a:pos x="connsiteX42592" y="connsiteY42592"/>
              </a:cxn>
              <a:cxn ang="0">
                <a:pos x="connsiteX42593" y="connsiteY42593"/>
              </a:cxn>
              <a:cxn ang="0">
                <a:pos x="connsiteX42594" y="connsiteY42594"/>
              </a:cxn>
              <a:cxn ang="0">
                <a:pos x="connsiteX42595" y="connsiteY42595"/>
              </a:cxn>
              <a:cxn ang="0">
                <a:pos x="connsiteX42596" y="connsiteY42596"/>
              </a:cxn>
              <a:cxn ang="0">
                <a:pos x="connsiteX42597" y="connsiteY42597"/>
              </a:cxn>
              <a:cxn ang="0">
                <a:pos x="connsiteX42598" y="connsiteY42598"/>
              </a:cxn>
              <a:cxn ang="0">
                <a:pos x="connsiteX42599" y="connsiteY42599"/>
              </a:cxn>
              <a:cxn ang="0">
                <a:pos x="connsiteX42600" y="connsiteY42600"/>
              </a:cxn>
              <a:cxn ang="0">
                <a:pos x="connsiteX42601" y="connsiteY42601"/>
              </a:cxn>
              <a:cxn ang="0">
                <a:pos x="connsiteX42602" y="connsiteY42602"/>
              </a:cxn>
              <a:cxn ang="0">
                <a:pos x="connsiteX42603" y="connsiteY42603"/>
              </a:cxn>
              <a:cxn ang="0">
                <a:pos x="connsiteX42604" y="connsiteY42604"/>
              </a:cxn>
              <a:cxn ang="0">
                <a:pos x="connsiteX42605" y="connsiteY42605"/>
              </a:cxn>
              <a:cxn ang="0">
                <a:pos x="connsiteX42606" y="connsiteY42606"/>
              </a:cxn>
              <a:cxn ang="0">
                <a:pos x="connsiteX42607" y="connsiteY42607"/>
              </a:cxn>
              <a:cxn ang="0">
                <a:pos x="connsiteX42608" y="connsiteY42608"/>
              </a:cxn>
              <a:cxn ang="0">
                <a:pos x="connsiteX42609" y="connsiteY42609"/>
              </a:cxn>
              <a:cxn ang="0">
                <a:pos x="connsiteX42610" y="connsiteY42610"/>
              </a:cxn>
              <a:cxn ang="0">
                <a:pos x="connsiteX42611" y="connsiteY42611"/>
              </a:cxn>
              <a:cxn ang="0">
                <a:pos x="connsiteX42612" y="connsiteY42612"/>
              </a:cxn>
              <a:cxn ang="0">
                <a:pos x="connsiteX42613" y="connsiteY42613"/>
              </a:cxn>
              <a:cxn ang="0">
                <a:pos x="connsiteX42614" y="connsiteY42614"/>
              </a:cxn>
              <a:cxn ang="0">
                <a:pos x="connsiteX42615" y="connsiteY42615"/>
              </a:cxn>
              <a:cxn ang="0">
                <a:pos x="connsiteX42616" y="connsiteY42616"/>
              </a:cxn>
              <a:cxn ang="0">
                <a:pos x="connsiteX42617" y="connsiteY42617"/>
              </a:cxn>
              <a:cxn ang="0">
                <a:pos x="connsiteX42618" y="connsiteY42618"/>
              </a:cxn>
              <a:cxn ang="0">
                <a:pos x="connsiteX42619" y="connsiteY42619"/>
              </a:cxn>
              <a:cxn ang="0">
                <a:pos x="connsiteX42620" y="connsiteY42620"/>
              </a:cxn>
              <a:cxn ang="0">
                <a:pos x="connsiteX42621" y="connsiteY42621"/>
              </a:cxn>
              <a:cxn ang="0">
                <a:pos x="connsiteX42622" y="connsiteY42622"/>
              </a:cxn>
              <a:cxn ang="0">
                <a:pos x="connsiteX42623" y="connsiteY42623"/>
              </a:cxn>
              <a:cxn ang="0">
                <a:pos x="connsiteX42624" y="connsiteY42624"/>
              </a:cxn>
              <a:cxn ang="0">
                <a:pos x="connsiteX42625" y="connsiteY42625"/>
              </a:cxn>
              <a:cxn ang="0">
                <a:pos x="connsiteX42626" y="connsiteY42626"/>
              </a:cxn>
              <a:cxn ang="0">
                <a:pos x="connsiteX42627" y="connsiteY42627"/>
              </a:cxn>
              <a:cxn ang="0">
                <a:pos x="connsiteX42628" y="connsiteY42628"/>
              </a:cxn>
              <a:cxn ang="0">
                <a:pos x="connsiteX42629" y="connsiteY42629"/>
              </a:cxn>
              <a:cxn ang="0">
                <a:pos x="connsiteX42630" y="connsiteY42630"/>
              </a:cxn>
              <a:cxn ang="0">
                <a:pos x="connsiteX42631" y="connsiteY42631"/>
              </a:cxn>
              <a:cxn ang="0">
                <a:pos x="connsiteX42632" y="connsiteY42632"/>
              </a:cxn>
              <a:cxn ang="0">
                <a:pos x="connsiteX42633" y="connsiteY42633"/>
              </a:cxn>
              <a:cxn ang="0">
                <a:pos x="connsiteX42634" y="connsiteY42634"/>
              </a:cxn>
              <a:cxn ang="0">
                <a:pos x="connsiteX42635" y="connsiteY42635"/>
              </a:cxn>
              <a:cxn ang="0">
                <a:pos x="connsiteX42636" y="connsiteY42636"/>
              </a:cxn>
              <a:cxn ang="0">
                <a:pos x="connsiteX42637" y="connsiteY42637"/>
              </a:cxn>
              <a:cxn ang="0">
                <a:pos x="connsiteX42638" y="connsiteY42638"/>
              </a:cxn>
              <a:cxn ang="0">
                <a:pos x="connsiteX42639" y="connsiteY42639"/>
              </a:cxn>
              <a:cxn ang="0">
                <a:pos x="connsiteX42640" y="connsiteY42640"/>
              </a:cxn>
              <a:cxn ang="0">
                <a:pos x="connsiteX42641" y="connsiteY42641"/>
              </a:cxn>
              <a:cxn ang="0">
                <a:pos x="connsiteX42642" y="connsiteY42642"/>
              </a:cxn>
              <a:cxn ang="0">
                <a:pos x="connsiteX42643" y="connsiteY42643"/>
              </a:cxn>
              <a:cxn ang="0">
                <a:pos x="connsiteX42644" y="connsiteY42644"/>
              </a:cxn>
              <a:cxn ang="0">
                <a:pos x="connsiteX42645" y="connsiteY42645"/>
              </a:cxn>
              <a:cxn ang="0">
                <a:pos x="connsiteX42646" y="connsiteY42646"/>
              </a:cxn>
              <a:cxn ang="0">
                <a:pos x="connsiteX42647" y="connsiteY42647"/>
              </a:cxn>
              <a:cxn ang="0">
                <a:pos x="connsiteX42648" y="connsiteY42648"/>
              </a:cxn>
              <a:cxn ang="0">
                <a:pos x="connsiteX42649" y="connsiteY42649"/>
              </a:cxn>
              <a:cxn ang="0">
                <a:pos x="connsiteX42650" y="connsiteY42650"/>
              </a:cxn>
              <a:cxn ang="0">
                <a:pos x="connsiteX42651" y="connsiteY42651"/>
              </a:cxn>
              <a:cxn ang="0">
                <a:pos x="connsiteX42652" y="connsiteY42652"/>
              </a:cxn>
              <a:cxn ang="0">
                <a:pos x="connsiteX42653" y="connsiteY42653"/>
              </a:cxn>
              <a:cxn ang="0">
                <a:pos x="connsiteX42654" y="connsiteY42654"/>
              </a:cxn>
              <a:cxn ang="0">
                <a:pos x="connsiteX42655" y="connsiteY42655"/>
              </a:cxn>
              <a:cxn ang="0">
                <a:pos x="connsiteX42656" y="connsiteY42656"/>
              </a:cxn>
              <a:cxn ang="0">
                <a:pos x="connsiteX42657" y="connsiteY42657"/>
              </a:cxn>
              <a:cxn ang="0">
                <a:pos x="connsiteX42658" y="connsiteY42658"/>
              </a:cxn>
              <a:cxn ang="0">
                <a:pos x="connsiteX42659" y="connsiteY42659"/>
              </a:cxn>
              <a:cxn ang="0">
                <a:pos x="connsiteX42660" y="connsiteY42660"/>
              </a:cxn>
              <a:cxn ang="0">
                <a:pos x="connsiteX42661" y="connsiteY42661"/>
              </a:cxn>
              <a:cxn ang="0">
                <a:pos x="connsiteX42662" y="connsiteY42662"/>
              </a:cxn>
              <a:cxn ang="0">
                <a:pos x="connsiteX42663" y="connsiteY42663"/>
              </a:cxn>
              <a:cxn ang="0">
                <a:pos x="connsiteX42664" y="connsiteY42664"/>
              </a:cxn>
              <a:cxn ang="0">
                <a:pos x="connsiteX42665" y="connsiteY42665"/>
              </a:cxn>
              <a:cxn ang="0">
                <a:pos x="connsiteX42666" y="connsiteY42666"/>
              </a:cxn>
              <a:cxn ang="0">
                <a:pos x="connsiteX42667" y="connsiteY42667"/>
              </a:cxn>
              <a:cxn ang="0">
                <a:pos x="connsiteX42668" y="connsiteY42668"/>
              </a:cxn>
              <a:cxn ang="0">
                <a:pos x="connsiteX42669" y="connsiteY42669"/>
              </a:cxn>
              <a:cxn ang="0">
                <a:pos x="connsiteX42670" y="connsiteY42670"/>
              </a:cxn>
              <a:cxn ang="0">
                <a:pos x="connsiteX42671" y="connsiteY42671"/>
              </a:cxn>
              <a:cxn ang="0">
                <a:pos x="connsiteX42672" y="connsiteY42672"/>
              </a:cxn>
              <a:cxn ang="0">
                <a:pos x="connsiteX42673" y="connsiteY42673"/>
              </a:cxn>
              <a:cxn ang="0">
                <a:pos x="connsiteX42674" y="connsiteY42674"/>
              </a:cxn>
              <a:cxn ang="0">
                <a:pos x="connsiteX42675" y="connsiteY42675"/>
              </a:cxn>
              <a:cxn ang="0">
                <a:pos x="connsiteX42676" y="connsiteY42676"/>
              </a:cxn>
              <a:cxn ang="0">
                <a:pos x="connsiteX42677" y="connsiteY42677"/>
              </a:cxn>
              <a:cxn ang="0">
                <a:pos x="connsiteX42678" y="connsiteY42678"/>
              </a:cxn>
              <a:cxn ang="0">
                <a:pos x="connsiteX42679" y="connsiteY42679"/>
              </a:cxn>
              <a:cxn ang="0">
                <a:pos x="connsiteX42680" y="connsiteY42680"/>
              </a:cxn>
              <a:cxn ang="0">
                <a:pos x="connsiteX42681" y="connsiteY42681"/>
              </a:cxn>
              <a:cxn ang="0">
                <a:pos x="connsiteX42682" y="connsiteY42682"/>
              </a:cxn>
              <a:cxn ang="0">
                <a:pos x="connsiteX42683" y="connsiteY42683"/>
              </a:cxn>
              <a:cxn ang="0">
                <a:pos x="connsiteX42684" y="connsiteY42684"/>
              </a:cxn>
              <a:cxn ang="0">
                <a:pos x="connsiteX42685" y="connsiteY42685"/>
              </a:cxn>
              <a:cxn ang="0">
                <a:pos x="connsiteX42686" y="connsiteY42686"/>
              </a:cxn>
              <a:cxn ang="0">
                <a:pos x="connsiteX42687" y="connsiteY42687"/>
              </a:cxn>
              <a:cxn ang="0">
                <a:pos x="connsiteX42688" y="connsiteY42688"/>
              </a:cxn>
              <a:cxn ang="0">
                <a:pos x="connsiteX42689" y="connsiteY42689"/>
              </a:cxn>
              <a:cxn ang="0">
                <a:pos x="connsiteX42690" y="connsiteY42690"/>
              </a:cxn>
              <a:cxn ang="0">
                <a:pos x="connsiteX42691" y="connsiteY42691"/>
              </a:cxn>
              <a:cxn ang="0">
                <a:pos x="connsiteX42692" y="connsiteY42692"/>
              </a:cxn>
              <a:cxn ang="0">
                <a:pos x="connsiteX42693" y="connsiteY42693"/>
              </a:cxn>
              <a:cxn ang="0">
                <a:pos x="connsiteX42694" y="connsiteY42694"/>
              </a:cxn>
              <a:cxn ang="0">
                <a:pos x="connsiteX42695" y="connsiteY42695"/>
              </a:cxn>
              <a:cxn ang="0">
                <a:pos x="connsiteX42696" y="connsiteY42696"/>
              </a:cxn>
              <a:cxn ang="0">
                <a:pos x="connsiteX42697" y="connsiteY42697"/>
              </a:cxn>
              <a:cxn ang="0">
                <a:pos x="connsiteX42698" y="connsiteY42698"/>
              </a:cxn>
              <a:cxn ang="0">
                <a:pos x="connsiteX42699" y="connsiteY42699"/>
              </a:cxn>
              <a:cxn ang="0">
                <a:pos x="connsiteX42700" y="connsiteY42700"/>
              </a:cxn>
              <a:cxn ang="0">
                <a:pos x="connsiteX42701" y="connsiteY42701"/>
              </a:cxn>
              <a:cxn ang="0">
                <a:pos x="connsiteX42702" y="connsiteY42702"/>
              </a:cxn>
              <a:cxn ang="0">
                <a:pos x="connsiteX42703" y="connsiteY42703"/>
              </a:cxn>
              <a:cxn ang="0">
                <a:pos x="connsiteX42704" y="connsiteY42704"/>
              </a:cxn>
              <a:cxn ang="0">
                <a:pos x="connsiteX42705" y="connsiteY42705"/>
              </a:cxn>
              <a:cxn ang="0">
                <a:pos x="connsiteX42706" y="connsiteY42706"/>
              </a:cxn>
              <a:cxn ang="0">
                <a:pos x="connsiteX42707" y="connsiteY42707"/>
              </a:cxn>
              <a:cxn ang="0">
                <a:pos x="connsiteX42708" y="connsiteY42708"/>
              </a:cxn>
              <a:cxn ang="0">
                <a:pos x="connsiteX42709" y="connsiteY42709"/>
              </a:cxn>
              <a:cxn ang="0">
                <a:pos x="connsiteX42710" y="connsiteY42710"/>
              </a:cxn>
              <a:cxn ang="0">
                <a:pos x="connsiteX42711" y="connsiteY42711"/>
              </a:cxn>
              <a:cxn ang="0">
                <a:pos x="connsiteX42712" y="connsiteY42712"/>
              </a:cxn>
              <a:cxn ang="0">
                <a:pos x="connsiteX42713" y="connsiteY42713"/>
              </a:cxn>
              <a:cxn ang="0">
                <a:pos x="connsiteX42714" y="connsiteY42714"/>
              </a:cxn>
              <a:cxn ang="0">
                <a:pos x="connsiteX42715" y="connsiteY42715"/>
              </a:cxn>
              <a:cxn ang="0">
                <a:pos x="connsiteX42716" y="connsiteY42716"/>
              </a:cxn>
              <a:cxn ang="0">
                <a:pos x="connsiteX42717" y="connsiteY42717"/>
              </a:cxn>
              <a:cxn ang="0">
                <a:pos x="connsiteX42718" y="connsiteY42718"/>
              </a:cxn>
              <a:cxn ang="0">
                <a:pos x="connsiteX42719" y="connsiteY42719"/>
              </a:cxn>
              <a:cxn ang="0">
                <a:pos x="connsiteX42720" y="connsiteY42720"/>
              </a:cxn>
              <a:cxn ang="0">
                <a:pos x="connsiteX42721" y="connsiteY42721"/>
              </a:cxn>
              <a:cxn ang="0">
                <a:pos x="connsiteX42722" y="connsiteY42722"/>
              </a:cxn>
              <a:cxn ang="0">
                <a:pos x="connsiteX42723" y="connsiteY42723"/>
              </a:cxn>
              <a:cxn ang="0">
                <a:pos x="connsiteX42724" y="connsiteY42724"/>
              </a:cxn>
              <a:cxn ang="0">
                <a:pos x="connsiteX42725" y="connsiteY42725"/>
              </a:cxn>
              <a:cxn ang="0">
                <a:pos x="connsiteX42726" y="connsiteY42726"/>
              </a:cxn>
              <a:cxn ang="0">
                <a:pos x="connsiteX42727" y="connsiteY42727"/>
              </a:cxn>
              <a:cxn ang="0">
                <a:pos x="connsiteX42728" y="connsiteY42728"/>
              </a:cxn>
              <a:cxn ang="0">
                <a:pos x="connsiteX42729" y="connsiteY42729"/>
              </a:cxn>
              <a:cxn ang="0">
                <a:pos x="connsiteX42730" y="connsiteY42730"/>
              </a:cxn>
              <a:cxn ang="0">
                <a:pos x="connsiteX42731" y="connsiteY42731"/>
              </a:cxn>
              <a:cxn ang="0">
                <a:pos x="connsiteX42732" y="connsiteY42732"/>
              </a:cxn>
              <a:cxn ang="0">
                <a:pos x="connsiteX42733" y="connsiteY42733"/>
              </a:cxn>
              <a:cxn ang="0">
                <a:pos x="connsiteX42734" y="connsiteY42734"/>
              </a:cxn>
              <a:cxn ang="0">
                <a:pos x="connsiteX42735" y="connsiteY42735"/>
              </a:cxn>
              <a:cxn ang="0">
                <a:pos x="connsiteX42736" y="connsiteY42736"/>
              </a:cxn>
              <a:cxn ang="0">
                <a:pos x="connsiteX42737" y="connsiteY42737"/>
              </a:cxn>
              <a:cxn ang="0">
                <a:pos x="connsiteX42738" y="connsiteY42738"/>
              </a:cxn>
              <a:cxn ang="0">
                <a:pos x="connsiteX42739" y="connsiteY42739"/>
              </a:cxn>
              <a:cxn ang="0">
                <a:pos x="connsiteX42740" y="connsiteY42740"/>
              </a:cxn>
              <a:cxn ang="0">
                <a:pos x="connsiteX42741" y="connsiteY42741"/>
              </a:cxn>
              <a:cxn ang="0">
                <a:pos x="connsiteX42742" y="connsiteY42742"/>
              </a:cxn>
              <a:cxn ang="0">
                <a:pos x="connsiteX42743" y="connsiteY42743"/>
              </a:cxn>
              <a:cxn ang="0">
                <a:pos x="connsiteX42744" y="connsiteY42744"/>
              </a:cxn>
              <a:cxn ang="0">
                <a:pos x="connsiteX42745" y="connsiteY42745"/>
              </a:cxn>
              <a:cxn ang="0">
                <a:pos x="connsiteX42746" y="connsiteY42746"/>
              </a:cxn>
              <a:cxn ang="0">
                <a:pos x="connsiteX42747" y="connsiteY42747"/>
              </a:cxn>
              <a:cxn ang="0">
                <a:pos x="connsiteX42748" y="connsiteY42748"/>
              </a:cxn>
              <a:cxn ang="0">
                <a:pos x="connsiteX42749" y="connsiteY42749"/>
              </a:cxn>
              <a:cxn ang="0">
                <a:pos x="connsiteX42750" y="connsiteY42750"/>
              </a:cxn>
              <a:cxn ang="0">
                <a:pos x="connsiteX42751" y="connsiteY42751"/>
              </a:cxn>
              <a:cxn ang="0">
                <a:pos x="connsiteX42752" y="connsiteY42752"/>
              </a:cxn>
              <a:cxn ang="0">
                <a:pos x="connsiteX42753" y="connsiteY42753"/>
              </a:cxn>
              <a:cxn ang="0">
                <a:pos x="connsiteX42754" y="connsiteY42754"/>
              </a:cxn>
              <a:cxn ang="0">
                <a:pos x="connsiteX42755" y="connsiteY42755"/>
              </a:cxn>
              <a:cxn ang="0">
                <a:pos x="connsiteX42756" y="connsiteY42756"/>
              </a:cxn>
              <a:cxn ang="0">
                <a:pos x="connsiteX42757" y="connsiteY42757"/>
              </a:cxn>
              <a:cxn ang="0">
                <a:pos x="connsiteX42758" y="connsiteY42758"/>
              </a:cxn>
              <a:cxn ang="0">
                <a:pos x="connsiteX42759" y="connsiteY42759"/>
              </a:cxn>
              <a:cxn ang="0">
                <a:pos x="connsiteX42760" y="connsiteY42760"/>
              </a:cxn>
              <a:cxn ang="0">
                <a:pos x="connsiteX42761" y="connsiteY42761"/>
              </a:cxn>
              <a:cxn ang="0">
                <a:pos x="connsiteX42762" y="connsiteY42762"/>
              </a:cxn>
              <a:cxn ang="0">
                <a:pos x="connsiteX42763" y="connsiteY42763"/>
              </a:cxn>
              <a:cxn ang="0">
                <a:pos x="connsiteX42764" y="connsiteY42764"/>
              </a:cxn>
              <a:cxn ang="0">
                <a:pos x="connsiteX42765" y="connsiteY42765"/>
              </a:cxn>
              <a:cxn ang="0">
                <a:pos x="connsiteX42766" y="connsiteY42766"/>
              </a:cxn>
              <a:cxn ang="0">
                <a:pos x="connsiteX42767" y="connsiteY42767"/>
              </a:cxn>
              <a:cxn ang="0">
                <a:pos x="connsiteX42768" y="connsiteY42768"/>
              </a:cxn>
              <a:cxn ang="0">
                <a:pos x="connsiteX42769" y="connsiteY42769"/>
              </a:cxn>
              <a:cxn ang="0">
                <a:pos x="connsiteX42770" y="connsiteY42770"/>
              </a:cxn>
              <a:cxn ang="0">
                <a:pos x="connsiteX42771" y="connsiteY42771"/>
              </a:cxn>
              <a:cxn ang="0">
                <a:pos x="connsiteX42772" y="connsiteY42772"/>
              </a:cxn>
              <a:cxn ang="0">
                <a:pos x="connsiteX42773" y="connsiteY42773"/>
              </a:cxn>
              <a:cxn ang="0">
                <a:pos x="connsiteX42774" y="connsiteY42774"/>
              </a:cxn>
              <a:cxn ang="0">
                <a:pos x="connsiteX42775" y="connsiteY42775"/>
              </a:cxn>
              <a:cxn ang="0">
                <a:pos x="connsiteX42776" y="connsiteY42776"/>
              </a:cxn>
              <a:cxn ang="0">
                <a:pos x="connsiteX42777" y="connsiteY42777"/>
              </a:cxn>
              <a:cxn ang="0">
                <a:pos x="connsiteX42778" y="connsiteY42778"/>
              </a:cxn>
              <a:cxn ang="0">
                <a:pos x="connsiteX42779" y="connsiteY42779"/>
              </a:cxn>
              <a:cxn ang="0">
                <a:pos x="connsiteX42780" y="connsiteY42780"/>
              </a:cxn>
              <a:cxn ang="0">
                <a:pos x="connsiteX42781" y="connsiteY42781"/>
              </a:cxn>
              <a:cxn ang="0">
                <a:pos x="connsiteX42782" y="connsiteY42782"/>
              </a:cxn>
              <a:cxn ang="0">
                <a:pos x="connsiteX42783" y="connsiteY42783"/>
              </a:cxn>
              <a:cxn ang="0">
                <a:pos x="connsiteX42784" y="connsiteY42784"/>
              </a:cxn>
              <a:cxn ang="0">
                <a:pos x="connsiteX42785" y="connsiteY42785"/>
              </a:cxn>
              <a:cxn ang="0">
                <a:pos x="connsiteX42786" y="connsiteY42786"/>
              </a:cxn>
              <a:cxn ang="0">
                <a:pos x="connsiteX42787" y="connsiteY42787"/>
              </a:cxn>
              <a:cxn ang="0">
                <a:pos x="connsiteX42788" y="connsiteY42788"/>
              </a:cxn>
              <a:cxn ang="0">
                <a:pos x="connsiteX42789" y="connsiteY42789"/>
              </a:cxn>
              <a:cxn ang="0">
                <a:pos x="connsiteX42790" y="connsiteY42790"/>
              </a:cxn>
              <a:cxn ang="0">
                <a:pos x="connsiteX42791" y="connsiteY42791"/>
              </a:cxn>
              <a:cxn ang="0">
                <a:pos x="connsiteX42792" y="connsiteY42792"/>
              </a:cxn>
              <a:cxn ang="0">
                <a:pos x="connsiteX42793" y="connsiteY42793"/>
              </a:cxn>
              <a:cxn ang="0">
                <a:pos x="connsiteX42794" y="connsiteY42794"/>
              </a:cxn>
              <a:cxn ang="0">
                <a:pos x="connsiteX42795" y="connsiteY42795"/>
              </a:cxn>
              <a:cxn ang="0">
                <a:pos x="connsiteX42796" y="connsiteY42796"/>
              </a:cxn>
              <a:cxn ang="0">
                <a:pos x="connsiteX42797" y="connsiteY42797"/>
              </a:cxn>
              <a:cxn ang="0">
                <a:pos x="connsiteX42798" y="connsiteY42798"/>
              </a:cxn>
              <a:cxn ang="0">
                <a:pos x="connsiteX42799" y="connsiteY42799"/>
              </a:cxn>
              <a:cxn ang="0">
                <a:pos x="connsiteX42800" y="connsiteY42800"/>
              </a:cxn>
              <a:cxn ang="0">
                <a:pos x="connsiteX42801" y="connsiteY42801"/>
              </a:cxn>
              <a:cxn ang="0">
                <a:pos x="connsiteX42802" y="connsiteY42802"/>
              </a:cxn>
              <a:cxn ang="0">
                <a:pos x="connsiteX42803" y="connsiteY42803"/>
              </a:cxn>
              <a:cxn ang="0">
                <a:pos x="connsiteX42804" y="connsiteY42804"/>
              </a:cxn>
              <a:cxn ang="0">
                <a:pos x="connsiteX42805" y="connsiteY42805"/>
              </a:cxn>
              <a:cxn ang="0">
                <a:pos x="connsiteX42806" y="connsiteY42806"/>
              </a:cxn>
              <a:cxn ang="0">
                <a:pos x="connsiteX42807" y="connsiteY42807"/>
              </a:cxn>
              <a:cxn ang="0">
                <a:pos x="connsiteX42808" y="connsiteY42808"/>
              </a:cxn>
              <a:cxn ang="0">
                <a:pos x="connsiteX42809" y="connsiteY42809"/>
              </a:cxn>
              <a:cxn ang="0">
                <a:pos x="connsiteX42810" y="connsiteY42810"/>
              </a:cxn>
              <a:cxn ang="0">
                <a:pos x="connsiteX42811" y="connsiteY42811"/>
              </a:cxn>
              <a:cxn ang="0">
                <a:pos x="connsiteX42812" y="connsiteY42812"/>
              </a:cxn>
              <a:cxn ang="0">
                <a:pos x="connsiteX42813" y="connsiteY42813"/>
              </a:cxn>
              <a:cxn ang="0">
                <a:pos x="connsiteX42814" y="connsiteY42814"/>
              </a:cxn>
              <a:cxn ang="0">
                <a:pos x="connsiteX42815" y="connsiteY42815"/>
              </a:cxn>
              <a:cxn ang="0">
                <a:pos x="connsiteX42816" y="connsiteY42816"/>
              </a:cxn>
              <a:cxn ang="0">
                <a:pos x="connsiteX42817" y="connsiteY42817"/>
              </a:cxn>
              <a:cxn ang="0">
                <a:pos x="connsiteX42818" y="connsiteY42818"/>
              </a:cxn>
              <a:cxn ang="0">
                <a:pos x="connsiteX42819" y="connsiteY42819"/>
              </a:cxn>
              <a:cxn ang="0">
                <a:pos x="connsiteX42820" y="connsiteY42820"/>
              </a:cxn>
              <a:cxn ang="0">
                <a:pos x="connsiteX42821" y="connsiteY42821"/>
              </a:cxn>
              <a:cxn ang="0">
                <a:pos x="connsiteX42822" y="connsiteY42822"/>
              </a:cxn>
              <a:cxn ang="0">
                <a:pos x="connsiteX42823" y="connsiteY42823"/>
              </a:cxn>
              <a:cxn ang="0">
                <a:pos x="connsiteX42824" y="connsiteY42824"/>
              </a:cxn>
              <a:cxn ang="0">
                <a:pos x="connsiteX42825" y="connsiteY42825"/>
              </a:cxn>
              <a:cxn ang="0">
                <a:pos x="connsiteX42826" y="connsiteY42826"/>
              </a:cxn>
              <a:cxn ang="0">
                <a:pos x="connsiteX42827" y="connsiteY42827"/>
              </a:cxn>
              <a:cxn ang="0">
                <a:pos x="connsiteX42828" y="connsiteY42828"/>
              </a:cxn>
              <a:cxn ang="0">
                <a:pos x="connsiteX42829" y="connsiteY42829"/>
              </a:cxn>
              <a:cxn ang="0">
                <a:pos x="connsiteX42830" y="connsiteY42830"/>
              </a:cxn>
              <a:cxn ang="0">
                <a:pos x="connsiteX42831" y="connsiteY42831"/>
              </a:cxn>
              <a:cxn ang="0">
                <a:pos x="connsiteX42832" y="connsiteY42832"/>
              </a:cxn>
              <a:cxn ang="0">
                <a:pos x="connsiteX42833" y="connsiteY42833"/>
              </a:cxn>
              <a:cxn ang="0">
                <a:pos x="connsiteX42834" y="connsiteY42834"/>
              </a:cxn>
              <a:cxn ang="0">
                <a:pos x="connsiteX42835" y="connsiteY42835"/>
              </a:cxn>
              <a:cxn ang="0">
                <a:pos x="connsiteX42836" y="connsiteY42836"/>
              </a:cxn>
              <a:cxn ang="0">
                <a:pos x="connsiteX42837" y="connsiteY42837"/>
              </a:cxn>
              <a:cxn ang="0">
                <a:pos x="connsiteX42838" y="connsiteY42838"/>
              </a:cxn>
              <a:cxn ang="0">
                <a:pos x="connsiteX42839" y="connsiteY42839"/>
              </a:cxn>
              <a:cxn ang="0">
                <a:pos x="connsiteX42840" y="connsiteY42840"/>
              </a:cxn>
              <a:cxn ang="0">
                <a:pos x="connsiteX42841" y="connsiteY42841"/>
              </a:cxn>
              <a:cxn ang="0">
                <a:pos x="connsiteX42842" y="connsiteY42842"/>
              </a:cxn>
              <a:cxn ang="0">
                <a:pos x="connsiteX42843" y="connsiteY42843"/>
              </a:cxn>
              <a:cxn ang="0">
                <a:pos x="connsiteX42844" y="connsiteY42844"/>
              </a:cxn>
              <a:cxn ang="0">
                <a:pos x="connsiteX42845" y="connsiteY42845"/>
              </a:cxn>
              <a:cxn ang="0">
                <a:pos x="connsiteX42846" y="connsiteY42846"/>
              </a:cxn>
              <a:cxn ang="0">
                <a:pos x="connsiteX42847" y="connsiteY42847"/>
              </a:cxn>
              <a:cxn ang="0">
                <a:pos x="connsiteX42848" y="connsiteY42848"/>
              </a:cxn>
              <a:cxn ang="0">
                <a:pos x="connsiteX42849" y="connsiteY42849"/>
              </a:cxn>
              <a:cxn ang="0">
                <a:pos x="connsiteX42850" y="connsiteY42850"/>
              </a:cxn>
              <a:cxn ang="0">
                <a:pos x="connsiteX42851" y="connsiteY42851"/>
              </a:cxn>
              <a:cxn ang="0">
                <a:pos x="connsiteX42852" y="connsiteY42852"/>
              </a:cxn>
              <a:cxn ang="0">
                <a:pos x="connsiteX42853" y="connsiteY42853"/>
              </a:cxn>
              <a:cxn ang="0">
                <a:pos x="connsiteX42854" y="connsiteY42854"/>
              </a:cxn>
              <a:cxn ang="0">
                <a:pos x="connsiteX42855" y="connsiteY42855"/>
              </a:cxn>
              <a:cxn ang="0">
                <a:pos x="connsiteX42856" y="connsiteY42856"/>
              </a:cxn>
              <a:cxn ang="0">
                <a:pos x="connsiteX42857" y="connsiteY42857"/>
              </a:cxn>
              <a:cxn ang="0">
                <a:pos x="connsiteX42858" y="connsiteY42858"/>
              </a:cxn>
              <a:cxn ang="0">
                <a:pos x="connsiteX42859" y="connsiteY42859"/>
              </a:cxn>
              <a:cxn ang="0">
                <a:pos x="connsiteX42860" y="connsiteY42860"/>
              </a:cxn>
              <a:cxn ang="0">
                <a:pos x="connsiteX42861" y="connsiteY42861"/>
              </a:cxn>
              <a:cxn ang="0">
                <a:pos x="connsiteX42862" y="connsiteY42862"/>
              </a:cxn>
              <a:cxn ang="0">
                <a:pos x="connsiteX42863" y="connsiteY42863"/>
              </a:cxn>
              <a:cxn ang="0">
                <a:pos x="connsiteX42864" y="connsiteY42864"/>
              </a:cxn>
              <a:cxn ang="0">
                <a:pos x="connsiteX42865" y="connsiteY42865"/>
              </a:cxn>
              <a:cxn ang="0">
                <a:pos x="connsiteX42866" y="connsiteY42866"/>
              </a:cxn>
              <a:cxn ang="0">
                <a:pos x="connsiteX42867" y="connsiteY42867"/>
              </a:cxn>
              <a:cxn ang="0">
                <a:pos x="connsiteX42868" y="connsiteY42868"/>
              </a:cxn>
              <a:cxn ang="0">
                <a:pos x="connsiteX42869" y="connsiteY42869"/>
              </a:cxn>
              <a:cxn ang="0">
                <a:pos x="connsiteX42870" y="connsiteY42870"/>
              </a:cxn>
              <a:cxn ang="0">
                <a:pos x="connsiteX42871" y="connsiteY42871"/>
              </a:cxn>
              <a:cxn ang="0">
                <a:pos x="connsiteX42872" y="connsiteY42872"/>
              </a:cxn>
              <a:cxn ang="0">
                <a:pos x="connsiteX42873" y="connsiteY42873"/>
              </a:cxn>
              <a:cxn ang="0">
                <a:pos x="connsiteX42874" y="connsiteY42874"/>
              </a:cxn>
              <a:cxn ang="0">
                <a:pos x="connsiteX42875" y="connsiteY42875"/>
              </a:cxn>
              <a:cxn ang="0">
                <a:pos x="connsiteX42876" y="connsiteY42876"/>
              </a:cxn>
              <a:cxn ang="0">
                <a:pos x="connsiteX42877" y="connsiteY42877"/>
              </a:cxn>
              <a:cxn ang="0">
                <a:pos x="connsiteX42878" y="connsiteY42878"/>
              </a:cxn>
              <a:cxn ang="0">
                <a:pos x="connsiteX42879" y="connsiteY42879"/>
              </a:cxn>
              <a:cxn ang="0">
                <a:pos x="connsiteX42880" y="connsiteY42880"/>
              </a:cxn>
              <a:cxn ang="0">
                <a:pos x="connsiteX42881" y="connsiteY42881"/>
              </a:cxn>
              <a:cxn ang="0">
                <a:pos x="connsiteX42882" y="connsiteY42882"/>
              </a:cxn>
              <a:cxn ang="0">
                <a:pos x="connsiteX42883" y="connsiteY42883"/>
              </a:cxn>
              <a:cxn ang="0">
                <a:pos x="connsiteX42884" y="connsiteY42884"/>
              </a:cxn>
              <a:cxn ang="0">
                <a:pos x="connsiteX42885" y="connsiteY42885"/>
              </a:cxn>
              <a:cxn ang="0">
                <a:pos x="connsiteX42886" y="connsiteY42886"/>
              </a:cxn>
              <a:cxn ang="0">
                <a:pos x="connsiteX42887" y="connsiteY42887"/>
              </a:cxn>
              <a:cxn ang="0">
                <a:pos x="connsiteX42888" y="connsiteY42888"/>
              </a:cxn>
              <a:cxn ang="0">
                <a:pos x="connsiteX42889" y="connsiteY42889"/>
              </a:cxn>
              <a:cxn ang="0">
                <a:pos x="connsiteX42890" y="connsiteY42890"/>
              </a:cxn>
              <a:cxn ang="0">
                <a:pos x="connsiteX42891" y="connsiteY42891"/>
              </a:cxn>
              <a:cxn ang="0">
                <a:pos x="connsiteX42892" y="connsiteY42892"/>
              </a:cxn>
              <a:cxn ang="0">
                <a:pos x="connsiteX42893" y="connsiteY42893"/>
              </a:cxn>
              <a:cxn ang="0">
                <a:pos x="connsiteX42894" y="connsiteY42894"/>
              </a:cxn>
              <a:cxn ang="0">
                <a:pos x="connsiteX42895" y="connsiteY42895"/>
              </a:cxn>
              <a:cxn ang="0">
                <a:pos x="connsiteX42896" y="connsiteY42896"/>
              </a:cxn>
              <a:cxn ang="0">
                <a:pos x="connsiteX42897" y="connsiteY42897"/>
              </a:cxn>
              <a:cxn ang="0">
                <a:pos x="connsiteX42898" y="connsiteY42898"/>
              </a:cxn>
              <a:cxn ang="0">
                <a:pos x="connsiteX42899" y="connsiteY42899"/>
              </a:cxn>
              <a:cxn ang="0">
                <a:pos x="connsiteX42900" y="connsiteY42900"/>
              </a:cxn>
              <a:cxn ang="0">
                <a:pos x="connsiteX42901" y="connsiteY42901"/>
              </a:cxn>
              <a:cxn ang="0">
                <a:pos x="connsiteX42902" y="connsiteY42902"/>
              </a:cxn>
              <a:cxn ang="0">
                <a:pos x="connsiteX42903" y="connsiteY42903"/>
              </a:cxn>
              <a:cxn ang="0">
                <a:pos x="connsiteX42904" y="connsiteY42904"/>
              </a:cxn>
              <a:cxn ang="0">
                <a:pos x="connsiteX42905" y="connsiteY42905"/>
              </a:cxn>
              <a:cxn ang="0">
                <a:pos x="connsiteX42906" y="connsiteY42906"/>
              </a:cxn>
              <a:cxn ang="0">
                <a:pos x="connsiteX42907" y="connsiteY42907"/>
              </a:cxn>
              <a:cxn ang="0">
                <a:pos x="connsiteX42908" y="connsiteY42908"/>
              </a:cxn>
              <a:cxn ang="0">
                <a:pos x="connsiteX42909" y="connsiteY42909"/>
              </a:cxn>
              <a:cxn ang="0">
                <a:pos x="connsiteX42910" y="connsiteY42910"/>
              </a:cxn>
              <a:cxn ang="0">
                <a:pos x="connsiteX42911" y="connsiteY42911"/>
              </a:cxn>
              <a:cxn ang="0">
                <a:pos x="connsiteX42912" y="connsiteY42912"/>
              </a:cxn>
              <a:cxn ang="0">
                <a:pos x="connsiteX42913" y="connsiteY42913"/>
              </a:cxn>
              <a:cxn ang="0">
                <a:pos x="connsiteX42914" y="connsiteY42914"/>
              </a:cxn>
              <a:cxn ang="0">
                <a:pos x="connsiteX42915" y="connsiteY42915"/>
              </a:cxn>
              <a:cxn ang="0">
                <a:pos x="connsiteX42916" y="connsiteY42916"/>
              </a:cxn>
              <a:cxn ang="0">
                <a:pos x="connsiteX42917" y="connsiteY42917"/>
              </a:cxn>
              <a:cxn ang="0">
                <a:pos x="connsiteX42918" y="connsiteY42918"/>
              </a:cxn>
              <a:cxn ang="0">
                <a:pos x="connsiteX42919" y="connsiteY42919"/>
              </a:cxn>
              <a:cxn ang="0">
                <a:pos x="connsiteX42920" y="connsiteY42920"/>
              </a:cxn>
              <a:cxn ang="0">
                <a:pos x="connsiteX42921" y="connsiteY42921"/>
              </a:cxn>
              <a:cxn ang="0">
                <a:pos x="connsiteX42922" y="connsiteY42922"/>
              </a:cxn>
              <a:cxn ang="0">
                <a:pos x="connsiteX42923" y="connsiteY42923"/>
              </a:cxn>
              <a:cxn ang="0">
                <a:pos x="connsiteX42924" y="connsiteY42924"/>
              </a:cxn>
              <a:cxn ang="0">
                <a:pos x="connsiteX42925" y="connsiteY42925"/>
              </a:cxn>
              <a:cxn ang="0">
                <a:pos x="connsiteX42926" y="connsiteY42926"/>
              </a:cxn>
              <a:cxn ang="0">
                <a:pos x="connsiteX42927" y="connsiteY42927"/>
              </a:cxn>
              <a:cxn ang="0">
                <a:pos x="connsiteX42928" y="connsiteY42928"/>
              </a:cxn>
              <a:cxn ang="0">
                <a:pos x="connsiteX42929" y="connsiteY42929"/>
              </a:cxn>
              <a:cxn ang="0">
                <a:pos x="connsiteX42930" y="connsiteY42930"/>
              </a:cxn>
              <a:cxn ang="0">
                <a:pos x="connsiteX42931" y="connsiteY42931"/>
              </a:cxn>
              <a:cxn ang="0">
                <a:pos x="connsiteX42932" y="connsiteY42932"/>
              </a:cxn>
              <a:cxn ang="0">
                <a:pos x="connsiteX42933" y="connsiteY42933"/>
              </a:cxn>
              <a:cxn ang="0">
                <a:pos x="connsiteX42934" y="connsiteY42934"/>
              </a:cxn>
              <a:cxn ang="0">
                <a:pos x="connsiteX42935" y="connsiteY42935"/>
              </a:cxn>
              <a:cxn ang="0">
                <a:pos x="connsiteX42936" y="connsiteY42936"/>
              </a:cxn>
              <a:cxn ang="0">
                <a:pos x="connsiteX42937" y="connsiteY42937"/>
              </a:cxn>
              <a:cxn ang="0">
                <a:pos x="connsiteX42938" y="connsiteY42938"/>
              </a:cxn>
              <a:cxn ang="0">
                <a:pos x="connsiteX42939" y="connsiteY42939"/>
              </a:cxn>
              <a:cxn ang="0">
                <a:pos x="connsiteX42940" y="connsiteY42940"/>
              </a:cxn>
              <a:cxn ang="0">
                <a:pos x="connsiteX42941" y="connsiteY42941"/>
              </a:cxn>
              <a:cxn ang="0">
                <a:pos x="connsiteX42942" y="connsiteY42942"/>
              </a:cxn>
              <a:cxn ang="0">
                <a:pos x="connsiteX42943" y="connsiteY42943"/>
              </a:cxn>
              <a:cxn ang="0">
                <a:pos x="connsiteX42944" y="connsiteY42944"/>
              </a:cxn>
              <a:cxn ang="0">
                <a:pos x="connsiteX42945" y="connsiteY42945"/>
              </a:cxn>
              <a:cxn ang="0">
                <a:pos x="connsiteX42946" y="connsiteY42946"/>
              </a:cxn>
              <a:cxn ang="0">
                <a:pos x="connsiteX42947" y="connsiteY42947"/>
              </a:cxn>
              <a:cxn ang="0">
                <a:pos x="connsiteX42948" y="connsiteY42948"/>
              </a:cxn>
              <a:cxn ang="0">
                <a:pos x="connsiteX42949" y="connsiteY42949"/>
              </a:cxn>
              <a:cxn ang="0">
                <a:pos x="connsiteX42950" y="connsiteY42950"/>
              </a:cxn>
              <a:cxn ang="0">
                <a:pos x="connsiteX42951" y="connsiteY42951"/>
              </a:cxn>
              <a:cxn ang="0">
                <a:pos x="connsiteX42952" y="connsiteY42952"/>
              </a:cxn>
              <a:cxn ang="0">
                <a:pos x="connsiteX42953" y="connsiteY42953"/>
              </a:cxn>
              <a:cxn ang="0">
                <a:pos x="connsiteX42954" y="connsiteY42954"/>
              </a:cxn>
              <a:cxn ang="0">
                <a:pos x="connsiteX42955" y="connsiteY42955"/>
              </a:cxn>
              <a:cxn ang="0">
                <a:pos x="connsiteX42956" y="connsiteY42956"/>
              </a:cxn>
              <a:cxn ang="0">
                <a:pos x="connsiteX42957" y="connsiteY42957"/>
              </a:cxn>
              <a:cxn ang="0">
                <a:pos x="connsiteX42958" y="connsiteY42958"/>
              </a:cxn>
              <a:cxn ang="0">
                <a:pos x="connsiteX42959" y="connsiteY42959"/>
              </a:cxn>
              <a:cxn ang="0">
                <a:pos x="connsiteX42960" y="connsiteY42960"/>
              </a:cxn>
              <a:cxn ang="0">
                <a:pos x="connsiteX42961" y="connsiteY42961"/>
              </a:cxn>
              <a:cxn ang="0">
                <a:pos x="connsiteX42962" y="connsiteY42962"/>
              </a:cxn>
              <a:cxn ang="0">
                <a:pos x="connsiteX42963" y="connsiteY42963"/>
              </a:cxn>
              <a:cxn ang="0">
                <a:pos x="connsiteX42964" y="connsiteY42964"/>
              </a:cxn>
              <a:cxn ang="0">
                <a:pos x="connsiteX42965" y="connsiteY42965"/>
              </a:cxn>
              <a:cxn ang="0">
                <a:pos x="connsiteX42966" y="connsiteY42966"/>
              </a:cxn>
              <a:cxn ang="0">
                <a:pos x="connsiteX42967" y="connsiteY42967"/>
              </a:cxn>
              <a:cxn ang="0">
                <a:pos x="connsiteX42968" y="connsiteY42968"/>
              </a:cxn>
              <a:cxn ang="0">
                <a:pos x="connsiteX42969" y="connsiteY42969"/>
              </a:cxn>
              <a:cxn ang="0">
                <a:pos x="connsiteX42970" y="connsiteY42970"/>
              </a:cxn>
              <a:cxn ang="0">
                <a:pos x="connsiteX42971" y="connsiteY42971"/>
              </a:cxn>
              <a:cxn ang="0">
                <a:pos x="connsiteX42972" y="connsiteY42972"/>
              </a:cxn>
              <a:cxn ang="0">
                <a:pos x="connsiteX42973" y="connsiteY42973"/>
              </a:cxn>
              <a:cxn ang="0">
                <a:pos x="connsiteX42974" y="connsiteY42974"/>
              </a:cxn>
              <a:cxn ang="0">
                <a:pos x="connsiteX42975" y="connsiteY42975"/>
              </a:cxn>
              <a:cxn ang="0">
                <a:pos x="connsiteX42976" y="connsiteY42976"/>
              </a:cxn>
              <a:cxn ang="0">
                <a:pos x="connsiteX42977" y="connsiteY42977"/>
              </a:cxn>
              <a:cxn ang="0">
                <a:pos x="connsiteX42978" y="connsiteY42978"/>
              </a:cxn>
              <a:cxn ang="0">
                <a:pos x="connsiteX42979" y="connsiteY42979"/>
              </a:cxn>
              <a:cxn ang="0">
                <a:pos x="connsiteX42980" y="connsiteY42980"/>
              </a:cxn>
              <a:cxn ang="0">
                <a:pos x="connsiteX42981" y="connsiteY42981"/>
              </a:cxn>
              <a:cxn ang="0">
                <a:pos x="connsiteX42982" y="connsiteY42982"/>
              </a:cxn>
              <a:cxn ang="0">
                <a:pos x="connsiteX42983" y="connsiteY42983"/>
              </a:cxn>
              <a:cxn ang="0">
                <a:pos x="connsiteX42984" y="connsiteY42984"/>
              </a:cxn>
              <a:cxn ang="0">
                <a:pos x="connsiteX42985" y="connsiteY42985"/>
              </a:cxn>
              <a:cxn ang="0">
                <a:pos x="connsiteX42986" y="connsiteY42986"/>
              </a:cxn>
              <a:cxn ang="0">
                <a:pos x="connsiteX42987" y="connsiteY42987"/>
              </a:cxn>
              <a:cxn ang="0">
                <a:pos x="connsiteX42988" y="connsiteY42988"/>
              </a:cxn>
              <a:cxn ang="0">
                <a:pos x="connsiteX42989" y="connsiteY42989"/>
              </a:cxn>
              <a:cxn ang="0">
                <a:pos x="connsiteX42990" y="connsiteY42990"/>
              </a:cxn>
              <a:cxn ang="0">
                <a:pos x="connsiteX42991" y="connsiteY42991"/>
              </a:cxn>
              <a:cxn ang="0">
                <a:pos x="connsiteX42992" y="connsiteY42992"/>
              </a:cxn>
              <a:cxn ang="0">
                <a:pos x="connsiteX42993" y="connsiteY42993"/>
              </a:cxn>
              <a:cxn ang="0">
                <a:pos x="connsiteX42994" y="connsiteY42994"/>
              </a:cxn>
              <a:cxn ang="0">
                <a:pos x="connsiteX42995" y="connsiteY42995"/>
              </a:cxn>
              <a:cxn ang="0">
                <a:pos x="connsiteX42996" y="connsiteY42996"/>
              </a:cxn>
              <a:cxn ang="0">
                <a:pos x="connsiteX42997" y="connsiteY42997"/>
              </a:cxn>
              <a:cxn ang="0">
                <a:pos x="connsiteX42998" y="connsiteY42998"/>
              </a:cxn>
              <a:cxn ang="0">
                <a:pos x="connsiteX42999" y="connsiteY42999"/>
              </a:cxn>
              <a:cxn ang="0">
                <a:pos x="connsiteX43000" y="connsiteY43000"/>
              </a:cxn>
              <a:cxn ang="0">
                <a:pos x="connsiteX43001" y="connsiteY43001"/>
              </a:cxn>
              <a:cxn ang="0">
                <a:pos x="connsiteX43002" y="connsiteY43002"/>
              </a:cxn>
              <a:cxn ang="0">
                <a:pos x="connsiteX43003" y="connsiteY43003"/>
              </a:cxn>
              <a:cxn ang="0">
                <a:pos x="connsiteX43004" y="connsiteY43004"/>
              </a:cxn>
              <a:cxn ang="0">
                <a:pos x="connsiteX43005" y="connsiteY43005"/>
              </a:cxn>
              <a:cxn ang="0">
                <a:pos x="connsiteX43006" y="connsiteY43006"/>
              </a:cxn>
              <a:cxn ang="0">
                <a:pos x="connsiteX43007" y="connsiteY43007"/>
              </a:cxn>
              <a:cxn ang="0">
                <a:pos x="connsiteX43008" y="connsiteY43008"/>
              </a:cxn>
              <a:cxn ang="0">
                <a:pos x="connsiteX43009" y="connsiteY43009"/>
              </a:cxn>
              <a:cxn ang="0">
                <a:pos x="connsiteX43010" y="connsiteY43010"/>
              </a:cxn>
              <a:cxn ang="0">
                <a:pos x="connsiteX43011" y="connsiteY43011"/>
              </a:cxn>
              <a:cxn ang="0">
                <a:pos x="connsiteX43012" y="connsiteY43012"/>
              </a:cxn>
              <a:cxn ang="0">
                <a:pos x="connsiteX43013" y="connsiteY43013"/>
              </a:cxn>
              <a:cxn ang="0">
                <a:pos x="connsiteX43014" y="connsiteY43014"/>
              </a:cxn>
              <a:cxn ang="0">
                <a:pos x="connsiteX43015" y="connsiteY43015"/>
              </a:cxn>
              <a:cxn ang="0">
                <a:pos x="connsiteX43016" y="connsiteY43016"/>
              </a:cxn>
              <a:cxn ang="0">
                <a:pos x="connsiteX43017" y="connsiteY43017"/>
              </a:cxn>
              <a:cxn ang="0">
                <a:pos x="connsiteX43018" y="connsiteY43018"/>
              </a:cxn>
              <a:cxn ang="0">
                <a:pos x="connsiteX43019" y="connsiteY43019"/>
              </a:cxn>
              <a:cxn ang="0">
                <a:pos x="connsiteX43020" y="connsiteY43020"/>
              </a:cxn>
              <a:cxn ang="0">
                <a:pos x="connsiteX43021" y="connsiteY43021"/>
              </a:cxn>
              <a:cxn ang="0">
                <a:pos x="connsiteX43022" y="connsiteY43022"/>
              </a:cxn>
              <a:cxn ang="0">
                <a:pos x="connsiteX43023" y="connsiteY43023"/>
              </a:cxn>
              <a:cxn ang="0">
                <a:pos x="connsiteX43024" y="connsiteY43024"/>
              </a:cxn>
              <a:cxn ang="0">
                <a:pos x="connsiteX43025" y="connsiteY43025"/>
              </a:cxn>
              <a:cxn ang="0">
                <a:pos x="connsiteX43026" y="connsiteY43026"/>
              </a:cxn>
              <a:cxn ang="0">
                <a:pos x="connsiteX43027" y="connsiteY43027"/>
              </a:cxn>
              <a:cxn ang="0">
                <a:pos x="connsiteX43028" y="connsiteY43028"/>
              </a:cxn>
              <a:cxn ang="0">
                <a:pos x="connsiteX43029" y="connsiteY43029"/>
              </a:cxn>
              <a:cxn ang="0">
                <a:pos x="connsiteX43030" y="connsiteY43030"/>
              </a:cxn>
              <a:cxn ang="0">
                <a:pos x="connsiteX43031" y="connsiteY43031"/>
              </a:cxn>
              <a:cxn ang="0">
                <a:pos x="connsiteX43032" y="connsiteY43032"/>
              </a:cxn>
              <a:cxn ang="0">
                <a:pos x="connsiteX43033" y="connsiteY43033"/>
              </a:cxn>
              <a:cxn ang="0">
                <a:pos x="connsiteX43034" y="connsiteY43034"/>
              </a:cxn>
              <a:cxn ang="0">
                <a:pos x="connsiteX43035" y="connsiteY43035"/>
              </a:cxn>
              <a:cxn ang="0">
                <a:pos x="connsiteX43036" y="connsiteY43036"/>
              </a:cxn>
              <a:cxn ang="0">
                <a:pos x="connsiteX43037" y="connsiteY43037"/>
              </a:cxn>
              <a:cxn ang="0">
                <a:pos x="connsiteX43038" y="connsiteY43038"/>
              </a:cxn>
              <a:cxn ang="0">
                <a:pos x="connsiteX43039" y="connsiteY43039"/>
              </a:cxn>
              <a:cxn ang="0">
                <a:pos x="connsiteX43040" y="connsiteY43040"/>
              </a:cxn>
              <a:cxn ang="0">
                <a:pos x="connsiteX43041" y="connsiteY43041"/>
              </a:cxn>
              <a:cxn ang="0">
                <a:pos x="connsiteX43042" y="connsiteY43042"/>
              </a:cxn>
              <a:cxn ang="0">
                <a:pos x="connsiteX43043" y="connsiteY43043"/>
              </a:cxn>
              <a:cxn ang="0">
                <a:pos x="connsiteX43044" y="connsiteY43044"/>
              </a:cxn>
              <a:cxn ang="0">
                <a:pos x="connsiteX43045" y="connsiteY43045"/>
              </a:cxn>
              <a:cxn ang="0">
                <a:pos x="connsiteX43046" y="connsiteY43046"/>
              </a:cxn>
              <a:cxn ang="0">
                <a:pos x="connsiteX43047" y="connsiteY43047"/>
              </a:cxn>
              <a:cxn ang="0">
                <a:pos x="connsiteX43048" y="connsiteY43048"/>
              </a:cxn>
              <a:cxn ang="0">
                <a:pos x="connsiteX43049" y="connsiteY43049"/>
              </a:cxn>
              <a:cxn ang="0">
                <a:pos x="connsiteX43050" y="connsiteY43050"/>
              </a:cxn>
              <a:cxn ang="0">
                <a:pos x="connsiteX43051" y="connsiteY43051"/>
              </a:cxn>
              <a:cxn ang="0">
                <a:pos x="connsiteX43052" y="connsiteY43052"/>
              </a:cxn>
              <a:cxn ang="0">
                <a:pos x="connsiteX43053" y="connsiteY43053"/>
              </a:cxn>
              <a:cxn ang="0">
                <a:pos x="connsiteX43054" y="connsiteY43054"/>
              </a:cxn>
              <a:cxn ang="0">
                <a:pos x="connsiteX43055" y="connsiteY43055"/>
              </a:cxn>
              <a:cxn ang="0">
                <a:pos x="connsiteX43056" y="connsiteY43056"/>
              </a:cxn>
              <a:cxn ang="0">
                <a:pos x="connsiteX43057" y="connsiteY43057"/>
              </a:cxn>
              <a:cxn ang="0">
                <a:pos x="connsiteX43058" y="connsiteY43058"/>
              </a:cxn>
              <a:cxn ang="0">
                <a:pos x="connsiteX43059" y="connsiteY43059"/>
              </a:cxn>
              <a:cxn ang="0">
                <a:pos x="connsiteX43060" y="connsiteY43060"/>
              </a:cxn>
              <a:cxn ang="0">
                <a:pos x="connsiteX43061" y="connsiteY43061"/>
              </a:cxn>
              <a:cxn ang="0">
                <a:pos x="connsiteX43062" y="connsiteY43062"/>
              </a:cxn>
              <a:cxn ang="0">
                <a:pos x="connsiteX43063" y="connsiteY43063"/>
              </a:cxn>
              <a:cxn ang="0">
                <a:pos x="connsiteX43064" y="connsiteY43064"/>
              </a:cxn>
              <a:cxn ang="0">
                <a:pos x="connsiteX43065" y="connsiteY43065"/>
              </a:cxn>
              <a:cxn ang="0">
                <a:pos x="connsiteX43066" y="connsiteY43066"/>
              </a:cxn>
              <a:cxn ang="0">
                <a:pos x="connsiteX43067" y="connsiteY43067"/>
              </a:cxn>
              <a:cxn ang="0">
                <a:pos x="connsiteX43068" y="connsiteY43068"/>
              </a:cxn>
              <a:cxn ang="0">
                <a:pos x="connsiteX43069" y="connsiteY43069"/>
              </a:cxn>
              <a:cxn ang="0">
                <a:pos x="connsiteX43070" y="connsiteY43070"/>
              </a:cxn>
              <a:cxn ang="0">
                <a:pos x="connsiteX43071" y="connsiteY43071"/>
              </a:cxn>
              <a:cxn ang="0">
                <a:pos x="connsiteX43072" y="connsiteY43072"/>
              </a:cxn>
              <a:cxn ang="0">
                <a:pos x="connsiteX43073" y="connsiteY43073"/>
              </a:cxn>
              <a:cxn ang="0">
                <a:pos x="connsiteX43074" y="connsiteY43074"/>
              </a:cxn>
              <a:cxn ang="0">
                <a:pos x="connsiteX43075" y="connsiteY43075"/>
              </a:cxn>
              <a:cxn ang="0">
                <a:pos x="connsiteX43076" y="connsiteY43076"/>
              </a:cxn>
              <a:cxn ang="0">
                <a:pos x="connsiteX43077" y="connsiteY43077"/>
              </a:cxn>
              <a:cxn ang="0">
                <a:pos x="connsiteX43078" y="connsiteY43078"/>
              </a:cxn>
              <a:cxn ang="0">
                <a:pos x="connsiteX43079" y="connsiteY43079"/>
              </a:cxn>
              <a:cxn ang="0">
                <a:pos x="connsiteX43080" y="connsiteY43080"/>
              </a:cxn>
              <a:cxn ang="0">
                <a:pos x="connsiteX43081" y="connsiteY43081"/>
              </a:cxn>
              <a:cxn ang="0">
                <a:pos x="connsiteX43082" y="connsiteY43082"/>
              </a:cxn>
              <a:cxn ang="0">
                <a:pos x="connsiteX43083" y="connsiteY43083"/>
              </a:cxn>
              <a:cxn ang="0">
                <a:pos x="connsiteX43084" y="connsiteY43084"/>
              </a:cxn>
              <a:cxn ang="0">
                <a:pos x="connsiteX43085" y="connsiteY43085"/>
              </a:cxn>
              <a:cxn ang="0">
                <a:pos x="connsiteX43086" y="connsiteY43086"/>
              </a:cxn>
              <a:cxn ang="0">
                <a:pos x="connsiteX43087" y="connsiteY43087"/>
              </a:cxn>
              <a:cxn ang="0">
                <a:pos x="connsiteX43088" y="connsiteY43088"/>
              </a:cxn>
              <a:cxn ang="0">
                <a:pos x="connsiteX43089" y="connsiteY43089"/>
              </a:cxn>
              <a:cxn ang="0">
                <a:pos x="connsiteX43090" y="connsiteY43090"/>
              </a:cxn>
              <a:cxn ang="0">
                <a:pos x="connsiteX43091" y="connsiteY43091"/>
              </a:cxn>
              <a:cxn ang="0">
                <a:pos x="connsiteX43092" y="connsiteY43092"/>
              </a:cxn>
              <a:cxn ang="0">
                <a:pos x="connsiteX43093" y="connsiteY43093"/>
              </a:cxn>
              <a:cxn ang="0">
                <a:pos x="connsiteX43094" y="connsiteY43094"/>
              </a:cxn>
              <a:cxn ang="0">
                <a:pos x="connsiteX43095" y="connsiteY43095"/>
              </a:cxn>
              <a:cxn ang="0">
                <a:pos x="connsiteX43096" y="connsiteY43096"/>
              </a:cxn>
              <a:cxn ang="0">
                <a:pos x="connsiteX43097" y="connsiteY43097"/>
              </a:cxn>
              <a:cxn ang="0">
                <a:pos x="connsiteX43098" y="connsiteY43098"/>
              </a:cxn>
              <a:cxn ang="0">
                <a:pos x="connsiteX43099" y="connsiteY43099"/>
              </a:cxn>
              <a:cxn ang="0">
                <a:pos x="connsiteX43100" y="connsiteY43100"/>
              </a:cxn>
              <a:cxn ang="0">
                <a:pos x="connsiteX43101" y="connsiteY43101"/>
              </a:cxn>
              <a:cxn ang="0">
                <a:pos x="connsiteX43102" y="connsiteY43102"/>
              </a:cxn>
              <a:cxn ang="0">
                <a:pos x="connsiteX43103" y="connsiteY43103"/>
              </a:cxn>
              <a:cxn ang="0">
                <a:pos x="connsiteX43104" y="connsiteY43104"/>
              </a:cxn>
              <a:cxn ang="0">
                <a:pos x="connsiteX43105" y="connsiteY43105"/>
              </a:cxn>
              <a:cxn ang="0">
                <a:pos x="connsiteX43106" y="connsiteY43106"/>
              </a:cxn>
              <a:cxn ang="0">
                <a:pos x="connsiteX43107" y="connsiteY43107"/>
              </a:cxn>
              <a:cxn ang="0">
                <a:pos x="connsiteX43108" y="connsiteY43108"/>
              </a:cxn>
              <a:cxn ang="0">
                <a:pos x="connsiteX43109" y="connsiteY43109"/>
              </a:cxn>
              <a:cxn ang="0">
                <a:pos x="connsiteX43110" y="connsiteY43110"/>
              </a:cxn>
              <a:cxn ang="0">
                <a:pos x="connsiteX43111" y="connsiteY43111"/>
              </a:cxn>
              <a:cxn ang="0">
                <a:pos x="connsiteX43112" y="connsiteY43112"/>
              </a:cxn>
              <a:cxn ang="0">
                <a:pos x="connsiteX43113" y="connsiteY43113"/>
              </a:cxn>
              <a:cxn ang="0">
                <a:pos x="connsiteX43114" y="connsiteY43114"/>
              </a:cxn>
              <a:cxn ang="0">
                <a:pos x="connsiteX43115" y="connsiteY43115"/>
              </a:cxn>
              <a:cxn ang="0">
                <a:pos x="connsiteX43116" y="connsiteY43116"/>
              </a:cxn>
              <a:cxn ang="0">
                <a:pos x="connsiteX43117" y="connsiteY43117"/>
              </a:cxn>
              <a:cxn ang="0">
                <a:pos x="connsiteX43118" y="connsiteY43118"/>
              </a:cxn>
              <a:cxn ang="0">
                <a:pos x="connsiteX43119" y="connsiteY43119"/>
              </a:cxn>
              <a:cxn ang="0">
                <a:pos x="connsiteX43120" y="connsiteY43120"/>
              </a:cxn>
              <a:cxn ang="0">
                <a:pos x="connsiteX43121" y="connsiteY43121"/>
              </a:cxn>
              <a:cxn ang="0">
                <a:pos x="connsiteX43122" y="connsiteY43122"/>
              </a:cxn>
              <a:cxn ang="0">
                <a:pos x="connsiteX43123" y="connsiteY43123"/>
              </a:cxn>
              <a:cxn ang="0">
                <a:pos x="connsiteX43124" y="connsiteY43124"/>
              </a:cxn>
              <a:cxn ang="0">
                <a:pos x="connsiteX43125" y="connsiteY43125"/>
              </a:cxn>
              <a:cxn ang="0">
                <a:pos x="connsiteX43126" y="connsiteY43126"/>
              </a:cxn>
              <a:cxn ang="0">
                <a:pos x="connsiteX43127" y="connsiteY43127"/>
              </a:cxn>
              <a:cxn ang="0">
                <a:pos x="connsiteX43128" y="connsiteY43128"/>
              </a:cxn>
              <a:cxn ang="0">
                <a:pos x="connsiteX43129" y="connsiteY43129"/>
              </a:cxn>
              <a:cxn ang="0">
                <a:pos x="connsiteX43130" y="connsiteY43130"/>
              </a:cxn>
              <a:cxn ang="0">
                <a:pos x="connsiteX43131" y="connsiteY43131"/>
              </a:cxn>
              <a:cxn ang="0">
                <a:pos x="connsiteX43132" y="connsiteY43132"/>
              </a:cxn>
              <a:cxn ang="0">
                <a:pos x="connsiteX43133" y="connsiteY43133"/>
              </a:cxn>
              <a:cxn ang="0">
                <a:pos x="connsiteX43134" y="connsiteY43134"/>
              </a:cxn>
              <a:cxn ang="0">
                <a:pos x="connsiteX43135" y="connsiteY43135"/>
              </a:cxn>
              <a:cxn ang="0">
                <a:pos x="connsiteX43136" y="connsiteY43136"/>
              </a:cxn>
              <a:cxn ang="0">
                <a:pos x="connsiteX43137" y="connsiteY43137"/>
              </a:cxn>
              <a:cxn ang="0">
                <a:pos x="connsiteX43138" y="connsiteY43138"/>
              </a:cxn>
              <a:cxn ang="0">
                <a:pos x="connsiteX43139" y="connsiteY43139"/>
              </a:cxn>
              <a:cxn ang="0">
                <a:pos x="connsiteX43140" y="connsiteY43140"/>
              </a:cxn>
              <a:cxn ang="0">
                <a:pos x="connsiteX43141" y="connsiteY43141"/>
              </a:cxn>
              <a:cxn ang="0">
                <a:pos x="connsiteX43142" y="connsiteY43142"/>
              </a:cxn>
              <a:cxn ang="0">
                <a:pos x="connsiteX43143" y="connsiteY43143"/>
              </a:cxn>
              <a:cxn ang="0">
                <a:pos x="connsiteX43144" y="connsiteY43144"/>
              </a:cxn>
              <a:cxn ang="0">
                <a:pos x="connsiteX43145" y="connsiteY43145"/>
              </a:cxn>
              <a:cxn ang="0">
                <a:pos x="connsiteX43146" y="connsiteY43146"/>
              </a:cxn>
              <a:cxn ang="0">
                <a:pos x="connsiteX43147" y="connsiteY43147"/>
              </a:cxn>
              <a:cxn ang="0">
                <a:pos x="connsiteX43148" y="connsiteY43148"/>
              </a:cxn>
              <a:cxn ang="0">
                <a:pos x="connsiteX43149" y="connsiteY43149"/>
              </a:cxn>
              <a:cxn ang="0">
                <a:pos x="connsiteX43150" y="connsiteY43150"/>
              </a:cxn>
              <a:cxn ang="0">
                <a:pos x="connsiteX43151" y="connsiteY43151"/>
              </a:cxn>
              <a:cxn ang="0">
                <a:pos x="connsiteX43152" y="connsiteY43152"/>
              </a:cxn>
              <a:cxn ang="0">
                <a:pos x="connsiteX43153" y="connsiteY43153"/>
              </a:cxn>
              <a:cxn ang="0">
                <a:pos x="connsiteX43154" y="connsiteY43154"/>
              </a:cxn>
              <a:cxn ang="0">
                <a:pos x="connsiteX43155" y="connsiteY43155"/>
              </a:cxn>
              <a:cxn ang="0">
                <a:pos x="connsiteX43156" y="connsiteY43156"/>
              </a:cxn>
              <a:cxn ang="0">
                <a:pos x="connsiteX43157" y="connsiteY43157"/>
              </a:cxn>
              <a:cxn ang="0">
                <a:pos x="connsiteX43158" y="connsiteY43158"/>
              </a:cxn>
              <a:cxn ang="0">
                <a:pos x="connsiteX43159" y="connsiteY43159"/>
              </a:cxn>
              <a:cxn ang="0">
                <a:pos x="connsiteX43160" y="connsiteY43160"/>
              </a:cxn>
              <a:cxn ang="0">
                <a:pos x="connsiteX43161" y="connsiteY43161"/>
              </a:cxn>
              <a:cxn ang="0">
                <a:pos x="connsiteX43162" y="connsiteY43162"/>
              </a:cxn>
              <a:cxn ang="0">
                <a:pos x="connsiteX43163" y="connsiteY43163"/>
              </a:cxn>
              <a:cxn ang="0">
                <a:pos x="connsiteX43164" y="connsiteY43164"/>
              </a:cxn>
              <a:cxn ang="0">
                <a:pos x="connsiteX43165" y="connsiteY43165"/>
              </a:cxn>
              <a:cxn ang="0">
                <a:pos x="connsiteX43166" y="connsiteY43166"/>
              </a:cxn>
              <a:cxn ang="0">
                <a:pos x="connsiteX43167" y="connsiteY43167"/>
              </a:cxn>
              <a:cxn ang="0">
                <a:pos x="connsiteX43168" y="connsiteY43168"/>
              </a:cxn>
              <a:cxn ang="0">
                <a:pos x="connsiteX43169" y="connsiteY43169"/>
              </a:cxn>
              <a:cxn ang="0">
                <a:pos x="connsiteX43170" y="connsiteY43170"/>
              </a:cxn>
              <a:cxn ang="0">
                <a:pos x="connsiteX43171" y="connsiteY43171"/>
              </a:cxn>
              <a:cxn ang="0">
                <a:pos x="connsiteX43172" y="connsiteY43172"/>
              </a:cxn>
              <a:cxn ang="0">
                <a:pos x="connsiteX43173" y="connsiteY43173"/>
              </a:cxn>
              <a:cxn ang="0">
                <a:pos x="connsiteX43174" y="connsiteY43174"/>
              </a:cxn>
              <a:cxn ang="0">
                <a:pos x="connsiteX43175" y="connsiteY43175"/>
              </a:cxn>
              <a:cxn ang="0">
                <a:pos x="connsiteX43176" y="connsiteY43176"/>
              </a:cxn>
              <a:cxn ang="0">
                <a:pos x="connsiteX43177" y="connsiteY43177"/>
              </a:cxn>
              <a:cxn ang="0">
                <a:pos x="connsiteX43178" y="connsiteY43178"/>
              </a:cxn>
              <a:cxn ang="0">
                <a:pos x="connsiteX43179" y="connsiteY43179"/>
              </a:cxn>
              <a:cxn ang="0">
                <a:pos x="connsiteX43180" y="connsiteY43180"/>
              </a:cxn>
              <a:cxn ang="0">
                <a:pos x="connsiteX43181" y="connsiteY43181"/>
              </a:cxn>
              <a:cxn ang="0">
                <a:pos x="connsiteX43182" y="connsiteY43182"/>
              </a:cxn>
              <a:cxn ang="0">
                <a:pos x="connsiteX43183" y="connsiteY43183"/>
              </a:cxn>
              <a:cxn ang="0">
                <a:pos x="connsiteX43184" y="connsiteY43184"/>
              </a:cxn>
              <a:cxn ang="0">
                <a:pos x="connsiteX43185" y="connsiteY43185"/>
              </a:cxn>
              <a:cxn ang="0">
                <a:pos x="connsiteX43186" y="connsiteY43186"/>
              </a:cxn>
              <a:cxn ang="0">
                <a:pos x="connsiteX43187" y="connsiteY43187"/>
              </a:cxn>
              <a:cxn ang="0">
                <a:pos x="connsiteX43188" y="connsiteY43188"/>
              </a:cxn>
              <a:cxn ang="0">
                <a:pos x="connsiteX43189" y="connsiteY43189"/>
              </a:cxn>
              <a:cxn ang="0">
                <a:pos x="connsiteX43190" y="connsiteY43190"/>
              </a:cxn>
              <a:cxn ang="0">
                <a:pos x="connsiteX43191" y="connsiteY43191"/>
              </a:cxn>
              <a:cxn ang="0">
                <a:pos x="connsiteX43192" y="connsiteY43192"/>
              </a:cxn>
              <a:cxn ang="0">
                <a:pos x="connsiteX43193" y="connsiteY43193"/>
              </a:cxn>
              <a:cxn ang="0">
                <a:pos x="connsiteX43194" y="connsiteY43194"/>
              </a:cxn>
              <a:cxn ang="0">
                <a:pos x="connsiteX43195" y="connsiteY43195"/>
              </a:cxn>
              <a:cxn ang="0">
                <a:pos x="connsiteX43196" y="connsiteY43196"/>
              </a:cxn>
              <a:cxn ang="0">
                <a:pos x="connsiteX43197" y="connsiteY43197"/>
              </a:cxn>
              <a:cxn ang="0">
                <a:pos x="connsiteX43198" y="connsiteY43198"/>
              </a:cxn>
              <a:cxn ang="0">
                <a:pos x="connsiteX43199" y="connsiteY43199"/>
              </a:cxn>
              <a:cxn ang="0">
                <a:pos x="connsiteX43200" y="connsiteY43200"/>
              </a:cxn>
              <a:cxn ang="0">
                <a:pos x="connsiteX43201" y="connsiteY43201"/>
              </a:cxn>
              <a:cxn ang="0">
                <a:pos x="connsiteX43202" y="connsiteY43202"/>
              </a:cxn>
              <a:cxn ang="0">
                <a:pos x="connsiteX43203" y="connsiteY43203"/>
              </a:cxn>
              <a:cxn ang="0">
                <a:pos x="connsiteX43204" y="connsiteY43204"/>
              </a:cxn>
              <a:cxn ang="0">
                <a:pos x="connsiteX43205" y="connsiteY43205"/>
              </a:cxn>
              <a:cxn ang="0">
                <a:pos x="connsiteX43206" y="connsiteY43206"/>
              </a:cxn>
              <a:cxn ang="0">
                <a:pos x="connsiteX43207" y="connsiteY43207"/>
              </a:cxn>
              <a:cxn ang="0">
                <a:pos x="connsiteX43208" y="connsiteY43208"/>
              </a:cxn>
              <a:cxn ang="0">
                <a:pos x="connsiteX43209" y="connsiteY43209"/>
              </a:cxn>
              <a:cxn ang="0">
                <a:pos x="connsiteX43210" y="connsiteY43210"/>
              </a:cxn>
              <a:cxn ang="0">
                <a:pos x="connsiteX43211" y="connsiteY43211"/>
              </a:cxn>
              <a:cxn ang="0">
                <a:pos x="connsiteX43212" y="connsiteY43212"/>
              </a:cxn>
              <a:cxn ang="0">
                <a:pos x="connsiteX43213" y="connsiteY43213"/>
              </a:cxn>
              <a:cxn ang="0">
                <a:pos x="connsiteX43214" y="connsiteY43214"/>
              </a:cxn>
              <a:cxn ang="0">
                <a:pos x="connsiteX43215" y="connsiteY43215"/>
              </a:cxn>
              <a:cxn ang="0">
                <a:pos x="connsiteX43216" y="connsiteY43216"/>
              </a:cxn>
              <a:cxn ang="0">
                <a:pos x="connsiteX43217" y="connsiteY43217"/>
              </a:cxn>
              <a:cxn ang="0">
                <a:pos x="connsiteX43218" y="connsiteY43218"/>
              </a:cxn>
              <a:cxn ang="0">
                <a:pos x="connsiteX43219" y="connsiteY43219"/>
              </a:cxn>
              <a:cxn ang="0">
                <a:pos x="connsiteX43220" y="connsiteY43220"/>
              </a:cxn>
              <a:cxn ang="0">
                <a:pos x="connsiteX43221" y="connsiteY43221"/>
              </a:cxn>
              <a:cxn ang="0">
                <a:pos x="connsiteX43222" y="connsiteY43222"/>
              </a:cxn>
              <a:cxn ang="0">
                <a:pos x="connsiteX43223" y="connsiteY43223"/>
              </a:cxn>
              <a:cxn ang="0">
                <a:pos x="connsiteX43224" y="connsiteY43224"/>
              </a:cxn>
              <a:cxn ang="0">
                <a:pos x="connsiteX43225" y="connsiteY43225"/>
              </a:cxn>
              <a:cxn ang="0">
                <a:pos x="connsiteX43226" y="connsiteY43226"/>
              </a:cxn>
              <a:cxn ang="0">
                <a:pos x="connsiteX43227" y="connsiteY43227"/>
              </a:cxn>
              <a:cxn ang="0">
                <a:pos x="connsiteX43228" y="connsiteY43228"/>
              </a:cxn>
              <a:cxn ang="0">
                <a:pos x="connsiteX43229" y="connsiteY43229"/>
              </a:cxn>
              <a:cxn ang="0">
                <a:pos x="connsiteX43230" y="connsiteY43230"/>
              </a:cxn>
              <a:cxn ang="0">
                <a:pos x="connsiteX43231" y="connsiteY43231"/>
              </a:cxn>
              <a:cxn ang="0">
                <a:pos x="connsiteX43232" y="connsiteY43232"/>
              </a:cxn>
              <a:cxn ang="0">
                <a:pos x="connsiteX43233" y="connsiteY43233"/>
              </a:cxn>
              <a:cxn ang="0">
                <a:pos x="connsiteX43234" y="connsiteY43234"/>
              </a:cxn>
              <a:cxn ang="0">
                <a:pos x="connsiteX43235" y="connsiteY43235"/>
              </a:cxn>
              <a:cxn ang="0">
                <a:pos x="connsiteX43236" y="connsiteY43236"/>
              </a:cxn>
              <a:cxn ang="0">
                <a:pos x="connsiteX43237" y="connsiteY43237"/>
              </a:cxn>
              <a:cxn ang="0">
                <a:pos x="connsiteX43238" y="connsiteY43238"/>
              </a:cxn>
              <a:cxn ang="0">
                <a:pos x="connsiteX43239" y="connsiteY43239"/>
              </a:cxn>
              <a:cxn ang="0">
                <a:pos x="connsiteX43240" y="connsiteY43240"/>
              </a:cxn>
              <a:cxn ang="0">
                <a:pos x="connsiteX43241" y="connsiteY43241"/>
              </a:cxn>
              <a:cxn ang="0">
                <a:pos x="connsiteX43242" y="connsiteY43242"/>
              </a:cxn>
              <a:cxn ang="0">
                <a:pos x="connsiteX43243" y="connsiteY43243"/>
              </a:cxn>
              <a:cxn ang="0">
                <a:pos x="connsiteX43244" y="connsiteY43244"/>
              </a:cxn>
              <a:cxn ang="0">
                <a:pos x="connsiteX43245" y="connsiteY43245"/>
              </a:cxn>
              <a:cxn ang="0">
                <a:pos x="connsiteX43246" y="connsiteY43246"/>
              </a:cxn>
              <a:cxn ang="0">
                <a:pos x="connsiteX43247" y="connsiteY43247"/>
              </a:cxn>
              <a:cxn ang="0">
                <a:pos x="connsiteX43248" y="connsiteY43248"/>
              </a:cxn>
              <a:cxn ang="0">
                <a:pos x="connsiteX43249" y="connsiteY43249"/>
              </a:cxn>
              <a:cxn ang="0">
                <a:pos x="connsiteX43250" y="connsiteY43250"/>
              </a:cxn>
              <a:cxn ang="0">
                <a:pos x="connsiteX43251" y="connsiteY43251"/>
              </a:cxn>
              <a:cxn ang="0">
                <a:pos x="connsiteX43252" y="connsiteY43252"/>
              </a:cxn>
              <a:cxn ang="0">
                <a:pos x="connsiteX43253" y="connsiteY43253"/>
              </a:cxn>
              <a:cxn ang="0">
                <a:pos x="connsiteX43254" y="connsiteY43254"/>
              </a:cxn>
              <a:cxn ang="0">
                <a:pos x="connsiteX43255" y="connsiteY43255"/>
              </a:cxn>
              <a:cxn ang="0">
                <a:pos x="connsiteX43256" y="connsiteY43256"/>
              </a:cxn>
              <a:cxn ang="0">
                <a:pos x="connsiteX43257" y="connsiteY43257"/>
              </a:cxn>
              <a:cxn ang="0">
                <a:pos x="connsiteX43258" y="connsiteY43258"/>
              </a:cxn>
              <a:cxn ang="0">
                <a:pos x="connsiteX43259" y="connsiteY43259"/>
              </a:cxn>
              <a:cxn ang="0">
                <a:pos x="connsiteX43260" y="connsiteY43260"/>
              </a:cxn>
              <a:cxn ang="0">
                <a:pos x="connsiteX43261" y="connsiteY43261"/>
              </a:cxn>
              <a:cxn ang="0">
                <a:pos x="connsiteX43262" y="connsiteY43262"/>
              </a:cxn>
              <a:cxn ang="0">
                <a:pos x="connsiteX43263" y="connsiteY43263"/>
              </a:cxn>
              <a:cxn ang="0">
                <a:pos x="connsiteX43264" y="connsiteY43264"/>
              </a:cxn>
              <a:cxn ang="0">
                <a:pos x="connsiteX43265" y="connsiteY43265"/>
              </a:cxn>
              <a:cxn ang="0">
                <a:pos x="connsiteX43266" y="connsiteY43266"/>
              </a:cxn>
              <a:cxn ang="0">
                <a:pos x="connsiteX43267" y="connsiteY43267"/>
              </a:cxn>
              <a:cxn ang="0">
                <a:pos x="connsiteX43268" y="connsiteY43268"/>
              </a:cxn>
              <a:cxn ang="0">
                <a:pos x="connsiteX43269" y="connsiteY43269"/>
              </a:cxn>
              <a:cxn ang="0">
                <a:pos x="connsiteX43270" y="connsiteY43270"/>
              </a:cxn>
              <a:cxn ang="0">
                <a:pos x="connsiteX43271" y="connsiteY43271"/>
              </a:cxn>
              <a:cxn ang="0">
                <a:pos x="connsiteX43272" y="connsiteY43272"/>
              </a:cxn>
              <a:cxn ang="0">
                <a:pos x="connsiteX43273" y="connsiteY43273"/>
              </a:cxn>
              <a:cxn ang="0">
                <a:pos x="connsiteX43274" y="connsiteY43274"/>
              </a:cxn>
              <a:cxn ang="0">
                <a:pos x="connsiteX43275" y="connsiteY43275"/>
              </a:cxn>
              <a:cxn ang="0">
                <a:pos x="connsiteX43276" y="connsiteY43276"/>
              </a:cxn>
              <a:cxn ang="0">
                <a:pos x="connsiteX43277" y="connsiteY43277"/>
              </a:cxn>
              <a:cxn ang="0">
                <a:pos x="connsiteX43278" y="connsiteY43278"/>
              </a:cxn>
              <a:cxn ang="0">
                <a:pos x="connsiteX43279" y="connsiteY43279"/>
              </a:cxn>
              <a:cxn ang="0">
                <a:pos x="connsiteX43280" y="connsiteY43280"/>
              </a:cxn>
              <a:cxn ang="0">
                <a:pos x="connsiteX43281" y="connsiteY43281"/>
              </a:cxn>
              <a:cxn ang="0">
                <a:pos x="connsiteX43282" y="connsiteY43282"/>
              </a:cxn>
              <a:cxn ang="0">
                <a:pos x="connsiteX43283" y="connsiteY43283"/>
              </a:cxn>
              <a:cxn ang="0">
                <a:pos x="connsiteX43284" y="connsiteY43284"/>
              </a:cxn>
              <a:cxn ang="0">
                <a:pos x="connsiteX43285" y="connsiteY43285"/>
              </a:cxn>
              <a:cxn ang="0">
                <a:pos x="connsiteX43286" y="connsiteY43286"/>
              </a:cxn>
              <a:cxn ang="0">
                <a:pos x="connsiteX43287" y="connsiteY43287"/>
              </a:cxn>
              <a:cxn ang="0">
                <a:pos x="connsiteX43288" y="connsiteY43288"/>
              </a:cxn>
              <a:cxn ang="0">
                <a:pos x="connsiteX43289" y="connsiteY43289"/>
              </a:cxn>
              <a:cxn ang="0">
                <a:pos x="connsiteX43290" y="connsiteY43290"/>
              </a:cxn>
              <a:cxn ang="0">
                <a:pos x="connsiteX43291" y="connsiteY43291"/>
              </a:cxn>
              <a:cxn ang="0">
                <a:pos x="connsiteX43292" y="connsiteY43292"/>
              </a:cxn>
              <a:cxn ang="0">
                <a:pos x="connsiteX43293" y="connsiteY43293"/>
              </a:cxn>
              <a:cxn ang="0">
                <a:pos x="connsiteX43294" y="connsiteY43294"/>
              </a:cxn>
              <a:cxn ang="0">
                <a:pos x="connsiteX43295" y="connsiteY43295"/>
              </a:cxn>
              <a:cxn ang="0">
                <a:pos x="connsiteX43296" y="connsiteY43296"/>
              </a:cxn>
              <a:cxn ang="0">
                <a:pos x="connsiteX43297" y="connsiteY43297"/>
              </a:cxn>
              <a:cxn ang="0">
                <a:pos x="connsiteX43298" y="connsiteY43298"/>
              </a:cxn>
              <a:cxn ang="0">
                <a:pos x="connsiteX43299" y="connsiteY43299"/>
              </a:cxn>
              <a:cxn ang="0">
                <a:pos x="connsiteX43300" y="connsiteY43300"/>
              </a:cxn>
              <a:cxn ang="0">
                <a:pos x="connsiteX43301" y="connsiteY43301"/>
              </a:cxn>
              <a:cxn ang="0">
                <a:pos x="connsiteX43302" y="connsiteY43302"/>
              </a:cxn>
              <a:cxn ang="0">
                <a:pos x="connsiteX43303" y="connsiteY43303"/>
              </a:cxn>
              <a:cxn ang="0">
                <a:pos x="connsiteX43304" y="connsiteY43304"/>
              </a:cxn>
              <a:cxn ang="0">
                <a:pos x="connsiteX43305" y="connsiteY43305"/>
              </a:cxn>
              <a:cxn ang="0">
                <a:pos x="connsiteX43306" y="connsiteY43306"/>
              </a:cxn>
              <a:cxn ang="0">
                <a:pos x="connsiteX43307" y="connsiteY43307"/>
              </a:cxn>
              <a:cxn ang="0">
                <a:pos x="connsiteX43308" y="connsiteY43308"/>
              </a:cxn>
              <a:cxn ang="0">
                <a:pos x="connsiteX43309" y="connsiteY43309"/>
              </a:cxn>
              <a:cxn ang="0">
                <a:pos x="connsiteX43310" y="connsiteY43310"/>
              </a:cxn>
              <a:cxn ang="0">
                <a:pos x="connsiteX43311" y="connsiteY43311"/>
              </a:cxn>
              <a:cxn ang="0">
                <a:pos x="connsiteX43312" y="connsiteY43312"/>
              </a:cxn>
              <a:cxn ang="0">
                <a:pos x="connsiteX43313" y="connsiteY43313"/>
              </a:cxn>
              <a:cxn ang="0">
                <a:pos x="connsiteX43314" y="connsiteY43314"/>
              </a:cxn>
              <a:cxn ang="0">
                <a:pos x="connsiteX43315" y="connsiteY43315"/>
              </a:cxn>
              <a:cxn ang="0">
                <a:pos x="connsiteX43316" y="connsiteY43316"/>
              </a:cxn>
              <a:cxn ang="0">
                <a:pos x="connsiteX43317" y="connsiteY43317"/>
              </a:cxn>
              <a:cxn ang="0">
                <a:pos x="connsiteX43318" y="connsiteY43318"/>
              </a:cxn>
              <a:cxn ang="0">
                <a:pos x="connsiteX43319" y="connsiteY43319"/>
              </a:cxn>
              <a:cxn ang="0">
                <a:pos x="connsiteX43320" y="connsiteY43320"/>
              </a:cxn>
              <a:cxn ang="0">
                <a:pos x="connsiteX43321" y="connsiteY43321"/>
              </a:cxn>
              <a:cxn ang="0">
                <a:pos x="connsiteX43322" y="connsiteY43322"/>
              </a:cxn>
              <a:cxn ang="0">
                <a:pos x="connsiteX43323" y="connsiteY43323"/>
              </a:cxn>
              <a:cxn ang="0">
                <a:pos x="connsiteX43324" y="connsiteY43324"/>
              </a:cxn>
              <a:cxn ang="0">
                <a:pos x="connsiteX43325" y="connsiteY43325"/>
              </a:cxn>
              <a:cxn ang="0">
                <a:pos x="connsiteX43326" y="connsiteY43326"/>
              </a:cxn>
              <a:cxn ang="0">
                <a:pos x="connsiteX43327" y="connsiteY43327"/>
              </a:cxn>
              <a:cxn ang="0">
                <a:pos x="connsiteX43328" y="connsiteY43328"/>
              </a:cxn>
              <a:cxn ang="0">
                <a:pos x="connsiteX43329" y="connsiteY43329"/>
              </a:cxn>
              <a:cxn ang="0">
                <a:pos x="connsiteX43330" y="connsiteY43330"/>
              </a:cxn>
              <a:cxn ang="0">
                <a:pos x="connsiteX43331" y="connsiteY43331"/>
              </a:cxn>
              <a:cxn ang="0">
                <a:pos x="connsiteX43332" y="connsiteY43332"/>
              </a:cxn>
              <a:cxn ang="0">
                <a:pos x="connsiteX43333" y="connsiteY43333"/>
              </a:cxn>
              <a:cxn ang="0">
                <a:pos x="connsiteX43334" y="connsiteY43334"/>
              </a:cxn>
              <a:cxn ang="0">
                <a:pos x="connsiteX43335" y="connsiteY43335"/>
              </a:cxn>
              <a:cxn ang="0">
                <a:pos x="connsiteX43336" y="connsiteY43336"/>
              </a:cxn>
              <a:cxn ang="0">
                <a:pos x="connsiteX43337" y="connsiteY43337"/>
              </a:cxn>
              <a:cxn ang="0">
                <a:pos x="connsiteX43338" y="connsiteY43338"/>
              </a:cxn>
              <a:cxn ang="0">
                <a:pos x="connsiteX43339" y="connsiteY43339"/>
              </a:cxn>
              <a:cxn ang="0">
                <a:pos x="connsiteX43340" y="connsiteY43340"/>
              </a:cxn>
              <a:cxn ang="0">
                <a:pos x="connsiteX43341" y="connsiteY43341"/>
              </a:cxn>
              <a:cxn ang="0">
                <a:pos x="connsiteX43342" y="connsiteY43342"/>
              </a:cxn>
              <a:cxn ang="0">
                <a:pos x="connsiteX43343" y="connsiteY43343"/>
              </a:cxn>
              <a:cxn ang="0">
                <a:pos x="connsiteX43344" y="connsiteY43344"/>
              </a:cxn>
              <a:cxn ang="0">
                <a:pos x="connsiteX43345" y="connsiteY43345"/>
              </a:cxn>
              <a:cxn ang="0">
                <a:pos x="connsiteX43346" y="connsiteY43346"/>
              </a:cxn>
              <a:cxn ang="0">
                <a:pos x="connsiteX43347" y="connsiteY43347"/>
              </a:cxn>
              <a:cxn ang="0">
                <a:pos x="connsiteX43348" y="connsiteY43348"/>
              </a:cxn>
              <a:cxn ang="0">
                <a:pos x="connsiteX43349" y="connsiteY43349"/>
              </a:cxn>
              <a:cxn ang="0">
                <a:pos x="connsiteX43350" y="connsiteY43350"/>
              </a:cxn>
              <a:cxn ang="0">
                <a:pos x="connsiteX43351" y="connsiteY43351"/>
              </a:cxn>
              <a:cxn ang="0">
                <a:pos x="connsiteX43352" y="connsiteY43352"/>
              </a:cxn>
              <a:cxn ang="0">
                <a:pos x="connsiteX43353" y="connsiteY43353"/>
              </a:cxn>
              <a:cxn ang="0">
                <a:pos x="connsiteX43354" y="connsiteY43354"/>
              </a:cxn>
              <a:cxn ang="0">
                <a:pos x="connsiteX43355" y="connsiteY43355"/>
              </a:cxn>
              <a:cxn ang="0">
                <a:pos x="connsiteX43356" y="connsiteY43356"/>
              </a:cxn>
              <a:cxn ang="0">
                <a:pos x="connsiteX43357" y="connsiteY43357"/>
              </a:cxn>
              <a:cxn ang="0">
                <a:pos x="connsiteX43358" y="connsiteY43358"/>
              </a:cxn>
              <a:cxn ang="0">
                <a:pos x="connsiteX43359" y="connsiteY43359"/>
              </a:cxn>
              <a:cxn ang="0">
                <a:pos x="connsiteX43360" y="connsiteY43360"/>
              </a:cxn>
              <a:cxn ang="0">
                <a:pos x="connsiteX43361" y="connsiteY43361"/>
              </a:cxn>
              <a:cxn ang="0">
                <a:pos x="connsiteX43362" y="connsiteY43362"/>
              </a:cxn>
              <a:cxn ang="0">
                <a:pos x="connsiteX43363" y="connsiteY43363"/>
              </a:cxn>
              <a:cxn ang="0">
                <a:pos x="connsiteX43364" y="connsiteY43364"/>
              </a:cxn>
              <a:cxn ang="0">
                <a:pos x="connsiteX43365" y="connsiteY43365"/>
              </a:cxn>
              <a:cxn ang="0">
                <a:pos x="connsiteX43366" y="connsiteY43366"/>
              </a:cxn>
              <a:cxn ang="0">
                <a:pos x="connsiteX43367" y="connsiteY43367"/>
              </a:cxn>
              <a:cxn ang="0">
                <a:pos x="connsiteX43368" y="connsiteY43368"/>
              </a:cxn>
              <a:cxn ang="0">
                <a:pos x="connsiteX43369" y="connsiteY43369"/>
              </a:cxn>
              <a:cxn ang="0">
                <a:pos x="connsiteX43370" y="connsiteY43370"/>
              </a:cxn>
              <a:cxn ang="0">
                <a:pos x="connsiteX43371" y="connsiteY43371"/>
              </a:cxn>
              <a:cxn ang="0">
                <a:pos x="connsiteX43372" y="connsiteY43372"/>
              </a:cxn>
              <a:cxn ang="0">
                <a:pos x="connsiteX43373" y="connsiteY43373"/>
              </a:cxn>
              <a:cxn ang="0">
                <a:pos x="connsiteX43374" y="connsiteY43374"/>
              </a:cxn>
              <a:cxn ang="0">
                <a:pos x="connsiteX43375" y="connsiteY43375"/>
              </a:cxn>
              <a:cxn ang="0">
                <a:pos x="connsiteX43376" y="connsiteY43376"/>
              </a:cxn>
              <a:cxn ang="0">
                <a:pos x="connsiteX43377" y="connsiteY43377"/>
              </a:cxn>
              <a:cxn ang="0">
                <a:pos x="connsiteX43378" y="connsiteY43378"/>
              </a:cxn>
              <a:cxn ang="0">
                <a:pos x="connsiteX43379" y="connsiteY43379"/>
              </a:cxn>
              <a:cxn ang="0">
                <a:pos x="connsiteX43380" y="connsiteY43380"/>
              </a:cxn>
              <a:cxn ang="0">
                <a:pos x="connsiteX43381" y="connsiteY43381"/>
              </a:cxn>
              <a:cxn ang="0">
                <a:pos x="connsiteX43382" y="connsiteY43382"/>
              </a:cxn>
              <a:cxn ang="0">
                <a:pos x="connsiteX43383" y="connsiteY43383"/>
              </a:cxn>
              <a:cxn ang="0">
                <a:pos x="connsiteX43384" y="connsiteY43384"/>
              </a:cxn>
              <a:cxn ang="0">
                <a:pos x="connsiteX43385" y="connsiteY43385"/>
              </a:cxn>
              <a:cxn ang="0">
                <a:pos x="connsiteX43386" y="connsiteY43386"/>
              </a:cxn>
              <a:cxn ang="0">
                <a:pos x="connsiteX43387" y="connsiteY43387"/>
              </a:cxn>
              <a:cxn ang="0">
                <a:pos x="connsiteX43388" y="connsiteY43388"/>
              </a:cxn>
              <a:cxn ang="0">
                <a:pos x="connsiteX43389" y="connsiteY43389"/>
              </a:cxn>
              <a:cxn ang="0">
                <a:pos x="connsiteX43390" y="connsiteY43390"/>
              </a:cxn>
              <a:cxn ang="0">
                <a:pos x="connsiteX43391" y="connsiteY43391"/>
              </a:cxn>
              <a:cxn ang="0">
                <a:pos x="connsiteX43392" y="connsiteY43392"/>
              </a:cxn>
              <a:cxn ang="0">
                <a:pos x="connsiteX43393" y="connsiteY43393"/>
              </a:cxn>
              <a:cxn ang="0">
                <a:pos x="connsiteX43394" y="connsiteY43394"/>
              </a:cxn>
              <a:cxn ang="0">
                <a:pos x="connsiteX43395" y="connsiteY43395"/>
              </a:cxn>
              <a:cxn ang="0">
                <a:pos x="connsiteX43396" y="connsiteY43396"/>
              </a:cxn>
              <a:cxn ang="0">
                <a:pos x="connsiteX43397" y="connsiteY43397"/>
              </a:cxn>
              <a:cxn ang="0">
                <a:pos x="connsiteX43398" y="connsiteY43398"/>
              </a:cxn>
              <a:cxn ang="0">
                <a:pos x="connsiteX43399" y="connsiteY43399"/>
              </a:cxn>
              <a:cxn ang="0">
                <a:pos x="connsiteX43400" y="connsiteY43400"/>
              </a:cxn>
              <a:cxn ang="0">
                <a:pos x="connsiteX43401" y="connsiteY43401"/>
              </a:cxn>
              <a:cxn ang="0">
                <a:pos x="connsiteX43402" y="connsiteY43402"/>
              </a:cxn>
              <a:cxn ang="0">
                <a:pos x="connsiteX43403" y="connsiteY43403"/>
              </a:cxn>
              <a:cxn ang="0">
                <a:pos x="connsiteX43404" y="connsiteY43404"/>
              </a:cxn>
              <a:cxn ang="0">
                <a:pos x="connsiteX43405" y="connsiteY43405"/>
              </a:cxn>
              <a:cxn ang="0">
                <a:pos x="connsiteX43406" y="connsiteY43406"/>
              </a:cxn>
              <a:cxn ang="0">
                <a:pos x="connsiteX43407" y="connsiteY43407"/>
              </a:cxn>
              <a:cxn ang="0">
                <a:pos x="connsiteX43408" y="connsiteY43408"/>
              </a:cxn>
              <a:cxn ang="0">
                <a:pos x="connsiteX43409" y="connsiteY43409"/>
              </a:cxn>
              <a:cxn ang="0">
                <a:pos x="connsiteX43410" y="connsiteY43410"/>
              </a:cxn>
              <a:cxn ang="0">
                <a:pos x="connsiteX43411" y="connsiteY43411"/>
              </a:cxn>
              <a:cxn ang="0">
                <a:pos x="connsiteX43412" y="connsiteY43412"/>
              </a:cxn>
              <a:cxn ang="0">
                <a:pos x="connsiteX43413" y="connsiteY43413"/>
              </a:cxn>
              <a:cxn ang="0">
                <a:pos x="connsiteX43414" y="connsiteY43414"/>
              </a:cxn>
              <a:cxn ang="0">
                <a:pos x="connsiteX43415" y="connsiteY43415"/>
              </a:cxn>
              <a:cxn ang="0">
                <a:pos x="connsiteX43416" y="connsiteY43416"/>
              </a:cxn>
              <a:cxn ang="0">
                <a:pos x="connsiteX43417" y="connsiteY43417"/>
              </a:cxn>
              <a:cxn ang="0">
                <a:pos x="connsiteX43418" y="connsiteY43418"/>
              </a:cxn>
              <a:cxn ang="0">
                <a:pos x="connsiteX43419" y="connsiteY43419"/>
              </a:cxn>
              <a:cxn ang="0">
                <a:pos x="connsiteX43420" y="connsiteY43420"/>
              </a:cxn>
              <a:cxn ang="0">
                <a:pos x="connsiteX43421" y="connsiteY43421"/>
              </a:cxn>
              <a:cxn ang="0">
                <a:pos x="connsiteX43422" y="connsiteY43422"/>
              </a:cxn>
              <a:cxn ang="0">
                <a:pos x="connsiteX43423" y="connsiteY43423"/>
              </a:cxn>
              <a:cxn ang="0">
                <a:pos x="connsiteX43424" y="connsiteY43424"/>
              </a:cxn>
              <a:cxn ang="0">
                <a:pos x="connsiteX43425" y="connsiteY43425"/>
              </a:cxn>
              <a:cxn ang="0">
                <a:pos x="connsiteX43426" y="connsiteY43426"/>
              </a:cxn>
              <a:cxn ang="0">
                <a:pos x="connsiteX43427" y="connsiteY43427"/>
              </a:cxn>
              <a:cxn ang="0">
                <a:pos x="connsiteX43428" y="connsiteY43428"/>
              </a:cxn>
              <a:cxn ang="0">
                <a:pos x="connsiteX43429" y="connsiteY43429"/>
              </a:cxn>
              <a:cxn ang="0">
                <a:pos x="connsiteX43430" y="connsiteY43430"/>
              </a:cxn>
              <a:cxn ang="0">
                <a:pos x="connsiteX43431" y="connsiteY43431"/>
              </a:cxn>
              <a:cxn ang="0">
                <a:pos x="connsiteX43432" y="connsiteY43432"/>
              </a:cxn>
              <a:cxn ang="0">
                <a:pos x="connsiteX43433" y="connsiteY43433"/>
              </a:cxn>
              <a:cxn ang="0">
                <a:pos x="connsiteX43434" y="connsiteY43434"/>
              </a:cxn>
              <a:cxn ang="0">
                <a:pos x="connsiteX43435" y="connsiteY43435"/>
              </a:cxn>
              <a:cxn ang="0">
                <a:pos x="connsiteX43436" y="connsiteY43436"/>
              </a:cxn>
              <a:cxn ang="0">
                <a:pos x="connsiteX43437" y="connsiteY43437"/>
              </a:cxn>
              <a:cxn ang="0">
                <a:pos x="connsiteX43438" y="connsiteY43438"/>
              </a:cxn>
              <a:cxn ang="0">
                <a:pos x="connsiteX43439" y="connsiteY43439"/>
              </a:cxn>
              <a:cxn ang="0">
                <a:pos x="connsiteX43440" y="connsiteY43440"/>
              </a:cxn>
              <a:cxn ang="0">
                <a:pos x="connsiteX43441" y="connsiteY43441"/>
              </a:cxn>
              <a:cxn ang="0">
                <a:pos x="connsiteX43442" y="connsiteY43442"/>
              </a:cxn>
              <a:cxn ang="0">
                <a:pos x="connsiteX43443" y="connsiteY43443"/>
              </a:cxn>
              <a:cxn ang="0">
                <a:pos x="connsiteX43444" y="connsiteY43444"/>
              </a:cxn>
              <a:cxn ang="0">
                <a:pos x="connsiteX43445" y="connsiteY43445"/>
              </a:cxn>
              <a:cxn ang="0">
                <a:pos x="connsiteX43446" y="connsiteY43446"/>
              </a:cxn>
              <a:cxn ang="0">
                <a:pos x="connsiteX43447" y="connsiteY43447"/>
              </a:cxn>
              <a:cxn ang="0">
                <a:pos x="connsiteX43448" y="connsiteY43448"/>
              </a:cxn>
              <a:cxn ang="0">
                <a:pos x="connsiteX43449" y="connsiteY43449"/>
              </a:cxn>
              <a:cxn ang="0">
                <a:pos x="connsiteX43450" y="connsiteY43450"/>
              </a:cxn>
              <a:cxn ang="0">
                <a:pos x="connsiteX43451" y="connsiteY43451"/>
              </a:cxn>
              <a:cxn ang="0">
                <a:pos x="connsiteX43452" y="connsiteY43452"/>
              </a:cxn>
              <a:cxn ang="0">
                <a:pos x="connsiteX43453" y="connsiteY43453"/>
              </a:cxn>
              <a:cxn ang="0">
                <a:pos x="connsiteX43454" y="connsiteY43454"/>
              </a:cxn>
              <a:cxn ang="0">
                <a:pos x="connsiteX43455" y="connsiteY43455"/>
              </a:cxn>
              <a:cxn ang="0">
                <a:pos x="connsiteX43456" y="connsiteY43456"/>
              </a:cxn>
              <a:cxn ang="0">
                <a:pos x="connsiteX43457" y="connsiteY43457"/>
              </a:cxn>
              <a:cxn ang="0">
                <a:pos x="connsiteX43458" y="connsiteY43458"/>
              </a:cxn>
              <a:cxn ang="0">
                <a:pos x="connsiteX43459" y="connsiteY43459"/>
              </a:cxn>
              <a:cxn ang="0">
                <a:pos x="connsiteX43460" y="connsiteY43460"/>
              </a:cxn>
              <a:cxn ang="0">
                <a:pos x="connsiteX43461" y="connsiteY43461"/>
              </a:cxn>
              <a:cxn ang="0">
                <a:pos x="connsiteX43462" y="connsiteY43462"/>
              </a:cxn>
              <a:cxn ang="0">
                <a:pos x="connsiteX43463" y="connsiteY43463"/>
              </a:cxn>
              <a:cxn ang="0">
                <a:pos x="connsiteX43464" y="connsiteY43464"/>
              </a:cxn>
              <a:cxn ang="0">
                <a:pos x="connsiteX43465" y="connsiteY43465"/>
              </a:cxn>
              <a:cxn ang="0">
                <a:pos x="connsiteX43466" y="connsiteY43466"/>
              </a:cxn>
              <a:cxn ang="0">
                <a:pos x="connsiteX43467" y="connsiteY43467"/>
              </a:cxn>
              <a:cxn ang="0">
                <a:pos x="connsiteX43468" y="connsiteY43468"/>
              </a:cxn>
              <a:cxn ang="0">
                <a:pos x="connsiteX43469" y="connsiteY43469"/>
              </a:cxn>
              <a:cxn ang="0">
                <a:pos x="connsiteX43470" y="connsiteY43470"/>
              </a:cxn>
              <a:cxn ang="0">
                <a:pos x="connsiteX43471" y="connsiteY43471"/>
              </a:cxn>
              <a:cxn ang="0">
                <a:pos x="connsiteX43472" y="connsiteY43472"/>
              </a:cxn>
              <a:cxn ang="0">
                <a:pos x="connsiteX43473" y="connsiteY43473"/>
              </a:cxn>
              <a:cxn ang="0">
                <a:pos x="connsiteX43474" y="connsiteY43474"/>
              </a:cxn>
              <a:cxn ang="0">
                <a:pos x="connsiteX43475" y="connsiteY43475"/>
              </a:cxn>
              <a:cxn ang="0">
                <a:pos x="connsiteX43476" y="connsiteY43476"/>
              </a:cxn>
              <a:cxn ang="0">
                <a:pos x="connsiteX43477" y="connsiteY43477"/>
              </a:cxn>
              <a:cxn ang="0">
                <a:pos x="connsiteX43478" y="connsiteY43478"/>
              </a:cxn>
              <a:cxn ang="0">
                <a:pos x="connsiteX43479" y="connsiteY43479"/>
              </a:cxn>
              <a:cxn ang="0">
                <a:pos x="connsiteX43480" y="connsiteY43480"/>
              </a:cxn>
              <a:cxn ang="0">
                <a:pos x="connsiteX43481" y="connsiteY43481"/>
              </a:cxn>
              <a:cxn ang="0">
                <a:pos x="connsiteX43482" y="connsiteY43482"/>
              </a:cxn>
              <a:cxn ang="0">
                <a:pos x="connsiteX43483" y="connsiteY43483"/>
              </a:cxn>
              <a:cxn ang="0">
                <a:pos x="connsiteX43484" y="connsiteY43484"/>
              </a:cxn>
              <a:cxn ang="0">
                <a:pos x="connsiteX43485" y="connsiteY43485"/>
              </a:cxn>
              <a:cxn ang="0">
                <a:pos x="connsiteX43486" y="connsiteY43486"/>
              </a:cxn>
              <a:cxn ang="0">
                <a:pos x="connsiteX43487" y="connsiteY43487"/>
              </a:cxn>
              <a:cxn ang="0">
                <a:pos x="connsiteX43488" y="connsiteY43488"/>
              </a:cxn>
              <a:cxn ang="0">
                <a:pos x="connsiteX43489" y="connsiteY43489"/>
              </a:cxn>
              <a:cxn ang="0">
                <a:pos x="connsiteX43490" y="connsiteY43490"/>
              </a:cxn>
              <a:cxn ang="0">
                <a:pos x="connsiteX43491" y="connsiteY43491"/>
              </a:cxn>
              <a:cxn ang="0">
                <a:pos x="connsiteX43492" y="connsiteY43492"/>
              </a:cxn>
              <a:cxn ang="0">
                <a:pos x="connsiteX43493" y="connsiteY43493"/>
              </a:cxn>
              <a:cxn ang="0">
                <a:pos x="connsiteX43494" y="connsiteY43494"/>
              </a:cxn>
              <a:cxn ang="0">
                <a:pos x="connsiteX43495" y="connsiteY43495"/>
              </a:cxn>
              <a:cxn ang="0">
                <a:pos x="connsiteX43496" y="connsiteY43496"/>
              </a:cxn>
              <a:cxn ang="0">
                <a:pos x="connsiteX43497" y="connsiteY43497"/>
              </a:cxn>
              <a:cxn ang="0">
                <a:pos x="connsiteX43498" y="connsiteY43498"/>
              </a:cxn>
              <a:cxn ang="0">
                <a:pos x="connsiteX43499" y="connsiteY43499"/>
              </a:cxn>
              <a:cxn ang="0">
                <a:pos x="connsiteX43500" y="connsiteY43500"/>
              </a:cxn>
              <a:cxn ang="0">
                <a:pos x="connsiteX43501" y="connsiteY43501"/>
              </a:cxn>
              <a:cxn ang="0">
                <a:pos x="connsiteX43502" y="connsiteY43502"/>
              </a:cxn>
              <a:cxn ang="0">
                <a:pos x="connsiteX43503" y="connsiteY43503"/>
              </a:cxn>
              <a:cxn ang="0">
                <a:pos x="connsiteX43504" y="connsiteY43504"/>
              </a:cxn>
              <a:cxn ang="0">
                <a:pos x="connsiteX43505" y="connsiteY43505"/>
              </a:cxn>
              <a:cxn ang="0">
                <a:pos x="connsiteX43506" y="connsiteY43506"/>
              </a:cxn>
              <a:cxn ang="0">
                <a:pos x="connsiteX43507" y="connsiteY43507"/>
              </a:cxn>
              <a:cxn ang="0">
                <a:pos x="connsiteX43508" y="connsiteY43508"/>
              </a:cxn>
              <a:cxn ang="0">
                <a:pos x="connsiteX43509" y="connsiteY43509"/>
              </a:cxn>
              <a:cxn ang="0">
                <a:pos x="connsiteX43510" y="connsiteY43510"/>
              </a:cxn>
              <a:cxn ang="0">
                <a:pos x="connsiteX43511" y="connsiteY43511"/>
              </a:cxn>
              <a:cxn ang="0">
                <a:pos x="connsiteX43512" y="connsiteY43512"/>
              </a:cxn>
              <a:cxn ang="0">
                <a:pos x="connsiteX43513" y="connsiteY43513"/>
              </a:cxn>
              <a:cxn ang="0">
                <a:pos x="connsiteX43514" y="connsiteY43514"/>
              </a:cxn>
              <a:cxn ang="0">
                <a:pos x="connsiteX43515" y="connsiteY43515"/>
              </a:cxn>
              <a:cxn ang="0">
                <a:pos x="connsiteX43516" y="connsiteY43516"/>
              </a:cxn>
              <a:cxn ang="0">
                <a:pos x="connsiteX43517" y="connsiteY43517"/>
              </a:cxn>
              <a:cxn ang="0">
                <a:pos x="connsiteX43518" y="connsiteY43518"/>
              </a:cxn>
              <a:cxn ang="0">
                <a:pos x="connsiteX43519" y="connsiteY43519"/>
              </a:cxn>
              <a:cxn ang="0">
                <a:pos x="connsiteX43520" y="connsiteY43520"/>
              </a:cxn>
              <a:cxn ang="0">
                <a:pos x="connsiteX43521" y="connsiteY43521"/>
              </a:cxn>
              <a:cxn ang="0">
                <a:pos x="connsiteX43522" y="connsiteY43522"/>
              </a:cxn>
              <a:cxn ang="0">
                <a:pos x="connsiteX43523" y="connsiteY43523"/>
              </a:cxn>
              <a:cxn ang="0">
                <a:pos x="connsiteX43524" y="connsiteY43524"/>
              </a:cxn>
              <a:cxn ang="0">
                <a:pos x="connsiteX43525" y="connsiteY43525"/>
              </a:cxn>
              <a:cxn ang="0">
                <a:pos x="connsiteX43526" y="connsiteY43526"/>
              </a:cxn>
              <a:cxn ang="0">
                <a:pos x="connsiteX43527" y="connsiteY43527"/>
              </a:cxn>
              <a:cxn ang="0">
                <a:pos x="connsiteX43528" y="connsiteY43528"/>
              </a:cxn>
              <a:cxn ang="0">
                <a:pos x="connsiteX43529" y="connsiteY43529"/>
              </a:cxn>
              <a:cxn ang="0">
                <a:pos x="connsiteX43530" y="connsiteY43530"/>
              </a:cxn>
              <a:cxn ang="0">
                <a:pos x="connsiteX43531" y="connsiteY43531"/>
              </a:cxn>
              <a:cxn ang="0">
                <a:pos x="connsiteX43532" y="connsiteY43532"/>
              </a:cxn>
              <a:cxn ang="0">
                <a:pos x="connsiteX43533" y="connsiteY43533"/>
              </a:cxn>
              <a:cxn ang="0">
                <a:pos x="connsiteX43534" y="connsiteY43534"/>
              </a:cxn>
              <a:cxn ang="0">
                <a:pos x="connsiteX43535" y="connsiteY43535"/>
              </a:cxn>
              <a:cxn ang="0">
                <a:pos x="connsiteX43536" y="connsiteY43536"/>
              </a:cxn>
              <a:cxn ang="0">
                <a:pos x="connsiteX43537" y="connsiteY43537"/>
              </a:cxn>
              <a:cxn ang="0">
                <a:pos x="connsiteX43538" y="connsiteY43538"/>
              </a:cxn>
              <a:cxn ang="0">
                <a:pos x="connsiteX43539" y="connsiteY43539"/>
              </a:cxn>
              <a:cxn ang="0">
                <a:pos x="connsiteX43540" y="connsiteY43540"/>
              </a:cxn>
              <a:cxn ang="0">
                <a:pos x="connsiteX43541" y="connsiteY43541"/>
              </a:cxn>
              <a:cxn ang="0">
                <a:pos x="connsiteX43542" y="connsiteY43542"/>
              </a:cxn>
              <a:cxn ang="0">
                <a:pos x="connsiteX43543" y="connsiteY43543"/>
              </a:cxn>
              <a:cxn ang="0">
                <a:pos x="connsiteX43544" y="connsiteY43544"/>
              </a:cxn>
              <a:cxn ang="0">
                <a:pos x="connsiteX43545" y="connsiteY43545"/>
              </a:cxn>
              <a:cxn ang="0">
                <a:pos x="connsiteX43546" y="connsiteY43546"/>
              </a:cxn>
              <a:cxn ang="0">
                <a:pos x="connsiteX43547" y="connsiteY43547"/>
              </a:cxn>
              <a:cxn ang="0">
                <a:pos x="connsiteX43548" y="connsiteY43548"/>
              </a:cxn>
              <a:cxn ang="0">
                <a:pos x="connsiteX43549" y="connsiteY43549"/>
              </a:cxn>
              <a:cxn ang="0">
                <a:pos x="connsiteX43550" y="connsiteY43550"/>
              </a:cxn>
              <a:cxn ang="0">
                <a:pos x="connsiteX43551" y="connsiteY43551"/>
              </a:cxn>
              <a:cxn ang="0">
                <a:pos x="connsiteX43552" y="connsiteY43552"/>
              </a:cxn>
              <a:cxn ang="0">
                <a:pos x="connsiteX43553" y="connsiteY43553"/>
              </a:cxn>
              <a:cxn ang="0">
                <a:pos x="connsiteX43554" y="connsiteY43554"/>
              </a:cxn>
              <a:cxn ang="0">
                <a:pos x="connsiteX43555" y="connsiteY43555"/>
              </a:cxn>
              <a:cxn ang="0">
                <a:pos x="connsiteX43556" y="connsiteY43556"/>
              </a:cxn>
              <a:cxn ang="0">
                <a:pos x="connsiteX43557" y="connsiteY43557"/>
              </a:cxn>
              <a:cxn ang="0">
                <a:pos x="connsiteX43558" y="connsiteY43558"/>
              </a:cxn>
              <a:cxn ang="0">
                <a:pos x="connsiteX43559" y="connsiteY43559"/>
              </a:cxn>
              <a:cxn ang="0">
                <a:pos x="connsiteX43560" y="connsiteY43560"/>
              </a:cxn>
              <a:cxn ang="0">
                <a:pos x="connsiteX43561" y="connsiteY43561"/>
              </a:cxn>
              <a:cxn ang="0">
                <a:pos x="connsiteX43562" y="connsiteY43562"/>
              </a:cxn>
              <a:cxn ang="0">
                <a:pos x="connsiteX43563" y="connsiteY43563"/>
              </a:cxn>
              <a:cxn ang="0">
                <a:pos x="connsiteX43564" y="connsiteY43564"/>
              </a:cxn>
              <a:cxn ang="0">
                <a:pos x="connsiteX43565" y="connsiteY43565"/>
              </a:cxn>
              <a:cxn ang="0">
                <a:pos x="connsiteX43566" y="connsiteY43566"/>
              </a:cxn>
              <a:cxn ang="0">
                <a:pos x="connsiteX43567" y="connsiteY43567"/>
              </a:cxn>
              <a:cxn ang="0">
                <a:pos x="connsiteX43568" y="connsiteY43568"/>
              </a:cxn>
              <a:cxn ang="0">
                <a:pos x="connsiteX43569" y="connsiteY43569"/>
              </a:cxn>
              <a:cxn ang="0">
                <a:pos x="connsiteX43570" y="connsiteY43570"/>
              </a:cxn>
              <a:cxn ang="0">
                <a:pos x="connsiteX43571" y="connsiteY43571"/>
              </a:cxn>
              <a:cxn ang="0">
                <a:pos x="connsiteX43572" y="connsiteY43572"/>
              </a:cxn>
              <a:cxn ang="0">
                <a:pos x="connsiteX43573" y="connsiteY43573"/>
              </a:cxn>
              <a:cxn ang="0">
                <a:pos x="connsiteX43574" y="connsiteY43574"/>
              </a:cxn>
              <a:cxn ang="0">
                <a:pos x="connsiteX43575" y="connsiteY43575"/>
              </a:cxn>
              <a:cxn ang="0">
                <a:pos x="connsiteX43576" y="connsiteY43576"/>
              </a:cxn>
              <a:cxn ang="0">
                <a:pos x="connsiteX43577" y="connsiteY43577"/>
              </a:cxn>
              <a:cxn ang="0">
                <a:pos x="connsiteX43578" y="connsiteY43578"/>
              </a:cxn>
              <a:cxn ang="0">
                <a:pos x="connsiteX43579" y="connsiteY43579"/>
              </a:cxn>
              <a:cxn ang="0">
                <a:pos x="connsiteX43580" y="connsiteY43580"/>
              </a:cxn>
              <a:cxn ang="0">
                <a:pos x="connsiteX43581" y="connsiteY43581"/>
              </a:cxn>
              <a:cxn ang="0">
                <a:pos x="connsiteX43582" y="connsiteY43582"/>
              </a:cxn>
              <a:cxn ang="0">
                <a:pos x="connsiteX43583" y="connsiteY43583"/>
              </a:cxn>
              <a:cxn ang="0">
                <a:pos x="connsiteX43584" y="connsiteY43584"/>
              </a:cxn>
              <a:cxn ang="0">
                <a:pos x="connsiteX43585" y="connsiteY43585"/>
              </a:cxn>
              <a:cxn ang="0">
                <a:pos x="connsiteX43586" y="connsiteY43586"/>
              </a:cxn>
              <a:cxn ang="0">
                <a:pos x="connsiteX43587" y="connsiteY43587"/>
              </a:cxn>
              <a:cxn ang="0">
                <a:pos x="connsiteX43588" y="connsiteY43588"/>
              </a:cxn>
              <a:cxn ang="0">
                <a:pos x="connsiteX43589" y="connsiteY43589"/>
              </a:cxn>
              <a:cxn ang="0">
                <a:pos x="connsiteX43590" y="connsiteY43590"/>
              </a:cxn>
              <a:cxn ang="0">
                <a:pos x="connsiteX43591" y="connsiteY43591"/>
              </a:cxn>
              <a:cxn ang="0">
                <a:pos x="connsiteX43592" y="connsiteY43592"/>
              </a:cxn>
              <a:cxn ang="0">
                <a:pos x="connsiteX43593" y="connsiteY43593"/>
              </a:cxn>
              <a:cxn ang="0">
                <a:pos x="connsiteX43594" y="connsiteY43594"/>
              </a:cxn>
              <a:cxn ang="0">
                <a:pos x="connsiteX43595" y="connsiteY43595"/>
              </a:cxn>
              <a:cxn ang="0">
                <a:pos x="connsiteX43596" y="connsiteY43596"/>
              </a:cxn>
              <a:cxn ang="0">
                <a:pos x="connsiteX43597" y="connsiteY43597"/>
              </a:cxn>
              <a:cxn ang="0">
                <a:pos x="connsiteX43598" y="connsiteY43598"/>
              </a:cxn>
              <a:cxn ang="0">
                <a:pos x="connsiteX43599" y="connsiteY43599"/>
              </a:cxn>
              <a:cxn ang="0">
                <a:pos x="connsiteX43600" y="connsiteY43600"/>
              </a:cxn>
              <a:cxn ang="0">
                <a:pos x="connsiteX43601" y="connsiteY43601"/>
              </a:cxn>
              <a:cxn ang="0">
                <a:pos x="connsiteX43602" y="connsiteY43602"/>
              </a:cxn>
              <a:cxn ang="0">
                <a:pos x="connsiteX43603" y="connsiteY43603"/>
              </a:cxn>
              <a:cxn ang="0">
                <a:pos x="connsiteX43604" y="connsiteY43604"/>
              </a:cxn>
              <a:cxn ang="0">
                <a:pos x="connsiteX43605" y="connsiteY43605"/>
              </a:cxn>
              <a:cxn ang="0">
                <a:pos x="connsiteX43606" y="connsiteY43606"/>
              </a:cxn>
              <a:cxn ang="0">
                <a:pos x="connsiteX43607" y="connsiteY43607"/>
              </a:cxn>
              <a:cxn ang="0">
                <a:pos x="connsiteX43608" y="connsiteY43608"/>
              </a:cxn>
              <a:cxn ang="0">
                <a:pos x="connsiteX43609" y="connsiteY43609"/>
              </a:cxn>
              <a:cxn ang="0">
                <a:pos x="connsiteX43610" y="connsiteY43610"/>
              </a:cxn>
              <a:cxn ang="0">
                <a:pos x="connsiteX43611" y="connsiteY43611"/>
              </a:cxn>
              <a:cxn ang="0">
                <a:pos x="connsiteX43612" y="connsiteY43612"/>
              </a:cxn>
              <a:cxn ang="0">
                <a:pos x="connsiteX43613" y="connsiteY43613"/>
              </a:cxn>
              <a:cxn ang="0">
                <a:pos x="connsiteX43614" y="connsiteY43614"/>
              </a:cxn>
              <a:cxn ang="0">
                <a:pos x="connsiteX43615" y="connsiteY43615"/>
              </a:cxn>
              <a:cxn ang="0">
                <a:pos x="connsiteX43616" y="connsiteY43616"/>
              </a:cxn>
              <a:cxn ang="0">
                <a:pos x="connsiteX43617" y="connsiteY43617"/>
              </a:cxn>
              <a:cxn ang="0">
                <a:pos x="connsiteX43618" y="connsiteY43618"/>
              </a:cxn>
              <a:cxn ang="0">
                <a:pos x="connsiteX43619" y="connsiteY43619"/>
              </a:cxn>
              <a:cxn ang="0">
                <a:pos x="connsiteX43620" y="connsiteY43620"/>
              </a:cxn>
              <a:cxn ang="0">
                <a:pos x="connsiteX43621" y="connsiteY43621"/>
              </a:cxn>
              <a:cxn ang="0">
                <a:pos x="connsiteX43622" y="connsiteY43622"/>
              </a:cxn>
              <a:cxn ang="0">
                <a:pos x="connsiteX43623" y="connsiteY43623"/>
              </a:cxn>
              <a:cxn ang="0">
                <a:pos x="connsiteX43624" y="connsiteY43624"/>
              </a:cxn>
              <a:cxn ang="0">
                <a:pos x="connsiteX43625" y="connsiteY43625"/>
              </a:cxn>
              <a:cxn ang="0">
                <a:pos x="connsiteX43626" y="connsiteY43626"/>
              </a:cxn>
              <a:cxn ang="0">
                <a:pos x="connsiteX43627" y="connsiteY43627"/>
              </a:cxn>
              <a:cxn ang="0">
                <a:pos x="connsiteX43628" y="connsiteY43628"/>
              </a:cxn>
              <a:cxn ang="0">
                <a:pos x="connsiteX43629" y="connsiteY43629"/>
              </a:cxn>
              <a:cxn ang="0">
                <a:pos x="connsiteX43630" y="connsiteY43630"/>
              </a:cxn>
              <a:cxn ang="0">
                <a:pos x="connsiteX43631" y="connsiteY43631"/>
              </a:cxn>
              <a:cxn ang="0">
                <a:pos x="connsiteX43632" y="connsiteY43632"/>
              </a:cxn>
              <a:cxn ang="0">
                <a:pos x="connsiteX43633" y="connsiteY43633"/>
              </a:cxn>
              <a:cxn ang="0">
                <a:pos x="connsiteX43634" y="connsiteY43634"/>
              </a:cxn>
              <a:cxn ang="0">
                <a:pos x="connsiteX43635" y="connsiteY43635"/>
              </a:cxn>
              <a:cxn ang="0">
                <a:pos x="connsiteX43636" y="connsiteY43636"/>
              </a:cxn>
              <a:cxn ang="0">
                <a:pos x="connsiteX43637" y="connsiteY43637"/>
              </a:cxn>
              <a:cxn ang="0">
                <a:pos x="connsiteX43638" y="connsiteY43638"/>
              </a:cxn>
              <a:cxn ang="0">
                <a:pos x="connsiteX43639" y="connsiteY43639"/>
              </a:cxn>
              <a:cxn ang="0">
                <a:pos x="connsiteX43640" y="connsiteY43640"/>
              </a:cxn>
              <a:cxn ang="0">
                <a:pos x="connsiteX43641" y="connsiteY43641"/>
              </a:cxn>
              <a:cxn ang="0">
                <a:pos x="connsiteX43642" y="connsiteY43642"/>
              </a:cxn>
              <a:cxn ang="0">
                <a:pos x="connsiteX43643" y="connsiteY43643"/>
              </a:cxn>
              <a:cxn ang="0">
                <a:pos x="connsiteX43644" y="connsiteY43644"/>
              </a:cxn>
              <a:cxn ang="0">
                <a:pos x="connsiteX43645" y="connsiteY43645"/>
              </a:cxn>
              <a:cxn ang="0">
                <a:pos x="connsiteX43646" y="connsiteY43646"/>
              </a:cxn>
              <a:cxn ang="0">
                <a:pos x="connsiteX43647" y="connsiteY43647"/>
              </a:cxn>
              <a:cxn ang="0">
                <a:pos x="connsiteX43648" y="connsiteY43648"/>
              </a:cxn>
              <a:cxn ang="0">
                <a:pos x="connsiteX43649" y="connsiteY43649"/>
              </a:cxn>
              <a:cxn ang="0">
                <a:pos x="connsiteX43650" y="connsiteY43650"/>
              </a:cxn>
              <a:cxn ang="0">
                <a:pos x="connsiteX43651" y="connsiteY43651"/>
              </a:cxn>
              <a:cxn ang="0">
                <a:pos x="connsiteX43652" y="connsiteY43652"/>
              </a:cxn>
              <a:cxn ang="0">
                <a:pos x="connsiteX43653" y="connsiteY43653"/>
              </a:cxn>
              <a:cxn ang="0">
                <a:pos x="connsiteX43654" y="connsiteY43654"/>
              </a:cxn>
              <a:cxn ang="0">
                <a:pos x="connsiteX43655" y="connsiteY43655"/>
              </a:cxn>
              <a:cxn ang="0">
                <a:pos x="connsiteX43656" y="connsiteY43656"/>
              </a:cxn>
              <a:cxn ang="0">
                <a:pos x="connsiteX43657" y="connsiteY43657"/>
              </a:cxn>
              <a:cxn ang="0">
                <a:pos x="connsiteX43658" y="connsiteY43658"/>
              </a:cxn>
              <a:cxn ang="0">
                <a:pos x="connsiteX43659" y="connsiteY43659"/>
              </a:cxn>
              <a:cxn ang="0">
                <a:pos x="connsiteX43660" y="connsiteY43660"/>
              </a:cxn>
              <a:cxn ang="0">
                <a:pos x="connsiteX43661" y="connsiteY43661"/>
              </a:cxn>
              <a:cxn ang="0">
                <a:pos x="connsiteX43662" y="connsiteY43662"/>
              </a:cxn>
              <a:cxn ang="0">
                <a:pos x="connsiteX43663" y="connsiteY43663"/>
              </a:cxn>
              <a:cxn ang="0">
                <a:pos x="connsiteX43664" y="connsiteY43664"/>
              </a:cxn>
              <a:cxn ang="0">
                <a:pos x="connsiteX43665" y="connsiteY43665"/>
              </a:cxn>
              <a:cxn ang="0">
                <a:pos x="connsiteX43666" y="connsiteY43666"/>
              </a:cxn>
              <a:cxn ang="0">
                <a:pos x="connsiteX43667" y="connsiteY43667"/>
              </a:cxn>
              <a:cxn ang="0">
                <a:pos x="connsiteX43668" y="connsiteY43668"/>
              </a:cxn>
              <a:cxn ang="0">
                <a:pos x="connsiteX43669" y="connsiteY43669"/>
              </a:cxn>
              <a:cxn ang="0">
                <a:pos x="connsiteX43670" y="connsiteY43670"/>
              </a:cxn>
              <a:cxn ang="0">
                <a:pos x="connsiteX43671" y="connsiteY43671"/>
              </a:cxn>
              <a:cxn ang="0">
                <a:pos x="connsiteX43672" y="connsiteY43672"/>
              </a:cxn>
              <a:cxn ang="0">
                <a:pos x="connsiteX43673" y="connsiteY43673"/>
              </a:cxn>
              <a:cxn ang="0">
                <a:pos x="connsiteX43674" y="connsiteY43674"/>
              </a:cxn>
              <a:cxn ang="0">
                <a:pos x="connsiteX43675" y="connsiteY43675"/>
              </a:cxn>
              <a:cxn ang="0">
                <a:pos x="connsiteX43676" y="connsiteY43676"/>
              </a:cxn>
              <a:cxn ang="0">
                <a:pos x="connsiteX43677" y="connsiteY43677"/>
              </a:cxn>
              <a:cxn ang="0">
                <a:pos x="connsiteX43678" y="connsiteY43678"/>
              </a:cxn>
              <a:cxn ang="0">
                <a:pos x="connsiteX43679" y="connsiteY43679"/>
              </a:cxn>
              <a:cxn ang="0">
                <a:pos x="connsiteX43680" y="connsiteY43680"/>
              </a:cxn>
              <a:cxn ang="0">
                <a:pos x="connsiteX43681" y="connsiteY43681"/>
              </a:cxn>
              <a:cxn ang="0">
                <a:pos x="connsiteX43682" y="connsiteY43682"/>
              </a:cxn>
              <a:cxn ang="0">
                <a:pos x="connsiteX43683" y="connsiteY43683"/>
              </a:cxn>
              <a:cxn ang="0">
                <a:pos x="connsiteX43684" y="connsiteY43684"/>
              </a:cxn>
              <a:cxn ang="0">
                <a:pos x="connsiteX43685" y="connsiteY43685"/>
              </a:cxn>
              <a:cxn ang="0">
                <a:pos x="connsiteX43686" y="connsiteY43686"/>
              </a:cxn>
              <a:cxn ang="0">
                <a:pos x="connsiteX43687" y="connsiteY43687"/>
              </a:cxn>
              <a:cxn ang="0">
                <a:pos x="connsiteX43688" y="connsiteY43688"/>
              </a:cxn>
              <a:cxn ang="0">
                <a:pos x="connsiteX43689" y="connsiteY43689"/>
              </a:cxn>
              <a:cxn ang="0">
                <a:pos x="connsiteX43690" y="connsiteY43690"/>
              </a:cxn>
              <a:cxn ang="0">
                <a:pos x="connsiteX43691" y="connsiteY43691"/>
              </a:cxn>
              <a:cxn ang="0">
                <a:pos x="connsiteX43692" y="connsiteY43692"/>
              </a:cxn>
              <a:cxn ang="0">
                <a:pos x="connsiteX43693" y="connsiteY43693"/>
              </a:cxn>
              <a:cxn ang="0">
                <a:pos x="connsiteX43694" y="connsiteY43694"/>
              </a:cxn>
              <a:cxn ang="0">
                <a:pos x="connsiteX43695" y="connsiteY43695"/>
              </a:cxn>
              <a:cxn ang="0">
                <a:pos x="connsiteX43696" y="connsiteY43696"/>
              </a:cxn>
              <a:cxn ang="0">
                <a:pos x="connsiteX43697" y="connsiteY43697"/>
              </a:cxn>
              <a:cxn ang="0">
                <a:pos x="connsiteX43698" y="connsiteY43698"/>
              </a:cxn>
              <a:cxn ang="0">
                <a:pos x="connsiteX43699" y="connsiteY43699"/>
              </a:cxn>
              <a:cxn ang="0">
                <a:pos x="connsiteX43700" y="connsiteY43700"/>
              </a:cxn>
              <a:cxn ang="0">
                <a:pos x="connsiteX43701" y="connsiteY43701"/>
              </a:cxn>
              <a:cxn ang="0">
                <a:pos x="connsiteX43702" y="connsiteY43702"/>
              </a:cxn>
              <a:cxn ang="0">
                <a:pos x="connsiteX43703" y="connsiteY43703"/>
              </a:cxn>
              <a:cxn ang="0">
                <a:pos x="connsiteX43704" y="connsiteY43704"/>
              </a:cxn>
              <a:cxn ang="0">
                <a:pos x="connsiteX43705" y="connsiteY43705"/>
              </a:cxn>
              <a:cxn ang="0">
                <a:pos x="connsiteX43706" y="connsiteY43706"/>
              </a:cxn>
              <a:cxn ang="0">
                <a:pos x="connsiteX43707" y="connsiteY43707"/>
              </a:cxn>
              <a:cxn ang="0">
                <a:pos x="connsiteX43708" y="connsiteY43708"/>
              </a:cxn>
              <a:cxn ang="0">
                <a:pos x="connsiteX43709" y="connsiteY43709"/>
              </a:cxn>
              <a:cxn ang="0">
                <a:pos x="connsiteX43710" y="connsiteY43710"/>
              </a:cxn>
              <a:cxn ang="0">
                <a:pos x="connsiteX43711" y="connsiteY43711"/>
              </a:cxn>
              <a:cxn ang="0">
                <a:pos x="connsiteX43712" y="connsiteY43712"/>
              </a:cxn>
              <a:cxn ang="0">
                <a:pos x="connsiteX43713" y="connsiteY43713"/>
              </a:cxn>
              <a:cxn ang="0">
                <a:pos x="connsiteX43714" y="connsiteY43714"/>
              </a:cxn>
              <a:cxn ang="0">
                <a:pos x="connsiteX43715" y="connsiteY43715"/>
              </a:cxn>
              <a:cxn ang="0">
                <a:pos x="connsiteX43716" y="connsiteY43716"/>
              </a:cxn>
              <a:cxn ang="0">
                <a:pos x="connsiteX43717" y="connsiteY43717"/>
              </a:cxn>
              <a:cxn ang="0">
                <a:pos x="connsiteX43718" y="connsiteY43718"/>
              </a:cxn>
              <a:cxn ang="0">
                <a:pos x="connsiteX43719" y="connsiteY43719"/>
              </a:cxn>
              <a:cxn ang="0">
                <a:pos x="connsiteX43720" y="connsiteY43720"/>
              </a:cxn>
              <a:cxn ang="0">
                <a:pos x="connsiteX43721" y="connsiteY43721"/>
              </a:cxn>
              <a:cxn ang="0">
                <a:pos x="connsiteX43722" y="connsiteY43722"/>
              </a:cxn>
              <a:cxn ang="0">
                <a:pos x="connsiteX43723" y="connsiteY43723"/>
              </a:cxn>
              <a:cxn ang="0">
                <a:pos x="connsiteX43724" y="connsiteY43724"/>
              </a:cxn>
              <a:cxn ang="0">
                <a:pos x="connsiteX43725" y="connsiteY43725"/>
              </a:cxn>
              <a:cxn ang="0">
                <a:pos x="connsiteX43726" y="connsiteY43726"/>
              </a:cxn>
              <a:cxn ang="0">
                <a:pos x="connsiteX43727" y="connsiteY43727"/>
              </a:cxn>
              <a:cxn ang="0">
                <a:pos x="connsiteX43728" y="connsiteY43728"/>
              </a:cxn>
              <a:cxn ang="0">
                <a:pos x="connsiteX43729" y="connsiteY43729"/>
              </a:cxn>
              <a:cxn ang="0">
                <a:pos x="connsiteX43730" y="connsiteY43730"/>
              </a:cxn>
              <a:cxn ang="0">
                <a:pos x="connsiteX43731" y="connsiteY43731"/>
              </a:cxn>
              <a:cxn ang="0">
                <a:pos x="connsiteX43732" y="connsiteY43732"/>
              </a:cxn>
              <a:cxn ang="0">
                <a:pos x="connsiteX43733" y="connsiteY43733"/>
              </a:cxn>
              <a:cxn ang="0">
                <a:pos x="connsiteX43734" y="connsiteY43734"/>
              </a:cxn>
              <a:cxn ang="0">
                <a:pos x="connsiteX43735" y="connsiteY43735"/>
              </a:cxn>
              <a:cxn ang="0">
                <a:pos x="connsiteX43736" y="connsiteY43736"/>
              </a:cxn>
              <a:cxn ang="0">
                <a:pos x="connsiteX43737" y="connsiteY43737"/>
              </a:cxn>
              <a:cxn ang="0">
                <a:pos x="connsiteX43738" y="connsiteY43738"/>
              </a:cxn>
              <a:cxn ang="0">
                <a:pos x="connsiteX43739" y="connsiteY43739"/>
              </a:cxn>
              <a:cxn ang="0">
                <a:pos x="connsiteX43740" y="connsiteY43740"/>
              </a:cxn>
              <a:cxn ang="0">
                <a:pos x="connsiteX43741" y="connsiteY43741"/>
              </a:cxn>
              <a:cxn ang="0">
                <a:pos x="connsiteX43742" y="connsiteY43742"/>
              </a:cxn>
              <a:cxn ang="0">
                <a:pos x="connsiteX43743" y="connsiteY43743"/>
              </a:cxn>
              <a:cxn ang="0">
                <a:pos x="connsiteX43744" y="connsiteY43744"/>
              </a:cxn>
              <a:cxn ang="0">
                <a:pos x="connsiteX43745" y="connsiteY43745"/>
              </a:cxn>
              <a:cxn ang="0">
                <a:pos x="connsiteX43746" y="connsiteY43746"/>
              </a:cxn>
              <a:cxn ang="0">
                <a:pos x="connsiteX43747" y="connsiteY43747"/>
              </a:cxn>
              <a:cxn ang="0">
                <a:pos x="connsiteX43748" y="connsiteY43748"/>
              </a:cxn>
              <a:cxn ang="0">
                <a:pos x="connsiteX43749" y="connsiteY43749"/>
              </a:cxn>
              <a:cxn ang="0">
                <a:pos x="connsiteX43750" y="connsiteY43750"/>
              </a:cxn>
              <a:cxn ang="0">
                <a:pos x="connsiteX43751" y="connsiteY43751"/>
              </a:cxn>
              <a:cxn ang="0">
                <a:pos x="connsiteX43752" y="connsiteY43752"/>
              </a:cxn>
              <a:cxn ang="0">
                <a:pos x="connsiteX43753" y="connsiteY43753"/>
              </a:cxn>
              <a:cxn ang="0">
                <a:pos x="connsiteX43754" y="connsiteY43754"/>
              </a:cxn>
              <a:cxn ang="0">
                <a:pos x="connsiteX43755" y="connsiteY43755"/>
              </a:cxn>
              <a:cxn ang="0">
                <a:pos x="connsiteX43756" y="connsiteY43756"/>
              </a:cxn>
              <a:cxn ang="0">
                <a:pos x="connsiteX43757" y="connsiteY43757"/>
              </a:cxn>
              <a:cxn ang="0">
                <a:pos x="connsiteX43758" y="connsiteY43758"/>
              </a:cxn>
              <a:cxn ang="0">
                <a:pos x="connsiteX43759" y="connsiteY43759"/>
              </a:cxn>
              <a:cxn ang="0">
                <a:pos x="connsiteX43760" y="connsiteY43760"/>
              </a:cxn>
              <a:cxn ang="0">
                <a:pos x="connsiteX43761" y="connsiteY43761"/>
              </a:cxn>
              <a:cxn ang="0">
                <a:pos x="connsiteX43762" y="connsiteY43762"/>
              </a:cxn>
              <a:cxn ang="0">
                <a:pos x="connsiteX43763" y="connsiteY43763"/>
              </a:cxn>
              <a:cxn ang="0">
                <a:pos x="connsiteX43764" y="connsiteY43764"/>
              </a:cxn>
              <a:cxn ang="0">
                <a:pos x="connsiteX43765" y="connsiteY43765"/>
              </a:cxn>
              <a:cxn ang="0">
                <a:pos x="connsiteX43766" y="connsiteY43766"/>
              </a:cxn>
              <a:cxn ang="0">
                <a:pos x="connsiteX43767" y="connsiteY43767"/>
              </a:cxn>
              <a:cxn ang="0">
                <a:pos x="connsiteX43768" y="connsiteY43768"/>
              </a:cxn>
              <a:cxn ang="0">
                <a:pos x="connsiteX43769" y="connsiteY43769"/>
              </a:cxn>
              <a:cxn ang="0">
                <a:pos x="connsiteX43770" y="connsiteY43770"/>
              </a:cxn>
              <a:cxn ang="0">
                <a:pos x="connsiteX43771" y="connsiteY43771"/>
              </a:cxn>
              <a:cxn ang="0">
                <a:pos x="connsiteX43772" y="connsiteY43772"/>
              </a:cxn>
              <a:cxn ang="0">
                <a:pos x="connsiteX43773" y="connsiteY43773"/>
              </a:cxn>
              <a:cxn ang="0">
                <a:pos x="connsiteX43774" y="connsiteY43774"/>
              </a:cxn>
              <a:cxn ang="0">
                <a:pos x="connsiteX43775" y="connsiteY43775"/>
              </a:cxn>
              <a:cxn ang="0">
                <a:pos x="connsiteX43776" y="connsiteY43776"/>
              </a:cxn>
              <a:cxn ang="0">
                <a:pos x="connsiteX43777" y="connsiteY43777"/>
              </a:cxn>
              <a:cxn ang="0">
                <a:pos x="connsiteX43778" y="connsiteY43778"/>
              </a:cxn>
              <a:cxn ang="0">
                <a:pos x="connsiteX43779" y="connsiteY43779"/>
              </a:cxn>
              <a:cxn ang="0">
                <a:pos x="connsiteX43780" y="connsiteY43780"/>
              </a:cxn>
              <a:cxn ang="0">
                <a:pos x="connsiteX43781" y="connsiteY43781"/>
              </a:cxn>
              <a:cxn ang="0">
                <a:pos x="connsiteX43782" y="connsiteY43782"/>
              </a:cxn>
              <a:cxn ang="0">
                <a:pos x="connsiteX43783" y="connsiteY43783"/>
              </a:cxn>
              <a:cxn ang="0">
                <a:pos x="connsiteX43784" y="connsiteY43784"/>
              </a:cxn>
              <a:cxn ang="0">
                <a:pos x="connsiteX43785" y="connsiteY43785"/>
              </a:cxn>
              <a:cxn ang="0">
                <a:pos x="connsiteX43786" y="connsiteY43786"/>
              </a:cxn>
              <a:cxn ang="0">
                <a:pos x="connsiteX43787" y="connsiteY43787"/>
              </a:cxn>
              <a:cxn ang="0">
                <a:pos x="connsiteX43788" y="connsiteY43788"/>
              </a:cxn>
              <a:cxn ang="0">
                <a:pos x="connsiteX43789" y="connsiteY43789"/>
              </a:cxn>
              <a:cxn ang="0">
                <a:pos x="connsiteX43790" y="connsiteY43790"/>
              </a:cxn>
              <a:cxn ang="0">
                <a:pos x="connsiteX43791" y="connsiteY43791"/>
              </a:cxn>
              <a:cxn ang="0">
                <a:pos x="connsiteX43792" y="connsiteY43792"/>
              </a:cxn>
              <a:cxn ang="0">
                <a:pos x="connsiteX43793" y="connsiteY43793"/>
              </a:cxn>
              <a:cxn ang="0">
                <a:pos x="connsiteX43794" y="connsiteY43794"/>
              </a:cxn>
              <a:cxn ang="0">
                <a:pos x="connsiteX43795" y="connsiteY43795"/>
              </a:cxn>
              <a:cxn ang="0">
                <a:pos x="connsiteX43796" y="connsiteY43796"/>
              </a:cxn>
              <a:cxn ang="0">
                <a:pos x="connsiteX43797" y="connsiteY43797"/>
              </a:cxn>
              <a:cxn ang="0">
                <a:pos x="connsiteX43798" y="connsiteY43798"/>
              </a:cxn>
              <a:cxn ang="0">
                <a:pos x="connsiteX43799" y="connsiteY43799"/>
              </a:cxn>
              <a:cxn ang="0">
                <a:pos x="connsiteX43800" y="connsiteY43800"/>
              </a:cxn>
              <a:cxn ang="0">
                <a:pos x="connsiteX43801" y="connsiteY43801"/>
              </a:cxn>
              <a:cxn ang="0">
                <a:pos x="connsiteX43802" y="connsiteY43802"/>
              </a:cxn>
              <a:cxn ang="0">
                <a:pos x="connsiteX43803" y="connsiteY43803"/>
              </a:cxn>
              <a:cxn ang="0">
                <a:pos x="connsiteX43804" y="connsiteY43804"/>
              </a:cxn>
              <a:cxn ang="0">
                <a:pos x="connsiteX43805" y="connsiteY43805"/>
              </a:cxn>
              <a:cxn ang="0">
                <a:pos x="connsiteX43806" y="connsiteY43806"/>
              </a:cxn>
              <a:cxn ang="0">
                <a:pos x="connsiteX43807" y="connsiteY43807"/>
              </a:cxn>
              <a:cxn ang="0">
                <a:pos x="connsiteX43808" y="connsiteY43808"/>
              </a:cxn>
              <a:cxn ang="0">
                <a:pos x="connsiteX43809" y="connsiteY43809"/>
              </a:cxn>
              <a:cxn ang="0">
                <a:pos x="connsiteX43810" y="connsiteY43810"/>
              </a:cxn>
              <a:cxn ang="0">
                <a:pos x="connsiteX43811" y="connsiteY43811"/>
              </a:cxn>
              <a:cxn ang="0">
                <a:pos x="connsiteX43812" y="connsiteY43812"/>
              </a:cxn>
              <a:cxn ang="0">
                <a:pos x="connsiteX43813" y="connsiteY43813"/>
              </a:cxn>
              <a:cxn ang="0">
                <a:pos x="connsiteX43814" y="connsiteY43814"/>
              </a:cxn>
              <a:cxn ang="0">
                <a:pos x="connsiteX43815" y="connsiteY43815"/>
              </a:cxn>
              <a:cxn ang="0">
                <a:pos x="connsiteX43816" y="connsiteY43816"/>
              </a:cxn>
              <a:cxn ang="0">
                <a:pos x="connsiteX43817" y="connsiteY43817"/>
              </a:cxn>
              <a:cxn ang="0">
                <a:pos x="connsiteX43818" y="connsiteY43818"/>
              </a:cxn>
              <a:cxn ang="0">
                <a:pos x="connsiteX43819" y="connsiteY43819"/>
              </a:cxn>
              <a:cxn ang="0">
                <a:pos x="connsiteX43820" y="connsiteY43820"/>
              </a:cxn>
              <a:cxn ang="0">
                <a:pos x="connsiteX43821" y="connsiteY43821"/>
              </a:cxn>
              <a:cxn ang="0">
                <a:pos x="connsiteX43822" y="connsiteY43822"/>
              </a:cxn>
              <a:cxn ang="0">
                <a:pos x="connsiteX43823" y="connsiteY43823"/>
              </a:cxn>
              <a:cxn ang="0">
                <a:pos x="connsiteX43824" y="connsiteY43824"/>
              </a:cxn>
              <a:cxn ang="0">
                <a:pos x="connsiteX43825" y="connsiteY43825"/>
              </a:cxn>
              <a:cxn ang="0">
                <a:pos x="connsiteX43826" y="connsiteY43826"/>
              </a:cxn>
              <a:cxn ang="0">
                <a:pos x="connsiteX43827" y="connsiteY43827"/>
              </a:cxn>
              <a:cxn ang="0">
                <a:pos x="connsiteX43828" y="connsiteY43828"/>
              </a:cxn>
              <a:cxn ang="0">
                <a:pos x="connsiteX43829" y="connsiteY43829"/>
              </a:cxn>
              <a:cxn ang="0">
                <a:pos x="connsiteX43830" y="connsiteY43830"/>
              </a:cxn>
              <a:cxn ang="0">
                <a:pos x="connsiteX43831" y="connsiteY43831"/>
              </a:cxn>
              <a:cxn ang="0">
                <a:pos x="connsiteX43832" y="connsiteY43832"/>
              </a:cxn>
              <a:cxn ang="0">
                <a:pos x="connsiteX43833" y="connsiteY43833"/>
              </a:cxn>
              <a:cxn ang="0">
                <a:pos x="connsiteX43834" y="connsiteY43834"/>
              </a:cxn>
              <a:cxn ang="0">
                <a:pos x="connsiteX43835" y="connsiteY43835"/>
              </a:cxn>
              <a:cxn ang="0">
                <a:pos x="connsiteX43836" y="connsiteY43836"/>
              </a:cxn>
              <a:cxn ang="0">
                <a:pos x="connsiteX43837" y="connsiteY43837"/>
              </a:cxn>
              <a:cxn ang="0">
                <a:pos x="connsiteX43838" y="connsiteY43838"/>
              </a:cxn>
              <a:cxn ang="0">
                <a:pos x="connsiteX43839" y="connsiteY43839"/>
              </a:cxn>
              <a:cxn ang="0">
                <a:pos x="connsiteX43840" y="connsiteY43840"/>
              </a:cxn>
              <a:cxn ang="0">
                <a:pos x="connsiteX43841" y="connsiteY43841"/>
              </a:cxn>
              <a:cxn ang="0">
                <a:pos x="connsiteX43842" y="connsiteY43842"/>
              </a:cxn>
              <a:cxn ang="0">
                <a:pos x="connsiteX43843" y="connsiteY43843"/>
              </a:cxn>
              <a:cxn ang="0">
                <a:pos x="connsiteX43844" y="connsiteY43844"/>
              </a:cxn>
              <a:cxn ang="0">
                <a:pos x="connsiteX43845" y="connsiteY43845"/>
              </a:cxn>
              <a:cxn ang="0">
                <a:pos x="connsiteX43846" y="connsiteY43846"/>
              </a:cxn>
              <a:cxn ang="0">
                <a:pos x="connsiteX43847" y="connsiteY43847"/>
              </a:cxn>
              <a:cxn ang="0">
                <a:pos x="connsiteX43848" y="connsiteY43848"/>
              </a:cxn>
              <a:cxn ang="0">
                <a:pos x="connsiteX43849" y="connsiteY43849"/>
              </a:cxn>
              <a:cxn ang="0">
                <a:pos x="connsiteX43850" y="connsiteY43850"/>
              </a:cxn>
              <a:cxn ang="0">
                <a:pos x="connsiteX43851" y="connsiteY43851"/>
              </a:cxn>
              <a:cxn ang="0">
                <a:pos x="connsiteX43852" y="connsiteY43852"/>
              </a:cxn>
              <a:cxn ang="0">
                <a:pos x="connsiteX43853" y="connsiteY43853"/>
              </a:cxn>
              <a:cxn ang="0">
                <a:pos x="connsiteX43854" y="connsiteY43854"/>
              </a:cxn>
              <a:cxn ang="0">
                <a:pos x="connsiteX43855" y="connsiteY43855"/>
              </a:cxn>
              <a:cxn ang="0">
                <a:pos x="connsiteX43856" y="connsiteY43856"/>
              </a:cxn>
              <a:cxn ang="0">
                <a:pos x="connsiteX43857" y="connsiteY43857"/>
              </a:cxn>
              <a:cxn ang="0">
                <a:pos x="connsiteX43858" y="connsiteY43858"/>
              </a:cxn>
              <a:cxn ang="0">
                <a:pos x="connsiteX43859" y="connsiteY43859"/>
              </a:cxn>
              <a:cxn ang="0">
                <a:pos x="connsiteX43860" y="connsiteY43860"/>
              </a:cxn>
              <a:cxn ang="0">
                <a:pos x="connsiteX43861" y="connsiteY43861"/>
              </a:cxn>
              <a:cxn ang="0">
                <a:pos x="connsiteX43862" y="connsiteY43862"/>
              </a:cxn>
              <a:cxn ang="0">
                <a:pos x="connsiteX43863" y="connsiteY43863"/>
              </a:cxn>
              <a:cxn ang="0">
                <a:pos x="connsiteX43864" y="connsiteY43864"/>
              </a:cxn>
              <a:cxn ang="0">
                <a:pos x="connsiteX43865" y="connsiteY43865"/>
              </a:cxn>
              <a:cxn ang="0">
                <a:pos x="connsiteX43866" y="connsiteY43866"/>
              </a:cxn>
              <a:cxn ang="0">
                <a:pos x="connsiteX43867" y="connsiteY43867"/>
              </a:cxn>
              <a:cxn ang="0">
                <a:pos x="connsiteX43868" y="connsiteY43868"/>
              </a:cxn>
              <a:cxn ang="0">
                <a:pos x="connsiteX43869" y="connsiteY43869"/>
              </a:cxn>
              <a:cxn ang="0">
                <a:pos x="connsiteX43870" y="connsiteY43870"/>
              </a:cxn>
              <a:cxn ang="0">
                <a:pos x="connsiteX43871" y="connsiteY43871"/>
              </a:cxn>
              <a:cxn ang="0">
                <a:pos x="connsiteX43872" y="connsiteY43872"/>
              </a:cxn>
              <a:cxn ang="0">
                <a:pos x="connsiteX43873" y="connsiteY43873"/>
              </a:cxn>
              <a:cxn ang="0">
                <a:pos x="connsiteX43874" y="connsiteY43874"/>
              </a:cxn>
              <a:cxn ang="0">
                <a:pos x="connsiteX43875" y="connsiteY43875"/>
              </a:cxn>
              <a:cxn ang="0">
                <a:pos x="connsiteX43876" y="connsiteY43876"/>
              </a:cxn>
              <a:cxn ang="0">
                <a:pos x="connsiteX43877" y="connsiteY43877"/>
              </a:cxn>
              <a:cxn ang="0">
                <a:pos x="connsiteX43878" y="connsiteY43878"/>
              </a:cxn>
              <a:cxn ang="0">
                <a:pos x="connsiteX43879" y="connsiteY43879"/>
              </a:cxn>
              <a:cxn ang="0">
                <a:pos x="connsiteX43880" y="connsiteY43880"/>
              </a:cxn>
              <a:cxn ang="0">
                <a:pos x="connsiteX43881" y="connsiteY43881"/>
              </a:cxn>
              <a:cxn ang="0">
                <a:pos x="connsiteX43882" y="connsiteY43882"/>
              </a:cxn>
              <a:cxn ang="0">
                <a:pos x="connsiteX43883" y="connsiteY43883"/>
              </a:cxn>
              <a:cxn ang="0">
                <a:pos x="connsiteX43884" y="connsiteY43884"/>
              </a:cxn>
              <a:cxn ang="0">
                <a:pos x="connsiteX43885" y="connsiteY43885"/>
              </a:cxn>
              <a:cxn ang="0">
                <a:pos x="connsiteX43886" y="connsiteY43886"/>
              </a:cxn>
              <a:cxn ang="0">
                <a:pos x="connsiteX43887" y="connsiteY43887"/>
              </a:cxn>
              <a:cxn ang="0">
                <a:pos x="connsiteX43888" y="connsiteY43888"/>
              </a:cxn>
              <a:cxn ang="0">
                <a:pos x="connsiteX43889" y="connsiteY43889"/>
              </a:cxn>
              <a:cxn ang="0">
                <a:pos x="connsiteX43890" y="connsiteY43890"/>
              </a:cxn>
              <a:cxn ang="0">
                <a:pos x="connsiteX43891" y="connsiteY43891"/>
              </a:cxn>
              <a:cxn ang="0">
                <a:pos x="connsiteX43892" y="connsiteY43892"/>
              </a:cxn>
              <a:cxn ang="0">
                <a:pos x="connsiteX43893" y="connsiteY43893"/>
              </a:cxn>
              <a:cxn ang="0">
                <a:pos x="connsiteX43894" y="connsiteY43894"/>
              </a:cxn>
              <a:cxn ang="0">
                <a:pos x="connsiteX43895" y="connsiteY43895"/>
              </a:cxn>
              <a:cxn ang="0">
                <a:pos x="connsiteX43896" y="connsiteY43896"/>
              </a:cxn>
              <a:cxn ang="0">
                <a:pos x="connsiteX43897" y="connsiteY43897"/>
              </a:cxn>
              <a:cxn ang="0">
                <a:pos x="connsiteX43898" y="connsiteY43898"/>
              </a:cxn>
              <a:cxn ang="0">
                <a:pos x="connsiteX43899" y="connsiteY43899"/>
              </a:cxn>
              <a:cxn ang="0">
                <a:pos x="connsiteX43900" y="connsiteY43900"/>
              </a:cxn>
              <a:cxn ang="0">
                <a:pos x="connsiteX43901" y="connsiteY43901"/>
              </a:cxn>
              <a:cxn ang="0">
                <a:pos x="connsiteX43902" y="connsiteY43902"/>
              </a:cxn>
              <a:cxn ang="0">
                <a:pos x="connsiteX43903" y="connsiteY43903"/>
              </a:cxn>
              <a:cxn ang="0">
                <a:pos x="connsiteX43904" y="connsiteY43904"/>
              </a:cxn>
              <a:cxn ang="0">
                <a:pos x="connsiteX43905" y="connsiteY43905"/>
              </a:cxn>
              <a:cxn ang="0">
                <a:pos x="connsiteX43906" y="connsiteY43906"/>
              </a:cxn>
              <a:cxn ang="0">
                <a:pos x="connsiteX43907" y="connsiteY43907"/>
              </a:cxn>
              <a:cxn ang="0">
                <a:pos x="connsiteX43908" y="connsiteY43908"/>
              </a:cxn>
              <a:cxn ang="0">
                <a:pos x="connsiteX43909" y="connsiteY43909"/>
              </a:cxn>
              <a:cxn ang="0">
                <a:pos x="connsiteX43910" y="connsiteY43910"/>
              </a:cxn>
              <a:cxn ang="0">
                <a:pos x="connsiteX43911" y="connsiteY43911"/>
              </a:cxn>
              <a:cxn ang="0">
                <a:pos x="connsiteX43912" y="connsiteY43912"/>
              </a:cxn>
              <a:cxn ang="0">
                <a:pos x="connsiteX43913" y="connsiteY43913"/>
              </a:cxn>
              <a:cxn ang="0">
                <a:pos x="connsiteX43914" y="connsiteY43914"/>
              </a:cxn>
              <a:cxn ang="0">
                <a:pos x="connsiteX43915" y="connsiteY43915"/>
              </a:cxn>
              <a:cxn ang="0">
                <a:pos x="connsiteX43916" y="connsiteY43916"/>
              </a:cxn>
              <a:cxn ang="0">
                <a:pos x="connsiteX43917" y="connsiteY43917"/>
              </a:cxn>
              <a:cxn ang="0">
                <a:pos x="connsiteX43918" y="connsiteY43918"/>
              </a:cxn>
              <a:cxn ang="0">
                <a:pos x="connsiteX43919" y="connsiteY43919"/>
              </a:cxn>
              <a:cxn ang="0">
                <a:pos x="connsiteX43920" y="connsiteY43920"/>
              </a:cxn>
              <a:cxn ang="0">
                <a:pos x="connsiteX43921" y="connsiteY43921"/>
              </a:cxn>
              <a:cxn ang="0">
                <a:pos x="connsiteX43922" y="connsiteY43922"/>
              </a:cxn>
              <a:cxn ang="0">
                <a:pos x="connsiteX43923" y="connsiteY43923"/>
              </a:cxn>
              <a:cxn ang="0">
                <a:pos x="connsiteX43924" y="connsiteY43924"/>
              </a:cxn>
              <a:cxn ang="0">
                <a:pos x="connsiteX43925" y="connsiteY43925"/>
              </a:cxn>
              <a:cxn ang="0">
                <a:pos x="connsiteX43926" y="connsiteY43926"/>
              </a:cxn>
              <a:cxn ang="0">
                <a:pos x="connsiteX43927" y="connsiteY43927"/>
              </a:cxn>
              <a:cxn ang="0">
                <a:pos x="connsiteX43928" y="connsiteY43928"/>
              </a:cxn>
              <a:cxn ang="0">
                <a:pos x="connsiteX43929" y="connsiteY43929"/>
              </a:cxn>
              <a:cxn ang="0">
                <a:pos x="connsiteX43930" y="connsiteY43930"/>
              </a:cxn>
              <a:cxn ang="0">
                <a:pos x="connsiteX43931" y="connsiteY43931"/>
              </a:cxn>
              <a:cxn ang="0">
                <a:pos x="connsiteX43932" y="connsiteY43932"/>
              </a:cxn>
              <a:cxn ang="0">
                <a:pos x="connsiteX43933" y="connsiteY43933"/>
              </a:cxn>
              <a:cxn ang="0">
                <a:pos x="connsiteX43934" y="connsiteY43934"/>
              </a:cxn>
              <a:cxn ang="0">
                <a:pos x="connsiteX43935" y="connsiteY43935"/>
              </a:cxn>
              <a:cxn ang="0">
                <a:pos x="connsiteX43936" y="connsiteY43936"/>
              </a:cxn>
              <a:cxn ang="0">
                <a:pos x="connsiteX43937" y="connsiteY43937"/>
              </a:cxn>
              <a:cxn ang="0">
                <a:pos x="connsiteX43938" y="connsiteY43938"/>
              </a:cxn>
              <a:cxn ang="0">
                <a:pos x="connsiteX43939" y="connsiteY43939"/>
              </a:cxn>
              <a:cxn ang="0">
                <a:pos x="connsiteX43940" y="connsiteY43940"/>
              </a:cxn>
              <a:cxn ang="0">
                <a:pos x="connsiteX43941" y="connsiteY43941"/>
              </a:cxn>
              <a:cxn ang="0">
                <a:pos x="connsiteX43942" y="connsiteY43942"/>
              </a:cxn>
              <a:cxn ang="0">
                <a:pos x="connsiteX43943" y="connsiteY43943"/>
              </a:cxn>
              <a:cxn ang="0">
                <a:pos x="connsiteX43944" y="connsiteY43944"/>
              </a:cxn>
              <a:cxn ang="0">
                <a:pos x="connsiteX43945" y="connsiteY43945"/>
              </a:cxn>
              <a:cxn ang="0">
                <a:pos x="connsiteX43946" y="connsiteY43946"/>
              </a:cxn>
              <a:cxn ang="0">
                <a:pos x="connsiteX43947" y="connsiteY43947"/>
              </a:cxn>
              <a:cxn ang="0">
                <a:pos x="connsiteX43948" y="connsiteY43948"/>
              </a:cxn>
              <a:cxn ang="0">
                <a:pos x="connsiteX43949" y="connsiteY43949"/>
              </a:cxn>
              <a:cxn ang="0">
                <a:pos x="connsiteX43950" y="connsiteY43950"/>
              </a:cxn>
              <a:cxn ang="0">
                <a:pos x="connsiteX43951" y="connsiteY43951"/>
              </a:cxn>
              <a:cxn ang="0">
                <a:pos x="connsiteX43952" y="connsiteY43952"/>
              </a:cxn>
              <a:cxn ang="0">
                <a:pos x="connsiteX43953" y="connsiteY43953"/>
              </a:cxn>
              <a:cxn ang="0">
                <a:pos x="connsiteX43954" y="connsiteY43954"/>
              </a:cxn>
              <a:cxn ang="0">
                <a:pos x="connsiteX43955" y="connsiteY43955"/>
              </a:cxn>
              <a:cxn ang="0">
                <a:pos x="connsiteX43956" y="connsiteY43956"/>
              </a:cxn>
              <a:cxn ang="0">
                <a:pos x="connsiteX43957" y="connsiteY43957"/>
              </a:cxn>
              <a:cxn ang="0">
                <a:pos x="connsiteX43958" y="connsiteY43958"/>
              </a:cxn>
              <a:cxn ang="0">
                <a:pos x="connsiteX43959" y="connsiteY43959"/>
              </a:cxn>
              <a:cxn ang="0">
                <a:pos x="connsiteX43960" y="connsiteY43960"/>
              </a:cxn>
              <a:cxn ang="0">
                <a:pos x="connsiteX43961" y="connsiteY43961"/>
              </a:cxn>
              <a:cxn ang="0">
                <a:pos x="connsiteX43962" y="connsiteY43962"/>
              </a:cxn>
              <a:cxn ang="0">
                <a:pos x="connsiteX43963" y="connsiteY43963"/>
              </a:cxn>
              <a:cxn ang="0">
                <a:pos x="connsiteX43964" y="connsiteY43964"/>
              </a:cxn>
              <a:cxn ang="0">
                <a:pos x="connsiteX43965" y="connsiteY43965"/>
              </a:cxn>
              <a:cxn ang="0">
                <a:pos x="connsiteX43966" y="connsiteY43966"/>
              </a:cxn>
              <a:cxn ang="0">
                <a:pos x="connsiteX43967" y="connsiteY43967"/>
              </a:cxn>
              <a:cxn ang="0">
                <a:pos x="connsiteX43968" y="connsiteY43968"/>
              </a:cxn>
              <a:cxn ang="0">
                <a:pos x="connsiteX43969" y="connsiteY43969"/>
              </a:cxn>
              <a:cxn ang="0">
                <a:pos x="connsiteX43970" y="connsiteY43970"/>
              </a:cxn>
              <a:cxn ang="0">
                <a:pos x="connsiteX43971" y="connsiteY43971"/>
              </a:cxn>
              <a:cxn ang="0">
                <a:pos x="connsiteX43972" y="connsiteY43972"/>
              </a:cxn>
              <a:cxn ang="0">
                <a:pos x="connsiteX43973" y="connsiteY43973"/>
              </a:cxn>
              <a:cxn ang="0">
                <a:pos x="connsiteX43974" y="connsiteY43974"/>
              </a:cxn>
              <a:cxn ang="0">
                <a:pos x="connsiteX43975" y="connsiteY43975"/>
              </a:cxn>
              <a:cxn ang="0">
                <a:pos x="connsiteX43976" y="connsiteY43976"/>
              </a:cxn>
              <a:cxn ang="0">
                <a:pos x="connsiteX43977" y="connsiteY43977"/>
              </a:cxn>
              <a:cxn ang="0">
                <a:pos x="connsiteX43978" y="connsiteY43978"/>
              </a:cxn>
              <a:cxn ang="0">
                <a:pos x="connsiteX43979" y="connsiteY43979"/>
              </a:cxn>
              <a:cxn ang="0">
                <a:pos x="connsiteX43980" y="connsiteY43980"/>
              </a:cxn>
              <a:cxn ang="0">
                <a:pos x="connsiteX43981" y="connsiteY43981"/>
              </a:cxn>
              <a:cxn ang="0">
                <a:pos x="connsiteX43982" y="connsiteY43982"/>
              </a:cxn>
              <a:cxn ang="0">
                <a:pos x="connsiteX43983" y="connsiteY43983"/>
              </a:cxn>
              <a:cxn ang="0">
                <a:pos x="connsiteX43984" y="connsiteY43984"/>
              </a:cxn>
              <a:cxn ang="0">
                <a:pos x="connsiteX43985" y="connsiteY43985"/>
              </a:cxn>
              <a:cxn ang="0">
                <a:pos x="connsiteX43986" y="connsiteY43986"/>
              </a:cxn>
              <a:cxn ang="0">
                <a:pos x="connsiteX43987" y="connsiteY43987"/>
              </a:cxn>
              <a:cxn ang="0">
                <a:pos x="connsiteX43988" y="connsiteY43988"/>
              </a:cxn>
              <a:cxn ang="0">
                <a:pos x="connsiteX43989" y="connsiteY43989"/>
              </a:cxn>
              <a:cxn ang="0">
                <a:pos x="connsiteX43990" y="connsiteY43990"/>
              </a:cxn>
              <a:cxn ang="0">
                <a:pos x="connsiteX43991" y="connsiteY43991"/>
              </a:cxn>
              <a:cxn ang="0">
                <a:pos x="connsiteX43992" y="connsiteY43992"/>
              </a:cxn>
              <a:cxn ang="0">
                <a:pos x="connsiteX43993" y="connsiteY43993"/>
              </a:cxn>
              <a:cxn ang="0">
                <a:pos x="connsiteX43994" y="connsiteY43994"/>
              </a:cxn>
              <a:cxn ang="0">
                <a:pos x="connsiteX43995" y="connsiteY43995"/>
              </a:cxn>
              <a:cxn ang="0">
                <a:pos x="connsiteX43996" y="connsiteY43996"/>
              </a:cxn>
              <a:cxn ang="0">
                <a:pos x="connsiteX43997" y="connsiteY43997"/>
              </a:cxn>
              <a:cxn ang="0">
                <a:pos x="connsiteX43998" y="connsiteY43998"/>
              </a:cxn>
              <a:cxn ang="0">
                <a:pos x="connsiteX43999" y="connsiteY43999"/>
              </a:cxn>
              <a:cxn ang="0">
                <a:pos x="connsiteX44000" y="connsiteY44000"/>
              </a:cxn>
              <a:cxn ang="0">
                <a:pos x="connsiteX44001" y="connsiteY44001"/>
              </a:cxn>
              <a:cxn ang="0">
                <a:pos x="connsiteX44002" y="connsiteY44002"/>
              </a:cxn>
              <a:cxn ang="0">
                <a:pos x="connsiteX44003" y="connsiteY44003"/>
              </a:cxn>
              <a:cxn ang="0">
                <a:pos x="connsiteX44004" y="connsiteY44004"/>
              </a:cxn>
              <a:cxn ang="0">
                <a:pos x="connsiteX44005" y="connsiteY44005"/>
              </a:cxn>
              <a:cxn ang="0">
                <a:pos x="connsiteX44006" y="connsiteY44006"/>
              </a:cxn>
              <a:cxn ang="0">
                <a:pos x="connsiteX44007" y="connsiteY44007"/>
              </a:cxn>
              <a:cxn ang="0">
                <a:pos x="connsiteX44008" y="connsiteY44008"/>
              </a:cxn>
              <a:cxn ang="0">
                <a:pos x="connsiteX44009" y="connsiteY44009"/>
              </a:cxn>
              <a:cxn ang="0">
                <a:pos x="connsiteX44010" y="connsiteY44010"/>
              </a:cxn>
              <a:cxn ang="0">
                <a:pos x="connsiteX44011" y="connsiteY44011"/>
              </a:cxn>
              <a:cxn ang="0">
                <a:pos x="connsiteX44012" y="connsiteY44012"/>
              </a:cxn>
              <a:cxn ang="0">
                <a:pos x="connsiteX44013" y="connsiteY44013"/>
              </a:cxn>
              <a:cxn ang="0">
                <a:pos x="connsiteX44014" y="connsiteY44014"/>
              </a:cxn>
              <a:cxn ang="0">
                <a:pos x="connsiteX44015" y="connsiteY44015"/>
              </a:cxn>
              <a:cxn ang="0">
                <a:pos x="connsiteX44016" y="connsiteY44016"/>
              </a:cxn>
              <a:cxn ang="0">
                <a:pos x="connsiteX44017" y="connsiteY44017"/>
              </a:cxn>
              <a:cxn ang="0">
                <a:pos x="connsiteX44018" y="connsiteY44018"/>
              </a:cxn>
              <a:cxn ang="0">
                <a:pos x="connsiteX44019" y="connsiteY44019"/>
              </a:cxn>
              <a:cxn ang="0">
                <a:pos x="connsiteX44020" y="connsiteY44020"/>
              </a:cxn>
              <a:cxn ang="0">
                <a:pos x="connsiteX44021" y="connsiteY44021"/>
              </a:cxn>
              <a:cxn ang="0">
                <a:pos x="connsiteX44022" y="connsiteY44022"/>
              </a:cxn>
              <a:cxn ang="0">
                <a:pos x="connsiteX44023" y="connsiteY44023"/>
              </a:cxn>
              <a:cxn ang="0">
                <a:pos x="connsiteX44024" y="connsiteY44024"/>
              </a:cxn>
              <a:cxn ang="0">
                <a:pos x="connsiteX44025" y="connsiteY44025"/>
              </a:cxn>
              <a:cxn ang="0">
                <a:pos x="connsiteX44026" y="connsiteY44026"/>
              </a:cxn>
              <a:cxn ang="0">
                <a:pos x="connsiteX44027" y="connsiteY44027"/>
              </a:cxn>
              <a:cxn ang="0">
                <a:pos x="connsiteX44028" y="connsiteY44028"/>
              </a:cxn>
              <a:cxn ang="0">
                <a:pos x="connsiteX44029" y="connsiteY44029"/>
              </a:cxn>
              <a:cxn ang="0">
                <a:pos x="connsiteX44030" y="connsiteY44030"/>
              </a:cxn>
              <a:cxn ang="0">
                <a:pos x="connsiteX44031" y="connsiteY44031"/>
              </a:cxn>
              <a:cxn ang="0">
                <a:pos x="connsiteX44032" y="connsiteY44032"/>
              </a:cxn>
              <a:cxn ang="0">
                <a:pos x="connsiteX44033" y="connsiteY44033"/>
              </a:cxn>
              <a:cxn ang="0">
                <a:pos x="connsiteX44034" y="connsiteY44034"/>
              </a:cxn>
              <a:cxn ang="0">
                <a:pos x="connsiteX44035" y="connsiteY44035"/>
              </a:cxn>
              <a:cxn ang="0">
                <a:pos x="connsiteX44036" y="connsiteY44036"/>
              </a:cxn>
              <a:cxn ang="0">
                <a:pos x="connsiteX44037" y="connsiteY44037"/>
              </a:cxn>
              <a:cxn ang="0">
                <a:pos x="connsiteX44038" y="connsiteY44038"/>
              </a:cxn>
              <a:cxn ang="0">
                <a:pos x="connsiteX44039" y="connsiteY44039"/>
              </a:cxn>
              <a:cxn ang="0">
                <a:pos x="connsiteX44040" y="connsiteY44040"/>
              </a:cxn>
              <a:cxn ang="0">
                <a:pos x="connsiteX44041" y="connsiteY44041"/>
              </a:cxn>
              <a:cxn ang="0">
                <a:pos x="connsiteX44042" y="connsiteY44042"/>
              </a:cxn>
              <a:cxn ang="0">
                <a:pos x="connsiteX44043" y="connsiteY44043"/>
              </a:cxn>
              <a:cxn ang="0">
                <a:pos x="connsiteX44044" y="connsiteY44044"/>
              </a:cxn>
              <a:cxn ang="0">
                <a:pos x="connsiteX44045" y="connsiteY44045"/>
              </a:cxn>
              <a:cxn ang="0">
                <a:pos x="connsiteX44046" y="connsiteY44046"/>
              </a:cxn>
              <a:cxn ang="0">
                <a:pos x="connsiteX44047" y="connsiteY44047"/>
              </a:cxn>
              <a:cxn ang="0">
                <a:pos x="connsiteX44048" y="connsiteY44048"/>
              </a:cxn>
              <a:cxn ang="0">
                <a:pos x="connsiteX44049" y="connsiteY44049"/>
              </a:cxn>
              <a:cxn ang="0">
                <a:pos x="connsiteX44050" y="connsiteY44050"/>
              </a:cxn>
              <a:cxn ang="0">
                <a:pos x="connsiteX44051" y="connsiteY44051"/>
              </a:cxn>
              <a:cxn ang="0">
                <a:pos x="connsiteX44052" y="connsiteY44052"/>
              </a:cxn>
              <a:cxn ang="0">
                <a:pos x="connsiteX44053" y="connsiteY44053"/>
              </a:cxn>
              <a:cxn ang="0">
                <a:pos x="connsiteX44054" y="connsiteY44054"/>
              </a:cxn>
              <a:cxn ang="0">
                <a:pos x="connsiteX44055" y="connsiteY44055"/>
              </a:cxn>
              <a:cxn ang="0">
                <a:pos x="connsiteX44056" y="connsiteY44056"/>
              </a:cxn>
              <a:cxn ang="0">
                <a:pos x="connsiteX44057" y="connsiteY44057"/>
              </a:cxn>
              <a:cxn ang="0">
                <a:pos x="connsiteX44058" y="connsiteY44058"/>
              </a:cxn>
              <a:cxn ang="0">
                <a:pos x="connsiteX44059" y="connsiteY44059"/>
              </a:cxn>
              <a:cxn ang="0">
                <a:pos x="connsiteX44060" y="connsiteY44060"/>
              </a:cxn>
              <a:cxn ang="0">
                <a:pos x="connsiteX44061" y="connsiteY44061"/>
              </a:cxn>
              <a:cxn ang="0">
                <a:pos x="connsiteX44062" y="connsiteY44062"/>
              </a:cxn>
              <a:cxn ang="0">
                <a:pos x="connsiteX44063" y="connsiteY44063"/>
              </a:cxn>
              <a:cxn ang="0">
                <a:pos x="connsiteX44064" y="connsiteY44064"/>
              </a:cxn>
              <a:cxn ang="0">
                <a:pos x="connsiteX44065" y="connsiteY44065"/>
              </a:cxn>
              <a:cxn ang="0">
                <a:pos x="connsiteX44066" y="connsiteY44066"/>
              </a:cxn>
              <a:cxn ang="0">
                <a:pos x="connsiteX44067" y="connsiteY44067"/>
              </a:cxn>
              <a:cxn ang="0">
                <a:pos x="connsiteX44068" y="connsiteY44068"/>
              </a:cxn>
              <a:cxn ang="0">
                <a:pos x="connsiteX44069" y="connsiteY44069"/>
              </a:cxn>
              <a:cxn ang="0">
                <a:pos x="connsiteX44070" y="connsiteY44070"/>
              </a:cxn>
              <a:cxn ang="0">
                <a:pos x="connsiteX44071" y="connsiteY44071"/>
              </a:cxn>
              <a:cxn ang="0">
                <a:pos x="connsiteX44072" y="connsiteY44072"/>
              </a:cxn>
              <a:cxn ang="0">
                <a:pos x="connsiteX44073" y="connsiteY44073"/>
              </a:cxn>
              <a:cxn ang="0">
                <a:pos x="connsiteX44074" y="connsiteY44074"/>
              </a:cxn>
              <a:cxn ang="0">
                <a:pos x="connsiteX44075" y="connsiteY44075"/>
              </a:cxn>
              <a:cxn ang="0">
                <a:pos x="connsiteX44076" y="connsiteY44076"/>
              </a:cxn>
              <a:cxn ang="0">
                <a:pos x="connsiteX44077" y="connsiteY44077"/>
              </a:cxn>
              <a:cxn ang="0">
                <a:pos x="connsiteX44078" y="connsiteY44078"/>
              </a:cxn>
              <a:cxn ang="0">
                <a:pos x="connsiteX44079" y="connsiteY44079"/>
              </a:cxn>
              <a:cxn ang="0">
                <a:pos x="connsiteX44080" y="connsiteY44080"/>
              </a:cxn>
              <a:cxn ang="0">
                <a:pos x="connsiteX44081" y="connsiteY44081"/>
              </a:cxn>
              <a:cxn ang="0">
                <a:pos x="connsiteX44082" y="connsiteY44082"/>
              </a:cxn>
              <a:cxn ang="0">
                <a:pos x="connsiteX44083" y="connsiteY44083"/>
              </a:cxn>
              <a:cxn ang="0">
                <a:pos x="connsiteX44084" y="connsiteY44084"/>
              </a:cxn>
              <a:cxn ang="0">
                <a:pos x="connsiteX44085" y="connsiteY44085"/>
              </a:cxn>
              <a:cxn ang="0">
                <a:pos x="connsiteX44086" y="connsiteY44086"/>
              </a:cxn>
              <a:cxn ang="0">
                <a:pos x="connsiteX44087" y="connsiteY44087"/>
              </a:cxn>
              <a:cxn ang="0">
                <a:pos x="connsiteX44088" y="connsiteY44088"/>
              </a:cxn>
              <a:cxn ang="0">
                <a:pos x="connsiteX44089" y="connsiteY44089"/>
              </a:cxn>
              <a:cxn ang="0">
                <a:pos x="connsiteX44090" y="connsiteY44090"/>
              </a:cxn>
              <a:cxn ang="0">
                <a:pos x="connsiteX44091" y="connsiteY44091"/>
              </a:cxn>
              <a:cxn ang="0">
                <a:pos x="connsiteX44092" y="connsiteY44092"/>
              </a:cxn>
              <a:cxn ang="0">
                <a:pos x="connsiteX44093" y="connsiteY44093"/>
              </a:cxn>
              <a:cxn ang="0">
                <a:pos x="connsiteX44094" y="connsiteY44094"/>
              </a:cxn>
              <a:cxn ang="0">
                <a:pos x="connsiteX44095" y="connsiteY44095"/>
              </a:cxn>
              <a:cxn ang="0">
                <a:pos x="connsiteX44096" y="connsiteY44096"/>
              </a:cxn>
              <a:cxn ang="0">
                <a:pos x="connsiteX44097" y="connsiteY44097"/>
              </a:cxn>
              <a:cxn ang="0">
                <a:pos x="connsiteX44098" y="connsiteY44098"/>
              </a:cxn>
              <a:cxn ang="0">
                <a:pos x="connsiteX44099" y="connsiteY44099"/>
              </a:cxn>
              <a:cxn ang="0">
                <a:pos x="connsiteX44100" y="connsiteY44100"/>
              </a:cxn>
              <a:cxn ang="0">
                <a:pos x="connsiteX44101" y="connsiteY44101"/>
              </a:cxn>
              <a:cxn ang="0">
                <a:pos x="connsiteX44102" y="connsiteY44102"/>
              </a:cxn>
              <a:cxn ang="0">
                <a:pos x="connsiteX44103" y="connsiteY44103"/>
              </a:cxn>
              <a:cxn ang="0">
                <a:pos x="connsiteX44104" y="connsiteY44104"/>
              </a:cxn>
              <a:cxn ang="0">
                <a:pos x="connsiteX44105" y="connsiteY44105"/>
              </a:cxn>
              <a:cxn ang="0">
                <a:pos x="connsiteX44106" y="connsiteY44106"/>
              </a:cxn>
              <a:cxn ang="0">
                <a:pos x="connsiteX44107" y="connsiteY44107"/>
              </a:cxn>
              <a:cxn ang="0">
                <a:pos x="connsiteX44108" y="connsiteY44108"/>
              </a:cxn>
              <a:cxn ang="0">
                <a:pos x="connsiteX44109" y="connsiteY44109"/>
              </a:cxn>
              <a:cxn ang="0">
                <a:pos x="connsiteX44110" y="connsiteY44110"/>
              </a:cxn>
              <a:cxn ang="0">
                <a:pos x="connsiteX44111" y="connsiteY44111"/>
              </a:cxn>
              <a:cxn ang="0">
                <a:pos x="connsiteX44112" y="connsiteY44112"/>
              </a:cxn>
              <a:cxn ang="0">
                <a:pos x="connsiteX44113" y="connsiteY44113"/>
              </a:cxn>
              <a:cxn ang="0">
                <a:pos x="connsiteX44114" y="connsiteY44114"/>
              </a:cxn>
              <a:cxn ang="0">
                <a:pos x="connsiteX44115" y="connsiteY44115"/>
              </a:cxn>
              <a:cxn ang="0">
                <a:pos x="connsiteX44116" y="connsiteY44116"/>
              </a:cxn>
              <a:cxn ang="0">
                <a:pos x="connsiteX44117" y="connsiteY44117"/>
              </a:cxn>
              <a:cxn ang="0">
                <a:pos x="connsiteX44118" y="connsiteY44118"/>
              </a:cxn>
              <a:cxn ang="0">
                <a:pos x="connsiteX44119" y="connsiteY44119"/>
              </a:cxn>
              <a:cxn ang="0">
                <a:pos x="connsiteX44120" y="connsiteY44120"/>
              </a:cxn>
              <a:cxn ang="0">
                <a:pos x="connsiteX44121" y="connsiteY44121"/>
              </a:cxn>
              <a:cxn ang="0">
                <a:pos x="connsiteX44122" y="connsiteY44122"/>
              </a:cxn>
              <a:cxn ang="0">
                <a:pos x="connsiteX44123" y="connsiteY44123"/>
              </a:cxn>
              <a:cxn ang="0">
                <a:pos x="connsiteX44124" y="connsiteY44124"/>
              </a:cxn>
              <a:cxn ang="0">
                <a:pos x="connsiteX44125" y="connsiteY44125"/>
              </a:cxn>
              <a:cxn ang="0">
                <a:pos x="connsiteX44126" y="connsiteY44126"/>
              </a:cxn>
              <a:cxn ang="0">
                <a:pos x="connsiteX44127" y="connsiteY44127"/>
              </a:cxn>
              <a:cxn ang="0">
                <a:pos x="connsiteX44128" y="connsiteY44128"/>
              </a:cxn>
              <a:cxn ang="0">
                <a:pos x="connsiteX44129" y="connsiteY44129"/>
              </a:cxn>
              <a:cxn ang="0">
                <a:pos x="connsiteX44130" y="connsiteY44130"/>
              </a:cxn>
              <a:cxn ang="0">
                <a:pos x="connsiteX44131" y="connsiteY44131"/>
              </a:cxn>
              <a:cxn ang="0">
                <a:pos x="connsiteX44132" y="connsiteY44132"/>
              </a:cxn>
              <a:cxn ang="0">
                <a:pos x="connsiteX44133" y="connsiteY44133"/>
              </a:cxn>
              <a:cxn ang="0">
                <a:pos x="connsiteX44134" y="connsiteY44134"/>
              </a:cxn>
              <a:cxn ang="0">
                <a:pos x="connsiteX44135" y="connsiteY44135"/>
              </a:cxn>
              <a:cxn ang="0">
                <a:pos x="connsiteX44136" y="connsiteY44136"/>
              </a:cxn>
              <a:cxn ang="0">
                <a:pos x="connsiteX44137" y="connsiteY44137"/>
              </a:cxn>
              <a:cxn ang="0">
                <a:pos x="connsiteX44138" y="connsiteY44138"/>
              </a:cxn>
              <a:cxn ang="0">
                <a:pos x="connsiteX44139" y="connsiteY44139"/>
              </a:cxn>
              <a:cxn ang="0">
                <a:pos x="connsiteX44140" y="connsiteY44140"/>
              </a:cxn>
              <a:cxn ang="0">
                <a:pos x="connsiteX44141" y="connsiteY44141"/>
              </a:cxn>
              <a:cxn ang="0">
                <a:pos x="connsiteX44142" y="connsiteY44142"/>
              </a:cxn>
              <a:cxn ang="0">
                <a:pos x="connsiteX44143" y="connsiteY44143"/>
              </a:cxn>
              <a:cxn ang="0">
                <a:pos x="connsiteX44144" y="connsiteY44144"/>
              </a:cxn>
              <a:cxn ang="0">
                <a:pos x="connsiteX44145" y="connsiteY44145"/>
              </a:cxn>
              <a:cxn ang="0">
                <a:pos x="connsiteX44146" y="connsiteY44146"/>
              </a:cxn>
              <a:cxn ang="0">
                <a:pos x="connsiteX44147" y="connsiteY44147"/>
              </a:cxn>
              <a:cxn ang="0">
                <a:pos x="connsiteX44148" y="connsiteY44148"/>
              </a:cxn>
              <a:cxn ang="0">
                <a:pos x="connsiteX44149" y="connsiteY44149"/>
              </a:cxn>
              <a:cxn ang="0">
                <a:pos x="connsiteX44150" y="connsiteY44150"/>
              </a:cxn>
              <a:cxn ang="0">
                <a:pos x="connsiteX44151" y="connsiteY44151"/>
              </a:cxn>
              <a:cxn ang="0">
                <a:pos x="connsiteX44152" y="connsiteY44152"/>
              </a:cxn>
              <a:cxn ang="0">
                <a:pos x="connsiteX44153" y="connsiteY44153"/>
              </a:cxn>
              <a:cxn ang="0">
                <a:pos x="connsiteX44154" y="connsiteY44154"/>
              </a:cxn>
              <a:cxn ang="0">
                <a:pos x="connsiteX44155" y="connsiteY44155"/>
              </a:cxn>
              <a:cxn ang="0">
                <a:pos x="connsiteX44156" y="connsiteY44156"/>
              </a:cxn>
              <a:cxn ang="0">
                <a:pos x="connsiteX44157" y="connsiteY44157"/>
              </a:cxn>
              <a:cxn ang="0">
                <a:pos x="connsiteX44158" y="connsiteY44158"/>
              </a:cxn>
              <a:cxn ang="0">
                <a:pos x="connsiteX44159" y="connsiteY44159"/>
              </a:cxn>
              <a:cxn ang="0">
                <a:pos x="connsiteX44160" y="connsiteY44160"/>
              </a:cxn>
              <a:cxn ang="0">
                <a:pos x="connsiteX44161" y="connsiteY44161"/>
              </a:cxn>
              <a:cxn ang="0">
                <a:pos x="connsiteX44162" y="connsiteY44162"/>
              </a:cxn>
              <a:cxn ang="0">
                <a:pos x="connsiteX44163" y="connsiteY44163"/>
              </a:cxn>
              <a:cxn ang="0">
                <a:pos x="connsiteX44164" y="connsiteY44164"/>
              </a:cxn>
              <a:cxn ang="0">
                <a:pos x="connsiteX44165" y="connsiteY44165"/>
              </a:cxn>
              <a:cxn ang="0">
                <a:pos x="connsiteX44166" y="connsiteY44166"/>
              </a:cxn>
              <a:cxn ang="0">
                <a:pos x="connsiteX44167" y="connsiteY44167"/>
              </a:cxn>
              <a:cxn ang="0">
                <a:pos x="connsiteX44168" y="connsiteY44168"/>
              </a:cxn>
              <a:cxn ang="0">
                <a:pos x="connsiteX44169" y="connsiteY44169"/>
              </a:cxn>
              <a:cxn ang="0">
                <a:pos x="connsiteX44170" y="connsiteY44170"/>
              </a:cxn>
              <a:cxn ang="0">
                <a:pos x="connsiteX44171" y="connsiteY44171"/>
              </a:cxn>
              <a:cxn ang="0">
                <a:pos x="connsiteX44172" y="connsiteY44172"/>
              </a:cxn>
              <a:cxn ang="0">
                <a:pos x="connsiteX44173" y="connsiteY44173"/>
              </a:cxn>
              <a:cxn ang="0">
                <a:pos x="connsiteX44174" y="connsiteY44174"/>
              </a:cxn>
              <a:cxn ang="0">
                <a:pos x="connsiteX44175" y="connsiteY44175"/>
              </a:cxn>
              <a:cxn ang="0">
                <a:pos x="connsiteX44176" y="connsiteY44176"/>
              </a:cxn>
              <a:cxn ang="0">
                <a:pos x="connsiteX44177" y="connsiteY44177"/>
              </a:cxn>
              <a:cxn ang="0">
                <a:pos x="connsiteX44178" y="connsiteY44178"/>
              </a:cxn>
              <a:cxn ang="0">
                <a:pos x="connsiteX44179" y="connsiteY44179"/>
              </a:cxn>
              <a:cxn ang="0">
                <a:pos x="connsiteX44180" y="connsiteY44180"/>
              </a:cxn>
              <a:cxn ang="0">
                <a:pos x="connsiteX44181" y="connsiteY44181"/>
              </a:cxn>
              <a:cxn ang="0">
                <a:pos x="connsiteX44182" y="connsiteY44182"/>
              </a:cxn>
              <a:cxn ang="0">
                <a:pos x="connsiteX44183" y="connsiteY44183"/>
              </a:cxn>
              <a:cxn ang="0">
                <a:pos x="connsiteX44184" y="connsiteY44184"/>
              </a:cxn>
              <a:cxn ang="0">
                <a:pos x="connsiteX44185" y="connsiteY44185"/>
              </a:cxn>
              <a:cxn ang="0">
                <a:pos x="connsiteX44186" y="connsiteY44186"/>
              </a:cxn>
              <a:cxn ang="0">
                <a:pos x="connsiteX44187" y="connsiteY44187"/>
              </a:cxn>
              <a:cxn ang="0">
                <a:pos x="connsiteX44188" y="connsiteY44188"/>
              </a:cxn>
              <a:cxn ang="0">
                <a:pos x="connsiteX44189" y="connsiteY44189"/>
              </a:cxn>
              <a:cxn ang="0">
                <a:pos x="connsiteX44190" y="connsiteY44190"/>
              </a:cxn>
              <a:cxn ang="0">
                <a:pos x="connsiteX44191" y="connsiteY44191"/>
              </a:cxn>
              <a:cxn ang="0">
                <a:pos x="connsiteX44192" y="connsiteY44192"/>
              </a:cxn>
              <a:cxn ang="0">
                <a:pos x="connsiteX44193" y="connsiteY44193"/>
              </a:cxn>
              <a:cxn ang="0">
                <a:pos x="connsiteX44194" y="connsiteY44194"/>
              </a:cxn>
              <a:cxn ang="0">
                <a:pos x="connsiteX44195" y="connsiteY44195"/>
              </a:cxn>
              <a:cxn ang="0">
                <a:pos x="connsiteX44196" y="connsiteY44196"/>
              </a:cxn>
              <a:cxn ang="0">
                <a:pos x="connsiteX44197" y="connsiteY44197"/>
              </a:cxn>
              <a:cxn ang="0">
                <a:pos x="connsiteX44198" y="connsiteY44198"/>
              </a:cxn>
              <a:cxn ang="0">
                <a:pos x="connsiteX44199" y="connsiteY44199"/>
              </a:cxn>
              <a:cxn ang="0">
                <a:pos x="connsiteX44200" y="connsiteY44200"/>
              </a:cxn>
              <a:cxn ang="0">
                <a:pos x="connsiteX44201" y="connsiteY44201"/>
              </a:cxn>
              <a:cxn ang="0">
                <a:pos x="connsiteX44202" y="connsiteY44202"/>
              </a:cxn>
              <a:cxn ang="0">
                <a:pos x="connsiteX44203" y="connsiteY44203"/>
              </a:cxn>
              <a:cxn ang="0">
                <a:pos x="connsiteX44204" y="connsiteY44204"/>
              </a:cxn>
              <a:cxn ang="0">
                <a:pos x="connsiteX44205" y="connsiteY44205"/>
              </a:cxn>
              <a:cxn ang="0">
                <a:pos x="connsiteX44206" y="connsiteY44206"/>
              </a:cxn>
              <a:cxn ang="0">
                <a:pos x="connsiteX44207" y="connsiteY44207"/>
              </a:cxn>
              <a:cxn ang="0">
                <a:pos x="connsiteX44208" y="connsiteY44208"/>
              </a:cxn>
              <a:cxn ang="0">
                <a:pos x="connsiteX44209" y="connsiteY44209"/>
              </a:cxn>
              <a:cxn ang="0">
                <a:pos x="connsiteX44210" y="connsiteY44210"/>
              </a:cxn>
              <a:cxn ang="0">
                <a:pos x="connsiteX44211" y="connsiteY44211"/>
              </a:cxn>
              <a:cxn ang="0">
                <a:pos x="connsiteX44212" y="connsiteY44212"/>
              </a:cxn>
              <a:cxn ang="0">
                <a:pos x="connsiteX44213" y="connsiteY44213"/>
              </a:cxn>
              <a:cxn ang="0">
                <a:pos x="connsiteX44214" y="connsiteY44214"/>
              </a:cxn>
              <a:cxn ang="0">
                <a:pos x="connsiteX44215" y="connsiteY44215"/>
              </a:cxn>
              <a:cxn ang="0">
                <a:pos x="connsiteX44216" y="connsiteY44216"/>
              </a:cxn>
              <a:cxn ang="0">
                <a:pos x="connsiteX44217" y="connsiteY44217"/>
              </a:cxn>
              <a:cxn ang="0">
                <a:pos x="connsiteX44218" y="connsiteY44218"/>
              </a:cxn>
              <a:cxn ang="0">
                <a:pos x="connsiteX44219" y="connsiteY44219"/>
              </a:cxn>
              <a:cxn ang="0">
                <a:pos x="connsiteX44220" y="connsiteY44220"/>
              </a:cxn>
              <a:cxn ang="0">
                <a:pos x="connsiteX44221" y="connsiteY44221"/>
              </a:cxn>
              <a:cxn ang="0">
                <a:pos x="connsiteX44222" y="connsiteY44222"/>
              </a:cxn>
              <a:cxn ang="0">
                <a:pos x="connsiteX44223" y="connsiteY44223"/>
              </a:cxn>
              <a:cxn ang="0">
                <a:pos x="connsiteX44224" y="connsiteY44224"/>
              </a:cxn>
              <a:cxn ang="0">
                <a:pos x="connsiteX44225" y="connsiteY44225"/>
              </a:cxn>
              <a:cxn ang="0">
                <a:pos x="connsiteX44226" y="connsiteY44226"/>
              </a:cxn>
              <a:cxn ang="0">
                <a:pos x="connsiteX44227" y="connsiteY44227"/>
              </a:cxn>
              <a:cxn ang="0">
                <a:pos x="connsiteX44228" y="connsiteY44228"/>
              </a:cxn>
              <a:cxn ang="0">
                <a:pos x="connsiteX44229" y="connsiteY44229"/>
              </a:cxn>
              <a:cxn ang="0">
                <a:pos x="connsiteX44230" y="connsiteY44230"/>
              </a:cxn>
              <a:cxn ang="0">
                <a:pos x="connsiteX44231" y="connsiteY44231"/>
              </a:cxn>
              <a:cxn ang="0">
                <a:pos x="connsiteX44232" y="connsiteY44232"/>
              </a:cxn>
              <a:cxn ang="0">
                <a:pos x="connsiteX44233" y="connsiteY44233"/>
              </a:cxn>
              <a:cxn ang="0">
                <a:pos x="connsiteX44234" y="connsiteY44234"/>
              </a:cxn>
              <a:cxn ang="0">
                <a:pos x="connsiteX44235" y="connsiteY44235"/>
              </a:cxn>
              <a:cxn ang="0">
                <a:pos x="connsiteX44236" y="connsiteY44236"/>
              </a:cxn>
              <a:cxn ang="0">
                <a:pos x="connsiteX44237" y="connsiteY44237"/>
              </a:cxn>
              <a:cxn ang="0">
                <a:pos x="connsiteX44238" y="connsiteY44238"/>
              </a:cxn>
              <a:cxn ang="0">
                <a:pos x="connsiteX44239" y="connsiteY44239"/>
              </a:cxn>
              <a:cxn ang="0">
                <a:pos x="connsiteX44240" y="connsiteY44240"/>
              </a:cxn>
              <a:cxn ang="0">
                <a:pos x="connsiteX44241" y="connsiteY44241"/>
              </a:cxn>
              <a:cxn ang="0">
                <a:pos x="connsiteX44242" y="connsiteY44242"/>
              </a:cxn>
              <a:cxn ang="0">
                <a:pos x="connsiteX44243" y="connsiteY44243"/>
              </a:cxn>
              <a:cxn ang="0">
                <a:pos x="connsiteX44244" y="connsiteY44244"/>
              </a:cxn>
              <a:cxn ang="0">
                <a:pos x="connsiteX44245" y="connsiteY44245"/>
              </a:cxn>
              <a:cxn ang="0">
                <a:pos x="connsiteX44246" y="connsiteY44246"/>
              </a:cxn>
              <a:cxn ang="0">
                <a:pos x="connsiteX44247" y="connsiteY44247"/>
              </a:cxn>
              <a:cxn ang="0">
                <a:pos x="connsiteX44248" y="connsiteY44248"/>
              </a:cxn>
              <a:cxn ang="0">
                <a:pos x="connsiteX44249" y="connsiteY44249"/>
              </a:cxn>
              <a:cxn ang="0">
                <a:pos x="connsiteX44250" y="connsiteY44250"/>
              </a:cxn>
              <a:cxn ang="0">
                <a:pos x="connsiteX44251" y="connsiteY44251"/>
              </a:cxn>
              <a:cxn ang="0">
                <a:pos x="connsiteX44252" y="connsiteY44252"/>
              </a:cxn>
              <a:cxn ang="0">
                <a:pos x="connsiteX44253" y="connsiteY44253"/>
              </a:cxn>
              <a:cxn ang="0">
                <a:pos x="connsiteX44254" y="connsiteY44254"/>
              </a:cxn>
              <a:cxn ang="0">
                <a:pos x="connsiteX44255" y="connsiteY44255"/>
              </a:cxn>
              <a:cxn ang="0">
                <a:pos x="connsiteX44256" y="connsiteY44256"/>
              </a:cxn>
              <a:cxn ang="0">
                <a:pos x="connsiteX44257" y="connsiteY44257"/>
              </a:cxn>
              <a:cxn ang="0">
                <a:pos x="connsiteX44258" y="connsiteY44258"/>
              </a:cxn>
              <a:cxn ang="0">
                <a:pos x="connsiteX44259" y="connsiteY44259"/>
              </a:cxn>
              <a:cxn ang="0">
                <a:pos x="connsiteX44260" y="connsiteY44260"/>
              </a:cxn>
              <a:cxn ang="0">
                <a:pos x="connsiteX44261" y="connsiteY44261"/>
              </a:cxn>
              <a:cxn ang="0">
                <a:pos x="connsiteX44262" y="connsiteY44262"/>
              </a:cxn>
              <a:cxn ang="0">
                <a:pos x="connsiteX44263" y="connsiteY44263"/>
              </a:cxn>
              <a:cxn ang="0">
                <a:pos x="connsiteX44264" y="connsiteY44264"/>
              </a:cxn>
              <a:cxn ang="0">
                <a:pos x="connsiteX44265" y="connsiteY44265"/>
              </a:cxn>
              <a:cxn ang="0">
                <a:pos x="connsiteX44266" y="connsiteY44266"/>
              </a:cxn>
              <a:cxn ang="0">
                <a:pos x="connsiteX44267" y="connsiteY44267"/>
              </a:cxn>
              <a:cxn ang="0">
                <a:pos x="connsiteX44268" y="connsiteY44268"/>
              </a:cxn>
              <a:cxn ang="0">
                <a:pos x="connsiteX44269" y="connsiteY44269"/>
              </a:cxn>
              <a:cxn ang="0">
                <a:pos x="connsiteX44270" y="connsiteY44270"/>
              </a:cxn>
              <a:cxn ang="0">
                <a:pos x="connsiteX44271" y="connsiteY44271"/>
              </a:cxn>
              <a:cxn ang="0">
                <a:pos x="connsiteX44272" y="connsiteY44272"/>
              </a:cxn>
              <a:cxn ang="0">
                <a:pos x="connsiteX44273" y="connsiteY44273"/>
              </a:cxn>
              <a:cxn ang="0">
                <a:pos x="connsiteX44274" y="connsiteY44274"/>
              </a:cxn>
              <a:cxn ang="0">
                <a:pos x="connsiteX44275" y="connsiteY44275"/>
              </a:cxn>
              <a:cxn ang="0">
                <a:pos x="connsiteX44276" y="connsiteY44276"/>
              </a:cxn>
              <a:cxn ang="0">
                <a:pos x="connsiteX44277" y="connsiteY44277"/>
              </a:cxn>
              <a:cxn ang="0">
                <a:pos x="connsiteX44278" y="connsiteY44278"/>
              </a:cxn>
              <a:cxn ang="0">
                <a:pos x="connsiteX44279" y="connsiteY44279"/>
              </a:cxn>
              <a:cxn ang="0">
                <a:pos x="connsiteX44280" y="connsiteY44280"/>
              </a:cxn>
              <a:cxn ang="0">
                <a:pos x="connsiteX44281" y="connsiteY44281"/>
              </a:cxn>
              <a:cxn ang="0">
                <a:pos x="connsiteX44282" y="connsiteY44282"/>
              </a:cxn>
              <a:cxn ang="0">
                <a:pos x="connsiteX44283" y="connsiteY44283"/>
              </a:cxn>
              <a:cxn ang="0">
                <a:pos x="connsiteX44284" y="connsiteY44284"/>
              </a:cxn>
              <a:cxn ang="0">
                <a:pos x="connsiteX44285" y="connsiteY44285"/>
              </a:cxn>
              <a:cxn ang="0">
                <a:pos x="connsiteX44286" y="connsiteY44286"/>
              </a:cxn>
              <a:cxn ang="0">
                <a:pos x="connsiteX44287" y="connsiteY44287"/>
              </a:cxn>
              <a:cxn ang="0">
                <a:pos x="connsiteX44288" y="connsiteY44288"/>
              </a:cxn>
              <a:cxn ang="0">
                <a:pos x="connsiteX44289" y="connsiteY44289"/>
              </a:cxn>
              <a:cxn ang="0">
                <a:pos x="connsiteX44290" y="connsiteY44290"/>
              </a:cxn>
              <a:cxn ang="0">
                <a:pos x="connsiteX44291" y="connsiteY44291"/>
              </a:cxn>
              <a:cxn ang="0">
                <a:pos x="connsiteX44292" y="connsiteY44292"/>
              </a:cxn>
              <a:cxn ang="0">
                <a:pos x="connsiteX44293" y="connsiteY44293"/>
              </a:cxn>
              <a:cxn ang="0">
                <a:pos x="connsiteX44294" y="connsiteY44294"/>
              </a:cxn>
              <a:cxn ang="0">
                <a:pos x="connsiteX44295" y="connsiteY44295"/>
              </a:cxn>
              <a:cxn ang="0">
                <a:pos x="connsiteX44296" y="connsiteY44296"/>
              </a:cxn>
              <a:cxn ang="0">
                <a:pos x="connsiteX44297" y="connsiteY44297"/>
              </a:cxn>
              <a:cxn ang="0">
                <a:pos x="connsiteX44298" y="connsiteY44298"/>
              </a:cxn>
              <a:cxn ang="0">
                <a:pos x="connsiteX44299" y="connsiteY44299"/>
              </a:cxn>
              <a:cxn ang="0">
                <a:pos x="connsiteX44300" y="connsiteY44300"/>
              </a:cxn>
              <a:cxn ang="0">
                <a:pos x="connsiteX44301" y="connsiteY44301"/>
              </a:cxn>
              <a:cxn ang="0">
                <a:pos x="connsiteX44302" y="connsiteY44302"/>
              </a:cxn>
              <a:cxn ang="0">
                <a:pos x="connsiteX44303" y="connsiteY44303"/>
              </a:cxn>
              <a:cxn ang="0">
                <a:pos x="connsiteX44304" y="connsiteY44304"/>
              </a:cxn>
              <a:cxn ang="0">
                <a:pos x="connsiteX44305" y="connsiteY44305"/>
              </a:cxn>
              <a:cxn ang="0">
                <a:pos x="connsiteX44306" y="connsiteY44306"/>
              </a:cxn>
              <a:cxn ang="0">
                <a:pos x="connsiteX44307" y="connsiteY44307"/>
              </a:cxn>
              <a:cxn ang="0">
                <a:pos x="connsiteX44308" y="connsiteY44308"/>
              </a:cxn>
              <a:cxn ang="0">
                <a:pos x="connsiteX44309" y="connsiteY44309"/>
              </a:cxn>
              <a:cxn ang="0">
                <a:pos x="connsiteX44310" y="connsiteY44310"/>
              </a:cxn>
              <a:cxn ang="0">
                <a:pos x="connsiteX44311" y="connsiteY44311"/>
              </a:cxn>
              <a:cxn ang="0">
                <a:pos x="connsiteX44312" y="connsiteY44312"/>
              </a:cxn>
              <a:cxn ang="0">
                <a:pos x="connsiteX44313" y="connsiteY44313"/>
              </a:cxn>
              <a:cxn ang="0">
                <a:pos x="connsiteX44314" y="connsiteY44314"/>
              </a:cxn>
              <a:cxn ang="0">
                <a:pos x="connsiteX44315" y="connsiteY44315"/>
              </a:cxn>
              <a:cxn ang="0">
                <a:pos x="connsiteX44316" y="connsiteY44316"/>
              </a:cxn>
              <a:cxn ang="0">
                <a:pos x="connsiteX44317" y="connsiteY44317"/>
              </a:cxn>
              <a:cxn ang="0">
                <a:pos x="connsiteX44318" y="connsiteY44318"/>
              </a:cxn>
              <a:cxn ang="0">
                <a:pos x="connsiteX44319" y="connsiteY44319"/>
              </a:cxn>
              <a:cxn ang="0">
                <a:pos x="connsiteX44320" y="connsiteY44320"/>
              </a:cxn>
              <a:cxn ang="0">
                <a:pos x="connsiteX44321" y="connsiteY44321"/>
              </a:cxn>
              <a:cxn ang="0">
                <a:pos x="connsiteX44322" y="connsiteY44322"/>
              </a:cxn>
              <a:cxn ang="0">
                <a:pos x="connsiteX44323" y="connsiteY44323"/>
              </a:cxn>
              <a:cxn ang="0">
                <a:pos x="connsiteX44324" y="connsiteY44324"/>
              </a:cxn>
              <a:cxn ang="0">
                <a:pos x="connsiteX44325" y="connsiteY44325"/>
              </a:cxn>
              <a:cxn ang="0">
                <a:pos x="connsiteX44326" y="connsiteY44326"/>
              </a:cxn>
              <a:cxn ang="0">
                <a:pos x="connsiteX44327" y="connsiteY44327"/>
              </a:cxn>
              <a:cxn ang="0">
                <a:pos x="connsiteX44328" y="connsiteY44328"/>
              </a:cxn>
              <a:cxn ang="0">
                <a:pos x="connsiteX44329" y="connsiteY44329"/>
              </a:cxn>
              <a:cxn ang="0">
                <a:pos x="connsiteX44330" y="connsiteY44330"/>
              </a:cxn>
              <a:cxn ang="0">
                <a:pos x="connsiteX44331" y="connsiteY44331"/>
              </a:cxn>
              <a:cxn ang="0">
                <a:pos x="connsiteX44332" y="connsiteY44332"/>
              </a:cxn>
              <a:cxn ang="0">
                <a:pos x="connsiteX44333" y="connsiteY44333"/>
              </a:cxn>
              <a:cxn ang="0">
                <a:pos x="connsiteX44334" y="connsiteY44334"/>
              </a:cxn>
              <a:cxn ang="0">
                <a:pos x="connsiteX44335" y="connsiteY44335"/>
              </a:cxn>
              <a:cxn ang="0">
                <a:pos x="connsiteX44336" y="connsiteY44336"/>
              </a:cxn>
              <a:cxn ang="0">
                <a:pos x="connsiteX44337" y="connsiteY44337"/>
              </a:cxn>
              <a:cxn ang="0">
                <a:pos x="connsiteX44338" y="connsiteY44338"/>
              </a:cxn>
              <a:cxn ang="0">
                <a:pos x="connsiteX44339" y="connsiteY44339"/>
              </a:cxn>
              <a:cxn ang="0">
                <a:pos x="connsiteX44340" y="connsiteY44340"/>
              </a:cxn>
              <a:cxn ang="0">
                <a:pos x="connsiteX44341" y="connsiteY44341"/>
              </a:cxn>
              <a:cxn ang="0">
                <a:pos x="connsiteX44342" y="connsiteY44342"/>
              </a:cxn>
              <a:cxn ang="0">
                <a:pos x="connsiteX44343" y="connsiteY44343"/>
              </a:cxn>
              <a:cxn ang="0">
                <a:pos x="connsiteX44344" y="connsiteY44344"/>
              </a:cxn>
              <a:cxn ang="0">
                <a:pos x="connsiteX44345" y="connsiteY44345"/>
              </a:cxn>
              <a:cxn ang="0">
                <a:pos x="connsiteX44346" y="connsiteY44346"/>
              </a:cxn>
              <a:cxn ang="0">
                <a:pos x="connsiteX44347" y="connsiteY44347"/>
              </a:cxn>
              <a:cxn ang="0">
                <a:pos x="connsiteX44348" y="connsiteY44348"/>
              </a:cxn>
              <a:cxn ang="0">
                <a:pos x="connsiteX44349" y="connsiteY44349"/>
              </a:cxn>
              <a:cxn ang="0">
                <a:pos x="connsiteX44350" y="connsiteY44350"/>
              </a:cxn>
              <a:cxn ang="0">
                <a:pos x="connsiteX44351" y="connsiteY44351"/>
              </a:cxn>
              <a:cxn ang="0">
                <a:pos x="connsiteX44352" y="connsiteY44352"/>
              </a:cxn>
              <a:cxn ang="0">
                <a:pos x="connsiteX44353" y="connsiteY44353"/>
              </a:cxn>
              <a:cxn ang="0">
                <a:pos x="connsiteX44354" y="connsiteY44354"/>
              </a:cxn>
              <a:cxn ang="0">
                <a:pos x="connsiteX44355" y="connsiteY44355"/>
              </a:cxn>
              <a:cxn ang="0">
                <a:pos x="connsiteX44356" y="connsiteY44356"/>
              </a:cxn>
              <a:cxn ang="0">
                <a:pos x="connsiteX44357" y="connsiteY44357"/>
              </a:cxn>
              <a:cxn ang="0">
                <a:pos x="connsiteX44358" y="connsiteY44358"/>
              </a:cxn>
              <a:cxn ang="0">
                <a:pos x="connsiteX44359" y="connsiteY44359"/>
              </a:cxn>
              <a:cxn ang="0">
                <a:pos x="connsiteX44360" y="connsiteY44360"/>
              </a:cxn>
              <a:cxn ang="0">
                <a:pos x="connsiteX44361" y="connsiteY44361"/>
              </a:cxn>
              <a:cxn ang="0">
                <a:pos x="connsiteX44362" y="connsiteY44362"/>
              </a:cxn>
              <a:cxn ang="0">
                <a:pos x="connsiteX44363" y="connsiteY44363"/>
              </a:cxn>
              <a:cxn ang="0">
                <a:pos x="connsiteX44364" y="connsiteY44364"/>
              </a:cxn>
              <a:cxn ang="0">
                <a:pos x="connsiteX44365" y="connsiteY44365"/>
              </a:cxn>
              <a:cxn ang="0">
                <a:pos x="connsiteX44366" y="connsiteY44366"/>
              </a:cxn>
              <a:cxn ang="0">
                <a:pos x="connsiteX44367" y="connsiteY44367"/>
              </a:cxn>
              <a:cxn ang="0">
                <a:pos x="connsiteX44368" y="connsiteY44368"/>
              </a:cxn>
              <a:cxn ang="0">
                <a:pos x="connsiteX44369" y="connsiteY44369"/>
              </a:cxn>
              <a:cxn ang="0">
                <a:pos x="connsiteX44370" y="connsiteY44370"/>
              </a:cxn>
              <a:cxn ang="0">
                <a:pos x="connsiteX44371" y="connsiteY44371"/>
              </a:cxn>
              <a:cxn ang="0">
                <a:pos x="connsiteX44372" y="connsiteY44372"/>
              </a:cxn>
              <a:cxn ang="0">
                <a:pos x="connsiteX44373" y="connsiteY44373"/>
              </a:cxn>
              <a:cxn ang="0">
                <a:pos x="connsiteX44374" y="connsiteY44374"/>
              </a:cxn>
              <a:cxn ang="0">
                <a:pos x="connsiteX44375" y="connsiteY44375"/>
              </a:cxn>
              <a:cxn ang="0">
                <a:pos x="connsiteX44376" y="connsiteY44376"/>
              </a:cxn>
              <a:cxn ang="0">
                <a:pos x="connsiteX44377" y="connsiteY44377"/>
              </a:cxn>
              <a:cxn ang="0">
                <a:pos x="connsiteX44378" y="connsiteY44378"/>
              </a:cxn>
              <a:cxn ang="0">
                <a:pos x="connsiteX44379" y="connsiteY44379"/>
              </a:cxn>
              <a:cxn ang="0">
                <a:pos x="connsiteX44380" y="connsiteY44380"/>
              </a:cxn>
              <a:cxn ang="0">
                <a:pos x="connsiteX44381" y="connsiteY44381"/>
              </a:cxn>
              <a:cxn ang="0">
                <a:pos x="connsiteX44382" y="connsiteY44382"/>
              </a:cxn>
              <a:cxn ang="0">
                <a:pos x="connsiteX44383" y="connsiteY44383"/>
              </a:cxn>
              <a:cxn ang="0">
                <a:pos x="connsiteX44384" y="connsiteY44384"/>
              </a:cxn>
              <a:cxn ang="0">
                <a:pos x="connsiteX44385" y="connsiteY44385"/>
              </a:cxn>
              <a:cxn ang="0">
                <a:pos x="connsiteX44386" y="connsiteY44386"/>
              </a:cxn>
              <a:cxn ang="0">
                <a:pos x="connsiteX44387" y="connsiteY44387"/>
              </a:cxn>
              <a:cxn ang="0">
                <a:pos x="connsiteX44388" y="connsiteY44388"/>
              </a:cxn>
              <a:cxn ang="0">
                <a:pos x="connsiteX44389" y="connsiteY44389"/>
              </a:cxn>
              <a:cxn ang="0">
                <a:pos x="connsiteX44390" y="connsiteY44390"/>
              </a:cxn>
              <a:cxn ang="0">
                <a:pos x="connsiteX44391" y="connsiteY44391"/>
              </a:cxn>
              <a:cxn ang="0">
                <a:pos x="connsiteX44392" y="connsiteY44392"/>
              </a:cxn>
              <a:cxn ang="0">
                <a:pos x="connsiteX44393" y="connsiteY44393"/>
              </a:cxn>
              <a:cxn ang="0">
                <a:pos x="connsiteX44394" y="connsiteY44394"/>
              </a:cxn>
              <a:cxn ang="0">
                <a:pos x="connsiteX44395" y="connsiteY44395"/>
              </a:cxn>
              <a:cxn ang="0">
                <a:pos x="connsiteX44396" y="connsiteY44396"/>
              </a:cxn>
              <a:cxn ang="0">
                <a:pos x="connsiteX44397" y="connsiteY44397"/>
              </a:cxn>
              <a:cxn ang="0">
                <a:pos x="connsiteX44398" y="connsiteY44398"/>
              </a:cxn>
              <a:cxn ang="0">
                <a:pos x="connsiteX44399" y="connsiteY44399"/>
              </a:cxn>
              <a:cxn ang="0">
                <a:pos x="connsiteX44400" y="connsiteY44400"/>
              </a:cxn>
              <a:cxn ang="0">
                <a:pos x="connsiteX44401" y="connsiteY44401"/>
              </a:cxn>
              <a:cxn ang="0">
                <a:pos x="connsiteX44402" y="connsiteY44402"/>
              </a:cxn>
              <a:cxn ang="0">
                <a:pos x="connsiteX44403" y="connsiteY44403"/>
              </a:cxn>
              <a:cxn ang="0">
                <a:pos x="connsiteX44404" y="connsiteY44404"/>
              </a:cxn>
              <a:cxn ang="0">
                <a:pos x="connsiteX44405" y="connsiteY44405"/>
              </a:cxn>
              <a:cxn ang="0">
                <a:pos x="connsiteX44406" y="connsiteY44406"/>
              </a:cxn>
              <a:cxn ang="0">
                <a:pos x="connsiteX44407" y="connsiteY44407"/>
              </a:cxn>
              <a:cxn ang="0">
                <a:pos x="connsiteX44408" y="connsiteY44408"/>
              </a:cxn>
              <a:cxn ang="0">
                <a:pos x="connsiteX44409" y="connsiteY44409"/>
              </a:cxn>
              <a:cxn ang="0">
                <a:pos x="connsiteX44410" y="connsiteY44410"/>
              </a:cxn>
              <a:cxn ang="0">
                <a:pos x="connsiteX44411" y="connsiteY44411"/>
              </a:cxn>
              <a:cxn ang="0">
                <a:pos x="connsiteX44412" y="connsiteY44412"/>
              </a:cxn>
              <a:cxn ang="0">
                <a:pos x="connsiteX44413" y="connsiteY44413"/>
              </a:cxn>
              <a:cxn ang="0">
                <a:pos x="connsiteX44414" y="connsiteY44414"/>
              </a:cxn>
              <a:cxn ang="0">
                <a:pos x="connsiteX44415" y="connsiteY44415"/>
              </a:cxn>
              <a:cxn ang="0">
                <a:pos x="connsiteX44416" y="connsiteY44416"/>
              </a:cxn>
              <a:cxn ang="0">
                <a:pos x="connsiteX44417" y="connsiteY44417"/>
              </a:cxn>
              <a:cxn ang="0">
                <a:pos x="connsiteX44418" y="connsiteY44418"/>
              </a:cxn>
              <a:cxn ang="0">
                <a:pos x="connsiteX44419" y="connsiteY44419"/>
              </a:cxn>
              <a:cxn ang="0">
                <a:pos x="connsiteX44420" y="connsiteY44420"/>
              </a:cxn>
              <a:cxn ang="0">
                <a:pos x="connsiteX44421" y="connsiteY44421"/>
              </a:cxn>
              <a:cxn ang="0">
                <a:pos x="connsiteX44422" y="connsiteY44422"/>
              </a:cxn>
              <a:cxn ang="0">
                <a:pos x="connsiteX44423" y="connsiteY44423"/>
              </a:cxn>
              <a:cxn ang="0">
                <a:pos x="connsiteX44424" y="connsiteY44424"/>
              </a:cxn>
              <a:cxn ang="0">
                <a:pos x="connsiteX44425" y="connsiteY44425"/>
              </a:cxn>
              <a:cxn ang="0">
                <a:pos x="connsiteX44426" y="connsiteY44426"/>
              </a:cxn>
              <a:cxn ang="0">
                <a:pos x="connsiteX44427" y="connsiteY44427"/>
              </a:cxn>
              <a:cxn ang="0">
                <a:pos x="connsiteX44428" y="connsiteY44428"/>
              </a:cxn>
              <a:cxn ang="0">
                <a:pos x="connsiteX44429" y="connsiteY44429"/>
              </a:cxn>
              <a:cxn ang="0">
                <a:pos x="connsiteX44430" y="connsiteY44430"/>
              </a:cxn>
              <a:cxn ang="0">
                <a:pos x="connsiteX44431" y="connsiteY44431"/>
              </a:cxn>
              <a:cxn ang="0">
                <a:pos x="connsiteX44432" y="connsiteY44432"/>
              </a:cxn>
              <a:cxn ang="0">
                <a:pos x="connsiteX44433" y="connsiteY44433"/>
              </a:cxn>
              <a:cxn ang="0">
                <a:pos x="connsiteX44434" y="connsiteY44434"/>
              </a:cxn>
              <a:cxn ang="0">
                <a:pos x="connsiteX44435" y="connsiteY44435"/>
              </a:cxn>
              <a:cxn ang="0">
                <a:pos x="connsiteX44436" y="connsiteY44436"/>
              </a:cxn>
              <a:cxn ang="0">
                <a:pos x="connsiteX44437" y="connsiteY44437"/>
              </a:cxn>
              <a:cxn ang="0">
                <a:pos x="connsiteX44438" y="connsiteY44438"/>
              </a:cxn>
              <a:cxn ang="0">
                <a:pos x="connsiteX44439" y="connsiteY44439"/>
              </a:cxn>
              <a:cxn ang="0">
                <a:pos x="connsiteX44440" y="connsiteY44440"/>
              </a:cxn>
              <a:cxn ang="0">
                <a:pos x="connsiteX44441" y="connsiteY44441"/>
              </a:cxn>
              <a:cxn ang="0">
                <a:pos x="connsiteX44442" y="connsiteY44442"/>
              </a:cxn>
              <a:cxn ang="0">
                <a:pos x="connsiteX44443" y="connsiteY44443"/>
              </a:cxn>
              <a:cxn ang="0">
                <a:pos x="connsiteX44444" y="connsiteY44444"/>
              </a:cxn>
              <a:cxn ang="0">
                <a:pos x="connsiteX44445" y="connsiteY44445"/>
              </a:cxn>
              <a:cxn ang="0">
                <a:pos x="connsiteX44446" y="connsiteY44446"/>
              </a:cxn>
              <a:cxn ang="0">
                <a:pos x="connsiteX44447" y="connsiteY44447"/>
              </a:cxn>
              <a:cxn ang="0">
                <a:pos x="connsiteX44448" y="connsiteY44448"/>
              </a:cxn>
              <a:cxn ang="0">
                <a:pos x="connsiteX44449" y="connsiteY44449"/>
              </a:cxn>
              <a:cxn ang="0">
                <a:pos x="connsiteX44450" y="connsiteY44450"/>
              </a:cxn>
              <a:cxn ang="0">
                <a:pos x="connsiteX44451" y="connsiteY44451"/>
              </a:cxn>
              <a:cxn ang="0">
                <a:pos x="connsiteX44452" y="connsiteY44452"/>
              </a:cxn>
              <a:cxn ang="0">
                <a:pos x="connsiteX44453" y="connsiteY44453"/>
              </a:cxn>
              <a:cxn ang="0">
                <a:pos x="connsiteX44454" y="connsiteY44454"/>
              </a:cxn>
              <a:cxn ang="0">
                <a:pos x="connsiteX44455" y="connsiteY44455"/>
              </a:cxn>
              <a:cxn ang="0">
                <a:pos x="connsiteX44456" y="connsiteY44456"/>
              </a:cxn>
              <a:cxn ang="0">
                <a:pos x="connsiteX44457" y="connsiteY44457"/>
              </a:cxn>
              <a:cxn ang="0">
                <a:pos x="connsiteX44458" y="connsiteY44458"/>
              </a:cxn>
              <a:cxn ang="0">
                <a:pos x="connsiteX44459" y="connsiteY44459"/>
              </a:cxn>
              <a:cxn ang="0">
                <a:pos x="connsiteX44460" y="connsiteY44460"/>
              </a:cxn>
              <a:cxn ang="0">
                <a:pos x="connsiteX44461" y="connsiteY44461"/>
              </a:cxn>
              <a:cxn ang="0">
                <a:pos x="connsiteX44462" y="connsiteY44462"/>
              </a:cxn>
              <a:cxn ang="0">
                <a:pos x="connsiteX44463" y="connsiteY44463"/>
              </a:cxn>
              <a:cxn ang="0">
                <a:pos x="connsiteX44464" y="connsiteY44464"/>
              </a:cxn>
              <a:cxn ang="0">
                <a:pos x="connsiteX44465" y="connsiteY44465"/>
              </a:cxn>
              <a:cxn ang="0">
                <a:pos x="connsiteX44466" y="connsiteY44466"/>
              </a:cxn>
              <a:cxn ang="0">
                <a:pos x="connsiteX44467" y="connsiteY44467"/>
              </a:cxn>
              <a:cxn ang="0">
                <a:pos x="connsiteX44468" y="connsiteY44468"/>
              </a:cxn>
              <a:cxn ang="0">
                <a:pos x="connsiteX44469" y="connsiteY44469"/>
              </a:cxn>
              <a:cxn ang="0">
                <a:pos x="connsiteX44470" y="connsiteY44470"/>
              </a:cxn>
              <a:cxn ang="0">
                <a:pos x="connsiteX44471" y="connsiteY44471"/>
              </a:cxn>
              <a:cxn ang="0">
                <a:pos x="connsiteX44472" y="connsiteY44472"/>
              </a:cxn>
              <a:cxn ang="0">
                <a:pos x="connsiteX44473" y="connsiteY44473"/>
              </a:cxn>
              <a:cxn ang="0">
                <a:pos x="connsiteX44474" y="connsiteY44474"/>
              </a:cxn>
              <a:cxn ang="0">
                <a:pos x="connsiteX44475" y="connsiteY44475"/>
              </a:cxn>
              <a:cxn ang="0">
                <a:pos x="connsiteX44476" y="connsiteY44476"/>
              </a:cxn>
              <a:cxn ang="0">
                <a:pos x="connsiteX44477" y="connsiteY44477"/>
              </a:cxn>
              <a:cxn ang="0">
                <a:pos x="connsiteX44478" y="connsiteY44478"/>
              </a:cxn>
              <a:cxn ang="0">
                <a:pos x="connsiteX44479" y="connsiteY44479"/>
              </a:cxn>
              <a:cxn ang="0">
                <a:pos x="connsiteX44480" y="connsiteY44480"/>
              </a:cxn>
              <a:cxn ang="0">
                <a:pos x="connsiteX44481" y="connsiteY44481"/>
              </a:cxn>
              <a:cxn ang="0">
                <a:pos x="connsiteX44482" y="connsiteY44482"/>
              </a:cxn>
              <a:cxn ang="0">
                <a:pos x="connsiteX44483" y="connsiteY44483"/>
              </a:cxn>
              <a:cxn ang="0">
                <a:pos x="connsiteX44484" y="connsiteY44484"/>
              </a:cxn>
              <a:cxn ang="0">
                <a:pos x="connsiteX44485" y="connsiteY44485"/>
              </a:cxn>
              <a:cxn ang="0">
                <a:pos x="connsiteX44486" y="connsiteY44486"/>
              </a:cxn>
              <a:cxn ang="0">
                <a:pos x="connsiteX44487" y="connsiteY44487"/>
              </a:cxn>
              <a:cxn ang="0">
                <a:pos x="connsiteX44488" y="connsiteY44488"/>
              </a:cxn>
              <a:cxn ang="0">
                <a:pos x="connsiteX44489" y="connsiteY44489"/>
              </a:cxn>
              <a:cxn ang="0">
                <a:pos x="connsiteX44490" y="connsiteY44490"/>
              </a:cxn>
              <a:cxn ang="0">
                <a:pos x="connsiteX44491" y="connsiteY44491"/>
              </a:cxn>
              <a:cxn ang="0">
                <a:pos x="connsiteX44492" y="connsiteY44492"/>
              </a:cxn>
              <a:cxn ang="0">
                <a:pos x="connsiteX44493" y="connsiteY44493"/>
              </a:cxn>
              <a:cxn ang="0">
                <a:pos x="connsiteX44494" y="connsiteY44494"/>
              </a:cxn>
              <a:cxn ang="0">
                <a:pos x="connsiteX44495" y="connsiteY44495"/>
              </a:cxn>
              <a:cxn ang="0">
                <a:pos x="connsiteX44496" y="connsiteY44496"/>
              </a:cxn>
              <a:cxn ang="0">
                <a:pos x="connsiteX44497" y="connsiteY44497"/>
              </a:cxn>
              <a:cxn ang="0">
                <a:pos x="connsiteX44498" y="connsiteY44498"/>
              </a:cxn>
              <a:cxn ang="0">
                <a:pos x="connsiteX44499" y="connsiteY44499"/>
              </a:cxn>
              <a:cxn ang="0">
                <a:pos x="connsiteX44500" y="connsiteY44500"/>
              </a:cxn>
              <a:cxn ang="0">
                <a:pos x="connsiteX44501" y="connsiteY44501"/>
              </a:cxn>
              <a:cxn ang="0">
                <a:pos x="connsiteX44502" y="connsiteY44502"/>
              </a:cxn>
              <a:cxn ang="0">
                <a:pos x="connsiteX44503" y="connsiteY44503"/>
              </a:cxn>
              <a:cxn ang="0">
                <a:pos x="connsiteX44504" y="connsiteY44504"/>
              </a:cxn>
              <a:cxn ang="0">
                <a:pos x="connsiteX44505" y="connsiteY44505"/>
              </a:cxn>
              <a:cxn ang="0">
                <a:pos x="connsiteX44506" y="connsiteY44506"/>
              </a:cxn>
              <a:cxn ang="0">
                <a:pos x="connsiteX44507" y="connsiteY44507"/>
              </a:cxn>
              <a:cxn ang="0">
                <a:pos x="connsiteX44508" y="connsiteY44508"/>
              </a:cxn>
              <a:cxn ang="0">
                <a:pos x="connsiteX44509" y="connsiteY44509"/>
              </a:cxn>
              <a:cxn ang="0">
                <a:pos x="connsiteX44510" y="connsiteY44510"/>
              </a:cxn>
              <a:cxn ang="0">
                <a:pos x="connsiteX44511" y="connsiteY44511"/>
              </a:cxn>
              <a:cxn ang="0">
                <a:pos x="connsiteX44512" y="connsiteY44512"/>
              </a:cxn>
              <a:cxn ang="0">
                <a:pos x="connsiteX44513" y="connsiteY44513"/>
              </a:cxn>
              <a:cxn ang="0">
                <a:pos x="connsiteX44514" y="connsiteY44514"/>
              </a:cxn>
              <a:cxn ang="0">
                <a:pos x="connsiteX44515" y="connsiteY44515"/>
              </a:cxn>
              <a:cxn ang="0">
                <a:pos x="connsiteX44516" y="connsiteY44516"/>
              </a:cxn>
              <a:cxn ang="0">
                <a:pos x="connsiteX44517" y="connsiteY44517"/>
              </a:cxn>
              <a:cxn ang="0">
                <a:pos x="connsiteX44518" y="connsiteY44518"/>
              </a:cxn>
              <a:cxn ang="0">
                <a:pos x="connsiteX44519" y="connsiteY44519"/>
              </a:cxn>
              <a:cxn ang="0">
                <a:pos x="connsiteX44520" y="connsiteY44520"/>
              </a:cxn>
              <a:cxn ang="0">
                <a:pos x="connsiteX44521" y="connsiteY44521"/>
              </a:cxn>
              <a:cxn ang="0">
                <a:pos x="connsiteX44522" y="connsiteY44522"/>
              </a:cxn>
              <a:cxn ang="0">
                <a:pos x="connsiteX44523" y="connsiteY44523"/>
              </a:cxn>
              <a:cxn ang="0">
                <a:pos x="connsiteX44524" y="connsiteY44524"/>
              </a:cxn>
              <a:cxn ang="0">
                <a:pos x="connsiteX44525" y="connsiteY44525"/>
              </a:cxn>
              <a:cxn ang="0">
                <a:pos x="connsiteX44526" y="connsiteY44526"/>
              </a:cxn>
              <a:cxn ang="0">
                <a:pos x="connsiteX44527" y="connsiteY44527"/>
              </a:cxn>
              <a:cxn ang="0">
                <a:pos x="connsiteX44528" y="connsiteY44528"/>
              </a:cxn>
              <a:cxn ang="0">
                <a:pos x="connsiteX44529" y="connsiteY44529"/>
              </a:cxn>
              <a:cxn ang="0">
                <a:pos x="connsiteX44530" y="connsiteY44530"/>
              </a:cxn>
              <a:cxn ang="0">
                <a:pos x="connsiteX44531" y="connsiteY44531"/>
              </a:cxn>
              <a:cxn ang="0">
                <a:pos x="connsiteX44532" y="connsiteY44532"/>
              </a:cxn>
              <a:cxn ang="0">
                <a:pos x="connsiteX44533" y="connsiteY44533"/>
              </a:cxn>
              <a:cxn ang="0">
                <a:pos x="connsiteX44534" y="connsiteY44534"/>
              </a:cxn>
              <a:cxn ang="0">
                <a:pos x="connsiteX44535" y="connsiteY44535"/>
              </a:cxn>
              <a:cxn ang="0">
                <a:pos x="connsiteX44536" y="connsiteY44536"/>
              </a:cxn>
              <a:cxn ang="0">
                <a:pos x="connsiteX44537" y="connsiteY44537"/>
              </a:cxn>
              <a:cxn ang="0">
                <a:pos x="connsiteX44538" y="connsiteY44538"/>
              </a:cxn>
              <a:cxn ang="0">
                <a:pos x="connsiteX44539" y="connsiteY44539"/>
              </a:cxn>
              <a:cxn ang="0">
                <a:pos x="connsiteX44540" y="connsiteY44540"/>
              </a:cxn>
              <a:cxn ang="0">
                <a:pos x="connsiteX44541" y="connsiteY44541"/>
              </a:cxn>
              <a:cxn ang="0">
                <a:pos x="connsiteX44542" y="connsiteY44542"/>
              </a:cxn>
              <a:cxn ang="0">
                <a:pos x="connsiteX44543" y="connsiteY44543"/>
              </a:cxn>
              <a:cxn ang="0">
                <a:pos x="connsiteX44544" y="connsiteY44544"/>
              </a:cxn>
              <a:cxn ang="0">
                <a:pos x="connsiteX44545" y="connsiteY44545"/>
              </a:cxn>
              <a:cxn ang="0">
                <a:pos x="connsiteX44546" y="connsiteY44546"/>
              </a:cxn>
              <a:cxn ang="0">
                <a:pos x="connsiteX44547" y="connsiteY44547"/>
              </a:cxn>
              <a:cxn ang="0">
                <a:pos x="connsiteX44548" y="connsiteY44548"/>
              </a:cxn>
              <a:cxn ang="0">
                <a:pos x="connsiteX44549" y="connsiteY44549"/>
              </a:cxn>
              <a:cxn ang="0">
                <a:pos x="connsiteX44550" y="connsiteY44550"/>
              </a:cxn>
              <a:cxn ang="0">
                <a:pos x="connsiteX44551" y="connsiteY44551"/>
              </a:cxn>
              <a:cxn ang="0">
                <a:pos x="connsiteX44552" y="connsiteY44552"/>
              </a:cxn>
              <a:cxn ang="0">
                <a:pos x="connsiteX44553" y="connsiteY44553"/>
              </a:cxn>
              <a:cxn ang="0">
                <a:pos x="connsiteX44554" y="connsiteY44554"/>
              </a:cxn>
              <a:cxn ang="0">
                <a:pos x="connsiteX44555" y="connsiteY44555"/>
              </a:cxn>
              <a:cxn ang="0">
                <a:pos x="connsiteX44556" y="connsiteY44556"/>
              </a:cxn>
              <a:cxn ang="0">
                <a:pos x="connsiteX44557" y="connsiteY44557"/>
              </a:cxn>
              <a:cxn ang="0">
                <a:pos x="connsiteX44558" y="connsiteY44558"/>
              </a:cxn>
              <a:cxn ang="0">
                <a:pos x="connsiteX44559" y="connsiteY44559"/>
              </a:cxn>
              <a:cxn ang="0">
                <a:pos x="connsiteX44560" y="connsiteY44560"/>
              </a:cxn>
              <a:cxn ang="0">
                <a:pos x="connsiteX44561" y="connsiteY44561"/>
              </a:cxn>
              <a:cxn ang="0">
                <a:pos x="connsiteX44562" y="connsiteY44562"/>
              </a:cxn>
              <a:cxn ang="0">
                <a:pos x="connsiteX44563" y="connsiteY44563"/>
              </a:cxn>
              <a:cxn ang="0">
                <a:pos x="connsiteX44564" y="connsiteY44564"/>
              </a:cxn>
              <a:cxn ang="0">
                <a:pos x="connsiteX44565" y="connsiteY44565"/>
              </a:cxn>
              <a:cxn ang="0">
                <a:pos x="connsiteX44566" y="connsiteY44566"/>
              </a:cxn>
              <a:cxn ang="0">
                <a:pos x="connsiteX44567" y="connsiteY44567"/>
              </a:cxn>
              <a:cxn ang="0">
                <a:pos x="connsiteX44568" y="connsiteY44568"/>
              </a:cxn>
              <a:cxn ang="0">
                <a:pos x="connsiteX44569" y="connsiteY44569"/>
              </a:cxn>
              <a:cxn ang="0">
                <a:pos x="connsiteX44570" y="connsiteY44570"/>
              </a:cxn>
              <a:cxn ang="0">
                <a:pos x="connsiteX44571" y="connsiteY44571"/>
              </a:cxn>
              <a:cxn ang="0">
                <a:pos x="connsiteX44572" y="connsiteY44572"/>
              </a:cxn>
              <a:cxn ang="0">
                <a:pos x="connsiteX44573" y="connsiteY44573"/>
              </a:cxn>
              <a:cxn ang="0">
                <a:pos x="connsiteX44574" y="connsiteY44574"/>
              </a:cxn>
              <a:cxn ang="0">
                <a:pos x="connsiteX44575" y="connsiteY44575"/>
              </a:cxn>
              <a:cxn ang="0">
                <a:pos x="connsiteX44576" y="connsiteY44576"/>
              </a:cxn>
              <a:cxn ang="0">
                <a:pos x="connsiteX44577" y="connsiteY44577"/>
              </a:cxn>
              <a:cxn ang="0">
                <a:pos x="connsiteX44578" y="connsiteY44578"/>
              </a:cxn>
              <a:cxn ang="0">
                <a:pos x="connsiteX44579" y="connsiteY44579"/>
              </a:cxn>
              <a:cxn ang="0">
                <a:pos x="connsiteX44580" y="connsiteY44580"/>
              </a:cxn>
              <a:cxn ang="0">
                <a:pos x="connsiteX44581" y="connsiteY44581"/>
              </a:cxn>
              <a:cxn ang="0">
                <a:pos x="connsiteX44582" y="connsiteY44582"/>
              </a:cxn>
              <a:cxn ang="0">
                <a:pos x="connsiteX44583" y="connsiteY44583"/>
              </a:cxn>
              <a:cxn ang="0">
                <a:pos x="connsiteX44584" y="connsiteY44584"/>
              </a:cxn>
              <a:cxn ang="0">
                <a:pos x="connsiteX44585" y="connsiteY44585"/>
              </a:cxn>
              <a:cxn ang="0">
                <a:pos x="connsiteX44586" y="connsiteY44586"/>
              </a:cxn>
              <a:cxn ang="0">
                <a:pos x="connsiteX44587" y="connsiteY44587"/>
              </a:cxn>
              <a:cxn ang="0">
                <a:pos x="connsiteX44588" y="connsiteY44588"/>
              </a:cxn>
              <a:cxn ang="0">
                <a:pos x="connsiteX44589" y="connsiteY44589"/>
              </a:cxn>
              <a:cxn ang="0">
                <a:pos x="connsiteX44590" y="connsiteY44590"/>
              </a:cxn>
              <a:cxn ang="0">
                <a:pos x="connsiteX44591" y="connsiteY44591"/>
              </a:cxn>
              <a:cxn ang="0">
                <a:pos x="connsiteX44592" y="connsiteY44592"/>
              </a:cxn>
              <a:cxn ang="0">
                <a:pos x="connsiteX44593" y="connsiteY44593"/>
              </a:cxn>
              <a:cxn ang="0">
                <a:pos x="connsiteX44594" y="connsiteY44594"/>
              </a:cxn>
              <a:cxn ang="0">
                <a:pos x="connsiteX44595" y="connsiteY44595"/>
              </a:cxn>
              <a:cxn ang="0">
                <a:pos x="connsiteX44596" y="connsiteY44596"/>
              </a:cxn>
              <a:cxn ang="0">
                <a:pos x="connsiteX44597" y="connsiteY44597"/>
              </a:cxn>
              <a:cxn ang="0">
                <a:pos x="connsiteX44598" y="connsiteY44598"/>
              </a:cxn>
              <a:cxn ang="0">
                <a:pos x="connsiteX44599" y="connsiteY44599"/>
              </a:cxn>
              <a:cxn ang="0">
                <a:pos x="connsiteX44600" y="connsiteY44600"/>
              </a:cxn>
              <a:cxn ang="0">
                <a:pos x="connsiteX44601" y="connsiteY44601"/>
              </a:cxn>
              <a:cxn ang="0">
                <a:pos x="connsiteX44602" y="connsiteY44602"/>
              </a:cxn>
              <a:cxn ang="0">
                <a:pos x="connsiteX44603" y="connsiteY44603"/>
              </a:cxn>
              <a:cxn ang="0">
                <a:pos x="connsiteX44604" y="connsiteY44604"/>
              </a:cxn>
              <a:cxn ang="0">
                <a:pos x="connsiteX44605" y="connsiteY44605"/>
              </a:cxn>
              <a:cxn ang="0">
                <a:pos x="connsiteX44606" y="connsiteY44606"/>
              </a:cxn>
              <a:cxn ang="0">
                <a:pos x="connsiteX44607" y="connsiteY44607"/>
              </a:cxn>
              <a:cxn ang="0">
                <a:pos x="connsiteX44608" y="connsiteY44608"/>
              </a:cxn>
              <a:cxn ang="0">
                <a:pos x="connsiteX44609" y="connsiteY44609"/>
              </a:cxn>
              <a:cxn ang="0">
                <a:pos x="connsiteX44610" y="connsiteY44610"/>
              </a:cxn>
              <a:cxn ang="0">
                <a:pos x="connsiteX44611" y="connsiteY44611"/>
              </a:cxn>
              <a:cxn ang="0">
                <a:pos x="connsiteX44612" y="connsiteY44612"/>
              </a:cxn>
              <a:cxn ang="0">
                <a:pos x="connsiteX44613" y="connsiteY44613"/>
              </a:cxn>
              <a:cxn ang="0">
                <a:pos x="connsiteX44614" y="connsiteY44614"/>
              </a:cxn>
              <a:cxn ang="0">
                <a:pos x="connsiteX44615" y="connsiteY44615"/>
              </a:cxn>
              <a:cxn ang="0">
                <a:pos x="connsiteX44616" y="connsiteY44616"/>
              </a:cxn>
              <a:cxn ang="0">
                <a:pos x="connsiteX44617" y="connsiteY44617"/>
              </a:cxn>
              <a:cxn ang="0">
                <a:pos x="connsiteX44618" y="connsiteY44618"/>
              </a:cxn>
              <a:cxn ang="0">
                <a:pos x="connsiteX44619" y="connsiteY44619"/>
              </a:cxn>
              <a:cxn ang="0">
                <a:pos x="connsiteX44620" y="connsiteY44620"/>
              </a:cxn>
              <a:cxn ang="0">
                <a:pos x="connsiteX44621" y="connsiteY44621"/>
              </a:cxn>
              <a:cxn ang="0">
                <a:pos x="connsiteX44622" y="connsiteY44622"/>
              </a:cxn>
              <a:cxn ang="0">
                <a:pos x="connsiteX44623" y="connsiteY44623"/>
              </a:cxn>
              <a:cxn ang="0">
                <a:pos x="connsiteX44624" y="connsiteY44624"/>
              </a:cxn>
              <a:cxn ang="0">
                <a:pos x="connsiteX44625" y="connsiteY44625"/>
              </a:cxn>
              <a:cxn ang="0">
                <a:pos x="connsiteX44626" y="connsiteY44626"/>
              </a:cxn>
              <a:cxn ang="0">
                <a:pos x="connsiteX44627" y="connsiteY44627"/>
              </a:cxn>
              <a:cxn ang="0">
                <a:pos x="connsiteX44628" y="connsiteY44628"/>
              </a:cxn>
              <a:cxn ang="0">
                <a:pos x="connsiteX44629" y="connsiteY44629"/>
              </a:cxn>
              <a:cxn ang="0">
                <a:pos x="connsiteX44630" y="connsiteY44630"/>
              </a:cxn>
              <a:cxn ang="0">
                <a:pos x="connsiteX44631" y="connsiteY44631"/>
              </a:cxn>
              <a:cxn ang="0">
                <a:pos x="connsiteX44632" y="connsiteY44632"/>
              </a:cxn>
              <a:cxn ang="0">
                <a:pos x="connsiteX44633" y="connsiteY44633"/>
              </a:cxn>
              <a:cxn ang="0">
                <a:pos x="connsiteX44634" y="connsiteY44634"/>
              </a:cxn>
              <a:cxn ang="0">
                <a:pos x="connsiteX44635" y="connsiteY44635"/>
              </a:cxn>
              <a:cxn ang="0">
                <a:pos x="connsiteX44636" y="connsiteY44636"/>
              </a:cxn>
              <a:cxn ang="0">
                <a:pos x="connsiteX44637" y="connsiteY44637"/>
              </a:cxn>
              <a:cxn ang="0">
                <a:pos x="connsiteX44638" y="connsiteY44638"/>
              </a:cxn>
              <a:cxn ang="0">
                <a:pos x="connsiteX44639" y="connsiteY44639"/>
              </a:cxn>
              <a:cxn ang="0">
                <a:pos x="connsiteX44640" y="connsiteY44640"/>
              </a:cxn>
              <a:cxn ang="0">
                <a:pos x="connsiteX44641" y="connsiteY44641"/>
              </a:cxn>
              <a:cxn ang="0">
                <a:pos x="connsiteX44642" y="connsiteY44642"/>
              </a:cxn>
              <a:cxn ang="0">
                <a:pos x="connsiteX44643" y="connsiteY44643"/>
              </a:cxn>
              <a:cxn ang="0">
                <a:pos x="connsiteX44644" y="connsiteY44644"/>
              </a:cxn>
              <a:cxn ang="0">
                <a:pos x="connsiteX44645" y="connsiteY44645"/>
              </a:cxn>
              <a:cxn ang="0">
                <a:pos x="connsiteX44646" y="connsiteY44646"/>
              </a:cxn>
              <a:cxn ang="0">
                <a:pos x="connsiteX44647" y="connsiteY44647"/>
              </a:cxn>
              <a:cxn ang="0">
                <a:pos x="connsiteX44648" y="connsiteY44648"/>
              </a:cxn>
              <a:cxn ang="0">
                <a:pos x="connsiteX44649" y="connsiteY44649"/>
              </a:cxn>
              <a:cxn ang="0">
                <a:pos x="connsiteX44650" y="connsiteY44650"/>
              </a:cxn>
              <a:cxn ang="0">
                <a:pos x="connsiteX44651" y="connsiteY44651"/>
              </a:cxn>
              <a:cxn ang="0">
                <a:pos x="connsiteX44652" y="connsiteY44652"/>
              </a:cxn>
              <a:cxn ang="0">
                <a:pos x="connsiteX44653" y="connsiteY44653"/>
              </a:cxn>
              <a:cxn ang="0">
                <a:pos x="connsiteX44654" y="connsiteY44654"/>
              </a:cxn>
              <a:cxn ang="0">
                <a:pos x="connsiteX44655" y="connsiteY44655"/>
              </a:cxn>
              <a:cxn ang="0">
                <a:pos x="connsiteX44656" y="connsiteY44656"/>
              </a:cxn>
              <a:cxn ang="0">
                <a:pos x="connsiteX44657" y="connsiteY44657"/>
              </a:cxn>
              <a:cxn ang="0">
                <a:pos x="connsiteX44658" y="connsiteY44658"/>
              </a:cxn>
              <a:cxn ang="0">
                <a:pos x="connsiteX44659" y="connsiteY44659"/>
              </a:cxn>
              <a:cxn ang="0">
                <a:pos x="connsiteX44660" y="connsiteY44660"/>
              </a:cxn>
              <a:cxn ang="0">
                <a:pos x="connsiteX44661" y="connsiteY44661"/>
              </a:cxn>
              <a:cxn ang="0">
                <a:pos x="connsiteX44662" y="connsiteY44662"/>
              </a:cxn>
              <a:cxn ang="0">
                <a:pos x="connsiteX44663" y="connsiteY44663"/>
              </a:cxn>
              <a:cxn ang="0">
                <a:pos x="connsiteX44664" y="connsiteY44664"/>
              </a:cxn>
              <a:cxn ang="0">
                <a:pos x="connsiteX44665" y="connsiteY44665"/>
              </a:cxn>
              <a:cxn ang="0">
                <a:pos x="connsiteX44666" y="connsiteY44666"/>
              </a:cxn>
              <a:cxn ang="0">
                <a:pos x="connsiteX44667" y="connsiteY44667"/>
              </a:cxn>
              <a:cxn ang="0">
                <a:pos x="connsiteX44668" y="connsiteY44668"/>
              </a:cxn>
              <a:cxn ang="0">
                <a:pos x="connsiteX44669" y="connsiteY44669"/>
              </a:cxn>
              <a:cxn ang="0">
                <a:pos x="connsiteX44670" y="connsiteY44670"/>
              </a:cxn>
              <a:cxn ang="0">
                <a:pos x="connsiteX44671" y="connsiteY44671"/>
              </a:cxn>
              <a:cxn ang="0">
                <a:pos x="connsiteX44672" y="connsiteY44672"/>
              </a:cxn>
              <a:cxn ang="0">
                <a:pos x="connsiteX44673" y="connsiteY44673"/>
              </a:cxn>
              <a:cxn ang="0">
                <a:pos x="connsiteX44674" y="connsiteY44674"/>
              </a:cxn>
              <a:cxn ang="0">
                <a:pos x="connsiteX44675" y="connsiteY44675"/>
              </a:cxn>
              <a:cxn ang="0">
                <a:pos x="connsiteX44676" y="connsiteY44676"/>
              </a:cxn>
              <a:cxn ang="0">
                <a:pos x="connsiteX44677" y="connsiteY44677"/>
              </a:cxn>
              <a:cxn ang="0">
                <a:pos x="connsiteX44678" y="connsiteY44678"/>
              </a:cxn>
              <a:cxn ang="0">
                <a:pos x="connsiteX44679" y="connsiteY44679"/>
              </a:cxn>
              <a:cxn ang="0">
                <a:pos x="connsiteX44680" y="connsiteY44680"/>
              </a:cxn>
              <a:cxn ang="0">
                <a:pos x="connsiteX44681" y="connsiteY44681"/>
              </a:cxn>
              <a:cxn ang="0">
                <a:pos x="connsiteX44682" y="connsiteY44682"/>
              </a:cxn>
              <a:cxn ang="0">
                <a:pos x="connsiteX44683" y="connsiteY44683"/>
              </a:cxn>
              <a:cxn ang="0">
                <a:pos x="connsiteX44684" y="connsiteY44684"/>
              </a:cxn>
              <a:cxn ang="0">
                <a:pos x="connsiteX44685" y="connsiteY44685"/>
              </a:cxn>
              <a:cxn ang="0">
                <a:pos x="connsiteX44686" y="connsiteY44686"/>
              </a:cxn>
              <a:cxn ang="0">
                <a:pos x="connsiteX44687" y="connsiteY44687"/>
              </a:cxn>
              <a:cxn ang="0">
                <a:pos x="connsiteX44688" y="connsiteY44688"/>
              </a:cxn>
              <a:cxn ang="0">
                <a:pos x="connsiteX44689" y="connsiteY44689"/>
              </a:cxn>
              <a:cxn ang="0">
                <a:pos x="connsiteX44690" y="connsiteY44690"/>
              </a:cxn>
              <a:cxn ang="0">
                <a:pos x="connsiteX44691" y="connsiteY44691"/>
              </a:cxn>
              <a:cxn ang="0">
                <a:pos x="connsiteX44692" y="connsiteY44692"/>
              </a:cxn>
              <a:cxn ang="0">
                <a:pos x="connsiteX44693" y="connsiteY44693"/>
              </a:cxn>
              <a:cxn ang="0">
                <a:pos x="connsiteX44694" y="connsiteY44694"/>
              </a:cxn>
              <a:cxn ang="0">
                <a:pos x="connsiteX44695" y="connsiteY44695"/>
              </a:cxn>
              <a:cxn ang="0">
                <a:pos x="connsiteX44696" y="connsiteY44696"/>
              </a:cxn>
              <a:cxn ang="0">
                <a:pos x="connsiteX44697" y="connsiteY44697"/>
              </a:cxn>
              <a:cxn ang="0">
                <a:pos x="connsiteX44698" y="connsiteY44698"/>
              </a:cxn>
              <a:cxn ang="0">
                <a:pos x="connsiteX44699" y="connsiteY44699"/>
              </a:cxn>
              <a:cxn ang="0">
                <a:pos x="connsiteX44700" y="connsiteY44700"/>
              </a:cxn>
              <a:cxn ang="0">
                <a:pos x="connsiteX44701" y="connsiteY44701"/>
              </a:cxn>
              <a:cxn ang="0">
                <a:pos x="connsiteX44702" y="connsiteY44702"/>
              </a:cxn>
              <a:cxn ang="0">
                <a:pos x="connsiteX44703" y="connsiteY44703"/>
              </a:cxn>
              <a:cxn ang="0">
                <a:pos x="connsiteX44704" y="connsiteY44704"/>
              </a:cxn>
              <a:cxn ang="0">
                <a:pos x="connsiteX44705" y="connsiteY44705"/>
              </a:cxn>
              <a:cxn ang="0">
                <a:pos x="connsiteX44706" y="connsiteY44706"/>
              </a:cxn>
              <a:cxn ang="0">
                <a:pos x="connsiteX44707" y="connsiteY44707"/>
              </a:cxn>
              <a:cxn ang="0">
                <a:pos x="connsiteX44708" y="connsiteY44708"/>
              </a:cxn>
              <a:cxn ang="0">
                <a:pos x="connsiteX44709" y="connsiteY44709"/>
              </a:cxn>
              <a:cxn ang="0">
                <a:pos x="connsiteX44710" y="connsiteY44710"/>
              </a:cxn>
              <a:cxn ang="0">
                <a:pos x="connsiteX44711" y="connsiteY44711"/>
              </a:cxn>
              <a:cxn ang="0">
                <a:pos x="connsiteX44712" y="connsiteY44712"/>
              </a:cxn>
              <a:cxn ang="0">
                <a:pos x="connsiteX44713" y="connsiteY44713"/>
              </a:cxn>
              <a:cxn ang="0">
                <a:pos x="connsiteX44714" y="connsiteY44714"/>
              </a:cxn>
              <a:cxn ang="0">
                <a:pos x="connsiteX44715" y="connsiteY44715"/>
              </a:cxn>
              <a:cxn ang="0">
                <a:pos x="connsiteX44716" y="connsiteY44716"/>
              </a:cxn>
              <a:cxn ang="0">
                <a:pos x="connsiteX44717" y="connsiteY44717"/>
              </a:cxn>
              <a:cxn ang="0">
                <a:pos x="connsiteX44718" y="connsiteY44718"/>
              </a:cxn>
              <a:cxn ang="0">
                <a:pos x="connsiteX44719" y="connsiteY44719"/>
              </a:cxn>
              <a:cxn ang="0">
                <a:pos x="connsiteX44720" y="connsiteY44720"/>
              </a:cxn>
              <a:cxn ang="0">
                <a:pos x="connsiteX44721" y="connsiteY44721"/>
              </a:cxn>
              <a:cxn ang="0">
                <a:pos x="connsiteX44722" y="connsiteY44722"/>
              </a:cxn>
              <a:cxn ang="0">
                <a:pos x="connsiteX44723" y="connsiteY44723"/>
              </a:cxn>
              <a:cxn ang="0">
                <a:pos x="connsiteX44724" y="connsiteY44724"/>
              </a:cxn>
              <a:cxn ang="0">
                <a:pos x="connsiteX44725" y="connsiteY44725"/>
              </a:cxn>
              <a:cxn ang="0">
                <a:pos x="connsiteX44726" y="connsiteY44726"/>
              </a:cxn>
              <a:cxn ang="0">
                <a:pos x="connsiteX44727" y="connsiteY44727"/>
              </a:cxn>
              <a:cxn ang="0">
                <a:pos x="connsiteX44728" y="connsiteY44728"/>
              </a:cxn>
              <a:cxn ang="0">
                <a:pos x="connsiteX44729" y="connsiteY44729"/>
              </a:cxn>
              <a:cxn ang="0">
                <a:pos x="connsiteX44730" y="connsiteY44730"/>
              </a:cxn>
              <a:cxn ang="0">
                <a:pos x="connsiteX44731" y="connsiteY44731"/>
              </a:cxn>
              <a:cxn ang="0">
                <a:pos x="connsiteX44732" y="connsiteY44732"/>
              </a:cxn>
              <a:cxn ang="0">
                <a:pos x="connsiteX44733" y="connsiteY44733"/>
              </a:cxn>
              <a:cxn ang="0">
                <a:pos x="connsiteX44734" y="connsiteY44734"/>
              </a:cxn>
              <a:cxn ang="0">
                <a:pos x="connsiteX44735" y="connsiteY44735"/>
              </a:cxn>
              <a:cxn ang="0">
                <a:pos x="connsiteX44736" y="connsiteY44736"/>
              </a:cxn>
              <a:cxn ang="0">
                <a:pos x="connsiteX44737" y="connsiteY44737"/>
              </a:cxn>
              <a:cxn ang="0">
                <a:pos x="connsiteX44738" y="connsiteY44738"/>
              </a:cxn>
              <a:cxn ang="0">
                <a:pos x="connsiteX44739" y="connsiteY44739"/>
              </a:cxn>
              <a:cxn ang="0">
                <a:pos x="connsiteX44740" y="connsiteY44740"/>
              </a:cxn>
              <a:cxn ang="0">
                <a:pos x="connsiteX44741" y="connsiteY44741"/>
              </a:cxn>
              <a:cxn ang="0">
                <a:pos x="connsiteX44742" y="connsiteY44742"/>
              </a:cxn>
              <a:cxn ang="0">
                <a:pos x="connsiteX44743" y="connsiteY44743"/>
              </a:cxn>
              <a:cxn ang="0">
                <a:pos x="connsiteX44744" y="connsiteY44744"/>
              </a:cxn>
              <a:cxn ang="0">
                <a:pos x="connsiteX44745" y="connsiteY44745"/>
              </a:cxn>
              <a:cxn ang="0">
                <a:pos x="connsiteX44746" y="connsiteY44746"/>
              </a:cxn>
              <a:cxn ang="0">
                <a:pos x="connsiteX44747" y="connsiteY44747"/>
              </a:cxn>
              <a:cxn ang="0">
                <a:pos x="connsiteX44748" y="connsiteY44748"/>
              </a:cxn>
              <a:cxn ang="0">
                <a:pos x="connsiteX44749" y="connsiteY44749"/>
              </a:cxn>
              <a:cxn ang="0">
                <a:pos x="connsiteX44750" y="connsiteY44750"/>
              </a:cxn>
              <a:cxn ang="0">
                <a:pos x="connsiteX44751" y="connsiteY44751"/>
              </a:cxn>
              <a:cxn ang="0">
                <a:pos x="connsiteX44752" y="connsiteY44752"/>
              </a:cxn>
              <a:cxn ang="0">
                <a:pos x="connsiteX44753" y="connsiteY44753"/>
              </a:cxn>
              <a:cxn ang="0">
                <a:pos x="connsiteX44754" y="connsiteY44754"/>
              </a:cxn>
              <a:cxn ang="0">
                <a:pos x="connsiteX44755" y="connsiteY44755"/>
              </a:cxn>
              <a:cxn ang="0">
                <a:pos x="connsiteX44756" y="connsiteY44756"/>
              </a:cxn>
              <a:cxn ang="0">
                <a:pos x="connsiteX44757" y="connsiteY44757"/>
              </a:cxn>
              <a:cxn ang="0">
                <a:pos x="connsiteX44758" y="connsiteY44758"/>
              </a:cxn>
              <a:cxn ang="0">
                <a:pos x="connsiteX44759" y="connsiteY44759"/>
              </a:cxn>
              <a:cxn ang="0">
                <a:pos x="connsiteX44760" y="connsiteY44760"/>
              </a:cxn>
              <a:cxn ang="0">
                <a:pos x="connsiteX44761" y="connsiteY44761"/>
              </a:cxn>
              <a:cxn ang="0">
                <a:pos x="connsiteX44762" y="connsiteY44762"/>
              </a:cxn>
              <a:cxn ang="0">
                <a:pos x="connsiteX44763" y="connsiteY44763"/>
              </a:cxn>
              <a:cxn ang="0">
                <a:pos x="connsiteX44764" y="connsiteY44764"/>
              </a:cxn>
              <a:cxn ang="0">
                <a:pos x="connsiteX44765" y="connsiteY44765"/>
              </a:cxn>
              <a:cxn ang="0">
                <a:pos x="connsiteX44766" y="connsiteY44766"/>
              </a:cxn>
              <a:cxn ang="0">
                <a:pos x="connsiteX44767" y="connsiteY44767"/>
              </a:cxn>
              <a:cxn ang="0">
                <a:pos x="connsiteX44768" y="connsiteY44768"/>
              </a:cxn>
              <a:cxn ang="0">
                <a:pos x="connsiteX44769" y="connsiteY44769"/>
              </a:cxn>
              <a:cxn ang="0">
                <a:pos x="connsiteX44770" y="connsiteY44770"/>
              </a:cxn>
              <a:cxn ang="0">
                <a:pos x="connsiteX44771" y="connsiteY44771"/>
              </a:cxn>
              <a:cxn ang="0">
                <a:pos x="connsiteX44772" y="connsiteY44772"/>
              </a:cxn>
              <a:cxn ang="0">
                <a:pos x="connsiteX44773" y="connsiteY44773"/>
              </a:cxn>
              <a:cxn ang="0">
                <a:pos x="connsiteX44774" y="connsiteY44774"/>
              </a:cxn>
              <a:cxn ang="0">
                <a:pos x="connsiteX44775" y="connsiteY44775"/>
              </a:cxn>
              <a:cxn ang="0">
                <a:pos x="connsiteX44776" y="connsiteY44776"/>
              </a:cxn>
              <a:cxn ang="0">
                <a:pos x="connsiteX44777" y="connsiteY44777"/>
              </a:cxn>
              <a:cxn ang="0">
                <a:pos x="connsiteX44778" y="connsiteY44778"/>
              </a:cxn>
              <a:cxn ang="0">
                <a:pos x="connsiteX44779" y="connsiteY44779"/>
              </a:cxn>
              <a:cxn ang="0">
                <a:pos x="connsiteX44780" y="connsiteY44780"/>
              </a:cxn>
              <a:cxn ang="0">
                <a:pos x="connsiteX44781" y="connsiteY44781"/>
              </a:cxn>
              <a:cxn ang="0">
                <a:pos x="connsiteX44782" y="connsiteY44782"/>
              </a:cxn>
              <a:cxn ang="0">
                <a:pos x="connsiteX44783" y="connsiteY44783"/>
              </a:cxn>
              <a:cxn ang="0">
                <a:pos x="connsiteX44784" y="connsiteY44784"/>
              </a:cxn>
              <a:cxn ang="0">
                <a:pos x="connsiteX44785" y="connsiteY44785"/>
              </a:cxn>
              <a:cxn ang="0">
                <a:pos x="connsiteX44786" y="connsiteY44786"/>
              </a:cxn>
              <a:cxn ang="0">
                <a:pos x="connsiteX44787" y="connsiteY44787"/>
              </a:cxn>
              <a:cxn ang="0">
                <a:pos x="connsiteX44788" y="connsiteY44788"/>
              </a:cxn>
              <a:cxn ang="0">
                <a:pos x="connsiteX44789" y="connsiteY44789"/>
              </a:cxn>
              <a:cxn ang="0">
                <a:pos x="connsiteX44790" y="connsiteY44790"/>
              </a:cxn>
              <a:cxn ang="0">
                <a:pos x="connsiteX44791" y="connsiteY44791"/>
              </a:cxn>
              <a:cxn ang="0">
                <a:pos x="connsiteX44792" y="connsiteY44792"/>
              </a:cxn>
              <a:cxn ang="0">
                <a:pos x="connsiteX44793" y="connsiteY44793"/>
              </a:cxn>
              <a:cxn ang="0">
                <a:pos x="connsiteX44794" y="connsiteY44794"/>
              </a:cxn>
              <a:cxn ang="0">
                <a:pos x="connsiteX44795" y="connsiteY44795"/>
              </a:cxn>
              <a:cxn ang="0">
                <a:pos x="connsiteX44796" y="connsiteY44796"/>
              </a:cxn>
              <a:cxn ang="0">
                <a:pos x="connsiteX44797" y="connsiteY44797"/>
              </a:cxn>
              <a:cxn ang="0">
                <a:pos x="connsiteX44798" y="connsiteY44798"/>
              </a:cxn>
              <a:cxn ang="0">
                <a:pos x="connsiteX44799" y="connsiteY44799"/>
              </a:cxn>
              <a:cxn ang="0">
                <a:pos x="connsiteX44800" y="connsiteY44800"/>
              </a:cxn>
              <a:cxn ang="0">
                <a:pos x="connsiteX44801" y="connsiteY44801"/>
              </a:cxn>
              <a:cxn ang="0">
                <a:pos x="connsiteX44802" y="connsiteY44802"/>
              </a:cxn>
              <a:cxn ang="0">
                <a:pos x="connsiteX44803" y="connsiteY44803"/>
              </a:cxn>
              <a:cxn ang="0">
                <a:pos x="connsiteX44804" y="connsiteY44804"/>
              </a:cxn>
              <a:cxn ang="0">
                <a:pos x="connsiteX44805" y="connsiteY44805"/>
              </a:cxn>
              <a:cxn ang="0">
                <a:pos x="connsiteX44806" y="connsiteY44806"/>
              </a:cxn>
              <a:cxn ang="0">
                <a:pos x="connsiteX44807" y="connsiteY44807"/>
              </a:cxn>
              <a:cxn ang="0">
                <a:pos x="connsiteX44808" y="connsiteY44808"/>
              </a:cxn>
              <a:cxn ang="0">
                <a:pos x="connsiteX44809" y="connsiteY44809"/>
              </a:cxn>
              <a:cxn ang="0">
                <a:pos x="connsiteX44810" y="connsiteY44810"/>
              </a:cxn>
              <a:cxn ang="0">
                <a:pos x="connsiteX44811" y="connsiteY44811"/>
              </a:cxn>
              <a:cxn ang="0">
                <a:pos x="connsiteX44812" y="connsiteY44812"/>
              </a:cxn>
              <a:cxn ang="0">
                <a:pos x="connsiteX44813" y="connsiteY44813"/>
              </a:cxn>
              <a:cxn ang="0">
                <a:pos x="connsiteX44814" y="connsiteY44814"/>
              </a:cxn>
              <a:cxn ang="0">
                <a:pos x="connsiteX44815" y="connsiteY44815"/>
              </a:cxn>
              <a:cxn ang="0">
                <a:pos x="connsiteX44816" y="connsiteY44816"/>
              </a:cxn>
              <a:cxn ang="0">
                <a:pos x="connsiteX44817" y="connsiteY44817"/>
              </a:cxn>
              <a:cxn ang="0">
                <a:pos x="connsiteX44818" y="connsiteY44818"/>
              </a:cxn>
              <a:cxn ang="0">
                <a:pos x="connsiteX44819" y="connsiteY44819"/>
              </a:cxn>
              <a:cxn ang="0">
                <a:pos x="connsiteX44820" y="connsiteY44820"/>
              </a:cxn>
              <a:cxn ang="0">
                <a:pos x="connsiteX44821" y="connsiteY44821"/>
              </a:cxn>
              <a:cxn ang="0">
                <a:pos x="connsiteX44822" y="connsiteY44822"/>
              </a:cxn>
              <a:cxn ang="0">
                <a:pos x="connsiteX44823" y="connsiteY44823"/>
              </a:cxn>
              <a:cxn ang="0">
                <a:pos x="connsiteX44824" y="connsiteY44824"/>
              </a:cxn>
              <a:cxn ang="0">
                <a:pos x="connsiteX44825" y="connsiteY44825"/>
              </a:cxn>
              <a:cxn ang="0">
                <a:pos x="connsiteX44826" y="connsiteY44826"/>
              </a:cxn>
              <a:cxn ang="0">
                <a:pos x="connsiteX44827" y="connsiteY44827"/>
              </a:cxn>
              <a:cxn ang="0">
                <a:pos x="connsiteX44828" y="connsiteY44828"/>
              </a:cxn>
              <a:cxn ang="0">
                <a:pos x="connsiteX44829" y="connsiteY44829"/>
              </a:cxn>
              <a:cxn ang="0">
                <a:pos x="connsiteX44830" y="connsiteY44830"/>
              </a:cxn>
              <a:cxn ang="0">
                <a:pos x="connsiteX44831" y="connsiteY44831"/>
              </a:cxn>
              <a:cxn ang="0">
                <a:pos x="connsiteX44832" y="connsiteY44832"/>
              </a:cxn>
              <a:cxn ang="0">
                <a:pos x="connsiteX44833" y="connsiteY44833"/>
              </a:cxn>
              <a:cxn ang="0">
                <a:pos x="connsiteX44834" y="connsiteY44834"/>
              </a:cxn>
              <a:cxn ang="0">
                <a:pos x="connsiteX44835" y="connsiteY44835"/>
              </a:cxn>
              <a:cxn ang="0">
                <a:pos x="connsiteX44836" y="connsiteY44836"/>
              </a:cxn>
              <a:cxn ang="0">
                <a:pos x="connsiteX44837" y="connsiteY44837"/>
              </a:cxn>
              <a:cxn ang="0">
                <a:pos x="connsiteX44838" y="connsiteY44838"/>
              </a:cxn>
              <a:cxn ang="0">
                <a:pos x="connsiteX44839" y="connsiteY44839"/>
              </a:cxn>
              <a:cxn ang="0">
                <a:pos x="connsiteX44840" y="connsiteY44840"/>
              </a:cxn>
              <a:cxn ang="0">
                <a:pos x="connsiteX44841" y="connsiteY44841"/>
              </a:cxn>
              <a:cxn ang="0">
                <a:pos x="connsiteX44842" y="connsiteY44842"/>
              </a:cxn>
              <a:cxn ang="0">
                <a:pos x="connsiteX44843" y="connsiteY44843"/>
              </a:cxn>
              <a:cxn ang="0">
                <a:pos x="connsiteX44844" y="connsiteY44844"/>
              </a:cxn>
              <a:cxn ang="0">
                <a:pos x="connsiteX44845" y="connsiteY44845"/>
              </a:cxn>
              <a:cxn ang="0">
                <a:pos x="connsiteX44846" y="connsiteY44846"/>
              </a:cxn>
              <a:cxn ang="0">
                <a:pos x="connsiteX44847" y="connsiteY44847"/>
              </a:cxn>
              <a:cxn ang="0">
                <a:pos x="connsiteX44848" y="connsiteY44848"/>
              </a:cxn>
              <a:cxn ang="0">
                <a:pos x="connsiteX44849" y="connsiteY44849"/>
              </a:cxn>
              <a:cxn ang="0">
                <a:pos x="connsiteX44850" y="connsiteY44850"/>
              </a:cxn>
              <a:cxn ang="0">
                <a:pos x="connsiteX44851" y="connsiteY44851"/>
              </a:cxn>
              <a:cxn ang="0">
                <a:pos x="connsiteX44852" y="connsiteY44852"/>
              </a:cxn>
              <a:cxn ang="0">
                <a:pos x="connsiteX44853" y="connsiteY44853"/>
              </a:cxn>
              <a:cxn ang="0">
                <a:pos x="connsiteX44854" y="connsiteY44854"/>
              </a:cxn>
              <a:cxn ang="0">
                <a:pos x="connsiteX44855" y="connsiteY44855"/>
              </a:cxn>
              <a:cxn ang="0">
                <a:pos x="connsiteX44856" y="connsiteY44856"/>
              </a:cxn>
              <a:cxn ang="0">
                <a:pos x="connsiteX44857" y="connsiteY44857"/>
              </a:cxn>
              <a:cxn ang="0">
                <a:pos x="connsiteX44858" y="connsiteY44858"/>
              </a:cxn>
              <a:cxn ang="0">
                <a:pos x="connsiteX44859" y="connsiteY44859"/>
              </a:cxn>
              <a:cxn ang="0">
                <a:pos x="connsiteX44860" y="connsiteY44860"/>
              </a:cxn>
              <a:cxn ang="0">
                <a:pos x="connsiteX44861" y="connsiteY44861"/>
              </a:cxn>
              <a:cxn ang="0">
                <a:pos x="connsiteX44862" y="connsiteY44862"/>
              </a:cxn>
              <a:cxn ang="0">
                <a:pos x="connsiteX44863" y="connsiteY44863"/>
              </a:cxn>
              <a:cxn ang="0">
                <a:pos x="connsiteX44864" y="connsiteY44864"/>
              </a:cxn>
              <a:cxn ang="0">
                <a:pos x="connsiteX44865" y="connsiteY44865"/>
              </a:cxn>
              <a:cxn ang="0">
                <a:pos x="connsiteX44866" y="connsiteY44866"/>
              </a:cxn>
              <a:cxn ang="0">
                <a:pos x="connsiteX44867" y="connsiteY44867"/>
              </a:cxn>
              <a:cxn ang="0">
                <a:pos x="connsiteX44868" y="connsiteY44868"/>
              </a:cxn>
              <a:cxn ang="0">
                <a:pos x="connsiteX44869" y="connsiteY44869"/>
              </a:cxn>
              <a:cxn ang="0">
                <a:pos x="connsiteX44870" y="connsiteY44870"/>
              </a:cxn>
              <a:cxn ang="0">
                <a:pos x="connsiteX44871" y="connsiteY44871"/>
              </a:cxn>
              <a:cxn ang="0">
                <a:pos x="connsiteX44872" y="connsiteY44872"/>
              </a:cxn>
              <a:cxn ang="0">
                <a:pos x="connsiteX44873" y="connsiteY44873"/>
              </a:cxn>
              <a:cxn ang="0">
                <a:pos x="connsiteX44874" y="connsiteY44874"/>
              </a:cxn>
              <a:cxn ang="0">
                <a:pos x="connsiteX44875" y="connsiteY44875"/>
              </a:cxn>
              <a:cxn ang="0">
                <a:pos x="connsiteX44876" y="connsiteY44876"/>
              </a:cxn>
              <a:cxn ang="0">
                <a:pos x="connsiteX44877" y="connsiteY44877"/>
              </a:cxn>
              <a:cxn ang="0">
                <a:pos x="connsiteX44878" y="connsiteY44878"/>
              </a:cxn>
              <a:cxn ang="0">
                <a:pos x="connsiteX44879" y="connsiteY44879"/>
              </a:cxn>
              <a:cxn ang="0">
                <a:pos x="connsiteX44880" y="connsiteY44880"/>
              </a:cxn>
              <a:cxn ang="0">
                <a:pos x="connsiteX44881" y="connsiteY44881"/>
              </a:cxn>
              <a:cxn ang="0">
                <a:pos x="connsiteX44882" y="connsiteY44882"/>
              </a:cxn>
              <a:cxn ang="0">
                <a:pos x="connsiteX44883" y="connsiteY44883"/>
              </a:cxn>
              <a:cxn ang="0">
                <a:pos x="connsiteX44884" y="connsiteY44884"/>
              </a:cxn>
              <a:cxn ang="0">
                <a:pos x="connsiteX44885" y="connsiteY44885"/>
              </a:cxn>
              <a:cxn ang="0">
                <a:pos x="connsiteX44886" y="connsiteY44886"/>
              </a:cxn>
              <a:cxn ang="0">
                <a:pos x="connsiteX44887" y="connsiteY44887"/>
              </a:cxn>
              <a:cxn ang="0">
                <a:pos x="connsiteX44888" y="connsiteY44888"/>
              </a:cxn>
              <a:cxn ang="0">
                <a:pos x="connsiteX44889" y="connsiteY44889"/>
              </a:cxn>
              <a:cxn ang="0">
                <a:pos x="connsiteX44890" y="connsiteY44890"/>
              </a:cxn>
              <a:cxn ang="0">
                <a:pos x="connsiteX44891" y="connsiteY44891"/>
              </a:cxn>
              <a:cxn ang="0">
                <a:pos x="connsiteX44892" y="connsiteY44892"/>
              </a:cxn>
              <a:cxn ang="0">
                <a:pos x="connsiteX44893" y="connsiteY44893"/>
              </a:cxn>
              <a:cxn ang="0">
                <a:pos x="connsiteX44894" y="connsiteY44894"/>
              </a:cxn>
              <a:cxn ang="0">
                <a:pos x="connsiteX44895" y="connsiteY44895"/>
              </a:cxn>
              <a:cxn ang="0">
                <a:pos x="connsiteX44896" y="connsiteY44896"/>
              </a:cxn>
              <a:cxn ang="0">
                <a:pos x="connsiteX44897" y="connsiteY44897"/>
              </a:cxn>
              <a:cxn ang="0">
                <a:pos x="connsiteX44898" y="connsiteY44898"/>
              </a:cxn>
              <a:cxn ang="0">
                <a:pos x="connsiteX44899" y="connsiteY44899"/>
              </a:cxn>
              <a:cxn ang="0">
                <a:pos x="connsiteX44900" y="connsiteY44900"/>
              </a:cxn>
              <a:cxn ang="0">
                <a:pos x="connsiteX44901" y="connsiteY44901"/>
              </a:cxn>
              <a:cxn ang="0">
                <a:pos x="connsiteX44902" y="connsiteY44902"/>
              </a:cxn>
              <a:cxn ang="0">
                <a:pos x="connsiteX44903" y="connsiteY44903"/>
              </a:cxn>
              <a:cxn ang="0">
                <a:pos x="connsiteX44904" y="connsiteY44904"/>
              </a:cxn>
              <a:cxn ang="0">
                <a:pos x="connsiteX44905" y="connsiteY44905"/>
              </a:cxn>
              <a:cxn ang="0">
                <a:pos x="connsiteX44906" y="connsiteY44906"/>
              </a:cxn>
              <a:cxn ang="0">
                <a:pos x="connsiteX44907" y="connsiteY44907"/>
              </a:cxn>
              <a:cxn ang="0">
                <a:pos x="connsiteX44908" y="connsiteY44908"/>
              </a:cxn>
              <a:cxn ang="0">
                <a:pos x="connsiteX44909" y="connsiteY44909"/>
              </a:cxn>
              <a:cxn ang="0">
                <a:pos x="connsiteX44910" y="connsiteY44910"/>
              </a:cxn>
              <a:cxn ang="0">
                <a:pos x="connsiteX44911" y="connsiteY44911"/>
              </a:cxn>
              <a:cxn ang="0">
                <a:pos x="connsiteX44912" y="connsiteY44912"/>
              </a:cxn>
              <a:cxn ang="0">
                <a:pos x="connsiteX44913" y="connsiteY44913"/>
              </a:cxn>
              <a:cxn ang="0">
                <a:pos x="connsiteX44914" y="connsiteY44914"/>
              </a:cxn>
              <a:cxn ang="0">
                <a:pos x="connsiteX44915" y="connsiteY44915"/>
              </a:cxn>
              <a:cxn ang="0">
                <a:pos x="connsiteX44916" y="connsiteY44916"/>
              </a:cxn>
              <a:cxn ang="0">
                <a:pos x="connsiteX44917" y="connsiteY44917"/>
              </a:cxn>
              <a:cxn ang="0">
                <a:pos x="connsiteX44918" y="connsiteY44918"/>
              </a:cxn>
              <a:cxn ang="0">
                <a:pos x="connsiteX44919" y="connsiteY44919"/>
              </a:cxn>
              <a:cxn ang="0">
                <a:pos x="connsiteX44920" y="connsiteY44920"/>
              </a:cxn>
              <a:cxn ang="0">
                <a:pos x="connsiteX44921" y="connsiteY44921"/>
              </a:cxn>
              <a:cxn ang="0">
                <a:pos x="connsiteX44922" y="connsiteY44922"/>
              </a:cxn>
              <a:cxn ang="0">
                <a:pos x="connsiteX44923" y="connsiteY44923"/>
              </a:cxn>
              <a:cxn ang="0">
                <a:pos x="connsiteX44924" y="connsiteY44924"/>
              </a:cxn>
              <a:cxn ang="0">
                <a:pos x="connsiteX44925" y="connsiteY44925"/>
              </a:cxn>
              <a:cxn ang="0">
                <a:pos x="connsiteX44926" y="connsiteY44926"/>
              </a:cxn>
              <a:cxn ang="0">
                <a:pos x="connsiteX44927" y="connsiteY44927"/>
              </a:cxn>
              <a:cxn ang="0">
                <a:pos x="connsiteX44928" y="connsiteY44928"/>
              </a:cxn>
              <a:cxn ang="0">
                <a:pos x="connsiteX44929" y="connsiteY44929"/>
              </a:cxn>
              <a:cxn ang="0">
                <a:pos x="connsiteX44930" y="connsiteY44930"/>
              </a:cxn>
              <a:cxn ang="0">
                <a:pos x="connsiteX44931" y="connsiteY44931"/>
              </a:cxn>
              <a:cxn ang="0">
                <a:pos x="connsiteX44932" y="connsiteY44932"/>
              </a:cxn>
              <a:cxn ang="0">
                <a:pos x="connsiteX44933" y="connsiteY44933"/>
              </a:cxn>
              <a:cxn ang="0">
                <a:pos x="connsiteX44934" y="connsiteY44934"/>
              </a:cxn>
              <a:cxn ang="0">
                <a:pos x="connsiteX44935" y="connsiteY44935"/>
              </a:cxn>
              <a:cxn ang="0">
                <a:pos x="connsiteX44936" y="connsiteY44936"/>
              </a:cxn>
              <a:cxn ang="0">
                <a:pos x="connsiteX44937" y="connsiteY44937"/>
              </a:cxn>
              <a:cxn ang="0">
                <a:pos x="connsiteX44938" y="connsiteY44938"/>
              </a:cxn>
              <a:cxn ang="0">
                <a:pos x="connsiteX44939" y="connsiteY44939"/>
              </a:cxn>
              <a:cxn ang="0">
                <a:pos x="connsiteX44940" y="connsiteY44940"/>
              </a:cxn>
              <a:cxn ang="0">
                <a:pos x="connsiteX44941" y="connsiteY44941"/>
              </a:cxn>
              <a:cxn ang="0">
                <a:pos x="connsiteX44942" y="connsiteY44942"/>
              </a:cxn>
              <a:cxn ang="0">
                <a:pos x="connsiteX44943" y="connsiteY44943"/>
              </a:cxn>
              <a:cxn ang="0">
                <a:pos x="connsiteX44944" y="connsiteY44944"/>
              </a:cxn>
              <a:cxn ang="0">
                <a:pos x="connsiteX44945" y="connsiteY44945"/>
              </a:cxn>
              <a:cxn ang="0">
                <a:pos x="connsiteX44946" y="connsiteY44946"/>
              </a:cxn>
              <a:cxn ang="0">
                <a:pos x="connsiteX44947" y="connsiteY44947"/>
              </a:cxn>
              <a:cxn ang="0">
                <a:pos x="connsiteX44948" y="connsiteY44948"/>
              </a:cxn>
              <a:cxn ang="0">
                <a:pos x="connsiteX44949" y="connsiteY44949"/>
              </a:cxn>
              <a:cxn ang="0">
                <a:pos x="connsiteX44950" y="connsiteY44950"/>
              </a:cxn>
              <a:cxn ang="0">
                <a:pos x="connsiteX44951" y="connsiteY44951"/>
              </a:cxn>
              <a:cxn ang="0">
                <a:pos x="connsiteX44952" y="connsiteY44952"/>
              </a:cxn>
              <a:cxn ang="0">
                <a:pos x="connsiteX44953" y="connsiteY44953"/>
              </a:cxn>
              <a:cxn ang="0">
                <a:pos x="connsiteX44954" y="connsiteY44954"/>
              </a:cxn>
              <a:cxn ang="0">
                <a:pos x="connsiteX44955" y="connsiteY44955"/>
              </a:cxn>
              <a:cxn ang="0">
                <a:pos x="connsiteX44956" y="connsiteY44956"/>
              </a:cxn>
              <a:cxn ang="0">
                <a:pos x="connsiteX44957" y="connsiteY44957"/>
              </a:cxn>
              <a:cxn ang="0">
                <a:pos x="connsiteX44958" y="connsiteY44958"/>
              </a:cxn>
              <a:cxn ang="0">
                <a:pos x="connsiteX44959" y="connsiteY44959"/>
              </a:cxn>
              <a:cxn ang="0">
                <a:pos x="connsiteX44960" y="connsiteY44960"/>
              </a:cxn>
              <a:cxn ang="0">
                <a:pos x="connsiteX44961" y="connsiteY44961"/>
              </a:cxn>
              <a:cxn ang="0">
                <a:pos x="connsiteX44962" y="connsiteY44962"/>
              </a:cxn>
              <a:cxn ang="0">
                <a:pos x="connsiteX44963" y="connsiteY44963"/>
              </a:cxn>
              <a:cxn ang="0">
                <a:pos x="connsiteX44964" y="connsiteY44964"/>
              </a:cxn>
              <a:cxn ang="0">
                <a:pos x="connsiteX44965" y="connsiteY44965"/>
              </a:cxn>
              <a:cxn ang="0">
                <a:pos x="connsiteX44966" y="connsiteY44966"/>
              </a:cxn>
              <a:cxn ang="0">
                <a:pos x="connsiteX44967" y="connsiteY44967"/>
              </a:cxn>
              <a:cxn ang="0">
                <a:pos x="connsiteX44968" y="connsiteY44968"/>
              </a:cxn>
              <a:cxn ang="0">
                <a:pos x="connsiteX44969" y="connsiteY44969"/>
              </a:cxn>
              <a:cxn ang="0">
                <a:pos x="connsiteX44970" y="connsiteY44970"/>
              </a:cxn>
              <a:cxn ang="0">
                <a:pos x="connsiteX44971" y="connsiteY44971"/>
              </a:cxn>
              <a:cxn ang="0">
                <a:pos x="connsiteX44972" y="connsiteY44972"/>
              </a:cxn>
              <a:cxn ang="0">
                <a:pos x="connsiteX44973" y="connsiteY44973"/>
              </a:cxn>
              <a:cxn ang="0">
                <a:pos x="connsiteX44974" y="connsiteY44974"/>
              </a:cxn>
              <a:cxn ang="0">
                <a:pos x="connsiteX44975" y="connsiteY44975"/>
              </a:cxn>
              <a:cxn ang="0">
                <a:pos x="connsiteX44976" y="connsiteY44976"/>
              </a:cxn>
              <a:cxn ang="0">
                <a:pos x="connsiteX44977" y="connsiteY44977"/>
              </a:cxn>
              <a:cxn ang="0">
                <a:pos x="connsiteX44978" y="connsiteY44978"/>
              </a:cxn>
              <a:cxn ang="0">
                <a:pos x="connsiteX44979" y="connsiteY44979"/>
              </a:cxn>
              <a:cxn ang="0">
                <a:pos x="connsiteX44980" y="connsiteY44980"/>
              </a:cxn>
              <a:cxn ang="0">
                <a:pos x="connsiteX44981" y="connsiteY44981"/>
              </a:cxn>
              <a:cxn ang="0">
                <a:pos x="connsiteX44982" y="connsiteY44982"/>
              </a:cxn>
              <a:cxn ang="0">
                <a:pos x="connsiteX44983" y="connsiteY44983"/>
              </a:cxn>
              <a:cxn ang="0">
                <a:pos x="connsiteX44984" y="connsiteY44984"/>
              </a:cxn>
              <a:cxn ang="0">
                <a:pos x="connsiteX44985" y="connsiteY44985"/>
              </a:cxn>
              <a:cxn ang="0">
                <a:pos x="connsiteX44986" y="connsiteY44986"/>
              </a:cxn>
              <a:cxn ang="0">
                <a:pos x="connsiteX44987" y="connsiteY44987"/>
              </a:cxn>
              <a:cxn ang="0">
                <a:pos x="connsiteX44988" y="connsiteY44988"/>
              </a:cxn>
              <a:cxn ang="0">
                <a:pos x="connsiteX44989" y="connsiteY44989"/>
              </a:cxn>
              <a:cxn ang="0">
                <a:pos x="connsiteX44990" y="connsiteY44990"/>
              </a:cxn>
              <a:cxn ang="0">
                <a:pos x="connsiteX44991" y="connsiteY44991"/>
              </a:cxn>
              <a:cxn ang="0">
                <a:pos x="connsiteX44992" y="connsiteY44992"/>
              </a:cxn>
              <a:cxn ang="0">
                <a:pos x="connsiteX44993" y="connsiteY44993"/>
              </a:cxn>
              <a:cxn ang="0">
                <a:pos x="connsiteX44994" y="connsiteY44994"/>
              </a:cxn>
              <a:cxn ang="0">
                <a:pos x="connsiteX44995" y="connsiteY44995"/>
              </a:cxn>
              <a:cxn ang="0">
                <a:pos x="connsiteX44996" y="connsiteY44996"/>
              </a:cxn>
              <a:cxn ang="0">
                <a:pos x="connsiteX44997" y="connsiteY44997"/>
              </a:cxn>
              <a:cxn ang="0">
                <a:pos x="connsiteX44998" y="connsiteY44998"/>
              </a:cxn>
              <a:cxn ang="0">
                <a:pos x="connsiteX44999" y="connsiteY44999"/>
              </a:cxn>
              <a:cxn ang="0">
                <a:pos x="connsiteX45000" y="connsiteY45000"/>
              </a:cxn>
              <a:cxn ang="0">
                <a:pos x="connsiteX45001" y="connsiteY45001"/>
              </a:cxn>
              <a:cxn ang="0">
                <a:pos x="connsiteX45002" y="connsiteY45002"/>
              </a:cxn>
              <a:cxn ang="0">
                <a:pos x="connsiteX45003" y="connsiteY45003"/>
              </a:cxn>
              <a:cxn ang="0">
                <a:pos x="connsiteX45004" y="connsiteY45004"/>
              </a:cxn>
              <a:cxn ang="0">
                <a:pos x="connsiteX45005" y="connsiteY45005"/>
              </a:cxn>
              <a:cxn ang="0">
                <a:pos x="connsiteX45006" y="connsiteY45006"/>
              </a:cxn>
              <a:cxn ang="0">
                <a:pos x="connsiteX45007" y="connsiteY45007"/>
              </a:cxn>
              <a:cxn ang="0">
                <a:pos x="connsiteX45008" y="connsiteY45008"/>
              </a:cxn>
              <a:cxn ang="0">
                <a:pos x="connsiteX45009" y="connsiteY45009"/>
              </a:cxn>
              <a:cxn ang="0">
                <a:pos x="connsiteX45010" y="connsiteY45010"/>
              </a:cxn>
              <a:cxn ang="0">
                <a:pos x="connsiteX45011" y="connsiteY45011"/>
              </a:cxn>
              <a:cxn ang="0">
                <a:pos x="connsiteX45012" y="connsiteY45012"/>
              </a:cxn>
              <a:cxn ang="0">
                <a:pos x="connsiteX45013" y="connsiteY45013"/>
              </a:cxn>
              <a:cxn ang="0">
                <a:pos x="connsiteX45014" y="connsiteY45014"/>
              </a:cxn>
              <a:cxn ang="0">
                <a:pos x="connsiteX45015" y="connsiteY45015"/>
              </a:cxn>
              <a:cxn ang="0">
                <a:pos x="connsiteX45016" y="connsiteY45016"/>
              </a:cxn>
              <a:cxn ang="0">
                <a:pos x="connsiteX45017" y="connsiteY45017"/>
              </a:cxn>
              <a:cxn ang="0">
                <a:pos x="connsiteX45018" y="connsiteY45018"/>
              </a:cxn>
              <a:cxn ang="0">
                <a:pos x="connsiteX45019" y="connsiteY45019"/>
              </a:cxn>
              <a:cxn ang="0">
                <a:pos x="connsiteX45020" y="connsiteY45020"/>
              </a:cxn>
              <a:cxn ang="0">
                <a:pos x="connsiteX45021" y="connsiteY45021"/>
              </a:cxn>
              <a:cxn ang="0">
                <a:pos x="connsiteX45022" y="connsiteY45022"/>
              </a:cxn>
              <a:cxn ang="0">
                <a:pos x="connsiteX45023" y="connsiteY45023"/>
              </a:cxn>
              <a:cxn ang="0">
                <a:pos x="connsiteX45024" y="connsiteY45024"/>
              </a:cxn>
              <a:cxn ang="0">
                <a:pos x="connsiteX45025" y="connsiteY45025"/>
              </a:cxn>
              <a:cxn ang="0">
                <a:pos x="connsiteX45026" y="connsiteY45026"/>
              </a:cxn>
              <a:cxn ang="0">
                <a:pos x="connsiteX45027" y="connsiteY45027"/>
              </a:cxn>
              <a:cxn ang="0">
                <a:pos x="connsiteX45028" y="connsiteY45028"/>
              </a:cxn>
              <a:cxn ang="0">
                <a:pos x="connsiteX45029" y="connsiteY45029"/>
              </a:cxn>
              <a:cxn ang="0">
                <a:pos x="connsiteX45030" y="connsiteY45030"/>
              </a:cxn>
              <a:cxn ang="0">
                <a:pos x="connsiteX45031" y="connsiteY45031"/>
              </a:cxn>
              <a:cxn ang="0">
                <a:pos x="connsiteX45032" y="connsiteY45032"/>
              </a:cxn>
              <a:cxn ang="0">
                <a:pos x="connsiteX45033" y="connsiteY45033"/>
              </a:cxn>
              <a:cxn ang="0">
                <a:pos x="connsiteX45034" y="connsiteY45034"/>
              </a:cxn>
              <a:cxn ang="0">
                <a:pos x="connsiteX45035" y="connsiteY45035"/>
              </a:cxn>
              <a:cxn ang="0">
                <a:pos x="connsiteX45036" y="connsiteY45036"/>
              </a:cxn>
              <a:cxn ang="0">
                <a:pos x="connsiteX45037" y="connsiteY45037"/>
              </a:cxn>
              <a:cxn ang="0">
                <a:pos x="connsiteX45038" y="connsiteY45038"/>
              </a:cxn>
              <a:cxn ang="0">
                <a:pos x="connsiteX45039" y="connsiteY45039"/>
              </a:cxn>
              <a:cxn ang="0">
                <a:pos x="connsiteX45040" y="connsiteY45040"/>
              </a:cxn>
              <a:cxn ang="0">
                <a:pos x="connsiteX45041" y="connsiteY45041"/>
              </a:cxn>
              <a:cxn ang="0">
                <a:pos x="connsiteX45042" y="connsiteY45042"/>
              </a:cxn>
              <a:cxn ang="0">
                <a:pos x="connsiteX45043" y="connsiteY45043"/>
              </a:cxn>
              <a:cxn ang="0">
                <a:pos x="connsiteX45044" y="connsiteY45044"/>
              </a:cxn>
              <a:cxn ang="0">
                <a:pos x="connsiteX45045" y="connsiteY45045"/>
              </a:cxn>
              <a:cxn ang="0">
                <a:pos x="connsiteX45046" y="connsiteY45046"/>
              </a:cxn>
              <a:cxn ang="0">
                <a:pos x="connsiteX45047" y="connsiteY45047"/>
              </a:cxn>
              <a:cxn ang="0">
                <a:pos x="connsiteX45048" y="connsiteY45048"/>
              </a:cxn>
              <a:cxn ang="0">
                <a:pos x="connsiteX45049" y="connsiteY45049"/>
              </a:cxn>
              <a:cxn ang="0">
                <a:pos x="connsiteX45050" y="connsiteY45050"/>
              </a:cxn>
              <a:cxn ang="0">
                <a:pos x="connsiteX45051" y="connsiteY45051"/>
              </a:cxn>
              <a:cxn ang="0">
                <a:pos x="connsiteX45052" y="connsiteY45052"/>
              </a:cxn>
              <a:cxn ang="0">
                <a:pos x="connsiteX45053" y="connsiteY45053"/>
              </a:cxn>
              <a:cxn ang="0">
                <a:pos x="connsiteX45054" y="connsiteY45054"/>
              </a:cxn>
              <a:cxn ang="0">
                <a:pos x="connsiteX45055" y="connsiteY45055"/>
              </a:cxn>
              <a:cxn ang="0">
                <a:pos x="connsiteX45056" y="connsiteY45056"/>
              </a:cxn>
              <a:cxn ang="0">
                <a:pos x="connsiteX45057" y="connsiteY45057"/>
              </a:cxn>
              <a:cxn ang="0">
                <a:pos x="connsiteX45058" y="connsiteY45058"/>
              </a:cxn>
              <a:cxn ang="0">
                <a:pos x="connsiteX45059" y="connsiteY45059"/>
              </a:cxn>
              <a:cxn ang="0">
                <a:pos x="connsiteX45060" y="connsiteY45060"/>
              </a:cxn>
              <a:cxn ang="0">
                <a:pos x="connsiteX45061" y="connsiteY45061"/>
              </a:cxn>
              <a:cxn ang="0">
                <a:pos x="connsiteX45062" y="connsiteY45062"/>
              </a:cxn>
              <a:cxn ang="0">
                <a:pos x="connsiteX45063" y="connsiteY45063"/>
              </a:cxn>
              <a:cxn ang="0">
                <a:pos x="connsiteX45064" y="connsiteY45064"/>
              </a:cxn>
              <a:cxn ang="0">
                <a:pos x="connsiteX45065" y="connsiteY45065"/>
              </a:cxn>
              <a:cxn ang="0">
                <a:pos x="connsiteX45066" y="connsiteY45066"/>
              </a:cxn>
              <a:cxn ang="0">
                <a:pos x="connsiteX45067" y="connsiteY45067"/>
              </a:cxn>
              <a:cxn ang="0">
                <a:pos x="connsiteX45068" y="connsiteY45068"/>
              </a:cxn>
              <a:cxn ang="0">
                <a:pos x="connsiteX45069" y="connsiteY45069"/>
              </a:cxn>
              <a:cxn ang="0">
                <a:pos x="connsiteX45070" y="connsiteY45070"/>
              </a:cxn>
              <a:cxn ang="0">
                <a:pos x="connsiteX45071" y="connsiteY45071"/>
              </a:cxn>
              <a:cxn ang="0">
                <a:pos x="connsiteX45072" y="connsiteY45072"/>
              </a:cxn>
              <a:cxn ang="0">
                <a:pos x="connsiteX45073" y="connsiteY45073"/>
              </a:cxn>
              <a:cxn ang="0">
                <a:pos x="connsiteX45074" y="connsiteY45074"/>
              </a:cxn>
              <a:cxn ang="0">
                <a:pos x="connsiteX45075" y="connsiteY45075"/>
              </a:cxn>
              <a:cxn ang="0">
                <a:pos x="connsiteX45076" y="connsiteY45076"/>
              </a:cxn>
              <a:cxn ang="0">
                <a:pos x="connsiteX45077" y="connsiteY45077"/>
              </a:cxn>
              <a:cxn ang="0">
                <a:pos x="connsiteX45078" y="connsiteY45078"/>
              </a:cxn>
              <a:cxn ang="0">
                <a:pos x="connsiteX45079" y="connsiteY45079"/>
              </a:cxn>
              <a:cxn ang="0">
                <a:pos x="connsiteX45080" y="connsiteY45080"/>
              </a:cxn>
              <a:cxn ang="0">
                <a:pos x="connsiteX45081" y="connsiteY45081"/>
              </a:cxn>
              <a:cxn ang="0">
                <a:pos x="connsiteX45082" y="connsiteY45082"/>
              </a:cxn>
              <a:cxn ang="0">
                <a:pos x="connsiteX45083" y="connsiteY45083"/>
              </a:cxn>
              <a:cxn ang="0">
                <a:pos x="connsiteX45084" y="connsiteY45084"/>
              </a:cxn>
              <a:cxn ang="0">
                <a:pos x="connsiteX45085" y="connsiteY45085"/>
              </a:cxn>
              <a:cxn ang="0">
                <a:pos x="connsiteX45086" y="connsiteY45086"/>
              </a:cxn>
              <a:cxn ang="0">
                <a:pos x="connsiteX45087" y="connsiteY45087"/>
              </a:cxn>
              <a:cxn ang="0">
                <a:pos x="connsiteX45088" y="connsiteY45088"/>
              </a:cxn>
              <a:cxn ang="0">
                <a:pos x="connsiteX45089" y="connsiteY45089"/>
              </a:cxn>
              <a:cxn ang="0">
                <a:pos x="connsiteX45090" y="connsiteY45090"/>
              </a:cxn>
              <a:cxn ang="0">
                <a:pos x="connsiteX45091" y="connsiteY45091"/>
              </a:cxn>
              <a:cxn ang="0">
                <a:pos x="connsiteX45092" y="connsiteY45092"/>
              </a:cxn>
              <a:cxn ang="0">
                <a:pos x="connsiteX45093" y="connsiteY45093"/>
              </a:cxn>
              <a:cxn ang="0">
                <a:pos x="connsiteX45094" y="connsiteY45094"/>
              </a:cxn>
              <a:cxn ang="0">
                <a:pos x="connsiteX45095" y="connsiteY45095"/>
              </a:cxn>
              <a:cxn ang="0">
                <a:pos x="connsiteX45096" y="connsiteY45096"/>
              </a:cxn>
              <a:cxn ang="0">
                <a:pos x="connsiteX45097" y="connsiteY45097"/>
              </a:cxn>
              <a:cxn ang="0">
                <a:pos x="connsiteX45098" y="connsiteY45098"/>
              </a:cxn>
              <a:cxn ang="0">
                <a:pos x="connsiteX45099" y="connsiteY45099"/>
              </a:cxn>
              <a:cxn ang="0">
                <a:pos x="connsiteX45100" y="connsiteY45100"/>
              </a:cxn>
              <a:cxn ang="0">
                <a:pos x="connsiteX45101" y="connsiteY45101"/>
              </a:cxn>
              <a:cxn ang="0">
                <a:pos x="connsiteX45102" y="connsiteY45102"/>
              </a:cxn>
              <a:cxn ang="0">
                <a:pos x="connsiteX45103" y="connsiteY45103"/>
              </a:cxn>
              <a:cxn ang="0">
                <a:pos x="connsiteX45104" y="connsiteY45104"/>
              </a:cxn>
              <a:cxn ang="0">
                <a:pos x="connsiteX45105" y="connsiteY45105"/>
              </a:cxn>
              <a:cxn ang="0">
                <a:pos x="connsiteX45106" y="connsiteY45106"/>
              </a:cxn>
              <a:cxn ang="0">
                <a:pos x="connsiteX45107" y="connsiteY45107"/>
              </a:cxn>
              <a:cxn ang="0">
                <a:pos x="connsiteX45108" y="connsiteY45108"/>
              </a:cxn>
              <a:cxn ang="0">
                <a:pos x="connsiteX45109" y="connsiteY45109"/>
              </a:cxn>
              <a:cxn ang="0">
                <a:pos x="connsiteX45110" y="connsiteY45110"/>
              </a:cxn>
              <a:cxn ang="0">
                <a:pos x="connsiteX45111" y="connsiteY45111"/>
              </a:cxn>
              <a:cxn ang="0">
                <a:pos x="connsiteX45112" y="connsiteY45112"/>
              </a:cxn>
              <a:cxn ang="0">
                <a:pos x="connsiteX45113" y="connsiteY45113"/>
              </a:cxn>
              <a:cxn ang="0">
                <a:pos x="connsiteX45114" y="connsiteY45114"/>
              </a:cxn>
              <a:cxn ang="0">
                <a:pos x="connsiteX45115" y="connsiteY45115"/>
              </a:cxn>
              <a:cxn ang="0">
                <a:pos x="connsiteX45116" y="connsiteY45116"/>
              </a:cxn>
              <a:cxn ang="0">
                <a:pos x="connsiteX45117" y="connsiteY45117"/>
              </a:cxn>
              <a:cxn ang="0">
                <a:pos x="connsiteX45118" y="connsiteY45118"/>
              </a:cxn>
              <a:cxn ang="0">
                <a:pos x="connsiteX45119" y="connsiteY45119"/>
              </a:cxn>
              <a:cxn ang="0">
                <a:pos x="connsiteX45120" y="connsiteY45120"/>
              </a:cxn>
              <a:cxn ang="0">
                <a:pos x="connsiteX45121" y="connsiteY45121"/>
              </a:cxn>
              <a:cxn ang="0">
                <a:pos x="connsiteX45122" y="connsiteY45122"/>
              </a:cxn>
              <a:cxn ang="0">
                <a:pos x="connsiteX45123" y="connsiteY45123"/>
              </a:cxn>
              <a:cxn ang="0">
                <a:pos x="connsiteX45124" y="connsiteY45124"/>
              </a:cxn>
              <a:cxn ang="0">
                <a:pos x="connsiteX45125" y="connsiteY45125"/>
              </a:cxn>
              <a:cxn ang="0">
                <a:pos x="connsiteX45126" y="connsiteY45126"/>
              </a:cxn>
              <a:cxn ang="0">
                <a:pos x="connsiteX45127" y="connsiteY45127"/>
              </a:cxn>
              <a:cxn ang="0">
                <a:pos x="connsiteX45128" y="connsiteY45128"/>
              </a:cxn>
              <a:cxn ang="0">
                <a:pos x="connsiteX45129" y="connsiteY45129"/>
              </a:cxn>
              <a:cxn ang="0">
                <a:pos x="connsiteX45130" y="connsiteY45130"/>
              </a:cxn>
              <a:cxn ang="0">
                <a:pos x="connsiteX45131" y="connsiteY45131"/>
              </a:cxn>
              <a:cxn ang="0">
                <a:pos x="connsiteX45132" y="connsiteY45132"/>
              </a:cxn>
              <a:cxn ang="0">
                <a:pos x="connsiteX45133" y="connsiteY45133"/>
              </a:cxn>
              <a:cxn ang="0">
                <a:pos x="connsiteX45134" y="connsiteY45134"/>
              </a:cxn>
              <a:cxn ang="0">
                <a:pos x="connsiteX45135" y="connsiteY45135"/>
              </a:cxn>
              <a:cxn ang="0">
                <a:pos x="connsiteX45136" y="connsiteY45136"/>
              </a:cxn>
              <a:cxn ang="0">
                <a:pos x="connsiteX45137" y="connsiteY45137"/>
              </a:cxn>
              <a:cxn ang="0">
                <a:pos x="connsiteX45138" y="connsiteY45138"/>
              </a:cxn>
              <a:cxn ang="0">
                <a:pos x="connsiteX45139" y="connsiteY45139"/>
              </a:cxn>
              <a:cxn ang="0">
                <a:pos x="connsiteX45140" y="connsiteY45140"/>
              </a:cxn>
              <a:cxn ang="0">
                <a:pos x="connsiteX45141" y="connsiteY45141"/>
              </a:cxn>
              <a:cxn ang="0">
                <a:pos x="connsiteX45142" y="connsiteY45142"/>
              </a:cxn>
              <a:cxn ang="0">
                <a:pos x="connsiteX45143" y="connsiteY45143"/>
              </a:cxn>
              <a:cxn ang="0">
                <a:pos x="connsiteX45144" y="connsiteY45144"/>
              </a:cxn>
              <a:cxn ang="0">
                <a:pos x="connsiteX45145" y="connsiteY45145"/>
              </a:cxn>
              <a:cxn ang="0">
                <a:pos x="connsiteX45146" y="connsiteY45146"/>
              </a:cxn>
              <a:cxn ang="0">
                <a:pos x="connsiteX45147" y="connsiteY45147"/>
              </a:cxn>
              <a:cxn ang="0">
                <a:pos x="connsiteX45148" y="connsiteY45148"/>
              </a:cxn>
              <a:cxn ang="0">
                <a:pos x="connsiteX45149" y="connsiteY45149"/>
              </a:cxn>
              <a:cxn ang="0">
                <a:pos x="connsiteX45150" y="connsiteY45150"/>
              </a:cxn>
              <a:cxn ang="0">
                <a:pos x="connsiteX45151" y="connsiteY45151"/>
              </a:cxn>
              <a:cxn ang="0">
                <a:pos x="connsiteX45152" y="connsiteY45152"/>
              </a:cxn>
              <a:cxn ang="0">
                <a:pos x="connsiteX45153" y="connsiteY45153"/>
              </a:cxn>
              <a:cxn ang="0">
                <a:pos x="connsiteX45154" y="connsiteY45154"/>
              </a:cxn>
              <a:cxn ang="0">
                <a:pos x="connsiteX45155" y="connsiteY45155"/>
              </a:cxn>
              <a:cxn ang="0">
                <a:pos x="connsiteX45156" y="connsiteY45156"/>
              </a:cxn>
              <a:cxn ang="0">
                <a:pos x="connsiteX45157" y="connsiteY45157"/>
              </a:cxn>
              <a:cxn ang="0">
                <a:pos x="connsiteX45158" y="connsiteY45158"/>
              </a:cxn>
              <a:cxn ang="0">
                <a:pos x="connsiteX45159" y="connsiteY45159"/>
              </a:cxn>
              <a:cxn ang="0">
                <a:pos x="connsiteX45160" y="connsiteY45160"/>
              </a:cxn>
              <a:cxn ang="0">
                <a:pos x="connsiteX45161" y="connsiteY45161"/>
              </a:cxn>
              <a:cxn ang="0">
                <a:pos x="connsiteX45162" y="connsiteY45162"/>
              </a:cxn>
              <a:cxn ang="0">
                <a:pos x="connsiteX45163" y="connsiteY45163"/>
              </a:cxn>
              <a:cxn ang="0">
                <a:pos x="connsiteX45164" y="connsiteY45164"/>
              </a:cxn>
              <a:cxn ang="0">
                <a:pos x="connsiteX45165" y="connsiteY45165"/>
              </a:cxn>
              <a:cxn ang="0">
                <a:pos x="connsiteX45166" y="connsiteY45166"/>
              </a:cxn>
              <a:cxn ang="0">
                <a:pos x="connsiteX45167" y="connsiteY45167"/>
              </a:cxn>
              <a:cxn ang="0">
                <a:pos x="connsiteX45168" y="connsiteY45168"/>
              </a:cxn>
              <a:cxn ang="0">
                <a:pos x="connsiteX45169" y="connsiteY45169"/>
              </a:cxn>
              <a:cxn ang="0">
                <a:pos x="connsiteX45170" y="connsiteY45170"/>
              </a:cxn>
              <a:cxn ang="0">
                <a:pos x="connsiteX45171" y="connsiteY45171"/>
              </a:cxn>
              <a:cxn ang="0">
                <a:pos x="connsiteX45172" y="connsiteY45172"/>
              </a:cxn>
              <a:cxn ang="0">
                <a:pos x="connsiteX45173" y="connsiteY45173"/>
              </a:cxn>
              <a:cxn ang="0">
                <a:pos x="connsiteX45174" y="connsiteY45174"/>
              </a:cxn>
              <a:cxn ang="0">
                <a:pos x="connsiteX45175" y="connsiteY45175"/>
              </a:cxn>
              <a:cxn ang="0">
                <a:pos x="connsiteX45176" y="connsiteY45176"/>
              </a:cxn>
              <a:cxn ang="0">
                <a:pos x="connsiteX45177" y="connsiteY45177"/>
              </a:cxn>
              <a:cxn ang="0">
                <a:pos x="connsiteX45178" y="connsiteY45178"/>
              </a:cxn>
              <a:cxn ang="0">
                <a:pos x="connsiteX45179" y="connsiteY45179"/>
              </a:cxn>
              <a:cxn ang="0">
                <a:pos x="connsiteX45180" y="connsiteY45180"/>
              </a:cxn>
              <a:cxn ang="0">
                <a:pos x="connsiteX45181" y="connsiteY45181"/>
              </a:cxn>
              <a:cxn ang="0">
                <a:pos x="connsiteX45182" y="connsiteY45182"/>
              </a:cxn>
              <a:cxn ang="0">
                <a:pos x="connsiteX45183" y="connsiteY45183"/>
              </a:cxn>
              <a:cxn ang="0">
                <a:pos x="connsiteX45184" y="connsiteY45184"/>
              </a:cxn>
              <a:cxn ang="0">
                <a:pos x="connsiteX45185" y="connsiteY45185"/>
              </a:cxn>
              <a:cxn ang="0">
                <a:pos x="connsiteX45186" y="connsiteY45186"/>
              </a:cxn>
              <a:cxn ang="0">
                <a:pos x="connsiteX45187" y="connsiteY45187"/>
              </a:cxn>
              <a:cxn ang="0">
                <a:pos x="connsiteX45188" y="connsiteY45188"/>
              </a:cxn>
              <a:cxn ang="0">
                <a:pos x="connsiteX45189" y="connsiteY45189"/>
              </a:cxn>
              <a:cxn ang="0">
                <a:pos x="connsiteX45190" y="connsiteY45190"/>
              </a:cxn>
              <a:cxn ang="0">
                <a:pos x="connsiteX45191" y="connsiteY45191"/>
              </a:cxn>
              <a:cxn ang="0">
                <a:pos x="connsiteX45192" y="connsiteY45192"/>
              </a:cxn>
              <a:cxn ang="0">
                <a:pos x="connsiteX45193" y="connsiteY45193"/>
              </a:cxn>
              <a:cxn ang="0">
                <a:pos x="connsiteX45194" y="connsiteY45194"/>
              </a:cxn>
              <a:cxn ang="0">
                <a:pos x="connsiteX45195" y="connsiteY45195"/>
              </a:cxn>
              <a:cxn ang="0">
                <a:pos x="connsiteX45196" y="connsiteY45196"/>
              </a:cxn>
              <a:cxn ang="0">
                <a:pos x="connsiteX45197" y="connsiteY45197"/>
              </a:cxn>
              <a:cxn ang="0">
                <a:pos x="connsiteX45198" y="connsiteY45198"/>
              </a:cxn>
              <a:cxn ang="0">
                <a:pos x="connsiteX45199" y="connsiteY45199"/>
              </a:cxn>
              <a:cxn ang="0">
                <a:pos x="connsiteX45200" y="connsiteY45200"/>
              </a:cxn>
              <a:cxn ang="0">
                <a:pos x="connsiteX45201" y="connsiteY45201"/>
              </a:cxn>
              <a:cxn ang="0">
                <a:pos x="connsiteX45202" y="connsiteY45202"/>
              </a:cxn>
              <a:cxn ang="0">
                <a:pos x="connsiteX45203" y="connsiteY45203"/>
              </a:cxn>
              <a:cxn ang="0">
                <a:pos x="connsiteX45204" y="connsiteY45204"/>
              </a:cxn>
              <a:cxn ang="0">
                <a:pos x="connsiteX45205" y="connsiteY45205"/>
              </a:cxn>
              <a:cxn ang="0">
                <a:pos x="connsiteX45206" y="connsiteY45206"/>
              </a:cxn>
              <a:cxn ang="0">
                <a:pos x="connsiteX45207" y="connsiteY45207"/>
              </a:cxn>
              <a:cxn ang="0">
                <a:pos x="connsiteX45208" y="connsiteY45208"/>
              </a:cxn>
              <a:cxn ang="0">
                <a:pos x="connsiteX45209" y="connsiteY45209"/>
              </a:cxn>
              <a:cxn ang="0">
                <a:pos x="connsiteX45210" y="connsiteY45210"/>
              </a:cxn>
              <a:cxn ang="0">
                <a:pos x="connsiteX45211" y="connsiteY45211"/>
              </a:cxn>
              <a:cxn ang="0">
                <a:pos x="connsiteX45212" y="connsiteY45212"/>
              </a:cxn>
              <a:cxn ang="0">
                <a:pos x="connsiteX45213" y="connsiteY45213"/>
              </a:cxn>
              <a:cxn ang="0">
                <a:pos x="connsiteX45214" y="connsiteY45214"/>
              </a:cxn>
              <a:cxn ang="0">
                <a:pos x="connsiteX45215" y="connsiteY45215"/>
              </a:cxn>
              <a:cxn ang="0">
                <a:pos x="connsiteX45216" y="connsiteY45216"/>
              </a:cxn>
              <a:cxn ang="0">
                <a:pos x="connsiteX45217" y="connsiteY45217"/>
              </a:cxn>
              <a:cxn ang="0">
                <a:pos x="connsiteX45218" y="connsiteY45218"/>
              </a:cxn>
              <a:cxn ang="0">
                <a:pos x="connsiteX45219" y="connsiteY45219"/>
              </a:cxn>
              <a:cxn ang="0">
                <a:pos x="connsiteX45220" y="connsiteY45220"/>
              </a:cxn>
              <a:cxn ang="0">
                <a:pos x="connsiteX45221" y="connsiteY45221"/>
              </a:cxn>
              <a:cxn ang="0">
                <a:pos x="connsiteX45222" y="connsiteY45222"/>
              </a:cxn>
              <a:cxn ang="0">
                <a:pos x="connsiteX45223" y="connsiteY45223"/>
              </a:cxn>
              <a:cxn ang="0">
                <a:pos x="connsiteX45224" y="connsiteY45224"/>
              </a:cxn>
              <a:cxn ang="0">
                <a:pos x="connsiteX45225" y="connsiteY45225"/>
              </a:cxn>
              <a:cxn ang="0">
                <a:pos x="connsiteX45226" y="connsiteY45226"/>
              </a:cxn>
              <a:cxn ang="0">
                <a:pos x="connsiteX45227" y="connsiteY45227"/>
              </a:cxn>
              <a:cxn ang="0">
                <a:pos x="connsiteX45228" y="connsiteY45228"/>
              </a:cxn>
              <a:cxn ang="0">
                <a:pos x="connsiteX45229" y="connsiteY45229"/>
              </a:cxn>
              <a:cxn ang="0">
                <a:pos x="connsiteX45230" y="connsiteY45230"/>
              </a:cxn>
              <a:cxn ang="0">
                <a:pos x="connsiteX45231" y="connsiteY45231"/>
              </a:cxn>
              <a:cxn ang="0">
                <a:pos x="connsiteX45232" y="connsiteY45232"/>
              </a:cxn>
              <a:cxn ang="0">
                <a:pos x="connsiteX45233" y="connsiteY45233"/>
              </a:cxn>
              <a:cxn ang="0">
                <a:pos x="connsiteX45234" y="connsiteY45234"/>
              </a:cxn>
              <a:cxn ang="0">
                <a:pos x="connsiteX45235" y="connsiteY45235"/>
              </a:cxn>
              <a:cxn ang="0">
                <a:pos x="connsiteX45236" y="connsiteY45236"/>
              </a:cxn>
              <a:cxn ang="0">
                <a:pos x="connsiteX45237" y="connsiteY45237"/>
              </a:cxn>
              <a:cxn ang="0">
                <a:pos x="connsiteX45238" y="connsiteY45238"/>
              </a:cxn>
              <a:cxn ang="0">
                <a:pos x="connsiteX45239" y="connsiteY45239"/>
              </a:cxn>
              <a:cxn ang="0">
                <a:pos x="connsiteX45240" y="connsiteY45240"/>
              </a:cxn>
              <a:cxn ang="0">
                <a:pos x="connsiteX45241" y="connsiteY45241"/>
              </a:cxn>
              <a:cxn ang="0">
                <a:pos x="connsiteX45242" y="connsiteY45242"/>
              </a:cxn>
              <a:cxn ang="0">
                <a:pos x="connsiteX45243" y="connsiteY45243"/>
              </a:cxn>
              <a:cxn ang="0">
                <a:pos x="connsiteX45244" y="connsiteY45244"/>
              </a:cxn>
              <a:cxn ang="0">
                <a:pos x="connsiteX45245" y="connsiteY45245"/>
              </a:cxn>
              <a:cxn ang="0">
                <a:pos x="connsiteX45246" y="connsiteY45246"/>
              </a:cxn>
              <a:cxn ang="0">
                <a:pos x="connsiteX45247" y="connsiteY45247"/>
              </a:cxn>
              <a:cxn ang="0">
                <a:pos x="connsiteX45248" y="connsiteY45248"/>
              </a:cxn>
              <a:cxn ang="0">
                <a:pos x="connsiteX45249" y="connsiteY45249"/>
              </a:cxn>
              <a:cxn ang="0">
                <a:pos x="connsiteX45250" y="connsiteY45250"/>
              </a:cxn>
              <a:cxn ang="0">
                <a:pos x="connsiteX45251" y="connsiteY45251"/>
              </a:cxn>
              <a:cxn ang="0">
                <a:pos x="connsiteX45252" y="connsiteY45252"/>
              </a:cxn>
              <a:cxn ang="0">
                <a:pos x="connsiteX45253" y="connsiteY45253"/>
              </a:cxn>
              <a:cxn ang="0">
                <a:pos x="connsiteX45254" y="connsiteY45254"/>
              </a:cxn>
              <a:cxn ang="0">
                <a:pos x="connsiteX45255" y="connsiteY45255"/>
              </a:cxn>
              <a:cxn ang="0">
                <a:pos x="connsiteX45256" y="connsiteY45256"/>
              </a:cxn>
              <a:cxn ang="0">
                <a:pos x="connsiteX45257" y="connsiteY45257"/>
              </a:cxn>
              <a:cxn ang="0">
                <a:pos x="connsiteX45258" y="connsiteY45258"/>
              </a:cxn>
              <a:cxn ang="0">
                <a:pos x="connsiteX45259" y="connsiteY45259"/>
              </a:cxn>
              <a:cxn ang="0">
                <a:pos x="connsiteX45260" y="connsiteY45260"/>
              </a:cxn>
              <a:cxn ang="0">
                <a:pos x="connsiteX45261" y="connsiteY45261"/>
              </a:cxn>
              <a:cxn ang="0">
                <a:pos x="connsiteX45262" y="connsiteY45262"/>
              </a:cxn>
              <a:cxn ang="0">
                <a:pos x="connsiteX45263" y="connsiteY45263"/>
              </a:cxn>
              <a:cxn ang="0">
                <a:pos x="connsiteX45264" y="connsiteY45264"/>
              </a:cxn>
              <a:cxn ang="0">
                <a:pos x="connsiteX45265" y="connsiteY45265"/>
              </a:cxn>
              <a:cxn ang="0">
                <a:pos x="connsiteX45266" y="connsiteY45266"/>
              </a:cxn>
              <a:cxn ang="0">
                <a:pos x="connsiteX45267" y="connsiteY45267"/>
              </a:cxn>
              <a:cxn ang="0">
                <a:pos x="connsiteX45268" y="connsiteY45268"/>
              </a:cxn>
              <a:cxn ang="0">
                <a:pos x="connsiteX45269" y="connsiteY45269"/>
              </a:cxn>
              <a:cxn ang="0">
                <a:pos x="connsiteX45270" y="connsiteY45270"/>
              </a:cxn>
              <a:cxn ang="0">
                <a:pos x="connsiteX45271" y="connsiteY45271"/>
              </a:cxn>
              <a:cxn ang="0">
                <a:pos x="connsiteX45272" y="connsiteY45272"/>
              </a:cxn>
              <a:cxn ang="0">
                <a:pos x="connsiteX45273" y="connsiteY45273"/>
              </a:cxn>
              <a:cxn ang="0">
                <a:pos x="connsiteX45274" y="connsiteY45274"/>
              </a:cxn>
              <a:cxn ang="0">
                <a:pos x="connsiteX45275" y="connsiteY45275"/>
              </a:cxn>
              <a:cxn ang="0">
                <a:pos x="connsiteX45276" y="connsiteY45276"/>
              </a:cxn>
              <a:cxn ang="0">
                <a:pos x="connsiteX45277" y="connsiteY45277"/>
              </a:cxn>
              <a:cxn ang="0">
                <a:pos x="connsiteX45278" y="connsiteY45278"/>
              </a:cxn>
              <a:cxn ang="0">
                <a:pos x="connsiteX45279" y="connsiteY45279"/>
              </a:cxn>
              <a:cxn ang="0">
                <a:pos x="connsiteX45280" y="connsiteY45280"/>
              </a:cxn>
              <a:cxn ang="0">
                <a:pos x="connsiteX45281" y="connsiteY45281"/>
              </a:cxn>
              <a:cxn ang="0">
                <a:pos x="connsiteX45282" y="connsiteY45282"/>
              </a:cxn>
              <a:cxn ang="0">
                <a:pos x="connsiteX45283" y="connsiteY45283"/>
              </a:cxn>
              <a:cxn ang="0">
                <a:pos x="connsiteX45284" y="connsiteY45284"/>
              </a:cxn>
              <a:cxn ang="0">
                <a:pos x="connsiteX45285" y="connsiteY45285"/>
              </a:cxn>
              <a:cxn ang="0">
                <a:pos x="connsiteX45286" y="connsiteY45286"/>
              </a:cxn>
              <a:cxn ang="0">
                <a:pos x="connsiteX45287" y="connsiteY45287"/>
              </a:cxn>
              <a:cxn ang="0">
                <a:pos x="connsiteX45288" y="connsiteY45288"/>
              </a:cxn>
              <a:cxn ang="0">
                <a:pos x="connsiteX45289" y="connsiteY45289"/>
              </a:cxn>
              <a:cxn ang="0">
                <a:pos x="connsiteX45290" y="connsiteY45290"/>
              </a:cxn>
              <a:cxn ang="0">
                <a:pos x="connsiteX45291" y="connsiteY45291"/>
              </a:cxn>
              <a:cxn ang="0">
                <a:pos x="connsiteX45292" y="connsiteY45292"/>
              </a:cxn>
              <a:cxn ang="0">
                <a:pos x="connsiteX45293" y="connsiteY45293"/>
              </a:cxn>
              <a:cxn ang="0">
                <a:pos x="connsiteX45294" y="connsiteY45294"/>
              </a:cxn>
              <a:cxn ang="0">
                <a:pos x="connsiteX45295" y="connsiteY45295"/>
              </a:cxn>
              <a:cxn ang="0">
                <a:pos x="connsiteX45296" y="connsiteY45296"/>
              </a:cxn>
              <a:cxn ang="0">
                <a:pos x="connsiteX45297" y="connsiteY45297"/>
              </a:cxn>
              <a:cxn ang="0">
                <a:pos x="connsiteX45298" y="connsiteY45298"/>
              </a:cxn>
              <a:cxn ang="0">
                <a:pos x="connsiteX45299" y="connsiteY45299"/>
              </a:cxn>
              <a:cxn ang="0">
                <a:pos x="connsiteX45300" y="connsiteY45300"/>
              </a:cxn>
              <a:cxn ang="0">
                <a:pos x="connsiteX45301" y="connsiteY45301"/>
              </a:cxn>
              <a:cxn ang="0">
                <a:pos x="connsiteX45302" y="connsiteY45302"/>
              </a:cxn>
              <a:cxn ang="0">
                <a:pos x="connsiteX45303" y="connsiteY45303"/>
              </a:cxn>
              <a:cxn ang="0">
                <a:pos x="connsiteX45304" y="connsiteY45304"/>
              </a:cxn>
              <a:cxn ang="0">
                <a:pos x="connsiteX45305" y="connsiteY45305"/>
              </a:cxn>
              <a:cxn ang="0">
                <a:pos x="connsiteX45306" y="connsiteY45306"/>
              </a:cxn>
              <a:cxn ang="0">
                <a:pos x="connsiteX45307" y="connsiteY45307"/>
              </a:cxn>
              <a:cxn ang="0">
                <a:pos x="connsiteX45308" y="connsiteY45308"/>
              </a:cxn>
              <a:cxn ang="0">
                <a:pos x="connsiteX45309" y="connsiteY45309"/>
              </a:cxn>
              <a:cxn ang="0">
                <a:pos x="connsiteX45310" y="connsiteY45310"/>
              </a:cxn>
              <a:cxn ang="0">
                <a:pos x="connsiteX45311" y="connsiteY45311"/>
              </a:cxn>
              <a:cxn ang="0">
                <a:pos x="connsiteX45312" y="connsiteY45312"/>
              </a:cxn>
              <a:cxn ang="0">
                <a:pos x="connsiteX45313" y="connsiteY45313"/>
              </a:cxn>
              <a:cxn ang="0">
                <a:pos x="connsiteX45314" y="connsiteY45314"/>
              </a:cxn>
              <a:cxn ang="0">
                <a:pos x="connsiteX45315" y="connsiteY45315"/>
              </a:cxn>
              <a:cxn ang="0">
                <a:pos x="connsiteX45316" y="connsiteY45316"/>
              </a:cxn>
              <a:cxn ang="0">
                <a:pos x="connsiteX45317" y="connsiteY45317"/>
              </a:cxn>
              <a:cxn ang="0">
                <a:pos x="connsiteX45318" y="connsiteY45318"/>
              </a:cxn>
              <a:cxn ang="0">
                <a:pos x="connsiteX45319" y="connsiteY45319"/>
              </a:cxn>
              <a:cxn ang="0">
                <a:pos x="connsiteX45320" y="connsiteY45320"/>
              </a:cxn>
              <a:cxn ang="0">
                <a:pos x="connsiteX45321" y="connsiteY45321"/>
              </a:cxn>
              <a:cxn ang="0">
                <a:pos x="connsiteX45322" y="connsiteY45322"/>
              </a:cxn>
              <a:cxn ang="0">
                <a:pos x="connsiteX45323" y="connsiteY45323"/>
              </a:cxn>
              <a:cxn ang="0">
                <a:pos x="connsiteX45324" y="connsiteY45324"/>
              </a:cxn>
              <a:cxn ang="0">
                <a:pos x="connsiteX45325" y="connsiteY45325"/>
              </a:cxn>
              <a:cxn ang="0">
                <a:pos x="connsiteX45326" y="connsiteY45326"/>
              </a:cxn>
              <a:cxn ang="0">
                <a:pos x="connsiteX45327" y="connsiteY45327"/>
              </a:cxn>
              <a:cxn ang="0">
                <a:pos x="connsiteX45328" y="connsiteY45328"/>
              </a:cxn>
              <a:cxn ang="0">
                <a:pos x="connsiteX45329" y="connsiteY45329"/>
              </a:cxn>
              <a:cxn ang="0">
                <a:pos x="connsiteX45330" y="connsiteY45330"/>
              </a:cxn>
              <a:cxn ang="0">
                <a:pos x="connsiteX45331" y="connsiteY45331"/>
              </a:cxn>
              <a:cxn ang="0">
                <a:pos x="connsiteX45332" y="connsiteY45332"/>
              </a:cxn>
              <a:cxn ang="0">
                <a:pos x="connsiteX45333" y="connsiteY45333"/>
              </a:cxn>
              <a:cxn ang="0">
                <a:pos x="connsiteX45334" y="connsiteY45334"/>
              </a:cxn>
              <a:cxn ang="0">
                <a:pos x="connsiteX45335" y="connsiteY45335"/>
              </a:cxn>
              <a:cxn ang="0">
                <a:pos x="connsiteX45336" y="connsiteY45336"/>
              </a:cxn>
              <a:cxn ang="0">
                <a:pos x="connsiteX45337" y="connsiteY45337"/>
              </a:cxn>
              <a:cxn ang="0">
                <a:pos x="connsiteX45338" y="connsiteY45338"/>
              </a:cxn>
              <a:cxn ang="0">
                <a:pos x="connsiteX45339" y="connsiteY45339"/>
              </a:cxn>
              <a:cxn ang="0">
                <a:pos x="connsiteX45340" y="connsiteY45340"/>
              </a:cxn>
              <a:cxn ang="0">
                <a:pos x="connsiteX45341" y="connsiteY45341"/>
              </a:cxn>
              <a:cxn ang="0">
                <a:pos x="connsiteX45342" y="connsiteY45342"/>
              </a:cxn>
              <a:cxn ang="0">
                <a:pos x="connsiteX45343" y="connsiteY45343"/>
              </a:cxn>
              <a:cxn ang="0">
                <a:pos x="connsiteX45344" y="connsiteY45344"/>
              </a:cxn>
              <a:cxn ang="0">
                <a:pos x="connsiteX45345" y="connsiteY45345"/>
              </a:cxn>
              <a:cxn ang="0">
                <a:pos x="connsiteX45346" y="connsiteY45346"/>
              </a:cxn>
              <a:cxn ang="0">
                <a:pos x="connsiteX45347" y="connsiteY45347"/>
              </a:cxn>
              <a:cxn ang="0">
                <a:pos x="connsiteX45348" y="connsiteY45348"/>
              </a:cxn>
              <a:cxn ang="0">
                <a:pos x="connsiteX45349" y="connsiteY45349"/>
              </a:cxn>
              <a:cxn ang="0">
                <a:pos x="connsiteX45350" y="connsiteY45350"/>
              </a:cxn>
              <a:cxn ang="0">
                <a:pos x="connsiteX45351" y="connsiteY45351"/>
              </a:cxn>
              <a:cxn ang="0">
                <a:pos x="connsiteX45352" y="connsiteY45352"/>
              </a:cxn>
              <a:cxn ang="0">
                <a:pos x="connsiteX45353" y="connsiteY45353"/>
              </a:cxn>
              <a:cxn ang="0">
                <a:pos x="connsiteX45354" y="connsiteY45354"/>
              </a:cxn>
              <a:cxn ang="0">
                <a:pos x="connsiteX45355" y="connsiteY45355"/>
              </a:cxn>
              <a:cxn ang="0">
                <a:pos x="connsiteX45356" y="connsiteY45356"/>
              </a:cxn>
              <a:cxn ang="0">
                <a:pos x="connsiteX45357" y="connsiteY45357"/>
              </a:cxn>
              <a:cxn ang="0">
                <a:pos x="connsiteX45358" y="connsiteY45358"/>
              </a:cxn>
              <a:cxn ang="0">
                <a:pos x="connsiteX45359" y="connsiteY45359"/>
              </a:cxn>
              <a:cxn ang="0">
                <a:pos x="connsiteX45360" y="connsiteY45360"/>
              </a:cxn>
              <a:cxn ang="0">
                <a:pos x="connsiteX45361" y="connsiteY45361"/>
              </a:cxn>
              <a:cxn ang="0">
                <a:pos x="connsiteX45362" y="connsiteY45362"/>
              </a:cxn>
              <a:cxn ang="0">
                <a:pos x="connsiteX45363" y="connsiteY45363"/>
              </a:cxn>
              <a:cxn ang="0">
                <a:pos x="connsiteX45364" y="connsiteY45364"/>
              </a:cxn>
              <a:cxn ang="0">
                <a:pos x="connsiteX45365" y="connsiteY45365"/>
              </a:cxn>
              <a:cxn ang="0">
                <a:pos x="connsiteX45366" y="connsiteY45366"/>
              </a:cxn>
              <a:cxn ang="0">
                <a:pos x="connsiteX45367" y="connsiteY45367"/>
              </a:cxn>
              <a:cxn ang="0">
                <a:pos x="connsiteX45368" y="connsiteY45368"/>
              </a:cxn>
              <a:cxn ang="0">
                <a:pos x="connsiteX45369" y="connsiteY45369"/>
              </a:cxn>
              <a:cxn ang="0">
                <a:pos x="connsiteX45370" y="connsiteY45370"/>
              </a:cxn>
              <a:cxn ang="0">
                <a:pos x="connsiteX45371" y="connsiteY45371"/>
              </a:cxn>
              <a:cxn ang="0">
                <a:pos x="connsiteX45372" y="connsiteY45372"/>
              </a:cxn>
              <a:cxn ang="0">
                <a:pos x="connsiteX45373" y="connsiteY45373"/>
              </a:cxn>
              <a:cxn ang="0">
                <a:pos x="connsiteX45374" y="connsiteY45374"/>
              </a:cxn>
              <a:cxn ang="0">
                <a:pos x="connsiteX45375" y="connsiteY45375"/>
              </a:cxn>
              <a:cxn ang="0">
                <a:pos x="connsiteX45376" y="connsiteY45376"/>
              </a:cxn>
              <a:cxn ang="0">
                <a:pos x="connsiteX45377" y="connsiteY45377"/>
              </a:cxn>
              <a:cxn ang="0">
                <a:pos x="connsiteX45378" y="connsiteY45378"/>
              </a:cxn>
              <a:cxn ang="0">
                <a:pos x="connsiteX45379" y="connsiteY45379"/>
              </a:cxn>
              <a:cxn ang="0">
                <a:pos x="connsiteX45380" y="connsiteY45380"/>
              </a:cxn>
              <a:cxn ang="0">
                <a:pos x="connsiteX45381" y="connsiteY45381"/>
              </a:cxn>
              <a:cxn ang="0">
                <a:pos x="connsiteX45382" y="connsiteY45382"/>
              </a:cxn>
              <a:cxn ang="0">
                <a:pos x="connsiteX45383" y="connsiteY45383"/>
              </a:cxn>
              <a:cxn ang="0">
                <a:pos x="connsiteX45384" y="connsiteY45384"/>
              </a:cxn>
              <a:cxn ang="0">
                <a:pos x="connsiteX45385" y="connsiteY45385"/>
              </a:cxn>
              <a:cxn ang="0">
                <a:pos x="connsiteX45386" y="connsiteY45386"/>
              </a:cxn>
              <a:cxn ang="0">
                <a:pos x="connsiteX45387" y="connsiteY45387"/>
              </a:cxn>
              <a:cxn ang="0">
                <a:pos x="connsiteX45388" y="connsiteY45388"/>
              </a:cxn>
              <a:cxn ang="0">
                <a:pos x="connsiteX45389" y="connsiteY45389"/>
              </a:cxn>
              <a:cxn ang="0">
                <a:pos x="connsiteX45390" y="connsiteY45390"/>
              </a:cxn>
              <a:cxn ang="0">
                <a:pos x="connsiteX45391" y="connsiteY45391"/>
              </a:cxn>
              <a:cxn ang="0">
                <a:pos x="connsiteX45392" y="connsiteY45392"/>
              </a:cxn>
              <a:cxn ang="0">
                <a:pos x="connsiteX45393" y="connsiteY45393"/>
              </a:cxn>
              <a:cxn ang="0">
                <a:pos x="connsiteX45394" y="connsiteY45394"/>
              </a:cxn>
              <a:cxn ang="0">
                <a:pos x="connsiteX45395" y="connsiteY45395"/>
              </a:cxn>
              <a:cxn ang="0">
                <a:pos x="connsiteX45396" y="connsiteY45396"/>
              </a:cxn>
              <a:cxn ang="0">
                <a:pos x="connsiteX45397" y="connsiteY45397"/>
              </a:cxn>
              <a:cxn ang="0">
                <a:pos x="connsiteX45398" y="connsiteY45398"/>
              </a:cxn>
              <a:cxn ang="0">
                <a:pos x="connsiteX45399" y="connsiteY45399"/>
              </a:cxn>
              <a:cxn ang="0">
                <a:pos x="connsiteX45400" y="connsiteY45400"/>
              </a:cxn>
              <a:cxn ang="0">
                <a:pos x="connsiteX45401" y="connsiteY45401"/>
              </a:cxn>
              <a:cxn ang="0">
                <a:pos x="connsiteX45402" y="connsiteY45402"/>
              </a:cxn>
              <a:cxn ang="0">
                <a:pos x="connsiteX45403" y="connsiteY45403"/>
              </a:cxn>
              <a:cxn ang="0">
                <a:pos x="connsiteX45404" y="connsiteY45404"/>
              </a:cxn>
              <a:cxn ang="0">
                <a:pos x="connsiteX45405" y="connsiteY45405"/>
              </a:cxn>
              <a:cxn ang="0">
                <a:pos x="connsiteX45406" y="connsiteY45406"/>
              </a:cxn>
              <a:cxn ang="0">
                <a:pos x="connsiteX45407" y="connsiteY45407"/>
              </a:cxn>
              <a:cxn ang="0">
                <a:pos x="connsiteX45408" y="connsiteY45408"/>
              </a:cxn>
              <a:cxn ang="0">
                <a:pos x="connsiteX45409" y="connsiteY45409"/>
              </a:cxn>
              <a:cxn ang="0">
                <a:pos x="connsiteX45410" y="connsiteY45410"/>
              </a:cxn>
              <a:cxn ang="0">
                <a:pos x="connsiteX45411" y="connsiteY45411"/>
              </a:cxn>
              <a:cxn ang="0">
                <a:pos x="connsiteX45412" y="connsiteY45412"/>
              </a:cxn>
              <a:cxn ang="0">
                <a:pos x="connsiteX45413" y="connsiteY45413"/>
              </a:cxn>
              <a:cxn ang="0">
                <a:pos x="connsiteX45414" y="connsiteY45414"/>
              </a:cxn>
              <a:cxn ang="0">
                <a:pos x="connsiteX45415" y="connsiteY45415"/>
              </a:cxn>
              <a:cxn ang="0">
                <a:pos x="connsiteX45416" y="connsiteY45416"/>
              </a:cxn>
              <a:cxn ang="0">
                <a:pos x="connsiteX45417" y="connsiteY45417"/>
              </a:cxn>
              <a:cxn ang="0">
                <a:pos x="connsiteX45418" y="connsiteY45418"/>
              </a:cxn>
              <a:cxn ang="0">
                <a:pos x="connsiteX45419" y="connsiteY45419"/>
              </a:cxn>
              <a:cxn ang="0">
                <a:pos x="connsiteX45420" y="connsiteY45420"/>
              </a:cxn>
              <a:cxn ang="0">
                <a:pos x="connsiteX45421" y="connsiteY45421"/>
              </a:cxn>
              <a:cxn ang="0">
                <a:pos x="connsiteX45422" y="connsiteY45422"/>
              </a:cxn>
              <a:cxn ang="0">
                <a:pos x="connsiteX45423" y="connsiteY45423"/>
              </a:cxn>
              <a:cxn ang="0">
                <a:pos x="connsiteX45424" y="connsiteY45424"/>
              </a:cxn>
              <a:cxn ang="0">
                <a:pos x="connsiteX45425" y="connsiteY45425"/>
              </a:cxn>
              <a:cxn ang="0">
                <a:pos x="connsiteX45426" y="connsiteY45426"/>
              </a:cxn>
              <a:cxn ang="0">
                <a:pos x="connsiteX45427" y="connsiteY45427"/>
              </a:cxn>
              <a:cxn ang="0">
                <a:pos x="connsiteX45428" y="connsiteY45428"/>
              </a:cxn>
              <a:cxn ang="0">
                <a:pos x="connsiteX45429" y="connsiteY45429"/>
              </a:cxn>
              <a:cxn ang="0">
                <a:pos x="connsiteX45430" y="connsiteY45430"/>
              </a:cxn>
              <a:cxn ang="0">
                <a:pos x="connsiteX45431" y="connsiteY45431"/>
              </a:cxn>
              <a:cxn ang="0">
                <a:pos x="connsiteX45432" y="connsiteY45432"/>
              </a:cxn>
              <a:cxn ang="0">
                <a:pos x="connsiteX45433" y="connsiteY45433"/>
              </a:cxn>
              <a:cxn ang="0">
                <a:pos x="connsiteX45434" y="connsiteY45434"/>
              </a:cxn>
              <a:cxn ang="0">
                <a:pos x="connsiteX45435" y="connsiteY45435"/>
              </a:cxn>
              <a:cxn ang="0">
                <a:pos x="connsiteX45436" y="connsiteY45436"/>
              </a:cxn>
              <a:cxn ang="0">
                <a:pos x="connsiteX45437" y="connsiteY45437"/>
              </a:cxn>
              <a:cxn ang="0">
                <a:pos x="connsiteX45438" y="connsiteY45438"/>
              </a:cxn>
              <a:cxn ang="0">
                <a:pos x="connsiteX45439" y="connsiteY45439"/>
              </a:cxn>
              <a:cxn ang="0">
                <a:pos x="connsiteX45440" y="connsiteY45440"/>
              </a:cxn>
              <a:cxn ang="0">
                <a:pos x="connsiteX45441" y="connsiteY45441"/>
              </a:cxn>
              <a:cxn ang="0">
                <a:pos x="connsiteX45442" y="connsiteY45442"/>
              </a:cxn>
              <a:cxn ang="0">
                <a:pos x="connsiteX45443" y="connsiteY45443"/>
              </a:cxn>
              <a:cxn ang="0">
                <a:pos x="connsiteX45444" y="connsiteY45444"/>
              </a:cxn>
              <a:cxn ang="0">
                <a:pos x="connsiteX45445" y="connsiteY45445"/>
              </a:cxn>
              <a:cxn ang="0">
                <a:pos x="connsiteX45446" y="connsiteY45446"/>
              </a:cxn>
              <a:cxn ang="0">
                <a:pos x="connsiteX45447" y="connsiteY45447"/>
              </a:cxn>
              <a:cxn ang="0">
                <a:pos x="connsiteX45448" y="connsiteY45448"/>
              </a:cxn>
              <a:cxn ang="0">
                <a:pos x="connsiteX45449" y="connsiteY45449"/>
              </a:cxn>
              <a:cxn ang="0">
                <a:pos x="connsiteX45450" y="connsiteY45450"/>
              </a:cxn>
              <a:cxn ang="0">
                <a:pos x="connsiteX45451" y="connsiteY45451"/>
              </a:cxn>
              <a:cxn ang="0">
                <a:pos x="connsiteX45452" y="connsiteY45452"/>
              </a:cxn>
              <a:cxn ang="0">
                <a:pos x="connsiteX45453" y="connsiteY45453"/>
              </a:cxn>
              <a:cxn ang="0">
                <a:pos x="connsiteX45454" y="connsiteY45454"/>
              </a:cxn>
              <a:cxn ang="0">
                <a:pos x="connsiteX45455" y="connsiteY45455"/>
              </a:cxn>
              <a:cxn ang="0">
                <a:pos x="connsiteX45456" y="connsiteY45456"/>
              </a:cxn>
              <a:cxn ang="0">
                <a:pos x="connsiteX45457" y="connsiteY45457"/>
              </a:cxn>
              <a:cxn ang="0">
                <a:pos x="connsiteX45458" y="connsiteY45458"/>
              </a:cxn>
              <a:cxn ang="0">
                <a:pos x="connsiteX45459" y="connsiteY45459"/>
              </a:cxn>
              <a:cxn ang="0">
                <a:pos x="connsiteX45460" y="connsiteY45460"/>
              </a:cxn>
              <a:cxn ang="0">
                <a:pos x="connsiteX45461" y="connsiteY45461"/>
              </a:cxn>
              <a:cxn ang="0">
                <a:pos x="connsiteX45462" y="connsiteY45462"/>
              </a:cxn>
              <a:cxn ang="0">
                <a:pos x="connsiteX45463" y="connsiteY45463"/>
              </a:cxn>
              <a:cxn ang="0">
                <a:pos x="connsiteX45464" y="connsiteY45464"/>
              </a:cxn>
              <a:cxn ang="0">
                <a:pos x="connsiteX45465" y="connsiteY45465"/>
              </a:cxn>
              <a:cxn ang="0">
                <a:pos x="connsiteX45466" y="connsiteY45466"/>
              </a:cxn>
              <a:cxn ang="0">
                <a:pos x="connsiteX45467" y="connsiteY45467"/>
              </a:cxn>
              <a:cxn ang="0">
                <a:pos x="connsiteX45468" y="connsiteY45468"/>
              </a:cxn>
              <a:cxn ang="0">
                <a:pos x="connsiteX45469" y="connsiteY45469"/>
              </a:cxn>
              <a:cxn ang="0">
                <a:pos x="connsiteX45470" y="connsiteY45470"/>
              </a:cxn>
              <a:cxn ang="0">
                <a:pos x="connsiteX45471" y="connsiteY45471"/>
              </a:cxn>
              <a:cxn ang="0">
                <a:pos x="connsiteX45472" y="connsiteY45472"/>
              </a:cxn>
              <a:cxn ang="0">
                <a:pos x="connsiteX45473" y="connsiteY45473"/>
              </a:cxn>
              <a:cxn ang="0">
                <a:pos x="connsiteX45474" y="connsiteY45474"/>
              </a:cxn>
              <a:cxn ang="0">
                <a:pos x="connsiteX45475" y="connsiteY45475"/>
              </a:cxn>
              <a:cxn ang="0">
                <a:pos x="connsiteX45476" y="connsiteY45476"/>
              </a:cxn>
              <a:cxn ang="0">
                <a:pos x="connsiteX45477" y="connsiteY45477"/>
              </a:cxn>
              <a:cxn ang="0">
                <a:pos x="connsiteX45478" y="connsiteY45478"/>
              </a:cxn>
              <a:cxn ang="0">
                <a:pos x="connsiteX45479" y="connsiteY45479"/>
              </a:cxn>
              <a:cxn ang="0">
                <a:pos x="connsiteX45480" y="connsiteY45480"/>
              </a:cxn>
              <a:cxn ang="0">
                <a:pos x="connsiteX45481" y="connsiteY45481"/>
              </a:cxn>
              <a:cxn ang="0">
                <a:pos x="connsiteX45482" y="connsiteY45482"/>
              </a:cxn>
              <a:cxn ang="0">
                <a:pos x="connsiteX45483" y="connsiteY45483"/>
              </a:cxn>
              <a:cxn ang="0">
                <a:pos x="connsiteX45484" y="connsiteY45484"/>
              </a:cxn>
              <a:cxn ang="0">
                <a:pos x="connsiteX45485" y="connsiteY45485"/>
              </a:cxn>
              <a:cxn ang="0">
                <a:pos x="connsiteX45486" y="connsiteY45486"/>
              </a:cxn>
              <a:cxn ang="0">
                <a:pos x="connsiteX45487" y="connsiteY45487"/>
              </a:cxn>
              <a:cxn ang="0">
                <a:pos x="connsiteX45488" y="connsiteY45488"/>
              </a:cxn>
              <a:cxn ang="0">
                <a:pos x="connsiteX45489" y="connsiteY45489"/>
              </a:cxn>
              <a:cxn ang="0">
                <a:pos x="connsiteX45490" y="connsiteY45490"/>
              </a:cxn>
              <a:cxn ang="0">
                <a:pos x="connsiteX45491" y="connsiteY45491"/>
              </a:cxn>
              <a:cxn ang="0">
                <a:pos x="connsiteX45492" y="connsiteY45492"/>
              </a:cxn>
              <a:cxn ang="0">
                <a:pos x="connsiteX45493" y="connsiteY45493"/>
              </a:cxn>
              <a:cxn ang="0">
                <a:pos x="connsiteX45494" y="connsiteY45494"/>
              </a:cxn>
              <a:cxn ang="0">
                <a:pos x="connsiteX45495" y="connsiteY45495"/>
              </a:cxn>
              <a:cxn ang="0">
                <a:pos x="connsiteX45496" y="connsiteY45496"/>
              </a:cxn>
              <a:cxn ang="0">
                <a:pos x="connsiteX45497" y="connsiteY45497"/>
              </a:cxn>
              <a:cxn ang="0">
                <a:pos x="connsiteX45498" y="connsiteY45498"/>
              </a:cxn>
              <a:cxn ang="0">
                <a:pos x="connsiteX45499" y="connsiteY45499"/>
              </a:cxn>
              <a:cxn ang="0">
                <a:pos x="connsiteX45500" y="connsiteY45500"/>
              </a:cxn>
              <a:cxn ang="0">
                <a:pos x="connsiteX45501" y="connsiteY45501"/>
              </a:cxn>
              <a:cxn ang="0">
                <a:pos x="connsiteX45502" y="connsiteY45502"/>
              </a:cxn>
              <a:cxn ang="0">
                <a:pos x="connsiteX45503" y="connsiteY45503"/>
              </a:cxn>
              <a:cxn ang="0">
                <a:pos x="connsiteX45504" y="connsiteY45504"/>
              </a:cxn>
              <a:cxn ang="0">
                <a:pos x="connsiteX45505" y="connsiteY45505"/>
              </a:cxn>
              <a:cxn ang="0">
                <a:pos x="connsiteX45506" y="connsiteY45506"/>
              </a:cxn>
              <a:cxn ang="0">
                <a:pos x="connsiteX45507" y="connsiteY45507"/>
              </a:cxn>
              <a:cxn ang="0">
                <a:pos x="connsiteX45508" y="connsiteY45508"/>
              </a:cxn>
              <a:cxn ang="0">
                <a:pos x="connsiteX45509" y="connsiteY45509"/>
              </a:cxn>
              <a:cxn ang="0">
                <a:pos x="connsiteX45510" y="connsiteY45510"/>
              </a:cxn>
              <a:cxn ang="0">
                <a:pos x="connsiteX45511" y="connsiteY45511"/>
              </a:cxn>
              <a:cxn ang="0">
                <a:pos x="connsiteX45512" y="connsiteY45512"/>
              </a:cxn>
              <a:cxn ang="0">
                <a:pos x="connsiteX45513" y="connsiteY45513"/>
              </a:cxn>
              <a:cxn ang="0">
                <a:pos x="connsiteX45514" y="connsiteY45514"/>
              </a:cxn>
              <a:cxn ang="0">
                <a:pos x="connsiteX45515" y="connsiteY45515"/>
              </a:cxn>
              <a:cxn ang="0">
                <a:pos x="connsiteX45516" y="connsiteY45516"/>
              </a:cxn>
              <a:cxn ang="0">
                <a:pos x="connsiteX45517" y="connsiteY45517"/>
              </a:cxn>
              <a:cxn ang="0">
                <a:pos x="connsiteX45518" y="connsiteY45518"/>
              </a:cxn>
              <a:cxn ang="0">
                <a:pos x="connsiteX45519" y="connsiteY45519"/>
              </a:cxn>
              <a:cxn ang="0">
                <a:pos x="connsiteX45520" y="connsiteY45520"/>
              </a:cxn>
              <a:cxn ang="0">
                <a:pos x="connsiteX45521" y="connsiteY45521"/>
              </a:cxn>
              <a:cxn ang="0">
                <a:pos x="connsiteX45522" y="connsiteY45522"/>
              </a:cxn>
              <a:cxn ang="0">
                <a:pos x="connsiteX45523" y="connsiteY45523"/>
              </a:cxn>
              <a:cxn ang="0">
                <a:pos x="connsiteX45524" y="connsiteY45524"/>
              </a:cxn>
              <a:cxn ang="0">
                <a:pos x="connsiteX45525" y="connsiteY45525"/>
              </a:cxn>
              <a:cxn ang="0">
                <a:pos x="connsiteX45526" y="connsiteY45526"/>
              </a:cxn>
              <a:cxn ang="0">
                <a:pos x="connsiteX45527" y="connsiteY45527"/>
              </a:cxn>
              <a:cxn ang="0">
                <a:pos x="connsiteX45528" y="connsiteY45528"/>
              </a:cxn>
              <a:cxn ang="0">
                <a:pos x="connsiteX45529" y="connsiteY45529"/>
              </a:cxn>
              <a:cxn ang="0">
                <a:pos x="connsiteX45530" y="connsiteY45530"/>
              </a:cxn>
              <a:cxn ang="0">
                <a:pos x="connsiteX45531" y="connsiteY45531"/>
              </a:cxn>
              <a:cxn ang="0">
                <a:pos x="connsiteX45532" y="connsiteY45532"/>
              </a:cxn>
              <a:cxn ang="0">
                <a:pos x="connsiteX45533" y="connsiteY45533"/>
              </a:cxn>
              <a:cxn ang="0">
                <a:pos x="connsiteX45534" y="connsiteY45534"/>
              </a:cxn>
              <a:cxn ang="0">
                <a:pos x="connsiteX45535" y="connsiteY45535"/>
              </a:cxn>
              <a:cxn ang="0">
                <a:pos x="connsiteX45536" y="connsiteY45536"/>
              </a:cxn>
              <a:cxn ang="0">
                <a:pos x="connsiteX45537" y="connsiteY45537"/>
              </a:cxn>
              <a:cxn ang="0">
                <a:pos x="connsiteX45538" y="connsiteY45538"/>
              </a:cxn>
              <a:cxn ang="0">
                <a:pos x="connsiteX45539" y="connsiteY45539"/>
              </a:cxn>
              <a:cxn ang="0">
                <a:pos x="connsiteX45540" y="connsiteY45540"/>
              </a:cxn>
              <a:cxn ang="0">
                <a:pos x="connsiteX45541" y="connsiteY45541"/>
              </a:cxn>
              <a:cxn ang="0">
                <a:pos x="connsiteX45542" y="connsiteY45542"/>
              </a:cxn>
              <a:cxn ang="0">
                <a:pos x="connsiteX45543" y="connsiteY45543"/>
              </a:cxn>
              <a:cxn ang="0">
                <a:pos x="connsiteX45544" y="connsiteY45544"/>
              </a:cxn>
              <a:cxn ang="0">
                <a:pos x="connsiteX45545" y="connsiteY45545"/>
              </a:cxn>
              <a:cxn ang="0">
                <a:pos x="connsiteX45546" y="connsiteY45546"/>
              </a:cxn>
              <a:cxn ang="0">
                <a:pos x="connsiteX45547" y="connsiteY45547"/>
              </a:cxn>
              <a:cxn ang="0">
                <a:pos x="connsiteX45548" y="connsiteY45548"/>
              </a:cxn>
              <a:cxn ang="0">
                <a:pos x="connsiteX45549" y="connsiteY45549"/>
              </a:cxn>
              <a:cxn ang="0">
                <a:pos x="connsiteX45550" y="connsiteY45550"/>
              </a:cxn>
              <a:cxn ang="0">
                <a:pos x="connsiteX45551" y="connsiteY45551"/>
              </a:cxn>
              <a:cxn ang="0">
                <a:pos x="connsiteX45552" y="connsiteY45552"/>
              </a:cxn>
              <a:cxn ang="0">
                <a:pos x="connsiteX45553" y="connsiteY45553"/>
              </a:cxn>
              <a:cxn ang="0">
                <a:pos x="connsiteX45554" y="connsiteY45554"/>
              </a:cxn>
              <a:cxn ang="0">
                <a:pos x="connsiteX45555" y="connsiteY45555"/>
              </a:cxn>
              <a:cxn ang="0">
                <a:pos x="connsiteX45556" y="connsiteY45556"/>
              </a:cxn>
              <a:cxn ang="0">
                <a:pos x="connsiteX45557" y="connsiteY45557"/>
              </a:cxn>
              <a:cxn ang="0">
                <a:pos x="connsiteX45558" y="connsiteY45558"/>
              </a:cxn>
              <a:cxn ang="0">
                <a:pos x="connsiteX45559" y="connsiteY45559"/>
              </a:cxn>
              <a:cxn ang="0">
                <a:pos x="connsiteX45560" y="connsiteY45560"/>
              </a:cxn>
              <a:cxn ang="0">
                <a:pos x="connsiteX45561" y="connsiteY45561"/>
              </a:cxn>
              <a:cxn ang="0">
                <a:pos x="connsiteX45562" y="connsiteY45562"/>
              </a:cxn>
              <a:cxn ang="0">
                <a:pos x="connsiteX45563" y="connsiteY45563"/>
              </a:cxn>
              <a:cxn ang="0">
                <a:pos x="connsiteX45564" y="connsiteY45564"/>
              </a:cxn>
              <a:cxn ang="0">
                <a:pos x="connsiteX45565" y="connsiteY45565"/>
              </a:cxn>
              <a:cxn ang="0">
                <a:pos x="connsiteX45566" y="connsiteY45566"/>
              </a:cxn>
              <a:cxn ang="0">
                <a:pos x="connsiteX45567" y="connsiteY45567"/>
              </a:cxn>
              <a:cxn ang="0">
                <a:pos x="connsiteX45568" y="connsiteY45568"/>
              </a:cxn>
              <a:cxn ang="0">
                <a:pos x="connsiteX45569" y="connsiteY45569"/>
              </a:cxn>
              <a:cxn ang="0">
                <a:pos x="connsiteX45570" y="connsiteY45570"/>
              </a:cxn>
              <a:cxn ang="0">
                <a:pos x="connsiteX45571" y="connsiteY45571"/>
              </a:cxn>
              <a:cxn ang="0">
                <a:pos x="connsiteX45572" y="connsiteY45572"/>
              </a:cxn>
              <a:cxn ang="0">
                <a:pos x="connsiteX45573" y="connsiteY45573"/>
              </a:cxn>
              <a:cxn ang="0">
                <a:pos x="connsiteX45574" y="connsiteY45574"/>
              </a:cxn>
              <a:cxn ang="0">
                <a:pos x="connsiteX45575" y="connsiteY45575"/>
              </a:cxn>
              <a:cxn ang="0">
                <a:pos x="connsiteX45576" y="connsiteY45576"/>
              </a:cxn>
              <a:cxn ang="0">
                <a:pos x="connsiteX45577" y="connsiteY45577"/>
              </a:cxn>
              <a:cxn ang="0">
                <a:pos x="connsiteX45578" y="connsiteY45578"/>
              </a:cxn>
              <a:cxn ang="0">
                <a:pos x="connsiteX45579" y="connsiteY45579"/>
              </a:cxn>
              <a:cxn ang="0">
                <a:pos x="connsiteX45580" y="connsiteY45580"/>
              </a:cxn>
              <a:cxn ang="0">
                <a:pos x="connsiteX45581" y="connsiteY45581"/>
              </a:cxn>
              <a:cxn ang="0">
                <a:pos x="connsiteX45582" y="connsiteY45582"/>
              </a:cxn>
              <a:cxn ang="0">
                <a:pos x="connsiteX45583" y="connsiteY45583"/>
              </a:cxn>
              <a:cxn ang="0">
                <a:pos x="connsiteX45584" y="connsiteY45584"/>
              </a:cxn>
              <a:cxn ang="0">
                <a:pos x="connsiteX45585" y="connsiteY45585"/>
              </a:cxn>
              <a:cxn ang="0">
                <a:pos x="connsiteX45586" y="connsiteY45586"/>
              </a:cxn>
              <a:cxn ang="0">
                <a:pos x="connsiteX45587" y="connsiteY45587"/>
              </a:cxn>
              <a:cxn ang="0">
                <a:pos x="connsiteX45588" y="connsiteY45588"/>
              </a:cxn>
              <a:cxn ang="0">
                <a:pos x="connsiteX45589" y="connsiteY45589"/>
              </a:cxn>
              <a:cxn ang="0">
                <a:pos x="connsiteX45590" y="connsiteY45590"/>
              </a:cxn>
              <a:cxn ang="0">
                <a:pos x="connsiteX45591" y="connsiteY45591"/>
              </a:cxn>
              <a:cxn ang="0">
                <a:pos x="connsiteX45592" y="connsiteY45592"/>
              </a:cxn>
              <a:cxn ang="0">
                <a:pos x="connsiteX45593" y="connsiteY45593"/>
              </a:cxn>
              <a:cxn ang="0">
                <a:pos x="connsiteX45594" y="connsiteY45594"/>
              </a:cxn>
              <a:cxn ang="0">
                <a:pos x="connsiteX45595" y="connsiteY45595"/>
              </a:cxn>
              <a:cxn ang="0">
                <a:pos x="connsiteX45596" y="connsiteY45596"/>
              </a:cxn>
              <a:cxn ang="0">
                <a:pos x="connsiteX45597" y="connsiteY45597"/>
              </a:cxn>
              <a:cxn ang="0">
                <a:pos x="connsiteX45598" y="connsiteY45598"/>
              </a:cxn>
              <a:cxn ang="0">
                <a:pos x="connsiteX45599" y="connsiteY45599"/>
              </a:cxn>
              <a:cxn ang="0">
                <a:pos x="connsiteX45600" y="connsiteY45600"/>
              </a:cxn>
              <a:cxn ang="0">
                <a:pos x="connsiteX45601" y="connsiteY45601"/>
              </a:cxn>
              <a:cxn ang="0">
                <a:pos x="connsiteX45602" y="connsiteY45602"/>
              </a:cxn>
              <a:cxn ang="0">
                <a:pos x="connsiteX45603" y="connsiteY45603"/>
              </a:cxn>
              <a:cxn ang="0">
                <a:pos x="connsiteX45604" y="connsiteY45604"/>
              </a:cxn>
              <a:cxn ang="0">
                <a:pos x="connsiteX45605" y="connsiteY45605"/>
              </a:cxn>
              <a:cxn ang="0">
                <a:pos x="connsiteX45606" y="connsiteY45606"/>
              </a:cxn>
              <a:cxn ang="0">
                <a:pos x="connsiteX45607" y="connsiteY45607"/>
              </a:cxn>
              <a:cxn ang="0">
                <a:pos x="connsiteX45608" y="connsiteY45608"/>
              </a:cxn>
              <a:cxn ang="0">
                <a:pos x="connsiteX45609" y="connsiteY45609"/>
              </a:cxn>
              <a:cxn ang="0">
                <a:pos x="connsiteX45610" y="connsiteY45610"/>
              </a:cxn>
              <a:cxn ang="0">
                <a:pos x="connsiteX45611" y="connsiteY45611"/>
              </a:cxn>
              <a:cxn ang="0">
                <a:pos x="connsiteX45612" y="connsiteY45612"/>
              </a:cxn>
              <a:cxn ang="0">
                <a:pos x="connsiteX45613" y="connsiteY45613"/>
              </a:cxn>
              <a:cxn ang="0">
                <a:pos x="connsiteX45614" y="connsiteY45614"/>
              </a:cxn>
              <a:cxn ang="0">
                <a:pos x="connsiteX45615" y="connsiteY45615"/>
              </a:cxn>
              <a:cxn ang="0">
                <a:pos x="connsiteX45616" y="connsiteY45616"/>
              </a:cxn>
              <a:cxn ang="0">
                <a:pos x="connsiteX45617" y="connsiteY45617"/>
              </a:cxn>
              <a:cxn ang="0">
                <a:pos x="connsiteX45618" y="connsiteY45618"/>
              </a:cxn>
              <a:cxn ang="0">
                <a:pos x="connsiteX45619" y="connsiteY45619"/>
              </a:cxn>
              <a:cxn ang="0">
                <a:pos x="connsiteX45620" y="connsiteY45620"/>
              </a:cxn>
              <a:cxn ang="0">
                <a:pos x="connsiteX45621" y="connsiteY45621"/>
              </a:cxn>
              <a:cxn ang="0">
                <a:pos x="connsiteX45622" y="connsiteY45622"/>
              </a:cxn>
              <a:cxn ang="0">
                <a:pos x="connsiteX45623" y="connsiteY45623"/>
              </a:cxn>
              <a:cxn ang="0">
                <a:pos x="connsiteX45624" y="connsiteY45624"/>
              </a:cxn>
              <a:cxn ang="0">
                <a:pos x="connsiteX45625" y="connsiteY45625"/>
              </a:cxn>
              <a:cxn ang="0">
                <a:pos x="connsiteX45626" y="connsiteY45626"/>
              </a:cxn>
              <a:cxn ang="0">
                <a:pos x="connsiteX45627" y="connsiteY45627"/>
              </a:cxn>
              <a:cxn ang="0">
                <a:pos x="connsiteX45628" y="connsiteY45628"/>
              </a:cxn>
              <a:cxn ang="0">
                <a:pos x="connsiteX45629" y="connsiteY45629"/>
              </a:cxn>
              <a:cxn ang="0">
                <a:pos x="connsiteX45630" y="connsiteY45630"/>
              </a:cxn>
              <a:cxn ang="0">
                <a:pos x="connsiteX45631" y="connsiteY45631"/>
              </a:cxn>
              <a:cxn ang="0">
                <a:pos x="connsiteX45632" y="connsiteY45632"/>
              </a:cxn>
              <a:cxn ang="0">
                <a:pos x="connsiteX45633" y="connsiteY45633"/>
              </a:cxn>
              <a:cxn ang="0">
                <a:pos x="connsiteX45634" y="connsiteY45634"/>
              </a:cxn>
              <a:cxn ang="0">
                <a:pos x="connsiteX45635" y="connsiteY45635"/>
              </a:cxn>
              <a:cxn ang="0">
                <a:pos x="connsiteX45636" y="connsiteY45636"/>
              </a:cxn>
              <a:cxn ang="0">
                <a:pos x="connsiteX45637" y="connsiteY45637"/>
              </a:cxn>
              <a:cxn ang="0">
                <a:pos x="connsiteX45638" y="connsiteY45638"/>
              </a:cxn>
              <a:cxn ang="0">
                <a:pos x="connsiteX45639" y="connsiteY45639"/>
              </a:cxn>
              <a:cxn ang="0">
                <a:pos x="connsiteX45640" y="connsiteY45640"/>
              </a:cxn>
              <a:cxn ang="0">
                <a:pos x="connsiteX45641" y="connsiteY45641"/>
              </a:cxn>
              <a:cxn ang="0">
                <a:pos x="connsiteX45642" y="connsiteY45642"/>
              </a:cxn>
              <a:cxn ang="0">
                <a:pos x="connsiteX45643" y="connsiteY45643"/>
              </a:cxn>
              <a:cxn ang="0">
                <a:pos x="connsiteX45644" y="connsiteY45644"/>
              </a:cxn>
              <a:cxn ang="0">
                <a:pos x="connsiteX45645" y="connsiteY45645"/>
              </a:cxn>
              <a:cxn ang="0">
                <a:pos x="connsiteX45646" y="connsiteY45646"/>
              </a:cxn>
              <a:cxn ang="0">
                <a:pos x="connsiteX45647" y="connsiteY45647"/>
              </a:cxn>
              <a:cxn ang="0">
                <a:pos x="connsiteX45648" y="connsiteY45648"/>
              </a:cxn>
              <a:cxn ang="0">
                <a:pos x="connsiteX45649" y="connsiteY45649"/>
              </a:cxn>
              <a:cxn ang="0">
                <a:pos x="connsiteX45650" y="connsiteY45650"/>
              </a:cxn>
              <a:cxn ang="0">
                <a:pos x="connsiteX45651" y="connsiteY45651"/>
              </a:cxn>
              <a:cxn ang="0">
                <a:pos x="connsiteX45652" y="connsiteY45652"/>
              </a:cxn>
              <a:cxn ang="0">
                <a:pos x="connsiteX45653" y="connsiteY45653"/>
              </a:cxn>
              <a:cxn ang="0">
                <a:pos x="connsiteX45654" y="connsiteY45654"/>
              </a:cxn>
              <a:cxn ang="0">
                <a:pos x="connsiteX45655" y="connsiteY45655"/>
              </a:cxn>
              <a:cxn ang="0">
                <a:pos x="connsiteX45656" y="connsiteY45656"/>
              </a:cxn>
              <a:cxn ang="0">
                <a:pos x="connsiteX45657" y="connsiteY45657"/>
              </a:cxn>
              <a:cxn ang="0">
                <a:pos x="connsiteX45658" y="connsiteY45658"/>
              </a:cxn>
              <a:cxn ang="0">
                <a:pos x="connsiteX45659" y="connsiteY45659"/>
              </a:cxn>
              <a:cxn ang="0">
                <a:pos x="connsiteX45660" y="connsiteY45660"/>
              </a:cxn>
              <a:cxn ang="0">
                <a:pos x="connsiteX45661" y="connsiteY45661"/>
              </a:cxn>
              <a:cxn ang="0">
                <a:pos x="connsiteX45662" y="connsiteY45662"/>
              </a:cxn>
              <a:cxn ang="0">
                <a:pos x="connsiteX45663" y="connsiteY45663"/>
              </a:cxn>
              <a:cxn ang="0">
                <a:pos x="connsiteX45664" y="connsiteY45664"/>
              </a:cxn>
              <a:cxn ang="0">
                <a:pos x="connsiteX45665" y="connsiteY45665"/>
              </a:cxn>
              <a:cxn ang="0">
                <a:pos x="connsiteX45666" y="connsiteY45666"/>
              </a:cxn>
              <a:cxn ang="0">
                <a:pos x="connsiteX45667" y="connsiteY45667"/>
              </a:cxn>
              <a:cxn ang="0">
                <a:pos x="connsiteX45668" y="connsiteY45668"/>
              </a:cxn>
              <a:cxn ang="0">
                <a:pos x="connsiteX45669" y="connsiteY45669"/>
              </a:cxn>
              <a:cxn ang="0">
                <a:pos x="connsiteX45670" y="connsiteY45670"/>
              </a:cxn>
              <a:cxn ang="0">
                <a:pos x="connsiteX45671" y="connsiteY45671"/>
              </a:cxn>
              <a:cxn ang="0">
                <a:pos x="connsiteX45672" y="connsiteY45672"/>
              </a:cxn>
              <a:cxn ang="0">
                <a:pos x="connsiteX45673" y="connsiteY45673"/>
              </a:cxn>
              <a:cxn ang="0">
                <a:pos x="connsiteX45674" y="connsiteY45674"/>
              </a:cxn>
              <a:cxn ang="0">
                <a:pos x="connsiteX45675" y="connsiteY45675"/>
              </a:cxn>
              <a:cxn ang="0">
                <a:pos x="connsiteX45676" y="connsiteY45676"/>
              </a:cxn>
              <a:cxn ang="0">
                <a:pos x="connsiteX45677" y="connsiteY45677"/>
              </a:cxn>
              <a:cxn ang="0">
                <a:pos x="connsiteX45678" y="connsiteY45678"/>
              </a:cxn>
              <a:cxn ang="0">
                <a:pos x="connsiteX45679" y="connsiteY45679"/>
              </a:cxn>
              <a:cxn ang="0">
                <a:pos x="connsiteX45680" y="connsiteY45680"/>
              </a:cxn>
              <a:cxn ang="0">
                <a:pos x="connsiteX45681" y="connsiteY45681"/>
              </a:cxn>
              <a:cxn ang="0">
                <a:pos x="connsiteX45682" y="connsiteY45682"/>
              </a:cxn>
              <a:cxn ang="0">
                <a:pos x="connsiteX45683" y="connsiteY45683"/>
              </a:cxn>
              <a:cxn ang="0">
                <a:pos x="connsiteX45684" y="connsiteY45684"/>
              </a:cxn>
              <a:cxn ang="0">
                <a:pos x="connsiteX45685" y="connsiteY45685"/>
              </a:cxn>
              <a:cxn ang="0">
                <a:pos x="connsiteX45686" y="connsiteY45686"/>
              </a:cxn>
              <a:cxn ang="0">
                <a:pos x="connsiteX45687" y="connsiteY45687"/>
              </a:cxn>
              <a:cxn ang="0">
                <a:pos x="connsiteX45688" y="connsiteY45688"/>
              </a:cxn>
              <a:cxn ang="0">
                <a:pos x="connsiteX45689" y="connsiteY45689"/>
              </a:cxn>
              <a:cxn ang="0">
                <a:pos x="connsiteX45690" y="connsiteY45690"/>
              </a:cxn>
              <a:cxn ang="0">
                <a:pos x="connsiteX45691" y="connsiteY45691"/>
              </a:cxn>
              <a:cxn ang="0">
                <a:pos x="connsiteX45692" y="connsiteY45692"/>
              </a:cxn>
              <a:cxn ang="0">
                <a:pos x="connsiteX45693" y="connsiteY45693"/>
              </a:cxn>
              <a:cxn ang="0">
                <a:pos x="connsiteX45694" y="connsiteY45694"/>
              </a:cxn>
              <a:cxn ang="0">
                <a:pos x="connsiteX45695" y="connsiteY45695"/>
              </a:cxn>
              <a:cxn ang="0">
                <a:pos x="connsiteX45696" y="connsiteY45696"/>
              </a:cxn>
              <a:cxn ang="0">
                <a:pos x="connsiteX45697" y="connsiteY45697"/>
              </a:cxn>
              <a:cxn ang="0">
                <a:pos x="connsiteX45698" y="connsiteY45698"/>
              </a:cxn>
              <a:cxn ang="0">
                <a:pos x="connsiteX45699" y="connsiteY45699"/>
              </a:cxn>
              <a:cxn ang="0">
                <a:pos x="connsiteX45700" y="connsiteY45700"/>
              </a:cxn>
              <a:cxn ang="0">
                <a:pos x="connsiteX45701" y="connsiteY45701"/>
              </a:cxn>
              <a:cxn ang="0">
                <a:pos x="connsiteX45702" y="connsiteY45702"/>
              </a:cxn>
              <a:cxn ang="0">
                <a:pos x="connsiteX45703" y="connsiteY45703"/>
              </a:cxn>
              <a:cxn ang="0">
                <a:pos x="connsiteX45704" y="connsiteY45704"/>
              </a:cxn>
              <a:cxn ang="0">
                <a:pos x="connsiteX45705" y="connsiteY45705"/>
              </a:cxn>
              <a:cxn ang="0">
                <a:pos x="connsiteX45706" y="connsiteY45706"/>
              </a:cxn>
              <a:cxn ang="0">
                <a:pos x="connsiteX45707" y="connsiteY45707"/>
              </a:cxn>
              <a:cxn ang="0">
                <a:pos x="connsiteX45708" y="connsiteY45708"/>
              </a:cxn>
              <a:cxn ang="0">
                <a:pos x="connsiteX45709" y="connsiteY45709"/>
              </a:cxn>
              <a:cxn ang="0">
                <a:pos x="connsiteX45710" y="connsiteY45710"/>
              </a:cxn>
              <a:cxn ang="0">
                <a:pos x="connsiteX45711" y="connsiteY45711"/>
              </a:cxn>
              <a:cxn ang="0">
                <a:pos x="connsiteX45712" y="connsiteY45712"/>
              </a:cxn>
              <a:cxn ang="0">
                <a:pos x="connsiteX45713" y="connsiteY45713"/>
              </a:cxn>
              <a:cxn ang="0">
                <a:pos x="connsiteX45714" y="connsiteY45714"/>
              </a:cxn>
              <a:cxn ang="0">
                <a:pos x="connsiteX45715" y="connsiteY45715"/>
              </a:cxn>
              <a:cxn ang="0">
                <a:pos x="connsiteX45716" y="connsiteY45716"/>
              </a:cxn>
              <a:cxn ang="0">
                <a:pos x="connsiteX45717" y="connsiteY45717"/>
              </a:cxn>
              <a:cxn ang="0">
                <a:pos x="connsiteX45718" y="connsiteY45718"/>
              </a:cxn>
              <a:cxn ang="0">
                <a:pos x="connsiteX45719" y="connsiteY45719"/>
              </a:cxn>
              <a:cxn ang="0">
                <a:pos x="connsiteX45720" y="connsiteY45720"/>
              </a:cxn>
              <a:cxn ang="0">
                <a:pos x="connsiteX45721" y="connsiteY45721"/>
              </a:cxn>
              <a:cxn ang="0">
                <a:pos x="connsiteX45722" y="connsiteY45722"/>
              </a:cxn>
              <a:cxn ang="0">
                <a:pos x="connsiteX45723" y="connsiteY45723"/>
              </a:cxn>
              <a:cxn ang="0">
                <a:pos x="connsiteX45724" y="connsiteY45724"/>
              </a:cxn>
              <a:cxn ang="0">
                <a:pos x="connsiteX45725" y="connsiteY45725"/>
              </a:cxn>
              <a:cxn ang="0">
                <a:pos x="connsiteX45726" y="connsiteY45726"/>
              </a:cxn>
              <a:cxn ang="0">
                <a:pos x="connsiteX45727" y="connsiteY45727"/>
              </a:cxn>
              <a:cxn ang="0">
                <a:pos x="connsiteX45728" y="connsiteY45728"/>
              </a:cxn>
              <a:cxn ang="0">
                <a:pos x="connsiteX45729" y="connsiteY45729"/>
              </a:cxn>
              <a:cxn ang="0">
                <a:pos x="connsiteX45730" y="connsiteY45730"/>
              </a:cxn>
              <a:cxn ang="0">
                <a:pos x="connsiteX45731" y="connsiteY45731"/>
              </a:cxn>
              <a:cxn ang="0">
                <a:pos x="connsiteX45732" y="connsiteY45732"/>
              </a:cxn>
              <a:cxn ang="0">
                <a:pos x="connsiteX45733" y="connsiteY45733"/>
              </a:cxn>
              <a:cxn ang="0">
                <a:pos x="connsiteX45734" y="connsiteY45734"/>
              </a:cxn>
              <a:cxn ang="0">
                <a:pos x="connsiteX45735" y="connsiteY45735"/>
              </a:cxn>
              <a:cxn ang="0">
                <a:pos x="connsiteX45736" y="connsiteY45736"/>
              </a:cxn>
              <a:cxn ang="0">
                <a:pos x="connsiteX45737" y="connsiteY45737"/>
              </a:cxn>
              <a:cxn ang="0">
                <a:pos x="connsiteX45738" y="connsiteY45738"/>
              </a:cxn>
              <a:cxn ang="0">
                <a:pos x="connsiteX45739" y="connsiteY45739"/>
              </a:cxn>
              <a:cxn ang="0">
                <a:pos x="connsiteX45740" y="connsiteY45740"/>
              </a:cxn>
              <a:cxn ang="0">
                <a:pos x="connsiteX45741" y="connsiteY45741"/>
              </a:cxn>
              <a:cxn ang="0">
                <a:pos x="connsiteX45742" y="connsiteY45742"/>
              </a:cxn>
              <a:cxn ang="0">
                <a:pos x="connsiteX45743" y="connsiteY45743"/>
              </a:cxn>
              <a:cxn ang="0">
                <a:pos x="connsiteX45744" y="connsiteY45744"/>
              </a:cxn>
              <a:cxn ang="0">
                <a:pos x="connsiteX45745" y="connsiteY45745"/>
              </a:cxn>
              <a:cxn ang="0">
                <a:pos x="connsiteX45746" y="connsiteY45746"/>
              </a:cxn>
              <a:cxn ang="0">
                <a:pos x="connsiteX45747" y="connsiteY45747"/>
              </a:cxn>
              <a:cxn ang="0">
                <a:pos x="connsiteX45748" y="connsiteY45748"/>
              </a:cxn>
              <a:cxn ang="0">
                <a:pos x="connsiteX45749" y="connsiteY45749"/>
              </a:cxn>
              <a:cxn ang="0">
                <a:pos x="connsiteX45750" y="connsiteY45750"/>
              </a:cxn>
              <a:cxn ang="0">
                <a:pos x="connsiteX45751" y="connsiteY45751"/>
              </a:cxn>
              <a:cxn ang="0">
                <a:pos x="connsiteX45752" y="connsiteY45752"/>
              </a:cxn>
              <a:cxn ang="0">
                <a:pos x="connsiteX45753" y="connsiteY45753"/>
              </a:cxn>
              <a:cxn ang="0">
                <a:pos x="connsiteX45754" y="connsiteY45754"/>
              </a:cxn>
              <a:cxn ang="0">
                <a:pos x="connsiteX45755" y="connsiteY45755"/>
              </a:cxn>
              <a:cxn ang="0">
                <a:pos x="connsiteX45756" y="connsiteY45756"/>
              </a:cxn>
              <a:cxn ang="0">
                <a:pos x="connsiteX45757" y="connsiteY45757"/>
              </a:cxn>
              <a:cxn ang="0">
                <a:pos x="connsiteX45758" y="connsiteY45758"/>
              </a:cxn>
              <a:cxn ang="0">
                <a:pos x="connsiteX45759" y="connsiteY45759"/>
              </a:cxn>
              <a:cxn ang="0">
                <a:pos x="connsiteX45760" y="connsiteY45760"/>
              </a:cxn>
              <a:cxn ang="0">
                <a:pos x="connsiteX45761" y="connsiteY45761"/>
              </a:cxn>
              <a:cxn ang="0">
                <a:pos x="connsiteX45762" y="connsiteY45762"/>
              </a:cxn>
              <a:cxn ang="0">
                <a:pos x="connsiteX45763" y="connsiteY45763"/>
              </a:cxn>
              <a:cxn ang="0">
                <a:pos x="connsiteX45764" y="connsiteY45764"/>
              </a:cxn>
              <a:cxn ang="0">
                <a:pos x="connsiteX45765" y="connsiteY45765"/>
              </a:cxn>
              <a:cxn ang="0">
                <a:pos x="connsiteX45766" y="connsiteY45766"/>
              </a:cxn>
              <a:cxn ang="0">
                <a:pos x="connsiteX45767" y="connsiteY45767"/>
              </a:cxn>
              <a:cxn ang="0">
                <a:pos x="connsiteX45768" y="connsiteY45768"/>
              </a:cxn>
              <a:cxn ang="0">
                <a:pos x="connsiteX45769" y="connsiteY45769"/>
              </a:cxn>
              <a:cxn ang="0">
                <a:pos x="connsiteX45770" y="connsiteY45770"/>
              </a:cxn>
              <a:cxn ang="0">
                <a:pos x="connsiteX45771" y="connsiteY45771"/>
              </a:cxn>
              <a:cxn ang="0">
                <a:pos x="connsiteX45772" y="connsiteY45772"/>
              </a:cxn>
              <a:cxn ang="0">
                <a:pos x="connsiteX45773" y="connsiteY45773"/>
              </a:cxn>
              <a:cxn ang="0">
                <a:pos x="connsiteX45774" y="connsiteY45774"/>
              </a:cxn>
              <a:cxn ang="0">
                <a:pos x="connsiteX45775" y="connsiteY45775"/>
              </a:cxn>
              <a:cxn ang="0">
                <a:pos x="connsiteX45776" y="connsiteY45776"/>
              </a:cxn>
              <a:cxn ang="0">
                <a:pos x="connsiteX45777" y="connsiteY45777"/>
              </a:cxn>
              <a:cxn ang="0">
                <a:pos x="connsiteX45778" y="connsiteY45778"/>
              </a:cxn>
              <a:cxn ang="0">
                <a:pos x="connsiteX45779" y="connsiteY45779"/>
              </a:cxn>
              <a:cxn ang="0">
                <a:pos x="connsiteX45780" y="connsiteY45780"/>
              </a:cxn>
              <a:cxn ang="0">
                <a:pos x="connsiteX45781" y="connsiteY45781"/>
              </a:cxn>
              <a:cxn ang="0">
                <a:pos x="connsiteX45782" y="connsiteY45782"/>
              </a:cxn>
              <a:cxn ang="0">
                <a:pos x="connsiteX45783" y="connsiteY45783"/>
              </a:cxn>
              <a:cxn ang="0">
                <a:pos x="connsiteX45784" y="connsiteY45784"/>
              </a:cxn>
              <a:cxn ang="0">
                <a:pos x="connsiteX45785" y="connsiteY45785"/>
              </a:cxn>
              <a:cxn ang="0">
                <a:pos x="connsiteX45786" y="connsiteY45786"/>
              </a:cxn>
              <a:cxn ang="0">
                <a:pos x="connsiteX45787" y="connsiteY45787"/>
              </a:cxn>
              <a:cxn ang="0">
                <a:pos x="connsiteX45788" y="connsiteY45788"/>
              </a:cxn>
              <a:cxn ang="0">
                <a:pos x="connsiteX45789" y="connsiteY45789"/>
              </a:cxn>
              <a:cxn ang="0">
                <a:pos x="connsiteX45790" y="connsiteY45790"/>
              </a:cxn>
              <a:cxn ang="0">
                <a:pos x="connsiteX45791" y="connsiteY45791"/>
              </a:cxn>
              <a:cxn ang="0">
                <a:pos x="connsiteX45792" y="connsiteY45792"/>
              </a:cxn>
              <a:cxn ang="0">
                <a:pos x="connsiteX45793" y="connsiteY45793"/>
              </a:cxn>
              <a:cxn ang="0">
                <a:pos x="connsiteX45794" y="connsiteY45794"/>
              </a:cxn>
              <a:cxn ang="0">
                <a:pos x="connsiteX45795" y="connsiteY45795"/>
              </a:cxn>
              <a:cxn ang="0">
                <a:pos x="connsiteX45796" y="connsiteY45796"/>
              </a:cxn>
              <a:cxn ang="0">
                <a:pos x="connsiteX45797" y="connsiteY45797"/>
              </a:cxn>
              <a:cxn ang="0">
                <a:pos x="connsiteX45798" y="connsiteY45798"/>
              </a:cxn>
              <a:cxn ang="0">
                <a:pos x="connsiteX45799" y="connsiteY45799"/>
              </a:cxn>
              <a:cxn ang="0">
                <a:pos x="connsiteX45800" y="connsiteY45800"/>
              </a:cxn>
              <a:cxn ang="0">
                <a:pos x="connsiteX45801" y="connsiteY45801"/>
              </a:cxn>
              <a:cxn ang="0">
                <a:pos x="connsiteX45802" y="connsiteY45802"/>
              </a:cxn>
              <a:cxn ang="0">
                <a:pos x="connsiteX45803" y="connsiteY45803"/>
              </a:cxn>
              <a:cxn ang="0">
                <a:pos x="connsiteX45804" y="connsiteY45804"/>
              </a:cxn>
              <a:cxn ang="0">
                <a:pos x="connsiteX45805" y="connsiteY45805"/>
              </a:cxn>
              <a:cxn ang="0">
                <a:pos x="connsiteX45806" y="connsiteY45806"/>
              </a:cxn>
              <a:cxn ang="0">
                <a:pos x="connsiteX45807" y="connsiteY45807"/>
              </a:cxn>
              <a:cxn ang="0">
                <a:pos x="connsiteX45808" y="connsiteY45808"/>
              </a:cxn>
              <a:cxn ang="0">
                <a:pos x="connsiteX45809" y="connsiteY45809"/>
              </a:cxn>
              <a:cxn ang="0">
                <a:pos x="connsiteX45810" y="connsiteY45810"/>
              </a:cxn>
              <a:cxn ang="0">
                <a:pos x="connsiteX45811" y="connsiteY45811"/>
              </a:cxn>
              <a:cxn ang="0">
                <a:pos x="connsiteX45812" y="connsiteY45812"/>
              </a:cxn>
              <a:cxn ang="0">
                <a:pos x="connsiteX45813" y="connsiteY45813"/>
              </a:cxn>
              <a:cxn ang="0">
                <a:pos x="connsiteX45814" y="connsiteY45814"/>
              </a:cxn>
              <a:cxn ang="0">
                <a:pos x="connsiteX45815" y="connsiteY45815"/>
              </a:cxn>
              <a:cxn ang="0">
                <a:pos x="connsiteX45816" y="connsiteY45816"/>
              </a:cxn>
              <a:cxn ang="0">
                <a:pos x="connsiteX45817" y="connsiteY45817"/>
              </a:cxn>
              <a:cxn ang="0">
                <a:pos x="connsiteX45818" y="connsiteY45818"/>
              </a:cxn>
              <a:cxn ang="0">
                <a:pos x="connsiteX45819" y="connsiteY45819"/>
              </a:cxn>
              <a:cxn ang="0">
                <a:pos x="connsiteX45820" y="connsiteY45820"/>
              </a:cxn>
              <a:cxn ang="0">
                <a:pos x="connsiteX45821" y="connsiteY45821"/>
              </a:cxn>
              <a:cxn ang="0">
                <a:pos x="connsiteX45822" y="connsiteY45822"/>
              </a:cxn>
              <a:cxn ang="0">
                <a:pos x="connsiteX45823" y="connsiteY45823"/>
              </a:cxn>
              <a:cxn ang="0">
                <a:pos x="connsiteX45824" y="connsiteY45824"/>
              </a:cxn>
              <a:cxn ang="0">
                <a:pos x="connsiteX45825" y="connsiteY45825"/>
              </a:cxn>
              <a:cxn ang="0">
                <a:pos x="connsiteX45826" y="connsiteY45826"/>
              </a:cxn>
              <a:cxn ang="0">
                <a:pos x="connsiteX45827" y="connsiteY45827"/>
              </a:cxn>
              <a:cxn ang="0">
                <a:pos x="connsiteX45828" y="connsiteY45828"/>
              </a:cxn>
              <a:cxn ang="0">
                <a:pos x="connsiteX45829" y="connsiteY45829"/>
              </a:cxn>
              <a:cxn ang="0">
                <a:pos x="connsiteX45830" y="connsiteY45830"/>
              </a:cxn>
              <a:cxn ang="0">
                <a:pos x="connsiteX45831" y="connsiteY45831"/>
              </a:cxn>
              <a:cxn ang="0">
                <a:pos x="connsiteX45832" y="connsiteY45832"/>
              </a:cxn>
              <a:cxn ang="0">
                <a:pos x="connsiteX45833" y="connsiteY45833"/>
              </a:cxn>
              <a:cxn ang="0">
                <a:pos x="connsiteX45834" y="connsiteY45834"/>
              </a:cxn>
              <a:cxn ang="0">
                <a:pos x="connsiteX45835" y="connsiteY45835"/>
              </a:cxn>
              <a:cxn ang="0">
                <a:pos x="connsiteX45836" y="connsiteY45836"/>
              </a:cxn>
              <a:cxn ang="0">
                <a:pos x="connsiteX45837" y="connsiteY45837"/>
              </a:cxn>
              <a:cxn ang="0">
                <a:pos x="connsiteX45838" y="connsiteY45838"/>
              </a:cxn>
              <a:cxn ang="0">
                <a:pos x="connsiteX45839" y="connsiteY45839"/>
              </a:cxn>
              <a:cxn ang="0">
                <a:pos x="connsiteX45840" y="connsiteY45840"/>
              </a:cxn>
              <a:cxn ang="0">
                <a:pos x="connsiteX45841" y="connsiteY45841"/>
              </a:cxn>
              <a:cxn ang="0">
                <a:pos x="connsiteX45842" y="connsiteY45842"/>
              </a:cxn>
              <a:cxn ang="0">
                <a:pos x="connsiteX45843" y="connsiteY45843"/>
              </a:cxn>
              <a:cxn ang="0">
                <a:pos x="connsiteX45844" y="connsiteY45844"/>
              </a:cxn>
              <a:cxn ang="0">
                <a:pos x="connsiteX45845" y="connsiteY45845"/>
              </a:cxn>
              <a:cxn ang="0">
                <a:pos x="connsiteX45846" y="connsiteY45846"/>
              </a:cxn>
              <a:cxn ang="0">
                <a:pos x="connsiteX45847" y="connsiteY45847"/>
              </a:cxn>
              <a:cxn ang="0">
                <a:pos x="connsiteX45848" y="connsiteY45848"/>
              </a:cxn>
              <a:cxn ang="0">
                <a:pos x="connsiteX45849" y="connsiteY45849"/>
              </a:cxn>
              <a:cxn ang="0">
                <a:pos x="connsiteX45850" y="connsiteY45850"/>
              </a:cxn>
              <a:cxn ang="0">
                <a:pos x="connsiteX45851" y="connsiteY45851"/>
              </a:cxn>
              <a:cxn ang="0">
                <a:pos x="connsiteX45852" y="connsiteY45852"/>
              </a:cxn>
              <a:cxn ang="0">
                <a:pos x="connsiteX45853" y="connsiteY45853"/>
              </a:cxn>
              <a:cxn ang="0">
                <a:pos x="connsiteX45854" y="connsiteY45854"/>
              </a:cxn>
              <a:cxn ang="0">
                <a:pos x="connsiteX45855" y="connsiteY45855"/>
              </a:cxn>
              <a:cxn ang="0">
                <a:pos x="connsiteX45856" y="connsiteY45856"/>
              </a:cxn>
              <a:cxn ang="0">
                <a:pos x="connsiteX45857" y="connsiteY45857"/>
              </a:cxn>
              <a:cxn ang="0">
                <a:pos x="connsiteX45858" y="connsiteY45858"/>
              </a:cxn>
              <a:cxn ang="0">
                <a:pos x="connsiteX45859" y="connsiteY45859"/>
              </a:cxn>
              <a:cxn ang="0">
                <a:pos x="connsiteX45860" y="connsiteY45860"/>
              </a:cxn>
              <a:cxn ang="0">
                <a:pos x="connsiteX45861" y="connsiteY45861"/>
              </a:cxn>
              <a:cxn ang="0">
                <a:pos x="connsiteX45862" y="connsiteY45862"/>
              </a:cxn>
              <a:cxn ang="0">
                <a:pos x="connsiteX45863" y="connsiteY45863"/>
              </a:cxn>
              <a:cxn ang="0">
                <a:pos x="connsiteX45864" y="connsiteY45864"/>
              </a:cxn>
              <a:cxn ang="0">
                <a:pos x="connsiteX45865" y="connsiteY45865"/>
              </a:cxn>
              <a:cxn ang="0">
                <a:pos x="connsiteX45866" y="connsiteY45866"/>
              </a:cxn>
              <a:cxn ang="0">
                <a:pos x="connsiteX45867" y="connsiteY45867"/>
              </a:cxn>
              <a:cxn ang="0">
                <a:pos x="connsiteX45868" y="connsiteY45868"/>
              </a:cxn>
              <a:cxn ang="0">
                <a:pos x="connsiteX45869" y="connsiteY45869"/>
              </a:cxn>
              <a:cxn ang="0">
                <a:pos x="connsiteX45870" y="connsiteY45870"/>
              </a:cxn>
              <a:cxn ang="0">
                <a:pos x="connsiteX45871" y="connsiteY45871"/>
              </a:cxn>
              <a:cxn ang="0">
                <a:pos x="connsiteX45872" y="connsiteY45872"/>
              </a:cxn>
              <a:cxn ang="0">
                <a:pos x="connsiteX45873" y="connsiteY45873"/>
              </a:cxn>
              <a:cxn ang="0">
                <a:pos x="connsiteX45874" y="connsiteY45874"/>
              </a:cxn>
              <a:cxn ang="0">
                <a:pos x="connsiteX45875" y="connsiteY45875"/>
              </a:cxn>
              <a:cxn ang="0">
                <a:pos x="connsiteX45876" y="connsiteY45876"/>
              </a:cxn>
              <a:cxn ang="0">
                <a:pos x="connsiteX45877" y="connsiteY45877"/>
              </a:cxn>
              <a:cxn ang="0">
                <a:pos x="connsiteX45878" y="connsiteY45878"/>
              </a:cxn>
              <a:cxn ang="0">
                <a:pos x="connsiteX45879" y="connsiteY45879"/>
              </a:cxn>
              <a:cxn ang="0">
                <a:pos x="connsiteX45880" y="connsiteY45880"/>
              </a:cxn>
              <a:cxn ang="0">
                <a:pos x="connsiteX45881" y="connsiteY45881"/>
              </a:cxn>
              <a:cxn ang="0">
                <a:pos x="connsiteX45882" y="connsiteY45882"/>
              </a:cxn>
              <a:cxn ang="0">
                <a:pos x="connsiteX45883" y="connsiteY45883"/>
              </a:cxn>
              <a:cxn ang="0">
                <a:pos x="connsiteX45884" y="connsiteY45884"/>
              </a:cxn>
              <a:cxn ang="0">
                <a:pos x="connsiteX45885" y="connsiteY45885"/>
              </a:cxn>
              <a:cxn ang="0">
                <a:pos x="connsiteX45886" y="connsiteY45886"/>
              </a:cxn>
              <a:cxn ang="0">
                <a:pos x="connsiteX45887" y="connsiteY45887"/>
              </a:cxn>
              <a:cxn ang="0">
                <a:pos x="connsiteX45888" y="connsiteY45888"/>
              </a:cxn>
              <a:cxn ang="0">
                <a:pos x="connsiteX45889" y="connsiteY45889"/>
              </a:cxn>
              <a:cxn ang="0">
                <a:pos x="connsiteX45890" y="connsiteY45890"/>
              </a:cxn>
              <a:cxn ang="0">
                <a:pos x="connsiteX45891" y="connsiteY45891"/>
              </a:cxn>
              <a:cxn ang="0">
                <a:pos x="connsiteX45892" y="connsiteY45892"/>
              </a:cxn>
              <a:cxn ang="0">
                <a:pos x="connsiteX45893" y="connsiteY45893"/>
              </a:cxn>
              <a:cxn ang="0">
                <a:pos x="connsiteX45894" y="connsiteY45894"/>
              </a:cxn>
              <a:cxn ang="0">
                <a:pos x="connsiteX45895" y="connsiteY45895"/>
              </a:cxn>
              <a:cxn ang="0">
                <a:pos x="connsiteX45896" y="connsiteY45896"/>
              </a:cxn>
              <a:cxn ang="0">
                <a:pos x="connsiteX45897" y="connsiteY45897"/>
              </a:cxn>
              <a:cxn ang="0">
                <a:pos x="connsiteX45898" y="connsiteY45898"/>
              </a:cxn>
              <a:cxn ang="0">
                <a:pos x="connsiteX45899" y="connsiteY45899"/>
              </a:cxn>
              <a:cxn ang="0">
                <a:pos x="connsiteX45900" y="connsiteY45900"/>
              </a:cxn>
              <a:cxn ang="0">
                <a:pos x="connsiteX45901" y="connsiteY45901"/>
              </a:cxn>
              <a:cxn ang="0">
                <a:pos x="connsiteX45902" y="connsiteY45902"/>
              </a:cxn>
              <a:cxn ang="0">
                <a:pos x="connsiteX45903" y="connsiteY45903"/>
              </a:cxn>
              <a:cxn ang="0">
                <a:pos x="connsiteX45904" y="connsiteY45904"/>
              </a:cxn>
              <a:cxn ang="0">
                <a:pos x="connsiteX45905" y="connsiteY45905"/>
              </a:cxn>
              <a:cxn ang="0">
                <a:pos x="connsiteX45906" y="connsiteY45906"/>
              </a:cxn>
              <a:cxn ang="0">
                <a:pos x="connsiteX45907" y="connsiteY45907"/>
              </a:cxn>
              <a:cxn ang="0">
                <a:pos x="connsiteX45908" y="connsiteY45908"/>
              </a:cxn>
              <a:cxn ang="0">
                <a:pos x="connsiteX45909" y="connsiteY45909"/>
              </a:cxn>
              <a:cxn ang="0">
                <a:pos x="connsiteX45910" y="connsiteY45910"/>
              </a:cxn>
              <a:cxn ang="0">
                <a:pos x="connsiteX45911" y="connsiteY45911"/>
              </a:cxn>
              <a:cxn ang="0">
                <a:pos x="connsiteX45912" y="connsiteY45912"/>
              </a:cxn>
              <a:cxn ang="0">
                <a:pos x="connsiteX45913" y="connsiteY45913"/>
              </a:cxn>
              <a:cxn ang="0">
                <a:pos x="connsiteX45914" y="connsiteY45914"/>
              </a:cxn>
              <a:cxn ang="0">
                <a:pos x="connsiteX45915" y="connsiteY45915"/>
              </a:cxn>
              <a:cxn ang="0">
                <a:pos x="connsiteX45916" y="connsiteY45916"/>
              </a:cxn>
              <a:cxn ang="0">
                <a:pos x="connsiteX45917" y="connsiteY45917"/>
              </a:cxn>
              <a:cxn ang="0">
                <a:pos x="connsiteX45918" y="connsiteY45918"/>
              </a:cxn>
              <a:cxn ang="0">
                <a:pos x="connsiteX45919" y="connsiteY45919"/>
              </a:cxn>
              <a:cxn ang="0">
                <a:pos x="connsiteX45920" y="connsiteY45920"/>
              </a:cxn>
              <a:cxn ang="0">
                <a:pos x="connsiteX45921" y="connsiteY45921"/>
              </a:cxn>
              <a:cxn ang="0">
                <a:pos x="connsiteX45922" y="connsiteY45922"/>
              </a:cxn>
              <a:cxn ang="0">
                <a:pos x="connsiteX45923" y="connsiteY45923"/>
              </a:cxn>
              <a:cxn ang="0">
                <a:pos x="connsiteX45924" y="connsiteY45924"/>
              </a:cxn>
              <a:cxn ang="0">
                <a:pos x="connsiteX45925" y="connsiteY45925"/>
              </a:cxn>
              <a:cxn ang="0">
                <a:pos x="connsiteX45926" y="connsiteY45926"/>
              </a:cxn>
              <a:cxn ang="0">
                <a:pos x="connsiteX45927" y="connsiteY45927"/>
              </a:cxn>
              <a:cxn ang="0">
                <a:pos x="connsiteX45928" y="connsiteY45928"/>
              </a:cxn>
              <a:cxn ang="0">
                <a:pos x="connsiteX45929" y="connsiteY45929"/>
              </a:cxn>
              <a:cxn ang="0">
                <a:pos x="connsiteX45930" y="connsiteY45930"/>
              </a:cxn>
              <a:cxn ang="0">
                <a:pos x="connsiteX45931" y="connsiteY45931"/>
              </a:cxn>
              <a:cxn ang="0">
                <a:pos x="connsiteX45932" y="connsiteY45932"/>
              </a:cxn>
              <a:cxn ang="0">
                <a:pos x="connsiteX45933" y="connsiteY45933"/>
              </a:cxn>
              <a:cxn ang="0">
                <a:pos x="connsiteX45934" y="connsiteY45934"/>
              </a:cxn>
              <a:cxn ang="0">
                <a:pos x="connsiteX45935" y="connsiteY45935"/>
              </a:cxn>
              <a:cxn ang="0">
                <a:pos x="connsiteX45936" y="connsiteY45936"/>
              </a:cxn>
              <a:cxn ang="0">
                <a:pos x="connsiteX45937" y="connsiteY45937"/>
              </a:cxn>
              <a:cxn ang="0">
                <a:pos x="connsiteX45938" y="connsiteY45938"/>
              </a:cxn>
              <a:cxn ang="0">
                <a:pos x="connsiteX45939" y="connsiteY45939"/>
              </a:cxn>
              <a:cxn ang="0">
                <a:pos x="connsiteX45940" y="connsiteY45940"/>
              </a:cxn>
              <a:cxn ang="0">
                <a:pos x="connsiteX45941" y="connsiteY45941"/>
              </a:cxn>
              <a:cxn ang="0">
                <a:pos x="connsiteX45942" y="connsiteY45942"/>
              </a:cxn>
              <a:cxn ang="0">
                <a:pos x="connsiteX45943" y="connsiteY45943"/>
              </a:cxn>
              <a:cxn ang="0">
                <a:pos x="connsiteX45944" y="connsiteY45944"/>
              </a:cxn>
              <a:cxn ang="0">
                <a:pos x="connsiteX45945" y="connsiteY45945"/>
              </a:cxn>
              <a:cxn ang="0">
                <a:pos x="connsiteX45946" y="connsiteY45946"/>
              </a:cxn>
              <a:cxn ang="0">
                <a:pos x="connsiteX45947" y="connsiteY45947"/>
              </a:cxn>
              <a:cxn ang="0">
                <a:pos x="connsiteX45948" y="connsiteY45948"/>
              </a:cxn>
              <a:cxn ang="0">
                <a:pos x="connsiteX45949" y="connsiteY45949"/>
              </a:cxn>
              <a:cxn ang="0">
                <a:pos x="connsiteX45950" y="connsiteY45950"/>
              </a:cxn>
              <a:cxn ang="0">
                <a:pos x="connsiteX45951" y="connsiteY45951"/>
              </a:cxn>
              <a:cxn ang="0">
                <a:pos x="connsiteX45952" y="connsiteY45952"/>
              </a:cxn>
              <a:cxn ang="0">
                <a:pos x="connsiteX45953" y="connsiteY45953"/>
              </a:cxn>
              <a:cxn ang="0">
                <a:pos x="connsiteX45954" y="connsiteY45954"/>
              </a:cxn>
              <a:cxn ang="0">
                <a:pos x="connsiteX45955" y="connsiteY45955"/>
              </a:cxn>
              <a:cxn ang="0">
                <a:pos x="connsiteX45956" y="connsiteY45956"/>
              </a:cxn>
              <a:cxn ang="0">
                <a:pos x="connsiteX45957" y="connsiteY45957"/>
              </a:cxn>
              <a:cxn ang="0">
                <a:pos x="connsiteX45958" y="connsiteY45958"/>
              </a:cxn>
              <a:cxn ang="0">
                <a:pos x="connsiteX45959" y="connsiteY45959"/>
              </a:cxn>
              <a:cxn ang="0">
                <a:pos x="connsiteX45960" y="connsiteY45960"/>
              </a:cxn>
              <a:cxn ang="0">
                <a:pos x="connsiteX45961" y="connsiteY45961"/>
              </a:cxn>
              <a:cxn ang="0">
                <a:pos x="connsiteX45962" y="connsiteY45962"/>
              </a:cxn>
              <a:cxn ang="0">
                <a:pos x="connsiteX45963" y="connsiteY45963"/>
              </a:cxn>
              <a:cxn ang="0">
                <a:pos x="connsiteX45964" y="connsiteY45964"/>
              </a:cxn>
              <a:cxn ang="0">
                <a:pos x="connsiteX45965" y="connsiteY45965"/>
              </a:cxn>
              <a:cxn ang="0">
                <a:pos x="connsiteX45966" y="connsiteY45966"/>
              </a:cxn>
              <a:cxn ang="0">
                <a:pos x="connsiteX45967" y="connsiteY45967"/>
              </a:cxn>
              <a:cxn ang="0">
                <a:pos x="connsiteX45968" y="connsiteY45968"/>
              </a:cxn>
              <a:cxn ang="0">
                <a:pos x="connsiteX45969" y="connsiteY45969"/>
              </a:cxn>
              <a:cxn ang="0">
                <a:pos x="connsiteX45970" y="connsiteY45970"/>
              </a:cxn>
              <a:cxn ang="0">
                <a:pos x="connsiteX45971" y="connsiteY45971"/>
              </a:cxn>
              <a:cxn ang="0">
                <a:pos x="connsiteX45972" y="connsiteY45972"/>
              </a:cxn>
              <a:cxn ang="0">
                <a:pos x="connsiteX45973" y="connsiteY45973"/>
              </a:cxn>
              <a:cxn ang="0">
                <a:pos x="connsiteX45974" y="connsiteY45974"/>
              </a:cxn>
              <a:cxn ang="0">
                <a:pos x="connsiteX45975" y="connsiteY45975"/>
              </a:cxn>
              <a:cxn ang="0">
                <a:pos x="connsiteX45976" y="connsiteY45976"/>
              </a:cxn>
              <a:cxn ang="0">
                <a:pos x="connsiteX45977" y="connsiteY45977"/>
              </a:cxn>
              <a:cxn ang="0">
                <a:pos x="connsiteX45978" y="connsiteY45978"/>
              </a:cxn>
              <a:cxn ang="0">
                <a:pos x="connsiteX45979" y="connsiteY45979"/>
              </a:cxn>
              <a:cxn ang="0">
                <a:pos x="connsiteX45980" y="connsiteY45980"/>
              </a:cxn>
              <a:cxn ang="0">
                <a:pos x="connsiteX45981" y="connsiteY45981"/>
              </a:cxn>
              <a:cxn ang="0">
                <a:pos x="connsiteX45982" y="connsiteY45982"/>
              </a:cxn>
              <a:cxn ang="0">
                <a:pos x="connsiteX45983" y="connsiteY45983"/>
              </a:cxn>
              <a:cxn ang="0">
                <a:pos x="connsiteX45984" y="connsiteY45984"/>
              </a:cxn>
              <a:cxn ang="0">
                <a:pos x="connsiteX45985" y="connsiteY45985"/>
              </a:cxn>
              <a:cxn ang="0">
                <a:pos x="connsiteX45986" y="connsiteY45986"/>
              </a:cxn>
              <a:cxn ang="0">
                <a:pos x="connsiteX45987" y="connsiteY45987"/>
              </a:cxn>
              <a:cxn ang="0">
                <a:pos x="connsiteX45988" y="connsiteY45988"/>
              </a:cxn>
              <a:cxn ang="0">
                <a:pos x="connsiteX45989" y="connsiteY45989"/>
              </a:cxn>
              <a:cxn ang="0">
                <a:pos x="connsiteX45990" y="connsiteY45990"/>
              </a:cxn>
              <a:cxn ang="0">
                <a:pos x="connsiteX45991" y="connsiteY45991"/>
              </a:cxn>
              <a:cxn ang="0">
                <a:pos x="connsiteX45992" y="connsiteY45992"/>
              </a:cxn>
              <a:cxn ang="0">
                <a:pos x="connsiteX45993" y="connsiteY45993"/>
              </a:cxn>
              <a:cxn ang="0">
                <a:pos x="connsiteX45994" y="connsiteY45994"/>
              </a:cxn>
              <a:cxn ang="0">
                <a:pos x="connsiteX45995" y="connsiteY45995"/>
              </a:cxn>
              <a:cxn ang="0">
                <a:pos x="connsiteX45996" y="connsiteY45996"/>
              </a:cxn>
              <a:cxn ang="0">
                <a:pos x="connsiteX45997" y="connsiteY45997"/>
              </a:cxn>
              <a:cxn ang="0">
                <a:pos x="connsiteX45998" y="connsiteY45998"/>
              </a:cxn>
              <a:cxn ang="0">
                <a:pos x="connsiteX45999" y="connsiteY45999"/>
              </a:cxn>
              <a:cxn ang="0">
                <a:pos x="connsiteX46000" y="connsiteY46000"/>
              </a:cxn>
              <a:cxn ang="0">
                <a:pos x="connsiteX46001" y="connsiteY46001"/>
              </a:cxn>
              <a:cxn ang="0">
                <a:pos x="connsiteX46002" y="connsiteY46002"/>
              </a:cxn>
              <a:cxn ang="0">
                <a:pos x="connsiteX46003" y="connsiteY46003"/>
              </a:cxn>
              <a:cxn ang="0">
                <a:pos x="connsiteX46004" y="connsiteY46004"/>
              </a:cxn>
              <a:cxn ang="0">
                <a:pos x="connsiteX46005" y="connsiteY46005"/>
              </a:cxn>
              <a:cxn ang="0">
                <a:pos x="connsiteX46006" y="connsiteY46006"/>
              </a:cxn>
              <a:cxn ang="0">
                <a:pos x="connsiteX46007" y="connsiteY46007"/>
              </a:cxn>
              <a:cxn ang="0">
                <a:pos x="connsiteX46008" y="connsiteY46008"/>
              </a:cxn>
              <a:cxn ang="0">
                <a:pos x="connsiteX46009" y="connsiteY46009"/>
              </a:cxn>
              <a:cxn ang="0">
                <a:pos x="connsiteX46010" y="connsiteY46010"/>
              </a:cxn>
              <a:cxn ang="0">
                <a:pos x="connsiteX46011" y="connsiteY46011"/>
              </a:cxn>
              <a:cxn ang="0">
                <a:pos x="connsiteX46012" y="connsiteY46012"/>
              </a:cxn>
              <a:cxn ang="0">
                <a:pos x="connsiteX46013" y="connsiteY46013"/>
              </a:cxn>
              <a:cxn ang="0">
                <a:pos x="connsiteX46014" y="connsiteY46014"/>
              </a:cxn>
              <a:cxn ang="0">
                <a:pos x="connsiteX46015" y="connsiteY46015"/>
              </a:cxn>
              <a:cxn ang="0">
                <a:pos x="connsiteX46016" y="connsiteY46016"/>
              </a:cxn>
              <a:cxn ang="0">
                <a:pos x="connsiteX46017" y="connsiteY46017"/>
              </a:cxn>
              <a:cxn ang="0">
                <a:pos x="connsiteX46018" y="connsiteY46018"/>
              </a:cxn>
              <a:cxn ang="0">
                <a:pos x="connsiteX46019" y="connsiteY46019"/>
              </a:cxn>
              <a:cxn ang="0">
                <a:pos x="connsiteX46020" y="connsiteY46020"/>
              </a:cxn>
              <a:cxn ang="0">
                <a:pos x="connsiteX46021" y="connsiteY46021"/>
              </a:cxn>
              <a:cxn ang="0">
                <a:pos x="connsiteX46022" y="connsiteY46022"/>
              </a:cxn>
              <a:cxn ang="0">
                <a:pos x="connsiteX46023" y="connsiteY46023"/>
              </a:cxn>
              <a:cxn ang="0">
                <a:pos x="connsiteX46024" y="connsiteY46024"/>
              </a:cxn>
              <a:cxn ang="0">
                <a:pos x="connsiteX46025" y="connsiteY46025"/>
              </a:cxn>
              <a:cxn ang="0">
                <a:pos x="connsiteX46026" y="connsiteY46026"/>
              </a:cxn>
              <a:cxn ang="0">
                <a:pos x="connsiteX46027" y="connsiteY46027"/>
              </a:cxn>
              <a:cxn ang="0">
                <a:pos x="connsiteX46028" y="connsiteY46028"/>
              </a:cxn>
              <a:cxn ang="0">
                <a:pos x="connsiteX46029" y="connsiteY46029"/>
              </a:cxn>
              <a:cxn ang="0">
                <a:pos x="connsiteX46030" y="connsiteY46030"/>
              </a:cxn>
              <a:cxn ang="0">
                <a:pos x="connsiteX46031" y="connsiteY46031"/>
              </a:cxn>
              <a:cxn ang="0">
                <a:pos x="connsiteX46032" y="connsiteY46032"/>
              </a:cxn>
              <a:cxn ang="0">
                <a:pos x="connsiteX46033" y="connsiteY46033"/>
              </a:cxn>
              <a:cxn ang="0">
                <a:pos x="connsiteX46034" y="connsiteY46034"/>
              </a:cxn>
              <a:cxn ang="0">
                <a:pos x="connsiteX46035" y="connsiteY46035"/>
              </a:cxn>
              <a:cxn ang="0">
                <a:pos x="connsiteX46036" y="connsiteY46036"/>
              </a:cxn>
              <a:cxn ang="0">
                <a:pos x="connsiteX46037" y="connsiteY46037"/>
              </a:cxn>
              <a:cxn ang="0">
                <a:pos x="connsiteX46038" y="connsiteY46038"/>
              </a:cxn>
              <a:cxn ang="0">
                <a:pos x="connsiteX46039" y="connsiteY46039"/>
              </a:cxn>
              <a:cxn ang="0">
                <a:pos x="connsiteX46040" y="connsiteY46040"/>
              </a:cxn>
              <a:cxn ang="0">
                <a:pos x="connsiteX46041" y="connsiteY46041"/>
              </a:cxn>
              <a:cxn ang="0">
                <a:pos x="connsiteX46042" y="connsiteY46042"/>
              </a:cxn>
              <a:cxn ang="0">
                <a:pos x="connsiteX46043" y="connsiteY46043"/>
              </a:cxn>
              <a:cxn ang="0">
                <a:pos x="connsiteX46044" y="connsiteY46044"/>
              </a:cxn>
              <a:cxn ang="0">
                <a:pos x="connsiteX46045" y="connsiteY46045"/>
              </a:cxn>
              <a:cxn ang="0">
                <a:pos x="connsiteX46046" y="connsiteY46046"/>
              </a:cxn>
              <a:cxn ang="0">
                <a:pos x="connsiteX46047" y="connsiteY46047"/>
              </a:cxn>
              <a:cxn ang="0">
                <a:pos x="connsiteX46048" y="connsiteY46048"/>
              </a:cxn>
              <a:cxn ang="0">
                <a:pos x="connsiteX46049" y="connsiteY46049"/>
              </a:cxn>
              <a:cxn ang="0">
                <a:pos x="connsiteX46050" y="connsiteY46050"/>
              </a:cxn>
              <a:cxn ang="0">
                <a:pos x="connsiteX46051" y="connsiteY46051"/>
              </a:cxn>
              <a:cxn ang="0">
                <a:pos x="connsiteX46052" y="connsiteY46052"/>
              </a:cxn>
              <a:cxn ang="0">
                <a:pos x="connsiteX46053" y="connsiteY46053"/>
              </a:cxn>
              <a:cxn ang="0">
                <a:pos x="connsiteX46054" y="connsiteY46054"/>
              </a:cxn>
              <a:cxn ang="0">
                <a:pos x="connsiteX46055" y="connsiteY46055"/>
              </a:cxn>
              <a:cxn ang="0">
                <a:pos x="connsiteX46056" y="connsiteY46056"/>
              </a:cxn>
              <a:cxn ang="0">
                <a:pos x="connsiteX46057" y="connsiteY46057"/>
              </a:cxn>
              <a:cxn ang="0">
                <a:pos x="connsiteX46058" y="connsiteY46058"/>
              </a:cxn>
              <a:cxn ang="0">
                <a:pos x="connsiteX46059" y="connsiteY46059"/>
              </a:cxn>
              <a:cxn ang="0">
                <a:pos x="connsiteX46060" y="connsiteY46060"/>
              </a:cxn>
              <a:cxn ang="0">
                <a:pos x="connsiteX46061" y="connsiteY46061"/>
              </a:cxn>
              <a:cxn ang="0">
                <a:pos x="connsiteX46062" y="connsiteY46062"/>
              </a:cxn>
              <a:cxn ang="0">
                <a:pos x="connsiteX46063" y="connsiteY46063"/>
              </a:cxn>
              <a:cxn ang="0">
                <a:pos x="connsiteX46064" y="connsiteY46064"/>
              </a:cxn>
              <a:cxn ang="0">
                <a:pos x="connsiteX46065" y="connsiteY46065"/>
              </a:cxn>
              <a:cxn ang="0">
                <a:pos x="connsiteX46066" y="connsiteY46066"/>
              </a:cxn>
              <a:cxn ang="0">
                <a:pos x="connsiteX46067" y="connsiteY46067"/>
              </a:cxn>
              <a:cxn ang="0">
                <a:pos x="connsiteX46068" y="connsiteY46068"/>
              </a:cxn>
              <a:cxn ang="0">
                <a:pos x="connsiteX46069" y="connsiteY46069"/>
              </a:cxn>
              <a:cxn ang="0">
                <a:pos x="connsiteX46070" y="connsiteY46070"/>
              </a:cxn>
              <a:cxn ang="0">
                <a:pos x="connsiteX46071" y="connsiteY46071"/>
              </a:cxn>
              <a:cxn ang="0">
                <a:pos x="connsiteX46072" y="connsiteY46072"/>
              </a:cxn>
              <a:cxn ang="0">
                <a:pos x="connsiteX46073" y="connsiteY46073"/>
              </a:cxn>
              <a:cxn ang="0">
                <a:pos x="connsiteX46074" y="connsiteY46074"/>
              </a:cxn>
              <a:cxn ang="0">
                <a:pos x="connsiteX46075" y="connsiteY46075"/>
              </a:cxn>
              <a:cxn ang="0">
                <a:pos x="connsiteX46076" y="connsiteY46076"/>
              </a:cxn>
              <a:cxn ang="0">
                <a:pos x="connsiteX46077" y="connsiteY46077"/>
              </a:cxn>
              <a:cxn ang="0">
                <a:pos x="connsiteX46078" y="connsiteY46078"/>
              </a:cxn>
              <a:cxn ang="0">
                <a:pos x="connsiteX46079" y="connsiteY46079"/>
              </a:cxn>
              <a:cxn ang="0">
                <a:pos x="connsiteX46080" y="connsiteY46080"/>
              </a:cxn>
              <a:cxn ang="0">
                <a:pos x="connsiteX46081" y="connsiteY46081"/>
              </a:cxn>
              <a:cxn ang="0">
                <a:pos x="connsiteX46082" y="connsiteY46082"/>
              </a:cxn>
              <a:cxn ang="0">
                <a:pos x="connsiteX46083" y="connsiteY46083"/>
              </a:cxn>
              <a:cxn ang="0">
                <a:pos x="connsiteX46084" y="connsiteY46084"/>
              </a:cxn>
              <a:cxn ang="0">
                <a:pos x="connsiteX46085" y="connsiteY46085"/>
              </a:cxn>
              <a:cxn ang="0">
                <a:pos x="connsiteX46086" y="connsiteY46086"/>
              </a:cxn>
              <a:cxn ang="0">
                <a:pos x="connsiteX46087" y="connsiteY46087"/>
              </a:cxn>
              <a:cxn ang="0">
                <a:pos x="connsiteX46088" y="connsiteY46088"/>
              </a:cxn>
              <a:cxn ang="0">
                <a:pos x="connsiteX46089" y="connsiteY46089"/>
              </a:cxn>
              <a:cxn ang="0">
                <a:pos x="connsiteX46090" y="connsiteY46090"/>
              </a:cxn>
              <a:cxn ang="0">
                <a:pos x="connsiteX46091" y="connsiteY46091"/>
              </a:cxn>
              <a:cxn ang="0">
                <a:pos x="connsiteX46092" y="connsiteY46092"/>
              </a:cxn>
              <a:cxn ang="0">
                <a:pos x="connsiteX46093" y="connsiteY46093"/>
              </a:cxn>
              <a:cxn ang="0">
                <a:pos x="connsiteX46094" y="connsiteY46094"/>
              </a:cxn>
              <a:cxn ang="0">
                <a:pos x="connsiteX46095" y="connsiteY46095"/>
              </a:cxn>
              <a:cxn ang="0">
                <a:pos x="connsiteX46096" y="connsiteY46096"/>
              </a:cxn>
              <a:cxn ang="0">
                <a:pos x="connsiteX46097" y="connsiteY46097"/>
              </a:cxn>
              <a:cxn ang="0">
                <a:pos x="connsiteX46098" y="connsiteY46098"/>
              </a:cxn>
              <a:cxn ang="0">
                <a:pos x="connsiteX46099" y="connsiteY46099"/>
              </a:cxn>
              <a:cxn ang="0">
                <a:pos x="connsiteX46100" y="connsiteY46100"/>
              </a:cxn>
              <a:cxn ang="0">
                <a:pos x="connsiteX46101" y="connsiteY46101"/>
              </a:cxn>
              <a:cxn ang="0">
                <a:pos x="connsiteX46102" y="connsiteY46102"/>
              </a:cxn>
              <a:cxn ang="0">
                <a:pos x="connsiteX46103" y="connsiteY46103"/>
              </a:cxn>
              <a:cxn ang="0">
                <a:pos x="connsiteX46104" y="connsiteY46104"/>
              </a:cxn>
              <a:cxn ang="0">
                <a:pos x="connsiteX46105" y="connsiteY46105"/>
              </a:cxn>
              <a:cxn ang="0">
                <a:pos x="connsiteX46106" y="connsiteY46106"/>
              </a:cxn>
              <a:cxn ang="0">
                <a:pos x="connsiteX46107" y="connsiteY46107"/>
              </a:cxn>
              <a:cxn ang="0">
                <a:pos x="connsiteX46108" y="connsiteY46108"/>
              </a:cxn>
              <a:cxn ang="0">
                <a:pos x="connsiteX46109" y="connsiteY46109"/>
              </a:cxn>
              <a:cxn ang="0">
                <a:pos x="connsiteX46110" y="connsiteY46110"/>
              </a:cxn>
              <a:cxn ang="0">
                <a:pos x="connsiteX46111" y="connsiteY46111"/>
              </a:cxn>
              <a:cxn ang="0">
                <a:pos x="connsiteX46112" y="connsiteY46112"/>
              </a:cxn>
              <a:cxn ang="0">
                <a:pos x="connsiteX46113" y="connsiteY46113"/>
              </a:cxn>
              <a:cxn ang="0">
                <a:pos x="connsiteX46114" y="connsiteY46114"/>
              </a:cxn>
              <a:cxn ang="0">
                <a:pos x="connsiteX46115" y="connsiteY46115"/>
              </a:cxn>
              <a:cxn ang="0">
                <a:pos x="connsiteX46116" y="connsiteY46116"/>
              </a:cxn>
              <a:cxn ang="0">
                <a:pos x="connsiteX46117" y="connsiteY46117"/>
              </a:cxn>
              <a:cxn ang="0">
                <a:pos x="connsiteX46118" y="connsiteY46118"/>
              </a:cxn>
              <a:cxn ang="0">
                <a:pos x="connsiteX46119" y="connsiteY46119"/>
              </a:cxn>
              <a:cxn ang="0">
                <a:pos x="connsiteX46120" y="connsiteY46120"/>
              </a:cxn>
              <a:cxn ang="0">
                <a:pos x="connsiteX46121" y="connsiteY46121"/>
              </a:cxn>
              <a:cxn ang="0">
                <a:pos x="connsiteX46122" y="connsiteY46122"/>
              </a:cxn>
              <a:cxn ang="0">
                <a:pos x="connsiteX46123" y="connsiteY46123"/>
              </a:cxn>
              <a:cxn ang="0">
                <a:pos x="connsiteX46124" y="connsiteY46124"/>
              </a:cxn>
              <a:cxn ang="0">
                <a:pos x="connsiteX46125" y="connsiteY46125"/>
              </a:cxn>
              <a:cxn ang="0">
                <a:pos x="connsiteX46126" y="connsiteY46126"/>
              </a:cxn>
              <a:cxn ang="0">
                <a:pos x="connsiteX46127" y="connsiteY46127"/>
              </a:cxn>
              <a:cxn ang="0">
                <a:pos x="connsiteX46128" y="connsiteY46128"/>
              </a:cxn>
              <a:cxn ang="0">
                <a:pos x="connsiteX46129" y="connsiteY46129"/>
              </a:cxn>
              <a:cxn ang="0">
                <a:pos x="connsiteX46130" y="connsiteY46130"/>
              </a:cxn>
              <a:cxn ang="0">
                <a:pos x="connsiteX46131" y="connsiteY46131"/>
              </a:cxn>
              <a:cxn ang="0">
                <a:pos x="connsiteX46132" y="connsiteY46132"/>
              </a:cxn>
              <a:cxn ang="0">
                <a:pos x="connsiteX46133" y="connsiteY46133"/>
              </a:cxn>
              <a:cxn ang="0">
                <a:pos x="connsiteX46134" y="connsiteY46134"/>
              </a:cxn>
              <a:cxn ang="0">
                <a:pos x="connsiteX46135" y="connsiteY46135"/>
              </a:cxn>
              <a:cxn ang="0">
                <a:pos x="connsiteX46136" y="connsiteY46136"/>
              </a:cxn>
              <a:cxn ang="0">
                <a:pos x="connsiteX46137" y="connsiteY46137"/>
              </a:cxn>
              <a:cxn ang="0">
                <a:pos x="connsiteX46138" y="connsiteY46138"/>
              </a:cxn>
              <a:cxn ang="0">
                <a:pos x="connsiteX46139" y="connsiteY46139"/>
              </a:cxn>
              <a:cxn ang="0">
                <a:pos x="connsiteX46140" y="connsiteY46140"/>
              </a:cxn>
              <a:cxn ang="0">
                <a:pos x="connsiteX46141" y="connsiteY46141"/>
              </a:cxn>
              <a:cxn ang="0">
                <a:pos x="connsiteX46142" y="connsiteY46142"/>
              </a:cxn>
              <a:cxn ang="0">
                <a:pos x="connsiteX46143" y="connsiteY46143"/>
              </a:cxn>
              <a:cxn ang="0">
                <a:pos x="connsiteX46144" y="connsiteY46144"/>
              </a:cxn>
              <a:cxn ang="0">
                <a:pos x="connsiteX46145" y="connsiteY46145"/>
              </a:cxn>
              <a:cxn ang="0">
                <a:pos x="connsiteX46146" y="connsiteY46146"/>
              </a:cxn>
              <a:cxn ang="0">
                <a:pos x="connsiteX46147" y="connsiteY46147"/>
              </a:cxn>
              <a:cxn ang="0">
                <a:pos x="connsiteX46148" y="connsiteY46148"/>
              </a:cxn>
              <a:cxn ang="0">
                <a:pos x="connsiteX46149" y="connsiteY46149"/>
              </a:cxn>
              <a:cxn ang="0">
                <a:pos x="connsiteX46150" y="connsiteY46150"/>
              </a:cxn>
              <a:cxn ang="0">
                <a:pos x="connsiteX46151" y="connsiteY46151"/>
              </a:cxn>
              <a:cxn ang="0">
                <a:pos x="connsiteX46152" y="connsiteY46152"/>
              </a:cxn>
              <a:cxn ang="0">
                <a:pos x="connsiteX46153" y="connsiteY46153"/>
              </a:cxn>
              <a:cxn ang="0">
                <a:pos x="connsiteX46154" y="connsiteY46154"/>
              </a:cxn>
              <a:cxn ang="0">
                <a:pos x="connsiteX46155" y="connsiteY46155"/>
              </a:cxn>
              <a:cxn ang="0">
                <a:pos x="connsiteX46156" y="connsiteY46156"/>
              </a:cxn>
              <a:cxn ang="0">
                <a:pos x="connsiteX46157" y="connsiteY46157"/>
              </a:cxn>
              <a:cxn ang="0">
                <a:pos x="connsiteX46158" y="connsiteY46158"/>
              </a:cxn>
              <a:cxn ang="0">
                <a:pos x="connsiteX46159" y="connsiteY46159"/>
              </a:cxn>
              <a:cxn ang="0">
                <a:pos x="connsiteX46160" y="connsiteY46160"/>
              </a:cxn>
              <a:cxn ang="0">
                <a:pos x="connsiteX46161" y="connsiteY46161"/>
              </a:cxn>
              <a:cxn ang="0">
                <a:pos x="connsiteX46162" y="connsiteY46162"/>
              </a:cxn>
              <a:cxn ang="0">
                <a:pos x="connsiteX46163" y="connsiteY46163"/>
              </a:cxn>
              <a:cxn ang="0">
                <a:pos x="connsiteX46164" y="connsiteY46164"/>
              </a:cxn>
              <a:cxn ang="0">
                <a:pos x="connsiteX46165" y="connsiteY46165"/>
              </a:cxn>
              <a:cxn ang="0">
                <a:pos x="connsiteX46166" y="connsiteY46166"/>
              </a:cxn>
              <a:cxn ang="0">
                <a:pos x="connsiteX46167" y="connsiteY46167"/>
              </a:cxn>
              <a:cxn ang="0">
                <a:pos x="connsiteX46168" y="connsiteY46168"/>
              </a:cxn>
              <a:cxn ang="0">
                <a:pos x="connsiteX46169" y="connsiteY46169"/>
              </a:cxn>
              <a:cxn ang="0">
                <a:pos x="connsiteX46170" y="connsiteY46170"/>
              </a:cxn>
              <a:cxn ang="0">
                <a:pos x="connsiteX46171" y="connsiteY46171"/>
              </a:cxn>
              <a:cxn ang="0">
                <a:pos x="connsiteX46172" y="connsiteY46172"/>
              </a:cxn>
              <a:cxn ang="0">
                <a:pos x="connsiteX46173" y="connsiteY46173"/>
              </a:cxn>
              <a:cxn ang="0">
                <a:pos x="connsiteX46174" y="connsiteY46174"/>
              </a:cxn>
              <a:cxn ang="0">
                <a:pos x="connsiteX46175" y="connsiteY46175"/>
              </a:cxn>
              <a:cxn ang="0">
                <a:pos x="connsiteX46176" y="connsiteY46176"/>
              </a:cxn>
              <a:cxn ang="0">
                <a:pos x="connsiteX46177" y="connsiteY46177"/>
              </a:cxn>
              <a:cxn ang="0">
                <a:pos x="connsiteX46178" y="connsiteY46178"/>
              </a:cxn>
              <a:cxn ang="0">
                <a:pos x="connsiteX46179" y="connsiteY46179"/>
              </a:cxn>
              <a:cxn ang="0">
                <a:pos x="connsiteX46180" y="connsiteY46180"/>
              </a:cxn>
              <a:cxn ang="0">
                <a:pos x="connsiteX46181" y="connsiteY46181"/>
              </a:cxn>
              <a:cxn ang="0">
                <a:pos x="connsiteX46182" y="connsiteY46182"/>
              </a:cxn>
              <a:cxn ang="0">
                <a:pos x="connsiteX46183" y="connsiteY46183"/>
              </a:cxn>
              <a:cxn ang="0">
                <a:pos x="connsiteX46184" y="connsiteY46184"/>
              </a:cxn>
              <a:cxn ang="0">
                <a:pos x="connsiteX46185" y="connsiteY46185"/>
              </a:cxn>
              <a:cxn ang="0">
                <a:pos x="connsiteX46186" y="connsiteY46186"/>
              </a:cxn>
              <a:cxn ang="0">
                <a:pos x="connsiteX46187" y="connsiteY46187"/>
              </a:cxn>
              <a:cxn ang="0">
                <a:pos x="connsiteX46188" y="connsiteY46188"/>
              </a:cxn>
              <a:cxn ang="0">
                <a:pos x="connsiteX46189" y="connsiteY46189"/>
              </a:cxn>
              <a:cxn ang="0">
                <a:pos x="connsiteX46190" y="connsiteY46190"/>
              </a:cxn>
              <a:cxn ang="0">
                <a:pos x="connsiteX46191" y="connsiteY46191"/>
              </a:cxn>
              <a:cxn ang="0">
                <a:pos x="connsiteX46192" y="connsiteY46192"/>
              </a:cxn>
              <a:cxn ang="0">
                <a:pos x="connsiteX46193" y="connsiteY46193"/>
              </a:cxn>
              <a:cxn ang="0">
                <a:pos x="connsiteX46194" y="connsiteY46194"/>
              </a:cxn>
              <a:cxn ang="0">
                <a:pos x="connsiteX46195" y="connsiteY46195"/>
              </a:cxn>
              <a:cxn ang="0">
                <a:pos x="connsiteX46196" y="connsiteY46196"/>
              </a:cxn>
              <a:cxn ang="0">
                <a:pos x="connsiteX46197" y="connsiteY46197"/>
              </a:cxn>
              <a:cxn ang="0">
                <a:pos x="connsiteX46198" y="connsiteY46198"/>
              </a:cxn>
              <a:cxn ang="0">
                <a:pos x="connsiteX46199" y="connsiteY46199"/>
              </a:cxn>
              <a:cxn ang="0">
                <a:pos x="connsiteX46200" y="connsiteY46200"/>
              </a:cxn>
              <a:cxn ang="0">
                <a:pos x="connsiteX46201" y="connsiteY46201"/>
              </a:cxn>
              <a:cxn ang="0">
                <a:pos x="connsiteX46202" y="connsiteY46202"/>
              </a:cxn>
              <a:cxn ang="0">
                <a:pos x="connsiteX46203" y="connsiteY46203"/>
              </a:cxn>
              <a:cxn ang="0">
                <a:pos x="connsiteX46204" y="connsiteY46204"/>
              </a:cxn>
              <a:cxn ang="0">
                <a:pos x="connsiteX46205" y="connsiteY46205"/>
              </a:cxn>
              <a:cxn ang="0">
                <a:pos x="connsiteX46206" y="connsiteY46206"/>
              </a:cxn>
              <a:cxn ang="0">
                <a:pos x="connsiteX46207" y="connsiteY46207"/>
              </a:cxn>
              <a:cxn ang="0">
                <a:pos x="connsiteX46208" y="connsiteY46208"/>
              </a:cxn>
              <a:cxn ang="0">
                <a:pos x="connsiteX46209" y="connsiteY46209"/>
              </a:cxn>
              <a:cxn ang="0">
                <a:pos x="connsiteX46210" y="connsiteY46210"/>
              </a:cxn>
              <a:cxn ang="0">
                <a:pos x="connsiteX46211" y="connsiteY46211"/>
              </a:cxn>
              <a:cxn ang="0">
                <a:pos x="connsiteX46212" y="connsiteY46212"/>
              </a:cxn>
              <a:cxn ang="0">
                <a:pos x="connsiteX46213" y="connsiteY46213"/>
              </a:cxn>
              <a:cxn ang="0">
                <a:pos x="connsiteX46214" y="connsiteY46214"/>
              </a:cxn>
              <a:cxn ang="0">
                <a:pos x="connsiteX46215" y="connsiteY46215"/>
              </a:cxn>
              <a:cxn ang="0">
                <a:pos x="connsiteX46216" y="connsiteY46216"/>
              </a:cxn>
              <a:cxn ang="0">
                <a:pos x="connsiteX46217" y="connsiteY46217"/>
              </a:cxn>
              <a:cxn ang="0">
                <a:pos x="connsiteX46218" y="connsiteY46218"/>
              </a:cxn>
              <a:cxn ang="0">
                <a:pos x="connsiteX46219" y="connsiteY46219"/>
              </a:cxn>
              <a:cxn ang="0">
                <a:pos x="connsiteX46220" y="connsiteY46220"/>
              </a:cxn>
              <a:cxn ang="0">
                <a:pos x="connsiteX46221" y="connsiteY46221"/>
              </a:cxn>
              <a:cxn ang="0">
                <a:pos x="connsiteX46222" y="connsiteY46222"/>
              </a:cxn>
              <a:cxn ang="0">
                <a:pos x="connsiteX46223" y="connsiteY46223"/>
              </a:cxn>
              <a:cxn ang="0">
                <a:pos x="connsiteX46224" y="connsiteY46224"/>
              </a:cxn>
              <a:cxn ang="0">
                <a:pos x="connsiteX46225" y="connsiteY46225"/>
              </a:cxn>
              <a:cxn ang="0">
                <a:pos x="connsiteX46226" y="connsiteY46226"/>
              </a:cxn>
              <a:cxn ang="0">
                <a:pos x="connsiteX46227" y="connsiteY46227"/>
              </a:cxn>
              <a:cxn ang="0">
                <a:pos x="connsiteX46228" y="connsiteY46228"/>
              </a:cxn>
              <a:cxn ang="0">
                <a:pos x="connsiteX46229" y="connsiteY46229"/>
              </a:cxn>
              <a:cxn ang="0">
                <a:pos x="connsiteX46230" y="connsiteY46230"/>
              </a:cxn>
              <a:cxn ang="0">
                <a:pos x="connsiteX46231" y="connsiteY46231"/>
              </a:cxn>
              <a:cxn ang="0">
                <a:pos x="connsiteX46232" y="connsiteY46232"/>
              </a:cxn>
              <a:cxn ang="0">
                <a:pos x="connsiteX46233" y="connsiteY46233"/>
              </a:cxn>
              <a:cxn ang="0">
                <a:pos x="connsiteX46234" y="connsiteY46234"/>
              </a:cxn>
              <a:cxn ang="0">
                <a:pos x="connsiteX46235" y="connsiteY46235"/>
              </a:cxn>
              <a:cxn ang="0">
                <a:pos x="connsiteX46236" y="connsiteY46236"/>
              </a:cxn>
              <a:cxn ang="0">
                <a:pos x="connsiteX46237" y="connsiteY46237"/>
              </a:cxn>
              <a:cxn ang="0">
                <a:pos x="connsiteX46238" y="connsiteY46238"/>
              </a:cxn>
              <a:cxn ang="0">
                <a:pos x="connsiteX46239" y="connsiteY46239"/>
              </a:cxn>
              <a:cxn ang="0">
                <a:pos x="connsiteX46240" y="connsiteY46240"/>
              </a:cxn>
              <a:cxn ang="0">
                <a:pos x="connsiteX46241" y="connsiteY46241"/>
              </a:cxn>
              <a:cxn ang="0">
                <a:pos x="connsiteX46242" y="connsiteY46242"/>
              </a:cxn>
              <a:cxn ang="0">
                <a:pos x="connsiteX46243" y="connsiteY46243"/>
              </a:cxn>
              <a:cxn ang="0">
                <a:pos x="connsiteX46244" y="connsiteY46244"/>
              </a:cxn>
              <a:cxn ang="0">
                <a:pos x="connsiteX46245" y="connsiteY46245"/>
              </a:cxn>
              <a:cxn ang="0">
                <a:pos x="connsiteX46246" y="connsiteY46246"/>
              </a:cxn>
              <a:cxn ang="0">
                <a:pos x="connsiteX46247" y="connsiteY46247"/>
              </a:cxn>
              <a:cxn ang="0">
                <a:pos x="connsiteX46248" y="connsiteY46248"/>
              </a:cxn>
              <a:cxn ang="0">
                <a:pos x="connsiteX46249" y="connsiteY46249"/>
              </a:cxn>
              <a:cxn ang="0">
                <a:pos x="connsiteX46250" y="connsiteY46250"/>
              </a:cxn>
              <a:cxn ang="0">
                <a:pos x="connsiteX46251" y="connsiteY46251"/>
              </a:cxn>
              <a:cxn ang="0">
                <a:pos x="connsiteX46252" y="connsiteY46252"/>
              </a:cxn>
              <a:cxn ang="0">
                <a:pos x="connsiteX46253" y="connsiteY46253"/>
              </a:cxn>
              <a:cxn ang="0">
                <a:pos x="connsiteX46254" y="connsiteY46254"/>
              </a:cxn>
              <a:cxn ang="0">
                <a:pos x="connsiteX46255" y="connsiteY46255"/>
              </a:cxn>
              <a:cxn ang="0">
                <a:pos x="connsiteX46256" y="connsiteY46256"/>
              </a:cxn>
              <a:cxn ang="0">
                <a:pos x="connsiteX46257" y="connsiteY46257"/>
              </a:cxn>
              <a:cxn ang="0">
                <a:pos x="connsiteX46258" y="connsiteY46258"/>
              </a:cxn>
              <a:cxn ang="0">
                <a:pos x="connsiteX46259" y="connsiteY46259"/>
              </a:cxn>
              <a:cxn ang="0">
                <a:pos x="connsiteX46260" y="connsiteY46260"/>
              </a:cxn>
              <a:cxn ang="0">
                <a:pos x="connsiteX46261" y="connsiteY46261"/>
              </a:cxn>
              <a:cxn ang="0">
                <a:pos x="connsiteX46262" y="connsiteY46262"/>
              </a:cxn>
              <a:cxn ang="0">
                <a:pos x="connsiteX46263" y="connsiteY46263"/>
              </a:cxn>
              <a:cxn ang="0">
                <a:pos x="connsiteX46264" y="connsiteY46264"/>
              </a:cxn>
              <a:cxn ang="0">
                <a:pos x="connsiteX46265" y="connsiteY46265"/>
              </a:cxn>
              <a:cxn ang="0">
                <a:pos x="connsiteX46266" y="connsiteY46266"/>
              </a:cxn>
              <a:cxn ang="0">
                <a:pos x="connsiteX46267" y="connsiteY46267"/>
              </a:cxn>
              <a:cxn ang="0">
                <a:pos x="connsiteX46268" y="connsiteY46268"/>
              </a:cxn>
              <a:cxn ang="0">
                <a:pos x="connsiteX46269" y="connsiteY46269"/>
              </a:cxn>
              <a:cxn ang="0">
                <a:pos x="connsiteX46270" y="connsiteY46270"/>
              </a:cxn>
              <a:cxn ang="0">
                <a:pos x="connsiteX46271" y="connsiteY46271"/>
              </a:cxn>
              <a:cxn ang="0">
                <a:pos x="connsiteX46272" y="connsiteY46272"/>
              </a:cxn>
              <a:cxn ang="0">
                <a:pos x="connsiteX46273" y="connsiteY46273"/>
              </a:cxn>
              <a:cxn ang="0">
                <a:pos x="connsiteX46274" y="connsiteY46274"/>
              </a:cxn>
              <a:cxn ang="0">
                <a:pos x="connsiteX46275" y="connsiteY46275"/>
              </a:cxn>
              <a:cxn ang="0">
                <a:pos x="connsiteX46276" y="connsiteY46276"/>
              </a:cxn>
              <a:cxn ang="0">
                <a:pos x="connsiteX46277" y="connsiteY46277"/>
              </a:cxn>
              <a:cxn ang="0">
                <a:pos x="connsiteX46278" y="connsiteY46278"/>
              </a:cxn>
              <a:cxn ang="0">
                <a:pos x="connsiteX46279" y="connsiteY46279"/>
              </a:cxn>
              <a:cxn ang="0">
                <a:pos x="connsiteX46280" y="connsiteY46280"/>
              </a:cxn>
              <a:cxn ang="0">
                <a:pos x="connsiteX46281" y="connsiteY46281"/>
              </a:cxn>
              <a:cxn ang="0">
                <a:pos x="connsiteX46282" y="connsiteY46282"/>
              </a:cxn>
              <a:cxn ang="0">
                <a:pos x="connsiteX46283" y="connsiteY46283"/>
              </a:cxn>
              <a:cxn ang="0">
                <a:pos x="connsiteX46284" y="connsiteY46284"/>
              </a:cxn>
              <a:cxn ang="0">
                <a:pos x="connsiteX46285" y="connsiteY46285"/>
              </a:cxn>
              <a:cxn ang="0">
                <a:pos x="connsiteX46286" y="connsiteY46286"/>
              </a:cxn>
              <a:cxn ang="0">
                <a:pos x="connsiteX46287" y="connsiteY46287"/>
              </a:cxn>
              <a:cxn ang="0">
                <a:pos x="connsiteX46288" y="connsiteY46288"/>
              </a:cxn>
              <a:cxn ang="0">
                <a:pos x="connsiteX46289" y="connsiteY46289"/>
              </a:cxn>
              <a:cxn ang="0">
                <a:pos x="connsiteX46290" y="connsiteY46290"/>
              </a:cxn>
              <a:cxn ang="0">
                <a:pos x="connsiteX46291" y="connsiteY46291"/>
              </a:cxn>
              <a:cxn ang="0">
                <a:pos x="connsiteX46292" y="connsiteY46292"/>
              </a:cxn>
              <a:cxn ang="0">
                <a:pos x="connsiteX46293" y="connsiteY46293"/>
              </a:cxn>
              <a:cxn ang="0">
                <a:pos x="connsiteX46294" y="connsiteY46294"/>
              </a:cxn>
              <a:cxn ang="0">
                <a:pos x="connsiteX46295" y="connsiteY46295"/>
              </a:cxn>
              <a:cxn ang="0">
                <a:pos x="connsiteX46296" y="connsiteY46296"/>
              </a:cxn>
              <a:cxn ang="0">
                <a:pos x="connsiteX46297" y="connsiteY46297"/>
              </a:cxn>
              <a:cxn ang="0">
                <a:pos x="connsiteX46298" y="connsiteY46298"/>
              </a:cxn>
              <a:cxn ang="0">
                <a:pos x="connsiteX46299" y="connsiteY46299"/>
              </a:cxn>
              <a:cxn ang="0">
                <a:pos x="connsiteX46300" y="connsiteY46300"/>
              </a:cxn>
              <a:cxn ang="0">
                <a:pos x="connsiteX46301" y="connsiteY46301"/>
              </a:cxn>
              <a:cxn ang="0">
                <a:pos x="connsiteX46302" y="connsiteY46302"/>
              </a:cxn>
              <a:cxn ang="0">
                <a:pos x="connsiteX46303" y="connsiteY46303"/>
              </a:cxn>
              <a:cxn ang="0">
                <a:pos x="connsiteX46304" y="connsiteY46304"/>
              </a:cxn>
              <a:cxn ang="0">
                <a:pos x="connsiteX46305" y="connsiteY46305"/>
              </a:cxn>
              <a:cxn ang="0">
                <a:pos x="connsiteX46306" y="connsiteY46306"/>
              </a:cxn>
              <a:cxn ang="0">
                <a:pos x="connsiteX46307" y="connsiteY46307"/>
              </a:cxn>
              <a:cxn ang="0">
                <a:pos x="connsiteX46308" y="connsiteY46308"/>
              </a:cxn>
              <a:cxn ang="0">
                <a:pos x="connsiteX46309" y="connsiteY46309"/>
              </a:cxn>
              <a:cxn ang="0">
                <a:pos x="connsiteX46310" y="connsiteY46310"/>
              </a:cxn>
              <a:cxn ang="0">
                <a:pos x="connsiteX46311" y="connsiteY46311"/>
              </a:cxn>
              <a:cxn ang="0">
                <a:pos x="connsiteX46312" y="connsiteY46312"/>
              </a:cxn>
              <a:cxn ang="0">
                <a:pos x="connsiteX46313" y="connsiteY46313"/>
              </a:cxn>
              <a:cxn ang="0">
                <a:pos x="connsiteX46314" y="connsiteY46314"/>
              </a:cxn>
              <a:cxn ang="0">
                <a:pos x="connsiteX46315" y="connsiteY46315"/>
              </a:cxn>
              <a:cxn ang="0">
                <a:pos x="connsiteX46316" y="connsiteY46316"/>
              </a:cxn>
              <a:cxn ang="0">
                <a:pos x="connsiteX46317" y="connsiteY46317"/>
              </a:cxn>
              <a:cxn ang="0">
                <a:pos x="connsiteX46318" y="connsiteY46318"/>
              </a:cxn>
              <a:cxn ang="0">
                <a:pos x="connsiteX46319" y="connsiteY46319"/>
              </a:cxn>
              <a:cxn ang="0">
                <a:pos x="connsiteX46320" y="connsiteY46320"/>
              </a:cxn>
              <a:cxn ang="0">
                <a:pos x="connsiteX46321" y="connsiteY46321"/>
              </a:cxn>
              <a:cxn ang="0">
                <a:pos x="connsiteX46322" y="connsiteY46322"/>
              </a:cxn>
              <a:cxn ang="0">
                <a:pos x="connsiteX46323" y="connsiteY46323"/>
              </a:cxn>
              <a:cxn ang="0">
                <a:pos x="connsiteX46324" y="connsiteY46324"/>
              </a:cxn>
              <a:cxn ang="0">
                <a:pos x="connsiteX46325" y="connsiteY46325"/>
              </a:cxn>
              <a:cxn ang="0">
                <a:pos x="connsiteX46326" y="connsiteY46326"/>
              </a:cxn>
              <a:cxn ang="0">
                <a:pos x="connsiteX46327" y="connsiteY46327"/>
              </a:cxn>
              <a:cxn ang="0">
                <a:pos x="connsiteX46328" y="connsiteY46328"/>
              </a:cxn>
              <a:cxn ang="0">
                <a:pos x="connsiteX46329" y="connsiteY46329"/>
              </a:cxn>
              <a:cxn ang="0">
                <a:pos x="connsiteX46330" y="connsiteY46330"/>
              </a:cxn>
              <a:cxn ang="0">
                <a:pos x="connsiteX46331" y="connsiteY46331"/>
              </a:cxn>
              <a:cxn ang="0">
                <a:pos x="connsiteX46332" y="connsiteY46332"/>
              </a:cxn>
              <a:cxn ang="0">
                <a:pos x="connsiteX46333" y="connsiteY46333"/>
              </a:cxn>
              <a:cxn ang="0">
                <a:pos x="connsiteX46334" y="connsiteY46334"/>
              </a:cxn>
              <a:cxn ang="0">
                <a:pos x="connsiteX46335" y="connsiteY46335"/>
              </a:cxn>
              <a:cxn ang="0">
                <a:pos x="connsiteX46336" y="connsiteY46336"/>
              </a:cxn>
              <a:cxn ang="0">
                <a:pos x="connsiteX46337" y="connsiteY46337"/>
              </a:cxn>
              <a:cxn ang="0">
                <a:pos x="connsiteX46338" y="connsiteY46338"/>
              </a:cxn>
              <a:cxn ang="0">
                <a:pos x="connsiteX46339" y="connsiteY46339"/>
              </a:cxn>
              <a:cxn ang="0">
                <a:pos x="connsiteX46340" y="connsiteY46340"/>
              </a:cxn>
              <a:cxn ang="0">
                <a:pos x="connsiteX46341" y="connsiteY46341"/>
              </a:cxn>
              <a:cxn ang="0">
                <a:pos x="connsiteX46342" y="connsiteY46342"/>
              </a:cxn>
              <a:cxn ang="0">
                <a:pos x="connsiteX46343" y="connsiteY46343"/>
              </a:cxn>
              <a:cxn ang="0">
                <a:pos x="connsiteX46344" y="connsiteY46344"/>
              </a:cxn>
              <a:cxn ang="0">
                <a:pos x="connsiteX46345" y="connsiteY46345"/>
              </a:cxn>
              <a:cxn ang="0">
                <a:pos x="connsiteX46346" y="connsiteY46346"/>
              </a:cxn>
              <a:cxn ang="0">
                <a:pos x="connsiteX46347" y="connsiteY46347"/>
              </a:cxn>
              <a:cxn ang="0">
                <a:pos x="connsiteX46348" y="connsiteY46348"/>
              </a:cxn>
              <a:cxn ang="0">
                <a:pos x="connsiteX46349" y="connsiteY46349"/>
              </a:cxn>
              <a:cxn ang="0">
                <a:pos x="connsiteX46350" y="connsiteY46350"/>
              </a:cxn>
              <a:cxn ang="0">
                <a:pos x="connsiteX46351" y="connsiteY46351"/>
              </a:cxn>
              <a:cxn ang="0">
                <a:pos x="connsiteX46352" y="connsiteY46352"/>
              </a:cxn>
              <a:cxn ang="0">
                <a:pos x="connsiteX46353" y="connsiteY46353"/>
              </a:cxn>
              <a:cxn ang="0">
                <a:pos x="connsiteX46354" y="connsiteY46354"/>
              </a:cxn>
              <a:cxn ang="0">
                <a:pos x="connsiteX46355" y="connsiteY46355"/>
              </a:cxn>
              <a:cxn ang="0">
                <a:pos x="connsiteX46356" y="connsiteY46356"/>
              </a:cxn>
              <a:cxn ang="0">
                <a:pos x="connsiteX46357" y="connsiteY46357"/>
              </a:cxn>
              <a:cxn ang="0">
                <a:pos x="connsiteX46358" y="connsiteY46358"/>
              </a:cxn>
              <a:cxn ang="0">
                <a:pos x="connsiteX46359" y="connsiteY46359"/>
              </a:cxn>
              <a:cxn ang="0">
                <a:pos x="connsiteX46360" y="connsiteY46360"/>
              </a:cxn>
              <a:cxn ang="0">
                <a:pos x="connsiteX46361" y="connsiteY46361"/>
              </a:cxn>
              <a:cxn ang="0">
                <a:pos x="connsiteX46362" y="connsiteY46362"/>
              </a:cxn>
              <a:cxn ang="0">
                <a:pos x="connsiteX46363" y="connsiteY46363"/>
              </a:cxn>
              <a:cxn ang="0">
                <a:pos x="connsiteX46364" y="connsiteY46364"/>
              </a:cxn>
              <a:cxn ang="0">
                <a:pos x="connsiteX46365" y="connsiteY46365"/>
              </a:cxn>
              <a:cxn ang="0">
                <a:pos x="connsiteX46366" y="connsiteY46366"/>
              </a:cxn>
              <a:cxn ang="0">
                <a:pos x="connsiteX46367" y="connsiteY46367"/>
              </a:cxn>
              <a:cxn ang="0">
                <a:pos x="connsiteX46368" y="connsiteY46368"/>
              </a:cxn>
              <a:cxn ang="0">
                <a:pos x="connsiteX46369" y="connsiteY46369"/>
              </a:cxn>
              <a:cxn ang="0">
                <a:pos x="connsiteX46370" y="connsiteY46370"/>
              </a:cxn>
              <a:cxn ang="0">
                <a:pos x="connsiteX46371" y="connsiteY46371"/>
              </a:cxn>
              <a:cxn ang="0">
                <a:pos x="connsiteX46372" y="connsiteY46372"/>
              </a:cxn>
              <a:cxn ang="0">
                <a:pos x="connsiteX46373" y="connsiteY46373"/>
              </a:cxn>
              <a:cxn ang="0">
                <a:pos x="connsiteX46374" y="connsiteY46374"/>
              </a:cxn>
              <a:cxn ang="0">
                <a:pos x="connsiteX46375" y="connsiteY46375"/>
              </a:cxn>
              <a:cxn ang="0">
                <a:pos x="connsiteX46376" y="connsiteY46376"/>
              </a:cxn>
              <a:cxn ang="0">
                <a:pos x="connsiteX46377" y="connsiteY46377"/>
              </a:cxn>
              <a:cxn ang="0">
                <a:pos x="connsiteX46378" y="connsiteY46378"/>
              </a:cxn>
              <a:cxn ang="0">
                <a:pos x="connsiteX46379" y="connsiteY46379"/>
              </a:cxn>
              <a:cxn ang="0">
                <a:pos x="connsiteX46380" y="connsiteY46380"/>
              </a:cxn>
              <a:cxn ang="0">
                <a:pos x="connsiteX46381" y="connsiteY46381"/>
              </a:cxn>
              <a:cxn ang="0">
                <a:pos x="connsiteX46382" y="connsiteY46382"/>
              </a:cxn>
              <a:cxn ang="0">
                <a:pos x="connsiteX46383" y="connsiteY46383"/>
              </a:cxn>
              <a:cxn ang="0">
                <a:pos x="connsiteX46384" y="connsiteY46384"/>
              </a:cxn>
              <a:cxn ang="0">
                <a:pos x="connsiteX46385" y="connsiteY46385"/>
              </a:cxn>
              <a:cxn ang="0">
                <a:pos x="connsiteX46386" y="connsiteY46386"/>
              </a:cxn>
              <a:cxn ang="0">
                <a:pos x="connsiteX46387" y="connsiteY46387"/>
              </a:cxn>
              <a:cxn ang="0">
                <a:pos x="connsiteX46388" y="connsiteY46388"/>
              </a:cxn>
              <a:cxn ang="0">
                <a:pos x="connsiteX46389" y="connsiteY46389"/>
              </a:cxn>
              <a:cxn ang="0">
                <a:pos x="connsiteX46390" y="connsiteY46390"/>
              </a:cxn>
              <a:cxn ang="0">
                <a:pos x="connsiteX46391" y="connsiteY46391"/>
              </a:cxn>
              <a:cxn ang="0">
                <a:pos x="connsiteX46392" y="connsiteY46392"/>
              </a:cxn>
              <a:cxn ang="0">
                <a:pos x="connsiteX46393" y="connsiteY46393"/>
              </a:cxn>
              <a:cxn ang="0">
                <a:pos x="connsiteX46394" y="connsiteY46394"/>
              </a:cxn>
              <a:cxn ang="0">
                <a:pos x="connsiteX46395" y="connsiteY46395"/>
              </a:cxn>
              <a:cxn ang="0">
                <a:pos x="connsiteX46396" y="connsiteY46396"/>
              </a:cxn>
              <a:cxn ang="0">
                <a:pos x="connsiteX46397" y="connsiteY46397"/>
              </a:cxn>
              <a:cxn ang="0">
                <a:pos x="connsiteX46398" y="connsiteY46398"/>
              </a:cxn>
              <a:cxn ang="0">
                <a:pos x="connsiteX46399" y="connsiteY46399"/>
              </a:cxn>
              <a:cxn ang="0">
                <a:pos x="connsiteX46400" y="connsiteY46400"/>
              </a:cxn>
              <a:cxn ang="0">
                <a:pos x="connsiteX46401" y="connsiteY46401"/>
              </a:cxn>
              <a:cxn ang="0">
                <a:pos x="connsiteX46402" y="connsiteY46402"/>
              </a:cxn>
              <a:cxn ang="0">
                <a:pos x="connsiteX46403" y="connsiteY46403"/>
              </a:cxn>
              <a:cxn ang="0">
                <a:pos x="connsiteX46404" y="connsiteY46404"/>
              </a:cxn>
              <a:cxn ang="0">
                <a:pos x="connsiteX46405" y="connsiteY46405"/>
              </a:cxn>
              <a:cxn ang="0">
                <a:pos x="connsiteX46406" y="connsiteY46406"/>
              </a:cxn>
              <a:cxn ang="0">
                <a:pos x="connsiteX46407" y="connsiteY46407"/>
              </a:cxn>
              <a:cxn ang="0">
                <a:pos x="connsiteX46408" y="connsiteY46408"/>
              </a:cxn>
              <a:cxn ang="0">
                <a:pos x="connsiteX46409" y="connsiteY46409"/>
              </a:cxn>
              <a:cxn ang="0">
                <a:pos x="connsiteX46410" y="connsiteY46410"/>
              </a:cxn>
              <a:cxn ang="0">
                <a:pos x="connsiteX46411" y="connsiteY46411"/>
              </a:cxn>
              <a:cxn ang="0">
                <a:pos x="connsiteX46412" y="connsiteY46412"/>
              </a:cxn>
              <a:cxn ang="0">
                <a:pos x="connsiteX46413" y="connsiteY46413"/>
              </a:cxn>
              <a:cxn ang="0">
                <a:pos x="connsiteX46414" y="connsiteY46414"/>
              </a:cxn>
              <a:cxn ang="0">
                <a:pos x="connsiteX46415" y="connsiteY46415"/>
              </a:cxn>
              <a:cxn ang="0">
                <a:pos x="connsiteX46416" y="connsiteY46416"/>
              </a:cxn>
              <a:cxn ang="0">
                <a:pos x="connsiteX46417" y="connsiteY46417"/>
              </a:cxn>
              <a:cxn ang="0">
                <a:pos x="connsiteX46418" y="connsiteY46418"/>
              </a:cxn>
              <a:cxn ang="0">
                <a:pos x="connsiteX46419" y="connsiteY46419"/>
              </a:cxn>
              <a:cxn ang="0">
                <a:pos x="connsiteX46420" y="connsiteY46420"/>
              </a:cxn>
              <a:cxn ang="0">
                <a:pos x="connsiteX46421" y="connsiteY46421"/>
              </a:cxn>
              <a:cxn ang="0">
                <a:pos x="connsiteX46422" y="connsiteY46422"/>
              </a:cxn>
              <a:cxn ang="0">
                <a:pos x="connsiteX46423" y="connsiteY46423"/>
              </a:cxn>
              <a:cxn ang="0">
                <a:pos x="connsiteX46424" y="connsiteY46424"/>
              </a:cxn>
              <a:cxn ang="0">
                <a:pos x="connsiteX46425" y="connsiteY46425"/>
              </a:cxn>
              <a:cxn ang="0">
                <a:pos x="connsiteX46426" y="connsiteY46426"/>
              </a:cxn>
              <a:cxn ang="0">
                <a:pos x="connsiteX46427" y="connsiteY46427"/>
              </a:cxn>
              <a:cxn ang="0">
                <a:pos x="connsiteX46428" y="connsiteY46428"/>
              </a:cxn>
              <a:cxn ang="0">
                <a:pos x="connsiteX46429" y="connsiteY46429"/>
              </a:cxn>
              <a:cxn ang="0">
                <a:pos x="connsiteX46430" y="connsiteY46430"/>
              </a:cxn>
              <a:cxn ang="0">
                <a:pos x="connsiteX46431" y="connsiteY46431"/>
              </a:cxn>
              <a:cxn ang="0">
                <a:pos x="connsiteX46432" y="connsiteY46432"/>
              </a:cxn>
              <a:cxn ang="0">
                <a:pos x="connsiteX46433" y="connsiteY46433"/>
              </a:cxn>
              <a:cxn ang="0">
                <a:pos x="connsiteX46434" y="connsiteY46434"/>
              </a:cxn>
              <a:cxn ang="0">
                <a:pos x="connsiteX46435" y="connsiteY46435"/>
              </a:cxn>
              <a:cxn ang="0">
                <a:pos x="connsiteX46436" y="connsiteY46436"/>
              </a:cxn>
              <a:cxn ang="0">
                <a:pos x="connsiteX46437" y="connsiteY46437"/>
              </a:cxn>
              <a:cxn ang="0">
                <a:pos x="connsiteX46438" y="connsiteY46438"/>
              </a:cxn>
              <a:cxn ang="0">
                <a:pos x="connsiteX46439" y="connsiteY46439"/>
              </a:cxn>
              <a:cxn ang="0">
                <a:pos x="connsiteX46440" y="connsiteY46440"/>
              </a:cxn>
              <a:cxn ang="0">
                <a:pos x="connsiteX46441" y="connsiteY46441"/>
              </a:cxn>
              <a:cxn ang="0">
                <a:pos x="connsiteX46442" y="connsiteY46442"/>
              </a:cxn>
              <a:cxn ang="0">
                <a:pos x="connsiteX46443" y="connsiteY46443"/>
              </a:cxn>
              <a:cxn ang="0">
                <a:pos x="connsiteX46444" y="connsiteY46444"/>
              </a:cxn>
              <a:cxn ang="0">
                <a:pos x="connsiteX46445" y="connsiteY46445"/>
              </a:cxn>
              <a:cxn ang="0">
                <a:pos x="connsiteX46446" y="connsiteY46446"/>
              </a:cxn>
              <a:cxn ang="0">
                <a:pos x="connsiteX46447" y="connsiteY46447"/>
              </a:cxn>
              <a:cxn ang="0">
                <a:pos x="connsiteX46448" y="connsiteY46448"/>
              </a:cxn>
              <a:cxn ang="0">
                <a:pos x="connsiteX46449" y="connsiteY46449"/>
              </a:cxn>
              <a:cxn ang="0">
                <a:pos x="connsiteX46450" y="connsiteY46450"/>
              </a:cxn>
              <a:cxn ang="0">
                <a:pos x="connsiteX46451" y="connsiteY46451"/>
              </a:cxn>
              <a:cxn ang="0">
                <a:pos x="connsiteX46452" y="connsiteY46452"/>
              </a:cxn>
              <a:cxn ang="0">
                <a:pos x="connsiteX46453" y="connsiteY46453"/>
              </a:cxn>
              <a:cxn ang="0">
                <a:pos x="connsiteX46454" y="connsiteY46454"/>
              </a:cxn>
              <a:cxn ang="0">
                <a:pos x="connsiteX46455" y="connsiteY46455"/>
              </a:cxn>
              <a:cxn ang="0">
                <a:pos x="connsiteX46456" y="connsiteY46456"/>
              </a:cxn>
              <a:cxn ang="0">
                <a:pos x="connsiteX46457" y="connsiteY46457"/>
              </a:cxn>
              <a:cxn ang="0">
                <a:pos x="connsiteX46458" y="connsiteY46458"/>
              </a:cxn>
              <a:cxn ang="0">
                <a:pos x="connsiteX46459" y="connsiteY46459"/>
              </a:cxn>
              <a:cxn ang="0">
                <a:pos x="connsiteX46460" y="connsiteY46460"/>
              </a:cxn>
              <a:cxn ang="0">
                <a:pos x="connsiteX46461" y="connsiteY46461"/>
              </a:cxn>
              <a:cxn ang="0">
                <a:pos x="connsiteX46462" y="connsiteY46462"/>
              </a:cxn>
              <a:cxn ang="0">
                <a:pos x="connsiteX46463" y="connsiteY46463"/>
              </a:cxn>
              <a:cxn ang="0">
                <a:pos x="connsiteX46464" y="connsiteY46464"/>
              </a:cxn>
              <a:cxn ang="0">
                <a:pos x="connsiteX46465" y="connsiteY46465"/>
              </a:cxn>
              <a:cxn ang="0">
                <a:pos x="connsiteX46466" y="connsiteY46466"/>
              </a:cxn>
              <a:cxn ang="0">
                <a:pos x="connsiteX46467" y="connsiteY46467"/>
              </a:cxn>
              <a:cxn ang="0">
                <a:pos x="connsiteX46468" y="connsiteY46468"/>
              </a:cxn>
              <a:cxn ang="0">
                <a:pos x="connsiteX46469" y="connsiteY46469"/>
              </a:cxn>
              <a:cxn ang="0">
                <a:pos x="connsiteX46470" y="connsiteY46470"/>
              </a:cxn>
              <a:cxn ang="0">
                <a:pos x="connsiteX46471" y="connsiteY46471"/>
              </a:cxn>
              <a:cxn ang="0">
                <a:pos x="connsiteX46472" y="connsiteY46472"/>
              </a:cxn>
              <a:cxn ang="0">
                <a:pos x="connsiteX46473" y="connsiteY46473"/>
              </a:cxn>
              <a:cxn ang="0">
                <a:pos x="connsiteX46474" y="connsiteY46474"/>
              </a:cxn>
              <a:cxn ang="0">
                <a:pos x="connsiteX46475" y="connsiteY46475"/>
              </a:cxn>
              <a:cxn ang="0">
                <a:pos x="connsiteX46476" y="connsiteY46476"/>
              </a:cxn>
              <a:cxn ang="0">
                <a:pos x="connsiteX46477" y="connsiteY46477"/>
              </a:cxn>
              <a:cxn ang="0">
                <a:pos x="connsiteX46478" y="connsiteY46478"/>
              </a:cxn>
              <a:cxn ang="0">
                <a:pos x="connsiteX46479" y="connsiteY46479"/>
              </a:cxn>
              <a:cxn ang="0">
                <a:pos x="connsiteX46480" y="connsiteY46480"/>
              </a:cxn>
              <a:cxn ang="0">
                <a:pos x="connsiteX46481" y="connsiteY46481"/>
              </a:cxn>
              <a:cxn ang="0">
                <a:pos x="connsiteX46482" y="connsiteY46482"/>
              </a:cxn>
              <a:cxn ang="0">
                <a:pos x="connsiteX46483" y="connsiteY46483"/>
              </a:cxn>
              <a:cxn ang="0">
                <a:pos x="connsiteX46484" y="connsiteY46484"/>
              </a:cxn>
              <a:cxn ang="0">
                <a:pos x="connsiteX46485" y="connsiteY46485"/>
              </a:cxn>
              <a:cxn ang="0">
                <a:pos x="connsiteX46486" y="connsiteY46486"/>
              </a:cxn>
              <a:cxn ang="0">
                <a:pos x="connsiteX46487" y="connsiteY46487"/>
              </a:cxn>
              <a:cxn ang="0">
                <a:pos x="connsiteX46488" y="connsiteY46488"/>
              </a:cxn>
              <a:cxn ang="0">
                <a:pos x="connsiteX46489" y="connsiteY46489"/>
              </a:cxn>
              <a:cxn ang="0">
                <a:pos x="connsiteX46490" y="connsiteY46490"/>
              </a:cxn>
              <a:cxn ang="0">
                <a:pos x="connsiteX46491" y="connsiteY46491"/>
              </a:cxn>
              <a:cxn ang="0">
                <a:pos x="connsiteX46492" y="connsiteY46492"/>
              </a:cxn>
              <a:cxn ang="0">
                <a:pos x="connsiteX46493" y="connsiteY46493"/>
              </a:cxn>
              <a:cxn ang="0">
                <a:pos x="connsiteX46494" y="connsiteY46494"/>
              </a:cxn>
              <a:cxn ang="0">
                <a:pos x="connsiteX46495" y="connsiteY46495"/>
              </a:cxn>
              <a:cxn ang="0">
                <a:pos x="connsiteX46496" y="connsiteY46496"/>
              </a:cxn>
              <a:cxn ang="0">
                <a:pos x="connsiteX46497" y="connsiteY46497"/>
              </a:cxn>
              <a:cxn ang="0">
                <a:pos x="connsiteX46498" y="connsiteY46498"/>
              </a:cxn>
              <a:cxn ang="0">
                <a:pos x="connsiteX46499" y="connsiteY46499"/>
              </a:cxn>
              <a:cxn ang="0">
                <a:pos x="connsiteX46500" y="connsiteY46500"/>
              </a:cxn>
              <a:cxn ang="0">
                <a:pos x="connsiteX46501" y="connsiteY46501"/>
              </a:cxn>
              <a:cxn ang="0">
                <a:pos x="connsiteX46502" y="connsiteY46502"/>
              </a:cxn>
              <a:cxn ang="0">
                <a:pos x="connsiteX46503" y="connsiteY46503"/>
              </a:cxn>
              <a:cxn ang="0">
                <a:pos x="connsiteX46504" y="connsiteY46504"/>
              </a:cxn>
              <a:cxn ang="0">
                <a:pos x="connsiteX46505" y="connsiteY46505"/>
              </a:cxn>
              <a:cxn ang="0">
                <a:pos x="connsiteX46506" y="connsiteY46506"/>
              </a:cxn>
              <a:cxn ang="0">
                <a:pos x="connsiteX46507" y="connsiteY46507"/>
              </a:cxn>
              <a:cxn ang="0">
                <a:pos x="connsiteX46508" y="connsiteY46508"/>
              </a:cxn>
              <a:cxn ang="0">
                <a:pos x="connsiteX46509" y="connsiteY46509"/>
              </a:cxn>
              <a:cxn ang="0">
                <a:pos x="connsiteX46510" y="connsiteY46510"/>
              </a:cxn>
              <a:cxn ang="0">
                <a:pos x="connsiteX46511" y="connsiteY46511"/>
              </a:cxn>
              <a:cxn ang="0">
                <a:pos x="connsiteX46512" y="connsiteY46512"/>
              </a:cxn>
              <a:cxn ang="0">
                <a:pos x="connsiteX46513" y="connsiteY46513"/>
              </a:cxn>
              <a:cxn ang="0">
                <a:pos x="connsiteX46514" y="connsiteY46514"/>
              </a:cxn>
              <a:cxn ang="0">
                <a:pos x="connsiteX46515" y="connsiteY46515"/>
              </a:cxn>
              <a:cxn ang="0">
                <a:pos x="connsiteX46516" y="connsiteY46516"/>
              </a:cxn>
              <a:cxn ang="0">
                <a:pos x="connsiteX46517" y="connsiteY46517"/>
              </a:cxn>
              <a:cxn ang="0">
                <a:pos x="connsiteX46518" y="connsiteY46518"/>
              </a:cxn>
              <a:cxn ang="0">
                <a:pos x="connsiteX46519" y="connsiteY46519"/>
              </a:cxn>
              <a:cxn ang="0">
                <a:pos x="connsiteX46520" y="connsiteY46520"/>
              </a:cxn>
              <a:cxn ang="0">
                <a:pos x="connsiteX46521" y="connsiteY46521"/>
              </a:cxn>
              <a:cxn ang="0">
                <a:pos x="connsiteX46522" y="connsiteY46522"/>
              </a:cxn>
              <a:cxn ang="0">
                <a:pos x="connsiteX46523" y="connsiteY46523"/>
              </a:cxn>
              <a:cxn ang="0">
                <a:pos x="connsiteX46524" y="connsiteY46524"/>
              </a:cxn>
              <a:cxn ang="0">
                <a:pos x="connsiteX46525" y="connsiteY46525"/>
              </a:cxn>
              <a:cxn ang="0">
                <a:pos x="connsiteX46526" y="connsiteY46526"/>
              </a:cxn>
              <a:cxn ang="0">
                <a:pos x="connsiteX46527" y="connsiteY46527"/>
              </a:cxn>
              <a:cxn ang="0">
                <a:pos x="connsiteX46528" y="connsiteY46528"/>
              </a:cxn>
              <a:cxn ang="0">
                <a:pos x="connsiteX46529" y="connsiteY46529"/>
              </a:cxn>
              <a:cxn ang="0">
                <a:pos x="connsiteX46530" y="connsiteY46530"/>
              </a:cxn>
              <a:cxn ang="0">
                <a:pos x="connsiteX46531" y="connsiteY46531"/>
              </a:cxn>
              <a:cxn ang="0">
                <a:pos x="connsiteX46532" y="connsiteY46532"/>
              </a:cxn>
              <a:cxn ang="0">
                <a:pos x="connsiteX46533" y="connsiteY46533"/>
              </a:cxn>
              <a:cxn ang="0">
                <a:pos x="connsiteX46534" y="connsiteY46534"/>
              </a:cxn>
              <a:cxn ang="0">
                <a:pos x="connsiteX46535" y="connsiteY46535"/>
              </a:cxn>
              <a:cxn ang="0">
                <a:pos x="connsiteX46536" y="connsiteY46536"/>
              </a:cxn>
              <a:cxn ang="0">
                <a:pos x="connsiteX46537" y="connsiteY46537"/>
              </a:cxn>
              <a:cxn ang="0">
                <a:pos x="connsiteX46538" y="connsiteY46538"/>
              </a:cxn>
              <a:cxn ang="0">
                <a:pos x="connsiteX46539" y="connsiteY46539"/>
              </a:cxn>
              <a:cxn ang="0">
                <a:pos x="connsiteX46540" y="connsiteY46540"/>
              </a:cxn>
              <a:cxn ang="0">
                <a:pos x="connsiteX46541" y="connsiteY46541"/>
              </a:cxn>
              <a:cxn ang="0">
                <a:pos x="connsiteX46542" y="connsiteY46542"/>
              </a:cxn>
              <a:cxn ang="0">
                <a:pos x="connsiteX46543" y="connsiteY46543"/>
              </a:cxn>
              <a:cxn ang="0">
                <a:pos x="connsiteX46544" y="connsiteY46544"/>
              </a:cxn>
              <a:cxn ang="0">
                <a:pos x="connsiteX46545" y="connsiteY46545"/>
              </a:cxn>
              <a:cxn ang="0">
                <a:pos x="connsiteX46546" y="connsiteY46546"/>
              </a:cxn>
              <a:cxn ang="0">
                <a:pos x="connsiteX46547" y="connsiteY46547"/>
              </a:cxn>
              <a:cxn ang="0">
                <a:pos x="connsiteX46548" y="connsiteY46548"/>
              </a:cxn>
              <a:cxn ang="0">
                <a:pos x="connsiteX46549" y="connsiteY46549"/>
              </a:cxn>
              <a:cxn ang="0">
                <a:pos x="connsiteX46550" y="connsiteY46550"/>
              </a:cxn>
              <a:cxn ang="0">
                <a:pos x="connsiteX46551" y="connsiteY46551"/>
              </a:cxn>
              <a:cxn ang="0">
                <a:pos x="connsiteX46552" y="connsiteY46552"/>
              </a:cxn>
              <a:cxn ang="0">
                <a:pos x="connsiteX46553" y="connsiteY46553"/>
              </a:cxn>
              <a:cxn ang="0">
                <a:pos x="connsiteX46554" y="connsiteY46554"/>
              </a:cxn>
              <a:cxn ang="0">
                <a:pos x="connsiteX46555" y="connsiteY46555"/>
              </a:cxn>
              <a:cxn ang="0">
                <a:pos x="connsiteX46556" y="connsiteY46556"/>
              </a:cxn>
              <a:cxn ang="0">
                <a:pos x="connsiteX46557" y="connsiteY46557"/>
              </a:cxn>
              <a:cxn ang="0">
                <a:pos x="connsiteX46558" y="connsiteY46558"/>
              </a:cxn>
              <a:cxn ang="0">
                <a:pos x="connsiteX46559" y="connsiteY46559"/>
              </a:cxn>
              <a:cxn ang="0">
                <a:pos x="connsiteX46560" y="connsiteY46560"/>
              </a:cxn>
              <a:cxn ang="0">
                <a:pos x="connsiteX46561" y="connsiteY46561"/>
              </a:cxn>
              <a:cxn ang="0">
                <a:pos x="connsiteX46562" y="connsiteY46562"/>
              </a:cxn>
              <a:cxn ang="0">
                <a:pos x="connsiteX46563" y="connsiteY46563"/>
              </a:cxn>
              <a:cxn ang="0">
                <a:pos x="connsiteX46564" y="connsiteY46564"/>
              </a:cxn>
              <a:cxn ang="0">
                <a:pos x="connsiteX46565" y="connsiteY46565"/>
              </a:cxn>
              <a:cxn ang="0">
                <a:pos x="connsiteX46566" y="connsiteY46566"/>
              </a:cxn>
              <a:cxn ang="0">
                <a:pos x="connsiteX46567" y="connsiteY46567"/>
              </a:cxn>
              <a:cxn ang="0">
                <a:pos x="connsiteX46568" y="connsiteY46568"/>
              </a:cxn>
              <a:cxn ang="0">
                <a:pos x="connsiteX46569" y="connsiteY46569"/>
              </a:cxn>
              <a:cxn ang="0">
                <a:pos x="connsiteX46570" y="connsiteY46570"/>
              </a:cxn>
              <a:cxn ang="0">
                <a:pos x="connsiteX46571" y="connsiteY46571"/>
              </a:cxn>
              <a:cxn ang="0">
                <a:pos x="connsiteX46572" y="connsiteY46572"/>
              </a:cxn>
              <a:cxn ang="0">
                <a:pos x="connsiteX46573" y="connsiteY46573"/>
              </a:cxn>
              <a:cxn ang="0">
                <a:pos x="connsiteX46574" y="connsiteY46574"/>
              </a:cxn>
              <a:cxn ang="0">
                <a:pos x="connsiteX46575" y="connsiteY46575"/>
              </a:cxn>
              <a:cxn ang="0">
                <a:pos x="connsiteX46576" y="connsiteY46576"/>
              </a:cxn>
              <a:cxn ang="0">
                <a:pos x="connsiteX46577" y="connsiteY46577"/>
              </a:cxn>
              <a:cxn ang="0">
                <a:pos x="connsiteX46578" y="connsiteY46578"/>
              </a:cxn>
              <a:cxn ang="0">
                <a:pos x="connsiteX46579" y="connsiteY46579"/>
              </a:cxn>
              <a:cxn ang="0">
                <a:pos x="connsiteX46580" y="connsiteY46580"/>
              </a:cxn>
              <a:cxn ang="0">
                <a:pos x="connsiteX46581" y="connsiteY46581"/>
              </a:cxn>
              <a:cxn ang="0">
                <a:pos x="connsiteX46582" y="connsiteY46582"/>
              </a:cxn>
              <a:cxn ang="0">
                <a:pos x="connsiteX46583" y="connsiteY46583"/>
              </a:cxn>
              <a:cxn ang="0">
                <a:pos x="connsiteX46584" y="connsiteY46584"/>
              </a:cxn>
              <a:cxn ang="0">
                <a:pos x="connsiteX46585" y="connsiteY46585"/>
              </a:cxn>
              <a:cxn ang="0">
                <a:pos x="connsiteX46586" y="connsiteY46586"/>
              </a:cxn>
              <a:cxn ang="0">
                <a:pos x="connsiteX46587" y="connsiteY46587"/>
              </a:cxn>
              <a:cxn ang="0">
                <a:pos x="connsiteX46588" y="connsiteY46588"/>
              </a:cxn>
              <a:cxn ang="0">
                <a:pos x="connsiteX46589" y="connsiteY46589"/>
              </a:cxn>
              <a:cxn ang="0">
                <a:pos x="connsiteX46590" y="connsiteY46590"/>
              </a:cxn>
              <a:cxn ang="0">
                <a:pos x="connsiteX46591" y="connsiteY46591"/>
              </a:cxn>
              <a:cxn ang="0">
                <a:pos x="connsiteX46592" y="connsiteY46592"/>
              </a:cxn>
              <a:cxn ang="0">
                <a:pos x="connsiteX46593" y="connsiteY46593"/>
              </a:cxn>
              <a:cxn ang="0">
                <a:pos x="connsiteX46594" y="connsiteY46594"/>
              </a:cxn>
              <a:cxn ang="0">
                <a:pos x="connsiteX46595" y="connsiteY46595"/>
              </a:cxn>
              <a:cxn ang="0">
                <a:pos x="connsiteX46596" y="connsiteY46596"/>
              </a:cxn>
              <a:cxn ang="0">
                <a:pos x="connsiteX46597" y="connsiteY46597"/>
              </a:cxn>
              <a:cxn ang="0">
                <a:pos x="connsiteX46598" y="connsiteY46598"/>
              </a:cxn>
              <a:cxn ang="0">
                <a:pos x="connsiteX46599" y="connsiteY46599"/>
              </a:cxn>
              <a:cxn ang="0">
                <a:pos x="connsiteX46600" y="connsiteY46600"/>
              </a:cxn>
              <a:cxn ang="0">
                <a:pos x="connsiteX46601" y="connsiteY46601"/>
              </a:cxn>
              <a:cxn ang="0">
                <a:pos x="connsiteX46602" y="connsiteY46602"/>
              </a:cxn>
              <a:cxn ang="0">
                <a:pos x="connsiteX46603" y="connsiteY46603"/>
              </a:cxn>
              <a:cxn ang="0">
                <a:pos x="connsiteX46604" y="connsiteY46604"/>
              </a:cxn>
              <a:cxn ang="0">
                <a:pos x="connsiteX46605" y="connsiteY46605"/>
              </a:cxn>
              <a:cxn ang="0">
                <a:pos x="connsiteX46606" y="connsiteY46606"/>
              </a:cxn>
              <a:cxn ang="0">
                <a:pos x="connsiteX46607" y="connsiteY46607"/>
              </a:cxn>
              <a:cxn ang="0">
                <a:pos x="connsiteX46608" y="connsiteY46608"/>
              </a:cxn>
              <a:cxn ang="0">
                <a:pos x="connsiteX46609" y="connsiteY46609"/>
              </a:cxn>
              <a:cxn ang="0">
                <a:pos x="connsiteX46610" y="connsiteY46610"/>
              </a:cxn>
              <a:cxn ang="0">
                <a:pos x="connsiteX46611" y="connsiteY46611"/>
              </a:cxn>
              <a:cxn ang="0">
                <a:pos x="connsiteX46612" y="connsiteY46612"/>
              </a:cxn>
              <a:cxn ang="0">
                <a:pos x="connsiteX46613" y="connsiteY46613"/>
              </a:cxn>
              <a:cxn ang="0">
                <a:pos x="connsiteX46614" y="connsiteY46614"/>
              </a:cxn>
              <a:cxn ang="0">
                <a:pos x="connsiteX46615" y="connsiteY46615"/>
              </a:cxn>
              <a:cxn ang="0">
                <a:pos x="connsiteX46616" y="connsiteY46616"/>
              </a:cxn>
              <a:cxn ang="0">
                <a:pos x="connsiteX46617" y="connsiteY46617"/>
              </a:cxn>
              <a:cxn ang="0">
                <a:pos x="connsiteX46618" y="connsiteY46618"/>
              </a:cxn>
              <a:cxn ang="0">
                <a:pos x="connsiteX46619" y="connsiteY46619"/>
              </a:cxn>
              <a:cxn ang="0">
                <a:pos x="connsiteX46620" y="connsiteY46620"/>
              </a:cxn>
              <a:cxn ang="0">
                <a:pos x="connsiteX46621" y="connsiteY46621"/>
              </a:cxn>
              <a:cxn ang="0">
                <a:pos x="connsiteX46622" y="connsiteY46622"/>
              </a:cxn>
              <a:cxn ang="0">
                <a:pos x="connsiteX46623" y="connsiteY46623"/>
              </a:cxn>
              <a:cxn ang="0">
                <a:pos x="connsiteX46624" y="connsiteY46624"/>
              </a:cxn>
              <a:cxn ang="0">
                <a:pos x="connsiteX46625" y="connsiteY46625"/>
              </a:cxn>
              <a:cxn ang="0">
                <a:pos x="connsiteX46626" y="connsiteY46626"/>
              </a:cxn>
              <a:cxn ang="0">
                <a:pos x="connsiteX46627" y="connsiteY46627"/>
              </a:cxn>
              <a:cxn ang="0">
                <a:pos x="connsiteX46628" y="connsiteY46628"/>
              </a:cxn>
              <a:cxn ang="0">
                <a:pos x="connsiteX46629" y="connsiteY46629"/>
              </a:cxn>
              <a:cxn ang="0">
                <a:pos x="connsiteX46630" y="connsiteY46630"/>
              </a:cxn>
              <a:cxn ang="0">
                <a:pos x="connsiteX46631" y="connsiteY46631"/>
              </a:cxn>
              <a:cxn ang="0">
                <a:pos x="connsiteX46632" y="connsiteY46632"/>
              </a:cxn>
              <a:cxn ang="0">
                <a:pos x="connsiteX46633" y="connsiteY46633"/>
              </a:cxn>
              <a:cxn ang="0">
                <a:pos x="connsiteX46634" y="connsiteY46634"/>
              </a:cxn>
              <a:cxn ang="0">
                <a:pos x="connsiteX46635" y="connsiteY46635"/>
              </a:cxn>
              <a:cxn ang="0">
                <a:pos x="connsiteX46636" y="connsiteY46636"/>
              </a:cxn>
              <a:cxn ang="0">
                <a:pos x="connsiteX46637" y="connsiteY46637"/>
              </a:cxn>
              <a:cxn ang="0">
                <a:pos x="connsiteX46638" y="connsiteY46638"/>
              </a:cxn>
              <a:cxn ang="0">
                <a:pos x="connsiteX46639" y="connsiteY46639"/>
              </a:cxn>
              <a:cxn ang="0">
                <a:pos x="connsiteX46640" y="connsiteY46640"/>
              </a:cxn>
              <a:cxn ang="0">
                <a:pos x="connsiteX46641" y="connsiteY46641"/>
              </a:cxn>
              <a:cxn ang="0">
                <a:pos x="connsiteX46642" y="connsiteY46642"/>
              </a:cxn>
              <a:cxn ang="0">
                <a:pos x="connsiteX46643" y="connsiteY46643"/>
              </a:cxn>
              <a:cxn ang="0">
                <a:pos x="connsiteX46644" y="connsiteY46644"/>
              </a:cxn>
              <a:cxn ang="0">
                <a:pos x="connsiteX46645" y="connsiteY46645"/>
              </a:cxn>
              <a:cxn ang="0">
                <a:pos x="connsiteX46646" y="connsiteY46646"/>
              </a:cxn>
              <a:cxn ang="0">
                <a:pos x="connsiteX46647" y="connsiteY46647"/>
              </a:cxn>
              <a:cxn ang="0">
                <a:pos x="connsiteX46648" y="connsiteY46648"/>
              </a:cxn>
              <a:cxn ang="0">
                <a:pos x="connsiteX46649" y="connsiteY46649"/>
              </a:cxn>
              <a:cxn ang="0">
                <a:pos x="connsiteX46650" y="connsiteY46650"/>
              </a:cxn>
              <a:cxn ang="0">
                <a:pos x="connsiteX46651" y="connsiteY46651"/>
              </a:cxn>
              <a:cxn ang="0">
                <a:pos x="connsiteX46652" y="connsiteY46652"/>
              </a:cxn>
              <a:cxn ang="0">
                <a:pos x="connsiteX46653" y="connsiteY46653"/>
              </a:cxn>
              <a:cxn ang="0">
                <a:pos x="connsiteX46654" y="connsiteY46654"/>
              </a:cxn>
              <a:cxn ang="0">
                <a:pos x="connsiteX46655" y="connsiteY46655"/>
              </a:cxn>
              <a:cxn ang="0">
                <a:pos x="connsiteX46656" y="connsiteY46656"/>
              </a:cxn>
              <a:cxn ang="0">
                <a:pos x="connsiteX46657" y="connsiteY46657"/>
              </a:cxn>
              <a:cxn ang="0">
                <a:pos x="connsiteX46658" y="connsiteY46658"/>
              </a:cxn>
              <a:cxn ang="0">
                <a:pos x="connsiteX46659" y="connsiteY46659"/>
              </a:cxn>
              <a:cxn ang="0">
                <a:pos x="connsiteX46660" y="connsiteY46660"/>
              </a:cxn>
              <a:cxn ang="0">
                <a:pos x="connsiteX46661" y="connsiteY46661"/>
              </a:cxn>
              <a:cxn ang="0">
                <a:pos x="connsiteX46662" y="connsiteY46662"/>
              </a:cxn>
              <a:cxn ang="0">
                <a:pos x="connsiteX46663" y="connsiteY46663"/>
              </a:cxn>
              <a:cxn ang="0">
                <a:pos x="connsiteX46664" y="connsiteY46664"/>
              </a:cxn>
              <a:cxn ang="0">
                <a:pos x="connsiteX46665" y="connsiteY46665"/>
              </a:cxn>
              <a:cxn ang="0">
                <a:pos x="connsiteX46666" y="connsiteY46666"/>
              </a:cxn>
              <a:cxn ang="0">
                <a:pos x="connsiteX46667" y="connsiteY46667"/>
              </a:cxn>
              <a:cxn ang="0">
                <a:pos x="connsiteX46668" y="connsiteY46668"/>
              </a:cxn>
              <a:cxn ang="0">
                <a:pos x="connsiteX46669" y="connsiteY46669"/>
              </a:cxn>
              <a:cxn ang="0">
                <a:pos x="connsiteX46670" y="connsiteY46670"/>
              </a:cxn>
              <a:cxn ang="0">
                <a:pos x="connsiteX46671" y="connsiteY46671"/>
              </a:cxn>
              <a:cxn ang="0">
                <a:pos x="connsiteX46672" y="connsiteY46672"/>
              </a:cxn>
              <a:cxn ang="0">
                <a:pos x="connsiteX46673" y="connsiteY46673"/>
              </a:cxn>
              <a:cxn ang="0">
                <a:pos x="connsiteX46674" y="connsiteY46674"/>
              </a:cxn>
              <a:cxn ang="0">
                <a:pos x="connsiteX46675" y="connsiteY46675"/>
              </a:cxn>
              <a:cxn ang="0">
                <a:pos x="connsiteX46676" y="connsiteY46676"/>
              </a:cxn>
              <a:cxn ang="0">
                <a:pos x="connsiteX46677" y="connsiteY46677"/>
              </a:cxn>
              <a:cxn ang="0">
                <a:pos x="connsiteX46678" y="connsiteY46678"/>
              </a:cxn>
              <a:cxn ang="0">
                <a:pos x="connsiteX46679" y="connsiteY46679"/>
              </a:cxn>
              <a:cxn ang="0">
                <a:pos x="connsiteX46680" y="connsiteY46680"/>
              </a:cxn>
              <a:cxn ang="0">
                <a:pos x="connsiteX46681" y="connsiteY46681"/>
              </a:cxn>
              <a:cxn ang="0">
                <a:pos x="connsiteX46682" y="connsiteY46682"/>
              </a:cxn>
              <a:cxn ang="0">
                <a:pos x="connsiteX46683" y="connsiteY46683"/>
              </a:cxn>
              <a:cxn ang="0">
                <a:pos x="connsiteX46684" y="connsiteY46684"/>
              </a:cxn>
              <a:cxn ang="0">
                <a:pos x="connsiteX46685" y="connsiteY46685"/>
              </a:cxn>
              <a:cxn ang="0">
                <a:pos x="connsiteX46686" y="connsiteY46686"/>
              </a:cxn>
              <a:cxn ang="0">
                <a:pos x="connsiteX46687" y="connsiteY46687"/>
              </a:cxn>
              <a:cxn ang="0">
                <a:pos x="connsiteX46688" y="connsiteY46688"/>
              </a:cxn>
              <a:cxn ang="0">
                <a:pos x="connsiteX46689" y="connsiteY46689"/>
              </a:cxn>
              <a:cxn ang="0">
                <a:pos x="connsiteX46690" y="connsiteY46690"/>
              </a:cxn>
              <a:cxn ang="0">
                <a:pos x="connsiteX46691" y="connsiteY46691"/>
              </a:cxn>
              <a:cxn ang="0">
                <a:pos x="connsiteX46692" y="connsiteY46692"/>
              </a:cxn>
              <a:cxn ang="0">
                <a:pos x="connsiteX46693" y="connsiteY46693"/>
              </a:cxn>
              <a:cxn ang="0">
                <a:pos x="connsiteX46694" y="connsiteY46694"/>
              </a:cxn>
              <a:cxn ang="0">
                <a:pos x="connsiteX46695" y="connsiteY46695"/>
              </a:cxn>
              <a:cxn ang="0">
                <a:pos x="connsiteX46696" y="connsiteY46696"/>
              </a:cxn>
              <a:cxn ang="0">
                <a:pos x="connsiteX46697" y="connsiteY46697"/>
              </a:cxn>
              <a:cxn ang="0">
                <a:pos x="connsiteX46698" y="connsiteY46698"/>
              </a:cxn>
              <a:cxn ang="0">
                <a:pos x="connsiteX46699" y="connsiteY46699"/>
              </a:cxn>
              <a:cxn ang="0">
                <a:pos x="connsiteX46700" y="connsiteY46700"/>
              </a:cxn>
              <a:cxn ang="0">
                <a:pos x="connsiteX46701" y="connsiteY46701"/>
              </a:cxn>
              <a:cxn ang="0">
                <a:pos x="connsiteX46702" y="connsiteY46702"/>
              </a:cxn>
              <a:cxn ang="0">
                <a:pos x="connsiteX46703" y="connsiteY46703"/>
              </a:cxn>
              <a:cxn ang="0">
                <a:pos x="connsiteX46704" y="connsiteY46704"/>
              </a:cxn>
              <a:cxn ang="0">
                <a:pos x="connsiteX46705" y="connsiteY46705"/>
              </a:cxn>
              <a:cxn ang="0">
                <a:pos x="connsiteX46706" y="connsiteY46706"/>
              </a:cxn>
              <a:cxn ang="0">
                <a:pos x="connsiteX46707" y="connsiteY46707"/>
              </a:cxn>
              <a:cxn ang="0">
                <a:pos x="connsiteX46708" y="connsiteY46708"/>
              </a:cxn>
              <a:cxn ang="0">
                <a:pos x="connsiteX46709" y="connsiteY46709"/>
              </a:cxn>
              <a:cxn ang="0">
                <a:pos x="connsiteX46710" y="connsiteY46710"/>
              </a:cxn>
              <a:cxn ang="0">
                <a:pos x="connsiteX46711" y="connsiteY46711"/>
              </a:cxn>
              <a:cxn ang="0">
                <a:pos x="connsiteX46712" y="connsiteY46712"/>
              </a:cxn>
              <a:cxn ang="0">
                <a:pos x="connsiteX46713" y="connsiteY46713"/>
              </a:cxn>
              <a:cxn ang="0">
                <a:pos x="connsiteX46714" y="connsiteY46714"/>
              </a:cxn>
              <a:cxn ang="0">
                <a:pos x="connsiteX46715" y="connsiteY46715"/>
              </a:cxn>
              <a:cxn ang="0">
                <a:pos x="connsiteX46716" y="connsiteY46716"/>
              </a:cxn>
              <a:cxn ang="0">
                <a:pos x="connsiteX46717" y="connsiteY46717"/>
              </a:cxn>
              <a:cxn ang="0">
                <a:pos x="connsiteX46718" y="connsiteY46718"/>
              </a:cxn>
              <a:cxn ang="0">
                <a:pos x="connsiteX46719" y="connsiteY46719"/>
              </a:cxn>
              <a:cxn ang="0">
                <a:pos x="connsiteX46720" y="connsiteY46720"/>
              </a:cxn>
              <a:cxn ang="0">
                <a:pos x="connsiteX46721" y="connsiteY46721"/>
              </a:cxn>
              <a:cxn ang="0">
                <a:pos x="connsiteX46722" y="connsiteY46722"/>
              </a:cxn>
              <a:cxn ang="0">
                <a:pos x="connsiteX46723" y="connsiteY46723"/>
              </a:cxn>
              <a:cxn ang="0">
                <a:pos x="connsiteX46724" y="connsiteY46724"/>
              </a:cxn>
              <a:cxn ang="0">
                <a:pos x="connsiteX46725" y="connsiteY46725"/>
              </a:cxn>
              <a:cxn ang="0">
                <a:pos x="connsiteX46726" y="connsiteY46726"/>
              </a:cxn>
              <a:cxn ang="0">
                <a:pos x="connsiteX46727" y="connsiteY46727"/>
              </a:cxn>
              <a:cxn ang="0">
                <a:pos x="connsiteX46728" y="connsiteY46728"/>
              </a:cxn>
              <a:cxn ang="0">
                <a:pos x="connsiteX46729" y="connsiteY46729"/>
              </a:cxn>
              <a:cxn ang="0">
                <a:pos x="connsiteX46730" y="connsiteY46730"/>
              </a:cxn>
              <a:cxn ang="0">
                <a:pos x="connsiteX46731" y="connsiteY46731"/>
              </a:cxn>
              <a:cxn ang="0">
                <a:pos x="connsiteX46732" y="connsiteY46732"/>
              </a:cxn>
              <a:cxn ang="0">
                <a:pos x="connsiteX46733" y="connsiteY46733"/>
              </a:cxn>
              <a:cxn ang="0">
                <a:pos x="connsiteX46734" y="connsiteY46734"/>
              </a:cxn>
              <a:cxn ang="0">
                <a:pos x="connsiteX46735" y="connsiteY46735"/>
              </a:cxn>
              <a:cxn ang="0">
                <a:pos x="connsiteX46736" y="connsiteY46736"/>
              </a:cxn>
              <a:cxn ang="0">
                <a:pos x="connsiteX46737" y="connsiteY46737"/>
              </a:cxn>
              <a:cxn ang="0">
                <a:pos x="connsiteX46738" y="connsiteY46738"/>
              </a:cxn>
              <a:cxn ang="0">
                <a:pos x="connsiteX46739" y="connsiteY46739"/>
              </a:cxn>
              <a:cxn ang="0">
                <a:pos x="connsiteX46740" y="connsiteY46740"/>
              </a:cxn>
              <a:cxn ang="0">
                <a:pos x="connsiteX46741" y="connsiteY46741"/>
              </a:cxn>
              <a:cxn ang="0">
                <a:pos x="connsiteX46742" y="connsiteY46742"/>
              </a:cxn>
              <a:cxn ang="0">
                <a:pos x="connsiteX46743" y="connsiteY46743"/>
              </a:cxn>
              <a:cxn ang="0">
                <a:pos x="connsiteX46744" y="connsiteY46744"/>
              </a:cxn>
              <a:cxn ang="0">
                <a:pos x="connsiteX46745" y="connsiteY46745"/>
              </a:cxn>
              <a:cxn ang="0">
                <a:pos x="connsiteX46746" y="connsiteY46746"/>
              </a:cxn>
              <a:cxn ang="0">
                <a:pos x="connsiteX46747" y="connsiteY46747"/>
              </a:cxn>
              <a:cxn ang="0">
                <a:pos x="connsiteX46748" y="connsiteY46748"/>
              </a:cxn>
              <a:cxn ang="0">
                <a:pos x="connsiteX46749" y="connsiteY46749"/>
              </a:cxn>
              <a:cxn ang="0">
                <a:pos x="connsiteX46750" y="connsiteY46750"/>
              </a:cxn>
              <a:cxn ang="0">
                <a:pos x="connsiteX46751" y="connsiteY46751"/>
              </a:cxn>
              <a:cxn ang="0">
                <a:pos x="connsiteX46752" y="connsiteY46752"/>
              </a:cxn>
              <a:cxn ang="0">
                <a:pos x="connsiteX46753" y="connsiteY46753"/>
              </a:cxn>
              <a:cxn ang="0">
                <a:pos x="connsiteX46754" y="connsiteY46754"/>
              </a:cxn>
              <a:cxn ang="0">
                <a:pos x="connsiteX46755" y="connsiteY46755"/>
              </a:cxn>
              <a:cxn ang="0">
                <a:pos x="connsiteX46756" y="connsiteY46756"/>
              </a:cxn>
              <a:cxn ang="0">
                <a:pos x="connsiteX46757" y="connsiteY46757"/>
              </a:cxn>
              <a:cxn ang="0">
                <a:pos x="connsiteX46758" y="connsiteY46758"/>
              </a:cxn>
              <a:cxn ang="0">
                <a:pos x="connsiteX46759" y="connsiteY46759"/>
              </a:cxn>
              <a:cxn ang="0">
                <a:pos x="connsiteX46760" y="connsiteY46760"/>
              </a:cxn>
              <a:cxn ang="0">
                <a:pos x="connsiteX46761" y="connsiteY46761"/>
              </a:cxn>
              <a:cxn ang="0">
                <a:pos x="connsiteX46762" y="connsiteY46762"/>
              </a:cxn>
              <a:cxn ang="0">
                <a:pos x="connsiteX46763" y="connsiteY46763"/>
              </a:cxn>
              <a:cxn ang="0">
                <a:pos x="connsiteX46764" y="connsiteY46764"/>
              </a:cxn>
              <a:cxn ang="0">
                <a:pos x="connsiteX46765" y="connsiteY46765"/>
              </a:cxn>
              <a:cxn ang="0">
                <a:pos x="connsiteX46766" y="connsiteY46766"/>
              </a:cxn>
              <a:cxn ang="0">
                <a:pos x="connsiteX46767" y="connsiteY46767"/>
              </a:cxn>
              <a:cxn ang="0">
                <a:pos x="connsiteX46768" y="connsiteY46768"/>
              </a:cxn>
              <a:cxn ang="0">
                <a:pos x="connsiteX46769" y="connsiteY46769"/>
              </a:cxn>
              <a:cxn ang="0">
                <a:pos x="connsiteX46770" y="connsiteY46770"/>
              </a:cxn>
              <a:cxn ang="0">
                <a:pos x="connsiteX46771" y="connsiteY46771"/>
              </a:cxn>
              <a:cxn ang="0">
                <a:pos x="connsiteX46772" y="connsiteY46772"/>
              </a:cxn>
              <a:cxn ang="0">
                <a:pos x="connsiteX46773" y="connsiteY46773"/>
              </a:cxn>
              <a:cxn ang="0">
                <a:pos x="connsiteX46774" y="connsiteY46774"/>
              </a:cxn>
              <a:cxn ang="0">
                <a:pos x="connsiteX46775" y="connsiteY46775"/>
              </a:cxn>
              <a:cxn ang="0">
                <a:pos x="connsiteX46776" y="connsiteY46776"/>
              </a:cxn>
              <a:cxn ang="0">
                <a:pos x="connsiteX46777" y="connsiteY46777"/>
              </a:cxn>
              <a:cxn ang="0">
                <a:pos x="connsiteX46778" y="connsiteY46778"/>
              </a:cxn>
              <a:cxn ang="0">
                <a:pos x="connsiteX46779" y="connsiteY46779"/>
              </a:cxn>
              <a:cxn ang="0">
                <a:pos x="connsiteX46780" y="connsiteY46780"/>
              </a:cxn>
              <a:cxn ang="0">
                <a:pos x="connsiteX46781" y="connsiteY46781"/>
              </a:cxn>
              <a:cxn ang="0">
                <a:pos x="connsiteX46782" y="connsiteY46782"/>
              </a:cxn>
              <a:cxn ang="0">
                <a:pos x="connsiteX46783" y="connsiteY46783"/>
              </a:cxn>
              <a:cxn ang="0">
                <a:pos x="connsiteX46784" y="connsiteY46784"/>
              </a:cxn>
              <a:cxn ang="0">
                <a:pos x="connsiteX46785" y="connsiteY46785"/>
              </a:cxn>
              <a:cxn ang="0">
                <a:pos x="connsiteX46786" y="connsiteY46786"/>
              </a:cxn>
              <a:cxn ang="0">
                <a:pos x="connsiteX46787" y="connsiteY46787"/>
              </a:cxn>
              <a:cxn ang="0">
                <a:pos x="connsiteX46788" y="connsiteY46788"/>
              </a:cxn>
              <a:cxn ang="0">
                <a:pos x="connsiteX46789" y="connsiteY46789"/>
              </a:cxn>
              <a:cxn ang="0">
                <a:pos x="connsiteX46790" y="connsiteY46790"/>
              </a:cxn>
              <a:cxn ang="0">
                <a:pos x="connsiteX46791" y="connsiteY46791"/>
              </a:cxn>
              <a:cxn ang="0">
                <a:pos x="connsiteX46792" y="connsiteY46792"/>
              </a:cxn>
              <a:cxn ang="0">
                <a:pos x="connsiteX46793" y="connsiteY46793"/>
              </a:cxn>
              <a:cxn ang="0">
                <a:pos x="connsiteX46794" y="connsiteY46794"/>
              </a:cxn>
              <a:cxn ang="0">
                <a:pos x="connsiteX46795" y="connsiteY46795"/>
              </a:cxn>
              <a:cxn ang="0">
                <a:pos x="connsiteX46796" y="connsiteY46796"/>
              </a:cxn>
              <a:cxn ang="0">
                <a:pos x="connsiteX46797" y="connsiteY46797"/>
              </a:cxn>
              <a:cxn ang="0">
                <a:pos x="connsiteX46798" y="connsiteY46798"/>
              </a:cxn>
              <a:cxn ang="0">
                <a:pos x="connsiteX46799" y="connsiteY46799"/>
              </a:cxn>
              <a:cxn ang="0">
                <a:pos x="connsiteX46800" y="connsiteY46800"/>
              </a:cxn>
              <a:cxn ang="0">
                <a:pos x="connsiteX46801" y="connsiteY46801"/>
              </a:cxn>
              <a:cxn ang="0">
                <a:pos x="connsiteX46802" y="connsiteY46802"/>
              </a:cxn>
              <a:cxn ang="0">
                <a:pos x="connsiteX46803" y="connsiteY46803"/>
              </a:cxn>
              <a:cxn ang="0">
                <a:pos x="connsiteX46804" y="connsiteY46804"/>
              </a:cxn>
              <a:cxn ang="0">
                <a:pos x="connsiteX46805" y="connsiteY46805"/>
              </a:cxn>
              <a:cxn ang="0">
                <a:pos x="connsiteX46806" y="connsiteY46806"/>
              </a:cxn>
              <a:cxn ang="0">
                <a:pos x="connsiteX46807" y="connsiteY46807"/>
              </a:cxn>
              <a:cxn ang="0">
                <a:pos x="connsiteX46808" y="connsiteY46808"/>
              </a:cxn>
              <a:cxn ang="0">
                <a:pos x="connsiteX46809" y="connsiteY46809"/>
              </a:cxn>
              <a:cxn ang="0">
                <a:pos x="connsiteX46810" y="connsiteY46810"/>
              </a:cxn>
              <a:cxn ang="0">
                <a:pos x="connsiteX46811" y="connsiteY46811"/>
              </a:cxn>
              <a:cxn ang="0">
                <a:pos x="connsiteX46812" y="connsiteY46812"/>
              </a:cxn>
              <a:cxn ang="0">
                <a:pos x="connsiteX46813" y="connsiteY46813"/>
              </a:cxn>
              <a:cxn ang="0">
                <a:pos x="connsiteX46814" y="connsiteY46814"/>
              </a:cxn>
              <a:cxn ang="0">
                <a:pos x="connsiteX46815" y="connsiteY46815"/>
              </a:cxn>
              <a:cxn ang="0">
                <a:pos x="connsiteX46816" y="connsiteY46816"/>
              </a:cxn>
              <a:cxn ang="0">
                <a:pos x="connsiteX46817" y="connsiteY46817"/>
              </a:cxn>
              <a:cxn ang="0">
                <a:pos x="connsiteX46818" y="connsiteY46818"/>
              </a:cxn>
              <a:cxn ang="0">
                <a:pos x="connsiteX46819" y="connsiteY46819"/>
              </a:cxn>
              <a:cxn ang="0">
                <a:pos x="connsiteX46820" y="connsiteY46820"/>
              </a:cxn>
              <a:cxn ang="0">
                <a:pos x="connsiteX46821" y="connsiteY46821"/>
              </a:cxn>
              <a:cxn ang="0">
                <a:pos x="connsiteX46822" y="connsiteY46822"/>
              </a:cxn>
              <a:cxn ang="0">
                <a:pos x="connsiteX46823" y="connsiteY46823"/>
              </a:cxn>
              <a:cxn ang="0">
                <a:pos x="connsiteX46824" y="connsiteY46824"/>
              </a:cxn>
              <a:cxn ang="0">
                <a:pos x="connsiteX46825" y="connsiteY46825"/>
              </a:cxn>
              <a:cxn ang="0">
                <a:pos x="connsiteX46826" y="connsiteY46826"/>
              </a:cxn>
              <a:cxn ang="0">
                <a:pos x="connsiteX46827" y="connsiteY46827"/>
              </a:cxn>
              <a:cxn ang="0">
                <a:pos x="connsiteX46828" y="connsiteY46828"/>
              </a:cxn>
              <a:cxn ang="0">
                <a:pos x="connsiteX46829" y="connsiteY46829"/>
              </a:cxn>
              <a:cxn ang="0">
                <a:pos x="connsiteX46830" y="connsiteY46830"/>
              </a:cxn>
              <a:cxn ang="0">
                <a:pos x="connsiteX46831" y="connsiteY46831"/>
              </a:cxn>
              <a:cxn ang="0">
                <a:pos x="connsiteX46832" y="connsiteY46832"/>
              </a:cxn>
              <a:cxn ang="0">
                <a:pos x="connsiteX46833" y="connsiteY46833"/>
              </a:cxn>
              <a:cxn ang="0">
                <a:pos x="connsiteX46834" y="connsiteY46834"/>
              </a:cxn>
              <a:cxn ang="0">
                <a:pos x="connsiteX46835" y="connsiteY46835"/>
              </a:cxn>
              <a:cxn ang="0">
                <a:pos x="connsiteX46836" y="connsiteY46836"/>
              </a:cxn>
              <a:cxn ang="0">
                <a:pos x="connsiteX46837" y="connsiteY46837"/>
              </a:cxn>
              <a:cxn ang="0">
                <a:pos x="connsiteX46838" y="connsiteY46838"/>
              </a:cxn>
              <a:cxn ang="0">
                <a:pos x="connsiteX46839" y="connsiteY46839"/>
              </a:cxn>
              <a:cxn ang="0">
                <a:pos x="connsiteX46840" y="connsiteY46840"/>
              </a:cxn>
              <a:cxn ang="0">
                <a:pos x="connsiteX46841" y="connsiteY46841"/>
              </a:cxn>
              <a:cxn ang="0">
                <a:pos x="connsiteX46842" y="connsiteY46842"/>
              </a:cxn>
              <a:cxn ang="0">
                <a:pos x="connsiteX46843" y="connsiteY46843"/>
              </a:cxn>
              <a:cxn ang="0">
                <a:pos x="connsiteX46844" y="connsiteY46844"/>
              </a:cxn>
              <a:cxn ang="0">
                <a:pos x="connsiteX46845" y="connsiteY46845"/>
              </a:cxn>
              <a:cxn ang="0">
                <a:pos x="connsiteX46846" y="connsiteY46846"/>
              </a:cxn>
              <a:cxn ang="0">
                <a:pos x="connsiteX46847" y="connsiteY46847"/>
              </a:cxn>
              <a:cxn ang="0">
                <a:pos x="connsiteX46848" y="connsiteY46848"/>
              </a:cxn>
              <a:cxn ang="0">
                <a:pos x="connsiteX46849" y="connsiteY46849"/>
              </a:cxn>
              <a:cxn ang="0">
                <a:pos x="connsiteX46850" y="connsiteY46850"/>
              </a:cxn>
              <a:cxn ang="0">
                <a:pos x="connsiteX46851" y="connsiteY46851"/>
              </a:cxn>
              <a:cxn ang="0">
                <a:pos x="connsiteX46852" y="connsiteY46852"/>
              </a:cxn>
              <a:cxn ang="0">
                <a:pos x="connsiteX46853" y="connsiteY46853"/>
              </a:cxn>
              <a:cxn ang="0">
                <a:pos x="connsiteX46854" y="connsiteY46854"/>
              </a:cxn>
              <a:cxn ang="0">
                <a:pos x="connsiteX46855" y="connsiteY46855"/>
              </a:cxn>
              <a:cxn ang="0">
                <a:pos x="connsiteX46856" y="connsiteY46856"/>
              </a:cxn>
              <a:cxn ang="0">
                <a:pos x="connsiteX46857" y="connsiteY46857"/>
              </a:cxn>
              <a:cxn ang="0">
                <a:pos x="connsiteX46858" y="connsiteY46858"/>
              </a:cxn>
              <a:cxn ang="0">
                <a:pos x="connsiteX46859" y="connsiteY46859"/>
              </a:cxn>
              <a:cxn ang="0">
                <a:pos x="connsiteX46860" y="connsiteY46860"/>
              </a:cxn>
              <a:cxn ang="0">
                <a:pos x="connsiteX46861" y="connsiteY46861"/>
              </a:cxn>
              <a:cxn ang="0">
                <a:pos x="connsiteX46862" y="connsiteY46862"/>
              </a:cxn>
              <a:cxn ang="0">
                <a:pos x="connsiteX46863" y="connsiteY46863"/>
              </a:cxn>
              <a:cxn ang="0">
                <a:pos x="connsiteX46864" y="connsiteY46864"/>
              </a:cxn>
              <a:cxn ang="0">
                <a:pos x="connsiteX46865" y="connsiteY46865"/>
              </a:cxn>
              <a:cxn ang="0">
                <a:pos x="connsiteX46866" y="connsiteY46866"/>
              </a:cxn>
              <a:cxn ang="0">
                <a:pos x="connsiteX46867" y="connsiteY46867"/>
              </a:cxn>
              <a:cxn ang="0">
                <a:pos x="connsiteX46868" y="connsiteY46868"/>
              </a:cxn>
              <a:cxn ang="0">
                <a:pos x="connsiteX46869" y="connsiteY46869"/>
              </a:cxn>
              <a:cxn ang="0">
                <a:pos x="connsiteX46870" y="connsiteY46870"/>
              </a:cxn>
              <a:cxn ang="0">
                <a:pos x="connsiteX46871" y="connsiteY46871"/>
              </a:cxn>
              <a:cxn ang="0">
                <a:pos x="connsiteX46872" y="connsiteY46872"/>
              </a:cxn>
              <a:cxn ang="0">
                <a:pos x="connsiteX46873" y="connsiteY46873"/>
              </a:cxn>
              <a:cxn ang="0">
                <a:pos x="connsiteX46874" y="connsiteY46874"/>
              </a:cxn>
              <a:cxn ang="0">
                <a:pos x="connsiteX46875" y="connsiteY46875"/>
              </a:cxn>
              <a:cxn ang="0">
                <a:pos x="connsiteX46876" y="connsiteY46876"/>
              </a:cxn>
              <a:cxn ang="0">
                <a:pos x="connsiteX46877" y="connsiteY46877"/>
              </a:cxn>
              <a:cxn ang="0">
                <a:pos x="connsiteX46878" y="connsiteY46878"/>
              </a:cxn>
              <a:cxn ang="0">
                <a:pos x="connsiteX46879" y="connsiteY46879"/>
              </a:cxn>
              <a:cxn ang="0">
                <a:pos x="connsiteX46880" y="connsiteY46880"/>
              </a:cxn>
              <a:cxn ang="0">
                <a:pos x="connsiteX46881" y="connsiteY46881"/>
              </a:cxn>
              <a:cxn ang="0">
                <a:pos x="connsiteX46882" y="connsiteY46882"/>
              </a:cxn>
              <a:cxn ang="0">
                <a:pos x="connsiteX46883" y="connsiteY46883"/>
              </a:cxn>
              <a:cxn ang="0">
                <a:pos x="connsiteX46884" y="connsiteY46884"/>
              </a:cxn>
              <a:cxn ang="0">
                <a:pos x="connsiteX46885" y="connsiteY46885"/>
              </a:cxn>
              <a:cxn ang="0">
                <a:pos x="connsiteX46886" y="connsiteY46886"/>
              </a:cxn>
              <a:cxn ang="0">
                <a:pos x="connsiteX46887" y="connsiteY46887"/>
              </a:cxn>
              <a:cxn ang="0">
                <a:pos x="connsiteX46888" y="connsiteY46888"/>
              </a:cxn>
              <a:cxn ang="0">
                <a:pos x="connsiteX46889" y="connsiteY46889"/>
              </a:cxn>
              <a:cxn ang="0">
                <a:pos x="connsiteX46890" y="connsiteY46890"/>
              </a:cxn>
              <a:cxn ang="0">
                <a:pos x="connsiteX46891" y="connsiteY46891"/>
              </a:cxn>
              <a:cxn ang="0">
                <a:pos x="connsiteX46892" y="connsiteY46892"/>
              </a:cxn>
              <a:cxn ang="0">
                <a:pos x="connsiteX46893" y="connsiteY46893"/>
              </a:cxn>
              <a:cxn ang="0">
                <a:pos x="connsiteX46894" y="connsiteY46894"/>
              </a:cxn>
              <a:cxn ang="0">
                <a:pos x="connsiteX46895" y="connsiteY46895"/>
              </a:cxn>
              <a:cxn ang="0">
                <a:pos x="connsiteX46896" y="connsiteY46896"/>
              </a:cxn>
              <a:cxn ang="0">
                <a:pos x="connsiteX46897" y="connsiteY46897"/>
              </a:cxn>
              <a:cxn ang="0">
                <a:pos x="connsiteX46898" y="connsiteY46898"/>
              </a:cxn>
              <a:cxn ang="0">
                <a:pos x="connsiteX46899" y="connsiteY46899"/>
              </a:cxn>
              <a:cxn ang="0">
                <a:pos x="connsiteX46900" y="connsiteY46900"/>
              </a:cxn>
              <a:cxn ang="0">
                <a:pos x="connsiteX46901" y="connsiteY46901"/>
              </a:cxn>
              <a:cxn ang="0">
                <a:pos x="connsiteX46902" y="connsiteY46902"/>
              </a:cxn>
              <a:cxn ang="0">
                <a:pos x="connsiteX46903" y="connsiteY46903"/>
              </a:cxn>
              <a:cxn ang="0">
                <a:pos x="connsiteX46904" y="connsiteY46904"/>
              </a:cxn>
              <a:cxn ang="0">
                <a:pos x="connsiteX46905" y="connsiteY46905"/>
              </a:cxn>
              <a:cxn ang="0">
                <a:pos x="connsiteX46906" y="connsiteY46906"/>
              </a:cxn>
              <a:cxn ang="0">
                <a:pos x="connsiteX46907" y="connsiteY46907"/>
              </a:cxn>
              <a:cxn ang="0">
                <a:pos x="connsiteX46908" y="connsiteY46908"/>
              </a:cxn>
              <a:cxn ang="0">
                <a:pos x="connsiteX46909" y="connsiteY46909"/>
              </a:cxn>
              <a:cxn ang="0">
                <a:pos x="connsiteX46910" y="connsiteY46910"/>
              </a:cxn>
              <a:cxn ang="0">
                <a:pos x="connsiteX46911" y="connsiteY46911"/>
              </a:cxn>
              <a:cxn ang="0">
                <a:pos x="connsiteX46912" y="connsiteY46912"/>
              </a:cxn>
              <a:cxn ang="0">
                <a:pos x="connsiteX46913" y="connsiteY46913"/>
              </a:cxn>
              <a:cxn ang="0">
                <a:pos x="connsiteX46914" y="connsiteY46914"/>
              </a:cxn>
              <a:cxn ang="0">
                <a:pos x="connsiteX46915" y="connsiteY46915"/>
              </a:cxn>
              <a:cxn ang="0">
                <a:pos x="connsiteX46916" y="connsiteY46916"/>
              </a:cxn>
              <a:cxn ang="0">
                <a:pos x="connsiteX46917" y="connsiteY46917"/>
              </a:cxn>
              <a:cxn ang="0">
                <a:pos x="connsiteX46918" y="connsiteY46918"/>
              </a:cxn>
              <a:cxn ang="0">
                <a:pos x="connsiteX46919" y="connsiteY46919"/>
              </a:cxn>
              <a:cxn ang="0">
                <a:pos x="connsiteX46920" y="connsiteY46920"/>
              </a:cxn>
              <a:cxn ang="0">
                <a:pos x="connsiteX46921" y="connsiteY46921"/>
              </a:cxn>
              <a:cxn ang="0">
                <a:pos x="connsiteX46922" y="connsiteY46922"/>
              </a:cxn>
              <a:cxn ang="0">
                <a:pos x="connsiteX46923" y="connsiteY46923"/>
              </a:cxn>
              <a:cxn ang="0">
                <a:pos x="connsiteX46924" y="connsiteY46924"/>
              </a:cxn>
              <a:cxn ang="0">
                <a:pos x="connsiteX46925" y="connsiteY46925"/>
              </a:cxn>
              <a:cxn ang="0">
                <a:pos x="connsiteX46926" y="connsiteY46926"/>
              </a:cxn>
              <a:cxn ang="0">
                <a:pos x="connsiteX46927" y="connsiteY46927"/>
              </a:cxn>
              <a:cxn ang="0">
                <a:pos x="connsiteX46928" y="connsiteY46928"/>
              </a:cxn>
              <a:cxn ang="0">
                <a:pos x="connsiteX46929" y="connsiteY46929"/>
              </a:cxn>
              <a:cxn ang="0">
                <a:pos x="connsiteX46930" y="connsiteY46930"/>
              </a:cxn>
              <a:cxn ang="0">
                <a:pos x="connsiteX46931" y="connsiteY46931"/>
              </a:cxn>
              <a:cxn ang="0">
                <a:pos x="connsiteX46932" y="connsiteY46932"/>
              </a:cxn>
              <a:cxn ang="0">
                <a:pos x="connsiteX46933" y="connsiteY46933"/>
              </a:cxn>
              <a:cxn ang="0">
                <a:pos x="connsiteX46934" y="connsiteY46934"/>
              </a:cxn>
              <a:cxn ang="0">
                <a:pos x="connsiteX46935" y="connsiteY46935"/>
              </a:cxn>
              <a:cxn ang="0">
                <a:pos x="connsiteX46936" y="connsiteY46936"/>
              </a:cxn>
              <a:cxn ang="0">
                <a:pos x="connsiteX46937" y="connsiteY46937"/>
              </a:cxn>
              <a:cxn ang="0">
                <a:pos x="connsiteX46938" y="connsiteY46938"/>
              </a:cxn>
              <a:cxn ang="0">
                <a:pos x="connsiteX46939" y="connsiteY46939"/>
              </a:cxn>
              <a:cxn ang="0">
                <a:pos x="connsiteX46940" y="connsiteY46940"/>
              </a:cxn>
              <a:cxn ang="0">
                <a:pos x="connsiteX46941" y="connsiteY46941"/>
              </a:cxn>
              <a:cxn ang="0">
                <a:pos x="connsiteX46942" y="connsiteY46942"/>
              </a:cxn>
              <a:cxn ang="0">
                <a:pos x="connsiteX46943" y="connsiteY46943"/>
              </a:cxn>
              <a:cxn ang="0">
                <a:pos x="connsiteX46944" y="connsiteY46944"/>
              </a:cxn>
              <a:cxn ang="0">
                <a:pos x="connsiteX46945" y="connsiteY46945"/>
              </a:cxn>
              <a:cxn ang="0">
                <a:pos x="connsiteX46946" y="connsiteY46946"/>
              </a:cxn>
              <a:cxn ang="0">
                <a:pos x="connsiteX46947" y="connsiteY46947"/>
              </a:cxn>
              <a:cxn ang="0">
                <a:pos x="connsiteX46948" y="connsiteY46948"/>
              </a:cxn>
              <a:cxn ang="0">
                <a:pos x="connsiteX46949" y="connsiteY46949"/>
              </a:cxn>
              <a:cxn ang="0">
                <a:pos x="connsiteX46950" y="connsiteY46950"/>
              </a:cxn>
              <a:cxn ang="0">
                <a:pos x="connsiteX46951" y="connsiteY46951"/>
              </a:cxn>
              <a:cxn ang="0">
                <a:pos x="connsiteX46952" y="connsiteY46952"/>
              </a:cxn>
              <a:cxn ang="0">
                <a:pos x="connsiteX46953" y="connsiteY46953"/>
              </a:cxn>
              <a:cxn ang="0">
                <a:pos x="connsiteX46954" y="connsiteY46954"/>
              </a:cxn>
              <a:cxn ang="0">
                <a:pos x="connsiteX46955" y="connsiteY46955"/>
              </a:cxn>
              <a:cxn ang="0">
                <a:pos x="connsiteX46956" y="connsiteY46956"/>
              </a:cxn>
              <a:cxn ang="0">
                <a:pos x="connsiteX46957" y="connsiteY46957"/>
              </a:cxn>
              <a:cxn ang="0">
                <a:pos x="connsiteX46958" y="connsiteY46958"/>
              </a:cxn>
              <a:cxn ang="0">
                <a:pos x="connsiteX46959" y="connsiteY46959"/>
              </a:cxn>
              <a:cxn ang="0">
                <a:pos x="connsiteX46960" y="connsiteY46960"/>
              </a:cxn>
              <a:cxn ang="0">
                <a:pos x="connsiteX46961" y="connsiteY46961"/>
              </a:cxn>
              <a:cxn ang="0">
                <a:pos x="connsiteX46962" y="connsiteY46962"/>
              </a:cxn>
              <a:cxn ang="0">
                <a:pos x="connsiteX46963" y="connsiteY46963"/>
              </a:cxn>
              <a:cxn ang="0">
                <a:pos x="connsiteX46964" y="connsiteY46964"/>
              </a:cxn>
              <a:cxn ang="0">
                <a:pos x="connsiteX46965" y="connsiteY46965"/>
              </a:cxn>
              <a:cxn ang="0">
                <a:pos x="connsiteX46966" y="connsiteY46966"/>
              </a:cxn>
              <a:cxn ang="0">
                <a:pos x="connsiteX46967" y="connsiteY46967"/>
              </a:cxn>
              <a:cxn ang="0">
                <a:pos x="connsiteX46968" y="connsiteY46968"/>
              </a:cxn>
              <a:cxn ang="0">
                <a:pos x="connsiteX46969" y="connsiteY46969"/>
              </a:cxn>
              <a:cxn ang="0">
                <a:pos x="connsiteX46970" y="connsiteY46970"/>
              </a:cxn>
              <a:cxn ang="0">
                <a:pos x="connsiteX46971" y="connsiteY46971"/>
              </a:cxn>
              <a:cxn ang="0">
                <a:pos x="connsiteX46972" y="connsiteY46972"/>
              </a:cxn>
              <a:cxn ang="0">
                <a:pos x="connsiteX46973" y="connsiteY46973"/>
              </a:cxn>
              <a:cxn ang="0">
                <a:pos x="connsiteX46974" y="connsiteY46974"/>
              </a:cxn>
              <a:cxn ang="0">
                <a:pos x="connsiteX46975" y="connsiteY46975"/>
              </a:cxn>
              <a:cxn ang="0">
                <a:pos x="connsiteX46976" y="connsiteY46976"/>
              </a:cxn>
              <a:cxn ang="0">
                <a:pos x="connsiteX46977" y="connsiteY46977"/>
              </a:cxn>
              <a:cxn ang="0">
                <a:pos x="connsiteX46978" y="connsiteY46978"/>
              </a:cxn>
              <a:cxn ang="0">
                <a:pos x="connsiteX46979" y="connsiteY46979"/>
              </a:cxn>
              <a:cxn ang="0">
                <a:pos x="connsiteX46980" y="connsiteY46980"/>
              </a:cxn>
              <a:cxn ang="0">
                <a:pos x="connsiteX46981" y="connsiteY46981"/>
              </a:cxn>
              <a:cxn ang="0">
                <a:pos x="connsiteX46982" y="connsiteY46982"/>
              </a:cxn>
              <a:cxn ang="0">
                <a:pos x="connsiteX46983" y="connsiteY46983"/>
              </a:cxn>
              <a:cxn ang="0">
                <a:pos x="connsiteX46984" y="connsiteY46984"/>
              </a:cxn>
              <a:cxn ang="0">
                <a:pos x="connsiteX46985" y="connsiteY46985"/>
              </a:cxn>
              <a:cxn ang="0">
                <a:pos x="connsiteX46986" y="connsiteY46986"/>
              </a:cxn>
              <a:cxn ang="0">
                <a:pos x="connsiteX46987" y="connsiteY46987"/>
              </a:cxn>
              <a:cxn ang="0">
                <a:pos x="connsiteX46988" y="connsiteY46988"/>
              </a:cxn>
              <a:cxn ang="0">
                <a:pos x="connsiteX46989" y="connsiteY46989"/>
              </a:cxn>
              <a:cxn ang="0">
                <a:pos x="connsiteX46990" y="connsiteY46990"/>
              </a:cxn>
              <a:cxn ang="0">
                <a:pos x="connsiteX46991" y="connsiteY46991"/>
              </a:cxn>
              <a:cxn ang="0">
                <a:pos x="connsiteX46992" y="connsiteY46992"/>
              </a:cxn>
              <a:cxn ang="0">
                <a:pos x="connsiteX46993" y="connsiteY46993"/>
              </a:cxn>
              <a:cxn ang="0">
                <a:pos x="connsiteX46994" y="connsiteY46994"/>
              </a:cxn>
              <a:cxn ang="0">
                <a:pos x="connsiteX46995" y="connsiteY46995"/>
              </a:cxn>
              <a:cxn ang="0">
                <a:pos x="connsiteX46996" y="connsiteY46996"/>
              </a:cxn>
              <a:cxn ang="0">
                <a:pos x="connsiteX46997" y="connsiteY46997"/>
              </a:cxn>
              <a:cxn ang="0">
                <a:pos x="connsiteX46998" y="connsiteY46998"/>
              </a:cxn>
              <a:cxn ang="0">
                <a:pos x="connsiteX46999" y="connsiteY46999"/>
              </a:cxn>
              <a:cxn ang="0">
                <a:pos x="connsiteX47000" y="connsiteY47000"/>
              </a:cxn>
              <a:cxn ang="0">
                <a:pos x="connsiteX47001" y="connsiteY47001"/>
              </a:cxn>
              <a:cxn ang="0">
                <a:pos x="connsiteX47002" y="connsiteY47002"/>
              </a:cxn>
              <a:cxn ang="0">
                <a:pos x="connsiteX47003" y="connsiteY47003"/>
              </a:cxn>
              <a:cxn ang="0">
                <a:pos x="connsiteX47004" y="connsiteY47004"/>
              </a:cxn>
              <a:cxn ang="0">
                <a:pos x="connsiteX47005" y="connsiteY47005"/>
              </a:cxn>
              <a:cxn ang="0">
                <a:pos x="connsiteX47006" y="connsiteY47006"/>
              </a:cxn>
              <a:cxn ang="0">
                <a:pos x="connsiteX47007" y="connsiteY47007"/>
              </a:cxn>
              <a:cxn ang="0">
                <a:pos x="connsiteX47008" y="connsiteY47008"/>
              </a:cxn>
              <a:cxn ang="0">
                <a:pos x="connsiteX47009" y="connsiteY47009"/>
              </a:cxn>
              <a:cxn ang="0">
                <a:pos x="connsiteX47010" y="connsiteY47010"/>
              </a:cxn>
              <a:cxn ang="0">
                <a:pos x="connsiteX47011" y="connsiteY47011"/>
              </a:cxn>
              <a:cxn ang="0">
                <a:pos x="connsiteX47012" y="connsiteY47012"/>
              </a:cxn>
              <a:cxn ang="0">
                <a:pos x="connsiteX47013" y="connsiteY47013"/>
              </a:cxn>
              <a:cxn ang="0">
                <a:pos x="connsiteX47014" y="connsiteY47014"/>
              </a:cxn>
              <a:cxn ang="0">
                <a:pos x="connsiteX47015" y="connsiteY47015"/>
              </a:cxn>
              <a:cxn ang="0">
                <a:pos x="connsiteX47016" y="connsiteY47016"/>
              </a:cxn>
              <a:cxn ang="0">
                <a:pos x="connsiteX47017" y="connsiteY47017"/>
              </a:cxn>
              <a:cxn ang="0">
                <a:pos x="connsiteX47018" y="connsiteY47018"/>
              </a:cxn>
              <a:cxn ang="0">
                <a:pos x="connsiteX47019" y="connsiteY47019"/>
              </a:cxn>
              <a:cxn ang="0">
                <a:pos x="connsiteX47020" y="connsiteY47020"/>
              </a:cxn>
              <a:cxn ang="0">
                <a:pos x="connsiteX47021" y="connsiteY47021"/>
              </a:cxn>
              <a:cxn ang="0">
                <a:pos x="connsiteX47022" y="connsiteY47022"/>
              </a:cxn>
              <a:cxn ang="0">
                <a:pos x="connsiteX47023" y="connsiteY47023"/>
              </a:cxn>
              <a:cxn ang="0">
                <a:pos x="connsiteX47024" y="connsiteY47024"/>
              </a:cxn>
              <a:cxn ang="0">
                <a:pos x="connsiteX47025" y="connsiteY47025"/>
              </a:cxn>
              <a:cxn ang="0">
                <a:pos x="connsiteX47026" y="connsiteY47026"/>
              </a:cxn>
              <a:cxn ang="0">
                <a:pos x="connsiteX47027" y="connsiteY47027"/>
              </a:cxn>
              <a:cxn ang="0">
                <a:pos x="connsiteX47028" y="connsiteY47028"/>
              </a:cxn>
              <a:cxn ang="0">
                <a:pos x="connsiteX47029" y="connsiteY47029"/>
              </a:cxn>
              <a:cxn ang="0">
                <a:pos x="connsiteX47030" y="connsiteY47030"/>
              </a:cxn>
              <a:cxn ang="0">
                <a:pos x="connsiteX47031" y="connsiteY47031"/>
              </a:cxn>
              <a:cxn ang="0">
                <a:pos x="connsiteX47032" y="connsiteY47032"/>
              </a:cxn>
              <a:cxn ang="0">
                <a:pos x="connsiteX47033" y="connsiteY47033"/>
              </a:cxn>
              <a:cxn ang="0">
                <a:pos x="connsiteX47034" y="connsiteY47034"/>
              </a:cxn>
              <a:cxn ang="0">
                <a:pos x="connsiteX47035" y="connsiteY47035"/>
              </a:cxn>
              <a:cxn ang="0">
                <a:pos x="connsiteX47036" y="connsiteY47036"/>
              </a:cxn>
              <a:cxn ang="0">
                <a:pos x="connsiteX47037" y="connsiteY47037"/>
              </a:cxn>
              <a:cxn ang="0">
                <a:pos x="connsiteX47038" y="connsiteY47038"/>
              </a:cxn>
              <a:cxn ang="0">
                <a:pos x="connsiteX47039" y="connsiteY47039"/>
              </a:cxn>
              <a:cxn ang="0">
                <a:pos x="connsiteX47040" y="connsiteY47040"/>
              </a:cxn>
              <a:cxn ang="0">
                <a:pos x="connsiteX47041" y="connsiteY47041"/>
              </a:cxn>
              <a:cxn ang="0">
                <a:pos x="connsiteX47042" y="connsiteY47042"/>
              </a:cxn>
              <a:cxn ang="0">
                <a:pos x="connsiteX47043" y="connsiteY47043"/>
              </a:cxn>
              <a:cxn ang="0">
                <a:pos x="connsiteX47044" y="connsiteY47044"/>
              </a:cxn>
              <a:cxn ang="0">
                <a:pos x="connsiteX47045" y="connsiteY47045"/>
              </a:cxn>
              <a:cxn ang="0">
                <a:pos x="connsiteX47046" y="connsiteY47046"/>
              </a:cxn>
              <a:cxn ang="0">
                <a:pos x="connsiteX47047" y="connsiteY47047"/>
              </a:cxn>
              <a:cxn ang="0">
                <a:pos x="connsiteX47048" y="connsiteY47048"/>
              </a:cxn>
              <a:cxn ang="0">
                <a:pos x="connsiteX47049" y="connsiteY47049"/>
              </a:cxn>
              <a:cxn ang="0">
                <a:pos x="connsiteX47050" y="connsiteY47050"/>
              </a:cxn>
              <a:cxn ang="0">
                <a:pos x="connsiteX47051" y="connsiteY47051"/>
              </a:cxn>
              <a:cxn ang="0">
                <a:pos x="connsiteX47052" y="connsiteY47052"/>
              </a:cxn>
              <a:cxn ang="0">
                <a:pos x="connsiteX47053" y="connsiteY47053"/>
              </a:cxn>
              <a:cxn ang="0">
                <a:pos x="connsiteX47054" y="connsiteY47054"/>
              </a:cxn>
              <a:cxn ang="0">
                <a:pos x="connsiteX47055" y="connsiteY47055"/>
              </a:cxn>
              <a:cxn ang="0">
                <a:pos x="connsiteX47056" y="connsiteY47056"/>
              </a:cxn>
              <a:cxn ang="0">
                <a:pos x="connsiteX47057" y="connsiteY47057"/>
              </a:cxn>
              <a:cxn ang="0">
                <a:pos x="connsiteX47058" y="connsiteY47058"/>
              </a:cxn>
              <a:cxn ang="0">
                <a:pos x="connsiteX47059" y="connsiteY47059"/>
              </a:cxn>
              <a:cxn ang="0">
                <a:pos x="connsiteX47060" y="connsiteY47060"/>
              </a:cxn>
              <a:cxn ang="0">
                <a:pos x="connsiteX47061" y="connsiteY47061"/>
              </a:cxn>
              <a:cxn ang="0">
                <a:pos x="connsiteX47062" y="connsiteY47062"/>
              </a:cxn>
              <a:cxn ang="0">
                <a:pos x="connsiteX47063" y="connsiteY47063"/>
              </a:cxn>
              <a:cxn ang="0">
                <a:pos x="connsiteX47064" y="connsiteY47064"/>
              </a:cxn>
              <a:cxn ang="0">
                <a:pos x="connsiteX47065" y="connsiteY47065"/>
              </a:cxn>
              <a:cxn ang="0">
                <a:pos x="connsiteX47066" y="connsiteY47066"/>
              </a:cxn>
              <a:cxn ang="0">
                <a:pos x="connsiteX47067" y="connsiteY47067"/>
              </a:cxn>
              <a:cxn ang="0">
                <a:pos x="connsiteX47068" y="connsiteY47068"/>
              </a:cxn>
              <a:cxn ang="0">
                <a:pos x="connsiteX47069" y="connsiteY47069"/>
              </a:cxn>
              <a:cxn ang="0">
                <a:pos x="connsiteX47070" y="connsiteY47070"/>
              </a:cxn>
              <a:cxn ang="0">
                <a:pos x="connsiteX47071" y="connsiteY47071"/>
              </a:cxn>
              <a:cxn ang="0">
                <a:pos x="connsiteX47072" y="connsiteY47072"/>
              </a:cxn>
              <a:cxn ang="0">
                <a:pos x="connsiteX47073" y="connsiteY47073"/>
              </a:cxn>
              <a:cxn ang="0">
                <a:pos x="connsiteX47074" y="connsiteY47074"/>
              </a:cxn>
              <a:cxn ang="0">
                <a:pos x="connsiteX47075" y="connsiteY47075"/>
              </a:cxn>
              <a:cxn ang="0">
                <a:pos x="connsiteX47076" y="connsiteY47076"/>
              </a:cxn>
              <a:cxn ang="0">
                <a:pos x="connsiteX47077" y="connsiteY47077"/>
              </a:cxn>
              <a:cxn ang="0">
                <a:pos x="connsiteX47078" y="connsiteY47078"/>
              </a:cxn>
              <a:cxn ang="0">
                <a:pos x="connsiteX47079" y="connsiteY47079"/>
              </a:cxn>
              <a:cxn ang="0">
                <a:pos x="connsiteX47080" y="connsiteY47080"/>
              </a:cxn>
              <a:cxn ang="0">
                <a:pos x="connsiteX47081" y="connsiteY47081"/>
              </a:cxn>
              <a:cxn ang="0">
                <a:pos x="connsiteX47082" y="connsiteY47082"/>
              </a:cxn>
              <a:cxn ang="0">
                <a:pos x="connsiteX47083" y="connsiteY47083"/>
              </a:cxn>
              <a:cxn ang="0">
                <a:pos x="connsiteX47084" y="connsiteY47084"/>
              </a:cxn>
              <a:cxn ang="0">
                <a:pos x="connsiteX47085" y="connsiteY47085"/>
              </a:cxn>
              <a:cxn ang="0">
                <a:pos x="connsiteX47086" y="connsiteY47086"/>
              </a:cxn>
              <a:cxn ang="0">
                <a:pos x="connsiteX47087" y="connsiteY47087"/>
              </a:cxn>
              <a:cxn ang="0">
                <a:pos x="connsiteX47088" y="connsiteY47088"/>
              </a:cxn>
              <a:cxn ang="0">
                <a:pos x="connsiteX47089" y="connsiteY47089"/>
              </a:cxn>
              <a:cxn ang="0">
                <a:pos x="connsiteX47090" y="connsiteY47090"/>
              </a:cxn>
              <a:cxn ang="0">
                <a:pos x="connsiteX47091" y="connsiteY47091"/>
              </a:cxn>
              <a:cxn ang="0">
                <a:pos x="connsiteX47092" y="connsiteY47092"/>
              </a:cxn>
              <a:cxn ang="0">
                <a:pos x="connsiteX47093" y="connsiteY47093"/>
              </a:cxn>
              <a:cxn ang="0">
                <a:pos x="connsiteX47094" y="connsiteY47094"/>
              </a:cxn>
              <a:cxn ang="0">
                <a:pos x="connsiteX47095" y="connsiteY47095"/>
              </a:cxn>
              <a:cxn ang="0">
                <a:pos x="connsiteX47096" y="connsiteY47096"/>
              </a:cxn>
              <a:cxn ang="0">
                <a:pos x="connsiteX47097" y="connsiteY47097"/>
              </a:cxn>
              <a:cxn ang="0">
                <a:pos x="connsiteX47098" y="connsiteY47098"/>
              </a:cxn>
              <a:cxn ang="0">
                <a:pos x="connsiteX47099" y="connsiteY47099"/>
              </a:cxn>
              <a:cxn ang="0">
                <a:pos x="connsiteX47100" y="connsiteY47100"/>
              </a:cxn>
              <a:cxn ang="0">
                <a:pos x="connsiteX47101" y="connsiteY47101"/>
              </a:cxn>
              <a:cxn ang="0">
                <a:pos x="connsiteX47102" y="connsiteY47102"/>
              </a:cxn>
              <a:cxn ang="0">
                <a:pos x="connsiteX47103" y="connsiteY47103"/>
              </a:cxn>
              <a:cxn ang="0">
                <a:pos x="connsiteX47104" y="connsiteY47104"/>
              </a:cxn>
              <a:cxn ang="0">
                <a:pos x="connsiteX47105" y="connsiteY47105"/>
              </a:cxn>
              <a:cxn ang="0">
                <a:pos x="connsiteX47106" y="connsiteY47106"/>
              </a:cxn>
              <a:cxn ang="0">
                <a:pos x="connsiteX47107" y="connsiteY47107"/>
              </a:cxn>
              <a:cxn ang="0">
                <a:pos x="connsiteX47108" y="connsiteY47108"/>
              </a:cxn>
              <a:cxn ang="0">
                <a:pos x="connsiteX47109" y="connsiteY47109"/>
              </a:cxn>
              <a:cxn ang="0">
                <a:pos x="connsiteX47110" y="connsiteY47110"/>
              </a:cxn>
              <a:cxn ang="0">
                <a:pos x="connsiteX47111" y="connsiteY47111"/>
              </a:cxn>
              <a:cxn ang="0">
                <a:pos x="connsiteX47112" y="connsiteY47112"/>
              </a:cxn>
              <a:cxn ang="0">
                <a:pos x="connsiteX47113" y="connsiteY47113"/>
              </a:cxn>
              <a:cxn ang="0">
                <a:pos x="connsiteX47114" y="connsiteY47114"/>
              </a:cxn>
              <a:cxn ang="0">
                <a:pos x="connsiteX47115" y="connsiteY47115"/>
              </a:cxn>
              <a:cxn ang="0">
                <a:pos x="connsiteX47116" y="connsiteY47116"/>
              </a:cxn>
              <a:cxn ang="0">
                <a:pos x="connsiteX47117" y="connsiteY47117"/>
              </a:cxn>
              <a:cxn ang="0">
                <a:pos x="connsiteX47118" y="connsiteY47118"/>
              </a:cxn>
              <a:cxn ang="0">
                <a:pos x="connsiteX47119" y="connsiteY47119"/>
              </a:cxn>
              <a:cxn ang="0">
                <a:pos x="connsiteX47120" y="connsiteY47120"/>
              </a:cxn>
              <a:cxn ang="0">
                <a:pos x="connsiteX47121" y="connsiteY47121"/>
              </a:cxn>
              <a:cxn ang="0">
                <a:pos x="connsiteX47122" y="connsiteY47122"/>
              </a:cxn>
              <a:cxn ang="0">
                <a:pos x="connsiteX47123" y="connsiteY47123"/>
              </a:cxn>
              <a:cxn ang="0">
                <a:pos x="connsiteX47124" y="connsiteY47124"/>
              </a:cxn>
              <a:cxn ang="0">
                <a:pos x="connsiteX47125" y="connsiteY47125"/>
              </a:cxn>
              <a:cxn ang="0">
                <a:pos x="connsiteX47126" y="connsiteY47126"/>
              </a:cxn>
              <a:cxn ang="0">
                <a:pos x="connsiteX47127" y="connsiteY47127"/>
              </a:cxn>
              <a:cxn ang="0">
                <a:pos x="connsiteX47128" y="connsiteY47128"/>
              </a:cxn>
              <a:cxn ang="0">
                <a:pos x="connsiteX47129" y="connsiteY47129"/>
              </a:cxn>
              <a:cxn ang="0">
                <a:pos x="connsiteX47130" y="connsiteY47130"/>
              </a:cxn>
              <a:cxn ang="0">
                <a:pos x="connsiteX47131" y="connsiteY47131"/>
              </a:cxn>
              <a:cxn ang="0">
                <a:pos x="connsiteX47132" y="connsiteY47132"/>
              </a:cxn>
              <a:cxn ang="0">
                <a:pos x="connsiteX47133" y="connsiteY47133"/>
              </a:cxn>
              <a:cxn ang="0">
                <a:pos x="connsiteX47134" y="connsiteY47134"/>
              </a:cxn>
              <a:cxn ang="0">
                <a:pos x="connsiteX47135" y="connsiteY47135"/>
              </a:cxn>
              <a:cxn ang="0">
                <a:pos x="connsiteX47136" y="connsiteY47136"/>
              </a:cxn>
              <a:cxn ang="0">
                <a:pos x="connsiteX47137" y="connsiteY47137"/>
              </a:cxn>
              <a:cxn ang="0">
                <a:pos x="connsiteX47138" y="connsiteY47138"/>
              </a:cxn>
              <a:cxn ang="0">
                <a:pos x="connsiteX47139" y="connsiteY47139"/>
              </a:cxn>
              <a:cxn ang="0">
                <a:pos x="connsiteX47140" y="connsiteY47140"/>
              </a:cxn>
              <a:cxn ang="0">
                <a:pos x="connsiteX47141" y="connsiteY47141"/>
              </a:cxn>
              <a:cxn ang="0">
                <a:pos x="connsiteX47142" y="connsiteY47142"/>
              </a:cxn>
              <a:cxn ang="0">
                <a:pos x="connsiteX47143" y="connsiteY47143"/>
              </a:cxn>
              <a:cxn ang="0">
                <a:pos x="connsiteX47144" y="connsiteY47144"/>
              </a:cxn>
              <a:cxn ang="0">
                <a:pos x="connsiteX47145" y="connsiteY47145"/>
              </a:cxn>
              <a:cxn ang="0">
                <a:pos x="connsiteX47146" y="connsiteY47146"/>
              </a:cxn>
              <a:cxn ang="0">
                <a:pos x="connsiteX47147" y="connsiteY47147"/>
              </a:cxn>
              <a:cxn ang="0">
                <a:pos x="connsiteX47148" y="connsiteY47148"/>
              </a:cxn>
              <a:cxn ang="0">
                <a:pos x="connsiteX47149" y="connsiteY47149"/>
              </a:cxn>
              <a:cxn ang="0">
                <a:pos x="connsiteX47150" y="connsiteY47150"/>
              </a:cxn>
              <a:cxn ang="0">
                <a:pos x="connsiteX47151" y="connsiteY47151"/>
              </a:cxn>
              <a:cxn ang="0">
                <a:pos x="connsiteX47152" y="connsiteY47152"/>
              </a:cxn>
              <a:cxn ang="0">
                <a:pos x="connsiteX47153" y="connsiteY47153"/>
              </a:cxn>
              <a:cxn ang="0">
                <a:pos x="connsiteX47154" y="connsiteY47154"/>
              </a:cxn>
              <a:cxn ang="0">
                <a:pos x="connsiteX47155" y="connsiteY47155"/>
              </a:cxn>
              <a:cxn ang="0">
                <a:pos x="connsiteX47156" y="connsiteY47156"/>
              </a:cxn>
              <a:cxn ang="0">
                <a:pos x="connsiteX47157" y="connsiteY47157"/>
              </a:cxn>
              <a:cxn ang="0">
                <a:pos x="connsiteX47158" y="connsiteY47158"/>
              </a:cxn>
              <a:cxn ang="0">
                <a:pos x="connsiteX47159" y="connsiteY47159"/>
              </a:cxn>
              <a:cxn ang="0">
                <a:pos x="connsiteX47160" y="connsiteY47160"/>
              </a:cxn>
              <a:cxn ang="0">
                <a:pos x="connsiteX47161" y="connsiteY47161"/>
              </a:cxn>
              <a:cxn ang="0">
                <a:pos x="connsiteX47162" y="connsiteY47162"/>
              </a:cxn>
              <a:cxn ang="0">
                <a:pos x="connsiteX47163" y="connsiteY47163"/>
              </a:cxn>
              <a:cxn ang="0">
                <a:pos x="connsiteX47164" y="connsiteY47164"/>
              </a:cxn>
              <a:cxn ang="0">
                <a:pos x="connsiteX47165" y="connsiteY47165"/>
              </a:cxn>
              <a:cxn ang="0">
                <a:pos x="connsiteX47166" y="connsiteY47166"/>
              </a:cxn>
              <a:cxn ang="0">
                <a:pos x="connsiteX47167" y="connsiteY47167"/>
              </a:cxn>
              <a:cxn ang="0">
                <a:pos x="connsiteX47168" y="connsiteY47168"/>
              </a:cxn>
              <a:cxn ang="0">
                <a:pos x="connsiteX47169" y="connsiteY47169"/>
              </a:cxn>
              <a:cxn ang="0">
                <a:pos x="connsiteX47170" y="connsiteY47170"/>
              </a:cxn>
              <a:cxn ang="0">
                <a:pos x="connsiteX47171" y="connsiteY47171"/>
              </a:cxn>
              <a:cxn ang="0">
                <a:pos x="connsiteX47172" y="connsiteY47172"/>
              </a:cxn>
              <a:cxn ang="0">
                <a:pos x="connsiteX47173" y="connsiteY47173"/>
              </a:cxn>
              <a:cxn ang="0">
                <a:pos x="connsiteX47174" y="connsiteY47174"/>
              </a:cxn>
              <a:cxn ang="0">
                <a:pos x="connsiteX47175" y="connsiteY47175"/>
              </a:cxn>
              <a:cxn ang="0">
                <a:pos x="connsiteX47176" y="connsiteY47176"/>
              </a:cxn>
              <a:cxn ang="0">
                <a:pos x="connsiteX47177" y="connsiteY47177"/>
              </a:cxn>
              <a:cxn ang="0">
                <a:pos x="connsiteX47178" y="connsiteY47178"/>
              </a:cxn>
              <a:cxn ang="0">
                <a:pos x="connsiteX47179" y="connsiteY47179"/>
              </a:cxn>
              <a:cxn ang="0">
                <a:pos x="connsiteX47180" y="connsiteY47180"/>
              </a:cxn>
              <a:cxn ang="0">
                <a:pos x="connsiteX47181" y="connsiteY47181"/>
              </a:cxn>
              <a:cxn ang="0">
                <a:pos x="connsiteX47182" y="connsiteY47182"/>
              </a:cxn>
              <a:cxn ang="0">
                <a:pos x="connsiteX47183" y="connsiteY47183"/>
              </a:cxn>
              <a:cxn ang="0">
                <a:pos x="connsiteX47184" y="connsiteY47184"/>
              </a:cxn>
              <a:cxn ang="0">
                <a:pos x="connsiteX47185" y="connsiteY47185"/>
              </a:cxn>
              <a:cxn ang="0">
                <a:pos x="connsiteX47186" y="connsiteY47186"/>
              </a:cxn>
              <a:cxn ang="0">
                <a:pos x="connsiteX47187" y="connsiteY47187"/>
              </a:cxn>
              <a:cxn ang="0">
                <a:pos x="connsiteX47188" y="connsiteY47188"/>
              </a:cxn>
              <a:cxn ang="0">
                <a:pos x="connsiteX47189" y="connsiteY47189"/>
              </a:cxn>
              <a:cxn ang="0">
                <a:pos x="connsiteX47190" y="connsiteY47190"/>
              </a:cxn>
              <a:cxn ang="0">
                <a:pos x="connsiteX47191" y="connsiteY47191"/>
              </a:cxn>
              <a:cxn ang="0">
                <a:pos x="connsiteX47192" y="connsiteY47192"/>
              </a:cxn>
              <a:cxn ang="0">
                <a:pos x="connsiteX47193" y="connsiteY47193"/>
              </a:cxn>
              <a:cxn ang="0">
                <a:pos x="connsiteX47194" y="connsiteY47194"/>
              </a:cxn>
              <a:cxn ang="0">
                <a:pos x="connsiteX47195" y="connsiteY47195"/>
              </a:cxn>
              <a:cxn ang="0">
                <a:pos x="connsiteX47196" y="connsiteY47196"/>
              </a:cxn>
              <a:cxn ang="0">
                <a:pos x="connsiteX47197" y="connsiteY47197"/>
              </a:cxn>
              <a:cxn ang="0">
                <a:pos x="connsiteX47198" y="connsiteY47198"/>
              </a:cxn>
              <a:cxn ang="0">
                <a:pos x="connsiteX47199" y="connsiteY47199"/>
              </a:cxn>
              <a:cxn ang="0">
                <a:pos x="connsiteX47200" y="connsiteY47200"/>
              </a:cxn>
              <a:cxn ang="0">
                <a:pos x="connsiteX47201" y="connsiteY47201"/>
              </a:cxn>
              <a:cxn ang="0">
                <a:pos x="connsiteX47202" y="connsiteY47202"/>
              </a:cxn>
              <a:cxn ang="0">
                <a:pos x="connsiteX47203" y="connsiteY47203"/>
              </a:cxn>
              <a:cxn ang="0">
                <a:pos x="connsiteX47204" y="connsiteY47204"/>
              </a:cxn>
              <a:cxn ang="0">
                <a:pos x="connsiteX47205" y="connsiteY47205"/>
              </a:cxn>
              <a:cxn ang="0">
                <a:pos x="connsiteX47206" y="connsiteY47206"/>
              </a:cxn>
              <a:cxn ang="0">
                <a:pos x="connsiteX47207" y="connsiteY47207"/>
              </a:cxn>
              <a:cxn ang="0">
                <a:pos x="connsiteX47208" y="connsiteY47208"/>
              </a:cxn>
              <a:cxn ang="0">
                <a:pos x="connsiteX47209" y="connsiteY47209"/>
              </a:cxn>
              <a:cxn ang="0">
                <a:pos x="connsiteX47210" y="connsiteY47210"/>
              </a:cxn>
              <a:cxn ang="0">
                <a:pos x="connsiteX47211" y="connsiteY47211"/>
              </a:cxn>
              <a:cxn ang="0">
                <a:pos x="connsiteX47212" y="connsiteY47212"/>
              </a:cxn>
              <a:cxn ang="0">
                <a:pos x="connsiteX47213" y="connsiteY47213"/>
              </a:cxn>
              <a:cxn ang="0">
                <a:pos x="connsiteX47214" y="connsiteY47214"/>
              </a:cxn>
              <a:cxn ang="0">
                <a:pos x="connsiteX47215" y="connsiteY47215"/>
              </a:cxn>
              <a:cxn ang="0">
                <a:pos x="connsiteX47216" y="connsiteY47216"/>
              </a:cxn>
              <a:cxn ang="0">
                <a:pos x="connsiteX47217" y="connsiteY47217"/>
              </a:cxn>
              <a:cxn ang="0">
                <a:pos x="connsiteX47218" y="connsiteY47218"/>
              </a:cxn>
              <a:cxn ang="0">
                <a:pos x="connsiteX47219" y="connsiteY47219"/>
              </a:cxn>
              <a:cxn ang="0">
                <a:pos x="connsiteX47220" y="connsiteY47220"/>
              </a:cxn>
              <a:cxn ang="0">
                <a:pos x="connsiteX47221" y="connsiteY47221"/>
              </a:cxn>
              <a:cxn ang="0">
                <a:pos x="connsiteX47222" y="connsiteY47222"/>
              </a:cxn>
              <a:cxn ang="0">
                <a:pos x="connsiteX47223" y="connsiteY47223"/>
              </a:cxn>
              <a:cxn ang="0">
                <a:pos x="connsiteX47224" y="connsiteY47224"/>
              </a:cxn>
              <a:cxn ang="0">
                <a:pos x="connsiteX47225" y="connsiteY47225"/>
              </a:cxn>
              <a:cxn ang="0">
                <a:pos x="connsiteX47226" y="connsiteY47226"/>
              </a:cxn>
              <a:cxn ang="0">
                <a:pos x="connsiteX47227" y="connsiteY47227"/>
              </a:cxn>
              <a:cxn ang="0">
                <a:pos x="connsiteX47228" y="connsiteY47228"/>
              </a:cxn>
              <a:cxn ang="0">
                <a:pos x="connsiteX47229" y="connsiteY47229"/>
              </a:cxn>
              <a:cxn ang="0">
                <a:pos x="connsiteX47230" y="connsiteY47230"/>
              </a:cxn>
              <a:cxn ang="0">
                <a:pos x="connsiteX47231" y="connsiteY47231"/>
              </a:cxn>
              <a:cxn ang="0">
                <a:pos x="connsiteX47232" y="connsiteY47232"/>
              </a:cxn>
              <a:cxn ang="0">
                <a:pos x="connsiteX47233" y="connsiteY47233"/>
              </a:cxn>
              <a:cxn ang="0">
                <a:pos x="connsiteX47234" y="connsiteY47234"/>
              </a:cxn>
              <a:cxn ang="0">
                <a:pos x="connsiteX47235" y="connsiteY47235"/>
              </a:cxn>
              <a:cxn ang="0">
                <a:pos x="connsiteX47236" y="connsiteY47236"/>
              </a:cxn>
              <a:cxn ang="0">
                <a:pos x="connsiteX47237" y="connsiteY47237"/>
              </a:cxn>
              <a:cxn ang="0">
                <a:pos x="connsiteX47238" y="connsiteY47238"/>
              </a:cxn>
              <a:cxn ang="0">
                <a:pos x="connsiteX47239" y="connsiteY47239"/>
              </a:cxn>
              <a:cxn ang="0">
                <a:pos x="connsiteX47240" y="connsiteY47240"/>
              </a:cxn>
              <a:cxn ang="0">
                <a:pos x="connsiteX47241" y="connsiteY47241"/>
              </a:cxn>
              <a:cxn ang="0">
                <a:pos x="connsiteX47242" y="connsiteY47242"/>
              </a:cxn>
              <a:cxn ang="0">
                <a:pos x="connsiteX47243" y="connsiteY47243"/>
              </a:cxn>
              <a:cxn ang="0">
                <a:pos x="connsiteX47244" y="connsiteY47244"/>
              </a:cxn>
              <a:cxn ang="0">
                <a:pos x="connsiteX47245" y="connsiteY47245"/>
              </a:cxn>
              <a:cxn ang="0">
                <a:pos x="connsiteX47246" y="connsiteY47246"/>
              </a:cxn>
              <a:cxn ang="0">
                <a:pos x="connsiteX47247" y="connsiteY47247"/>
              </a:cxn>
              <a:cxn ang="0">
                <a:pos x="connsiteX47248" y="connsiteY47248"/>
              </a:cxn>
              <a:cxn ang="0">
                <a:pos x="connsiteX47249" y="connsiteY47249"/>
              </a:cxn>
              <a:cxn ang="0">
                <a:pos x="connsiteX47250" y="connsiteY47250"/>
              </a:cxn>
              <a:cxn ang="0">
                <a:pos x="connsiteX47251" y="connsiteY47251"/>
              </a:cxn>
              <a:cxn ang="0">
                <a:pos x="connsiteX47252" y="connsiteY47252"/>
              </a:cxn>
              <a:cxn ang="0">
                <a:pos x="connsiteX47253" y="connsiteY47253"/>
              </a:cxn>
              <a:cxn ang="0">
                <a:pos x="connsiteX47254" y="connsiteY47254"/>
              </a:cxn>
              <a:cxn ang="0">
                <a:pos x="connsiteX47255" y="connsiteY47255"/>
              </a:cxn>
              <a:cxn ang="0">
                <a:pos x="connsiteX47256" y="connsiteY47256"/>
              </a:cxn>
              <a:cxn ang="0">
                <a:pos x="connsiteX47257" y="connsiteY47257"/>
              </a:cxn>
              <a:cxn ang="0">
                <a:pos x="connsiteX47258" y="connsiteY47258"/>
              </a:cxn>
              <a:cxn ang="0">
                <a:pos x="connsiteX47259" y="connsiteY47259"/>
              </a:cxn>
              <a:cxn ang="0">
                <a:pos x="connsiteX47260" y="connsiteY47260"/>
              </a:cxn>
              <a:cxn ang="0">
                <a:pos x="connsiteX47261" y="connsiteY47261"/>
              </a:cxn>
              <a:cxn ang="0">
                <a:pos x="connsiteX47262" y="connsiteY47262"/>
              </a:cxn>
              <a:cxn ang="0">
                <a:pos x="connsiteX47263" y="connsiteY47263"/>
              </a:cxn>
              <a:cxn ang="0">
                <a:pos x="connsiteX47264" y="connsiteY47264"/>
              </a:cxn>
              <a:cxn ang="0">
                <a:pos x="connsiteX47265" y="connsiteY47265"/>
              </a:cxn>
              <a:cxn ang="0">
                <a:pos x="connsiteX47266" y="connsiteY47266"/>
              </a:cxn>
              <a:cxn ang="0">
                <a:pos x="connsiteX47267" y="connsiteY47267"/>
              </a:cxn>
              <a:cxn ang="0">
                <a:pos x="connsiteX47268" y="connsiteY47268"/>
              </a:cxn>
              <a:cxn ang="0">
                <a:pos x="connsiteX47269" y="connsiteY47269"/>
              </a:cxn>
              <a:cxn ang="0">
                <a:pos x="connsiteX47270" y="connsiteY47270"/>
              </a:cxn>
              <a:cxn ang="0">
                <a:pos x="connsiteX47271" y="connsiteY47271"/>
              </a:cxn>
              <a:cxn ang="0">
                <a:pos x="connsiteX47272" y="connsiteY47272"/>
              </a:cxn>
              <a:cxn ang="0">
                <a:pos x="connsiteX47273" y="connsiteY47273"/>
              </a:cxn>
              <a:cxn ang="0">
                <a:pos x="connsiteX47274" y="connsiteY47274"/>
              </a:cxn>
              <a:cxn ang="0">
                <a:pos x="connsiteX47275" y="connsiteY47275"/>
              </a:cxn>
              <a:cxn ang="0">
                <a:pos x="connsiteX47276" y="connsiteY47276"/>
              </a:cxn>
              <a:cxn ang="0">
                <a:pos x="connsiteX47277" y="connsiteY47277"/>
              </a:cxn>
              <a:cxn ang="0">
                <a:pos x="connsiteX47278" y="connsiteY47278"/>
              </a:cxn>
              <a:cxn ang="0">
                <a:pos x="connsiteX47279" y="connsiteY47279"/>
              </a:cxn>
              <a:cxn ang="0">
                <a:pos x="connsiteX47280" y="connsiteY47280"/>
              </a:cxn>
              <a:cxn ang="0">
                <a:pos x="connsiteX47281" y="connsiteY47281"/>
              </a:cxn>
              <a:cxn ang="0">
                <a:pos x="connsiteX47282" y="connsiteY47282"/>
              </a:cxn>
              <a:cxn ang="0">
                <a:pos x="connsiteX47283" y="connsiteY47283"/>
              </a:cxn>
              <a:cxn ang="0">
                <a:pos x="connsiteX47284" y="connsiteY47284"/>
              </a:cxn>
              <a:cxn ang="0">
                <a:pos x="connsiteX47285" y="connsiteY47285"/>
              </a:cxn>
              <a:cxn ang="0">
                <a:pos x="connsiteX47286" y="connsiteY47286"/>
              </a:cxn>
              <a:cxn ang="0">
                <a:pos x="connsiteX47287" y="connsiteY47287"/>
              </a:cxn>
              <a:cxn ang="0">
                <a:pos x="connsiteX47288" y="connsiteY47288"/>
              </a:cxn>
              <a:cxn ang="0">
                <a:pos x="connsiteX47289" y="connsiteY47289"/>
              </a:cxn>
              <a:cxn ang="0">
                <a:pos x="connsiteX47290" y="connsiteY47290"/>
              </a:cxn>
              <a:cxn ang="0">
                <a:pos x="connsiteX47291" y="connsiteY47291"/>
              </a:cxn>
              <a:cxn ang="0">
                <a:pos x="connsiteX47292" y="connsiteY47292"/>
              </a:cxn>
              <a:cxn ang="0">
                <a:pos x="connsiteX47293" y="connsiteY47293"/>
              </a:cxn>
              <a:cxn ang="0">
                <a:pos x="connsiteX47294" y="connsiteY47294"/>
              </a:cxn>
              <a:cxn ang="0">
                <a:pos x="connsiteX47295" y="connsiteY47295"/>
              </a:cxn>
              <a:cxn ang="0">
                <a:pos x="connsiteX47296" y="connsiteY47296"/>
              </a:cxn>
              <a:cxn ang="0">
                <a:pos x="connsiteX47297" y="connsiteY47297"/>
              </a:cxn>
              <a:cxn ang="0">
                <a:pos x="connsiteX47298" y="connsiteY47298"/>
              </a:cxn>
              <a:cxn ang="0">
                <a:pos x="connsiteX47299" y="connsiteY47299"/>
              </a:cxn>
              <a:cxn ang="0">
                <a:pos x="connsiteX47300" y="connsiteY47300"/>
              </a:cxn>
              <a:cxn ang="0">
                <a:pos x="connsiteX47301" y="connsiteY47301"/>
              </a:cxn>
              <a:cxn ang="0">
                <a:pos x="connsiteX47302" y="connsiteY47302"/>
              </a:cxn>
              <a:cxn ang="0">
                <a:pos x="connsiteX47303" y="connsiteY47303"/>
              </a:cxn>
              <a:cxn ang="0">
                <a:pos x="connsiteX47304" y="connsiteY47304"/>
              </a:cxn>
              <a:cxn ang="0">
                <a:pos x="connsiteX47305" y="connsiteY47305"/>
              </a:cxn>
              <a:cxn ang="0">
                <a:pos x="connsiteX47306" y="connsiteY47306"/>
              </a:cxn>
              <a:cxn ang="0">
                <a:pos x="connsiteX47307" y="connsiteY47307"/>
              </a:cxn>
              <a:cxn ang="0">
                <a:pos x="connsiteX47308" y="connsiteY47308"/>
              </a:cxn>
              <a:cxn ang="0">
                <a:pos x="connsiteX47309" y="connsiteY47309"/>
              </a:cxn>
              <a:cxn ang="0">
                <a:pos x="connsiteX47310" y="connsiteY47310"/>
              </a:cxn>
              <a:cxn ang="0">
                <a:pos x="connsiteX47311" y="connsiteY47311"/>
              </a:cxn>
              <a:cxn ang="0">
                <a:pos x="connsiteX47312" y="connsiteY47312"/>
              </a:cxn>
              <a:cxn ang="0">
                <a:pos x="connsiteX47313" y="connsiteY47313"/>
              </a:cxn>
              <a:cxn ang="0">
                <a:pos x="connsiteX47314" y="connsiteY47314"/>
              </a:cxn>
              <a:cxn ang="0">
                <a:pos x="connsiteX47315" y="connsiteY47315"/>
              </a:cxn>
              <a:cxn ang="0">
                <a:pos x="connsiteX47316" y="connsiteY47316"/>
              </a:cxn>
              <a:cxn ang="0">
                <a:pos x="connsiteX47317" y="connsiteY47317"/>
              </a:cxn>
              <a:cxn ang="0">
                <a:pos x="connsiteX47318" y="connsiteY47318"/>
              </a:cxn>
              <a:cxn ang="0">
                <a:pos x="connsiteX47319" y="connsiteY47319"/>
              </a:cxn>
              <a:cxn ang="0">
                <a:pos x="connsiteX47320" y="connsiteY47320"/>
              </a:cxn>
              <a:cxn ang="0">
                <a:pos x="connsiteX47321" y="connsiteY47321"/>
              </a:cxn>
              <a:cxn ang="0">
                <a:pos x="connsiteX47322" y="connsiteY47322"/>
              </a:cxn>
              <a:cxn ang="0">
                <a:pos x="connsiteX47323" y="connsiteY47323"/>
              </a:cxn>
              <a:cxn ang="0">
                <a:pos x="connsiteX47324" y="connsiteY47324"/>
              </a:cxn>
              <a:cxn ang="0">
                <a:pos x="connsiteX47325" y="connsiteY47325"/>
              </a:cxn>
              <a:cxn ang="0">
                <a:pos x="connsiteX47326" y="connsiteY47326"/>
              </a:cxn>
              <a:cxn ang="0">
                <a:pos x="connsiteX47327" y="connsiteY47327"/>
              </a:cxn>
              <a:cxn ang="0">
                <a:pos x="connsiteX47328" y="connsiteY47328"/>
              </a:cxn>
              <a:cxn ang="0">
                <a:pos x="connsiteX47329" y="connsiteY47329"/>
              </a:cxn>
              <a:cxn ang="0">
                <a:pos x="connsiteX47330" y="connsiteY47330"/>
              </a:cxn>
              <a:cxn ang="0">
                <a:pos x="connsiteX47331" y="connsiteY47331"/>
              </a:cxn>
              <a:cxn ang="0">
                <a:pos x="connsiteX47332" y="connsiteY47332"/>
              </a:cxn>
              <a:cxn ang="0">
                <a:pos x="connsiteX47333" y="connsiteY47333"/>
              </a:cxn>
              <a:cxn ang="0">
                <a:pos x="connsiteX47334" y="connsiteY47334"/>
              </a:cxn>
              <a:cxn ang="0">
                <a:pos x="connsiteX47335" y="connsiteY47335"/>
              </a:cxn>
              <a:cxn ang="0">
                <a:pos x="connsiteX47336" y="connsiteY47336"/>
              </a:cxn>
              <a:cxn ang="0">
                <a:pos x="connsiteX47337" y="connsiteY47337"/>
              </a:cxn>
              <a:cxn ang="0">
                <a:pos x="connsiteX47338" y="connsiteY47338"/>
              </a:cxn>
              <a:cxn ang="0">
                <a:pos x="connsiteX47339" y="connsiteY47339"/>
              </a:cxn>
              <a:cxn ang="0">
                <a:pos x="connsiteX47340" y="connsiteY47340"/>
              </a:cxn>
              <a:cxn ang="0">
                <a:pos x="connsiteX47341" y="connsiteY47341"/>
              </a:cxn>
              <a:cxn ang="0">
                <a:pos x="connsiteX47342" y="connsiteY47342"/>
              </a:cxn>
              <a:cxn ang="0">
                <a:pos x="connsiteX47343" y="connsiteY47343"/>
              </a:cxn>
              <a:cxn ang="0">
                <a:pos x="connsiteX47344" y="connsiteY47344"/>
              </a:cxn>
              <a:cxn ang="0">
                <a:pos x="connsiteX47345" y="connsiteY47345"/>
              </a:cxn>
              <a:cxn ang="0">
                <a:pos x="connsiteX47346" y="connsiteY47346"/>
              </a:cxn>
              <a:cxn ang="0">
                <a:pos x="connsiteX47347" y="connsiteY47347"/>
              </a:cxn>
              <a:cxn ang="0">
                <a:pos x="connsiteX47348" y="connsiteY47348"/>
              </a:cxn>
              <a:cxn ang="0">
                <a:pos x="connsiteX47349" y="connsiteY47349"/>
              </a:cxn>
              <a:cxn ang="0">
                <a:pos x="connsiteX47350" y="connsiteY47350"/>
              </a:cxn>
              <a:cxn ang="0">
                <a:pos x="connsiteX47351" y="connsiteY47351"/>
              </a:cxn>
              <a:cxn ang="0">
                <a:pos x="connsiteX47352" y="connsiteY47352"/>
              </a:cxn>
              <a:cxn ang="0">
                <a:pos x="connsiteX47353" y="connsiteY47353"/>
              </a:cxn>
              <a:cxn ang="0">
                <a:pos x="connsiteX47354" y="connsiteY47354"/>
              </a:cxn>
              <a:cxn ang="0">
                <a:pos x="connsiteX47355" y="connsiteY47355"/>
              </a:cxn>
              <a:cxn ang="0">
                <a:pos x="connsiteX47356" y="connsiteY47356"/>
              </a:cxn>
              <a:cxn ang="0">
                <a:pos x="connsiteX47357" y="connsiteY47357"/>
              </a:cxn>
              <a:cxn ang="0">
                <a:pos x="connsiteX47358" y="connsiteY47358"/>
              </a:cxn>
              <a:cxn ang="0">
                <a:pos x="connsiteX47359" y="connsiteY47359"/>
              </a:cxn>
              <a:cxn ang="0">
                <a:pos x="connsiteX47360" y="connsiteY47360"/>
              </a:cxn>
              <a:cxn ang="0">
                <a:pos x="connsiteX47361" y="connsiteY47361"/>
              </a:cxn>
              <a:cxn ang="0">
                <a:pos x="connsiteX47362" y="connsiteY47362"/>
              </a:cxn>
              <a:cxn ang="0">
                <a:pos x="connsiteX47363" y="connsiteY47363"/>
              </a:cxn>
              <a:cxn ang="0">
                <a:pos x="connsiteX47364" y="connsiteY47364"/>
              </a:cxn>
              <a:cxn ang="0">
                <a:pos x="connsiteX47365" y="connsiteY47365"/>
              </a:cxn>
              <a:cxn ang="0">
                <a:pos x="connsiteX47366" y="connsiteY47366"/>
              </a:cxn>
              <a:cxn ang="0">
                <a:pos x="connsiteX47367" y="connsiteY47367"/>
              </a:cxn>
              <a:cxn ang="0">
                <a:pos x="connsiteX47368" y="connsiteY47368"/>
              </a:cxn>
              <a:cxn ang="0">
                <a:pos x="connsiteX47369" y="connsiteY47369"/>
              </a:cxn>
              <a:cxn ang="0">
                <a:pos x="connsiteX47370" y="connsiteY47370"/>
              </a:cxn>
              <a:cxn ang="0">
                <a:pos x="connsiteX47371" y="connsiteY47371"/>
              </a:cxn>
              <a:cxn ang="0">
                <a:pos x="connsiteX47372" y="connsiteY47372"/>
              </a:cxn>
              <a:cxn ang="0">
                <a:pos x="connsiteX47373" y="connsiteY47373"/>
              </a:cxn>
              <a:cxn ang="0">
                <a:pos x="connsiteX47374" y="connsiteY47374"/>
              </a:cxn>
              <a:cxn ang="0">
                <a:pos x="connsiteX47375" y="connsiteY47375"/>
              </a:cxn>
              <a:cxn ang="0">
                <a:pos x="connsiteX47376" y="connsiteY47376"/>
              </a:cxn>
              <a:cxn ang="0">
                <a:pos x="connsiteX47377" y="connsiteY47377"/>
              </a:cxn>
              <a:cxn ang="0">
                <a:pos x="connsiteX47378" y="connsiteY47378"/>
              </a:cxn>
              <a:cxn ang="0">
                <a:pos x="connsiteX47379" y="connsiteY47379"/>
              </a:cxn>
              <a:cxn ang="0">
                <a:pos x="connsiteX47380" y="connsiteY47380"/>
              </a:cxn>
              <a:cxn ang="0">
                <a:pos x="connsiteX47381" y="connsiteY47381"/>
              </a:cxn>
              <a:cxn ang="0">
                <a:pos x="connsiteX47382" y="connsiteY47382"/>
              </a:cxn>
              <a:cxn ang="0">
                <a:pos x="connsiteX47383" y="connsiteY47383"/>
              </a:cxn>
              <a:cxn ang="0">
                <a:pos x="connsiteX47384" y="connsiteY47384"/>
              </a:cxn>
              <a:cxn ang="0">
                <a:pos x="connsiteX47385" y="connsiteY47385"/>
              </a:cxn>
              <a:cxn ang="0">
                <a:pos x="connsiteX47386" y="connsiteY47386"/>
              </a:cxn>
              <a:cxn ang="0">
                <a:pos x="connsiteX47387" y="connsiteY47387"/>
              </a:cxn>
              <a:cxn ang="0">
                <a:pos x="connsiteX47388" y="connsiteY47388"/>
              </a:cxn>
              <a:cxn ang="0">
                <a:pos x="connsiteX47389" y="connsiteY47389"/>
              </a:cxn>
              <a:cxn ang="0">
                <a:pos x="connsiteX47390" y="connsiteY47390"/>
              </a:cxn>
              <a:cxn ang="0">
                <a:pos x="connsiteX47391" y="connsiteY47391"/>
              </a:cxn>
              <a:cxn ang="0">
                <a:pos x="connsiteX47392" y="connsiteY47392"/>
              </a:cxn>
              <a:cxn ang="0">
                <a:pos x="connsiteX47393" y="connsiteY47393"/>
              </a:cxn>
              <a:cxn ang="0">
                <a:pos x="connsiteX47394" y="connsiteY47394"/>
              </a:cxn>
              <a:cxn ang="0">
                <a:pos x="connsiteX47395" y="connsiteY47395"/>
              </a:cxn>
              <a:cxn ang="0">
                <a:pos x="connsiteX47396" y="connsiteY47396"/>
              </a:cxn>
              <a:cxn ang="0">
                <a:pos x="connsiteX47397" y="connsiteY47397"/>
              </a:cxn>
              <a:cxn ang="0">
                <a:pos x="connsiteX47398" y="connsiteY47398"/>
              </a:cxn>
              <a:cxn ang="0">
                <a:pos x="connsiteX47399" y="connsiteY47399"/>
              </a:cxn>
              <a:cxn ang="0">
                <a:pos x="connsiteX47400" y="connsiteY47400"/>
              </a:cxn>
              <a:cxn ang="0">
                <a:pos x="connsiteX47401" y="connsiteY47401"/>
              </a:cxn>
              <a:cxn ang="0">
                <a:pos x="connsiteX47402" y="connsiteY47402"/>
              </a:cxn>
              <a:cxn ang="0">
                <a:pos x="connsiteX47403" y="connsiteY47403"/>
              </a:cxn>
              <a:cxn ang="0">
                <a:pos x="connsiteX47404" y="connsiteY47404"/>
              </a:cxn>
              <a:cxn ang="0">
                <a:pos x="connsiteX47405" y="connsiteY47405"/>
              </a:cxn>
              <a:cxn ang="0">
                <a:pos x="connsiteX47406" y="connsiteY47406"/>
              </a:cxn>
              <a:cxn ang="0">
                <a:pos x="connsiteX47407" y="connsiteY47407"/>
              </a:cxn>
              <a:cxn ang="0">
                <a:pos x="connsiteX47408" y="connsiteY47408"/>
              </a:cxn>
              <a:cxn ang="0">
                <a:pos x="connsiteX47409" y="connsiteY47409"/>
              </a:cxn>
              <a:cxn ang="0">
                <a:pos x="connsiteX47410" y="connsiteY47410"/>
              </a:cxn>
              <a:cxn ang="0">
                <a:pos x="connsiteX47411" y="connsiteY47411"/>
              </a:cxn>
              <a:cxn ang="0">
                <a:pos x="connsiteX47412" y="connsiteY47412"/>
              </a:cxn>
              <a:cxn ang="0">
                <a:pos x="connsiteX47413" y="connsiteY47413"/>
              </a:cxn>
              <a:cxn ang="0">
                <a:pos x="connsiteX47414" y="connsiteY47414"/>
              </a:cxn>
              <a:cxn ang="0">
                <a:pos x="connsiteX47415" y="connsiteY47415"/>
              </a:cxn>
              <a:cxn ang="0">
                <a:pos x="connsiteX47416" y="connsiteY47416"/>
              </a:cxn>
              <a:cxn ang="0">
                <a:pos x="connsiteX47417" y="connsiteY47417"/>
              </a:cxn>
              <a:cxn ang="0">
                <a:pos x="connsiteX47418" y="connsiteY47418"/>
              </a:cxn>
              <a:cxn ang="0">
                <a:pos x="connsiteX47419" y="connsiteY47419"/>
              </a:cxn>
              <a:cxn ang="0">
                <a:pos x="connsiteX47420" y="connsiteY47420"/>
              </a:cxn>
              <a:cxn ang="0">
                <a:pos x="connsiteX47421" y="connsiteY47421"/>
              </a:cxn>
              <a:cxn ang="0">
                <a:pos x="connsiteX47422" y="connsiteY47422"/>
              </a:cxn>
              <a:cxn ang="0">
                <a:pos x="connsiteX47423" y="connsiteY47423"/>
              </a:cxn>
              <a:cxn ang="0">
                <a:pos x="connsiteX47424" y="connsiteY47424"/>
              </a:cxn>
              <a:cxn ang="0">
                <a:pos x="connsiteX47425" y="connsiteY47425"/>
              </a:cxn>
              <a:cxn ang="0">
                <a:pos x="connsiteX47426" y="connsiteY47426"/>
              </a:cxn>
              <a:cxn ang="0">
                <a:pos x="connsiteX47427" y="connsiteY47427"/>
              </a:cxn>
              <a:cxn ang="0">
                <a:pos x="connsiteX47428" y="connsiteY47428"/>
              </a:cxn>
              <a:cxn ang="0">
                <a:pos x="connsiteX47429" y="connsiteY47429"/>
              </a:cxn>
              <a:cxn ang="0">
                <a:pos x="connsiteX47430" y="connsiteY47430"/>
              </a:cxn>
              <a:cxn ang="0">
                <a:pos x="connsiteX47431" y="connsiteY47431"/>
              </a:cxn>
              <a:cxn ang="0">
                <a:pos x="connsiteX47432" y="connsiteY47432"/>
              </a:cxn>
              <a:cxn ang="0">
                <a:pos x="connsiteX47433" y="connsiteY47433"/>
              </a:cxn>
              <a:cxn ang="0">
                <a:pos x="connsiteX47434" y="connsiteY47434"/>
              </a:cxn>
              <a:cxn ang="0">
                <a:pos x="connsiteX47435" y="connsiteY47435"/>
              </a:cxn>
              <a:cxn ang="0">
                <a:pos x="connsiteX47436" y="connsiteY47436"/>
              </a:cxn>
              <a:cxn ang="0">
                <a:pos x="connsiteX47437" y="connsiteY47437"/>
              </a:cxn>
              <a:cxn ang="0">
                <a:pos x="connsiteX47438" y="connsiteY47438"/>
              </a:cxn>
              <a:cxn ang="0">
                <a:pos x="connsiteX47439" y="connsiteY47439"/>
              </a:cxn>
              <a:cxn ang="0">
                <a:pos x="connsiteX47440" y="connsiteY47440"/>
              </a:cxn>
              <a:cxn ang="0">
                <a:pos x="connsiteX47441" y="connsiteY47441"/>
              </a:cxn>
              <a:cxn ang="0">
                <a:pos x="connsiteX47442" y="connsiteY47442"/>
              </a:cxn>
              <a:cxn ang="0">
                <a:pos x="connsiteX47443" y="connsiteY47443"/>
              </a:cxn>
              <a:cxn ang="0">
                <a:pos x="connsiteX47444" y="connsiteY47444"/>
              </a:cxn>
              <a:cxn ang="0">
                <a:pos x="connsiteX47445" y="connsiteY47445"/>
              </a:cxn>
              <a:cxn ang="0">
                <a:pos x="connsiteX47446" y="connsiteY47446"/>
              </a:cxn>
              <a:cxn ang="0">
                <a:pos x="connsiteX47447" y="connsiteY47447"/>
              </a:cxn>
              <a:cxn ang="0">
                <a:pos x="connsiteX47448" y="connsiteY47448"/>
              </a:cxn>
              <a:cxn ang="0">
                <a:pos x="connsiteX47449" y="connsiteY47449"/>
              </a:cxn>
              <a:cxn ang="0">
                <a:pos x="connsiteX47450" y="connsiteY47450"/>
              </a:cxn>
              <a:cxn ang="0">
                <a:pos x="connsiteX47451" y="connsiteY47451"/>
              </a:cxn>
              <a:cxn ang="0">
                <a:pos x="connsiteX47452" y="connsiteY47452"/>
              </a:cxn>
              <a:cxn ang="0">
                <a:pos x="connsiteX47453" y="connsiteY47453"/>
              </a:cxn>
              <a:cxn ang="0">
                <a:pos x="connsiteX47454" y="connsiteY47454"/>
              </a:cxn>
              <a:cxn ang="0">
                <a:pos x="connsiteX47455" y="connsiteY47455"/>
              </a:cxn>
              <a:cxn ang="0">
                <a:pos x="connsiteX47456" y="connsiteY47456"/>
              </a:cxn>
              <a:cxn ang="0">
                <a:pos x="connsiteX47457" y="connsiteY47457"/>
              </a:cxn>
              <a:cxn ang="0">
                <a:pos x="connsiteX47458" y="connsiteY47458"/>
              </a:cxn>
              <a:cxn ang="0">
                <a:pos x="connsiteX47459" y="connsiteY47459"/>
              </a:cxn>
              <a:cxn ang="0">
                <a:pos x="connsiteX47460" y="connsiteY47460"/>
              </a:cxn>
              <a:cxn ang="0">
                <a:pos x="connsiteX47461" y="connsiteY47461"/>
              </a:cxn>
              <a:cxn ang="0">
                <a:pos x="connsiteX47462" y="connsiteY47462"/>
              </a:cxn>
              <a:cxn ang="0">
                <a:pos x="connsiteX47463" y="connsiteY47463"/>
              </a:cxn>
              <a:cxn ang="0">
                <a:pos x="connsiteX47464" y="connsiteY47464"/>
              </a:cxn>
              <a:cxn ang="0">
                <a:pos x="connsiteX47465" y="connsiteY47465"/>
              </a:cxn>
              <a:cxn ang="0">
                <a:pos x="connsiteX47466" y="connsiteY47466"/>
              </a:cxn>
              <a:cxn ang="0">
                <a:pos x="connsiteX47467" y="connsiteY47467"/>
              </a:cxn>
              <a:cxn ang="0">
                <a:pos x="connsiteX47468" y="connsiteY47468"/>
              </a:cxn>
              <a:cxn ang="0">
                <a:pos x="connsiteX47469" y="connsiteY47469"/>
              </a:cxn>
              <a:cxn ang="0">
                <a:pos x="connsiteX47470" y="connsiteY47470"/>
              </a:cxn>
              <a:cxn ang="0">
                <a:pos x="connsiteX47471" y="connsiteY47471"/>
              </a:cxn>
              <a:cxn ang="0">
                <a:pos x="connsiteX47472" y="connsiteY47472"/>
              </a:cxn>
              <a:cxn ang="0">
                <a:pos x="connsiteX47473" y="connsiteY47473"/>
              </a:cxn>
              <a:cxn ang="0">
                <a:pos x="connsiteX47474" y="connsiteY47474"/>
              </a:cxn>
              <a:cxn ang="0">
                <a:pos x="connsiteX47475" y="connsiteY47475"/>
              </a:cxn>
              <a:cxn ang="0">
                <a:pos x="connsiteX47476" y="connsiteY47476"/>
              </a:cxn>
              <a:cxn ang="0">
                <a:pos x="connsiteX47477" y="connsiteY47477"/>
              </a:cxn>
              <a:cxn ang="0">
                <a:pos x="connsiteX47478" y="connsiteY47478"/>
              </a:cxn>
              <a:cxn ang="0">
                <a:pos x="connsiteX47479" y="connsiteY47479"/>
              </a:cxn>
              <a:cxn ang="0">
                <a:pos x="connsiteX47480" y="connsiteY47480"/>
              </a:cxn>
              <a:cxn ang="0">
                <a:pos x="connsiteX47481" y="connsiteY47481"/>
              </a:cxn>
              <a:cxn ang="0">
                <a:pos x="connsiteX47482" y="connsiteY47482"/>
              </a:cxn>
              <a:cxn ang="0">
                <a:pos x="connsiteX47483" y="connsiteY47483"/>
              </a:cxn>
              <a:cxn ang="0">
                <a:pos x="connsiteX47484" y="connsiteY47484"/>
              </a:cxn>
              <a:cxn ang="0">
                <a:pos x="connsiteX47485" y="connsiteY47485"/>
              </a:cxn>
              <a:cxn ang="0">
                <a:pos x="connsiteX47486" y="connsiteY47486"/>
              </a:cxn>
              <a:cxn ang="0">
                <a:pos x="connsiteX47487" y="connsiteY47487"/>
              </a:cxn>
              <a:cxn ang="0">
                <a:pos x="connsiteX47488" y="connsiteY47488"/>
              </a:cxn>
              <a:cxn ang="0">
                <a:pos x="connsiteX47489" y="connsiteY47489"/>
              </a:cxn>
              <a:cxn ang="0">
                <a:pos x="connsiteX47490" y="connsiteY47490"/>
              </a:cxn>
              <a:cxn ang="0">
                <a:pos x="connsiteX47491" y="connsiteY47491"/>
              </a:cxn>
              <a:cxn ang="0">
                <a:pos x="connsiteX47492" y="connsiteY47492"/>
              </a:cxn>
              <a:cxn ang="0">
                <a:pos x="connsiteX47493" y="connsiteY47493"/>
              </a:cxn>
              <a:cxn ang="0">
                <a:pos x="connsiteX47494" y="connsiteY47494"/>
              </a:cxn>
              <a:cxn ang="0">
                <a:pos x="connsiteX47495" y="connsiteY47495"/>
              </a:cxn>
              <a:cxn ang="0">
                <a:pos x="connsiteX47496" y="connsiteY47496"/>
              </a:cxn>
              <a:cxn ang="0">
                <a:pos x="connsiteX47497" y="connsiteY47497"/>
              </a:cxn>
              <a:cxn ang="0">
                <a:pos x="connsiteX47498" y="connsiteY47498"/>
              </a:cxn>
              <a:cxn ang="0">
                <a:pos x="connsiteX47499" y="connsiteY47499"/>
              </a:cxn>
              <a:cxn ang="0">
                <a:pos x="connsiteX47500" y="connsiteY47500"/>
              </a:cxn>
              <a:cxn ang="0">
                <a:pos x="connsiteX47501" y="connsiteY47501"/>
              </a:cxn>
              <a:cxn ang="0">
                <a:pos x="connsiteX47502" y="connsiteY47502"/>
              </a:cxn>
              <a:cxn ang="0">
                <a:pos x="connsiteX47503" y="connsiteY47503"/>
              </a:cxn>
              <a:cxn ang="0">
                <a:pos x="connsiteX47504" y="connsiteY47504"/>
              </a:cxn>
              <a:cxn ang="0">
                <a:pos x="connsiteX47505" y="connsiteY47505"/>
              </a:cxn>
              <a:cxn ang="0">
                <a:pos x="connsiteX47506" y="connsiteY47506"/>
              </a:cxn>
              <a:cxn ang="0">
                <a:pos x="connsiteX47507" y="connsiteY47507"/>
              </a:cxn>
              <a:cxn ang="0">
                <a:pos x="connsiteX47508" y="connsiteY47508"/>
              </a:cxn>
              <a:cxn ang="0">
                <a:pos x="connsiteX47509" y="connsiteY47509"/>
              </a:cxn>
              <a:cxn ang="0">
                <a:pos x="connsiteX47510" y="connsiteY47510"/>
              </a:cxn>
              <a:cxn ang="0">
                <a:pos x="connsiteX47511" y="connsiteY47511"/>
              </a:cxn>
              <a:cxn ang="0">
                <a:pos x="connsiteX47512" y="connsiteY47512"/>
              </a:cxn>
              <a:cxn ang="0">
                <a:pos x="connsiteX47513" y="connsiteY47513"/>
              </a:cxn>
              <a:cxn ang="0">
                <a:pos x="connsiteX47514" y="connsiteY47514"/>
              </a:cxn>
              <a:cxn ang="0">
                <a:pos x="connsiteX47515" y="connsiteY47515"/>
              </a:cxn>
              <a:cxn ang="0">
                <a:pos x="connsiteX47516" y="connsiteY47516"/>
              </a:cxn>
              <a:cxn ang="0">
                <a:pos x="connsiteX47517" y="connsiteY47517"/>
              </a:cxn>
              <a:cxn ang="0">
                <a:pos x="connsiteX47518" y="connsiteY47518"/>
              </a:cxn>
              <a:cxn ang="0">
                <a:pos x="connsiteX47519" y="connsiteY47519"/>
              </a:cxn>
              <a:cxn ang="0">
                <a:pos x="connsiteX47520" y="connsiteY47520"/>
              </a:cxn>
              <a:cxn ang="0">
                <a:pos x="connsiteX47521" y="connsiteY47521"/>
              </a:cxn>
              <a:cxn ang="0">
                <a:pos x="connsiteX47522" y="connsiteY47522"/>
              </a:cxn>
              <a:cxn ang="0">
                <a:pos x="connsiteX47523" y="connsiteY47523"/>
              </a:cxn>
              <a:cxn ang="0">
                <a:pos x="connsiteX47524" y="connsiteY47524"/>
              </a:cxn>
              <a:cxn ang="0">
                <a:pos x="connsiteX47525" y="connsiteY47525"/>
              </a:cxn>
              <a:cxn ang="0">
                <a:pos x="connsiteX47526" y="connsiteY47526"/>
              </a:cxn>
              <a:cxn ang="0">
                <a:pos x="connsiteX47527" y="connsiteY47527"/>
              </a:cxn>
              <a:cxn ang="0">
                <a:pos x="connsiteX47528" y="connsiteY47528"/>
              </a:cxn>
              <a:cxn ang="0">
                <a:pos x="connsiteX47529" y="connsiteY47529"/>
              </a:cxn>
              <a:cxn ang="0">
                <a:pos x="connsiteX47530" y="connsiteY47530"/>
              </a:cxn>
              <a:cxn ang="0">
                <a:pos x="connsiteX47531" y="connsiteY47531"/>
              </a:cxn>
              <a:cxn ang="0">
                <a:pos x="connsiteX47532" y="connsiteY47532"/>
              </a:cxn>
              <a:cxn ang="0">
                <a:pos x="connsiteX47533" y="connsiteY47533"/>
              </a:cxn>
              <a:cxn ang="0">
                <a:pos x="connsiteX47534" y="connsiteY47534"/>
              </a:cxn>
              <a:cxn ang="0">
                <a:pos x="connsiteX47535" y="connsiteY47535"/>
              </a:cxn>
              <a:cxn ang="0">
                <a:pos x="connsiteX47536" y="connsiteY47536"/>
              </a:cxn>
              <a:cxn ang="0">
                <a:pos x="connsiteX47537" y="connsiteY47537"/>
              </a:cxn>
              <a:cxn ang="0">
                <a:pos x="connsiteX47538" y="connsiteY47538"/>
              </a:cxn>
              <a:cxn ang="0">
                <a:pos x="connsiteX47539" y="connsiteY47539"/>
              </a:cxn>
              <a:cxn ang="0">
                <a:pos x="connsiteX47540" y="connsiteY47540"/>
              </a:cxn>
              <a:cxn ang="0">
                <a:pos x="connsiteX47541" y="connsiteY47541"/>
              </a:cxn>
              <a:cxn ang="0">
                <a:pos x="connsiteX47542" y="connsiteY47542"/>
              </a:cxn>
              <a:cxn ang="0">
                <a:pos x="connsiteX47543" y="connsiteY47543"/>
              </a:cxn>
              <a:cxn ang="0">
                <a:pos x="connsiteX47544" y="connsiteY47544"/>
              </a:cxn>
              <a:cxn ang="0">
                <a:pos x="connsiteX47545" y="connsiteY47545"/>
              </a:cxn>
              <a:cxn ang="0">
                <a:pos x="connsiteX47546" y="connsiteY47546"/>
              </a:cxn>
              <a:cxn ang="0">
                <a:pos x="connsiteX47547" y="connsiteY47547"/>
              </a:cxn>
              <a:cxn ang="0">
                <a:pos x="connsiteX47548" y="connsiteY47548"/>
              </a:cxn>
              <a:cxn ang="0">
                <a:pos x="connsiteX47549" y="connsiteY47549"/>
              </a:cxn>
              <a:cxn ang="0">
                <a:pos x="connsiteX47550" y="connsiteY47550"/>
              </a:cxn>
              <a:cxn ang="0">
                <a:pos x="connsiteX47551" y="connsiteY47551"/>
              </a:cxn>
              <a:cxn ang="0">
                <a:pos x="connsiteX47552" y="connsiteY47552"/>
              </a:cxn>
              <a:cxn ang="0">
                <a:pos x="connsiteX47553" y="connsiteY47553"/>
              </a:cxn>
              <a:cxn ang="0">
                <a:pos x="connsiteX47554" y="connsiteY47554"/>
              </a:cxn>
              <a:cxn ang="0">
                <a:pos x="connsiteX47555" y="connsiteY47555"/>
              </a:cxn>
              <a:cxn ang="0">
                <a:pos x="connsiteX47556" y="connsiteY47556"/>
              </a:cxn>
              <a:cxn ang="0">
                <a:pos x="connsiteX47557" y="connsiteY47557"/>
              </a:cxn>
              <a:cxn ang="0">
                <a:pos x="connsiteX47558" y="connsiteY47558"/>
              </a:cxn>
              <a:cxn ang="0">
                <a:pos x="connsiteX47559" y="connsiteY47559"/>
              </a:cxn>
              <a:cxn ang="0">
                <a:pos x="connsiteX47560" y="connsiteY47560"/>
              </a:cxn>
              <a:cxn ang="0">
                <a:pos x="connsiteX47561" y="connsiteY47561"/>
              </a:cxn>
              <a:cxn ang="0">
                <a:pos x="connsiteX47562" y="connsiteY47562"/>
              </a:cxn>
              <a:cxn ang="0">
                <a:pos x="connsiteX47563" y="connsiteY47563"/>
              </a:cxn>
              <a:cxn ang="0">
                <a:pos x="connsiteX47564" y="connsiteY47564"/>
              </a:cxn>
              <a:cxn ang="0">
                <a:pos x="connsiteX47565" y="connsiteY47565"/>
              </a:cxn>
              <a:cxn ang="0">
                <a:pos x="connsiteX47566" y="connsiteY47566"/>
              </a:cxn>
              <a:cxn ang="0">
                <a:pos x="connsiteX47567" y="connsiteY47567"/>
              </a:cxn>
              <a:cxn ang="0">
                <a:pos x="connsiteX47568" y="connsiteY47568"/>
              </a:cxn>
              <a:cxn ang="0">
                <a:pos x="connsiteX47569" y="connsiteY47569"/>
              </a:cxn>
              <a:cxn ang="0">
                <a:pos x="connsiteX47570" y="connsiteY47570"/>
              </a:cxn>
              <a:cxn ang="0">
                <a:pos x="connsiteX47571" y="connsiteY47571"/>
              </a:cxn>
              <a:cxn ang="0">
                <a:pos x="connsiteX47572" y="connsiteY47572"/>
              </a:cxn>
              <a:cxn ang="0">
                <a:pos x="connsiteX47573" y="connsiteY47573"/>
              </a:cxn>
              <a:cxn ang="0">
                <a:pos x="connsiteX47574" y="connsiteY47574"/>
              </a:cxn>
              <a:cxn ang="0">
                <a:pos x="connsiteX47575" y="connsiteY47575"/>
              </a:cxn>
              <a:cxn ang="0">
                <a:pos x="connsiteX47576" y="connsiteY47576"/>
              </a:cxn>
              <a:cxn ang="0">
                <a:pos x="connsiteX47577" y="connsiteY47577"/>
              </a:cxn>
              <a:cxn ang="0">
                <a:pos x="connsiteX47578" y="connsiteY47578"/>
              </a:cxn>
              <a:cxn ang="0">
                <a:pos x="connsiteX47579" y="connsiteY47579"/>
              </a:cxn>
              <a:cxn ang="0">
                <a:pos x="connsiteX47580" y="connsiteY47580"/>
              </a:cxn>
              <a:cxn ang="0">
                <a:pos x="connsiteX47581" y="connsiteY47581"/>
              </a:cxn>
              <a:cxn ang="0">
                <a:pos x="connsiteX47582" y="connsiteY47582"/>
              </a:cxn>
              <a:cxn ang="0">
                <a:pos x="connsiteX47583" y="connsiteY47583"/>
              </a:cxn>
              <a:cxn ang="0">
                <a:pos x="connsiteX47584" y="connsiteY47584"/>
              </a:cxn>
              <a:cxn ang="0">
                <a:pos x="connsiteX47585" y="connsiteY47585"/>
              </a:cxn>
              <a:cxn ang="0">
                <a:pos x="connsiteX47586" y="connsiteY47586"/>
              </a:cxn>
              <a:cxn ang="0">
                <a:pos x="connsiteX47587" y="connsiteY47587"/>
              </a:cxn>
              <a:cxn ang="0">
                <a:pos x="connsiteX47588" y="connsiteY47588"/>
              </a:cxn>
              <a:cxn ang="0">
                <a:pos x="connsiteX47589" y="connsiteY47589"/>
              </a:cxn>
              <a:cxn ang="0">
                <a:pos x="connsiteX47590" y="connsiteY47590"/>
              </a:cxn>
              <a:cxn ang="0">
                <a:pos x="connsiteX47591" y="connsiteY47591"/>
              </a:cxn>
              <a:cxn ang="0">
                <a:pos x="connsiteX47592" y="connsiteY47592"/>
              </a:cxn>
              <a:cxn ang="0">
                <a:pos x="connsiteX47593" y="connsiteY47593"/>
              </a:cxn>
              <a:cxn ang="0">
                <a:pos x="connsiteX47594" y="connsiteY47594"/>
              </a:cxn>
              <a:cxn ang="0">
                <a:pos x="connsiteX47595" y="connsiteY47595"/>
              </a:cxn>
              <a:cxn ang="0">
                <a:pos x="connsiteX47596" y="connsiteY47596"/>
              </a:cxn>
              <a:cxn ang="0">
                <a:pos x="connsiteX47597" y="connsiteY47597"/>
              </a:cxn>
              <a:cxn ang="0">
                <a:pos x="connsiteX47598" y="connsiteY47598"/>
              </a:cxn>
              <a:cxn ang="0">
                <a:pos x="connsiteX47599" y="connsiteY47599"/>
              </a:cxn>
              <a:cxn ang="0">
                <a:pos x="connsiteX47600" y="connsiteY47600"/>
              </a:cxn>
              <a:cxn ang="0">
                <a:pos x="connsiteX47601" y="connsiteY47601"/>
              </a:cxn>
              <a:cxn ang="0">
                <a:pos x="connsiteX47602" y="connsiteY47602"/>
              </a:cxn>
              <a:cxn ang="0">
                <a:pos x="connsiteX47603" y="connsiteY47603"/>
              </a:cxn>
              <a:cxn ang="0">
                <a:pos x="connsiteX47604" y="connsiteY47604"/>
              </a:cxn>
              <a:cxn ang="0">
                <a:pos x="connsiteX47605" y="connsiteY47605"/>
              </a:cxn>
              <a:cxn ang="0">
                <a:pos x="connsiteX47606" y="connsiteY47606"/>
              </a:cxn>
              <a:cxn ang="0">
                <a:pos x="connsiteX47607" y="connsiteY47607"/>
              </a:cxn>
              <a:cxn ang="0">
                <a:pos x="connsiteX47608" y="connsiteY47608"/>
              </a:cxn>
              <a:cxn ang="0">
                <a:pos x="connsiteX47609" y="connsiteY47609"/>
              </a:cxn>
              <a:cxn ang="0">
                <a:pos x="connsiteX47610" y="connsiteY47610"/>
              </a:cxn>
              <a:cxn ang="0">
                <a:pos x="connsiteX47611" y="connsiteY47611"/>
              </a:cxn>
              <a:cxn ang="0">
                <a:pos x="connsiteX47612" y="connsiteY47612"/>
              </a:cxn>
              <a:cxn ang="0">
                <a:pos x="connsiteX47613" y="connsiteY47613"/>
              </a:cxn>
              <a:cxn ang="0">
                <a:pos x="connsiteX47614" y="connsiteY47614"/>
              </a:cxn>
              <a:cxn ang="0">
                <a:pos x="connsiteX47615" y="connsiteY47615"/>
              </a:cxn>
              <a:cxn ang="0">
                <a:pos x="connsiteX47616" y="connsiteY47616"/>
              </a:cxn>
              <a:cxn ang="0">
                <a:pos x="connsiteX47617" y="connsiteY47617"/>
              </a:cxn>
              <a:cxn ang="0">
                <a:pos x="connsiteX47618" y="connsiteY47618"/>
              </a:cxn>
              <a:cxn ang="0">
                <a:pos x="connsiteX47619" y="connsiteY47619"/>
              </a:cxn>
              <a:cxn ang="0">
                <a:pos x="connsiteX47620" y="connsiteY47620"/>
              </a:cxn>
              <a:cxn ang="0">
                <a:pos x="connsiteX47621" y="connsiteY47621"/>
              </a:cxn>
              <a:cxn ang="0">
                <a:pos x="connsiteX47622" y="connsiteY47622"/>
              </a:cxn>
              <a:cxn ang="0">
                <a:pos x="connsiteX47623" y="connsiteY47623"/>
              </a:cxn>
              <a:cxn ang="0">
                <a:pos x="connsiteX47624" y="connsiteY47624"/>
              </a:cxn>
              <a:cxn ang="0">
                <a:pos x="connsiteX47625" y="connsiteY47625"/>
              </a:cxn>
              <a:cxn ang="0">
                <a:pos x="connsiteX47626" y="connsiteY47626"/>
              </a:cxn>
              <a:cxn ang="0">
                <a:pos x="connsiteX47627" y="connsiteY47627"/>
              </a:cxn>
              <a:cxn ang="0">
                <a:pos x="connsiteX47628" y="connsiteY47628"/>
              </a:cxn>
              <a:cxn ang="0">
                <a:pos x="connsiteX47629" y="connsiteY47629"/>
              </a:cxn>
              <a:cxn ang="0">
                <a:pos x="connsiteX47630" y="connsiteY47630"/>
              </a:cxn>
              <a:cxn ang="0">
                <a:pos x="connsiteX47631" y="connsiteY47631"/>
              </a:cxn>
              <a:cxn ang="0">
                <a:pos x="connsiteX47632" y="connsiteY47632"/>
              </a:cxn>
              <a:cxn ang="0">
                <a:pos x="connsiteX47633" y="connsiteY47633"/>
              </a:cxn>
              <a:cxn ang="0">
                <a:pos x="connsiteX47634" y="connsiteY47634"/>
              </a:cxn>
              <a:cxn ang="0">
                <a:pos x="connsiteX47635" y="connsiteY47635"/>
              </a:cxn>
              <a:cxn ang="0">
                <a:pos x="connsiteX47636" y="connsiteY47636"/>
              </a:cxn>
              <a:cxn ang="0">
                <a:pos x="connsiteX47637" y="connsiteY47637"/>
              </a:cxn>
              <a:cxn ang="0">
                <a:pos x="connsiteX47638" y="connsiteY47638"/>
              </a:cxn>
              <a:cxn ang="0">
                <a:pos x="connsiteX47639" y="connsiteY47639"/>
              </a:cxn>
              <a:cxn ang="0">
                <a:pos x="connsiteX47640" y="connsiteY47640"/>
              </a:cxn>
              <a:cxn ang="0">
                <a:pos x="connsiteX47641" y="connsiteY47641"/>
              </a:cxn>
              <a:cxn ang="0">
                <a:pos x="connsiteX47642" y="connsiteY47642"/>
              </a:cxn>
              <a:cxn ang="0">
                <a:pos x="connsiteX47643" y="connsiteY47643"/>
              </a:cxn>
              <a:cxn ang="0">
                <a:pos x="connsiteX47644" y="connsiteY47644"/>
              </a:cxn>
              <a:cxn ang="0">
                <a:pos x="connsiteX47645" y="connsiteY47645"/>
              </a:cxn>
              <a:cxn ang="0">
                <a:pos x="connsiteX47646" y="connsiteY47646"/>
              </a:cxn>
              <a:cxn ang="0">
                <a:pos x="connsiteX47647" y="connsiteY47647"/>
              </a:cxn>
              <a:cxn ang="0">
                <a:pos x="connsiteX47648" y="connsiteY47648"/>
              </a:cxn>
              <a:cxn ang="0">
                <a:pos x="connsiteX47649" y="connsiteY47649"/>
              </a:cxn>
              <a:cxn ang="0">
                <a:pos x="connsiteX47650" y="connsiteY47650"/>
              </a:cxn>
              <a:cxn ang="0">
                <a:pos x="connsiteX47651" y="connsiteY47651"/>
              </a:cxn>
              <a:cxn ang="0">
                <a:pos x="connsiteX47652" y="connsiteY47652"/>
              </a:cxn>
              <a:cxn ang="0">
                <a:pos x="connsiteX47653" y="connsiteY47653"/>
              </a:cxn>
              <a:cxn ang="0">
                <a:pos x="connsiteX47654" y="connsiteY47654"/>
              </a:cxn>
              <a:cxn ang="0">
                <a:pos x="connsiteX47655" y="connsiteY47655"/>
              </a:cxn>
              <a:cxn ang="0">
                <a:pos x="connsiteX47656" y="connsiteY47656"/>
              </a:cxn>
              <a:cxn ang="0">
                <a:pos x="connsiteX47657" y="connsiteY47657"/>
              </a:cxn>
              <a:cxn ang="0">
                <a:pos x="connsiteX47658" y="connsiteY47658"/>
              </a:cxn>
              <a:cxn ang="0">
                <a:pos x="connsiteX47659" y="connsiteY47659"/>
              </a:cxn>
              <a:cxn ang="0">
                <a:pos x="connsiteX47660" y="connsiteY47660"/>
              </a:cxn>
              <a:cxn ang="0">
                <a:pos x="connsiteX47661" y="connsiteY47661"/>
              </a:cxn>
              <a:cxn ang="0">
                <a:pos x="connsiteX47662" y="connsiteY47662"/>
              </a:cxn>
              <a:cxn ang="0">
                <a:pos x="connsiteX47663" y="connsiteY47663"/>
              </a:cxn>
              <a:cxn ang="0">
                <a:pos x="connsiteX47664" y="connsiteY47664"/>
              </a:cxn>
              <a:cxn ang="0">
                <a:pos x="connsiteX47665" y="connsiteY47665"/>
              </a:cxn>
              <a:cxn ang="0">
                <a:pos x="connsiteX47666" y="connsiteY47666"/>
              </a:cxn>
              <a:cxn ang="0">
                <a:pos x="connsiteX47667" y="connsiteY47667"/>
              </a:cxn>
              <a:cxn ang="0">
                <a:pos x="connsiteX47668" y="connsiteY47668"/>
              </a:cxn>
              <a:cxn ang="0">
                <a:pos x="connsiteX47669" y="connsiteY47669"/>
              </a:cxn>
              <a:cxn ang="0">
                <a:pos x="connsiteX47670" y="connsiteY47670"/>
              </a:cxn>
              <a:cxn ang="0">
                <a:pos x="connsiteX47671" y="connsiteY47671"/>
              </a:cxn>
              <a:cxn ang="0">
                <a:pos x="connsiteX47672" y="connsiteY47672"/>
              </a:cxn>
              <a:cxn ang="0">
                <a:pos x="connsiteX47673" y="connsiteY47673"/>
              </a:cxn>
              <a:cxn ang="0">
                <a:pos x="connsiteX47674" y="connsiteY47674"/>
              </a:cxn>
              <a:cxn ang="0">
                <a:pos x="connsiteX47675" y="connsiteY47675"/>
              </a:cxn>
              <a:cxn ang="0">
                <a:pos x="connsiteX47676" y="connsiteY47676"/>
              </a:cxn>
              <a:cxn ang="0">
                <a:pos x="connsiteX47677" y="connsiteY47677"/>
              </a:cxn>
              <a:cxn ang="0">
                <a:pos x="connsiteX47678" y="connsiteY47678"/>
              </a:cxn>
              <a:cxn ang="0">
                <a:pos x="connsiteX47679" y="connsiteY47679"/>
              </a:cxn>
              <a:cxn ang="0">
                <a:pos x="connsiteX47680" y="connsiteY47680"/>
              </a:cxn>
              <a:cxn ang="0">
                <a:pos x="connsiteX47681" y="connsiteY47681"/>
              </a:cxn>
              <a:cxn ang="0">
                <a:pos x="connsiteX47682" y="connsiteY47682"/>
              </a:cxn>
              <a:cxn ang="0">
                <a:pos x="connsiteX47683" y="connsiteY47683"/>
              </a:cxn>
              <a:cxn ang="0">
                <a:pos x="connsiteX47684" y="connsiteY47684"/>
              </a:cxn>
              <a:cxn ang="0">
                <a:pos x="connsiteX47685" y="connsiteY47685"/>
              </a:cxn>
              <a:cxn ang="0">
                <a:pos x="connsiteX47686" y="connsiteY47686"/>
              </a:cxn>
              <a:cxn ang="0">
                <a:pos x="connsiteX47687" y="connsiteY47687"/>
              </a:cxn>
              <a:cxn ang="0">
                <a:pos x="connsiteX47688" y="connsiteY47688"/>
              </a:cxn>
              <a:cxn ang="0">
                <a:pos x="connsiteX47689" y="connsiteY47689"/>
              </a:cxn>
              <a:cxn ang="0">
                <a:pos x="connsiteX47690" y="connsiteY47690"/>
              </a:cxn>
              <a:cxn ang="0">
                <a:pos x="connsiteX47691" y="connsiteY47691"/>
              </a:cxn>
              <a:cxn ang="0">
                <a:pos x="connsiteX47692" y="connsiteY47692"/>
              </a:cxn>
              <a:cxn ang="0">
                <a:pos x="connsiteX47693" y="connsiteY47693"/>
              </a:cxn>
              <a:cxn ang="0">
                <a:pos x="connsiteX47694" y="connsiteY47694"/>
              </a:cxn>
              <a:cxn ang="0">
                <a:pos x="connsiteX47695" y="connsiteY47695"/>
              </a:cxn>
              <a:cxn ang="0">
                <a:pos x="connsiteX47696" y="connsiteY47696"/>
              </a:cxn>
              <a:cxn ang="0">
                <a:pos x="connsiteX47697" y="connsiteY47697"/>
              </a:cxn>
              <a:cxn ang="0">
                <a:pos x="connsiteX47698" y="connsiteY47698"/>
              </a:cxn>
              <a:cxn ang="0">
                <a:pos x="connsiteX47699" y="connsiteY47699"/>
              </a:cxn>
              <a:cxn ang="0">
                <a:pos x="connsiteX47700" y="connsiteY47700"/>
              </a:cxn>
              <a:cxn ang="0">
                <a:pos x="connsiteX47701" y="connsiteY47701"/>
              </a:cxn>
              <a:cxn ang="0">
                <a:pos x="connsiteX47702" y="connsiteY47702"/>
              </a:cxn>
              <a:cxn ang="0">
                <a:pos x="connsiteX47703" y="connsiteY47703"/>
              </a:cxn>
              <a:cxn ang="0">
                <a:pos x="connsiteX47704" y="connsiteY47704"/>
              </a:cxn>
              <a:cxn ang="0">
                <a:pos x="connsiteX47705" y="connsiteY47705"/>
              </a:cxn>
              <a:cxn ang="0">
                <a:pos x="connsiteX47706" y="connsiteY47706"/>
              </a:cxn>
              <a:cxn ang="0">
                <a:pos x="connsiteX47707" y="connsiteY47707"/>
              </a:cxn>
              <a:cxn ang="0">
                <a:pos x="connsiteX47708" y="connsiteY47708"/>
              </a:cxn>
              <a:cxn ang="0">
                <a:pos x="connsiteX47709" y="connsiteY47709"/>
              </a:cxn>
              <a:cxn ang="0">
                <a:pos x="connsiteX47710" y="connsiteY47710"/>
              </a:cxn>
              <a:cxn ang="0">
                <a:pos x="connsiteX47711" y="connsiteY47711"/>
              </a:cxn>
              <a:cxn ang="0">
                <a:pos x="connsiteX47712" y="connsiteY47712"/>
              </a:cxn>
              <a:cxn ang="0">
                <a:pos x="connsiteX47713" y="connsiteY47713"/>
              </a:cxn>
              <a:cxn ang="0">
                <a:pos x="connsiteX47714" y="connsiteY47714"/>
              </a:cxn>
              <a:cxn ang="0">
                <a:pos x="connsiteX47715" y="connsiteY47715"/>
              </a:cxn>
              <a:cxn ang="0">
                <a:pos x="connsiteX47716" y="connsiteY47716"/>
              </a:cxn>
              <a:cxn ang="0">
                <a:pos x="connsiteX47717" y="connsiteY47717"/>
              </a:cxn>
              <a:cxn ang="0">
                <a:pos x="connsiteX47718" y="connsiteY47718"/>
              </a:cxn>
              <a:cxn ang="0">
                <a:pos x="connsiteX47719" y="connsiteY47719"/>
              </a:cxn>
              <a:cxn ang="0">
                <a:pos x="connsiteX47720" y="connsiteY47720"/>
              </a:cxn>
              <a:cxn ang="0">
                <a:pos x="connsiteX47721" y="connsiteY47721"/>
              </a:cxn>
              <a:cxn ang="0">
                <a:pos x="connsiteX47722" y="connsiteY47722"/>
              </a:cxn>
              <a:cxn ang="0">
                <a:pos x="connsiteX47723" y="connsiteY47723"/>
              </a:cxn>
              <a:cxn ang="0">
                <a:pos x="connsiteX47724" y="connsiteY47724"/>
              </a:cxn>
              <a:cxn ang="0">
                <a:pos x="connsiteX47725" y="connsiteY47725"/>
              </a:cxn>
              <a:cxn ang="0">
                <a:pos x="connsiteX47726" y="connsiteY47726"/>
              </a:cxn>
              <a:cxn ang="0">
                <a:pos x="connsiteX47727" y="connsiteY47727"/>
              </a:cxn>
              <a:cxn ang="0">
                <a:pos x="connsiteX47728" y="connsiteY47728"/>
              </a:cxn>
              <a:cxn ang="0">
                <a:pos x="connsiteX47729" y="connsiteY47729"/>
              </a:cxn>
              <a:cxn ang="0">
                <a:pos x="connsiteX47730" y="connsiteY47730"/>
              </a:cxn>
              <a:cxn ang="0">
                <a:pos x="connsiteX47731" y="connsiteY47731"/>
              </a:cxn>
              <a:cxn ang="0">
                <a:pos x="connsiteX47732" y="connsiteY47732"/>
              </a:cxn>
              <a:cxn ang="0">
                <a:pos x="connsiteX47733" y="connsiteY47733"/>
              </a:cxn>
              <a:cxn ang="0">
                <a:pos x="connsiteX47734" y="connsiteY47734"/>
              </a:cxn>
              <a:cxn ang="0">
                <a:pos x="connsiteX47735" y="connsiteY47735"/>
              </a:cxn>
              <a:cxn ang="0">
                <a:pos x="connsiteX47736" y="connsiteY47736"/>
              </a:cxn>
              <a:cxn ang="0">
                <a:pos x="connsiteX47737" y="connsiteY47737"/>
              </a:cxn>
              <a:cxn ang="0">
                <a:pos x="connsiteX47738" y="connsiteY47738"/>
              </a:cxn>
              <a:cxn ang="0">
                <a:pos x="connsiteX47739" y="connsiteY47739"/>
              </a:cxn>
              <a:cxn ang="0">
                <a:pos x="connsiteX47740" y="connsiteY47740"/>
              </a:cxn>
              <a:cxn ang="0">
                <a:pos x="connsiteX47741" y="connsiteY47741"/>
              </a:cxn>
              <a:cxn ang="0">
                <a:pos x="connsiteX47742" y="connsiteY47742"/>
              </a:cxn>
              <a:cxn ang="0">
                <a:pos x="connsiteX47743" y="connsiteY47743"/>
              </a:cxn>
              <a:cxn ang="0">
                <a:pos x="connsiteX47744" y="connsiteY47744"/>
              </a:cxn>
              <a:cxn ang="0">
                <a:pos x="connsiteX47745" y="connsiteY47745"/>
              </a:cxn>
              <a:cxn ang="0">
                <a:pos x="connsiteX47746" y="connsiteY47746"/>
              </a:cxn>
              <a:cxn ang="0">
                <a:pos x="connsiteX47747" y="connsiteY47747"/>
              </a:cxn>
              <a:cxn ang="0">
                <a:pos x="connsiteX47748" y="connsiteY47748"/>
              </a:cxn>
              <a:cxn ang="0">
                <a:pos x="connsiteX47749" y="connsiteY47749"/>
              </a:cxn>
              <a:cxn ang="0">
                <a:pos x="connsiteX47750" y="connsiteY47750"/>
              </a:cxn>
              <a:cxn ang="0">
                <a:pos x="connsiteX47751" y="connsiteY47751"/>
              </a:cxn>
              <a:cxn ang="0">
                <a:pos x="connsiteX47752" y="connsiteY47752"/>
              </a:cxn>
              <a:cxn ang="0">
                <a:pos x="connsiteX47753" y="connsiteY47753"/>
              </a:cxn>
              <a:cxn ang="0">
                <a:pos x="connsiteX47754" y="connsiteY47754"/>
              </a:cxn>
              <a:cxn ang="0">
                <a:pos x="connsiteX47755" y="connsiteY47755"/>
              </a:cxn>
              <a:cxn ang="0">
                <a:pos x="connsiteX47756" y="connsiteY47756"/>
              </a:cxn>
              <a:cxn ang="0">
                <a:pos x="connsiteX47757" y="connsiteY47757"/>
              </a:cxn>
              <a:cxn ang="0">
                <a:pos x="connsiteX47758" y="connsiteY47758"/>
              </a:cxn>
              <a:cxn ang="0">
                <a:pos x="connsiteX47759" y="connsiteY47759"/>
              </a:cxn>
              <a:cxn ang="0">
                <a:pos x="connsiteX47760" y="connsiteY47760"/>
              </a:cxn>
              <a:cxn ang="0">
                <a:pos x="connsiteX47761" y="connsiteY47761"/>
              </a:cxn>
              <a:cxn ang="0">
                <a:pos x="connsiteX47762" y="connsiteY47762"/>
              </a:cxn>
              <a:cxn ang="0">
                <a:pos x="connsiteX47763" y="connsiteY47763"/>
              </a:cxn>
              <a:cxn ang="0">
                <a:pos x="connsiteX47764" y="connsiteY47764"/>
              </a:cxn>
              <a:cxn ang="0">
                <a:pos x="connsiteX47765" y="connsiteY47765"/>
              </a:cxn>
              <a:cxn ang="0">
                <a:pos x="connsiteX47766" y="connsiteY47766"/>
              </a:cxn>
              <a:cxn ang="0">
                <a:pos x="connsiteX47767" y="connsiteY47767"/>
              </a:cxn>
              <a:cxn ang="0">
                <a:pos x="connsiteX47768" y="connsiteY47768"/>
              </a:cxn>
              <a:cxn ang="0">
                <a:pos x="connsiteX47769" y="connsiteY47769"/>
              </a:cxn>
              <a:cxn ang="0">
                <a:pos x="connsiteX47770" y="connsiteY47770"/>
              </a:cxn>
              <a:cxn ang="0">
                <a:pos x="connsiteX47771" y="connsiteY47771"/>
              </a:cxn>
              <a:cxn ang="0">
                <a:pos x="connsiteX47772" y="connsiteY47772"/>
              </a:cxn>
              <a:cxn ang="0">
                <a:pos x="connsiteX47773" y="connsiteY47773"/>
              </a:cxn>
              <a:cxn ang="0">
                <a:pos x="connsiteX47774" y="connsiteY47774"/>
              </a:cxn>
              <a:cxn ang="0">
                <a:pos x="connsiteX47775" y="connsiteY47775"/>
              </a:cxn>
              <a:cxn ang="0">
                <a:pos x="connsiteX47776" y="connsiteY47776"/>
              </a:cxn>
              <a:cxn ang="0">
                <a:pos x="connsiteX47777" y="connsiteY47777"/>
              </a:cxn>
              <a:cxn ang="0">
                <a:pos x="connsiteX47778" y="connsiteY47778"/>
              </a:cxn>
              <a:cxn ang="0">
                <a:pos x="connsiteX47779" y="connsiteY47779"/>
              </a:cxn>
              <a:cxn ang="0">
                <a:pos x="connsiteX47780" y="connsiteY47780"/>
              </a:cxn>
              <a:cxn ang="0">
                <a:pos x="connsiteX47781" y="connsiteY47781"/>
              </a:cxn>
              <a:cxn ang="0">
                <a:pos x="connsiteX47782" y="connsiteY47782"/>
              </a:cxn>
              <a:cxn ang="0">
                <a:pos x="connsiteX47783" y="connsiteY47783"/>
              </a:cxn>
              <a:cxn ang="0">
                <a:pos x="connsiteX47784" y="connsiteY47784"/>
              </a:cxn>
              <a:cxn ang="0">
                <a:pos x="connsiteX47785" y="connsiteY47785"/>
              </a:cxn>
              <a:cxn ang="0">
                <a:pos x="connsiteX47786" y="connsiteY47786"/>
              </a:cxn>
              <a:cxn ang="0">
                <a:pos x="connsiteX47787" y="connsiteY47787"/>
              </a:cxn>
              <a:cxn ang="0">
                <a:pos x="connsiteX47788" y="connsiteY47788"/>
              </a:cxn>
              <a:cxn ang="0">
                <a:pos x="connsiteX47789" y="connsiteY47789"/>
              </a:cxn>
              <a:cxn ang="0">
                <a:pos x="connsiteX47790" y="connsiteY47790"/>
              </a:cxn>
              <a:cxn ang="0">
                <a:pos x="connsiteX47791" y="connsiteY47791"/>
              </a:cxn>
              <a:cxn ang="0">
                <a:pos x="connsiteX47792" y="connsiteY47792"/>
              </a:cxn>
              <a:cxn ang="0">
                <a:pos x="connsiteX47793" y="connsiteY47793"/>
              </a:cxn>
              <a:cxn ang="0">
                <a:pos x="connsiteX47794" y="connsiteY47794"/>
              </a:cxn>
              <a:cxn ang="0">
                <a:pos x="connsiteX47795" y="connsiteY47795"/>
              </a:cxn>
              <a:cxn ang="0">
                <a:pos x="connsiteX47796" y="connsiteY47796"/>
              </a:cxn>
              <a:cxn ang="0">
                <a:pos x="connsiteX47797" y="connsiteY47797"/>
              </a:cxn>
              <a:cxn ang="0">
                <a:pos x="connsiteX47798" y="connsiteY47798"/>
              </a:cxn>
              <a:cxn ang="0">
                <a:pos x="connsiteX47799" y="connsiteY47799"/>
              </a:cxn>
              <a:cxn ang="0">
                <a:pos x="connsiteX47800" y="connsiteY47800"/>
              </a:cxn>
              <a:cxn ang="0">
                <a:pos x="connsiteX47801" y="connsiteY47801"/>
              </a:cxn>
              <a:cxn ang="0">
                <a:pos x="connsiteX47802" y="connsiteY47802"/>
              </a:cxn>
              <a:cxn ang="0">
                <a:pos x="connsiteX47803" y="connsiteY47803"/>
              </a:cxn>
              <a:cxn ang="0">
                <a:pos x="connsiteX47804" y="connsiteY47804"/>
              </a:cxn>
              <a:cxn ang="0">
                <a:pos x="connsiteX47805" y="connsiteY47805"/>
              </a:cxn>
              <a:cxn ang="0">
                <a:pos x="connsiteX47806" y="connsiteY47806"/>
              </a:cxn>
              <a:cxn ang="0">
                <a:pos x="connsiteX47807" y="connsiteY47807"/>
              </a:cxn>
              <a:cxn ang="0">
                <a:pos x="connsiteX47808" y="connsiteY47808"/>
              </a:cxn>
              <a:cxn ang="0">
                <a:pos x="connsiteX47809" y="connsiteY47809"/>
              </a:cxn>
              <a:cxn ang="0">
                <a:pos x="connsiteX47810" y="connsiteY47810"/>
              </a:cxn>
              <a:cxn ang="0">
                <a:pos x="connsiteX47811" y="connsiteY47811"/>
              </a:cxn>
              <a:cxn ang="0">
                <a:pos x="connsiteX47812" y="connsiteY47812"/>
              </a:cxn>
              <a:cxn ang="0">
                <a:pos x="connsiteX47813" y="connsiteY47813"/>
              </a:cxn>
              <a:cxn ang="0">
                <a:pos x="connsiteX47814" y="connsiteY47814"/>
              </a:cxn>
              <a:cxn ang="0">
                <a:pos x="connsiteX47815" y="connsiteY47815"/>
              </a:cxn>
              <a:cxn ang="0">
                <a:pos x="connsiteX47816" y="connsiteY47816"/>
              </a:cxn>
              <a:cxn ang="0">
                <a:pos x="connsiteX47817" y="connsiteY47817"/>
              </a:cxn>
              <a:cxn ang="0">
                <a:pos x="connsiteX47818" y="connsiteY47818"/>
              </a:cxn>
              <a:cxn ang="0">
                <a:pos x="connsiteX47819" y="connsiteY47819"/>
              </a:cxn>
              <a:cxn ang="0">
                <a:pos x="connsiteX47820" y="connsiteY47820"/>
              </a:cxn>
              <a:cxn ang="0">
                <a:pos x="connsiteX47821" y="connsiteY47821"/>
              </a:cxn>
              <a:cxn ang="0">
                <a:pos x="connsiteX47822" y="connsiteY47822"/>
              </a:cxn>
              <a:cxn ang="0">
                <a:pos x="connsiteX47823" y="connsiteY47823"/>
              </a:cxn>
              <a:cxn ang="0">
                <a:pos x="connsiteX47824" y="connsiteY47824"/>
              </a:cxn>
              <a:cxn ang="0">
                <a:pos x="connsiteX47825" y="connsiteY47825"/>
              </a:cxn>
              <a:cxn ang="0">
                <a:pos x="connsiteX47826" y="connsiteY47826"/>
              </a:cxn>
              <a:cxn ang="0">
                <a:pos x="connsiteX47827" y="connsiteY47827"/>
              </a:cxn>
              <a:cxn ang="0">
                <a:pos x="connsiteX47828" y="connsiteY47828"/>
              </a:cxn>
              <a:cxn ang="0">
                <a:pos x="connsiteX47829" y="connsiteY47829"/>
              </a:cxn>
              <a:cxn ang="0">
                <a:pos x="connsiteX47830" y="connsiteY47830"/>
              </a:cxn>
              <a:cxn ang="0">
                <a:pos x="connsiteX47831" y="connsiteY47831"/>
              </a:cxn>
              <a:cxn ang="0">
                <a:pos x="connsiteX47832" y="connsiteY47832"/>
              </a:cxn>
              <a:cxn ang="0">
                <a:pos x="connsiteX47833" y="connsiteY47833"/>
              </a:cxn>
              <a:cxn ang="0">
                <a:pos x="connsiteX47834" y="connsiteY47834"/>
              </a:cxn>
              <a:cxn ang="0">
                <a:pos x="connsiteX47835" y="connsiteY47835"/>
              </a:cxn>
              <a:cxn ang="0">
                <a:pos x="connsiteX47836" y="connsiteY47836"/>
              </a:cxn>
              <a:cxn ang="0">
                <a:pos x="connsiteX47837" y="connsiteY47837"/>
              </a:cxn>
              <a:cxn ang="0">
                <a:pos x="connsiteX47838" y="connsiteY47838"/>
              </a:cxn>
              <a:cxn ang="0">
                <a:pos x="connsiteX47839" y="connsiteY47839"/>
              </a:cxn>
              <a:cxn ang="0">
                <a:pos x="connsiteX47840" y="connsiteY47840"/>
              </a:cxn>
              <a:cxn ang="0">
                <a:pos x="connsiteX47841" y="connsiteY47841"/>
              </a:cxn>
              <a:cxn ang="0">
                <a:pos x="connsiteX47842" y="connsiteY47842"/>
              </a:cxn>
              <a:cxn ang="0">
                <a:pos x="connsiteX47843" y="connsiteY47843"/>
              </a:cxn>
              <a:cxn ang="0">
                <a:pos x="connsiteX47844" y="connsiteY47844"/>
              </a:cxn>
              <a:cxn ang="0">
                <a:pos x="connsiteX47845" y="connsiteY47845"/>
              </a:cxn>
              <a:cxn ang="0">
                <a:pos x="connsiteX47846" y="connsiteY47846"/>
              </a:cxn>
              <a:cxn ang="0">
                <a:pos x="connsiteX47847" y="connsiteY47847"/>
              </a:cxn>
              <a:cxn ang="0">
                <a:pos x="connsiteX47848" y="connsiteY47848"/>
              </a:cxn>
              <a:cxn ang="0">
                <a:pos x="connsiteX47849" y="connsiteY47849"/>
              </a:cxn>
              <a:cxn ang="0">
                <a:pos x="connsiteX47850" y="connsiteY47850"/>
              </a:cxn>
              <a:cxn ang="0">
                <a:pos x="connsiteX47851" y="connsiteY47851"/>
              </a:cxn>
              <a:cxn ang="0">
                <a:pos x="connsiteX47852" y="connsiteY47852"/>
              </a:cxn>
              <a:cxn ang="0">
                <a:pos x="connsiteX47853" y="connsiteY47853"/>
              </a:cxn>
              <a:cxn ang="0">
                <a:pos x="connsiteX47854" y="connsiteY47854"/>
              </a:cxn>
              <a:cxn ang="0">
                <a:pos x="connsiteX47855" y="connsiteY47855"/>
              </a:cxn>
              <a:cxn ang="0">
                <a:pos x="connsiteX47856" y="connsiteY47856"/>
              </a:cxn>
              <a:cxn ang="0">
                <a:pos x="connsiteX47857" y="connsiteY47857"/>
              </a:cxn>
              <a:cxn ang="0">
                <a:pos x="connsiteX47858" y="connsiteY47858"/>
              </a:cxn>
              <a:cxn ang="0">
                <a:pos x="connsiteX47859" y="connsiteY47859"/>
              </a:cxn>
              <a:cxn ang="0">
                <a:pos x="connsiteX47860" y="connsiteY47860"/>
              </a:cxn>
              <a:cxn ang="0">
                <a:pos x="connsiteX47861" y="connsiteY47861"/>
              </a:cxn>
              <a:cxn ang="0">
                <a:pos x="connsiteX47862" y="connsiteY47862"/>
              </a:cxn>
              <a:cxn ang="0">
                <a:pos x="connsiteX47863" y="connsiteY47863"/>
              </a:cxn>
              <a:cxn ang="0">
                <a:pos x="connsiteX47864" y="connsiteY47864"/>
              </a:cxn>
              <a:cxn ang="0">
                <a:pos x="connsiteX47865" y="connsiteY47865"/>
              </a:cxn>
              <a:cxn ang="0">
                <a:pos x="connsiteX47866" y="connsiteY47866"/>
              </a:cxn>
              <a:cxn ang="0">
                <a:pos x="connsiteX47867" y="connsiteY47867"/>
              </a:cxn>
              <a:cxn ang="0">
                <a:pos x="connsiteX47868" y="connsiteY47868"/>
              </a:cxn>
              <a:cxn ang="0">
                <a:pos x="connsiteX47869" y="connsiteY47869"/>
              </a:cxn>
              <a:cxn ang="0">
                <a:pos x="connsiteX47870" y="connsiteY47870"/>
              </a:cxn>
              <a:cxn ang="0">
                <a:pos x="connsiteX47871" y="connsiteY47871"/>
              </a:cxn>
              <a:cxn ang="0">
                <a:pos x="connsiteX47872" y="connsiteY47872"/>
              </a:cxn>
              <a:cxn ang="0">
                <a:pos x="connsiteX47873" y="connsiteY47873"/>
              </a:cxn>
              <a:cxn ang="0">
                <a:pos x="connsiteX47874" y="connsiteY47874"/>
              </a:cxn>
              <a:cxn ang="0">
                <a:pos x="connsiteX47875" y="connsiteY47875"/>
              </a:cxn>
              <a:cxn ang="0">
                <a:pos x="connsiteX47876" y="connsiteY47876"/>
              </a:cxn>
              <a:cxn ang="0">
                <a:pos x="connsiteX47877" y="connsiteY47877"/>
              </a:cxn>
              <a:cxn ang="0">
                <a:pos x="connsiteX47878" y="connsiteY47878"/>
              </a:cxn>
              <a:cxn ang="0">
                <a:pos x="connsiteX47879" y="connsiteY47879"/>
              </a:cxn>
              <a:cxn ang="0">
                <a:pos x="connsiteX47880" y="connsiteY47880"/>
              </a:cxn>
              <a:cxn ang="0">
                <a:pos x="connsiteX47881" y="connsiteY47881"/>
              </a:cxn>
              <a:cxn ang="0">
                <a:pos x="connsiteX47882" y="connsiteY47882"/>
              </a:cxn>
              <a:cxn ang="0">
                <a:pos x="connsiteX47883" y="connsiteY47883"/>
              </a:cxn>
              <a:cxn ang="0">
                <a:pos x="connsiteX47884" y="connsiteY47884"/>
              </a:cxn>
              <a:cxn ang="0">
                <a:pos x="connsiteX47885" y="connsiteY47885"/>
              </a:cxn>
              <a:cxn ang="0">
                <a:pos x="connsiteX47886" y="connsiteY47886"/>
              </a:cxn>
              <a:cxn ang="0">
                <a:pos x="connsiteX47887" y="connsiteY47887"/>
              </a:cxn>
              <a:cxn ang="0">
                <a:pos x="connsiteX47888" y="connsiteY47888"/>
              </a:cxn>
              <a:cxn ang="0">
                <a:pos x="connsiteX47889" y="connsiteY47889"/>
              </a:cxn>
              <a:cxn ang="0">
                <a:pos x="connsiteX47890" y="connsiteY47890"/>
              </a:cxn>
              <a:cxn ang="0">
                <a:pos x="connsiteX47891" y="connsiteY47891"/>
              </a:cxn>
              <a:cxn ang="0">
                <a:pos x="connsiteX47892" y="connsiteY47892"/>
              </a:cxn>
              <a:cxn ang="0">
                <a:pos x="connsiteX47893" y="connsiteY47893"/>
              </a:cxn>
              <a:cxn ang="0">
                <a:pos x="connsiteX47894" y="connsiteY47894"/>
              </a:cxn>
              <a:cxn ang="0">
                <a:pos x="connsiteX47895" y="connsiteY47895"/>
              </a:cxn>
              <a:cxn ang="0">
                <a:pos x="connsiteX47896" y="connsiteY47896"/>
              </a:cxn>
              <a:cxn ang="0">
                <a:pos x="connsiteX47897" y="connsiteY47897"/>
              </a:cxn>
              <a:cxn ang="0">
                <a:pos x="connsiteX47898" y="connsiteY47898"/>
              </a:cxn>
              <a:cxn ang="0">
                <a:pos x="connsiteX47899" y="connsiteY47899"/>
              </a:cxn>
              <a:cxn ang="0">
                <a:pos x="connsiteX47900" y="connsiteY47900"/>
              </a:cxn>
              <a:cxn ang="0">
                <a:pos x="connsiteX47901" y="connsiteY47901"/>
              </a:cxn>
              <a:cxn ang="0">
                <a:pos x="connsiteX47902" y="connsiteY47902"/>
              </a:cxn>
              <a:cxn ang="0">
                <a:pos x="connsiteX47903" y="connsiteY47903"/>
              </a:cxn>
              <a:cxn ang="0">
                <a:pos x="connsiteX47904" y="connsiteY47904"/>
              </a:cxn>
              <a:cxn ang="0">
                <a:pos x="connsiteX47905" y="connsiteY47905"/>
              </a:cxn>
              <a:cxn ang="0">
                <a:pos x="connsiteX47906" y="connsiteY47906"/>
              </a:cxn>
              <a:cxn ang="0">
                <a:pos x="connsiteX47907" y="connsiteY47907"/>
              </a:cxn>
              <a:cxn ang="0">
                <a:pos x="connsiteX47908" y="connsiteY47908"/>
              </a:cxn>
              <a:cxn ang="0">
                <a:pos x="connsiteX47909" y="connsiteY47909"/>
              </a:cxn>
              <a:cxn ang="0">
                <a:pos x="connsiteX47910" y="connsiteY47910"/>
              </a:cxn>
              <a:cxn ang="0">
                <a:pos x="connsiteX47911" y="connsiteY47911"/>
              </a:cxn>
              <a:cxn ang="0">
                <a:pos x="connsiteX47912" y="connsiteY47912"/>
              </a:cxn>
              <a:cxn ang="0">
                <a:pos x="connsiteX47913" y="connsiteY47913"/>
              </a:cxn>
              <a:cxn ang="0">
                <a:pos x="connsiteX47914" y="connsiteY47914"/>
              </a:cxn>
              <a:cxn ang="0">
                <a:pos x="connsiteX47915" y="connsiteY47915"/>
              </a:cxn>
              <a:cxn ang="0">
                <a:pos x="connsiteX47916" y="connsiteY47916"/>
              </a:cxn>
              <a:cxn ang="0">
                <a:pos x="connsiteX47917" y="connsiteY47917"/>
              </a:cxn>
              <a:cxn ang="0">
                <a:pos x="connsiteX47918" y="connsiteY47918"/>
              </a:cxn>
              <a:cxn ang="0">
                <a:pos x="connsiteX47919" y="connsiteY47919"/>
              </a:cxn>
              <a:cxn ang="0">
                <a:pos x="connsiteX47920" y="connsiteY47920"/>
              </a:cxn>
              <a:cxn ang="0">
                <a:pos x="connsiteX47921" y="connsiteY47921"/>
              </a:cxn>
              <a:cxn ang="0">
                <a:pos x="connsiteX47922" y="connsiteY47922"/>
              </a:cxn>
              <a:cxn ang="0">
                <a:pos x="connsiteX47923" y="connsiteY47923"/>
              </a:cxn>
              <a:cxn ang="0">
                <a:pos x="connsiteX47924" y="connsiteY47924"/>
              </a:cxn>
              <a:cxn ang="0">
                <a:pos x="connsiteX47925" y="connsiteY47925"/>
              </a:cxn>
              <a:cxn ang="0">
                <a:pos x="connsiteX47926" y="connsiteY47926"/>
              </a:cxn>
              <a:cxn ang="0">
                <a:pos x="connsiteX47927" y="connsiteY47927"/>
              </a:cxn>
              <a:cxn ang="0">
                <a:pos x="connsiteX47928" y="connsiteY47928"/>
              </a:cxn>
              <a:cxn ang="0">
                <a:pos x="connsiteX47929" y="connsiteY47929"/>
              </a:cxn>
              <a:cxn ang="0">
                <a:pos x="connsiteX47930" y="connsiteY47930"/>
              </a:cxn>
              <a:cxn ang="0">
                <a:pos x="connsiteX47931" y="connsiteY47931"/>
              </a:cxn>
              <a:cxn ang="0">
                <a:pos x="connsiteX47932" y="connsiteY47932"/>
              </a:cxn>
              <a:cxn ang="0">
                <a:pos x="connsiteX47933" y="connsiteY47933"/>
              </a:cxn>
              <a:cxn ang="0">
                <a:pos x="connsiteX47934" y="connsiteY47934"/>
              </a:cxn>
              <a:cxn ang="0">
                <a:pos x="connsiteX47935" y="connsiteY47935"/>
              </a:cxn>
              <a:cxn ang="0">
                <a:pos x="connsiteX47936" y="connsiteY47936"/>
              </a:cxn>
              <a:cxn ang="0">
                <a:pos x="connsiteX47937" y="connsiteY47937"/>
              </a:cxn>
              <a:cxn ang="0">
                <a:pos x="connsiteX47938" y="connsiteY47938"/>
              </a:cxn>
              <a:cxn ang="0">
                <a:pos x="connsiteX47939" y="connsiteY47939"/>
              </a:cxn>
              <a:cxn ang="0">
                <a:pos x="connsiteX47940" y="connsiteY47940"/>
              </a:cxn>
              <a:cxn ang="0">
                <a:pos x="connsiteX47941" y="connsiteY47941"/>
              </a:cxn>
              <a:cxn ang="0">
                <a:pos x="connsiteX47942" y="connsiteY47942"/>
              </a:cxn>
              <a:cxn ang="0">
                <a:pos x="connsiteX47943" y="connsiteY47943"/>
              </a:cxn>
              <a:cxn ang="0">
                <a:pos x="connsiteX47944" y="connsiteY47944"/>
              </a:cxn>
              <a:cxn ang="0">
                <a:pos x="connsiteX47945" y="connsiteY47945"/>
              </a:cxn>
              <a:cxn ang="0">
                <a:pos x="connsiteX47946" y="connsiteY47946"/>
              </a:cxn>
              <a:cxn ang="0">
                <a:pos x="connsiteX47947" y="connsiteY47947"/>
              </a:cxn>
              <a:cxn ang="0">
                <a:pos x="connsiteX47948" y="connsiteY47948"/>
              </a:cxn>
              <a:cxn ang="0">
                <a:pos x="connsiteX47949" y="connsiteY47949"/>
              </a:cxn>
              <a:cxn ang="0">
                <a:pos x="connsiteX47950" y="connsiteY47950"/>
              </a:cxn>
              <a:cxn ang="0">
                <a:pos x="connsiteX47951" y="connsiteY47951"/>
              </a:cxn>
              <a:cxn ang="0">
                <a:pos x="connsiteX47952" y="connsiteY47952"/>
              </a:cxn>
              <a:cxn ang="0">
                <a:pos x="connsiteX47953" y="connsiteY47953"/>
              </a:cxn>
              <a:cxn ang="0">
                <a:pos x="connsiteX47954" y="connsiteY47954"/>
              </a:cxn>
              <a:cxn ang="0">
                <a:pos x="connsiteX47955" y="connsiteY47955"/>
              </a:cxn>
              <a:cxn ang="0">
                <a:pos x="connsiteX47956" y="connsiteY47956"/>
              </a:cxn>
              <a:cxn ang="0">
                <a:pos x="connsiteX47957" y="connsiteY47957"/>
              </a:cxn>
              <a:cxn ang="0">
                <a:pos x="connsiteX47958" y="connsiteY47958"/>
              </a:cxn>
              <a:cxn ang="0">
                <a:pos x="connsiteX47959" y="connsiteY47959"/>
              </a:cxn>
              <a:cxn ang="0">
                <a:pos x="connsiteX47960" y="connsiteY47960"/>
              </a:cxn>
              <a:cxn ang="0">
                <a:pos x="connsiteX47961" y="connsiteY47961"/>
              </a:cxn>
              <a:cxn ang="0">
                <a:pos x="connsiteX47962" y="connsiteY47962"/>
              </a:cxn>
              <a:cxn ang="0">
                <a:pos x="connsiteX47963" y="connsiteY47963"/>
              </a:cxn>
              <a:cxn ang="0">
                <a:pos x="connsiteX47964" y="connsiteY47964"/>
              </a:cxn>
              <a:cxn ang="0">
                <a:pos x="connsiteX47965" y="connsiteY47965"/>
              </a:cxn>
              <a:cxn ang="0">
                <a:pos x="connsiteX47966" y="connsiteY47966"/>
              </a:cxn>
              <a:cxn ang="0">
                <a:pos x="connsiteX47967" y="connsiteY47967"/>
              </a:cxn>
              <a:cxn ang="0">
                <a:pos x="connsiteX47968" y="connsiteY47968"/>
              </a:cxn>
              <a:cxn ang="0">
                <a:pos x="connsiteX47969" y="connsiteY47969"/>
              </a:cxn>
              <a:cxn ang="0">
                <a:pos x="connsiteX47970" y="connsiteY47970"/>
              </a:cxn>
              <a:cxn ang="0">
                <a:pos x="connsiteX47971" y="connsiteY47971"/>
              </a:cxn>
              <a:cxn ang="0">
                <a:pos x="connsiteX47972" y="connsiteY47972"/>
              </a:cxn>
              <a:cxn ang="0">
                <a:pos x="connsiteX47973" y="connsiteY47973"/>
              </a:cxn>
              <a:cxn ang="0">
                <a:pos x="connsiteX47974" y="connsiteY47974"/>
              </a:cxn>
              <a:cxn ang="0">
                <a:pos x="connsiteX47975" y="connsiteY47975"/>
              </a:cxn>
              <a:cxn ang="0">
                <a:pos x="connsiteX47976" y="connsiteY47976"/>
              </a:cxn>
              <a:cxn ang="0">
                <a:pos x="connsiteX47977" y="connsiteY47977"/>
              </a:cxn>
              <a:cxn ang="0">
                <a:pos x="connsiteX47978" y="connsiteY47978"/>
              </a:cxn>
              <a:cxn ang="0">
                <a:pos x="connsiteX47979" y="connsiteY47979"/>
              </a:cxn>
              <a:cxn ang="0">
                <a:pos x="connsiteX47980" y="connsiteY47980"/>
              </a:cxn>
              <a:cxn ang="0">
                <a:pos x="connsiteX47981" y="connsiteY47981"/>
              </a:cxn>
              <a:cxn ang="0">
                <a:pos x="connsiteX47982" y="connsiteY47982"/>
              </a:cxn>
              <a:cxn ang="0">
                <a:pos x="connsiteX47983" y="connsiteY47983"/>
              </a:cxn>
              <a:cxn ang="0">
                <a:pos x="connsiteX47984" y="connsiteY47984"/>
              </a:cxn>
              <a:cxn ang="0">
                <a:pos x="connsiteX47985" y="connsiteY47985"/>
              </a:cxn>
              <a:cxn ang="0">
                <a:pos x="connsiteX47986" y="connsiteY47986"/>
              </a:cxn>
              <a:cxn ang="0">
                <a:pos x="connsiteX47987" y="connsiteY47987"/>
              </a:cxn>
              <a:cxn ang="0">
                <a:pos x="connsiteX47988" y="connsiteY47988"/>
              </a:cxn>
              <a:cxn ang="0">
                <a:pos x="connsiteX47989" y="connsiteY47989"/>
              </a:cxn>
              <a:cxn ang="0">
                <a:pos x="connsiteX47990" y="connsiteY47990"/>
              </a:cxn>
              <a:cxn ang="0">
                <a:pos x="connsiteX47991" y="connsiteY47991"/>
              </a:cxn>
              <a:cxn ang="0">
                <a:pos x="connsiteX47992" y="connsiteY47992"/>
              </a:cxn>
              <a:cxn ang="0">
                <a:pos x="connsiteX47993" y="connsiteY47993"/>
              </a:cxn>
              <a:cxn ang="0">
                <a:pos x="connsiteX47994" y="connsiteY47994"/>
              </a:cxn>
              <a:cxn ang="0">
                <a:pos x="connsiteX47995" y="connsiteY47995"/>
              </a:cxn>
              <a:cxn ang="0">
                <a:pos x="connsiteX47996" y="connsiteY47996"/>
              </a:cxn>
              <a:cxn ang="0">
                <a:pos x="connsiteX47997" y="connsiteY47997"/>
              </a:cxn>
              <a:cxn ang="0">
                <a:pos x="connsiteX47998" y="connsiteY47998"/>
              </a:cxn>
              <a:cxn ang="0">
                <a:pos x="connsiteX47999" y="connsiteY47999"/>
              </a:cxn>
              <a:cxn ang="0">
                <a:pos x="connsiteX48000" y="connsiteY48000"/>
              </a:cxn>
              <a:cxn ang="0">
                <a:pos x="connsiteX48001" y="connsiteY48001"/>
              </a:cxn>
              <a:cxn ang="0">
                <a:pos x="connsiteX48002" y="connsiteY48002"/>
              </a:cxn>
              <a:cxn ang="0">
                <a:pos x="connsiteX48003" y="connsiteY48003"/>
              </a:cxn>
              <a:cxn ang="0">
                <a:pos x="connsiteX48004" y="connsiteY48004"/>
              </a:cxn>
              <a:cxn ang="0">
                <a:pos x="connsiteX48005" y="connsiteY48005"/>
              </a:cxn>
              <a:cxn ang="0">
                <a:pos x="connsiteX48006" y="connsiteY48006"/>
              </a:cxn>
              <a:cxn ang="0">
                <a:pos x="connsiteX48007" y="connsiteY48007"/>
              </a:cxn>
              <a:cxn ang="0">
                <a:pos x="connsiteX48008" y="connsiteY48008"/>
              </a:cxn>
              <a:cxn ang="0">
                <a:pos x="connsiteX48009" y="connsiteY48009"/>
              </a:cxn>
              <a:cxn ang="0">
                <a:pos x="connsiteX48010" y="connsiteY48010"/>
              </a:cxn>
              <a:cxn ang="0">
                <a:pos x="connsiteX48011" y="connsiteY48011"/>
              </a:cxn>
              <a:cxn ang="0">
                <a:pos x="connsiteX48012" y="connsiteY48012"/>
              </a:cxn>
              <a:cxn ang="0">
                <a:pos x="connsiteX48013" y="connsiteY48013"/>
              </a:cxn>
              <a:cxn ang="0">
                <a:pos x="connsiteX48014" y="connsiteY48014"/>
              </a:cxn>
              <a:cxn ang="0">
                <a:pos x="connsiteX48015" y="connsiteY48015"/>
              </a:cxn>
              <a:cxn ang="0">
                <a:pos x="connsiteX48016" y="connsiteY48016"/>
              </a:cxn>
              <a:cxn ang="0">
                <a:pos x="connsiteX48017" y="connsiteY48017"/>
              </a:cxn>
              <a:cxn ang="0">
                <a:pos x="connsiteX48018" y="connsiteY48018"/>
              </a:cxn>
              <a:cxn ang="0">
                <a:pos x="connsiteX48019" y="connsiteY48019"/>
              </a:cxn>
              <a:cxn ang="0">
                <a:pos x="connsiteX48020" y="connsiteY48020"/>
              </a:cxn>
              <a:cxn ang="0">
                <a:pos x="connsiteX48021" y="connsiteY48021"/>
              </a:cxn>
              <a:cxn ang="0">
                <a:pos x="connsiteX48022" y="connsiteY48022"/>
              </a:cxn>
              <a:cxn ang="0">
                <a:pos x="connsiteX48023" y="connsiteY48023"/>
              </a:cxn>
              <a:cxn ang="0">
                <a:pos x="connsiteX48024" y="connsiteY48024"/>
              </a:cxn>
              <a:cxn ang="0">
                <a:pos x="connsiteX48025" y="connsiteY48025"/>
              </a:cxn>
              <a:cxn ang="0">
                <a:pos x="connsiteX48026" y="connsiteY48026"/>
              </a:cxn>
              <a:cxn ang="0">
                <a:pos x="connsiteX48027" y="connsiteY48027"/>
              </a:cxn>
              <a:cxn ang="0">
                <a:pos x="connsiteX48028" y="connsiteY48028"/>
              </a:cxn>
              <a:cxn ang="0">
                <a:pos x="connsiteX48029" y="connsiteY48029"/>
              </a:cxn>
              <a:cxn ang="0">
                <a:pos x="connsiteX48030" y="connsiteY48030"/>
              </a:cxn>
              <a:cxn ang="0">
                <a:pos x="connsiteX48031" y="connsiteY48031"/>
              </a:cxn>
              <a:cxn ang="0">
                <a:pos x="connsiteX48032" y="connsiteY48032"/>
              </a:cxn>
              <a:cxn ang="0">
                <a:pos x="connsiteX48033" y="connsiteY48033"/>
              </a:cxn>
              <a:cxn ang="0">
                <a:pos x="connsiteX48034" y="connsiteY48034"/>
              </a:cxn>
              <a:cxn ang="0">
                <a:pos x="connsiteX48035" y="connsiteY48035"/>
              </a:cxn>
              <a:cxn ang="0">
                <a:pos x="connsiteX48036" y="connsiteY48036"/>
              </a:cxn>
              <a:cxn ang="0">
                <a:pos x="connsiteX48037" y="connsiteY48037"/>
              </a:cxn>
              <a:cxn ang="0">
                <a:pos x="connsiteX48038" y="connsiteY48038"/>
              </a:cxn>
              <a:cxn ang="0">
                <a:pos x="connsiteX48039" y="connsiteY48039"/>
              </a:cxn>
              <a:cxn ang="0">
                <a:pos x="connsiteX48040" y="connsiteY48040"/>
              </a:cxn>
              <a:cxn ang="0">
                <a:pos x="connsiteX48041" y="connsiteY48041"/>
              </a:cxn>
              <a:cxn ang="0">
                <a:pos x="connsiteX48042" y="connsiteY48042"/>
              </a:cxn>
              <a:cxn ang="0">
                <a:pos x="connsiteX48043" y="connsiteY48043"/>
              </a:cxn>
              <a:cxn ang="0">
                <a:pos x="connsiteX48044" y="connsiteY48044"/>
              </a:cxn>
              <a:cxn ang="0">
                <a:pos x="connsiteX48045" y="connsiteY48045"/>
              </a:cxn>
              <a:cxn ang="0">
                <a:pos x="connsiteX48046" y="connsiteY48046"/>
              </a:cxn>
              <a:cxn ang="0">
                <a:pos x="connsiteX48047" y="connsiteY48047"/>
              </a:cxn>
              <a:cxn ang="0">
                <a:pos x="connsiteX48048" y="connsiteY48048"/>
              </a:cxn>
              <a:cxn ang="0">
                <a:pos x="connsiteX48049" y="connsiteY48049"/>
              </a:cxn>
              <a:cxn ang="0">
                <a:pos x="connsiteX48050" y="connsiteY48050"/>
              </a:cxn>
              <a:cxn ang="0">
                <a:pos x="connsiteX48051" y="connsiteY48051"/>
              </a:cxn>
              <a:cxn ang="0">
                <a:pos x="connsiteX48052" y="connsiteY48052"/>
              </a:cxn>
              <a:cxn ang="0">
                <a:pos x="connsiteX48053" y="connsiteY48053"/>
              </a:cxn>
              <a:cxn ang="0">
                <a:pos x="connsiteX48054" y="connsiteY48054"/>
              </a:cxn>
              <a:cxn ang="0">
                <a:pos x="connsiteX48055" y="connsiteY48055"/>
              </a:cxn>
              <a:cxn ang="0">
                <a:pos x="connsiteX48056" y="connsiteY48056"/>
              </a:cxn>
              <a:cxn ang="0">
                <a:pos x="connsiteX48057" y="connsiteY48057"/>
              </a:cxn>
              <a:cxn ang="0">
                <a:pos x="connsiteX48058" y="connsiteY48058"/>
              </a:cxn>
              <a:cxn ang="0">
                <a:pos x="connsiteX48059" y="connsiteY48059"/>
              </a:cxn>
              <a:cxn ang="0">
                <a:pos x="connsiteX48060" y="connsiteY48060"/>
              </a:cxn>
              <a:cxn ang="0">
                <a:pos x="connsiteX48061" y="connsiteY48061"/>
              </a:cxn>
              <a:cxn ang="0">
                <a:pos x="connsiteX48062" y="connsiteY48062"/>
              </a:cxn>
              <a:cxn ang="0">
                <a:pos x="connsiteX48063" y="connsiteY48063"/>
              </a:cxn>
              <a:cxn ang="0">
                <a:pos x="connsiteX48064" y="connsiteY48064"/>
              </a:cxn>
              <a:cxn ang="0">
                <a:pos x="connsiteX48065" y="connsiteY48065"/>
              </a:cxn>
              <a:cxn ang="0">
                <a:pos x="connsiteX48066" y="connsiteY48066"/>
              </a:cxn>
              <a:cxn ang="0">
                <a:pos x="connsiteX48067" y="connsiteY48067"/>
              </a:cxn>
              <a:cxn ang="0">
                <a:pos x="connsiteX48068" y="connsiteY48068"/>
              </a:cxn>
              <a:cxn ang="0">
                <a:pos x="connsiteX48069" y="connsiteY48069"/>
              </a:cxn>
              <a:cxn ang="0">
                <a:pos x="connsiteX48070" y="connsiteY48070"/>
              </a:cxn>
              <a:cxn ang="0">
                <a:pos x="connsiteX48071" y="connsiteY48071"/>
              </a:cxn>
              <a:cxn ang="0">
                <a:pos x="connsiteX48072" y="connsiteY48072"/>
              </a:cxn>
              <a:cxn ang="0">
                <a:pos x="connsiteX48073" y="connsiteY48073"/>
              </a:cxn>
              <a:cxn ang="0">
                <a:pos x="connsiteX48074" y="connsiteY48074"/>
              </a:cxn>
              <a:cxn ang="0">
                <a:pos x="connsiteX48075" y="connsiteY48075"/>
              </a:cxn>
              <a:cxn ang="0">
                <a:pos x="connsiteX48076" y="connsiteY48076"/>
              </a:cxn>
              <a:cxn ang="0">
                <a:pos x="connsiteX48077" y="connsiteY48077"/>
              </a:cxn>
              <a:cxn ang="0">
                <a:pos x="connsiteX48078" y="connsiteY48078"/>
              </a:cxn>
              <a:cxn ang="0">
                <a:pos x="connsiteX48079" y="connsiteY48079"/>
              </a:cxn>
              <a:cxn ang="0">
                <a:pos x="connsiteX48080" y="connsiteY48080"/>
              </a:cxn>
              <a:cxn ang="0">
                <a:pos x="connsiteX48081" y="connsiteY48081"/>
              </a:cxn>
              <a:cxn ang="0">
                <a:pos x="connsiteX48082" y="connsiteY48082"/>
              </a:cxn>
              <a:cxn ang="0">
                <a:pos x="connsiteX48083" y="connsiteY48083"/>
              </a:cxn>
              <a:cxn ang="0">
                <a:pos x="connsiteX48084" y="connsiteY48084"/>
              </a:cxn>
              <a:cxn ang="0">
                <a:pos x="connsiteX48085" y="connsiteY48085"/>
              </a:cxn>
              <a:cxn ang="0">
                <a:pos x="connsiteX48086" y="connsiteY48086"/>
              </a:cxn>
              <a:cxn ang="0">
                <a:pos x="connsiteX48087" y="connsiteY48087"/>
              </a:cxn>
              <a:cxn ang="0">
                <a:pos x="connsiteX48088" y="connsiteY48088"/>
              </a:cxn>
              <a:cxn ang="0">
                <a:pos x="connsiteX48089" y="connsiteY48089"/>
              </a:cxn>
              <a:cxn ang="0">
                <a:pos x="connsiteX48090" y="connsiteY48090"/>
              </a:cxn>
              <a:cxn ang="0">
                <a:pos x="connsiteX48091" y="connsiteY48091"/>
              </a:cxn>
              <a:cxn ang="0">
                <a:pos x="connsiteX48092" y="connsiteY48092"/>
              </a:cxn>
              <a:cxn ang="0">
                <a:pos x="connsiteX48093" y="connsiteY48093"/>
              </a:cxn>
              <a:cxn ang="0">
                <a:pos x="connsiteX48094" y="connsiteY48094"/>
              </a:cxn>
              <a:cxn ang="0">
                <a:pos x="connsiteX48095" y="connsiteY48095"/>
              </a:cxn>
              <a:cxn ang="0">
                <a:pos x="connsiteX48096" y="connsiteY48096"/>
              </a:cxn>
              <a:cxn ang="0">
                <a:pos x="connsiteX48097" y="connsiteY48097"/>
              </a:cxn>
              <a:cxn ang="0">
                <a:pos x="connsiteX48098" y="connsiteY48098"/>
              </a:cxn>
              <a:cxn ang="0">
                <a:pos x="connsiteX48099" y="connsiteY48099"/>
              </a:cxn>
              <a:cxn ang="0">
                <a:pos x="connsiteX48100" y="connsiteY48100"/>
              </a:cxn>
              <a:cxn ang="0">
                <a:pos x="connsiteX48101" y="connsiteY48101"/>
              </a:cxn>
              <a:cxn ang="0">
                <a:pos x="connsiteX48102" y="connsiteY48102"/>
              </a:cxn>
              <a:cxn ang="0">
                <a:pos x="connsiteX48103" y="connsiteY48103"/>
              </a:cxn>
              <a:cxn ang="0">
                <a:pos x="connsiteX48104" y="connsiteY48104"/>
              </a:cxn>
              <a:cxn ang="0">
                <a:pos x="connsiteX48105" y="connsiteY48105"/>
              </a:cxn>
              <a:cxn ang="0">
                <a:pos x="connsiteX48106" y="connsiteY48106"/>
              </a:cxn>
              <a:cxn ang="0">
                <a:pos x="connsiteX48107" y="connsiteY48107"/>
              </a:cxn>
              <a:cxn ang="0">
                <a:pos x="connsiteX48108" y="connsiteY48108"/>
              </a:cxn>
              <a:cxn ang="0">
                <a:pos x="connsiteX48109" y="connsiteY48109"/>
              </a:cxn>
              <a:cxn ang="0">
                <a:pos x="connsiteX48110" y="connsiteY48110"/>
              </a:cxn>
              <a:cxn ang="0">
                <a:pos x="connsiteX48111" y="connsiteY48111"/>
              </a:cxn>
              <a:cxn ang="0">
                <a:pos x="connsiteX48112" y="connsiteY48112"/>
              </a:cxn>
              <a:cxn ang="0">
                <a:pos x="connsiteX48113" y="connsiteY48113"/>
              </a:cxn>
              <a:cxn ang="0">
                <a:pos x="connsiteX48114" y="connsiteY48114"/>
              </a:cxn>
              <a:cxn ang="0">
                <a:pos x="connsiteX48115" y="connsiteY48115"/>
              </a:cxn>
              <a:cxn ang="0">
                <a:pos x="connsiteX48116" y="connsiteY48116"/>
              </a:cxn>
              <a:cxn ang="0">
                <a:pos x="connsiteX48117" y="connsiteY48117"/>
              </a:cxn>
              <a:cxn ang="0">
                <a:pos x="connsiteX48118" y="connsiteY48118"/>
              </a:cxn>
              <a:cxn ang="0">
                <a:pos x="connsiteX48119" y="connsiteY48119"/>
              </a:cxn>
              <a:cxn ang="0">
                <a:pos x="connsiteX48120" y="connsiteY48120"/>
              </a:cxn>
              <a:cxn ang="0">
                <a:pos x="connsiteX48121" y="connsiteY48121"/>
              </a:cxn>
              <a:cxn ang="0">
                <a:pos x="connsiteX48122" y="connsiteY48122"/>
              </a:cxn>
              <a:cxn ang="0">
                <a:pos x="connsiteX48123" y="connsiteY48123"/>
              </a:cxn>
              <a:cxn ang="0">
                <a:pos x="connsiteX48124" y="connsiteY48124"/>
              </a:cxn>
              <a:cxn ang="0">
                <a:pos x="connsiteX48125" y="connsiteY48125"/>
              </a:cxn>
              <a:cxn ang="0">
                <a:pos x="connsiteX48126" y="connsiteY48126"/>
              </a:cxn>
              <a:cxn ang="0">
                <a:pos x="connsiteX48127" y="connsiteY48127"/>
              </a:cxn>
              <a:cxn ang="0">
                <a:pos x="connsiteX48128" y="connsiteY48128"/>
              </a:cxn>
              <a:cxn ang="0">
                <a:pos x="connsiteX48129" y="connsiteY48129"/>
              </a:cxn>
              <a:cxn ang="0">
                <a:pos x="connsiteX48130" y="connsiteY48130"/>
              </a:cxn>
              <a:cxn ang="0">
                <a:pos x="connsiteX48131" y="connsiteY48131"/>
              </a:cxn>
              <a:cxn ang="0">
                <a:pos x="connsiteX48132" y="connsiteY48132"/>
              </a:cxn>
              <a:cxn ang="0">
                <a:pos x="connsiteX48133" y="connsiteY48133"/>
              </a:cxn>
              <a:cxn ang="0">
                <a:pos x="connsiteX48134" y="connsiteY48134"/>
              </a:cxn>
              <a:cxn ang="0">
                <a:pos x="connsiteX48135" y="connsiteY48135"/>
              </a:cxn>
              <a:cxn ang="0">
                <a:pos x="connsiteX48136" y="connsiteY48136"/>
              </a:cxn>
              <a:cxn ang="0">
                <a:pos x="connsiteX48137" y="connsiteY48137"/>
              </a:cxn>
              <a:cxn ang="0">
                <a:pos x="connsiteX48138" y="connsiteY48138"/>
              </a:cxn>
              <a:cxn ang="0">
                <a:pos x="connsiteX48139" y="connsiteY48139"/>
              </a:cxn>
              <a:cxn ang="0">
                <a:pos x="connsiteX48140" y="connsiteY48140"/>
              </a:cxn>
              <a:cxn ang="0">
                <a:pos x="connsiteX48141" y="connsiteY48141"/>
              </a:cxn>
              <a:cxn ang="0">
                <a:pos x="connsiteX48142" y="connsiteY48142"/>
              </a:cxn>
              <a:cxn ang="0">
                <a:pos x="connsiteX48143" y="connsiteY48143"/>
              </a:cxn>
              <a:cxn ang="0">
                <a:pos x="connsiteX48144" y="connsiteY48144"/>
              </a:cxn>
              <a:cxn ang="0">
                <a:pos x="connsiteX48145" y="connsiteY48145"/>
              </a:cxn>
              <a:cxn ang="0">
                <a:pos x="connsiteX48146" y="connsiteY48146"/>
              </a:cxn>
              <a:cxn ang="0">
                <a:pos x="connsiteX48147" y="connsiteY48147"/>
              </a:cxn>
              <a:cxn ang="0">
                <a:pos x="connsiteX48148" y="connsiteY48148"/>
              </a:cxn>
              <a:cxn ang="0">
                <a:pos x="connsiteX48149" y="connsiteY48149"/>
              </a:cxn>
              <a:cxn ang="0">
                <a:pos x="connsiteX48150" y="connsiteY48150"/>
              </a:cxn>
              <a:cxn ang="0">
                <a:pos x="connsiteX48151" y="connsiteY48151"/>
              </a:cxn>
              <a:cxn ang="0">
                <a:pos x="connsiteX48152" y="connsiteY48152"/>
              </a:cxn>
              <a:cxn ang="0">
                <a:pos x="connsiteX48153" y="connsiteY48153"/>
              </a:cxn>
              <a:cxn ang="0">
                <a:pos x="connsiteX48154" y="connsiteY48154"/>
              </a:cxn>
              <a:cxn ang="0">
                <a:pos x="connsiteX48155" y="connsiteY48155"/>
              </a:cxn>
              <a:cxn ang="0">
                <a:pos x="connsiteX48156" y="connsiteY48156"/>
              </a:cxn>
              <a:cxn ang="0">
                <a:pos x="connsiteX48157" y="connsiteY48157"/>
              </a:cxn>
              <a:cxn ang="0">
                <a:pos x="connsiteX48158" y="connsiteY48158"/>
              </a:cxn>
              <a:cxn ang="0">
                <a:pos x="connsiteX48159" y="connsiteY48159"/>
              </a:cxn>
              <a:cxn ang="0">
                <a:pos x="connsiteX48160" y="connsiteY48160"/>
              </a:cxn>
              <a:cxn ang="0">
                <a:pos x="connsiteX48161" y="connsiteY48161"/>
              </a:cxn>
              <a:cxn ang="0">
                <a:pos x="connsiteX48162" y="connsiteY48162"/>
              </a:cxn>
              <a:cxn ang="0">
                <a:pos x="connsiteX48163" y="connsiteY48163"/>
              </a:cxn>
              <a:cxn ang="0">
                <a:pos x="connsiteX48164" y="connsiteY48164"/>
              </a:cxn>
              <a:cxn ang="0">
                <a:pos x="connsiteX48165" y="connsiteY48165"/>
              </a:cxn>
              <a:cxn ang="0">
                <a:pos x="connsiteX48166" y="connsiteY48166"/>
              </a:cxn>
              <a:cxn ang="0">
                <a:pos x="connsiteX48167" y="connsiteY48167"/>
              </a:cxn>
              <a:cxn ang="0">
                <a:pos x="connsiteX48168" y="connsiteY48168"/>
              </a:cxn>
              <a:cxn ang="0">
                <a:pos x="connsiteX48169" y="connsiteY48169"/>
              </a:cxn>
              <a:cxn ang="0">
                <a:pos x="connsiteX48170" y="connsiteY48170"/>
              </a:cxn>
              <a:cxn ang="0">
                <a:pos x="connsiteX48171" y="connsiteY48171"/>
              </a:cxn>
              <a:cxn ang="0">
                <a:pos x="connsiteX48172" y="connsiteY48172"/>
              </a:cxn>
              <a:cxn ang="0">
                <a:pos x="connsiteX48173" y="connsiteY48173"/>
              </a:cxn>
              <a:cxn ang="0">
                <a:pos x="connsiteX48174" y="connsiteY48174"/>
              </a:cxn>
              <a:cxn ang="0">
                <a:pos x="connsiteX48175" y="connsiteY48175"/>
              </a:cxn>
              <a:cxn ang="0">
                <a:pos x="connsiteX48176" y="connsiteY48176"/>
              </a:cxn>
              <a:cxn ang="0">
                <a:pos x="connsiteX48177" y="connsiteY48177"/>
              </a:cxn>
              <a:cxn ang="0">
                <a:pos x="connsiteX48178" y="connsiteY48178"/>
              </a:cxn>
              <a:cxn ang="0">
                <a:pos x="connsiteX48179" y="connsiteY48179"/>
              </a:cxn>
              <a:cxn ang="0">
                <a:pos x="connsiteX48180" y="connsiteY48180"/>
              </a:cxn>
              <a:cxn ang="0">
                <a:pos x="connsiteX48181" y="connsiteY48181"/>
              </a:cxn>
              <a:cxn ang="0">
                <a:pos x="connsiteX48182" y="connsiteY48182"/>
              </a:cxn>
              <a:cxn ang="0">
                <a:pos x="connsiteX48183" y="connsiteY48183"/>
              </a:cxn>
              <a:cxn ang="0">
                <a:pos x="connsiteX48184" y="connsiteY48184"/>
              </a:cxn>
              <a:cxn ang="0">
                <a:pos x="connsiteX48185" y="connsiteY48185"/>
              </a:cxn>
              <a:cxn ang="0">
                <a:pos x="connsiteX48186" y="connsiteY48186"/>
              </a:cxn>
              <a:cxn ang="0">
                <a:pos x="connsiteX48187" y="connsiteY48187"/>
              </a:cxn>
              <a:cxn ang="0">
                <a:pos x="connsiteX48188" y="connsiteY48188"/>
              </a:cxn>
              <a:cxn ang="0">
                <a:pos x="connsiteX48189" y="connsiteY48189"/>
              </a:cxn>
              <a:cxn ang="0">
                <a:pos x="connsiteX48190" y="connsiteY48190"/>
              </a:cxn>
              <a:cxn ang="0">
                <a:pos x="connsiteX48191" y="connsiteY48191"/>
              </a:cxn>
              <a:cxn ang="0">
                <a:pos x="connsiteX48192" y="connsiteY48192"/>
              </a:cxn>
              <a:cxn ang="0">
                <a:pos x="connsiteX48193" y="connsiteY48193"/>
              </a:cxn>
              <a:cxn ang="0">
                <a:pos x="connsiteX48194" y="connsiteY48194"/>
              </a:cxn>
              <a:cxn ang="0">
                <a:pos x="connsiteX48195" y="connsiteY48195"/>
              </a:cxn>
              <a:cxn ang="0">
                <a:pos x="connsiteX48196" y="connsiteY48196"/>
              </a:cxn>
              <a:cxn ang="0">
                <a:pos x="connsiteX48197" y="connsiteY48197"/>
              </a:cxn>
              <a:cxn ang="0">
                <a:pos x="connsiteX48198" y="connsiteY48198"/>
              </a:cxn>
              <a:cxn ang="0">
                <a:pos x="connsiteX48199" y="connsiteY48199"/>
              </a:cxn>
              <a:cxn ang="0">
                <a:pos x="connsiteX48200" y="connsiteY48200"/>
              </a:cxn>
              <a:cxn ang="0">
                <a:pos x="connsiteX48201" y="connsiteY48201"/>
              </a:cxn>
              <a:cxn ang="0">
                <a:pos x="connsiteX48202" y="connsiteY48202"/>
              </a:cxn>
              <a:cxn ang="0">
                <a:pos x="connsiteX48203" y="connsiteY48203"/>
              </a:cxn>
              <a:cxn ang="0">
                <a:pos x="connsiteX48204" y="connsiteY48204"/>
              </a:cxn>
              <a:cxn ang="0">
                <a:pos x="connsiteX48205" y="connsiteY48205"/>
              </a:cxn>
              <a:cxn ang="0">
                <a:pos x="connsiteX48206" y="connsiteY48206"/>
              </a:cxn>
              <a:cxn ang="0">
                <a:pos x="connsiteX48207" y="connsiteY48207"/>
              </a:cxn>
              <a:cxn ang="0">
                <a:pos x="connsiteX48208" y="connsiteY48208"/>
              </a:cxn>
              <a:cxn ang="0">
                <a:pos x="connsiteX48209" y="connsiteY48209"/>
              </a:cxn>
              <a:cxn ang="0">
                <a:pos x="connsiteX48210" y="connsiteY48210"/>
              </a:cxn>
              <a:cxn ang="0">
                <a:pos x="connsiteX48211" y="connsiteY48211"/>
              </a:cxn>
              <a:cxn ang="0">
                <a:pos x="connsiteX48212" y="connsiteY48212"/>
              </a:cxn>
              <a:cxn ang="0">
                <a:pos x="connsiteX48213" y="connsiteY48213"/>
              </a:cxn>
              <a:cxn ang="0">
                <a:pos x="connsiteX48214" y="connsiteY48214"/>
              </a:cxn>
              <a:cxn ang="0">
                <a:pos x="connsiteX48215" y="connsiteY48215"/>
              </a:cxn>
              <a:cxn ang="0">
                <a:pos x="connsiteX48216" y="connsiteY48216"/>
              </a:cxn>
              <a:cxn ang="0">
                <a:pos x="connsiteX48217" y="connsiteY48217"/>
              </a:cxn>
              <a:cxn ang="0">
                <a:pos x="connsiteX48218" y="connsiteY48218"/>
              </a:cxn>
              <a:cxn ang="0">
                <a:pos x="connsiteX48219" y="connsiteY48219"/>
              </a:cxn>
              <a:cxn ang="0">
                <a:pos x="connsiteX48220" y="connsiteY48220"/>
              </a:cxn>
              <a:cxn ang="0">
                <a:pos x="connsiteX48221" y="connsiteY48221"/>
              </a:cxn>
              <a:cxn ang="0">
                <a:pos x="connsiteX48222" y="connsiteY48222"/>
              </a:cxn>
              <a:cxn ang="0">
                <a:pos x="connsiteX48223" y="connsiteY48223"/>
              </a:cxn>
              <a:cxn ang="0">
                <a:pos x="connsiteX48224" y="connsiteY48224"/>
              </a:cxn>
              <a:cxn ang="0">
                <a:pos x="connsiteX48225" y="connsiteY48225"/>
              </a:cxn>
              <a:cxn ang="0">
                <a:pos x="connsiteX48226" y="connsiteY48226"/>
              </a:cxn>
              <a:cxn ang="0">
                <a:pos x="connsiteX48227" y="connsiteY48227"/>
              </a:cxn>
              <a:cxn ang="0">
                <a:pos x="connsiteX48228" y="connsiteY48228"/>
              </a:cxn>
              <a:cxn ang="0">
                <a:pos x="connsiteX48229" y="connsiteY48229"/>
              </a:cxn>
              <a:cxn ang="0">
                <a:pos x="connsiteX48230" y="connsiteY48230"/>
              </a:cxn>
              <a:cxn ang="0">
                <a:pos x="connsiteX48231" y="connsiteY48231"/>
              </a:cxn>
              <a:cxn ang="0">
                <a:pos x="connsiteX48232" y="connsiteY48232"/>
              </a:cxn>
              <a:cxn ang="0">
                <a:pos x="connsiteX48233" y="connsiteY48233"/>
              </a:cxn>
              <a:cxn ang="0">
                <a:pos x="connsiteX48234" y="connsiteY48234"/>
              </a:cxn>
              <a:cxn ang="0">
                <a:pos x="connsiteX48235" y="connsiteY48235"/>
              </a:cxn>
              <a:cxn ang="0">
                <a:pos x="connsiteX48236" y="connsiteY48236"/>
              </a:cxn>
              <a:cxn ang="0">
                <a:pos x="connsiteX48237" y="connsiteY48237"/>
              </a:cxn>
              <a:cxn ang="0">
                <a:pos x="connsiteX48238" y="connsiteY48238"/>
              </a:cxn>
              <a:cxn ang="0">
                <a:pos x="connsiteX48239" y="connsiteY48239"/>
              </a:cxn>
              <a:cxn ang="0">
                <a:pos x="connsiteX48240" y="connsiteY48240"/>
              </a:cxn>
              <a:cxn ang="0">
                <a:pos x="connsiteX48241" y="connsiteY48241"/>
              </a:cxn>
              <a:cxn ang="0">
                <a:pos x="connsiteX48242" y="connsiteY48242"/>
              </a:cxn>
              <a:cxn ang="0">
                <a:pos x="connsiteX48243" y="connsiteY48243"/>
              </a:cxn>
              <a:cxn ang="0">
                <a:pos x="connsiteX48244" y="connsiteY48244"/>
              </a:cxn>
              <a:cxn ang="0">
                <a:pos x="connsiteX48245" y="connsiteY48245"/>
              </a:cxn>
              <a:cxn ang="0">
                <a:pos x="connsiteX48246" y="connsiteY48246"/>
              </a:cxn>
              <a:cxn ang="0">
                <a:pos x="connsiteX48247" y="connsiteY48247"/>
              </a:cxn>
              <a:cxn ang="0">
                <a:pos x="connsiteX48248" y="connsiteY48248"/>
              </a:cxn>
              <a:cxn ang="0">
                <a:pos x="connsiteX48249" y="connsiteY48249"/>
              </a:cxn>
              <a:cxn ang="0">
                <a:pos x="connsiteX48250" y="connsiteY48250"/>
              </a:cxn>
              <a:cxn ang="0">
                <a:pos x="connsiteX48251" y="connsiteY48251"/>
              </a:cxn>
              <a:cxn ang="0">
                <a:pos x="connsiteX48252" y="connsiteY48252"/>
              </a:cxn>
              <a:cxn ang="0">
                <a:pos x="connsiteX48253" y="connsiteY48253"/>
              </a:cxn>
              <a:cxn ang="0">
                <a:pos x="connsiteX48254" y="connsiteY48254"/>
              </a:cxn>
              <a:cxn ang="0">
                <a:pos x="connsiteX48255" y="connsiteY48255"/>
              </a:cxn>
              <a:cxn ang="0">
                <a:pos x="connsiteX48256" y="connsiteY48256"/>
              </a:cxn>
              <a:cxn ang="0">
                <a:pos x="connsiteX48257" y="connsiteY48257"/>
              </a:cxn>
              <a:cxn ang="0">
                <a:pos x="connsiteX48258" y="connsiteY48258"/>
              </a:cxn>
              <a:cxn ang="0">
                <a:pos x="connsiteX48259" y="connsiteY48259"/>
              </a:cxn>
              <a:cxn ang="0">
                <a:pos x="connsiteX48260" y="connsiteY48260"/>
              </a:cxn>
              <a:cxn ang="0">
                <a:pos x="connsiteX48261" y="connsiteY48261"/>
              </a:cxn>
              <a:cxn ang="0">
                <a:pos x="connsiteX48262" y="connsiteY48262"/>
              </a:cxn>
              <a:cxn ang="0">
                <a:pos x="connsiteX48263" y="connsiteY48263"/>
              </a:cxn>
              <a:cxn ang="0">
                <a:pos x="connsiteX48264" y="connsiteY48264"/>
              </a:cxn>
              <a:cxn ang="0">
                <a:pos x="connsiteX48265" y="connsiteY48265"/>
              </a:cxn>
              <a:cxn ang="0">
                <a:pos x="connsiteX48266" y="connsiteY48266"/>
              </a:cxn>
              <a:cxn ang="0">
                <a:pos x="connsiteX48267" y="connsiteY48267"/>
              </a:cxn>
              <a:cxn ang="0">
                <a:pos x="connsiteX48268" y="connsiteY48268"/>
              </a:cxn>
              <a:cxn ang="0">
                <a:pos x="connsiteX48269" y="connsiteY48269"/>
              </a:cxn>
              <a:cxn ang="0">
                <a:pos x="connsiteX48270" y="connsiteY48270"/>
              </a:cxn>
              <a:cxn ang="0">
                <a:pos x="connsiteX48271" y="connsiteY48271"/>
              </a:cxn>
              <a:cxn ang="0">
                <a:pos x="connsiteX48272" y="connsiteY48272"/>
              </a:cxn>
              <a:cxn ang="0">
                <a:pos x="connsiteX48273" y="connsiteY48273"/>
              </a:cxn>
              <a:cxn ang="0">
                <a:pos x="connsiteX48274" y="connsiteY48274"/>
              </a:cxn>
              <a:cxn ang="0">
                <a:pos x="connsiteX48275" y="connsiteY48275"/>
              </a:cxn>
              <a:cxn ang="0">
                <a:pos x="connsiteX48276" y="connsiteY48276"/>
              </a:cxn>
              <a:cxn ang="0">
                <a:pos x="connsiteX48277" y="connsiteY48277"/>
              </a:cxn>
              <a:cxn ang="0">
                <a:pos x="connsiteX48278" y="connsiteY48278"/>
              </a:cxn>
              <a:cxn ang="0">
                <a:pos x="connsiteX48279" y="connsiteY48279"/>
              </a:cxn>
              <a:cxn ang="0">
                <a:pos x="connsiteX48280" y="connsiteY48280"/>
              </a:cxn>
              <a:cxn ang="0">
                <a:pos x="connsiteX48281" y="connsiteY48281"/>
              </a:cxn>
              <a:cxn ang="0">
                <a:pos x="connsiteX48282" y="connsiteY48282"/>
              </a:cxn>
              <a:cxn ang="0">
                <a:pos x="connsiteX48283" y="connsiteY48283"/>
              </a:cxn>
              <a:cxn ang="0">
                <a:pos x="connsiteX48284" y="connsiteY48284"/>
              </a:cxn>
              <a:cxn ang="0">
                <a:pos x="connsiteX48285" y="connsiteY48285"/>
              </a:cxn>
              <a:cxn ang="0">
                <a:pos x="connsiteX48286" y="connsiteY48286"/>
              </a:cxn>
              <a:cxn ang="0">
                <a:pos x="connsiteX48287" y="connsiteY48287"/>
              </a:cxn>
              <a:cxn ang="0">
                <a:pos x="connsiteX48288" y="connsiteY48288"/>
              </a:cxn>
              <a:cxn ang="0">
                <a:pos x="connsiteX48289" y="connsiteY48289"/>
              </a:cxn>
              <a:cxn ang="0">
                <a:pos x="connsiteX48290" y="connsiteY48290"/>
              </a:cxn>
              <a:cxn ang="0">
                <a:pos x="connsiteX48291" y="connsiteY48291"/>
              </a:cxn>
              <a:cxn ang="0">
                <a:pos x="connsiteX48292" y="connsiteY48292"/>
              </a:cxn>
              <a:cxn ang="0">
                <a:pos x="connsiteX48293" y="connsiteY48293"/>
              </a:cxn>
              <a:cxn ang="0">
                <a:pos x="connsiteX48294" y="connsiteY48294"/>
              </a:cxn>
              <a:cxn ang="0">
                <a:pos x="connsiteX48295" y="connsiteY48295"/>
              </a:cxn>
              <a:cxn ang="0">
                <a:pos x="connsiteX48296" y="connsiteY48296"/>
              </a:cxn>
              <a:cxn ang="0">
                <a:pos x="connsiteX48297" y="connsiteY48297"/>
              </a:cxn>
              <a:cxn ang="0">
                <a:pos x="connsiteX48298" y="connsiteY48298"/>
              </a:cxn>
              <a:cxn ang="0">
                <a:pos x="connsiteX48299" y="connsiteY48299"/>
              </a:cxn>
              <a:cxn ang="0">
                <a:pos x="connsiteX48300" y="connsiteY48300"/>
              </a:cxn>
              <a:cxn ang="0">
                <a:pos x="connsiteX48301" y="connsiteY48301"/>
              </a:cxn>
              <a:cxn ang="0">
                <a:pos x="connsiteX48302" y="connsiteY48302"/>
              </a:cxn>
              <a:cxn ang="0">
                <a:pos x="connsiteX48303" y="connsiteY48303"/>
              </a:cxn>
              <a:cxn ang="0">
                <a:pos x="connsiteX48304" y="connsiteY48304"/>
              </a:cxn>
              <a:cxn ang="0">
                <a:pos x="connsiteX48305" y="connsiteY48305"/>
              </a:cxn>
              <a:cxn ang="0">
                <a:pos x="connsiteX48306" y="connsiteY48306"/>
              </a:cxn>
              <a:cxn ang="0">
                <a:pos x="connsiteX48307" y="connsiteY48307"/>
              </a:cxn>
              <a:cxn ang="0">
                <a:pos x="connsiteX48308" y="connsiteY48308"/>
              </a:cxn>
              <a:cxn ang="0">
                <a:pos x="connsiteX48309" y="connsiteY48309"/>
              </a:cxn>
              <a:cxn ang="0">
                <a:pos x="connsiteX48310" y="connsiteY48310"/>
              </a:cxn>
              <a:cxn ang="0">
                <a:pos x="connsiteX48311" y="connsiteY48311"/>
              </a:cxn>
              <a:cxn ang="0">
                <a:pos x="connsiteX48312" y="connsiteY48312"/>
              </a:cxn>
              <a:cxn ang="0">
                <a:pos x="connsiteX48313" y="connsiteY48313"/>
              </a:cxn>
              <a:cxn ang="0">
                <a:pos x="connsiteX48314" y="connsiteY48314"/>
              </a:cxn>
              <a:cxn ang="0">
                <a:pos x="connsiteX48315" y="connsiteY48315"/>
              </a:cxn>
              <a:cxn ang="0">
                <a:pos x="connsiteX48316" y="connsiteY48316"/>
              </a:cxn>
              <a:cxn ang="0">
                <a:pos x="connsiteX48317" y="connsiteY48317"/>
              </a:cxn>
              <a:cxn ang="0">
                <a:pos x="connsiteX48318" y="connsiteY48318"/>
              </a:cxn>
              <a:cxn ang="0">
                <a:pos x="connsiteX48319" y="connsiteY48319"/>
              </a:cxn>
              <a:cxn ang="0">
                <a:pos x="connsiteX48320" y="connsiteY48320"/>
              </a:cxn>
              <a:cxn ang="0">
                <a:pos x="connsiteX48321" y="connsiteY48321"/>
              </a:cxn>
              <a:cxn ang="0">
                <a:pos x="connsiteX48322" y="connsiteY48322"/>
              </a:cxn>
              <a:cxn ang="0">
                <a:pos x="connsiteX48323" y="connsiteY48323"/>
              </a:cxn>
              <a:cxn ang="0">
                <a:pos x="connsiteX48324" y="connsiteY48324"/>
              </a:cxn>
              <a:cxn ang="0">
                <a:pos x="connsiteX48325" y="connsiteY48325"/>
              </a:cxn>
              <a:cxn ang="0">
                <a:pos x="connsiteX48326" y="connsiteY48326"/>
              </a:cxn>
              <a:cxn ang="0">
                <a:pos x="connsiteX48327" y="connsiteY48327"/>
              </a:cxn>
              <a:cxn ang="0">
                <a:pos x="connsiteX48328" y="connsiteY48328"/>
              </a:cxn>
              <a:cxn ang="0">
                <a:pos x="connsiteX48329" y="connsiteY48329"/>
              </a:cxn>
              <a:cxn ang="0">
                <a:pos x="connsiteX48330" y="connsiteY48330"/>
              </a:cxn>
              <a:cxn ang="0">
                <a:pos x="connsiteX48331" y="connsiteY48331"/>
              </a:cxn>
              <a:cxn ang="0">
                <a:pos x="connsiteX48332" y="connsiteY48332"/>
              </a:cxn>
              <a:cxn ang="0">
                <a:pos x="connsiteX48333" y="connsiteY48333"/>
              </a:cxn>
              <a:cxn ang="0">
                <a:pos x="connsiteX48334" y="connsiteY48334"/>
              </a:cxn>
              <a:cxn ang="0">
                <a:pos x="connsiteX48335" y="connsiteY48335"/>
              </a:cxn>
              <a:cxn ang="0">
                <a:pos x="connsiteX48336" y="connsiteY48336"/>
              </a:cxn>
              <a:cxn ang="0">
                <a:pos x="connsiteX48337" y="connsiteY48337"/>
              </a:cxn>
              <a:cxn ang="0">
                <a:pos x="connsiteX48338" y="connsiteY48338"/>
              </a:cxn>
              <a:cxn ang="0">
                <a:pos x="connsiteX48339" y="connsiteY48339"/>
              </a:cxn>
              <a:cxn ang="0">
                <a:pos x="connsiteX48340" y="connsiteY48340"/>
              </a:cxn>
              <a:cxn ang="0">
                <a:pos x="connsiteX48341" y="connsiteY48341"/>
              </a:cxn>
              <a:cxn ang="0">
                <a:pos x="connsiteX48342" y="connsiteY48342"/>
              </a:cxn>
              <a:cxn ang="0">
                <a:pos x="connsiteX48343" y="connsiteY48343"/>
              </a:cxn>
              <a:cxn ang="0">
                <a:pos x="connsiteX48344" y="connsiteY48344"/>
              </a:cxn>
              <a:cxn ang="0">
                <a:pos x="connsiteX48345" y="connsiteY48345"/>
              </a:cxn>
              <a:cxn ang="0">
                <a:pos x="connsiteX48346" y="connsiteY48346"/>
              </a:cxn>
              <a:cxn ang="0">
                <a:pos x="connsiteX48347" y="connsiteY48347"/>
              </a:cxn>
              <a:cxn ang="0">
                <a:pos x="connsiteX48348" y="connsiteY48348"/>
              </a:cxn>
              <a:cxn ang="0">
                <a:pos x="connsiteX48349" y="connsiteY48349"/>
              </a:cxn>
              <a:cxn ang="0">
                <a:pos x="connsiteX48350" y="connsiteY48350"/>
              </a:cxn>
              <a:cxn ang="0">
                <a:pos x="connsiteX48351" y="connsiteY48351"/>
              </a:cxn>
              <a:cxn ang="0">
                <a:pos x="connsiteX48352" y="connsiteY48352"/>
              </a:cxn>
              <a:cxn ang="0">
                <a:pos x="connsiteX48353" y="connsiteY48353"/>
              </a:cxn>
              <a:cxn ang="0">
                <a:pos x="connsiteX48354" y="connsiteY48354"/>
              </a:cxn>
              <a:cxn ang="0">
                <a:pos x="connsiteX48355" y="connsiteY48355"/>
              </a:cxn>
              <a:cxn ang="0">
                <a:pos x="connsiteX48356" y="connsiteY48356"/>
              </a:cxn>
              <a:cxn ang="0">
                <a:pos x="connsiteX48357" y="connsiteY48357"/>
              </a:cxn>
              <a:cxn ang="0">
                <a:pos x="connsiteX48358" y="connsiteY48358"/>
              </a:cxn>
              <a:cxn ang="0">
                <a:pos x="connsiteX48359" y="connsiteY48359"/>
              </a:cxn>
              <a:cxn ang="0">
                <a:pos x="connsiteX48360" y="connsiteY48360"/>
              </a:cxn>
              <a:cxn ang="0">
                <a:pos x="connsiteX48361" y="connsiteY48361"/>
              </a:cxn>
              <a:cxn ang="0">
                <a:pos x="connsiteX48362" y="connsiteY48362"/>
              </a:cxn>
              <a:cxn ang="0">
                <a:pos x="connsiteX48363" y="connsiteY48363"/>
              </a:cxn>
              <a:cxn ang="0">
                <a:pos x="connsiteX48364" y="connsiteY48364"/>
              </a:cxn>
              <a:cxn ang="0">
                <a:pos x="connsiteX48365" y="connsiteY48365"/>
              </a:cxn>
              <a:cxn ang="0">
                <a:pos x="connsiteX48366" y="connsiteY48366"/>
              </a:cxn>
              <a:cxn ang="0">
                <a:pos x="connsiteX48367" y="connsiteY48367"/>
              </a:cxn>
              <a:cxn ang="0">
                <a:pos x="connsiteX48368" y="connsiteY48368"/>
              </a:cxn>
              <a:cxn ang="0">
                <a:pos x="connsiteX48369" y="connsiteY48369"/>
              </a:cxn>
              <a:cxn ang="0">
                <a:pos x="connsiteX48370" y="connsiteY48370"/>
              </a:cxn>
              <a:cxn ang="0">
                <a:pos x="connsiteX48371" y="connsiteY48371"/>
              </a:cxn>
              <a:cxn ang="0">
                <a:pos x="connsiteX48372" y="connsiteY48372"/>
              </a:cxn>
              <a:cxn ang="0">
                <a:pos x="connsiteX48373" y="connsiteY48373"/>
              </a:cxn>
              <a:cxn ang="0">
                <a:pos x="connsiteX48374" y="connsiteY48374"/>
              </a:cxn>
              <a:cxn ang="0">
                <a:pos x="connsiteX48375" y="connsiteY48375"/>
              </a:cxn>
              <a:cxn ang="0">
                <a:pos x="connsiteX48376" y="connsiteY48376"/>
              </a:cxn>
              <a:cxn ang="0">
                <a:pos x="connsiteX48377" y="connsiteY48377"/>
              </a:cxn>
              <a:cxn ang="0">
                <a:pos x="connsiteX48378" y="connsiteY48378"/>
              </a:cxn>
              <a:cxn ang="0">
                <a:pos x="connsiteX48379" y="connsiteY48379"/>
              </a:cxn>
              <a:cxn ang="0">
                <a:pos x="connsiteX48380" y="connsiteY48380"/>
              </a:cxn>
              <a:cxn ang="0">
                <a:pos x="connsiteX48381" y="connsiteY48381"/>
              </a:cxn>
              <a:cxn ang="0">
                <a:pos x="connsiteX48382" y="connsiteY48382"/>
              </a:cxn>
              <a:cxn ang="0">
                <a:pos x="connsiteX48383" y="connsiteY48383"/>
              </a:cxn>
              <a:cxn ang="0">
                <a:pos x="connsiteX48384" y="connsiteY48384"/>
              </a:cxn>
              <a:cxn ang="0">
                <a:pos x="connsiteX48385" y="connsiteY48385"/>
              </a:cxn>
              <a:cxn ang="0">
                <a:pos x="connsiteX48386" y="connsiteY48386"/>
              </a:cxn>
              <a:cxn ang="0">
                <a:pos x="connsiteX48387" y="connsiteY48387"/>
              </a:cxn>
              <a:cxn ang="0">
                <a:pos x="connsiteX48388" y="connsiteY48388"/>
              </a:cxn>
              <a:cxn ang="0">
                <a:pos x="connsiteX48389" y="connsiteY48389"/>
              </a:cxn>
              <a:cxn ang="0">
                <a:pos x="connsiteX48390" y="connsiteY48390"/>
              </a:cxn>
              <a:cxn ang="0">
                <a:pos x="connsiteX48391" y="connsiteY48391"/>
              </a:cxn>
              <a:cxn ang="0">
                <a:pos x="connsiteX48392" y="connsiteY48392"/>
              </a:cxn>
              <a:cxn ang="0">
                <a:pos x="connsiteX48393" y="connsiteY48393"/>
              </a:cxn>
              <a:cxn ang="0">
                <a:pos x="connsiteX48394" y="connsiteY48394"/>
              </a:cxn>
              <a:cxn ang="0">
                <a:pos x="connsiteX48395" y="connsiteY48395"/>
              </a:cxn>
              <a:cxn ang="0">
                <a:pos x="connsiteX48396" y="connsiteY48396"/>
              </a:cxn>
              <a:cxn ang="0">
                <a:pos x="connsiteX48397" y="connsiteY48397"/>
              </a:cxn>
              <a:cxn ang="0">
                <a:pos x="connsiteX48398" y="connsiteY48398"/>
              </a:cxn>
              <a:cxn ang="0">
                <a:pos x="connsiteX48399" y="connsiteY48399"/>
              </a:cxn>
              <a:cxn ang="0">
                <a:pos x="connsiteX48400" y="connsiteY48400"/>
              </a:cxn>
              <a:cxn ang="0">
                <a:pos x="connsiteX48401" y="connsiteY48401"/>
              </a:cxn>
              <a:cxn ang="0">
                <a:pos x="connsiteX48402" y="connsiteY48402"/>
              </a:cxn>
              <a:cxn ang="0">
                <a:pos x="connsiteX48403" y="connsiteY48403"/>
              </a:cxn>
              <a:cxn ang="0">
                <a:pos x="connsiteX48404" y="connsiteY48404"/>
              </a:cxn>
              <a:cxn ang="0">
                <a:pos x="connsiteX48405" y="connsiteY48405"/>
              </a:cxn>
              <a:cxn ang="0">
                <a:pos x="connsiteX48406" y="connsiteY48406"/>
              </a:cxn>
              <a:cxn ang="0">
                <a:pos x="connsiteX48407" y="connsiteY48407"/>
              </a:cxn>
              <a:cxn ang="0">
                <a:pos x="connsiteX48408" y="connsiteY48408"/>
              </a:cxn>
              <a:cxn ang="0">
                <a:pos x="connsiteX48409" y="connsiteY48409"/>
              </a:cxn>
              <a:cxn ang="0">
                <a:pos x="connsiteX48410" y="connsiteY48410"/>
              </a:cxn>
              <a:cxn ang="0">
                <a:pos x="connsiteX48411" y="connsiteY48411"/>
              </a:cxn>
              <a:cxn ang="0">
                <a:pos x="connsiteX48412" y="connsiteY48412"/>
              </a:cxn>
              <a:cxn ang="0">
                <a:pos x="connsiteX48413" y="connsiteY48413"/>
              </a:cxn>
              <a:cxn ang="0">
                <a:pos x="connsiteX48414" y="connsiteY48414"/>
              </a:cxn>
              <a:cxn ang="0">
                <a:pos x="connsiteX48415" y="connsiteY48415"/>
              </a:cxn>
              <a:cxn ang="0">
                <a:pos x="connsiteX48416" y="connsiteY48416"/>
              </a:cxn>
              <a:cxn ang="0">
                <a:pos x="connsiteX48417" y="connsiteY48417"/>
              </a:cxn>
              <a:cxn ang="0">
                <a:pos x="connsiteX48418" y="connsiteY48418"/>
              </a:cxn>
              <a:cxn ang="0">
                <a:pos x="connsiteX48419" y="connsiteY48419"/>
              </a:cxn>
              <a:cxn ang="0">
                <a:pos x="connsiteX48420" y="connsiteY48420"/>
              </a:cxn>
              <a:cxn ang="0">
                <a:pos x="connsiteX48421" y="connsiteY48421"/>
              </a:cxn>
              <a:cxn ang="0">
                <a:pos x="connsiteX48422" y="connsiteY48422"/>
              </a:cxn>
              <a:cxn ang="0">
                <a:pos x="connsiteX48423" y="connsiteY48423"/>
              </a:cxn>
              <a:cxn ang="0">
                <a:pos x="connsiteX48424" y="connsiteY48424"/>
              </a:cxn>
              <a:cxn ang="0">
                <a:pos x="connsiteX48425" y="connsiteY48425"/>
              </a:cxn>
              <a:cxn ang="0">
                <a:pos x="connsiteX48426" y="connsiteY48426"/>
              </a:cxn>
              <a:cxn ang="0">
                <a:pos x="connsiteX48427" y="connsiteY48427"/>
              </a:cxn>
              <a:cxn ang="0">
                <a:pos x="connsiteX48428" y="connsiteY48428"/>
              </a:cxn>
              <a:cxn ang="0">
                <a:pos x="connsiteX48429" y="connsiteY48429"/>
              </a:cxn>
              <a:cxn ang="0">
                <a:pos x="connsiteX48430" y="connsiteY48430"/>
              </a:cxn>
              <a:cxn ang="0">
                <a:pos x="connsiteX48431" y="connsiteY48431"/>
              </a:cxn>
              <a:cxn ang="0">
                <a:pos x="connsiteX48432" y="connsiteY48432"/>
              </a:cxn>
              <a:cxn ang="0">
                <a:pos x="connsiteX48433" y="connsiteY48433"/>
              </a:cxn>
              <a:cxn ang="0">
                <a:pos x="connsiteX48434" y="connsiteY48434"/>
              </a:cxn>
              <a:cxn ang="0">
                <a:pos x="connsiteX48435" y="connsiteY48435"/>
              </a:cxn>
              <a:cxn ang="0">
                <a:pos x="connsiteX48436" y="connsiteY48436"/>
              </a:cxn>
              <a:cxn ang="0">
                <a:pos x="connsiteX48437" y="connsiteY48437"/>
              </a:cxn>
              <a:cxn ang="0">
                <a:pos x="connsiteX48438" y="connsiteY48438"/>
              </a:cxn>
              <a:cxn ang="0">
                <a:pos x="connsiteX48439" y="connsiteY48439"/>
              </a:cxn>
              <a:cxn ang="0">
                <a:pos x="connsiteX48440" y="connsiteY48440"/>
              </a:cxn>
              <a:cxn ang="0">
                <a:pos x="connsiteX48441" y="connsiteY48441"/>
              </a:cxn>
              <a:cxn ang="0">
                <a:pos x="connsiteX48442" y="connsiteY48442"/>
              </a:cxn>
              <a:cxn ang="0">
                <a:pos x="connsiteX48443" y="connsiteY48443"/>
              </a:cxn>
              <a:cxn ang="0">
                <a:pos x="connsiteX48444" y="connsiteY48444"/>
              </a:cxn>
              <a:cxn ang="0">
                <a:pos x="connsiteX48445" y="connsiteY48445"/>
              </a:cxn>
              <a:cxn ang="0">
                <a:pos x="connsiteX48446" y="connsiteY48446"/>
              </a:cxn>
              <a:cxn ang="0">
                <a:pos x="connsiteX48447" y="connsiteY48447"/>
              </a:cxn>
              <a:cxn ang="0">
                <a:pos x="connsiteX48448" y="connsiteY48448"/>
              </a:cxn>
              <a:cxn ang="0">
                <a:pos x="connsiteX48449" y="connsiteY48449"/>
              </a:cxn>
              <a:cxn ang="0">
                <a:pos x="connsiteX48450" y="connsiteY48450"/>
              </a:cxn>
              <a:cxn ang="0">
                <a:pos x="connsiteX48451" y="connsiteY48451"/>
              </a:cxn>
              <a:cxn ang="0">
                <a:pos x="connsiteX48452" y="connsiteY48452"/>
              </a:cxn>
              <a:cxn ang="0">
                <a:pos x="connsiteX48453" y="connsiteY48453"/>
              </a:cxn>
              <a:cxn ang="0">
                <a:pos x="connsiteX48454" y="connsiteY48454"/>
              </a:cxn>
              <a:cxn ang="0">
                <a:pos x="connsiteX48455" y="connsiteY48455"/>
              </a:cxn>
              <a:cxn ang="0">
                <a:pos x="connsiteX48456" y="connsiteY48456"/>
              </a:cxn>
              <a:cxn ang="0">
                <a:pos x="connsiteX48457" y="connsiteY48457"/>
              </a:cxn>
              <a:cxn ang="0">
                <a:pos x="connsiteX48458" y="connsiteY48458"/>
              </a:cxn>
              <a:cxn ang="0">
                <a:pos x="connsiteX48459" y="connsiteY48459"/>
              </a:cxn>
              <a:cxn ang="0">
                <a:pos x="connsiteX48460" y="connsiteY48460"/>
              </a:cxn>
              <a:cxn ang="0">
                <a:pos x="connsiteX48461" y="connsiteY48461"/>
              </a:cxn>
              <a:cxn ang="0">
                <a:pos x="connsiteX48462" y="connsiteY48462"/>
              </a:cxn>
              <a:cxn ang="0">
                <a:pos x="connsiteX48463" y="connsiteY48463"/>
              </a:cxn>
              <a:cxn ang="0">
                <a:pos x="connsiteX48464" y="connsiteY48464"/>
              </a:cxn>
              <a:cxn ang="0">
                <a:pos x="connsiteX48465" y="connsiteY48465"/>
              </a:cxn>
              <a:cxn ang="0">
                <a:pos x="connsiteX48466" y="connsiteY48466"/>
              </a:cxn>
              <a:cxn ang="0">
                <a:pos x="connsiteX48467" y="connsiteY48467"/>
              </a:cxn>
              <a:cxn ang="0">
                <a:pos x="connsiteX48468" y="connsiteY48468"/>
              </a:cxn>
              <a:cxn ang="0">
                <a:pos x="connsiteX48469" y="connsiteY48469"/>
              </a:cxn>
              <a:cxn ang="0">
                <a:pos x="connsiteX48470" y="connsiteY48470"/>
              </a:cxn>
              <a:cxn ang="0">
                <a:pos x="connsiteX48471" y="connsiteY48471"/>
              </a:cxn>
              <a:cxn ang="0">
                <a:pos x="connsiteX48472" y="connsiteY48472"/>
              </a:cxn>
              <a:cxn ang="0">
                <a:pos x="connsiteX48473" y="connsiteY48473"/>
              </a:cxn>
              <a:cxn ang="0">
                <a:pos x="connsiteX48474" y="connsiteY48474"/>
              </a:cxn>
              <a:cxn ang="0">
                <a:pos x="connsiteX48475" y="connsiteY48475"/>
              </a:cxn>
              <a:cxn ang="0">
                <a:pos x="connsiteX48476" y="connsiteY48476"/>
              </a:cxn>
              <a:cxn ang="0">
                <a:pos x="connsiteX48477" y="connsiteY48477"/>
              </a:cxn>
              <a:cxn ang="0">
                <a:pos x="connsiteX48478" y="connsiteY48478"/>
              </a:cxn>
              <a:cxn ang="0">
                <a:pos x="connsiteX48479" y="connsiteY48479"/>
              </a:cxn>
              <a:cxn ang="0">
                <a:pos x="connsiteX48480" y="connsiteY48480"/>
              </a:cxn>
              <a:cxn ang="0">
                <a:pos x="connsiteX48481" y="connsiteY48481"/>
              </a:cxn>
              <a:cxn ang="0">
                <a:pos x="connsiteX48482" y="connsiteY48482"/>
              </a:cxn>
              <a:cxn ang="0">
                <a:pos x="connsiteX48483" y="connsiteY48483"/>
              </a:cxn>
              <a:cxn ang="0">
                <a:pos x="connsiteX48484" y="connsiteY48484"/>
              </a:cxn>
              <a:cxn ang="0">
                <a:pos x="connsiteX48485" y="connsiteY48485"/>
              </a:cxn>
              <a:cxn ang="0">
                <a:pos x="connsiteX48486" y="connsiteY48486"/>
              </a:cxn>
              <a:cxn ang="0">
                <a:pos x="connsiteX48487" y="connsiteY48487"/>
              </a:cxn>
              <a:cxn ang="0">
                <a:pos x="connsiteX48488" y="connsiteY48488"/>
              </a:cxn>
              <a:cxn ang="0">
                <a:pos x="connsiteX48489" y="connsiteY48489"/>
              </a:cxn>
              <a:cxn ang="0">
                <a:pos x="connsiteX48490" y="connsiteY48490"/>
              </a:cxn>
              <a:cxn ang="0">
                <a:pos x="connsiteX48491" y="connsiteY48491"/>
              </a:cxn>
              <a:cxn ang="0">
                <a:pos x="connsiteX48492" y="connsiteY48492"/>
              </a:cxn>
              <a:cxn ang="0">
                <a:pos x="connsiteX48493" y="connsiteY48493"/>
              </a:cxn>
              <a:cxn ang="0">
                <a:pos x="connsiteX48494" y="connsiteY48494"/>
              </a:cxn>
              <a:cxn ang="0">
                <a:pos x="connsiteX48495" y="connsiteY48495"/>
              </a:cxn>
              <a:cxn ang="0">
                <a:pos x="connsiteX48496" y="connsiteY48496"/>
              </a:cxn>
              <a:cxn ang="0">
                <a:pos x="connsiteX48497" y="connsiteY48497"/>
              </a:cxn>
              <a:cxn ang="0">
                <a:pos x="connsiteX48498" y="connsiteY48498"/>
              </a:cxn>
              <a:cxn ang="0">
                <a:pos x="connsiteX48499" y="connsiteY48499"/>
              </a:cxn>
              <a:cxn ang="0">
                <a:pos x="connsiteX48500" y="connsiteY48500"/>
              </a:cxn>
              <a:cxn ang="0">
                <a:pos x="connsiteX48501" y="connsiteY48501"/>
              </a:cxn>
              <a:cxn ang="0">
                <a:pos x="connsiteX48502" y="connsiteY48502"/>
              </a:cxn>
              <a:cxn ang="0">
                <a:pos x="connsiteX48503" y="connsiteY48503"/>
              </a:cxn>
              <a:cxn ang="0">
                <a:pos x="connsiteX48504" y="connsiteY48504"/>
              </a:cxn>
              <a:cxn ang="0">
                <a:pos x="connsiteX48505" y="connsiteY48505"/>
              </a:cxn>
              <a:cxn ang="0">
                <a:pos x="connsiteX48506" y="connsiteY48506"/>
              </a:cxn>
              <a:cxn ang="0">
                <a:pos x="connsiteX48507" y="connsiteY48507"/>
              </a:cxn>
              <a:cxn ang="0">
                <a:pos x="connsiteX48508" y="connsiteY48508"/>
              </a:cxn>
              <a:cxn ang="0">
                <a:pos x="connsiteX48509" y="connsiteY48509"/>
              </a:cxn>
              <a:cxn ang="0">
                <a:pos x="connsiteX48510" y="connsiteY48510"/>
              </a:cxn>
              <a:cxn ang="0">
                <a:pos x="connsiteX48511" y="connsiteY48511"/>
              </a:cxn>
              <a:cxn ang="0">
                <a:pos x="connsiteX48512" y="connsiteY48512"/>
              </a:cxn>
              <a:cxn ang="0">
                <a:pos x="connsiteX48513" y="connsiteY48513"/>
              </a:cxn>
              <a:cxn ang="0">
                <a:pos x="connsiteX48514" y="connsiteY48514"/>
              </a:cxn>
              <a:cxn ang="0">
                <a:pos x="connsiteX48515" y="connsiteY48515"/>
              </a:cxn>
              <a:cxn ang="0">
                <a:pos x="connsiteX48516" y="connsiteY48516"/>
              </a:cxn>
              <a:cxn ang="0">
                <a:pos x="connsiteX48517" y="connsiteY48517"/>
              </a:cxn>
              <a:cxn ang="0">
                <a:pos x="connsiteX48518" y="connsiteY48518"/>
              </a:cxn>
              <a:cxn ang="0">
                <a:pos x="connsiteX48519" y="connsiteY48519"/>
              </a:cxn>
              <a:cxn ang="0">
                <a:pos x="connsiteX48520" y="connsiteY48520"/>
              </a:cxn>
              <a:cxn ang="0">
                <a:pos x="connsiteX48521" y="connsiteY48521"/>
              </a:cxn>
              <a:cxn ang="0">
                <a:pos x="connsiteX48522" y="connsiteY48522"/>
              </a:cxn>
              <a:cxn ang="0">
                <a:pos x="connsiteX48523" y="connsiteY48523"/>
              </a:cxn>
              <a:cxn ang="0">
                <a:pos x="connsiteX48524" y="connsiteY48524"/>
              </a:cxn>
              <a:cxn ang="0">
                <a:pos x="connsiteX48525" y="connsiteY48525"/>
              </a:cxn>
              <a:cxn ang="0">
                <a:pos x="connsiteX48526" y="connsiteY48526"/>
              </a:cxn>
              <a:cxn ang="0">
                <a:pos x="connsiteX48527" y="connsiteY48527"/>
              </a:cxn>
              <a:cxn ang="0">
                <a:pos x="connsiteX48528" y="connsiteY48528"/>
              </a:cxn>
              <a:cxn ang="0">
                <a:pos x="connsiteX48529" y="connsiteY48529"/>
              </a:cxn>
              <a:cxn ang="0">
                <a:pos x="connsiteX48530" y="connsiteY48530"/>
              </a:cxn>
              <a:cxn ang="0">
                <a:pos x="connsiteX48531" y="connsiteY48531"/>
              </a:cxn>
              <a:cxn ang="0">
                <a:pos x="connsiteX48532" y="connsiteY48532"/>
              </a:cxn>
              <a:cxn ang="0">
                <a:pos x="connsiteX48533" y="connsiteY48533"/>
              </a:cxn>
              <a:cxn ang="0">
                <a:pos x="connsiteX48534" y="connsiteY48534"/>
              </a:cxn>
              <a:cxn ang="0">
                <a:pos x="connsiteX48535" y="connsiteY48535"/>
              </a:cxn>
              <a:cxn ang="0">
                <a:pos x="connsiteX48536" y="connsiteY48536"/>
              </a:cxn>
              <a:cxn ang="0">
                <a:pos x="connsiteX48537" y="connsiteY48537"/>
              </a:cxn>
              <a:cxn ang="0">
                <a:pos x="connsiteX48538" y="connsiteY48538"/>
              </a:cxn>
              <a:cxn ang="0">
                <a:pos x="connsiteX48539" y="connsiteY48539"/>
              </a:cxn>
              <a:cxn ang="0">
                <a:pos x="connsiteX48540" y="connsiteY48540"/>
              </a:cxn>
              <a:cxn ang="0">
                <a:pos x="connsiteX48541" y="connsiteY48541"/>
              </a:cxn>
              <a:cxn ang="0">
                <a:pos x="connsiteX48542" y="connsiteY48542"/>
              </a:cxn>
              <a:cxn ang="0">
                <a:pos x="connsiteX48543" y="connsiteY48543"/>
              </a:cxn>
              <a:cxn ang="0">
                <a:pos x="connsiteX48544" y="connsiteY48544"/>
              </a:cxn>
              <a:cxn ang="0">
                <a:pos x="connsiteX48545" y="connsiteY48545"/>
              </a:cxn>
              <a:cxn ang="0">
                <a:pos x="connsiteX48546" y="connsiteY48546"/>
              </a:cxn>
              <a:cxn ang="0">
                <a:pos x="connsiteX48547" y="connsiteY48547"/>
              </a:cxn>
              <a:cxn ang="0">
                <a:pos x="connsiteX48548" y="connsiteY48548"/>
              </a:cxn>
              <a:cxn ang="0">
                <a:pos x="connsiteX48549" y="connsiteY48549"/>
              </a:cxn>
              <a:cxn ang="0">
                <a:pos x="connsiteX48550" y="connsiteY48550"/>
              </a:cxn>
              <a:cxn ang="0">
                <a:pos x="connsiteX48551" y="connsiteY48551"/>
              </a:cxn>
              <a:cxn ang="0">
                <a:pos x="connsiteX48552" y="connsiteY48552"/>
              </a:cxn>
              <a:cxn ang="0">
                <a:pos x="connsiteX48553" y="connsiteY48553"/>
              </a:cxn>
              <a:cxn ang="0">
                <a:pos x="connsiteX48554" y="connsiteY48554"/>
              </a:cxn>
              <a:cxn ang="0">
                <a:pos x="connsiteX48555" y="connsiteY48555"/>
              </a:cxn>
              <a:cxn ang="0">
                <a:pos x="connsiteX48556" y="connsiteY48556"/>
              </a:cxn>
              <a:cxn ang="0">
                <a:pos x="connsiteX48557" y="connsiteY48557"/>
              </a:cxn>
              <a:cxn ang="0">
                <a:pos x="connsiteX48558" y="connsiteY48558"/>
              </a:cxn>
              <a:cxn ang="0">
                <a:pos x="connsiteX48559" y="connsiteY48559"/>
              </a:cxn>
              <a:cxn ang="0">
                <a:pos x="connsiteX48560" y="connsiteY48560"/>
              </a:cxn>
              <a:cxn ang="0">
                <a:pos x="connsiteX48561" y="connsiteY48561"/>
              </a:cxn>
              <a:cxn ang="0">
                <a:pos x="connsiteX48562" y="connsiteY48562"/>
              </a:cxn>
              <a:cxn ang="0">
                <a:pos x="connsiteX48563" y="connsiteY48563"/>
              </a:cxn>
              <a:cxn ang="0">
                <a:pos x="connsiteX48564" y="connsiteY48564"/>
              </a:cxn>
              <a:cxn ang="0">
                <a:pos x="connsiteX48565" y="connsiteY48565"/>
              </a:cxn>
              <a:cxn ang="0">
                <a:pos x="connsiteX48566" y="connsiteY48566"/>
              </a:cxn>
              <a:cxn ang="0">
                <a:pos x="connsiteX48567" y="connsiteY48567"/>
              </a:cxn>
              <a:cxn ang="0">
                <a:pos x="connsiteX48568" y="connsiteY48568"/>
              </a:cxn>
              <a:cxn ang="0">
                <a:pos x="connsiteX48569" y="connsiteY48569"/>
              </a:cxn>
              <a:cxn ang="0">
                <a:pos x="connsiteX48570" y="connsiteY48570"/>
              </a:cxn>
              <a:cxn ang="0">
                <a:pos x="connsiteX48571" y="connsiteY48571"/>
              </a:cxn>
              <a:cxn ang="0">
                <a:pos x="connsiteX48572" y="connsiteY48572"/>
              </a:cxn>
              <a:cxn ang="0">
                <a:pos x="connsiteX48573" y="connsiteY48573"/>
              </a:cxn>
              <a:cxn ang="0">
                <a:pos x="connsiteX48574" y="connsiteY48574"/>
              </a:cxn>
              <a:cxn ang="0">
                <a:pos x="connsiteX48575" y="connsiteY48575"/>
              </a:cxn>
              <a:cxn ang="0">
                <a:pos x="connsiteX48576" y="connsiteY48576"/>
              </a:cxn>
              <a:cxn ang="0">
                <a:pos x="connsiteX48577" y="connsiteY48577"/>
              </a:cxn>
              <a:cxn ang="0">
                <a:pos x="connsiteX48578" y="connsiteY48578"/>
              </a:cxn>
              <a:cxn ang="0">
                <a:pos x="connsiteX48579" y="connsiteY48579"/>
              </a:cxn>
              <a:cxn ang="0">
                <a:pos x="connsiteX48580" y="connsiteY48580"/>
              </a:cxn>
              <a:cxn ang="0">
                <a:pos x="connsiteX48581" y="connsiteY48581"/>
              </a:cxn>
              <a:cxn ang="0">
                <a:pos x="connsiteX48582" y="connsiteY48582"/>
              </a:cxn>
              <a:cxn ang="0">
                <a:pos x="connsiteX48583" y="connsiteY48583"/>
              </a:cxn>
              <a:cxn ang="0">
                <a:pos x="connsiteX48584" y="connsiteY48584"/>
              </a:cxn>
              <a:cxn ang="0">
                <a:pos x="connsiteX48585" y="connsiteY48585"/>
              </a:cxn>
              <a:cxn ang="0">
                <a:pos x="connsiteX48586" y="connsiteY48586"/>
              </a:cxn>
              <a:cxn ang="0">
                <a:pos x="connsiteX48587" y="connsiteY48587"/>
              </a:cxn>
              <a:cxn ang="0">
                <a:pos x="connsiteX48588" y="connsiteY48588"/>
              </a:cxn>
              <a:cxn ang="0">
                <a:pos x="connsiteX48589" y="connsiteY48589"/>
              </a:cxn>
              <a:cxn ang="0">
                <a:pos x="connsiteX48590" y="connsiteY48590"/>
              </a:cxn>
              <a:cxn ang="0">
                <a:pos x="connsiteX48591" y="connsiteY48591"/>
              </a:cxn>
              <a:cxn ang="0">
                <a:pos x="connsiteX48592" y="connsiteY48592"/>
              </a:cxn>
              <a:cxn ang="0">
                <a:pos x="connsiteX48593" y="connsiteY48593"/>
              </a:cxn>
              <a:cxn ang="0">
                <a:pos x="connsiteX48594" y="connsiteY48594"/>
              </a:cxn>
              <a:cxn ang="0">
                <a:pos x="connsiteX48595" y="connsiteY48595"/>
              </a:cxn>
              <a:cxn ang="0">
                <a:pos x="connsiteX48596" y="connsiteY48596"/>
              </a:cxn>
              <a:cxn ang="0">
                <a:pos x="connsiteX48597" y="connsiteY48597"/>
              </a:cxn>
              <a:cxn ang="0">
                <a:pos x="connsiteX48598" y="connsiteY48598"/>
              </a:cxn>
              <a:cxn ang="0">
                <a:pos x="connsiteX48599" y="connsiteY48599"/>
              </a:cxn>
              <a:cxn ang="0">
                <a:pos x="connsiteX48600" y="connsiteY48600"/>
              </a:cxn>
              <a:cxn ang="0">
                <a:pos x="connsiteX48601" y="connsiteY48601"/>
              </a:cxn>
              <a:cxn ang="0">
                <a:pos x="connsiteX48602" y="connsiteY48602"/>
              </a:cxn>
              <a:cxn ang="0">
                <a:pos x="connsiteX48603" y="connsiteY48603"/>
              </a:cxn>
              <a:cxn ang="0">
                <a:pos x="connsiteX48604" y="connsiteY48604"/>
              </a:cxn>
              <a:cxn ang="0">
                <a:pos x="connsiteX48605" y="connsiteY48605"/>
              </a:cxn>
              <a:cxn ang="0">
                <a:pos x="connsiteX48606" y="connsiteY48606"/>
              </a:cxn>
              <a:cxn ang="0">
                <a:pos x="connsiteX48607" y="connsiteY48607"/>
              </a:cxn>
              <a:cxn ang="0">
                <a:pos x="connsiteX48608" y="connsiteY48608"/>
              </a:cxn>
              <a:cxn ang="0">
                <a:pos x="connsiteX48609" y="connsiteY48609"/>
              </a:cxn>
              <a:cxn ang="0">
                <a:pos x="connsiteX48610" y="connsiteY48610"/>
              </a:cxn>
              <a:cxn ang="0">
                <a:pos x="connsiteX48611" y="connsiteY48611"/>
              </a:cxn>
              <a:cxn ang="0">
                <a:pos x="connsiteX48612" y="connsiteY48612"/>
              </a:cxn>
              <a:cxn ang="0">
                <a:pos x="connsiteX48613" y="connsiteY48613"/>
              </a:cxn>
              <a:cxn ang="0">
                <a:pos x="connsiteX48614" y="connsiteY48614"/>
              </a:cxn>
              <a:cxn ang="0">
                <a:pos x="connsiteX48615" y="connsiteY48615"/>
              </a:cxn>
              <a:cxn ang="0">
                <a:pos x="connsiteX48616" y="connsiteY48616"/>
              </a:cxn>
              <a:cxn ang="0">
                <a:pos x="connsiteX48617" y="connsiteY48617"/>
              </a:cxn>
              <a:cxn ang="0">
                <a:pos x="connsiteX48618" y="connsiteY48618"/>
              </a:cxn>
              <a:cxn ang="0">
                <a:pos x="connsiteX48619" y="connsiteY48619"/>
              </a:cxn>
              <a:cxn ang="0">
                <a:pos x="connsiteX48620" y="connsiteY48620"/>
              </a:cxn>
              <a:cxn ang="0">
                <a:pos x="connsiteX48621" y="connsiteY48621"/>
              </a:cxn>
              <a:cxn ang="0">
                <a:pos x="connsiteX48622" y="connsiteY48622"/>
              </a:cxn>
              <a:cxn ang="0">
                <a:pos x="connsiteX48623" y="connsiteY48623"/>
              </a:cxn>
              <a:cxn ang="0">
                <a:pos x="connsiteX48624" y="connsiteY48624"/>
              </a:cxn>
              <a:cxn ang="0">
                <a:pos x="connsiteX48625" y="connsiteY48625"/>
              </a:cxn>
              <a:cxn ang="0">
                <a:pos x="connsiteX48626" y="connsiteY48626"/>
              </a:cxn>
              <a:cxn ang="0">
                <a:pos x="connsiteX48627" y="connsiteY48627"/>
              </a:cxn>
              <a:cxn ang="0">
                <a:pos x="connsiteX48628" y="connsiteY48628"/>
              </a:cxn>
              <a:cxn ang="0">
                <a:pos x="connsiteX48629" y="connsiteY48629"/>
              </a:cxn>
              <a:cxn ang="0">
                <a:pos x="connsiteX48630" y="connsiteY48630"/>
              </a:cxn>
              <a:cxn ang="0">
                <a:pos x="connsiteX48631" y="connsiteY48631"/>
              </a:cxn>
              <a:cxn ang="0">
                <a:pos x="connsiteX48632" y="connsiteY48632"/>
              </a:cxn>
              <a:cxn ang="0">
                <a:pos x="connsiteX48633" y="connsiteY48633"/>
              </a:cxn>
              <a:cxn ang="0">
                <a:pos x="connsiteX48634" y="connsiteY48634"/>
              </a:cxn>
              <a:cxn ang="0">
                <a:pos x="connsiteX48635" y="connsiteY48635"/>
              </a:cxn>
              <a:cxn ang="0">
                <a:pos x="connsiteX48636" y="connsiteY48636"/>
              </a:cxn>
              <a:cxn ang="0">
                <a:pos x="connsiteX48637" y="connsiteY48637"/>
              </a:cxn>
              <a:cxn ang="0">
                <a:pos x="connsiteX48638" y="connsiteY48638"/>
              </a:cxn>
              <a:cxn ang="0">
                <a:pos x="connsiteX48639" y="connsiteY48639"/>
              </a:cxn>
              <a:cxn ang="0">
                <a:pos x="connsiteX48640" y="connsiteY48640"/>
              </a:cxn>
              <a:cxn ang="0">
                <a:pos x="connsiteX48641" y="connsiteY48641"/>
              </a:cxn>
              <a:cxn ang="0">
                <a:pos x="connsiteX48642" y="connsiteY48642"/>
              </a:cxn>
              <a:cxn ang="0">
                <a:pos x="connsiteX48643" y="connsiteY48643"/>
              </a:cxn>
              <a:cxn ang="0">
                <a:pos x="connsiteX48644" y="connsiteY48644"/>
              </a:cxn>
              <a:cxn ang="0">
                <a:pos x="connsiteX48645" y="connsiteY48645"/>
              </a:cxn>
              <a:cxn ang="0">
                <a:pos x="connsiteX48646" y="connsiteY48646"/>
              </a:cxn>
              <a:cxn ang="0">
                <a:pos x="connsiteX48647" y="connsiteY48647"/>
              </a:cxn>
              <a:cxn ang="0">
                <a:pos x="connsiteX48648" y="connsiteY48648"/>
              </a:cxn>
              <a:cxn ang="0">
                <a:pos x="connsiteX48649" y="connsiteY48649"/>
              </a:cxn>
              <a:cxn ang="0">
                <a:pos x="connsiteX48650" y="connsiteY48650"/>
              </a:cxn>
              <a:cxn ang="0">
                <a:pos x="connsiteX48651" y="connsiteY48651"/>
              </a:cxn>
              <a:cxn ang="0">
                <a:pos x="connsiteX48652" y="connsiteY48652"/>
              </a:cxn>
              <a:cxn ang="0">
                <a:pos x="connsiteX48653" y="connsiteY48653"/>
              </a:cxn>
              <a:cxn ang="0">
                <a:pos x="connsiteX48654" y="connsiteY48654"/>
              </a:cxn>
              <a:cxn ang="0">
                <a:pos x="connsiteX48655" y="connsiteY48655"/>
              </a:cxn>
              <a:cxn ang="0">
                <a:pos x="connsiteX48656" y="connsiteY48656"/>
              </a:cxn>
              <a:cxn ang="0">
                <a:pos x="connsiteX48657" y="connsiteY48657"/>
              </a:cxn>
              <a:cxn ang="0">
                <a:pos x="connsiteX48658" y="connsiteY48658"/>
              </a:cxn>
              <a:cxn ang="0">
                <a:pos x="connsiteX48659" y="connsiteY48659"/>
              </a:cxn>
              <a:cxn ang="0">
                <a:pos x="connsiteX48660" y="connsiteY48660"/>
              </a:cxn>
              <a:cxn ang="0">
                <a:pos x="connsiteX48661" y="connsiteY48661"/>
              </a:cxn>
              <a:cxn ang="0">
                <a:pos x="connsiteX48662" y="connsiteY48662"/>
              </a:cxn>
              <a:cxn ang="0">
                <a:pos x="connsiteX48663" y="connsiteY48663"/>
              </a:cxn>
              <a:cxn ang="0">
                <a:pos x="connsiteX48664" y="connsiteY48664"/>
              </a:cxn>
              <a:cxn ang="0">
                <a:pos x="connsiteX48665" y="connsiteY48665"/>
              </a:cxn>
              <a:cxn ang="0">
                <a:pos x="connsiteX48666" y="connsiteY48666"/>
              </a:cxn>
              <a:cxn ang="0">
                <a:pos x="connsiteX48667" y="connsiteY48667"/>
              </a:cxn>
              <a:cxn ang="0">
                <a:pos x="connsiteX48668" y="connsiteY48668"/>
              </a:cxn>
              <a:cxn ang="0">
                <a:pos x="connsiteX48669" y="connsiteY48669"/>
              </a:cxn>
              <a:cxn ang="0">
                <a:pos x="connsiteX48670" y="connsiteY48670"/>
              </a:cxn>
              <a:cxn ang="0">
                <a:pos x="connsiteX48671" y="connsiteY48671"/>
              </a:cxn>
              <a:cxn ang="0">
                <a:pos x="connsiteX48672" y="connsiteY48672"/>
              </a:cxn>
              <a:cxn ang="0">
                <a:pos x="connsiteX48673" y="connsiteY48673"/>
              </a:cxn>
              <a:cxn ang="0">
                <a:pos x="connsiteX48674" y="connsiteY48674"/>
              </a:cxn>
              <a:cxn ang="0">
                <a:pos x="connsiteX48675" y="connsiteY48675"/>
              </a:cxn>
              <a:cxn ang="0">
                <a:pos x="connsiteX48676" y="connsiteY48676"/>
              </a:cxn>
              <a:cxn ang="0">
                <a:pos x="connsiteX48677" y="connsiteY48677"/>
              </a:cxn>
              <a:cxn ang="0">
                <a:pos x="connsiteX48678" y="connsiteY48678"/>
              </a:cxn>
              <a:cxn ang="0">
                <a:pos x="connsiteX48679" y="connsiteY48679"/>
              </a:cxn>
              <a:cxn ang="0">
                <a:pos x="connsiteX48680" y="connsiteY48680"/>
              </a:cxn>
              <a:cxn ang="0">
                <a:pos x="connsiteX48681" y="connsiteY48681"/>
              </a:cxn>
              <a:cxn ang="0">
                <a:pos x="connsiteX48682" y="connsiteY48682"/>
              </a:cxn>
              <a:cxn ang="0">
                <a:pos x="connsiteX48683" y="connsiteY48683"/>
              </a:cxn>
              <a:cxn ang="0">
                <a:pos x="connsiteX48684" y="connsiteY48684"/>
              </a:cxn>
              <a:cxn ang="0">
                <a:pos x="connsiteX48685" y="connsiteY48685"/>
              </a:cxn>
              <a:cxn ang="0">
                <a:pos x="connsiteX48686" y="connsiteY48686"/>
              </a:cxn>
              <a:cxn ang="0">
                <a:pos x="connsiteX48687" y="connsiteY48687"/>
              </a:cxn>
              <a:cxn ang="0">
                <a:pos x="connsiteX48688" y="connsiteY48688"/>
              </a:cxn>
              <a:cxn ang="0">
                <a:pos x="connsiteX48689" y="connsiteY48689"/>
              </a:cxn>
              <a:cxn ang="0">
                <a:pos x="connsiteX48690" y="connsiteY48690"/>
              </a:cxn>
              <a:cxn ang="0">
                <a:pos x="connsiteX48691" y="connsiteY48691"/>
              </a:cxn>
              <a:cxn ang="0">
                <a:pos x="connsiteX48692" y="connsiteY48692"/>
              </a:cxn>
              <a:cxn ang="0">
                <a:pos x="connsiteX48693" y="connsiteY48693"/>
              </a:cxn>
              <a:cxn ang="0">
                <a:pos x="connsiteX48694" y="connsiteY48694"/>
              </a:cxn>
              <a:cxn ang="0">
                <a:pos x="connsiteX48695" y="connsiteY48695"/>
              </a:cxn>
              <a:cxn ang="0">
                <a:pos x="connsiteX48696" y="connsiteY48696"/>
              </a:cxn>
              <a:cxn ang="0">
                <a:pos x="connsiteX48697" y="connsiteY48697"/>
              </a:cxn>
              <a:cxn ang="0">
                <a:pos x="connsiteX48698" y="connsiteY48698"/>
              </a:cxn>
              <a:cxn ang="0">
                <a:pos x="connsiteX48699" y="connsiteY48699"/>
              </a:cxn>
              <a:cxn ang="0">
                <a:pos x="connsiteX48700" y="connsiteY48700"/>
              </a:cxn>
              <a:cxn ang="0">
                <a:pos x="connsiteX48701" y="connsiteY48701"/>
              </a:cxn>
              <a:cxn ang="0">
                <a:pos x="connsiteX48702" y="connsiteY48702"/>
              </a:cxn>
              <a:cxn ang="0">
                <a:pos x="connsiteX48703" y="connsiteY48703"/>
              </a:cxn>
              <a:cxn ang="0">
                <a:pos x="connsiteX48704" y="connsiteY48704"/>
              </a:cxn>
              <a:cxn ang="0">
                <a:pos x="connsiteX48705" y="connsiteY48705"/>
              </a:cxn>
              <a:cxn ang="0">
                <a:pos x="connsiteX48706" y="connsiteY48706"/>
              </a:cxn>
              <a:cxn ang="0">
                <a:pos x="connsiteX48707" y="connsiteY48707"/>
              </a:cxn>
              <a:cxn ang="0">
                <a:pos x="connsiteX48708" y="connsiteY48708"/>
              </a:cxn>
              <a:cxn ang="0">
                <a:pos x="connsiteX48709" y="connsiteY48709"/>
              </a:cxn>
              <a:cxn ang="0">
                <a:pos x="connsiteX48710" y="connsiteY48710"/>
              </a:cxn>
              <a:cxn ang="0">
                <a:pos x="connsiteX48711" y="connsiteY48711"/>
              </a:cxn>
              <a:cxn ang="0">
                <a:pos x="connsiteX48712" y="connsiteY48712"/>
              </a:cxn>
              <a:cxn ang="0">
                <a:pos x="connsiteX48713" y="connsiteY48713"/>
              </a:cxn>
              <a:cxn ang="0">
                <a:pos x="connsiteX48714" y="connsiteY48714"/>
              </a:cxn>
              <a:cxn ang="0">
                <a:pos x="connsiteX48715" y="connsiteY48715"/>
              </a:cxn>
              <a:cxn ang="0">
                <a:pos x="connsiteX48716" y="connsiteY48716"/>
              </a:cxn>
              <a:cxn ang="0">
                <a:pos x="connsiteX48717" y="connsiteY48717"/>
              </a:cxn>
              <a:cxn ang="0">
                <a:pos x="connsiteX48718" y="connsiteY48718"/>
              </a:cxn>
              <a:cxn ang="0">
                <a:pos x="connsiteX48719" y="connsiteY48719"/>
              </a:cxn>
              <a:cxn ang="0">
                <a:pos x="connsiteX48720" y="connsiteY48720"/>
              </a:cxn>
              <a:cxn ang="0">
                <a:pos x="connsiteX48721" y="connsiteY48721"/>
              </a:cxn>
              <a:cxn ang="0">
                <a:pos x="connsiteX48722" y="connsiteY48722"/>
              </a:cxn>
              <a:cxn ang="0">
                <a:pos x="connsiteX48723" y="connsiteY48723"/>
              </a:cxn>
              <a:cxn ang="0">
                <a:pos x="connsiteX48724" y="connsiteY48724"/>
              </a:cxn>
              <a:cxn ang="0">
                <a:pos x="connsiteX48725" y="connsiteY48725"/>
              </a:cxn>
              <a:cxn ang="0">
                <a:pos x="connsiteX48726" y="connsiteY48726"/>
              </a:cxn>
              <a:cxn ang="0">
                <a:pos x="connsiteX48727" y="connsiteY48727"/>
              </a:cxn>
              <a:cxn ang="0">
                <a:pos x="connsiteX48728" y="connsiteY48728"/>
              </a:cxn>
              <a:cxn ang="0">
                <a:pos x="connsiteX48729" y="connsiteY48729"/>
              </a:cxn>
              <a:cxn ang="0">
                <a:pos x="connsiteX48730" y="connsiteY48730"/>
              </a:cxn>
              <a:cxn ang="0">
                <a:pos x="connsiteX48731" y="connsiteY48731"/>
              </a:cxn>
              <a:cxn ang="0">
                <a:pos x="connsiteX48732" y="connsiteY48732"/>
              </a:cxn>
              <a:cxn ang="0">
                <a:pos x="connsiteX48733" y="connsiteY48733"/>
              </a:cxn>
              <a:cxn ang="0">
                <a:pos x="connsiteX48734" y="connsiteY48734"/>
              </a:cxn>
              <a:cxn ang="0">
                <a:pos x="connsiteX48735" y="connsiteY48735"/>
              </a:cxn>
              <a:cxn ang="0">
                <a:pos x="connsiteX48736" y="connsiteY48736"/>
              </a:cxn>
              <a:cxn ang="0">
                <a:pos x="connsiteX48737" y="connsiteY48737"/>
              </a:cxn>
              <a:cxn ang="0">
                <a:pos x="connsiteX48738" y="connsiteY48738"/>
              </a:cxn>
              <a:cxn ang="0">
                <a:pos x="connsiteX48739" y="connsiteY48739"/>
              </a:cxn>
              <a:cxn ang="0">
                <a:pos x="connsiteX48740" y="connsiteY48740"/>
              </a:cxn>
              <a:cxn ang="0">
                <a:pos x="connsiteX48741" y="connsiteY48741"/>
              </a:cxn>
              <a:cxn ang="0">
                <a:pos x="connsiteX48742" y="connsiteY48742"/>
              </a:cxn>
              <a:cxn ang="0">
                <a:pos x="connsiteX48743" y="connsiteY48743"/>
              </a:cxn>
              <a:cxn ang="0">
                <a:pos x="connsiteX48744" y="connsiteY48744"/>
              </a:cxn>
              <a:cxn ang="0">
                <a:pos x="connsiteX48745" y="connsiteY48745"/>
              </a:cxn>
              <a:cxn ang="0">
                <a:pos x="connsiteX48746" y="connsiteY48746"/>
              </a:cxn>
              <a:cxn ang="0">
                <a:pos x="connsiteX48747" y="connsiteY48747"/>
              </a:cxn>
              <a:cxn ang="0">
                <a:pos x="connsiteX48748" y="connsiteY48748"/>
              </a:cxn>
              <a:cxn ang="0">
                <a:pos x="connsiteX48749" y="connsiteY48749"/>
              </a:cxn>
              <a:cxn ang="0">
                <a:pos x="connsiteX48750" y="connsiteY48750"/>
              </a:cxn>
              <a:cxn ang="0">
                <a:pos x="connsiteX48751" y="connsiteY48751"/>
              </a:cxn>
              <a:cxn ang="0">
                <a:pos x="connsiteX48752" y="connsiteY48752"/>
              </a:cxn>
              <a:cxn ang="0">
                <a:pos x="connsiteX48753" y="connsiteY48753"/>
              </a:cxn>
              <a:cxn ang="0">
                <a:pos x="connsiteX48754" y="connsiteY48754"/>
              </a:cxn>
              <a:cxn ang="0">
                <a:pos x="connsiteX48755" y="connsiteY48755"/>
              </a:cxn>
              <a:cxn ang="0">
                <a:pos x="connsiteX48756" y="connsiteY48756"/>
              </a:cxn>
              <a:cxn ang="0">
                <a:pos x="connsiteX48757" y="connsiteY48757"/>
              </a:cxn>
              <a:cxn ang="0">
                <a:pos x="connsiteX48758" y="connsiteY48758"/>
              </a:cxn>
              <a:cxn ang="0">
                <a:pos x="connsiteX48759" y="connsiteY48759"/>
              </a:cxn>
              <a:cxn ang="0">
                <a:pos x="connsiteX48760" y="connsiteY48760"/>
              </a:cxn>
              <a:cxn ang="0">
                <a:pos x="connsiteX48761" y="connsiteY48761"/>
              </a:cxn>
              <a:cxn ang="0">
                <a:pos x="connsiteX48762" y="connsiteY48762"/>
              </a:cxn>
              <a:cxn ang="0">
                <a:pos x="connsiteX48763" y="connsiteY48763"/>
              </a:cxn>
              <a:cxn ang="0">
                <a:pos x="connsiteX48764" y="connsiteY48764"/>
              </a:cxn>
              <a:cxn ang="0">
                <a:pos x="connsiteX48765" y="connsiteY48765"/>
              </a:cxn>
              <a:cxn ang="0">
                <a:pos x="connsiteX48766" y="connsiteY48766"/>
              </a:cxn>
              <a:cxn ang="0">
                <a:pos x="connsiteX48767" y="connsiteY48767"/>
              </a:cxn>
              <a:cxn ang="0">
                <a:pos x="connsiteX48768" y="connsiteY48768"/>
              </a:cxn>
              <a:cxn ang="0">
                <a:pos x="connsiteX48769" y="connsiteY48769"/>
              </a:cxn>
              <a:cxn ang="0">
                <a:pos x="connsiteX48770" y="connsiteY48770"/>
              </a:cxn>
              <a:cxn ang="0">
                <a:pos x="connsiteX48771" y="connsiteY48771"/>
              </a:cxn>
              <a:cxn ang="0">
                <a:pos x="connsiteX48772" y="connsiteY48772"/>
              </a:cxn>
              <a:cxn ang="0">
                <a:pos x="connsiteX48773" y="connsiteY48773"/>
              </a:cxn>
              <a:cxn ang="0">
                <a:pos x="connsiteX48774" y="connsiteY48774"/>
              </a:cxn>
              <a:cxn ang="0">
                <a:pos x="connsiteX48775" y="connsiteY48775"/>
              </a:cxn>
              <a:cxn ang="0">
                <a:pos x="connsiteX48776" y="connsiteY48776"/>
              </a:cxn>
              <a:cxn ang="0">
                <a:pos x="connsiteX48777" y="connsiteY48777"/>
              </a:cxn>
              <a:cxn ang="0">
                <a:pos x="connsiteX48778" y="connsiteY48778"/>
              </a:cxn>
              <a:cxn ang="0">
                <a:pos x="connsiteX48779" y="connsiteY48779"/>
              </a:cxn>
              <a:cxn ang="0">
                <a:pos x="connsiteX48780" y="connsiteY48780"/>
              </a:cxn>
              <a:cxn ang="0">
                <a:pos x="connsiteX48781" y="connsiteY48781"/>
              </a:cxn>
              <a:cxn ang="0">
                <a:pos x="connsiteX48782" y="connsiteY48782"/>
              </a:cxn>
              <a:cxn ang="0">
                <a:pos x="connsiteX48783" y="connsiteY48783"/>
              </a:cxn>
              <a:cxn ang="0">
                <a:pos x="connsiteX48784" y="connsiteY48784"/>
              </a:cxn>
              <a:cxn ang="0">
                <a:pos x="connsiteX48785" y="connsiteY48785"/>
              </a:cxn>
              <a:cxn ang="0">
                <a:pos x="connsiteX48786" y="connsiteY48786"/>
              </a:cxn>
              <a:cxn ang="0">
                <a:pos x="connsiteX48787" y="connsiteY48787"/>
              </a:cxn>
              <a:cxn ang="0">
                <a:pos x="connsiteX48788" y="connsiteY48788"/>
              </a:cxn>
              <a:cxn ang="0">
                <a:pos x="connsiteX48789" y="connsiteY48789"/>
              </a:cxn>
              <a:cxn ang="0">
                <a:pos x="connsiteX48790" y="connsiteY48790"/>
              </a:cxn>
              <a:cxn ang="0">
                <a:pos x="connsiteX48791" y="connsiteY48791"/>
              </a:cxn>
              <a:cxn ang="0">
                <a:pos x="connsiteX48792" y="connsiteY48792"/>
              </a:cxn>
              <a:cxn ang="0">
                <a:pos x="connsiteX48793" y="connsiteY48793"/>
              </a:cxn>
              <a:cxn ang="0">
                <a:pos x="connsiteX48794" y="connsiteY48794"/>
              </a:cxn>
              <a:cxn ang="0">
                <a:pos x="connsiteX48795" y="connsiteY48795"/>
              </a:cxn>
              <a:cxn ang="0">
                <a:pos x="connsiteX48796" y="connsiteY48796"/>
              </a:cxn>
              <a:cxn ang="0">
                <a:pos x="connsiteX48797" y="connsiteY48797"/>
              </a:cxn>
              <a:cxn ang="0">
                <a:pos x="connsiteX48798" y="connsiteY48798"/>
              </a:cxn>
              <a:cxn ang="0">
                <a:pos x="connsiteX48799" y="connsiteY48799"/>
              </a:cxn>
              <a:cxn ang="0">
                <a:pos x="connsiteX48800" y="connsiteY48800"/>
              </a:cxn>
              <a:cxn ang="0">
                <a:pos x="connsiteX48801" y="connsiteY48801"/>
              </a:cxn>
              <a:cxn ang="0">
                <a:pos x="connsiteX48802" y="connsiteY48802"/>
              </a:cxn>
              <a:cxn ang="0">
                <a:pos x="connsiteX48803" y="connsiteY48803"/>
              </a:cxn>
              <a:cxn ang="0">
                <a:pos x="connsiteX48804" y="connsiteY48804"/>
              </a:cxn>
              <a:cxn ang="0">
                <a:pos x="connsiteX48805" y="connsiteY48805"/>
              </a:cxn>
              <a:cxn ang="0">
                <a:pos x="connsiteX48806" y="connsiteY48806"/>
              </a:cxn>
              <a:cxn ang="0">
                <a:pos x="connsiteX48807" y="connsiteY48807"/>
              </a:cxn>
              <a:cxn ang="0">
                <a:pos x="connsiteX48808" y="connsiteY48808"/>
              </a:cxn>
              <a:cxn ang="0">
                <a:pos x="connsiteX48809" y="connsiteY48809"/>
              </a:cxn>
              <a:cxn ang="0">
                <a:pos x="connsiteX48810" y="connsiteY48810"/>
              </a:cxn>
              <a:cxn ang="0">
                <a:pos x="connsiteX48811" y="connsiteY48811"/>
              </a:cxn>
              <a:cxn ang="0">
                <a:pos x="connsiteX48812" y="connsiteY48812"/>
              </a:cxn>
              <a:cxn ang="0">
                <a:pos x="connsiteX48813" y="connsiteY48813"/>
              </a:cxn>
              <a:cxn ang="0">
                <a:pos x="connsiteX48814" y="connsiteY48814"/>
              </a:cxn>
              <a:cxn ang="0">
                <a:pos x="connsiteX48815" y="connsiteY48815"/>
              </a:cxn>
              <a:cxn ang="0">
                <a:pos x="connsiteX48816" y="connsiteY48816"/>
              </a:cxn>
              <a:cxn ang="0">
                <a:pos x="connsiteX48817" y="connsiteY48817"/>
              </a:cxn>
              <a:cxn ang="0">
                <a:pos x="connsiteX48818" y="connsiteY48818"/>
              </a:cxn>
              <a:cxn ang="0">
                <a:pos x="connsiteX48819" y="connsiteY48819"/>
              </a:cxn>
              <a:cxn ang="0">
                <a:pos x="connsiteX48820" y="connsiteY48820"/>
              </a:cxn>
              <a:cxn ang="0">
                <a:pos x="connsiteX48821" y="connsiteY48821"/>
              </a:cxn>
              <a:cxn ang="0">
                <a:pos x="connsiteX48822" y="connsiteY48822"/>
              </a:cxn>
              <a:cxn ang="0">
                <a:pos x="connsiteX48823" y="connsiteY48823"/>
              </a:cxn>
              <a:cxn ang="0">
                <a:pos x="connsiteX48824" y="connsiteY48824"/>
              </a:cxn>
              <a:cxn ang="0">
                <a:pos x="connsiteX48825" y="connsiteY48825"/>
              </a:cxn>
              <a:cxn ang="0">
                <a:pos x="connsiteX48826" y="connsiteY48826"/>
              </a:cxn>
              <a:cxn ang="0">
                <a:pos x="connsiteX48827" y="connsiteY48827"/>
              </a:cxn>
              <a:cxn ang="0">
                <a:pos x="connsiteX48828" y="connsiteY48828"/>
              </a:cxn>
              <a:cxn ang="0">
                <a:pos x="connsiteX48829" y="connsiteY48829"/>
              </a:cxn>
              <a:cxn ang="0">
                <a:pos x="connsiteX48830" y="connsiteY48830"/>
              </a:cxn>
              <a:cxn ang="0">
                <a:pos x="connsiteX48831" y="connsiteY48831"/>
              </a:cxn>
              <a:cxn ang="0">
                <a:pos x="connsiteX48832" y="connsiteY48832"/>
              </a:cxn>
              <a:cxn ang="0">
                <a:pos x="connsiteX48833" y="connsiteY48833"/>
              </a:cxn>
              <a:cxn ang="0">
                <a:pos x="connsiteX48834" y="connsiteY48834"/>
              </a:cxn>
              <a:cxn ang="0">
                <a:pos x="connsiteX48835" y="connsiteY48835"/>
              </a:cxn>
              <a:cxn ang="0">
                <a:pos x="connsiteX48836" y="connsiteY48836"/>
              </a:cxn>
              <a:cxn ang="0">
                <a:pos x="connsiteX48837" y="connsiteY48837"/>
              </a:cxn>
              <a:cxn ang="0">
                <a:pos x="connsiteX48838" y="connsiteY48838"/>
              </a:cxn>
              <a:cxn ang="0">
                <a:pos x="connsiteX48839" y="connsiteY48839"/>
              </a:cxn>
              <a:cxn ang="0">
                <a:pos x="connsiteX48840" y="connsiteY48840"/>
              </a:cxn>
              <a:cxn ang="0">
                <a:pos x="connsiteX48841" y="connsiteY48841"/>
              </a:cxn>
              <a:cxn ang="0">
                <a:pos x="connsiteX48842" y="connsiteY48842"/>
              </a:cxn>
              <a:cxn ang="0">
                <a:pos x="connsiteX48843" y="connsiteY48843"/>
              </a:cxn>
              <a:cxn ang="0">
                <a:pos x="connsiteX48844" y="connsiteY48844"/>
              </a:cxn>
              <a:cxn ang="0">
                <a:pos x="connsiteX48845" y="connsiteY48845"/>
              </a:cxn>
              <a:cxn ang="0">
                <a:pos x="connsiteX48846" y="connsiteY48846"/>
              </a:cxn>
              <a:cxn ang="0">
                <a:pos x="connsiteX48847" y="connsiteY48847"/>
              </a:cxn>
              <a:cxn ang="0">
                <a:pos x="connsiteX48848" y="connsiteY48848"/>
              </a:cxn>
              <a:cxn ang="0">
                <a:pos x="connsiteX48849" y="connsiteY48849"/>
              </a:cxn>
              <a:cxn ang="0">
                <a:pos x="connsiteX48850" y="connsiteY48850"/>
              </a:cxn>
              <a:cxn ang="0">
                <a:pos x="connsiteX48851" y="connsiteY48851"/>
              </a:cxn>
              <a:cxn ang="0">
                <a:pos x="connsiteX48852" y="connsiteY48852"/>
              </a:cxn>
              <a:cxn ang="0">
                <a:pos x="connsiteX48853" y="connsiteY48853"/>
              </a:cxn>
              <a:cxn ang="0">
                <a:pos x="connsiteX48854" y="connsiteY48854"/>
              </a:cxn>
              <a:cxn ang="0">
                <a:pos x="connsiteX48855" y="connsiteY48855"/>
              </a:cxn>
              <a:cxn ang="0">
                <a:pos x="connsiteX48856" y="connsiteY48856"/>
              </a:cxn>
              <a:cxn ang="0">
                <a:pos x="connsiteX48857" y="connsiteY48857"/>
              </a:cxn>
              <a:cxn ang="0">
                <a:pos x="connsiteX48858" y="connsiteY48858"/>
              </a:cxn>
              <a:cxn ang="0">
                <a:pos x="connsiteX48859" y="connsiteY48859"/>
              </a:cxn>
              <a:cxn ang="0">
                <a:pos x="connsiteX48860" y="connsiteY48860"/>
              </a:cxn>
              <a:cxn ang="0">
                <a:pos x="connsiteX48861" y="connsiteY48861"/>
              </a:cxn>
              <a:cxn ang="0">
                <a:pos x="connsiteX48862" y="connsiteY48862"/>
              </a:cxn>
              <a:cxn ang="0">
                <a:pos x="connsiteX48863" y="connsiteY48863"/>
              </a:cxn>
              <a:cxn ang="0">
                <a:pos x="connsiteX48864" y="connsiteY48864"/>
              </a:cxn>
              <a:cxn ang="0">
                <a:pos x="connsiteX48865" y="connsiteY48865"/>
              </a:cxn>
              <a:cxn ang="0">
                <a:pos x="connsiteX48866" y="connsiteY48866"/>
              </a:cxn>
              <a:cxn ang="0">
                <a:pos x="connsiteX48867" y="connsiteY48867"/>
              </a:cxn>
              <a:cxn ang="0">
                <a:pos x="connsiteX48868" y="connsiteY48868"/>
              </a:cxn>
              <a:cxn ang="0">
                <a:pos x="connsiteX48869" y="connsiteY48869"/>
              </a:cxn>
              <a:cxn ang="0">
                <a:pos x="connsiteX48870" y="connsiteY48870"/>
              </a:cxn>
              <a:cxn ang="0">
                <a:pos x="connsiteX48871" y="connsiteY48871"/>
              </a:cxn>
              <a:cxn ang="0">
                <a:pos x="connsiteX48872" y="connsiteY48872"/>
              </a:cxn>
              <a:cxn ang="0">
                <a:pos x="connsiteX48873" y="connsiteY48873"/>
              </a:cxn>
              <a:cxn ang="0">
                <a:pos x="connsiteX48874" y="connsiteY48874"/>
              </a:cxn>
              <a:cxn ang="0">
                <a:pos x="connsiteX48875" y="connsiteY48875"/>
              </a:cxn>
              <a:cxn ang="0">
                <a:pos x="connsiteX48876" y="connsiteY48876"/>
              </a:cxn>
              <a:cxn ang="0">
                <a:pos x="connsiteX48877" y="connsiteY48877"/>
              </a:cxn>
              <a:cxn ang="0">
                <a:pos x="connsiteX48878" y="connsiteY48878"/>
              </a:cxn>
              <a:cxn ang="0">
                <a:pos x="connsiteX48879" y="connsiteY48879"/>
              </a:cxn>
              <a:cxn ang="0">
                <a:pos x="connsiteX48880" y="connsiteY48880"/>
              </a:cxn>
              <a:cxn ang="0">
                <a:pos x="connsiteX48881" y="connsiteY48881"/>
              </a:cxn>
              <a:cxn ang="0">
                <a:pos x="connsiteX48882" y="connsiteY48882"/>
              </a:cxn>
              <a:cxn ang="0">
                <a:pos x="connsiteX48883" y="connsiteY48883"/>
              </a:cxn>
              <a:cxn ang="0">
                <a:pos x="connsiteX48884" y="connsiteY48884"/>
              </a:cxn>
              <a:cxn ang="0">
                <a:pos x="connsiteX48885" y="connsiteY48885"/>
              </a:cxn>
              <a:cxn ang="0">
                <a:pos x="connsiteX48886" y="connsiteY48886"/>
              </a:cxn>
              <a:cxn ang="0">
                <a:pos x="connsiteX48887" y="connsiteY48887"/>
              </a:cxn>
              <a:cxn ang="0">
                <a:pos x="connsiteX48888" y="connsiteY48888"/>
              </a:cxn>
              <a:cxn ang="0">
                <a:pos x="connsiteX48889" y="connsiteY48889"/>
              </a:cxn>
              <a:cxn ang="0">
                <a:pos x="connsiteX48890" y="connsiteY48890"/>
              </a:cxn>
              <a:cxn ang="0">
                <a:pos x="connsiteX48891" y="connsiteY48891"/>
              </a:cxn>
              <a:cxn ang="0">
                <a:pos x="connsiteX48892" y="connsiteY48892"/>
              </a:cxn>
              <a:cxn ang="0">
                <a:pos x="connsiteX48893" y="connsiteY48893"/>
              </a:cxn>
              <a:cxn ang="0">
                <a:pos x="connsiteX48894" y="connsiteY48894"/>
              </a:cxn>
              <a:cxn ang="0">
                <a:pos x="connsiteX48895" y="connsiteY48895"/>
              </a:cxn>
              <a:cxn ang="0">
                <a:pos x="connsiteX48896" y="connsiteY48896"/>
              </a:cxn>
              <a:cxn ang="0">
                <a:pos x="connsiteX48897" y="connsiteY48897"/>
              </a:cxn>
              <a:cxn ang="0">
                <a:pos x="connsiteX48898" y="connsiteY48898"/>
              </a:cxn>
              <a:cxn ang="0">
                <a:pos x="connsiteX48899" y="connsiteY48899"/>
              </a:cxn>
              <a:cxn ang="0">
                <a:pos x="connsiteX48900" y="connsiteY48900"/>
              </a:cxn>
              <a:cxn ang="0">
                <a:pos x="connsiteX48901" y="connsiteY48901"/>
              </a:cxn>
              <a:cxn ang="0">
                <a:pos x="connsiteX48902" y="connsiteY48902"/>
              </a:cxn>
              <a:cxn ang="0">
                <a:pos x="connsiteX48903" y="connsiteY48903"/>
              </a:cxn>
              <a:cxn ang="0">
                <a:pos x="connsiteX48904" y="connsiteY48904"/>
              </a:cxn>
              <a:cxn ang="0">
                <a:pos x="connsiteX48905" y="connsiteY48905"/>
              </a:cxn>
              <a:cxn ang="0">
                <a:pos x="connsiteX48906" y="connsiteY48906"/>
              </a:cxn>
              <a:cxn ang="0">
                <a:pos x="connsiteX48907" y="connsiteY48907"/>
              </a:cxn>
              <a:cxn ang="0">
                <a:pos x="connsiteX48908" y="connsiteY48908"/>
              </a:cxn>
              <a:cxn ang="0">
                <a:pos x="connsiteX48909" y="connsiteY48909"/>
              </a:cxn>
              <a:cxn ang="0">
                <a:pos x="connsiteX48910" y="connsiteY48910"/>
              </a:cxn>
              <a:cxn ang="0">
                <a:pos x="connsiteX48911" y="connsiteY48911"/>
              </a:cxn>
              <a:cxn ang="0">
                <a:pos x="connsiteX48912" y="connsiteY48912"/>
              </a:cxn>
              <a:cxn ang="0">
                <a:pos x="connsiteX48913" y="connsiteY48913"/>
              </a:cxn>
              <a:cxn ang="0">
                <a:pos x="connsiteX48914" y="connsiteY48914"/>
              </a:cxn>
              <a:cxn ang="0">
                <a:pos x="connsiteX48915" y="connsiteY48915"/>
              </a:cxn>
              <a:cxn ang="0">
                <a:pos x="connsiteX48916" y="connsiteY48916"/>
              </a:cxn>
              <a:cxn ang="0">
                <a:pos x="connsiteX48917" y="connsiteY48917"/>
              </a:cxn>
              <a:cxn ang="0">
                <a:pos x="connsiteX48918" y="connsiteY48918"/>
              </a:cxn>
              <a:cxn ang="0">
                <a:pos x="connsiteX48919" y="connsiteY48919"/>
              </a:cxn>
              <a:cxn ang="0">
                <a:pos x="connsiteX48920" y="connsiteY48920"/>
              </a:cxn>
              <a:cxn ang="0">
                <a:pos x="connsiteX48921" y="connsiteY48921"/>
              </a:cxn>
              <a:cxn ang="0">
                <a:pos x="connsiteX48922" y="connsiteY48922"/>
              </a:cxn>
              <a:cxn ang="0">
                <a:pos x="connsiteX48923" y="connsiteY48923"/>
              </a:cxn>
              <a:cxn ang="0">
                <a:pos x="connsiteX48924" y="connsiteY48924"/>
              </a:cxn>
              <a:cxn ang="0">
                <a:pos x="connsiteX48925" y="connsiteY48925"/>
              </a:cxn>
              <a:cxn ang="0">
                <a:pos x="connsiteX48926" y="connsiteY48926"/>
              </a:cxn>
              <a:cxn ang="0">
                <a:pos x="connsiteX48927" y="connsiteY48927"/>
              </a:cxn>
              <a:cxn ang="0">
                <a:pos x="connsiteX48928" y="connsiteY48928"/>
              </a:cxn>
              <a:cxn ang="0">
                <a:pos x="connsiteX48929" y="connsiteY48929"/>
              </a:cxn>
              <a:cxn ang="0">
                <a:pos x="connsiteX48930" y="connsiteY48930"/>
              </a:cxn>
              <a:cxn ang="0">
                <a:pos x="connsiteX48931" y="connsiteY48931"/>
              </a:cxn>
              <a:cxn ang="0">
                <a:pos x="connsiteX48932" y="connsiteY48932"/>
              </a:cxn>
              <a:cxn ang="0">
                <a:pos x="connsiteX48933" y="connsiteY48933"/>
              </a:cxn>
              <a:cxn ang="0">
                <a:pos x="connsiteX48934" y="connsiteY48934"/>
              </a:cxn>
              <a:cxn ang="0">
                <a:pos x="connsiteX48935" y="connsiteY48935"/>
              </a:cxn>
              <a:cxn ang="0">
                <a:pos x="connsiteX48936" y="connsiteY48936"/>
              </a:cxn>
              <a:cxn ang="0">
                <a:pos x="connsiteX48937" y="connsiteY48937"/>
              </a:cxn>
              <a:cxn ang="0">
                <a:pos x="connsiteX48938" y="connsiteY48938"/>
              </a:cxn>
              <a:cxn ang="0">
                <a:pos x="connsiteX48939" y="connsiteY48939"/>
              </a:cxn>
              <a:cxn ang="0">
                <a:pos x="connsiteX48940" y="connsiteY48940"/>
              </a:cxn>
              <a:cxn ang="0">
                <a:pos x="connsiteX48941" y="connsiteY48941"/>
              </a:cxn>
              <a:cxn ang="0">
                <a:pos x="connsiteX48942" y="connsiteY48942"/>
              </a:cxn>
              <a:cxn ang="0">
                <a:pos x="connsiteX48943" y="connsiteY48943"/>
              </a:cxn>
              <a:cxn ang="0">
                <a:pos x="connsiteX48944" y="connsiteY48944"/>
              </a:cxn>
              <a:cxn ang="0">
                <a:pos x="connsiteX48945" y="connsiteY48945"/>
              </a:cxn>
              <a:cxn ang="0">
                <a:pos x="connsiteX48946" y="connsiteY48946"/>
              </a:cxn>
              <a:cxn ang="0">
                <a:pos x="connsiteX48947" y="connsiteY48947"/>
              </a:cxn>
              <a:cxn ang="0">
                <a:pos x="connsiteX48948" y="connsiteY48948"/>
              </a:cxn>
              <a:cxn ang="0">
                <a:pos x="connsiteX48949" y="connsiteY48949"/>
              </a:cxn>
              <a:cxn ang="0">
                <a:pos x="connsiteX48950" y="connsiteY48950"/>
              </a:cxn>
              <a:cxn ang="0">
                <a:pos x="connsiteX48951" y="connsiteY48951"/>
              </a:cxn>
              <a:cxn ang="0">
                <a:pos x="connsiteX48952" y="connsiteY48952"/>
              </a:cxn>
              <a:cxn ang="0">
                <a:pos x="connsiteX48953" y="connsiteY48953"/>
              </a:cxn>
              <a:cxn ang="0">
                <a:pos x="connsiteX48954" y="connsiteY48954"/>
              </a:cxn>
              <a:cxn ang="0">
                <a:pos x="connsiteX48955" y="connsiteY48955"/>
              </a:cxn>
              <a:cxn ang="0">
                <a:pos x="connsiteX48956" y="connsiteY48956"/>
              </a:cxn>
              <a:cxn ang="0">
                <a:pos x="connsiteX48957" y="connsiteY48957"/>
              </a:cxn>
              <a:cxn ang="0">
                <a:pos x="connsiteX48958" y="connsiteY48958"/>
              </a:cxn>
              <a:cxn ang="0">
                <a:pos x="connsiteX48959" y="connsiteY48959"/>
              </a:cxn>
              <a:cxn ang="0">
                <a:pos x="connsiteX48960" y="connsiteY48960"/>
              </a:cxn>
              <a:cxn ang="0">
                <a:pos x="connsiteX48961" y="connsiteY48961"/>
              </a:cxn>
              <a:cxn ang="0">
                <a:pos x="connsiteX48962" y="connsiteY48962"/>
              </a:cxn>
              <a:cxn ang="0">
                <a:pos x="connsiteX48963" y="connsiteY48963"/>
              </a:cxn>
              <a:cxn ang="0">
                <a:pos x="connsiteX48964" y="connsiteY48964"/>
              </a:cxn>
              <a:cxn ang="0">
                <a:pos x="connsiteX48965" y="connsiteY48965"/>
              </a:cxn>
              <a:cxn ang="0">
                <a:pos x="connsiteX48966" y="connsiteY48966"/>
              </a:cxn>
              <a:cxn ang="0">
                <a:pos x="connsiteX48967" y="connsiteY48967"/>
              </a:cxn>
              <a:cxn ang="0">
                <a:pos x="connsiteX48968" y="connsiteY48968"/>
              </a:cxn>
              <a:cxn ang="0">
                <a:pos x="connsiteX48969" y="connsiteY48969"/>
              </a:cxn>
              <a:cxn ang="0">
                <a:pos x="connsiteX48970" y="connsiteY48970"/>
              </a:cxn>
              <a:cxn ang="0">
                <a:pos x="connsiteX48971" y="connsiteY48971"/>
              </a:cxn>
              <a:cxn ang="0">
                <a:pos x="connsiteX48972" y="connsiteY48972"/>
              </a:cxn>
              <a:cxn ang="0">
                <a:pos x="connsiteX48973" y="connsiteY48973"/>
              </a:cxn>
              <a:cxn ang="0">
                <a:pos x="connsiteX48974" y="connsiteY48974"/>
              </a:cxn>
              <a:cxn ang="0">
                <a:pos x="connsiteX48975" y="connsiteY48975"/>
              </a:cxn>
              <a:cxn ang="0">
                <a:pos x="connsiteX48976" y="connsiteY48976"/>
              </a:cxn>
              <a:cxn ang="0">
                <a:pos x="connsiteX48977" y="connsiteY48977"/>
              </a:cxn>
              <a:cxn ang="0">
                <a:pos x="connsiteX48978" y="connsiteY48978"/>
              </a:cxn>
              <a:cxn ang="0">
                <a:pos x="connsiteX48979" y="connsiteY48979"/>
              </a:cxn>
              <a:cxn ang="0">
                <a:pos x="connsiteX48980" y="connsiteY48980"/>
              </a:cxn>
              <a:cxn ang="0">
                <a:pos x="connsiteX48981" y="connsiteY48981"/>
              </a:cxn>
              <a:cxn ang="0">
                <a:pos x="connsiteX48982" y="connsiteY48982"/>
              </a:cxn>
              <a:cxn ang="0">
                <a:pos x="connsiteX48983" y="connsiteY48983"/>
              </a:cxn>
              <a:cxn ang="0">
                <a:pos x="connsiteX48984" y="connsiteY48984"/>
              </a:cxn>
              <a:cxn ang="0">
                <a:pos x="connsiteX48985" y="connsiteY48985"/>
              </a:cxn>
              <a:cxn ang="0">
                <a:pos x="connsiteX48986" y="connsiteY48986"/>
              </a:cxn>
              <a:cxn ang="0">
                <a:pos x="connsiteX48987" y="connsiteY48987"/>
              </a:cxn>
              <a:cxn ang="0">
                <a:pos x="connsiteX48988" y="connsiteY48988"/>
              </a:cxn>
              <a:cxn ang="0">
                <a:pos x="connsiteX48989" y="connsiteY48989"/>
              </a:cxn>
              <a:cxn ang="0">
                <a:pos x="connsiteX48990" y="connsiteY48990"/>
              </a:cxn>
              <a:cxn ang="0">
                <a:pos x="connsiteX48991" y="connsiteY48991"/>
              </a:cxn>
              <a:cxn ang="0">
                <a:pos x="connsiteX48992" y="connsiteY48992"/>
              </a:cxn>
              <a:cxn ang="0">
                <a:pos x="connsiteX48993" y="connsiteY48993"/>
              </a:cxn>
              <a:cxn ang="0">
                <a:pos x="connsiteX48994" y="connsiteY48994"/>
              </a:cxn>
              <a:cxn ang="0">
                <a:pos x="connsiteX48995" y="connsiteY48995"/>
              </a:cxn>
              <a:cxn ang="0">
                <a:pos x="connsiteX48996" y="connsiteY48996"/>
              </a:cxn>
              <a:cxn ang="0">
                <a:pos x="connsiteX48997" y="connsiteY48997"/>
              </a:cxn>
              <a:cxn ang="0">
                <a:pos x="connsiteX48998" y="connsiteY48998"/>
              </a:cxn>
              <a:cxn ang="0">
                <a:pos x="connsiteX48999" y="connsiteY48999"/>
              </a:cxn>
              <a:cxn ang="0">
                <a:pos x="connsiteX49000" y="connsiteY49000"/>
              </a:cxn>
              <a:cxn ang="0">
                <a:pos x="connsiteX49001" y="connsiteY49001"/>
              </a:cxn>
              <a:cxn ang="0">
                <a:pos x="connsiteX49002" y="connsiteY49002"/>
              </a:cxn>
              <a:cxn ang="0">
                <a:pos x="connsiteX49003" y="connsiteY49003"/>
              </a:cxn>
              <a:cxn ang="0">
                <a:pos x="connsiteX49004" y="connsiteY49004"/>
              </a:cxn>
              <a:cxn ang="0">
                <a:pos x="connsiteX49005" y="connsiteY49005"/>
              </a:cxn>
              <a:cxn ang="0">
                <a:pos x="connsiteX49006" y="connsiteY49006"/>
              </a:cxn>
              <a:cxn ang="0">
                <a:pos x="connsiteX49007" y="connsiteY49007"/>
              </a:cxn>
              <a:cxn ang="0">
                <a:pos x="connsiteX49008" y="connsiteY49008"/>
              </a:cxn>
              <a:cxn ang="0">
                <a:pos x="connsiteX49009" y="connsiteY49009"/>
              </a:cxn>
              <a:cxn ang="0">
                <a:pos x="connsiteX49010" y="connsiteY49010"/>
              </a:cxn>
              <a:cxn ang="0">
                <a:pos x="connsiteX49011" y="connsiteY49011"/>
              </a:cxn>
              <a:cxn ang="0">
                <a:pos x="connsiteX49012" y="connsiteY49012"/>
              </a:cxn>
              <a:cxn ang="0">
                <a:pos x="connsiteX49013" y="connsiteY49013"/>
              </a:cxn>
              <a:cxn ang="0">
                <a:pos x="connsiteX49014" y="connsiteY49014"/>
              </a:cxn>
              <a:cxn ang="0">
                <a:pos x="connsiteX49015" y="connsiteY49015"/>
              </a:cxn>
              <a:cxn ang="0">
                <a:pos x="connsiteX49016" y="connsiteY49016"/>
              </a:cxn>
              <a:cxn ang="0">
                <a:pos x="connsiteX49017" y="connsiteY49017"/>
              </a:cxn>
              <a:cxn ang="0">
                <a:pos x="connsiteX49018" y="connsiteY49018"/>
              </a:cxn>
              <a:cxn ang="0">
                <a:pos x="connsiteX49019" y="connsiteY49019"/>
              </a:cxn>
              <a:cxn ang="0">
                <a:pos x="connsiteX49020" y="connsiteY49020"/>
              </a:cxn>
              <a:cxn ang="0">
                <a:pos x="connsiteX49021" y="connsiteY49021"/>
              </a:cxn>
              <a:cxn ang="0">
                <a:pos x="connsiteX49022" y="connsiteY49022"/>
              </a:cxn>
              <a:cxn ang="0">
                <a:pos x="connsiteX49023" y="connsiteY49023"/>
              </a:cxn>
              <a:cxn ang="0">
                <a:pos x="connsiteX49024" y="connsiteY49024"/>
              </a:cxn>
              <a:cxn ang="0">
                <a:pos x="connsiteX49025" y="connsiteY49025"/>
              </a:cxn>
              <a:cxn ang="0">
                <a:pos x="connsiteX49026" y="connsiteY49026"/>
              </a:cxn>
              <a:cxn ang="0">
                <a:pos x="connsiteX49027" y="connsiteY49027"/>
              </a:cxn>
              <a:cxn ang="0">
                <a:pos x="connsiteX49028" y="connsiteY49028"/>
              </a:cxn>
              <a:cxn ang="0">
                <a:pos x="connsiteX49029" y="connsiteY49029"/>
              </a:cxn>
              <a:cxn ang="0">
                <a:pos x="connsiteX49030" y="connsiteY49030"/>
              </a:cxn>
              <a:cxn ang="0">
                <a:pos x="connsiteX49031" y="connsiteY49031"/>
              </a:cxn>
              <a:cxn ang="0">
                <a:pos x="connsiteX49032" y="connsiteY49032"/>
              </a:cxn>
              <a:cxn ang="0">
                <a:pos x="connsiteX49033" y="connsiteY49033"/>
              </a:cxn>
              <a:cxn ang="0">
                <a:pos x="connsiteX49034" y="connsiteY49034"/>
              </a:cxn>
              <a:cxn ang="0">
                <a:pos x="connsiteX49035" y="connsiteY49035"/>
              </a:cxn>
              <a:cxn ang="0">
                <a:pos x="connsiteX49036" y="connsiteY49036"/>
              </a:cxn>
              <a:cxn ang="0">
                <a:pos x="connsiteX49037" y="connsiteY49037"/>
              </a:cxn>
              <a:cxn ang="0">
                <a:pos x="connsiteX49038" y="connsiteY49038"/>
              </a:cxn>
              <a:cxn ang="0">
                <a:pos x="connsiteX49039" y="connsiteY49039"/>
              </a:cxn>
              <a:cxn ang="0">
                <a:pos x="connsiteX49040" y="connsiteY49040"/>
              </a:cxn>
              <a:cxn ang="0">
                <a:pos x="connsiteX49041" y="connsiteY49041"/>
              </a:cxn>
              <a:cxn ang="0">
                <a:pos x="connsiteX49042" y="connsiteY49042"/>
              </a:cxn>
              <a:cxn ang="0">
                <a:pos x="connsiteX49043" y="connsiteY49043"/>
              </a:cxn>
              <a:cxn ang="0">
                <a:pos x="connsiteX49044" y="connsiteY49044"/>
              </a:cxn>
              <a:cxn ang="0">
                <a:pos x="connsiteX49045" y="connsiteY49045"/>
              </a:cxn>
              <a:cxn ang="0">
                <a:pos x="connsiteX49046" y="connsiteY49046"/>
              </a:cxn>
              <a:cxn ang="0">
                <a:pos x="connsiteX49047" y="connsiteY49047"/>
              </a:cxn>
              <a:cxn ang="0">
                <a:pos x="connsiteX49048" y="connsiteY49048"/>
              </a:cxn>
              <a:cxn ang="0">
                <a:pos x="connsiteX49049" y="connsiteY49049"/>
              </a:cxn>
              <a:cxn ang="0">
                <a:pos x="connsiteX49050" y="connsiteY49050"/>
              </a:cxn>
              <a:cxn ang="0">
                <a:pos x="connsiteX49051" y="connsiteY49051"/>
              </a:cxn>
              <a:cxn ang="0">
                <a:pos x="connsiteX49052" y="connsiteY49052"/>
              </a:cxn>
              <a:cxn ang="0">
                <a:pos x="connsiteX49053" y="connsiteY49053"/>
              </a:cxn>
              <a:cxn ang="0">
                <a:pos x="connsiteX49054" y="connsiteY49054"/>
              </a:cxn>
              <a:cxn ang="0">
                <a:pos x="connsiteX49055" y="connsiteY49055"/>
              </a:cxn>
              <a:cxn ang="0">
                <a:pos x="connsiteX49056" y="connsiteY49056"/>
              </a:cxn>
              <a:cxn ang="0">
                <a:pos x="connsiteX49057" y="connsiteY49057"/>
              </a:cxn>
              <a:cxn ang="0">
                <a:pos x="connsiteX49058" y="connsiteY49058"/>
              </a:cxn>
              <a:cxn ang="0">
                <a:pos x="connsiteX49059" y="connsiteY49059"/>
              </a:cxn>
              <a:cxn ang="0">
                <a:pos x="connsiteX49060" y="connsiteY49060"/>
              </a:cxn>
              <a:cxn ang="0">
                <a:pos x="connsiteX49061" y="connsiteY49061"/>
              </a:cxn>
              <a:cxn ang="0">
                <a:pos x="connsiteX49062" y="connsiteY49062"/>
              </a:cxn>
              <a:cxn ang="0">
                <a:pos x="connsiteX49063" y="connsiteY49063"/>
              </a:cxn>
              <a:cxn ang="0">
                <a:pos x="connsiteX49064" y="connsiteY49064"/>
              </a:cxn>
              <a:cxn ang="0">
                <a:pos x="connsiteX49065" y="connsiteY49065"/>
              </a:cxn>
              <a:cxn ang="0">
                <a:pos x="connsiteX49066" y="connsiteY49066"/>
              </a:cxn>
              <a:cxn ang="0">
                <a:pos x="connsiteX49067" y="connsiteY49067"/>
              </a:cxn>
              <a:cxn ang="0">
                <a:pos x="connsiteX49068" y="connsiteY49068"/>
              </a:cxn>
              <a:cxn ang="0">
                <a:pos x="connsiteX49069" y="connsiteY49069"/>
              </a:cxn>
              <a:cxn ang="0">
                <a:pos x="connsiteX49070" y="connsiteY49070"/>
              </a:cxn>
              <a:cxn ang="0">
                <a:pos x="connsiteX49071" y="connsiteY49071"/>
              </a:cxn>
              <a:cxn ang="0">
                <a:pos x="connsiteX49072" y="connsiteY49072"/>
              </a:cxn>
              <a:cxn ang="0">
                <a:pos x="connsiteX49073" y="connsiteY49073"/>
              </a:cxn>
              <a:cxn ang="0">
                <a:pos x="connsiteX49074" y="connsiteY49074"/>
              </a:cxn>
              <a:cxn ang="0">
                <a:pos x="connsiteX49075" y="connsiteY49075"/>
              </a:cxn>
              <a:cxn ang="0">
                <a:pos x="connsiteX49076" y="connsiteY49076"/>
              </a:cxn>
              <a:cxn ang="0">
                <a:pos x="connsiteX49077" y="connsiteY49077"/>
              </a:cxn>
              <a:cxn ang="0">
                <a:pos x="connsiteX49078" y="connsiteY49078"/>
              </a:cxn>
              <a:cxn ang="0">
                <a:pos x="connsiteX49079" y="connsiteY49079"/>
              </a:cxn>
              <a:cxn ang="0">
                <a:pos x="connsiteX49080" y="connsiteY49080"/>
              </a:cxn>
              <a:cxn ang="0">
                <a:pos x="connsiteX49081" y="connsiteY49081"/>
              </a:cxn>
              <a:cxn ang="0">
                <a:pos x="connsiteX49082" y="connsiteY49082"/>
              </a:cxn>
              <a:cxn ang="0">
                <a:pos x="connsiteX49083" y="connsiteY49083"/>
              </a:cxn>
              <a:cxn ang="0">
                <a:pos x="connsiteX49084" y="connsiteY49084"/>
              </a:cxn>
              <a:cxn ang="0">
                <a:pos x="connsiteX49085" y="connsiteY49085"/>
              </a:cxn>
              <a:cxn ang="0">
                <a:pos x="connsiteX49086" y="connsiteY49086"/>
              </a:cxn>
              <a:cxn ang="0">
                <a:pos x="connsiteX49087" y="connsiteY49087"/>
              </a:cxn>
              <a:cxn ang="0">
                <a:pos x="connsiteX49088" y="connsiteY49088"/>
              </a:cxn>
              <a:cxn ang="0">
                <a:pos x="connsiteX49089" y="connsiteY49089"/>
              </a:cxn>
              <a:cxn ang="0">
                <a:pos x="connsiteX49090" y="connsiteY49090"/>
              </a:cxn>
              <a:cxn ang="0">
                <a:pos x="connsiteX49091" y="connsiteY49091"/>
              </a:cxn>
              <a:cxn ang="0">
                <a:pos x="connsiteX49092" y="connsiteY49092"/>
              </a:cxn>
              <a:cxn ang="0">
                <a:pos x="connsiteX49093" y="connsiteY49093"/>
              </a:cxn>
              <a:cxn ang="0">
                <a:pos x="connsiteX49094" y="connsiteY49094"/>
              </a:cxn>
              <a:cxn ang="0">
                <a:pos x="connsiteX49095" y="connsiteY49095"/>
              </a:cxn>
              <a:cxn ang="0">
                <a:pos x="connsiteX49096" y="connsiteY49096"/>
              </a:cxn>
              <a:cxn ang="0">
                <a:pos x="connsiteX49097" y="connsiteY49097"/>
              </a:cxn>
              <a:cxn ang="0">
                <a:pos x="connsiteX49098" y="connsiteY49098"/>
              </a:cxn>
              <a:cxn ang="0">
                <a:pos x="connsiteX49099" y="connsiteY49099"/>
              </a:cxn>
              <a:cxn ang="0">
                <a:pos x="connsiteX49100" y="connsiteY49100"/>
              </a:cxn>
              <a:cxn ang="0">
                <a:pos x="connsiteX49101" y="connsiteY49101"/>
              </a:cxn>
              <a:cxn ang="0">
                <a:pos x="connsiteX49102" y="connsiteY49102"/>
              </a:cxn>
              <a:cxn ang="0">
                <a:pos x="connsiteX49103" y="connsiteY49103"/>
              </a:cxn>
              <a:cxn ang="0">
                <a:pos x="connsiteX49104" y="connsiteY49104"/>
              </a:cxn>
              <a:cxn ang="0">
                <a:pos x="connsiteX49105" y="connsiteY49105"/>
              </a:cxn>
              <a:cxn ang="0">
                <a:pos x="connsiteX49106" y="connsiteY49106"/>
              </a:cxn>
              <a:cxn ang="0">
                <a:pos x="connsiteX49107" y="connsiteY49107"/>
              </a:cxn>
              <a:cxn ang="0">
                <a:pos x="connsiteX49108" y="connsiteY49108"/>
              </a:cxn>
              <a:cxn ang="0">
                <a:pos x="connsiteX49109" y="connsiteY49109"/>
              </a:cxn>
              <a:cxn ang="0">
                <a:pos x="connsiteX49110" y="connsiteY49110"/>
              </a:cxn>
              <a:cxn ang="0">
                <a:pos x="connsiteX49111" y="connsiteY49111"/>
              </a:cxn>
              <a:cxn ang="0">
                <a:pos x="connsiteX49112" y="connsiteY49112"/>
              </a:cxn>
              <a:cxn ang="0">
                <a:pos x="connsiteX49113" y="connsiteY49113"/>
              </a:cxn>
              <a:cxn ang="0">
                <a:pos x="connsiteX49114" y="connsiteY49114"/>
              </a:cxn>
              <a:cxn ang="0">
                <a:pos x="connsiteX49115" y="connsiteY49115"/>
              </a:cxn>
              <a:cxn ang="0">
                <a:pos x="connsiteX49116" y="connsiteY49116"/>
              </a:cxn>
              <a:cxn ang="0">
                <a:pos x="connsiteX49117" y="connsiteY49117"/>
              </a:cxn>
              <a:cxn ang="0">
                <a:pos x="connsiteX49118" y="connsiteY49118"/>
              </a:cxn>
              <a:cxn ang="0">
                <a:pos x="connsiteX49119" y="connsiteY49119"/>
              </a:cxn>
              <a:cxn ang="0">
                <a:pos x="connsiteX49120" y="connsiteY49120"/>
              </a:cxn>
              <a:cxn ang="0">
                <a:pos x="connsiteX49121" y="connsiteY49121"/>
              </a:cxn>
              <a:cxn ang="0">
                <a:pos x="connsiteX49122" y="connsiteY49122"/>
              </a:cxn>
              <a:cxn ang="0">
                <a:pos x="connsiteX49123" y="connsiteY49123"/>
              </a:cxn>
              <a:cxn ang="0">
                <a:pos x="connsiteX49124" y="connsiteY49124"/>
              </a:cxn>
              <a:cxn ang="0">
                <a:pos x="connsiteX49125" y="connsiteY49125"/>
              </a:cxn>
              <a:cxn ang="0">
                <a:pos x="connsiteX49126" y="connsiteY49126"/>
              </a:cxn>
              <a:cxn ang="0">
                <a:pos x="connsiteX49127" y="connsiteY49127"/>
              </a:cxn>
              <a:cxn ang="0">
                <a:pos x="connsiteX49128" y="connsiteY49128"/>
              </a:cxn>
              <a:cxn ang="0">
                <a:pos x="connsiteX49129" y="connsiteY49129"/>
              </a:cxn>
              <a:cxn ang="0">
                <a:pos x="connsiteX49130" y="connsiteY49130"/>
              </a:cxn>
              <a:cxn ang="0">
                <a:pos x="connsiteX49131" y="connsiteY49131"/>
              </a:cxn>
              <a:cxn ang="0">
                <a:pos x="connsiteX49132" y="connsiteY49132"/>
              </a:cxn>
              <a:cxn ang="0">
                <a:pos x="connsiteX49133" y="connsiteY49133"/>
              </a:cxn>
              <a:cxn ang="0">
                <a:pos x="connsiteX49134" y="connsiteY49134"/>
              </a:cxn>
              <a:cxn ang="0">
                <a:pos x="connsiteX49135" y="connsiteY49135"/>
              </a:cxn>
              <a:cxn ang="0">
                <a:pos x="connsiteX49136" y="connsiteY49136"/>
              </a:cxn>
              <a:cxn ang="0">
                <a:pos x="connsiteX49137" y="connsiteY49137"/>
              </a:cxn>
              <a:cxn ang="0">
                <a:pos x="connsiteX49138" y="connsiteY49138"/>
              </a:cxn>
              <a:cxn ang="0">
                <a:pos x="connsiteX49139" y="connsiteY49139"/>
              </a:cxn>
              <a:cxn ang="0">
                <a:pos x="connsiteX49140" y="connsiteY49140"/>
              </a:cxn>
              <a:cxn ang="0">
                <a:pos x="connsiteX49141" y="connsiteY49141"/>
              </a:cxn>
              <a:cxn ang="0">
                <a:pos x="connsiteX49142" y="connsiteY49142"/>
              </a:cxn>
              <a:cxn ang="0">
                <a:pos x="connsiteX49143" y="connsiteY49143"/>
              </a:cxn>
              <a:cxn ang="0">
                <a:pos x="connsiteX49144" y="connsiteY49144"/>
              </a:cxn>
              <a:cxn ang="0">
                <a:pos x="connsiteX49145" y="connsiteY49145"/>
              </a:cxn>
              <a:cxn ang="0">
                <a:pos x="connsiteX49146" y="connsiteY49146"/>
              </a:cxn>
              <a:cxn ang="0">
                <a:pos x="connsiteX49147" y="connsiteY49147"/>
              </a:cxn>
              <a:cxn ang="0">
                <a:pos x="connsiteX49148" y="connsiteY49148"/>
              </a:cxn>
              <a:cxn ang="0">
                <a:pos x="connsiteX49149" y="connsiteY49149"/>
              </a:cxn>
              <a:cxn ang="0">
                <a:pos x="connsiteX49150" y="connsiteY49150"/>
              </a:cxn>
              <a:cxn ang="0">
                <a:pos x="connsiteX49151" y="connsiteY49151"/>
              </a:cxn>
              <a:cxn ang="0">
                <a:pos x="connsiteX49152" y="connsiteY49152"/>
              </a:cxn>
              <a:cxn ang="0">
                <a:pos x="connsiteX49153" y="connsiteY49153"/>
              </a:cxn>
              <a:cxn ang="0">
                <a:pos x="connsiteX49154" y="connsiteY49154"/>
              </a:cxn>
              <a:cxn ang="0">
                <a:pos x="connsiteX49155" y="connsiteY49155"/>
              </a:cxn>
              <a:cxn ang="0">
                <a:pos x="connsiteX49156" y="connsiteY49156"/>
              </a:cxn>
              <a:cxn ang="0">
                <a:pos x="connsiteX49157" y="connsiteY49157"/>
              </a:cxn>
              <a:cxn ang="0">
                <a:pos x="connsiteX49158" y="connsiteY49158"/>
              </a:cxn>
              <a:cxn ang="0">
                <a:pos x="connsiteX49159" y="connsiteY49159"/>
              </a:cxn>
              <a:cxn ang="0">
                <a:pos x="connsiteX49160" y="connsiteY49160"/>
              </a:cxn>
              <a:cxn ang="0">
                <a:pos x="connsiteX49161" y="connsiteY49161"/>
              </a:cxn>
              <a:cxn ang="0">
                <a:pos x="connsiteX49162" y="connsiteY49162"/>
              </a:cxn>
              <a:cxn ang="0">
                <a:pos x="connsiteX49163" y="connsiteY49163"/>
              </a:cxn>
              <a:cxn ang="0">
                <a:pos x="connsiteX49164" y="connsiteY49164"/>
              </a:cxn>
              <a:cxn ang="0">
                <a:pos x="connsiteX49165" y="connsiteY49165"/>
              </a:cxn>
              <a:cxn ang="0">
                <a:pos x="connsiteX49166" y="connsiteY49166"/>
              </a:cxn>
              <a:cxn ang="0">
                <a:pos x="connsiteX49167" y="connsiteY49167"/>
              </a:cxn>
              <a:cxn ang="0">
                <a:pos x="connsiteX49168" y="connsiteY49168"/>
              </a:cxn>
              <a:cxn ang="0">
                <a:pos x="connsiteX49169" y="connsiteY49169"/>
              </a:cxn>
              <a:cxn ang="0">
                <a:pos x="connsiteX49170" y="connsiteY49170"/>
              </a:cxn>
              <a:cxn ang="0">
                <a:pos x="connsiteX49171" y="connsiteY49171"/>
              </a:cxn>
              <a:cxn ang="0">
                <a:pos x="connsiteX49172" y="connsiteY49172"/>
              </a:cxn>
              <a:cxn ang="0">
                <a:pos x="connsiteX49173" y="connsiteY49173"/>
              </a:cxn>
              <a:cxn ang="0">
                <a:pos x="connsiteX49174" y="connsiteY49174"/>
              </a:cxn>
              <a:cxn ang="0">
                <a:pos x="connsiteX49175" y="connsiteY49175"/>
              </a:cxn>
              <a:cxn ang="0">
                <a:pos x="connsiteX49176" y="connsiteY49176"/>
              </a:cxn>
              <a:cxn ang="0">
                <a:pos x="connsiteX49177" y="connsiteY49177"/>
              </a:cxn>
              <a:cxn ang="0">
                <a:pos x="connsiteX49178" y="connsiteY49178"/>
              </a:cxn>
              <a:cxn ang="0">
                <a:pos x="connsiteX49179" y="connsiteY49179"/>
              </a:cxn>
              <a:cxn ang="0">
                <a:pos x="connsiteX49180" y="connsiteY49180"/>
              </a:cxn>
              <a:cxn ang="0">
                <a:pos x="connsiteX49181" y="connsiteY49181"/>
              </a:cxn>
              <a:cxn ang="0">
                <a:pos x="connsiteX49182" y="connsiteY49182"/>
              </a:cxn>
              <a:cxn ang="0">
                <a:pos x="connsiteX49183" y="connsiteY49183"/>
              </a:cxn>
              <a:cxn ang="0">
                <a:pos x="connsiteX49184" y="connsiteY49184"/>
              </a:cxn>
              <a:cxn ang="0">
                <a:pos x="connsiteX49185" y="connsiteY49185"/>
              </a:cxn>
              <a:cxn ang="0">
                <a:pos x="connsiteX49186" y="connsiteY49186"/>
              </a:cxn>
              <a:cxn ang="0">
                <a:pos x="connsiteX49187" y="connsiteY49187"/>
              </a:cxn>
              <a:cxn ang="0">
                <a:pos x="connsiteX49188" y="connsiteY49188"/>
              </a:cxn>
              <a:cxn ang="0">
                <a:pos x="connsiteX49189" y="connsiteY49189"/>
              </a:cxn>
              <a:cxn ang="0">
                <a:pos x="connsiteX49190" y="connsiteY49190"/>
              </a:cxn>
              <a:cxn ang="0">
                <a:pos x="connsiteX49191" y="connsiteY49191"/>
              </a:cxn>
              <a:cxn ang="0">
                <a:pos x="connsiteX49192" y="connsiteY49192"/>
              </a:cxn>
              <a:cxn ang="0">
                <a:pos x="connsiteX49193" y="connsiteY49193"/>
              </a:cxn>
              <a:cxn ang="0">
                <a:pos x="connsiteX49194" y="connsiteY49194"/>
              </a:cxn>
              <a:cxn ang="0">
                <a:pos x="connsiteX49195" y="connsiteY49195"/>
              </a:cxn>
              <a:cxn ang="0">
                <a:pos x="connsiteX49196" y="connsiteY49196"/>
              </a:cxn>
              <a:cxn ang="0">
                <a:pos x="connsiteX49197" y="connsiteY49197"/>
              </a:cxn>
              <a:cxn ang="0">
                <a:pos x="connsiteX49198" y="connsiteY49198"/>
              </a:cxn>
              <a:cxn ang="0">
                <a:pos x="connsiteX49199" y="connsiteY49199"/>
              </a:cxn>
              <a:cxn ang="0">
                <a:pos x="connsiteX49200" y="connsiteY49200"/>
              </a:cxn>
              <a:cxn ang="0">
                <a:pos x="connsiteX49201" y="connsiteY49201"/>
              </a:cxn>
              <a:cxn ang="0">
                <a:pos x="connsiteX49202" y="connsiteY49202"/>
              </a:cxn>
              <a:cxn ang="0">
                <a:pos x="connsiteX49203" y="connsiteY49203"/>
              </a:cxn>
              <a:cxn ang="0">
                <a:pos x="connsiteX49204" y="connsiteY49204"/>
              </a:cxn>
              <a:cxn ang="0">
                <a:pos x="connsiteX49205" y="connsiteY49205"/>
              </a:cxn>
              <a:cxn ang="0">
                <a:pos x="connsiteX49206" y="connsiteY49206"/>
              </a:cxn>
              <a:cxn ang="0">
                <a:pos x="connsiteX49207" y="connsiteY49207"/>
              </a:cxn>
              <a:cxn ang="0">
                <a:pos x="connsiteX49208" y="connsiteY49208"/>
              </a:cxn>
              <a:cxn ang="0">
                <a:pos x="connsiteX49209" y="connsiteY49209"/>
              </a:cxn>
              <a:cxn ang="0">
                <a:pos x="connsiteX49210" y="connsiteY49210"/>
              </a:cxn>
              <a:cxn ang="0">
                <a:pos x="connsiteX49211" y="connsiteY49211"/>
              </a:cxn>
              <a:cxn ang="0">
                <a:pos x="connsiteX49212" y="connsiteY49212"/>
              </a:cxn>
              <a:cxn ang="0">
                <a:pos x="connsiteX49213" y="connsiteY49213"/>
              </a:cxn>
              <a:cxn ang="0">
                <a:pos x="connsiteX49214" y="connsiteY49214"/>
              </a:cxn>
              <a:cxn ang="0">
                <a:pos x="connsiteX49215" y="connsiteY49215"/>
              </a:cxn>
              <a:cxn ang="0">
                <a:pos x="connsiteX49216" y="connsiteY49216"/>
              </a:cxn>
              <a:cxn ang="0">
                <a:pos x="connsiteX49217" y="connsiteY49217"/>
              </a:cxn>
              <a:cxn ang="0">
                <a:pos x="connsiteX49218" y="connsiteY49218"/>
              </a:cxn>
              <a:cxn ang="0">
                <a:pos x="connsiteX49219" y="connsiteY49219"/>
              </a:cxn>
              <a:cxn ang="0">
                <a:pos x="connsiteX49220" y="connsiteY49220"/>
              </a:cxn>
              <a:cxn ang="0">
                <a:pos x="connsiteX49221" y="connsiteY49221"/>
              </a:cxn>
              <a:cxn ang="0">
                <a:pos x="connsiteX49222" y="connsiteY49222"/>
              </a:cxn>
              <a:cxn ang="0">
                <a:pos x="connsiteX49223" y="connsiteY49223"/>
              </a:cxn>
              <a:cxn ang="0">
                <a:pos x="connsiteX49224" y="connsiteY49224"/>
              </a:cxn>
              <a:cxn ang="0">
                <a:pos x="connsiteX49225" y="connsiteY49225"/>
              </a:cxn>
              <a:cxn ang="0">
                <a:pos x="connsiteX49226" y="connsiteY49226"/>
              </a:cxn>
              <a:cxn ang="0">
                <a:pos x="connsiteX49227" y="connsiteY49227"/>
              </a:cxn>
              <a:cxn ang="0">
                <a:pos x="connsiteX49228" y="connsiteY49228"/>
              </a:cxn>
              <a:cxn ang="0">
                <a:pos x="connsiteX49229" y="connsiteY49229"/>
              </a:cxn>
              <a:cxn ang="0">
                <a:pos x="connsiteX49230" y="connsiteY49230"/>
              </a:cxn>
              <a:cxn ang="0">
                <a:pos x="connsiteX49231" y="connsiteY49231"/>
              </a:cxn>
              <a:cxn ang="0">
                <a:pos x="connsiteX49232" y="connsiteY49232"/>
              </a:cxn>
              <a:cxn ang="0">
                <a:pos x="connsiteX49233" y="connsiteY49233"/>
              </a:cxn>
              <a:cxn ang="0">
                <a:pos x="connsiteX49234" y="connsiteY49234"/>
              </a:cxn>
              <a:cxn ang="0">
                <a:pos x="connsiteX49235" y="connsiteY49235"/>
              </a:cxn>
              <a:cxn ang="0">
                <a:pos x="connsiteX49236" y="connsiteY49236"/>
              </a:cxn>
              <a:cxn ang="0">
                <a:pos x="connsiteX49237" y="connsiteY49237"/>
              </a:cxn>
              <a:cxn ang="0">
                <a:pos x="connsiteX49238" y="connsiteY49238"/>
              </a:cxn>
              <a:cxn ang="0">
                <a:pos x="connsiteX49239" y="connsiteY49239"/>
              </a:cxn>
              <a:cxn ang="0">
                <a:pos x="connsiteX49240" y="connsiteY49240"/>
              </a:cxn>
              <a:cxn ang="0">
                <a:pos x="connsiteX49241" y="connsiteY49241"/>
              </a:cxn>
              <a:cxn ang="0">
                <a:pos x="connsiteX49242" y="connsiteY49242"/>
              </a:cxn>
              <a:cxn ang="0">
                <a:pos x="connsiteX49243" y="connsiteY49243"/>
              </a:cxn>
              <a:cxn ang="0">
                <a:pos x="connsiteX49244" y="connsiteY49244"/>
              </a:cxn>
              <a:cxn ang="0">
                <a:pos x="connsiteX49245" y="connsiteY49245"/>
              </a:cxn>
              <a:cxn ang="0">
                <a:pos x="connsiteX49246" y="connsiteY49246"/>
              </a:cxn>
              <a:cxn ang="0">
                <a:pos x="connsiteX49247" y="connsiteY49247"/>
              </a:cxn>
              <a:cxn ang="0">
                <a:pos x="connsiteX49248" y="connsiteY49248"/>
              </a:cxn>
              <a:cxn ang="0">
                <a:pos x="connsiteX49249" y="connsiteY49249"/>
              </a:cxn>
              <a:cxn ang="0">
                <a:pos x="connsiteX49250" y="connsiteY49250"/>
              </a:cxn>
              <a:cxn ang="0">
                <a:pos x="connsiteX49251" y="connsiteY49251"/>
              </a:cxn>
              <a:cxn ang="0">
                <a:pos x="connsiteX49252" y="connsiteY49252"/>
              </a:cxn>
              <a:cxn ang="0">
                <a:pos x="connsiteX49253" y="connsiteY49253"/>
              </a:cxn>
              <a:cxn ang="0">
                <a:pos x="connsiteX49254" y="connsiteY49254"/>
              </a:cxn>
              <a:cxn ang="0">
                <a:pos x="connsiteX49255" y="connsiteY49255"/>
              </a:cxn>
              <a:cxn ang="0">
                <a:pos x="connsiteX49256" y="connsiteY49256"/>
              </a:cxn>
              <a:cxn ang="0">
                <a:pos x="connsiteX49257" y="connsiteY49257"/>
              </a:cxn>
              <a:cxn ang="0">
                <a:pos x="connsiteX49258" y="connsiteY49258"/>
              </a:cxn>
              <a:cxn ang="0">
                <a:pos x="connsiteX49259" y="connsiteY49259"/>
              </a:cxn>
              <a:cxn ang="0">
                <a:pos x="connsiteX49260" y="connsiteY49260"/>
              </a:cxn>
              <a:cxn ang="0">
                <a:pos x="connsiteX49261" y="connsiteY49261"/>
              </a:cxn>
              <a:cxn ang="0">
                <a:pos x="connsiteX49262" y="connsiteY49262"/>
              </a:cxn>
              <a:cxn ang="0">
                <a:pos x="connsiteX49263" y="connsiteY49263"/>
              </a:cxn>
              <a:cxn ang="0">
                <a:pos x="connsiteX49264" y="connsiteY49264"/>
              </a:cxn>
              <a:cxn ang="0">
                <a:pos x="connsiteX49265" y="connsiteY49265"/>
              </a:cxn>
              <a:cxn ang="0">
                <a:pos x="connsiteX49266" y="connsiteY49266"/>
              </a:cxn>
              <a:cxn ang="0">
                <a:pos x="connsiteX49267" y="connsiteY49267"/>
              </a:cxn>
              <a:cxn ang="0">
                <a:pos x="connsiteX49268" y="connsiteY49268"/>
              </a:cxn>
              <a:cxn ang="0">
                <a:pos x="connsiteX49269" y="connsiteY49269"/>
              </a:cxn>
              <a:cxn ang="0">
                <a:pos x="connsiteX49270" y="connsiteY49270"/>
              </a:cxn>
              <a:cxn ang="0">
                <a:pos x="connsiteX49271" y="connsiteY49271"/>
              </a:cxn>
              <a:cxn ang="0">
                <a:pos x="connsiteX49272" y="connsiteY49272"/>
              </a:cxn>
              <a:cxn ang="0">
                <a:pos x="connsiteX49273" y="connsiteY49273"/>
              </a:cxn>
              <a:cxn ang="0">
                <a:pos x="connsiteX49274" y="connsiteY49274"/>
              </a:cxn>
              <a:cxn ang="0">
                <a:pos x="connsiteX49275" y="connsiteY49275"/>
              </a:cxn>
              <a:cxn ang="0">
                <a:pos x="connsiteX49276" y="connsiteY49276"/>
              </a:cxn>
              <a:cxn ang="0">
                <a:pos x="connsiteX49277" y="connsiteY49277"/>
              </a:cxn>
              <a:cxn ang="0">
                <a:pos x="connsiteX49278" y="connsiteY49278"/>
              </a:cxn>
              <a:cxn ang="0">
                <a:pos x="connsiteX49279" y="connsiteY49279"/>
              </a:cxn>
              <a:cxn ang="0">
                <a:pos x="connsiteX49280" y="connsiteY49280"/>
              </a:cxn>
              <a:cxn ang="0">
                <a:pos x="connsiteX49281" y="connsiteY49281"/>
              </a:cxn>
              <a:cxn ang="0">
                <a:pos x="connsiteX49282" y="connsiteY49282"/>
              </a:cxn>
              <a:cxn ang="0">
                <a:pos x="connsiteX49283" y="connsiteY49283"/>
              </a:cxn>
              <a:cxn ang="0">
                <a:pos x="connsiteX49284" y="connsiteY49284"/>
              </a:cxn>
              <a:cxn ang="0">
                <a:pos x="connsiteX49285" y="connsiteY49285"/>
              </a:cxn>
              <a:cxn ang="0">
                <a:pos x="connsiteX49286" y="connsiteY49286"/>
              </a:cxn>
              <a:cxn ang="0">
                <a:pos x="connsiteX49287" y="connsiteY49287"/>
              </a:cxn>
              <a:cxn ang="0">
                <a:pos x="connsiteX49288" y="connsiteY49288"/>
              </a:cxn>
              <a:cxn ang="0">
                <a:pos x="connsiteX49289" y="connsiteY49289"/>
              </a:cxn>
              <a:cxn ang="0">
                <a:pos x="connsiteX49290" y="connsiteY49290"/>
              </a:cxn>
              <a:cxn ang="0">
                <a:pos x="connsiteX49291" y="connsiteY49291"/>
              </a:cxn>
              <a:cxn ang="0">
                <a:pos x="connsiteX49292" y="connsiteY49292"/>
              </a:cxn>
              <a:cxn ang="0">
                <a:pos x="connsiteX49293" y="connsiteY49293"/>
              </a:cxn>
              <a:cxn ang="0">
                <a:pos x="connsiteX49294" y="connsiteY49294"/>
              </a:cxn>
              <a:cxn ang="0">
                <a:pos x="connsiteX49295" y="connsiteY49295"/>
              </a:cxn>
              <a:cxn ang="0">
                <a:pos x="connsiteX49296" y="connsiteY49296"/>
              </a:cxn>
              <a:cxn ang="0">
                <a:pos x="connsiteX49297" y="connsiteY49297"/>
              </a:cxn>
              <a:cxn ang="0">
                <a:pos x="connsiteX49298" y="connsiteY49298"/>
              </a:cxn>
              <a:cxn ang="0">
                <a:pos x="connsiteX49299" y="connsiteY49299"/>
              </a:cxn>
              <a:cxn ang="0">
                <a:pos x="connsiteX49300" y="connsiteY49300"/>
              </a:cxn>
              <a:cxn ang="0">
                <a:pos x="connsiteX49301" y="connsiteY49301"/>
              </a:cxn>
              <a:cxn ang="0">
                <a:pos x="connsiteX49302" y="connsiteY49302"/>
              </a:cxn>
              <a:cxn ang="0">
                <a:pos x="connsiteX49303" y="connsiteY49303"/>
              </a:cxn>
              <a:cxn ang="0">
                <a:pos x="connsiteX49304" y="connsiteY49304"/>
              </a:cxn>
              <a:cxn ang="0">
                <a:pos x="connsiteX49305" y="connsiteY49305"/>
              </a:cxn>
              <a:cxn ang="0">
                <a:pos x="connsiteX49306" y="connsiteY49306"/>
              </a:cxn>
              <a:cxn ang="0">
                <a:pos x="connsiteX49307" y="connsiteY49307"/>
              </a:cxn>
              <a:cxn ang="0">
                <a:pos x="connsiteX49308" y="connsiteY49308"/>
              </a:cxn>
              <a:cxn ang="0">
                <a:pos x="connsiteX49309" y="connsiteY49309"/>
              </a:cxn>
              <a:cxn ang="0">
                <a:pos x="connsiteX49310" y="connsiteY49310"/>
              </a:cxn>
              <a:cxn ang="0">
                <a:pos x="connsiteX49311" y="connsiteY49311"/>
              </a:cxn>
              <a:cxn ang="0">
                <a:pos x="connsiteX49312" y="connsiteY49312"/>
              </a:cxn>
              <a:cxn ang="0">
                <a:pos x="connsiteX49313" y="connsiteY49313"/>
              </a:cxn>
              <a:cxn ang="0">
                <a:pos x="connsiteX49314" y="connsiteY49314"/>
              </a:cxn>
              <a:cxn ang="0">
                <a:pos x="connsiteX49315" y="connsiteY49315"/>
              </a:cxn>
              <a:cxn ang="0">
                <a:pos x="connsiteX49316" y="connsiteY49316"/>
              </a:cxn>
              <a:cxn ang="0">
                <a:pos x="connsiteX49317" y="connsiteY49317"/>
              </a:cxn>
              <a:cxn ang="0">
                <a:pos x="connsiteX49318" y="connsiteY49318"/>
              </a:cxn>
              <a:cxn ang="0">
                <a:pos x="connsiteX49319" y="connsiteY49319"/>
              </a:cxn>
              <a:cxn ang="0">
                <a:pos x="connsiteX49320" y="connsiteY49320"/>
              </a:cxn>
              <a:cxn ang="0">
                <a:pos x="connsiteX49321" y="connsiteY49321"/>
              </a:cxn>
              <a:cxn ang="0">
                <a:pos x="connsiteX49322" y="connsiteY49322"/>
              </a:cxn>
              <a:cxn ang="0">
                <a:pos x="connsiteX49323" y="connsiteY49323"/>
              </a:cxn>
              <a:cxn ang="0">
                <a:pos x="connsiteX49324" y="connsiteY49324"/>
              </a:cxn>
              <a:cxn ang="0">
                <a:pos x="connsiteX49325" y="connsiteY49325"/>
              </a:cxn>
              <a:cxn ang="0">
                <a:pos x="connsiteX49326" y="connsiteY49326"/>
              </a:cxn>
              <a:cxn ang="0">
                <a:pos x="connsiteX49327" y="connsiteY49327"/>
              </a:cxn>
              <a:cxn ang="0">
                <a:pos x="connsiteX49328" y="connsiteY49328"/>
              </a:cxn>
              <a:cxn ang="0">
                <a:pos x="connsiteX49329" y="connsiteY49329"/>
              </a:cxn>
              <a:cxn ang="0">
                <a:pos x="connsiteX49330" y="connsiteY49330"/>
              </a:cxn>
              <a:cxn ang="0">
                <a:pos x="connsiteX49331" y="connsiteY49331"/>
              </a:cxn>
              <a:cxn ang="0">
                <a:pos x="connsiteX49332" y="connsiteY49332"/>
              </a:cxn>
              <a:cxn ang="0">
                <a:pos x="connsiteX49333" y="connsiteY49333"/>
              </a:cxn>
              <a:cxn ang="0">
                <a:pos x="connsiteX49334" y="connsiteY49334"/>
              </a:cxn>
              <a:cxn ang="0">
                <a:pos x="connsiteX49335" y="connsiteY49335"/>
              </a:cxn>
              <a:cxn ang="0">
                <a:pos x="connsiteX49336" y="connsiteY49336"/>
              </a:cxn>
              <a:cxn ang="0">
                <a:pos x="connsiteX49337" y="connsiteY49337"/>
              </a:cxn>
              <a:cxn ang="0">
                <a:pos x="connsiteX49338" y="connsiteY49338"/>
              </a:cxn>
              <a:cxn ang="0">
                <a:pos x="connsiteX49339" y="connsiteY49339"/>
              </a:cxn>
              <a:cxn ang="0">
                <a:pos x="connsiteX49340" y="connsiteY49340"/>
              </a:cxn>
              <a:cxn ang="0">
                <a:pos x="connsiteX49341" y="connsiteY49341"/>
              </a:cxn>
              <a:cxn ang="0">
                <a:pos x="connsiteX49342" y="connsiteY49342"/>
              </a:cxn>
              <a:cxn ang="0">
                <a:pos x="connsiteX49343" y="connsiteY49343"/>
              </a:cxn>
              <a:cxn ang="0">
                <a:pos x="connsiteX49344" y="connsiteY49344"/>
              </a:cxn>
              <a:cxn ang="0">
                <a:pos x="connsiteX49345" y="connsiteY49345"/>
              </a:cxn>
              <a:cxn ang="0">
                <a:pos x="connsiteX49346" y="connsiteY49346"/>
              </a:cxn>
              <a:cxn ang="0">
                <a:pos x="connsiteX49347" y="connsiteY49347"/>
              </a:cxn>
              <a:cxn ang="0">
                <a:pos x="connsiteX49348" y="connsiteY49348"/>
              </a:cxn>
              <a:cxn ang="0">
                <a:pos x="connsiteX49349" y="connsiteY49349"/>
              </a:cxn>
              <a:cxn ang="0">
                <a:pos x="connsiteX49350" y="connsiteY49350"/>
              </a:cxn>
              <a:cxn ang="0">
                <a:pos x="connsiteX49351" y="connsiteY49351"/>
              </a:cxn>
              <a:cxn ang="0">
                <a:pos x="connsiteX49352" y="connsiteY49352"/>
              </a:cxn>
              <a:cxn ang="0">
                <a:pos x="connsiteX49353" y="connsiteY49353"/>
              </a:cxn>
              <a:cxn ang="0">
                <a:pos x="connsiteX49354" y="connsiteY49354"/>
              </a:cxn>
              <a:cxn ang="0">
                <a:pos x="connsiteX49355" y="connsiteY49355"/>
              </a:cxn>
              <a:cxn ang="0">
                <a:pos x="connsiteX49356" y="connsiteY49356"/>
              </a:cxn>
              <a:cxn ang="0">
                <a:pos x="connsiteX49357" y="connsiteY49357"/>
              </a:cxn>
              <a:cxn ang="0">
                <a:pos x="connsiteX49358" y="connsiteY49358"/>
              </a:cxn>
              <a:cxn ang="0">
                <a:pos x="connsiteX49359" y="connsiteY49359"/>
              </a:cxn>
              <a:cxn ang="0">
                <a:pos x="connsiteX49360" y="connsiteY49360"/>
              </a:cxn>
              <a:cxn ang="0">
                <a:pos x="connsiteX49361" y="connsiteY49361"/>
              </a:cxn>
              <a:cxn ang="0">
                <a:pos x="connsiteX49362" y="connsiteY49362"/>
              </a:cxn>
              <a:cxn ang="0">
                <a:pos x="connsiteX49363" y="connsiteY49363"/>
              </a:cxn>
              <a:cxn ang="0">
                <a:pos x="connsiteX49364" y="connsiteY49364"/>
              </a:cxn>
              <a:cxn ang="0">
                <a:pos x="connsiteX49365" y="connsiteY49365"/>
              </a:cxn>
              <a:cxn ang="0">
                <a:pos x="connsiteX49366" y="connsiteY49366"/>
              </a:cxn>
              <a:cxn ang="0">
                <a:pos x="connsiteX49367" y="connsiteY49367"/>
              </a:cxn>
              <a:cxn ang="0">
                <a:pos x="connsiteX49368" y="connsiteY49368"/>
              </a:cxn>
              <a:cxn ang="0">
                <a:pos x="connsiteX49369" y="connsiteY49369"/>
              </a:cxn>
              <a:cxn ang="0">
                <a:pos x="connsiteX49370" y="connsiteY49370"/>
              </a:cxn>
              <a:cxn ang="0">
                <a:pos x="connsiteX49371" y="connsiteY49371"/>
              </a:cxn>
              <a:cxn ang="0">
                <a:pos x="connsiteX49372" y="connsiteY49372"/>
              </a:cxn>
              <a:cxn ang="0">
                <a:pos x="connsiteX49373" y="connsiteY49373"/>
              </a:cxn>
              <a:cxn ang="0">
                <a:pos x="connsiteX49374" y="connsiteY49374"/>
              </a:cxn>
              <a:cxn ang="0">
                <a:pos x="connsiteX49375" y="connsiteY49375"/>
              </a:cxn>
              <a:cxn ang="0">
                <a:pos x="connsiteX49376" y="connsiteY49376"/>
              </a:cxn>
              <a:cxn ang="0">
                <a:pos x="connsiteX49377" y="connsiteY49377"/>
              </a:cxn>
              <a:cxn ang="0">
                <a:pos x="connsiteX49378" y="connsiteY49378"/>
              </a:cxn>
              <a:cxn ang="0">
                <a:pos x="connsiteX49379" y="connsiteY49379"/>
              </a:cxn>
              <a:cxn ang="0">
                <a:pos x="connsiteX49380" y="connsiteY49380"/>
              </a:cxn>
              <a:cxn ang="0">
                <a:pos x="connsiteX49381" y="connsiteY49381"/>
              </a:cxn>
              <a:cxn ang="0">
                <a:pos x="connsiteX49382" y="connsiteY49382"/>
              </a:cxn>
              <a:cxn ang="0">
                <a:pos x="connsiteX49383" y="connsiteY49383"/>
              </a:cxn>
              <a:cxn ang="0">
                <a:pos x="connsiteX49384" y="connsiteY49384"/>
              </a:cxn>
              <a:cxn ang="0">
                <a:pos x="connsiteX49385" y="connsiteY49385"/>
              </a:cxn>
              <a:cxn ang="0">
                <a:pos x="connsiteX49386" y="connsiteY49386"/>
              </a:cxn>
              <a:cxn ang="0">
                <a:pos x="connsiteX49387" y="connsiteY49387"/>
              </a:cxn>
              <a:cxn ang="0">
                <a:pos x="connsiteX49388" y="connsiteY49388"/>
              </a:cxn>
              <a:cxn ang="0">
                <a:pos x="connsiteX49389" y="connsiteY49389"/>
              </a:cxn>
              <a:cxn ang="0">
                <a:pos x="connsiteX49390" y="connsiteY49390"/>
              </a:cxn>
              <a:cxn ang="0">
                <a:pos x="connsiteX49391" y="connsiteY49391"/>
              </a:cxn>
              <a:cxn ang="0">
                <a:pos x="connsiteX49392" y="connsiteY49392"/>
              </a:cxn>
              <a:cxn ang="0">
                <a:pos x="connsiteX49393" y="connsiteY49393"/>
              </a:cxn>
              <a:cxn ang="0">
                <a:pos x="connsiteX49394" y="connsiteY49394"/>
              </a:cxn>
              <a:cxn ang="0">
                <a:pos x="connsiteX49395" y="connsiteY49395"/>
              </a:cxn>
              <a:cxn ang="0">
                <a:pos x="connsiteX49396" y="connsiteY49396"/>
              </a:cxn>
              <a:cxn ang="0">
                <a:pos x="connsiteX49397" y="connsiteY49397"/>
              </a:cxn>
              <a:cxn ang="0">
                <a:pos x="connsiteX49398" y="connsiteY49398"/>
              </a:cxn>
              <a:cxn ang="0">
                <a:pos x="connsiteX49399" y="connsiteY49399"/>
              </a:cxn>
              <a:cxn ang="0">
                <a:pos x="connsiteX49400" y="connsiteY49400"/>
              </a:cxn>
              <a:cxn ang="0">
                <a:pos x="connsiteX49401" y="connsiteY49401"/>
              </a:cxn>
              <a:cxn ang="0">
                <a:pos x="connsiteX49402" y="connsiteY49402"/>
              </a:cxn>
              <a:cxn ang="0">
                <a:pos x="connsiteX49403" y="connsiteY49403"/>
              </a:cxn>
              <a:cxn ang="0">
                <a:pos x="connsiteX49404" y="connsiteY49404"/>
              </a:cxn>
              <a:cxn ang="0">
                <a:pos x="connsiteX49405" y="connsiteY49405"/>
              </a:cxn>
              <a:cxn ang="0">
                <a:pos x="connsiteX49406" y="connsiteY49406"/>
              </a:cxn>
              <a:cxn ang="0">
                <a:pos x="connsiteX49407" y="connsiteY49407"/>
              </a:cxn>
              <a:cxn ang="0">
                <a:pos x="connsiteX49408" y="connsiteY49408"/>
              </a:cxn>
              <a:cxn ang="0">
                <a:pos x="connsiteX49409" y="connsiteY49409"/>
              </a:cxn>
              <a:cxn ang="0">
                <a:pos x="connsiteX49410" y="connsiteY49410"/>
              </a:cxn>
              <a:cxn ang="0">
                <a:pos x="connsiteX49411" y="connsiteY49411"/>
              </a:cxn>
              <a:cxn ang="0">
                <a:pos x="connsiteX49412" y="connsiteY49412"/>
              </a:cxn>
              <a:cxn ang="0">
                <a:pos x="connsiteX49413" y="connsiteY49413"/>
              </a:cxn>
              <a:cxn ang="0">
                <a:pos x="connsiteX49414" y="connsiteY49414"/>
              </a:cxn>
              <a:cxn ang="0">
                <a:pos x="connsiteX49415" y="connsiteY49415"/>
              </a:cxn>
              <a:cxn ang="0">
                <a:pos x="connsiteX49416" y="connsiteY49416"/>
              </a:cxn>
              <a:cxn ang="0">
                <a:pos x="connsiteX49417" y="connsiteY49417"/>
              </a:cxn>
              <a:cxn ang="0">
                <a:pos x="connsiteX49418" y="connsiteY49418"/>
              </a:cxn>
              <a:cxn ang="0">
                <a:pos x="connsiteX49419" y="connsiteY49419"/>
              </a:cxn>
              <a:cxn ang="0">
                <a:pos x="connsiteX49420" y="connsiteY49420"/>
              </a:cxn>
              <a:cxn ang="0">
                <a:pos x="connsiteX49421" y="connsiteY49421"/>
              </a:cxn>
              <a:cxn ang="0">
                <a:pos x="connsiteX49422" y="connsiteY49422"/>
              </a:cxn>
              <a:cxn ang="0">
                <a:pos x="connsiteX49423" y="connsiteY49423"/>
              </a:cxn>
              <a:cxn ang="0">
                <a:pos x="connsiteX49424" y="connsiteY49424"/>
              </a:cxn>
              <a:cxn ang="0">
                <a:pos x="connsiteX49425" y="connsiteY49425"/>
              </a:cxn>
              <a:cxn ang="0">
                <a:pos x="connsiteX49426" y="connsiteY49426"/>
              </a:cxn>
              <a:cxn ang="0">
                <a:pos x="connsiteX49427" y="connsiteY49427"/>
              </a:cxn>
              <a:cxn ang="0">
                <a:pos x="connsiteX49428" y="connsiteY49428"/>
              </a:cxn>
              <a:cxn ang="0">
                <a:pos x="connsiteX49429" y="connsiteY49429"/>
              </a:cxn>
              <a:cxn ang="0">
                <a:pos x="connsiteX49430" y="connsiteY49430"/>
              </a:cxn>
              <a:cxn ang="0">
                <a:pos x="connsiteX49431" y="connsiteY49431"/>
              </a:cxn>
              <a:cxn ang="0">
                <a:pos x="connsiteX49432" y="connsiteY49432"/>
              </a:cxn>
              <a:cxn ang="0">
                <a:pos x="connsiteX49433" y="connsiteY49433"/>
              </a:cxn>
              <a:cxn ang="0">
                <a:pos x="connsiteX49434" y="connsiteY49434"/>
              </a:cxn>
              <a:cxn ang="0">
                <a:pos x="connsiteX49435" y="connsiteY49435"/>
              </a:cxn>
              <a:cxn ang="0">
                <a:pos x="connsiteX49436" y="connsiteY49436"/>
              </a:cxn>
              <a:cxn ang="0">
                <a:pos x="connsiteX49437" y="connsiteY49437"/>
              </a:cxn>
              <a:cxn ang="0">
                <a:pos x="connsiteX49438" y="connsiteY49438"/>
              </a:cxn>
              <a:cxn ang="0">
                <a:pos x="connsiteX49439" y="connsiteY49439"/>
              </a:cxn>
              <a:cxn ang="0">
                <a:pos x="connsiteX49440" y="connsiteY49440"/>
              </a:cxn>
              <a:cxn ang="0">
                <a:pos x="connsiteX49441" y="connsiteY49441"/>
              </a:cxn>
              <a:cxn ang="0">
                <a:pos x="connsiteX49442" y="connsiteY49442"/>
              </a:cxn>
              <a:cxn ang="0">
                <a:pos x="connsiteX49443" y="connsiteY49443"/>
              </a:cxn>
              <a:cxn ang="0">
                <a:pos x="connsiteX49444" y="connsiteY49444"/>
              </a:cxn>
              <a:cxn ang="0">
                <a:pos x="connsiteX49445" y="connsiteY49445"/>
              </a:cxn>
              <a:cxn ang="0">
                <a:pos x="connsiteX49446" y="connsiteY49446"/>
              </a:cxn>
              <a:cxn ang="0">
                <a:pos x="connsiteX49447" y="connsiteY49447"/>
              </a:cxn>
              <a:cxn ang="0">
                <a:pos x="connsiteX49448" y="connsiteY49448"/>
              </a:cxn>
              <a:cxn ang="0">
                <a:pos x="connsiteX49449" y="connsiteY49449"/>
              </a:cxn>
              <a:cxn ang="0">
                <a:pos x="connsiteX49450" y="connsiteY49450"/>
              </a:cxn>
              <a:cxn ang="0">
                <a:pos x="connsiteX49451" y="connsiteY49451"/>
              </a:cxn>
              <a:cxn ang="0">
                <a:pos x="connsiteX49452" y="connsiteY49452"/>
              </a:cxn>
              <a:cxn ang="0">
                <a:pos x="connsiteX49453" y="connsiteY49453"/>
              </a:cxn>
              <a:cxn ang="0">
                <a:pos x="connsiteX49454" y="connsiteY49454"/>
              </a:cxn>
              <a:cxn ang="0">
                <a:pos x="connsiteX49455" y="connsiteY49455"/>
              </a:cxn>
              <a:cxn ang="0">
                <a:pos x="connsiteX49456" y="connsiteY49456"/>
              </a:cxn>
              <a:cxn ang="0">
                <a:pos x="connsiteX49457" y="connsiteY49457"/>
              </a:cxn>
              <a:cxn ang="0">
                <a:pos x="connsiteX49458" y="connsiteY49458"/>
              </a:cxn>
              <a:cxn ang="0">
                <a:pos x="connsiteX49459" y="connsiteY49459"/>
              </a:cxn>
              <a:cxn ang="0">
                <a:pos x="connsiteX49460" y="connsiteY49460"/>
              </a:cxn>
              <a:cxn ang="0">
                <a:pos x="connsiteX49461" y="connsiteY49461"/>
              </a:cxn>
              <a:cxn ang="0">
                <a:pos x="connsiteX49462" y="connsiteY49462"/>
              </a:cxn>
              <a:cxn ang="0">
                <a:pos x="connsiteX49463" y="connsiteY49463"/>
              </a:cxn>
              <a:cxn ang="0">
                <a:pos x="connsiteX49464" y="connsiteY49464"/>
              </a:cxn>
              <a:cxn ang="0">
                <a:pos x="connsiteX49465" y="connsiteY49465"/>
              </a:cxn>
              <a:cxn ang="0">
                <a:pos x="connsiteX49466" y="connsiteY49466"/>
              </a:cxn>
              <a:cxn ang="0">
                <a:pos x="connsiteX49467" y="connsiteY49467"/>
              </a:cxn>
              <a:cxn ang="0">
                <a:pos x="connsiteX49468" y="connsiteY49468"/>
              </a:cxn>
              <a:cxn ang="0">
                <a:pos x="connsiteX49469" y="connsiteY49469"/>
              </a:cxn>
              <a:cxn ang="0">
                <a:pos x="connsiteX49470" y="connsiteY49470"/>
              </a:cxn>
              <a:cxn ang="0">
                <a:pos x="connsiteX49471" y="connsiteY49471"/>
              </a:cxn>
              <a:cxn ang="0">
                <a:pos x="connsiteX49472" y="connsiteY49472"/>
              </a:cxn>
              <a:cxn ang="0">
                <a:pos x="connsiteX49473" y="connsiteY49473"/>
              </a:cxn>
              <a:cxn ang="0">
                <a:pos x="connsiteX49474" y="connsiteY49474"/>
              </a:cxn>
              <a:cxn ang="0">
                <a:pos x="connsiteX49475" y="connsiteY49475"/>
              </a:cxn>
              <a:cxn ang="0">
                <a:pos x="connsiteX49476" y="connsiteY49476"/>
              </a:cxn>
              <a:cxn ang="0">
                <a:pos x="connsiteX49477" y="connsiteY49477"/>
              </a:cxn>
              <a:cxn ang="0">
                <a:pos x="connsiteX49478" y="connsiteY49478"/>
              </a:cxn>
              <a:cxn ang="0">
                <a:pos x="connsiteX49479" y="connsiteY49479"/>
              </a:cxn>
              <a:cxn ang="0">
                <a:pos x="connsiteX49480" y="connsiteY49480"/>
              </a:cxn>
              <a:cxn ang="0">
                <a:pos x="connsiteX49481" y="connsiteY49481"/>
              </a:cxn>
              <a:cxn ang="0">
                <a:pos x="connsiteX49482" y="connsiteY49482"/>
              </a:cxn>
              <a:cxn ang="0">
                <a:pos x="connsiteX49483" y="connsiteY49483"/>
              </a:cxn>
              <a:cxn ang="0">
                <a:pos x="connsiteX49484" y="connsiteY49484"/>
              </a:cxn>
              <a:cxn ang="0">
                <a:pos x="connsiteX49485" y="connsiteY49485"/>
              </a:cxn>
              <a:cxn ang="0">
                <a:pos x="connsiteX49486" y="connsiteY49486"/>
              </a:cxn>
              <a:cxn ang="0">
                <a:pos x="connsiteX49487" y="connsiteY49487"/>
              </a:cxn>
              <a:cxn ang="0">
                <a:pos x="connsiteX49488" y="connsiteY49488"/>
              </a:cxn>
              <a:cxn ang="0">
                <a:pos x="connsiteX49489" y="connsiteY49489"/>
              </a:cxn>
              <a:cxn ang="0">
                <a:pos x="connsiteX49490" y="connsiteY49490"/>
              </a:cxn>
              <a:cxn ang="0">
                <a:pos x="connsiteX49491" y="connsiteY49491"/>
              </a:cxn>
              <a:cxn ang="0">
                <a:pos x="connsiteX49492" y="connsiteY49492"/>
              </a:cxn>
              <a:cxn ang="0">
                <a:pos x="connsiteX49493" y="connsiteY49493"/>
              </a:cxn>
              <a:cxn ang="0">
                <a:pos x="connsiteX49494" y="connsiteY49494"/>
              </a:cxn>
              <a:cxn ang="0">
                <a:pos x="connsiteX49495" y="connsiteY49495"/>
              </a:cxn>
              <a:cxn ang="0">
                <a:pos x="connsiteX49496" y="connsiteY49496"/>
              </a:cxn>
              <a:cxn ang="0">
                <a:pos x="connsiteX49497" y="connsiteY49497"/>
              </a:cxn>
              <a:cxn ang="0">
                <a:pos x="connsiteX49498" y="connsiteY49498"/>
              </a:cxn>
              <a:cxn ang="0">
                <a:pos x="connsiteX49499" y="connsiteY49499"/>
              </a:cxn>
              <a:cxn ang="0">
                <a:pos x="connsiteX49500" y="connsiteY49500"/>
              </a:cxn>
              <a:cxn ang="0">
                <a:pos x="connsiteX49501" y="connsiteY49501"/>
              </a:cxn>
              <a:cxn ang="0">
                <a:pos x="connsiteX49502" y="connsiteY49502"/>
              </a:cxn>
              <a:cxn ang="0">
                <a:pos x="connsiteX49503" y="connsiteY49503"/>
              </a:cxn>
              <a:cxn ang="0">
                <a:pos x="connsiteX49504" y="connsiteY49504"/>
              </a:cxn>
              <a:cxn ang="0">
                <a:pos x="connsiteX49505" y="connsiteY49505"/>
              </a:cxn>
              <a:cxn ang="0">
                <a:pos x="connsiteX49506" y="connsiteY49506"/>
              </a:cxn>
              <a:cxn ang="0">
                <a:pos x="connsiteX49507" y="connsiteY49507"/>
              </a:cxn>
              <a:cxn ang="0">
                <a:pos x="connsiteX49508" y="connsiteY49508"/>
              </a:cxn>
              <a:cxn ang="0">
                <a:pos x="connsiteX49509" y="connsiteY49509"/>
              </a:cxn>
              <a:cxn ang="0">
                <a:pos x="connsiteX49510" y="connsiteY49510"/>
              </a:cxn>
              <a:cxn ang="0">
                <a:pos x="connsiteX49511" y="connsiteY49511"/>
              </a:cxn>
              <a:cxn ang="0">
                <a:pos x="connsiteX49512" y="connsiteY49512"/>
              </a:cxn>
              <a:cxn ang="0">
                <a:pos x="connsiteX49513" y="connsiteY49513"/>
              </a:cxn>
              <a:cxn ang="0">
                <a:pos x="connsiteX49514" y="connsiteY49514"/>
              </a:cxn>
              <a:cxn ang="0">
                <a:pos x="connsiteX49515" y="connsiteY49515"/>
              </a:cxn>
              <a:cxn ang="0">
                <a:pos x="connsiteX49516" y="connsiteY49516"/>
              </a:cxn>
              <a:cxn ang="0">
                <a:pos x="connsiteX49517" y="connsiteY49517"/>
              </a:cxn>
              <a:cxn ang="0">
                <a:pos x="connsiteX49518" y="connsiteY49518"/>
              </a:cxn>
              <a:cxn ang="0">
                <a:pos x="connsiteX49519" y="connsiteY49519"/>
              </a:cxn>
              <a:cxn ang="0">
                <a:pos x="connsiteX49520" y="connsiteY49520"/>
              </a:cxn>
              <a:cxn ang="0">
                <a:pos x="connsiteX49521" y="connsiteY49521"/>
              </a:cxn>
              <a:cxn ang="0">
                <a:pos x="connsiteX49522" y="connsiteY49522"/>
              </a:cxn>
              <a:cxn ang="0">
                <a:pos x="connsiteX49523" y="connsiteY49523"/>
              </a:cxn>
              <a:cxn ang="0">
                <a:pos x="connsiteX49524" y="connsiteY49524"/>
              </a:cxn>
              <a:cxn ang="0">
                <a:pos x="connsiteX49525" y="connsiteY49525"/>
              </a:cxn>
              <a:cxn ang="0">
                <a:pos x="connsiteX49526" y="connsiteY49526"/>
              </a:cxn>
              <a:cxn ang="0">
                <a:pos x="connsiteX49527" y="connsiteY49527"/>
              </a:cxn>
              <a:cxn ang="0">
                <a:pos x="connsiteX49528" y="connsiteY49528"/>
              </a:cxn>
              <a:cxn ang="0">
                <a:pos x="connsiteX49529" y="connsiteY49529"/>
              </a:cxn>
              <a:cxn ang="0">
                <a:pos x="connsiteX49530" y="connsiteY49530"/>
              </a:cxn>
              <a:cxn ang="0">
                <a:pos x="connsiteX49531" y="connsiteY49531"/>
              </a:cxn>
              <a:cxn ang="0">
                <a:pos x="connsiteX49532" y="connsiteY49532"/>
              </a:cxn>
              <a:cxn ang="0">
                <a:pos x="connsiteX49533" y="connsiteY49533"/>
              </a:cxn>
              <a:cxn ang="0">
                <a:pos x="connsiteX49534" y="connsiteY49534"/>
              </a:cxn>
              <a:cxn ang="0">
                <a:pos x="connsiteX49535" y="connsiteY49535"/>
              </a:cxn>
              <a:cxn ang="0">
                <a:pos x="connsiteX49536" y="connsiteY49536"/>
              </a:cxn>
              <a:cxn ang="0">
                <a:pos x="connsiteX49537" y="connsiteY49537"/>
              </a:cxn>
              <a:cxn ang="0">
                <a:pos x="connsiteX49538" y="connsiteY49538"/>
              </a:cxn>
              <a:cxn ang="0">
                <a:pos x="connsiteX49539" y="connsiteY49539"/>
              </a:cxn>
              <a:cxn ang="0">
                <a:pos x="connsiteX49540" y="connsiteY49540"/>
              </a:cxn>
              <a:cxn ang="0">
                <a:pos x="connsiteX49541" y="connsiteY49541"/>
              </a:cxn>
              <a:cxn ang="0">
                <a:pos x="connsiteX49542" y="connsiteY49542"/>
              </a:cxn>
              <a:cxn ang="0">
                <a:pos x="connsiteX49543" y="connsiteY49543"/>
              </a:cxn>
              <a:cxn ang="0">
                <a:pos x="connsiteX49544" y="connsiteY49544"/>
              </a:cxn>
              <a:cxn ang="0">
                <a:pos x="connsiteX49545" y="connsiteY49545"/>
              </a:cxn>
              <a:cxn ang="0">
                <a:pos x="connsiteX49546" y="connsiteY49546"/>
              </a:cxn>
              <a:cxn ang="0">
                <a:pos x="connsiteX49547" y="connsiteY49547"/>
              </a:cxn>
              <a:cxn ang="0">
                <a:pos x="connsiteX49548" y="connsiteY49548"/>
              </a:cxn>
              <a:cxn ang="0">
                <a:pos x="connsiteX49549" y="connsiteY49549"/>
              </a:cxn>
              <a:cxn ang="0">
                <a:pos x="connsiteX49550" y="connsiteY49550"/>
              </a:cxn>
              <a:cxn ang="0">
                <a:pos x="connsiteX49551" y="connsiteY49551"/>
              </a:cxn>
              <a:cxn ang="0">
                <a:pos x="connsiteX49552" y="connsiteY49552"/>
              </a:cxn>
              <a:cxn ang="0">
                <a:pos x="connsiteX49553" y="connsiteY49553"/>
              </a:cxn>
              <a:cxn ang="0">
                <a:pos x="connsiteX49554" y="connsiteY49554"/>
              </a:cxn>
              <a:cxn ang="0">
                <a:pos x="connsiteX49555" y="connsiteY49555"/>
              </a:cxn>
              <a:cxn ang="0">
                <a:pos x="connsiteX49556" y="connsiteY49556"/>
              </a:cxn>
              <a:cxn ang="0">
                <a:pos x="connsiteX49557" y="connsiteY49557"/>
              </a:cxn>
              <a:cxn ang="0">
                <a:pos x="connsiteX49558" y="connsiteY49558"/>
              </a:cxn>
              <a:cxn ang="0">
                <a:pos x="connsiteX49559" y="connsiteY49559"/>
              </a:cxn>
              <a:cxn ang="0">
                <a:pos x="connsiteX49560" y="connsiteY49560"/>
              </a:cxn>
              <a:cxn ang="0">
                <a:pos x="connsiteX49561" y="connsiteY49561"/>
              </a:cxn>
              <a:cxn ang="0">
                <a:pos x="connsiteX49562" y="connsiteY49562"/>
              </a:cxn>
              <a:cxn ang="0">
                <a:pos x="connsiteX49563" y="connsiteY49563"/>
              </a:cxn>
              <a:cxn ang="0">
                <a:pos x="connsiteX49564" y="connsiteY49564"/>
              </a:cxn>
              <a:cxn ang="0">
                <a:pos x="connsiteX49565" y="connsiteY49565"/>
              </a:cxn>
              <a:cxn ang="0">
                <a:pos x="connsiteX49566" y="connsiteY49566"/>
              </a:cxn>
              <a:cxn ang="0">
                <a:pos x="connsiteX49567" y="connsiteY49567"/>
              </a:cxn>
              <a:cxn ang="0">
                <a:pos x="connsiteX49568" y="connsiteY49568"/>
              </a:cxn>
              <a:cxn ang="0">
                <a:pos x="connsiteX49569" y="connsiteY49569"/>
              </a:cxn>
              <a:cxn ang="0">
                <a:pos x="connsiteX49570" y="connsiteY49570"/>
              </a:cxn>
              <a:cxn ang="0">
                <a:pos x="connsiteX49571" y="connsiteY49571"/>
              </a:cxn>
              <a:cxn ang="0">
                <a:pos x="connsiteX49572" y="connsiteY49572"/>
              </a:cxn>
              <a:cxn ang="0">
                <a:pos x="connsiteX49573" y="connsiteY49573"/>
              </a:cxn>
              <a:cxn ang="0">
                <a:pos x="connsiteX49574" y="connsiteY49574"/>
              </a:cxn>
              <a:cxn ang="0">
                <a:pos x="connsiteX49575" y="connsiteY49575"/>
              </a:cxn>
              <a:cxn ang="0">
                <a:pos x="connsiteX49576" y="connsiteY49576"/>
              </a:cxn>
              <a:cxn ang="0">
                <a:pos x="connsiteX49577" y="connsiteY49577"/>
              </a:cxn>
              <a:cxn ang="0">
                <a:pos x="connsiteX49578" y="connsiteY49578"/>
              </a:cxn>
              <a:cxn ang="0">
                <a:pos x="connsiteX49579" y="connsiteY49579"/>
              </a:cxn>
              <a:cxn ang="0">
                <a:pos x="connsiteX49580" y="connsiteY49580"/>
              </a:cxn>
              <a:cxn ang="0">
                <a:pos x="connsiteX49581" y="connsiteY49581"/>
              </a:cxn>
              <a:cxn ang="0">
                <a:pos x="connsiteX49582" y="connsiteY49582"/>
              </a:cxn>
              <a:cxn ang="0">
                <a:pos x="connsiteX49583" y="connsiteY49583"/>
              </a:cxn>
              <a:cxn ang="0">
                <a:pos x="connsiteX49584" y="connsiteY49584"/>
              </a:cxn>
              <a:cxn ang="0">
                <a:pos x="connsiteX49585" y="connsiteY49585"/>
              </a:cxn>
              <a:cxn ang="0">
                <a:pos x="connsiteX49586" y="connsiteY49586"/>
              </a:cxn>
              <a:cxn ang="0">
                <a:pos x="connsiteX49587" y="connsiteY49587"/>
              </a:cxn>
              <a:cxn ang="0">
                <a:pos x="connsiteX49588" y="connsiteY49588"/>
              </a:cxn>
              <a:cxn ang="0">
                <a:pos x="connsiteX49589" y="connsiteY49589"/>
              </a:cxn>
              <a:cxn ang="0">
                <a:pos x="connsiteX49590" y="connsiteY49590"/>
              </a:cxn>
              <a:cxn ang="0">
                <a:pos x="connsiteX49591" y="connsiteY49591"/>
              </a:cxn>
              <a:cxn ang="0">
                <a:pos x="connsiteX49592" y="connsiteY49592"/>
              </a:cxn>
              <a:cxn ang="0">
                <a:pos x="connsiteX49593" y="connsiteY49593"/>
              </a:cxn>
              <a:cxn ang="0">
                <a:pos x="connsiteX49594" y="connsiteY49594"/>
              </a:cxn>
              <a:cxn ang="0">
                <a:pos x="connsiteX49595" y="connsiteY49595"/>
              </a:cxn>
              <a:cxn ang="0">
                <a:pos x="connsiteX49596" y="connsiteY49596"/>
              </a:cxn>
              <a:cxn ang="0">
                <a:pos x="connsiteX49597" y="connsiteY49597"/>
              </a:cxn>
              <a:cxn ang="0">
                <a:pos x="connsiteX49598" y="connsiteY49598"/>
              </a:cxn>
              <a:cxn ang="0">
                <a:pos x="connsiteX49599" y="connsiteY49599"/>
              </a:cxn>
              <a:cxn ang="0">
                <a:pos x="connsiteX49600" y="connsiteY49600"/>
              </a:cxn>
              <a:cxn ang="0">
                <a:pos x="connsiteX49601" y="connsiteY49601"/>
              </a:cxn>
              <a:cxn ang="0">
                <a:pos x="connsiteX49602" y="connsiteY49602"/>
              </a:cxn>
              <a:cxn ang="0">
                <a:pos x="connsiteX49603" y="connsiteY49603"/>
              </a:cxn>
              <a:cxn ang="0">
                <a:pos x="connsiteX49604" y="connsiteY49604"/>
              </a:cxn>
              <a:cxn ang="0">
                <a:pos x="connsiteX49605" y="connsiteY49605"/>
              </a:cxn>
              <a:cxn ang="0">
                <a:pos x="connsiteX49606" y="connsiteY49606"/>
              </a:cxn>
              <a:cxn ang="0">
                <a:pos x="connsiteX49607" y="connsiteY49607"/>
              </a:cxn>
              <a:cxn ang="0">
                <a:pos x="connsiteX49608" y="connsiteY49608"/>
              </a:cxn>
              <a:cxn ang="0">
                <a:pos x="connsiteX49609" y="connsiteY49609"/>
              </a:cxn>
              <a:cxn ang="0">
                <a:pos x="connsiteX49610" y="connsiteY49610"/>
              </a:cxn>
              <a:cxn ang="0">
                <a:pos x="connsiteX49611" y="connsiteY49611"/>
              </a:cxn>
              <a:cxn ang="0">
                <a:pos x="connsiteX49612" y="connsiteY49612"/>
              </a:cxn>
              <a:cxn ang="0">
                <a:pos x="connsiteX49613" y="connsiteY49613"/>
              </a:cxn>
              <a:cxn ang="0">
                <a:pos x="connsiteX49614" y="connsiteY49614"/>
              </a:cxn>
              <a:cxn ang="0">
                <a:pos x="connsiteX49615" y="connsiteY49615"/>
              </a:cxn>
              <a:cxn ang="0">
                <a:pos x="connsiteX49616" y="connsiteY49616"/>
              </a:cxn>
              <a:cxn ang="0">
                <a:pos x="connsiteX49617" y="connsiteY49617"/>
              </a:cxn>
              <a:cxn ang="0">
                <a:pos x="connsiteX49618" y="connsiteY49618"/>
              </a:cxn>
              <a:cxn ang="0">
                <a:pos x="connsiteX49619" y="connsiteY49619"/>
              </a:cxn>
              <a:cxn ang="0">
                <a:pos x="connsiteX49620" y="connsiteY49620"/>
              </a:cxn>
              <a:cxn ang="0">
                <a:pos x="connsiteX49621" y="connsiteY49621"/>
              </a:cxn>
              <a:cxn ang="0">
                <a:pos x="connsiteX49622" y="connsiteY49622"/>
              </a:cxn>
              <a:cxn ang="0">
                <a:pos x="connsiteX49623" y="connsiteY49623"/>
              </a:cxn>
              <a:cxn ang="0">
                <a:pos x="connsiteX49624" y="connsiteY49624"/>
              </a:cxn>
              <a:cxn ang="0">
                <a:pos x="connsiteX49625" y="connsiteY49625"/>
              </a:cxn>
              <a:cxn ang="0">
                <a:pos x="connsiteX49626" y="connsiteY49626"/>
              </a:cxn>
              <a:cxn ang="0">
                <a:pos x="connsiteX49627" y="connsiteY49627"/>
              </a:cxn>
              <a:cxn ang="0">
                <a:pos x="connsiteX49628" y="connsiteY49628"/>
              </a:cxn>
              <a:cxn ang="0">
                <a:pos x="connsiteX49629" y="connsiteY49629"/>
              </a:cxn>
              <a:cxn ang="0">
                <a:pos x="connsiteX49630" y="connsiteY49630"/>
              </a:cxn>
              <a:cxn ang="0">
                <a:pos x="connsiteX49631" y="connsiteY49631"/>
              </a:cxn>
              <a:cxn ang="0">
                <a:pos x="connsiteX49632" y="connsiteY49632"/>
              </a:cxn>
              <a:cxn ang="0">
                <a:pos x="connsiteX49633" y="connsiteY49633"/>
              </a:cxn>
              <a:cxn ang="0">
                <a:pos x="connsiteX49634" y="connsiteY49634"/>
              </a:cxn>
              <a:cxn ang="0">
                <a:pos x="connsiteX49635" y="connsiteY49635"/>
              </a:cxn>
              <a:cxn ang="0">
                <a:pos x="connsiteX49636" y="connsiteY49636"/>
              </a:cxn>
              <a:cxn ang="0">
                <a:pos x="connsiteX49637" y="connsiteY49637"/>
              </a:cxn>
              <a:cxn ang="0">
                <a:pos x="connsiteX49638" y="connsiteY49638"/>
              </a:cxn>
              <a:cxn ang="0">
                <a:pos x="connsiteX49639" y="connsiteY49639"/>
              </a:cxn>
              <a:cxn ang="0">
                <a:pos x="connsiteX49640" y="connsiteY49640"/>
              </a:cxn>
              <a:cxn ang="0">
                <a:pos x="connsiteX49641" y="connsiteY49641"/>
              </a:cxn>
              <a:cxn ang="0">
                <a:pos x="connsiteX49642" y="connsiteY49642"/>
              </a:cxn>
              <a:cxn ang="0">
                <a:pos x="connsiteX49643" y="connsiteY49643"/>
              </a:cxn>
              <a:cxn ang="0">
                <a:pos x="connsiteX49644" y="connsiteY49644"/>
              </a:cxn>
            </a:cxnLst>
            <a:rect l="l" t="t" r="r" b="b"/>
            <a:pathLst>
              <a:path w="4610101" h="6557032">
                <a:moveTo>
                  <a:pt x="1206279" y="6465923"/>
                </a:moveTo>
                <a:cubicBezTo>
                  <a:pt x="1226323" y="6475034"/>
                  <a:pt x="1209923" y="6475034"/>
                  <a:pt x="1228145" y="6467746"/>
                </a:cubicBezTo>
                <a:lnTo>
                  <a:pt x="1244545" y="6482323"/>
                </a:lnTo>
                <a:lnTo>
                  <a:pt x="1235434" y="6495078"/>
                </a:lnTo>
                <a:lnTo>
                  <a:pt x="1251833" y="6526055"/>
                </a:lnTo>
                <a:cubicBezTo>
                  <a:pt x="1235434" y="6538810"/>
                  <a:pt x="1242722" y="6527877"/>
                  <a:pt x="1237256" y="6547921"/>
                </a:cubicBezTo>
                <a:lnTo>
                  <a:pt x="1222679" y="6557032"/>
                </a:lnTo>
                <a:cubicBezTo>
                  <a:pt x="1202636" y="6547921"/>
                  <a:pt x="1219034" y="6549743"/>
                  <a:pt x="1200814" y="6555210"/>
                </a:cubicBezTo>
                <a:lnTo>
                  <a:pt x="1177124" y="6533343"/>
                </a:lnTo>
                <a:cubicBezTo>
                  <a:pt x="1186235" y="6518766"/>
                  <a:pt x="1191703" y="6518766"/>
                  <a:pt x="1191703" y="6502367"/>
                </a:cubicBezTo>
                <a:lnTo>
                  <a:pt x="1191703" y="6495078"/>
                </a:lnTo>
                <a:lnTo>
                  <a:pt x="1193525" y="6482323"/>
                </a:lnTo>
                <a:close/>
                <a:moveTo>
                  <a:pt x="2674951" y="6438590"/>
                </a:moveTo>
                <a:lnTo>
                  <a:pt x="2684062" y="6467745"/>
                </a:lnTo>
                <a:lnTo>
                  <a:pt x="2676773" y="6506010"/>
                </a:lnTo>
                <a:cubicBezTo>
                  <a:pt x="2658551" y="6516943"/>
                  <a:pt x="2667662" y="6515121"/>
                  <a:pt x="2645796" y="6520588"/>
                </a:cubicBezTo>
                <a:cubicBezTo>
                  <a:pt x="2638508" y="6489611"/>
                  <a:pt x="2643974" y="6496899"/>
                  <a:pt x="2623930" y="6489611"/>
                </a:cubicBezTo>
                <a:cubicBezTo>
                  <a:pt x="2633041" y="6471389"/>
                  <a:pt x="2631219" y="6487789"/>
                  <a:pt x="2623930" y="6467745"/>
                </a:cubicBezTo>
                <a:cubicBezTo>
                  <a:pt x="2651263" y="6449523"/>
                  <a:pt x="2640330" y="6440413"/>
                  <a:pt x="2674951" y="6438590"/>
                </a:cubicBezTo>
                <a:close/>
                <a:moveTo>
                  <a:pt x="2556511" y="6391214"/>
                </a:moveTo>
                <a:cubicBezTo>
                  <a:pt x="2541934" y="6427658"/>
                  <a:pt x="2567444" y="6389392"/>
                  <a:pt x="2549222" y="6422191"/>
                </a:cubicBezTo>
                <a:lnTo>
                  <a:pt x="2525534" y="6398503"/>
                </a:lnTo>
                <a:close/>
                <a:moveTo>
                  <a:pt x="2436248" y="6383925"/>
                </a:moveTo>
                <a:cubicBezTo>
                  <a:pt x="2447181" y="6393036"/>
                  <a:pt x="2458114" y="6394858"/>
                  <a:pt x="2459936" y="6414902"/>
                </a:cubicBezTo>
                <a:lnTo>
                  <a:pt x="2459936" y="6422191"/>
                </a:lnTo>
                <a:cubicBezTo>
                  <a:pt x="2459936" y="6444057"/>
                  <a:pt x="2450825" y="6442234"/>
                  <a:pt x="2428959" y="6444057"/>
                </a:cubicBezTo>
                <a:cubicBezTo>
                  <a:pt x="2427137" y="6436768"/>
                  <a:pt x="2421670" y="6424013"/>
                  <a:pt x="2421670" y="6422191"/>
                </a:cubicBezTo>
                <a:cubicBezTo>
                  <a:pt x="2421670" y="6409436"/>
                  <a:pt x="2430781" y="6393036"/>
                  <a:pt x="2436248" y="6383925"/>
                </a:cubicBezTo>
                <a:close/>
                <a:moveTo>
                  <a:pt x="1869551" y="6331082"/>
                </a:moveTo>
                <a:lnTo>
                  <a:pt x="1867729" y="6347482"/>
                </a:lnTo>
                <a:lnTo>
                  <a:pt x="1853151" y="6332904"/>
                </a:lnTo>
                <a:close/>
                <a:moveTo>
                  <a:pt x="1166191" y="6329260"/>
                </a:moveTo>
                <a:lnTo>
                  <a:pt x="1160725" y="6362059"/>
                </a:lnTo>
                <a:lnTo>
                  <a:pt x="1144325" y="6352948"/>
                </a:lnTo>
                <a:close/>
                <a:moveTo>
                  <a:pt x="2208475" y="6301927"/>
                </a:moveTo>
                <a:cubicBezTo>
                  <a:pt x="2230341" y="6307394"/>
                  <a:pt x="2221231" y="6300105"/>
                  <a:pt x="2230341" y="6316504"/>
                </a:cubicBezTo>
                <a:cubicBezTo>
                  <a:pt x="2208475" y="6311038"/>
                  <a:pt x="2219408" y="6318327"/>
                  <a:pt x="2208475" y="6301927"/>
                </a:cubicBezTo>
                <a:close/>
                <a:moveTo>
                  <a:pt x="1002195" y="6301927"/>
                </a:moveTo>
                <a:cubicBezTo>
                  <a:pt x="1020417" y="6301927"/>
                  <a:pt x="1020417" y="6307394"/>
                  <a:pt x="1033173" y="6316504"/>
                </a:cubicBezTo>
                <a:cubicBezTo>
                  <a:pt x="1016774" y="6352948"/>
                  <a:pt x="1034995" y="6312860"/>
                  <a:pt x="1033173" y="6340193"/>
                </a:cubicBezTo>
                <a:lnTo>
                  <a:pt x="1011306" y="6362059"/>
                </a:lnTo>
                <a:cubicBezTo>
                  <a:pt x="991263" y="6354770"/>
                  <a:pt x="980330" y="6367526"/>
                  <a:pt x="980330" y="6340193"/>
                </a:cubicBezTo>
                <a:lnTo>
                  <a:pt x="980330" y="6332904"/>
                </a:lnTo>
                <a:cubicBezTo>
                  <a:pt x="980330" y="6318327"/>
                  <a:pt x="993084" y="6301927"/>
                  <a:pt x="1002195" y="6301927"/>
                </a:cubicBezTo>
                <a:close/>
                <a:moveTo>
                  <a:pt x="1747465" y="6292816"/>
                </a:moveTo>
                <a:lnTo>
                  <a:pt x="1749287" y="6309216"/>
                </a:lnTo>
                <a:lnTo>
                  <a:pt x="1732887" y="6307393"/>
                </a:lnTo>
                <a:close/>
                <a:moveTo>
                  <a:pt x="2479980" y="6287349"/>
                </a:moveTo>
                <a:lnTo>
                  <a:pt x="2496379" y="6301927"/>
                </a:lnTo>
                <a:cubicBezTo>
                  <a:pt x="2485446" y="6327437"/>
                  <a:pt x="2500023" y="6334726"/>
                  <a:pt x="2489091" y="6354770"/>
                </a:cubicBezTo>
                <a:cubicBezTo>
                  <a:pt x="2469047" y="6363881"/>
                  <a:pt x="2487268" y="6352948"/>
                  <a:pt x="2467224" y="6360236"/>
                </a:cubicBezTo>
                <a:lnTo>
                  <a:pt x="2443536" y="6338370"/>
                </a:lnTo>
                <a:cubicBezTo>
                  <a:pt x="2452647" y="6320149"/>
                  <a:pt x="2450825" y="6336548"/>
                  <a:pt x="2443536" y="6316504"/>
                </a:cubicBezTo>
                <a:cubicBezTo>
                  <a:pt x="2469047" y="6278238"/>
                  <a:pt x="2447181" y="6300105"/>
                  <a:pt x="2479980" y="6287349"/>
                </a:cubicBezTo>
                <a:close/>
                <a:moveTo>
                  <a:pt x="2654907" y="6254551"/>
                </a:moveTo>
                <a:lnTo>
                  <a:pt x="2669485" y="6270951"/>
                </a:lnTo>
                <a:lnTo>
                  <a:pt x="2654907" y="6280062"/>
                </a:lnTo>
                <a:close/>
                <a:moveTo>
                  <a:pt x="2895435" y="6250906"/>
                </a:moveTo>
                <a:lnTo>
                  <a:pt x="2919123" y="6254551"/>
                </a:lnTo>
                <a:lnTo>
                  <a:pt x="2919123" y="6292817"/>
                </a:lnTo>
                <a:cubicBezTo>
                  <a:pt x="2919123" y="6307394"/>
                  <a:pt x="2906368" y="6323793"/>
                  <a:pt x="2897257" y="6323793"/>
                </a:cubicBezTo>
                <a:cubicBezTo>
                  <a:pt x="2880858" y="6323793"/>
                  <a:pt x="2880858" y="6318327"/>
                  <a:pt x="2866281" y="6309216"/>
                </a:cubicBezTo>
                <a:lnTo>
                  <a:pt x="2873569" y="6294639"/>
                </a:lnTo>
                <a:cubicBezTo>
                  <a:pt x="2864458" y="6294639"/>
                  <a:pt x="2866281" y="6298283"/>
                  <a:pt x="2866281" y="6287350"/>
                </a:cubicBezTo>
                <a:cubicBezTo>
                  <a:pt x="2866281" y="6256373"/>
                  <a:pt x="2864458" y="6283706"/>
                  <a:pt x="2873569" y="6270950"/>
                </a:cubicBezTo>
                <a:lnTo>
                  <a:pt x="2864458" y="6256373"/>
                </a:lnTo>
                <a:close/>
                <a:moveTo>
                  <a:pt x="949353" y="6249084"/>
                </a:moveTo>
                <a:lnTo>
                  <a:pt x="965752" y="6249084"/>
                </a:lnTo>
                <a:lnTo>
                  <a:pt x="973041" y="6278239"/>
                </a:lnTo>
                <a:lnTo>
                  <a:pt x="985796" y="6287349"/>
                </a:lnTo>
                <a:cubicBezTo>
                  <a:pt x="974863" y="6309216"/>
                  <a:pt x="969397" y="6320149"/>
                  <a:pt x="954819" y="6342015"/>
                </a:cubicBezTo>
                <a:lnTo>
                  <a:pt x="918376" y="6309216"/>
                </a:lnTo>
                <a:lnTo>
                  <a:pt x="925666" y="6294639"/>
                </a:lnTo>
                <a:lnTo>
                  <a:pt x="911087" y="6294639"/>
                </a:lnTo>
                <a:cubicBezTo>
                  <a:pt x="918376" y="6281883"/>
                  <a:pt x="934775" y="6249084"/>
                  <a:pt x="949353" y="6249084"/>
                </a:cubicBezTo>
                <a:close/>
                <a:moveTo>
                  <a:pt x="1007663" y="6232685"/>
                </a:moveTo>
                <a:lnTo>
                  <a:pt x="1016774" y="6247263"/>
                </a:lnTo>
                <a:lnTo>
                  <a:pt x="1004018" y="6254552"/>
                </a:lnTo>
                <a:lnTo>
                  <a:pt x="993085" y="6247263"/>
                </a:lnTo>
                <a:close/>
                <a:moveTo>
                  <a:pt x="2057235" y="6232684"/>
                </a:moveTo>
                <a:lnTo>
                  <a:pt x="2088211" y="6239973"/>
                </a:lnTo>
                <a:lnTo>
                  <a:pt x="2084568" y="6254551"/>
                </a:lnTo>
                <a:lnTo>
                  <a:pt x="2088211" y="6278240"/>
                </a:lnTo>
                <a:cubicBezTo>
                  <a:pt x="2124654" y="6280062"/>
                  <a:pt x="2119188" y="6296461"/>
                  <a:pt x="2111899" y="6314683"/>
                </a:cubicBezTo>
                <a:lnTo>
                  <a:pt x="2124654" y="6323794"/>
                </a:lnTo>
                <a:lnTo>
                  <a:pt x="2131943" y="6343838"/>
                </a:lnTo>
                <a:cubicBezTo>
                  <a:pt x="2124654" y="6363882"/>
                  <a:pt x="2124654" y="6347483"/>
                  <a:pt x="2128299" y="6365704"/>
                </a:cubicBezTo>
                <a:lnTo>
                  <a:pt x="2122832" y="6387570"/>
                </a:lnTo>
                <a:lnTo>
                  <a:pt x="2110077" y="6403970"/>
                </a:lnTo>
                <a:cubicBezTo>
                  <a:pt x="2091855" y="6394859"/>
                  <a:pt x="2108255" y="6396681"/>
                  <a:pt x="2088211" y="6403970"/>
                </a:cubicBezTo>
                <a:cubicBezTo>
                  <a:pt x="2079100" y="6387570"/>
                  <a:pt x="2066346" y="6383926"/>
                  <a:pt x="2066346" y="6365704"/>
                </a:cubicBezTo>
                <a:lnTo>
                  <a:pt x="2066346" y="6358416"/>
                </a:lnTo>
                <a:cubicBezTo>
                  <a:pt x="2066346" y="6329261"/>
                  <a:pt x="2064524" y="6356593"/>
                  <a:pt x="2073634" y="6343838"/>
                </a:cubicBezTo>
                <a:lnTo>
                  <a:pt x="2066346" y="6329261"/>
                </a:lnTo>
                <a:cubicBezTo>
                  <a:pt x="2071811" y="6325616"/>
                  <a:pt x="2088211" y="6318328"/>
                  <a:pt x="2088211" y="6307394"/>
                </a:cubicBezTo>
                <a:cubicBezTo>
                  <a:pt x="2088211" y="6278240"/>
                  <a:pt x="2090033" y="6305572"/>
                  <a:pt x="2080922" y="6285529"/>
                </a:cubicBezTo>
                <a:lnTo>
                  <a:pt x="2059056" y="6292817"/>
                </a:lnTo>
                <a:lnTo>
                  <a:pt x="2049945" y="6278240"/>
                </a:lnTo>
                <a:cubicBezTo>
                  <a:pt x="2051767" y="6274596"/>
                  <a:pt x="2057235" y="6234507"/>
                  <a:pt x="2057235" y="6232684"/>
                </a:cubicBezTo>
                <a:close/>
                <a:moveTo>
                  <a:pt x="1213568" y="6232684"/>
                </a:moveTo>
                <a:cubicBezTo>
                  <a:pt x="1262767" y="6256373"/>
                  <a:pt x="1235434" y="6229040"/>
                  <a:pt x="1259122" y="6278239"/>
                </a:cubicBezTo>
                <a:lnTo>
                  <a:pt x="1259122" y="6292817"/>
                </a:lnTo>
                <a:cubicBezTo>
                  <a:pt x="1259122" y="6314683"/>
                  <a:pt x="1257300" y="6307394"/>
                  <a:pt x="1246367" y="6316505"/>
                </a:cubicBezTo>
                <a:lnTo>
                  <a:pt x="1239078" y="6345660"/>
                </a:lnTo>
                <a:lnTo>
                  <a:pt x="1275524" y="6378459"/>
                </a:lnTo>
                <a:lnTo>
                  <a:pt x="1268234" y="6391215"/>
                </a:lnTo>
                <a:lnTo>
                  <a:pt x="1280989" y="6407614"/>
                </a:lnTo>
                <a:lnTo>
                  <a:pt x="1266413" y="6424013"/>
                </a:lnTo>
                <a:lnTo>
                  <a:pt x="1275524" y="6438591"/>
                </a:lnTo>
                <a:cubicBezTo>
                  <a:pt x="1275524" y="6438591"/>
                  <a:pt x="1268234" y="6451346"/>
                  <a:pt x="1268234" y="6453168"/>
                </a:cubicBezTo>
                <a:cubicBezTo>
                  <a:pt x="1268234" y="6480501"/>
                  <a:pt x="1266413" y="6454991"/>
                  <a:pt x="1275524" y="6475035"/>
                </a:cubicBezTo>
                <a:lnTo>
                  <a:pt x="1253656" y="6475035"/>
                </a:lnTo>
                <a:cubicBezTo>
                  <a:pt x="1266413" y="6454991"/>
                  <a:pt x="1257300" y="6467746"/>
                  <a:pt x="1253656" y="6460457"/>
                </a:cubicBezTo>
                <a:cubicBezTo>
                  <a:pt x="1250011" y="6458635"/>
                  <a:pt x="1248189" y="6456813"/>
                  <a:pt x="1248189" y="6454991"/>
                </a:cubicBezTo>
                <a:cubicBezTo>
                  <a:pt x="1246367" y="6456813"/>
                  <a:pt x="1244545" y="6458635"/>
                  <a:pt x="1239078" y="6460457"/>
                </a:cubicBezTo>
                <a:lnTo>
                  <a:pt x="1239078" y="6445880"/>
                </a:lnTo>
                <a:lnTo>
                  <a:pt x="1208101" y="6445880"/>
                </a:lnTo>
                <a:cubicBezTo>
                  <a:pt x="1208101" y="6445880"/>
                  <a:pt x="1215390" y="6433124"/>
                  <a:pt x="1215390" y="6431303"/>
                </a:cubicBezTo>
                <a:cubicBezTo>
                  <a:pt x="1215390" y="6402148"/>
                  <a:pt x="1217212" y="6427658"/>
                  <a:pt x="1208101" y="6416725"/>
                </a:cubicBezTo>
                <a:cubicBezTo>
                  <a:pt x="1215390" y="6400325"/>
                  <a:pt x="1215390" y="6394859"/>
                  <a:pt x="1208101" y="6378459"/>
                </a:cubicBezTo>
                <a:cubicBezTo>
                  <a:pt x="1228145" y="6369348"/>
                  <a:pt x="1228145" y="6371171"/>
                  <a:pt x="1229967" y="6340194"/>
                </a:cubicBezTo>
                <a:cubicBezTo>
                  <a:pt x="1213568" y="6351127"/>
                  <a:pt x="1202636" y="6362060"/>
                  <a:pt x="1182592" y="6369348"/>
                </a:cubicBezTo>
                <a:lnTo>
                  <a:pt x="1198990" y="6325616"/>
                </a:lnTo>
                <a:lnTo>
                  <a:pt x="1177124" y="6309217"/>
                </a:lnTo>
                <a:cubicBezTo>
                  <a:pt x="1184414" y="6289173"/>
                  <a:pt x="1184414" y="6305572"/>
                  <a:pt x="1177124" y="6287350"/>
                </a:cubicBezTo>
                <a:lnTo>
                  <a:pt x="1191703" y="6278239"/>
                </a:lnTo>
                <a:lnTo>
                  <a:pt x="1182592" y="6263661"/>
                </a:lnTo>
                <a:close/>
                <a:moveTo>
                  <a:pt x="2261319" y="6225395"/>
                </a:moveTo>
                <a:lnTo>
                  <a:pt x="2285007" y="6234506"/>
                </a:lnTo>
                <a:lnTo>
                  <a:pt x="2299585" y="6227218"/>
                </a:lnTo>
                <a:cubicBezTo>
                  <a:pt x="2301407" y="6258196"/>
                  <a:pt x="2306873" y="6245440"/>
                  <a:pt x="2306873" y="6265484"/>
                </a:cubicBezTo>
                <a:lnTo>
                  <a:pt x="2306873" y="6280061"/>
                </a:lnTo>
                <a:lnTo>
                  <a:pt x="2290474" y="6318327"/>
                </a:lnTo>
                <a:lnTo>
                  <a:pt x="2268608" y="6301928"/>
                </a:lnTo>
                <a:lnTo>
                  <a:pt x="2268608" y="6323793"/>
                </a:lnTo>
                <a:cubicBezTo>
                  <a:pt x="2235808" y="6300105"/>
                  <a:pt x="2261319" y="6320149"/>
                  <a:pt x="2261319" y="6301928"/>
                </a:cubicBezTo>
                <a:cubicBezTo>
                  <a:pt x="2261319" y="6272773"/>
                  <a:pt x="2263141" y="6298283"/>
                  <a:pt x="2254030" y="6287350"/>
                </a:cubicBezTo>
                <a:cubicBezTo>
                  <a:pt x="2261319" y="6270951"/>
                  <a:pt x="2261319" y="6265484"/>
                  <a:pt x="2254030" y="6249085"/>
                </a:cubicBezTo>
                <a:close/>
                <a:moveTo>
                  <a:pt x="1833107" y="6174375"/>
                </a:moveTo>
                <a:lnTo>
                  <a:pt x="1854975" y="6181664"/>
                </a:lnTo>
                <a:lnTo>
                  <a:pt x="1864084" y="6196241"/>
                </a:lnTo>
                <a:lnTo>
                  <a:pt x="1856796" y="6208996"/>
                </a:lnTo>
                <a:lnTo>
                  <a:pt x="1871374" y="6227218"/>
                </a:lnTo>
                <a:lnTo>
                  <a:pt x="1851329" y="6241795"/>
                </a:lnTo>
                <a:lnTo>
                  <a:pt x="1825820" y="6219930"/>
                </a:lnTo>
                <a:lnTo>
                  <a:pt x="1833107" y="6205352"/>
                </a:lnTo>
                <a:cubicBezTo>
                  <a:pt x="1822174" y="6187130"/>
                  <a:pt x="1820352" y="6198063"/>
                  <a:pt x="1833107" y="6174375"/>
                </a:cubicBezTo>
                <a:close/>
                <a:moveTo>
                  <a:pt x="2955567" y="6150686"/>
                </a:moveTo>
                <a:cubicBezTo>
                  <a:pt x="2975611" y="6159797"/>
                  <a:pt x="2959211" y="6159797"/>
                  <a:pt x="2977433" y="6152509"/>
                </a:cubicBezTo>
                <a:lnTo>
                  <a:pt x="2993832" y="6165264"/>
                </a:lnTo>
                <a:cubicBezTo>
                  <a:pt x="2986544" y="6181663"/>
                  <a:pt x="2986544" y="6187130"/>
                  <a:pt x="2993832" y="6203530"/>
                </a:cubicBezTo>
                <a:cubicBezTo>
                  <a:pt x="2986544" y="6210818"/>
                  <a:pt x="2981077" y="6225395"/>
                  <a:pt x="2971966" y="6225395"/>
                </a:cubicBezTo>
                <a:cubicBezTo>
                  <a:pt x="2966500" y="6225395"/>
                  <a:pt x="2950100" y="6208996"/>
                  <a:pt x="2940989" y="6203530"/>
                </a:cubicBezTo>
                <a:cubicBezTo>
                  <a:pt x="2948278" y="6187130"/>
                  <a:pt x="2948278" y="6181663"/>
                  <a:pt x="2940989" y="6165264"/>
                </a:cubicBezTo>
                <a:close/>
                <a:moveTo>
                  <a:pt x="2352428" y="6143399"/>
                </a:moveTo>
                <a:lnTo>
                  <a:pt x="2357894" y="6156155"/>
                </a:lnTo>
                <a:lnTo>
                  <a:pt x="2350606" y="6167088"/>
                </a:lnTo>
                <a:lnTo>
                  <a:pt x="2336028" y="6152510"/>
                </a:lnTo>
                <a:close/>
                <a:moveTo>
                  <a:pt x="2674952" y="6136109"/>
                </a:moveTo>
                <a:lnTo>
                  <a:pt x="2698640" y="6163443"/>
                </a:lnTo>
                <a:lnTo>
                  <a:pt x="2689529" y="6178020"/>
                </a:lnTo>
                <a:lnTo>
                  <a:pt x="2698640" y="6192598"/>
                </a:lnTo>
                <a:lnTo>
                  <a:pt x="2689529" y="6218108"/>
                </a:lnTo>
                <a:lnTo>
                  <a:pt x="2658552" y="6208997"/>
                </a:lnTo>
                <a:lnTo>
                  <a:pt x="2653085" y="6239974"/>
                </a:lnTo>
                <a:cubicBezTo>
                  <a:pt x="2633041" y="6223574"/>
                  <a:pt x="2633041" y="6229041"/>
                  <a:pt x="2645797" y="6201709"/>
                </a:cubicBezTo>
                <a:lnTo>
                  <a:pt x="2645797" y="6179842"/>
                </a:lnTo>
                <a:lnTo>
                  <a:pt x="2645797" y="6172554"/>
                </a:lnTo>
                <a:cubicBezTo>
                  <a:pt x="2645797" y="6150687"/>
                  <a:pt x="2664018" y="6143398"/>
                  <a:pt x="2674952" y="6136109"/>
                </a:cubicBezTo>
                <a:close/>
                <a:moveTo>
                  <a:pt x="1619913" y="6103311"/>
                </a:moveTo>
                <a:lnTo>
                  <a:pt x="1627202" y="6119711"/>
                </a:lnTo>
                <a:lnTo>
                  <a:pt x="1619913" y="6128822"/>
                </a:lnTo>
                <a:lnTo>
                  <a:pt x="1603513" y="6119711"/>
                </a:lnTo>
                <a:close/>
                <a:moveTo>
                  <a:pt x="721581" y="6096021"/>
                </a:moveTo>
                <a:lnTo>
                  <a:pt x="730691" y="6112421"/>
                </a:lnTo>
                <a:lnTo>
                  <a:pt x="707003" y="6110599"/>
                </a:lnTo>
                <a:close/>
                <a:moveTo>
                  <a:pt x="920198" y="6068688"/>
                </a:moveTo>
                <a:cubicBezTo>
                  <a:pt x="929309" y="6085088"/>
                  <a:pt x="942064" y="6088732"/>
                  <a:pt x="942064" y="6106954"/>
                </a:cubicBezTo>
                <a:lnTo>
                  <a:pt x="942064" y="6128820"/>
                </a:lnTo>
                <a:lnTo>
                  <a:pt x="943886" y="6145220"/>
                </a:lnTo>
                <a:lnTo>
                  <a:pt x="905621" y="6159797"/>
                </a:lnTo>
                <a:cubicBezTo>
                  <a:pt x="894688" y="6143397"/>
                  <a:pt x="905621" y="6150686"/>
                  <a:pt x="883755" y="6145220"/>
                </a:cubicBezTo>
                <a:cubicBezTo>
                  <a:pt x="878288" y="6121532"/>
                  <a:pt x="881932" y="6132464"/>
                  <a:pt x="869177" y="6114243"/>
                </a:cubicBezTo>
                <a:lnTo>
                  <a:pt x="891043" y="6099665"/>
                </a:lnTo>
                <a:lnTo>
                  <a:pt x="891043" y="6077799"/>
                </a:lnTo>
                <a:close/>
                <a:moveTo>
                  <a:pt x="1073262" y="6066868"/>
                </a:moveTo>
                <a:lnTo>
                  <a:pt x="1058683" y="6097845"/>
                </a:lnTo>
                <a:cubicBezTo>
                  <a:pt x="1064151" y="6117889"/>
                  <a:pt x="1067794" y="6105133"/>
                  <a:pt x="1049572" y="6117889"/>
                </a:cubicBezTo>
                <a:lnTo>
                  <a:pt x="1040461" y="6112423"/>
                </a:lnTo>
                <a:cubicBezTo>
                  <a:pt x="1051394" y="6090556"/>
                  <a:pt x="1049572" y="6083268"/>
                  <a:pt x="1073262" y="6066868"/>
                </a:cubicBezTo>
                <a:close/>
                <a:moveTo>
                  <a:pt x="1184414" y="6046823"/>
                </a:moveTo>
                <a:cubicBezTo>
                  <a:pt x="1188058" y="6052290"/>
                  <a:pt x="1198991" y="6065046"/>
                  <a:pt x="1198991" y="6068690"/>
                </a:cubicBezTo>
                <a:lnTo>
                  <a:pt x="1198991" y="6092379"/>
                </a:lnTo>
                <a:lnTo>
                  <a:pt x="1189880" y="6106956"/>
                </a:lnTo>
                <a:lnTo>
                  <a:pt x="1198991" y="6137933"/>
                </a:lnTo>
                <a:lnTo>
                  <a:pt x="1182592" y="6159799"/>
                </a:lnTo>
                <a:lnTo>
                  <a:pt x="1162547" y="6145221"/>
                </a:lnTo>
                <a:cubicBezTo>
                  <a:pt x="1175302" y="6112423"/>
                  <a:pt x="1157080" y="6145221"/>
                  <a:pt x="1169835" y="6114244"/>
                </a:cubicBezTo>
                <a:lnTo>
                  <a:pt x="1146148" y="6114244"/>
                </a:lnTo>
                <a:lnTo>
                  <a:pt x="1151614" y="6101489"/>
                </a:lnTo>
                <a:lnTo>
                  <a:pt x="1146148" y="6085090"/>
                </a:lnTo>
                <a:close/>
                <a:moveTo>
                  <a:pt x="2835303" y="6045000"/>
                </a:moveTo>
                <a:lnTo>
                  <a:pt x="2858991" y="6046823"/>
                </a:lnTo>
                <a:lnTo>
                  <a:pt x="2842592" y="6059577"/>
                </a:lnTo>
                <a:close/>
                <a:moveTo>
                  <a:pt x="1749287" y="6045000"/>
                </a:moveTo>
                <a:lnTo>
                  <a:pt x="1772975" y="6045000"/>
                </a:lnTo>
                <a:lnTo>
                  <a:pt x="1785730" y="6046823"/>
                </a:lnTo>
                <a:lnTo>
                  <a:pt x="1800308" y="6059578"/>
                </a:lnTo>
                <a:cubicBezTo>
                  <a:pt x="1793019" y="6075978"/>
                  <a:pt x="1793019" y="6081445"/>
                  <a:pt x="1800308" y="6097844"/>
                </a:cubicBezTo>
                <a:cubicBezTo>
                  <a:pt x="1787553" y="6123354"/>
                  <a:pt x="1800308" y="6112422"/>
                  <a:pt x="1778442" y="6128821"/>
                </a:cubicBezTo>
                <a:cubicBezTo>
                  <a:pt x="1787553" y="6148865"/>
                  <a:pt x="1791197" y="6136110"/>
                  <a:pt x="1771154" y="6150687"/>
                </a:cubicBezTo>
                <a:lnTo>
                  <a:pt x="1771154" y="6128821"/>
                </a:lnTo>
                <a:lnTo>
                  <a:pt x="1741998" y="6119710"/>
                </a:lnTo>
                <a:lnTo>
                  <a:pt x="1741998" y="6105133"/>
                </a:lnTo>
                <a:lnTo>
                  <a:pt x="1741998" y="6083267"/>
                </a:lnTo>
                <a:cubicBezTo>
                  <a:pt x="1741998" y="6061401"/>
                  <a:pt x="1745643" y="6068689"/>
                  <a:pt x="1758398" y="6059578"/>
                </a:cubicBezTo>
                <a:close/>
                <a:moveTo>
                  <a:pt x="2638508" y="6030424"/>
                </a:moveTo>
                <a:cubicBezTo>
                  <a:pt x="2656730" y="6041357"/>
                  <a:pt x="2649441" y="6030424"/>
                  <a:pt x="2653086" y="6052290"/>
                </a:cubicBezTo>
                <a:lnTo>
                  <a:pt x="2638508" y="6052290"/>
                </a:lnTo>
                <a:close/>
                <a:moveTo>
                  <a:pt x="827267" y="6023135"/>
                </a:moveTo>
                <a:lnTo>
                  <a:pt x="836378" y="6030424"/>
                </a:lnTo>
                <a:lnTo>
                  <a:pt x="827267" y="6052290"/>
                </a:lnTo>
                <a:lnTo>
                  <a:pt x="803578" y="6043179"/>
                </a:lnTo>
                <a:close/>
                <a:moveTo>
                  <a:pt x="2328738" y="6023134"/>
                </a:moveTo>
                <a:cubicBezTo>
                  <a:pt x="2328738" y="6023134"/>
                  <a:pt x="2341493" y="6030423"/>
                  <a:pt x="2343316" y="6030423"/>
                </a:cubicBezTo>
                <a:cubicBezTo>
                  <a:pt x="2372470" y="6030423"/>
                  <a:pt x="2346960" y="6034068"/>
                  <a:pt x="2365182" y="6024957"/>
                </a:cubicBezTo>
                <a:lnTo>
                  <a:pt x="2388870" y="6046824"/>
                </a:lnTo>
                <a:cubicBezTo>
                  <a:pt x="2381581" y="6063223"/>
                  <a:pt x="2381581" y="6068690"/>
                  <a:pt x="2388870" y="6085090"/>
                </a:cubicBezTo>
                <a:lnTo>
                  <a:pt x="2379759" y="6106955"/>
                </a:lnTo>
                <a:lnTo>
                  <a:pt x="2367004" y="6121533"/>
                </a:lnTo>
                <a:lnTo>
                  <a:pt x="2336027" y="6116066"/>
                </a:lnTo>
                <a:lnTo>
                  <a:pt x="2336027" y="6092378"/>
                </a:lnTo>
                <a:lnTo>
                  <a:pt x="2321449" y="6099667"/>
                </a:lnTo>
                <a:cubicBezTo>
                  <a:pt x="2315983" y="6081445"/>
                  <a:pt x="2299583" y="6072334"/>
                  <a:pt x="2299583" y="6061401"/>
                </a:cubicBezTo>
                <a:cubicBezTo>
                  <a:pt x="2299583" y="6045002"/>
                  <a:pt x="2301406" y="6052290"/>
                  <a:pt x="2306872" y="6032245"/>
                </a:cubicBezTo>
                <a:close/>
                <a:moveTo>
                  <a:pt x="2124655" y="5990336"/>
                </a:moveTo>
                <a:lnTo>
                  <a:pt x="2126477" y="6015847"/>
                </a:lnTo>
                <a:lnTo>
                  <a:pt x="2110077" y="6006736"/>
                </a:lnTo>
                <a:close/>
                <a:moveTo>
                  <a:pt x="1552492" y="5963002"/>
                </a:moveTo>
                <a:lnTo>
                  <a:pt x="1576181" y="5984870"/>
                </a:lnTo>
                <a:cubicBezTo>
                  <a:pt x="1561603" y="6019491"/>
                  <a:pt x="1585291" y="5983047"/>
                  <a:pt x="1568892" y="6014024"/>
                </a:cubicBezTo>
                <a:lnTo>
                  <a:pt x="1583469" y="6026779"/>
                </a:lnTo>
                <a:lnTo>
                  <a:pt x="1541559" y="6065045"/>
                </a:lnTo>
                <a:lnTo>
                  <a:pt x="1516049" y="6043179"/>
                </a:lnTo>
                <a:lnTo>
                  <a:pt x="1523339" y="6028602"/>
                </a:lnTo>
                <a:lnTo>
                  <a:pt x="1508760" y="6021313"/>
                </a:lnTo>
                <a:cubicBezTo>
                  <a:pt x="1517871" y="6001269"/>
                  <a:pt x="1517871" y="6017668"/>
                  <a:pt x="1512405" y="5999447"/>
                </a:cubicBezTo>
                <a:lnTo>
                  <a:pt x="1525160" y="5970291"/>
                </a:lnTo>
                <a:close/>
                <a:moveTo>
                  <a:pt x="1876839" y="5955714"/>
                </a:moveTo>
                <a:cubicBezTo>
                  <a:pt x="1895061" y="5955714"/>
                  <a:pt x="1895061" y="5961181"/>
                  <a:pt x="1907816" y="5970292"/>
                </a:cubicBezTo>
                <a:lnTo>
                  <a:pt x="1909639" y="5990336"/>
                </a:lnTo>
                <a:lnTo>
                  <a:pt x="1931505" y="6015847"/>
                </a:lnTo>
                <a:lnTo>
                  <a:pt x="1909639" y="6023135"/>
                </a:lnTo>
                <a:cubicBezTo>
                  <a:pt x="1902350" y="6050468"/>
                  <a:pt x="1904172" y="6046824"/>
                  <a:pt x="1878662" y="6054112"/>
                </a:cubicBezTo>
                <a:lnTo>
                  <a:pt x="1878662" y="6039535"/>
                </a:lnTo>
                <a:lnTo>
                  <a:pt x="1854973" y="6039535"/>
                </a:lnTo>
                <a:lnTo>
                  <a:pt x="1862262" y="6024958"/>
                </a:lnTo>
                <a:cubicBezTo>
                  <a:pt x="1851329" y="6006736"/>
                  <a:pt x="1847685" y="6004914"/>
                  <a:pt x="1862262" y="5986692"/>
                </a:cubicBezTo>
                <a:lnTo>
                  <a:pt x="1853151" y="5972115"/>
                </a:lnTo>
                <a:cubicBezTo>
                  <a:pt x="1860440" y="5966648"/>
                  <a:pt x="1873195" y="5955714"/>
                  <a:pt x="1876839" y="5955714"/>
                </a:cubicBezTo>
                <a:close/>
                <a:moveTo>
                  <a:pt x="2172033" y="5946604"/>
                </a:moveTo>
                <a:lnTo>
                  <a:pt x="2179321" y="5977581"/>
                </a:lnTo>
                <a:lnTo>
                  <a:pt x="2157455" y="5977581"/>
                </a:lnTo>
                <a:cubicBezTo>
                  <a:pt x="2162922" y="5959359"/>
                  <a:pt x="2161100" y="5957537"/>
                  <a:pt x="2159277" y="5959359"/>
                </a:cubicBezTo>
                <a:cubicBezTo>
                  <a:pt x="2161100" y="5957537"/>
                  <a:pt x="2164744" y="5953893"/>
                  <a:pt x="2172033" y="5946604"/>
                </a:cubicBezTo>
                <a:close/>
                <a:moveTo>
                  <a:pt x="858244" y="5930204"/>
                </a:moveTo>
                <a:lnTo>
                  <a:pt x="858244" y="5946604"/>
                </a:lnTo>
                <a:lnTo>
                  <a:pt x="841844" y="5944781"/>
                </a:lnTo>
                <a:close/>
                <a:moveTo>
                  <a:pt x="1115170" y="5908337"/>
                </a:moveTo>
                <a:cubicBezTo>
                  <a:pt x="1140681" y="5924738"/>
                  <a:pt x="1120637" y="5921094"/>
                  <a:pt x="1155259" y="5924738"/>
                </a:cubicBezTo>
                <a:lnTo>
                  <a:pt x="1146148" y="5953893"/>
                </a:lnTo>
                <a:lnTo>
                  <a:pt x="1160725" y="5953893"/>
                </a:lnTo>
                <a:cubicBezTo>
                  <a:pt x="1155259" y="5975759"/>
                  <a:pt x="1160725" y="5964826"/>
                  <a:pt x="1144325" y="5977581"/>
                </a:cubicBezTo>
                <a:lnTo>
                  <a:pt x="1149791" y="5988514"/>
                </a:lnTo>
                <a:lnTo>
                  <a:pt x="1142503" y="6006735"/>
                </a:lnTo>
                <a:lnTo>
                  <a:pt x="1137037" y="5988514"/>
                </a:lnTo>
                <a:lnTo>
                  <a:pt x="1116992" y="6012202"/>
                </a:lnTo>
                <a:lnTo>
                  <a:pt x="1084193" y="6004913"/>
                </a:lnTo>
                <a:lnTo>
                  <a:pt x="1093304" y="5975759"/>
                </a:lnTo>
                <a:cubicBezTo>
                  <a:pt x="1084193" y="5975759"/>
                  <a:pt x="1086015" y="5979403"/>
                  <a:pt x="1086015" y="5968470"/>
                </a:cubicBezTo>
                <a:cubicBezTo>
                  <a:pt x="1086015" y="5937493"/>
                  <a:pt x="1084193" y="5964826"/>
                  <a:pt x="1091482" y="5953893"/>
                </a:cubicBezTo>
                <a:lnTo>
                  <a:pt x="1084193" y="5924738"/>
                </a:lnTo>
                <a:cubicBezTo>
                  <a:pt x="1120637" y="5921094"/>
                  <a:pt x="1098771" y="5932026"/>
                  <a:pt x="1115170" y="5908337"/>
                </a:cubicBezTo>
                <a:close/>
                <a:moveTo>
                  <a:pt x="2707752" y="5893761"/>
                </a:moveTo>
                <a:lnTo>
                  <a:pt x="2705930" y="5919272"/>
                </a:lnTo>
                <a:lnTo>
                  <a:pt x="2682241" y="5895583"/>
                </a:lnTo>
                <a:close/>
                <a:moveTo>
                  <a:pt x="1328364" y="5891939"/>
                </a:moveTo>
                <a:lnTo>
                  <a:pt x="1341120" y="5908339"/>
                </a:lnTo>
                <a:lnTo>
                  <a:pt x="1326542" y="5917450"/>
                </a:lnTo>
                <a:close/>
                <a:moveTo>
                  <a:pt x="963930" y="5890116"/>
                </a:moveTo>
                <a:lnTo>
                  <a:pt x="978507" y="5895583"/>
                </a:lnTo>
                <a:lnTo>
                  <a:pt x="994906" y="5941137"/>
                </a:lnTo>
                <a:cubicBezTo>
                  <a:pt x="978507" y="5950248"/>
                  <a:pt x="974863" y="5963003"/>
                  <a:pt x="956641" y="5963003"/>
                </a:cubicBezTo>
                <a:lnTo>
                  <a:pt x="949352" y="5963003"/>
                </a:lnTo>
                <a:cubicBezTo>
                  <a:pt x="932953" y="5963003"/>
                  <a:pt x="932953" y="5955715"/>
                  <a:pt x="918375" y="5946604"/>
                </a:cubicBezTo>
                <a:cubicBezTo>
                  <a:pt x="925664" y="5930204"/>
                  <a:pt x="925664" y="5924737"/>
                  <a:pt x="918375" y="5908338"/>
                </a:cubicBezTo>
                <a:lnTo>
                  <a:pt x="934775" y="5895583"/>
                </a:lnTo>
                <a:close/>
                <a:moveTo>
                  <a:pt x="1297388" y="5864606"/>
                </a:moveTo>
                <a:lnTo>
                  <a:pt x="1319254" y="5864606"/>
                </a:lnTo>
                <a:lnTo>
                  <a:pt x="1319254" y="5886472"/>
                </a:lnTo>
                <a:lnTo>
                  <a:pt x="1304677" y="5886472"/>
                </a:lnTo>
                <a:close/>
                <a:moveTo>
                  <a:pt x="2305051" y="5855495"/>
                </a:moveTo>
                <a:lnTo>
                  <a:pt x="2321451" y="5877361"/>
                </a:lnTo>
                <a:lnTo>
                  <a:pt x="2294118" y="5884650"/>
                </a:lnTo>
                <a:lnTo>
                  <a:pt x="2283185" y="5877361"/>
                </a:lnTo>
                <a:close/>
                <a:moveTo>
                  <a:pt x="2795214" y="5848207"/>
                </a:moveTo>
                <a:lnTo>
                  <a:pt x="2797037" y="5871895"/>
                </a:lnTo>
                <a:lnTo>
                  <a:pt x="2780637" y="5862784"/>
                </a:lnTo>
                <a:close/>
                <a:moveTo>
                  <a:pt x="2080923" y="5848207"/>
                </a:moveTo>
                <a:lnTo>
                  <a:pt x="2102790" y="5848207"/>
                </a:lnTo>
                <a:cubicBezTo>
                  <a:pt x="2090034" y="5881006"/>
                  <a:pt x="2108256" y="5848207"/>
                  <a:pt x="2095501" y="5879184"/>
                </a:cubicBezTo>
                <a:cubicBezTo>
                  <a:pt x="2066346" y="5857318"/>
                  <a:pt x="2093679" y="5879184"/>
                  <a:pt x="2080923" y="5848207"/>
                </a:cubicBezTo>
                <a:close/>
                <a:moveTo>
                  <a:pt x="2518244" y="5848206"/>
                </a:moveTo>
                <a:lnTo>
                  <a:pt x="2541933" y="5848206"/>
                </a:lnTo>
                <a:lnTo>
                  <a:pt x="2554688" y="5850028"/>
                </a:lnTo>
                <a:lnTo>
                  <a:pt x="2571088" y="5862783"/>
                </a:lnTo>
                <a:cubicBezTo>
                  <a:pt x="2561977" y="5881005"/>
                  <a:pt x="2563799" y="5864606"/>
                  <a:pt x="2571088" y="5884650"/>
                </a:cubicBezTo>
                <a:cubicBezTo>
                  <a:pt x="2561977" y="5899227"/>
                  <a:pt x="2556510" y="5922915"/>
                  <a:pt x="2549221" y="5937493"/>
                </a:cubicBezTo>
                <a:lnTo>
                  <a:pt x="2527355" y="5930204"/>
                </a:lnTo>
                <a:cubicBezTo>
                  <a:pt x="2520067" y="5904693"/>
                  <a:pt x="2523711" y="5913804"/>
                  <a:pt x="2505489" y="5901049"/>
                </a:cubicBezTo>
                <a:lnTo>
                  <a:pt x="2512778" y="5871894"/>
                </a:lnTo>
                <a:lnTo>
                  <a:pt x="2527355" y="5862783"/>
                </a:lnTo>
                <a:close/>
                <a:moveTo>
                  <a:pt x="2760595" y="5824518"/>
                </a:moveTo>
                <a:lnTo>
                  <a:pt x="2766061" y="5855495"/>
                </a:lnTo>
                <a:cubicBezTo>
                  <a:pt x="2755128" y="5853673"/>
                  <a:pt x="2744195" y="5853673"/>
                  <a:pt x="2744195" y="5840918"/>
                </a:cubicBezTo>
                <a:cubicBezTo>
                  <a:pt x="2744195" y="5831807"/>
                  <a:pt x="2753306" y="5829985"/>
                  <a:pt x="2760595" y="5824518"/>
                </a:cubicBezTo>
                <a:close/>
                <a:moveTo>
                  <a:pt x="2292296" y="5811762"/>
                </a:moveTo>
                <a:lnTo>
                  <a:pt x="2283185" y="5828162"/>
                </a:lnTo>
                <a:lnTo>
                  <a:pt x="2268607" y="5813584"/>
                </a:lnTo>
                <a:close/>
                <a:moveTo>
                  <a:pt x="2004392" y="5795363"/>
                </a:moveTo>
                <a:lnTo>
                  <a:pt x="2011682" y="5809941"/>
                </a:lnTo>
                <a:lnTo>
                  <a:pt x="2004392" y="5819052"/>
                </a:lnTo>
                <a:lnTo>
                  <a:pt x="1989814" y="5809941"/>
                </a:lnTo>
                <a:close/>
                <a:moveTo>
                  <a:pt x="572162" y="5780785"/>
                </a:moveTo>
                <a:lnTo>
                  <a:pt x="588562" y="5782608"/>
                </a:lnTo>
                <a:lnTo>
                  <a:pt x="573984" y="5797185"/>
                </a:lnTo>
                <a:close/>
                <a:moveTo>
                  <a:pt x="2268608" y="5771675"/>
                </a:moveTo>
                <a:lnTo>
                  <a:pt x="2268608" y="5795363"/>
                </a:lnTo>
                <a:lnTo>
                  <a:pt x="2244919" y="5795363"/>
                </a:lnTo>
                <a:close/>
                <a:moveTo>
                  <a:pt x="1944260" y="5758920"/>
                </a:moveTo>
                <a:cubicBezTo>
                  <a:pt x="1951548" y="5762565"/>
                  <a:pt x="1967948" y="5771676"/>
                  <a:pt x="1966126" y="5782609"/>
                </a:cubicBezTo>
                <a:cubicBezTo>
                  <a:pt x="1966126" y="5809941"/>
                  <a:pt x="1967948" y="5784431"/>
                  <a:pt x="1958837" y="5804475"/>
                </a:cubicBezTo>
                <a:cubicBezTo>
                  <a:pt x="1938793" y="5789897"/>
                  <a:pt x="1942438" y="5802653"/>
                  <a:pt x="1947904" y="5782609"/>
                </a:cubicBezTo>
                <a:close/>
                <a:moveTo>
                  <a:pt x="1741999" y="5758919"/>
                </a:moveTo>
                <a:lnTo>
                  <a:pt x="1732888" y="5775319"/>
                </a:lnTo>
                <a:lnTo>
                  <a:pt x="1716488" y="5760742"/>
                </a:lnTo>
                <a:close/>
                <a:moveTo>
                  <a:pt x="1712844" y="5758919"/>
                </a:moveTo>
                <a:lnTo>
                  <a:pt x="1701911" y="5775319"/>
                </a:lnTo>
                <a:lnTo>
                  <a:pt x="1687333" y="5760742"/>
                </a:lnTo>
                <a:close/>
                <a:moveTo>
                  <a:pt x="2503667" y="5751630"/>
                </a:moveTo>
                <a:lnTo>
                  <a:pt x="2520067" y="5751630"/>
                </a:lnTo>
                <a:lnTo>
                  <a:pt x="2505490" y="5768030"/>
                </a:lnTo>
                <a:close/>
                <a:moveTo>
                  <a:pt x="2818904" y="5704255"/>
                </a:moveTo>
                <a:lnTo>
                  <a:pt x="2826193" y="5718833"/>
                </a:lnTo>
                <a:lnTo>
                  <a:pt x="2818904" y="5729766"/>
                </a:lnTo>
                <a:lnTo>
                  <a:pt x="2804326" y="5718833"/>
                </a:lnTo>
                <a:close/>
                <a:moveTo>
                  <a:pt x="1674579" y="5693321"/>
                </a:moveTo>
                <a:cubicBezTo>
                  <a:pt x="1680046" y="5702432"/>
                  <a:pt x="1681868" y="5700610"/>
                  <a:pt x="1681868" y="5715187"/>
                </a:cubicBezTo>
                <a:lnTo>
                  <a:pt x="1681868" y="5722476"/>
                </a:lnTo>
                <a:cubicBezTo>
                  <a:pt x="1681868" y="5738876"/>
                  <a:pt x="1674579" y="5738876"/>
                  <a:pt x="1665467" y="5753453"/>
                </a:cubicBezTo>
                <a:lnTo>
                  <a:pt x="1643602" y="5737053"/>
                </a:lnTo>
                <a:cubicBezTo>
                  <a:pt x="1650890" y="5720654"/>
                  <a:pt x="1650890" y="5715187"/>
                  <a:pt x="1643602" y="5698788"/>
                </a:cubicBezTo>
                <a:close/>
                <a:moveTo>
                  <a:pt x="1975236" y="5689677"/>
                </a:moveTo>
                <a:cubicBezTo>
                  <a:pt x="2006214" y="5689677"/>
                  <a:pt x="1993459" y="5715188"/>
                  <a:pt x="1989814" y="5724298"/>
                </a:cubicBezTo>
                <a:lnTo>
                  <a:pt x="1967948" y="5720654"/>
                </a:lnTo>
                <a:cubicBezTo>
                  <a:pt x="1966126" y="5717010"/>
                  <a:pt x="1953370" y="5689677"/>
                  <a:pt x="1975236" y="5689677"/>
                </a:cubicBezTo>
                <a:close/>
                <a:moveTo>
                  <a:pt x="1055040" y="5689676"/>
                </a:moveTo>
                <a:lnTo>
                  <a:pt x="1069616" y="5689676"/>
                </a:lnTo>
                <a:lnTo>
                  <a:pt x="1084194" y="5689676"/>
                </a:lnTo>
                <a:lnTo>
                  <a:pt x="1106061" y="5726121"/>
                </a:lnTo>
                <a:lnTo>
                  <a:pt x="1098772" y="5755276"/>
                </a:lnTo>
                <a:lnTo>
                  <a:pt x="1062327" y="5795363"/>
                </a:lnTo>
                <a:cubicBezTo>
                  <a:pt x="1042284" y="5782608"/>
                  <a:pt x="1055040" y="5791719"/>
                  <a:pt x="1047750" y="5795363"/>
                </a:cubicBezTo>
                <a:cubicBezTo>
                  <a:pt x="1040461" y="5809941"/>
                  <a:pt x="1042284" y="5809941"/>
                  <a:pt x="1044106" y="5809941"/>
                </a:cubicBezTo>
                <a:cubicBezTo>
                  <a:pt x="1042284" y="5809941"/>
                  <a:pt x="1038639" y="5813585"/>
                  <a:pt x="1033173" y="5817229"/>
                </a:cubicBezTo>
                <a:lnTo>
                  <a:pt x="1024062" y="5811763"/>
                </a:lnTo>
                <a:cubicBezTo>
                  <a:pt x="1024062" y="5811763"/>
                  <a:pt x="1031350" y="5799008"/>
                  <a:pt x="1031350" y="5797185"/>
                </a:cubicBezTo>
                <a:cubicBezTo>
                  <a:pt x="1031350" y="5766209"/>
                  <a:pt x="1033173" y="5793541"/>
                  <a:pt x="1024062" y="5780786"/>
                </a:cubicBezTo>
                <a:lnTo>
                  <a:pt x="1031350" y="5766209"/>
                </a:lnTo>
                <a:lnTo>
                  <a:pt x="1007663" y="5764386"/>
                </a:lnTo>
                <a:lnTo>
                  <a:pt x="1024062" y="5751631"/>
                </a:lnTo>
                <a:cubicBezTo>
                  <a:pt x="1011307" y="5718832"/>
                  <a:pt x="1029528" y="5751631"/>
                  <a:pt x="1016774" y="5720654"/>
                </a:cubicBezTo>
                <a:cubicBezTo>
                  <a:pt x="1033173" y="5707899"/>
                  <a:pt x="1027707" y="5718832"/>
                  <a:pt x="1033173" y="5698787"/>
                </a:cubicBezTo>
                <a:close/>
                <a:moveTo>
                  <a:pt x="1198991" y="5684211"/>
                </a:moveTo>
                <a:cubicBezTo>
                  <a:pt x="1182592" y="5720655"/>
                  <a:pt x="1202636" y="5680567"/>
                  <a:pt x="1198991" y="5706077"/>
                </a:cubicBezTo>
                <a:lnTo>
                  <a:pt x="1168013" y="5698788"/>
                </a:lnTo>
                <a:cubicBezTo>
                  <a:pt x="1186235" y="5676922"/>
                  <a:pt x="1164370" y="5687855"/>
                  <a:pt x="1198991" y="5684211"/>
                </a:cubicBezTo>
                <a:close/>
                <a:moveTo>
                  <a:pt x="2849881" y="5667810"/>
                </a:moveTo>
                <a:lnTo>
                  <a:pt x="2875392" y="5669633"/>
                </a:lnTo>
                <a:lnTo>
                  <a:pt x="2858992" y="5682388"/>
                </a:lnTo>
                <a:close/>
                <a:moveTo>
                  <a:pt x="1771154" y="5645945"/>
                </a:moveTo>
                <a:cubicBezTo>
                  <a:pt x="1789376" y="5658700"/>
                  <a:pt x="1794842" y="5667811"/>
                  <a:pt x="1772975" y="5675100"/>
                </a:cubicBezTo>
                <a:lnTo>
                  <a:pt x="1763864" y="5653234"/>
                </a:lnTo>
                <a:close/>
                <a:moveTo>
                  <a:pt x="2888145" y="5645944"/>
                </a:moveTo>
                <a:lnTo>
                  <a:pt x="2902723" y="5660521"/>
                </a:lnTo>
                <a:lnTo>
                  <a:pt x="2888145" y="5660521"/>
                </a:lnTo>
                <a:close/>
                <a:moveTo>
                  <a:pt x="2215765" y="5640478"/>
                </a:moveTo>
                <a:cubicBezTo>
                  <a:pt x="2233986" y="5647767"/>
                  <a:pt x="2217587" y="5647767"/>
                  <a:pt x="2235808" y="5640478"/>
                </a:cubicBezTo>
                <a:lnTo>
                  <a:pt x="2254030" y="5669634"/>
                </a:lnTo>
                <a:lnTo>
                  <a:pt x="2246742" y="5682390"/>
                </a:lnTo>
                <a:lnTo>
                  <a:pt x="2268608" y="5698789"/>
                </a:lnTo>
                <a:cubicBezTo>
                  <a:pt x="2259497" y="5717011"/>
                  <a:pt x="2261319" y="5700611"/>
                  <a:pt x="2268608" y="5720655"/>
                </a:cubicBezTo>
                <a:cubicBezTo>
                  <a:pt x="2259497" y="5720655"/>
                  <a:pt x="2261319" y="5717011"/>
                  <a:pt x="2261319" y="5727944"/>
                </a:cubicBezTo>
                <a:cubicBezTo>
                  <a:pt x="2261319" y="5757099"/>
                  <a:pt x="2257675" y="5731588"/>
                  <a:pt x="2264963" y="5749810"/>
                </a:cubicBezTo>
                <a:lnTo>
                  <a:pt x="2261319" y="5766210"/>
                </a:lnTo>
                <a:cubicBezTo>
                  <a:pt x="2239453" y="5771676"/>
                  <a:pt x="2250386" y="5764387"/>
                  <a:pt x="2237631" y="5784431"/>
                </a:cubicBezTo>
                <a:cubicBezTo>
                  <a:pt x="2206654" y="5771676"/>
                  <a:pt x="2210298" y="5789898"/>
                  <a:pt x="2221231" y="5813586"/>
                </a:cubicBezTo>
                <a:lnTo>
                  <a:pt x="2213942" y="5824519"/>
                </a:lnTo>
                <a:lnTo>
                  <a:pt x="2199365" y="5808119"/>
                </a:lnTo>
                <a:lnTo>
                  <a:pt x="2184788" y="5815408"/>
                </a:lnTo>
                <a:cubicBezTo>
                  <a:pt x="2179320" y="5793542"/>
                  <a:pt x="2177498" y="5800831"/>
                  <a:pt x="2177498" y="5784431"/>
                </a:cubicBezTo>
                <a:lnTo>
                  <a:pt x="2177498" y="5768031"/>
                </a:lnTo>
                <a:lnTo>
                  <a:pt x="2186610" y="5751632"/>
                </a:lnTo>
                <a:lnTo>
                  <a:pt x="2170209" y="5738877"/>
                </a:lnTo>
                <a:lnTo>
                  <a:pt x="2192076" y="5686034"/>
                </a:lnTo>
                <a:lnTo>
                  <a:pt x="2184788" y="5671456"/>
                </a:lnTo>
                <a:lnTo>
                  <a:pt x="2208476" y="5671456"/>
                </a:lnTo>
                <a:lnTo>
                  <a:pt x="2199365" y="5656878"/>
                </a:lnTo>
                <a:close/>
                <a:moveTo>
                  <a:pt x="1966125" y="5624079"/>
                </a:moveTo>
                <a:lnTo>
                  <a:pt x="1991636" y="5631368"/>
                </a:lnTo>
                <a:lnTo>
                  <a:pt x="1975236" y="5645946"/>
                </a:lnTo>
                <a:close/>
                <a:moveTo>
                  <a:pt x="2474513" y="5607680"/>
                </a:moveTo>
                <a:lnTo>
                  <a:pt x="2481802" y="5629547"/>
                </a:lnTo>
                <a:cubicBezTo>
                  <a:pt x="2458113" y="5635013"/>
                  <a:pt x="2463580" y="5638657"/>
                  <a:pt x="2443536" y="5629547"/>
                </a:cubicBezTo>
                <a:cubicBezTo>
                  <a:pt x="2456291" y="5611325"/>
                  <a:pt x="2447181" y="5614969"/>
                  <a:pt x="2474513" y="5607680"/>
                </a:cubicBezTo>
                <a:close/>
                <a:moveTo>
                  <a:pt x="1636313" y="5607680"/>
                </a:moveTo>
                <a:lnTo>
                  <a:pt x="1643602" y="5638657"/>
                </a:lnTo>
                <a:lnTo>
                  <a:pt x="1621735" y="5638657"/>
                </a:lnTo>
                <a:cubicBezTo>
                  <a:pt x="1623558" y="5604036"/>
                  <a:pt x="1612624" y="5624080"/>
                  <a:pt x="1636313" y="5607680"/>
                </a:cubicBezTo>
                <a:close/>
                <a:moveTo>
                  <a:pt x="1062329" y="5605857"/>
                </a:moveTo>
                <a:cubicBezTo>
                  <a:pt x="1055040" y="5622257"/>
                  <a:pt x="1055040" y="5627724"/>
                  <a:pt x="1062329" y="5644123"/>
                </a:cubicBezTo>
                <a:lnTo>
                  <a:pt x="1040462" y="5656878"/>
                </a:lnTo>
                <a:lnTo>
                  <a:pt x="1024062" y="5644123"/>
                </a:lnTo>
                <a:cubicBezTo>
                  <a:pt x="1033173" y="5625901"/>
                  <a:pt x="1031351" y="5642301"/>
                  <a:pt x="1024062" y="5622257"/>
                </a:cubicBezTo>
                <a:cubicBezTo>
                  <a:pt x="1049573" y="5605857"/>
                  <a:pt x="1029529" y="5609502"/>
                  <a:pt x="1062329" y="5605857"/>
                </a:cubicBezTo>
                <a:close/>
                <a:moveTo>
                  <a:pt x="2376115" y="5554836"/>
                </a:moveTo>
                <a:lnTo>
                  <a:pt x="2407092" y="5562125"/>
                </a:lnTo>
                <a:lnTo>
                  <a:pt x="2397981" y="5576703"/>
                </a:lnTo>
                <a:lnTo>
                  <a:pt x="2421669" y="5593103"/>
                </a:lnTo>
                <a:cubicBezTo>
                  <a:pt x="2410736" y="5614969"/>
                  <a:pt x="2399803" y="5627724"/>
                  <a:pt x="2399803" y="5660523"/>
                </a:cubicBezTo>
                <a:cubicBezTo>
                  <a:pt x="2372471" y="5653234"/>
                  <a:pt x="2377937" y="5645946"/>
                  <a:pt x="2354249" y="5629546"/>
                </a:cubicBezTo>
                <a:lnTo>
                  <a:pt x="2361538" y="5614969"/>
                </a:lnTo>
                <a:lnTo>
                  <a:pt x="2346960" y="5614969"/>
                </a:lnTo>
                <a:cubicBezTo>
                  <a:pt x="2352427" y="5589458"/>
                  <a:pt x="2354249" y="5602214"/>
                  <a:pt x="2346960" y="5583992"/>
                </a:cubicBezTo>
                <a:cubicBezTo>
                  <a:pt x="2363360" y="5571237"/>
                  <a:pt x="2356071" y="5582170"/>
                  <a:pt x="2361538" y="5562125"/>
                </a:cubicBezTo>
                <a:close/>
                <a:moveTo>
                  <a:pt x="2999300" y="5532970"/>
                </a:moveTo>
                <a:lnTo>
                  <a:pt x="3008410" y="5547548"/>
                </a:lnTo>
                <a:cubicBezTo>
                  <a:pt x="2993833" y="5583991"/>
                  <a:pt x="3012055" y="5543903"/>
                  <a:pt x="3008410" y="5569414"/>
                </a:cubicBezTo>
                <a:cubicBezTo>
                  <a:pt x="2993833" y="5569414"/>
                  <a:pt x="2977433" y="5569414"/>
                  <a:pt x="2977433" y="5554837"/>
                </a:cubicBezTo>
                <a:cubicBezTo>
                  <a:pt x="2977433" y="5534793"/>
                  <a:pt x="2982900" y="5536615"/>
                  <a:pt x="2999300" y="5532970"/>
                </a:cubicBezTo>
                <a:close/>
                <a:moveTo>
                  <a:pt x="2321450" y="5532970"/>
                </a:moveTo>
                <a:lnTo>
                  <a:pt x="2343316" y="5532970"/>
                </a:lnTo>
                <a:cubicBezTo>
                  <a:pt x="2326917" y="5569414"/>
                  <a:pt x="2346961" y="5529326"/>
                  <a:pt x="2343316" y="5554837"/>
                </a:cubicBezTo>
                <a:lnTo>
                  <a:pt x="2321450" y="5554837"/>
                </a:lnTo>
                <a:close/>
                <a:moveTo>
                  <a:pt x="1984347" y="5532970"/>
                </a:moveTo>
                <a:lnTo>
                  <a:pt x="2006214" y="5532970"/>
                </a:lnTo>
                <a:lnTo>
                  <a:pt x="2006214" y="5554837"/>
                </a:lnTo>
                <a:cubicBezTo>
                  <a:pt x="1973414" y="5547548"/>
                  <a:pt x="1997102" y="5556659"/>
                  <a:pt x="1984347" y="5532970"/>
                </a:cubicBezTo>
                <a:close/>
                <a:moveTo>
                  <a:pt x="3099518" y="5509281"/>
                </a:moveTo>
                <a:lnTo>
                  <a:pt x="3114095" y="5523858"/>
                </a:lnTo>
                <a:lnTo>
                  <a:pt x="3099518" y="5523858"/>
                </a:lnTo>
                <a:close/>
                <a:moveTo>
                  <a:pt x="2835303" y="5509281"/>
                </a:moveTo>
                <a:cubicBezTo>
                  <a:pt x="2851702" y="5509281"/>
                  <a:pt x="2851702" y="5514748"/>
                  <a:pt x="2866280" y="5525681"/>
                </a:cubicBezTo>
                <a:lnTo>
                  <a:pt x="2849880" y="5540258"/>
                </a:lnTo>
                <a:lnTo>
                  <a:pt x="2857169" y="5554836"/>
                </a:lnTo>
                <a:lnTo>
                  <a:pt x="2835303" y="5554836"/>
                </a:lnTo>
                <a:cubicBezTo>
                  <a:pt x="2848058" y="5585812"/>
                  <a:pt x="2829836" y="5553013"/>
                  <a:pt x="2842592" y="5583990"/>
                </a:cubicBezTo>
                <a:lnTo>
                  <a:pt x="2818903" y="5602212"/>
                </a:lnTo>
                <a:cubicBezTo>
                  <a:pt x="2813437" y="5593101"/>
                  <a:pt x="2797037" y="5576701"/>
                  <a:pt x="2797037" y="5571235"/>
                </a:cubicBezTo>
                <a:cubicBezTo>
                  <a:pt x="2797037" y="5551191"/>
                  <a:pt x="2807970" y="5549369"/>
                  <a:pt x="2820726" y="5540258"/>
                </a:cubicBezTo>
                <a:lnTo>
                  <a:pt x="2811615" y="5525681"/>
                </a:lnTo>
                <a:cubicBezTo>
                  <a:pt x="2818903" y="5520214"/>
                  <a:pt x="2831658" y="5509281"/>
                  <a:pt x="2835303" y="5509281"/>
                </a:cubicBezTo>
                <a:close/>
                <a:moveTo>
                  <a:pt x="1984348" y="5501993"/>
                </a:moveTo>
                <a:lnTo>
                  <a:pt x="1973416" y="5518393"/>
                </a:lnTo>
                <a:lnTo>
                  <a:pt x="1958837" y="5503815"/>
                </a:lnTo>
                <a:close/>
                <a:moveTo>
                  <a:pt x="1588935" y="5494704"/>
                </a:moveTo>
                <a:lnTo>
                  <a:pt x="1619912" y="5501993"/>
                </a:lnTo>
                <a:lnTo>
                  <a:pt x="1610801" y="5516572"/>
                </a:lnTo>
                <a:lnTo>
                  <a:pt x="1627201" y="5516572"/>
                </a:lnTo>
                <a:lnTo>
                  <a:pt x="1627201" y="5547549"/>
                </a:lnTo>
                <a:cubicBezTo>
                  <a:pt x="1627201" y="5574881"/>
                  <a:pt x="1625380" y="5549370"/>
                  <a:pt x="1634489" y="5569414"/>
                </a:cubicBezTo>
                <a:lnTo>
                  <a:pt x="1619912" y="5569414"/>
                </a:lnTo>
                <a:lnTo>
                  <a:pt x="1618090" y="5580348"/>
                </a:lnTo>
                <a:lnTo>
                  <a:pt x="1596225" y="5589458"/>
                </a:lnTo>
                <a:lnTo>
                  <a:pt x="1557958" y="5574881"/>
                </a:lnTo>
                <a:lnTo>
                  <a:pt x="1557958" y="5560304"/>
                </a:lnTo>
                <a:lnTo>
                  <a:pt x="1557958" y="5553015"/>
                </a:lnTo>
                <a:lnTo>
                  <a:pt x="1559781" y="5531149"/>
                </a:lnTo>
                <a:lnTo>
                  <a:pt x="1567069" y="5501993"/>
                </a:lnTo>
                <a:close/>
                <a:moveTo>
                  <a:pt x="1490539" y="5492882"/>
                </a:moveTo>
                <a:lnTo>
                  <a:pt x="1499650" y="5509282"/>
                </a:lnTo>
                <a:lnTo>
                  <a:pt x="1475961" y="5507459"/>
                </a:lnTo>
                <a:close/>
                <a:moveTo>
                  <a:pt x="2465401" y="5487415"/>
                </a:moveTo>
                <a:lnTo>
                  <a:pt x="2481801" y="5489238"/>
                </a:lnTo>
                <a:lnTo>
                  <a:pt x="2467223" y="5503815"/>
                </a:lnTo>
                <a:close/>
                <a:moveTo>
                  <a:pt x="1011307" y="5487415"/>
                </a:moveTo>
                <a:cubicBezTo>
                  <a:pt x="1029529" y="5496526"/>
                  <a:pt x="1013129" y="5494704"/>
                  <a:pt x="1033173" y="5487415"/>
                </a:cubicBezTo>
                <a:cubicBezTo>
                  <a:pt x="1045929" y="5505638"/>
                  <a:pt x="1042284" y="5509283"/>
                  <a:pt x="1064151" y="5518393"/>
                </a:cubicBezTo>
                <a:cubicBezTo>
                  <a:pt x="1056861" y="5538437"/>
                  <a:pt x="1056861" y="5522037"/>
                  <a:pt x="1064151" y="5540259"/>
                </a:cubicBezTo>
                <a:lnTo>
                  <a:pt x="1049572" y="5549370"/>
                </a:lnTo>
                <a:lnTo>
                  <a:pt x="1058683" y="5563948"/>
                </a:lnTo>
                <a:lnTo>
                  <a:pt x="1036818" y="5571236"/>
                </a:lnTo>
                <a:lnTo>
                  <a:pt x="1027707" y="5585813"/>
                </a:lnTo>
                <a:lnTo>
                  <a:pt x="1034995" y="5600391"/>
                </a:lnTo>
                <a:lnTo>
                  <a:pt x="1011307" y="5600391"/>
                </a:lnTo>
                <a:lnTo>
                  <a:pt x="1018596" y="5585813"/>
                </a:lnTo>
                <a:lnTo>
                  <a:pt x="996729" y="5583992"/>
                </a:lnTo>
                <a:lnTo>
                  <a:pt x="983974" y="5571236"/>
                </a:lnTo>
                <a:lnTo>
                  <a:pt x="983974" y="5518393"/>
                </a:lnTo>
                <a:close/>
                <a:moveTo>
                  <a:pt x="2804327" y="5463728"/>
                </a:moveTo>
                <a:lnTo>
                  <a:pt x="2811616" y="5478305"/>
                </a:lnTo>
                <a:lnTo>
                  <a:pt x="2804327" y="5487416"/>
                </a:lnTo>
                <a:lnTo>
                  <a:pt x="2787927" y="5478305"/>
                </a:lnTo>
                <a:close/>
                <a:moveTo>
                  <a:pt x="1530626" y="5449149"/>
                </a:moveTo>
                <a:lnTo>
                  <a:pt x="1545204" y="5463727"/>
                </a:lnTo>
                <a:lnTo>
                  <a:pt x="1530626" y="5463727"/>
                </a:lnTo>
                <a:close/>
                <a:moveTo>
                  <a:pt x="2804326" y="5432750"/>
                </a:moveTo>
                <a:lnTo>
                  <a:pt x="2804326" y="5449150"/>
                </a:lnTo>
                <a:lnTo>
                  <a:pt x="2787926" y="5447328"/>
                </a:lnTo>
                <a:close/>
                <a:moveTo>
                  <a:pt x="971219" y="5412707"/>
                </a:moveTo>
                <a:cubicBezTo>
                  <a:pt x="996729" y="5419996"/>
                  <a:pt x="998552" y="5427285"/>
                  <a:pt x="971219" y="5434574"/>
                </a:cubicBezTo>
                <a:close/>
                <a:moveTo>
                  <a:pt x="1175302" y="5410884"/>
                </a:moveTo>
                <a:lnTo>
                  <a:pt x="1191703" y="5427284"/>
                </a:lnTo>
                <a:lnTo>
                  <a:pt x="1175302" y="5427284"/>
                </a:lnTo>
                <a:close/>
                <a:moveTo>
                  <a:pt x="3287202" y="5396306"/>
                </a:moveTo>
                <a:lnTo>
                  <a:pt x="3287202" y="5412706"/>
                </a:lnTo>
                <a:lnTo>
                  <a:pt x="3270802" y="5398129"/>
                </a:lnTo>
                <a:close/>
                <a:moveTo>
                  <a:pt x="2332383" y="5387197"/>
                </a:moveTo>
                <a:lnTo>
                  <a:pt x="2350605" y="5410886"/>
                </a:lnTo>
                <a:lnTo>
                  <a:pt x="2343316" y="5419997"/>
                </a:lnTo>
                <a:lnTo>
                  <a:pt x="2321450" y="5398130"/>
                </a:lnTo>
                <a:close/>
                <a:moveTo>
                  <a:pt x="752558" y="5381730"/>
                </a:moveTo>
                <a:lnTo>
                  <a:pt x="767136" y="5381730"/>
                </a:lnTo>
                <a:lnTo>
                  <a:pt x="776246" y="5403596"/>
                </a:lnTo>
                <a:lnTo>
                  <a:pt x="759848" y="5412707"/>
                </a:lnTo>
                <a:close/>
                <a:moveTo>
                  <a:pt x="2292295" y="5374442"/>
                </a:moveTo>
                <a:lnTo>
                  <a:pt x="2297761" y="5387197"/>
                </a:lnTo>
                <a:lnTo>
                  <a:pt x="2290472" y="5398130"/>
                </a:lnTo>
                <a:lnTo>
                  <a:pt x="2277717" y="5381731"/>
                </a:lnTo>
                <a:close/>
                <a:moveTo>
                  <a:pt x="2653086" y="5352575"/>
                </a:moveTo>
                <a:cubicBezTo>
                  <a:pt x="2684063" y="5354398"/>
                  <a:pt x="2676774" y="5347109"/>
                  <a:pt x="2684063" y="5374442"/>
                </a:cubicBezTo>
                <a:cubicBezTo>
                  <a:pt x="2658553" y="5367152"/>
                  <a:pt x="2667663" y="5370797"/>
                  <a:pt x="2653086" y="5352575"/>
                </a:cubicBezTo>
                <a:close/>
                <a:moveTo>
                  <a:pt x="2301406" y="5350753"/>
                </a:moveTo>
                <a:lnTo>
                  <a:pt x="2292295" y="5374442"/>
                </a:lnTo>
                <a:lnTo>
                  <a:pt x="2285006" y="5359864"/>
                </a:lnTo>
                <a:close/>
                <a:moveTo>
                  <a:pt x="3077652" y="5337998"/>
                </a:moveTo>
                <a:lnTo>
                  <a:pt x="3066719" y="5376263"/>
                </a:lnTo>
                <a:lnTo>
                  <a:pt x="3044853" y="5354398"/>
                </a:lnTo>
                <a:cubicBezTo>
                  <a:pt x="3063075" y="5339820"/>
                  <a:pt x="3053964" y="5343465"/>
                  <a:pt x="3077652" y="5337998"/>
                </a:cubicBezTo>
                <a:close/>
                <a:moveTo>
                  <a:pt x="2592955" y="5336175"/>
                </a:moveTo>
                <a:lnTo>
                  <a:pt x="2603887" y="5358041"/>
                </a:lnTo>
                <a:lnTo>
                  <a:pt x="2594777" y="5372619"/>
                </a:lnTo>
                <a:cubicBezTo>
                  <a:pt x="2598421" y="5379907"/>
                  <a:pt x="2605710" y="5394484"/>
                  <a:pt x="2587488" y="5394484"/>
                </a:cubicBezTo>
                <a:cubicBezTo>
                  <a:pt x="2569266" y="5394484"/>
                  <a:pt x="2565622" y="5383552"/>
                  <a:pt x="2549222" y="5372619"/>
                </a:cubicBezTo>
                <a:cubicBezTo>
                  <a:pt x="2558333" y="5354397"/>
                  <a:pt x="2556511" y="5370796"/>
                  <a:pt x="2549222" y="5350752"/>
                </a:cubicBezTo>
                <a:cubicBezTo>
                  <a:pt x="2565622" y="5339819"/>
                  <a:pt x="2563800" y="5336175"/>
                  <a:pt x="2592955" y="5336175"/>
                </a:cubicBezTo>
                <a:close/>
                <a:moveTo>
                  <a:pt x="2993833" y="5319776"/>
                </a:moveTo>
                <a:cubicBezTo>
                  <a:pt x="3012055" y="5319776"/>
                  <a:pt x="3012055" y="5325243"/>
                  <a:pt x="3024810" y="5334353"/>
                </a:cubicBezTo>
                <a:cubicBezTo>
                  <a:pt x="3008411" y="5359864"/>
                  <a:pt x="3012055" y="5339820"/>
                  <a:pt x="3010233" y="5372619"/>
                </a:cubicBezTo>
                <a:cubicBezTo>
                  <a:pt x="2977434" y="5370797"/>
                  <a:pt x="2995655" y="5374441"/>
                  <a:pt x="2971967" y="5358041"/>
                </a:cubicBezTo>
                <a:cubicBezTo>
                  <a:pt x="2981078" y="5339820"/>
                  <a:pt x="2979256" y="5356220"/>
                  <a:pt x="2971967" y="5336176"/>
                </a:cubicBezTo>
                <a:cubicBezTo>
                  <a:pt x="2977434" y="5332531"/>
                  <a:pt x="2990189" y="5321598"/>
                  <a:pt x="2993833" y="5319776"/>
                </a:cubicBezTo>
                <a:close/>
                <a:moveTo>
                  <a:pt x="819978" y="5307020"/>
                </a:moveTo>
                <a:lnTo>
                  <a:pt x="858244" y="5307020"/>
                </a:lnTo>
                <a:cubicBezTo>
                  <a:pt x="865533" y="5332531"/>
                  <a:pt x="860066" y="5323420"/>
                  <a:pt x="881932" y="5337997"/>
                </a:cubicBezTo>
                <a:lnTo>
                  <a:pt x="867355" y="5352575"/>
                </a:lnTo>
                <a:lnTo>
                  <a:pt x="872821" y="5365330"/>
                </a:lnTo>
                <a:cubicBezTo>
                  <a:pt x="861889" y="5372619"/>
                  <a:pt x="840022" y="5396307"/>
                  <a:pt x="834556" y="5396307"/>
                </a:cubicBezTo>
                <a:cubicBezTo>
                  <a:pt x="809045" y="5396307"/>
                  <a:pt x="814512" y="5387196"/>
                  <a:pt x="819978" y="5374441"/>
                </a:cubicBezTo>
                <a:cubicBezTo>
                  <a:pt x="814512" y="5370796"/>
                  <a:pt x="798112" y="5363508"/>
                  <a:pt x="798112" y="5352575"/>
                </a:cubicBezTo>
                <a:cubicBezTo>
                  <a:pt x="798112" y="5325242"/>
                  <a:pt x="810867" y="5341641"/>
                  <a:pt x="819978" y="5307020"/>
                </a:cubicBezTo>
                <a:close/>
                <a:moveTo>
                  <a:pt x="2795214" y="5305199"/>
                </a:moveTo>
                <a:lnTo>
                  <a:pt x="2797037" y="5328888"/>
                </a:lnTo>
                <a:lnTo>
                  <a:pt x="2780637" y="5319777"/>
                </a:lnTo>
                <a:close/>
                <a:moveTo>
                  <a:pt x="2292295" y="5290622"/>
                </a:moveTo>
                <a:lnTo>
                  <a:pt x="2299584" y="5290622"/>
                </a:lnTo>
                <a:lnTo>
                  <a:pt x="2299584" y="5328888"/>
                </a:lnTo>
                <a:cubicBezTo>
                  <a:pt x="2270429" y="5307022"/>
                  <a:pt x="2292295" y="5332532"/>
                  <a:pt x="2292295" y="5290622"/>
                </a:cubicBezTo>
                <a:close/>
                <a:moveTo>
                  <a:pt x="2350605" y="5261466"/>
                </a:moveTo>
                <a:lnTo>
                  <a:pt x="2376116" y="5261466"/>
                </a:lnTo>
                <a:lnTo>
                  <a:pt x="2367005" y="5277866"/>
                </a:lnTo>
                <a:close/>
                <a:moveTo>
                  <a:pt x="1357521" y="5259644"/>
                </a:moveTo>
                <a:lnTo>
                  <a:pt x="1372097" y="5276044"/>
                </a:lnTo>
                <a:lnTo>
                  <a:pt x="1350231" y="5285155"/>
                </a:lnTo>
                <a:close/>
                <a:moveTo>
                  <a:pt x="2857169" y="5246888"/>
                </a:moveTo>
                <a:cubicBezTo>
                  <a:pt x="2875391" y="5246888"/>
                  <a:pt x="2875391" y="5252355"/>
                  <a:pt x="2888146" y="5261465"/>
                </a:cubicBezTo>
                <a:cubicBezTo>
                  <a:pt x="2871747" y="5297909"/>
                  <a:pt x="2891791" y="5257821"/>
                  <a:pt x="2886324" y="5285153"/>
                </a:cubicBezTo>
                <a:lnTo>
                  <a:pt x="2879036" y="5297909"/>
                </a:lnTo>
                <a:lnTo>
                  <a:pt x="2857169" y="5307020"/>
                </a:lnTo>
                <a:cubicBezTo>
                  <a:pt x="2851703" y="5296087"/>
                  <a:pt x="2828014" y="5246888"/>
                  <a:pt x="2857169" y="5246888"/>
                </a:cubicBezTo>
                <a:close/>
                <a:moveTo>
                  <a:pt x="2556510" y="5245066"/>
                </a:moveTo>
                <a:lnTo>
                  <a:pt x="2572910" y="5246889"/>
                </a:lnTo>
                <a:lnTo>
                  <a:pt x="2558332" y="5261466"/>
                </a:lnTo>
                <a:close/>
                <a:moveTo>
                  <a:pt x="963930" y="5230488"/>
                </a:moveTo>
                <a:cubicBezTo>
                  <a:pt x="983974" y="5239599"/>
                  <a:pt x="967574" y="5237777"/>
                  <a:pt x="985796" y="5232311"/>
                </a:cubicBezTo>
                <a:lnTo>
                  <a:pt x="1018596" y="5261465"/>
                </a:lnTo>
                <a:lnTo>
                  <a:pt x="1011307" y="5274221"/>
                </a:lnTo>
                <a:lnTo>
                  <a:pt x="1022240" y="5288798"/>
                </a:lnTo>
                <a:lnTo>
                  <a:pt x="1007663" y="5305197"/>
                </a:lnTo>
                <a:lnTo>
                  <a:pt x="1016774" y="5327064"/>
                </a:lnTo>
                <a:cubicBezTo>
                  <a:pt x="1011307" y="5332530"/>
                  <a:pt x="1009485" y="5336175"/>
                  <a:pt x="1007663" y="5337997"/>
                </a:cubicBezTo>
                <a:cubicBezTo>
                  <a:pt x="1004018" y="5337997"/>
                  <a:pt x="1000374" y="5337997"/>
                  <a:pt x="993085" y="5341641"/>
                </a:cubicBezTo>
                <a:lnTo>
                  <a:pt x="996729" y="5356219"/>
                </a:lnTo>
                <a:lnTo>
                  <a:pt x="993085" y="5379907"/>
                </a:lnTo>
                <a:cubicBezTo>
                  <a:pt x="969397" y="5361685"/>
                  <a:pt x="980330" y="5383551"/>
                  <a:pt x="976685" y="5350752"/>
                </a:cubicBezTo>
                <a:lnTo>
                  <a:pt x="940242" y="5319775"/>
                </a:lnTo>
                <a:lnTo>
                  <a:pt x="940242" y="5305197"/>
                </a:lnTo>
                <a:lnTo>
                  <a:pt x="940242" y="5297909"/>
                </a:lnTo>
                <a:cubicBezTo>
                  <a:pt x="940242" y="5268754"/>
                  <a:pt x="942064" y="5294264"/>
                  <a:pt x="932953" y="5283332"/>
                </a:cubicBezTo>
                <a:cubicBezTo>
                  <a:pt x="942064" y="5265110"/>
                  <a:pt x="940242" y="5281509"/>
                  <a:pt x="932953" y="5261465"/>
                </a:cubicBezTo>
                <a:close/>
                <a:moveTo>
                  <a:pt x="1275522" y="5168536"/>
                </a:moveTo>
                <a:cubicBezTo>
                  <a:pt x="1284633" y="5183114"/>
                  <a:pt x="1290100" y="5183114"/>
                  <a:pt x="1290100" y="5199513"/>
                </a:cubicBezTo>
                <a:lnTo>
                  <a:pt x="1290100" y="5221379"/>
                </a:lnTo>
                <a:cubicBezTo>
                  <a:pt x="1257300" y="5219557"/>
                  <a:pt x="1275522" y="5223201"/>
                  <a:pt x="1251833" y="5206802"/>
                </a:cubicBezTo>
                <a:cubicBezTo>
                  <a:pt x="1260944" y="5188580"/>
                  <a:pt x="1259122" y="5204980"/>
                  <a:pt x="1251833" y="5184936"/>
                </a:cubicBezTo>
                <a:close/>
                <a:moveTo>
                  <a:pt x="2097323" y="5148492"/>
                </a:moveTo>
                <a:lnTo>
                  <a:pt x="2086390" y="5179469"/>
                </a:lnTo>
                <a:lnTo>
                  <a:pt x="2064524" y="5157603"/>
                </a:lnTo>
                <a:close/>
                <a:moveTo>
                  <a:pt x="1386674" y="5139380"/>
                </a:moveTo>
                <a:lnTo>
                  <a:pt x="1401252" y="5155780"/>
                </a:lnTo>
                <a:lnTo>
                  <a:pt x="1386674" y="5155780"/>
                </a:lnTo>
                <a:close/>
                <a:moveTo>
                  <a:pt x="819978" y="5117515"/>
                </a:moveTo>
                <a:lnTo>
                  <a:pt x="843667" y="5139381"/>
                </a:lnTo>
                <a:lnTo>
                  <a:pt x="827267" y="5148492"/>
                </a:lnTo>
                <a:close/>
                <a:moveTo>
                  <a:pt x="1884128" y="5115693"/>
                </a:moveTo>
                <a:lnTo>
                  <a:pt x="1891417" y="5132093"/>
                </a:lnTo>
                <a:lnTo>
                  <a:pt x="1878661" y="5139381"/>
                </a:lnTo>
                <a:lnTo>
                  <a:pt x="1867728" y="5130270"/>
                </a:lnTo>
                <a:close/>
                <a:moveTo>
                  <a:pt x="3022986" y="5086537"/>
                </a:moveTo>
                <a:cubicBezTo>
                  <a:pt x="3043030" y="5095648"/>
                  <a:pt x="3026631" y="5095648"/>
                  <a:pt x="3046674" y="5092004"/>
                </a:cubicBezTo>
                <a:lnTo>
                  <a:pt x="3068540" y="5095648"/>
                </a:lnTo>
                <a:lnTo>
                  <a:pt x="3077651" y="5124804"/>
                </a:lnTo>
                <a:lnTo>
                  <a:pt x="3077651" y="5141203"/>
                </a:lnTo>
                <a:lnTo>
                  <a:pt x="3077651" y="5155781"/>
                </a:lnTo>
                <a:lnTo>
                  <a:pt x="3061252" y="5186758"/>
                </a:lnTo>
                <a:lnTo>
                  <a:pt x="3015697" y="5177647"/>
                </a:lnTo>
                <a:lnTo>
                  <a:pt x="3022986" y="5163070"/>
                </a:lnTo>
                <a:lnTo>
                  <a:pt x="3010231" y="5153959"/>
                </a:lnTo>
                <a:lnTo>
                  <a:pt x="3002942" y="5132093"/>
                </a:lnTo>
                <a:lnTo>
                  <a:pt x="3010231" y="5102938"/>
                </a:lnTo>
                <a:close/>
                <a:moveTo>
                  <a:pt x="2472690" y="5079249"/>
                </a:moveTo>
                <a:lnTo>
                  <a:pt x="2489090" y="5088360"/>
                </a:lnTo>
                <a:lnTo>
                  <a:pt x="2474513" y="5104760"/>
                </a:lnTo>
                <a:close/>
                <a:moveTo>
                  <a:pt x="1740176" y="5073782"/>
                </a:moveTo>
                <a:cubicBezTo>
                  <a:pt x="1751110" y="5117514"/>
                  <a:pt x="1769332" y="5093826"/>
                  <a:pt x="1793020" y="5126625"/>
                </a:cubicBezTo>
                <a:lnTo>
                  <a:pt x="1814886" y="5128447"/>
                </a:lnTo>
                <a:lnTo>
                  <a:pt x="1838575" y="5150313"/>
                </a:lnTo>
                <a:lnTo>
                  <a:pt x="1838575" y="5172179"/>
                </a:lnTo>
                <a:cubicBezTo>
                  <a:pt x="1860441" y="5188580"/>
                  <a:pt x="1847685" y="5177647"/>
                  <a:pt x="1862263" y="5203157"/>
                </a:cubicBezTo>
                <a:lnTo>
                  <a:pt x="1856796" y="5215913"/>
                </a:lnTo>
                <a:lnTo>
                  <a:pt x="1862263" y="5232312"/>
                </a:lnTo>
                <a:lnTo>
                  <a:pt x="1854975" y="5246890"/>
                </a:lnTo>
                <a:lnTo>
                  <a:pt x="1854975" y="5261467"/>
                </a:lnTo>
                <a:cubicBezTo>
                  <a:pt x="1854975" y="5288800"/>
                  <a:pt x="1853152" y="5263289"/>
                  <a:pt x="1862263" y="5283333"/>
                </a:cubicBezTo>
                <a:cubicBezTo>
                  <a:pt x="1849508" y="5290622"/>
                  <a:pt x="1847685" y="5283333"/>
                  <a:pt x="1847685" y="5305199"/>
                </a:cubicBezTo>
                <a:lnTo>
                  <a:pt x="1845864" y="5305199"/>
                </a:lnTo>
                <a:lnTo>
                  <a:pt x="1845864" y="5323421"/>
                </a:lnTo>
                <a:cubicBezTo>
                  <a:pt x="1833108" y="5347109"/>
                  <a:pt x="1814886" y="5368975"/>
                  <a:pt x="1785731" y="5376264"/>
                </a:cubicBezTo>
                <a:cubicBezTo>
                  <a:pt x="1778443" y="5405419"/>
                  <a:pt x="1783909" y="5398130"/>
                  <a:pt x="1763865" y="5405419"/>
                </a:cubicBezTo>
                <a:lnTo>
                  <a:pt x="1778443" y="5443684"/>
                </a:lnTo>
                <a:lnTo>
                  <a:pt x="1769332" y="5458261"/>
                </a:lnTo>
                <a:lnTo>
                  <a:pt x="1769332" y="5472839"/>
                </a:lnTo>
                <a:lnTo>
                  <a:pt x="1769332" y="5494705"/>
                </a:lnTo>
                <a:lnTo>
                  <a:pt x="1769332" y="5509283"/>
                </a:lnTo>
                <a:lnTo>
                  <a:pt x="1740176" y="5523860"/>
                </a:lnTo>
                <a:cubicBezTo>
                  <a:pt x="1729243" y="5516571"/>
                  <a:pt x="1709199" y="5500172"/>
                  <a:pt x="1709199" y="5485594"/>
                </a:cubicBezTo>
                <a:cubicBezTo>
                  <a:pt x="1709199" y="5465551"/>
                  <a:pt x="1720132" y="5465551"/>
                  <a:pt x="1723777" y="5432751"/>
                </a:cubicBezTo>
                <a:cubicBezTo>
                  <a:pt x="1690977" y="5445507"/>
                  <a:pt x="1723777" y="5427285"/>
                  <a:pt x="1692800" y="5440040"/>
                </a:cubicBezTo>
                <a:lnTo>
                  <a:pt x="1684599" y="5433206"/>
                </a:lnTo>
                <a:lnTo>
                  <a:pt x="1681867" y="5430929"/>
                </a:lnTo>
                <a:cubicBezTo>
                  <a:pt x="1681867" y="5429107"/>
                  <a:pt x="1680044" y="5425463"/>
                  <a:pt x="1678222" y="5418174"/>
                </a:cubicBezTo>
                <a:cubicBezTo>
                  <a:pt x="1632669" y="5414529"/>
                  <a:pt x="1661824" y="5403596"/>
                  <a:pt x="1632669" y="5403596"/>
                </a:cubicBezTo>
                <a:lnTo>
                  <a:pt x="1625380" y="5403596"/>
                </a:lnTo>
                <a:lnTo>
                  <a:pt x="1610802" y="5401774"/>
                </a:lnTo>
                <a:lnTo>
                  <a:pt x="1587114" y="5372620"/>
                </a:lnTo>
                <a:lnTo>
                  <a:pt x="1565247" y="5372620"/>
                </a:lnTo>
                <a:lnTo>
                  <a:pt x="1548848" y="5350753"/>
                </a:lnTo>
                <a:cubicBezTo>
                  <a:pt x="1541559" y="5354398"/>
                  <a:pt x="1526982" y="5361686"/>
                  <a:pt x="1526982" y="5343465"/>
                </a:cubicBezTo>
                <a:cubicBezTo>
                  <a:pt x="1526982" y="5314310"/>
                  <a:pt x="1525160" y="5341642"/>
                  <a:pt x="1534270" y="5321598"/>
                </a:cubicBezTo>
                <a:lnTo>
                  <a:pt x="1526982" y="5299733"/>
                </a:lnTo>
                <a:lnTo>
                  <a:pt x="1488716" y="5314310"/>
                </a:lnTo>
                <a:lnTo>
                  <a:pt x="1474139" y="5314310"/>
                </a:lnTo>
                <a:cubicBezTo>
                  <a:pt x="1454095" y="5314310"/>
                  <a:pt x="1452273" y="5303377"/>
                  <a:pt x="1443162" y="5290622"/>
                </a:cubicBezTo>
                <a:lnTo>
                  <a:pt x="1450451" y="5270578"/>
                </a:lnTo>
                <a:lnTo>
                  <a:pt x="1443162" y="5261467"/>
                </a:lnTo>
                <a:lnTo>
                  <a:pt x="1421296" y="5277866"/>
                </a:lnTo>
                <a:lnTo>
                  <a:pt x="1406718" y="5246890"/>
                </a:lnTo>
                <a:lnTo>
                  <a:pt x="1421296" y="5215913"/>
                </a:lnTo>
                <a:lnTo>
                  <a:pt x="1414007" y="5201335"/>
                </a:lnTo>
                <a:cubicBezTo>
                  <a:pt x="1419474" y="5195869"/>
                  <a:pt x="1421296" y="5192225"/>
                  <a:pt x="1423118" y="5190402"/>
                </a:cubicBezTo>
                <a:cubicBezTo>
                  <a:pt x="1426762" y="5190402"/>
                  <a:pt x="1430407" y="5190402"/>
                  <a:pt x="1437695" y="5186758"/>
                </a:cubicBezTo>
                <a:lnTo>
                  <a:pt x="1428584" y="5172179"/>
                </a:lnTo>
                <a:lnTo>
                  <a:pt x="1452273" y="5164891"/>
                </a:lnTo>
                <a:lnTo>
                  <a:pt x="1481427" y="5172179"/>
                </a:lnTo>
                <a:lnTo>
                  <a:pt x="1497827" y="5184935"/>
                </a:lnTo>
                <a:lnTo>
                  <a:pt x="1497827" y="5199513"/>
                </a:lnTo>
                <a:lnTo>
                  <a:pt x="1497827" y="5206802"/>
                </a:lnTo>
                <a:lnTo>
                  <a:pt x="1497827" y="5223201"/>
                </a:lnTo>
                <a:lnTo>
                  <a:pt x="1506938" y="5239601"/>
                </a:lnTo>
                <a:lnTo>
                  <a:pt x="1492360" y="5259645"/>
                </a:lnTo>
                <a:lnTo>
                  <a:pt x="1499649" y="5270578"/>
                </a:lnTo>
                <a:lnTo>
                  <a:pt x="1536093" y="5230490"/>
                </a:lnTo>
                <a:cubicBezTo>
                  <a:pt x="1530626" y="5221379"/>
                  <a:pt x="1528804" y="5223201"/>
                  <a:pt x="1528804" y="5208624"/>
                </a:cubicBezTo>
                <a:cubicBezTo>
                  <a:pt x="1528804" y="5199513"/>
                  <a:pt x="1579825" y="5130269"/>
                  <a:pt x="1588936" y="5117514"/>
                </a:cubicBezTo>
                <a:lnTo>
                  <a:pt x="1603513" y="5124803"/>
                </a:lnTo>
                <a:lnTo>
                  <a:pt x="1610802" y="5110226"/>
                </a:lnTo>
                <a:lnTo>
                  <a:pt x="1632669" y="5110226"/>
                </a:lnTo>
                <a:lnTo>
                  <a:pt x="1641780" y="5097470"/>
                </a:lnTo>
                <a:lnTo>
                  <a:pt x="1663645" y="5088359"/>
                </a:lnTo>
                <a:cubicBezTo>
                  <a:pt x="1689155" y="5099293"/>
                  <a:pt x="1683689" y="5084715"/>
                  <a:pt x="1709199" y="5095648"/>
                </a:cubicBezTo>
                <a:cubicBezTo>
                  <a:pt x="1723777" y="5077426"/>
                  <a:pt x="1714666" y="5081071"/>
                  <a:pt x="1740176" y="5073782"/>
                </a:cubicBezTo>
                <a:close/>
                <a:moveTo>
                  <a:pt x="956641" y="5064671"/>
                </a:moveTo>
                <a:cubicBezTo>
                  <a:pt x="989441" y="5073782"/>
                  <a:pt x="1005841" y="5070138"/>
                  <a:pt x="994907" y="5095648"/>
                </a:cubicBezTo>
                <a:cubicBezTo>
                  <a:pt x="1004018" y="5102936"/>
                  <a:pt x="1002196" y="5082893"/>
                  <a:pt x="1002196" y="5110226"/>
                </a:cubicBezTo>
                <a:lnTo>
                  <a:pt x="1002196" y="5117514"/>
                </a:lnTo>
                <a:cubicBezTo>
                  <a:pt x="1002196" y="5146669"/>
                  <a:pt x="998552" y="5121158"/>
                  <a:pt x="1007663" y="5139380"/>
                </a:cubicBezTo>
                <a:lnTo>
                  <a:pt x="971219" y="5170357"/>
                </a:lnTo>
                <a:lnTo>
                  <a:pt x="971219" y="5194045"/>
                </a:lnTo>
                <a:lnTo>
                  <a:pt x="942063" y="5184934"/>
                </a:lnTo>
                <a:lnTo>
                  <a:pt x="934775" y="5199512"/>
                </a:lnTo>
                <a:cubicBezTo>
                  <a:pt x="914731" y="5192223"/>
                  <a:pt x="931130" y="5192223"/>
                  <a:pt x="909264" y="5197690"/>
                </a:cubicBezTo>
                <a:lnTo>
                  <a:pt x="918375" y="5161246"/>
                </a:lnTo>
                <a:lnTo>
                  <a:pt x="887398" y="5159424"/>
                </a:lnTo>
                <a:lnTo>
                  <a:pt x="911086" y="5137558"/>
                </a:lnTo>
                <a:cubicBezTo>
                  <a:pt x="898331" y="5106581"/>
                  <a:pt x="916553" y="5139380"/>
                  <a:pt x="907442" y="5108403"/>
                </a:cubicBezTo>
                <a:lnTo>
                  <a:pt x="912909" y="5086537"/>
                </a:lnTo>
                <a:lnTo>
                  <a:pt x="927486" y="5070138"/>
                </a:lnTo>
                <a:lnTo>
                  <a:pt x="940241" y="5077426"/>
                </a:lnTo>
                <a:close/>
                <a:moveTo>
                  <a:pt x="2292295" y="5050093"/>
                </a:moveTo>
                <a:lnTo>
                  <a:pt x="2306873" y="5064671"/>
                </a:lnTo>
                <a:lnTo>
                  <a:pt x="2292295" y="5064671"/>
                </a:lnTo>
                <a:close/>
                <a:moveTo>
                  <a:pt x="1129748" y="5042806"/>
                </a:moveTo>
                <a:cubicBezTo>
                  <a:pt x="1127926" y="5081072"/>
                  <a:pt x="1116992" y="5070139"/>
                  <a:pt x="1115170" y="5073783"/>
                </a:cubicBezTo>
                <a:cubicBezTo>
                  <a:pt x="1116992" y="5037340"/>
                  <a:pt x="1106059" y="5059206"/>
                  <a:pt x="1129748" y="5042806"/>
                </a:cubicBezTo>
                <a:close/>
                <a:moveTo>
                  <a:pt x="1800308" y="5017295"/>
                </a:moveTo>
                <a:lnTo>
                  <a:pt x="1802130" y="5042806"/>
                </a:lnTo>
                <a:lnTo>
                  <a:pt x="1785730" y="5033695"/>
                </a:lnTo>
                <a:close/>
                <a:moveTo>
                  <a:pt x="807223" y="5011829"/>
                </a:moveTo>
                <a:lnTo>
                  <a:pt x="823623" y="5020940"/>
                </a:lnTo>
                <a:lnTo>
                  <a:pt x="798114" y="5042806"/>
                </a:lnTo>
                <a:lnTo>
                  <a:pt x="796290" y="5066494"/>
                </a:lnTo>
                <a:lnTo>
                  <a:pt x="783535" y="5050095"/>
                </a:lnTo>
                <a:lnTo>
                  <a:pt x="798112" y="5042806"/>
                </a:lnTo>
                <a:close/>
                <a:moveTo>
                  <a:pt x="2368827" y="5004540"/>
                </a:moveTo>
                <a:lnTo>
                  <a:pt x="2383405" y="5013651"/>
                </a:lnTo>
                <a:lnTo>
                  <a:pt x="2368827" y="5026407"/>
                </a:lnTo>
                <a:lnTo>
                  <a:pt x="2359716" y="5019118"/>
                </a:lnTo>
                <a:close/>
                <a:moveTo>
                  <a:pt x="1506938" y="5002718"/>
                </a:moveTo>
                <a:lnTo>
                  <a:pt x="1537915" y="5002718"/>
                </a:lnTo>
                <a:cubicBezTo>
                  <a:pt x="1543382" y="5024585"/>
                  <a:pt x="1541561" y="5013651"/>
                  <a:pt x="1552494" y="5031873"/>
                </a:cubicBezTo>
                <a:lnTo>
                  <a:pt x="1537915" y="5040984"/>
                </a:lnTo>
                <a:lnTo>
                  <a:pt x="1530627" y="5019118"/>
                </a:lnTo>
                <a:cubicBezTo>
                  <a:pt x="1508761" y="5013651"/>
                  <a:pt x="1519694" y="5020940"/>
                  <a:pt x="1506938" y="5002718"/>
                </a:cubicBezTo>
                <a:close/>
                <a:moveTo>
                  <a:pt x="1033173" y="4975385"/>
                </a:moveTo>
                <a:lnTo>
                  <a:pt x="1053217" y="4975385"/>
                </a:lnTo>
                <a:lnTo>
                  <a:pt x="1060507" y="4995429"/>
                </a:lnTo>
                <a:lnTo>
                  <a:pt x="1045929" y="5013651"/>
                </a:lnTo>
                <a:lnTo>
                  <a:pt x="1025884" y="4997252"/>
                </a:lnTo>
                <a:close/>
                <a:moveTo>
                  <a:pt x="2926412" y="4973563"/>
                </a:moveTo>
                <a:cubicBezTo>
                  <a:pt x="2944634" y="4982674"/>
                  <a:pt x="2928234" y="4980852"/>
                  <a:pt x="2948278" y="4973563"/>
                </a:cubicBezTo>
                <a:lnTo>
                  <a:pt x="2948278" y="5011828"/>
                </a:lnTo>
                <a:cubicBezTo>
                  <a:pt x="2928234" y="4997251"/>
                  <a:pt x="2930057" y="5004540"/>
                  <a:pt x="2926412" y="4973563"/>
                </a:cubicBezTo>
                <a:close/>
                <a:moveTo>
                  <a:pt x="1144326" y="4949875"/>
                </a:moveTo>
                <a:lnTo>
                  <a:pt x="1151614" y="4964453"/>
                </a:lnTo>
                <a:lnTo>
                  <a:pt x="1144326" y="4975386"/>
                </a:lnTo>
                <a:lnTo>
                  <a:pt x="1129748" y="4964453"/>
                </a:lnTo>
                <a:close/>
                <a:moveTo>
                  <a:pt x="3332756" y="4942586"/>
                </a:moveTo>
                <a:lnTo>
                  <a:pt x="3349156" y="4953519"/>
                </a:lnTo>
                <a:lnTo>
                  <a:pt x="3334579" y="4968097"/>
                </a:lnTo>
                <a:close/>
                <a:moveTo>
                  <a:pt x="1649067" y="4929831"/>
                </a:moveTo>
                <a:lnTo>
                  <a:pt x="1667290" y="4944409"/>
                </a:lnTo>
                <a:lnTo>
                  <a:pt x="1658179" y="4958986"/>
                </a:lnTo>
                <a:lnTo>
                  <a:pt x="1681867" y="4958986"/>
                </a:lnTo>
                <a:cubicBezTo>
                  <a:pt x="1689155" y="4935297"/>
                  <a:pt x="1670933" y="4953520"/>
                  <a:pt x="1703733" y="4937119"/>
                </a:cubicBezTo>
                <a:cubicBezTo>
                  <a:pt x="1718310" y="4955342"/>
                  <a:pt x="1709199" y="4951697"/>
                  <a:pt x="1734710" y="4958986"/>
                </a:cubicBezTo>
                <a:cubicBezTo>
                  <a:pt x="1740176" y="4982675"/>
                  <a:pt x="1736532" y="4971741"/>
                  <a:pt x="1747465" y="4988141"/>
                </a:cubicBezTo>
                <a:lnTo>
                  <a:pt x="1725599" y="5013651"/>
                </a:lnTo>
                <a:lnTo>
                  <a:pt x="1725599" y="5026406"/>
                </a:lnTo>
                <a:lnTo>
                  <a:pt x="1741998" y="5042805"/>
                </a:lnTo>
                <a:lnTo>
                  <a:pt x="1725599" y="5042805"/>
                </a:lnTo>
                <a:lnTo>
                  <a:pt x="1725599" y="5028230"/>
                </a:lnTo>
                <a:lnTo>
                  <a:pt x="1718310" y="5035517"/>
                </a:lnTo>
                <a:cubicBezTo>
                  <a:pt x="1698266" y="5026407"/>
                  <a:pt x="1714666" y="5026407"/>
                  <a:pt x="1696444" y="5031873"/>
                </a:cubicBezTo>
                <a:lnTo>
                  <a:pt x="1680044" y="5028229"/>
                </a:lnTo>
                <a:cubicBezTo>
                  <a:pt x="1674578" y="5000896"/>
                  <a:pt x="1678222" y="5010007"/>
                  <a:pt x="1658178" y="4997252"/>
                </a:cubicBezTo>
                <a:cubicBezTo>
                  <a:pt x="1670933" y="4966275"/>
                  <a:pt x="1652713" y="4999074"/>
                  <a:pt x="1663645" y="4968097"/>
                </a:cubicBezTo>
                <a:lnTo>
                  <a:pt x="1658178" y="4958987"/>
                </a:lnTo>
                <a:lnTo>
                  <a:pt x="1645423" y="4966275"/>
                </a:lnTo>
                <a:lnTo>
                  <a:pt x="1629023" y="4944409"/>
                </a:lnTo>
                <a:close/>
                <a:moveTo>
                  <a:pt x="3287202" y="4929830"/>
                </a:moveTo>
                <a:lnTo>
                  <a:pt x="3310891" y="4929830"/>
                </a:lnTo>
                <a:lnTo>
                  <a:pt x="3301780" y="4946230"/>
                </a:lnTo>
                <a:close/>
                <a:moveTo>
                  <a:pt x="2751484" y="4928009"/>
                </a:moveTo>
                <a:lnTo>
                  <a:pt x="2758772" y="4942586"/>
                </a:lnTo>
                <a:lnTo>
                  <a:pt x="2751484" y="4951697"/>
                </a:lnTo>
                <a:lnTo>
                  <a:pt x="2735084" y="4942586"/>
                </a:lnTo>
                <a:close/>
                <a:moveTo>
                  <a:pt x="1098771" y="4928009"/>
                </a:moveTo>
                <a:lnTo>
                  <a:pt x="1129749" y="4928009"/>
                </a:lnTo>
                <a:cubicBezTo>
                  <a:pt x="1126104" y="4964453"/>
                  <a:pt x="1140682" y="4940764"/>
                  <a:pt x="1106060" y="4957164"/>
                </a:cubicBezTo>
                <a:close/>
                <a:moveTo>
                  <a:pt x="2102790" y="4922542"/>
                </a:moveTo>
                <a:lnTo>
                  <a:pt x="2126478" y="4929831"/>
                </a:lnTo>
                <a:cubicBezTo>
                  <a:pt x="2119190" y="4951697"/>
                  <a:pt x="2126478" y="4946231"/>
                  <a:pt x="2104612" y="4951697"/>
                </a:cubicBezTo>
                <a:lnTo>
                  <a:pt x="2095501" y="4929831"/>
                </a:lnTo>
                <a:close/>
                <a:moveTo>
                  <a:pt x="2787927" y="4920719"/>
                </a:moveTo>
                <a:lnTo>
                  <a:pt x="2797038" y="4937119"/>
                </a:lnTo>
                <a:lnTo>
                  <a:pt x="2773349" y="4935297"/>
                </a:lnTo>
                <a:close/>
                <a:moveTo>
                  <a:pt x="1885950" y="4915253"/>
                </a:moveTo>
                <a:lnTo>
                  <a:pt x="1907816" y="4915253"/>
                </a:lnTo>
                <a:cubicBezTo>
                  <a:pt x="1900528" y="4922542"/>
                  <a:pt x="1898705" y="4926186"/>
                  <a:pt x="1898705" y="4928009"/>
                </a:cubicBezTo>
                <a:cubicBezTo>
                  <a:pt x="1898705" y="4926186"/>
                  <a:pt x="1898705" y="4922542"/>
                  <a:pt x="1885950" y="4929830"/>
                </a:cubicBezTo>
                <a:close/>
                <a:moveTo>
                  <a:pt x="2653086" y="4904320"/>
                </a:moveTo>
                <a:lnTo>
                  <a:pt x="2653086" y="4929831"/>
                </a:lnTo>
                <a:lnTo>
                  <a:pt x="2638508" y="4920720"/>
                </a:lnTo>
                <a:close/>
                <a:moveTo>
                  <a:pt x="3205203" y="4898854"/>
                </a:moveTo>
                <a:lnTo>
                  <a:pt x="3205203" y="4920720"/>
                </a:lnTo>
                <a:lnTo>
                  <a:pt x="3190626" y="4920720"/>
                </a:lnTo>
                <a:cubicBezTo>
                  <a:pt x="3194271" y="4900677"/>
                  <a:pt x="3186982" y="4909787"/>
                  <a:pt x="3205203" y="4898854"/>
                </a:cubicBezTo>
                <a:close/>
                <a:moveTo>
                  <a:pt x="1067794" y="4889742"/>
                </a:moveTo>
                <a:lnTo>
                  <a:pt x="1076904" y="4906142"/>
                </a:lnTo>
                <a:lnTo>
                  <a:pt x="1053216" y="4904319"/>
                </a:lnTo>
                <a:close/>
                <a:moveTo>
                  <a:pt x="1694622" y="4869699"/>
                </a:moveTo>
                <a:lnTo>
                  <a:pt x="1701911" y="4875166"/>
                </a:lnTo>
                <a:lnTo>
                  <a:pt x="1694622" y="4906143"/>
                </a:lnTo>
                <a:lnTo>
                  <a:pt x="1681867" y="4906143"/>
                </a:lnTo>
                <a:lnTo>
                  <a:pt x="1674578" y="4884276"/>
                </a:lnTo>
                <a:close/>
                <a:moveTo>
                  <a:pt x="2893613" y="4869698"/>
                </a:moveTo>
                <a:lnTo>
                  <a:pt x="2919124" y="4869698"/>
                </a:lnTo>
                <a:lnTo>
                  <a:pt x="2910013" y="4886098"/>
                </a:lnTo>
                <a:close/>
                <a:moveTo>
                  <a:pt x="329813" y="4869698"/>
                </a:moveTo>
                <a:lnTo>
                  <a:pt x="353501" y="4869698"/>
                </a:lnTo>
                <a:lnTo>
                  <a:pt x="344391" y="4886098"/>
                </a:lnTo>
                <a:close/>
                <a:moveTo>
                  <a:pt x="1497827" y="4838722"/>
                </a:moveTo>
                <a:lnTo>
                  <a:pt x="1523339" y="4847833"/>
                </a:lnTo>
                <a:lnTo>
                  <a:pt x="1506938" y="4860589"/>
                </a:lnTo>
                <a:close/>
                <a:moveTo>
                  <a:pt x="1854973" y="4838721"/>
                </a:moveTo>
                <a:cubicBezTo>
                  <a:pt x="1865906" y="4847832"/>
                  <a:pt x="1876840" y="4849654"/>
                  <a:pt x="1876840" y="4869698"/>
                </a:cubicBezTo>
                <a:lnTo>
                  <a:pt x="1876840" y="4884276"/>
                </a:lnTo>
                <a:lnTo>
                  <a:pt x="1869551" y="4906142"/>
                </a:lnTo>
                <a:cubicBezTo>
                  <a:pt x="1833107" y="4897031"/>
                  <a:pt x="1853151" y="4891565"/>
                  <a:pt x="1840395" y="4860588"/>
                </a:cubicBezTo>
                <a:close/>
                <a:moveTo>
                  <a:pt x="843667" y="4838721"/>
                </a:moveTo>
                <a:cubicBezTo>
                  <a:pt x="867355" y="4847832"/>
                  <a:pt x="889222" y="4827789"/>
                  <a:pt x="889222" y="4860588"/>
                </a:cubicBezTo>
                <a:lnTo>
                  <a:pt x="889222" y="4867876"/>
                </a:lnTo>
                <a:cubicBezTo>
                  <a:pt x="889222" y="4893386"/>
                  <a:pt x="876465" y="4882454"/>
                  <a:pt x="874643" y="4898853"/>
                </a:cubicBezTo>
                <a:lnTo>
                  <a:pt x="889222" y="4907964"/>
                </a:lnTo>
                <a:lnTo>
                  <a:pt x="874643" y="4907964"/>
                </a:lnTo>
                <a:cubicBezTo>
                  <a:pt x="883754" y="4926186"/>
                  <a:pt x="881932" y="4909786"/>
                  <a:pt x="874643" y="4929830"/>
                </a:cubicBezTo>
                <a:cubicBezTo>
                  <a:pt x="850955" y="4913430"/>
                  <a:pt x="850955" y="4898853"/>
                  <a:pt x="821800" y="4891565"/>
                </a:cubicBezTo>
                <a:lnTo>
                  <a:pt x="830911" y="4855121"/>
                </a:lnTo>
                <a:close/>
                <a:moveTo>
                  <a:pt x="1401251" y="4831434"/>
                </a:moveTo>
                <a:lnTo>
                  <a:pt x="1401251" y="4853301"/>
                </a:lnTo>
                <a:cubicBezTo>
                  <a:pt x="1373919" y="4842367"/>
                  <a:pt x="1381208" y="4867878"/>
                  <a:pt x="1379385" y="4838723"/>
                </a:cubicBezTo>
                <a:close/>
                <a:moveTo>
                  <a:pt x="1650890" y="4829611"/>
                </a:moveTo>
                <a:lnTo>
                  <a:pt x="1658179" y="4829611"/>
                </a:lnTo>
                <a:lnTo>
                  <a:pt x="1658179" y="4867877"/>
                </a:lnTo>
                <a:cubicBezTo>
                  <a:pt x="1629024" y="4847833"/>
                  <a:pt x="1650890" y="4871522"/>
                  <a:pt x="1650890" y="4829611"/>
                </a:cubicBezTo>
                <a:close/>
                <a:moveTo>
                  <a:pt x="3529551" y="4829610"/>
                </a:moveTo>
                <a:cubicBezTo>
                  <a:pt x="3551417" y="4829610"/>
                  <a:pt x="3544128" y="4833255"/>
                  <a:pt x="3553239" y="4846010"/>
                </a:cubicBezTo>
                <a:lnTo>
                  <a:pt x="3567816" y="4838721"/>
                </a:lnTo>
                <a:cubicBezTo>
                  <a:pt x="3569638" y="4873343"/>
                  <a:pt x="3558706" y="4851477"/>
                  <a:pt x="3582394" y="4869698"/>
                </a:cubicBezTo>
                <a:cubicBezTo>
                  <a:pt x="3573283" y="4887920"/>
                  <a:pt x="3575105" y="4871521"/>
                  <a:pt x="3582394" y="4891565"/>
                </a:cubicBezTo>
                <a:cubicBezTo>
                  <a:pt x="3576927" y="4895209"/>
                  <a:pt x="3564172" y="4906142"/>
                  <a:pt x="3560528" y="4906142"/>
                </a:cubicBezTo>
                <a:cubicBezTo>
                  <a:pt x="3542306" y="4906142"/>
                  <a:pt x="3531373" y="4886098"/>
                  <a:pt x="3514973" y="4875165"/>
                </a:cubicBezTo>
                <a:cubicBezTo>
                  <a:pt x="3522262" y="4856943"/>
                  <a:pt x="3511329" y="4829610"/>
                  <a:pt x="3529551" y="4829610"/>
                </a:cubicBezTo>
                <a:close/>
                <a:moveTo>
                  <a:pt x="1144326" y="4815033"/>
                </a:moveTo>
                <a:lnTo>
                  <a:pt x="1146148" y="4831433"/>
                </a:lnTo>
                <a:lnTo>
                  <a:pt x="1129748" y="4829610"/>
                </a:lnTo>
                <a:close/>
                <a:moveTo>
                  <a:pt x="2797038" y="4807746"/>
                </a:moveTo>
                <a:lnTo>
                  <a:pt x="2795215" y="4833257"/>
                </a:lnTo>
                <a:lnTo>
                  <a:pt x="2773349" y="4809569"/>
                </a:lnTo>
                <a:close/>
                <a:moveTo>
                  <a:pt x="2472690" y="4807745"/>
                </a:moveTo>
                <a:lnTo>
                  <a:pt x="2489090" y="4807745"/>
                </a:lnTo>
                <a:lnTo>
                  <a:pt x="2489090" y="4824144"/>
                </a:lnTo>
                <a:lnTo>
                  <a:pt x="2503666" y="4824144"/>
                </a:lnTo>
                <a:lnTo>
                  <a:pt x="2501844" y="4840544"/>
                </a:lnTo>
                <a:lnTo>
                  <a:pt x="2489090" y="4824145"/>
                </a:lnTo>
                <a:lnTo>
                  <a:pt x="2479979" y="4816856"/>
                </a:lnTo>
                <a:close/>
                <a:moveTo>
                  <a:pt x="3678970" y="4798635"/>
                </a:moveTo>
                <a:lnTo>
                  <a:pt x="3686259" y="4815035"/>
                </a:lnTo>
                <a:lnTo>
                  <a:pt x="3678970" y="4824146"/>
                </a:lnTo>
                <a:lnTo>
                  <a:pt x="3664393" y="4815035"/>
                </a:lnTo>
                <a:close/>
                <a:moveTo>
                  <a:pt x="1732888" y="4798635"/>
                </a:moveTo>
                <a:lnTo>
                  <a:pt x="1740177" y="4815035"/>
                </a:lnTo>
                <a:lnTo>
                  <a:pt x="1732888" y="4824146"/>
                </a:lnTo>
                <a:lnTo>
                  <a:pt x="1716488" y="4815035"/>
                </a:lnTo>
                <a:close/>
                <a:moveTo>
                  <a:pt x="2472691" y="4787700"/>
                </a:moveTo>
                <a:lnTo>
                  <a:pt x="2481802" y="4793167"/>
                </a:lnTo>
                <a:lnTo>
                  <a:pt x="2472691" y="4807744"/>
                </a:lnTo>
                <a:lnTo>
                  <a:pt x="2456291" y="4798633"/>
                </a:lnTo>
                <a:close/>
                <a:moveTo>
                  <a:pt x="3301780" y="4769479"/>
                </a:moveTo>
                <a:lnTo>
                  <a:pt x="3310891" y="4785879"/>
                </a:lnTo>
                <a:lnTo>
                  <a:pt x="3287202" y="4784056"/>
                </a:lnTo>
                <a:close/>
                <a:moveTo>
                  <a:pt x="193151" y="4769479"/>
                </a:moveTo>
                <a:lnTo>
                  <a:pt x="202263" y="4785879"/>
                </a:lnTo>
                <a:lnTo>
                  <a:pt x="178573" y="4784056"/>
                </a:lnTo>
                <a:close/>
                <a:moveTo>
                  <a:pt x="1794841" y="4749435"/>
                </a:moveTo>
                <a:lnTo>
                  <a:pt x="1847684" y="4749435"/>
                </a:lnTo>
                <a:cubicBezTo>
                  <a:pt x="1834929" y="4780412"/>
                  <a:pt x="1853151" y="4747613"/>
                  <a:pt x="1840395" y="4778590"/>
                </a:cubicBezTo>
                <a:lnTo>
                  <a:pt x="1856795" y="4787701"/>
                </a:lnTo>
                <a:lnTo>
                  <a:pt x="1840395" y="4800456"/>
                </a:lnTo>
                <a:cubicBezTo>
                  <a:pt x="1853151" y="4833255"/>
                  <a:pt x="1834929" y="4800456"/>
                  <a:pt x="1847684" y="4831433"/>
                </a:cubicBezTo>
                <a:cubicBezTo>
                  <a:pt x="1809418" y="4827789"/>
                  <a:pt x="1807596" y="4805923"/>
                  <a:pt x="1778441" y="4785879"/>
                </a:cubicBezTo>
                <a:lnTo>
                  <a:pt x="1803952" y="4764013"/>
                </a:lnTo>
                <a:close/>
                <a:moveTo>
                  <a:pt x="1505115" y="4747613"/>
                </a:moveTo>
                <a:lnTo>
                  <a:pt x="1543382" y="4747613"/>
                </a:lnTo>
                <a:cubicBezTo>
                  <a:pt x="1532448" y="4773124"/>
                  <a:pt x="1547026" y="4765835"/>
                  <a:pt x="1536093" y="4785879"/>
                </a:cubicBezTo>
                <a:lnTo>
                  <a:pt x="1514226" y="4785879"/>
                </a:lnTo>
                <a:lnTo>
                  <a:pt x="1507794" y="4781056"/>
                </a:lnTo>
                <a:lnTo>
                  <a:pt x="1506937" y="4780413"/>
                </a:lnTo>
                <a:cubicBezTo>
                  <a:pt x="1508760" y="4778590"/>
                  <a:pt x="1508760" y="4774946"/>
                  <a:pt x="1510582" y="4771302"/>
                </a:cubicBezTo>
                <a:close/>
                <a:moveTo>
                  <a:pt x="2578376" y="4747612"/>
                </a:moveTo>
                <a:lnTo>
                  <a:pt x="2576553" y="4764012"/>
                </a:lnTo>
                <a:lnTo>
                  <a:pt x="2561976" y="4749435"/>
                </a:lnTo>
                <a:close/>
                <a:moveTo>
                  <a:pt x="2780639" y="4745792"/>
                </a:moveTo>
                <a:lnTo>
                  <a:pt x="2789750" y="4762192"/>
                </a:lnTo>
                <a:lnTo>
                  <a:pt x="2776994" y="4769480"/>
                </a:lnTo>
                <a:lnTo>
                  <a:pt x="2766061" y="4762192"/>
                </a:lnTo>
                <a:close/>
                <a:moveTo>
                  <a:pt x="4065270" y="4740324"/>
                </a:moveTo>
                <a:lnTo>
                  <a:pt x="4079847" y="4754902"/>
                </a:lnTo>
                <a:lnTo>
                  <a:pt x="4065270" y="4754902"/>
                </a:lnTo>
                <a:close/>
                <a:moveTo>
                  <a:pt x="2006213" y="4733035"/>
                </a:moveTo>
                <a:lnTo>
                  <a:pt x="2020791" y="4747612"/>
                </a:lnTo>
                <a:lnTo>
                  <a:pt x="2006213" y="4747612"/>
                </a:lnTo>
                <a:close/>
                <a:moveTo>
                  <a:pt x="1875017" y="4731214"/>
                </a:moveTo>
                <a:lnTo>
                  <a:pt x="1876839" y="4756725"/>
                </a:lnTo>
                <a:lnTo>
                  <a:pt x="1860439" y="4745792"/>
                </a:lnTo>
                <a:close/>
                <a:moveTo>
                  <a:pt x="1138859" y="4718459"/>
                </a:moveTo>
                <a:lnTo>
                  <a:pt x="1129747" y="4754903"/>
                </a:lnTo>
                <a:cubicBezTo>
                  <a:pt x="1118815" y="4753080"/>
                  <a:pt x="1107881" y="4753080"/>
                  <a:pt x="1107881" y="4740325"/>
                </a:cubicBezTo>
                <a:cubicBezTo>
                  <a:pt x="1107881" y="4716637"/>
                  <a:pt x="1116992" y="4720281"/>
                  <a:pt x="1138859" y="4718459"/>
                </a:cubicBezTo>
                <a:close/>
                <a:moveTo>
                  <a:pt x="850955" y="4716637"/>
                </a:moveTo>
                <a:lnTo>
                  <a:pt x="850955" y="4754903"/>
                </a:lnTo>
                <a:lnTo>
                  <a:pt x="829089" y="4754903"/>
                </a:lnTo>
                <a:cubicBezTo>
                  <a:pt x="830911" y="4723926"/>
                  <a:pt x="830911" y="4729392"/>
                  <a:pt x="850955" y="4716637"/>
                </a:cubicBezTo>
                <a:close/>
                <a:moveTo>
                  <a:pt x="3844788" y="4709348"/>
                </a:moveTo>
                <a:lnTo>
                  <a:pt x="3852076" y="4723925"/>
                </a:lnTo>
                <a:lnTo>
                  <a:pt x="3846610" y="4733036"/>
                </a:lnTo>
                <a:lnTo>
                  <a:pt x="3830210" y="4723925"/>
                </a:lnTo>
                <a:close/>
                <a:moveTo>
                  <a:pt x="2999299" y="4709347"/>
                </a:moveTo>
                <a:lnTo>
                  <a:pt x="3001121" y="4725747"/>
                </a:lnTo>
                <a:lnTo>
                  <a:pt x="2984721" y="4723924"/>
                </a:lnTo>
                <a:close/>
                <a:moveTo>
                  <a:pt x="2028080" y="4694771"/>
                </a:moveTo>
                <a:lnTo>
                  <a:pt x="2049946" y="4694771"/>
                </a:lnTo>
                <a:cubicBezTo>
                  <a:pt x="2035369" y="4731215"/>
                  <a:pt x="2053591" y="4691127"/>
                  <a:pt x="2049946" y="4716638"/>
                </a:cubicBezTo>
                <a:cubicBezTo>
                  <a:pt x="2028080" y="4711171"/>
                  <a:pt x="2033547" y="4716638"/>
                  <a:pt x="2028080" y="4694771"/>
                </a:cubicBezTo>
                <a:close/>
                <a:moveTo>
                  <a:pt x="2902724" y="4687482"/>
                </a:moveTo>
                <a:lnTo>
                  <a:pt x="2893613" y="4711170"/>
                </a:lnTo>
                <a:cubicBezTo>
                  <a:pt x="2871747" y="4705704"/>
                  <a:pt x="2884502" y="4712993"/>
                  <a:pt x="2871747" y="4694771"/>
                </a:cubicBezTo>
                <a:close/>
                <a:moveTo>
                  <a:pt x="2481802" y="4687481"/>
                </a:moveTo>
                <a:lnTo>
                  <a:pt x="2470869" y="4703881"/>
                </a:lnTo>
                <a:lnTo>
                  <a:pt x="2456291" y="4689304"/>
                </a:lnTo>
                <a:close/>
                <a:moveTo>
                  <a:pt x="3075830" y="4672904"/>
                </a:moveTo>
                <a:lnTo>
                  <a:pt x="3075830" y="4689304"/>
                </a:lnTo>
                <a:lnTo>
                  <a:pt x="3059430" y="4674726"/>
                </a:lnTo>
                <a:close/>
                <a:moveTo>
                  <a:pt x="1009485" y="4672904"/>
                </a:moveTo>
                <a:lnTo>
                  <a:pt x="1024062" y="4687481"/>
                </a:lnTo>
                <a:lnTo>
                  <a:pt x="1009485" y="4687481"/>
                </a:lnTo>
                <a:close/>
                <a:moveTo>
                  <a:pt x="3234359" y="4671082"/>
                </a:moveTo>
                <a:lnTo>
                  <a:pt x="3234359" y="4696593"/>
                </a:lnTo>
                <a:lnTo>
                  <a:pt x="3217959" y="4685659"/>
                </a:lnTo>
                <a:close/>
                <a:moveTo>
                  <a:pt x="2684064" y="4658326"/>
                </a:moveTo>
                <a:cubicBezTo>
                  <a:pt x="2716863" y="4660149"/>
                  <a:pt x="2698641" y="4656504"/>
                  <a:pt x="2722329" y="4672904"/>
                </a:cubicBezTo>
                <a:cubicBezTo>
                  <a:pt x="2705930" y="4709347"/>
                  <a:pt x="2725974" y="4669259"/>
                  <a:pt x="2722329" y="4696592"/>
                </a:cubicBezTo>
                <a:lnTo>
                  <a:pt x="2698641" y="4720280"/>
                </a:lnTo>
                <a:lnTo>
                  <a:pt x="2669486" y="4696592"/>
                </a:lnTo>
                <a:close/>
                <a:moveTo>
                  <a:pt x="2837124" y="4640105"/>
                </a:moveTo>
                <a:lnTo>
                  <a:pt x="2849879" y="4656505"/>
                </a:lnTo>
                <a:lnTo>
                  <a:pt x="2835302" y="4665616"/>
                </a:lnTo>
                <a:close/>
                <a:moveTo>
                  <a:pt x="2893614" y="4632816"/>
                </a:moveTo>
                <a:lnTo>
                  <a:pt x="2902725" y="4649216"/>
                </a:lnTo>
                <a:lnTo>
                  <a:pt x="2879036" y="4649216"/>
                </a:lnTo>
                <a:close/>
                <a:moveTo>
                  <a:pt x="2775171" y="4627349"/>
                </a:moveTo>
                <a:lnTo>
                  <a:pt x="2789749" y="4641927"/>
                </a:lnTo>
                <a:lnTo>
                  <a:pt x="2775171" y="4641927"/>
                </a:lnTo>
                <a:close/>
                <a:moveTo>
                  <a:pt x="3258048" y="4612773"/>
                </a:moveTo>
                <a:lnTo>
                  <a:pt x="3270803" y="4625529"/>
                </a:lnTo>
                <a:lnTo>
                  <a:pt x="3265337" y="4634640"/>
                </a:lnTo>
                <a:lnTo>
                  <a:pt x="3248937" y="4627351"/>
                </a:lnTo>
                <a:close/>
                <a:moveTo>
                  <a:pt x="3777366" y="4605483"/>
                </a:moveTo>
                <a:lnTo>
                  <a:pt x="3793766" y="4605483"/>
                </a:lnTo>
                <a:lnTo>
                  <a:pt x="3791944" y="4621883"/>
                </a:lnTo>
                <a:close/>
                <a:moveTo>
                  <a:pt x="3453020" y="4603661"/>
                </a:moveTo>
                <a:lnTo>
                  <a:pt x="3453020" y="4620061"/>
                </a:lnTo>
                <a:lnTo>
                  <a:pt x="3436620" y="4618239"/>
                </a:lnTo>
                <a:close/>
                <a:moveTo>
                  <a:pt x="1619913" y="4598196"/>
                </a:moveTo>
                <a:cubicBezTo>
                  <a:pt x="1638134" y="4598196"/>
                  <a:pt x="1638134" y="4603663"/>
                  <a:pt x="1650891" y="4612773"/>
                </a:cubicBezTo>
                <a:cubicBezTo>
                  <a:pt x="1647246" y="4618240"/>
                  <a:pt x="1639957" y="4634640"/>
                  <a:pt x="1629024" y="4634640"/>
                </a:cubicBezTo>
                <a:cubicBezTo>
                  <a:pt x="1616269" y="4634640"/>
                  <a:pt x="1605336" y="4630995"/>
                  <a:pt x="1605336" y="4620062"/>
                </a:cubicBezTo>
                <a:cubicBezTo>
                  <a:pt x="1605336" y="4609129"/>
                  <a:pt x="1608980" y="4598196"/>
                  <a:pt x="1619913" y="4598196"/>
                </a:cubicBezTo>
                <a:close/>
                <a:moveTo>
                  <a:pt x="2212119" y="4598195"/>
                </a:moveTo>
                <a:cubicBezTo>
                  <a:pt x="2219408" y="4610950"/>
                  <a:pt x="2212119" y="4612772"/>
                  <a:pt x="2233985" y="4612772"/>
                </a:cubicBezTo>
                <a:lnTo>
                  <a:pt x="2255851" y="4612772"/>
                </a:lnTo>
                <a:cubicBezTo>
                  <a:pt x="2285006" y="4612772"/>
                  <a:pt x="2257673" y="4610950"/>
                  <a:pt x="2270428" y="4620061"/>
                </a:cubicBezTo>
                <a:lnTo>
                  <a:pt x="2285006" y="4612772"/>
                </a:lnTo>
                <a:lnTo>
                  <a:pt x="2285006" y="4627350"/>
                </a:lnTo>
                <a:lnTo>
                  <a:pt x="2314161" y="4627350"/>
                </a:lnTo>
                <a:lnTo>
                  <a:pt x="2330560" y="4651038"/>
                </a:lnTo>
                <a:lnTo>
                  <a:pt x="2350604" y="4636461"/>
                </a:lnTo>
                <a:lnTo>
                  <a:pt x="2407092" y="4689305"/>
                </a:lnTo>
                <a:lnTo>
                  <a:pt x="2390692" y="4709349"/>
                </a:lnTo>
                <a:cubicBezTo>
                  <a:pt x="2410736" y="4722104"/>
                  <a:pt x="2423491" y="4731215"/>
                  <a:pt x="2428958" y="4756725"/>
                </a:cubicBezTo>
                <a:lnTo>
                  <a:pt x="2407092" y="4747614"/>
                </a:lnTo>
                <a:lnTo>
                  <a:pt x="2397981" y="4764014"/>
                </a:lnTo>
                <a:lnTo>
                  <a:pt x="2374292" y="4747614"/>
                </a:lnTo>
                <a:lnTo>
                  <a:pt x="2383403" y="4776769"/>
                </a:lnTo>
                <a:lnTo>
                  <a:pt x="2368826" y="4785880"/>
                </a:lnTo>
                <a:lnTo>
                  <a:pt x="2376114" y="4800458"/>
                </a:lnTo>
                <a:cubicBezTo>
                  <a:pt x="2367004" y="4816857"/>
                  <a:pt x="2368826" y="4800458"/>
                  <a:pt x="2368826" y="4831434"/>
                </a:cubicBezTo>
                <a:lnTo>
                  <a:pt x="2352426" y="4831434"/>
                </a:lnTo>
                <a:lnTo>
                  <a:pt x="2359715" y="4846012"/>
                </a:lnTo>
                <a:cubicBezTo>
                  <a:pt x="2352426" y="4847834"/>
                  <a:pt x="2348782" y="4849656"/>
                  <a:pt x="2346960" y="4849656"/>
                </a:cubicBezTo>
                <a:cubicBezTo>
                  <a:pt x="2345137" y="4851478"/>
                  <a:pt x="2343315" y="4855123"/>
                  <a:pt x="2337849" y="4860589"/>
                </a:cubicBezTo>
                <a:lnTo>
                  <a:pt x="2350604" y="4897033"/>
                </a:lnTo>
                <a:lnTo>
                  <a:pt x="2345137" y="4906143"/>
                </a:lnTo>
                <a:cubicBezTo>
                  <a:pt x="2339671" y="4902499"/>
                  <a:pt x="2326916" y="4891566"/>
                  <a:pt x="2323271" y="4891566"/>
                </a:cubicBezTo>
                <a:cubicBezTo>
                  <a:pt x="2305050" y="4891566"/>
                  <a:pt x="2301405" y="4902499"/>
                  <a:pt x="2285006" y="4913432"/>
                </a:cubicBezTo>
                <a:cubicBezTo>
                  <a:pt x="2292295" y="4933476"/>
                  <a:pt x="2292295" y="4917077"/>
                  <a:pt x="2283184" y="4937121"/>
                </a:cubicBezTo>
                <a:lnTo>
                  <a:pt x="2268606" y="4920721"/>
                </a:lnTo>
                <a:lnTo>
                  <a:pt x="2255851" y="4928010"/>
                </a:lnTo>
                <a:lnTo>
                  <a:pt x="2239451" y="4906143"/>
                </a:lnTo>
                <a:lnTo>
                  <a:pt x="2217585" y="4911610"/>
                </a:lnTo>
                <a:lnTo>
                  <a:pt x="2186608" y="4906143"/>
                </a:lnTo>
                <a:cubicBezTo>
                  <a:pt x="2192075" y="4920721"/>
                  <a:pt x="2192075" y="4928010"/>
                  <a:pt x="2186608" y="4942587"/>
                </a:cubicBezTo>
                <a:lnTo>
                  <a:pt x="2201186" y="4951698"/>
                </a:lnTo>
                <a:cubicBezTo>
                  <a:pt x="2192075" y="4971742"/>
                  <a:pt x="2192075" y="4955342"/>
                  <a:pt x="2199364" y="4973564"/>
                </a:cubicBezTo>
                <a:lnTo>
                  <a:pt x="2179320" y="4988141"/>
                </a:lnTo>
                <a:lnTo>
                  <a:pt x="2157454" y="4966275"/>
                </a:lnTo>
                <a:lnTo>
                  <a:pt x="2153809" y="4940765"/>
                </a:lnTo>
                <a:lnTo>
                  <a:pt x="2177498" y="4922543"/>
                </a:lnTo>
                <a:lnTo>
                  <a:pt x="2122832" y="4864234"/>
                </a:lnTo>
                <a:cubicBezTo>
                  <a:pt x="2091855" y="4860589"/>
                  <a:pt x="2097322" y="4851478"/>
                  <a:pt x="2084568" y="4833257"/>
                </a:cubicBezTo>
                <a:lnTo>
                  <a:pt x="2091855" y="4818679"/>
                </a:lnTo>
                <a:lnTo>
                  <a:pt x="2077278" y="4809568"/>
                </a:lnTo>
                <a:lnTo>
                  <a:pt x="2084568" y="4794991"/>
                </a:lnTo>
                <a:lnTo>
                  <a:pt x="2073634" y="4787702"/>
                </a:lnTo>
                <a:lnTo>
                  <a:pt x="2069989" y="4734859"/>
                </a:lnTo>
                <a:lnTo>
                  <a:pt x="2084568" y="4725748"/>
                </a:lnTo>
                <a:lnTo>
                  <a:pt x="2077278" y="4711171"/>
                </a:lnTo>
                <a:lnTo>
                  <a:pt x="2091855" y="4703882"/>
                </a:lnTo>
                <a:lnTo>
                  <a:pt x="2093679" y="4682015"/>
                </a:lnTo>
                <a:lnTo>
                  <a:pt x="2130121" y="4651038"/>
                </a:lnTo>
                <a:lnTo>
                  <a:pt x="2131943" y="4629172"/>
                </a:lnTo>
                <a:lnTo>
                  <a:pt x="2151987" y="4605484"/>
                </a:lnTo>
                <a:lnTo>
                  <a:pt x="2173853" y="4612772"/>
                </a:lnTo>
                <a:close/>
                <a:moveTo>
                  <a:pt x="2715040" y="4596373"/>
                </a:moveTo>
                <a:lnTo>
                  <a:pt x="2736906" y="4620062"/>
                </a:lnTo>
                <a:cubicBezTo>
                  <a:pt x="2704106" y="4610951"/>
                  <a:pt x="2727795" y="4620062"/>
                  <a:pt x="2715040" y="4596373"/>
                </a:cubicBezTo>
                <a:close/>
                <a:moveTo>
                  <a:pt x="2953744" y="4596372"/>
                </a:moveTo>
                <a:cubicBezTo>
                  <a:pt x="2975610" y="4610950"/>
                  <a:pt x="2977432" y="4612772"/>
                  <a:pt x="2984721" y="4641927"/>
                </a:cubicBezTo>
                <a:lnTo>
                  <a:pt x="2962855" y="4641927"/>
                </a:lnTo>
                <a:lnTo>
                  <a:pt x="2962855" y="4678370"/>
                </a:lnTo>
                <a:lnTo>
                  <a:pt x="2924589" y="4678370"/>
                </a:lnTo>
                <a:cubicBezTo>
                  <a:pt x="2931878" y="4661971"/>
                  <a:pt x="2931878" y="4656504"/>
                  <a:pt x="2924589" y="4640104"/>
                </a:cubicBezTo>
                <a:lnTo>
                  <a:pt x="2946455" y="4640104"/>
                </a:lnTo>
                <a:lnTo>
                  <a:pt x="2946455" y="4618238"/>
                </a:lnTo>
                <a:cubicBezTo>
                  <a:pt x="2946455" y="4590906"/>
                  <a:pt x="2944633" y="4616416"/>
                  <a:pt x="2953744" y="4596372"/>
                </a:cubicBezTo>
                <a:close/>
                <a:moveTo>
                  <a:pt x="783535" y="4590907"/>
                </a:moveTo>
                <a:cubicBezTo>
                  <a:pt x="783535" y="4590907"/>
                  <a:pt x="790823" y="4603662"/>
                  <a:pt x="790823" y="4605485"/>
                </a:cubicBezTo>
                <a:cubicBezTo>
                  <a:pt x="790823" y="4625529"/>
                  <a:pt x="787179" y="4618240"/>
                  <a:pt x="776246" y="4627351"/>
                </a:cubicBezTo>
                <a:cubicBezTo>
                  <a:pt x="776246" y="4627351"/>
                  <a:pt x="768957" y="4614596"/>
                  <a:pt x="768957" y="4612773"/>
                </a:cubicBezTo>
                <a:cubicBezTo>
                  <a:pt x="768957" y="4592730"/>
                  <a:pt x="770779" y="4600018"/>
                  <a:pt x="783535" y="4590907"/>
                </a:cubicBezTo>
                <a:close/>
                <a:moveTo>
                  <a:pt x="3392888" y="4587261"/>
                </a:moveTo>
                <a:lnTo>
                  <a:pt x="3392888" y="4605483"/>
                </a:lnTo>
                <a:lnTo>
                  <a:pt x="3376488" y="4603661"/>
                </a:lnTo>
                <a:close/>
                <a:moveTo>
                  <a:pt x="3152361" y="4581795"/>
                </a:moveTo>
                <a:lnTo>
                  <a:pt x="3150538" y="4598195"/>
                </a:lnTo>
                <a:lnTo>
                  <a:pt x="3135961" y="4583618"/>
                </a:lnTo>
                <a:close/>
                <a:moveTo>
                  <a:pt x="3890343" y="4572685"/>
                </a:moveTo>
                <a:lnTo>
                  <a:pt x="3892165" y="4596374"/>
                </a:lnTo>
                <a:lnTo>
                  <a:pt x="3866654" y="4594551"/>
                </a:lnTo>
                <a:close/>
                <a:moveTo>
                  <a:pt x="2924590" y="4572684"/>
                </a:moveTo>
                <a:lnTo>
                  <a:pt x="2933701" y="4589084"/>
                </a:lnTo>
                <a:lnTo>
                  <a:pt x="2910012" y="4587262"/>
                </a:lnTo>
                <a:close/>
                <a:moveTo>
                  <a:pt x="819978" y="4565396"/>
                </a:moveTo>
                <a:lnTo>
                  <a:pt x="821801" y="4589085"/>
                </a:lnTo>
                <a:lnTo>
                  <a:pt x="796290" y="4587262"/>
                </a:lnTo>
                <a:close/>
                <a:moveTo>
                  <a:pt x="1656356" y="4558108"/>
                </a:moveTo>
                <a:lnTo>
                  <a:pt x="1658178" y="4581797"/>
                </a:lnTo>
                <a:lnTo>
                  <a:pt x="1641778" y="4572686"/>
                </a:lnTo>
                <a:close/>
                <a:moveTo>
                  <a:pt x="947531" y="4558108"/>
                </a:moveTo>
                <a:lnTo>
                  <a:pt x="956641" y="4574508"/>
                </a:lnTo>
                <a:lnTo>
                  <a:pt x="943886" y="4579975"/>
                </a:lnTo>
                <a:lnTo>
                  <a:pt x="932953" y="4572686"/>
                </a:lnTo>
                <a:close/>
                <a:moveTo>
                  <a:pt x="3287202" y="4558107"/>
                </a:moveTo>
                <a:lnTo>
                  <a:pt x="3296313" y="4574507"/>
                </a:lnTo>
                <a:lnTo>
                  <a:pt x="3263514" y="4572685"/>
                </a:lnTo>
                <a:close/>
                <a:moveTo>
                  <a:pt x="1341120" y="4552641"/>
                </a:moveTo>
                <a:cubicBezTo>
                  <a:pt x="1364809" y="4569041"/>
                  <a:pt x="1353876" y="4547175"/>
                  <a:pt x="1355698" y="4583618"/>
                </a:cubicBezTo>
                <a:cubicBezTo>
                  <a:pt x="1332009" y="4565396"/>
                  <a:pt x="1346587" y="4589085"/>
                  <a:pt x="1341120" y="4552641"/>
                </a:cubicBezTo>
                <a:close/>
                <a:moveTo>
                  <a:pt x="1180769" y="4552640"/>
                </a:moveTo>
                <a:lnTo>
                  <a:pt x="1213569" y="4581796"/>
                </a:lnTo>
                <a:lnTo>
                  <a:pt x="1204458" y="4596373"/>
                </a:lnTo>
                <a:lnTo>
                  <a:pt x="1220858" y="4627350"/>
                </a:lnTo>
                <a:cubicBezTo>
                  <a:pt x="1200814" y="4636461"/>
                  <a:pt x="1217213" y="4634639"/>
                  <a:pt x="1197168" y="4625528"/>
                </a:cubicBezTo>
                <a:lnTo>
                  <a:pt x="1197168" y="4649216"/>
                </a:lnTo>
                <a:lnTo>
                  <a:pt x="1175302" y="4632817"/>
                </a:lnTo>
                <a:lnTo>
                  <a:pt x="1175302" y="4647394"/>
                </a:lnTo>
                <a:cubicBezTo>
                  <a:pt x="1147969" y="4640105"/>
                  <a:pt x="1158902" y="4640105"/>
                  <a:pt x="1137037" y="4625528"/>
                </a:cubicBezTo>
                <a:lnTo>
                  <a:pt x="1137037" y="4603662"/>
                </a:lnTo>
                <a:cubicBezTo>
                  <a:pt x="1118815" y="4612773"/>
                  <a:pt x="1135214" y="4610951"/>
                  <a:pt x="1115170" y="4603662"/>
                </a:cubicBezTo>
                <a:cubicBezTo>
                  <a:pt x="1127926" y="4583618"/>
                  <a:pt x="1118815" y="4587262"/>
                  <a:pt x="1144325" y="4579974"/>
                </a:cubicBezTo>
                <a:lnTo>
                  <a:pt x="1153436" y="4559929"/>
                </a:lnTo>
                <a:close/>
                <a:moveTo>
                  <a:pt x="978507" y="4552640"/>
                </a:moveTo>
                <a:lnTo>
                  <a:pt x="994907" y="4559929"/>
                </a:lnTo>
                <a:lnTo>
                  <a:pt x="987618" y="4572684"/>
                </a:lnTo>
                <a:lnTo>
                  <a:pt x="1018596" y="4583617"/>
                </a:lnTo>
                <a:lnTo>
                  <a:pt x="993085" y="4605483"/>
                </a:lnTo>
                <a:lnTo>
                  <a:pt x="1000374" y="4618238"/>
                </a:lnTo>
                <a:lnTo>
                  <a:pt x="978507" y="4634638"/>
                </a:lnTo>
                <a:lnTo>
                  <a:pt x="985796" y="4649215"/>
                </a:lnTo>
                <a:lnTo>
                  <a:pt x="962108" y="4651037"/>
                </a:lnTo>
                <a:lnTo>
                  <a:pt x="1002196" y="4687481"/>
                </a:lnTo>
                <a:lnTo>
                  <a:pt x="1002196" y="4705703"/>
                </a:lnTo>
                <a:lnTo>
                  <a:pt x="1002196" y="4712991"/>
                </a:lnTo>
                <a:lnTo>
                  <a:pt x="1004018" y="4725747"/>
                </a:lnTo>
                <a:lnTo>
                  <a:pt x="1018596" y="4742146"/>
                </a:lnTo>
                <a:lnTo>
                  <a:pt x="1031350" y="4734858"/>
                </a:lnTo>
                <a:lnTo>
                  <a:pt x="1055040" y="4753079"/>
                </a:lnTo>
                <a:cubicBezTo>
                  <a:pt x="1045929" y="4773123"/>
                  <a:pt x="1045929" y="4756723"/>
                  <a:pt x="1053216" y="4774945"/>
                </a:cubicBezTo>
                <a:lnTo>
                  <a:pt x="1040461" y="4791345"/>
                </a:lnTo>
                <a:cubicBezTo>
                  <a:pt x="1024062" y="4784056"/>
                  <a:pt x="1018596" y="4784056"/>
                  <a:pt x="1002196" y="4791345"/>
                </a:cubicBezTo>
                <a:lnTo>
                  <a:pt x="1002196" y="4753079"/>
                </a:lnTo>
                <a:lnTo>
                  <a:pt x="978507" y="4753079"/>
                </a:lnTo>
                <a:cubicBezTo>
                  <a:pt x="985796" y="4769479"/>
                  <a:pt x="985796" y="4774945"/>
                  <a:pt x="978507" y="4791345"/>
                </a:cubicBezTo>
                <a:cubicBezTo>
                  <a:pt x="1007663" y="4802278"/>
                  <a:pt x="996729" y="4809567"/>
                  <a:pt x="1009485" y="4836899"/>
                </a:cubicBezTo>
                <a:cubicBezTo>
                  <a:pt x="980330" y="4858765"/>
                  <a:pt x="1009485" y="4849654"/>
                  <a:pt x="978507" y="4860587"/>
                </a:cubicBezTo>
                <a:lnTo>
                  <a:pt x="982152" y="4875165"/>
                </a:lnTo>
                <a:lnTo>
                  <a:pt x="978507" y="4898853"/>
                </a:lnTo>
                <a:lnTo>
                  <a:pt x="956641" y="4882454"/>
                </a:lnTo>
                <a:cubicBezTo>
                  <a:pt x="947530" y="4900676"/>
                  <a:pt x="949352" y="4884276"/>
                  <a:pt x="956641" y="4904320"/>
                </a:cubicBezTo>
                <a:cubicBezTo>
                  <a:pt x="947530" y="4911608"/>
                  <a:pt x="949352" y="4891565"/>
                  <a:pt x="949352" y="4918897"/>
                </a:cubicBezTo>
                <a:lnTo>
                  <a:pt x="949352" y="4957162"/>
                </a:lnTo>
                <a:cubicBezTo>
                  <a:pt x="925664" y="4938941"/>
                  <a:pt x="945708" y="4938941"/>
                  <a:pt x="934775" y="4911608"/>
                </a:cubicBezTo>
                <a:cubicBezTo>
                  <a:pt x="943886" y="4904320"/>
                  <a:pt x="942064" y="4924364"/>
                  <a:pt x="942064" y="4897031"/>
                </a:cubicBezTo>
                <a:lnTo>
                  <a:pt x="942064" y="4875165"/>
                </a:lnTo>
                <a:lnTo>
                  <a:pt x="920198" y="4875165"/>
                </a:lnTo>
                <a:cubicBezTo>
                  <a:pt x="918376" y="4844188"/>
                  <a:pt x="914731" y="4842366"/>
                  <a:pt x="905620" y="4824144"/>
                </a:cubicBezTo>
                <a:lnTo>
                  <a:pt x="927486" y="4807745"/>
                </a:lnTo>
                <a:lnTo>
                  <a:pt x="920198" y="4794989"/>
                </a:lnTo>
                <a:lnTo>
                  <a:pt x="925664" y="4785878"/>
                </a:lnTo>
                <a:lnTo>
                  <a:pt x="940242" y="4793167"/>
                </a:lnTo>
                <a:lnTo>
                  <a:pt x="956641" y="4771301"/>
                </a:lnTo>
                <a:cubicBezTo>
                  <a:pt x="920198" y="4773123"/>
                  <a:pt x="942064" y="4762190"/>
                  <a:pt x="925664" y="4785878"/>
                </a:cubicBezTo>
                <a:cubicBezTo>
                  <a:pt x="907442" y="4760368"/>
                  <a:pt x="929309" y="4774945"/>
                  <a:pt x="901976" y="4754902"/>
                </a:cubicBezTo>
                <a:lnTo>
                  <a:pt x="907442" y="4742146"/>
                </a:lnTo>
                <a:lnTo>
                  <a:pt x="894687" y="4711169"/>
                </a:lnTo>
                <a:cubicBezTo>
                  <a:pt x="923842" y="4689303"/>
                  <a:pt x="894687" y="4698414"/>
                  <a:pt x="925664" y="4687481"/>
                </a:cubicBezTo>
                <a:lnTo>
                  <a:pt x="918376" y="4672904"/>
                </a:lnTo>
                <a:lnTo>
                  <a:pt x="932953" y="4672904"/>
                </a:lnTo>
                <a:lnTo>
                  <a:pt x="932953" y="4658326"/>
                </a:lnTo>
                <a:cubicBezTo>
                  <a:pt x="952997" y="4671082"/>
                  <a:pt x="940242" y="4661971"/>
                  <a:pt x="947530" y="4658326"/>
                </a:cubicBezTo>
                <a:cubicBezTo>
                  <a:pt x="956641" y="4640104"/>
                  <a:pt x="945708" y="4658326"/>
                  <a:pt x="954819" y="4636460"/>
                </a:cubicBezTo>
                <a:cubicBezTo>
                  <a:pt x="945708" y="4636460"/>
                  <a:pt x="947530" y="4638282"/>
                  <a:pt x="947530" y="4629171"/>
                </a:cubicBezTo>
                <a:cubicBezTo>
                  <a:pt x="947530" y="4600017"/>
                  <a:pt x="945708" y="4627349"/>
                  <a:pt x="954819" y="4614594"/>
                </a:cubicBezTo>
                <a:lnTo>
                  <a:pt x="947530" y="4598195"/>
                </a:lnTo>
                <a:lnTo>
                  <a:pt x="976685" y="4605483"/>
                </a:lnTo>
                <a:lnTo>
                  <a:pt x="985796" y="4598195"/>
                </a:lnTo>
                <a:lnTo>
                  <a:pt x="978507" y="4583617"/>
                </a:lnTo>
                <a:close/>
                <a:moveTo>
                  <a:pt x="1523337" y="4550819"/>
                </a:moveTo>
                <a:lnTo>
                  <a:pt x="1547026" y="4550819"/>
                </a:lnTo>
                <a:cubicBezTo>
                  <a:pt x="1541559" y="4563574"/>
                  <a:pt x="1541559" y="4569041"/>
                  <a:pt x="1543381" y="4570863"/>
                </a:cubicBezTo>
                <a:lnTo>
                  <a:pt x="1542096" y="4571077"/>
                </a:lnTo>
                <a:lnTo>
                  <a:pt x="1532448" y="4572685"/>
                </a:lnTo>
                <a:close/>
                <a:moveTo>
                  <a:pt x="3361911" y="4543529"/>
                </a:moveTo>
                <a:lnTo>
                  <a:pt x="3363733" y="4559929"/>
                </a:lnTo>
                <a:lnTo>
                  <a:pt x="3347333" y="4558106"/>
                </a:lnTo>
                <a:close/>
                <a:moveTo>
                  <a:pt x="2864458" y="4536240"/>
                </a:moveTo>
                <a:lnTo>
                  <a:pt x="2889969" y="4538063"/>
                </a:lnTo>
                <a:lnTo>
                  <a:pt x="2873569" y="4550818"/>
                </a:lnTo>
                <a:close/>
                <a:moveTo>
                  <a:pt x="276971" y="4534419"/>
                </a:moveTo>
                <a:lnTo>
                  <a:pt x="286082" y="4550819"/>
                </a:lnTo>
                <a:lnTo>
                  <a:pt x="271504" y="4558107"/>
                </a:lnTo>
                <a:lnTo>
                  <a:pt x="262393" y="4550819"/>
                </a:lnTo>
                <a:close/>
                <a:moveTo>
                  <a:pt x="2059057" y="4527131"/>
                </a:moveTo>
                <a:cubicBezTo>
                  <a:pt x="2079101" y="4536242"/>
                  <a:pt x="2062702" y="4536242"/>
                  <a:pt x="2080923" y="4530776"/>
                </a:cubicBezTo>
                <a:lnTo>
                  <a:pt x="2095501" y="4536242"/>
                </a:lnTo>
                <a:lnTo>
                  <a:pt x="2104612" y="4548997"/>
                </a:lnTo>
                <a:cubicBezTo>
                  <a:pt x="2091856" y="4581796"/>
                  <a:pt x="2110078" y="4548997"/>
                  <a:pt x="2097323" y="4579974"/>
                </a:cubicBezTo>
                <a:cubicBezTo>
                  <a:pt x="2062702" y="4556286"/>
                  <a:pt x="2073635" y="4561753"/>
                  <a:pt x="2059057" y="4527131"/>
                </a:cubicBezTo>
                <a:close/>
                <a:moveTo>
                  <a:pt x="1838574" y="4527130"/>
                </a:moveTo>
                <a:lnTo>
                  <a:pt x="1840396" y="4543530"/>
                </a:lnTo>
                <a:lnTo>
                  <a:pt x="1822174" y="4543530"/>
                </a:lnTo>
                <a:close/>
                <a:moveTo>
                  <a:pt x="3414755" y="4521664"/>
                </a:moveTo>
                <a:lnTo>
                  <a:pt x="3440266" y="4530775"/>
                </a:lnTo>
                <a:lnTo>
                  <a:pt x="3423866" y="4543531"/>
                </a:lnTo>
                <a:close/>
                <a:moveTo>
                  <a:pt x="2993833" y="4521664"/>
                </a:moveTo>
                <a:lnTo>
                  <a:pt x="2993833" y="4536242"/>
                </a:lnTo>
                <a:lnTo>
                  <a:pt x="3010232" y="4536242"/>
                </a:lnTo>
                <a:lnTo>
                  <a:pt x="2999300" y="4552641"/>
                </a:lnTo>
                <a:lnTo>
                  <a:pt x="2977433" y="4530775"/>
                </a:lnTo>
                <a:close/>
                <a:moveTo>
                  <a:pt x="2811616" y="4521664"/>
                </a:moveTo>
                <a:lnTo>
                  <a:pt x="2818904" y="4550819"/>
                </a:lnTo>
                <a:lnTo>
                  <a:pt x="2804327" y="4559930"/>
                </a:lnTo>
                <a:lnTo>
                  <a:pt x="2797038" y="4528953"/>
                </a:lnTo>
                <a:close/>
                <a:moveTo>
                  <a:pt x="2654907" y="4521664"/>
                </a:moveTo>
                <a:lnTo>
                  <a:pt x="2671307" y="4530775"/>
                </a:lnTo>
                <a:lnTo>
                  <a:pt x="2654907" y="4543531"/>
                </a:lnTo>
                <a:close/>
                <a:moveTo>
                  <a:pt x="2518245" y="4521664"/>
                </a:moveTo>
                <a:cubicBezTo>
                  <a:pt x="2525534" y="4528953"/>
                  <a:pt x="2532823" y="4536242"/>
                  <a:pt x="2540111" y="4543531"/>
                </a:cubicBezTo>
                <a:lnTo>
                  <a:pt x="2518245" y="4543531"/>
                </a:lnTo>
                <a:close/>
                <a:moveTo>
                  <a:pt x="3077651" y="4521663"/>
                </a:moveTo>
                <a:cubicBezTo>
                  <a:pt x="3097695" y="4528952"/>
                  <a:pt x="3081296" y="4528952"/>
                  <a:pt x="3099518" y="4521663"/>
                </a:cubicBezTo>
                <a:lnTo>
                  <a:pt x="3106806" y="4536242"/>
                </a:lnTo>
                <a:cubicBezTo>
                  <a:pt x="3139605" y="4523486"/>
                  <a:pt x="3106806" y="4541708"/>
                  <a:pt x="3137783" y="4528952"/>
                </a:cubicBezTo>
                <a:lnTo>
                  <a:pt x="3137783" y="4543531"/>
                </a:lnTo>
                <a:lnTo>
                  <a:pt x="3121384" y="4543531"/>
                </a:lnTo>
                <a:lnTo>
                  <a:pt x="3130494" y="4558108"/>
                </a:lnTo>
                <a:lnTo>
                  <a:pt x="3106806" y="4603662"/>
                </a:lnTo>
                <a:lnTo>
                  <a:pt x="3114095" y="4620062"/>
                </a:lnTo>
                <a:lnTo>
                  <a:pt x="3092229" y="4610951"/>
                </a:lnTo>
                <a:lnTo>
                  <a:pt x="3077651" y="4618239"/>
                </a:lnTo>
                <a:cubicBezTo>
                  <a:pt x="3072185" y="4594551"/>
                  <a:pt x="3066718" y="4589085"/>
                  <a:pt x="3053963" y="4572685"/>
                </a:cubicBezTo>
                <a:lnTo>
                  <a:pt x="3063074" y="4558108"/>
                </a:lnTo>
                <a:lnTo>
                  <a:pt x="3055785" y="4536242"/>
                </a:lnTo>
                <a:cubicBezTo>
                  <a:pt x="3077651" y="4530774"/>
                  <a:pt x="3066718" y="4538064"/>
                  <a:pt x="3077651" y="4521663"/>
                </a:cubicBezTo>
                <a:close/>
                <a:moveTo>
                  <a:pt x="3447553" y="4519842"/>
                </a:moveTo>
                <a:lnTo>
                  <a:pt x="3462131" y="4528952"/>
                </a:lnTo>
                <a:lnTo>
                  <a:pt x="3474886" y="4523485"/>
                </a:lnTo>
                <a:lnTo>
                  <a:pt x="3485820" y="4530774"/>
                </a:lnTo>
                <a:lnTo>
                  <a:pt x="3469420" y="4543529"/>
                </a:lnTo>
                <a:lnTo>
                  <a:pt x="3462131" y="4528953"/>
                </a:lnTo>
                <a:lnTo>
                  <a:pt x="3445731" y="4543531"/>
                </a:lnTo>
                <a:close/>
                <a:moveTo>
                  <a:pt x="3575106" y="4518020"/>
                </a:moveTo>
                <a:lnTo>
                  <a:pt x="3595150" y="4541709"/>
                </a:lnTo>
                <a:lnTo>
                  <a:pt x="3575106" y="4559930"/>
                </a:lnTo>
                <a:cubicBezTo>
                  <a:pt x="3565995" y="4539886"/>
                  <a:pt x="3569639" y="4545353"/>
                  <a:pt x="3575106" y="4518020"/>
                </a:cubicBezTo>
                <a:close/>
                <a:moveTo>
                  <a:pt x="3959584" y="4512552"/>
                </a:moveTo>
                <a:lnTo>
                  <a:pt x="3979628" y="4528952"/>
                </a:lnTo>
                <a:lnTo>
                  <a:pt x="3990561" y="4559929"/>
                </a:lnTo>
                <a:cubicBezTo>
                  <a:pt x="3985094" y="4565395"/>
                  <a:pt x="3983272" y="4569040"/>
                  <a:pt x="3981450" y="4570862"/>
                </a:cubicBezTo>
                <a:lnTo>
                  <a:pt x="3979831" y="4571267"/>
                </a:lnTo>
                <a:lnTo>
                  <a:pt x="3966873" y="4574506"/>
                </a:lnTo>
                <a:lnTo>
                  <a:pt x="3974161" y="4589084"/>
                </a:lnTo>
                <a:cubicBezTo>
                  <a:pt x="3924963" y="4583617"/>
                  <a:pt x="3957762" y="4570862"/>
                  <a:pt x="3921318" y="4558107"/>
                </a:cubicBezTo>
                <a:lnTo>
                  <a:pt x="3921318" y="4536241"/>
                </a:lnTo>
                <a:lnTo>
                  <a:pt x="3937718" y="4534419"/>
                </a:lnTo>
                <a:lnTo>
                  <a:pt x="3919496" y="4523485"/>
                </a:lnTo>
                <a:close/>
                <a:moveTo>
                  <a:pt x="3536841" y="4507087"/>
                </a:moveTo>
                <a:lnTo>
                  <a:pt x="3536841" y="4514376"/>
                </a:lnTo>
                <a:cubicBezTo>
                  <a:pt x="3514974" y="4514376"/>
                  <a:pt x="3509508" y="4519842"/>
                  <a:pt x="3498575" y="4528953"/>
                </a:cubicBezTo>
                <a:lnTo>
                  <a:pt x="3491286" y="4514376"/>
                </a:lnTo>
                <a:close/>
                <a:moveTo>
                  <a:pt x="2638508" y="4507086"/>
                </a:moveTo>
                <a:lnTo>
                  <a:pt x="2654908" y="4507086"/>
                </a:lnTo>
                <a:lnTo>
                  <a:pt x="2654908" y="4521663"/>
                </a:lnTo>
                <a:close/>
                <a:moveTo>
                  <a:pt x="3332757" y="4505265"/>
                </a:moveTo>
                <a:cubicBezTo>
                  <a:pt x="3323646" y="4539886"/>
                  <a:pt x="3327291" y="4519843"/>
                  <a:pt x="3310891" y="4536242"/>
                </a:cubicBezTo>
                <a:lnTo>
                  <a:pt x="3303602" y="4528954"/>
                </a:lnTo>
                <a:cubicBezTo>
                  <a:pt x="3316357" y="4508910"/>
                  <a:pt x="3307247" y="4514376"/>
                  <a:pt x="3332757" y="4505265"/>
                </a:cubicBezTo>
                <a:close/>
                <a:moveTo>
                  <a:pt x="2858992" y="4501620"/>
                </a:moveTo>
                <a:lnTo>
                  <a:pt x="2889969" y="4507087"/>
                </a:lnTo>
                <a:lnTo>
                  <a:pt x="2889969" y="4514375"/>
                </a:lnTo>
                <a:cubicBezTo>
                  <a:pt x="2868103" y="4514375"/>
                  <a:pt x="2862636" y="4519842"/>
                  <a:pt x="2851703" y="4528953"/>
                </a:cubicBezTo>
                <a:lnTo>
                  <a:pt x="2842592" y="4519842"/>
                </a:lnTo>
                <a:close/>
                <a:moveTo>
                  <a:pt x="2095500" y="4499797"/>
                </a:moveTo>
                <a:lnTo>
                  <a:pt x="2095500" y="4514375"/>
                </a:lnTo>
                <a:lnTo>
                  <a:pt x="2079100" y="4512552"/>
                </a:lnTo>
                <a:close/>
                <a:moveTo>
                  <a:pt x="3361911" y="4497976"/>
                </a:moveTo>
                <a:lnTo>
                  <a:pt x="3363733" y="4521664"/>
                </a:lnTo>
                <a:lnTo>
                  <a:pt x="3347333" y="4512553"/>
                </a:lnTo>
                <a:close/>
                <a:moveTo>
                  <a:pt x="3145073" y="4497976"/>
                </a:moveTo>
                <a:lnTo>
                  <a:pt x="3166938" y="4514375"/>
                </a:lnTo>
                <a:lnTo>
                  <a:pt x="3181516" y="4507086"/>
                </a:lnTo>
                <a:lnTo>
                  <a:pt x="3181516" y="4521663"/>
                </a:lnTo>
                <a:lnTo>
                  <a:pt x="3166939" y="4514376"/>
                </a:lnTo>
                <a:lnTo>
                  <a:pt x="3159650" y="4521664"/>
                </a:lnTo>
                <a:cubicBezTo>
                  <a:pt x="3168761" y="4541708"/>
                  <a:pt x="3172406" y="4528953"/>
                  <a:pt x="3152362" y="4543531"/>
                </a:cubicBezTo>
                <a:cubicBezTo>
                  <a:pt x="3148717" y="4510731"/>
                  <a:pt x="3152362" y="4530775"/>
                  <a:pt x="3137784" y="4507087"/>
                </a:cubicBezTo>
                <a:close/>
                <a:moveTo>
                  <a:pt x="41910" y="4497976"/>
                </a:moveTo>
                <a:lnTo>
                  <a:pt x="51021" y="4512553"/>
                </a:lnTo>
                <a:lnTo>
                  <a:pt x="38265" y="4519842"/>
                </a:lnTo>
                <a:lnTo>
                  <a:pt x="27332" y="4512553"/>
                </a:lnTo>
                <a:close/>
                <a:moveTo>
                  <a:pt x="3414753" y="4490687"/>
                </a:moveTo>
                <a:lnTo>
                  <a:pt x="3416576" y="4514376"/>
                </a:lnTo>
                <a:lnTo>
                  <a:pt x="3400176" y="4505265"/>
                </a:lnTo>
                <a:close/>
                <a:moveTo>
                  <a:pt x="3473064" y="4488865"/>
                </a:moveTo>
                <a:lnTo>
                  <a:pt x="3470029" y="4490686"/>
                </a:lnTo>
                <a:lnTo>
                  <a:pt x="3476251" y="4490686"/>
                </a:lnTo>
                <a:close/>
                <a:moveTo>
                  <a:pt x="3441827" y="4483919"/>
                </a:moveTo>
                <a:lnTo>
                  <a:pt x="3438443" y="4490686"/>
                </a:lnTo>
                <a:lnTo>
                  <a:pt x="3456207" y="4490686"/>
                </a:lnTo>
                <a:close/>
                <a:moveTo>
                  <a:pt x="3892164" y="4483399"/>
                </a:moveTo>
                <a:lnTo>
                  <a:pt x="3883054" y="4507087"/>
                </a:lnTo>
                <a:lnTo>
                  <a:pt x="3855721" y="4536242"/>
                </a:lnTo>
                <a:lnTo>
                  <a:pt x="3846610" y="4507087"/>
                </a:lnTo>
                <a:lnTo>
                  <a:pt x="3883053" y="4507087"/>
                </a:lnTo>
                <a:lnTo>
                  <a:pt x="3875764" y="4492510"/>
                </a:lnTo>
                <a:close/>
                <a:moveTo>
                  <a:pt x="2104612" y="4481575"/>
                </a:moveTo>
                <a:lnTo>
                  <a:pt x="2119190" y="4499797"/>
                </a:lnTo>
                <a:lnTo>
                  <a:pt x="2095501" y="4499797"/>
                </a:lnTo>
                <a:close/>
                <a:moveTo>
                  <a:pt x="3327291" y="4474288"/>
                </a:moveTo>
                <a:lnTo>
                  <a:pt x="3356446" y="4490688"/>
                </a:lnTo>
                <a:lnTo>
                  <a:pt x="3318180" y="4499799"/>
                </a:lnTo>
                <a:close/>
                <a:moveTo>
                  <a:pt x="2791570" y="4468820"/>
                </a:moveTo>
                <a:lnTo>
                  <a:pt x="2782459" y="4497975"/>
                </a:lnTo>
                <a:lnTo>
                  <a:pt x="2798859" y="4508908"/>
                </a:lnTo>
                <a:lnTo>
                  <a:pt x="2791570" y="4521663"/>
                </a:lnTo>
                <a:lnTo>
                  <a:pt x="2797037" y="4530774"/>
                </a:lnTo>
                <a:cubicBezTo>
                  <a:pt x="2789748" y="4538063"/>
                  <a:pt x="2782459" y="4545351"/>
                  <a:pt x="2775171" y="4552640"/>
                </a:cubicBezTo>
                <a:cubicBezTo>
                  <a:pt x="2755127" y="4543529"/>
                  <a:pt x="2771526" y="4545351"/>
                  <a:pt x="2753305" y="4548996"/>
                </a:cubicBezTo>
                <a:lnTo>
                  <a:pt x="2736905" y="4545351"/>
                </a:lnTo>
                <a:cubicBezTo>
                  <a:pt x="2736905" y="4512552"/>
                  <a:pt x="2738727" y="4528952"/>
                  <a:pt x="2729616" y="4514375"/>
                </a:cubicBezTo>
                <a:cubicBezTo>
                  <a:pt x="2736905" y="4494331"/>
                  <a:pt x="2736905" y="4510730"/>
                  <a:pt x="2729616" y="4492509"/>
                </a:cubicBezTo>
                <a:close/>
                <a:moveTo>
                  <a:pt x="2910011" y="4461533"/>
                </a:moveTo>
                <a:lnTo>
                  <a:pt x="2926411" y="4468822"/>
                </a:lnTo>
                <a:lnTo>
                  <a:pt x="2926411" y="4483398"/>
                </a:lnTo>
                <a:lnTo>
                  <a:pt x="2942811" y="4485220"/>
                </a:lnTo>
                <a:lnTo>
                  <a:pt x="2926411" y="4499798"/>
                </a:lnTo>
                <a:lnTo>
                  <a:pt x="2926411" y="4483399"/>
                </a:lnTo>
                <a:lnTo>
                  <a:pt x="2910011" y="4483399"/>
                </a:lnTo>
                <a:close/>
                <a:moveTo>
                  <a:pt x="3039387" y="4454244"/>
                </a:moveTo>
                <a:lnTo>
                  <a:pt x="3053965" y="4468822"/>
                </a:lnTo>
                <a:lnTo>
                  <a:pt x="3075831" y="4461533"/>
                </a:lnTo>
                <a:lnTo>
                  <a:pt x="3075831" y="4483399"/>
                </a:lnTo>
                <a:lnTo>
                  <a:pt x="3039387" y="4483399"/>
                </a:lnTo>
                <a:lnTo>
                  <a:pt x="3030276" y="4468822"/>
                </a:lnTo>
                <a:close/>
                <a:moveTo>
                  <a:pt x="1093305" y="4454243"/>
                </a:moveTo>
                <a:lnTo>
                  <a:pt x="1091484" y="4470643"/>
                </a:lnTo>
                <a:lnTo>
                  <a:pt x="1076905" y="4456066"/>
                </a:lnTo>
                <a:close/>
                <a:moveTo>
                  <a:pt x="3491017" y="4452421"/>
                </a:moveTo>
                <a:lnTo>
                  <a:pt x="3491286" y="4452421"/>
                </a:lnTo>
                <a:lnTo>
                  <a:pt x="3491230" y="4452605"/>
                </a:lnTo>
                <a:close/>
                <a:moveTo>
                  <a:pt x="2902724" y="4446955"/>
                </a:moveTo>
                <a:lnTo>
                  <a:pt x="2910013" y="4461533"/>
                </a:lnTo>
                <a:lnTo>
                  <a:pt x="2910011" y="4461533"/>
                </a:lnTo>
                <a:lnTo>
                  <a:pt x="2895435" y="4461533"/>
                </a:lnTo>
                <a:lnTo>
                  <a:pt x="2893613" y="4485221"/>
                </a:lnTo>
                <a:lnTo>
                  <a:pt x="2880858" y="4461533"/>
                </a:lnTo>
                <a:close/>
                <a:moveTo>
                  <a:pt x="2971967" y="4439666"/>
                </a:moveTo>
                <a:lnTo>
                  <a:pt x="2977433" y="4470643"/>
                </a:lnTo>
                <a:lnTo>
                  <a:pt x="2964678" y="4463355"/>
                </a:lnTo>
                <a:lnTo>
                  <a:pt x="2950100" y="4477932"/>
                </a:lnTo>
                <a:cubicBezTo>
                  <a:pt x="2955567" y="4448777"/>
                  <a:pt x="2951923" y="4452422"/>
                  <a:pt x="2971967" y="4439666"/>
                </a:cubicBezTo>
                <a:close/>
                <a:moveTo>
                  <a:pt x="2350605" y="4439666"/>
                </a:moveTo>
                <a:lnTo>
                  <a:pt x="2357894" y="4445133"/>
                </a:lnTo>
                <a:lnTo>
                  <a:pt x="2350605" y="4476110"/>
                </a:lnTo>
                <a:cubicBezTo>
                  <a:pt x="2332383" y="4463355"/>
                  <a:pt x="2336028" y="4472465"/>
                  <a:pt x="2330561" y="4446955"/>
                </a:cubicBezTo>
                <a:close/>
                <a:moveTo>
                  <a:pt x="3762789" y="4437843"/>
                </a:moveTo>
                <a:lnTo>
                  <a:pt x="3777367" y="4454243"/>
                </a:lnTo>
                <a:lnTo>
                  <a:pt x="3762789" y="4454243"/>
                </a:lnTo>
                <a:close/>
                <a:moveTo>
                  <a:pt x="2465401" y="4437843"/>
                </a:moveTo>
                <a:lnTo>
                  <a:pt x="2479979" y="4454243"/>
                </a:lnTo>
                <a:lnTo>
                  <a:pt x="2465401" y="4454243"/>
                </a:lnTo>
                <a:close/>
                <a:moveTo>
                  <a:pt x="3671682" y="4431972"/>
                </a:moveTo>
                <a:lnTo>
                  <a:pt x="3671682" y="4445133"/>
                </a:lnTo>
                <a:lnTo>
                  <a:pt x="3688081" y="4445133"/>
                </a:lnTo>
                <a:lnTo>
                  <a:pt x="3680793" y="4457888"/>
                </a:lnTo>
                <a:lnTo>
                  <a:pt x="3649816" y="4452422"/>
                </a:lnTo>
                <a:lnTo>
                  <a:pt x="3649816" y="4466999"/>
                </a:lnTo>
                <a:lnTo>
                  <a:pt x="3635238" y="4466999"/>
                </a:lnTo>
                <a:cubicBezTo>
                  <a:pt x="3638883" y="4437844"/>
                  <a:pt x="3638883" y="4436022"/>
                  <a:pt x="3657104" y="4443311"/>
                </a:cubicBezTo>
                <a:close/>
                <a:moveTo>
                  <a:pt x="3671682" y="4430555"/>
                </a:moveTo>
                <a:lnTo>
                  <a:pt x="3673504" y="4430555"/>
                </a:lnTo>
                <a:lnTo>
                  <a:pt x="3671682" y="4431972"/>
                </a:lnTo>
                <a:close/>
                <a:moveTo>
                  <a:pt x="1069617" y="4430555"/>
                </a:moveTo>
                <a:cubicBezTo>
                  <a:pt x="1055040" y="4459710"/>
                  <a:pt x="1075084" y="4452422"/>
                  <a:pt x="1038639" y="4452422"/>
                </a:cubicBezTo>
                <a:cubicBezTo>
                  <a:pt x="1053217" y="4434200"/>
                  <a:pt x="1044106" y="4437844"/>
                  <a:pt x="1069617" y="4430555"/>
                </a:cubicBezTo>
                <a:close/>
                <a:moveTo>
                  <a:pt x="2753306" y="4425089"/>
                </a:moveTo>
                <a:lnTo>
                  <a:pt x="2775172" y="4446955"/>
                </a:lnTo>
                <a:cubicBezTo>
                  <a:pt x="2742372" y="4437844"/>
                  <a:pt x="2764239" y="4446955"/>
                  <a:pt x="2753306" y="4425089"/>
                </a:cubicBezTo>
                <a:close/>
                <a:moveTo>
                  <a:pt x="2654908" y="4423267"/>
                </a:moveTo>
                <a:cubicBezTo>
                  <a:pt x="2682241" y="4430556"/>
                  <a:pt x="2674952" y="4425090"/>
                  <a:pt x="2676774" y="4454244"/>
                </a:cubicBezTo>
                <a:lnTo>
                  <a:pt x="2654908" y="4454244"/>
                </a:lnTo>
                <a:close/>
                <a:moveTo>
                  <a:pt x="3808344" y="4423266"/>
                </a:moveTo>
                <a:lnTo>
                  <a:pt x="3846610" y="4423266"/>
                </a:lnTo>
                <a:lnTo>
                  <a:pt x="3846610" y="4428733"/>
                </a:lnTo>
                <a:lnTo>
                  <a:pt x="3808344" y="4439666"/>
                </a:lnTo>
                <a:close/>
                <a:moveTo>
                  <a:pt x="3740923" y="4423266"/>
                </a:moveTo>
                <a:lnTo>
                  <a:pt x="3757323" y="4425089"/>
                </a:lnTo>
                <a:lnTo>
                  <a:pt x="3742745" y="4439666"/>
                </a:lnTo>
                <a:close/>
                <a:moveTo>
                  <a:pt x="1000374" y="4421444"/>
                </a:moveTo>
                <a:lnTo>
                  <a:pt x="978507" y="4443310"/>
                </a:lnTo>
                <a:lnTo>
                  <a:pt x="1002196" y="4445132"/>
                </a:lnTo>
                <a:close/>
                <a:moveTo>
                  <a:pt x="3582395" y="4415977"/>
                </a:moveTo>
                <a:lnTo>
                  <a:pt x="3573284" y="4432377"/>
                </a:lnTo>
                <a:lnTo>
                  <a:pt x="3560528" y="4424405"/>
                </a:lnTo>
                <a:lnTo>
                  <a:pt x="3560528" y="4445133"/>
                </a:lnTo>
                <a:lnTo>
                  <a:pt x="3575106" y="4454244"/>
                </a:lnTo>
                <a:lnTo>
                  <a:pt x="3536840" y="4454244"/>
                </a:lnTo>
                <a:cubicBezTo>
                  <a:pt x="3542307" y="4433745"/>
                  <a:pt x="3541623" y="4433744"/>
                  <a:pt x="3549396" y="4429644"/>
                </a:cubicBezTo>
                <a:lnTo>
                  <a:pt x="3559578" y="4423811"/>
                </a:lnTo>
                <a:lnTo>
                  <a:pt x="3558706" y="4423266"/>
                </a:lnTo>
                <a:close/>
                <a:moveTo>
                  <a:pt x="3518429" y="4413275"/>
                </a:moveTo>
                <a:lnTo>
                  <a:pt x="3520440" y="4417800"/>
                </a:lnTo>
                <a:lnTo>
                  <a:pt x="3518481" y="4416984"/>
                </a:lnTo>
                <a:lnTo>
                  <a:pt x="3517821" y="4413643"/>
                </a:lnTo>
                <a:close/>
                <a:moveTo>
                  <a:pt x="4116290" y="4406866"/>
                </a:moveTo>
                <a:lnTo>
                  <a:pt x="4118113" y="4423266"/>
                </a:lnTo>
                <a:lnTo>
                  <a:pt x="4101713" y="4421443"/>
                </a:lnTo>
                <a:close/>
                <a:moveTo>
                  <a:pt x="1463205" y="4403223"/>
                </a:moveTo>
                <a:cubicBezTo>
                  <a:pt x="1478694" y="4404134"/>
                  <a:pt x="1485072" y="4404590"/>
                  <a:pt x="1489172" y="4407323"/>
                </a:cubicBezTo>
                <a:lnTo>
                  <a:pt x="1500560" y="4423773"/>
                </a:lnTo>
                <a:lnTo>
                  <a:pt x="1516049" y="4432378"/>
                </a:lnTo>
                <a:lnTo>
                  <a:pt x="1499649" y="4446956"/>
                </a:lnTo>
                <a:lnTo>
                  <a:pt x="1499649" y="4426153"/>
                </a:lnTo>
                <a:lnTo>
                  <a:pt x="1479605" y="4437845"/>
                </a:lnTo>
                <a:lnTo>
                  <a:pt x="1463205" y="4425090"/>
                </a:lnTo>
                <a:cubicBezTo>
                  <a:pt x="1472316" y="4406868"/>
                  <a:pt x="1470494" y="4423267"/>
                  <a:pt x="1463205" y="4403223"/>
                </a:cubicBezTo>
                <a:close/>
                <a:moveTo>
                  <a:pt x="3392888" y="4401400"/>
                </a:moveTo>
                <a:lnTo>
                  <a:pt x="3371022" y="4423266"/>
                </a:lnTo>
                <a:cubicBezTo>
                  <a:pt x="3396532" y="4412333"/>
                  <a:pt x="3385600" y="4434199"/>
                  <a:pt x="3392888" y="4401400"/>
                </a:cubicBezTo>
                <a:close/>
                <a:moveTo>
                  <a:pt x="2904546" y="4392290"/>
                </a:moveTo>
                <a:lnTo>
                  <a:pt x="2926413" y="4392290"/>
                </a:lnTo>
                <a:cubicBezTo>
                  <a:pt x="2913657" y="4408690"/>
                  <a:pt x="2924590" y="4403223"/>
                  <a:pt x="2904546" y="4408690"/>
                </a:cubicBezTo>
                <a:lnTo>
                  <a:pt x="2893613" y="4432378"/>
                </a:lnTo>
                <a:lnTo>
                  <a:pt x="2880858" y="4415979"/>
                </a:lnTo>
                <a:cubicBezTo>
                  <a:pt x="2904546" y="4406868"/>
                  <a:pt x="2886325" y="4425089"/>
                  <a:pt x="2904546" y="4392290"/>
                </a:cubicBezTo>
                <a:close/>
                <a:moveTo>
                  <a:pt x="3259869" y="4386823"/>
                </a:moveTo>
                <a:lnTo>
                  <a:pt x="3236181" y="4394111"/>
                </a:lnTo>
                <a:cubicBezTo>
                  <a:pt x="3247114" y="4415978"/>
                  <a:pt x="3221604" y="4395934"/>
                  <a:pt x="3250759" y="4415978"/>
                </a:cubicBezTo>
                <a:close/>
                <a:moveTo>
                  <a:pt x="3558706" y="4386822"/>
                </a:moveTo>
                <a:lnTo>
                  <a:pt x="3582395" y="4386822"/>
                </a:lnTo>
                <a:lnTo>
                  <a:pt x="3573284" y="4403222"/>
                </a:lnTo>
                <a:close/>
                <a:moveTo>
                  <a:pt x="1946083" y="4385001"/>
                </a:moveTo>
                <a:lnTo>
                  <a:pt x="1967948" y="4385001"/>
                </a:lnTo>
                <a:cubicBezTo>
                  <a:pt x="1951549" y="4421445"/>
                  <a:pt x="1971593" y="4381357"/>
                  <a:pt x="1967948" y="4406868"/>
                </a:cubicBezTo>
                <a:lnTo>
                  <a:pt x="1946083" y="4406868"/>
                </a:lnTo>
                <a:close/>
                <a:moveTo>
                  <a:pt x="3285380" y="4385000"/>
                </a:moveTo>
                <a:lnTo>
                  <a:pt x="3270803" y="4399578"/>
                </a:lnTo>
                <a:lnTo>
                  <a:pt x="3287202" y="4410511"/>
                </a:lnTo>
                <a:close/>
                <a:moveTo>
                  <a:pt x="2880857" y="4385000"/>
                </a:moveTo>
                <a:lnTo>
                  <a:pt x="2879035" y="4403222"/>
                </a:lnTo>
                <a:lnTo>
                  <a:pt x="2864457" y="4386823"/>
                </a:lnTo>
                <a:close/>
                <a:moveTo>
                  <a:pt x="1191703" y="4385000"/>
                </a:moveTo>
                <a:lnTo>
                  <a:pt x="1189880" y="4403222"/>
                </a:lnTo>
                <a:lnTo>
                  <a:pt x="1173481" y="4386823"/>
                </a:lnTo>
                <a:close/>
                <a:moveTo>
                  <a:pt x="3873943" y="4377712"/>
                </a:moveTo>
                <a:lnTo>
                  <a:pt x="3883054" y="4392290"/>
                </a:lnTo>
                <a:lnTo>
                  <a:pt x="3870298" y="4399578"/>
                </a:lnTo>
                <a:lnTo>
                  <a:pt x="3859365" y="4392290"/>
                </a:lnTo>
                <a:close/>
                <a:moveTo>
                  <a:pt x="2379761" y="4372245"/>
                </a:moveTo>
                <a:cubicBezTo>
                  <a:pt x="2399804" y="4381356"/>
                  <a:pt x="2383405" y="4381356"/>
                  <a:pt x="2401627" y="4374068"/>
                </a:cubicBezTo>
                <a:lnTo>
                  <a:pt x="2418026" y="4386823"/>
                </a:lnTo>
                <a:cubicBezTo>
                  <a:pt x="2418026" y="4386823"/>
                  <a:pt x="2410738" y="4399578"/>
                  <a:pt x="2410738" y="4401400"/>
                </a:cubicBezTo>
                <a:cubicBezTo>
                  <a:pt x="2410738" y="4415978"/>
                  <a:pt x="2412560" y="4415978"/>
                  <a:pt x="2416204" y="4423266"/>
                </a:cubicBezTo>
                <a:lnTo>
                  <a:pt x="2403449" y="4439666"/>
                </a:lnTo>
                <a:cubicBezTo>
                  <a:pt x="2385227" y="4430555"/>
                  <a:pt x="2401627" y="4432377"/>
                  <a:pt x="2381583" y="4439666"/>
                </a:cubicBezTo>
                <a:cubicBezTo>
                  <a:pt x="2372472" y="4425088"/>
                  <a:pt x="2367005" y="4425088"/>
                  <a:pt x="2367005" y="4408689"/>
                </a:cubicBezTo>
                <a:lnTo>
                  <a:pt x="2365183" y="4408689"/>
                </a:lnTo>
                <a:lnTo>
                  <a:pt x="2365183" y="4403222"/>
                </a:lnTo>
                <a:cubicBezTo>
                  <a:pt x="2365183" y="4385000"/>
                  <a:pt x="2370650" y="4385000"/>
                  <a:pt x="2379761" y="4372245"/>
                </a:cubicBezTo>
                <a:close/>
                <a:moveTo>
                  <a:pt x="1734710" y="4370424"/>
                </a:moveTo>
                <a:lnTo>
                  <a:pt x="1756575" y="4379535"/>
                </a:lnTo>
                <a:lnTo>
                  <a:pt x="1772976" y="4370424"/>
                </a:lnTo>
                <a:lnTo>
                  <a:pt x="1762043" y="4403223"/>
                </a:lnTo>
                <a:lnTo>
                  <a:pt x="1749287" y="4385001"/>
                </a:lnTo>
                <a:lnTo>
                  <a:pt x="1734710" y="4394112"/>
                </a:lnTo>
                <a:close/>
                <a:moveTo>
                  <a:pt x="406345" y="4370424"/>
                </a:moveTo>
                <a:lnTo>
                  <a:pt x="428211" y="4370424"/>
                </a:lnTo>
                <a:cubicBezTo>
                  <a:pt x="419100" y="4388646"/>
                  <a:pt x="420923" y="4372246"/>
                  <a:pt x="428211" y="4392290"/>
                </a:cubicBezTo>
                <a:lnTo>
                  <a:pt x="406345" y="4392290"/>
                </a:lnTo>
                <a:cubicBezTo>
                  <a:pt x="415456" y="4374069"/>
                  <a:pt x="413634" y="4390468"/>
                  <a:pt x="406345" y="4370424"/>
                </a:cubicBezTo>
                <a:close/>
                <a:moveTo>
                  <a:pt x="3203382" y="4370423"/>
                </a:moveTo>
                <a:lnTo>
                  <a:pt x="3165116" y="4375890"/>
                </a:lnTo>
                <a:lnTo>
                  <a:pt x="3135962" y="4377712"/>
                </a:lnTo>
                <a:lnTo>
                  <a:pt x="3135962" y="4386823"/>
                </a:lnTo>
                <a:lnTo>
                  <a:pt x="3159650" y="4390467"/>
                </a:lnTo>
                <a:lnTo>
                  <a:pt x="3174227" y="4386823"/>
                </a:lnTo>
                <a:lnTo>
                  <a:pt x="3188805" y="4403222"/>
                </a:lnTo>
                <a:cubicBezTo>
                  <a:pt x="3201560" y="4383178"/>
                  <a:pt x="3199738" y="4392289"/>
                  <a:pt x="3203382" y="4370423"/>
                </a:cubicBezTo>
                <a:close/>
                <a:moveTo>
                  <a:pt x="1634491" y="4368602"/>
                </a:moveTo>
                <a:lnTo>
                  <a:pt x="1636312" y="4394113"/>
                </a:lnTo>
                <a:lnTo>
                  <a:pt x="1619912" y="4385002"/>
                </a:lnTo>
                <a:close/>
                <a:moveTo>
                  <a:pt x="2563799" y="4363135"/>
                </a:moveTo>
                <a:lnTo>
                  <a:pt x="2561977" y="4386824"/>
                </a:lnTo>
                <a:lnTo>
                  <a:pt x="2547399" y="4372246"/>
                </a:lnTo>
                <a:close/>
                <a:moveTo>
                  <a:pt x="1703733" y="4355845"/>
                </a:moveTo>
                <a:lnTo>
                  <a:pt x="1701911" y="4372245"/>
                </a:lnTo>
                <a:lnTo>
                  <a:pt x="1687333" y="4357667"/>
                </a:lnTo>
                <a:close/>
                <a:moveTo>
                  <a:pt x="2505490" y="4350380"/>
                </a:moveTo>
                <a:lnTo>
                  <a:pt x="2481802" y="4372246"/>
                </a:lnTo>
                <a:lnTo>
                  <a:pt x="2472691" y="4354025"/>
                </a:lnTo>
                <a:close/>
                <a:moveTo>
                  <a:pt x="2882679" y="4348558"/>
                </a:moveTo>
                <a:lnTo>
                  <a:pt x="2886323" y="4379535"/>
                </a:lnTo>
                <a:lnTo>
                  <a:pt x="2866279" y="4355847"/>
                </a:lnTo>
                <a:close/>
                <a:moveTo>
                  <a:pt x="3695369" y="4348557"/>
                </a:moveTo>
                <a:lnTo>
                  <a:pt x="3695369" y="4363135"/>
                </a:lnTo>
                <a:lnTo>
                  <a:pt x="3678969" y="4361313"/>
                </a:lnTo>
                <a:close/>
                <a:moveTo>
                  <a:pt x="2789749" y="4348557"/>
                </a:moveTo>
                <a:cubicBezTo>
                  <a:pt x="2773350" y="4372246"/>
                  <a:pt x="2795216" y="4359490"/>
                  <a:pt x="2758772" y="4363135"/>
                </a:cubicBezTo>
                <a:cubicBezTo>
                  <a:pt x="2776994" y="4341269"/>
                  <a:pt x="2755128" y="4352202"/>
                  <a:pt x="2789749" y="4348557"/>
                </a:cubicBezTo>
                <a:close/>
                <a:moveTo>
                  <a:pt x="2835304" y="4341269"/>
                </a:moveTo>
                <a:lnTo>
                  <a:pt x="2835304" y="4363135"/>
                </a:lnTo>
                <a:cubicBezTo>
                  <a:pt x="2793393" y="4350380"/>
                  <a:pt x="2826193" y="4346736"/>
                  <a:pt x="2835304" y="4341269"/>
                </a:cubicBezTo>
                <a:close/>
                <a:moveTo>
                  <a:pt x="2419848" y="4341269"/>
                </a:moveTo>
                <a:lnTo>
                  <a:pt x="2450825" y="4341269"/>
                </a:lnTo>
                <a:lnTo>
                  <a:pt x="2441714" y="4355847"/>
                </a:lnTo>
                <a:lnTo>
                  <a:pt x="2458114" y="4370424"/>
                </a:lnTo>
                <a:lnTo>
                  <a:pt x="2436248" y="4385001"/>
                </a:lnTo>
                <a:lnTo>
                  <a:pt x="2412559" y="4363135"/>
                </a:lnTo>
                <a:close/>
                <a:moveTo>
                  <a:pt x="2381582" y="4341268"/>
                </a:moveTo>
                <a:lnTo>
                  <a:pt x="2405271" y="4341268"/>
                </a:lnTo>
                <a:lnTo>
                  <a:pt x="2396160" y="4357668"/>
                </a:lnTo>
                <a:close/>
                <a:moveTo>
                  <a:pt x="2911834" y="4339447"/>
                </a:moveTo>
                <a:lnTo>
                  <a:pt x="2933700" y="4339447"/>
                </a:lnTo>
                <a:cubicBezTo>
                  <a:pt x="2937344" y="4368602"/>
                  <a:pt x="2937344" y="4368602"/>
                  <a:pt x="2964677" y="4370424"/>
                </a:cubicBezTo>
                <a:lnTo>
                  <a:pt x="2961033" y="4394112"/>
                </a:lnTo>
                <a:lnTo>
                  <a:pt x="2957388" y="4375891"/>
                </a:lnTo>
                <a:cubicBezTo>
                  <a:pt x="2933700" y="4381357"/>
                  <a:pt x="2944633" y="4377713"/>
                  <a:pt x="2926411" y="4390468"/>
                </a:cubicBezTo>
                <a:cubicBezTo>
                  <a:pt x="2911834" y="4372246"/>
                  <a:pt x="2928233" y="4375891"/>
                  <a:pt x="2895434" y="4375891"/>
                </a:cubicBezTo>
                <a:lnTo>
                  <a:pt x="2895434" y="4368602"/>
                </a:lnTo>
                <a:lnTo>
                  <a:pt x="2919123" y="4368602"/>
                </a:lnTo>
                <a:lnTo>
                  <a:pt x="2911834" y="4354025"/>
                </a:lnTo>
                <a:lnTo>
                  <a:pt x="2928233" y="4352203"/>
                </a:lnTo>
                <a:close/>
                <a:moveTo>
                  <a:pt x="965752" y="4339446"/>
                </a:moveTo>
                <a:cubicBezTo>
                  <a:pt x="985796" y="4348557"/>
                  <a:pt x="969396" y="4346735"/>
                  <a:pt x="987618" y="4341269"/>
                </a:cubicBezTo>
                <a:lnTo>
                  <a:pt x="1018596" y="4370423"/>
                </a:lnTo>
                <a:lnTo>
                  <a:pt x="1011307" y="4392289"/>
                </a:lnTo>
                <a:lnTo>
                  <a:pt x="1033174" y="4401400"/>
                </a:lnTo>
                <a:lnTo>
                  <a:pt x="1025885" y="4415978"/>
                </a:lnTo>
                <a:cubicBezTo>
                  <a:pt x="1034996" y="4423266"/>
                  <a:pt x="1033174" y="4403222"/>
                  <a:pt x="1033174" y="4430555"/>
                </a:cubicBezTo>
                <a:lnTo>
                  <a:pt x="1033174" y="4452421"/>
                </a:lnTo>
                <a:lnTo>
                  <a:pt x="1000374" y="4452421"/>
                </a:lnTo>
                <a:lnTo>
                  <a:pt x="1011307" y="4499798"/>
                </a:lnTo>
                <a:lnTo>
                  <a:pt x="978507" y="4528952"/>
                </a:lnTo>
                <a:lnTo>
                  <a:pt x="989441" y="4539885"/>
                </a:lnTo>
                <a:lnTo>
                  <a:pt x="983974" y="4548996"/>
                </a:lnTo>
                <a:lnTo>
                  <a:pt x="952997" y="4541708"/>
                </a:lnTo>
                <a:lnTo>
                  <a:pt x="960286" y="4527130"/>
                </a:lnTo>
                <a:lnTo>
                  <a:pt x="938419" y="4525308"/>
                </a:lnTo>
                <a:lnTo>
                  <a:pt x="922020" y="4510731"/>
                </a:lnTo>
                <a:lnTo>
                  <a:pt x="929309" y="4496153"/>
                </a:lnTo>
                <a:cubicBezTo>
                  <a:pt x="920198" y="4496153"/>
                  <a:pt x="922020" y="4499798"/>
                  <a:pt x="922020" y="4488865"/>
                </a:cubicBezTo>
                <a:cubicBezTo>
                  <a:pt x="922020" y="4459710"/>
                  <a:pt x="920198" y="4485220"/>
                  <a:pt x="929309" y="4474287"/>
                </a:cubicBezTo>
                <a:cubicBezTo>
                  <a:pt x="922020" y="4454243"/>
                  <a:pt x="922020" y="4470643"/>
                  <a:pt x="929309" y="4452421"/>
                </a:cubicBezTo>
                <a:lnTo>
                  <a:pt x="914731" y="4445132"/>
                </a:lnTo>
                <a:cubicBezTo>
                  <a:pt x="914731" y="4445132"/>
                  <a:pt x="922020" y="4432377"/>
                  <a:pt x="922020" y="4430555"/>
                </a:cubicBezTo>
                <a:cubicBezTo>
                  <a:pt x="922020" y="4419622"/>
                  <a:pt x="922020" y="4415978"/>
                  <a:pt x="922020" y="4415978"/>
                </a:cubicBezTo>
                <a:cubicBezTo>
                  <a:pt x="922020" y="4415978"/>
                  <a:pt x="922020" y="4417800"/>
                  <a:pt x="918376" y="4408689"/>
                </a:cubicBezTo>
                <a:lnTo>
                  <a:pt x="922020" y="4385001"/>
                </a:lnTo>
                <a:cubicBezTo>
                  <a:pt x="940242" y="4370423"/>
                  <a:pt x="936597" y="4379534"/>
                  <a:pt x="943886" y="4354024"/>
                </a:cubicBezTo>
                <a:cubicBezTo>
                  <a:pt x="965752" y="4348557"/>
                  <a:pt x="954819" y="4355846"/>
                  <a:pt x="965752" y="4339446"/>
                </a:cubicBezTo>
                <a:close/>
                <a:moveTo>
                  <a:pt x="3469419" y="4333980"/>
                </a:moveTo>
                <a:lnTo>
                  <a:pt x="3476708" y="4348557"/>
                </a:lnTo>
                <a:lnTo>
                  <a:pt x="3454842" y="4348557"/>
                </a:lnTo>
                <a:lnTo>
                  <a:pt x="3467597" y="4364957"/>
                </a:lnTo>
                <a:lnTo>
                  <a:pt x="3476708" y="4348557"/>
                </a:lnTo>
                <a:lnTo>
                  <a:pt x="3493108" y="4335802"/>
                </a:lnTo>
                <a:close/>
                <a:moveTo>
                  <a:pt x="2662197" y="4333980"/>
                </a:moveTo>
                <a:lnTo>
                  <a:pt x="2685885" y="4341269"/>
                </a:lnTo>
                <a:lnTo>
                  <a:pt x="2674952" y="4364957"/>
                </a:lnTo>
                <a:lnTo>
                  <a:pt x="2653086" y="4343091"/>
                </a:lnTo>
                <a:close/>
                <a:moveTo>
                  <a:pt x="3801055" y="4333979"/>
                </a:moveTo>
                <a:lnTo>
                  <a:pt x="3817455" y="4333979"/>
                </a:lnTo>
                <a:lnTo>
                  <a:pt x="3802877" y="4350379"/>
                </a:lnTo>
                <a:close/>
                <a:moveTo>
                  <a:pt x="3718251" y="4329275"/>
                </a:moveTo>
                <a:lnTo>
                  <a:pt x="3709948" y="4355847"/>
                </a:lnTo>
                <a:lnTo>
                  <a:pt x="3723841" y="4369740"/>
                </a:lnTo>
                <a:cubicBezTo>
                  <a:pt x="3728168" y="4361768"/>
                  <a:pt x="3732724" y="4354024"/>
                  <a:pt x="3739101" y="4344913"/>
                </a:cubicBezTo>
                <a:close/>
                <a:moveTo>
                  <a:pt x="3853899" y="4317581"/>
                </a:moveTo>
                <a:lnTo>
                  <a:pt x="3875765" y="4317581"/>
                </a:lnTo>
                <a:cubicBezTo>
                  <a:pt x="3863010" y="4337625"/>
                  <a:pt x="3866654" y="4341270"/>
                  <a:pt x="3848432" y="4348558"/>
                </a:cubicBezTo>
                <a:close/>
                <a:moveTo>
                  <a:pt x="770779" y="4308470"/>
                </a:moveTo>
                <a:lnTo>
                  <a:pt x="783535" y="4324870"/>
                </a:lnTo>
                <a:lnTo>
                  <a:pt x="768957" y="4333981"/>
                </a:lnTo>
                <a:close/>
                <a:moveTo>
                  <a:pt x="3564173" y="4301181"/>
                </a:moveTo>
                <a:lnTo>
                  <a:pt x="3542306" y="4323047"/>
                </a:lnTo>
                <a:lnTo>
                  <a:pt x="3565995" y="4333980"/>
                </a:lnTo>
                <a:close/>
                <a:moveTo>
                  <a:pt x="1055038" y="4295715"/>
                </a:moveTo>
                <a:lnTo>
                  <a:pt x="1069616" y="4295715"/>
                </a:lnTo>
                <a:lnTo>
                  <a:pt x="1076904" y="4317581"/>
                </a:lnTo>
                <a:lnTo>
                  <a:pt x="1055038" y="4317581"/>
                </a:lnTo>
                <a:close/>
                <a:moveTo>
                  <a:pt x="2186609" y="4288426"/>
                </a:moveTo>
                <a:cubicBezTo>
                  <a:pt x="2199364" y="4319403"/>
                  <a:pt x="2181143" y="4286604"/>
                  <a:pt x="2193898" y="4319403"/>
                </a:cubicBezTo>
                <a:lnTo>
                  <a:pt x="2164743" y="4310292"/>
                </a:lnTo>
                <a:lnTo>
                  <a:pt x="2155633" y="4326691"/>
                </a:lnTo>
                <a:lnTo>
                  <a:pt x="2141055" y="4310291"/>
                </a:lnTo>
                <a:lnTo>
                  <a:pt x="2164743" y="4310291"/>
                </a:lnTo>
                <a:close/>
                <a:moveTo>
                  <a:pt x="1807596" y="4288426"/>
                </a:moveTo>
                <a:lnTo>
                  <a:pt x="1814886" y="4295715"/>
                </a:lnTo>
                <a:lnTo>
                  <a:pt x="1807596" y="4324870"/>
                </a:lnTo>
                <a:lnTo>
                  <a:pt x="1785730" y="4308470"/>
                </a:lnTo>
                <a:close/>
                <a:moveTo>
                  <a:pt x="903798" y="4288426"/>
                </a:moveTo>
                <a:cubicBezTo>
                  <a:pt x="903798" y="4288426"/>
                  <a:pt x="911088" y="4301181"/>
                  <a:pt x="911088" y="4303003"/>
                </a:cubicBezTo>
                <a:cubicBezTo>
                  <a:pt x="911088" y="4330336"/>
                  <a:pt x="912910" y="4304826"/>
                  <a:pt x="903798" y="4324870"/>
                </a:cubicBezTo>
                <a:cubicBezTo>
                  <a:pt x="874644" y="4304826"/>
                  <a:pt x="892865" y="4317581"/>
                  <a:pt x="881932" y="4295715"/>
                </a:cubicBezTo>
                <a:close/>
                <a:moveTo>
                  <a:pt x="2787927" y="4286603"/>
                </a:moveTo>
                <a:lnTo>
                  <a:pt x="2797038" y="4303003"/>
                </a:lnTo>
                <a:lnTo>
                  <a:pt x="2773349" y="4301181"/>
                </a:lnTo>
                <a:close/>
                <a:moveTo>
                  <a:pt x="3731813" y="4281137"/>
                </a:moveTo>
                <a:lnTo>
                  <a:pt x="3746390" y="4295714"/>
                </a:lnTo>
                <a:cubicBezTo>
                  <a:pt x="3740924" y="4313936"/>
                  <a:pt x="3739101" y="4297536"/>
                  <a:pt x="3748212" y="4317580"/>
                </a:cubicBezTo>
                <a:cubicBezTo>
                  <a:pt x="3766434" y="4304825"/>
                  <a:pt x="3770078" y="4282959"/>
                  <a:pt x="3731813" y="4281137"/>
                </a:cubicBezTo>
                <a:close/>
                <a:moveTo>
                  <a:pt x="3596972" y="4281137"/>
                </a:moveTo>
                <a:lnTo>
                  <a:pt x="3573284" y="4293892"/>
                </a:lnTo>
                <a:lnTo>
                  <a:pt x="3596972" y="4297536"/>
                </a:lnTo>
                <a:close/>
                <a:moveTo>
                  <a:pt x="1018596" y="4281137"/>
                </a:moveTo>
                <a:cubicBezTo>
                  <a:pt x="1022240" y="4286604"/>
                  <a:pt x="1033174" y="4299359"/>
                  <a:pt x="1033174" y="4303003"/>
                </a:cubicBezTo>
                <a:cubicBezTo>
                  <a:pt x="1033174" y="4319403"/>
                  <a:pt x="1025885" y="4319403"/>
                  <a:pt x="1016774" y="4333980"/>
                </a:cubicBezTo>
                <a:lnTo>
                  <a:pt x="996729" y="4317581"/>
                </a:lnTo>
                <a:cubicBezTo>
                  <a:pt x="1005840" y="4299359"/>
                  <a:pt x="1004018" y="4315759"/>
                  <a:pt x="996729" y="4295715"/>
                </a:cubicBezTo>
                <a:close/>
                <a:moveTo>
                  <a:pt x="2487267" y="4281136"/>
                </a:moveTo>
                <a:lnTo>
                  <a:pt x="2503667" y="4281136"/>
                </a:lnTo>
                <a:lnTo>
                  <a:pt x="2501845" y="4297536"/>
                </a:lnTo>
                <a:close/>
                <a:moveTo>
                  <a:pt x="2999299" y="4279315"/>
                </a:moveTo>
                <a:lnTo>
                  <a:pt x="2984721" y="4293892"/>
                </a:lnTo>
                <a:lnTo>
                  <a:pt x="3008410" y="4295714"/>
                </a:lnTo>
                <a:close/>
                <a:moveTo>
                  <a:pt x="2179321" y="4264737"/>
                </a:moveTo>
                <a:cubicBezTo>
                  <a:pt x="2201187" y="4270204"/>
                  <a:pt x="2190254" y="4264737"/>
                  <a:pt x="2201187" y="4279315"/>
                </a:cubicBezTo>
                <a:cubicBezTo>
                  <a:pt x="2179321" y="4273848"/>
                  <a:pt x="2190254" y="4281137"/>
                  <a:pt x="2179321" y="4264737"/>
                </a:cubicBezTo>
                <a:close/>
                <a:moveTo>
                  <a:pt x="2919123" y="4259271"/>
                </a:moveTo>
                <a:lnTo>
                  <a:pt x="2900901" y="4272026"/>
                </a:lnTo>
                <a:lnTo>
                  <a:pt x="2888146" y="4266559"/>
                </a:lnTo>
                <a:lnTo>
                  <a:pt x="2888146" y="4281137"/>
                </a:lnTo>
                <a:lnTo>
                  <a:pt x="2902724" y="4281137"/>
                </a:lnTo>
                <a:cubicBezTo>
                  <a:pt x="2893613" y="4301181"/>
                  <a:pt x="2889968" y="4288425"/>
                  <a:pt x="2910012" y="4303003"/>
                </a:cubicBezTo>
                <a:cubicBezTo>
                  <a:pt x="2919123" y="4282959"/>
                  <a:pt x="2919123" y="4299358"/>
                  <a:pt x="2910012" y="4281137"/>
                </a:cubicBezTo>
                <a:close/>
                <a:moveTo>
                  <a:pt x="2268608" y="4257449"/>
                </a:moveTo>
                <a:lnTo>
                  <a:pt x="2286830" y="4266560"/>
                </a:lnTo>
                <a:lnTo>
                  <a:pt x="2270430" y="4279316"/>
                </a:lnTo>
                <a:lnTo>
                  <a:pt x="2261319" y="4272027"/>
                </a:lnTo>
                <a:close/>
                <a:moveTo>
                  <a:pt x="3822921" y="4257448"/>
                </a:moveTo>
                <a:lnTo>
                  <a:pt x="3821046" y="4271725"/>
                </a:lnTo>
                <a:lnTo>
                  <a:pt x="3818105" y="4267682"/>
                </a:lnTo>
                <a:close/>
                <a:moveTo>
                  <a:pt x="3689903" y="4257448"/>
                </a:moveTo>
                <a:lnTo>
                  <a:pt x="3664392" y="4259271"/>
                </a:lnTo>
                <a:lnTo>
                  <a:pt x="3678969" y="4273848"/>
                </a:lnTo>
                <a:close/>
                <a:moveTo>
                  <a:pt x="3821019" y="4251530"/>
                </a:moveTo>
                <a:lnTo>
                  <a:pt x="3821099" y="4251982"/>
                </a:lnTo>
                <a:lnTo>
                  <a:pt x="3820783" y="4251733"/>
                </a:lnTo>
                <a:close/>
                <a:moveTo>
                  <a:pt x="3884875" y="4250160"/>
                </a:moveTo>
                <a:cubicBezTo>
                  <a:pt x="3906741" y="4255627"/>
                  <a:pt x="3899453" y="4246516"/>
                  <a:pt x="3892164" y="4264738"/>
                </a:cubicBezTo>
                <a:cubicBezTo>
                  <a:pt x="3932252" y="4261093"/>
                  <a:pt x="3912208" y="4248338"/>
                  <a:pt x="3928608" y="4272026"/>
                </a:cubicBezTo>
                <a:lnTo>
                  <a:pt x="3899453" y="4281137"/>
                </a:lnTo>
                <a:cubicBezTo>
                  <a:pt x="3888520" y="4270204"/>
                  <a:pt x="3886698" y="4272026"/>
                  <a:pt x="3884875" y="4250160"/>
                </a:cubicBezTo>
                <a:close/>
                <a:moveTo>
                  <a:pt x="3642526" y="4250160"/>
                </a:moveTo>
                <a:lnTo>
                  <a:pt x="3642526" y="4264737"/>
                </a:lnTo>
                <a:lnTo>
                  <a:pt x="3657103" y="4264737"/>
                </a:lnTo>
                <a:close/>
                <a:moveTo>
                  <a:pt x="3578750" y="4250160"/>
                </a:moveTo>
                <a:lnTo>
                  <a:pt x="3609727" y="4281137"/>
                </a:lnTo>
                <a:lnTo>
                  <a:pt x="3617016" y="4270204"/>
                </a:lnTo>
                <a:cubicBezTo>
                  <a:pt x="3604260" y="4251982"/>
                  <a:pt x="3609727" y="4250160"/>
                  <a:pt x="3578750" y="4250160"/>
                </a:cubicBezTo>
                <a:close/>
                <a:moveTo>
                  <a:pt x="2828014" y="4250159"/>
                </a:moveTo>
                <a:lnTo>
                  <a:pt x="2844414" y="4251982"/>
                </a:lnTo>
                <a:lnTo>
                  <a:pt x="2829837" y="4266559"/>
                </a:lnTo>
                <a:close/>
                <a:moveTo>
                  <a:pt x="2494557" y="4248338"/>
                </a:moveTo>
                <a:lnTo>
                  <a:pt x="2496380" y="4272027"/>
                </a:lnTo>
                <a:lnTo>
                  <a:pt x="2470869" y="4270205"/>
                </a:lnTo>
                <a:close/>
                <a:moveTo>
                  <a:pt x="1388496" y="4248338"/>
                </a:moveTo>
                <a:lnTo>
                  <a:pt x="1401252" y="4264738"/>
                </a:lnTo>
                <a:lnTo>
                  <a:pt x="1386674" y="4273849"/>
                </a:lnTo>
                <a:close/>
                <a:moveTo>
                  <a:pt x="1076904" y="4248338"/>
                </a:moveTo>
                <a:lnTo>
                  <a:pt x="1091484" y="4272027"/>
                </a:lnTo>
                <a:lnTo>
                  <a:pt x="1076904" y="4288426"/>
                </a:lnTo>
                <a:lnTo>
                  <a:pt x="1053216" y="4270205"/>
                </a:lnTo>
                <a:close/>
                <a:moveTo>
                  <a:pt x="1295566" y="4242872"/>
                </a:moveTo>
                <a:cubicBezTo>
                  <a:pt x="1313788" y="4242872"/>
                  <a:pt x="1319255" y="4248339"/>
                  <a:pt x="1319255" y="4266560"/>
                </a:cubicBezTo>
                <a:lnTo>
                  <a:pt x="1319255" y="4288427"/>
                </a:lnTo>
                <a:cubicBezTo>
                  <a:pt x="1299210" y="4279316"/>
                  <a:pt x="1315610" y="4279316"/>
                  <a:pt x="1297388" y="4286604"/>
                </a:cubicBezTo>
                <a:lnTo>
                  <a:pt x="1280988" y="4273849"/>
                </a:lnTo>
                <a:cubicBezTo>
                  <a:pt x="1286455" y="4259272"/>
                  <a:pt x="1279166" y="4242872"/>
                  <a:pt x="1295566" y="4242872"/>
                </a:cubicBezTo>
                <a:close/>
                <a:moveTo>
                  <a:pt x="4163667" y="4235582"/>
                </a:moveTo>
                <a:lnTo>
                  <a:pt x="4178245" y="4250160"/>
                </a:lnTo>
                <a:lnTo>
                  <a:pt x="4163667" y="4250160"/>
                </a:lnTo>
                <a:close/>
                <a:moveTo>
                  <a:pt x="2685885" y="4235582"/>
                </a:moveTo>
                <a:lnTo>
                  <a:pt x="2707752" y="4235582"/>
                </a:lnTo>
                <a:lnTo>
                  <a:pt x="2707752" y="4250160"/>
                </a:lnTo>
                <a:cubicBezTo>
                  <a:pt x="2684063" y="4244693"/>
                  <a:pt x="2696818" y="4250160"/>
                  <a:pt x="2685885" y="4235582"/>
                </a:cubicBezTo>
                <a:close/>
                <a:moveTo>
                  <a:pt x="2933700" y="4228294"/>
                </a:moveTo>
                <a:cubicBezTo>
                  <a:pt x="2950100" y="4259271"/>
                  <a:pt x="2931878" y="4241049"/>
                  <a:pt x="2955566" y="4250160"/>
                </a:cubicBezTo>
                <a:cubicBezTo>
                  <a:pt x="2950100" y="4228294"/>
                  <a:pt x="2955566" y="4233760"/>
                  <a:pt x="2933700" y="4228294"/>
                </a:cubicBezTo>
                <a:close/>
                <a:moveTo>
                  <a:pt x="2276579" y="4227838"/>
                </a:moveTo>
                <a:cubicBezTo>
                  <a:pt x="2276352" y="4228294"/>
                  <a:pt x="2274985" y="4230116"/>
                  <a:pt x="2285007" y="4235583"/>
                </a:cubicBezTo>
                <a:lnTo>
                  <a:pt x="2268607" y="4257449"/>
                </a:lnTo>
                <a:lnTo>
                  <a:pt x="2246741" y="4235583"/>
                </a:lnTo>
                <a:cubicBezTo>
                  <a:pt x="2246741" y="4235583"/>
                  <a:pt x="2259496" y="4228294"/>
                  <a:pt x="2261319" y="4228294"/>
                </a:cubicBezTo>
                <a:cubicBezTo>
                  <a:pt x="2275896" y="4228294"/>
                  <a:pt x="2276807" y="4227383"/>
                  <a:pt x="2276579" y="4227838"/>
                </a:cubicBezTo>
                <a:close/>
                <a:moveTo>
                  <a:pt x="1590758" y="4226472"/>
                </a:moveTo>
                <a:lnTo>
                  <a:pt x="1621736" y="4237405"/>
                </a:lnTo>
                <a:lnTo>
                  <a:pt x="1599869" y="4259271"/>
                </a:lnTo>
                <a:close/>
                <a:moveTo>
                  <a:pt x="224128" y="4226471"/>
                </a:moveTo>
                <a:lnTo>
                  <a:pt x="233239" y="4242871"/>
                </a:lnTo>
                <a:lnTo>
                  <a:pt x="209550" y="4241049"/>
                </a:lnTo>
                <a:close/>
                <a:moveTo>
                  <a:pt x="3567817" y="4221005"/>
                </a:moveTo>
                <a:lnTo>
                  <a:pt x="3551417" y="4222827"/>
                </a:lnTo>
                <a:lnTo>
                  <a:pt x="3565995" y="4237404"/>
                </a:lnTo>
                <a:close/>
                <a:moveTo>
                  <a:pt x="646872" y="4219183"/>
                </a:moveTo>
                <a:lnTo>
                  <a:pt x="670560" y="4242872"/>
                </a:lnTo>
                <a:lnTo>
                  <a:pt x="646872" y="4242872"/>
                </a:lnTo>
                <a:close/>
                <a:moveTo>
                  <a:pt x="3950474" y="4213717"/>
                </a:moveTo>
                <a:lnTo>
                  <a:pt x="3957762" y="4226472"/>
                </a:lnTo>
                <a:lnTo>
                  <a:pt x="3950474" y="4237406"/>
                </a:lnTo>
                <a:lnTo>
                  <a:pt x="3935896" y="4221006"/>
                </a:lnTo>
                <a:close/>
                <a:moveTo>
                  <a:pt x="2405270" y="4213717"/>
                </a:moveTo>
                <a:lnTo>
                  <a:pt x="2428959" y="4213717"/>
                </a:lnTo>
                <a:lnTo>
                  <a:pt x="2419848" y="4242872"/>
                </a:lnTo>
                <a:cubicBezTo>
                  <a:pt x="2396158" y="4224650"/>
                  <a:pt x="2410737" y="4248338"/>
                  <a:pt x="2405270" y="4213717"/>
                </a:cubicBezTo>
                <a:close/>
                <a:moveTo>
                  <a:pt x="2676775" y="4206428"/>
                </a:moveTo>
                <a:lnTo>
                  <a:pt x="2654909" y="4228294"/>
                </a:lnTo>
                <a:lnTo>
                  <a:pt x="2660375" y="4241049"/>
                </a:lnTo>
                <a:lnTo>
                  <a:pt x="2638509" y="4241049"/>
                </a:lnTo>
                <a:cubicBezTo>
                  <a:pt x="2647620" y="4222828"/>
                  <a:pt x="2645798" y="4239227"/>
                  <a:pt x="2638509" y="4219183"/>
                </a:cubicBezTo>
                <a:cubicBezTo>
                  <a:pt x="2680419" y="4204606"/>
                  <a:pt x="2627575" y="4210073"/>
                  <a:pt x="2676775" y="4206428"/>
                </a:cubicBezTo>
                <a:close/>
                <a:moveTo>
                  <a:pt x="1598046" y="4204605"/>
                </a:moveTo>
                <a:lnTo>
                  <a:pt x="1621735" y="4206428"/>
                </a:lnTo>
                <a:lnTo>
                  <a:pt x="1607158" y="4219183"/>
                </a:lnTo>
                <a:close/>
                <a:moveTo>
                  <a:pt x="2015325" y="4199138"/>
                </a:moveTo>
                <a:cubicBezTo>
                  <a:pt x="2024435" y="4204605"/>
                  <a:pt x="2022613" y="4206427"/>
                  <a:pt x="2037191" y="4206427"/>
                </a:cubicBezTo>
                <a:lnTo>
                  <a:pt x="2059057" y="4206427"/>
                </a:lnTo>
                <a:lnTo>
                  <a:pt x="2059057" y="4228293"/>
                </a:lnTo>
                <a:cubicBezTo>
                  <a:pt x="2059057" y="4257448"/>
                  <a:pt x="2060879" y="4230115"/>
                  <a:pt x="2051768" y="4242871"/>
                </a:cubicBezTo>
                <a:lnTo>
                  <a:pt x="2059057" y="4257448"/>
                </a:lnTo>
                <a:cubicBezTo>
                  <a:pt x="2044479" y="4266559"/>
                  <a:pt x="2044479" y="4272025"/>
                  <a:pt x="2028080" y="4272025"/>
                </a:cubicBezTo>
                <a:lnTo>
                  <a:pt x="2009858" y="4273847"/>
                </a:lnTo>
                <a:lnTo>
                  <a:pt x="2000747" y="4221004"/>
                </a:lnTo>
                <a:lnTo>
                  <a:pt x="2015325" y="4221004"/>
                </a:lnTo>
                <a:cubicBezTo>
                  <a:pt x="1998925" y="4184561"/>
                  <a:pt x="2018969" y="4224649"/>
                  <a:pt x="2015325" y="4199138"/>
                </a:cubicBezTo>
                <a:close/>
                <a:moveTo>
                  <a:pt x="3596972" y="4197317"/>
                </a:moveTo>
                <a:cubicBezTo>
                  <a:pt x="3576928" y="4210072"/>
                  <a:pt x="3576928" y="4204605"/>
                  <a:pt x="3575106" y="4235582"/>
                </a:cubicBezTo>
                <a:cubicBezTo>
                  <a:pt x="3586039" y="4230116"/>
                  <a:pt x="3595150" y="4215538"/>
                  <a:pt x="3596972" y="4197317"/>
                </a:cubicBezTo>
                <a:close/>
                <a:moveTo>
                  <a:pt x="1778441" y="4190028"/>
                </a:moveTo>
                <a:cubicBezTo>
                  <a:pt x="1798485" y="4197317"/>
                  <a:pt x="1782086" y="4197317"/>
                  <a:pt x="1800307" y="4190028"/>
                </a:cubicBezTo>
                <a:cubicBezTo>
                  <a:pt x="1798485" y="4211894"/>
                  <a:pt x="1800307" y="4226472"/>
                  <a:pt x="1778441" y="4228294"/>
                </a:cubicBezTo>
                <a:close/>
                <a:moveTo>
                  <a:pt x="1062328" y="4190028"/>
                </a:moveTo>
                <a:cubicBezTo>
                  <a:pt x="1045929" y="4226472"/>
                  <a:pt x="1065973" y="4186384"/>
                  <a:pt x="1062328" y="4211894"/>
                </a:cubicBezTo>
                <a:cubicBezTo>
                  <a:pt x="1027707" y="4208250"/>
                  <a:pt x="1049572" y="4219183"/>
                  <a:pt x="1031350" y="4195495"/>
                </a:cubicBezTo>
                <a:close/>
                <a:moveTo>
                  <a:pt x="3914029" y="4182739"/>
                </a:moveTo>
                <a:lnTo>
                  <a:pt x="3928607" y="4197317"/>
                </a:lnTo>
                <a:lnTo>
                  <a:pt x="3914029" y="4197317"/>
                </a:lnTo>
                <a:close/>
                <a:moveTo>
                  <a:pt x="2357893" y="4173629"/>
                </a:moveTo>
                <a:lnTo>
                  <a:pt x="2359716" y="4197318"/>
                </a:lnTo>
                <a:lnTo>
                  <a:pt x="2343316" y="4188207"/>
                </a:lnTo>
                <a:close/>
                <a:moveTo>
                  <a:pt x="2893613" y="4173628"/>
                </a:moveTo>
                <a:lnTo>
                  <a:pt x="2879035" y="4188206"/>
                </a:lnTo>
                <a:lnTo>
                  <a:pt x="2895435" y="4199139"/>
                </a:lnTo>
                <a:close/>
                <a:moveTo>
                  <a:pt x="3859366" y="4166339"/>
                </a:moveTo>
                <a:lnTo>
                  <a:pt x="3868477" y="4182739"/>
                </a:lnTo>
                <a:lnTo>
                  <a:pt x="3844788" y="4180917"/>
                </a:lnTo>
                <a:close/>
                <a:moveTo>
                  <a:pt x="2647619" y="4159052"/>
                </a:moveTo>
                <a:cubicBezTo>
                  <a:pt x="2669485" y="4166341"/>
                  <a:pt x="2662197" y="4157230"/>
                  <a:pt x="2656730" y="4173630"/>
                </a:cubicBezTo>
                <a:lnTo>
                  <a:pt x="2678596" y="4173630"/>
                </a:lnTo>
                <a:cubicBezTo>
                  <a:pt x="2664019" y="4193673"/>
                  <a:pt x="2660374" y="4195496"/>
                  <a:pt x="2625753" y="4195496"/>
                </a:cubicBezTo>
                <a:cubicBezTo>
                  <a:pt x="2627575" y="4166341"/>
                  <a:pt x="2627575" y="4164519"/>
                  <a:pt x="2647619" y="4173630"/>
                </a:cubicBezTo>
                <a:close/>
                <a:moveTo>
                  <a:pt x="1122459" y="4151762"/>
                </a:moveTo>
                <a:cubicBezTo>
                  <a:pt x="1142503" y="4159051"/>
                  <a:pt x="1126103" y="4159051"/>
                  <a:pt x="1144325" y="4155407"/>
                </a:cubicBezTo>
                <a:lnTo>
                  <a:pt x="1168013" y="4159051"/>
                </a:lnTo>
                <a:lnTo>
                  <a:pt x="1168013" y="4204606"/>
                </a:lnTo>
                <a:cubicBezTo>
                  <a:pt x="1168013" y="4224650"/>
                  <a:pt x="1164370" y="4226472"/>
                  <a:pt x="1160724" y="4242872"/>
                </a:cubicBezTo>
                <a:cubicBezTo>
                  <a:pt x="1138858" y="4237405"/>
                  <a:pt x="1149791" y="4244694"/>
                  <a:pt x="1138858" y="4228294"/>
                </a:cubicBezTo>
                <a:cubicBezTo>
                  <a:pt x="1129747" y="4231939"/>
                  <a:pt x="1111526" y="4235583"/>
                  <a:pt x="1106059" y="4241050"/>
                </a:cubicBezTo>
                <a:cubicBezTo>
                  <a:pt x="1084193" y="4261094"/>
                  <a:pt x="1135214" y="4242872"/>
                  <a:pt x="1091482" y="4255627"/>
                </a:cubicBezTo>
                <a:lnTo>
                  <a:pt x="1091482" y="4226472"/>
                </a:lnTo>
                <a:lnTo>
                  <a:pt x="1075082" y="4217361"/>
                </a:lnTo>
                <a:lnTo>
                  <a:pt x="1089660" y="4204606"/>
                </a:lnTo>
                <a:lnTo>
                  <a:pt x="1084193" y="4173629"/>
                </a:lnTo>
                <a:lnTo>
                  <a:pt x="1107881" y="4173629"/>
                </a:lnTo>
                <a:lnTo>
                  <a:pt x="1098770" y="4159051"/>
                </a:lnTo>
                <a:close/>
                <a:moveTo>
                  <a:pt x="4067092" y="4149941"/>
                </a:moveTo>
                <a:lnTo>
                  <a:pt x="4079847" y="4166341"/>
                </a:lnTo>
                <a:lnTo>
                  <a:pt x="4065270" y="4175452"/>
                </a:lnTo>
                <a:close/>
                <a:moveTo>
                  <a:pt x="3919498" y="4149941"/>
                </a:moveTo>
                <a:lnTo>
                  <a:pt x="3928609" y="4166341"/>
                </a:lnTo>
                <a:lnTo>
                  <a:pt x="3915853" y="4173630"/>
                </a:lnTo>
                <a:lnTo>
                  <a:pt x="3904920" y="4166341"/>
                </a:lnTo>
                <a:close/>
                <a:moveTo>
                  <a:pt x="2501846" y="4149941"/>
                </a:moveTo>
                <a:lnTo>
                  <a:pt x="2510957" y="4166341"/>
                </a:lnTo>
                <a:lnTo>
                  <a:pt x="2496379" y="4173630"/>
                </a:lnTo>
                <a:lnTo>
                  <a:pt x="2487268" y="4166341"/>
                </a:lnTo>
                <a:close/>
                <a:moveTo>
                  <a:pt x="918376" y="4149941"/>
                </a:moveTo>
                <a:lnTo>
                  <a:pt x="918376" y="4175452"/>
                </a:lnTo>
                <a:lnTo>
                  <a:pt x="901976" y="4166341"/>
                </a:lnTo>
                <a:close/>
                <a:moveTo>
                  <a:pt x="701537" y="4146296"/>
                </a:moveTo>
                <a:lnTo>
                  <a:pt x="690604" y="4177273"/>
                </a:lnTo>
                <a:lnTo>
                  <a:pt x="676026" y="4162696"/>
                </a:lnTo>
                <a:cubicBezTo>
                  <a:pt x="685137" y="4159051"/>
                  <a:pt x="690604" y="4157229"/>
                  <a:pt x="692426" y="4157229"/>
                </a:cubicBezTo>
                <a:cubicBezTo>
                  <a:pt x="694248" y="4153585"/>
                  <a:pt x="696071" y="4149941"/>
                  <a:pt x="701537" y="4146296"/>
                </a:cubicBezTo>
                <a:close/>
                <a:moveTo>
                  <a:pt x="3476708" y="4144473"/>
                </a:moveTo>
                <a:lnTo>
                  <a:pt x="3476708" y="4159051"/>
                </a:lnTo>
                <a:lnTo>
                  <a:pt x="3491286" y="4159051"/>
                </a:lnTo>
                <a:close/>
                <a:moveTo>
                  <a:pt x="3671681" y="4142651"/>
                </a:moveTo>
                <a:cubicBezTo>
                  <a:pt x="3660748" y="4149940"/>
                  <a:pt x="3649815" y="4151762"/>
                  <a:pt x="3649815" y="4171806"/>
                </a:cubicBezTo>
                <a:cubicBezTo>
                  <a:pt x="3649815" y="4175450"/>
                  <a:pt x="3660748" y="4188206"/>
                  <a:pt x="3664392" y="4193672"/>
                </a:cubicBezTo>
                <a:lnTo>
                  <a:pt x="3640704" y="4215538"/>
                </a:lnTo>
                <a:lnTo>
                  <a:pt x="3627949" y="4217360"/>
                </a:lnTo>
                <a:lnTo>
                  <a:pt x="3606082" y="4217360"/>
                </a:lnTo>
                <a:lnTo>
                  <a:pt x="3606082" y="4224649"/>
                </a:lnTo>
                <a:lnTo>
                  <a:pt x="3627949" y="4224649"/>
                </a:lnTo>
                <a:lnTo>
                  <a:pt x="3627949" y="4239226"/>
                </a:lnTo>
                <a:lnTo>
                  <a:pt x="3649815" y="4231938"/>
                </a:lnTo>
                <a:lnTo>
                  <a:pt x="3671681" y="4239226"/>
                </a:lnTo>
                <a:lnTo>
                  <a:pt x="3664392" y="4222827"/>
                </a:lnTo>
                <a:lnTo>
                  <a:pt x="3688080" y="4222827"/>
                </a:lnTo>
                <a:lnTo>
                  <a:pt x="3666214" y="4191850"/>
                </a:lnTo>
                <a:lnTo>
                  <a:pt x="3680792" y="4182739"/>
                </a:lnTo>
                <a:lnTo>
                  <a:pt x="3704480" y="4211894"/>
                </a:lnTo>
                <a:lnTo>
                  <a:pt x="3733635" y="4204605"/>
                </a:lnTo>
                <a:lnTo>
                  <a:pt x="3733635" y="4199139"/>
                </a:lnTo>
                <a:lnTo>
                  <a:pt x="3702658" y="4193672"/>
                </a:lnTo>
                <a:lnTo>
                  <a:pt x="3709947" y="4177273"/>
                </a:lnTo>
                <a:lnTo>
                  <a:pt x="3724524" y="4186384"/>
                </a:lnTo>
                <a:cubicBezTo>
                  <a:pt x="3737279" y="4153584"/>
                  <a:pt x="3719057" y="4186384"/>
                  <a:pt x="3731813" y="4155407"/>
                </a:cubicBezTo>
                <a:lnTo>
                  <a:pt x="3709947" y="4155407"/>
                </a:lnTo>
                <a:lnTo>
                  <a:pt x="3717235" y="4169984"/>
                </a:lnTo>
                <a:lnTo>
                  <a:pt x="3709947" y="4177273"/>
                </a:lnTo>
                <a:lnTo>
                  <a:pt x="3693547" y="4164517"/>
                </a:lnTo>
                <a:lnTo>
                  <a:pt x="3673503" y="4179095"/>
                </a:lnTo>
                <a:lnTo>
                  <a:pt x="3666214" y="4169984"/>
                </a:lnTo>
                <a:lnTo>
                  <a:pt x="3680792" y="4149940"/>
                </a:lnTo>
                <a:close/>
                <a:moveTo>
                  <a:pt x="2820726" y="4137185"/>
                </a:moveTo>
                <a:lnTo>
                  <a:pt x="2820726" y="4159051"/>
                </a:lnTo>
                <a:cubicBezTo>
                  <a:pt x="2820726" y="4159051"/>
                  <a:pt x="2828014" y="4166339"/>
                  <a:pt x="2835303" y="4137185"/>
                </a:cubicBezTo>
                <a:close/>
                <a:moveTo>
                  <a:pt x="2585666" y="4129897"/>
                </a:moveTo>
                <a:cubicBezTo>
                  <a:pt x="2583844" y="4160874"/>
                  <a:pt x="2582021" y="4160874"/>
                  <a:pt x="2558333" y="4166341"/>
                </a:cubicBezTo>
                <a:lnTo>
                  <a:pt x="2549222" y="4144475"/>
                </a:lnTo>
                <a:close/>
                <a:moveTo>
                  <a:pt x="1251833" y="4129897"/>
                </a:moveTo>
                <a:lnTo>
                  <a:pt x="1295566" y="4129897"/>
                </a:lnTo>
                <a:lnTo>
                  <a:pt x="1304677" y="4153586"/>
                </a:lnTo>
                <a:lnTo>
                  <a:pt x="1295566" y="4168163"/>
                </a:lnTo>
                <a:lnTo>
                  <a:pt x="1302855" y="4182740"/>
                </a:lnTo>
                <a:lnTo>
                  <a:pt x="1280988" y="4182740"/>
                </a:lnTo>
                <a:lnTo>
                  <a:pt x="1268233" y="4180918"/>
                </a:lnTo>
                <a:lnTo>
                  <a:pt x="1251833" y="4168163"/>
                </a:lnTo>
                <a:cubicBezTo>
                  <a:pt x="1259122" y="4151764"/>
                  <a:pt x="1259122" y="4146297"/>
                  <a:pt x="1251833" y="4129897"/>
                </a:cubicBezTo>
                <a:close/>
                <a:moveTo>
                  <a:pt x="3635237" y="4129896"/>
                </a:moveTo>
                <a:cubicBezTo>
                  <a:pt x="3627949" y="4137185"/>
                  <a:pt x="3624304" y="4140829"/>
                  <a:pt x="3622482" y="4142651"/>
                </a:cubicBezTo>
                <a:cubicBezTo>
                  <a:pt x="3624304" y="4140829"/>
                  <a:pt x="3626127" y="4142651"/>
                  <a:pt x="3620660" y="4160873"/>
                </a:cubicBezTo>
                <a:lnTo>
                  <a:pt x="3642526" y="4160873"/>
                </a:lnTo>
                <a:cubicBezTo>
                  <a:pt x="3629771" y="4128074"/>
                  <a:pt x="3647993" y="4160873"/>
                  <a:pt x="3635237" y="4129896"/>
                </a:cubicBezTo>
                <a:close/>
                <a:moveTo>
                  <a:pt x="1619913" y="4129896"/>
                </a:moveTo>
                <a:lnTo>
                  <a:pt x="1636312" y="4169985"/>
                </a:lnTo>
                <a:lnTo>
                  <a:pt x="1658178" y="4146297"/>
                </a:lnTo>
                <a:lnTo>
                  <a:pt x="1678222" y="4137185"/>
                </a:lnTo>
                <a:lnTo>
                  <a:pt x="1709199" y="4151764"/>
                </a:lnTo>
                <a:lnTo>
                  <a:pt x="1723776" y="4144474"/>
                </a:lnTo>
                <a:cubicBezTo>
                  <a:pt x="1725599" y="4180918"/>
                  <a:pt x="1714666" y="4159052"/>
                  <a:pt x="1738354" y="4175452"/>
                </a:cubicBezTo>
                <a:cubicBezTo>
                  <a:pt x="1731065" y="4195496"/>
                  <a:pt x="1731065" y="4179096"/>
                  <a:pt x="1734710" y="4197318"/>
                </a:cubicBezTo>
                <a:lnTo>
                  <a:pt x="1729243" y="4219184"/>
                </a:lnTo>
                <a:lnTo>
                  <a:pt x="1700088" y="4244694"/>
                </a:lnTo>
                <a:lnTo>
                  <a:pt x="1685511" y="4235583"/>
                </a:lnTo>
                <a:lnTo>
                  <a:pt x="1670933" y="4242872"/>
                </a:lnTo>
                <a:cubicBezTo>
                  <a:pt x="1661822" y="4228295"/>
                  <a:pt x="1652713" y="4219184"/>
                  <a:pt x="1632669" y="4211895"/>
                </a:cubicBezTo>
                <a:lnTo>
                  <a:pt x="1639956" y="4191851"/>
                </a:lnTo>
                <a:lnTo>
                  <a:pt x="1625380" y="4175452"/>
                </a:lnTo>
                <a:lnTo>
                  <a:pt x="1610802" y="4182740"/>
                </a:lnTo>
                <a:cubicBezTo>
                  <a:pt x="1607158" y="4177274"/>
                  <a:pt x="1596225" y="4164519"/>
                  <a:pt x="1596225" y="4160874"/>
                </a:cubicBezTo>
                <a:cubicBezTo>
                  <a:pt x="1596225" y="4140829"/>
                  <a:pt x="1607158" y="4137185"/>
                  <a:pt x="1619913" y="4129896"/>
                </a:cubicBezTo>
                <a:close/>
                <a:moveTo>
                  <a:pt x="2381582" y="4115319"/>
                </a:moveTo>
                <a:lnTo>
                  <a:pt x="2407093" y="4115319"/>
                </a:lnTo>
                <a:lnTo>
                  <a:pt x="2390693" y="4129896"/>
                </a:lnTo>
                <a:close/>
                <a:moveTo>
                  <a:pt x="3799233" y="4113497"/>
                </a:moveTo>
                <a:cubicBezTo>
                  <a:pt x="3819277" y="4122608"/>
                  <a:pt x="3802878" y="4120786"/>
                  <a:pt x="3822922" y="4113497"/>
                </a:cubicBezTo>
                <a:cubicBezTo>
                  <a:pt x="3846610" y="4131719"/>
                  <a:pt x="3833854" y="4109853"/>
                  <a:pt x="3852076" y="4135363"/>
                </a:cubicBezTo>
                <a:lnTo>
                  <a:pt x="3830210" y="4144474"/>
                </a:lnTo>
                <a:cubicBezTo>
                  <a:pt x="3811988" y="4135363"/>
                  <a:pt x="3828388" y="4137186"/>
                  <a:pt x="3808344" y="4142652"/>
                </a:cubicBezTo>
                <a:close/>
                <a:moveTo>
                  <a:pt x="2631220" y="4113497"/>
                </a:moveTo>
                <a:cubicBezTo>
                  <a:pt x="2625754" y="4139008"/>
                  <a:pt x="2627576" y="4140830"/>
                  <a:pt x="2609354" y="4151763"/>
                </a:cubicBezTo>
                <a:lnTo>
                  <a:pt x="2602065" y="4129897"/>
                </a:lnTo>
                <a:cubicBezTo>
                  <a:pt x="2623931" y="4122608"/>
                  <a:pt x="2612998" y="4126252"/>
                  <a:pt x="2631220" y="4113497"/>
                </a:cubicBezTo>
                <a:close/>
                <a:moveTo>
                  <a:pt x="1689155" y="4113497"/>
                </a:moveTo>
                <a:lnTo>
                  <a:pt x="1711021" y="4113497"/>
                </a:lnTo>
                <a:lnTo>
                  <a:pt x="1709199" y="4139008"/>
                </a:lnTo>
                <a:close/>
                <a:moveTo>
                  <a:pt x="752558" y="4106209"/>
                </a:moveTo>
                <a:lnTo>
                  <a:pt x="759846" y="4120786"/>
                </a:lnTo>
                <a:lnTo>
                  <a:pt x="747091" y="4128075"/>
                </a:lnTo>
                <a:lnTo>
                  <a:pt x="736158" y="4120786"/>
                </a:lnTo>
                <a:close/>
                <a:moveTo>
                  <a:pt x="2835303" y="4098919"/>
                </a:moveTo>
                <a:lnTo>
                  <a:pt x="2837125" y="4115319"/>
                </a:lnTo>
                <a:lnTo>
                  <a:pt x="2851703" y="4100741"/>
                </a:lnTo>
                <a:close/>
                <a:moveTo>
                  <a:pt x="3899452" y="4091630"/>
                </a:moveTo>
                <a:lnTo>
                  <a:pt x="3914030" y="4106208"/>
                </a:lnTo>
                <a:lnTo>
                  <a:pt x="3899452" y="4106208"/>
                </a:lnTo>
                <a:close/>
                <a:moveTo>
                  <a:pt x="3813811" y="4089808"/>
                </a:moveTo>
                <a:lnTo>
                  <a:pt x="3822922" y="4106208"/>
                </a:lnTo>
                <a:lnTo>
                  <a:pt x="3799233" y="4106208"/>
                </a:lnTo>
                <a:close/>
                <a:moveTo>
                  <a:pt x="2396160" y="4089808"/>
                </a:moveTo>
                <a:lnTo>
                  <a:pt x="2405271" y="4106208"/>
                </a:lnTo>
                <a:lnTo>
                  <a:pt x="2381582" y="4106208"/>
                </a:lnTo>
                <a:close/>
                <a:moveTo>
                  <a:pt x="1146148" y="4084342"/>
                </a:moveTo>
                <a:lnTo>
                  <a:pt x="1198991" y="4084342"/>
                </a:lnTo>
                <a:cubicBezTo>
                  <a:pt x="1191703" y="4102564"/>
                  <a:pt x="1193525" y="4106209"/>
                  <a:pt x="1198991" y="4129897"/>
                </a:cubicBezTo>
                <a:cubicBezTo>
                  <a:pt x="1177124" y="4135363"/>
                  <a:pt x="1184414" y="4137185"/>
                  <a:pt x="1168013" y="4137185"/>
                </a:cubicBezTo>
                <a:cubicBezTo>
                  <a:pt x="1140681" y="4137185"/>
                  <a:pt x="1166191" y="4139007"/>
                  <a:pt x="1146148" y="4129897"/>
                </a:cubicBezTo>
                <a:cubicBezTo>
                  <a:pt x="1151614" y="4106209"/>
                  <a:pt x="1153436" y="4102564"/>
                  <a:pt x="1146148" y="4084342"/>
                </a:cubicBezTo>
                <a:close/>
                <a:moveTo>
                  <a:pt x="1703732" y="4082520"/>
                </a:moveTo>
                <a:lnTo>
                  <a:pt x="1734710" y="4093453"/>
                </a:lnTo>
                <a:lnTo>
                  <a:pt x="1711021" y="4113497"/>
                </a:lnTo>
                <a:close/>
                <a:moveTo>
                  <a:pt x="819978" y="4082520"/>
                </a:moveTo>
                <a:lnTo>
                  <a:pt x="829090" y="4113497"/>
                </a:lnTo>
                <a:lnTo>
                  <a:pt x="796290" y="4104386"/>
                </a:lnTo>
                <a:close/>
                <a:moveTo>
                  <a:pt x="1415830" y="4075231"/>
                </a:moveTo>
                <a:lnTo>
                  <a:pt x="1417652" y="4091631"/>
                </a:lnTo>
                <a:lnTo>
                  <a:pt x="1401252" y="4089809"/>
                </a:lnTo>
                <a:close/>
                <a:moveTo>
                  <a:pt x="2525535" y="4069765"/>
                </a:moveTo>
                <a:lnTo>
                  <a:pt x="2525535" y="4091631"/>
                </a:lnTo>
                <a:lnTo>
                  <a:pt x="2503668" y="4091631"/>
                </a:lnTo>
                <a:cubicBezTo>
                  <a:pt x="2510957" y="4084342"/>
                  <a:pt x="2518246" y="4077054"/>
                  <a:pt x="2525535" y="4069765"/>
                </a:cubicBezTo>
                <a:close/>
                <a:moveTo>
                  <a:pt x="1437696" y="4067943"/>
                </a:moveTo>
                <a:lnTo>
                  <a:pt x="1439518" y="4091632"/>
                </a:lnTo>
                <a:lnTo>
                  <a:pt x="1423118" y="4082521"/>
                </a:lnTo>
                <a:close/>
                <a:moveTo>
                  <a:pt x="3748430" y="4067021"/>
                </a:moveTo>
                <a:lnTo>
                  <a:pt x="3745878" y="4074253"/>
                </a:lnTo>
                <a:lnTo>
                  <a:pt x="3742746" y="4075231"/>
                </a:lnTo>
                <a:close/>
                <a:moveTo>
                  <a:pt x="2864458" y="4062476"/>
                </a:moveTo>
                <a:lnTo>
                  <a:pt x="2873569" y="4077053"/>
                </a:lnTo>
                <a:lnTo>
                  <a:pt x="2889968" y="4064298"/>
                </a:lnTo>
                <a:close/>
                <a:moveTo>
                  <a:pt x="3666214" y="4060654"/>
                </a:moveTo>
                <a:cubicBezTo>
                  <a:pt x="3678969" y="4093452"/>
                  <a:pt x="3660748" y="4060654"/>
                  <a:pt x="3673503" y="4091630"/>
                </a:cubicBezTo>
                <a:cubicBezTo>
                  <a:pt x="3702658" y="4069764"/>
                  <a:pt x="3675325" y="4091630"/>
                  <a:pt x="3688080" y="4060654"/>
                </a:cubicBezTo>
                <a:close/>
                <a:moveTo>
                  <a:pt x="1809420" y="4055188"/>
                </a:moveTo>
                <a:cubicBezTo>
                  <a:pt x="1825818" y="4066121"/>
                  <a:pt x="1816707" y="4064299"/>
                  <a:pt x="1840397" y="4069766"/>
                </a:cubicBezTo>
                <a:lnTo>
                  <a:pt x="1831285" y="4106209"/>
                </a:lnTo>
                <a:lnTo>
                  <a:pt x="1802130" y="4106209"/>
                </a:lnTo>
                <a:lnTo>
                  <a:pt x="1793019" y="4069766"/>
                </a:lnTo>
                <a:lnTo>
                  <a:pt x="1809420" y="4069766"/>
                </a:lnTo>
                <a:close/>
                <a:moveTo>
                  <a:pt x="2518245" y="4053364"/>
                </a:moveTo>
                <a:lnTo>
                  <a:pt x="2541934" y="4055187"/>
                </a:lnTo>
                <a:lnTo>
                  <a:pt x="2525534" y="4069764"/>
                </a:lnTo>
                <a:close/>
                <a:moveTo>
                  <a:pt x="4313087" y="4031498"/>
                </a:moveTo>
                <a:lnTo>
                  <a:pt x="4320376" y="4046077"/>
                </a:lnTo>
                <a:lnTo>
                  <a:pt x="4313087" y="4055188"/>
                </a:lnTo>
                <a:lnTo>
                  <a:pt x="4296687" y="4040610"/>
                </a:lnTo>
                <a:close/>
                <a:moveTo>
                  <a:pt x="2443536" y="4024210"/>
                </a:moveTo>
                <a:lnTo>
                  <a:pt x="2465402" y="4046077"/>
                </a:lnTo>
                <a:lnTo>
                  <a:pt x="2443536" y="4046077"/>
                </a:lnTo>
                <a:close/>
                <a:moveTo>
                  <a:pt x="1379386" y="4022388"/>
                </a:moveTo>
                <a:cubicBezTo>
                  <a:pt x="1377564" y="4055188"/>
                  <a:pt x="1381209" y="4036967"/>
                  <a:pt x="1362987" y="4062477"/>
                </a:cubicBezTo>
                <a:lnTo>
                  <a:pt x="1339299" y="4038789"/>
                </a:lnTo>
                <a:cubicBezTo>
                  <a:pt x="1366632" y="4020566"/>
                  <a:pt x="1346587" y="4024211"/>
                  <a:pt x="1379386" y="4022388"/>
                </a:cubicBezTo>
                <a:close/>
                <a:moveTo>
                  <a:pt x="3813810" y="4015555"/>
                </a:moveTo>
                <a:cubicBezTo>
                  <a:pt x="3814721" y="4017833"/>
                  <a:pt x="3816544" y="4024211"/>
                  <a:pt x="3832032" y="4024211"/>
                </a:cubicBezTo>
                <a:lnTo>
                  <a:pt x="3853898" y="4024211"/>
                </a:lnTo>
                <a:lnTo>
                  <a:pt x="3853898" y="4038788"/>
                </a:lnTo>
                <a:cubicBezTo>
                  <a:pt x="3886697" y="4031500"/>
                  <a:pt x="3866653" y="4022388"/>
                  <a:pt x="3883053" y="4046077"/>
                </a:cubicBezTo>
                <a:cubicBezTo>
                  <a:pt x="3850254" y="4047899"/>
                  <a:pt x="3868476" y="4044255"/>
                  <a:pt x="3846610" y="4060655"/>
                </a:cubicBezTo>
                <a:lnTo>
                  <a:pt x="3837499" y="4031500"/>
                </a:lnTo>
                <a:lnTo>
                  <a:pt x="3822921" y="4031500"/>
                </a:lnTo>
                <a:lnTo>
                  <a:pt x="3801055" y="4031500"/>
                </a:lnTo>
                <a:cubicBezTo>
                  <a:pt x="3812899" y="4015100"/>
                  <a:pt x="3812899" y="4013278"/>
                  <a:pt x="3813810" y="4015555"/>
                </a:cubicBezTo>
                <a:close/>
                <a:moveTo>
                  <a:pt x="3935895" y="4009632"/>
                </a:moveTo>
                <a:lnTo>
                  <a:pt x="3952295" y="4009632"/>
                </a:lnTo>
                <a:cubicBezTo>
                  <a:pt x="3945006" y="4038788"/>
                  <a:pt x="3937718" y="4029677"/>
                  <a:pt x="3935895" y="4031499"/>
                </a:cubicBezTo>
                <a:close/>
                <a:moveTo>
                  <a:pt x="2547400" y="4009632"/>
                </a:moveTo>
                <a:lnTo>
                  <a:pt x="2571089" y="4009632"/>
                </a:lnTo>
                <a:lnTo>
                  <a:pt x="2561978" y="4026032"/>
                </a:lnTo>
                <a:close/>
                <a:moveTo>
                  <a:pt x="956641" y="4007810"/>
                </a:moveTo>
                <a:lnTo>
                  <a:pt x="994907" y="4022388"/>
                </a:lnTo>
                <a:lnTo>
                  <a:pt x="985796" y="4007810"/>
                </a:lnTo>
                <a:cubicBezTo>
                  <a:pt x="1011306" y="4009633"/>
                  <a:pt x="1018596" y="4024210"/>
                  <a:pt x="1038640" y="4036965"/>
                </a:cubicBezTo>
                <a:lnTo>
                  <a:pt x="1038640" y="4051543"/>
                </a:lnTo>
                <a:lnTo>
                  <a:pt x="1038640" y="4066120"/>
                </a:lnTo>
                <a:lnTo>
                  <a:pt x="1047751" y="4080697"/>
                </a:lnTo>
                <a:lnTo>
                  <a:pt x="1038640" y="4102563"/>
                </a:lnTo>
                <a:lnTo>
                  <a:pt x="1053217" y="4111674"/>
                </a:lnTo>
                <a:lnTo>
                  <a:pt x="1044106" y="4126252"/>
                </a:lnTo>
                <a:cubicBezTo>
                  <a:pt x="1067795" y="4139007"/>
                  <a:pt x="1071439" y="4128074"/>
                  <a:pt x="1073262" y="4162695"/>
                </a:cubicBezTo>
                <a:lnTo>
                  <a:pt x="1058684" y="4171806"/>
                </a:lnTo>
                <a:lnTo>
                  <a:pt x="1044106" y="4164517"/>
                </a:lnTo>
                <a:lnTo>
                  <a:pt x="1034995" y="4179095"/>
                </a:lnTo>
                <a:cubicBezTo>
                  <a:pt x="1002195" y="4166339"/>
                  <a:pt x="1034995" y="4184561"/>
                  <a:pt x="1005840" y="4173628"/>
                </a:cubicBezTo>
                <a:lnTo>
                  <a:pt x="980330" y="4195494"/>
                </a:lnTo>
                <a:lnTo>
                  <a:pt x="983974" y="4210072"/>
                </a:lnTo>
                <a:lnTo>
                  <a:pt x="980330" y="4233760"/>
                </a:lnTo>
                <a:cubicBezTo>
                  <a:pt x="962108" y="4221004"/>
                  <a:pt x="967574" y="4208249"/>
                  <a:pt x="982152" y="4179095"/>
                </a:cubicBezTo>
                <a:lnTo>
                  <a:pt x="965752" y="4166339"/>
                </a:lnTo>
                <a:cubicBezTo>
                  <a:pt x="963930" y="4135362"/>
                  <a:pt x="963930" y="4135362"/>
                  <a:pt x="943886" y="4139007"/>
                </a:cubicBezTo>
                <a:lnTo>
                  <a:pt x="920197" y="4135362"/>
                </a:lnTo>
                <a:cubicBezTo>
                  <a:pt x="929308" y="4117141"/>
                  <a:pt x="927486" y="4133540"/>
                  <a:pt x="920197" y="4113496"/>
                </a:cubicBezTo>
                <a:lnTo>
                  <a:pt x="942064" y="4113496"/>
                </a:lnTo>
                <a:cubicBezTo>
                  <a:pt x="929308" y="4082519"/>
                  <a:pt x="947530" y="4115319"/>
                  <a:pt x="934775" y="4084341"/>
                </a:cubicBezTo>
                <a:lnTo>
                  <a:pt x="896509" y="4098919"/>
                </a:lnTo>
                <a:cubicBezTo>
                  <a:pt x="903798" y="4078875"/>
                  <a:pt x="925664" y="4064298"/>
                  <a:pt x="949352" y="4051543"/>
                </a:cubicBezTo>
                <a:lnTo>
                  <a:pt x="942064" y="4036965"/>
                </a:lnTo>
                <a:lnTo>
                  <a:pt x="958463" y="4036965"/>
                </a:lnTo>
                <a:lnTo>
                  <a:pt x="951174" y="4016921"/>
                </a:lnTo>
                <a:close/>
                <a:moveTo>
                  <a:pt x="2292295" y="4002344"/>
                </a:moveTo>
                <a:lnTo>
                  <a:pt x="2299584" y="4016922"/>
                </a:lnTo>
                <a:cubicBezTo>
                  <a:pt x="2319628" y="4007811"/>
                  <a:pt x="2303228" y="4007811"/>
                  <a:pt x="2319628" y="4018744"/>
                </a:cubicBezTo>
                <a:cubicBezTo>
                  <a:pt x="2319628" y="4018744"/>
                  <a:pt x="2312339" y="4031500"/>
                  <a:pt x="2312339" y="4033322"/>
                </a:cubicBezTo>
                <a:cubicBezTo>
                  <a:pt x="2312339" y="4047900"/>
                  <a:pt x="2314161" y="4046078"/>
                  <a:pt x="2319628" y="4055188"/>
                </a:cubicBezTo>
                <a:cubicBezTo>
                  <a:pt x="2292295" y="4067944"/>
                  <a:pt x="2277718" y="4057010"/>
                  <a:pt x="2286828" y="4084343"/>
                </a:cubicBezTo>
                <a:lnTo>
                  <a:pt x="2283184" y="4100743"/>
                </a:lnTo>
                <a:cubicBezTo>
                  <a:pt x="2254029" y="4093454"/>
                  <a:pt x="2261318" y="4098920"/>
                  <a:pt x="2268607" y="4078877"/>
                </a:cubicBezTo>
                <a:lnTo>
                  <a:pt x="2254029" y="4071588"/>
                </a:lnTo>
                <a:cubicBezTo>
                  <a:pt x="2261318" y="4055188"/>
                  <a:pt x="2261318" y="4049722"/>
                  <a:pt x="2254029" y="4033322"/>
                </a:cubicBezTo>
                <a:cubicBezTo>
                  <a:pt x="2272251" y="4020566"/>
                  <a:pt x="2264962" y="4031500"/>
                  <a:pt x="2270429" y="4011455"/>
                </a:cubicBezTo>
                <a:close/>
                <a:moveTo>
                  <a:pt x="3979627" y="4000522"/>
                </a:moveTo>
                <a:lnTo>
                  <a:pt x="3981450" y="4016922"/>
                </a:lnTo>
                <a:lnTo>
                  <a:pt x="3965050" y="4015100"/>
                </a:lnTo>
                <a:close/>
                <a:moveTo>
                  <a:pt x="2826192" y="4000522"/>
                </a:moveTo>
                <a:lnTo>
                  <a:pt x="2811615" y="4015099"/>
                </a:lnTo>
                <a:lnTo>
                  <a:pt x="2828014" y="4026032"/>
                </a:lnTo>
                <a:close/>
                <a:moveTo>
                  <a:pt x="3830210" y="3995055"/>
                </a:moveTo>
                <a:lnTo>
                  <a:pt x="3868476" y="3995055"/>
                </a:lnTo>
                <a:cubicBezTo>
                  <a:pt x="3853899" y="4013278"/>
                  <a:pt x="3861187" y="4015100"/>
                  <a:pt x="3830210" y="4016922"/>
                </a:cubicBezTo>
                <a:close/>
                <a:moveTo>
                  <a:pt x="2208476" y="3993233"/>
                </a:moveTo>
                <a:cubicBezTo>
                  <a:pt x="2217587" y="4018745"/>
                  <a:pt x="2219409" y="4004167"/>
                  <a:pt x="2237631" y="4029678"/>
                </a:cubicBezTo>
                <a:lnTo>
                  <a:pt x="2208476" y="4038789"/>
                </a:lnTo>
                <a:cubicBezTo>
                  <a:pt x="2201187" y="4018745"/>
                  <a:pt x="2201187" y="4035144"/>
                  <a:pt x="2206654" y="4016923"/>
                </a:cubicBezTo>
                <a:lnTo>
                  <a:pt x="2192076" y="4002345"/>
                </a:lnTo>
                <a:close/>
                <a:moveTo>
                  <a:pt x="2797037" y="3985944"/>
                </a:moveTo>
                <a:lnTo>
                  <a:pt x="2773349" y="3987767"/>
                </a:lnTo>
                <a:lnTo>
                  <a:pt x="2795215" y="4009633"/>
                </a:lnTo>
                <a:close/>
                <a:moveTo>
                  <a:pt x="1536092" y="3985944"/>
                </a:moveTo>
                <a:cubicBezTo>
                  <a:pt x="1545204" y="4005989"/>
                  <a:pt x="1545204" y="3989589"/>
                  <a:pt x="1537915" y="4007811"/>
                </a:cubicBezTo>
                <a:lnTo>
                  <a:pt x="1550672" y="4022389"/>
                </a:lnTo>
                <a:lnTo>
                  <a:pt x="1543381" y="4033322"/>
                </a:lnTo>
                <a:lnTo>
                  <a:pt x="1503293" y="3995056"/>
                </a:lnTo>
                <a:close/>
                <a:moveTo>
                  <a:pt x="3647993" y="3980478"/>
                </a:moveTo>
                <a:lnTo>
                  <a:pt x="3657103" y="4002344"/>
                </a:lnTo>
                <a:lnTo>
                  <a:pt x="3673503" y="3987767"/>
                </a:lnTo>
                <a:close/>
                <a:moveTo>
                  <a:pt x="3859365" y="3969545"/>
                </a:moveTo>
                <a:lnTo>
                  <a:pt x="3861187" y="3985945"/>
                </a:lnTo>
                <a:lnTo>
                  <a:pt x="3844787" y="3984122"/>
                </a:lnTo>
                <a:close/>
                <a:moveTo>
                  <a:pt x="3682614" y="3969545"/>
                </a:moveTo>
                <a:lnTo>
                  <a:pt x="3680792" y="3995055"/>
                </a:lnTo>
                <a:lnTo>
                  <a:pt x="3695369" y="3985944"/>
                </a:lnTo>
                <a:close/>
                <a:moveTo>
                  <a:pt x="2561978" y="3969545"/>
                </a:moveTo>
                <a:lnTo>
                  <a:pt x="2571089" y="3985945"/>
                </a:lnTo>
                <a:lnTo>
                  <a:pt x="2547400" y="3984122"/>
                </a:lnTo>
                <a:close/>
                <a:moveTo>
                  <a:pt x="3647993" y="3954967"/>
                </a:moveTo>
                <a:lnTo>
                  <a:pt x="3657103" y="3969545"/>
                </a:lnTo>
                <a:lnTo>
                  <a:pt x="3673503" y="3956789"/>
                </a:lnTo>
                <a:close/>
                <a:moveTo>
                  <a:pt x="2489091" y="3954967"/>
                </a:moveTo>
                <a:lnTo>
                  <a:pt x="2494557" y="3987767"/>
                </a:lnTo>
                <a:lnTo>
                  <a:pt x="2470869" y="3965901"/>
                </a:lnTo>
                <a:close/>
                <a:moveTo>
                  <a:pt x="973041" y="3947678"/>
                </a:moveTo>
                <a:lnTo>
                  <a:pt x="996729" y="3956790"/>
                </a:lnTo>
                <a:lnTo>
                  <a:pt x="973041" y="3980478"/>
                </a:lnTo>
                <a:close/>
                <a:moveTo>
                  <a:pt x="2155632" y="3938567"/>
                </a:moveTo>
                <a:lnTo>
                  <a:pt x="2155632" y="3964079"/>
                </a:lnTo>
                <a:lnTo>
                  <a:pt x="2139232" y="3954968"/>
                </a:lnTo>
                <a:close/>
                <a:moveTo>
                  <a:pt x="4088959" y="3934923"/>
                </a:moveTo>
                <a:cubicBezTo>
                  <a:pt x="4078026" y="3962257"/>
                  <a:pt x="4087137" y="3945857"/>
                  <a:pt x="4057982" y="3956790"/>
                </a:cubicBezTo>
                <a:cubicBezTo>
                  <a:pt x="4070737" y="3936747"/>
                  <a:pt x="4061627" y="3940391"/>
                  <a:pt x="4088959" y="3934923"/>
                </a:cubicBezTo>
                <a:close/>
                <a:moveTo>
                  <a:pt x="2684062" y="3933101"/>
                </a:moveTo>
                <a:lnTo>
                  <a:pt x="2700462" y="3940391"/>
                </a:lnTo>
                <a:lnTo>
                  <a:pt x="2692319" y="3955048"/>
                </a:lnTo>
                <a:lnTo>
                  <a:pt x="2713218" y="3956790"/>
                </a:lnTo>
                <a:lnTo>
                  <a:pt x="2729618" y="3976834"/>
                </a:lnTo>
                <a:lnTo>
                  <a:pt x="2705930" y="3985945"/>
                </a:lnTo>
                <a:cubicBezTo>
                  <a:pt x="2701829" y="3968179"/>
                  <a:pt x="2702854" y="3969887"/>
                  <a:pt x="2698242" y="3964164"/>
                </a:cubicBezTo>
                <a:lnTo>
                  <a:pt x="2691933" y="3955743"/>
                </a:lnTo>
                <a:lnTo>
                  <a:pt x="2691351" y="3956790"/>
                </a:lnTo>
                <a:close/>
                <a:moveTo>
                  <a:pt x="2064524" y="3933101"/>
                </a:moveTo>
                <a:lnTo>
                  <a:pt x="2088212" y="3933101"/>
                </a:lnTo>
                <a:cubicBezTo>
                  <a:pt x="2079101" y="3953146"/>
                  <a:pt x="2079101" y="3936747"/>
                  <a:pt x="2086390" y="3954968"/>
                </a:cubicBezTo>
                <a:lnTo>
                  <a:pt x="2064524" y="3971368"/>
                </a:lnTo>
                <a:lnTo>
                  <a:pt x="2057235" y="3947679"/>
                </a:lnTo>
                <a:lnTo>
                  <a:pt x="2073635" y="3947679"/>
                </a:lnTo>
                <a:close/>
                <a:moveTo>
                  <a:pt x="1652713" y="3933101"/>
                </a:moveTo>
                <a:lnTo>
                  <a:pt x="1641778" y="3965901"/>
                </a:lnTo>
                <a:lnTo>
                  <a:pt x="1619912" y="3942213"/>
                </a:lnTo>
                <a:close/>
                <a:moveTo>
                  <a:pt x="1281662" y="3926210"/>
                </a:moveTo>
                <a:lnTo>
                  <a:pt x="1281672" y="3926268"/>
                </a:lnTo>
                <a:cubicBezTo>
                  <a:pt x="1281330" y="3926496"/>
                  <a:pt x="1280931" y="3926382"/>
                  <a:pt x="1281643" y="3926211"/>
                </a:cubicBezTo>
                <a:close/>
                <a:moveTo>
                  <a:pt x="3629771" y="3925813"/>
                </a:moveTo>
                <a:lnTo>
                  <a:pt x="3596972" y="3931279"/>
                </a:lnTo>
                <a:lnTo>
                  <a:pt x="3606082" y="3949501"/>
                </a:lnTo>
                <a:close/>
                <a:moveTo>
                  <a:pt x="694249" y="3925812"/>
                </a:moveTo>
                <a:lnTo>
                  <a:pt x="683316" y="3942212"/>
                </a:lnTo>
                <a:lnTo>
                  <a:pt x="668738" y="3927635"/>
                </a:lnTo>
                <a:close/>
                <a:moveTo>
                  <a:pt x="2033547" y="3923990"/>
                </a:moveTo>
                <a:lnTo>
                  <a:pt x="2035369" y="3940390"/>
                </a:lnTo>
                <a:lnTo>
                  <a:pt x="2018969" y="3938567"/>
                </a:lnTo>
                <a:close/>
                <a:moveTo>
                  <a:pt x="1876839" y="3918524"/>
                </a:moveTo>
                <a:cubicBezTo>
                  <a:pt x="1884128" y="3938568"/>
                  <a:pt x="1887772" y="3934924"/>
                  <a:pt x="1907817" y="3949501"/>
                </a:cubicBezTo>
                <a:cubicBezTo>
                  <a:pt x="1900530" y="3965901"/>
                  <a:pt x="1900530" y="3971367"/>
                  <a:pt x="1907817" y="3987767"/>
                </a:cubicBezTo>
                <a:lnTo>
                  <a:pt x="1885950" y="3987767"/>
                </a:lnTo>
                <a:lnTo>
                  <a:pt x="1871373" y="3985945"/>
                </a:lnTo>
                <a:lnTo>
                  <a:pt x="1854973" y="3964079"/>
                </a:lnTo>
                <a:cubicBezTo>
                  <a:pt x="1860440" y="3934924"/>
                  <a:pt x="1856795" y="3933102"/>
                  <a:pt x="1876839" y="3918524"/>
                </a:cubicBezTo>
                <a:close/>
                <a:moveTo>
                  <a:pt x="1379385" y="3918524"/>
                </a:moveTo>
                <a:cubicBezTo>
                  <a:pt x="1401251" y="3923992"/>
                  <a:pt x="1395785" y="3918524"/>
                  <a:pt x="1401251" y="3940391"/>
                </a:cubicBezTo>
                <a:cubicBezTo>
                  <a:pt x="1368452" y="3933103"/>
                  <a:pt x="1392141" y="3942214"/>
                  <a:pt x="1379385" y="3918524"/>
                </a:cubicBezTo>
                <a:close/>
                <a:moveTo>
                  <a:pt x="2826192" y="3914880"/>
                </a:moveTo>
                <a:lnTo>
                  <a:pt x="2804326" y="3929457"/>
                </a:lnTo>
                <a:cubicBezTo>
                  <a:pt x="2813437" y="3949501"/>
                  <a:pt x="2811615" y="3922168"/>
                  <a:pt x="2811615" y="3951323"/>
                </a:cubicBezTo>
                <a:cubicBezTo>
                  <a:pt x="2811615" y="3951323"/>
                  <a:pt x="2804326" y="3965900"/>
                  <a:pt x="2804326" y="3965900"/>
                </a:cubicBezTo>
                <a:lnTo>
                  <a:pt x="2813437" y="3971367"/>
                </a:lnTo>
                <a:lnTo>
                  <a:pt x="2828014" y="3958612"/>
                </a:lnTo>
                <a:lnTo>
                  <a:pt x="2857169" y="3965900"/>
                </a:lnTo>
                <a:cubicBezTo>
                  <a:pt x="2849880" y="3944034"/>
                  <a:pt x="2849880" y="3960434"/>
                  <a:pt x="2857169" y="3944034"/>
                </a:cubicBezTo>
                <a:lnTo>
                  <a:pt x="2835303" y="3927635"/>
                </a:lnTo>
                <a:lnTo>
                  <a:pt x="2829837" y="3945857"/>
                </a:lnTo>
                <a:close/>
                <a:moveTo>
                  <a:pt x="3801055" y="3911235"/>
                </a:moveTo>
                <a:lnTo>
                  <a:pt x="3784656" y="3913057"/>
                </a:lnTo>
                <a:lnTo>
                  <a:pt x="3799233" y="3927635"/>
                </a:lnTo>
                <a:close/>
                <a:moveTo>
                  <a:pt x="2886324" y="3909413"/>
                </a:moveTo>
                <a:lnTo>
                  <a:pt x="2864458" y="3931279"/>
                </a:lnTo>
                <a:lnTo>
                  <a:pt x="2888146" y="3933101"/>
                </a:lnTo>
                <a:close/>
                <a:moveTo>
                  <a:pt x="2503668" y="3903946"/>
                </a:moveTo>
                <a:lnTo>
                  <a:pt x="2516424" y="3903946"/>
                </a:lnTo>
                <a:lnTo>
                  <a:pt x="2525535" y="3925813"/>
                </a:lnTo>
                <a:lnTo>
                  <a:pt x="2503668" y="3925813"/>
                </a:lnTo>
                <a:close/>
                <a:moveTo>
                  <a:pt x="1439518" y="3903946"/>
                </a:moveTo>
                <a:lnTo>
                  <a:pt x="1439518" y="3927635"/>
                </a:lnTo>
                <a:lnTo>
                  <a:pt x="1441340" y="3940391"/>
                </a:lnTo>
                <a:lnTo>
                  <a:pt x="1463206" y="3965901"/>
                </a:lnTo>
                <a:lnTo>
                  <a:pt x="1454095" y="3980478"/>
                </a:lnTo>
                <a:lnTo>
                  <a:pt x="1461384" y="3993234"/>
                </a:lnTo>
                <a:lnTo>
                  <a:pt x="1432229" y="4016922"/>
                </a:lnTo>
                <a:cubicBezTo>
                  <a:pt x="1419474" y="3996878"/>
                  <a:pt x="1414007" y="3984123"/>
                  <a:pt x="1401252" y="3964079"/>
                </a:cubicBezTo>
                <a:cubicBezTo>
                  <a:pt x="1406719" y="3958612"/>
                  <a:pt x="1408541" y="3954968"/>
                  <a:pt x="1410363" y="3953146"/>
                </a:cubicBezTo>
                <a:cubicBezTo>
                  <a:pt x="1414007" y="3953146"/>
                  <a:pt x="1417652" y="3953146"/>
                  <a:pt x="1424940" y="3949502"/>
                </a:cubicBezTo>
                <a:lnTo>
                  <a:pt x="1417652" y="3934923"/>
                </a:lnTo>
                <a:lnTo>
                  <a:pt x="1432229" y="3934923"/>
                </a:lnTo>
                <a:cubicBezTo>
                  <a:pt x="1421296" y="3911235"/>
                  <a:pt x="1415830" y="3918524"/>
                  <a:pt x="1439518" y="3903946"/>
                </a:cubicBezTo>
                <a:close/>
                <a:moveTo>
                  <a:pt x="4214688" y="3902124"/>
                </a:moveTo>
                <a:lnTo>
                  <a:pt x="4214688" y="3925814"/>
                </a:lnTo>
                <a:lnTo>
                  <a:pt x="4198288" y="3916703"/>
                </a:lnTo>
                <a:close/>
                <a:moveTo>
                  <a:pt x="2044480" y="3896658"/>
                </a:moveTo>
                <a:lnTo>
                  <a:pt x="2066346" y="3896658"/>
                </a:lnTo>
                <a:lnTo>
                  <a:pt x="2066346" y="3911235"/>
                </a:lnTo>
                <a:cubicBezTo>
                  <a:pt x="2044480" y="3905769"/>
                  <a:pt x="2055413" y="3911235"/>
                  <a:pt x="2044480" y="3896658"/>
                </a:cubicBezTo>
                <a:close/>
                <a:moveTo>
                  <a:pt x="2487269" y="3894835"/>
                </a:moveTo>
                <a:lnTo>
                  <a:pt x="2496380" y="3911235"/>
                </a:lnTo>
                <a:lnTo>
                  <a:pt x="2470869" y="3909413"/>
                </a:lnTo>
                <a:close/>
                <a:moveTo>
                  <a:pt x="1310144" y="3894835"/>
                </a:moveTo>
                <a:cubicBezTo>
                  <a:pt x="1308322" y="3909414"/>
                  <a:pt x="1302855" y="3925813"/>
                  <a:pt x="1288277" y="3925813"/>
                </a:cubicBezTo>
                <a:lnTo>
                  <a:pt x="1281662" y="3926210"/>
                </a:lnTo>
                <a:lnTo>
                  <a:pt x="1281358" y="3924276"/>
                </a:lnTo>
                <a:cubicBezTo>
                  <a:pt x="1280419" y="3923080"/>
                  <a:pt x="1278255" y="3921258"/>
                  <a:pt x="1273699" y="3918525"/>
                </a:cubicBezTo>
                <a:cubicBezTo>
                  <a:pt x="1286454" y="3898481"/>
                  <a:pt x="1280988" y="3898481"/>
                  <a:pt x="1310144" y="3894835"/>
                </a:cubicBezTo>
                <a:close/>
                <a:moveTo>
                  <a:pt x="3784656" y="3887547"/>
                </a:moveTo>
                <a:lnTo>
                  <a:pt x="3770078" y="3902124"/>
                </a:lnTo>
                <a:lnTo>
                  <a:pt x="3793766" y="3903947"/>
                </a:lnTo>
                <a:close/>
                <a:moveTo>
                  <a:pt x="2427136" y="3887547"/>
                </a:moveTo>
                <a:lnTo>
                  <a:pt x="2458113" y="3894837"/>
                </a:lnTo>
                <a:cubicBezTo>
                  <a:pt x="2441714" y="3918525"/>
                  <a:pt x="2463580" y="3907592"/>
                  <a:pt x="2427136" y="3909414"/>
                </a:cubicBezTo>
                <a:cubicBezTo>
                  <a:pt x="2436247" y="3891193"/>
                  <a:pt x="2434425" y="3907592"/>
                  <a:pt x="2427136" y="3887547"/>
                </a:cubicBezTo>
                <a:close/>
                <a:moveTo>
                  <a:pt x="1475961" y="3887547"/>
                </a:moveTo>
                <a:lnTo>
                  <a:pt x="1501471" y="3887547"/>
                </a:lnTo>
                <a:lnTo>
                  <a:pt x="1494182" y="3900302"/>
                </a:lnTo>
                <a:lnTo>
                  <a:pt x="1516049" y="3916702"/>
                </a:lnTo>
                <a:cubicBezTo>
                  <a:pt x="1508761" y="3936746"/>
                  <a:pt x="1508761" y="3920346"/>
                  <a:pt x="1516049" y="3938568"/>
                </a:cubicBezTo>
                <a:lnTo>
                  <a:pt x="1494182" y="3954968"/>
                </a:lnTo>
                <a:lnTo>
                  <a:pt x="1501471" y="3969545"/>
                </a:lnTo>
                <a:lnTo>
                  <a:pt x="1477784" y="3969545"/>
                </a:lnTo>
                <a:lnTo>
                  <a:pt x="1485072" y="3954968"/>
                </a:lnTo>
                <a:cubicBezTo>
                  <a:pt x="1479605" y="3949501"/>
                  <a:pt x="1477784" y="3945857"/>
                  <a:pt x="1475961" y="3944034"/>
                </a:cubicBezTo>
                <a:cubicBezTo>
                  <a:pt x="1474139" y="3944034"/>
                  <a:pt x="1470494" y="3942212"/>
                  <a:pt x="1463206" y="3940390"/>
                </a:cubicBezTo>
                <a:cubicBezTo>
                  <a:pt x="1468673" y="3925813"/>
                  <a:pt x="1468673" y="3918524"/>
                  <a:pt x="1461383" y="3902124"/>
                </a:cubicBezTo>
                <a:lnTo>
                  <a:pt x="1485072" y="3902124"/>
                </a:lnTo>
                <a:close/>
                <a:moveTo>
                  <a:pt x="4014250" y="3885725"/>
                </a:moveTo>
                <a:lnTo>
                  <a:pt x="4027005" y="3902126"/>
                </a:lnTo>
                <a:lnTo>
                  <a:pt x="4012427" y="3911237"/>
                </a:lnTo>
                <a:close/>
                <a:moveTo>
                  <a:pt x="1915105" y="3874791"/>
                </a:moveTo>
                <a:lnTo>
                  <a:pt x="1969771" y="3874791"/>
                </a:lnTo>
                <a:lnTo>
                  <a:pt x="1960661" y="3903947"/>
                </a:lnTo>
                <a:cubicBezTo>
                  <a:pt x="1936972" y="3891192"/>
                  <a:pt x="1929683" y="3893014"/>
                  <a:pt x="1915105" y="3874791"/>
                </a:cubicBezTo>
                <a:close/>
                <a:moveTo>
                  <a:pt x="2397981" y="3872969"/>
                </a:moveTo>
                <a:lnTo>
                  <a:pt x="2396159" y="3889369"/>
                </a:lnTo>
                <a:lnTo>
                  <a:pt x="2381581" y="3874791"/>
                </a:lnTo>
                <a:close/>
                <a:moveTo>
                  <a:pt x="1802131" y="3872969"/>
                </a:moveTo>
                <a:lnTo>
                  <a:pt x="1800309" y="3896659"/>
                </a:lnTo>
                <a:lnTo>
                  <a:pt x="1771154" y="3887548"/>
                </a:lnTo>
                <a:cubicBezTo>
                  <a:pt x="1789376" y="3865680"/>
                  <a:pt x="1767509" y="3876615"/>
                  <a:pt x="1802131" y="3872969"/>
                </a:cubicBezTo>
                <a:close/>
                <a:moveTo>
                  <a:pt x="1213568" y="3872969"/>
                </a:moveTo>
                <a:cubicBezTo>
                  <a:pt x="1224501" y="3872969"/>
                  <a:pt x="1235435" y="3876614"/>
                  <a:pt x="1235435" y="3887548"/>
                </a:cubicBezTo>
                <a:cubicBezTo>
                  <a:pt x="1235435" y="3907591"/>
                  <a:pt x="1231790" y="3909414"/>
                  <a:pt x="1229969" y="3923991"/>
                </a:cubicBezTo>
                <a:cubicBezTo>
                  <a:pt x="1204457" y="3907591"/>
                  <a:pt x="1224501" y="3911236"/>
                  <a:pt x="1191703" y="3909414"/>
                </a:cubicBezTo>
                <a:cubicBezTo>
                  <a:pt x="1200814" y="3891192"/>
                  <a:pt x="1198991" y="3907591"/>
                  <a:pt x="1191703" y="3887548"/>
                </a:cubicBezTo>
                <a:cubicBezTo>
                  <a:pt x="1197169" y="3883903"/>
                  <a:pt x="1209925" y="3872969"/>
                  <a:pt x="1213568" y="3872969"/>
                </a:cubicBezTo>
                <a:close/>
                <a:moveTo>
                  <a:pt x="2715040" y="3865681"/>
                </a:moveTo>
                <a:cubicBezTo>
                  <a:pt x="2736906" y="3871148"/>
                  <a:pt x="2725973" y="3863859"/>
                  <a:pt x="2736906" y="3880259"/>
                </a:cubicBezTo>
                <a:lnTo>
                  <a:pt x="2715040" y="3880259"/>
                </a:lnTo>
                <a:close/>
                <a:moveTo>
                  <a:pt x="798112" y="3865681"/>
                </a:moveTo>
                <a:lnTo>
                  <a:pt x="814512" y="3867504"/>
                </a:lnTo>
                <a:lnTo>
                  <a:pt x="799934" y="3882081"/>
                </a:lnTo>
                <a:close/>
                <a:moveTo>
                  <a:pt x="4065270" y="3858392"/>
                </a:moveTo>
                <a:lnTo>
                  <a:pt x="4081670" y="3860215"/>
                </a:lnTo>
                <a:lnTo>
                  <a:pt x="4067092" y="3874792"/>
                </a:lnTo>
                <a:close/>
                <a:moveTo>
                  <a:pt x="3952296" y="3858392"/>
                </a:moveTo>
                <a:lnTo>
                  <a:pt x="3974163" y="3858392"/>
                </a:lnTo>
                <a:cubicBezTo>
                  <a:pt x="3961407" y="3889370"/>
                  <a:pt x="3988740" y="3865682"/>
                  <a:pt x="3957763" y="3889370"/>
                </a:cubicBezTo>
                <a:close/>
                <a:moveTo>
                  <a:pt x="3815632" y="3858392"/>
                </a:moveTo>
                <a:cubicBezTo>
                  <a:pt x="3801055" y="3874792"/>
                  <a:pt x="3797411" y="3854748"/>
                  <a:pt x="3808344" y="3880258"/>
                </a:cubicBezTo>
                <a:lnTo>
                  <a:pt x="3799233" y="3902124"/>
                </a:lnTo>
                <a:lnTo>
                  <a:pt x="3822921" y="3887547"/>
                </a:lnTo>
                <a:close/>
                <a:moveTo>
                  <a:pt x="2479980" y="3858392"/>
                </a:moveTo>
                <a:cubicBezTo>
                  <a:pt x="2516424" y="3858392"/>
                  <a:pt x="2510957" y="3858392"/>
                  <a:pt x="2523712" y="3882082"/>
                </a:cubicBezTo>
                <a:lnTo>
                  <a:pt x="2501846" y="3889370"/>
                </a:lnTo>
                <a:lnTo>
                  <a:pt x="2501846" y="3874793"/>
                </a:lnTo>
                <a:lnTo>
                  <a:pt x="2472691" y="3882082"/>
                </a:lnTo>
                <a:close/>
                <a:moveTo>
                  <a:pt x="4025183" y="3843815"/>
                </a:moveTo>
                <a:lnTo>
                  <a:pt x="4050694" y="3843815"/>
                </a:lnTo>
                <a:lnTo>
                  <a:pt x="4041583" y="3860215"/>
                </a:lnTo>
                <a:close/>
                <a:moveTo>
                  <a:pt x="2230342" y="3843815"/>
                </a:moveTo>
                <a:lnTo>
                  <a:pt x="2255853" y="3843815"/>
                </a:lnTo>
                <a:lnTo>
                  <a:pt x="2244920" y="3860215"/>
                </a:lnTo>
                <a:close/>
                <a:moveTo>
                  <a:pt x="2337963" y="3843132"/>
                </a:moveTo>
                <a:cubicBezTo>
                  <a:pt x="2341835" y="3841879"/>
                  <a:pt x="2344682" y="3841993"/>
                  <a:pt x="2346504" y="3843360"/>
                </a:cubicBezTo>
                <a:cubicBezTo>
                  <a:pt x="2350149" y="3846093"/>
                  <a:pt x="2349693" y="3853837"/>
                  <a:pt x="2345138" y="3865681"/>
                </a:cubicBezTo>
                <a:lnTo>
                  <a:pt x="2359715" y="3872970"/>
                </a:lnTo>
                <a:cubicBezTo>
                  <a:pt x="2350604" y="3893014"/>
                  <a:pt x="2350604" y="3876614"/>
                  <a:pt x="2357893" y="3894836"/>
                </a:cubicBezTo>
                <a:lnTo>
                  <a:pt x="2345138" y="3911235"/>
                </a:lnTo>
                <a:lnTo>
                  <a:pt x="2330560" y="3911235"/>
                </a:lnTo>
                <a:lnTo>
                  <a:pt x="2323272" y="3911235"/>
                </a:lnTo>
                <a:cubicBezTo>
                  <a:pt x="2312339" y="3911235"/>
                  <a:pt x="2308694" y="3911235"/>
                  <a:pt x="2308694" y="3911235"/>
                </a:cubicBezTo>
                <a:cubicBezTo>
                  <a:pt x="2308694" y="3911235"/>
                  <a:pt x="2310516" y="3911235"/>
                  <a:pt x="2301406" y="3914880"/>
                </a:cubicBezTo>
                <a:lnTo>
                  <a:pt x="2277717" y="3911235"/>
                </a:lnTo>
                <a:cubicBezTo>
                  <a:pt x="2283184" y="3894836"/>
                  <a:pt x="2283184" y="3889369"/>
                  <a:pt x="2277717" y="3872970"/>
                </a:cubicBezTo>
                <a:lnTo>
                  <a:pt x="2301406" y="3872970"/>
                </a:lnTo>
                <a:cubicBezTo>
                  <a:pt x="2303228" y="3843815"/>
                  <a:pt x="2303228" y="3841993"/>
                  <a:pt x="2323272" y="3851104"/>
                </a:cubicBezTo>
                <a:cubicBezTo>
                  <a:pt x="2329194" y="3847004"/>
                  <a:pt x="2334091" y="3844385"/>
                  <a:pt x="2337963" y="3843132"/>
                </a:cubicBezTo>
                <a:close/>
                <a:moveTo>
                  <a:pt x="1302855" y="3841993"/>
                </a:moveTo>
                <a:lnTo>
                  <a:pt x="1295566" y="3872971"/>
                </a:lnTo>
                <a:lnTo>
                  <a:pt x="1279166" y="3863860"/>
                </a:lnTo>
                <a:close/>
                <a:moveTo>
                  <a:pt x="2547400" y="3836526"/>
                </a:moveTo>
                <a:lnTo>
                  <a:pt x="2563799" y="3849282"/>
                </a:lnTo>
                <a:lnTo>
                  <a:pt x="2556511" y="3863860"/>
                </a:lnTo>
                <a:cubicBezTo>
                  <a:pt x="2527356" y="3851105"/>
                  <a:pt x="2538289" y="3867504"/>
                  <a:pt x="2520067" y="3843816"/>
                </a:cubicBezTo>
                <a:close/>
                <a:moveTo>
                  <a:pt x="1583469" y="3836526"/>
                </a:moveTo>
                <a:cubicBezTo>
                  <a:pt x="1588935" y="3836526"/>
                  <a:pt x="1598047" y="3843816"/>
                  <a:pt x="1598047" y="3851105"/>
                </a:cubicBezTo>
                <a:cubicBezTo>
                  <a:pt x="1598047" y="3867504"/>
                  <a:pt x="1601692" y="3847460"/>
                  <a:pt x="1588935" y="3867504"/>
                </a:cubicBezTo>
                <a:lnTo>
                  <a:pt x="1567069" y="3845638"/>
                </a:lnTo>
                <a:cubicBezTo>
                  <a:pt x="1568892" y="3843816"/>
                  <a:pt x="1581647" y="3836526"/>
                  <a:pt x="1583469" y="3836526"/>
                </a:cubicBezTo>
                <a:close/>
                <a:moveTo>
                  <a:pt x="2722327" y="3827415"/>
                </a:moveTo>
                <a:lnTo>
                  <a:pt x="2736905" y="3827415"/>
                </a:lnTo>
                <a:lnTo>
                  <a:pt x="2722327" y="3841993"/>
                </a:lnTo>
                <a:close/>
                <a:moveTo>
                  <a:pt x="4012428" y="3820126"/>
                </a:moveTo>
                <a:lnTo>
                  <a:pt x="4019716" y="3841994"/>
                </a:lnTo>
                <a:cubicBezTo>
                  <a:pt x="4006961" y="3874792"/>
                  <a:pt x="4025183" y="3841994"/>
                  <a:pt x="4012428" y="3872970"/>
                </a:cubicBezTo>
                <a:cubicBezTo>
                  <a:pt x="3990561" y="3856571"/>
                  <a:pt x="3997850" y="3836527"/>
                  <a:pt x="4012428" y="3820126"/>
                </a:cubicBezTo>
                <a:close/>
                <a:moveTo>
                  <a:pt x="3793766" y="3820126"/>
                </a:moveTo>
                <a:lnTo>
                  <a:pt x="3770078" y="3821949"/>
                </a:lnTo>
                <a:lnTo>
                  <a:pt x="3784656" y="3836526"/>
                </a:lnTo>
                <a:close/>
                <a:moveTo>
                  <a:pt x="3760967" y="3820126"/>
                </a:moveTo>
                <a:lnTo>
                  <a:pt x="3739101" y="3841993"/>
                </a:lnTo>
                <a:lnTo>
                  <a:pt x="3762790" y="3843815"/>
                </a:lnTo>
                <a:close/>
                <a:moveTo>
                  <a:pt x="2388871" y="3812838"/>
                </a:moveTo>
                <a:lnTo>
                  <a:pt x="2396159" y="3825594"/>
                </a:lnTo>
                <a:lnTo>
                  <a:pt x="2388871" y="3836528"/>
                </a:lnTo>
                <a:lnTo>
                  <a:pt x="2374293" y="3821950"/>
                </a:lnTo>
                <a:close/>
                <a:moveTo>
                  <a:pt x="1862262" y="3812838"/>
                </a:moveTo>
                <a:lnTo>
                  <a:pt x="1853151" y="3829238"/>
                </a:lnTo>
                <a:lnTo>
                  <a:pt x="1838573" y="3814661"/>
                </a:lnTo>
                <a:close/>
                <a:moveTo>
                  <a:pt x="1754753" y="3811015"/>
                </a:moveTo>
                <a:lnTo>
                  <a:pt x="1771154" y="3834705"/>
                </a:lnTo>
                <a:lnTo>
                  <a:pt x="1732887" y="3832883"/>
                </a:lnTo>
                <a:close/>
                <a:moveTo>
                  <a:pt x="4087138" y="3803727"/>
                </a:moveTo>
                <a:lnTo>
                  <a:pt x="4094426" y="3820127"/>
                </a:lnTo>
                <a:lnTo>
                  <a:pt x="4063449" y="3818305"/>
                </a:lnTo>
                <a:close/>
                <a:moveTo>
                  <a:pt x="2345139" y="3798260"/>
                </a:moveTo>
                <a:lnTo>
                  <a:pt x="2343317" y="3836527"/>
                </a:lnTo>
                <a:lnTo>
                  <a:pt x="2305051" y="3800084"/>
                </a:lnTo>
                <a:close/>
                <a:moveTo>
                  <a:pt x="2751483" y="3790972"/>
                </a:moveTo>
                <a:lnTo>
                  <a:pt x="2753305" y="3807371"/>
                </a:lnTo>
                <a:lnTo>
                  <a:pt x="2767882" y="3792794"/>
                </a:lnTo>
                <a:close/>
                <a:moveTo>
                  <a:pt x="4010605" y="3789149"/>
                </a:moveTo>
                <a:lnTo>
                  <a:pt x="4012427" y="3812839"/>
                </a:lnTo>
                <a:lnTo>
                  <a:pt x="3996027" y="3803728"/>
                </a:lnTo>
                <a:close/>
                <a:moveTo>
                  <a:pt x="1552492" y="3789149"/>
                </a:moveTo>
                <a:cubicBezTo>
                  <a:pt x="1565248" y="3821949"/>
                  <a:pt x="1547025" y="3789149"/>
                  <a:pt x="1559781" y="3820127"/>
                </a:cubicBezTo>
                <a:lnTo>
                  <a:pt x="1536092" y="3820127"/>
                </a:lnTo>
                <a:cubicBezTo>
                  <a:pt x="1539737" y="3811016"/>
                  <a:pt x="1541105" y="3806460"/>
                  <a:pt x="1541331" y="3804182"/>
                </a:cubicBezTo>
                <a:lnTo>
                  <a:pt x="1540487" y="3802976"/>
                </a:lnTo>
                <a:lnTo>
                  <a:pt x="1539737" y="3801905"/>
                </a:lnTo>
                <a:cubicBezTo>
                  <a:pt x="1541559" y="3800083"/>
                  <a:pt x="1545203" y="3796439"/>
                  <a:pt x="1552492" y="3789149"/>
                </a:cubicBezTo>
                <a:close/>
                <a:moveTo>
                  <a:pt x="4161846" y="3783683"/>
                </a:moveTo>
                <a:lnTo>
                  <a:pt x="4185535" y="3783683"/>
                </a:lnTo>
                <a:lnTo>
                  <a:pt x="4176424" y="3798261"/>
                </a:lnTo>
                <a:close/>
                <a:moveTo>
                  <a:pt x="1357519" y="3781861"/>
                </a:moveTo>
                <a:lnTo>
                  <a:pt x="1379385" y="3781861"/>
                </a:lnTo>
                <a:lnTo>
                  <a:pt x="1379385" y="3803728"/>
                </a:lnTo>
                <a:lnTo>
                  <a:pt x="1357519" y="3803728"/>
                </a:lnTo>
                <a:close/>
                <a:moveTo>
                  <a:pt x="2623931" y="3778216"/>
                </a:moveTo>
                <a:lnTo>
                  <a:pt x="2602064" y="3800082"/>
                </a:lnTo>
                <a:lnTo>
                  <a:pt x="2607531" y="3831059"/>
                </a:lnTo>
                <a:lnTo>
                  <a:pt x="2583843" y="3831059"/>
                </a:lnTo>
                <a:lnTo>
                  <a:pt x="2591131" y="3858393"/>
                </a:lnTo>
                <a:lnTo>
                  <a:pt x="2578376" y="3872970"/>
                </a:lnTo>
                <a:lnTo>
                  <a:pt x="2585665" y="3883903"/>
                </a:lnTo>
                <a:lnTo>
                  <a:pt x="2607531" y="3860215"/>
                </a:lnTo>
                <a:cubicBezTo>
                  <a:pt x="2631219" y="3874792"/>
                  <a:pt x="2612997" y="3871148"/>
                  <a:pt x="2645797" y="3874792"/>
                </a:cubicBezTo>
                <a:lnTo>
                  <a:pt x="2638508" y="3887548"/>
                </a:lnTo>
                <a:lnTo>
                  <a:pt x="2667663" y="3913058"/>
                </a:lnTo>
                <a:lnTo>
                  <a:pt x="2691351" y="3903947"/>
                </a:lnTo>
                <a:lnTo>
                  <a:pt x="2682240" y="3933102"/>
                </a:lnTo>
                <a:lnTo>
                  <a:pt x="2676773" y="3933102"/>
                </a:lnTo>
                <a:lnTo>
                  <a:pt x="2669486" y="3940391"/>
                </a:lnTo>
                <a:cubicBezTo>
                  <a:pt x="2678597" y="3962257"/>
                  <a:pt x="2684063" y="3947679"/>
                  <a:pt x="2664019" y="3954968"/>
                </a:cubicBezTo>
                <a:lnTo>
                  <a:pt x="2654908" y="3933101"/>
                </a:lnTo>
                <a:lnTo>
                  <a:pt x="2674951" y="3933101"/>
                </a:lnTo>
                <a:lnTo>
                  <a:pt x="2667663" y="3918525"/>
                </a:lnTo>
                <a:cubicBezTo>
                  <a:pt x="2647619" y="3927635"/>
                  <a:pt x="2664018" y="3914880"/>
                  <a:pt x="2645797" y="3925813"/>
                </a:cubicBezTo>
                <a:cubicBezTo>
                  <a:pt x="2634864" y="3947679"/>
                  <a:pt x="2642152" y="3947679"/>
                  <a:pt x="2600242" y="3956790"/>
                </a:cubicBezTo>
                <a:cubicBezTo>
                  <a:pt x="2592954" y="3923991"/>
                  <a:pt x="2565621" y="3913058"/>
                  <a:pt x="2547399" y="3887548"/>
                </a:cubicBezTo>
                <a:lnTo>
                  <a:pt x="2525533" y="3903947"/>
                </a:lnTo>
                <a:lnTo>
                  <a:pt x="2534644" y="3872970"/>
                </a:lnTo>
                <a:lnTo>
                  <a:pt x="2549221" y="3880259"/>
                </a:lnTo>
                <a:lnTo>
                  <a:pt x="2556510" y="3865681"/>
                </a:lnTo>
                <a:lnTo>
                  <a:pt x="2572910" y="3872970"/>
                </a:lnTo>
                <a:lnTo>
                  <a:pt x="2561977" y="3854748"/>
                </a:lnTo>
                <a:lnTo>
                  <a:pt x="2571088" y="3831059"/>
                </a:lnTo>
                <a:lnTo>
                  <a:pt x="2547399" y="3801904"/>
                </a:lnTo>
                <a:cubicBezTo>
                  <a:pt x="2567443" y="3792793"/>
                  <a:pt x="2551044" y="3792793"/>
                  <a:pt x="2569265" y="3798260"/>
                </a:cubicBezTo>
                <a:close/>
                <a:moveTo>
                  <a:pt x="2456291" y="3772750"/>
                </a:moveTo>
                <a:lnTo>
                  <a:pt x="2458113" y="3798262"/>
                </a:lnTo>
                <a:lnTo>
                  <a:pt x="2441713" y="3789151"/>
                </a:lnTo>
                <a:close/>
                <a:moveTo>
                  <a:pt x="2767882" y="3767284"/>
                </a:moveTo>
                <a:lnTo>
                  <a:pt x="2767882" y="3781861"/>
                </a:lnTo>
                <a:lnTo>
                  <a:pt x="2782460" y="3781861"/>
                </a:lnTo>
                <a:close/>
                <a:moveTo>
                  <a:pt x="3974163" y="3767283"/>
                </a:moveTo>
                <a:lnTo>
                  <a:pt x="3965052" y="3783683"/>
                </a:lnTo>
                <a:lnTo>
                  <a:pt x="3950474" y="3769106"/>
                </a:lnTo>
                <a:close/>
                <a:moveTo>
                  <a:pt x="1129748" y="3767283"/>
                </a:moveTo>
                <a:cubicBezTo>
                  <a:pt x="1160726" y="3769107"/>
                  <a:pt x="1155259" y="3770929"/>
                  <a:pt x="1166194" y="3790973"/>
                </a:cubicBezTo>
                <a:lnTo>
                  <a:pt x="1151614" y="3790973"/>
                </a:lnTo>
                <a:lnTo>
                  <a:pt x="1151614" y="3805550"/>
                </a:lnTo>
                <a:cubicBezTo>
                  <a:pt x="1131570" y="3790973"/>
                  <a:pt x="1133393" y="3798261"/>
                  <a:pt x="1129748" y="3767283"/>
                </a:cubicBezTo>
                <a:close/>
                <a:moveTo>
                  <a:pt x="2656730" y="3758173"/>
                </a:moveTo>
                <a:lnTo>
                  <a:pt x="2654908" y="3783683"/>
                </a:lnTo>
                <a:lnTo>
                  <a:pt x="2669485" y="3774572"/>
                </a:lnTo>
                <a:close/>
                <a:moveTo>
                  <a:pt x="2578377" y="3752706"/>
                </a:moveTo>
                <a:lnTo>
                  <a:pt x="2633042" y="3752706"/>
                </a:lnTo>
                <a:lnTo>
                  <a:pt x="2623932" y="3774573"/>
                </a:lnTo>
                <a:lnTo>
                  <a:pt x="2623932" y="3759996"/>
                </a:lnTo>
                <a:cubicBezTo>
                  <a:pt x="2600243" y="3761818"/>
                  <a:pt x="2603888" y="3763640"/>
                  <a:pt x="2592955" y="3774573"/>
                </a:cubicBezTo>
                <a:cubicBezTo>
                  <a:pt x="2591132" y="3769107"/>
                  <a:pt x="2589310" y="3763640"/>
                  <a:pt x="2589310" y="3761818"/>
                </a:cubicBezTo>
                <a:cubicBezTo>
                  <a:pt x="2587488" y="3759996"/>
                  <a:pt x="2583844" y="3758174"/>
                  <a:pt x="2578377" y="3752706"/>
                </a:cubicBezTo>
                <a:close/>
                <a:moveTo>
                  <a:pt x="1328365" y="3752706"/>
                </a:moveTo>
                <a:lnTo>
                  <a:pt x="1317431" y="3776396"/>
                </a:lnTo>
                <a:lnTo>
                  <a:pt x="1295565" y="3754530"/>
                </a:lnTo>
                <a:close/>
                <a:moveTo>
                  <a:pt x="2297762" y="3750884"/>
                </a:moveTo>
                <a:lnTo>
                  <a:pt x="2299584" y="3776396"/>
                </a:lnTo>
                <a:lnTo>
                  <a:pt x="2283184" y="3765462"/>
                </a:lnTo>
                <a:close/>
                <a:moveTo>
                  <a:pt x="940241" y="3745417"/>
                </a:moveTo>
                <a:cubicBezTo>
                  <a:pt x="978507" y="3747239"/>
                  <a:pt x="967574" y="3756350"/>
                  <a:pt x="994906" y="3772750"/>
                </a:cubicBezTo>
                <a:lnTo>
                  <a:pt x="1025883" y="3767283"/>
                </a:lnTo>
                <a:lnTo>
                  <a:pt x="1025883" y="3783683"/>
                </a:lnTo>
                <a:lnTo>
                  <a:pt x="1038639" y="3776394"/>
                </a:lnTo>
                <a:lnTo>
                  <a:pt x="1067793" y="3807371"/>
                </a:lnTo>
                <a:lnTo>
                  <a:pt x="1076904" y="3831060"/>
                </a:lnTo>
                <a:lnTo>
                  <a:pt x="1071438" y="3843815"/>
                </a:lnTo>
                <a:lnTo>
                  <a:pt x="1084193" y="3867504"/>
                </a:lnTo>
                <a:lnTo>
                  <a:pt x="1080549" y="3882081"/>
                </a:lnTo>
                <a:lnTo>
                  <a:pt x="1082371" y="3907592"/>
                </a:lnTo>
                <a:lnTo>
                  <a:pt x="1060505" y="3882081"/>
                </a:lnTo>
                <a:lnTo>
                  <a:pt x="1036818" y="3898481"/>
                </a:lnTo>
                <a:lnTo>
                  <a:pt x="1053216" y="3920347"/>
                </a:lnTo>
                <a:lnTo>
                  <a:pt x="1038639" y="3927636"/>
                </a:lnTo>
                <a:cubicBezTo>
                  <a:pt x="1047750" y="3945857"/>
                  <a:pt x="1045927" y="3929458"/>
                  <a:pt x="1038639" y="3949502"/>
                </a:cubicBezTo>
                <a:cubicBezTo>
                  <a:pt x="1047750" y="3949502"/>
                  <a:pt x="1045927" y="3945857"/>
                  <a:pt x="1045927" y="3956790"/>
                </a:cubicBezTo>
                <a:cubicBezTo>
                  <a:pt x="1045927" y="3985945"/>
                  <a:pt x="1047750" y="3960435"/>
                  <a:pt x="1038639" y="3971368"/>
                </a:cubicBezTo>
                <a:cubicBezTo>
                  <a:pt x="1047750" y="3991412"/>
                  <a:pt x="1051394" y="3978657"/>
                  <a:pt x="1031350" y="3985945"/>
                </a:cubicBezTo>
                <a:cubicBezTo>
                  <a:pt x="1031350" y="3953146"/>
                  <a:pt x="1033172" y="3969546"/>
                  <a:pt x="1024061" y="3954968"/>
                </a:cubicBezTo>
                <a:cubicBezTo>
                  <a:pt x="1036818" y="3922169"/>
                  <a:pt x="1018596" y="3954968"/>
                  <a:pt x="1031350" y="3925813"/>
                </a:cubicBezTo>
                <a:lnTo>
                  <a:pt x="1000374" y="3914880"/>
                </a:lnTo>
                <a:lnTo>
                  <a:pt x="985796" y="3923991"/>
                </a:lnTo>
                <a:cubicBezTo>
                  <a:pt x="965752" y="3911236"/>
                  <a:pt x="978507" y="3920347"/>
                  <a:pt x="971219" y="3923991"/>
                </a:cubicBezTo>
                <a:cubicBezTo>
                  <a:pt x="969396" y="3927636"/>
                  <a:pt x="967574" y="3929458"/>
                  <a:pt x="965752" y="3929458"/>
                </a:cubicBezTo>
                <a:cubicBezTo>
                  <a:pt x="965752" y="3931280"/>
                  <a:pt x="967574" y="3934924"/>
                  <a:pt x="969396" y="3938568"/>
                </a:cubicBezTo>
                <a:lnTo>
                  <a:pt x="949352" y="3953146"/>
                </a:lnTo>
                <a:lnTo>
                  <a:pt x="932953" y="3940391"/>
                </a:lnTo>
                <a:cubicBezTo>
                  <a:pt x="940241" y="3920347"/>
                  <a:pt x="940241" y="3936746"/>
                  <a:pt x="932953" y="3918525"/>
                </a:cubicBezTo>
                <a:lnTo>
                  <a:pt x="949352" y="3909414"/>
                </a:lnTo>
                <a:lnTo>
                  <a:pt x="932953" y="3894836"/>
                </a:lnTo>
                <a:lnTo>
                  <a:pt x="940241" y="3882081"/>
                </a:lnTo>
                <a:lnTo>
                  <a:pt x="918375" y="3865682"/>
                </a:lnTo>
                <a:cubicBezTo>
                  <a:pt x="936597" y="3832883"/>
                  <a:pt x="916553" y="3851104"/>
                  <a:pt x="942063" y="3843815"/>
                </a:cubicBezTo>
                <a:cubicBezTo>
                  <a:pt x="929308" y="3811015"/>
                  <a:pt x="947530" y="3843815"/>
                  <a:pt x="934775" y="3812838"/>
                </a:cubicBezTo>
                <a:cubicBezTo>
                  <a:pt x="954819" y="3805549"/>
                  <a:pt x="962108" y="3790972"/>
                  <a:pt x="971219" y="3776394"/>
                </a:cubicBezTo>
                <a:close/>
                <a:moveTo>
                  <a:pt x="2503667" y="3738130"/>
                </a:moveTo>
                <a:lnTo>
                  <a:pt x="2489092" y="3745418"/>
                </a:lnTo>
                <a:lnTo>
                  <a:pt x="2510956" y="3752706"/>
                </a:lnTo>
                <a:close/>
                <a:moveTo>
                  <a:pt x="1854973" y="3738128"/>
                </a:moveTo>
                <a:lnTo>
                  <a:pt x="1898706" y="3745418"/>
                </a:lnTo>
                <a:cubicBezTo>
                  <a:pt x="1887772" y="3774573"/>
                  <a:pt x="1916928" y="3765462"/>
                  <a:pt x="1876839" y="3776395"/>
                </a:cubicBezTo>
                <a:cubicBezTo>
                  <a:pt x="1869551" y="3756351"/>
                  <a:pt x="1867728" y="3759996"/>
                  <a:pt x="1854973" y="3738128"/>
                </a:cubicBezTo>
                <a:close/>
                <a:moveTo>
                  <a:pt x="2794532" y="3729701"/>
                </a:moveTo>
                <a:cubicBezTo>
                  <a:pt x="2791116" y="3729929"/>
                  <a:pt x="2789749" y="3731751"/>
                  <a:pt x="2789749" y="3738129"/>
                </a:cubicBezTo>
                <a:lnTo>
                  <a:pt x="2775171" y="3730840"/>
                </a:lnTo>
                <a:lnTo>
                  <a:pt x="2758772" y="3752706"/>
                </a:lnTo>
                <a:lnTo>
                  <a:pt x="2767882" y="3759995"/>
                </a:lnTo>
                <a:lnTo>
                  <a:pt x="2789749" y="3738129"/>
                </a:lnTo>
                <a:lnTo>
                  <a:pt x="2811615" y="3738129"/>
                </a:lnTo>
                <a:lnTo>
                  <a:pt x="2804326" y="3752706"/>
                </a:lnTo>
                <a:lnTo>
                  <a:pt x="2820384" y="3759843"/>
                </a:lnTo>
                <a:lnTo>
                  <a:pt x="2818903" y="3761817"/>
                </a:lnTo>
                <a:lnTo>
                  <a:pt x="2821637" y="3761817"/>
                </a:lnTo>
                <a:lnTo>
                  <a:pt x="2828014" y="3774572"/>
                </a:lnTo>
                <a:lnTo>
                  <a:pt x="2804326" y="3774572"/>
                </a:lnTo>
                <a:lnTo>
                  <a:pt x="2804326" y="3781861"/>
                </a:lnTo>
                <a:lnTo>
                  <a:pt x="2835303" y="3781861"/>
                </a:lnTo>
                <a:lnTo>
                  <a:pt x="2835303" y="3761817"/>
                </a:lnTo>
                <a:lnTo>
                  <a:pt x="2821637" y="3761817"/>
                </a:lnTo>
                <a:lnTo>
                  <a:pt x="2820726" y="3759995"/>
                </a:lnTo>
                <a:lnTo>
                  <a:pt x="2820384" y="3759843"/>
                </a:lnTo>
                <a:lnTo>
                  <a:pt x="2835303" y="3739951"/>
                </a:lnTo>
                <a:cubicBezTo>
                  <a:pt x="2813437" y="3729018"/>
                  <a:pt x="2840769" y="3730840"/>
                  <a:pt x="2811615" y="3730840"/>
                </a:cubicBezTo>
                <a:cubicBezTo>
                  <a:pt x="2803415" y="3730840"/>
                  <a:pt x="2797949" y="3729473"/>
                  <a:pt x="2794532" y="3729701"/>
                </a:cubicBezTo>
                <a:close/>
                <a:moveTo>
                  <a:pt x="3770078" y="3729018"/>
                </a:moveTo>
                <a:lnTo>
                  <a:pt x="3746390" y="3736307"/>
                </a:lnTo>
                <a:lnTo>
                  <a:pt x="3760967" y="3750884"/>
                </a:lnTo>
                <a:close/>
                <a:moveTo>
                  <a:pt x="2609353" y="3721729"/>
                </a:moveTo>
                <a:lnTo>
                  <a:pt x="2607531" y="3738129"/>
                </a:lnTo>
                <a:lnTo>
                  <a:pt x="2592953" y="3723552"/>
                </a:lnTo>
                <a:close/>
                <a:moveTo>
                  <a:pt x="2095501" y="3721729"/>
                </a:moveTo>
                <a:lnTo>
                  <a:pt x="2119190" y="3721729"/>
                </a:lnTo>
                <a:lnTo>
                  <a:pt x="2119190" y="3738129"/>
                </a:lnTo>
                <a:cubicBezTo>
                  <a:pt x="2097323" y="3732662"/>
                  <a:pt x="2108256" y="3738129"/>
                  <a:pt x="2095501" y="3721729"/>
                </a:cubicBezTo>
                <a:close/>
                <a:moveTo>
                  <a:pt x="1936972" y="3721729"/>
                </a:moveTo>
                <a:lnTo>
                  <a:pt x="1953371" y="3723552"/>
                </a:lnTo>
                <a:lnTo>
                  <a:pt x="1938793" y="3738129"/>
                </a:lnTo>
                <a:close/>
                <a:moveTo>
                  <a:pt x="1893238" y="3721729"/>
                </a:moveTo>
                <a:lnTo>
                  <a:pt x="1909639" y="3723552"/>
                </a:lnTo>
                <a:lnTo>
                  <a:pt x="1893238" y="3738129"/>
                </a:lnTo>
                <a:close/>
                <a:moveTo>
                  <a:pt x="1712843" y="3721729"/>
                </a:moveTo>
                <a:lnTo>
                  <a:pt x="1718310" y="3756350"/>
                </a:lnTo>
                <a:lnTo>
                  <a:pt x="1740176" y="3756350"/>
                </a:lnTo>
                <a:cubicBezTo>
                  <a:pt x="1736532" y="3785506"/>
                  <a:pt x="1736532" y="3787329"/>
                  <a:pt x="1718310" y="3780040"/>
                </a:cubicBezTo>
                <a:lnTo>
                  <a:pt x="1692799" y="3801906"/>
                </a:lnTo>
                <a:lnTo>
                  <a:pt x="1709199" y="3814661"/>
                </a:lnTo>
                <a:cubicBezTo>
                  <a:pt x="1703732" y="3829238"/>
                  <a:pt x="1703732" y="3836527"/>
                  <a:pt x="1709199" y="3851105"/>
                </a:cubicBezTo>
                <a:lnTo>
                  <a:pt x="1696444" y="3858393"/>
                </a:lnTo>
                <a:lnTo>
                  <a:pt x="1701910" y="3889370"/>
                </a:lnTo>
                <a:lnTo>
                  <a:pt x="1680044" y="3889370"/>
                </a:lnTo>
                <a:cubicBezTo>
                  <a:pt x="1676400" y="3860216"/>
                  <a:pt x="1676400" y="3860216"/>
                  <a:pt x="1649067" y="3858393"/>
                </a:cubicBezTo>
                <a:lnTo>
                  <a:pt x="1649067" y="3836527"/>
                </a:lnTo>
                <a:cubicBezTo>
                  <a:pt x="1649067" y="3814661"/>
                  <a:pt x="1667289" y="3807372"/>
                  <a:pt x="1680044" y="3798261"/>
                </a:cubicBezTo>
                <a:cubicBezTo>
                  <a:pt x="1672756" y="3778218"/>
                  <a:pt x="1672756" y="3794617"/>
                  <a:pt x="1680044" y="3776394"/>
                </a:cubicBezTo>
                <a:lnTo>
                  <a:pt x="1656356" y="3758173"/>
                </a:lnTo>
                <a:lnTo>
                  <a:pt x="1681866" y="3730840"/>
                </a:lnTo>
                <a:close/>
                <a:moveTo>
                  <a:pt x="1109704" y="3712618"/>
                </a:moveTo>
                <a:lnTo>
                  <a:pt x="1122459" y="3729019"/>
                </a:lnTo>
                <a:cubicBezTo>
                  <a:pt x="1086016" y="3743596"/>
                  <a:pt x="1129749" y="3732663"/>
                  <a:pt x="1100593" y="3743596"/>
                </a:cubicBezTo>
                <a:close/>
                <a:moveTo>
                  <a:pt x="3733635" y="3699863"/>
                </a:moveTo>
                <a:lnTo>
                  <a:pt x="3709947" y="3701685"/>
                </a:lnTo>
                <a:lnTo>
                  <a:pt x="3731813" y="3723551"/>
                </a:lnTo>
                <a:close/>
                <a:moveTo>
                  <a:pt x="2186610" y="3699863"/>
                </a:moveTo>
                <a:lnTo>
                  <a:pt x="2195721" y="3723552"/>
                </a:lnTo>
                <a:lnTo>
                  <a:pt x="2188432" y="3738129"/>
                </a:lnTo>
                <a:cubicBezTo>
                  <a:pt x="2219409" y="3741773"/>
                  <a:pt x="2213943" y="3750884"/>
                  <a:pt x="2223053" y="3769106"/>
                </a:cubicBezTo>
                <a:lnTo>
                  <a:pt x="2224876" y="3820127"/>
                </a:lnTo>
                <a:lnTo>
                  <a:pt x="2203010" y="3836526"/>
                </a:lnTo>
                <a:lnTo>
                  <a:pt x="2210298" y="3851104"/>
                </a:lnTo>
                <a:lnTo>
                  <a:pt x="2188432" y="3851104"/>
                </a:lnTo>
                <a:cubicBezTo>
                  <a:pt x="2159277" y="3851104"/>
                  <a:pt x="2186610" y="3852926"/>
                  <a:pt x="2173855" y="3843815"/>
                </a:cubicBezTo>
                <a:lnTo>
                  <a:pt x="2159277" y="3851104"/>
                </a:lnTo>
                <a:lnTo>
                  <a:pt x="2150166" y="3836526"/>
                </a:lnTo>
                <a:lnTo>
                  <a:pt x="2137411" y="3843815"/>
                </a:lnTo>
                <a:lnTo>
                  <a:pt x="2111901" y="3821949"/>
                </a:lnTo>
                <a:lnTo>
                  <a:pt x="2119190" y="3807371"/>
                </a:lnTo>
                <a:cubicBezTo>
                  <a:pt x="2084568" y="3803727"/>
                  <a:pt x="2106434" y="3814660"/>
                  <a:pt x="2088213" y="3790972"/>
                </a:cubicBezTo>
                <a:lnTo>
                  <a:pt x="2073635" y="3800083"/>
                </a:lnTo>
                <a:cubicBezTo>
                  <a:pt x="2066348" y="3790972"/>
                  <a:pt x="2086390" y="3792794"/>
                  <a:pt x="2059058" y="3792794"/>
                </a:cubicBezTo>
                <a:lnTo>
                  <a:pt x="2035369" y="3792794"/>
                </a:lnTo>
                <a:lnTo>
                  <a:pt x="2042658" y="3805549"/>
                </a:lnTo>
                <a:lnTo>
                  <a:pt x="2018971" y="3814660"/>
                </a:lnTo>
                <a:lnTo>
                  <a:pt x="2004392" y="3807371"/>
                </a:lnTo>
                <a:lnTo>
                  <a:pt x="2004392" y="3821949"/>
                </a:lnTo>
                <a:lnTo>
                  <a:pt x="1989814" y="3821949"/>
                </a:lnTo>
                <a:cubicBezTo>
                  <a:pt x="2002569" y="3789150"/>
                  <a:pt x="1984348" y="3821949"/>
                  <a:pt x="1997103" y="3790972"/>
                </a:cubicBezTo>
                <a:cubicBezTo>
                  <a:pt x="1973416" y="3781861"/>
                  <a:pt x="1980703" y="3776394"/>
                  <a:pt x="1969770" y="3754528"/>
                </a:cubicBezTo>
                <a:cubicBezTo>
                  <a:pt x="1984348" y="3736307"/>
                  <a:pt x="2002569" y="3721729"/>
                  <a:pt x="2015325" y="3701685"/>
                </a:cubicBezTo>
                <a:cubicBezTo>
                  <a:pt x="2035369" y="3710796"/>
                  <a:pt x="2018971" y="3710796"/>
                  <a:pt x="2037193" y="3705330"/>
                </a:cubicBezTo>
                <a:lnTo>
                  <a:pt x="2066348" y="3716263"/>
                </a:lnTo>
                <a:lnTo>
                  <a:pt x="2080924" y="3703508"/>
                </a:lnTo>
                <a:lnTo>
                  <a:pt x="2091857" y="3710796"/>
                </a:lnTo>
                <a:lnTo>
                  <a:pt x="2069991" y="3732662"/>
                </a:lnTo>
                <a:lnTo>
                  <a:pt x="2097323" y="3761817"/>
                </a:lnTo>
                <a:lnTo>
                  <a:pt x="2090035" y="3783683"/>
                </a:lnTo>
                <a:lnTo>
                  <a:pt x="2111901" y="3792794"/>
                </a:lnTo>
                <a:cubicBezTo>
                  <a:pt x="2121012" y="3772750"/>
                  <a:pt x="2121012" y="3789150"/>
                  <a:pt x="2115545" y="3770928"/>
                </a:cubicBezTo>
                <a:lnTo>
                  <a:pt x="2128300" y="3739951"/>
                </a:lnTo>
                <a:lnTo>
                  <a:pt x="2150166" y="3730840"/>
                </a:lnTo>
                <a:cubicBezTo>
                  <a:pt x="2170210" y="3738129"/>
                  <a:pt x="2153811" y="3738129"/>
                  <a:pt x="2173855" y="3729018"/>
                </a:cubicBezTo>
                <a:lnTo>
                  <a:pt x="2157455" y="3707152"/>
                </a:lnTo>
                <a:cubicBezTo>
                  <a:pt x="2188432" y="3694397"/>
                  <a:pt x="2155633" y="3712618"/>
                  <a:pt x="2186610" y="3699863"/>
                </a:cubicBezTo>
                <a:close/>
                <a:moveTo>
                  <a:pt x="2864458" y="3698041"/>
                </a:moveTo>
                <a:lnTo>
                  <a:pt x="2858991" y="3730840"/>
                </a:lnTo>
                <a:lnTo>
                  <a:pt x="2880857" y="3707152"/>
                </a:lnTo>
                <a:close/>
                <a:moveTo>
                  <a:pt x="2561977" y="3698041"/>
                </a:moveTo>
                <a:lnTo>
                  <a:pt x="2563799" y="3714441"/>
                </a:lnTo>
                <a:lnTo>
                  <a:pt x="2547399" y="3712619"/>
                </a:lnTo>
                <a:close/>
                <a:moveTo>
                  <a:pt x="2481801" y="3698041"/>
                </a:moveTo>
                <a:lnTo>
                  <a:pt x="2510956" y="3718086"/>
                </a:lnTo>
                <a:lnTo>
                  <a:pt x="2543755" y="3723553"/>
                </a:lnTo>
                <a:lnTo>
                  <a:pt x="2510957" y="3752707"/>
                </a:lnTo>
                <a:lnTo>
                  <a:pt x="2481802" y="3767284"/>
                </a:lnTo>
                <a:lnTo>
                  <a:pt x="2472691" y="3752707"/>
                </a:lnTo>
                <a:lnTo>
                  <a:pt x="2489089" y="3745418"/>
                </a:lnTo>
                <a:lnTo>
                  <a:pt x="2472690" y="3729019"/>
                </a:lnTo>
                <a:cubicBezTo>
                  <a:pt x="2485445" y="3698041"/>
                  <a:pt x="2467224" y="3730841"/>
                  <a:pt x="2481801" y="3698041"/>
                </a:cubicBezTo>
                <a:close/>
                <a:moveTo>
                  <a:pt x="2244919" y="3698041"/>
                </a:moveTo>
                <a:lnTo>
                  <a:pt x="2246741" y="3714441"/>
                </a:lnTo>
                <a:lnTo>
                  <a:pt x="2230341" y="3712619"/>
                </a:lnTo>
                <a:close/>
                <a:moveTo>
                  <a:pt x="4147269" y="3692574"/>
                </a:moveTo>
                <a:lnTo>
                  <a:pt x="4172780" y="3694397"/>
                </a:lnTo>
                <a:lnTo>
                  <a:pt x="4156380" y="3707152"/>
                </a:lnTo>
                <a:close/>
                <a:moveTo>
                  <a:pt x="3884874" y="3692574"/>
                </a:moveTo>
                <a:lnTo>
                  <a:pt x="3899452" y="3692574"/>
                </a:lnTo>
                <a:lnTo>
                  <a:pt x="3899452" y="3714442"/>
                </a:lnTo>
                <a:cubicBezTo>
                  <a:pt x="3870297" y="3694398"/>
                  <a:pt x="3895807" y="3714442"/>
                  <a:pt x="3884874" y="3692574"/>
                </a:cubicBezTo>
                <a:close/>
                <a:moveTo>
                  <a:pt x="2503668" y="3692574"/>
                </a:moveTo>
                <a:lnTo>
                  <a:pt x="2527357" y="3694397"/>
                </a:lnTo>
                <a:lnTo>
                  <a:pt x="2510957" y="3707152"/>
                </a:lnTo>
                <a:close/>
                <a:moveTo>
                  <a:pt x="2261319" y="3692574"/>
                </a:moveTo>
                <a:lnTo>
                  <a:pt x="2299585" y="3692574"/>
                </a:lnTo>
                <a:cubicBezTo>
                  <a:pt x="2281363" y="3718086"/>
                  <a:pt x="2292296" y="3699864"/>
                  <a:pt x="2261319" y="3714442"/>
                </a:cubicBezTo>
                <a:close/>
                <a:moveTo>
                  <a:pt x="1823996" y="3692574"/>
                </a:moveTo>
                <a:lnTo>
                  <a:pt x="1849507" y="3694397"/>
                </a:lnTo>
                <a:lnTo>
                  <a:pt x="1833107" y="3707152"/>
                </a:lnTo>
                <a:close/>
                <a:moveTo>
                  <a:pt x="2685884" y="3690752"/>
                </a:moveTo>
                <a:lnTo>
                  <a:pt x="2700461" y="3690752"/>
                </a:lnTo>
                <a:cubicBezTo>
                  <a:pt x="2705928" y="3714442"/>
                  <a:pt x="2702284" y="3703508"/>
                  <a:pt x="2715039" y="3721730"/>
                </a:cubicBezTo>
                <a:lnTo>
                  <a:pt x="2694995" y="3721730"/>
                </a:lnTo>
                <a:lnTo>
                  <a:pt x="2694995" y="3741774"/>
                </a:lnTo>
                <a:lnTo>
                  <a:pt x="2673129" y="3741774"/>
                </a:lnTo>
                <a:lnTo>
                  <a:pt x="2656729" y="3719908"/>
                </a:lnTo>
                <a:lnTo>
                  <a:pt x="2664018" y="3712619"/>
                </a:lnTo>
                <a:cubicBezTo>
                  <a:pt x="2684062" y="3721730"/>
                  <a:pt x="2684062" y="3721730"/>
                  <a:pt x="2685884" y="3690752"/>
                </a:cubicBezTo>
                <a:close/>
                <a:moveTo>
                  <a:pt x="1905994" y="3690752"/>
                </a:moveTo>
                <a:lnTo>
                  <a:pt x="1913282" y="3705331"/>
                </a:lnTo>
                <a:lnTo>
                  <a:pt x="1907816" y="3714442"/>
                </a:lnTo>
                <a:lnTo>
                  <a:pt x="1891417" y="3705331"/>
                </a:lnTo>
                <a:close/>
                <a:moveTo>
                  <a:pt x="2110079" y="3683463"/>
                </a:moveTo>
                <a:lnTo>
                  <a:pt x="2119190" y="3699863"/>
                </a:lnTo>
                <a:lnTo>
                  <a:pt x="2093679" y="3698041"/>
                </a:lnTo>
                <a:close/>
                <a:moveTo>
                  <a:pt x="954819" y="3679819"/>
                </a:moveTo>
                <a:lnTo>
                  <a:pt x="971221" y="3692575"/>
                </a:lnTo>
                <a:cubicBezTo>
                  <a:pt x="958464" y="3723553"/>
                  <a:pt x="976686" y="3690753"/>
                  <a:pt x="963932" y="3723553"/>
                </a:cubicBezTo>
                <a:lnTo>
                  <a:pt x="932953" y="3714442"/>
                </a:lnTo>
                <a:cubicBezTo>
                  <a:pt x="942064" y="3696220"/>
                  <a:pt x="940242" y="3712619"/>
                  <a:pt x="932953" y="3692575"/>
                </a:cubicBezTo>
                <a:close/>
                <a:moveTo>
                  <a:pt x="4356819" y="3677997"/>
                </a:moveTo>
                <a:lnTo>
                  <a:pt x="4382330" y="3677997"/>
                </a:lnTo>
                <a:lnTo>
                  <a:pt x="4373219" y="3694397"/>
                </a:lnTo>
                <a:close/>
                <a:moveTo>
                  <a:pt x="1741999" y="3676175"/>
                </a:moveTo>
                <a:lnTo>
                  <a:pt x="1734710" y="3707153"/>
                </a:lnTo>
                <a:lnTo>
                  <a:pt x="1711021" y="3698042"/>
                </a:lnTo>
                <a:close/>
                <a:moveTo>
                  <a:pt x="1448628" y="3676175"/>
                </a:moveTo>
                <a:lnTo>
                  <a:pt x="1470495" y="3676175"/>
                </a:lnTo>
                <a:lnTo>
                  <a:pt x="1470495" y="3759995"/>
                </a:lnTo>
                <a:cubicBezTo>
                  <a:pt x="1455917" y="3745418"/>
                  <a:pt x="1434051" y="3725374"/>
                  <a:pt x="1417651" y="3712619"/>
                </a:cubicBezTo>
                <a:cubicBezTo>
                  <a:pt x="1426762" y="3694397"/>
                  <a:pt x="1424940" y="3710796"/>
                  <a:pt x="1417651" y="3690753"/>
                </a:cubicBezTo>
                <a:cubicBezTo>
                  <a:pt x="1432229" y="3681642"/>
                  <a:pt x="1432229" y="3676175"/>
                  <a:pt x="1448628" y="3676175"/>
                </a:cubicBezTo>
                <a:close/>
                <a:moveTo>
                  <a:pt x="2556511" y="3668886"/>
                </a:moveTo>
                <a:lnTo>
                  <a:pt x="2571089" y="3685286"/>
                </a:lnTo>
                <a:lnTo>
                  <a:pt x="2547400" y="3683463"/>
                </a:lnTo>
                <a:close/>
                <a:moveTo>
                  <a:pt x="3799233" y="3663420"/>
                </a:moveTo>
                <a:lnTo>
                  <a:pt x="3777367" y="3672531"/>
                </a:lnTo>
                <a:cubicBezTo>
                  <a:pt x="3782834" y="3696219"/>
                  <a:pt x="3784656" y="3683463"/>
                  <a:pt x="3777367" y="3701685"/>
                </a:cubicBezTo>
                <a:lnTo>
                  <a:pt x="3784656" y="3708974"/>
                </a:lnTo>
                <a:lnTo>
                  <a:pt x="3770078" y="3716263"/>
                </a:lnTo>
                <a:lnTo>
                  <a:pt x="3770078" y="3699863"/>
                </a:lnTo>
                <a:cubicBezTo>
                  <a:pt x="3750034" y="3705330"/>
                  <a:pt x="3759145" y="3698041"/>
                  <a:pt x="3746390" y="3718085"/>
                </a:cubicBezTo>
                <a:lnTo>
                  <a:pt x="3784656" y="3732662"/>
                </a:lnTo>
                <a:lnTo>
                  <a:pt x="3799233" y="3741773"/>
                </a:lnTo>
                <a:lnTo>
                  <a:pt x="3790122" y="3761817"/>
                </a:lnTo>
                <a:cubicBezTo>
                  <a:pt x="3811988" y="3752706"/>
                  <a:pt x="3795589" y="3765461"/>
                  <a:pt x="3813810" y="3754528"/>
                </a:cubicBezTo>
                <a:cubicBezTo>
                  <a:pt x="3819277" y="3743595"/>
                  <a:pt x="3821099" y="3727196"/>
                  <a:pt x="3813810" y="3708974"/>
                </a:cubicBezTo>
                <a:cubicBezTo>
                  <a:pt x="3793766" y="3721729"/>
                  <a:pt x="3797411" y="3708974"/>
                  <a:pt x="3806522" y="3730840"/>
                </a:cubicBezTo>
                <a:lnTo>
                  <a:pt x="3784656" y="3730840"/>
                </a:lnTo>
                <a:lnTo>
                  <a:pt x="3784656" y="3708974"/>
                </a:lnTo>
                <a:cubicBezTo>
                  <a:pt x="3795589" y="3699863"/>
                  <a:pt x="3806522" y="3698041"/>
                  <a:pt x="3806522" y="3677997"/>
                </a:cubicBezTo>
                <a:cubicBezTo>
                  <a:pt x="3806522" y="3677997"/>
                  <a:pt x="3799233" y="3663420"/>
                  <a:pt x="3799233" y="3663420"/>
                </a:cubicBezTo>
                <a:close/>
                <a:moveTo>
                  <a:pt x="1357519" y="3663419"/>
                </a:moveTo>
                <a:lnTo>
                  <a:pt x="1357519" y="3685286"/>
                </a:lnTo>
                <a:cubicBezTo>
                  <a:pt x="1333831" y="3679820"/>
                  <a:pt x="1346586" y="3685286"/>
                  <a:pt x="1335653" y="3670709"/>
                </a:cubicBezTo>
                <a:close/>
                <a:moveTo>
                  <a:pt x="2525534" y="3661597"/>
                </a:moveTo>
                <a:lnTo>
                  <a:pt x="2532822" y="3676176"/>
                </a:lnTo>
                <a:lnTo>
                  <a:pt x="2523711" y="3685287"/>
                </a:lnTo>
                <a:lnTo>
                  <a:pt x="2510956" y="3670709"/>
                </a:lnTo>
                <a:close/>
                <a:moveTo>
                  <a:pt x="1922393" y="3661597"/>
                </a:moveTo>
                <a:lnTo>
                  <a:pt x="1936972" y="3661597"/>
                </a:lnTo>
                <a:lnTo>
                  <a:pt x="1935148" y="3685287"/>
                </a:lnTo>
                <a:close/>
                <a:moveTo>
                  <a:pt x="3476708" y="3654309"/>
                </a:moveTo>
                <a:lnTo>
                  <a:pt x="3476708" y="3668886"/>
                </a:lnTo>
                <a:lnTo>
                  <a:pt x="3491286" y="3654309"/>
                </a:lnTo>
                <a:close/>
                <a:moveTo>
                  <a:pt x="2828014" y="3654309"/>
                </a:moveTo>
                <a:lnTo>
                  <a:pt x="2828014" y="3685286"/>
                </a:lnTo>
                <a:cubicBezTo>
                  <a:pt x="2846236" y="3672531"/>
                  <a:pt x="2851703" y="3661597"/>
                  <a:pt x="2828014" y="3654309"/>
                </a:cubicBezTo>
                <a:close/>
                <a:moveTo>
                  <a:pt x="2472691" y="3654309"/>
                </a:moveTo>
                <a:lnTo>
                  <a:pt x="2479980" y="3668888"/>
                </a:lnTo>
                <a:lnTo>
                  <a:pt x="2470869" y="3677999"/>
                </a:lnTo>
                <a:lnTo>
                  <a:pt x="2458113" y="3661599"/>
                </a:lnTo>
                <a:close/>
                <a:moveTo>
                  <a:pt x="4154556" y="3647020"/>
                </a:moveTo>
                <a:lnTo>
                  <a:pt x="4172778" y="3648843"/>
                </a:lnTo>
                <a:lnTo>
                  <a:pt x="4156379" y="3663420"/>
                </a:lnTo>
                <a:close/>
                <a:moveTo>
                  <a:pt x="2261318" y="3647020"/>
                </a:moveTo>
                <a:lnTo>
                  <a:pt x="2261318" y="3663420"/>
                </a:lnTo>
                <a:lnTo>
                  <a:pt x="2244918" y="3648843"/>
                </a:lnTo>
                <a:close/>
                <a:moveTo>
                  <a:pt x="2142877" y="3647020"/>
                </a:moveTo>
                <a:lnTo>
                  <a:pt x="2164743" y="3647020"/>
                </a:lnTo>
                <a:cubicBezTo>
                  <a:pt x="2162010" y="3653399"/>
                  <a:pt x="2160643" y="3657954"/>
                  <a:pt x="2160188" y="3661143"/>
                </a:cubicBezTo>
                <a:lnTo>
                  <a:pt x="2161099" y="3667064"/>
                </a:lnTo>
                <a:lnTo>
                  <a:pt x="2161099" y="3667065"/>
                </a:lnTo>
                <a:cubicBezTo>
                  <a:pt x="2157455" y="3667065"/>
                  <a:pt x="2155633" y="3667065"/>
                  <a:pt x="2150166" y="3668888"/>
                </a:cubicBezTo>
                <a:close/>
                <a:moveTo>
                  <a:pt x="1900528" y="3647020"/>
                </a:moveTo>
                <a:lnTo>
                  <a:pt x="1898706" y="3663420"/>
                </a:lnTo>
                <a:lnTo>
                  <a:pt x="1884128" y="3648843"/>
                </a:lnTo>
                <a:close/>
                <a:moveTo>
                  <a:pt x="1499649" y="3647020"/>
                </a:moveTo>
                <a:lnTo>
                  <a:pt x="1516049" y="3648843"/>
                </a:lnTo>
                <a:lnTo>
                  <a:pt x="1501471" y="3663420"/>
                </a:lnTo>
                <a:close/>
                <a:moveTo>
                  <a:pt x="2893613" y="3645198"/>
                </a:moveTo>
                <a:lnTo>
                  <a:pt x="2879035" y="3659775"/>
                </a:lnTo>
                <a:lnTo>
                  <a:pt x="2895435" y="3661597"/>
                </a:lnTo>
                <a:close/>
                <a:moveTo>
                  <a:pt x="3649815" y="3639731"/>
                </a:moveTo>
                <a:lnTo>
                  <a:pt x="3649815" y="3661597"/>
                </a:lnTo>
                <a:lnTo>
                  <a:pt x="3666214" y="3652487"/>
                </a:lnTo>
                <a:close/>
                <a:moveTo>
                  <a:pt x="2795215" y="3639731"/>
                </a:moveTo>
                <a:lnTo>
                  <a:pt x="2778816" y="3652487"/>
                </a:lnTo>
                <a:lnTo>
                  <a:pt x="2766060" y="3645198"/>
                </a:lnTo>
                <a:lnTo>
                  <a:pt x="2766060" y="3668886"/>
                </a:lnTo>
                <a:cubicBezTo>
                  <a:pt x="2766060" y="3687108"/>
                  <a:pt x="2760594" y="3687108"/>
                  <a:pt x="2751483" y="3699863"/>
                </a:cubicBezTo>
                <a:lnTo>
                  <a:pt x="2773349" y="3716263"/>
                </a:lnTo>
                <a:lnTo>
                  <a:pt x="2782460" y="3692574"/>
                </a:lnTo>
                <a:cubicBezTo>
                  <a:pt x="2769705" y="3659775"/>
                  <a:pt x="2787927" y="3692574"/>
                  <a:pt x="2773349" y="3661597"/>
                </a:cubicBezTo>
                <a:lnTo>
                  <a:pt x="2804326" y="3667064"/>
                </a:lnTo>
                <a:lnTo>
                  <a:pt x="2809793" y="3659775"/>
                </a:lnTo>
                <a:close/>
                <a:moveTo>
                  <a:pt x="2352428" y="3639731"/>
                </a:moveTo>
                <a:lnTo>
                  <a:pt x="2357894" y="3652487"/>
                </a:lnTo>
                <a:lnTo>
                  <a:pt x="2350606" y="3663421"/>
                </a:lnTo>
                <a:lnTo>
                  <a:pt x="2336028" y="3648843"/>
                </a:lnTo>
                <a:close/>
                <a:moveTo>
                  <a:pt x="3855721" y="3637909"/>
                </a:moveTo>
                <a:lnTo>
                  <a:pt x="3868476" y="3654309"/>
                </a:lnTo>
                <a:lnTo>
                  <a:pt x="3846610" y="3654309"/>
                </a:lnTo>
                <a:close/>
                <a:moveTo>
                  <a:pt x="2321450" y="3637909"/>
                </a:moveTo>
                <a:lnTo>
                  <a:pt x="2321450" y="3654309"/>
                </a:lnTo>
                <a:lnTo>
                  <a:pt x="2305050" y="3652487"/>
                </a:lnTo>
                <a:close/>
                <a:moveTo>
                  <a:pt x="1250011" y="3637909"/>
                </a:moveTo>
                <a:cubicBezTo>
                  <a:pt x="1262766" y="3650665"/>
                  <a:pt x="1277344" y="3663420"/>
                  <a:pt x="1288277" y="3676175"/>
                </a:cubicBezTo>
                <a:lnTo>
                  <a:pt x="1280988" y="3699863"/>
                </a:lnTo>
                <a:lnTo>
                  <a:pt x="1288277" y="3714441"/>
                </a:lnTo>
                <a:lnTo>
                  <a:pt x="1286455" y="3714441"/>
                </a:lnTo>
                <a:lnTo>
                  <a:pt x="1286455" y="3730840"/>
                </a:lnTo>
                <a:cubicBezTo>
                  <a:pt x="1286455" y="3759995"/>
                  <a:pt x="1288277" y="3734484"/>
                  <a:pt x="1279166" y="3745418"/>
                </a:cubicBezTo>
                <a:cubicBezTo>
                  <a:pt x="1288277" y="3765461"/>
                  <a:pt x="1286455" y="3765461"/>
                  <a:pt x="1255478" y="3769106"/>
                </a:cubicBezTo>
                <a:lnTo>
                  <a:pt x="1271877" y="3790972"/>
                </a:lnTo>
                <a:lnTo>
                  <a:pt x="1262766" y="3805549"/>
                </a:lnTo>
                <a:lnTo>
                  <a:pt x="1268233" y="3818305"/>
                </a:lnTo>
                <a:lnTo>
                  <a:pt x="1264589" y="3834704"/>
                </a:lnTo>
                <a:lnTo>
                  <a:pt x="1233611" y="3834704"/>
                </a:lnTo>
                <a:cubicBezTo>
                  <a:pt x="1217212" y="3856570"/>
                  <a:pt x="1239078" y="3845637"/>
                  <a:pt x="1202636" y="3847459"/>
                </a:cubicBezTo>
                <a:lnTo>
                  <a:pt x="1219034" y="3832882"/>
                </a:lnTo>
                <a:lnTo>
                  <a:pt x="1213568" y="3820127"/>
                </a:lnTo>
                <a:lnTo>
                  <a:pt x="1226323" y="3796439"/>
                </a:lnTo>
                <a:lnTo>
                  <a:pt x="1220856" y="3783683"/>
                </a:lnTo>
                <a:lnTo>
                  <a:pt x="1233611" y="3752706"/>
                </a:lnTo>
                <a:cubicBezTo>
                  <a:pt x="1209923" y="3741773"/>
                  <a:pt x="1222678" y="3739951"/>
                  <a:pt x="1202636" y="3752706"/>
                </a:cubicBezTo>
                <a:lnTo>
                  <a:pt x="1188057" y="3745418"/>
                </a:lnTo>
                <a:cubicBezTo>
                  <a:pt x="1171658" y="3767284"/>
                  <a:pt x="1193525" y="3756351"/>
                  <a:pt x="1157080" y="3758173"/>
                </a:cubicBezTo>
                <a:lnTo>
                  <a:pt x="1180769" y="3736307"/>
                </a:lnTo>
                <a:cubicBezTo>
                  <a:pt x="1171658" y="3718085"/>
                  <a:pt x="1173481" y="3734484"/>
                  <a:pt x="1180769" y="3714441"/>
                </a:cubicBezTo>
                <a:lnTo>
                  <a:pt x="1158902" y="3714441"/>
                </a:lnTo>
                <a:cubicBezTo>
                  <a:pt x="1171658" y="3694397"/>
                  <a:pt x="1162547" y="3698041"/>
                  <a:pt x="1188057" y="3690752"/>
                </a:cubicBezTo>
                <a:lnTo>
                  <a:pt x="1197168" y="3668886"/>
                </a:lnTo>
                <a:lnTo>
                  <a:pt x="1197168" y="3654309"/>
                </a:lnTo>
                <a:lnTo>
                  <a:pt x="1211745" y="3661598"/>
                </a:lnTo>
                <a:lnTo>
                  <a:pt x="1220856" y="3648842"/>
                </a:lnTo>
                <a:close/>
                <a:moveTo>
                  <a:pt x="3926785" y="3634265"/>
                </a:moveTo>
                <a:lnTo>
                  <a:pt x="3935896" y="3641554"/>
                </a:lnTo>
                <a:lnTo>
                  <a:pt x="3919497" y="3661598"/>
                </a:lnTo>
                <a:lnTo>
                  <a:pt x="3935896" y="3663420"/>
                </a:lnTo>
                <a:lnTo>
                  <a:pt x="3935896" y="3677998"/>
                </a:lnTo>
                <a:cubicBezTo>
                  <a:pt x="3968695" y="3674353"/>
                  <a:pt x="3948651" y="3677998"/>
                  <a:pt x="3972340" y="3663420"/>
                </a:cubicBezTo>
                <a:lnTo>
                  <a:pt x="3981450" y="3668887"/>
                </a:lnTo>
                <a:lnTo>
                  <a:pt x="3974162" y="3692575"/>
                </a:lnTo>
                <a:lnTo>
                  <a:pt x="3935896" y="3685286"/>
                </a:lnTo>
                <a:lnTo>
                  <a:pt x="3945007" y="3699864"/>
                </a:lnTo>
                <a:lnTo>
                  <a:pt x="3921319" y="3699864"/>
                </a:lnTo>
                <a:lnTo>
                  <a:pt x="3928608" y="3687108"/>
                </a:lnTo>
                <a:lnTo>
                  <a:pt x="3906741" y="3670709"/>
                </a:lnTo>
                <a:cubicBezTo>
                  <a:pt x="3914030" y="3650665"/>
                  <a:pt x="3914030" y="3667064"/>
                  <a:pt x="3906741" y="3648843"/>
                </a:cubicBezTo>
                <a:close/>
                <a:moveTo>
                  <a:pt x="2858991" y="3632443"/>
                </a:moveTo>
                <a:lnTo>
                  <a:pt x="2851703" y="3661597"/>
                </a:lnTo>
                <a:cubicBezTo>
                  <a:pt x="2873569" y="3652487"/>
                  <a:pt x="2855347" y="3670708"/>
                  <a:pt x="2871747" y="3639731"/>
                </a:cubicBezTo>
                <a:close/>
                <a:moveTo>
                  <a:pt x="2186610" y="3623332"/>
                </a:moveTo>
                <a:lnTo>
                  <a:pt x="2179321" y="3654310"/>
                </a:lnTo>
                <a:cubicBezTo>
                  <a:pt x="2173855" y="3648844"/>
                  <a:pt x="2172033" y="3645199"/>
                  <a:pt x="2170211" y="3643377"/>
                </a:cubicBezTo>
                <a:cubicBezTo>
                  <a:pt x="2168388" y="3643377"/>
                  <a:pt x="2162922" y="3641555"/>
                  <a:pt x="2155633" y="3637910"/>
                </a:cubicBezTo>
                <a:cubicBezTo>
                  <a:pt x="2177499" y="3608755"/>
                  <a:pt x="2155633" y="3636088"/>
                  <a:pt x="2186610" y="3623332"/>
                </a:cubicBezTo>
                <a:close/>
                <a:moveTo>
                  <a:pt x="3673503" y="3617865"/>
                </a:moveTo>
                <a:lnTo>
                  <a:pt x="3673503" y="3632443"/>
                </a:lnTo>
                <a:lnTo>
                  <a:pt x="3688080" y="3632443"/>
                </a:lnTo>
                <a:cubicBezTo>
                  <a:pt x="3684436" y="3668886"/>
                  <a:pt x="3668037" y="3663420"/>
                  <a:pt x="3649815" y="3694397"/>
                </a:cubicBezTo>
                <a:cubicBezTo>
                  <a:pt x="3668037" y="3707152"/>
                  <a:pt x="3673503" y="3710796"/>
                  <a:pt x="3688080" y="3725373"/>
                </a:cubicBezTo>
                <a:lnTo>
                  <a:pt x="3682614" y="3694397"/>
                </a:lnTo>
                <a:lnTo>
                  <a:pt x="3697191" y="3694397"/>
                </a:lnTo>
                <a:lnTo>
                  <a:pt x="3682614" y="3685286"/>
                </a:lnTo>
                <a:cubicBezTo>
                  <a:pt x="3695369" y="3665242"/>
                  <a:pt x="3682614" y="3668886"/>
                  <a:pt x="3704480" y="3677997"/>
                </a:cubicBezTo>
                <a:lnTo>
                  <a:pt x="3720880" y="3656131"/>
                </a:lnTo>
                <a:lnTo>
                  <a:pt x="3697191" y="3656131"/>
                </a:lnTo>
                <a:cubicBezTo>
                  <a:pt x="3709947" y="3623332"/>
                  <a:pt x="3691725" y="3656131"/>
                  <a:pt x="3704480" y="3625154"/>
                </a:cubicBezTo>
                <a:close/>
                <a:moveTo>
                  <a:pt x="2208476" y="3608754"/>
                </a:moveTo>
                <a:lnTo>
                  <a:pt x="2239453" y="3623333"/>
                </a:lnTo>
                <a:lnTo>
                  <a:pt x="2246741" y="3639732"/>
                </a:lnTo>
                <a:lnTo>
                  <a:pt x="2230341" y="3637909"/>
                </a:lnTo>
                <a:lnTo>
                  <a:pt x="2239452" y="3623333"/>
                </a:lnTo>
                <a:lnTo>
                  <a:pt x="2223053" y="3623333"/>
                </a:lnTo>
                <a:lnTo>
                  <a:pt x="2210298" y="3630621"/>
                </a:lnTo>
                <a:lnTo>
                  <a:pt x="2201187" y="3623333"/>
                </a:lnTo>
                <a:close/>
                <a:moveTo>
                  <a:pt x="3919498" y="3606932"/>
                </a:moveTo>
                <a:lnTo>
                  <a:pt x="3928609" y="3623332"/>
                </a:lnTo>
                <a:lnTo>
                  <a:pt x="3904920" y="3623332"/>
                </a:lnTo>
                <a:close/>
                <a:moveTo>
                  <a:pt x="2764238" y="3606932"/>
                </a:moveTo>
                <a:lnTo>
                  <a:pt x="2751483" y="3623332"/>
                </a:lnTo>
                <a:lnTo>
                  <a:pt x="2736906" y="3623332"/>
                </a:lnTo>
                <a:cubicBezTo>
                  <a:pt x="2729617" y="3650665"/>
                  <a:pt x="2729617" y="3639731"/>
                  <a:pt x="2715040" y="3661597"/>
                </a:cubicBezTo>
                <a:cubicBezTo>
                  <a:pt x="2715040" y="3661597"/>
                  <a:pt x="2727795" y="3668886"/>
                  <a:pt x="2729617" y="3668886"/>
                </a:cubicBezTo>
                <a:cubicBezTo>
                  <a:pt x="2758772" y="3668886"/>
                  <a:pt x="2749661" y="3645198"/>
                  <a:pt x="2746016" y="3632443"/>
                </a:cubicBezTo>
                <a:lnTo>
                  <a:pt x="2751483" y="3623332"/>
                </a:lnTo>
                <a:lnTo>
                  <a:pt x="2766060" y="3630620"/>
                </a:lnTo>
                <a:close/>
                <a:moveTo>
                  <a:pt x="2315984" y="3606932"/>
                </a:moveTo>
                <a:lnTo>
                  <a:pt x="2330561" y="3625155"/>
                </a:lnTo>
                <a:lnTo>
                  <a:pt x="2308695" y="3632444"/>
                </a:lnTo>
                <a:close/>
                <a:moveTo>
                  <a:pt x="1973416" y="3606932"/>
                </a:moveTo>
                <a:lnTo>
                  <a:pt x="1975237" y="3623332"/>
                </a:lnTo>
                <a:lnTo>
                  <a:pt x="1958837" y="3623332"/>
                </a:lnTo>
                <a:close/>
                <a:moveTo>
                  <a:pt x="4072560" y="3601465"/>
                </a:moveTo>
                <a:lnTo>
                  <a:pt x="4087137" y="3608754"/>
                </a:lnTo>
                <a:lnTo>
                  <a:pt x="4103536" y="3601465"/>
                </a:lnTo>
                <a:lnTo>
                  <a:pt x="4101714" y="3617865"/>
                </a:lnTo>
                <a:lnTo>
                  <a:pt x="4087138" y="3608755"/>
                </a:lnTo>
                <a:lnTo>
                  <a:pt x="4082155" y="3617182"/>
                </a:lnTo>
                <a:cubicBezTo>
                  <a:pt x="4079507" y="3622308"/>
                  <a:pt x="4081215" y="3619232"/>
                  <a:pt x="4063449" y="3623333"/>
                </a:cubicBezTo>
                <a:close/>
                <a:moveTo>
                  <a:pt x="2676774" y="3601465"/>
                </a:moveTo>
                <a:lnTo>
                  <a:pt x="2667663" y="3617865"/>
                </a:lnTo>
                <a:lnTo>
                  <a:pt x="2653086" y="3603288"/>
                </a:lnTo>
                <a:close/>
                <a:moveTo>
                  <a:pt x="2080923" y="3601465"/>
                </a:moveTo>
                <a:cubicBezTo>
                  <a:pt x="2115544" y="3605110"/>
                  <a:pt x="2093679" y="3594177"/>
                  <a:pt x="2111900" y="3617865"/>
                </a:cubicBezTo>
                <a:lnTo>
                  <a:pt x="2124655" y="3606932"/>
                </a:lnTo>
                <a:cubicBezTo>
                  <a:pt x="2124655" y="3623332"/>
                  <a:pt x="2119188" y="3659775"/>
                  <a:pt x="2102790" y="3659775"/>
                </a:cubicBezTo>
                <a:cubicBezTo>
                  <a:pt x="2079100" y="3659775"/>
                  <a:pt x="2068167" y="3639731"/>
                  <a:pt x="2066346" y="3614221"/>
                </a:cubicBezTo>
                <a:lnTo>
                  <a:pt x="2080923" y="3623332"/>
                </a:lnTo>
                <a:close/>
                <a:moveTo>
                  <a:pt x="1816707" y="3601465"/>
                </a:moveTo>
                <a:lnTo>
                  <a:pt x="1849507" y="3603289"/>
                </a:lnTo>
                <a:lnTo>
                  <a:pt x="1825818" y="3625155"/>
                </a:lnTo>
                <a:close/>
                <a:moveTo>
                  <a:pt x="1771154" y="3601465"/>
                </a:moveTo>
                <a:lnTo>
                  <a:pt x="1778441" y="3623333"/>
                </a:lnTo>
                <a:lnTo>
                  <a:pt x="1756575" y="3623333"/>
                </a:lnTo>
                <a:cubicBezTo>
                  <a:pt x="1762043" y="3603289"/>
                  <a:pt x="1752932" y="3612399"/>
                  <a:pt x="1771154" y="3601465"/>
                </a:cubicBezTo>
                <a:close/>
                <a:moveTo>
                  <a:pt x="1712844" y="3601465"/>
                </a:moveTo>
                <a:lnTo>
                  <a:pt x="1701911" y="3617865"/>
                </a:lnTo>
                <a:lnTo>
                  <a:pt x="1687333" y="3603288"/>
                </a:lnTo>
                <a:close/>
                <a:moveTo>
                  <a:pt x="3642526" y="3594177"/>
                </a:moveTo>
                <a:lnTo>
                  <a:pt x="3618838" y="3595999"/>
                </a:lnTo>
                <a:lnTo>
                  <a:pt x="3633415" y="3610576"/>
                </a:lnTo>
                <a:close/>
                <a:moveTo>
                  <a:pt x="2014414" y="3594177"/>
                </a:moveTo>
                <a:cubicBezTo>
                  <a:pt x="2015325" y="3593721"/>
                  <a:pt x="2017147" y="3596910"/>
                  <a:pt x="2028080" y="3601465"/>
                </a:cubicBezTo>
                <a:lnTo>
                  <a:pt x="2049946" y="3594177"/>
                </a:lnTo>
                <a:cubicBezTo>
                  <a:pt x="2055413" y="3603288"/>
                  <a:pt x="2059057" y="3601465"/>
                  <a:pt x="2059057" y="3617866"/>
                </a:cubicBezTo>
                <a:lnTo>
                  <a:pt x="2059057" y="3625154"/>
                </a:lnTo>
                <a:cubicBezTo>
                  <a:pt x="2059057" y="3654309"/>
                  <a:pt x="2060879" y="3626977"/>
                  <a:pt x="2051769" y="3647021"/>
                </a:cubicBezTo>
                <a:lnTo>
                  <a:pt x="2028080" y="3639732"/>
                </a:lnTo>
                <a:cubicBezTo>
                  <a:pt x="2022614" y="3608755"/>
                  <a:pt x="2026258" y="3616044"/>
                  <a:pt x="2006214" y="3608755"/>
                </a:cubicBezTo>
                <a:cubicBezTo>
                  <a:pt x="2013503" y="3598733"/>
                  <a:pt x="2013503" y="3594633"/>
                  <a:pt x="2014414" y="3594177"/>
                </a:cubicBezTo>
                <a:close/>
                <a:moveTo>
                  <a:pt x="3595150" y="3592355"/>
                </a:moveTo>
                <a:lnTo>
                  <a:pt x="3580572" y="3606932"/>
                </a:lnTo>
                <a:lnTo>
                  <a:pt x="3596972" y="3616043"/>
                </a:lnTo>
                <a:close/>
                <a:moveTo>
                  <a:pt x="2727795" y="3585066"/>
                </a:moveTo>
                <a:lnTo>
                  <a:pt x="2711395" y="3599644"/>
                </a:lnTo>
                <a:lnTo>
                  <a:pt x="2736906" y="3601466"/>
                </a:lnTo>
                <a:close/>
                <a:moveTo>
                  <a:pt x="2148343" y="3579599"/>
                </a:moveTo>
                <a:lnTo>
                  <a:pt x="2164743" y="3594177"/>
                </a:lnTo>
                <a:lnTo>
                  <a:pt x="2148343" y="3594177"/>
                </a:lnTo>
                <a:close/>
                <a:moveTo>
                  <a:pt x="3535018" y="3577778"/>
                </a:moveTo>
                <a:lnTo>
                  <a:pt x="3520440" y="3592355"/>
                </a:lnTo>
                <a:lnTo>
                  <a:pt x="3535018" y="3599644"/>
                </a:lnTo>
                <a:lnTo>
                  <a:pt x="3544129" y="3594177"/>
                </a:lnTo>
                <a:close/>
                <a:moveTo>
                  <a:pt x="1793019" y="3577777"/>
                </a:moveTo>
                <a:lnTo>
                  <a:pt x="1800307" y="3592355"/>
                </a:lnTo>
                <a:lnTo>
                  <a:pt x="1793019" y="3601466"/>
                </a:lnTo>
                <a:lnTo>
                  <a:pt x="1778441" y="3592355"/>
                </a:lnTo>
                <a:close/>
                <a:moveTo>
                  <a:pt x="630473" y="3577777"/>
                </a:moveTo>
                <a:lnTo>
                  <a:pt x="639583" y="3592355"/>
                </a:lnTo>
                <a:lnTo>
                  <a:pt x="632296" y="3601466"/>
                </a:lnTo>
                <a:lnTo>
                  <a:pt x="615895" y="3592355"/>
                </a:lnTo>
                <a:close/>
                <a:moveTo>
                  <a:pt x="2352427" y="3570488"/>
                </a:moveTo>
                <a:lnTo>
                  <a:pt x="2390693" y="3570488"/>
                </a:lnTo>
                <a:cubicBezTo>
                  <a:pt x="2381582" y="3588711"/>
                  <a:pt x="2383404" y="3572312"/>
                  <a:pt x="2390693" y="3592355"/>
                </a:cubicBezTo>
                <a:cubicBezTo>
                  <a:pt x="2359716" y="3590533"/>
                  <a:pt x="2365182" y="3590533"/>
                  <a:pt x="2352427" y="3570488"/>
                </a:cubicBezTo>
                <a:close/>
                <a:moveTo>
                  <a:pt x="1953827" y="3570034"/>
                </a:moveTo>
                <a:lnTo>
                  <a:pt x="1967948" y="3579600"/>
                </a:lnTo>
                <a:lnTo>
                  <a:pt x="1967948" y="3579599"/>
                </a:lnTo>
                <a:lnTo>
                  <a:pt x="1982527" y="3594177"/>
                </a:lnTo>
                <a:lnTo>
                  <a:pt x="1967948" y="3594177"/>
                </a:lnTo>
                <a:lnTo>
                  <a:pt x="1967948" y="3579603"/>
                </a:lnTo>
                <a:lnTo>
                  <a:pt x="1960659" y="3601467"/>
                </a:lnTo>
                <a:lnTo>
                  <a:pt x="1946083" y="3601467"/>
                </a:lnTo>
                <a:lnTo>
                  <a:pt x="1936972" y="3579601"/>
                </a:lnTo>
                <a:cubicBezTo>
                  <a:pt x="1945171" y="3575045"/>
                  <a:pt x="1949727" y="3570945"/>
                  <a:pt x="1953827" y="3570034"/>
                </a:cubicBezTo>
                <a:close/>
                <a:moveTo>
                  <a:pt x="3416577" y="3563200"/>
                </a:moveTo>
                <a:lnTo>
                  <a:pt x="3392888" y="3565022"/>
                </a:lnTo>
                <a:lnTo>
                  <a:pt x="3407466" y="3579600"/>
                </a:lnTo>
                <a:close/>
                <a:moveTo>
                  <a:pt x="2330560" y="3563200"/>
                </a:moveTo>
                <a:lnTo>
                  <a:pt x="2337849" y="3586890"/>
                </a:lnTo>
                <a:lnTo>
                  <a:pt x="2321449" y="3577779"/>
                </a:lnTo>
                <a:close/>
                <a:moveTo>
                  <a:pt x="4132691" y="3557733"/>
                </a:moveTo>
                <a:lnTo>
                  <a:pt x="4154557" y="3557733"/>
                </a:lnTo>
                <a:cubicBezTo>
                  <a:pt x="4145446" y="3575956"/>
                  <a:pt x="4147269" y="3559557"/>
                  <a:pt x="4154557" y="3579600"/>
                </a:cubicBezTo>
                <a:lnTo>
                  <a:pt x="4132691" y="3579600"/>
                </a:lnTo>
                <a:cubicBezTo>
                  <a:pt x="4141802" y="3561379"/>
                  <a:pt x="4139980" y="3577778"/>
                  <a:pt x="4132691" y="3557733"/>
                </a:cubicBezTo>
                <a:close/>
                <a:moveTo>
                  <a:pt x="3724523" y="3557733"/>
                </a:moveTo>
                <a:cubicBezTo>
                  <a:pt x="3744567" y="3565022"/>
                  <a:pt x="3728168" y="3565022"/>
                  <a:pt x="3746390" y="3557733"/>
                </a:cubicBezTo>
                <a:lnTo>
                  <a:pt x="3764611" y="3579599"/>
                </a:lnTo>
                <a:lnTo>
                  <a:pt x="3757322" y="3599643"/>
                </a:lnTo>
                <a:lnTo>
                  <a:pt x="3784655" y="3632442"/>
                </a:lnTo>
                <a:cubicBezTo>
                  <a:pt x="3760056" y="3631076"/>
                  <a:pt x="3764156" y="3632784"/>
                  <a:pt x="3757750" y="3626805"/>
                </a:cubicBezTo>
                <a:lnTo>
                  <a:pt x="3746954" y="3618309"/>
                </a:lnTo>
                <a:lnTo>
                  <a:pt x="3739102" y="3632443"/>
                </a:lnTo>
                <a:lnTo>
                  <a:pt x="3724524" y="3616043"/>
                </a:lnTo>
                <a:lnTo>
                  <a:pt x="3744113" y="3616043"/>
                </a:lnTo>
                <a:lnTo>
                  <a:pt x="3737279" y="3610576"/>
                </a:lnTo>
                <a:lnTo>
                  <a:pt x="3746390" y="3595999"/>
                </a:lnTo>
                <a:cubicBezTo>
                  <a:pt x="3728168" y="3583244"/>
                  <a:pt x="3726346" y="3586888"/>
                  <a:pt x="3724523" y="3557733"/>
                </a:cubicBezTo>
                <a:close/>
                <a:moveTo>
                  <a:pt x="4019717" y="3555911"/>
                </a:moveTo>
                <a:lnTo>
                  <a:pt x="4010606" y="3572311"/>
                </a:lnTo>
                <a:lnTo>
                  <a:pt x="3996028" y="3557734"/>
                </a:lnTo>
                <a:close/>
                <a:moveTo>
                  <a:pt x="1499649" y="3555911"/>
                </a:moveTo>
                <a:cubicBezTo>
                  <a:pt x="1521516" y="3561379"/>
                  <a:pt x="1510582" y="3555911"/>
                  <a:pt x="1521516" y="3572312"/>
                </a:cubicBezTo>
                <a:lnTo>
                  <a:pt x="1492360" y="3579601"/>
                </a:lnTo>
                <a:close/>
                <a:moveTo>
                  <a:pt x="1060505" y="3550445"/>
                </a:moveTo>
                <a:lnTo>
                  <a:pt x="1091484" y="3555912"/>
                </a:lnTo>
                <a:lnTo>
                  <a:pt x="1091484" y="3577778"/>
                </a:lnTo>
                <a:cubicBezTo>
                  <a:pt x="1091484" y="3608755"/>
                  <a:pt x="1093305" y="3581422"/>
                  <a:pt x="1084195" y="3594177"/>
                </a:cubicBezTo>
                <a:lnTo>
                  <a:pt x="1091484" y="3606932"/>
                </a:lnTo>
                <a:lnTo>
                  <a:pt x="1064151" y="3614221"/>
                </a:lnTo>
                <a:lnTo>
                  <a:pt x="1038639" y="3594177"/>
                </a:lnTo>
                <a:cubicBezTo>
                  <a:pt x="1047750" y="3575956"/>
                  <a:pt x="1045929" y="3592355"/>
                  <a:pt x="1038639" y="3572311"/>
                </a:cubicBezTo>
                <a:close/>
                <a:moveTo>
                  <a:pt x="3203382" y="3546800"/>
                </a:moveTo>
                <a:lnTo>
                  <a:pt x="3188805" y="3561378"/>
                </a:lnTo>
                <a:lnTo>
                  <a:pt x="3205204" y="3570489"/>
                </a:lnTo>
                <a:close/>
                <a:moveTo>
                  <a:pt x="3830209" y="3541334"/>
                </a:moveTo>
                <a:lnTo>
                  <a:pt x="3839320" y="3546802"/>
                </a:lnTo>
                <a:lnTo>
                  <a:pt x="3846609" y="3555912"/>
                </a:lnTo>
                <a:lnTo>
                  <a:pt x="3830209" y="3563201"/>
                </a:lnTo>
                <a:close/>
                <a:moveTo>
                  <a:pt x="3527729" y="3541334"/>
                </a:moveTo>
                <a:cubicBezTo>
                  <a:pt x="3516796" y="3543156"/>
                  <a:pt x="3505863" y="3543156"/>
                  <a:pt x="3505863" y="3555911"/>
                </a:cubicBezTo>
                <a:cubicBezTo>
                  <a:pt x="3505863" y="3574133"/>
                  <a:pt x="3504041" y="3552267"/>
                  <a:pt x="3513152" y="3572311"/>
                </a:cubicBezTo>
                <a:cubicBezTo>
                  <a:pt x="3542306" y="3550445"/>
                  <a:pt x="3514974" y="3572311"/>
                  <a:pt x="3527729" y="3541334"/>
                </a:cubicBezTo>
                <a:close/>
                <a:moveTo>
                  <a:pt x="1989814" y="3541334"/>
                </a:moveTo>
                <a:lnTo>
                  <a:pt x="2006214" y="3541334"/>
                </a:lnTo>
                <a:lnTo>
                  <a:pt x="1989814" y="3563201"/>
                </a:lnTo>
                <a:close/>
                <a:moveTo>
                  <a:pt x="1809420" y="3541334"/>
                </a:moveTo>
                <a:lnTo>
                  <a:pt x="1825818" y="3548624"/>
                </a:lnTo>
                <a:lnTo>
                  <a:pt x="1811241" y="3570490"/>
                </a:lnTo>
                <a:lnTo>
                  <a:pt x="1802130" y="3548624"/>
                </a:lnTo>
                <a:close/>
                <a:moveTo>
                  <a:pt x="3770079" y="3534045"/>
                </a:moveTo>
                <a:cubicBezTo>
                  <a:pt x="3793767" y="3566845"/>
                  <a:pt x="3784656" y="3530401"/>
                  <a:pt x="3806522" y="3565023"/>
                </a:cubicBezTo>
                <a:lnTo>
                  <a:pt x="3753679" y="3546801"/>
                </a:lnTo>
                <a:close/>
                <a:moveTo>
                  <a:pt x="3152361" y="3534045"/>
                </a:moveTo>
                <a:lnTo>
                  <a:pt x="3152361" y="3555911"/>
                </a:lnTo>
                <a:lnTo>
                  <a:pt x="3166939" y="3555911"/>
                </a:lnTo>
                <a:cubicBezTo>
                  <a:pt x="3161472" y="3534045"/>
                  <a:pt x="3168761" y="3544978"/>
                  <a:pt x="3152361" y="3534045"/>
                </a:cubicBezTo>
                <a:close/>
                <a:moveTo>
                  <a:pt x="3001121" y="3534045"/>
                </a:moveTo>
                <a:lnTo>
                  <a:pt x="2984721" y="3535868"/>
                </a:lnTo>
                <a:lnTo>
                  <a:pt x="2999299" y="3550445"/>
                </a:lnTo>
                <a:close/>
                <a:moveTo>
                  <a:pt x="3739102" y="3532223"/>
                </a:moveTo>
                <a:lnTo>
                  <a:pt x="3748213" y="3548623"/>
                </a:lnTo>
                <a:lnTo>
                  <a:pt x="3724524" y="3546800"/>
                </a:lnTo>
                <a:close/>
                <a:moveTo>
                  <a:pt x="2806148" y="3532223"/>
                </a:moveTo>
                <a:lnTo>
                  <a:pt x="2811615" y="3563200"/>
                </a:lnTo>
                <a:lnTo>
                  <a:pt x="2797037" y="3555911"/>
                </a:lnTo>
                <a:lnTo>
                  <a:pt x="2798860" y="3579600"/>
                </a:lnTo>
                <a:lnTo>
                  <a:pt x="2813437" y="3563200"/>
                </a:lnTo>
                <a:cubicBezTo>
                  <a:pt x="2835303" y="3544978"/>
                  <a:pt x="2824370" y="3566844"/>
                  <a:pt x="2828014" y="3532223"/>
                </a:cubicBezTo>
                <a:close/>
                <a:moveTo>
                  <a:pt x="1567070" y="3532223"/>
                </a:moveTo>
                <a:lnTo>
                  <a:pt x="1576181" y="3548623"/>
                </a:lnTo>
                <a:lnTo>
                  <a:pt x="1550670" y="3546800"/>
                </a:lnTo>
                <a:close/>
                <a:moveTo>
                  <a:pt x="2006214" y="3526756"/>
                </a:moveTo>
                <a:cubicBezTo>
                  <a:pt x="2011680" y="3528579"/>
                  <a:pt x="2015780" y="3529490"/>
                  <a:pt x="2018741" y="3529945"/>
                </a:cubicBezTo>
                <a:lnTo>
                  <a:pt x="2024435" y="3530401"/>
                </a:lnTo>
                <a:lnTo>
                  <a:pt x="2024436" y="3530401"/>
                </a:lnTo>
                <a:cubicBezTo>
                  <a:pt x="2026258" y="3532223"/>
                  <a:pt x="2026258" y="3535867"/>
                  <a:pt x="2028080" y="3541334"/>
                </a:cubicBezTo>
                <a:lnTo>
                  <a:pt x="2006214" y="3541334"/>
                </a:lnTo>
                <a:close/>
                <a:moveTo>
                  <a:pt x="1681866" y="3526756"/>
                </a:moveTo>
                <a:lnTo>
                  <a:pt x="1696444" y="3526756"/>
                </a:lnTo>
                <a:lnTo>
                  <a:pt x="1696444" y="3526756"/>
                </a:lnTo>
                <a:lnTo>
                  <a:pt x="1681866" y="3541334"/>
                </a:lnTo>
                <a:close/>
                <a:moveTo>
                  <a:pt x="3467597" y="3524934"/>
                </a:moveTo>
                <a:lnTo>
                  <a:pt x="3453020" y="3539512"/>
                </a:lnTo>
                <a:lnTo>
                  <a:pt x="3467597" y="3546800"/>
                </a:lnTo>
                <a:lnTo>
                  <a:pt x="3476708" y="3541334"/>
                </a:lnTo>
                <a:close/>
                <a:moveTo>
                  <a:pt x="2549222" y="3524934"/>
                </a:moveTo>
                <a:lnTo>
                  <a:pt x="2536466" y="3541334"/>
                </a:lnTo>
                <a:lnTo>
                  <a:pt x="2534644" y="3541334"/>
                </a:lnTo>
                <a:lnTo>
                  <a:pt x="2521889" y="3541334"/>
                </a:lnTo>
                <a:cubicBezTo>
                  <a:pt x="2516423" y="3563200"/>
                  <a:pt x="2523711" y="3552267"/>
                  <a:pt x="2507312" y="3563200"/>
                </a:cubicBezTo>
                <a:lnTo>
                  <a:pt x="2507312" y="3548623"/>
                </a:lnTo>
                <a:cubicBezTo>
                  <a:pt x="2481801" y="3554089"/>
                  <a:pt x="2494556" y="3555911"/>
                  <a:pt x="2476335" y="3548623"/>
                </a:cubicBezTo>
                <a:lnTo>
                  <a:pt x="2476335" y="3570489"/>
                </a:lnTo>
                <a:lnTo>
                  <a:pt x="2492734" y="3570489"/>
                </a:lnTo>
                <a:lnTo>
                  <a:pt x="2483624" y="3592355"/>
                </a:lnTo>
                <a:cubicBezTo>
                  <a:pt x="2503667" y="3601466"/>
                  <a:pt x="2487268" y="3601466"/>
                  <a:pt x="2505490" y="3594177"/>
                </a:cubicBezTo>
                <a:lnTo>
                  <a:pt x="2521889" y="3608754"/>
                </a:lnTo>
                <a:lnTo>
                  <a:pt x="2536466" y="3577778"/>
                </a:lnTo>
                <a:lnTo>
                  <a:pt x="2529178" y="3565022"/>
                </a:lnTo>
                <a:lnTo>
                  <a:pt x="2534644" y="3555911"/>
                </a:lnTo>
                <a:lnTo>
                  <a:pt x="2534644" y="3541334"/>
                </a:lnTo>
                <a:lnTo>
                  <a:pt x="2541933" y="3563200"/>
                </a:lnTo>
                <a:cubicBezTo>
                  <a:pt x="2565621" y="3546800"/>
                  <a:pt x="2552866" y="3566844"/>
                  <a:pt x="2549222" y="3524934"/>
                </a:cubicBezTo>
                <a:close/>
                <a:moveTo>
                  <a:pt x="2873569" y="3519468"/>
                </a:moveTo>
                <a:lnTo>
                  <a:pt x="2873569" y="3541334"/>
                </a:lnTo>
                <a:lnTo>
                  <a:pt x="2888146" y="3541334"/>
                </a:lnTo>
                <a:lnTo>
                  <a:pt x="2888146" y="3519468"/>
                </a:lnTo>
                <a:close/>
                <a:moveTo>
                  <a:pt x="1189880" y="3519468"/>
                </a:moveTo>
                <a:cubicBezTo>
                  <a:pt x="1193525" y="3552267"/>
                  <a:pt x="1206280" y="3566845"/>
                  <a:pt x="1220858" y="3586889"/>
                </a:cubicBezTo>
                <a:cubicBezTo>
                  <a:pt x="1200814" y="3596000"/>
                  <a:pt x="1217213" y="3583244"/>
                  <a:pt x="1198991" y="3594177"/>
                </a:cubicBezTo>
                <a:cubicBezTo>
                  <a:pt x="1188057" y="3614221"/>
                  <a:pt x="1200814" y="3621510"/>
                  <a:pt x="1191703" y="3643376"/>
                </a:cubicBezTo>
                <a:lnTo>
                  <a:pt x="1197169" y="3652487"/>
                </a:lnTo>
                <a:lnTo>
                  <a:pt x="1166191" y="3683464"/>
                </a:lnTo>
                <a:cubicBezTo>
                  <a:pt x="1149792" y="3676175"/>
                  <a:pt x="1146148" y="3677998"/>
                  <a:pt x="1120637" y="3683464"/>
                </a:cubicBezTo>
                <a:lnTo>
                  <a:pt x="1129748" y="3654309"/>
                </a:lnTo>
                <a:lnTo>
                  <a:pt x="1113348" y="3654309"/>
                </a:lnTo>
                <a:lnTo>
                  <a:pt x="1124281" y="3610577"/>
                </a:lnTo>
                <a:lnTo>
                  <a:pt x="1138859" y="3594177"/>
                </a:lnTo>
                <a:lnTo>
                  <a:pt x="1129748" y="3579600"/>
                </a:lnTo>
                <a:cubicBezTo>
                  <a:pt x="1138859" y="3561378"/>
                  <a:pt x="1137037" y="3577778"/>
                  <a:pt x="1131570" y="3559556"/>
                </a:cubicBezTo>
                <a:lnTo>
                  <a:pt x="1160725" y="3528579"/>
                </a:lnTo>
                <a:close/>
                <a:moveTo>
                  <a:pt x="2962855" y="3517646"/>
                </a:moveTo>
                <a:cubicBezTo>
                  <a:pt x="2944634" y="3532223"/>
                  <a:pt x="2948278" y="3515824"/>
                  <a:pt x="2948278" y="3548623"/>
                </a:cubicBezTo>
                <a:cubicBezTo>
                  <a:pt x="2968322" y="3539512"/>
                  <a:pt x="2951922" y="3541334"/>
                  <a:pt x="2971966" y="3546800"/>
                </a:cubicBezTo>
                <a:close/>
                <a:moveTo>
                  <a:pt x="2280013" y="3517646"/>
                </a:moveTo>
                <a:lnTo>
                  <a:pt x="2285007" y="3517646"/>
                </a:lnTo>
                <a:lnTo>
                  <a:pt x="2276123" y="3528011"/>
                </a:lnTo>
                <a:lnTo>
                  <a:pt x="2279199" y="3520294"/>
                </a:lnTo>
                <a:cubicBezTo>
                  <a:pt x="2279996" y="3518956"/>
                  <a:pt x="2280451" y="3518671"/>
                  <a:pt x="2280451" y="3518329"/>
                </a:cubicBezTo>
                <a:close/>
                <a:moveTo>
                  <a:pt x="1922394" y="3517646"/>
                </a:moveTo>
                <a:lnTo>
                  <a:pt x="1946083" y="3534047"/>
                </a:lnTo>
                <a:lnTo>
                  <a:pt x="1922394" y="3555913"/>
                </a:lnTo>
                <a:cubicBezTo>
                  <a:pt x="1911461" y="3530402"/>
                  <a:pt x="1924216" y="3526758"/>
                  <a:pt x="1922394" y="3517646"/>
                </a:cubicBezTo>
                <a:close/>
                <a:moveTo>
                  <a:pt x="1884129" y="3517646"/>
                </a:moveTo>
                <a:cubicBezTo>
                  <a:pt x="1871373" y="3546802"/>
                  <a:pt x="1887774" y="3539513"/>
                  <a:pt x="1862262" y="3555913"/>
                </a:cubicBezTo>
                <a:lnTo>
                  <a:pt x="1853151" y="3523114"/>
                </a:lnTo>
                <a:close/>
                <a:moveTo>
                  <a:pt x="1807598" y="3517646"/>
                </a:moveTo>
                <a:lnTo>
                  <a:pt x="1816707" y="3534046"/>
                </a:lnTo>
                <a:lnTo>
                  <a:pt x="1793019" y="3532224"/>
                </a:lnTo>
                <a:close/>
                <a:moveTo>
                  <a:pt x="2181143" y="3515824"/>
                </a:moveTo>
                <a:lnTo>
                  <a:pt x="2181143" y="3537690"/>
                </a:lnTo>
                <a:lnTo>
                  <a:pt x="2171812" y="3537690"/>
                </a:lnTo>
                <a:lnTo>
                  <a:pt x="2173399" y="3539056"/>
                </a:lnTo>
                <a:cubicBezTo>
                  <a:pt x="2174766" y="3541106"/>
                  <a:pt x="2175563" y="3543726"/>
                  <a:pt x="2176132" y="3547769"/>
                </a:cubicBezTo>
                <a:lnTo>
                  <a:pt x="2177248" y="3561853"/>
                </a:lnTo>
                <a:lnTo>
                  <a:pt x="2188431" y="3552267"/>
                </a:lnTo>
                <a:lnTo>
                  <a:pt x="2181143" y="3537690"/>
                </a:lnTo>
                <a:lnTo>
                  <a:pt x="2195720" y="3537690"/>
                </a:lnTo>
                <a:lnTo>
                  <a:pt x="2195720" y="3515824"/>
                </a:lnTo>
                <a:close/>
                <a:moveTo>
                  <a:pt x="2121011" y="3514001"/>
                </a:moveTo>
                <a:lnTo>
                  <a:pt x="2122273" y="3514562"/>
                </a:lnTo>
                <a:lnTo>
                  <a:pt x="2121315" y="3515520"/>
                </a:lnTo>
                <a:close/>
                <a:moveTo>
                  <a:pt x="3649815" y="3510357"/>
                </a:moveTo>
                <a:lnTo>
                  <a:pt x="3673504" y="3510357"/>
                </a:lnTo>
                <a:lnTo>
                  <a:pt x="3649815" y="3534047"/>
                </a:lnTo>
                <a:close/>
                <a:moveTo>
                  <a:pt x="3589683" y="3510357"/>
                </a:moveTo>
                <a:lnTo>
                  <a:pt x="3611549" y="3510357"/>
                </a:lnTo>
                <a:lnTo>
                  <a:pt x="3611549" y="3532224"/>
                </a:lnTo>
                <a:lnTo>
                  <a:pt x="3589683" y="3532224"/>
                </a:lnTo>
                <a:close/>
                <a:moveTo>
                  <a:pt x="3046675" y="3510357"/>
                </a:moveTo>
                <a:lnTo>
                  <a:pt x="3022987" y="3512179"/>
                </a:lnTo>
                <a:lnTo>
                  <a:pt x="3037564" y="3526757"/>
                </a:lnTo>
                <a:close/>
                <a:moveTo>
                  <a:pt x="1689155" y="3510357"/>
                </a:moveTo>
                <a:lnTo>
                  <a:pt x="1712844" y="3512180"/>
                </a:lnTo>
                <a:lnTo>
                  <a:pt x="1696444" y="3526757"/>
                </a:lnTo>
                <a:lnTo>
                  <a:pt x="1696444" y="3526756"/>
                </a:lnTo>
                <a:lnTo>
                  <a:pt x="1696444" y="3526756"/>
                </a:lnTo>
                <a:lnTo>
                  <a:pt x="1696444" y="3526756"/>
                </a:lnTo>
                <a:close/>
                <a:moveTo>
                  <a:pt x="1439518" y="3510357"/>
                </a:moveTo>
                <a:lnTo>
                  <a:pt x="1455917" y="3512180"/>
                </a:lnTo>
                <a:lnTo>
                  <a:pt x="1441340" y="3526757"/>
                </a:lnTo>
                <a:close/>
                <a:moveTo>
                  <a:pt x="2151988" y="3506713"/>
                </a:moveTo>
                <a:lnTo>
                  <a:pt x="2154719" y="3510357"/>
                </a:lnTo>
                <a:lnTo>
                  <a:pt x="2145914" y="3510357"/>
                </a:lnTo>
                <a:close/>
                <a:moveTo>
                  <a:pt x="3883052" y="3503068"/>
                </a:moveTo>
                <a:cubicBezTo>
                  <a:pt x="3906740" y="3521291"/>
                  <a:pt x="3895807" y="3499424"/>
                  <a:pt x="3897629" y="3534046"/>
                </a:cubicBezTo>
                <a:cubicBezTo>
                  <a:pt x="3873941" y="3515824"/>
                  <a:pt x="3888519" y="3539513"/>
                  <a:pt x="3883052" y="3503068"/>
                </a:cubicBezTo>
                <a:close/>
                <a:moveTo>
                  <a:pt x="1280988" y="3503068"/>
                </a:moveTo>
                <a:cubicBezTo>
                  <a:pt x="1282811" y="3508536"/>
                  <a:pt x="1288278" y="3532224"/>
                  <a:pt x="1288278" y="3534046"/>
                </a:cubicBezTo>
                <a:cubicBezTo>
                  <a:pt x="1259122" y="3530402"/>
                  <a:pt x="1266411" y="3537690"/>
                  <a:pt x="1259122" y="3512180"/>
                </a:cubicBezTo>
                <a:close/>
                <a:moveTo>
                  <a:pt x="2155632" y="3499425"/>
                </a:moveTo>
                <a:lnTo>
                  <a:pt x="2155632" y="3506433"/>
                </a:lnTo>
                <a:lnTo>
                  <a:pt x="2151988" y="3506713"/>
                </a:lnTo>
                <a:close/>
                <a:moveTo>
                  <a:pt x="2427136" y="3499424"/>
                </a:moveTo>
                <a:lnTo>
                  <a:pt x="2396159" y="3506713"/>
                </a:lnTo>
                <a:lnTo>
                  <a:pt x="2396159" y="3512179"/>
                </a:lnTo>
                <a:lnTo>
                  <a:pt x="2419847" y="3512179"/>
                </a:lnTo>
                <a:lnTo>
                  <a:pt x="2412559" y="3524934"/>
                </a:lnTo>
                <a:lnTo>
                  <a:pt x="2427136" y="3541334"/>
                </a:lnTo>
                <a:lnTo>
                  <a:pt x="2441713" y="3537690"/>
                </a:lnTo>
                <a:lnTo>
                  <a:pt x="2465402" y="3541334"/>
                </a:lnTo>
                <a:close/>
                <a:moveTo>
                  <a:pt x="3935895" y="3495780"/>
                </a:moveTo>
                <a:lnTo>
                  <a:pt x="3954117" y="3497602"/>
                </a:lnTo>
                <a:lnTo>
                  <a:pt x="3935895" y="3510357"/>
                </a:lnTo>
                <a:close/>
                <a:moveTo>
                  <a:pt x="3664393" y="3495780"/>
                </a:moveTo>
                <a:lnTo>
                  <a:pt x="3689904" y="3497602"/>
                </a:lnTo>
                <a:lnTo>
                  <a:pt x="3673504" y="3510357"/>
                </a:lnTo>
                <a:close/>
                <a:moveTo>
                  <a:pt x="1115170" y="3495780"/>
                </a:moveTo>
                <a:lnTo>
                  <a:pt x="1138860" y="3495780"/>
                </a:lnTo>
                <a:lnTo>
                  <a:pt x="1129748" y="3548624"/>
                </a:lnTo>
                <a:cubicBezTo>
                  <a:pt x="1115170" y="3544980"/>
                  <a:pt x="1093304" y="3534047"/>
                  <a:pt x="1093304" y="3517647"/>
                </a:cubicBezTo>
                <a:cubicBezTo>
                  <a:pt x="1093304" y="3501247"/>
                  <a:pt x="1096949" y="3495780"/>
                  <a:pt x="1115170" y="3495780"/>
                </a:cubicBezTo>
                <a:close/>
                <a:moveTo>
                  <a:pt x="3695370" y="3493957"/>
                </a:moveTo>
                <a:lnTo>
                  <a:pt x="3717236" y="3510357"/>
                </a:lnTo>
                <a:cubicBezTo>
                  <a:pt x="3717236" y="3510357"/>
                  <a:pt x="3709948" y="3524934"/>
                  <a:pt x="3708125" y="3523112"/>
                </a:cubicBezTo>
                <a:cubicBezTo>
                  <a:pt x="3708125" y="3552267"/>
                  <a:pt x="3704481" y="3526756"/>
                  <a:pt x="3713592" y="3544978"/>
                </a:cubicBezTo>
                <a:lnTo>
                  <a:pt x="3700837" y="3561378"/>
                </a:lnTo>
                <a:cubicBezTo>
                  <a:pt x="3677148" y="3544978"/>
                  <a:pt x="3697192" y="3548622"/>
                  <a:pt x="3664393" y="3546800"/>
                </a:cubicBezTo>
                <a:lnTo>
                  <a:pt x="3671682" y="3524934"/>
                </a:lnTo>
                <a:lnTo>
                  <a:pt x="3686259" y="3524934"/>
                </a:lnTo>
                <a:lnTo>
                  <a:pt x="3678970" y="3539512"/>
                </a:lnTo>
                <a:lnTo>
                  <a:pt x="3702659" y="3537689"/>
                </a:lnTo>
                <a:lnTo>
                  <a:pt x="3686259" y="3524934"/>
                </a:lnTo>
                <a:close/>
                <a:moveTo>
                  <a:pt x="2713217" y="3493957"/>
                </a:moveTo>
                <a:lnTo>
                  <a:pt x="2698640" y="3508535"/>
                </a:lnTo>
                <a:lnTo>
                  <a:pt x="2715040" y="3510357"/>
                </a:lnTo>
                <a:close/>
                <a:moveTo>
                  <a:pt x="1494183" y="3493957"/>
                </a:moveTo>
                <a:lnTo>
                  <a:pt x="1514228" y="3517647"/>
                </a:lnTo>
                <a:lnTo>
                  <a:pt x="1497827" y="3535868"/>
                </a:lnTo>
                <a:lnTo>
                  <a:pt x="1475961" y="3512180"/>
                </a:lnTo>
                <a:lnTo>
                  <a:pt x="1492361" y="3510358"/>
                </a:lnTo>
                <a:close/>
                <a:moveTo>
                  <a:pt x="1598047" y="3488491"/>
                </a:moveTo>
                <a:lnTo>
                  <a:pt x="1598047" y="3488492"/>
                </a:lnTo>
                <a:lnTo>
                  <a:pt x="1598047" y="3510357"/>
                </a:lnTo>
                <a:lnTo>
                  <a:pt x="1621735" y="3512180"/>
                </a:lnTo>
                <a:lnTo>
                  <a:pt x="1607158" y="3524935"/>
                </a:lnTo>
                <a:lnTo>
                  <a:pt x="1598047" y="3510358"/>
                </a:lnTo>
                <a:lnTo>
                  <a:pt x="1581647" y="3501247"/>
                </a:lnTo>
                <a:close/>
                <a:moveTo>
                  <a:pt x="3731812" y="3488491"/>
                </a:moveTo>
                <a:cubicBezTo>
                  <a:pt x="3751856" y="3503070"/>
                  <a:pt x="3748211" y="3488491"/>
                  <a:pt x="3739100" y="3510358"/>
                </a:cubicBezTo>
                <a:lnTo>
                  <a:pt x="3762789" y="3510358"/>
                </a:lnTo>
                <a:lnTo>
                  <a:pt x="3755500" y="3495780"/>
                </a:lnTo>
                <a:cubicBezTo>
                  <a:pt x="3797410" y="3499425"/>
                  <a:pt x="3779188" y="3503070"/>
                  <a:pt x="3793766" y="3534047"/>
                </a:cubicBezTo>
                <a:lnTo>
                  <a:pt x="3771900" y="3534047"/>
                </a:lnTo>
                <a:lnTo>
                  <a:pt x="3771900" y="3519469"/>
                </a:lnTo>
                <a:cubicBezTo>
                  <a:pt x="3750034" y="3524936"/>
                  <a:pt x="3757322" y="3526758"/>
                  <a:pt x="3740923" y="3526758"/>
                </a:cubicBezTo>
                <a:cubicBezTo>
                  <a:pt x="3722701" y="3526758"/>
                  <a:pt x="3742745" y="3530402"/>
                  <a:pt x="3726345" y="3519469"/>
                </a:cubicBezTo>
                <a:close/>
                <a:moveTo>
                  <a:pt x="3498574" y="3488491"/>
                </a:moveTo>
                <a:lnTo>
                  <a:pt x="3498574" y="3510357"/>
                </a:lnTo>
                <a:lnTo>
                  <a:pt x="3520440" y="3488491"/>
                </a:lnTo>
                <a:close/>
                <a:moveTo>
                  <a:pt x="2753305" y="3488491"/>
                </a:moveTo>
                <a:cubicBezTo>
                  <a:pt x="2750572" y="3488491"/>
                  <a:pt x="2747839" y="3492136"/>
                  <a:pt x="2742372" y="3499424"/>
                </a:cubicBezTo>
                <a:lnTo>
                  <a:pt x="2727795" y="3506713"/>
                </a:lnTo>
                <a:cubicBezTo>
                  <a:pt x="2740550" y="3526757"/>
                  <a:pt x="2731439" y="3514001"/>
                  <a:pt x="2727795" y="3521290"/>
                </a:cubicBezTo>
                <a:cubicBezTo>
                  <a:pt x="2724150" y="3523112"/>
                  <a:pt x="2722328" y="3524934"/>
                  <a:pt x="2722328" y="3526757"/>
                </a:cubicBezTo>
                <a:cubicBezTo>
                  <a:pt x="2720506" y="3524934"/>
                  <a:pt x="2718684" y="3523112"/>
                  <a:pt x="2713217" y="3521290"/>
                </a:cubicBezTo>
                <a:lnTo>
                  <a:pt x="2713217" y="3543156"/>
                </a:lnTo>
                <a:lnTo>
                  <a:pt x="2705929" y="3543156"/>
                </a:lnTo>
                <a:lnTo>
                  <a:pt x="2691351" y="3528579"/>
                </a:lnTo>
                <a:lnTo>
                  <a:pt x="2691351" y="3543156"/>
                </a:lnTo>
                <a:lnTo>
                  <a:pt x="2705929" y="3543156"/>
                </a:lnTo>
                <a:lnTo>
                  <a:pt x="2684063" y="3550445"/>
                </a:lnTo>
                <a:cubicBezTo>
                  <a:pt x="2691351" y="3568667"/>
                  <a:pt x="2691351" y="3552267"/>
                  <a:pt x="2684063" y="3570489"/>
                </a:cubicBezTo>
                <a:lnTo>
                  <a:pt x="2709573" y="3581422"/>
                </a:lnTo>
                <a:lnTo>
                  <a:pt x="2727795" y="3566844"/>
                </a:lnTo>
                <a:lnTo>
                  <a:pt x="2711395" y="3544978"/>
                </a:lnTo>
                <a:lnTo>
                  <a:pt x="2718684" y="3539512"/>
                </a:lnTo>
                <a:lnTo>
                  <a:pt x="2749661" y="3544978"/>
                </a:lnTo>
                <a:cubicBezTo>
                  <a:pt x="2740550" y="3524934"/>
                  <a:pt x="2740550" y="3541334"/>
                  <a:pt x="2747839" y="3523112"/>
                </a:cubicBezTo>
                <a:lnTo>
                  <a:pt x="2742372" y="3514001"/>
                </a:lnTo>
                <a:lnTo>
                  <a:pt x="2742372" y="3499424"/>
                </a:lnTo>
                <a:lnTo>
                  <a:pt x="2749661" y="3506713"/>
                </a:lnTo>
                <a:lnTo>
                  <a:pt x="2764238" y="3499424"/>
                </a:lnTo>
                <a:lnTo>
                  <a:pt x="2773349" y="3515824"/>
                </a:lnTo>
                <a:lnTo>
                  <a:pt x="2786104" y="3501246"/>
                </a:lnTo>
                <a:lnTo>
                  <a:pt x="2778816" y="3492135"/>
                </a:lnTo>
                <a:lnTo>
                  <a:pt x="2764238" y="3499424"/>
                </a:lnTo>
                <a:cubicBezTo>
                  <a:pt x="2758772" y="3492136"/>
                  <a:pt x="2756039" y="3488491"/>
                  <a:pt x="2753305" y="3488491"/>
                </a:cubicBezTo>
                <a:close/>
                <a:moveTo>
                  <a:pt x="2594776" y="3488491"/>
                </a:moveTo>
                <a:lnTo>
                  <a:pt x="2594776" y="3510357"/>
                </a:lnTo>
                <a:lnTo>
                  <a:pt x="2583843" y="3515824"/>
                </a:lnTo>
                <a:lnTo>
                  <a:pt x="2578377" y="3524934"/>
                </a:lnTo>
                <a:lnTo>
                  <a:pt x="2563799" y="3539512"/>
                </a:lnTo>
                <a:lnTo>
                  <a:pt x="2587487" y="3539512"/>
                </a:lnTo>
                <a:lnTo>
                  <a:pt x="2580199" y="3524934"/>
                </a:lnTo>
                <a:lnTo>
                  <a:pt x="2594776" y="3524934"/>
                </a:lnTo>
                <a:lnTo>
                  <a:pt x="2594776" y="3510357"/>
                </a:lnTo>
                <a:lnTo>
                  <a:pt x="2640330" y="3503068"/>
                </a:lnTo>
                <a:cubicBezTo>
                  <a:pt x="2629397" y="3486669"/>
                  <a:pt x="2640330" y="3493957"/>
                  <a:pt x="2618464" y="3488491"/>
                </a:cubicBezTo>
                <a:lnTo>
                  <a:pt x="2616642" y="3504891"/>
                </a:lnTo>
                <a:close/>
                <a:moveTo>
                  <a:pt x="2314161" y="3488491"/>
                </a:moveTo>
                <a:lnTo>
                  <a:pt x="2290473" y="3490313"/>
                </a:lnTo>
                <a:lnTo>
                  <a:pt x="2305050" y="3504891"/>
                </a:lnTo>
                <a:close/>
                <a:moveTo>
                  <a:pt x="1756576" y="3488491"/>
                </a:moveTo>
                <a:lnTo>
                  <a:pt x="1771154" y="3503069"/>
                </a:lnTo>
                <a:lnTo>
                  <a:pt x="1749287" y="3503069"/>
                </a:lnTo>
                <a:close/>
                <a:moveTo>
                  <a:pt x="1636312" y="3488491"/>
                </a:moveTo>
                <a:lnTo>
                  <a:pt x="1650889" y="3497603"/>
                </a:lnTo>
                <a:lnTo>
                  <a:pt x="1665468" y="3497603"/>
                </a:lnTo>
                <a:lnTo>
                  <a:pt x="1659056" y="3510425"/>
                </a:lnTo>
                <a:lnTo>
                  <a:pt x="1681867" y="3512180"/>
                </a:lnTo>
                <a:lnTo>
                  <a:pt x="1667289" y="3524935"/>
                </a:lnTo>
                <a:lnTo>
                  <a:pt x="1658685" y="3511168"/>
                </a:lnTo>
                <a:lnTo>
                  <a:pt x="1658178" y="3512181"/>
                </a:lnTo>
                <a:lnTo>
                  <a:pt x="1643602" y="3512181"/>
                </a:lnTo>
                <a:lnTo>
                  <a:pt x="1643602" y="3526758"/>
                </a:lnTo>
                <a:cubicBezTo>
                  <a:pt x="1625380" y="3514003"/>
                  <a:pt x="1629023" y="3506714"/>
                  <a:pt x="1636312" y="3488491"/>
                </a:cubicBezTo>
                <a:close/>
                <a:moveTo>
                  <a:pt x="3799233" y="3483024"/>
                </a:moveTo>
                <a:lnTo>
                  <a:pt x="3839321" y="3483024"/>
                </a:lnTo>
                <a:lnTo>
                  <a:pt x="3832032" y="3510357"/>
                </a:lnTo>
                <a:lnTo>
                  <a:pt x="3842965" y="3524934"/>
                </a:lnTo>
                <a:lnTo>
                  <a:pt x="3830210" y="3541334"/>
                </a:lnTo>
                <a:lnTo>
                  <a:pt x="3813811" y="3534045"/>
                </a:lnTo>
                <a:lnTo>
                  <a:pt x="3821099" y="3521290"/>
                </a:lnTo>
                <a:lnTo>
                  <a:pt x="3799233" y="3504891"/>
                </a:lnTo>
                <a:cubicBezTo>
                  <a:pt x="3808344" y="3486669"/>
                  <a:pt x="3806522" y="3503068"/>
                  <a:pt x="3799233" y="3483024"/>
                </a:cubicBezTo>
                <a:close/>
                <a:moveTo>
                  <a:pt x="3921318" y="3481202"/>
                </a:moveTo>
                <a:lnTo>
                  <a:pt x="3935896" y="3481202"/>
                </a:lnTo>
                <a:lnTo>
                  <a:pt x="3935896" y="3495780"/>
                </a:lnTo>
                <a:close/>
                <a:moveTo>
                  <a:pt x="2857169" y="3481202"/>
                </a:moveTo>
                <a:cubicBezTo>
                  <a:pt x="2860813" y="3514001"/>
                  <a:pt x="2849880" y="3493957"/>
                  <a:pt x="2871747" y="3512179"/>
                </a:cubicBezTo>
                <a:cubicBezTo>
                  <a:pt x="2869924" y="3475736"/>
                  <a:pt x="2880857" y="3497602"/>
                  <a:pt x="2857169" y="3481202"/>
                </a:cubicBezTo>
                <a:close/>
                <a:moveTo>
                  <a:pt x="3651636" y="3479380"/>
                </a:moveTo>
                <a:lnTo>
                  <a:pt x="3664392" y="3495781"/>
                </a:lnTo>
                <a:lnTo>
                  <a:pt x="3649814" y="3503070"/>
                </a:lnTo>
                <a:close/>
                <a:moveTo>
                  <a:pt x="2368827" y="3479380"/>
                </a:moveTo>
                <a:cubicBezTo>
                  <a:pt x="2376115" y="3512179"/>
                  <a:pt x="2363360" y="3503068"/>
                  <a:pt x="2383404" y="3517646"/>
                </a:cubicBezTo>
                <a:lnTo>
                  <a:pt x="2388871" y="3510357"/>
                </a:lnTo>
                <a:lnTo>
                  <a:pt x="2383404" y="3479380"/>
                </a:lnTo>
                <a:close/>
                <a:moveTo>
                  <a:pt x="3906742" y="3473913"/>
                </a:moveTo>
                <a:lnTo>
                  <a:pt x="3912209" y="3486669"/>
                </a:lnTo>
                <a:lnTo>
                  <a:pt x="3906742" y="3493957"/>
                </a:lnTo>
                <a:lnTo>
                  <a:pt x="3875765" y="3488491"/>
                </a:lnTo>
                <a:lnTo>
                  <a:pt x="3875765" y="3481202"/>
                </a:lnTo>
                <a:close/>
                <a:moveTo>
                  <a:pt x="3476708" y="3473913"/>
                </a:moveTo>
                <a:lnTo>
                  <a:pt x="3476708" y="3488491"/>
                </a:lnTo>
                <a:lnTo>
                  <a:pt x="3454842" y="3488491"/>
                </a:lnTo>
                <a:cubicBezTo>
                  <a:pt x="3467597" y="3521290"/>
                  <a:pt x="3449376" y="3488491"/>
                  <a:pt x="3462131" y="3519468"/>
                </a:cubicBezTo>
                <a:cubicBezTo>
                  <a:pt x="3482175" y="3504891"/>
                  <a:pt x="3478530" y="3517646"/>
                  <a:pt x="3471242" y="3497602"/>
                </a:cubicBezTo>
                <a:lnTo>
                  <a:pt x="3476708" y="3488491"/>
                </a:lnTo>
                <a:lnTo>
                  <a:pt x="3491286" y="3473913"/>
                </a:lnTo>
                <a:close/>
                <a:moveTo>
                  <a:pt x="2246741" y="3472091"/>
                </a:moveTo>
                <a:lnTo>
                  <a:pt x="2230341" y="3473913"/>
                </a:lnTo>
                <a:lnTo>
                  <a:pt x="2244919" y="3488491"/>
                </a:lnTo>
                <a:close/>
                <a:moveTo>
                  <a:pt x="1794841" y="3466625"/>
                </a:moveTo>
                <a:lnTo>
                  <a:pt x="1816707" y="3466625"/>
                </a:lnTo>
                <a:cubicBezTo>
                  <a:pt x="1805774" y="3483025"/>
                  <a:pt x="1816707" y="3475736"/>
                  <a:pt x="1794841" y="3481203"/>
                </a:cubicBezTo>
                <a:close/>
                <a:moveTo>
                  <a:pt x="3059430" y="3464803"/>
                </a:moveTo>
                <a:lnTo>
                  <a:pt x="3044853" y="3479380"/>
                </a:lnTo>
                <a:lnTo>
                  <a:pt x="3068541" y="3481202"/>
                </a:lnTo>
                <a:close/>
                <a:moveTo>
                  <a:pt x="2924590" y="3464803"/>
                </a:moveTo>
                <a:lnTo>
                  <a:pt x="2910012" y="3479380"/>
                </a:lnTo>
                <a:lnTo>
                  <a:pt x="2924590" y="3486669"/>
                </a:lnTo>
                <a:lnTo>
                  <a:pt x="2933700" y="3481202"/>
                </a:lnTo>
                <a:close/>
                <a:moveTo>
                  <a:pt x="2893613" y="3464803"/>
                </a:moveTo>
                <a:lnTo>
                  <a:pt x="2879035" y="3479380"/>
                </a:lnTo>
                <a:lnTo>
                  <a:pt x="2895435" y="3488491"/>
                </a:lnTo>
                <a:close/>
                <a:moveTo>
                  <a:pt x="2532822" y="3464803"/>
                </a:moveTo>
                <a:lnTo>
                  <a:pt x="2516423" y="3479380"/>
                </a:lnTo>
                <a:lnTo>
                  <a:pt x="2541933" y="3481202"/>
                </a:lnTo>
                <a:close/>
                <a:moveTo>
                  <a:pt x="2350605" y="3464803"/>
                </a:moveTo>
                <a:lnTo>
                  <a:pt x="2336027" y="3479380"/>
                </a:lnTo>
                <a:lnTo>
                  <a:pt x="2359716" y="3481202"/>
                </a:lnTo>
                <a:close/>
                <a:moveTo>
                  <a:pt x="3997850" y="3462980"/>
                </a:moveTo>
                <a:lnTo>
                  <a:pt x="4019716" y="3479381"/>
                </a:lnTo>
                <a:cubicBezTo>
                  <a:pt x="4006961" y="3510358"/>
                  <a:pt x="4036116" y="3488492"/>
                  <a:pt x="4005139" y="3510358"/>
                </a:cubicBezTo>
                <a:cubicBezTo>
                  <a:pt x="3996028" y="3492136"/>
                  <a:pt x="3996028" y="3506713"/>
                  <a:pt x="4003317" y="3488492"/>
                </a:cubicBezTo>
                <a:lnTo>
                  <a:pt x="3988739" y="3473914"/>
                </a:lnTo>
                <a:close/>
                <a:moveTo>
                  <a:pt x="1703734" y="3459336"/>
                </a:moveTo>
                <a:cubicBezTo>
                  <a:pt x="1711022" y="3473914"/>
                  <a:pt x="1711022" y="3481203"/>
                  <a:pt x="1703734" y="3497603"/>
                </a:cubicBezTo>
                <a:lnTo>
                  <a:pt x="1681867" y="3483025"/>
                </a:lnTo>
                <a:lnTo>
                  <a:pt x="1665467" y="3495781"/>
                </a:lnTo>
                <a:lnTo>
                  <a:pt x="1658178" y="3479381"/>
                </a:lnTo>
                <a:lnTo>
                  <a:pt x="1687333" y="3472092"/>
                </a:lnTo>
                <a:close/>
                <a:moveTo>
                  <a:pt x="3620661" y="3457515"/>
                </a:moveTo>
                <a:lnTo>
                  <a:pt x="3620661" y="3479381"/>
                </a:lnTo>
                <a:lnTo>
                  <a:pt x="3637060" y="3470271"/>
                </a:lnTo>
                <a:close/>
                <a:moveTo>
                  <a:pt x="2993832" y="3457514"/>
                </a:moveTo>
                <a:lnTo>
                  <a:pt x="2970144" y="3459336"/>
                </a:lnTo>
                <a:lnTo>
                  <a:pt x="2984721" y="3473913"/>
                </a:lnTo>
                <a:close/>
                <a:moveTo>
                  <a:pt x="2775171" y="3457514"/>
                </a:moveTo>
                <a:lnTo>
                  <a:pt x="2775171" y="3481202"/>
                </a:lnTo>
                <a:lnTo>
                  <a:pt x="2798860" y="3479380"/>
                </a:lnTo>
                <a:close/>
                <a:moveTo>
                  <a:pt x="2751483" y="3457514"/>
                </a:moveTo>
                <a:cubicBezTo>
                  <a:pt x="2724150" y="3461158"/>
                  <a:pt x="2725973" y="3461158"/>
                  <a:pt x="2713217" y="3479380"/>
                </a:cubicBezTo>
                <a:cubicBezTo>
                  <a:pt x="2744194" y="3477558"/>
                  <a:pt x="2738728" y="3477558"/>
                  <a:pt x="2751483" y="3457514"/>
                </a:cubicBezTo>
                <a:close/>
                <a:moveTo>
                  <a:pt x="2418025" y="3457514"/>
                </a:moveTo>
                <a:lnTo>
                  <a:pt x="2403448" y="3472091"/>
                </a:lnTo>
                <a:lnTo>
                  <a:pt x="2419847" y="3481202"/>
                </a:lnTo>
                <a:close/>
                <a:moveTo>
                  <a:pt x="1612624" y="3457514"/>
                </a:moveTo>
                <a:cubicBezTo>
                  <a:pt x="1625380" y="3490314"/>
                  <a:pt x="1607158" y="3457514"/>
                  <a:pt x="1619914" y="3488492"/>
                </a:cubicBezTo>
                <a:lnTo>
                  <a:pt x="1598047" y="3488492"/>
                </a:lnTo>
                <a:lnTo>
                  <a:pt x="1598047" y="3488491"/>
                </a:lnTo>
                <a:lnTo>
                  <a:pt x="1598047" y="3488491"/>
                </a:lnTo>
                <a:lnTo>
                  <a:pt x="1590758" y="3473915"/>
                </a:lnTo>
                <a:close/>
                <a:moveTo>
                  <a:pt x="1576181" y="3450225"/>
                </a:moveTo>
                <a:lnTo>
                  <a:pt x="1567070" y="3466625"/>
                </a:lnTo>
                <a:lnTo>
                  <a:pt x="1550670" y="3452047"/>
                </a:lnTo>
                <a:close/>
                <a:moveTo>
                  <a:pt x="1501472" y="3450225"/>
                </a:moveTo>
                <a:lnTo>
                  <a:pt x="1490539" y="3466625"/>
                </a:lnTo>
                <a:lnTo>
                  <a:pt x="1475961" y="3452047"/>
                </a:lnTo>
                <a:close/>
                <a:moveTo>
                  <a:pt x="1146148" y="3450225"/>
                </a:moveTo>
                <a:lnTo>
                  <a:pt x="1168013" y="3450225"/>
                </a:lnTo>
                <a:lnTo>
                  <a:pt x="1168013" y="3481203"/>
                </a:lnTo>
                <a:lnTo>
                  <a:pt x="1155259" y="3481203"/>
                </a:lnTo>
                <a:close/>
                <a:moveTo>
                  <a:pt x="3815633" y="3446581"/>
                </a:moveTo>
                <a:lnTo>
                  <a:pt x="3839322" y="3450227"/>
                </a:lnTo>
                <a:lnTo>
                  <a:pt x="3835677" y="3473915"/>
                </a:lnTo>
                <a:lnTo>
                  <a:pt x="3832033" y="3457515"/>
                </a:lnTo>
                <a:cubicBezTo>
                  <a:pt x="3810167" y="3462982"/>
                  <a:pt x="3819278" y="3459338"/>
                  <a:pt x="3801056" y="3472093"/>
                </a:cubicBezTo>
                <a:lnTo>
                  <a:pt x="3793767" y="3450227"/>
                </a:lnTo>
                <a:close/>
                <a:moveTo>
                  <a:pt x="2532822" y="3442937"/>
                </a:moveTo>
                <a:cubicBezTo>
                  <a:pt x="2545577" y="3455692"/>
                  <a:pt x="2547400" y="3457514"/>
                  <a:pt x="2556510" y="3472091"/>
                </a:cubicBezTo>
                <a:lnTo>
                  <a:pt x="2571088" y="3464803"/>
                </a:lnTo>
                <a:cubicBezTo>
                  <a:pt x="2558332" y="3446581"/>
                  <a:pt x="2561977" y="3444759"/>
                  <a:pt x="2532822" y="3442937"/>
                </a:cubicBezTo>
                <a:close/>
                <a:moveTo>
                  <a:pt x="3770078" y="3435648"/>
                </a:moveTo>
                <a:lnTo>
                  <a:pt x="3793766" y="3435648"/>
                </a:lnTo>
                <a:lnTo>
                  <a:pt x="3793767" y="3435648"/>
                </a:lnTo>
                <a:lnTo>
                  <a:pt x="3793767" y="3450226"/>
                </a:lnTo>
                <a:lnTo>
                  <a:pt x="3779189" y="3450226"/>
                </a:lnTo>
                <a:close/>
                <a:moveTo>
                  <a:pt x="3514974" y="3435648"/>
                </a:moveTo>
                <a:cubicBezTo>
                  <a:pt x="3509507" y="3435648"/>
                  <a:pt x="3500397" y="3441115"/>
                  <a:pt x="3502219" y="3442937"/>
                </a:cubicBezTo>
                <a:lnTo>
                  <a:pt x="3516796" y="3466625"/>
                </a:lnTo>
                <a:lnTo>
                  <a:pt x="3545951" y="3442937"/>
                </a:lnTo>
                <a:cubicBezTo>
                  <a:pt x="3524085" y="3437470"/>
                  <a:pt x="3531374" y="3435648"/>
                  <a:pt x="3514974" y="3435648"/>
                </a:cubicBezTo>
                <a:close/>
                <a:moveTo>
                  <a:pt x="2993832" y="3435648"/>
                </a:moveTo>
                <a:lnTo>
                  <a:pt x="2993832" y="3450225"/>
                </a:lnTo>
                <a:lnTo>
                  <a:pt x="3010232" y="3448403"/>
                </a:lnTo>
                <a:close/>
                <a:moveTo>
                  <a:pt x="2390693" y="3435648"/>
                </a:moveTo>
                <a:lnTo>
                  <a:pt x="2381582" y="3450225"/>
                </a:lnTo>
                <a:lnTo>
                  <a:pt x="2407092" y="3448403"/>
                </a:lnTo>
                <a:close/>
                <a:moveTo>
                  <a:pt x="2818903" y="3433826"/>
                </a:moveTo>
                <a:lnTo>
                  <a:pt x="2802504" y="3448403"/>
                </a:lnTo>
                <a:lnTo>
                  <a:pt x="2828014" y="3450225"/>
                </a:lnTo>
                <a:close/>
                <a:moveTo>
                  <a:pt x="830911" y="3433825"/>
                </a:moveTo>
                <a:lnTo>
                  <a:pt x="843667" y="3450226"/>
                </a:lnTo>
                <a:lnTo>
                  <a:pt x="829089" y="3459337"/>
                </a:lnTo>
                <a:close/>
                <a:moveTo>
                  <a:pt x="3318179" y="3428359"/>
                </a:moveTo>
                <a:cubicBezTo>
                  <a:pt x="3323646" y="3442937"/>
                  <a:pt x="3325468" y="3435648"/>
                  <a:pt x="3318179" y="3450225"/>
                </a:cubicBezTo>
                <a:lnTo>
                  <a:pt x="3332756" y="3450225"/>
                </a:lnTo>
                <a:lnTo>
                  <a:pt x="3332756" y="3493957"/>
                </a:lnTo>
                <a:lnTo>
                  <a:pt x="3354623" y="3493957"/>
                </a:lnTo>
                <a:cubicBezTo>
                  <a:pt x="3349156" y="3479380"/>
                  <a:pt x="3349156" y="3472091"/>
                  <a:pt x="3354623" y="3457514"/>
                </a:cubicBezTo>
                <a:lnTo>
                  <a:pt x="3340045" y="3450225"/>
                </a:lnTo>
                <a:cubicBezTo>
                  <a:pt x="3349156" y="3430181"/>
                  <a:pt x="3349156" y="3430181"/>
                  <a:pt x="3318179" y="3428359"/>
                </a:cubicBezTo>
                <a:close/>
                <a:moveTo>
                  <a:pt x="3258047" y="3428359"/>
                </a:moveTo>
                <a:lnTo>
                  <a:pt x="3241648" y="3430181"/>
                </a:lnTo>
                <a:lnTo>
                  <a:pt x="3256225" y="3444759"/>
                </a:lnTo>
                <a:close/>
                <a:moveTo>
                  <a:pt x="2691351" y="3428359"/>
                </a:moveTo>
                <a:cubicBezTo>
                  <a:pt x="2680418" y="3437470"/>
                  <a:pt x="2676774" y="3430181"/>
                  <a:pt x="2676774" y="3450225"/>
                </a:cubicBezTo>
                <a:lnTo>
                  <a:pt x="2691351" y="3450225"/>
                </a:lnTo>
                <a:close/>
                <a:moveTo>
                  <a:pt x="2510956" y="3428359"/>
                </a:moveTo>
                <a:lnTo>
                  <a:pt x="2510956" y="3442937"/>
                </a:lnTo>
                <a:lnTo>
                  <a:pt x="2525534" y="3428359"/>
                </a:lnTo>
                <a:close/>
                <a:moveTo>
                  <a:pt x="3708125" y="3426537"/>
                </a:moveTo>
                <a:lnTo>
                  <a:pt x="3702659" y="3459337"/>
                </a:lnTo>
                <a:lnTo>
                  <a:pt x="3686259" y="3448404"/>
                </a:lnTo>
                <a:close/>
                <a:moveTo>
                  <a:pt x="1346587" y="3422210"/>
                </a:moveTo>
                <a:cubicBezTo>
                  <a:pt x="1352965" y="3420160"/>
                  <a:pt x="1361165" y="3423804"/>
                  <a:pt x="1370276" y="3428360"/>
                </a:cubicBezTo>
                <a:cubicBezTo>
                  <a:pt x="1355697" y="3448404"/>
                  <a:pt x="1370276" y="3444760"/>
                  <a:pt x="1348410" y="3435649"/>
                </a:cubicBezTo>
                <a:lnTo>
                  <a:pt x="1348410" y="3450226"/>
                </a:lnTo>
                <a:lnTo>
                  <a:pt x="1333831" y="3450226"/>
                </a:lnTo>
                <a:cubicBezTo>
                  <a:pt x="1335654" y="3432004"/>
                  <a:pt x="1340209" y="3424260"/>
                  <a:pt x="1346587" y="3422210"/>
                </a:cubicBezTo>
                <a:close/>
                <a:moveTo>
                  <a:pt x="3952297" y="3421070"/>
                </a:moveTo>
                <a:lnTo>
                  <a:pt x="3943186" y="3444760"/>
                </a:lnTo>
                <a:lnTo>
                  <a:pt x="3926786" y="3430182"/>
                </a:lnTo>
                <a:close/>
                <a:moveTo>
                  <a:pt x="3793766" y="3421070"/>
                </a:moveTo>
                <a:lnTo>
                  <a:pt x="3810166" y="3422893"/>
                </a:lnTo>
                <a:lnTo>
                  <a:pt x="3793766" y="3435648"/>
                </a:lnTo>
                <a:close/>
                <a:moveTo>
                  <a:pt x="3770078" y="3421070"/>
                </a:moveTo>
                <a:lnTo>
                  <a:pt x="3770078" y="3435648"/>
                </a:lnTo>
                <a:lnTo>
                  <a:pt x="3770078" y="3435649"/>
                </a:lnTo>
                <a:lnTo>
                  <a:pt x="3755501" y="3442937"/>
                </a:lnTo>
                <a:lnTo>
                  <a:pt x="3748212" y="3428360"/>
                </a:lnTo>
                <a:close/>
                <a:moveTo>
                  <a:pt x="594028" y="3421070"/>
                </a:moveTo>
                <a:lnTo>
                  <a:pt x="612250" y="3422893"/>
                </a:lnTo>
                <a:lnTo>
                  <a:pt x="595850" y="3437470"/>
                </a:lnTo>
                <a:close/>
                <a:moveTo>
                  <a:pt x="2645797" y="3417426"/>
                </a:moveTo>
                <a:lnTo>
                  <a:pt x="2623931" y="3426537"/>
                </a:lnTo>
                <a:lnTo>
                  <a:pt x="2640330" y="3442937"/>
                </a:lnTo>
                <a:close/>
                <a:moveTo>
                  <a:pt x="3296313" y="3413782"/>
                </a:moveTo>
                <a:lnTo>
                  <a:pt x="3296313" y="3428359"/>
                </a:lnTo>
                <a:lnTo>
                  <a:pt x="3310890" y="3413782"/>
                </a:lnTo>
                <a:close/>
                <a:moveTo>
                  <a:pt x="3219782" y="3413782"/>
                </a:moveTo>
                <a:lnTo>
                  <a:pt x="3219782" y="3428359"/>
                </a:lnTo>
                <a:lnTo>
                  <a:pt x="3234359" y="3413782"/>
                </a:lnTo>
                <a:close/>
                <a:moveTo>
                  <a:pt x="2080923" y="3406493"/>
                </a:moveTo>
                <a:cubicBezTo>
                  <a:pt x="2055413" y="3422893"/>
                  <a:pt x="2080923" y="3452047"/>
                  <a:pt x="2042657" y="3428359"/>
                </a:cubicBezTo>
                <a:lnTo>
                  <a:pt x="2028080" y="3432004"/>
                </a:lnTo>
                <a:lnTo>
                  <a:pt x="2004392" y="3430181"/>
                </a:lnTo>
                <a:lnTo>
                  <a:pt x="2020791" y="3452047"/>
                </a:lnTo>
                <a:lnTo>
                  <a:pt x="2033546" y="3446581"/>
                </a:lnTo>
                <a:lnTo>
                  <a:pt x="2049946" y="3450225"/>
                </a:lnTo>
                <a:cubicBezTo>
                  <a:pt x="2077279" y="3437470"/>
                  <a:pt x="2073634" y="3437470"/>
                  <a:pt x="2088212" y="3457514"/>
                </a:cubicBezTo>
                <a:lnTo>
                  <a:pt x="2064524" y="3466625"/>
                </a:lnTo>
                <a:lnTo>
                  <a:pt x="2049946" y="3459336"/>
                </a:lnTo>
                <a:cubicBezTo>
                  <a:pt x="2031724" y="3481202"/>
                  <a:pt x="2053590" y="3470269"/>
                  <a:pt x="2018969" y="3473913"/>
                </a:cubicBezTo>
                <a:cubicBezTo>
                  <a:pt x="2037191" y="3497602"/>
                  <a:pt x="2017147" y="3488491"/>
                  <a:pt x="2049946" y="3481202"/>
                </a:cubicBezTo>
                <a:cubicBezTo>
                  <a:pt x="2055413" y="3484847"/>
                  <a:pt x="2068168" y="3495780"/>
                  <a:pt x="2071812" y="3495780"/>
                </a:cubicBezTo>
                <a:cubicBezTo>
                  <a:pt x="2090034" y="3495780"/>
                  <a:pt x="2090034" y="3490313"/>
                  <a:pt x="2102790" y="3481202"/>
                </a:cubicBezTo>
                <a:cubicBezTo>
                  <a:pt x="2090034" y="3450225"/>
                  <a:pt x="2108256" y="3483024"/>
                  <a:pt x="2097323" y="3452047"/>
                </a:cubicBezTo>
                <a:lnTo>
                  <a:pt x="2111900" y="3433826"/>
                </a:lnTo>
                <a:lnTo>
                  <a:pt x="2080923" y="3428359"/>
                </a:lnTo>
                <a:cubicBezTo>
                  <a:pt x="2090034" y="3410137"/>
                  <a:pt x="2088212" y="3426537"/>
                  <a:pt x="2080923" y="3406493"/>
                </a:cubicBezTo>
                <a:close/>
                <a:moveTo>
                  <a:pt x="2006214" y="3406493"/>
                </a:moveTo>
                <a:cubicBezTo>
                  <a:pt x="1987992" y="3408315"/>
                  <a:pt x="1977059" y="3404671"/>
                  <a:pt x="1975237" y="3421071"/>
                </a:cubicBezTo>
                <a:cubicBezTo>
                  <a:pt x="2009858" y="3417426"/>
                  <a:pt x="1987992" y="3428359"/>
                  <a:pt x="2006214" y="3406493"/>
                </a:cubicBezTo>
                <a:close/>
                <a:moveTo>
                  <a:pt x="1665467" y="3406493"/>
                </a:moveTo>
                <a:lnTo>
                  <a:pt x="1665467" y="3421071"/>
                </a:lnTo>
                <a:lnTo>
                  <a:pt x="1681867" y="3419248"/>
                </a:lnTo>
                <a:close/>
                <a:moveTo>
                  <a:pt x="1536092" y="3406493"/>
                </a:moveTo>
                <a:lnTo>
                  <a:pt x="1559781" y="3426538"/>
                </a:lnTo>
                <a:lnTo>
                  <a:pt x="1543381" y="3435649"/>
                </a:lnTo>
                <a:close/>
                <a:moveTo>
                  <a:pt x="3445731" y="3404671"/>
                </a:moveTo>
                <a:lnTo>
                  <a:pt x="3445731" y="3419248"/>
                </a:lnTo>
                <a:lnTo>
                  <a:pt x="3467597" y="3426537"/>
                </a:lnTo>
                <a:lnTo>
                  <a:pt x="3476708" y="3410137"/>
                </a:lnTo>
                <a:close/>
                <a:moveTo>
                  <a:pt x="1920572" y="3404671"/>
                </a:moveTo>
                <a:lnTo>
                  <a:pt x="1927861" y="3435648"/>
                </a:lnTo>
                <a:lnTo>
                  <a:pt x="1946083" y="3424715"/>
                </a:lnTo>
                <a:close/>
                <a:moveTo>
                  <a:pt x="1583469" y="3404671"/>
                </a:moveTo>
                <a:lnTo>
                  <a:pt x="1605336" y="3428360"/>
                </a:lnTo>
                <a:lnTo>
                  <a:pt x="1574358" y="3419249"/>
                </a:lnTo>
                <a:close/>
                <a:moveTo>
                  <a:pt x="2937345" y="3402849"/>
                </a:moveTo>
                <a:lnTo>
                  <a:pt x="2922767" y="3417426"/>
                </a:lnTo>
                <a:lnTo>
                  <a:pt x="2948278" y="3419248"/>
                </a:lnTo>
                <a:close/>
                <a:moveTo>
                  <a:pt x="3394710" y="3399205"/>
                </a:moveTo>
                <a:cubicBezTo>
                  <a:pt x="3371022" y="3404671"/>
                  <a:pt x="3374666" y="3401027"/>
                  <a:pt x="3363734" y="3421071"/>
                </a:cubicBezTo>
                <a:lnTo>
                  <a:pt x="3372844" y="3430181"/>
                </a:lnTo>
                <a:cubicBezTo>
                  <a:pt x="3391066" y="3415604"/>
                  <a:pt x="3387422" y="3424715"/>
                  <a:pt x="3394710" y="3399205"/>
                </a:cubicBezTo>
                <a:close/>
                <a:moveTo>
                  <a:pt x="2751483" y="3397382"/>
                </a:moveTo>
                <a:cubicBezTo>
                  <a:pt x="2720506" y="3401027"/>
                  <a:pt x="2713217" y="3415604"/>
                  <a:pt x="2698640" y="3435648"/>
                </a:cubicBezTo>
                <a:lnTo>
                  <a:pt x="2707751" y="3444759"/>
                </a:lnTo>
                <a:lnTo>
                  <a:pt x="2720506" y="3428359"/>
                </a:lnTo>
                <a:cubicBezTo>
                  <a:pt x="2751483" y="3439292"/>
                  <a:pt x="2738728" y="3424715"/>
                  <a:pt x="2751483" y="3397382"/>
                </a:cubicBezTo>
                <a:close/>
                <a:moveTo>
                  <a:pt x="2133766" y="3397382"/>
                </a:moveTo>
                <a:lnTo>
                  <a:pt x="2110078" y="3399205"/>
                </a:lnTo>
                <a:lnTo>
                  <a:pt x="2124655" y="3413782"/>
                </a:lnTo>
                <a:close/>
                <a:moveTo>
                  <a:pt x="3837498" y="3388271"/>
                </a:moveTo>
                <a:lnTo>
                  <a:pt x="3837498" y="3413783"/>
                </a:lnTo>
                <a:lnTo>
                  <a:pt x="3821098" y="3404672"/>
                </a:lnTo>
                <a:close/>
                <a:moveTo>
                  <a:pt x="3671681" y="3388271"/>
                </a:moveTo>
                <a:lnTo>
                  <a:pt x="3671681" y="3413783"/>
                </a:lnTo>
                <a:lnTo>
                  <a:pt x="3655281" y="3404672"/>
                </a:lnTo>
                <a:close/>
                <a:moveTo>
                  <a:pt x="3852076" y="3384627"/>
                </a:moveTo>
                <a:lnTo>
                  <a:pt x="3883053" y="3390095"/>
                </a:lnTo>
                <a:cubicBezTo>
                  <a:pt x="3866654" y="3415605"/>
                  <a:pt x="3868476" y="3388273"/>
                  <a:pt x="3852076" y="3406494"/>
                </a:cubicBezTo>
                <a:close/>
                <a:moveTo>
                  <a:pt x="3791945" y="3382805"/>
                </a:moveTo>
                <a:lnTo>
                  <a:pt x="3815633" y="3390095"/>
                </a:lnTo>
                <a:cubicBezTo>
                  <a:pt x="3810167" y="3413783"/>
                  <a:pt x="3817456" y="3401028"/>
                  <a:pt x="3799234" y="3413783"/>
                </a:cubicBezTo>
                <a:close/>
                <a:moveTo>
                  <a:pt x="3551417" y="3382805"/>
                </a:moveTo>
                <a:lnTo>
                  <a:pt x="3567816" y="3390095"/>
                </a:lnTo>
                <a:lnTo>
                  <a:pt x="3567816" y="3413783"/>
                </a:lnTo>
                <a:lnTo>
                  <a:pt x="3565995" y="3413783"/>
                </a:lnTo>
                <a:lnTo>
                  <a:pt x="3551417" y="3413783"/>
                </a:lnTo>
                <a:lnTo>
                  <a:pt x="3547772" y="3397384"/>
                </a:lnTo>
                <a:close/>
                <a:moveTo>
                  <a:pt x="3099518" y="3382805"/>
                </a:moveTo>
                <a:lnTo>
                  <a:pt x="3099518" y="3397382"/>
                </a:lnTo>
                <a:lnTo>
                  <a:pt x="3114096" y="3382805"/>
                </a:lnTo>
                <a:close/>
                <a:moveTo>
                  <a:pt x="2888146" y="3382805"/>
                </a:moveTo>
                <a:lnTo>
                  <a:pt x="2864458" y="3384627"/>
                </a:lnTo>
                <a:lnTo>
                  <a:pt x="2879035" y="3399205"/>
                </a:lnTo>
                <a:close/>
                <a:moveTo>
                  <a:pt x="1093304" y="3382805"/>
                </a:moveTo>
                <a:lnTo>
                  <a:pt x="1107882" y="3397383"/>
                </a:lnTo>
                <a:lnTo>
                  <a:pt x="1093304" y="3397383"/>
                </a:lnTo>
                <a:close/>
                <a:moveTo>
                  <a:pt x="2961830" y="3382122"/>
                </a:moveTo>
                <a:cubicBezTo>
                  <a:pt x="2957502" y="3382350"/>
                  <a:pt x="2951466" y="3382805"/>
                  <a:pt x="2942811" y="3382805"/>
                </a:cubicBezTo>
                <a:cubicBezTo>
                  <a:pt x="2957389" y="3402849"/>
                  <a:pt x="2942811" y="3399205"/>
                  <a:pt x="2964677" y="3390094"/>
                </a:cubicBezTo>
                <a:lnTo>
                  <a:pt x="2979255" y="3404671"/>
                </a:lnTo>
                <a:cubicBezTo>
                  <a:pt x="2972422" y="3382805"/>
                  <a:pt x="2974813" y="3381438"/>
                  <a:pt x="2961830" y="3382122"/>
                </a:cubicBezTo>
                <a:close/>
                <a:moveTo>
                  <a:pt x="2496379" y="3375516"/>
                </a:moveTo>
                <a:lnTo>
                  <a:pt x="2496379" y="3390094"/>
                </a:lnTo>
                <a:lnTo>
                  <a:pt x="2512778" y="3388271"/>
                </a:lnTo>
                <a:close/>
                <a:moveTo>
                  <a:pt x="1900528" y="3370050"/>
                </a:moveTo>
                <a:lnTo>
                  <a:pt x="1893239" y="3377338"/>
                </a:lnTo>
                <a:cubicBezTo>
                  <a:pt x="1905994" y="3395560"/>
                  <a:pt x="1893239" y="3391916"/>
                  <a:pt x="1913283" y="3388271"/>
                </a:cubicBezTo>
                <a:lnTo>
                  <a:pt x="1936972" y="3391916"/>
                </a:lnTo>
                <a:cubicBezTo>
                  <a:pt x="1918750" y="3366405"/>
                  <a:pt x="1927861" y="3382805"/>
                  <a:pt x="1900528" y="3370050"/>
                </a:cubicBezTo>
                <a:close/>
                <a:moveTo>
                  <a:pt x="3974162" y="3360969"/>
                </a:moveTo>
                <a:cubicBezTo>
                  <a:pt x="3996028" y="3364613"/>
                  <a:pt x="3985095" y="3359144"/>
                  <a:pt x="3996028" y="3375517"/>
                </a:cubicBezTo>
                <a:lnTo>
                  <a:pt x="3974162" y="3375517"/>
                </a:lnTo>
                <a:close/>
                <a:moveTo>
                  <a:pt x="3733635" y="3359154"/>
                </a:moveTo>
                <a:lnTo>
                  <a:pt x="3726347" y="3373732"/>
                </a:lnTo>
                <a:lnTo>
                  <a:pt x="3748213" y="3373732"/>
                </a:lnTo>
                <a:cubicBezTo>
                  <a:pt x="3735458" y="3406494"/>
                  <a:pt x="3753679" y="3373732"/>
                  <a:pt x="3740924" y="3404672"/>
                </a:cubicBezTo>
                <a:cubicBezTo>
                  <a:pt x="3720880" y="3391916"/>
                  <a:pt x="3724524" y="3404672"/>
                  <a:pt x="3733635" y="3382805"/>
                </a:cubicBezTo>
                <a:cubicBezTo>
                  <a:pt x="3726347" y="3380983"/>
                  <a:pt x="3722702" y="3379161"/>
                  <a:pt x="3719058" y="3377339"/>
                </a:cubicBezTo>
                <a:cubicBezTo>
                  <a:pt x="3717236" y="3375517"/>
                  <a:pt x="3715414" y="3371912"/>
                  <a:pt x="3709947" y="3366441"/>
                </a:cubicBezTo>
                <a:close/>
                <a:moveTo>
                  <a:pt x="1332010" y="3359140"/>
                </a:moveTo>
                <a:lnTo>
                  <a:pt x="1333832" y="3382805"/>
                </a:lnTo>
                <a:lnTo>
                  <a:pt x="1317432" y="3373719"/>
                </a:lnTo>
                <a:close/>
                <a:moveTo>
                  <a:pt x="1747465" y="3359117"/>
                </a:moveTo>
                <a:lnTo>
                  <a:pt x="1734710" y="3375516"/>
                </a:lnTo>
                <a:lnTo>
                  <a:pt x="1756576" y="3375516"/>
                </a:lnTo>
                <a:lnTo>
                  <a:pt x="1749287" y="3390094"/>
                </a:lnTo>
                <a:cubicBezTo>
                  <a:pt x="1771154" y="3397382"/>
                  <a:pt x="1769331" y="3397382"/>
                  <a:pt x="1772976" y="3428359"/>
                </a:cubicBezTo>
                <a:lnTo>
                  <a:pt x="1787553" y="3421071"/>
                </a:lnTo>
                <a:lnTo>
                  <a:pt x="1802130" y="3437470"/>
                </a:lnTo>
                <a:lnTo>
                  <a:pt x="1802130" y="3413782"/>
                </a:lnTo>
                <a:lnTo>
                  <a:pt x="1787553" y="3421071"/>
                </a:lnTo>
                <a:lnTo>
                  <a:pt x="1780265" y="3390094"/>
                </a:lnTo>
                <a:lnTo>
                  <a:pt x="1802130" y="3390094"/>
                </a:lnTo>
                <a:cubicBezTo>
                  <a:pt x="1787553" y="3368228"/>
                  <a:pt x="1791197" y="3370050"/>
                  <a:pt x="1765687" y="3380983"/>
                </a:cubicBezTo>
                <a:lnTo>
                  <a:pt x="1756576" y="3375516"/>
                </a:lnTo>
                <a:close/>
                <a:moveTo>
                  <a:pt x="2676774" y="3353650"/>
                </a:moveTo>
                <a:lnTo>
                  <a:pt x="2653086" y="3355472"/>
                </a:lnTo>
                <a:lnTo>
                  <a:pt x="2667663" y="3370050"/>
                </a:lnTo>
                <a:close/>
                <a:moveTo>
                  <a:pt x="2806148" y="3351828"/>
                </a:moveTo>
                <a:cubicBezTo>
                  <a:pt x="2817081" y="3368228"/>
                  <a:pt x="2806148" y="3360939"/>
                  <a:pt x="2828014" y="3366405"/>
                </a:cubicBezTo>
                <a:lnTo>
                  <a:pt x="2828014" y="3351828"/>
                </a:lnTo>
                <a:close/>
                <a:moveTo>
                  <a:pt x="1982527" y="3351828"/>
                </a:moveTo>
                <a:lnTo>
                  <a:pt x="1958837" y="3353650"/>
                </a:lnTo>
                <a:lnTo>
                  <a:pt x="1973416" y="3368228"/>
                </a:lnTo>
                <a:close/>
                <a:moveTo>
                  <a:pt x="3181516" y="3344539"/>
                </a:moveTo>
                <a:cubicBezTo>
                  <a:pt x="3163294" y="3357294"/>
                  <a:pt x="3163294" y="3346361"/>
                  <a:pt x="3172405" y="3368228"/>
                </a:cubicBezTo>
                <a:lnTo>
                  <a:pt x="3165116" y="3390094"/>
                </a:lnTo>
                <a:cubicBezTo>
                  <a:pt x="3190627" y="3371872"/>
                  <a:pt x="3174227" y="3380983"/>
                  <a:pt x="3186982" y="3353650"/>
                </a:cubicBezTo>
                <a:close/>
                <a:moveTo>
                  <a:pt x="1822174" y="3342717"/>
                </a:moveTo>
                <a:lnTo>
                  <a:pt x="1807598" y="3357294"/>
                </a:lnTo>
                <a:lnTo>
                  <a:pt x="1823996" y="3359117"/>
                </a:lnTo>
                <a:close/>
                <a:moveTo>
                  <a:pt x="1732888" y="3342717"/>
                </a:moveTo>
                <a:lnTo>
                  <a:pt x="1718310" y="3357294"/>
                </a:lnTo>
                <a:lnTo>
                  <a:pt x="1734710" y="3359117"/>
                </a:lnTo>
                <a:close/>
                <a:moveTo>
                  <a:pt x="3618838" y="3339103"/>
                </a:moveTo>
                <a:lnTo>
                  <a:pt x="3633415" y="3339103"/>
                </a:lnTo>
                <a:lnTo>
                  <a:pt x="3664392" y="3370092"/>
                </a:lnTo>
                <a:lnTo>
                  <a:pt x="3695369" y="3360983"/>
                </a:lnTo>
                <a:lnTo>
                  <a:pt x="3709946" y="3368271"/>
                </a:lnTo>
                <a:lnTo>
                  <a:pt x="3702657" y="3390094"/>
                </a:lnTo>
                <a:lnTo>
                  <a:pt x="3717235" y="3390094"/>
                </a:lnTo>
                <a:cubicBezTo>
                  <a:pt x="3713591" y="3395561"/>
                  <a:pt x="3713591" y="3404672"/>
                  <a:pt x="3702657" y="3404672"/>
                </a:cubicBezTo>
                <a:cubicBezTo>
                  <a:pt x="3677147" y="3404672"/>
                  <a:pt x="3682614" y="3395561"/>
                  <a:pt x="3688080" y="3382805"/>
                </a:cubicBezTo>
                <a:lnTo>
                  <a:pt x="3664392" y="3373738"/>
                </a:lnTo>
                <a:lnTo>
                  <a:pt x="3647992" y="3382805"/>
                </a:lnTo>
                <a:lnTo>
                  <a:pt x="3635238" y="3382805"/>
                </a:lnTo>
                <a:lnTo>
                  <a:pt x="3635238" y="3402850"/>
                </a:lnTo>
                <a:cubicBezTo>
                  <a:pt x="3651637" y="3413783"/>
                  <a:pt x="3657104" y="3419250"/>
                  <a:pt x="3678970" y="3424716"/>
                </a:cubicBezTo>
                <a:lnTo>
                  <a:pt x="3673504" y="3455693"/>
                </a:lnTo>
                <a:cubicBezTo>
                  <a:pt x="3642527" y="3459338"/>
                  <a:pt x="3647993" y="3468449"/>
                  <a:pt x="3635238" y="3486670"/>
                </a:cubicBezTo>
                <a:cubicBezTo>
                  <a:pt x="3642527" y="3506714"/>
                  <a:pt x="3642527" y="3490315"/>
                  <a:pt x="3633416" y="3510358"/>
                </a:cubicBezTo>
                <a:lnTo>
                  <a:pt x="3618839" y="3493959"/>
                </a:lnTo>
                <a:lnTo>
                  <a:pt x="3604261" y="3503070"/>
                </a:lnTo>
                <a:lnTo>
                  <a:pt x="3589684" y="3503070"/>
                </a:lnTo>
                <a:lnTo>
                  <a:pt x="3604261" y="3483026"/>
                </a:lnTo>
                <a:lnTo>
                  <a:pt x="3575105" y="3450227"/>
                </a:lnTo>
                <a:lnTo>
                  <a:pt x="3596972" y="3450227"/>
                </a:lnTo>
                <a:lnTo>
                  <a:pt x="3595150" y="3442938"/>
                </a:lnTo>
                <a:lnTo>
                  <a:pt x="3573283" y="3433827"/>
                </a:lnTo>
                <a:lnTo>
                  <a:pt x="3596972" y="3432005"/>
                </a:lnTo>
                <a:lnTo>
                  <a:pt x="3580572" y="3417428"/>
                </a:lnTo>
                <a:lnTo>
                  <a:pt x="3587861" y="3404673"/>
                </a:lnTo>
                <a:lnTo>
                  <a:pt x="3575105" y="3386451"/>
                </a:lnTo>
                <a:lnTo>
                  <a:pt x="3596972" y="3395562"/>
                </a:lnTo>
                <a:cubicBezTo>
                  <a:pt x="3617016" y="3386451"/>
                  <a:pt x="3600617" y="3386451"/>
                  <a:pt x="3618839" y="3393739"/>
                </a:cubicBezTo>
                <a:lnTo>
                  <a:pt x="3633319" y="3382476"/>
                </a:lnTo>
                <a:lnTo>
                  <a:pt x="3624304" y="3351865"/>
                </a:lnTo>
                <a:lnTo>
                  <a:pt x="3611549" y="3368271"/>
                </a:lnTo>
                <a:cubicBezTo>
                  <a:pt x="3582394" y="3355517"/>
                  <a:pt x="3593327" y="3371915"/>
                  <a:pt x="3575105" y="3344579"/>
                </a:cubicBezTo>
                <a:lnTo>
                  <a:pt x="3602438" y="3351865"/>
                </a:lnTo>
                <a:close/>
                <a:moveTo>
                  <a:pt x="1684600" y="3337934"/>
                </a:moveTo>
                <a:cubicBezTo>
                  <a:pt x="1676856" y="3337706"/>
                  <a:pt x="1667289" y="3339073"/>
                  <a:pt x="1660001" y="3339073"/>
                </a:cubicBezTo>
                <a:cubicBezTo>
                  <a:pt x="1672756" y="3359117"/>
                  <a:pt x="1660001" y="3355472"/>
                  <a:pt x="1681867" y="3346361"/>
                </a:cubicBezTo>
                <a:lnTo>
                  <a:pt x="1696444" y="3346361"/>
                </a:lnTo>
                <a:lnTo>
                  <a:pt x="1689157" y="3353650"/>
                </a:lnTo>
                <a:cubicBezTo>
                  <a:pt x="1701911" y="3384627"/>
                  <a:pt x="1683689" y="3351828"/>
                  <a:pt x="1696444" y="3382805"/>
                </a:cubicBezTo>
                <a:lnTo>
                  <a:pt x="1721955" y="3371872"/>
                </a:lnTo>
                <a:lnTo>
                  <a:pt x="1705555" y="3368228"/>
                </a:lnTo>
                <a:lnTo>
                  <a:pt x="1712844" y="3353650"/>
                </a:lnTo>
                <a:lnTo>
                  <a:pt x="1698266" y="3346361"/>
                </a:lnTo>
                <a:cubicBezTo>
                  <a:pt x="1698266" y="3339984"/>
                  <a:pt x="1692344" y="3338162"/>
                  <a:pt x="1684600" y="3337934"/>
                </a:cubicBezTo>
                <a:close/>
                <a:moveTo>
                  <a:pt x="4125401" y="3337265"/>
                </a:moveTo>
                <a:lnTo>
                  <a:pt x="4139979" y="3351845"/>
                </a:lnTo>
                <a:lnTo>
                  <a:pt x="4125401" y="3351845"/>
                </a:lnTo>
                <a:close/>
                <a:moveTo>
                  <a:pt x="3008410" y="3337250"/>
                </a:moveTo>
                <a:lnTo>
                  <a:pt x="2984721" y="3339073"/>
                </a:lnTo>
                <a:lnTo>
                  <a:pt x="2999299" y="3353650"/>
                </a:lnTo>
                <a:close/>
                <a:moveTo>
                  <a:pt x="3538663" y="3335459"/>
                </a:moveTo>
                <a:lnTo>
                  <a:pt x="3567818" y="3368271"/>
                </a:lnTo>
                <a:lnTo>
                  <a:pt x="3544129" y="3368271"/>
                </a:lnTo>
                <a:lnTo>
                  <a:pt x="3551418" y="3382805"/>
                </a:lnTo>
                <a:lnTo>
                  <a:pt x="3551417" y="3382805"/>
                </a:lnTo>
                <a:lnTo>
                  <a:pt x="3536841" y="3382805"/>
                </a:lnTo>
                <a:lnTo>
                  <a:pt x="3529552" y="3397382"/>
                </a:lnTo>
                <a:lnTo>
                  <a:pt x="3522263" y="3382805"/>
                </a:lnTo>
                <a:lnTo>
                  <a:pt x="3536841" y="3375516"/>
                </a:lnTo>
                <a:lnTo>
                  <a:pt x="3529552" y="3360983"/>
                </a:lnTo>
                <a:lnTo>
                  <a:pt x="3544129" y="3360983"/>
                </a:lnTo>
                <a:close/>
                <a:moveTo>
                  <a:pt x="3859365" y="3331811"/>
                </a:moveTo>
                <a:lnTo>
                  <a:pt x="3892164" y="3337277"/>
                </a:lnTo>
                <a:lnTo>
                  <a:pt x="3883054" y="3353680"/>
                </a:lnTo>
                <a:close/>
                <a:moveTo>
                  <a:pt x="1997103" y="3322673"/>
                </a:moveTo>
                <a:lnTo>
                  <a:pt x="1973416" y="3324495"/>
                </a:lnTo>
                <a:lnTo>
                  <a:pt x="1987992" y="3339073"/>
                </a:lnTo>
                <a:close/>
                <a:moveTo>
                  <a:pt x="3979628" y="3320881"/>
                </a:moveTo>
                <a:lnTo>
                  <a:pt x="3988739" y="3335459"/>
                </a:lnTo>
                <a:lnTo>
                  <a:pt x="3981451" y="3346389"/>
                </a:lnTo>
                <a:lnTo>
                  <a:pt x="3965051" y="3335459"/>
                </a:lnTo>
                <a:close/>
                <a:moveTo>
                  <a:pt x="3644349" y="3320874"/>
                </a:moveTo>
                <a:lnTo>
                  <a:pt x="3657104" y="3337270"/>
                </a:lnTo>
                <a:lnTo>
                  <a:pt x="3635238" y="3337270"/>
                </a:lnTo>
                <a:close/>
                <a:moveTo>
                  <a:pt x="3602438" y="3320868"/>
                </a:moveTo>
                <a:lnTo>
                  <a:pt x="3604260" y="3337265"/>
                </a:lnTo>
                <a:lnTo>
                  <a:pt x="3587860" y="3335443"/>
                </a:lnTo>
                <a:close/>
                <a:moveTo>
                  <a:pt x="3097696" y="3320851"/>
                </a:moveTo>
                <a:lnTo>
                  <a:pt x="3083119" y="3335428"/>
                </a:lnTo>
                <a:lnTo>
                  <a:pt x="3097696" y="3344539"/>
                </a:lnTo>
                <a:lnTo>
                  <a:pt x="3106807" y="3337250"/>
                </a:lnTo>
                <a:close/>
                <a:moveTo>
                  <a:pt x="3544129" y="3313590"/>
                </a:moveTo>
                <a:lnTo>
                  <a:pt x="3575106" y="3322704"/>
                </a:lnTo>
                <a:lnTo>
                  <a:pt x="3565995" y="3339096"/>
                </a:lnTo>
                <a:close/>
                <a:moveTo>
                  <a:pt x="2924590" y="3313562"/>
                </a:moveTo>
                <a:lnTo>
                  <a:pt x="2910012" y="3328140"/>
                </a:lnTo>
                <a:lnTo>
                  <a:pt x="2926412" y="3329962"/>
                </a:lnTo>
                <a:close/>
                <a:moveTo>
                  <a:pt x="3717236" y="3299008"/>
                </a:moveTo>
                <a:lnTo>
                  <a:pt x="3715413" y="3324526"/>
                </a:lnTo>
                <a:lnTo>
                  <a:pt x="3693547" y="3300834"/>
                </a:lnTo>
                <a:close/>
                <a:moveTo>
                  <a:pt x="3575106" y="3299008"/>
                </a:moveTo>
                <a:lnTo>
                  <a:pt x="3598795" y="3300832"/>
                </a:lnTo>
                <a:lnTo>
                  <a:pt x="3575106" y="3322704"/>
                </a:lnTo>
                <a:close/>
                <a:moveTo>
                  <a:pt x="3225248" y="3298985"/>
                </a:moveTo>
                <a:lnTo>
                  <a:pt x="3210671" y="3313562"/>
                </a:lnTo>
                <a:lnTo>
                  <a:pt x="3227071" y="3315384"/>
                </a:lnTo>
                <a:close/>
                <a:moveTo>
                  <a:pt x="3520441" y="3284446"/>
                </a:moveTo>
                <a:lnTo>
                  <a:pt x="3536841" y="3300842"/>
                </a:lnTo>
                <a:lnTo>
                  <a:pt x="3529552" y="3322713"/>
                </a:lnTo>
                <a:cubicBezTo>
                  <a:pt x="3507686" y="3315421"/>
                  <a:pt x="3514975" y="3326352"/>
                  <a:pt x="3522264" y="3308130"/>
                </a:cubicBezTo>
                <a:lnTo>
                  <a:pt x="3498575" y="3306308"/>
                </a:lnTo>
                <a:close/>
                <a:moveTo>
                  <a:pt x="3912208" y="3277154"/>
                </a:moveTo>
                <a:lnTo>
                  <a:pt x="3945007" y="3286265"/>
                </a:lnTo>
                <a:lnTo>
                  <a:pt x="3923141" y="3306306"/>
                </a:lnTo>
                <a:close/>
                <a:moveTo>
                  <a:pt x="3536839" y="3277136"/>
                </a:moveTo>
                <a:lnTo>
                  <a:pt x="3551416" y="3291716"/>
                </a:lnTo>
                <a:lnTo>
                  <a:pt x="3536839" y="3291716"/>
                </a:lnTo>
                <a:close/>
                <a:moveTo>
                  <a:pt x="3227071" y="3269831"/>
                </a:moveTo>
                <a:lnTo>
                  <a:pt x="3203382" y="3271653"/>
                </a:lnTo>
                <a:lnTo>
                  <a:pt x="3217960" y="3286230"/>
                </a:lnTo>
                <a:close/>
                <a:moveTo>
                  <a:pt x="3024809" y="3269831"/>
                </a:moveTo>
                <a:lnTo>
                  <a:pt x="3024809" y="3291696"/>
                </a:lnTo>
                <a:lnTo>
                  <a:pt x="3046675" y="3269831"/>
                </a:lnTo>
                <a:close/>
                <a:moveTo>
                  <a:pt x="3363734" y="3268009"/>
                </a:moveTo>
                <a:lnTo>
                  <a:pt x="3332756" y="3277119"/>
                </a:lnTo>
                <a:lnTo>
                  <a:pt x="3340045" y="3291696"/>
                </a:lnTo>
                <a:lnTo>
                  <a:pt x="3325468" y="3291696"/>
                </a:lnTo>
                <a:lnTo>
                  <a:pt x="3325468" y="3306274"/>
                </a:lnTo>
                <a:lnTo>
                  <a:pt x="3303602" y="3306274"/>
                </a:lnTo>
                <a:lnTo>
                  <a:pt x="3287202" y="3328140"/>
                </a:lnTo>
                <a:lnTo>
                  <a:pt x="3256225" y="3320851"/>
                </a:lnTo>
                <a:lnTo>
                  <a:pt x="3263514" y="3308096"/>
                </a:lnTo>
                <a:lnTo>
                  <a:pt x="3241648" y="3291696"/>
                </a:lnTo>
                <a:lnTo>
                  <a:pt x="3250759" y="3313562"/>
                </a:lnTo>
                <a:lnTo>
                  <a:pt x="3243470" y="3328140"/>
                </a:lnTo>
                <a:lnTo>
                  <a:pt x="3267158" y="3328140"/>
                </a:lnTo>
                <a:lnTo>
                  <a:pt x="3258047" y="3342717"/>
                </a:lnTo>
                <a:lnTo>
                  <a:pt x="3227071" y="3350006"/>
                </a:lnTo>
                <a:lnTo>
                  <a:pt x="3236181" y="3366405"/>
                </a:lnTo>
                <a:lnTo>
                  <a:pt x="3258047" y="3342717"/>
                </a:lnTo>
                <a:lnTo>
                  <a:pt x="3272625" y="3350006"/>
                </a:lnTo>
                <a:lnTo>
                  <a:pt x="3273367" y="3350748"/>
                </a:lnTo>
                <a:lnTo>
                  <a:pt x="3287202" y="3329989"/>
                </a:lnTo>
                <a:lnTo>
                  <a:pt x="3296313" y="3335459"/>
                </a:lnTo>
                <a:lnTo>
                  <a:pt x="3303602" y="3344569"/>
                </a:lnTo>
                <a:lnTo>
                  <a:pt x="3289025" y="3353683"/>
                </a:lnTo>
                <a:lnTo>
                  <a:pt x="3274713" y="3352094"/>
                </a:lnTo>
                <a:lnTo>
                  <a:pt x="3287202" y="3364583"/>
                </a:lnTo>
                <a:cubicBezTo>
                  <a:pt x="3279913" y="3382805"/>
                  <a:pt x="3276269" y="3390094"/>
                  <a:pt x="3294491" y="3402849"/>
                </a:cubicBezTo>
                <a:lnTo>
                  <a:pt x="3294491" y="3388271"/>
                </a:lnTo>
                <a:lnTo>
                  <a:pt x="3325468" y="3388271"/>
                </a:lnTo>
                <a:cubicBezTo>
                  <a:pt x="3356445" y="3388271"/>
                  <a:pt x="3332756" y="3413782"/>
                  <a:pt x="3356445" y="3380983"/>
                </a:cubicBezTo>
                <a:lnTo>
                  <a:pt x="3332756" y="3380983"/>
                </a:lnTo>
                <a:lnTo>
                  <a:pt x="3340045" y="3368228"/>
                </a:lnTo>
                <a:lnTo>
                  <a:pt x="3336401" y="3353650"/>
                </a:lnTo>
                <a:lnTo>
                  <a:pt x="3336401" y="3341841"/>
                </a:lnTo>
                <a:lnTo>
                  <a:pt x="3334579" y="3344574"/>
                </a:lnTo>
                <a:cubicBezTo>
                  <a:pt x="3329113" y="3346398"/>
                  <a:pt x="3303602" y="3362807"/>
                  <a:pt x="3303602" y="3344574"/>
                </a:cubicBezTo>
                <a:lnTo>
                  <a:pt x="3334579" y="3322713"/>
                </a:lnTo>
                <a:lnTo>
                  <a:pt x="3349157" y="3322713"/>
                </a:lnTo>
                <a:lnTo>
                  <a:pt x="3338247" y="3339073"/>
                </a:lnTo>
                <a:lnTo>
                  <a:pt x="3350978" y="3339073"/>
                </a:lnTo>
                <a:lnTo>
                  <a:pt x="3387422" y="3326318"/>
                </a:lnTo>
                <a:lnTo>
                  <a:pt x="3394710" y="3330691"/>
                </a:lnTo>
                <a:lnTo>
                  <a:pt x="3394710" y="3333606"/>
                </a:lnTo>
                <a:lnTo>
                  <a:pt x="3395166" y="3333834"/>
                </a:lnTo>
                <a:lnTo>
                  <a:pt x="3381955" y="3353650"/>
                </a:lnTo>
                <a:lnTo>
                  <a:pt x="3389244" y="3364583"/>
                </a:lnTo>
                <a:lnTo>
                  <a:pt x="3409288" y="3340895"/>
                </a:lnTo>
                <a:lnTo>
                  <a:pt x="3395166" y="3333834"/>
                </a:lnTo>
                <a:lnTo>
                  <a:pt x="3396532" y="3331784"/>
                </a:lnTo>
                <a:lnTo>
                  <a:pt x="3394710" y="3330691"/>
                </a:lnTo>
                <a:lnTo>
                  <a:pt x="3394710" y="3319029"/>
                </a:lnTo>
                <a:lnTo>
                  <a:pt x="3401999" y="3306274"/>
                </a:lnTo>
                <a:lnTo>
                  <a:pt x="3396532" y="3298985"/>
                </a:lnTo>
                <a:lnTo>
                  <a:pt x="3365556" y="3306274"/>
                </a:lnTo>
                <a:lnTo>
                  <a:pt x="3372844" y="3320851"/>
                </a:lnTo>
                <a:lnTo>
                  <a:pt x="3350978" y="3320851"/>
                </a:lnTo>
                <a:lnTo>
                  <a:pt x="3334579" y="3306274"/>
                </a:lnTo>
                <a:lnTo>
                  <a:pt x="3341867" y="3291696"/>
                </a:lnTo>
                <a:lnTo>
                  <a:pt x="3354623" y="3298985"/>
                </a:lnTo>
                <a:close/>
                <a:moveTo>
                  <a:pt x="1501471" y="3264368"/>
                </a:moveTo>
                <a:cubicBezTo>
                  <a:pt x="1506938" y="3266190"/>
                  <a:pt x="1512404" y="3266190"/>
                  <a:pt x="1516049" y="3273480"/>
                </a:cubicBezTo>
                <a:cubicBezTo>
                  <a:pt x="1512404" y="3273480"/>
                  <a:pt x="1506938" y="3275302"/>
                  <a:pt x="1503293" y="3275302"/>
                </a:cubicBezTo>
                <a:lnTo>
                  <a:pt x="1501471" y="3271656"/>
                </a:lnTo>
                <a:cubicBezTo>
                  <a:pt x="1503293" y="3271656"/>
                  <a:pt x="1503293" y="3269836"/>
                  <a:pt x="1503293" y="3269836"/>
                </a:cubicBezTo>
                <a:cubicBezTo>
                  <a:pt x="1501471" y="3268012"/>
                  <a:pt x="1503293" y="3266190"/>
                  <a:pt x="1501471" y="3264368"/>
                </a:cubicBezTo>
                <a:close/>
                <a:moveTo>
                  <a:pt x="3671682" y="3262569"/>
                </a:moveTo>
                <a:lnTo>
                  <a:pt x="3702659" y="3269861"/>
                </a:lnTo>
                <a:cubicBezTo>
                  <a:pt x="3688081" y="3289912"/>
                  <a:pt x="3700837" y="3286268"/>
                  <a:pt x="3677148" y="3277158"/>
                </a:cubicBezTo>
                <a:lnTo>
                  <a:pt x="3684437" y="3306309"/>
                </a:lnTo>
                <a:lnTo>
                  <a:pt x="3678970" y="3315421"/>
                </a:lnTo>
                <a:cubicBezTo>
                  <a:pt x="3653459" y="3297200"/>
                  <a:pt x="3673504" y="3278977"/>
                  <a:pt x="3671682" y="3262569"/>
                </a:cubicBezTo>
                <a:close/>
                <a:moveTo>
                  <a:pt x="3544129" y="3231590"/>
                </a:moveTo>
                <a:cubicBezTo>
                  <a:pt x="3556884" y="3262569"/>
                  <a:pt x="3538663" y="3229769"/>
                  <a:pt x="3551418" y="3260747"/>
                </a:cubicBezTo>
                <a:lnTo>
                  <a:pt x="3522263" y="3268044"/>
                </a:lnTo>
                <a:lnTo>
                  <a:pt x="3513153" y="3262569"/>
                </a:lnTo>
                <a:lnTo>
                  <a:pt x="3506320" y="3273759"/>
                </a:lnTo>
                <a:cubicBezTo>
                  <a:pt x="3494020" y="3272478"/>
                  <a:pt x="3469420" y="3240696"/>
                  <a:pt x="3469420" y="3240696"/>
                </a:cubicBezTo>
                <a:lnTo>
                  <a:pt x="3476709" y="3231592"/>
                </a:lnTo>
                <a:lnTo>
                  <a:pt x="3513152" y="3262569"/>
                </a:lnTo>
                <a:close/>
                <a:moveTo>
                  <a:pt x="3693548" y="3231586"/>
                </a:moveTo>
                <a:lnTo>
                  <a:pt x="3700837" y="3264385"/>
                </a:lnTo>
                <a:lnTo>
                  <a:pt x="3678970" y="3240693"/>
                </a:lnTo>
                <a:close/>
                <a:moveTo>
                  <a:pt x="3618839" y="3229758"/>
                </a:moveTo>
                <a:lnTo>
                  <a:pt x="3627950" y="3246159"/>
                </a:lnTo>
                <a:lnTo>
                  <a:pt x="3602439" y="3246159"/>
                </a:lnTo>
                <a:close/>
                <a:moveTo>
                  <a:pt x="1694622" y="3229745"/>
                </a:moveTo>
                <a:cubicBezTo>
                  <a:pt x="1692800" y="3231567"/>
                  <a:pt x="1694622" y="3238856"/>
                  <a:pt x="1698266" y="3240677"/>
                </a:cubicBezTo>
                <a:cubicBezTo>
                  <a:pt x="1696444" y="3240677"/>
                  <a:pt x="1696444" y="3246146"/>
                  <a:pt x="1694622" y="3246146"/>
                </a:cubicBezTo>
                <a:cubicBezTo>
                  <a:pt x="1694622" y="3244322"/>
                  <a:pt x="1692800" y="3242500"/>
                  <a:pt x="1690978" y="3240677"/>
                </a:cubicBezTo>
                <a:cubicBezTo>
                  <a:pt x="1690978" y="3238856"/>
                  <a:pt x="1694622" y="3240677"/>
                  <a:pt x="1692800" y="3237034"/>
                </a:cubicBezTo>
                <a:cubicBezTo>
                  <a:pt x="1692800" y="3235212"/>
                  <a:pt x="1690978" y="3235212"/>
                  <a:pt x="1689155" y="3235212"/>
                </a:cubicBezTo>
                <a:cubicBezTo>
                  <a:pt x="1690978" y="3233390"/>
                  <a:pt x="1692800" y="3231567"/>
                  <a:pt x="1694622" y="3229745"/>
                </a:cubicBezTo>
                <a:close/>
                <a:moveTo>
                  <a:pt x="1175302" y="3224283"/>
                </a:moveTo>
                <a:lnTo>
                  <a:pt x="1173481" y="3240687"/>
                </a:lnTo>
                <a:lnTo>
                  <a:pt x="1158902" y="3226109"/>
                </a:lnTo>
                <a:close/>
                <a:moveTo>
                  <a:pt x="1182592" y="3215177"/>
                </a:moveTo>
                <a:cubicBezTo>
                  <a:pt x="1217212" y="3218826"/>
                  <a:pt x="1195346" y="3207879"/>
                  <a:pt x="1213567" y="3231592"/>
                </a:cubicBezTo>
                <a:lnTo>
                  <a:pt x="1228145" y="3224292"/>
                </a:lnTo>
                <a:lnTo>
                  <a:pt x="1228145" y="3238878"/>
                </a:lnTo>
                <a:lnTo>
                  <a:pt x="1244544" y="3238878"/>
                </a:lnTo>
                <a:lnTo>
                  <a:pt x="1237256" y="3253460"/>
                </a:lnTo>
                <a:cubicBezTo>
                  <a:pt x="1255479" y="3266214"/>
                  <a:pt x="1248189" y="3255282"/>
                  <a:pt x="1253655" y="3275329"/>
                </a:cubicBezTo>
                <a:lnTo>
                  <a:pt x="1275522" y="3284446"/>
                </a:lnTo>
                <a:cubicBezTo>
                  <a:pt x="1260945" y="3302667"/>
                  <a:pt x="1270056" y="3299018"/>
                  <a:pt x="1244544" y="3306311"/>
                </a:cubicBezTo>
                <a:cubicBezTo>
                  <a:pt x="1237256" y="3331819"/>
                  <a:pt x="1224500" y="3344579"/>
                  <a:pt x="1198990" y="3351865"/>
                </a:cubicBezTo>
                <a:lnTo>
                  <a:pt x="1198990" y="3337283"/>
                </a:lnTo>
                <a:cubicBezTo>
                  <a:pt x="1168013" y="3335469"/>
                  <a:pt x="1173481" y="3326353"/>
                  <a:pt x="1158902" y="3306311"/>
                </a:cubicBezTo>
                <a:cubicBezTo>
                  <a:pt x="1166191" y="3289912"/>
                  <a:pt x="1166191" y="3284446"/>
                  <a:pt x="1160724" y="3269861"/>
                </a:cubicBezTo>
                <a:lnTo>
                  <a:pt x="1175302" y="3255282"/>
                </a:lnTo>
                <a:lnTo>
                  <a:pt x="1206279" y="3244341"/>
                </a:lnTo>
                <a:close/>
                <a:moveTo>
                  <a:pt x="1144326" y="3215171"/>
                </a:moveTo>
                <a:lnTo>
                  <a:pt x="1146148" y="3231581"/>
                </a:lnTo>
                <a:lnTo>
                  <a:pt x="1129748" y="3229758"/>
                </a:lnTo>
                <a:close/>
                <a:moveTo>
                  <a:pt x="1392141" y="3215167"/>
                </a:moveTo>
                <a:cubicBezTo>
                  <a:pt x="1428585" y="3209699"/>
                  <a:pt x="1457739" y="3218811"/>
                  <a:pt x="1490540" y="3222457"/>
                </a:cubicBezTo>
                <a:cubicBezTo>
                  <a:pt x="1490540" y="3226101"/>
                  <a:pt x="1490540" y="3227923"/>
                  <a:pt x="1490540" y="3231568"/>
                </a:cubicBezTo>
                <a:cubicBezTo>
                  <a:pt x="1490540" y="3231568"/>
                  <a:pt x="1492362" y="3233390"/>
                  <a:pt x="1492362" y="3231568"/>
                </a:cubicBezTo>
                <a:cubicBezTo>
                  <a:pt x="1494184" y="3233390"/>
                  <a:pt x="1492362" y="3235213"/>
                  <a:pt x="1492362" y="3237035"/>
                </a:cubicBezTo>
                <a:cubicBezTo>
                  <a:pt x="1490540" y="3237035"/>
                  <a:pt x="1490540" y="3233390"/>
                  <a:pt x="1486895" y="3235213"/>
                </a:cubicBezTo>
                <a:cubicBezTo>
                  <a:pt x="1485073" y="3237035"/>
                  <a:pt x="1488717" y="3238856"/>
                  <a:pt x="1488717" y="3238856"/>
                </a:cubicBezTo>
                <a:cubicBezTo>
                  <a:pt x="1485073" y="3240680"/>
                  <a:pt x="1483251" y="3240680"/>
                  <a:pt x="1477784" y="3242502"/>
                </a:cubicBezTo>
                <a:cubicBezTo>
                  <a:pt x="1475962" y="3238856"/>
                  <a:pt x="1470495" y="3235213"/>
                  <a:pt x="1465028" y="3233390"/>
                </a:cubicBezTo>
                <a:cubicBezTo>
                  <a:pt x="1455917" y="3229745"/>
                  <a:pt x="1446806" y="3227923"/>
                  <a:pt x="1439518" y="3233390"/>
                </a:cubicBezTo>
                <a:cubicBezTo>
                  <a:pt x="1439518" y="3240680"/>
                  <a:pt x="1446806" y="3244324"/>
                  <a:pt x="1452273" y="3247968"/>
                </a:cubicBezTo>
                <a:cubicBezTo>
                  <a:pt x="1443162" y="3251612"/>
                  <a:pt x="1439518" y="3257080"/>
                  <a:pt x="1434051" y="3262548"/>
                </a:cubicBezTo>
                <a:lnTo>
                  <a:pt x="1430407" y="3269834"/>
                </a:lnTo>
                <a:cubicBezTo>
                  <a:pt x="1444984" y="3275302"/>
                  <a:pt x="1459562" y="3262546"/>
                  <a:pt x="1468673" y="3253434"/>
                </a:cubicBezTo>
                <a:cubicBezTo>
                  <a:pt x="1472316" y="3255256"/>
                  <a:pt x="1477784" y="3253434"/>
                  <a:pt x="1481428" y="3249790"/>
                </a:cubicBezTo>
                <a:lnTo>
                  <a:pt x="1484460" y="3250397"/>
                </a:lnTo>
                <a:lnTo>
                  <a:pt x="1479605" y="3247968"/>
                </a:lnTo>
                <a:cubicBezTo>
                  <a:pt x="1483250" y="3246146"/>
                  <a:pt x="1485072" y="3246146"/>
                  <a:pt x="1486895" y="3244322"/>
                </a:cubicBezTo>
                <a:cubicBezTo>
                  <a:pt x="1486895" y="3246146"/>
                  <a:pt x="1486895" y="3246146"/>
                  <a:pt x="1488716" y="3246146"/>
                </a:cubicBezTo>
                <a:lnTo>
                  <a:pt x="1490537" y="3251612"/>
                </a:lnTo>
                <a:lnTo>
                  <a:pt x="1490539" y="3251612"/>
                </a:lnTo>
                <a:lnTo>
                  <a:pt x="1490538" y="3251614"/>
                </a:lnTo>
                <a:lnTo>
                  <a:pt x="1490538" y="3253434"/>
                </a:lnTo>
                <a:lnTo>
                  <a:pt x="1489810" y="3253072"/>
                </a:lnTo>
                <a:lnTo>
                  <a:pt x="1486895" y="3258902"/>
                </a:lnTo>
                <a:cubicBezTo>
                  <a:pt x="1488717" y="3258902"/>
                  <a:pt x="1490539" y="3260724"/>
                  <a:pt x="1494183" y="3258902"/>
                </a:cubicBezTo>
                <a:cubicBezTo>
                  <a:pt x="1494183" y="3260724"/>
                  <a:pt x="1494183" y="3260724"/>
                  <a:pt x="1494183" y="3262546"/>
                </a:cubicBezTo>
                <a:cubicBezTo>
                  <a:pt x="1492361" y="3262546"/>
                  <a:pt x="1488717" y="3264368"/>
                  <a:pt x="1488717" y="3266190"/>
                </a:cubicBezTo>
                <a:cubicBezTo>
                  <a:pt x="1490539" y="3269834"/>
                  <a:pt x="1494183" y="3268012"/>
                  <a:pt x="1492361" y="3269834"/>
                </a:cubicBezTo>
                <a:cubicBezTo>
                  <a:pt x="1486895" y="3269834"/>
                  <a:pt x="1479606" y="3266190"/>
                  <a:pt x="1472316" y="3268012"/>
                </a:cubicBezTo>
                <a:cubicBezTo>
                  <a:pt x="1470494" y="3268012"/>
                  <a:pt x="1468673" y="3269834"/>
                  <a:pt x="1466850" y="3269834"/>
                </a:cubicBezTo>
                <a:cubicBezTo>
                  <a:pt x="1465028" y="3275302"/>
                  <a:pt x="1475962" y="3277124"/>
                  <a:pt x="1479606" y="3278946"/>
                </a:cubicBezTo>
                <a:cubicBezTo>
                  <a:pt x="1466850" y="3288057"/>
                  <a:pt x="1455917" y="3298985"/>
                  <a:pt x="1454095" y="3315384"/>
                </a:cubicBezTo>
                <a:cubicBezTo>
                  <a:pt x="1455917" y="3317206"/>
                  <a:pt x="1459562" y="3315384"/>
                  <a:pt x="1463206" y="3313562"/>
                </a:cubicBezTo>
                <a:cubicBezTo>
                  <a:pt x="1470494" y="3309917"/>
                  <a:pt x="1483250" y="3295340"/>
                  <a:pt x="1486895" y="3288057"/>
                </a:cubicBezTo>
                <a:cubicBezTo>
                  <a:pt x="1488717" y="3284413"/>
                  <a:pt x="1488717" y="3280767"/>
                  <a:pt x="1488717" y="3277124"/>
                </a:cubicBezTo>
                <a:cubicBezTo>
                  <a:pt x="1490539" y="3275302"/>
                  <a:pt x="1490539" y="3273480"/>
                  <a:pt x="1492361" y="3271656"/>
                </a:cubicBezTo>
                <a:cubicBezTo>
                  <a:pt x="1492361" y="3273480"/>
                  <a:pt x="1490539" y="3277124"/>
                  <a:pt x="1494183" y="3278946"/>
                </a:cubicBezTo>
                <a:cubicBezTo>
                  <a:pt x="1488717" y="3288057"/>
                  <a:pt x="1481428" y="3297162"/>
                  <a:pt x="1483250" y="3308095"/>
                </a:cubicBezTo>
                <a:cubicBezTo>
                  <a:pt x="1490539" y="3304451"/>
                  <a:pt x="1497828" y="3295340"/>
                  <a:pt x="1496006" y="3286234"/>
                </a:cubicBezTo>
                <a:cubicBezTo>
                  <a:pt x="1499650" y="3288057"/>
                  <a:pt x="1496006" y="3297162"/>
                  <a:pt x="1497828" y="3302629"/>
                </a:cubicBezTo>
                <a:cubicBezTo>
                  <a:pt x="1501472" y="3313562"/>
                  <a:pt x="1508761" y="3324495"/>
                  <a:pt x="1514228" y="3329961"/>
                </a:cubicBezTo>
                <a:cubicBezTo>
                  <a:pt x="1508761" y="3331784"/>
                  <a:pt x="1501472" y="3331784"/>
                  <a:pt x="1496006" y="3331784"/>
                </a:cubicBezTo>
                <a:cubicBezTo>
                  <a:pt x="1494183" y="3329961"/>
                  <a:pt x="1494183" y="3326317"/>
                  <a:pt x="1490539" y="3328139"/>
                </a:cubicBezTo>
                <a:cubicBezTo>
                  <a:pt x="1488717" y="3328139"/>
                  <a:pt x="1488717" y="3329961"/>
                  <a:pt x="1488717" y="3331784"/>
                </a:cubicBezTo>
                <a:cubicBezTo>
                  <a:pt x="1475962" y="3339072"/>
                  <a:pt x="1463206" y="3344539"/>
                  <a:pt x="1450451" y="3344539"/>
                </a:cubicBezTo>
                <a:cubicBezTo>
                  <a:pt x="1444984" y="3346361"/>
                  <a:pt x="1435873" y="3350005"/>
                  <a:pt x="1432229" y="3348183"/>
                </a:cubicBezTo>
                <a:cubicBezTo>
                  <a:pt x="1430407" y="3350005"/>
                  <a:pt x="1426762" y="3350005"/>
                  <a:pt x="1424940" y="3351827"/>
                </a:cubicBezTo>
                <a:lnTo>
                  <a:pt x="1403074" y="3351827"/>
                </a:lnTo>
                <a:cubicBezTo>
                  <a:pt x="1414007" y="3328139"/>
                  <a:pt x="1401252" y="3331784"/>
                  <a:pt x="1410362" y="3308095"/>
                </a:cubicBezTo>
                <a:lnTo>
                  <a:pt x="1386674" y="3291701"/>
                </a:lnTo>
                <a:lnTo>
                  <a:pt x="1381208" y="3322673"/>
                </a:lnTo>
                <a:cubicBezTo>
                  <a:pt x="1348410" y="3319028"/>
                  <a:pt x="1368452" y="3322673"/>
                  <a:pt x="1342942" y="3306273"/>
                </a:cubicBezTo>
                <a:lnTo>
                  <a:pt x="1359342" y="3284413"/>
                </a:lnTo>
                <a:cubicBezTo>
                  <a:pt x="1366630" y="3288057"/>
                  <a:pt x="1381208" y="3295340"/>
                  <a:pt x="1381208" y="3277124"/>
                </a:cubicBezTo>
                <a:cubicBezTo>
                  <a:pt x="1381208" y="3249790"/>
                  <a:pt x="1370275" y="3262546"/>
                  <a:pt x="1352053" y="3258902"/>
                </a:cubicBezTo>
                <a:lnTo>
                  <a:pt x="1328365" y="3262546"/>
                </a:lnTo>
                <a:lnTo>
                  <a:pt x="1328365" y="3247968"/>
                </a:lnTo>
                <a:lnTo>
                  <a:pt x="1324720" y="3247968"/>
                </a:lnTo>
                <a:cubicBezTo>
                  <a:pt x="1328365" y="3246144"/>
                  <a:pt x="1332009" y="3242500"/>
                  <a:pt x="1335653" y="3240678"/>
                </a:cubicBezTo>
                <a:cubicBezTo>
                  <a:pt x="1337476" y="3238856"/>
                  <a:pt x="1337476" y="3237032"/>
                  <a:pt x="1339299" y="3237032"/>
                </a:cubicBezTo>
                <a:cubicBezTo>
                  <a:pt x="1344764" y="3235212"/>
                  <a:pt x="1350231" y="3238856"/>
                  <a:pt x="1353875" y="3240678"/>
                </a:cubicBezTo>
                <a:cubicBezTo>
                  <a:pt x="1353875" y="3237032"/>
                  <a:pt x="1346586" y="3238856"/>
                  <a:pt x="1344764" y="3233388"/>
                </a:cubicBezTo>
                <a:cubicBezTo>
                  <a:pt x="1353875" y="3224276"/>
                  <a:pt x="1370275" y="3209699"/>
                  <a:pt x="1383030" y="3218811"/>
                </a:cubicBezTo>
                <a:cubicBezTo>
                  <a:pt x="1384852" y="3224276"/>
                  <a:pt x="1388496" y="3226101"/>
                  <a:pt x="1393963" y="3222455"/>
                </a:cubicBezTo>
                <a:cubicBezTo>
                  <a:pt x="1399429" y="3233388"/>
                  <a:pt x="1408540" y="3240678"/>
                  <a:pt x="1415829" y="3249790"/>
                </a:cubicBezTo>
                <a:lnTo>
                  <a:pt x="1434037" y="3262535"/>
                </a:lnTo>
                <a:lnTo>
                  <a:pt x="1411047" y="3242957"/>
                </a:lnTo>
                <a:cubicBezTo>
                  <a:pt x="1403986" y="3235213"/>
                  <a:pt x="1397608" y="3226101"/>
                  <a:pt x="1392141" y="3215167"/>
                </a:cubicBezTo>
                <a:close/>
                <a:moveTo>
                  <a:pt x="1220856" y="3209701"/>
                </a:moveTo>
                <a:lnTo>
                  <a:pt x="1244545" y="3211525"/>
                </a:lnTo>
                <a:lnTo>
                  <a:pt x="1228145" y="3224289"/>
                </a:lnTo>
                <a:close/>
                <a:moveTo>
                  <a:pt x="3830209" y="3209699"/>
                </a:moveTo>
                <a:lnTo>
                  <a:pt x="3846609" y="3224283"/>
                </a:lnTo>
                <a:lnTo>
                  <a:pt x="3830209" y="3224283"/>
                </a:lnTo>
                <a:close/>
                <a:moveTo>
                  <a:pt x="1324721" y="3207877"/>
                </a:moveTo>
                <a:cubicBezTo>
                  <a:pt x="1337476" y="3209699"/>
                  <a:pt x="1350231" y="3211523"/>
                  <a:pt x="1364809" y="3213345"/>
                </a:cubicBezTo>
                <a:cubicBezTo>
                  <a:pt x="1359342" y="3216989"/>
                  <a:pt x="1355698" y="3220633"/>
                  <a:pt x="1348410" y="3224279"/>
                </a:cubicBezTo>
                <a:cubicBezTo>
                  <a:pt x="1342943" y="3229744"/>
                  <a:pt x="1335654" y="3235211"/>
                  <a:pt x="1326543" y="3240677"/>
                </a:cubicBezTo>
                <a:cubicBezTo>
                  <a:pt x="1326543" y="3240677"/>
                  <a:pt x="1326543" y="3238855"/>
                  <a:pt x="1324721" y="3238855"/>
                </a:cubicBezTo>
                <a:lnTo>
                  <a:pt x="1319254" y="3244322"/>
                </a:lnTo>
                <a:lnTo>
                  <a:pt x="1315610" y="3242500"/>
                </a:lnTo>
                <a:cubicBezTo>
                  <a:pt x="1321077" y="3229744"/>
                  <a:pt x="1315610" y="3238855"/>
                  <a:pt x="1311966" y="3233388"/>
                </a:cubicBezTo>
                <a:cubicBezTo>
                  <a:pt x="1308321" y="3231567"/>
                  <a:pt x="1306499" y="3229744"/>
                  <a:pt x="1306499" y="3227922"/>
                </a:cubicBezTo>
                <a:cubicBezTo>
                  <a:pt x="1304677" y="3229744"/>
                  <a:pt x="1302855" y="3231567"/>
                  <a:pt x="1297388" y="3233388"/>
                </a:cubicBezTo>
                <a:lnTo>
                  <a:pt x="1297388" y="3231567"/>
                </a:lnTo>
                <a:cubicBezTo>
                  <a:pt x="1301033" y="3226099"/>
                  <a:pt x="1306499" y="3220633"/>
                  <a:pt x="1310144" y="3215167"/>
                </a:cubicBezTo>
                <a:cubicBezTo>
                  <a:pt x="1315610" y="3216989"/>
                  <a:pt x="1319254" y="3220633"/>
                  <a:pt x="1324721" y="3222455"/>
                </a:cubicBezTo>
                <a:cubicBezTo>
                  <a:pt x="1326543" y="3218811"/>
                  <a:pt x="1326543" y="3211523"/>
                  <a:pt x="1324721" y="3207877"/>
                </a:cubicBezTo>
                <a:close/>
                <a:moveTo>
                  <a:pt x="1665240" y="3206967"/>
                </a:moveTo>
                <a:cubicBezTo>
                  <a:pt x="1674123" y="3207877"/>
                  <a:pt x="1680956" y="3212433"/>
                  <a:pt x="1681868" y="3226101"/>
                </a:cubicBezTo>
                <a:cubicBezTo>
                  <a:pt x="1681868" y="3229745"/>
                  <a:pt x="1683690" y="3227923"/>
                  <a:pt x="1683690" y="3229745"/>
                </a:cubicBezTo>
                <a:cubicBezTo>
                  <a:pt x="1685512" y="3231568"/>
                  <a:pt x="1683690" y="3235213"/>
                  <a:pt x="1683690" y="3237034"/>
                </a:cubicBezTo>
                <a:cubicBezTo>
                  <a:pt x="1672757" y="3244324"/>
                  <a:pt x="1660001" y="3253436"/>
                  <a:pt x="1645424" y="3260724"/>
                </a:cubicBezTo>
                <a:cubicBezTo>
                  <a:pt x="1636312" y="3264370"/>
                  <a:pt x="1630846" y="3271659"/>
                  <a:pt x="1621735" y="3273480"/>
                </a:cubicBezTo>
                <a:cubicBezTo>
                  <a:pt x="1614447" y="3282592"/>
                  <a:pt x="1601691" y="3288058"/>
                  <a:pt x="1590758" y="3293525"/>
                </a:cubicBezTo>
                <a:cubicBezTo>
                  <a:pt x="1583469" y="3298986"/>
                  <a:pt x="1578003" y="3306275"/>
                  <a:pt x="1570714" y="3306275"/>
                </a:cubicBezTo>
                <a:cubicBezTo>
                  <a:pt x="1567070" y="3311742"/>
                  <a:pt x="1556137" y="3319030"/>
                  <a:pt x="1548848" y="3317208"/>
                </a:cubicBezTo>
                <a:cubicBezTo>
                  <a:pt x="1543381" y="3322675"/>
                  <a:pt x="1536093" y="3324497"/>
                  <a:pt x="1526982" y="3328141"/>
                </a:cubicBezTo>
                <a:cubicBezTo>
                  <a:pt x="1526982" y="3326319"/>
                  <a:pt x="1526982" y="3326319"/>
                  <a:pt x="1525159" y="3324497"/>
                </a:cubicBezTo>
                <a:cubicBezTo>
                  <a:pt x="1526982" y="3324497"/>
                  <a:pt x="1528804" y="3326319"/>
                  <a:pt x="1532448" y="3324497"/>
                </a:cubicBezTo>
                <a:cubicBezTo>
                  <a:pt x="1532448" y="3322675"/>
                  <a:pt x="1532448" y="3322675"/>
                  <a:pt x="1532448" y="3322675"/>
                </a:cubicBezTo>
                <a:cubicBezTo>
                  <a:pt x="1532448" y="3319030"/>
                  <a:pt x="1528804" y="3322675"/>
                  <a:pt x="1526982" y="3320852"/>
                </a:cubicBezTo>
                <a:cubicBezTo>
                  <a:pt x="1528804" y="3320852"/>
                  <a:pt x="1530626" y="3317208"/>
                  <a:pt x="1530626" y="3315386"/>
                </a:cubicBezTo>
                <a:cubicBezTo>
                  <a:pt x="1528804" y="3311742"/>
                  <a:pt x="1526982" y="3309919"/>
                  <a:pt x="1523337" y="3309919"/>
                </a:cubicBezTo>
                <a:cubicBezTo>
                  <a:pt x="1519693" y="3298986"/>
                  <a:pt x="1514226" y="3291703"/>
                  <a:pt x="1506938" y="3284414"/>
                </a:cubicBezTo>
                <a:cubicBezTo>
                  <a:pt x="1512404" y="3286236"/>
                  <a:pt x="1517871" y="3282592"/>
                  <a:pt x="1523337" y="3282592"/>
                </a:cubicBezTo>
                <a:cubicBezTo>
                  <a:pt x="1525159" y="3282592"/>
                  <a:pt x="1526982" y="3284414"/>
                  <a:pt x="1530626" y="3284414"/>
                </a:cubicBezTo>
                <a:cubicBezTo>
                  <a:pt x="1537915" y="3286236"/>
                  <a:pt x="1552492" y="3284414"/>
                  <a:pt x="1557959" y="3280769"/>
                </a:cubicBezTo>
                <a:cubicBezTo>
                  <a:pt x="1556137" y="3273480"/>
                  <a:pt x="1547026" y="3269836"/>
                  <a:pt x="1541559" y="3268014"/>
                </a:cubicBezTo>
                <a:cubicBezTo>
                  <a:pt x="1536093" y="3266192"/>
                  <a:pt x="1526982" y="3262548"/>
                  <a:pt x="1521515" y="3262548"/>
                </a:cubicBezTo>
                <a:cubicBezTo>
                  <a:pt x="1516049" y="3262548"/>
                  <a:pt x="1510582" y="3268014"/>
                  <a:pt x="1505117" y="3262548"/>
                </a:cubicBezTo>
                <a:cubicBezTo>
                  <a:pt x="1510582" y="3258902"/>
                  <a:pt x="1510582" y="3253436"/>
                  <a:pt x="1510582" y="3246146"/>
                </a:cubicBezTo>
                <a:cubicBezTo>
                  <a:pt x="1510582" y="3244324"/>
                  <a:pt x="1512404" y="3244324"/>
                  <a:pt x="1514226" y="3244324"/>
                </a:cubicBezTo>
                <a:cubicBezTo>
                  <a:pt x="1512404" y="3238857"/>
                  <a:pt x="1510582" y="3238857"/>
                  <a:pt x="1508760" y="3235213"/>
                </a:cubicBezTo>
                <a:cubicBezTo>
                  <a:pt x="1508760" y="3233390"/>
                  <a:pt x="1505117" y="3235213"/>
                  <a:pt x="1503293" y="3233390"/>
                </a:cubicBezTo>
                <a:cubicBezTo>
                  <a:pt x="1501471" y="3233390"/>
                  <a:pt x="1505117" y="3231568"/>
                  <a:pt x="1505117" y="3233390"/>
                </a:cubicBezTo>
                <a:cubicBezTo>
                  <a:pt x="1501471" y="3229745"/>
                  <a:pt x="1505117" y="3227923"/>
                  <a:pt x="1505117" y="3224279"/>
                </a:cubicBezTo>
                <a:cubicBezTo>
                  <a:pt x="1517871" y="3222457"/>
                  <a:pt x="1528804" y="3222457"/>
                  <a:pt x="1539737" y="3220635"/>
                </a:cubicBezTo>
                <a:cubicBezTo>
                  <a:pt x="1539737" y="3222457"/>
                  <a:pt x="1539737" y="3222457"/>
                  <a:pt x="1539737" y="3224279"/>
                </a:cubicBezTo>
                <a:cubicBezTo>
                  <a:pt x="1545203" y="3227923"/>
                  <a:pt x="1548848" y="3222457"/>
                  <a:pt x="1554314" y="3220635"/>
                </a:cubicBezTo>
                <a:cubicBezTo>
                  <a:pt x="1561603" y="3216989"/>
                  <a:pt x="1568892" y="3218813"/>
                  <a:pt x="1576180" y="3216989"/>
                </a:cubicBezTo>
                <a:cubicBezTo>
                  <a:pt x="1568892" y="3224279"/>
                  <a:pt x="1565247" y="3237034"/>
                  <a:pt x="1570714" y="3247968"/>
                </a:cubicBezTo>
                <a:cubicBezTo>
                  <a:pt x="1583469" y="3240680"/>
                  <a:pt x="1581647" y="3224279"/>
                  <a:pt x="1590758" y="3215167"/>
                </a:cubicBezTo>
                <a:cubicBezTo>
                  <a:pt x="1599869" y="3215167"/>
                  <a:pt x="1605336" y="3213345"/>
                  <a:pt x="1614447" y="3213345"/>
                </a:cubicBezTo>
                <a:cubicBezTo>
                  <a:pt x="1621735" y="3213345"/>
                  <a:pt x="1630846" y="3218813"/>
                  <a:pt x="1636312" y="3215167"/>
                </a:cubicBezTo>
                <a:cubicBezTo>
                  <a:pt x="1636312" y="3213345"/>
                  <a:pt x="1636312" y="3211523"/>
                  <a:pt x="1636312" y="3209701"/>
                </a:cubicBezTo>
                <a:cubicBezTo>
                  <a:pt x="1645424" y="3208789"/>
                  <a:pt x="1656357" y="3206057"/>
                  <a:pt x="1665240" y="3206967"/>
                </a:cubicBezTo>
                <a:close/>
                <a:moveTo>
                  <a:pt x="3853898" y="3202411"/>
                </a:moveTo>
                <a:lnTo>
                  <a:pt x="3868476" y="3216995"/>
                </a:lnTo>
                <a:lnTo>
                  <a:pt x="3853898" y="3216995"/>
                </a:lnTo>
                <a:close/>
                <a:moveTo>
                  <a:pt x="1288277" y="3202411"/>
                </a:moveTo>
                <a:cubicBezTo>
                  <a:pt x="1291921" y="3204233"/>
                  <a:pt x="1293744" y="3204233"/>
                  <a:pt x="1297388" y="3204233"/>
                </a:cubicBezTo>
                <a:cubicBezTo>
                  <a:pt x="1301032" y="3207877"/>
                  <a:pt x="1304676" y="3209699"/>
                  <a:pt x="1306499" y="3213343"/>
                </a:cubicBezTo>
                <a:cubicBezTo>
                  <a:pt x="1302855" y="3216989"/>
                  <a:pt x="1299210" y="3220633"/>
                  <a:pt x="1295566" y="3224276"/>
                </a:cubicBezTo>
                <a:lnTo>
                  <a:pt x="1295566" y="3216989"/>
                </a:lnTo>
                <a:lnTo>
                  <a:pt x="1280988" y="3216989"/>
                </a:lnTo>
                <a:cubicBezTo>
                  <a:pt x="1284633" y="3209699"/>
                  <a:pt x="1286455" y="3206055"/>
                  <a:pt x="1288277" y="3202411"/>
                </a:cubicBezTo>
                <a:close/>
                <a:moveTo>
                  <a:pt x="1574358" y="3200587"/>
                </a:moveTo>
                <a:cubicBezTo>
                  <a:pt x="1576180" y="3198767"/>
                  <a:pt x="1576180" y="3200587"/>
                  <a:pt x="1578003" y="3200587"/>
                </a:cubicBezTo>
                <a:cubicBezTo>
                  <a:pt x="1578003" y="3202411"/>
                  <a:pt x="1576180" y="3200587"/>
                  <a:pt x="1574358" y="3202411"/>
                </a:cubicBezTo>
                <a:cubicBezTo>
                  <a:pt x="1572536" y="3200587"/>
                  <a:pt x="1574358" y="3200587"/>
                  <a:pt x="1574358" y="3200587"/>
                </a:cubicBezTo>
                <a:close/>
                <a:moveTo>
                  <a:pt x="1873195" y="3198768"/>
                </a:moveTo>
                <a:cubicBezTo>
                  <a:pt x="1875017" y="3196945"/>
                  <a:pt x="1875017" y="3200589"/>
                  <a:pt x="1875017" y="3200589"/>
                </a:cubicBezTo>
                <a:cubicBezTo>
                  <a:pt x="1875017" y="3202411"/>
                  <a:pt x="1875017" y="3200589"/>
                  <a:pt x="1871372" y="3200589"/>
                </a:cubicBezTo>
                <a:cubicBezTo>
                  <a:pt x="1871372" y="3200589"/>
                  <a:pt x="1873195" y="3200589"/>
                  <a:pt x="1873195" y="3198768"/>
                </a:cubicBezTo>
                <a:close/>
                <a:moveTo>
                  <a:pt x="1712845" y="3198767"/>
                </a:moveTo>
                <a:cubicBezTo>
                  <a:pt x="1707377" y="3202411"/>
                  <a:pt x="1701911" y="3211521"/>
                  <a:pt x="1694622" y="3213345"/>
                </a:cubicBezTo>
                <a:cubicBezTo>
                  <a:pt x="1689157" y="3215167"/>
                  <a:pt x="1685511" y="3211521"/>
                  <a:pt x="1681867" y="3207877"/>
                </a:cubicBezTo>
                <a:cubicBezTo>
                  <a:pt x="1680046" y="3204233"/>
                  <a:pt x="1680046" y="3204233"/>
                  <a:pt x="1681867" y="3204233"/>
                </a:cubicBezTo>
                <a:cubicBezTo>
                  <a:pt x="1692800" y="3200587"/>
                  <a:pt x="1701911" y="3200587"/>
                  <a:pt x="1712845" y="3198767"/>
                </a:cubicBezTo>
                <a:close/>
                <a:moveTo>
                  <a:pt x="1596225" y="3198767"/>
                </a:moveTo>
                <a:cubicBezTo>
                  <a:pt x="1598047" y="3198767"/>
                  <a:pt x="1599869" y="3200587"/>
                  <a:pt x="1599869" y="3200587"/>
                </a:cubicBezTo>
                <a:cubicBezTo>
                  <a:pt x="1598047" y="3202411"/>
                  <a:pt x="1594402" y="3202411"/>
                  <a:pt x="1592580" y="3202411"/>
                </a:cubicBezTo>
                <a:cubicBezTo>
                  <a:pt x="1592580" y="3200587"/>
                  <a:pt x="1596225" y="3202411"/>
                  <a:pt x="1596225" y="3198767"/>
                </a:cubicBezTo>
                <a:close/>
                <a:moveTo>
                  <a:pt x="3649815" y="3195125"/>
                </a:moveTo>
                <a:lnTo>
                  <a:pt x="3671681" y="3218820"/>
                </a:lnTo>
                <a:lnTo>
                  <a:pt x="3642526" y="3209701"/>
                </a:lnTo>
                <a:close/>
                <a:moveTo>
                  <a:pt x="1716488" y="3195123"/>
                </a:moveTo>
                <a:cubicBezTo>
                  <a:pt x="1731065" y="3195123"/>
                  <a:pt x="1745642" y="3195123"/>
                  <a:pt x="1758397" y="3196945"/>
                </a:cubicBezTo>
                <a:cubicBezTo>
                  <a:pt x="1743821" y="3207877"/>
                  <a:pt x="1720132" y="3216989"/>
                  <a:pt x="1705554" y="3222457"/>
                </a:cubicBezTo>
                <a:cubicBezTo>
                  <a:pt x="1705554" y="3220635"/>
                  <a:pt x="1703732" y="3222457"/>
                  <a:pt x="1701910" y="3220635"/>
                </a:cubicBezTo>
                <a:cubicBezTo>
                  <a:pt x="1700088" y="3220635"/>
                  <a:pt x="1698266" y="3222457"/>
                  <a:pt x="1698266" y="3222457"/>
                </a:cubicBezTo>
                <a:cubicBezTo>
                  <a:pt x="1696444" y="3222457"/>
                  <a:pt x="1694621" y="3220635"/>
                  <a:pt x="1692799" y="3218811"/>
                </a:cubicBezTo>
                <a:cubicBezTo>
                  <a:pt x="1692799" y="3218811"/>
                  <a:pt x="1694621" y="3218811"/>
                  <a:pt x="1696444" y="3218811"/>
                </a:cubicBezTo>
                <a:cubicBezTo>
                  <a:pt x="1696444" y="3216989"/>
                  <a:pt x="1694621" y="3216989"/>
                  <a:pt x="1692799" y="3215169"/>
                </a:cubicBezTo>
                <a:cubicBezTo>
                  <a:pt x="1701910" y="3215169"/>
                  <a:pt x="1716488" y="3209699"/>
                  <a:pt x="1716488" y="3195123"/>
                </a:cubicBezTo>
                <a:close/>
                <a:moveTo>
                  <a:pt x="3565995" y="3193304"/>
                </a:moveTo>
                <a:lnTo>
                  <a:pt x="3565995" y="3216998"/>
                </a:lnTo>
                <a:lnTo>
                  <a:pt x="3549595" y="3207879"/>
                </a:lnTo>
                <a:close/>
                <a:moveTo>
                  <a:pt x="3325468" y="3193304"/>
                </a:moveTo>
                <a:lnTo>
                  <a:pt x="3323645" y="3218820"/>
                </a:lnTo>
                <a:lnTo>
                  <a:pt x="3309068" y="3202413"/>
                </a:lnTo>
                <a:close/>
                <a:moveTo>
                  <a:pt x="3436621" y="3187840"/>
                </a:moveTo>
                <a:lnTo>
                  <a:pt x="3445732" y="3193306"/>
                </a:lnTo>
                <a:cubicBezTo>
                  <a:pt x="3432976" y="3215177"/>
                  <a:pt x="3432976" y="3222469"/>
                  <a:pt x="3400177" y="3224292"/>
                </a:cubicBezTo>
                <a:close/>
                <a:moveTo>
                  <a:pt x="3678970" y="3187838"/>
                </a:moveTo>
                <a:lnTo>
                  <a:pt x="3704481" y="3195125"/>
                </a:lnTo>
                <a:lnTo>
                  <a:pt x="3688081" y="3209703"/>
                </a:lnTo>
                <a:close/>
                <a:moveTo>
                  <a:pt x="1450453" y="3182367"/>
                </a:moveTo>
                <a:cubicBezTo>
                  <a:pt x="1448629" y="3187835"/>
                  <a:pt x="1446807" y="3195123"/>
                  <a:pt x="1444985" y="3200589"/>
                </a:cubicBezTo>
                <a:cubicBezTo>
                  <a:pt x="1426762" y="3207877"/>
                  <a:pt x="1410363" y="3202411"/>
                  <a:pt x="1393963" y="3204233"/>
                </a:cubicBezTo>
                <a:cubicBezTo>
                  <a:pt x="1399430" y="3202411"/>
                  <a:pt x="1408541" y="3198767"/>
                  <a:pt x="1412185" y="3202411"/>
                </a:cubicBezTo>
                <a:cubicBezTo>
                  <a:pt x="1414007" y="3202411"/>
                  <a:pt x="1414007" y="3200589"/>
                  <a:pt x="1415829" y="3200589"/>
                </a:cubicBezTo>
                <a:cubicBezTo>
                  <a:pt x="1415829" y="3196945"/>
                  <a:pt x="1412185" y="3200589"/>
                  <a:pt x="1412185" y="3198767"/>
                </a:cubicBezTo>
                <a:cubicBezTo>
                  <a:pt x="1424940" y="3193301"/>
                  <a:pt x="1434051" y="3187835"/>
                  <a:pt x="1450453" y="3182367"/>
                </a:cubicBezTo>
                <a:close/>
                <a:moveTo>
                  <a:pt x="3239826" y="3180543"/>
                </a:moveTo>
                <a:cubicBezTo>
                  <a:pt x="3219782" y="3195121"/>
                  <a:pt x="3230715" y="3175078"/>
                  <a:pt x="3227071" y="3209699"/>
                </a:cubicBezTo>
                <a:lnTo>
                  <a:pt x="3241648" y="3209699"/>
                </a:lnTo>
                <a:lnTo>
                  <a:pt x="3241648" y="3213343"/>
                </a:lnTo>
                <a:cubicBezTo>
                  <a:pt x="3214315" y="3211521"/>
                  <a:pt x="3186983" y="3206055"/>
                  <a:pt x="3161471" y="3198765"/>
                </a:cubicBezTo>
                <a:cubicBezTo>
                  <a:pt x="3188805" y="3196943"/>
                  <a:pt x="3214315" y="3189655"/>
                  <a:pt x="3239826" y="3180543"/>
                </a:cubicBezTo>
                <a:close/>
                <a:moveTo>
                  <a:pt x="1887772" y="3178724"/>
                </a:moveTo>
                <a:cubicBezTo>
                  <a:pt x="1887772" y="3182367"/>
                  <a:pt x="1885950" y="3186012"/>
                  <a:pt x="1882306" y="3187833"/>
                </a:cubicBezTo>
                <a:cubicBezTo>
                  <a:pt x="1884127" y="3186012"/>
                  <a:pt x="1884127" y="3184189"/>
                  <a:pt x="1882306" y="3182367"/>
                </a:cubicBezTo>
                <a:cubicBezTo>
                  <a:pt x="1882306" y="3180546"/>
                  <a:pt x="1885950" y="3180546"/>
                  <a:pt x="1887772" y="3178724"/>
                </a:cubicBezTo>
                <a:close/>
                <a:moveTo>
                  <a:pt x="2979255" y="3178721"/>
                </a:moveTo>
                <a:lnTo>
                  <a:pt x="2979255" y="3200587"/>
                </a:lnTo>
                <a:lnTo>
                  <a:pt x="3010232" y="3193299"/>
                </a:lnTo>
                <a:cubicBezTo>
                  <a:pt x="2988366" y="3164144"/>
                  <a:pt x="3010232" y="3191477"/>
                  <a:pt x="2979255" y="3178721"/>
                </a:cubicBezTo>
                <a:close/>
                <a:moveTo>
                  <a:pt x="3015698" y="3171434"/>
                </a:moveTo>
                <a:lnTo>
                  <a:pt x="3019343" y="3195121"/>
                </a:lnTo>
                <a:cubicBezTo>
                  <a:pt x="3015698" y="3215165"/>
                  <a:pt x="3010232" y="3202411"/>
                  <a:pt x="3030276" y="3207877"/>
                </a:cubicBezTo>
                <a:lnTo>
                  <a:pt x="3039387" y="3186011"/>
                </a:lnTo>
                <a:cubicBezTo>
                  <a:pt x="3030276" y="3184189"/>
                  <a:pt x="3026631" y="3182367"/>
                  <a:pt x="3024809" y="3182367"/>
                </a:cubicBezTo>
                <a:cubicBezTo>
                  <a:pt x="3022987" y="3180544"/>
                  <a:pt x="3021165" y="3176899"/>
                  <a:pt x="3015698" y="3171434"/>
                </a:cubicBezTo>
                <a:close/>
                <a:moveTo>
                  <a:pt x="1605336" y="3169614"/>
                </a:moveTo>
                <a:cubicBezTo>
                  <a:pt x="1607158" y="3171436"/>
                  <a:pt x="1605336" y="3173258"/>
                  <a:pt x="1607158" y="3176902"/>
                </a:cubicBezTo>
                <a:cubicBezTo>
                  <a:pt x="1605336" y="3176902"/>
                  <a:pt x="1603514" y="3176902"/>
                  <a:pt x="1601691" y="3176902"/>
                </a:cubicBezTo>
                <a:cubicBezTo>
                  <a:pt x="1601691" y="3176902"/>
                  <a:pt x="1603514" y="3176902"/>
                  <a:pt x="1603514" y="3175082"/>
                </a:cubicBezTo>
                <a:cubicBezTo>
                  <a:pt x="1601691" y="3175082"/>
                  <a:pt x="1599869" y="3175082"/>
                  <a:pt x="1599869" y="3173258"/>
                </a:cubicBezTo>
                <a:cubicBezTo>
                  <a:pt x="1601691" y="3171436"/>
                  <a:pt x="1605336" y="3171436"/>
                  <a:pt x="1605336" y="3169614"/>
                </a:cubicBezTo>
                <a:close/>
                <a:moveTo>
                  <a:pt x="3270802" y="3167790"/>
                </a:moveTo>
                <a:cubicBezTo>
                  <a:pt x="3270802" y="3169612"/>
                  <a:pt x="3270802" y="3171434"/>
                  <a:pt x="3270802" y="3173256"/>
                </a:cubicBezTo>
                <a:lnTo>
                  <a:pt x="3270802" y="3180543"/>
                </a:lnTo>
                <a:cubicBezTo>
                  <a:pt x="3270802" y="3200587"/>
                  <a:pt x="3267157" y="3193299"/>
                  <a:pt x="3254402" y="3202411"/>
                </a:cubicBezTo>
                <a:lnTo>
                  <a:pt x="3263513" y="3173256"/>
                </a:lnTo>
                <a:cubicBezTo>
                  <a:pt x="3265335" y="3169612"/>
                  <a:pt x="3268979" y="3167790"/>
                  <a:pt x="3270802" y="3167790"/>
                </a:cubicBezTo>
                <a:close/>
                <a:moveTo>
                  <a:pt x="1297388" y="3164146"/>
                </a:moveTo>
                <a:lnTo>
                  <a:pt x="1310144" y="3171434"/>
                </a:lnTo>
                <a:lnTo>
                  <a:pt x="1311966" y="3169614"/>
                </a:lnTo>
                <a:cubicBezTo>
                  <a:pt x="1319254" y="3171434"/>
                  <a:pt x="1326544" y="3171434"/>
                  <a:pt x="1335655" y="3171434"/>
                </a:cubicBezTo>
                <a:cubicBezTo>
                  <a:pt x="1330188" y="3176902"/>
                  <a:pt x="1328366" y="3186013"/>
                  <a:pt x="1321077" y="3191479"/>
                </a:cubicBezTo>
                <a:cubicBezTo>
                  <a:pt x="1321077" y="3193301"/>
                  <a:pt x="1319254" y="3195123"/>
                  <a:pt x="1319254" y="3196945"/>
                </a:cubicBezTo>
                <a:cubicBezTo>
                  <a:pt x="1317432" y="3196945"/>
                  <a:pt x="1315610" y="3195123"/>
                  <a:pt x="1311966" y="3195123"/>
                </a:cubicBezTo>
                <a:cubicBezTo>
                  <a:pt x="1308321" y="3193301"/>
                  <a:pt x="1304677" y="3189657"/>
                  <a:pt x="1301033" y="3187835"/>
                </a:cubicBezTo>
                <a:close/>
                <a:moveTo>
                  <a:pt x="3334579" y="3164144"/>
                </a:moveTo>
                <a:lnTo>
                  <a:pt x="3341868" y="3164144"/>
                </a:lnTo>
                <a:lnTo>
                  <a:pt x="3341868" y="3167790"/>
                </a:lnTo>
                <a:cubicBezTo>
                  <a:pt x="3336402" y="3169612"/>
                  <a:pt x="3330935" y="3171434"/>
                  <a:pt x="3325468" y="3175078"/>
                </a:cubicBezTo>
                <a:cubicBezTo>
                  <a:pt x="3323646" y="3175078"/>
                  <a:pt x="3329113" y="3184189"/>
                  <a:pt x="3334579" y="3184189"/>
                </a:cubicBezTo>
                <a:cubicBezTo>
                  <a:pt x="3336402" y="3182367"/>
                  <a:pt x="3340046" y="3182367"/>
                  <a:pt x="3343690" y="3180544"/>
                </a:cubicBezTo>
                <a:lnTo>
                  <a:pt x="3343690" y="3186012"/>
                </a:lnTo>
                <a:lnTo>
                  <a:pt x="3305424" y="3180544"/>
                </a:lnTo>
                <a:lnTo>
                  <a:pt x="3305424" y="3202411"/>
                </a:lnTo>
                <a:lnTo>
                  <a:pt x="3290846" y="3202411"/>
                </a:lnTo>
                <a:lnTo>
                  <a:pt x="3298136" y="3173256"/>
                </a:lnTo>
                <a:lnTo>
                  <a:pt x="3299958" y="3169612"/>
                </a:lnTo>
                <a:cubicBezTo>
                  <a:pt x="3299958" y="3173256"/>
                  <a:pt x="3301780" y="3176900"/>
                  <a:pt x="3305424" y="3175078"/>
                </a:cubicBezTo>
                <a:cubicBezTo>
                  <a:pt x="3316358" y="3171434"/>
                  <a:pt x="3325468" y="3167790"/>
                  <a:pt x="3334579" y="3164144"/>
                </a:cubicBezTo>
                <a:close/>
                <a:moveTo>
                  <a:pt x="3852076" y="3158695"/>
                </a:moveTo>
                <a:lnTo>
                  <a:pt x="3892164" y="3171447"/>
                </a:lnTo>
                <a:lnTo>
                  <a:pt x="3883053" y="3187840"/>
                </a:lnTo>
                <a:close/>
                <a:moveTo>
                  <a:pt x="3613372" y="3156871"/>
                </a:moveTo>
                <a:lnTo>
                  <a:pt x="3635238" y="3156871"/>
                </a:lnTo>
                <a:lnTo>
                  <a:pt x="3635238" y="3171444"/>
                </a:lnTo>
                <a:cubicBezTo>
                  <a:pt x="3613372" y="3165979"/>
                  <a:pt x="3624305" y="3173265"/>
                  <a:pt x="3613372" y="3156871"/>
                </a:cubicBezTo>
                <a:close/>
                <a:moveTo>
                  <a:pt x="1718310" y="3156858"/>
                </a:moveTo>
                <a:cubicBezTo>
                  <a:pt x="1721955" y="3156858"/>
                  <a:pt x="1727421" y="3158681"/>
                  <a:pt x="1723777" y="3162325"/>
                </a:cubicBezTo>
                <a:cubicBezTo>
                  <a:pt x="1721955" y="3158681"/>
                  <a:pt x="1720132" y="3158681"/>
                  <a:pt x="1718310" y="3156858"/>
                </a:cubicBezTo>
                <a:close/>
                <a:moveTo>
                  <a:pt x="3106807" y="3156856"/>
                </a:moveTo>
                <a:cubicBezTo>
                  <a:pt x="3112274" y="3171434"/>
                  <a:pt x="3114096" y="3164144"/>
                  <a:pt x="3106807" y="3178721"/>
                </a:cubicBezTo>
                <a:lnTo>
                  <a:pt x="3128673" y="3178721"/>
                </a:lnTo>
                <a:cubicBezTo>
                  <a:pt x="3119562" y="3160500"/>
                  <a:pt x="3121384" y="3176899"/>
                  <a:pt x="3128673" y="3156856"/>
                </a:cubicBezTo>
                <a:close/>
                <a:moveTo>
                  <a:pt x="1144326" y="3155051"/>
                </a:moveTo>
                <a:lnTo>
                  <a:pt x="1151614" y="3169625"/>
                </a:lnTo>
                <a:lnTo>
                  <a:pt x="1144326" y="3180554"/>
                </a:lnTo>
                <a:lnTo>
                  <a:pt x="1129748" y="3169625"/>
                </a:lnTo>
                <a:close/>
                <a:moveTo>
                  <a:pt x="1729243" y="3151395"/>
                </a:moveTo>
                <a:cubicBezTo>
                  <a:pt x="1734710" y="3153217"/>
                  <a:pt x="1736532" y="3153217"/>
                  <a:pt x="1741998" y="3153217"/>
                </a:cubicBezTo>
                <a:cubicBezTo>
                  <a:pt x="1741998" y="3155038"/>
                  <a:pt x="1738354" y="3156862"/>
                  <a:pt x="1738354" y="3158682"/>
                </a:cubicBezTo>
                <a:cubicBezTo>
                  <a:pt x="1734710" y="3158682"/>
                  <a:pt x="1736532" y="3155038"/>
                  <a:pt x="1734710" y="3153217"/>
                </a:cubicBezTo>
                <a:cubicBezTo>
                  <a:pt x="1731065" y="3153217"/>
                  <a:pt x="1732888" y="3156862"/>
                  <a:pt x="1729243" y="3156862"/>
                </a:cubicBezTo>
                <a:cubicBezTo>
                  <a:pt x="1731065" y="3155038"/>
                  <a:pt x="1729243" y="3151395"/>
                  <a:pt x="1729243" y="3151395"/>
                </a:cubicBezTo>
                <a:close/>
                <a:moveTo>
                  <a:pt x="3197916" y="3151390"/>
                </a:moveTo>
                <a:lnTo>
                  <a:pt x="3166939" y="3158678"/>
                </a:lnTo>
                <a:lnTo>
                  <a:pt x="3166939" y="3180544"/>
                </a:lnTo>
                <a:cubicBezTo>
                  <a:pt x="3203382" y="3178721"/>
                  <a:pt x="3181516" y="3189655"/>
                  <a:pt x="3197916" y="3165966"/>
                </a:cubicBezTo>
                <a:cubicBezTo>
                  <a:pt x="3219782" y="3173256"/>
                  <a:pt x="3205204" y="3178721"/>
                  <a:pt x="3212493" y="3158678"/>
                </a:cubicBezTo>
                <a:close/>
                <a:moveTo>
                  <a:pt x="3385601" y="3149590"/>
                </a:moveTo>
                <a:lnTo>
                  <a:pt x="3385601" y="3164161"/>
                </a:lnTo>
                <a:lnTo>
                  <a:pt x="3407467" y="3164161"/>
                </a:lnTo>
                <a:cubicBezTo>
                  <a:pt x="3402000" y="3186020"/>
                  <a:pt x="3409289" y="3175091"/>
                  <a:pt x="3392889" y="3186020"/>
                </a:cubicBezTo>
                <a:cubicBezTo>
                  <a:pt x="3381956" y="3156875"/>
                  <a:pt x="3392889" y="3186020"/>
                  <a:pt x="3371023" y="3156875"/>
                </a:cubicBezTo>
                <a:close/>
                <a:moveTo>
                  <a:pt x="4305797" y="3149581"/>
                </a:moveTo>
                <a:lnTo>
                  <a:pt x="4322197" y="3149581"/>
                </a:lnTo>
                <a:lnTo>
                  <a:pt x="4307619" y="3165976"/>
                </a:lnTo>
                <a:close/>
                <a:moveTo>
                  <a:pt x="1226323" y="3147762"/>
                </a:moveTo>
                <a:lnTo>
                  <a:pt x="1228145" y="3171444"/>
                </a:lnTo>
                <a:lnTo>
                  <a:pt x="1211745" y="3162337"/>
                </a:lnTo>
                <a:close/>
                <a:moveTo>
                  <a:pt x="3336401" y="3136811"/>
                </a:moveTo>
                <a:lnTo>
                  <a:pt x="3338223" y="3138635"/>
                </a:lnTo>
                <a:lnTo>
                  <a:pt x="3332756" y="3145922"/>
                </a:lnTo>
                <a:cubicBezTo>
                  <a:pt x="3323645" y="3151389"/>
                  <a:pt x="3314534" y="3156856"/>
                  <a:pt x="3305424" y="3162322"/>
                </a:cubicBezTo>
                <a:lnTo>
                  <a:pt x="3310890" y="3156856"/>
                </a:lnTo>
                <a:lnTo>
                  <a:pt x="3301779" y="3151389"/>
                </a:lnTo>
                <a:cubicBezTo>
                  <a:pt x="3312712" y="3147744"/>
                  <a:pt x="3323645" y="3142278"/>
                  <a:pt x="3336401" y="3136811"/>
                </a:cubicBezTo>
                <a:close/>
                <a:moveTo>
                  <a:pt x="1251834" y="3133196"/>
                </a:moveTo>
                <a:cubicBezTo>
                  <a:pt x="1273701" y="3140482"/>
                  <a:pt x="1266413" y="3131374"/>
                  <a:pt x="1259122" y="3149590"/>
                </a:cubicBezTo>
                <a:lnTo>
                  <a:pt x="1275524" y="3151412"/>
                </a:lnTo>
                <a:lnTo>
                  <a:pt x="1259122" y="3164163"/>
                </a:lnTo>
                <a:cubicBezTo>
                  <a:pt x="1268234" y="3184198"/>
                  <a:pt x="1271879" y="3171447"/>
                  <a:pt x="1251834" y="3186020"/>
                </a:cubicBezTo>
                <a:cubicBezTo>
                  <a:pt x="1250011" y="3153233"/>
                  <a:pt x="1253656" y="3171447"/>
                  <a:pt x="1237256" y="3147770"/>
                </a:cubicBezTo>
                <a:lnTo>
                  <a:pt x="1251834" y="3147770"/>
                </a:lnTo>
                <a:close/>
                <a:moveTo>
                  <a:pt x="1295565" y="3133192"/>
                </a:moveTo>
                <a:lnTo>
                  <a:pt x="1326543" y="3133192"/>
                </a:lnTo>
                <a:lnTo>
                  <a:pt x="1326543" y="3149569"/>
                </a:lnTo>
                <a:lnTo>
                  <a:pt x="1333831" y="3142281"/>
                </a:lnTo>
                <a:lnTo>
                  <a:pt x="1346586" y="3145925"/>
                </a:lnTo>
                <a:cubicBezTo>
                  <a:pt x="1344764" y="3151390"/>
                  <a:pt x="1342942" y="3155034"/>
                  <a:pt x="1341120" y="3158681"/>
                </a:cubicBezTo>
                <a:cubicBezTo>
                  <a:pt x="1335653" y="3156858"/>
                  <a:pt x="1332009" y="3153214"/>
                  <a:pt x="1326542" y="3151390"/>
                </a:cubicBezTo>
                <a:lnTo>
                  <a:pt x="1326542" y="3149588"/>
                </a:lnTo>
                <a:lnTo>
                  <a:pt x="1295565" y="3142300"/>
                </a:lnTo>
                <a:close/>
                <a:moveTo>
                  <a:pt x="3152361" y="3133169"/>
                </a:moveTo>
                <a:cubicBezTo>
                  <a:pt x="3135962" y="3145922"/>
                  <a:pt x="3141428" y="3142278"/>
                  <a:pt x="3141428" y="3158678"/>
                </a:cubicBezTo>
                <a:cubicBezTo>
                  <a:pt x="3141428" y="3178721"/>
                  <a:pt x="3126851" y="3169612"/>
                  <a:pt x="3152361" y="3178721"/>
                </a:cubicBezTo>
                <a:close/>
                <a:moveTo>
                  <a:pt x="1160725" y="3125911"/>
                </a:moveTo>
                <a:cubicBezTo>
                  <a:pt x="1208102" y="3142306"/>
                  <a:pt x="1140681" y="3122269"/>
                  <a:pt x="1178946" y="3145946"/>
                </a:cubicBezTo>
                <a:cubicBezTo>
                  <a:pt x="1202636" y="3162341"/>
                  <a:pt x="1202636" y="3136840"/>
                  <a:pt x="1206280" y="3178734"/>
                </a:cubicBezTo>
                <a:cubicBezTo>
                  <a:pt x="1173481" y="3162341"/>
                  <a:pt x="1191703" y="3180556"/>
                  <a:pt x="1182592" y="3155054"/>
                </a:cubicBezTo>
                <a:lnTo>
                  <a:pt x="1162547" y="3171447"/>
                </a:lnTo>
                <a:lnTo>
                  <a:pt x="1157080" y="3142306"/>
                </a:lnTo>
                <a:close/>
                <a:moveTo>
                  <a:pt x="3378312" y="3125907"/>
                </a:moveTo>
                <a:lnTo>
                  <a:pt x="3402000" y="3135014"/>
                </a:lnTo>
                <a:lnTo>
                  <a:pt x="3385601" y="3149588"/>
                </a:lnTo>
                <a:lnTo>
                  <a:pt x="3380134" y="3140478"/>
                </a:lnTo>
                <a:lnTo>
                  <a:pt x="3371023" y="3133192"/>
                </a:lnTo>
                <a:close/>
                <a:moveTo>
                  <a:pt x="3356445" y="3125898"/>
                </a:moveTo>
                <a:lnTo>
                  <a:pt x="3371023" y="3133186"/>
                </a:lnTo>
                <a:lnTo>
                  <a:pt x="3347334" y="3140473"/>
                </a:lnTo>
                <a:close/>
                <a:moveTo>
                  <a:pt x="3416576" y="3098588"/>
                </a:moveTo>
                <a:cubicBezTo>
                  <a:pt x="3425687" y="3098588"/>
                  <a:pt x="3425687" y="3100410"/>
                  <a:pt x="3431154" y="3107696"/>
                </a:cubicBezTo>
                <a:cubicBezTo>
                  <a:pt x="3431154" y="3107696"/>
                  <a:pt x="3427509" y="3111340"/>
                  <a:pt x="3425687" y="3111340"/>
                </a:cubicBezTo>
                <a:cubicBezTo>
                  <a:pt x="3418399" y="3111340"/>
                  <a:pt x="3418399" y="3105876"/>
                  <a:pt x="3416576" y="3098588"/>
                </a:cubicBezTo>
                <a:close/>
                <a:moveTo>
                  <a:pt x="1326543" y="3096753"/>
                </a:moveTo>
                <a:lnTo>
                  <a:pt x="1333831" y="3111327"/>
                </a:lnTo>
                <a:lnTo>
                  <a:pt x="1310143" y="3109503"/>
                </a:lnTo>
                <a:close/>
                <a:moveTo>
                  <a:pt x="1204457" y="3094934"/>
                </a:moveTo>
                <a:lnTo>
                  <a:pt x="1206279" y="3118614"/>
                </a:lnTo>
                <a:lnTo>
                  <a:pt x="1189879" y="3109505"/>
                </a:lnTo>
                <a:close/>
                <a:moveTo>
                  <a:pt x="1115170" y="3089474"/>
                </a:moveTo>
                <a:lnTo>
                  <a:pt x="1138858" y="3089474"/>
                </a:lnTo>
                <a:lnTo>
                  <a:pt x="1116992" y="3113157"/>
                </a:lnTo>
                <a:close/>
                <a:moveTo>
                  <a:pt x="3536839" y="3089463"/>
                </a:moveTo>
                <a:lnTo>
                  <a:pt x="3553239" y="3089463"/>
                </a:lnTo>
                <a:lnTo>
                  <a:pt x="3538661" y="3105859"/>
                </a:lnTo>
                <a:close/>
                <a:moveTo>
                  <a:pt x="3753679" y="3087659"/>
                </a:moveTo>
                <a:cubicBezTo>
                  <a:pt x="3788300" y="3091303"/>
                  <a:pt x="3768256" y="3087659"/>
                  <a:pt x="3793767" y="3104052"/>
                </a:cubicBezTo>
                <a:lnTo>
                  <a:pt x="3777367" y="3125911"/>
                </a:lnTo>
                <a:cubicBezTo>
                  <a:pt x="3760967" y="3114981"/>
                  <a:pt x="3770078" y="3116803"/>
                  <a:pt x="3746390" y="3105874"/>
                </a:cubicBezTo>
                <a:lnTo>
                  <a:pt x="3762790" y="3102230"/>
                </a:lnTo>
                <a:close/>
                <a:moveTo>
                  <a:pt x="1381208" y="3087625"/>
                </a:moveTo>
                <a:cubicBezTo>
                  <a:pt x="1383030" y="3089446"/>
                  <a:pt x="1383030" y="3091268"/>
                  <a:pt x="1384854" y="3093090"/>
                </a:cubicBezTo>
                <a:cubicBezTo>
                  <a:pt x="1384854" y="3091268"/>
                  <a:pt x="1383030" y="3091268"/>
                  <a:pt x="1383030" y="3091268"/>
                </a:cubicBezTo>
                <a:cubicBezTo>
                  <a:pt x="1381208" y="3089446"/>
                  <a:pt x="1381208" y="3089446"/>
                  <a:pt x="1381208" y="3087625"/>
                </a:cubicBezTo>
                <a:close/>
                <a:moveTo>
                  <a:pt x="4056161" y="3080367"/>
                </a:moveTo>
                <a:lnTo>
                  <a:pt x="4065272" y="3089476"/>
                </a:lnTo>
                <a:lnTo>
                  <a:pt x="4056161" y="3104048"/>
                </a:lnTo>
                <a:lnTo>
                  <a:pt x="4041583" y="3094940"/>
                </a:lnTo>
                <a:close/>
                <a:moveTo>
                  <a:pt x="1235434" y="3080358"/>
                </a:moveTo>
                <a:lnTo>
                  <a:pt x="1242722" y="3096755"/>
                </a:lnTo>
                <a:lnTo>
                  <a:pt x="1219034" y="3094934"/>
                </a:lnTo>
                <a:close/>
                <a:moveTo>
                  <a:pt x="1280988" y="3074909"/>
                </a:moveTo>
                <a:lnTo>
                  <a:pt x="1304676" y="3074909"/>
                </a:lnTo>
                <a:lnTo>
                  <a:pt x="1297388" y="3089481"/>
                </a:lnTo>
                <a:cubicBezTo>
                  <a:pt x="1311966" y="3113159"/>
                  <a:pt x="1308321" y="3105874"/>
                  <a:pt x="1290099" y="3118623"/>
                </a:cubicBezTo>
                <a:lnTo>
                  <a:pt x="1280988" y="3096766"/>
                </a:lnTo>
                <a:cubicBezTo>
                  <a:pt x="1290099" y="3078551"/>
                  <a:pt x="1288277" y="3094944"/>
                  <a:pt x="1280988" y="3074909"/>
                </a:cubicBezTo>
                <a:close/>
                <a:moveTo>
                  <a:pt x="4522635" y="3074896"/>
                </a:moveTo>
                <a:lnTo>
                  <a:pt x="4548147" y="3074896"/>
                </a:lnTo>
                <a:lnTo>
                  <a:pt x="4539036" y="3089470"/>
                </a:lnTo>
                <a:close/>
                <a:moveTo>
                  <a:pt x="4200112" y="3073083"/>
                </a:moveTo>
                <a:lnTo>
                  <a:pt x="4207400" y="3094940"/>
                </a:lnTo>
                <a:lnTo>
                  <a:pt x="4185534" y="3094940"/>
                </a:lnTo>
                <a:cubicBezTo>
                  <a:pt x="4189179" y="3074903"/>
                  <a:pt x="4181890" y="3084011"/>
                  <a:pt x="4200112" y="3073083"/>
                </a:cubicBezTo>
                <a:close/>
                <a:moveTo>
                  <a:pt x="3394711" y="3073083"/>
                </a:moveTo>
                <a:lnTo>
                  <a:pt x="3416577" y="3073083"/>
                </a:lnTo>
                <a:cubicBezTo>
                  <a:pt x="3409288" y="3093120"/>
                  <a:pt x="3411110" y="3080371"/>
                  <a:pt x="3416577" y="3104050"/>
                </a:cubicBezTo>
                <a:cubicBezTo>
                  <a:pt x="3376488" y="3093120"/>
                  <a:pt x="3405644" y="3102230"/>
                  <a:pt x="3394711" y="3073083"/>
                </a:cubicBezTo>
                <a:close/>
                <a:moveTo>
                  <a:pt x="3443909" y="3071253"/>
                </a:moveTo>
                <a:lnTo>
                  <a:pt x="3445731" y="3096756"/>
                </a:lnTo>
                <a:lnTo>
                  <a:pt x="3429331" y="3087648"/>
                </a:lnTo>
                <a:close/>
                <a:moveTo>
                  <a:pt x="3356444" y="3065746"/>
                </a:moveTo>
                <a:cubicBezTo>
                  <a:pt x="3365555" y="3069392"/>
                  <a:pt x="3372844" y="3074858"/>
                  <a:pt x="3381955" y="3080324"/>
                </a:cubicBezTo>
                <a:cubicBezTo>
                  <a:pt x="3378310" y="3080324"/>
                  <a:pt x="3376488" y="3080324"/>
                  <a:pt x="3374666" y="3080324"/>
                </a:cubicBezTo>
                <a:cubicBezTo>
                  <a:pt x="3369199" y="3078502"/>
                  <a:pt x="3365555" y="3074858"/>
                  <a:pt x="3361911" y="3073036"/>
                </a:cubicBezTo>
                <a:cubicBezTo>
                  <a:pt x="3360089" y="3071214"/>
                  <a:pt x="3358267" y="3069392"/>
                  <a:pt x="3356444" y="3065746"/>
                </a:cubicBezTo>
                <a:close/>
                <a:moveTo>
                  <a:pt x="1069616" y="3058503"/>
                </a:moveTo>
                <a:lnTo>
                  <a:pt x="1076904" y="3080364"/>
                </a:lnTo>
                <a:lnTo>
                  <a:pt x="1055038" y="3080364"/>
                </a:lnTo>
                <a:cubicBezTo>
                  <a:pt x="1058683" y="3073077"/>
                  <a:pt x="1060505" y="3067611"/>
                  <a:pt x="1060505" y="3063969"/>
                </a:cubicBezTo>
                <a:cubicBezTo>
                  <a:pt x="1062327" y="3062147"/>
                  <a:pt x="1065971" y="3060325"/>
                  <a:pt x="1069616" y="3058503"/>
                </a:cubicBezTo>
                <a:close/>
                <a:moveTo>
                  <a:pt x="993085" y="3056696"/>
                </a:moveTo>
                <a:lnTo>
                  <a:pt x="1002196" y="3071270"/>
                </a:lnTo>
                <a:lnTo>
                  <a:pt x="1014951" y="3063982"/>
                </a:lnTo>
                <a:lnTo>
                  <a:pt x="1038639" y="3093127"/>
                </a:lnTo>
                <a:lnTo>
                  <a:pt x="1069616" y="3093127"/>
                </a:lnTo>
                <a:cubicBezTo>
                  <a:pt x="1076905" y="3116805"/>
                  <a:pt x="1087838" y="3125913"/>
                  <a:pt x="1107882" y="3138662"/>
                </a:cubicBezTo>
                <a:lnTo>
                  <a:pt x="1100593" y="3153233"/>
                </a:lnTo>
                <a:lnTo>
                  <a:pt x="1122459" y="3153233"/>
                </a:lnTo>
                <a:lnTo>
                  <a:pt x="1115171" y="3176914"/>
                </a:lnTo>
                <a:lnTo>
                  <a:pt x="1124282" y="3191484"/>
                </a:lnTo>
                <a:lnTo>
                  <a:pt x="1115171" y="3206057"/>
                </a:lnTo>
                <a:lnTo>
                  <a:pt x="1122459" y="3220647"/>
                </a:lnTo>
                <a:cubicBezTo>
                  <a:pt x="1113349" y="3220647"/>
                  <a:pt x="1115171" y="3217002"/>
                  <a:pt x="1115171" y="3227940"/>
                </a:cubicBezTo>
                <a:cubicBezTo>
                  <a:pt x="1115171" y="3257110"/>
                  <a:pt x="1113349" y="3229772"/>
                  <a:pt x="1122459" y="3242520"/>
                </a:cubicBezTo>
                <a:cubicBezTo>
                  <a:pt x="1115171" y="3262572"/>
                  <a:pt x="1115171" y="3246174"/>
                  <a:pt x="1122459" y="3264395"/>
                </a:cubicBezTo>
                <a:lnTo>
                  <a:pt x="1100593" y="3280798"/>
                </a:lnTo>
                <a:lnTo>
                  <a:pt x="1106060" y="3293563"/>
                </a:lnTo>
                <a:lnTo>
                  <a:pt x="1102946" y="3307573"/>
                </a:lnTo>
                <a:lnTo>
                  <a:pt x="1138860" y="3299017"/>
                </a:lnTo>
                <a:lnTo>
                  <a:pt x="1137039" y="3329996"/>
                </a:lnTo>
                <a:lnTo>
                  <a:pt x="1100593" y="3322715"/>
                </a:lnTo>
                <a:lnTo>
                  <a:pt x="1100593" y="3310184"/>
                </a:lnTo>
                <a:lnTo>
                  <a:pt x="1087838" y="3311780"/>
                </a:lnTo>
                <a:lnTo>
                  <a:pt x="1064151" y="3340928"/>
                </a:lnTo>
                <a:lnTo>
                  <a:pt x="1040462" y="3340928"/>
                </a:lnTo>
                <a:lnTo>
                  <a:pt x="1047750" y="3355517"/>
                </a:lnTo>
                <a:cubicBezTo>
                  <a:pt x="1002196" y="3359159"/>
                  <a:pt x="1031351" y="3370095"/>
                  <a:pt x="1002196" y="3370095"/>
                </a:cubicBezTo>
                <a:lnTo>
                  <a:pt x="991263" y="3370095"/>
                </a:lnTo>
                <a:cubicBezTo>
                  <a:pt x="962108" y="3370095"/>
                  <a:pt x="987619" y="3368273"/>
                  <a:pt x="976686" y="3377342"/>
                </a:cubicBezTo>
                <a:cubicBezTo>
                  <a:pt x="958464" y="3368273"/>
                  <a:pt x="974863" y="3370095"/>
                  <a:pt x="954819" y="3377342"/>
                </a:cubicBezTo>
                <a:cubicBezTo>
                  <a:pt x="936598" y="3362810"/>
                  <a:pt x="922020" y="3364627"/>
                  <a:pt x="901976" y="3346398"/>
                </a:cubicBezTo>
                <a:lnTo>
                  <a:pt x="887399" y="3353696"/>
                </a:lnTo>
                <a:cubicBezTo>
                  <a:pt x="869177" y="3331819"/>
                  <a:pt x="891043" y="3342752"/>
                  <a:pt x="856422" y="3339103"/>
                </a:cubicBezTo>
                <a:lnTo>
                  <a:pt x="856422" y="3324535"/>
                </a:lnTo>
                <a:lnTo>
                  <a:pt x="841845" y="3324535"/>
                </a:lnTo>
                <a:lnTo>
                  <a:pt x="840022" y="3302667"/>
                </a:lnTo>
                <a:lnTo>
                  <a:pt x="827267" y="3286268"/>
                </a:lnTo>
                <a:cubicBezTo>
                  <a:pt x="818156" y="3291745"/>
                  <a:pt x="819979" y="3293563"/>
                  <a:pt x="805401" y="3293563"/>
                </a:cubicBezTo>
                <a:lnTo>
                  <a:pt x="798112" y="3293563"/>
                </a:lnTo>
                <a:cubicBezTo>
                  <a:pt x="768959" y="3293563"/>
                  <a:pt x="796290" y="3295374"/>
                  <a:pt x="774424" y="3284446"/>
                </a:cubicBezTo>
                <a:lnTo>
                  <a:pt x="798112" y="3255282"/>
                </a:lnTo>
                <a:lnTo>
                  <a:pt x="819979" y="3255282"/>
                </a:lnTo>
                <a:cubicBezTo>
                  <a:pt x="812690" y="3235234"/>
                  <a:pt x="812690" y="3251638"/>
                  <a:pt x="819979" y="3233414"/>
                </a:cubicBezTo>
                <a:lnTo>
                  <a:pt x="807223" y="3227940"/>
                </a:lnTo>
                <a:cubicBezTo>
                  <a:pt x="812690" y="3213355"/>
                  <a:pt x="812690" y="3206057"/>
                  <a:pt x="807223" y="3191484"/>
                </a:cubicBezTo>
                <a:lnTo>
                  <a:pt x="821801" y="3182376"/>
                </a:lnTo>
                <a:lnTo>
                  <a:pt x="814512" y="3167807"/>
                </a:lnTo>
                <a:cubicBezTo>
                  <a:pt x="819979" y="3162339"/>
                  <a:pt x="821801" y="3158699"/>
                  <a:pt x="823623" y="3156877"/>
                </a:cubicBezTo>
                <a:cubicBezTo>
                  <a:pt x="827267" y="3156877"/>
                  <a:pt x="830912" y="3156877"/>
                  <a:pt x="838200" y="3153233"/>
                </a:cubicBezTo>
                <a:lnTo>
                  <a:pt x="830912" y="3140482"/>
                </a:lnTo>
                <a:lnTo>
                  <a:pt x="889222" y="3078555"/>
                </a:lnTo>
                <a:cubicBezTo>
                  <a:pt x="920198" y="3078555"/>
                  <a:pt x="922020" y="3074912"/>
                  <a:pt x="942064" y="3063982"/>
                </a:cubicBezTo>
                <a:lnTo>
                  <a:pt x="956642" y="3063982"/>
                </a:lnTo>
                <a:lnTo>
                  <a:pt x="971219" y="3063982"/>
                </a:lnTo>
                <a:cubicBezTo>
                  <a:pt x="1000374" y="3063982"/>
                  <a:pt x="973041" y="3065804"/>
                  <a:pt x="993085" y="3056696"/>
                </a:cubicBezTo>
                <a:close/>
                <a:moveTo>
                  <a:pt x="1059993" y="3056283"/>
                </a:moveTo>
                <a:cubicBezTo>
                  <a:pt x="1061303" y="3056453"/>
                  <a:pt x="1061872" y="3058503"/>
                  <a:pt x="1060506" y="3063967"/>
                </a:cubicBezTo>
                <a:cubicBezTo>
                  <a:pt x="1045473" y="3072165"/>
                  <a:pt x="1056064" y="3055769"/>
                  <a:pt x="1059993" y="3056283"/>
                </a:cubicBezTo>
                <a:close/>
                <a:moveTo>
                  <a:pt x="1220856" y="3053046"/>
                </a:moveTo>
                <a:lnTo>
                  <a:pt x="1229969" y="3058512"/>
                </a:lnTo>
                <a:cubicBezTo>
                  <a:pt x="1215390" y="3078549"/>
                  <a:pt x="1226323" y="3073083"/>
                  <a:pt x="1198990" y="3080369"/>
                </a:cubicBezTo>
                <a:cubicBezTo>
                  <a:pt x="1206279" y="3054868"/>
                  <a:pt x="1200812" y="3063976"/>
                  <a:pt x="1220856" y="3053046"/>
                </a:cubicBezTo>
                <a:close/>
                <a:moveTo>
                  <a:pt x="3303601" y="3045703"/>
                </a:moveTo>
                <a:cubicBezTo>
                  <a:pt x="3307246" y="3049349"/>
                  <a:pt x="3312712" y="3051171"/>
                  <a:pt x="3316357" y="3054815"/>
                </a:cubicBezTo>
                <a:cubicBezTo>
                  <a:pt x="3305423" y="3054815"/>
                  <a:pt x="3294491" y="3054815"/>
                  <a:pt x="3285380" y="3058459"/>
                </a:cubicBezTo>
                <a:cubicBezTo>
                  <a:pt x="3272625" y="3062102"/>
                  <a:pt x="3258047" y="3065746"/>
                  <a:pt x="3248936" y="3074858"/>
                </a:cubicBezTo>
                <a:cubicBezTo>
                  <a:pt x="3247114" y="3076680"/>
                  <a:pt x="3256225" y="3076680"/>
                  <a:pt x="3258047" y="3076680"/>
                </a:cubicBezTo>
                <a:cubicBezTo>
                  <a:pt x="3268980" y="3071214"/>
                  <a:pt x="3281735" y="3067570"/>
                  <a:pt x="3292668" y="3063924"/>
                </a:cubicBezTo>
                <a:cubicBezTo>
                  <a:pt x="3296313" y="3062102"/>
                  <a:pt x="3301779" y="3062102"/>
                  <a:pt x="3305423" y="3062102"/>
                </a:cubicBezTo>
                <a:cubicBezTo>
                  <a:pt x="3289024" y="3067570"/>
                  <a:pt x="3270802" y="3076680"/>
                  <a:pt x="3259869" y="3085792"/>
                </a:cubicBezTo>
                <a:cubicBezTo>
                  <a:pt x="3259869" y="3087614"/>
                  <a:pt x="3261691" y="3096724"/>
                  <a:pt x="3263514" y="3096724"/>
                </a:cubicBezTo>
                <a:cubicBezTo>
                  <a:pt x="3279913" y="3098548"/>
                  <a:pt x="3294491" y="3093080"/>
                  <a:pt x="3310890" y="3089436"/>
                </a:cubicBezTo>
                <a:cubicBezTo>
                  <a:pt x="3314534" y="3089436"/>
                  <a:pt x="3318179" y="3087614"/>
                  <a:pt x="3321823" y="3087614"/>
                </a:cubicBezTo>
                <a:lnTo>
                  <a:pt x="3325467" y="3093080"/>
                </a:lnTo>
                <a:cubicBezTo>
                  <a:pt x="3314534" y="3094902"/>
                  <a:pt x="3303601" y="3096724"/>
                  <a:pt x="3294491" y="3100370"/>
                </a:cubicBezTo>
                <a:lnTo>
                  <a:pt x="3289024" y="3094902"/>
                </a:lnTo>
                <a:lnTo>
                  <a:pt x="3283557" y="3104013"/>
                </a:lnTo>
                <a:cubicBezTo>
                  <a:pt x="3281735" y="3104013"/>
                  <a:pt x="3279913" y="3104013"/>
                  <a:pt x="3278091" y="3105835"/>
                </a:cubicBezTo>
                <a:cubicBezTo>
                  <a:pt x="3272625" y="3107657"/>
                  <a:pt x="3278091" y="3114945"/>
                  <a:pt x="3281735" y="3114945"/>
                </a:cubicBezTo>
                <a:cubicBezTo>
                  <a:pt x="3285380" y="3113123"/>
                  <a:pt x="3289024" y="3113123"/>
                  <a:pt x="3292668" y="3113123"/>
                </a:cubicBezTo>
                <a:lnTo>
                  <a:pt x="3294491" y="3114945"/>
                </a:lnTo>
                <a:lnTo>
                  <a:pt x="3296313" y="3113123"/>
                </a:lnTo>
                <a:cubicBezTo>
                  <a:pt x="3309068" y="3111301"/>
                  <a:pt x="3323645" y="3109479"/>
                  <a:pt x="3336401" y="3109479"/>
                </a:cubicBezTo>
                <a:cubicBezTo>
                  <a:pt x="3341867" y="3109479"/>
                  <a:pt x="3347334" y="3109479"/>
                  <a:pt x="3352800" y="3109479"/>
                </a:cubicBezTo>
                <a:cubicBezTo>
                  <a:pt x="3350978" y="3109479"/>
                  <a:pt x="3350978" y="3111301"/>
                  <a:pt x="3350978" y="3111301"/>
                </a:cubicBezTo>
                <a:cubicBezTo>
                  <a:pt x="3332756" y="3114945"/>
                  <a:pt x="3314534" y="3114945"/>
                  <a:pt x="3299957" y="3124057"/>
                </a:cubicBezTo>
                <a:cubicBezTo>
                  <a:pt x="3294491" y="3127701"/>
                  <a:pt x="3303601" y="3131347"/>
                  <a:pt x="3307246" y="3129523"/>
                </a:cubicBezTo>
                <a:cubicBezTo>
                  <a:pt x="3316357" y="3125879"/>
                  <a:pt x="3325467" y="3125879"/>
                  <a:pt x="3336401" y="3124057"/>
                </a:cubicBezTo>
                <a:cubicBezTo>
                  <a:pt x="3334578" y="3125879"/>
                  <a:pt x="3334578" y="3125879"/>
                  <a:pt x="3332756" y="3125879"/>
                </a:cubicBezTo>
                <a:cubicBezTo>
                  <a:pt x="3321823" y="3129523"/>
                  <a:pt x="3310890" y="3134991"/>
                  <a:pt x="3299957" y="3138635"/>
                </a:cubicBezTo>
                <a:cubicBezTo>
                  <a:pt x="3287202" y="3138635"/>
                  <a:pt x="3274447" y="3136813"/>
                  <a:pt x="3261691" y="3133169"/>
                </a:cubicBezTo>
                <a:lnTo>
                  <a:pt x="3265336" y="3125879"/>
                </a:lnTo>
                <a:lnTo>
                  <a:pt x="3259869" y="3116767"/>
                </a:lnTo>
                <a:lnTo>
                  <a:pt x="3236181" y="3125879"/>
                </a:lnTo>
                <a:cubicBezTo>
                  <a:pt x="3223426" y="3122235"/>
                  <a:pt x="3210670" y="3116767"/>
                  <a:pt x="3197915" y="3111301"/>
                </a:cubicBezTo>
                <a:cubicBezTo>
                  <a:pt x="3201560" y="3107657"/>
                  <a:pt x="3205204" y="3104013"/>
                  <a:pt x="3208848" y="3100370"/>
                </a:cubicBezTo>
                <a:lnTo>
                  <a:pt x="3214315" y="3100370"/>
                </a:lnTo>
                <a:lnTo>
                  <a:pt x="3214315" y="3094902"/>
                </a:lnTo>
                <a:cubicBezTo>
                  <a:pt x="3239825" y="3071214"/>
                  <a:pt x="3270802" y="3049349"/>
                  <a:pt x="3303601" y="3045703"/>
                </a:cubicBezTo>
                <a:close/>
                <a:moveTo>
                  <a:pt x="3360431" y="3044680"/>
                </a:moveTo>
                <a:lnTo>
                  <a:pt x="3349157" y="3058458"/>
                </a:lnTo>
                <a:lnTo>
                  <a:pt x="3367377" y="3058458"/>
                </a:lnTo>
                <a:lnTo>
                  <a:pt x="3367377" y="3053055"/>
                </a:lnTo>
                <a:lnTo>
                  <a:pt x="3360088" y="3047589"/>
                </a:lnTo>
                <a:close/>
                <a:moveTo>
                  <a:pt x="3489863" y="3043804"/>
                </a:moveTo>
                <a:cubicBezTo>
                  <a:pt x="3495842" y="3043719"/>
                  <a:pt x="3484909" y="3044403"/>
                  <a:pt x="3498575" y="3051233"/>
                </a:cubicBezTo>
                <a:lnTo>
                  <a:pt x="3491287" y="3082197"/>
                </a:lnTo>
                <a:lnTo>
                  <a:pt x="3478531" y="3074912"/>
                </a:lnTo>
                <a:lnTo>
                  <a:pt x="3469426" y="3080371"/>
                </a:lnTo>
                <a:lnTo>
                  <a:pt x="3476709" y="3096753"/>
                </a:lnTo>
                <a:lnTo>
                  <a:pt x="3453020" y="3094931"/>
                </a:lnTo>
                <a:lnTo>
                  <a:pt x="3469409" y="3080367"/>
                </a:lnTo>
                <a:lnTo>
                  <a:pt x="3460310" y="3073089"/>
                </a:lnTo>
                <a:lnTo>
                  <a:pt x="3467598" y="3060338"/>
                </a:lnTo>
                <a:lnTo>
                  <a:pt x="3454843" y="3043945"/>
                </a:lnTo>
                <a:lnTo>
                  <a:pt x="3476709" y="3043945"/>
                </a:lnTo>
                <a:cubicBezTo>
                  <a:pt x="3483998" y="3043945"/>
                  <a:pt x="3487870" y="3043832"/>
                  <a:pt x="3489863" y="3043804"/>
                </a:cubicBezTo>
                <a:close/>
                <a:moveTo>
                  <a:pt x="4493481" y="3029350"/>
                </a:moveTo>
                <a:lnTo>
                  <a:pt x="4518993" y="3029350"/>
                </a:lnTo>
                <a:lnTo>
                  <a:pt x="4502592" y="3043924"/>
                </a:lnTo>
                <a:close/>
                <a:moveTo>
                  <a:pt x="3611550" y="3022084"/>
                </a:moveTo>
                <a:lnTo>
                  <a:pt x="3644349" y="3029369"/>
                </a:lnTo>
                <a:lnTo>
                  <a:pt x="3626128" y="3053048"/>
                </a:lnTo>
                <a:lnTo>
                  <a:pt x="3602439" y="3029369"/>
                </a:lnTo>
                <a:close/>
                <a:moveTo>
                  <a:pt x="1220858" y="3020262"/>
                </a:moveTo>
                <a:cubicBezTo>
                  <a:pt x="1240901" y="3020262"/>
                  <a:pt x="1242723" y="3031191"/>
                  <a:pt x="1250013" y="3042121"/>
                </a:cubicBezTo>
                <a:lnTo>
                  <a:pt x="1235434" y="3049406"/>
                </a:lnTo>
                <a:lnTo>
                  <a:pt x="1235434" y="3033015"/>
                </a:lnTo>
                <a:lnTo>
                  <a:pt x="1213568" y="3042121"/>
                </a:lnTo>
                <a:lnTo>
                  <a:pt x="1204457" y="3027550"/>
                </a:lnTo>
                <a:cubicBezTo>
                  <a:pt x="1206279" y="3027550"/>
                  <a:pt x="1219036" y="3020262"/>
                  <a:pt x="1220858" y="3020262"/>
                </a:cubicBezTo>
                <a:close/>
                <a:moveTo>
                  <a:pt x="3558707" y="3020251"/>
                </a:moveTo>
                <a:lnTo>
                  <a:pt x="3565996" y="3034827"/>
                </a:lnTo>
                <a:lnTo>
                  <a:pt x="3558707" y="3043934"/>
                </a:lnTo>
                <a:lnTo>
                  <a:pt x="3542307" y="3034827"/>
                </a:lnTo>
                <a:close/>
                <a:moveTo>
                  <a:pt x="1047750" y="3020234"/>
                </a:moveTo>
                <a:lnTo>
                  <a:pt x="1062328" y="3036629"/>
                </a:lnTo>
                <a:lnTo>
                  <a:pt x="1047750" y="3036629"/>
                </a:lnTo>
                <a:close/>
                <a:moveTo>
                  <a:pt x="3285379" y="3020194"/>
                </a:moveTo>
                <a:cubicBezTo>
                  <a:pt x="3305424" y="3031127"/>
                  <a:pt x="3325468" y="3045705"/>
                  <a:pt x="3343690" y="3058461"/>
                </a:cubicBezTo>
                <a:cubicBezTo>
                  <a:pt x="3347334" y="3060283"/>
                  <a:pt x="3350978" y="3063926"/>
                  <a:pt x="3354623" y="3065751"/>
                </a:cubicBezTo>
                <a:lnTo>
                  <a:pt x="3350978" y="3067570"/>
                </a:lnTo>
                <a:cubicBezTo>
                  <a:pt x="3350978" y="3067570"/>
                  <a:pt x="3349156" y="3065751"/>
                  <a:pt x="3349156" y="3065751"/>
                </a:cubicBezTo>
                <a:cubicBezTo>
                  <a:pt x="3327290" y="3051171"/>
                  <a:pt x="3305424" y="3036595"/>
                  <a:pt x="3285379" y="3020194"/>
                </a:cubicBezTo>
                <a:close/>
                <a:moveTo>
                  <a:pt x="3243470" y="3020194"/>
                </a:moveTo>
                <a:lnTo>
                  <a:pt x="3243470" y="3042059"/>
                </a:lnTo>
                <a:lnTo>
                  <a:pt x="3259869" y="3032949"/>
                </a:lnTo>
                <a:close/>
                <a:moveTo>
                  <a:pt x="1144326" y="3005686"/>
                </a:moveTo>
                <a:lnTo>
                  <a:pt x="1151614" y="3036655"/>
                </a:lnTo>
                <a:lnTo>
                  <a:pt x="1129748" y="3036655"/>
                </a:lnTo>
                <a:cubicBezTo>
                  <a:pt x="1133393" y="3002043"/>
                  <a:pt x="1122460" y="3022082"/>
                  <a:pt x="1144326" y="3005686"/>
                </a:cubicBezTo>
                <a:close/>
                <a:moveTo>
                  <a:pt x="1153436" y="3005657"/>
                </a:moveTo>
                <a:lnTo>
                  <a:pt x="1168014" y="3020236"/>
                </a:lnTo>
                <a:lnTo>
                  <a:pt x="1153436" y="3020236"/>
                </a:lnTo>
                <a:close/>
                <a:moveTo>
                  <a:pt x="1322899" y="3001972"/>
                </a:moveTo>
                <a:lnTo>
                  <a:pt x="1319254" y="3012906"/>
                </a:lnTo>
                <a:lnTo>
                  <a:pt x="1330188" y="3016550"/>
                </a:lnTo>
                <a:cubicBezTo>
                  <a:pt x="1328365" y="3014728"/>
                  <a:pt x="1328365" y="3014728"/>
                  <a:pt x="1326543" y="3011084"/>
                </a:cubicBezTo>
                <a:cubicBezTo>
                  <a:pt x="1322899" y="3003796"/>
                  <a:pt x="1322899" y="3003796"/>
                  <a:pt x="1322899" y="3001972"/>
                </a:cubicBezTo>
                <a:close/>
                <a:moveTo>
                  <a:pt x="3651636" y="3000223"/>
                </a:moveTo>
                <a:cubicBezTo>
                  <a:pt x="3655281" y="3002051"/>
                  <a:pt x="3657103" y="3002051"/>
                  <a:pt x="3653459" y="3009337"/>
                </a:cubicBezTo>
                <a:lnTo>
                  <a:pt x="3662569" y="3020266"/>
                </a:lnTo>
                <a:lnTo>
                  <a:pt x="3660747" y="3022090"/>
                </a:lnTo>
                <a:lnTo>
                  <a:pt x="3649814" y="3020266"/>
                </a:lnTo>
                <a:lnTo>
                  <a:pt x="3651636" y="3016624"/>
                </a:lnTo>
                <a:lnTo>
                  <a:pt x="3649814" y="3011159"/>
                </a:lnTo>
                <a:close/>
                <a:moveTo>
                  <a:pt x="3257052" y="2995652"/>
                </a:moveTo>
                <a:lnTo>
                  <a:pt x="3268253" y="2997372"/>
                </a:lnTo>
                <a:lnTo>
                  <a:pt x="3261009" y="2996506"/>
                </a:lnTo>
                <a:close/>
                <a:moveTo>
                  <a:pt x="3250758" y="2994684"/>
                </a:moveTo>
                <a:cubicBezTo>
                  <a:pt x="3252581" y="2994684"/>
                  <a:pt x="3252581" y="2994684"/>
                  <a:pt x="3252581" y="2994684"/>
                </a:cubicBezTo>
                <a:lnTo>
                  <a:pt x="3257052" y="2995652"/>
                </a:lnTo>
                <a:close/>
                <a:moveTo>
                  <a:pt x="1042283" y="2985592"/>
                </a:moveTo>
                <a:cubicBezTo>
                  <a:pt x="1042283" y="2987414"/>
                  <a:pt x="1042283" y="2989236"/>
                  <a:pt x="1042283" y="2992882"/>
                </a:cubicBezTo>
                <a:cubicBezTo>
                  <a:pt x="1042283" y="2991060"/>
                  <a:pt x="1040461" y="2991060"/>
                  <a:pt x="1040461" y="2991060"/>
                </a:cubicBezTo>
                <a:cubicBezTo>
                  <a:pt x="1040461" y="2989236"/>
                  <a:pt x="1042283" y="2987414"/>
                  <a:pt x="1042283" y="2985592"/>
                </a:cubicBezTo>
                <a:close/>
                <a:moveTo>
                  <a:pt x="3635237" y="2978366"/>
                </a:moveTo>
                <a:lnTo>
                  <a:pt x="3637059" y="2980185"/>
                </a:lnTo>
                <a:lnTo>
                  <a:pt x="3635237" y="2987476"/>
                </a:lnTo>
                <a:cubicBezTo>
                  <a:pt x="3635237" y="2987476"/>
                  <a:pt x="3637059" y="2992941"/>
                  <a:pt x="3637059" y="2992941"/>
                </a:cubicBezTo>
                <a:cubicBezTo>
                  <a:pt x="3637059" y="3003873"/>
                  <a:pt x="3637059" y="2994763"/>
                  <a:pt x="3635237" y="2998405"/>
                </a:cubicBezTo>
                <a:lnTo>
                  <a:pt x="3637059" y="3009337"/>
                </a:lnTo>
                <a:cubicBezTo>
                  <a:pt x="3629770" y="3011159"/>
                  <a:pt x="3631593" y="3009337"/>
                  <a:pt x="3629770" y="3016624"/>
                </a:cubicBezTo>
                <a:cubicBezTo>
                  <a:pt x="3618837" y="3009337"/>
                  <a:pt x="3627948" y="3018444"/>
                  <a:pt x="3624304" y="3007515"/>
                </a:cubicBezTo>
                <a:cubicBezTo>
                  <a:pt x="3626126" y="3005695"/>
                  <a:pt x="3629770" y="3005695"/>
                  <a:pt x="3629770" y="3002051"/>
                </a:cubicBezTo>
                <a:cubicBezTo>
                  <a:pt x="3629770" y="2994763"/>
                  <a:pt x="3627948" y="2998405"/>
                  <a:pt x="3624304" y="2994763"/>
                </a:cubicBezTo>
                <a:cubicBezTo>
                  <a:pt x="3626126" y="2987476"/>
                  <a:pt x="3626126" y="2992941"/>
                  <a:pt x="3624304" y="2987476"/>
                </a:cubicBezTo>
                <a:close/>
                <a:moveTo>
                  <a:pt x="3279913" y="2978366"/>
                </a:moveTo>
                <a:lnTo>
                  <a:pt x="3281735" y="2983832"/>
                </a:lnTo>
                <a:lnTo>
                  <a:pt x="3272624" y="2982010"/>
                </a:lnTo>
                <a:close/>
                <a:moveTo>
                  <a:pt x="3314535" y="2976463"/>
                </a:moveTo>
                <a:lnTo>
                  <a:pt x="3321824" y="2989216"/>
                </a:lnTo>
                <a:lnTo>
                  <a:pt x="3332757" y="2987397"/>
                </a:lnTo>
                <a:cubicBezTo>
                  <a:pt x="3334579" y="2987397"/>
                  <a:pt x="3334579" y="2987397"/>
                  <a:pt x="3336402" y="2987397"/>
                </a:cubicBezTo>
                <a:cubicBezTo>
                  <a:pt x="3338224" y="2987397"/>
                  <a:pt x="3340046" y="2985575"/>
                  <a:pt x="3341868" y="2985575"/>
                </a:cubicBezTo>
                <a:lnTo>
                  <a:pt x="3352801" y="2983751"/>
                </a:lnTo>
                <a:cubicBezTo>
                  <a:pt x="3352801" y="2981931"/>
                  <a:pt x="3352801" y="2981931"/>
                  <a:pt x="3352801" y="2981931"/>
                </a:cubicBezTo>
                <a:cubicBezTo>
                  <a:pt x="3356445" y="2981931"/>
                  <a:pt x="3358268" y="2980107"/>
                  <a:pt x="3361912" y="2980107"/>
                </a:cubicBezTo>
                <a:lnTo>
                  <a:pt x="3361912" y="2983751"/>
                </a:lnTo>
                <a:lnTo>
                  <a:pt x="3372845" y="2978285"/>
                </a:lnTo>
                <a:cubicBezTo>
                  <a:pt x="3374667" y="2978285"/>
                  <a:pt x="3376489" y="2978285"/>
                  <a:pt x="3378311" y="2978285"/>
                </a:cubicBezTo>
                <a:cubicBezTo>
                  <a:pt x="3378311" y="2980107"/>
                  <a:pt x="3378311" y="2980107"/>
                  <a:pt x="3378311" y="2981931"/>
                </a:cubicBezTo>
                <a:cubicBezTo>
                  <a:pt x="3369201" y="2985575"/>
                  <a:pt x="3358268" y="2989216"/>
                  <a:pt x="3347335" y="2992863"/>
                </a:cubicBezTo>
                <a:cubicBezTo>
                  <a:pt x="3345513" y="2992863"/>
                  <a:pt x="3354623" y="2994684"/>
                  <a:pt x="3356445" y="2994684"/>
                </a:cubicBezTo>
                <a:cubicBezTo>
                  <a:pt x="3363734" y="2992863"/>
                  <a:pt x="3372845" y="2991040"/>
                  <a:pt x="3380134" y="2989216"/>
                </a:cubicBezTo>
                <a:lnTo>
                  <a:pt x="3318179" y="3004764"/>
                </a:lnTo>
                <a:lnTo>
                  <a:pt x="3318179" y="3007515"/>
                </a:lnTo>
                <a:lnTo>
                  <a:pt x="3325468" y="3011161"/>
                </a:lnTo>
                <a:lnTo>
                  <a:pt x="3329112" y="3009337"/>
                </a:lnTo>
                <a:lnTo>
                  <a:pt x="3334578" y="3012980"/>
                </a:lnTo>
                <a:lnTo>
                  <a:pt x="3334311" y="3016550"/>
                </a:lnTo>
                <a:lnTo>
                  <a:pt x="3335489" y="3016550"/>
                </a:lnTo>
                <a:cubicBezTo>
                  <a:pt x="3352345" y="3014272"/>
                  <a:pt x="3369200" y="3010172"/>
                  <a:pt x="3385599" y="3005616"/>
                </a:cubicBezTo>
                <a:cubicBezTo>
                  <a:pt x="3389243" y="3018372"/>
                  <a:pt x="3394710" y="3027482"/>
                  <a:pt x="3401998" y="3040239"/>
                </a:cubicBezTo>
                <a:lnTo>
                  <a:pt x="3371021" y="3045705"/>
                </a:lnTo>
                <a:cubicBezTo>
                  <a:pt x="3376488" y="3040239"/>
                  <a:pt x="3380132" y="3038415"/>
                  <a:pt x="3381955" y="3036593"/>
                </a:cubicBezTo>
                <a:cubicBezTo>
                  <a:pt x="3381955" y="3034771"/>
                  <a:pt x="3381955" y="3029306"/>
                  <a:pt x="3385599" y="3022016"/>
                </a:cubicBezTo>
                <a:lnTo>
                  <a:pt x="3372844" y="3029306"/>
                </a:lnTo>
                <a:lnTo>
                  <a:pt x="3358266" y="3016550"/>
                </a:lnTo>
                <a:lnTo>
                  <a:pt x="3349157" y="3022623"/>
                </a:lnTo>
                <a:lnTo>
                  <a:pt x="3349157" y="3023908"/>
                </a:lnTo>
                <a:lnTo>
                  <a:pt x="3347420" y="3023908"/>
                </a:lnTo>
                <a:lnTo>
                  <a:pt x="3361806" y="3035417"/>
                </a:lnTo>
                <a:lnTo>
                  <a:pt x="3361911" y="3034837"/>
                </a:lnTo>
                <a:cubicBezTo>
                  <a:pt x="3367377" y="3033018"/>
                  <a:pt x="3361911" y="3036661"/>
                  <a:pt x="3369199" y="3033018"/>
                </a:cubicBezTo>
                <a:lnTo>
                  <a:pt x="3371021" y="3033018"/>
                </a:lnTo>
                <a:lnTo>
                  <a:pt x="3371021" y="3040303"/>
                </a:lnTo>
                <a:cubicBezTo>
                  <a:pt x="3371021" y="3051230"/>
                  <a:pt x="3369199" y="3042125"/>
                  <a:pt x="3372844" y="3045767"/>
                </a:cubicBezTo>
                <a:cubicBezTo>
                  <a:pt x="3371022" y="3050319"/>
                  <a:pt x="3371477" y="3052596"/>
                  <a:pt x="3371477" y="3054417"/>
                </a:cubicBezTo>
                <a:lnTo>
                  <a:pt x="3368679" y="3058458"/>
                </a:lnTo>
                <a:lnTo>
                  <a:pt x="3385599" y="3058458"/>
                </a:lnTo>
                <a:lnTo>
                  <a:pt x="3385599" y="3078502"/>
                </a:lnTo>
                <a:cubicBezTo>
                  <a:pt x="3376488" y="3074858"/>
                  <a:pt x="3369199" y="3069391"/>
                  <a:pt x="3358266" y="3063925"/>
                </a:cubicBezTo>
                <a:lnTo>
                  <a:pt x="3349157" y="3058459"/>
                </a:lnTo>
                <a:lnTo>
                  <a:pt x="3349155" y="3058461"/>
                </a:lnTo>
                <a:cubicBezTo>
                  <a:pt x="3329111" y="3045705"/>
                  <a:pt x="3310890" y="3034771"/>
                  <a:pt x="3292668" y="3022016"/>
                </a:cubicBezTo>
                <a:cubicBezTo>
                  <a:pt x="3290846" y="3020194"/>
                  <a:pt x="3287201" y="3018372"/>
                  <a:pt x="3285379" y="3016550"/>
                </a:cubicBezTo>
                <a:lnTo>
                  <a:pt x="3323063" y="3016550"/>
                </a:lnTo>
                <a:lnTo>
                  <a:pt x="3323645" y="3014802"/>
                </a:lnTo>
                <a:cubicBezTo>
                  <a:pt x="3319090" y="3013890"/>
                  <a:pt x="3316356" y="3013434"/>
                  <a:pt x="3314762" y="3012068"/>
                </a:cubicBezTo>
                <a:lnTo>
                  <a:pt x="3312797" y="3004212"/>
                </a:lnTo>
                <a:lnTo>
                  <a:pt x="3312042" y="3004097"/>
                </a:lnTo>
                <a:lnTo>
                  <a:pt x="3307246" y="3005695"/>
                </a:lnTo>
                <a:lnTo>
                  <a:pt x="3305116" y="3003033"/>
                </a:lnTo>
                <a:lnTo>
                  <a:pt x="3268253" y="2997372"/>
                </a:lnTo>
                <a:lnTo>
                  <a:pt x="3276270" y="2998328"/>
                </a:lnTo>
                <a:cubicBezTo>
                  <a:pt x="3272625" y="2992863"/>
                  <a:pt x="3272625" y="2991040"/>
                  <a:pt x="3270802" y="2989216"/>
                </a:cubicBezTo>
                <a:cubicBezTo>
                  <a:pt x="3285381" y="2985575"/>
                  <a:pt x="3299958" y="2980107"/>
                  <a:pt x="3314535" y="2976463"/>
                </a:cubicBezTo>
                <a:close/>
                <a:moveTo>
                  <a:pt x="3243470" y="2974643"/>
                </a:moveTo>
                <a:cubicBezTo>
                  <a:pt x="3244382" y="2976465"/>
                  <a:pt x="3245293" y="2978287"/>
                  <a:pt x="3246888" y="2979427"/>
                </a:cubicBezTo>
                <a:lnTo>
                  <a:pt x="3249933" y="2979702"/>
                </a:lnTo>
                <a:lnTo>
                  <a:pt x="3248936" y="2974722"/>
                </a:lnTo>
                <a:lnTo>
                  <a:pt x="3248976" y="2974643"/>
                </a:lnTo>
                <a:close/>
                <a:moveTo>
                  <a:pt x="3338223" y="2969175"/>
                </a:moveTo>
                <a:lnTo>
                  <a:pt x="3340045" y="2972821"/>
                </a:lnTo>
                <a:cubicBezTo>
                  <a:pt x="3340045" y="2972821"/>
                  <a:pt x="3338223" y="2974641"/>
                  <a:pt x="3338223" y="2974641"/>
                </a:cubicBezTo>
                <a:lnTo>
                  <a:pt x="3321823" y="2974641"/>
                </a:lnTo>
                <a:cubicBezTo>
                  <a:pt x="3327290" y="2974641"/>
                  <a:pt x="3332756" y="2972821"/>
                  <a:pt x="3338223" y="2969175"/>
                </a:cubicBezTo>
                <a:close/>
                <a:moveTo>
                  <a:pt x="1290100" y="2969173"/>
                </a:moveTo>
                <a:lnTo>
                  <a:pt x="1299210" y="2998328"/>
                </a:lnTo>
                <a:lnTo>
                  <a:pt x="1311966" y="2998328"/>
                </a:lnTo>
                <a:lnTo>
                  <a:pt x="1315610" y="2989216"/>
                </a:lnTo>
                <a:cubicBezTo>
                  <a:pt x="1315610" y="2987395"/>
                  <a:pt x="1313788" y="2985572"/>
                  <a:pt x="1313788" y="2983751"/>
                </a:cubicBezTo>
                <a:cubicBezTo>
                  <a:pt x="1313788" y="2983751"/>
                  <a:pt x="1315610" y="2985572"/>
                  <a:pt x="1315610" y="2985572"/>
                </a:cubicBezTo>
                <a:lnTo>
                  <a:pt x="1321077" y="2978285"/>
                </a:lnTo>
                <a:close/>
                <a:moveTo>
                  <a:pt x="3643437" y="2968802"/>
                </a:moveTo>
                <a:cubicBezTo>
                  <a:pt x="3643437" y="2968802"/>
                  <a:pt x="3643437" y="2969256"/>
                  <a:pt x="3646170" y="2971085"/>
                </a:cubicBezTo>
                <a:lnTo>
                  <a:pt x="3642526" y="2976544"/>
                </a:lnTo>
                <a:lnTo>
                  <a:pt x="3635237" y="2974722"/>
                </a:lnTo>
                <a:cubicBezTo>
                  <a:pt x="3637060" y="2972896"/>
                  <a:pt x="3637060" y="2969256"/>
                  <a:pt x="3640704" y="2969256"/>
                </a:cubicBezTo>
                <a:cubicBezTo>
                  <a:pt x="3643437" y="2969256"/>
                  <a:pt x="3643437" y="2968802"/>
                  <a:pt x="3643437" y="2968802"/>
                </a:cubicBezTo>
                <a:close/>
                <a:moveTo>
                  <a:pt x="1076905" y="2967360"/>
                </a:moveTo>
                <a:cubicBezTo>
                  <a:pt x="1069616" y="2983761"/>
                  <a:pt x="1069616" y="2989225"/>
                  <a:pt x="1076905" y="3005627"/>
                </a:cubicBezTo>
                <a:cubicBezTo>
                  <a:pt x="1053216" y="3001981"/>
                  <a:pt x="1058683" y="3003803"/>
                  <a:pt x="1051394" y="2998337"/>
                </a:cubicBezTo>
                <a:cubicBezTo>
                  <a:pt x="1053216" y="2996515"/>
                  <a:pt x="1056861" y="2992871"/>
                  <a:pt x="1060505" y="2991049"/>
                </a:cubicBezTo>
                <a:cubicBezTo>
                  <a:pt x="1062327" y="2989225"/>
                  <a:pt x="1062327" y="2987405"/>
                  <a:pt x="1062327" y="2985581"/>
                </a:cubicBezTo>
                <a:cubicBezTo>
                  <a:pt x="1064149" y="2983761"/>
                  <a:pt x="1067794" y="2981937"/>
                  <a:pt x="1069616" y="2978293"/>
                </a:cubicBezTo>
                <a:cubicBezTo>
                  <a:pt x="1071438" y="2974649"/>
                  <a:pt x="1075082" y="2971005"/>
                  <a:pt x="1076905" y="2967360"/>
                </a:cubicBezTo>
                <a:close/>
                <a:moveTo>
                  <a:pt x="3538662" y="2956515"/>
                </a:moveTo>
                <a:lnTo>
                  <a:pt x="3544129" y="2956515"/>
                </a:lnTo>
                <a:cubicBezTo>
                  <a:pt x="3540485" y="2965623"/>
                  <a:pt x="3538662" y="2963788"/>
                  <a:pt x="3538662" y="2963788"/>
                </a:cubicBezTo>
                <a:close/>
                <a:moveTo>
                  <a:pt x="3262751" y="2954320"/>
                </a:moveTo>
                <a:lnTo>
                  <a:pt x="3261692" y="2954600"/>
                </a:lnTo>
                <a:lnTo>
                  <a:pt x="3261676" y="2954655"/>
                </a:lnTo>
                <a:lnTo>
                  <a:pt x="3261691" y="2954676"/>
                </a:lnTo>
                <a:close/>
                <a:moveTo>
                  <a:pt x="3567818" y="2952835"/>
                </a:moveTo>
                <a:lnTo>
                  <a:pt x="3565996" y="2976529"/>
                </a:lnTo>
                <a:lnTo>
                  <a:pt x="3542307" y="2954664"/>
                </a:lnTo>
                <a:close/>
                <a:moveTo>
                  <a:pt x="1235434" y="2952773"/>
                </a:moveTo>
                <a:lnTo>
                  <a:pt x="1235434" y="2967351"/>
                </a:lnTo>
                <a:lnTo>
                  <a:pt x="1250012" y="2952773"/>
                </a:lnTo>
                <a:close/>
                <a:moveTo>
                  <a:pt x="3813982" y="2945413"/>
                </a:moveTo>
                <a:cubicBezTo>
                  <a:pt x="3819619" y="2945339"/>
                  <a:pt x="3808344" y="2946027"/>
                  <a:pt x="3824744" y="2952844"/>
                </a:cubicBezTo>
                <a:lnTo>
                  <a:pt x="3806522" y="2976540"/>
                </a:lnTo>
                <a:lnTo>
                  <a:pt x="3784656" y="2954674"/>
                </a:lnTo>
                <a:cubicBezTo>
                  <a:pt x="3786479" y="2952844"/>
                  <a:pt x="3799234" y="2945565"/>
                  <a:pt x="3801056" y="2945565"/>
                </a:cubicBezTo>
                <a:cubicBezTo>
                  <a:pt x="3808345" y="2945565"/>
                  <a:pt x="3812103" y="2945454"/>
                  <a:pt x="3813982" y="2945413"/>
                </a:cubicBezTo>
                <a:close/>
                <a:moveTo>
                  <a:pt x="3724524" y="2941935"/>
                </a:moveTo>
                <a:lnTo>
                  <a:pt x="3729990" y="2943766"/>
                </a:lnTo>
                <a:lnTo>
                  <a:pt x="3724524" y="2947397"/>
                </a:lnTo>
                <a:lnTo>
                  <a:pt x="3720879" y="2945571"/>
                </a:lnTo>
                <a:close/>
                <a:moveTo>
                  <a:pt x="3505862" y="2938251"/>
                </a:moveTo>
                <a:lnTo>
                  <a:pt x="3524084" y="2940080"/>
                </a:lnTo>
                <a:lnTo>
                  <a:pt x="3507685" y="2954647"/>
                </a:lnTo>
                <a:close/>
                <a:moveTo>
                  <a:pt x="3443909" y="2936431"/>
                </a:moveTo>
                <a:lnTo>
                  <a:pt x="3445731" y="2952823"/>
                </a:lnTo>
                <a:lnTo>
                  <a:pt x="3429331" y="2951009"/>
                </a:lnTo>
                <a:close/>
                <a:moveTo>
                  <a:pt x="4056160" y="2923684"/>
                </a:moveTo>
                <a:lnTo>
                  <a:pt x="4081671" y="2923684"/>
                </a:lnTo>
                <a:lnTo>
                  <a:pt x="4065271" y="2938260"/>
                </a:lnTo>
                <a:close/>
                <a:moveTo>
                  <a:pt x="3146895" y="2923625"/>
                </a:moveTo>
                <a:lnTo>
                  <a:pt x="3137784" y="2938200"/>
                </a:lnTo>
                <a:lnTo>
                  <a:pt x="3146895" y="2947312"/>
                </a:lnTo>
                <a:lnTo>
                  <a:pt x="3161473" y="2930912"/>
                </a:lnTo>
                <a:close/>
                <a:moveTo>
                  <a:pt x="3422043" y="2920068"/>
                </a:moveTo>
                <a:lnTo>
                  <a:pt x="3425512" y="2923865"/>
                </a:lnTo>
                <a:lnTo>
                  <a:pt x="3425688" y="2923710"/>
                </a:lnTo>
                <a:lnTo>
                  <a:pt x="3425622" y="2923987"/>
                </a:lnTo>
                <a:lnTo>
                  <a:pt x="3426827" y="2925312"/>
                </a:lnTo>
                <a:lnTo>
                  <a:pt x="3424946" y="2926838"/>
                </a:lnTo>
                <a:lnTo>
                  <a:pt x="3416577" y="2961970"/>
                </a:lnTo>
                <a:lnTo>
                  <a:pt x="3416577" y="2974722"/>
                </a:lnTo>
                <a:cubicBezTo>
                  <a:pt x="3434799" y="2989297"/>
                  <a:pt x="3440265" y="2989297"/>
                  <a:pt x="3447554" y="3012980"/>
                </a:cubicBezTo>
                <a:cubicBezTo>
                  <a:pt x="3420221" y="3005686"/>
                  <a:pt x="3431154" y="3003869"/>
                  <a:pt x="3409288" y="2989297"/>
                </a:cubicBezTo>
                <a:lnTo>
                  <a:pt x="3415916" y="2976041"/>
                </a:lnTo>
                <a:lnTo>
                  <a:pt x="3399494" y="2963554"/>
                </a:lnTo>
                <a:cubicBezTo>
                  <a:pt x="3396533" y="2959237"/>
                  <a:pt x="3395622" y="2952844"/>
                  <a:pt x="3394711" y="2938292"/>
                </a:cubicBezTo>
                <a:cubicBezTo>
                  <a:pt x="3405644" y="2937378"/>
                  <a:pt x="3410199" y="2936463"/>
                  <a:pt x="3413616" y="2934416"/>
                </a:cubicBezTo>
                <a:lnTo>
                  <a:pt x="3422043" y="2926957"/>
                </a:lnTo>
                <a:close/>
                <a:moveTo>
                  <a:pt x="3095874" y="2919981"/>
                </a:moveTo>
                <a:cubicBezTo>
                  <a:pt x="3090408" y="2919981"/>
                  <a:pt x="3088586" y="2925444"/>
                  <a:pt x="3094052" y="2927266"/>
                </a:cubicBezTo>
                <a:cubicBezTo>
                  <a:pt x="3097696" y="2929090"/>
                  <a:pt x="3099519" y="2923625"/>
                  <a:pt x="3097696" y="2919981"/>
                </a:cubicBezTo>
                <a:cubicBezTo>
                  <a:pt x="3095874" y="2919981"/>
                  <a:pt x="3095874" y="2919981"/>
                  <a:pt x="3095874" y="2919981"/>
                </a:cubicBezTo>
                <a:close/>
                <a:moveTo>
                  <a:pt x="3115918" y="2914513"/>
                </a:moveTo>
                <a:cubicBezTo>
                  <a:pt x="3110452" y="2914513"/>
                  <a:pt x="3108630" y="2919981"/>
                  <a:pt x="3114096" y="2921801"/>
                </a:cubicBezTo>
                <a:cubicBezTo>
                  <a:pt x="3117741" y="2923625"/>
                  <a:pt x="3119563" y="2916333"/>
                  <a:pt x="3117741" y="2914513"/>
                </a:cubicBezTo>
                <a:cubicBezTo>
                  <a:pt x="3115918" y="2914513"/>
                  <a:pt x="3115918" y="2914513"/>
                  <a:pt x="3115918" y="2914513"/>
                </a:cubicBezTo>
                <a:close/>
                <a:moveTo>
                  <a:pt x="1295566" y="2914509"/>
                </a:moveTo>
                <a:lnTo>
                  <a:pt x="1266411" y="2923620"/>
                </a:lnTo>
                <a:cubicBezTo>
                  <a:pt x="1273700" y="2949129"/>
                  <a:pt x="1268233" y="2940020"/>
                  <a:pt x="1288277" y="2952773"/>
                </a:cubicBezTo>
                <a:lnTo>
                  <a:pt x="1288277" y="2938198"/>
                </a:lnTo>
                <a:lnTo>
                  <a:pt x="1301033" y="2938198"/>
                </a:lnTo>
                <a:cubicBezTo>
                  <a:pt x="1297388" y="2927264"/>
                  <a:pt x="1297388" y="2925442"/>
                  <a:pt x="1297388" y="2918154"/>
                </a:cubicBezTo>
                <a:close/>
                <a:moveTo>
                  <a:pt x="776246" y="2909134"/>
                </a:moveTo>
                <a:cubicBezTo>
                  <a:pt x="776246" y="2909134"/>
                  <a:pt x="783536" y="2921888"/>
                  <a:pt x="783536" y="2923706"/>
                </a:cubicBezTo>
                <a:cubicBezTo>
                  <a:pt x="783536" y="2951033"/>
                  <a:pt x="785358" y="2925536"/>
                  <a:pt x="776246" y="2945565"/>
                </a:cubicBezTo>
                <a:cubicBezTo>
                  <a:pt x="745269" y="2925536"/>
                  <a:pt x="765313" y="2938287"/>
                  <a:pt x="754380" y="2916422"/>
                </a:cubicBezTo>
                <a:close/>
                <a:moveTo>
                  <a:pt x="3892164" y="2909115"/>
                </a:moveTo>
                <a:lnTo>
                  <a:pt x="3914030" y="2909115"/>
                </a:lnTo>
                <a:cubicBezTo>
                  <a:pt x="3906741" y="2916401"/>
                  <a:pt x="3904919" y="2920047"/>
                  <a:pt x="3904919" y="2921869"/>
                </a:cubicBezTo>
                <a:cubicBezTo>
                  <a:pt x="3904919" y="2920047"/>
                  <a:pt x="3904919" y="2916401"/>
                  <a:pt x="3892164" y="2923690"/>
                </a:cubicBezTo>
                <a:close/>
                <a:moveTo>
                  <a:pt x="1591663" y="2904945"/>
                </a:moveTo>
                <a:lnTo>
                  <a:pt x="1590758" y="2905399"/>
                </a:lnTo>
                <a:lnTo>
                  <a:pt x="1592240" y="2906385"/>
                </a:lnTo>
                <a:close/>
                <a:moveTo>
                  <a:pt x="3132318" y="2896291"/>
                </a:moveTo>
                <a:cubicBezTo>
                  <a:pt x="3128673" y="2898113"/>
                  <a:pt x="3130496" y="2903579"/>
                  <a:pt x="3134140" y="2901757"/>
                </a:cubicBezTo>
                <a:cubicBezTo>
                  <a:pt x="3134140" y="2901757"/>
                  <a:pt x="3135962" y="2901757"/>
                  <a:pt x="3135962" y="2901757"/>
                </a:cubicBezTo>
                <a:cubicBezTo>
                  <a:pt x="3141429" y="2899935"/>
                  <a:pt x="3137784" y="2892647"/>
                  <a:pt x="3132318" y="2896291"/>
                </a:cubicBezTo>
                <a:close/>
                <a:moveTo>
                  <a:pt x="958464" y="2892726"/>
                </a:moveTo>
                <a:lnTo>
                  <a:pt x="947531" y="2909115"/>
                </a:lnTo>
                <a:lnTo>
                  <a:pt x="932953" y="2894546"/>
                </a:lnTo>
                <a:close/>
                <a:moveTo>
                  <a:pt x="1129748" y="2892671"/>
                </a:moveTo>
                <a:lnTo>
                  <a:pt x="1137037" y="2892671"/>
                </a:lnTo>
                <a:cubicBezTo>
                  <a:pt x="1135215" y="2894495"/>
                  <a:pt x="1135215" y="2896315"/>
                  <a:pt x="1131570" y="2896315"/>
                </a:cubicBezTo>
                <a:close/>
                <a:moveTo>
                  <a:pt x="3491286" y="2885423"/>
                </a:moveTo>
                <a:lnTo>
                  <a:pt x="3514974" y="2887247"/>
                </a:lnTo>
                <a:lnTo>
                  <a:pt x="3500397" y="2900001"/>
                </a:lnTo>
                <a:close/>
                <a:moveTo>
                  <a:pt x="1280989" y="2885355"/>
                </a:moveTo>
                <a:lnTo>
                  <a:pt x="1290100" y="2894465"/>
                </a:lnTo>
                <a:cubicBezTo>
                  <a:pt x="1288277" y="2892643"/>
                  <a:pt x="1288277" y="2890821"/>
                  <a:pt x="1286455" y="2887177"/>
                </a:cubicBezTo>
                <a:cubicBezTo>
                  <a:pt x="1286455" y="2887177"/>
                  <a:pt x="1288277" y="2887177"/>
                  <a:pt x="1288277" y="2885355"/>
                </a:cubicBezTo>
                <a:close/>
                <a:moveTo>
                  <a:pt x="661450" y="2883644"/>
                </a:moveTo>
                <a:cubicBezTo>
                  <a:pt x="679671" y="2883644"/>
                  <a:pt x="670560" y="2885464"/>
                  <a:pt x="692428" y="2890941"/>
                </a:cubicBezTo>
                <a:cubicBezTo>
                  <a:pt x="685138" y="2923710"/>
                  <a:pt x="677849" y="2903675"/>
                  <a:pt x="677849" y="2929178"/>
                </a:cubicBezTo>
                <a:cubicBezTo>
                  <a:pt x="665094" y="2927367"/>
                  <a:pt x="646872" y="2921899"/>
                  <a:pt x="646872" y="2907316"/>
                </a:cubicBezTo>
                <a:cubicBezTo>
                  <a:pt x="646872" y="2894578"/>
                  <a:pt x="652339" y="2885464"/>
                  <a:pt x="661450" y="2883644"/>
                </a:cubicBezTo>
                <a:close/>
                <a:moveTo>
                  <a:pt x="3553240" y="2883633"/>
                </a:moveTo>
                <a:lnTo>
                  <a:pt x="3580573" y="2914600"/>
                </a:lnTo>
                <a:lnTo>
                  <a:pt x="3573284" y="2923706"/>
                </a:lnTo>
                <a:lnTo>
                  <a:pt x="3542307" y="2894567"/>
                </a:lnTo>
                <a:close/>
                <a:moveTo>
                  <a:pt x="3416576" y="2872702"/>
                </a:moveTo>
                <a:cubicBezTo>
                  <a:pt x="3422042" y="2878176"/>
                  <a:pt x="3423864" y="2878176"/>
                  <a:pt x="3423864" y="2887286"/>
                </a:cubicBezTo>
                <a:lnTo>
                  <a:pt x="3412931" y="2879996"/>
                </a:lnTo>
                <a:close/>
                <a:moveTo>
                  <a:pt x="3374667" y="2872604"/>
                </a:moveTo>
                <a:cubicBezTo>
                  <a:pt x="3380133" y="2874428"/>
                  <a:pt x="3383777" y="2876248"/>
                  <a:pt x="3389244" y="2878072"/>
                </a:cubicBezTo>
                <a:lnTo>
                  <a:pt x="3401999" y="2885359"/>
                </a:lnTo>
                <a:lnTo>
                  <a:pt x="3405644" y="2883538"/>
                </a:lnTo>
                <a:cubicBezTo>
                  <a:pt x="3407466" y="2885359"/>
                  <a:pt x="3411110" y="2885359"/>
                  <a:pt x="3414754" y="2885359"/>
                </a:cubicBezTo>
                <a:cubicBezTo>
                  <a:pt x="3414754" y="2890825"/>
                  <a:pt x="3414754" y="2894471"/>
                  <a:pt x="3412932" y="2898113"/>
                </a:cubicBezTo>
                <a:cubicBezTo>
                  <a:pt x="3391066" y="2896293"/>
                  <a:pt x="3369200" y="2889003"/>
                  <a:pt x="3349155" y="2878072"/>
                </a:cubicBezTo>
                <a:close/>
                <a:moveTo>
                  <a:pt x="3025716" y="2870322"/>
                </a:moveTo>
                <a:lnTo>
                  <a:pt x="3066720" y="2872599"/>
                </a:lnTo>
                <a:cubicBezTo>
                  <a:pt x="3066720" y="2874422"/>
                  <a:pt x="3066720" y="2874422"/>
                  <a:pt x="3066720" y="2874422"/>
                </a:cubicBezTo>
                <a:close/>
                <a:moveTo>
                  <a:pt x="3299957" y="2868954"/>
                </a:moveTo>
                <a:cubicBezTo>
                  <a:pt x="3307246" y="2870778"/>
                  <a:pt x="3312712" y="2874422"/>
                  <a:pt x="3320001" y="2878066"/>
                </a:cubicBezTo>
                <a:lnTo>
                  <a:pt x="3320001" y="2879887"/>
                </a:lnTo>
                <a:cubicBezTo>
                  <a:pt x="3318179" y="2879887"/>
                  <a:pt x="3314534" y="2878066"/>
                  <a:pt x="3312712" y="2878066"/>
                </a:cubicBezTo>
                <a:cubicBezTo>
                  <a:pt x="3305423" y="2876243"/>
                  <a:pt x="3298135" y="2876243"/>
                  <a:pt x="3292668" y="2872599"/>
                </a:cubicBezTo>
                <a:cubicBezTo>
                  <a:pt x="3296313" y="2872599"/>
                  <a:pt x="3298135" y="2870778"/>
                  <a:pt x="3299957" y="2868954"/>
                </a:cubicBezTo>
                <a:close/>
                <a:moveTo>
                  <a:pt x="3000041" y="2867754"/>
                </a:moveTo>
                <a:lnTo>
                  <a:pt x="3025716" y="2870322"/>
                </a:lnTo>
                <a:lnTo>
                  <a:pt x="3001122" y="2868956"/>
                </a:lnTo>
                <a:close/>
                <a:moveTo>
                  <a:pt x="3447553" y="2865388"/>
                </a:moveTo>
                <a:lnTo>
                  <a:pt x="3446870" y="2868806"/>
                </a:lnTo>
                <a:cubicBezTo>
                  <a:pt x="3446072" y="2868238"/>
                  <a:pt x="3445332" y="2867381"/>
                  <a:pt x="3445247" y="2866671"/>
                </a:cubicBezTo>
                <a:close/>
                <a:moveTo>
                  <a:pt x="3496752" y="2863562"/>
                </a:moveTo>
                <a:lnTo>
                  <a:pt x="3522263" y="2863562"/>
                </a:lnTo>
                <a:lnTo>
                  <a:pt x="3513152" y="2879968"/>
                </a:lnTo>
                <a:close/>
                <a:moveTo>
                  <a:pt x="3323646" y="2863494"/>
                </a:moveTo>
                <a:cubicBezTo>
                  <a:pt x="3325469" y="2863494"/>
                  <a:pt x="3325469" y="2863494"/>
                  <a:pt x="3327291" y="2863494"/>
                </a:cubicBezTo>
                <a:lnTo>
                  <a:pt x="3325469" y="2865318"/>
                </a:lnTo>
                <a:cubicBezTo>
                  <a:pt x="3325469" y="2863494"/>
                  <a:pt x="3323646" y="2863494"/>
                  <a:pt x="3323646" y="2863494"/>
                </a:cubicBezTo>
                <a:close/>
                <a:moveTo>
                  <a:pt x="3230032" y="2856888"/>
                </a:moveTo>
                <a:cubicBezTo>
                  <a:pt x="3250304" y="2855746"/>
                  <a:pt x="3270803" y="2857114"/>
                  <a:pt x="3290847" y="2861670"/>
                </a:cubicBezTo>
                <a:lnTo>
                  <a:pt x="3285380" y="2868958"/>
                </a:lnTo>
                <a:cubicBezTo>
                  <a:pt x="3276270" y="2868958"/>
                  <a:pt x="3265336" y="2867138"/>
                  <a:pt x="3256226" y="2867138"/>
                </a:cubicBezTo>
                <a:cubicBezTo>
                  <a:pt x="3247115" y="2865314"/>
                  <a:pt x="3236182" y="2865314"/>
                  <a:pt x="3225249" y="2867138"/>
                </a:cubicBezTo>
                <a:cubicBezTo>
                  <a:pt x="3225249" y="2865314"/>
                  <a:pt x="3225249" y="2865314"/>
                  <a:pt x="3225249" y="2865314"/>
                </a:cubicBezTo>
                <a:cubicBezTo>
                  <a:pt x="3223426" y="2861670"/>
                  <a:pt x="3219782" y="2863490"/>
                  <a:pt x="3219782" y="2867138"/>
                </a:cubicBezTo>
                <a:cubicBezTo>
                  <a:pt x="3210671" y="2868958"/>
                  <a:pt x="3201560" y="2870782"/>
                  <a:pt x="3192449" y="2872602"/>
                </a:cubicBezTo>
                <a:cubicBezTo>
                  <a:pt x="3192449" y="2868958"/>
                  <a:pt x="3186983" y="2867138"/>
                  <a:pt x="3185161" y="2870782"/>
                </a:cubicBezTo>
                <a:cubicBezTo>
                  <a:pt x="3185161" y="2872602"/>
                  <a:pt x="3185161" y="2872602"/>
                  <a:pt x="3185161" y="2872602"/>
                </a:cubicBezTo>
                <a:cubicBezTo>
                  <a:pt x="3183339" y="2874424"/>
                  <a:pt x="3185161" y="2876248"/>
                  <a:pt x="3185161" y="2876248"/>
                </a:cubicBezTo>
                <a:cubicBezTo>
                  <a:pt x="3183339" y="2876248"/>
                  <a:pt x="3181517" y="2878070"/>
                  <a:pt x="3179694" y="2878070"/>
                </a:cubicBezTo>
                <a:cubicBezTo>
                  <a:pt x="3179694" y="2876248"/>
                  <a:pt x="3179694" y="2874424"/>
                  <a:pt x="3177872" y="2874424"/>
                </a:cubicBezTo>
                <a:cubicBezTo>
                  <a:pt x="3174228" y="2872602"/>
                  <a:pt x="3172406" y="2878070"/>
                  <a:pt x="3176050" y="2879891"/>
                </a:cubicBezTo>
                <a:cubicBezTo>
                  <a:pt x="3168761" y="2883535"/>
                  <a:pt x="3161473" y="2887179"/>
                  <a:pt x="3156006" y="2890823"/>
                </a:cubicBezTo>
                <a:cubicBezTo>
                  <a:pt x="3156006" y="2889003"/>
                  <a:pt x="3156006" y="2889003"/>
                  <a:pt x="3154184" y="2887179"/>
                </a:cubicBezTo>
                <a:cubicBezTo>
                  <a:pt x="3152362" y="2887179"/>
                  <a:pt x="3148717" y="2887179"/>
                  <a:pt x="3148717" y="2889003"/>
                </a:cubicBezTo>
                <a:cubicBezTo>
                  <a:pt x="3146895" y="2890823"/>
                  <a:pt x="3146895" y="2894469"/>
                  <a:pt x="3150539" y="2894469"/>
                </a:cubicBezTo>
                <a:cubicBezTo>
                  <a:pt x="3148717" y="2896291"/>
                  <a:pt x="3148717" y="2896291"/>
                  <a:pt x="3146895" y="2898113"/>
                </a:cubicBezTo>
                <a:cubicBezTo>
                  <a:pt x="3145073" y="2899935"/>
                  <a:pt x="3150539" y="2907223"/>
                  <a:pt x="3150539" y="2907223"/>
                </a:cubicBezTo>
                <a:cubicBezTo>
                  <a:pt x="3183339" y="2892647"/>
                  <a:pt x="3223426" y="2889003"/>
                  <a:pt x="3259870" y="2889003"/>
                </a:cubicBezTo>
                <a:cubicBezTo>
                  <a:pt x="3278092" y="2889003"/>
                  <a:pt x="3294491" y="2892647"/>
                  <a:pt x="3310891" y="2896291"/>
                </a:cubicBezTo>
                <a:cubicBezTo>
                  <a:pt x="3289025" y="2896291"/>
                  <a:pt x="3267159" y="2896291"/>
                  <a:pt x="3245293" y="2898113"/>
                </a:cubicBezTo>
                <a:cubicBezTo>
                  <a:pt x="3216138" y="2899935"/>
                  <a:pt x="3181517" y="2901757"/>
                  <a:pt x="3156006" y="2918157"/>
                </a:cubicBezTo>
                <a:cubicBezTo>
                  <a:pt x="3152362" y="2919981"/>
                  <a:pt x="3159650" y="2925444"/>
                  <a:pt x="3163295" y="2925444"/>
                </a:cubicBezTo>
                <a:cubicBezTo>
                  <a:pt x="3196094" y="2916333"/>
                  <a:pt x="3230715" y="2914513"/>
                  <a:pt x="3265336" y="2914513"/>
                </a:cubicBezTo>
                <a:cubicBezTo>
                  <a:pt x="3283558" y="2914513"/>
                  <a:pt x="3299958" y="2914513"/>
                  <a:pt x="3318180" y="2914513"/>
                </a:cubicBezTo>
                <a:lnTo>
                  <a:pt x="3312713" y="2919981"/>
                </a:lnTo>
                <a:cubicBezTo>
                  <a:pt x="3279914" y="2923625"/>
                  <a:pt x="3245293" y="2919981"/>
                  <a:pt x="3216138" y="2934554"/>
                </a:cubicBezTo>
                <a:cubicBezTo>
                  <a:pt x="3210671" y="2938200"/>
                  <a:pt x="3219782" y="2938200"/>
                  <a:pt x="3221604" y="2938200"/>
                </a:cubicBezTo>
                <a:cubicBezTo>
                  <a:pt x="3247115" y="2929090"/>
                  <a:pt x="3272625" y="2929090"/>
                  <a:pt x="3298136" y="2929090"/>
                </a:cubicBezTo>
                <a:cubicBezTo>
                  <a:pt x="3301780" y="2929090"/>
                  <a:pt x="3307246" y="2929090"/>
                  <a:pt x="3312713" y="2929090"/>
                </a:cubicBezTo>
                <a:cubicBezTo>
                  <a:pt x="3299958" y="2929090"/>
                  <a:pt x="3287202" y="2932734"/>
                  <a:pt x="3274447" y="2932734"/>
                </a:cubicBezTo>
                <a:cubicBezTo>
                  <a:pt x="3259870" y="2932734"/>
                  <a:pt x="3241648" y="2934554"/>
                  <a:pt x="3228893" y="2945490"/>
                </a:cubicBezTo>
                <a:cubicBezTo>
                  <a:pt x="3227071" y="2945490"/>
                  <a:pt x="3232537" y="2952778"/>
                  <a:pt x="3234360" y="2952778"/>
                </a:cubicBezTo>
                <a:lnTo>
                  <a:pt x="3236398" y="2952449"/>
                </a:lnTo>
                <a:lnTo>
                  <a:pt x="3239827" y="2947397"/>
                </a:lnTo>
                <a:lnTo>
                  <a:pt x="3239827" y="2951904"/>
                </a:lnTo>
                <a:lnTo>
                  <a:pt x="3256224" y="2949279"/>
                </a:lnTo>
                <a:lnTo>
                  <a:pt x="3256224" y="2947397"/>
                </a:lnTo>
                <a:lnTo>
                  <a:pt x="3257486" y="2949076"/>
                </a:lnTo>
                <a:lnTo>
                  <a:pt x="3279914" y="2945490"/>
                </a:lnTo>
                <a:cubicBezTo>
                  <a:pt x="3283558" y="2945490"/>
                  <a:pt x="3290847" y="2945490"/>
                  <a:pt x="3296313" y="2945490"/>
                </a:cubicBezTo>
                <a:lnTo>
                  <a:pt x="3267157" y="2953161"/>
                </a:lnTo>
                <a:lnTo>
                  <a:pt x="3267157" y="2960138"/>
                </a:lnTo>
                <a:lnTo>
                  <a:pt x="3267973" y="2961500"/>
                </a:lnTo>
                <a:lnTo>
                  <a:pt x="3314535" y="2954600"/>
                </a:lnTo>
                <a:lnTo>
                  <a:pt x="3314975" y="2956356"/>
                </a:lnTo>
                <a:lnTo>
                  <a:pt x="3327290" y="2954595"/>
                </a:lnTo>
                <a:cubicBezTo>
                  <a:pt x="3332756" y="2952773"/>
                  <a:pt x="3336401" y="2952773"/>
                  <a:pt x="3341867" y="2952773"/>
                </a:cubicBezTo>
                <a:cubicBezTo>
                  <a:pt x="3336401" y="2956420"/>
                  <a:pt x="3329112" y="2958241"/>
                  <a:pt x="3321823" y="2960063"/>
                </a:cubicBezTo>
                <a:lnTo>
                  <a:pt x="3315055" y="2956679"/>
                </a:lnTo>
                <a:lnTo>
                  <a:pt x="3316357" y="2961887"/>
                </a:lnTo>
                <a:cubicBezTo>
                  <a:pt x="3312713" y="2963712"/>
                  <a:pt x="3309069" y="2963712"/>
                  <a:pt x="3305424" y="2965531"/>
                </a:cubicBezTo>
                <a:cubicBezTo>
                  <a:pt x="3296313" y="2969175"/>
                  <a:pt x="3285380" y="2970999"/>
                  <a:pt x="3276270" y="2974643"/>
                </a:cubicBezTo>
                <a:lnTo>
                  <a:pt x="3255514" y="2974643"/>
                </a:lnTo>
                <a:lnTo>
                  <a:pt x="3258047" y="2976540"/>
                </a:lnTo>
                <a:cubicBezTo>
                  <a:pt x="3254403" y="2982010"/>
                  <a:pt x="3256225" y="2976540"/>
                  <a:pt x="3258047" y="2983829"/>
                </a:cubicBezTo>
                <a:lnTo>
                  <a:pt x="3250758" y="2983829"/>
                </a:lnTo>
                <a:lnTo>
                  <a:pt x="3250194" y="2981010"/>
                </a:lnTo>
                <a:lnTo>
                  <a:pt x="3202244" y="2991271"/>
                </a:lnTo>
                <a:cubicBezTo>
                  <a:pt x="3184705" y="2993777"/>
                  <a:pt x="3166939" y="2994689"/>
                  <a:pt x="3148717" y="2992864"/>
                </a:cubicBezTo>
                <a:lnTo>
                  <a:pt x="3101912" y="2978387"/>
                </a:lnTo>
                <a:lnTo>
                  <a:pt x="3102744" y="2981074"/>
                </a:lnTo>
                <a:lnTo>
                  <a:pt x="3102109" y="2980642"/>
                </a:lnTo>
                <a:cubicBezTo>
                  <a:pt x="3100914" y="2980418"/>
                  <a:pt x="3102793" y="2982926"/>
                  <a:pt x="3102963" y="2981782"/>
                </a:cubicBezTo>
                <a:lnTo>
                  <a:pt x="3102744" y="2981074"/>
                </a:lnTo>
                <a:lnTo>
                  <a:pt x="3106807" y="2983832"/>
                </a:lnTo>
                <a:lnTo>
                  <a:pt x="3099518" y="2983832"/>
                </a:lnTo>
                <a:cubicBezTo>
                  <a:pt x="3090407" y="2983832"/>
                  <a:pt x="3094052" y="2982010"/>
                  <a:pt x="3092229" y="2976540"/>
                </a:cubicBezTo>
                <a:lnTo>
                  <a:pt x="3095941" y="2976540"/>
                </a:lnTo>
                <a:lnTo>
                  <a:pt x="3094963" y="2976237"/>
                </a:lnTo>
                <a:cubicBezTo>
                  <a:pt x="3078108" y="2967811"/>
                  <a:pt x="3062163" y="2957332"/>
                  <a:pt x="3046675" y="2947312"/>
                </a:cubicBezTo>
                <a:cubicBezTo>
                  <a:pt x="3022986" y="2930912"/>
                  <a:pt x="2995654" y="2918157"/>
                  <a:pt x="2970143" y="2905401"/>
                </a:cubicBezTo>
                <a:cubicBezTo>
                  <a:pt x="3033919" y="2907223"/>
                  <a:pt x="3099519" y="2890823"/>
                  <a:pt x="3159650" y="2870782"/>
                </a:cubicBezTo>
                <a:cubicBezTo>
                  <a:pt x="3163295" y="2868958"/>
                  <a:pt x="3165117" y="2867138"/>
                  <a:pt x="3168761" y="2867138"/>
                </a:cubicBezTo>
                <a:cubicBezTo>
                  <a:pt x="3170583" y="2867138"/>
                  <a:pt x="3170583" y="2867138"/>
                  <a:pt x="3170583" y="2867138"/>
                </a:cubicBezTo>
                <a:cubicBezTo>
                  <a:pt x="3189716" y="2861670"/>
                  <a:pt x="3209760" y="2858026"/>
                  <a:pt x="3230032" y="2856888"/>
                </a:cubicBezTo>
                <a:close/>
                <a:moveTo>
                  <a:pt x="3453021" y="2847171"/>
                </a:moveTo>
                <a:lnTo>
                  <a:pt x="3460309" y="2869035"/>
                </a:lnTo>
                <a:cubicBezTo>
                  <a:pt x="3454843" y="2867211"/>
                  <a:pt x="3449376" y="2865388"/>
                  <a:pt x="3447554" y="2865388"/>
                </a:cubicBezTo>
                <a:lnTo>
                  <a:pt x="3447553" y="2865388"/>
                </a:lnTo>
                <a:lnTo>
                  <a:pt x="3438443" y="2854461"/>
                </a:lnTo>
                <a:close/>
                <a:moveTo>
                  <a:pt x="3400178" y="2841729"/>
                </a:moveTo>
                <a:lnTo>
                  <a:pt x="3438444" y="2856306"/>
                </a:lnTo>
                <a:lnTo>
                  <a:pt x="3431162" y="2870863"/>
                </a:lnTo>
                <a:lnTo>
                  <a:pt x="3447554" y="2879975"/>
                </a:lnTo>
                <a:lnTo>
                  <a:pt x="3432976" y="2890919"/>
                </a:lnTo>
                <a:lnTo>
                  <a:pt x="3423865" y="2885439"/>
                </a:lnTo>
                <a:lnTo>
                  <a:pt x="3431144" y="2870878"/>
                </a:lnTo>
                <a:lnTo>
                  <a:pt x="3392889" y="2870878"/>
                </a:lnTo>
                <a:cubicBezTo>
                  <a:pt x="3405644" y="2838083"/>
                  <a:pt x="3387422" y="2870878"/>
                  <a:pt x="3400178" y="2841729"/>
                </a:cubicBezTo>
                <a:close/>
                <a:moveTo>
                  <a:pt x="1095127" y="2830725"/>
                </a:moveTo>
                <a:cubicBezTo>
                  <a:pt x="1100593" y="2830725"/>
                  <a:pt x="1106060" y="2836190"/>
                  <a:pt x="1109704" y="2836190"/>
                </a:cubicBezTo>
                <a:cubicBezTo>
                  <a:pt x="1111526" y="2839834"/>
                  <a:pt x="1115171" y="2841654"/>
                  <a:pt x="1116993" y="2843476"/>
                </a:cubicBezTo>
                <a:cubicBezTo>
                  <a:pt x="1107882" y="2848944"/>
                  <a:pt x="1102415" y="2856232"/>
                  <a:pt x="1111526" y="2861698"/>
                </a:cubicBezTo>
                <a:cubicBezTo>
                  <a:pt x="1122459" y="2863520"/>
                  <a:pt x="1131571" y="2850764"/>
                  <a:pt x="1127928" y="2838010"/>
                </a:cubicBezTo>
                <a:cubicBezTo>
                  <a:pt x="1127928" y="2836190"/>
                  <a:pt x="1127928" y="2839834"/>
                  <a:pt x="1129749" y="2838010"/>
                </a:cubicBezTo>
                <a:cubicBezTo>
                  <a:pt x="1131571" y="2841654"/>
                  <a:pt x="1131571" y="2845300"/>
                  <a:pt x="1133393" y="2847122"/>
                </a:cubicBezTo>
                <a:cubicBezTo>
                  <a:pt x="1138860" y="2848944"/>
                  <a:pt x="1142504" y="2856232"/>
                  <a:pt x="1147971" y="2858054"/>
                </a:cubicBezTo>
                <a:cubicBezTo>
                  <a:pt x="1127928" y="2872629"/>
                  <a:pt x="1131571" y="2859876"/>
                  <a:pt x="1138860" y="2879917"/>
                </a:cubicBezTo>
                <a:lnTo>
                  <a:pt x="1133393" y="2889027"/>
                </a:lnTo>
                <a:cubicBezTo>
                  <a:pt x="1118815" y="2898139"/>
                  <a:pt x="1107882" y="2907246"/>
                  <a:pt x="1095127" y="2918180"/>
                </a:cubicBezTo>
                <a:lnTo>
                  <a:pt x="1071438" y="2910890"/>
                </a:lnTo>
                <a:cubicBezTo>
                  <a:pt x="1084194" y="2943687"/>
                  <a:pt x="1065972" y="2910890"/>
                  <a:pt x="1078727" y="2941865"/>
                </a:cubicBezTo>
                <a:cubicBezTo>
                  <a:pt x="1069616" y="2941865"/>
                  <a:pt x="1071438" y="2938221"/>
                  <a:pt x="1071438" y="2949155"/>
                </a:cubicBezTo>
                <a:cubicBezTo>
                  <a:pt x="1071438" y="2974660"/>
                  <a:pt x="1069616" y="2961906"/>
                  <a:pt x="1075083" y="2961906"/>
                </a:cubicBezTo>
                <a:cubicBezTo>
                  <a:pt x="1071438" y="2969194"/>
                  <a:pt x="1065972" y="2974660"/>
                  <a:pt x="1060505" y="2981948"/>
                </a:cubicBezTo>
                <a:cubicBezTo>
                  <a:pt x="1058683" y="2983770"/>
                  <a:pt x="1058683" y="2981948"/>
                  <a:pt x="1056861" y="2983770"/>
                </a:cubicBezTo>
                <a:cubicBezTo>
                  <a:pt x="1056861" y="2989236"/>
                  <a:pt x="1053217" y="2991060"/>
                  <a:pt x="1049572" y="2994704"/>
                </a:cubicBezTo>
                <a:cubicBezTo>
                  <a:pt x="1047750" y="2994704"/>
                  <a:pt x="1045929" y="2992882"/>
                  <a:pt x="1044106" y="2991060"/>
                </a:cubicBezTo>
                <a:cubicBezTo>
                  <a:pt x="1047750" y="2987416"/>
                  <a:pt x="1051394" y="2983770"/>
                  <a:pt x="1055040" y="2980126"/>
                </a:cubicBezTo>
                <a:cubicBezTo>
                  <a:pt x="1055040" y="2978306"/>
                  <a:pt x="1053217" y="2980126"/>
                  <a:pt x="1053217" y="2978306"/>
                </a:cubicBezTo>
                <a:cubicBezTo>
                  <a:pt x="1055040" y="2980126"/>
                  <a:pt x="1055040" y="2976482"/>
                  <a:pt x="1056861" y="2976482"/>
                </a:cubicBezTo>
                <a:cubicBezTo>
                  <a:pt x="1055040" y="2974660"/>
                  <a:pt x="1053217" y="2976482"/>
                  <a:pt x="1053217" y="2974660"/>
                </a:cubicBezTo>
                <a:cubicBezTo>
                  <a:pt x="1051394" y="2972840"/>
                  <a:pt x="1055040" y="2971018"/>
                  <a:pt x="1053217" y="2969194"/>
                </a:cubicBezTo>
                <a:cubicBezTo>
                  <a:pt x="1053217" y="2967372"/>
                  <a:pt x="1049572" y="2971018"/>
                  <a:pt x="1049572" y="2969194"/>
                </a:cubicBezTo>
                <a:cubicBezTo>
                  <a:pt x="1047750" y="2971018"/>
                  <a:pt x="1047750" y="2972840"/>
                  <a:pt x="1047750" y="2974660"/>
                </a:cubicBezTo>
                <a:cubicBezTo>
                  <a:pt x="1047750" y="2972840"/>
                  <a:pt x="1045929" y="2971018"/>
                  <a:pt x="1042284" y="2963731"/>
                </a:cubicBezTo>
                <a:cubicBezTo>
                  <a:pt x="1047750" y="2958263"/>
                  <a:pt x="1049572" y="2954621"/>
                  <a:pt x="1051394" y="2952797"/>
                </a:cubicBezTo>
                <a:cubicBezTo>
                  <a:pt x="1055040" y="2952797"/>
                  <a:pt x="1058683" y="2952797"/>
                  <a:pt x="1065972" y="2949155"/>
                </a:cubicBezTo>
                <a:lnTo>
                  <a:pt x="1060505" y="2936399"/>
                </a:lnTo>
                <a:lnTo>
                  <a:pt x="1065972" y="2918180"/>
                </a:lnTo>
                <a:lnTo>
                  <a:pt x="1042284" y="2898139"/>
                </a:lnTo>
                <a:lnTo>
                  <a:pt x="1034995" y="2912714"/>
                </a:lnTo>
                <a:lnTo>
                  <a:pt x="1027707" y="2892671"/>
                </a:lnTo>
                <a:lnTo>
                  <a:pt x="1040461" y="2868988"/>
                </a:lnTo>
                <a:lnTo>
                  <a:pt x="1036818" y="2867164"/>
                </a:lnTo>
                <a:cubicBezTo>
                  <a:pt x="1036818" y="2867164"/>
                  <a:pt x="1038639" y="2867164"/>
                  <a:pt x="1040461" y="2867164"/>
                </a:cubicBezTo>
                <a:cubicBezTo>
                  <a:pt x="1042284" y="2865342"/>
                  <a:pt x="1042284" y="2861698"/>
                  <a:pt x="1042284" y="2859876"/>
                </a:cubicBezTo>
                <a:cubicBezTo>
                  <a:pt x="1049572" y="2854410"/>
                  <a:pt x="1060505" y="2847122"/>
                  <a:pt x="1073262" y="2841654"/>
                </a:cubicBezTo>
                <a:cubicBezTo>
                  <a:pt x="1080549" y="2838010"/>
                  <a:pt x="1089660" y="2830725"/>
                  <a:pt x="1095127" y="2830725"/>
                </a:cubicBezTo>
                <a:close/>
                <a:moveTo>
                  <a:pt x="3547318" y="2819180"/>
                </a:moveTo>
                <a:cubicBezTo>
                  <a:pt x="3554151" y="2821221"/>
                  <a:pt x="3558707" y="2828960"/>
                  <a:pt x="3560529" y="2847193"/>
                </a:cubicBezTo>
                <a:lnTo>
                  <a:pt x="3575106" y="2847193"/>
                </a:lnTo>
                <a:cubicBezTo>
                  <a:pt x="3569640" y="2869058"/>
                  <a:pt x="3571462" y="2858126"/>
                  <a:pt x="3558707" y="2878176"/>
                </a:cubicBezTo>
                <a:lnTo>
                  <a:pt x="3527730" y="2852652"/>
                </a:lnTo>
                <a:lnTo>
                  <a:pt x="3535019" y="2839907"/>
                </a:lnTo>
                <a:lnTo>
                  <a:pt x="3520441" y="2825321"/>
                </a:lnTo>
                <a:cubicBezTo>
                  <a:pt x="3531374" y="2820769"/>
                  <a:pt x="3540485" y="2817130"/>
                  <a:pt x="3547318" y="2819180"/>
                </a:cubicBezTo>
                <a:close/>
                <a:moveTo>
                  <a:pt x="896509" y="2818020"/>
                </a:moveTo>
                <a:lnTo>
                  <a:pt x="911087" y="2818020"/>
                </a:lnTo>
                <a:lnTo>
                  <a:pt x="911087" y="2832579"/>
                </a:lnTo>
                <a:lnTo>
                  <a:pt x="896509" y="2832579"/>
                </a:lnTo>
                <a:close/>
                <a:moveTo>
                  <a:pt x="3476709" y="2818009"/>
                </a:moveTo>
                <a:cubicBezTo>
                  <a:pt x="3467598" y="2848983"/>
                  <a:pt x="3480354" y="2827113"/>
                  <a:pt x="3454843" y="2839875"/>
                </a:cubicBezTo>
                <a:close/>
                <a:moveTo>
                  <a:pt x="1120637" y="2814304"/>
                </a:moveTo>
                <a:cubicBezTo>
                  <a:pt x="1118815" y="2817948"/>
                  <a:pt x="1115170" y="2823413"/>
                  <a:pt x="1115170" y="2828880"/>
                </a:cubicBezTo>
                <a:cubicBezTo>
                  <a:pt x="1113348" y="2828880"/>
                  <a:pt x="1111526" y="2828880"/>
                  <a:pt x="1109704" y="2830701"/>
                </a:cubicBezTo>
                <a:cubicBezTo>
                  <a:pt x="1106060" y="2830701"/>
                  <a:pt x="1104237" y="2828880"/>
                  <a:pt x="1102415" y="2827057"/>
                </a:cubicBezTo>
                <a:cubicBezTo>
                  <a:pt x="1107882" y="2821592"/>
                  <a:pt x="1113348" y="2816126"/>
                  <a:pt x="1120637" y="2814304"/>
                </a:cubicBezTo>
                <a:close/>
                <a:moveTo>
                  <a:pt x="3436621" y="2808893"/>
                </a:moveTo>
                <a:lnTo>
                  <a:pt x="3445732" y="2825295"/>
                </a:lnTo>
                <a:lnTo>
                  <a:pt x="3422043" y="2823475"/>
                </a:lnTo>
                <a:close/>
                <a:moveTo>
                  <a:pt x="1060505" y="2808861"/>
                </a:moveTo>
                <a:lnTo>
                  <a:pt x="1045929" y="2823437"/>
                </a:lnTo>
                <a:lnTo>
                  <a:pt x="1071438" y="2832546"/>
                </a:lnTo>
                <a:close/>
                <a:moveTo>
                  <a:pt x="3076300" y="2802989"/>
                </a:moveTo>
                <a:lnTo>
                  <a:pt x="3046676" y="2812469"/>
                </a:lnTo>
                <a:cubicBezTo>
                  <a:pt x="3043032" y="2812469"/>
                  <a:pt x="3052143" y="2816113"/>
                  <a:pt x="3053965" y="2816113"/>
                </a:cubicBezTo>
                <a:lnTo>
                  <a:pt x="3073957" y="2811314"/>
                </a:lnTo>
                <a:lnTo>
                  <a:pt x="3070363" y="2808913"/>
                </a:lnTo>
                <a:close/>
                <a:moveTo>
                  <a:pt x="3143251" y="2792425"/>
                </a:moveTo>
                <a:cubicBezTo>
                  <a:pt x="3143251" y="2794248"/>
                  <a:pt x="3145073" y="2796069"/>
                  <a:pt x="3146895" y="2796069"/>
                </a:cubicBezTo>
                <a:cubicBezTo>
                  <a:pt x="3141429" y="2797892"/>
                  <a:pt x="3135962" y="2801535"/>
                  <a:pt x="3132318" y="2805179"/>
                </a:cubicBezTo>
                <a:cubicBezTo>
                  <a:pt x="3128673" y="2808825"/>
                  <a:pt x="3130496" y="2816113"/>
                  <a:pt x="3135962" y="2816113"/>
                </a:cubicBezTo>
                <a:cubicBezTo>
                  <a:pt x="3152362" y="2812469"/>
                  <a:pt x="3168761" y="2808825"/>
                  <a:pt x="3185161" y="2807001"/>
                </a:cubicBezTo>
                <a:cubicBezTo>
                  <a:pt x="3192449" y="2807001"/>
                  <a:pt x="3201560" y="2805179"/>
                  <a:pt x="3210671" y="2803357"/>
                </a:cubicBezTo>
                <a:cubicBezTo>
                  <a:pt x="3210671" y="2803357"/>
                  <a:pt x="3212494" y="2805179"/>
                  <a:pt x="3212494" y="2805179"/>
                </a:cubicBezTo>
                <a:cubicBezTo>
                  <a:pt x="3197916" y="2807001"/>
                  <a:pt x="3185161" y="2810647"/>
                  <a:pt x="3172406" y="2814291"/>
                </a:cubicBezTo>
                <a:cubicBezTo>
                  <a:pt x="3170583" y="2814291"/>
                  <a:pt x="3179694" y="2816113"/>
                  <a:pt x="3181517" y="2816113"/>
                </a:cubicBezTo>
                <a:cubicBezTo>
                  <a:pt x="3190627" y="2814291"/>
                  <a:pt x="3201560" y="2814291"/>
                  <a:pt x="3212494" y="2812469"/>
                </a:cubicBezTo>
                <a:cubicBezTo>
                  <a:pt x="3212494" y="2812469"/>
                  <a:pt x="3214316" y="2812469"/>
                  <a:pt x="3214316" y="2812469"/>
                </a:cubicBezTo>
                <a:cubicBezTo>
                  <a:pt x="3192449" y="2816113"/>
                  <a:pt x="3170583" y="2819759"/>
                  <a:pt x="3148717" y="2827047"/>
                </a:cubicBezTo>
                <a:cubicBezTo>
                  <a:pt x="3148717" y="2827047"/>
                  <a:pt x="3157828" y="2830691"/>
                  <a:pt x="3159650" y="2830691"/>
                </a:cubicBezTo>
                <a:cubicBezTo>
                  <a:pt x="3174228" y="2828869"/>
                  <a:pt x="3190627" y="2827047"/>
                  <a:pt x="3207027" y="2825223"/>
                </a:cubicBezTo>
                <a:cubicBezTo>
                  <a:pt x="3207027" y="2825223"/>
                  <a:pt x="3205205" y="2827047"/>
                  <a:pt x="3205205" y="2827047"/>
                </a:cubicBezTo>
                <a:cubicBezTo>
                  <a:pt x="3197916" y="2827047"/>
                  <a:pt x="3188805" y="2828869"/>
                  <a:pt x="3183339" y="2834335"/>
                </a:cubicBezTo>
                <a:cubicBezTo>
                  <a:pt x="3181517" y="2836159"/>
                  <a:pt x="3186983" y="2845268"/>
                  <a:pt x="3188805" y="2845268"/>
                </a:cubicBezTo>
                <a:cubicBezTo>
                  <a:pt x="3192449" y="2847090"/>
                  <a:pt x="3196094" y="2847090"/>
                  <a:pt x="3201560" y="2847090"/>
                </a:cubicBezTo>
                <a:cubicBezTo>
                  <a:pt x="3194272" y="2848912"/>
                  <a:pt x="3186983" y="2848912"/>
                  <a:pt x="3179694" y="2850734"/>
                </a:cubicBezTo>
                <a:cubicBezTo>
                  <a:pt x="3170583" y="2852556"/>
                  <a:pt x="3163295" y="2854380"/>
                  <a:pt x="3156006" y="2856200"/>
                </a:cubicBezTo>
                <a:cubicBezTo>
                  <a:pt x="3128673" y="2843447"/>
                  <a:pt x="3095874" y="2837980"/>
                  <a:pt x="3064896" y="2834335"/>
                </a:cubicBezTo>
                <a:lnTo>
                  <a:pt x="3098644" y="2816283"/>
                </a:lnTo>
                <a:lnTo>
                  <a:pt x="3097696" y="2814385"/>
                </a:lnTo>
                <a:lnTo>
                  <a:pt x="3101341" y="2810743"/>
                </a:lnTo>
                <a:lnTo>
                  <a:pt x="3103352" y="2813767"/>
                </a:lnTo>
                <a:close/>
                <a:moveTo>
                  <a:pt x="1056861" y="2779708"/>
                </a:moveTo>
                <a:cubicBezTo>
                  <a:pt x="1064151" y="2792462"/>
                  <a:pt x="1075083" y="2799751"/>
                  <a:pt x="1086016" y="2801571"/>
                </a:cubicBezTo>
                <a:cubicBezTo>
                  <a:pt x="1086016" y="2801571"/>
                  <a:pt x="1086016" y="2803395"/>
                  <a:pt x="1087838" y="2803395"/>
                </a:cubicBezTo>
                <a:cubicBezTo>
                  <a:pt x="1091482" y="2801571"/>
                  <a:pt x="1093304" y="2799751"/>
                  <a:pt x="1095126" y="2797928"/>
                </a:cubicBezTo>
                <a:cubicBezTo>
                  <a:pt x="1095126" y="2803395"/>
                  <a:pt x="1098771" y="2808861"/>
                  <a:pt x="1100593" y="2812505"/>
                </a:cubicBezTo>
                <a:cubicBezTo>
                  <a:pt x="1107883" y="2816149"/>
                  <a:pt x="1111527" y="2807039"/>
                  <a:pt x="1107883" y="2801571"/>
                </a:cubicBezTo>
                <a:cubicBezTo>
                  <a:pt x="1109706" y="2799751"/>
                  <a:pt x="1109706" y="2797928"/>
                  <a:pt x="1109706" y="2794286"/>
                </a:cubicBezTo>
                <a:cubicBezTo>
                  <a:pt x="1113349" y="2796106"/>
                  <a:pt x="1115171" y="2799751"/>
                  <a:pt x="1118817" y="2801571"/>
                </a:cubicBezTo>
                <a:cubicBezTo>
                  <a:pt x="1116994" y="2803395"/>
                  <a:pt x="1116994" y="2808861"/>
                  <a:pt x="1115171" y="2812505"/>
                </a:cubicBezTo>
                <a:cubicBezTo>
                  <a:pt x="1111527" y="2819791"/>
                  <a:pt x="1086016" y="2834369"/>
                  <a:pt x="1073260" y="2839834"/>
                </a:cubicBezTo>
                <a:cubicBezTo>
                  <a:pt x="1071438" y="2838013"/>
                  <a:pt x="1073260" y="2838013"/>
                  <a:pt x="1073260" y="2836190"/>
                </a:cubicBezTo>
                <a:cubicBezTo>
                  <a:pt x="1071438" y="2832546"/>
                  <a:pt x="1065972" y="2836190"/>
                  <a:pt x="1067794" y="2839834"/>
                </a:cubicBezTo>
                <a:cubicBezTo>
                  <a:pt x="1055040" y="2847122"/>
                  <a:pt x="1042283" y="2858054"/>
                  <a:pt x="1029528" y="2867166"/>
                </a:cubicBezTo>
                <a:lnTo>
                  <a:pt x="1022240" y="2863520"/>
                </a:lnTo>
                <a:lnTo>
                  <a:pt x="1018596" y="2812505"/>
                </a:lnTo>
                <a:lnTo>
                  <a:pt x="1036818" y="2807039"/>
                </a:lnTo>
                <a:cubicBezTo>
                  <a:pt x="1038639" y="2810681"/>
                  <a:pt x="1042283" y="2812505"/>
                  <a:pt x="1045929" y="2812505"/>
                </a:cubicBezTo>
                <a:cubicBezTo>
                  <a:pt x="1045929" y="2810681"/>
                  <a:pt x="1044106" y="2807039"/>
                  <a:pt x="1044106" y="2805215"/>
                </a:cubicBezTo>
                <a:lnTo>
                  <a:pt x="1047750" y="2805215"/>
                </a:lnTo>
                <a:cubicBezTo>
                  <a:pt x="1045929" y="2803395"/>
                  <a:pt x="1045929" y="2803395"/>
                  <a:pt x="1045929" y="2803395"/>
                </a:cubicBezTo>
                <a:cubicBezTo>
                  <a:pt x="1049572" y="2803395"/>
                  <a:pt x="1053216" y="2805215"/>
                  <a:pt x="1056861" y="2803395"/>
                </a:cubicBezTo>
                <a:cubicBezTo>
                  <a:pt x="1058683" y="2803395"/>
                  <a:pt x="1058683" y="2801571"/>
                  <a:pt x="1058683" y="2801571"/>
                </a:cubicBezTo>
                <a:cubicBezTo>
                  <a:pt x="1056861" y="2794286"/>
                  <a:pt x="1049572" y="2794286"/>
                  <a:pt x="1047750" y="2786996"/>
                </a:cubicBezTo>
                <a:cubicBezTo>
                  <a:pt x="1053216" y="2788818"/>
                  <a:pt x="1056861" y="2794286"/>
                  <a:pt x="1064151" y="2794286"/>
                </a:cubicBezTo>
                <a:cubicBezTo>
                  <a:pt x="1064151" y="2786996"/>
                  <a:pt x="1055040" y="2783352"/>
                  <a:pt x="1056861" y="2779708"/>
                </a:cubicBezTo>
                <a:close/>
                <a:moveTo>
                  <a:pt x="1095127" y="2774234"/>
                </a:moveTo>
                <a:cubicBezTo>
                  <a:pt x="1093304" y="2779699"/>
                  <a:pt x="1102415" y="2785165"/>
                  <a:pt x="1096949" y="2785165"/>
                </a:cubicBezTo>
                <a:cubicBezTo>
                  <a:pt x="1096949" y="2781521"/>
                  <a:pt x="1093304" y="2779699"/>
                  <a:pt x="1091482" y="2776055"/>
                </a:cubicBezTo>
                <a:cubicBezTo>
                  <a:pt x="1091482" y="2776055"/>
                  <a:pt x="1093304" y="2774234"/>
                  <a:pt x="1095127" y="2774234"/>
                </a:cubicBezTo>
                <a:close/>
                <a:moveTo>
                  <a:pt x="1104237" y="2774232"/>
                </a:moveTo>
                <a:cubicBezTo>
                  <a:pt x="1107882" y="2774232"/>
                  <a:pt x="1109704" y="2776055"/>
                  <a:pt x="1111526" y="2776055"/>
                </a:cubicBezTo>
                <a:cubicBezTo>
                  <a:pt x="1111526" y="2779699"/>
                  <a:pt x="1107882" y="2777876"/>
                  <a:pt x="1104237" y="2779699"/>
                </a:cubicBezTo>
                <a:cubicBezTo>
                  <a:pt x="1104237" y="2777876"/>
                  <a:pt x="1106059" y="2777876"/>
                  <a:pt x="1106059" y="2777876"/>
                </a:cubicBezTo>
                <a:cubicBezTo>
                  <a:pt x="1106059" y="2776055"/>
                  <a:pt x="1104237" y="2774232"/>
                  <a:pt x="1104237" y="2774232"/>
                </a:cubicBezTo>
                <a:close/>
                <a:moveTo>
                  <a:pt x="3042857" y="2772855"/>
                </a:moveTo>
                <a:lnTo>
                  <a:pt x="3025494" y="2778530"/>
                </a:lnTo>
                <a:cubicBezTo>
                  <a:pt x="3010688" y="2784681"/>
                  <a:pt x="2996566" y="2791513"/>
                  <a:pt x="2982900" y="2797892"/>
                </a:cubicBezTo>
                <a:cubicBezTo>
                  <a:pt x="2979256" y="2801535"/>
                  <a:pt x="2988367" y="2803357"/>
                  <a:pt x="2990189" y="2803357"/>
                </a:cubicBezTo>
                <a:lnTo>
                  <a:pt x="3048532" y="2784933"/>
                </a:lnTo>
                <a:lnTo>
                  <a:pt x="3041208" y="2776156"/>
                </a:lnTo>
                <a:close/>
                <a:moveTo>
                  <a:pt x="1051395" y="2770577"/>
                </a:moveTo>
                <a:cubicBezTo>
                  <a:pt x="1051395" y="2772399"/>
                  <a:pt x="1047750" y="2772399"/>
                  <a:pt x="1047750" y="2774221"/>
                </a:cubicBezTo>
                <a:cubicBezTo>
                  <a:pt x="1044106" y="2770577"/>
                  <a:pt x="1049572" y="2770577"/>
                  <a:pt x="1051395" y="2770577"/>
                </a:cubicBezTo>
                <a:close/>
                <a:moveTo>
                  <a:pt x="3356446" y="2766923"/>
                </a:moveTo>
                <a:cubicBezTo>
                  <a:pt x="3356446" y="2768745"/>
                  <a:pt x="3354624" y="2770569"/>
                  <a:pt x="3354624" y="2772390"/>
                </a:cubicBezTo>
                <a:lnTo>
                  <a:pt x="3371023" y="2772390"/>
                </a:lnTo>
                <a:lnTo>
                  <a:pt x="3363734" y="2785146"/>
                </a:lnTo>
                <a:lnTo>
                  <a:pt x="3378312" y="2799722"/>
                </a:lnTo>
                <a:lnTo>
                  <a:pt x="3407467" y="2808834"/>
                </a:lnTo>
                <a:cubicBezTo>
                  <a:pt x="3405644" y="2810656"/>
                  <a:pt x="3405644" y="2812478"/>
                  <a:pt x="3403822" y="2814300"/>
                </a:cubicBezTo>
                <a:cubicBezTo>
                  <a:pt x="3380134" y="2805190"/>
                  <a:pt x="3356446" y="2794256"/>
                  <a:pt x="3332756" y="2785146"/>
                </a:cubicBezTo>
                <a:cubicBezTo>
                  <a:pt x="3341867" y="2779678"/>
                  <a:pt x="3349157" y="2772390"/>
                  <a:pt x="3356446" y="2766923"/>
                </a:cubicBezTo>
                <a:close/>
                <a:moveTo>
                  <a:pt x="1089660" y="2765122"/>
                </a:moveTo>
                <a:cubicBezTo>
                  <a:pt x="1091482" y="2766945"/>
                  <a:pt x="1093305" y="2766945"/>
                  <a:pt x="1095127" y="2766945"/>
                </a:cubicBezTo>
                <a:cubicBezTo>
                  <a:pt x="1095127" y="2768766"/>
                  <a:pt x="1095127" y="2768766"/>
                  <a:pt x="1095127" y="2770590"/>
                </a:cubicBezTo>
                <a:cubicBezTo>
                  <a:pt x="1091482" y="2772410"/>
                  <a:pt x="1089660" y="2770590"/>
                  <a:pt x="1087838" y="2770590"/>
                </a:cubicBezTo>
                <a:cubicBezTo>
                  <a:pt x="1086016" y="2768766"/>
                  <a:pt x="1087838" y="2768766"/>
                  <a:pt x="1089660" y="2765122"/>
                </a:cubicBezTo>
                <a:close/>
                <a:moveTo>
                  <a:pt x="3573284" y="2763390"/>
                </a:moveTo>
                <a:lnTo>
                  <a:pt x="3580572" y="2777950"/>
                </a:lnTo>
                <a:lnTo>
                  <a:pt x="3573284" y="2787056"/>
                </a:lnTo>
                <a:lnTo>
                  <a:pt x="3558706" y="2777950"/>
                </a:lnTo>
                <a:close/>
                <a:moveTo>
                  <a:pt x="1105149" y="2759198"/>
                </a:moveTo>
                <a:cubicBezTo>
                  <a:pt x="1106971" y="2760108"/>
                  <a:pt x="1108794" y="2761476"/>
                  <a:pt x="1111526" y="2761476"/>
                </a:cubicBezTo>
                <a:cubicBezTo>
                  <a:pt x="1109704" y="2765120"/>
                  <a:pt x="1111526" y="2770586"/>
                  <a:pt x="1106060" y="2772410"/>
                </a:cubicBezTo>
                <a:cubicBezTo>
                  <a:pt x="1106060" y="2768764"/>
                  <a:pt x="1102416" y="2766944"/>
                  <a:pt x="1104238" y="2763298"/>
                </a:cubicBezTo>
                <a:cubicBezTo>
                  <a:pt x="1102416" y="2761476"/>
                  <a:pt x="1098771" y="2763298"/>
                  <a:pt x="1098771" y="2759654"/>
                </a:cubicBezTo>
                <a:cubicBezTo>
                  <a:pt x="1101505" y="2757832"/>
                  <a:pt x="1103327" y="2758288"/>
                  <a:pt x="1105149" y="2759198"/>
                </a:cubicBezTo>
                <a:close/>
                <a:moveTo>
                  <a:pt x="3513152" y="2757898"/>
                </a:moveTo>
                <a:lnTo>
                  <a:pt x="3536841" y="2757898"/>
                </a:lnTo>
                <a:lnTo>
                  <a:pt x="3527730" y="2774294"/>
                </a:lnTo>
                <a:close/>
                <a:moveTo>
                  <a:pt x="1051394" y="2757823"/>
                </a:moveTo>
                <a:cubicBezTo>
                  <a:pt x="1053217" y="2757823"/>
                  <a:pt x="1055040" y="2759643"/>
                  <a:pt x="1056861" y="2757823"/>
                </a:cubicBezTo>
                <a:cubicBezTo>
                  <a:pt x="1056861" y="2759643"/>
                  <a:pt x="1051394" y="2761467"/>
                  <a:pt x="1049572" y="2759643"/>
                </a:cubicBezTo>
                <a:cubicBezTo>
                  <a:pt x="1049572" y="2757823"/>
                  <a:pt x="1051394" y="2759643"/>
                  <a:pt x="1051394" y="2757823"/>
                </a:cubicBezTo>
                <a:close/>
                <a:moveTo>
                  <a:pt x="4214688" y="2756080"/>
                </a:moveTo>
                <a:lnTo>
                  <a:pt x="4214688" y="2779761"/>
                </a:lnTo>
                <a:lnTo>
                  <a:pt x="4198288" y="2770656"/>
                </a:lnTo>
                <a:close/>
                <a:moveTo>
                  <a:pt x="3453020" y="2756068"/>
                </a:moveTo>
                <a:lnTo>
                  <a:pt x="3478531" y="2757887"/>
                </a:lnTo>
                <a:lnTo>
                  <a:pt x="3462131" y="2772467"/>
                </a:lnTo>
                <a:close/>
                <a:moveTo>
                  <a:pt x="1110615" y="2755555"/>
                </a:moveTo>
                <a:cubicBezTo>
                  <a:pt x="1112437" y="2755555"/>
                  <a:pt x="1114259" y="2756010"/>
                  <a:pt x="1115170" y="2756010"/>
                </a:cubicBezTo>
                <a:cubicBezTo>
                  <a:pt x="1113348" y="2761476"/>
                  <a:pt x="1109704" y="2757832"/>
                  <a:pt x="1106059" y="2757832"/>
                </a:cubicBezTo>
                <a:cubicBezTo>
                  <a:pt x="1106970" y="2756010"/>
                  <a:pt x="1108793" y="2755555"/>
                  <a:pt x="1110615" y="2755555"/>
                </a:cubicBezTo>
                <a:close/>
                <a:moveTo>
                  <a:pt x="3409287" y="2748817"/>
                </a:moveTo>
                <a:cubicBezTo>
                  <a:pt x="3418398" y="2768864"/>
                  <a:pt x="3418398" y="2752456"/>
                  <a:pt x="3412932" y="2770682"/>
                </a:cubicBezTo>
                <a:lnTo>
                  <a:pt x="3418398" y="2788888"/>
                </a:lnTo>
                <a:lnTo>
                  <a:pt x="3438442" y="2781622"/>
                </a:lnTo>
                <a:lnTo>
                  <a:pt x="3447553" y="2787075"/>
                </a:lnTo>
                <a:cubicBezTo>
                  <a:pt x="3425687" y="2816222"/>
                  <a:pt x="3447553" y="2788888"/>
                  <a:pt x="3416576" y="2801642"/>
                </a:cubicBezTo>
                <a:cubicBezTo>
                  <a:pt x="3400177" y="2792541"/>
                  <a:pt x="3392888" y="2788888"/>
                  <a:pt x="3378310" y="2777974"/>
                </a:cubicBezTo>
                <a:cubicBezTo>
                  <a:pt x="3387421" y="2759754"/>
                  <a:pt x="3385599" y="2776156"/>
                  <a:pt x="3378310" y="2756114"/>
                </a:cubicBezTo>
                <a:close/>
                <a:moveTo>
                  <a:pt x="3059430" y="2746997"/>
                </a:moveTo>
                <a:lnTo>
                  <a:pt x="3066719" y="2746997"/>
                </a:lnTo>
                <a:cubicBezTo>
                  <a:pt x="3063075" y="2757927"/>
                  <a:pt x="3070363" y="2745178"/>
                  <a:pt x="3064897" y="2756114"/>
                </a:cubicBezTo>
                <a:lnTo>
                  <a:pt x="3074008" y="2757927"/>
                </a:lnTo>
                <a:lnTo>
                  <a:pt x="3079474" y="2756114"/>
                </a:lnTo>
                <a:cubicBezTo>
                  <a:pt x="3083119" y="2763410"/>
                  <a:pt x="3084941" y="2767049"/>
                  <a:pt x="3088585" y="2774330"/>
                </a:cubicBezTo>
                <a:lnTo>
                  <a:pt x="3083119" y="2774330"/>
                </a:lnTo>
                <a:lnTo>
                  <a:pt x="3083119" y="2768864"/>
                </a:lnTo>
                <a:lnTo>
                  <a:pt x="3077652" y="2770682"/>
                </a:lnTo>
                <a:lnTo>
                  <a:pt x="3072186" y="2761578"/>
                </a:lnTo>
                <a:cubicBezTo>
                  <a:pt x="3059430" y="2765231"/>
                  <a:pt x="3063075" y="2763410"/>
                  <a:pt x="3059430" y="2746997"/>
                </a:cubicBezTo>
                <a:close/>
                <a:moveTo>
                  <a:pt x="1038639" y="2745066"/>
                </a:moveTo>
                <a:cubicBezTo>
                  <a:pt x="1038639" y="2745066"/>
                  <a:pt x="1040461" y="2745066"/>
                  <a:pt x="1042284" y="2745066"/>
                </a:cubicBezTo>
                <a:cubicBezTo>
                  <a:pt x="1042284" y="2746888"/>
                  <a:pt x="1040461" y="2748711"/>
                  <a:pt x="1040461" y="2748711"/>
                </a:cubicBezTo>
                <a:cubicBezTo>
                  <a:pt x="1038639" y="2746888"/>
                  <a:pt x="1038639" y="2746888"/>
                  <a:pt x="1038639" y="2745066"/>
                </a:cubicBezTo>
                <a:close/>
                <a:moveTo>
                  <a:pt x="3438442" y="2741477"/>
                </a:moveTo>
                <a:lnTo>
                  <a:pt x="3453020" y="2741477"/>
                </a:lnTo>
                <a:lnTo>
                  <a:pt x="3453020" y="2756059"/>
                </a:lnTo>
                <a:close/>
                <a:moveTo>
                  <a:pt x="2997478" y="2741402"/>
                </a:moveTo>
                <a:cubicBezTo>
                  <a:pt x="2973789" y="2746870"/>
                  <a:pt x="2951923" y="2759624"/>
                  <a:pt x="2930057" y="2770558"/>
                </a:cubicBezTo>
                <a:cubicBezTo>
                  <a:pt x="2926413" y="2772380"/>
                  <a:pt x="2935524" y="2774202"/>
                  <a:pt x="2935524" y="2776024"/>
                </a:cubicBezTo>
                <a:cubicBezTo>
                  <a:pt x="2948279" y="2770558"/>
                  <a:pt x="2962856" y="2765092"/>
                  <a:pt x="2975611" y="2759624"/>
                </a:cubicBezTo>
                <a:cubicBezTo>
                  <a:pt x="2984722" y="2754157"/>
                  <a:pt x="2993833" y="2752336"/>
                  <a:pt x="3002944" y="2750514"/>
                </a:cubicBezTo>
                <a:cubicBezTo>
                  <a:pt x="2992011" y="2752336"/>
                  <a:pt x="2981078" y="2761446"/>
                  <a:pt x="2970145" y="2765092"/>
                </a:cubicBezTo>
                <a:cubicBezTo>
                  <a:pt x="2964678" y="2766914"/>
                  <a:pt x="2970145" y="2774202"/>
                  <a:pt x="2973789" y="2774202"/>
                </a:cubicBezTo>
                <a:cubicBezTo>
                  <a:pt x="2986544" y="2770558"/>
                  <a:pt x="2999300" y="2765092"/>
                  <a:pt x="3012055" y="2763268"/>
                </a:cubicBezTo>
                <a:cubicBezTo>
                  <a:pt x="3013877" y="2763268"/>
                  <a:pt x="3017522" y="2763268"/>
                  <a:pt x="3019344" y="2763268"/>
                </a:cubicBezTo>
                <a:cubicBezTo>
                  <a:pt x="3004766" y="2768736"/>
                  <a:pt x="2990189" y="2776024"/>
                  <a:pt x="2977433" y="2785136"/>
                </a:cubicBezTo>
                <a:cubicBezTo>
                  <a:pt x="2971967" y="2788780"/>
                  <a:pt x="2979256" y="2792424"/>
                  <a:pt x="2982900" y="2790602"/>
                </a:cubicBezTo>
                <a:cubicBezTo>
                  <a:pt x="3010233" y="2779669"/>
                  <a:pt x="3039388" y="2765092"/>
                  <a:pt x="3068542" y="2763268"/>
                </a:cubicBezTo>
                <a:cubicBezTo>
                  <a:pt x="3068542" y="2763268"/>
                  <a:pt x="3070364" y="2763268"/>
                  <a:pt x="3070364" y="2763268"/>
                </a:cubicBezTo>
                <a:cubicBezTo>
                  <a:pt x="3072187" y="2763268"/>
                  <a:pt x="3072187" y="2763268"/>
                  <a:pt x="3072187" y="2763268"/>
                </a:cubicBezTo>
                <a:lnTo>
                  <a:pt x="3043251" y="2772727"/>
                </a:lnTo>
                <a:lnTo>
                  <a:pt x="3053804" y="2783267"/>
                </a:lnTo>
                <a:lnTo>
                  <a:pt x="3059431" y="2781490"/>
                </a:lnTo>
                <a:cubicBezTo>
                  <a:pt x="3077653" y="2774202"/>
                  <a:pt x="3095875" y="2774202"/>
                  <a:pt x="3115919" y="2772380"/>
                </a:cubicBezTo>
                <a:cubicBezTo>
                  <a:pt x="3123207" y="2772380"/>
                  <a:pt x="3130496" y="2774202"/>
                  <a:pt x="3137785" y="2774202"/>
                </a:cubicBezTo>
                <a:cubicBezTo>
                  <a:pt x="3137785" y="2776024"/>
                  <a:pt x="3135963" y="2776024"/>
                  <a:pt x="3135963" y="2776024"/>
                </a:cubicBezTo>
                <a:cubicBezTo>
                  <a:pt x="3112275" y="2778758"/>
                  <a:pt x="3088131" y="2783314"/>
                  <a:pt x="3064442" y="2789236"/>
                </a:cubicBezTo>
                <a:lnTo>
                  <a:pt x="3060109" y="2790584"/>
                </a:lnTo>
                <a:lnTo>
                  <a:pt x="3063075" y="2798004"/>
                </a:lnTo>
                <a:cubicBezTo>
                  <a:pt x="3055786" y="2798004"/>
                  <a:pt x="3051231" y="2798004"/>
                  <a:pt x="3049181" y="2796638"/>
                </a:cubicBezTo>
                <a:lnTo>
                  <a:pt x="3049509" y="2793883"/>
                </a:lnTo>
                <a:lnTo>
                  <a:pt x="2995655" y="2810647"/>
                </a:lnTo>
                <a:cubicBezTo>
                  <a:pt x="2988367" y="2812469"/>
                  <a:pt x="2997478" y="2812469"/>
                  <a:pt x="3001122" y="2812469"/>
                </a:cubicBezTo>
                <a:lnTo>
                  <a:pt x="3063075" y="2798171"/>
                </a:lnTo>
                <a:lnTo>
                  <a:pt x="3063075" y="2798008"/>
                </a:lnTo>
                <a:lnTo>
                  <a:pt x="3063208" y="2798141"/>
                </a:lnTo>
                <a:lnTo>
                  <a:pt x="3119563" y="2785136"/>
                </a:lnTo>
                <a:cubicBezTo>
                  <a:pt x="3110452" y="2790602"/>
                  <a:pt x="3101341" y="2794248"/>
                  <a:pt x="3092230" y="2797892"/>
                </a:cubicBezTo>
                <a:lnTo>
                  <a:pt x="3081296" y="2801390"/>
                </a:lnTo>
                <a:lnTo>
                  <a:pt x="3081296" y="2809554"/>
                </a:lnTo>
                <a:lnTo>
                  <a:pt x="3099519" y="2805179"/>
                </a:lnTo>
                <a:lnTo>
                  <a:pt x="3081296" y="2813279"/>
                </a:lnTo>
                <a:lnTo>
                  <a:pt x="3081296" y="2816222"/>
                </a:lnTo>
                <a:lnTo>
                  <a:pt x="3078652" y="2814453"/>
                </a:lnTo>
                <a:lnTo>
                  <a:pt x="3033921" y="2834335"/>
                </a:lnTo>
                <a:cubicBezTo>
                  <a:pt x="3026632" y="2836156"/>
                  <a:pt x="3028454" y="2847090"/>
                  <a:pt x="3035743" y="2847090"/>
                </a:cubicBezTo>
                <a:cubicBezTo>
                  <a:pt x="3043032" y="2847090"/>
                  <a:pt x="3050320" y="2848912"/>
                  <a:pt x="3057609" y="2848912"/>
                </a:cubicBezTo>
                <a:cubicBezTo>
                  <a:pt x="3037565" y="2848912"/>
                  <a:pt x="3019344" y="2848912"/>
                  <a:pt x="2999300" y="2850734"/>
                </a:cubicBezTo>
                <a:cubicBezTo>
                  <a:pt x="2995655" y="2850734"/>
                  <a:pt x="2993833" y="2854378"/>
                  <a:pt x="2999300" y="2854378"/>
                </a:cubicBezTo>
                <a:cubicBezTo>
                  <a:pt x="3019344" y="2854378"/>
                  <a:pt x="3041210" y="2854378"/>
                  <a:pt x="3061254" y="2854378"/>
                </a:cubicBezTo>
                <a:cubicBezTo>
                  <a:pt x="3051232" y="2855290"/>
                  <a:pt x="3041210" y="2855290"/>
                  <a:pt x="3031188" y="2855746"/>
                </a:cubicBezTo>
                <a:lnTo>
                  <a:pt x="3010109" y="2858619"/>
                </a:lnTo>
                <a:lnTo>
                  <a:pt x="3010004" y="2860630"/>
                </a:lnTo>
                <a:cubicBezTo>
                  <a:pt x="3010231" y="2860856"/>
                  <a:pt x="3010231" y="2860856"/>
                  <a:pt x="3008409" y="2863586"/>
                </a:cubicBezTo>
                <a:cubicBezTo>
                  <a:pt x="3002943" y="2865410"/>
                  <a:pt x="3008409" y="2861760"/>
                  <a:pt x="3001120" y="2865410"/>
                </a:cubicBezTo>
                <a:lnTo>
                  <a:pt x="3000031" y="2861057"/>
                </a:lnTo>
                <a:lnTo>
                  <a:pt x="2997021" y="2864400"/>
                </a:lnTo>
                <a:lnTo>
                  <a:pt x="3000041" y="2867754"/>
                </a:lnTo>
                <a:lnTo>
                  <a:pt x="2952834" y="2863034"/>
                </a:lnTo>
                <a:cubicBezTo>
                  <a:pt x="2914568" y="2853924"/>
                  <a:pt x="2878124" y="2838891"/>
                  <a:pt x="2849880" y="2816113"/>
                </a:cubicBezTo>
                <a:cubicBezTo>
                  <a:pt x="2888146" y="2788780"/>
                  <a:pt x="2928235" y="2761446"/>
                  <a:pt x="2973789" y="2746870"/>
                </a:cubicBezTo>
                <a:cubicBezTo>
                  <a:pt x="2979256" y="2745047"/>
                  <a:pt x="2990189" y="2743226"/>
                  <a:pt x="2997478" y="2741402"/>
                </a:cubicBezTo>
                <a:close/>
                <a:moveTo>
                  <a:pt x="194974" y="2737878"/>
                </a:moveTo>
                <a:lnTo>
                  <a:pt x="216840" y="2743341"/>
                </a:lnTo>
                <a:lnTo>
                  <a:pt x="233240" y="2757927"/>
                </a:lnTo>
                <a:lnTo>
                  <a:pt x="225951" y="2770682"/>
                </a:lnTo>
                <a:lnTo>
                  <a:pt x="231417" y="2788888"/>
                </a:lnTo>
                <a:lnTo>
                  <a:pt x="193152" y="2832600"/>
                </a:lnTo>
                <a:lnTo>
                  <a:pt x="156707" y="2821677"/>
                </a:lnTo>
                <a:lnTo>
                  <a:pt x="140308" y="2825321"/>
                </a:lnTo>
                <a:cubicBezTo>
                  <a:pt x="134841" y="2849017"/>
                  <a:pt x="129375" y="2849017"/>
                  <a:pt x="111153" y="2861760"/>
                </a:cubicBezTo>
                <a:lnTo>
                  <a:pt x="103864" y="2847199"/>
                </a:lnTo>
                <a:cubicBezTo>
                  <a:pt x="138486" y="2834464"/>
                  <a:pt x="107509" y="2827136"/>
                  <a:pt x="151241" y="2816222"/>
                </a:cubicBezTo>
                <a:lnTo>
                  <a:pt x="142130" y="2777974"/>
                </a:lnTo>
                <a:lnTo>
                  <a:pt x="142130" y="2763410"/>
                </a:lnTo>
                <a:cubicBezTo>
                  <a:pt x="142130" y="2736065"/>
                  <a:pt x="143952" y="2761578"/>
                  <a:pt x="134841" y="2741524"/>
                </a:cubicBezTo>
                <a:lnTo>
                  <a:pt x="173107" y="2741524"/>
                </a:lnTo>
                <a:cubicBezTo>
                  <a:pt x="184041" y="2741524"/>
                  <a:pt x="187685" y="2741524"/>
                  <a:pt x="187685" y="2741524"/>
                </a:cubicBezTo>
                <a:cubicBezTo>
                  <a:pt x="187685" y="2741524"/>
                  <a:pt x="185863" y="2741524"/>
                  <a:pt x="194974" y="2737878"/>
                </a:cubicBezTo>
                <a:close/>
                <a:moveTo>
                  <a:pt x="3354167" y="2732523"/>
                </a:moveTo>
                <a:cubicBezTo>
                  <a:pt x="3352345" y="2731841"/>
                  <a:pt x="3350067" y="2732295"/>
                  <a:pt x="3349156" y="2734117"/>
                </a:cubicBezTo>
                <a:cubicBezTo>
                  <a:pt x="3349156" y="2735940"/>
                  <a:pt x="3349156" y="2735940"/>
                  <a:pt x="3349156" y="2735940"/>
                </a:cubicBezTo>
                <a:cubicBezTo>
                  <a:pt x="3349156" y="2741407"/>
                  <a:pt x="3354622" y="2743229"/>
                  <a:pt x="3356444" y="2737763"/>
                </a:cubicBezTo>
                <a:cubicBezTo>
                  <a:pt x="3357355" y="2735029"/>
                  <a:pt x="3355989" y="2733207"/>
                  <a:pt x="3354167" y="2732523"/>
                </a:cubicBezTo>
                <a:close/>
                <a:moveTo>
                  <a:pt x="3104986" y="2732292"/>
                </a:moveTo>
                <a:cubicBezTo>
                  <a:pt x="3101341" y="2732292"/>
                  <a:pt x="3099519" y="2732292"/>
                  <a:pt x="3099519" y="2734115"/>
                </a:cubicBezTo>
                <a:cubicBezTo>
                  <a:pt x="3097697" y="2737761"/>
                  <a:pt x="3103164" y="2739582"/>
                  <a:pt x="3104986" y="2737761"/>
                </a:cubicBezTo>
                <a:cubicBezTo>
                  <a:pt x="3106808" y="2737761"/>
                  <a:pt x="3108630" y="2734115"/>
                  <a:pt x="3104986" y="2732292"/>
                </a:cubicBezTo>
                <a:close/>
                <a:moveTo>
                  <a:pt x="1246185" y="2731767"/>
                </a:moveTo>
                <a:lnTo>
                  <a:pt x="1246139" y="2732088"/>
                </a:lnTo>
                <a:cubicBezTo>
                  <a:pt x="1245456" y="2732314"/>
                  <a:pt x="1244545" y="2732314"/>
                  <a:pt x="1244545" y="2732314"/>
                </a:cubicBezTo>
                <a:close/>
                <a:moveTo>
                  <a:pt x="3017522" y="2728802"/>
                </a:moveTo>
                <a:lnTo>
                  <a:pt x="3022988" y="2734253"/>
                </a:lnTo>
                <a:lnTo>
                  <a:pt x="3015699" y="2734253"/>
                </a:lnTo>
                <a:close/>
                <a:moveTo>
                  <a:pt x="3657104" y="2728782"/>
                </a:moveTo>
                <a:lnTo>
                  <a:pt x="3666214" y="2736052"/>
                </a:lnTo>
                <a:lnTo>
                  <a:pt x="3644348" y="2757919"/>
                </a:lnTo>
                <a:lnTo>
                  <a:pt x="3633415" y="2746979"/>
                </a:lnTo>
                <a:close/>
                <a:moveTo>
                  <a:pt x="1253656" y="2728670"/>
                </a:moveTo>
                <a:cubicBezTo>
                  <a:pt x="1253656" y="2730491"/>
                  <a:pt x="1251834" y="2730491"/>
                  <a:pt x="1250012" y="2732314"/>
                </a:cubicBezTo>
                <a:cubicBezTo>
                  <a:pt x="1250012" y="2732314"/>
                  <a:pt x="1250012" y="2730491"/>
                  <a:pt x="1250012" y="2730491"/>
                </a:cubicBezTo>
                <a:lnTo>
                  <a:pt x="1246185" y="2731767"/>
                </a:lnTo>
                <a:lnTo>
                  <a:pt x="1246367" y="2730491"/>
                </a:lnTo>
                <a:cubicBezTo>
                  <a:pt x="1248191" y="2730491"/>
                  <a:pt x="1250012" y="2730491"/>
                  <a:pt x="1253656" y="2728670"/>
                </a:cubicBezTo>
                <a:close/>
                <a:moveTo>
                  <a:pt x="3469420" y="2726955"/>
                </a:moveTo>
                <a:lnTo>
                  <a:pt x="3500397" y="2734228"/>
                </a:lnTo>
                <a:lnTo>
                  <a:pt x="3489464" y="2750621"/>
                </a:lnTo>
                <a:close/>
                <a:moveTo>
                  <a:pt x="1264589" y="2726848"/>
                </a:moveTo>
                <a:cubicBezTo>
                  <a:pt x="1264589" y="2728671"/>
                  <a:pt x="1259123" y="2728671"/>
                  <a:pt x="1257300" y="2730494"/>
                </a:cubicBezTo>
                <a:cubicBezTo>
                  <a:pt x="1257300" y="2730494"/>
                  <a:pt x="1255478" y="2730494"/>
                  <a:pt x="1255478" y="2728671"/>
                </a:cubicBezTo>
                <a:cubicBezTo>
                  <a:pt x="1259123" y="2728671"/>
                  <a:pt x="1260945" y="2726848"/>
                  <a:pt x="1264589" y="2726848"/>
                </a:cubicBezTo>
                <a:close/>
                <a:moveTo>
                  <a:pt x="3092231" y="2726825"/>
                </a:moveTo>
                <a:cubicBezTo>
                  <a:pt x="3088586" y="2725003"/>
                  <a:pt x="3086764" y="2728648"/>
                  <a:pt x="3090409" y="2732292"/>
                </a:cubicBezTo>
                <a:cubicBezTo>
                  <a:pt x="3090409" y="2734115"/>
                  <a:pt x="3094053" y="2735937"/>
                  <a:pt x="3095875" y="2732292"/>
                </a:cubicBezTo>
                <a:cubicBezTo>
                  <a:pt x="3095875" y="2730471"/>
                  <a:pt x="3094053" y="2726825"/>
                  <a:pt x="3092231" y="2726825"/>
                </a:cubicBezTo>
                <a:close/>
                <a:moveTo>
                  <a:pt x="1226323" y="2721381"/>
                </a:moveTo>
                <a:cubicBezTo>
                  <a:pt x="1228145" y="2725026"/>
                  <a:pt x="1231789" y="2726848"/>
                  <a:pt x="1235434" y="2726848"/>
                </a:cubicBezTo>
                <a:cubicBezTo>
                  <a:pt x="1233611" y="2730491"/>
                  <a:pt x="1222678" y="2726848"/>
                  <a:pt x="1226323" y="2721381"/>
                </a:cubicBezTo>
                <a:close/>
                <a:moveTo>
                  <a:pt x="3405643" y="2721370"/>
                </a:moveTo>
                <a:lnTo>
                  <a:pt x="3414754" y="2732303"/>
                </a:lnTo>
                <a:lnTo>
                  <a:pt x="3409287" y="2741413"/>
                </a:lnTo>
                <a:lnTo>
                  <a:pt x="3389243" y="2734125"/>
                </a:lnTo>
                <a:cubicBezTo>
                  <a:pt x="3394710" y="2730480"/>
                  <a:pt x="3400176" y="2725015"/>
                  <a:pt x="3405643" y="2721370"/>
                </a:cubicBezTo>
                <a:close/>
                <a:moveTo>
                  <a:pt x="3369199" y="2719541"/>
                </a:moveTo>
                <a:cubicBezTo>
                  <a:pt x="3365555" y="2717719"/>
                  <a:pt x="3363733" y="2719541"/>
                  <a:pt x="3363733" y="2721363"/>
                </a:cubicBezTo>
                <a:cubicBezTo>
                  <a:pt x="3361911" y="2725007"/>
                  <a:pt x="3367377" y="2726830"/>
                  <a:pt x="3369199" y="2725007"/>
                </a:cubicBezTo>
                <a:cubicBezTo>
                  <a:pt x="3371022" y="2725007"/>
                  <a:pt x="3372844" y="2721363"/>
                  <a:pt x="3369199" y="2719541"/>
                </a:cubicBezTo>
                <a:close/>
                <a:moveTo>
                  <a:pt x="3303601" y="2719541"/>
                </a:moveTo>
                <a:lnTo>
                  <a:pt x="3303601" y="2741407"/>
                </a:lnTo>
                <a:cubicBezTo>
                  <a:pt x="3303601" y="2770562"/>
                  <a:pt x="3299957" y="2745051"/>
                  <a:pt x="3310890" y="2763274"/>
                </a:cubicBezTo>
                <a:cubicBezTo>
                  <a:pt x="3341867" y="2743229"/>
                  <a:pt x="3312712" y="2752339"/>
                  <a:pt x="3341867" y="2741407"/>
                </a:cubicBezTo>
                <a:cubicBezTo>
                  <a:pt x="3323645" y="2717719"/>
                  <a:pt x="3332756" y="2734117"/>
                  <a:pt x="3303601" y="2719541"/>
                </a:cubicBezTo>
                <a:close/>
                <a:moveTo>
                  <a:pt x="3527730" y="2717851"/>
                </a:moveTo>
                <a:lnTo>
                  <a:pt x="3535018" y="2732412"/>
                </a:lnTo>
                <a:lnTo>
                  <a:pt x="3529552" y="2743321"/>
                </a:lnTo>
                <a:lnTo>
                  <a:pt x="3513152" y="2732412"/>
                </a:lnTo>
                <a:close/>
                <a:moveTo>
                  <a:pt x="1209923" y="2715913"/>
                </a:moveTo>
                <a:cubicBezTo>
                  <a:pt x="1213568" y="2717735"/>
                  <a:pt x="1215390" y="2715913"/>
                  <a:pt x="1217212" y="2715913"/>
                </a:cubicBezTo>
                <a:cubicBezTo>
                  <a:pt x="1217212" y="2717735"/>
                  <a:pt x="1215390" y="2717735"/>
                  <a:pt x="1215390" y="2719558"/>
                </a:cubicBezTo>
                <a:cubicBezTo>
                  <a:pt x="1213568" y="2719558"/>
                  <a:pt x="1211745" y="2717735"/>
                  <a:pt x="1209923" y="2715913"/>
                </a:cubicBezTo>
                <a:close/>
                <a:moveTo>
                  <a:pt x="1271877" y="2715912"/>
                </a:moveTo>
                <a:cubicBezTo>
                  <a:pt x="1273699" y="2715912"/>
                  <a:pt x="1275522" y="2717735"/>
                  <a:pt x="1277343" y="2719558"/>
                </a:cubicBezTo>
                <a:cubicBezTo>
                  <a:pt x="1275522" y="2721381"/>
                  <a:pt x="1268233" y="2721381"/>
                  <a:pt x="1264588" y="2721381"/>
                </a:cubicBezTo>
                <a:cubicBezTo>
                  <a:pt x="1266411" y="2717735"/>
                  <a:pt x="1268233" y="2717735"/>
                  <a:pt x="1271877" y="2715912"/>
                </a:cubicBezTo>
                <a:close/>
                <a:moveTo>
                  <a:pt x="3061254" y="2714070"/>
                </a:moveTo>
                <a:cubicBezTo>
                  <a:pt x="3057609" y="2712249"/>
                  <a:pt x="3055787" y="2719537"/>
                  <a:pt x="3057609" y="2721359"/>
                </a:cubicBezTo>
                <a:cubicBezTo>
                  <a:pt x="3059431" y="2721359"/>
                  <a:pt x="3059431" y="2721359"/>
                  <a:pt x="3059431" y="2721359"/>
                </a:cubicBezTo>
                <a:cubicBezTo>
                  <a:pt x="3064898" y="2721359"/>
                  <a:pt x="3066720" y="2715893"/>
                  <a:pt x="3061254" y="2714070"/>
                </a:cubicBezTo>
                <a:close/>
                <a:moveTo>
                  <a:pt x="3626128" y="2712388"/>
                </a:moveTo>
                <a:lnTo>
                  <a:pt x="3637061" y="2721506"/>
                </a:lnTo>
                <a:lnTo>
                  <a:pt x="3613372" y="2743335"/>
                </a:lnTo>
                <a:lnTo>
                  <a:pt x="3602439" y="2732421"/>
                </a:lnTo>
                <a:close/>
                <a:moveTo>
                  <a:pt x="3445732" y="2712382"/>
                </a:moveTo>
                <a:lnTo>
                  <a:pt x="3460309" y="2712382"/>
                </a:lnTo>
                <a:lnTo>
                  <a:pt x="3469420" y="2726955"/>
                </a:lnTo>
                <a:lnTo>
                  <a:pt x="3453021" y="2734232"/>
                </a:lnTo>
                <a:close/>
                <a:moveTo>
                  <a:pt x="1106059" y="2710455"/>
                </a:moveTo>
                <a:cubicBezTo>
                  <a:pt x="1107881" y="2710455"/>
                  <a:pt x="1107881" y="2712277"/>
                  <a:pt x="1109704" y="2712277"/>
                </a:cubicBezTo>
                <a:cubicBezTo>
                  <a:pt x="1106059" y="2714099"/>
                  <a:pt x="1100593" y="2715924"/>
                  <a:pt x="1096948" y="2715924"/>
                </a:cubicBezTo>
                <a:cubicBezTo>
                  <a:pt x="1096948" y="2714099"/>
                  <a:pt x="1098770" y="2714099"/>
                  <a:pt x="1100593" y="2712277"/>
                </a:cubicBezTo>
                <a:cubicBezTo>
                  <a:pt x="1100593" y="2714099"/>
                  <a:pt x="1102415" y="2714099"/>
                  <a:pt x="1102415" y="2714099"/>
                </a:cubicBezTo>
                <a:cubicBezTo>
                  <a:pt x="1104237" y="2714099"/>
                  <a:pt x="1104237" y="2712277"/>
                  <a:pt x="1106059" y="2710455"/>
                </a:cubicBezTo>
                <a:close/>
                <a:moveTo>
                  <a:pt x="3423866" y="2710436"/>
                </a:moveTo>
                <a:lnTo>
                  <a:pt x="3423866" y="2712258"/>
                </a:lnTo>
                <a:lnTo>
                  <a:pt x="3420221" y="2712258"/>
                </a:lnTo>
                <a:cubicBezTo>
                  <a:pt x="3422044" y="2712258"/>
                  <a:pt x="3422044" y="2710436"/>
                  <a:pt x="3423866" y="2710436"/>
                </a:cubicBezTo>
                <a:close/>
                <a:moveTo>
                  <a:pt x="3381955" y="2710428"/>
                </a:moveTo>
                <a:cubicBezTo>
                  <a:pt x="3380132" y="2710428"/>
                  <a:pt x="3380132" y="2712252"/>
                  <a:pt x="3378310" y="2712252"/>
                </a:cubicBezTo>
                <a:cubicBezTo>
                  <a:pt x="3376488" y="2712252"/>
                  <a:pt x="3374666" y="2712252"/>
                  <a:pt x="3374666" y="2714073"/>
                </a:cubicBezTo>
                <a:cubicBezTo>
                  <a:pt x="3372844" y="2715896"/>
                  <a:pt x="3372844" y="2715896"/>
                  <a:pt x="3376488" y="2717719"/>
                </a:cubicBezTo>
                <a:cubicBezTo>
                  <a:pt x="3376488" y="2719541"/>
                  <a:pt x="3378310" y="2719541"/>
                  <a:pt x="3380132" y="2719541"/>
                </a:cubicBezTo>
                <a:cubicBezTo>
                  <a:pt x="3381955" y="2717719"/>
                  <a:pt x="3383777" y="2717719"/>
                  <a:pt x="3385599" y="2715896"/>
                </a:cubicBezTo>
                <a:cubicBezTo>
                  <a:pt x="3389243" y="2712252"/>
                  <a:pt x="3385599" y="2706787"/>
                  <a:pt x="3381955" y="2710428"/>
                </a:cubicBezTo>
                <a:close/>
                <a:moveTo>
                  <a:pt x="3047359" y="2708604"/>
                </a:moveTo>
                <a:cubicBezTo>
                  <a:pt x="3045765" y="2708148"/>
                  <a:pt x="3043943" y="2708604"/>
                  <a:pt x="3043032" y="2710426"/>
                </a:cubicBezTo>
                <a:cubicBezTo>
                  <a:pt x="3041210" y="2714070"/>
                  <a:pt x="3048498" y="2717715"/>
                  <a:pt x="3050320" y="2714070"/>
                </a:cubicBezTo>
                <a:cubicBezTo>
                  <a:pt x="3050320" y="2712249"/>
                  <a:pt x="3050320" y="2712249"/>
                  <a:pt x="3050320" y="2712249"/>
                </a:cubicBezTo>
                <a:cubicBezTo>
                  <a:pt x="3050320" y="2710426"/>
                  <a:pt x="3048953" y="2709059"/>
                  <a:pt x="3047359" y="2708604"/>
                </a:cubicBezTo>
                <a:close/>
                <a:moveTo>
                  <a:pt x="1311966" y="2706782"/>
                </a:moveTo>
                <a:lnTo>
                  <a:pt x="1319254" y="2706782"/>
                </a:lnTo>
                <a:cubicBezTo>
                  <a:pt x="1315610" y="2706782"/>
                  <a:pt x="1311966" y="2710426"/>
                  <a:pt x="1311966" y="2706782"/>
                </a:cubicBezTo>
                <a:close/>
                <a:moveTo>
                  <a:pt x="1326728" y="2706228"/>
                </a:moveTo>
                <a:lnTo>
                  <a:pt x="1326543" y="2706782"/>
                </a:lnTo>
                <a:lnTo>
                  <a:pt x="1319254" y="2706782"/>
                </a:lnTo>
                <a:close/>
                <a:moveTo>
                  <a:pt x="3389243" y="2703142"/>
                </a:moveTo>
                <a:cubicBezTo>
                  <a:pt x="3385599" y="2704963"/>
                  <a:pt x="3387421" y="2710428"/>
                  <a:pt x="3391066" y="2708607"/>
                </a:cubicBezTo>
                <a:cubicBezTo>
                  <a:pt x="3391066" y="2708607"/>
                  <a:pt x="3392888" y="2708607"/>
                  <a:pt x="3392888" y="2708607"/>
                </a:cubicBezTo>
                <a:cubicBezTo>
                  <a:pt x="3398354" y="2706787"/>
                  <a:pt x="3394710" y="2699497"/>
                  <a:pt x="3389243" y="2703142"/>
                </a:cubicBezTo>
                <a:close/>
                <a:moveTo>
                  <a:pt x="3445731" y="2695931"/>
                </a:moveTo>
                <a:lnTo>
                  <a:pt x="3445731" y="2712338"/>
                </a:lnTo>
                <a:lnTo>
                  <a:pt x="3429331" y="2710517"/>
                </a:lnTo>
                <a:close/>
                <a:moveTo>
                  <a:pt x="3347333" y="2695853"/>
                </a:moveTo>
                <a:lnTo>
                  <a:pt x="3332756" y="2712252"/>
                </a:lnTo>
                <a:lnTo>
                  <a:pt x="3347333" y="2719541"/>
                </a:lnTo>
                <a:lnTo>
                  <a:pt x="3356444" y="2712252"/>
                </a:lnTo>
                <a:close/>
                <a:moveTo>
                  <a:pt x="1024061" y="2690511"/>
                </a:moveTo>
                <a:lnTo>
                  <a:pt x="1033173" y="2695984"/>
                </a:lnTo>
                <a:cubicBezTo>
                  <a:pt x="1018596" y="2716039"/>
                  <a:pt x="1027707" y="2712392"/>
                  <a:pt x="1002195" y="2719683"/>
                </a:cubicBezTo>
                <a:lnTo>
                  <a:pt x="1002195" y="2705108"/>
                </a:lnTo>
                <a:close/>
                <a:moveTo>
                  <a:pt x="1065972" y="2690399"/>
                </a:moveTo>
                <a:cubicBezTo>
                  <a:pt x="1067794" y="2694043"/>
                  <a:pt x="1071438" y="2697688"/>
                  <a:pt x="1075083" y="2695866"/>
                </a:cubicBezTo>
                <a:cubicBezTo>
                  <a:pt x="1071438" y="2699511"/>
                  <a:pt x="1069616" y="2703156"/>
                  <a:pt x="1065972" y="2704977"/>
                </a:cubicBezTo>
                <a:cubicBezTo>
                  <a:pt x="1064151" y="2699511"/>
                  <a:pt x="1062328" y="2695866"/>
                  <a:pt x="1058683" y="2692222"/>
                </a:cubicBezTo>
                <a:cubicBezTo>
                  <a:pt x="1060505" y="2690399"/>
                  <a:pt x="1062328" y="2692222"/>
                  <a:pt x="1065972" y="2690399"/>
                </a:cubicBezTo>
                <a:close/>
                <a:moveTo>
                  <a:pt x="994907" y="2688670"/>
                </a:moveTo>
                <a:lnTo>
                  <a:pt x="1002195" y="2703262"/>
                </a:lnTo>
                <a:lnTo>
                  <a:pt x="987618" y="2710543"/>
                </a:lnTo>
                <a:lnTo>
                  <a:pt x="978507" y="2703262"/>
                </a:lnTo>
                <a:close/>
                <a:moveTo>
                  <a:pt x="1096948" y="2677658"/>
                </a:moveTo>
                <a:lnTo>
                  <a:pt x="1096948" y="2679482"/>
                </a:lnTo>
                <a:cubicBezTo>
                  <a:pt x="1095126" y="2683126"/>
                  <a:pt x="1091482" y="2684949"/>
                  <a:pt x="1087837" y="2688592"/>
                </a:cubicBezTo>
                <a:cubicBezTo>
                  <a:pt x="1086015" y="2684949"/>
                  <a:pt x="1089660" y="2683126"/>
                  <a:pt x="1089660" y="2681305"/>
                </a:cubicBezTo>
                <a:cubicBezTo>
                  <a:pt x="1093304" y="2679482"/>
                  <a:pt x="1095126" y="2679482"/>
                  <a:pt x="1096948" y="2677658"/>
                </a:cubicBezTo>
                <a:close/>
                <a:moveTo>
                  <a:pt x="3422043" y="2675811"/>
                </a:moveTo>
                <a:lnTo>
                  <a:pt x="3425687" y="2686743"/>
                </a:lnTo>
                <a:cubicBezTo>
                  <a:pt x="3423865" y="2686743"/>
                  <a:pt x="3423865" y="2686743"/>
                  <a:pt x="3422043" y="2690387"/>
                </a:cubicBezTo>
                <a:cubicBezTo>
                  <a:pt x="3422043" y="2692211"/>
                  <a:pt x="3422043" y="2692211"/>
                  <a:pt x="3422043" y="2695854"/>
                </a:cubicBezTo>
                <a:cubicBezTo>
                  <a:pt x="3418398" y="2697676"/>
                  <a:pt x="3414754" y="2701321"/>
                  <a:pt x="3411110" y="2703144"/>
                </a:cubicBezTo>
                <a:lnTo>
                  <a:pt x="3411110" y="2701321"/>
                </a:lnTo>
                <a:cubicBezTo>
                  <a:pt x="3412932" y="2699498"/>
                  <a:pt x="3414754" y="2699498"/>
                  <a:pt x="3414754" y="2697676"/>
                </a:cubicBezTo>
                <a:cubicBezTo>
                  <a:pt x="3416576" y="2694032"/>
                  <a:pt x="3411110" y="2692211"/>
                  <a:pt x="3409288" y="2694032"/>
                </a:cubicBezTo>
                <a:lnTo>
                  <a:pt x="3407465" y="2688566"/>
                </a:lnTo>
                <a:cubicBezTo>
                  <a:pt x="3409288" y="2683099"/>
                  <a:pt x="3409288" y="2681277"/>
                  <a:pt x="3411110" y="2679455"/>
                </a:cubicBezTo>
                <a:cubicBezTo>
                  <a:pt x="3414754" y="2677631"/>
                  <a:pt x="3418398" y="2677631"/>
                  <a:pt x="3422043" y="2675811"/>
                </a:cubicBezTo>
                <a:close/>
                <a:moveTo>
                  <a:pt x="1086015" y="2670366"/>
                </a:moveTo>
                <a:cubicBezTo>
                  <a:pt x="1089660" y="2670366"/>
                  <a:pt x="1089660" y="2670366"/>
                  <a:pt x="1091482" y="2670366"/>
                </a:cubicBezTo>
                <a:cubicBezTo>
                  <a:pt x="1091482" y="2672190"/>
                  <a:pt x="1089660" y="2672190"/>
                  <a:pt x="1087837" y="2674013"/>
                </a:cubicBezTo>
                <a:cubicBezTo>
                  <a:pt x="1086015" y="2672190"/>
                  <a:pt x="1086015" y="2672190"/>
                  <a:pt x="1086015" y="2670366"/>
                </a:cubicBezTo>
                <a:close/>
                <a:moveTo>
                  <a:pt x="1062327" y="2657608"/>
                </a:moveTo>
                <a:cubicBezTo>
                  <a:pt x="1067794" y="2659430"/>
                  <a:pt x="1075083" y="2659430"/>
                  <a:pt x="1080549" y="2657608"/>
                </a:cubicBezTo>
                <a:lnTo>
                  <a:pt x="1082373" y="2659430"/>
                </a:lnTo>
                <a:cubicBezTo>
                  <a:pt x="1080549" y="2663077"/>
                  <a:pt x="1078727" y="2668544"/>
                  <a:pt x="1078727" y="2672189"/>
                </a:cubicBezTo>
                <a:cubicBezTo>
                  <a:pt x="1073260" y="2677658"/>
                  <a:pt x="1067794" y="2681303"/>
                  <a:pt x="1060505" y="2684948"/>
                </a:cubicBezTo>
                <a:cubicBezTo>
                  <a:pt x="1062327" y="2681303"/>
                  <a:pt x="1064151" y="2675834"/>
                  <a:pt x="1065972" y="2672189"/>
                </a:cubicBezTo>
                <a:cubicBezTo>
                  <a:pt x="1056861" y="2672189"/>
                  <a:pt x="1058683" y="2692236"/>
                  <a:pt x="1049572" y="2686771"/>
                </a:cubicBezTo>
                <a:cubicBezTo>
                  <a:pt x="1049572" y="2688592"/>
                  <a:pt x="1049572" y="2690414"/>
                  <a:pt x="1049572" y="2690414"/>
                </a:cubicBezTo>
                <a:cubicBezTo>
                  <a:pt x="1049572" y="2690414"/>
                  <a:pt x="1047750" y="2690414"/>
                  <a:pt x="1047750" y="2690414"/>
                </a:cubicBezTo>
                <a:lnTo>
                  <a:pt x="1040479" y="2681323"/>
                </a:lnTo>
                <a:lnTo>
                  <a:pt x="1040462" y="2681356"/>
                </a:lnTo>
                <a:lnTo>
                  <a:pt x="1024062" y="2666767"/>
                </a:lnTo>
                <a:lnTo>
                  <a:pt x="1047750" y="2666767"/>
                </a:lnTo>
                <a:lnTo>
                  <a:pt x="1040490" y="2681303"/>
                </a:lnTo>
                <a:lnTo>
                  <a:pt x="1053216" y="2681303"/>
                </a:lnTo>
                <a:close/>
                <a:moveTo>
                  <a:pt x="1111526" y="2657603"/>
                </a:moveTo>
                <a:cubicBezTo>
                  <a:pt x="1111526" y="2659426"/>
                  <a:pt x="1109704" y="2661248"/>
                  <a:pt x="1107882" y="2663072"/>
                </a:cubicBezTo>
                <a:cubicBezTo>
                  <a:pt x="1106060" y="2661248"/>
                  <a:pt x="1107882" y="2661248"/>
                  <a:pt x="1107882" y="2659426"/>
                </a:cubicBezTo>
                <a:cubicBezTo>
                  <a:pt x="1107882" y="2659426"/>
                  <a:pt x="1109704" y="2657603"/>
                  <a:pt x="1111526" y="2657603"/>
                </a:cubicBezTo>
                <a:close/>
                <a:moveTo>
                  <a:pt x="1095126" y="2653958"/>
                </a:moveTo>
                <a:lnTo>
                  <a:pt x="1100593" y="2653958"/>
                </a:lnTo>
                <a:cubicBezTo>
                  <a:pt x="1100593" y="2655780"/>
                  <a:pt x="1100593" y="2655780"/>
                  <a:pt x="1100593" y="2657603"/>
                </a:cubicBezTo>
                <a:cubicBezTo>
                  <a:pt x="1098771" y="2657603"/>
                  <a:pt x="1096949" y="2657603"/>
                  <a:pt x="1096949" y="2659424"/>
                </a:cubicBezTo>
                <a:cubicBezTo>
                  <a:pt x="1095126" y="2659424"/>
                  <a:pt x="1093304" y="2659424"/>
                  <a:pt x="1093304" y="2657603"/>
                </a:cubicBezTo>
                <a:cubicBezTo>
                  <a:pt x="1095126" y="2657603"/>
                  <a:pt x="1095126" y="2655780"/>
                  <a:pt x="1095126" y="2653958"/>
                </a:cubicBezTo>
                <a:close/>
                <a:moveTo>
                  <a:pt x="3387421" y="2648475"/>
                </a:moveTo>
                <a:lnTo>
                  <a:pt x="3372844" y="2663052"/>
                </a:lnTo>
                <a:lnTo>
                  <a:pt x="3376488" y="2663052"/>
                </a:lnTo>
                <a:cubicBezTo>
                  <a:pt x="3369199" y="2666697"/>
                  <a:pt x="3363733" y="2670341"/>
                  <a:pt x="3356444" y="2675808"/>
                </a:cubicBezTo>
                <a:cubicBezTo>
                  <a:pt x="3352800" y="2679452"/>
                  <a:pt x="3360088" y="2683098"/>
                  <a:pt x="3363733" y="2681274"/>
                </a:cubicBezTo>
                <a:cubicBezTo>
                  <a:pt x="3389243" y="2663052"/>
                  <a:pt x="3418398" y="2655763"/>
                  <a:pt x="3447553" y="2653942"/>
                </a:cubicBezTo>
                <a:lnTo>
                  <a:pt x="3451197" y="2664873"/>
                </a:lnTo>
                <a:lnTo>
                  <a:pt x="3438442" y="2657586"/>
                </a:lnTo>
                <a:lnTo>
                  <a:pt x="3422042" y="2670341"/>
                </a:lnTo>
                <a:cubicBezTo>
                  <a:pt x="3420220" y="2672163"/>
                  <a:pt x="3416576" y="2672163"/>
                  <a:pt x="3412932" y="2673985"/>
                </a:cubicBezTo>
                <a:cubicBezTo>
                  <a:pt x="3411109" y="2672163"/>
                  <a:pt x="3409287" y="2670341"/>
                  <a:pt x="3405643" y="2661229"/>
                </a:cubicBezTo>
                <a:lnTo>
                  <a:pt x="3385599" y="2684920"/>
                </a:lnTo>
                <a:lnTo>
                  <a:pt x="3407465" y="2701318"/>
                </a:lnTo>
                <a:cubicBezTo>
                  <a:pt x="3374666" y="2725007"/>
                  <a:pt x="3349156" y="2759630"/>
                  <a:pt x="3314534" y="2779672"/>
                </a:cubicBezTo>
                <a:cubicBezTo>
                  <a:pt x="3310890" y="2783318"/>
                  <a:pt x="3310890" y="2790608"/>
                  <a:pt x="3316356" y="2792429"/>
                </a:cubicBezTo>
                <a:cubicBezTo>
                  <a:pt x="3343689" y="2801539"/>
                  <a:pt x="3369199" y="2814293"/>
                  <a:pt x="3396532" y="2825227"/>
                </a:cubicBezTo>
                <a:cubicBezTo>
                  <a:pt x="3396532" y="2827049"/>
                  <a:pt x="3394710" y="2830695"/>
                  <a:pt x="3392888" y="2837983"/>
                </a:cubicBezTo>
                <a:cubicBezTo>
                  <a:pt x="3371022" y="2832515"/>
                  <a:pt x="3378310" y="2841627"/>
                  <a:pt x="3385599" y="2821583"/>
                </a:cubicBezTo>
                <a:lnTo>
                  <a:pt x="3354622" y="2832515"/>
                </a:lnTo>
                <a:lnTo>
                  <a:pt x="3332756" y="2827049"/>
                </a:lnTo>
                <a:lnTo>
                  <a:pt x="3310890" y="2832515"/>
                </a:lnTo>
                <a:lnTo>
                  <a:pt x="3298135" y="2843448"/>
                </a:lnTo>
                <a:cubicBezTo>
                  <a:pt x="3296312" y="2841627"/>
                  <a:pt x="3296312" y="2841627"/>
                  <a:pt x="3294490" y="2839807"/>
                </a:cubicBezTo>
                <a:lnTo>
                  <a:pt x="3294490" y="2832515"/>
                </a:lnTo>
                <a:lnTo>
                  <a:pt x="3287201" y="2832515"/>
                </a:lnTo>
                <a:cubicBezTo>
                  <a:pt x="3279913" y="2823405"/>
                  <a:pt x="3272624" y="2816115"/>
                  <a:pt x="3267158" y="2807005"/>
                </a:cubicBezTo>
                <a:cubicBezTo>
                  <a:pt x="3252580" y="2785140"/>
                  <a:pt x="3228892" y="2766918"/>
                  <a:pt x="3201559" y="2748697"/>
                </a:cubicBezTo>
                <a:cubicBezTo>
                  <a:pt x="3219781" y="2741407"/>
                  <a:pt x="3239825" y="2728653"/>
                  <a:pt x="3256225" y="2717719"/>
                </a:cubicBezTo>
                <a:cubicBezTo>
                  <a:pt x="3272624" y="2706787"/>
                  <a:pt x="3289024" y="2697674"/>
                  <a:pt x="3305423" y="2684920"/>
                </a:cubicBezTo>
                <a:cubicBezTo>
                  <a:pt x="3301779" y="2688562"/>
                  <a:pt x="3296312" y="2692208"/>
                  <a:pt x="3292668" y="2695853"/>
                </a:cubicBezTo>
                <a:cubicBezTo>
                  <a:pt x="3290846" y="2697674"/>
                  <a:pt x="3294490" y="2706787"/>
                  <a:pt x="3296312" y="2704963"/>
                </a:cubicBezTo>
                <a:cubicBezTo>
                  <a:pt x="3309068" y="2697674"/>
                  <a:pt x="3320001" y="2688562"/>
                  <a:pt x="3332756" y="2679452"/>
                </a:cubicBezTo>
                <a:lnTo>
                  <a:pt x="3341867" y="2688562"/>
                </a:lnTo>
                <a:lnTo>
                  <a:pt x="3343689" y="2672163"/>
                </a:lnTo>
                <a:cubicBezTo>
                  <a:pt x="3356444" y="2664873"/>
                  <a:pt x="3371022" y="2655763"/>
                  <a:pt x="3383777" y="2650295"/>
                </a:cubicBezTo>
                <a:cubicBezTo>
                  <a:pt x="3385599" y="2648475"/>
                  <a:pt x="3385599" y="2648475"/>
                  <a:pt x="3387421" y="2648475"/>
                </a:cubicBezTo>
                <a:close/>
                <a:moveTo>
                  <a:pt x="3414754" y="2643011"/>
                </a:moveTo>
                <a:cubicBezTo>
                  <a:pt x="3425687" y="2643011"/>
                  <a:pt x="3436621" y="2643011"/>
                  <a:pt x="3447554" y="2643011"/>
                </a:cubicBezTo>
                <a:lnTo>
                  <a:pt x="3447554" y="2644832"/>
                </a:lnTo>
                <a:cubicBezTo>
                  <a:pt x="3429332" y="2646655"/>
                  <a:pt x="3409288" y="2650300"/>
                  <a:pt x="3392887" y="2657589"/>
                </a:cubicBezTo>
                <a:lnTo>
                  <a:pt x="3392887" y="2648476"/>
                </a:lnTo>
                <a:cubicBezTo>
                  <a:pt x="3400177" y="2646655"/>
                  <a:pt x="3407466" y="2644832"/>
                  <a:pt x="3414754" y="2643011"/>
                </a:cubicBezTo>
                <a:close/>
                <a:moveTo>
                  <a:pt x="3150540" y="2639359"/>
                </a:moveTo>
                <a:cubicBezTo>
                  <a:pt x="3152362" y="2639359"/>
                  <a:pt x="3152362" y="2639359"/>
                  <a:pt x="3152362" y="2639359"/>
                </a:cubicBezTo>
                <a:cubicBezTo>
                  <a:pt x="3154185" y="2639359"/>
                  <a:pt x="3157829" y="2639359"/>
                  <a:pt x="3159651" y="2639359"/>
                </a:cubicBezTo>
                <a:cubicBezTo>
                  <a:pt x="3130496" y="2648471"/>
                  <a:pt x="3103164" y="2659404"/>
                  <a:pt x="3074009" y="2672159"/>
                </a:cubicBezTo>
                <a:cubicBezTo>
                  <a:pt x="3068542" y="2673982"/>
                  <a:pt x="3074009" y="2679448"/>
                  <a:pt x="3077653" y="2679448"/>
                </a:cubicBezTo>
                <a:cubicBezTo>
                  <a:pt x="3123207" y="2672159"/>
                  <a:pt x="3165118" y="2655761"/>
                  <a:pt x="3212494" y="2650293"/>
                </a:cubicBezTo>
                <a:cubicBezTo>
                  <a:pt x="3236182" y="2648471"/>
                  <a:pt x="3259871" y="2646649"/>
                  <a:pt x="3283559" y="2644827"/>
                </a:cubicBezTo>
                <a:cubicBezTo>
                  <a:pt x="3267159" y="2648471"/>
                  <a:pt x="3250760" y="2652116"/>
                  <a:pt x="3234360" y="2655761"/>
                </a:cubicBezTo>
                <a:cubicBezTo>
                  <a:pt x="3192450" y="2664871"/>
                  <a:pt x="3146896" y="2666693"/>
                  <a:pt x="3108630" y="2688560"/>
                </a:cubicBezTo>
                <a:cubicBezTo>
                  <a:pt x="3106808" y="2688560"/>
                  <a:pt x="3110452" y="2697671"/>
                  <a:pt x="3110452" y="2697671"/>
                </a:cubicBezTo>
                <a:cubicBezTo>
                  <a:pt x="3148718" y="2683093"/>
                  <a:pt x="3190628" y="2681271"/>
                  <a:pt x="3230716" y="2673982"/>
                </a:cubicBezTo>
                <a:cubicBezTo>
                  <a:pt x="3252582" y="2670338"/>
                  <a:pt x="3272626" y="2666693"/>
                  <a:pt x="3292670" y="2663048"/>
                </a:cubicBezTo>
                <a:cubicBezTo>
                  <a:pt x="3287203" y="2664871"/>
                  <a:pt x="3281737" y="2666693"/>
                  <a:pt x="3276270" y="2668515"/>
                </a:cubicBezTo>
                <a:cubicBezTo>
                  <a:pt x="3258048" y="2672159"/>
                  <a:pt x="3239827" y="2677627"/>
                  <a:pt x="3221605" y="2679448"/>
                </a:cubicBezTo>
                <a:cubicBezTo>
                  <a:pt x="3190628" y="2683093"/>
                  <a:pt x="3159651" y="2684916"/>
                  <a:pt x="3130496" y="2699492"/>
                </a:cubicBezTo>
                <a:cubicBezTo>
                  <a:pt x="3125030" y="2701315"/>
                  <a:pt x="3130496" y="2708604"/>
                  <a:pt x="3134141" y="2708604"/>
                </a:cubicBezTo>
                <a:cubicBezTo>
                  <a:pt x="3137785" y="2708604"/>
                  <a:pt x="3141429" y="2708604"/>
                  <a:pt x="3145074" y="2708604"/>
                </a:cubicBezTo>
                <a:cubicBezTo>
                  <a:pt x="3137785" y="2708604"/>
                  <a:pt x="3132318" y="2710426"/>
                  <a:pt x="3126852" y="2712249"/>
                </a:cubicBezTo>
                <a:cubicBezTo>
                  <a:pt x="3125030" y="2712249"/>
                  <a:pt x="3132318" y="2717715"/>
                  <a:pt x="3134141" y="2717715"/>
                </a:cubicBezTo>
                <a:cubicBezTo>
                  <a:pt x="3152362" y="2715893"/>
                  <a:pt x="3168762" y="2715893"/>
                  <a:pt x="3186984" y="2712249"/>
                </a:cubicBezTo>
                <a:cubicBezTo>
                  <a:pt x="3203383" y="2710426"/>
                  <a:pt x="3217961" y="2706782"/>
                  <a:pt x="3234360" y="2703136"/>
                </a:cubicBezTo>
                <a:cubicBezTo>
                  <a:pt x="3238004" y="2701315"/>
                  <a:pt x="3243471" y="2701315"/>
                  <a:pt x="3248938" y="2699492"/>
                </a:cubicBezTo>
                <a:cubicBezTo>
                  <a:pt x="3241649" y="2704959"/>
                  <a:pt x="3236182" y="2708604"/>
                  <a:pt x="3228894" y="2712249"/>
                </a:cubicBezTo>
                <a:cubicBezTo>
                  <a:pt x="3216138" y="2714070"/>
                  <a:pt x="3201561" y="2717715"/>
                  <a:pt x="3186984" y="2719537"/>
                </a:cubicBezTo>
                <a:cubicBezTo>
                  <a:pt x="3170584" y="2721359"/>
                  <a:pt x="3152362" y="2728648"/>
                  <a:pt x="3135963" y="2725003"/>
                </a:cubicBezTo>
                <a:cubicBezTo>
                  <a:pt x="3130496" y="2725003"/>
                  <a:pt x="3132318" y="2732292"/>
                  <a:pt x="3135963" y="2734115"/>
                </a:cubicBezTo>
                <a:cubicBezTo>
                  <a:pt x="3152362" y="2739582"/>
                  <a:pt x="3165118" y="2735937"/>
                  <a:pt x="3181517" y="2734115"/>
                </a:cubicBezTo>
                <a:cubicBezTo>
                  <a:pt x="3183339" y="2734115"/>
                  <a:pt x="3185162" y="2734115"/>
                  <a:pt x="3186984" y="2734115"/>
                </a:cubicBezTo>
                <a:cubicBezTo>
                  <a:pt x="3185162" y="2734115"/>
                  <a:pt x="3185162" y="2735937"/>
                  <a:pt x="3183339" y="2735937"/>
                </a:cubicBezTo>
                <a:cubicBezTo>
                  <a:pt x="3181517" y="2735937"/>
                  <a:pt x="3181517" y="2735937"/>
                  <a:pt x="3181517" y="2735937"/>
                </a:cubicBezTo>
                <a:cubicBezTo>
                  <a:pt x="3177873" y="2735937"/>
                  <a:pt x="3176051" y="2735937"/>
                  <a:pt x="3174228" y="2737761"/>
                </a:cubicBezTo>
                <a:cubicBezTo>
                  <a:pt x="3174228" y="2735937"/>
                  <a:pt x="3172406" y="2735937"/>
                  <a:pt x="3172406" y="2735937"/>
                </a:cubicBezTo>
                <a:cubicBezTo>
                  <a:pt x="3170584" y="2735937"/>
                  <a:pt x="3170584" y="2735937"/>
                  <a:pt x="3170584" y="2735937"/>
                </a:cubicBezTo>
                <a:cubicBezTo>
                  <a:pt x="3166940" y="2735937"/>
                  <a:pt x="3165118" y="2741405"/>
                  <a:pt x="3168762" y="2743226"/>
                </a:cubicBezTo>
                <a:cubicBezTo>
                  <a:pt x="3170584" y="2743226"/>
                  <a:pt x="3170584" y="2743226"/>
                  <a:pt x="3170584" y="2743226"/>
                </a:cubicBezTo>
                <a:cubicBezTo>
                  <a:pt x="3172406" y="2743226"/>
                  <a:pt x="3172406" y="2743226"/>
                  <a:pt x="3172406" y="2743226"/>
                </a:cubicBezTo>
                <a:cubicBezTo>
                  <a:pt x="3165118" y="2745047"/>
                  <a:pt x="3156007" y="2745047"/>
                  <a:pt x="3148718" y="2745047"/>
                </a:cubicBezTo>
                <a:cubicBezTo>
                  <a:pt x="3148718" y="2743226"/>
                  <a:pt x="3146896" y="2741405"/>
                  <a:pt x="3145074" y="2741405"/>
                </a:cubicBezTo>
                <a:cubicBezTo>
                  <a:pt x="3143251" y="2741405"/>
                  <a:pt x="3141429" y="2741405"/>
                  <a:pt x="3141429" y="2743226"/>
                </a:cubicBezTo>
                <a:cubicBezTo>
                  <a:pt x="3141429" y="2743226"/>
                  <a:pt x="3141429" y="2745047"/>
                  <a:pt x="3141429" y="2745047"/>
                </a:cubicBezTo>
                <a:cubicBezTo>
                  <a:pt x="3137785" y="2745047"/>
                  <a:pt x="3134141" y="2745047"/>
                  <a:pt x="3130496" y="2745047"/>
                </a:cubicBezTo>
                <a:cubicBezTo>
                  <a:pt x="3130496" y="2745047"/>
                  <a:pt x="3128674" y="2745047"/>
                  <a:pt x="3128674" y="2745047"/>
                </a:cubicBezTo>
                <a:cubicBezTo>
                  <a:pt x="3128674" y="2743226"/>
                  <a:pt x="3128674" y="2741405"/>
                  <a:pt x="3126852" y="2741405"/>
                </a:cubicBezTo>
                <a:cubicBezTo>
                  <a:pt x="3125030" y="2741405"/>
                  <a:pt x="3125030" y="2741405"/>
                  <a:pt x="3125030" y="2741405"/>
                </a:cubicBezTo>
                <a:cubicBezTo>
                  <a:pt x="3123207" y="2739582"/>
                  <a:pt x="3121385" y="2741405"/>
                  <a:pt x="3121385" y="2743226"/>
                </a:cubicBezTo>
                <a:cubicBezTo>
                  <a:pt x="3119563" y="2743226"/>
                  <a:pt x="3117741" y="2741405"/>
                  <a:pt x="3115919" y="2741405"/>
                </a:cubicBezTo>
                <a:cubicBezTo>
                  <a:pt x="3115919" y="2739582"/>
                  <a:pt x="3115919" y="2735937"/>
                  <a:pt x="3114097" y="2735937"/>
                </a:cubicBezTo>
                <a:cubicBezTo>
                  <a:pt x="3114097" y="2735937"/>
                  <a:pt x="3112275" y="2735937"/>
                  <a:pt x="3112275" y="2735937"/>
                </a:cubicBezTo>
                <a:cubicBezTo>
                  <a:pt x="3108630" y="2735937"/>
                  <a:pt x="3106808" y="2739582"/>
                  <a:pt x="3108630" y="2741405"/>
                </a:cubicBezTo>
                <a:cubicBezTo>
                  <a:pt x="3104986" y="2743226"/>
                  <a:pt x="3104986" y="2745047"/>
                  <a:pt x="3106808" y="2748693"/>
                </a:cubicBezTo>
                <a:cubicBezTo>
                  <a:pt x="3110452" y="2752336"/>
                  <a:pt x="3112275" y="2755981"/>
                  <a:pt x="3115919" y="2757804"/>
                </a:cubicBezTo>
                <a:lnTo>
                  <a:pt x="3042461" y="2740041"/>
                </a:lnTo>
                <a:lnTo>
                  <a:pt x="3032097" y="2741524"/>
                </a:lnTo>
                <a:lnTo>
                  <a:pt x="3032097" y="2736065"/>
                </a:lnTo>
                <a:lnTo>
                  <a:pt x="3033305" y="2736065"/>
                </a:lnTo>
                <a:lnTo>
                  <a:pt x="2970144" y="2703136"/>
                </a:lnTo>
                <a:cubicBezTo>
                  <a:pt x="2953744" y="2694026"/>
                  <a:pt x="2935523" y="2679448"/>
                  <a:pt x="2920945" y="2664871"/>
                </a:cubicBezTo>
                <a:cubicBezTo>
                  <a:pt x="2924590" y="2666693"/>
                  <a:pt x="2930056" y="2668515"/>
                  <a:pt x="2933700" y="2668515"/>
                </a:cubicBezTo>
                <a:cubicBezTo>
                  <a:pt x="2992010" y="2679448"/>
                  <a:pt x="3048498" y="2655761"/>
                  <a:pt x="3104986" y="2644827"/>
                </a:cubicBezTo>
                <a:cubicBezTo>
                  <a:pt x="3112275" y="2643005"/>
                  <a:pt x="3121385" y="2643005"/>
                  <a:pt x="3128674" y="2641183"/>
                </a:cubicBezTo>
                <a:cubicBezTo>
                  <a:pt x="3135963" y="2641183"/>
                  <a:pt x="3143251" y="2641183"/>
                  <a:pt x="3150540" y="2639359"/>
                </a:cubicBezTo>
                <a:close/>
                <a:moveTo>
                  <a:pt x="1109704" y="2637556"/>
                </a:moveTo>
                <a:cubicBezTo>
                  <a:pt x="1109704" y="2641202"/>
                  <a:pt x="1109704" y="2643025"/>
                  <a:pt x="1107882" y="2646668"/>
                </a:cubicBezTo>
                <a:cubicBezTo>
                  <a:pt x="1106060" y="2644845"/>
                  <a:pt x="1104237" y="2646668"/>
                  <a:pt x="1102415" y="2644845"/>
                </a:cubicBezTo>
                <a:cubicBezTo>
                  <a:pt x="1106060" y="2643025"/>
                  <a:pt x="1106060" y="2639379"/>
                  <a:pt x="1109704" y="2637556"/>
                </a:cubicBezTo>
                <a:close/>
                <a:moveTo>
                  <a:pt x="2875390" y="2632072"/>
                </a:moveTo>
                <a:cubicBezTo>
                  <a:pt x="2871746" y="2630250"/>
                  <a:pt x="2869924" y="2637537"/>
                  <a:pt x="2873568" y="2639359"/>
                </a:cubicBezTo>
                <a:cubicBezTo>
                  <a:pt x="2873568" y="2639359"/>
                  <a:pt x="2875390" y="2639359"/>
                  <a:pt x="2875390" y="2639359"/>
                </a:cubicBezTo>
                <a:cubicBezTo>
                  <a:pt x="2879035" y="2641182"/>
                  <a:pt x="2880857" y="2633894"/>
                  <a:pt x="2875390" y="2632072"/>
                </a:cubicBezTo>
                <a:close/>
                <a:moveTo>
                  <a:pt x="987618" y="2630333"/>
                </a:moveTo>
                <a:lnTo>
                  <a:pt x="1002196" y="2637631"/>
                </a:lnTo>
                <a:cubicBezTo>
                  <a:pt x="987618" y="2657668"/>
                  <a:pt x="998552" y="2652196"/>
                  <a:pt x="971219" y="2659490"/>
                </a:cubicBezTo>
                <a:close/>
                <a:moveTo>
                  <a:pt x="1014951" y="2628445"/>
                </a:moveTo>
                <a:cubicBezTo>
                  <a:pt x="1015862" y="2631180"/>
                  <a:pt x="1016774" y="2632547"/>
                  <a:pt x="1017913" y="2635053"/>
                </a:cubicBezTo>
                <a:lnTo>
                  <a:pt x="1018303" y="2636265"/>
                </a:lnTo>
                <a:close/>
                <a:moveTo>
                  <a:pt x="1091484" y="2624798"/>
                </a:moveTo>
                <a:cubicBezTo>
                  <a:pt x="1093305" y="2630266"/>
                  <a:pt x="1093305" y="2635734"/>
                  <a:pt x="1096949" y="2639379"/>
                </a:cubicBezTo>
                <a:cubicBezTo>
                  <a:pt x="1095127" y="2643022"/>
                  <a:pt x="1089660" y="2646668"/>
                  <a:pt x="1089660" y="2650312"/>
                </a:cubicBezTo>
                <a:cubicBezTo>
                  <a:pt x="1087838" y="2644845"/>
                  <a:pt x="1091484" y="2637556"/>
                  <a:pt x="1087838" y="2630266"/>
                </a:cubicBezTo>
                <a:cubicBezTo>
                  <a:pt x="1089660" y="2630266"/>
                  <a:pt x="1091484" y="2628449"/>
                  <a:pt x="1091484" y="2628449"/>
                </a:cubicBezTo>
                <a:cubicBezTo>
                  <a:pt x="1091484" y="2628449"/>
                  <a:pt x="1089660" y="2626627"/>
                  <a:pt x="1091484" y="2624798"/>
                </a:cubicBezTo>
                <a:close/>
                <a:moveTo>
                  <a:pt x="2862635" y="2624783"/>
                </a:moveTo>
                <a:cubicBezTo>
                  <a:pt x="2860813" y="2624783"/>
                  <a:pt x="2858991" y="2630250"/>
                  <a:pt x="2862635" y="2632072"/>
                </a:cubicBezTo>
                <a:cubicBezTo>
                  <a:pt x="2864457" y="2632072"/>
                  <a:pt x="2868101" y="2630250"/>
                  <a:pt x="2868101" y="2628427"/>
                </a:cubicBezTo>
                <a:cubicBezTo>
                  <a:pt x="2868101" y="2624783"/>
                  <a:pt x="2864457" y="2622961"/>
                  <a:pt x="2862635" y="2624783"/>
                </a:cubicBezTo>
                <a:close/>
                <a:moveTo>
                  <a:pt x="3784656" y="2621247"/>
                </a:moveTo>
                <a:lnTo>
                  <a:pt x="3822921" y="2621247"/>
                </a:lnTo>
                <a:cubicBezTo>
                  <a:pt x="3841143" y="2621247"/>
                  <a:pt x="3844787" y="2633987"/>
                  <a:pt x="3859365" y="2644914"/>
                </a:cubicBezTo>
                <a:lnTo>
                  <a:pt x="3864832" y="2674099"/>
                </a:lnTo>
                <a:lnTo>
                  <a:pt x="3859365" y="2695996"/>
                </a:lnTo>
                <a:lnTo>
                  <a:pt x="3844787" y="2710582"/>
                </a:lnTo>
                <a:lnTo>
                  <a:pt x="3815633" y="2719703"/>
                </a:lnTo>
                <a:cubicBezTo>
                  <a:pt x="3781011" y="2688695"/>
                  <a:pt x="3799233" y="2717874"/>
                  <a:pt x="3770077" y="2674099"/>
                </a:cubicBezTo>
                <a:cubicBezTo>
                  <a:pt x="3770077" y="2674099"/>
                  <a:pt x="3777366" y="2661327"/>
                  <a:pt x="3777366" y="2659501"/>
                </a:cubicBezTo>
                <a:cubicBezTo>
                  <a:pt x="3777366" y="2630345"/>
                  <a:pt x="3781011" y="2655854"/>
                  <a:pt x="3770077" y="2635822"/>
                </a:cubicBezTo>
                <a:lnTo>
                  <a:pt x="3784656" y="2635822"/>
                </a:lnTo>
                <a:close/>
                <a:moveTo>
                  <a:pt x="1069616" y="2619335"/>
                </a:moveTo>
                <a:cubicBezTo>
                  <a:pt x="1069616" y="2626627"/>
                  <a:pt x="1073262" y="2635734"/>
                  <a:pt x="1076905" y="2643022"/>
                </a:cubicBezTo>
                <a:lnTo>
                  <a:pt x="1075083" y="2643022"/>
                </a:lnTo>
                <a:cubicBezTo>
                  <a:pt x="1065972" y="2633914"/>
                  <a:pt x="1056861" y="2628445"/>
                  <a:pt x="1045929" y="2624798"/>
                </a:cubicBezTo>
                <a:cubicBezTo>
                  <a:pt x="1049572" y="2635734"/>
                  <a:pt x="1058683" y="2639379"/>
                  <a:pt x="1067794" y="2643022"/>
                </a:cubicBezTo>
                <a:lnTo>
                  <a:pt x="1065972" y="2643022"/>
                </a:lnTo>
                <a:lnTo>
                  <a:pt x="1071439" y="2648491"/>
                </a:lnTo>
                <a:cubicBezTo>
                  <a:pt x="1064151" y="2646668"/>
                  <a:pt x="1056861" y="2643022"/>
                  <a:pt x="1047750" y="2644845"/>
                </a:cubicBezTo>
                <a:cubicBezTo>
                  <a:pt x="1049572" y="2648491"/>
                  <a:pt x="1053217" y="2652135"/>
                  <a:pt x="1056861" y="2653958"/>
                </a:cubicBezTo>
                <a:lnTo>
                  <a:pt x="1022240" y="2648491"/>
                </a:lnTo>
                <a:lnTo>
                  <a:pt x="1018303" y="2636265"/>
                </a:lnTo>
                <a:lnTo>
                  <a:pt x="1020418" y="2641200"/>
                </a:lnTo>
                <a:cubicBezTo>
                  <a:pt x="1025884" y="2641200"/>
                  <a:pt x="1024062" y="2633914"/>
                  <a:pt x="1020418" y="2632087"/>
                </a:cubicBezTo>
                <a:cubicBezTo>
                  <a:pt x="1025884" y="2628445"/>
                  <a:pt x="1025884" y="2637556"/>
                  <a:pt x="1027707" y="2641200"/>
                </a:cubicBezTo>
                <a:cubicBezTo>
                  <a:pt x="1033173" y="2639379"/>
                  <a:pt x="1027707" y="2637556"/>
                  <a:pt x="1027707" y="2633914"/>
                </a:cubicBezTo>
                <a:cubicBezTo>
                  <a:pt x="1031351" y="2635734"/>
                  <a:pt x="1031351" y="2641200"/>
                  <a:pt x="1034995" y="2641200"/>
                </a:cubicBezTo>
                <a:cubicBezTo>
                  <a:pt x="1036818" y="2639379"/>
                  <a:pt x="1034995" y="2637556"/>
                  <a:pt x="1033173" y="2635734"/>
                </a:cubicBezTo>
                <a:cubicBezTo>
                  <a:pt x="1034995" y="2635734"/>
                  <a:pt x="1034995" y="2637556"/>
                  <a:pt x="1036818" y="2637556"/>
                </a:cubicBezTo>
                <a:cubicBezTo>
                  <a:pt x="1038639" y="2635734"/>
                  <a:pt x="1038639" y="2632087"/>
                  <a:pt x="1036818" y="2632087"/>
                </a:cubicBezTo>
                <a:cubicBezTo>
                  <a:pt x="1038639" y="2632087"/>
                  <a:pt x="1040462" y="2630266"/>
                  <a:pt x="1040462" y="2628445"/>
                </a:cubicBezTo>
                <a:cubicBezTo>
                  <a:pt x="1034995" y="2624798"/>
                  <a:pt x="1025884" y="2630266"/>
                  <a:pt x="1020418" y="2626627"/>
                </a:cubicBezTo>
                <a:cubicBezTo>
                  <a:pt x="1020418" y="2624798"/>
                  <a:pt x="1022240" y="2624798"/>
                  <a:pt x="1022240" y="2624798"/>
                </a:cubicBezTo>
                <a:cubicBezTo>
                  <a:pt x="1020418" y="2622977"/>
                  <a:pt x="1018596" y="2624798"/>
                  <a:pt x="1016774" y="2622977"/>
                </a:cubicBezTo>
                <a:cubicBezTo>
                  <a:pt x="1031351" y="2619335"/>
                  <a:pt x="1042284" y="2621158"/>
                  <a:pt x="1055040" y="2621158"/>
                </a:cubicBezTo>
                <a:cubicBezTo>
                  <a:pt x="1056861" y="2622977"/>
                  <a:pt x="1058683" y="2624798"/>
                  <a:pt x="1060506" y="2624798"/>
                </a:cubicBezTo>
                <a:cubicBezTo>
                  <a:pt x="1062328" y="2624798"/>
                  <a:pt x="1060506" y="2622977"/>
                  <a:pt x="1058683" y="2621158"/>
                </a:cubicBezTo>
                <a:cubicBezTo>
                  <a:pt x="1062328" y="2619335"/>
                  <a:pt x="1065972" y="2619335"/>
                  <a:pt x="1069616" y="2619335"/>
                </a:cubicBezTo>
                <a:close/>
                <a:moveTo>
                  <a:pt x="1142503" y="2619333"/>
                </a:moveTo>
                <a:cubicBezTo>
                  <a:pt x="1142503" y="2619333"/>
                  <a:pt x="1144325" y="2619333"/>
                  <a:pt x="1144325" y="2619333"/>
                </a:cubicBezTo>
                <a:lnTo>
                  <a:pt x="1142505" y="2621153"/>
                </a:lnTo>
                <a:lnTo>
                  <a:pt x="1153436" y="2626622"/>
                </a:lnTo>
                <a:cubicBezTo>
                  <a:pt x="1147970" y="2630264"/>
                  <a:pt x="1142503" y="2632084"/>
                  <a:pt x="1140681" y="2635729"/>
                </a:cubicBezTo>
                <a:cubicBezTo>
                  <a:pt x="1140681" y="2632084"/>
                  <a:pt x="1142503" y="2626622"/>
                  <a:pt x="1142503" y="2621153"/>
                </a:cubicBezTo>
                <a:close/>
                <a:moveTo>
                  <a:pt x="1162547" y="2615685"/>
                </a:moveTo>
                <a:cubicBezTo>
                  <a:pt x="1164370" y="2617512"/>
                  <a:pt x="1162547" y="2619335"/>
                  <a:pt x="1160724" y="2619335"/>
                </a:cubicBezTo>
                <a:cubicBezTo>
                  <a:pt x="1160724" y="2619335"/>
                  <a:pt x="1158902" y="2619335"/>
                  <a:pt x="1158902" y="2617512"/>
                </a:cubicBezTo>
                <a:cubicBezTo>
                  <a:pt x="1160724" y="2615685"/>
                  <a:pt x="1160724" y="2615685"/>
                  <a:pt x="1162547" y="2615685"/>
                </a:cubicBezTo>
                <a:close/>
                <a:moveTo>
                  <a:pt x="1130432" y="2614554"/>
                </a:moveTo>
                <a:cubicBezTo>
                  <a:pt x="1133848" y="2613870"/>
                  <a:pt x="1137037" y="2613870"/>
                  <a:pt x="1138860" y="2615691"/>
                </a:cubicBezTo>
                <a:cubicBezTo>
                  <a:pt x="1137039" y="2624798"/>
                  <a:pt x="1131571" y="2632087"/>
                  <a:pt x="1131571" y="2641200"/>
                </a:cubicBezTo>
                <a:cubicBezTo>
                  <a:pt x="1129749" y="2641200"/>
                  <a:pt x="1127926" y="2639377"/>
                  <a:pt x="1124281" y="2641200"/>
                </a:cubicBezTo>
                <a:cubicBezTo>
                  <a:pt x="1122459" y="2641200"/>
                  <a:pt x="1122459" y="2643022"/>
                  <a:pt x="1122459" y="2643022"/>
                </a:cubicBezTo>
                <a:cubicBezTo>
                  <a:pt x="1122459" y="2644844"/>
                  <a:pt x="1124281" y="2646668"/>
                  <a:pt x="1126104" y="2646668"/>
                </a:cubicBezTo>
                <a:cubicBezTo>
                  <a:pt x="1126104" y="2648491"/>
                  <a:pt x="1126104" y="2648491"/>
                  <a:pt x="1126104" y="2650312"/>
                </a:cubicBezTo>
                <a:cubicBezTo>
                  <a:pt x="1122459" y="2650312"/>
                  <a:pt x="1126104" y="2648491"/>
                  <a:pt x="1124281" y="2646668"/>
                </a:cubicBezTo>
                <a:cubicBezTo>
                  <a:pt x="1120637" y="2648491"/>
                  <a:pt x="1120637" y="2650312"/>
                  <a:pt x="1120637" y="2653958"/>
                </a:cubicBezTo>
                <a:cubicBezTo>
                  <a:pt x="1118815" y="2653958"/>
                  <a:pt x="1118815" y="2653958"/>
                  <a:pt x="1116993" y="2653958"/>
                </a:cubicBezTo>
                <a:cubicBezTo>
                  <a:pt x="1118815" y="2650312"/>
                  <a:pt x="1120637" y="2646668"/>
                  <a:pt x="1120637" y="2641200"/>
                </a:cubicBezTo>
                <a:cubicBezTo>
                  <a:pt x="1120637" y="2639377"/>
                  <a:pt x="1116993" y="2639377"/>
                  <a:pt x="1115171" y="2641200"/>
                </a:cubicBezTo>
                <a:cubicBezTo>
                  <a:pt x="1113348" y="2639377"/>
                  <a:pt x="1115171" y="2637556"/>
                  <a:pt x="1115171" y="2635734"/>
                </a:cubicBezTo>
                <a:cubicBezTo>
                  <a:pt x="1113348" y="2635734"/>
                  <a:pt x="1113348" y="2637556"/>
                  <a:pt x="1111526" y="2637556"/>
                </a:cubicBezTo>
                <a:cubicBezTo>
                  <a:pt x="1109704" y="2635734"/>
                  <a:pt x="1111526" y="2633910"/>
                  <a:pt x="1111526" y="2632087"/>
                </a:cubicBezTo>
                <a:cubicBezTo>
                  <a:pt x="1107882" y="2630266"/>
                  <a:pt x="1104238" y="2635734"/>
                  <a:pt x="1100593" y="2637556"/>
                </a:cubicBezTo>
                <a:cubicBezTo>
                  <a:pt x="1100593" y="2633910"/>
                  <a:pt x="1102415" y="2630266"/>
                  <a:pt x="1102415" y="2621158"/>
                </a:cubicBezTo>
                <a:cubicBezTo>
                  <a:pt x="1104238" y="2621158"/>
                  <a:pt x="1106060" y="2624798"/>
                  <a:pt x="1109704" y="2624798"/>
                </a:cubicBezTo>
                <a:cubicBezTo>
                  <a:pt x="1109704" y="2621158"/>
                  <a:pt x="1106060" y="2619335"/>
                  <a:pt x="1104238" y="2617521"/>
                </a:cubicBezTo>
                <a:cubicBezTo>
                  <a:pt x="1109704" y="2615691"/>
                  <a:pt x="1113348" y="2617521"/>
                  <a:pt x="1118815" y="2617521"/>
                </a:cubicBezTo>
                <a:cubicBezTo>
                  <a:pt x="1118815" y="2621158"/>
                  <a:pt x="1118815" y="2622977"/>
                  <a:pt x="1120637" y="2624798"/>
                </a:cubicBezTo>
                <a:cubicBezTo>
                  <a:pt x="1122459" y="2624798"/>
                  <a:pt x="1120637" y="2622977"/>
                  <a:pt x="1122459" y="2622977"/>
                </a:cubicBezTo>
                <a:cubicBezTo>
                  <a:pt x="1122459" y="2621158"/>
                  <a:pt x="1120637" y="2619335"/>
                  <a:pt x="1120637" y="2617521"/>
                </a:cubicBezTo>
                <a:cubicBezTo>
                  <a:pt x="1123371" y="2616600"/>
                  <a:pt x="1127015" y="2615236"/>
                  <a:pt x="1130432" y="2614554"/>
                </a:cubicBezTo>
                <a:close/>
                <a:moveTo>
                  <a:pt x="1301032" y="2613868"/>
                </a:moveTo>
                <a:cubicBezTo>
                  <a:pt x="1301032" y="2615691"/>
                  <a:pt x="1302855" y="2613868"/>
                  <a:pt x="1304677" y="2613868"/>
                </a:cubicBezTo>
                <a:cubicBezTo>
                  <a:pt x="1306499" y="2613868"/>
                  <a:pt x="1301032" y="2617517"/>
                  <a:pt x="1301032" y="2617517"/>
                </a:cubicBezTo>
                <a:cubicBezTo>
                  <a:pt x="1301032" y="2615691"/>
                  <a:pt x="1301032" y="2615691"/>
                  <a:pt x="1301032" y="2613868"/>
                </a:cubicBezTo>
                <a:close/>
                <a:moveTo>
                  <a:pt x="1155259" y="2612047"/>
                </a:moveTo>
                <a:cubicBezTo>
                  <a:pt x="1155259" y="2615691"/>
                  <a:pt x="1158902" y="2615691"/>
                  <a:pt x="1157080" y="2619335"/>
                </a:cubicBezTo>
                <a:cubicBezTo>
                  <a:pt x="1155259" y="2619335"/>
                  <a:pt x="1153436" y="2617517"/>
                  <a:pt x="1151614" y="2617517"/>
                </a:cubicBezTo>
                <a:cubicBezTo>
                  <a:pt x="1149791" y="2615691"/>
                  <a:pt x="1153436" y="2617517"/>
                  <a:pt x="1151614" y="2613868"/>
                </a:cubicBezTo>
                <a:cubicBezTo>
                  <a:pt x="1149791" y="2613868"/>
                  <a:pt x="1147969" y="2615691"/>
                  <a:pt x="1147969" y="2613868"/>
                </a:cubicBezTo>
                <a:cubicBezTo>
                  <a:pt x="1151614" y="2612047"/>
                  <a:pt x="1153436" y="2613868"/>
                  <a:pt x="1155259" y="2612047"/>
                </a:cubicBezTo>
                <a:close/>
                <a:moveTo>
                  <a:pt x="3589683" y="2606677"/>
                </a:moveTo>
                <a:cubicBezTo>
                  <a:pt x="3607905" y="2617608"/>
                  <a:pt x="3598794" y="2615772"/>
                  <a:pt x="3620660" y="2621238"/>
                </a:cubicBezTo>
                <a:cubicBezTo>
                  <a:pt x="3615194" y="2643090"/>
                  <a:pt x="3620660" y="2632166"/>
                  <a:pt x="3604261" y="2644906"/>
                </a:cubicBezTo>
                <a:cubicBezTo>
                  <a:pt x="3589683" y="2604856"/>
                  <a:pt x="3598794" y="2655846"/>
                  <a:pt x="3589683" y="2606677"/>
                </a:cubicBezTo>
                <a:close/>
                <a:moveTo>
                  <a:pt x="3536839" y="2606634"/>
                </a:moveTo>
                <a:lnTo>
                  <a:pt x="3553239" y="2608461"/>
                </a:lnTo>
                <a:lnTo>
                  <a:pt x="3538661" y="2623023"/>
                </a:lnTo>
                <a:close/>
                <a:moveTo>
                  <a:pt x="2848286" y="2603373"/>
                </a:moveTo>
                <a:cubicBezTo>
                  <a:pt x="2846691" y="2602917"/>
                  <a:pt x="2844413" y="2603828"/>
                  <a:pt x="2842591" y="2606561"/>
                </a:cubicBezTo>
                <a:cubicBezTo>
                  <a:pt x="2842591" y="2610206"/>
                  <a:pt x="2848058" y="2612028"/>
                  <a:pt x="2849880" y="2608382"/>
                </a:cubicBezTo>
                <a:cubicBezTo>
                  <a:pt x="2850791" y="2605650"/>
                  <a:pt x="2849880" y="2603828"/>
                  <a:pt x="2848286" y="2603373"/>
                </a:cubicBezTo>
                <a:close/>
                <a:moveTo>
                  <a:pt x="951175" y="2599381"/>
                </a:moveTo>
                <a:lnTo>
                  <a:pt x="940242" y="2628516"/>
                </a:lnTo>
                <a:lnTo>
                  <a:pt x="925664" y="2619406"/>
                </a:lnTo>
                <a:close/>
                <a:moveTo>
                  <a:pt x="3329113" y="2599273"/>
                </a:moveTo>
                <a:cubicBezTo>
                  <a:pt x="3327291" y="2599273"/>
                  <a:pt x="3325468" y="2599273"/>
                  <a:pt x="3325468" y="2601096"/>
                </a:cubicBezTo>
                <a:cubicBezTo>
                  <a:pt x="3325468" y="2601096"/>
                  <a:pt x="3325468" y="2602919"/>
                  <a:pt x="3325468" y="2604739"/>
                </a:cubicBezTo>
                <a:cubicBezTo>
                  <a:pt x="3325468" y="2606563"/>
                  <a:pt x="3327291" y="2606563"/>
                  <a:pt x="3329113" y="2606563"/>
                </a:cubicBezTo>
                <a:cubicBezTo>
                  <a:pt x="3329113" y="2606563"/>
                  <a:pt x="3330935" y="2606563"/>
                  <a:pt x="3330935" y="2606563"/>
                </a:cubicBezTo>
                <a:cubicBezTo>
                  <a:pt x="3334579" y="2604739"/>
                  <a:pt x="3332757" y="2599273"/>
                  <a:pt x="3329113" y="2599273"/>
                </a:cubicBezTo>
                <a:close/>
                <a:moveTo>
                  <a:pt x="3312713" y="2599273"/>
                </a:moveTo>
                <a:cubicBezTo>
                  <a:pt x="3309069" y="2597453"/>
                  <a:pt x="3307247" y="2604739"/>
                  <a:pt x="3310891" y="2606563"/>
                </a:cubicBezTo>
                <a:cubicBezTo>
                  <a:pt x="3314535" y="2606563"/>
                  <a:pt x="3316357" y="2601096"/>
                  <a:pt x="3312713" y="2599273"/>
                </a:cubicBezTo>
                <a:close/>
                <a:moveTo>
                  <a:pt x="3409288" y="2597455"/>
                </a:moveTo>
                <a:cubicBezTo>
                  <a:pt x="3409288" y="2597455"/>
                  <a:pt x="3411110" y="2599278"/>
                  <a:pt x="3411110" y="2599278"/>
                </a:cubicBezTo>
                <a:cubicBezTo>
                  <a:pt x="3412932" y="2599278"/>
                  <a:pt x="3412932" y="2601100"/>
                  <a:pt x="3414754" y="2601100"/>
                </a:cubicBezTo>
                <a:cubicBezTo>
                  <a:pt x="3411110" y="2601100"/>
                  <a:pt x="3409288" y="2599278"/>
                  <a:pt x="3405643" y="2599278"/>
                </a:cubicBezTo>
                <a:close/>
                <a:moveTo>
                  <a:pt x="3367378" y="2597453"/>
                </a:moveTo>
                <a:cubicBezTo>
                  <a:pt x="3361912" y="2597453"/>
                  <a:pt x="3360089" y="2602919"/>
                  <a:pt x="3363734" y="2604739"/>
                </a:cubicBezTo>
                <a:cubicBezTo>
                  <a:pt x="3365556" y="2604739"/>
                  <a:pt x="3365556" y="2604739"/>
                  <a:pt x="3365556" y="2604739"/>
                </a:cubicBezTo>
                <a:cubicBezTo>
                  <a:pt x="3371023" y="2604739"/>
                  <a:pt x="3372845" y="2599273"/>
                  <a:pt x="3367378" y="2597453"/>
                </a:cubicBezTo>
                <a:close/>
                <a:moveTo>
                  <a:pt x="3266931" y="2597224"/>
                </a:moveTo>
                <a:cubicBezTo>
                  <a:pt x="3265792" y="2596996"/>
                  <a:pt x="3264425" y="2597451"/>
                  <a:pt x="3263514" y="2599273"/>
                </a:cubicBezTo>
                <a:cubicBezTo>
                  <a:pt x="3263514" y="2601096"/>
                  <a:pt x="3265336" y="2604739"/>
                  <a:pt x="3267159" y="2604739"/>
                </a:cubicBezTo>
                <a:cubicBezTo>
                  <a:pt x="3270803" y="2604739"/>
                  <a:pt x="3272625" y="2601096"/>
                  <a:pt x="3268981" y="2599273"/>
                </a:cubicBezTo>
                <a:cubicBezTo>
                  <a:pt x="3268981" y="2598363"/>
                  <a:pt x="3268070" y="2597452"/>
                  <a:pt x="3266931" y="2597224"/>
                </a:cubicBezTo>
                <a:close/>
                <a:moveTo>
                  <a:pt x="1379385" y="2595648"/>
                </a:moveTo>
                <a:cubicBezTo>
                  <a:pt x="1383030" y="2595648"/>
                  <a:pt x="1383030" y="2599293"/>
                  <a:pt x="1386674" y="2599293"/>
                </a:cubicBezTo>
                <a:cubicBezTo>
                  <a:pt x="1388496" y="2601117"/>
                  <a:pt x="1390319" y="2602934"/>
                  <a:pt x="1390319" y="2604758"/>
                </a:cubicBezTo>
                <a:cubicBezTo>
                  <a:pt x="1386674" y="2601117"/>
                  <a:pt x="1381208" y="2602934"/>
                  <a:pt x="1377563" y="2599293"/>
                </a:cubicBezTo>
                <a:cubicBezTo>
                  <a:pt x="1377563" y="2599293"/>
                  <a:pt x="1381208" y="2597469"/>
                  <a:pt x="1379385" y="2595648"/>
                </a:cubicBezTo>
                <a:close/>
                <a:moveTo>
                  <a:pt x="3298136" y="2593809"/>
                </a:moveTo>
                <a:cubicBezTo>
                  <a:pt x="3292669" y="2591986"/>
                  <a:pt x="3290847" y="2599273"/>
                  <a:pt x="3294491" y="2601096"/>
                </a:cubicBezTo>
                <a:cubicBezTo>
                  <a:pt x="3296313" y="2601096"/>
                  <a:pt x="3296313" y="2601096"/>
                  <a:pt x="3296313" y="2601096"/>
                </a:cubicBezTo>
                <a:cubicBezTo>
                  <a:pt x="3299958" y="2601096"/>
                  <a:pt x="3301780" y="2595629"/>
                  <a:pt x="3298136" y="2593809"/>
                </a:cubicBezTo>
                <a:close/>
                <a:moveTo>
                  <a:pt x="3254404" y="2591986"/>
                </a:moveTo>
                <a:cubicBezTo>
                  <a:pt x="3248937" y="2591986"/>
                  <a:pt x="3247115" y="2597453"/>
                  <a:pt x="3252581" y="2599273"/>
                </a:cubicBezTo>
                <a:cubicBezTo>
                  <a:pt x="3256226" y="2601096"/>
                  <a:pt x="3258048" y="2593809"/>
                  <a:pt x="3256226" y="2591986"/>
                </a:cubicBezTo>
                <a:cubicBezTo>
                  <a:pt x="3254404" y="2591986"/>
                  <a:pt x="3254404" y="2591986"/>
                  <a:pt x="3254404" y="2591986"/>
                </a:cubicBezTo>
                <a:close/>
                <a:moveTo>
                  <a:pt x="3429332" y="2590168"/>
                </a:moveTo>
                <a:lnTo>
                  <a:pt x="3429332" y="2591990"/>
                </a:lnTo>
                <a:cubicBezTo>
                  <a:pt x="3427510" y="2591990"/>
                  <a:pt x="3425688" y="2591990"/>
                  <a:pt x="3423865" y="2591990"/>
                </a:cubicBezTo>
                <a:close/>
                <a:moveTo>
                  <a:pt x="3283330" y="2588114"/>
                </a:moveTo>
                <a:cubicBezTo>
                  <a:pt x="3282192" y="2587886"/>
                  <a:pt x="3280825" y="2588342"/>
                  <a:pt x="3279914" y="2590165"/>
                </a:cubicBezTo>
                <a:cubicBezTo>
                  <a:pt x="3279914" y="2591986"/>
                  <a:pt x="3281736" y="2595629"/>
                  <a:pt x="3283558" y="2595629"/>
                </a:cubicBezTo>
                <a:cubicBezTo>
                  <a:pt x="3287202" y="2597453"/>
                  <a:pt x="3289025" y="2593809"/>
                  <a:pt x="3285380" y="2590165"/>
                </a:cubicBezTo>
                <a:cubicBezTo>
                  <a:pt x="3285380" y="2589254"/>
                  <a:pt x="3284469" y="2588342"/>
                  <a:pt x="3283330" y="2588114"/>
                </a:cubicBezTo>
                <a:close/>
                <a:moveTo>
                  <a:pt x="3270803" y="2586519"/>
                </a:moveTo>
                <a:cubicBezTo>
                  <a:pt x="3265336" y="2586519"/>
                  <a:pt x="3263514" y="2591986"/>
                  <a:pt x="3268981" y="2593809"/>
                </a:cubicBezTo>
                <a:cubicBezTo>
                  <a:pt x="3272625" y="2593809"/>
                  <a:pt x="3274447" y="2588342"/>
                  <a:pt x="3272625" y="2586519"/>
                </a:cubicBezTo>
                <a:cubicBezTo>
                  <a:pt x="3270803" y="2586519"/>
                  <a:pt x="3270803" y="2586519"/>
                  <a:pt x="3270803" y="2586519"/>
                </a:cubicBezTo>
                <a:close/>
                <a:moveTo>
                  <a:pt x="3241420" y="2586292"/>
                </a:moveTo>
                <a:cubicBezTo>
                  <a:pt x="3240282" y="2586064"/>
                  <a:pt x="3238915" y="2586520"/>
                  <a:pt x="3238004" y="2588342"/>
                </a:cubicBezTo>
                <a:cubicBezTo>
                  <a:pt x="3238004" y="2590165"/>
                  <a:pt x="3239826" y="2593809"/>
                  <a:pt x="3241648" y="2593809"/>
                </a:cubicBezTo>
                <a:cubicBezTo>
                  <a:pt x="3245293" y="2595629"/>
                  <a:pt x="3247115" y="2590165"/>
                  <a:pt x="3243470" y="2588342"/>
                </a:cubicBezTo>
                <a:cubicBezTo>
                  <a:pt x="3243470" y="2587431"/>
                  <a:pt x="3242559" y="2586520"/>
                  <a:pt x="3241420" y="2586292"/>
                </a:cubicBezTo>
                <a:close/>
                <a:moveTo>
                  <a:pt x="1007663" y="2581144"/>
                </a:moveTo>
                <a:lnTo>
                  <a:pt x="1016774" y="2599366"/>
                </a:lnTo>
                <a:lnTo>
                  <a:pt x="993085" y="2597541"/>
                </a:lnTo>
                <a:close/>
                <a:moveTo>
                  <a:pt x="1304676" y="2581069"/>
                </a:moveTo>
                <a:cubicBezTo>
                  <a:pt x="1304676" y="2586538"/>
                  <a:pt x="1306498" y="2592004"/>
                  <a:pt x="1304676" y="2595650"/>
                </a:cubicBezTo>
                <a:cubicBezTo>
                  <a:pt x="1302855" y="2590180"/>
                  <a:pt x="1297388" y="2590180"/>
                  <a:pt x="1293744" y="2590180"/>
                </a:cubicBezTo>
                <a:cubicBezTo>
                  <a:pt x="1293744" y="2586538"/>
                  <a:pt x="1297388" y="2584715"/>
                  <a:pt x="1299210" y="2582893"/>
                </a:cubicBezTo>
                <a:cubicBezTo>
                  <a:pt x="1301032" y="2584715"/>
                  <a:pt x="1301032" y="2586538"/>
                  <a:pt x="1301032" y="2584715"/>
                </a:cubicBezTo>
                <a:cubicBezTo>
                  <a:pt x="1302855" y="2582893"/>
                  <a:pt x="1302855" y="2582893"/>
                  <a:pt x="1304676" y="2581069"/>
                </a:cubicBezTo>
                <a:close/>
                <a:moveTo>
                  <a:pt x="3493107" y="2581055"/>
                </a:moveTo>
                <a:cubicBezTo>
                  <a:pt x="3494930" y="2584699"/>
                  <a:pt x="3498574" y="2588344"/>
                  <a:pt x="3502218" y="2590165"/>
                </a:cubicBezTo>
                <a:lnTo>
                  <a:pt x="3496752" y="2590165"/>
                </a:lnTo>
                <a:cubicBezTo>
                  <a:pt x="3496752" y="2588344"/>
                  <a:pt x="3494930" y="2584699"/>
                  <a:pt x="3493107" y="2581055"/>
                </a:cubicBezTo>
                <a:close/>
                <a:moveTo>
                  <a:pt x="2957389" y="2579376"/>
                </a:moveTo>
                <a:lnTo>
                  <a:pt x="2962856" y="2579376"/>
                </a:lnTo>
                <a:lnTo>
                  <a:pt x="2962856" y="2584844"/>
                </a:lnTo>
                <a:close/>
                <a:moveTo>
                  <a:pt x="3254404" y="2579230"/>
                </a:moveTo>
                <a:cubicBezTo>
                  <a:pt x="3248937" y="2579230"/>
                  <a:pt x="3247115" y="2584698"/>
                  <a:pt x="3252581" y="2586519"/>
                </a:cubicBezTo>
                <a:cubicBezTo>
                  <a:pt x="3258048" y="2588342"/>
                  <a:pt x="3259870" y="2581052"/>
                  <a:pt x="3256226" y="2579230"/>
                </a:cubicBezTo>
                <a:cubicBezTo>
                  <a:pt x="3254404" y="2579230"/>
                  <a:pt x="3254404" y="2579230"/>
                  <a:pt x="3254404" y="2579230"/>
                </a:cubicBezTo>
                <a:close/>
                <a:moveTo>
                  <a:pt x="3395522" y="2575959"/>
                </a:moveTo>
                <a:lnTo>
                  <a:pt x="3414754" y="2584702"/>
                </a:lnTo>
                <a:lnTo>
                  <a:pt x="3403821" y="2597458"/>
                </a:lnTo>
                <a:cubicBezTo>
                  <a:pt x="3396532" y="2595635"/>
                  <a:pt x="3391066" y="2591990"/>
                  <a:pt x="3389243" y="2588346"/>
                </a:cubicBezTo>
                <a:lnTo>
                  <a:pt x="3398354" y="2581058"/>
                </a:lnTo>
                <a:close/>
                <a:moveTo>
                  <a:pt x="783535" y="2575691"/>
                </a:moveTo>
                <a:lnTo>
                  <a:pt x="805401" y="2599376"/>
                </a:lnTo>
                <a:lnTo>
                  <a:pt x="783535" y="2599376"/>
                </a:lnTo>
                <a:close/>
                <a:moveTo>
                  <a:pt x="1290099" y="2573783"/>
                </a:moveTo>
                <a:cubicBezTo>
                  <a:pt x="1291921" y="2573783"/>
                  <a:pt x="1293744" y="2577425"/>
                  <a:pt x="1297388" y="2575603"/>
                </a:cubicBezTo>
                <a:cubicBezTo>
                  <a:pt x="1297388" y="2579248"/>
                  <a:pt x="1297388" y="2581069"/>
                  <a:pt x="1295566" y="2582893"/>
                </a:cubicBezTo>
                <a:cubicBezTo>
                  <a:pt x="1293744" y="2581069"/>
                  <a:pt x="1295566" y="2579248"/>
                  <a:pt x="1293744" y="2579248"/>
                </a:cubicBezTo>
                <a:cubicBezTo>
                  <a:pt x="1291921" y="2579248"/>
                  <a:pt x="1291921" y="2581069"/>
                  <a:pt x="1291921" y="2581069"/>
                </a:cubicBezTo>
                <a:cubicBezTo>
                  <a:pt x="1290099" y="2579248"/>
                  <a:pt x="1291921" y="2577425"/>
                  <a:pt x="1290099" y="2573783"/>
                </a:cubicBezTo>
                <a:close/>
                <a:moveTo>
                  <a:pt x="3214316" y="2573764"/>
                </a:moveTo>
                <a:cubicBezTo>
                  <a:pt x="3208849" y="2573764"/>
                  <a:pt x="3207027" y="2579230"/>
                  <a:pt x="3212494" y="2581052"/>
                </a:cubicBezTo>
                <a:cubicBezTo>
                  <a:pt x="3216138" y="2582875"/>
                  <a:pt x="3217960" y="2577408"/>
                  <a:pt x="3216138" y="2573764"/>
                </a:cubicBezTo>
                <a:cubicBezTo>
                  <a:pt x="3214316" y="2573764"/>
                  <a:pt x="3214316" y="2573764"/>
                  <a:pt x="3214316" y="2573764"/>
                </a:cubicBezTo>
                <a:close/>
                <a:moveTo>
                  <a:pt x="3890341" y="2570254"/>
                </a:moveTo>
                <a:cubicBezTo>
                  <a:pt x="3908563" y="2570254"/>
                  <a:pt x="3899452" y="2572086"/>
                  <a:pt x="3919496" y="2577539"/>
                </a:cubicBezTo>
                <a:lnTo>
                  <a:pt x="3928607" y="2615784"/>
                </a:lnTo>
                <a:cubicBezTo>
                  <a:pt x="3923140" y="2619426"/>
                  <a:pt x="3910385" y="2630343"/>
                  <a:pt x="3906741" y="2630343"/>
                </a:cubicBezTo>
                <a:cubicBezTo>
                  <a:pt x="3888519" y="2630343"/>
                  <a:pt x="3890341" y="2623067"/>
                  <a:pt x="3877586" y="2613966"/>
                </a:cubicBezTo>
                <a:lnTo>
                  <a:pt x="3870297" y="2583012"/>
                </a:lnTo>
                <a:cubicBezTo>
                  <a:pt x="3873942" y="2579376"/>
                  <a:pt x="3886697" y="2568442"/>
                  <a:pt x="3890341" y="2570254"/>
                </a:cubicBezTo>
                <a:close/>
                <a:moveTo>
                  <a:pt x="3392305" y="2570169"/>
                </a:moveTo>
                <a:lnTo>
                  <a:pt x="3395522" y="2575959"/>
                </a:lnTo>
                <a:lnTo>
                  <a:pt x="3394710" y="2575590"/>
                </a:lnTo>
                <a:cubicBezTo>
                  <a:pt x="3393799" y="2575590"/>
                  <a:pt x="3392433" y="2573768"/>
                  <a:pt x="3391749" y="2571946"/>
                </a:cubicBezTo>
                <a:close/>
                <a:moveTo>
                  <a:pt x="971219" y="2561150"/>
                </a:moveTo>
                <a:lnTo>
                  <a:pt x="971219" y="2599389"/>
                </a:lnTo>
                <a:cubicBezTo>
                  <a:pt x="952997" y="2584821"/>
                  <a:pt x="954819" y="2597568"/>
                  <a:pt x="962108" y="2577520"/>
                </a:cubicBezTo>
                <a:lnTo>
                  <a:pt x="956641" y="2568423"/>
                </a:lnTo>
                <a:close/>
                <a:moveTo>
                  <a:pt x="934775" y="2559273"/>
                </a:moveTo>
                <a:lnTo>
                  <a:pt x="956641" y="2568388"/>
                </a:lnTo>
                <a:lnTo>
                  <a:pt x="942064" y="2575669"/>
                </a:lnTo>
                <a:close/>
                <a:moveTo>
                  <a:pt x="3480624" y="2558950"/>
                </a:moveTo>
                <a:lnTo>
                  <a:pt x="3480775" y="2559222"/>
                </a:lnTo>
                <a:lnTo>
                  <a:pt x="3480353" y="2559191"/>
                </a:lnTo>
                <a:close/>
                <a:moveTo>
                  <a:pt x="3418398" y="2551900"/>
                </a:moveTo>
                <a:cubicBezTo>
                  <a:pt x="3425686" y="2551900"/>
                  <a:pt x="3432975" y="2553720"/>
                  <a:pt x="3440264" y="2557365"/>
                </a:cubicBezTo>
                <a:cubicBezTo>
                  <a:pt x="3440264" y="2557365"/>
                  <a:pt x="3440264" y="2557365"/>
                  <a:pt x="3442086" y="2561010"/>
                </a:cubicBezTo>
                <a:cubicBezTo>
                  <a:pt x="3432975" y="2559189"/>
                  <a:pt x="3423864" y="2557365"/>
                  <a:pt x="3414753" y="2555544"/>
                </a:cubicBezTo>
                <a:cubicBezTo>
                  <a:pt x="3416576" y="2555544"/>
                  <a:pt x="3416576" y="2553720"/>
                  <a:pt x="3418398" y="2551900"/>
                </a:cubicBezTo>
                <a:close/>
                <a:moveTo>
                  <a:pt x="3228893" y="2550076"/>
                </a:moveTo>
                <a:cubicBezTo>
                  <a:pt x="3223426" y="2550076"/>
                  <a:pt x="3221604" y="2555542"/>
                  <a:pt x="3227071" y="2557364"/>
                </a:cubicBezTo>
                <a:cubicBezTo>
                  <a:pt x="3230715" y="2559186"/>
                  <a:pt x="3232537" y="2553720"/>
                  <a:pt x="3230715" y="2550076"/>
                </a:cubicBezTo>
                <a:cubicBezTo>
                  <a:pt x="3228893" y="2550076"/>
                  <a:pt x="3228893" y="2550076"/>
                  <a:pt x="3228893" y="2550076"/>
                </a:cubicBezTo>
                <a:close/>
                <a:moveTo>
                  <a:pt x="3287202" y="2544609"/>
                </a:moveTo>
                <a:lnTo>
                  <a:pt x="3270803" y="2559186"/>
                </a:lnTo>
                <a:lnTo>
                  <a:pt x="3296313" y="2561008"/>
                </a:lnTo>
                <a:close/>
                <a:moveTo>
                  <a:pt x="2949980" y="2537717"/>
                </a:moveTo>
                <a:lnTo>
                  <a:pt x="2949656" y="2538364"/>
                </a:lnTo>
                <a:lnTo>
                  <a:pt x="2950100" y="2538003"/>
                </a:lnTo>
                <a:close/>
                <a:moveTo>
                  <a:pt x="3538663" y="2537438"/>
                </a:moveTo>
                <a:lnTo>
                  <a:pt x="3551418" y="2553840"/>
                </a:lnTo>
                <a:lnTo>
                  <a:pt x="3529552" y="2562947"/>
                </a:lnTo>
                <a:close/>
                <a:moveTo>
                  <a:pt x="3312713" y="2533820"/>
                </a:moveTo>
                <a:lnTo>
                  <a:pt x="3318179" y="2537477"/>
                </a:lnTo>
                <a:lnTo>
                  <a:pt x="3314535" y="2542943"/>
                </a:lnTo>
                <a:lnTo>
                  <a:pt x="3309068" y="2537477"/>
                </a:lnTo>
                <a:close/>
                <a:moveTo>
                  <a:pt x="2915478" y="2530188"/>
                </a:moveTo>
                <a:lnTo>
                  <a:pt x="2919122" y="2532005"/>
                </a:lnTo>
                <a:lnTo>
                  <a:pt x="2915947" y="2535183"/>
                </a:lnTo>
                <a:lnTo>
                  <a:pt x="2920945" y="2535496"/>
                </a:lnTo>
                <a:cubicBezTo>
                  <a:pt x="2920945" y="2535496"/>
                  <a:pt x="2922767" y="2535496"/>
                  <a:pt x="2922767" y="2535496"/>
                </a:cubicBezTo>
                <a:cubicBezTo>
                  <a:pt x="2928233" y="2540963"/>
                  <a:pt x="2935522" y="2544607"/>
                  <a:pt x="2940988" y="2550074"/>
                </a:cubicBezTo>
                <a:cubicBezTo>
                  <a:pt x="2940988" y="2550074"/>
                  <a:pt x="2939166" y="2550074"/>
                  <a:pt x="2937344" y="2550074"/>
                </a:cubicBezTo>
                <a:cubicBezTo>
                  <a:pt x="2927322" y="2548251"/>
                  <a:pt x="2915023" y="2545974"/>
                  <a:pt x="2902951" y="2545518"/>
                </a:cubicBezTo>
                <a:lnTo>
                  <a:pt x="2876641" y="2550598"/>
                </a:lnTo>
                <a:lnTo>
                  <a:pt x="2877212" y="2553886"/>
                </a:lnTo>
                <a:cubicBezTo>
                  <a:pt x="2875390" y="2553886"/>
                  <a:pt x="2873113" y="2553886"/>
                  <a:pt x="2871290" y="2553202"/>
                </a:cubicBezTo>
                <a:lnTo>
                  <a:pt x="2870366" y="2551810"/>
                </a:lnTo>
                <a:lnTo>
                  <a:pt x="2869924" y="2551896"/>
                </a:lnTo>
                <a:cubicBezTo>
                  <a:pt x="2864457" y="2555540"/>
                  <a:pt x="2869924" y="2559185"/>
                  <a:pt x="2873568" y="2559185"/>
                </a:cubicBezTo>
                <a:lnTo>
                  <a:pt x="2909720" y="2559184"/>
                </a:lnTo>
                <a:lnTo>
                  <a:pt x="2910012" y="2557530"/>
                </a:lnTo>
                <a:lnTo>
                  <a:pt x="2912221" y="2559184"/>
                </a:lnTo>
                <a:lnTo>
                  <a:pt x="2915934" y="2559184"/>
                </a:lnTo>
                <a:lnTo>
                  <a:pt x="2928814" y="2562738"/>
                </a:lnTo>
                <a:lnTo>
                  <a:pt x="2930056" y="2555700"/>
                </a:lnTo>
                <a:lnTo>
                  <a:pt x="2937344" y="2561172"/>
                </a:lnTo>
                <a:lnTo>
                  <a:pt x="2936349" y="2564816"/>
                </a:lnTo>
                <a:lnTo>
                  <a:pt x="2955566" y="2570118"/>
                </a:lnTo>
                <a:lnTo>
                  <a:pt x="2936035" y="2566267"/>
                </a:lnTo>
                <a:lnTo>
                  <a:pt x="2937344" y="2568442"/>
                </a:lnTo>
                <a:lnTo>
                  <a:pt x="2928234" y="2570259"/>
                </a:lnTo>
                <a:lnTo>
                  <a:pt x="2924589" y="2568442"/>
                </a:lnTo>
                <a:lnTo>
                  <a:pt x="2927718" y="2564626"/>
                </a:lnTo>
                <a:lnTo>
                  <a:pt x="2923223" y="2563740"/>
                </a:lnTo>
                <a:lnTo>
                  <a:pt x="2917217" y="2564663"/>
                </a:lnTo>
                <a:lnTo>
                  <a:pt x="2917073" y="2567537"/>
                </a:lnTo>
                <a:cubicBezTo>
                  <a:pt x="2917756" y="2567083"/>
                  <a:pt x="2918212" y="2566629"/>
                  <a:pt x="2915478" y="2572086"/>
                </a:cubicBezTo>
                <a:lnTo>
                  <a:pt x="2904545" y="2570254"/>
                </a:lnTo>
                <a:lnTo>
                  <a:pt x="2907966" y="2566086"/>
                </a:lnTo>
                <a:lnTo>
                  <a:pt x="2893612" y="2568295"/>
                </a:lnTo>
                <a:cubicBezTo>
                  <a:pt x="2891790" y="2568295"/>
                  <a:pt x="2897256" y="2577406"/>
                  <a:pt x="2899079" y="2577406"/>
                </a:cubicBezTo>
                <a:lnTo>
                  <a:pt x="2921323" y="2579054"/>
                </a:lnTo>
                <a:lnTo>
                  <a:pt x="2920945" y="2577539"/>
                </a:lnTo>
                <a:cubicBezTo>
                  <a:pt x="2925501" y="2577539"/>
                  <a:pt x="2927779" y="2577539"/>
                  <a:pt x="2928917" y="2578677"/>
                </a:cubicBezTo>
                <a:lnTo>
                  <a:pt x="2929053" y="2579626"/>
                </a:lnTo>
                <a:lnTo>
                  <a:pt x="2948277" y="2581050"/>
                </a:lnTo>
                <a:cubicBezTo>
                  <a:pt x="2962855" y="2584695"/>
                  <a:pt x="2975610" y="2591984"/>
                  <a:pt x="2990187" y="2595628"/>
                </a:cubicBezTo>
                <a:cubicBezTo>
                  <a:pt x="2990187" y="2597449"/>
                  <a:pt x="2992009" y="2597449"/>
                  <a:pt x="2992009" y="2599271"/>
                </a:cubicBezTo>
                <a:cubicBezTo>
                  <a:pt x="2971966" y="2595628"/>
                  <a:pt x="2951922" y="2591984"/>
                  <a:pt x="2931878" y="2591984"/>
                </a:cubicBezTo>
                <a:cubicBezTo>
                  <a:pt x="2930056" y="2591984"/>
                  <a:pt x="2937344" y="2599271"/>
                  <a:pt x="2939166" y="2599271"/>
                </a:cubicBezTo>
                <a:cubicBezTo>
                  <a:pt x="2957388" y="2601095"/>
                  <a:pt x="2977432" y="2604739"/>
                  <a:pt x="2995654" y="2608382"/>
                </a:cubicBezTo>
                <a:cubicBezTo>
                  <a:pt x="2995654" y="2610206"/>
                  <a:pt x="2995654" y="2612028"/>
                  <a:pt x="2995654" y="2615672"/>
                </a:cubicBezTo>
                <a:cubicBezTo>
                  <a:pt x="2975610" y="2615672"/>
                  <a:pt x="2953744" y="2613850"/>
                  <a:pt x="2935522" y="2608382"/>
                </a:cubicBezTo>
                <a:cubicBezTo>
                  <a:pt x="2928233" y="2606561"/>
                  <a:pt x="2933700" y="2613850"/>
                  <a:pt x="2937344" y="2615672"/>
                </a:cubicBezTo>
                <a:lnTo>
                  <a:pt x="2958483" y="2620444"/>
                </a:lnTo>
                <a:lnTo>
                  <a:pt x="2961032" y="2619426"/>
                </a:lnTo>
                <a:lnTo>
                  <a:pt x="2961607" y="2621150"/>
                </a:lnTo>
                <a:lnTo>
                  <a:pt x="2982314" y="2625826"/>
                </a:lnTo>
                <a:lnTo>
                  <a:pt x="2981076" y="2621247"/>
                </a:lnTo>
                <a:lnTo>
                  <a:pt x="2992009" y="2621247"/>
                </a:lnTo>
                <a:lnTo>
                  <a:pt x="2987312" y="2624513"/>
                </a:lnTo>
                <a:lnTo>
                  <a:pt x="2987397" y="2624061"/>
                </a:lnTo>
                <a:cubicBezTo>
                  <a:pt x="2987055" y="2623098"/>
                  <a:pt x="2985575" y="2625201"/>
                  <a:pt x="2987055" y="2624687"/>
                </a:cubicBezTo>
                <a:lnTo>
                  <a:pt x="2987312" y="2624513"/>
                </a:lnTo>
                <a:lnTo>
                  <a:pt x="2986864" y="2626853"/>
                </a:lnTo>
                <a:lnTo>
                  <a:pt x="2993832" y="2628427"/>
                </a:lnTo>
                <a:cubicBezTo>
                  <a:pt x="2993832" y="2633894"/>
                  <a:pt x="2993832" y="2637537"/>
                  <a:pt x="2992009" y="2639359"/>
                </a:cubicBezTo>
                <a:lnTo>
                  <a:pt x="2942325" y="2633515"/>
                </a:lnTo>
                <a:lnTo>
                  <a:pt x="2948277" y="2639467"/>
                </a:lnTo>
                <a:lnTo>
                  <a:pt x="2937344" y="2635825"/>
                </a:lnTo>
                <a:lnTo>
                  <a:pt x="2939935" y="2633234"/>
                </a:lnTo>
                <a:lnTo>
                  <a:pt x="2930056" y="2632072"/>
                </a:lnTo>
                <a:cubicBezTo>
                  <a:pt x="2928233" y="2632072"/>
                  <a:pt x="2935522" y="2637537"/>
                  <a:pt x="2937344" y="2637537"/>
                </a:cubicBezTo>
                <a:cubicBezTo>
                  <a:pt x="2942811" y="2639359"/>
                  <a:pt x="2948277" y="2639359"/>
                  <a:pt x="2953744" y="2641182"/>
                </a:cubicBezTo>
                <a:cubicBezTo>
                  <a:pt x="2944633" y="2639359"/>
                  <a:pt x="2935522" y="2639359"/>
                  <a:pt x="2926411" y="2641182"/>
                </a:cubicBezTo>
                <a:cubicBezTo>
                  <a:pt x="2924589" y="2641182"/>
                  <a:pt x="2924589" y="2641182"/>
                  <a:pt x="2922767" y="2641182"/>
                </a:cubicBezTo>
                <a:cubicBezTo>
                  <a:pt x="2919122" y="2641182"/>
                  <a:pt x="2913656" y="2644826"/>
                  <a:pt x="2917300" y="2648470"/>
                </a:cubicBezTo>
                <a:cubicBezTo>
                  <a:pt x="2920945" y="2650293"/>
                  <a:pt x="2922767" y="2652116"/>
                  <a:pt x="2926411" y="2653938"/>
                </a:cubicBezTo>
                <a:cubicBezTo>
                  <a:pt x="2915478" y="2652116"/>
                  <a:pt x="2904545" y="2646649"/>
                  <a:pt x="2897256" y="2639359"/>
                </a:cubicBezTo>
                <a:cubicBezTo>
                  <a:pt x="2891790" y="2633894"/>
                  <a:pt x="2882679" y="2639359"/>
                  <a:pt x="2886323" y="2646649"/>
                </a:cubicBezTo>
                <a:cubicBezTo>
                  <a:pt x="2888146" y="2648470"/>
                  <a:pt x="2888146" y="2648470"/>
                  <a:pt x="2888146" y="2648470"/>
                </a:cubicBezTo>
                <a:cubicBezTo>
                  <a:pt x="2888146" y="2650293"/>
                  <a:pt x="2888146" y="2652116"/>
                  <a:pt x="2889968" y="2652116"/>
                </a:cubicBezTo>
                <a:cubicBezTo>
                  <a:pt x="2908190" y="2675803"/>
                  <a:pt x="2931878" y="2697670"/>
                  <a:pt x="2957388" y="2714069"/>
                </a:cubicBezTo>
                <a:cubicBezTo>
                  <a:pt x="2873568" y="2703138"/>
                  <a:pt x="2795215" y="2639359"/>
                  <a:pt x="2740549" y="2577406"/>
                </a:cubicBezTo>
                <a:cubicBezTo>
                  <a:pt x="2763327" y="2568295"/>
                  <a:pt x="2787015" y="2558729"/>
                  <a:pt x="2812070" y="2550757"/>
                </a:cubicBezTo>
                <a:lnTo>
                  <a:pt x="2869120" y="2538532"/>
                </a:lnTo>
                <a:lnTo>
                  <a:pt x="2869924" y="2535665"/>
                </a:lnTo>
                <a:lnTo>
                  <a:pt x="2874856" y="2537303"/>
                </a:lnTo>
                <a:lnTo>
                  <a:pt x="2891790" y="2533674"/>
                </a:lnTo>
                <a:lnTo>
                  <a:pt x="2911963" y="2534934"/>
                </a:lnTo>
                <a:lnTo>
                  <a:pt x="2910011" y="2532005"/>
                </a:lnTo>
                <a:close/>
                <a:moveTo>
                  <a:pt x="4019716" y="2530118"/>
                </a:moveTo>
                <a:lnTo>
                  <a:pt x="4036116" y="2531938"/>
                </a:lnTo>
                <a:lnTo>
                  <a:pt x="4021538" y="2546518"/>
                </a:lnTo>
                <a:close/>
                <a:moveTo>
                  <a:pt x="2935523" y="2526386"/>
                </a:moveTo>
                <a:lnTo>
                  <a:pt x="2935073" y="2526552"/>
                </a:lnTo>
                <a:lnTo>
                  <a:pt x="2937345" y="2526552"/>
                </a:lnTo>
                <a:lnTo>
                  <a:pt x="2937289" y="2526386"/>
                </a:lnTo>
                <a:close/>
                <a:moveTo>
                  <a:pt x="2931374" y="2518762"/>
                </a:moveTo>
                <a:lnTo>
                  <a:pt x="2930739" y="2519515"/>
                </a:lnTo>
                <a:lnTo>
                  <a:pt x="2930341" y="2523615"/>
                </a:lnTo>
                <a:lnTo>
                  <a:pt x="2930512" y="2523653"/>
                </a:lnTo>
                <a:cubicBezTo>
                  <a:pt x="2931878" y="2522742"/>
                  <a:pt x="2932790" y="2520920"/>
                  <a:pt x="2931879" y="2519097"/>
                </a:cubicBezTo>
                <a:close/>
                <a:moveTo>
                  <a:pt x="942064" y="2515564"/>
                </a:moveTo>
                <a:lnTo>
                  <a:pt x="958464" y="2517380"/>
                </a:lnTo>
                <a:lnTo>
                  <a:pt x="943886" y="2531938"/>
                </a:lnTo>
                <a:close/>
                <a:moveTo>
                  <a:pt x="3478531" y="2515458"/>
                </a:moveTo>
                <a:cubicBezTo>
                  <a:pt x="3487642" y="2544614"/>
                  <a:pt x="3480353" y="2526391"/>
                  <a:pt x="3507686" y="2539148"/>
                </a:cubicBezTo>
                <a:cubicBezTo>
                  <a:pt x="3535018" y="2551904"/>
                  <a:pt x="3511330" y="2540971"/>
                  <a:pt x="3522263" y="2568304"/>
                </a:cubicBezTo>
                <a:lnTo>
                  <a:pt x="3507686" y="2568304"/>
                </a:lnTo>
                <a:lnTo>
                  <a:pt x="3514974" y="2591993"/>
                </a:lnTo>
                <a:lnTo>
                  <a:pt x="3507686" y="2591993"/>
                </a:lnTo>
                <a:cubicBezTo>
                  <a:pt x="3502219" y="2586527"/>
                  <a:pt x="3498575" y="2581058"/>
                  <a:pt x="3493108" y="2575594"/>
                </a:cubicBezTo>
                <a:lnTo>
                  <a:pt x="3493108" y="2568304"/>
                </a:lnTo>
                <a:lnTo>
                  <a:pt x="3485820" y="2568304"/>
                </a:lnTo>
                <a:lnTo>
                  <a:pt x="3480775" y="2559222"/>
                </a:lnTo>
                <a:lnTo>
                  <a:pt x="3505864" y="2561014"/>
                </a:lnTo>
                <a:lnTo>
                  <a:pt x="3496753" y="2544614"/>
                </a:lnTo>
                <a:lnTo>
                  <a:pt x="3480624" y="2558950"/>
                </a:lnTo>
                <a:lnTo>
                  <a:pt x="3476709" y="2551904"/>
                </a:lnTo>
                <a:cubicBezTo>
                  <a:pt x="3469420" y="2540971"/>
                  <a:pt x="3460308" y="2530038"/>
                  <a:pt x="3451197" y="2520925"/>
                </a:cubicBezTo>
                <a:close/>
                <a:moveTo>
                  <a:pt x="2926412" y="2515453"/>
                </a:moveTo>
                <a:cubicBezTo>
                  <a:pt x="2920946" y="2513631"/>
                  <a:pt x="2919123" y="2520920"/>
                  <a:pt x="2924590" y="2522742"/>
                </a:cubicBezTo>
                <a:cubicBezTo>
                  <a:pt x="2926412" y="2522742"/>
                  <a:pt x="2926412" y="2522742"/>
                  <a:pt x="2926412" y="2522742"/>
                </a:cubicBezTo>
                <a:lnTo>
                  <a:pt x="2927467" y="2522977"/>
                </a:lnTo>
                <a:lnTo>
                  <a:pt x="2926411" y="2521106"/>
                </a:lnTo>
                <a:cubicBezTo>
                  <a:pt x="2927322" y="2519288"/>
                  <a:pt x="2927778" y="2520196"/>
                  <a:pt x="2928006" y="2520422"/>
                </a:cubicBezTo>
                <a:lnTo>
                  <a:pt x="2928186" y="2516636"/>
                </a:lnTo>
                <a:close/>
                <a:moveTo>
                  <a:pt x="2888147" y="2501084"/>
                </a:moveTo>
                <a:lnTo>
                  <a:pt x="2888147" y="2513836"/>
                </a:lnTo>
                <a:cubicBezTo>
                  <a:pt x="2880858" y="2508324"/>
                  <a:pt x="2882680" y="2506532"/>
                  <a:pt x="2888147" y="2501084"/>
                </a:cubicBezTo>
                <a:close/>
                <a:moveTo>
                  <a:pt x="2919123" y="2500876"/>
                </a:moveTo>
                <a:cubicBezTo>
                  <a:pt x="2915479" y="2500876"/>
                  <a:pt x="2913657" y="2500876"/>
                  <a:pt x="2911835" y="2502697"/>
                </a:cubicBezTo>
                <a:cubicBezTo>
                  <a:pt x="2910013" y="2506342"/>
                  <a:pt x="2913657" y="2508164"/>
                  <a:pt x="2917301" y="2508164"/>
                </a:cubicBezTo>
                <a:cubicBezTo>
                  <a:pt x="2920946" y="2508164"/>
                  <a:pt x="2922768" y="2502697"/>
                  <a:pt x="2919123" y="2500876"/>
                </a:cubicBezTo>
                <a:close/>
                <a:moveTo>
                  <a:pt x="1064151" y="2500875"/>
                </a:moveTo>
                <a:lnTo>
                  <a:pt x="1055040" y="2515452"/>
                </a:lnTo>
                <a:lnTo>
                  <a:pt x="1080549" y="2513631"/>
                </a:lnTo>
                <a:close/>
                <a:moveTo>
                  <a:pt x="4509882" y="2493741"/>
                </a:moveTo>
                <a:lnTo>
                  <a:pt x="4515348" y="2506486"/>
                </a:lnTo>
                <a:lnTo>
                  <a:pt x="4508059" y="2517421"/>
                </a:lnTo>
                <a:lnTo>
                  <a:pt x="4493481" y="2502836"/>
                </a:lnTo>
                <a:close/>
                <a:moveTo>
                  <a:pt x="3272626" y="2484663"/>
                </a:moveTo>
                <a:lnTo>
                  <a:pt x="3276270" y="2490144"/>
                </a:lnTo>
                <a:lnTo>
                  <a:pt x="3272626" y="2491968"/>
                </a:lnTo>
                <a:lnTo>
                  <a:pt x="3268981" y="2490144"/>
                </a:lnTo>
                <a:close/>
                <a:moveTo>
                  <a:pt x="2852342" y="2480205"/>
                </a:moveTo>
                <a:lnTo>
                  <a:pt x="2857168" y="2485179"/>
                </a:lnTo>
                <a:lnTo>
                  <a:pt x="2857168" y="2481005"/>
                </a:lnTo>
                <a:close/>
                <a:moveTo>
                  <a:pt x="3988739" y="2479131"/>
                </a:moveTo>
                <a:lnTo>
                  <a:pt x="4012428" y="2479131"/>
                </a:lnTo>
                <a:lnTo>
                  <a:pt x="4003317" y="2493728"/>
                </a:lnTo>
                <a:close/>
                <a:moveTo>
                  <a:pt x="599922" y="2477221"/>
                </a:moveTo>
                <a:cubicBezTo>
                  <a:pt x="605987" y="2477132"/>
                  <a:pt x="595396" y="2477822"/>
                  <a:pt x="610429" y="2484663"/>
                </a:cubicBezTo>
                <a:lnTo>
                  <a:pt x="603140" y="2506523"/>
                </a:lnTo>
                <a:lnTo>
                  <a:pt x="581273" y="2506523"/>
                </a:lnTo>
                <a:lnTo>
                  <a:pt x="572162" y="2484663"/>
                </a:lnTo>
                <a:cubicBezTo>
                  <a:pt x="572162" y="2484663"/>
                  <a:pt x="584917" y="2477361"/>
                  <a:pt x="586741" y="2477361"/>
                </a:cubicBezTo>
                <a:cubicBezTo>
                  <a:pt x="594030" y="2477361"/>
                  <a:pt x="597901" y="2477243"/>
                  <a:pt x="599922" y="2477221"/>
                </a:cubicBezTo>
                <a:close/>
                <a:moveTo>
                  <a:pt x="978508" y="2475459"/>
                </a:moveTo>
                <a:lnTo>
                  <a:pt x="980330" y="2493694"/>
                </a:lnTo>
                <a:lnTo>
                  <a:pt x="963930" y="2491874"/>
                </a:lnTo>
                <a:close/>
                <a:moveTo>
                  <a:pt x="1038639" y="2469898"/>
                </a:moveTo>
                <a:lnTo>
                  <a:pt x="1024062" y="2484476"/>
                </a:lnTo>
                <a:lnTo>
                  <a:pt x="1040462" y="2486297"/>
                </a:lnTo>
                <a:close/>
                <a:moveTo>
                  <a:pt x="3620659" y="2455446"/>
                </a:moveTo>
                <a:lnTo>
                  <a:pt x="3635237" y="2455446"/>
                </a:lnTo>
                <a:lnTo>
                  <a:pt x="3635237" y="2477331"/>
                </a:lnTo>
                <a:lnTo>
                  <a:pt x="3620659" y="2477331"/>
                </a:lnTo>
                <a:close/>
                <a:moveTo>
                  <a:pt x="974864" y="2455446"/>
                </a:moveTo>
                <a:lnTo>
                  <a:pt x="943886" y="2486460"/>
                </a:lnTo>
                <a:cubicBezTo>
                  <a:pt x="943886" y="2457268"/>
                  <a:pt x="943886" y="2457268"/>
                  <a:pt x="974864" y="2455446"/>
                </a:cubicBezTo>
                <a:close/>
                <a:moveTo>
                  <a:pt x="3416576" y="2449861"/>
                </a:moveTo>
                <a:lnTo>
                  <a:pt x="3423864" y="2451685"/>
                </a:lnTo>
                <a:cubicBezTo>
                  <a:pt x="3420220" y="2453507"/>
                  <a:pt x="3414754" y="2455329"/>
                  <a:pt x="3411109" y="2457151"/>
                </a:cubicBezTo>
                <a:close/>
                <a:moveTo>
                  <a:pt x="3709948" y="2440843"/>
                </a:moveTo>
                <a:lnTo>
                  <a:pt x="3717236" y="2462719"/>
                </a:lnTo>
                <a:lnTo>
                  <a:pt x="3695370" y="2462719"/>
                </a:lnTo>
                <a:cubicBezTo>
                  <a:pt x="3699015" y="2455431"/>
                  <a:pt x="3700837" y="2449955"/>
                  <a:pt x="3700837" y="2446308"/>
                </a:cubicBezTo>
                <a:cubicBezTo>
                  <a:pt x="3702659" y="2444485"/>
                  <a:pt x="3706303" y="2442662"/>
                  <a:pt x="3709948" y="2440843"/>
                </a:cubicBezTo>
                <a:close/>
                <a:moveTo>
                  <a:pt x="3700324" y="2438364"/>
                </a:moveTo>
                <a:cubicBezTo>
                  <a:pt x="3701633" y="2438677"/>
                  <a:pt x="3702203" y="2440838"/>
                  <a:pt x="3700836" y="2446308"/>
                </a:cubicBezTo>
                <a:cubicBezTo>
                  <a:pt x="3685803" y="2453144"/>
                  <a:pt x="3696394" y="2437426"/>
                  <a:pt x="3700324" y="2438364"/>
                </a:cubicBezTo>
                <a:close/>
                <a:moveTo>
                  <a:pt x="3403821" y="2427993"/>
                </a:moveTo>
                <a:lnTo>
                  <a:pt x="3401998" y="2435282"/>
                </a:lnTo>
                <a:cubicBezTo>
                  <a:pt x="3394710" y="2438925"/>
                  <a:pt x="3385599" y="2442570"/>
                  <a:pt x="3378310" y="2448037"/>
                </a:cubicBezTo>
                <a:cubicBezTo>
                  <a:pt x="3374666" y="2449859"/>
                  <a:pt x="3381955" y="2458970"/>
                  <a:pt x="3385599" y="2458970"/>
                </a:cubicBezTo>
                <a:cubicBezTo>
                  <a:pt x="3389243" y="2458970"/>
                  <a:pt x="3391066" y="2457148"/>
                  <a:pt x="3394710" y="2457148"/>
                </a:cubicBezTo>
                <a:lnTo>
                  <a:pt x="3392888" y="2460793"/>
                </a:lnTo>
                <a:lnTo>
                  <a:pt x="3400176" y="2471725"/>
                </a:lnTo>
                <a:cubicBezTo>
                  <a:pt x="3401998" y="2471725"/>
                  <a:pt x="3401998" y="2471725"/>
                  <a:pt x="3401998" y="2471725"/>
                </a:cubicBezTo>
                <a:lnTo>
                  <a:pt x="3428029" y="2464785"/>
                </a:lnTo>
                <a:lnTo>
                  <a:pt x="3427509" y="2464438"/>
                </a:lnTo>
                <a:cubicBezTo>
                  <a:pt x="3434798" y="2462617"/>
                  <a:pt x="3443909" y="2460794"/>
                  <a:pt x="3453020" y="2458971"/>
                </a:cubicBezTo>
                <a:lnTo>
                  <a:pt x="3438442" y="2471726"/>
                </a:lnTo>
                <a:lnTo>
                  <a:pt x="3429331" y="2465653"/>
                </a:lnTo>
                <a:lnTo>
                  <a:pt x="3429331" y="2480836"/>
                </a:lnTo>
                <a:lnTo>
                  <a:pt x="3398354" y="2480836"/>
                </a:lnTo>
                <a:lnTo>
                  <a:pt x="3398354" y="2502704"/>
                </a:lnTo>
                <a:lnTo>
                  <a:pt x="3412932" y="2502704"/>
                </a:lnTo>
                <a:lnTo>
                  <a:pt x="3412932" y="2488126"/>
                </a:lnTo>
                <a:cubicBezTo>
                  <a:pt x="3414754" y="2489947"/>
                  <a:pt x="3414754" y="2489947"/>
                  <a:pt x="3416576" y="2489947"/>
                </a:cubicBezTo>
                <a:cubicBezTo>
                  <a:pt x="3414754" y="2489947"/>
                  <a:pt x="3414754" y="2489947"/>
                  <a:pt x="3414754" y="2489947"/>
                </a:cubicBezTo>
                <a:cubicBezTo>
                  <a:pt x="3412932" y="2491770"/>
                  <a:pt x="3420220" y="2497236"/>
                  <a:pt x="3422043" y="2497236"/>
                </a:cubicBezTo>
                <a:cubicBezTo>
                  <a:pt x="3423865" y="2495413"/>
                  <a:pt x="3427509" y="2495413"/>
                  <a:pt x="3431153" y="2493592"/>
                </a:cubicBezTo>
                <a:cubicBezTo>
                  <a:pt x="3432975" y="2493592"/>
                  <a:pt x="3432975" y="2495413"/>
                  <a:pt x="3434798" y="2495413"/>
                </a:cubicBezTo>
                <a:cubicBezTo>
                  <a:pt x="3434798" y="2497236"/>
                  <a:pt x="3436620" y="2499059"/>
                  <a:pt x="3436620" y="2499059"/>
                </a:cubicBezTo>
                <a:cubicBezTo>
                  <a:pt x="3427509" y="2500881"/>
                  <a:pt x="3420220" y="2506349"/>
                  <a:pt x="3414754" y="2511814"/>
                </a:cubicBezTo>
                <a:cubicBezTo>
                  <a:pt x="3411109" y="2515458"/>
                  <a:pt x="3418398" y="2519103"/>
                  <a:pt x="3422043" y="2517281"/>
                </a:cubicBezTo>
                <a:cubicBezTo>
                  <a:pt x="3425687" y="2515458"/>
                  <a:pt x="3429331" y="2513635"/>
                  <a:pt x="3432975" y="2511814"/>
                </a:cubicBezTo>
                <a:cubicBezTo>
                  <a:pt x="3429331" y="2513635"/>
                  <a:pt x="3427509" y="2517281"/>
                  <a:pt x="3431153" y="2520924"/>
                </a:cubicBezTo>
                <a:cubicBezTo>
                  <a:pt x="3432975" y="2524571"/>
                  <a:pt x="3434798" y="2526391"/>
                  <a:pt x="3436620" y="2528215"/>
                </a:cubicBezTo>
                <a:cubicBezTo>
                  <a:pt x="3427509" y="2528215"/>
                  <a:pt x="3418398" y="2530035"/>
                  <a:pt x="3411109" y="2531859"/>
                </a:cubicBezTo>
                <a:cubicBezTo>
                  <a:pt x="3409287" y="2531859"/>
                  <a:pt x="3414754" y="2539148"/>
                  <a:pt x="3416576" y="2539148"/>
                </a:cubicBezTo>
                <a:cubicBezTo>
                  <a:pt x="3422043" y="2539148"/>
                  <a:pt x="3427509" y="2539148"/>
                  <a:pt x="3432975" y="2539148"/>
                </a:cubicBezTo>
                <a:cubicBezTo>
                  <a:pt x="3436620" y="2539148"/>
                  <a:pt x="3442086" y="2540969"/>
                  <a:pt x="3447553" y="2540969"/>
                </a:cubicBezTo>
                <a:cubicBezTo>
                  <a:pt x="3449375" y="2544614"/>
                  <a:pt x="3453019" y="2546437"/>
                  <a:pt x="3454842" y="2550081"/>
                </a:cubicBezTo>
                <a:cubicBezTo>
                  <a:pt x="3453019" y="2550081"/>
                  <a:pt x="3451197" y="2550081"/>
                  <a:pt x="3449375" y="2550081"/>
                </a:cubicBezTo>
                <a:lnTo>
                  <a:pt x="3447553" y="2548259"/>
                </a:lnTo>
                <a:cubicBezTo>
                  <a:pt x="3447553" y="2550081"/>
                  <a:pt x="3447553" y="2550081"/>
                  <a:pt x="3447553" y="2550081"/>
                </a:cubicBezTo>
                <a:cubicBezTo>
                  <a:pt x="3443909" y="2550081"/>
                  <a:pt x="3442086" y="2548259"/>
                  <a:pt x="3438442" y="2548259"/>
                </a:cubicBezTo>
                <a:cubicBezTo>
                  <a:pt x="3431153" y="2544614"/>
                  <a:pt x="3423865" y="2542791"/>
                  <a:pt x="3416576" y="2544614"/>
                </a:cubicBezTo>
                <a:cubicBezTo>
                  <a:pt x="3416576" y="2544614"/>
                  <a:pt x="3418398" y="2546437"/>
                  <a:pt x="3418398" y="2548259"/>
                </a:cubicBezTo>
                <a:lnTo>
                  <a:pt x="3398354" y="2553725"/>
                </a:lnTo>
                <a:cubicBezTo>
                  <a:pt x="3396532" y="2553725"/>
                  <a:pt x="3396532" y="2553725"/>
                  <a:pt x="3394710" y="2553725"/>
                </a:cubicBezTo>
                <a:lnTo>
                  <a:pt x="3394710" y="2539148"/>
                </a:lnTo>
                <a:lnTo>
                  <a:pt x="3380132" y="2548259"/>
                </a:lnTo>
                <a:lnTo>
                  <a:pt x="3372844" y="2548259"/>
                </a:lnTo>
                <a:cubicBezTo>
                  <a:pt x="3361911" y="2531859"/>
                  <a:pt x="3372844" y="2539148"/>
                  <a:pt x="3350978" y="2533680"/>
                </a:cubicBezTo>
                <a:lnTo>
                  <a:pt x="3350978" y="2548259"/>
                </a:lnTo>
                <a:lnTo>
                  <a:pt x="3372844" y="2548259"/>
                </a:lnTo>
                <a:lnTo>
                  <a:pt x="3365555" y="2562835"/>
                </a:lnTo>
                <a:lnTo>
                  <a:pt x="3380132" y="2562835"/>
                </a:lnTo>
                <a:lnTo>
                  <a:pt x="3380132" y="2548259"/>
                </a:lnTo>
                <a:lnTo>
                  <a:pt x="3392888" y="2553725"/>
                </a:lnTo>
                <a:cubicBezTo>
                  <a:pt x="3392888" y="2553725"/>
                  <a:pt x="3392888" y="2555546"/>
                  <a:pt x="3394710" y="2555546"/>
                </a:cubicBezTo>
                <a:cubicBezTo>
                  <a:pt x="3394710" y="2568302"/>
                  <a:pt x="3401998" y="2566478"/>
                  <a:pt x="3409287" y="2561014"/>
                </a:cubicBezTo>
                <a:cubicBezTo>
                  <a:pt x="3418398" y="2564656"/>
                  <a:pt x="3429331" y="2568302"/>
                  <a:pt x="3438442" y="2570125"/>
                </a:cubicBezTo>
                <a:lnTo>
                  <a:pt x="3425687" y="2570125"/>
                </a:lnTo>
                <a:lnTo>
                  <a:pt x="3422043" y="2573768"/>
                </a:lnTo>
                <a:cubicBezTo>
                  <a:pt x="3412932" y="2571946"/>
                  <a:pt x="3403821" y="2568302"/>
                  <a:pt x="3392888" y="2568302"/>
                </a:cubicBezTo>
                <a:lnTo>
                  <a:pt x="3392305" y="2570169"/>
                </a:lnTo>
                <a:lnTo>
                  <a:pt x="3389243" y="2564656"/>
                </a:lnTo>
                <a:lnTo>
                  <a:pt x="3374666" y="2579236"/>
                </a:lnTo>
                <a:cubicBezTo>
                  <a:pt x="3361911" y="2571946"/>
                  <a:pt x="3349156" y="2561014"/>
                  <a:pt x="3340045" y="2550081"/>
                </a:cubicBezTo>
                <a:lnTo>
                  <a:pt x="3333025" y="2540969"/>
                </a:lnTo>
                <a:lnTo>
                  <a:pt x="3332757" y="2541118"/>
                </a:lnTo>
                <a:lnTo>
                  <a:pt x="3332757" y="2540621"/>
                </a:lnTo>
                <a:lnTo>
                  <a:pt x="3318634" y="2522291"/>
                </a:lnTo>
                <a:lnTo>
                  <a:pt x="3316463" y="2520039"/>
                </a:lnTo>
                <a:lnTo>
                  <a:pt x="3314535" y="2522923"/>
                </a:lnTo>
                <a:lnTo>
                  <a:pt x="3309068" y="2517470"/>
                </a:lnTo>
                <a:lnTo>
                  <a:pt x="3312795" y="2516231"/>
                </a:lnTo>
                <a:lnTo>
                  <a:pt x="3294490" y="2497236"/>
                </a:lnTo>
                <a:cubicBezTo>
                  <a:pt x="3289024" y="2491770"/>
                  <a:pt x="3279913" y="2486304"/>
                  <a:pt x="3272624" y="2482660"/>
                </a:cubicBezTo>
                <a:cubicBezTo>
                  <a:pt x="3301779" y="2468081"/>
                  <a:pt x="3332756" y="2453504"/>
                  <a:pt x="3361911" y="2442570"/>
                </a:cubicBezTo>
                <a:lnTo>
                  <a:pt x="3352800" y="2451682"/>
                </a:lnTo>
                <a:lnTo>
                  <a:pt x="3369199" y="2460793"/>
                </a:lnTo>
                <a:lnTo>
                  <a:pt x="3367377" y="2440748"/>
                </a:lnTo>
                <a:cubicBezTo>
                  <a:pt x="3378310" y="2437104"/>
                  <a:pt x="3391066" y="2431638"/>
                  <a:pt x="3403821" y="2427993"/>
                </a:cubicBezTo>
                <a:close/>
                <a:moveTo>
                  <a:pt x="3467597" y="2424435"/>
                </a:moveTo>
                <a:lnTo>
                  <a:pt x="3483997" y="2424435"/>
                </a:lnTo>
                <a:lnTo>
                  <a:pt x="3482175" y="2448122"/>
                </a:lnTo>
                <a:close/>
                <a:moveTo>
                  <a:pt x="1024062" y="2417055"/>
                </a:moveTo>
                <a:lnTo>
                  <a:pt x="1033173" y="2431632"/>
                </a:lnTo>
                <a:lnTo>
                  <a:pt x="1007663" y="2433454"/>
                </a:lnTo>
                <a:lnTo>
                  <a:pt x="1033173" y="2455321"/>
                </a:lnTo>
                <a:lnTo>
                  <a:pt x="1047750" y="2417055"/>
                </a:lnTo>
                <a:close/>
                <a:moveTo>
                  <a:pt x="3454841" y="2415238"/>
                </a:moveTo>
                <a:cubicBezTo>
                  <a:pt x="3456663" y="2417060"/>
                  <a:pt x="3456663" y="2415238"/>
                  <a:pt x="3458486" y="2415238"/>
                </a:cubicBezTo>
                <a:cubicBezTo>
                  <a:pt x="3458486" y="2417060"/>
                  <a:pt x="3460308" y="2417060"/>
                  <a:pt x="3460308" y="2417060"/>
                </a:cubicBezTo>
                <a:cubicBezTo>
                  <a:pt x="3458486" y="2417060"/>
                  <a:pt x="3456663" y="2417060"/>
                  <a:pt x="3454841" y="2417060"/>
                </a:cubicBezTo>
                <a:cubicBezTo>
                  <a:pt x="3453019" y="2418883"/>
                  <a:pt x="3451197" y="2420705"/>
                  <a:pt x="3451197" y="2422527"/>
                </a:cubicBezTo>
                <a:cubicBezTo>
                  <a:pt x="3442086" y="2424349"/>
                  <a:pt x="3434797" y="2426171"/>
                  <a:pt x="3427509" y="2426171"/>
                </a:cubicBezTo>
                <a:cubicBezTo>
                  <a:pt x="3425687" y="2427993"/>
                  <a:pt x="3425687" y="2427993"/>
                  <a:pt x="3423864" y="2427993"/>
                </a:cubicBezTo>
                <a:lnTo>
                  <a:pt x="3423864" y="2420705"/>
                </a:lnTo>
                <a:cubicBezTo>
                  <a:pt x="3434797" y="2417060"/>
                  <a:pt x="3445731" y="2415238"/>
                  <a:pt x="3454841" y="2415238"/>
                </a:cubicBezTo>
                <a:close/>
                <a:moveTo>
                  <a:pt x="973043" y="2409914"/>
                </a:moveTo>
                <a:lnTo>
                  <a:pt x="973043" y="2446336"/>
                </a:lnTo>
                <a:cubicBezTo>
                  <a:pt x="954819" y="2435404"/>
                  <a:pt x="963930" y="2437224"/>
                  <a:pt x="942064" y="2431761"/>
                </a:cubicBezTo>
                <a:cubicBezTo>
                  <a:pt x="947531" y="2415376"/>
                  <a:pt x="931131" y="2411735"/>
                  <a:pt x="958464" y="2424480"/>
                </a:cubicBezTo>
                <a:close/>
                <a:moveTo>
                  <a:pt x="3378310" y="2409773"/>
                </a:moveTo>
                <a:lnTo>
                  <a:pt x="3394710" y="2409773"/>
                </a:lnTo>
                <a:cubicBezTo>
                  <a:pt x="3389243" y="2411595"/>
                  <a:pt x="3383777" y="2413418"/>
                  <a:pt x="3378310" y="2415239"/>
                </a:cubicBezTo>
                <a:close/>
                <a:moveTo>
                  <a:pt x="3398354" y="2400661"/>
                </a:moveTo>
                <a:cubicBezTo>
                  <a:pt x="3401999" y="2400661"/>
                  <a:pt x="3405643" y="2402484"/>
                  <a:pt x="3407465" y="2406130"/>
                </a:cubicBezTo>
                <a:cubicBezTo>
                  <a:pt x="3405643" y="2406130"/>
                  <a:pt x="3401999" y="2407952"/>
                  <a:pt x="3400177" y="2407952"/>
                </a:cubicBezTo>
                <a:cubicBezTo>
                  <a:pt x="3400177" y="2406130"/>
                  <a:pt x="3398354" y="2402484"/>
                  <a:pt x="3398354" y="2400661"/>
                </a:cubicBezTo>
                <a:close/>
                <a:moveTo>
                  <a:pt x="4610101" y="2397152"/>
                </a:moveTo>
                <a:lnTo>
                  <a:pt x="4586412" y="2419001"/>
                </a:lnTo>
                <a:lnTo>
                  <a:pt x="4577301" y="2400794"/>
                </a:lnTo>
                <a:close/>
                <a:moveTo>
                  <a:pt x="3802877" y="2393469"/>
                </a:moveTo>
                <a:lnTo>
                  <a:pt x="3815632" y="2409862"/>
                </a:lnTo>
                <a:lnTo>
                  <a:pt x="3801055" y="2418968"/>
                </a:lnTo>
                <a:close/>
                <a:moveTo>
                  <a:pt x="3469419" y="2393369"/>
                </a:moveTo>
                <a:lnTo>
                  <a:pt x="3483996" y="2402481"/>
                </a:lnTo>
                <a:cubicBezTo>
                  <a:pt x="3480352" y="2407946"/>
                  <a:pt x="3478529" y="2411591"/>
                  <a:pt x="3476707" y="2413414"/>
                </a:cubicBezTo>
                <a:cubicBezTo>
                  <a:pt x="3473063" y="2409770"/>
                  <a:pt x="3467597" y="2406125"/>
                  <a:pt x="3463952" y="2402481"/>
                </a:cubicBezTo>
                <a:close/>
                <a:moveTo>
                  <a:pt x="3163294" y="2389901"/>
                </a:moveTo>
                <a:cubicBezTo>
                  <a:pt x="3168760" y="2393545"/>
                  <a:pt x="3172404" y="2393545"/>
                  <a:pt x="3172404" y="2404465"/>
                </a:cubicBezTo>
                <a:cubicBezTo>
                  <a:pt x="3161471" y="2404465"/>
                  <a:pt x="3168760" y="2404465"/>
                  <a:pt x="3161471" y="2399004"/>
                </a:cubicBezTo>
                <a:cubicBezTo>
                  <a:pt x="3161471" y="2399004"/>
                  <a:pt x="3163294" y="2389901"/>
                  <a:pt x="3163294" y="2389901"/>
                </a:cubicBezTo>
                <a:close/>
                <a:moveTo>
                  <a:pt x="3553240" y="2386260"/>
                </a:moveTo>
                <a:lnTo>
                  <a:pt x="3565995" y="2402644"/>
                </a:lnTo>
                <a:lnTo>
                  <a:pt x="3544129" y="2402644"/>
                </a:lnTo>
                <a:cubicBezTo>
                  <a:pt x="3555062" y="2428131"/>
                  <a:pt x="3545951" y="2424490"/>
                  <a:pt x="3513152" y="2426311"/>
                </a:cubicBezTo>
                <a:cubicBezTo>
                  <a:pt x="3522263" y="2402644"/>
                  <a:pt x="3531374" y="2397183"/>
                  <a:pt x="3553240" y="2386260"/>
                </a:cubicBezTo>
                <a:close/>
                <a:moveTo>
                  <a:pt x="3493108" y="2386190"/>
                </a:moveTo>
                <a:lnTo>
                  <a:pt x="3505863" y="2402580"/>
                </a:lnTo>
                <a:lnTo>
                  <a:pt x="3483997" y="2402580"/>
                </a:lnTo>
                <a:close/>
                <a:moveTo>
                  <a:pt x="2993832" y="2373324"/>
                </a:moveTo>
                <a:cubicBezTo>
                  <a:pt x="2990188" y="2371502"/>
                  <a:pt x="2986543" y="2378791"/>
                  <a:pt x="2992010" y="2380613"/>
                </a:cubicBezTo>
                <a:cubicBezTo>
                  <a:pt x="2997477" y="2380613"/>
                  <a:pt x="2999299" y="2375147"/>
                  <a:pt x="2993832" y="2373324"/>
                </a:cubicBezTo>
                <a:close/>
                <a:moveTo>
                  <a:pt x="3005449" y="2367859"/>
                </a:moveTo>
                <a:cubicBezTo>
                  <a:pt x="3003854" y="2367403"/>
                  <a:pt x="3002032" y="2367859"/>
                  <a:pt x="3001121" y="2369681"/>
                </a:cubicBezTo>
                <a:cubicBezTo>
                  <a:pt x="2999299" y="2375147"/>
                  <a:pt x="3004765" y="2376969"/>
                  <a:pt x="3008410" y="2371502"/>
                </a:cubicBezTo>
                <a:cubicBezTo>
                  <a:pt x="3008410" y="2369679"/>
                  <a:pt x="3007044" y="2368313"/>
                  <a:pt x="3005449" y="2367859"/>
                </a:cubicBezTo>
                <a:close/>
                <a:moveTo>
                  <a:pt x="3844788" y="2364404"/>
                </a:moveTo>
                <a:cubicBezTo>
                  <a:pt x="3883054" y="2366219"/>
                  <a:pt x="3855721" y="2369872"/>
                  <a:pt x="3890343" y="2378978"/>
                </a:cubicBezTo>
                <a:cubicBezTo>
                  <a:pt x="3890343" y="2409928"/>
                  <a:pt x="3886698" y="2408106"/>
                  <a:pt x="3875765" y="2424492"/>
                </a:cubicBezTo>
                <a:cubicBezTo>
                  <a:pt x="3855721" y="2415389"/>
                  <a:pt x="3872121" y="2428132"/>
                  <a:pt x="3853899" y="2417208"/>
                </a:cubicBezTo>
                <a:cubicBezTo>
                  <a:pt x="3852077" y="2413569"/>
                  <a:pt x="3850255" y="2411748"/>
                  <a:pt x="3848433" y="2411748"/>
                </a:cubicBezTo>
                <a:cubicBezTo>
                  <a:pt x="3850255" y="2409928"/>
                  <a:pt x="3852077" y="2408106"/>
                  <a:pt x="3853899" y="2402644"/>
                </a:cubicBezTo>
                <a:cubicBezTo>
                  <a:pt x="3844788" y="2402644"/>
                  <a:pt x="3846611" y="2406285"/>
                  <a:pt x="3846611" y="2395365"/>
                </a:cubicBezTo>
                <a:cubicBezTo>
                  <a:pt x="3846611" y="2364404"/>
                  <a:pt x="3844788" y="2391723"/>
                  <a:pt x="3853899" y="2378978"/>
                </a:cubicBezTo>
                <a:close/>
                <a:moveTo>
                  <a:pt x="3620659" y="2364349"/>
                </a:moveTo>
                <a:lnTo>
                  <a:pt x="3635237" y="2364349"/>
                </a:lnTo>
                <a:cubicBezTo>
                  <a:pt x="3627948" y="2395318"/>
                  <a:pt x="3620659" y="2386211"/>
                  <a:pt x="3620659" y="2386211"/>
                </a:cubicBezTo>
                <a:close/>
                <a:moveTo>
                  <a:pt x="918376" y="2364313"/>
                </a:moveTo>
                <a:lnTo>
                  <a:pt x="918376" y="2380712"/>
                </a:lnTo>
                <a:lnTo>
                  <a:pt x="901976" y="2366133"/>
                </a:lnTo>
                <a:close/>
                <a:moveTo>
                  <a:pt x="3793766" y="2364306"/>
                </a:moveTo>
                <a:lnTo>
                  <a:pt x="3810166" y="2366124"/>
                </a:lnTo>
                <a:lnTo>
                  <a:pt x="3795589" y="2380703"/>
                </a:lnTo>
                <a:close/>
                <a:moveTo>
                  <a:pt x="976687" y="2364220"/>
                </a:moveTo>
                <a:cubicBezTo>
                  <a:pt x="978509" y="2367865"/>
                  <a:pt x="978509" y="2371509"/>
                  <a:pt x="978509" y="2371509"/>
                </a:cubicBezTo>
                <a:lnTo>
                  <a:pt x="971219" y="2369687"/>
                </a:lnTo>
                <a:cubicBezTo>
                  <a:pt x="963930" y="2395197"/>
                  <a:pt x="960286" y="2395197"/>
                  <a:pt x="942064" y="2406131"/>
                </a:cubicBezTo>
                <a:lnTo>
                  <a:pt x="931131" y="2398841"/>
                </a:lnTo>
                <a:lnTo>
                  <a:pt x="938420" y="2391553"/>
                </a:lnTo>
                <a:cubicBezTo>
                  <a:pt x="940242" y="2391553"/>
                  <a:pt x="940242" y="2391553"/>
                  <a:pt x="942064" y="2391553"/>
                </a:cubicBezTo>
                <a:cubicBezTo>
                  <a:pt x="943886" y="2389732"/>
                  <a:pt x="942064" y="2389732"/>
                  <a:pt x="942064" y="2387909"/>
                </a:cubicBezTo>
                <a:lnTo>
                  <a:pt x="951175" y="2378798"/>
                </a:lnTo>
                <a:lnTo>
                  <a:pt x="960286" y="2369687"/>
                </a:lnTo>
                <a:cubicBezTo>
                  <a:pt x="965753" y="2367865"/>
                  <a:pt x="971219" y="2366042"/>
                  <a:pt x="976687" y="2364220"/>
                </a:cubicBezTo>
                <a:close/>
                <a:moveTo>
                  <a:pt x="3015698" y="2364213"/>
                </a:moveTo>
                <a:cubicBezTo>
                  <a:pt x="3010232" y="2362391"/>
                  <a:pt x="3008410" y="2367859"/>
                  <a:pt x="3013876" y="2371502"/>
                </a:cubicBezTo>
                <a:cubicBezTo>
                  <a:pt x="3019343" y="2371502"/>
                  <a:pt x="3021165" y="2366036"/>
                  <a:pt x="3015698" y="2364213"/>
                </a:cubicBezTo>
                <a:close/>
                <a:moveTo>
                  <a:pt x="974863" y="2360586"/>
                </a:moveTo>
                <a:cubicBezTo>
                  <a:pt x="973041" y="2360586"/>
                  <a:pt x="973041" y="2362408"/>
                  <a:pt x="971219" y="2362408"/>
                </a:cubicBezTo>
                <a:lnTo>
                  <a:pt x="971194" y="2362332"/>
                </a:lnTo>
                <a:close/>
                <a:moveTo>
                  <a:pt x="3021165" y="2360569"/>
                </a:moveTo>
                <a:cubicBezTo>
                  <a:pt x="3017521" y="2362391"/>
                  <a:pt x="3021165" y="2369681"/>
                  <a:pt x="3022987" y="2366036"/>
                </a:cubicBezTo>
                <a:cubicBezTo>
                  <a:pt x="3024809" y="2366036"/>
                  <a:pt x="3024809" y="2366036"/>
                  <a:pt x="3024809" y="2366036"/>
                </a:cubicBezTo>
                <a:cubicBezTo>
                  <a:pt x="3028453" y="2364213"/>
                  <a:pt x="3026631" y="2358747"/>
                  <a:pt x="3021165" y="2360569"/>
                </a:cubicBezTo>
                <a:close/>
                <a:moveTo>
                  <a:pt x="3354623" y="2360568"/>
                </a:moveTo>
                <a:cubicBezTo>
                  <a:pt x="3345512" y="2362389"/>
                  <a:pt x="3336401" y="2364212"/>
                  <a:pt x="3327291" y="2366035"/>
                </a:cubicBezTo>
                <a:cubicBezTo>
                  <a:pt x="3296313" y="2373323"/>
                  <a:pt x="3259870" y="2382435"/>
                  <a:pt x="3236182" y="2402478"/>
                </a:cubicBezTo>
                <a:cubicBezTo>
                  <a:pt x="3232537" y="2406122"/>
                  <a:pt x="3239826" y="2409767"/>
                  <a:pt x="3243470" y="2407945"/>
                </a:cubicBezTo>
                <a:cubicBezTo>
                  <a:pt x="3270803" y="2395190"/>
                  <a:pt x="3298136" y="2386079"/>
                  <a:pt x="3327291" y="2380612"/>
                </a:cubicBezTo>
                <a:cubicBezTo>
                  <a:pt x="3349157" y="2375146"/>
                  <a:pt x="3378311" y="2371501"/>
                  <a:pt x="3402000" y="2373323"/>
                </a:cubicBezTo>
                <a:cubicBezTo>
                  <a:pt x="3400177" y="2375146"/>
                  <a:pt x="3398355" y="2375146"/>
                  <a:pt x="3396533" y="2375146"/>
                </a:cubicBezTo>
                <a:lnTo>
                  <a:pt x="3372845" y="2375146"/>
                </a:lnTo>
                <a:lnTo>
                  <a:pt x="3374667" y="2378791"/>
                </a:lnTo>
                <a:cubicBezTo>
                  <a:pt x="3365556" y="2380612"/>
                  <a:pt x="3354623" y="2384257"/>
                  <a:pt x="3345512" y="2386079"/>
                </a:cubicBezTo>
                <a:lnTo>
                  <a:pt x="3341868" y="2380612"/>
                </a:lnTo>
                <a:lnTo>
                  <a:pt x="3332757" y="2389723"/>
                </a:lnTo>
                <a:cubicBezTo>
                  <a:pt x="3318180" y="2393367"/>
                  <a:pt x="3305424" y="2397013"/>
                  <a:pt x="3290847" y="2402478"/>
                </a:cubicBezTo>
                <a:cubicBezTo>
                  <a:pt x="3285380" y="2404300"/>
                  <a:pt x="3290847" y="2409767"/>
                  <a:pt x="3294491" y="2407945"/>
                </a:cubicBezTo>
                <a:cubicBezTo>
                  <a:pt x="3312713" y="2402478"/>
                  <a:pt x="3329113" y="2398835"/>
                  <a:pt x="3347334" y="2395190"/>
                </a:cubicBezTo>
                <a:lnTo>
                  <a:pt x="3352801" y="2395190"/>
                </a:lnTo>
                <a:lnTo>
                  <a:pt x="3352801" y="2393367"/>
                </a:lnTo>
                <a:cubicBezTo>
                  <a:pt x="3358267" y="2391545"/>
                  <a:pt x="3363734" y="2391545"/>
                  <a:pt x="3369200" y="2389723"/>
                </a:cubicBezTo>
                <a:cubicBezTo>
                  <a:pt x="3372845" y="2387901"/>
                  <a:pt x="3376489" y="2387901"/>
                  <a:pt x="3380133" y="2387901"/>
                </a:cubicBezTo>
                <a:lnTo>
                  <a:pt x="3371023" y="2393367"/>
                </a:lnTo>
                <a:cubicBezTo>
                  <a:pt x="3350979" y="2400655"/>
                  <a:pt x="3330935" y="2406122"/>
                  <a:pt x="3312713" y="2417056"/>
                </a:cubicBezTo>
                <a:cubicBezTo>
                  <a:pt x="3310891" y="2418879"/>
                  <a:pt x="3316357" y="2426166"/>
                  <a:pt x="3318180" y="2426166"/>
                </a:cubicBezTo>
                <a:cubicBezTo>
                  <a:pt x="3332757" y="2420701"/>
                  <a:pt x="3347334" y="2415235"/>
                  <a:pt x="3361912" y="2409767"/>
                </a:cubicBezTo>
                <a:lnTo>
                  <a:pt x="3363734" y="2417056"/>
                </a:lnTo>
                <a:cubicBezTo>
                  <a:pt x="3350979" y="2420701"/>
                  <a:pt x="3340046" y="2424344"/>
                  <a:pt x="3329113" y="2431634"/>
                </a:cubicBezTo>
                <a:cubicBezTo>
                  <a:pt x="3327291" y="2433456"/>
                  <a:pt x="3330935" y="2435278"/>
                  <a:pt x="3332757" y="2437101"/>
                </a:cubicBezTo>
                <a:cubicBezTo>
                  <a:pt x="3303602" y="2448033"/>
                  <a:pt x="3274447" y="2462611"/>
                  <a:pt x="3245293" y="2477188"/>
                </a:cubicBezTo>
                <a:cubicBezTo>
                  <a:pt x="3239826" y="2480832"/>
                  <a:pt x="3241648" y="2488121"/>
                  <a:pt x="3247115" y="2489943"/>
                </a:cubicBezTo>
                <a:cubicBezTo>
                  <a:pt x="3263514" y="2495410"/>
                  <a:pt x="3279914" y="2506343"/>
                  <a:pt x="3292669" y="2519098"/>
                </a:cubicBezTo>
                <a:lnTo>
                  <a:pt x="3292829" y="2519284"/>
                </a:lnTo>
                <a:lnTo>
                  <a:pt x="3294491" y="2519284"/>
                </a:lnTo>
                <a:lnTo>
                  <a:pt x="3294491" y="2521207"/>
                </a:lnTo>
                <a:lnTo>
                  <a:pt x="3317269" y="2547569"/>
                </a:lnTo>
                <a:lnTo>
                  <a:pt x="3326428" y="2558679"/>
                </a:lnTo>
                <a:lnTo>
                  <a:pt x="3327290" y="2557530"/>
                </a:lnTo>
                <a:cubicBezTo>
                  <a:pt x="3332756" y="2557530"/>
                  <a:pt x="3334578" y="2559353"/>
                  <a:pt x="3334578" y="2566624"/>
                </a:cubicBezTo>
                <a:lnTo>
                  <a:pt x="3334578" y="2568442"/>
                </a:lnTo>
                <a:lnTo>
                  <a:pt x="3334569" y="2568554"/>
                </a:lnTo>
                <a:lnTo>
                  <a:pt x="3341868" y="2577408"/>
                </a:lnTo>
                <a:cubicBezTo>
                  <a:pt x="3352801" y="2586519"/>
                  <a:pt x="3363734" y="2593809"/>
                  <a:pt x="3374667" y="2599273"/>
                </a:cubicBezTo>
                <a:cubicBezTo>
                  <a:pt x="3374667" y="2601096"/>
                  <a:pt x="3374667" y="2602919"/>
                  <a:pt x="3376489" y="2602919"/>
                </a:cubicBezTo>
                <a:cubicBezTo>
                  <a:pt x="3376489" y="2602919"/>
                  <a:pt x="3378311" y="2602919"/>
                  <a:pt x="3378311" y="2602919"/>
                </a:cubicBezTo>
                <a:cubicBezTo>
                  <a:pt x="3380133" y="2604739"/>
                  <a:pt x="3381956" y="2602919"/>
                  <a:pt x="3381956" y="2602919"/>
                </a:cubicBezTo>
                <a:cubicBezTo>
                  <a:pt x="3371023" y="2606563"/>
                  <a:pt x="3358267" y="2608386"/>
                  <a:pt x="3347334" y="2608386"/>
                </a:cubicBezTo>
                <a:lnTo>
                  <a:pt x="3343690" y="2602919"/>
                </a:lnTo>
                <a:cubicBezTo>
                  <a:pt x="3345512" y="2601096"/>
                  <a:pt x="3345512" y="2601096"/>
                  <a:pt x="3343690" y="2599273"/>
                </a:cubicBezTo>
                <a:cubicBezTo>
                  <a:pt x="3343690" y="2597453"/>
                  <a:pt x="3340046" y="2595629"/>
                  <a:pt x="3338223" y="2599273"/>
                </a:cubicBezTo>
                <a:cubicBezTo>
                  <a:pt x="3338223" y="2601096"/>
                  <a:pt x="3340046" y="2604739"/>
                  <a:pt x="3341868" y="2604739"/>
                </a:cubicBezTo>
                <a:cubicBezTo>
                  <a:pt x="3341868" y="2604739"/>
                  <a:pt x="3343690" y="2604739"/>
                  <a:pt x="3343690" y="2604739"/>
                </a:cubicBezTo>
                <a:lnTo>
                  <a:pt x="3338223" y="2610207"/>
                </a:lnTo>
                <a:cubicBezTo>
                  <a:pt x="3330935" y="2610207"/>
                  <a:pt x="3323646" y="2610207"/>
                  <a:pt x="3316357" y="2610207"/>
                </a:cubicBezTo>
                <a:cubicBezTo>
                  <a:pt x="3309069" y="2610207"/>
                  <a:pt x="3299958" y="2610207"/>
                  <a:pt x="3290847" y="2608386"/>
                </a:cubicBezTo>
                <a:cubicBezTo>
                  <a:pt x="3292669" y="2604739"/>
                  <a:pt x="3285380" y="2602919"/>
                  <a:pt x="3279914" y="2613850"/>
                </a:cubicBezTo>
                <a:cubicBezTo>
                  <a:pt x="3279914" y="2615674"/>
                  <a:pt x="3279914" y="2615674"/>
                  <a:pt x="3279914" y="2615674"/>
                </a:cubicBezTo>
                <a:cubicBezTo>
                  <a:pt x="3259870" y="2612030"/>
                  <a:pt x="3239826" y="2606563"/>
                  <a:pt x="3221604" y="2599273"/>
                </a:cubicBezTo>
                <a:cubicBezTo>
                  <a:pt x="3225249" y="2599273"/>
                  <a:pt x="3225249" y="2591986"/>
                  <a:pt x="3221604" y="2591986"/>
                </a:cubicBezTo>
                <a:cubicBezTo>
                  <a:pt x="3221604" y="2591986"/>
                  <a:pt x="3219782" y="2591986"/>
                  <a:pt x="3219782" y="2591986"/>
                </a:cubicBezTo>
                <a:cubicBezTo>
                  <a:pt x="3217960" y="2591986"/>
                  <a:pt x="3216138" y="2595629"/>
                  <a:pt x="3217960" y="2597453"/>
                </a:cubicBezTo>
                <a:cubicBezTo>
                  <a:pt x="3197916" y="2588342"/>
                  <a:pt x="3179694" y="2575587"/>
                  <a:pt x="3163295" y="2559186"/>
                </a:cubicBezTo>
                <a:lnTo>
                  <a:pt x="3126454" y="2513829"/>
                </a:lnTo>
                <a:lnTo>
                  <a:pt x="3101845" y="2474077"/>
                </a:lnTo>
                <a:lnTo>
                  <a:pt x="3086762" y="2448033"/>
                </a:lnTo>
                <a:cubicBezTo>
                  <a:pt x="3088585" y="2449856"/>
                  <a:pt x="3090407" y="2451678"/>
                  <a:pt x="3092229" y="2453500"/>
                </a:cubicBezTo>
                <a:cubicBezTo>
                  <a:pt x="3110451" y="2473544"/>
                  <a:pt x="3132317" y="2486299"/>
                  <a:pt x="3156006" y="2497231"/>
                </a:cubicBezTo>
                <a:cubicBezTo>
                  <a:pt x="3157828" y="2497231"/>
                  <a:pt x="3161473" y="2497231"/>
                  <a:pt x="3161473" y="2497231"/>
                </a:cubicBezTo>
                <a:cubicBezTo>
                  <a:pt x="3141428" y="2486299"/>
                  <a:pt x="3125028" y="2477188"/>
                  <a:pt x="3108629" y="2462611"/>
                </a:cubicBezTo>
                <a:cubicBezTo>
                  <a:pt x="3099518" y="2453500"/>
                  <a:pt x="3092229" y="2444388"/>
                  <a:pt x="3086762" y="2435278"/>
                </a:cubicBezTo>
                <a:cubicBezTo>
                  <a:pt x="3097695" y="2446210"/>
                  <a:pt x="3110451" y="2457145"/>
                  <a:pt x="3125028" y="2464432"/>
                </a:cubicBezTo>
                <a:cubicBezTo>
                  <a:pt x="3128672" y="2464432"/>
                  <a:pt x="3128672" y="2460788"/>
                  <a:pt x="3126850" y="2458967"/>
                </a:cubicBezTo>
                <a:cubicBezTo>
                  <a:pt x="3112273" y="2449856"/>
                  <a:pt x="3099518" y="2440745"/>
                  <a:pt x="3088585" y="2427989"/>
                </a:cubicBezTo>
                <a:cubicBezTo>
                  <a:pt x="3079474" y="2418879"/>
                  <a:pt x="3074007" y="2409767"/>
                  <a:pt x="3066719" y="2398835"/>
                </a:cubicBezTo>
                <a:cubicBezTo>
                  <a:pt x="3064896" y="2397013"/>
                  <a:pt x="3064896" y="2395190"/>
                  <a:pt x="3063074" y="2393367"/>
                </a:cubicBezTo>
                <a:lnTo>
                  <a:pt x="3074521" y="2397183"/>
                </a:lnTo>
                <a:lnTo>
                  <a:pt x="3077653" y="2397183"/>
                </a:lnTo>
                <a:lnTo>
                  <a:pt x="3076870" y="2397966"/>
                </a:lnTo>
                <a:lnTo>
                  <a:pt x="3112273" y="2409767"/>
                </a:lnTo>
                <a:cubicBezTo>
                  <a:pt x="3156006" y="2417056"/>
                  <a:pt x="3194272" y="2398835"/>
                  <a:pt x="3232537" y="2380612"/>
                </a:cubicBezTo>
                <a:cubicBezTo>
                  <a:pt x="3232537" y="2384257"/>
                  <a:pt x="3238004" y="2386079"/>
                  <a:pt x="3239826" y="2386079"/>
                </a:cubicBezTo>
                <a:cubicBezTo>
                  <a:pt x="3268981" y="2376968"/>
                  <a:pt x="3298136" y="2367857"/>
                  <a:pt x="3329113" y="2362389"/>
                </a:cubicBezTo>
                <a:cubicBezTo>
                  <a:pt x="3338223" y="2360568"/>
                  <a:pt x="3345512" y="2360568"/>
                  <a:pt x="3354623" y="2360568"/>
                </a:cubicBezTo>
                <a:close/>
                <a:moveTo>
                  <a:pt x="4074382" y="2357021"/>
                </a:moveTo>
                <a:lnTo>
                  <a:pt x="4078026" y="2389868"/>
                </a:lnTo>
                <a:lnTo>
                  <a:pt x="4056160" y="2366177"/>
                </a:lnTo>
                <a:close/>
                <a:moveTo>
                  <a:pt x="969397" y="2356940"/>
                </a:moveTo>
                <a:lnTo>
                  <a:pt x="971194" y="2362332"/>
                </a:lnTo>
                <a:lnTo>
                  <a:pt x="970080" y="2362862"/>
                </a:lnTo>
                <a:cubicBezTo>
                  <a:pt x="967574" y="2363318"/>
                  <a:pt x="964841" y="2363318"/>
                  <a:pt x="963930" y="2362408"/>
                </a:cubicBezTo>
                <a:cubicBezTo>
                  <a:pt x="963930" y="2362408"/>
                  <a:pt x="963930" y="2360586"/>
                  <a:pt x="963930" y="2360586"/>
                </a:cubicBezTo>
                <a:cubicBezTo>
                  <a:pt x="967575" y="2360586"/>
                  <a:pt x="969397" y="2360586"/>
                  <a:pt x="969397" y="2356940"/>
                </a:cubicBezTo>
                <a:close/>
                <a:moveTo>
                  <a:pt x="3035742" y="2356925"/>
                </a:moveTo>
                <a:cubicBezTo>
                  <a:pt x="3032098" y="2355103"/>
                  <a:pt x="3030276" y="2362391"/>
                  <a:pt x="3033920" y="2364213"/>
                </a:cubicBezTo>
                <a:cubicBezTo>
                  <a:pt x="3039387" y="2364213"/>
                  <a:pt x="3041209" y="2358747"/>
                  <a:pt x="3035742" y="2356925"/>
                </a:cubicBezTo>
                <a:close/>
                <a:moveTo>
                  <a:pt x="3041209" y="2355103"/>
                </a:moveTo>
                <a:cubicBezTo>
                  <a:pt x="3037564" y="2356925"/>
                  <a:pt x="3041209" y="2364213"/>
                  <a:pt x="3043031" y="2360569"/>
                </a:cubicBezTo>
                <a:cubicBezTo>
                  <a:pt x="3044853" y="2360569"/>
                  <a:pt x="3044853" y="2360569"/>
                  <a:pt x="3044853" y="2360569"/>
                </a:cubicBezTo>
                <a:cubicBezTo>
                  <a:pt x="3048497" y="2358747"/>
                  <a:pt x="3046675" y="2353279"/>
                  <a:pt x="3041209" y="2355103"/>
                </a:cubicBezTo>
                <a:close/>
                <a:moveTo>
                  <a:pt x="962108" y="2353284"/>
                </a:moveTo>
                <a:lnTo>
                  <a:pt x="965753" y="2353284"/>
                </a:lnTo>
                <a:cubicBezTo>
                  <a:pt x="965753" y="2355107"/>
                  <a:pt x="965753" y="2353284"/>
                  <a:pt x="965753" y="2355107"/>
                </a:cubicBezTo>
                <a:cubicBezTo>
                  <a:pt x="963930" y="2355107"/>
                  <a:pt x="965753" y="2356929"/>
                  <a:pt x="963930" y="2356929"/>
                </a:cubicBezTo>
                <a:close/>
                <a:moveTo>
                  <a:pt x="952086" y="2350557"/>
                </a:moveTo>
                <a:cubicBezTo>
                  <a:pt x="957097" y="2349646"/>
                  <a:pt x="961197" y="2350557"/>
                  <a:pt x="962108" y="2356936"/>
                </a:cubicBezTo>
                <a:cubicBezTo>
                  <a:pt x="960285" y="2358757"/>
                  <a:pt x="958463" y="2358757"/>
                  <a:pt x="956641" y="2360581"/>
                </a:cubicBezTo>
                <a:lnTo>
                  <a:pt x="949352" y="2356936"/>
                </a:lnTo>
                <a:lnTo>
                  <a:pt x="949352" y="2364225"/>
                </a:lnTo>
                <a:cubicBezTo>
                  <a:pt x="947530" y="2364225"/>
                  <a:pt x="947530" y="2366047"/>
                  <a:pt x="945708" y="2366047"/>
                </a:cubicBezTo>
                <a:cubicBezTo>
                  <a:pt x="943886" y="2364225"/>
                  <a:pt x="942064" y="2362402"/>
                  <a:pt x="940242" y="2360581"/>
                </a:cubicBezTo>
                <a:cubicBezTo>
                  <a:pt x="940242" y="2360581"/>
                  <a:pt x="938419" y="2358757"/>
                  <a:pt x="936597" y="2355113"/>
                </a:cubicBezTo>
                <a:cubicBezTo>
                  <a:pt x="941153" y="2354203"/>
                  <a:pt x="947075" y="2351468"/>
                  <a:pt x="952086" y="2350557"/>
                </a:cubicBezTo>
                <a:close/>
                <a:moveTo>
                  <a:pt x="3733634" y="2344323"/>
                </a:moveTo>
                <a:cubicBezTo>
                  <a:pt x="3753678" y="2353432"/>
                  <a:pt x="3737279" y="2340650"/>
                  <a:pt x="3755500" y="2351624"/>
                </a:cubicBezTo>
                <a:cubicBezTo>
                  <a:pt x="3757322" y="2355251"/>
                  <a:pt x="3759145" y="2357050"/>
                  <a:pt x="3760967" y="2357050"/>
                </a:cubicBezTo>
                <a:cubicBezTo>
                  <a:pt x="3759145" y="2358924"/>
                  <a:pt x="3757322" y="2360728"/>
                  <a:pt x="3755500" y="2366219"/>
                </a:cubicBezTo>
                <a:lnTo>
                  <a:pt x="3770077" y="2380795"/>
                </a:lnTo>
                <a:cubicBezTo>
                  <a:pt x="3744567" y="2397183"/>
                  <a:pt x="3759145" y="2399004"/>
                  <a:pt x="3724523" y="2402644"/>
                </a:cubicBezTo>
                <a:cubicBezTo>
                  <a:pt x="3717235" y="2382615"/>
                  <a:pt x="3713590" y="2386260"/>
                  <a:pt x="3693546" y="2371692"/>
                </a:cubicBezTo>
                <a:lnTo>
                  <a:pt x="3711768" y="2353432"/>
                </a:lnTo>
                <a:close/>
                <a:moveTo>
                  <a:pt x="3507686" y="2342448"/>
                </a:moveTo>
                <a:lnTo>
                  <a:pt x="3529552" y="2366167"/>
                </a:lnTo>
                <a:lnTo>
                  <a:pt x="3498575" y="2357021"/>
                </a:lnTo>
                <a:close/>
                <a:moveTo>
                  <a:pt x="978508" y="2338717"/>
                </a:moveTo>
                <a:lnTo>
                  <a:pt x="978508" y="2344184"/>
                </a:lnTo>
                <a:cubicBezTo>
                  <a:pt x="974863" y="2347829"/>
                  <a:pt x="971219" y="2349651"/>
                  <a:pt x="967575" y="2351472"/>
                </a:cubicBezTo>
                <a:cubicBezTo>
                  <a:pt x="967575" y="2349651"/>
                  <a:pt x="965752" y="2349651"/>
                  <a:pt x="963930" y="2349651"/>
                </a:cubicBezTo>
                <a:cubicBezTo>
                  <a:pt x="967575" y="2346006"/>
                  <a:pt x="973041" y="2342362"/>
                  <a:pt x="978508" y="2338717"/>
                </a:cubicBezTo>
                <a:close/>
                <a:moveTo>
                  <a:pt x="3134139" y="2337014"/>
                </a:moveTo>
                <a:cubicBezTo>
                  <a:pt x="3140517" y="2337924"/>
                  <a:pt x="3144617" y="2339292"/>
                  <a:pt x="3146895" y="2342029"/>
                </a:cubicBezTo>
                <a:lnTo>
                  <a:pt x="3147063" y="2343251"/>
                </a:lnTo>
                <a:lnTo>
                  <a:pt x="3217960" y="2340525"/>
                </a:lnTo>
                <a:cubicBezTo>
                  <a:pt x="3199738" y="2341436"/>
                  <a:pt x="3181516" y="2344169"/>
                  <a:pt x="3163750" y="2348269"/>
                </a:cubicBezTo>
                <a:lnTo>
                  <a:pt x="3148410" y="2353020"/>
                </a:lnTo>
                <a:lnTo>
                  <a:pt x="3148717" y="2355251"/>
                </a:lnTo>
                <a:lnTo>
                  <a:pt x="3146537" y="2353600"/>
                </a:lnTo>
                <a:lnTo>
                  <a:pt x="3112274" y="2364213"/>
                </a:lnTo>
                <a:cubicBezTo>
                  <a:pt x="3106807" y="2366036"/>
                  <a:pt x="3115918" y="2367859"/>
                  <a:pt x="3117740" y="2367859"/>
                </a:cubicBezTo>
                <a:lnTo>
                  <a:pt x="3127662" y="2365922"/>
                </a:lnTo>
                <a:lnTo>
                  <a:pt x="3128674" y="2364404"/>
                </a:lnTo>
                <a:lnTo>
                  <a:pt x="3128989" y="2365664"/>
                </a:lnTo>
                <a:lnTo>
                  <a:pt x="3192449" y="2353279"/>
                </a:lnTo>
                <a:cubicBezTo>
                  <a:pt x="3197916" y="2351458"/>
                  <a:pt x="3205204" y="2351458"/>
                  <a:pt x="3210671" y="2351458"/>
                </a:cubicBezTo>
                <a:cubicBezTo>
                  <a:pt x="3179694" y="2356925"/>
                  <a:pt x="3148717" y="2366036"/>
                  <a:pt x="3119562" y="2376969"/>
                </a:cubicBezTo>
                <a:cubicBezTo>
                  <a:pt x="3112274" y="2380613"/>
                  <a:pt x="3121384" y="2382435"/>
                  <a:pt x="3125029" y="2380613"/>
                </a:cubicBezTo>
                <a:cubicBezTo>
                  <a:pt x="3159650" y="2371502"/>
                  <a:pt x="3194271" y="2360569"/>
                  <a:pt x="3230715" y="2355103"/>
                </a:cubicBezTo>
                <a:cubicBezTo>
                  <a:pt x="3228893" y="2356925"/>
                  <a:pt x="3225248" y="2356925"/>
                  <a:pt x="3223426" y="2358747"/>
                </a:cubicBezTo>
                <a:cubicBezTo>
                  <a:pt x="3201560" y="2366036"/>
                  <a:pt x="3179694" y="2371502"/>
                  <a:pt x="3159650" y="2380613"/>
                </a:cubicBezTo>
                <a:cubicBezTo>
                  <a:pt x="3154184" y="2382435"/>
                  <a:pt x="3161472" y="2387903"/>
                  <a:pt x="3165117" y="2386080"/>
                </a:cubicBezTo>
                <a:lnTo>
                  <a:pt x="3194271" y="2378791"/>
                </a:lnTo>
                <a:lnTo>
                  <a:pt x="3194271" y="2377147"/>
                </a:lnTo>
                <a:lnTo>
                  <a:pt x="3200852" y="2377147"/>
                </a:lnTo>
                <a:lnTo>
                  <a:pt x="3201508" y="2376981"/>
                </a:lnTo>
                <a:lnTo>
                  <a:pt x="3200194" y="2372828"/>
                </a:lnTo>
                <a:cubicBezTo>
                  <a:pt x="3200194" y="2372601"/>
                  <a:pt x="3200649" y="2372601"/>
                  <a:pt x="3201560" y="2369872"/>
                </a:cubicBezTo>
                <a:lnTo>
                  <a:pt x="3197916" y="2369872"/>
                </a:lnTo>
                <a:lnTo>
                  <a:pt x="3205204" y="2368032"/>
                </a:lnTo>
                <a:lnTo>
                  <a:pt x="3205204" y="2376058"/>
                </a:lnTo>
                <a:lnTo>
                  <a:pt x="3208849" y="2375147"/>
                </a:lnTo>
                <a:lnTo>
                  <a:pt x="3205204" y="2376559"/>
                </a:lnTo>
                <a:lnTo>
                  <a:pt x="3205204" y="2391723"/>
                </a:lnTo>
                <a:lnTo>
                  <a:pt x="3194271" y="2389901"/>
                </a:lnTo>
                <a:lnTo>
                  <a:pt x="3194271" y="2380794"/>
                </a:lnTo>
                <a:lnTo>
                  <a:pt x="3176506" y="2387674"/>
                </a:lnTo>
                <a:lnTo>
                  <a:pt x="3142922" y="2393125"/>
                </a:lnTo>
                <a:lnTo>
                  <a:pt x="3141428" y="2395365"/>
                </a:lnTo>
                <a:lnTo>
                  <a:pt x="3139062" y="2393001"/>
                </a:lnTo>
                <a:lnTo>
                  <a:pt x="3097468" y="2386535"/>
                </a:lnTo>
                <a:cubicBezTo>
                  <a:pt x="3083575" y="2381525"/>
                  <a:pt x="3070364" y="2374235"/>
                  <a:pt x="3057608" y="2366036"/>
                </a:cubicBezTo>
                <a:cubicBezTo>
                  <a:pt x="3052142" y="2362391"/>
                  <a:pt x="3046675" y="2369681"/>
                  <a:pt x="3048497" y="2375147"/>
                </a:cubicBezTo>
                <a:cubicBezTo>
                  <a:pt x="3053964" y="2387903"/>
                  <a:pt x="3059430" y="2402479"/>
                  <a:pt x="3064897" y="2415235"/>
                </a:cubicBezTo>
                <a:lnTo>
                  <a:pt x="2997776" y="2415235"/>
                </a:lnTo>
                <a:lnTo>
                  <a:pt x="2998615" y="2416753"/>
                </a:lnTo>
                <a:cubicBezTo>
                  <a:pt x="3000210" y="2418574"/>
                  <a:pt x="3002032" y="2419938"/>
                  <a:pt x="3004765" y="2422669"/>
                </a:cubicBezTo>
                <a:lnTo>
                  <a:pt x="3003298" y="2427066"/>
                </a:lnTo>
                <a:lnTo>
                  <a:pt x="3068542" y="2427989"/>
                </a:lnTo>
                <a:cubicBezTo>
                  <a:pt x="3070364" y="2427989"/>
                  <a:pt x="3070364" y="2427989"/>
                  <a:pt x="3072186" y="2426165"/>
                </a:cubicBezTo>
                <a:lnTo>
                  <a:pt x="3101845" y="2474077"/>
                </a:lnTo>
                <a:lnTo>
                  <a:pt x="3120928" y="2507026"/>
                </a:lnTo>
                <a:lnTo>
                  <a:pt x="3126454" y="2513829"/>
                </a:lnTo>
                <a:lnTo>
                  <a:pt x="3143251" y="2540963"/>
                </a:lnTo>
                <a:cubicBezTo>
                  <a:pt x="3123207" y="2530031"/>
                  <a:pt x="3103163" y="2513631"/>
                  <a:pt x="3086763" y="2499053"/>
                </a:cubicBezTo>
                <a:cubicBezTo>
                  <a:pt x="3084941" y="2495409"/>
                  <a:pt x="3077653" y="2495409"/>
                  <a:pt x="3083119" y="2500876"/>
                </a:cubicBezTo>
                <a:cubicBezTo>
                  <a:pt x="3104985" y="2520920"/>
                  <a:pt x="3130496" y="2544608"/>
                  <a:pt x="3157828" y="2557363"/>
                </a:cubicBezTo>
                <a:cubicBezTo>
                  <a:pt x="3121385" y="2550074"/>
                  <a:pt x="3090408" y="2530031"/>
                  <a:pt x="3057609" y="2509987"/>
                </a:cubicBezTo>
                <a:cubicBezTo>
                  <a:pt x="3053964" y="2508164"/>
                  <a:pt x="3048498" y="2511809"/>
                  <a:pt x="3052142" y="2515453"/>
                </a:cubicBezTo>
                <a:cubicBezTo>
                  <a:pt x="3075831" y="2531853"/>
                  <a:pt x="3101341" y="2550074"/>
                  <a:pt x="3128673" y="2561006"/>
                </a:cubicBezTo>
                <a:cubicBezTo>
                  <a:pt x="3125029" y="2559186"/>
                  <a:pt x="3121385" y="2559186"/>
                  <a:pt x="3117741" y="2557363"/>
                </a:cubicBezTo>
                <a:cubicBezTo>
                  <a:pt x="3092230" y="2548253"/>
                  <a:pt x="3066720" y="2535497"/>
                  <a:pt x="3039387" y="2526386"/>
                </a:cubicBezTo>
                <a:cubicBezTo>
                  <a:pt x="3035743" y="2524564"/>
                  <a:pt x="3028454" y="2530031"/>
                  <a:pt x="3033920" y="2533676"/>
                </a:cubicBezTo>
                <a:cubicBezTo>
                  <a:pt x="3055786" y="2548253"/>
                  <a:pt x="3084941" y="2559186"/>
                  <a:pt x="3110452" y="2570118"/>
                </a:cubicBezTo>
                <a:cubicBezTo>
                  <a:pt x="3125029" y="2577407"/>
                  <a:pt x="3141429" y="2581052"/>
                  <a:pt x="3156006" y="2586518"/>
                </a:cubicBezTo>
                <a:cubicBezTo>
                  <a:pt x="3156006" y="2586518"/>
                  <a:pt x="3157828" y="2588341"/>
                  <a:pt x="3159650" y="2588341"/>
                </a:cubicBezTo>
                <a:cubicBezTo>
                  <a:pt x="3159650" y="2588341"/>
                  <a:pt x="3159650" y="2590163"/>
                  <a:pt x="3159650" y="2590163"/>
                </a:cubicBezTo>
                <a:cubicBezTo>
                  <a:pt x="3146895" y="2590163"/>
                  <a:pt x="3134140" y="2584697"/>
                  <a:pt x="3121385" y="2581052"/>
                </a:cubicBezTo>
                <a:cubicBezTo>
                  <a:pt x="3094052" y="2573763"/>
                  <a:pt x="3068542" y="2564652"/>
                  <a:pt x="3043031" y="2557363"/>
                </a:cubicBezTo>
                <a:cubicBezTo>
                  <a:pt x="3037565" y="2555542"/>
                  <a:pt x="3032098" y="2561006"/>
                  <a:pt x="3039387" y="2562830"/>
                </a:cubicBezTo>
                <a:cubicBezTo>
                  <a:pt x="3066720" y="2573763"/>
                  <a:pt x="3095874" y="2586518"/>
                  <a:pt x="3125029" y="2593808"/>
                </a:cubicBezTo>
                <a:cubicBezTo>
                  <a:pt x="3097697" y="2588341"/>
                  <a:pt x="3070364" y="2582874"/>
                  <a:pt x="3043031" y="2573763"/>
                </a:cubicBezTo>
                <a:cubicBezTo>
                  <a:pt x="3037565" y="2571940"/>
                  <a:pt x="3039387" y="2581052"/>
                  <a:pt x="3043031" y="2582874"/>
                </a:cubicBezTo>
                <a:cubicBezTo>
                  <a:pt x="3055786" y="2588341"/>
                  <a:pt x="3068542" y="2593808"/>
                  <a:pt x="3081297" y="2597452"/>
                </a:cubicBezTo>
                <a:cubicBezTo>
                  <a:pt x="3072186" y="2593808"/>
                  <a:pt x="3061253" y="2593808"/>
                  <a:pt x="3053964" y="2595629"/>
                </a:cubicBezTo>
                <a:cubicBezTo>
                  <a:pt x="3050320" y="2597452"/>
                  <a:pt x="3048498" y="2602917"/>
                  <a:pt x="3053964" y="2602917"/>
                </a:cubicBezTo>
                <a:cubicBezTo>
                  <a:pt x="3075831" y="2606563"/>
                  <a:pt x="3097697" y="2613850"/>
                  <a:pt x="3119563" y="2619317"/>
                </a:cubicBezTo>
                <a:cubicBezTo>
                  <a:pt x="3108630" y="2619317"/>
                  <a:pt x="3095874" y="2619317"/>
                  <a:pt x="3084941" y="2617495"/>
                </a:cubicBezTo>
                <a:cubicBezTo>
                  <a:pt x="3050320" y="2606563"/>
                  <a:pt x="3015699" y="2590163"/>
                  <a:pt x="2982900" y="2570118"/>
                </a:cubicBezTo>
                <a:cubicBezTo>
                  <a:pt x="2982900" y="2570118"/>
                  <a:pt x="2982900" y="2568296"/>
                  <a:pt x="2982900" y="2566475"/>
                </a:cubicBezTo>
                <a:lnTo>
                  <a:pt x="2982900" y="2564809"/>
                </a:lnTo>
                <a:lnTo>
                  <a:pt x="2978970" y="2564809"/>
                </a:lnTo>
                <a:lnTo>
                  <a:pt x="2977433" y="2566475"/>
                </a:lnTo>
                <a:lnTo>
                  <a:pt x="2956786" y="2552180"/>
                </a:lnTo>
                <a:lnTo>
                  <a:pt x="2955567" y="2552060"/>
                </a:lnTo>
                <a:lnTo>
                  <a:pt x="2956610" y="2552060"/>
                </a:lnTo>
                <a:lnTo>
                  <a:pt x="2955834" y="2551522"/>
                </a:lnTo>
                <a:lnTo>
                  <a:pt x="2955567" y="2552060"/>
                </a:lnTo>
                <a:lnTo>
                  <a:pt x="2950100" y="2548405"/>
                </a:lnTo>
                <a:lnTo>
                  <a:pt x="2950539" y="2547856"/>
                </a:lnTo>
                <a:lnTo>
                  <a:pt x="2945726" y="2544523"/>
                </a:lnTo>
                <a:lnTo>
                  <a:pt x="2942128" y="2543395"/>
                </a:lnTo>
                <a:cubicBezTo>
                  <a:pt x="2941900" y="2543395"/>
                  <a:pt x="2941900" y="2543848"/>
                  <a:pt x="2939167" y="2544752"/>
                </a:cubicBezTo>
                <a:lnTo>
                  <a:pt x="2933700" y="2539295"/>
                </a:lnTo>
                <a:lnTo>
                  <a:pt x="2934854" y="2536997"/>
                </a:lnTo>
                <a:lnTo>
                  <a:pt x="2930057" y="2533676"/>
                </a:lnTo>
                <a:cubicBezTo>
                  <a:pt x="2930057" y="2531853"/>
                  <a:pt x="2930057" y="2531853"/>
                  <a:pt x="2928234" y="2530031"/>
                </a:cubicBezTo>
                <a:cubicBezTo>
                  <a:pt x="2926412" y="2526386"/>
                  <a:pt x="2924590" y="2526386"/>
                  <a:pt x="2920946" y="2524564"/>
                </a:cubicBezTo>
                <a:lnTo>
                  <a:pt x="2911652" y="2515730"/>
                </a:lnTo>
                <a:lnTo>
                  <a:pt x="2908191" y="2521106"/>
                </a:lnTo>
                <a:cubicBezTo>
                  <a:pt x="2908191" y="2521106"/>
                  <a:pt x="2906369" y="2517470"/>
                  <a:pt x="2906369" y="2515653"/>
                </a:cubicBezTo>
                <a:cubicBezTo>
                  <a:pt x="2906369" y="2511093"/>
                  <a:pt x="2905914" y="2511093"/>
                  <a:pt x="2905914" y="2511317"/>
                </a:cubicBezTo>
                <a:lnTo>
                  <a:pt x="2906374" y="2510713"/>
                </a:lnTo>
                <a:lnTo>
                  <a:pt x="2861041" y="2467621"/>
                </a:lnTo>
                <a:lnTo>
                  <a:pt x="2853483" y="2457279"/>
                </a:lnTo>
                <a:lnTo>
                  <a:pt x="2842591" y="2457279"/>
                </a:lnTo>
                <a:cubicBezTo>
                  <a:pt x="2844414" y="2452722"/>
                  <a:pt x="2843958" y="2450444"/>
                  <a:pt x="2843958" y="2448621"/>
                </a:cubicBezTo>
                <a:lnTo>
                  <a:pt x="2845514" y="2446373"/>
                </a:lnTo>
                <a:lnTo>
                  <a:pt x="2813436" y="2402477"/>
                </a:lnTo>
                <a:lnTo>
                  <a:pt x="2841498" y="2407746"/>
                </a:lnTo>
                <a:lnTo>
                  <a:pt x="2842593" y="2404465"/>
                </a:lnTo>
                <a:lnTo>
                  <a:pt x="2846888" y="2408757"/>
                </a:lnTo>
                <a:lnTo>
                  <a:pt x="2939623" y="2426166"/>
                </a:lnTo>
                <a:lnTo>
                  <a:pt x="3001998" y="2427049"/>
                </a:lnTo>
                <a:lnTo>
                  <a:pt x="3001121" y="2426311"/>
                </a:lnTo>
                <a:lnTo>
                  <a:pt x="3002943" y="2422669"/>
                </a:lnTo>
                <a:lnTo>
                  <a:pt x="2997477" y="2417208"/>
                </a:lnTo>
                <a:lnTo>
                  <a:pt x="2988366" y="2415389"/>
                </a:lnTo>
                <a:lnTo>
                  <a:pt x="2981076" y="2422669"/>
                </a:lnTo>
                <a:lnTo>
                  <a:pt x="2981076" y="2415389"/>
                </a:lnTo>
                <a:lnTo>
                  <a:pt x="2982119" y="2410924"/>
                </a:lnTo>
                <a:lnTo>
                  <a:pt x="2920945" y="2384257"/>
                </a:lnTo>
                <a:cubicBezTo>
                  <a:pt x="2950100" y="2380613"/>
                  <a:pt x="2981077" y="2371502"/>
                  <a:pt x="3008410" y="2360569"/>
                </a:cubicBezTo>
                <a:cubicBezTo>
                  <a:pt x="3010232" y="2358747"/>
                  <a:pt x="3012054" y="2356925"/>
                  <a:pt x="3012054" y="2355103"/>
                </a:cubicBezTo>
                <a:lnTo>
                  <a:pt x="3030276" y="2353133"/>
                </a:lnTo>
                <a:lnTo>
                  <a:pt x="3030276" y="2347967"/>
                </a:lnTo>
                <a:lnTo>
                  <a:pt x="3034941" y="2352628"/>
                </a:lnTo>
                <a:lnTo>
                  <a:pt x="3079474" y="2347813"/>
                </a:lnTo>
                <a:cubicBezTo>
                  <a:pt x="3079474" y="2349635"/>
                  <a:pt x="3079474" y="2349635"/>
                  <a:pt x="3079474" y="2349635"/>
                </a:cubicBezTo>
                <a:cubicBezTo>
                  <a:pt x="3077652" y="2353279"/>
                  <a:pt x="3083119" y="2356925"/>
                  <a:pt x="3084941" y="2353279"/>
                </a:cubicBezTo>
                <a:cubicBezTo>
                  <a:pt x="3086763" y="2353279"/>
                  <a:pt x="3086763" y="2351458"/>
                  <a:pt x="3086763" y="2351458"/>
                </a:cubicBezTo>
                <a:cubicBezTo>
                  <a:pt x="3088585" y="2349635"/>
                  <a:pt x="3086763" y="2349635"/>
                  <a:pt x="3086763" y="2347813"/>
                </a:cubicBezTo>
                <a:cubicBezTo>
                  <a:pt x="3099518" y="2347813"/>
                  <a:pt x="3110451" y="2345992"/>
                  <a:pt x="3123206" y="2344168"/>
                </a:cubicBezTo>
                <a:lnTo>
                  <a:pt x="3137242" y="2343629"/>
                </a:lnTo>
                <a:close/>
                <a:moveTo>
                  <a:pt x="3493108" y="2337004"/>
                </a:moveTo>
                <a:lnTo>
                  <a:pt x="3453020" y="2371678"/>
                </a:lnTo>
                <a:lnTo>
                  <a:pt x="3453020" y="2349782"/>
                </a:lnTo>
                <a:cubicBezTo>
                  <a:pt x="3478531" y="2333373"/>
                  <a:pt x="3458487" y="2338823"/>
                  <a:pt x="3493108" y="2337004"/>
                </a:cubicBezTo>
                <a:close/>
                <a:moveTo>
                  <a:pt x="1023534" y="2336535"/>
                </a:moveTo>
                <a:lnTo>
                  <a:pt x="1024062" y="2336886"/>
                </a:lnTo>
                <a:lnTo>
                  <a:pt x="1022688" y="2336748"/>
                </a:lnTo>
                <a:close/>
                <a:moveTo>
                  <a:pt x="4478903" y="2335172"/>
                </a:moveTo>
                <a:lnTo>
                  <a:pt x="4504415" y="2336987"/>
                </a:lnTo>
                <a:lnTo>
                  <a:pt x="4480725" y="2358888"/>
                </a:lnTo>
                <a:close/>
                <a:moveTo>
                  <a:pt x="2838948" y="2335060"/>
                </a:moveTo>
                <a:cubicBezTo>
                  <a:pt x="2833481" y="2333237"/>
                  <a:pt x="2831659" y="2340525"/>
                  <a:pt x="2837126" y="2342348"/>
                </a:cubicBezTo>
                <a:cubicBezTo>
                  <a:pt x="2842592" y="2342348"/>
                  <a:pt x="2844415" y="2336881"/>
                  <a:pt x="2838948" y="2335060"/>
                </a:cubicBezTo>
                <a:close/>
                <a:moveTo>
                  <a:pt x="1034490" y="2333063"/>
                </a:moveTo>
                <a:lnTo>
                  <a:pt x="1032034" y="2334381"/>
                </a:lnTo>
                <a:lnTo>
                  <a:pt x="1023534" y="2336535"/>
                </a:lnTo>
                <a:lnTo>
                  <a:pt x="1023145" y="2336275"/>
                </a:lnTo>
                <a:lnTo>
                  <a:pt x="1022468" y="2336726"/>
                </a:lnTo>
                <a:lnTo>
                  <a:pt x="1022688" y="2336748"/>
                </a:lnTo>
                <a:lnTo>
                  <a:pt x="1022280" y="2336852"/>
                </a:lnTo>
                <a:lnTo>
                  <a:pt x="1022240" y="2336878"/>
                </a:lnTo>
                <a:lnTo>
                  <a:pt x="1022227" y="2336865"/>
                </a:lnTo>
                <a:lnTo>
                  <a:pt x="1014951" y="2338708"/>
                </a:lnTo>
                <a:cubicBezTo>
                  <a:pt x="1014951" y="2340531"/>
                  <a:pt x="1014951" y="2342353"/>
                  <a:pt x="1013129" y="2342353"/>
                </a:cubicBezTo>
                <a:lnTo>
                  <a:pt x="1012986" y="2342425"/>
                </a:lnTo>
                <a:lnTo>
                  <a:pt x="1014040" y="2342801"/>
                </a:lnTo>
                <a:cubicBezTo>
                  <a:pt x="1016318" y="2343712"/>
                  <a:pt x="1018596" y="2344168"/>
                  <a:pt x="1020418" y="2342345"/>
                </a:cubicBezTo>
                <a:cubicBezTo>
                  <a:pt x="1018596" y="2340523"/>
                  <a:pt x="1016774" y="2340523"/>
                  <a:pt x="1014951" y="2340523"/>
                </a:cubicBezTo>
                <a:cubicBezTo>
                  <a:pt x="1014951" y="2340523"/>
                  <a:pt x="1018596" y="2340523"/>
                  <a:pt x="1020418" y="2338701"/>
                </a:cubicBezTo>
                <a:cubicBezTo>
                  <a:pt x="1031351" y="2356923"/>
                  <a:pt x="1027707" y="2358745"/>
                  <a:pt x="1056861" y="2360567"/>
                </a:cubicBezTo>
                <a:cubicBezTo>
                  <a:pt x="1040461" y="2338701"/>
                  <a:pt x="1041486" y="2349635"/>
                  <a:pt x="1038412" y="2343400"/>
                </a:cubicBezTo>
                <a:close/>
                <a:moveTo>
                  <a:pt x="1005840" y="2331427"/>
                </a:moveTo>
                <a:cubicBezTo>
                  <a:pt x="1004017" y="2335073"/>
                  <a:pt x="998552" y="2336894"/>
                  <a:pt x="993084" y="2338718"/>
                </a:cubicBezTo>
                <a:lnTo>
                  <a:pt x="991263" y="2336894"/>
                </a:lnTo>
                <a:cubicBezTo>
                  <a:pt x="994907" y="2333250"/>
                  <a:pt x="1000374" y="2333250"/>
                  <a:pt x="1005840" y="2331427"/>
                </a:cubicBezTo>
                <a:close/>
                <a:moveTo>
                  <a:pt x="3514973" y="2318747"/>
                </a:moveTo>
                <a:lnTo>
                  <a:pt x="3531373" y="2333306"/>
                </a:lnTo>
                <a:lnTo>
                  <a:pt x="3514973" y="2335126"/>
                </a:lnTo>
                <a:close/>
                <a:moveTo>
                  <a:pt x="1053317" y="2317135"/>
                </a:moveTo>
                <a:lnTo>
                  <a:pt x="1052534" y="2317305"/>
                </a:lnTo>
                <a:lnTo>
                  <a:pt x="1051664" y="2317373"/>
                </a:lnTo>
                <a:lnTo>
                  <a:pt x="1056861" y="2327768"/>
                </a:lnTo>
                <a:close/>
                <a:moveTo>
                  <a:pt x="3978035" y="2313857"/>
                </a:moveTo>
                <a:cubicBezTo>
                  <a:pt x="3983274" y="2315677"/>
                  <a:pt x="3986918" y="2323398"/>
                  <a:pt x="3988740" y="2342482"/>
                </a:cubicBezTo>
                <a:lnTo>
                  <a:pt x="3957763" y="2349787"/>
                </a:lnTo>
                <a:cubicBezTo>
                  <a:pt x="3948652" y="2331568"/>
                  <a:pt x="3950474" y="2333385"/>
                  <a:pt x="3957763" y="2320669"/>
                </a:cubicBezTo>
                <a:cubicBezTo>
                  <a:pt x="3965963" y="2316130"/>
                  <a:pt x="3972796" y="2312041"/>
                  <a:pt x="3978035" y="2313857"/>
                </a:cubicBezTo>
                <a:close/>
                <a:moveTo>
                  <a:pt x="1115918" y="2310952"/>
                </a:moveTo>
                <a:lnTo>
                  <a:pt x="1115171" y="2311076"/>
                </a:lnTo>
                <a:lnTo>
                  <a:pt x="1115171" y="2313191"/>
                </a:lnTo>
                <a:close/>
                <a:moveTo>
                  <a:pt x="4282109" y="2309661"/>
                </a:moveTo>
                <a:lnTo>
                  <a:pt x="4283931" y="2327857"/>
                </a:lnTo>
                <a:lnTo>
                  <a:pt x="4267531" y="2326039"/>
                </a:lnTo>
                <a:close/>
                <a:moveTo>
                  <a:pt x="1135864" y="2306316"/>
                </a:moveTo>
                <a:lnTo>
                  <a:pt x="1126103" y="2307737"/>
                </a:lnTo>
                <a:cubicBezTo>
                  <a:pt x="1124281" y="2307737"/>
                  <a:pt x="1126103" y="2309557"/>
                  <a:pt x="1124281" y="2309557"/>
                </a:cubicBezTo>
                <a:lnTo>
                  <a:pt x="1122590" y="2309840"/>
                </a:lnTo>
                <a:lnTo>
                  <a:pt x="1125420" y="2316152"/>
                </a:lnTo>
                <a:cubicBezTo>
                  <a:pt x="1126559" y="2318201"/>
                  <a:pt x="1127926" y="2319568"/>
                  <a:pt x="1129748" y="2318656"/>
                </a:cubicBezTo>
                <a:cubicBezTo>
                  <a:pt x="1131570" y="2320480"/>
                  <a:pt x="1135215" y="2324124"/>
                  <a:pt x="1138859" y="2324124"/>
                </a:cubicBezTo>
                <a:cubicBezTo>
                  <a:pt x="1140681" y="2318656"/>
                  <a:pt x="1133393" y="2316834"/>
                  <a:pt x="1133393" y="2311368"/>
                </a:cubicBezTo>
                <a:cubicBezTo>
                  <a:pt x="1135215" y="2309547"/>
                  <a:pt x="1140681" y="2311368"/>
                  <a:pt x="1142503" y="2309547"/>
                </a:cubicBezTo>
                <a:close/>
                <a:moveTo>
                  <a:pt x="3620660" y="2304308"/>
                </a:moveTo>
                <a:lnTo>
                  <a:pt x="3635238" y="2304308"/>
                </a:lnTo>
                <a:lnTo>
                  <a:pt x="3649815" y="2304308"/>
                </a:lnTo>
                <a:lnTo>
                  <a:pt x="3664393" y="2311567"/>
                </a:lnTo>
                <a:lnTo>
                  <a:pt x="3664393" y="2311574"/>
                </a:lnTo>
                <a:lnTo>
                  <a:pt x="3664393" y="2326122"/>
                </a:lnTo>
                <a:lnTo>
                  <a:pt x="3649815" y="2326122"/>
                </a:lnTo>
                <a:cubicBezTo>
                  <a:pt x="3651637" y="2329754"/>
                  <a:pt x="3653459" y="2333385"/>
                  <a:pt x="3655282" y="2335202"/>
                </a:cubicBezTo>
                <a:cubicBezTo>
                  <a:pt x="3653459" y="2335202"/>
                  <a:pt x="3651637" y="2337014"/>
                  <a:pt x="3649815" y="2340652"/>
                </a:cubicBezTo>
                <a:lnTo>
                  <a:pt x="3627949" y="2344323"/>
                </a:lnTo>
                <a:cubicBezTo>
                  <a:pt x="3624305" y="2335202"/>
                  <a:pt x="3615193" y="2347967"/>
                  <a:pt x="3627949" y="2326122"/>
                </a:cubicBezTo>
                <a:close/>
                <a:moveTo>
                  <a:pt x="3431153" y="2302260"/>
                </a:moveTo>
                <a:cubicBezTo>
                  <a:pt x="3436620" y="2304082"/>
                  <a:pt x="3442086" y="2304082"/>
                  <a:pt x="3447553" y="2305906"/>
                </a:cubicBezTo>
                <a:lnTo>
                  <a:pt x="3440264" y="2309550"/>
                </a:lnTo>
                <a:close/>
                <a:moveTo>
                  <a:pt x="1002196" y="2294980"/>
                </a:moveTo>
                <a:lnTo>
                  <a:pt x="987619" y="2304091"/>
                </a:lnTo>
                <a:lnTo>
                  <a:pt x="1002196" y="2318669"/>
                </a:lnTo>
                <a:close/>
                <a:moveTo>
                  <a:pt x="1146148" y="2291335"/>
                </a:moveTo>
                <a:lnTo>
                  <a:pt x="1145721" y="2293359"/>
                </a:lnTo>
                <a:lnTo>
                  <a:pt x="1149769" y="2291335"/>
                </a:lnTo>
                <a:close/>
                <a:moveTo>
                  <a:pt x="951175" y="2289652"/>
                </a:moveTo>
                <a:lnTo>
                  <a:pt x="965752" y="2302422"/>
                </a:lnTo>
                <a:lnTo>
                  <a:pt x="942064" y="2311509"/>
                </a:lnTo>
                <a:close/>
                <a:moveTo>
                  <a:pt x="2875391" y="2287682"/>
                </a:moveTo>
                <a:lnTo>
                  <a:pt x="2876512" y="2288804"/>
                </a:lnTo>
                <a:lnTo>
                  <a:pt x="2875391" y="2289504"/>
                </a:lnTo>
                <a:lnTo>
                  <a:pt x="2874410" y="2288172"/>
                </a:lnTo>
                <a:close/>
                <a:moveTo>
                  <a:pt x="2857170" y="2287682"/>
                </a:moveTo>
                <a:cubicBezTo>
                  <a:pt x="2853525" y="2289504"/>
                  <a:pt x="2857170" y="2294971"/>
                  <a:pt x="2858992" y="2293148"/>
                </a:cubicBezTo>
                <a:cubicBezTo>
                  <a:pt x="2860814" y="2293148"/>
                  <a:pt x="2860814" y="2293148"/>
                  <a:pt x="2860814" y="2293148"/>
                </a:cubicBezTo>
                <a:cubicBezTo>
                  <a:pt x="2864458" y="2291327"/>
                  <a:pt x="2862636" y="2285861"/>
                  <a:pt x="2857170" y="2287682"/>
                </a:cubicBezTo>
                <a:close/>
                <a:moveTo>
                  <a:pt x="3476708" y="2285860"/>
                </a:moveTo>
                <a:cubicBezTo>
                  <a:pt x="3478530" y="2285860"/>
                  <a:pt x="3480352" y="2285860"/>
                  <a:pt x="3482174" y="2287683"/>
                </a:cubicBezTo>
                <a:cubicBezTo>
                  <a:pt x="3478530" y="2287683"/>
                  <a:pt x="3474885" y="2287683"/>
                  <a:pt x="3473063" y="2287683"/>
                </a:cubicBezTo>
                <a:cubicBezTo>
                  <a:pt x="3474885" y="2287683"/>
                  <a:pt x="3474885" y="2285860"/>
                  <a:pt x="3476708" y="2285860"/>
                </a:cubicBezTo>
                <a:close/>
                <a:moveTo>
                  <a:pt x="3620660" y="2282340"/>
                </a:moveTo>
                <a:lnTo>
                  <a:pt x="3620660" y="2304202"/>
                </a:lnTo>
                <a:lnTo>
                  <a:pt x="3604260" y="2296882"/>
                </a:lnTo>
                <a:close/>
                <a:moveTo>
                  <a:pt x="2842592" y="2282215"/>
                </a:moveTo>
                <a:cubicBezTo>
                  <a:pt x="2838948" y="2280393"/>
                  <a:pt x="2837126" y="2285861"/>
                  <a:pt x="2840770" y="2289504"/>
                </a:cubicBezTo>
                <a:cubicBezTo>
                  <a:pt x="2846237" y="2289504"/>
                  <a:pt x="2848059" y="2284038"/>
                  <a:pt x="2842592" y="2282215"/>
                </a:cubicBezTo>
                <a:close/>
                <a:moveTo>
                  <a:pt x="3708124" y="2280500"/>
                </a:moveTo>
                <a:lnTo>
                  <a:pt x="3709946" y="2296882"/>
                </a:lnTo>
                <a:lnTo>
                  <a:pt x="3693546" y="2295052"/>
                </a:lnTo>
                <a:close/>
                <a:moveTo>
                  <a:pt x="1153436" y="2278579"/>
                </a:moveTo>
                <a:cubicBezTo>
                  <a:pt x="1153436" y="2280402"/>
                  <a:pt x="1149791" y="2278579"/>
                  <a:pt x="1149791" y="2280402"/>
                </a:cubicBezTo>
                <a:lnTo>
                  <a:pt x="1149791" y="2291325"/>
                </a:lnTo>
                <a:lnTo>
                  <a:pt x="1149792" y="2291324"/>
                </a:lnTo>
                <a:cubicBezTo>
                  <a:pt x="1149792" y="2293146"/>
                  <a:pt x="1151614" y="2294968"/>
                  <a:pt x="1153436" y="2294968"/>
                </a:cubicBezTo>
                <a:cubicBezTo>
                  <a:pt x="1157081" y="2293146"/>
                  <a:pt x="1157081" y="2289502"/>
                  <a:pt x="1157081" y="2287680"/>
                </a:cubicBezTo>
                <a:lnTo>
                  <a:pt x="1158902" y="2286840"/>
                </a:lnTo>
                <a:lnTo>
                  <a:pt x="1158902" y="2285868"/>
                </a:lnTo>
                <a:cubicBezTo>
                  <a:pt x="1157080" y="2285868"/>
                  <a:pt x="1157080" y="2284046"/>
                  <a:pt x="1155259" y="2285868"/>
                </a:cubicBezTo>
                <a:cubicBezTo>
                  <a:pt x="1155259" y="2282224"/>
                  <a:pt x="1155259" y="2280402"/>
                  <a:pt x="1153436" y="2278579"/>
                </a:cubicBezTo>
                <a:close/>
                <a:moveTo>
                  <a:pt x="1185480" y="2276955"/>
                </a:moveTo>
                <a:lnTo>
                  <a:pt x="1182136" y="2277212"/>
                </a:lnTo>
                <a:lnTo>
                  <a:pt x="1181098" y="2278250"/>
                </a:lnTo>
                <a:lnTo>
                  <a:pt x="1181452" y="2278796"/>
                </a:lnTo>
                <a:cubicBezTo>
                  <a:pt x="1181680" y="2280846"/>
                  <a:pt x="1181680" y="2283124"/>
                  <a:pt x="1182592" y="2284035"/>
                </a:cubicBezTo>
                <a:cubicBezTo>
                  <a:pt x="1184414" y="2282213"/>
                  <a:pt x="1186236" y="2280391"/>
                  <a:pt x="1188058" y="2280391"/>
                </a:cubicBezTo>
                <a:close/>
                <a:moveTo>
                  <a:pt x="3544128" y="2275060"/>
                </a:moveTo>
                <a:lnTo>
                  <a:pt x="3560528" y="2287815"/>
                </a:lnTo>
                <a:lnTo>
                  <a:pt x="3544128" y="2296882"/>
                </a:lnTo>
                <a:close/>
                <a:moveTo>
                  <a:pt x="3799232" y="2275043"/>
                </a:moveTo>
                <a:lnTo>
                  <a:pt x="3815632" y="2275043"/>
                </a:lnTo>
                <a:lnTo>
                  <a:pt x="3813810" y="2291431"/>
                </a:lnTo>
                <a:close/>
                <a:moveTo>
                  <a:pt x="4411483" y="2275025"/>
                </a:moveTo>
                <a:lnTo>
                  <a:pt x="4426060" y="2275025"/>
                </a:lnTo>
                <a:lnTo>
                  <a:pt x="4411483" y="2289596"/>
                </a:lnTo>
                <a:close/>
                <a:moveTo>
                  <a:pt x="3649815" y="2273325"/>
                </a:moveTo>
                <a:cubicBezTo>
                  <a:pt x="3671681" y="2276972"/>
                  <a:pt x="3680792" y="2273325"/>
                  <a:pt x="3678970" y="2296959"/>
                </a:cubicBezTo>
                <a:cubicBezTo>
                  <a:pt x="3678970" y="2301564"/>
                  <a:pt x="3677148" y="2304299"/>
                  <a:pt x="3674414" y="2306341"/>
                </a:cubicBezTo>
                <a:lnTo>
                  <a:pt x="3664393" y="2311567"/>
                </a:lnTo>
                <a:close/>
                <a:moveTo>
                  <a:pt x="925664" y="2273286"/>
                </a:moveTo>
                <a:lnTo>
                  <a:pt x="934777" y="2289675"/>
                </a:lnTo>
                <a:lnTo>
                  <a:pt x="901976" y="2295092"/>
                </a:lnTo>
                <a:close/>
                <a:moveTo>
                  <a:pt x="952997" y="2273108"/>
                </a:moveTo>
                <a:cubicBezTo>
                  <a:pt x="952997" y="2274931"/>
                  <a:pt x="951175" y="2274931"/>
                  <a:pt x="951175" y="2274931"/>
                </a:cubicBezTo>
                <a:cubicBezTo>
                  <a:pt x="949353" y="2274931"/>
                  <a:pt x="947530" y="2274931"/>
                  <a:pt x="945708" y="2274931"/>
                </a:cubicBezTo>
                <a:cubicBezTo>
                  <a:pt x="947530" y="2273108"/>
                  <a:pt x="951175" y="2273108"/>
                  <a:pt x="952997" y="2273108"/>
                </a:cubicBezTo>
                <a:close/>
                <a:moveTo>
                  <a:pt x="1177124" y="2271290"/>
                </a:moveTo>
                <a:cubicBezTo>
                  <a:pt x="1175302" y="2273113"/>
                  <a:pt x="1175302" y="2274935"/>
                  <a:pt x="1175302" y="2278579"/>
                </a:cubicBezTo>
                <a:cubicBezTo>
                  <a:pt x="1171658" y="2278579"/>
                  <a:pt x="1169835" y="2278579"/>
                  <a:pt x="1166191" y="2280402"/>
                </a:cubicBezTo>
                <a:lnTo>
                  <a:pt x="1164684" y="2284171"/>
                </a:lnTo>
                <a:lnTo>
                  <a:pt x="1165964" y="2283580"/>
                </a:lnTo>
                <a:cubicBezTo>
                  <a:pt x="1168925" y="2282213"/>
                  <a:pt x="1171658" y="2281302"/>
                  <a:pt x="1173481" y="2282213"/>
                </a:cubicBezTo>
                <a:cubicBezTo>
                  <a:pt x="1171658" y="2284035"/>
                  <a:pt x="1173481" y="2285857"/>
                  <a:pt x="1173481" y="2287680"/>
                </a:cubicBezTo>
                <a:cubicBezTo>
                  <a:pt x="1173481" y="2289502"/>
                  <a:pt x="1175303" y="2287680"/>
                  <a:pt x="1175303" y="2289502"/>
                </a:cubicBezTo>
                <a:lnTo>
                  <a:pt x="1178385" y="2277173"/>
                </a:lnTo>
                <a:lnTo>
                  <a:pt x="1178035" y="2275163"/>
                </a:lnTo>
                <a:cubicBezTo>
                  <a:pt x="1178035" y="2273113"/>
                  <a:pt x="1178035" y="2271290"/>
                  <a:pt x="1177124" y="2271290"/>
                </a:cubicBezTo>
                <a:close/>
                <a:moveTo>
                  <a:pt x="1062328" y="2267646"/>
                </a:moveTo>
                <a:lnTo>
                  <a:pt x="1038639" y="2269468"/>
                </a:lnTo>
                <a:lnTo>
                  <a:pt x="1060506" y="2291335"/>
                </a:lnTo>
                <a:close/>
                <a:moveTo>
                  <a:pt x="3633414" y="2265913"/>
                </a:moveTo>
                <a:lnTo>
                  <a:pt x="3635237" y="2282317"/>
                </a:lnTo>
                <a:lnTo>
                  <a:pt x="3620659" y="2282317"/>
                </a:lnTo>
                <a:close/>
                <a:moveTo>
                  <a:pt x="934775" y="2265819"/>
                </a:moveTo>
                <a:cubicBezTo>
                  <a:pt x="936597" y="2267641"/>
                  <a:pt x="938420" y="2265819"/>
                  <a:pt x="940242" y="2265819"/>
                </a:cubicBezTo>
                <a:cubicBezTo>
                  <a:pt x="940242" y="2267641"/>
                  <a:pt x="940242" y="2269464"/>
                  <a:pt x="940242" y="2269464"/>
                </a:cubicBezTo>
                <a:cubicBezTo>
                  <a:pt x="940242" y="2269464"/>
                  <a:pt x="938420" y="2267641"/>
                  <a:pt x="934775" y="2265819"/>
                </a:cubicBezTo>
                <a:close/>
                <a:moveTo>
                  <a:pt x="943886" y="2254886"/>
                </a:moveTo>
                <a:cubicBezTo>
                  <a:pt x="943886" y="2256708"/>
                  <a:pt x="943886" y="2256708"/>
                  <a:pt x="943886" y="2258531"/>
                </a:cubicBezTo>
                <a:cubicBezTo>
                  <a:pt x="942063" y="2258531"/>
                  <a:pt x="942063" y="2258531"/>
                  <a:pt x="940241" y="2258531"/>
                </a:cubicBezTo>
                <a:cubicBezTo>
                  <a:pt x="942063" y="2256708"/>
                  <a:pt x="942063" y="2256708"/>
                  <a:pt x="943886" y="2254886"/>
                </a:cubicBezTo>
                <a:close/>
                <a:moveTo>
                  <a:pt x="3447553" y="2254882"/>
                </a:moveTo>
                <a:cubicBezTo>
                  <a:pt x="3454842" y="2256704"/>
                  <a:pt x="3463953" y="2256704"/>
                  <a:pt x="3471242" y="2258527"/>
                </a:cubicBezTo>
                <a:lnTo>
                  <a:pt x="3469419" y="2262171"/>
                </a:lnTo>
                <a:cubicBezTo>
                  <a:pt x="3465775" y="2263993"/>
                  <a:pt x="3460308" y="2263993"/>
                  <a:pt x="3454842" y="2263993"/>
                </a:cubicBezTo>
                <a:close/>
                <a:moveTo>
                  <a:pt x="2880402" y="2253288"/>
                </a:moveTo>
                <a:cubicBezTo>
                  <a:pt x="2879035" y="2253972"/>
                  <a:pt x="2878124" y="2255793"/>
                  <a:pt x="2879036" y="2258527"/>
                </a:cubicBezTo>
                <a:cubicBezTo>
                  <a:pt x="2879036" y="2258527"/>
                  <a:pt x="2879036" y="2260349"/>
                  <a:pt x="2880858" y="2260349"/>
                </a:cubicBezTo>
                <a:cubicBezTo>
                  <a:pt x="2884502" y="2262172"/>
                  <a:pt x="2888147" y="2256705"/>
                  <a:pt x="2884502" y="2254883"/>
                </a:cubicBezTo>
                <a:cubicBezTo>
                  <a:pt x="2883591" y="2253061"/>
                  <a:pt x="2881769" y="2252605"/>
                  <a:pt x="2880402" y="2253288"/>
                </a:cubicBezTo>
                <a:close/>
                <a:moveTo>
                  <a:pt x="962108" y="2251246"/>
                </a:moveTo>
                <a:cubicBezTo>
                  <a:pt x="965752" y="2253069"/>
                  <a:pt x="967574" y="2256713"/>
                  <a:pt x="973041" y="2258536"/>
                </a:cubicBezTo>
                <a:cubicBezTo>
                  <a:pt x="973041" y="2258536"/>
                  <a:pt x="971219" y="2260358"/>
                  <a:pt x="971219" y="2262180"/>
                </a:cubicBezTo>
                <a:cubicBezTo>
                  <a:pt x="965752" y="2265825"/>
                  <a:pt x="960286" y="2267647"/>
                  <a:pt x="954819" y="2271291"/>
                </a:cubicBezTo>
                <a:cubicBezTo>
                  <a:pt x="954819" y="2271291"/>
                  <a:pt x="952997" y="2271291"/>
                  <a:pt x="952997" y="2269469"/>
                </a:cubicBezTo>
                <a:cubicBezTo>
                  <a:pt x="949353" y="2271291"/>
                  <a:pt x="947530" y="2269469"/>
                  <a:pt x="945708" y="2271291"/>
                </a:cubicBezTo>
                <a:cubicBezTo>
                  <a:pt x="945708" y="2267647"/>
                  <a:pt x="947530" y="2260358"/>
                  <a:pt x="951175" y="2256713"/>
                </a:cubicBezTo>
                <a:cubicBezTo>
                  <a:pt x="954819" y="2256713"/>
                  <a:pt x="960286" y="2258536"/>
                  <a:pt x="963930" y="2256713"/>
                </a:cubicBezTo>
                <a:cubicBezTo>
                  <a:pt x="962108" y="2253069"/>
                  <a:pt x="960286" y="2254891"/>
                  <a:pt x="958463" y="2253069"/>
                </a:cubicBezTo>
                <a:cubicBezTo>
                  <a:pt x="962108" y="2253069"/>
                  <a:pt x="962108" y="2253069"/>
                  <a:pt x="962108" y="2251246"/>
                </a:cubicBezTo>
                <a:close/>
                <a:moveTo>
                  <a:pt x="993085" y="2251241"/>
                </a:moveTo>
                <a:cubicBezTo>
                  <a:pt x="994907" y="2253063"/>
                  <a:pt x="994907" y="2253063"/>
                  <a:pt x="996729" y="2254886"/>
                </a:cubicBezTo>
                <a:lnTo>
                  <a:pt x="985796" y="2256708"/>
                </a:lnTo>
                <a:cubicBezTo>
                  <a:pt x="987618" y="2254886"/>
                  <a:pt x="991263" y="2253063"/>
                  <a:pt x="993085" y="2251241"/>
                </a:cubicBezTo>
                <a:close/>
                <a:moveTo>
                  <a:pt x="3361910" y="2251238"/>
                </a:moveTo>
                <a:lnTo>
                  <a:pt x="3349155" y="2274927"/>
                </a:lnTo>
                <a:lnTo>
                  <a:pt x="3363733" y="2274927"/>
                </a:lnTo>
                <a:lnTo>
                  <a:pt x="3365555" y="2291327"/>
                </a:lnTo>
                <a:lnTo>
                  <a:pt x="3378310" y="2274927"/>
                </a:lnTo>
                <a:lnTo>
                  <a:pt x="3363733" y="2274927"/>
                </a:lnTo>
                <a:close/>
                <a:moveTo>
                  <a:pt x="949352" y="2249418"/>
                </a:moveTo>
                <a:cubicBezTo>
                  <a:pt x="951174" y="2249418"/>
                  <a:pt x="951174" y="2249418"/>
                  <a:pt x="952997" y="2249418"/>
                </a:cubicBezTo>
                <a:cubicBezTo>
                  <a:pt x="952997" y="2251241"/>
                  <a:pt x="951174" y="2251241"/>
                  <a:pt x="951174" y="2253063"/>
                </a:cubicBezTo>
                <a:cubicBezTo>
                  <a:pt x="951174" y="2253063"/>
                  <a:pt x="951174" y="2251241"/>
                  <a:pt x="949352" y="2249418"/>
                </a:cubicBezTo>
                <a:close/>
                <a:moveTo>
                  <a:pt x="2879036" y="2245772"/>
                </a:moveTo>
                <a:cubicBezTo>
                  <a:pt x="2871747" y="2243950"/>
                  <a:pt x="2869925" y="2249415"/>
                  <a:pt x="2875391" y="2253061"/>
                </a:cubicBezTo>
                <a:cubicBezTo>
                  <a:pt x="2875391" y="2253061"/>
                  <a:pt x="2877213" y="2253061"/>
                  <a:pt x="2877213" y="2253061"/>
                </a:cubicBezTo>
                <a:cubicBezTo>
                  <a:pt x="2880858" y="2253061"/>
                  <a:pt x="2882680" y="2247594"/>
                  <a:pt x="2879036" y="2245772"/>
                </a:cubicBezTo>
                <a:close/>
                <a:moveTo>
                  <a:pt x="1005840" y="2243957"/>
                </a:moveTo>
                <a:cubicBezTo>
                  <a:pt x="1005840" y="2247602"/>
                  <a:pt x="1000374" y="2251246"/>
                  <a:pt x="996729" y="2247602"/>
                </a:cubicBezTo>
                <a:cubicBezTo>
                  <a:pt x="1000374" y="2247602"/>
                  <a:pt x="1002196" y="2245779"/>
                  <a:pt x="1005840" y="2243957"/>
                </a:cubicBezTo>
                <a:close/>
                <a:moveTo>
                  <a:pt x="3442087" y="2243951"/>
                </a:moveTo>
                <a:cubicBezTo>
                  <a:pt x="3449375" y="2243951"/>
                  <a:pt x="3454842" y="2243951"/>
                  <a:pt x="3460308" y="2245772"/>
                </a:cubicBezTo>
                <a:cubicBezTo>
                  <a:pt x="3465775" y="2247596"/>
                  <a:pt x="3469419" y="2247596"/>
                  <a:pt x="3474886" y="2249418"/>
                </a:cubicBezTo>
                <a:cubicBezTo>
                  <a:pt x="3471241" y="2249418"/>
                  <a:pt x="3469419" y="2247596"/>
                  <a:pt x="3465775" y="2249418"/>
                </a:cubicBezTo>
                <a:cubicBezTo>
                  <a:pt x="3456664" y="2247596"/>
                  <a:pt x="3449375" y="2247596"/>
                  <a:pt x="3440265" y="2247596"/>
                </a:cubicBezTo>
                <a:lnTo>
                  <a:pt x="3438442" y="2245772"/>
                </a:lnTo>
                <a:close/>
                <a:moveTo>
                  <a:pt x="4334952" y="2242277"/>
                </a:moveTo>
                <a:lnTo>
                  <a:pt x="4336775" y="2265987"/>
                </a:lnTo>
                <a:lnTo>
                  <a:pt x="4313086" y="2265987"/>
                </a:lnTo>
                <a:close/>
                <a:moveTo>
                  <a:pt x="982152" y="2242130"/>
                </a:moveTo>
                <a:cubicBezTo>
                  <a:pt x="983974" y="2245775"/>
                  <a:pt x="989441" y="2243953"/>
                  <a:pt x="993085" y="2249420"/>
                </a:cubicBezTo>
                <a:cubicBezTo>
                  <a:pt x="989441" y="2253064"/>
                  <a:pt x="983974" y="2254886"/>
                  <a:pt x="980330" y="2258531"/>
                </a:cubicBezTo>
                <a:lnTo>
                  <a:pt x="974863" y="2260354"/>
                </a:lnTo>
                <a:cubicBezTo>
                  <a:pt x="973041" y="2256709"/>
                  <a:pt x="969396" y="2251242"/>
                  <a:pt x="967574" y="2247598"/>
                </a:cubicBezTo>
                <a:cubicBezTo>
                  <a:pt x="969396" y="2245775"/>
                  <a:pt x="971219" y="2245775"/>
                  <a:pt x="974863" y="2243953"/>
                </a:cubicBezTo>
                <a:cubicBezTo>
                  <a:pt x="976685" y="2243953"/>
                  <a:pt x="980330" y="2243953"/>
                  <a:pt x="982152" y="2242130"/>
                </a:cubicBezTo>
                <a:close/>
                <a:moveTo>
                  <a:pt x="1157081" y="2240312"/>
                </a:moveTo>
                <a:cubicBezTo>
                  <a:pt x="1155259" y="2238489"/>
                  <a:pt x="1157081" y="2243956"/>
                  <a:pt x="1153436" y="2242134"/>
                </a:cubicBezTo>
                <a:cubicBezTo>
                  <a:pt x="1153436" y="2247601"/>
                  <a:pt x="1151614" y="2251245"/>
                  <a:pt x="1151614" y="2254890"/>
                </a:cubicBezTo>
                <a:cubicBezTo>
                  <a:pt x="1144326" y="2258535"/>
                  <a:pt x="1142503" y="2260358"/>
                  <a:pt x="1138859" y="2265823"/>
                </a:cubicBezTo>
                <a:cubicBezTo>
                  <a:pt x="1129748" y="2269468"/>
                  <a:pt x="1124282" y="2274935"/>
                  <a:pt x="1115171" y="2278579"/>
                </a:cubicBezTo>
                <a:lnTo>
                  <a:pt x="1111526" y="2282225"/>
                </a:lnTo>
                <a:cubicBezTo>
                  <a:pt x="1111526" y="2284047"/>
                  <a:pt x="1113348" y="2287691"/>
                  <a:pt x="1113348" y="2287691"/>
                </a:cubicBezTo>
                <a:cubicBezTo>
                  <a:pt x="1113348" y="2287691"/>
                  <a:pt x="1109704" y="2284047"/>
                  <a:pt x="1107881" y="2285870"/>
                </a:cubicBezTo>
                <a:cubicBezTo>
                  <a:pt x="1109704" y="2287691"/>
                  <a:pt x="1107881" y="2291336"/>
                  <a:pt x="1107881" y="2294981"/>
                </a:cubicBezTo>
                <a:lnTo>
                  <a:pt x="1085213" y="2307575"/>
                </a:lnTo>
                <a:lnTo>
                  <a:pt x="1094166" y="2307662"/>
                </a:lnTo>
                <a:lnTo>
                  <a:pt x="1100593" y="2304091"/>
                </a:lnTo>
                <a:cubicBezTo>
                  <a:pt x="1104237" y="2302270"/>
                  <a:pt x="1107881" y="2296802"/>
                  <a:pt x="1113348" y="2298624"/>
                </a:cubicBezTo>
                <a:cubicBezTo>
                  <a:pt x="1115170" y="2296802"/>
                  <a:pt x="1113348" y="2294980"/>
                  <a:pt x="1116992" y="2294980"/>
                </a:cubicBezTo>
                <a:cubicBezTo>
                  <a:pt x="1118815" y="2296802"/>
                  <a:pt x="1122459" y="2300446"/>
                  <a:pt x="1126103" y="2298624"/>
                </a:cubicBezTo>
                <a:cubicBezTo>
                  <a:pt x="1127926" y="2298624"/>
                  <a:pt x="1124281" y="2294980"/>
                  <a:pt x="1124281" y="2293157"/>
                </a:cubicBezTo>
                <a:cubicBezTo>
                  <a:pt x="1126103" y="2293157"/>
                  <a:pt x="1127926" y="2291335"/>
                  <a:pt x="1129748" y="2289513"/>
                </a:cubicBezTo>
                <a:cubicBezTo>
                  <a:pt x="1129748" y="2287691"/>
                  <a:pt x="1129748" y="2287691"/>
                  <a:pt x="1127926" y="2287691"/>
                </a:cubicBezTo>
                <a:cubicBezTo>
                  <a:pt x="1133392" y="2280402"/>
                  <a:pt x="1142503" y="2276757"/>
                  <a:pt x="1151614" y="2269468"/>
                </a:cubicBezTo>
                <a:lnTo>
                  <a:pt x="1157080" y="2264783"/>
                </a:lnTo>
                <a:lnTo>
                  <a:pt x="1135215" y="2280402"/>
                </a:lnTo>
                <a:cubicBezTo>
                  <a:pt x="1131570" y="2285868"/>
                  <a:pt x="1124282" y="2291335"/>
                  <a:pt x="1116993" y="2289513"/>
                </a:cubicBezTo>
                <a:cubicBezTo>
                  <a:pt x="1118815" y="2287691"/>
                  <a:pt x="1118815" y="2284046"/>
                  <a:pt x="1120637" y="2282224"/>
                </a:cubicBezTo>
                <a:cubicBezTo>
                  <a:pt x="1122459" y="2280402"/>
                  <a:pt x="1126104" y="2280402"/>
                  <a:pt x="1124282" y="2276757"/>
                </a:cubicBezTo>
                <a:cubicBezTo>
                  <a:pt x="1129748" y="2273113"/>
                  <a:pt x="1138859" y="2271290"/>
                  <a:pt x="1142503" y="2267646"/>
                </a:cubicBezTo>
                <a:cubicBezTo>
                  <a:pt x="1144326" y="2265823"/>
                  <a:pt x="1147970" y="2265823"/>
                  <a:pt x="1147970" y="2264001"/>
                </a:cubicBezTo>
                <a:cubicBezTo>
                  <a:pt x="1147970" y="2262179"/>
                  <a:pt x="1146148" y="2264001"/>
                  <a:pt x="1146148" y="2264001"/>
                </a:cubicBezTo>
                <a:cubicBezTo>
                  <a:pt x="1146148" y="2262179"/>
                  <a:pt x="1149792" y="2260358"/>
                  <a:pt x="1151614" y="2258535"/>
                </a:cubicBezTo>
                <a:cubicBezTo>
                  <a:pt x="1151614" y="2258535"/>
                  <a:pt x="1151614" y="2262179"/>
                  <a:pt x="1153436" y="2262179"/>
                </a:cubicBezTo>
                <a:cubicBezTo>
                  <a:pt x="1157081" y="2260358"/>
                  <a:pt x="1151614" y="2258535"/>
                  <a:pt x="1151614" y="2256712"/>
                </a:cubicBezTo>
                <a:cubicBezTo>
                  <a:pt x="1153436" y="2254890"/>
                  <a:pt x="1155259" y="2260358"/>
                  <a:pt x="1158903" y="2258535"/>
                </a:cubicBezTo>
                <a:cubicBezTo>
                  <a:pt x="1158903" y="2256712"/>
                  <a:pt x="1155259" y="2256712"/>
                  <a:pt x="1157081" y="2254890"/>
                </a:cubicBezTo>
                <a:cubicBezTo>
                  <a:pt x="1158903" y="2254890"/>
                  <a:pt x="1160725" y="2254890"/>
                  <a:pt x="1162547" y="2253067"/>
                </a:cubicBezTo>
                <a:cubicBezTo>
                  <a:pt x="1162547" y="2251245"/>
                  <a:pt x="1158903" y="2253067"/>
                  <a:pt x="1158903" y="2251245"/>
                </a:cubicBezTo>
                <a:cubicBezTo>
                  <a:pt x="1158903" y="2249423"/>
                  <a:pt x="1162547" y="2247601"/>
                  <a:pt x="1162547" y="2243956"/>
                </a:cubicBezTo>
                <a:cubicBezTo>
                  <a:pt x="1160725" y="2242134"/>
                  <a:pt x="1158903" y="2243956"/>
                  <a:pt x="1158903" y="2245778"/>
                </a:cubicBezTo>
                <a:cubicBezTo>
                  <a:pt x="1157081" y="2245778"/>
                  <a:pt x="1157081" y="2242134"/>
                  <a:pt x="1157081" y="2240312"/>
                </a:cubicBezTo>
                <a:close/>
                <a:moveTo>
                  <a:pt x="2869925" y="2236661"/>
                </a:moveTo>
                <a:cubicBezTo>
                  <a:pt x="2866281" y="2234838"/>
                  <a:pt x="2862636" y="2242128"/>
                  <a:pt x="2868103" y="2243950"/>
                </a:cubicBezTo>
                <a:cubicBezTo>
                  <a:pt x="2868103" y="2243950"/>
                  <a:pt x="2869925" y="2243950"/>
                  <a:pt x="2869925" y="2243950"/>
                </a:cubicBezTo>
                <a:cubicBezTo>
                  <a:pt x="2873569" y="2243950"/>
                  <a:pt x="2875391" y="2238483"/>
                  <a:pt x="2871747" y="2236661"/>
                </a:cubicBezTo>
                <a:cubicBezTo>
                  <a:pt x="2871747" y="2236661"/>
                  <a:pt x="2869925" y="2236661"/>
                  <a:pt x="2869925" y="2236661"/>
                </a:cubicBezTo>
                <a:close/>
                <a:moveTo>
                  <a:pt x="3363734" y="2233017"/>
                </a:moveTo>
                <a:cubicBezTo>
                  <a:pt x="3365556" y="2233017"/>
                  <a:pt x="3367379" y="2233017"/>
                  <a:pt x="3369201" y="2233017"/>
                </a:cubicBezTo>
                <a:cubicBezTo>
                  <a:pt x="3363734" y="2240307"/>
                  <a:pt x="3363734" y="2236662"/>
                  <a:pt x="3363734" y="2233017"/>
                </a:cubicBezTo>
                <a:close/>
                <a:moveTo>
                  <a:pt x="3387421" y="2231194"/>
                </a:moveTo>
                <a:lnTo>
                  <a:pt x="3416576" y="2231194"/>
                </a:lnTo>
                <a:cubicBezTo>
                  <a:pt x="3414753" y="2233017"/>
                  <a:pt x="3411109" y="2233017"/>
                  <a:pt x="3403820" y="2236661"/>
                </a:cubicBezTo>
                <a:lnTo>
                  <a:pt x="3409287" y="2249416"/>
                </a:lnTo>
                <a:cubicBezTo>
                  <a:pt x="3407465" y="2249416"/>
                  <a:pt x="3403820" y="2251238"/>
                  <a:pt x="3400176" y="2251238"/>
                </a:cubicBezTo>
                <a:cubicBezTo>
                  <a:pt x="3394710" y="2253061"/>
                  <a:pt x="3398354" y="2260350"/>
                  <a:pt x="3401998" y="2260350"/>
                </a:cubicBezTo>
                <a:cubicBezTo>
                  <a:pt x="3405642" y="2258527"/>
                  <a:pt x="3409287" y="2258527"/>
                  <a:pt x="3412931" y="2258527"/>
                </a:cubicBezTo>
                <a:lnTo>
                  <a:pt x="3420220" y="2276750"/>
                </a:lnTo>
                <a:lnTo>
                  <a:pt x="3422042" y="2276750"/>
                </a:lnTo>
                <a:cubicBezTo>
                  <a:pt x="3422042" y="2276750"/>
                  <a:pt x="3422042" y="2278572"/>
                  <a:pt x="3423864" y="2278572"/>
                </a:cubicBezTo>
                <a:cubicBezTo>
                  <a:pt x="3432975" y="2282216"/>
                  <a:pt x="3442086" y="2280394"/>
                  <a:pt x="3451197" y="2282216"/>
                </a:cubicBezTo>
                <a:cubicBezTo>
                  <a:pt x="3454841" y="2282216"/>
                  <a:pt x="3456663" y="2284038"/>
                  <a:pt x="3460308" y="2284038"/>
                </a:cubicBezTo>
                <a:lnTo>
                  <a:pt x="3463952" y="2287683"/>
                </a:lnTo>
                <a:cubicBezTo>
                  <a:pt x="3442086" y="2285861"/>
                  <a:pt x="3418398" y="2284038"/>
                  <a:pt x="3396532" y="2282216"/>
                </a:cubicBezTo>
                <a:cubicBezTo>
                  <a:pt x="3391065" y="2282216"/>
                  <a:pt x="3392887" y="2289505"/>
                  <a:pt x="3396532" y="2291327"/>
                </a:cubicBezTo>
                <a:cubicBezTo>
                  <a:pt x="3403820" y="2294971"/>
                  <a:pt x="3412931" y="2298616"/>
                  <a:pt x="3422042" y="2302260"/>
                </a:cubicBezTo>
                <a:lnTo>
                  <a:pt x="3420220" y="2309550"/>
                </a:lnTo>
                <a:cubicBezTo>
                  <a:pt x="3416576" y="2309550"/>
                  <a:pt x="3411109" y="2309550"/>
                  <a:pt x="3407465" y="2309550"/>
                </a:cubicBezTo>
                <a:cubicBezTo>
                  <a:pt x="3403820" y="2309550"/>
                  <a:pt x="3405642" y="2313193"/>
                  <a:pt x="3407465" y="2315015"/>
                </a:cubicBezTo>
                <a:cubicBezTo>
                  <a:pt x="3411109" y="2316838"/>
                  <a:pt x="3414753" y="2318660"/>
                  <a:pt x="3418398" y="2320482"/>
                </a:cubicBezTo>
                <a:lnTo>
                  <a:pt x="3416576" y="2324126"/>
                </a:lnTo>
                <a:cubicBezTo>
                  <a:pt x="3414753" y="2324126"/>
                  <a:pt x="3412931" y="2324126"/>
                  <a:pt x="3411109" y="2324126"/>
                </a:cubicBezTo>
                <a:cubicBezTo>
                  <a:pt x="3407465" y="2324126"/>
                  <a:pt x="3401998" y="2327772"/>
                  <a:pt x="3403820" y="2331416"/>
                </a:cubicBezTo>
                <a:cubicBezTo>
                  <a:pt x="3403820" y="2331416"/>
                  <a:pt x="3403820" y="2331416"/>
                  <a:pt x="3403820" y="2333238"/>
                </a:cubicBezTo>
                <a:cubicBezTo>
                  <a:pt x="3405642" y="2336881"/>
                  <a:pt x="3407465" y="2340526"/>
                  <a:pt x="3411109" y="2340526"/>
                </a:cubicBezTo>
                <a:cubicBezTo>
                  <a:pt x="3401998" y="2338705"/>
                  <a:pt x="3394710" y="2335060"/>
                  <a:pt x="3387421" y="2331416"/>
                </a:cubicBezTo>
                <a:lnTo>
                  <a:pt x="3392887" y="2309550"/>
                </a:lnTo>
                <a:lnTo>
                  <a:pt x="3371021" y="2318660"/>
                </a:lnTo>
                <a:lnTo>
                  <a:pt x="3378310" y="2331416"/>
                </a:lnTo>
                <a:cubicBezTo>
                  <a:pt x="3338222" y="2311372"/>
                  <a:pt x="3301779" y="2284038"/>
                  <a:pt x="3278090" y="2247594"/>
                </a:cubicBezTo>
                <a:cubicBezTo>
                  <a:pt x="3301779" y="2242127"/>
                  <a:pt x="3325467" y="2238484"/>
                  <a:pt x="3350977" y="2234839"/>
                </a:cubicBezTo>
                <a:cubicBezTo>
                  <a:pt x="3349155" y="2236661"/>
                  <a:pt x="3347333" y="2240306"/>
                  <a:pt x="3343689" y="2243950"/>
                </a:cubicBezTo>
                <a:lnTo>
                  <a:pt x="3365555" y="2243950"/>
                </a:lnTo>
                <a:cubicBezTo>
                  <a:pt x="3378310" y="2243950"/>
                  <a:pt x="3385599" y="2240306"/>
                  <a:pt x="3387421" y="2231194"/>
                </a:cubicBezTo>
                <a:close/>
                <a:moveTo>
                  <a:pt x="1208102" y="2227556"/>
                </a:moveTo>
                <a:cubicBezTo>
                  <a:pt x="1208102" y="2229378"/>
                  <a:pt x="1208102" y="2233024"/>
                  <a:pt x="1209925" y="2236668"/>
                </a:cubicBezTo>
                <a:cubicBezTo>
                  <a:pt x="1209925" y="2236668"/>
                  <a:pt x="1208102" y="2233024"/>
                  <a:pt x="1206279" y="2233024"/>
                </a:cubicBezTo>
                <a:cubicBezTo>
                  <a:pt x="1208102" y="2236668"/>
                  <a:pt x="1206279" y="2240312"/>
                  <a:pt x="1208102" y="2243957"/>
                </a:cubicBezTo>
                <a:lnTo>
                  <a:pt x="1204457" y="2245780"/>
                </a:lnTo>
                <a:cubicBezTo>
                  <a:pt x="1202636" y="2240312"/>
                  <a:pt x="1206279" y="2236668"/>
                  <a:pt x="1204457" y="2229378"/>
                </a:cubicBezTo>
                <a:cubicBezTo>
                  <a:pt x="1206279" y="2229378"/>
                  <a:pt x="1206279" y="2227556"/>
                  <a:pt x="1208102" y="2227556"/>
                </a:cubicBezTo>
                <a:close/>
                <a:moveTo>
                  <a:pt x="1009485" y="2227556"/>
                </a:moveTo>
                <a:lnTo>
                  <a:pt x="1009485" y="2238489"/>
                </a:lnTo>
                <a:cubicBezTo>
                  <a:pt x="1004018" y="2242135"/>
                  <a:pt x="998552" y="2243957"/>
                  <a:pt x="994907" y="2247601"/>
                </a:cubicBezTo>
                <a:cubicBezTo>
                  <a:pt x="991263" y="2245779"/>
                  <a:pt x="989441" y="2238489"/>
                  <a:pt x="985796" y="2236668"/>
                </a:cubicBezTo>
                <a:cubicBezTo>
                  <a:pt x="987618" y="2236668"/>
                  <a:pt x="987618" y="2234845"/>
                  <a:pt x="989441" y="2234845"/>
                </a:cubicBezTo>
                <a:lnTo>
                  <a:pt x="993085" y="2238489"/>
                </a:lnTo>
                <a:lnTo>
                  <a:pt x="996729" y="2233024"/>
                </a:lnTo>
                <a:cubicBezTo>
                  <a:pt x="1000374" y="2231201"/>
                  <a:pt x="1005840" y="2229378"/>
                  <a:pt x="1009485" y="2227556"/>
                </a:cubicBezTo>
                <a:close/>
                <a:moveTo>
                  <a:pt x="1023378" y="2227326"/>
                </a:moveTo>
                <a:cubicBezTo>
                  <a:pt x="1024973" y="2227097"/>
                  <a:pt x="1026795" y="2227552"/>
                  <a:pt x="1027707" y="2227552"/>
                </a:cubicBezTo>
                <a:cubicBezTo>
                  <a:pt x="1025884" y="2229375"/>
                  <a:pt x="1022239" y="2229375"/>
                  <a:pt x="1020417" y="2231196"/>
                </a:cubicBezTo>
                <a:cubicBezTo>
                  <a:pt x="1020417" y="2228464"/>
                  <a:pt x="1021784" y="2227552"/>
                  <a:pt x="1023378" y="2227326"/>
                </a:cubicBezTo>
                <a:close/>
                <a:moveTo>
                  <a:pt x="2993832" y="2220260"/>
                </a:moveTo>
                <a:cubicBezTo>
                  <a:pt x="2992921" y="2220260"/>
                  <a:pt x="2993377" y="2220260"/>
                  <a:pt x="2994288" y="2220260"/>
                </a:cubicBezTo>
                <a:lnTo>
                  <a:pt x="2996565" y="2220260"/>
                </a:lnTo>
                <a:lnTo>
                  <a:pt x="2995447" y="2221006"/>
                </a:lnTo>
                <a:close/>
                <a:moveTo>
                  <a:pt x="1058684" y="2216618"/>
                </a:moveTo>
                <a:cubicBezTo>
                  <a:pt x="1049572" y="2220264"/>
                  <a:pt x="1038639" y="2222085"/>
                  <a:pt x="1031351" y="2225729"/>
                </a:cubicBezTo>
                <a:cubicBezTo>
                  <a:pt x="1031351" y="2223908"/>
                  <a:pt x="1027707" y="2223908"/>
                  <a:pt x="1027707" y="2222085"/>
                </a:cubicBezTo>
                <a:cubicBezTo>
                  <a:pt x="1038639" y="2220264"/>
                  <a:pt x="1047750" y="2218440"/>
                  <a:pt x="1058684" y="2216618"/>
                </a:cubicBezTo>
                <a:close/>
                <a:moveTo>
                  <a:pt x="2603887" y="2214952"/>
                </a:moveTo>
                <a:lnTo>
                  <a:pt x="2612997" y="2216779"/>
                </a:lnTo>
                <a:lnTo>
                  <a:pt x="2612997" y="2222253"/>
                </a:lnTo>
                <a:lnTo>
                  <a:pt x="2605709" y="2224075"/>
                </a:lnTo>
                <a:lnTo>
                  <a:pt x="2600242" y="2218603"/>
                </a:lnTo>
                <a:close/>
                <a:moveTo>
                  <a:pt x="4433349" y="2214920"/>
                </a:moveTo>
                <a:lnTo>
                  <a:pt x="4458861" y="2234983"/>
                </a:lnTo>
                <a:lnTo>
                  <a:pt x="4440638" y="2244105"/>
                </a:lnTo>
                <a:close/>
                <a:moveTo>
                  <a:pt x="1217214" y="2214800"/>
                </a:moveTo>
                <a:cubicBezTo>
                  <a:pt x="1213569" y="2216623"/>
                  <a:pt x="1215391" y="2218444"/>
                  <a:pt x="1215391" y="2222089"/>
                </a:cubicBezTo>
                <a:lnTo>
                  <a:pt x="1213239" y="2224076"/>
                </a:lnTo>
                <a:lnTo>
                  <a:pt x="1213568" y="2223911"/>
                </a:lnTo>
                <a:cubicBezTo>
                  <a:pt x="1215390" y="2229378"/>
                  <a:pt x="1215390" y="2233022"/>
                  <a:pt x="1213568" y="2234844"/>
                </a:cubicBezTo>
                <a:cubicBezTo>
                  <a:pt x="1212656" y="2234844"/>
                  <a:pt x="1212201" y="2233022"/>
                  <a:pt x="1211745" y="2230973"/>
                </a:cubicBezTo>
                <a:lnTo>
                  <a:pt x="1210115" y="2226285"/>
                </a:lnTo>
                <a:lnTo>
                  <a:pt x="1208103" y="2227556"/>
                </a:lnTo>
                <a:cubicBezTo>
                  <a:pt x="1208103" y="2227556"/>
                  <a:pt x="1206280" y="2225734"/>
                  <a:pt x="1206280" y="2225734"/>
                </a:cubicBezTo>
                <a:cubicBezTo>
                  <a:pt x="1206280" y="2227556"/>
                  <a:pt x="1206280" y="2229378"/>
                  <a:pt x="1202636" y="2231200"/>
                </a:cubicBezTo>
                <a:cubicBezTo>
                  <a:pt x="1200814" y="2229378"/>
                  <a:pt x="1200814" y="2223910"/>
                  <a:pt x="1197170" y="2222089"/>
                </a:cubicBezTo>
                <a:cubicBezTo>
                  <a:pt x="1193525" y="2225734"/>
                  <a:pt x="1195347" y="2229378"/>
                  <a:pt x="1195347" y="2234844"/>
                </a:cubicBezTo>
                <a:cubicBezTo>
                  <a:pt x="1188059" y="2242134"/>
                  <a:pt x="1178947" y="2249423"/>
                  <a:pt x="1169836" y="2254890"/>
                </a:cubicBezTo>
                <a:cubicBezTo>
                  <a:pt x="1169836" y="2254890"/>
                  <a:pt x="1168014" y="2256712"/>
                  <a:pt x="1166192" y="2256712"/>
                </a:cubicBezTo>
                <a:lnTo>
                  <a:pt x="1164370" y="2258534"/>
                </a:lnTo>
                <a:lnTo>
                  <a:pt x="1171658" y="2256712"/>
                </a:lnTo>
                <a:cubicBezTo>
                  <a:pt x="1173481" y="2254890"/>
                  <a:pt x="1173481" y="2253067"/>
                  <a:pt x="1175302" y="2251245"/>
                </a:cubicBezTo>
                <a:cubicBezTo>
                  <a:pt x="1180770" y="2247600"/>
                  <a:pt x="1188058" y="2242134"/>
                  <a:pt x="1193525" y="2242134"/>
                </a:cubicBezTo>
                <a:cubicBezTo>
                  <a:pt x="1195347" y="2242134"/>
                  <a:pt x="1193525" y="2240312"/>
                  <a:pt x="1191703" y="2240312"/>
                </a:cubicBezTo>
                <a:cubicBezTo>
                  <a:pt x="1193525" y="2238489"/>
                  <a:pt x="1195347" y="2236667"/>
                  <a:pt x="1198991" y="2234844"/>
                </a:cubicBezTo>
                <a:cubicBezTo>
                  <a:pt x="1204458" y="2240312"/>
                  <a:pt x="1204458" y="2247600"/>
                  <a:pt x="1204458" y="2253067"/>
                </a:cubicBezTo>
                <a:cubicBezTo>
                  <a:pt x="1202636" y="2253067"/>
                  <a:pt x="1200814" y="2249423"/>
                  <a:pt x="1198991" y="2249423"/>
                </a:cubicBezTo>
                <a:cubicBezTo>
                  <a:pt x="1195347" y="2249423"/>
                  <a:pt x="1186236" y="2247600"/>
                  <a:pt x="1182592" y="2253067"/>
                </a:cubicBezTo>
                <a:cubicBezTo>
                  <a:pt x="1186236" y="2258534"/>
                  <a:pt x="1195347" y="2258534"/>
                  <a:pt x="1200814" y="2253067"/>
                </a:cubicBezTo>
                <a:cubicBezTo>
                  <a:pt x="1200814" y="2254890"/>
                  <a:pt x="1198991" y="2254890"/>
                  <a:pt x="1198991" y="2256712"/>
                </a:cubicBezTo>
                <a:cubicBezTo>
                  <a:pt x="1200814" y="2256712"/>
                  <a:pt x="1198991" y="2258534"/>
                  <a:pt x="1200814" y="2258534"/>
                </a:cubicBezTo>
                <a:lnTo>
                  <a:pt x="1198229" y="2262225"/>
                </a:lnTo>
                <a:lnTo>
                  <a:pt x="1208102" y="2256703"/>
                </a:lnTo>
                <a:lnTo>
                  <a:pt x="1208951" y="2258402"/>
                </a:lnTo>
                <a:lnTo>
                  <a:pt x="1213568" y="2256713"/>
                </a:lnTo>
                <a:cubicBezTo>
                  <a:pt x="1213568" y="2258536"/>
                  <a:pt x="1213568" y="2258536"/>
                  <a:pt x="1213568" y="2258536"/>
                </a:cubicBezTo>
                <a:lnTo>
                  <a:pt x="1210101" y="2260702"/>
                </a:lnTo>
                <a:lnTo>
                  <a:pt x="1211747" y="2263991"/>
                </a:lnTo>
                <a:cubicBezTo>
                  <a:pt x="1206279" y="2263991"/>
                  <a:pt x="1197169" y="2265813"/>
                  <a:pt x="1197169" y="2273102"/>
                </a:cubicBezTo>
                <a:cubicBezTo>
                  <a:pt x="1204457" y="2278569"/>
                  <a:pt x="1215390" y="2269459"/>
                  <a:pt x="1215390" y="2263991"/>
                </a:cubicBezTo>
                <a:cubicBezTo>
                  <a:pt x="1219036" y="2263991"/>
                  <a:pt x="1217213" y="2267636"/>
                  <a:pt x="1219036" y="2269459"/>
                </a:cubicBezTo>
                <a:cubicBezTo>
                  <a:pt x="1215390" y="2273102"/>
                  <a:pt x="1211747" y="2274925"/>
                  <a:pt x="1211747" y="2280391"/>
                </a:cubicBezTo>
                <a:cubicBezTo>
                  <a:pt x="1215390" y="2282213"/>
                  <a:pt x="1220858" y="2276746"/>
                  <a:pt x="1219036" y="2271280"/>
                </a:cubicBezTo>
                <a:cubicBezTo>
                  <a:pt x="1220858" y="2273102"/>
                  <a:pt x="1219036" y="2276746"/>
                  <a:pt x="1219036" y="2280391"/>
                </a:cubicBezTo>
                <a:lnTo>
                  <a:pt x="1220856" y="2282212"/>
                </a:lnTo>
                <a:lnTo>
                  <a:pt x="1220856" y="2278573"/>
                </a:lnTo>
                <a:cubicBezTo>
                  <a:pt x="1222678" y="2276752"/>
                  <a:pt x="1222678" y="2282218"/>
                  <a:pt x="1224501" y="2282218"/>
                </a:cubicBezTo>
                <a:lnTo>
                  <a:pt x="1220862" y="2282218"/>
                </a:lnTo>
                <a:lnTo>
                  <a:pt x="1228146" y="2289502"/>
                </a:lnTo>
                <a:cubicBezTo>
                  <a:pt x="1231790" y="2285857"/>
                  <a:pt x="1229969" y="2282213"/>
                  <a:pt x="1228146" y="2276746"/>
                </a:cubicBezTo>
                <a:cubicBezTo>
                  <a:pt x="1229969" y="2278569"/>
                  <a:pt x="1233612" y="2280391"/>
                  <a:pt x="1235434" y="2280391"/>
                </a:cubicBezTo>
                <a:cubicBezTo>
                  <a:pt x="1237256" y="2276746"/>
                  <a:pt x="1239080" y="2278569"/>
                  <a:pt x="1240901" y="2276746"/>
                </a:cubicBezTo>
                <a:cubicBezTo>
                  <a:pt x="1240901" y="2271280"/>
                  <a:pt x="1235434" y="2267636"/>
                  <a:pt x="1231790" y="2265813"/>
                </a:cubicBezTo>
                <a:cubicBezTo>
                  <a:pt x="1233612" y="2263991"/>
                  <a:pt x="1235434" y="2263991"/>
                  <a:pt x="1235434" y="2262169"/>
                </a:cubicBezTo>
                <a:cubicBezTo>
                  <a:pt x="1231790" y="2258525"/>
                  <a:pt x="1226323" y="2262169"/>
                  <a:pt x="1224501" y="2263991"/>
                </a:cubicBezTo>
                <a:cubicBezTo>
                  <a:pt x="1224501" y="2262169"/>
                  <a:pt x="1222679" y="2263991"/>
                  <a:pt x="1224501" y="2262169"/>
                </a:cubicBezTo>
                <a:cubicBezTo>
                  <a:pt x="1224501" y="2262169"/>
                  <a:pt x="1220858" y="2263991"/>
                  <a:pt x="1220858" y="2262169"/>
                </a:cubicBezTo>
                <a:cubicBezTo>
                  <a:pt x="1220858" y="2260347"/>
                  <a:pt x="1220858" y="2260347"/>
                  <a:pt x="1220858" y="2258525"/>
                </a:cubicBezTo>
                <a:lnTo>
                  <a:pt x="1224623" y="2255857"/>
                </a:lnTo>
                <a:lnTo>
                  <a:pt x="1220630" y="2254890"/>
                </a:lnTo>
                <a:lnTo>
                  <a:pt x="1212201" y="2253161"/>
                </a:lnTo>
                <a:lnTo>
                  <a:pt x="1206279" y="2256713"/>
                </a:lnTo>
                <a:cubicBezTo>
                  <a:pt x="1206279" y="2253069"/>
                  <a:pt x="1209925" y="2251247"/>
                  <a:pt x="1211747" y="2249424"/>
                </a:cubicBezTo>
                <a:lnTo>
                  <a:pt x="1212037" y="2249570"/>
                </a:lnTo>
                <a:lnTo>
                  <a:pt x="1213569" y="2247601"/>
                </a:lnTo>
                <a:cubicBezTo>
                  <a:pt x="1220858" y="2245778"/>
                  <a:pt x="1226324" y="2251245"/>
                  <a:pt x="1231791" y="2247601"/>
                </a:cubicBezTo>
                <a:cubicBezTo>
                  <a:pt x="1228147" y="2243956"/>
                  <a:pt x="1224502" y="2243956"/>
                  <a:pt x="1220858" y="2243956"/>
                </a:cubicBezTo>
                <a:cubicBezTo>
                  <a:pt x="1220858" y="2242134"/>
                  <a:pt x="1220858" y="2242134"/>
                  <a:pt x="1222680" y="2242134"/>
                </a:cubicBezTo>
                <a:cubicBezTo>
                  <a:pt x="1220858" y="2240312"/>
                  <a:pt x="1219036" y="2242134"/>
                  <a:pt x="1219036" y="2240312"/>
                </a:cubicBezTo>
                <a:cubicBezTo>
                  <a:pt x="1222680" y="2238489"/>
                  <a:pt x="1224502" y="2233022"/>
                  <a:pt x="1226324" y="2229378"/>
                </a:cubicBezTo>
                <a:cubicBezTo>
                  <a:pt x="1226324" y="2227556"/>
                  <a:pt x="1229969" y="2231200"/>
                  <a:pt x="1231791" y="2229378"/>
                </a:cubicBezTo>
                <a:cubicBezTo>
                  <a:pt x="1231791" y="2223910"/>
                  <a:pt x="1226324" y="2223910"/>
                  <a:pt x="1224502" y="2223910"/>
                </a:cubicBezTo>
                <a:cubicBezTo>
                  <a:pt x="1222680" y="2222089"/>
                  <a:pt x="1228147" y="2222089"/>
                  <a:pt x="1226324" y="2220267"/>
                </a:cubicBezTo>
                <a:cubicBezTo>
                  <a:pt x="1224502" y="2220267"/>
                  <a:pt x="1219036" y="2222089"/>
                  <a:pt x="1217214" y="2223910"/>
                </a:cubicBezTo>
                <a:cubicBezTo>
                  <a:pt x="1217214" y="2220267"/>
                  <a:pt x="1219036" y="2218444"/>
                  <a:pt x="1217214" y="2214800"/>
                </a:cubicBezTo>
                <a:close/>
                <a:moveTo>
                  <a:pt x="3317953" y="2213653"/>
                </a:moveTo>
                <a:cubicBezTo>
                  <a:pt x="3316814" y="2212970"/>
                  <a:pt x="3315447" y="2212970"/>
                  <a:pt x="3314536" y="2214792"/>
                </a:cubicBezTo>
                <a:cubicBezTo>
                  <a:pt x="3310891" y="2214792"/>
                  <a:pt x="3310891" y="2218437"/>
                  <a:pt x="3314536" y="2218437"/>
                </a:cubicBezTo>
                <a:cubicBezTo>
                  <a:pt x="3316358" y="2220259"/>
                  <a:pt x="3320002" y="2218437"/>
                  <a:pt x="3320002" y="2216614"/>
                </a:cubicBezTo>
                <a:cubicBezTo>
                  <a:pt x="3320002" y="2215703"/>
                  <a:pt x="3319091" y="2214336"/>
                  <a:pt x="3317953" y="2213653"/>
                </a:cubicBezTo>
                <a:close/>
                <a:moveTo>
                  <a:pt x="993903" y="2213487"/>
                </a:moveTo>
                <a:lnTo>
                  <a:pt x="993084" y="2214798"/>
                </a:lnTo>
                <a:lnTo>
                  <a:pt x="1013129" y="2214798"/>
                </a:lnTo>
                <a:cubicBezTo>
                  <a:pt x="1013129" y="2218443"/>
                  <a:pt x="1007663" y="2218443"/>
                  <a:pt x="1005840" y="2220265"/>
                </a:cubicBezTo>
                <a:cubicBezTo>
                  <a:pt x="1004017" y="2220265"/>
                  <a:pt x="1004017" y="2222087"/>
                  <a:pt x="1004017" y="2222087"/>
                </a:cubicBezTo>
                <a:cubicBezTo>
                  <a:pt x="1002195" y="2223910"/>
                  <a:pt x="1002195" y="2223910"/>
                  <a:pt x="1000374" y="2223910"/>
                </a:cubicBezTo>
                <a:lnTo>
                  <a:pt x="1000374" y="2222087"/>
                </a:lnTo>
                <a:lnTo>
                  <a:pt x="976685" y="2223910"/>
                </a:lnTo>
                <a:lnTo>
                  <a:pt x="983974" y="2231200"/>
                </a:lnTo>
                <a:cubicBezTo>
                  <a:pt x="980330" y="2231200"/>
                  <a:pt x="974863" y="2233020"/>
                  <a:pt x="971219" y="2234843"/>
                </a:cubicBezTo>
                <a:lnTo>
                  <a:pt x="969396" y="2231200"/>
                </a:lnTo>
                <a:cubicBezTo>
                  <a:pt x="971219" y="2229376"/>
                  <a:pt x="971219" y="2223910"/>
                  <a:pt x="969396" y="2223910"/>
                </a:cubicBezTo>
                <a:cubicBezTo>
                  <a:pt x="972131" y="2221176"/>
                  <a:pt x="977596" y="2220266"/>
                  <a:pt x="982835" y="2219126"/>
                </a:cubicBezTo>
                <a:close/>
                <a:moveTo>
                  <a:pt x="994223" y="2212975"/>
                </a:moveTo>
                <a:lnTo>
                  <a:pt x="994907" y="2212975"/>
                </a:lnTo>
                <a:lnTo>
                  <a:pt x="993903" y="2213487"/>
                </a:lnTo>
                <a:close/>
                <a:moveTo>
                  <a:pt x="3272626" y="2212970"/>
                </a:moveTo>
                <a:cubicBezTo>
                  <a:pt x="3270804" y="2211148"/>
                  <a:pt x="3268981" y="2212970"/>
                  <a:pt x="3268981" y="2214792"/>
                </a:cubicBezTo>
                <a:cubicBezTo>
                  <a:pt x="3268981" y="2216614"/>
                  <a:pt x="3270804" y="2218437"/>
                  <a:pt x="3272626" y="2216614"/>
                </a:cubicBezTo>
                <a:cubicBezTo>
                  <a:pt x="3274448" y="2214792"/>
                  <a:pt x="3276270" y="2212970"/>
                  <a:pt x="3272626" y="2212970"/>
                </a:cubicBezTo>
                <a:close/>
                <a:moveTo>
                  <a:pt x="2984721" y="2211149"/>
                </a:moveTo>
                <a:cubicBezTo>
                  <a:pt x="2981077" y="2209327"/>
                  <a:pt x="2979255" y="2216616"/>
                  <a:pt x="2982899" y="2218438"/>
                </a:cubicBezTo>
                <a:cubicBezTo>
                  <a:pt x="2984721" y="2218438"/>
                  <a:pt x="2986543" y="2218438"/>
                  <a:pt x="2988366" y="2218438"/>
                </a:cubicBezTo>
                <a:cubicBezTo>
                  <a:pt x="2990188" y="2216616"/>
                  <a:pt x="2990188" y="2214792"/>
                  <a:pt x="2990188" y="2212972"/>
                </a:cubicBezTo>
                <a:cubicBezTo>
                  <a:pt x="2988366" y="2211149"/>
                  <a:pt x="2986543" y="2211149"/>
                  <a:pt x="2984721" y="2211149"/>
                </a:cubicBezTo>
                <a:close/>
                <a:moveTo>
                  <a:pt x="3392887" y="2209329"/>
                </a:moveTo>
                <a:cubicBezTo>
                  <a:pt x="3398355" y="2209329"/>
                  <a:pt x="3403821" y="2209329"/>
                  <a:pt x="3409288" y="2209329"/>
                </a:cubicBezTo>
                <a:cubicBezTo>
                  <a:pt x="3409288" y="2211151"/>
                  <a:pt x="3407466" y="2211151"/>
                  <a:pt x="3407466" y="2212974"/>
                </a:cubicBezTo>
                <a:lnTo>
                  <a:pt x="3429332" y="2212974"/>
                </a:lnTo>
                <a:cubicBezTo>
                  <a:pt x="3436621" y="2214796"/>
                  <a:pt x="3443909" y="2216618"/>
                  <a:pt x="3451198" y="2218440"/>
                </a:cubicBezTo>
                <a:cubicBezTo>
                  <a:pt x="3432976" y="2216618"/>
                  <a:pt x="3412932" y="2216618"/>
                  <a:pt x="3392887" y="2216618"/>
                </a:cubicBezTo>
                <a:lnTo>
                  <a:pt x="3392887" y="2212974"/>
                </a:lnTo>
                <a:cubicBezTo>
                  <a:pt x="3392887" y="2211151"/>
                  <a:pt x="3392887" y="2211151"/>
                  <a:pt x="3392887" y="2209329"/>
                </a:cubicBezTo>
                <a:close/>
                <a:moveTo>
                  <a:pt x="3334580" y="2207504"/>
                </a:moveTo>
                <a:cubicBezTo>
                  <a:pt x="3332757" y="2207504"/>
                  <a:pt x="3330935" y="2207504"/>
                  <a:pt x="3329113" y="2209326"/>
                </a:cubicBezTo>
                <a:cubicBezTo>
                  <a:pt x="3325469" y="2211148"/>
                  <a:pt x="3329113" y="2214792"/>
                  <a:pt x="3330935" y="2212970"/>
                </a:cubicBezTo>
                <a:cubicBezTo>
                  <a:pt x="3332757" y="2211148"/>
                  <a:pt x="3334580" y="2211148"/>
                  <a:pt x="3336402" y="2211148"/>
                </a:cubicBezTo>
                <a:cubicBezTo>
                  <a:pt x="3338224" y="2211148"/>
                  <a:pt x="3338224" y="2207504"/>
                  <a:pt x="3334580" y="2207504"/>
                </a:cubicBezTo>
                <a:close/>
                <a:moveTo>
                  <a:pt x="2971966" y="2205683"/>
                </a:moveTo>
                <a:cubicBezTo>
                  <a:pt x="2968322" y="2203859"/>
                  <a:pt x="2966500" y="2211149"/>
                  <a:pt x="2970144" y="2212972"/>
                </a:cubicBezTo>
                <a:cubicBezTo>
                  <a:pt x="2975610" y="2212972"/>
                  <a:pt x="2977432" y="2207505"/>
                  <a:pt x="2971966" y="2205683"/>
                </a:cubicBezTo>
                <a:close/>
                <a:moveTo>
                  <a:pt x="3292670" y="2203859"/>
                </a:moveTo>
                <a:cubicBezTo>
                  <a:pt x="3289025" y="2203859"/>
                  <a:pt x="3285381" y="2205681"/>
                  <a:pt x="3281737" y="2207504"/>
                </a:cubicBezTo>
                <a:cubicBezTo>
                  <a:pt x="3281737" y="2207504"/>
                  <a:pt x="3281737" y="2209326"/>
                  <a:pt x="3279915" y="2207504"/>
                </a:cubicBezTo>
                <a:cubicBezTo>
                  <a:pt x="3281737" y="2209326"/>
                  <a:pt x="3281737" y="2209326"/>
                  <a:pt x="3283559" y="2209326"/>
                </a:cubicBezTo>
                <a:cubicBezTo>
                  <a:pt x="3283559" y="2209326"/>
                  <a:pt x="3285381" y="2209326"/>
                  <a:pt x="3285381" y="2209326"/>
                </a:cubicBezTo>
                <a:cubicBezTo>
                  <a:pt x="3287203" y="2209326"/>
                  <a:pt x="3289025" y="2207504"/>
                  <a:pt x="3292670" y="2207504"/>
                </a:cubicBezTo>
                <a:cubicBezTo>
                  <a:pt x="3294492" y="2209326"/>
                  <a:pt x="3296314" y="2203859"/>
                  <a:pt x="3292670" y="2203859"/>
                </a:cubicBezTo>
                <a:close/>
                <a:moveTo>
                  <a:pt x="3234360" y="2203859"/>
                </a:moveTo>
                <a:cubicBezTo>
                  <a:pt x="3232538" y="2203859"/>
                  <a:pt x="3230716" y="2207504"/>
                  <a:pt x="3234360" y="2209326"/>
                </a:cubicBezTo>
                <a:cubicBezTo>
                  <a:pt x="3238004" y="2209326"/>
                  <a:pt x="3239827" y="2205681"/>
                  <a:pt x="3236182" y="2203859"/>
                </a:cubicBezTo>
                <a:cubicBezTo>
                  <a:pt x="3234360" y="2203859"/>
                  <a:pt x="3234360" y="2203859"/>
                  <a:pt x="3234360" y="2203859"/>
                </a:cubicBezTo>
                <a:close/>
                <a:moveTo>
                  <a:pt x="3305211" y="2198715"/>
                </a:moveTo>
                <a:lnTo>
                  <a:pt x="3305425" y="2200215"/>
                </a:lnTo>
                <a:lnTo>
                  <a:pt x="3301326" y="2202947"/>
                </a:lnTo>
                <a:lnTo>
                  <a:pt x="3299959" y="2200215"/>
                </a:lnTo>
                <a:close/>
                <a:moveTo>
                  <a:pt x="4012428" y="2198487"/>
                </a:moveTo>
                <a:lnTo>
                  <a:pt x="4034294" y="2198487"/>
                </a:lnTo>
                <a:cubicBezTo>
                  <a:pt x="4023361" y="2214900"/>
                  <a:pt x="4034294" y="2209430"/>
                  <a:pt x="4012428" y="2213080"/>
                </a:cubicBezTo>
                <a:close/>
                <a:moveTo>
                  <a:pt x="1044105" y="2194751"/>
                </a:moveTo>
                <a:lnTo>
                  <a:pt x="1056860" y="2207507"/>
                </a:lnTo>
                <a:cubicBezTo>
                  <a:pt x="1049572" y="2209330"/>
                  <a:pt x="1040461" y="2211151"/>
                  <a:pt x="1033172" y="2211151"/>
                </a:cubicBezTo>
                <a:cubicBezTo>
                  <a:pt x="1031350" y="2211151"/>
                  <a:pt x="1031350" y="2209330"/>
                  <a:pt x="1031350" y="2209330"/>
                </a:cubicBezTo>
                <a:cubicBezTo>
                  <a:pt x="1031350" y="2209330"/>
                  <a:pt x="1033172" y="2207507"/>
                  <a:pt x="1033172" y="2207507"/>
                </a:cubicBezTo>
                <a:cubicBezTo>
                  <a:pt x="1033172" y="2205684"/>
                  <a:pt x="1031350" y="2205684"/>
                  <a:pt x="1029528" y="2205684"/>
                </a:cubicBezTo>
                <a:cubicBezTo>
                  <a:pt x="1027707" y="2205684"/>
                  <a:pt x="1031350" y="2203863"/>
                  <a:pt x="1033172" y="2203863"/>
                </a:cubicBezTo>
                <a:cubicBezTo>
                  <a:pt x="1034994" y="2202040"/>
                  <a:pt x="1033172" y="2203863"/>
                  <a:pt x="1033172" y="2198396"/>
                </a:cubicBezTo>
                <a:cubicBezTo>
                  <a:pt x="1036818" y="2196574"/>
                  <a:pt x="1040461" y="2194751"/>
                  <a:pt x="1044105" y="2194751"/>
                </a:cubicBezTo>
                <a:close/>
                <a:moveTo>
                  <a:pt x="3247115" y="2194748"/>
                </a:moveTo>
                <a:cubicBezTo>
                  <a:pt x="3245293" y="2194748"/>
                  <a:pt x="3243471" y="2198393"/>
                  <a:pt x="3247115" y="2200215"/>
                </a:cubicBezTo>
                <a:cubicBezTo>
                  <a:pt x="3250760" y="2202037"/>
                  <a:pt x="3252582" y="2198393"/>
                  <a:pt x="3247115" y="2194748"/>
                </a:cubicBezTo>
                <a:close/>
                <a:moveTo>
                  <a:pt x="3203383" y="2194748"/>
                </a:moveTo>
                <a:cubicBezTo>
                  <a:pt x="3201561" y="2194748"/>
                  <a:pt x="3201561" y="2198393"/>
                  <a:pt x="3203383" y="2198393"/>
                </a:cubicBezTo>
                <a:cubicBezTo>
                  <a:pt x="3205205" y="2200215"/>
                  <a:pt x="3207028" y="2198393"/>
                  <a:pt x="3207028" y="2196571"/>
                </a:cubicBezTo>
                <a:cubicBezTo>
                  <a:pt x="3207028" y="2194748"/>
                  <a:pt x="3205205" y="2192926"/>
                  <a:pt x="3203383" y="2194748"/>
                </a:cubicBezTo>
                <a:close/>
                <a:moveTo>
                  <a:pt x="927487" y="2193014"/>
                </a:moveTo>
                <a:lnTo>
                  <a:pt x="943886" y="2203956"/>
                </a:lnTo>
                <a:lnTo>
                  <a:pt x="932953" y="2213074"/>
                </a:lnTo>
                <a:lnTo>
                  <a:pt x="920198" y="2200309"/>
                </a:lnTo>
                <a:close/>
                <a:moveTo>
                  <a:pt x="993084" y="2192930"/>
                </a:moveTo>
                <a:lnTo>
                  <a:pt x="1002195" y="2200220"/>
                </a:lnTo>
                <a:lnTo>
                  <a:pt x="994223" y="2212975"/>
                </a:lnTo>
                <a:lnTo>
                  <a:pt x="985796" y="2212975"/>
                </a:lnTo>
                <a:cubicBezTo>
                  <a:pt x="987618" y="2209331"/>
                  <a:pt x="993084" y="2207510"/>
                  <a:pt x="991263" y="2202042"/>
                </a:cubicBezTo>
                <a:cubicBezTo>
                  <a:pt x="991263" y="2200220"/>
                  <a:pt x="987618" y="2200220"/>
                  <a:pt x="985796" y="2200220"/>
                </a:cubicBezTo>
                <a:close/>
                <a:moveTo>
                  <a:pt x="3258048" y="2191104"/>
                </a:moveTo>
                <a:cubicBezTo>
                  <a:pt x="3256226" y="2191104"/>
                  <a:pt x="3256226" y="2194748"/>
                  <a:pt x="3258048" y="2194748"/>
                </a:cubicBezTo>
                <a:cubicBezTo>
                  <a:pt x="3259871" y="2194748"/>
                  <a:pt x="3259871" y="2194748"/>
                  <a:pt x="3261693" y="2192926"/>
                </a:cubicBezTo>
                <a:cubicBezTo>
                  <a:pt x="3261693" y="2191104"/>
                  <a:pt x="3259871" y="2189282"/>
                  <a:pt x="3258048" y="2191104"/>
                </a:cubicBezTo>
                <a:close/>
                <a:moveTo>
                  <a:pt x="3498574" y="2185763"/>
                </a:moveTo>
                <a:lnTo>
                  <a:pt x="3513151" y="2185763"/>
                </a:lnTo>
                <a:lnTo>
                  <a:pt x="3513151" y="2200359"/>
                </a:lnTo>
                <a:lnTo>
                  <a:pt x="3527729" y="2193061"/>
                </a:lnTo>
                <a:lnTo>
                  <a:pt x="3535017" y="2207656"/>
                </a:lnTo>
                <a:lnTo>
                  <a:pt x="3556883" y="2191239"/>
                </a:lnTo>
                <a:lnTo>
                  <a:pt x="3558705" y="2214954"/>
                </a:lnTo>
                <a:lnTo>
                  <a:pt x="3573283" y="2207656"/>
                </a:lnTo>
                <a:lnTo>
                  <a:pt x="3573283" y="2229548"/>
                </a:lnTo>
                <a:cubicBezTo>
                  <a:pt x="3555061" y="2222256"/>
                  <a:pt x="3571461" y="2220428"/>
                  <a:pt x="3551417" y="2229548"/>
                </a:cubicBezTo>
                <a:cubicBezTo>
                  <a:pt x="3540484" y="2220428"/>
                  <a:pt x="3567816" y="2222256"/>
                  <a:pt x="3536839" y="2222256"/>
                </a:cubicBezTo>
                <a:lnTo>
                  <a:pt x="3529551" y="2222256"/>
                </a:lnTo>
                <a:cubicBezTo>
                  <a:pt x="3518618" y="2222256"/>
                  <a:pt x="3512696" y="2224992"/>
                  <a:pt x="3508596" y="2229096"/>
                </a:cubicBezTo>
                <a:lnTo>
                  <a:pt x="3498601" y="2244106"/>
                </a:lnTo>
                <a:lnTo>
                  <a:pt x="3514975" y="2244106"/>
                </a:lnTo>
                <a:lnTo>
                  <a:pt x="3520441" y="2267820"/>
                </a:lnTo>
                <a:lnTo>
                  <a:pt x="3498575" y="2265995"/>
                </a:lnTo>
                <a:lnTo>
                  <a:pt x="3507686" y="2251403"/>
                </a:lnTo>
                <a:lnTo>
                  <a:pt x="3498592" y="2244120"/>
                </a:lnTo>
                <a:lnTo>
                  <a:pt x="3498574" y="2244146"/>
                </a:lnTo>
                <a:lnTo>
                  <a:pt x="3483996" y="2238672"/>
                </a:lnTo>
                <a:lnTo>
                  <a:pt x="3496751" y="2222256"/>
                </a:lnTo>
                <a:lnTo>
                  <a:pt x="3482174" y="2202181"/>
                </a:lnTo>
                <a:lnTo>
                  <a:pt x="3498574" y="2200359"/>
                </a:lnTo>
                <a:close/>
                <a:moveTo>
                  <a:pt x="3414754" y="2185640"/>
                </a:moveTo>
                <a:cubicBezTo>
                  <a:pt x="3409288" y="2185640"/>
                  <a:pt x="3403821" y="2187462"/>
                  <a:pt x="3396532" y="2189285"/>
                </a:cubicBezTo>
                <a:lnTo>
                  <a:pt x="3385599" y="2187462"/>
                </a:lnTo>
                <a:cubicBezTo>
                  <a:pt x="3396532" y="2185640"/>
                  <a:pt x="3405643" y="2185640"/>
                  <a:pt x="3414754" y="2185640"/>
                </a:cubicBezTo>
                <a:close/>
                <a:moveTo>
                  <a:pt x="3277664" y="2182207"/>
                </a:moveTo>
                <a:lnTo>
                  <a:pt x="3279231" y="2182448"/>
                </a:lnTo>
                <a:cubicBezTo>
                  <a:pt x="3279915" y="2183359"/>
                  <a:pt x="3279915" y="2184726"/>
                  <a:pt x="3278092" y="2185637"/>
                </a:cubicBezTo>
                <a:lnTo>
                  <a:pt x="3275378" y="2187266"/>
                </a:lnTo>
                <a:lnTo>
                  <a:pt x="3273765" y="2186548"/>
                </a:lnTo>
                <a:cubicBezTo>
                  <a:pt x="3272170" y="2185182"/>
                  <a:pt x="3271714" y="2183814"/>
                  <a:pt x="3274448" y="2183814"/>
                </a:cubicBezTo>
                <a:close/>
                <a:moveTo>
                  <a:pt x="3228894" y="2176527"/>
                </a:moveTo>
                <a:cubicBezTo>
                  <a:pt x="3227072" y="2176527"/>
                  <a:pt x="3225249" y="2180171"/>
                  <a:pt x="3228894" y="2181993"/>
                </a:cubicBezTo>
                <a:cubicBezTo>
                  <a:pt x="3232538" y="2183814"/>
                  <a:pt x="3232538" y="2178349"/>
                  <a:pt x="3230716" y="2176527"/>
                </a:cubicBezTo>
                <a:cubicBezTo>
                  <a:pt x="3228894" y="2176527"/>
                  <a:pt x="3228894" y="2176527"/>
                  <a:pt x="3228894" y="2176527"/>
                </a:cubicBezTo>
                <a:close/>
                <a:moveTo>
                  <a:pt x="3241649" y="2171060"/>
                </a:moveTo>
                <a:cubicBezTo>
                  <a:pt x="3239827" y="2172881"/>
                  <a:pt x="3238004" y="2172881"/>
                  <a:pt x="3238004" y="2174704"/>
                </a:cubicBezTo>
                <a:cubicBezTo>
                  <a:pt x="3236182" y="2176527"/>
                  <a:pt x="3239827" y="2178349"/>
                  <a:pt x="3241649" y="2176527"/>
                </a:cubicBezTo>
                <a:cubicBezTo>
                  <a:pt x="3241649" y="2174704"/>
                  <a:pt x="3243471" y="2174704"/>
                  <a:pt x="3243471" y="2174704"/>
                </a:cubicBezTo>
                <a:cubicBezTo>
                  <a:pt x="3245293" y="2172881"/>
                  <a:pt x="3243471" y="2169238"/>
                  <a:pt x="3241649" y="2171060"/>
                </a:cubicBezTo>
                <a:close/>
                <a:moveTo>
                  <a:pt x="4238376" y="2169283"/>
                </a:moveTo>
                <a:lnTo>
                  <a:pt x="4254776" y="2182044"/>
                </a:lnTo>
                <a:lnTo>
                  <a:pt x="4238376" y="2183869"/>
                </a:lnTo>
                <a:close/>
                <a:moveTo>
                  <a:pt x="3640704" y="2167510"/>
                </a:moveTo>
                <a:lnTo>
                  <a:pt x="3658926" y="2191227"/>
                </a:lnTo>
                <a:lnTo>
                  <a:pt x="3626127" y="2196699"/>
                </a:lnTo>
                <a:lnTo>
                  <a:pt x="3620660" y="2183930"/>
                </a:lnTo>
                <a:close/>
                <a:moveTo>
                  <a:pt x="3536840" y="2167468"/>
                </a:moveTo>
                <a:lnTo>
                  <a:pt x="3529551" y="2191172"/>
                </a:lnTo>
                <a:lnTo>
                  <a:pt x="3520440" y="2176586"/>
                </a:lnTo>
                <a:close/>
                <a:moveTo>
                  <a:pt x="2931878" y="2167416"/>
                </a:moveTo>
                <a:cubicBezTo>
                  <a:pt x="2926412" y="2165595"/>
                  <a:pt x="2924589" y="2172883"/>
                  <a:pt x="2930056" y="2174705"/>
                </a:cubicBezTo>
                <a:cubicBezTo>
                  <a:pt x="2930056" y="2174705"/>
                  <a:pt x="2931878" y="2174705"/>
                  <a:pt x="2931878" y="2174705"/>
                </a:cubicBezTo>
                <a:cubicBezTo>
                  <a:pt x="2935523" y="2176528"/>
                  <a:pt x="2937345" y="2169238"/>
                  <a:pt x="2931878" y="2167416"/>
                </a:cubicBezTo>
                <a:close/>
                <a:moveTo>
                  <a:pt x="3252582" y="2165594"/>
                </a:moveTo>
                <a:cubicBezTo>
                  <a:pt x="3250760" y="2163771"/>
                  <a:pt x="3248938" y="2165594"/>
                  <a:pt x="3248938" y="2167416"/>
                </a:cubicBezTo>
                <a:cubicBezTo>
                  <a:pt x="3248938" y="2169238"/>
                  <a:pt x="3250760" y="2171060"/>
                  <a:pt x="3252582" y="2169238"/>
                </a:cubicBezTo>
                <a:cubicBezTo>
                  <a:pt x="3254404" y="2169238"/>
                  <a:pt x="3256226" y="2165594"/>
                  <a:pt x="3252582" y="2165594"/>
                </a:cubicBezTo>
                <a:close/>
                <a:moveTo>
                  <a:pt x="3381955" y="2160129"/>
                </a:moveTo>
                <a:cubicBezTo>
                  <a:pt x="3383777" y="2160129"/>
                  <a:pt x="3387421" y="2160129"/>
                  <a:pt x="3389244" y="2160129"/>
                </a:cubicBezTo>
                <a:cubicBezTo>
                  <a:pt x="3383777" y="2161951"/>
                  <a:pt x="3378311" y="2163775"/>
                  <a:pt x="3372844" y="2165596"/>
                </a:cubicBezTo>
                <a:cubicBezTo>
                  <a:pt x="3372844" y="2165596"/>
                  <a:pt x="3371022" y="2163775"/>
                  <a:pt x="3372844" y="2161951"/>
                </a:cubicBezTo>
                <a:cubicBezTo>
                  <a:pt x="3374666" y="2161951"/>
                  <a:pt x="3378311" y="2160129"/>
                  <a:pt x="3381955" y="2160129"/>
                </a:cubicBezTo>
                <a:close/>
                <a:moveTo>
                  <a:pt x="752558" y="2152894"/>
                </a:moveTo>
                <a:lnTo>
                  <a:pt x="767136" y="2152894"/>
                </a:lnTo>
                <a:cubicBezTo>
                  <a:pt x="761670" y="2172955"/>
                  <a:pt x="768959" y="2163836"/>
                  <a:pt x="752558" y="2174779"/>
                </a:cubicBezTo>
                <a:close/>
                <a:moveTo>
                  <a:pt x="3611549" y="2151099"/>
                </a:moveTo>
                <a:lnTo>
                  <a:pt x="3604260" y="2167520"/>
                </a:lnTo>
                <a:lnTo>
                  <a:pt x="3620659" y="2169342"/>
                </a:lnTo>
                <a:lnTo>
                  <a:pt x="3620659" y="2183938"/>
                </a:lnTo>
                <a:lnTo>
                  <a:pt x="3589683" y="2193061"/>
                </a:lnTo>
                <a:lnTo>
                  <a:pt x="3575105" y="2205831"/>
                </a:lnTo>
                <a:lnTo>
                  <a:pt x="3580572" y="2176641"/>
                </a:lnTo>
                <a:lnTo>
                  <a:pt x="3544128" y="2176641"/>
                </a:lnTo>
                <a:lnTo>
                  <a:pt x="3558706" y="2152924"/>
                </a:lnTo>
                <a:lnTo>
                  <a:pt x="3573283" y="2162047"/>
                </a:lnTo>
                <a:close/>
                <a:moveTo>
                  <a:pt x="2982823" y="2147257"/>
                </a:moveTo>
                <a:lnTo>
                  <a:pt x="2984721" y="2147372"/>
                </a:lnTo>
                <a:cubicBezTo>
                  <a:pt x="2984721" y="2147372"/>
                  <a:pt x="2984721" y="2147372"/>
                  <a:pt x="2982899" y="2147372"/>
                </a:cubicBezTo>
                <a:close/>
                <a:moveTo>
                  <a:pt x="3392888" y="2145551"/>
                </a:moveTo>
                <a:cubicBezTo>
                  <a:pt x="3396532" y="2143729"/>
                  <a:pt x="3401999" y="2145551"/>
                  <a:pt x="3407465" y="2145551"/>
                </a:cubicBezTo>
                <a:cubicBezTo>
                  <a:pt x="3401999" y="2145551"/>
                  <a:pt x="3394710" y="2147374"/>
                  <a:pt x="3387421" y="2149196"/>
                </a:cubicBezTo>
                <a:close/>
                <a:moveTo>
                  <a:pt x="736159" y="2143771"/>
                </a:moveTo>
                <a:lnTo>
                  <a:pt x="737981" y="2169301"/>
                </a:lnTo>
                <a:lnTo>
                  <a:pt x="721581" y="2160182"/>
                </a:lnTo>
                <a:close/>
                <a:moveTo>
                  <a:pt x="2560154" y="2143728"/>
                </a:moveTo>
                <a:cubicBezTo>
                  <a:pt x="2591131" y="2154662"/>
                  <a:pt x="2629397" y="2156483"/>
                  <a:pt x="2660374" y="2154662"/>
                </a:cubicBezTo>
                <a:cubicBezTo>
                  <a:pt x="2716862" y="2152839"/>
                  <a:pt x="2767883" y="2143728"/>
                  <a:pt x="2817082" y="2160129"/>
                </a:cubicBezTo>
                <a:cubicBezTo>
                  <a:pt x="2853525" y="2171062"/>
                  <a:pt x="2886324" y="2192928"/>
                  <a:pt x="2917302" y="2214794"/>
                </a:cubicBezTo>
                <a:cubicBezTo>
                  <a:pt x="2922768" y="2220261"/>
                  <a:pt x="2928234" y="2225727"/>
                  <a:pt x="2933701" y="2229371"/>
                </a:cubicBezTo>
                <a:cubicBezTo>
                  <a:pt x="2953745" y="2243950"/>
                  <a:pt x="2975611" y="2256705"/>
                  <a:pt x="2997477" y="2267637"/>
                </a:cubicBezTo>
                <a:cubicBezTo>
                  <a:pt x="2999299" y="2269460"/>
                  <a:pt x="3001121" y="2269460"/>
                  <a:pt x="3002944" y="2271282"/>
                </a:cubicBezTo>
                <a:cubicBezTo>
                  <a:pt x="2964678" y="2267637"/>
                  <a:pt x="2924590" y="2271282"/>
                  <a:pt x="2888147" y="2258527"/>
                </a:cubicBezTo>
                <a:cubicBezTo>
                  <a:pt x="2882680" y="2254883"/>
                  <a:pt x="2886324" y="2263995"/>
                  <a:pt x="2888147" y="2265816"/>
                </a:cubicBezTo>
                <a:cubicBezTo>
                  <a:pt x="2910013" y="2284038"/>
                  <a:pt x="2939168" y="2284038"/>
                  <a:pt x="2966500" y="2285861"/>
                </a:cubicBezTo>
                <a:cubicBezTo>
                  <a:pt x="2970144" y="2285861"/>
                  <a:pt x="2975611" y="2287682"/>
                  <a:pt x="2979255" y="2287682"/>
                </a:cubicBezTo>
                <a:cubicBezTo>
                  <a:pt x="2946456" y="2287682"/>
                  <a:pt x="2911835" y="2289504"/>
                  <a:pt x="2879036" y="2287682"/>
                </a:cubicBezTo>
                <a:cubicBezTo>
                  <a:pt x="2879036" y="2287682"/>
                  <a:pt x="2877213" y="2287682"/>
                  <a:pt x="2877213" y="2289504"/>
                </a:cubicBezTo>
                <a:lnTo>
                  <a:pt x="2876512" y="2288804"/>
                </a:lnTo>
                <a:lnTo>
                  <a:pt x="2879035" y="2287227"/>
                </a:lnTo>
                <a:cubicBezTo>
                  <a:pt x="2879491" y="2285405"/>
                  <a:pt x="2879035" y="2283127"/>
                  <a:pt x="2877213" y="2282215"/>
                </a:cubicBezTo>
                <a:cubicBezTo>
                  <a:pt x="2874480" y="2282215"/>
                  <a:pt x="2872658" y="2283581"/>
                  <a:pt x="2872202" y="2285176"/>
                </a:cubicBezTo>
                <a:lnTo>
                  <a:pt x="2874410" y="2288172"/>
                </a:lnTo>
                <a:lnTo>
                  <a:pt x="2871747" y="2289504"/>
                </a:lnTo>
                <a:cubicBezTo>
                  <a:pt x="2871747" y="2289504"/>
                  <a:pt x="2871747" y="2287682"/>
                  <a:pt x="2869925" y="2287682"/>
                </a:cubicBezTo>
                <a:cubicBezTo>
                  <a:pt x="2869925" y="2287682"/>
                  <a:pt x="2868103" y="2287682"/>
                  <a:pt x="2868103" y="2287682"/>
                </a:cubicBezTo>
                <a:cubicBezTo>
                  <a:pt x="2864458" y="2287682"/>
                  <a:pt x="2862636" y="2293148"/>
                  <a:pt x="2866281" y="2294971"/>
                </a:cubicBezTo>
                <a:cubicBezTo>
                  <a:pt x="2866281" y="2294971"/>
                  <a:pt x="2868103" y="2294971"/>
                  <a:pt x="2868103" y="2294971"/>
                </a:cubicBezTo>
                <a:cubicBezTo>
                  <a:pt x="2869925" y="2294971"/>
                  <a:pt x="2871747" y="2294971"/>
                  <a:pt x="2871747" y="2293148"/>
                </a:cubicBezTo>
                <a:cubicBezTo>
                  <a:pt x="2871747" y="2293148"/>
                  <a:pt x="2871747" y="2294971"/>
                  <a:pt x="2873569" y="2294971"/>
                </a:cubicBezTo>
                <a:cubicBezTo>
                  <a:pt x="2875391" y="2294971"/>
                  <a:pt x="2877213" y="2294971"/>
                  <a:pt x="2877213" y="2293148"/>
                </a:cubicBezTo>
                <a:cubicBezTo>
                  <a:pt x="2877213" y="2294971"/>
                  <a:pt x="2879036" y="2298615"/>
                  <a:pt x="2880858" y="2298615"/>
                </a:cubicBezTo>
                <a:lnTo>
                  <a:pt x="2954769" y="2308064"/>
                </a:lnTo>
                <a:lnTo>
                  <a:pt x="2955566" y="2302497"/>
                </a:lnTo>
                <a:lnTo>
                  <a:pt x="2961969" y="2308873"/>
                </a:lnTo>
                <a:lnTo>
                  <a:pt x="3041209" y="2309549"/>
                </a:lnTo>
                <a:cubicBezTo>
                  <a:pt x="3057609" y="2309549"/>
                  <a:pt x="3074008" y="2311370"/>
                  <a:pt x="3090408" y="2313192"/>
                </a:cubicBezTo>
                <a:cubicBezTo>
                  <a:pt x="3077653" y="2315015"/>
                  <a:pt x="3063075" y="2315015"/>
                  <a:pt x="3050320" y="2316838"/>
                </a:cubicBezTo>
                <a:cubicBezTo>
                  <a:pt x="3019343" y="2320482"/>
                  <a:pt x="2988366" y="2320482"/>
                  <a:pt x="2955567" y="2318660"/>
                </a:cubicBezTo>
                <a:cubicBezTo>
                  <a:pt x="2928234" y="2316838"/>
                  <a:pt x="2899080" y="2316838"/>
                  <a:pt x="2871747" y="2322304"/>
                </a:cubicBezTo>
                <a:cubicBezTo>
                  <a:pt x="2866281" y="2322304"/>
                  <a:pt x="2868103" y="2327771"/>
                  <a:pt x="2873569" y="2327771"/>
                </a:cubicBezTo>
                <a:lnTo>
                  <a:pt x="2912821" y="2327876"/>
                </a:lnTo>
                <a:lnTo>
                  <a:pt x="2911834" y="2326119"/>
                </a:lnTo>
                <a:lnTo>
                  <a:pt x="2913656" y="2324304"/>
                </a:lnTo>
                <a:lnTo>
                  <a:pt x="2918314" y="2327891"/>
                </a:lnTo>
                <a:lnTo>
                  <a:pt x="2958300" y="2327998"/>
                </a:lnTo>
                <a:cubicBezTo>
                  <a:pt x="2986544" y="2329592"/>
                  <a:pt x="3014788" y="2331415"/>
                  <a:pt x="3043031" y="2329593"/>
                </a:cubicBezTo>
                <a:lnTo>
                  <a:pt x="3099518" y="2326768"/>
                </a:lnTo>
                <a:lnTo>
                  <a:pt x="3099518" y="2322489"/>
                </a:lnTo>
                <a:cubicBezTo>
                  <a:pt x="3104985" y="2324307"/>
                  <a:pt x="3105896" y="2322944"/>
                  <a:pt x="3106352" y="2322489"/>
                </a:cubicBezTo>
                <a:lnTo>
                  <a:pt x="3109208" y="2326285"/>
                </a:lnTo>
                <a:lnTo>
                  <a:pt x="3115918" y="2325948"/>
                </a:lnTo>
                <a:lnTo>
                  <a:pt x="3109554" y="2326745"/>
                </a:lnTo>
                <a:lnTo>
                  <a:pt x="3110451" y="2327937"/>
                </a:lnTo>
                <a:lnTo>
                  <a:pt x="3099518" y="2329754"/>
                </a:lnTo>
                <a:lnTo>
                  <a:pt x="3099518" y="2327999"/>
                </a:lnTo>
                <a:lnTo>
                  <a:pt x="3043031" y="2335060"/>
                </a:lnTo>
                <a:cubicBezTo>
                  <a:pt x="3019343" y="2335971"/>
                  <a:pt x="2995655" y="2335515"/>
                  <a:pt x="2971967" y="2335515"/>
                </a:cubicBezTo>
                <a:lnTo>
                  <a:pt x="2959755" y="2336063"/>
                </a:lnTo>
                <a:lnTo>
                  <a:pt x="2962855" y="2337014"/>
                </a:lnTo>
                <a:lnTo>
                  <a:pt x="2962855" y="2340650"/>
                </a:lnTo>
                <a:cubicBezTo>
                  <a:pt x="2959211" y="2338834"/>
                  <a:pt x="2955566" y="2338834"/>
                  <a:pt x="2953744" y="2340650"/>
                </a:cubicBezTo>
                <a:lnTo>
                  <a:pt x="2953744" y="2336333"/>
                </a:lnTo>
                <a:lnTo>
                  <a:pt x="2900902" y="2338704"/>
                </a:lnTo>
                <a:cubicBezTo>
                  <a:pt x="2900902" y="2338704"/>
                  <a:pt x="2908191" y="2344170"/>
                  <a:pt x="2910013" y="2344170"/>
                </a:cubicBezTo>
                <a:lnTo>
                  <a:pt x="2946456" y="2344170"/>
                </a:lnTo>
                <a:lnTo>
                  <a:pt x="2946456" y="2342482"/>
                </a:lnTo>
                <a:lnTo>
                  <a:pt x="2948145" y="2344170"/>
                </a:lnTo>
                <a:lnTo>
                  <a:pt x="2984722" y="2344170"/>
                </a:lnTo>
                <a:lnTo>
                  <a:pt x="2949341" y="2346892"/>
                </a:lnTo>
                <a:lnTo>
                  <a:pt x="2946456" y="2349797"/>
                </a:lnTo>
                <a:lnTo>
                  <a:pt x="2946456" y="2347114"/>
                </a:lnTo>
                <a:lnTo>
                  <a:pt x="2913657" y="2349637"/>
                </a:lnTo>
                <a:cubicBezTo>
                  <a:pt x="2888146" y="2350548"/>
                  <a:pt x="2863547" y="2350548"/>
                  <a:pt x="2839175" y="2348270"/>
                </a:cubicBezTo>
                <a:lnTo>
                  <a:pt x="2816979" y="2343707"/>
                </a:lnTo>
                <a:lnTo>
                  <a:pt x="2815259" y="2347967"/>
                </a:lnTo>
                <a:lnTo>
                  <a:pt x="2813842" y="2343061"/>
                </a:lnTo>
                <a:lnTo>
                  <a:pt x="2766061" y="2333237"/>
                </a:lnTo>
                <a:cubicBezTo>
                  <a:pt x="2725973" y="2320482"/>
                  <a:pt x="2691351" y="2294971"/>
                  <a:pt x="2660374" y="2265816"/>
                </a:cubicBezTo>
                <a:cubicBezTo>
                  <a:pt x="2622108" y="2231194"/>
                  <a:pt x="2591131" y="2185638"/>
                  <a:pt x="2560154" y="2143728"/>
                </a:cubicBezTo>
                <a:close/>
                <a:moveTo>
                  <a:pt x="3294492" y="2140082"/>
                </a:moveTo>
                <a:cubicBezTo>
                  <a:pt x="3298136" y="2140082"/>
                  <a:pt x="3301781" y="2138260"/>
                  <a:pt x="3294492" y="2147371"/>
                </a:cubicBezTo>
                <a:cubicBezTo>
                  <a:pt x="3303603" y="2145550"/>
                  <a:pt x="3316358" y="2145550"/>
                  <a:pt x="3327291" y="2143727"/>
                </a:cubicBezTo>
                <a:cubicBezTo>
                  <a:pt x="3303603" y="2149194"/>
                  <a:pt x="3281737" y="2156483"/>
                  <a:pt x="3259871" y="2167416"/>
                </a:cubicBezTo>
                <a:cubicBezTo>
                  <a:pt x="3256226" y="2169238"/>
                  <a:pt x="3259871" y="2178349"/>
                  <a:pt x="3263515" y="2176527"/>
                </a:cubicBezTo>
                <a:cubicBezTo>
                  <a:pt x="3292670" y="2167416"/>
                  <a:pt x="3323647" y="2160127"/>
                  <a:pt x="3354624" y="2154660"/>
                </a:cubicBezTo>
                <a:cubicBezTo>
                  <a:pt x="3356446" y="2154660"/>
                  <a:pt x="3358268" y="2154660"/>
                  <a:pt x="3360090" y="2154660"/>
                </a:cubicBezTo>
                <a:lnTo>
                  <a:pt x="3363735" y="2158304"/>
                </a:lnTo>
                <a:cubicBezTo>
                  <a:pt x="3336402" y="2163771"/>
                  <a:pt x="3310891" y="2171060"/>
                  <a:pt x="3283559" y="2180171"/>
                </a:cubicBezTo>
                <a:cubicBezTo>
                  <a:pt x="3283559" y="2180171"/>
                  <a:pt x="3281737" y="2180171"/>
                  <a:pt x="3281737" y="2180171"/>
                </a:cubicBezTo>
                <a:lnTo>
                  <a:pt x="3277664" y="2182207"/>
                </a:lnTo>
                <a:lnTo>
                  <a:pt x="3276270" y="2181993"/>
                </a:lnTo>
                <a:cubicBezTo>
                  <a:pt x="3272626" y="2183814"/>
                  <a:pt x="3268981" y="2183814"/>
                  <a:pt x="3265337" y="2187460"/>
                </a:cubicBezTo>
                <a:cubicBezTo>
                  <a:pt x="3263515" y="2189282"/>
                  <a:pt x="3267159" y="2192926"/>
                  <a:pt x="3268981" y="2191104"/>
                </a:cubicBezTo>
                <a:lnTo>
                  <a:pt x="3275378" y="2187266"/>
                </a:lnTo>
                <a:lnTo>
                  <a:pt x="3279915" y="2189282"/>
                </a:lnTo>
                <a:cubicBezTo>
                  <a:pt x="3305425" y="2181993"/>
                  <a:pt x="3329113" y="2174704"/>
                  <a:pt x="3354624" y="2171060"/>
                </a:cubicBezTo>
                <a:lnTo>
                  <a:pt x="3345513" y="2180171"/>
                </a:lnTo>
                <a:cubicBezTo>
                  <a:pt x="3343691" y="2180171"/>
                  <a:pt x="3343691" y="2181993"/>
                  <a:pt x="3341868" y="2181993"/>
                </a:cubicBezTo>
                <a:cubicBezTo>
                  <a:pt x="3330935" y="2183814"/>
                  <a:pt x="3321825" y="2189282"/>
                  <a:pt x="3312714" y="2192926"/>
                </a:cubicBezTo>
                <a:cubicBezTo>
                  <a:pt x="3310891" y="2192926"/>
                  <a:pt x="3312714" y="2194748"/>
                  <a:pt x="3312714" y="2196571"/>
                </a:cubicBezTo>
                <a:lnTo>
                  <a:pt x="3305211" y="2198715"/>
                </a:lnTo>
                <a:lnTo>
                  <a:pt x="3304970" y="2197026"/>
                </a:lnTo>
                <a:cubicBezTo>
                  <a:pt x="3304059" y="2196115"/>
                  <a:pt x="3302692" y="2195659"/>
                  <a:pt x="3301781" y="2196571"/>
                </a:cubicBezTo>
                <a:cubicBezTo>
                  <a:pt x="3301781" y="2198393"/>
                  <a:pt x="3299959" y="2200215"/>
                  <a:pt x="3298136" y="2200215"/>
                </a:cubicBezTo>
                <a:cubicBezTo>
                  <a:pt x="3296314" y="2202037"/>
                  <a:pt x="3298136" y="2205681"/>
                  <a:pt x="3299959" y="2203859"/>
                </a:cubicBezTo>
                <a:lnTo>
                  <a:pt x="3301326" y="2202947"/>
                </a:lnTo>
                <a:lnTo>
                  <a:pt x="3301781" y="2203859"/>
                </a:lnTo>
                <a:cubicBezTo>
                  <a:pt x="3307247" y="2203859"/>
                  <a:pt x="3310891" y="2202037"/>
                  <a:pt x="3316358" y="2200215"/>
                </a:cubicBezTo>
                <a:cubicBezTo>
                  <a:pt x="3316358" y="2202037"/>
                  <a:pt x="3318180" y="2202037"/>
                  <a:pt x="3318180" y="2202037"/>
                </a:cubicBezTo>
                <a:cubicBezTo>
                  <a:pt x="3330935" y="2198393"/>
                  <a:pt x="3345513" y="2196571"/>
                  <a:pt x="3360090" y="2194748"/>
                </a:cubicBezTo>
                <a:lnTo>
                  <a:pt x="3369201" y="2196571"/>
                </a:lnTo>
                <a:cubicBezTo>
                  <a:pt x="3365557" y="2202037"/>
                  <a:pt x="3365557" y="2205681"/>
                  <a:pt x="3363735" y="2207504"/>
                </a:cubicBezTo>
                <a:cubicBezTo>
                  <a:pt x="3360090" y="2207504"/>
                  <a:pt x="3356446" y="2207504"/>
                  <a:pt x="3352801" y="2207504"/>
                </a:cubicBezTo>
                <a:cubicBezTo>
                  <a:pt x="3350979" y="2205681"/>
                  <a:pt x="3349157" y="2211148"/>
                  <a:pt x="3352801" y="2211148"/>
                </a:cubicBezTo>
                <a:lnTo>
                  <a:pt x="3345513" y="2211148"/>
                </a:lnTo>
                <a:cubicBezTo>
                  <a:pt x="3345513" y="2211148"/>
                  <a:pt x="3345513" y="2209326"/>
                  <a:pt x="3343691" y="2209326"/>
                </a:cubicBezTo>
                <a:cubicBezTo>
                  <a:pt x="3341868" y="2207504"/>
                  <a:pt x="3340046" y="2209326"/>
                  <a:pt x="3340046" y="2211148"/>
                </a:cubicBezTo>
                <a:cubicBezTo>
                  <a:pt x="3340046" y="2211148"/>
                  <a:pt x="3340046" y="2212970"/>
                  <a:pt x="3341868" y="2212970"/>
                </a:cubicBezTo>
                <a:lnTo>
                  <a:pt x="3341868" y="2216614"/>
                </a:lnTo>
                <a:lnTo>
                  <a:pt x="3365557" y="2223903"/>
                </a:lnTo>
                <a:cubicBezTo>
                  <a:pt x="3330935" y="2225725"/>
                  <a:pt x="3296314" y="2233014"/>
                  <a:pt x="3263515" y="2240303"/>
                </a:cubicBezTo>
                <a:cubicBezTo>
                  <a:pt x="3259871" y="2240303"/>
                  <a:pt x="3258048" y="2245769"/>
                  <a:pt x="3259871" y="2249413"/>
                </a:cubicBezTo>
                <a:cubicBezTo>
                  <a:pt x="3276270" y="2276746"/>
                  <a:pt x="3299959" y="2300434"/>
                  <a:pt x="3325469" y="2318656"/>
                </a:cubicBezTo>
                <a:cubicBezTo>
                  <a:pt x="3303603" y="2307723"/>
                  <a:pt x="3281737" y="2293146"/>
                  <a:pt x="3259871" y="2276746"/>
                </a:cubicBezTo>
                <a:cubicBezTo>
                  <a:pt x="3259871" y="2276746"/>
                  <a:pt x="3259871" y="2284035"/>
                  <a:pt x="3261693" y="2285857"/>
                </a:cubicBezTo>
                <a:cubicBezTo>
                  <a:pt x="3276270" y="2296790"/>
                  <a:pt x="3290848" y="2309546"/>
                  <a:pt x="3305425" y="2320479"/>
                </a:cubicBezTo>
                <a:cubicBezTo>
                  <a:pt x="3292670" y="2315012"/>
                  <a:pt x="3281737" y="2305902"/>
                  <a:pt x="3268981" y="2300434"/>
                </a:cubicBezTo>
                <a:cubicBezTo>
                  <a:pt x="3267159" y="2298612"/>
                  <a:pt x="3258048" y="2302258"/>
                  <a:pt x="3261693" y="2305902"/>
                </a:cubicBezTo>
                <a:cubicBezTo>
                  <a:pt x="3274448" y="2320479"/>
                  <a:pt x="3287203" y="2329589"/>
                  <a:pt x="3303603" y="2336879"/>
                </a:cubicBezTo>
                <a:cubicBezTo>
                  <a:pt x="3309069" y="2338701"/>
                  <a:pt x="3314536" y="2342345"/>
                  <a:pt x="3320002" y="2344167"/>
                </a:cubicBezTo>
                <a:cubicBezTo>
                  <a:pt x="3316358" y="2344167"/>
                  <a:pt x="3314536" y="2345990"/>
                  <a:pt x="3312714" y="2345990"/>
                </a:cubicBezTo>
                <a:cubicBezTo>
                  <a:pt x="3305425" y="2344167"/>
                  <a:pt x="3299959" y="2342345"/>
                  <a:pt x="3294492" y="2338701"/>
                </a:cubicBezTo>
                <a:cubicBezTo>
                  <a:pt x="3283559" y="2333235"/>
                  <a:pt x="3274448" y="2324124"/>
                  <a:pt x="3265337" y="2316835"/>
                </a:cubicBezTo>
                <a:cubicBezTo>
                  <a:pt x="3263515" y="2315012"/>
                  <a:pt x="3254404" y="2313191"/>
                  <a:pt x="3256226" y="2316835"/>
                </a:cubicBezTo>
                <a:cubicBezTo>
                  <a:pt x="3258048" y="2325946"/>
                  <a:pt x="3265337" y="2333235"/>
                  <a:pt x="3272626" y="2338701"/>
                </a:cubicBezTo>
                <a:cubicBezTo>
                  <a:pt x="3239827" y="2325946"/>
                  <a:pt x="3208850" y="2309546"/>
                  <a:pt x="3181517" y="2287679"/>
                </a:cubicBezTo>
                <a:cubicBezTo>
                  <a:pt x="3161473" y="2269457"/>
                  <a:pt x="3143251" y="2249413"/>
                  <a:pt x="3121385" y="2233014"/>
                </a:cubicBezTo>
                <a:cubicBezTo>
                  <a:pt x="3121385" y="2231192"/>
                  <a:pt x="3121385" y="2229370"/>
                  <a:pt x="3119563" y="2229370"/>
                </a:cubicBezTo>
                <a:cubicBezTo>
                  <a:pt x="3115919" y="2225725"/>
                  <a:pt x="3110452" y="2223903"/>
                  <a:pt x="3106808" y="2220259"/>
                </a:cubicBezTo>
                <a:cubicBezTo>
                  <a:pt x="3077652" y="2196571"/>
                  <a:pt x="3046675" y="2174704"/>
                  <a:pt x="3015698" y="2154660"/>
                </a:cubicBezTo>
                <a:cubicBezTo>
                  <a:pt x="3084941" y="2167416"/>
                  <a:pt x="3152362" y="2172881"/>
                  <a:pt x="3221605" y="2158304"/>
                </a:cubicBezTo>
                <a:cubicBezTo>
                  <a:pt x="3247115" y="2152837"/>
                  <a:pt x="3268981" y="2145550"/>
                  <a:pt x="3294492" y="2140082"/>
                </a:cubicBezTo>
                <a:close/>
                <a:moveTo>
                  <a:pt x="858244" y="2138326"/>
                </a:moveTo>
                <a:lnTo>
                  <a:pt x="891044" y="2167520"/>
                </a:lnTo>
                <a:lnTo>
                  <a:pt x="880111" y="2191239"/>
                </a:lnTo>
                <a:lnTo>
                  <a:pt x="836378" y="2176641"/>
                </a:lnTo>
                <a:cubicBezTo>
                  <a:pt x="843667" y="2149273"/>
                  <a:pt x="843667" y="2160219"/>
                  <a:pt x="858244" y="2138326"/>
                </a:cubicBezTo>
                <a:close/>
                <a:moveTo>
                  <a:pt x="3558706" y="2129179"/>
                </a:moveTo>
                <a:lnTo>
                  <a:pt x="3558706" y="2152884"/>
                </a:lnTo>
                <a:lnTo>
                  <a:pt x="3544128" y="2145587"/>
                </a:lnTo>
                <a:close/>
                <a:moveTo>
                  <a:pt x="2879035" y="2117534"/>
                </a:moveTo>
                <a:cubicBezTo>
                  <a:pt x="2899079" y="2116394"/>
                  <a:pt x="2919123" y="2116394"/>
                  <a:pt x="2939167" y="2118217"/>
                </a:cubicBezTo>
                <a:cubicBezTo>
                  <a:pt x="2931878" y="2118217"/>
                  <a:pt x="2926412" y="2118217"/>
                  <a:pt x="2919123" y="2120039"/>
                </a:cubicBezTo>
                <a:cubicBezTo>
                  <a:pt x="2913656" y="2120039"/>
                  <a:pt x="2919123" y="2125506"/>
                  <a:pt x="2922767" y="2125506"/>
                </a:cubicBezTo>
                <a:cubicBezTo>
                  <a:pt x="2953744" y="2123684"/>
                  <a:pt x="2982899" y="2129150"/>
                  <a:pt x="3012054" y="2136438"/>
                </a:cubicBezTo>
                <a:cubicBezTo>
                  <a:pt x="2977432" y="2129150"/>
                  <a:pt x="2937345" y="2125506"/>
                  <a:pt x="2902723" y="2132795"/>
                </a:cubicBezTo>
                <a:cubicBezTo>
                  <a:pt x="2895435" y="2134618"/>
                  <a:pt x="2902723" y="2140082"/>
                  <a:pt x="2906368" y="2140082"/>
                </a:cubicBezTo>
                <a:cubicBezTo>
                  <a:pt x="2926412" y="2138261"/>
                  <a:pt x="2946455" y="2138261"/>
                  <a:pt x="2966500" y="2140082"/>
                </a:cubicBezTo>
                <a:cubicBezTo>
                  <a:pt x="2970144" y="2140082"/>
                  <a:pt x="2975610" y="2141906"/>
                  <a:pt x="2979255" y="2141906"/>
                </a:cubicBezTo>
                <a:lnTo>
                  <a:pt x="2982823" y="2147257"/>
                </a:lnTo>
                <a:lnTo>
                  <a:pt x="2924589" y="2143728"/>
                </a:lnTo>
                <a:cubicBezTo>
                  <a:pt x="2919123" y="2145550"/>
                  <a:pt x="2922767" y="2152839"/>
                  <a:pt x="2926412" y="2152839"/>
                </a:cubicBezTo>
                <a:cubicBezTo>
                  <a:pt x="2962855" y="2152839"/>
                  <a:pt x="3002943" y="2161949"/>
                  <a:pt x="3032098" y="2183816"/>
                </a:cubicBezTo>
                <a:cubicBezTo>
                  <a:pt x="3037564" y="2189283"/>
                  <a:pt x="3044853" y="2192927"/>
                  <a:pt x="3052142" y="2198394"/>
                </a:cubicBezTo>
                <a:cubicBezTo>
                  <a:pt x="3046675" y="2196571"/>
                  <a:pt x="3039386" y="2194748"/>
                  <a:pt x="3033920" y="2191105"/>
                </a:cubicBezTo>
                <a:cubicBezTo>
                  <a:pt x="3012054" y="2180172"/>
                  <a:pt x="2988366" y="2172883"/>
                  <a:pt x="2964677" y="2172883"/>
                </a:cubicBezTo>
                <a:cubicBezTo>
                  <a:pt x="2964677" y="2172883"/>
                  <a:pt x="2964677" y="2174705"/>
                  <a:pt x="2966500" y="2176528"/>
                </a:cubicBezTo>
                <a:cubicBezTo>
                  <a:pt x="2966500" y="2176528"/>
                  <a:pt x="2964677" y="2176528"/>
                  <a:pt x="2964677" y="2176528"/>
                </a:cubicBezTo>
                <a:cubicBezTo>
                  <a:pt x="2964677" y="2174705"/>
                  <a:pt x="2962855" y="2174705"/>
                  <a:pt x="2962855" y="2174705"/>
                </a:cubicBezTo>
                <a:cubicBezTo>
                  <a:pt x="2959211" y="2172883"/>
                  <a:pt x="2957389" y="2172883"/>
                  <a:pt x="2955566" y="2172883"/>
                </a:cubicBezTo>
                <a:cubicBezTo>
                  <a:pt x="2955566" y="2172883"/>
                  <a:pt x="2953744" y="2172883"/>
                  <a:pt x="2953744" y="2172883"/>
                </a:cubicBezTo>
                <a:cubicBezTo>
                  <a:pt x="2953744" y="2172883"/>
                  <a:pt x="2953744" y="2171061"/>
                  <a:pt x="2951922" y="2171061"/>
                </a:cubicBezTo>
                <a:cubicBezTo>
                  <a:pt x="2948278" y="2171061"/>
                  <a:pt x="2946455" y="2176528"/>
                  <a:pt x="2950100" y="2178349"/>
                </a:cubicBezTo>
                <a:cubicBezTo>
                  <a:pt x="2951922" y="2178349"/>
                  <a:pt x="2953744" y="2178349"/>
                  <a:pt x="2953744" y="2176528"/>
                </a:cubicBezTo>
                <a:cubicBezTo>
                  <a:pt x="2953744" y="2178349"/>
                  <a:pt x="2957389" y="2178349"/>
                  <a:pt x="2959211" y="2178349"/>
                </a:cubicBezTo>
                <a:cubicBezTo>
                  <a:pt x="2961033" y="2178349"/>
                  <a:pt x="2961033" y="2178349"/>
                  <a:pt x="2962855" y="2178349"/>
                </a:cubicBezTo>
                <a:cubicBezTo>
                  <a:pt x="2964677" y="2180172"/>
                  <a:pt x="2966500" y="2178349"/>
                  <a:pt x="2966500" y="2178349"/>
                </a:cubicBezTo>
                <a:cubicBezTo>
                  <a:pt x="2966500" y="2180172"/>
                  <a:pt x="2968322" y="2180172"/>
                  <a:pt x="2968322" y="2180172"/>
                </a:cubicBezTo>
                <a:cubicBezTo>
                  <a:pt x="2970144" y="2181993"/>
                  <a:pt x="2971966" y="2180172"/>
                  <a:pt x="2971966" y="2178349"/>
                </a:cubicBezTo>
                <a:cubicBezTo>
                  <a:pt x="3001121" y="2180172"/>
                  <a:pt x="3024809" y="2189283"/>
                  <a:pt x="3050319" y="2202038"/>
                </a:cubicBezTo>
                <a:cubicBezTo>
                  <a:pt x="3061252" y="2209327"/>
                  <a:pt x="3074008" y="2212972"/>
                  <a:pt x="3086763" y="2218438"/>
                </a:cubicBezTo>
                <a:cubicBezTo>
                  <a:pt x="3094052" y="2223904"/>
                  <a:pt x="3099518" y="2227549"/>
                  <a:pt x="3104985" y="2231193"/>
                </a:cubicBezTo>
                <a:cubicBezTo>
                  <a:pt x="3090407" y="2225727"/>
                  <a:pt x="3075830" y="2220260"/>
                  <a:pt x="3063075" y="2214792"/>
                </a:cubicBezTo>
                <a:cubicBezTo>
                  <a:pt x="3043031" y="2205683"/>
                  <a:pt x="3022987" y="2200215"/>
                  <a:pt x="3001121" y="2196571"/>
                </a:cubicBezTo>
                <a:cubicBezTo>
                  <a:pt x="2999299" y="2196571"/>
                  <a:pt x="3001121" y="2207505"/>
                  <a:pt x="3002943" y="2207505"/>
                </a:cubicBezTo>
                <a:cubicBezTo>
                  <a:pt x="3026631" y="2214792"/>
                  <a:pt x="3050319" y="2223904"/>
                  <a:pt x="3072186" y="2234837"/>
                </a:cubicBezTo>
                <a:cubicBezTo>
                  <a:pt x="3075830" y="2236661"/>
                  <a:pt x="3079474" y="2238482"/>
                  <a:pt x="3083119" y="2240304"/>
                </a:cubicBezTo>
                <a:cubicBezTo>
                  <a:pt x="3066719" y="2234837"/>
                  <a:pt x="3052142" y="2229371"/>
                  <a:pt x="3035742" y="2223904"/>
                </a:cubicBezTo>
                <a:cubicBezTo>
                  <a:pt x="3032098" y="2222081"/>
                  <a:pt x="3022987" y="2225727"/>
                  <a:pt x="3028453" y="2229371"/>
                </a:cubicBezTo>
                <a:cubicBezTo>
                  <a:pt x="3035742" y="2233015"/>
                  <a:pt x="3043031" y="2236661"/>
                  <a:pt x="3050319" y="2240304"/>
                </a:cubicBezTo>
                <a:cubicBezTo>
                  <a:pt x="3033920" y="2234837"/>
                  <a:pt x="3019342" y="2227549"/>
                  <a:pt x="3004765" y="2222081"/>
                </a:cubicBezTo>
                <a:cubicBezTo>
                  <a:pt x="3006587" y="2220260"/>
                  <a:pt x="3006587" y="2216616"/>
                  <a:pt x="3002943" y="2216616"/>
                </a:cubicBezTo>
                <a:cubicBezTo>
                  <a:pt x="2999299" y="2216616"/>
                  <a:pt x="2997476" y="2218438"/>
                  <a:pt x="2997476" y="2220260"/>
                </a:cubicBezTo>
                <a:lnTo>
                  <a:pt x="2996565" y="2220260"/>
                </a:lnTo>
                <a:lnTo>
                  <a:pt x="2997249" y="2219805"/>
                </a:lnTo>
                <a:cubicBezTo>
                  <a:pt x="2997477" y="2217982"/>
                  <a:pt x="2996566" y="2215704"/>
                  <a:pt x="2993832" y="2214792"/>
                </a:cubicBezTo>
                <a:cubicBezTo>
                  <a:pt x="2990188" y="2212972"/>
                  <a:pt x="2986543" y="2220260"/>
                  <a:pt x="2992010" y="2222081"/>
                </a:cubicBezTo>
                <a:cubicBezTo>
                  <a:pt x="2992010" y="2222081"/>
                  <a:pt x="2993832" y="2222081"/>
                  <a:pt x="2993832" y="2222081"/>
                </a:cubicBezTo>
                <a:lnTo>
                  <a:pt x="2995447" y="2221006"/>
                </a:lnTo>
                <a:lnTo>
                  <a:pt x="3064897" y="2253059"/>
                </a:lnTo>
                <a:cubicBezTo>
                  <a:pt x="3044853" y="2247594"/>
                  <a:pt x="3024809" y="2240304"/>
                  <a:pt x="3002943" y="2236661"/>
                </a:cubicBezTo>
                <a:cubicBezTo>
                  <a:pt x="3001121" y="2234837"/>
                  <a:pt x="2990188" y="2238482"/>
                  <a:pt x="2993832" y="2240304"/>
                </a:cubicBezTo>
                <a:cubicBezTo>
                  <a:pt x="3017520" y="2254881"/>
                  <a:pt x="3044853" y="2262170"/>
                  <a:pt x="3072186" y="2271282"/>
                </a:cubicBezTo>
                <a:cubicBezTo>
                  <a:pt x="3097696" y="2280393"/>
                  <a:pt x="3128673" y="2282214"/>
                  <a:pt x="3154183" y="2294970"/>
                </a:cubicBezTo>
                <a:cubicBezTo>
                  <a:pt x="3101340" y="2289504"/>
                  <a:pt x="3050319" y="2276747"/>
                  <a:pt x="3002943" y="2253059"/>
                </a:cubicBezTo>
                <a:cubicBezTo>
                  <a:pt x="3001121" y="2251237"/>
                  <a:pt x="2997476" y="2249415"/>
                  <a:pt x="2995654" y="2247594"/>
                </a:cubicBezTo>
                <a:cubicBezTo>
                  <a:pt x="2973788" y="2236661"/>
                  <a:pt x="2953744" y="2222081"/>
                  <a:pt x="2933700" y="2207505"/>
                </a:cubicBezTo>
                <a:cubicBezTo>
                  <a:pt x="2917301" y="2192927"/>
                  <a:pt x="2902723" y="2174705"/>
                  <a:pt x="2884502" y="2160128"/>
                </a:cubicBezTo>
                <a:cubicBezTo>
                  <a:pt x="2864458" y="2145550"/>
                  <a:pt x="2842592" y="2132795"/>
                  <a:pt x="2818903" y="2123684"/>
                </a:cubicBezTo>
                <a:cubicBezTo>
                  <a:pt x="2838947" y="2120950"/>
                  <a:pt x="2858991" y="2118673"/>
                  <a:pt x="2879035" y="2117534"/>
                </a:cubicBezTo>
                <a:close/>
                <a:moveTo>
                  <a:pt x="4200111" y="2116411"/>
                </a:moveTo>
                <a:lnTo>
                  <a:pt x="4216511" y="2129173"/>
                </a:lnTo>
                <a:lnTo>
                  <a:pt x="4200111" y="2130995"/>
                </a:lnTo>
                <a:close/>
                <a:moveTo>
                  <a:pt x="3008410" y="2103640"/>
                </a:moveTo>
                <a:cubicBezTo>
                  <a:pt x="3004766" y="2103640"/>
                  <a:pt x="3002944" y="2109107"/>
                  <a:pt x="3006588" y="2110929"/>
                </a:cubicBezTo>
                <a:cubicBezTo>
                  <a:pt x="3012055" y="2110929"/>
                  <a:pt x="3013877" y="2105463"/>
                  <a:pt x="3008410" y="2103640"/>
                </a:cubicBezTo>
                <a:close/>
                <a:moveTo>
                  <a:pt x="2993833" y="2098173"/>
                </a:moveTo>
                <a:cubicBezTo>
                  <a:pt x="2992011" y="2098173"/>
                  <a:pt x="2990189" y="2099995"/>
                  <a:pt x="2990189" y="2101817"/>
                </a:cubicBezTo>
                <a:cubicBezTo>
                  <a:pt x="2988366" y="2105463"/>
                  <a:pt x="2992011" y="2107284"/>
                  <a:pt x="2993833" y="2105463"/>
                </a:cubicBezTo>
                <a:cubicBezTo>
                  <a:pt x="2997477" y="2105463"/>
                  <a:pt x="2997477" y="2098173"/>
                  <a:pt x="2993833" y="2098173"/>
                </a:cubicBezTo>
                <a:close/>
                <a:moveTo>
                  <a:pt x="3409288" y="2092716"/>
                </a:moveTo>
                <a:lnTo>
                  <a:pt x="3423865" y="2092716"/>
                </a:lnTo>
                <a:lnTo>
                  <a:pt x="3447553" y="2114607"/>
                </a:lnTo>
                <a:lnTo>
                  <a:pt x="3467597" y="2107312"/>
                </a:lnTo>
                <a:lnTo>
                  <a:pt x="3476708" y="2131030"/>
                </a:lnTo>
                <a:lnTo>
                  <a:pt x="3445731" y="2136502"/>
                </a:lnTo>
                <a:lnTo>
                  <a:pt x="3445731" y="2176641"/>
                </a:lnTo>
                <a:lnTo>
                  <a:pt x="3416577" y="2176641"/>
                </a:lnTo>
                <a:lnTo>
                  <a:pt x="3416577" y="2131030"/>
                </a:lnTo>
                <a:lnTo>
                  <a:pt x="3392888" y="2131030"/>
                </a:lnTo>
                <a:lnTo>
                  <a:pt x="3392888" y="2123729"/>
                </a:lnTo>
                <a:lnTo>
                  <a:pt x="3418399" y="2123729"/>
                </a:lnTo>
                <a:close/>
                <a:moveTo>
                  <a:pt x="3330934" y="2083598"/>
                </a:moveTo>
                <a:cubicBezTo>
                  <a:pt x="3336401" y="2089064"/>
                  <a:pt x="3340045" y="2094530"/>
                  <a:pt x="3345512" y="2099996"/>
                </a:cubicBezTo>
                <a:cubicBezTo>
                  <a:pt x="3341867" y="2096352"/>
                  <a:pt x="3336401" y="2090885"/>
                  <a:pt x="3330934" y="2087241"/>
                </a:cubicBezTo>
                <a:close/>
                <a:moveTo>
                  <a:pt x="3364243" y="2080023"/>
                </a:moveTo>
                <a:lnTo>
                  <a:pt x="3366181" y="2081704"/>
                </a:lnTo>
                <a:lnTo>
                  <a:pt x="3365555" y="2081774"/>
                </a:lnTo>
                <a:close/>
                <a:moveTo>
                  <a:pt x="3381955" y="2079951"/>
                </a:moveTo>
                <a:cubicBezTo>
                  <a:pt x="3387421" y="2083595"/>
                  <a:pt x="3391066" y="2089062"/>
                  <a:pt x="3396532" y="2094528"/>
                </a:cubicBezTo>
                <a:lnTo>
                  <a:pt x="3387421" y="2098173"/>
                </a:lnTo>
                <a:cubicBezTo>
                  <a:pt x="3383777" y="2094528"/>
                  <a:pt x="3378311" y="2092706"/>
                  <a:pt x="3374666" y="2089062"/>
                </a:cubicBezTo>
                <a:lnTo>
                  <a:pt x="3366181" y="2081704"/>
                </a:lnTo>
                <a:close/>
                <a:moveTo>
                  <a:pt x="3405643" y="2078130"/>
                </a:moveTo>
                <a:cubicBezTo>
                  <a:pt x="3407465" y="2081774"/>
                  <a:pt x="3411110" y="2085418"/>
                  <a:pt x="3412932" y="2089062"/>
                </a:cubicBezTo>
                <a:lnTo>
                  <a:pt x="3409288" y="2092707"/>
                </a:lnTo>
                <a:cubicBezTo>
                  <a:pt x="3405643" y="2089062"/>
                  <a:pt x="3400177" y="2085418"/>
                  <a:pt x="3396532" y="2079950"/>
                </a:cubicBezTo>
                <a:close/>
                <a:moveTo>
                  <a:pt x="776246" y="2070892"/>
                </a:moveTo>
                <a:cubicBezTo>
                  <a:pt x="785356" y="2070892"/>
                  <a:pt x="787179" y="2078170"/>
                  <a:pt x="792646" y="2085434"/>
                </a:cubicBezTo>
                <a:lnTo>
                  <a:pt x="761668" y="2092712"/>
                </a:lnTo>
                <a:cubicBezTo>
                  <a:pt x="761668" y="2081807"/>
                  <a:pt x="765313" y="2070892"/>
                  <a:pt x="776246" y="2070892"/>
                </a:cubicBezTo>
                <a:close/>
                <a:moveTo>
                  <a:pt x="3516795" y="2067262"/>
                </a:moveTo>
                <a:lnTo>
                  <a:pt x="3522262" y="2076361"/>
                </a:lnTo>
                <a:lnTo>
                  <a:pt x="3507685" y="2105484"/>
                </a:lnTo>
                <a:lnTo>
                  <a:pt x="3514973" y="2129205"/>
                </a:lnTo>
                <a:lnTo>
                  <a:pt x="3500396" y="2129205"/>
                </a:lnTo>
                <a:cubicBezTo>
                  <a:pt x="3518618" y="2151099"/>
                  <a:pt x="3496751" y="2140151"/>
                  <a:pt x="3531373" y="2143802"/>
                </a:cubicBezTo>
                <a:cubicBezTo>
                  <a:pt x="3522262" y="2158398"/>
                  <a:pt x="3514973" y="2174816"/>
                  <a:pt x="3493107" y="2174816"/>
                </a:cubicBezTo>
                <a:cubicBezTo>
                  <a:pt x="3474885" y="2174816"/>
                  <a:pt x="3491285" y="2163870"/>
                  <a:pt x="3462130" y="2152924"/>
                </a:cubicBezTo>
                <a:cubicBezTo>
                  <a:pt x="3480352" y="2127380"/>
                  <a:pt x="3507685" y="2156573"/>
                  <a:pt x="3487641" y="2103662"/>
                </a:cubicBezTo>
                <a:lnTo>
                  <a:pt x="3509507" y="2089068"/>
                </a:lnTo>
                <a:cubicBezTo>
                  <a:pt x="3498574" y="2069083"/>
                  <a:pt x="3498574" y="2079994"/>
                  <a:pt x="3516795" y="2067262"/>
                </a:cubicBezTo>
                <a:close/>
                <a:moveTo>
                  <a:pt x="3587860" y="2063589"/>
                </a:moveTo>
                <a:lnTo>
                  <a:pt x="3604260" y="2063589"/>
                </a:lnTo>
                <a:lnTo>
                  <a:pt x="3602438" y="2079974"/>
                </a:lnTo>
                <a:close/>
                <a:moveTo>
                  <a:pt x="3412932" y="2061730"/>
                </a:moveTo>
                <a:cubicBezTo>
                  <a:pt x="3416576" y="2065376"/>
                  <a:pt x="3420220" y="2070841"/>
                  <a:pt x="3423864" y="2076309"/>
                </a:cubicBezTo>
                <a:lnTo>
                  <a:pt x="3418398" y="2081774"/>
                </a:lnTo>
                <a:cubicBezTo>
                  <a:pt x="3414754" y="2078131"/>
                  <a:pt x="3412932" y="2076309"/>
                  <a:pt x="3409287" y="2072663"/>
                </a:cubicBezTo>
                <a:cubicBezTo>
                  <a:pt x="3411109" y="2067197"/>
                  <a:pt x="3412932" y="2063553"/>
                  <a:pt x="3412932" y="2061730"/>
                </a:cubicBezTo>
                <a:close/>
                <a:moveTo>
                  <a:pt x="3330934" y="2061729"/>
                </a:moveTo>
                <a:lnTo>
                  <a:pt x="3338224" y="2061729"/>
                </a:lnTo>
                <a:cubicBezTo>
                  <a:pt x="3349157" y="2078130"/>
                  <a:pt x="3363734" y="2092707"/>
                  <a:pt x="3380134" y="2105462"/>
                </a:cubicBezTo>
                <a:lnTo>
                  <a:pt x="3376490" y="2107285"/>
                </a:lnTo>
                <a:cubicBezTo>
                  <a:pt x="3371023" y="2103640"/>
                  <a:pt x="3365556" y="2099996"/>
                  <a:pt x="3360090" y="2096352"/>
                </a:cubicBezTo>
                <a:cubicBezTo>
                  <a:pt x="3345513" y="2087241"/>
                  <a:pt x="3336402" y="2074485"/>
                  <a:pt x="3330934" y="2061729"/>
                </a:cubicBezTo>
                <a:close/>
                <a:moveTo>
                  <a:pt x="3431153" y="2048975"/>
                </a:moveTo>
                <a:lnTo>
                  <a:pt x="3440264" y="2058086"/>
                </a:lnTo>
                <a:lnTo>
                  <a:pt x="3429331" y="2069019"/>
                </a:lnTo>
                <a:cubicBezTo>
                  <a:pt x="3425687" y="2065373"/>
                  <a:pt x="3422043" y="2059908"/>
                  <a:pt x="3418398" y="2056264"/>
                </a:cubicBezTo>
                <a:cubicBezTo>
                  <a:pt x="3420220" y="2054442"/>
                  <a:pt x="3423865" y="2054442"/>
                  <a:pt x="3431153" y="2048975"/>
                </a:cubicBezTo>
                <a:close/>
                <a:moveTo>
                  <a:pt x="3575105" y="2032621"/>
                </a:moveTo>
                <a:lnTo>
                  <a:pt x="3573283" y="2049032"/>
                </a:lnTo>
                <a:lnTo>
                  <a:pt x="3558705" y="2034445"/>
                </a:lnTo>
                <a:close/>
                <a:moveTo>
                  <a:pt x="3363733" y="2030754"/>
                </a:moveTo>
                <a:lnTo>
                  <a:pt x="3383777" y="2052620"/>
                </a:lnTo>
                <a:lnTo>
                  <a:pt x="3378310" y="2059910"/>
                </a:lnTo>
                <a:cubicBezTo>
                  <a:pt x="3372844" y="2054444"/>
                  <a:pt x="3369200" y="2050799"/>
                  <a:pt x="3365555" y="2045333"/>
                </a:cubicBezTo>
                <a:cubicBezTo>
                  <a:pt x="3365555" y="2043511"/>
                  <a:pt x="3363733" y="2043511"/>
                  <a:pt x="3363733" y="2043511"/>
                </a:cubicBezTo>
                <a:close/>
                <a:moveTo>
                  <a:pt x="1002195" y="2029023"/>
                </a:moveTo>
                <a:cubicBezTo>
                  <a:pt x="1013128" y="2032670"/>
                  <a:pt x="1011306" y="2032670"/>
                  <a:pt x="1009485" y="2032670"/>
                </a:cubicBezTo>
                <a:cubicBezTo>
                  <a:pt x="1009485" y="2032670"/>
                  <a:pt x="1013128" y="2032670"/>
                  <a:pt x="1024062" y="2032670"/>
                </a:cubicBezTo>
                <a:lnTo>
                  <a:pt x="1045929" y="2032670"/>
                </a:lnTo>
                <a:lnTo>
                  <a:pt x="1045929" y="2039962"/>
                </a:lnTo>
                <a:cubicBezTo>
                  <a:pt x="1013128" y="2039962"/>
                  <a:pt x="1029528" y="2034494"/>
                  <a:pt x="1014951" y="2054536"/>
                </a:cubicBezTo>
                <a:cubicBezTo>
                  <a:pt x="996729" y="2047261"/>
                  <a:pt x="1013128" y="2045429"/>
                  <a:pt x="993085" y="2054536"/>
                </a:cubicBezTo>
                <a:lnTo>
                  <a:pt x="978507" y="2032670"/>
                </a:lnTo>
                <a:close/>
                <a:moveTo>
                  <a:pt x="949352" y="2018058"/>
                </a:moveTo>
                <a:lnTo>
                  <a:pt x="973041" y="2038116"/>
                </a:lnTo>
                <a:lnTo>
                  <a:pt x="949352" y="2039939"/>
                </a:lnTo>
                <a:close/>
                <a:moveTo>
                  <a:pt x="2780752" y="2015635"/>
                </a:moveTo>
                <a:cubicBezTo>
                  <a:pt x="2847375" y="2017770"/>
                  <a:pt x="2915024" y="2037586"/>
                  <a:pt x="2968322" y="2063553"/>
                </a:cubicBezTo>
                <a:cubicBezTo>
                  <a:pt x="2968322" y="2063553"/>
                  <a:pt x="2970145" y="2063553"/>
                  <a:pt x="2970145" y="2063553"/>
                </a:cubicBezTo>
                <a:cubicBezTo>
                  <a:pt x="2984722" y="2076307"/>
                  <a:pt x="3001122" y="2089062"/>
                  <a:pt x="3017521" y="2099995"/>
                </a:cubicBezTo>
                <a:cubicBezTo>
                  <a:pt x="3053965" y="2123685"/>
                  <a:pt x="3094053" y="2138262"/>
                  <a:pt x="3135963" y="2147373"/>
                </a:cubicBezTo>
                <a:cubicBezTo>
                  <a:pt x="3126852" y="2147373"/>
                  <a:pt x="3115919" y="2147373"/>
                  <a:pt x="3106808" y="2147373"/>
                </a:cubicBezTo>
                <a:cubicBezTo>
                  <a:pt x="3108630" y="2147373"/>
                  <a:pt x="3110452" y="2143728"/>
                  <a:pt x="3106808" y="2141906"/>
                </a:cubicBezTo>
                <a:cubicBezTo>
                  <a:pt x="3104985" y="2141906"/>
                  <a:pt x="3101341" y="2143728"/>
                  <a:pt x="3101341" y="2145551"/>
                </a:cubicBezTo>
                <a:cubicBezTo>
                  <a:pt x="3101341" y="2147373"/>
                  <a:pt x="3101341" y="2149195"/>
                  <a:pt x="3103163" y="2149195"/>
                </a:cubicBezTo>
                <a:cubicBezTo>
                  <a:pt x="3099519" y="2149195"/>
                  <a:pt x="3095875" y="2149195"/>
                  <a:pt x="3092230" y="2149195"/>
                </a:cubicBezTo>
                <a:cubicBezTo>
                  <a:pt x="3092230" y="2147373"/>
                  <a:pt x="3092230" y="2143728"/>
                  <a:pt x="3090408" y="2143728"/>
                </a:cubicBezTo>
                <a:cubicBezTo>
                  <a:pt x="3086764" y="2143728"/>
                  <a:pt x="3084942" y="2147373"/>
                  <a:pt x="3086764" y="2149195"/>
                </a:cubicBezTo>
                <a:cubicBezTo>
                  <a:pt x="3084942" y="2149195"/>
                  <a:pt x="3083119" y="2149195"/>
                  <a:pt x="3081297" y="2149195"/>
                </a:cubicBezTo>
                <a:cubicBezTo>
                  <a:pt x="3081297" y="2147373"/>
                  <a:pt x="3083119" y="2145551"/>
                  <a:pt x="3079475" y="2143728"/>
                </a:cubicBezTo>
                <a:cubicBezTo>
                  <a:pt x="3075831" y="2141906"/>
                  <a:pt x="3074009" y="2147373"/>
                  <a:pt x="3075831" y="2149195"/>
                </a:cubicBezTo>
                <a:cubicBezTo>
                  <a:pt x="3072187" y="2145551"/>
                  <a:pt x="3068542" y="2143728"/>
                  <a:pt x="3063076" y="2140084"/>
                </a:cubicBezTo>
                <a:cubicBezTo>
                  <a:pt x="3064898" y="2140084"/>
                  <a:pt x="3066720" y="2138262"/>
                  <a:pt x="3064898" y="2136440"/>
                </a:cubicBezTo>
                <a:cubicBezTo>
                  <a:pt x="3063076" y="2134618"/>
                  <a:pt x="3063076" y="2132795"/>
                  <a:pt x="3061253" y="2132795"/>
                </a:cubicBezTo>
                <a:cubicBezTo>
                  <a:pt x="3059431" y="2130973"/>
                  <a:pt x="3057609" y="2134618"/>
                  <a:pt x="3057609" y="2136440"/>
                </a:cubicBezTo>
                <a:cubicBezTo>
                  <a:pt x="3048498" y="2130973"/>
                  <a:pt x="3039387" y="2127329"/>
                  <a:pt x="3030276" y="2123685"/>
                </a:cubicBezTo>
                <a:cubicBezTo>
                  <a:pt x="3032098" y="2123685"/>
                  <a:pt x="3033921" y="2123685"/>
                  <a:pt x="3033921" y="2121862"/>
                </a:cubicBezTo>
                <a:cubicBezTo>
                  <a:pt x="3033921" y="2120040"/>
                  <a:pt x="3032098" y="2116395"/>
                  <a:pt x="3030276" y="2116395"/>
                </a:cubicBezTo>
                <a:cubicBezTo>
                  <a:pt x="3026632" y="2116395"/>
                  <a:pt x="3024810" y="2120040"/>
                  <a:pt x="3026632" y="2121862"/>
                </a:cubicBezTo>
                <a:cubicBezTo>
                  <a:pt x="3026632" y="2123685"/>
                  <a:pt x="3026632" y="2123685"/>
                  <a:pt x="3026632" y="2123685"/>
                </a:cubicBezTo>
                <a:cubicBezTo>
                  <a:pt x="3021166" y="2121862"/>
                  <a:pt x="3015699" y="2120040"/>
                  <a:pt x="3010232" y="2118217"/>
                </a:cubicBezTo>
                <a:cubicBezTo>
                  <a:pt x="2955567" y="2099995"/>
                  <a:pt x="2897258" y="2099995"/>
                  <a:pt x="2838948" y="2107284"/>
                </a:cubicBezTo>
                <a:cubicBezTo>
                  <a:pt x="2798859" y="2090884"/>
                  <a:pt x="2735083" y="2059908"/>
                  <a:pt x="2715039" y="2019821"/>
                </a:cubicBezTo>
                <a:cubicBezTo>
                  <a:pt x="2736450" y="2016176"/>
                  <a:pt x="2758544" y="2014924"/>
                  <a:pt x="2780752" y="2015635"/>
                </a:cubicBezTo>
                <a:close/>
                <a:moveTo>
                  <a:pt x="3453019" y="2010742"/>
                </a:moveTo>
                <a:lnTo>
                  <a:pt x="3469419" y="2010742"/>
                </a:lnTo>
                <a:lnTo>
                  <a:pt x="3453019" y="2025327"/>
                </a:lnTo>
                <a:close/>
                <a:moveTo>
                  <a:pt x="3371023" y="1996184"/>
                </a:moveTo>
                <a:lnTo>
                  <a:pt x="3392889" y="2003478"/>
                </a:lnTo>
                <a:lnTo>
                  <a:pt x="3400178" y="2025368"/>
                </a:lnTo>
                <a:lnTo>
                  <a:pt x="3378311" y="2025368"/>
                </a:lnTo>
                <a:lnTo>
                  <a:pt x="3387422" y="2010778"/>
                </a:lnTo>
                <a:lnTo>
                  <a:pt x="3363734" y="2010778"/>
                </a:lnTo>
                <a:close/>
                <a:moveTo>
                  <a:pt x="3431154" y="1994361"/>
                </a:moveTo>
                <a:lnTo>
                  <a:pt x="3445731" y="2003467"/>
                </a:lnTo>
                <a:lnTo>
                  <a:pt x="3432976" y="2019880"/>
                </a:lnTo>
                <a:lnTo>
                  <a:pt x="3425687" y="2008937"/>
                </a:lnTo>
                <a:close/>
                <a:moveTo>
                  <a:pt x="980330" y="1987062"/>
                </a:moveTo>
                <a:lnTo>
                  <a:pt x="980330" y="2000561"/>
                </a:lnTo>
                <a:lnTo>
                  <a:pt x="987618" y="1996186"/>
                </a:lnTo>
                <a:lnTo>
                  <a:pt x="1002195" y="2003478"/>
                </a:lnTo>
                <a:lnTo>
                  <a:pt x="1016774" y="1987095"/>
                </a:lnTo>
                <a:lnTo>
                  <a:pt x="1024063" y="2001655"/>
                </a:lnTo>
                <a:cubicBezTo>
                  <a:pt x="1004018" y="2010778"/>
                  <a:pt x="1029529" y="2008949"/>
                  <a:pt x="1000374" y="2008949"/>
                </a:cubicBezTo>
                <a:cubicBezTo>
                  <a:pt x="992174" y="2008949"/>
                  <a:pt x="986707" y="2010318"/>
                  <a:pt x="983291" y="2010092"/>
                </a:cubicBezTo>
                <a:lnTo>
                  <a:pt x="978710" y="2002012"/>
                </a:lnTo>
                <a:lnTo>
                  <a:pt x="963930" y="1988882"/>
                </a:lnTo>
                <a:close/>
                <a:moveTo>
                  <a:pt x="1084194" y="1987022"/>
                </a:moveTo>
                <a:lnTo>
                  <a:pt x="1069616" y="2001598"/>
                </a:lnTo>
                <a:lnTo>
                  <a:pt x="1084194" y="2008887"/>
                </a:lnTo>
                <a:lnTo>
                  <a:pt x="1093305" y="2003420"/>
                </a:lnTo>
                <a:close/>
                <a:moveTo>
                  <a:pt x="1115171" y="1979733"/>
                </a:moveTo>
                <a:lnTo>
                  <a:pt x="1098771" y="1981554"/>
                </a:lnTo>
                <a:lnTo>
                  <a:pt x="1113349" y="1996132"/>
                </a:lnTo>
                <a:close/>
                <a:moveTo>
                  <a:pt x="3422043" y="1977967"/>
                </a:moveTo>
                <a:lnTo>
                  <a:pt x="3431154" y="1994352"/>
                </a:lnTo>
                <a:lnTo>
                  <a:pt x="3409288" y="1994352"/>
                </a:lnTo>
                <a:close/>
                <a:moveTo>
                  <a:pt x="3363734" y="1957951"/>
                </a:moveTo>
                <a:lnTo>
                  <a:pt x="3380134" y="1970690"/>
                </a:lnTo>
                <a:lnTo>
                  <a:pt x="3354623" y="1979811"/>
                </a:lnTo>
                <a:close/>
                <a:moveTo>
                  <a:pt x="1078727" y="1957866"/>
                </a:moveTo>
                <a:lnTo>
                  <a:pt x="1069616" y="1979733"/>
                </a:lnTo>
                <a:lnTo>
                  <a:pt x="1095127" y="1972444"/>
                </a:lnTo>
                <a:close/>
                <a:moveTo>
                  <a:pt x="2817081" y="1956045"/>
                </a:moveTo>
                <a:cubicBezTo>
                  <a:pt x="2838947" y="1959690"/>
                  <a:pt x="2860813" y="1961512"/>
                  <a:pt x="2880857" y="1963334"/>
                </a:cubicBezTo>
                <a:cubicBezTo>
                  <a:pt x="2942812" y="1970623"/>
                  <a:pt x="3004766" y="1972445"/>
                  <a:pt x="3072187" y="1981557"/>
                </a:cubicBezTo>
                <a:cubicBezTo>
                  <a:pt x="3145074" y="1996133"/>
                  <a:pt x="3223427" y="2019821"/>
                  <a:pt x="3289025" y="2059908"/>
                </a:cubicBezTo>
                <a:cubicBezTo>
                  <a:pt x="3289025" y="2059908"/>
                  <a:pt x="3290848" y="2061729"/>
                  <a:pt x="3290848" y="2061729"/>
                </a:cubicBezTo>
                <a:cubicBezTo>
                  <a:pt x="3221605" y="2034398"/>
                  <a:pt x="3143251" y="2023466"/>
                  <a:pt x="3068542" y="2019821"/>
                </a:cubicBezTo>
                <a:cubicBezTo>
                  <a:pt x="3068542" y="2019821"/>
                  <a:pt x="3072187" y="2027109"/>
                  <a:pt x="3074009" y="2027109"/>
                </a:cubicBezTo>
                <a:cubicBezTo>
                  <a:pt x="3094053" y="2030753"/>
                  <a:pt x="3112274" y="2030753"/>
                  <a:pt x="3132318" y="2032577"/>
                </a:cubicBezTo>
                <a:cubicBezTo>
                  <a:pt x="3154184" y="2036220"/>
                  <a:pt x="3177873" y="2043510"/>
                  <a:pt x="3199739" y="2048975"/>
                </a:cubicBezTo>
                <a:cubicBezTo>
                  <a:pt x="3228893" y="2056264"/>
                  <a:pt x="3259870" y="2065374"/>
                  <a:pt x="3289025" y="2076308"/>
                </a:cubicBezTo>
                <a:cubicBezTo>
                  <a:pt x="3267159" y="2074486"/>
                  <a:pt x="3243471" y="2074486"/>
                  <a:pt x="3221605" y="2070841"/>
                </a:cubicBezTo>
                <a:cubicBezTo>
                  <a:pt x="3179695" y="2065374"/>
                  <a:pt x="3139607" y="2048975"/>
                  <a:pt x="3099519" y="2039865"/>
                </a:cubicBezTo>
                <a:cubicBezTo>
                  <a:pt x="3097697" y="2039865"/>
                  <a:pt x="3088586" y="2041687"/>
                  <a:pt x="3094053" y="2043510"/>
                </a:cubicBezTo>
                <a:cubicBezTo>
                  <a:pt x="3130496" y="2052620"/>
                  <a:pt x="3163295" y="2067197"/>
                  <a:pt x="3199739" y="2076308"/>
                </a:cubicBezTo>
                <a:cubicBezTo>
                  <a:pt x="3236182" y="2085418"/>
                  <a:pt x="3274448" y="2081774"/>
                  <a:pt x="3310891" y="2089064"/>
                </a:cubicBezTo>
                <a:cubicBezTo>
                  <a:pt x="3285381" y="2096352"/>
                  <a:pt x="3254404" y="2101817"/>
                  <a:pt x="3228893" y="2098175"/>
                </a:cubicBezTo>
                <a:cubicBezTo>
                  <a:pt x="3197917" y="2094529"/>
                  <a:pt x="3165117" y="2081774"/>
                  <a:pt x="3137785" y="2070841"/>
                </a:cubicBezTo>
                <a:cubicBezTo>
                  <a:pt x="3134140" y="2070841"/>
                  <a:pt x="3125030" y="2072663"/>
                  <a:pt x="3130496" y="2074486"/>
                </a:cubicBezTo>
                <a:cubicBezTo>
                  <a:pt x="3181517" y="2103640"/>
                  <a:pt x="3243471" y="2114572"/>
                  <a:pt x="3299958" y="2105463"/>
                </a:cubicBezTo>
                <a:cubicBezTo>
                  <a:pt x="3287203" y="2109107"/>
                  <a:pt x="3272626" y="2112752"/>
                  <a:pt x="3259870" y="2114572"/>
                </a:cubicBezTo>
                <a:cubicBezTo>
                  <a:pt x="3254404" y="2114572"/>
                  <a:pt x="3250759" y="2114572"/>
                  <a:pt x="3247115" y="2114572"/>
                </a:cubicBezTo>
                <a:cubicBezTo>
                  <a:pt x="3212494" y="2112752"/>
                  <a:pt x="3177873" y="2098175"/>
                  <a:pt x="3145074" y="2101817"/>
                </a:cubicBezTo>
                <a:cubicBezTo>
                  <a:pt x="3139607" y="2101817"/>
                  <a:pt x="3139607" y="2109107"/>
                  <a:pt x="3143251" y="2110929"/>
                </a:cubicBezTo>
                <a:cubicBezTo>
                  <a:pt x="3166940" y="2123684"/>
                  <a:pt x="3194272" y="2130973"/>
                  <a:pt x="3221605" y="2134618"/>
                </a:cubicBezTo>
                <a:cubicBezTo>
                  <a:pt x="3207027" y="2138262"/>
                  <a:pt x="3194272" y="2136440"/>
                  <a:pt x="3179695" y="2134618"/>
                </a:cubicBezTo>
                <a:cubicBezTo>
                  <a:pt x="3146896" y="2129151"/>
                  <a:pt x="3115919" y="2112752"/>
                  <a:pt x="3083120" y="2103640"/>
                </a:cubicBezTo>
                <a:cubicBezTo>
                  <a:pt x="3081298" y="2103640"/>
                  <a:pt x="3084942" y="2112752"/>
                  <a:pt x="3086764" y="2112752"/>
                </a:cubicBezTo>
                <a:cubicBezTo>
                  <a:pt x="3110452" y="2120040"/>
                  <a:pt x="3132318" y="2132795"/>
                  <a:pt x="3156007" y="2141906"/>
                </a:cubicBezTo>
                <a:cubicBezTo>
                  <a:pt x="3106808" y="2132795"/>
                  <a:pt x="3061254" y="2116396"/>
                  <a:pt x="3019343" y="2089064"/>
                </a:cubicBezTo>
                <a:cubicBezTo>
                  <a:pt x="3006588" y="2079951"/>
                  <a:pt x="2993833" y="2070841"/>
                  <a:pt x="2982900" y="2059908"/>
                </a:cubicBezTo>
                <a:cubicBezTo>
                  <a:pt x="2982900" y="2059908"/>
                  <a:pt x="2982900" y="2058087"/>
                  <a:pt x="2981078" y="2058087"/>
                </a:cubicBezTo>
                <a:cubicBezTo>
                  <a:pt x="2966501" y="2045331"/>
                  <a:pt x="2951923" y="2032577"/>
                  <a:pt x="2935524" y="2021644"/>
                </a:cubicBezTo>
                <a:cubicBezTo>
                  <a:pt x="2899079" y="1996133"/>
                  <a:pt x="2857169" y="1976089"/>
                  <a:pt x="2817081" y="1956045"/>
                </a:cubicBezTo>
                <a:close/>
                <a:moveTo>
                  <a:pt x="3385599" y="1941539"/>
                </a:moveTo>
                <a:cubicBezTo>
                  <a:pt x="3401999" y="1954292"/>
                  <a:pt x="3396532" y="1943361"/>
                  <a:pt x="3400177" y="1963392"/>
                </a:cubicBezTo>
                <a:cubicBezTo>
                  <a:pt x="3381955" y="1952474"/>
                  <a:pt x="3391066" y="1961570"/>
                  <a:pt x="3385599" y="1941539"/>
                </a:cubicBezTo>
                <a:close/>
                <a:moveTo>
                  <a:pt x="1053217" y="1941468"/>
                </a:moveTo>
                <a:lnTo>
                  <a:pt x="1040462" y="1957866"/>
                </a:lnTo>
                <a:lnTo>
                  <a:pt x="1055040" y="1957866"/>
                </a:lnTo>
                <a:lnTo>
                  <a:pt x="1055040" y="1972444"/>
                </a:lnTo>
                <a:lnTo>
                  <a:pt x="1038639" y="1981554"/>
                </a:lnTo>
                <a:lnTo>
                  <a:pt x="1055040" y="1994309"/>
                </a:lnTo>
                <a:lnTo>
                  <a:pt x="1055040" y="1972444"/>
                </a:lnTo>
                <a:cubicBezTo>
                  <a:pt x="1073262" y="1972444"/>
                  <a:pt x="1056861" y="1946934"/>
                  <a:pt x="1053217" y="1941468"/>
                </a:cubicBezTo>
                <a:close/>
                <a:moveTo>
                  <a:pt x="3693548" y="1932443"/>
                </a:moveTo>
                <a:lnTo>
                  <a:pt x="3702659" y="1948841"/>
                </a:lnTo>
                <a:lnTo>
                  <a:pt x="3678970" y="1948841"/>
                </a:lnTo>
                <a:close/>
                <a:moveTo>
                  <a:pt x="969397" y="1927075"/>
                </a:moveTo>
                <a:lnTo>
                  <a:pt x="969397" y="1934298"/>
                </a:lnTo>
                <a:cubicBezTo>
                  <a:pt x="940241" y="1934298"/>
                  <a:pt x="951175" y="1936117"/>
                  <a:pt x="932953" y="1948871"/>
                </a:cubicBezTo>
                <a:lnTo>
                  <a:pt x="916553" y="1928838"/>
                </a:lnTo>
                <a:close/>
                <a:moveTo>
                  <a:pt x="969397" y="1927014"/>
                </a:moveTo>
                <a:lnTo>
                  <a:pt x="971219" y="1927014"/>
                </a:lnTo>
                <a:lnTo>
                  <a:pt x="969397" y="1927075"/>
                </a:lnTo>
                <a:close/>
                <a:moveTo>
                  <a:pt x="1007663" y="1903276"/>
                </a:moveTo>
                <a:lnTo>
                  <a:pt x="1018596" y="1919682"/>
                </a:lnTo>
                <a:lnTo>
                  <a:pt x="993085" y="1917864"/>
                </a:lnTo>
                <a:close/>
                <a:moveTo>
                  <a:pt x="3309068" y="1903200"/>
                </a:moveTo>
                <a:cubicBezTo>
                  <a:pt x="3305424" y="1901378"/>
                  <a:pt x="3301779" y="1906844"/>
                  <a:pt x="3307246" y="1910489"/>
                </a:cubicBezTo>
                <a:cubicBezTo>
                  <a:pt x="3310890" y="1910489"/>
                  <a:pt x="3314534" y="1905022"/>
                  <a:pt x="3309068" y="1903200"/>
                </a:cubicBezTo>
                <a:close/>
                <a:moveTo>
                  <a:pt x="3305424" y="1887293"/>
                </a:moveTo>
                <a:lnTo>
                  <a:pt x="3305424" y="1888727"/>
                </a:lnTo>
                <a:lnTo>
                  <a:pt x="3303602" y="1888727"/>
                </a:lnTo>
                <a:close/>
                <a:moveTo>
                  <a:pt x="3064896" y="1877690"/>
                </a:moveTo>
                <a:cubicBezTo>
                  <a:pt x="3132318" y="1894090"/>
                  <a:pt x="3197916" y="1923245"/>
                  <a:pt x="3258048" y="1957866"/>
                </a:cubicBezTo>
                <a:cubicBezTo>
                  <a:pt x="3267159" y="1974265"/>
                  <a:pt x="3276270" y="1992487"/>
                  <a:pt x="3281736" y="2010709"/>
                </a:cubicBezTo>
                <a:cubicBezTo>
                  <a:pt x="3281736" y="2014353"/>
                  <a:pt x="3283558" y="2019821"/>
                  <a:pt x="3285380" y="2023465"/>
                </a:cubicBezTo>
                <a:cubicBezTo>
                  <a:pt x="3281736" y="2016176"/>
                  <a:pt x="3278092" y="2008888"/>
                  <a:pt x="3274447" y="2003420"/>
                </a:cubicBezTo>
                <a:cubicBezTo>
                  <a:pt x="3267159" y="1990665"/>
                  <a:pt x="3261692" y="1976089"/>
                  <a:pt x="3250759" y="1963332"/>
                </a:cubicBezTo>
                <a:cubicBezTo>
                  <a:pt x="3248937" y="1961510"/>
                  <a:pt x="3248937" y="1968799"/>
                  <a:pt x="3250759" y="1970621"/>
                </a:cubicBezTo>
                <a:cubicBezTo>
                  <a:pt x="3261692" y="1983376"/>
                  <a:pt x="3268981" y="2001598"/>
                  <a:pt x="3276270" y="2016176"/>
                </a:cubicBezTo>
                <a:cubicBezTo>
                  <a:pt x="3278092" y="2017998"/>
                  <a:pt x="3278092" y="2021642"/>
                  <a:pt x="3279914" y="2023465"/>
                </a:cubicBezTo>
                <a:cubicBezTo>
                  <a:pt x="3276270" y="2021642"/>
                  <a:pt x="3274447" y="2017998"/>
                  <a:pt x="3272625" y="2016176"/>
                </a:cubicBezTo>
                <a:cubicBezTo>
                  <a:pt x="3258048" y="1999777"/>
                  <a:pt x="3247115" y="1979733"/>
                  <a:pt x="3228893" y="1965155"/>
                </a:cubicBezTo>
                <a:cubicBezTo>
                  <a:pt x="3225249" y="1963332"/>
                  <a:pt x="3217960" y="1965155"/>
                  <a:pt x="3221604" y="1968799"/>
                </a:cubicBezTo>
                <a:cubicBezTo>
                  <a:pt x="3236182" y="1983376"/>
                  <a:pt x="3248937" y="2001598"/>
                  <a:pt x="3259870" y="2019821"/>
                </a:cubicBezTo>
                <a:cubicBezTo>
                  <a:pt x="3254404" y="2014353"/>
                  <a:pt x="3250759" y="2008888"/>
                  <a:pt x="3245293" y="2003420"/>
                </a:cubicBezTo>
                <a:cubicBezTo>
                  <a:pt x="3228893" y="1985198"/>
                  <a:pt x="3210671" y="1970621"/>
                  <a:pt x="3190627" y="1956044"/>
                </a:cubicBezTo>
                <a:cubicBezTo>
                  <a:pt x="3185161" y="1952399"/>
                  <a:pt x="3181517" y="1959688"/>
                  <a:pt x="3185161" y="1963332"/>
                </a:cubicBezTo>
                <a:cubicBezTo>
                  <a:pt x="3196094" y="1974265"/>
                  <a:pt x="3207027" y="1983376"/>
                  <a:pt x="3216138" y="1994309"/>
                </a:cubicBezTo>
                <a:cubicBezTo>
                  <a:pt x="3212494" y="1992487"/>
                  <a:pt x="3210671" y="1990665"/>
                  <a:pt x="3208849" y="1988843"/>
                </a:cubicBezTo>
                <a:cubicBezTo>
                  <a:pt x="3188805" y="1974265"/>
                  <a:pt x="3166939" y="1963332"/>
                  <a:pt x="3146895" y="1948755"/>
                </a:cubicBezTo>
                <a:cubicBezTo>
                  <a:pt x="3143251" y="1946933"/>
                  <a:pt x="3137784" y="1950577"/>
                  <a:pt x="3141429" y="1954222"/>
                </a:cubicBezTo>
                <a:cubicBezTo>
                  <a:pt x="3161473" y="1970621"/>
                  <a:pt x="3181517" y="1981554"/>
                  <a:pt x="3199738" y="1997954"/>
                </a:cubicBezTo>
                <a:cubicBezTo>
                  <a:pt x="3203383" y="2003420"/>
                  <a:pt x="3207027" y="2007066"/>
                  <a:pt x="3212494" y="2012532"/>
                </a:cubicBezTo>
                <a:cubicBezTo>
                  <a:pt x="3196094" y="2005242"/>
                  <a:pt x="3177872" y="1997954"/>
                  <a:pt x="3159650" y="1992487"/>
                </a:cubicBezTo>
                <a:cubicBezTo>
                  <a:pt x="3121385" y="1966977"/>
                  <a:pt x="3081296" y="1926889"/>
                  <a:pt x="3064896" y="1877690"/>
                </a:cubicBezTo>
                <a:close/>
                <a:moveTo>
                  <a:pt x="645051" y="1870439"/>
                </a:moveTo>
                <a:cubicBezTo>
                  <a:pt x="645051" y="1881372"/>
                  <a:pt x="641407" y="1894126"/>
                  <a:pt x="637761" y="1903240"/>
                </a:cubicBezTo>
                <a:cubicBezTo>
                  <a:pt x="637761" y="1899596"/>
                  <a:pt x="639583" y="1894126"/>
                  <a:pt x="635939" y="1894126"/>
                </a:cubicBezTo>
                <a:cubicBezTo>
                  <a:pt x="621362" y="1895948"/>
                  <a:pt x="628650" y="1908708"/>
                  <a:pt x="615895" y="1903240"/>
                </a:cubicBezTo>
                <a:cubicBezTo>
                  <a:pt x="630473" y="1895948"/>
                  <a:pt x="641407" y="1885017"/>
                  <a:pt x="645051" y="1870439"/>
                </a:cubicBezTo>
                <a:close/>
                <a:moveTo>
                  <a:pt x="3651638" y="1866874"/>
                </a:moveTo>
                <a:lnTo>
                  <a:pt x="3682615" y="1896020"/>
                </a:lnTo>
                <a:lnTo>
                  <a:pt x="3671682" y="1919725"/>
                </a:lnTo>
                <a:lnTo>
                  <a:pt x="3642527" y="1919725"/>
                </a:lnTo>
                <a:cubicBezTo>
                  <a:pt x="3637061" y="1897843"/>
                  <a:pt x="3635238" y="1905138"/>
                  <a:pt x="3635238" y="1888739"/>
                </a:cubicBezTo>
                <a:cubicBezTo>
                  <a:pt x="3635238" y="1885097"/>
                  <a:pt x="3646171" y="1872343"/>
                  <a:pt x="3651638" y="1866874"/>
                </a:cubicBezTo>
                <a:close/>
                <a:moveTo>
                  <a:pt x="1033173" y="1866825"/>
                </a:moveTo>
                <a:lnTo>
                  <a:pt x="1024062" y="1881403"/>
                </a:lnTo>
                <a:lnTo>
                  <a:pt x="1007663" y="1868648"/>
                </a:lnTo>
                <a:close/>
                <a:moveTo>
                  <a:pt x="1093305" y="1866758"/>
                </a:moveTo>
                <a:lnTo>
                  <a:pt x="1084194" y="1881336"/>
                </a:lnTo>
                <a:lnTo>
                  <a:pt x="1100593" y="1881336"/>
                </a:lnTo>
                <a:lnTo>
                  <a:pt x="1100593" y="1897735"/>
                </a:lnTo>
                <a:lnTo>
                  <a:pt x="1116993" y="1886802"/>
                </a:lnTo>
                <a:close/>
                <a:moveTo>
                  <a:pt x="3228892" y="1864934"/>
                </a:moveTo>
                <a:cubicBezTo>
                  <a:pt x="3245292" y="1875867"/>
                  <a:pt x="3265336" y="1881334"/>
                  <a:pt x="3278091" y="1883156"/>
                </a:cubicBezTo>
                <a:cubicBezTo>
                  <a:pt x="3278091" y="1884978"/>
                  <a:pt x="3276269" y="1886800"/>
                  <a:pt x="3276269" y="1888623"/>
                </a:cubicBezTo>
                <a:cubicBezTo>
                  <a:pt x="3278091" y="1892267"/>
                  <a:pt x="3281736" y="1890445"/>
                  <a:pt x="3283558" y="1890445"/>
                </a:cubicBezTo>
                <a:cubicBezTo>
                  <a:pt x="3283558" y="1888623"/>
                  <a:pt x="3283558" y="1886800"/>
                  <a:pt x="3283558" y="1884978"/>
                </a:cubicBezTo>
                <a:cubicBezTo>
                  <a:pt x="3283558" y="1886800"/>
                  <a:pt x="3285380" y="1886800"/>
                  <a:pt x="3287202" y="1886800"/>
                </a:cubicBezTo>
                <a:cubicBezTo>
                  <a:pt x="3287202" y="1890445"/>
                  <a:pt x="3281736" y="1895911"/>
                  <a:pt x="3274447" y="1892267"/>
                </a:cubicBezTo>
                <a:cubicBezTo>
                  <a:pt x="3274447" y="1890445"/>
                  <a:pt x="3272625" y="1890445"/>
                  <a:pt x="3272625" y="1890445"/>
                </a:cubicBezTo>
                <a:lnTo>
                  <a:pt x="3268980" y="1895911"/>
                </a:lnTo>
                <a:lnTo>
                  <a:pt x="3290846" y="1895911"/>
                </a:lnTo>
                <a:lnTo>
                  <a:pt x="3305424" y="1895911"/>
                </a:lnTo>
                <a:lnTo>
                  <a:pt x="3321823" y="1917777"/>
                </a:lnTo>
                <a:cubicBezTo>
                  <a:pt x="3321823" y="1917777"/>
                  <a:pt x="3320001" y="1917777"/>
                  <a:pt x="3320001" y="1917777"/>
                </a:cubicBezTo>
                <a:cubicBezTo>
                  <a:pt x="3294491" y="1919600"/>
                  <a:pt x="3299957" y="1914133"/>
                  <a:pt x="3292668" y="1939643"/>
                </a:cubicBezTo>
                <a:lnTo>
                  <a:pt x="3309068" y="1939643"/>
                </a:lnTo>
                <a:lnTo>
                  <a:pt x="3301779" y="1954221"/>
                </a:lnTo>
                <a:lnTo>
                  <a:pt x="3323645" y="1954221"/>
                </a:lnTo>
                <a:cubicBezTo>
                  <a:pt x="3314534" y="1934177"/>
                  <a:pt x="3310890" y="1946932"/>
                  <a:pt x="3330934" y="1932355"/>
                </a:cubicBezTo>
                <a:lnTo>
                  <a:pt x="3330934" y="1946932"/>
                </a:lnTo>
                <a:lnTo>
                  <a:pt x="3345512" y="1946932"/>
                </a:lnTo>
                <a:cubicBezTo>
                  <a:pt x="3329112" y="1972443"/>
                  <a:pt x="3332756" y="1952399"/>
                  <a:pt x="3330934" y="1985198"/>
                </a:cubicBezTo>
                <a:cubicBezTo>
                  <a:pt x="3350978" y="1972443"/>
                  <a:pt x="3338223" y="1981553"/>
                  <a:pt x="3345512" y="1985198"/>
                </a:cubicBezTo>
                <a:cubicBezTo>
                  <a:pt x="3347334" y="1988842"/>
                  <a:pt x="3349156" y="1990664"/>
                  <a:pt x="3350978" y="1990664"/>
                </a:cubicBezTo>
                <a:cubicBezTo>
                  <a:pt x="3349156" y="1992486"/>
                  <a:pt x="3347334" y="1996131"/>
                  <a:pt x="3345512" y="1999775"/>
                </a:cubicBezTo>
                <a:lnTo>
                  <a:pt x="3360089" y="2007064"/>
                </a:lnTo>
                <a:lnTo>
                  <a:pt x="3367378" y="2021641"/>
                </a:lnTo>
                <a:lnTo>
                  <a:pt x="3345512" y="2021641"/>
                </a:lnTo>
                <a:lnTo>
                  <a:pt x="3350978" y="2052619"/>
                </a:lnTo>
                <a:lnTo>
                  <a:pt x="3358267" y="2052619"/>
                </a:lnTo>
                <a:lnTo>
                  <a:pt x="3358267" y="2048975"/>
                </a:lnTo>
                <a:cubicBezTo>
                  <a:pt x="3361911" y="2054440"/>
                  <a:pt x="3365555" y="2058085"/>
                  <a:pt x="3369200" y="2063551"/>
                </a:cubicBezTo>
                <a:lnTo>
                  <a:pt x="3360089" y="2074484"/>
                </a:lnTo>
                <a:lnTo>
                  <a:pt x="3364243" y="2080023"/>
                </a:lnTo>
                <a:lnTo>
                  <a:pt x="3345511" y="2063779"/>
                </a:lnTo>
                <a:cubicBezTo>
                  <a:pt x="3336400" y="2054440"/>
                  <a:pt x="3328201" y="2044419"/>
                  <a:pt x="3321823" y="2034397"/>
                </a:cubicBezTo>
                <a:lnTo>
                  <a:pt x="3336401" y="2030752"/>
                </a:lnTo>
                <a:lnTo>
                  <a:pt x="3336401" y="2023463"/>
                </a:lnTo>
                <a:lnTo>
                  <a:pt x="3312712" y="2023463"/>
                </a:lnTo>
                <a:lnTo>
                  <a:pt x="3321823" y="2008886"/>
                </a:lnTo>
                <a:lnTo>
                  <a:pt x="3299957" y="2008886"/>
                </a:lnTo>
                <a:cubicBezTo>
                  <a:pt x="3312712" y="2041685"/>
                  <a:pt x="3294491" y="2008886"/>
                  <a:pt x="3307246" y="2039863"/>
                </a:cubicBezTo>
                <a:lnTo>
                  <a:pt x="3321823" y="2036219"/>
                </a:lnTo>
                <a:cubicBezTo>
                  <a:pt x="3321823" y="2039863"/>
                  <a:pt x="3321823" y="2041685"/>
                  <a:pt x="3321823" y="2043507"/>
                </a:cubicBezTo>
                <a:cubicBezTo>
                  <a:pt x="3323645" y="2045331"/>
                  <a:pt x="3323645" y="2047152"/>
                  <a:pt x="3325468" y="2048975"/>
                </a:cubicBezTo>
                <a:lnTo>
                  <a:pt x="3321823" y="2052619"/>
                </a:lnTo>
                <a:cubicBezTo>
                  <a:pt x="3318179" y="2048975"/>
                  <a:pt x="3316357" y="2045331"/>
                  <a:pt x="3314534" y="2041685"/>
                </a:cubicBezTo>
                <a:cubicBezTo>
                  <a:pt x="3312712" y="2039863"/>
                  <a:pt x="3305424" y="2038041"/>
                  <a:pt x="3307246" y="2043507"/>
                </a:cubicBezTo>
                <a:cubicBezTo>
                  <a:pt x="3309068" y="2048975"/>
                  <a:pt x="3310890" y="2054440"/>
                  <a:pt x="3314534" y="2059907"/>
                </a:cubicBezTo>
                <a:lnTo>
                  <a:pt x="3316357" y="2059907"/>
                </a:lnTo>
                <a:cubicBezTo>
                  <a:pt x="3320001" y="2067196"/>
                  <a:pt x="3323645" y="2072662"/>
                  <a:pt x="3327290" y="2078129"/>
                </a:cubicBezTo>
                <a:lnTo>
                  <a:pt x="3325468" y="2079951"/>
                </a:lnTo>
                <a:cubicBezTo>
                  <a:pt x="3321823" y="2076306"/>
                  <a:pt x="3318179" y="2070840"/>
                  <a:pt x="3314534" y="2065373"/>
                </a:cubicBezTo>
                <a:cubicBezTo>
                  <a:pt x="3301779" y="2043507"/>
                  <a:pt x="3296313" y="2017997"/>
                  <a:pt x="3287202" y="1994309"/>
                </a:cubicBezTo>
                <a:cubicBezTo>
                  <a:pt x="3283558" y="1981553"/>
                  <a:pt x="3276269" y="1966977"/>
                  <a:pt x="3268980" y="1954221"/>
                </a:cubicBezTo>
                <a:cubicBezTo>
                  <a:pt x="3268980" y="1952399"/>
                  <a:pt x="3268980" y="1952399"/>
                  <a:pt x="3267158" y="1950577"/>
                </a:cubicBezTo>
                <a:cubicBezTo>
                  <a:pt x="3258047" y="1935999"/>
                  <a:pt x="3250758" y="1921422"/>
                  <a:pt x="3243470" y="1905022"/>
                </a:cubicBezTo>
                <a:cubicBezTo>
                  <a:pt x="3238003" y="1892267"/>
                  <a:pt x="3232537" y="1877690"/>
                  <a:pt x="3228892" y="1864934"/>
                </a:cubicBezTo>
                <a:close/>
                <a:moveTo>
                  <a:pt x="3327291" y="1859576"/>
                </a:moveTo>
                <a:lnTo>
                  <a:pt x="3343690" y="1872331"/>
                </a:lnTo>
                <a:cubicBezTo>
                  <a:pt x="3317724" y="1875066"/>
                  <a:pt x="3321482" y="1873697"/>
                  <a:pt x="3314991" y="1879761"/>
                </a:cubicBezTo>
                <a:lnTo>
                  <a:pt x="3305424" y="1887293"/>
                </a:lnTo>
                <a:lnTo>
                  <a:pt x="3305424" y="1866865"/>
                </a:lnTo>
                <a:close/>
                <a:moveTo>
                  <a:pt x="3748211" y="1857741"/>
                </a:moveTo>
                <a:cubicBezTo>
                  <a:pt x="3770077" y="1875964"/>
                  <a:pt x="3759144" y="1854098"/>
                  <a:pt x="3762789" y="1888714"/>
                </a:cubicBezTo>
                <a:cubicBezTo>
                  <a:pt x="3739100" y="1874142"/>
                  <a:pt x="3750033" y="1892359"/>
                  <a:pt x="3748211" y="1857741"/>
                </a:cubicBezTo>
                <a:close/>
                <a:moveTo>
                  <a:pt x="4404194" y="1852254"/>
                </a:moveTo>
                <a:lnTo>
                  <a:pt x="4420594" y="1865009"/>
                </a:lnTo>
                <a:lnTo>
                  <a:pt x="4404194" y="1874122"/>
                </a:lnTo>
                <a:close/>
                <a:moveTo>
                  <a:pt x="3283558" y="1837604"/>
                </a:moveTo>
                <a:lnTo>
                  <a:pt x="3284718" y="1838432"/>
                </a:lnTo>
                <a:lnTo>
                  <a:pt x="3283987" y="1838675"/>
                </a:lnTo>
                <a:close/>
                <a:moveTo>
                  <a:pt x="1098771" y="1835781"/>
                </a:moveTo>
                <a:lnTo>
                  <a:pt x="1084194" y="1852181"/>
                </a:lnTo>
                <a:lnTo>
                  <a:pt x="1098771" y="1859470"/>
                </a:lnTo>
                <a:lnTo>
                  <a:pt x="1107882" y="1852181"/>
                </a:lnTo>
                <a:close/>
                <a:moveTo>
                  <a:pt x="1129748" y="1830315"/>
                </a:moveTo>
                <a:lnTo>
                  <a:pt x="1113349" y="1832137"/>
                </a:lnTo>
                <a:lnTo>
                  <a:pt x="1129748" y="1844892"/>
                </a:lnTo>
                <a:lnTo>
                  <a:pt x="1138859" y="1861292"/>
                </a:lnTo>
                <a:lnTo>
                  <a:pt x="1151614" y="1844892"/>
                </a:lnTo>
                <a:lnTo>
                  <a:pt x="1129748" y="1844892"/>
                </a:lnTo>
                <a:close/>
                <a:moveTo>
                  <a:pt x="3294491" y="1823143"/>
                </a:moveTo>
                <a:cubicBezTo>
                  <a:pt x="3320002" y="1828607"/>
                  <a:pt x="3316357" y="1823143"/>
                  <a:pt x="3332757" y="1830430"/>
                </a:cubicBezTo>
                <a:lnTo>
                  <a:pt x="3325468" y="1845007"/>
                </a:lnTo>
                <a:lnTo>
                  <a:pt x="3325468" y="1859583"/>
                </a:lnTo>
                <a:cubicBezTo>
                  <a:pt x="3307246" y="1846829"/>
                  <a:pt x="3301780" y="1846829"/>
                  <a:pt x="3294491" y="1823143"/>
                </a:cubicBezTo>
                <a:close/>
                <a:moveTo>
                  <a:pt x="1025884" y="1804912"/>
                </a:moveTo>
                <a:lnTo>
                  <a:pt x="1049573" y="1826775"/>
                </a:lnTo>
                <a:lnTo>
                  <a:pt x="1018596" y="1835885"/>
                </a:lnTo>
                <a:cubicBezTo>
                  <a:pt x="1031350" y="1803090"/>
                  <a:pt x="1013129" y="1835885"/>
                  <a:pt x="1025884" y="1804912"/>
                </a:cubicBezTo>
                <a:close/>
                <a:moveTo>
                  <a:pt x="3239826" y="1804805"/>
                </a:moveTo>
                <a:lnTo>
                  <a:pt x="3225248" y="1819382"/>
                </a:lnTo>
                <a:lnTo>
                  <a:pt x="3250759" y="1821204"/>
                </a:lnTo>
                <a:close/>
                <a:moveTo>
                  <a:pt x="3281737" y="1791915"/>
                </a:moveTo>
                <a:lnTo>
                  <a:pt x="3281737" y="1792168"/>
                </a:lnTo>
                <a:lnTo>
                  <a:pt x="3279914" y="1792168"/>
                </a:lnTo>
                <a:close/>
                <a:moveTo>
                  <a:pt x="3168761" y="1786583"/>
                </a:moveTo>
                <a:cubicBezTo>
                  <a:pt x="3166939" y="1788405"/>
                  <a:pt x="3163294" y="1786583"/>
                  <a:pt x="3181516" y="1799338"/>
                </a:cubicBezTo>
                <a:lnTo>
                  <a:pt x="3183338" y="1795694"/>
                </a:lnTo>
                <a:cubicBezTo>
                  <a:pt x="3177872" y="1792049"/>
                  <a:pt x="3172405" y="1790227"/>
                  <a:pt x="3168761" y="1786583"/>
                </a:cubicBezTo>
                <a:close/>
                <a:moveTo>
                  <a:pt x="3210671" y="1784761"/>
                </a:moveTo>
                <a:lnTo>
                  <a:pt x="3219782" y="1799338"/>
                </a:lnTo>
                <a:lnTo>
                  <a:pt x="3230715" y="1788405"/>
                </a:lnTo>
                <a:cubicBezTo>
                  <a:pt x="3230715" y="1788405"/>
                  <a:pt x="3230715" y="1786583"/>
                  <a:pt x="3230715" y="1784761"/>
                </a:cubicBezTo>
                <a:close/>
                <a:moveTo>
                  <a:pt x="603140" y="1784761"/>
                </a:moveTo>
                <a:cubicBezTo>
                  <a:pt x="586741" y="1801160"/>
                  <a:pt x="579452" y="1819382"/>
                  <a:pt x="575808" y="1839426"/>
                </a:cubicBezTo>
                <a:cubicBezTo>
                  <a:pt x="595852" y="1824848"/>
                  <a:pt x="612251" y="1804805"/>
                  <a:pt x="603140" y="1784761"/>
                </a:cubicBezTo>
                <a:close/>
                <a:moveTo>
                  <a:pt x="554983" y="1784592"/>
                </a:moveTo>
                <a:lnTo>
                  <a:pt x="539592" y="1796832"/>
                </a:lnTo>
                <a:cubicBezTo>
                  <a:pt x="531165" y="1805716"/>
                  <a:pt x="523875" y="1815738"/>
                  <a:pt x="517498" y="1826671"/>
                </a:cubicBezTo>
                <a:cubicBezTo>
                  <a:pt x="517498" y="1826671"/>
                  <a:pt x="517498" y="1824848"/>
                  <a:pt x="517498" y="1823026"/>
                </a:cubicBezTo>
                <a:cubicBezTo>
                  <a:pt x="515676" y="1823026"/>
                  <a:pt x="513853" y="1824848"/>
                  <a:pt x="513853" y="1824848"/>
                </a:cubicBezTo>
                <a:cubicBezTo>
                  <a:pt x="519320" y="1815738"/>
                  <a:pt x="530253" y="1810271"/>
                  <a:pt x="532075" y="1801160"/>
                </a:cubicBezTo>
                <a:cubicBezTo>
                  <a:pt x="515676" y="1801160"/>
                  <a:pt x="504743" y="1810271"/>
                  <a:pt x="493809" y="1819382"/>
                </a:cubicBezTo>
                <a:cubicBezTo>
                  <a:pt x="502920" y="1799338"/>
                  <a:pt x="528431" y="1804805"/>
                  <a:pt x="543008" y="1790227"/>
                </a:cubicBezTo>
                <a:cubicBezTo>
                  <a:pt x="541186" y="1790227"/>
                  <a:pt x="537542" y="1788405"/>
                  <a:pt x="535719" y="1788405"/>
                </a:cubicBezTo>
                <a:close/>
                <a:moveTo>
                  <a:pt x="559180" y="1781255"/>
                </a:moveTo>
                <a:lnTo>
                  <a:pt x="557586" y="1784077"/>
                </a:lnTo>
                <a:lnTo>
                  <a:pt x="554983" y="1784592"/>
                </a:lnTo>
                <a:close/>
                <a:moveTo>
                  <a:pt x="594030" y="1772005"/>
                </a:moveTo>
                <a:lnTo>
                  <a:pt x="590385" y="1775042"/>
                </a:lnTo>
                <a:lnTo>
                  <a:pt x="590385" y="1773827"/>
                </a:lnTo>
                <a:cubicBezTo>
                  <a:pt x="586741" y="1773827"/>
                  <a:pt x="586741" y="1779294"/>
                  <a:pt x="583096" y="1781116"/>
                </a:cubicBezTo>
                <a:lnTo>
                  <a:pt x="590385" y="1775042"/>
                </a:lnTo>
                <a:lnTo>
                  <a:pt x="590385" y="1777472"/>
                </a:lnTo>
                <a:cubicBezTo>
                  <a:pt x="592207" y="1775650"/>
                  <a:pt x="592207" y="1773827"/>
                  <a:pt x="594030" y="1772005"/>
                </a:cubicBezTo>
                <a:close/>
                <a:moveTo>
                  <a:pt x="1151614" y="1770183"/>
                </a:moveTo>
                <a:lnTo>
                  <a:pt x="1151614" y="1784761"/>
                </a:lnTo>
                <a:lnTo>
                  <a:pt x="1129748" y="1784761"/>
                </a:lnTo>
                <a:lnTo>
                  <a:pt x="1129748" y="1792049"/>
                </a:lnTo>
                <a:lnTo>
                  <a:pt x="1153436" y="1792049"/>
                </a:lnTo>
                <a:cubicBezTo>
                  <a:pt x="1182592" y="1792049"/>
                  <a:pt x="1155259" y="1793871"/>
                  <a:pt x="1173481" y="1784761"/>
                </a:cubicBezTo>
                <a:cubicBezTo>
                  <a:pt x="1162547" y="1768361"/>
                  <a:pt x="1173481" y="1775650"/>
                  <a:pt x="1151614" y="1770183"/>
                </a:cubicBezTo>
                <a:close/>
                <a:moveTo>
                  <a:pt x="3170583" y="1768361"/>
                </a:moveTo>
                <a:cubicBezTo>
                  <a:pt x="3170583" y="1773827"/>
                  <a:pt x="3176050" y="1773827"/>
                  <a:pt x="3177872" y="1775650"/>
                </a:cubicBezTo>
                <a:cubicBezTo>
                  <a:pt x="3179694" y="1772005"/>
                  <a:pt x="3181516" y="1772005"/>
                  <a:pt x="3183338" y="1768361"/>
                </a:cubicBezTo>
                <a:close/>
                <a:moveTo>
                  <a:pt x="3305425" y="1763015"/>
                </a:moveTo>
                <a:lnTo>
                  <a:pt x="3325469" y="1770302"/>
                </a:lnTo>
                <a:cubicBezTo>
                  <a:pt x="3313169" y="1779864"/>
                  <a:pt x="3310094" y="1786360"/>
                  <a:pt x="3297025" y="1789775"/>
                </a:cubicBezTo>
                <a:lnTo>
                  <a:pt x="3281737" y="1791915"/>
                </a:lnTo>
                <a:lnTo>
                  <a:pt x="3281737" y="1775763"/>
                </a:lnTo>
                <a:lnTo>
                  <a:pt x="3296314" y="1768481"/>
                </a:lnTo>
                <a:close/>
                <a:moveTo>
                  <a:pt x="3363735" y="1761180"/>
                </a:moveTo>
                <a:lnTo>
                  <a:pt x="3371023" y="1784865"/>
                </a:lnTo>
                <a:lnTo>
                  <a:pt x="3361912" y="1790333"/>
                </a:lnTo>
                <a:lnTo>
                  <a:pt x="3341868" y="1770289"/>
                </a:lnTo>
                <a:close/>
                <a:moveTo>
                  <a:pt x="610429" y="1755606"/>
                </a:moveTo>
                <a:cubicBezTo>
                  <a:pt x="606784" y="1757428"/>
                  <a:pt x="601318" y="1764717"/>
                  <a:pt x="599496" y="1770183"/>
                </a:cubicBezTo>
                <a:cubicBezTo>
                  <a:pt x="604963" y="1768361"/>
                  <a:pt x="608606" y="1759250"/>
                  <a:pt x="610429" y="1755606"/>
                </a:cubicBezTo>
                <a:close/>
                <a:moveTo>
                  <a:pt x="3296314" y="1746591"/>
                </a:moveTo>
                <a:lnTo>
                  <a:pt x="3296314" y="1768456"/>
                </a:lnTo>
                <a:lnTo>
                  <a:pt x="3270803" y="1748413"/>
                </a:lnTo>
                <a:close/>
                <a:moveTo>
                  <a:pt x="1175303" y="1739206"/>
                </a:moveTo>
                <a:lnTo>
                  <a:pt x="1175303" y="1761072"/>
                </a:lnTo>
                <a:lnTo>
                  <a:pt x="1197169" y="1739206"/>
                </a:lnTo>
                <a:close/>
                <a:moveTo>
                  <a:pt x="626828" y="1737417"/>
                </a:moveTo>
                <a:cubicBezTo>
                  <a:pt x="626828" y="1739238"/>
                  <a:pt x="626828" y="1739238"/>
                  <a:pt x="626828" y="1739238"/>
                </a:cubicBezTo>
                <a:cubicBezTo>
                  <a:pt x="625005" y="1741061"/>
                  <a:pt x="625005" y="1741061"/>
                  <a:pt x="623183" y="1742883"/>
                </a:cubicBezTo>
                <a:cubicBezTo>
                  <a:pt x="623183" y="1742883"/>
                  <a:pt x="625005" y="1741061"/>
                  <a:pt x="626828" y="1737417"/>
                </a:cubicBezTo>
                <a:close/>
                <a:moveTo>
                  <a:pt x="3241648" y="1722807"/>
                </a:moveTo>
                <a:cubicBezTo>
                  <a:pt x="3239826" y="1724629"/>
                  <a:pt x="3239826" y="1728273"/>
                  <a:pt x="3241648" y="1731918"/>
                </a:cubicBezTo>
                <a:lnTo>
                  <a:pt x="3245292" y="1731918"/>
                </a:lnTo>
                <a:cubicBezTo>
                  <a:pt x="3245292" y="1728273"/>
                  <a:pt x="3245292" y="1726451"/>
                  <a:pt x="3241648" y="1722807"/>
                </a:cubicBezTo>
                <a:close/>
                <a:moveTo>
                  <a:pt x="1169836" y="1719162"/>
                </a:moveTo>
                <a:lnTo>
                  <a:pt x="1169836" y="1722807"/>
                </a:lnTo>
                <a:lnTo>
                  <a:pt x="1175303" y="1720984"/>
                </a:lnTo>
                <a:cubicBezTo>
                  <a:pt x="1171658" y="1720984"/>
                  <a:pt x="1169836" y="1720984"/>
                  <a:pt x="1169836" y="1719162"/>
                </a:cubicBezTo>
                <a:close/>
                <a:moveTo>
                  <a:pt x="899857" y="1714248"/>
                </a:moveTo>
                <a:lnTo>
                  <a:pt x="895371" y="1717568"/>
                </a:lnTo>
                <a:cubicBezTo>
                  <a:pt x="889221" y="1720984"/>
                  <a:pt x="882844" y="1723718"/>
                  <a:pt x="876466" y="1726451"/>
                </a:cubicBezTo>
                <a:close/>
                <a:moveTo>
                  <a:pt x="3225248" y="1713696"/>
                </a:moveTo>
                <a:cubicBezTo>
                  <a:pt x="3227071" y="1719162"/>
                  <a:pt x="3230715" y="1719162"/>
                  <a:pt x="3232537" y="1722807"/>
                </a:cubicBezTo>
                <a:cubicBezTo>
                  <a:pt x="3230715" y="1722807"/>
                  <a:pt x="3228893" y="1720984"/>
                  <a:pt x="3227071" y="1720984"/>
                </a:cubicBezTo>
                <a:cubicBezTo>
                  <a:pt x="3228893" y="1726451"/>
                  <a:pt x="3228893" y="1730095"/>
                  <a:pt x="3230715" y="1733740"/>
                </a:cubicBezTo>
                <a:lnTo>
                  <a:pt x="3234359" y="1733740"/>
                </a:lnTo>
                <a:cubicBezTo>
                  <a:pt x="3232537" y="1730095"/>
                  <a:pt x="3230715" y="1726451"/>
                  <a:pt x="3234359" y="1724629"/>
                </a:cubicBezTo>
                <a:cubicBezTo>
                  <a:pt x="3234359" y="1717340"/>
                  <a:pt x="3232537" y="1713696"/>
                  <a:pt x="3225248" y="1713696"/>
                </a:cubicBezTo>
                <a:close/>
                <a:moveTo>
                  <a:pt x="1166192" y="1713696"/>
                </a:moveTo>
                <a:lnTo>
                  <a:pt x="1166192" y="1715518"/>
                </a:lnTo>
                <a:cubicBezTo>
                  <a:pt x="1168014" y="1715518"/>
                  <a:pt x="1169836" y="1717340"/>
                  <a:pt x="1171658" y="1717340"/>
                </a:cubicBezTo>
                <a:cubicBezTo>
                  <a:pt x="1169836" y="1717340"/>
                  <a:pt x="1168014" y="1715518"/>
                  <a:pt x="1166192" y="1713696"/>
                </a:cubicBezTo>
                <a:close/>
                <a:moveTo>
                  <a:pt x="3238003" y="1710051"/>
                </a:moveTo>
                <a:cubicBezTo>
                  <a:pt x="3239826" y="1711874"/>
                  <a:pt x="3243470" y="1711874"/>
                  <a:pt x="3243470" y="1715518"/>
                </a:cubicBezTo>
                <a:lnTo>
                  <a:pt x="3239691" y="1714573"/>
                </a:lnTo>
                <a:lnTo>
                  <a:pt x="3237761" y="1710536"/>
                </a:lnTo>
                <a:close/>
                <a:moveTo>
                  <a:pt x="1019618" y="1709184"/>
                </a:moveTo>
                <a:lnTo>
                  <a:pt x="1014951" y="1712101"/>
                </a:lnTo>
                <a:cubicBezTo>
                  <a:pt x="1011762" y="1713696"/>
                  <a:pt x="1008573" y="1714607"/>
                  <a:pt x="1005840" y="1713696"/>
                </a:cubicBezTo>
                <a:close/>
                <a:moveTo>
                  <a:pt x="772603" y="1708264"/>
                </a:moveTo>
                <a:cubicBezTo>
                  <a:pt x="761670" y="1711910"/>
                  <a:pt x="748914" y="1717377"/>
                  <a:pt x="737981" y="1722843"/>
                </a:cubicBezTo>
                <a:cubicBezTo>
                  <a:pt x="739803" y="1721020"/>
                  <a:pt x="739803" y="1717377"/>
                  <a:pt x="734336" y="1717377"/>
                </a:cubicBezTo>
                <a:cubicBezTo>
                  <a:pt x="747091" y="1715554"/>
                  <a:pt x="759848" y="1711910"/>
                  <a:pt x="772603" y="1708264"/>
                </a:cubicBezTo>
                <a:close/>
                <a:moveTo>
                  <a:pt x="464655" y="1708229"/>
                </a:moveTo>
                <a:cubicBezTo>
                  <a:pt x="462832" y="1710051"/>
                  <a:pt x="461010" y="1713696"/>
                  <a:pt x="459188" y="1710051"/>
                </a:cubicBezTo>
                <a:cubicBezTo>
                  <a:pt x="461010" y="1710051"/>
                  <a:pt x="461010" y="1706407"/>
                  <a:pt x="464655" y="1708229"/>
                </a:cubicBezTo>
                <a:close/>
                <a:moveTo>
                  <a:pt x="464914" y="1706719"/>
                </a:moveTo>
                <a:lnTo>
                  <a:pt x="455544" y="1710051"/>
                </a:lnTo>
                <a:lnTo>
                  <a:pt x="456923" y="1708317"/>
                </a:lnTo>
                <a:close/>
                <a:moveTo>
                  <a:pt x="465861" y="1706306"/>
                </a:moveTo>
                <a:lnTo>
                  <a:pt x="466478" y="1706407"/>
                </a:lnTo>
                <a:lnTo>
                  <a:pt x="464914" y="1706719"/>
                </a:lnTo>
                <a:lnTo>
                  <a:pt x="465794" y="1706407"/>
                </a:lnTo>
                <a:close/>
                <a:moveTo>
                  <a:pt x="461751" y="1705638"/>
                </a:moveTo>
                <a:lnTo>
                  <a:pt x="462804" y="1705809"/>
                </a:lnTo>
                <a:lnTo>
                  <a:pt x="461010" y="1706407"/>
                </a:lnTo>
                <a:close/>
                <a:moveTo>
                  <a:pt x="1138859" y="1705496"/>
                </a:moveTo>
                <a:lnTo>
                  <a:pt x="1141045" y="1707955"/>
                </a:lnTo>
                <a:lnTo>
                  <a:pt x="1140681" y="1708229"/>
                </a:lnTo>
                <a:cubicBezTo>
                  <a:pt x="1140681" y="1708229"/>
                  <a:pt x="1138859" y="1708229"/>
                  <a:pt x="1138859" y="1708229"/>
                </a:cubicBezTo>
                <a:close/>
                <a:moveTo>
                  <a:pt x="452986" y="1704966"/>
                </a:moveTo>
                <a:lnTo>
                  <a:pt x="450077" y="1708229"/>
                </a:lnTo>
                <a:lnTo>
                  <a:pt x="449775" y="1707730"/>
                </a:lnTo>
                <a:close/>
                <a:moveTo>
                  <a:pt x="456683" y="1704813"/>
                </a:moveTo>
                <a:lnTo>
                  <a:pt x="459364" y="1705249"/>
                </a:lnTo>
                <a:lnTo>
                  <a:pt x="456923" y="1708317"/>
                </a:lnTo>
                <a:lnTo>
                  <a:pt x="448256" y="1710051"/>
                </a:lnTo>
                <a:cubicBezTo>
                  <a:pt x="450988" y="1706407"/>
                  <a:pt x="453722" y="1705040"/>
                  <a:pt x="456683" y="1704813"/>
                </a:cubicBezTo>
                <a:close/>
                <a:moveTo>
                  <a:pt x="830912" y="1704619"/>
                </a:moveTo>
                <a:cubicBezTo>
                  <a:pt x="827267" y="1706442"/>
                  <a:pt x="825445" y="1708265"/>
                  <a:pt x="823623" y="1710087"/>
                </a:cubicBezTo>
                <a:cubicBezTo>
                  <a:pt x="821800" y="1710087"/>
                  <a:pt x="821800" y="1710087"/>
                  <a:pt x="819978" y="1710087"/>
                </a:cubicBezTo>
                <a:lnTo>
                  <a:pt x="819978" y="1713732"/>
                </a:lnTo>
                <a:cubicBezTo>
                  <a:pt x="809045" y="1713732"/>
                  <a:pt x="798112" y="1719198"/>
                  <a:pt x="787179" y="1719198"/>
                </a:cubicBezTo>
                <a:cubicBezTo>
                  <a:pt x="792646" y="1717377"/>
                  <a:pt x="798112" y="1715554"/>
                  <a:pt x="801757" y="1713732"/>
                </a:cubicBezTo>
                <a:cubicBezTo>
                  <a:pt x="810867" y="1711910"/>
                  <a:pt x="819978" y="1710087"/>
                  <a:pt x="830912" y="1704619"/>
                </a:cubicBezTo>
                <a:close/>
                <a:moveTo>
                  <a:pt x="1116651" y="1704471"/>
                </a:moveTo>
                <a:lnTo>
                  <a:pt x="1118815" y="1704585"/>
                </a:lnTo>
                <a:cubicBezTo>
                  <a:pt x="1118815" y="1704585"/>
                  <a:pt x="1118815" y="1704585"/>
                  <a:pt x="1116993" y="1704585"/>
                </a:cubicBezTo>
                <a:close/>
                <a:moveTo>
                  <a:pt x="467182" y="1704350"/>
                </a:moveTo>
                <a:lnTo>
                  <a:pt x="465861" y="1706306"/>
                </a:lnTo>
                <a:lnTo>
                  <a:pt x="462804" y="1705809"/>
                </a:lnTo>
                <a:close/>
                <a:moveTo>
                  <a:pt x="1111526" y="1702763"/>
                </a:moveTo>
                <a:lnTo>
                  <a:pt x="1116651" y="1704471"/>
                </a:lnTo>
                <a:lnTo>
                  <a:pt x="1114487" y="1704357"/>
                </a:lnTo>
                <a:cubicBezTo>
                  <a:pt x="1112893" y="1704129"/>
                  <a:pt x="1111526" y="1703674"/>
                  <a:pt x="1111526" y="1702763"/>
                </a:cubicBezTo>
                <a:close/>
                <a:moveTo>
                  <a:pt x="455162" y="1702524"/>
                </a:moveTo>
                <a:lnTo>
                  <a:pt x="455544" y="1702763"/>
                </a:lnTo>
                <a:lnTo>
                  <a:pt x="452986" y="1704966"/>
                </a:lnTo>
                <a:close/>
                <a:moveTo>
                  <a:pt x="1089266" y="1702319"/>
                </a:moveTo>
                <a:lnTo>
                  <a:pt x="1091484" y="1702763"/>
                </a:lnTo>
                <a:lnTo>
                  <a:pt x="1088893" y="1703626"/>
                </a:lnTo>
                <a:close/>
                <a:moveTo>
                  <a:pt x="469536" y="1701949"/>
                </a:moveTo>
                <a:lnTo>
                  <a:pt x="468526" y="1703901"/>
                </a:lnTo>
                <a:lnTo>
                  <a:pt x="467182" y="1704350"/>
                </a:lnTo>
                <a:lnTo>
                  <a:pt x="468709" y="1702087"/>
                </a:lnTo>
                <a:close/>
                <a:moveTo>
                  <a:pt x="445768" y="1701106"/>
                </a:moveTo>
                <a:lnTo>
                  <a:pt x="449775" y="1707730"/>
                </a:lnTo>
                <a:lnTo>
                  <a:pt x="447344" y="1709824"/>
                </a:lnTo>
                <a:cubicBezTo>
                  <a:pt x="444155" y="1711874"/>
                  <a:pt x="440966" y="1713696"/>
                  <a:pt x="439145" y="1715518"/>
                </a:cubicBezTo>
                <a:lnTo>
                  <a:pt x="440551" y="1707075"/>
                </a:lnTo>
                <a:lnTo>
                  <a:pt x="442788" y="1702990"/>
                </a:lnTo>
                <a:lnTo>
                  <a:pt x="443551" y="1702130"/>
                </a:lnTo>
                <a:close/>
                <a:moveTo>
                  <a:pt x="3272626" y="1701035"/>
                </a:moveTo>
                <a:lnTo>
                  <a:pt x="3279914" y="1722904"/>
                </a:lnTo>
                <a:lnTo>
                  <a:pt x="3258048" y="1722904"/>
                </a:lnTo>
                <a:cubicBezTo>
                  <a:pt x="3267159" y="1708324"/>
                  <a:pt x="3261693" y="1704678"/>
                  <a:pt x="3259870" y="1704678"/>
                </a:cubicBezTo>
                <a:cubicBezTo>
                  <a:pt x="3259870" y="1704678"/>
                  <a:pt x="3265337" y="1702856"/>
                  <a:pt x="3272626" y="1701035"/>
                </a:cubicBezTo>
                <a:close/>
                <a:moveTo>
                  <a:pt x="1089660" y="1700941"/>
                </a:moveTo>
                <a:cubicBezTo>
                  <a:pt x="1091484" y="1702763"/>
                  <a:pt x="1091484" y="1702763"/>
                  <a:pt x="1093305" y="1702763"/>
                </a:cubicBezTo>
                <a:lnTo>
                  <a:pt x="1089329" y="1702100"/>
                </a:lnTo>
                <a:close/>
                <a:moveTo>
                  <a:pt x="1082373" y="1700941"/>
                </a:moveTo>
                <a:lnTo>
                  <a:pt x="1089329" y="1702100"/>
                </a:lnTo>
                <a:lnTo>
                  <a:pt x="1089266" y="1702319"/>
                </a:lnTo>
                <a:close/>
                <a:moveTo>
                  <a:pt x="470541" y="1700006"/>
                </a:moveTo>
                <a:lnTo>
                  <a:pt x="475589" y="1700941"/>
                </a:lnTo>
                <a:lnTo>
                  <a:pt x="469536" y="1701949"/>
                </a:lnTo>
                <a:close/>
                <a:moveTo>
                  <a:pt x="1093305" y="1699899"/>
                </a:moveTo>
                <a:lnTo>
                  <a:pt x="1093305" y="1700941"/>
                </a:lnTo>
                <a:cubicBezTo>
                  <a:pt x="1091484" y="1700941"/>
                  <a:pt x="1091484" y="1700941"/>
                  <a:pt x="1089660" y="1700941"/>
                </a:cubicBezTo>
                <a:close/>
                <a:moveTo>
                  <a:pt x="469438" y="1699802"/>
                </a:moveTo>
                <a:lnTo>
                  <a:pt x="470162" y="1699936"/>
                </a:lnTo>
                <a:lnTo>
                  <a:pt x="468709" y="1702087"/>
                </a:lnTo>
                <a:lnTo>
                  <a:pt x="464655" y="1702763"/>
                </a:lnTo>
                <a:cubicBezTo>
                  <a:pt x="465566" y="1700029"/>
                  <a:pt x="467388" y="1699574"/>
                  <a:pt x="469438" y="1699802"/>
                </a:cubicBezTo>
                <a:close/>
                <a:moveTo>
                  <a:pt x="3194271" y="1699118"/>
                </a:moveTo>
                <a:lnTo>
                  <a:pt x="3183338" y="1713696"/>
                </a:lnTo>
                <a:lnTo>
                  <a:pt x="3188805" y="1720984"/>
                </a:lnTo>
                <a:lnTo>
                  <a:pt x="3190627" y="1720984"/>
                </a:lnTo>
                <a:lnTo>
                  <a:pt x="3203382" y="1735562"/>
                </a:lnTo>
                <a:cubicBezTo>
                  <a:pt x="3203382" y="1730095"/>
                  <a:pt x="3197916" y="1722807"/>
                  <a:pt x="3190627" y="1720984"/>
                </a:cubicBezTo>
                <a:lnTo>
                  <a:pt x="3197916" y="1720984"/>
                </a:lnTo>
                <a:cubicBezTo>
                  <a:pt x="3196093" y="1713696"/>
                  <a:pt x="3194271" y="1706407"/>
                  <a:pt x="3194271" y="1699118"/>
                </a:cubicBezTo>
                <a:close/>
                <a:moveTo>
                  <a:pt x="1164370" y="1699118"/>
                </a:moveTo>
                <a:cubicBezTo>
                  <a:pt x="1164370" y="1700941"/>
                  <a:pt x="1169836" y="1702763"/>
                  <a:pt x="1171658" y="1704585"/>
                </a:cubicBezTo>
                <a:cubicBezTo>
                  <a:pt x="1171658" y="1702763"/>
                  <a:pt x="1169836" y="1702763"/>
                  <a:pt x="1171658" y="1700941"/>
                </a:cubicBezTo>
                <a:cubicBezTo>
                  <a:pt x="1171658" y="1706407"/>
                  <a:pt x="1175303" y="1708229"/>
                  <a:pt x="1178947" y="1708229"/>
                </a:cubicBezTo>
                <a:lnTo>
                  <a:pt x="1180769" y="1700941"/>
                </a:lnTo>
                <a:cubicBezTo>
                  <a:pt x="1175303" y="1699118"/>
                  <a:pt x="1168014" y="1700941"/>
                  <a:pt x="1164370" y="1699118"/>
                </a:cubicBezTo>
                <a:close/>
                <a:moveTo>
                  <a:pt x="1120637" y="1699118"/>
                </a:moveTo>
                <a:cubicBezTo>
                  <a:pt x="1124282" y="1699118"/>
                  <a:pt x="1126104" y="1699118"/>
                  <a:pt x="1129748" y="1700941"/>
                </a:cubicBezTo>
                <a:lnTo>
                  <a:pt x="1122459" y="1700941"/>
                </a:lnTo>
                <a:cubicBezTo>
                  <a:pt x="1122459" y="1700941"/>
                  <a:pt x="1122459" y="1699118"/>
                  <a:pt x="1120637" y="1699118"/>
                </a:cubicBezTo>
                <a:close/>
                <a:moveTo>
                  <a:pt x="1048598" y="1699118"/>
                </a:moveTo>
                <a:lnTo>
                  <a:pt x="1055040" y="1699118"/>
                </a:lnTo>
                <a:cubicBezTo>
                  <a:pt x="1054128" y="1700029"/>
                  <a:pt x="1051850" y="1700485"/>
                  <a:pt x="1049572" y="1700485"/>
                </a:cubicBezTo>
                <a:lnTo>
                  <a:pt x="1046761" y="1699782"/>
                </a:lnTo>
                <a:close/>
                <a:moveTo>
                  <a:pt x="471681" y="1697686"/>
                </a:moveTo>
                <a:lnTo>
                  <a:pt x="471734" y="1697699"/>
                </a:lnTo>
                <a:lnTo>
                  <a:pt x="470541" y="1700006"/>
                </a:lnTo>
                <a:lnTo>
                  <a:pt x="470162" y="1699936"/>
                </a:lnTo>
                <a:close/>
                <a:moveTo>
                  <a:pt x="1114314" y="1697510"/>
                </a:moveTo>
                <a:lnTo>
                  <a:pt x="1115692" y="1697816"/>
                </a:lnTo>
                <a:lnTo>
                  <a:pt x="1120637" y="1702763"/>
                </a:lnTo>
                <a:lnTo>
                  <a:pt x="1115171" y="1700941"/>
                </a:lnTo>
                <a:lnTo>
                  <a:pt x="1107882" y="1699118"/>
                </a:lnTo>
                <a:close/>
                <a:moveTo>
                  <a:pt x="1138859" y="1697296"/>
                </a:moveTo>
                <a:lnTo>
                  <a:pt x="1138859" y="1699118"/>
                </a:lnTo>
                <a:cubicBezTo>
                  <a:pt x="1140681" y="1699118"/>
                  <a:pt x="1140681" y="1699118"/>
                  <a:pt x="1142503" y="1699118"/>
                </a:cubicBezTo>
                <a:cubicBezTo>
                  <a:pt x="1140681" y="1699118"/>
                  <a:pt x="1140681" y="1699118"/>
                  <a:pt x="1138859" y="1697296"/>
                </a:cubicBezTo>
                <a:close/>
                <a:moveTo>
                  <a:pt x="1129748" y="1697296"/>
                </a:moveTo>
                <a:lnTo>
                  <a:pt x="1130659" y="1697296"/>
                </a:lnTo>
                <a:lnTo>
                  <a:pt x="1129748" y="1699118"/>
                </a:lnTo>
                <a:close/>
                <a:moveTo>
                  <a:pt x="1119162" y="1696094"/>
                </a:moveTo>
                <a:lnTo>
                  <a:pt x="1129748" y="1699118"/>
                </a:lnTo>
                <a:lnTo>
                  <a:pt x="1129748" y="1700941"/>
                </a:lnTo>
                <a:lnTo>
                  <a:pt x="1115692" y="1697816"/>
                </a:lnTo>
                <a:lnTo>
                  <a:pt x="1115171" y="1697296"/>
                </a:lnTo>
                <a:lnTo>
                  <a:pt x="1114314" y="1697510"/>
                </a:lnTo>
                <a:lnTo>
                  <a:pt x="1113349" y="1697296"/>
                </a:lnTo>
                <a:close/>
                <a:moveTo>
                  <a:pt x="1116993" y="1695474"/>
                </a:moveTo>
                <a:lnTo>
                  <a:pt x="1123370" y="1695474"/>
                </a:lnTo>
                <a:lnTo>
                  <a:pt x="1127926" y="1697296"/>
                </a:lnTo>
                <a:cubicBezTo>
                  <a:pt x="1125192" y="1699118"/>
                  <a:pt x="1122459" y="1697296"/>
                  <a:pt x="1119955" y="1695930"/>
                </a:cubicBezTo>
                <a:lnTo>
                  <a:pt x="1119162" y="1696094"/>
                </a:lnTo>
                <a:close/>
                <a:moveTo>
                  <a:pt x="3214487" y="1695347"/>
                </a:moveTo>
                <a:lnTo>
                  <a:pt x="3215454" y="1695474"/>
                </a:lnTo>
                <a:lnTo>
                  <a:pt x="3216542" y="1696284"/>
                </a:lnTo>
                <a:lnTo>
                  <a:pt x="3214543" y="1695474"/>
                </a:lnTo>
                <a:close/>
                <a:moveTo>
                  <a:pt x="680005" y="1693940"/>
                </a:moveTo>
                <a:lnTo>
                  <a:pt x="681038" y="1709368"/>
                </a:lnTo>
                <a:cubicBezTo>
                  <a:pt x="682860" y="1721895"/>
                  <a:pt x="686050" y="1734650"/>
                  <a:pt x="686960" y="1748317"/>
                </a:cubicBezTo>
                <a:cubicBezTo>
                  <a:pt x="683316" y="1737384"/>
                  <a:pt x="685138" y="1715518"/>
                  <a:pt x="668738" y="1713696"/>
                </a:cubicBezTo>
                <a:cubicBezTo>
                  <a:pt x="673293" y="1710962"/>
                  <a:pt x="676140" y="1707660"/>
                  <a:pt x="677877" y="1704015"/>
                </a:cubicBezTo>
                <a:close/>
                <a:moveTo>
                  <a:pt x="3152361" y="1693652"/>
                </a:moveTo>
                <a:lnTo>
                  <a:pt x="3152361" y="1715518"/>
                </a:lnTo>
                <a:cubicBezTo>
                  <a:pt x="3119562" y="1717340"/>
                  <a:pt x="3137784" y="1708229"/>
                  <a:pt x="3125029" y="1728273"/>
                </a:cubicBezTo>
                <a:cubicBezTo>
                  <a:pt x="3125029" y="1730095"/>
                  <a:pt x="3126851" y="1730095"/>
                  <a:pt x="3126851" y="1730095"/>
                </a:cubicBezTo>
                <a:lnTo>
                  <a:pt x="3145073" y="1722807"/>
                </a:lnTo>
                <a:lnTo>
                  <a:pt x="3159650" y="1731918"/>
                </a:lnTo>
                <a:cubicBezTo>
                  <a:pt x="3176050" y="1706407"/>
                  <a:pt x="3172405" y="1726451"/>
                  <a:pt x="3174227" y="1693652"/>
                </a:cubicBezTo>
                <a:close/>
                <a:moveTo>
                  <a:pt x="3106807" y="1693652"/>
                </a:moveTo>
                <a:lnTo>
                  <a:pt x="3106807" y="1708229"/>
                </a:lnTo>
                <a:lnTo>
                  <a:pt x="3123206" y="1706407"/>
                </a:lnTo>
                <a:close/>
                <a:moveTo>
                  <a:pt x="1080549" y="1693652"/>
                </a:moveTo>
                <a:lnTo>
                  <a:pt x="1084194" y="1695474"/>
                </a:lnTo>
                <a:cubicBezTo>
                  <a:pt x="1086016" y="1695474"/>
                  <a:pt x="1089660" y="1693652"/>
                  <a:pt x="1091484" y="1693652"/>
                </a:cubicBezTo>
                <a:cubicBezTo>
                  <a:pt x="1087838" y="1690008"/>
                  <a:pt x="1084194" y="1690008"/>
                  <a:pt x="1080549" y="1693652"/>
                </a:cubicBezTo>
                <a:close/>
                <a:moveTo>
                  <a:pt x="502920" y="1691865"/>
                </a:moveTo>
                <a:cubicBezTo>
                  <a:pt x="504743" y="1691865"/>
                  <a:pt x="504743" y="1693687"/>
                  <a:pt x="506565" y="1691865"/>
                </a:cubicBezTo>
                <a:cubicBezTo>
                  <a:pt x="501098" y="1697332"/>
                  <a:pt x="510209" y="1702797"/>
                  <a:pt x="508387" y="1706442"/>
                </a:cubicBezTo>
                <a:cubicBezTo>
                  <a:pt x="504743" y="1710087"/>
                  <a:pt x="502920" y="1704619"/>
                  <a:pt x="502920" y="1700975"/>
                </a:cubicBezTo>
                <a:cubicBezTo>
                  <a:pt x="497454" y="1708264"/>
                  <a:pt x="491987" y="1711908"/>
                  <a:pt x="491987" y="1719198"/>
                </a:cubicBezTo>
                <a:cubicBezTo>
                  <a:pt x="490165" y="1708264"/>
                  <a:pt x="502920" y="1702797"/>
                  <a:pt x="502920" y="1691865"/>
                </a:cubicBezTo>
                <a:close/>
                <a:moveTo>
                  <a:pt x="657805" y="1691830"/>
                </a:moveTo>
                <a:lnTo>
                  <a:pt x="657611" y="1693268"/>
                </a:lnTo>
                <a:lnTo>
                  <a:pt x="655755" y="1695474"/>
                </a:lnTo>
                <a:lnTo>
                  <a:pt x="650425" y="1700467"/>
                </a:lnTo>
                <a:close/>
                <a:moveTo>
                  <a:pt x="1046256" y="1691083"/>
                </a:moveTo>
                <a:lnTo>
                  <a:pt x="1047750" y="1691830"/>
                </a:lnTo>
                <a:cubicBezTo>
                  <a:pt x="1034995" y="1693652"/>
                  <a:pt x="1024062" y="1700941"/>
                  <a:pt x="1011307" y="1697296"/>
                </a:cubicBezTo>
                <a:cubicBezTo>
                  <a:pt x="1019506" y="1697296"/>
                  <a:pt x="1027251" y="1695018"/>
                  <a:pt x="1034767" y="1692740"/>
                </a:cubicBezTo>
                <a:lnTo>
                  <a:pt x="1042253" y="1691197"/>
                </a:lnTo>
                <a:lnTo>
                  <a:pt x="1043878" y="1691374"/>
                </a:lnTo>
                <a:close/>
                <a:moveTo>
                  <a:pt x="1104237" y="1690918"/>
                </a:moveTo>
                <a:lnTo>
                  <a:pt x="1105521" y="1691303"/>
                </a:lnTo>
                <a:lnTo>
                  <a:pt x="1106060" y="1691830"/>
                </a:lnTo>
                <a:lnTo>
                  <a:pt x="1102268" y="1691509"/>
                </a:lnTo>
                <a:close/>
                <a:moveTo>
                  <a:pt x="1091484" y="1690008"/>
                </a:moveTo>
                <a:lnTo>
                  <a:pt x="1093853" y="1690798"/>
                </a:lnTo>
                <a:lnTo>
                  <a:pt x="1092271" y="1690664"/>
                </a:lnTo>
                <a:close/>
                <a:moveTo>
                  <a:pt x="478730" y="1689189"/>
                </a:moveTo>
                <a:lnTo>
                  <a:pt x="475589" y="1695474"/>
                </a:lnTo>
                <a:lnTo>
                  <a:pt x="479232" y="1695474"/>
                </a:lnTo>
                <a:cubicBezTo>
                  <a:pt x="477410" y="1696385"/>
                  <a:pt x="476043" y="1697752"/>
                  <a:pt x="474677" y="1698435"/>
                </a:cubicBezTo>
                <a:lnTo>
                  <a:pt x="471734" y="1697699"/>
                </a:lnTo>
                <a:lnTo>
                  <a:pt x="471943" y="1697296"/>
                </a:lnTo>
                <a:lnTo>
                  <a:pt x="471681" y="1697686"/>
                </a:lnTo>
                <a:lnTo>
                  <a:pt x="470121" y="1697296"/>
                </a:lnTo>
                <a:cubicBezTo>
                  <a:pt x="470121" y="1693652"/>
                  <a:pt x="475589" y="1695474"/>
                  <a:pt x="475589" y="1691830"/>
                </a:cubicBezTo>
                <a:lnTo>
                  <a:pt x="475564" y="1691818"/>
                </a:lnTo>
                <a:close/>
                <a:moveTo>
                  <a:pt x="981688" y="1689007"/>
                </a:moveTo>
                <a:lnTo>
                  <a:pt x="981688" y="1689007"/>
                </a:lnTo>
                <a:lnTo>
                  <a:pt x="976686" y="1690008"/>
                </a:lnTo>
                <a:close/>
                <a:moveTo>
                  <a:pt x="982440" y="1688857"/>
                </a:moveTo>
                <a:lnTo>
                  <a:pt x="980330" y="1690008"/>
                </a:lnTo>
                <a:lnTo>
                  <a:pt x="981688" y="1689007"/>
                </a:lnTo>
                <a:close/>
                <a:moveTo>
                  <a:pt x="680240" y="1688233"/>
                </a:moveTo>
                <a:lnTo>
                  <a:pt x="680354" y="1692285"/>
                </a:lnTo>
                <a:lnTo>
                  <a:pt x="680005" y="1693940"/>
                </a:lnTo>
                <a:lnTo>
                  <a:pt x="679785" y="1690662"/>
                </a:lnTo>
                <a:close/>
                <a:moveTo>
                  <a:pt x="985796" y="1688185"/>
                </a:moveTo>
                <a:lnTo>
                  <a:pt x="982440" y="1688857"/>
                </a:lnTo>
                <a:lnTo>
                  <a:pt x="982441" y="1688856"/>
                </a:lnTo>
                <a:close/>
                <a:moveTo>
                  <a:pt x="485245" y="1687824"/>
                </a:moveTo>
                <a:lnTo>
                  <a:pt x="484986" y="1689720"/>
                </a:lnTo>
                <a:lnTo>
                  <a:pt x="484700" y="1690008"/>
                </a:lnTo>
                <a:close/>
                <a:moveTo>
                  <a:pt x="485511" y="1686757"/>
                </a:moveTo>
                <a:lnTo>
                  <a:pt x="485245" y="1687824"/>
                </a:lnTo>
                <a:lnTo>
                  <a:pt x="485382" y="1686818"/>
                </a:lnTo>
                <a:close/>
                <a:moveTo>
                  <a:pt x="1138859" y="1686363"/>
                </a:moveTo>
                <a:lnTo>
                  <a:pt x="1138859" y="1688185"/>
                </a:lnTo>
                <a:cubicBezTo>
                  <a:pt x="1138859" y="1690008"/>
                  <a:pt x="1140681" y="1690008"/>
                  <a:pt x="1142503" y="1688185"/>
                </a:cubicBezTo>
                <a:cubicBezTo>
                  <a:pt x="1140681" y="1688185"/>
                  <a:pt x="1140681" y="1688185"/>
                  <a:pt x="1138859" y="1686363"/>
                </a:cubicBezTo>
                <a:close/>
                <a:moveTo>
                  <a:pt x="1126104" y="1686363"/>
                </a:moveTo>
                <a:cubicBezTo>
                  <a:pt x="1126104" y="1690008"/>
                  <a:pt x="1118815" y="1690008"/>
                  <a:pt x="1113349" y="1688185"/>
                </a:cubicBezTo>
                <a:cubicBezTo>
                  <a:pt x="1116993" y="1693652"/>
                  <a:pt x="1126104" y="1690008"/>
                  <a:pt x="1127926" y="1688185"/>
                </a:cubicBezTo>
                <a:cubicBezTo>
                  <a:pt x="1129748" y="1686363"/>
                  <a:pt x="1126104" y="1688185"/>
                  <a:pt x="1126104" y="1686363"/>
                </a:cubicBezTo>
                <a:close/>
                <a:moveTo>
                  <a:pt x="991263" y="1686363"/>
                </a:moveTo>
                <a:cubicBezTo>
                  <a:pt x="991263" y="1690008"/>
                  <a:pt x="989441" y="1690008"/>
                  <a:pt x="985796" y="1691830"/>
                </a:cubicBezTo>
                <a:cubicBezTo>
                  <a:pt x="982152" y="1688185"/>
                  <a:pt x="989441" y="1686363"/>
                  <a:pt x="991263" y="1686363"/>
                </a:cubicBezTo>
                <a:close/>
                <a:moveTo>
                  <a:pt x="1075570" y="1685465"/>
                </a:moveTo>
                <a:lnTo>
                  <a:pt x="1082373" y="1688185"/>
                </a:lnTo>
                <a:lnTo>
                  <a:pt x="1081749" y="1688209"/>
                </a:lnTo>
                <a:lnTo>
                  <a:pt x="1075083" y="1686363"/>
                </a:lnTo>
                <a:close/>
                <a:moveTo>
                  <a:pt x="973375" y="1685314"/>
                </a:moveTo>
                <a:lnTo>
                  <a:pt x="951630" y="1692058"/>
                </a:lnTo>
                <a:cubicBezTo>
                  <a:pt x="939786" y="1695474"/>
                  <a:pt x="928398" y="1699118"/>
                  <a:pt x="918376" y="1704585"/>
                </a:cubicBezTo>
                <a:lnTo>
                  <a:pt x="899857" y="1714248"/>
                </a:lnTo>
                <a:lnTo>
                  <a:pt x="912909" y="1704585"/>
                </a:lnTo>
                <a:cubicBezTo>
                  <a:pt x="896510" y="1704585"/>
                  <a:pt x="881933" y="1708229"/>
                  <a:pt x="865533" y="1710051"/>
                </a:cubicBezTo>
                <a:cubicBezTo>
                  <a:pt x="869177" y="1704585"/>
                  <a:pt x="878288" y="1710051"/>
                  <a:pt x="881933" y="1704585"/>
                </a:cubicBezTo>
                <a:cubicBezTo>
                  <a:pt x="880111" y="1706407"/>
                  <a:pt x="876466" y="1704585"/>
                  <a:pt x="872822" y="1704585"/>
                </a:cubicBezTo>
                <a:lnTo>
                  <a:pt x="874644" y="1702763"/>
                </a:lnTo>
                <a:lnTo>
                  <a:pt x="885577" y="1702763"/>
                </a:lnTo>
                <a:cubicBezTo>
                  <a:pt x="892866" y="1706407"/>
                  <a:pt x="903799" y="1700941"/>
                  <a:pt x="912909" y="1700941"/>
                </a:cubicBezTo>
                <a:cubicBezTo>
                  <a:pt x="907444" y="1693652"/>
                  <a:pt x="896510" y="1691830"/>
                  <a:pt x="889222" y="1688185"/>
                </a:cubicBezTo>
                <a:cubicBezTo>
                  <a:pt x="896510" y="1691830"/>
                  <a:pt x="905621" y="1690008"/>
                  <a:pt x="912909" y="1693652"/>
                </a:cubicBezTo>
                <a:cubicBezTo>
                  <a:pt x="909265" y="1691830"/>
                  <a:pt x="907444" y="1691830"/>
                  <a:pt x="905621" y="1693652"/>
                </a:cubicBezTo>
                <a:cubicBezTo>
                  <a:pt x="909265" y="1699118"/>
                  <a:pt x="912909" y="1699118"/>
                  <a:pt x="916555" y="1695474"/>
                </a:cubicBezTo>
                <a:cubicBezTo>
                  <a:pt x="916555" y="1697296"/>
                  <a:pt x="914732" y="1697296"/>
                  <a:pt x="912909" y="1699118"/>
                </a:cubicBezTo>
                <a:cubicBezTo>
                  <a:pt x="922020" y="1700941"/>
                  <a:pt x="929309" y="1699118"/>
                  <a:pt x="938420" y="1693652"/>
                </a:cubicBezTo>
                <a:cubicBezTo>
                  <a:pt x="931131" y="1693652"/>
                  <a:pt x="923843" y="1695474"/>
                  <a:pt x="916555" y="1695474"/>
                </a:cubicBezTo>
                <a:cubicBezTo>
                  <a:pt x="918376" y="1695474"/>
                  <a:pt x="918376" y="1695474"/>
                  <a:pt x="920198" y="1693652"/>
                </a:cubicBezTo>
                <a:cubicBezTo>
                  <a:pt x="918376" y="1693652"/>
                  <a:pt x="918376" y="1693652"/>
                  <a:pt x="914732" y="1693652"/>
                </a:cubicBezTo>
                <a:cubicBezTo>
                  <a:pt x="924754" y="1691830"/>
                  <a:pt x="935231" y="1691830"/>
                  <a:pt x="945482" y="1690691"/>
                </a:cubicBezTo>
                <a:lnTo>
                  <a:pt x="958315" y="1686413"/>
                </a:lnTo>
                <a:close/>
                <a:moveTo>
                  <a:pt x="1043188" y="1684957"/>
                </a:moveTo>
                <a:lnTo>
                  <a:pt x="1055087" y="1687766"/>
                </a:lnTo>
                <a:lnTo>
                  <a:pt x="1053130" y="1688954"/>
                </a:lnTo>
                <a:lnTo>
                  <a:pt x="1048021" y="1690008"/>
                </a:lnTo>
                <a:lnTo>
                  <a:pt x="1044106" y="1690008"/>
                </a:lnTo>
                <a:lnTo>
                  <a:pt x="1045249" y="1690579"/>
                </a:lnTo>
                <a:lnTo>
                  <a:pt x="1042253" y="1691197"/>
                </a:lnTo>
                <a:lnTo>
                  <a:pt x="1031351" y="1690008"/>
                </a:lnTo>
                <a:close/>
                <a:moveTo>
                  <a:pt x="1073885" y="1684791"/>
                </a:moveTo>
                <a:lnTo>
                  <a:pt x="1074273" y="1684946"/>
                </a:lnTo>
                <a:lnTo>
                  <a:pt x="1073792" y="1685186"/>
                </a:lnTo>
                <a:lnTo>
                  <a:pt x="1073528" y="1684865"/>
                </a:lnTo>
                <a:close/>
                <a:moveTo>
                  <a:pt x="490165" y="1684541"/>
                </a:moveTo>
                <a:cubicBezTo>
                  <a:pt x="488343" y="1688185"/>
                  <a:pt x="488343" y="1693652"/>
                  <a:pt x="484700" y="1691830"/>
                </a:cubicBezTo>
                <a:lnTo>
                  <a:pt x="484986" y="1689720"/>
                </a:lnTo>
                <a:close/>
                <a:moveTo>
                  <a:pt x="479051" y="1684085"/>
                </a:moveTo>
                <a:lnTo>
                  <a:pt x="475589" y="1688185"/>
                </a:lnTo>
                <a:lnTo>
                  <a:pt x="475879" y="1686727"/>
                </a:lnTo>
                <a:close/>
                <a:moveTo>
                  <a:pt x="3208849" y="1682719"/>
                </a:moveTo>
                <a:lnTo>
                  <a:pt x="3209305" y="1683175"/>
                </a:lnTo>
                <a:lnTo>
                  <a:pt x="3209262" y="1683644"/>
                </a:lnTo>
                <a:close/>
                <a:moveTo>
                  <a:pt x="984944" y="1681726"/>
                </a:moveTo>
                <a:lnTo>
                  <a:pt x="984885" y="1682035"/>
                </a:lnTo>
                <a:cubicBezTo>
                  <a:pt x="984429" y="1682263"/>
                  <a:pt x="983974" y="1681808"/>
                  <a:pt x="983974" y="1682719"/>
                </a:cubicBezTo>
                <a:cubicBezTo>
                  <a:pt x="983974" y="1682719"/>
                  <a:pt x="983974" y="1684541"/>
                  <a:pt x="983974" y="1684541"/>
                </a:cubicBezTo>
                <a:lnTo>
                  <a:pt x="973375" y="1685314"/>
                </a:lnTo>
                <a:close/>
                <a:moveTo>
                  <a:pt x="1168014" y="1680897"/>
                </a:moveTo>
                <a:cubicBezTo>
                  <a:pt x="1162547" y="1682719"/>
                  <a:pt x="1155259" y="1684541"/>
                  <a:pt x="1149792" y="1686363"/>
                </a:cubicBezTo>
                <a:cubicBezTo>
                  <a:pt x="1151614" y="1690008"/>
                  <a:pt x="1157081" y="1691830"/>
                  <a:pt x="1158903" y="1695474"/>
                </a:cubicBezTo>
                <a:lnTo>
                  <a:pt x="1162547" y="1693652"/>
                </a:lnTo>
                <a:lnTo>
                  <a:pt x="1162547" y="1697296"/>
                </a:lnTo>
                <a:cubicBezTo>
                  <a:pt x="1168014" y="1697296"/>
                  <a:pt x="1175303" y="1697296"/>
                  <a:pt x="1180769" y="1699118"/>
                </a:cubicBezTo>
                <a:lnTo>
                  <a:pt x="1180769" y="1695474"/>
                </a:lnTo>
                <a:close/>
                <a:moveTo>
                  <a:pt x="904254" y="1680213"/>
                </a:moveTo>
                <a:cubicBezTo>
                  <a:pt x="922020" y="1681352"/>
                  <a:pt x="940242" y="1684541"/>
                  <a:pt x="958464" y="1686363"/>
                </a:cubicBezTo>
                <a:cubicBezTo>
                  <a:pt x="963930" y="1686363"/>
                  <a:pt x="967575" y="1679075"/>
                  <a:pt x="974863" y="1680897"/>
                </a:cubicBezTo>
                <a:lnTo>
                  <a:pt x="958315" y="1686413"/>
                </a:lnTo>
                <a:lnTo>
                  <a:pt x="930903" y="1688413"/>
                </a:lnTo>
                <a:lnTo>
                  <a:pt x="880099" y="1683099"/>
                </a:lnTo>
                <a:close/>
                <a:moveTo>
                  <a:pt x="1135215" y="1679075"/>
                </a:moveTo>
                <a:cubicBezTo>
                  <a:pt x="1133393" y="1679075"/>
                  <a:pt x="1133393" y="1682719"/>
                  <a:pt x="1135215" y="1682719"/>
                </a:cubicBezTo>
                <a:cubicBezTo>
                  <a:pt x="1137037" y="1682719"/>
                  <a:pt x="1137037" y="1684541"/>
                  <a:pt x="1138859" y="1684541"/>
                </a:cubicBezTo>
                <a:cubicBezTo>
                  <a:pt x="1140681" y="1680897"/>
                  <a:pt x="1135215" y="1682719"/>
                  <a:pt x="1135215" y="1679075"/>
                </a:cubicBezTo>
                <a:close/>
                <a:moveTo>
                  <a:pt x="492837" y="1679075"/>
                </a:moveTo>
                <a:lnTo>
                  <a:pt x="495479" y="1679075"/>
                </a:lnTo>
                <a:lnTo>
                  <a:pt x="491987" y="1680897"/>
                </a:lnTo>
                <a:close/>
                <a:moveTo>
                  <a:pt x="1073262" y="1677936"/>
                </a:moveTo>
                <a:cubicBezTo>
                  <a:pt x="1071894" y="1678619"/>
                  <a:pt x="1070527" y="1679986"/>
                  <a:pt x="1069616" y="1680897"/>
                </a:cubicBezTo>
                <a:cubicBezTo>
                  <a:pt x="1075083" y="1686363"/>
                  <a:pt x="1075083" y="1680897"/>
                  <a:pt x="1076905" y="1679075"/>
                </a:cubicBezTo>
                <a:cubicBezTo>
                  <a:pt x="1075994" y="1677252"/>
                  <a:pt x="1074627" y="1677252"/>
                  <a:pt x="1073262" y="1677936"/>
                </a:cubicBezTo>
                <a:close/>
                <a:moveTo>
                  <a:pt x="493583" y="1677479"/>
                </a:moveTo>
                <a:lnTo>
                  <a:pt x="492837" y="1679075"/>
                </a:lnTo>
                <a:lnTo>
                  <a:pt x="491987" y="1679075"/>
                </a:lnTo>
                <a:close/>
                <a:moveTo>
                  <a:pt x="493809" y="1677252"/>
                </a:moveTo>
                <a:lnTo>
                  <a:pt x="493583" y="1677479"/>
                </a:lnTo>
                <a:lnTo>
                  <a:pt x="493678" y="1677274"/>
                </a:lnTo>
                <a:close/>
                <a:moveTo>
                  <a:pt x="499456" y="1676590"/>
                </a:moveTo>
                <a:lnTo>
                  <a:pt x="497771" y="1679289"/>
                </a:lnTo>
                <a:lnTo>
                  <a:pt x="496761" y="1680461"/>
                </a:lnTo>
                <a:lnTo>
                  <a:pt x="497454" y="1679075"/>
                </a:lnTo>
                <a:lnTo>
                  <a:pt x="495479" y="1679075"/>
                </a:lnTo>
                <a:lnTo>
                  <a:pt x="497226" y="1678163"/>
                </a:lnTo>
                <a:close/>
                <a:moveTo>
                  <a:pt x="1011898" y="1675370"/>
                </a:moveTo>
                <a:lnTo>
                  <a:pt x="1013129" y="1675430"/>
                </a:lnTo>
                <a:lnTo>
                  <a:pt x="994907" y="1682056"/>
                </a:lnTo>
                <a:lnTo>
                  <a:pt x="997868" y="1680441"/>
                </a:lnTo>
                <a:close/>
                <a:moveTo>
                  <a:pt x="698517" y="1674223"/>
                </a:moveTo>
                <a:lnTo>
                  <a:pt x="706172" y="1675325"/>
                </a:lnTo>
                <a:lnTo>
                  <a:pt x="710648" y="1679075"/>
                </a:lnTo>
                <a:close/>
                <a:moveTo>
                  <a:pt x="3799233" y="1673717"/>
                </a:moveTo>
                <a:cubicBezTo>
                  <a:pt x="3832032" y="1673717"/>
                  <a:pt x="3826566" y="1673717"/>
                  <a:pt x="3839321" y="1693763"/>
                </a:cubicBezTo>
                <a:lnTo>
                  <a:pt x="3830210" y="1704686"/>
                </a:lnTo>
                <a:close/>
                <a:moveTo>
                  <a:pt x="3186982" y="1673608"/>
                </a:moveTo>
                <a:lnTo>
                  <a:pt x="3181516" y="1686363"/>
                </a:lnTo>
                <a:lnTo>
                  <a:pt x="3192449" y="1691830"/>
                </a:lnTo>
                <a:cubicBezTo>
                  <a:pt x="3192449" y="1684541"/>
                  <a:pt x="3190627" y="1679075"/>
                  <a:pt x="3186982" y="1673608"/>
                </a:cubicBezTo>
                <a:close/>
                <a:moveTo>
                  <a:pt x="553941" y="1673608"/>
                </a:moveTo>
                <a:cubicBezTo>
                  <a:pt x="553941" y="1682719"/>
                  <a:pt x="552119" y="1690008"/>
                  <a:pt x="546653" y="1697296"/>
                </a:cubicBezTo>
                <a:cubicBezTo>
                  <a:pt x="546653" y="1695474"/>
                  <a:pt x="546653" y="1695474"/>
                  <a:pt x="544830" y="1693652"/>
                </a:cubicBezTo>
                <a:cubicBezTo>
                  <a:pt x="541186" y="1699118"/>
                  <a:pt x="544830" y="1706407"/>
                  <a:pt x="539364" y="1711874"/>
                </a:cubicBezTo>
                <a:lnTo>
                  <a:pt x="539364" y="1708229"/>
                </a:lnTo>
                <a:cubicBezTo>
                  <a:pt x="535719" y="1710051"/>
                  <a:pt x="533897" y="1713696"/>
                  <a:pt x="530253" y="1715518"/>
                </a:cubicBezTo>
                <a:cubicBezTo>
                  <a:pt x="532075" y="1715518"/>
                  <a:pt x="532075" y="1715518"/>
                  <a:pt x="532075" y="1715518"/>
                </a:cubicBezTo>
                <a:cubicBezTo>
                  <a:pt x="530253" y="1715518"/>
                  <a:pt x="524786" y="1720984"/>
                  <a:pt x="524786" y="1711874"/>
                </a:cubicBezTo>
                <a:cubicBezTo>
                  <a:pt x="526609" y="1713696"/>
                  <a:pt x="530253" y="1715518"/>
                  <a:pt x="532075" y="1713696"/>
                </a:cubicBezTo>
                <a:cubicBezTo>
                  <a:pt x="541186" y="1709140"/>
                  <a:pt x="543464" y="1702307"/>
                  <a:pt x="543919" y="1695018"/>
                </a:cubicBezTo>
                <a:lnTo>
                  <a:pt x="544210" y="1688206"/>
                </a:lnTo>
                <a:close/>
                <a:moveTo>
                  <a:pt x="544830" y="1673608"/>
                </a:moveTo>
                <a:lnTo>
                  <a:pt x="544210" y="1688206"/>
                </a:lnTo>
                <a:lnTo>
                  <a:pt x="543008" y="1690008"/>
                </a:lnTo>
                <a:lnTo>
                  <a:pt x="542639" y="1676708"/>
                </a:lnTo>
                <a:close/>
                <a:moveTo>
                  <a:pt x="1100367" y="1672697"/>
                </a:moveTo>
                <a:lnTo>
                  <a:pt x="1100894" y="1672950"/>
                </a:lnTo>
                <a:lnTo>
                  <a:pt x="1098816" y="1673297"/>
                </a:lnTo>
                <a:close/>
                <a:moveTo>
                  <a:pt x="1042739" y="1672241"/>
                </a:moveTo>
                <a:cubicBezTo>
                  <a:pt x="1044106" y="1672241"/>
                  <a:pt x="1045017" y="1672697"/>
                  <a:pt x="1044106" y="1673608"/>
                </a:cubicBezTo>
                <a:cubicBezTo>
                  <a:pt x="1042284" y="1671786"/>
                  <a:pt x="1040462" y="1673608"/>
                  <a:pt x="1038639" y="1673608"/>
                </a:cubicBezTo>
                <a:cubicBezTo>
                  <a:pt x="1039550" y="1672697"/>
                  <a:pt x="1041373" y="1672241"/>
                  <a:pt x="1042739" y="1672241"/>
                </a:cubicBezTo>
                <a:close/>
                <a:moveTo>
                  <a:pt x="1082373" y="1671786"/>
                </a:moveTo>
                <a:cubicBezTo>
                  <a:pt x="1080549" y="1672697"/>
                  <a:pt x="1080094" y="1675430"/>
                  <a:pt x="1079410" y="1678391"/>
                </a:cubicBezTo>
                <a:lnTo>
                  <a:pt x="1075570" y="1685465"/>
                </a:lnTo>
                <a:lnTo>
                  <a:pt x="1074273" y="1684946"/>
                </a:lnTo>
                <a:lnTo>
                  <a:pt x="1075083" y="1684541"/>
                </a:lnTo>
                <a:lnTo>
                  <a:pt x="1073885" y="1684791"/>
                </a:lnTo>
                <a:lnTo>
                  <a:pt x="1073262" y="1684541"/>
                </a:lnTo>
                <a:lnTo>
                  <a:pt x="1073528" y="1684865"/>
                </a:lnTo>
                <a:lnTo>
                  <a:pt x="1064150" y="1686819"/>
                </a:lnTo>
                <a:cubicBezTo>
                  <a:pt x="1062784" y="1689097"/>
                  <a:pt x="1062328" y="1691830"/>
                  <a:pt x="1058683" y="1691830"/>
                </a:cubicBezTo>
                <a:cubicBezTo>
                  <a:pt x="1062328" y="1691830"/>
                  <a:pt x="1062328" y="1690008"/>
                  <a:pt x="1065972" y="1691830"/>
                </a:cubicBezTo>
                <a:cubicBezTo>
                  <a:pt x="1065972" y="1690008"/>
                  <a:pt x="1067794" y="1690008"/>
                  <a:pt x="1069616" y="1688185"/>
                </a:cubicBezTo>
                <a:cubicBezTo>
                  <a:pt x="1067794" y="1688185"/>
                  <a:pt x="1067794" y="1688185"/>
                  <a:pt x="1064151" y="1688185"/>
                </a:cubicBezTo>
                <a:cubicBezTo>
                  <a:pt x="1065972" y="1688185"/>
                  <a:pt x="1069616" y="1688185"/>
                  <a:pt x="1071439" y="1686363"/>
                </a:cubicBezTo>
                <a:lnTo>
                  <a:pt x="1073792" y="1685186"/>
                </a:lnTo>
                <a:lnTo>
                  <a:pt x="1076449" y="1688413"/>
                </a:lnTo>
                <a:lnTo>
                  <a:pt x="1081749" y="1688209"/>
                </a:lnTo>
                <a:lnTo>
                  <a:pt x="1089888" y="1690463"/>
                </a:lnTo>
                <a:lnTo>
                  <a:pt x="1092271" y="1690664"/>
                </a:lnTo>
                <a:lnTo>
                  <a:pt x="1094216" y="1692285"/>
                </a:lnTo>
                <a:cubicBezTo>
                  <a:pt x="1095582" y="1692285"/>
                  <a:pt x="1096949" y="1691830"/>
                  <a:pt x="1096949" y="1691830"/>
                </a:cubicBezTo>
                <a:lnTo>
                  <a:pt x="1093853" y="1690798"/>
                </a:lnTo>
                <a:lnTo>
                  <a:pt x="1102268" y="1691509"/>
                </a:lnTo>
                <a:lnTo>
                  <a:pt x="1095127" y="1693652"/>
                </a:lnTo>
                <a:lnTo>
                  <a:pt x="1104238" y="1697296"/>
                </a:lnTo>
                <a:cubicBezTo>
                  <a:pt x="1107882" y="1695474"/>
                  <a:pt x="1111526" y="1695474"/>
                  <a:pt x="1113349" y="1693652"/>
                </a:cubicBezTo>
                <a:lnTo>
                  <a:pt x="1105521" y="1691303"/>
                </a:lnTo>
                <a:lnTo>
                  <a:pt x="1096494" y="1682491"/>
                </a:lnTo>
                <a:cubicBezTo>
                  <a:pt x="1092394" y="1679530"/>
                  <a:pt x="1087838" y="1677252"/>
                  <a:pt x="1084194" y="1677252"/>
                </a:cubicBezTo>
                <a:cubicBezTo>
                  <a:pt x="1082373" y="1673608"/>
                  <a:pt x="1087838" y="1675430"/>
                  <a:pt x="1084194" y="1671786"/>
                </a:cubicBezTo>
                <a:cubicBezTo>
                  <a:pt x="1084194" y="1671786"/>
                  <a:pt x="1084194" y="1671786"/>
                  <a:pt x="1082373" y="1671786"/>
                </a:cubicBezTo>
                <a:close/>
                <a:moveTo>
                  <a:pt x="403612" y="1670419"/>
                </a:moveTo>
                <a:cubicBezTo>
                  <a:pt x="402245" y="1669964"/>
                  <a:pt x="400878" y="1669964"/>
                  <a:pt x="399056" y="1671786"/>
                </a:cubicBezTo>
                <a:cubicBezTo>
                  <a:pt x="400879" y="1675430"/>
                  <a:pt x="404523" y="1675430"/>
                  <a:pt x="408167" y="1671786"/>
                </a:cubicBezTo>
                <a:cubicBezTo>
                  <a:pt x="406345" y="1671786"/>
                  <a:pt x="404978" y="1670875"/>
                  <a:pt x="403612" y="1670419"/>
                </a:cubicBezTo>
                <a:close/>
                <a:moveTo>
                  <a:pt x="3217960" y="1669964"/>
                </a:moveTo>
                <a:cubicBezTo>
                  <a:pt x="3220693" y="1669964"/>
                  <a:pt x="3222060" y="1671786"/>
                  <a:pt x="3222287" y="1673608"/>
                </a:cubicBezTo>
                <a:lnTo>
                  <a:pt x="3221225" y="1675153"/>
                </a:lnTo>
                <a:lnTo>
                  <a:pt x="3219782" y="1671786"/>
                </a:lnTo>
                <a:lnTo>
                  <a:pt x="3218416" y="1671786"/>
                </a:lnTo>
                <a:close/>
                <a:moveTo>
                  <a:pt x="3201560" y="1669964"/>
                </a:moveTo>
                <a:cubicBezTo>
                  <a:pt x="3199738" y="1675430"/>
                  <a:pt x="3205204" y="1675430"/>
                  <a:pt x="3205204" y="1679075"/>
                </a:cubicBezTo>
                <a:cubicBezTo>
                  <a:pt x="3208849" y="1679075"/>
                  <a:pt x="3207027" y="1671786"/>
                  <a:pt x="3207027" y="1669964"/>
                </a:cubicBezTo>
                <a:cubicBezTo>
                  <a:pt x="3203382" y="1671786"/>
                  <a:pt x="3205204" y="1669964"/>
                  <a:pt x="3201560" y="1669964"/>
                </a:cubicBezTo>
                <a:close/>
                <a:moveTo>
                  <a:pt x="440966" y="1669964"/>
                </a:moveTo>
                <a:cubicBezTo>
                  <a:pt x="426389" y="1680897"/>
                  <a:pt x="406345" y="1699118"/>
                  <a:pt x="393590" y="1690008"/>
                </a:cubicBezTo>
                <a:cubicBezTo>
                  <a:pt x="409989" y="1680897"/>
                  <a:pt x="426389" y="1679075"/>
                  <a:pt x="440966" y="1669964"/>
                </a:cubicBezTo>
                <a:close/>
                <a:moveTo>
                  <a:pt x="433678" y="1669964"/>
                </a:moveTo>
                <a:cubicBezTo>
                  <a:pt x="422745" y="1675430"/>
                  <a:pt x="415456" y="1680897"/>
                  <a:pt x="406345" y="1679075"/>
                </a:cubicBezTo>
                <a:cubicBezTo>
                  <a:pt x="413634" y="1673608"/>
                  <a:pt x="424567" y="1671786"/>
                  <a:pt x="433678" y="1669964"/>
                </a:cubicBezTo>
                <a:close/>
                <a:moveTo>
                  <a:pt x="1059512" y="1669301"/>
                </a:moveTo>
                <a:lnTo>
                  <a:pt x="1060506" y="1669964"/>
                </a:lnTo>
                <a:lnTo>
                  <a:pt x="1055278" y="1672001"/>
                </a:lnTo>
                <a:lnTo>
                  <a:pt x="1055040" y="1671786"/>
                </a:lnTo>
                <a:close/>
                <a:moveTo>
                  <a:pt x="1052078" y="1668597"/>
                </a:moveTo>
                <a:cubicBezTo>
                  <a:pt x="1053672" y="1668597"/>
                  <a:pt x="1055040" y="1669053"/>
                  <a:pt x="1055040" y="1669964"/>
                </a:cubicBezTo>
                <a:cubicBezTo>
                  <a:pt x="1051395" y="1669964"/>
                  <a:pt x="1049573" y="1673608"/>
                  <a:pt x="1047750" y="1669964"/>
                </a:cubicBezTo>
                <a:cubicBezTo>
                  <a:pt x="1048661" y="1669053"/>
                  <a:pt x="1050484" y="1668597"/>
                  <a:pt x="1052078" y="1668597"/>
                </a:cubicBezTo>
                <a:close/>
                <a:moveTo>
                  <a:pt x="1062067" y="1667881"/>
                </a:moveTo>
                <a:lnTo>
                  <a:pt x="1062328" y="1668142"/>
                </a:lnTo>
                <a:lnTo>
                  <a:pt x="1061825" y="1668016"/>
                </a:lnTo>
                <a:close/>
                <a:moveTo>
                  <a:pt x="1055040" y="1666319"/>
                </a:moveTo>
                <a:lnTo>
                  <a:pt x="1061825" y="1668016"/>
                </a:lnTo>
                <a:lnTo>
                  <a:pt x="1059512" y="1669301"/>
                </a:lnTo>
                <a:close/>
                <a:moveTo>
                  <a:pt x="431856" y="1666319"/>
                </a:moveTo>
                <a:lnTo>
                  <a:pt x="421464" y="1668480"/>
                </a:lnTo>
                <a:lnTo>
                  <a:pt x="422289" y="1667913"/>
                </a:lnTo>
                <a:lnTo>
                  <a:pt x="423862" y="1666623"/>
                </a:lnTo>
                <a:close/>
                <a:moveTo>
                  <a:pt x="1095127" y="1664497"/>
                </a:moveTo>
                <a:cubicBezTo>
                  <a:pt x="1091484" y="1666319"/>
                  <a:pt x="1089660" y="1668142"/>
                  <a:pt x="1086016" y="1669964"/>
                </a:cubicBezTo>
                <a:cubicBezTo>
                  <a:pt x="1089660" y="1673608"/>
                  <a:pt x="1093305" y="1674063"/>
                  <a:pt x="1096949" y="1673608"/>
                </a:cubicBezTo>
                <a:lnTo>
                  <a:pt x="1098816" y="1673297"/>
                </a:lnTo>
                <a:lnTo>
                  <a:pt x="1093305" y="1675430"/>
                </a:lnTo>
                <a:cubicBezTo>
                  <a:pt x="1098771" y="1679075"/>
                  <a:pt x="1104238" y="1682719"/>
                  <a:pt x="1109704" y="1688185"/>
                </a:cubicBezTo>
                <a:cubicBezTo>
                  <a:pt x="1115171" y="1686363"/>
                  <a:pt x="1118815" y="1688185"/>
                  <a:pt x="1124282" y="1684541"/>
                </a:cubicBezTo>
                <a:cubicBezTo>
                  <a:pt x="1118815" y="1680897"/>
                  <a:pt x="1113349" y="1671786"/>
                  <a:pt x="1106060" y="1675430"/>
                </a:cubicBezTo>
                <a:lnTo>
                  <a:pt x="1100894" y="1672950"/>
                </a:lnTo>
                <a:lnTo>
                  <a:pt x="1107882" y="1671786"/>
                </a:lnTo>
                <a:cubicBezTo>
                  <a:pt x="1104238" y="1669964"/>
                  <a:pt x="1102416" y="1668142"/>
                  <a:pt x="1098771" y="1669964"/>
                </a:cubicBezTo>
                <a:cubicBezTo>
                  <a:pt x="1095127" y="1668142"/>
                  <a:pt x="1096949" y="1666319"/>
                  <a:pt x="1095127" y="1664497"/>
                </a:cubicBezTo>
                <a:close/>
                <a:moveTo>
                  <a:pt x="688782" y="1664497"/>
                </a:moveTo>
                <a:cubicBezTo>
                  <a:pt x="688782" y="1668142"/>
                  <a:pt x="692426" y="1671786"/>
                  <a:pt x="694249" y="1668142"/>
                </a:cubicBezTo>
                <a:cubicBezTo>
                  <a:pt x="692426" y="1666319"/>
                  <a:pt x="690604" y="1666319"/>
                  <a:pt x="688782" y="1664497"/>
                </a:cubicBezTo>
                <a:close/>
                <a:moveTo>
                  <a:pt x="794200" y="1664470"/>
                </a:moveTo>
                <a:lnTo>
                  <a:pt x="794468" y="1664497"/>
                </a:lnTo>
                <a:cubicBezTo>
                  <a:pt x="772602" y="1668597"/>
                  <a:pt x="745611" y="1681922"/>
                  <a:pt x="723488" y="1679103"/>
                </a:cubicBezTo>
                <a:lnTo>
                  <a:pt x="719344" y="1677222"/>
                </a:lnTo>
                <a:lnTo>
                  <a:pt x="722720" y="1677708"/>
                </a:lnTo>
                <a:cubicBezTo>
                  <a:pt x="732515" y="1677252"/>
                  <a:pt x="742536" y="1675430"/>
                  <a:pt x="752558" y="1673608"/>
                </a:cubicBezTo>
                <a:close/>
                <a:moveTo>
                  <a:pt x="602679" y="1663598"/>
                </a:moveTo>
                <a:lnTo>
                  <a:pt x="597773" y="1667644"/>
                </a:lnTo>
                <a:lnTo>
                  <a:pt x="619539" y="1664535"/>
                </a:lnTo>
                <a:cubicBezTo>
                  <a:pt x="617717" y="1666355"/>
                  <a:pt x="614072" y="1671823"/>
                  <a:pt x="610428" y="1670002"/>
                </a:cubicBezTo>
                <a:cubicBezTo>
                  <a:pt x="612250" y="1670002"/>
                  <a:pt x="612250" y="1670002"/>
                  <a:pt x="614072" y="1668179"/>
                </a:cubicBezTo>
                <a:cubicBezTo>
                  <a:pt x="608606" y="1668179"/>
                  <a:pt x="603139" y="1668179"/>
                  <a:pt x="597673" y="1670002"/>
                </a:cubicBezTo>
                <a:lnTo>
                  <a:pt x="597672" y="1670001"/>
                </a:lnTo>
                <a:lnTo>
                  <a:pt x="596283" y="1669307"/>
                </a:lnTo>
                <a:lnTo>
                  <a:pt x="584919" y="1690008"/>
                </a:lnTo>
                <a:cubicBezTo>
                  <a:pt x="581274" y="1688185"/>
                  <a:pt x="577630" y="1693652"/>
                  <a:pt x="573985" y="1691830"/>
                </a:cubicBezTo>
                <a:cubicBezTo>
                  <a:pt x="577630" y="1688185"/>
                  <a:pt x="586741" y="1690008"/>
                  <a:pt x="586741" y="1680897"/>
                </a:cubicBezTo>
                <a:cubicBezTo>
                  <a:pt x="584919" y="1680897"/>
                  <a:pt x="584919" y="1679075"/>
                  <a:pt x="583096" y="1677252"/>
                </a:cubicBezTo>
                <a:lnTo>
                  <a:pt x="595730" y="1669030"/>
                </a:lnTo>
                <a:lnTo>
                  <a:pt x="594753" y="1668542"/>
                </a:lnTo>
                <a:lnTo>
                  <a:pt x="594028" y="1668179"/>
                </a:lnTo>
                <a:lnTo>
                  <a:pt x="597147" y="1667733"/>
                </a:lnTo>
                <a:lnTo>
                  <a:pt x="597673" y="1666775"/>
                </a:lnTo>
                <a:close/>
                <a:moveTo>
                  <a:pt x="552639" y="1663456"/>
                </a:moveTo>
                <a:lnTo>
                  <a:pt x="553240" y="1664357"/>
                </a:lnTo>
                <a:lnTo>
                  <a:pt x="552802" y="1666547"/>
                </a:lnTo>
                <a:cubicBezTo>
                  <a:pt x="552574" y="1668142"/>
                  <a:pt x="552119" y="1669053"/>
                  <a:pt x="550297" y="1668142"/>
                </a:cubicBezTo>
                <a:close/>
                <a:moveTo>
                  <a:pt x="3208849" y="1662675"/>
                </a:moveTo>
                <a:cubicBezTo>
                  <a:pt x="3203382" y="1660853"/>
                  <a:pt x="3207027" y="1666319"/>
                  <a:pt x="3203382" y="1666319"/>
                </a:cubicBezTo>
                <a:cubicBezTo>
                  <a:pt x="3205204" y="1669964"/>
                  <a:pt x="3207027" y="1668142"/>
                  <a:pt x="3210671" y="1668142"/>
                </a:cubicBezTo>
                <a:cubicBezTo>
                  <a:pt x="3210671" y="1666319"/>
                  <a:pt x="3208849" y="1664497"/>
                  <a:pt x="3208849" y="1662675"/>
                </a:cubicBezTo>
                <a:close/>
                <a:moveTo>
                  <a:pt x="1104238" y="1662675"/>
                </a:moveTo>
                <a:cubicBezTo>
                  <a:pt x="1111526" y="1668142"/>
                  <a:pt x="1118815" y="1673608"/>
                  <a:pt x="1126104" y="1675430"/>
                </a:cubicBezTo>
                <a:cubicBezTo>
                  <a:pt x="1126104" y="1677252"/>
                  <a:pt x="1124282" y="1677252"/>
                  <a:pt x="1126104" y="1679075"/>
                </a:cubicBezTo>
                <a:cubicBezTo>
                  <a:pt x="1127926" y="1679075"/>
                  <a:pt x="1129748" y="1682719"/>
                  <a:pt x="1131570" y="1680897"/>
                </a:cubicBezTo>
                <a:cubicBezTo>
                  <a:pt x="1135215" y="1679075"/>
                  <a:pt x="1129748" y="1679075"/>
                  <a:pt x="1127926" y="1677252"/>
                </a:cubicBezTo>
                <a:cubicBezTo>
                  <a:pt x="1127926" y="1677252"/>
                  <a:pt x="1126104" y="1675430"/>
                  <a:pt x="1126104" y="1675430"/>
                </a:cubicBezTo>
                <a:cubicBezTo>
                  <a:pt x="1120637" y="1669964"/>
                  <a:pt x="1111526" y="1659031"/>
                  <a:pt x="1104238" y="1662675"/>
                </a:cubicBezTo>
                <a:close/>
                <a:moveTo>
                  <a:pt x="1056861" y="1662675"/>
                </a:moveTo>
                <a:lnTo>
                  <a:pt x="1057497" y="1663311"/>
                </a:lnTo>
                <a:lnTo>
                  <a:pt x="1050256" y="1666320"/>
                </a:lnTo>
                <a:lnTo>
                  <a:pt x="1043278" y="1666992"/>
                </a:lnTo>
                <a:close/>
                <a:moveTo>
                  <a:pt x="1147970" y="1660853"/>
                </a:moveTo>
                <a:cubicBezTo>
                  <a:pt x="1147970" y="1662675"/>
                  <a:pt x="1149792" y="1664497"/>
                  <a:pt x="1153436" y="1664497"/>
                </a:cubicBezTo>
                <a:lnTo>
                  <a:pt x="1149792" y="1660853"/>
                </a:lnTo>
                <a:cubicBezTo>
                  <a:pt x="1149792" y="1660853"/>
                  <a:pt x="1147970" y="1660853"/>
                  <a:pt x="1147970" y="1660853"/>
                </a:cubicBezTo>
                <a:close/>
                <a:moveTo>
                  <a:pt x="1135215" y="1659031"/>
                </a:moveTo>
                <a:cubicBezTo>
                  <a:pt x="1133393" y="1664497"/>
                  <a:pt x="1137037" y="1669964"/>
                  <a:pt x="1135215" y="1675430"/>
                </a:cubicBezTo>
                <a:cubicBezTo>
                  <a:pt x="1140681" y="1680897"/>
                  <a:pt x="1149792" y="1686363"/>
                  <a:pt x="1151614" y="1680897"/>
                </a:cubicBezTo>
                <a:cubicBezTo>
                  <a:pt x="1155259" y="1680897"/>
                  <a:pt x="1158903" y="1679075"/>
                  <a:pt x="1162547" y="1677252"/>
                </a:cubicBezTo>
                <a:lnTo>
                  <a:pt x="1153436" y="1666319"/>
                </a:lnTo>
                <a:cubicBezTo>
                  <a:pt x="1151614" y="1666319"/>
                  <a:pt x="1147970" y="1666319"/>
                  <a:pt x="1146148" y="1666319"/>
                </a:cubicBezTo>
                <a:cubicBezTo>
                  <a:pt x="1149792" y="1659031"/>
                  <a:pt x="1138859" y="1660853"/>
                  <a:pt x="1135215" y="1659031"/>
                </a:cubicBezTo>
                <a:close/>
                <a:moveTo>
                  <a:pt x="1129748" y="1659031"/>
                </a:moveTo>
                <a:lnTo>
                  <a:pt x="1129748" y="1666319"/>
                </a:lnTo>
                <a:cubicBezTo>
                  <a:pt x="1131570" y="1668142"/>
                  <a:pt x="1131570" y="1671786"/>
                  <a:pt x="1133393" y="1673608"/>
                </a:cubicBezTo>
                <a:cubicBezTo>
                  <a:pt x="1133393" y="1668142"/>
                  <a:pt x="1133393" y="1662675"/>
                  <a:pt x="1131570" y="1659031"/>
                </a:cubicBezTo>
                <a:cubicBezTo>
                  <a:pt x="1131570" y="1659031"/>
                  <a:pt x="1129748" y="1659031"/>
                  <a:pt x="1129748" y="1659031"/>
                </a:cubicBezTo>
                <a:close/>
                <a:moveTo>
                  <a:pt x="1084194" y="1659031"/>
                </a:moveTo>
                <a:lnTo>
                  <a:pt x="1084194" y="1668142"/>
                </a:lnTo>
                <a:cubicBezTo>
                  <a:pt x="1087838" y="1666319"/>
                  <a:pt x="1091484" y="1664497"/>
                  <a:pt x="1095127" y="1662675"/>
                </a:cubicBezTo>
                <a:cubicBezTo>
                  <a:pt x="1091484" y="1660853"/>
                  <a:pt x="1087838" y="1659031"/>
                  <a:pt x="1084194" y="1659031"/>
                </a:cubicBezTo>
                <a:close/>
                <a:moveTo>
                  <a:pt x="787179" y="1659031"/>
                </a:moveTo>
                <a:cubicBezTo>
                  <a:pt x="790824" y="1662675"/>
                  <a:pt x="799935" y="1664497"/>
                  <a:pt x="807223" y="1659031"/>
                </a:cubicBezTo>
                <a:cubicBezTo>
                  <a:pt x="799935" y="1659031"/>
                  <a:pt x="794468" y="1659031"/>
                  <a:pt x="787179" y="1659031"/>
                </a:cubicBezTo>
                <a:close/>
                <a:moveTo>
                  <a:pt x="643228" y="1659031"/>
                </a:moveTo>
                <a:cubicBezTo>
                  <a:pt x="641407" y="1660853"/>
                  <a:pt x="639583" y="1660853"/>
                  <a:pt x="639583" y="1662675"/>
                </a:cubicBezTo>
                <a:cubicBezTo>
                  <a:pt x="641407" y="1664497"/>
                  <a:pt x="645050" y="1660853"/>
                  <a:pt x="643228" y="1659031"/>
                </a:cubicBezTo>
                <a:close/>
                <a:moveTo>
                  <a:pt x="494957" y="1658422"/>
                </a:moveTo>
                <a:lnTo>
                  <a:pt x="492899" y="1667686"/>
                </a:lnTo>
                <a:lnTo>
                  <a:pt x="490036" y="1671075"/>
                </a:lnTo>
                <a:close/>
                <a:moveTo>
                  <a:pt x="832270" y="1656898"/>
                </a:moveTo>
                <a:lnTo>
                  <a:pt x="832734" y="1657208"/>
                </a:lnTo>
                <a:lnTo>
                  <a:pt x="829416" y="1657208"/>
                </a:lnTo>
                <a:close/>
                <a:moveTo>
                  <a:pt x="768959" y="1655386"/>
                </a:moveTo>
                <a:cubicBezTo>
                  <a:pt x="765313" y="1657208"/>
                  <a:pt x="765313" y="1659031"/>
                  <a:pt x="763491" y="1659031"/>
                </a:cubicBezTo>
                <a:cubicBezTo>
                  <a:pt x="765313" y="1660853"/>
                  <a:pt x="770781" y="1659031"/>
                  <a:pt x="774424" y="1659031"/>
                </a:cubicBezTo>
                <a:cubicBezTo>
                  <a:pt x="774424" y="1655386"/>
                  <a:pt x="770781" y="1657208"/>
                  <a:pt x="768959" y="1655386"/>
                </a:cubicBezTo>
                <a:close/>
                <a:moveTo>
                  <a:pt x="559408" y="1655386"/>
                </a:moveTo>
                <a:cubicBezTo>
                  <a:pt x="555763" y="1662675"/>
                  <a:pt x="563052" y="1673608"/>
                  <a:pt x="553941" y="1679075"/>
                </a:cubicBezTo>
                <a:cubicBezTo>
                  <a:pt x="553941" y="1675430"/>
                  <a:pt x="553941" y="1670875"/>
                  <a:pt x="554624" y="1666547"/>
                </a:cubicBezTo>
                <a:lnTo>
                  <a:pt x="554654" y="1666478"/>
                </a:lnTo>
                <a:lnTo>
                  <a:pt x="555763" y="1668142"/>
                </a:lnTo>
                <a:lnTo>
                  <a:pt x="556004" y="1663329"/>
                </a:lnTo>
                <a:close/>
                <a:moveTo>
                  <a:pt x="419100" y="1655386"/>
                </a:moveTo>
                <a:cubicBezTo>
                  <a:pt x="420923" y="1659030"/>
                  <a:pt x="424567" y="1661308"/>
                  <a:pt x="428439" y="1661763"/>
                </a:cubicBezTo>
                <a:lnTo>
                  <a:pt x="431228" y="1660577"/>
                </a:lnTo>
                <a:lnTo>
                  <a:pt x="423862" y="1666623"/>
                </a:lnTo>
                <a:lnTo>
                  <a:pt x="413861" y="1667002"/>
                </a:lnTo>
                <a:cubicBezTo>
                  <a:pt x="408167" y="1666775"/>
                  <a:pt x="402701" y="1665408"/>
                  <a:pt x="397234" y="1660853"/>
                </a:cubicBezTo>
                <a:cubicBezTo>
                  <a:pt x="408167" y="1662675"/>
                  <a:pt x="415456" y="1668142"/>
                  <a:pt x="422745" y="1662675"/>
                </a:cubicBezTo>
                <a:cubicBezTo>
                  <a:pt x="424567" y="1662675"/>
                  <a:pt x="420923" y="1659031"/>
                  <a:pt x="419100" y="1655386"/>
                </a:cubicBezTo>
                <a:close/>
                <a:moveTo>
                  <a:pt x="1177125" y="1653564"/>
                </a:moveTo>
                <a:lnTo>
                  <a:pt x="1180769" y="1657208"/>
                </a:lnTo>
                <a:cubicBezTo>
                  <a:pt x="1180769" y="1657208"/>
                  <a:pt x="1180769" y="1655386"/>
                  <a:pt x="1180769" y="1655386"/>
                </a:cubicBezTo>
                <a:cubicBezTo>
                  <a:pt x="1178947" y="1655386"/>
                  <a:pt x="1177125" y="1655386"/>
                  <a:pt x="1177125" y="1653564"/>
                </a:cubicBezTo>
                <a:close/>
                <a:moveTo>
                  <a:pt x="875578" y="1652194"/>
                </a:moveTo>
                <a:lnTo>
                  <a:pt x="856422" y="1655386"/>
                </a:lnTo>
                <a:lnTo>
                  <a:pt x="850630" y="1654904"/>
                </a:lnTo>
                <a:close/>
                <a:moveTo>
                  <a:pt x="3188155" y="1651742"/>
                </a:moveTo>
                <a:lnTo>
                  <a:pt x="3188805" y="1651742"/>
                </a:lnTo>
                <a:lnTo>
                  <a:pt x="3189518" y="1652329"/>
                </a:lnTo>
                <a:close/>
                <a:moveTo>
                  <a:pt x="1162547" y="1651742"/>
                </a:moveTo>
                <a:cubicBezTo>
                  <a:pt x="1164370" y="1651742"/>
                  <a:pt x="1166192" y="1653564"/>
                  <a:pt x="1168014" y="1657208"/>
                </a:cubicBezTo>
                <a:lnTo>
                  <a:pt x="1168014" y="1653564"/>
                </a:lnTo>
                <a:cubicBezTo>
                  <a:pt x="1166192" y="1651742"/>
                  <a:pt x="1164370" y="1651742"/>
                  <a:pt x="1162547" y="1651742"/>
                </a:cubicBezTo>
                <a:close/>
                <a:moveTo>
                  <a:pt x="1118815" y="1651742"/>
                </a:moveTo>
                <a:cubicBezTo>
                  <a:pt x="1120637" y="1655386"/>
                  <a:pt x="1127926" y="1651742"/>
                  <a:pt x="1129748" y="1655386"/>
                </a:cubicBezTo>
                <a:cubicBezTo>
                  <a:pt x="1129748" y="1651742"/>
                  <a:pt x="1122459" y="1651742"/>
                  <a:pt x="1118815" y="1651742"/>
                </a:cubicBezTo>
                <a:close/>
                <a:moveTo>
                  <a:pt x="654161" y="1651742"/>
                </a:moveTo>
                <a:cubicBezTo>
                  <a:pt x="650516" y="1655386"/>
                  <a:pt x="646872" y="1662675"/>
                  <a:pt x="650516" y="1664497"/>
                </a:cubicBezTo>
                <a:cubicBezTo>
                  <a:pt x="652339" y="1664497"/>
                  <a:pt x="655983" y="1662675"/>
                  <a:pt x="655983" y="1660853"/>
                </a:cubicBezTo>
                <a:cubicBezTo>
                  <a:pt x="654161" y="1659031"/>
                  <a:pt x="652339" y="1660853"/>
                  <a:pt x="652339" y="1660853"/>
                </a:cubicBezTo>
                <a:cubicBezTo>
                  <a:pt x="654161" y="1657208"/>
                  <a:pt x="655983" y="1655386"/>
                  <a:pt x="654161" y="1651742"/>
                </a:cubicBezTo>
                <a:close/>
                <a:moveTo>
                  <a:pt x="443244" y="1651514"/>
                </a:moveTo>
                <a:cubicBezTo>
                  <a:pt x="445066" y="1652197"/>
                  <a:pt x="446433" y="1653564"/>
                  <a:pt x="446433" y="1655386"/>
                </a:cubicBezTo>
                <a:cubicBezTo>
                  <a:pt x="448256" y="1653564"/>
                  <a:pt x="451899" y="1653564"/>
                  <a:pt x="451899" y="1655386"/>
                </a:cubicBezTo>
                <a:cubicBezTo>
                  <a:pt x="446433" y="1653564"/>
                  <a:pt x="442789" y="1660853"/>
                  <a:pt x="437322" y="1660853"/>
                </a:cubicBezTo>
                <a:cubicBezTo>
                  <a:pt x="439145" y="1659031"/>
                  <a:pt x="440966" y="1659031"/>
                  <a:pt x="439145" y="1657208"/>
                </a:cubicBezTo>
                <a:lnTo>
                  <a:pt x="431228" y="1660577"/>
                </a:lnTo>
                <a:lnTo>
                  <a:pt x="442221" y="1651554"/>
                </a:lnTo>
                <a:close/>
                <a:moveTo>
                  <a:pt x="528666" y="1651271"/>
                </a:moveTo>
                <a:lnTo>
                  <a:pt x="528203" y="1652197"/>
                </a:lnTo>
                <a:lnTo>
                  <a:pt x="526539" y="1652863"/>
                </a:lnTo>
                <a:lnTo>
                  <a:pt x="527146" y="1652170"/>
                </a:lnTo>
                <a:close/>
                <a:moveTo>
                  <a:pt x="532075" y="1650648"/>
                </a:moveTo>
                <a:lnTo>
                  <a:pt x="532075" y="1651969"/>
                </a:lnTo>
                <a:cubicBezTo>
                  <a:pt x="531165" y="1654475"/>
                  <a:pt x="529342" y="1656297"/>
                  <a:pt x="526609" y="1655386"/>
                </a:cubicBezTo>
                <a:lnTo>
                  <a:pt x="528203" y="1652197"/>
                </a:lnTo>
                <a:close/>
                <a:moveTo>
                  <a:pt x="1144435" y="1649985"/>
                </a:moveTo>
                <a:lnTo>
                  <a:pt x="1146027" y="1650941"/>
                </a:lnTo>
                <a:lnTo>
                  <a:pt x="1145009" y="1650831"/>
                </a:lnTo>
                <a:close/>
                <a:moveTo>
                  <a:pt x="3077652" y="1649920"/>
                </a:moveTo>
                <a:cubicBezTo>
                  <a:pt x="3074008" y="1649920"/>
                  <a:pt x="3072186" y="1649920"/>
                  <a:pt x="3068541" y="1651742"/>
                </a:cubicBezTo>
                <a:lnTo>
                  <a:pt x="3066719" y="1659031"/>
                </a:lnTo>
                <a:lnTo>
                  <a:pt x="3063075" y="1669964"/>
                </a:lnTo>
                <a:lnTo>
                  <a:pt x="3075830" y="1677252"/>
                </a:lnTo>
                <a:lnTo>
                  <a:pt x="3084941" y="1671786"/>
                </a:lnTo>
                <a:close/>
                <a:moveTo>
                  <a:pt x="444863" y="1649385"/>
                </a:moveTo>
                <a:lnTo>
                  <a:pt x="442221" y="1651554"/>
                </a:lnTo>
                <a:lnTo>
                  <a:pt x="437322" y="1651742"/>
                </a:lnTo>
                <a:close/>
                <a:moveTo>
                  <a:pt x="895926" y="1648752"/>
                </a:moveTo>
                <a:lnTo>
                  <a:pt x="896510" y="1649920"/>
                </a:lnTo>
                <a:lnTo>
                  <a:pt x="875578" y="1652194"/>
                </a:lnTo>
                <a:lnTo>
                  <a:pt x="878288" y="1651742"/>
                </a:lnTo>
                <a:close/>
                <a:moveTo>
                  <a:pt x="1091484" y="1648097"/>
                </a:moveTo>
                <a:cubicBezTo>
                  <a:pt x="1089660" y="1651742"/>
                  <a:pt x="1095127" y="1649920"/>
                  <a:pt x="1095127" y="1651742"/>
                </a:cubicBezTo>
                <a:cubicBezTo>
                  <a:pt x="1096949" y="1648097"/>
                  <a:pt x="1093305" y="1649920"/>
                  <a:pt x="1091484" y="1648097"/>
                </a:cubicBezTo>
                <a:close/>
                <a:moveTo>
                  <a:pt x="449583" y="1647827"/>
                </a:moveTo>
                <a:lnTo>
                  <a:pt x="448256" y="1648325"/>
                </a:lnTo>
                <a:lnTo>
                  <a:pt x="444863" y="1649385"/>
                </a:lnTo>
                <a:lnTo>
                  <a:pt x="446433" y="1648097"/>
                </a:lnTo>
                <a:close/>
                <a:moveTo>
                  <a:pt x="532075" y="1646535"/>
                </a:moveTo>
                <a:lnTo>
                  <a:pt x="532075" y="1649257"/>
                </a:lnTo>
                <a:lnTo>
                  <a:pt x="528666" y="1651271"/>
                </a:lnTo>
                <a:lnTo>
                  <a:pt x="529342" y="1649919"/>
                </a:lnTo>
                <a:lnTo>
                  <a:pt x="529646" y="1649312"/>
                </a:lnTo>
                <a:close/>
                <a:moveTo>
                  <a:pt x="1131570" y="1646275"/>
                </a:moveTo>
                <a:cubicBezTo>
                  <a:pt x="1129748" y="1651742"/>
                  <a:pt x="1140681" y="1653564"/>
                  <a:pt x="1140681" y="1649920"/>
                </a:cubicBezTo>
                <a:cubicBezTo>
                  <a:pt x="1138859" y="1648097"/>
                  <a:pt x="1135215" y="1648097"/>
                  <a:pt x="1131570" y="1646275"/>
                </a:cubicBezTo>
                <a:close/>
                <a:moveTo>
                  <a:pt x="524995" y="1645598"/>
                </a:moveTo>
                <a:lnTo>
                  <a:pt x="520914" y="1651286"/>
                </a:lnTo>
                <a:lnTo>
                  <a:pt x="519829" y="1655483"/>
                </a:lnTo>
                <a:lnTo>
                  <a:pt x="510209" y="1660853"/>
                </a:lnTo>
                <a:cubicBezTo>
                  <a:pt x="513853" y="1660853"/>
                  <a:pt x="513853" y="1659031"/>
                  <a:pt x="515676" y="1660853"/>
                </a:cubicBezTo>
                <a:cubicBezTo>
                  <a:pt x="517498" y="1664497"/>
                  <a:pt x="510209" y="1662675"/>
                  <a:pt x="513853" y="1668142"/>
                </a:cubicBezTo>
                <a:cubicBezTo>
                  <a:pt x="514764" y="1666319"/>
                  <a:pt x="515220" y="1664497"/>
                  <a:pt x="516131" y="1663358"/>
                </a:cubicBezTo>
                <a:lnTo>
                  <a:pt x="517853" y="1663123"/>
                </a:lnTo>
                <a:lnTo>
                  <a:pt x="517498" y="1664497"/>
                </a:lnTo>
                <a:lnTo>
                  <a:pt x="518687" y="1663010"/>
                </a:lnTo>
                <a:lnTo>
                  <a:pt x="521142" y="1662675"/>
                </a:lnTo>
                <a:cubicBezTo>
                  <a:pt x="513853" y="1673608"/>
                  <a:pt x="506565" y="1688185"/>
                  <a:pt x="493809" y="1684541"/>
                </a:cubicBezTo>
                <a:cubicBezTo>
                  <a:pt x="491076" y="1684541"/>
                  <a:pt x="492899" y="1683630"/>
                  <a:pt x="495404" y="1682035"/>
                </a:cubicBezTo>
                <a:lnTo>
                  <a:pt x="496761" y="1680461"/>
                </a:lnTo>
                <a:lnTo>
                  <a:pt x="495632" y="1682719"/>
                </a:lnTo>
                <a:lnTo>
                  <a:pt x="497771" y="1679289"/>
                </a:lnTo>
                <a:lnTo>
                  <a:pt x="501098" y="1675430"/>
                </a:lnTo>
                <a:lnTo>
                  <a:pt x="499456" y="1676590"/>
                </a:lnTo>
                <a:lnTo>
                  <a:pt x="506604" y="1665128"/>
                </a:lnTo>
                <a:lnTo>
                  <a:pt x="504743" y="1673608"/>
                </a:lnTo>
                <a:cubicBezTo>
                  <a:pt x="507020" y="1670875"/>
                  <a:pt x="508045" y="1668028"/>
                  <a:pt x="508415" y="1665152"/>
                </a:cubicBezTo>
                <a:lnTo>
                  <a:pt x="508333" y="1662358"/>
                </a:lnTo>
                <a:lnTo>
                  <a:pt x="509981" y="1659714"/>
                </a:lnTo>
                <a:lnTo>
                  <a:pt x="523160" y="1646209"/>
                </a:lnTo>
                <a:close/>
                <a:moveTo>
                  <a:pt x="801528" y="1645395"/>
                </a:moveTo>
                <a:cubicBezTo>
                  <a:pt x="804945" y="1645851"/>
                  <a:pt x="808134" y="1647217"/>
                  <a:pt x="810867" y="1648128"/>
                </a:cubicBezTo>
                <a:cubicBezTo>
                  <a:pt x="805401" y="1646306"/>
                  <a:pt x="798112" y="1646306"/>
                  <a:pt x="790823" y="1648128"/>
                </a:cubicBezTo>
                <a:cubicBezTo>
                  <a:pt x="794467" y="1645395"/>
                  <a:pt x="798112" y="1644939"/>
                  <a:pt x="801528" y="1645395"/>
                </a:cubicBezTo>
                <a:close/>
                <a:moveTo>
                  <a:pt x="452507" y="1645060"/>
                </a:moveTo>
                <a:lnTo>
                  <a:pt x="453441" y="1645994"/>
                </a:lnTo>
                <a:lnTo>
                  <a:pt x="452642" y="1646680"/>
                </a:lnTo>
                <a:lnTo>
                  <a:pt x="452396" y="1646772"/>
                </a:lnTo>
                <a:lnTo>
                  <a:pt x="446433" y="1648097"/>
                </a:lnTo>
                <a:close/>
                <a:moveTo>
                  <a:pt x="515675" y="1644485"/>
                </a:moveTo>
                <a:cubicBezTo>
                  <a:pt x="513853" y="1648129"/>
                  <a:pt x="517498" y="1655418"/>
                  <a:pt x="512031" y="1651773"/>
                </a:cubicBezTo>
                <a:cubicBezTo>
                  <a:pt x="510209" y="1651773"/>
                  <a:pt x="512031" y="1648129"/>
                  <a:pt x="515675" y="1644485"/>
                </a:cubicBezTo>
                <a:close/>
                <a:moveTo>
                  <a:pt x="1140681" y="1644453"/>
                </a:moveTo>
                <a:lnTo>
                  <a:pt x="1144435" y="1649985"/>
                </a:lnTo>
                <a:lnTo>
                  <a:pt x="1144326" y="1649920"/>
                </a:lnTo>
                <a:cubicBezTo>
                  <a:pt x="1142503" y="1655386"/>
                  <a:pt x="1149792" y="1653564"/>
                  <a:pt x="1153436" y="1655386"/>
                </a:cubicBezTo>
                <a:lnTo>
                  <a:pt x="1146027" y="1650941"/>
                </a:lnTo>
                <a:lnTo>
                  <a:pt x="1153436" y="1651742"/>
                </a:lnTo>
                <a:cubicBezTo>
                  <a:pt x="1157081" y="1653564"/>
                  <a:pt x="1158903" y="1653564"/>
                  <a:pt x="1160725" y="1655386"/>
                </a:cubicBezTo>
                <a:lnTo>
                  <a:pt x="1164370" y="1655386"/>
                </a:lnTo>
                <a:cubicBezTo>
                  <a:pt x="1160725" y="1653564"/>
                  <a:pt x="1155259" y="1653564"/>
                  <a:pt x="1153436" y="1648097"/>
                </a:cubicBezTo>
                <a:cubicBezTo>
                  <a:pt x="1151614" y="1648097"/>
                  <a:pt x="1151614" y="1649920"/>
                  <a:pt x="1151614" y="1649920"/>
                </a:cubicBezTo>
                <a:cubicBezTo>
                  <a:pt x="1147970" y="1646275"/>
                  <a:pt x="1144326" y="1646275"/>
                  <a:pt x="1140681" y="1644453"/>
                </a:cubicBezTo>
                <a:close/>
                <a:moveTo>
                  <a:pt x="1098771" y="1644453"/>
                </a:moveTo>
                <a:cubicBezTo>
                  <a:pt x="1100593" y="1651742"/>
                  <a:pt x="1113349" y="1655386"/>
                  <a:pt x="1118815" y="1649920"/>
                </a:cubicBezTo>
                <a:cubicBezTo>
                  <a:pt x="1111526" y="1649920"/>
                  <a:pt x="1106060" y="1646275"/>
                  <a:pt x="1098771" y="1644453"/>
                </a:cubicBezTo>
                <a:close/>
                <a:moveTo>
                  <a:pt x="482193" y="1642631"/>
                </a:moveTo>
                <a:cubicBezTo>
                  <a:pt x="480599" y="1643086"/>
                  <a:pt x="479232" y="1644453"/>
                  <a:pt x="479232" y="1646275"/>
                </a:cubicBezTo>
                <a:cubicBezTo>
                  <a:pt x="482876" y="1648097"/>
                  <a:pt x="484700" y="1646275"/>
                  <a:pt x="486521" y="1644453"/>
                </a:cubicBezTo>
                <a:cubicBezTo>
                  <a:pt x="485610" y="1642631"/>
                  <a:pt x="483788" y="1642175"/>
                  <a:pt x="482193" y="1642631"/>
                </a:cubicBezTo>
                <a:close/>
                <a:moveTo>
                  <a:pt x="521662" y="1642371"/>
                </a:moveTo>
                <a:lnTo>
                  <a:pt x="522054" y="1643542"/>
                </a:lnTo>
                <a:lnTo>
                  <a:pt x="521142" y="1642631"/>
                </a:lnTo>
                <a:close/>
                <a:moveTo>
                  <a:pt x="1096949" y="1640809"/>
                </a:moveTo>
                <a:cubicBezTo>
                  <a:pt x="1107882" y="1644453"/>
                  <a:pt x="1118815" y="1646275"/>
                  <a:pt x="1131570" y="1648097"/>
                </a:cubicBezTo>
                <a:cubicBezTo>
                  <a:pt x="1122459" y="1642631"/>
                  <a:pt x="1107882" y="1637164"/>
                  <a:pt x="1096949" y="1640809"/>
                </a:cubicBezTo>
                <a:close/>
                <a:moveTo>
                  <a:pt x="871000" y="1640809"/>
                </a:moveTo>
                <a:cubicBezTo>
                  <a:pt x="863711" y="1638987"/>
                  <a:pt x="849133" y="1644453"/>
                  <a:pt x="838200" y="1649920"/>
                </a:cubicBezTo>
                <a:cubicBezTo>
                  <a:pt x="836378" y="1651742"/>
                  <a:pt x="838200" y="1651742"/>
                  <a:pt x="838200" y="1651742"/>
                </a:cubicBezTo>
                <a:cubicBezTo>
                  <a:pt x="849133" y="1646275"/>
                  <a:pt x="860066" y="1644453"/>
                  <a:pt x="871000" y="1640809"/>
                </a:cubicBezTo>
                <a:close/>
                <a:moveTo>
                  <a:pt x="650516" y="1640809"/>
                </a:moveTo>
                <a:cubicBezTo>
                  <a:pt x="645050" y="1648097"/>
                  <a:pt x="641407" y="1655386"/>
                  <a:pt x="634117" y="1659031"/>
                </a:cubicBezTo>
                <a:cubicBezTo>
                  <a:pt x="645050" y="1660853"/>
                  <a:pt x="646872" y="1648097"/>
                  <a:pt x="652339" y="1640809"/>
                </a:cubicBezTo>
                <a:cubicBezTo>
                  <a:pt x="652339" y="1640809"/>
                  <a:pt x="650516" y="1642631"/>
                  <a:pt x="650516" y="1640809"/>
                </a:cubicBezTo>
                <a:close/>
                <a:moveTo>
                  <a:pt x="559408" y="1640809"/>
                </a:moveTo>
                <a:cubicBezTo>
                  <a:pt x="561230" y="1640809"/>
                  <a:pt x="561230" y="1649920"/>
                  <a:pt x="557586" y="1649920"/>
                </a:cubicBezTo>
                <a:cubicBezTo>
                  <a:pt x="557586" y="1646275"/>
                  <a:pt x="557586" y="1644453"/>
                  <a:pt x="559408" y="1640809"/>
                </a:cubicBezTo>
                <a:close/>
                <a:moveTo>
                  <a:pt x="528431" y="1640809"/>
                </a:moveTo>
                <a:lnTo>
                  <a:pt x="526761" y="1643136"/>
                </a:lnTo>
                <a:lnTo>
                  <a:pt x="525040" y="1644283"/>
                </a:lnTo>
                <a:close/>
                <a:moveTo>
                  <a:pt x="471943" y="1638987"/>
                </a:moveTo>
                <a:cubicBezTo>
                  <a:pt x="470121" y="1638987"/>
                  <a:pt x="470121" y="1640809"/>
                  <a:pt x="466478" y="1642631"/>
                </a:cubicBezTo>
                <a:cubicBezTo>
                  <a:pt x="466478" y="1642631"/>
                  <a:pt x="473766" y="1640809"/>
                  <a:pt x="471943" y="1638987"/>
                </a:cubicBezTo>
                <a:close/>
                <a:moveTo>
                  <a:pt x="3133229" y="1638075"/>
                </a:moveTo>
                <a:cubicBezTo>
                  <a:pt x="3121840" y="1638531"/>
                  <a:pt x="3110451" y="1640808"/>
                  <a:pt x="3099518" y="1644453"/>
                </a:cubicBezTo>
                <a:lnTo>
                  <a:pt x="3099518" y="1648097"/>
                </a:lnTo>
                <a:lnTo>
                  <a:pt x="3121384" y="1640809"/>
                </a:lnTo>
                <a:cubicBezTo>
                  <a:pt x="3152361" y="1653564"/>
                  <a:pt x="3141428" y="1637164"/>
                  <a:pt x="3159650" y="1662675"/>
                </a:cubicBezTo>
                <a:lnTo>
                  <a:pt x="3137784" y="1662675"/>
                </a:lnTo>
                <a:cubicBezTo>
                  <a:pt x="3143250" y="1668142"/>
                  <a:pt x="3146895" y="1669964"/>
                  <a:pt x="3148717" y="1671786"/>
                </a:cubicBezTo>
                <a:cubicBezTo>
                  <a:pt x="3148717" y="1675430"/>
                  <a:pt x="3148717" y="1679075"/>
                  <a:pt x="3152361" y="1686363"/>
                </a:cubicBezTo>
                <a:lnTo>
                  <a:pt x="3166939" y="1677252"/>
                </a:lnTo>
                <a:lnTo>
                  <a:pt x="3159650" y="1662675"/>
                </a:lnTo>
                <a:lnTo>
                  <a:pt x="3166939" y="1642631"/>
                </a:lnTo>
                <a:cubicBezTo>
                  <a:pt x="3156006" y="1638986"/>
                  <a:pt x="3144618" y="1637620"/>
                  <a:pt x="3133229" y="1638075"/>
                </a:cubicBezTo>
                <a:close/>
                <a:moveTo>
                  <a:pt x="1115170" y="1637221"/>
                </a:moveTo>
                <a:cubicBezTo>
                  <a:pt x="1120637" y="1637221"/>
                  <a:pt x="1127926" y="1637221"/>
                  <a:pt x="1133392" y="1639043"/>
                </a:cubicBezTo>
                <a:cubicBezTo>
                  <a:pt x="1129748" y="1642688"/>
                  <a:pt x="1120637" y="1639043"/>
                  <a:pt x="1115170" y="1637221"/>
                </a:cubicBezTo>
                <a:close/>
                <a:moveTo>
                  <a:pt x="3081297" y="1637164"/>
                </a:moveTo>
                <a:cubicBezTo>
                  <a:pt x="3081297" y="1638987"/>
                  <a:pt x="3079474" y="1638987"/>
                  <a:pt x="3079474" y="1642631"/>
                </a:cubicBezTo>
                <a:lnTo>
                  <a:pt x="3086763" y="1637164"/>
                </a:lnTo>
                <a:cubicBezTo>
                  <a:pt x="3084941" y="1637164"/>
                  <a:pt x="3083119" y="1637164"/>
                  <a:pt x="3081297" y="1637164"/>
                </a:cubicBezTo>
                <a:close/>
                <a:moveTo>
                  <a:pt x="1087838" y="1637164"/>
                </a:moveTo>
                <a:cubicBezTo>
                  <a:pt x="1087838" y="1640809"/>
                  <a:pt x="1093305" y="1640809"/>
                  <a:pt x="1095127" y="1638987"/>
                </a:cubicBezTo>
                <a:cubicBezTo>
                  <a:pt x="1093305" y="1635342"/>
                  <a:pt x="1089660" y="1638987"/>
                  <a:pt x="1087838" y="1637164"/>
                </a:cubicBezTo>
                <a:close/>
                <a:moveTo>
                  <a:pt x="1036818" y="1637164"/>
                </a:moveTo>
                <a:cubicBezTo>
                  <a:pt x="1036818" y="1642631"/>
                  <a:pt x="1045929" y="1642631"/>
                  <a:pt x="1051395" y="1642631"/>
                </a:cubicBezTo>
                <a:cubicBezTo>
                  <a:pt x="1049573" y="1646275"/>
                  <a:pt x="1047750" y="1642631"/>
                  <a:pt x="1045929" y="1644453"/>
                </a:cubicBezTo>
                <a:cubicBezTo>
                  <a:pt x="1056861" y="1648097"/>
                  <a:pt x="1067794" y="1657208"/>
                  <a:pt x="1080549" y="1653564"/>
                </a:cubicBezTo>
                <a:cubicBezTo>
                  <a:pt x="1071439" y="1646275"/>
                  <a:pt x="1062328" y="1646275"/>
                  <a:pt x="1053217" y="1644453"/>
                </a:cubicBezTo>
                <a:cubicBezTo>
                  <a:pt x="1053217" y="1644453"/>
                  <a:pt x="1055040" y="1642631"/>
                  <a:pt x="1055040" y="1642631"/>
                </a:cubicBezTo>
                <a:cubicBezTo>
                  <a:pt x="1047750" y="1640809"/>
                  <a:pt x="1044106" y="1640809"/>
                  <a:pt x="1036818" y="1637164"/>
                </a:cubicBezTo>
                <a:close/>
                <a:moveTo>
                  <a:pt x="692426" y="1637164"/>
                </a:moveTo>
                <a:cubicBezTo>
                  <a:pt x="690604" y="1637164"/>
                  <a:pt x="690604" y="1642631"/>
                  <a:pt x="688782" y="1642631"/>
                </a:cubicBezTo>
                <a:cubicBezTo>
                  <a:pt x="692426" y="1642631"/>
                  <a:pt x="690604" y="1638987"/>
                  <a:pt x="692426" y="1637164"/>
                </a:cubicBezTo>
                <a:close/>
                <a:moveTo>
                  <a:pt x="502920" y="1637164"/>
                </a:moveTo>
                <a:cubicBezTo>
                  <a:pt x="501098" y="1638987"/>
                  <a:pt x="497454" y="1640809"/>
                  <a:pt x="502920" y="1640809"/>
                </a:cubicBezTo>
                <a:cubicBezTo>
                  <a:pt x="504743" y="1640809"/>
                  <a:pt x="504743" y="1638987"/>
                  <a:pt x="502920" y="1637164"/>
                </a:cubicBezTo>
                <a:close/>
                <a:moveTo>
                  <a:pt x="402701" y="1637164"/>
                </a:moveTo>
                <a:cubicBezTo>
                  <a:pt x="400879" y="1642631"/>
                  <a:pt x="399056" y="1646275"/>
                  <a:pt x="408167" y="1644453"/>
                </a:cubicBezTo>
                <a:cubicBezTo>
                  <a:pt x="404523" y="1640809"/>
                  <a:pt x="402701" y="1642631"/>
                  <a:pt x="402701" y="1637164"/>
                </a:cubicBezTo>
                <a:close/>
                <a:moveTo>
                  <a:pt x="524786" y="1635342"/>
                </a:moveTo>
                <a:cubicBezTo>
                  <a:pt x="522964" y="1633520"/>
                  <a:pt x="519320" y="1637164"/>
                  <a:pt x="521142" y="1638987"/>
                </a:cubicBezTo>
                <a:cubicBezTo>
                  <a:pt x="524786" y="1637164"/>
                  <a:pt x="522964" y="1635342"/>
                  <a:pt x="524786" y="1635342"/>
                </a:cubicBezTo>
                <a:close/>
                <a:moveTo>
                  <a:pt x="520651" y="1632188"/>
                </a:moveTo>
                <a:lnTo>
                  <a:pt x="520458" y="1632837"/>
                </a:lnTo>
                <a:lnTo>
                  <a:pt x="519443" y="1633502"/>
                </a:lnTo>
                <a:lnTo>
                  <a:pt x="519320" y="1633520"/>
                </a:lnTo>
                <a:close/>
                <a:moveTo>
                  <a:pt x="1014951" y="1631698"/>
                </a:moveTo>
                <a:cubicBezTo>
                  <a:pt x="1020418" y="1640809"/>
                  <a:pt x="1029529" y="1638987"/>
                  <a:pt x="1036818" y="1640809"/>
                </a:cubicBezTo>
                <a:cubicBezTo>
                  <a:pt x="1033173" y="1629876"/>
                  <a:pt x="1022240" y="1633520"/>
                  <a:pt x="1014951" y="1631698"/>
                </a:cubicBezTo>
                <a:close/>
                <a:moveTo>
                  <a:pt x="546653" y="1631698"/>
                </a:moveTo>
                <a:lnTo>
                  <a:pt x="546841" y="1632223"/>
                </a:lnTo>
                <a:lnTo>
                  <a:pt x="544968" y="1635066"/>
                </a:lnTo>
                <a:close/>
                <a:moveTo>
                  <a:pt x="435500" y="1631698"/>
                </a:moveTo>
                <a:cubicBezTo>
                  <a:pt x="433678" y="1637164"/>
                  <a:pt x="430034" y="1633520"/>
                  <a:pt x="430034" y="1637164"/>
                </a:cubicBezTo>
                <a:cubicBezTo>
                  <a:pt x="431856" y="1635342"/>
                  <a:pt x="430034" y="1633520"/>
                  <a:pt x="431856" y="1633520"/>
                </a:cubicBezTo>
                <a:cubicBezTo>
                  <a:pt x="428211" y="1633520"/>
                  <a:pt x="426389" y="1633520"/>
                  <a:pt x="422745" y="1635342"/>
                </a:cubicBezTo>
                <a:cubicBezTo>
                  <a:pt x="422745" y="1637164"/>
                  <a:pt x="422745" y="1638987"/>
                  <a:pt x="424567" y="1640809"/>
                </a:cubicBezTo>
                <a:cubicBezTo>
                  <a:pt x="430034" y="1640809"/>
                  <a:pt x="435500" y="1638987"/>
                  <a:pt x="440966" y="1637164"/>
                </a:cubicBezTo>
                <a:cubicBezTo>
                  <a:pt x="439145" y="1635342"/>
                  <a:pt x="437322" y="1633520"/>
                  <a:pt x="435500" y="1631698"/>
                </a:cubicBezTo>
                <a:close/>
                <a:moveTo>
                  <a:pt x="1042284" y="1629876"/>
                </a:moveTo>
                <a:cubicBezTo>
                  <a:pt x="1038639" y="1631698"/>
                  <a:pt x="1044106" y="1633520"/>
                  <a:pt x="1045929" y="1633520"/>
                </a:cubicBezTo>
                <a:cubicBezTo>
                  <a:pt x="1045929" y="1631698"/>
                  <a:pt x="1044106" y="1629876"/>
                  <a:pt x="1042284" y="1629876"/>
                </a:cubicBezTo>
                <a:close/>
                <a:moveTo>
                  <a:pt x="451899" y="1629876"/>
                </a:moveTo>
                <a:cubicBezTo>
                  <a:pt x="450077" y="1631698"/>
                  <a:pt x="446433" y="1631698"/>
                  <a:pt x="446433" y="1633520"/>
                </a:cubicBezTo>
                <a:cubicBezTo>
                  <a:pt x="446433" y="1635342"/>
                  <a:pt x="453722" y="1631698"/>
                  <a:pt x="451899" y="1629876"/>
                </a:cubicBezTo>
                <a:close/>
                <a:moveTo>
                  <a:pt x="442789" y="1629876"/>
                </a:moveTo>
                <a:cubicBezTo>
                  <a:pt x="440966" y="1633520"/>
                  <a:pt x="439145" y="1629876"/>
                  <a:pt x="437322" y="1631698"/>
                </a:cubicBezTo>
                <a:cubicBezTo>
                  <a:pt x="439145" y="1633520"/>
                  <a:pt x="440966" y="1638987"/>
                  <a:pt x="446433" y="1637164"/>
                </a:cubicBezTo>
                <a:cubicBezTo>
                  <a:pt x="446433" y="1633520"/>
                  <a:pt x="444611" y="1631698"/>
                  <a:pt x="442789" y="1629876"/>
                </a:cubicBezTo>
                <a:close/>
                <a:moveTo>
                  <a:pt x="503148" y="1629648"/>
                </a:moveTo>
                <a:cubicBezTo>
                  <a:pt x="502009" y="1630787"/>
                  <a:pt x="501098" y="1632609"/>
                  <a:pt x="501098" y="1633520"/>
                </a:cubicBezTo>
                <a:cubicBezTo>
                  <a:pt x="501098" y="1635342"/>
                  <a:pt x="502920" y="1637164"/>
                  <a:pt x="504743" y="1637164"/>
                </a:cubicBezTo>
                <a:cubicBezTo>
                  <a:pt x="506565" y="1635342"/>
                  <a:pt x="506565" y="1633520"/>
                  <a:pt x="506565" y="1629876"/>
                </a:cubicBezTo>
                <a:cubicBezTo>
                  <a:pt x="505654" y="1628053"/>
                  <a:pt x="504288" y="1628509"/>
                  <a:pt x="503148" y="1629648"/>
                </a:cubicBezTo>
                <a:close/>
                <a:moveTo>
                  <a:pt x="976714" y="1628840"/>
                </a:moveTo>
                <a:lnTo>
                  <a:pt x="966679" y="1633238"/>
                </a:lnTo>
                <a:lnTo>
                  <a:pt x="932042" y="1642631"/>
                </a:lnTo>
                <a:lnTo>
                  <a:pt x="895926" y="1648752"/>
                </a:lnTo>
                <a:lnTo>
                  <a:pt x="894688" y="1646275"/>
                </a:lnTo>
                <a:cubicBezTo>
                  <a:pt x="900154" y="1644453"/>
                  <a:pt x="907444" y="1646275"/>
                  <a:pt x="911087" y="1644453"/>
                </a:cubicBezTo>
                <a:lnTo>
                  <a:pt x="974481" y="1629033"/>
                </a:lnTo>
                <a:close/>
                <a:moveTo>
                  <a:pt x="572163" y="1626231"/>
                </a:moveTo>
                <a:cubicBezTo>
                  <a:pt x="572163" y="1628054"/>
                  <a:pt x="572163" y="1629876"/>
                  <a:pt x="573985" y="1633520"/>
                </a:cubicBezTo>
                <a:cubicBezTo>
                  <a:pt x="561230" y="1640809"/>
                  <a:pt x="577630" y="1660853"/>
                  <a:pt x="561230" y="1668142"/>
                </a:cubicBezTo>
                <a:cubicBezTo>
                  <a:pt x="559408" y="1651742"/>
                  <a:pt x="561230" y="1637164"/>
                  <a:pt x="572163" y="1626231"/>
                </a:cubicBezTo>
                <a:close/>
                <a:moveTo>
                  <a:pt x="517498" y="1626231"/>
                </a:moveTo>
                <a:cubicBezTo>
                  <a:pt x="515676" y="1624409"/>
                  <a:pt x="508387" y="1628054"/>
                  <a:pt x="508387" y="1633520"/>
                </a:cubicBezTo>
                <a:cubicBezTo>
                  <a:pt x="510209" y="1633520"/>
                  <a:pt x="513853" y="1628054"/>
                  <a:pt x="517498" y="1626231"/>
                </a:cubicBezTo>
                <a:close/>
                <a:moveTo>
                  <a:pt x="1158903" y="1624409"/>
                </a:moveTo>
                <a:cubicBezTo>
                  <a:pt x="1162547" y="1626231"/>
                  <a:pt x="1164370" y="1628054"/>
                  <a:pt x="1168014" y="1628054"/>
                </a:cubicBezTo>
                <a:lnTo>
                  <a:pt x="1168014" y="1626231"/>
                </a:lnTo>
                <a:cubicBezTo>
                  <a:pt x="1164370" y="1624409"/>
                  <a:pt x="1162547" y="1624409"/>
                  <a:pt x="1158903" y="1624409"/>
                </a:cubicBezTo>
                <a:close/>
                <a:moveTo>
                  <a:pt x="1009485" y="1624409"/>
                </a:moveTo>
                <a:cubicBezTo>
                  <a:pt x="1007663" y="1629876"/>
                  <a:pt x="1016774" y="1628054"/>
                  <a:pt x="1018596" y="1629876"/>
                </a:cubicBezTo>
                <a:cubicBezTo>
                  <a:pt x="1018596" y="1626231"/>
                  <a:pt x="1013129" y="1624409"/>
                  <a:pt x="1009485" y="1624409"/>
                </a:cubicBezTo>
                <a:close/>
                <a:moveTo>
                  <a:pt x="699715" y="1624409"/>
                </a:moveTo>
                <a:cubicBezTo>
                  <a:pt x="696071" y="1624409"/>
                  <a:pt x="690604" y="1631698"/>
                  <a:pt x="692426" y="1635342"/>
                </a:cubicBezTo>
                <a:cubicBezTo>
                  <a:pt x="696071" y="1635342"/>
                  <a:pt x="697893" y="1629876"/>
                  <a:pt x="699715" y="1624409"/>
                </a:cubicBezTo>
                <a:close/>
                <a:moveTo>
                  <a:pt x="1018596" y="1622587"/>
                </a:moveTo>
                <a:cubicBezTo>
                  <a:pt x="1020418" y="1629876"/>
                  <a:pt x="1033173" y="1633520"/>
                  <a:pt x="1040462" y="1631698"/>
                </a:cubicBezTo>
                <a:cubicBezTo>
                  <a:pt x="1036818" y="1624409"/>
                  <a:pt x="1027707" y="1618943"/>
                  <a:pt x="1018596" y="1622587"/>
                </a:cubicBezTo>
                <a:close/>
                <a:moveTo>
                  <a:pt x="488343" y="1622587"/>
                </a:moveTo>
                <a:cubicBezTo>
                  <a:pt x="486521" y="1624409"/>
                  <a:pt x="488343" y="1624409"/>
                  <a:pt x="486521" y="1626231"/>
                </a:cubicBezTo>
                <a:cubicBezTo>
                  <a:pt x="488343" y="1628054"/>
                  <a:pt x="490165" y="1628054"/>
                  <a:pt x="491987" y="1626231"/>
                </a:cubicBezTo>
                <a:cubicBezTo>
                  <a:pt x="491987" y="1624409"/>
                  <a:pt x="490165" y="1624409"/>
                  <a:pt x="488343" y="1622587"/>
                </a:cubicBezTo>
                <a:close/>
                <a:moveTo>
                  <a:pt x="461010" y="1622587"/>
                </a:moveTo>
                <a:cubicBezTo>
                  <a:pt x="459188" y="1622587"/>
                  <a:pt x="451899" y="1626231"/>
                  <a:pt x="453722" y="1629876"/>
                </a:cubicBezTo>
                <a:cubicBezTo>
                  <a:pt x="455544" y="1628054"/>
                  <a:pt x="462832" y="1624409"/>
                  <a:pt x="461010" y="1622587"/>
                </a:cubicBezTo>
                <a:close/>
                <a:moveTo>
                  <a:pt x="661449" y="1620765"/>
                </a:moveTo>
                <a:cubicBezTo>
                  <a:pt x="654161" y="1626231"/>
                  <a:pt x="657805" y="1633520"/>
                  <a:pt x="655983" y="1638987"/>
                </a:cubicBezTo>
                <a:cubicBezTo>
                  <a:pt x="655983" y="1633520"/>
                  <a:pt x="668738" y="1622587"/>
                  <a:pt x="661449" y="1620765"/>
                </a:cubicBezTo>
                <a:close/>
                <a:moveTo>
                  <a:pt x="535719" y="1620765"/>
                </a:moveTo>
                <a:cubicBezTo>
                  <a:pt x="533897" y="1620765"/>
                  <a:pt x="530253" y="1626231"/>
                  <a:pt x="532075" y="1628054"/>
                </a:cubicBezTo>
                <a:cubicBezTo>
                  <a:pt x="533897" y="1626231"/>
                  <a:pt x="535719" y="1622587"/>
                  <a:pt x="535719" y="1620765"/>
                </a:cubicBezTo>
                <a:close/>
                <a:moveTo>
                  <a:pt x="481054" y="1620765"/>
                </a:moveTo>
                <a:cubicBezTo>
                  <a:pt x="481054" y="1620765"/>
                  <a:pt x="479232" y="1620765"/>
                  <a:pt x="477410" y="1622587"/>
                </a:cubicBezTo>
                <a:cubicBezTo>
                  <a:pt x="477410" y="1628054"/>
                  <a:pt x="482876" y="1622587"/>
                  <a:pt x="481054" y="1620765"/>
                </a:cubicBezTo>
                <a:close/>
                <a:moveTo>
                  <a:pt x="566697" y="1618944"/>
                </a:moveTo>
                <a:lnTo>
                  <a:pt x="567607" y="1627142"/>
                </a:lnTo>
                <a:lnTo>
                  <a:pt x="563621" y="1634317"/>
                </a:lnTo>
                <a:close/>
                <a:moveTo>
                  <a:pt x="3084941" y="1618943"/>
                </a:moveTo>
                <a:cubicBezTo>
                  <a:pt x="3081297" y="1618943"/>
                  <a:pt x="3083119" y="1628054"/>
                  <a:pt x="3088585" y="1626231"/>
                </a:cubicBezTo>
                <a:cubicBezTo>
                  <a:pt x="3088585" y="1622587"/>
                  <a:pt x="3084941" y="1622587"/>
                  <a:pt x="3084941" y="1618943"/>
                </a:cubicBezTo>
                <a:close/>
                <a:moveTo>
                  <a:pt x="557586" y="1618943"/>
                </a:moveTo>
                <a:cubicBezTo>
                  <a:pt x="548475" y="1620765"/>
                  <a:pt x="550297" y="1628054"/>
                  <a:pt x="550297" y="1631698"/>
                </a:cubicBezTo>
                <a:cubicBezTo>
                  <a:pt x="553941" y="1628054"/>
                  <a:pt x="555763" y="1624409"/>
                  <a:pt x="557586" y="1618943"/>
                </a:cubicBezTo>
                <a:close/>
                <a:moveTo>
                  <a:pt x="994907" y="1617121"/>
                </a:moveTo>
                <a:cubicBezTo>
                  <a:pt x="989441" y="1618943"/>
                  <a:pt x="983974" y="1622587"/>
                  <a:pt x="980330" y="1620765"/>
                </a:cubicBezTo>
                <a:cubicBezTo>
                  <a:pt x="982152" y="1626231"/>
                  <a:pt x="993085" y="1626231"/>
                  <a:pt x="1000374" y="1622587"/>
                </a:cubicBezTo>
                <a:cubicBezTo>
                  <a:pt x="1000374" y="1620765"/>
                  <a:pt x="996729" y="1618943"/>
                  <a:pt x="994907" y="1617121"/>
                </a:cubicBezTo>
                <a:close/>
                <a:moveTo>
                  <a:pt x="563052" y="1617121"/>
                </a:moveTo>
                <a:cubicBezTo>
                  <a:pt x="561230" y="1618943"/>
                  <a:pt x="563052" y="1620765"/>
                  <a:pt x="561230" y="1622587"/>
                </a:cubicBezTo>
                <a:cubicBezTo>
                  <a:pt x="563052" y="1624409"/>
                  <a:pt x="566697" y="1617121"/>
                  <a:pt x="563052" y="1617121"/>
                </a:cubicBezTo>
                <a:close/>
                <a:moveTo>
                  <a:pt x="446433" y="1617121"/>
                </a:moveTo>
                <a:cubicBezTo>
                  <a:pt x="450077" y="1622587"/>
                  <a:pt x="433678" y="1624409"/>
                  <a:pt x="440966" y="1628054"/>
                </a:cubicBezTo>
                <a:cubicBezTo>
                  <a:pt x="442789" y="1628054"/>
                  <a:pt x="444611" y="1628054"/>
                  <a:pt x="446433" y="1626231"/>
                </a:cubicBezTo>
                <a:lnTo>
                  <a:pt x="448566" y="1625816"/>
                </a:lnTo>
                <a:lnTo>
                  <a:pt x="448256" y="1626231"/>
                </a:lnTo>
                <a:lnTo>
                  <a:pt x="448841" y="1625763"/>
                </a:lnTo>
                <a:lnTo>
                  <a:pt x="454632" y="1624637"/>
                </a:lnTo>
                <a:cubicBezTo>
                  <a:pt x="457367" y="1623043"/>
                  <a:pt x="459188" y="1620765"/>
                  <a:pt x="457367" y="1618943"/>
                </a:cubicBezTo>
                <a:lnTo>
                  <a:pt x="448841" y="1625763"/>
                </a:lnTo>
                <a:lnTo>
                  <a:pt x="448566" y="1625816"/>
                </a:lnTo>
                <a:lnTo>
                  <a:pt x="453722" y="1618943"/>
                </a:lnTo>
                <a:cubicBezTo>
                  <a:pt x="451899" y="1615298"/>
                  <a:pt x="450077" y="1615298"/>
                  <a:pt x="446433" y="1617121"/>
                </a:cubicBezTo>
                <a:close/>
                <a:moveTo>
                  <a:pt x="1007663" y="1615298"/>
                </a:moveTo>
                <a:cubicBezTo>
                  <a:pt x="1009485" y="1626231"/>
                  <a:pt x="1014951" y="1620765"/>
                  <a:pt x="1018596" y="1617121"/>
                </a:cubicBezTo>
                <a:cubicBezTo>
                  <a:pt x="1014951" y="1617121"/>
                  <a:pt x="1011307" y="1615298"/>
                  <a:pt x="1007663" y="1615298"/>
                </a:cubicBezTo>
                <a:close/>
                <a:moveTo>
                  <a:pt x="513853" y="1615298"/>
                </a:moveTo>
                <a:cubicBezTo>
                  <a:pt x="510209" y="1617121"/>
                  <a:pt x="512031" y="1618943"/>
                  <a:pt x="512031" y="1620765"/>
                </a:cubicBezTo>
                <a:cubicBezTo>
                  <a:pt x="513853" y="1622587"/>
                  <a:pt x="513853" y="1617121"/>
                  <a:pt x="517498" y="1617121"/>
                </a:cubicBezTo>
                <a:cubicBezTo>
                  <a:pt x="515676" y="1615298"/>
                  <a:pt x="515676" y="1617121"/>
                  <a:pt x="513853" y="1615298"/>
                </a:cubicBezTo>
                <a:close/>
                <a:moveTo>
                  <a:pt x="508387" y="1613476"/>
                </a:moveTo>
                <a:cubicBezTo>
                  <a:pt x="504743" y="1615298"/>
                  <a:pt x="502920" y="1620765"/>
                  <a:pt x="501098" y="1624409"/>
                </a:cubicBezTo>
                <a:cubicBezTo>
                  <a:pt x="508387" y="1626231"/>
                  <a:pt x="512031" y="1617121"/>
                  <a:pt x="508387" y="1613476"/>
                </a:cubicBezTo>
                <a:close/>
                <a:moveTo>
                  <a:pt x="940242" y="1611654"/>
                </a:moveTo>
                <a:cubicBezTo>
                  <a:pt x="942975" y="1610743"/>
                  <a:pt x="947075" y="1611198"/>
                  <a:pt x="951403" y="1612565"/>
                </a:cubicBezTo>
                <a:lnTo>
                  <a:pt x="963039" y="1618489"/>
                </a:lnTo>
                <a:lnTo>
                  <a:pt x="958692" y="1618715"/>
                </a:lnTo>
                <a:lnTo>
                  <a:pt x="939756" y="1611816"/>
                </a:lnTo>
                <a:close/>
                <a:moveTo>
                  <a:pt x="522964" y="1611654"/>
                </a:moveTo>
                <a:cubicBezTo>
                  <a:pt x="521142" y="1612565"/>
                  <a:pt x="519320" y="1614387"/>
                  <a:pt x="519320" y="1615298"/>
                </a:cubicBezTo>
                <a:cubicBezTo>
                  <a:pt x="524786" y="1618943"/>
                  <a:pt x="524786" y="1611654"/>
                  <a:pt x="526609" y="1613476"/>
                </a:cubicBezTo>
                <a:cubicBezTo>
                  <a:pt x="526609" y="1610743"/>
                  <a:pt x="524787" y="1610743"/>
                  <a:pt x="522964" y="1611654"/>
                </a:cubicBezTo>
                <a:close/>
                <a:moveTo>
                  <a:pt x="502920" y="1611654"/>
                </a:moveTo>
                <a:cubicBezTo>
                  <a:pt x="502920" y="1613476"/>
                  <a:pt x="501098" y="1613476"/>
                  <a:pt x="499276" y="1613476"/>
                </a:cubicBezTo>
                <a:cubicBezTo>
                  <a:pt x="499276" y="1615298"/>
                  <a:pt x="499276" y="1618943"/>
                  <a:pt x="501098" y="1618943"/>
                </a:cubicBezTo>
                <a:cubicBezTo>
                  <a:pt x="501098" y="1617121"/>
                  <a:pt x="502920" y="1615298"/>
                  <a:pt x="502920" y="1611654"/>
                </a:cubicBezTo>
                <a:close/>
                <a:moveTo>
                  <a:pt x="471943" y="1611654"/>
                </a:moveTo>
                <a:cubicBezTo>
                  <a:pt x="470121" y="1615298"/>
                  <a:pt x="466478" y="1618943"/>
                  <a:pt x="468299" y="1624409"/>
                </a:cubicBezTo>
                <a:cubicBezTo>
                  <a:pt x="466478" y="1624409"/>
                  <a:pt x="464655" y="1622587"/>
                  <a:pt x="464655" y="1622587"/>
                </a:cubicBezTo>
                <a:cubicBezTo>
                  <a:pt x="461010" y="1628054"/>
                  <a:pt x="446433" y="1635342"/>
                  <a:pt x="453722" y="1638987"/>
                </a:cubicBezTo>
                <a:cubicBezTo>
                  <a:pt x="464655" y="1635342"/>
                  <a:pt x="473766" y="1635342"/>
                  <a:pt x="475589" y="1626231"/>
                </a:cubicBezTo>
                <a:cubicBezTo>
                  <a:pt x="475589" y="1624409"/>
                  <a:pt x="471943" y="1624409"/>
                  <a:pt x="468299" y="1624409"/>
                </a:cubicBezTo>
                <a:cubicBezTo>
                  <a:pt x="470121" y="1622587"/>
                  <a:pt x="471943" y="1622587"/>
                  <a:pt x="473766" y="1620765"/>
                </a:cubicBezTo>
                <a:cubicBezTo>
                  <a:pt x="473766" y="1618943"/>
                  <a:pt x="473766" y="1620765"/>
                  <a:pt x="471943" y="1618943"/>
                </a:cubicBezTo>
                <a:cubicBezTo>
                  <a:pt x="475589" y="1622587"/>
                  <a:pt x="479232" y="1620765"/>
                  <a:pt x="482876" y="1618943"/>
                </a:cubicBezTo>
                <a:cubicBezTo>
                  <a:pt x="479232" y="1617121"/>
                  <a:pt x="475589" y="1613476"/>
                  <a:pt x="471943" y="1611654"/>
                </a:cubicBezTo>
                <a:close/>
                <a:moveTo>
                  <a:pt x="462832" y="1611654"/>
                </a:moveTo>
                <a:cubicBezTo>
                  <a:pt x="461010" y="1609832"/>
                  <a:pt x="457367" y="1615298"/>
                  <a:pt x="459188" y="1617121"/>
                </a:cubicBezTo>
                <a:cubicBezTo>
                  <a:pt x="461010" y="1615298"/>
                  <a:pt x="461010" y="1613476"/>
                  <a:pt x="462832" y="1611654"/>
                </a:cubicBezTo>
                <a:close/>
                <a:moveTo>
                  <a:pt x="1012901" y="1610743"/>
                </a:moveTo>
                <a:cubicBezTo>
                  <a:pt x="1010851" y="1609832"/>
                  <a:pt x="1008573" y="1609832"/>
                  <a:pt x="1005840" y="1611654"/>
                </a:cubicBezTo>
                <a:cubicBezTo>
                  <a:pt x="1005840" y="1617121"/>
                  <a:pt x="1013129" y="1615298"/>
                  <a:pt x="1018596" y="1615298"/>
                </a:cubicBezTo>
                <a:cubicBezTo>
                  <a:pt x="1016774" y="1613476"/>
                  <a:pt x="1014951" y="1611654"/>
                  <a:pt x="1012901" y="1610743"/>
                </a:cubicBezTo>
                <a:close/>
                <a:moveTo>
                  <a:pt x="935850" y="1610393"/>
                </a:moveTo>
                <a:lnTo>
                  <a:pt x="939756" y="1611816"/>
                </a:lnTo>
                <a:lnTo>
                  <a:pt x="929309" y="1615298"/>
                </a:lnTo>
                <a:close/>
                <a:moveTo>
                  <a:pt x="3088585" y="1609832"/>
                </a:moveTo>
                <a:cubicBezTo>
                  <a:pt x="3083119" y="1609832"/>
                  <a:pt x="3086763" y="1622587"/>
                  <a:pt x="3092230" y="1622587"/>
                </a:cubicBezTo>
                <a:cubicBezTo>
                  <a:pt x="3095874" y="1618943"/>
                  <a:pt x="3094052" y="1611654"/>
                  <a:pt x="3088585" y="1609832"/>
                </a:cubicBezTo>
                <a:close/>
                <a:moveTo>
                  <a:pt x="3075830" y="1609832"/>
                </a:moveTo>
                <a:cubicBezTo>
                  <a:pt x="3075830" y="1617121"/>
                  <a:pt x="3077652" y="1617121"/>
                  <a:pt x="3077652" y="1631698"/>
                </a:cubicBezTo>
                <a:cubicBezTo>
                  <a:pt x="3074008" y="1631698"/>
                  <a:pt x="3075830" y="1626231"/>
                  <a:pt x="3070363" y="1628054"/>
                </a:cubicBezTo>
                <a:cubicBezTo>
                  <a:pt x="3070363" y="1631698"/>
                  <a:pt x="3070363" y="1633520"/>
                  <a:pt x="3070363" y="1637164"/>
                </a:cubicBezTo>
                <a:cubicBezTo>
                  <a:pt x="3066719" y="1635342"/>
                  <a:pt x="3059430" y="1637164"/>
                  <a:pt x="3055786" y="1633520"/>
                </a:cubicBezTo>
                <a:lnTo>
                  <a:pt x="3053964" y="1648097"/>
                </a:lnTo>
                <a:lnTo>
                  <a:pt x="3068541" y="1640809"/>
                </a:lnTo>
                <a:cubicBezTo>
                  <a:pt x="3068541" y="1638987"/>
                  <a:pt x="3070363" y="1638987"/>
                  <a:pt x="3070363" y="1637164"/>
                </a:cubicBezTo>
                <a:cubicBezTo>
                  <a:pt x="3077652" y="1637164"/>
                  <a:pt x="3077652" y="1629876"/>
                  <a:pt x="3083119" y="1628054"/>
                </a:cubicBezTo>
                <a:cubicBezTo>
                  <a:pt x="3081297" y="1620765"/>
                  <a:pt x="3081297" y="1611654"/>
                  <a:pt x="3075830" y="1609832"/>
                </a:cubicBezTo>
                <a:close/>
                <a:moveTo>
                  <a:pt x="1004018" y="1609832"/>
                </a:moveTo>
                <a:cubicBezTo>
                  <a:pt x="1002196" y="1611654"/>
                  <a:pt x="1002196" y="1611654"/>
                  <a:pt x="1000374" y="1613476"/>
                </a:cubicBezTo>
                <a:cubicBezTo>
                  <a:pt x="1002196" y="1615298"/>
                  <a:pt x="1007663" y="1613476"/>
                  <a:pt x="1004018" y="1609832"/>
                </a:cubicBezTo>
                <a:close/>
                <a:moveTo>
                  <a:pt x="705182" y="1609832"/>
                </a:moveTo>
                <a:cubicBezTo>
                  <a:pt x="703359" y="1608010"/>
                  <a:pt x="701537" y="1611654"/>
                  <a:pt x="703359" y="1613476"/>
                </a:cubicBezTo>
                <a:cubicBezTo>
                  <a:pt x="707004" y="1611654"/>
                  <a:pt x="705182" y="1609832"/>
                  <a:pt x="705182" y="1609832"/>
                </a:cubicBezTo>
                <a:close/>
                <a:moveTo>
                  <a:pt x="468299" y="1609832"/>
                </a:moveTo>
                <a:cubicBezTo>
                  <a:pt x="462832" y="1609832"/>
                  <a:pt x="462832" y="1615298"/>
                  <a:pt x="461010" y="1618943"/>
                </a:cubicBezTo>
                <a:cubicBezTo>
                  <a:pt x="466478" y="1620765"/>
                  <a:pt x="470121" y="1613476"/>
                  <a:pt x="468299" y="1609832"/>
                </a:cubicBezTo>
                <a:close/>
                <a:moveTo>
                  <a:pt x="388123" y="1608693"/>
                </a:moveTo>
                <a:lnTo>
                  <a:pt x="391207" y="1610427"/>
                </a:lnTo>
                <a:lnTo>
                  <a:pt x="388998" y="1610980"/>
                </a:lnTo>
                <a:lnTo>
                  <a:pt x="386301" y="1609832"/>
                </a:lnTo>
                <a:lnTo>
                  <a:pt x="387759" y="1611290"/>
                </a:lnTo>
                <a:lnTo>
                  <a:pt x="380107" y="1613202"/>
                </a:lnTo>
                <a:close/>
                <a:moveTo>
                  <a:pt x="3063075" y="1608010"/>
                </a:moveTo>
                <a:cubicBezTo>
                  <a:pt x="3059430" y="1611654"/>
                  <a:pt x="3066719" y="1617121"/>
                  <a:pt x="3068541" y="1620765"/>
                </a:cubicBezTo>
                <a:cubicBezTo>
                  <a:pt x="3072186" y="1618943"/>
                  <a:pt x="3064897" y="1613476"/>
                  <a:pt x="3063075" y="1608010"/>
                </a:cubicBezTo>
                <a:close/>
                <a:moveTo>
                  <a:pt x="493809" y="1608010"/>
                </a:moveTo>
                <a:cubicBezTo>
                  <a:pt x="493809" y="1608010"/>
                  <a:pt x="482876" y="1615298"/>
                  <a:pt x="495632" y="1613476"/>
                </a:cubicBezTo>
                <a:cubicBezTo>
                  <a:pt x="493809" y="1615298"/>
                  <a:pt x="491987" y="1615298"/>
                  <a:pt x="490165" y="1617121"/>
                </a:cubicBezTo>
                <a:cubicBezTo>
                  <a:pt x="490165" y="1620765"/>
                  <a:pt x="493809" y="1624409"/>
                  <a:pt x="495632" y="1620765"/>
                </a:cubicBezTo>
                <a:cubicBezTo>
                  <a:pt x="497454" y="1618943"/>
                  <a:pt x="497454" y="1617121"/>
                  <a:pt x="495632" y="1613476"/>
                </a:cubicBezTo>
                <a:cubicBezTo>
                  <a:pt x="493809" y="1611654"/>
                  <a:pt x="495632" y="1609832"/>
                  <a:pt x="493809" y="1608010"/>
                </a:cubicBezTo>
                <a:close/>
                <a:moveTo>
                  <a:pt x="404523" y="1608010"/>
                </a:moveTo>
                <a:cubicBezTo>
                  <a:pt x="402701" y="1608010"/>
                  <a:pt x="400879" y="1608010"/>
                  <a:pt x="400879" y="1609832"/>
                </a:cubicBezTo>
                <a:cubicBezTo>
                  <a:pt x="402701" y="1609832"/>
                  <a:pt x="404523" y="1613476"/>
                  <a:pt x="408167" y="1611654"/>
                </a:cubicBezTo>
                <a:cubicBezTo>
                  <a:pt x="406345" y="1611654"/>
                  <a:pt x="406345" y="1609832"/>
                  <a:pt x="404523" y="1608010"/>
                </a:cubicBezTo>
                <a:close/>
                <a:moveTo>
                  <a:pt x="710902" y="1607558"/>
                </a:moveTo>
                <a:lnTo>
                  <a:pt x="710648" y="1608010"/>
                </a:lnTo>
                <a:lnTo>
                  <a:pt x="710819" y="1607649"/>
                </a:lnTo>
                <a:close/>
                <a:moveTo>
                  <a:pt x="930254" y="1606592"/>
                </a:moveTo>
                <a:lnTo>
                  <a:pt x="936598" y="1609832"/>
                </a:lnTo>
                <a:lnTo>
                  <a:pt x="935850" y="1610393"/>
                </a:lnTo>
                <a:lnTo>
                  <a:pt x="929309" y="1608010"/>
                </a:lnTo>
                <a:close/>
                <a:moveTo>
                  <a:pt x="579452" y="1606188"/>
                </a:moveTo>
                <a:cubicBezTo>
                  <a:pt x="575808" y="1611654"/>
                  <a:pt x="573985" y="1618943"/>
                  <a:pt x="568519" y="1622587"/>
                </a:cubicBezTo>
                <a:lnTo>
                  <a:pt x="567101" y="1616919"/>
                </a:lnTo>
                <a:lnTo>
                  <a:pt x="567381" y="1615526"/>
                </a:lnTo>
                <a:lnTo>
                  <a:pt x="573076" y="1607216"/>
                </a:lnTo>
                <a:close/>
                <a:moveTo>
                  <a:pt x="3340045" y="1605692"/>
                </a:moveTo>
                <a:lnTo>
                  <a:pt x="3340045" y="1610289"/>
                </a:lnTo>
                <a:lnTo>
                  <a:pt x="3338222" y="1609833"/>
                </a:lnTo>
                <a:cubicBezTo>
                  <a:pt x="3339134" y="1609833"/>
                  <a:pt x="3339134" y="1608467"/>
                  <a:pt x="3339362" y="1606873"/>
                </a:cubicBezTo>
                <a:close/>
                <a:moveTo>
                  <a:pt x="592170" y="1604436"/>
                </a:moveTo>
                <a:lnTo>
                  <a:pt x="592197" y="1604552"/>
                </a:lnTo>
                <a:lnTo>
                  <a:pt x="591979" y="1608693"/>
                </a:lnTo>
                <a:cubicBezTo>
                  <a:pt x="592207" y="1609832"/>
                  <a:pt x="592207" y="1610743"/>
                  <a:pt x="590385" y="1611654"/>
                </a:cubicBezTo>
                <a:cubicBezTo>
                  <a:pt x="589473" y="1610743"/>
                  <a:pt x="589929" y="1608921"/>
                  <a:pt x="590612" y="1607326"/>
                </a:cubicBezTo>
                <a:close/>
                <a:moveTo>
                  <a:pt x="3044853" y="1604365"/>
                </a:moveTo>
                <a:lnTo>
                  <a:pt x="3048497" y="1608010"/>
                </a:lnTo>
                <a:cubicBezTo>
                  <a:pt x="3050319" y="1606188"/>
                  <a:pt x="3050319" y="1604365"/>
                  <a:pt x="3052142" y="1604365"/>
                </a:cubicBezTo>
                <a:close/>
                <a:moveTo>
                  <a:pt x="931795" y="1604279"/>
                </a:moveTo>
                <a:lnTo>
                  <a:pt x="930254" y="1606592"/>
                </a:lnTo>
                <a:lnTo>
                  <a:pt x="927317" y="1605093"/>
                </a:lnTo>
                <a:lnTo>
                  <a:pt x="929030" y="1604318"/>
                </a:lnTo>
                <a:close/>
                <a:moveTo>
                  <a:pt x="584479" y="1603099"/>
                </a:moveTo>
                <a:lnTo>
                  <a:pt x="584919" y="1611654"/>
                </a:lnTo>
                <a:lnTo>
                  <a:pt x="585393" y="1610387"/>
                </a:lnTo>
                <a:lnTo>
                  <a:pt x="584919" y="1615298"/>
                </a:lnTo>
                <a:cubicBezTo>
                  <a:pt x="581274" y="1620765"/>
                  <a:pt x="577630" y="1624409"/>
                  <a:pt x="573985" y="1629876"/>
                </a:cubicBezTo>
                <a:cubicBezTo>
                  <a:pt x="571252" y="1624409"/>
                  <a:pt x="572163" y="1619854"/>
                  <a:pt x="574668" y="1615526"/>
                </a:cubicBezTo>
                <a:close/>
                <a:moveTo>
                  <a:pt x="454860" y="1602771"/>
                </a:moveTo>
                <a:cubicBezTo>
                  <a:pt x="453266" y="1604366"/>
                  <a:pt x="451899" y="1607099"/>
                  <a:pt x="450077" y="1608010"/>
                </a:cubicBezTo>
                <a:cubicBezTo>
                  <a:pt x="453722" y="1611654"/>
                  <a:pt x="459188" y="1608010"/>
                  <a:pt x="461010" y="1604365"/>
                </a:cubicBezTo>
                <a:cubicBezTo>
                  <a:pt x="458277" y="1600721"/>
                  <a:pt x="456455" y="1601177"/>
                  <a:pt x="454860" y="1602771"/>
                </a:cubicBezTo>
                <a:close/>
                <a:moveTo>
                  <a:pt x="524786" y="1602543"/>
                </a:moveTo>
                <a:cubicBezTo>
                  <a:pt x="521142" y="1602543"/>
                  <a:pt x="519320" y="1604365"/>
                  <a:pt x="515676" y="1606188"/>
                </a:cubicBezTo>
                <a:cubicBezTo>
                  <a:pt x="521142" y="1608010"/>
                  <a:pt x="519320" y="1611654"/>
                  <a:pt x="517498" y="1613476"/>
                </a:cubicBezTo>
                <a:cubicBezTo>
                  <a:pt x="517498" y="1609832"/>
                  <a:pt x="526609" y="1608010"/>
                  <a:pt x="524786" y="1602543"/>
                </a:cubicBezTo>
                <a:close/>
                <a:moveTo>
                  <a:pt x="437322" y="1602543"/>
                </a:moveTo>
                <a:cubicBezTo>
                  <a:pt x="440966" y="1606188"/>
                  <a:pt x="446433" y="1608010"/>
                  <a:pt x="448256" y="1602543"/>
                </a:cubicBezTo>
                <a:cubicBezTo>
                  <a:pt x="444611" y="1602543"/>
                  <a:pt x="440966" y="1602543"/>
                  <a:pt x="437322" y="1602543"/>
                </a:cubicBezTo>
                <a:close/>
                <a:moveTo>
                  <a:pt x="419100" y="1602543"/>
                </a:moveTo>
                <a:cubicBezTo>
                  <a:pt x="413634" y="1602543"/>
                  <a:pt x="404523" y="1602543"/>
                  <a:pt x="406345" y="1606188"/>
                </a:cubicBezTo>
                <a:cubicBezTo>
                  <a:pt x="408167" y="1617121"/>
                  <a:pt x="413634" y="1608010"/>
                  <a:pt x="417278" y="1618943"/>
                </a:cubicBezTo>
                <a:lnTo>
                  <a:pt x="427804" y="1625522"/>
                </a:lnTo>
                <a:lnTo>
                  <a:pt x="424567" y="1624409"/>
                </a:lnTo>
                <a:cubicBezTo>
                  <a:pt x="426389" y="1626231"/>
                  <a:pt x="431856" y="1626231"/>
                  <a:pt x="431856" y="1628054"/>
                </a:cubicBezTo>
                <a:lnTo>
                  <a:pt x="427804" y="1625522"/>
                </a:lnTo>
                <a:lnTo>
                  <a:pt x="431855" y="1626914"/>
                </a:lnTo>
                <a:cubicBezTo>
                  <a:pt x="434133" y="1627142"/>
                  <a:pt x="436411" y="1626231"/>
                  <a:pt x="439145" y="1622587"/>
                </a:cubicBezTo>
                <a:cubicBezTo>
                  <a:pt x="439145" y="1620765"/>
                  <a:pt x="437322" y="1622587"/>
                  <a:pt x="435500" y="1620765"/>
                </a:cubicBezTo>
                <a:cubicBezTo>
                  <a:pt x="439145" y="1617121"/>
                  <a:pt x="442789" y="1618943"/>
                  <a:pt x="444611" y="1615298"/>
                </a:cubicBezTo>
                <a:cubicBezTo>
                  <a:pt x="440966" y="1615298"/>
                  <a:pt x="439145" y="1617121"/>
                  <a:pt x="435500" y="1617121"/>
                </a:cubicBezTo>
                <a:cubicBezTo>
                  <a:pt x="431856" y="1609832"/>
                  <a:pt x="442789" y="1613476"/>
                  <a:pt x="440966" y="1609832"/>
                </a:cubicBezTo>
                <a:cubicBezTo>
                  <a:pt x="437322" y="1604365"/>
                  <a:pt x="435500" y="1606188"/>
                  <a:pt x="431856" y="1608010"/>
                </a:cubicBezTo>
                <a:cubicBezTo>
                  <a:pt x="428211" y="1606188"/>
                  <a:pt x="426389" y="1606188"/>
                  <a:pt x="424567" y="1608010"/>
                </a:cubicBezTo>
                <a:lnTo>
                  <a:pt x="426389" y="1606188"/>
                </a:lnTo>
                <a:cubicBezTo>
                  <a:pt x="422745" y="1600721"/>
                  <a:pt x="417278" y="1606188"/>
                  <a:pt x="411812" y="1606188"/>
                </a:cubicBezTo>
                <a:cubicBezTo>
                  <a:pt x="413634" y="1604365"/>
                  <a:pt x="415456" y="1602543"/>
                  <a:pt x="419100" y="1602543"/>
                </a:cubicBezTo>
                <a:close/>
                <a:moveTo>
                  <a:pt x="583734" y="1601054"/>
                </a:moveTo>
                <a:lnTo>
                  <a:pt x="583926" y="1601506"/>
                </a:lnTo>
                <a:lnTo>
                  <a:pt x="583096" y="1602543"/>
                </a:lnTo>
                <a:close/>
                <a:moveTo>
                  <a:pt x="3150538" y="1600787"/>
                </a:moveTo>
                <a:lnTo>
                  <a:pt x="3152361" y="1617184"/>
                </a:lnTo>
                <a:lnTo>
                  <a:pt x="3135961" y="1617184"/>
                </a:lnTo>
                <a:close/>
                <a:moveTo>
                  <a:pt x="962108" y="1600721"/>
                </a:moveTo>
                <a:cubicBezTo>
                  <a:pt x="974863" y="1606188"/>
                  <a:pt x="991263" y="1617121"/>
                  <a:pt x="1004018" y="1608010"/>
                </a:cubicBezTo>
                <a:cubicBezTo>
                  <a:pt x="989441" y="1604365"/>
                  <a:pt x="976686" y="1595255"/>
                  <a:pt x="962108" y="1600721"/>
                </a:cubicBezTo>
                <a:close/>
                <a:moveTo>
                  <a:pt x="470121" y="1600721"/>
                </a:moveTo>
                <a:cubicBezTo>
                  <a:pt x="468299" y="1602543"/>
                  <a:pt x="468299" y="1604365"/>
                  <a:pt x="466478" y="1606188"/>
                </a:cubicBezTo>
                <a:cubicBezTo>
                  <a:pt x="466478" y="1608010"/>
                  <a:pt x="471943" y="1604365"/>
                  <a:pt x="470121" y="1600721"/>
                </a:cubicBezTo>
                <a:close/>
                <a:moveTo>
                  <a:pt x="429578" y="1600493"/>
                </a:moveTo>
                <a:cubicBezTo>
                  <a:pt x="428668" y="1600265"/>
                  <a:pt x="427300" y="1600721"/>
                  <a:pt x="426389" y="1602543"/>
                </a:cubicBezTo>
                <a:cubicBezTo>
                  <a:pt x="426389" y="1604365"/>
                  <a:pt x="428211" y="1600721"/>
                  <a:pt x="430034" y="1602543"/>
                </a:cubicBezTo>
                <a:cubicBezTo>
                  <a:pt x="430944" y="1601632"/>
                  <a:pt x="430490" y="1600721"/>
                  <a:pt x="429578" y="1600493"/>
                </a:cubicBezTo>
                <a:close/>
                <a:moveTo>
                  <a:pt x="669906" y="1600209"/>
                </a:moveTo>
                <a:cubicBezTo>
                  <a:pt x="665550" y="1602771"/>
                  <a:pt x="665550" y="1613021"/>
                  <a:pt x="661449" y="1617121"/>
                </a:cubicBezTo>
                <a:cubicBezTo>
                  <a:pt x="663272" y="1618943"/>
                  <a:pt x="665094" y="1617121"/>
                  <a:pt x="665094" y="1617121"/>
                </a:cubicBezTo>
                <a:cubicBezTo>
                  <a:pt x="668738" y="1608010"/>
                  <a:pt x="672383" y="1609832"/>
                  <a:pt x="676027" y="1600721"/>
                </a:cubicBezTo>
                <a:cubicBezTo>
                  <a:pt x="673294" y="1599355"/>
                  <a:pt x="671358" y="1599355"/>
                  <a:pt x="669906" y="1600209"/>
                </a:cubicBezTo>
                <a:close/>
                <a:moveTo>
                  <a:pt x="917617" y="1600140"/>
                </a:moveTo>
                <a:lnTo>
                  <a:pt x="925763" y="1604299"/>
                </a:lnTo>
                <a:lnTo>
                  <a:pt x="925666" y="1604365"/>
                </a:lnTo>
                <a:lnTo>
                  <a:pt x="925886" y="1604362"/>
                </a:lnTo>
                <a:lnTo>
                  <a:pt x="927317" y="1605093"/>
                </a:lnTo>
                <a:lnTo>
                  <a:pt x="923387" y="1606871"/>
                </a:lnTo>
                <a:close/>
                <a:moveTo>
                  <a:pt x="581274" y="1598899"/>
                </a:moveTo>
                <a:cubicBezTo>
                  <a:pt x="583096" y="1600721"/>
                  <a:pt x="577630" y="1604365"/>
                  <a:pt x="577630" y="1602543"/>
                </a:cubicBezTo>
                <a:cubicBezTo>
                  <a:pt x="579452" y="1600721"/>
                  <a:pt x="579452" y="1600721"/>
                  <a:pt x="581274" y="1598899"/>
                </a:cubicBezTo>
                <a:close/>
                <a:moveTo>
                  <a:pt x="488343" y="1598899"/>
                </a:moveTo>
                <a:cubicBezTo>
                  <a:pt x="486521" y="1602543"/>
                  <a:pt x="484700" y="1604365"/>
                  <a:pt x="481054" y="1600721"/>
                </a:cubicBezTo>
                <a:cubicBezTo>
                  <a:pt x="475589" y="1600721"/>
                  <a:pt x="473766" y="1606188"/>
                  <a:pt x="471943" y="1609832"/>
                </a:cubicBezTo>
                <a:cubicBezTo>
                  <a:pt x="477410" y="1611654"/>
                  <a:pt x="481054" y="1613476"/>
                  <a:pt x="484700" y="1617121"/>
                </a:cubicBezTo>
                <a:cubicBezTo>
                  <a:pt x="488343" y="1611654"/>
                  <a:pt x="488343" y="1604365"/>
                  <a:pt x="488343" y="1598899"/>
                </a:cubicBezTo>
                <a:close/>
                <a:moveTo>
                  <a:pt x="355324" y="1598899"/>
                </a:moveTo>
                <a:cubicBezTo>
                  <a:pt x="357146" y="1611654"/>
                  <a:pt x="366257" y="1606188"/>
                  <a:pt x="369902" y="1604365"/>
                </a:cubicBezTo>
                <a:cubicBezTo>
                  <a:pt x="364435" y="1604365"/>
                  <a:pt x="360791" y="1598899"/>
                  <a:pt x="355324" y="1598899"/>
                </a:cubicBezTo>
                <a:close/>
                <a:moveTo>
                  <a:pt x="590697" y="1598366"/>
                </a:moveTo>
                <a:lnTo>
                  <a:pt x="594030" y="1608010"/>
                </a:lnTo>
                <a:cubicBezTo>
                  <a:pt x="592207" y="1605276"/>
                  <a:pt x="592207" y="1605276"/>
                  <a:pt x="592207" y="1604593"/>
                </a:cubicBezTo>
                <a:lnTo>
                  <a:pt x="592197" y="1604552"/>
                </a:lnTo>
                <a:lnTo>
                  <a:pt x="592207" y="1604365"/>
                </a:lnTo>
                <a:lnTo>
                  <a:pt x="592170" y="1604436"/>
                </a:lnTo>
                <a:close/>
                <a:moveTo>
                  <a:pt x="3106807" y="1597077"/>
                </a:moveTo>
                <a:cubicBezTo>
                  <a:pt x="3106807" y="1600721"/>
                  <a:pt x="3104985" y="1602543"/>
                  <a:pt x="3104985" y="1611654"/>
                </a:cubicBezTo>
                <a:cubicBezTo>
                  <a:pt x="3110451" y="1613476"/>
                  <a:pt x="3110451" y="1609832"/>
                  <a:pt x="3114096" y="1608010"/>
                </a:cubicBezTo>
                <a:lnTo>
                  <a:pt x="3117740" y="1606188"/>
                </a:lnTo>
                <a:cubicBezTo>
                  <a:pt x="3117740" y="1598899"/>
                  <a:pt x="3112274" y="1597077"/>
                  <a:pt x="3106807" y="1597077"/>
                </a:cubicBezTo>
                <a:close/>
                <a:moveTo>
                  <a:pt x="590385" y="1597077"/>
                </a:moveTo>
                <a:lnTo>
                  <a:pt x="590697" y="1598366"/>
                </a:lnTo>
                <a:lnTo>
                  <a:pt x="590316" y="1597261"/>
                </a:lnTo>
                <a:close/>
                <a:moveTo>
                  <a:pt x="351680" y="1595255"/>
                </a:moveTo>
                <a:cubicBezTo>
                  <a:pt x="351680" y="1600721"/>
                  <a:pt x="362613" y="1597077"/>
                  <a:pt x="368079" y="1598899"/>
                </a:cubicBezTo>
                <a:cubicBezTo>
                  <a:pt x="364435" y="1595255"/>
                  <a:pt x="357146" y="1597077"/>
                  <a:pt x="351680" y="1595255"/>
                </a:cubicBezTo>
                <a:close/>
                <a:moveTo>
                  <a:pt x="450077" y="1595255"/>
                </a:moveTo>
                <a:cubicBezTo>
                  <a:pt x="449166" y="1595710"/>
                  <a:pt x="448256" y="1596166"/>
                  <a:pt x="448256" y="1595255"/>
                </a:cubicBezTo>
                <a:cubicBezTo>
                  <a:pt x="457367" y="1604365"/>
                  <a:pt x="450077" y="1595255"/>
                  <a:pt x="451899" y="1595255"/>
                </a:cubicBezTo>
                <a:cubicBezTo>
                  <a:pt x="451899" y="1594344"/>
                  <a:pt x="450988" y="1594799"/>
                  <a:pt x="450077" y="1595255"/>
                </a:cubicBezTo>
                <a:close/>
                <a:moveTo>
                  <a:pt x="497226" y="1594799"/>
                </a:moveTo>
                <a:cubicBezTo>
                  <a:pt x="494721" y="1596166"/>
                  <a:pt x="492899" y="1598899"/>
                  <a:pt x="493809" y="1602543"/>
                </a:cubicBezTo>
                <a:cubicBezTo>
                  <a:pt x="504743" y="1600721"/>
                  <a:pt x="491987" y="1613476"/>
                  <a:pt x="497454" y="1611654"/>
                </a:cubicBezTo>
                <a:cubicBezTo>
                  <a:pt x="504743" y="1611654"/>
                  <a:pt x="512031" y="1606188"/>
                  <a:pt x="510209" y="1602543"/>
                </a:cubicBezTo>
                <a:cubicBezTo>
                  <a:pt x="510209" y="1597077"/>
                  <a:pt x="504743" y="1597077"/>
                  <a:pt x="501098" y="1602543"/>
                </a:cubicBezTo>
                <a:cubicBezTo>
                  <a:pt x="501098" y="1598899"/>
                  <a:pt x="502920" y="1597077"/>
                  <a:pt x="504743" y="1595255"/>
                </a:cubicBezTo>
                <a:cubicBezTo>
                  <a:pt x="502920" y="1593433"/>
                  <a:pt x="499731" y="1593433"/>
                  <a:pt x="497226" y="1594799"/>
                </a:cubicBezTo>
                <a:close/>
                <a:moveTo>
                  <a:pt x="588562" y="1594713"/>
                </a:moveTo>
                <a:lnTo>
                  <a:pt x="589701" y="1595482"/>
                </a:lnTo>
                <a:lnTo>
                  <a:pt x="590316" y="1597261"/>
                </a:lnTo>
                <a:lnTo>
                  <a:pt x="587651" y="1604365"/>
                </a:lnTo>
                <a:lnTo>
                  <a:pt x="585393" y="1610387"/>
                </a:lnTo>
                <a:lnTo>
                  <a:pt x="585601" y="1608238"/>
                </a:lnTo>
                <a:cubicBezTo>
                  <a:pt x="586285" y="1606188"/>
                  <a:pt x="586741" y="1604365"/>
                  <a:pt x="584919" y="1602543"/>
                </a:cubicBezTo>
                <a:lnTo>
                  <a:pt x="584479" y="1603099"/>
                </a:lnTo>
                <a:lnTo>
                  <a:pt x="584462" y="1602771"/>
                </a:lnTo>
                <a:lnTo>
                  <a:pt x="583926" y="1601506"/>
                </a:lnTo>
                <a:lnTo>
                  <a:pt x="585829" y="1599127"/>
                </a:lnTo>
                <a:cubicBezTo>
                  <a:pt x="586285" y="1597988"/>
                  <a:pt x="586741" y="1597077"/>
                  <a:pt x="588562" y="1597077"/>
                </a:cubicBezTo>
                <a:close/>
                <a:moveTo>
                  <a:pt x="462832" y="1594344"/>
                </a:moveTo>
                <a:cubicBezTo>
                  <a:pt x="461466" y="1595255"/>
                  <a:pt x="461010" y="1597077"/>
                  <a:pt x="462832" y="1598899"/>
                </a:cubicBezTo>
                <a:cubicBezTo>
                  <a:pt x="464655" y="1597077"/>
                  <a:pt x="468299" y="1595255"/>
                  <a:pt x="468299" y="1595255"/>
                </a:cubicBezTo>
                <a:cubicBezTo>
                  <a:pt x="466478" y="1593433"/>
                  <a:pt x="464199" y="1593433"/>
                  <a:pt x="462832" y="1594344"/>
                </a:cubicBezTo>
                <a:close/>
                <a:moveTo>
                  <a:pt x="871000" y="1593463"/>
                </a:moveTo>
                <a:cubicBezTo>
                  <a:pt x="871000" y="1593463"/>
                  <a:pt x="872821" y="1593463"/>
                  <a:pt x="872821" y="1593463"/>
                </a:cubicBezTo>
                <a:cubicBezTo>
                  <a:pt x="869177" y="1593463"/>
                  <a:pt x="865533" y="1595286"/>
                  <a:pt x="860066" y="1597109"/>
                </a:cubicBezTo>
                <a:cubicBezTo>
                  <a:pt x="863711" y="1595286"/>
                  <a:pt x="867355" y="1593463"/>
                  <a:pt x="871000" y="1593463"/>
                </a:cubicBezTo>
                <a:close/>
                <a:moveTo>
                  <a:pt x="721581" y="1593432"/>
                </a:moveTo>
                <a:cubicBezTo>
                  <a:pt x="718848" y="1593432"/>
                  <a:pt x="716570" y="1596165"/>
                  <a:pt x="714749" y="1599354"/>
                </a:cubicBezTo>
                <a:lnTo>
                  <a:pt x="710819" y="1607649"/>
                </a:lnTo>
                <a:lnTo>
                  <a:pt x="708826" y="1609832"/>
                </a:lnTo>
                <a:cubicBezTo>
                  <a:pt x="712470" y="1606188"/>
                  <a:pt x="721581" y="1609832"/>
                  <a:pt x="719759" y="1600721"/>
                </a:cubicBezTo>
                <a:cubicBezTo>
                  <a:pt x="717026" y="1600721"/>
                  <a:pt x="715205" y="1602543"/>
                  <a:pt x="713609" y="1604593"/>
                </a:cubicBezTo>
                <a:lnTo>
                  <a:pt x="710902" y="1607558"/>
                </a:lnTo>
                <a:lnTo>
                  <a:pt x="714749" y="1600721"/>
                </a:lnTo>
                <a:cubicBezTo>
                  <a:pt x="717026" y="1598443"/>
                  <a:pt x="719759" y="1596165"/>
                  <a:pt x="721581" y="1593432"/>
                </a:cubicBezTo>
                <a:close/>
                <a:moveTo>
                  <a:pt x="524786" y="1593432"/>
                </a:moveTo>
                <a:cubicBezTo>
                  <a:pt x="524786" y="1593432"/>
                  <a:pt x="522964" y="1595255"/>
                  <a:pt x="521142" y="1597077"/>
                </a:cubicBezTo>
                <a:cubicBezTo>
                  <a:pt x="512031" y="1608010"/>
                  <a:pt x="513853" y="1608010"/>
                  <a:pt x="528431" y="1595255"/>
                </a:cubicBezTo>
                <a:cubicBezTo>
                  <a:pt x="526609" y="1593432"/>
                  <a:pt x="524786" y="1595255"/>
                  <a:pt x="524786" y="1593432"/>
                </a:cubicBezTo>
                <a:close/>
                <a:moveTo>
                  <a:pt x="513853" y="1593432"/>
                </a:moveTo>
                <a:cubicBezTo>
                  <a:pt x="512031" y="1591610"/>
                  <a:pt x="510209" y="1595255"/>
                  <a:pt x="506565" y="1595255"/>
                </a:cubicBezTo>
                <a:cubicBezTo>
                  <a:pt x="508387" y="1598899"/>
                  <a:pt x="513853" y="1595255"/>
                  <a:pt x="513853" y="1593432"/>
                </a:cubicBezTo>
                <a:close/>
                <a:moveTo>
                  <a:pt x="455544" y="1593432"/>
                </a:moveTo>
                <a:cubicBezTo>
                  <a:pt x="455544" y="1595255"/>
                  <a:pt x="455544" y="1595255"/>
                  <a:pt x="453722" y="1597077"/>
                </a:cubicBezTo>
                <a:cubicBezTo>
                  <a:pt x="455544" y="1597077"/>
                  <a:pt x="457367" y="1598899"/>
                  <a:pt x="459188" y="1597077"/>
                </a:cubicBezTo>
                <a:cubicBezTo>
                  <a:pt x="457367" y="1593432"/>
                  <a:pt x="455544" y="1595255"/>
                  <a:pt x="455544" y="1593432"/>
                </a:cubicBezTo>
                <a:close/>
                <a:moveTo>
                  <a:pt x="379468" y="1592293"/>
                </a:moveTo>
                <a:cubicBezTo>
                  <a:pt x="376279" y="1592521"/>
                  <a:pt x="372635" y="1593432"/>
                  <a:pt x="369902" y="1593432"/>
                </a:cubicBezTo>
                <a:cubicBezTo>
                  <a:pt x="375368" y="1598899"/>
                  <a:pt x="380835" y="1595255"/>
                  <a:pt x="386301" y="1595255"/>
                </a:cubicBezTo>
                <a:cubicBezTo>
                  <a:pt x="385390" y="1592521"/>
                  <a:pt x="382657" y="1592066"/>
                  <a:pt x="379468" y="1592293"/>
                </a:cubicBezTo>
                <a:close/>
                <a:moveTo>
                  <a:pt x="3345511" y="1591612"/>
                </a:moveTo>
                <a:cubicBezTo>
                  <a:pt x="3340045" y="1591612"/>
                  <a:pt x="3341867" y="1600723"/>
                  <a:pt x="3345511" y="1602545"/>
                </a:cubicBezTo>
                <a:cubicBezTo>
                  <a:pt x="3349155" y="1598900"/>
                  <a:pt x="3345511" y="1597078"/>
                  <a:pt x="3345511" y="1591612"/>
                </a:cubicBezTo>
                <a:close/>
                <a:moveTo>
                  <a:pt x="681493" y="1591610"/>
                </a:moveTo>
                <a:cubicBezTo>
                  <a:pt x="677849" y="1589788"/>
                  <a:pt x="672383" y="1593432"/>
                  <a:pt x="668738" y="1597077"/>
                </a:cubicBezTo>
                <a:cubicBezTo>
                  <a:pt x="670560" y="1598899"/>
                  <a:pt x="677849" y="1597077"/>
                  <a:pt x="681493" y="1591610"/>
                </a:cubicBezTo>
                <a:close/>
                <a:moveTo>
                  <a:pt x="411812" y="1591610"/>
                </a:moveTo>
                <a:cubicBezTo>
                  <a:pt x="409989" y="1593432"/>
                  <a:pt x="411812" y="1593432"/>
                  <a:pt x="409989" y="1593432"/>
                </a:cubicBezTo>
                <a:cubicBezTo>
                  <a:pt x="413634" y="1597077"/>
                  <a:pt x="415456" y="1597077"/>
                  <a:pt x="419100" y="1595255"/>
                </a:cubicBezTo>
                <a:cubicBezTo>
                  <a:pt x="415456" y="1593432"/>
                  <a:pt x="413634" y="1593432"/>
                  <a:pt x="411812" y="1591610"/>
                </a:cubicBezTo>
                <a:close/>
                <a:moveTo>
                  <a:pt x="358969" y="1591610"/>
                </a:moveTo>
                <a:cubicBezTo>
                  <a:pt x="358969" y="1595255"/>
                  <a:pt x="366257" y="1597077"/>
                  <a:pt x="368079" y="1593432"/>
                </a:cubicBezTo>
                <a:cubicBezTo>
                  <a:pt x="364435" y="1591610"/>
                  <a:pt x="360791" y="1593432"/>
                  <a:pt x="358969" y="1591610"/>
                </a:cubicBezTo>
                <a:close/>
                <a:moveTo>
                  <a:pt x="855363" y="1591257"/>
                </a:moveTo>
                <a:lnTo>
                  <a:pt x="852778" y="1592066"/>
                </a:lnTo>
                <a:cubicBezTo>
                  <a:pt x="850044" y="1591610"/>
                  <a:pt x="847311" y="1590699"/>
                  <a:pt x="845489" y="1591610"/>
                </a:cubicBezTo>
                <a:close/>
                <a:moveTo>
                  <a:pt x="949353" y="1589788"/>
                </a:moveTo>
                <a:cubicBezTo>
                  <a:pt x="929309" y="1589788"/>
                  <a:pt x="914732" y="1589788"/>
                  <a:pt x="896510" y="1591610"/>
                </a:cubicBezTo>
                <a:cubicBezTo>
                  <a:pt x="911087" y="1597077"/>
                  <a:pt x="927487" y="1595255"/>
                  <a:pt x="943886" y="1598899"/>
                </a:cubicBezTo>
                <a:cubicBezTo>
                  <a:pt x="951175" y="1602543"/>
                  <a:pt x="962108" y="1602543"/>
                  <a:pt x="967575" y="1597077"/>
                </a:cubicBezTo>
                <a:cubicBezTo>
                  <a:pt x="963930" y="1591610"/>
                  <a:pt x="954819" y="1589788"/>
                  <a:pt x="949353" y="1589788"/>
                </a:cubicBezTo>
                <a:close/>
                <a:moveTo>
                  <a:pt x="588562" y="1589788"/>
                </a:moveTo>
                <a:lnTo>
                  <a:pt x="588562" y="1594713"/>
                </a:lnTo>
                <a:lnTo>
                  <a:pt x="586925" y="1593607"/>
                </a:lnTo>
                <a:close/>
                <a:moveTo>
                  <a:pt x="344391" y="1589788"/>
                </a:moveTo>
                <a:cubicBezTo>
                  <a:pt x="344391" y="1591610"/>
                  <a:pt x="342569" y="1591610"/>
                  <a:pt x="342569" y="1591610"/>
                </a:cubicBezTo>
                <a:cubicBezTo>
                  <a:pt x="344391" y="1595255"/>
                  <a:pt x="348037" y="1591610"/>
                  <a:pt x="351680" y="1593432"/>
                </a:cubicBezTo>
                <a:cubicBezTo>
                  <a:pt x="351680" y="1587966"/>
                  <a:pt x="346213" y="1593432"/>
                  <a:pt x="344391" y="1589788"/>
                </a:cubicBezTo>
                <a:close/>
                <a:moveTo>
                  <a:pt x="443473" y="1589333"/>
                </a:moveTo>
                <a:cubicBezTo>
                  <a:pt x="442789" y="1589333"/>
                  <a:pt x="441878" y="1589788"/>
                  <a:pt x="440966" y="1589788"/>
                </a:cubicBezTo>
                <a:cubicBezTo>
                  <a:pt x="439145" y="1589788"/>
                  <a:pt x="442789" y="1595255"/>
                  <a:pt x="444611" y="1591610"/>
                </a:cubicBezTo>
                <a:cubicBezTo>
                  <a:pt x="444611" y="1589788"/>
                  <a:pt x="444156" y="1589333"/>
                  <a:pt x="443473" y="1589333"/>
                </a:cubicBezTo>
                <a:close/>
                <a:moveTo>
                  <a:pt x="801756" y="1587997"/>
                </a:moveTo>
                <a:cubicBezTo>
                  <a:pt x="819978" y="1589819"/>
                  <a:pt x="840022" y="1589819"/>
                  <a:pt x="858245" y="1589819"/>
                </a:cubicBezTo>
                <a:cubicBezTo>
                  <a:pt x="840022" y="1593465"/>
                  <a:pt x="821800" y="1589819"/>
                  <a:pt x="801756" y="1587997"/>
                </a:cubicBezTo>
                <a:close/>
                <a:moveTo>
                  <a:pt x="437322" y="1587966"/>
                </a:moveTo>
                <a:cubicBezTo>
                  <a:pt x="433678" y="1591610"/>
                  <a:pt x="435500" y="1595255"/>
                  <a:pt x="440966" y="1593432"/>
                </a:cubicBezTo>
                <a:cubicBezTo>
                  <a:pt x="440966" y="1591610"/>
                  <a:pt x="439145" y="1591610"/>
                  <a:pt x="437322" y="1587966"/>
                </a:cubicBezTo>
                <a:close/>
                <a:moveTo>
                  <a:pt x="1123780" y="1587587"/>
                </a:moveTo>
                <a:lnTo>
                  <a:pt x="1125420" y="1588877"/>
                </a:lnTo>
                <a:lnTo>
                  <a:pt x="1127797" y="1591662"/>
                </a:lnTo>
                <a:close/>
                <a:moveTo>
                  <a:pt x="3401998" y="1586145"/>
                </a:moveTo>
                <a:cubicBezTo>
                  <a:pt x="3396532" y="1587967"/>
                  <a:pt x="3401998" y="1606189"/>
                  <a:pt x="3405643" y="1604367"/>
                </a:cubicBezTo>
                <a:cubicBezTo>
                  <a:pt x="3407465" y="1598900"/>
                  <a:pt x="3401998" y="1593435"/>
                  <a:pt x="3401998" y="1586145"/>
                </a:cubicBezTo>
                <a:close/>
                <a:moveTo>
                  <a:pt x="579452" y="1586144"/>
                </a:moveTo>
                <a:cubicBezTo>
                  <a:pt x="575808" y="1586144"/>
                  <a:pt x="572163" y="1591610"/>
                  <a:pt x="572163" y="1591610"/>
                </a:cubicBezTo>
                <a:cubicBezTo>
                  <a:pt x="573985" y="1593432"/>
                  <a:pt x="577630" y="1587966"/>
                  <a:pt x="579452" y="1586144"/>
                </a:cubicBezTo>
                <a:close/>
                <a:moveTo>
                  <a:pt x="422972" y="1585005"/>
                </a:moveTo>
                <a:cubicBezTo>
                  <a:pt x="421379" y="1585233"/>
                  <a:pt x="420011" y="1586144"/>
                  <a:pt x="419100" y="1586144"/>
                </a:cubicBezTo>
                <a:cubicBezTo>
                  <a:pt x="419100" y="1589788"/>
                  <a:pt x="424567" y="1591610"/>
                  <a:pt x="428211" y="1589788"/>
                </a:cubicBezTo>
                <a:cubicBezTo>
                  <a:pt x="426389" y="1587966"/>
                  <a:pt x="426389" y="1587966"/>
                  <a:pt x="428211" y="1587966"/>
                </a:cubicBezTo>
                <a:cubicBezTo>
                  <a:pt x="426389" y="1585232"/>
                  <a:pt x="424567" y="1584777"/>
                  <a:pt x="422972" y="1585005"/>
                </a:cubicBezTo>
                <a:close/>
                <a:moveTo>
                  <a:pt x="3352800" y="1584323"/>
                </a:moveTo>
                <a:cubicBezTo>
                  <a:pt x="3354622" y="1591612"/>
                  <a:pt x="3356444" y="1595256"/>
                  <a:pt x="3360088" y="1595256"/>
                </a:cubicBezTo>
                <a:cubicBezTo>
                  <a:pt x="3361911" y="1593435"/>
                  <a:pt x="3356444" y="1587967"/>
                  <a:pt x="3360088" y="1586145"/>
                </a:cubicBezTo>
                <a:cubicBezTo>
                  <a:pt x="3358266" y="1584323"/>
                  <a:pt x="3354622" y="1586145"/>
                  <a:pt x="3352800" y="1584323"/>
                </a:cubicBezTo>
                <a:close/>
                <a:moveTo>
                  <a:pt x="3099518" y="1584321"/>
                </a:moveTo>
                <a:cubicBezTo>
                  <a:pt x="3097696" y="1587966"/>
                  <a:pt x="3092230" y="1586144"/>
                  <a:pt x="3094052" y="1593432"/>
                </a:cubicBezTo>
                <a:cubicBezTo>
                  <a:pt x="3097696" y="1593432"/>
                  <a:pt x="3095874" y="1589788"/>
                  <a:pt x="3097696" y="1587966"/>
                </a:cubicBezTo>
                <a:cubicBezTo>
                  <a:pt x="3097696" y="1587966"/>
                  <a:pt x="3099518" y="1587966"/>
                  <a:pt x="3099518" y="1587966"/>
                </a:cubicBezTo>
                <a:cubicBezTo>
                  <a:pt x="3103163" y="1597077"/>
                  <a:pt x="3103163" y="1591610"/>
                  <a:pt x="3099518" y="1584321"/>
                </a:cubicBezTo>
                <a:close/>
                <a:moveTo>
                  <a:pt x="994907" y="1584321"/>
                </a:moveTo>
                <a:cubicBezTo>
                  <a:pt x="996729" y="1589788"/>
                  <a:pt x="1004018" y="1597077"/>
                  <a:pt x="1005840" y="1600721"/>
                </a:cubicBezTo>
                <a:cubicBezTo>
                  <a:pt x="1009485" y="1595255"/>
                  <a:pt x="1000374" y="1587966"/>
                  <a:pt x="994907" y="1584321"/>
                </a:cubicBezTo>
                <a:close/>
                <a:moveTo>
                  <a:pt x="362613" y="1584321"/>
                </a:moveTo>
                <a:cubicBezTo>
                  <a:pt x="362613" y="1591610"/>
                  <a:pt x="369902" y="1589788"/>
                  <a:pt x="375368" y="1589788"/>
                </a:cubicBezTo>
                <a:cubicBezTo>
                  <a:pt x="373546" y="1586144"/>
                  <a:pt x="366257" y="1586144"/>
                  <a:pt x="362613" y="1584321"/>
                </a:cubicBezTo>
                <a:close/>
                <a:moveTo>
                  <a:pt x="3301780" y="1582499"/>
                </a:moveTo>
                <a:cubicBezTo>
                  <a:pt x="3296313" y="1586144"/>
                  <a:pt x="3298135" y="1591610"/>
                  <a:pt x="3301780" y="1591610"/>
                </a:cubicBezTo>
                <a:cubicBezTo>
                  <a:pt x="3305424" y="1593432"/>
                  <a:pt x="3309068" y="1589788"/>
                  <a:pt x="3307246" y="1584321"/>
                </a:cubicBezTo>
                <a:cubicBezTo>
                  <a:pt x="3303602" y="1587966"/>
                  <a:pt x="3301780" y="1586144"/>
                  <a:pt x="3301780" y="1582499"/>
                </a:cubicBezTo>
                <a:close/>
                <a:moveTo>
                  <a:pt x="497454" y="1582499"/>
                </a:moveTo>
                <a:cubicBezTo>
                  <a:pt x="495632" y="1584321"/>
                  <a:pt x="499276" y="1586144"/>
                  <a:pt x="495632" y="1587966"/>
                </a:cubicBezTo>
                <a:cubicBezTo>
                  <a:pt x="497454" y="1587966"/>
                  <a:pt x="499276" y="1586144"/>
                  <a:pt x="501098" y="1584321"/>
                </a:cubicBezTo>
                <a:cubicBezTo>
                  <a:pt x="499276" y="1582499"/>
                  <a:pt x="497454" y="1584321"/>
                  <a:pt x="497454" y="1582499"/>
                </a:cubicBezTo>
                <a:close/>
                <a:moveTo>
                  <a:pt x="491987" y="1582499"/>
                </a:moveTo>
                <a:cubicBezTo>
                  <a:pt x="490165" y="1582499"/>
                  <a:pt x="488343" y="1587966"/>
                  <a:pt x="488343" y="1589788"/>
                </a:cubicBezTo>
                <a:cubicBezTo>
                  <a:pt x="491987" y="1589788"/>
                  <a:pt x="490165" y="1584321"/>
                  <a:pt x="491987" y="1582499"/>
                </a:cubicBezTo>
                <a:close/>
                <a:moveTo>
                  <a:pt x="431856" y="1582499"/>
                </a:moveTo>
                <a:cubicBezTo>
                  <a:pt x="430034" y="1582499"/>
                  <a:pt x="426389" y="1582499"/>
                  <a:pt x="426389" y="1584321"/>
                </a:cubicBezTo>
                <a:cubicBezTo>
                  <a:pt x="428211" y="1584321"/>
                  <a:pt x="430034" y="1586144"/>
                  <a:pt x="433678" y="1586144"/>
                </a:cubicBezTo>
                <a:cubicBezTo>
                  <a:pt x="433678" y="1584321"/>
                  <a:pt x="431856" y="1582499"/>
                  <a:pt x="431856" y="1582499"/>
                </a:cubicBezTo>
                <a:close/>
                <a:moveTo>
                  <a:pt x="558498" y="1581360"/>
                </a:moveTo>
                <a:cubicBezTo>
                  <a:pt x="557586" y="1582043"/>
                  <a:pt x="556674" y="1583410"/>
                  <a:pt x="555763" y="1584321"/>
                </a:cubicBezTo>
                <a:cubicBezTo>
                  <a:pt x="557586" y="1586144"/>
                  <a:pt x="559408" y="1584321"/>
                  <a:pt x="561230" y="1582499"/>
                </a:cubicBezTo>
                <a:cubicBezTo>
                  <a:pt x="560319" y="1580677"/>
                  <a:pt x="559408" y="1580677"/>
                  <a:pt x="558498" y="1581360"/>
                </a:cubicBezTo>
                <a:close/>
                <a:moveTo>
                  <a:pt x="3030276" y="1580677"/>
                </a:moveTo>
                <a:cubicBezTo>
                  <a:pt x="3012054" y="1593432"/>
                  <a:pt x="3012054" y="1580677"/>
                  <a:pt x="3022987" y="1602543"/>
                </a:cubicBezTo>
                <a:lnTo>
                  <a:pt x="3008410" y="1602543"/>
                </a:lnTo>
                <a:lnTo>
                  <a:pt x="3008410" y="1617121"/>
                </a:lnTo>
                <a:cubicBezTo>
                  <a:pt x="3022987" y="1617121"/>
                  <a:pt x="3039387" y="1617121"/>
                  <a:pt x="3039387" y="1602543"/>
                </a:cubicBezTo>
                <a:cubicBezTo>
                  <a:pt x="3039387" y="1573388"/>
                  <a:pt x="3041209" y="1600721"/>
                  <a:pt x="3030276" y="1580677"/>
                </a:cubicBezTo>
                <a:close/>
                <a:moveTo>
                  <a:pt x="579452" y="1580677"/>
                </a:moveTo>
                <a:cubicBezTo>
                  <a:pt x="577630" y="1580677"/>
                  <a:pt x="577630" y="1582499"/>
                  <a:pt x="575808" y="1582499"/>
                </a:cubicBezTo>
                <a:cubicBezTo>
                  <a:pt x="577630" y="1582499"/>
                  <a:pt x="583096" y="1582499"/>
                  <a:pt x="579452" y="1580677"/>
                </a:cubicBezTo>
                <a:close/>
                <a:moveTo>
                  <a:pt x="868478" y="1579647"/>
                </a:moveTo>
                <a:lnTo>
                  <a:pt x="881933" y="1584321"/>
                </a:lnTo>
                <a:lnTo>
                  <a:pt x="877384" y="1583563"/>
                </a:lnTo>
                <a:close/>
                <a:moveTo>
                  <a:pt x="991263" y="1578855"/>
                </a:moveTo>
                <a:cubicBezTo>
                  <a:pt x="987619" y="1580677"/>
                  <a:pt x="991263" y="1586144"/>
                  <a:pt x="994907" y="1582499"/>
                </a:cubicBezTo>
                <a:cubicBezTo>
                  <a:pt x="993085" y="1582499"/>
                  <a:pt x="991263" y="1580677"/>
                  <a:pt x="991263" y="1578855"/>
                </a:cubicBezTo>
                <a:close/>
                <a:moveTo>
                  <a:pt x="502920" y="1578855"/>
                </a:moveTo>
                <a:cubicBezTo>
                  <a:pt x="502920" y="1580677"/>
                  <a:pt x="504743" y="1578855"/>
                  <a:pt x="506565" y="1580677"/>
                </a:cubicBezTo>
                <a:lnTo>
                  <a:pt x="505157" y="1581091"/>
                </a:lnTo>
                <a:lnTo>
                  <a:pt x="504743" y="1580677"/>
                </a:lnTo>
                <a:lnTo>
                  <a:pt x="502817" y="1580195"/>
                </a:lnTo>
                <a:close/>
                <a:moveTo>
                  <a:pt x="421151" y="1576349"/>
                </a:moveTo>
                <a:cubicBezTo>
                  <a:pt x="419557" y="1577944"/>
                  <a:pt x="418189" y="1580677"/>
                  <a:pt x="417278" y="1582499"/>
                </a:cubicBezTo>
                <a:cubicBezTo>
                  <a:pt x="419100" y="1580677"/>
                  <a:pt x="422745" y="1578855"/>
                  <a:pt x="426389" y="1577033"/>
                </a:cubicBezTo>
                <a:cubicBezTo>
                  <a:pt x="424567" y="1574299"/>
                  <a:pt x="422745" y="1574755"/>
                  <a:pt x="421151" y="1576349"/>
                </a:cubicBezTo>
                <a:close/>
                <a:moveTo>
                  <a:pt x="471943" y="1575211"/>
                </a:moveTo>
                <a:cubicBezTo>
                  <a:pt x="470121" y="1575211"/>
                  <a:pt x="466478" y="1577033"/>
                  <a:pt x="464655" y="1578855"/>
                </a:cubicBezTo>
                <a:cubicBezTo>
                  <a:pt x="466478" y="1580677"/>
                  <a:pt x="473766" y="1582499"/>
                  <a:pt x="475589" y="1578855"/>
                </a:cubicBezTo>
                <a:cubicBezTo>
                  <a:pt x="473766" y="1575211"/>
                  <a:pt x="471943" y="1578855"/>
                  <a:pt x="468299" y="1578855"/>
                </a:cubicBezTo>
                <a:cubicBezTo>
                  <a:pt x="468299" y="1577033"/>
                  <a:pt x="471943" y="1577033"/>
                  <a:pt x="471943" y="1575211"/>
                </a:cubicBezTo>
                <a:close/>
                <a:moveTo>
                  <a:pt x="453722" y="1575211"/>
                </a:moveTo>
                <a:cubicBezTo>
                  <a:pt x="448256" y="1577033"/>
                  <a:pt x="444611" y="1580677"/>
                  <a:pt x="440966" y="1586144"/>
                </a:cubicBezTo>
                <a:cubicBezTo>
                  <a:pt x="446433" y="1584321"/>
                  <a:pt x="444611" y="1589788"/>
                  <a:pt x="450077" y="1587966"/>
                </a:cubicBezTo>
                <a:cubicBezTo>
                  <a:pt x="450077" y="1586144"/>
                  <a:pt x="448256" y="1586144"/>
                  <a:pt x="446433" y="1584321"/>
                </a:cubicBezTo>
                <a:cubicBezTo>
                  <a:pt x="453722" y="1584321"/>
                  <a:pt x="450077" y="1577033"/>
                  <a:pt x="453722" y="1575211"/>
                </a:cubicBezTo>
                <a:close/>
                <a:moveTo>
                  <a:pt x="3285380" y="1573388"/>
                </a:moveTo>
                <a:cubicBezTo>
                  <a:pt x="3285380" y="1578855"/>
                  <a:pt x="3290847" y="1575211"/>
                  <a:pt x="3292669" y="1578855"/>
                </a:cubicBezTo>
                <a:cubicBezTo>
                  <a:pt x="3296313" y="1577033"/>
                  <a:pt x="3289024" y="1573388"/>
                  <a:pt x="3285380" y="1573388"/>
                </a:cubicBezTo>
                <a:close/>
                <a:moveTo>
                  <a:pt x="697893" y="1573388"/>
                </a:moveTo>
                <a:cubicBezTo>
                  <a:pt x="696071" y="1575211"/>
                  <a:pt x="694249" y="1577033"/>
                  <a:pt x="692426" y="1578855"/>
                </a:cubicBezTo>
                <a:cubicBezTo>
                  <a:pt x="694249" y="1580677"/>
                  <a:pt x="697893" y="1575211"/>
                  <a:pt x="697893" y="1573388"/>
                </a:cubicBezTo>
                <a:close/>
                <a:moveTo>
                  <a:pt x="553941" y="1573388"/>
                </a:moveTo>
                <a:cubicBezTo>
                  <a:pt x="553941" y="1575211"/>
                  <a:pt x="552119" y="1577033"/>
                  <a:pt x="552119" y="1578855"/>
                </a:cubicBezTo>
                <a:cubicBezTo>
                  <a:pt x="557586" y="1578855"/>
                  <a:pt x="555763" y="1573388"/>
                  <a:pt x="553941" y="1573388"/>
                </a:cubicBezTo>
                <a:close/>
                <a:moveTo>
                  <a:pt x="543008" y="1573388"/>
                </a:moveTo>
                <a:cubicBezTo>
                  <a:pt x="541186" y="1571566"/>
                  <a:pt x="539364" y="1577033"/>
                  <a:pt x="541186" y="1578855"/>
                </a:cubicBezTo>
                <a:cubicBezTo>
                  <a:pt x="543008" y="1577033"/>
                  <a:pt x="541186" y="1575211"/>
                  <a:pt x="544830" y="1577033"/>
                </a:cubicBezTo>
                <a:cubicBezTo>
                  <a:pt x="543008" y="1575211"/>
                  <a:pt x="543008" y="1573388"/>
                  <a:pt x="543008" y="1573388"/>
                </a:cubicBezTo>
                <a:close/>
                <a:moveTo>
                  <a:pt x="479232" y="1573388"/>
                </a:moveTo>
                <a:cubicBezTo>
                  <a:pt x="479232" y="1573388"/>
                  <a:pt x="477410" y="1575211"/>
                  <a:pt x="477410" y="1575211"/>
                </a:cubicBezTo>
                <a:cubicBezTo>
                  <a:pt x="477410" y="1577033"/>
                  <a:pt x="477410" y="1578855"/>
                  <a:pt x="479232" y="1580677"/>
                </a:cubicBezTo>
                <a:cubicBezTo>
                  <a:pt x="479232" y="1578855"/>
                  <a:pt x="479232" y="1577033"/>
                  <a:pt x="479232" y="1573388"/>
                </a:cubicBezTo>
                <a:close/>
                <a:moveTo>
                  <a:pt x="466478" y="1573388"/>
                </a:moveTo>
                <a:cubicBezTo>
                  <a:pt x="464655" y="1573388"/>
                  <a:pt x="461010" y="1577033"/>
                  <a:pt x="457367" y="1575211"/>
                </a:cubicBezTo>
                <a:cubicBezTo>
                  <a:pt x="455544" y="1578855"/>
                  <a:pt x="455544" y="1580677"/>
                  <a:pt x="455544" y="1584321"/>
                </a:cubicBezTo>
                <a:cubicBezTo>
                  <a:pt x="459188" y="1577033"/>
                  <a:pt x="466478" y="1587966"/>
                  <a:pt x="466478" y="1582499"/>
                </a:cubicBezTo>
                <a:cubicBezTo>
                  <a:pt x="466478" y="1584321"/>
                  <a:pt x="466478" y="1584321"/>
                  <a:pt x="466478" y="1586144"/>
                </a:cubicBezTo>
                <a:cubicBezTo>
                  <a:pt x="468299" y="1586144"/>
                  <a:pt x="471943" y="1586144"/>
                  <a:pt x="471943" y="1582499"/>
                </a:cubicBezTo>
                <a:cubicBezTo>
                  <a:pt x="470121" y="1582499"/>
                  <a:pt x="468299" y="1584321"/>
                  <a:pt x="466478" y="1582499"/>
                </a:cubicBezTo>
                <a:cubicBezTo>
                  <a:pt x="466478" y="1578855"/>
                  <a:pt x="462832" y="1578855"/>
                  <a:pt x="457367" y="1580677"/>
                </a:cubicBezTo>
                <a:cubicBezTo>
                  <a:pt x="461010" y="1577033"/>
                  <a:pt x="462832" y="1575211"/>
                  <a:pt x="466478" y="1573388"/>
                </a:cubicBezTo>
                <a:close/>
                <a:moveTo>
                  <a:pt x="329814" y="1573388"/>
                </a:moveTo>
                <a:cubicBezTo>
                  <a:pt x="331636" y="1573388"/>
                  <a:pt x="338926" y="1575211"/>
                  <a:pt x="335280" y="1578855"/>
                </a:cubicBezTo>
                <a:cubicBezTo>
                  <a:pt x="333458" y="1575211"/>
                  <a:pt x="329814" y="1575211"/>
                  <a:pt x="329814" y="1573388"/>
                </a:cubicBezTo>
                <a:close/>
                <a:moveTo>
                  <a:pt x="3350977" y="1569746"/>
                </a:moveTo>
                <a:cubicBezTo>
                  <a:pt x="3352800" y="1575212"/>
                  <a:pt x="3349155" y="1575212"/>
                  <a:pt x="3350977" y="1580679"/>
                </a:cubicBezTo>
                <a:cubicBezTo>
                  <a:pt x="3352800" y="1582501"/>
                  <a:pt x="3356444" y="1580679"/>
                  <a:pt x="3358266" y="1580679"/>
                </a:cubicBezTo>
                <a:cubicBezTo>
                  <a:pt x="3358266" y="1571568"/>
                  <a:pt x="3356444" y="1567924"/>
                  <a:pt x="3350977" y="1569746"/>
                </a:cubicBezTo>
                <a:close/>
                <a:moveTo>
                  <a:pt x="512031" y="1569744"/>
                </a:moveTo>
                <a:cubicBezTo>
                  <a:pt x="512031" y="1571566"/>
                  <a:pt x="512031" y="1573388"/>
                  <a:pt x="512031" y="1575211"/>
                </a:cubicBezTo>
                <a:cubicBezTo>
                  <a:pt x="513853" y="1575211"/>
                  <a:pt x="515676" y="1578855"/>
                  <a:pt x="517498" y="1575211"/>
                </a:cubicBezTo>
                <a:cubicBezTo>
                  <a:pt x="515676" y="1573388"/>
                  <a:pt x="513853" y="1571566"/>
                  <a:pt x="512031" y="1569744"/>
                </a:cubicBezTo>
                <a:close/>
                <a:moveTo>
                  <a:pt x="1093027" y="1569645"/>
                </a:moveTo>
                <a:lnTo>
                  <a:pt x="1093305" y="1569744"/>
                </a:lnTo>
                <a:cubicBezTo>
                  <a:pt x="1089660" y="1571566"/>
                  <a:pt x="1084194" y="1571566"/>
                  <a:pt x="1080549" y="1573388"/>
                </a:cubicBezTo>
                <a:close/>
                <a:moveTo>
                  <a:pt x="3245086" y="1568142"/>
                </a:moveTo>
                <a:lnTo>
                  <a:pt x="3238915" y="1574755"/>
                </a:lnTo>
                <a:lnTo>
                  <a:pt x="3236565" y="1572238"/>
                </a:lnTo>
                <a:lnTo>
                  <a:pt x="3244609" y="1568150"/>
                </a:lnTo>
                <a:close/>
                <a:moveTo>
                  <a:pt x="572163" y="1567922"/>
                </a:moveTo>
                <a:cubicBezTo>
                  <a:pt x="570341" y="1571566"/>
                  <a:pt x="568519" y="1571566"/>
                  <a:pt x="568519" y="1571566"/>
                </a:cubicBezTo>
                <a:cubicBezTo>
                  <a:pt x="570341" y="1573388"/>
                  <a:pt x="573985" y="1569744"/>
                  <a:pt x="572163" y="1567922"/>
                </a:cubicBezTo>
                <a:close/>
                <a:moveTo>
                  <a:pt x="557586" y="1567922"/>
                </a:moveTo>
                <a:cubicBezTo>
                  <a:pt x="553941" y="1569744"/>
                  <a:pt x="555763" y="1569744"/>
                  <a:pt x="557586" y="1575211"/>
                </a:cubicBezTo>
                <a:cubicBezTo>
                  <a:pt x="559408" y="1571566"/>
                  <a:pt x="559408" y="1571566"/>
                  <a:pt x="561230" y="1569744"/>
                </a:cubicBezTo>
                <a:cubicBezTo>
                  <a:pt x="561230" y="1569744"/>
                  <a:pt x="557586" y="1571566"/>
                  <a:pt x="557586" y="1567922"/>
                </a:cubicBezTo>
                <a:close/>
                <a:moveTo>
                  <a:pt x="484700" y="1567922"/>
                </a:moveTo>
                <a:cubicBezTo>
                  <a:pt x="484700" y="1567922"/>
                  <a:pt x="482876" y="1567922"/>
                  <a:pt x="481054" y="1569744"/>
                </a:cubicBezTo>
                <a:cubicBezTo>
                  <a:pt x="482876" y="1571566"/>
                  <a:pt x="488343" y="1569744"/>
                  <a:pt x="484700" y="1567922"/>
                </a:cubicBezTo>
                <a:close/>
                <a:moveTo>
                  <a:pt x="440966" y="1567922"/>
                </a:moveTo>
                <a:cubicBezTo>
                  <a:pt x="437322" y="1569744"/>
                  <a:pt x="437322" y="1578855"/>
                  <a:pt x="433678" y="1582499"/>
                </a:cubicBezTo>
                <a:cubicBezTo>
                  <a:pt x="440966" y="1584321"/>
                  <a:pt x="444611" y="1575211"/>
                  <a:pt x="450077" y="1571566"/>
                </a:cubicBezTo>
                <a:cubicBezTo>
                  <a:pt x="448256" y="1567922"/>
                  <a:pt x="446433" y="1569744"/>
                  <a:pt x="442789" y="1569744"/>
                </a:cubicBezTo>
                <a:cubicBezTo>
                  <a:pt x="442789" y="1571566"/>
                  <a:pt x="444611" y="1573388"/>
                  <a:pt x="444611" y="1575211"/>
                </a:cubicBezTo>
                <a:cubicBezTo>
                  <a:pt x="440966" y="1575211"/>
                  <a:pt x="442789" y="1569744"/>
                  <a:pt x="440966" y="1567922"/>
                </a:cubicBezTo>
                <a:close/>
                <a:moveTo>
                  <a:pt x="3181516" y="1566100"/>
                </a:moveTo>
                <a:cubicBezTo>
                  <a:pt x="3176050" y="1567922"/>
                  <a:pt x="3172405" y="1566100"/>
                  <a:pt x="3170583" y="1573388"/>
                </a:cubicBezTo>
                <a:cubicBezTo>
                  <a:pt x="3170583" y="1577033"/>
                  <a:pt x="3163294" y="1567922"/>
                  <a:pt x="3163294" y="1571566"/>
                </a:cubicBezTo>
                <a:cubicBezTo>
                  <a:pt x="3163294" y="1582499"/>
                  <a:pt x="3177872" y="1575211"/>
                  <a:pt x="3190627" y="1571566"/>
                </a:cubicBezTo>
                <a:cubicBezTo>
                  <a:pt x="3188805" y="1569744"/>
                  <a:pt x="3188805" y="1569744"/>
                  <a:pt x="3186982" y="1567922"/>
                </a:cubicBezTo>
                <a:close/>
                <a:moveTo>
                  <a:pt x="1129748" y="1566100"/>
                </a:moveTo>
                <a:cubicBezTo>
                  <a:pt x="1138859" y="1569744"/>
                  <a:pt x="1142503" y="1578855"/>
                  <a:pt x="1149792" y="1586144"/>
                </a:cubicBezTo>
                <a:cubicBezTo>
                  <a:pt x="1146148" y="1582499"/>
                  <a:pt x="1141136" y="1579310"/>
                  <a:pt x="1137037" y="1576122"/>
                </a:cubicBezTo>
                <a:lnTo>
                  <a:pt x="1136228" y="1575008"/>
                </a:lnTo>
                <a:lnTo>
                  <a:pt x="1137037" y="1573388"/>
                </a:lnTo>
                <a:lnTo>
                  <a:pt x="1135750" y="1574353"/>
                </a:lnTo>
                <a:close/>
                <a:moveTo>
                  <a:pt x="707004" y="1566100"/>
                </a:moveTo>
                <a:cubicBezTo>
                  <a:pt x="703359" y="1571566"/>
                  <a:pt x="703359" y="1577033"/>
                  <a:pt x="699715" y="1578855"/>
                </a:cubicBezTo>
                <a:cubicBezTo>
                  <a:pt x="690604" y="1591610"/>
                  <a:pt x="677849" y="1602543"/>
                  <a:pt x="676027" y="1618943"/>
                </a:cubicBezTo>
                <a:cubicBezTo>
                  <a:pt x="677849" y="1618943"/>
                  <a:pt x="679671" y="1618943"/>
                  <a:pt x="681493" y="1618943"/>
                </a:cubicBezTo>
                <a:cubicBezTo>
                  <a:pt x="672383" y="1618943"/>
                  <a:pt x="668738" y="1628054"/>
                  <a:pt x="668738" y="1637164"/>
                </a:cubicBezTo>
                <a:cubicBezTo>
                  <a:pt x="668738" y="1635342"/>
                  <a:pt x="666916" y="1635342"/>
                  <a:pt x="666916" y="1631698"/>
                </a:cubicBezTo>
                <a:cubicBezTo>
                  <a:pt x="659627" y="1635342"/>
                  <a:pt x="663272" y="1642631"/>
                  <a:pt x="670560" y="1644453"/>
                </a:cubicBezTo>
                <a:cubicBezTo>
                  <a:pt x="665094" y="1640809"/>
                  <a:pt x="655983" y="1640809"/>
                  <a:pt x="657805" y="1649920"/>
                </a:cubicBezTo>
                <a:cubicBezTo>
                  <a:pt x="659627" y="1651742"/>
                  <a:pt x="661449" y="1655386"/>
                  <a:pt x="665094" y="1655386"/>
                </a:cubicBezTo>
                <a:cubicBezTo>
                  <a:pt x="652339" y="1653564"/>
                  <a:pt x="661449" y="1664497"/>
                  <a:pt x="657805" y="1666319"/>
                </a:cubicBezTo>
                <a:cubicBezTo>
                  <a:pt x="665094" y="1666319"/>
                  <a:pt x="674205" y="1669964"/>
                  <a:pt x="679671" y="1662675"/>
                </a:cubicBezTo>
                <a:cubicBezTo>
                  <a:pt x="677849" y="1660853"/>
                  <a:pt x="676027" y="1660853"/>
                  <a:pt x="674205" y="1659031"/>
                </a:cubicBezTo>
                <a:cubicBezTo>
                  <a:pt x="688782" y="1649920"/>
                  <a:pt x="685138" y="1629876"/>
                  <a:pt x="696071" y="1620765"/>
                </a:cubicBezTo>
                <a:cubicBezTo>
                  <a:pt x="692426" y="1618943"/>
                  <a:pt x="686960" y="1618943"/>
                  <a:pt x="683316" y="1620765"/>
                </a:cubicBezTo>
                <a:cubicBezTo>
                  <a:pt x="703359" y="1617121"/>
                  <a:pt x="699715" y="1584321"/>
                  <a:pt x="707004" y="1566100"/>
                </a:cubicBezTo>
                <a:close/>
                <a:moveTo>
                  <a:pt x="597673" y="1566100"/>
                </a:moveTo>
                <a:cubicBezTo>
                  <a:pt x="597673" y="1571566"/>
                  <a:pt x="595852" y="1584321"/>
                  <a:pt x="586741" y="1584321"/>
                </a:cubicBezTo>
                <a:cubicBezTo>
                  <a:pt x="583096" y="1577033"/>
                  <a:pt x="590385" y="1569744"/>
                  <a:pt x="597673" y="1566100"/>
                </a:cubicBezTo>
                <a:close/>
                <a:moveTo>
                  <a:pt x="524786" y="1566100"/>
                </a:moveTo>
                <a:cubicBezTo>
                  <a:pt x="519320" y="1571566"/>
                  <a:pt x="524786" y="1577033"/>
                  <a:pt x="526609" y="1578855"/>
                </a:cubicBezTo>
                <a:cubicBezTo>
                  <a:pt x="528431" y="1575211"/>
                  <a:pt x="524786" y="1569744"/>
                  <a:pt x="524786" y="1566100"/>
                </a:cubicBezTo>
                <a:close/>
                <a:moveTo>
                  <a:pt x="502920" y="1566100"/>
                </a:moveTo>
                <a:cubicBezTo>
                  <a:pt x="502920" y="1567922"/>
                  <a:pt x="500642" y="1570655"/>
                  <a:pt x="499275" y="1573388"/>
                </a:cubicBezTo>
                <a:lnTo>
                  <a:pt x="500855" y="1579705"/>
                </a:lnTo>
                <a:lnTo>
                  <a:pt x="500577" y="1579636"/>
                </a:lnTo>
                <a:lnTo>
                  <a:pt x="499959" y="1578399"/>
                </a:lnTo>
                <a:cubicBezTo>
                  <a:pt x="499731" y="1577944"/>
                  <a:pt x="499276" y="1577944"/>
                  <a:pt x="497454" y="1578855"/>
                </a:cubicBezTo>
                <a:lnTo>
                  <a:pt x="500577" y="1579636"/>
                </a:lnTo>
                <a:lnTo>
                  <a:pt x="501098" y="1580677"/>
                </a:lnTo>
                <a:lnTo>
                  <a:pt x="500855" y="1579705"/>
                </a:lnTo>
                <a:lnTo>
                  <a:pt x="502817" y="1580195"/>
                </a:lnTo>
                <a:lnTo>
                  <a:pt x="502694" y="1581816"/>
                </a:lnTo>
                <a:lnTo>
                  <a:pt x="505157" y="1581091"/>
                </a:lnTo>
                <a:lnTo>
                  <a:pt x="506565" y="1582499"/>
                </a:lnTo>
                <a:cubicBezTo>
                  <a:pt x="506565" y="1582499"/>
                  <a:pt x="504743" y="1584321"/>
                  <a:pt x="504743" y="1584321"/>
                </a:cubicBezTo>
                <a:cubicBezTo>
                  <a:pt x="506565" y="1584321"/>
                  <a:pt x="506565" y="1584321"/>
                  <a:pt x="508387" y="1582499"/>
                </a:cubicBezTo>
                <a:cubicBezTo>
                  <a:pt x="508387" y="1580677"/>
                  <a:pt x="508387" y="1580677"/>
                  <a:pt x="506565" y="1578855"/>
                </a:cubicBezTo>
                <a:cubicBezTo>
                  <a:pt x="513853" y="1573388"/>
                  <a:pt x="508387" y="1566100"/>
                  <a:pt x="502920" y="1566100"/>
                </a:cubicBezTo>
                <a:close/>
                <a:moveTo>
                  <a:pt x="3143250" y="1564278"/>
                </a:moveTo>
                <a:cubicBezTo>
                  <a:pt x="3137784" y="1562455"/>
                  <a:pt x="3141428" y="1569744"/>
                  <a:pt x="3141428" y="1571566"/>
                </a:cubicBezTo>
                <a:cubicBezTo>
                  <a:pt x="3145073" y="1569744"/>
                  <a:pt x="3143250" y="1567922"/>
                  <a:pt x="3143250" y="1564278"/>
                </a:cubicBezTo>
                <a:close/>
                <a:moveTo>
                  <a:pt x="3084941" y="1564278"/>
                </a:moveTo>
                <a:lnTo>
                  <a:pt x="3099518" y="1564278"/>
                </a:lnTo>
                <a:lnTo>
                  <a:pt x="3086763" y="1577033"/>
                </a:lnTo>
                <a:lnTo>
                  <a:pt x="3084941" y="1578855"/>
                </a:lnTo>
                <a:close/>
                <a:moveTo>
                  <a:pt x="803383" y="1562092"/>
                </a:moveTo>
                <a:lnTo>
                  <a:pt x="803579" y="1562455"/>
                </a:lnTo>
                <a:lnTo>
                  <a:pt x="787964" y="1562455"/>
                </a:lnTo>
                <a:close/>
                <a:moveTo>
                  <a:pt x="813902" y="1561845"/>
                </a:moveTo>
                <a:lnTo>
                  <a:pt x="814512" y="1562455"/>
                </a:lnTo>
                <a:lnTo>
                  <a:pt x="813231" y="1561861"/>
                </a:lnTo>
                <a:close/>
                <a:moveTo>
                  <a:pt x="841845" y="1560633"/>
                </a:moveTo>
                <a:cubicBezTo>
                  <a:pt x="840022" y="1562455"/>
                  <a:pt x="840022" y="1560633"/>
                  <a:pt x="838200" y="1562455"/>
                </a:cubicBezTo>
                <a:cubicBezTo>
                  <a:pt x="840022" y="1564278"/>
                  <a:pt x="845489" y="1564278"/>
                  <a:pt x="841845" y="1560633"/>
                </a:cubicBezTo>
                <a:close/>
                <a:moveTo>
                  <a:pt x="552119" y="1560633"/>
                </a:moveTo>
                <a:cubicBezTo>
                  <a:pt x="550297" y="1562455"/>
                  <a:pt x="550297" y="1564278"/>
                  <a:pt x="552119" y="1567922"/>
                </a:cubicBezTo>
                <a:cubicBezTo>
                  <a:pt x="555763" y="1567922"/>
                  <a:pt x="557586" y="1564278"/>
                  <a:pt x="557586" y="1566100"/>
                </a:cubicBezTo>
                <a:cubicBezTo>
                  <a:pt x="559408" y="1562455"/>
                  <a:pt x="553941" y="1562455"/>
                  <a:pt x="552119" y="1560633"/>
                </a:cubicBezTo>
                <a:close/>
                <a:moveTo>
                  <a:pt x="349858" y="1560633"/>
                </a:moveTo>
                <a:cubicBezTo>
                  <a:pt x="357146" y="1566100"/>
                  <a:pt x="366257" y="1569744"/>
                  <a:pt x="373546" y="1573388"/>
                </a:cubicBezTo>
                <a:lnTo>
                  <a:pt x="385871" y="1578318"/>
                </a:lnTo>
                <a:lnTo>
                  <a:pt x="360791" y="1570655"/>
                </a:lnTo>
                <a:lnTo>
                  <a:pt x="350970" y="1563126"/>
                </a:lnTo>
                <a:close/>
                <a:moveTo>
                  <a:pt x="771882" y="1560328"/>
                </a:moveTo>
                <a:lnTo>
                  <a:pt x="774424" y="1560633"/>
                </a:lnTo>
                <a:lnTo>
                  <a:pt x="774144" y="1560873"/>
                </a:lnTo>
                <a:close/>
                <a:moveTo>
                  <a:pt x="606700" y="1559836"/>
                </a:moveTo>
                <a:cubicBezTo>
                  <a:pt x="608152" y="1559153"/>
                  <a:pt x="609974" y="1559267"/>
                  <a:pt x="612251" y="1560633"/>
                </a:cubicBezTo>
                <a:cubicBezTo>
                  <a:pt x="610429" y="1566100"/>
                  <a:pt x="606784" y="1571566"/>
                  <a:pt x="601318" y="1575211"/>
                </a:cubicBezTo>
                <a:cubicBezTo>
                  <a:pt x="601318" y="1571111"/>
                  <a:pt x="602343" y="1561886"/>
                  <a:pt x="606700" y="1559836"/>
                </a:cubicBezTo>
                <a:close/>
                <a:moveTo>
                  <a:pt x="1333832" y="1558811"/>
                </a:moveTo>
                <a:lnTo>
                  <a:pt x="1333832" y="1573388"/>
                </a:lnTo>
                <a:lnTo>
                  <a:pt x="1355698" y="1558811"/>
                </a:lnTo>
                <a:close/>
                <a:moveTo>
                  <a:pt x="453722" y="1558811"/>
                </a:moveTo>
                <a:cubicBezTo>
                  <a:pt x="446433" y="1558811"/>
                  <a:pt x="446433" y="1571566"/>
                  <a:pt x="455544" y="1567922"/>
                </a:cubicBezTo>
                <a:cubicBezTo>
                  <a:pt x="453722" y="1564278"/>
                  <a:pt x="455544" y="1562455"/>
                  <a:pt x="453722" y="1558811"/>
                </a:cubicBezTo>
                <a:close/>
                <a:moveTo>
                  <a:pt x="3367377" y="1556990"/>
                </a:moveTo>
                <a:cubicBezTo>
                  <a:pt x="3363733" y="1556990"/>
                  <a:pt x="3363733" y="1560635"/>
                  <a:pt x="3360088" y="1558813"/>
                </a:cubicBezTo>
                <a:cubicBezTo>
                  <a:pt x="3363733" y="1564279"/>
                  <a:pt x="3365555" y="1564279"/>
                  <a:pt x="3371021" y="1567924"/>
                </a:cubicBezTo>
                <a:cubicBezTo>
                  <a:pt x="3369199" y="1564279"/>
                  <a:pt x="3369199" y="1558813"/>
                  <a:pt x="3367377" y="1556990"/>
                </a:cubicBezTo>
                <a:close/>
                <a:moveTo>
                  <a:pt x="1266411" y="1556989"/>
                </a:moveTo>
                <a:lnTo>
                  <a:pt x="1259123" y="1578855"/>
                </a:lnTo>
                <a:lnTo>
                  <a:pt x="1255478" y="1571566"/>
                </a:lnTo>
                <a:cubicBezTo>
                  <a:pt x="1253656" y="1569744"/>
                  <a:pt x="1251834" y="1569744"/>
                  <a:pt x="1250012" y="1569744"/>
                </a:cubicBezTo>
                <a:cubicBezTo>
                  <a:pt x="1250012" y="1569744"/>
                  <a:pt x="1251834" y="1569744"/>
                  <a:pt x="1253656" y="1569744"/>
                </a:cubicBezTo>
                <a:lnTo>
                  <a:pt x="1251154" y="1565991"/>
                </a:lnTo>
                <a:lnTo>
                  <a:pt x="1251606" y="1564505"/>
                </a:lnTo>
                <a:lnTo>
                  <a:pt x="1251663" y="1563544"/>
                </a:lnTo>
                <a:close/>
                <a:moveTo>
                  <a:pt x="758025" y="1556989"/>
                </a:moveTo>
                <a:lnTo>
                  <a:pt x="771882" y="1560328"/>
                </a:lnTo>
                <a:lnTo>
                  <a:pt x="758607" y="1558735"/>
                </a:lnTo>
                <a:close/>
                <a:moveTo>
                  <a:pt x="696071" y="1556989"/>
                </a:moveTo>
                <a:cubicBezTo>
                  <a:pt x="683316" y="1566100"/>
                  <a:pt x="672383" y="1580677"/>
                  <a:pt x="668738" y="1593432"/>
                </a:cubicBezTo>
                <a:cubicBezTo>
                  <a:pt x="681493" y="1587966"/>
                  <a:pt x="697893" y="1575211"/>
                  <a:pt x="696071" y="1556989"/>
                </a:cubicBezTo>
                <a:close/>
                <a:moveTo>
                  <a:pt x="465794" y="1556078"/>
                </a:moveTo>
                <a:cubicBezTo>
                  <a:pt x="461466" y="1557900"/>
                  <a:pt x="459188" y="1562455"/>
                  <a:pt x="461010" y="1567922"/>
                </a:cubicBezTo>
                <a:cubicBezTo>
                  <a:pt x="462832" y="1571566"/>
                  <a:pt x="468299" y="1571566"/>
                  <a:pt x="473766" y="1571566"/>
                </a:cubicBezTo>
                <a:cubicBezTo>
                  <a:pt x="471943" y="1567922"/>
                  <a:pt x="471943" y="1566100"/>
                  <a:pt x="470121" y="1562455"/>
                </a:cubicBezTo>
                <a:cubicBezTo>
                  <a:pt x="471943" y="1566100"/>
                  <a:pt x="473766" y="1569744"/>
                  <a:pt x="477410" y="1569744"/>
                </a:cubicBezTo>
                <a:cubicBezTo>
                  <a:pt x="481054" y="1567922"/>
                  <a:pt x="479232" y="1562455"/>
                  <a:pt x="482876" y="1560633"/>
                </a:cubicBezTo>
                <a:cubicBezTo>
                  <a:pt x="476499" y="1555166"/>
                  <a:pt x="470121" y="1554255"/>
                  <a:pt x="465794" y="1556078"/>
                </a:cubicBezTo>
                <a:close/>
                <a:moveTo>
                  <a:pt x="621830" y="1556051"/>
                </a:moveTo>
                <a:lnTo>
                  <a:pt x="612251" y="1575211"/>
                </a:lnTo>
                <a:cubicBezTo>
                  <a:pt x="613162" y="1568833"/>
                  <a:pt x="615895" y="1563366"/>
                  <a:pt x="618401" y="1557900"/>
                </a:cubicBezTo>
                <a:lnTo>
                  <a:pt x="618778" y="1556533"/>
                </a:lnTo>
                <a:close/>
                <a:moveTo>
                  <a:pt x="1074071" y="1555976"/>
                </a:moveTo>
                <a:lnTo>
                  <a:pt x="1074627" y="1556078"/>
                </a:lnTo>
                <a:lnTo>
                  <a:pt x="1075326" y="1556392"/>
                </a:lnTo>
                <a:close/>
                <a:moveTo>
                  <a:pt x="729729" y="1555270"/>
                </a:moveTo>
                <a:lnTo>
                  <a:pt x="758607" y="1558735"/>
                </a:lnTo>
                <a:lnTo>
                  <a:pt x="759848" y="1562455"/>
                </a:lnTo>
                <a:cubicBezTo>
                  <a:pt x="752558" y="1562455"/>
                  <a:pt x="745269" y="1560633"/>
                  <a:pt x="739803" y="1556989"/>
                </a:cubicBezTo>
                <a:cubicBezTo>
                  <a:pt x="741626" y="1564278"/>
                  <a:pt x="730692" y="1558811"/>
                  <a:pt x="728870" y="1556989"/>
                </a:cubicBezTo>
                <a:close/>
                <a:moveTo>
                  <a:pt x="717025" y="1555252"/>
                </a:moveTo>
                <a:cubicBezTo>
                  <a:pt x="712242" y="1557900"/>
                  <a:pt x="711559" y="1571566"/>
                  <a:pt x="708826" y="1577033"/>
                </a:cubicBezTo>
                <a:cubicBezTo>
                  <a:pt x="707004" y="1580677"/>
                  <a:pt x="708826" y="1587966"/>
                  <a:pt x="710648" y="1591610"/>
                </a:cubicBezTo>
                <a:cubicBezTo>
                  <a:pt x="710648" y="1589788"/>
                  <a:pt x="708826" y="1591610"/>
                  <a:pt x="707004" y="1589788"/>
                </a:cubicBezTo>
                <a:cubicBezTo>
                  <a:pt x="707004" y="1595255"/>
                  <a:pt x="699715" y="1600721"/>
                  <a:pt x="705182" y="1606188"/>
                </a:cubicBezTo>
                <a:cubicBezTo>
                  <a:pt x="712470" y="1595255"/>
                  <a:pt x="721581" y="1584321"/>
                  <a:pt x="721581" y="1569744"/>
                </a:cubicBezTo>
                <a:cubicBezTo>
                  <a:pt x="723404" y="1566100"/>
                  <a:pt x="727048" y="1560633"/>
                  <a:pt x="723404" y="1556989"/>
                </a:cubicBezTo>
                <a:cubicBezTo>
                  <a:pt x="720670" y="1554711"/>
                  <a:pt x="718620" y="1554369"/>
                  <a:pt x="717025" y="1555252"/>
                </a:cubicBezTo>
                <a:close/>
                <a:moveTo>
                  <a:pt x="573985" y="1555167"/>
                </a:moveTo>
                <a:cubicBezTo>
                  <a:pt x="572163" y="1560633"/>
                  <a:pt x="570341" y="1564278"/>
                  <a:pt x="568519" y="1567922"/>
                </a:cubicBezTo>
                <a:cubicBezTo>
                  <a:pt x="575808" y="1566100"/>
                  <a:pt x="573985" y="1560633"/>
                  <a:pt x="577630" y="1556989"/>
                </a:cubicBezTo>
                <a:cubicBezTo>
                  <a:pt x="575808" y="1555167"/>
                  <a:pt x="573985" y="1556989"/>
                  <a:pt x="573985" y="1555167"/>
                </a:cubicBezTo>
                <a:close/>
                <a:moveTo>
                  <a:pt x="532075" y="1555167"/>
                </a:moveTo>
                <a:cubicBezTo>
                  <a:pt x="532075" y="1556989"/>
                  <a:pt x="533897" y="1560633"/>
                  <a:pt x="535719" y="1562455"/>
                </a:cubicBezTo>
                <a:cubicBezTo>
                  <a:pt x="537542" y="1560633"/>
                  <a:pt x="533897" y="1555167"/>
                  <a:pt x="532075" y="1555167"/>
                </a:cubicBezTo>
                <a:close/>
                <a:moveTo>
                  <a:pt x="506565" y="1555167"/>
                </a:moveTo>
                <a:cubicBezTo>
                  <a:pt x="504743" y="1553345"/>
                  <a:pt x="502920" y="1560633"/>
                  <a:pt x="506565" y="1560633"/>
                </a:cubicBezTo>
                <a:cubicBezTo>
                  <a:pt x="510209" y="1558811"/>
                  <a:pt x="506565" y="1556989"/>
                  <a:pt x="506565" y="1555167"/>
                </a:cubicBezTo>
                <a:close/>
                <a:moveTo>
                  <a:pt x="1019371" y="1554195"/>
                </a:moveTo>
                <a:lnTo>
                  <a:pt x="1018596" y="1555167"/>
                </a:lnTo>
                <a:cubicBezTo>
                  <a:pt x="1022240" y="1564278"/>
                  <a:pt x="1024062" y="1571566"/>
                  <a:pt x="1027707" y="1580677"/>
                </a:cubicBezTo>
                <a:cubicBezTo>
                  <a:pt x="1024062" y="1573388"/>
                  <a:pt x="1018596" y="1566100"/>
                  <a:pt x="1014951" y="1556989"/>
                </a:cubicBezTo>
                <a:cubicBezTo>
                  <a:pt x="1013129" y="1556989"/>
                  <a:pt x="1013129" y="1555167"/>
                  <a:pt x="1013129" y="1555167"/>
                </a:cubicBezTo>
                <a:cubicBezTo>
                  <a:pt x="1014040" y="1556989"/>
                  <a:pt x="1015407" y="1556989"/>
                  <a:pt x="1016774" y="1556306"/>
                </a:cubicBezTo>
                <a:close/>
                <a:moveTo>
                  <a:pt x="3154184" y="1553345"/>
                </a:moveTo>
                <a:cubicBezTo>
                  <a:pt x="3150539" y="1555167"/>
                  <a:pt x="3156006" y="1560633"/>
                  <a:pt x="3157828" y="1562455"/>
                </a:cubicBezTo>
                <a:cubicBezTo>
                  <a:pt x="3161472" y="1560633"/>
                  <a:pt x="3154184" y="1556989"/>
                  <a:pt x="3154184" y="1553345"/>
                </a:cubicBezTo>
                <a:close/>
                <a:moveTo>
                  <a:pt x="615895" y="1553345"/>
                </a:moveTo>
                <a:cubicBezTo>
                  <a:pt x="614074" y="1555167"/>
                  <a:pt x="612251" y="1560633"/>
                  <a:pt x="610429" y="1556989"/>
                </a:cubicBezTo>
                <a:cubicBezTo>
                  <a:pt x="612251" y="1556989"/>
                  <a:pt x="614074" y="1553345"/>
                  <a:pt x="615895" y="1553345"/>
                </a:cubicBezTo>
                <a:close/>
                <a:moveTo>
                  <a:pt x="1020063" y="1553328"/>
                </a:moveTo>
                <a:lnTo>
                  <a:pt x="1020418" y="1553345"/>
                </a:lnTo>
                <a:lnTo>
                  <a:pt x="1019371" y="1554195"/>
                </a:lnTo>
                <a:close/>
                <a:moveTo>
                  <a:pt x="597970" y="1551839"/>
                </a:moveTo>
                <a:lnTo>
                  <a:pt x="597673" y="1554028"/>
                </a:lnTo>
                <a:lnTo>
                  <a:pt x="595386" y="1556193"/>
                </a:lnTo>
                <a:lnTo>
                  <a:pt x="596534" y="1552433"/>
                </a:lnTo>
                <a:close/>
                <a:moveTo>
                  <a:pt x="620096" y="1551762"/>
                </a:moveTo>
                <a:lnTo>
                  <a:pt x="618778" y="1556533"/>
                </a:lnTo>
                <a:lnTo>
                  <a:pt x="615895" y="1556989"/>
                </a:lnTo>
                <a:close/>
                <a:moveTo>
                  <a:pt x="579452" y="1551522"/>
                </a:moveTo>
                <a:cubicBezTo>
                  <a:pt x="577630" y="1551522"/>
                  <a:pt x="575808" y="1551522"/>
                  <a:pt x="575808" y="1553345"/>
                </a:cubicBezTo>
                <a:cubicBezTo>
                  <a:pt x="575808" y="1555167"/>
                  <a:pt x="577630" y="1553345"/>
                  <a:pt x="577630" y="1555167"/>
                </a:cubicBezTo>
                <a:cubicBezTo>
                  <a:pt x="577630" y="1553345"/>
                  <a:pt x="579452" y="1551522"/>
                  <a:pt x="579452" y="1551522"/>
                </a:cubicBezTo>
                <a:close/>
                <a:moveTo>
                  <a:pt x="601877" y="1551216"/>
                </a:moveTo>
                <a:lnTo>
                  <a:pt x="601359" y="1554873"/>
                </a:lnTo>
                <a:lnTo>
                  <a:pt x="594030" y="1560633"/>
                </a:lnTo>
                <a:close/>
                <a:moveTo>
                  <a:pt x="725226" y="1549700"/>
                </a:moveTo>
                <a:cubicBezTo>
                  <a:pt x="723404" y="1551522"/>
                  <a:pt x="721581" y="1551522"/>
                  <a:pt x="719759" y="1553345"/>
                </a:cubicBezTo>
                <a:cubicBezTo>
                  <a:pt x="721581" y="1555167"/>
                  <a:pt x="725226" y="1555167"/>
                  <a:pt x="725226" y="1553345"/>
                </a:cubicBezTo>
                <a:cubicBezTo>
                  <a:pt x="725226" y="1551522"/>
                  <a:pt x="727048" y="1551522"/>
                  <a:pt x="725226" y="1549700"/>
                </a:cubicBezTo>
                <a:close/>
                <a:moveTo>
                  <a:pt x="705182" y="1549700"/>
                </a:moveTo>
                <a:cubicBezTo>
                  <a:pt x="705182" y="1547878"/>
                  <a:pt x="703359" y="1549700"/>
                  <a:pt x="701537" y="1551522"/>
                </a:cubicBezTo>
                <a:cubicBezTo>
                  <a:pt x="703359" y="1551522"/>
                  <a:pt x="710648" y="1556989"/>
                  <a:pt x="705182" y="1549700"/>
                </a:cubicBezTo>
                <a:close/>
                <a:moveTo>
                  <a:pt x="625006" y="1549700"/>
                </a:moveTo>
                <a:lnTo>
                  <a:pt x="624686" y="1555508"/>
                </a:lnTo>
                <a:lnTo>
                  <a:pt x="624550" y="1555622"/>
                </a:lnTo>
                <a:lnTo>
                  <a:pt x="621830" y="1556051"/>
                </a:lnTo>
                <a:close/>
                <a:moveTo>
                  <a:pt x="603140" y="1549700"/>
                </a:moveTo>
                <a:lnTo>
                  <a:pt x="601877" y="1551216"/>
                </a:lnTo>
                <a:lnTo>
                  <a:pt x="602026" y="1550161"/>
                </a:lnTo>
                <a:close/>
                <a:moveTo>
                  <a:pt x="526609" y="1549700"/>
                </a:moveTo>
                <a:cubicBezTo>
                  <a:pt x="528431" y="1558811"/>
                  <a:pt x="524786" y="1567922"/>
                  <a:pt x="530253" y="1577033"/>
                </a:cubicBezTo>
                <a:cubicBezTo>
                  <a:pt x="532075" y="1573388"/>
                  <a:pt x="532075" y="1571566"/>
                  <a:pt x="535719" y="1569744"/>
                </a:cubicBezTo>
                <a:cubicBezTo>
                  <a:pt x="533897" y="1564278"/>
                  <a:pt x="530253" y="1556989"/>
                  <a:pt x="526609" y="1549700"/>
                </a:cubicBezTo>
                <a:close/>
                <a:moveTo>
                  <a:pt x="512031" y="1549700"/>
                </a:moveTo>
                <a:cubicBezTo>
                  <a:pt x="512031" y="1551522"/>
                  <a:pt x="506565" y="1553345"/>
                  <a:pt x="510209" y="1556989"/>
                </a:cubicBezTo>
                <a:cubicBezTo>
                  <a:pt x="510209" y="1555167"/>
                  <a:pt x="513853" y="1553345"/>
                  <a:pt x="512031" y="1549700"/>
                </a:cubicBezTo>
                <a:close/>
                <a:moveTo>
                  <a:pt x="468299" y="1549700"/>
                </a:moveTo>
                <a:cubicBezTo>
                  <a:pt x="466478" y="1549700"/>
                  <a:pt x="464655" y="1551522"/>
                  <a:pt x="462832" y="1553345"/>
                </a:cubicBezTo>
                <a:cubicBezTo>
                  <a:pt x="466478" y="1553345"/>
                  <a:pt x="468299" y="1555167"/>
                  <a:pt x="471943" y="1553345"/>
                </a:cubicBezTo>
                <a:cubicBezTo>
                  <a:pt x="470121" y="1551522"/>
                  <a:pt x="468299" y="1551522"/>
                  <a:pt x="468299" y="1549700"/>
                </a:cubicBezTo>
                <a:close/>
                <a:moveTo>
                  <a:pt x="528431" y="1547878"/>
                </a:moveTo>
                <a:cubicBezTo>
                  <a:pt x="532075" y="1549700"/>
                  <a:pt x="533897" y="1556989"/>
                  <a:pt x="537542" y="1556989"/>
                </a:cubicBezTo>
                <a:cubicBezTo>
                  <a:pt x="539364" y="1553345"/>
                  <a:pt x="533897" y="1542412"/>
                  <a:pt x="528431" y="1547878"/>
                </a:cubicBezTo>
                <a:close/>
                <a:moveTo>
                  <a:pt x="517498" y="1547878"/>
                </a:moveTo>
                <a:cubicBezTo>
                  <a:pt x="513853" y="1555167"/>
                  <a:pt x="508387" y="1562455"/>
                  <a:pt x="517498" y="1567922"/>
                </a:cubicBezTo>
                <a:cubicBezTo>
                  <a:pt x="519320" y="1560633"/>
                  <a:pt x="517498" y="1555167"/>
                  <a:pt x="517498" y="1547878"/>
                </a:cubicBezTo>
                <a:close/>
                <a:moveTo>
                  <a:pt x="475589" y="1547878"/>
                </a:moveTo>
                <a:cubicBezTo>
                  <a:pt x="471943" y="1549700"/>
                  <a:pt x="477410" y="1551522"/>
                  <a:pt x="479232" y="1555167"/>
                </a:cubicBezTo>
                <a:cubicBezTo>
                  <a:pt x="479232" y="1553345"/>
                  <a:pt x="481054" y="1547878"/>
                  <a:pt x="475589" y="1547878"/>
                </a:cubicBezTo>
                <a:close/>
                <a:moveTo>
                  <a:pt x="440966" y="1547878"/>
                </a:moveTo>
                <a:cubicBezTo>
                  <a:pt x="439145" y="1547878"/>
                  <a:pt x="437322" y="1549700"/>
                  <a:pt x="437322" y="1551522"/>
                </a:cubicBezTo>
                <a:cubicBezTo>
                  <a:pt x="437322" y="1553345"/>
                  <a:pt x="439145" y="1551522"/>
                  <a:pt x="440966" y="1553345"/>
                </a:cubicBezTo>
                <a:cubicBezTo>
                  <a:pt x="442789" y="1551522"/>
                  <a:pt x="440966" y="1549700"/>
                  <a:pt x="440966" y="1547878"/>
                </a:cubicBezTo>
                <a:close/>
                <a:moveTo>
                  <a:pt x="410218" y="1547650"/>
                </a:moveTo>
                <a:cubicBezTo>
                  <a:pt x="408167" y="1546967"/>
                  <a:pt x="406345" y="1546967"/>
                  <a:pt x="406345" y="1549700"/>
                </a:cubicBezTo>
                <a:lnTo>
                  <a:pt x="413634" y="1555167"/>
                </a:lnTo>
                <a:cubicBezTo>
                  <a:pt x="417278" y="1555167"/>
                  <a:pt x="420923" y="1555167"/>
                  <a:pt x="422745" y="1553345"/>
                </a:cubicBezTo>
                <a:cubicBezTo>
                  <a:pt x="417278" y="1553345"/>
                  <a:pt x="411812" y="1551522"/>
                  <a:pt x="406345" y="1549700"/>
                </a:cubicBezTo>
                <a:cubicBezTo>
                  <a:pt x="409989" y="1547878"/>
                  <a:pt x="411812" y="1549700"/>
                  <a:pt x="415456" y="1549700"/>
                </a:cubicBezTo>
                <a:cubicBezTo>
                  <a:pt x="414545" y="1549700"/>
                  <a:pt x="412268" y="1548333"/>
                  <a:pt x="410218" y="1547650"/>
                </a:cubicBezTo>
                <a:close/>
                <a:moveTo>
                  <a:pt x="696071" y="1546056"/>
                </a:moveTo>
                <a:cubicBezTo>
                  <a:pt x="694249" y="1547878"/>
                  <a:pt x="697893" y="1551522"/>
                  <a:pt x="699715" y="1547878"/>
                </a:cubicBezTo>
                <a:cubicBezTo>
                  <a:pt x="697893" y="1546056"/>
                  <a:pt x="697893" y="1546056"/>
                  <a:pt x="696071" y="1546056"/>
                </a:cubicBezTo>
                <a:close/>
                <a:moveTo>
                  <a:pt x="497454" y="1546056"/>
                </a:moveTo>
                <a:cubicBezTo>
                  <a:pt x="490165" y="1549700"/>
                  <a:pt x="497454" y="1549700"/>
                  <a:pt x="499276" y="1551522"/>
                </a:cubicBezTo>
                <a:cubicBezTo>
                  <a:pt x="501098" y="1549700"/>
                  <a:pt x="499276" y="1546056"/>
                  <a:pt x="497454" y="1546056"/>
                </a:cubicBezTo>
                <a:close/>
                <a:moveTo>
                  <a:pt x="482876" y="1546056"/>
                </a:moveTo>
                <a:cubicBezTo>
                  <a:pt x="481054" y="1547878"/>
                  <a:pt x="484700" y="1555167"/>
                  <a:pt x="490165" y="1555167"/>
                </a:cubicBezTo>
                <a:cubicBezTo>
                  <a:pt x="490165" y="1553345"/>
                  <a:pt x="490165" y="1551522"/>
                  <a:pt x="491987" y="1549700"/>
                </a:cubicBezTo>
                <a:cubicBezTo>
                  <a:pt x="488343" y="1546056"/>
                  <a:pt x="486521" y="1544234"/>
                  <a:pt x="482876" y="1546056"/>
                </a:cubicBezTo>
                <a:close/>
                <a:moveTo>
                  <a:pt x="356539" y="1545448"/>
                </a:moveTo>
                <a:lnTo>
                  <a:pt x="357544" y="1546884"/>
                </a:lnTo>
                <a:lnTo>
                  <a:pt x="356464" y="1546283"/>
                </a:lnTo>
                <a:close/>
                <a:moveTo>
                  <a:pt x="3123206" y="1544234"/>
                </a:moveTo>
                <a:cubicBezTo>
                  <a:pt x="3114096" y="1544234"/>
                  <a:pt x="3119562" y="1558811"/>
                  <a:pt x="3121384" y="1566100"/>
                </a:cubicBezTo>
                <a:cubicBezTo>
                  <a:pt x="3117740" y="1566100"/>
                  <a:pt x="3117740" y="1558811"/>
                  <a:pt x="3115918" y="1560633"/>
                </a:cubicBezTo>
                <a:cubicBezTo>
                  <a:pt x="3115918" y="1562455"/>
                  <a:pt x="3115918" y="1566100"/>
                  <a:pt x="3117740" y="1567922"/>
                </a:cubicBezTo>
                <a:cubicBezTo>
                  <a:pt x="3121384" y="1569744"/>
                  <a:pt x="3125029" y="1564278"/>
                  <a:pt x="3125029" y="1567922"/>
                </a:cubicBezTo>
                <a:cubicBezTo>
                  <a:pt x="3126851" y="1573388"/>
                  <a:pt x="3130495" y="1578855"/>
                  <a:pt x="3137784" y="1580677"/>
                </a:cubicBezTo>
                <a:cubicBezTo>
                  <a:pt x="3132317" y="1587966"/>
                  <a:pt x="3117740" y="1597077"/>
                  <a:pt x="3126851" y="1598899"/>
                </a:cubicBezTo>
                <a:cubicBezTo>
                  <a:pt x="3135962" y="1600721"/>
                  <a:pt x="3148717" y="1589788"/>
                  <a:pt x="3159650" y="1580677"/>
                </a:cubicBezTo>
                <a:cubicBezTo>
                  <a:pt x="3163294" y="1578855"/>
                  <a:pt x="3163294" y="1571566"/>
                  <a:pt x="3156006" y="1573388"/>
                </a:cubicBezTo>
                <a:cubicBezTo>
                  <a:pt x="3156006" y="1575211"/>
                  <a:pt x="3157828" y="1577033"/>
                  <a:pt x="3157828" y="1578855"/>
                </a:cubicBezTo>
                <a:cubicBezTo>
                  <a:pt x="3152361" y="1580677"/>
                  <a:pt x="3154184" y="1573388"/>
                  <a:pt x="3150539" y="1575211"/>
                </a:cubicBezTo>
                <a:cubicBezTo>
                  <a:pt x="3148717" y="1569744"/>
                  <a:pt x="3157828" y="1564278"/>
                  <a:pt x="3150539" y="1564278"/>
                </a:cubicBezTo>
                <a:cubicBezTo>
                  <a:pt x="3148717" y="1564278"/>
                  <a:pt x="3150539" y="1569744"/>
                  <a:pt x="3148717" y="1573388"/>
                </a:cubicBezTo>
                <a:cubicBezTo>
                  <a:pt x="3148717" y="1577033"/>
                  <a:pt x="3139606" y="1575211"/>
                  <a:pt x="3135962" y="1575211"/>
                </a:cubicBezTo>
                <a:cubicBezTo>
                  <a:pt x="3121384" y="1571566"/>
                  <a:pt x="3126851" y="1555167"/>
                  <a:pt x="3123206" y="1544234"/>
                </a:cubicBezTo>
                <a:close/>
                <a:moveTo>
                  <a:pt x="847311" y="1544234"/>
                </a:moveTo>
                <a:cubicBezTo>
                  <a:pt x="849133" y="1549700"/>
                  <a:pt x="845489" y="1555167"/>
                  <a:pt x="849133" y="1558811"/>
                </a:cubicBezTo>
                <a:cubicBezTo>
                  <a:pt x="850956" y="1556989"/>
                  <a:pt x="850956" y="1555167"/>
                  <a:pt x="850956" y="1551522"/>
                </a:cubicBezTo>
                <a:cubicBezTo>
                  <a:pt x="852778" y="1551522"/>
                  <a:pt x="849133" y="1556989"/>
                  <a:pt x="852778" y="1556989"/>
                </a:cubicBezTo>
                <a:cubicBezTo>
                  <a:pt x="847311" y="1558811"/>
                  <a:pt x="847311" y="1560633"/>
                  <a:pt x="843667" y="1562455"/>
                </a:cubicBezTo>
                <a:cubicBezTo>
                  <a:pt x="849133" y="1567922"/>
                  <a:pt x="854600" y="1560633"/>
                  <a:pt x="860066" y="1560633"/>
                </a:cubicBezTo>
                <a:cubicBezTo>
                  <a:pt x="858244" y="1560633"/>
                  <a:pt x="856422" y="1558811"/>
                  <a:pt x="856422" y="1558811"/>
                </a:cubicBezTo>
                <a:cubicBezTo>
                  <a:pt x="860066" y="1560633"/>
                  <a:pt x="861889" y="1560633"/>
                  <a:pt x="863711" y="1558811"/>
                </a:cubicBezTo>
                <a:cubicBezTo>
                  <a:pt x="856422" y="1556989"/>
                  <a:pt x="854600" y="1546056"/>
                  <a:pt x="847311" y="1544234"/>
                </a:cubicBezTo>
                <a:close/>
                <a:moveTo>
                  <a:pt x="430809" y="1542917"/>
                </a:moveTo>
                <a:lnTo>
                  <a:pt x="431856" y="1544234"/>
                </a:lnTo>
                <a:lnTo>
                  <a:pt x="431324" y="1544462"/>
                </a:lnTo>
                <a:close/>
                <a:moveTo>
                  <a:pt x="3039387" y="1542412"/>
                </a:moveTo>
                <a:cubicBezTo>
                  <a:pt x="3032098" y="1542412"/>
                  <a:pt x="3039387" y="1549700"/>
                  <a:pt x="3039387" y="1553345"/>
                </a:cubicBezTo>
                <a:cubicBezTo>
                  <a:pt x="3044853" y="1551522"/>
                  <a:pt x="3039387" y="1547878"/>
                  <a:pt x="3039387" y="1542412"/>
                </a:cubicBezTo>
                <a:close/>
                <a:moveTo>
                  <a:pt x="3001121" y="1542412"/>
                </a:moveTo>
                <a:lnTo>
                  <a:pt x="3001121" y="1566100"/>
                </a:lnTo>
                <a:lnTo>
                  <a:pt x="3021165" y="1560633"/>
                </a:lnTo>
                <a:cubicBezTo>
                  <a:pt x="3019343" y="1558811"/>
                  <a:pt x="3019343" y="1556989"/>
                  <a:pt x="3019343" y="1555167"/>
                </a:cubicBezTo>
                <a:cubicBezTo>
                  <a:pt x="3010232" y="1556989"/>
                  <a:pt x="3012054" y="1560633"/>
                  <a:pt x="3004765" y="1555167"/>
                </a:cubicBezTo>
                <a:cubicBezTo>
                  <a:pt x="3008410" y="1553345"/>
                  <a:pt x="3010232" y="1551522"/>
                  <a:pt x="3012054" y="1547878"/>
                </a:cubicBezTo>
                <a:cubicBezTo>
                  <a:pt x="3012054" y="1549700"/>
                  <a:pt x="3012054" y="1547878"/>
                  <a:pt x="3001121" y="1542412"/>
                </a:cubicBezTo>
                <a:close/>
                <a:moveTo>
                  <a:pt x="789003" y="1542412"/>
                </a:moveTo>
                <a:cubicBezTo>
                  <a:pt x="795379" y="1550611"/>
                  <a:pt x="801301" y="1548789"/>
                  <a:pt x="807451" y="1544461"/>
                </a:cubicBezTo>
                <a:lnTo>
                  <a:pt x="808769" y="1543598"/>
                </a:lnTo>
                <a:lnTo>
                  <a:pt x="799935" y="1549700"/>
                </a:lnTo>
                <a:cubicBezTo>
                  <a:pt x="802668" y="1551522"/>
                  <a:pt x="803579" y="1555167"/>
                  <a:pt x="805173" y="1558128"/>
                </a:cubicBezTo>
                <a:lnTo>
                  <a:pt x="813231" y="1561861"/>
                </a:lnTo>
                <a:lnTo>
                  <a:pt x="803383" y="1562092"/>
                </a:lnTo>
                <a:lnTo>
                  <a:pt x="800618" y="1556989"/>
                </a:lnTo>
                <a:cubicBezTo>
                  <a:pt x="799023" y="1555167"/>
                  <a:pt x="797202" y="1553344"/>
                  <a:pt x="796290" y="1551522"/>
                </a:cubicBezTo>
                <a:cubicBezTo>
                  <a:pt x="790824" y="1555167"/>
                  <a:pt x="787179" y="1558811"/>
                  <a:pt x="781713" y="1562455"/>
                </a:cubicBezTo>
                <a:lnTo>
                  <a:pt x="787964" y="1562455"/>
                </a:lnTo>
                <a:lnTo>
                  <a:pt x="784304" y="1562541"/>
                </a:lnTo>
                <a:cubicBezTo>
                  <a:pt x="773969" y="1565075"/>
                  <a:pt x="764403" y="1570200"/>
                  <a:pt x="756203" y="1578855"/>
                </a:cubicBezTo>
                <a:cubicBezTo>
                  <a:pt x="765313" y="1580677"/>
                  <a:pt x="772602" y="1580677"/>
                  <a:pt x="779892" y="1582499"/>
                </a:cubicBezTo>
                <a:cubicBezTo>
                  <a:pt x="772602" y="1582499"/>
                  <a:pt x="763491" y="1582499"/>
                  <a:pt x="754380" y="1584321"/>
                </a:cubicBezTo>
                <a:cubicBezTo>
                  <a:pt x="750737" y="1584321"/>
                  <a:pt x="745269" y="1586144"/>
                  <a:pt x="741626" y="1587966"/>
                </a:cubicBezTo>
                <a:cubicBezTo>
                  <a:pt x="743447" y="1586144"/>
                  <a:pt x="747092" y="1582499"/>
                  <a:pt x="750737" y="1580677"/>
                </a:cubicBezTo>
                <a:cubicBezTo>
                  <a:pt x="747092" y="1582499"/>
                  <a:pt x="743447" y="1578855"/>
                  <a:pt x="739803" y="1577033"/>
                </a:cubicBezTo>
                <a:cubicBezTo>
                  <a:pt x="747091" y="1579766"/>
                  <a:pt x="753013" y="1577944"/>
                  <a:pt x="758480" y="1574299"/>
                </a:cubicBezTo>
                <a:lnTo>
                  <a:pt x="774144" y="1560873"/>
                </a:lnTo>
                <a:lnTo>
                  <a:pt x="776930" y="1561544"/>
                </a:lnTo>
                <a:cubicBezTo>
                  <a:pt x="783990" y="1560177"/>
                  <a:pt x="790823" y="1556077"/>
                  <a:pt x="794468" y="1549700"/>
                </a:cubicBezTo>
                <a:cubicBezTo>
                  <a:pt x="794468" y="1549700"/>
                  <a:pt x="790824" y="1546056"/>
                  <a:pt x="789003" y="1542412"/>
                </a:cubicBezTo>
                <a:close/>
                <a:moveTo>
                  <a:pt x="728870" y="1542412"/>
                </a:moveTo>
                <a:cubicBezTo>
                  <a:pt x="727048" y="1546056"/>
                  <a:pt x="717937" y="1546056"/>
                  <a:pt x="719759" y="1551522"/>
                </a:cubicBezTo>
                <a:cubicBezTo>
                  <a:pt x="721581" y="1549700"/>
                  <a:pt x="730692" y="1547878"/>
                  <a:pt x="728870" y="1542412"/>
                </a:cubicBezTo>
                <a:close/>
                <a:moveTo>
                  <a:pt x="3377627" y="1541730"/>
                </a:moveTo>
                <a:cubicBezTo>
                  <a:pt x="3374211" y="1541958"/>
                  <a:pt x="3371022" y="1544235"/>
                  <a:pt x="3369199" y="1547880"/>
                </a:cubicBezTo>
                <a:cubicBezTo>
                  <a:pt x="3371021" y="1551524"/>
                  <a:pt x="3380132" y="1555168"/>
                  <a:pt x="3381955" y="1553346"/>
                </a:cubicBezTo>
                <a:cubicBezTo>
                  <a:pt x="3381955" y="1558813"/>
                  <a:pt x="3385599" y="1562457"/>
                  <a:pt x="3383777" y="1566101"/>
                </a:cubicBezTo>
                <a:cubicBezTo>
                  <a:pt x="3380132" y="1567924"/>
                  <a:pt x="3380132" y="1560635"/>
                  <a:pt x="3376488" y="1560635"/>
                </a:cubicBezTo>
                <a:cubicBezTo>
                  <a:pt x="3378310" y="1564279"/>
                  <a:pt x="3381955" y="1567924"/>
                  <a:pt x="3383777" y="1573390"/>
                </a:cubicBezTo>
                <a:cubicBezTo>
                  <a:pt x="3392888" y="1567924"/>
                  <a:pt x="3391066" y="1560635"/>
                  <a:pt x="3385599" y="1553346"/>
                </a:cubicBezTo>
                <a:cubicBezTo>
                  <a:pt x="3385599" y="1551524"/>
                  <a:pt x="3387421" y="1549702"/>
                  <a:pt x="3387421" y="1547880"/>
                </a:cubicBezTo>
                <a:cubicBezTo>
                  <a:pt x="3384688" y="1543325"/>
                  <a:pt x="3381044" y="1541502"/>
                  <a:pt x="3377627" y="1541730"/>
                </a:cubicBezTo>
                <a:close/>
                <a:moveTo>
                  <a:pt x="619539" y="1540589"/>
                </a:moveTo>
                <a:lnTo>
                  <a:pt x="619344" y="1541565"/>
                </a:lnTo>
                <a:lnTo>
                  <a:pt x="616578" y="1545600"/>
                </a:lnTo>
                <a:cubicBezTo>
                  <a:pt x="611795" y="1548789"/>
                  <a:pt x="605873" y="1551522"/>
                  <a:pt x="601318" y="1555167"/>
                </a:cubicBezTo>
                <a:lnTo>
                  <a:pt x="601359" y="1554873"/>
                </a:lnTo>
                <a:lnTo>
                  <a:pt x="617635" y="1542085"/>
                </a:lnTo>
                <a:lnTo>
                  <a:pt x="617717" y="1542412"/>
                </a:lnTo>
                <a:lnTo>
                  <a:pt x="617785" y="1541967"/>
                </a:lnTo>
                <a:close/>
                <a:moveTo>
                  <a:pt x="3046675" y="1538767"/>
                </a:moveTo>
                <a:cubicBezTo>
                  <a:pt x="3046675" y="1544234"/>
                  <a:pt x="3046675" y="1549700"/>
                  <a:pt x="3052142" y="1549700"/>
                </a:cubicBezTo>
                <a:cubicBezTo>
                  <a:pt x="3052142" y="1546056"/>
                  <a:pt x="3052142" y="1544234"/>
                  <a:pt x="3055786" y="1546056"/>
                </a:cubicBezTo>
                <a:cubicBezTo>
                  <a:pt x="3055786" y="1540589"/>
                  <a:pt x="3050319" y="1540589"/>
                  <a:pt x="3046675" y="1538767"/>
                </a:cubicBezTo>
                <a:close/>
                <a:moveTo>
                  <a:pt x="723404" y="1538767"/>
                </a:moveTo>
                <a:cubicBezTo>
                  <a:pt x="721581" y="1542412"/>
                  <a:pt x="721581" y="1542412"/>
                  <a:pt x="719759" y="1546056"/>
                </a:cubicBezTo>
                <a:cubicBezTo>
                  <a:pt x="721581" y="1547878"/>
                  <a:pt x="723404" y="1546056"/>
                  <a:pt x="725226" y="1544234"/>
                </a:cubicBezTo>
                <a:cubicBezTo>
                  <a:pt x="725226" y="1544234"/>
                  <a:pt x="723404" y="1544234"/>
                  <a:pt x="721581" y="1544234"/>
                </a:cubicBezTo>
                <a:cubicBezTo>
                  <a:pt x="723404" y="1544234"/>
                  <a:pt x="725226" y="1544234"/>
                  <a:pt x="727048" y="1542412"/>
                </a:cubicBezTo>
                <a:cubicBezTo>
                  <a:pt x="725226" y="1542412"/>
                  <a:pt x="725226" y="1540589"/>
                  <a:pt x="723404" y="1538767"/>
                </a:cubicBezTo>
                <a:close/>
                <a:moveTo>
                  <a:pt x="539364" y="1538767"/>
                </a:moveTo>
                <a:cubicBezTo>
                  <a:pt x="537542" y="1536945"/>
                  <a:pt x="537542" y="1540589"/>
                  <a:pt x="533897" y="1540589"/>
                </a:cubicBezTo>
                <a:cubicBezTo>
                  <a:pt x="535719" y="1544234"/>
                  <a:pt x="537542" y="1538767"/>
                  <a:pt x="539364" y="1538767"/>
                </a:cubicBezTo>
                <a:close/>
                <a:moveTo>
                  <a:pt x="1218915" y="1538646"/>
                </a:moveTo>
                <a:lnTo>
                  <a:pt x="1218994" y="1538651"/>
                </a:lnTo>
                <a:lnTo>
                  <a:pt x="1219036" y="1538767"/>
                </a:lnTo>
                <a:close/>
                <a:moveTo>
                  <a:pt x="4396906" y="1535216"/>
                </a:moveTo>
                <a:lnTo>
                  <a:pt x="4396906" y="1557081"/>
                </a:lnTo>
                <a:lnTo>
                  <a:pt x="4382328" y="1557081"/>
                </a:lnTo>
                <a:cubicBezTo>
                  <a:pt x="4382328" y="1537038"/>
                  <a:pt x="4384151" y="1544327"/>
                  <a:pt x="4396906" y="1535216"/>
                </a:cubicBezTo>
                <a:close/>
                <a:moveTo>
                  <a:pt x="822903" y="1534337"/>
                </a:moveTo>
                <a:lnTo>
                  <a:pt x="808769" y="1543598"/>
                </a:lnTo>
                <a:lnTo>
                  <a:pt x="822029" y="1534439"/>
                </a:lnTo>
                <a:close/>
                <a:moveTo>
                  <a:pt x="974863" y="1533357"/>
                </a:moveTo>
                <a:cubicBezTo>
                  <a:pt x="982152" y="1531534"/>
                  <a:pt x="987618" y="1537001"/>
                  <a:pt x="993085" y="1535179"/>
                </a:cubicBezTo>
                <a:cubicBezTo>
                  <a:pt x="993085" y="1535179"/>
                  <a:pt x="993085" y="1537001"/>
                  <a:pt x="993085" y="1537001"/>
                </a:cubicBezTo>
                <a:cubicBezTo>
                  <a:pt x="998552" y="1538823"/>
                  <a:pt x="1004019" y="1540645"/>
                  <a:pt x="1007663" y="1542467"/>
                </a:cubicBezTo>
                <a:cubicBezTo>
                  <a:pt x="1009487" y="1544290"/>
                  <a:pt x="1007663" y="1544290"/>
                  <a:pt x="1009487" y="1546112"/>
                </a:cubicBezTo>
                <a:cubicBezTo>
                  <a:pt x="1000374" y="1535179"/>
                  <a:pt x="985796" y="1537001"/>
                  <a:pt x="974863" y="1533357"/>
                </a:cubicBezTo>
                <a:close/>
                <a:moveTo>
                  <a:pt x="3392888" y="1533302"/>
                </a:moveTo>
                <a:cubicBezTo>
                  <a:pt x="3392888" y="1535124"/>
                  <a:pt x="3392888" y="1536946"/>
                  <a:pt x="3392888" y="1538769"/>
                </a:cubicBezTo>
                <a:cubicBezTo>
                  <a:pt x="3394710" y="1536946"/>
                  <a:pt x="3394710" y="1540591"/>
                  <a:pt x="3396532" y="1536946"/>
                </a:cubicBezTo>
                <a:cubicBezTo>
                  <a:pt x="3394710" y="1535124"/>
                  <a:pt x="3394710" y="1533302"/>
                  <a:pt x="3392888" y="1533302"/>
                </a:cubicBezTo>
                <a:close/>
                <a:moveTo>
                  <a:pt x="1213568" y="1533301"/>
                </a:moveTo>
                <a:lnTo>
                  <a:pt x="1218915" y="1538646"/>
                </a:lnTo>
                <a:lnTo>
                  <a:pt x="1217212" y="1538539"/>
                </a:lnTo>
                <a:cubicBezTo>
                  <a:pt x="1215846" y="1537401"/>
                  <a:pt x="1214479" y="1536034"/>
                  <a:pt x="1213568" y="1536945"/>
                </a:cubicBezTo>
                <a:cubicBezTo>
                  <a:pt x="1215390" y="1536945"/>
                  <a:pt x="1211747" y="1535123"/>
                  <a:pt x="1213568" y="1533301"/>
                </a:cubicBezTo>
                <a:close/>
                <a:moveTo>
                  <a:pt x="847311" y="1533301"/>
                </a:moveTo>
                <a:cubicBezTo>
                  <a:pt x="841845" y="1540589"/>
                  <a:pt x="852778" y="1547878"/>
                  <a:pt x="858244" y="1551522"/>
                </a:cubicBezTo>
                <a:cubicBezTo>
                  <a:pt x="860066" y="1546056"/>
                  <a:pt x="850956" y="1538767"/>
                  <a:pt x="847311" y="1533301"/>
                </a:cubicBezTo>
                <a:close/>
                <a:moveTo>
                  <a:pt x="599496" y="1533301"/>
                </a:moveTo>
                <a:cubicBezTo>
                  <a:pt x="594030" y="1536945"/>
                  <a:pt x="592207" y="1547878"/>
                  <a:pt x="586741" y="1553345"/>
                </a:cubicBezTo>
                <a:cubicBezTo>
                  <a:pt x="590385" y="1549700"/>
                  <a:pt x="599496" y="1540589"/>
                  <a:pt x="599496" y="1533301"/>
                </a:cubicBezTo>
                <a:close/>
                <a:moveTo>
                  <a:pt x="471943" y="1533301"/>
                </a:moveTo>
                <a:cubicBezTo>
                  <a:pt x="470121" y="1535123"/>
                  <a:pt x="468299" y="1535123"/>
                  <a:pt x="468299" y="1536945"/>
                </a:cubicBezTo>
                <a:cubicBezTo>
                  <a:pt x="468299" y="1538767"/>
                  <a:pt x="473766" y="1535123"/>
                  <a:pt x="471943" y="1533301"/>
                </a:cubicBezTo>
                <a:close/>
                <a:moveTo>
                  <a:pt x="348037" y="1533301"/>
                </a:moveTo>
                <a:cubicBezTo>
                  <a:pt x="351680" y="1535123"/>
                  <a:pt x="355324" y="1535123"/>
                  <a:pt x="357146" y="1538767"/>
                </a:cubicBezTo>
                <a:lnTo>
                  <a:pt x="356539" y="1545448"/>
                </a:lnTo>
                <a:close/>
                <a:moveTo>
                  <a:pt x="657463" y="1533215"/>
                </a:moveTo>
                <a:cubicBezTo>
                  <a:pt x="654388" y="1533870"/>
                  <a:pt x="651427" y="1535578"/>
                  <a:pt x="648694" y="1538767"/>
                </a:cubicBezTo>
                <a:cubicBezTo>
                  <a:pt x="646872" y="1544234"/>
                  <a:pt x="639583" y="1547878"/>
                  <a:pt x="645050" y="1555167"/>
                </a:cubicBezTo>
                <a:cubicBezTo>
                  <a:pt x="645050" y="1553345"/>
                  <a:pt x="645050" y="1553345"/>
                  <a:pt x="643228" y="1551522"/>
                </a:cubicBezTo>
                <a:cubicBezTo>
                  <a:pt x="641407" y="1571566"/>
                  <a:pt x="652339" y="1584321"/>
                  <a:pt x="659627" y="1602543"/>
                </a:cubicBezTo>
                <a:cubicBezTo>
                  <a:pt x="652339" y="1593432"/>
                  <a:pt x="646872" y="1582499"/>
                  <a:pt x="643228" y="1569744"/>
                </a:cubicBezTo>
                <a:cubicBezTo>
                  <a:pt x="643228" y="1589788"/>
                  <a:pt x="630472" y="1620765"/>
                  <a:pt x="648694" y="1633520"/>
                </a:cubicBezTo>
                <a:cubicBezTo>
                  <a:pt x="654161" y="1624409"/>
                  <a:pt x="657805" y="1613476"/>
                  <a:pt x="663272" y="1606188"/>
                </a:cubicBezTo>
                <a:cubicBezTo>
                  <a:pt x="663272" y="1606188"/>
                  <a:pt x="661449" y="1606188"/>
                  <a:pt x="659627" y="1608010"/>
                </a:cubicBezTo>
                <a:cubicBezTo>
                  <a:pt x="665094" y="1597077"/>
                  <a:pt x="666916" y="1586144"/>
                  <a:pt x="674205" y="1575211"/>
                </a:cubicBezTo>
                <a:cubicBezTo>
                  <a:pt x="665094" y="1569744"/>
                  <a:pt x="661449" y="1586144"/>
                  <a:pt x="650516" y="1578855"/>
                </a:cubicBezTo>
                <a:cubicBezTo>
                  <a:pt x="663272" y="1571566"/>
                  <a:pt x="679671" y="1571566"/>
                  <a:pt x="688782" y="1556989"/>
                </a:cubicBezTo>
                <a:cubicBezTo>
                  <a:pt x="683316" y="1553345"/>
                  <a:pt x="677849" y="1553345"/>
                  <a:pt x="674205" y="1549700"/>
                </a:cubicBezTo>
                <a:cubicBezTo>
                  <a:pt x="681493" y="1549700"/>
                  <a:pt x="688782" y="1560633"/>
                  <a:pt x="694249" y="1551522"/>
                </a:cubicBezTo>
                <a:cubicBezTo>
                  <a:pt x="696071" y="1547878"/>
                  <a:pt x="690604" y="1540589"/>
                  <a:pt x="685138" y="1544234"/>
                </a:cubicBezTo>
                <a:cubicBezTo>
                  <a:pt x="679671" y="1540589"/>
                  <a:pt x="673294" y="1536034"/>
                  <a:pt x="666916" y="1533984"/>
                </a:cubicBezTo>
                <a:cubicBezTo>
                  <a:pt x="663727" y="1532959"/>
                  <a:pt x="660538" y="1532560"/>
                  <a:pt x="657463" y="1533215"/>
                </a:cubicBezTo>
                <a:close/>
                <a:moveTo>
                  <a:pt x="834015" y="1533044"/>
                </a:moveTo>
                <a:lnTo>
                  <a:pt x="838620" y="1536804"/>
                </a:lnTo>
                <a:lnTo>
                  <a:pt x="833662" y="1533085"/>
                </a:lnTo>
                <a:close/>
                <a:moveTo>
                  <a:pt x="422138" y="1532260"/>
                </a:moveTo>
                <a:lnTo>
                  <a:pt x="422563" y="1532754"/>
                </a:lnTo>
                <a:lnTo>
                  <a:pt x="422745" y="1533301"/>
                </a:lnTo>
                <a:close/>
                <a:moveTo>
                  <a:pt x="652339" y="1531478"/>
                </a:moveTo>
                <a:cubicBezTo>
                  <a:pt x="648694" y="1531478"/>
                  <a:pt x="645050" y="1531478"/>
                  <a:pt x="641407" y="1535123"/>
                </a:cubicBezTo>
                <a:cubicBezTo>
                  <a:pt x="643228" y="1536945"/>
                  <a:pt x="641407" y="1538767"/>
                  <a:pt x="643228" y="1540589"/>
                </a:cubicBezTo>
                <a:cubicBezTo>
                  <a:pt x="646872" y="1536945"/>
                  <a:pt x="652339" y="1535123"/>
                  <a:pt x="652339" y="1531478"/>
                </a:cubicBezTo>
                <a:close/>
                <a:moveTo>
                  <a:pt x="566697" y="1531478"/>
                </a:moveTo>
                <a:cubicBezTo>
                  <a:pt x="559408" y="1542412"/>
                  <a:pt x="543008" y="1560633"/>
                  <a:pt x="563052" y="1562455"/>
                </a:cubicBezTo>
                <a:cubicBezTo>
                  <a:pt x="564874" y="1562455"/>
                  <a:pt x="573985" y="1551522"/>
                  <a:pt x="573985" y="1542412"/>
                </a:cubicBezTo>
                <a:cubicBezTo>
                  <a:pt x="570341" y="1540589"/>
                  <a:pt x="564874" y="1542412"/>
                  <a:pt x="561230" y="1540589"/>
                </a:cubicBezTo>
                <a:cubicBezTo>
                  <a:pt x="564874" y="1540589"/>
                  <a:pt x="568519" y="1542412"/>
                  <a:pt x="570341" y="1538767"/>
                </a:cubicBezTo>
                <a:cubicBezTo>
                  <a:pt x="568519" y="1536945"/>
                  <a:pt x="566697" y="1533301"/>
                  <a:pt x="566697" y="1531478"/>
                </a:cubicBezTo>
                <a:close/>
                <a:moveTo>
                  <a:pt x="482876" y="1531478"/>
                </a:moveTo>
                <a:cubicBezTo>
                  <a:pt x="477410" y="1540589"/>
                  <a:pt x="479232" y="1542412"/>
                  <a:pt x="488343" y="1538767"/>
                </a:cubicBezTo>
                <a:cubicBezTo>
                  <a:pt x="486521" y="1536945"/>
                  <a:pt x="484700" y="1533301"/>
                  <a:pt x="482876" y="1531478"/>
                </a:cubicBezTo>
                <a:close/>
                <a:moveTo>
                  <a:pt x="1213568" y="1529656"/>
                </a:moveTo>
                <a:cubicBezTo>
                  <a:pt x="1211747" y="1531478"/>
                  <a:pt x="1211747" y="1531478"/>
                  <a:pt x="1208102" y="1533301"/>
                </a:cubicBezTo>
                <a:cubicBezTo>
                  <a:pt x="1209925" y="1536945"/>
                  <a:pt x="1211747" y="1535123"/>
                  <a:pt x="1213568" y="1536945"/>
                </a:cubicBezTo>
                <a:cubicBezTo>
                  <a:pt x="1215390" y="1540589"/>
                  <a:pt x="1217213" y="1546056"/>
                  <a:pt x="1220858" y="1549700"/>
                </a:cubicBezTo>
                <a:lnTo>
                  <a:pt x="1228146" y="1549700"/>
                </a:lnTo>
                <a:lnTo>
                  <a:pt x="1226323" y="1553345"/>
                </a:lnTo>
                <a:cubicBezTo>
                  <a:pt x="1228146" y="1556989"/>
                  <a:pt x="1229969" y="1560633"/>
                  <a:pt x="1231790" y="1564278"/>
                </a:cubicBezTo>
                <a:lnTo>
                  <a:pt x="1235434" y="1564278"/>
                </a:lnTo>
                <a:lnTo>
                  <a:pt x="1235434" y="1569744"/>
                </a:lnTo>
                <a:cubicBezTo>
                  <a:pt x="1237256" y="1573388"/>
                  <a:pt x="1240901" y="1575211"/>
                  <a:pt x="1242723" y="1577033"/>
                </a:cubicBezTo>
                <a:cubicBezTo>
                  <a:pt x="1244545" y="1575211"/>
                  <a:pt x="1239080" y="1567922"/>
                  <a:pt x="1235434" y="1564278"/>
                </a:cubicBezTo>
                <a:cubicBezTo>
                  <a:pt x="1235434" y="1558811"/>
                  <a:pt x="1231790" y="1555167"/>
                  <a:pt x="1228146" y="1549700"/>
                </a:cubicBezTo>
                <a:cubicBezTo>
                  <a:pt x="1224501" y="1546056"/>
                  <a:pt x="1222679" y="1542412"/>
                  <a:pt x="1220858" y="1538767"/>
                </a:cubicBezTo>
                <a:lnTo>
                  <a:pt x="1218994" y="1538651"/>
                </a:lnTo>
                <a:lnTo>
                  <a:pt x="1217668" y="1534895"/>
                </a:lnTo>
                <a:cubicBezTo>
                  <a:pt x="1216301" y="1532845"/>
                  <a:pt x="1214479" y="1530567"/>
                  <a:pt x="1213568" y="1529656"/>
                </a:cubicBezTo>
                <a:close/>
                <a:moveTo>
                  <a:pt x="490644" y="1529368"/>
                </a:moveTo>
                <a:lnTo>
                  <a:pt x="488343" y="1535123"/>
                </a:lnTo>
                <a:cubicBezTo>
                  <a:pt x="489254" y="1534212"/>
                  <a:pt x="488798" y="1532845"/>
                  <a:pt x="488798" y="1531478"/>
                </a:cubicBezTo>
                <a:close/>
                <a:moveTo>
                  <a:pt x="561230" y="1527834"/>
                </a:moveTo>
                <a:cubicBezTo>
                  <a:pt x="561230" y="1531478"/>
                  <a:pt x="553941" y="1529656"/>
                  <a:pt x="557586" y="1533301"/>
                </a:cubicBezTo>
                <a:cubicBezTo>
                  <a:pt x="553941" y="1535123"/>
                  <a:pt x="552119" y="1533301"/>
                  <a:pt x="548475" y="1535123"/>
                </a:cubicBezTo>
                <a:cubicBezTo>
                  <a:pt x="550297" y="1538767"/>
                  <a:pt x="550297" y="1542412"/>
                  <a:pt x="552119" y="1544234"/>
                </a:cubicBezTo>
                <a:cubicBezTo>
                  <a:pt x="555763" y="1540589"/>
                  <a:pt x="557586" y="1536945"/>
                  <a:pt x="559408" y="1533301"/>
                </a:cubicBezTo>
                <a:cubicBezTo>
                  <a:pt x="559408" y="1535123"/>
                  <a:pt x="559408" y="1535123"/>
                  <a:pt x="561230" y="1536945"/>
                </a:cubicBezTo>
                <a:cubicBezTo>
                  <a:pt x="557586" y="1533301"/>
                  <a:pt x="566697" y="1531478"/>
                  <a:pt x="561230" y="1527834"/>
                </a:cubicBezTo>
                <a:close/>
                <a:moveTo>
                  <a:pt x="530253" y="1527834"/>
                </a:moveTo>
                <a:cubicBezTo>
                  <a:pt x="528431" y="1531478"/>
                  <a:pt x="526609" y="1535123"/>
                  <a:pt x="528431" y="1538767"/>
                </a:cubicBezTo>
                <a:cubicBezTo>
                  <a:pt x="532075" y="1536945"/>
                  <a:pt x="535719" y="1536945"/>
                  <a:pt x="541186" y="1533301"/>
                </a:cubicBezTo>
                <a:cubicBezTo>
                  <a:pt x="537542" y="1531478"/>
                  <a:pt x="535719" y="1535123"/>
                  <a:pt x="532075" y="1535123"/>
                </a:cubicBezTo>
                <a:cubicBezTo>
                  <a:pt x="530253" y="1533301"/>
                  <a:pt x="533897" y="1533301"/>
                  <a:pt x="533897" y="1531478"/>
                </a:cubicBezTo>
                <a:cubicBezTo>
                  <a:pt x="532075" y="1529656"/>
                  <a:pt x="530253" y="1529656"/>
                  <a:pt x="530253" y="1527834"/>
                </a:cubicBezTo>
                <a:close/>
                <a:moveTo>
                  <a:pt x="510209" y="1527834"/>
                </a:moveTo>
                <a:cubicBezTo>
                  <a:pt x="506565" y="1527834"/>
                  <a:pt x="506565" y="1531478"/>
                  <a:pt x="504743" y="1533301"/>
                </a:cubicBezTo>
                <a:cubicBezTo>
                  <a:pt x="508387" y="1536945"/>
                  <a:pt x="508387" y="1529656"/>
                  <a:pt x="510209" y="1527834"/>
                </a:cubicBezTo>
                <a:close/>
                <a:moveTo>
                  <a:pt x="491324" y="1527668"/>
                </a:moveTo>
                <a:lnTo>
                  <a:pt x="491766" y="1527779"/>
                </a:lnTo>
                <a:lnTo>
                  <a:pt x="491721" y="1528138"/>
                </a:lnTo>
                <a:lnTo>
                  <a:pt x="490644" y="1529368"/>
                </a:lnTo>
                <a:close/>
                <a:moveTo>
                  <a:pt x="572391" y="1526695"/>
                </a:moveTo>
                <a:cubicBezTo>
                  <a:pt x="571707" y="1527378"/>
                  <a:pt x="571252" y="1528745"/>
                  <a:pt x="572163" y="1529656"/>
                </a:cubicBezTo>
                <a:cubicBezTo>
                  <a:pt x="573985" y="1527834"/>
                  <a:pt x="573985" y="1527834"/>
                  <a:pt x="573985" y="1527834"/>
                </a:cubicBezTo>
                <a:cubicBezTo>
                  <a:pt x="573985" y="1526012"/>
                  <a:pt x="573074" y="1526012"/>
                  <a:pt x="572391" y="1526695"/>
                </a:cubicBezTo>
                <a:close/>
                <a:moveTo>
                  <a:pt x="1204457" y="1526012"/>
                </a:moveTo>
                <a:cubicBezTo>
                  <a:pt x="1202636" y="1529656"/>
                  <a:pt x="1208102" y="1529656"/>
                  <a:pt x="1208102" y="1531478"/>
                </a:cubicBezTo>
                <a:cubicBezTo>
                  <a:pt x="1208102" y="1531478"/>
                  <a:pt x="1209925" y="1531478"/>
                  <a:pt x="1211747" y="1529656"/>
                </a:cubicBezTo>
                <a:cubicBezTo>
                  <a:pt x="1209925" y="1527834"/>
                  <a:pt x="1206279" y="1527834"/>
                  <a:pt x="1204457" y="1526012"/>
                </a:cubicBezTo>
                <a:close/>
                <a:moveTo>
                  <a:pt x="539364" y="1526012"/>
                </a:moveTo>
                <a:cubicBezTo>
                  <a:pt x="539364" y="1527834"/>
                  <a:pt x="533897" y="1531478"/>
                  <a:pt x="539364" y="1531478"/>
                </a:cubicBezTo>
                <a:cubicBezTo>
                  <a:pt x="541186" y="1529656"/>
                  <a:pt x="539364" y="1527834"/>
                  <a:pt x="539364" y="1526012"/>
                </a:cubicBezTo>
                <a:close/>
                <a:moveTo>
                  <a:pt x="484700" y="1526012"/>
                </a:moveTo>
                <a:cubicBezTo>
                  <a:pt x="482876" y="1533301"/>
                  <a:pt x="488343" y="1535123"/>
                  <a:pt x="490165" y="1540589"/>
                </a:cubicBezTo>
                <a:lnTo>
                  <a:pt x="491721" y="1528138"/>
                </a:lnTo>
                <a:lnTo>
                  <a:pt x="491987" y="1527834"/>
                </a:lnTo>
                <a:lnTo>
                  <a:pt x="491766" y="1527779"/>
                </a:lnTo>
                <a:lnTo>
                  <a:pt x="491987" y="1526012"/>
                </a:lnTo>
                <a:lnTo>
                  <a:pt x="491324" y="1527668"/>
                </a:lnTo>
                <a:close/>
                <a:moveTo>
                  <a:pt x="1087838" y="1524273"/>
                </a:moveTo>
                <a:lnTo>
                  <a:pt x="1087838" y="1526012"/>
                </a:lnTo>
                <a:lnTo>
                  <a:pt x="1085260" y="1524390"/>
                </a:lnTo>
                <a:close/>
                <a:moveTo>
                  <a:pt x="1084265" y="1523764"/>
                </a:moveTo>
                <a:lnTo>
                  <a:pt x="1085260" y="1524390"/>
                </a:lnTo>
                <a:lnTo>
                  <a:pt x="1084649" y="1524417"/>
                </a:lnTo>
                <a:close/>
                <a:moveTo>
                  <a:pt x="1087838" y="1523068"/>
                </a:moveTo>
                <a:lnTo>
                  <a:pt x="1089660" y="1524190"/>
                </a:lnTo>
                <a:lnTo>
                  <a:pt x="1087838" y="1524273"/>
                </a:lnTo>
                <a:close/>
                <a:moveTo>
                  <a:pt x="439145" y="1522368"/>
                </a:moveTo>
                <a:cubicBezTo>
                  <a:pt x="431856" y="1524190"/>
                  <a:pt x="442789" y="1527834"/>
                  <a:pt x="440966" y="1531478"/>
                </a:cubicBezTo>
                <a:cubicBezTo>
                  <a:pt x="444611" y="1529656"/>
                  <a:pt x="442789" y="1524190"/>
                  <a:pt x="439145" y="1522368"/>
                </a:cubicBezTo>
                <a:close/>
                <a:moveTo>
                  <a:pt x="535720" y="1521912"/>
                </a:moveTo>
                <a:cubicBezTo>
                  <a:pt x="534353" y="1521912"/>
                  <a:pt x="532986" y="1522368"/>
                  <a:pt x="532075" y="1524190"/>
                </a:cubicBezTo>
                <a:cubicBezTo>
                  <a:pt x="533897" y="1524190"/>
                  <a:pt x="539364" y="1529656"/>
                  <a:pt x="539364" y="1522368"/>
                </a:cubicBezTo>
                <a:cubicBezTo>
                  <a:pt x="538453" y="1522368"/>
                  <a:pt x="537087" y="1521912"/>
                  <a:pt x="535720" y="1521912"/>
                </a:cubicBezTo>
                <a:close/>
                <a:moveTo>
                  <a:pt x="3323646" y="1521326"/>
                </a:moveTo>
                <a:lnTo>
                  <a:pt x="3323646" y="1522368"/>
                </a:lnTo>
                <a:cubicBezTo>
                  <a:pt x="3323646" y="1524190"/>
                  <a:pt x="3323646" y="1524190"/>
                  <a:pt x="3321824" y="1524190"/>
                </a:cubicBezTo>
                <a:lnTo>
                  <a:pt x="3322407" y="1521857"/>
                </a:lnTo>
                <a:close/>
                <a:moveTo>
                  <a:pt x="641407" y="1520545"/>
                </a:moveTo>
                <a:cubicBezTo>
                  <a:pt x="643228" y="1524190"/>
                  <a:pt x="645050" y="1520545"/>
                  <a:pt x="646872" y="1520545"/>
                </a:cubicBezTo>
                <a:cubicBezTo>
                  <a:pt x="645050" y="1520545"/>
                  <a:pt x="643228" y="1518723"/>
                  <a:pt x="641407" y="1520545"/>
                </a:cubicBezTo>
                <a:close/>
                <a:moveTo>
                  <a:pt x="637761" y="1520545"/>
                </a:moveTo>
                <a:cubicBezTo>
                  <a:pt x="634117" y="1522368"/>
                  <a:pt x="635939" y="1522368"/>
                  <a:pt x="634117" y="1524190"/>
                </a:cubicBezTo>
                <a:cubicBezTo>
                  <a:pt x="634117" y="1526012"/>
                  <a:pt x="635939" y="1522368"/>
                  <a:pt x="639583" y="1524190"/>
                </a:cubicBezTo>
                <a:cubicBezTo>
                  <a:pt x="641407" y="1522368"/>
                  <a:pt x="639583" y="1520545"/>
                  <a:pt x="637761" y="1520545"/>
                </a:cubicBezTo>
                <a:close/>
                <a:moveTo>
                  <a:pt x="3863009" y="1518838"/>
                </a:moveTo>
                <a:cubicBezTo>
                  <a:pt x="3892164" y="1522483"/>
                  <a:pt x="3884875" y="1515194"/>
                  <a:pt x="3892164" y="1542526"/>
                </a:cubicBezTo>
                <a:lnTo>
                  <a:pt x="3870298" y="1549814"/>
                </a:lnTo>
                <a:close/>
                <a:moveTo>
                  <a:pt x="3148717" y="1518723"/>
                </a:moveTo>
                <a:cubicBezTo>
                  <a:pt x="3146895" y="1520545"/>
                  <a:pt x="3146895" y="1526012"/>
                  <a:pt x="3145073" y="1524190"/>
                </a:cubicBezTo>
                <a:cubicBezTo>
                  <a:pt x="3140518" y="1522368"/>
                  <a:pt x="3135962" y="1522368"/>
                  <a:pt x="3131179" y="1523051"/>
                </a:cubicBezTo>
                <a:lnTo>
                  <a:pt x="3120573" y="1525109"/>
                </a:lnTo>
                <a:lnTo>
                  <a:pt x="3119562" y="1524190"/>
                </a:lnTo>
                <a:lnTo>
                  <a:pt x="3119911" y="1525237"/>
                </a:lnTo>
                <a:lnTo>
                  <a:pt x="3115918" y="1526012"/>
                </a:lnTo>
                <a:cubicBezTo>
                  <a:pt x="3112274" y="1526012"/>
                  <a:pt x="3114096" y="1531478"/>
                  <a:pt x="3114096" y="1533301"/>
                </a:cubicBezTo>
                <a:cubicBezTo>
                  <a:pt x="3110451" y="1522368"/>
                  <a:pt x="3103163" y="1533301"/>
                  <a:pt x="3095874" y="1533301"/>
                </a:cubicBezTo>
                <a:cubicBezTo>
                  <a:pt x="3099518" y="1542412"/>
                  <a:pt x="3106807" y="1553345"/>
                  <a:pt x="3097696" y="1553345"/>
                </a:cubicBezTo>
                <a:cubicBezTo>
                  <a:pt x="3090407" y="1555167"/>
                  <a:pt x="3101340" y="1542412"/>
                  <a:pt x="3092230" y="1538767"/>
                </a:cubicBezTo>
                <a:cubicBezTo>
                  <a:pt x="3090407" y="1542412"/>
                  <a:pt x="3086763" y="1546056"/>
                  <a:pt x="3084941" y="1549700"/>
                </a:cubicBezTo>
                <a:cubicBezTo>
                  <a:pt x="3084941" y="1536945"/>
                  <a:pt x="3095874" y="1524190"/>
                  <a:pt x="3079474" y="1529656"/>
                </a:cubicBezTo>
                <a:cubicBezTo>
                  <a:pt x="3074008" y="1529656"/>
                  <a:pt x="3081297" y="1542412"/>
                  <a:pt x="3081297" y="1549700"/>
                </a:cubicBezTo>
                <a:cubicBezTo>
                  <a:pt x="3079474" y="1553345"/>
                  <a:pt x="3075830" y="1549700"/>
                  <a:pt x="3077652" y="1555167"/>
                </a:cubicBezTo>
                <a:cubicBezTo>
                  <a:pt x="3068541" y="1551522"/>
                  <a:pt x="3068541" y="1546056"/>
                  <a:pt x="3061253" y="1540589"/>
                </a:cubicBezTo>
                <a:cubicBezTo>
                  <a:pt x="3061253" y="1544234"/>
                  <a:pt x="3063075" y="1544234"/>
                  <a:pt x="3063075" y="1546056"/>
                </a:cubicBezTo>
                <a:cubicBezTo>
                  <a:pt x="3061253" y="1544234"/>
                  <a:pt x="3059430" y="1542412"/>
                  <a:pt x="3057608" y="1542412"/>
                </a:cubicBezTo>
                <a:cubicBezTo>
                  <a:pt x="3063075" y="1549700"/>
                  <a:pt x="3068541" y="1553345"/>
                  <a:pt x="3061253" y="1556989"/>
                </a:cubicBezTo>
                <a:cubicBezTo>
                  <a:pt x="3053964" y="1560633"/>
                  <a:pt x="3041209" y="1556989"/>
                  <a:pt x="3035742" y="1564278"/>
                </a:cubicBezTo>
                <a:lnTo>
                  <a:pt x="3066719" y="1598899"/>
                </a:lnTo>
                <a:cubicBezTo>
                  <a:pt x="3068541" y="1597077"/>
                  <a:pt x="3068541" y="1595255"/>
                  <a:pt x="3072186" y="1595255"/>
                </a:cubicBezTo>
                <a:cubicBezTo>
                  <a:pt x="3072186" y="1595255"/>
                  <a:pt x="3072186" y="1597077"/>
                  <a:pt x="3074008" y="1598899"/>
                </a:cubicBezTo>
                <a:cubicBezTo>
                  <a:pt x="3074008" y="1598899"/>
                  <a:pt x="3075830" y="1598899"/>
                  <a:pt x="3075830" y="1598899"/>
                </a:cubicBezTo>
                <a:cubicBezTo>
                  <a:pt x="3074008" y="1602543"/>
                  <a:pt x="3079474" y="1602543"/>
                  <a:pt x="3079474" y="1606188"/>
                </a:cubicBezTo>
                <a:cubicBezTo>
                  <a:pt x="3083119" y="1604365"/>
                  <a:pt x="3077652" y="1600721"/>
                  <a:pt x="3079474" y="1597077"/>
                </a:cubicBezTo>
                <a:cubicBezTo>
                  <a:pt x="3077652" y="1598899"/>
                  <a:pt x="3077652" y="1598899"/>
                  <a:pt x="3075830" y="1598899"/>
                </a:cubicBezTo>
                <a:cubicBezTo>
                  <a:pt x="3083119" y="1597077"/>
                  <a:pt x="3083119" y="1586144"/>
                  <a:pt x="3088585" y="1593432"/>
                </a:cubicBezTo>
                <a:cubicBezTo>
                  <a:pt x="3088585" y="1587966"/>
                  <a:pt x="3086763" y="1582499"/>
                  <a:pt x="3086763" y="1577033"/>
                </a:cubicBezTo>
                <a:cubicBezTo>
                  <a:pt x="3090407" y="1582499"/>
                  <a:pt x="3094052" y="1577033"/>
                  <a:pt x="3095874" y="1573388"/>
                </a:cubicBezTo>
                <a:cubicBezTo>
                  <a:pt x="3110451" y="1580677"/>
                  <a:pt x="3112274" y="1560633"/>
                  <a:pt x="3114096" y="1549700"/>
                </a:cubicBezTo>
                <a:cubicBezTo>
                  <a:pt x="3112274" y="1551522"/>
                  <a:pt x="3110451" y="1553345"/>
                  <a:pt x="3110451" y="1551522"/>
                </a:cubicBezTo>
                <a:cubicBezTo>
                  <a:pt x="3110451" y="1549700"/>
                  <a:pt x="3108629" y="1546056"/>
                  <a:pt x="3108629" y="1544234"/>
                </a:cubicBezTo>
                <a:cubicBezTo>
                  <a:pt x="3110451" y="1544234"/>
                  <a:pt x="3112274" y="1546056"/>
                  <a:pt x="3112274" y="1547878"/>
                </a:cubicBezTo>
                <a:cubicBezTo>
                  <a:pt x="3115918" y="1544234"/>
                  <a:pt x="3110451" y="1538767"/>
                  <a:pt x="3112274" y="1535123"/>
                </a:cubicBezTo>
                <a:cubicBezTo>
                  <a:pt x="3114096" y="1536945"/>
                  <a:pt x="3115918" y="1536945"/>
                  <a:pt x="3117740" y="1535123"/>
                </a:cubicBezTo>
                <a:cubicBezTo>
                  <a:pt x="3117740" y="1538767"/>
                  <a:pt x="3114096" y="1544234"/>
                  <a:pt x="3117740" y="1546056"/>
                </a:cubicBezTo>
                <a:cubicBezTo>
                  <a:pt x="3121384" y="1547878"/>
                  <a:pt x="3123206" y="1542412"/>
                  <a:pt x="3125029" y="1540589"/>
                </a:cubicBezTo>
                <a:lnTo>
                  <a:pt x="3119911" y="1525237"/>
                </a:lnTo>
                <a:lnTo>
                  <a:pt x="3120573" y="1525109"/>
                </a:lnTo>
                <a:lnTo>
                  <a:pt x="3139606" y="1542412"/>
                </a:lnTo>
                <a:cubicBezTo>
                  <a:pt x="3134140" y="1546056"/>
                  <a:pt x="3137784" y="1549700"/>
                  <a:pt x="3139606" y="1556989"/>
                </a:cubicBezTo>
                <a:cubicBezTo>
                  <a:pt x="3141428" y="1547878"/>
                  <a:pt x="3141428" y="1540589"/>
                  <a:pt x="3152361" y="1542412"/>
                </a:cubicBezTo>
                <a:cubicBezTo>
                  <a:pt x="3154184" y="1544234"/>
                  <a:pt x="3154184" y="1547878"/>
                  <a:pt x="3154184" y="1549700"/>
                </a:cubicBezTo>
                <a:cubicBezTo>
                  <a:pt x="3156006" y="1551522"/>
                  <a:pt x="3159650" y="1551522"/>
                  <a:pt x="3157828" y="1549700"/>
                </a:cubicBezTo>
                <a:cubicBezTo>
                  <a:pt x="3157828" y="1547878"/>
                  <a:pt x="3157828" y="1544234"/>
                  <a:pt x="3156006" y="1542412"/>
                </a:cubicBezTo>
                <a:cubicBezTo>
                  <a:pt x="3157828" y="1542412"/>
                  <a:pt x="3161472" y="1542412"/>
                  <a:pt x="3163294" y="1544234"/>
                </a:cubicBezTo>
                <a:cubicBezTo>
                  <a:pt x="3165116" y="1547878"/>
                  <a:pt x="3163294" y="1549700"/>
                  <a:pt x="3161472" y="1551522"/>
                </a:cubicBezTo>
                <a:cubicBezTo>
                  <a:pt x="3159650" y="1560633"/>
                  <a:pt x="3166939" y="1564278"/>
                  <a:pt x="3176050" y="1564278"/>
                </a:cubicBezTo>
                <a:lnTo>
                  <a:pt x="3176050" y="1535123"/>
                </a:lnTo>
                <a:lnTo>
                  <a:pt x="3190627" y="1535123"/>
                </a:lnTo>
                <a:cubicBezTo>
                  <a:pt x="3192449" y="1529656"/>
                  <a:pt x="3188805" y="1522368"/>
                  <a:pt x="3181516" y="1524190"/>
                </a:cubicBezTo>
                <a:cubicBezTo>
                  <a:pt x="3179694" y="1524190"/>
                  <a:pt x="3179694" y="1529656"/>
                  <a:pt x="3177872" y="1531478"/>
                </a:cubicBezTo>
                <a:cubicBezTo>
                  <a:pt x="3176050" y="1524190"/>
                  <a:pt x="3177872" y="1516901"/>
                  <a:pt x="3166939" y="1518723"/>
                </a:cubicBezTo>
                <a:cubicBezTo>
                  <a:pt x="3168761" y="1522368"/>
                  <a:pt x="3166939" y="1526012"/>
                  <a:pt x="3165116" y="1529656"/>
                </a:cubicBezTo>
                <a:cubicBezTo>
                  <a:pt x="3165116" y="1516901"/>
                  <a:pt x="3159650" y="1516901"/>
                  <a:pt x="3148717" y="1518723"/>
                </a:cubicBezTo>
                <a:close/>
                <a:moveTo>
                  <a:pt x="3050319" y="1518723"/>
                </a:moveTo>
                <a:cubicBezTo>
                  <a:pt x="3046675" y="1518723"/>
                  <a:pt x="3050319" y="1526012"/>
                  <a:pt x="3052142" y="1526012"/>
                </a:cubicBezTo>
                <a:cubicBezTo>
                  <a:pt x="3052142" y="1522368"/>
                  <a:pt x="3050319" y="1522368"/>
                  <a:pt x="3050319" y="1518723"/>
                </a:cubicBezTo>
                <a:close/>
                <a:moveTo>
                  <a:pt x="852778" y="1518723"/>
                </a:moveTo>
                <a:lnTo>
                  <a:pt x="854599" y="1520544"/>
                </a:lnTo>
                <a:lnTo>
                  <a:pt x="853044" y="1519923"/>
                </a:lnTo>
                <a:close/>
                <a:moveTo>
                  <a:pt x="677849" y="1518723"/>
                </a:moveTo>
                <a:cubicBezTo>
                  <a:pt x="672383" y="1526012"/>
                  <a:pt x="670560" y="1527834"/>
                  <a:pt x="661449" y="1529656"/>
                </a:cubicBezTo>
                <a:cubicBezTo>
                  <a:pt x="670560" y="1535123"/>
                  <a:pt x="679671" y="1536945"/>
                  <a:pt x="688782" y="1540589"/>
                </a:cubicBezTo>
                <a:cubicBezTo>
                  <a:pt x="688782" y="1533301"/>
                  <a:pt x="681493" y="1526012"/>
                  <a:pt x="677849" y="1518723"/>
                </a:cubicBezTo>
                <a:close/>
                <a:moveTo>
                  <a:pt x="590385" y="1518723"/>
                </a:moveTo>
                <a:cubicBezTo>
                  <a:pt x="586741" y="1522368"/>
                  <a:pt x="586741" y="1527834"/>
                  <a:pt x="586741" y="1533301"/>
                </a:cubicBezTo>
                <a:cubicBezTo>
                  <a:pt x="592207" y="1529656"/>
                  <a:pt x="592207" y="1524190"/>
                  <a:pt x="594030" y="1520545"/>
                </a:cubicBezTo>
                <a:cubicBezTo>
                  <a:pt x="592207" y="1518723"/>
                  <a:pt x="590385" y="1520545"/>
                  <a:pt x="590385" y="1518723"/>
                </a:cubicBezTo>
                <a:close/>
                <a:moveTo>
                  <a:pt x="499276" y="1518723"/>
                </a:moveTo>
                <a:cubicBezTo>
                  <a:pt x="497454" y="1526012"/>
                  <a:pt x="493809" y="1531478"/>
                  <a:pt x="497454" y="1538767"/>
                </a:cubicBezTo>
                <a:cubicBezTo>
                  <a:pt x="504743" y="1535123"/>
                  <a:pt x="502920" y="1526012"/>
                  <a:pt x="499276" y="1518723"/>
                </a:cubicBezTo>
                <a:close/>
                <a:moveTo>
                  <a:pt x="431856" y="1518723"/>
                </a:moveTo>
                <a:lnTo>
                  <a:pt x="432003" y="1518903"/>
                </a:lnTo>
                <a:lnTo>
                  <a:pt x="432310" y="1519781"/>
                </a:lnTo>
                <a:close/>
                <a:moveTo>
                  <a:pt x="408167" y="1518723"/>
                </a:moveTo>
                <a:lnTo>
                  <a:pt x="409290" y="1519003"/>
                </a:lnTo>
                <a:lnTo>
                  <a:pt x="408092" y="1518889"/>
                </a:lnTo>
                <a:close/>
                <a:moveTo>
                  <a:pt x="416016" y="1518583"/>
                </a:moveTo>
                <a:lnTo>
                  <a:pt x="416487" y="1519994"/>
                </a:lnTo>
                <a:lnTo>
                  <a:pt x="415456" y="1518723"/>
                </a:lnTo>
                <a:close/>
                <a:moveTo>
                  <a:pt x="1058611" y="1518175"/>
                </a:moveTo>
                <a:lnTo>
                  <a:pt x="1060961" y="1520318"/>
                </a:lnTo>
                <a:cubicBezTo>
                  <a:pt x="1062783" y="1523279"/>
                  <a:pt x="1064151" y="1526012"/>
                  <a:pt x="1065972" y="1526012"/>
                </a:cubicBezTo>
                <a:lnTo>
                  <a:pt x="1073427" y="1529877"/>
                </a:lnTo>
                <a:lnTo>
                  <a:pt x="1064151" y="1526012"/>
                </a:lnTo>
                <a:cubicBezTo>
                  <a:pt x="1065972" y="1527834"/>
                  <a:pt x="1069616" y="1529656"/>
                  <a:pt x="1065972" y="1529656"/>
                </a:cubicBezTo>
                <a:cubicBezTo>
                  <a:pt x="1062328" y="1529656"/>
                  <a:pt x="1062328" y="1527834"/>
                  <a:pt x="1060506" y="1526012"/>
                </a:cubicBezTo>
                <a:cubicBezTo>
                  <a:pt x="1062328" y="1527834"/>
                  <a:pt x="1064151" y="1526012"/>
                  <a:pt x="1064151" y="1524190"/>
                </a:cubicBezTo>
                <a:cubicBezTo>
                  <a:pt x="1063239" y="1523279"/>
                  <a:pt x="1061417" y="1521912"/>
                  <a:pt x="1059822" y="1520318"/>
                </a:cubicBezTo>
                <a:close/>
                <a:moveTo>
                  <a:pt x="414154" y="1518058"/>
                </a:moveTo>
                <a:lnTo>
                  <a:pt x="413406" y="1518723"/>
                </a:lnTo>
                <a:cubicBezTo>
                  <a:pt x="413634" y="1519178"/>
                  <a:pt x="414545" y="1519634"/>
                  <a:pt x="415456" y="1520545"/>
                </a:cubicBezTo>
                <a:lnTo>
                  <a:pt x="409290" y="1519003"/>
                </a:lnTo>
                <a:lnTo>
                  <a:pt x="411128" y="1519179"/>
                </a:lnTo>
                <a:close/>
                <a:moveTo>
                  <a:pt x="916553" y="1516960"/>
                </a:moveTo>
                <a:cubicBezTo>
                  <a:pt x="922020" y="1513316"/>
                  <a:pt x="923842" y="1522427"/>
                  <a:pt x="927486" y="1520605"/>
                </a:cubicBezTo>
                <a:cubicBezTo>
                  <a:pt x="929308" y="1522427"/>
                  <a:pt x="931131" y="1524249"/>
                  <a:pt x="932953" y="1526071"/>
                </a:cubicBezTo>
                <a:cubicBezTo>
                  <a:pt x="927486" y="1522427"/>
                  <a:pt x="922020" y="1518782"/>
                  <a:pt x="916553" y="1516960"/>
                </a:cubicBezTo>
                <a:close/>
                <a:moveTo>
                  <a:pt x="3077652" y="1516901"/>
                </a:moveTo>
                <a:cubicBezTo>
                  <a:pt x="3077652" y="1518723"/>
                  <a:pt x="3077652" y="1520545"/>
                  <a:pt x="3077652" y="1524190"/>
                </a:cubicBezTo>
                <a:cubicBezTo>
                  <a:pt x="3081297" y="1522368"/>
                  <a:pt x="3083119" y="1526012"/>
                  <a:pt x="3084941" y="1524190"/>
                </a:cubicBezTo>
                <a:cubicBezTo>
                  <a:pt x="3083119" y="1520545"/>
                  <a:pt x="3083119" y="1516901"/>
                  <a:pt x="3077652" y="1516901"/>
                </a:cubicBezTo>
                <a:close/>
                <a:moveTo>
                  <a:pt x="1220858" y="1516901"/>
                </a:moveTo>
                <a:cubicBezTo>
                  <a:pt x="1219036" y="1518723"/>
                  <a:pt x="1219036" y="1518723"/>
                  <a:pt x="1217213" y="1522368"/>
                </a:cubicBezTo>
                <a:cubicBezTo>
                  <a:pt x="1217213" y="1524190"/>
                  <a:pt x="1220858" y="1527834"/>
                  <a:pt x="1220858" y="1531478"/>
                </a:cubicBezTo>
                <a:cubicBezTo>
                  <a:pt x="1224501" y="1529656"/>
                  <a:pt x="1220858" y="1520545"/>
                  <a:pt x="1220858" y="1516901"/>
                </a:cubicBezTo>
                <a:close/>
                <a:moveTo>
                  <a:pt x="666916" y="1516901"/>
                </a:moveTo>
                <a:cubicBezTo>
                  <a:pt x="665094" y="1520545"/>
                  <a:pt x="659627" y="1522368"/>
                  <a:pt x="659627" y="1526012"/>
                </a:cubicBezTo>
                <a:cubicBezTo>
                  <a:pt x="663272" y="1524190"/>
                  <a:pt x="670560" y="1520545"/>
                  <a:pt x="666916" y="1516901"/>
                </a:cubicBezTo>
                <a:close/>
                <a:moveTo>
                  <a:pt x="663272" y="1516901"/>
                </a:moveTo>
                <a:cubicBezTo>
                  <a:pt x="659627" y="1515079"/>
                  <a:pt x="654161" y="1522368"/>
                  <a:pt x="650516" y="1526012"/>
                </a:cubicBezTo>
                <a:cubicBezTo>
                  <a:pt x="659627" y="1531478"/>
                  <a:pt x="657805" y="1520545"/>
                  <a:pt x="663272" y="1516901"/>
                </a:cubicBezTo>
                <a:close/>
                <a:moveTo>
                  <a:pt x="559408" y="1516901"/>
                </a:moveTo>
                <a:cubicBezTo>
                  <a:pt x="555763" y="1515079"/>
                  <a:pt x="550297" y="1520545"/>
                  <a:pt x="546653" y="1520545"/>
                </a:cubicBezTo>
                <a:cubicBezTo>
                  <a:pt x="548475" y="1522368"/>
                  <a:pt x="548475" y="1526012"/>
                  <a:pt x="550297" y="1527834"/>
                </a:cubicBezTo>
                <a:cubicBezTo>
                  <a:pt x="555763" y="1524190"/>
                  <a:pt x="557586" y="1520545"/>
                  <a:pt x="559408" y="1516901"/>
                </a:cubicBezTo>
                <a:close/>
                <a:moveTo>
                  <a:pt x="415456" y="1516901"/>
                </a:moveTo>
                <a:lnTo>
                  <a:pt x="415656" y="1517501"/>
                </a:lnTo>
                <a:lnTo>
                  <a:pt x="414154" y="1518058"/>
                </a:lnTo>
                <a:close/>
                <a:moveTo>
                  <a:pt x="798214" y="1516842"/>
                </a:moveTo>
                <a:lnTo>
                  <a:pt x="824600" y="1530134"/>
                </a:lnTo>
                <a:lnTo>
                  <a:pt x="823623" y="1531478"/>
                </a:lnTo>
                <a:close/>
                <a:moveTo>
                  <a:pt x="1070944" y="1516792"/>
                </a:moveTo>
                <a:lnTo>
                  <a:pt x="1073457" y="1517097"/>
                </a:lnTo>
                <a:lnTo>
                  <a:pt x="1075083" y="1518723"/>
                </a:lnTo>
                <a:close/>
                <a:moveTo>
                  <a:pt x="492215" y="1515762"/>
                </a:moveTo>
                <a:cubicBezTo>
                  <a:pt x="491076" y="1516445"/>
                  <a:pt x="490165" y="1517812"/>
                  <a:pt x="490165" y="1518723"/>
                </a:cubicBezTo>
                <a:cubicBezTo>
                  <a:pt x="490165" y="1518723"/>
                  <a:pt x="491987" y="1516901"/>
                  <a:pt x="495632" y="1516901"/>
                </a:cubicBezTo>
                <a:cubicBezTo>
                  <a:pt x="494721" y="1515079"/>
                  <a:pt x="493355" y="1515079"/>
                  <a:pt x="492215" y="1515762"/>
                </a:cubicBezTo>
                <a:close/>
                <a:moveTo>
                  <a:pt x="3107719" y="1515534"/>
                </a:moveTo>
                <a:cubicBezTo>
                  <a:pt x="3105441" y="1515534"/>
                  <a:pt x="3103163" y="1516901"/>
                  <a:pt x="3103163" y="1520545"/>
                </a:cubicBezTo>
                <a:cubicBezTo>
                  <a:pt x="3106807" y="1522368"/>
                  <a:pt x="3106807" y="1516901"/>
                  <a:pt x="3112274" y="1518723"/>
                </a:cubicBezTo>
                <a:cubicBezTo>
                  <a:pt x="3112274" y="1516901"/>
                  <a:pt x="3109996" y="1515534"/>
                  <a:pt x="3107719" y="1515534"/>
                </a:cubicBezTo>
                <a:close/>
                <a:moveTo>
                  <a:pt x="3425687" y="1515079"/>
                </a:moveTo>
                <a:lnTo>
                  <a:pt x="3424386" y="1525491"/>
                </a:lnTo>
                <a:lnTo>
                  <a:pt x="3423865" y="1526012"/>
                </a:lnTo>
                <a:cubicBezTo>
                  <a:pt x="3425687" y="1526012"/>
                  <a:pt x="3425687" y="1529656"/>
                  <a:pt x="3423865" y="1529656"/>
                </a:cubicBezTo>
                <a:lnTo>
                  <a:pt x="3424386" y="1525491"/>
                </a:lnTo>
                <a:lnTo>
                  <a:pt x="3427510" y="1522368"/>
                </a:lnTo>
                <a:cubicBezTo>
                  <a:pt x="3427510" y="1518723"/>
                  <a:pt x="3427510" y="1516901"/>
                  <a:pt x="3425687" y="1515079"/>
                </a:cubicBezTo>
                <a:close/>
                <a:moveTo>
                  <a:pt x="3236181" y="1515079"/>
                </a:moveTo>
                <a:cubicBezTo>
                  <a:pt x="3230715" y="1518723"/>
                  <a:pt x="3239826" y="1522368"/>
                  <a:pt x="3238003" y="1526012"/>
                </a:cubicBezTo>
                <a:cubicBezTo>
                  <a:pt x="3236181" y="1526012"/>
                  <a:pt x="3232537" y="1524190"/>
                  <a:pt x="3232537" y="1522368"/>
                </a:cubicBezTo>
                <a:cubicBezTo>
                  <a:pt x="3228893" y="1524190"/>
                  <a:pt x="3232537" y="1527834"/>
                  <a:pt x="3230715" y="1529656"/>
                </a:cubicBezTo>
                <a:cubicBezTo>
                  <a:pt x="3228893" y="1527834"/>
                  <a:pt x="3225248" y="1527834"/>
                  <a:pt x="3227071" y="1524190"/>
                </a:cubicBezTo>
                <a:cubicBezTo>
                  <a:pt x="3223426" y="1527834"/>
                  <a:pt x="3228893" y="1531478"/>
                  <a:pt x="3228893" y="1533301"/>
                </a:cubicBezTo>
                <a:cubicBezTo>
                  <a:pt x="3223426" y="1538767"/>
                  <a:pt x="3221604" y="1526012"/>
                  <a:pt x="3219782" y="1526012"/>
                </a:cubicBezTo>
                <a:cubicBezTo>
                  <a:pt x="3214315" y="1524190"/>
                  <a:pt x="3214315" y="1529656"/>
                  <a:pt x="3216137" y="1535123"/>
                </a:cubicBezTo>
                <a:cubicBezTo>
                  <a:pt x="3217960" y="1536945"/>
                  <a:pt x="3219782" y="1536945"/>
                  <a:pt x="3227071" y="1542412"/>
                </a:cubicBezTo>
                <a:cubicBezTo>
                  <a:pt x="3219782" y="1558811"/>
                  <a:pt x="3217960" y="1549700"/>
                  <a:pt x="3223426" y="1558811"/>
                </a:cubicBezTo>
                <a:cubicBezTo>
                  <a:pt x="3223426" y="1558811"/>
                  <a:pt x="3225248" y="1556989"/>
                  <a:pt x="3225248" y="1556989"/>
                </a:cubicBezTo>
                <a:cubicBezTo>
                  <a:pt x="3232537" y="1560633"/>
                  <a:pt x="3239826" y="1560633"/>
                  <a:pt x="3248937" y="1558811"/>
                </a:cubicBezTo>
                <a:cubicBezTo>
                  <a:pt x="3252581" y="1556989"/>
                  <a:pt x="3250759" y="1551522"/>
                  <a:pt x="3250759" y="1551522"/>
                </a:cubicBezTo>
                <a:cubicBezTo>
                  <a:pt x="3241648" y="1547878"/>
                  <a:pt x="3243470" y="1538767"/>
                  <a:pt x="3243470" y="1531478"/>
                </a:cubicBezTo>
                <a:cubicBezTo>
                  <a:pt x="3245292" y="1531478"/>
                  <a:pt x="3247114" y="1533301"/>
                  <a:pt x="3248937" y="1533301"/>
                </a:cubicBezTo>
                <a:cubicBezTo>
                  <a:pt x="3250759" y="1533301"/>
                  <a:pt x="3250759" y="1531478"/>
                  <a:pt x="3250759" y="1529656"/>
                </a:cubicBezTo>
                <a:cubicBezTo>
                  <a:pt x="3252581" y="1531478"/>
                  <a:pt x="3252581" y="1533301"/>
                  <a:pt x="3254403" y="1531478"/>
                </a:cubicBezTo>
                <a:cubicBezTo>
                  <a:pt x="3248937" y="1526012"/>
                  <a:pt x="3243470" y="1518723"/>
                  <a:pt x="3236181" y="1515079"/>
                </a:cubicBezTo>
                <a:close/>
                <a:moveTo>
                  <a:pt x="841845" y="1515079"/>
                </a:moveTo>
                <a:cubicBezTo>
                  <a:pt x="838200" y="1518723"/>
                  <a:pt x="838200" y="1520545"/>
                  <a:pt x="836378" y="1522368"/>
                </a:cubicBezTo>
                <a:cubicBezTo>
                  <a:pt x="838200" y="1522368"/>
                  <a:pt x="845489" y="1516901"/>
                  <a:pt x="841845" y="1515079"/>
                </a:cubicBezTo>
                <a:close/>
                <a:moveTo>
                  <a:pt x="677849" y="1515079"/>
                </a:moveTo>
                <a:cubicBezTo>
                  <a:pt x="672383" y="1515079"/>
                  <a:pt x="666916" y="1522368"/>
                  <a:pt x="665094" y="1524190"/>
                </a:cubicBezTo>
                <a:cubicBezTo>
                  <a:pt x="668738" y="1524190"/>
                  <a:pt x="674205" y="1518723"/>
                  <a:pt x="677849" y="1515079"/>
                </a:cubicBezTo>
                <a:close/>
                <a:moveTo>
                  <a:pt x="1204457" y="1513257"/>
                </a:moveTo>
                <a:cubicBezTo>
                  <a:pt x="1202636" y="1515079"/>
                  <a:pt x="1200814" y="1515079"/>
                  <a:pt x="1198991" y="1516901"/>
                </a:cubicBezTo>
                <a:cubicBezTo>
                  <a:pt x="1200814" y="1522368"/>
                  <a:pt x="1204457" y="1527834"/>
                  <a:pt x="1211747" y="1524190"/>
                </a:cubicBezTo>
                <a:cubicBezTo>
                  <a:pt x="1209925" y="1520545"/>
                  <a:pt x="1206279" y="1516901"/>
                  <a:pt x="1204457" y="1513257"/>
                </a:cubicBezTo>
                <a:close/>
                <a:moveTo>
                  <a:pt x="625006" y="1513257"/>
                </a:moveTo>
                <a:cubicBezTo>
                  <a:pt x="619539" y="1516901"/>
                  <a:pt x="625006" y="1522368"/>
                  <a:pt x="626828" y="1529656"/>
                </a:cubicBezTo>
                <a:cubicBezTo>
                  <a:pt x="630472" y="1527834"/>
                  <a:pt x="632296" y="1524190"/>
                  <a:pt x="634117" y="1520545"/>
                </a:cubicBezTo>
                <a:cubicBezTo>
                  <a:pt x="632296" y="1516901"/>
                  <a:pt x="628650" y="1515079"/>
                  <a:pt x="625006" y="1513257"/>
                </a:cubicBezTo>
                <a:close/>
                <a:moveTo>
                  <a:pt x="621362" y="1513257"/>
                </a:moveTo>
                <a:cubicBezTo>
                  <a:pt x="617717" y="1516901"/>
                  <a:pt x="619539" y="1526012"/>
                  <a:pt x="617717" y="1531478"/>
                </a:cubicBezTo>
                <a:cubicBezTo>
                  <a:pt x="619539" y="1533301"/>
                  <a:pt x="621362" y="1529656"/>
                  <a:pt x="623185" y="1529656"/>
                </a:cubicBezTo>
                <a:cubicBezTo>
                  <a:pt x="625006" y="1524190"/>
                  <a:pt x="619539" y="1518723"/>
                  <a:pt x="621362" y="1513257"/>
                </a:cubicBezTo>
                <a:close/>
                <a:moveTo>
                  <a:pt x="563052" y="1513257"/>
                </a:moveTo>
                <a:cubicBezTo>
                  <a:pt x="561230" y="1516901"/>
                  <a:pt x="559408" y="1518723"/>
                  <a:pt x="557586" y="1522368"/>
                </a:cubicBezTo>
                <a:cubicBezTo>
                  <a:pt x="559408" y="1524190"/>
                  <a:pt x="561230" y="1524190"/>
                  <a:pt x="564874" y="1522368"/>
                </a:cubicBezTo>
                <a:cubicBezTo>
                  <a:pt x="563052" y="1518723"/>
                  <a:pt x="564874" y="1516901"/>
                  <a:pt x="563052" y="1513257"/>
                </a:cubicBezTo>
                <a:close/>
                <a:moveTo>
                  <a:pt x="430034" y="1513257"/>
                </a:moveTo>
                <a:cubicBezTo>
                  <a:pt x="428211" y="1515079"/>
                  <a:pt x="426389" y="1515079"/>
                  <a:pt x="424567" y="1516901"/>
                </a:cubicBezTo>
                <a:cubicBezTo>
                  <a:pt x="424567" y="1522368"/>
                  <a:pt x="431856" y="1527834"/>
                  <a:pt x="435500" y="1531478"/>
                </a:cubicBezTo>
                <a:cubicBezTo>
                  <a:pt x="434589" y="1529656"/>
                  <a:pt x="434134" y="1526467"/>
                  <a:pt x="433451" y="1523051"/>
                </a:cubicBezTo>
                <a:lnTo>
                  <a:pt x="432310" y="1519781"/>
                </a:lnTo>
                <a:lnTo>
                  <a:pt x="437322" y="1531478"/>
                </a:lnTo>
                <a:cubicBezTo>
                  <a:pt x="437322" y="1529656"/>
                  <a:pt x="436867" y="1526467"/>
                  <a:pt x="435956" y="1523734"/>
                </a:cubicBezTo>
                <a:lnTo>
                  <a:pt x="432003" y="1518903"/>
                </a:lnTo>
                <a:close/>
                <a:moveTo>
                  <a:pt x="1206279" y="1511434"/>
                </a:moveTo>
                <a:cubicBezTo>
                  <a:pt x="1208102" y="1515079"/>
                  <a:pt x="1213568" y="1518723"/>
                  <a:pt x="1213568" y="1522368"/>
                </a:cubicBezTo>
                <a:cubicBezTo>
                  <a:pt x="1215390" y="1518723"/>
                  <a:pt x="1211747" y="1507790"/>
                  <a:pt x="1206279" y="1511434"/>
                </a:cubicBezTo>
                <a:close/>
                <a:moveTo>
                  <a:pt x="612251" y="1511434"/>
                </a:moveTo>
                <a:cubicBezTo>
                  <a:pt x="604963" y="1513257"/>
                  <a:pt x="597673" y="1526012"/>
                  <a:pt x="601318" y="1535123"/>
                </a:cubicBezTo>
                <a:cubicBezTo>
                  <a:pt x="606784" y="1526012"/>
                  <a:pt x="608606" y="1518723"/>
                  <a:pt x="612251" y="1511434"/>
                </a:cubicBezTo>
                <a:close/>
                <a:moveTo>
                  <a:pt x="592207" y="1511434"/>
                </a:moveTo>
                <a:cubicBezTo>
                  <a:pt x="588562" y="1513257"/>
                  <a:pt x="595852" y="1515079"/>
                  <a:pt x="592207" y="1516901"/>
                </a:cubicBezTo>
                <a:cubicBezTo>
                  <a:pt x="594030" y="1516901"/>
                  <a:pt x="594030" y="1516901"/>
                  <a:pt x="594030" y="1515079"/>
                </a:cubicBezTo>
                <a:cubicBezTo>
                  <a:pt x="592207" y="1515079"/>
                  <a:pt x="594030" y="1513257"/>
                  <a:pt x="592207" y="1511434"/>
                </a:cubicBezTo>
                <a:close/>
                <a:moveTo>
                  <a:pt x="477410" y="1511434"/>
                </a:moveTo>
                <a:cubicBezTo>
                  <a:pt x="475589" y="1513257"/>
                  <a:pt x="475589" y="1515079"/>
                  <a:pt x="473766" y="1516901"/>
                </a:cubicBezTo>
                <a:cubicBezTo>
                  <a:pt x="475589" y="1520545"/>
                  <a:pt x="477410" y="1518723"/>
                  <a:pt x="479232" y="1520545"/>
                </a:cubicBezTo>
                <a:cubicBezTo>
                  <a:pt x="481054" y="1518723"/>
                  <a:pt x="484700" y="1516901"/>
                  <a:pt x="482876" y="1513257"/>
                </a:cubicBezTo>
                <a:cubicBezTo>
                  <a:pt x="479232" y="1518723"/>
                  <a:pt x="481054" y="1509612"/>
                  <a:pt x="477410" y="1511434"/>
                </a:cubicBezTo>
                <a:close/>
                <a:moveTo>
                  <a:pt x="464655" y="1511434"/>
                </a:moveTo>
                <a:cubicBezTo>
                  <a:pt x="462832" y="1513257"/>
                  <a:pt x="462832" y="1513257"/>
                  <a:pt x="464655" y="1515079"/>
                </a:cubicBezTo>
                <a:cubicBezTo>
                  <a:pt x="462832" y="1515079"/>
                  <a:pt x="459188" y="1513257"/>
                  <a:pt x="459188" y="1516901"/>
                </a:cubicBezTo>
                <a:cubicBezTo>
                  <a:pt x="459188" y="1518723"/>
                  <a:pt x="461010" y="1518723"/>
                  <a:pt x="461010" y="1522368"/>
                </a:cubicBezTo>
                <a:cubicBezTo>
                  <a:pt x="448256" y="1516901"/>
                  <a:pt x="442789" y="1527834"/>
                  <a:pt x="440966" y="1535123"/>
                </a:cubicBezTo>
                <a:cubicBezTo>
                  <a:pt x="446433" y="1529656"/>
                  <a:pt x="453722" y="1542412"/>
                  <a:pt x="455544" y="1535123"/>
                </a:cubicBezTo>
                <a:cubicBezTo>
                  <a:pt x="457367" y="1535123"/>
                  <a:pt x="448256" y="1531478"/>
                  <a:pt x="453722" y="1527834"/>
                </a:cubicBezTo>
                <a:cubicBezTo>
                  <a:pt x="453722" y="1527834"/>
                  <a:pt x="455544" y="1527834"/>
                  <a:pt x="455544" y="1531478"/>
                </a:cubicBezTo>
                <a:cubicBezTo>
                  <a:pt x="459188" y="1526012"/>
                  <a:pt x="471943" y="1527834"/>
                  <a:pt x="470121" y="1516901"/>
                </a:cubicBezTo>
                <a:cubicBezTo>
                  <a:pt x="470121" y="1518723"/>
                  <a:pt x="468299" y="1520545"/>
                  <a:pt x="466478" y="1518723"/>
                </a:cubicBezTo>
                <a:cubicBezTo>
                  <a:pt x="471943" y="1516901"/>
                  <a:pt x="466478" y="1515079"/>
                  <a:pt x="464655" y="1511434"/>
                </a:cubicBezTo>
                <a:close/>
                <a:moveTo>
                  <a:pt x="3145528" y="1510295"/>
                </a:moveTo>
                <a:cubicBezTo>
                  <a:pt x="3141884" y="1511434"/>
                  <a:pt x="3138695" y="1514167"/>
                  <a:pt x="3137784" y="1516901"/>
                </a:cubicBezTo>
                <a:cubicBezTo>
                  <a:pt x="3145073" y="1516901"/>
                  <a:pt x="3150539" y="1513257"/>
                  <a:pt x="3156006" y="1513257"/>
                </a:cubicBezTo>
                <a:cubicBezTo>
                  <a:pt x="3153273" y="1509612"/>
                  <a:pt x="3149173" y="1509157"/>
                  <a:pt x="3145528" y="1510295"/>
                </a:cubicBezTo>
                <a:close/>
                <a:moveTo>
                  <a:pt x="289725" y="1509641"/>
                </a:moveTo>
                <a:cubicBezTo>
                  <a:pt x="293370" y="1513286"/>
                  <a:pt x="297014" y="1515108"/>
                  <a:pt x="300658" y="1515108"/>
                </a:cubicBezTo>
                <a:cubicBezTo>
                  <a:pt x="297014" y="1515108"/>
                  <a:pt x="291549" y="1515108"/>
                  <a:pt x="287903" y="1516930"/>
                </a:cubicBezTo>
                <a:cubicBezTo>
                  <a:pt x="291549" y="1513286"/>
                  <a:pt x="289725" y="1513286"/>
                  <a:pt x="289725" y="1509641"/>
                </a:cubicBezTo>
                <a:close/>
                <a:moveTo>
                  <a:pt x="1215390" y="1509612"/>
                </a:moveTo>
                <a:cubicBezTo>
                  <a:pt x="1219036" y="1513257"/>
                  <a:pt x="1213568" y="1515079"/>
                  <a:pt x="1219036" y="1516901"/>
                </a:cubicBezTo>
                <a:cubicBezTo>
                  <a:pt x="1220858" y="1515079"/>
                  <a:pt x="1219036" y="1507790"/>
                  <a:pt x="1215390" y="1509612"/>
                </a:cubicBezTo>
                <a:close/>
                <a:moveTo>
                  <a:pt x="741626" y="1509612"/>
                </a:moveTo>
                <a:cubicBezTo>
                  <a:pt x="736159" y="1513257"/>
                  <a:pt x="734336" y="1522368"/>
                  <a:pt x="728870" y="1527834"/>
                </a:cubicBezTo>
                <a:cubicBezTo>
                  <a:pt x="736159" y="1524190"/>
                  <a:pt x="736159" y="1515079"/>
                  <a:pt x="741626" y="1509612"/>
                </a:cubicBezTo>
                <a:close/>
                <a:moveTo>
                  <a:pt x="654161" y="1509612"/>
                </a:moveTo>
                <a:cubicBezTo>
                  <a:pt x="652339" y="1511434"/>
                  <a:pt x="650516" y="1511434"/>
                  <a:pt x="650516" y="1513257"/>
                </a:cubicBezTo>
                <a:cubicBezTo>
                  <a:pt x="652339" y="1515079"/>
                  <a:pt x="654161" y="1511434"/>
                  <a:pt x="655983" y="1513257"/>
                </a:cubicBezTo>
                <a:cubicBezTo>
                  <a:pt x="655983" y="1511434"/>
                  <a:pt x="654161" y="1511434"/>
                  <a:pt x="654161" y="1509612"/>
                </a:cubicBezTo>
                <a:close/>
                <a:moveTo>
                  <a:pt x="572163" y="1509612"/>
                </a:moveTo>
                <a:cubicBezTo>
                  <a:pt x="570341" y="1511434"/>
                  <a:pt x="568519" y="1511434"/>
                  <a:pt x="568519" y="1513257"/>
                </a:cubicBezTo>
                <a:cubicBezTo>
                  <a:pt x="572163" y="1518723"/>
                  <a:pt x="575808" y="1520545"/>
                  <a:pt x="579452" y="1515079"/>
                </a:cubicBezTo>
                <a:cubicBezTo>
                  <a:pt x="579452" y="1513257"/>
                  <a:pt x="579452" y="1509612"/>
                  <a:pt x="575808" y="1511434"/>
                </a:cubicBezTo>
                <a:cubicBezTo>
                  <a:pt x="575808" y="1511434"/>
                  <a:pt x="577630" y="1509612"/>
                  <a:pt x="577630" y="1509612"/>
                </a:cubicBezTo>
                <a:cubicBezTo>
                  <a:pt x="575808" y="1507790"/>
                  <a:pt x="573985" y="1513257"/>
                  <a:pt x="570341" y="1513257"/>
                </a:cubicBezTo>
                <a:cubicBezTo>
                  <a:pt x="570341" y="1509612"/>
                  <a:pt x="573985" y="1511434"/>
                  <a:pt x="572163" y="1509612"/>
                </a:cubicBezTo>
                <a:close/>
                <a:moveTo>
                  <a:pt x="501098" y="1509612"/>
                </a:moveTo>
                <a:cubicBezTo>
                  <a:pt x="499276" y="1516901"/>
                  <a:pt x="502920" y="1522368"/>
                  <a:pt x="504743" y="1527834"/>
                </a:cubicBezTo>
                <a:cubicBezTo>
                  <a:pt x="510209" y="1522368"/>
                  <a:pt x="510209" y="1516901"/>
                  <a:pt x="504743" y="1509612"/>
                </a:cubicBezTo>
                <a:cubicBezTo>
                  <a:pt x="504743" y="1509612"/>
                  <a:pt x="502920" y="1507790"/>
                  <a:pt x="501098" y="1509612"/>
                </a:cubicBezTo>
                <a:close/>
                <a:moveTo>
                  <a:pt x="491987" y="1509612"/>
                </a:moveTo>
                <a:cubicBezTo>
                  <a:pt x="490165" y="1510068"/>
                  <a:pt x="488343" y="1511434"/>
                  <a:pt x="488343" y="1513257"/>
                </a:cubicBezTo>
                <a:cubicBezTo>
                  <a:pt x="490165" y="1516901"/>
                  <a:pt x="493809" y="1511434"/>
                  <a:pt x="495632" y="1511434"/>
                </a:cubicBezTo>
                <a:cubicBezTo>
                  <a:pt x="495632" y="1509612"/>
                  <a:pt x="493811" y="1509156"/>
                  <a:pt x="491987" y="1509612"/>
                </a:cubicBezTo>
                <a:close/>
                <a:moveTo>
                  <a:pt x="822090" y="1509208"/>
                </a:moveTo>
                <a:lnTo>
                  <a:pt x="821801" y="1509612"/>
                </a:lnTo>
                <a:lnTo>
                  <a:pt x="821658" y="1509546"/>
                </a:lnTo>
                <a:close/>
                <a:moveTo>
                  <a:pt x="3436621" y="1507790"/>
                </a:moveTo>
                <a:cubicBezTo>
                  <a:pt x="3436621" y="1509612"/>
                  <a:pt x="3436621" y="1511434"/>
                  <a:pt x="3436621" y="1511434"/>
                </a:cubicBezTo>
                <a:cubicBezTo>
                  <a:pt x="3435710" y="1511434"/>
                  <a:pt x="3433888" y="1512801"/>
                  <a:pt x="3432293" y="1513484"/>
                </a:cubicBezTo>
                <a:lnTo>
                  <a:pt x="3431313" y="1512806"/>
                </a:lnTo>
                <a:lnTo>
                  <a:pt x="3430935" y="1510632"/>
                </a:lnTo>
                <a:close/>
                <a:moveTo>
                  <a:pt x="676027" y="1507790"/>
                </a:moveTo>
                <a:cubicBezTo>
                  <a:pt x="674205" y="1507790"/>
                  <a:pt x="679671" y="1513257"/>
                  <a:pt x="679671" y="1511434"/>
                </a:cubicBezTo>
                <a:cubicBezTo>
                  <a:pt x="679671" y="1509612"/>
                  <a:pt x="677849" y="1509612"/>
                  <a:pt x="676027" y="1507790"/>
                </a:cubicBezTo>
                <a:close/>
                <a:moveTo>
                  <a:pt x="3361911" y="1505970"/>
                </a:moveTo>
                <a:cubicBezTo>
                  <a:pt x="3363733" y="1515080"/>
                  <a:pt x="3358266" y="1505970"/>
                  <a:pt x="3360088" y="1516903"/>
                </a:cubicBezTo>
                <a:cubicBezTo>
                  <a:pt x="3350977" y="1520547"/>
                  <a:pt x="3349155" y="1527836"/>
                  <a:pt x="3354622" y="1538769"/>
                </a:cubicBezTo>
                <a:cubicBezTo>
                  <a:pt x="3363733" y="1540591"/>
                  <a:pt x="3365555" y="1535124"/>
                  <a:pt x="3372844" y="1536946"/>
                </a:cubicBezTo>
                <a:cubicBezTo>
                  <a:pt x="3372844" y="1531480"/>
                  <a:pt x="3369199" y="1535124"/>
                  <a:pt x="3369199" y="1529658"/>
                </a:cubicBezTo>
                <a:cubicBezTo>
                  <a:pt x="3371021" y="1529658"/>
                  <a:pt x="3371021" y="1536946"/>
                  <a:pt x="3374666" y="1535124"/>
                </a:cubicBezTo>
                <a:cubicBezTo>
                  <a:pt x="3374666" y="1524191"/>
                  <a:pt x="3367377" y="1524191"/>
                  <a:pt x="3371021" y="1513258"/>
                </a:cubicBezTo>
                <a:cubicBezTo>
                  <a:pt x="3369199" y="1515080"/>
                  <a:pt x="3369199" y="1511436"/>
                  <a:pt x="3367377" y="1515080"/>
                </a:cubicBezTo>
                <a:cubicBezTo>
                  <a:pt x="3367377" y="1509614"/>
                  <a:pt x="3367377" y="1502325"/>
                  <a:pt x="3361911" y="1505970"/>
                </a:cubicBezTo>
                <a:close/>
                <a:moveTo>
                  <a:pt x="1020418" y="1505968"/>
                </a:moveTo>
                <a:lnTo>
                  <a:pt x="1034336" y="1512927"/>
                </a:lnTo>
                <a:lnTo>
                  <a:pt x="1032974" y="1513399"/>
                </a:lnTo>
                <a:cubicBezTo>
                  <a:pt x="1028276" y="1512460"/>
                  <a:pt x="1025884" y="1504602"/>
                  <a:pt x="1020418" y="1505968"/>
                </a:cubicBezTo>
                <a:close/>
                <a:moveTo>
                  <a:pt x="810868" y="1505968"/>
                </a:moveTo>
                <a:cubicBezTo>
                  <a:pt x="812690" y="1505057"/>
                  <a:pt x="814512" y="1505968"/>
                  <a:pt x="816334" y="1507107"/>
                </a:cubicBezTo>
                <a:lnTo>
                  <a:pt x="821658" y="1509546"/>
                </a:lnTo>
                <a:lnTo>
                  <a:pt x="821573" y="1509612"/>
                </a:lnTo>
                <a:cubicBezTo>
                  <a:pt x="818612" y="1510523"/>
                  <a:pt x="815424" y="1509612"/>
                  <a:pt x="810868" y="1505968"/>
                </a:cubicBezTo>
                <a:close/>
                <a:moveTo>
                  <a:pt x="732515" y="1505968"/>
                </a:moveTo>
                <a:cubicBezTo>
                  <a:pt x="730692" y="1505968"/>
                  <a:pt x="728870" y="1513257"/>
                  <a:pt x="727048" y="1515079"/>
                </a:cubicBezTo>
                <a:cubicBezTo>
                  <a:pt x="730692" y="1515079"/>
                  <a:pt x="730692" y="1507790"/>
                  <a:pt x="732515" y="1505968"/>
                </a:cubicBezTo>
                <a:close/>
                <a:moveTo>
                  <a:pt x="3320619" y="1505147"/>
                </a:moveTo>
                <a:lnTo>
                  <a:pt x="3321824" y="1505968"/>
                </a:lnTo>
                <a:lnTo>
                  <a:pt x="3320034" y="1510108"/>
                </a:lnTo>
                <a:lnTo>
                  <a:pt x="3318179" y="1507790"/>
                </a:lnTo>
                <a:close/>
                <a:moveTo>
                  <a:pt x="348797" y="1504710"/>
                </a:moveTo>
                <a:lnTo>
                  <a:pt x="357146" y="1505968"/>
                </a:lnTo>
                <a:cubicBezTo>
                  <a:pt x="350768" y="1506879"/>
                  <a:pt x="344391" y="1508701"/>
                  <a:pt x="338470" y="1509612"/>
                </a:cubicBezTo>
                <a:lnTo>
                  <a:pt x="331475" y="1508813"/>
                </a:lnTo>
                <a:lnTo>
                  <a:pt x="335964" y="1506879"/>
                </a:lnTo>
                <a:close/>
                <a:moveTo>
                  <a:pt x="424567" y="1504146"/>
                </a:moveTo>
                <a:cubicBezTo>
                  <a:pt x="420923" y="1505968"/>
                  <a:pt x="411812" y="1513257"/>
                  <a:pt x="406345" y="1518723"/>
                </a:cubicBezTo>
                <a:lnTo>
                  <a:pt x="408092" y="1518889"/>
                </a:lnTo>
                <a:lnTo>
                  <a:pt x="406117" y="1523279"/>
                </a:lnTo>
                <a:cubicBezTo>
                  <a:pt x="405434" y="1524645"/>
                  <a:pt x="405434" y="1526012"/>
                  <a:pt x="408167" y="1527834"/>
                </a:cubicBezTo>
                <a:cubicBezTo>
                  <a:pt x="404523" y="1527834"/>
                  <a:pt x="402701" y="1527834"/>
                  <a:pt x="399056" y="1527834"/>
                </a:cubicBezTo>
                <a:cubicBezTo>
                  <a:pt x="400879" y="1527834"/>
                  <a:pt x="402701" y="1527834"/>
                  <a:pt x="404523" y="1526012"/>
                </a:cubicBezTo>
                <a:cubicBezTo>
                  <a:pt x="400878" y="1525101"/>
                  <a:pt x="398601" y="1526012"/>
                  <a:pt x="396778" y="1527378"/>
                </a:cubicBezTo>
                <a:lnTo>
                  <a:pt x="391771" y="1531475"/>
                </a:lnTo>
                <a:lnTo>
                  <a:pt x="393590" y="1529656"/>
                </a:lnTo>
                <a:cubicBezTo>
                  <a:pt x="391768" y="1527834"/>
                  <a:pt x="388123" y="1529656"/>
                  <a:pt x="386301" y="1529656"/>
                </a:cubicBezTo>
                <a:lnTo>
                  <a:pt x="389946" y="1533301"/>
                </a:lnTo>
                <a:lnTo>
                  <a:pt x="391768" y="1531478"/>
                </a:lnTo>
                <a:lnTo>
                  <a:pt x="406345" y="1540589"/>
                </a:lnTo>
                <a:cubicBezTo>
                  <a:pt x="404523" y="1538767"/>
                  <a:pt x="404523" y="1538767"/>
                  <a:pt x="408167" y="1536945"/>
                </a:cubicBezTo>
                <a:cubicBezTo>
                  <a:pt x="409989" y="1542412"/>
                  <a:pt x="415456" y="1538767"/>
                  <a:pt x="419100" y="1540589"/>
                </a:cubicBezTo>
                <a:cubicBezTo>
                  <a:pt x="415456" y="1540589"/>
                  <a:pt x="413634" y="1542412"/>
                  <a:pt x="409989" y="1542412"/>
                </a:cubicBezTo>
                <a:cubicBezTo>
                  <a:pt x="413634" y="1547878"/>
                  <a:pt x="420923" y="1544234"/>
                  <a:pt x="422745" y="1547878"/>
                </a:cubicBezTo>
                <a:cubicBezTo>
                  <a:pt x="420923" y="1547878"/>
                  <a:pt x="420923" y="1544234"/>
                  <a:pt x="420923" y="1544234"/>
                </a:cubicBezTo>
                <a:cubicBezTo>
                  <a:pt x="422745" y="1543323"/>
                  <a:pt x="425022" y="1545145"/>
                  <a:pt x="427072" y="1546284"/>
                </a:cubicBezTo>
                <a:lnTo>
                  <a:pt x="431324" y="1544462"/>
                </a:lnTo>
                <a:lnTo>
                  <a:pt x="431855" y="1546056"/>
                </a:lnTo>
                <a:cubicBezTo>
                  <a:pt x="433678" y="1547878"/>
                  <a:pt x="436411" y="1548789"/>
                  <a:pt x="439145" y="1546056"/>
                </a:cubicBezTo>
                <a:cubicBezTo>
                  <a:pt x="435500" y="1542412"/>
                  <a:pt x="431856" y="1544234"/>
                  <a:pt x="430034" y="1540589"/>
                </a:cubicBezTo>
                <a:lnTo>
                  <a:pt x="430809" y="1542917"/>
                </a:lnTo>
                <a:lnTo>
                  <a:pt x="427747" y="1539065"/>
                </a:lnTo>
                <a:lnTo>
                  <a:pt x="424795" y="1535351"/>
                </a:lnTo>
                <a:lnTo>
                  <a:pt x="422563" y="1532754"/>
                </a:lnTo>
                <a:lnTo>
                  <a:pt x="420923" y="1527834"/>
                </a:lnTo>
                <a:cubicBezTo>
                  <a:pt x="420011" y="1528745"/>
                  <a:pt x="420467" y="1529656"/>
                  <a:pt x="421151" y="1530567"/>
                </a:cubicBezTo>
                <a:lnTo>
                  <a:pt x="422138" y="1532260"/>
                </a:lnTo>
                <a:lnTo>
                  <a:pt x="413634" y="1522368"/>
                </a:lnTo>
                <a:cubicBezTo>
                  <a:pt x="413634" y="1526012"/>
                  <a:pt x="417278" y="1526012"/>
                  <a:pt x="420923" y="1526012"/>
                </a:cubicBezTo>
                <a:cubicBezTo>
                  <a:pt x="419100" y="1524190"/>
                  <a:pt x="419100" y="1524190"/>
                  <a:pt x="417278" y="1522368"/>
                </a:cubicBezTo>
                <a:lnTo>
                  <a:pt x="416487" y="1519994"/>
                </a:lnTo>
                <a:lnTo>
                  <a:pt x="422289" y="1527151"/>
                </a:lnTo>
                <a:cubicBezTo>
                  <a:pt x="425478" y="1528745"/>
                  <a:pt x="429122" y="1529656"/>
                  <a:pt x="431856" y="1531478"/>
                </a:cubicBezTo>
                <a:cubicBezTo>
                  <a:pt x="431856" y="1526012"/>
                  <a:pt x="422745" y="1522368"/>
                  <a:pt x="422745" y="1516901"/>
                </a:cubicBezTo>
                <a:lnTo>
                  <a:pt x="416016" y="1518583"/>
                </a:lnTo>
                <a:lnTo>
                  <a:pt x="415656" y="1517501"/>
                </a:lnTo>
                <a:lnTo>
                  <a:pt x="417278" y="1516901"/>
                </a:lnTo>
                <a:cubicBezTo>
                  <a:pt x="420923" y="1515079"/>
                  <a:pt x="415456" y="1516901"/>
                  <a:pt x="415456" y="1513257"/>
                </a:cubicBezTo>
                <a:cubicBezTo>
                  <a:pt x="420923" y="1513257"/>
                  <a:pt x="422745" y="1516901"/>
                  <a:pt x="428211" y="1511434"/>
                </a:cubicBezTo>
                <a:cubicBezTo>
                  <a:pt x="426389" y="1509612"/>
                  <a:pt x="424567" y="1505968"/>
                  <a:pt x="424567" y="1504146"/>
                </a:cubicBezTo>
                <a:close/>
                <a:moveTo>
                  <a:pt x="484244" y="1503690"/>
                </a:moveTo>
                <a:cubicBezTo>
                  <a:pt x="483332" y="1503235"/>
                  <a:pt x="481965" y="1503235"/>
                  <a:pt x="481054" y="1504146"/>
                </a:cubicBezTo>
                <a:cubicBezTo>
                  <a:pt x="482876" y="1505968"/>
                  <a:pt x="484700" y="1505968"/>
                  <a:pt x="484700" y="1505968"/>
                </a:cubicBezTo>
                <a:cubicBezTo>
                  <a:pt x="485610" y="1505057"/>
                  <a:pt x="485154" y="1504146"/>
                  <a:pt x="484244" y="1503690"/>
                </a:cubicBezTo>
                <a:close/>
                <a:moveTo>
                  <a:pt x="3406859" y="1503134"/>
                </a:moveTo>
                <a:lnTo>
                  <a:pt x="3407238" y="1503918"/>
                </a:lnTo>
                <a:lnTo>
                  <a:pt x="3408693" y="1507958"/>
                </a:lnTo>
                <a:lnTo>
                  <a:pt x="3408417" y="1508741"/>
                </a:lnTo>
                <a:lnTo>
                  <a:pt x="3405643" y="1505968"/>
                </a:lnTo>
                <a:lnTo>
                  <a:pt x="3403725" y="1508845"/>
                </a:lnTo>
                <a:lnTo>
                  <a:pt x="3401999" y="1509612"/>
                </a:lnTo>
                <a:close/>
                <a:moveTo>
                  <a:pt x="1055863" y="1503083"/>
                </a:moveTo>
                <a:lnTo>
                  <a:pt x="1073262" y="1511434"/>
                </a:lnTo>
                <a:lnTo>
                  <a:pt x="1059463" y="1511434"/>
                </a:lnTo>
                <a:lnTo>
                  <a:pt x="1049153" y="1506622"/>
                </a:lnTo>
                <a:lnTo>
                  <a:pt x="1048471" y="1505712"/>
                </a:lnTo>
                <a:close/>
                <a:moveTo>
                  <a:pt x="3243470" y="1502324"/>
                </a:moveTo>
                <a:cubicBezTo>
                  <a:pt x="3236181" y="1502324"/>
                  <a:pt x="3245292" y="1511434"/>
                  <a:pt x="3243470" y="1511434"/>
                </a:cubicBezTo>
                <a:cubicBezTo>
                  <a:pt x="3243470" y="1515079"/>
                  <a:pt x="3248937" y="1509612"/>
                  <a:pt x="3248937" y="1507790"/>
                </a:cubicBezTo>
                <a:cubicBezTo>
                  <a:pt x="3247114" y="1507790"/>
                  <a:pt x="3247114" y="1507790"/>
                  <a:pt x="3245292" y="1507790"/>
                </a:cubicBezTo>
                <a:cubicBezTo>
                  <a:pt x="3245292" y="1504146"/>
                  <a:pt x="3243470" y="1504146"/>
                  <a:pt x="3243470" y="1502324"/>
                </a:cubicBezTo>
                <a:close/>
                <a:moveTo>
                  <a:pt x="1206279" y="1502324"/>
                </a:moveTo>
                <a:cubicBezTo>
                  <a:pt x="1204457" y="1504146"/>
                  <a:pt x="1202636" y="1507790"/>
                  <a:pt x="1204457" y="1509612"/>
                </a:cubicBezTo>
                <a:cubicBezTo>
                  <a:pt x="1208102" y="1509612"/>
                  <a:pt x="1209925" y="1504146"/>
                  <a:pt x="1206279" y="1502324"/>
                </a:cubicBezTo>
                <a:close/>
                <a:moveTo>
                  <a:pt x="635939" y="1502324"/>
                </a:moveTo>
                <a:cubicBezTo>
                  <a:pt x="630472" y="1507790"/>
                  <a:pt x="626828" y="1507790"/>
                  <a:pt x="621362" y="1509612"/>
                </a:cubicBezTo>
                <a:cubicBezTo>
                  <a:pt x="626828" y="1513257"/>
                  <a:pt x="632296" y="1515079"/>
                  <a:pt x="635939" y="1513257"/>
                </a:cubicBezTo>
                <a:cubicBezTo>
                  <a:pt x="637761" y="1509612"/>
                  <a:pt x="635939" y="1505968"/>
                  <a:pt x="635939" y="1502324"/>
                </a:cubicBezTo>
                <a:close/>
                <a:moveTo>
                  <a:pt x="512031" y="1502324"/>
                </a:moveTo>
                <a:cubicBezTo>
                  <a:pt x="512031" y="1504146"/>
                  <a:pt x="510209" y="1504146"/>
                  <a:pt x="508387" y="1505968"/>
                </a:cubicBezTo>
                <a:cubicBezTo>
                  <a:pt x="510209" y="1511434"/>
                  <a:pt x="515676" y="1513257"/>
                  <a:pt x="517498" y="1507790"/>
                </a:cubicBezTo>
                <a:cubicBezTo>
                  <a:pt x="513853" y="1505968"/>
                  <a:pt x="512031" y="1505968"/>
                  <a:pt x="512031" y="1502324"/>
                </a:cubicBezTo>
                <a:close/>
                <a:moveTo>
                  <a:pt x="661449" y="1500501"/>
                </a:moveTo>
                <a:cubicBezTo>
                  <a:pt x="661449" y="1504146"/>
                  <a:pt x="654161" y="1507790"/>
                  <a:pt x="657805" y="1511434"/>
                </a:cubicBezTo>
                <a:cubicBezTo>
                  <a:pt x="661449" y="1509612"/>
                  <a:pt x="663272" y="1505968"/>
                  <a:pt x="666916" y="1504146"/>
                </a:cubicBezTo>
                <a:cubicBezTo>
                  <a:pt x="665094" y="1502324"/>
                  <a:pt x="663272" y="1500501"/>
                  <a:pt x="661449" y="1500501"/>
                </a:cubicBezTo>
                <a:close/>
                <a:moveTo>
                  <a:pt x="604963" y="1500501"/>
                </a:moveTo>
                <a:cubicBezTo>
                  <a:pt x="603140" y="1498679"/>
                  <a:pt x="599496" y="1504146"/>
                  <a:pt x="601318" y="1505968"/>
                </a:cubicBezTo>
                <a:cubicBezTo>
                  <a:pt x="604963" y="1504146"/>
                  <a:pt x="603140" y="1502324"/>
                  <a:pt x="604963" y="1500501"/>
                </a:cubicBezTo>
                <a:close/>
                <a:moveTo>
                  <a:pt x="550297" y="1500501"/>
                </a:moveTo>
                <a:cubicBezTo>
                  <a:pt x="548475" y="1504146"/>
                  <a:pt x="548475" y="1507790"/>
                  <a:pt x="546653" y="1511434"/>
                </a:cubicBezTo>
                <a:cubicBezTo>
                  <a:pt x="550297" y="1513257"/>
                  <a:pt x="552119" y="1505968"/>
                  <a:pt x="553941" y="1505968"/>
                </a:cubicBezTo>
                <a:cubicBezTo>
                  <a:pt x="552119" y="1504146"/>
                  <a:pt x="552119" y="1502324"/>
                  <a:pt x="550297" y="1500501"/>
                </a:cubicBezTo>
                <a:close/>
                <a:moveTo>
                  <a:pt x="519320" y="1500501"/>
                </a:moveTo>
                <a:cubicBezTo>
                  <a:pt x="515676" y="1500501"/>
                  <a:pt x="515676" y="1504146"/>
                  <a:pt x="515676" y="1504146"/>
                </a:cubicBezTo>
                <a:cubicBezTo>
                  <a:pt x="515676" y="1505968"/>
                  <a:pt x="517498" y="1504146"/>
                  <a:pt x="517498" y="1505968"/>
                </a:cubicBezTo>
                <a:cubicBezTo>
                  <a:pt x="519320" y="1504146"/>
                  <a:pt x="517498" y="1502324"/>
                  <a:pt x="519320" y="1500501"/>
                </a:cubicBezTo>
                <a:close/>
                <a:moveTo>
                  <a:pt x="400879" y="1500501"/>
                </a:moveTo>
                <a:cubicBezTo>
                  <a:pt x="397234" y="1500501"/>
                  <a:pt x="391768" y="1502324"/>
                  <a:pt x="393590" y="1505968"/>
                </a:cubicBezTo>
                <a:cubicBezTo>
                  <a:pt x="395412" y="1502324"/>
                  <a:pt x="400879" y="1505968"/>
                  <a:pt x="400879" y="1500501"/>
                </a:cubicBezTo>
                <a:close/>
                <a:moveTo>
                  <a:pt x="442884" y="1500405"/>
                </a:moveTo>
                <a:lnTo>
                  <a:pt x="435500" y="1507790"/>
                </a:lnTo>
                <a:lnTo>
                  <a:pt x="434468" y="1507127"/>
                </a:lnTo>
                <a:lnTo>
                  <a:pt x="441194" y="1500729"/>
                </a:lnTo>
                <a:close/>
                <a:moveTo>
                  <a:pt x="2897257" y="1498679"/>
                </a:moveTo>
                <a:lnTo>
                  <a:pt x="2895435" y="1504146"/>
                </a:lnTo>
                <a:cubicBezTo>
                  <a:pt x="2897257" y="1505968"/>
                  <a:pt x="2899079" y="1505968"/>
                  <a:pt x="2899079" y="1504146"/>
                </a:cubicBezTo>
                <a:cubicBezTo>
                  <a:pt x="2899079" y="1502324"/>
                  <a:pt x="2897257" y="1500501"/>
                  <a:pt x="2897257" y="1498679"/>
                </a:cubicBezTo>
                <a:close/>
                <a:moveTo>
                  <a:pt x="3294491" y="1496857"/>
                </a:moveTo>
                <a:cubicBezTo>
                  <a:pt x="3290847" y="1504146"/>
                  <a:pt x="3301780" y="1513257"/>
                  <a:pt x="3303602" y="1504146"/>
                </a:cubicBezTo>
                <a:cubicBezTo>
                  <a:pt x="3299957" y="1498679"/>
                  <a:pt x="3299957" y="1495035"/>
                  <a:pt x="3294491" y="1496857"/>
                </a:cubicBezTo>
                <a:close/>
                <a:moveTo>
                  <a:pt x="3254403" y="1496857"/>
                </a:moveTo>
                <a:cubicBezTo>
                  <a:pt x="3252581" y="1500501"/>
                  <a:pt x="3248937" y="1509612"/>
                  <a:pt x="3256225" y="1509612"/>
                </a:cubicBezTo>
                <a:cubicBezTo>
                  <a:pt x="3256225" y="1504146"/>
                  <a:pt x="3254403" y="1498679"/>
                  <a:pt x="3258047" y="1498679"/>
                </a:cubicBezTo>
                <a:cubicBezTo>
                  <a:pt x="3258047" y="1496857"/>
                  <a:pt x="3256225" y="1496857"/>
                  <a:pt x="3254403" y="1496857"/>
                </a:cubicBezTo>
                <a:close/>
                <a:moveTo>
                  <a:pt x="727048" y="1496857"/>
                </a:moveTo>
                <a:cubicBezTo>
                  <a:pt x="716115" y="1500501"/>
                  <a:pt x="703359" y="1500501"/>
                  <a:pt x="694249" y="1509612"/>
                </a:cubicBezTo>
                <a:cubicBezTo>
                  <a:pt x="692426" y="1509612"/>
                  <a:pt x="692426" y="1509612"/>
                  <a:pt x="690604" y="1509612"/>
                </a:cubicBezTo>
                <a:cubicBezTo>
                  <a:pt x="686960" y="1513257"/>
                  <a:pt x="683316" y="1515079"/>
                  <a:pt x="681493" y="1518723"/>
                </a:cubicBezTo>
                <a:cubicBezTo>
                  <a:pt x="685138" y="1526012"/>
                  <a:pt x="690604" y="1546056"/>
                  <a:pt x="707004" y="1535123"/>
                </a:cubicBezTo>
                <a:cubicBezTo>
                  <a:pt x="707004" y="1536945"/>
                  <a:pt x="707004" y="1536945"/>
                  <a:pt x="707004" y="1540589"/>
                </a:cubicBezTo>
                <a:cubicBezTo>
                  <a:pt x="712470" y="1535123"/>
                  <a:pt x="727048" y="1527834"/>
                  <a:pt x="716115" y="1520545"/>
                </a:cubicBezTo>
                <a:cubicBezTo>
                  <a:pt x="719759" y="1520545"/>
                  <a:pt x="719759" y="1522368"/>
                  <a:pt x="721581" y="1524190"/>
                </a:cubicBezTo>
                <a:cubicBezTo>
                  <a:pt x="722492" y="1519634"/>
                  <a:pt x="725681" y="1515534"/>
                  <a:pt x="728186" y="1511207"/>
                </a:cubicBezTo>
                <a:lnTo>
                  <a:pt x="730374" y="1498679"/>
                </a:lnTo>
                <a:lnTo>
                  <a:pt x="730692" y="1496857"/>
                </a:lnTo>
                <a:lnTo>
                  <a:pt x="729367" y="1498679"/>
                </a:lnTo>
                <a:lnTo>
                  <a:pt x="716115" y="1516901"/>
                </a:lnTo>
                <a:cubicBezTo>
                  <a:pt x="717937" y="1511434"/>
                  <a:pt x="723404" y="1509612"/>
                  <a:pt x="723404" y="1504146"/>
                </a:cubicBezTo>
                <a:cubicBezTo>
                  <a:pt x="714293" y="1505968"/>
                  <a:pt x="705182" y="1511434"/>
                  <a:pt x="694249" y="1509612"/>
                </a:cubicBezTo>
                <a:cubicBezTo>
                  <a:pt x="705182" y="1507790"/>
                  <a:pt x="716115" y="1504146"/>
                  <a:pt x="727048" y="1496857"/>
                </a:cubicBezTo>
                <a:close/>
                <a:moveTo>
                  <a:pt x="535719" y="1496857"/>
                </a:moveTo>
                <a:cubicBezTo>
                  <a:pt x="532075" y="1502324"/>
                  <a:pt x="535719" y="1507790"/>
                  <a:pt x="537542" y="1511434"/>
                </a:cubicBezTo>
                <a:cubicBezTo>
                  <a:pt x="539364" y="1505968"/>
                  <a:pt x="537542" y="1498679"/>
                  <a:pt x="535719" y="1496857"/>
                </a:cubicBezTo>
                <a:close/>
                <a:moveTo>
                  <a:pt x="432540" y="1496629"/>
                </a:moveTo>
                <a:cubicBezTo>
                  <a:pt x="431401" y="1496402"/>
                  <a:pt x="430034" y="1496857"/>
                  <a:pt x="428211" y="1498679"/>
                </a:cubicBezTo>
                <a:cubicBezTo>
                  <a:pt x="424567" y="1500501"/>
                  <a:pt x="428211" y="1509612"/>
                  <a:pt x="431856" y="1507790"/>
                </a:cubicBezTo>
                <a:cubicBezTo>
                  <a:pt x="430034" y="1505968"/>
                  <a:pt x="428211" y="1502324"/>
                  <a:pt x="428211" y="1498679"/>
                </a:cubicBezTo>
                <a:cubicBezTo>
                  <a:pt x="428211" y="1502324"/>
                  <a:pt x="433678" y="1502324"/>
                  <a:pt x="435500" y="1498679"/>
                </a:cubicBezTo>
                <a:cubicBezTo>
                  <a:pt x="434589" y="1497768"/>
                  <a:pt x="433678" y="1496857"/>
                  <a:pt x="432540" y="1496629"/>
                </a:cubicBezTo>
                <a:close/>
                <a:moveTo>
                  <a:pt x="452212" y="1495538"/>
                </a:moveTo>
                <a:lnTo>
                  <a:pt x="450077" y="1496857"/>
                </a:lnTo>
                <a:lnTo>
                  <a:pt x="450231" y="1496198"/>
                </a:lnTo>
                <a:close/>
                <a:moveTo>
                  <a:pt x="3466869" y="1495399"/>
                </a:moveTo>
                <a:lnTo>
                  <a:pt x="3469419" y="1500501"/>
                </a:lnTo>
                <a:lnTo>
                  <a:pt x="3461958" y="1496101"/>
                </a:lnTo>
                <a:close/>
                <a:moveTo>
                  <a:pt x="3460536" y="1495263"/>
                </a:moveTo>
                <a:lnTo>
                  <a:pt x="3461958" y="1496101"/>
                </a:lnTo>
                <a:lnTo>
                  <a:pt x="3461448" y="1496174"/>
                </a:lnTo>
                <a:lnTo>
                  <a:pt x="3459775" y="1495424"/>
                </a:lnTo>
                <a:close/>
                <a:moveTo>
                  <a:pt x="1200814" y="1495035"/>
                </a:moveTo>
                <a:cubicBezTo>
                  <a:pt x="1200814" y="1498679"/>
                  <a:pt x="1204457" y="1498679"/>
                  <a:pt x="1206279" y="1500501"/>
                </a:cubicBezTo>
                <a:cubicBezTo>
                  <a:pt x="1208102" y="1498679"/>
                  <a:pt x="1206279" y="1498679"/>
                  <a:pt x="1208102" y="1496857"/>
                </a:cubicBezTo>
                <a:cubicBezTo>
                  <a:pt x="1204457" y="1495035"/>
                  <a:pt x="1202636" y="1495035"/>
                  <a:pt x="1200814" y="1495035"/>
                </a:cubicBezTo>
                <a:close/>
                <a:moveTo>
                  <a:pt x="3068574" y="1494960"/>
                </a:moveTo>
                <a:lnTo>
                  <a:pt x="3068594" y="1494993"/>
                </a:lnTo>
                <a:lnTo>
                  <a:pt x="3068541" y="1495035"/>
                </a:lnTo>
                <a:close/>
                <a:moveTo>
                  <a:pt x="1038369" y="1494686"/>
                </a:moveTo>
                <a:lnTo>
                  <a:pt x="1038950" y="1494783"/>
                </a:lnTo>
                <a:lnTo>
                  <a:pt x="1038809" y="1494897"/>
                </a:lnTo>
                <a:close/>
                <a:moveTo>
                  <a:pt x="1036067" y="1493581"/>
                </a:moveTo>
                <a:lnTo>
                  <a:pt x="1038369" y="1494686"/>
                </a:lnTo>
                <a:lnTo>
                  <a:pt x="1037877" y="1494604"/>
                </a:lnTo>
                <a:close/>
                <a:moveTo>
                  <a:pt x="3352800" y="1493214"/>
                </a:moveTo>
                <a:cubicBezTo>
                  <a:pt x="3363733" y="1500503"/>
                  <a:pt x="3374666" y="1509614"/>
                  <a:pt x="3385599" y="1515080"/>
                </a:cubicBezTo>
                <a:cubicBezTo>
                  <a:pt x="3383777" y="1516903"/>
                  <a:pt x="3383777" y="1524191"/>
                  <a:pt x="3385599" y="1524191"/>
                </a:cubicBezTo>
                <a:cubicBezTo>
                  <a:pt x="3389243" y="1524191"/>
                  <a:pt x="3387421" y="1520547"/>
                  <a:pt x="3387421" y="1516903"/>
                </a:cubicBezTo>
                <a:cubicBezTo>
                  <a:pt x="3396532" y="1524191"/>
                  <a:pt x="3405643" y="1533302"/>
                  <a:pt x="3412932" y="1542413"/>
                </a:cubicBezTo>
                <a:cubicBezTo>
                  <a:pt x="3412932" y="1542413"/>
                  <a:pt x="3411109" y="1544235"/>
                  <a:pt x="3409287" y="1544235"/>
                </a:cubicBezTo>
                <a:cubicBezTo>
                  <a:pt x="3411109" y="1553346"/>
                  <a:pt x="3423864" y="1551524"/>
                  <a:pt x="3422042" y="1558813"/>
                </a:cubicBezTo>
                <a:cubicBezTo>
                  <a:pt x="3418398" y="1566101"/>
                  <a:pt x="3412932" y="1556990"/>
                  <a:pt x="3411109" y="1551524"/>
                </a:cubicBezTo>
                <a:cubicBezTo>
                  <a:pt x="3412932" y="1560635"/>
                  <a:pt x="3412932" y="1569746"/>
                  <a:pt x="3420220" y="1575212"/>
                </a:cubicBezTo>
                <a:cubicBezTo>
                  <a:pt x="3422042" y="1577034"/>
                  <a:pt x="3425687" y="1575212"/>
                  <a:pt x="3427509" y="1571568"/>
                </a:cubicBezTo>
                <a:cubicBezTo>
                  <a:pt x="3432975" y="1582501"/>
                  <a:pt x="3423864" y="1593435"/>
                  <a:pt x="3416576" y="1600723"/>
                </a:cubicBezTo>
                <a:cubicBezTo>
                  <a:pt x="3422042" y="1597078"/>
                  <a:pt x="3420220" y="1587967"/>
                  <a:pt x="3414754" y="1587967"/>
                </a:cubicBezTo>
                <a:cubicBezTo>
                  <a:pt x="3414754" y="1593435"/>
                  <a:pt x="3412932" y="1597078"/>
                  <a:pt x="3416576" y="1600723"/>
                </a:cubicBezTo>
                <a:cubicBezTo>
                  <a:pt x="3418398" y="1602545"/>
                  <a:pt x="3418398" y="1602545"/>
                  <a:pt x="3418398" y="1602545"/>
                </a:cubicBezTo>
                <a:cubicBezTo>
                  <a:pt x="3403821" y="1613478"/>
                  <a:pt x="3383777" y="1608011"/>
                  <a:pt x="3380132" y="1591612"/>
                </a:cubicBezTo>
                <a:cubicBezTo>
                  <a:pt x="3378310" y="1595256"/>
                  <a:pt x="3383777" y="1600723"/>
                  <a:pt x="3380132" y="1606189"/>
                </a:cubicBezTo>
                <a:cubicBezTo>
                  <a:pt x="3378310" y="1606189"/>
                  <a:pt x="3376488" y="1606189"/>
                  <a:pt x="3374666" y="1606189"/>
                </a:cubicBezTo>
                <a:cubicBezTo>
                  <a:pt x="3371021" y="1600723"/>
                  <a:pt x="3369199" y="1593435"/>
                  <a:pt x="3365555" y="1587967"/>
                </a:cubicBezTo>
                <a:cubicBezTo>
                  <a:pt x="3365555" y="1593435"/>
                  <a:pt x="3369199" y="1598900"/>
                  <a:pt x="3367377" y="1600723"/>
                </a:cubicBezTo>
                <a:cubicBezTo>
                  <a:pt x="3358266" y="1604367"/>
                  <a:pt x="3350977" y="1591612"/>
                  <a:pt x="3349155" y="1584323"/>
                </a:cubicBezTo>
                <a:cubicBezTo>
                  <a:pt x="3345511" y="1595256"/>
                  <a:pt x="3358266" y="1602545"/>
                  <a:pt x="3356444" y="1611656"/>
                </a:cubicBezTo>
                <a:cubicBezTo>
                  <a:pt x="3354622" y="1617122"/>
                  <a:pt x="3338222" y="1611656"/>
                  <a:pt x="3345511" y="1622590"/>
                </a:cubicBezTo>
                <a:cubicBezTo>
                  <a:pt x="3343689" y="1622590"/>
                  <a:pt x="3341867" y="1620766"/>
                  <a:pt x="3340045" y="1620766"/>
                </a:cubicBezTo>
                <a:lnTo>
                  <a:pt x="3340045" y="1610289"/>
                </a:lnTo>
                <a:lnTo>
                  <a:pt x="3345511" y="1611656"/>
                </a:lnTo>
                <a:cubicBezTo>
                  <a:pt x="3345511" y="1608011"/>
                  <a:pt x="3343689" y="1606189"/>
                  <a:pt x="3341867" y="1602545"/>
                </a:cubicBezTo>
                <a:lnTo>
                  <a:pt x="3340045" y="1605692"/>
                </a:lnTo>
                <a:lnTo>
                  <a:pt x="3340045" y="1597078"/>
                </a:lnTo>
                <a:cubicBezTo>
                  <a:pt x="3340045" y="1598900"/>
                  <a:pt x="3341867" y="1598900"/>
                  <a:pt x="3341867" y="1600723"/>
                </a:cubicBezTo>
                <a:cubicBezTo>
                  <a:pt x="3341867" y="1598900"/>
                  <a:pt x="3340045" y="1598900"/>
                  <a:pt x="3341867" y="1595256"/>
                </a:cubicBezTo>
                <a:cubicBezTo>
                  <a:pt x="3340045" y="1595256"/>
                  <a:pt x="3338222" y="1595256"/>
                  <a:pt x="3338222" y="1593435"/>
                </a:cubicBezTo>
                <a:cubicBezTo>
                  <a:pt x="3338222" y="1567924"/>
                  <a:pt x="3341867" y="1540591"/>
                  <a:pt x="3347333" y="1516903"/>
                </a:cubicBezTo>
                <a:cubicBezTo>
                  <a:pt x="3347333" y="1516903"/>
                  <a:pt x="3349155" y="1516903"/>
                  <a:pt x="3349155" y="1516903"/>
                </a:cubicBezTo>
                <a:cubicBezTo>
                  <a:pt x="3347333" y="1516903"/>
                  <a:pt x="3347333" y="1515080"/>
                  <a:pt x="3347333" y="1515080"/>
                </a:cubicBezTo>
                <a:cubicBezTo>
                  <a:pt x="3347333" y="1507792"/>
                  <a:pt x="3349155" y="1500503"/>
                  <a:pt x="3352800" y="1493214"/>
                </a:cubicBezTo>
                <a:close/>
                <a:moveTo>
                  <a:pt x="2871747" y="1493213"/>
                </a:moveTo>
                <a:lnTo>
                  <a:pt x="2873569" y="1498679"/>
                </a:lnTo>
                <a:lnTo>
                  <a:pt x="2879035" y="1496857"/>
                </a:lnTo>
                <a:cubicBezTo>
                  <a:pt x="2879035" y="1495035"/>
                  <a:pt x="2877213" y="1495035"/>
                  <a:pt x="2877213" y="1493213"/>
                </a:cubicBezTo>
                <a:cubicBezTo>
                  <a:pt x="2873569" y="1491391"/>
                  <a:pt x="2873569" y="1493213"/>
                  <a:pt x="2871747" y="1493213"/>
                </a:cubicBezTo>
                <a:close/>
                <a:moveTo>
                  <a:pt x="1186236" y="1493213"/>
                </a:moveTo>
                <a:cubicBezTo>
                  <a:pt x="1182592" y="1498679"/>
                  <a:pt x="1191703" y="1504146"/>
                  <a:pt x="1191703" y="1509612"/>
                </a:cubicBezTo>
                <a:cubicBezTo>
                  <a:pt x="1191703" y="1509612"/>
                  <a:pt x="1193525" y="1507790"/>
                  <a:pt x="1193525" y="1507790"/>
                </a:cubicBezTo>
                <a:cubicBezTo>
                  <a:pt x="1193525" y="1509612"/>
                  <a:pt x="1195346" y="1513257"/>
                  <a:pt x="1197169" y="1516901"/>
                </a:cubicBezTo>
                <a:cubicBezTo>
                  <a:pt x="1200814" y="1516901"/>
                  <a:pt x="1202636" y="1511434"/>
                  <a:pt x="1202636" y="1513257"/>
                </a:cubicBezTo>
                <a:cubicBezTo>
                  <a:pt x="1202636" y="1513257"/>
                  <a:pt x="1198991" y="1509612"/>
                  <a:pt x="1197169" y="1505968"/>
                </a:cubicBezTo>
                <a:lnTo>
                  <a:pt x="1197169" y="1504146"/>
                </a:lnTo>
                <a:cubicBezTo>
                  <a:pt x="1191703" y="1502324"/>
                  <a:pt x="1189880" y="1495035"/>
                  <a:pt x="1186236" y="1493213"/>
                </a:cubicBezTo>
                <a:close/>
                <a:moveTo>
                  <a:pt x="1029529" y="1493213"/>
                </a:moveTo>
                <a:lnTo>
                  <a:pt x="1037877" y="1494604"/>
                </a:lnTo>
                <a:lnTo>
                  <a:pt x="1038639" y="1495035"/>
                </a:lnTo>
                <a:lnTo>
                  <a:pt x="1038809" y="1494897"/>
                </a:lnTo>
                <a:lnTo>
                  <a:pt x="1041230" y="1496059"/>
                </a:lnTo>
                <a:lnTo>
                  <a:pt x="1048471" y="1505712"/>
                </a:lnTo>
                <a:lnTo>
                  <a:pt x="1047750" y="1505968"/>
                </a:lnTo>
                <a:lnTo>
                  <a:pt x="1049153" y="1506622"/>
                </a:lnTo>
                <a:lnTo>
                  <a:pt x="1052761" y="1511434"/>
                </a:lnTo>
                <a:lnTo>
                  <a:pt x="1059463" y="1511434"/>
                </a:lnTo>
                <a:lnTo>
                  <a:pt x="1061416" y="1512345"/>
                </a:lnTo>
                <a:lnTo>
                  <a:pt x="1070944" y="1516792"/>
                </a:lnTo>
                <a:lnTo>
                  <a:pt x="1056861" y="1515079"/>
                </a:lnTo>
                <a:lnTo>
                  <a:pt x="1058611" y="1518175"/>
                </a:lnTo>
                <a:lnTo>
                  <a:pt x="1053217" y="1513257"/>
                </a:lnTo>
                <a:cubicBezTo>
                  <a:pt x="1047750" y="1513257"/>
                  <a:pt x="1044106" y="1513257"/>
                  <a:pt x="1038639" y="1513257"/>
                </a:cubicBezTo>
                <a:cubicBezTo>
                  <a:pt x="1040462" y="1515079"/>
                  <a:pt x="1042284" y="1516901"/>
                  <a:pt x="1045929" y="1518723"/>
                </a:cubicBezTo>
                <a:lnTo>
                  <a:pt x="1034336" y="1512927"/>
                </a:lnTo>
                <a:lnTo>
                  <a:pt x="1038639" y="1511434"/>
                </a:lnTo>
                <a:cubicBezTo>
                  <a:pt x="1033173" y="1507790"/>
                  <a:pt x="1027707" y="1509612"/>
                  <a:pt x="1024062" y="1505968"/>
                </a:cubicBezTo>
                <a:cubicBezTo>
                  <a:pt x="1033173" y="1509612"/>
                  <a:pt x="1038639" y="1509612"/>
                  <a:pt x="1047750" y="1509612"/>
                </a:cubicBezTo>
                <a:cubicBezTo>
                  <a:pt x="1044106" y="1504146"/>
                  <a:pt x="1036818" y="1493213"/>
                  <a:pt x="1031351" y="1502324"/>
                </a:cubicBezTo>
                <a:cubicBezTo>
                  <a:pt x="1031351" y="1498679"/>
                  <a:pt x="1033173" y="1498679"/>
                  <a:pt x="1034995" y="1496857"/>
                </a:cubicBezTo>
                <a:cubicBezTo>
                  <a:pt x="1033173" y="1495035"/>
                  <a:pt x="1031351" y="1495035"/>
                  <a:pt x="1029529" y="1493213"/>
                </a:cubicBezTo>
                <a:close/>
                <a:moveTo>
                  <a:pt x="750737" y="1493213"/>
                </a:moveTo>
                <a:cubicBezTo>
                  <a:pt x="747092" y="1498679"/>
                  <a:pt x="747092" y="1504146"/>
                  <a:pt x="745269" y="1507790"/>
                </a:cubicBezTo>
                <a:cubicBezTo>
                  <a:pt x="750737" y="1507790"/>
                  <a:pt x="758025" y="1507790"/>
                  <a:pt x="759848" y="1500501"/>
                </a:cubicBezTo>
                <a:cubicBezTo>
                  <a:pt x="758025" y="1496857"/>
                  <a:pt x="754380" y="1495035"/>
                  <a:pt x="750737" y="1493213"/>
                </a:cubicBezTo>
                <a:close/>
                <a:moveTo>
                  <a:pt x="655983" y="1493213"/>
                </a:moveTo>
                <a:cubicBezTo>
                  <a:pt x="648694" y="1498679"/>
                  <a:pt x="645050" y="1507790"/>
                  <a:pt x="639583" y="1515079"/>
                </a:cubicBezTo>
                <a:cubicBezTo>
                  <a:pt x="650516" y="1515079"/>
                  <a:pt x="654161" y="1504146"/>
                  <a:pt x="661449" y="1498679"/>
                </a:cubicBezTo>
                <a:cubicBezTo>
                  <a:pt x="655983" y="1504146"/>
                  <a:pt x="659627" y="1493213"/>
                  <a:pt x="655983" y="1493213"/>
                </a:cubicBezTo>
                <a:close/>
                <a:moveTo>
                  <a:pt x="573985" y="1493213"/>
                </a:moveTo>
                <a:cubicBezTo>
                  <a:pt x="572163" y="1498679"/>
                  <a:pt x="570341" y="1502324"/>
                  <a:pt x="568519" y="1507790"/>
                </a:cubicBezTo>
                <a:cubicBezTo>
                  <a:pt x="572163" y="1511434"/>
                  <a:pt x="577630" y="1504146"/>
                  <a:pt x="581274" y="1504146"/>
                </a:cubicBezTo>
                <a:cubicBezTo>
                  <a:pt x="583096" y="1496857"/>
                  <a:pt x="579452" y="1493213"/>
                  <a:pt x="573985" y="1493213"/>
                </a:cubicBezTo>
                <a:close/>
                <a:moveTo>
                  <a:pt x="1319255" y="1491513"/>
                </a:moveTo>
                <a:lnTo>
                  <a:pt x="1319255" y="1513378"/>
                </a:lnTo>
                <a:lnTo>
                  <a:pt x="1280989" y="1513378"/>
                </a:lnTo>
                <a:lnTo>
                  <a:pt x="1280989" y="1527955"/>
                </a:lnTo>
                <a:cubicBezTo>
                  <a:pt x="1275522" y="1526133"/>
                  <a:pt x="1271878" y="1524311"/>
                  <a:pt x="1270056" y="1526133"/>
                </a:cubicBezTo>
                <a:lnTo>
                  <a:pt x="1269719" y="1524445"/>
                </a:lnTo>
                <a:lnTo>
                  <a:pt x="1266411" y="1507912"/>
                </a:lnTo>
                <a:close/>
                <a:moveTo>
                  <a:pt x="823623" y="1491391"/>
                </a:moveTo>
                <a:cubicBezTo>
                  <a:pt x="821801" y="1493213"/>
                  <a:pt x="819979" y="1495035"/>
                  <a:pt x="819979" y="1495035"/>
                </a:cubicBezTo>
                <a:cubicBezTo>
                  <a:pt x="818156" y="1495035"/>
                  <a:pt x="814512" y="1496857"/>
                  <a:pt x="812690" y="1498679"/>
                </a:cubicBezTo>
                <a:cubicBezTo>
                  <a:pt x="812690" y="1496857"/>
                  <a:pt x="807223" y="1498679"/>
                  <a:pt x="805401" y="1500501"/>
                </a:cubicBezTo>
                <a:cubicBezTo>
                  <a:pt x="807223" y="1502324"/>
                  <a:pt x="809046" y="1502324"/>
                  <a:pt x="810868" y="1500501"/>
                </a:cubicBezTo>
                <a:cubicBezTo>
                  <a:pt x="809046" y="1502324"/>
                  <a:pt x="807223" y="1504146"/>
                  <a:pt x="803579" y="1504146"/>
                </a:cubicBezTo>
                <a:cubicBezTo>
                  <a:pt x="807223" y="1507790"/>
                  <a:pt x="807223" y="1509612"/>
                  <a:pt x="809046" y="1513257"/>
                </a:cubicBezTo>
                <a:cubicBezTo>
                  <a:pt x="805401" y="1509612"/>
                  <a:pt x="803579" y="1504146"/>
                  <a:pt x="799935" y="1502324"/>
                </a:cubicBezTo>
                <a:cubicBezTo>
                  <a:pt x="785357" y="1502324"/>
                  <a:pt x="776246" y="1500501"/>
                  <a:pt x="765313" y="1498679"/>
                </a:cubicBezTo>
                <a:cubicBezTo>
                  <a:pt x="765313" y="1500501"/>
                  <a:pt x="768959" y="1505968"/>
                  <a:pt x="772602" y="1504146"/>
                </a:cubicBezTo>
                <a:cubicBezTo>
                  <a:pt x="768959" y="1505968"/>
                  <a:pt x="767136" y="1498679"/>
                  <a:pt x="765313" y="1498679"/>
                </a:cubicBezTo>
                <a:cubicBezTo>
                  <a:pt x="774424" y="1508701"/>
                  <a:pt x="784901" y="1511890"/>
                  <a:pt x="795151" y="1515078"/>
                </a:cubicBezTo>
                <a:lnTo>
                  <a:pt x="798214" y="1516842"/>
                </a:lnTo>
                <a:lnTo>
                  <a:pt x="796974" y="1516218"/>
                </a:lnTo>
                <a:cubicBezTo>
                  <a:pt x="785813" y="1513257"/>
                  <a:pt x="774424" y="1510523"/>
                  <a:pt x="765313" y="1502324"/>
                </a:cubicBezTo>
                <a:cubicBezTo>
                  <a:pt x="761670" y="1509612"/>
                  <a:pt x="763491" y="1520545"/>
                  <a:pt x="758025" y="1527834"/>
                </a:cubicBezTo>
                <a:cubicBezTo>
                  <a:pt x="758025" y="1520545"/>
                  <a:pt x="763491" y="1511434"/>
                  <a:pt x="761670" y="1502324"/>
                </a:cubicBezTo>
                <a:cubicBezTo>
                  <a:pt x="759848" y="1509612"/>
                  <a:pt x="754380" y="1509612"/>
                  <a:pt x="748914" y="1511434"/>
                </a:cubicBezTo>
                <a:cubicBezTo>
                  <a:pt x="750737" y="1511434"/>
                  <a:pt x="752558" y="1513257"/>
                  <a:pt x="750737" y="1516901"/>
                </a:cubicBezTo>
                <a:cubicBezTo>
                  <a:pt x="748914" y="1516901"/>
                  <a:pt x="748914" y="1515079"/>
                  <a:pt x="747092" y="1513257"/>
                </a:cubicBezTo>
                <a:cubicBezTo>
                  <a:pt x="741626" y="1513257"/>
                  <a:pt x="748914" y="1516901"/>
                  <a:pt x="747092" y="1520545"/>
                </a:cubicBezTo>
                <a:cubicBezTo>
                  <a:pt x="748914" y="1520545"/>
                  <a:pt x="748914" y="1520545"/>
                  <a:pt x="750737" y="1520545"/>
                </a:cubicBezTo>
                <a:cubicBezTo>
                  <a:pt x="747092" y="1526012"/>
                  <a:pt x="741626" y="1533301"/>
                  <a:pt x="745269" y="1540589"/>
                </a:cubicBezTo>
                <a:cubicBezTo>
                  <a:pt x="743447" y="1538767"/>
                  <a:pt x="741626" y="1536945"/>
                  <a:pt x="741626" y="1533301"/>
                </a:cubicBezTo>
                <a:cubicBezTo>
                  <a:pt x="737981" y="1538767"/>
                  <a:pt x="734336" y="1547878"/>
                  <a:pt x="741626" y="1551522"/>
                </a:cubicBezTo>
                <a:cubicBezTo>
                  <a:pt x="736159" y="1551522"/>
                  <a:pt x="736159" y="1547878"/>
                  <a:pt x="734336" y="1546056"/>
                </a:cubicBezTo>
                <a:lnTo>
                  <a:pt x="729729" y="1555270"/>
                </a:lnTo>
                <a:lnTo>
                  <a:pt x="728870" y="1555167"/>
                </a:lnTo>
                <a:cubicBezTo>
                  <a:pt x="723404" y="1564278"/>
                  <a:pt x="727048" y="1569744"/>
                  <a:pt x="732515" y="1573388"/>
                </a:cubicBezTo>
                <a:cubicBezTo>
                  <a:pt x="730692" y="1573388"/>
                  <a:pt x="727048" y="1571566"/>
                  <a:pt x="725226" y="1571566"/>
                </a:cubicBezTo>
                <a:cubicBezTo>
                  <a:pt x="727048" y="1582499"/>
                  <a:pt x="725226" y="1593432"/>
                  <a:pt x="723404" y="1602543"/>
                </a:cubicBezTo>
                <a:cubicBezTo>
                  <a:pt x="723404" y="1602543"/>
                  <a:pt x="725226" y="1602543"/>
                  <a:pt x="725226" y="1602543"/>
                </a:cubicBezTo>
                <a:cubicBezTo>
                  <a:pt x="719759" y="1606188"/>
                  <a:pt x="716115" y="1611654"/>
                  <a:pt x="712470" y="1615298"/>
                </a:cubicBezTo>
                <a:cubicBezTo>
                  <a:pt x="703359" y="1624409"/>
                  <a:pt x="677849" y="1649920"/>
                  <a:pt x="699715" y="1660853"/>
                </a:cubicBezTo>
                <a:cubicBezTo>
                  <a:pt x="694249" y="1659031"/>
                  <a:pt x="688782" y="1659031"/>
                  <a:pt x="686960" y="1655386"/>
                </a:cubicBezTo>
                <a:cubicBezTo>
                  <a:pt x="685138" y="1664497"/>
                  <a:pt x="697893" y="1671786"/>
                  <a:pt x="707004" y="1662675"/>
                </a:cubicBezTo>
                <a:cubicBezTo>
                  <a:pt x="705182" y="1660853"/>
                  <a:pt x="701537" y="1659031"/>
                  <a:pt x="699715" y="1657208"/>
                </a:cubicBezTo>
                <a:cubicBezTo>
                  <a:pt x="719759" y="1660853"/>
                  <a:pt x="739803" y="1664497"/>
                  <a:pt x="758025" y="1651742"/>
                </a:cubicBezTo>
                <a:cubicBezTo>
                  <a:pt x="756203" y="1651742"/>
                  <a:pt x="758025" y="1653564"/>
                  <a:pt x="756203" y="1655386"/>
                </a:cubicBezTo>
                <a:cubicBezTo>
                  <a:pt x="761670" y="1657208"/>
                  <a:pt x="765313" y="1655386"/>
                  <a:pt x="767136" y="1651742"/>
                </a:cubicBezTo>
                <a:cubicBezTo>
                  <a:pt x="763491" y="1649920"/>
                  <a:pt x="761670" y="1649920"/>
                  <a:pt x="759848" y="1651742"/>
                </a:cubicBezTo>
                <a:cubicBezTo>
                  <a:pt x="767136" y="1642631"/>
                  <a:pt x="772602" y="1653564"/>
                  <a:pt x="781713" y="1653564"/>
                </a:cubicBezTo>
                <a:cubicBezTo>
                  <a:pt x="798112" y="1649920"/>
                  <a:pt x="812690" y="1657208"/>
                  <a:pt x="825445" y="1648097"/>
                </a:cubicBezTo>
                <a:cubicBezTo>
                  <a:pt x="821801" y="1646275"/>
                  <a:pt x="819979" y="1644453"/>
                  <a:pt x="818156" y="1644453"/>
                </a:cubicBezTo>
                <a:cubicBezTo>
                  <a:pt x="819979" y="1644453"/>
                  <a:pt x="823623" y="1644453"/>
                  <a:pt x="825445" y="1644453"/>
                </a:cubicBezTo>
                <a:cubicBezTo>
                  <a:pt x="840022" y="1642631"/>
                  <a:pt x="854600" y="1635342"/>
                  <a:pt x="869177" y="1631698"/>
                </a:cubicBezTo>
                <a:cubicBezTo>
                  <a:pt x="867355" y="1631698"/>
                  <a:pt x="867355" y="1631698"/>
                  <a:pt x="863711" y="1631698"/>
                </a:cubicBezTo>
                <a:cubicBezTo>
                  <a:pt x="896510" y="1628054"/>
                  <a:pt x="931131" y="1624409"/>
                  <a:pt x="963930" y="1618943"/>
                </a:cubicBezTo>
                <a:lnTo>
                  <a:pt x="963039" y="1618489"/>
                </a:lnTo>
                <a:lnTo>
                  <a:pt x="989441" y="1617121"/>
                </a:lnTo>
                <a:cubicBezTo>
                  <a:pt x="980330" y="1610743"/>
                  <a:pt x="969397" y="1606187"/>
                  <a:pt x="958236" y="1603910"/>
                </a:cubicBezTo>
                <a:lnTo>
                  <a:pt x="931795" y="1604279"/>
                </a:lnTo>
                <a:lnTo>
                  <a:pt x="932953" y="1602543"/>
                </a:lnTo>
                <a:lnTo>
                  <a:pt x="929030" y="1604318"/>
                </a:lnTo>
                <a:lnTo>
                  <a:pt x="925886" y="1604362"/>
                </a:lnTo>
                <a:lnTo>
                  <a:pt x="925763" y="1604299"/>
                </a:lnTo>
                <a:lnTo>
                  <a:pt x="931131" y="1600721"/>
                </a:lnTo>
                <a:cubicBezTo>
                  <a:pt x="925666" y="1598899"/>
                  <a:pt x="922020" y="1600721"/>
                  <a:pt x="916555" y="1598899"/>
                </a:cubicBezTo>
                <a:lnTo>
                  <a:pt x="917617" y="1600140"/>
                </a:lnTo>
                <a:lnTo>
                  <a:pt x="904482" y="1593432"/>
                </a:lnTo>
                <a:cubicBezTo>
                  <a:pt x="893777" y="1588877"/>
                  <a:pt x="882843" y="1586143"/>
                  <a:pt x="871000" y="1587966"/>
                </a:cubicBezTo>
                <a:cubicBezTo>
                  <a:pt x="866444" y="1587055"/>
                  <a:pt x="862345" y="1589333"/>
                  <a:pt x="858244" y="1591155"/>
                </a:cubicBezTo>
                <a:lnTo>
                  <a:pt x="855363" y="1591257"/>
                </a:lnTo>
                <a:lnTo>
                  <a:pt x="860066" y="1589788"/>
                </a:lnTo>
                <a:cubicBezTo>
                  <a:pt x="861889" y="1587966"/>
                  <a:pt x="858244" y="1586144"/>
                  <a:pt x="860066" y="1584321"/>
                </a:cubicBezTo>
                <a:cubicBezTo>
                  <a:pt x="863711" y="1586144"/>
                  <a:pt x="869177" y="1586144"/>
                  <a:pt x="872822" y="1584321"/>
                </a:cubicBezTo>
                <a:cubicBezTo>
                  <a:pt x="872822" y="1584321"/>
                  <a:pt x="871000" y="1582499"/>
                  <a:pt x="871000" y="1582499"/>
                </a:cubicBezTo>
                <a:lnTo>
                  <a:pt x="877384" y="1583563"/>
                </a:lnTo>
                <a:lnTo>
                  <a:pt x="887399" y="1587966"/>
                </a:lnTo>
                <a:cubicBezTo>
                  <a:pt x="905621" y="1586144"/>
                  <a:pt x="922020" y="1586144"/>
                  <a:pt x="940242" y="1586144"/>
                </a:cubicBezTo>
                <a:cubicBezTo>
                  <a:pt x="909265" y="1566100"/>
                  <a:pt x="869177" y="1560633"/>
                  <a:pt x="834556" y="1566100"/>
                </a:cubicBezTo>
                <a:cubicBezTo>
                  <a:pt x="842757" y="1570655"/>
                  <a:pt x="851868" y="1573389"/>
                  <a:pt x="860977" y="1576350"/>
                </a:cubicBezTo>
                <a:lnTo>
                  <a:pt x="868478" y="1579647"/>
                </a:lnTo>
                <a:lnTo>
                  <a:pt x="817018" y="1561772"/>
                </a:lnTo>
                <a:lnTo>
                  <a:pt x="813902" y="1561845"/>
                </a:lnTo>
                <a:lnTo>
                  <a:pt x="810868" y="1558811"/>
                </a:lnTo>
                <a:cubicBezTo>
                  <a:pt x="823623" y="1560633"/>
                  <a:pt x="834556" y="1564278"/>
                  <a:pt x="843667" y="1556989"/>
                </a:cubicBezTo>
                <a:cubicBezTo>
                  <a:pt x="847311" y="1553345"/>
                  <a:pt x="847311" y="1547878"/>
                  <a:pt x="845489" y="1542412"/>
                </a:cubicBezTo>
                <a:lnTo>
                  <a:pt x="838620" y="1536804"/>
                </a:lnTo>
                <a:lnTo>
                  <a:pt x="843667" y="1540589"/>
                </a:lnTo>
                <a:cubicBezTo>
                  <a:pt x="845489" y="1533301"/>
                  <a:pt x="847311" y="1526012"/>
                  <a:pt x="843667" y="1518723"/>
                </a:cubicBezTo>
                <a:cubicBezTo>
                  <a:pt x="840022" y="1524190"/>
                  <a:pt x="834556" y="1526012"/>
                  <a:pt x="829089" y="1529656"/>
                </a:cubicBezTo>
                <a:lnTo>
                  <a:pt x="833662" y="1533085"/>
                </a:lnTo>
                <a:lnTo>
                  <a:pt x="822903" y="1534337"/>
                </a:lnTo>
                <a:lnTo>
                  <a:pt x="827267" y="1531478"/>
                </a:lnTo>
                <a:lnTo>
                  <a:pt x="824600" y="1530134"/>
                </a:lnTo>
                <a:lnTo>
                  <a:pt x="832734" y="1518951"/>
                </a:lnTo>
                <a:cubicBezTo>
                  <a:pt x="834100" y="1513712"/>
                  <a:pt x="833646" y="1507790"/>
                  <a:pt x="830912" y="1502324"/>
                </a:cubicBezTo>
                <a:lnTo>
                  <a:pt x="822090" y="1509208"/>
                </a:lnTo>
                <a:lnTo>
                  <a:pt x="828178" y="1500729"/>
                </a:lnTo>
                <a:cubicBezTo>
                  <a:pt x="828634" y="1497313"/>
                  <a:pt x="827267" y="1494124"/>
                  <a:pt x="823623" y="1493213"/>
                </a:cubicBezTo>
                <a:lnTo>
                  <a:pt x="825445" y="1493213"/>
                </a:lnTo>
                <a:cubicBezTo>
                  <a:pt x="825445" y="1493213"/>
                  <a:pt x="823623" y="1491391"/>
                  <a:pt x="823623" y="1491391"/>
                </a:cubicBezTo>
                <a:close/>
                <a:moveTo>
                  <a:pt x="752558" y="1491391"/>
                </a:moveTo>
                <a:cubicBezTo>
                  <a:pt x="752558" y="1495035"/>
                  <a:pt x="758025" y="1498679"/>
                  <a:pt x="761670" y="1498679"/>
                </a:cubicBezTo>
                <a:cubicBezTo>
                  <a:pt x="761670" y="1493213"/>
                  <a:pt x="756203" y="1493213"/>
                  <a:pt x="752558" y="1491391"/>
                </a:cubicBezTo>
                <a:close/>
                <a:moveTo>
                  <a:pt x="504743" y="1491391"/>
                </a:moveTo>
                <a:cubicBezTo>
                  <a:pt x="502920" y="1495035"/>
                  <a:pt x="506565" y="1500501"/>
                  <a:pt x="508387" y="1504146"/>
                </a:cubicBezTo>
                <a:cubicBezTo>
                  <a:pt x="512031" y="1500501"/>
                  <a:pt x="512031" y="1496857"/>
                  <a:pt x="515676" y="1496857"/>
                </a:cubicBezTo>
                <a:cubicBezTo>
                  <a:pt x="512031" y="1498679"/>
                  <a:pt x="508387" y="1491391"/>
                  <a:pt x="504743" y="1491391"/>
                </a:cubicBezTo>
                <a:close/>
                <a:moveTo>
                  <a:pt x="477410" y="1491391"/>
                </a:moveTo>
                <a:cubicBezTo>
                  <a:pt x="475589" y="1493213"/>
                  <a:pt x="475589" y="1495035"/>
                  <a:pt x="473766" y="1496857"/>
                </a:cubicBezTo>
                <a:cubicBezTo>
                  <a:pt x="475589" y="1498679"/>
                  <a:pt x="475589" y="1500501"/>
                  <a:pt x="477410" y="1500501"/>
                </a:cubicBezTo>
                <a:cubicBezTo>
                  <a:pt x="479232" y="1498679"/>
                  <a:pt x="479232" y="1495035"/>
                  <a:pt x="481054" y="1493213"/>
                </a:cubicBezTo>
                <a:cubicBezTo>
                  <a:pt x="481054" y="1491391"/>
                  <a:pt x="475589" y="1495035"/>
                  <a:pt x="477410" y="1496857"/>
                </a:cubicBezTo>
                <a:cubicBezTo>
                  <a:pt x="473766" y="1498679"/>
                  <a:pt x="477410" y="1495035"/>
                  <a:pt x="477410" y="1491391"/>
                </a:cubicBezTo>
                <a:close/>
                <a:moveTo>
                  <a:pt x="451899" y="1491391"/>
                </a:moveTo>
                <a:lnTo>
                  <a:pt x="451244" y="1491871"/>
                </a:lnTo>
                <a:lnTo>
                  <a:pt x="451256" y="1491819"/>
                </a:lnTo>
                <a:close/>
                <a:moveTo>
                  <a:pt x="3464156" y="1489973"/>
                </a:moveTo>
                <a:lnTo>
                  <a:pt x="3469419" y="1495035"/>
                </a:lnTo>
                <a:lnTo>
                  <a:pt x="3466869" y="1495399"/>
                </a:lnTo>
                <a:close/>
                <a:moveTo>
                  <a:pt x="3310890" y="1489568"/>
                </a:moveTo>
                <a:cubicBezTo>
                  <a:pt x="3307246" y="1493213"/>
                  <a:pt x="3312713" y="1496857"/>
                  <a:pt x="3309068" y="1500501"/>
                </a:cubicBezTo>
                <a:cubicBezTo>
                  <a:pt x="3312713" y="1500501"/>
                  <a:pt x="3310890" y="1493213"/>
                  <a:pt x="3310890" y="1489568"/>
                </a:cubicBezTo>
                <a:close/>
                <a:moveTo>
                  <a:pt x="1027707" y="1489568"/>
                </a:moveTo>
                <a:lnTo>
                  <a:pt x="1029529" y="1490443"/>
                </a:lnTo>
                <a:lnTo>
                  <a:pt x="1029529" y="1491391"/>
                </a:lnTo>
                <a:lnTo>
                  <a:pt x="1027707" y="1490495"/>
                </a:lnTo>
                <a:close/>
                <a:moveTo>
                  <a:pt x="590385" y="1489568"/>
                </a:moveTo>
                <a:cubicBezTo>
                  <a:pt x="590385" y="1493213"/>
                  <a:pt x="590385" y="1493213"/>
                  <a:pt x="586741" y="1493213"/>
                </a:cubicBezTo>
                <a:cubicBezTo>
                  <a:pt x="588562" y="1493213"/>
                  <a:pt x="586741" y="1495035"/>
                  <a:pt x="588562" y="1496857"/>
                </a:cubicBezTo>
                <a:cubicBezTo>
                  <a:pt x="588562" y="1493213"/>
                  <a:pt x="597673" y="1495035"/>
                  <a:pt x="590385" y="1489568"/>
                </a:cubicBezTo>
                <a:close/>
                <a:moveTo>
                  <a:pt x="564874" y="1489568"/>
                </a:moveTo>
                <a:cubicBezTo>
                  <a:pt x="563052" y="1496857"/>
                  <a:pt x="552119" y="1489568"/>
                  <a:pt x="552119" y="1498679"/>
                </a:cubicBezTo>
                <a:cubicBezTo>
                  <a:pt x="552119" y="1502324"/>
                  <a:pt x="555763" y="1504146"/>
                  <a:pt x="557586" y="1505968"/>
                </a:cubicBezTo>
                <a:cubicBezTo>
                  <a:pt x="561230" y="1504146"/>
                  <a:pt x="566697" y="1504146"/>
                  <a:pt x="566697" y="1498679"/>
                </a:cubicBezTo>
                <a:cubicBezTo>
                  <a:pt x="564874" y="1498679"/>
                  <a:pt x="563052" y="1498679"/>
                  <a:pt x="561230" y="1498679"/>
                </a:cubicBezTo>
                <a:cubicBezTo>
                  <a:pt x="564874" y="1496857"/>
                  <a:pt x="561230" y="1491391"/>
                  <a:pt x="564874" y="1489568"/>
                </a:cubicBezTo>
                <a:close/>
                <a:moveTo>
                  <a:pt x="552119" y="1489568"/>
                </a:moveTo>
                <a:cubicBezTo>
                  <a:pt x="548475" y="1493213"/>
                  <a:pt x="553941" y="1496857"/>
                  <a:pt x="557586" y="1493213"/>
                </a:cubicBezTo>
                <a:cubicBezTo>
                  <a:pt x="557586" y="1489568"/>
                  <a:pt x="553941" y="1493213"/>
                  <a:pt x="552119" y="1489568"/>
                </a:cubicBezTo>
                <a:close/>
                <a:moveTo>
                  <a:pt x="546653" y="1489568"/>
                </a:moveTo>
                <a:lnTo>
                  <a:pt x="546625" y="1489833"/>
                </a:lnTo>
                <a:lnTo>
                  <a:pt x="546546" y="1489843"/>
                </a:lnTo>
                <a:close/>
                <a:moveTo>
                  <a:pt x="539364" y="1489568"/>
                </a:moveTo>
                <a:cubicBezTo>
                  <a:pt x="539364" y="1493213"/>
                  <a:pt x="539364" y="1496857"/>
                  <a:pt x="543008" y="1491391"/>
                </a:cubicBezTo>
                <a:cubicBezTo>
                  <a:pt x="541186" y="1489568"/>
                  <a:pt x="539364" y="1491391"/>
                  <a:pt x="539364" y="1489568"/>
                </a:cubicBezTo>
                <a:close/>
                <a:moveTo>
                  <a:pt x="1186236" y="1487746"/>
                </a:moveTo>
                <a:cubicBezTo>
                  <a:pt x="1186236" y="1487746"/>
                  <a:pt x="1184414" y="1487746"/>
                  <a:pt x="1184414" y="1489568"/>
                </a:cubicBezTo>
                <a:cubicBezTo>
                  <a:pt x="1186236" y="1491391"/>
                  <a:pt x="1186236" y="1493213"/>
                  <a:pt x="1188058" y="1493213"/>
                </a:cubicBezTo>
                <a:cubicBezTo>
                  <a:pt x="1188058" y="1491391"/>
                  <a:pt x="1186236" y="1489568"/>
                  <a:pt x="1186236" y="1487746"/>
                </a:cubicBezTo>
                <a:close/>
                <a:moveTo>
                  <a:pt x="1029529" y="1487746"/>
                </a:moveTo>
                <a:cubicBezTo>
                  <a:pt x="1029529" y="1490479"/>
                  <a:pt x="1031351" y="1491391"/>
                  <a:pt x="1033401" y="1492074"/>
                </a:cubicBezTo>
                <a:lnTo>
                  <a:pt x="1036067" y="1493581"/>
                </a:lnTo>
                <a:lnTo>
                  <a:pt x="1029529" y="1490443"/>
                </a:lnTo>
                <a:close/>
                <a:moveTo>
                  <a:pt x="840022" y="1487746"/>
                </a:moveTo>
                <a:cubicBezTo>
                  <a:pt x="829089" y="1489568"/>
                  <a:pt x="838200" y="1498679"/>
                  <a:pt x="843667" y="1505968"/>
                </a:cubicBezTo>
                <a:cubicBezTo>
                  <a:pt x="843667" y="1507790"/>
                  <a:pt x="841845" y="1507790"/>
                  <a:pt x="841845" y="1507790"/>
                </a:cubicBezTo>
                <a:cubicBezTo>
                  <a:pt x="841845" y="1513257"/>
                  <a:pt x="850956" y="1509612"/>
                  <a:pt x="852778" y="1505968"/>
                </a:cubicBezTo>
                <a:cubicBezTo>
                  <a:pt x="850956" y="1504146"/>
                  <a:pt x="849133" y="1504146"/>
                  <a:pt x="847311" y="1502324"/>
                </a:cubicBezTo>
                <a:cubicBezTo>
                  <a:pt x="847311" y="1500501"/>
                  <a:pt x="850956" y="1502324"/>
                  <a:pt x="850956" y="1498679"/>
                </a:cubicBezTo>
                <a:cubicBezTo>
                  <a:pt x="847311" y="1493213"/>
                  <a:pt x="843667" y="1491391"/>
                  <a:pt x="840022" y="1487746"/>
                </a:cubicBezTo>
                <a:close/>
                <a:moveTo>
                  <a:pt x="697893" y="1487746"/>
                </a:moveTo>
                <a:cubicBezTo>
                  <a:pt x="694249" y="1489568"/>
                  <a:pt x="686960" y="1498679"/>
                  <a:pt x="677849" y="1505968"/>
                </a:cubicBezTo>
                <a:cubicBezTo>
                  <a:pt x="686960" y="1515079"/>
                  <a:pt x="696071" y="1505968"/>
                  <a:pt x="705182" y="1500501"/>
                </a:cubicBezTo>
                <a:cubicBezTo>
                  <a:pt x="707004" y="1498679"/>
                  <a:pt x="701537" y="1493213"/>
                  <a:pt x="697893" y="1487746"/>
                </a:cubicBezTo>
                <a:close/>
                <a:moveTo>
                  <a:pt x="544830" y="1487746"/>
                </a:moveTo>
                <a:cubicBezTo>
                  <a:pt x="543919" y="1488657"/>
                  <a:pt x="544375" y="1489568"/>
                  <a:pt x="545286" y="1490024"/>
                </a:cubicBezTo>
                <a:lnTo>
                  <a:pt x="546546" y="1489843"/>
                </a:lnTo>
                <a:lnTo>
                  <a:pt x="542780" y="1499590"/>
                </a:lnTo>
                <a:cubicBezTo>
                  <a:pt x="543008" y="1503235"/>
                  <a:pt x="543919" y="1506879"/>
                  <a:pt x="543008" y="1509612"/>
                </a:cubicBezTo>
                <a:cubicBezTo>
                  <a:pt x="543008" y="1506879"/>
                  <a:pt x="544375" y="1503690"/>
                  <a:pt x="545514" y="1500274"/>
                </a:cubicBezTo>
                <a:lnTo>
                  <a:pt x="546625" y="1489833"/>
                </a:lnTo>
                <a:lnTo>
                  <a:pt x="548475" y="1489568"/>
                </a:lnTo>
                <a:cubicBezTo>
                  <a:pt x="546653" y="1487746"/>
                  <a:pt x="546653" y="1487746"/>
                  <a:pt x="544830" y="1487746"/>
                </a:cubicBezTo>
                <a:close/>
                <a:moveTo>
                  <a:pt x="417278" y="1487746"/>
                </a:moveTo>
                <a:cubicBezTo>
                  <a:pt x="417278" y="1491391"/>
                  <a:pt x="419100" y="1495035"/>
                  <a:pt x="417278" y="1496857"/>
                </a:cubicBezTo>
                <a:cubicBezTo>
                  <a:pt x="409989" y="1500501"/>
                  <a:pt x="397234" y="1496857"/>
                  <a:pt x="395412" y="1507790"/>
                </a:cubicBezTo>
                <a:cubicBezTo>
                  <a:pt x="395412" y="1511434"/>
                  <a:pt x="400879" y="1515079"/>
                  <a:pt x="402701" y="1515079"/>
                </a:cubicBezTo>
                <a:cubicBezTo>
                  <a:pt x="409989" y="1505968"/>
                  <a:pt x="430034" y="1502324"/>
                  <a:pt x="419100" y="1489568"/>
                </a:cubicBezTo>
                <a:cubicBezTo>
                  <a:pt x="419100" y="1487746"/>
                  <a:pt x="420923" y="1489568"/>
                  <a:pt x="422745" y="1487746"/>
                </a:cubicBezTo>
                <a:cubicBezTo>
                  <a:pt x="420923" y="1487746"/>
                  <a:pt x="420923" y="1487746"/>
                  <a:pt x="417278" y="1487746"/>
                </a:cubicBezTo>
                <a:close/>
                <a:moveTo>
                  <a:pt x="415456" y="1487746"/>
                </a:moveTo>
                <a:cubicBezTo>
                  <a:pt x="411812" y="1491391"/>
                  <a:pt x="408167" y="1491391"/>
                  <a:pt x="402701" y="1495035"/>
                </a:cubicBezTo>
                <a:cubicBezTo>
                  <a:pt x="406345" y="1498679"/>
                  <a:pt x="411812" y="1495035"/>
                  <a:pt x="415456" y="1495035"/>
                </a:cubicBezTo>
                <a:cubicBezTo>
                  <a:pt x="415456" y="1491391"/>
                  <a:pt x="417278" y="1489568"/>
                  <a:pt x="415456" y="1487746"/>
                </a:cubicBezTo>
                <a:close/>
                <a:moveTo>
                  <a:pt x="832734" y="1485924"/>
                </a:moveTo>
                <a:cubicBezTo>
                  <a:pt x="836378" y="1485924"/>
                  <a:pt x="829089" y="1493213"/>
                  <a:pt x="834556" y="1491391"/>
                </a:cubicBezTo>
                <a:cubicBezTo>
                  <a:pt x="836378" y="1489568"/>
                  <a:pt x="834556" y="1485924"/>
                  <a:pt x="832734" y="1485924"/>
                </a:cubicBezTo>
                <a:close/>
                <a:moveTo>
                  <a:pt x="754380" y="1485924"/>
                </a:moveTo>
                <a:cubicBezTo>
                  <a:pt x="752558" y="1487746"/>
                  <a:pt x="752558" y="1487746"/>
                  <a:pt x="752558" y="1489568"/>
                </a:cubicBezTo>
                <a:cubicBezTo>
                  <a:pt x="754380" y="1491391"/>
                  <a:pt x="756203" y="1493213"/>
                  <a:pt x="759848" y="1491391"/>
                </a:cubicBezTo>
                <a:cubicBezTo>
                  <a:pt x="758025" y="1489568"/>
                  <a:pt x="756203" y="1487746"/>
                  <a:pt x="754380" y="1485924"/>
                </a:cubicBezTo>
                <a:close/>
                <a:moveTo>
                  <a:pt x="741626" y="1485924"/>
                </a:moveTo>
                <a:cubicBezTo>
                  <a:pt x="737981" y="1484102"/>
                  <a:pt x="734336" y="1489568"/>
                  <a:pt x="732515" y="1493213"/>
                </a:cubicBezTo>
                <a:cubicBezTo>
                  <a:pt x="737981" y="1498679"/>
                  <a:pt x="739803" y="1491391"/>
                  <a:pt x="741626" y="1485924"/>
                </a:cubicBezTo>
                <a:close/>
                <a:moveTo>
                  <a:pt x="677849" y="1485924"/>
                </a:moveTo>
                <a:cubicBezTo>
                  <a:pt x="677849" y="1489568"/>
                  <a:pt x="677849" y="1491391"/>
                  <a:pt x="677849" y="1493213"/>
                </a:cubicBezTo>
                <a:cubicBezTo>
                  <a:pt x="681493" y="1491391"/>
                  <a:pt x="683316" y="1489568"/>
                  <a:pt x="683316" y="1487746"/>
                </a:cubicBezTo>
                <a:cubicBezTo>
                  <a:pt x="681493" y="1487746"/>
                  <a:pt x="679671" y="1489568"/>
                  <a:pt x="677849" y="1485924"/>
                </a:cubicBezTo>
                <a:close/>
                <a:moveTo>
                  <a:pt x="665094" y="1485924"/>
                </a:moveTo>
                <a:lnTo>
                  <a:pt x="667119" y="1491324"/>
                </a:lnTo>
                <a:lnTo>
                  <a:pt x="666916" y="1491391"/>
                </a:lnTo>
                <a:lnTo>
                  <a:pt x="667128" y="1491347"/>
                </a:lnTo>
                <a:lnTo>
                  <a:pt x="670560" y="1500501"/>
                </a:lnTo>
                <a:cubicBezTo>
                  <a:pt x="672383" y="1498679"/>
                  <a:pt x="674205" y="1498679"/>
                  <a:pt x="676027" y="1496857"/>
                </a:cubicBezTo>
                <a:cubicBezTo>
                  <a:pt x="676027" y="1492302"/>
                  <a:pt x="675116" y="1490479"/>
                  <a:pt x="673522" y="1490024"/>
                </a:cubicBezTo>
                <a:lnTo>
                  <a:pt x="667128" y="1491347"/>
                </a:lnTo>
                <a:lnTo>
                  <a:pt x="667119" y="1491324"/>
                </a:lnTo>
                <a:lnTo>
                  <a:pt x="672383" y="1489568"/>
                </a:lnTo>
                <a:cubicBezTo>
                  <a:pt x="670560" y="1485924"/>
                  <a:pt x="666916" y="1487746"/>
                  <a:pt x="665094" y="1485924"/>
                </a:cubicBezTo>
                <a:close/>
                <a:moveTo>
                  <a:pt x="604963" y="1485924"/>
                </a:moveTo>
                <a:cubicBezTo>
                  <a:pt x="597673" y="1489568"/>
                  <a:pt x="601318" y="1495035"/>
                  <a:pt x="599496" y="1500501"/>
                </a:cubicBezTo>
                <a:cubicBezTo>
                  <a:pt x="603140" y="1498679"/>
                  <a:pt x="606784" y="1491391"/>
                  <a:pt x="604963" y="1485924"/>
                </a:cubicBezTo>
                <a:close/>
                <a:moveTo>
                  <a:pt x="491987" y="1485924"/>
                </a:moveTo>
                <a:cubicBezTo>
                  <a:pt x="486521" y="1487746"/>
                  <a:pt x="491987" y="1491391"/>
                  <a:pt x="491987" y="1493213"/>
                </a:cubicBezTo>
                <a:cubicBezTo>
                  <a:pt x="491987" y="1493213"/>
                  <a:pt x="491987" y="1491391"/>
                  <a:pt x="493809" y="1489568"/>
                </a:cubicBezTo>
                <a:cubicBezTo>
                  <a:pt x="491987" y="1489568"/>
                  <a:pt x="490165" y="1487746"/>
                  <a:pt x="491987" y="1485924"/>
                </a:cubicBezTo>
                <a:close/>
                <a:moveTo>
                  <a:pt x="444611" y="1485924"/>
                </a:moveTo>
                <a:cubicBezTo>
                  <a:pt x="442789" y="1487746"/>
                  <a:pt x="440966" y="1489568"/>
                  <a:pt x="439145" y="1493213"/>
                </a:cubicBezTo>
                <a:cubicBezTo>
                  <a:pt x="440966" y="1495035"/>
                  <a:pt x="442789" y="1495035"/>
                  <a:pt x="444611" y="1496857"/>
                </a:cubicBezTo>
                <a:cubicBezTo>
                  <a:pt x="442789" y="1493213"/>
                  <a:pt x="448256" y="1491391"/>
                  <a:pt x="448256" y="1485924"/>
                </a:cubicBezTo>
                <a:cubicBezTo>
                  <a:pt x="446433" y="1489568"/>
                  <a:pt x="446433" y="1487746"/>
                  <a:pt x="444611" y="1485924"/>
                </a:cubicBezTo>
                <a:close/>
                <a:moveTo>
                  <a:pt x="1015029" y="1484339"/>
                </a:moveTo>
                <a:lnTo>
                  <a:pt x="1016546" y="1485013"/>
                </a:lnTo>
                <a:lnTo>
                  <a:pt x="1027707" y="1490495"/>
                </a:lnTo>
                <a:lnTo>
                  <a:pt x="1027707" y="1493213"/>
                </a:lnTo>
                <a:close/>
                <a:moveTo>
                  <a:pt x="484700" y="1484102"/>
                </a:moveTo>
                <a:cubicBezTo>
                  <a:pt x="481054" y="1482280"/>
                  <a:pt x="477410" y="1489568"/>
                  <a:pt x="475589" y="1491391"/>
                </a:cubicBezTo>
                <a:cubicBezTo>
                  <a:pt x="481054" y="1493213"/>
                  <a:pt x="482876" y="1485924"/>
                  <a:pt x="484700" y="1484102"/>
                </a:cubicBezTo>
                <a:close/>
                <a:moveTo>
                  <a:pt x="556447" y="1483191"/>
                </a:moveTo>
                <a:cubicBezTo>
                  <a:pt x="554397" y="1483646"/>
                  <a:pt x="553030" y="1485013"/>
                  <a:pt x="553941" y="1487746"/>
                </a:cubicBezTo>
                <a:cubicBezTo>
                  <a:pt x="555763" y="1489568"/>
                  <a:pt x="559408" y="1485924"/>
                  <a:pt x="563052" y="1484102"/>
                </a:cubicBezTo>
                <a:cubicBezTo>
                  <a:pt x="561230" y="1483191"/>
                  <a:pt x="558498" y="1482735"/>
                  <a:pt x="556447" y="1483191"/>
                </a:cubicBezTo>
                <a:close/>
                <a:moveTo>
                  <a:pt x="3245292" y="1482280"/>
                </a:moveTo>
                <a:cubicBezTo>
                  <a:pt x="3239826" y="1480458"/>
                  <a:pt x="3236181" y="1482280"/>
                  <a:pt x="3228893" y="1484102"/>
                </a:cubicBezTo>
                <a:cubicBezTo>
                  <a:pt x="3230715" y="1495035"/>
                  <a:pt x="3236181" y="1489568"/>
                  <a:pt x="3238003" y="1491391"/>
                </a:cubicBezTo>
                <a:cubicBezTo>
                  <a:pt x="3238003" y="1487746"/>
                  <a:pt x="3238003" y="1485924"/>
                  <a:pt x="3238003" y="1484102"/>
                </a:cubicBezTo>
                <a:cubicBezTo>
                  <a:pt x="3239826" y="1485924"/>
                  <a:pt x="3241648" y="1487746"/>
                  <a:pt x="3243470" y="1487746"/>
                </a:cubicBezTo>
                <a:cubicBezTo>
                  <a:pt x="3245292" y="1485924"/>
                  <a:pt x="3245292" y="1484102"/>
                  <a:pt x="3245292" y="1482280"/>
                </a:cubicBezTo>
                <a:close/>
                <a:moveTo>
                  <a:pt x="672383" y="1482280"/>
                </a:moveTo>
                <a:cubicBezTo>
                  <a:pt x="670560" y="1484102"/>
                  <a:pt x="666916" y="1485924"/>
                  <a:pt x="672383" y="1487746"/>
                </a:cubicBezTo>
                <a:cubicBezTo>
                  <a:pt x="672383" y="1485924"/>
                  <a:pt x="672383" y="1484102"/>
                  <a:pt x="672383" y="1482280"/>
                </a:cubicBezTo>
                <a:close/>
                <a:moveTo>
                  <a:pt x="454434" y="1481739"/>
                </a:moveTo>
                <a:cubicBezTo>
                  <a:pt x="453437" y="1482565"/>
                  <a:pt x="452925" y="1484216"/>
                  <a:pt x="452583" y="1486152"/>
                </a:cubicBezTo>
                <a:lnTo>
                  <a:pt x="451256" y="1491819"/>
                </a:lnTo>
                <a:lnTo>
                  <a:pt x="446433" y="1495035"/>
                </a:lnTo>
                <a:cubicBezTo>
                  <a:pt x="447344" y="1495946"/>
                  <a:pt x="447800" y="1495035"/>
                  <a:pt x="448484" y="1493896"/>
                </a:cubicBezTo>
                <a:lnTo>
                  <a:pt x="451244" y="1491871"/>
                </a:lnTo>
                <a:lnTo>
                  <a:pt x="450231" y="1496198"/>
                </a:lnTo>
                <a:lnTo>
                  <a:pt x="448256" y="1496857"/>
                </a:lnTo>
                <a:cubicBezTo>
                  <a:pt x="450077" y="1498679"/>
                  <a:pt x="450077" y="1498679"/>
                  <a:pt x="451899" y="1498679"/>
                </a:cubicBezTo>
                <a:lnTo>
                  <a:pt x="442884" y="1500405"/>
                </a:lnTo>
                <a:lnTo>
                  <a:pt x="444611" y="1498679"/>
                </a:lnTo>
                <a:cubicBezTo>
                  <a:pt x="442789" y="1496857"/>
                  <a:pt x="440966" y="1496857"/>
                  <a:pt x="439145" y="1495035"/>
                </a:cubicBezTo>
                <a:cubicBezTo>
                  <a:pt x="437322" y="1498679"/>
                  <a:pt x="435500" y="1502324"/>
                  <a:pt x="431856" y="1502324"/>
                </a:cubicBezTo>
                <a:cubicBezTo>
                  <a:pt x="430944" y="1503235"/>
                  <a:pt x="431400" y="1504601"/>
                  <a:pt x="432311" y="1505740"/>
                </a:cubicBezTo>
                <a:lnTo>
                  <a:pt x="434468" y="1507127"/>
                </a:lnTo>
                <a:lnTo>
                  <a:pt x="431856" y="1509612"/>
                </a:lnTo>
                <a:cubicBezTo>
                  <a:pt x="431856" y="1513257"/>
                  <a:pt x="433678" y="1516901"/>
                  <a:pt x="435500" y="1520545"/>
                </a:cubicBezTo>
                <a:cubicBezTo>
                  <a:pt x="440966" y="1524190"/>
                  <a:pt x="446433" y="1522368"/>
                  <a:pt x="450077" y="1515079"/>
                </a:cubicBezTo>
                <a:cubicBezTo>
                  <a:pt x="448256" y="1513257"/>
                  <a:pt x="448256" y="1511434"/>
                  <a:pt x="444611" y="1511434"/>
                </a:cubicBezTo>
                <a:cubicBezTo>
                  <a:pt x="450077" y="1513257"/>
                  <a:pt x="459188" y="1511434"/>
                  <a:pt x="457367" y="1507790"/>
                </a:cubicBezTo>
                <a:cubicBezTo>
                  <a:pt x="457367" y="1504146"/>
                  <a:pt x="455544" y="1502324"/>
                  <a:pt x="453722" y="1500501"/>
                </a:cubicBezTo>
                <a:cubicBezTo>
                  <a:pt x="453722" y="1500501"/>
                  <a:pt x="455544" y="1500501"/>
                  <a:pt x="455544" y="1500501"/>
                </a:cubicBezTo>
                <a:cubicBezTo>
                  <a:pt x="457367" y="1498679"/>
                  <a:pt x="453722" y="1496857"/>
                  <a:pt x="453722" y="1495035"/>
                </a:cubicBezTo>
                <a:lnTo>
                  <a:pt x="452212" y="1495538"/>
                </a:lnTo>
                <a:lnTo>
                  <a:pt x="457821" y="1492074"/>
                </a:lnTo>
                <a:cubicBezTo>
                  <a:pt x="459643" y="1489112"/>
                  <a:pt x="460099" y="1485924"/>
                  <a:pt x="457367" y="1485924"/>
                </a:cubicBezTo>
                <a:cubicBezTo>
                  <a:pt x="457367" y="1485924"/>
                  <a:pt x="459188" y="1484102"/>
                  <a:pt x="459188" y="1482280"/>
                </a:cubicBezTo>
                <a:cubicBezTo>
                  <a:pt x="456910" y="1480914"/>
                  <a:pt x="455430" y="1480914"/>
                  <a:pt x="454434" y="1481739"/>
                </a:cubicBezTo>
                <a:close/>
                <a:moveTo>
                  <a:pt x="866946" y="1481406"/>
                </a:moveTo>
                <a:lnTo>
                  <a:pt x="853916" y="1486379"/>
                </a:lnTo>
                <a:lnTo>
                  <a:pt x="846205" y="1485773"/>
                </a:lnTo>
                <a:close/>
                <a:moveTo>
                  <a:pt x="841120" y="1480830"/>
                </a:moveTo>
                <a:lnTo>
                  <a:pt x="841845" y="1482280"/>
                </a:lnTo>
                <a:lnTo>
                  <a:pt x="840598" y="1480854"/>
                </a:lnTo>
                <a:close/>
                <a:moveTo>
                  <a:pt x="3265336" y="1480458"/>
                </a:moveTo>
                <a:cubicBezTo>
                  <a:pt x="3272625" y="1491391"/>
                  <a:pt x="3248937" y="1513257"/>
                  <a:pt x="3268980" y="1509612"/>
                </a:cubicBezTo>
                <a:cubicBezTo>
                  <a:pt x="3272625" y="1507790"/>
                  <a:pt x="3268980" y="1500501"/>
                  <a:pt x="3268980" y="1493213"/>
                </a:cubicBezTo>
                <a:cubicBezTo>
                  <a:pt x="3272625" y="1504146"/>
                  <a:pt x="3272625" y="1516901"/>
                  <a:pt x="3278091" y="1527834"/>
                </a:cubicBezTo>
                <a:cubicBezTo>
                  <a:pt x="3279913" y="1520545"/>
                  <a:pt x="3283558" y="1516901"/>
                  <a:pt x="3281736" y="1509612"/>
                </a:cubicBezTo>
                <a:cubicBezTo>
                  <a:pt x="3287202" y="1511434"/>
                  <a:pt x="3287202" y="1516901"/>
                  <a:pt x="3287202" y="1520545"/>
                </a:cubicBezTo>
                <a:cubicBezTo>
                  <a:pt x="3285380" y="1520545"/>
                  <a:pt x="3285380" y="1518723"/>
                  <a:pt x="3283558" y="1518723"/>
                </a:cubicBezTo>
                <a:cubicBezTo>
                  <a:pt x="3281736" y="1522368"/>
                  <a:pt x="3287202" y="1524190"/>
                  <a:pt x="3285380" y="1526012"/>
                </a:cubicBezTo>
                <a:cubicBezTo>
                  <a:pt x="3289024" y="1524190"/>
                  <a:pt x="3292669" y="1522368"/>
                  <a:pt x="3294491" y="1518723"/>
                </a:cubicBezTo>
                <a:cubicBezTo>
                  <a:pt x="3294491" y="1504146"/>
                  <a:pt x="3289024" y="1502324"/>
                  <a:pt x="3287202" y="1493213"/>
                </a:cubicBezTo>
                <a:cubicBezTo>
                  <a:pt x="3287202" y="1495035"/>
                  <a:pt x="3287202" y="1496857"/>
                  <a:pt x="3287202" y="1498679"/>
                </a:cubicBezTo>
                <a:cubicBezTo>
                  <a:pt x="3281736" y="1487746"/>
                  <a:pt x="3279913" y="1478635"/>
                  <a:pt x="3265336" y="1480458"/>
                </a:cubicBezTo>
                <a:close/>
                <a:moveTo>
                  <a:pt x="3059430" y="1480458"/>
                </a:moveTo>
                <a:cubicBezTo>
                  <a:pt x="3063075" y="1480458"/>
                  <a:pt x="3063075" y="1491391"/>
                  <a:pt x="3070363" y="1487746"/>
                </a:cubicBezTo>
                <a:lnTo>
                  <a:pt x="3072186" y="1482280"/>
                </a:lnTo>
                <a:lnTo>
                  <a:pt x="3072869" y="1485013"/>
                </a:lnTo>
                <a:lnTo>
                  <a:pt x="3068574" y="1494960"/>
                </a:lnTo>
                <a:close/>
                <a:moveTo>
                  <a:pt x="1171658" y="1480458"/>
                </a:moveTo>
                <a:lnTo>
                  <a:pt x="1172499" y="1485504"/>
                </a:lnTo>
                <a:lnTo>
                  <a:pt x="1171658" y="1487746"/>
                </a:lnTo>
                <a:lnTo>
                  <a:pt x="1173036" y="1488731"/>
                </a:lnTo>
                <a:lnTo>
                  <a:pt x="1173481" y="1491391"/>
                </a:lnTo>
                <a:cubicBezTo>
                  <a:pt x="1174391" y="1490479"/>
                  <a:pt x="1173937" y="1489568"/>
                  <a:pt x="1173253" y="1488885"/>
                </a:cubicBezTo>
                <a:lnTo>
                  <a:pt x="1173036" y="1488731"/>
                </a:lnTo>
                <a:lnTo>
                  <a:pt x="1172499" y="1485504"/>
                </a:lnTo>
                <a:lnTo>
                  <a:pt x="1173025" y="1484102"/>
                </a:lnTo>
                <a:cubicBezTo>
                  <a:pt x="1172569" y="1482735"/>
                  <a:pt x="1171658" y="1481369"/>
                  <a:pt x="1171658" y="1480458"/>
                </a:cubicBezTo>
                <a:close/>
                <a:moveTo>
                  <a:pt x="1009485" y="1480458"/>
                </a:moveTo>
                <a:lnTo>
                  <a:pt x="1015029" y="1484339"/>
                </a:lnTo>
                <a:lnTo>
                  <a:pt x="1009485" y="1481875"/>
                </a:lnTo>
                <a:close/>
                <a:moveTo>
                  <a:pt x="572163" y="1480458"/>
                </a:moveTo>
                <a:cubicBezTo>
                  <a:pt x="568519" y="1478635"/>
                  <a:pt x="561230" y="1485924"/>
                  <a:pt x="563052" y="1489568"/>
                </a:cubicBezTo>
                <a:cubicBezTo>
                  <a:pt x="568519" y="1489568"/>
                  <a:pt x="572163" y="1484102"/>
                  <a:pt x="572163" y="1480458"/>
                </a:cubicBezTo>
                <a:close/>
                <a:moveTo>
                  <a:pt x="513853" y="1480458"/>
                </a:moveTo>
                <a:cubicBezTo>
                  <a:pt x="517498" y="1485924"/>
                  <a:pt x="515676" y="1491391"/>
                  <a:pt x="517498" y="1495035"/>
                </a:cubicBezTo>
                <a:cubicBezTo>
                  <a:pt x="521142" y="1489568"/>
                  <a:pt x="515676" y="1484102"/>
                  <a:pt x="515676" y="1480458"/>
                </a:cubicBezTo>
                <a:cubicBezTo>
                  <a:pt x="515676" y="1478635"/>
                  <a:pt x="513853" y="1480458"/>
                  <a:pt x="513853" y="1480458"/>
                </a:cubicBezTo>
                <a:close/>
                <a:moveTo>
                  <a:pt x="504743" y="1480458"/>
                </a:moveTo>
                <a:cubicBezTo>
                  <a:pt x="502920" y="1484102"/>
                  <a:pt x="501098" y="1485924"/>
                  <a:pt x="506565" y="1482280"/>
                </a:cubicBezTo>
                <a:cubicBezTo>
                  <a:pt x="506565" y="1482280"/>
                  <a:pt x="504743" y="1480458"/>
                  <a:pt x="504743" y="1480458"/>
                </a:cubicBezTo>
                <a:close/>
                <a:moveTo>
                  <a:pt x="444611" y="1480458"/>
                </a:moveTo>
                <a:cubicBezTo>
                  <a:pt x="440966" y="1478635"/>
                  <a:pt x="440966" y="1484102"/>
                  <a:pt x="437322" y="1485924"/>
                </a:cubicBezTo>
                <a:cubicBezTo>
                  <a:pt x="439145" y="1487746"/>
                  <a:pt x="442789" y="1484102"/>
                  <a:pt x="444611" y="1484102"/>
                </a:cubicBezTo>
                <a:cubicBezTo>
                  <a:pt x="440966" y="1480458"/>
                  <a:pt x="442789" y="1484102"/>
                  <a:pt x="444611" y="1480458"/>
                </a:cubicBezTo>
                <a:close/>
                <a:moveTo>
                  <a:pt x="431173" y="1480230"/>
                </a:moveTo>
                <a:cubicBezTo>
                  <a:pt x="429123" y="1480002"/>
                  <a:pt x="427300" y="1480458"/>
                  <a:pt x="426389" y="1482280"/>
                </a:cubicBezTo>
                <a:cubicBezTo>
                  <a:pt x="424567" y="1482280"/>
                  <a:pt x="422745" y="1484102"/>
                  <a:pt x="422745" y="1485924"/>
                </a:cubicBezTo>
                <a:cubicBezTo>
                  <a:pt x="428211" y="1489568"/>
                  <a:pt x="431856" y="1482280"/>
                  <a:pt x="437322" y="1482280"/>
                </a:cubicBezTo>
                <a:cubicBezTo>
                  <a:pt x="435500" y="1481369"/>
                  <a:pt x="433223" y="1480458"/>
                  <a:pt x="431173" y="1480230"/>
                </a:cubicBezTo>
                <a:close/>
                <a:moveTo>
                  <a:pt x="873802" y="1478790"/>
                </a:moveTo>
                <a:lnTo>
                  <a:pt x="876986" y="1479293"/>
                </a:lnTo>
                <a:lnTo>
                  <a:pt x="866946" y="1481406"/>
                </a:lnTo>
                <a:close/>
                <a:moveTo>
                  <a:pt x="3301780" y="1478635"/>
                </a:moveTo>
                <a:cubicBezTo>
                  <a:pt x="3296313" y="1480458"/>
                  <a:pt x="3301780" y="1484102"/>
                  <a:pt x="3303602" y="1489568"/>
                </a:cubicBezTo>
                <a:cubicBezTo>
                  <a:pt x="3305424" y="1487746"/>
                  <a:pt x="3303602" y="1480458"/>
                  <a:pt x="3301780" y="1478635"/>
                </a:cubicBezTo>
                <a:close/>
                <a:moveTo>
                  <a:pt x="1211747" y="1478635"/>
                </a:moveTo>
                <a:cubicBezTo>
                  <a:pt x="1208102" y="1482280"/>
                  <a:pt x="1213568" y="1485924"/>
                  <a:pt x="1209925" y="1489568"/>
                </a:cubicBezTo>
                <a:cubicBezTo>
                  <a:pt x="1211747" y="1489568"/>
                  <a:pt x="1215390" y="1484102"/>
                  <a:pt x="1215390" y="1482280"/>
                </a:cubicBezTo>
                <a:cubicBezTo>
                  <a:pt x="1213568" y="1480458"/>
                  <a:pt x="1213568" y="1480458"/>
                  <a:pt x="1211747" y="1478635"/>
                </a:cubicBezTo>
                <a:close/>
                <a:moveTo>
                  <a:pt x="1002196" y="1478635"/>
                </a:moveTo>
                <a:lnTo>
                  <a:pt x="1009485" y="1481875"/>
                </a:lnTo>
                <a:lnTo>
                  <a:pt x="1009485" y="1484102"/>
                </a:lnTo>
                <a:cubicBezTo>
                  <a:pt x="1007663" y="1482280"/>
                  <a:pt x="1005840" y="1478635"/>
                  <a:pt x="1002196" y="1478635"/>
                </a:cubicBezTo>
                <a:close/>
                <a:moveTo>
                  <a:pt x="880111" y="1478635"/>
                </a:moveTo>
                <a:cubicBezTo>
                  <a:pt x="880111" y="1481369"/>
                  <a:pt x="878743" y="1480457"/>
                  <a:pt x="877149" y="1479319"/>
                </a:cubicBezTo>
                <a:lnTo>
                  <a:pt x="876986" y="1479293"/>
                </a:lnTo>
                <a:close/>
                <a:moveTo>
                  <a:pt x="643228" y="1478635"/>
                </a:moveTo>
                <a:cubicBezTo>
                  <a:pt x="639583" y="1485924"/>
                  <a:pt x="641407" y="1493213"/>
                  <a:pt x="639583" y="1502324"/>
                </a:cubicBezTo>
                <a:cubicBezTo>
                  <a:pt x="641407" y="1505968"/>
                  <a:pt x="639583" y="1507790"/>
                  <a:pt x="639583" y="1509612"/>
                </a:cubicBezTo>
                <a:cubicBezTo>
                  <a:pt x="643228" y="1505968"/>
                  <a:pt x="645050" y="1500501"/>
                  <a:pt x="648694" y="1496857"/>
                </a:cubicBezTo>
                <a:cubicBezTo>
                  <a:pt x="646872" y="1496857"/>
                  <a:pt x="643228" y="1500501"/>
                  <a:pt x="639583" y="1502324"/>
                </a:cubicBezTo>
                <a:cubicBezTo>
                  <a:pt x="645050" y="1498679"/>
                  <a:pt x="650516" y="1495035"/>
                  <a:pt x="652339" y="1491391"/>
                </a:cubicBezTo>
                <a:cubicBezTo>
                  <a:pt x="650516" y="1487746"/>
                  <a:pt x="648694" y="1485924"/>
                  <a:pt x="645050" y="1485924"/>
                </a:cubicBezTo>
                <a:cubicBezTo>
                  <a:pt x="645050" y="1482280"/>
                  <a:pt x="645050" y="1480458"/>
                  <a:pt x="643228" y="1478635"/>
                </a:cubicBezTo>
                <a:close/>
                <a:moveTo>
                  <a:pt x="884372" y="1477802"/>
                </a:moveTo>
                <a:lnTo>
                  <a:pt x="872822" y="1484102"/>
                </a:lnTo>
                <a:cubicBezTo>
                  <a:pt x="874644" y="1482280"/>
                  <a:pt x="878288" y="1480458"/>
                  <a:pt x="880111" y="1478635"/>
                </a:cubicBezTo>
                <a:cubicBezTo>
                  <a:pt x="881933" y="1478635"/>
                  <a:pt x="881933" y="1478635"/>
                  <a:pt x="881933" y="1478635"/>
                </a:cubicBezTo>
                <a:close/>
                <a:moveTo>
                  <a:pt x="3309068" y="1476813"/>
                </a:moveTo>
                <a:cubicBezTo>
                  <a:pt x="3314535" y="1484102"/>
                  <a:pt x="3320001" y="1502324"/>
                  <a:pt x="3323646" y="1495035"/>
                </a:cubicBezTo>
                <a:cubicBezTo>
                  <a:pt x="3327290" y="1493213"/>
                  <a:pt x="3325468" y="1485924"/>
                  <a:pt x="3323646" y="1480458"/>
                </a:cubicBezTo>
                <a:cubicBezTo>
                  <a:pt x="3316357" y="1484102"/>
                  <a:pt x="3314535" y="1476813"/>
                  <a:pt x="3309068" y="1476813"/>
                </a:cubicBezTo>
                <a:close/>
                <a:moveTo>
                  <a:pt x="3068541" y="1476813"/>
                </a:moveTo>
                <a:lnTo>
                  <a:pt x="3071144" y="1478114"/>
                </a:lnTo>
                <a:lnTo>
                  <a:pt x="3072186" y="1482280"/>
                </a:lnTo>
                <a:close/>
                <a:moveTo>
                  <a:pt x="821801" y="1476813"/>
                </a:moveTo>
                <a:cubicBezTo>
                  <a:pt x="814512" y="1478635"/>
                  <a:pt x="818156" y="1484102"/>
                  <a:pt x="819979" y="1487746"/>
                </a:cubicBezTo>
                <a:cubicBezTo>
                  <a:pt x="818156" y="1487746"/>
                  <a:pt x="818156" y="1485924"/>
                  <a:pt x="816334" y="1484102"/>
                </a:cubicBezTo>
                <a:cubicBezTo>
                  <a:pt x="810868" y="1484102"/>
                  <a:pt x="814512" y="1491391"/>
                  <a:pt x="810868" y="1493213"/>
                </a:cubicBezTo>
                <a:cubicBezTo>
                  <a:pt x="816334" y="1495035"/>
                  <a:pt x="819979" y="1495035"/>
                  <a:pt x="821801" y="1491391"/>
                </a:cubicBezTo>
                <a:cubicBezTo>
                  <a:pt x="819979" y="1487746"/>
                  <a:pt x="827267" y="1484102"/>
                  <a:pt x="821801" y="1476813"/>
                </a:cubicBezTo>
                <a:close/>
                <a:moveTo>
                  <a:pt x="705182" y="1476813"/>
                </a:moveTo>
                <a:cubicBezTo>
                  <a:pt x="704271" y="1477724"/>
                  <a:pt x="703815" y="1478635"/>
                  <a:pt x="703360" y="1478863"/>
                </a:cubicBezTo>
                <a:lnTo>
                  <a:pt x="702805" y="1478240"/>
                </a:lnTo>
                <a:close/>
                <a:moveTo>
                  <a:pt x="590385" y="1476813"/>
                </a:moveTo>
                <a:cubicBezTo>
                  <a:pt x="590385" y="1480458"/>
                  <a:pt x="588562" y="1484102"/>
                  <a:pt x="588562" y="1489568"/>
                </a:cubicBezTo>
                <a:cubicBezTo>
                  <a:pt x="588562" y="1489568"/>
                  <a:pt x="590385" y="1487746"/>
                  <a:pt x="590385" y="1487746"/>
                </a:cubicBezTo>
                <a:cubicBezTo>
                  <a:pt x="592207" y="1484102"/>
                  <a:pt x="592207" y="1480458"/>
                  <a:pt x="590385" y="1476813"/>
                </a:cubicBezTo>
                <a:close/>
                <a:moveTo>
                  <a:pt x="526381" y="1476358"/>
                </a:moveTo>
                <a:cubicBezTo>
                  <a:pt x="524331" y="1476358"/>
                  <a:pt x="522054" y="1477725"/>
                  <a:pt x="521142" y="1480458"/>
                </a:cubicBezTo>
                <a:cubicBezTo>
                  <a:pt x="521142" y="1480458"/>
                  <a:pt x="519320" y="1480458"/>
                  <a:pt x="517498" y="1478635"/>
                </a:cubicBezTo>
                <a:cubicBezTo>
                  <a:pt x="517498" y="1484102"/>
                  <a:pt x="521142" y="1489568"/>
                  <a:pt x="521142" y="1493213"/>
                </a:cubicBezTo>
                <a:cubicBezTo>
                  <a:pt x="522964" y="1493213"/>
                  <a:pt x="524786" y="1493213"/>
                  <a:pt x="526609" y="1491391"/>
                </a:cubicBezTo>
                <a:cubicBezTo>
                  <a:pt x="524786" y="1491391"/>
                  <a:pt x="526609" y="1487746"/>
                  <a:pt x="524786" y="1484102"/>
                </a:cubicBezTo>
                <a:cubicBezTo>
                  <a:pt x="526609" y="1482280"/>
                  <a:pt x="526609" y="1485924"/>
                  <a:pt x="528431" y="1487746"/>
                </a:cubicBezTo>
                <a:cubicBezTo>
                  <a:pt x="532075" y="1484102"/>
                  <a:pt x="526609" y="1484102"/>
                  <a:pt x="524786" y="1480458"/>
                </a:cubicBezTo>
                <a:cubicBezTo>
                  <a:pt x="526609" y="1476813"/>
                  <a:pt x="528431" y="1482280"/>
                  <a:pt x="530253" y="1480458"/>
                </a:cubicBezTo>
                <a:cubicBezTo>
                  <a:pt x="530253" y="1477725"/>
                  <a:pt x="528431" y="1476358"/>
                  <a:pt x="526381" y="1476358"/>
                </a:cubicBezTo>
                <a:close/>
                <a:moveTo>
                  <a:pt x="379468" y="1475902"/>
                </a:moveTo>
                <a:lnTo>
                  <a:pt x="382667" y="1476251"/>
                </a:lnTo>
                <a:lnTo>
                  <a:pt x="382429" y="1476358"/>
                </a:lnTo>
                <a:lnTo>
                  <a:pt x="370697" y="1478491"/>
                </a:lnTo>
                <a:close/>
                <a:moveTo>
                  <a:pt x="768957" y="1475047"/>
                </a:moveTo>
                <a:cubicBezTo>
                  <a:pt x="768957" y="1478692"/>
                  <a:pt x="772602" y="1480514"/>
                  <a:pt x="776246" y="1482336"/>
                </a:cubicBezTo>
                <a:cubicBezTo>
                  <a:pt x="778068" y="1482336"/>
                  <a:pt x="778068" y="1482336"/>
                  <a:pt x="778068" y="1482336"/>
                </a:cubicBezTo>
                <a:cubicBezTo>
                  <a:pt x="778068" y="1485980"/>
                  <a:pt x="779890" y="1489625"/>
                  <a:pt x="781712" y="1493269"/>
                </a:cubicBezTo>
                <a:cubicBezTo>
                  <a:pt x="779890" y="1491447"/>
                  <a:pt x="778068" y="1491447"/>
                  <a:pt x="776246" y="1489625"/>
                </a:cubicBezTo>
                <a:cubicBezTo>
                  <a:pt x="774424" y="1487803"/>
                  <a:pt x="776246" y="1484158"/>
                  <a:pt x="772602" y="1482336"/>
                </a:cubicBezTo>
                <a:cubicBezTo>
                  <a:pt x="768957" y="1484158"/>
                  <a:pt x="772602" y="1491447"/>
                  <a:pt x="768957" y="1493269"/>
                </a:cubicBezTo>
                <a:cubicBezTo>
                  <a:pt x="768957" y="1487803"/>
                  <a:pt x="770779" y="1480514"/>
                  <a:pt x="768957" y="1475047"/>
                </a:cubicBezTo>
                <a:close/>
                <a:moveTo>
                  <a:pt x="3372844" y="1474991"/>
                </a:moveTo>
                <a:cubicBezTo>
                  <a:pt x="3371022" y="1482280"/>
                  <a:pt x="3372844" y="1491391"/>
                  <a:pt x="3376489" y="1493213"/>
                </a:cubicBezTo>
                <a:cubicBezTo>
                  <a:pt x="3378311" y="1487746"/>
                  <a:pt x="3372844" y="1484102"/>
                  <a:pt x="3372844" y="1474991"/>
                </a:cubicBezTo>
                <a:close/>
                <a:moveTo>
                  <a:pt x="3070363" y="1474991"/>
                </a:moveTo>
                <a:cubicBezTo>
                  <a:pt x="3070363" y="1476813"/>
                  <a:pt x="3070363" y="1476813"/>
                  <a:pt x="3072186" y="1478635"/>
                </a:cubicBezTo>
                <a:lnTo>
                  <a:pt x="3071144" y="1478114"/>
                </a:lnTo>
                <a:close/>
                <a:moveTo>
                  <a:pt x="1193525" y="1474991"/>
                </a:moveTo>
                <a:cubicBezTo>
                  <a:pt x="1195346" y="1476813"/>
                  <a:pt x="1195346" y="1474991"/>
                  <a:pt x="1197169" y="1476813"/>
                </a:cubicBezTo>
                <a:lnTo>
                  <a:pt x="1196837" y="1476813"/>
                </a:lnTo>
                <a:close/>
                <a:moveTo>
                  <a:pt x="883755" y="1474991"/>
                </a:moveTo>
                <a:lnTo>
                  <a:pt x="873802" y="1478790"/>
                </a:lnTo>
                <a:lnTo>
                  <a:pt x="872822" y="1478635"/>
                </a:lnTo>
                <a:cubicBezTo>
                  <a:pt x="878288" y="1474991"/>
                  <a:pt x="880111" y="1474991"/>
                  <a:pt x="883755" y="1474991"/>
                </a:cubicBezTo>
                <a:close/>
                <a:moveTo>
                  <a:pt x="825445" y="1474991"/>
                </a:moveTo>
                <a:cubicBezTo>
                  <a:pt x="825445" y="1480458"/>
                  <a:pt x="829089" y="1484102"/>
                  <a:pt x="829089" y="1487746"/>
                </a:cubicBezTo>
                <a:cubicBezTo>
                  <a:pt x="834556" y="1485924"/>
                  <a:pt x="829089" y="1478635"/>
                  <a:pt x="825445" y="1474991"/>
                </a:cubicBezTo>
                <a:close/>
                <a:moveTo>
                  <a:pt x="677849" y="1474991"/>
                </a:moveTo>
                <a:cubicBezTo>
                  <a:pt x="679671" y="1476813"/>
                  <a:pt x="677849" y="1480002"/>
                  <a:pt x="677166" y="1482507"/>
                </a:cubicBezTo>
                <a:lnTo>
                  <a:pt x="679121" y="1483594"/>
                </a:lnTo>
                <a:lnTo>
                  <a:pt x="677849" y="1484102"/>
                </a:lnTo>
                <a:cubicBezTo>
                  <a:pt x="681493" y="1485924"/>
                  <a:pt x="685138" y="1484102"/>
                  <a:pt x="683316" y="1485924"/>
                </a:cubicBezTo>
                <a:lnTo>
                  <a:pt x="679121" y="1483594"/>
                </a:lnTo>
                <a:lnTo>
                  <a:pt x="686960" y="1480458"/>
                </a:lnTo>
                <a:cubicBezTo>
                  <a:pt x="686960" y="1474991"/>
                  <a:pt x="681493" y="1473169"/>
                  <a:pt x="677849" y="1474991"/>
                </a:cubicBezTo>
                <a:close/>
                <a:moveTo>
                  <a:pt x="572163" y="1474991"/>
                </a:moveTo>
                <a:cubicBezTo>
                  <a:pt x="570341" y="1473169"/>
                  <a:pt x="566697" y="1476813"/>
                  <a:pt x="568519" y="1478635"/>
                </a:cubicBezTo>
                <a:cubicBezTo>
                  <a:pt x="570341" y="1476813"/>
                  <a:pt x="570341" y="1476813"/>
                  <a:pt x="572163" y="1474991"/>
                </a:cubicBezTo>
                <a:close/>
                <a:moveTo>
                  <a:pt x="568519" y="1474991"/>
                </a:moveTo>
                <a:cubicBezTo>
                  <a:pt x="564874" y="1473169"/>
                  <a:pt x="563052" y="1478635"/>
                  <a:pt x="559408" y="1480458"/>
                </a:cubicBezTo>
                <a:cubicBezTo>
                  <a:pt x="561230" y="1482280"/>
                  <a:pt x="564874" y="1478635"/>
                  <a:pt x="568519" y="1474991"/>
                </a:cubicBezTo>
                <a:close/>
                <a:moveTo>
                  <a:pt x="3330376" y="1474578"/>
                </a:moveTo>
                <a:lnTo>
                  <a:pt x="3331162" y="1476586"/>
                </a:lnTo>
                <a:lnTo>
                  <a:pt x="3329637" y="1479467"/>
                </a:lnTo>
                <a:lnTo>
                  <a:pt x="3329340" y="1478408"/>
                </a:lnTo>
                <a:cubicBezTo>
                  <a:pt x="3328999" y="1477383"/>
                  <a:pt x="3328942" y="1476301"/>
                  <a:pt x="3329654" y="1475133"/>
                </a:cubicBezTo>
                <a:close/>
                <a:moveTo>
                  <a:pt x="584919" y="1473169"/>
                </a:moveTo>
                <a:cubicBezTo>
                  <a:pt x="579452" y="1474991"/>
                  <a:pt x="575808" y="1485924"/>
                  <a:pt x="573985" y="1491391"/>
                </a:cubicBezTo>
                <a:cubicBezTo>
                  <a:pt x="575808" y="1496857"/>
                  <a:pt x="579452" y="1489568"/>
                  <a:pt x="581274" y="1493213"/>
                </a:cubicBezTo>
                <a:cubicBezTo>
                  <a:pt x="584919" y="1487746"/>
                  <a:pt x="583096" y="1480458"/>
                  <a:pt x="584919" y="1473169"/>
                </a:cubicBezTo>
                <a:close/>
                <a:moveTo>
                  <a:pt x="491987" y="1473169"/>
                </a:moveTo>
                <a:cubicBezTo>
                  <a:pt x="488343" y="1473169"/>
                  <a:pt x="484700" y="1478635"/>
                  <a:pt x="481054" y="1484102"/>
                </a:cubicBezTo>
                <a:cubicBezTo>
                  <a:pt x="484700" y="1484102"/>
                  <a:pt x="486521" y="1480458"/>
                  <a:pt x="490165" y="1480458"/>
                </a:cubicBezTo>
                <a:cubicBezTo>
                  <a:pt x="491987" y="1478635"/>
                  <a:pt x="490165" y="1474991"/>
                  <a:pt x="491987" y="1473169"/>
                </a:cubicBezTo>
                <a:close/>
                <a:moveTo>
                  <a:pt x="1213568" y="1471347"/>
                </a:moveTo>
                <a:lnTo>
                  <a:pt x="1214769" y="1472947"/>
                </a:lnTo>
                <a:lnTo>
                  <a:pt x="1214707" y="1472941"/>
                </a:lnTo>
                <a:cubicBezTo>
                  <a:pt x="1214023" y="1473169"/>
                  <a:pt x="1213568" y="1473169"/>
                  <a:pt x="1213568" y="1471347"/>
                </a:cubicBezTo>
                <a:close/>
                <a:moveTo>
                  <a:pt x="692426" y="1471347"/>
                </a:moveTo>
                <a:cubicBezTo>
                  <a:pt x="690604" y="1473169"/>
                  <a:pt x="692426" y="1476813"/>
                  <a:pt x="696071" y="1473169"/>
                </a:cubicBezTo>
                <a:cubicBezTo>
                  <a:pt x="694249" y="1471347"/>
                  <a:pt x="694249" y="1473169"/>
                  <a:pt x="692426" y="1471347"/>
                </a:cubicBezTo>
                <a:close/>
                <a:moveTo>
                  <a:pt x="645050" y="1471347"/>
                </a:moveTo>
                <a:cubicBezTo>
                  <a:pt x="641407" y="1476813"/>
                  <a:pt x="650516" y="1484102"/>
                  <a:pt x="652339" y="1487746"/>
                </a:cubicBezTo>
                <a:cubicBezTo>
                  <a:pt x="657805" y="1484102"/>
                  <a:pt x="661449" y="1480458"/>
                  <a:pt x="661449" y="1476813"/>
                </a:cubicBezTo>
                <a:cubicBezTo>
                  <a:pt x="655983" y="1473169"/>
                  <a:pt x="650516" y="1473169"/>
                  <a:pt x="645050" y="1471347"/>
                </a:cubicBezTo>
                <a:close/>
                <a:moveTo>
                  <a:pt x="834556" y="1469525"/>
                </a:moveTo>
                <a:cubicBezTo>
                  <a:pt x="834556" y="1471347"/>
                  <a:pt x="838200" y="1474991"/>
                  <a:pt x="840022" y="1471347"/>
                </a:cubicBezTo>
                <a:cubicBezTo>
                  <a:pt x="838200" y="1469525"/>
                  <a:pt x="836378" y="1469525"/>
                  <a:pt x="834556" y="1469525"/>
                </a:cubicBezTo>
                <a:close/>
                <a:moveTo>
                  <a:pt x="471943" y="1469525"/>
                </a:moveTo>
                <a:cubicBezTo>
                  <a:pt x="459188" y="1474991"/>
                  <a:pt x="464655" y="1487746"/>
                  <a:pt x="459188" y="1495035"/>
                </a:cubicBezTo>
                <a:cubicBezTo>
                  <a:pt x="459188" y="1498679"/>
                  <a:pt x="462832" y="1504146"/>
                  <a:pt x="466478" y="1504146"/>
                </a:cubicBezTo>
                <a:cubicBezTo>
                  <a:pt x="468299" y="1500501"/>
                  <a:pt x="468299" y="1495035"/>
                  <a:pt x="464655" y="1491391"/>
                </a:cubicBezTo>
                <a:cubicBezTo>
                  <a:pt x="464655" y="1491391"/>
                  <a:pt x="466478" y="1493213"/>
                  <a:pt x="466478" y="1493213"/>
                </a:cubicBezTo>
                <a:cubicBezTo>
                  <a:pt x="468299" y="1489568"/>
                  <a:pt x="464655" y="1489568"/>
                  <a:pt x="464655" y="1482280"/>
                </a:cubicBezTo>
                <a:cubicBezTo>
                  <a:pt x="466478" y="1482280"/>
                  <a:pt x="466478" y="1485924"/>
                  <a:pt x="468299" y="1485924"/>
                </a:cubicBezTo>
                <a:cubicBezTo>
                  <a:pt x="470121" y="1480458"/>
                  <a:pt x="473766" y="1474991"/>
                  <a:pt x="471943" y="1469525"/>
                </a:cubicBezTo>
                <a:close/>
                <a:moveTo>
                  <a:pt x="1184414" y="1467702"/>
                </a:moveTo>
                <a:cubicBezTo>
                  <a:pt x="1178947" y="1469525"/>
                  <a:pt x="1182592" y="1478635"/>
                  <a:pt x="1186236" y="1480458"/>
                </a:cubicBezTo>
                <a:cubicBezTo>
                  <a:pt x="1188058" y="1478635"/>
                  <a:pt x="1186236" y="1476813"/>
                  <a:pt x="1188058" y="1474991"/>
                </a:cubicBezTo>
                <a:cubicBezTo>
                  <a:pt x="1184414" y="1473169"/>
                  <a:pt x="1188058" y="1471347"/>
                  <a:pt x="1184414" y="1467702"/>
                </a:cubicBezTo>
                <a:close/>
                <a:moveTo>
                  <a:pt x="747092" y="1467702"/>
                </a:moveTo>
                <a:cubicBezTo>
                  <a:pt x="743447" y="1467702"/>
                  <a:pt x="743447" y="1471347"/>
                  <a:pt x="747092" y="1473169"/>
                </a:cubicBezTo>
                <a:cubicBezTo>
                  <a:pt x="750737" y="1471347"/>
                  <a:pt x="745269" y="1469525"/>
                  <a:pt x="747092" y="1467702"/>
                </a:cubicBezTo>
                <a:close/>
                <a:moveTo>
                  <a:pt x="546653" y="1467702"/>
                </a:moveTo>
                <a:cubicBezTo>
                  <a:pt x="543008" y="1471347"/>
                  <a:pt x="539364" y="1474991"/>
                  <a:pt x="543008" y="1478635"/>
                </a:cubicBezTo>
                <a:cubicBezTo>
                  <a:pt x="546653" y="1476813"/>
                  <a:pt x="553941" y="1467702"/>
                  <a:pt x="546653" y="1467702"/>
                </a:cubicBezTo>
                <a:close/>
                <a:moveTo>
                  <a:pt x="411584" y="1467247"/>
                </a:moveTo>
                <a:cubicBezTo>
                  <a:pt x="409990" y="1467247"/>
                  <a:pt x="408167" y="1467702"/>
                  <a:pt x="406345" y="1467702"/>
                </a:cubicBezTo>
                <a:cubicBezTo>
                  <a:pt x="404523" y="1473169"/>
                  <a:pt x="411812" y="1473169"/>
                  <a:pt x="415456" y="1474991"/>
                </a:cubicBezTo>
                <a:cubicBezTo>
                  <a:pt x="417278" y="1473169"/>
                  <a:pt x="411812" y="1471347"/>
                  <a:pt x="415456" y="1469525"/>
                </a:cubicBezTo>
                <a:cubicBezTo>
                  <a:pt x="414545" y="1467703"/>
                  <a:pt x="413179" y="1467247"/>
                  <a:pt x="411584" y="1467247"/>
                </a:cubicBezTo>
                <a:close/>
                <a:moveTo>
                  <a:pt x="659627" y="1466335"/>
                </a:moveTo>
                <a:cubicBezTo>
                  <a:pt x="658260" y="1465880"/>
                  <a:pt x="656894" y="1465880"/>
                  <a:pt x="655983" y="1467702"/>
                </a:cubicBezTo>
                <a:cubicBezTo>
                  <a:pt x="659627" y="1469525"/>
                  <a:pt x="661449" y="1469525"/>
                  <a:pt x="663272" y="1467702"/>
                </a:cubicBezTo>
                <a:cubicBezTo>
                  <a:pt x="662360" y="1467702"/>
                  <a:pt x="660994" y="1466791"/>
                  <a:pt x="659627" y="1466335"/>
                </a:cubicBezTo>
                <a:close/>
                <a:moveTo>
                  <a:pt x="3399332" y="1466253"/>
                </a:moveTo>
                <a:lnTo>
                  <a:pt x="3400177" y="1467702"/>
                </a:lnTo>
                <a:lnTo>
                  <a:pt x="3398675" y="1467228"/>
                </a:lnTo>
                <a:close/>
                <a:moveTo>
                  <a:pt x="1158903" y="1465880"/>
                </a:moveTo>
                <a:cubicBezTo>
                  <a:pt x="1158903" y="1467702"/>
                  <a:pt x="1160725" y="1469525"/>
                  <a:pt x="1162547" y="1471347"/>
                </a:cubicBezTo>
                <a:cubicBezTo>
                  <a:pt x="1164370" y="1467702"/>
                  <a:pt x="1160725" y="1469525"/>
                  <a:pt x="1158903" y="1465880"/>
                </a:cubicBezTo>
                <a:close/>
                <a:moveTo>
                  <a:pt x="464655" y="1465880"/>
                </a:moveTo>
                <a:cubicBezTo>
                  <a:pt x="459188" y="1465880"/>
                  <a:pt x="461010" y="1469525"/>
                  <a:pt x="457367" y="1471347"/>
                </a:cubicBezTo>
                <a:cubicBezTo>
                  <a:pt x="461010" y="1473169"/>
                  <a:pt x="464655" y="1467702"/>
                  <a:pt x="464655" y="1465880"/>
                </a:cubicBezTo>
                <a:close/>
                <a:moveTo>
                  <a:pt x="420923" y="1465880"/>
                </a:moveTo>
                <a:cubicBezTo>
                  <a:pt x="417278" y="1467702"/>
                  <a:pt x="422745" y="1469525"/>
                  <a:pt x="424567" y="1467702"/>
                </a:cubicBezTo>
                <a:cubicBezTo>
                  <a:pt x="422745" y="1465880"/>
                  <a:pt x="420923" y="1467702"/>
                  <a:pt x="420923" y="1465880"/>
                </a:cubicBezTo>
                <a:close/>
                <a:moveTo>
                  <a:pt x="631754" y="1464571"/>
                </a:moveTo>
                <a:cubicBezTo>
                  <a:pt x="628764" y="1466792"/>
                  <a:pt x="629106" y="1477724"/>
                  <a:pt x="630472" y="1480458"/>
                </a:cubicBezTo>
                <a:cubicBezTo>
                  <a:pt x="628650" y="1480458"/>
                  <a:pt x="626828" y="1480458"/>
                  <a:pt x="625006" y="1482280"/>
                </a:cubicBezTo>
                <a:cubicBezTo>
                  <a:pt x="626828" y="1478635"/>
                  <a:pt x="628650" y="1474991"/>
                  <a:pt x="626828" y="1469525"/>
                </a:cubicBezTo>
                <a:cubicBezTo>
                  <a:pt x="617717" y="1478635"/>
                  <a:pt x="617717" y="1487746"/>
                  <a:pt x="615895" y="1498679"/>
                </a:cubicBezTo>
                <a:cubicBezTo>
                  <a:pt x="619539" y="1511434"/>
                  <a:pt x="628650" y="1509612"/>
                  <a:pt x="637761" y="1500501"/>
                </a:cubicBezTo>
                <a:cubicBezTo>
                  <a:pt x="634117" y="1487746"/>
                  <a:pt x="645050" y="1474991"/>
                  <a:pt x="635939" y="1465880"/>
                </a:cubicBezTo>
                <a:cubicBezTo>
                  <a:pt x="634117" y="1464058"/>
                  <a:pt x="632750" y="1463830"/>
                  <a:pt x="631754" y="1464571"/>
                </a:cubicBezTo>
                <a:close/>
                <a:moveTo>
                  <a:pt x="3223426" y="1464058"/>
                </a:moveTo>
                <a:cubicBezTo>
                  <a:pt x="3219782" y="1464058"/>
                  <a:pt x="3217960" y="1464058"/>
                  <a:pt x="3216137" y="1465880"/>
                </a:cubicBezTo>
                <a:cubicBezTo>
                  <a:pt x="3212493" y="1474991"/>
                  <a:pt x="3212493" y="1464058"/>
                  <a:pt x="3219782" y="1482280"/>
                </a:cubicBezTo>
                <a:lnTo>
                  <a:pt x="3205204" y="1482280"/>
                </a:lnTo>
                <a:cubicBezTo>
                  <a:pt x="3205204" y="1485924"/>
                  <a:pt x="3207027" y="1489568"/>
                  <a:pt x="3208849" y="1491391"/>
                </a:cubicBezTo>
                <a:cubicBezTo>
                  <a:pt x="3219782" y="1495035"/>
                  <a:pt x="3223426" y="1487746"/>
                  <a:pt x="3223426" y="1476813"/>
                </a:cubicBezTo>
                <a:cubicBezTo>
                  <a:pt x="3223426" y="1476813"/>
                  <a:pt x="3227071" y="1474991"/>
                  <a:pt x="3228893" y="1474991"/>
                </a:cubicBezTo>
                <a:cubicBezTo>
                  <a:pt x="3225248" y="1471347"/>
                  <a:pt x="3219782" y="1469525"/>
                  <a:pt x="3223426" y="1464058"/>
                </a:cubicBezTo>
                <a:close/>
                <a:moveTo>
                  <a:pt x="825445" y="1464058"/>
                </a:moveTo>
                <a:cubicBezTo>
                  <a:pt x="821801" y="1465880"/>
                  <a:pt x="827267" y="1467702"/>
                  <a:pt x="827267" y="1471347"/>
                </a:cubicBezTo>
                <a:cubicBezTo>
                  <a:pt x="829089" y="1471347"/>
                  <a:pt x="830912" y="1471347"/>
                  <a:pt x="832734" y="1473169"/>
                </a:cubicBezTo>
                <a:cubicBezTo>
                  <a:pt x="834556" y="1467702"/>
                  <a:pt x="827267" y="1467702"/>
                  <a:pt x="825445" y="1464058"/>
                </a:cubicBezTo>
                <a:close/>
                <a:moveTo>
                  <a:pt x="816334" y="1464058"/>
                </a:moveTo>
                <a:lnTo>
                  <a:pt x="816334" y="1476813"/>
                </a:lnTo>
                <a:cubicBezTo>
                  <a:pt x="819979" y="1474991"/>
                  <a:pt x="818156" y="1478635"/>
                  <a:pt x="819979" y="1478635"/>
                </a:cubicBezTo>
                <a:cubicBezTo>
                  <a:pt x="823623" y="1473169"/>
                  <a:pt x="819979" y="1469525"/>
                  <a:pt x="816334" y="1464058"/>
                </a:cubicBezTo>
                <a:close/>
                <a:moveTo>
                  <a:pt x="650516" y="1464058"/>
                </a:moveTo>
                <a:cubicBezTo>
                  <a:pt x="648694" y="1464058"/>
                  <a:pt x="648694" y="1465880"/>
                  <a:pt x="648694" y="1465880"/>
                </a:cubicBezTo>
                <a:cubicBezTo>
                  <a:pt x="648694" y="1465880"/>
                  <a:pt x="646872" y="1467702"/>
                  <a:pt x="646872" y="1467702"/>
                </a:cubicBezTo>
                <a:cubicBezTo>
                  <a:pt x="652339" y="1471347"/>
                  <a:pt x="657805" y="1471347"/>
                  <a:pt x="663272" y="1473169"/>
                </a:cubicBezTo>
                <a:cubicBezTo>
                  <a:pt x="661449" y="1469525"/>
                  <a:pt x="652339" y="1473169"/>
                  <a:pt x="648694" y="1465880"/>
                </a:cubicBezTo>
                <a:cubicBezTo>
                  <a:pt x="650516" y="1467702"/>
                  <a:pt x="652339" y="1469525"/>
                  <a:pt x="654161" y="1467702"/>
                </a:cubicBezTo>
                <a:cubicBezTo>
                  <a:pt x="654161" y="1465880"/>
                  <a:pt x="652339" y="1467702"/>
                  <a:pt x="650516" y="1464058"/>
                </a:cubicBezTo>
                <a:close/>
                <a:moveTo>
                  <a:pt x="528431" y="1464058"/>
                </a:moveTo>
                <a:cubicBezTo>
                  <a:pt x="526609" y="1467702"/>
                  <a:pt x="530253" y="1474991"/>
                  <a:pt x="533897" y="1474991"/>
                </a:cubicBezTo>
                <a:cubicBezTo>
                  <a:pt x="537542" y="1471347"/>
                  <a:pt x="530253" y="1467702"/>
                  <a:pt x="528431" y="1464058"/>
                </a:cubicBezTo>
                <a:close/>
                <a:moveTo>
                  <a:pt x="1182592" y="1462236"/>
                </a:moveTo>
                <a:cubicBezTo>
                  <a:pt x="1182592" y="1462236"/>
                  <a:pt x="1182592" y="1464058"/>
                  <a:pt x="1180769" y="1464058"/>
                </a:cubicBezTo>
                <a:cubicBezTo>
                  <a:pt x="1180769" y="1465880"/>
                  <a:pt x="1180769" y="1465880"/>
                  <a:pt x="1180769" y="1467702"/>
                </a:cubicBezTo>
                <a:cubicBezTo>
                  <a:pt x="1178947" y="1465880"/>
                  <a:pt x="1180769" y="1464058"/>
                  <a:pt x="1182592" y="1462236"/>
                </a:cubicBezTo>
                <a:close/>
                <a:moveTo>
                  <a:pt x="588562" y="1462236"/>
                </a:moveTo>
                <a:cubicBezTo>
                  <a:pt x="586741" y="1462236"/>
                  <a:pt x="586741" y="1464058"/>
                  <a:pt x="584919" y="1467702"/>
                </a:cubicBezTo>
                <a:cubicBezTo>
                  <a:pt x="586741" y="1469525"/>
                  <a:pt x="586741" y="1467702"/>
                  <a:pt x="588562" y="1469525"/>
                </a:cubicBezTo>
                <a:cubicBezTo>
                  <a:pt x="590385" y="1465880"/>
                  <a:pt x="590385" y="1464058"/>
                  <a:pt x="588562" y="1462236"/>
                </a:cubicBezTo>
                <a:close/>
                <a:moveTo>
                  <a:pt x="530253" y="1462236"/>
                </a:moveTo>
                <a:cubicBezTo>
                  <a:pt x="530253" y="1462236"/>
                  <a:pt x="532075" y="1462236"/>
                  <a:pt x="532075" y="1464058"/>
                </a:cubicBezTo>
                <a:lnTo>
                  <a:pt x="530334" y="1462681"/>
                </a:lnTo>
                <a:close/>
                <a:moveTo>
                  <a:pt x="482876" y="1462236"/>
                </a:moveTo>
                <a:cubicBezTo>
                  <a:pt x="482876" y="1467702"/>
                  <a:pt x="479232" y="1473169"/>
                  <a:pt x="482876" y="1478635"/>
                </a:cubicBezTo>
                <a:cubicBezTo>
                  <a:pt x="484700" y="1471347"/>
                  <a:pt x="493809" y="1467702"/>
                  <a:pt x="486521" y="1462236"/>
                </a:cubicBezTo>
                <a:cubicBezTo>
                  <a:pt x="486521" y="1464058"/>
                  <a:pt x="486521" y="1465880"/>
                  <a:pt x="486521" y="1465880"/>
                </a:cubicBezTo>
                <a:cubicBezTo>
                  <a:pt x="484700" y="1465880"/>
                  <a:pt x="484700" y="1462236"/>
                  <a:pt x="482876" y="1462236"/>
                </a:cubicBezTo>
                <a:close/>
                <a:moveTo>
                  <a:pt x="674205" y="1460414"/>
                </a:moveTo>
                <a:cubicBezTo>
                  <a:pt x="672383" y="1464058"/>
                  <a:pt x="677849" y="1462236"/>
                  <a:pt x="679671" y="1462236"/>
                </a:cubicBezTo>
                <a:cubicBezTo>
                  <a:pt x="677849" y="1460414"/>
                  <a:pt x="676027" y="1462236"/>
                  <a:pt x="674205" y="1460414"/>
                </a:cubicBezTo>
                <a:close/>
                <a:moveTo>
                  <a:pt x="654161" y="1460414"/>
                </a:moveTo>
                <a:cubicBezTo>
                  <a:pt x="652339" y="1460414"/>
                  <a:pt x="652339" y="1462236"/>
                  <a:pt x="652339" y="1462236"/>
                </a:cubicBezTo>
                <a:cubicBezTo>
                  <a:pt x="654161" y="1464058"/>
                  <a:pt x="657805" y="1465880"/>
                  <a:pt x="661449" y="1464058"/>
                </a:cubicBezTo>
                <a:cubicBezTo>
                  <a:pt x="659627" y="1460414"/>
                  <a:pt x="655983" y="1460414"/>
                  <a:pt x="654161" y="1460414"/>
                </a:cubicBezTo>
                <a:close/>
                <a:moveTo>
                  <a:pt x="601318" y="1460414"/>
                </a:moveTo>
                <a:cubicBezTo>
                  <a:pt x="599496" y="1465880"/>
                  <a:pt x="601318" y="1473169"/>
                  <a:pt x="601318" y="1478635"/>
                </a:cubicBezTo>
                <a:cubicBezTo>
                  <a:pt x="608606" y="1474991"/>
                  <a:pt x="606784" y="1467702"/>
                  <a:pt x="612251" y="1464058"/>
                </a:cubicBezTo>
                <a:cubicBezTo>
                  <a:pt x="608606" y="1462236"/>
                  <a:pt x="604963" y="1460414"/>
                  <a:pt x="601318" y="1460414"/>
                </a:cubicBezTo>
                <a:close/>
                <a:moveTo>
                  <a:pt x="668510" y="1459275"/>
                </a:moveTo>
                <a:cubicBezTo>
                  <a:pt x="668282" y="1458591"/>
                  <a:pt x="666916" y="1458591"/>
                  <a:pt x="663272" y="1460414"/>
                </a:cubicBezTo>
                <a:cubicBezTo>
                  <a:pt x="663272" y="1460414"/>
                  <a:pt x="665094" y="1462236"/>
                  <a:pt x="666916" y="1462236"/>
                </a:cubicBezTo>
                <a:cubicBezTo>
                  <a:pt x="667828" y="1461325"/>
                  <a:pt x="668738" y="1459958"/>
                  <a:pt x="668510" y="1459275"/>
                </a:cubicBezTo>
                <a:close/>
                <a:moveTo>
                  <a:pt x="3228893" y="1458592"/>
                </a:moveTo>
                <a:cubicBezTo>
                  <a:pt x="3227071" y="1460414"/>
                  <a:pt x="3225248" y="1464058"/>
                  <a:pt x="3227071" y="1465880"/>
                </a:cubicBezTo>
                <a:cubicBezTo>
                  <a:pt x="3228893" y="1467702"/>
                  <a:pt x="3232537" y="1469525"/>
                  <a:pt x="3234359" y="1462236"/>
                </a:cubicBezTo>
                <a:cubicBezTo>
                  <a:pt x="3234359" y="1458592"/>
                  <a:pt x="3228893" y="1462236"/>
                  <a:pt x="3228893" y="1458592"/>
                </a:cubicBezTo>
                <a:close/>
                <a:moveTo>
                  <a:pt x="457367" y="1458592"/>
                </a:moveTo>
                <a:cubicBezTo>
                  <a:pt x="453722" y="1462236"/>
                  <a:pt x="440966" y="1462236"/>
                  <a:pt x="442789" y="1469525"/>
                </a:cubicBezTo>
                <a:cubicBezTo>
                  <a:pt x="451899" y="1473169"/>
                  <a:pt x="455544" y="1464058"/>
                  <a:pt x="457367" y="1458592"/>
                </a:cubicBezTo>
                <a:close/>
                <a:moveTo>
                  <a:pt x="1191213" y="1457917"/>
                </a:moveTo>
                <a:lnTo>
                  <a:pt x="1186504" y="1465451"/>
                </a:lnTo>
                <a:lnTo>
                  <a:pt x="1186187" y="1465240"/>
                </a:lnTo>
                <a:lnTo>
                  <a:pt x="1185986" y="1462637"/>
                </a:lnTo>
                <a:close/>
                <a:moveTo>
                  <a:pt x="3261692" y="1456769"/>
                </a:moveTo>
                <a:cubicBezTo>
                  <a:pt x="3261692" y="1465880"/>
                  <a:pt x="3263514" y="1473169"/>
                  <a:pt x="3272625" y="1474991"/>
                </a:cubicBezTo>
                <a:cubicBezTo>
                  <a:pt x="3278091" y="1474991"/>
                  <a:pt x="3279913" y="1473169"/>
                  <a:pt x="3283558" y="1471347"/>
                </a:cubicBezTo>
                <a:cubicBezTo>
                  <a:pt x="3279913" y="1473169"/>
                  <a:pt x="3276269" y="1465880"/>
                  <a:pt x="3272625" y="1471347"/>
                </a:cubicBezTo>
                <a:cubicBezTo>
                  <a:pt x="3279913" y="1462236"/>
                  <a:pt x="3267158" y="1458592"/>
                  <a:pt x="3261692" y="1456769"/>
                </a:cubicBezTo>
                <a:close/>
                <a:moveTo>
                  <a:pt x="470121" y="1456769"/>
                </a:moveTo>
                <a:cubicBezTo>
                  <a:pt x="466478" y="1456769"/>
                  <a:pt x="468299" y="1462236"/>
                  <a:pt x="464655" y="1464058"/>
                </a:cubicBezTo>
                <a:cubicBezTo>
                  <a:pt x="468299" y="1464058"/>
                  <a:pt x="468299" y="1460414"/>
                  <a:pt x="470121" y="1456769"/>
                </a:cubicBezTo>
                <a:close/>
                <a:moveTo>
                  <a:pt x="3252581" y="1454947"/>
                </a:moveTo>
                <a:cubicBezTo>
                  <a:pt x="3248937" y="1454947"/>
                  <a:pt x="3250759" y="1456769"/>
                  <a:pt x="3247114" y="1456769"/>
                </a:cubicBezTo>
                <a:cubicBezTo>
                  <a:pt x="3247114" y="1464058"/>
                  <a:pt x="3252581" y="1467702"/>
                  <a:pt x="3254403" y="1473169"/>
                </a:cubicBezTo>
                <a:cubicBezTo>
                  <a:pt x="3254403" y="1474991"/>
                  <a:pt x="3250759" y="1474991"/>
                  <a:pt x="3250759" y="1473169"/>
                </a:cubicBezTo>
                <a:cubicBezTo>
                  <a:pt x="3247114" y="1474991"/>
                  <a:pt x="3254403" y="1478635"/>
                  <a:pt x="3258047" y="1476813"/>
                </a:cubicBezTo>
                <a:cubicBezTo>
                  <a:pt x="3256225" y="1473169"/>
                  <a:pt x="3258047" y="1471347"/>
                  <a:pt x="3258047" y="1467702"/>
                </a:cubicBezTo>
                <a:cubicBezTo>
                  <a:pt x="3250759" y="1467702"/>
                  <a:pt x="3248937" y="1458592"/>
                  <a:pt x="3252581" y="1454947"/>
                </a:cubicBezTo>
                <a:close/>
                <a:moveTo>
                  <a:pt x="3241648" y="1454947"/>
                </a:moveTo>
                <a:cubicBezTo>
                  <a:pt x="3236181" y="1456769"/>
                  <a:pt x="3241648" y="1465880"/>
                  <a:pt x="3243470" y="1467702"/>
                </a:cubicBezTo>
                <a:cubicBezTo>
                  <a:pt x="3245292" y="1465880"/>
                  <a:pt x="3243470" y="1458592"/>
                  <a:pt x="3241648" y="1454947"/>
                </a:cubicBezTo>
                <a:close/>
                <a:moveTo>
                  <a:pt x="999946" y="1454141"/>
                </a:moveTo>
                <a:lnTo>
                  <a:pt x="1007663" y="1455917"/>
                </a:lnTo>
                <a:lnTo>
                  <a:pt x="1007663" y="1456769"/>
                </a:lnTo>
                <a:cubicBezTo>
                  <a:pt x="1004018" y="1456769"/>
                  <a:pt x="998552" y="1456769"/>
                  <a:pt x="994907" y="1454947"/>
                </a:cubicBezTo>
                <a:close/>
                <a:moveTo>
                  <a:pt x="442789" y="1453125"/>
                </a:moveTo>
                <a:cubicBezTo>
                  <a:pt x="442789" y="1451303"/>
                  <a:pt x="439145" y="1456769"/>
                  <a:pt x="439145" y="1458592"/>
                </a:cubicBezTo>
                <a:cubicBezTo>
                  <a:pt x="440966" y="1456769"/>
                  <a:pt x="442789" y="1454947"/>
                  <a:pt x="442789" y="1453125"/>
                </a:cubicBezTo>
                <a:close/>
                <a:moveTo>
                  <a:pt x="1537915" y="1451303"/>
                </a:moveTo>
                <a:lnTo>
                  <a:pt x="1521516" y="1453125"/>
                </a:lnTo>
                <a:lnTo>
                  <a:pt x="1536093" y="1467702"/>
                </a:lnTo>
                <a:close/>
                <a:moveTo>
                  <a:pt x="779892" y="1451303"/>
                </a:moveTo>
                <a:cubicBezTo>
                  <a:pt x="770781" y="1456769"/>
                  <a:pt x="765313" y="1465880"/>
                  <a:pt x="768959" y="1473169"/>
                </a:cubicBezTo>
                <a:cubicBezTo>
                  <a:pt x="767136" y="1471347"/>
                  <a:pt x="765313" y="1471347"/>
                  <a:pt x="763491" y="1471347"/>
                </a:cubicBezTo>
                <a:cubicBezTo>
                  <a:pt x="758025" y="1469525"/>
                  <a:pt x="758025" y="1487746"/>
                  <a:pt x="763491" y="1495035"/>
                </a:cubicBezTo>
                <a:lnTo>
                  <a:pt x="763491" y="1491391"/>
                </a:lnTo>
                <a:cubicBezTo>
                  <a:pt x="772602" y="1495035"/>
                  <a:pt x="783535" y="1500501"/>
                  <a:pt x="794468" y="1496857"/>
                </a:cubicBezTo>
                <a:cubicBezTo>
                  <a:pt x="781713" y="1484102"/>
                  <a:pt x="778070" y="1467702"/>
                  <a:pt x="779892" y="1451303"/>
                </a:cubicBezTo>
                <a:close/>
                <a:moveTo>
                  <a:pt x="747092" y="1451303"/>
                </a:moveTo>
                <a:cubicBezTo>
                  <a:pt x="745269" y="1458592"/>
                  <a:pt x="748914" y="1465880"/>
                  <a:pt x="748914" y="1473169"/>
                </a:cubicBezTo>
                <a:cubicBezTo>
                  <a:pt x="756203" y="1471347"/>
                  <a:pt x="748914" y="1460414"/>
                  <a:pt x="754380" y="1458592"/>
                </a:cubicBezTo>
                <a:cubicBezTo>
                  <a:pt x="752558" y="1454947"/>
                  <a:pt x="748914" y="1453125"/>
                  <a:pt x="747092" y="1451303"/>
                </a:cubicBezTo>
                <a:close/>
                <a:moveTo>
                  <a:pt x="677849" y="1451303"/>
                </a:moveTo>
                <a:cubicBezTo>
                  <a:pt x="674205" y="1453125"/>
                  <a:pt x="677849" y="1458592"/>
                  <a:pt x="674205" y="1456769"/>
                </a:cubicBezTo>
                <a:cubicBezTo>
                  <a:pt x="674205" y="1460414"/>
                  <a:pt x="679671" y="1456769"/>
                  <a:pt x="681493" y="1458592"/>
                </a:cubicBezTo>
                <a:cubicBezTo>
                  <a:pt x="681493" y="1456769"/>
                  <a:pt x="677849" y="1453125"/>
                  <a:pt x="677849" y="1451303"/>
                </a:cubicBezTo>
                <a:close/>
                <a:moveTo>
                  <a:pt x="949036" y="1450273"/>
                </a:moveTo>
                <a:lnTo>
                  <a:pt x="954188" y="1452205"/>
                </a:lnTo>
                <a:lnTo>
                  <a:pt x="940148" y="1458757"/>
                </a:lnTo>
                <a:lnTo>
                  <a:pt x="919287" y="1465880"/>
                </a:lnTo>
                <a:lnTo>
                  <a:pt x="884372" y="1477802"/>
                </a:lnTo>
                <a:lnTo>
                  <a:pt x="892866" y="1473169"/>
                </a:lnTo>
                <a:cubicBezTo>
                  <a:pt x="898333" y="1471347"/>
                  <a:pt x="903799" y="1469525"/>
                  <a:pt x="909265" y="1467702"/>
                </a:cubicBezTo>
                <a:cubicBezTo>
                  <a:pt x="907444" y="1467702"/>
                  <a:pt x="903799" y="1467702"/>
                  <a:pt x="901976" y="1467702"/>
                </a:cubicBezTo>
                <a:close/>
                <a:moveTo>
                  <a:pt x="1168014" y="1449481"/>
                </a:moveTo>
                <a:cubicBezTo>
                  <a:pt x="1168014" y="1451303"/>
                  <a:pt x="1168014" y="1451303"/>
                  <a:pt x="1168014" y="1453125"/>
                </a:cubicBezTo>
                <a:cubicBezTo>
                  <a:pt x="1169836" y="1453125"/>
                  <a:pt x="1171658" y="1462236"/>
                  <a:pt x="1175303" y="1465880"/>
                </a:cubicBezTo>
                <a:cubicBezTo>
                  <a:pt x="1177125" y="1460414"/>
                  <a:pt x="1171658" y="1454947"/>
                  <a:pt x="1168014" y="1449481"/>
                </a:cubicBezTo>
                <a:close/>
                <a:moveTo>
                  <a:pt x="858244" y="1449481"/>
                </a:moveTo>
                <a:cubicBezTo>
                  <a:pt x="863711" y="1454947"/>
                  <a:pt x="874644" y="1458592"/>
                  <a:pt x="876466" y="1467702"/>
                </a:cubicBezTo>
                <a:lnTo>
                  <a:pt x="866314" y="1461523"/>
                </a:lnTo>
                <a:lnTo>
                  <a:pt x="865909" y="1461204"/>
                </a:lnTo>
                <a:close/>
                <a:moveTo>
                  <a:pt x="457367" y="1449481"/>
                </a:moveTo>
                <a:cubicBezTo>
                  <a:pt x="453722" y="1451303"/>
                  <a:pt x="450077" y="1454947"/>
                  <a:pt x="446433" y="1456769"/>
                </a:cubicBezTo>
                <a:cubicBezTo>
                  <a:pt x="451899" y="1465880"/>
                  <a:pt x="459188" y="1453125"/>
                  <a:pt x="457367" y="1449481"/>
                </a:cubicBezTo>
                <a:close/>
                <a:moveTo>
                  <a:pt x="3495477" y="1447887"/>
                </a:moveTo>
                <a:lnTo>
                  <a:pt x="3494930" y="1451303"/>
                </a:lnTo>
                <a:lnTo>
                  <a:pt x="3492225" y="1449371"/>
                </a:lnTo>
                <a:close/>
                <a:moveTo>
                  <a:pt x="794468" y="1447658"/>
                </a:moveTo>
                <a:cubicBezTo>
                  <a:pt x="792646" y="1454947"/>
                  <a:pt x="787179" y="1460414"/>
                  <a:pt x="785357" y="1467702"/>
                </a:cubicBezTo>
                <a:cubicBezTo>
                  <a:pt x="790824" y="1476813"/>
                  <a:pt x="792646" y="1496857"/>
                  <a:pt x="805401" y="1495035"/>
                </a:cubicBezTo>
                <a:cubicBezTo>
                  <a:pt x="816334" y="1493213"/>
                  <a:pt x="816334" y="1478635"/>
                  <a:pt x="807223" y="1473169"/>
                </a:cubicBezTo>
                <a:cubicBezTo>
                  <a:pt x="810868" y="1474991"/>
                  <a:pt x="812690" y="1476813"/>
                  <a:pt x="814512" y="1478635"/>
                </a:cubicBezTo>
                <a:cubicBezTo>
                  <a:pt x="818156" y="1464058"/>
                  <a:pt x="809046" y="1451303"/>
                  <a:pt x="794468" y="1447658"/>
                </a:cubicBezTo>
                <a:close/>
                <a:moveTo>
                  <a:pt x="661449" y="1447658"/>
                </a:moveTo>
                <a:cubicBezTo>
                  <a:pt x="657805" y="1451303"/>
                  <a:pt x="657805" y="1453125"/>
                  <a:pt x="654161" y="1454947"/>
                </a:cubicBezTo>
                <a:cubicBezTo>
                  <a:pt x="659627" y="1458592"/>
                  <a:pt x="663272" y="1456769"/>
                  <a:pt x="663272" y="1451303"/>
                </a:cubicBezTo>
                <a:cubicBezTo>
                  <a:pt x="663272" y="1449481"/>
                  <a:pt x="661449" y="1449481"/>
                  <a:pt x="661449" y="1447658"/>
                </a:cubicBezTo>
                <a:close/>
                <a:moveTo>
                  <a:pt x="643228" y="1447658"/>
                </a:moveTo>
                <a:cubicBezTo>
                  <a:pt x="634117" y="1454947"/>
                  <a:pt x="641407" y="1460414"/>
                  <a:pt x="645050" y="1467702"/>
                </a:cubicBezTo>
                <a:cubicBezTo>
                  <a:pt x="645050" y="1464058"/>
                  <a:pt x="643228" y="1462236"/>
                  <a:pt x="648694" y="1462236"/>
                </a:cubicBezTo>
                <a:cubicBezTo>
                  <a:pt x="648694" y="1460414"/>
                  <a:pt x="643228" y="1458592"/>
                  <a:pt x="641407" y="1458592"/>
                </a:cubicBezTo>
                <a:cubicBezTo>
                  <a:pt x="641407" y="1456769"/>
                  <a:pt x="643228" y="1451303"/>
                  <a:pt x="646872" y="1449481"/>
                </a:cubicBezTo>
                <a:cubicBezTo>
                  <a:pt x="646872" y="1449481"/>
                  <a:pt x="645050" y="1445836"/>
                  <a:pt x="643228" y="1447658"/>
                </a:cubicBezTo>
                <a:close/>
                <a:moveTo>
                  <a:pt x="570341" y="1447658"/>
                </a:moveTo>
                <a:cubicBezTo>
                  <a:pt x="566697" y="1449481"/>
                  <a:pt x="570341" y="1453125"/>
                  <a:pt x="570341" y="1454947"/>
                </a:cubicBezTo>
                <a:cubicBezTo>
                  <a:pt x="573985" y="1454947"/>
                  <a:pt x="573985" y="1449481"/>
                  <a:pt x="570341" y="1447658"/>
                </a:cubicBezTo>
                <a:close/>
                <a:moveTo>
                  <a:pt x="513853" y="1447658"/>
                </a:moveTo>
                <a:cubicBezTo>
                  <a:pt x="508387" y="1454947"/>
                  <a:pt x="512031" y="1465880"/>
                  <a:pt x="515676" y="1473169"/>
                </a:cubicBezTo>
                <a:cubicBezTo>
                  <a:pt x="519320" y="1476813"/>
                  <a:pt x="524786" y="1473169"/>
                  <a:pt x="528431" y="1474991"/>
                </a:cubicBezTo>
                <a:cubicBezTo>
                  <a:pt x="528431" y="1464058"/>
                  <a:pt x="515676" y="1458592"/>
                  <a:pt x="513853" y="1447658"/>
                </a:cubicBezTo>
                <a:close/>
                <a:moveTo>
                  <a:pt x="477410" y="1447658"/>
                </a:moveTo>
                <a:cubicBezTo>
                  <a:pt x="473766" y="1451303"/>
                  <a:pt x="473766" y="1454947"/>
                  <a:pt x="473766" y="1458592"/>
                </a:cubicBezTo>
                <a:cubicBezTo>
                  <a:pt x="475589" y="1456769"/>
                  <a:pt x="477410" y="1456769"/>
                  <a:pt x="479232" y="1454947"/>
                </a:cubicBezTo>
                <a:cubicBezTo>
                  <a:pt x="479232" y="1453125"/>
                  <a:pt x="479232" y="1451303"/>
                  <a:pt x="477410" y="1447658"/>
                </a:cubicBezTo>
                <a:close/>
                <a:moveTo>
                  <a:pt x="439145" y="1447658"/>
                </a:moveTo>
                <a:cubicBezTo>
                  <a:pt x="430034" y="1447658"/>
                  <a:pt x="420923" y="1451303"/>
                  <a:pt x="413634" y="1456769"/>
                </a:cubicBezTo>
                <a:cubicBezTo>
                  <a:pt x="409989" y="1456769"/>
                  <a:pt x="408167" y="1453125"/>
                  <a:pt x="404523" y="1454947"/>
                </a:cubicBezTo>
                <a:cubicBezTo>
                  <a:pt x="406345" y="1460414"/>
                  <a:pt x="408167" y="1462236"/>
                  <a:pt x="411812" y="1464058"/>
                </a:cubicBezTo>
                <a:cubicBezTo>
                  <a:pt x="415456" y="1458592"/>
                  <a:pt x="424567" y="1464058"/>
                  <a:pt x="424567" y="1454947"/>
                </a:cubicBezTo>
                <a:cubicBezTo>
                  <a:pt x="424567" y="1456769"/>
                  <a:pt x="426389" y="1456769"/>
                  <a:pt x="426389" y="1460414"/>
                </a:cubicBezTo>
                <a:cubicBezTo>
                  <a:pt x="433678" y="1460414"/>
                  <a:pt x="435500" y="1453125"/>
                  <a:pt x="439145" y="1447658"/>
                </a:cubicBezTo>
                <a:close/>
                <a:moveTo>
                  <a:pt x="1146148" y="1445836"/>
                </a:moveTo>
                <a:cubicBezTo>
                  <a:pt x="1146148" y="1445836"/>
                  <a:pt x="1144326" y="1447658"/>
                  <a:pt x="1144326" y="1447658"/>
                </a:cubicBezTo>
                <a:cubicBezTo>
                  <a:pt x="1146148" y="1449481"/>
                  <a:pt x="1147970" y="1447658"/>
                  <a:pt x="1149792" y="1451303"/>
                </a:cubicBezTo>
                <a:cubicBezTo>
                  <a:pt x="1149792" y="1449481"/>
                  <a:pt x="1146148" y="1447658"/>
                  <a:pt x="1146148" y="1445836"/>
                </a:cubicBezTo>
                <a:close/>
                <a:moveTo>
                  <a:pt x="985796" y="1445836"/>
                </a:moveTo>
                <a:lnTo>
                  <a:pt x="986629" y="1445966"/>
                </a:lnTo>
                <a:lnTo>
                  <a:pt x="987470" y="1447018"/>
                </a:lnTo>
                <a:close/>
                <a:moveTo>
                  <a:pt x="594030" y="1445836"/>
                </a:moveTo>
                <a:cubicBezTo>
                  <a:pt x="592207" y="1447658"/>
                  <a:pt x="590385" y="1449481"/>
                  <a:pt x="590385" y="1451303"/>
                </a:cubicBezTo>
                <a:cubicBezTo>
                  <a:pt x="592207" y="1451303"/>
                  <a:pt x="597673" y="1449481"/>
                  <a:pt x="594030" y="1445836"/>
                </a:cubicBezTo>
                <a:close/>
                <a:moveTo>
                  <a:pt x="573985" y="1445836"/>
                </a:moveTo>
                <a:lnTo>
                  <a:pt x="574835" y="1446686"/>
                </a:lnTo>
                <a:lnTo>
                  <a:pt x="573985" y="1446181"/>
                </a:lnTo>
                <a:close/>
                <a:moveTo>
                  <a:pt x="561230" y="1445836"/>
                </a:moveTo>
                <a:cubicBezTo>
                  <a:pt x="555763" y="1453125"/>
                  <a:pt x="552119" y="1458592"/>
                  <a:pt x="546653" y="1465880"/>
                </a:cubicBezTo>
                <a:cubicBezTo>
                  <a:pt x="550297" y="1467702"/>
                  <a:pt x="552119" y="1469525"/>
                  <a:pt x="555763" y="1469525"/>
                </a:cubicBezTo>
                <a:cubicBezTo>
                  <a:pt x="557586" y="1460414"/>
                  <a:pt x="564874" y="1462236"/>
                  <a:pt x="568519" y="1454947"/>
                </a:cubicBezTo>
                <a:cubicBezTo>
                  <a:pt x="568519" y="1451303"/>
                  <a:pt x="561230" y="1451303"/>
                  <a:pt x="561230" y="1445836"/>
                </a:cubicBezTo>
                <a:close/>
                <a:moveTo>
                  <a:pt x="459871" y="1445153"/>
                </a:moveTo>
                <a:cubicBezTo>
                  <a:pt x="459188" y="1445836"/>
                  <a:pt x="458277" y="1446747"/>
                  <a:pt x="457367" y="1445836"/>
                </a:cubicBezTo>
                <a:cubicBezTo>
                  <a:pt x="455544" y="1449481"/>
                  <a:pt x="459188" y="1447658"/>
                  <a:pt x="461010" y="1445836"/>
                </a:cubicBezTo>
                <a:cubicBezTo>
                  <a:pt x="461010" y="1444014"/>
                  <a:pt x="460554" y="1444470"/>
                  <a:pt x="459871" y="1445153"/>
                </a:cubicBezTo>
                <a:close/>
                <a:moveTo>
                  <a:pt x="3412932" y="1444014"/>
                </a:moveTo>
                <a:cubicBezTo>
                  <a:pt x="3407466" y="1449481"/>
                  <a:pt x="3405643" y="1442192"/>
                  <a:pt x="3401999" y="1447658"/>
                </a:cubicBezTo>
                <a:cubicBezTo>
                  <a:pt x="3401999" y="1451303"/>
                  <a:pt x="3401999" y="1454947"/>
                  <a:pt x="3401999" y="1458592"/>
                </a:cubicBezTo>
                <a:cubicBezTo>
                  <a:pt x="3407466" y="1454947"/>
                  <a:pt x="3416577" y="1451303"/>
                  <a:pt x="3412932" y="1444014"/>
                </a:cubicBezTo>
                <a:close/>
                <a:moveTo>
                  <a:pt x="3340045" y="1444014"/>
                </a:moveTo>
                <a:cubicBezTo>
                  <a:pt x="3338223" y="1440370"/>
                  <a:pt x="3338223" y="1447658"/>
                  <a:pt x="3332756" y="1445836"/>
                </a:cubicBezTo>
                <a:cubicBezTo>
                  <a:pt x="3330934" y="1454947"/>
                  <a:pt x="3334579" y="1460414"/>
                  <a:pt x="3341867" y="1456769"/>
                </a:cubicBezTo>
                <a:cubicBezTo>
                  <a:pt x="3345512" y="1454947"/>
                  <a:pt x="3338223" y="1449481"/>
                  <a:pt x="3340045" y="1444014"/>
                </a:cubicBezTo>
                <a:close/>
                <a:moveTo>
                  <a:pt x="1147970" y="1444014"/>
                </a:moveTo>
                <a:cubicBezTo>
                  <a:pt x="1149792" y="1447658"/>
                  <a:pt x="1157081" y="1454947"/>
                  <a:pt x="1155259" y="1460414"/>
                </a:cubicBezTo>
                <a:cubicBezTo>
                  <a:pt x="1158903" y="1454947"/>
                  <a:pt x="1155259" y="1449481"/>
                  <a:pt x="1151614" y="1444014"/>
                </a:cubicBezTo>
                <a:cubicBezTo>
                  <a:pt x="1149792" y="1444014"/>
                  <a:pt x="1147970" y="1444014"/>
                  <a:pt x="1147970" y="1444014"/>
                </a:cubicBezTo>
                <a:close/>
                <a:moveTo>
                  <a:pt x="785357" y="1444014"/>
                </a:moveTo>
                <a:lnTo>
                  <a:pt x="783535" y="1445836"/>
                </a:lnTo>
                <a:lnTo>
                  <a:pt x="781485" y="1451075"/>
                </a:lnTo>
                <a:cubicBezTo>
                  <a:pt x="781257" y="1453125"/>
                  <a:pt x="781713" y="1455858"/>
                  <a:pt x="783535" y="1460414"/>
                </a:cubicBezTo>
                <a:cubicBezTo>
                  <a:pt x="789003" y="1454947"/>
                  <a:pt x="792646" y="1447658"/>
                  <a:pt x="785357" y="1444014"/>
                </a:cubicBezTo>
                <a:close/>
                <a:moveTo>
                  <a:pt x="741626" y="1444014"/>
                </a:moveTo>
                <a:cubicBezTo>
                  <a:pt x="736159" y="1451303"/>
                  <a:pt x="725226" y="1453125"/>
                  <a:pt x="716115" y="1454947"/>
                </a:cubicBezTo>
                <a:cubicBezTo>
                  <a:pt x="710648" y="1460414"/>
                  <a:pt x="707004" y="1473169"/>
                  <a:pt x="701537" y="1476813"/>
                </a:cubicBezTo>
                <a:lnTo>
                  <a:pt x="702805" y="1478240"/>
                </a:lnTo>
                <a:lnTo>
                  <a:pt x="700627" y="1479547"/>
                </a:lnTo>
                <a:cubicBezTo>
                  <a:pt x="698349" y="1479091"/>
                  <a:pt x="696071" y="1478636"/>
                  <a:pt x="696071" y="1482280"/>
                </a:cubicBezTo>
                <a:cubicBezTo>
                  <a:pt x="697893" y="1493213"/>
                  <a:pt x="708826" y="1504146"/>
                  <a:pt x="721581" y="1495035"/>
                </a:cubicBezTo>
                <a:lnTo>
                  <a:pt x="719759" y="1493213"/>
                </a:lnTo>
                <a:cubicBezTo>
                  <a:pt x="727048" y="1496857"/>
                  <a:pt x="734336" y="1491391"/>
                  <a:pt x="734336" y="1485924"/>
                </a:cubicBezTo>
                <a:cubicBezTo>
                  <a:pt x="734336" y="1484102"/>
                  <a:pt x="732515" y="1482280"/>
                  <a:pt x="730692" y="1482280"/>
                </a:cubicBezTo>
                <a:cubicBezTo>
                  <a:pt x="730692" y="1482280"/>
                  <a:pt x="732515" y="1480458"/>
                  <a:pt x="732515" y="1480458"/>
                </a:cubicBezTo>
                <a:cubicBezTo>
                  <a:pt x="728870" y="1478635"/>
                  <a:pt x="725226" y="1474991"/>
                  <a:pt x="721581" y="1473169"/>
                </a:cubicBezTo>
                <a:cubicBezTo>
                  <a:pt x="727048" y="1474991"/>
                  <a:pt x="734336" y="1485924"/>
                  <a:pt x="739803" y="1476813"/>
                </a:cubicBezTo>
                <a:cubicBezTo>
                  <a:pt x="741626" y="1474991"/>
                  <a:pt x="739803" y="1473169"/>
                  <a:pt x="736159" y="1473169"/>
                </a:cubicBezTo>
                <a:cubicBezTo>
                  <a:pt x="747092" y="1469525"/>
                  <a:pt x="747092" y="1453125"/>
                  <a:pt x="741626" y="1444014"/>
                </a:cubicBezTo>
                <a:close/>
                <a:moveTo>
                  <a:pt x="708826" y="1444014"/>
                </a:moveTo>
                <a:cubicBezTo>
                  <a:pt x="705182" y="1444014"/>
                  <a:pt x="697893" y="1444014"/>
                  <a:pt x="696071" y="1449481"/>
                </a:cubicBezTo>
                <a:cubicBezTo>
                  <a:pt x="696071" y="1451303"/>
                  <a:pt x="697893" y="1449481"/>
                  <a:pt x="699715" y="1451303"/>
                </a:cubicBezTo>
                <a:cubicBezTo>
                  <a:pt x="697893" y="1453125"/>
                  <a:pt x="694249" y="1454947"/>
                  <a:pt x="696071" y="1456769"/>
                </a:cubicBezTo>
                <a:cubicBezTo>
                  <a:pt x="705182" y="1458592"/>
                  <a:pt x="708826" y="1451303"/>
                  <a:pt x="714293" y="1444014"/>
                </a:cubicBezTo>
                <a:cubicBezTo>
                  <a:pt x="710648" y="1442192"/>
                  <a:pt x="707004" y="1449481"/>
                  <a:pt x="703359" y="1447658"/>
                </a:cubicBezTo>
                <a:cubicBezTo>
                  <a:pt x="705182" y="1447658"/>
                  <a:pt x="707004" y="1444014"/>
                  <a:pt x="708826" y="1444014"/>
                </a:cubicBezTo>
                <a:close/>
                <a:moveTo>
                  <a:pt x="657805" y="1444014"/>
                </a:moveTo>
                <a:cubicBezTo>
                  <a:pt x="655983" y="1445836"/>
                  <a:pt x="655983" y="1447658"/>
                  <a:pt x="655983" y="1449481"/>
                </a:cubicBezTo>
                <a:cubicBezTo>
                  <a:pt x="657805" y="1451303"/>
                  <a:pt x="661449" y="1445836"/>
                  <a:pt x="657805" y="1444014"/>
                </a:cubicBezTo>
                <a:close/>
                <a:moveTo>
                  <a:pt x="635939" y="1444014"/>
                </a:moveTo>
                <a:cubicBezTo>
                  <a:pt x="637761" y="1445836"/>
                  <a:pt x="635939" y="1449481"/>
                  <a:pt x="637761" y="1451303"/>
                </a:cubicBezTo>
                <a:cubicBezTo>
                  <a:pt x="639583" y="1449481"/>
                  <a:pt x="639583" y="1447658"/>
                  <a:pt x="641407" y="1445836"/>
                </a:cubicBezTo>
                <a:cubicBezTo>
                  <a:pt x="639583" y="1444014"/>
                  <a:pt x="637761" y="1444014"/>
                  <a:pt x="635939" y="1444014"/>
                </a:cubicBezTo>
                <a:close/>
                <a:moveTo>
                  <a:pt x="564874" y="1444014"/>
                </a:moveTo>
                <a:cubicBezTo>
                  <a:pt x="563052" y="1445836"/>
                  <a:pt x="566697" y="1451303"/>
                  <a:pt x="568519" y="1447658"/>
                </a:cubicBezTo>
                <a:cubicBezTo>
                  <a:pt x="570341" y="1445836"/>
                  <a:pt x="566697" y="1444014"/>
                  <a:pt x="564874" y="1444014"/>
                </a:cubicBezTo>
                <a:close/>
                <a:moveTo>
                  <a:pt x="471943" y="1444014"/>
                </a:moveTo>
                <a:cubicBezTo>
                  <a:pt x="468299" y="1447658"/>
                  <a:pt x="464655" y="1456769"/>
                  <a:pt x="461010" y="1464058"/>
                </a:cubicBezTo>
                <a:cubicBezTo>
                  <a:pt x="464655" y="1460414"/>
                  <a:pt x="470121" y="1449481"/>
                  <a:pt x="471943" y="1444014"/>
                </a:cubicBezTo>
                <a:close/>
                <a:moveTo>
                  <a:pt x="424981" y="1443062"/>
                </a:moveTo>
                <a:lnTo>
                  <a:pt x="425256" y="1443247"/>
                </a:lnTo>
                <a:lnTo>
                  <a:pt x="425022" y="1443331"/>
                </a:lnTo>
                <a:close/>
                <a:moveTo>
                  <a:pt x="750281" y="1442875"/>
                </a:moveTo>
                <a:cubicBezTo>
                  <a:pt x="748458" y="1442648"/>
                  <a:pt x="747092" y="1443103"/>
                  <a:pt x="747092" y="1445836"/>
                </a:cubicBezTo>
                <a:cubicBezTo>
                  <a:pt x="750737" y="1447658"/>
                  <a:pt x="752558" y="1451303"/>
                  <a:pt x="756203" y="1453125"/>
                </a:cubicBezTo>
                <a:cubicBezTo>
                  <a:pt x="758025" y="1449481"/>
                  <a:pt x="756203" y="1447658"/>
                  <a:pt x="756203" y="1444014"/>
                </a:cubicBezTo>
                <a:cubicBezTo>
                  <a:pt x="754380" y="1444014"/>
                  <a:pt x="752103" y="1443103"/>
                  <a:pt x="750281" y="1442875"/>
                </a:cubicBezTo>
                <a:close/>
                <a:moveTo>
                  <a:pt x="1184414" y="1442192"/>
                </a:moveTo>
                <a:lnTo>
                  <a:pt x="1185986" y="1462637"/>
                </a:lnTo>
                <a:lnTo>
                  <a:pt x="1184414" y="1464058"/>
                </a:lnTo>
                <a:lnTo>
                  <a:pt x="1186187" y="1465240"/>
                </a:lnTo>
                <a:lnTo>
                  <a:pt x="1186236" y="1465880"/>
                </a:lnTo>
                <a:lnTo>
                  <a:pt x="1186504" y="1465451"/>
                </a:lnTo>
                <a:lnTo>
                  <a:pt x="1189880" y="1467702"/>
                </a:lnTo>
                <a:cubicBezTo>
                  <a:pt x="1191703" y="1471347"/>
                  <a:pt x="1189880" y="1473169"/>
                  <a:pt x="1189880" y="1474991"/>
                </a:cubicBezTo>
                <a:cubicBezTo>
                  <a:pt x="1191703" y="1474991"/>
                  <a:pt x="1191703" y="1476813"/>
                  <a:pt x="1193525" y="1476813"/>
                </a:cubicBezTo>
                <a:cubicBezTo>
                  <a:pt x="1193525" y="1476813"/>
                  <a:pt x="1191703" y="1478635"/>
                  <a:pt x="1191703" y="1478635"/>
                </a:cubicBezTo>
                <a:cubicBezTo>
                  <a:pt x="1193525" y="1484102"/>
                  <a:pt x="1193525" y="1487746"/>
                  <a:pt x="1197169" y="1491391"/>
                </a:cubicBezTo>
                <a:cubicBezTo>
                  <a:pt x="1200814" y="1491391"/>
                  <a:pt x="1202636" y="1487746"/>
                  <a:pt x="1206279" y="1485924"/>
                </a:cubicBezTo>
                <a:cubicBezTo>
                  <a:pt x="1204457" y="1476813"/>
                  <a:pt x="1198991" y="1478635"/>
                  <a:pt x="1193525" y="1476813"/>
                </a:cubicBezTo>
                <a:lnTo>
                  <a:pt x="1196837" y="1476813"/>
                </a:lnTo>
                <a:lnTo>
                  <a:pt x="1198080" y="1477497"/>
                </a:lnTo>
                <a:cubicBezTo>
                  <a:pt x="1199446" y="1478635"/>
                  <a:pt x="1200814" y="1479547"/>
                  <a:pt x="1202636" y="1478635"/>
                </a:cubicBezTo>
                <a:cubicBezTo>
                  <a:pt x="1202636" y="1476813"/>
                  <a:pt x="1204457" y="1474991"/>
                  <a:pt x="1202636" y="1473169"/>
                </a:cubicBezTo>
                <a:cubicBezTo>
                  <a:pt x="1206279" y="1474991"/>
                  <a:pt x="1204457" y="1480458"/>
                  <a:pt x="1206279" y="1484102"/>
                </a:cubicBezTo>
                <a:cubicBezTo>
                  <a:pt x="1208102" y="1482280"/>
                  <a:pt x="1211747" y="1473169"/>
                  <a:pt x="1206279" y="1467702"/>
                </a:cubicBezTo>
                <a:cubicBezTo>
                  <a:pt x="1209925" y="1467702"/>
                  <a:pt x="1208102" y="1464058"/>
                  <a:pt x="1211747" y="1464058"/>
                </a:cubicBezTo>
                <a:cubicBezTo>
                  <a:pt x="1209925" y="1465880"/>
                  <a:pt x="1208102" y="1456769"/>
                  <a:pt x="1204457" y="1456769"/>
                </a:cubicBezTo>
                <a:cubicBezTo>
                  <a:pt x="1202636" y="1458592"/>
                  <a:pt x="1202636" y="1462236"/>
                  <a:pt x="1204457" y="1464058"/>
                </a:cubicBezTo>
                <a:cubicBezTo>
                  <a:pt x="1202636" y="1464058"/>
                  <a:pt x="1198991" y="1458592"/>
                  <a:pt x="1202636" y="1456769"/>
                </a:cubicBezTo>
                <a:cubicBezTo>
                  <a:pt x="1200814" y="1454947"/>
                  <a:pt x="1200814" y="1454947"/>
                  <a:pt x="1197169" y="1451303"/>
                </a:cubicBezTo>
                <a:cubicBezTo>
                  <a:pt x="1194435" y="1453125"/>
                  <a:pt x="1193069" y="1455403"/>
                  <a:pt x="1191475" y="1457680"/>
                </a:cubicBezTo>
                <a:lnTo>
                  <a:pt x="1191213" y="1457917"/>
                </a:lnTo>
                <a:lnTo>
                  <a:pt x="1195346" y="1451303"/>
                </a:lnTo>
                <a:cubicBezTo>
                  <a:pt x="1191703" y="1447658"/>
                  <a:pt x="1188058" y="1445836"/>
                  <a:pt x="1184414" y="1442192"/>
                </a:cubicBezTo>
                <a:close/>
                <a:moveTo>
                  <a:pt x="730692" y="1442192"/>
                </a:moveTo>
                <a:cubicBezTo>
                  <a:pt x="727048" y="1444014"/>
                  <a:pt x="723404" y="1447658"/>
                  <a:pt x="719759" y="1451303"/>
                </a:cubicBezTo>
                <a:cubicBezTo>
                  <a:pt x="725226" y="1451303"/>
                  <a:pt x="734336" y="1451303"/>
                  <a:pt x="737981" y="1444014"/>
                </a:cubicBezTo>
                <a:cubicBezTo>
                  <a:pt x="736159" y="1444014"/>
                  <a:pt x="734336" y="1442192"/>
                  <a:pt x="732515" y="1444014"/>
                </a:cubicBezTo>
                <a:cubicBezTo>
                  <a:pt x="734336" y="1445836"/>
                  <a:pt x="732515" y="1445836"/>
                  <a:pt x="732515" y="1447658"/>
                </a:cubicBezTo>
                <a:cubicBezTo>
                  <a:pt x="730692" y="1447658"/>
                  <a:pt x="732515" y="1444014"/>
                  <a:pt x="730692" y="1442192"/>
                </a:cubicBezTo>
                <a:close/>
                <a:moveTo>
                  <a:pt x="632296" y="1442192"/>
                </a:moveTo>
                <a:cubicBezTo>
                  <a:pt x="628650" y="1447658"/>
                  <a:pt x="628650" y="1454947"/>
                  <a:pt x="625006" y="1458592"/>
                </a:cubicBezTo>
                <a:cubicBezTo>
                  <a:pt x="626828" y="1460414"/>
                  <a:pt x="628650" y="1460414"/>
                  <a:pt x="630472" y="1460414"/>
                </a:cubicBezTo>
                <a:cubicBezTo>
                  <a:pt x="635939" y="1456769"/>
                  <a:pt x="634117" y="1447658"/>
                  <a:pt x="632296" y="1442192"/>
                </a:cubicBezTo>
                <a:close/>
                <a:moveTo>
                  <a:pt x="1166192" y="1440370"/>
                </a:moveTo>
                <a:cubicBezTo>
                  <a:pt x="1166192" y="1442192"/>
                  <a:pt x="1166192" y="1444014"/>
                  <a:pt x="1168014" y="1445836"/>
                </a:cubicBezTo>
                <a:cubicBezTo>
                  <a:pt x="1168014" y="1444014"/>
                  <a:pt x="1168014" y="1444014"/>
                  <a:pt x="1169836" y="1442192"/>
                </a:cubicBezTo>
                <a:cubicBezTo>
                  <a:pt x="1168014" y="1449481"/>
                  <a:pt x="1175303" y="1454947"/>
                  <a:pt x="1178947" y="1462236"/>
                </a:cubicBezTo>
                <a:cubicBezTo>
                  <a:pt x="1180769" y="1460414"/>
                  <a:pt x="1180769" y="1460414"/>
                  <a:pt x="1182592" y="1460414"/>
                </a:cubicBezTo>
                <a:cubicBezTo>
                  <a:pt x="1177125" y="1456769"/>
                  <a:pt x="1173481" y="1447658"/>
                  <a:pt x="1171658" y="1440370"/>
                </a:cubicBezTo>
                <a:cubicBezTo>
                  <a:pt x="1169836" y="1440370"/>
                  <a:pt x="1168014" y="1442192"/>
                  <a:pt x="1166192" y="1440370"/>
                </a:cubicBezTo>
                <a:close/>
                <a:moveTo>
                  <a:pt x="672383" y="1440370"/>
                </a:moveTo>
                <a:cubicBezTo>
                  <a:pt x="672383" y="1442192"/>
                  <a:pt x="672383" y="1442192"/>
                  <a:pt x="672383" y="1444014"/>
                </a:cubicBezTo>
                <a:cubicBezTo>
                  <a:pt x="668738" y="1434903"/>
                  <a:pt x="674205" y="1449481"/>
                  <a:pt x="672383" y="1447658"/>
                </a:cubicBezTo>
                <a:cubicBezTo>
                  <a:pt x="672383" y="1449481"/>
                  <a:pt x="674205" y="1447658"/>
                  <a:pt x="674205" y="1449481"/>
                </a:cubicBezTo>
                <a:cubicBezTo>
                  <a:pt x="674205" y="1447658"/>
                  <a:pt x="672383" y="1447658"/>
                  <a:pt x="672383" y="1445836"/>
                </a:cubicBezTo>
                <a:cubicBezTo>
                  <a:pt x="672383" y="1445836"/>
                  <a:pt x="674205" y="1445836"/>
                  <a:pt x="674205" y="1445836"/>
                </a:cubicBezTo>
                <a:cubicBezTo>
                  <a:pt x="674205" y="1444014"/>
                  <a:pt x="672383" y="1442192"/>
                  <a:pt x="672383" y="1440370"/>
                </a:cubicBezTo>
                <a:close/>
                <a:moveTo>
                  <a:pt x="652339" y="1440370"/>
                </a:moveTo>
                <a:cubicBezTo>
                  <a:pt x="646872" y="1445836"/>
                  <a:pt x="645050" y="1445836"/>
                  <a:pt x="650516" y="1453125"/>
                </a:cubicBezTo>
                <a:cubicBezTo>
                  <a:pt x="654161" y="1451303"/>
                  <a:pt x="654161" y="1447658"/>
                  <a:pt x="655983" y="1444014"/>
                </a:cubicBezTo>
                <a:cubicBezTo>
                  <a:pt x="654161" y="1444014"/>
                  <a:pt x="654161" y="1444014"/>
                  <a:pt x="652339" y="1440370"/>
                </a:cubicBezTo>
                <a:close/>
                <a:moveTo>
                  <a:pt x="418645" y="1438775"/>
                </a:moveTo>
                <a:cubicBezTo>
                  <a:pt x="415456" y="1439003"/>
                  <a:pt x="411812" y="1440370"/>
                  <a:pt x="408167" y="1440370"/>
                </a:cubicBezTo>
                <a:cubicBezTo>
                  <a:pt x="411812" y="1447658"/>
                  <a:pt x="422745" y="1451303"/>
                  <a:pt x="426389" y="1444014"/>
                </a:cubicBezTo>
                <a:lnTo>
                  <a:pt x="425256" y="1443247"/>
                </a:lnTo>
                <a:lnTo>
                  <a:pt x="428211" y="1442192"/>
                </a:lnTo>
                <a:cubicBezTo>
                  <a:pt x="426389" y="1440370"/>
                  <a:pt x="424567" y="1442192"/>
                  <a:pt x="424567" y="1440370"/>
                </a:cubicBezTo>
                <a:lnTo>
                  <a:pt x="424981" y="1443062"/>
                </a:lnTo>
                <a:close/>
                <a:moveTo>
                  <a:pt x="812690" y="1438548"/>
                </a:moveTo>
                <a:cubicBezTo>
                  <a:pt x="807223" y="1440370"/>
                  <a:pt x="803579" y="1440370"/>
                  <a:pt x="798112" y="1445836"/>
                </a:cubicBezTo>
                <a:cubicBezTo>
                  <a:pt x="801757" y="1451303"/>
                  <a:pt x="807223" y="1449481"/>
                  <a:pt x="810868" y="1454947"/>
                </a:cubicBezTo>
                <a:cubicBezTo>
                  <a:pt x="814512" y="1449481"/>
                  <a:pt x="809046" y="1444014"/>
                  <a:pt x="812690" y="1438548"/>
                </a:cubicBezTo>
                <a:close/>
                <a:moveTo>
                  <a:pt x="584178" y="1437609"/>
                </a:moveTo>
                <a:cubicBezTo>
                  <a:pt x="582982" y="1437125"/>
                  <a:pt x="581502" y="1437523"/>
                  <a:pt x="579907" y="1438320"/>
                </a:cubicBezTo>
                <a:cubicBezTo>
                  <a:pt x="576718" y="1439914"/>
                  <a:pt x="573074" y="1443103"/>
                  <a:pt x="570341" y="1444014"/>
                </a:cubicBezTo>
                <a:lnTo>
                  <a:pt x="573985" y="1446181"/>
                </a:lnTo>
                <a:lnTo>
                  <a:pt x="573985" y="1451303"/>
                </a:lnTo>
                <a:cubicBezTo>
                  <a:pt x="575808" y="1451303"/>
                  <a:pt x="575808" y="1449481"/>
                  <a:pt x="577630" y="1449481"/>
                </a:cubicBezTo>
                <a:lnTo>
                  <a:pt x="574835" y="1446686"/>
                </a:lnTo>
                <a:lnTo>
                  <a:pt x="578768" y="1449025"/>
                </a:lnTo>
                <a:cubicBezTo>
                  <a:pt x="580818" y="1449025"/>
                  <a:pt x="582185" y="1447658"/>
                  <a:pt x="583096" y="1445836"/>
                </a:cubicBezTo>
                <a:cubicBezTo>
                  <a:pt x="583096" y="1445836"/>
                  <a:pt x="583096" y="1444014"/>
                  <a:pt x="579452" y="1444014"/>
                </a:cubicBezTo>
                <a:cubicBezTo>
                  <a:pt x="583096" y="1445836"/>
                  <a:pt x="584919" y="1447658"/>
                  <a:pt x="586741" y="1442192"/>
                </a:cubicBezTo>
                <a:cubicBezTo>
                  <a:pt x="586285" y="1439459"/>
                  <a:pt x="585374" y="1438093"/>
                  <a:pt x="584178" y="1437609"/>
                </a:cubicBezTo>
                <a:close/>
                <a:moveTo>
                  <a:pt x="3228893" y="1436725"/>
                </a:moveTo>
                <a:cubicBezTo>
                  <a:pt x="3232537" y="1444014"/>
                  <a:pt x="3238003" y="1447658"/>
                  <a:pt x="3239826" y="1454947"/>
                </a:cubicBezTo>
                <a:cubicBezTo>
                  <a:pt x="3239826" y="1451303"/>
                  <a:pt x="3241648" y="1449481"/>
                  <a:pt x="3247114" y="1451303"/>
                </a:cubicBezTo>
                <a:cubicBezTo>
                  <a:pt x="3243470" y="1444014"/>
                  <a:pt x="3236181" y="1440370"/>
                  <a:pt x="3228893" y="1436725"/>
                </a:cubicBezTo>
                <a:close/>
                <a:moveTo>
                  <a:pt x="1658179" y="1436725"/>
                </a:moveTo>
                <a:lnTo>
                  <a:pt x="1658179" y="1451303"/>
                </a:lnTo>
                <a:cubicBezTo>
                  <a:pt x="1680046" y="1447658"/>
                  <a:pt x="1669112" y="1453125"/>
                  <a:pt x="1680046" y="1436725"/>
                </a:cubicBezTo>
                <a:close/>
                <a:moveTo>
                  <a:pt x="842513" y="1435749"/>
                </a:moveTo>
                <a:lnTo>
                  <a:pt x="857105" y="1454264"/>
                </a:lnTo>
                <a:lnTo>
                  <a:pt x="865909" y="1461204"/>
                </a:lnTo>
                <a:lnTo>
                  <a:pt x="865988" y="1461324"/>
                </a:lnTo>
                <a:lnTo>
                  <a:pt x="866314" y="1461523"/>
                </a:lnTo>
                <a:lnTo>
                  <a:pt x="876466" y="1469525"/>
                </a:lnTo>
                <a:cubicBezTo>
                  <a:pt x="876466" y="1465880"/>
                  <a:pt x="878288" y="1465880"/>
                  <a:pt x="880111" y="1464058"/>
                </a:cubicBezTo>
                <a:cubicBezTo>
                  <a:pt x="880111" y="1465880"/>
                  <a:pt x="880111" y="1469525"/>
                  <a:pt x="880111" y="1471347"/>
                </a:cubicBezTo>
                <a:cubicBezTo>
                  <a:pt x="876466" y="1469525"/>
                  <a:pt x="872822" y="1474991"/>
                  <a:pt x="867355" y="1471347"/>
                </a:cubicBezTo>
                <a:cubicBezTo>
                  <a:pt x="861889" y="1465880"/>
                  <a:pt x="858244" y="1458592"/>
                  <a:pt x="852778" y="1453125"/>
                </a:cubicBezTo>
                <a:cubicBezTo>
                  <a:pt x="850956" y="1454947"/>
                  <a:pt x="850956" y="1456769"/>
                  <a:pt x="850956" y="1460414"/>
                </a:cubicBezTo>
                <a:cubicBezTo>
                  <a:pt x="852778" y="1453125"/>
                  <a:pt x="849133" y="1445836"/>
                  <a:pt x="843667" y="1440370"/>
                </a:cubicBezTo>
                <a:close/>
                <a:moveTo>
                  <a:pt x="3465775" y="1434903"/>
                </a:moveTo>
                <a:cubicBezTo>
                  <a:pt x="3465775" y="1440370"/>
                  <a:pt x="3467597" y="1445836"/>
                  <a:pt x="3473064" y="1442192"/>
                </a:cubicBezTo>
                <a:cubicBezTo>
                  <a:pt x="3471242" y="1438548"/>
                  <a:pt x="3473064" y="1433081"/>
                  <a:pt x="3465775" y="1434903"/>
                </a:cubicBezTo>
                <a:close/>
                <a:moveTo>
                  <a:pt x="1013129" y="1434903"/>
                </a:moveTo>
                <a:cubicBezTo>
                  <a:pt x="1011307" y="1436725"/>
                  <a:pt x="1013129" y="1440370"/>
                  <a:pt x="1009485" y="1442192"/>
                </a:cubicBezTo>
                <a:cubicBezTo>
                  <a:pt x="1013129" y="1445836"/>
                  <a:pt x="1014951" y="1445836"/>
                  <a:pt x="1016774" y="1449481"/>
                </a:cubicBezTo>
                <a:cubicBezTo>
                  <a:pt x="1022240" y="1444014"/>
                  <a:pt x="1016774" y="1438548"/>
                  <a:pt x="1013129" y="1434903"/>
                </a:cubicBezTo>
                <a:close/>
                <a:moveTo>
                  <a:pt x="790824" y="1434903"/>
                </a:moveTo>
                <a:cubicBezTo>
                  <a:pt x="790824" y="1434903"/>
                  <a:pt x="789003" y="1436725"/>
                  <a:pt x="787179" y="1438548"/>
                </a:cubicBezTo>
                <a:cubicBezTo>
                  <a:pt x="789003" y="1442192"/>
                  <a:pt x="796290" y="1438548"/>
                  <a:pt x="790824" y="1434903"/>
                </a:cubicBezTo>
                <a:close/>
                <a:moveTo>
                  <a:pt x="768959" y="1434903"/>
                </a:moveTo>
                <a:cubicBezTo>
                  <a:pt x="768959" y="1436725"/>
                  <a:pt x="765313" y="1440370"/>
                  <a:pt x="768959" y="1442192"/>
                </a:cubicBezTo>
                <a:cubicBezTo>
                  <a:pt x="774424" y="1444014"/>
                  <a:pt x="776246" y="1442192"/>
                  <a:pt x="776246" y="1436725"/>
                </a:cubicBezTo>
                <a:cubicBezTo>
                  <a:pt x="774424" y="1433081"/>
                  <a:pt x="772602" y="1438548"/>
                  <a:pt x="768959" y="1434903"/>
                </a:cubicBezTo>
                <a:close/>
                <a:moveTo>
                  <a:pt x="761670" y="1434903"/>
                </a:moveTo>
                <a:cubicBezTo>
                  <a:pt x="759848" y="1436725"/>
                  <a:pt x="756203" y="1434903"/>
                  <a:pt x="756203" y="1438548"/>
                </a:cubicBezTo>
                <a:cubicBezTo>
                  <a:pt x="759848" y="1444014"/>
                  <a:pt x="763491" y="1438548"/>
                  <a:pt x="761670" y="1434903"/>
                </a:cubicBezTo>
                <a:close/>
                <a:moveTo>
                  <a:pt x="448256" y="1434903"/>
                </a:moveTo>
                <a:cubicBezTo>
                  <a:pt x="444611" y="1434903"/>
                  <a:pt x="439145" y="1436725"/>
                  <a:pt x="433678" y="1440370"/>
                </a:cubicBezTo>
                <a:cubicBezTo>
                  <a:pt x="440966" y="1445836"/>
                  <a:pt x="444611" y="1440370"/>
                  <a:pt x="448256" y="1434903"/>
                </a:cubicBezTo>
                <a:close/>
                <a:moveTo>
                  <a:pt x="842209" y="1434539"/>
                </a:moveTo>
                <a:lnTo>
                  <a:pt x="842513" y="1435749"/>
                </a:lnTo>
                <a:lnTo>
                  <a:pt x="841845" y="1434903"/>
                </a:lnTo>
                <a:close/>
                <a:moveTo>
                  <a:pt x="590612" y="1433992"/>
                </a:moveTo>
                <a:cubicBezTo>
                  <a:pt x="589929" y="1433081"/>
                  <a:pt x="588562" y="1433081"/>
                  <a:pt x="586741" y="1434903"/>
                </a:cubicBezTo>
                <a:cubicBezTo>
                  <a:pt x="588562" y="1436725"/>
                  <a:pt x="588562" y="1438548"/>
                  <a:pt x="590385" y="1438548"/>
                </a:cubicBezTo>
                <a:cubicBezTo>
                  <a:pt x="591296" y="1436726"/>
                  <a:pt x="591296" y="1434903"/>
                  <a:pt x="590612" y="1433992"/>
                </a:cubicBezTo>
                <a:close/>
                <a:moveTo>
                  <a:pt x="1198991" y="1433081"/>
                </a:moveTo>
                <a:cubicBezTo>
                  <a:pt x="1193525" y="1433081"/>
                  <a:pt x="1189880" y="1434903"/>
                  <a:pt x="1186236" y="1438548"/>
                </a:cubicBezTo>
                <a:cubicBezTo>
                  <a:pt x="1189880" y="1438548"/>
                  <a:pt x="1197169" y="1440370"/>
                  <a:pt x="1198991" y="1433081"/>
                </a:cubicBezTo>
                <a:close/>
                <a:moveTo>
                  <a:pt x="637761" y="1433081"/>
                </a:moveTo>
                <a:cubicBezTo>
                  <a:pt x="634117" y="1436725"/>
                  <a:pt x="632296" y="1444014"/>
                  <a:pt x="637761" y="1444014"/>
                </a:cubicBezTo>
                <a:cubicBezTo>
                  <a:pt x="639583" y="1436725"/>
                  <a:pt x="650516" y="1447658"/>
                  <a:pt x="643228" y="1442192"/>
                </a:cubicBezTo>
                <a:cubicBezTo>
                  <a:pt x="643228" y="1440370"/>
                  <a:pt x="639583" y="1436725"/>
                  <a:pt x="637761" y="1433081"/>
                </a:cubicBezTo>
                <a:close/>
                <a:moveTo>
                  <a:pt x="3194271" y="1431259"/>
                </a:moveTo>
                <a:cubicBezTo>
                  <a:pt x="3186982" y="1434903"/>
                  <a:pt x="3181516" y="1447658"/>
                  <a:pt x="3185160" y="1458592"/>
                </a:cubicBezTo>
                <a:cubicBezTo>
                  <a:pt x="3186982" y="1456769"/>
                  <a:pt x="3190627" y="1454947"/>
                  <a:pt x="3197916" y="1444014"/>
                </a:cubicBezTo>
                <a:lnTo>
                  <a:pt x="3212493" y="1454947"/>
                </a:lnTo>
                <a:cubicBezTo>
                  <a:pt x="3212493" y="1454947"/>
                  <a:pt x="3212493" y="1453125"/>
                  <a:pt x="3212493" y="1453125"/>
                </a:cubicBezTo>
                <a:cubicBezTo>
                  <a:pt x="3214315" y="1454947"/>
                  <a:pt x="3214315" y="1454947"/>
                  <a:pt x="3216137" y="1456769"/>
                </a:cubicBezTo>
                <a:cubicBezTo>
                  <a:pt x="3217960" y="1453125"/>
                  <a:pt x="3212493" y="1447658"/>
                  <a:pt x="3216137" y="1445836"/>
                </a:cubicBezTo>
                <a:cubicBezTo>
                  <a:pt x="3217960" y="1445836"/>
                  <a:pt x="3219782" y="1445836"/>
                  <a:pt x="3221604" y="1445836"/>
                </a:cubicBezTo>
                <a:cubicBezTo>
                  <a:pt x="3219782" y="1442192"/>
                  <a:pt x="3217960" y="1442192"/>
                  <a:pt x="3217960" y="1438548"/>
                </a:cubicBezTo>
                <a:cubicBezTo>
                  <a:pt x="3223426" y="1442192"/>
                  <a:pt x="3228893" y="1449481"/>
                  <a:pt x="3230715" y="1456769"/>
                </a:cubicBezTo>
                <a:cubicBezTo>
                  <a:pt x="3230715" y="1445836"/>
                  <a:pt x="3227071" y="1438548"/>
                  <a:pt x="3221604" y="1431259"/>
                </a:cubicBezTo>
                <a:cubicBezTo>
                  <a:pt x="3219782" y="1431259"/>
                  <a:pt x="3219782" y="1433081"/>
                  <a:pt x="3217960" y="1433081"/>
                </a:cubicBezTo>
                <a:cubicBezTo>
                  <a:pt x="3219782" y="1434903"/>
                  <a:pt x="3221604" y="1434903"/>
                  <a:pt x="3223426" y="1436725"/>
                </a:cubicBezTo>
                <a:cubicBezTo>
                  <a:pt x="3217960" y="1438548"/>
                  <a:pt x="3214315" y="1436725"/>
                  <a:pt x="3210671" y="1434903"/>
                </a:cubicBezTo>
                <a:cubicBezTo>
                  <a:pt x="3207027" y="1436725"/>
                  <a:pt x="3203382" y="1436725"/>
                  <a:pt x="3196093" y="1436725"/>
                </a:cubicBezTo>
                <a:cubicBezTo>
                  <a:pt x="3197916" y="1434903"/>
                  <a:pt x="3199738" y="1433081"/>
                  <a:pt x="3199738" y="1431259"/>
                </a:cubicBezTo>
                <a:cubicBezTo>
                  <a:pt x="3197916" y="1429437"/>
                  <a:pt x="3196093" y="1429437"/>
                  <a:pt x="3194271" y="1431259"/>
                </a:cubicBezTo>
                <a:close/>
                <a:moveTo>
                  <a:pt x="563052" y="1431259"/>
                </a:moveTo>
                <a:cubicBezTo>
                  <a:pt x="559408" y="1433081"/>
                  <a:pt x="557586" y="1436725"/>
                  <a:pt x="557586" y="1440370"/>
                </a:cubicBezTo>
                <a:cubicBezTo>
                  <a:pt x="561230" y="1442192"/>
                  <a:pt x="563052" y="1436725"/>
                  <a:pt x="566697" y="1436725"/>
                </a:cubicBezTo>
                <a:cubicBezTo>
                  <a:pt x="566697" y="1434903"/>
                  <a:pt x="564874" y="1431259"/>
                  <a:pt x="563052" y="1431259"/>
                </a:cubicBezTo>
                <a:close/>
                <a:moveTo>
                  <a:pt x="461010" y="1431259"/>
                </a:moveTo>
                <a:cubicBezTo>
                  <a:pt x="459188" y="1434903"/>
                  <a:pt x="453722" y="1438548"/>
                  <a:pt x="451899" y="1442192"/>
                </a:cubicBezTo>
                <a:cubicBezTo>
                  <a:pt x="450077" y="1440370"/>
                  <a:pt x="450077" y="1444014"/>
                  <a:pt x="446433" y="1445836"/>
                </a:cubicBezTo>
                <a:cubicBezTo>
                  <a:pt x="448256" y="1451303"/>
                  <a:pt x="451899" y="1444014"/>
                  <a:pt x="451899" y="1442192"/>
                </a:cubicBezTo>
                <a:cubicBezTo>
                  <a:pt x="453722" y="1442192"/>
                  <a:pt x="455544" y="1440370"/>
                  <a:pt x="457367" y="1438548"/>
                </a:cubicBezTo>
                <a:cubicBezTo>
                  <a:pt x="459188" y="1436725"/>
                  <a:pt x="461010" y="1433081"/>
                  <a:pt x="461010" y="1431259"/>
                </a:cubicBezTo>
                <a:close/>
                <a:moveTo>
                  <a:pt x="415456" y="1431259"/>
                </a:moveTo>
                <a:cubicBezTo>
                  <a:pt x="415456" y="1438548"/>
                  <a:pt x="428211" y="1444014"/>
                  <a:pt x="435500" y="1436725"/>
                </a:cubicBezTo>
                <a:cubicBezTo>
                  <a:pt x="430034" y="1433081"/>
                  <a:pt x="422745" y="1433081"/>
                  <a:pt x="415456" y="1431259"/>
                </a:cubicBezTo>
                <a:close/>
                <a:moveTo>
                  <a:pt x="453494" y="1430804"/>
                </a:moveTo>
                <a:cubicBezTo>
                  <a:pt x="452355" y="1431714"/>
                  <a:pt x="450988" y="1433081"/>
                  <a:pt x="450077" y="1433081"/>
                </a:cubicBezTo>
                <a:cubicBezTo>
                  <a:pt x="451899" y="1433081"/>
                  <a:pt x="453722" y="1431259"/>
                  <a:pt x="455544" y="1431259"/>
                </a:cubicBezTo>
                <a:cubicBezTo>
                  <a:pt x="455544" y="1429437"/>
                  <a:pt x="454633" y="1429892"/>
                  <a:pt x="453494" y="1430804"/>
                </a:cubicBezTo>
                <a:close/>
                <a:moveTo>
                  <a:pt x="1417651" y="1429563"/>
                </a:moveTo>
                <a:lnTo>
                  <a:pt x="1432231" y="1436852"/>
                </a:lnTo>
                <a:lnTo>
                  <a:pt x="1417651" y="1453251"/>
                </a:lnTo>
                <a:lnTo>
                  <a:pt x="1424940" y="1467827"/>
                </a:lnTo>
                <a:lnTo>
                  <a:pt x="1386674" y="1467827"/>
                </a:lnTo>
                <a:cubicBezTo>
                  <a:pt x="1401252" y="1425919"/>
                  <a:pt x="1403074" y="1469649"/>
                  <a:pt x="1417651" y="1429563"/>
                </a:cubicBezTo>
                <a:close/>
                <a:moveTo>
                  <a:pt x="2857169" y="1429502"/>
                </a:moveTo>
                <a:lnTo>
                  <a:pt x="2873569" y="1429502"/>
                </a:lnTo>
                <a:lnTo>
                  <a:pt x="2857169" y="1444079"/>
                </a:lnTo>
                <a:close/>
                <a:moveTo>
                  <a:pt x="1160725" y="1429437"/>
                </a:moveTo>
                <a:cubicBezTo>
                  <a:pt x="1158903" y="1431259"/>
                  <a:pt x="1162547" y="1434903"/>
                  <a:pt x="1164370" y="1436725"/>
                </a:cubicBezTo>
                <a:cubicBezTo>
                  <a:pt x="1164370" y="1434903"/>
                  <a:pt x="1166192" y="1434903"/>
                  <a:pt x="1168014" y="1433081"/>
                </a:cubicBezTo>
                <a:cubicBezTo>
                  <a:pt x="1166192" y="1429437"/>
                  <a:pt x="1162547" y="1433081"/>
                  <a:pt x="1160725" y="1429437"/>
                </a:cubicBezTo>
                <a:close/>
                <a:moveTo>
                  <a:pt x="1116993" y="1429437"/>
                </a:moveTo>
                <a:cubicBezTo>
                  <a:pt x="1116993" y="1436725"/>
                  <a:pt x="1127926" y="1436725"/>
                  <a:pt x="1133393" y="1442192"/>
                </a:cubicBezTo>
                <a:cubicBezTo>
                  <a:pt x="1129748" y="1436725"/>
                  <a:pt x="1122459" y="1431259"/>
                  <a:pt x="1116993" y="1429437"/>
                </a:cubicBezTo>
                <a:close/>
                <a:moveTo>
                  <a:pt x="973041" y="1429437"/>
                </a:moveTo>
                <a:cubicBezTo>
                  <a:pt x="980330" y="1442192"/>
                  <a:pt x="991263" y="1440370"/>
                  <a:pt x="1000374" y="1449481"/>
                </a:cubicBezTo>
                <a:cubicBezTo>
                  <a:pt x="998552" y="1449481"/>
                  <a:pt x="995818" y="1448114"/>
                  <a:pt x="993085" y="1446975"/>
                </a:cubicBezTo>
                <a:lnTo>
                  <a:pt x="986629" y="1445966"/>
                </a:lnTo>
                <a:lnTo>
                  <a:pt x="982152" y="1440370"/>
                </a:lnTo>
                <a:cubicBezTo>
                  <a:pt x="980330" y="1440370"/>
                  <a:pt x="982152" y="1442192"/>
                  <a:pt x="982152" y="1442192"/>
                </a:cubicBezTo>
                <a:cubicBezTo>
                  <a:pt x="978508" y="1438548"/>
                  <a:pt x="974863" y="1434903"/>
                  <a:pt x="973041" y="1429437"/>
                </a:cubicBezTo>
                <a:close/>
                <a:moveTo>
                  <a:pt x="754380" y="1429437"/>
                </a:moveTo>
                <a:cubicBezTo>
                  <a:pt x="752558" y="1427615"/>
                  <a:pt x="752558" y="1431259"/>
                  <a:pt x="750737" y="1431259"/>
                </a:cubicBezTo>
                <a:cubicBezTo>
                  <a:pt x="752558" y="1434903"/>
                  <a:pt x="754380" y="1431259"/>
                  <a:pt x="754380" y="1429437"/>
                </a:cubicBezTo>
                <a:close/>
                <a:moveTo>
                  <a:pt x="566240" y="1429209"/>
                </a:moveTo>
                <a:cubicBezTo>
                  <a:pt x="565785" y="1428070"/>
                  <a:pt x="564874" y="1427614"/>
                  <a:pt x="563052" y="1429437"/>
                </a:cubicBezTo>
                <a:cubicBezTo>
                  <a:pt x="566697" y="1429437"/>
                  <a:pt x="564874" y="1431259"/>
                  <a:pt x="566697" y="1433081"/>
                </a:cubicBezTo>
                <a:cubicBezTo>
                  <a:pt x="566697" y="1432170"/>
                  <a:pt x="566697" y="1430348"/>
                  <a:pt x="566240" y="1429209"/>
                </a:cubicBezTo>
                <a:close/>
                <a:moveTo>
                  <a:pt x="3159650" y="1427615"/>
                </a:moveTo>
                <a:cubicBezTo>
                  <a:pt x="3159650" y="1429437"/>
                  <a:pt x="3159650" y="1442192"/>
                  <a:pt x="3166939" y="1440370"/>
                </a:cubicBezTo>
                <a:cubicBezTo>
                  <a:pt x="3166939" y="1434903"/>
                  <a:pt x="3165116" y="1433081"/>
                  <a:pt x="3163294" y="1427615"/>
                </a:cubicBezTo>
                <a:cubicBezTo>
                  <a:pt x="3163294" y="1429437"/>
                  <a:pt x="3159650" y="1429437"/>
                  <a:pt x="3159650" y="1427615"/>
                </a:cubicBezTo>
                <a:close/>
                <a:moveTo>
                  <a:pt x="2999299" y="1427615"/>
                </a:moveTo>
                <a:cubicBezTo>
                  <a:pt x="2993832" y="1431259"/>
                  <a:pt x="2990188" y="1436725"/>
                  <a:pt x="2988366" y="1444014"/>
                </a:cubicBezTo>
                <a:lnTo>
                  <a:pt x="2993832" y="1444014"/>
                </a:lnTo>
                <a:lnTo>
                  <a:pt x="3001121" y="1429437"/>
                </a:lnTo>
                <a:cubicBezTo>
                  <a:pt x="3001121" y="1429437"/>
                  <a:pt x="2999299" y="1427615"/>
                  <a:pt x="2999299" y="1427615"/>
                </a:cubicBezTo>
                <a:close/>
                <a:moveTo>
                  <a:pt x="1565248" y="1427615"/>
                </a:moveTo>
                <a:lnTo>
                  <a:pt x="1550670" y="1442192"/>
                </a:lnTo>
                <a:lnTo>
                  <a:pt x="1567070" y="1451303"/>
                </a:lnTo>
                <a:close/>
                <a:moveTo>
                  <a:pt x="801757" y="1427615"/>
                </a:moveTo>
                <a:cubicBezTo>
                  <a:pt x="801757" y="1429437"/>
                  <a:pt x="799935" y="1427615"/>
                  <a:pt x="798112" y="1429437"/>
                </a:cubicBezTo>
                <a:cubicBezTo>
                  <a:pt x="796290" y="1433081"/>
                  <a:pt x="796290" y="1434903"/>
                  <a:pt x="794468" y="1438548"/>
                </a:cubicBezTo>
                <a:cubicBezTo>
                  <a:pt x="798112" y="1438548"/>
                  <a:pt x="801757" y="1431259"/>
                  <a:pt x="801757" y="1427615"/>
                </a:cubicBezTo>
                <a:close/>
                <a:moveTo>
                  <a:pt x="745269" y="1427615"/>
                </a:moveTo>
                <a:cubicBezTo>
                  <a:pt x="741626" y="1429437"/>
                  <a:pt x="739803" y="1433081"/>
                  <a:pt x="737981" y="1434903"/>
                </a:cubicBezTo>
                <a:lnTo>
                  <a:pt x="739803" y="1434903"/>
                </a:lnTo>
                <a:cubicBezTo>
                  <a:pt x="743447" y="1434903"/>
                  <a:pt x="747092" y="1433081"/>
                  <a:pt x="745269" y="1427615"/>
                </a:cubicBezTo>
                <a:close/>
                <a:moveTo>
                  <a:pt x="838028" y="1427528"/>
                </a:moveTo>
                <a:lnTo>
                  <a:pt x="839112" y="1428071"/>
                </a:lnTo>
                <a:lnTo>
                  <a:pt x="835184" y="1427678"/>
                </a:lnTo>
                <a:lnTo>
                  <a:pt x="835158" y="1427600"/>
                </a:lnTo>
                <a:close/>
                <a:moveTo>
                  <a:pt x="1125442" y="1427449"/>
                </a:moveTo>
                <a:lnTo>
                  <a:pt x="1126104" y="1427615"/>
                </a:lnTo>
                <a:cubicBezTo>
                  <a:pt x="1127015" y="1428526"/>
                  <a:pt x="1126559" y="1428526"/>
                  <a:pt x="1125876" y="1428070"/>
                </a:cubicBezTo>
                <a:close/>
                <a:moveTo>
                  <a:pt x="575808" y="1426704"/>
                </a:moveTo>
                <a:lnTo>
                  <a:pt x="576053" y="1427073"/>
                </a:lnTo>
                <a:lnTo>
                  <a:pt x="575808" y="1427615"/>
                </a:lnTo>
                <a:close/>
                <a:moveTo>
                  <a:pt x="3247114" y="1425792"/>
                </a:moveTo>
                <a:cubicBezTo>
                  <a:pt x="3243470" y="1429437"/>
                  <a:pt x="3250759" y="1433081"/>
                  <a:pt x="3254403" y="1434903"/>
                </a:cubicBezTo>
                <a:cubicBezTo>
                  <a:pt x="3254403" y="1431259"/>
                  <a:pt x="3252581" y="1431259"/>
                  <a:pt x="3252581" y="1427615"/>
                </a:cubicBezTo>
                <a:cubicBezTo>
                  <a:pt x="3250759" y="1427615"/>
                  <a:pt x="3247114" y="1427615"/>
                  <a:pt x="3247114" y="1425792"/>
                </a:cubicBezTo>
                <a:close/>
                <a:moveTo>
                  <a:pt x="1118815" y="1425792"/>
                </a:moveTo>
                <a:cubicBezTo>
                  <a:pt x="1126104" y="1429437"/>
                  <a:pt x="1133393" y="1442192"/>
                  <a:pt x="1140681" y="1440370"/>
                </a:cubicBezTo>
                <a:cubicBezTo>
                  <a:pt x="1137037" y="1434903"/>
                  <a:pt x="1133393" y="1431259"/>
                  <a:pt x="1127926" y="1429437"/>
                </a:cubicBezTo>
                <a:cubicBezTo>
                  <a:pt x="1127926" y="1429437"/>
                  <a:pt x="1129748" y="1429437"/>
                  <a:pt x="1129748" y="1429437"/>
                </a:cubicBezTo>
                <a:cubicBezTo>
                  <a:pt x="1129748" y="1427615"/>
                  <a:pt x="1126104" y="1425792"/>
                  <a:pt x="1124282" y="1425792"/>
                </a:cubicBezTo>
                <a:lnTo>
                  <a:pt x="1125442" y="1427449"/>
                </a:lnTo>
                <a:close/>
                <a:moveTo>
                  <a:pt x="834556" y="1425792"/>
                </a:moveTo>
                <a:lnTo>
                  <a:pt x="852778" y="1425792"/>
                </a:lnTo>
                <a:cubicBezTo>
                  <a:pt x="850044" y="1427614"/>
                  <a:pt x="846855" y="1427614"/>
                  <a:pt x="843667" y="1427387"/>
                </a:cubicBezTo>
                <a:lnTo>
                  <a:pt x="838028" y="1427528"/>
                </a:lnTo>
                <a:close/>
                <a:moveTo>
                  <a:pt x="812690" y="1425792"/>
                </a:moveTo>
                <a:cubicBezTo>
                  <a:pt x="809046" y="1429437"/>
                  <a:pt x="805401" y="1434903"/>
                  <a:pt x="799935" y="1436725"/>
                </a:cubicBezTo>
                <a:cubicBezTo>
                  <a:pt x="807223" y="1436725"/>
                  <a:pt x="816334" y="1436725"/>
                  <a:pt x="812690" y="1425792"/>
                </a:cubicBezTo>
                <a:close/>
                <a:moveTo>
                  <a:pt x="665094" y="1425792"/>
                </a:moveTo>
                <a:cubicBezTo>
                  <a:pt x="665094" y="1431259"/>
                  <a:pt x="663272" y="1436725"/>
                  <a:pt x="659627" y="1440370"/>
                </a:cubicBezTo>
                <a:cubicBezTo>
                  <a:pt x="661449" y="1442192"/>
                  <a:pt x="665094" y="1445836"/>
                  <a:pt x="668738" y="1442192"/>
                </a:cubicBezTo>
                <a:cubicBezTo>
                  <a:pt x="666916" y="1440370"/>
                  <a:pt x="666916" y="1438548"/>
                  <a:pt x="663272" y="1438548"/>
                </a:cubicBezTo>
                <a:cubicBezTo>
                  <a:pt x="665094" y="1434903"/>
                  <a:pt x="666916" y="1429437"/>
                  <a:pt x="665094" y="1425792"/>
                </a:cubicBezTo>
                <a:close/>
                <a:moveTo>
                  <a:pt x="630472" y="1425792"/>
                </a:moveTo>
                <a:cubicBezTo>
                  <a:pt x="626828" y="1423970"/>
                  <a:pt x="625006" y="1429437"/>
                  <a:pt x="621362" y="1427615"/>
                </a:cubicBezTo>
                <a:cubicBezTo>
                  <a:pt x="610429" y="1434903"/>
                  <a:pt x="606784" y="1438548"/>
                  <a:pt x="604963" y="1449481"/>
                </a:cubicBezTo>
                <a:cubicBezTo>
                  <a:pt x="604963" y="1456769"/>
                  <a:pt x="603140" y="1462236"/>
                  <a:pt x="612251" y="1462236"/>
                </a:cubicBezTo>
                <a:cubicBezTo>
                  <a:pt x="614074" y="1460414"/>
                  <a:pt x="615895" y="1460414"/>
                  <a:pt x="615895" y="1458592"/>
                </a:cubicBezTo>
                <a:cubicBezTo>
                  <a:pt x="615895" y="1454947"/>
                  <a:pt x="614074" y="1454947"/>
                  <a:pt x="610429" y="1454947"/>
                </a:cubicBezTo>
                <a:cubicBezTo>
                  <a:pt x="628650" y="1451303"/>
                  <a:pt x="623185" y="1434903"/>
                  <a:pt x="630472" y="1425792"/>
                </a:cubicBezTo>
                <a:close/>
                <a:moveTo>
                  <a:pt x="3407466" y="1423970"/>
                </a:moveTo>
                <a:cubicBezTo>
                  <a:pt x="3405643" y="1429437"/>
                  <a:pt x="3405643" y="1436725"/>
                  <a:pt x="3412932" y="1438548"/>
                </a:cubicBezTo>
                <a:cubicBezTo>
                  <a:pt x="3412932" y="1436725"/>
                  <a:pt x="3412932" y="1436725"/>
                  <a:pt x="3414754" y="1434903"/>
                </a:cubicBezTo>
                <a:cubicBezTo>
                  <a:pt x="3414754" y="1442192"/>
                  <a:pt x="3420221" y="1447658"/>
                  <a:pt x="3425687" y="1444014"/>
                </a:cubicBezTo>
                <a:cubicBezTo>
                  <a:pt x="3427510" y="1440370"/>
                  <a:pt x="3427510" y="1436725"/>
                  <a:pt x="3427510" y="1434903"/>
                </a:cubicBezTo>
                <a:cubicBezTo>
                  <a:pt x="3427510" y="1438548"/>
                  <a:pt x="3427510" y="1440370"/>
                  <a:pt x="3425687" y="1442192"/>
                </a:cubicBezTo>
                <a:cubicBezTo>
                  <a:pt x="3422043" y="1436725"/>
                  <a:pt x="3431154" y="1434903"/>
                  <a:pt x="3429332" y="1427615"/>
                </a:cubicBezTo>
                <a:cubicBezTo>
                  <a:pt x="3425687" y="1431259"/>
                  <a:pt x="3418399" y="1425792"/>
                  <a:pt x="3422043" y="1434903"/>
                </a:cubicBezTo>
                <a:cubicBezTo>
                  <a:pt x="3418399" y="1436725"/>
                  <a:pt x="3420221" y="1433081"/>
                  <a:pt x="3416577" y="1434903"/>
                </a:cubicBezTo>
                <a:cubicBezTo>
                  <a:pt x="3418399" y="1425792"/>
                  <a:pt x="3409288" y="1427615"/>
                  <a:pt x="3407466" y="1423970"/>
                </a:cubicBezTo>
                <a:close/>
                <a:moveTo>
                  <a:pt x="3148717" y="1423970"/>
                </a:moveTo>
                <a:cubicBezTo>
                  <a:pt x="3146895" y="1427615"/>
                  <a:pt x="3154184" y="1433081"/>
                  <a:pt x="3157828" y="1433081"/>
                </a:cubicBezTo>
                <a:cubicBezTo>
                  <a:pt x="3159650" y="1423970"/>
                  <a:pt x="3152361" y="1423970"/>
                  <a:pt x="3148717" y="1423970"/>
                </a:cubicBezTo>
                <a:close/>
                <a:moveTo>
                  <a:pt x="991263" y="1423970"/>
                </a:moveTo>
                <a:cubicBezTo>
                  <a:pt x="991263" y="1434903"/>
                  <a:pt x="1000374" y="1438548"/>
                  <a:pt x="1007663" y="1440370"/>
                </a:cubicBezTo>
                <a:cubicBezTo>
                  <a:pt x="1002196" y="1434903"/>
                  <a:pt x="996729" y="1429437"/>
                  <a:pt x="991263" y="1423970"/>
                </a:cubicBezTo>
                <a:close/>
                <a:moveTo>
                  <a:pt x="830912" y="1423970"/>
                </a:moveTo>
                <a:cubicBezTo>
                  <a:pt x="827267" y="1429437"/>
                  <a:pt x="823623" y="1431259"/>
                  <a:pt x="818156" y="1434903"/>
                </a:cubicBezTo>
                <a:cubicBezTo>
                  <a:pt x="825445" y="1434903"/>
                  <a:pt x="836378" y="1433081"/>
                  <a:pt x="830912" y="1423970"/>
                </a:cubicBezTo>
                <a:close/>
                <a:moveTo>
                  <a:pt x="697893" y="1423970"/>
                </a:moveTo>
                <a:cubicBezTo>
                  <a:pt x="694249" y="1427615"/>
                  <a:pt x="694249" y="1434903"/>
                  <a:pt x="694249" y="1440370"/>
                </a:cubicBezTo>
                <a:cubicBezTo>
                  <a:pt x="690604" y="1442192"/>
                  <a:pt x="686504" y="1445381"/>
                  <a:pt x="684454" y="1448569"/>
                </a:cubicBezTo>
                <a:lnTo>
                  <a:pt x="684911" y="1450062"/>
                </a:lnTo>
                <a:lnTo>
                  <a:pt x="683316" y="1451303"/>
                </a:lnTo>
                <a:lnTo>
                  <a:pt x="685162" y="1450886"/>
                </a:lnTo>
                <a:lnTo>
                  <a:pt x="686960" y="1456769"/>
                </a:lnTo>
                <a:cubicBezTo>
                  <a:pt x="687872" y="1457680"/>
                  <a:pt x="688326" y="1456769"/>
                  <a:pt x="688326" y="1455175"/>
                </a:cubicBezTo>
                <a:lnTo>
                  <a:pt x="687188" y="1450429"/>
                </a:lnTo>
                <a:lnTo>
                  <a:pt x="687539" y="1450349"/>
                </a:lnTo>
                <a:lnTo>
                  <a:pt x="690604" y="1454947"/>
                </a:lnTo>
                <a:cubicBezTo>
                  <a:pt x="692426" y="1452214"/>
                  <a:pt x="691971" y="1450392"/>
                  <a:pt x="690376" y="1449708"/>
                </a:cubicBezTo>
                <a:lnTo>
                  <a:pt x="687539" y="1450349"/>
                </a:lnTo>
                <a:lnTo>
                  <a:pt x="686960" y="1449481"/>
                </a:lnTo>
                <a:lnTo>
                  <a:pt x="687188" y="1450429"/>
                </a:lnTo>
                <a:lnTo>
                  <a:pt x="685162" y="1450886"/>
                </a:lnTo>
                <a:lnTo>
                  <a:pt x="684911" y="1450062"/>
                </a:lnTo>
                <a:lnTo>
                  <a:pt x="689466" y="1446519"/>
                </a:lnTo>
                <a:cubicBezTo>
                  <a:pt x="691971" y="1445380"/>
                  <a:pt x="694249" y="1444014"/>
                  <a:pt x="694249" y="1440370"/>
                </a:cubicBezTo>
                <a:cubicBezTo>
                  <a:pt x="697893" y="1436725"/>
                  <a:pt x="701537" y="1433081"/>
                  <a:pt x="705182" y="1431259"/>
                </a:cubicBezTo>
                <a:cubicBezTo>
                  <a:pt x="708826" y="1438548"/>
                  <a:pt x="697893" y="1438548"/>
                  <a:pt x="697893" y="1444014"/>
                </a:cubicBezTo>
                <a:cubicBezTo>
                  <a:pt x="705182" y="1442192"/>
                  <a:pt x="717937" y="1444014"/>
                  <a:pt x="719759" y="1434903"/>
                </a:cubicBezTo>
                <a:cubicBezTo>
                  <a:pt x="712470" y="1427615"/>
                  <a:pt x="705182" y="1425792"/>
                  <a:pt x="697893" y="1423970"/>
                </a:cubicBezTo>
                <a:close/>
                <a:moveTo>
                  <a:pt x="508387" y="1423970"/>
                </a:moveTo>
                <a:cubicBezTo>
                  <a:pt x="504743" y="1422148"/>
                  <a:pt x="501098" y="1427615"/>
                  <a:pt x="501098" y="1429437"/>
                </a:cubicBezTo>
                <a:cubicBezTo>
                  <a:pt x="502920" y="1433081"/>
                  <a:pt x="501098" y="1440370"/>
                  <a:pt x="504743" y="1444014"/>
                </a:cubicBezTo>
                <a:cubicBezTo>
                  <a:pt x="504743" y="1436725"/>
                  <a:pt x="508387" y="1431259"/>
                  <a:pt x="508387" y="1423970"/>
                </a:cubicBezTo>
                <a:close/>
                <a:moveTo>
                  <a:pt x="471943" y="1423970"/>
                </a:moveTo>
                <a:cubicBezTo>
                  <a:pt x="470121" y="1422148"/>
                  <a:pt x="464655" y="1427615"/>
                  <a:pt x="466478" y="1429437"/>
                </a:cubicBezTo>
                <a:cubicBezTo>
                  <a:pt x="468299" y="1429437"/>
                  <a:pt x="470121" y="1425792"/>
                  <a:pt x="471943" y="1423970"/>
                </a:cubicBezTo>
                <a:close/>
                <a:moveTo>
                  <a:pt x="493809" y="1422148"/>
                </a:moveTo>
                <a:cubicBezTo>
                  <a:pt x="488343" y="1420326"/>
                  <a:pt x="486521" y="1431259"/>
                  <a:pt x="490165" y="1431259"/>
                </a:cubicBezTo>
                <a:cubicBezTo>
                  <a:pt x="481054" y="1434903"/>
                  <a:pt x="481054" y="1454947"/>
                  <a:pt x="490165" y="1454947"/>
                </a:cubicBezTo>
                <a:cubicBezTo>
                  <a:pt x="491987" y="1447658"/>
                  <a:pt x="490165" y="1438548"/>
                  <a:pt x="490165" y="1431259"/>
                </a:cubicBezTo>
                <a:cubicBezTo>
                  <a:pt x="493809" y="1427615"/>
                  <a:pt x="490165" y="1423970"/>
                  <a:pt x="493809" y="1422148"/>
                </a:cubicBezTo>
                <a:close/>
                <a:moveTo>
                  <a:pt x="605191" y="1421465"/>
                </a:moveTo>
                <a:cubicBezTo>
                  <a:pt x="603595" y="1422148"/>
                  <a:pt x="602229" y="1423059"/>
                  <a:pt x="601318" y="1422148"/>
                </a:cubicBezTo>
                <a:cubicBezTo>
                  <a:pt x="599496" y="1422148"/>
                  <a:pt x="603140" y="1423970"/>
                  <a:pt x="599496" y="1425792"/>
                </a:cubicBezTo>
                <a:cubicBezTo>
                  <a:pt x="603140" y="1427615"/>
                  <a:pt x="608606" y="1425792"/>
                  <a:pt x="610429" y="1422148"/>
                </a:cubicBezTo>
                <a:cubicBezTo>
                  <a:pt x="608606" y="1420326"/>
                  <a:pt x="606784" y="1420782"/>
                  <a:pt x="605191" y="1421465"/>
                </a:cubicBezTo>
                <a:close/>
                <a:moveTo>
                  <a:pt x="3176050" y="1420326"/>
                </a:moveTo>
                <a:cubicBezTo>
                  <a:pt x="3177872" y="1429437"/>
                  <a:pt x="3176050" y="1434903"/>
                  <a:pt x="3177872" y="1442192"/>
                </a:cubicBezTo>
                <a:cubicBezTo>
                  <a:pt x="3185160" y="1440370"/>
                  <a:pt x="3181516" y="1431259"/>
                  <a:pt x="3185160" y="1427615"/>
                </a:cubicBezTo>
                <a:cubicBezTo>
                  <a:pt x="3181516" y="1423970"/>
                  <a:pt x="3179694" y="1420326"/>
                  <a:pt x="3176050" y="1420326"/>
                </a:cubicBezTo>
                <a:close/>
                <a:moveTo>
                  <a:pt x="1137037" y="1420326"/>
                </a:moveTo>
                <a:cubicBezTo>
                  <a:pt x="1135215" y="1420326"/>
                  <a:pt x="1135215" y="1422148"/>
                  <a:pt x="1133393" y="1422148"/>
                </a:cubicBezTo>
                <a:cubicBezTo>
                  <a:pt x="1135215" y="1423970"/>
                  <a:pt x="1137037" y="1420326"/>
                  <a:pt x="1138859" y="1423970"/>
                </a:cubicBezTo>
                <a:cubicBezTo>
                  <a:pt x="1135215" y="1423970"/>
                  <a:pt x="1133393" y="1425792"/>
                  <a:pt x="1129748" y="1425792"/>
                </a:cubicBezTo>
                <a:cubicBezTo>
                  <a:pt x="1135215" y="1433081"/>
                  <a:pt x="1142503" y="1436725"/>
                  <a:pt x="1147970" y="1438548"/>
                </a:cubicBezTo>
                <a:cubicBezTo>
                  <a:pt x="1146148" y="1436725"/>
                  <a:pt x="1146148" y="1431259"/>
                  <a:pt x="1142503" y="1431259"/>
                </a:cubicBezTo>
                <a:cubicBezTo>
                  <a:pt x="1142503" y="1431259"/>
                  <a:pt x="1144326" y="1429437"/>
                  <a:pt x="1144326" y="1429437"/>
                </a:cubicBezTo>
                <a:cubicBezTo>
                  <a:pt x="1142503" y="1427615"/>
                  <a:pt x="1140681" y="1425792"/>
                  <a:pt x="1138859" y="1423970"/>
                </a:cubicBezTo>
                <a:cubicBezTo>
                  <a:pt x="1138859" y="1422148"/>
                  <a:pt x="1137037" y="1422148"/>
                  <a:pt x="1137037" y="1420326"/>
                </a:cubicBezTo>
                <a:close/>
                <a:moveTo>
                  <a:pt x="661449" y="1420326"/>
                </a:moveTo>
                <a:cubicBezTo>
                  <a:pt x="659627" y="1422148"/>
                  <a:pt x="659627" y="1423970"/>
                  <a:pt x="657805" y="1425792"/>
                </a:cubicBezTo>
                <a:cubicBezTo>
                  <a:pt x="659627" y="1425792"/>
                  <a:pt x="665094" y="1422148"/>
                  <a:pt x="661449" y="1420326"/>
                </a:cubicBezTo>
                <a:close/>
                <a:moveTo>
                  <a:pt x="646872" y="1420326"/>
                </a:moveTo>
                <a:cubicBezTo>
                  <a:pt x="634117" y="1429437"/>
                  <a:pt x="646872" y="1427615"/>
                  <a:pt x="645050" y="1431259"/>
                </a:cubicBezTo>
                <a:cubicBezTo>
                  <a:pt x="645050" y="1429437"/>
                  <a:pt x="646872" y="1427615"/>
                  <a:pt x="645050" y="1425792"/>
                </a:cubicBezTo>
                <a:cubicBezTo>
                  <a:pt x="646872" y="1427615"/>
                  <a:pt x="646872" y="1427615"/>
                  <a:pt x="648694" y="1429437"/>
                </a:cubicBezTo>
                <a:cubicBezTo>
                  <a:pt x="648694" y="1425792"/>
                  <a:pt x="646872" y="1423970"/>
                  <a:pt x="646872" y="1420326"/>
                </a:cubicBezTo>
                <a:close/>
                <a:moveTo>
                  <a:pt x="566697" y="1420326"/>
                </a:moveTo>
                <a:cubicBezTo>
                  <a:pt x="564874" y="1422148"/>
                  <a:pt x="566697" y="1423970"/>
                  <a:pt x="564874" y="1425792"/>
                </a:cubicBezTo>
                <a:cubicBezTo>
                  <a:pt x="566697" y="1425792"/>
                  <a:pt x="566697" y="1427615"/>
                  <a:pt x="568519" y="1425792"/>
                </a:cubicBezTo>
                <a:cubicBezTo>
                  <a:pt x="566697" y="1423970"/>
                  <a:pt x="570341" y="1423970"/>
                  <a:pt x="566697" y="1420326"/>
                </a:cubicBezTo>
                <a:close/>
                <a:moveTo>
                  <a:pt x="528431" y="1420326"/>
                </a:moveTo>
                <a:cubicBezTo>
                  <a:pt x="524786" y="1422148"/>
                  <a:pt x="530253" y="1425792"/>
                  <a:pt x="532075" y="1427615"/>
                </a:cubicBezTo>
                <a:cubicBezTo>
                  <a:pt x="530253" y="1427615"/>
                  <a:pt x="528431" y="1425792"/>
                  <a:pt x="526609" y="1425792"/>
                </a:cubicBezTo>
                <a:cubicBezTo>
                  <a:pt x="521142" y="1429437"/>
                  <a:pt x="515676" y="1438548"/>
                  <a:pt x="513853" y="1445836"/>
                </a:cubicBezTo>
                <a:cubicBezTo>
                  <a:pt x="515675" y="1450391"/>
                  <a:pt x="518864" y="1453580"/>
                  <a:pt x="522282" y="1456314"/>
                </a:cubicBezTo>
                <a:lnTo>
                  <a:pt x="530334" y="1462681"/>
                </a:lnTo>
                <a:lnTo>
                  <a:pt x="530709" y="1464741"/>
                </a:lnTo>
                <a:cubicBezTo>
                  <a:pt x="531619" y="1465424"/>
                  <a:pt x="532986" y="1465880"/>
                  <a:pt x="533897" y="1465880"/>
                </a:cubicBezTo>
                <a:cubicBezTo>
                  <a:pt x="533897" y="1464058"/>
                  <a:pt x="533897" y="1464058"/>
                  <a:pt x="533897" y="1464058"/>
                </a:cubicBezTo>
                <a:cubicBezTo>
                  <a:pt x="535719" y="1464058"/>
                  <a:pt x="533897" y="1471347"/>
                  <a:pt x="535719" y="1469525"/>
                </a:cubicBezTo>
                <a:cubicBezTo>
                  <a:pt x="546653" y="1464058"/>
                  <a:pt x="548475" y="1451303"/>
                  <a:pt x="555763" y="1442192"/>
                </a:cubicBezTo>
                <a:cubicBezTo>
                  <a:pt x="550297" y="1440370"/>
                  <a:pt x="553941" y="1449481"/>
                  <a:pt x="550297" y="1449481"/>
                </a:cubicBezTo>
                <a:cubicBezTo>
                  <a:pt x="544830" y="1445836"/>
                  <a:pt x="553941" y="1444014"/>
                  <a:pt x="552119" y="1440370"/>
                </a:cubicBezTo>
                <a:cubicBezTo>
                  <a:pt x="548475" y="1442192"/>
                  <a:pt x="548475" y="1447658"/>
                  <a:pt x="543008" y="1444014"/>
                </a:cubicBezTo>
                <a:cubicBezTo>
                  <a:pt x="544830" y="1444014"/>
                  <a:pt x="548475" y="1442192"/>
                  <a:pt x="548475" y="1442192"/>
                </a:cubicBezTo>
                <a:cubicBezTo>
                  <a:pt x="544830" y="1434903"/>
                  <a:pt x="535719" y="1436725"/>
                  <a:pt x="528431" y="1431259"/>
                </a:cubicBezTo>
                <a:cubicBezTo>
                  <a:pt x="537542" y="1429437"/>
                  <a:pt x="541186" y="1436725"/>
                  <a:pt x="550297" y="1436725"/>
                </a:cubicBezTo>
                <a:cubicBezTo>
                  <a:pt x="550297" y="1431259"/>
                  <a:pt x="544830" y="1423970"/>
                  <a:pt x="541186" y="1425792"/>
                </a:cubicBezTo>
                <a:cubicBezTo>
                  <a:pt x="535719" y="1427615"/>
                  <a:pt x="533897" y="1427615"/>
                  <a:pt x="532075" y="1427615"/>
                </a:cubicBezTo>
                <a:cubicBezTo>
                  <a:pt x="533897" y="1425792"/>
                  <a:pt x="537542" y="1427615"/>
                  <a:pt x="537542" y="1423970"/>
                </a:cubicBezTo>
                <a:cubicBezTo>
                  <a:pt x="535719" y="1422148"/>
                  <a:pt x="532075" y="1418504"/>
                  <a:pt x="528431" y="1420326"/>
                </a:cubicBezTo>
                <a:close/>
                <a:moveTo>
                  <a:pt x="1170255" y="1419727"/>
                </a:moveTo>
                <a:lnTo>
                  <a:pt x="1170975" y="1421237"/>
                </a:lnTo>
                <a:lnTo>
                  <a:pt x="1171027" y="1422008"/>
                </a:lnTo>
                <a:lnTo>
                  <a:pt x="1170291" y="1420326"/>
                </a:lnTo>
                <a:close/>
                <a:moveTo>
                  <a:pt x="3389244" y="1418504"/>
                </a:moveTo>
                <a:cubicBezTo>
                  <a:pt x="3387422" y="1420326"/>
                  <a:pt x="3387422" y="1423970"/>
                  <a:pt x="3387422" y="1425792"/>
                </a:cubicBezTo>
                <a:cubicBezTo>
                  <a:pt x="3378311" y="1413037"/>
                  <a:pt x="3365556" y="1425792"/>
                  <a:pt x="3361911" y="1436725"/>
                </a:cubicBezTo>
                <a:cubicBezTo>
                  <a:pt x="3361911" y="1438548"/>
                  <a:pt x="3361911" y="1440370"/>
                  <a:pt x="3363734" y="1442192"/>
                </a:cubicBezTo>
                <a:cubicBezTo>
                  <a:pt x="3367378" y="1434903"/>
                  <a:pt x="3369200" y="1444014"/>
                  <a:pt x="3372844" y="1445836"/>
                </a:cubicBezTo>
                <a:cubicBezTo>
                  <a:pt x="3367378" y="1442192"/>
                  <a:pt x="3363734" y="1451303"/>
                  <a:pt x="3361911" y="1440370"/>
                </a:cubicBezTo>
                <a:cubicBezTo>
                  <a:pt x="3358267" y="1445836"/>
                  <a:pt x="3363734" y="1453125"/>
                  <a:pt x="3361911" y="1458592"/>
                </a:cubicBezTo>
                <a:cubicBezTo>
                  <a:pt x="3376489" y="1451303"/>
                  <a:pt x="3378311" y="1434903"/>
                  <a:pt x="3392888" y="1429437"/>
                </a:cubicBezTo>
                <a:cubicBezTo>
                  <a:pt x="3396532" y="1429437"/>
                  <a:pt x="3391066" y="1422148"/>
                  <a:pt x="3389244" y="1418504"/>
                </a:cubicBezTo>
                <a:close/>
                <a:moveTo>
                  <a:pt x="1120637" y="1418504"/>
                </a:moveTo>
                <a:cubicBezTo>
                  <a:pt x="1118815" y="1422148"/>
                  <a:pt x="1115171" y="1414859"/>
                  <a:pt x="1113349" y="1420326"/>
                </a:cubicBezTo>
                <a:cubicBezTo>
                  <a:pt x="1115171" y="1427615"/>
                  <a:pt x="1122459" y="1422148"/>
                  <a:pt x="1126104" y="1425792"/>
                </a:cubicBezTo>
                <a:cubicBezTo>
                  <a:pt x="1126104" y="1423970"/>
                  <a:pt x="1122459" y="1422148"/>
                  <a:pt x="1120637" y="1418504"/>
                </a:cubicBezTo>
                <a:close/>
                <a:moveTo>
                  <a:pt x="816334" y="1418504"/>
                </a:moveTo>
                <a:cubicBezTo>
                  <a:pt x="814512" y="1423970"/>
                  <a:pt x="816334" y="1427615"/>
                  <a:pt x="818156" y="1433081"/>
                </a:cubicBezTo>
                <a:cubicBezTo>
                  <a:pt x="823623" y="1429437"/>
                  <a:pt x="823623" y="1429437"/>
                  <a:pt x="829089" y="1423970"/>
                </a:cubicBezTo>
                <a:cubicBezTo>
                  <a:pt x="827267" y="1422148"/>
                  <a:pt x="825445" y="1419870"/>
                  <a:pt x="823395" y="1418504"/>
                </a:cubicBezTo>
                <a:cubicBezTo>
                  <a:pt x="821345" y="1417137"/>
                  <a:pt x="819067" y="1416682"/>
                  <a:pt x="816334" y="1418504"/>
                </a:cubicBezTo>
                <a:close/>
                <a:moveTo>
                  <a:pt x="767136" y="1418504"/>
                </a:moveTo>
                <a:cubicBezTo>
                  <a:pt x="763491" y="1418504"/>
                  <a:pt x="763491" y="1420326"/>
                  <a:pt x="759848" y="1423970"/>
                </a:cubicBezTo>
                <a:cubicBezTo>
                  <a:pt x="763491" y="1423970"/>
                  <a:pt x="768959" y="1425792"/>
                  <a:pt x="767136" y="1418504"/>
                </a:cubicBezTo>
                <a:close/>
                <a:moveTo>
                  <a:pt x="581274" y="1418504"/>
                </a:moveTo>
                <a:cubicBezTo>
                  <a:pt x="583096" y="1422148"/>
                  <a:pt x="581274" y="1425792"/>
                  <a:pt x="583096" y="1429437"/>
                </a:cubicBezTo>
                <a:cubicBezTo>
                  <a:pt x="584919" y="1429437"/>
                  <a:pt x="588562" y="1425792"/>
                  <a:pt x="592207" y="1425792"/>
                </a:cubicBezTo>
                <a:cubicBezTo>
                  <a:pt x="588562" y="1423970"/>
                  <a:pt x="584919" y="1422148"/>
                  <a:pt x="581274" y="1418504"/>
                </a:cubicBezTo>
                <a:close/>
                <a:moveTo>
                  <a:pt x="570341" y="1418504"/>
                </a:moveTo>
                <a:cubicBezTo>
                  <a:pt x="570341" y="1423970"/>
                  <a:pt x="572163" y="1429437"/>
                  <a:pt x="568519" y="1433081"/>
                </a:cubicBezTo>
                <a:cubicBezTo>
                  <a:pt x="570341" y="1438548"/>
                  <a:pt x="575808" y="1434903"/>
                  <a:pt x="577630" y="1429437"/>
                </a:cubicBezTo>
                <a:lnTo>
                  <a:pt x="576053" y="1427073"/>
                </a:lnTo>
                <a:lnTo>
                  <a:pt x="576946" y="1425109"/>
                </a:lnTo>
                <a:lnTo>
                  <a:pt x="575808" y="1424671"/>
                </a:lnTo>
                <a:lnTo>
                  <a:pt x="575808" y="1420326"/>
                </a:lnTo>
                <a:cubicBezTo>
                  <a:pt x="577630" y="1422148"/>
                  <a:pt x="575808" y="1423970"/>
                  <a:pt x="573985" y="1423970"/>
                </a:cubicBezTo>
                <a:lnTo>
                  <a:pt x="575808" y="1424671"/>
                </a:lnTo>
                <a:lnTo>
                  <a:pt x="575808" y="1426704"/>
                </a:lnTo>
                <a:close/>
                <a:moveTo>
                  <a:pt x="462832" y="1418504"/>
                </a:moveTo>
                <a:cubicBezTo>
                  <a:pt x="461010" y="1420326"/>
                  <a:pt x="459188" y="1418504"/>
                  <a:pt x="459188" y="1420326"/>
                </a:cubicBezTo>
                <a:cubicBezTo>
                  <a:pt x="459188" y="1423970"/>
                  <a:pt x="464655" y="1420326"/>
                  <a:pt x="462832" y="1418504"/>
                </a:cubicBezTo>
                <a:close/>
                <a:moveTo>
                  <a:pt x="3401771" y="1418504"/>
                </a:moveTo>
                <a:cubicBezTo>
                  <a:pt x="3400633" y="1418959"/>
                  <a:pt x="3399266" y="1419415"/>
                  <a:pt x="3398355" y="1418504"/>
                </a:cubicBezTo>
                <a:cubicBezTo>
                  <a:pt x="3396532" y="1422148"/>
                  <a:pt x="3396532" y="1425792"/>
                  <a:pt x="3401999" y="1423970"/>
                </a:cubicBezTo>
                <a:cubicBezTo>
                  <a:pt x="3401999" y="1423970"/>
                  <a:pt x="3401999" y="1418504"/>
                  <a:pt x="3403821" y="1418504"/>
                </a:cubicBezTo>
                <a:cubicBezTo>
                  <a:pt x="3403821" y="1417593"/>
                  <a:pt x="3402910" y="1418048"/>
                  <a:pt x="3401771" y="1418504"/>
                </a:cubicBezTo>
                <a:close/>
                <a:moveTo>
                  <a:pt x="989441" y="1416681"/>
                </a:moveTo>
                <a:cubicBezTo>
                  <a:pt x="987619" y="1423970"/>
                  <a:pt x="1004018" y="1433081"/>
                  <a:pt x="1009485" y="1440370"/>
                </a:cubicBezTo>
                <a:cubicBezTo>
                  <a:pt x="1018596" y="1427615"/>
                  <a:pt x="996729" y="1423970"/>
                  <a:pt x="989441" y="1416681"/>
                </a:cubicBezTo>
                <a:close/>
                <a:moveTo>
                  <a:pt x="980330" y="1416681"/>
                </a:moveTo>
                <a:cubicBezTo>
                  <a:pt x="976686" y="1423970"/>
                  <a:pt x="987619" y="1422148"/>
                  <a:pt x="987619" y="1427615"/>
                </a:cubicBezTo>
                <a:cubicBezTo>
                  <a:pt x="991263" y="1422148"/>
                  <a:pt x="983974" y="1422148"/>
                  <a:pt x="980330" y="1416681"/>
                </a:cubicBezTo>
                <a:close/>
                <a:moveTo>
                  <a:pt x="659627" y="1416681"/>
                </a:moveTo>
                <a:cubicBezTo>
                  <a:pt x="657805" y="1414859"/>
                  <a:pt x="654161" y="1420326"/>
                  <a:pt x="650516" y="1418504"/>
                </a:cubicBezTo>
                <a:cubicBezTo>
                  <a:pt x="652339" y="1423970"/>
                  <a:pt x="645050" y="1429437"/>
                  <a:pt x="648694" y="1434903"/>
                </a:cubicBezTo>
                <a:cubicBezTo>
                  <a:pt x="652339" y="1429437"/>
                  <a:pt x="654161" y="1422148"/>
                  <a:pt x="659627" y="1416681"/>
                </a:cubicBezTo>
                <a:close/>
                <a:moveTo>
                  <a:pt x="535719" y="1416681"/>
                </a:moveTo>
                <a:cubicBezTo>
                  <a:pt x="533897" y="1416681"/>
                  <a:pt x="537542" y="1418504"/>
                  <a:pt x="537542" y="1420326"/>
                </a:cubicBezTo>
                <a:cubicBezTo>
                  <a:pt x="539364" y="1420326"/>
                  <a:pt x="541186" y="1418504"/>
                  <a:pt x="543008" y="1416681"/>
                </a:cubicBezTo>
                <a:cubicBezTo>
                  <a:pt x="539364" y="1416681"/>
                  <a:pt x="537542" y="1416681"/>
                  <a:pt x="535719" y="1416681"/>
                </a:cubicBezTo>
                <a:close/>
                <a:moveTo>
                  <a:pt x="608607" y="1414859"/>
                </a:moveTo>
                <a:cubicBezTo>
                  <a:pt x="606785" y="1415315"/>
                  <a:pt x="604962" y="1416682"/>
                  <a:pt x="603140" y="1418504"/>
                </a:cubicBezTo>
                <a:cubicBezTo>
                  <a:pt x="614074" y="1423970"/>
                  <a:pt x="614074" y="1420326"/>
                  <a:pt x="614074" y="1416681"/>
                </a:cubicBezTo>
                <a:cubicBezTo>
                  <a:pt x="612251" y="1414859"/>
                  <a:pt x="610429" y="1414404"/>
                  <a:pt x="608607" y="1414859"/>
                </a:cubicBezTo>
                <a:close/>
                <a:moveTo>
                  <a:pt x="1140681" y="1414859"/>
                </a:moveTo>
                <a:cubicBezTo>
                  <a:pt x="1137037" y="1418504"/>
                  <a:pt x="1147970" y="1423970"/>
                  <a:pt x="1142503" y="1416681"/>
                </a:cubicBezTo>
                <a:cubicBezTo>
                  <a:pt x="1140681" y="1416681"/>
                  <a:pt x="1140681" y="1414859"/>
                  <a:pt x="1140681" y="1414859"/>
                </a:cubicBezTo>
                <a:close/>
                <a:moveTo>
                  <a:pt x="761670" y="1414859"/>
                </a:moveTo>
                <a:cubicBezTo>
                  <a:pt x="759848" y="1414859"/>
                  <a:pt x="756203" y="1416681"/>
                  <a:pt x="758025" y="1418504"/>
                </a:cubicBezTo>
                <a:cubicBezTo>
                  <a:pt x="758025" y="1422148"/>
                  <a:pt x="761670" y="1418504"/>
                  <a:pt x="761670" y="1414859"/>
                </a:cubicBezTo>
                <a:close/>
                <a:moveTo>
                  <a:pt x="723404" y="1414859"/>
                </a:moveTo>
                <a:cubicBezTo>
                  <a:pt x="721581" y="1416681"/>
                  <a:pt x="719759" y="1422148"/>
                  <a:pt x="717937" y="1418504"/>
                </a:cubicBezTo>
                <a:cubicBezTo>
                  <a:pt x="719759" y="1422148"/>
                  <a:pt x="723404" y="1420326"/>
                  <a:pt x="725226" y="1423970"/>
                </a:cubicBezTo>
                <a:cubicBezTo>
                  <a:pt x="732515" y="1420326"/>
                  <a:pt x="721581" y="1416681"/>
                  <a:pt x="723404" y="1414859"/>
                </a:cubicBezTo>
                <a:close/>
                <a:moveTo>
                  <a:pt x="1171771" y="1414004"/>
                </a:moveTo>
                <a:lnTo>
                  <a:pt x="1172376" y="1414307"/>
                </a:lnTo>
                <a:lnTo>
                  <a:pt x="1171886" y="1414176"/>
                </a:lnTo>
                <a:close/>
                <a:moveTo>
                  <a:pt x="849361" y="1413265"/>
                </a:moveTo>
                <a:cubicBezTo>
                  <a:pt x="841844" y="1413493"/>
                  <a:pt x="835467" y="1416682"/>
                  <a:pt x="832734" y="1425792"/>
                </a:cubicBezTo>
                <a:lnTo>
                  <a:pt x="834556" y="1425792"/>
                </a:lnTo>
                <a:lnTo>
                  <a:pt x="835158" y="1427600"/>
                </a:lnTo>
                <a:lnTo>
                  <a:pt x="834556" y="1427615"/>
                </a:lnTo>
                <a:lnTo>
                  <a:pt x="835184" y="1427678"/>
                </a:lnTo>
                <a:lnTo>
                  <a:pt x="836378" y="1431259"/>
                </a:lnTo>
                <a:cubicBezTo>
                  <a:pt x="838200" y="1431259"/>
                  <a:pt x="840022" y="1431259"/>
                  <a:pt x="841845" y="1429437"/>
                </a:cubicBezTo>
                <a:lnTo>
                  <a:pt x="839112" y="1428071"/>
                </a:lnTo>
                <a:lnTo>
                  <a:pt x="852778" y="1429437"/>
                </a:lnTo>
                <a:cubicBezTo>
                  <a:pt x="849133" y="1429437"/>
                  <a:pt x="847311" y="1431259"/>
                  <a:pt x="843667" y="1433081"/>
                </a:cubicBezTo>
                <a:lnTo>
                  <a:pt x="842209" y="1434539"/>
                </a:lnTo>
                <a:lnTo>
                  <a:pt x="841845" y="1433081"/>
                </a:lnTo>
                <a:cubicBezTo>
                  <a:pt x="840022" y="1434903"/>
                  <a:pt x="836378" y="1434903"/>
                  <a:pt x="836378" y="1436725"/>
                </a:cubicBezTo>
                <a:cubicBezTo>
                  <a:pt x="834556" y="1434903"/>
                  <a:pt x="832734" y="1434903"/>
                  <a:pt x="830912" y="1434903"/>
                </a:cubicBezTo>
                <a:cubicBezTo>
                  <a:pt x="829089" y="1436725"/>
                  <a:pt x="827267" y="1436725"/>
                  <a:pt x="825445" y="1438548"/>
                </a:cubicBezTo>
                <a:cubicBezTo>
                  <a:pt x="825445" y="1436725"/>
                  <a:pt x="823623" y="1436725"/>
                  <a:pt x="821801" y="1436725"/>
                </a:cubicBezTo>
                <a:cubicBezTo>
                  <a:pt x="821801" y="1436725"/>
                  <a:pt x="819979" y="1438548"/>
                  <a:pt x="816334" y="1438548"/>
                </a:cubicBezTo>
                <a:cubicBezTo>
                  <a:pt x="818156" y="1440370"/>
                  <a:pt x="819979" y="1438548"/>
                  <a:pt x="821801" y="1438548"/>
                </a:cubicBezTo>
                <a:cubicBezTo>
                  <a:pt x="812690" y="1447658"/>
                  <a:pt x="821801" y="1453125"/>
                  <a:pt x="821801" y="1460414"/>
                </a:cubicBezTo>
                <a:lnTo>
                  <a:pt x="821801" y="1456769"/>
                </a:lnTo>
                <a:cubicBezTo>
                  <a:pt x="825445" y="1460414"/>
                  <a:pt x="830912" y="1462236"/>
                  <a:pt x="834556" y="1465880"/>
                </a:cubicBezTo>
                <a:cubicBezTo>
                  <a:pt x="836378" y="1465880"/>
                  <a:pt x="834556" y="1464058"/>
                  <a:pt x="836378" y="1462236"/>
                </a:cubicBezTo>
                <a:cubicBezTo>
                  <a:pt x="838200" y="1467702"/>
                  <a:pt x="843667" y="1471347"/>
                  <a:pt x="847311" y="1469525"/>
                </a:cubicBezTo>
                <a:cubicBezTo>
                  <a:pt x="849133" y="1469525"/>
                  <a:pt x="850956" y="1469525"/>
                  <a:pt x="849133" y="1465880"/>
                </a:cubicBezTo>
                <a:cubicBezTo>
                  <a:pt x="852778" y="1473169"/>
                  <a:pt x="860066" y="1473169"/>
                  <a:pt x="865533" y="1476813"/>
                </a:cubicBezTo>
                <a:cubicBezTo>
                  <a:pt x="856422" y="1473169"/>
                  <a:pt x="854600" y="1476813"/>
                  <a:pt x="849133" y="1484102"/>
                </a:cubicBezTo>
                <a:lnTo>
                  <a:pt x="849133" y="1480458"/>
                </a:lnTo>
                <a:lnTo>
                  <a:pt x="841120" y="1480830"/>
                </a:lnTo>
                <a:lnTo>
                  <a:pt x="840022" y="1478635"/>
                </a:lnTo>
                <a:cubicBezTo>
                  <a:pt x="839111" y="1478635"/>
                  <a:pt x="839567" y="1479546"/>
                  <a:pt x="840250" y="1480457"/>
                </a:cubicBezTo>
                <a:lnTo>
                  <a:pt x="840598" y="1480854"/>
                </a:lnTo>
                <a:lnTo>
                  <a:pt x="839339" y="1480913"/>
                </a:lnTo>
                <a:cubicBezTo>
                  <a:pt x="836833" y="1478635"/>
                  <a:pt x="834556" y="1474991"/>
                  <a:pt x="830912" y="1473169"/>
                </a:cubicBezTo>
                <a:cubicBezTo>
                  <a:pt x="832278" y="1479547"/>
                  <a:pt x="835353" y="1483305"/>
                  <a:pt x="839424" y="1485240"/>
                </a:cubicBezTo>
                <a:lnTo>
                  <a:pt x="846205" y="1485773"/>
                </a:lnTo>
                <a:lnTo>
                  <a:pt x="845489" y="1485924"/>
                </a:lnTo>
                <a:cubicBezTo>
                  <a:pt x="847311" y="1491391"/>
                  <a:pt x="852778" y="1493213"/>
                  <a:pt x="856422" y="1495035"/>
                </a:cubicBezTo>
                <a:cubicBezTo>
                  <a:pt x="858244" y="1496857"/>
                  <a:pt x="852778" y="1502324"/>
                  <a:pt x="856422" y="1500501"/>
                </a:cubicBezTo>
                <a:cubicBezTo>
                  <a:pt x="876466" y="1491391"/>
                  <a:pt x="849133" y="1498679"/>
                  <a:pt x="858244" y="1487746"/>
                </a:cubicBezTo>
                <a:cubicBezTo>
                  <a:pt x="860066" y="1489568"/>
                  <a:pt x="863711" y="1489568"/>
                  <a:pt x="863711" y="1493213"/>
                </a:cubicBezTo>
                <a:cubicBezTo>
                  <a:pt x="867355" y="1491391"/>
                  <a:pt x="869177" y="1487746"/>
                  <a:pt x="872822" y="1485924"/>
                </a:cubicBezTo>
                <a:cubicBezTo>
                  <a:pt x="867355" y="1489568"/>
                  <a:pt x="863711" y="1495035"/>
                  <a:pt x="863711" y="1502324"/>
                </a:cubicBezTo>
                <a:cubicBezTo>
                  <a:pt x="861889" y="1502324"/>
                  <a:pt x="861889" y="1502324"/>
                  <a:pt x="860066" y="1502324"/>
                </a:cubicBezTo>
                <a:cubicBezTo>
                  <a:pt x="860066" y="1502324"/>
                  <a:pt x="861889" y="1500501"/>
                  <a:pt x="861889" y="1498679"/>
                </a:cubicBezTo>
                <a:cubicBezTo>
                  <a:pt x="856422" y="1502324"/>
                  <a:pt x="856422" y="1507790"/>
                  <a:pt x="852778" y="1509612"/>
                </a:cubicBezTo>
                <a:cubicBezTo>
                  <a:pt x="854600" y="1509612"/>
                  <a:pt x="854600" y="1511434"/>
                  <a:pt x="856422" y="1511434"/>
                </a:cubicBezTo>
                <a:cubicBezTo>
                  <a:pt x="856422" y="1513257"/>
                  <a:pt x="860066" y="1516901"/>
                  <a:pt x="860066" y="1518723"/>
                </a:cubicBezTo>
                <a:cubicBezTo>
                  <a:pt x="861889" y="1516901"/>
                  <a:pt x="861889" y="1515079"/>
                  <a:pt x="860066" y="1513257"/>
                </a:cubicBezTo>
                <a:cubicBezTo>
                  <a:pt x="861889" y="1515079"/>
                  <a:pt x="863711" y="1515079"/>
                  <a:pt x="865533" y="1516901"/>
                </a:cubicBezTo>
                <a:cubicBezTo>
                  <a:pt x="863711" y="1518723"/>
                  <a:pt x="861889" y="1518723"/>
                  <a:pt x="861889" y="1522368"/>
                </a:cubicBezTo>
                <a:cubicBezTo>
                  <a:pt x="858244" y="1522368"/>
                  <a:pt x="858244" y="1520545"/>
                  <a:pt x="856422" y="1518723"/>
                </a:cubicBezTo>
                <a:lnTo>
                  <a:pt x="856422" y="1522368"/>
                </a:lnTo>
                <a:lnTo>
                  <a:pt x="854599" y="1520544"/>
                </a:lnTo>
                <a:lnTo>
                  <a:pt x="854600" y="1520545"/>
                </a:lnTo>
                <a:cubicBezTo>
                  <a:pt x="854600" y="1516901"/>
                  <a:pt x="850956" y="1515079"/>
                  <a:pt x="849133" y="1513257"/>
                </a:cubicBezTo>
                <a:cubicBezTo>
                  <a:pt x="847311" y="1513257"/>
                  <a:pt x="847311" y="1515079"/>
                  <a:pt x="845489" y="1516901"/>
                </a:cubicBezTo>
                <a:lnTo>
                  <a:pt x="853044" y="1519923"/>
                </a:lnTo>
                <a:lnTo>
                  <a:pt x="856877" y="1537173"/>
                </a:lnTo>
                <a:cubicBezTo>
                  <a:pt x="860522" y="1542412"/>
                  <a:pt x="865533" y="1546967"/>
                  <a:pt x="869177" y="1551522"/>
                </a:cubicBezTo>
                <a:cubicBezTo>
                  <a:pt x="867355" y="1551522"/>
                  <a:pt x="867355" y="1551522"/>
                  <a:pt x="863711" y="1551522"/>
                </a:cubicBezTo>
                <a:cubicBezTo>
                  <a:pt x="878288" y="1562455"/>
                  <a:pt x="892866" y="1562455"/>
                  <a:pt x="909265" y="1564278"/>
                </a:cubicBezTo>
                <a:cubicBezTo>
                  <a:pt x="907444" y="1564278"/>
                  <a:pt x="907444" y="1562455"/>
                  <a:pt x="907444" y="1562455"/>
                </a:cubicBezTo>
                <a:cubicBezTo>
                  <a:pt x="916555" y="1575211"/>
                  <a:pt x="936598" y="1575211"/>
                  <a:pt x="949353" y="1582499"/>
                </a:cubicBezTo>
                <a:cubicBezTo>
                  <a:pt x="951175" y="1584321"/>
                  <a:pt x="956642" y="1589788"/>
                  <a:pt x="960286" y="1589788"/>
                </a:cubicBezTo>
                <a:cubicBezTo>
                  <a:pt x="962108" y="1589788"/>
                  <a:pt x="965753" y="1587966"/>
                  <a:pt x="969397" y="1587966"/>
                </a:cubicBezTo>
                <a:cubicBezTo>
                  <a:pt x="967575" y="1589788"/>
                  <a:pt x="967575" y="1589788"/>
                  <a:pt x="965753" y="1591610"/>
                </a:cubicBezTo>
                <a:cubicBezTo>
                  <a:pt x="978508" y="1595255"/>
                  <a:pt x="991263" y="1595255"/>
                  <a:pt x="1004018" y="1602543"/>
                </a:cubicBezTo>
                <a:cubicBezTo>
                  <a:pt x="998552" y="1587966"/>
                  <a:pt x="989441" y="1578855"/>
                  <a:pt x="976686" y="1584321"/>
                </a:cubicBezTo>
                <a:cubicBezTo>
                  <a:pt x="978508" y="1582499"/>
                  <a:pt x="982152" y="1580677"/>
                  <a:pt x="985796" y="1578855"/>
                </a:cubicBezTo>
                <a:cubicBezTo>
                  <a:pt x="978508" y="1571566"/>
                  <a:pt x="974863" y="1551522"/>
                  <a:pt x="960286" y="1558811"/>
                </a:cubicBezTo>
                <a:lnTo>
                  <a:pt x="962108" y="1556989"/>
                </a:lnTo>
                <a:cubicBezTo>
                  <a:pt x="954819" y="1553345"/>
                  <a:pt x="949353" y="1556989"/>
                  <a:pt x="942064" y="1556989"/>
                </a:cubicBezTo>
                <a:cubicBezTo>
                  <a:pt x="949353" y="1551522"/>
                  <a:pt x="960286" y="1556989"/>
                  <a:pt x="967575" y="1551522"/>
                </a:cubicBezTo>
                <a:cubicBezTo>
                  <a:pt x="962108" y="1547878"/>
                  <a:pt x="956642" y="1544234"/>
                  <a:pt x="951175" y="1538767"/>
                </a:cubicBezTo>
                <a:cubicBezTo>
                  <a:pt x="973041" y="1551522"/>
                  <a:pt x="996729" y="1555167"/>
                  <a:pt x="1025884" y="1546056"/>
                </a:cubicBezTo>
                <a:cubicBezTo>
                  <a:pt x="1025884" y="1544234"/>
                  <a:pt x="1024062" y="1544234"/>
                  <a:pt x="1024062" y="1544234"/>
                </a:cubicBezTo>
                <a:cubicBezTo>
                  <a:pt x="1027707" y="1546056"/>
                  <a:pt x="1033173" y="1547878"/>
                  <a:pt x="1036818" y="1547878"/>
                </a:cubicBezTo>
                <a:cubicBezTo>
                  <a:pt x="1031351" y="1546056"/>
                  <a:pt x="1024062" y="1544234"/>
                  <a:pt x="1020418" y="1536945"/>
                </a:cubicBezTo>
                <a:cubicBezTo>
                  <a:pt x="1033173" y="1542412"/>
                  <a:pt x="1040462" y="1553345"/>
                  <a:pt x="1055040" y="1551522"/>
                </a:cubicBezTo>
                <a:cubicBezTo>
                  <a:pt x="1053217" y="1551522"/>
                  <a:pt x="1051395" y="1549700"/>
                  <a:pt x="1049573" y="1547878"/>
                </a:cubicBezTo>
                <a:lnTo>
                  <a:pt x="1074071" y="1555976"/>
                </a:lnTo>
                <a:lnTo>
                  <a:pt x="1049573" y="1551522"/>
                </a:lnTo>
                <a:cubicBezTo>
                  <a:pt x="1053217" y="1555167"/>
                  <a:pt x="1058683" y="1558811"/>
                  <a:pt x="1065972" y="1560633"/>
                </a:cubicBezTo>
                <a:cubicBezTo>
                  <a:pt x="1056861" y="1556989"/>
                  <a:pt x="1049573" y="1555167"/>
                  <a:pt x="1040462" y="1553345"/>
                </a:cubicBezTo>
                <a:cubicBezTo>
                  <a:pt x="1042284" y="1553345"/>
                  <a:pt x="1042284" y="1553345"/>
                  <a:pt x="1045929" y="1553345"/>
                </a:cubicBezTo>
                <a:cubicBezTo>
                  <a:pt x="1040461" y="1546512"/>
                  <a:pt x="1026795" y="1548903"/>
                  <a:pt x="1021072" y="1552063"/>
                </a:cubicBezTo>
                <a:lnTo>
                  <a:pt x="1020063" y="1553328"/>
                </a:lnTo>
                <a:lnTo>
                  <a:pt x="996502" y="1552206"/>
                </a:lnTo>
                <a:cubicBezTo>
                  <a:pt x="988074" y="1552889"/>
                  <a:pt x="979419" y="1554256"/>
                  <a:pt x="971219" y="1555167"/>
                </a:cubicBezTo>
                <a:cubicBezTo>
                  <a:pt x="982152" y="1577033"/>
                  <a:pt x="1000374" y="1571566"/>
                  <a:pt x="1014951" y="1556989"/>
                </a:cubicBezTo>
                <a:cubicBezTo>
                  <a:pt x="1005840" y="1562455"/>
                  <a:pt x="996729" y="1567922"/>
                  <a:pt x="989441" y="1573388"/>
                </a:cubicBezTo>
                <a:cubicBezTo>
                  <a:pt x="1005840" y="1584321"/>
                  <a:pt x="1007663" y="1604365"/>
                  <a:pt x="1025884" y="1611654"/>
                </a:cubicBezTo>
                <a:cubicBezTo>
                  <a:pt x="1025884" y="1608010"/>
                  <a:pt x="1024062" y="1608010"/>
                  <a:pt x="1022240" y="1606188"/>
                </a:cubicBezTo>
                <a:cubicBezTo>
                  <a:pt x="1022240" y="1606188"/>
                  <a:pt x="1022240" y="1604365"/>
                  <a:pt x="1020418" y="1602543"/>
                </a:cubicBezTo>
                <a:cubicBezTo>
                  <a:pt x="1025884" y="1602543"/>
                  <a:pt x="1025884" y="1611654"/>
                  <a:pt x="1031351" y="1611654"/>
                </a:cubicBezTo>
                <a:lnTo>
                  <a:pt x="1027707" y="1611654"/>
                </a:lnTo>
                <a:cubicBezTo>
                  <a:pt x="1031351" y="1618943"/>
                  <a:pt x="1038639" y="1617121"/>
                  <a:pt x="1045929" y="1618943"/>
                </a:cubicBezTo>
                <a:cubicBezTo>
                  <a:pt x="1044106" y="1617121"/>
                  <a:pt x="1042284" y="1613476"/>
                  <a:pt x="1040462" y="1609832"/>
                </a:cubicBezTo>
                <a:cubicBezTo>
                  <a:pt x="1051395" y="1622587"/>
                  <a:pt x="1064151" y="1633520"/>
                  <a:pt x="1084194" y="1635342"/>
                </a:cubicBezTo>
                <a:cubicBezTo>
                  <a:pt x="1082373" y="1628054"/>
                  <a:pt x="1080549" y="1620765"/>
                  <a:pt x="1075083" y="1613476"/>
                </a:cubicBezTo>
                <a:cubicBezTo>
                  <a:pt x="1084194" y="1620765"/>
                  <a:pt x="1080549" y="1642631"/>
                  <a:pt x="1095127" y="1635342"/>
                </a:cubicBezTo>
                <a:cubicBezTo>
                  <a:pt x="1102416" y="1638987"/>
                  <a:pt x="1107882" y="1638987"/>
                  <a:pt x="1115171" y="1638987"/>
                </a:cubicBezTo>
                <a:cubicBezTo>
                  <a:pt x="1120637" y="1642631"/>
                  <a:pt x="1131570" y="1644453"/>
                  <a:pt x="1140681" y="1648097"/>
                </a:cubicBezTo>
                <a:cubicBezTo>
                  <a:pt x="1140681" y="1646275"/>
                  <a:pt x="1137037" y="1644453"/>
                  <a:pt x="1135215" y="1642631"/>
                </a:cubicBezTo>
                <a:cubicBezTo>
                  <a:pt x="1135215" y="1640809"/>
                  <a:pt x="1138859" y="1642631"/>
                  <a:pt x="1138859" y="1640809"/>
                </a:cubicBezTo>
                <a:cubicBezTo>
                  <a:pt x="1142503" y="1642631"/>
                  <a:pt x="1144326" y="1642631"/>
                  <a:pt x="1146148" y="1644453"/>
                </a:cubicBezTo>
                <a:cubicBezTo>
                  <a:pt x="1146148" y="1638987"/>
                  <a:pt x="1140681" y="1637164"/>
                  <a:pt x="1137037" y="1635342"/>
                </a:cubicBezTo>
                <a:cubicBezTo>
                  <a:pt x="1137037" y="1637164"/>
                  <a:pt x="1138859" y="1638987"/>
                  <a:pt x="1138859" y="1640809"/>
                </a:cubicBezTo>
                <a:cubicBezTo>
                  <a:pt x="1131570" y="1626231"/>
                  <a:pt x="1115171" y="1624409"/>
                  <a:pt x="1104238" y="1613476"/>
                </a:cubicBezTo>
                <a:cubicBezTo>
                  <a:pt x="1113349" y="1618943"/>
                  <a:pt x="1122459" y="1624409"/>
                  <a:pt x="1131570" y="1629876"/>
                </a:cubicBezTo>
                <a:cubicBezTo>
                  <a:pt x="1131570" y="1629876"/>
                  <a:pt x="1133393" y="1629876"/>
                  <a:pt x="1133393" y="1628054"/>
                </a:cubicBezTo>
                <a:cubicBezTo>
                  <a:pt x="1135215" y="1635342"/>
                  <a:pt x="1142503" y="1635342"/>
                  <a:pt x="1147970" y="1640809"/>
                </a:cubicBezTo>
                <a:cubicBezTo>
                  <a:pt x="1147970" y="1638987"/>
                  <a:pt x="1146148" y="1635342"/>
                  <a:pt x="1146148" y="1633520"/>
                </a:cubicBezTo>
                <a:cubicBezTo>
                  <a:pt x="1147970" y="1642631"/>
                  <a:pt x="1158903" y="1648097"/>
                  <a:pt x="1168014" y="1649920"/>
                </a:cubicBezTo>
                <a:lnTo>
                  <a:pt x="1168014" y="1631698"/>
                </a:lnTo>
                <a:cubicBezTo>
                  <a:pt x="1162547" y="1628054"/>
                  <a:pt x="1157081" y="1624409"/>
                  <a:pt x="1151614" y="1624409"/>
                </a:cubicBezTo>
                <a:cubicBezTo>
                  <a:pt x="1151614" y="1620765"/>
                  <a:pt x="1153436" y="1622587"/>
                  <a:pt x="1155259" y="1620765"/>
                </a:cubicBezTo>
                <a:cubicBezTo>
                  <a:pt x="1146148" y="1617121"/>
                  <a:pt x="1137037" y="1611654"/>
                  <a:pt x="1127926" y="1608010"/>
                </a:cubicBezTo>
                <a:cubicBezTo>
                  <a:pt x="1135215" y="1608010"/>
                  <a:pt x="1140681" y="1613476"/>
                  <a:pt x="1147970" y="1615298"/>
                </a:cubicBezTo>
                <a:lnTo>
                  <a:pt x="1127797" y="1591662"/>
                </a:lnTo>
                <a:lnTo>
                  <a:pt x="1131115" y="1595027"/>
                </a:lnTo>
                <a:cubicBezTo>
                  <a:pt x="1137037" y="1601632"/>
                  <a:pt x="1143414" y="1608920"/>
                  <a:pt x="1149792" y="1615298"/>
                </a:cubicBezTo>
                <a:cubicBezTo>
                  <a:pt x="1147970" y="1613476"/>
                  <a:pt x="1146148" y="1611654"/>
                  <a:pt x="1146148" y="1609832"/>
                </a:cubicBezTo>
                <a:cubicBezTo>
                  <a:pt x="1155259" y="1611654"/>
                  <a:pt x="1162547" y="1613476"/>
                  <a:pt x="1166192" y="1615298"/>
                </a:cubicBezTo>
                <a:cubicBezTo>
                  <a:pt x="1166192" y="1611654"/>
                  <a:pt x="1166192" y="1608010"/>
                  <a:pt x="1164370" y="1604365"/>
                </a:cubicBezTo>
                <a:cubicBezTo>
                  <a:pt x="1158903" y="1597077"/>
                  <a:pt x="1146148" y="1595255"/>
                  <a:pt x="1140681" y="1591610"/>
                </a:cubicBezTo>
                <a:cubicBezTo>
                  <a:pt x="1131570" y="1587966"/>
                  <a:pt x="1122459" y="1580677"/>
                  <a:pt x="1115171" y="1578855"/>
                </a:cubicBezTo>
                <a:lnTo>
                  <a:pt x="1123780" y="1587587"/>
                </a:lnTo>
                <a:lnTo>
                  <a:pt x="1098771" y="1567922"/>
                </a:lnTo>
                <a:lnTo>
                  <a:pt x="1093027" y="1569645"/>
                </a:lnTo>
                <a:lnTo>
                  <a:pt x="1067794" y="1560633"/>
                </a:lnTo>
                <a:cubicBezTo>
                  <a:pt x="1076905" y="1560633"/>
                  <a:pt x="1087838" y="1566100"/>
                  <a:pt x="1096949" y="1566100"/>
                </a:cubicBezTo>
                <a:lnTo>
                  <a:pt x="1075326" y="1556392"/>
                </a:lnTo>
                <a:lnTo>
                  <a:pt x="1077133" y="1556989"/>
                </a:lnTo>
                <a:cubicBezTo>
                  <a:pt x="1087382" y="1559267"/>
                  <a:pt x="1098771" y="1561544"/>
                  <a:pt x="1111526" y="1566100"/>
                </a:cubicBezTo>
                <a:cubicBezTo>
                  <a:pt x="1106060" y="1567922"/>
                  <a:pt x="1116993" y="1575211"/>
                  <a:pt x="1120637" y="1575211"/>
                </a:cubicBezTo>
                <a:cubicBezTo>
                  <a:pt x="1122459" y="1573388"/>
                  <a:pt x="1118815" y="1571566"/>
                  <a:pt x="1120637" y="1569744"/>
                </a:cubicBezTo>
                <a:cubicBezTo>
                  <a:pt x="1124282" y="1569744"/>
                  <a:pt x="1120637" y="1573388"/>
                  <a:pt x="1122459" y="1575211"/>
                </a:cubicBezTo>
                <a:cubicBezTo>
                  <a:pt x="1124282" y="1577033"/>
                  <a:pt x="1127926" y="1577033"/>
                  <a:pt x="1129748" y="1578855"/>
                </a:cubicBezTo>
                <a:lnTo>
                  <a:pt x="1135750" y="1574353"/>
                </a:lnTo>
                <a:lnTo>
                  <a:pt x="1136228" y="1575008"/>
                </a:lnTo>
                <a:lnTo>
                  <a:pt x="1135670" y="1576122"/>
                </a:lnTo>
                <a:cubicBezTo>
                  <a:pt x="1134304" y="1577033"/>
                  <a:pt x="1132481" y="1577944"/>
                  <a:pt x="1131570" y="1578855"/>
                </a:cubicBezTo>
                <a:cubicBezTo>
                  <a:pt x="1142503" y="1584321"/>
                  <a:pt x="1155259" y="1587966"/>
                  <a:pt x="1164370" y="1595255"/>
                </a:cubicBezTo>
                <a:cubicBezTo>
                  <a:pt x="1162547" y="1586144"/>
                  <a:pt x="1146148" y="1577033"/>
                  <a:pt x="1137037" y="1571566"/>
                </a:cubicBezTo>
                <a:cubicBezTo>
                  <a:pt x="1129748" y="1558811"/>
                  <a:pt x="1120637" y="1556989"/>
                  <a:pt x="1109704" y="1558811"/>
                </a:cubicBezTo>
                <a:cubicBezTo>
                  <a:pt x="1109704" y="1555167"/>
                  <a:pt x="1113349" y="1556989"/>
                  <a:pt x="1115171" y="1555167"/>
                </a:cubicBezTo>
                <a:cubicBezTo>
                  <a:pt x="1115171" y="1553345"/>
                  <a:pt x="1115171" y="1553345"/>
                  <a:pt x="1115171" y="1551522"/>
                </a:cubicBezTo>
                <a:lnTo>
                  <a:pt x="1088932" y="1537917"/>
                </a:lnTo>
                <a:lnTo>
                  <a:pt x="1073427" y="1529877"/>
                </a:lnTo>
                <a:lnTo>
                  <a:pt x="1086016" y="1535123"/>
                </a:lnTo>
                <a:cubicBezTo>
                  <a:pt x="1086016" y="1533301"/>
                  <a:pt x="1086016" y="1533301"/>
                  <a:pt x="1086016" y="1529656"/>
                </a:cubicBezTo>
                <a:cubicBezTo>
                  <a:pt x="1087838" y="1533301"/>
                  <a:pt x="1087838" y="1538767"/>
                  <a:pt x="1095127" y="1538767"/>
                </a:cubicBezTo>
                <a:cubicBezTo>
                  <a:pt x="1096949" y="1536945"/>
                  <a:pt x="1095127" y="1535123"/>
                  <a:pt x="1098771" y="1529656"/>
                </a:cubicBezTo>
                <a:cubicBezTo>
                  <a:pt x="1095127" y="1526012"/>
                  <a:pt x="1091484" y="1526012"/>
                  <a:pt x="1087838" y="1522368"/>
                </a:cubicBezTo>
                <a:lnTo>
                  <a:pt x="1087838" y="1523068"/>
                </a:lnTo>
                <a:lnTo>
                  <a:pt x="1086699" y="1522367"/>
                </a:lnTo>
                <a:cubicBezTo>
                  <a:pt x="1085560" y="1522368"/>
                  <a:pt x="1084194" y="1522368"/>
                  <a:pt x="1082373" y="1520545"/>
                </a:cubicBezTo>
                <a:lnTo>
                  <a:pt x="1084265" y="1523764"/>
                </a:lnTo>
                <a:lnTo>
                  <a:pt x="1073716" y="1517129"/>
                </a:lnTo>
                <a:lnTo>
                  <a:pt x="1073457" y="1517097"/>
                </a:lnTo>
                <a:lnTo>
                  <a:pt x="1069616" y="1513257"/>
                </a:lnTo>
                <a:cubicBezTo>
                  <a:pt x="1076905" y="1511434"/>
                  <a:pt x="1080549" y="1520545"/>
                  <a:pt x="1084194" y="1515079"/>
                </a:cubicBezTo>
                <a:cubicBezTo>
                  <a:pt x="1087838" y="1509612"/>
                  <a:pt x="1078727" y="1507790"/>
                  <a:pt x="1071439" y="1505968"/>
                </a:cubicBezTo>
                <a:cubicBezTo>
                  <a:pt x="1075083" y="1502324"/>
                  <a:pt x="1078727" y="1502324"/>
                  <a:pt x="1080549" y="1505968"/>
                </a:cubicBezTo>
                <a:cubicBezTo>
                  <a:pt x="1076905" y="1502324"/>
                  <a:pt x="1071439" y="1493213"/>
                  <a:pt x="1065972" y="1500501"/>
                </a:cubicBezTo>
                <a:cubicBezTo>
                  <a:pt x="1069616" y="1500501"/>
                  <a:pt x="1069616" y="1502324"/>
                  <a:pt x="1069616" y="1504146"/>
                </a:cubicBezTo>
                <a:cubicBezTo>
                  <a:pt x="1065972" y="1501412"/>
                  <a:pt x="1061872" y="1501412"/>
                  <a:pt x="1058000" y="1502324"/>
                </a:cubicBezTo>
                <a:lnTo>
                  <a:pt x="1055863" y="1503083"/>
                </a:lnTo>
                <a:lnTo>
                  <a:pt x="1041230" y="1496059"/>
                </a:lnTo>
                <a:lnTo>
                  <a:pt x="1040462" y="1495035"/>
                </a:lnTo>
                <a:lnTo>
                  <a:pt x="1038950" y="1494783"/>
                </a:lnTo>
                <a:lnTo>
                  <a:pt x="1047067" y="1488202"/>
                </a:lnTo>
                <a:cubicBezTo>
                  <a:pt x="1049573" y="1485468"/>
                  <a:pt x="1051395" y="1482279"/>
                  <a:pt x="1051395" y="1478635"/>
                </a:cubicBezTo>
                <a:cubicBezTo>
                  <a:pt x="1051395" y="1478635"/>
                  <a:pt x="1053217" y="1478635"/>
                  <a:pt x="1055040" y="1480458"/>
                </a:cubicBezTo>
                <a:cubicBezTo>
                  <a:pt x="1049573" y="1482280"/>
                  <a:pt x="1049573" y="1489568"/>
                  <a:pt x="1044106" y="1491391"/>
                </a:cubicBezTo>
                <a:cubicBezTo>
                  <a:pt x="1051395" y="1496857"/>
                  <a:pt x="1060506" y="1500501"/>
                  <a:pt x="1067794" y="1495035"/>
                </a:cubicBezTo>
                <a:cubicBezTo>
                  <a:pt x="1067794" y="1495035"/>
                  <a:pt x="1067794" y="1495035"/>
                  <a:pt x="1065972" y="1495035"/>
                </a:cubicBezTo>
                <a:cubicBezTo>
                  <a:pt x="1067794" y="1493213"/>
                  <a:pt x="1071439" y="1491391"/>
                  <a:pt x="1075083" y="1493213"/>
                </a:cubicBezTo>
                <a:cubicBezTo>
                  <a:pt x="1071439" y="1482280"/>
                  <a:pt x="1062328" y="1476813"/>
                  <a:pt x="1055040" y="1471347"/>
                </a:cubicBezTo>
                <a:cubicBezTo>
                  <a:pt x="1055040" y="1473169"/>
                  <a:pt x="1051395" y="1474991"/>
                  <a:pt x="1051395" y="1476813"/>
                </a:cubicBezTo>
                <a:cubicBezTo>
                  <a:pt x="1051395" y="1474991"/>
                  <a:pt x="1049573" y="1473169"/>
                  <a:pt x="1049573" y="1471347"/>
                </a:cubicBezTo>
                <a:cubicBezTo>
                  <a:pt x="1041373" y="1461325"/>
                  <a:pt x="1030440" y="1459503"/>
                  <a:pt x="1019279" y="1458591"/>
                </a:cubicBezTo>
                <a:lnTo>
                  <a:pt x="1007663" y="1455917"/>
                </a:lnTo>
                <a:lnTo>
                  <a:pt x="1007663" y="1454947"/>
                </a:lnTo>
                <a:cubicBezTo>
                  <a:pt x="1011307" y="1458592"/>
                  <a:pt x="1018596" y="1458592"/>
                  <a:pt x="1024062" y="1458592"/>
                </a:cubicBezTo>
                <a:cubicBezTo>
                  <a:pt x="1018596" y="1456769"/>
                  <a:pt x="1013129" y="1451303"/>
                  <a:pt x="1007663" y="1454947"/>
                </a:cubicBezTo>
                <a:lnTo>
                  <a:pt x="1007663" y="1453125"/>
                </a:lnTo>
                <a:cubicBezTo>
                  <a:pt x="1004929" y="1454947"/>
                  <a:pt x="1002651" y="1454491"/>
                  <a:pt x="1000602" y="1454036"/>
                </a:cubicBezTo>
                <a:lnTo>
                  <a:pt x="999946" y="1454141"/>
                </a:lnTo>
                <a:lnTo>
                  <a:pt x="987619" y="1451303"/>
                </a:lnTo>
                <a:cubicBezTo>
                  <a:pt x="985796" y="1453125"/>
                  <a:pt x="985796" y="1454947"/>
                  <a:pt x="983974" y="1456769"/>
                </a:cubicBezTo>
                <a:cubicBezTo>
                  <a:pt x="983974" y="1454947"/>
                  <a:pt x="985796" y="1453125"/>
                  <a:pt x="983974" y="1451303"/>
                </a:cubicBezTo>
                <a:cubicBezTo>
                  <a:pt x="980330" y="1449481"/>
                  <a:pt x="974863" y="1445836"/>
                  <a:pt x="973041" y="1447658"/>
                </a:cubicBezTo>
                <a:cubicBezTo>
                  <a:pt x="962108" y="1453125"/>
                  <a:pt x="949353" y="1456769"/>
                  <a:pt x="936598" y="1460414"/>
                </a:cubicBezTo>
                <a:lnTo>
                  <a:pt x="940148" y="1458757"/>
                </a:lnTo>
                <a:lnTo>
                  <a:pt x="956642" y="1453125"/>
                </a:lnTo>
                <a:lnTo>
                  <a:pt x="954188" y="1452205"/>
                </a:lnTo>
                <a:lnTo>
                  <a:pt x="963930" y="1447658"/>
                </a:lnTo>
                <a:cubicBezTo>
                  <a:pt x="958464" y="1447658"/>
                  <a:pt x="954819" y="1445836"/>
                  <a:pt x="951175" y="1449481"/>
                </a:cubicBezTo>
                <a:lnTo>
                  <a:pt x="949036" y="1450273"/>
                </a:lnTo>
                <a:lnTo>
                  <a:pt x="927487" y="1442192"/>
                </a:lnTo>
                <a:cubicBezTo>
                  <a:pt x="929309" y="1442192"/>
                  <a:pt x="929309" y="1442192"/>
                  <a:pt x="931131" y="1440370"/>
                </a:cubicBezTo>
                <a:cubicBezTo>
                  <a:pt x="907444" y="1427615"/>
                  <a:pt x="883755" y="1422148"/>
                  <a:pt x="860066" y="1429437"/>
                </a:cubicBezTo>
                <a:cubicBezTo>
                  <a:pt x="863711" y="1427615"/>
                  <a:pt x="867355" y="1425792"/>
                  <a:pt x="871000" y="1422148"/>
                </a:cubicBezTo>
                <a:cubicBezTo>
                  <a:pt x="872822" y="1422148"/>
                  <a:pt x="872822" y="1420326"/>
                  <a:pt x="874644" y="1418504"/>
                </a:cubicBezTo>
                <a:cubicBezTo>
                  <a:pt x="872822" y="1418504"/>
                  <a:pt x="871000" y="1418504"/>
                  <a:pt x="871000" y="1420326"/>
                </a:cubicBezTo>
                <a:cubicBezTo>
                  <a:pt x="872822" y="1418504"/>
                  <a:pt x="872822" y="1418504"/>
                  <a:pt x="872822" y="1418504"/>
                </a:cubicBezTo>
                <a:cubicBezTo>
                  <a:pt x="865533" y="1415770"/>
                  <a:pt x="856877" y="1413037"/>
                  <a:pt x="849361" y="1413265"/>
                </a:cubicBezTo>
                <a:close/>
                <a:moveTo>
                  <a:pt x="3197916" y="1413037"/>
                </a:moveTo>
                <a:cubicBezTo>
                  <a:pt x="3199738" y="1416681"/>
                  <a:pt x="3194271" y="1420326"/>
                  <a:pt x="3196093" y="1423970"/>
                </a:cubicBezTo>
                <a:cubicBezTo>
                  <a:pt x="3197916" y="1425792"/>
                  <a:pt x="3197916" y="1425792"/>
                  <a:pt x="3199738" y="1425792"/>
                </a:cubicBezTo>
                <a:cubicBezTo>
                  <a:pt x="3199738" y="1425792"/>
                  <a:pt x="3197916" y="1423970"/>
                  <a:pt x="3199738" y="1418504"/>
                </a:cubicBezTo>
                <a:cubicBezTo>
                  <a:pt x="3201560" y="1420326"/>
                  <a:pt x="3201560" y="1422148"/>
                  <a:pt x="3203382" y="1423970"/>
                </a:cubicBezTo>
                <a:cubicBezTo>
                  <a:pt x="3205204" y="1422148"/>
                  <a:pt x="3205204" y="1425792"/>
                  <a:pt x="3199738" y="1413037"/>
                </a:cubicBezTo>
                <a:cubicBezTo>
                  <a:pt x="3197916" y="1413037"/>
                  <a:pt x="3197916" y="1413037"/>
                  <a:pt x="3197916" y="1413037"/>
                </a:cubicBezTo>
                <a:close/>
                <a:moveTo>
                  <a:pt x="3190627" y="1413037"/>
                </a:moveTo>
                <a:cubicBezTo>
                  <a:pt x="3186982" y="1413037"/>
                  <a:pt x="3185160" y="1414859"/>
                  <a:pt x="3181516" y="1414859"/>
                </a:cubicBezTo>
                <a:cubicBezTo>
                  <a:pt x="3183338" y="1418504"/>
                  <a:pt x="3185160" y="1420326"/>
                  <a:pt x="3190627" y="1420326"/>
                </a:cubicBezTo>
                <a:cubicBezTo>
                  <a:pt x="3188805" y="1416681"/>
                  <a:pt x="3192449" y="1416681"/>
                  <a:pt x="3190627" y="1413037"/>
                </a:cubicBezTo>
                <a:close/>
                <a:moveTo>
                  <a:pt x="674205" y="1413037"/>
                </a:moveTo>
                <a:cubicBezTo>
                  <a:pt x="666916" y="1413037"/>
                  <a:pt x="666916" y="1423970"/>
                  <a:pt x="670560" y="1427615"/>
                </a:cubicBezTo>
                <a:cubicBezTo>
                  <a:pt x="676027" y="1433081"/>
                  <a:pt x="674205" y="1420326"/>
                  <a:pt x="677849" y="1423970"/>
                </a:cubicBezTo>
                <a:cubicBezTo>
                  <a:pt x="679671" y="1425792"/>
                  <a:pt x="676027" y="1427615"/>
                  <a:pt x="676027" y="1431259"/>
                </a:cubicBezTo>
                <a:cubicBezTo>
                  <a:pt x="679671" y="1429437"/>
                  <a:pt x="679671" y="1425792"/>
                  <a:pt x="681493" y="1422148"/>
                </a:cubicBezTo>
                <a:cubicBezTo>
                  <a:pt x="681493" y="1431259"/>
                  <a:pt x="668738" y="1438548"/>
                  <a:pt x="681493" y="1440370"/>
                </a:cubicBezTo>
                <a:cubicBezTo>
                  <a:pt x="679671" y="1440370"/>
                  <a:pt x="679671" y="1440370"/>
                  <a:pt x="676027" y="1440370"/>
                </a:cubicBezTo>
                <a:cubicBezTo>
                  <a:pt x="676027" y="1447658"/>
                  <a:pt x="681493" y="1449481"/>
                  <a:pt x="685138" y="1445836"/>
                </a:cubicBezTo>
                <a:cubicBezTo>
                  <a:pt x="692426" y="1440370"/>
                  <a:pt x="690604" y="1431259"/>
                  <a:pt x="692426" y="1423970"/>
                </a:cubicBezTo>
                <a:cubicBezTo>
                  <a:pt x="686960" y="1420326"/>
                  <a:pt x="679671" y="1413037"/>
                  <a:pt x="674205" y="1413037"/>
                </a:cubicBezTo>
                <a:close/>
                <a:moveTo>
                  <a:pt x="652566" y="1413037"/>
                </a:moveTo>
                <a:cubicBezTo>
                  <a:pt x="650516" y="1413037"/>
                  <a:pt x="648694" y="1413948"/>
                  <a:pt x="648694" y="1416681"/>
                </a:cubicBezTo>
                <a:cubicBezTo>
                  <a:pt x="650516" y="1418504"/>
                  <a:pt x="654161" y="1414859"/>
                  <a:pt x="657805" y="1414859"/>
                </a:cubicBezTo>
                <a:cubicBezTo>
                  <a:pt x="656894" y="1413948"/>
                  <a:pt x="654616" y="1413037"/>
                  <a:pt x="652566" y="1413037"/>
                </a:cubicBezTo>
                <a:close/>
                <a:moveTo>
                  <a:pt x="573985" y="1413037"/>
                </a:moveTo>
                <a:cubicBezTo>
                  <a:pt x="572163" y="1414859"/>
                  <a:pt x="575808" y="1418504"/>
                  <a:pt x="577630" y="1418504"/>
                </a:cubicBezTo>
                <a:cubicBezTo>
                  <a:pt x="579452" y="1416681"/>
                  <a:pt x="575808" y="1414859"/>
                  <a:pt x="575808" y="1414859"/>
                </a:cubicBezTo>
                <a:cubicBezTo>
                  <a:pt x="577630" y="1414859"/>
                  <a:pt x="579452" y="1416681"/>
                  <a:pt x="581274" y="1416681"/>
                </a:cubicBezTo>
                <a:cubicBezTo>
                  <a:pt x="581274" y="1413037"/>
                  <a:pt x="575808" y="1413037"/>
                  <a:pt x="573985" y="1413037"/>
                </a:cubicBezTo>
                <a:close/>
                <a:moveTo>
                  <a:pt x="453494" y="1413037"/>
                </a:moveTo>
                <a:lnTo>
                  <a:pt x="453591" y="1414586"/>
                </a:lnTo>
                <a:lnTo>
                  <a:pt x="452782" y="1414717"/>
                </a:lnTo>
                <a:lnTo>
                  <a:pt x="452230" y="1414480"/>
                </a:lnTo>
                <a:close/>
                <a:moveTo>
                  <a:pt x="444967" y="1411367"/>
                </a:moveTo>
                <a:lnTo>
                  <a:pt x="452230" y="1414480"/>
                </a:lnTo>
                <a:lnTo>
                  <a:pt x="451899" y="1414859"/>
                </a:lnTo>
                <a:lnTo>
                  <a:pt x="452782" y="1414717"/>
                </a:lnTo>
                <a:lnTo>
                  <a:pt x="453621" y="1415076"/>
                </a:lnTo>
                <a:lnTo>
                  <a:pt x="453722" y="1416681"/>
                </a:lnTo>
                <a:cubicBezTo>
                  <a:pt x="450077" y="1416681"/>
                  <a:pt x="447344" y="1414859"/>
                  <a:pt x="445294" y="1412126"/>
                </a:cubicBezTo>
                <a:close/>
                <a:moveTo>
                  <a:pt x="3143250" y="1411215"/>
                </a:moveTo>
                <a:cubicBezTo>
                  <a:pt x="3143250" y="1423970"/>
                  <a:pt x="3154184" y="1420326"/>
                  <a:pt x="3157828" y="1423970"/>
                </a:cubicBezTo>
                <a:cubicBezTo>
                  <a:pt x="3163294" y="1414859"/>
                  <a:pt x="3148717" y="1411215"/>
                  <a:pt x="3143250" y="1411215"/>
                </a:cubicBezTo>
                <a:close/>
                <a:moveTo>
                  <a:pt x="3134140" y="1411215"/>
                </a:moveTo>
                <a:cubicBezTo>
                  <a:pt x="3135962" y="1414859"/>
                  <a:pt x="3137784" y="1418504"/>
                  <a:pt x="3141428" y="1418504"/>
                </a:cubicBezTo>
                <a:cubicBezTo>
                  <a:pt x="3139606" y="1416681"/>
                  <a:pt x="3139606" y="1413037"/>
                  <a:pt x="3137784" y="1411215"/>
                </a:cubicBezTo>
                <a:cubicBezTo>
                  <a:pt x="3135962" y="1411215"/>
                  <a:pt x="3135962" y="1413037"/>
                  <a:pt x="3134140" y="1411215"/>
                </a:cubicBezTo>
                <a:close/>
                <a:moveTo>
                  <a:pt x="1149792" y="1411215"/>
                </a:moveTo>
                <a:cubicBezTo>
                  <a:pt x="1146148" y="1409393"/>
                  <a:pt x="1149792" y="1414859"/>
                  <a:pt x="1147970" y="1414859"/>
                </a:cubicBezTo>
                <a:cubicBezTo>
                  <a:pt x="1151614" y="1418504"/>
                  <a:pt x="1149792" y="1413037"/>
                  <a:pt x="1149792" y="1411215"/>
                </a:cubicBezTo>
                <a:close/>
                <a:moveTo>
                  <a:pt x="1127926" y="1411215"/>
                </a:moveTo>
                <a:cubicBezTo>
                  <a:pt x="1127926" y="1414859"/>
                  <a:pt x="1124282" y="1413037"/>
                  <a:pt x="1122459" y="1414859"/>
                </a:cubicBezTo>
                <a:cubicBezTo>
                  <a:pt x="1122459" y="1418504"/>
                  <a:pt x="1126104" y="1420326"/>
                  <a:pt x="1127926" y="1422148"/>
                </a:cubicBezTo>
                <a:cubicBezTo>
                  <a:pt x="1131570" y="1420326"/>
                  <a:pt x="1131570" y="1418504"/>
                  <a:pt x="1133393" y="1416681"/>
                </a:cubicBezTo>
                <a:cubicBezTo>
                  <a:pt x="1131570" y="1414859"/>
                  <a:pt x="1129748" y="1413037"/>
                  <a:pt x="1127926" y="1411215"/>
                </a:cubicBezTo>
                <a:close/>
                <a:moveTo>
                  <a:pt x="701537" y="1411215"/>
                </a:moveTo>
                <a:cubicBezTo>
                  <a:pt x="707004" y="1416681"/>
                  <a:pt x="714293" y="1418504"/>
                  <a:pt x="717937" y="1413037"/>
                </a:cubicBezTo>
                <a:cubicBezTo>
                  <a:pt x="712470" y="1414859"/>
                  <a:pt x="707004" y="1409393"/>
                  <a:pt x="701537" y="1411215"/>
                </a:cubicBezTo>
                <a:close/>
                <a:moveTo>
                  <a:pt x="519320" y="1411215"/>
                </a:moveTo>
                <a:cubicBezTo>
                  <a:pt x="517498" y="1413037"/>
                  <a:pt x="517498" y="1413037"/>
                  <a:pt x="515676" y="1414859"/>
                </a:cubicBezTo>
                <a:cubicBezTo>
                  <a:pt x="517498" y="1414859"/>
                  <a:pt x="519320" y="1414859"/>
                  <a:pt x="521142" y="1413037"/>
                </a:cubicBezTo>
                <a:cubicBezTo>
                  <a:pt x="519320" y="1413037"/>
                  <a:pt x="519320" y="1413037"/>
                  <a:pt x="519320" y="1411215"/>
                </a:cubicBezTo>
                <a:close/>
                <a:moveTo>
                  <a:pt x="493809" y="1411215"/>
                </a:moveTo>
                <a:cubicBezTo>
                  <a:pt x="490165" y="1409393"/>
                  <a:pt x="482876" y="1413037"/>
                  <a:pt x="484700" y="1418504"/>
                </a:cubicBezTo>
                <a:cubicBezTo>
                  <a:pt x="488343" y="1416681"/>
                  <a:pt x="490165" y="1413037"/>
                  <a:pt x="493809" y="1411215"/>
                </a:cubicBezTo>
                <a:close/>
                <a:moveTo>
                  <a:pt x="444849" y="1411096"/>
                </a:moveTo>
                <a:lnTo>
                  <a:pt x="444967" y="1411367"/>
                </a:lnTo>
                <a:lnTo>
                  <a:pt x="444611" y="1411215"/>
                </a:lnTo>
                <a:close/>
                <a:moveTo>
                  <a:pt x="467388" y="1410987"/>
                </a:moveTo>
                <a:cubicBezTo>
                  <a:pt x="466022" y="1411215"/>
                  <a:pt x="464655" y="1412126"/>
                  <a:pt x="464655" y="1413037"/>
                </a:cubicBezTo>
                <a:cubicBezTo>
                  <a:pt x="466478" y="1414859"/>
                  <a:pt x="468299" y="1414859"/>
                  <a:pt x="470121" y="1413037"/>
                </a:cubicBezTo>
                <a:cubicBezTo>
                  <a:pt x="470121" y="1411215"/>
                  <a:pt x="468754" y="1410759"/>
                  <a:pt x="467388" y="1410987"/>
                </a:cubicBezTo>
                <a:close/>
                <a:moveTo>
                  <a:pt x="3114888" y="1410901"/>
                </a:moveTo>
                <a:lnTo>
                  <a:pt x="3117227" y="1415642"/>
                </a:lnTo>
                <a:lnTo>
                  <a:pt x="3114096" y="1414859"/>
                </a:lnTo>
                <a:close/>
                <a:moveTo>
                  <a:pt x="3039387" y="1409393"/>
                </a:moveTo>
                <a:cubicBezTo>
                  <a:pt x="3039387" y="1413037"/>
                  <a:pt x="3041209" y="1414859"/>
                  <a:pt x="3043031" y="1414859"/>
                </a:cubicBezTo>
                <a:cubicBezTo>
                  <a:pt x="3043031" y="1413037"/>
                  <a:pt x="3043031" y="1411215"/>
                  <a:pt x="3043031" y="1409393"/>
                </a:cubicBezTo>
                <a:cubicBezTo>
                  <a:pt x="3041209" y="1409393"/>
                  <a:pt x="3041209" y="1409393"/>
                  <a:pt x="3039387" y="1409393"/>
                </a:cubicBezTo>
                <a:close/>
                <a:moveTo>
                  <a:pt x="1162547" y="1409393"/>
                </a:moveTo>
                <a:cubicBezTo>
                  <a:pt x="1160725" y="1414859"/>
                  <a:pt x="1160725" y="1418504"/>
                  <a:pt x="1160725" y="1423970"/>
                </a:cubicBezTo>
                <a:cubicBezTo>
                  <a:pt x="1162547" y="1425792"/>
                  <a:pt x="1164370" y="1427615"/>
                  <a:pt x="1166192" y="1427615"/>
                </a:cubicBezTo>
                <a:cubicBezTo>
                  <a:pt x="1166192" y="1422148"/>
                  <a:pt x="1162547" y="1416681"/>
                  <a:pt x="1162547" y="1409393"/>
                </a:cubicBezTo>
                <a:close/>
                <a:moveTo>
                  <a:pt x="736159" y="1409393"/>
                </a:moveTo>
                <a:cubicBezTo>
                  <a:pt x="734336" y="1407571"/>
                  <a:pt x="732515" y="1407571"/>
                  <a:pt x="728870" y="1411215"/>
                </a:cubicBezTo>
                <a:cubicBezTo>
                  <a:pt x="730692" y="1411215"/>
                  <a:pt x="736159" y="1416681"/>
                  <a:pt x="736159" y="1409393"/>
                </a:cubicBezTo>
                <a:close/>
                <a:moveTo>
                  <a:pt x="690604" y="1409393"/>
                </a:moveTo>
                <a:cubicBezTo>
                  <a:pt x="688782" y="1409393"/>
                  <a:pt x="686960" y="1411215"/>
                  <a:pt x="685138" y="1411215"/>
                </a:cubicBezTo>
                <a:cubicBezTo>
                  <a:pt x="688782" y="1420326"/>
                  <a:pt x="696071" y="1418504"/>
                  <a:pt x="705182" y="1418504"/>
                </a:cubicBezTo>
                <a:cubicBezTo>
                  <a:pt x="699715" y="1414859"/>
                  <a:pt x="696071" y="1411215"/>
                  <a:pt x="690604" y="1409393"/>
                </a:cubicBezTo>
                <a:close/>
                <a:moveTo>
                  <a:pt x="530253" y="1409393"/>
                </a:moveTo>
                <a:cubicBezTo>
                  <a:pt x="522964" y="1414859"/>
                  <a:pt x="512031" y="1420326"/>
                  <a:pt x="515676" y="1431259"/>
                </a:cubicBezTo>
                <a:lnTo>
                  <a:pt x="512031" y="1431259"/>
                </a:lnTo>
                <a:cubicBezTo>
                  <a:pt x="512031" y="1433081"/>
                  <a:pt x="513853" y="1436725"/>
                  <a:pt x="513853" y="1438548"/>
                </a:cubicBezTo>
                <a:cubicBezTo>
                  <a:pt x="519320" y="1431259"/>
                  <a:pt x="522964" y="1420326"/>
                  <a:pt x="530253" y="1409393"/>
                </a:cubicBezTo>
                <a:close/>
                <a:moveTo>
                  <a:pt x="564874" y="1408938"/>
                </a:moveTo>
                <a:cubicBezTo>
                  <a:pt x="563963" y="1408938"/>
                  <a:pt x="563052" y="1409393"/>
                  <a:pt x="563052" y="1411215"/>
                </a:cubicBezTo>
                <a:cubicBezTo>
                  <a:pt x="562141" y="1413037"/>
                  <a:pt x="562596" y="1413948"/>
                  <a:pt x="563507" y="1414403"/>
                </a:cubicBezTo>
                <a:lnTo>
                  <a:pt x="564490" y="1414544"/>
                </a:lnTo>
                <a:lnTo>
                  <a:pt x="564399" y="1414752"/>
                </a:lnTo>
                <a:lnTo>
                  <a:pt x="556902" y="1414403"/>
                </a:lnTo>
                <a:cubicBezTo>
                  <a:pt x="553486" y="1414403"/>
                  <a:pt x="550297" y="1413948"/>
                  <a:pt x="548475" y="1411215"/>
                </a:cubicBezTo>
                <a:cubicBezTo>
                  <a:pt x="552119" y="1416681"/>
                  <a:pt x="544830" y="1413037"/>
                  <a:pt x="544830" y="1416681"/>
                </a:cubicBezTo>
                <a:cubicBezTo>
                  <a:pt x="544830" y="1420326"/>
                  <a:pt x="550297" y="1416681"/>
                  <a:pt x="550297" y="1420326"/>
                </a:cubicBezTo>
                <a:cubicBezTo>
                  <a:pt x="548475" y="1420326"/>
                  <a:pt x="544830" y="1420326"/>
                  <a:pt x="544830" y="1420326"/>
                </a:cubicBezTo>
                <a:cubicBezTo>
                  <a:pt x="541186" y="1427615"/>
                  <a:pt x="555763" y="1425792"/>
                  <a:pt x="552119" y="1434903"/>
                </a:cubicBezTo>
                <a:cubicBezTo>
                  <a:pt x="561230" y="1429437"/>
                  <a:pt x="559408" y="1425792"/>
                  <a:pt x="555763" y="1420326"/>
                </a:cubicBezTo>
                <a:cubicBezTo>
                  <a:pt x="559408" y="1420326"/>
                  <a:pt x="563052" y="1416681"/>
                  <a:pt x="561230" y="1422148"/>
                </a:cubicBezTo>
                <a:lnTo>
                  <a:pt x="564399" y="1414752"/>
                </a:lnTo>
                <a:lnTo>
                  <a:pt x="566697" y="1414859"/>
                </a:lnTo>
                <a:lnTo>
                  <a:pt x="564490" y="1414544"/>
                </a:lnTo>
                <a:lnTo>
                  <a:pt x="566697" y="1409393"/>
                </a:lnTo>
                <a:cubicBezTo>
                  <a:pt x="566697" y="1409393"/>
                  <a:pt x="565785" y="1408938"/>
                  <a:pt x="564874" y="1408938"/>
                </a:cubicBezTo>
                <a:close/>
                <a:moveTo>
                  <a:pt x="443848" y="1408778"/>
                </a:moveTo>
                <a:lnTo>
                  <a:pt x="448256" y="1409393"/>
                </a:lnTo>
                <a:lnTo>
                  <a:pt x="444849" y="1411096"/>
                </a:lnTo>
                <a:close/>
                <a:moveTo>
                  <a:pt x="438461" y="1408026"/>
                </a:moveTo>
                <a:lnTo>
                  <a:pt x="443159" y="1408682"/>
                </a:lnTo>
                <a:lnTo>
                  <a:pt x="444611" y="1413037"/>
                </a:lnTo>
                <a:cubicBezTo>
                  <a:pt x="440966" y="1413037"/>
                  <a:pt x="438689" y="1411670"/>
                  <a:pt x="437094" y="1410076"/>
                </a:cubicBezTo>
                <a:lnTo>
                  <a:pt x="436641" y="1409502"/>
                </a:lnTo>
                <a:close/>
                <a:moveTo>
                  <a:pt x="2895435" y="1407571"/>
                </a:moveTo>
                <a:lnTo>
                  <a:pt x="2893613" y="1411215"/>
                </a:lnTo>
                <a:cubicBezTo>
                  <a:pt x="2895435" y="1413037"/>
                  <a:pt x="2899079" y="1413037"/>
                  <a:pt x="2902724" y="1411215"/>
                </a:cubicBezTo>
                <a:cubicBezTo>
                  <a:pt x="2899079" y="1409393"/>
                  <a:pt x="2897257" y="1409393"/>
                  <a:pt x="2895435" y="1407571"/>
                </a:cubicBezTo>
                <a:close/>
                <a:moveTo>
                  <a:pt x="1494183" y="1407571"/>
                </a:moveTo>
                <a:lnTo>
                  <a:pt x="1475961" y="1429437"/>
                </a:lnTo>
                <a:cubicBezTo>
                  <a:pt x="1496006" y="1438548"/>
                  <a:pt x="1479606" y="1438548"/>
                  <a:pt x="1497827" y="1431259"/>
                </a:cubicBezTo>
                <a:lnTo>
                  <a:pt x="1514228" y="1444014"/>
                </a:lnTo>
                <a:lnTo>
                  <a:pt x="1530626" y="1422148"/>
                </a:lnTo>
                <a:cubicBezTo>
                  <a:pt x="1497827" y="1418504"/>
                  <a:pt x="1517871" y="1422148"/>
                  <a:pt x="1494183" y="1407571"/>
                </a:cubicBezTo>
                <a:close/>
                <a:moveTo>
                  <a:pt x="584919" y="1407571"/>
                </a:moveTo>
                <a:cubicBezTo>
                  <a:pt x="583096" y="1411215"/>
                  <a:pt x="590385" y="1413037"/>
                  <a:pt x="594030" y="1409393"/>
                </a:cubicBezTo>
                <a:cubicBezTo>
                  <a:pt x="590385" y="1407571"/>
                  <a:pt x="588562" y="1407571"/>
                  <a:pt x="584919" y="1407571"/>
                </a:cubicBezTo>
                <a:close/>
                <a:moveTo>
                  <a:pt x="3491391" y="1405759"/>
                </a:moveTo>
                <a:lnTo>
                  <a:pt x="3491414" y="1406571"/>
                </a:lnTo>
                <a:lnTo>
                  <a:pt x="3491286" y="1406204"/>
                </a:lnTo>
                <a:close/>
                <a:moveTo>
                  <a:pt x="1157081" y="1405748"/>
                </a:moveTo>
                <a:cubicBezTo>
                  <a:pt x="1153436" y="1405748"/>
                  <a:pt x="1147970" y="1409393"/>
                  <a:pt x="1151614" y="1413037"/>
                </a:cubicBezTo>
                <a:cubicBezTo>
                  <a:pt x="1151614" y="1411215"/>
                  <a:pt x="1155259" y="1409393"/>
                  <a:pt x="1153436" y="1407571"/>
                </a:cubicBezTo>
                <a:cubicBezTo>
                  <a:pt x="1157081" y="1407571"/>
                  <a:pt x="1153436" y="1413037"/>
                  <a:pt x="1157081" y="1413037"/>
                </a:cubicBezTo>
                <a:cubicBezTo>
                  <a:pt x="1153436" y="1414859"/>
                  <a:pt x="1155259" y="1418504"/>
                  <a:pt x="1155259" y="1420326"/>
                </a:cubicBezTo>
                <a:cubicBezTo>
                  <a:pt x="1160725" y="1416681"/>
                  <a:pt x="1160725" y="1407571"/>
                  <a:pt x="1157081" y="1405748"/>
                </a:cubicBezTo>
                <a:close/>
                <a:moveTo>
                  <a:pt x="838200" y="1405748"/>
                </a:moveTo>
                <a:cubicBezTo>
                  <a:pt x="836378" y="1407571"/>
                  <a:pt x="836378" y="1405748"/>
                  <a:pt x="834556" y="1407571"/>
                </a:cubicBezTo>
                <a:cubicBezTo>
                  <a:pt x="832734" y="1413037"/>
                  <a:pt x="830912" y="1411215"/>
                  <a:pt x="827267" y="1414859"/>
                </a:cubicBezTo>
                <a:cubicBezTo>
                  <a:pt x="829089" y="1418504"/>
                  <a:pt x="829089" y="1420326"/>
                  <a:pt x="832734" y="1422148"/>
                </a:cubicBezTo>
                <a:cubicBezTo>
                  <a:pt x="836378" y="1416681"/>
                  <a:pt x="840022" y="1413037"/>
                  <a:pt x="841845" y="1407571"/>
                </a:cubicBezTo>
                <a:cubicBezTo>
                  <a:pt x="838200" y="1411215"/>
                  <a:pt x="838200" y="1407571"/>
                  <a:pt x="834556" y="1407571"/>
                </a:cubicBezTo>
                <a:cubicBezTo>
                  <a:pt x="836378" y="1407571"/>
                  <a:pt x="838200" y="1407571"/>
                  <a:pt x="840022" y="1407571"/>
                </a:cubicBezTo>
                <a:cubicBezTo>
                  <a:pt x="840022" y="1407571"/>
                  <a:pt x="838200" y="1405748"/>
                  <a:pt x="838200" y="1405748"/>
                </a:cubicBezTo>
                <a:close/>
                <a:moveTo>
                  <a:pt x="758025" y="1405748"/>
                </a:moveTo>
                <a:cubicBezTo>
                  <a:pt x="758025" y="1403926"/>
                  <a:pt x="752558" y="1409393"/>
                  <a:pt x="754380" y="1411215"/>
                </a:cubicBezTo>
                <a:cubicBezTo>
                  <a:pt x="756203" y="1409393"/>
                  <a:pt x="758025" y="1407571"/>
                  <a:pt x="758025" y="1405748"/>
                </a:cubicBezTo>
                <a:close/>
                <a:moveTo>
                  <a:pt x="676027" y="1405748"/>
                </a:moveTo>
                <a:cubicBezTo>
                  <a:pt x="677849" y="1405748"/>
                  <a:pt x="676027" y="1407571"/>
                  <a:pt x="676027" y="1407571"/>
                </a:cubicBezTo>
                <a:cubicBezTo>
                  <a:pt x="679671" y="1409393"/>
                  <a:pt x="683316" y="1407571"/>
                  <a:pt x="686960" y="1407571"/>
                </a:cubicBezTo>
                <a:cubicBezTo>
                  <a:pt x="685138" y="1405748"/>
                  <a:pt x="679671" y="1403926"/>
                  <a:pt x="676027" y="1405748"/>
                </a:cubicBezTo>
                <a:close/>
                <a:moveTo>
                  <a:pt x="612478" y="1404381"/>
                </a:moveTo>
                <a:cubicBezTo>
                  <a:pt x="610884" y="1403926"/>
                  <a:pt x="609517" y="1403926"/>
                  <a:pt x="608606" y="1405748"/>
                </a:cubicBezTo>
                <a:cubicBezTo>
                  <a:pt x="612251" y="1407571"/>
                  <a:pt x="614074" y="1407571"/>
                  <a:pt x="617717" y="1405748"/>
                </a:cubicBezTo>
                <a:cubicBezTo>
                  <a:pt x="615895" y="1405748"/>
                  <a:pt x="614074" y="1404837"/>
                  <a:pt x="612478" y="1404381"/>
                </a:cubicBezTo>
                <a:close/>
                <a:moveTo>
                  <a:pt x="792646" y="1403926"/>
                </a:moveTo>
                <a:lnTo>
                  <a:pt x="793128" y="1404802"/>
                </a:lnTo>
                <a:lnTo>
                  <a:pt x="791990" y="1403999"/>
                </a:lnTo>
                <a:close/>
                <a:moveTo>
                  <a:pt x="625006" y="1403926"/>
                </a:moveTo>
                <a:cubicBezTo>
                  <a:pt x="623185" y="1405748"/>
                  <a:pt x="630472" y="1407571"/>
                  <a:pt x="630472" y="1403926"/>
                </a:cubicBezTo>
                <a:cubicBezTo>
                  <a:pt x="628650" y="1403926"/>
                  <a:pt x="626828" y="1405748"/>
                  <a:pt x="625006" y="1403926"/>
                </a:cubicBezTo>
                <a:close/>
                <a:moveTo>
                  <a:pt x="603140" y="1403926"/>
                </a:moveTo>
                <a:cubicBezTo>
                  <a:pt x="604963" y="1407571"/>
                  <a:pt x="604963" y="1409393"/>
                  <a:pt x="606784" y="1403926"/>
                </a:cubicBezTo>
                <a:cubicBezTo>
                  <a:pt x="606784" y="1402104"/>
                  <a:pt x="604963" y="1402104"/>
                  <a:pt x="603140" y="1403926"/>
                </a:cubicBezTo>
                <a:close/>
                <a:moveTo>
                  <a:pt x="546653" y="1403926"/>
                </a:moveTo>
                <a:cubicBezTo>
                  <a:pt x="545742" y="1404837"/>
                  <a:pt x="546197" y="1406204"/>
                  <a:pt x="547108" y="1406887"/>
                </a:cubicBezTo>
                <a:lnTo>
                  <a:pt x="549120" y="1406169"/>
                </a:lnTo>
                <a:lnTo>
                  <a:pt x="549159" y="1406204"/>
                </a:lnTo>
                <a:cubicBezTo>
                  <a:pt x="549842" y="1406204"/>
                  <a:pt x="550297" y="1405748"/>
                  <a:pt x="550297" y="1405748"/>
                </a:cubicBezTo>
                <a:lnTo>
                  <a:pt x="549120" y="1406169"/>
                </a:lnTo>
                <a:close/>
                <a:moveTo>
                  <a:pt x="1176404" y="1403671"/>
                </a:moveTo>
                <a:lnTo>
                  <a:pt x="1187067" y="1417241"/>
                </a:lnTo>
                <a:lnTo>
                  <a:pt x="1178035" y="1407343"/>
                </a:lnTo>
                <a:close/>
                <a:moveTo>
                  <a:pt x="661449" y="1402104"/>
                </a:moveTo>
                <a:cubicBezTo>
                  <a:pt x="659627" y="1403926"/>
                  <a:pt x="659627" y="1405748"/>
                  <a:pt x="657805" y="1407571"/>
                </a:cubicBezTo>
                <a:cubicBezTo>
                  <a:pt x="659627" y="1409393"/>
                  <a:pt x="663272" y="1409393"/>
                  <a:pt x="666916" y="1405748"/>
                </a:cubicBezTo>
                <a:cubicBezTo>
                  <a:pt x="665094" y="1403926"/>
                  <a:pt x="663272" y="1403926"/>
                  <a:pt x="661449" y="1402104"/>
                </a:cubicBezTo>
                <a:close/>
                <a:moveTo>
                  <a:pt x="535719" y="1402104"/>
                </a:moveTo>
                <a:cubicBezTo>
                  <a:pt x="533897" y="1402104"/>
                  <a:pt x="533897" y="1403926"/>
                  <a:pt x="532075" y="1405748"/>
                </a:cubicBezTo>
                <a:cubicBezTo>
                  <a:pt x="533897" y="1407571"/>
                  <a:pt x="537542" y="1411215"/>
                  <a:pt x="539364" y="1409393"/>
                </a:cubicBezTo>
                <a:cubicBezTo>
                  <a:pt x="539364" y="1405748"/>
                  <a:pt x="537542" y="1403926"/>
                  <a:pt x="535719" y="1402104"/>
                </a:cubicBezTo>
                <a:close/>
                <a:moveTo>
                  <a:pt x="440966" y="1402104"/>
                </a:moveTo>
                <a:lnTo>
                  <a:pt x="443848" y="1408778"/>
                </a:lnTo>
                <a:lnTo>
                  <a:pt x="443159" y="1408682"/>
                </a:lnTo>
                <a:close/>
                <a:moveTo>
                  <a:pt x="3115918" y="1400282"/>
                </a:moveTo>
                <a:cubicBezTo>
                  <a:pt x="3115918" y="1407571"/>
                  <a:pt x="3125029" y="1405748"/>
                  <a:pt x="3128673" y="1407571"/>
                </a:cubicBezTo>
                <a:cubicBezTo>
                  <a:pt x="3128673" y="1400282"/>
                  <a:pt x="3121384" y="1400282"/>
                  <a:pt x="3115918" y="1400282"/>
                </a:cubicBezTo>
                <a:close/>
                <a:moveTo>
                  <a:pt x="1158903" y="1400282"/>
                </a:moveTo>
                <a:cubicBezTo>
                  <a:pt x="1157081" y="1400282"/>
                  <a:pt x="1157081" y="1402104"/>
                  <a:pt x="1157081" y="1403926"/>
                </a:cubicBezTo>
                <a:cubicBezTo>
                  <a:pt x="1158903" y="1405748"/>
                  <a:pt x="1158903" y="1403926"/>
                  <a:pt x="1160725" y="1405748"/>
                </a:cubicBezTo>
                <a:cubicBezTo>
                  <a:pt x="1160725" y="1403926"/>
                  <a:pt x="1158903" y="1402104"/>
                  <a:pt x="1158903" y="1400282"/>
                </a:cubicBezTo>
                <a:close/>
                <a:moveTo>
                  <a:pt x="787179" y="1400282"/>
                </a:moveTo>
                <a:cubicBezTo>
                  <a:pt x="781713" y="1407571"/>
                  <a:pt x="772602" y="1422148"/>
                  <a:pt x="783535" y="1422148"/>
                </a:cubicBezTo>
                <a:cubicBezTo>
                  <a:pt x="787179" y="1423970"/>
                  <a:pt x="781713" y="1416681"/>
                  <a:pt x="783535" y="1413037"/>
                </a:cubicBezTo>
                <a:cubicBezTo>
                  <a:pt x="787179" y="1416681"/>
                  <a:pt x="789003" y="1418504"/>
                  <a:pt x="789003" y="1422148"/>
                </a:cubicBezTo>
                <a:cubicBezTo>
                  <a:pt x="793557" y="1419414"/>
                  <a:pt x="796746" y="1416226"/>
                  <a:pt x="797658" y="1413037"/>
                </a:cubicBezTo>
                <a:lnTo>
                  <a:pt x="793128" y="1404802"/>
                </a:lnTo>
                <a:lnTo>
                  <a:pt x="794468" y="1405748"/>
                </a:lnTo>
                <a:cubicBezTo>
                  <a:pt x="796290" y="1403926"/>
                  <a:pt x="792646" y="1400282"/>
                  <a:pt x="790824" y="1400282"/>
                </a:cubicBezTo>
                <a:cubicBezTo>
                  <a:pt x="789001" y="1401193"/>
                  <a:pt x="789457" y="1402104"/>
                  <a:pt x="790596" y="1403015"/>
                </a:cubicBezTo>
                <a:lnTo>
                  <a:pt x="791990" y="1403999"/>
                </a:lnTo>
                <a:lnTo>
                  <a:pt x="790596" y="1404154"/>
                </a:lnTo>
                <a:cubicBezTo>
                  <a:pt x="789457" y="1403015"/>
                  <a:pt x="788091" y="1401193"/>
                  <a:pt x="787179" y="1400282"/>
                </a:cubicBezTo>
                <a:close/>
                <a:moveTo>
                  <a:pt x="735020" y="1398915"/>
                </a:moveTo>
                <a:cubicBezTo>
                  <a:pt x="732059" y="1398915"/>
                  <a:pt x="729781" y="1400281"/>
                  <a:pt x="730692" y="1405748"/>
                </a:cubicBezTo>
                <a:cubicBezTo>
                  <a:pt x="734336" y="1402104"/>
                  <a:pt x="741626" y="1407571"/>
                  <a:pt x="743447" y="1400282"/>
                </a:cubicBezTo>
                <a:cubicBezTo>
                  <a:pt x="741626" y="1400282"/>
                  <a:pt x="737981" y="1398915"/>
                  <a:pt x="735020" y="1398915"/>
                </a:cubicBezTo>
                <a:close/>
                <a:moveTo>
                  <a:pt x="3493108" y="1398460"/>
                </a:moveTo>
                <a:lnTo>
                  <a:pt x="3493480" y="1398609"/>
                </a:lnTo>
                <a:lnTo>
                  <a:pt x="3493108" y="1400282"/>
                </a:lnTo>
                <a:lnTo>
                  <a:pt x="3492844" y="1399583"/>
                </a:lnTo>
                <a:close/>
                <a:moveTo>
                  <a:pt x="3465775" y="1398460"/>
                </a:moveTo>
                <a:cubicBezTo>
                  <a:pt x="3465775" y="1402104"/>
                  <a:pt x="3467597" y="1411215"/>
                  <a:pt x="3471242" y="1411215"/>
                </a:cubicBezTo>
                <a:cubicBezTo>
                  <a:pt x="3474886" y="1407571"/>
                  <a:pt x="3469419" y="1405748"/>
                  <a:pt x="3471242" y="1400282"/>
                </a:cubicBezTo>
                <a:cubicBezTo>
                  <a:pt x="3469419" y="1400282"/>
                  <a:pt x="3467597" y="1400282"/>
                  <a:pt x="3465775" y="1398460"/>
                </a:cubicBezTo>
                <a:close/>
                <a:moveTo>
                  <a:pt x="1641780" y="1398460"/>
                </a:moveTo>
                <a:lnTo>
                  <a:pt x="1627202" y="1413037"/>
                </a:lnTo>
                <a:lnTo>
                  <a:pt x="1643602" y="1422148"/>
                </a:lnTo>
                <a:lnTo>
                  <a:pt x="1649068" y="1409393"/>
                </a:lnTo>
                <a:close/>
                <a:moveTo>
                  <a:pt x="1096949" y="1398460"/>
                </a:moveTo>
                <a:cubicBezTo>
                  <a:pt x="1095127" y="1402104"/>
                  <a:pt x="1100593" y="1407571"/>
                  <a:pt x="1096949" y="1411215"/>
                </a:cubicBezTo>
                <a:cubicBezTo>
                  <a:pt x="1102416" y="1416681"/>
                  <a:pt x="1109704" y="1418504"/>
                  <a:pt x="1116993" y="1416681"/>
                </a:cubicBezTo>
                <a:cubicBezTo>
                  <a:pt x="1113349" y="1409393"/>
                  <a:pt x="1104238" y="1400282"/>
                  <a:pt x="1096949" y="1398460"/>
                </a:cubicBezTo>
                <a:close/>
                <a:moveTo>
                  <a:pt x="794468" y="1398460"/>
                </a:moveTo>
                <a:cubicBezTo>
                  <a:pt x="794468" y="1400282"/>
                  <a:pt x="796290" y="1405748"/>
                  <a:pt x="799935" y="1409393"/>
                </a:cubicBezTo>
                <a:cubicBezTo>
                  <a:pt x="799935" y="1403926"/>
                  <a:pt x="801757" y="1405748"/>
                  <a:pt x="805401" y="1402104"/>
                </a:cubicBezTo>
                <a:cubicBezTo>
                  <a:pt x="801757" y="1398460"/>
                  <a:pt x="798112" y="1398460"/>
                  <a:pt x="794468" y="1398460"/>
                </a:cubicBezTo>
                <a:close/>
                <a:moveTo>
                  <a:pt x="659627" y="1398460"/>
                </a:moveTo>
                <a:cubicBezTo>
                  <a:pt x="657805" y="1398460"/>
                  <a:pt x="657805" y="1400282"/>
                  <a:pt x="655983" y="1402104"/>
                </a:cubicBezTo>
                <a:cubicBezTo>
                  <a:pt x="655983" y="1403926"/>
                  <a:pt x="661449" y="1400282"/>
                  <a:pt x="659627" y="1398460"/>
                </a:cubicBezTo>
                <a:close/>
                <a:moveTo>
                  <a:pt x="612251" y="1398460"/>
                </a:moveTo>
                <a:cubicBezTo>
                  <a:pt x="610429" y="1398460"/>
                  <a:pt x="610429" y="1400282"/>
                  <a:pt x="610429" y="1402104"/>
                </a:cubicBezTo>
                <a:cubicBezTo>
                  <a:pt x="612251" y="1403926"/>
                  <a:pt x="614074" y="1403926"/>
                  <a:pt x="615895" y="1403926"/>
                </a:cubicBezTo>
                <a:cubicBezTo>
                  <a:pt x="617717" y="1402104"/>
                  <a:pt x="614074" y="1398460"/>
                  <a:pt x="612251" y="1398460"/>
                </a:cubicBezTo>
                <a:close/>
                <a:moveTo>
                  <a:pt x="1164371" y="1398459"/>
                </a:moveTo>
                <a:lnTo>
                  <a:pt x="1164370" y="1398460"/>
                </a:lnTo>
                <a:lnTo>
                  <a:pt x="1164370" y="1398460"/>
                </a:lnTo>
                <a:close/>
                <a:moveTo>
                  <a:pt x="3409288" y="1396638"/>
                </a:moveTo>
                <a:cubicBezTo>
                  <a:pt x="3400177" y="1398460"/>
                  <a:pt x="3394710" y="1403926"/>
                  <a:pt x="3387422" y="1407571"/>
                </a:cubicBezTo>
                <a:cubicBezTo>
                  <a:pt x="3391066" y="1411215"/>
                  <a:pt x="3403821" y="1407571"/>
                  <a:pt x="3409288" y="1403926"/>
                </a:cubicBezTo>
                <a:cubicBezTo>
                  <a:pt x="3407466" y="1400282"/>
                  <a:pt x="3407466" y="1400282"/>
                  <a:pt x="3409288" y="1396638"/>
                </a:cubicBezTo>
                <a:close/>
                <a:moveTo>
                  <a:pt x="1158903" y="1396638"/>
                </a:moveTo>
                <a:cubicBezTo>
                  <a:pt x="1158903" y="1396638"/>
                  <a:pt x="1157081" y="1398460"/>
                  <a:pt x="1157081" y="1398460"/>
                </a:cubicBezTo>
                <a:cubicBezTo>
                  <a:pt x="1158903" y="1402104"/>
                  <a:pt x="1162547" y="1398460"/>
                  <a:pt x="1158903" y="1396638"/>
                </a:cubicBezTo>
                <a:close/>
                <a:moveTo>
                  <a:pt x="754380" y="1396638"/>
                </a:moveTo>
                <a:cubicBezTo>
                  <a:pt x="754380" y="1398460"/>
                  <a:pt x="752558" y="1400282"/>
                  <a:pt x="752558" y="1402104"/>
                </a:cubicBezTo>
                <a:cubicBezTo>
                  <a:pt x="754380" y="1403926"/>
                  <a:pt x="756203" y="1398460"/>
                  <a:pt x="754380" y="1396638"/>
                </a:cubicBezTo>
                <a:close/>
                <a:moveTo>
                  <a:pt x="679671" y="1396638"/>
                </a:moveTo>
                <a:cubicBezTo>
                  <a:pt x="677849" y="1398460"/>
                  <a:pt x="677849" y="1400282"/>
                  <a:pt x="677849" y="1402104"/>
                </a:cubicBezTo>
                <a:cubicBezTo>
                  <a:pt x="679671" y="1403926"/>
                  <a:pt x="683316" y="1403926"/>
                  <a:pt x="685138" y="1403926"/>
                </a:cubicBezTo>
                <a:cubicBezTo>
                  <a:pt x="685138" y="1400282"/>
                  <a:pt x="681493" y="1398460"/>
                  <a:pt x="679671" y="1396638"/>
                </a:cubicBezTo>
                <a:close/>
                <a:moveTo>
                  <a:pt x="495375" y="1396570"/>
                </a:moveTo>
                <a:lnTo>
                  <a:pt x="495632" y="1396638"/>
                </a:lnTo>
                <a:cubicBezTo>
                  <a:pt x="493809" y="1398460"/>
                  <a:pt x="491987" y="1400282"/>
                  <a:pt x="490165" y="1400282"/>
                </a:cubicBezTo>
                <a:lnTo>
                  <a:pt x="490450" y="1399648"/>
                </a:lnTo>
                <a:close/>
                <a:moveTo>
                  <a:pt x="3197916" y="1394815"/>
                </a:moveTo>
                <a:cubicBezTo>
                  <a:pt x="3197916" y="1398460"/>
                  <a:pt x="3207027" y="1400282"/>
                  <a:pt x="3203382" y="1394815"/>
                </a:cubicBezTo>
                <a:cubicBezTo>
                  <a:pt x="3201560" y="1394815"/>
                  <a:pt x="3199738" y="1394815"/>
                  <a:pt x="3197916" y="1394815"/>
                </a:cubicBezTo>
                <a:close/>
                <a:moveTo>
                  <a:pt x="3015698" y="1394815"/>
                </a:moveTo>
                <a:cubicBezTo>
                  <a:pt x="3012054" y="1398460"/>
                  <a:pt x="3008410" y="1402104"/>
                  <a:pt x="3010232" y="1407571"/>
                </a:cubicBezTo>
                <a:cubicBezTo>
                  <a:pt x="3013876" y="1403926"/>
                  <a:pt x="3022987" y="1409393"/>
                  <a:pt x="3022987" y="1400282"/>
                </a:cubicBezTo>
                <a:cubicBezTo>
                  <a:pt x="3019343" y="1398460"/>
                  <a:pt x="3013876" y="1400282"/>
                  <a:pt x="3015698" y="1394815"/>
                </a:cubicBezTo>
                <a:close/>
                <a:moveTo>
                  <a:pt x="1166192" y="1394815"/>
                </a:moveTo>
                <a:cubicBezTo>
                  <a:pt x="1166192" y="1396638"/>
                  <a:pt x="1166192" y="1396638"/>
                  <a:pt x="1166192" y="1396638"/>
                </a:cubicBezTo>
                <a:lnTo>
                  <a:pt x="1164371" y="1398459"/>
                </a:lnTo>
                <a:close/>
                <a:moveTo>
                  <a:pt x="1142503" y="1394815"/>
                </a:moveTo>
                <a:cubicBezTo>
                  <a:pt x="1142503" y="1396638"/>
                  <a:pt x="1140681" y="1398460"/>
                  <a:pt x="1142503" y="1400282"/>
                </a:cubicBezTo>
                <a:cubicBezTo>
                  <a:pt x="1144326" y="1396638"/>
                  <a:pt x="1146148" y="1402104"/>
                  <a:pt x="1147970" y="1400282"/>
                </a:cubicBezTo>
                <a:cubicBezTo>
                  <a:pt x="1146148" y="1396638"/>
                  <a:pt x="1144326" y="1400282"/>
                  <a:pt x="1142503" y="1394815"/>
                </a:cubicBezTo>
                <a:close/>
                <a:moveTo>
                  <a:pt x="1096949" y="1392993"/>
                </a:moveTo>
                <a:cubicBezTo>
                  <a:pt x="1104238" y="1400282"/>
                  <a:pt x="1113349" y="1407571"/>
                  <a:pt x="1120637" y="1414859"/>
                </a:cubicBezTo>
                <a:cubicBezTo>
                  <a:pt x="1124282" y="1413037"/>
                  <a:pt x="1126104" y="1407571"/>
                  <a:pt x="1129748" y="1409393"/>
                </a:cubicBezTo>
                <a:cubicBezTo>
                  <a:pt x="1131570" y="1405748"/>
                  <a:pt x="1124282" y="1402104"/>
                  <a:pt x="1122459" y="1402104"/>
                </a:cubicBezTo>
                <a:cubicBezTo>
                  <a:pt x="1118815" y="1402104"/>
                  <a:pt x="1120637" y="1405748"/>
                  <a:pt x="1116993" y="1403926"/>
                </a:cubicBezTo>
                <a:cubicBezTo>
                  <a:pt x="1116993" y="1402104"/>
                  <a:pt x="1120637" y="1402104"/>
                  <a:pt x="1120637" y="1400282"/>
                </a:cubicBezTo>
                <a:cubicBezTo>
                  <a:pt x="1118815" y="1398460"/>
                  <a:pt x="1118815" y="1402104"/>
                  <a:pt x="1116993" y="1400282"/>
                </a:cubicBezTo>
                <a:cubicBezTo>
                  <a:pt x="1116993" y="1398460"/>
                  <a:pt x="1120637" y="1398460"/>
                  <a:pt x="1120637" y="1398460"/>
                </a:cubicBezTo>
                <a:cubicBezTo>
                  <a:pt x="1116993" y="1398460"/>
                  <a:pt x="1104238" y="1391171"/>
                  <a:pt x="1096949" y="1392993"/>
                </a:cubicBezTo>
                <a:close/>
                <a:moveTo>
                  <a:pt x="841845" y="1392993"/>
                </a:moveTo>
                <a:cubicBezTo>
                  <a:pt x="840022" y="1396638"/>
                  <a:pt x="841845" y="1400282"/>
                  <a:pt x="845489" y="1403926"/>
                </a:cubicBezTo>
                <a:cubicBezTo>
                  <a:pt x="847311" y="1394815"/>
                  <a:pt x="856422" y="1402104"/>
                  <a:pt x="856422" y="1398460"/>
                </a:cubicBezTo>
                <a:cubicBezTo>
                  <a:pt x="852778" y="1392993"/>
                  <a:pt x="847311" y="1391171"/>
                  <a:pt x="841845" y="1392993"/>
                </a:cubicBezTo>
                <a:close/>
                <a:moveTo>
                  <a:pt x="834556" y="1392993"/>
                </a:moveTo>
                <a:lnTo>
                  <a:pt x="832899" y="1396721"/>
                </a:lnTo>
                <a:lnTo>
                  <a:pt x="832734" y="1396638"/>
                </a:lnTo>
                <a:lnTo>
                  <a:pt x="832890" y="1396742"/>
                </a:lnTo>
                <a:lnTo>
                  <a:pt x="830912" y="1401193"/>
                </a:lnTo>
                <a:cubicBezTo>
                  <a:pt x="829090" y="1402559"/>
                  <a:pt x="826356" y="1403015"/>
                  <a:pt x="821801" y="1403926"/>
                </a:cubicBezTo>
                <a:cubicBezTo>
                  <a:pt x="829089" y="1405748"/>
                  <a:pt x="832734" y="1400282"/>
                  <a:pt x="838200" y="1400282"/>
                </a:cubicBezTo>
                <a:lnTo>
                  <a:pt x="832890" y="1396742"/>
                </a:lnTo>
                <a:lnTo>
                  <a:pt x="832899" y="1396721"/>
                </a:lnTo>
                <a:lnTo>
                  <a:pt x="836378" y="1398460"/>
                </a:lnTo>
                <a:cubicBezTo>
                  <a:pt x="836378" y="1396638"/>
                  <a:pt x="836378" y="1394815"/>
                  <a:pt x="834556" y="1392993"/>
                </a:cubicBezTo>
                <a:close/>
                <a:moveTo>
                  <a:pt x="557586" y="1392993"/>
                </a:moveTo>
                <a:cubicBezTo>
                  <a:pt x="553941" y="1403926"/>
                  <a:pt x="557586" y="1402104"/>
                  <a:pt x="564874" y="1407571"/>
                </a:cubicBezTo>
                <a:cubicBezTo>
                  <a:pt x="564874" y="1402104"/>
                  <a:pt x="563052" y="1394815"/>
                  <a:pt x="557586" y="1392993"/>
                </a:cubicBezTo>
                <a:close/>
                <a:moveTo>
                  <a:pt x="528658" y="1392993"/>
                </a:moveTo>
                <a:cubicBezTo>
                  <a:pt x="525697" y="1393904"/>
                  <a:pt x="522964" y="1397549"/>
                  <a:pt x="524786" y="1402104"/>
                </a:cubicBezTo>
                <a:cubicBezTo>
                  <a:pt x="526609" y="1403926"/>
                  <a:pt x="526609" y="1405748"/>
                  <a:pt x="530253" y="1405748"/>
                </a:cubicBezTo>
                <a:cubicBezTo>
                  <a:pt x="533897" y="1405748"/>
                  <a:pt x="528431" y="1400282"/>
                  <a:pt x="533897" y="1400282"/>
                </a:cubicBezTo>
                <a:cubicBezTo>
                  <a:pt x="534808" y="1393905"/>
                  <a:pt x="531619" y="1392082"/>
                  <a:pt x="528658" y="1392993"/>
                </a:cubicBezTo>
                <a:close/>
                <a:moveTo>
                  <a:pt x="501098" y="1392993"/>
                </a:moveTo>
                <a:lnTo>
                  <a:pt x="495375" y="1396570"/>
                </a:lnTo>
                <a:lnTo>
                  <a:pt x="492215" y="1395727"/>
                </a:lnTo>
                <a:lnTo>
                  <a:pt x="490450" y="1399648"/>
                </a:lnTo>
                <a:lnTo>
                  <a:pt x="486521" y="1402104"/>
                </a:lnTo>
                <a:cubicBezTo>
                  <a:pt x="486521" y="1405748"/>
                  <a:pt x="486521" y="1407571"/>
                  <a:pt x="484700" y="1409393"/>
                </a:cubicBezTo>
                <a:cubicBezTo>
                  <a:pt x="493809" y="1407571"/>
                  <a:pt x="502920" y="1402104"/>
                  <a:pt x="501098" y="1392993"/>
                </a:cubicBezTo>
                <a:close/>
                <a:moveTo>
                  <a:pt x="3249421" y="1392481"/>
                </a:moveTo>
                <a:cubicBezTo>
                  <a:pt x="3247342" y="1391627"/>
                  <a:pt x="3244837" y="1392538"/>
                  <a:pt x="3241648" y="1396638"/>
                </a:cubicBezTo>
                <a:cubicBezTo>
                  <a:pt x="3245292" y="1394815"/>
                  <a:pt x="3248937" y="1394815"/>
                  <a:pt x="3247114" y="1396638"/>
                </a:cubicBezTo>
                <a:cubicBezTo>
                  <a:pt x="3247114" y="1402104"/>
                  <a:pt x="3236181" y="1391171"/>
                  <a:pt x="3236181" y="1402104"/>
                </a:cubicBezTo>
                <a:cubicBezTo>
                  <a:pt x="3232537" y="1400282"/>
                  <a:pt x="3234359" y="1398460"/>
                  <a:pt x="3232537" y="1396638"/>
                </a:cubicBezTo>
                <a:cubicBezTo>
                  <a:pt x="3227071" y="1396638"/>
                  <a:pt x="3221604" y="1400282"/>
                  <a:pt x="3216137" y="1402104"/>
                </a:cubicBezTo>
                <a:lnTo>
                  <a:pt x="3236181" y="1420326"/>
                </a:lnTo>
                <a:cubicBezTo>
                  <a:pt x="3238003" y="1420326"/>
                  <a:pt x="3239826" y="1418504"/>
                  <a:pt x="3241648" y="1416681"/>
                </a:cubicBezTo>
                <a:cubicBezTo>
                  <a:pt x="3245292" y="1414859"/>
                  <a:pt x="3245292" y="1422148"/>
                  <a:pt x="3247114" y="1422148"/>
                </a:cubicBezTo>
                <a:cubicBezTo>
                  <a:pt x="3248937" y="1422148"/>
                  <a:pt x="3247114" y="1416681"/>
                  <a:pt x="3247114" y="1414859"/>
                </a:cubicBezTo>
                <a:cubicBezTo>
                  <a:pt x="3248937" y="1416681"/>
                  <a:pt x="3252581" y="1416681"/>
                  <a:pt x="3252581" y="1418504"/>
                </a:cubicBezTo>
                <a:cubicBezTo>
                  <a:pt x="3254403" y="1429437"/>
                  <a:pt x="3265336" y="1440370"/>
                  <a:pt x="3272625" y="1436725"/>
                </a:cubicBezTo>
                <a:cubicBezTo>
                  <a:pt x="3278091" y="1429437"/>
                  <a:pt x="3259869" y="1420326"/>
                  <a:pt x="3263514" y="1409393"/>
                </a:cubicBezTo>
                <a:cubicBezTo>
                  <a:pt x="3258047" y="1413492"/>
                  <a:pt x="3255656" y="1395043"/>
                  <a:pt x="3249421" y="1392481"/>
                </a:cubicBezTo>
                <a:close/>
                <a:moveTo>
                  <a:pt x="1506938" y="1391171"/>
                </a:moveTo>
                <a:cubicBezTo>
                  <a:pt x="1521516" y="1411215"/>
                  <a:pt x="1516049" y="1411215"/>
                  <a:pt x="1545204" y="1414859"/>
                </a:cubicBezTo>
                <a:lnTo>
                  <a:pt x="1545204" y="1391171"/>
                </a:lnTo>
                <a:lnTo>
                  <a:pt x="1530626" y="1394815"/>
                </a:lnTo>
                <a:close/>
                <a:moveTo>
                  <a:pt x="685138" y="1391171"/>
                </a:moveTo>
                <a:cubicBezTo>
                  <a:pt x="685138" y="1392993"/>
                  <a:pt x="685138" y="1392993"/>
                  <a:pt x="683316" y="1394815"/>
                </a:cubicBezTo>
                <a:cubicBezTo>
                  <a:pt x="685138" y="1396638"/>
                  <a:pt x="686960" y="1396638"/>
                  <a:pt x="686960" y="1398460"/>
                </a:cubicBezTo>
                <a:cubicBezTo>
                  <a:pt x="686960" y="1394815"/>
                  <a:pt x="686960" y="1392993"/>
                  <a:pt x="685138" y="1391171"/>
                </a:cubicBezTo>
                <a:close/>
                <a:moveTo>
                  <a:pt x="672383" y="1391171"/>
                </a:moveTo>
                <a:cubicBezTo>
                  <a:pt x="668738" y="1391171"/>
                  <a:pt x="665094" y="1394815"/>
                  <a:pt x="663272" y="1398460"/>
                </a:cubicBezTo>
                <a:cubicBezTo>
                  <a:pt x="672383" y="1403926"/>
                  <a:pt x="666916" y="1391171"/>
                  <a:pt x="672383" y="1391171"/>
                </a:cubicBezTo>
                <a:close/>
                <a:moveTo>
                  <a:pt x="614074" y="1391171"/>
                </a:moveTo>
                <a:cubicBezTo>
                  <a:pt x="612251" y="1402104"/>
                  <a:pt x="623185" y="1407571"/>
                  <a:pt x="630472" y="1402104"/>
                </a:cubicBezTo>
                <a:cubicBezTo>
                  <a:pt x="626828" y="1400282"/>
                  <a:pt x="623185" y="1396638"/>
                  <a:pt x="619539" y="1394815"/>
                </a:cubicBezTo>
                <a:cubicBezTo>
                  <a:pt x="619539" y="1396638"/>
                  <a:pt x="619539" y="1396638"/>
                  <a:pt x="619539" y="1398460"/>
                </a:cubicBezTo>
                <a:cubicBezTo>
                  <a:pt x="615895" y="1396638"/>
                  <a:pt x="617717" y="1392993"/>
                  <a:pt x="614074" y="1391171"/>
                </a:cubicBezTo>
                <a:close/>
                <a:moveTo>
                  <a:pt x="3504998" y="1390015"/>
                </a:moveTo>
                <a:lnTo>
                  <a:pt x="3504041" y="1392993"/>
                </a:lnTo>
                <a:lnTo>
                  <a:pt x="3503807" y="1391667"/>
                </a:lnTo>
                <a:lnTo>
                  <a:pt x="3503814" y="1391627"/>
                </a:lnTo>
                <a:close/>
                <a:moveTo>
                  <a:pt x="1142908" y="1389552"/>
                </a:moveTo>
                <a:lnTo>
                  <a:pt x="1142503" y="1391171"/>
                </a:lnTo>
                <a:cubicBezTo>
                  <a:pt x="1142503" y="1391171"/>
                  <a:pt x="1142503" y="1390260"/>
                  <a:pt x="1142731" y="1389577"/>
                </a:cubicBezTo>
                <a:close/>
                <a:moveTo>
                  <a:pt x="606777" y="1389515"/>
                </a:moveTo>
                <a:lnTo>
                  <a:pt x="606556" y="1394815"/>
                </a:lnTo>
                <a:cubicBezTo>
                  <a:pt x="606784" y="1396638"/>
                  <a:pt x="606784" y="1398460"/>
                  <a:pt x="604963" y="1400282"/>
                </a:cubicBezTo>
                <a:lnTo>
                  <a:pt x="604963" y="1391488"/>
                </a:lnTo>
                <a:close/>
                <a:moveTo>
                  <a:pt x="1155259" y="1389349"/>
                </a:moveTo>
                <a:cubicBezTo>
                  <a:pt x="1151614" y="1389349"/>
                  <a:pt x="1151614" y="1394815"/>
                  <a:pt x="1149792" y="1396638"/>
                </a:cubicBezTo>
                <a:cubicBezTo>
                  <a:pt x="1151614" y="1400282"/>
                  <a:pt x="1153436" y="1400282"/>
                  <a:pt x="1155259" y="1402104"/>
                </a:cubicBezTo>
                <a:cubicBezTo>
                  <a:pt x="1153436" y="1402104"/>
                  <a:pt x="1153436" y="1400282"/>
                  <a:pt x="1151614" y="1400282"/>
                </a:cubicBezTo>
                <a:cubicBezTo>
                  <a:pt x="1147970" y="1402104"/>
                  <a:pt x="1149792" y="1405748"/>
                  <a:pt x="1149792" y="1407571"/>
                </a:cubicBezTo>
                <a:cubicBezTo>
                  <a:pt x="1149792" y="1409393"/>
                  <a:pt x="1151614" y="1403926"/>
                  <a:pt x="1155259" y="1402104"/>
                </a:cubicBezTo>
                <a:cubicBezTo>
                  <a:pt x="1158903" y="1398460"/>
                  <a:pt x="1155259" y="1392993"/>
                  <a:pt x="1155259" y="1389349"/>
                </a:cubicBezTo>
                <a:close/>
                <a:moveTo>
                  <a:pt x="1080549" y="1389349"/>
                </a:moveTo>
                <a:cubicBezTo>
                  <a:pt x="1078727" y="1389349"/>
                  <a:pt x="1082373" y="1392993"/>
                  <a:pt x="1084194" y="1391171"/>
                </a:cubicBezTo>
                <a:cubicBezTo>
                  <a:pt x="1084194" y="1389349"/>
                  <a:pt x="1082373" y="1389349"/>
                  <a:pt x="1080549" y="1389349"/>
                </a:cubicBezTo>
                <a:close/>
                <a:moveTo>
                  <a:pt x="923843" y="1389349"/>
                </a:moveTo>
                <a:lnTo>
                  <a:pt x="927487" y="1389349"/>
                </a:lnTo>
                <a:cubicBezTo>
                  <a:pt x="922020" y="1388438"/>
                  <a:pt x="915643" y="1391627"/>
                  <a:pt x="909720" y="1393449"/>
                </a:cubicBezTo>
                <a:lnTo>
                  <a:pt x="908630" y="1393152"/>
                </a:lnTo>
                <a:lnTo>
                  <a:pt x="912909" y="1392082"/>
                </a:lnTo>
                <a:cubicBezTo>
                  <a:pt x="916099" y="1390715"/>
                  <a:pt x="919287" y="1389349"/>
                  <a:pt x="923843" y="1389349"/>
                </a:cubicBezTo>
                <a:close/>
                <a:moveTo>
                  <a:pt x="838200" y="1389349"/>
                </a:moveTo>
                <a:cubicBezTo>
                  <a:pt x="841845" y="1392993"/>
                  <a:pt x="843667" y="1389349"/>
                  <a:pt x="847311" y="1391171"/>
                </a:cubicBezTo>
                <a:cubicBezTo>
                  <a:pt x="845489" y="1387527"/>
                  <a:pt x="841845" y="1387527"/>
                  <a:pt x="838200" y="1389349"/>
                </a:cubicBezTo>
                <a:close/>
                <a:moveTo>
                  <a:pt x="639583" y="1389349"/>
                </a:moveTo>
                <a:cubicBezTo>
                  <a:pt x="637761" y="1387527"/>
                  <a:pt x="634117" y="1391171"/>
                  <a:pt x="632296" y="1392993"/>
                </a:cubicBezTo>
                <a:cubicBezTo>
                  <a:pt x="635939" y="1396638"/>
                  <a:pt x="637761" y="1391171"/>
                  <a:pt x="639583" y="1389349"/>
                </a:cubicBezTo>
                <a:close/>
                <a:moveTo>
                  <a:pt x="617717" y="1389349"/>
                </a:moveTo>
                <a:cubicBezTo>
                  <a:pt x="621362" y="1394815"/>
                  <a:pt x="628650" y="1398460"/>
                  <a:pt x="632296" y="1398460"/>
                </a:cubicBezTo>
                <a:cubicBezTo>
                  <a:pt x="626828" y="1389349"/>
                  <a:pt x="625006" y="1389349"/>
                  <a:pt x="617717" y="1389349"/>
                </a:cubicBezTo>
                <a:close/>
                <a:moveTo>
                  <a:pt x="1071439" y="1387527"/>
                </a:moveTo>
                <a:cubicBezTo>
                  <a:pt x="1076905" y="1398460"/>
                  <a:pt x="1087838" y="1402104"/>
                  <a:pt x="1093305" y="1409393"/>
                </a:cubicBezTo>
                <a:cubicBezTo>
                  <a:pt x="1095127" y="1403926"/>
                  <a:pt x="1089660" y="1396638"/>
                  <a:pt x="1093305" y="1394815"/>
                </a:cubicBezTo>
                <a:cubicBezTo>
                  <a:pt x="1089660" y="1391171"/>
                  <a:pt x="1087838" y="1389349"/>
                  <a:pt x="1084194" y="1389349"/>
                </a:cubicBezTo>
                <a:cubicBezTo>
                  <a:pt x="1082373" y="1389349"/>
                  <a:pt x="1084194" y="1392993"/>
                  <a:pt x="1086016" y="1392993"/>
                </a:cubicBezTo>
                <a:cubicBezTo>
                  <a:pt x="1080549" y="1394815"/>
                  <a:pt x="1076905" y="1387527"/>
                  <a:pt x="1071439" y="1387527"/>
                </a:cubicBezTo>
                <a:close/>
                <a:moveTo>
                  <a:pt x="1067794" y="1387527"/>
                </a:moveTo>
                <a:cubicBezTo>
                  <a:pt x="1067794" y="1391171"/>
                  <a:pt x="1071439" y="1392993"/>
                  <a:pt x="1073262" y="1394815"/>
                </a:cubicBezTo>
                <a:cubicBezTo>
                  <a:pt x="1075083" y="1392993"/>
                  <a:pt x="1069616" y="1387527"/>
                  <a:pt x="1067794" y="1387527"/>
                </a:cubicBezTo>
                <a:close/>
                <a:moveTo>
                  <a:pt x="608606" y="1387527"/>
                </a:moveTo>
                <a:lnTo>
                  <a:pt x="606777" y="1389515"/>
                </a:lnTo>
                <a:lnTo>
                  <a:pt x="606784" y="1389349"/>
                </a:lnTo>
                <a:cubicBezTo>
                  <a:pt x="606784" y="1389349"/>
                  <a:pt x="604963" y="1391171"/>
                  <a:pt x="604963" y="1389349"/>
                </a:cubicBezTo>
                <a:lnTo>
                  <a:pt x="604963" y="1391488"/>
                </a:lnTo>
                <a:lnTo>
                  <a:pt x="603369" y="1393221"/>
                </a:lnTo>
                <a:cubicBezTo>
                  <a:pt x="602684" y="1395271"/>
                  <a:pt x="603140" y="1397549"/>
                  <a:pt x="604963" y="1400282"/>
                </a:cubicBezTo>
                <a:cubicBezTo>
                  <a:pt x="615895" y="1396638"/>
                  <a:pt x="606784" y="1391171"/>
                  <a:pt x="608606" y="1387527"/>
                </a:cubicBezTo>
                <a:close/>
                <a:moveTo>
                  <a:pt x="501098" y="1387527"/>
                </a:moveTo>
                <a:cubicBezTo>
                  <a:pt x="502920" y="1387527"/>
                  <a:pt x="497454" y="1389349"/>
                  <a:pt x="495632" y="1391171"/>
                </a:cubicBezTo>
                <a:cubicBezTo>
                  <a:pt x="499276" y="1394815"/>
                  <a:pt x="497454" y="1387527"/>
                  <a:pt x="501098" y="1387527"/>
                </a:cubicBezTo>
                <a:close/>
                <a:moveTo>
                  <a:pt x="3357584" y="1386160"/>
                </a:moveTo>
                <a:cubicBezTo>
                  <a:pt x="3355990" y="1385249"/>
                  <a:pt x="3354623" y="1384793"/>
                  <a:pt x="3352800" y="1387527"/>
                </a:cubicBezTo>
                <a:cubicBezTo>
                  <a:pt x="3356445" y="1396638"/>
                  <a:pt x="3349156" y="1403926"/>
                  <a:pt x="3349156" y="1411215"/>
                </a:cubicBezTo>
                <a:cubicBezTo>
                  <a:pt x="3347334" y="1407571"/>
                  <a:pt x="3343690" y="1409393"/>
                  <a:pt x="3341867" y="1409393"/>
                </a:cubicBezTo>
                <a:cubicBezTo>
                  <a:pt x="3338223" y="1411215"/>
                  <a:pt x="3340045" y="1416681"/>
                  <a:pt x="3340045" y="1418504"/>
                </a:cubicBezTo>
                <a:cubicBezTo>
                  <a:pt x="3349156" y="1416681"/>
                  <a:pt x="3347334" y="1425792"/>
                  <a:pt x="3350978" y="1427615"/>
                </a:cubicBezTo>
                <a:cubicBezTo>
                  <a:pt x="3356445" y="1429437"/>
                  <a:pt x="3360089" y="1422148"/>
                  <a:pt x="3358267" y="1418504"/>
                </a:cubicBezTo>
                <a:cubicBezTo>
                  <a:pt x="3360089" y="1420326"/>
                  <a:pt x="3360089" y="1420326"/>
                  <a:pt x="3361911" y="1422148"/>
                </a:cubicBezTo>
                <a:cubicBezTo>
                  <a:pt x="3365556" y="1418504"/>
                  <a:pt x="3358267" y="1414859"/>
                  <a:pt x="3361911" y="1411215"/>
                </a:cubicBezTo>
                <a:cubicBezTo>
                  <a:pt x="3367378" y="1407571"/>
                  <a:pt x="3367378" y="1422148"/>
                  <a:pt x="3369200" y="1414859"/>
                </a:cubicBezTo>
                <a:cubicBezTo>
                  <a:pt x="3371022" y="1405748"/>
                  <a:pt x="3358267" y="1396638"/>
                  <a:pt x="3363734" y="1387527"/>
                </a:cubicBezTo>
                <a:cubicBezTo>
                  <a:pt x="3361001" y="1388438"/>
                  <a:pt x="3359178" y="1387071"/>
                  <a:pt x="3357584" y="1386160"/>
                </a:cubicBezTo>
                <a:close/>
                <a:moveTo>
                  <a:pt x="3398355" y="1385705"/>
                </a:moveTo>
                <a:cubicBezTo>
                  <a:pt x="3403821" y="1391171"/>
                  <a:pt x="3392888" y="1392993"/>
                  <a:pt x="3391066" y="1398460"/>
                </a:cubicBezTo>
                <a:cubicBezTo>
                  <a:pt x="3396532" y="1396638"/>
                  <a:pt x="3401999" y="1398460"/>
                  <a:pt x="3403821" y="1391171"/>
                </a:cubicBezTo>
                <a:cubicBezTo>
                  <a:pt x="3401999" y="1389349"/>
                  <a:pt x="3401999" y="1385705"/>
                  <a:pt x="3398355" y="1385705"/>
                </a:cubicBezTo>
                <a:close/>
                <a:moveTo>
                  <a:pt x="723404" y="1385705"/>
                </a:moveTo>
                <a:cubicBezTo>
                  <a:pt x="721581" y="1389349"/>
                  <a:pt x="721581" y="1396638"/>
                  <a:pt x="727048" y="1398460"/>
                </a:cubicBezTo>
                <a:cubicBezTo>
                  <a:pt x="728870" y="1396638"/>
                  <a:pt x="730692" y="1392993"/>
                  <a:pt x="730692" y="1391171"/>
                </a:cubicBezTo>
                <a:cubicBezTo>
                  <a:pt x="734336" y="1392993"/>
                  <a:pt x="730692" y="1394815"/>
                  <a:pt x="730692" y="1396638"/>
                </a:cubicBezTo>
                <a:cubicBezTo>
                  <a:pt x="736159" y="1398460"/>
                  <a:pt x="741626" y="1400282"/>
                  <a:pt x="747092" y="1396638"/>
                </a:cubicBezTo>
                <a:cubicBezTo>
                  <a:pt x="741626" y="1387527"/>
                  <a:pt x="730692" y="1391171"/>
                  <a:pt x="723404" y="1385705"/>
                </a:cubicBezTo>
                <a:close/>
                <a:moveTo>
                  <a:pt x="688782" y="1385705"/>
                </a:moveTo>
                <a:cubicBezTo>
                  <a:pt x="683316" y="1396638"/>
                  <a:pt x="699715" y="1411215"/>
                  <a:pt x="705182" y="1403926"/>
                </a:cubicBezTo>
                <a:cubicBezTo>
                  <a:pt x="705182" y="1403926"/>
                  <a:pt x="716115" y="1407571"/>
                  <a:pt x="716115" y="1402104"/>
                </a:cubicBezTo>
                <a:cubicBezTo>
                  <a:pt x="717937" y="1402104"/>
                  <a:pt x="716115" y="1405748"/>
                  <a:pt x="717937" y="1405748"/>
                </a:cubicBezTo>
                <a:cubicBezTo>
                  <a:pt x="723404" y="1402104"/>
                  <a:pt x="717937" y="1402104"/>
                  <a:pt x="716115" y="1400282"/>
                </a:cubicBezTo>
                <a:cubicBezTo>
                  <a:pt x="708826" y="1394815"/>
                  <a:pt x="696071" y="1389349"/>
                  <a:pt x="688782" y="1385705"/>
                </a:cubicBezTo>
                <a:close/>
                <a:moveTo>
                  <a:pt x="666916" y="1385705"/>
                </a:moveTo>
                <a:lnTo>
                  <a:pt x="664673" y="1389965"/>
                </a:lnTo>
                <a:lnTo>
                  <a:pt x="659627" y="1392993"/>
                </a:lnTo>
                <a:cubicBezTo>
                  <a:pt x="662360" y="1392082"/>
                  <a:pt x="663727" y="1391171"/>
                  <a:pt x="664638" y="1390032"/>
                </a:cubicBezTo>
                <a:lnTo>
                  <a:pt x="664673" y="1389965"/>
                </a:lnTo>
                <a:lnTo>
                  <a:pt x="668738" y="1387527"/>
                </a:lnTo>
                <a:cubicBezTo>
                  <a:pt x="668738" y="1387527"/>
                  <a:pt x="666916" y="1385705"/>
                  <a:pt x="666916" y="1385705"/>
                </a:cubicBezTo>
                <a:close/>
                <a:moveTo>
                  <a:pt x="621362" y="1385705"/>
                </a:moveTo>
                <a:cubicBezTo>
                  <a:pt x="621362" y="1383882"/>
                  <a:pt x="619539" y="1385705"/>
                  <a:pt x="615895" y="1387527"/>
                </a:cubicBezTo>
                <a:cubicBezTo>
                  <a:pt x="617717" y="1389349"/>
                  <a:pt x="619539" y="1389349"/>
                  <a:pt x="621362" y="1387527"/>
                </a:cubicBezTo>
                <a:cubicBezTo>
                  <a:pt x="621362" y="1387527"/>
                  <a:pt x="621362" y="1385705"/>
                  <a:pt x="621362" y="1385705"/>
                </a:cubicBezTo>
                <a:close/>
                <a:moveTo>
                  <a:pt x="3474886" y="1383882"/>
                </a:moveTo>
                <a:cubicBezTo>
                  <a:pt x="3483997" y="1387527"/>
                  <a:pt x="3480353" y="1392993"/>
                  <a:pt x="3478530" y="1402104"/>
                </a:cubicBezTo>
                <a:cubicBezTo>
                  <a:pt x="3476708" y="1407571"/>
                  <a:pt x="3483997" y="1403926"/>
                  <a:pt x="3487641" y="1403926"/>
                </a:cubicBezTo>
                <a:cubicBezTo>
                  <a:pt x="3482175" y="1398460"/>
                  <a:pt x="3485819" y="1389349"/>
                  <a:pt x="3482175" y="1383882"/>
                </a:cubicBezTo>
                <a:cubicBezTo>
                  <a:pt x="3480353" y="1382060"/>
                  <a:pt x="3476708" y="1382060"/>
                  <a:pt x="3474886" y="1383882"/>
                </a:cubicBezTo>
                <a:close/>
                <a:moveTo>
                  <a:pt x="3453020" y="1383882"/>
                </a:moveTo>
                <a:cubicBezTo>
                  <a:pt x="3447553" y="1385705"/>
                  <a:pt x="3436621" y="1382060"/>
                  <a:pt x="3434798" y="1391171"/>
                </a:cubicBezTo>
                <a:cubicBezTo>
                  <a:pt x="3434798" y="1389349"/>
                  <a:pt x="3432976" y="1389349"/>
                  <a:pt x="3431154" y="1389349"/>
                </a:cubicBezTo>
                <a:cubicBezTo>
                  <a:pt x="3414754" y="1387527"/>
                  <a:pt x="3412932" y="1398460"/>
                  <a:pt x="3412932" y="1407571"/>
                </a:cubicBezTo>
                <a:cubicBezTo>
                  <a:pt x="3416577" y="1407571"/>
                  <a:pt x="3418399" y="1411215"/>
                  <a:pt x="3420221" y="1409393"/>
                </a:cubicBezTo>
                <a:cubicBezTo>
                  <a:pt x="3420221" y="1407571"/>
                  <a:pt x="3420221" y="1407571"/>
                  <a:pt x="3420221" y="1405748"/>
                </a:cubicBezTo>
                <a:cubicBezTo>
                  <a:pt x="3427510" y="1405748"/>
                  <a:pt x="3442087" y="1409393"/>
                  <a:pt x="3436621" y="1420326"/>
                </a:cubicBezTo>
                <a:cubicBezTo>
                  <a:pt x="3438443" y="1420326"/>
                  <a:pt x="3443909" y="1420326"/>
                  <a:pt x="3445731" y="1422148"/>
                </a:cubicBezTo>
                <a:cubicBezTo>
                  <a:pt x="3442087" y="1413037"/>
                  <a:pt x="3454842" y="1402104"/>
                  <a:pt x="3443909" y="1394815"/>
                </a:cubicBezTo>
                <a:cubicBezTo>
                  <a:pt x="3453020" y="1385705"/>
                  <a:pt x="3447553" y="1405748"/>
                  <a:pt x="3458487" y="1405748"/>
                </a:cubicBezTo>
                <a:cubicBezTo>
                  <a:pt x="3454842" y="1398460"/>
                  <a:pt x="3458487" y="1391171"/>
                  <a:pt x="3460309" y="1383882"/>
                </a:cubicBezTo>
                <a:cubicBezTo>
                  <a:pt x="3453020" y="1383882"/>
                  <a:pt x="3458487" y="1398460"/>
                  <a:pt x="3451198" y="1391171"/>
                </a:cubicBezTo>
                <a:cubicBezTo>
                  <a:pt x="3449376" y="1389349"/>
                  <a:pt x="3451198" y="1385705"/>
                  <a:pt x="3453020" y="1383882"/>
                </a:cubicBezTo>
                <a:close/>
                <a:moveTo>
                  <a:pt x="3409288" y="1383882"/>
                </a:moveTo>
                <a:cubicBezTo>
                  <a:pt x="3405643" y="1383882"/>
                  <a:pt x="3405643" y="1385705"/>
                  <a:pt x="3405643" y="1387527"/>
                </a:cubicBezTo>
                <a:cubicBezTo>
                  <a:pt x="3405643" y="1389349"/>
                  <a:pt x="3405643" y="1392993"/>
                  <a:pt x="3409288" y="1392993"/>
                </a:cubicBezTo>
                <a:cubicBezTo>
                  <a:pt x="3411110" y="1389349"/>
                  <a:pt x="3409288" y="1387527"/>
                  <a:pt x="3409288" y="1383882"/>
                </a:cubicBezTo>
                <a:close/>
                <a:moveTo>
                  <a:pt x="2815259" y="1383882"/>
                </a:moveTo>
                <a:cubicBezTo>
                  <a:pt x="2804326" y="1385705"/>
                  <a:pt x="2791571" y="1389349"/>
                  <a:pt x="2778816" y="1385705"/>
                </a:cubicBezTo>
                <a:cubicBezTo>
                  <a:pt x="2778816" y="1387527"/>
                  <a:pt x="2780638" y="1387527"/>
                  <a:pt x="2780638" y="1389349"/>
                </a:cubicBezTo>
                <a:cubicBezTo>
                  <a:pt x="2775171" y="1389349"/>
                  <a:pt x="2764238" y="1392993"/>
                  <a:pt x="2769705" y="1400282"/>
                </a:cubicBezTo>
                <a:cubicBezTo>
                  <a:pt x="2769705" y="1400282"/>
                  <a:pt x="2767882" y="1402104"/>
                  <a:pt x="2767882" y="1402104"/>
                </a:cubicBezTo>
                <a:lnTo>
                  <a:pt x="2767882" y="1422148"/>
                </a:lnTo>
                <a:cubicBezTo>
                  <a:pt x="2797037" y="1400282"/>
                  <a:pt x="2769705" y="1422148"/>
                  <a:pt x="2782460" y="1394815"/>
                </a:cubicBezTo>
                <a:cubicBezTo>
                  <a:pt x="2800682" y="1409393"/>
                  <a:pt x="2798860" y="1398460"/>
                  <a:pt x="2791571" y="1414859"/>
                </a:cubicBezTo>
                <a:cubicBezTo>
                  <a:pt x="2793393" y="1416681"/>
                  <a:pt x="2795215" y="1418504"/>
                  <a:pt x="2797037" y="1420326"/>
                </a:cubicBezTo>
                <a:lnTo>
                  <a:pt x="2806148" y="1425792"/>
                </a:lnTo>
                <a:lnTo>
                  <a:pt x="2802504" y="1431259"/>
                </a:lnTo>
                <a:cubicBezTo>
                  <a:pt x="2804326" y="1431259"/>
                  <a:pt x="2807971" y="1431259"/>
                  <a:pt x="2809793" y="1429437"/>
                </a:cubicBezTo>
                <a:cubicBezTo>
                  <a:pt x="2813437" y="1429437"/>
                  <a:pt x="2806148" y="1423970"/>
                  <a:pt x="2806148" y="1418504"/>
                </a:cubicBezTo>
                <a:cubicBezTo>
                  <a:pt x="2806148" y="1414859"/>
                  <a:pt x="2809793" y="1416681"/>
                  <a:pt x="2811615" y="1416681"/>
                </a:cubicBezTo>
                <a:lnTo>
                  <a:pt x="2806148" y="1409393"/>
                </a:lnTo>
                <a:lnTo>
                  <a:pt x="2820726" y="1394815"/>
                </a:lnTo>
                <a:cubicBezTo>
                  <a:pt x="2818903" y="1389349"/>
                  <a:pt x="2817081" y="1385705"/>
                  <a:pt x="2815259" y="1383882"/>
                </a:cubicBezTo>
                <a:close/>
                <a:moveTo>
                  <a:pt x="1129748" y="1383882"/>
                </a:moveTo>
                <a:cubicBezTo>
                  <a:pt x="1127926" y="1385705"/>
                  <a:pt x="1129748" y="1389349"/>
                  <a:pt x="1131570" y="1391171"/>
                </a:cubicBezTo>
                <a:cubicBezTo>
                  <a:pt x="1133393" y="1389349"/>
                  <a:pt x="1131570" y="1389349"/>
                  <a:pt x="1133393" y="1385705"/>
                </a:cubicBezTo>
                <a:cubicBezTo>
                  <a:pt x="1133393" y="1383882"/>
                  <a:pt x="1131570" y="1385705"/>
                  <a:pt x="1129748" y="1383882"/>
                </a:cubicBezTo>
                <a:close/>
                <a:moveTo>
                  <a:pt x="3420221" y="1383199"/>
                </a:moveTo>
                <a:cubicBezTo>
                  <a:pt x="3418399" y="1383427"/>
                  <a:pt x="3416577" y="1384793"/>
                  <a:pt x="3416577" y="1387527"/>
                </a:cubicBezTo>
                <a:cubicBezTo>
                  <a:pt x="3420221" y="1387527"/>
                  <a:pt x="3422043" y="1387527"/>
                  <a:pt x="3423865" y="1385705"/>
                </a:cubicBezTo>
                <a:cubicBezTo>
                  <a:pt x="3423865" y="1383883"/>
                  <a:pt x="3422043" y="1382971"/>
                  <a:pt x="3420221" y="1383199"/>
                </a:cubicBezTo>
                <a:close/>
                <a:moveTo>
                  <a:pt x="2831659" y="1382060"/>
                </a:moveTo>
                <a:lnTo>
                  <a:pt x="2835303" y="1409393"/>
                </a:lnTo>
                <a:lnTo>
                  <a:pt x="2815259" y="1416681"/>
                </a:lnTo>
                <a:cubicBezTo>
                  <a:pt x="2811615" y="1422148"/>
                  <a:pt x="2818903" y="1425792"/>
                  <a:pt x="2824370" y="1427615"/>
                </a:cubicBezTo>
                <a:cubicBezTo>
                  <a:pt x="2822548" y="1431259"/>
                  <a:pt x="2824370" y="1431259"/>
                  <a:pt x="2826192" y="1433081"/>
                </a:cubicBezTo>
                <a:cubicBezTo>
                  <a:pt x="2818903" y="1433081"/>
                  <a:pt x="2809793" y="1429437"/>
                  <a:pt x="2804326" y="1431259"/>
                </a:cubicBezTo>
                <a:lnTo>
                  <a:pt x="2800682" y="1436725"/>
                </a:lnTo>
                <a:cubicBezTo>
                  <a:pt x="2800682" y="1438548"/>
                  <a:pt x="2802504" y="1440370"/>
                  <a:pt x="2802504" y="1442192"/>
                </a:cubicBezTo>
                <a:cubicBezTo>
                  <a:pt x="2800682" y="1447658"/>
                  <a:pt x="2800682" y="1442192"/>
                  <a:pt x="2798860" y="1440370"/>
                </a:cubicBezTo>
                <a:lnTo>
                  <a:pt x="2795215" y="1445836"/>
                </a:lnTo>
                <a:lnTo>
                  <a:pt x="2802504" y="1456769"/>
                </a:lnTo>
                <a:lnTo>
                  <a:pt x="2837125" y="1425792"/>
                </a:lnTo>
                <a:lnTo>
                  <a:pt x="2846236" y="1433081"/>
                </a:lnTo>
                <a:lnTo>
                  <a:pt x="2829837" y="1454947"/>
                </a:lnTo>
                <a:cubicBezTo>
                  <a:pt x="2849880" y="1464058"/>
                  <a:pt x="2833481" y="1464058"/>
                  <a:pt x="2851703" y="1456769"/>
                </a:cubicBezTo>
                <a:lnTo>
                  <a:pt x="2868102" y="1469525"/>
                </a:lnTo>
                <a:lnTo>
                  <a:pt x="2873569" y="1489568"/>
                </a:lnTo>
                <a:cubicBezTo>
                  <a:pt x="2877213" y="1489568"/>
                  <a:pt x="2882680" y="1491391"/>
                  <a:pt x="2886324" y="1493213"/>
                </a:cubicBezTo>
                <a:lnTo>
                  <a:pt x="2891790" y="1489568"/>
                </a:lnTo>
                <a:lnTo>
                  <a:pt x="2868102" y="1467702"/>
                </a:lnTo>
                <a:lnTo>
                  <a:pt x="2875391" y="1451303"/>
                </a:lnTo>
                <a:lnTo>
                  <a:pt x="2889968" y="1458592"/>
                </a:lnTo>
                <a:cubicBezTo>
                  <a:pt x="2897257" y="1434903"/>
                  <a:pt x="2879035" y="1453125"/>
                  <a:pt x="2911834" y="1436725"/>
                </a:cubicBezTo>
                <a:cubicBezTo>
                  <a:pt x="2913656" y="1440370"/>
                  <a:pt x="2915479" y="1447658"/>
                  <a:pt x="2917301" y="1453125"/>
                </a:cubicBezTo>
                <a:cubicBezTo>
                  <a:pt x="2920945" y="1444014"/>
                  <a:pt x="2926412" y="1434903"/>
                  <a:pt x="2926412" y="1427615"/>
                </a:cubicBezTo>
                <a:cubicBezTo>
                  <a:pt x="2922767" y="1414859"/>
                  <a:pt x="2906368" y="1418504"/>
                  <a:pt x="2891790" y="1416681"/>
                </a:cubicBezTo>
                <a:lnTo>
                  <a:pt x="2884502" y="1425792"/>
                </a:lnTo>
                <a:lnTo>
                  <a:pt x="2875391" y="1402104"/>
                </a:lnTo>
                <a:lnTo>
                  <a:pt x="2880857" y="1400282"/>
                </a:lnTo>
                <a:cubicBezTo>
                  <a:pt x="2866280" y="1391171"/>
                  <a:pt x="2851703" y="1382060"/>
                  <a:pt x="2831659" y="1382060"/>
                </a:cubicBezTo>
                <a:close/>
                <a:moveTo>
                  <a:pt x="768959" y="1382060"/>
                </a:moveTo>
                <a:cubicBezTo>
                  <a:pt x="767136" y="1385705"/>
                  <a:pt x="767136" y="1389349"/>
                  <a:pt x="767136" y="1392993"/>
                </a:cubicBezTo>
                <a:cubicBezTo>
                  <a:pt x="770781" y="1394815"/>
                  <a:pt x="776246" y="1394815"/>
                  <a:pt x="781713" y="1391171"/>
                </a:cubicBezTo>
                <a:cubicBezTo>
                  <a:pt x="779892" y="1389349"/>
                  <a:pt x="779892" y="1389349"/>
                  <a:pt x="778070" y="1389349"/>
                </a:cubicBezTo>
                <a:cubicBezTo>
                  <a:pt x="779892" y="1389349"/>
                  <a:pt x="781713" y="1389349"/>
                  <a:pt x="783535" y="1389349"/>
                </a:cubicBezTo>
                <a:cubicBezTo>
                  <a:pt x="781713" y="1383882"/>
                  <a:pt x="774424" y="1385705"/>
                  <a:pt x="768959" y="1382060"/>
                </a:cubicBezTo>
                <a:close/>
                <a:moveTo>
                  <a:pt x="532075" y="1382060"/>
                </a:moveTo>
                <a:cubicBezTo>
                  <a:pt x="532075" y="1385705"/>
                  <a:pt x="530253" y="1389349"/>
                  <a:pt x="535719" y="1394815"/>
                </a:cubicBezTo>
                <a:cubicBezTo>
                  <a:pt x="537542" y="1389349"/>
                  <a:pt x="541186" y="1389349"/>
                  <a:pt x="543008" y="1385705"/>
                </a:cubicBezTo>
                <a:cubicBezTo>
                  <a:pt x="541186" y="1383882"/>
                  <a:pt x="541186" y="1382060"/>
                  <a:pt x="541186" y="1382060"/>
                </a:cubicBezTo>
                <a:cubicBezTo>
                  <a:pt x="539364" y="1382060"/>
                  <a:pt x="533897" y="1383882"/>
                  <a:pt x="532075" y="1382060"/>
                </a:cubicBezTo>
                <a:close/>
                <a:moveTo>
                  <a:pt x="3053964" y="1380921"/>
                </a:moveTo>
                <a:cubicBezTo>
                  <a:pt x="3047814" y="1380124"/>
                  <a:pt x="3041892" y="1380181"/>
                  <a:pt x="3036824" y="1381690"/>
                </a:cubicBezTo>
                <a:lnTo>
                  <a:pt x="3026766" y="1389627"/>
                </a:lnTo>
                <a:lnTo>
                  <a:pt x="3026631" y="1389349"/>
                </a:lnTo>
                <a:cubicBezTo>
                  <a:pt x="3026631" y="1391171"/>
                  <a:pt x="3024809" y="1391171"/>
                  <a:pt x="3024809" y="1391171"/>
                </a:cubicBezTo>
                <a:lnTo>
                  <a:pt x="3026766" y="1389627"/>
                </a:lnTo>
                <a:lnTo>
                  <a:pt x="3034148" y="1404837"/>
                </a:lnTo>
                <a:cubicBezTo>
                  <a:pt x="3038020" y="1408937"/>
                  <a:pt x="3043031" y="1411215"/>
                  <a:pt x="3048497" y="1409393"/>
                </a:cubicBezTo>
                <a:cubicBezTo>
                  <a:pt x="3055786" y="1414859"/>
                  <a:pt x="3052142" y="1423970"/>
                  <a:pt x="3059430" y="1429437"/>
                </a:cubicBezTo>
                <a:cubicBezTo>
                  <a:pt x="3053964" y="1431259"/>
                  <a:pt x="3050319" y="1418504"/>
                  <a:pt x="3043031" y="1423970"/>
                </a:cubicBezTo>
                <a:cubicBezTo>
                  <a:pt x="3041209" y="1423970"/>
                  <a:pt x="3048497" y="1425792"/>
                  <a:pt x="3046675" y="1427615"/>
                </a:cubicBezTo>
                <a:cubicBezTo>
                  <a:pt x="3044853" y="1429437"/>
                  <a:pt x="3041209" y="1427615"/>
                  <a:pt x="3039387" y="1429437"/>
                </a:cubicBezTo>
                <a:cubicBezTo>
                  <a:pt x="3035742" y="1425792"/>
                  <a:pt x="3030276" y="1423970"/>
                  <a:pt x="3032098" y="1418504"/>
                </a:cubicBezTo>
                <a:cubicBezTo>
                  <a:pt x="3024809" y="1423970"/>
                  <a:pt x="3022987" y="1414859"/>
                  <a:pt x="3017521" y="1413037"/>
                </a:cubicBezTo>
                <a:cubicBezTo>
                  <a:pt x="3019343" y="1416681"/>
                  <a:pt x="3024809" y="1418504"/>
                  <a:pt x="3022987" y="1423970"/>
                </a:cubicBezTo>
                <a:cubicBezTo>
                  <a:pt x="3017521" y="1416681"/>
                  <a:pt x="3010232" y="1423970"/>
                  <a:pt x="3012054" y="1414859"/>
                </a:cubicBezTo>
                <a:cubicBezTo>
                  <a:pt x="3012054" y="1414859"/>
                  <a:pt x="3012054" y="1414859"/>
                  <a:pt x="3013876" y="1414859"/>
                </a:cubicBezTo>
                <a:cubicBezTo>
                  <a:pt x="3010232" y="1409393"/>
                  <a:pt x="3006587" y="1414859"/>
                  <a:pt x="3004765" y="1416681"/>
                </a:cubicBezTo>
                <a:cubicBezTo>
                  <a:pt x="2997477" y="1423970"/>
                  <a:pt x="2999299" y="1429437"/>
                  <a:pt x="3004765" y="1433081"/>
                </a:cubicBezTo>
                <a:lnTo>
                  <a:pt x="3015698" y="1436725"/>
                </a:lnTo>
                <a:lnTo>
                  <a:pt x="3032098" y="1431259"/>
                </a:lnTo>
                <a:lnTo>
                  <a:pt x="3053964" y="1447658"/>
                </a:lnTo>
                <a:cubicBezTo>
                  <a:pt x="3046675" y="1464058"/>
                  <a:pt x="3046675" y="1469525"/>
                  <a:pt x="3052142" y="1484102"/>
                </a:cubicBezTo>
                <a:lnTo>
                  <a:pt x="3030276" y="1507790"/>
                </a:lnTo>
                <a:lnTo>
                  <a:pt x="3008410" y="1507790"/>
                </a:lnTo>
                <a:cubicBezTo>
                  <a:pt x="3010232" y="1533301"/>
                  <a:pt x="3008410" y="1527834"/>
                  <a:pt x="3015698" y="1535123"/>
                </a:cubicBezTo>
                <a:cubicBezTo>
                  <a:pt x="3017521" y="1533301"/>
                  <a:pt x="3017521" y="1531478"/>
                  <a:pt x="3017521" y="1529656"/>
                </a:cubicBezTo>
                <a:cubicBezTo>
                  <a:pt x="3017521" y="1531478"/>
                  <a:pt x="3017521" y="1531478"/>
                  <a:pt x="3019343" y="1533301"/>
                </a:cubicBezTo>
                <a:cubicBezTo>
                  <a:pt x="3022987" y="1531478"/>
                  <a:pt x="3019343" y="1526012"/>
                  <a:pt x="3021165" y="1524190"/>
                </a:cubicBezTo>
                <a:cubicBezTo>
                  <a:pt x="3024809" y="1526012"/>
                  <a:pt x="3033920" y="1527834"/>
                  <a:pt x="3032098" y="1535123"/>
                </a:cubicBezTo>
                <a:cubicBezTo>
                  <a:pt x="3032098" y="1536945"/>
                  <a:pt x="3039387" y="1533301"/>
                  <a:pt x="3037564" y="1529656"/>
                </a:cubicBezTo>
                <a:lnTo>
                  <a:pt x="3038174" y="1534735"/>
                </a:lnTo>
                <a:lnTo>
                  <a:pt x="3032098" y="1536945"/>
                </a:lnTo>
                <a:cubicBezTo>
                  <a:pt x="3034831" y="1537856"/>
                  <a:pt x="3037109" y="1536945"/>
                  <a:pt x="3038248" y="1535351"/>
                </a:cubicBezTo>
                <a:lnTo>
                  <a:pt x="3038174" y="1534735"/>
                </a:lnTo>
                <a:lnTo>
                  <a:pt x="3044626" y="1532389"/>
                </a:lnTo>
                <a:cubicBezTo>
                  <a:pt x="3047587" y="1529656"/>
                  <a:pt x="3048498" y="1526012"/>
                  <a:pt x="3044853" y="1522368"/>
                </a:cubicBezTo>
                <a:cubicBezTo>
                  <a:pt x="3037564" y="1529656"/>
                  <a:pt x="3028453" y="1518723"/>
                  <a:pt x="3026631" y="1511434"/>
                </a:cubicBezTo>
                <a:cubicBezTo>
                  <a:pt x="3030276" y="1515079"/>
                  <a:pt x="3039387" y="1515079"/>
                  <a:pt x="3046675" y="1513257"/>
                </a:cubicBezTo>
                <a:cubicBezTo>
                  <a:pt x="3044853" y="1511434"/>
                  <a:pt x="3041209" y="1509612"/>
                  <a:pt x="3044853" y="1507790"/>
                </a:cubicBezTo>
                <a:cubicBezTo>
                  <a:pt x="3046675" y="1505968"/>
                  <a:pt x="3046675" y="1511434"/>
                  <a:pt x="3048497" y="1513257"/>
                </a:cubicBezTo>
                <a:cubicBezTo>
                  <a:pt x="3050319" y="1513257"/>
                  <a:pt x="3050319" y="1513257"/>
                  <a:pt x="3052142" y="1511434"/>
                </a:cubicBezTo>
                <a:cubicBezTo>
                  <a:pt x="3053964" y="1518723"/>
                  <a:pt x="3061253" y="1529656"/>
                  <a:pt x="3068541" y="1518723"/>
                </a:cubicBezTo>
                <a:cubicBezTo>
                  <a:pt x="3070363" y="1520545"/>
                  <a:pt x="3070363" y="1520545"/>
                  <a:pt x="3072186" y="1522368"/>
                </a:cubicBezTo>
                <a:cubicBezTo>
                  <a:pt x="3078564" y="1515990"/>
                  <a:pt x="3076742" y="1508701"/>
                  <a:pt x="3072642" y="1501412"/>
                </a:cubicBezTo>
                <a:lnTo>
                  <a:pt x="3068594" y="1494993"/>
                </a:lnTo>
                <a:lnTo>
                  <a:pt x="3077652" y="1487746"/>
                </a:lnTo>
                <a:cubicBezTo>
                  <a:pt x="3072186" y="1502324"/>
                  <a:pt x="3074008" y="1513257"/>
                  <a:pt x="3088585" y="1520545"/>
                </a:cubicBezTo>
                <a:cubicBezTo>
                  <a:pt x="3090407" y="1522368"/>
                  <a:pt x="3090407" y="1518723"/>
                  <a:pt x="3090407" y="1516901"/>
                </a:cubicBezTo>
                <a:cubicBezTo>
                  <a:pt x="3095874" y="1516901"/>
                  <a:pt x="3090407" y="1526012"/>
                  <a:pt x="3092230" y="1524190"/>
                </a:cubicBezTo>
                <a:cubicBezTo>
                  <a:pt x="3103163" y="1518723"/>
                  <a:pt x="3094052" y="1505968"/>
                  <a:pt x="3094052" y="1496857"/>
                </a:cubicBezTo>
                <a:cubicBezTo>
                  <a:pt x="3097696" y="1502324"/>
                  <a:pt x="3106807" y="1505968"/>
                  <a:pt x="3099518" y="1513257"/>
                </a:cubicBezTo>
                <a:cubicBezTo>
                  <a:pt x="3106807" y="1515079"/>
                  <a:pt x="3114096" y="1509612"/>
                  <a:pt x="3114096" y="1518723"/>
                </a:cubicBezTo>
                <a:cubicBezTo>
                  <a:pt x="3125029" y="1518723"/>
                  <a:pt x="3135962" y="1513257"/>
                  <a:pt x="3146895" y="1507790"/>
                </a:cubicBezTo>
                <a:cubicBezTo>
                  <a:pt x="3152361" y="1505968"/>
                  <a:pt x="3156006" y="1511434"/>
                  <a:pt x="3163294" y="1509612"/>
                </a:cubicBezTo>
                <a:cubicBezTo>
                  <a:pt x="3159650" y="1502324"/>
                  <a:pt x="3156006" y="1498679"/>
                  <a:pt x="3157828" y="1489568"/>
                </a:cubicBezTo>
                <a:cubicBezTo>
                  <a:pt x="3154184" y="1489568"/>
                  <a:pt x="3152361" y="1491391"/>
                  <a:pt x="3150539" y="1491391"/>
                </a:cubicBezTo>
                <a:cubicBezTo>
                  <a:pt x="3148717" y="1489568"/>
                  <a:pt x="3150539" y="1484102"/>
                  <a:pt x="3152361" y="1478635"/>
                </a:cubicBezTo>
                <a:cubicBezTo>
                  <a:pt x="3154184" y="1476813"/>
                  <a:pt x="3156006" y="1480458"/>
                  <a:pt x="3157828" y="1480458"/>
                </a:cubicBezTo>
                <a:cubicBezTo>
                  <a:pt x="3168761" y="1491391"/>
                  <a:pt x="3170583" y="1511434"/>
                  <a:pt x="3186982" y="1515079"/>
                </a:cubicBezTo>
                <a:cubicBezTo>
                  <a:pt x="3186982" y="1505968"/>
                  <a:pt x="3183338" y="1496857"/>
                  <a:pt x="3181516" y="1489568"/>
                </a:cubicBezTo>
                <a:cubicBezTo>
                  <a:pt x="3176050" y="1464058"/>
                  <a:pt x="3165116" y="1434903"/>
                  <a:pt x="3139606" y="1418504"/>
                </a:cubicBezTo>
                <a:cubicBezTo>
                  <a:pt x="3137784" y="1416681"/>
                  <a:pt x="3130495" y="1413037"/>
                  <a:pt x="3128673" y="1409393"/>
                </a:cubicBezTo>
                <a:cubicBezTo>
                  <a:pt x="3130495" y="1413037"/>
                  <a:pt x="3126851" y="1416681"/>
                  <a:pt x="3128673" y="1420326"/>
                </a:cubicBezTo>
                <a:cubicBezTo>
                  <a:pt x="3125029" y="1418504"/>
                  <a:pt x="3119562" y="1416681"/>
                  <a:pt x="3117740" y="1418504"/>
                </a:cubicBezTo>
                <a:cubicBezTo>
                  <a:pt x="3117740" y="1422148"/>
                  <a:pt x="3117740" y="1425792"/>
                  <a:pt x="3119562" y="1429437"/>
                </a:cubicBezTo>
                <a:cubicBezTo>
                  <a:pt x="3123206" y="1427615"/>
                  <a:pt x="3121384" y="1423970"/>
                  <a:pt x="3121384" y="1422148"/>
                </a:cubicBezTo>
                <a:cubicBezTo>
                  <a:pt x="3123206" y="1423970"/>
                  <a:pt x="3125029" y="1425792"/>
                  <a:pt x="3126851" y="1427615"/>
                </a:cubicBezTo>
                <a:cubicBezTo>
                  <a:pt x="3126851" y="1431259"/>
                  <a:pt x="3119562" y="1429437"/>
                  <a:pt x="3121384" y="1433081"/>
                </a:cubicBezTo>
                <a:cubicBezTo>
                  <a:pt x="3123206" y="1433081"/>
                  <a:pt x="3126851" y="1433081"/>
                  <a:pt x="3128673" y="1431259"/>
                </a:cubicBezTo>
                <a:cubicBezTo>
                  <a:pt x="3132317" y="1440370"/>
                  <a:pt x="3126851" y="1444014"/>
                  <a:pt x="3121384" y="1451303"/>
                </a:cubicBezTo>
                <a:cubicBezTo>
                  <a:pt x="3115918" y="1444014"/>
                  <a:pt x="3112274" y="1433081"/>
                  <a:pt x="3115918" y="1423970"/>
                </a:cubicBezTo>
                <a:cubicBezTo>
                  <a:pt x="3114096" y="1423970"/>
                  <a:pt x="3110451" y="1423970"/>
                  <a:pt x="3108629" y="1423970"/>
                </a:cubicBezTo>
                <a:cubicBezTo>
                  <a:pt x="3108629" y="1420326"/>
                  <a:pt x="3114096" y="1423970"/>
                  <a:pt x="3115918" y="1422148"/>
                </a:cubicBezTo>
                <a:cubicBezTo>
                  <a:pt x="3115918" y="1420326"/>
                  <a:pt x="3115918" y="1418504"/>
                  <a:pt x="3114096" y="1416681"/>
                </a:cubicBezTo>
                <a:cubicBezTo>
                  <a:pt x="3115918" y="1416681"/>
                  <a:pt x="3115918" y="1416681"/>
                  <a:pt x="3117740" y="1416681"/>
                </a:cubicBezTo>
                <a:lnTo>
                  <a:pt x="3117227" y="1415642"/>
                </a:lnTo>
                <a:lnTo>
                  <a:pt x="3121384" y="1416681"/>
                </a:lnTo>
                <a:cubicBezTo>
                  <a:pt x="3119562" y="1413037"/>
                  <a:pt x="3119562" y="1407571"/>
                  <a:pt x="3115918" y="1405748"/>
                </a:cubicBezTo>
                <a:lnTo>
                  <a:pt x="3114888" y="1410901"/>
                </a:lnTo>
                <a:lnTo>
                  <a:pt x="3109085" y="1399143"/>
                </a:lnTo>
                <a:cubicBezTo>
                  <a:pt x="3105441" y="1394815"/>
                  <a:pt x="3100430" y="1392082"/>
                  <a:pt x="3092230" y="1391171"/>
                </a:cubicBezTo>
                <a:cubicBezTo>
                  <a:pt x="3090407" y="1391171"/>
                  <a:pt x="3088585" y="1392993"/>
                  <a:pt x="3090407" y="1394815"/>
                </a:cubicBezTo>
                <a:cubicBezTo>
                  <a:pt x="3088585" y="1392993"/>
                  <a:pt x="3086763" y="1392993"/>
                  <a:pt x="3084941" y="1391171"/>
                </a:cubicBezTo>
                <a:cubicBezTo>
                  <a:pt x="3086763" y="1391171"/>
                  <a:pt x="3086763" y="1391171"/>
                  <a:pt x="3088585" y="1391171"/>
                </a:cubicBezTo>
                <a:cubicBezTo>
                  <a:pt x="3079474" y="1387527"/>
                  <a:pt x="3066263" y="1382515"/>
                  <a:pt x="3053964" y="1380921"/>
                </a:cubicBezTo>
                <a:close/>
                <a:moveTo>
                  <a:pt x="1142655" y="1380845"/>
                </a:moveTo>
                <a:lnTo>
                  <a:pt x="1142867" y="1381696"/>
                </a:lnTo>
                <a:lnTo>
                  <a:pt x="1142503" y="1382060"/>
                </a:lnTo>
                <a:close/>
                <a:moveTo>
                  <a:pt x="3252581" y="1380238"/>
                </a:moveTo>
                <a:cubicBezTo>
                  <a:pt x="3248937" y="1378416"/>
                  <a:pt x="3248937" y="1389349"/>
                  <a:pt x="3252581" y="1387527"/>
                </a:cubicBezTo>
                <a:cubicBezTo>
                  <a:pt x="3252581" y="1383882"/>
                  <a:pt x="3252581" y="1382060"/>
                  <a:pt x="3252581" y="1380238"/>
                </a:cubicBezTo>
                <a:close/>
                <a:moveTo>
                  <a:pt x="748914" y="1380238"/>
                </a:moveTo>
                <a:cubicBezTo>
                  <a:pt x="743447" y="1383882"/>
                  <a:pt x="734336" y="1378416"/>
                  <a:pt x="734336" y="1385705"/>
                </a:cubicBezTo>
                <a:cubicBezTo>
                  <a:pt x="736159" y="1389349"/>
                  <a:pt x="745269" y="1387527"/>
                  <a:pt x="748914" y="1392993"/>
                </a:cubicBezTo>
                <a:cubicBezTo>
                  <a:pt x="750737" y="1391171"/>
                  <a:pt x="747092" y="1383882"/>
                  <a:pt x="748914" y="1380238"/>
                </a:cubicBezTo>
                <a:close/>
                <a:moveTo>
                  <a:pt x="727048" y="1380238"/>
                </a:moveTo>
                <a:cubicBezTo>
                  <a:pt x="725226" y="1382060"/>
                  <a:pt x="730692" y="1385705"/>
                  <a:pt x="732515" y="1383882"/>
                </a:cubicBezTo>
                <a:cubicBezTo>
                  <a:pt x="730692" y="1380238"/>
                  <a:pt x="728870" y="1382060"/>
                  <a:pt x="727048" y="1380238"/>
                </a:cubicBezTo>
                <a:close/>
                <a:moveTo>
                  <a:pt x="625006" y="1380238"/>
                </a:moveTo>
                <a:cubicBezTo>
                  <a:pt x="621362" y="1383882"/>
                  <a:pt x="623185" y="1387527"/>
                  <a:pt x="625006" y="1389349"/>
                </a:cubicBezTo>
                <a:cubicBezTo>
                  <a:pt x="628650" y="1389349"/>
                  <a:pt x="632296" y="1385705"/>
                  <a:pt x="634117" y="1387527"/>
                </a:cubicBezTo>
                <a:cubicBezTo>
                  <a:pt x="634117" y="1383882"/>
                  <a:pt x="626828" y="1383882"/>
                  <a:pt x="625006" y="1380238"/>
                </a:cubicBezTo>
                <a:close/>
                <a:moveTo>
                  <a:pt x="619539" y="1380238"/>
                </a:moveTo>
                <a:cubicBezTo>
                  <a:pt x="617717" y="1378416"/>
                  <a:pt x="614074" y="1383882"/>
                  <a:pt x="614074" y="1385705"/>
                </a:cubicBezTo>
                <a:cubicBezTo>
                  <a:pt x="615895" y="1383882"/>
                  <a:pt x="619539" y="1382060"/>
                  <a:pt x="619539" y="1380238"/>
                </a:cubicBezTo>
                <a:close/>
                <a:moveTo>
                  <a:pt x="544830" y="1380238"/>
                </a:moveTo>
                <a:cubicBezTo>
                  <a:pt x="550297" y="1385705"/>
                  <a:pt x="535719" y="1391171"/>
                  <a:pt x="543008" y="1396638"/>
                </a:cubicBezTo>
                <a:cubicBezTo>
                  <a:pt x="544830" y="1394815"/>
                  <a:pt x="544830" y="1392993"/>
                  <a:pt x="546653" y="1391171"/>
                </a:cubicBezTo>
                <a:cubicBezTo>
                  <a:pt x="541186" y="1398460"/>
                  <a:pt x="546653" y="1402104"/>
                  <a:pt x="552119" y="1403926"/>
                </a:cubicBezTo>
                <a:cubicBezTo>
                  <a:pt x="553941" y="1398460"/>
                  <a:pt x="552119" y="1394815"/>
                  <a:pt x="553941" y="1389349"/>
                </a:cubicBezTo>
                <a:cubicBezTo>
                  <a:pt x="552119" y="1383882"/>
                  <a:pt x="546653" y="1383882"/>
                  <a:pt x="544830" y="1380238"/>
                </a:cubicBezTo>
                <a:close/>
                <a:moveTo>
                  <a:pt x="1060392" y="1379725"/>
                </a:moveTo>
                <a:lnTo>
                  <a:pt x="1060506" y="1380238"/>
                </a:lnTo>
                <a:lnTo>
                  <a:pt x="1059947" y="1379859"/>
                </a:lnTo>
                <a:close/>
                <a:moveTo>
                  <a:pt x="907444" y="1378416"/>
                </a:moveTo>
                <a:cubicBezTo>
                  <a:pt x="901976" y="1383882"/>
                  <a:pt x="898333" y="1385705"/>
                  <a:pt x="894688" y="1389349"/>
                </a:cubicBezTo>
                <a:lnTo>
                  <a:pt x="908630" y="1393152"/>
                </a:lnTo>
                <a:lnTo>
                  <a:pt x="901976" y="1394815"/>
                </a:lnTo>
                <a:cubicBezTo>
                  <a:pt x="907444" y="1423970"/>
                  <a:pt x="940242" y="1427615"/>
                  <a:pt x="962108" y="1440370"/>
                </a:cubicBezTo>
                <a:cubicBezTo>
                  <a:pt x="960286" y="1438548"/>
                  <a:pt x="958464" y="1436725"/>
                  <a:pt x="956642" y="1434903"/>
                </a:cubicBezTo>
                <a:cubicBezTo>
                  <a:pt x="967575" y="1442192"/>
                  <a:pt x="974863" y="1451303"/>
                  <a:pt x="989441" y="1449481"/>
                </a:cubicBezTo>
                <a:lnTo>
                  <a:pt x="987470" y="1447018"/>
                </a:lnTo>
                <a:lnTo>
                  <a:pt x="993540" y="1451303"/>
                </a:lnTo>
                <a:cubicBezTo>
                  <a:pt x="996729" y="1451758"/>
                  <a:pt x="1000374" y="1451303"/>
                  <a:pt x="1004018" y="1451303"/>
                </a:cubicBezTo>
                <a:cubicBezTo>
                  <a:pt x="989441" y="1423970"/>
                  <a:pt x="967575" y="1418504"/>
                  <a:pt x="942064" y="1422148"/>
                </a:cubicBezTo>
                <a:cubicBezTo>
                  <a:pt x="947531" y="1413037"/>
                  <a:pt x="954819" y="1400282"/>
                  <a:pt x="940242" y="1394815"/>
                </a:cubicBezTo>
                <a:cubicBezTo>
                  <a:pt x="937509" y="1392993"/>
                  <a:pt x="934777" y="1390715"/>
                  <a:pt x="931814" y="1389349"/>
                </a:cubicBezTo>
                <a:lnTo>
                  <a:pt x="927487" y="1389349"/>
                </a:lnTo>
                <a:cubicBezTo>
                  <a:pt x="923843" y="1382060"/>
                  <a:pt x="914732" y="1382060"/>
                  <a:pt x="907444" y="1378416"/>
                </a:cubicBezTo>
                <a:close/>
                <a:moveTo>
                  <a:pt x="834556" y="1378416"/>
                </a:moveTo>
                <a:cubicBezTo>
                  <a:pt x="834556" y="1378416"/>
                  <a:pt x="819979" y="1392993"/>
                  <a:pt x="834556" y="1378416"/>
                </a:cubicBezTo>
                <a:close/>
                <a:moveTo>
                  <a:pt x="774424" y="1378416"/>
                </a:moveTo>
                <a:cubicBezTo>
                  <a:pt x="774424" y="1382060"/>
                  <a:pt x="778070" y="1380238"/>
                  <a:pt x="779892" y="1382060"/>
                </a:cubicBezTo>
                <a:cubicBezTo>
                  <a:pt x="781713" y="1378416"/>
                  <a:pt x="776246" y="1378416"/>
                  <a:pt x="774424" y="1378416"/>
                </a:cubicBezTo>
                <a:close/>
                <a:moveTo>
                  <a:pt x="630472" y="1378416"/>
                </a:moveTo>
                <a:lnTo>
                  <a:pt x="631079" y="1380846"/>
                </a:lnTo>
                <a:lnTo>
                  <a:pt x="630472" y="1382060"/>
                </a:lnTo>
                <a:lnTo>
                  <a:pt x="631466" y="1382391"/>
                </a:lnTo>
                <a:lnTo>
                  <a:pt x="631840" y="1383882"/>
                </a:lnTo>
                <a:cubicBezTo>
                  <a:pt x="633206" y="1384338"/>
                  <a:pt x="635028" y="1383882"/>
                  <a:pt x="635939" y="1383882"/>
                </a:cubicBezTo>
                <a:lnTo>
                  <a:pt x="631466" y="1382391"/>
                </a:lnTo>
                <a:lnTo>
                  <a:pt x="631079" y="1380846"/>
                </a:lnTo>
                <a:lnTo>
                  <a:pt x="632296" y="1378416"/>
                </a:lnTo>
                <a:cubicBezTo>
                  <a:pt x="632296" y="1378416"/>
                  <a:pt x="630472" y="1378416"/>
                  <a:pt x="630472" y="1378416"/>
                </a:cubicBezTo>
                <a:close/>
                <a:moveTo>
                  <a:pt x="389946" y="1378416"/>
                </a:moveTo>
                <a:lnTo>
                  <a:pt x="390122" y="1378651"/>
                </a:lnTo>
                <a:lnTo>
                  <a:pt x="389218" y="1378780"/>
                </a:lnTo>
                <a:close/>
                <a:moveTo>
                  <a:pt x="922020" y="1376594"/>
                </a:moveTo>
                <a:cubicBezTo>
                  <a:pt x="920198" y="1383882"/>
                  <a:pt x="931131" y="1378416"/>
                  <a:pt x="929309" y="1382060"/>
                </a:cubicBezTo>
                <a:cubicBezTo>
                  <a:pt x="932953" y="1380238"/>
                  <a:pt x="932953" y="1378416"/>
                  <a:pt x="929309" y="1376594"/>
                </a:cubicBezTo>
                <a:cubicBezTo>
                  <a:pt x="927487" y="1378416"/>
                  <a:pt x="923843" y="1378416"/>
                  <a:pt x="922020" y="1376594"/>
                </a:cubicBezTo>
                <a:close/>
                <a:moveTo>
                  <a:pt x="708826" y="1376594"/>
                </a:moveTo>
                <a:lnTo>
                  <a:pt x="708692" y="1377130"/>
                </a:lnTo>
                <a:lnTo>
                  <a:pt x="708259" y="1376846"/>
                </a:lnTo>
                <a:close/>
                <a:moveTo>
                  <a:pt x="731603" y="1374999"/>
                </a:moveTo>
                <a:cubicBezTo>
                  <a:pt x="729781" y="1373861"/>
                  <a:pt x="727959" y="1373861"/>
                  <a:pt x="725226" y="1376594"/>
                </a:cubicBezTo>
                <a:cubicBezTo>
                  <a:pt x="728870" y="1378416"/>
                  <a:pt x="734336" y="1383882"/>
                  <a:pt x="737981" y="1380238"/>
                </a:cubicBezTo>
                <a:cubicBezTo>
                  <a:pt x="735247" y="1378416"/>
                  <a:pt x="733425" y="1376138"/>
                  <a:pt x="731603" y="1374999"/>
                </a:cubicBezTo>
                <a:close/>
                <a:moveTo>
                  <a:pt x="693793" y="1374999"/>
                </a:moveTo>
                <a:cubicBezTo>
                  <a:pt x="691971" y="1375682"/>
                  <a:pt x="690604" y="1377505"/>
                  <a:pt x="692426" y="1380238"/>
                </a:cubicBezTo>
                <a:cubicBezTo>
                  <a:pt x="694249" y="1380238"/>
                  <a:pt x="696071" y="1378416"/>
                  <a:pt x="697893" y="1376594"/>
                </a:cubicBezTo>
                <a:cubicBezTo>
                  <a:pt x="697893" y="1374771"/>
                  <a:pt x="695615" y="1374316"/>
                  <a:pt x="693793" y="1374999"/>
                </a:cubicBezTo>
                <a:close/>
                <a:moveTo>
                  <a:pt x="3522263" y="1374771"/>
                </a:moveTo>
                <a:lnTo>
                  <a:pt x="3513815" y="1383220"/>
                </a:lnTo>
                <a:lnTo>
                  <a:pt x="3515849" y="1376708"/>
                </a:lnTo>
                <a:lnTo>
                  <a:pt x="3516113" y="1376821"/>
                </a:lnTo>
                <a:cubicBezTo>
                  <a:pt x="3517252" y="1377505"/>
                  <a:pt x="3518619" y="1377505"/>
                  <a:pt x="3522263" y="1374771"/>
                </a:cubicBezTo>
                <a:close/>
                <a:moveTo>
                  <a:pt x="3230715" y="1374771"/>
                </a:moveTo>
                <a:cubicBezTo>
                  <a:pt x="3227071" y="1374771"/>
                  <a:pt x="3225248" y="1376594"/>
                  <a:pt x="3221604" y="1376594"/>
                </a:cubicBezTo>
                <a:cubicBezTo>
                  <a:pt x="3221604" y="1382060"/>
                  <a:pt x="3227071" y="1382060"/>
                  <a:pt x="3228893" y="1383882"/>
                </a:cubicBezTo>
                <a:cubicBezTo>
                  <a:pt x="3223426" y="1394815"/>
                  <a:pt x="3217960" y="1387527"/>
                  <a:pt x="3208849" y="1385705"/>
                </a:cubicBezTo>
                <a:cubicBezTo>
                  <a:pt x="3208849" y="1389349"/>
                  <a:pt x="3212493" y="1387527"/>
                  <a:pt x="3212493" y="1392993"/>
                </a:cubicBezTo>
                <a:cubicBezTo>
                  <a:pt x="3207027" y="1392993"/>
                  <a:pt x="3207027" y="1385705"/>
                  <a:pt x="3205204" y="1387527"/>
                </a:cubicBezTo>
                <a:cubicBezTo>
                  <a:pt x="3201560" y="1391171"/>
                  <a:pt x="3212493" y="1394815"/>
                  <a:pt x="3207027" y="1402104"/>
                </a:cubicBezTo>
                <a:cubicBezTo>
                  <a:pt x="3214315" y="1400282"/>
                  <a:pt x="3223426" y="1400282"/>
                  <a:pt x="3223426" y="1391171"/>
                </a:cubicBezTo>
                <a:cubicBezTo>
                  <a:pt x="3228893" y="1396638"/>
                  <a:pt x="3232537" y="1387527"/>
                  <a:pt x="3238003" y="1389349"/>
                </a:cubicBezTo>
                <a:cubicBezTo>
                  <a:pt x="3238003" y="1387527"/>
                  <a:pt x="3236181" y="1382060"/>
                  <a:pt x="3238003" y="1385705"/>
                </a:cubicBezTo>
                <a:cubicBezTo>
                  <a:pt x="3236181" y="1382060"/>
                  <a:pt x="3230715" y="1380238"/>
                  <a:pt x="3230715" y="1374771"/>
                </a:cubicBezTo>
                <a:close/>
                <a:moveTo>
                  <a:pt x="717937" y="1374771"/>
                </a:moveTo>
                <a:cubicBezTo>
                  <a:pt x="717937" y="1376594"/>
                  <a:pt x="716115" y="1376594"/>
                  <a:pt x="714293" y="1378416"/>
                </a:cubicBezTo>
                <a:cubicBezTo>
                  <a:pt x="716115" y="1380238"/>
                  <a:pt x="717937" y="1380238"/>
                  <a:pt x="719759" y="1380238"/>
                </a:cubicBezTo>
                <a:cubicBezTo>
                  <a:pt x="721581" y="1378416"/>
                  <a:pt x="721581" y="1376594"/>
                  <a:pt x="717937" y="1374771"/>
                </a:cubicBezTo>
                <a:close/>
                <a:moveTo>
                  <a:pt x="606784" y="1374771"/>
                </a:moveTo>
                <a:cubicBezTo>
                  <a:pt x="604963" y="1376594"/>
                  <a:pt x="606784" y="1378416"/>
                  <a:pt x="604963" y="1380238"/>
                </a:cubicBezTo>
                <a:cubicBezTo>
                  <a:pt x="606784" y="1380238"/>
                  <a:pt x="608606" y="1378416"/>
                  <a:pt x="610429" y="1376594"/>
                </a:cubicBezTo>
                <a:cubicBezTo>
                  <a:pt x="608606" y="1374771"/>
                  <a:pt x="606784" y="1376594"/>
                  <a:pt x="606784" y="1374771"/>
                </a:cubicBezTo>
                <a:close/>
                <a:moveTo>
                  <a:pt x="3385600" y="1372949"/>
                </a:moveTo>
                <a:cubicBezTo>
                  <a:pt x="3374666" y="1371127"/>
                  <a:pt x="3367378" y="1383882"/>
                  <a:pt x="3374666" y="1396638"/>
                </a:cubicBezTo>
                <a:cubicBezTo>
                  <a:pt x="3371022" y="1394815"/>
                  <a:pt x="3371022" y="1387527"/>
                  <a:pt x="3367378" y="1389349"/>
                </a:cubicBezTo>
                <a:cubicBezTo>
                  <a:pt x="3363734" y="1391171"/>
                  <a:pt x="3371022" y="1398460"/>
                  <a:pt x="3369200" y="1402104"/>
                </a:cubicBezTo>
                <a:cubicBezTo>
                  <a:pt x="3371022" y="1402104"/>
                  <a:pt x="3372844" y="1400282"/>
                  <a:pt x="3374666" y="1400282"/>
                </a:cubicBezTo>
                <a:cubicBezTo>
                  <a:pt x="3372844" y="1402104"/>
                  <a:pt x="3369200" y="1403926"/>
                  <a:pt x="3371022" y="1407571"/>
                </a:cubicBezTo>
                <a:cubicBezTo>
                  <a:pt x="3372844" y="1409393"/>
                  <a:pt x="3378311" y="1409393"/>
                  <a:pt x="3380133" y="1407571"/>
                </a:cubicBezTo>
                <a:cubicBezTo>
                  <a:pt x="3387422" y="1396638"/>
                  <a:pt x="3401999" y="1378416"/>
                  <a:pt x="3385600" y="1372949"/>
                </a:cubicBezTo>
                <a:close/>
                <a:moveTo>
                  <a:pt x="900610" y="1372949"/>
                </a:moveTo>
                <a:cubicBezTo>
                  <a:pt x="898333" y="1373405"/>
                  <a:pt x="894687" y="1375683"/>
                  <a:pt x="891043" y="1378416"/>
                </a:cubicBezTo>
                <a:cubicBezTo>
                  <a:pt x="891043" y="1378416"/>
                  <a:pt x="889222" y="1378416"/>
                  <a:pt x="889222" y="1378416"/>
                </a:cubicBezTo>
                <a:cubicBezTo>
                  <a:pt x="887399" y="1380238"/>
                  <a:pt x="885577" y="1380238"/>
                  <a:pt x="883755" y="1382060"/>
                </a:cubicBezTo>
                <a:cubicBezTo>
                  <a:pt x="891043" y="1389349"/>
                  <a:pt x="901976" y="1387527"/>
                  <a:pt x="901976" y="1378416"/>
                </a:cubicBezTo>
                <a:cubicBezTo>
                  <a:pt x="903798" y="1373861"/>
                  <a:pt x="902887" y="1372494"/>
                  <a:pt x="900610" y="1372949"/>
                </a:cubicBezTo>
                <a:close/>
                <a:moveTo>
                  <a:pt x="948214" y="1372493"/>
                </a:moveTo>
                <a:cubicBezTo>
                  <a:pt x="946620" y="1372038"/>
                  <a:pt x="944798" y="1372038"/>
                  <a:pt x="943886" y="1372949"/>
                </a:cubicBezTo>
                <a:cubicBezTo>
                  <a:pt x="945709" y="1374771"/>
                  <a:pt x="949353" y="1374771"/>
                  <a:pt x="951175" y="1374771"/>
                </a:cubicBezTo>
                <a:cubicBezTo>
                  <a:pt x="951175" y="1373860"/>
                  <a:pt x="949808" y="1372949"/>
                  <a:pt x="948214" y="1372493"/>
                </a:cubicBezTo>
                <a:close/>
                <a:moveTo>
                  <a:pt x="858191" y="1372288"/>
                </a:moveTo>
                <a:lnTo>
                  <a:pt x="857788" y="1372949"/>
                </a:lnTo>
                <a:cubicBezTo>
                  <a:pt x="855511" y="1377049"/>
                  <a:pt x="852778" y="1380238"/>
                  <a:pt x="847311" y="1380238"/>
                </a:cubicBezTo>
                <a:close/>
                <a:moveTo>
                  <a:pt x="626600" y="1371583"/>
                </a:moveTo>
                <a:cubicBezTo>
                  <a:pt x="625006" y="1370671"/>
                  <a:pt x="623185" y="1370216"/>
                  <a:pt x="621362" y="1372949"/>
                </a:cubicBezTo>
                <a:cubicBezTo>
                  <a:pt x="623185" y="1372949"/>
                  <a:pt x="623185" y="1374771"/>
                  <a:pt x="625006" y="1376594"/>
                </a:cubicBezTo>
                <a:cubicBezTo>
                  <a:pt x="626828" y="1376594"/>
                  <a:pt x="628650" y="1374771"/>
                  <a:pt x="630472" y="1372949"/>
                </a:cubicBezTo>
                <a:cubicBezTo>
                  <a:pt x="629561" y="1373860"/>
                  <a:pt x="628194" y="1372493"/>
                  <a:pt x="626600" y="1371583"/>
                </a:cubicBezTo>
                <a:close/>
                <a:moveTo>
                  <a:pt x="3199738" y="1371127"/>
                </a:moveTo>
                <a:cubicBezTo>
                  <a:pt x="3201560" y="1372949"/>
                  <a:pt x="3203382" y="1374771"/>
                  <a:pt x="3207027" y="1374771"/>
                </a:cubicBezTo>
                <a:cubicBezTo>
                  <a:pt x="3207027" y="1372949"/>
                  <a:pt x="3207027" y="1372949"/>
                  <a:pt x="3207027" y="1371127"/>
                </a:cubicBezTo>
                <a:cubicBezTo>
                  <a:pt x="3203382" y="1371127"/>
                  <a:pt x="3201560" y="1369305"/>
                  <a:pt x="3199738" y="1371127"/>
                </a:cubicBezTo>
                <a:close/>
                <a:moveTo>
                  <a:pt x="934777" y="1371127"/>
                </a:moveTo>
                <a:cubicBezTo>
                  <a:pt x="936598" y="1372949"/>
                  <a:pt x="938420" y="1372949"/>
                  <a:pt x="934777" y="1376594"/>
                </a:cubicBezTo>
                <a:lnTo>
                  <a:pt x="935688" y="1376594"/>
                </a:lnTo>
                <a:lnTo>
                  <a:pt x="936598" y="1382060"/>
                </a:lnTo>
                <a:lnTo>
                  <a:pt x="932953" y="1382060"/>
                </a:lnTo>
                <a:cubicBezTo>
                  <a:pt x="932953" y="1383882"/>
                  <a:pt x="932953" y="1385705"/>
                  <a:pt x="934777" y="1387527"/>
                </a:cubicBezTo>
                <a:cubicBezTo>
                  <a:pt x="942064" y="1389349"/>
                  <a:pt x="945709" y="1396638"/>
                  <a:pt x="951175" y="1396638"/>
                </a:cubicBezTo>
                <a:cubicBezTo>
                  <a:pt x="958464" y="1400282"/>
                  <a:pt x="949353" y="1385705"/>
                  <a:pt x="949353" y="1376594"/>
                </a:cubicBezTo>
                <a:lnTo>
                  <a:pt x="935688" y="1376594"/>
                </a:lnTo>
                <a:close/>
                <a:moveTo>
                  <a:pt x="901976" y="1371127"/>
                </a:moveTo>
                <a:cubicBezTo>
                  <a:pt x="903799" y="1374771"/>
                  <a:pt x="909265" y="1374771"/>
                  <a:pt x="911087" y="1376594"/>
                </a:cubicBezTo>
                <a:cubicBezTo>
                  <a:pt x="909265" y="1376594"/>
                  <a:pt x="907444" y="1367483"/>
                  <a:pt x="901976" y="1371127"/>
                </a:cubicBezTo>
                <a:close/>
                <a:moveTo>
                  <a:pt x="3130723" y="1370672"/>
                </a:moveTo>
                <a:cubicBezTo>
                  <a:pt x="3127762" y="1370216"/>
                  <a:pt x="3124118" y="1371127"/>
                  <a:pt x="3119562" y="1371127"/>
                </a:cubicBezTo>
                <a:cubicBezTo>
                  <a:pt x="3117740" y="1376594"/>
                  <a:pt x="3121384" y="1382060"/>
                  <a:pt x="3128673" y="1382060"/>
                </a:cubicBezTo>
                <a:cubicBezTo>
                  <a:pt x="3128673" y="1378416"/>
                  <a:pt x="3132317" y="1376594"/>
                  <a:pt x="3130495" y="1376594"/>
                </a:cubicBezTo>
                <a:cubicBezTo>
                  <a:pt x="3130495" y="1380238"/>
                  <a:pt x="3132317" y="1383882"/>
                  <a:pt x="3128673" y="1387527"/>
                </a:cubicBezTo>
                <a:cubicBezTo>
                  <a:pt x="3135962" y="1389349"/>
                  <a:pt x="3132317" y="1378416"/>
                  <a:pt x="3137784" y="1378416"/>
                </a:cubicBezTo>
                <a:cubicBezTo>
                  <a:pt x="3135962" y="1372949"/>
                  <a:pt x="3133684" y="1371127"/>
                  <a:pt x="3130723" y="1370672"/>
                </a:cubicBezTo>
                <a:close/>
                <a:moveTo>
                  <a:pt x="859208" y="1370612"/>
                </a:moveTo>
                <a:lnTo>
                  <a:pt x="859155" y="1371583"/>
                </a:lnTo>
                <a:lnTo>
                  <a:pt x="858191" y="1372288"/>
                </a:lnTo>
                <a:close/>
                <a:moveTo>
                  <a:pt x="3292669" y="1369305"/>
                </a:moveTo>
                <a:cubicBezTo>
                  <a:pt x="3290847" y="1369305"/>
                  <a:pt x="3289024" y="1371127"/>
                  <a:pt x="3287202" y="1371127"/>
                </a:cubicBezTo>
                <a:cubicBezTo>
                  <a:pt x="3287202" y="1374771"/>
                  <a:pt x="3292669" y="1376594"/>
                  <a:pt x="3294491" y="1372949"/>
                </a:cubicBezTo>
                <a:cubicBezTo>
                  <a:pt x="3292669" y="1372949"/>
                  <a:pt x="3292669" y="1371127"/>
                  <a:pt x="3292669" y="1369305"/>
                </a:cubicBezTo>
                <a:close/>
                <a:moveTo>
                  <a:pt x="3263514" y="1369305"/>
                </a:moveTo>
                <a:cubicBezTo>
                  <a:pt x="3259869" y="1372949"/>
                  <a:pt x="3263514" y="1376594"/>
                  <a:pt x="3265336" y="1378416"/>
                </a:cubicBezTo>
                <a:cubicBezTo>
                  <a:pt x="3267158" y="1371127"/>
                  <a:pt x="3267158" y="1376594"/>
                  <a:pt x="3270803" y="1376594"/>
                </a:cubicBezTo>
                <a:cubicBezTo>
                  <a:pt x="3270803" y="1374771"/>
                  <a:pt x="3268980" y="1372949"/>
                  <a:pt x="3268980" y="1369305"/>
                </a:cubicBezTo>
                <a:cubicBezTo>
                  <a:pt x="3267158" y="1369305"/>
                  <a:pt x="3263514" y="1371127"/>
                  <a:pt x="3263514" y="1369305"/>
                </a:cubicBezTo>
                <a:close/>
                <a:moveTo>
                  <a:pt x="3183566" y="1368849"/>
                </a:moveTo>
                <a:cubicBezTo>
                  <a:pt x="3180605" y="1370671"/>
                  <a:pt x="3178783" y="1374771"/>
                  <a:pt x="3179694" y="1380238"/>
                </a:cubicBezTo>
                <a:cubicBezTo>
                  <a:pt x="3181516" y="1380238"/>
                  <a:pt x="3183338" y="1380238"/>
                  <a:pt x="3185160" y="1380238"/>
                </a:cubicBezTo>
                <a:cubicBezTo>
                  <a:pt x="3185160" y="1385705"/>
                  <a:pt x="3181516" y="1380238"/>
                  <a:pt x="3179694" y="1383882"/>
                </a:cubicBezTo>
                <a:cubicBezTo>
                  <a:pt x="3181516" y="1387527"/>
                  <a:pt x="3181516" y="1389349"/>
                  <a:pt x="3181516" y="1392993"/>
                </a:cubicBezTo>
                <a:cubicBezTo>
                  <a:pt x="3183338" y="1391171"/>
                  <a:pt x="3186982" y="1389349"/>
                  <a:pt x="3190627" y="1387527"/>
                </a:cubicBezTo>
                <a:cubicBezTo>
                  <a:pt x="3190627" y="1376594"/>
                  <a:pt x="3194271" y="1382060"/>
                  <a:pt x="3194271" y="1371127"/>
                </a:cubicBezTo>
                <a:cubicBezTo>
                  <a:pt x="3190627" y="1367483"/>
                  <a:pt x="3186527" y="1367027"/>
                  <a:pt x="3183566" y="1368849"/>
                </a:cubicBezTo>
                <a:close/>
                <a:moveTo>
                  <a:pt x="1144326" y="1367483"/>
                </a:moveTo>
                <a:lnTo>
                  <a:pt x="1142655" y="1380845"/>
                </a:lnTo>
                <a:lnTo>
                  <a:pt x="1142503" y="1380238"/>
                </a:lnTo>
                <a:cubicBezTo>
                  <a:pt x="1138859" y="1383882"/>
                  <a:pt x="1142503" y="1387527"/>
                  <a:pt x="1138859" y="1389349"/>
                </a:cubicBezTo>
                <a:cubicBezTo>
                  <a:pt x="1140681" y="1391171"/>
                  <a:pt x="1142503" y="1389349"/>
                  <a:pt x="1144326" y="1392993"/>
                </a:cubicBezTo>
                <a:cubicBezTo>
                  <a:pt x="1144326" y="1392993"/>
                  <a:pt x="1142503" y="1391171"/>
                  <a:pt x="1144326" y="1389349"/>
                </a:cubicBezTo>
                <a:lnTo>
                  <a:pt x="1142908" y="1389552"/>
                </a:lnTo>
                <a:lnTo>
                  <a:pt x="1143870" y="1385705"/>
                </a:lnTo>
                <a:lnTo>
                  <a:pt x="1142867" y="1381696"/>
                </a:lnTo>
                <a:lnTo>
                  <a:pt x="1144326" y="1380238"/>
                </a:lnTo>
                <a:cubicBezTo>
                  <a:pt x="1146148" y="1385705"/>
                  <a:pt x="1144326" y="1391171"/>
                  <a:pt x="1147970" y="1396638"/>
                </a:cubicBezTo>
                <a:cubicBezTo>
                  <a:pt x="1149792" y="1394815"/>
                  <a:pt x="1149792" y="1394815"/>
                  <a:pt x="1147970" y="1392993"/>
                </a:cubicBezTo>
                <a:cubicBezTo>
                  <a:pt x="1157081" y="1387527"/>
                  <a:pt x="1149792" y="1376594"/>
                  <a:pt x="1144326" y="1367483"/>
                </a:cubicBezTo>
                <a:close/>
                <a:moveTo>
                  <a:pt x="599496" y="1367483"/>
                </a:moveTo>
                <a:cubicBezTo>
                  <a:pt x="599496" y="1372949"/>
                  <a:pt x="595852" y="1372949"/>
                  <a:pt x="594030" y="1378416"/>
                </a:cubicBezTo>
                <a:cubicBezTo>
                  <a:pt x="595852" y="1382060"/>
                  <a:pt x="599496" y="1378416"/>
                  <a:pt x="601318" y="1382060"/>
                </a:cubicBezTo>
                <a:cubicBezTo>
                  <a:pt x="604963" y="1378416"/>
                  <a:pt x="597673" y="1374771"/>
                  <a:pt x="601318" y="1372949"/>
                </a:cubicBezTo>
                <a:cubicBezTo>
                  <a:pt x="599496" y="1371127"/>
                  <a:pt x="601318" y="1367483"/>
                  <a:pt x="599496" y="1367483"/>
                </a:cubicBezTo>
                <a:close/>
                <a:moveTo>
                  <a:pt x="561230" y="1367483"/>
                </a:moveTo>
                <a:cubicBezTo>
                  <a:pt x="557586" y="1372949"/>
                  <a:pt x="563052" y="1371127"/>
                  <a:pt x="564874" y="1374771"/>
                </a:cubicBezTo>
                <a:cubicBezTo>
                  <a:pt x="566697" y="1372949"/>
                  <a:pt x="564874" y="1372949"/>
                  <a:pt x="566697" y="1371127"/>
                </a:cubicBezTo>
                <a:cubicBezTo>
                  <a:pt x="564874" y="1369305"/>
                  <a:pt x="563052" y="1369305"/>
                  <a:pt x="561230" y="1367483"/>
                </a:cubicBezTo>
                <a:close/>
                <a:moveTo>
                  <a:pt x="535719" y="1367483"/>
                </a:moveTo>
                <a:lnTo>
                  <a:pt x="535112" y="1369305"/>
                </a:lnTo>
                <a:lnTo>
                  <a:pt x="535315" y="1368090"/>
                </a:lnTo>
                <a:close/>
                <a:moveTo>
                  <a:pt x="642089" y="1367255"/>
                </a:moveTo>
                <a:cubicBezTo>
                  <a:pt x="640495" y="1366572"/>
                  <a:pt x="638672" y="1366572"/>
                  <a:pt x="637761" y="1367483"/>
                </a:cubicBezTo>
                <a:cubicBezTo>
                  <a:pt x="641407" y="1369305"/>
                  <a:pt x="643228" y="1372949"/>
                  <a:pt x="645050" y="1371127"/>
                </a:cubicBezTo>
                <a:cubicBezTo>
                  <a:pt x="645050" y="1369305"/>
                  <a:pt x="643683" y="1367939"/>
                  <a:pt x="642089" y="1367255"/>
                </a:cubicBezTo>
                <a:close/>
                <a:moveTo>
                  <a:pt x="3403366" y="1366344"/>
                </a:moveTo>
                <a:cubicBezTo>
                  <a:pt x="3401999" y="1366572"/>
                  <a:pt x="3400177" y="1367483"/>
                  <a:pt x="3398355" y="1367483"/>
                </a:cubicBezTo>
                <a:cubicBezTo>
                  <a:pt x="3400177" y="1372949"/>
                  <a:pt x="3401999" y="1367483"/>
                  <a:pt x="3405643" y="1369305"/>
                </a:cubicBezTo>
                <a:cubicBezTo>
                  <a:pt x="3405643" y="1366572"/>
                  <a:pt x="3404732" y="1366116"/>
                  <a:pt x="3403366" y="1366344"/>
                </a:cubicBezTo>
                <a:close/>
                <a:moveTo>
                  <a:pt x="696071" y="1365661"/>
                </a:moveTo>
                <a:cubicBezTo>
                  <a:pt x="694249" y="1365661"/>
                  <a:pt x="696071" y="1367483"/>
                  <a:pt x="694249" y="1369305"/>
                </a:cubicBezTo>
                <a:cubicBezTo>
                  <a:pt x="694249" y="1371127"/>
                  <a:pt x="696071" y="1372949"/>
                  <a:pt x="699715" y="1371127"/>
                </a:cubicBezTo>
                <a:cubicBezTo>
                  <a:pt x="697893" y="1369305"/>
                  <a:pt x="697893" y="1367483"/>
                  <a:pt x="696071" y="1365661"/>
                </a:cubicBezTo>
                <a:close/>
                <a:moveTo>
                  <a:pt x="378785" y="1365661"/>
                </a:moveTo>
                <a:cubicBezTo>
                  <a:pt x="377191" y="1365205"/>
                  <a:pt x="375368" y="1365661"/>
                  <a:pt x="373546" y="1367483"/>
                </a:cubicBezTo>
                <a:cubicBezTo>
                  <a:pt x="375368" y="1372949"/>
                  <a:pt x="379012" y="1371127"/>
                  <a:pt x="382657" y="1369305"/>
                </a:cubicBezTo>
                <a:cubicBezTo>
                  <a:pt x="381746" y="1367483"/>
                  <a:pt x="380380" y="1366116"/>
                  <a:pt x="378785" y="1365661"/>
                </a:cubicBezTo>
                <a:close/>
                <a:moveTo>
                  <a:pt x="3092230" y="1363838"/>
                </a:moveTo>
                <a:cubicBezTo>
                  <a:pt x="3090407" y="1365661"/>
                  <a:pt x="3079474" y="1362016"/>
                  <a:pt x="3081297" y="1369305"/>
                </a:cubicBezTo>
                <a:cubicBezTo>
                  <a:pt x="3084941" y="1371127"/>
                  <a:pt x="3090407" y="1367483"/>
                  <a:pt x="3092230" y="1372949"/>
                </a:cubicBezTo>
                <a:cubicBezTo>
                  <a:pt x="3094052" y="1369305"/>
                  <a:pt x="3094052" y="1367483"/>
                  <a:pt x="3092230" y="1363838"/>
                </a:cubicBezTo>
                <a:close/>
                <a:moveTo>
                  <a:pt x="461010" y="1363838"/>
                </a:moveTo>
                <a:cubicBezTo>
                  <a:pt x="461010" y="1363838"/>
                  <a:pt x="459188" y="1365661"/>
                  <a:pt x="459188" y="1365661"/>
                </a:cubicBezTo>
                <a:cubicBezTo>
                  <a:pt x="461010" y="1367483"/>
                  <a:pt x="464655" y="1367483"/>
                  <a:pt x="466478" y="1365661"/>
                </a:cubicBezTo>
                <a:cubicBezTo>
                  <a:pt x="464655" y="1367483"/>
                  <a:pt x="462832" y="1363838"/>
                  <a:pt x="461010" y="1363838"/>
                </a:cubicBezTo>
                <a:close/>
                <a:moveTo>
                  <a:pt x="446433" y="1363838"/>
                </a:moveTo>
                <a:cubicBezTo>
                  <a:pt x="442789" y="1365661"/>
                  <a:pt x="440966" y="1365661"/>
                  <a:pt x="437322" y="1367483"/>
                </a:cubicBezTo>
                <a:cubicBezTo>
                  <a:pt x="442789" y="1374771"/>
                  <a:pt x="442789" y="1369305"/>
                  <a:pt x="446433" y="1363838"/>
                </a:cubicBezTo>
                <a:close/>
                <a:moveTo>
                  <a:pt x="1104899" y="1362897"/>
                </a:moveTo>
                <a:lnTo>
                  <a:pt x="1109039" y="1364367"/>
                </a:lnTo>
                <a:lnTo>
                  <a:pt x="1109704" y="1369305"/>
                </a:lnTo>
                <a:close/>
                <a:moveTo>
                  <a:pt x="1124282" y="1362016"/>
                </a:moveTo>
                <a:cubicBezTo>
                  <a:pt x="1122459" y="1367483"/>
                  <a:pt x="1124282" y="1372949"/>
                  <a:pt x="1124282" y="1378416"/>
                </a:cubicBezTo>
                <a:cubicBezTo>
                  <a:pt x="1127926" y="1378416"/>
                  <a:pt x="1126104" y="1383882"/>
                  <a:pt x="1131570" y="1383882"/>
                </a:cubicBezTo>
                <a:cubicBezTo>
                  <a:pt x="1129748" y="1376594"/>
                  <a:pt x="1126104" y="1369305"/>
                  <a:pt x="1124282" y="1362016"/>
                </a:cubicBezTo>
                <a:close/>
                <a:moveTo>
                  <a:pt x="1104238" y="1362016"/>
                </a:moveTo>
                <a:lnTo>
                  <a:pt x="1104899" y="1362897"/>
                </a:lnTo>
                <a:lnTo>
                  <a:pt x="1103102" y="1362259"/>
                </a:lnTo>
                <a:close/>
                <a:moveTo>
                  <a:pt x="1102416" y="1362016"/>
                </a:moveTo>
                <a:lnTo>
                  <a:pt x="1103102" y="1362259"/>
                </a:lnTo>
                <a:lnTo>
                  <a:pt x="1102669" y="1362352"/>
                </a:lnTo>
                <a:close/>
                <a:moveTo>
                  <a:pt x="898333" y="1362016"/>
                </a:moveTo>
                <a:cubicBezTo>
                  <a:pt x="896510" y="1365661"/>
                  <a:pt x="896510" y="1367483"/>
                  <a:pt x="898333" y="1369305"/>
                </a:cubicBezTo>
                <a:cubicBezTo>
                  <a:pt x="900154" y="1367483"/>
                  <a:pt x="900154" y="1367483"/>
                  <a:pt x="901976" y="1365661"/>
                </a:cubicBezTo>
                <a:cubicBezTo>
                  <a:pt x="900154" y="1363838"/>
                  <a:pt x="900154" y="1363838"/>
                  <a:pt x="898333" y="1362016"/>
                </a:cubicBezTo>
                <a:close/>
                <a:moveTo>
                  <a:pt x="639583" y="1362016"/>
                </a:moveTo>
                <a:cubicBezTo>
                  <a:pt x="639583" y="1363838"/>
                  <a:pt x="628650" y="1369305"/>
                  <a:pt x="639583" y="1365661"/>
                </a:cubicBezTo>
                <a:cubicBezTo>
                  <a:pt x="639583" y="1363838"/>
                  <a:pt x="637761" y="1363838"/>
                  <a:pt x="639583" y="1362016"/>
                </a:cubicBezTo>
                <a:close/>
                <a:moveTo>
                  <a:pt x="563052" y="1362016"/>
                </a:moveTo>
                <a:cubicBezTo>
                  <a:pt x="566697" y="1371127"/>
                  <a:pt x="575808" y="1374771"/>
                  <a:pt x="581274" y="1376594"/>
                </a:cubicBezTo>
                <a:cubicBezTo>
                  <a:pt x="577630" y="1371127"/>
                  <a:pt x="568519" y="1363838"/>
                  <a:pt x="563052" y="1362016"/>
                </a:cubicBezTo>
                <a:close/>
                <a:moveTo>
                  <a:pt x="557586" y="1362016"/>
                </a:moveTo>
                <a:cubicBezTo>
                  <a:pt x="555763" y="1360194"/>
                  <a:pt x="553941" y="1367483"/>
                  <a:pt x="555763" y="1365661"/>
                </a:cubicBezTo>
                <a:cubicBezTo>
                  <a:pt x="550297" y="1372949"/>
                  <a:pt x="548475" y="1378416"/>
                  <a:pt x="553941" y="1387527"/>
                </a:cubicBezTo>
                <a:cubicBezTo>
                  <a:pt x="553941" y="1385705"/>
                  <a:pt x="555763" y="1385705"/>
                  <a:pt x="557586" y="1383882"/>
                </a:cubicBezTo>
                <a:cubicBezTo>
                  <a:pt x="557586" y="1396638"/>
                  <a:pt x="566697" y="1394815"/>
                  <a:pt x="570341" y="1398460"/>
                </a:cubicBezTo>
                <a:cubicBezTo>
                  <a:pt x="568519" y="1396638"/>
                  <a:pt x="570341" y="1396638"/>
                  <a:pt x="572163" y="1394815"/>
                </a:cubicBezTo>
                <a:cubicBezTo>
                  <a:pt x="570341" y="1400282"/>
                  <a:pt x="573985" y="1400282"/>
                  <a:pt x="577630" y="1402104"/>
                </a:cubicBezTo>
                <a:cubicBezTo>
                  <a:pt x="573985" y="1403926"/>
                  <a:pt x="568519" y="1403926"/>
                  <a:pt x="564874" y="1402104"/>
                </a:cubicBezTo>
                <a:cubicBezTo>
                  <a:pt x="573985" y="1405748"/>
                  <a:pt x="579452" y="1407571"/>
                  <a:pt x="588562" y="1405748"/>
                </a:cubicBezTo>
                <a:cubicBezTo>
                  <a:pt x="586741" y="1405748"/>
                  <a:pt x="586741" y="1405748"/>
                  <a:pt x="586741" y="1402104"/>
                </a:cubicBezTo>
                <a:cubicBezTo>
                  <a:pt x="590385" y="1403926"/>
                  <a:pt x="594030" y="1405748"/>
                  <a:pt x="595852" y="1402104"/>
                </a:cubicBezTo>
                <a:cubicBezTo>
                  <a:pt x="594030" y="1398460"/>
                  <a:pt x="594030" y="1398460"/>
                  <a:pt x="592207" y="1400282"/>
                </a:cubicBezTo>
                <a:cubicBezTo>
                  <a:pt x="594030" y="1398460"/>
                  <a:pt x="594030" y="1396638"/>
                  <a:pt x="594030" y="1400282"/>
                </a:cubicBezTo>
                <a:cubicBezTo>
                  <a:pt x="595852" y="1400282"/>
                  <a:pt x="599496" y="1396638"/>
                  <a:pt x="599496" y="1400282"/>
                </a:cubicBezTo>
                <a:cubicBezTo>
                  <a:pt x="592207" y="1405748"/>
                  <a:pt x="603140" y="1403926"/>
                  <a:pt x="601318" y="1407571"/>
                </a:cubicBezTo>
                <a:cubicBezTo>
                  <a:pt x="604963" y="1405748"/>
                  <a:pt x="601318" y="1400282"/>
                  <a:pt x="599496" y="1400282"/>
                </a:cubicBezTo>
                <a:cubicBezTo>
                  <a:pt x="601318" y="1396638"/>
                  <a:pt x="601318" y="1394815"/>
                  <a:pt x="599496" y="1391171"/>
                </a:cubicBezTo>
                <a:cubicBezTo>
                  <a:pt x="586741" y="1382060"/>
                  <a:pt x="575808" y="1376594"/>
                  <a:pt x="561230" y="1378416"/>
                </a:cubicBezTo>
                <a:cubicBezTo>
                  <a:pt x="559408" y="1378416"/>
                  <a:pt x="559408" y="1378416"/>
                  <a:pt x="559408" y="1380238"/>
                </a:cubicBezTo>
                <a:cubicBezTo>
                  <a:pt x="557586" y="1372949"/>
                  <a:pt x="559408" y="1367483"/>
                  <a:pt x="557586" y="1362016"/>
                </a:cubicBezTo>
                <a:close/>
                <a:moveTo>
                  <a:pt x="914504" y="1361105"/>
                </a:moveTo>
                <a:cubicBezTo>
                  <a:pt x="910632" y="1360650"/>
                  <a:pt x="907444" y="1362017"/>
                  <a:pt x="907444" y="1367483"/>
                </a:cubicBezTo>
                <a:cubicBezTo>
                  <a:pt x="905621" y="1369305"/>
                  <a:pt x="911087" y="1371127"/>
                  <a:pt x="914732" y="1374771"/>
                </a:cubicBezTo>
                <a:cubicBezTo>
                  <a:pt x="918376" y="1371127"/>
                  <a:pt x="922020" y="1369305"/>
                  <a:pt x="922020" y="1365661"/>
                </a:cubicBezTo>
                <a:cubicBezTo>
                  <a:pt x="922020" y="1369305"/>
                  <a:pt x="923843" y="1365661"/>
                  <a:pt x="925666" y="1365661"/>
                </a:cubicBezTo>
                <a:cubicBezTo>
                  <a:pt x="922931" y="1363839"/>
                  <a:pt x="918376" y="1361561"/>
                  <a:pt x="914504" y="1361105"/>
                </a:cubicBezTo>
                <a:close/>
                <a:moveTo>
                  <a:pt x="3287202" y="1360194"/>
                </a:moveTo>
                <a:cubicBezTo>
                  <a:pt x="3285380" y="1362016"/>
                  <a:pt x="3283558" y="1363838"/>
                  <a:pt x="3283558" y="1362016"/>
                </a:cubicBezTo>
                <a:cubicBezTo>
                  <a:pt x="3278091" y="1365661"/>
                  <a:pt x="3285380" y="1367483"/>
                  <a:pt x="3290847" y="1365661"/>
                </a:cubicBezTo>
                <a:cubicBezTo>
                  <a:pt x="3290847" y="1362016"/>
                  <a:pt x="3287202" y="1363838"/>
                  <a:pt x="3287202" y="1360194"/>
                </a:cubicBezTo>
                <a:close/>
                <a:moveTo>
                  <a:pt x="3203382" y="1360194"/>
                </a:moveTo>
                <a:cubicBezTo>
                  <a:pt x="3201560" y="1367483"/>
                  <a:pt x="3205204" y="1369305"/>
                  <a:pt x="3208849" y="1371127"/>
                </a:cubicBezTo>
                <a:cubicBezTo>
                  <a:pt x="3208849" y="1367483"/>
                  <a:pt x="3208849" y="1363838"/>
                  <a:pt x="3208849" y="1360194"/>
                </a:cubicBezTo>
                <a:close/>
                <a:moveTo>
                  <a:pt x="2664019" y="1360194"/>
                </a:moveTo>
                <a:lnTo>
                  <a:pt x="2654908" y="1371127"/>
                </a:lnTo>
                <a:lnTo>
                  <a:pt x="2667663" y="1367483"/>
                </a:lnTo>
                <a:cubicBezTo>
                  <a:pt x="2665841" y="1365661"/>
                  <a:pt x="2665841" y="1362016"/>
                  <a:pt x="2664019" y="1360194"/>
                </a:cubicBezTo>
                <a:close/>
                <a:moveTo>
                  <a:pt x="1095127" y="1360194"/>
                </a:moveTo>
                <a:cubicBezTo>
                  <a:pt x="1093305" y="1358372"/>
                  <a:pt x="1093305" y="1369305"/>
                  <a:pt x="1096949" y="1374771"/>
                </a:cubicBezTo>
                <a:cubicBezTo>
                  <a:pt x="1096949" y="1378416"/>
                  <a:pt x="1096949" y="1383882"/>
                  <a:pt x="1096949" y="1389349"/>
                </a:cubicBezTo>
                <a:cubicBezTo>
                  <a:pt x="1104238" y="1391171"/>
                  <a:pt x="1111526" y="1394815"/>
                  <a:pt x="1118815" y="1394815"/>
                </a:cubicBezTo>
                <a:cubicBezTo>
                  <a:pt x="1116993" y="1385705"/>
                  <a:pt x="1106060" y="1376594"/>
                  <a:pt x="1100593" y="1367483"/>
                </a:cubicBezTo>
                <a:cubicBezTo>
                  <a:pt x="1100593" y="1365661"/>
                  <a:pt x="1098771" y="1367483"/>
                  <a:pt x="1098771" y="1367483"/>
                </a:cubicBezTo>
                <a:cubicBezTo>
                  <a:pt x="1098771" y="1365661"/>
                  <a:pt x="1096949" y="1362016"/>
                  <a:pt x="1095127" y="1360194"/>
                </a:cubicBezTo>
                <a:close/>
                <a:moveTo>
                  <a:pt x="484700" y="1360194"/>
                </a:moveTo>
                <a:cubicBezTo>
                  <a:pt x="482876" y="1360194"/>
                  <a:pt x="482876" y="1363838"/>
                  <a:pt x="479232" y="1365661"/>
                </a:cubicBezTo>
                <a:cubicBezTo>
                  <a:pt x="481054" y="1367483"/>
                  <a:pt x="482876" y="1367483"/>
                  <a:pt x="482876" y="1369305"/>
                </a:cubicBezTo>
                <a:cubicBezTo>
                  <a:pt x="484700" y="1365661"/>
                  <a:pt x="486521" y="1363838"/>
                  <a:pt x="484700" y="1360194"/>
                </a:cubicBezTo>
                <a:close/>
                <a:moveTo>
                  <a:pt x="3225248" y="1358372"/>
                </a:moveTo>
                <a:cubicBezTo>
                  <a:pt x="3223426" y="1358372"/>
                  <a:pt x="3221604" y="1360194"/>
                  <a:pt x="3219782" y="1360194"/>
                </a:cubicBezTo>
                <a:lnTo>
                  <a:pt x="3219782" y="1363838"/>
                </a:lnTo>
                <a:lnTo>
                  <a:pt x="3216137" y="1363838"/>
                </a:lnTo>
                <a:cubicBezTo>
                  <a:pt x="3216137" y="1367483"/>
                  <a:pt x="3216137" y="1369305"/>
                  <a:pt x="3216137" y="1372949"/>
                </a:cubicBezTo>
                <a:cubicBezTo>
                  <a:pt x="3221604" y="1374771"/>
                  <a:pt x="3225248" y="1372949"/>
                  <a:pt x="3228893" y="1374771"/>
                </a:cubicBezTo>
                <a:cubicBezTo>
                  <a:pt x="3232537" y="1372949"/>
                  <a:pt x="3227071" y="1371127"/>
                  <a:pt x="3228893" y="1367483"/>
                </a:cubicBezTo>
                <a:cubicBezTo>
                  <a:pt x="3225248" y="1363838"/>
                  <a:pt x="3225248" y="1367483"/>
                  <a:pt x="3223426" y="1365661"/>
                </a:cubicBezTo>
                <a:cubicBezTo>
                  <a:pt x="3225248" y="1363838"/>
                  <a:pt x="3225248" y="1362016"/>
                  <a:pt x="3225248" y="1358372"/>
                </a:cubicBezTo>
                <a:close/>
                <a:moveTo>
                  <a:pt x="3168761" y="1358372"/>
                </a:moveTo>
                <a:cubicBezTo>
                  <a:pt x="3163294" y="1363838"/>
                  <a:pt x="3168761" y="1378416"/>
                  <a:pt x="3172405" y="1387527"/>
                </a:cubicBezTo>
                <a:cubicBezTo>
                  <a:pt x="3177872" y="1378416"/>
                  <a:pt x="3170583" y="1367483"/>
                  <a:pt x="3168761" y="1358372"/>
                </a:cubicBezTo>
                <a:close/>
                <a:moveTo>
                  <a:pt x="767136" y="1358372"/>
                </a:moveTo>
                <a:cubicBezTo>
                  <a:pt x="765313" y="1360194"/>
                  <a:pt x="763491" y="1360194"/>
                  <a:pt x="761670" y="1362016"/>
                </a:cubicBezTo>
                <a:cubicBezTo>
                  <a:pt x="761670" y="1365661"/>
                  <a:pt x="765313" y="1367483"/>
                  <a:pt x="768959" y="1367483"/>
                </a:cubicBezTo>
                <a:cubicBezTo>
                  <a:pt x="770781" y="1363838"/>
                  <a:pt x="768959" y="1362016"/>
                  <a:pt x="767136" y="1358372"/>
                </a:cubicBezTo>
                <a:close/>
                <a:moveTo>
                  <a:pt x="655983" y="1358372"/>
                </a:moveTo>
                <a:cubicBezTo>
                  <a:pt x="654161" y="1356550"/>
                  <a:pt x="650516" y="1363838"/>
                  <a:pt x="652339" y="1365661"/>
                </a:cubicBezTo>
                <a:cubicBezTo>
                  <a:pt x="655983" y="1365661"/>
                  <a:pt x="654161" y="1360194"/>
                  <a:pt x="655983" y="1358372"/>
                </a:cubicBezTo>
                <a:close/>
                <a:moveTo>
                  <a:pt x="499276" y="1358372"/>
                </a:moveTo>
                <a:cubicBezTo>
                  <a:pt x="497454" y="1363838"/>
                  <a:pt x="499276" y="1367483"/>
                  <a:pt x="495632" y="1369305"/>
                </a:cubicBezTo>
                <a:cubicBezTo>
                  <a:pt x="501098" y="1369305"/>
                  <a:pt x="501098" y="1362016"/>
                  <a:pt x="499276" y="1358372"/>
                </a:cubicBezTo>
                <a:close/>
                <a:moveTo>
                  <a:pt x="473766" y="1358372"/>
                </a:moveTo>
                <a:cubicBezTo>
                  <a:pt x="471943" y="1358372"/>
                  <a:pt x="471943" y="1360194"/>
                  <a:pt x="470121" y="1360194"/>
                </a:cubicBezTo>
                <a:cubicBezTo>
                  <a:pt x="473766" y="1360194"/>
                  <a:pt x="471943" y="1362016"/>
                  <a:pt x="475589" y="1363838"/>
                </a:cubicBezTo>
                <a:cubicBezTo>
                  <a:pt x="477410" y="1362016"/>
                  <a:pt x="479232" y="1362016"/>
                  <a:pt x="482876" y="1358372"/>
                </a:cubicBezTo>
                <a:cubicBezTo>
                  <a:pt x="479232" y="1358372"/>
                  <a:pt x="477410" y="1360194"/>
                  <a:pt x="473766" y="1362016"/>
                </a:cubicBezTo>
                <a:cubicBezTo>
                  <a:pt x="473766" y="1360194"/>
                  <a:pt x="475589" y="1360194"/>
                  <a:pt x="473766" y="1358372"/>
                </a:cubicBezTo>
                <a:close/>
                <a:moveTo>
                  <a:pt x="3393572" y="1357461"/>
                </a:moveTo>
                <a:cubicBezTo>
                  <a:pt x="3391978" y="1356550"/>
                  <a:pt x="3389244" y="1356550"/>
                  <a:pt x="3387422" y="1358372"/>
                </a:cubicBezTo>
                <a:cubicBezTo>
                  <a:pt x="3387422" y="1362016"/>
                  <a:pt x="3392888" y="1358372"/>
                  <a:pt x="3392888" y="1362016"/>
                </a:cubicBezTo>
                <a:cubicBezTo>
                  <a:pt x="3395622" y="1360194"/>
                  <a:pt x="3395166" y="1358372"/>
                  <a:pt x="3393572" y="1357461"/>
                </a:cubicBezTo>
                <a:close/>
                <a:moveTo>
                  <a:pt x="3197916" y="1356550"/>
                </a:moveTo>
                <a:cubicBezTo>
                  <a:pt x="3196093" y="1356550"/>
                  <a:pt x="3196093" y="1358372"/>
                  <a:pt x="3192449" y="1358372"/>
                </a:cubicBezTo>
                <a:lnTo>
                  <a:pt x="3194636" y="1359829"/>
                </a:lnTo>
                <a:lnTo>
                  <a:pt x="3194271" y="1360194"/>
                </a:lnTo>
                <a:lnTo>
                  <a:pt x="3195183" y="1360194"/>
                </a:lnTo>
                <a:lnTo>
                  <a:pt x="3197916" y="1362016"/>
                </a:lnTo>
                <a:cubicBezTo>
                  <a:pt x="3197916" y="1362016"/>
                  <a:pt x="3197916" y="1360194"/>
                  <a:pt x="3197916" y="1360194"/>
                </a:cubicBezTo>
                <a:lnTo>
                  <a:pt x="3195183" y="1360194"/>
                </a:lnTo>
                <a:lnTo>
                  <a:pt x="3194636" y="1359829"/>
                </a:lnTo>
                <a:close/>
                <a:moveTo>
                  <a:pt x="2525534" y="1356550"/>
                </a:moveTo>
                <a:lnTo>
                  <a:pt x="2532822" y="1363838"/>
                </a:lnTo>
                <a:lnTo>
                  <a:pt x="2532822" y="1360194"/>
                </a:lnTo>
                <a:cubicBezTo>
                  <a:pt x="2531000" y="1358372"/>
                  <a:pt x="2527356" y="1358372"/>
                  <a:pt x="2525534" y="1356550"/>
                </a:cubicBezTo>
                <a:close/>
                <a:moveTo>
                  <a:pt x="792646" y="1356550"/>
                </a:moveTo>
                <a:cubicBezTo>
                  <a:pt x="789003" y="1360194"/>
                  <a:pt x="783535" y="1363838"/>
                  <a:pt x="790824" y="1369305"/>
                </a:cubicBezTo>
                <a:cubicBezTo>
                  <a:pt x="792646" y="1363838"/>
                  <a:pt x="794468" y="1360194"/>
                  <a:pt x="792646" y="1356550"/>
                </a:cubicBezTo>
                <a:close/>
                <a:moveTo>
                  <a:pt x="716115" y="1356550"/>
                </a:moveTo>
                <a:cubicBezTo>
                  <a:pt x="710648" y="1358372"/>
                  <a:pt x="703359" y="1358372"/>
                  <a:pt x="696071" y="1363838"/>
                </a:cubicBezTo>
                <a:cubicBezTo>
                  <a:pt x="696983" y="1368393"/>
                  <a:pt x="699715" y="1371127"/>
                  <a:pt x="702676" y="1373177"/>
                </a:cubicBezTo>
                <a:lnTo>
                  <a:pt x="708259" y="1376846"/>
                </a:lnTo>
                <a:lnTo>
                  <a:pt x="692426" y="1383882"/>
                </a:lnTo>
                <a:cubicBezTo>
                  <a:pt x="692426" y="1383882"/>
                  <a:pt x="694249" y="1387527"/>
                  <a:pt x="696071" y="1385705"/>
                </a:cubicBezTo>
                <a:cubicBezTo>
                  <a:pt x="701537" y="1394815"/>
                  <a:pt x="712470" y="1396638"/>
                  <a:pt x="719759" y="1398460"/>
                </a:cubicBezTo>
                <a:cubicBezTo>
                  <a:pt x="719759" y="1391171"/>
                  <a:pt x="721581" y="1387527"/>
                  <a:pt x="721581" y="1382060"/>
                </a:cubicBezTo>
                <a:cubicBezTo>
                  <a:pt x="717937" y="1374771"/>
                  <a:pt x="712470" y="1383882"/>
                  <a:pt x="707004" y="1383882"/>
                </a:cubicBezTo>
                <a:lnTo>
                  <a:pt x="708692" y="1377130"/>
                </a:lnTo>
                <a:lnTo>
                  <a:pt x="710648" y="1378416"/>
                </a:lnTo>
                <a:cubicBezTo>
                  <a:pt x="719759" y="1371127"/>
                  <a:pt x="719759" y="1363838"/>
                  <a:pt x="716115" y="1356550"/>
                </a:cubicBezTo>
                <a:close/>
                <a:moveTo>
                  <a:pt x="634117" y="1356550"/>
                </a:moveTo>
                <a:cubicBezTo>
                  <a:pt x="630472" y="1358372"/>
                  <a:pt x="628650" y="1358372"/>
                  <a:pt x="625006" y="1362016"/>
                </a:cubicBezTo>
                <a:cubicBezTo>
                  <a:pt x="645050" y="1371127"/>
                  <a:pt x="625006" y="1354728"/>
                  <a:pt x="637761" y="1360194"/>
                </a:cubicBezTo>
                <a:cubicBezTo>
                  <a:pt x="635939" y="1360194"/>
                  <a:pt x="634117" y="1358372"/>
                  <a:pt x="634117" y="1356550"/>
                </a:cubicBezTo>
                <a:close/>
                <a:moveTo>
                  <a:pt x="541186" y="1356550"/>
                </a:moveTo>
                <a:cubicBezTo>
                  <a:pt x="537542" y="1360194"/>
                  <a:pt x="533897" y="1365661"/>
                  <a:pt x="539364" y="1367483"/>
                </a:cubicBezTo>
                <a:cubicBezTo>
                  <a:pt x="539364" y="1365661"/>
                  <a:pt x="537542" y="1363838"/>
                  <a:pt x="535719" y="1365661"/>
                </a:cubicBezTo>
                <a:lnTo>
                  <a:pt x="535315" y="1368090"/>
                </a:lnTo>
                <a:lnTo>
                  <a:pt x="532075" y="1372949"/>
                </a:lnTo>
                <a:cubicBezTo>
                  <a:pt x="533897" y="1372949"/>
                  <a:pt x="534352" y="1372038"/>
                  <a:pt x="534580" y="1370899"/>
                </a:cubicBezTo>
                <a:lnTo>
                  <a:pt x="535112" y="1369305"/>
                </a:lnTo>
                <a:lnTo>
                  <a:pt x="533897" y="1376594"/>
                </a:lnTo>
                <a:cubicBezTo>
                  <a:pt x="537542" y="1376594"/>
                  <a:pt x="541186" y="1382060"/>
                  <a:pt x="544830" y="1378416"/>
                </a:cubicBezTo>
                <a:cubicBezTo>
                  <a:pt x="543008" y="1378416"/>
                  <a:pt x="543008" y="1376594"/>
                  <a:pt x="541186" y="1374771"/>
                </a:cubicBezTo>
                <a:cubicBezTo>
                  <a:pt x="543008" y="1374771"/>
                  <a:pt x="543008" y="1374771"/>
                  <a:pt x="546653" y="1374771"/>
                </a:cubicBezTo>
                <a:cubicBezTo>
                  <a:pt x="546653" y="1371127"/>
                  <a:pt x="546653" y="1369305"/>
                  <a:pt x="543008" y="1371127"/>
                </a:cubicBezTo>
                <a:cubicBezTo>
                  <a:pt x="546653" y="1372949"/>
                  <a:pt x="546653" y="1371127"/>
                  <a:pt x="550297" y="1371127"/>
                </a:cubicBezTo>
                <a:cubicBezTo>
                  <a:pt x="548475" y="1363838"/>
                  <a:pt x="544830" y="1362016"/>
                  <a:pt x="541186" y="1356550"/>
                </a:cubicBezTo>
                <a:close/>
                <a:moveTo>
                  <a:pt x="448256" y="1356550"/>
                </a:moveTo>
                <a:cubicBezTo>
                  <a:pt x="428211" y="1358372"/>
                  <a:pt x="408167" y="1360194"/>
                  <a:pt x="389946" y="1367483"/>
                </a:cubicBezTo>
                <a:cubicBezTo>
                  <a:pt x="397234" y="1376594"/>
                  <a:pt x="406345" y="1391171"/>
                  <a:pt x="420923" y="1383882"/>
                </a:cubicBezTo>
                <a:cubicBezTo>
                  <a:pt x="420923" y="1382060"/>
                  <a:pt x="419100" y="1382060"/>
                  <a:pt x="415456" y="1382060"/>
                </a:cubicBezTo>
                <a:cubicBezTo>
                  <a:pt x="424567" y="1383882"/>
                  <a:pt x="431856" y="1380238"/>
                  <a:pt x="439145" y="1376594"/>
                </a:cubicBezTo>
                <a:cubicBezTo>
                  <a:pt x="428211" y="1385705"/>
                  <a:pt x="413634" y="1391171"/>
                  <a:pt x="400879" y="1387527"/>
                </a:cubicBezTo>
                <a:cubicBezTo>
                  <a:pt x="417278" y="1396638"/>
                  <a:pt x="422745" y="1440370"/>
                  <a:pt x="444611" y="1420326"/>
                </a:cubicBezTo>
                <a:cubicBezTo>
                  <a:pt x="442789" y="1418504"/>
                  <a:pt x="437322" y="1420326"/>
                  <a:pt x="437322" y="1414859"/>
                </a:cubicBezTo>
                <a:cubicBezTo>
                  <a:pt x="440966" y="1417592"/>
                  <a:pt x="444155" y="1417592"/>
                  <a:pt x="447344" y="1417137"/>
                </a:cubicBezTo>
                <a:lnTo>
                  <a:pt x="455696" y="1416757"/>
                </a:lnTo>
                <a:lnTo>
                  <a:pt x="457367" y="1416681"/>
                </a:lnTo>
                <a:lnTo>
                  <a:pt x="453621" y="1415076"/>
                </a:lnTo>
                <a:lnTo>
                  <a:pt x="453591" y="1414586"/>
                </a:lnTo>
                <a:lnTo>
                  <a:pt x="458960" y="1413720"/>
                </a:lnTo>
                <a:cubicBezTo>
                  <a:pt x="461466" y="1413492"/>
                  <a:pt x="463743" y="1413037"/>
                  <a:pt x="464655" y="1411215"/>
                </a:cubicBezTo>
                <a:cubicBezTo>
                  <a:pt x="468299" y="1405748"/>
                  <a:pt x="455544" y="1405748"/>
                  <a:pt x="451899" y="1398460"/>
                </a:cubicBezTo>
                <a:cubicBezTo>
                  <a:pt x="455544" y="1400282"/>
                  <a:pt x="461010" y="1403926"/>
                  <a:pt x="464655" y="1405748"/>
                </a:cubicBezTo>
                <a:cubicBezTo>
                  <a:pt x="464655" y="1403926"/>
                  <a:pt x="464655" y="1402104"/>
                  <a:pt x="462832" y="1400282"/>
                </a:cubicBezTo>
                <a:cubicBezTo>
                  <a:pt x="470121" y="1400282"/>
                  <a:pt x="468299" y="1405748"/>
                  <a:pt x="470121" y="1409393"/>
                </a:cubicBezTo>
                <a:cubicBezTo>
                  <a:pt x="470121" y="1407571"/>
                  <a:pt x="471943" y="1407571"/>
                  <a:pt x="473766" y="1405748"/>
                </a:cubicBezTo>
                <a:cubicBezTo>
                  <a:pt x="473766" y="1402104"/>
                  <a:pt x="471943" y="1398460"/>
                  <a:pt x="470121" y="1394815"/>
                </a:cubicBezTo>
                <a:cubicBezTo>
                  <a:pt x="471943" y="1398460"/>
                  <a:pt x="477410" y="1402104"/>
                  <a:pt x="477410" y="1407571"/>
                </a:cubicBezTo>
                <a:cubicBezTo>
                  <a:pt x="486521" y="1405748"/>
                  <a:pt x="484700" y="1396638"/>
                  <a:pt x="486521" y="1392993"/>
                </a:cubicBezTo>
                <a:cubicBezTo>
                  <a:pt x="481054" y="1394815"/>
                  <a:pt x="481054" y="1392993"/>
                  <a:pt x="479232" y="1389349"/>
                </a:cubicBezTo>
                <a:cubicBezTo>
                  <a:pt x="481054" y="1389349"/>
                  <a:pt x="481054" y="1389349"/>
                  <a:pt x="484700" y="1389349"/>
                </a:cubicBezTo>
                <a:cubicBezTo>
                  <a:pt x="482876" y="1383882"/>
                  <a:pt x="482876" y="1383882"/>
                  <a:pt x="486521" y="1380238"/>
                </a:cubicBezTo>
                <a:cubicBezTo>
                  <a:pt x="484700" y="1380238"/>
                  <a:pt x="481054" y="1376594"/>
                  <a:pt x="477410" y="1378416"/>
                </a:cubicBezTo>
                <a:cubicBezTo>
                  <a:pt x="479232" y="1378416"/>
                  <a:pt x="479232" y="1380238"/>
                  <a:pt x="481054" y="1382060"/>
                </a:cubicBezTo>
                <a:cubicBezTo>
                  <a:pt x="459188" y="1369305"/>
                  <a:pt x="450077" y="1394815"/>
                  <a:pt x="433678" y="1405748"/>
                </a:cubicBezTo>
                <a:lnTo>
                  <a:pt x="436641" y="1409502"/>
                </a:lnTo>
                <a:lnTo>
                  <a:pt x="435342" y="1410555"/>
                </a:lnTo>
                <a:lnTo>
                  <a:pt x="430034" y="1414859"/>
                </a:lnTo>
                <a:cubicBezTo>
                  <a:pt x="430034" y="1413037"/>
                  <a:pt x="428211" y="1409393"/>
                  <a:pt x="433678" y="1407571"/>
                </a:cubicBezTo>
                <a:cubicBezTo>
                  <a:pt x="428211" y="1403926"/>
                  <a:pt x="424567" y="1402104"/>
                  <a:pt x="419100" y="1398460"/>
                </a:cubicBezTo>
                <a:cubicBezTo>
                  <a:pt x="424567" y="1398460"/>
                  <a:pt x="426389" y="1407571"/>
                  <a:pt x="431856" y="1402104"/>
                </a:cubicBezTo>
                <a:cubicBezTo>
                  <a:pt x="428211" y="1400282"/>
                  <a:pt x="422745" y="1398460"/>
                  <a:pt x="420923" y="1394815"/>
                </a:cubicBezTo>
                <a:cubicBezTo>
                  <a:pt x="422745" y="1392993"/>
                  <a:pt x="426389" y="1394815"/>
                  <a:pt x="428211" y="1398460"/>
                </a:cubicBezTo>
                <a:cubicBezTo>
                  <a:pt x="428211" y="1394815"/>
                  <a:pt x="430034" y="1394815"/>
                  <a:pt x="431856" y="1392993"/>
                </a:cubicBezTo>
                <a:cubicBezTo>
                  <a:pt x="430034" y="1394815"/>
                  <a:pt x="431856" y="1396638"/>
                  <a:pt x="431856" y="1396638"/>
                </a:cubicBezTo>
                <a:cubicBezTo>
                  <a:pt x="442789" y="1387527"/>
                  <a:pt x="455544" y="1376594"/>
                  <a:pt x="459188" y="1363838"/>
                </a:cubicBezTo>
                <a:cubicBezTo>
                  <a:pt x="459188" y="1362016"/>
                  <a:pt x="451899" y="1360194"/>
                  <a:pt x="451899" y="1360194"/>
                </a:cubicBezTo>
                <a:cubicBezTo>
                  <a:pt x="450077" y="1363838"/>
                  <a:pt x="446433" y="1367483"/>
                  <a:pt x="442789" y="1371127"/>
                </a:cubicBezTo>
                <a:cubicBezTo>
                  <a:pt x="435500" y="1362016"/>
                  <a:pt x="428211" y="1369305"/>
                  <a:pt x="419100" y="1372949"/>
                </a:cubicBezTo>
                <a:cubicBezTo>
                  <a:pt x="426389" y="1362016"/>
                  <a:pt x="440966" y="1365661"/>
                  <a:pt x="448256" y="1356550"/>
                </a:cubicBezTo>
                <a:close/>
                <a:moveTo>
                  <a:pt x="815309" y="1356151"/>
                </a:moveTo>
                <a:lnTo>
                  <a:pt x="818301" y="1356407"/>
                </a:lnTo>
                <a:lnTo>
                  <a:pt x="816334" y="1358372"/>
                </a:lnTo>
                <a:lnTo>
                  <a:pt x="815328" y="1356359"/>
                </a:lnTo>
                <a:close/>
                <a:moveTo>
                  <a:pt x="763491" y="1354728"/>
                </a:moveTo>
                <a:cubicBezTo>
                  <a:pt x="763491" y="1354728"/>
                  <a:pt x="756203" y="1363838"/>
                  <a:pt x="765313" y="1356550"/>
                </a:cubicBezTo>
                <a:cubicBezTo>
                  <a:pt x="765313" y="1356550"/>
                  <a:pt x="763491" y="1354728"/>
                  <a:pt x="763491" y="1354728"/>
                </a:cubicBezTo>
                <a:close/>
                <a:moveTo>
                  <a:pt x="727048" y="1354728"/>
                </a:moveTo>
                <a:cubicBezTo>
                  <a:pt x="727048" y="1362016"/>
                  <a:pt x="730692" y="1367483"/>
                  <a:pt x="737981" y="1365661"/>
                </a:cubicBezTo>
                <a:cubicBezTo>
                  <a:pt x="734336" y="1363838"/>
                  <a:pt x="730692" y="1356550"/>
                  <a:pt x="727048" y="1354728"/>
                </a:cubicBezTo>
                <a:close/>
                <a:moveTo>
                  <a:pt x="594030" y="1354728"/>
                </a:moveTo>
                <a:cubicBezTo>
                  <a:pt x="592207" y="1356550"/>
                  <a:pt x="597673" y="1360194"/>
                  <a:pt x="597673" y="1358372"/>
                </a:cubicBezTo>
                <a:cubicBezTo>
                  <a:pt x="597673" y="1358372"/>
                  <a:pt x="595852" y="1354728"/>
                  <a:pt x="594030" y="1354728"/>
                </a:cubicBezTo>
                <a:close/>
                <a:moveTo>
                  <a:pt x="557586" y="1354728"/>
                </a:moveTo>
                <a:cubicBezTo>
                  <a:pt x="557586" y="1356550"/>
                  <a:pt x="561230" y="1363838"/>
                  <a:pt x="563052" y="1360194"/>
                </a:cubicBezTo>
                <a:cubicBezTo>
                  <a:pt x="561230" y="1358372"/>
                  <a:pt x="559408" y="1356550"/>
                  <a:pt x="557586" y="1354728"/>
                </a:cubicBezTo>
                <a:close/>
                <a:moveTo>
                  <a:pt x="3411110" y="1352905"/>
                </a:moveTo>
                <a:cubicBezTo>
                  <a:pt x="3409288" y="1356550"/>
                  <a:pt x="3409288" y="1358372"/>
                  <a:pt x="3411110" y="1362016"/>
                </a:cubicBezTo>
                <a:cubicBezTo>
                  <a:pt x="3412932" y="1360194"/>
                  <a:pt x="3412932" y="1356550"/>
                  <a:pt x="3414754" y="1352905"/>
                </a:cubicBezTo>
                <a:cubicBezTo>
                  <a:pt x="3412932" y="1352905"/>
                  <a:pt x="3412932" y="1352905"/>
                  <a:pt x="3411110" y="1352905"/>
                </a:cubicBezTo>
                <a:close/>
                <a:moveTo>
                  <a:pt x="3403821" y="1352905"/>
                </a:moveTo>
                <a:cubicBezTo>
                  <a:pt x="3403821" y="1352905"/>
                  <a:pt x="3401999" y="1354728"/>
                  <a:pt x="3400177" y="1354728"/>
                </a:cubicBezTo>
                <a:cubicBezTo>
                  <a:pt x="3401999" y="1356550"/>
                  <a:pt x="3400177" y="1365661"/>
                  <a:pt x="3407466" y="1363838"/>
                </a:cubicBezTo>
                <a:cubicBezTo>
                  <a:pt x="3407466" y="1358372"/>
                  <a:pt x="3405643" y="1354728"/>
                  <a:pt x="3403821" y="1352905"/>
                </a:cubicBezTo>
                <a:close/>
                <a:moveTo>
                  <a:pt x="3360089" y="1352905"/>
                </a:moveTo>
                <a:cubicBezTo>
                  <a:pt x="3360089" y="1365661"/>
                  <a:pt x="3356445" y="1372949"/>
                  <a:pt x="3343690" y="1376594"/>
                </a:cubicBezTo>
                <a:cubicBezTo>
                  <a:pt x="3347334" y="1371127"/>
                  <a:pt x="3358267" y="1367483"/>
                  <a:pt x="3349156" y="1360194"/>
                </a:cubicBezTo>
                <a:cubicBezTo>
                  <a:pt x="3345512" y="1358372"/>
                  <a:pt x="3345512" y="1371127"/>
                  <a:pt x="3338223" y="1365661"/>
                </a:cubicBezTo>
                <a:cubicBezTo>
                  <a:pt x="3338223" y="1363838"/>
                  <a:pt x="3338223" y="1362016"/>
                  <a:pt x="3338223" y="1360194"/>
                </a:cubicBezTo>
                <a:cubicBezTo>
                  <a:pt x="3334579" y="1365661"/>
                  <a:pt x="3334579" y="1371127"/>
                  <a:pt x="3327290" y="1372949"/>
                </a:cubicBezTo>
                <a:cubicBezTo>
                  <a:pt x="3327290" y="1369305"/>
                  <a:pt x="3327290" y="1365661"/>
                  <a:pt x="3329112" y="1362016"/>
                </a:cubicBezTo>
                <a:cubicBezTo>
                  <a:pt x="3327290" y="1363838"/>
                  <a:pt x="3327290" y="1363838"/>
                  <a:pt x="3325468" y="1365661"/>
                </a:cubicBezTo>
                <a:cubicBezTo>
                  <a:pt x="3320001" y="1356550"/>
                  <a:pt x="3330934" y="1365661"/>
                  <a:pt x="3327290" y="1358372"/>
                </a:cubicBezTo>
                <a:cubicBezTo>
                  <a:pt x="3325468" y="1355639"/>
                  <a:pt x="3321368" y="1354728"/>
                  <a:pt x="3317724" y="1355411"/>
                </a:cubicBezTo>
                <a:lnTo>
                  <a:pt x="3312655" y="1360310"/>
                </a:lnTo>
                <a:lnTo>
                  <a:pt x="3312713" y="1360194"/>
                </a:lnTo>
                <a:cubicBezTo>
                  <a:pt x="3312713" y="1362016"/>
                  <a:pt x="3310890" y="1362016"/>
                  <a:pt x="3310890" y="1362016"/>
                </a:cubicBezTo>
                <a:lnTo>
                  <a:pt x="3312655" y="1360310"/>
                </a:lnTo>
                <a:lnTo>
                  <a:pt x="3310890" y="1363838"/>
                </a:lnTo>
                <a:cubicBezTo>
                  <a:pt x="3309068" y="1363838"/>
                  <a:pt x="3309068" y="1360194"/>
                  <a:pt x="3307246" y="1362016"/>
                </a:cubicBezTo>
                <a:cubicBezTo>
                  <a:pt x="3303602" y="1367483"/>
                  <a:pt x="3310890" y="1378416"/>
                  <a:pt x="3305424" y="1380238"/>
                </a:cubicBezTo>
                <a:cubicBezTo>
                  <a:pt x="3299957" y="1383882"/>
                  <a:pt x="3296313" y="1374771"/>
                  <a:pt x="3289024" y="1376594"/>
                </a:cubicBezTo>
                <a:cubicBezTo>
                  <a:pt x="3289024" y="1380238"/>
                  <a:pt x="3285380" y="1383882"/>
                  <a:pt x="3287202" y="1387527"/>
                </a:cubicBezTo>
                <a:cubicBezTo>
                  <a:pt x="3285380" y="1385705"/>
                  <a:pt x="3285380" y="1380238"/>
                  <a:pt x="3279913" y="1383882"/>
                </a:cubicBezTo>
                <a:cubicBezTo>
                  <a:pt x="3279913" y="1380238"/>
                  <a:pt x="3276269" y="1376594"/>
                  <a:pt x="3278091" y="1374771"/>
                </a:cubicBezTo>
                <a:cubicBezTo>
                  <a:pt x="3274447" y="1376594"/>
                  <a:pt x="3267158" y="1378416"/>
                  <a:pt x="3267158" y="1382060"/>
                </a:cubicBezTo>
                <a:cubicBezTo>
                  <a:pt x="3267158" y="1392993"/>
                  <a:pt x="3268980" y="1413037"/>
                  <a:pt x="3281736" y="1414859"/>
                </a:cubicBezTo>
                <a:cubicBezTo>
                  <a:pt x="3283558" y="1420326"/>
                  <a:pt x="3279913" y="1425792"/>
                  <a:pt x="3283558" y="1433081"/>
                </a:cubicBezTo>
                <a:cubicBezTo>
                  <a:pt x="3279913" y="1433081"/>
                  <a:pt x="3278091" y="1431259"/>
                  <a:pt x="3278091" y="1427615"/>
                </a:cubicBezTo>
                <a:cubicBezTo>
                  <a:pt x="3272625" y="1431259"/>
                  <a:pt x="3281736" y="1436725"/>
                  <a:pt x="3281736" y="1438548"/>
                </a:cubicBezTo>
                <a:cubicBezTo>
                  <a:pt x="3283558" y="1442192"/>
                  <a:pt x="3278091" y="1438548"/>
                  <a:pt x="3276269" y="1440370"/>
                </a:cubicBezTo>
                <a:cubicBezTo>
                  <a:pt x="3274447" y="1447658"/>
                  <a:pt x="3281736" y="1451303"/>
                  <a:pt x="3287202" y="1449481"/>
                </a:cubicBezTo>
                <a:cubicBezTo>
                  <a:pt x="3292669" y="1447658"/>
                  <a:pt x="3292669" y="1442192"/>
                  <a:pt x="3294491" y="1438548"/>
                </a:cubicBezTo>
                <a:cubicBezTo>
                  <a:pt x="3294491" y="1434903"/>
                  <a:pt x="3294491" y="1433081"/>
                  <a:pt x="3290847" y="1431259"/>
                </a:cubicBezTo>
                <a:cubicBezTo>
                  <a:pt x="3292669" y="1428526"/>
                  <a:pt x="3294036" y="1428981"/>
                  <a:pt x="3295402" y="1430120"/>
                </a:cubicBezTo>
                <a:lnTo>
                  <a:pt x="3299946" y="1433073"/>
                </a:lnTo>
                <a:lnTo>
                  <a:pt x="3298135" y="1427641"/>
                </a:lnTo>
                <a:cubicBezTo>
                  <a:pt x="3299957" y="1425819"/>
                  <a:pt x="3303602" y="1425819"/>
                  <a:pt x="3305424" y="1425819"/>
                </a:cubicBezTo>
                <a:cubicBezTo>
                  <a:pt x="3303602" y="1427641"/>
                  <a:pt x="3301779" y="1429464"/>
                  <a:pt x="3299957" y="1433108"/>
                </a:cubicBezTo>
                <a:lnTo>
                  <a:pt x="3299957" y="1434903"/>
                </a:lnTo>
                <a:cubicBezTo>
                  <a:pt x="3301780" y="1442192"/>
                  <a:pt x="3305424" y="1451303"/>
                  <a:pt x="3312713" y="1449481"/>
                </a:cubicBezTo>
                <a:cubicBezTo>
                  <a:pt x="3320001" y="1447658"/>
                  <a:pt x="3323646" y="1442192"/>
                  <a:pt x="3325468" y="1434903"/>
                </a:cubicBezTo>
                <a:cubicBezTo>
                  <a:pt x="3325468" y="1438548"/>
                  <a:pt x="3327290" y="1442192"/>
                  <a:pt x="3327290" y="1445836"/>
                </a:cubicBezTo>
                <a:cubicBezTo>
                  <a:pt x="3330934" y="1440370"/>
                  <a:pt x="3329112" y="1433081"/>
                  <a:pt x="3336401" y="1431259"/>
                </a:cubicBezTo>
                <a:cubicBezTo>
                  <a:pt x="3340045" y="1431259"/>
                  <a:pt x="3340045" y="1436725"/>
                  <a:pt x="3340045" y="1438548"/>
                </a:cubicBezTo>
                <a:cubicBezTo>
                  <a:pt x="3340045" y="1438548"/>
                  <a:pt x="3341867" y="1436725"/>
                  <a:pt x="3343690" y="1434903"/>
                </a:cubicBezTo>
                <a:cubicBezTo>
                  <a:pt x="3345512" y="1434903"/>
                  <a:pt x="3345512" y="1438548"/>
                  <a:pt x="3345512" y="1440370"/>
                </a:cubicBezTo>
                <a:cubicBezTo>
                  <a:pt x="3347334" y="1438548"/>
                  <a:pt x="3349156" y="1436725"/>
                  <a:pt x="3349156" y="1429437"/>
                </a:cubicBezTo>
                <a:cubicBezTo>
                  <a:pt x="3347334" y="1429437"/>
                  <a:pt x="3347334" y="1431259"/>
                  <a:pt x="3345512" y="1433081"/>
                </a:cubicBezTo>
                <a:cubicBezTo>
                  <a:pt x="3345512" y="1427615"/>
                  <a:pt x="3343690" y="1423970"/>
                  <a:pt x="3340045" y="1425792"/>
                </a:cubicBezTo>
                <a:cubicBezTo>
                  <a:pt x="3340045" y="1418504"/>
                  <a:pt x="3338223" y="1413037"/>
                  <a:pt x="3332756" y="1414859"/>
                </a:cubicBezTo>
                <a:cubicBezTo>
                  <a:pt x="3330934" y="1416681"/>
                  <a:pt x="3330934" y="1420326"/>
                  <a:pt x="3329112" y="1422148"/>
                </a:cubicBezTo>
                <a:cubicBezTo>
                  <a:pt x="3329112" y="1414859"/>
                  <a:pt x="3329112" y="1409393"/>
                  <a:pt x="3329112" y="1403926"/>
                </a:cubicBezTo>
                <a:cubicBezTo>
                  <a:pt x="3329112" y="1398460"/>
                  <a:pt x="3330934" y="1396638"/>
                  <a:pt x="3330934" y="1392993"/>
                </a:cubicBezTo>
                <a:cubicBezTo>
                  <a:pt x="3332756" y="1389349"/>
                  <a:pt x="3334579" y="1389349"/>
                  <a:pt x="3336401" y="1387527"/>
                </a:cubicBezTo>
                <a:cubicBezTo>
                  <a:pt x="3338223" y="1385705"/>
                  <a:pt x="3332756" y="1380238"/>
                  <a:pt x="3336401" y="1378416"/>
                </a:cubicBezTo>
                <a:cubicBezTo>
                  <a:pt x="3340045" y="1378416"/>
                  <a:pt x="3341867" y="1378416"/>
                  <a:pt x="3343690" y="1376594"/>
                </a:cubicBezTo>
                <a:cubicBezTo>
                  <a:pt x="3343690" y="1385705"/>
                  <a:pt x="3334579" y="1389349"/>
                  <a:pt x="3334579" y="1398460"/>
                </a:cubicBezTo>
                <a:cubicBezTo>
                  <a:pt x="3336401" y="1392993"/>
                  <a:pt x="3338223" y="1391171"/>
                  <a:pt x="3345512" y="1389349"/>
                </a:cubicBezTo>
                <a:cubicBezTo>
                  <a:pt x="3345512" y="1394815"/>
                  <a:pt x="3341867" y="1405748"/>
                  <a:pt x="3347334" y="1400282"/>
                </a:cubicBezTo>
                <a:cubicBezTo>
                  <a:pt x="3352800" y="1394815"/>
                  <a:pt x="3354623" y="1385705"/>
                  <a:pt x="3354623" y="1374771"/>
                </a:cubicBezTo>
                <a:cubicBezTo>
                  <a:pt x="3354623" y="1374771"/>
                  <a:pt x="3358267" y="1378416"/>
                  <a:pt x="3360089" y="1376594"/>
                </a:cubicBezTo>
                <a:cubicBezTo>
                  <a:pt x="3363734" y="1371127"/>
                  <a:pt x="3363734" y="1365661"/>
                  <a:pt x="3361911" y="1358372"/>
                </a:cubicBezTo>
                <a:cubicBezTo>
                  <a:pt x="3371022" y="1362016"/>
                  <a:pt x="3369200" y="1371127"/>
                  <a:pt x="3369200" y="1378416"/>
                </a:cubicBezTo>
                <a:cubicBezTo>
                  <a:pt x="3372844" y="1376594"/>
                  <a:pt x="3374666" y="1372949"/>
                  <a:pt x="3376489" y="1369305"/>
                </a:cubicBezTo>
                <a:cubicBezTo>
                  <a:pt x="3378311" y="1371127"/>
                  <a:pt x="3380133" y="1372949"/>
                  <a:pt x="3381955" y="1374771"/>
                </a:cubicBezTo>
                <a:cubicBezTo>
                  <a:pt x="3385600" y="1369305"/>
                  <a:pt x="3380133" y="1362016"/>
                  <a:pt x="3376489" y="1360194"/>
                </a:cubicBezTo>
                <a:cubicBezTo>
                  <a:pt x="3371022" y="1356550"/>
                  <a:pt x="3365556" y="1356550"/>
                  <a:pt x="3360089" y="1352905"/>
                </a:cubicBezTo>
                <a:close/>
                <a:moveTo>
                  <a:pt x="3349156" y="1352905"/>
                </a:moveTo>
                <a:cubicBezTo>
                  <a:pt x="3347334" y="1358372"/>
                  <a:pt x="3350978" y="1356550"/>
                  <a:pt x="3350978" y="1360194"/>
                </a:cubicBezTo>
                <a:cubicBezTo>
                  <a:pt x="3354623" y="1360194"/>
                  <a:pt x="3350978" y="1352905"/>
                  <a:pt x="3354623" y="1354728"/>
                </a:cubicBezTo>
                <a:cubicBezTo>
                  <a:pt x="3354623" y="1352905"/>
                  <a:pt x="3352800" y="1351083"/>
                  <a:pt x="3349156" y="1352905"/>
                </a:cubicBezTo>
                <a:close/>
                <a:moveTo>
                  <a:pt x="830912" y="1352905"/>
                </a:moveTo>
                <a:cubicBezTo>
                  <a:pt x="830912" y="1352905"/>
                  <a:pt x="829089" y="1352905"/>
                  <a:pt x="827267" y="1354728"/>
                </a:cubicBezTo>
                <a:cubicBezTo>
                  <a:pt x="827267" y="1354728"/>
                  <a:pt x="829089" y="1356550"/>
                  <a:pt x="829089" y="1356550"/>
                </a:cubicBezTo>
                <a:cubicBezTo>
                  <a:pt x="830912" y="1356550"/>
                  <a:pt x="829089" y="1354728"/>
                  <a:pt x="830912" y="1352905"/>
                </a:cubicBezTo>
                <a:close/>
                <a:moveTo>
                  <a:pt x="810868" y="1352905"/>
                </a:moveTo>
                <a:cubicBezTo>
                  <a:pt x="809046" y="1352905"/>
                  <a:pt x="810868" y="1354728"/>
                  <a:pt x="809046" y="1356550"/>
                </a:cubicBezTo>
                <a:cubicBezTo>
                  <a:pt x="809046" y="1358372"/>
                  <a:pt x="810868" y="1360194"/>
                  <a:pt x="812690" y="1358372"/>
                </a:cubicBezTo>
                <a:cubicBezTo>
                  <a:pt x="810868" y="1356550"/>
                  <a:pt x="812690" y="1354728"/>
                  <a:pt x="810868" y="1352905"/>
                </a:cubicBezTo>
                <a:close/>
                <a:moveTo>
                  <a:pt x="628650" y="1352905"/>
                </a:moveTo>
                <a:cubicBezTo>
                  <a:pt x="626828" y="1354728"/>
                  <a:pt x="626828" y="1356550"/>
                  <a:pt x="628650" y="1358372"/>
                </a:cubicBezTo>
                <a:cubicBezTo>
                  <a:pt x="630472" y="1356550"/>
                  <a:pt x="630472" y="1356550"/>
                  <a:pt x="630472" y="1354728"/>
                </a:cubicBezTo>
                <a:cubicBezTo>
                  <a:pt x="630472" y="1352905"/>
                  <a:pt x="628650" y="1352905"/>
                  <a:pt x="628650" y="1352905"/>
                </a:cubicBezTo>
                <a:close/>
                <a:moveTo>
                  <a:pt x="548475" y="1352905"/>
                </a:moveTo>
                <a:cubicBezTo>
                  <a:pt x="544830" y="1352905"/>
                  <a:pt x="544830" y="1354728"/>
                  <a:pt x="544830" y="1358372"/>
                </a:cubicBezTo>
                <a:cubicBezTo>
                  <a:pt x="546653" y="1360194"/>
                  <a:pt x="546653" y="1360194"/>
                  <a:pt x="548475" y="1360194"/>
                </a:cubicBezTo>
                <a:cubicBezTo>
                  <a:pt x="550297" y="1356550"/>
                  <a:pt x="550297" y="1354728"/>
                  <a:pt x="548475" y="1352905"/>
                </a:cubicBezTo>
                <a:close/>
                <a:moveTo>
                  <a:pt x="371724" y="1352905"/>
                </a:moveTo>
                <a:lnTo>
                  <a:pt x="371992" y="1353423"/>
                </a:lnTo>
                <a:lnTo>
                  <a:pt x="370423" y="1353946"/>
                </a:lnTo>
                <a:close/>
                <a:moveTo>
                  <a:pt x="3093779" y="1352450"/>
                </a:moveTo>
                <a:lnTo>
                  <a:pt x="3094052" y="1352905"/>
                </a:lnTo>
                <a:lnTo>
                  <a:pt x="3093645" y="1353118"/>
                </a:lnTo>
                <a:close/>
                <a:moveTo>
                  <a:pt x="3168761" y="1351083"/>
                </a:moveTo>
                <a:cubicBezTo>
                  <a:pt x="3163294" y="1349261"/>
                  <a:pt x="3165116" y="1356550"/>
                  <a:pt x="3166939" y="1358372"/>
                </a:cubicBezTo>
                <a:cubicBezTo>
                  <a:pt x="3172405" y="1358372"/>
                  <a:pt x="3170583" y="1351083"/>
                  <a:pt x="3168761" y="1351083"/>
                </a:cubicBezTo>
                <a:close/>
                <a:moveTo>
                  <a:pt x="1027707" y="1351083"/>
                </a:moveTo>
                <a:cubicBezTo>
                  <a:pt x="1033172" y="1355639"/>
                  <a:pt x="1037272" y="1362016"/>
                  <a:pt x="1042056" y="1367711"/>
                </a:cubicBezTo>
                <a:lnTo>
                  <a:pt x="1059947" y="1379859"/>
                </a:lnTo>
                <a:lnTo>
                  <a:pt x="1058683" y="1380238"/>
                </a:lnTo>
                <a:cubicBezTo>
                  <a:pt x="1060506" y="1382060"/>
                  <a:pt x="1064151" y="1383882"/>
                  <a:pt x="1065972" y="1383882"/>
                </a:cubicBezTo>
                <a:cubicBezTo>
                  <a:pt x="1065972" y="1383882"/>
                  <a:pt x="1065972" y="1382060"/>
                  <a:pt x="1064151" y="1380238"/>
                </a:cubicBezTo>
                <a:cubicBezTo>
                  <a:pt x="1071439" y="1387527"/>
                  <a:pt x="1080549" y="1387527"/>
                  <a:pt x="1086016" y="1385705"/>
                </a:cubicBezTo>
                <a:cubicBezTo>
                  <a:pt x="1081461" y="1382971"/>
                  <a:pt x="1076905" y="1378416"/>
                  <a:pt x="1072350" y="1376138"/>
                </a:cubicBezTo>
                <a:lnTo>
                  <a:pt x="1060392" y="1379725"/>
                </a:lnTo>
                <a:lnTo>
                  <a:pt x="1059139" y="1374088"/>
                </a:lnTo>
                <a:cubicBezTo>
                  <a:pt x="1057772" y="1372493"/>
                  <a:pt x="1055950" y="1371127"/>
                  <a:pt x="1055040" y="1369305"/>
                </a:cubicBezTo>
                <a:cubicBezTo>
                  <a:pt x="1060506" y="1369305"/>
                  <a:pt x="1060506" y="1372949"/>
                  <a:pt x="1062328" y="1376594"/>
                </a:cubicBezTo>
                <a:cubicBezTo>
                  <a:pt x="1064151" y="1376594"/>
                  <a:pt x="1067794" y="1376594"/>
                  <a:pt x="1069616" y="1374771"/>
                </a:cubicBezTo>
                <a:cubicBezTo>
                  <a:pt x="1060506" y="1365661"/>
                  <a:pt x="1051395" y="1362016"/>
                  <a:pt x="1042284" y="1354728"/>
                </a:cubicBezTo>
                <a:cubicBezTo>
                  <a:pt x="1034995" y="1358372"/>
                  <a:pt x="1034995" y="1345617"/>
                  <a:pt x="1027707" y="1351083"/>
                </a:cubicBezTo>
                <a:close/>
                <a:moveTo>
                  <a:pt x="863711" y="1351083"/>
                </a:moveTo>
                <a:cubicBezTo>
                  <a:pt x="865533" y="1354728"/>
                  <a:pt x="869177" y="1356550"/>
                  <a:pt x="871000" y="1360194"/>
                </a:cubicBezTo>
                <a:cubicBezTo>
                  <a:pt x="867355" y="1360194"/>
                  <a:pt x="867355" y="1360194"/>
                  <a:pt x="865533" y="1360194"/>
                </a:cubicBezTo>
                <a:lnTo>
                  <a:pt x="859208" y="1370612"/>
                </a:lnTo>
                <a:lnTo>
                  <a:pt x="859671" y="1362026"/>
                </a:lnTo>
                <a:lnTo>
                  <a:pt x="860066" y="1362016"/>
                </a:lnTo>
                <a:lnTo>
                  <a:pt x="859692" y="1361642"/>
                </a:lnTo>
                <a:lnTo>
                  <a:pt x="860066" y="1354728"/>
                </a:lnTo>
                <a:cubicBezTo>
                  <a:pt x="861889" y="1358372"/>
                  <a:pt x="860066" y="1358372"/>
                  <a:pt x="856422" y="1358372"/>
                </a:cubicBezTo>
                <a:lnTo>
                  <a:pt x="859692" y="1361642"/>
                </a:lnTo>
                <a:lnTo>
                  <a:pt x="859671" y="1362026"/>
                </a:lnTo>
                <a:lnTo>
                  <a:pt x="851183" y="1362244"/>
                </a:lnTo>
                <a:cubicBezTo>
                  <a:pt x="849134" y="1364294"/>
                  <a:pt x="847311" y="1367483"/>
                  <a:pt x="843667" y="1369305"/>
                </a:cubicBezTo>
                <a:cubicBezTo>
                  <a:pt x="838200" y="1372949"/>
                  <a:pt x="843667" y="1376594"/>
                  <a:pt x="843667" y="1378416"/>
                </a:cubicBezTo>
                <a:cubicBezTo>
                  <a:pt x="845489" y="1378416"/>
                  <a:pt x="841845" y="1374771"/>
                  <a:pt x="845489" y="1374771"/>
                </a:cubicBezTo>
                <a:cubicBezTo>
                  <a:pt x="845489" y="1376594"/>
                  <a:pt x="847311" y="1378416"/>
                  <a:pt x="847311" y="1380238"/>
                </a:cubicBezTo>
                <a:cubicBezTo>
                  <a:pt x="849133" y="1387527"/>
                  <a:pt x="850956" y="1382060"/>
                  <a:pt x="854600" y="1380238"/>
                </a:cubicBezTo>
                <a:cubicBezTo>
                  <a:pt x="854600" y="1383882"/>
                  <a:pt x="852778" y="1383882"/>
                  <a:pt x="850956" y="1385705"/>
                </a:cubicBezTo>
                <a:cubicBezTo>
                  <a:pt x="853689" y="1386616"/>
                  <a:pt x="855055" y="1384338"/>
                  <a:pt x="856422" y="1382288"/>
                </a:cubicBezTo>
                <a:lnTo>
                  <a:pt x="860657" y="1380700"/>
                </a:lnTo>
                <a:lnTo>
                  <a:pt x="863027" y="1375050"/>
                </a:lnTo>
                <a:cubicBezTo>
                  <a:pt x="863255" y="1373455"/>
                  <a:pt x="863710" y="1372088"/>
                  <a:pt x="867355" y="1369355"/>
                </a:cubicBezTo>
                <a:lnTo>
                  <a:pt x="860930" y="1380598"/>
                </a:lnTo>
                <a:lnTo>
                  <a:pt x="861889" y="1380238"/>
                </a:lnTo>
                <a:cubicBezTo>
                  <a:pt x="860066" y="1382060"/>
                  <a:pt x="860066" y="1383882"/>
                  <a:pt x="860066" y="1385705"/>
                </a:cubicBezTo>
                <a:cubicBezTo>
                  <a:pt x="860066" y="1389349"/>
                  <a:pt x="869177" y="1382060"/>
                  <a:pt x="874644" y="1385705"/>
                </a:cubicBezTo>
                <a:cubicBezTo>
                  <a:pt x="869177" y="1387527"/>
                  <a:pt x="861889" y="1389349"/>
                  <a:pt x="856422" y="1391171"/>
                </a:cubicBezTo>
                <a:cubicBezTo>
                  <a:pt x="865533" y="1394815"/>
                  <a:pt x="867355" y="1398460"/>
                  <a:pt x="874644" y="1394815"/>
                </a:cubicBezTo>
                <a:lnTo>
                  <a:pt x="872822" y="1392993"/>
                </a:lnTo>
                <a:lnTo>
                  <a:pt x="888428" y="1386057"/>
                </a:lnTo>
                <a:lnTo>
                  <a:pt x="888780" y="1386274"/>
                </a:lnTo>
                <a:lnTo>
                  <a:pt x="882160" y="1394815"/>
                </a:lnTo>
                <a:cubicBezTo>
                  <a:pt x="877832" y="1395727"/>
                  <a:pt x="872821" y="1395727"/>
                  <a:pt x="871000" y="1398460"/>
                </a:cubicBezTo>
                <a:cubicBezTo>
                  <a:pt x="869177" y="1402104"/>
                  <a:pt x="874644" y="1402104"/>
                  <a:pt x="878288" y="1402104"/>
                </a:cubicBezTo>
                <a:cubicBezTo>
                  <a:pt x="874644" y="1402104"/>
                  <a:pt x="872822" y="1403926"/>
                  <a:pt x="869177" y="1403926"/>
                </a:cubicBezTo>
                <a:cubicBezTo>
                  <a:pt x="885577" y="1414859"/>
                  <a:pt x="905621" y="1416681"/>
                  <a:pt x="922020" y="1425792"/>
                </a:cubicBezTo>
                <a:cubicBezTo>
                  <a:pt x="914732" y="1418504"/>
                  <a:pt x="903799" y="1414859"/>
                  <a:pt x="894688" y="1409393"/>
                </a:cubicBezTo>
                <a:cubicBezTo>
                  <a:pt x="898333" y="1407571"/>
                  <a:pt x="903799" y="1414859"/>
                  <a:pt x="905621" y="1413037"/>
                </a:cubicBezTo>
                <a:cubicBezTo>
                  <a:pt x="909265" y="1409393"/>
                  <a:pt x="900154" y="1403926"/>
                  <a:pt x="900154" y="1396638"/>
                </a:cubicBezTo>
                <a:cubicBezTo>
                  <a:pt x="898333" y="1398460"/>
                  <a:pt x="896510" y="1400282"/>
                  <a:pt x="894688" y="1402104"/>
                </a:cubicBezTo>
                <a:cubicBezTo>
                  <a:pt x="897421" y="1397549"/>
                  <a:pt x="896510" y="1392993"/>
                  <a:pt x="893776" y="1389349"/>
                </a:cubicBezTo>
                <a:lnTo>
                  <a:pt x="888780" y="1386274"/>
                </a:lnTo>
                <a:lnTo>
                  <a:pt x="889222" y="1385705"/>
                </a:lnTo>
                <a:lnTo>
                  <a:pt x="888428" y="1386057"/>
                </a:lnTo>
                <a:lnTo>
                  <a:pt x="881933" y="1382060"/>
                </a:lnTo>
                <a:cubicBezTo>
                  <a:pt x="880111" y="1383882"/>
                  <a:pt x="878288" y="1385705"/>
                  <a:pt x="874644" y="1385705"/>
                </a:cubicBezTo>
                <a:cubicBezTo>
                  <a:pt x="876466" y="1383882"/>
                  <a:pt x="878288" y="1382060"/>
                  <a:pt x="880111" y="1380238"/>
                </a:cubicBezTo>
                <a:cubicBezTo>
                  <a:pt x="880111" y="1378416"/>
                  <a:pt x="880111" y="1378416"/>
                  <a:pt x="880111" y="1378416"/>
                </a:cubicBezTo>
                <a:cubicBezTo>
                  <a:pt x="883755" y="1380238"/>
                  <a:pt x="889222" y="1378416"/>
                  <a:pt x="891043" y="1374771"/>
                </a:cubicBezTo>
                <a:cubicBezTo>
                  <a:pt x="889222" y="1371127"/>
                  <a:pt x="885577" y="1371127"/>
                  <a:pt x="881933" y="1369305"/>
                </a:cubicBezTo>
                <a:cubicBezTo>
                  <a:pt x="889222" y="1369305"/>
                  <a:pt x="889222" y="1371127"/>
                  <a:pt x="892866" y="1363838"/>
                </a:cubicBezTo>
                <a:cubicBezTo>
                  <a:pt x="894688" y="1363838"/>
                  <a:pt x="892866" y="1365661"/>
                  <a:pt x="894688" y="1367483"/>
                </a:cubicBezTo>
                <a:cubicBezTo>
                  <a:pt x="896510" y="1363838"/>
                  <a:pt x="898333" y="1358372"/>
                  <a:pt x="896510" y="1354728"/>
                </a:cubicBezTo>
                <a:cubicBezTo>
                  <a:pt x="894688" y="1354728"/>
                  <a:pt x="892866" y="1356550"/>
                  <a:pt x="894688" y="1358372"/>
                </a:cubicBezTo>
                <a:cubicBezTo>
                  <a:pt x="885577" y="1351083"/>
                  <a:pt x="874644" y="1352905"/>
                  <a:pt x="863711" y="1351083"/>
                </a:cubicBezTo>
                <a:close/>
                <a:moveTo>
                  <a:pt x="799935" y="1351083"/>
                </a:moveTo>
                <a:cubicBezTo>
                  <a:pt x="796290" y="1352905"/>
                  <a:pt x="790824" y="1352905"/>
                  <a:pt x="796290" y="1358372"/>
                </a:cubicBezTo>
                <a:cubicBezTo>
                  <a:pt x="798112" y="1356550"/>
                  <a:pt x="798112" y="1352905"/>
                  <a:pt x="799935" y="1351083"/>
                </a:cubicBezTo>
                <a:close/>
                <a:moveTo>
                  <a:pt x="581274" y="1351083"/>
                </a:moveTo>
                <a:cubicBezTo>
                  <a:pt x="581274" y="1352905"/>
                  <a:pt x="581274" y="1354728"/>
                  <a:pt x="583096" y="1356550"/>
                </a:cubicBezTo>
                <a:cubicBezTo>
                  <a:pt x="584919" y="1360194"/>
                  <a:pt x="586741" y="1363838"/>
                  <a:pt x="590385" y="1365661"/>
                </a:cubicBezTo>
                <a:cubicBezTo>
                  <a:pt x="588562" y="1369305"/>
                  <a:pt x="586741" y="1372949"/>
                  <a:pt x="592207" y="1374771"/>
                </a:cubicBezTo>
                <a:cubicBezTo>
                  <a:pt x="594030" y="1376594"/>
                  <a:pt x="595852" y="1369305"/>
                  <a:pt x="599496" y="1363838"/>
                </a:cubicBezTo>
                <a:cubicBezTo>
                  <a:pt x="597673" y="1363838"/>
                  <a:pt x="597673" y="1363838"/>
                  <a:pt x="594030" y="1363838"/>
                </a:cubicBezTo>
                <a:cubicBezTo>
                  <a:pt x="594030" y="1363838"/>
                  <a:pt x="594030" y="1363838"/>
                  <a:pt x="595852" y="1362016"/>
                </a:cubicBezTo>
                <a:cubicBezTo>
                  <a:pt x="590385" y="1356550"/>
                  <a:pt x="586741" y="1354728"/>
                  <a:pt x="581274" y="1351083"/>
                </a:cubicBezTo>
                <a:close/>
                <a:moveTo>
                  <a:pt x="502920" y="1351083"/>
                </a:moveTo>
                <a:cubicBezTo>
                  <a:pt x="502920" y="1349261"/>
                  <a:pt x="501098" y="1352905"/>
                  <a:pt x="499276" y="1352905"/>
                </a:cubicBezTo>
                <a:cubicBezTo>
                  <a:pt x="501098" y="1356550"/>
                  <a:pt x="502920" y="1352905"/>
                  <a:pt x="502920" y="1351083"/>
                </a:cubicBezTo>
                <a:close/>
                <a:moveTo>
                  <a:pt x="461010" y="1351083"/>
                </a:moveTo>
                <a:cubicBezTo>
                  <a:pt x="459188" y="1352905"/>
                  <a:pt x="457367" y="1354728"/>
                  <a:pt x="455544" y="1354728"/>
                </a:cubicBezTo>
                <a:cubicBezTo>
                  <a:pt x="457367" y="1354728"/>
                  <a:pt x="461010" y="1354728"/>
                  <a:pt x="462832" y="1352905"/>
                </a:cubicBezTo>
                <a:cubicBezTo>
                  <a:pt x="462832" y="1351083"/>
                  <a:pt x="461010" y="1352905"/>
                  <a:pt x="461010" y="1351083"/>
                </a:cubicBezTo>
                <a:close/>
                <a:moveTo>
                  <a:pt x="200439" y="1351083"/>
                </a:moveTo>
                <a:lnTo>
                  <a:pt x="233947" y="1358455"/>
                </a:lnTo>
                <a:lnTo>
                  <a:pt x="232783" y="1359055"/>
                </a:lnTo>
                <a:cubicBezTo>
                  <a:pt x="221394" y="1359738"/>
                  <a:pt x="209550" y="1356550"/>
                  <a:pt x="200439" y="1351083"/>
                </a:cubicBezTo>
                <a:close/>
                <a:moveTo>
                  <a:pt x="1135215" y="1349261"/>
                </a:moveTo>
                <a:lnTo>
                  <a:pt x="1136855" y="1350901"/>
                </a:lnTo>
                <a:lnTo>
                  <a:pt x="1136355" y="1350856"/>
                </a:lnTo>
                <a:cubicBezTo>
                  <a:pt x="1135670" y="1349717"/>
                  <a:pt x="1135215" y="1348350"/>
                  <a:pt x="1135215" y="1349261"/>
                </a:cubicBezTo>
                <a:close/>
                <a:moveTo>
                  <a:pt x="619539" y="1349261"/>
                </a:moveTo>
                <a:cubicBezTo>
                  <a:pt x="617717" y="1354728"/>
                  <a:pt x="608606" y="1356550"/>
                  <a:pt x="610429" y="1363838"/>
                </a:cubicBezTo>
                <a:cubicBezTo>
                  <a:pt x="612251" y="1363838"/>
                  <a:pt x="614074" y="1358372"/>
                  <a:pt x="614074" y="1356550"/>
                </a:cubicBezTo>
                <a:cubicBezTo>
                  <a:pt x="617717" y="1356550"/>
                  <a:pt x="619539" y="1356550"/>
                  <a:pt x="619539" y="1354728"/>
                </a:cubicBezTo>
                <a:cubicBezTo>
                  <a:pt x="619539" y="1356550"/>
                  <a:pt x="619539" y="1356550"/>
                  <a:pt x="621362" y="1356550"/>
                </a:cubicBezTo>
                <a:cubicBezTo>
                  <a:pt x="619539" y="1356550"/>
                  <a:pt x="615895" y="1356550"/>
                  <a:pt x="615895" y="1360194"/>
                </a:cubicBezTo>
                <a:cubicBezTo>
                  <a:pt x="617717" y="1363838"/>
                  <a:pt x="621362" y="1360194"/>
                  <a:pt x="625006" y="1358372"/>
                </a:cubicBezTo>
                <a:cubicBezTo>
                  <a:pt x="625006" y="1356550"/>
                  <a:pt x="621362" y="1356550"/>
                  <a:pt x="621362" y="1356550"/>
                </a:cubicBezTo>
                <a:cubicBezTo>
                  <a:pt x="623185" y="1354728"/>
                  <a:pt x="625006" y="1356550"/>
                  <a:pt x="626828" y="1354728"/>
                </a:cubicBezTo>
                <a:cubicBezTo>
                  <a:pt x="625006" y="1354728"/>
                  <a:pt x="625006" y="1352905"/>
                  <a:pt x="623185" y="1351083"/>
                </a:cubicBezTo>
                <a:cubicBezTo>
                  <a:pt x="621362" y="1351083"/>
                  <a:pt x="619539" y="1352905"/>
                  <a:pt x="619539" y="1354728"/>
                </a:cubicBezTo>
                <a:cubicBezTo>
                  <a:pt x="621362" y="1352905"/>
                  <a:pt x="619539" y="1351083"/>
                  <a:pt x="619539" y="1349261"/>
                </a:cubicBezTo>
                <a:close/>
                <a:moveTo>
                  <a:pt x="491987" y="1349261"/>
                </a:moveTo>
                <a:cubicBezTo>
                  <a:pt x="488343" y="1347439"/>
                  <a:pt x="484700" y="1351083"/>
                  <a:pt x="488343" y="1354728"/>
                </a:cubicBezTo>
                <a:cubicBezTo>
                  <a:pt x="490165" y="1352905"/>
                  <a:pt x="490165" y="1351083"/>
                  <a:pt x="491987" y="1349261"/>
                </a:cubicBezTo>
                <a:close/>
                <a:moveTo>
                  <a:pt x="1607158" y="1347520"/>
                </a:moveTo>
                <a:lnTo>
                  <a:pt x="1621735" y="1360276"/>
                </a:lnTo>
                <a:lnTo>
                  <a:pt x="1598046" y="1362098"/>
                </a:lnTo>
                <a:close/>
                <a:moveTo>
                  <a:pt x="1576180" y="1347520"/>
                </a:moveTo>
                <a:lnTo>
                  <a:pt x="1592580" y="1360276"/>
                </a:lnTo>
                <a:lnTo>
                  <a:pt x="1567069" y="1362098"/>
                </a:lnTo>
                <a:close/>
                <a:moveTo>
                  <a:pt x="3115918" y="1347439"/>
                </a:moveTo>
                <a:cubicBezTo>
                  <a:pt x="3110451" y="1345617"/>
                  <a:pt x="3108629" y="1352905"/>
                  <a:pt x="3114096" y="1354728"/>
                </a:cubicBezTo>
                <a:cubicBezTo>
                  <a:pt x="3117740" y="1354728"/>
                  <a:pt x="3115918" y="1349261"/>
                  <a:pt x="3115918" y="1347439"/>
                </a:cubicBezTo>
                <a:close/>
                <a:moveTo>
                  <a:pt x="3053964" y="1347439"/>
                </a:moveTo>
                <a:cubicBezTo>
                  <a:pt x="3048497" y="1347439"/>
                  <a:pt x="3052142" y="1358372"/>
                  <a:pt x="3050319" y="1363838"/>
                </a:cubicBezTo>
                <a:cubicBezTo>
                  <a:pt x="3053964" y="1363838"/>
                  <a:pt x="3055786" y="1363838"/>
                  <a:pt x="3057608" y="1363838"/>
                </a:cubicBezTo>
                <a:cubicBezTo>
                  <a:pt x="3055786" y="1356550"/>
                  <a:pt x="3053964" y="1352905"/>
                  <a:pt x="3053964" y="1347439"/>
                </a:cubicBezTo>
                <a:close/>
                <a:moveTo>
                  <a:pt x="659627" y="1347439"/>
                </a:moveTo>
                <a:cubicBezTo>
                  <a:pt x="657805" y="1351083"/>
                  <a:pt x="659627" y="1354728"/>
                  <a:pt x="663272" y="1354728"/>
                </a:cubicBezTo>
                <a:cubicBezTo>
                  <a:pt x="665094" y="1352905"/>
                  <a:pt x="663272" y="1351083"/>
                  <a:pt x="665094" y="1351083"/>
                </a:cubicBezTo>
                <a:cubicBezTo>
                  <a:pt x="663272" y="1347439"/>
                  <a:pt x="661449" y="1347439"/>
                  <a:pt x="659627" y="1347439"/>
                </a:cubicBezTo>
                <a:close/>
                <a:moveTo>
                  <a:pt x="608606" y="1347439"/>
                </a:moveTo>
                <a:cubicBezTo>
                  <a:pt x="604963" y="1351083"/>
                  <a:pt x="606784" y="1356550"/>
                  <a:pt x="608606" y="1360194"/>
                </a:cubicBezTo>
                <a:cubicBezTo>
                  <a:pt x="610429" y="1356550"/>
                  <a:pt x="610429" y="1351083"/>
                  <a:pt x="610429" y="1347439"/>
                </a:cubicBezTo>
                <a:cubicBezTo>
                  <a:pt x="608606" y="1347439"/>
                  <a:pt x="608606" y="1347439"/>
                  <a:pt x="608606" y="1347439"/>
                </a:cubicBezTo>
                <a:close/>
                <a:moveTo>
                  <a:pt x="508387" y="1347439"/>
                </a:moveTo>
                <a:cubicBezTo>
                  <a:pt x="508387" y="1351083"/>
                  <a:pt x="508387" y="1352905"/>
                  <a:pt x="508387" y="1356550"/>
                </a:cubicBezTo>
                <a:cubicBezTo>
                  <a:pt x="512031" y="1358372"/>
                  <a:pt x="513853" y="1349261"/>
                  <a:pt x="508387" y="1347439"/>
                </a:cubicBezTo>
                <a:close/>
                <a:moveTo>
                  <a:pt x="379012" y="1347439"/>
                </a:moveTo>
                <a:cubicBezTo>
                  <a:pt x="377190" y="1351083"/>
                  <a:pt x="377190" y="1349261"/>
                  <a:pt x="371724" y="1351083"/>
                </a:cubicBezTo>
                <a:cubicBezTo>
                  <a:pt x="375368" y="1354728"/>
                  <a:pt x="379012" y="1358372"/>
                  <a:pt x="384479" y="1354728"/>
                </a:cubicBezTo>
                <a:cubicBezTo>
                  <a:pt x="382657" y="1351083"/>
                  <a:pt x="377190" y="1352905"/>
                  <a:pt x="379012" y="1347439"/>
                </a:cubicBezTo>
                <a:close/>
                <a:moveTo>
                  <a:pt x="652795" y="1347211"/>
                </a:moveTo>
                <a:cubicBezTo>
                  <a:pt x="651884" y="1347439"/>
                  <a:pt x="650517" y="1348350"/>
                  <a:pt x="648694" y="1349261"/>
                </a:cubicBezTo>
                <a:cubicBezTo>
                  <a:pt x="652339" y="1352905"/>
                  <a:pt x="652339" y="1349261"/>
                  <a:pt x="654161" y="1349261"/>
                </a:cubicBezTo>
                <a:cubicBezTo>
                  <a:pt x="654161" y="1347439"/>
                  <a:pt x="653706" y="1346984"/>
                  <a:pt x="652795" y="1347211"/>
                </a:cubicBezTo>
                <a:close/>
                <a:moveTo>
                  <a:pt x="816790" y="1346983"/>
                </a:moveTo>
                <a:cubicBezTo>
                  <a:pt x="815878" y="1344706"/>
                  <a:pt x="814512" y="1343794"/>
                  <a:pt x="810868" y="1347439"/>
                </a:cubicBezTo>
                <a:lnTo>
                  <a:pt x="815328" y="1356359"/>
                </a:lnTo>
                <a:lnTo>
                  <a:pt x="815424" y="1357461"/>
                </a:lnTo>
                <a:cubicBezTo>
                  <a:pt x="816334" y="1358828"/>
                  <a:pt x="818156" y="1361105"/>
                  <a:pt x="816334" y="1363838"/>
                </a:cubicBezTo>
                <a:cubicBezTo>
                  <a:pt x="814512" y="1360194"/>
                  <a:pt x="810868" y="1358372"/>
                  <a:pt x="805401" y="1356550"/>
                </a:cubicBezTo>
                <a:cubicBezTo>
                  <a:pt x="803579" y="1362016"/>
                  <a:pt x="799935" y="1371127"/>
                  <a:pt x="807223" y="1372949"/>
                </a:cubicBezTo>
                <a:cubicBezTo>
                  <a:pt x="814512" y="1371127"/>
                  <a:pt x="829089" y="1358372"/>
                  <a:pt x="819979" y="1356550"/>
                </a:cubicBezTo>
                <a:lnTo>
                  <a:pt x="818301" y="1356407"/>
                </a:lnTo>
                <a:lnTo>
                  <a:pt x="819979" y="1354728"/>
                </a:lnTo>
                <a:cubicBezTo>
                  <a:pt x="818156" y="1352906"/>
                  <a:pt x="817701" y="1349261"/>
                  <a:pt x="816790" y="1346983"/>
                </a:cubicBezTo>
                <a:close/>
                <a:moveTo>
                  <a:pt x="742764" y="1346300"/>
                </a:moveTo>
                <a:cubicBezTo>
                  <a:pt x="738436" y="1347439"/>
                  <a:pt x="733425" y="1351084"/>
                  <a:pt x="728870" y="1354728"/>
                </a:cubicBezTo>
                <a:cubicBezTo>
                  <a:pt x="734336" y="1362016"/>
                  <a:pt x="739803" y="1363838"/>
                  <a:pt x="745269" y="1371127"/>
                </a:cubicBezTo>
                <a:cubicBezTo>
                  <a:pt x="747092" y="1365661"/>
                  <a:pt x="748914" y="1358372"/>
                  <a:pt x="752558" y="1352905"/>
                </a:cubicBezTo>
                <a:cubicBezTo>
                  <a:pt x="750737" y="1346528"/>
                  <a:pt x="747092" y="1345161"/>
                  <a:pt x="742764" y="1346300"/>
                </a:cubicBezTo>
                <a:close/>
                <a:moveTo>
                  <a:pt x="3431154" y="1345617"/>
                </a:moveTo>
                <a:cubicBezTo>
                  <a:pt x="3427510" y="1345617"/>
                  <a:pt x="3427510" y="1356550"/>
                  <a:pt x="3432976" y="1352905"/>
                </a:cubicBezTo>
                <a:cubicBezTo>
                  <a:pt x="3432976" y="1349261"/>
                  <a:pt x="3431154" y="1349261"/>
                  <a:pt x="3431154" y="1345617"/>
                </a:cubicBezTo>
                <a:close/>
                <a:moveTo>
                  <a:pt x="821801" y="1345617"/>
                </a:moveTo>
                <a:cubicBezTo>
                  <a:pt x="825445" y="1351083"/>
                  <a:pt x="832734" y="1354728"/>
                  <a:pt x="834556" y="1347439"/>
                </a:cubicBezTo>
                <a:cubicBezTo>
                  <a:pt x="830912" y="1345617"/>
                  <a:pt x="827267" y="1345617"/>
                  <a:pt x="821801" y="1345617"/>
                </a:cubicBezTo>
                <a:close/>
                <a:moveTo>
                  <a:pt x="637761" y="1345617"/>
                </a:moveTo>
                <a:cubicBezTo>
                  <a:pt x="635939" y="1343795"/>
                  <a:pt x="630472" y="1349261"/>
                  <a:pt x="634117" y="1351083"/>
                </a:cubicBezTo>
                <a:cubicBezTo>
                  <a:pt x="635939" y="1349261"/>
                  <a:pt x="635939" y="1345617"/>
                  <a:pt x="637761" y="1345617"/>
                </a:cubicBezTo>
                <a:close/>
                <a:moveTo>
                  <a:pt x="482876" y="1345617"/>
                </a:moveTo>
                <a:cubicBezTo>
                  <a:pt x="475589" y="1347439"/>
                  <a:pt x="481054" y="1349261"/>
                  <a:pt x="482876" y="1351083"/>
                </a:cubicBezTo>
                <a:cubicBezTo>
                  <a:pt x="484700" y="1349261"/>
                  <a:pt x="482876" y="1347439"/>
                  <a:pt x="482876" y="1345617"/>
                </a:cubicBezTo>
                <a:close/>
                <a:moveTo>
                  <a:pt x="647783" y="1344478"/>
                </a:moveTo>
                <a:cubicBezTo>
                  <a:pt x="645961" y="1344250"/>
                  <a:pt x="644139" y="1344706"/>
                  <a:pt x="643228" y="1347439"/>
                </a:cubicBezTo>
                <a:cubicBezTo>
                  <a:pt x="635939" y="1351083"/>
                  <a:pt x="637761" y="1362016"/>
                  <a:pt x="645050" y="1365661"/>
                </a:cubicBezTo>
                <a:cubicBezTo>
                  <a:pt x="657805" y="1358372"/>
                  <a:pt x="648694" y="1352905"/>
                  <a:pt x="643228" y="1347439"/>
                </a:cubicBezTo>
                <a:cubicBezTo>
                  <a:pt x="646872" y="1351083"/>
                  <a:pt x="650516" y="1349261"/>
                  <a:pt x="652339" y="1345617"/>
                </a:cubicBezTo>
                <a:cubicBezTo>
                  <a:pt x="651427" y="1345617"/>
                  <a:pt x="649606" y="1344706"/>
                  <a:pt x="647783" y="1344478"/>
                </a:cubicBezTo>
                <a:close/>
                <a:moveTo>
                  <a:pt x="573985" y="1343795"/>
                </a:moveTo>
                <a:cubicBezTo>
                  <a:pt x="577630" y="1351083"/>
                  <a:pt x="563052" y="1343795"/>
                  <a:pt x="568519" y="1351083"/>
                </a:cubicBezTo>
                <a:cubicBezTo>
                  <a:pt x="564874" y="1349261"/>
                  <a:pt x="563052" y="1347439"/>
                  <a:pt x="559408" y="1352905"/>
                </a:cubicBezTo>
                <a:cubicBezTo>
                  <a:pt x="568519" y="1360194"/>
                  <a:pt x="577630" y="1369305"/>
                  <a:pt x="586741" y="1374771"/>
                </a:cubicBezTo>
                <a:cubicBezTo>
                  <a:pt x="584919" y="1365661"/>
                  <a:pt x="579452" y="1358372"/>
                  <a:pt x="573985" y="1349261"/>
                </a:cubicBezTo>
                <a:cubicBezTo>
                  <a:pt x="573985" y="1352905"/>
                  <a:pt x="579452" y="1351083"/>
                  <a:pt x="581274" y="1354728"/>
                </a:cubicBezTo>
                <a:cubicBezTo>
                  <a:pt x="579452" y="1351083"/>
                  <a:pt x="581274" y="1345617"/>
                  <a:pt x="573985" y="1343795"/>
                </a:cubicBezTo>
                <a:close/>
                <a:moveTo>
                  <a:pt x="468299" y="1343795"/>
                </a:moveTo>
                <a:cubicBezTo>
                  <a:pt x="468299" y="1347439"/>
                  <a:pt x="459188" y="1349261"/>
                  <a:pt x="464655" y="1352905"/>
                </a:cubicBezTo>
                <a:cubicBezTo>
                  <a:pt x="466478" y="1351083"/>
                  <a:pt x="468299" y="1351083"/>
                  <a:pt x="471943" y="1347439"/>
                </a:cubicBezTo>
                <a:cubicBezTo>
                  <a:pt x="470121" y="1345617"/>
                  <a:pt x="470121" y="1343795"/>
                  <a:pt x="468299" y="1343795"/>
                </a:cubicBezTo>
                <a:close/>
                <a:moveTo>
                  <a:pt x="389946" y="1343795"/>
                </a:moveTo>
                <a:cubicBezTo>
                  <a:pt x="386301" y="1343795"/>
                  <a:pt x="384479" y="1347439"/>
                  <a:pt x="380835" y="1347439"/>
                </a:cubicBezTo>
                <a:cubicBezTo>
                  <a:pt x="389946" y="1356550"/>
                  <a:pt x="402701" y="1363838"/>
                  <a:pt x="411812" y="1356550"/>
                </a:cubicBezTo>
                <a:cubicBezTo>
                  <a:pt x="406345" y="1351083"/>
                  <a:pt x="399056" y="1347439"/>
                  <a:pt x="389946" y="1347439"/>
                </a:cubicBezTo>
                <a:cubicBezTo>
                  <a:pt x="389946" y="1349261"/>
                  <a:pt x="388123" y="1351083"/>
                  <a:pt x="386301" y="1349261"/>
                </a:cubicBezTo>
                <a:cubicBezTo>
                  <a:pt x="386301" y="1349261"/>
                  <a:pt x="388123" y="1345617"/>
                  <a:pt x="389946" y="1343795"/>
                </a:cubicBezTo>
                <a:close/>
                <a:moveTo>
                  <a:pt x="463516" y="1343795"/>
                </a:moveTo>
                <a:cubicBezTo>
                  <a:pt x="462833" y="1344250"/>
                  <a:pt x="461921" y="1344706"/>
                  <a:pt x="461010" y="1343795"/>
                </a:cubicBezTo>
                <a:cubicBezTo>
                  <a:pt x="461010" y="1345617"/>
                  <a:pt x="459188" y="1345617"/>
                  <a:pt x="461010" y="1347439"/>
                </a:cubicBezTo>
                <a:cubicBezTo>
                  <a:pt x="462832" y="1347439"/>
                  <a:pt x="462832" y="1345617"/>
                  <a:pt x="464655" y="1343795"/>
                </a:cubicBezTo>
                <a:cubicBezTo>
                  <a:pt x="464655" y="1342884"/>
                  <a:pt x="464200" y="1343339"/>
                  <a:pt x="463516" y="1343795"/>
                </a:cubicBezTo>
                <a:close/>
                <a:moveTo>
                  <a:pt x="1257817" y="1342489"/>
                </a:moveTo>
                <a:lnTo>
                  <a:pt x="1260945" y="1345617"/>
                </a:lnTo>
                <a:lnTo>
                  <a:pt x="1257606" y="1344504"/>
                </a:lnTo>
                <a:close/>
                <a:moveTo>
                  <a:pt x="3460107" y="1341972"/>
                </a:moveTo>
                <a:lnTo>
                  <a:pt x="3463042" y="1341972"/>
                </a:lnTo>
                <a:cubicBezTo>
                  <a:pt x="3462587" y="1343339"/>
                  <a:pt x="3462131" y="1344706"/>
                  <a:pt x="3460309" y="1343795"/>
                </a:cubicBezTo>
                <a:close/>
                <a:moveTo>
                  <a:pt x="785357" y="1341972"/>
                </a:moveTo>
                <a:cubicBezTo>
                  <a:pt x="783535" y="1345617"/>
                  <a:pt x="781713" y="1345617"/>
                  <a:pt x="779892" y="1347439"/>
                </a:cubicBezTo>
                <a:cubicBezTo>
                  <a:pt x="781713" y="1347439"/>
                  <a:pt x="779892" y="1349261"/>
                  <a:pt x="781713" y="1351083"/>
                </a:cubicBezTo>
                <a:cubicBezTo>
                  <a:pt x="783535" y="1349261"/>
                  <a:pt x="783535" y="1347439"/>
                  <a:pt x="783535" y="1345617"/>
                </a:cubicBezTo>
                <a:cubicBezTo>
                  <a:pt x="785357" y="1349261"/>
                  <a:pt x="783535" y="1356550"/>
                  <a:pt x="787179" y="1360194"/>
                </a:cubicBezTo>
                <a:cubicBezTo>
                  <a:pt x="785357" y="1356550"/>
                  <a:pt x="792646" y="1351083"/>
                  <a:pt x="789003" y="1347439"/>
                </a:cubicBezTo>
                <a:cubicBezTo>
                  <a:pt x="790824" y="1345617"/>
                  <a:pt x="790824" y="1349261"/>
                  <a:pt x="792646" y="1351083"/>
                </a:cubicBezTo>
                <a:cubicBezTo>
                  <a:pt x="794468" y="1347439"/>
                  <a:pt x="794468" y="1345617"/>
                  <a:pt x="796290" y="1343795"/>
                </a:cubicBezTo>
                <a:cubicBezTo>
                  <a:pt x="792646" y="1343795"/>
                  <a:pt x="789003" y="1341972"/>
                  <a:pt x="785357" y="1341972"/>
                </a:cubicBezTo>
                <a:close/>
                <a:moveTo>
                  <a:pt x="774424" y="1341972"/>
                </a:moveTo>
                <a:cubicBezTo>
                  <a:pt x="765313" y="1341972"/>
                  <a:pt x="770781" y="1352905"/>
                  <a:pt x="774424" y="1356550"/>
                </a:cubicBezTo>
                <a:cubicBezTo>
                  <a:pt x="778070" y="1351083"/>
                  <a:pt x="778070" y="1345617"/>
                  <a:pt x="774424" y="1341972"/>
                </a:cubicBezTo>
                <a:close/>
                <a:moveTo>
                  <a:pt x="590385" y="1341972"/>
                </a:moveTo>
                <a:cubicBezTo>
                  <a:pt x="588562" y="1343795"/>
                  <a:pt x="592207" y="1347439"/>
                  <a:pt x="594030" y="1345617"/>
                </a:cubicBezTo>
                <a:cubicBezTo>
                  <a:pt x="592207" y="1343795"/>
                  <a:pt x="592207" y="1343795"/>
                  <a:pt x="590385" y="1341972"/>
                </a:cubicBezTo>
                <a:close/>
                <a:moveTo>
                  <a:pt x="3041835" y="1340236"/>
                </a:moveTo>
                <a:cubicBezTo>
                  <a:pt x="3039387" y="1339695"/>
                  <a:pt x="3036198" y="1340150"/>
                  <a:pt x="3032098" y="1341972"/>
                </a:cubicBezTo>
                <a:cubicBezTo>
                  <a:pt x="3032098" y="1349261"/>
                  <a:pt x="3028453" y="1351083"/>
                  <a:pt x="3028453" y="1360194"/>
                </a:cubicBezTo>
                <a:cubicBezTo>
                  <a:pt x="3035742" y="1360194"/>
                  <a:pt x="3041209" y="1362016"/>
                  <a:pt x="3048497" y="1362016"/>
                </a:cubicBezTo>
                <a:cubicBezTo>
                  <a:pt x="3049864" y="1352450"/>
                  <a:pt x="3049180" y="1341859"/>
                  <a:pt x="3041835" y="1340236"/>
                </a:cubicBezTo>
                <a:close/>
                <a:moveTo>
                  <a:pt x="1255478" y="1340150"/>
                </a:moveTo>
                <a:lnTo>
                  <a:pt x="1256121" y="1340793"/>
                </a:lnTo>
                <a:lnTo>
                  <a:pt x="1255953" y="1341576"/>
                </a:lnTo>
                <a:close/>
                <a:moveTo>
                  <a:pt x="282438" y="1340150"/>
                </a:moveTo>
                <a:cubicBezTo>
                  <a:pt x="278793" y="1340150"/>
                  <a:pt x="275149" y="1341972"/>
                  <a:pt x="271504" y="1343795"/>
                </a:cubicBezTo>
                <a:cubicBezTo>
                  <a:pt x="276971" y="1347439"/>
                  <a:pt x="278793" y="1343795"/>
                  <a:pt x="282438" y="1340150"/>
                </a:cubicBezTo>
                <a:close/>
                <a:moveTo>
                  <a:pt x="3371055" y="1340058"/>
                </a:moveTo>
                <a:lnTo>
                  <a:pt x="3371022" y="1340150"/>
                </a:lnTo>
                <a:lnTo>
                  <a:pt x="3369314" y="1340653"/>
                </a:lnTo>
                <a:lnTo>
                  <a:pt x="3369200" y="1340150"/>
                </a:lnTo>
                <a:close/>
                <a:moveTo>
                  <a:pt x="3465880" y="1339929"/>
                </a:moveTo>
                <a:lnTo>
                  <a:pt x="3465775" y="1341972"/>
                </a:lnTo>
                <a:lnTo>
                  <a:pt x="3463043" y="1341972"/>
                </a:lnTo>
                <a:lnTo>
                  <a:pt x="3465775" y="1340150"/>
                </a:lnTo>
                <a:close/>
                <a:moveTo>
                  <a:pt x="1629023" y="1338447"/>
                </a:moveTo>
                <a:lnTo>
                  <a:pt x="1650889" y="1338447"/>
                </a:lnTo>
                <a:lnTo>
                  <a:pt x="1643602" y="1353024"/>
                </a:lnTo>
                <a:lnTo>
                  <a:pt x="1650889" y="1362134"/>
                </a:lnTo>
                <a:lnTo>
                  <a:pt x="1629023" y="1362134"/>
                </a:lnTo>
                <a:close/>
                <a:moveTo>
                  <a:pt x="1111526" y="1338328"/>
                </a:moveTo>
                <a:cubicBezTo>
                  <a:pt x="1104238" y="1347439"/>
                  <a:pt x="1115171" y="1360194"/>
                  <a:pt x="1120637" y="1369305"/>
                </a:cubicBezTo>
                <a:cubicBezTo>
                  <a:pt x="1120637" y="1360194"/>
                  <a:pt x="1122459" y="1347439"/>
                  <a:pt x="1111526" y="1338328"/>
                </a:cubicBezTo>
                <a:close/>
                <a:moveTo>
                  <a:pt x="621362" y="1338328"/>
                </a:moveTo>
                <a:cubicBezTo>
                  <a:pt x="617717" y="1338328"/>
                  <a:pt x="621362" y="1340150"/>
                  <a:pt x="619539" y="1341972"/>
                </a:cubicBezTo>
                <a:cubicBezTo>
                  <a:pt x="619539" y="1343795"/>
                  <a:pt x="619539" y="1340150"/>
                  <a:pt x="619539" y="1340150"/>
                </a:cubicBezTo>
                <a:cubicBezTo>
                  <a:pt x="615895" y="1341972"/>
                  <a:pt x="621362" y="1345617"/>
                  <a:pt x="621362" y="1349261"/>
                </a:cubicBezTo>
                <a:cubicBezTo>
                  <a:pt x="625006" y="1347439"/>
                  <a:pt x="623185" y="1343795"/>
                  <a:pt x="623185" y="1341972"/>
                </a:cubicBezTo>
                <a:cubicBezTo>
                  <a:pt x="626828" y="1341972"/>
                  <a:pt x="621362" y="1347439"/>
                  <a:pt x="623185" y="1349261"/>
                </a:cubicBezTo>
                <a:cubicBezTo>
                  <a:pt x="625006" y="1345617"/>
                  <a:pt x="626828" y="1351083"/>
                  <a:pt x="630472" y="1347439"/>
                </a:cubicBezTo>
                <a:cubicBezTo>
                  <a:pt x="632296" y="1345617"/>
                  <a:pt x="632296" y="1345617"/>
                  <a:pt x="634117" y="1343795"/>
                </a:cubicBezTo>
                <a:cubicBezTo>
                  <a:pt x="632296" y="1340150"/>
                  <a:pt x="630472" y="1340150"/>
                  <a:pt x="628650" y="1338328"/>
                </a:cubicBezTo>
                <a:cubicBezTo>
                  <a:pt x="625006" y="1340150"/>
                  <a:pt x="630472" y="1343795"/>
                  <a:pt x="630472" y="1347439"/>
                </a:cubicBezTo>
                <a:cubicBezTo>
                  <a:pt x="628650" y="1341972"/>
                  <a:pt x="625006" y="1338328"/>
                  <a:pt x="621362" y="1338328"/>
                </a:cubicBezTo>
                <a:close/>
                <a:moveTo>
                  <a:pt x="579452" y="1338328"/>
                </a:moveTo>
                <a:cubicBezTo>
                  <a:pt x="579452" y="1340150"/>
                  <a:pt x="577630" y="1340150"/>
                  <a:pt x="575808" y="1341972"/>
                </a:cubicBezTo>
                <a:cubicBezTo>
                  <a:pt x="583096" y="1345617"/>
                  <a:pt x="584919" y="1354728"/>
                  <a:pt x="594030" y="1352905"/>
                </a:cubicBezTo>
                <a:cubicBezTo>
                  <a:pt x="588562" y="1349261"/>
                  <a:pt x="584919" y="1343795"/>
                  <a:pt x="584919" y="1338328"/>
                </a:cubicBezTo>
                <a:cubicBezTo>
                  <a:pt x="583096" y="1340150"/>
                  <a:pt x="579452" y="1341972"/>
                  <a:pt x="579452" y="1343795"/>
                </a:cubicBezTo>
                <a:cubicBezTo>
                  <a:pt x="577630" y="1341972"/>
                  <a:pt x="581274" y="1340150"/>
                  <a:pt x="579452" y="1338328"/>
                </a:cubicBezTo>
                <a:close/>
                <a:moveTo>
                  <a:pt x="455544" y="1338328"/>
                </a:moveTo>
                <a:cubicBezTo>
                  <a:pt x="455544" y="1340150"/>
                  <a:pt x="451899" y="1343795"/>
                  <a:pt x="457367" y="1343795"/>
                </a:cubicBezTo>
                <a:cubicBezTo>
                  <a:pt x="459188" y="1341972"/>
                  <a:pt x="455544" y="1341972"/>
                  <a:pt x="455544" y="1338328"/>
                </a:cubicBezTo>
                <a:close/>
                <a:moveTo>
                  <a:pt x="371724" y="1338328"/>
                </a:moveTo>
                <a:cubicBezTo>
                  <a:pt x="373546" y="1345617"/>
                  <a:pt x="379012" y="1345617"/>
                  <a:pt x="384479" y="1341972"/>
                </a:cubicBezTo>
                <a:cubicBezTo>
                  <a:pt x="380835" y="1336506"/>
                  <a:pt x="375368" y="1341972"/>
                  <a:pt x="371724" y="1338328"/>
                </a:cubicBezTo>
                <a:close/>
                <a:moveTo>
                  <a:pt x="3407466" y="1336506"/>
                </a:moveTo>
                <a:cubicBezTo>
                  <a:pt x="3405643" y="1338328"/>
                  <a:pt x="3407466" y="1345617"/>
                  <a:pt x="3407466" y="1347439"/>
                </a:cubicBezTo>
                <a:cubicBezTo>
                  <a:pt x="3411110" y="1345617"/>
                  <a:pt x="3409288" y="1338328"/>
                  <a:pt x="3407466" y="1336506"/>
                </a:cubicBezTo>
                <a:close/>
                <a:moveTo>
                  <a:pt x="2917301" y="1336506"/>
                </a:moveTo>
                <a:cubicBezTo>
                  <a:pt x="2915479" y="1336506"/>
                  <a:pt x="2915479" y="1338328"/>
                  <a:pt x="2913656" y="1338328"/>
                </a:cubicBezTo>
                <a:cubicBezTo>
                  <a:pt x="2913656" y="1340150"/>
                  <a:pt x="2913656" y="1340150"/>
                  <a:pt x="2917301" y="1341972"/>
                </a:cubicBezTo>
                <a:cubicBezTo>
                  <a:pt x="2906368" y="1347439"/>
                  <a:pt x="2900901" y="1354728"/>
                  <a:pt x="2897257" y="1367483"/>
                </a:cubicBezTo>
                <a:cubicBezTo>
                  <a:pt x="2906368" y="1372949"/>
                  <a:pt x="2924590" y="1371127"/>
                  <a:pt x="2922767" y="1358372"/>
                </a:cubicBezTo>
                <a:cubicBezTo>
                  <a:pt x="2922767" y="1356550"/>
                  <a:pt x="2919123" y="1356550"/>
                  <a:pt x="2915479" y="1356550"/>
                </a:cubicBezTo>
                <a:cubicBezTo>
                  <a:pt x="2917301" y="1352905"/>
                  <a:pt x="2922767" y="1351083"/>
                  <a:pt x="2917301" y="1347439"/>
                </a:cubicBezTo>
                <a:cubicBezTo>
                  <a:pt x="2917301" y="1347439"/>
                  <a:pt x="2919123" y="1347439"/>
                  <a:pt x="2919123" y="1347439"/>
                </a:cubicBezTo>
                <a:lnTo>
                  <a:pt x="2919123" y="1341972"/>
                </a:lnTo>
                <a:cubicBezTo>
                  <a:pt x="2917301" y="1340150"/>
                  <a:pt x="2917301" y="1338328"/>
                  <a:pt x="2917301" y="1336506"/>
                </a:cubicBezTo>
                <a:close/>
                <a:moveTo>
                  <a:pt x="2830065" y="1336506"/>
                </a:moveTo>
                <a:cubicBezTo>
                  <a:pt x="2824370" y="1334684"/>
                  <a:pt x="2818904" y="1337417"/>
                  <a:pt x="2817081" y="1349261"/>
                </a:cubicBezTo>
                <a:cubicBezTo>
                  <a:pt x="2824370" y="1351083"/>
                  <a:pt x="2824370" y="1343795"/>
                  <a:pt x="2828014" y="1341972"/>
                </a:cubicBezTo>
                <a:cubicBezTo>
                  <a:pt x="2831659" y="1341972"/>
                  <a:pt x="2828014" y="1345617"/>
                  <a:pt x="2828014" y="1349261"/>
                </a:cubicBezTo>
                <a:cubicBezTo>
                  <a:pt x="2835303" y="1349261"/>
                  <a:pt x="2837125" y="1352905"/>
                  <a:pt x="2844414" y="1351083"/>
                </a:cubicBezTo>
                <a:cubicBezTo>
                  <a:pt x="2841681" y="1344706"/>
                  <a:pt x="2835759" y="1338328"/>
                  <a:pt x="2830065" y="1336506"/>
                </a:cubicBezTo>
                <a:close/>
                <a:moveTo>
                  <a:pt x="1102416" y="1336506"/>
                </a:moveTo>
                <a:cubicBezTo>
                  <a:pt x="1107882" y="1338328"/>
                  <a:pt x="1102416" y="1340150"/>
                  <a:pt x="1106060" y="1343795"/>
                </a:cubicBezTo>
                <a:cubicBezTo>
                  <a:pt x="1106060" y="1341972"/>
                  <a:pt x="1106060" y="1334684"/>
                  <a:pt x="1102416" y="1336506"/>
                </a:cubicBezTo>
                <a:close/>
                <a:moveTo>
                  <a:pt x="666916" y="1336506"/>
                </a:moveTo>
                <a:cubicBezTo>
                  <a:pt x="663272" y="1341972"/>
                  <a:pt x="666916" y="1343795"/>
                  <a:pt x="668738" y="1347439"/>
                </a:cubicBezTo>
                <a:cubicBezTo>
                  <a:pt x="670560" y="1345617"/>
                  <a:pt x="672383" y="1341972"/>
                  <a:pt x="674205" y="1341972"/>
                </a:cubicBezTo>
                <a:cubicBezTo>
                  <a:pt x="672383" y="1338328"/>
                  <a:pt x="668738" y="1338328"/>
                  <a:pt x="666916" y="1336506"/>
                </a:cubicBezTo>
                <a:close/>
                <a:moveTo>
                  <a:pt x="654161" y="1336506"/>
                </a:moveTo>
                <a:cubicBezTo>
                  <a:pt x="650516" y="1340150"/>
                  <a:pt x="655983" y="1340150"/>
                  <a:pt x="655983" y="1341972"/>
                </a:cubicBezTo>
                <a:cubicBezTo>
                  <a:pt x="657805" y="1340150"/>
                  <a:pt x="655983" y="1338328"/>
                  <a:pt x="654161" y="1336506"/>
                </a:cubicBezTo>
                <a:close/>
                <a:moveTo>
                  <a:pt x="3434798" y="1334684"/>
                </a:moveTo>
                <a:cubicBezTo>
                  <a:pt x="3436621" y="1338328"/>
                  <a:pt x="3438443" y="1336506"/>
                  <a:pt x="3436621" y="1343795"/>
                </a:cubicBezTo>
                <a:cubicBezTo>
                  <a:pt x="3445731" y="1341972"/>
                  <a:pt x="3443909" y="1331039"/>
                  <a:pt x="3434798" y="1334684"/>
                </a:cubicBezTo>
                <a:close/>
                <a:moveTo>
                  <a:pt x="3234359" y="1334684"/>
                </a:moveTo>
                <a:cubicBezTo>
                  <a:pt x="3228893" y="1336506"/>
                  <a:pt x="3227071" y="1341972"/>
                  <a:pt x="3219782" y="1341972"/>
                </a:cubicBezTo>
                <a:lnTo>
                  <a:pt x="3219782" y="1347439"/>
                </a:lnTo>
                <a:cubicBezTo>
                  <a:pt x="3223426" y="1351083"/>
                  <a:pt x="3230715" y="1351083"/>
                  <a:pt x="3232537" y="1356550"/>
                </a:cubicBezTo>
                <a:cubicBezTo>
                  <a:pt x="3228893" y="1360194"/>
                  <a:pt x="3230715" y="1371127"/>
                  <a:pt x="3239826" y="1371127"/>
                </a:cubicBezTo>
                <a:cubicBezTo>
                  <a:pt x="3241648" y="1369305"/>
                  <a:pt x="3238003" y="1369305"/>
                  <a:pt x="3239826" y="1367483"/>
                </a:cubicBezTo>
                <a:cubicBezTo>
                  <a:pt x="3245292" y="1367483"/>
                  <a:pt x="3241648" y="1372949"/>
                  <a:pt x="3245292" y="1372949"/>
                </a:cubicBezTo>
                <a:cubicBezTo>
                  <a:pt x="3250759" y="1374771"/>
                  <a:pt x="3248937" y="1367483"/>
                  <a:pt x="3254403" y="1369305"/>
                </a:cubicBezTo>
                <a:cubicBezTo>
                  <a:pt x="3250759" y="1365661"/>
                  <a:pt x="3250759" y="1365661"/>
                  <a:pt x="3252581" y="1360194"/>
                </a:cubicBezTo>
                <a:cubicBezTo>
                  <a:pt x="3250759" y="1358372"/>
                  <a:pt x="3248937" y="1358372"/>
                  <a:pt x="3245292" y="1358372"/>
                </a:cubicBezTo>
                <a:cubicBezTo>
                  <a:pt x="3247114" y="1345617"/>
                  <a:pt x="3239826" y="1341972"/>
                  <a:pt x="3234359" y="1334684"/>
                </a:cubicBezTo>
                <a:close/>
                <a:moveTo>
                  <a:pt x="3066719" y="1334684"/>
                </a:moveTo>
                <a:cubicBezTo>
                  <a:pt x="3066719" y="1340150"/>
                  <a:pt x="3070363" y="1340150"/>
                  <a:pt x="3072186" y="1341972"/>
                </a:cubicBezTo>
                <a:cubicBezTo>
                  <a:pt x="3068541" y="1343795"/>
                  <a:pt x="3070363" y="1349261"/>
                  <a:pt x="3066719" y="1349261"/>
                </a:cubicBezTo>
                <a:cubicBezTo>
                  <a:pt x="3063075" y="1349261"/>
                  <a:pt x="3068541" y="1341972"/>
                  <a:pt x="3063075" y="1343795"/>
                </a:cubicBezTo>
                <a:cubicBezTo>
                  <a:pt x="3064897" y="1352905"/>
                  <a:pt x="3057608" y="1360194"/>
                  <a:pt x="3066719" y="1362016"/>
                </a:cubicBezTo>
                <a:cubicBezTo>
                  <a:pt x="3066719" y="1358372"/>
                  <a:pt x="3066719" y="1356550"/>
                  <a:pt x="3066719" y="1354728"/>
                </a:cubicBezTo>
                <a:cubicBezTo>
                  <a:pt x="3072186" y="1352905"/>
                  <a:pt x="3066719" y="1360194"/>
                  <a:pt x="3072186" y="1358372"/>
                </a:cubicBezTo>
                <a:cubicBezTo>
                  <a:pt x="3072186" y="1362016"/>
                  <a:pt x="3070363" y="1363838"/>
                  <a:pt x="3070363" y="1367483"/>
                </a:cubicBezTo>
                <a:cubicBezTo>
                  <a:pt x="3074008" y="1367483"/>
                  <a:pt x="3075830" y="1367483"/>
                  <a:pt x="3079474" y="1367483"/>
                </a:cubicBezTo>
                <a:cubicBezTo>
                  <a:pt x="3080386" y="1364750"/>
                  <a:pt x="3081753" y="1361105"/>
                  <a:pt x="3084030" y="1358144"/>
                </a:cubicBezTo>
                <a:lnTo>
                  <a:pt x="3093645" y="1353118"/>
                </a:lnTo>
                <a:lnTo>
                  <a:pt x="3092230" y="1360194"/>
                </a:lnTo>
                <a:cubicBezTo>
                  <a:pt x="3095874" y="1362016"/>
                  <a:pt x="3097696" y="1363838"/>
                  <a:pt x="3099518" y="1362016"/>
                </a:cubicBezTo>
                <a:cubicBezTo>
                  <a:pt x="3099518" y="1363838"/>
                  <a:pt x="3099518" y="1372949"/>
                  <a:pt x="3103163" y="1376594"/>
                </a:cubicBezTo>
                <a:cubicBezTo>
                  <a:pt x="3110451" y="1372949"/>
                  <a:pt x="3104985" y="1367483"/>
                  <a:pt x="3103163" y="1362016"/>
                </a:cubicBezTo>
                <a:cubicBezTo>
                  <a:pt x="3103163" y="1360194"/>
                  <a:pt x="3104985" y="1360194"/>
                  <a:pt x="3106807" y="1360194"/>
                </a:cubicBezTo>
                <a:cubicBezTo>
                  <a:pt x="3106807" y="1358372"/>
                  <a:pt x="3106807" y="1356550"/>
                  <a:pt x="3106807" y="1354728"/>
                </a:cubicBezTo>
                <a:cubicBezTo>
                  <a:pt x="3103163" y="1349261"/>
                  <a:pt x="3099518" y="1352905"/>
                  <a:pt x="3094052" y="1351083"/>
                </a:cubicBezTo>
                <a:lnTo>
                  <a:pt x="3093779" y="1352450"/>
                </a:lnTo>
                <a:lnTo>
                  <a:pt x="3092685" y="1350628"/>
                </a:lnTo>
                <a:cubicBezTo>
                  <a:pt x="3093596" y="1349716"/>
                  <a:pt x="3094963" y="1348350"/>
                  <a:pt x="3094052" y="1345617"/>
                </a:cubicBezTo>
                <a:cubicBezTo>
                  <a:pt x="3092230" y="1345617"/>
                  <a:pt x="3084941" y="1338328"/>
                  <a:pt x="3084941" y="1343795"/>
                </a:cubicBezTo>
                <a:cubicBezTo>
                  <a:pt x="3081297" y="1340150"/>
                  <a:pt x="3074008" y="1341972"/>
                  <a:pt x="3074008" y="1334684"/>
                </a:cubicBezTo>
                <a:cubicBezTo>
                  <a:pt x="3070363" y="1334684"/>
                  <a:pt x="3068541" y="1334684"/>
                  <a:pt x="3066719" y="1334684"/>
                </a:cubicBezTo>
                <a:close/>
                <a:moveTo>
                  <a:pt x="1231790" y="1334684"/>
                </a:moveTo>
                <a:cubicBezTo>
                  <a:pt x="1229969" y="1334684"/>
                  <a:pt x="1229969" y="1338328"/>
                  <a:pt x="1229969" y="1340150"/>
                </a:cubicBezTo>
                <a:cubicBezTo>
                  <a:pt x="1229969" y="1340150"/>
                  <a:pt x="1231790" y="1340150"/>
                  <a:pt x="1233612" y="1340150"/>
                </a:cubicBezTo>
                <a:cubicBezTo>
                  <a:pt x="1233612" y="1338328"/>
                  <a:pt x="1231790" y="1336506"/>
                  <a:pt x="1231790" y="1334684"/>
                </a:cubicBezTo>
                <a:close/>
                <a:moveTo>
                  <a:pt x="1091484" y="1334684"/>
                </a:moveTo>
                <a:cubicBezTo>
                  <a:pt x="1089660" y="1340150"/>
                  <a:pt x="1089660" y="1345617"/>
                  <a:pt x="1093305" y="1352905"/>
                </a:cubicBezTo>
                <a:cubicBezTo>
                  <a:pt x="1095127" y="1352905"/>
                  <a:pt x="1095127" y="1358372"/>
                  <a:pt x="1098771" y="1360194"/>
                </a:cubicBezTo>
                <a:cubicBezTo>
                  <a:pt x="1102416" y="1360194"/>
                  <a:pt x="1100593" y="1358372"/>
                  <a:pt x="1100593" y="1356550"/>
                </a:cubicBezTo>
                <a:cubicBezTo>
                  <a:pt x="1102416" y="1356550"/>
                  <a:pt x="1102416" y="1363838"/>
                  <a:pt x="1100593" y="1362016"/>
                </a:cubicBezTo>
                <a:cubicBezTo>
                  <a:pt x="1099683" y="1362927"/>
                  <a:pt x="1100139" y="1362927"/>
                  <a:pt x="1101049" y="1362699"/>
                </a:cubicBezTo>
                <a:lnTo>
                  <a:pt x="1102669" y="1362352"/>
                </a:lnTo>
                <a:lnTo>
                  <a:pt x="1129748" y="1398460"/>
                </a:lnTo>
                <a:lnTo>
                  <a:pt x="1130721" y="1397292"/>
                </a:lnTo>
                <a:lnTo>
                  <a:pt x="1131750" y="1399281"/>
                </a:lnTo>
                <a:lnTo>
                  <a:pt x="1131115" y="1399599"/>
                </a:lnTo>
                <a:cubicBezTo>
                  <a:pt x="1130204" y="1399827"/>
                  <a:pt x="1129748" y="1400282"/>
                  <a:pt x="1131570" y="1402104"/>
                </a:cubicBezTo>
                <a:cubicBezTo>
                  <a:pt x="1132481" y="1403926"/>
                  <a:pt x="1132481" y="1403471"/>
                  <a:pt x="1132481" y="1402559"/>
                </a:cubicBezTo>
                <a:lnTo>
                  <a:pt x="1132901" y="1401510"/>
                </a:lnTo>
                <a:lnTo>
                  <a:pt x="1138859" y="1413037"/>
                </a:lnTo>
                <a:cubicBezTo>
                  <a:pt x="1137037" y="1407571"/>
                  <a:pt x="1133393" y="1405748"/>
                  <a:pt x="1133393" y="1400282"/>
                </a:cubicBezTo>
                <a:lnTo>
                  <a:pt x="1132901" y="1401510"/>
                </a:lnTo>
                <a:lnTo>
                  <a:pt x="1131750" y="1399281"/>
                </a:lnTo>
                <a:lnTo>
                  <a:pt x="1133393" y="1398460"/>
                </a:lnTo>
                <a:cubicBezTo>
                  <a:pt x="1131570" y="1398460"/>
                  <a:pt x="1131115" y="1397549"/>
                  <a:pt x="1130887" y="1397093"/>
                </a:cubicBezTo>
                <a:lnTo>
                  <a:pt x="1130721" y="1397292"/>
                </a:lnTo>
                <a:lnTo>
                  <a:pt x="1128382" y="1392765"/>
                </a:lnTo>
                <a:cubicBezTo>
                  <a:pt x="1124282" y="1385249"/>
                  <a:pt x="1119727" y="1377505"/>
                  <a:pt x="1115171" y="1371127"/>
                </a:cubicBezTo>
                <a:cubicBezTo>
                  <a:pt x="1116993" y="1369305"/>
                  <a:pt x="1111526" y="1367483"/>
                  <a:pt x="1113349" y="1363838"/>
                </a:cubicBezTo>
                <a:cubicBezTo>
                  <a:pt x="1111526" y="1363838"/>
                  <a:pt x="1111526" y="1371127"/>
                  <a:pt x="1115171" y="1371127"/>
                </a:cubicBezTo>
                <a:cubicBezTo>
                  <a:pt x="1113348" y="1369305"/>
                  <a:pt x="1111526" y="1366572"/>
                  <a:pt x="1109476" y="1364522"/>
                </a:cubicBezTo>
                <a:lnTo>
                  <a:pt x="1109039" y="1364367"/>
                </a:lnTo>
                <a:lnTo>
                  <a:pt x="1108110" y="1357461"/>
                </a:lnTo>
                <a:cubicBezTo>
                  <a:pt x="1106060" y="1353361"/>
                  <a:pt x="1103327" y="1349261"/>
                  <a:pt x="1102416" y="1345617"/>
                </a:cubicBezTo>
                <a:cubicBezTo>
                  <a:pt x="1098771" y="1345617"/>
                  <a:pt x="1096949" y="1351083"/>
                  <a:pt x="1093305" y="1352905"/>
                </a:cubicBezTo>
                <a:cubicBezTo>
                  <a:pt x="1095127" y="1351083"/>
                  <a:pt x="1096949" y="1345617"/>
                  <a:pt x="1100593" y="1345617"/>
                </a:cubicBezTo>
                <a:cubicBezTo>
                  <a:pt x="1100593" y="1341972"/>
                  <a:pt x="1095127" y="1338328"/>
                  <a:pt x="1091484" y="1334684"/>
                </a:cubicBezTo>
                <a:close/>
                <a:moveTo>
                  <a:pt x="645050" y="1334684"/>
                </a:moveTo>
                <a:cubicBezTo>
                  <a:pt x="645050" y="1336506"/>
                  <a:pt x="648694" y="1338328"/>
                  <a:pt x="643228" y="1338328"/>
                </a:cubicBezTo>
                <a:cubicBezTo>
                  <a:pt x="645050" y="1343795"/>
                  <a:pt x="646872" y="1343795"/>
                  <a:pt x="648694" y="1340150"/>
                </a:cubicBezTo>
                <a:cubicBezTo>
                  <a:pt x="648694" y="1336506"/>
                  <a:pt x="646872" y="1336506"/>
                  <a:pt x="645050" y="1334684"/>
                </a:cubicBezTo>
                <a:close/>
                <a:moveTo>
                  <a:pt x="632295" y="1334229"/>
                </a:moveTo>
                <a:cubicBezTo>
                  <a:pt x="630473" y="1334229"/>
                  <a:pt x="628650" y="1334684"/>
                  <a:pt x="626828" y="1334684"/>
                </a:cubicBezTo>
                <a:cubicBezTo>
                  <a:pt x="630472" y="1336506"/>
                  <a:pt x="635939" y="1340150"/>
                  <a:pt x="637761" y="1336506"/>
                </a:cubicBezTo>
                <a:cubicBezTo>
                  <a:pt x="635939" y="1334684"/>
                  <a:pt x="634117" y="1334229"/>
                  <a:pt x="632295" y="1334229"/>
                </a:cubicBezTo>
                <a:close/>
                <a:moveTo>
                  <a:pt x="901325" y="1333513"/>
                </a:moveTo>
                <a:lnTo>
                  <a:pt x="900896" y="1335147"/>
                </a:lnTo>
                <a:lnTo>
                  <a:pt x="900154" y="1334684"/>
                </a:lnTo>
                <a:close/>
                <a:moveTo>
                  <a:pt x="3466210" y="1333490"/>
                </a:moveTo>
                <a:lnTo>
                  <a:pt x="3467825" y="1335823"/>
                </a:lnTo>
                <a:lnTo>
                  <a:pt x="3465880" y="1339929"/>
                </a:lnTo>
                <a:close/>
                <a:moveTo>
                  <a:pt x="3465866" y="1332993"/>
                </a:moveTo>
                <a:lnTo>
                  <a:pt x="3466231" y="1333089"/>
                </a:lnTo>
                <a:lnTo>
                  <a:pt x="3466210" y="1333490"/>
                </a:lnTo>
                <a:close/>
                <a:moveTo>
                  <a:pt x="3465775" y="1332862"/>
                </a:moveTo>
                <a:lnTo>
                  <a:pt x="3465866" y="1332993"/>
                </a:lnTo>
                <a:lnTo>
                  <a:pt x="3465673" y="1332941"/>
                </a:lnTo>
                <a:close/>
                <a:moveTo>
                  <a:pt x="3132317" y="1332862"/>
                </a:moveTo>
                <a:cubicBezTo>
                  <a:pt x="3134140" y="1343795"/>
                  <a:pt x="3135962" y="1367483"/>
                  <a:pt x="3148717" y="1372949"/>
                </a:cubicBezTo>
                <a:cubicBezTo>
                  <a:pt x="3150539" y="1376594"/>
                  <a:pt x="3146895" y="1376594"/>
                  <a:pt x="3148717" y="1380238"/>
                </a:cubicBezTo>
                <a:cubicBezTo>
                  <a:pt x="3157828" y="1378416"/>
                  <a:pt x="3157828" y="1387527"/>
                  <a:pt x="3161472" y="1389349"/>
                </a:cubicBezTo>
                <a:cubicBezTo>
                  <a:pt x="3163294" y="1385705"/>
                  <a:pt x="3161472" y="1383882"/>
                  <a:pt x="3166939" y="1387527"/>
                </a:cubicBezTo>
                <a:cubicBezTo>
                  <a:pt x="3163294" y="1391171"/>
                  <a:pt x="3161472" y="1400282"/>
                  <a:pt x="3168761" y="1396638"/>
                </a:cubicBezTo>
                <a:cubicBezTo>
                  <a:pt x="3174227" y="1394815"/>
                  <a:pt x="3166939" y="1387527"/>
                  <a:pt x="3165116" y="1382060"/>
                </a:cubicBezTo>
                <a:cubicBezTo>
                  <a:pt x="3170583" y="1371127"/>
                  <a:pt x="3157828" y="1354728"/>
                  <a:pt x="3150539" y="1363838"/>
                </a:cubicBezTo>
                <a:cubicBezTo>
                  <a:pt x="3145073" y="1363838"/>
                  <a:pt x="3145073" y="1358372"/>
                  <a:pt x="3143250" y="1356550"/>
                </a:cubicBezTo>
                <a:cubicBezTo>
                  <a:pt x="3145073" y="1351083"/>
                  <a:pt x="3161472" y="1352905"/>
                  <a:pt x="3161472" y="1354728"/>
                </a:cubicBezTo>
                <a:cubicBezTo>
                  <a:pt x="3163294" y="1352905"/>
                  <a:pt x="3161472" y="1343795"/>
                  <a:pt x="3156006" y="1343795"/>
                </a:cubicBezTo>
                <a:cubicBezTo>
                  <a:pt x="3156006" y="1345617"/>
                  <a:pt x="3156006" y="1345617"/>
                  <a:pt x="3156006" y="1347439"/>
                </a:cubicBezTo>
                <a:cubicBezTo>
                  <a:pt x="3150539" y="1341972"/>
                  <a:pt x="3146895" y="1338328"/>
                  <a:pt x="3139606" y="1334684"/>
                </a:cubicBezTo>
                <a:cubicBezTo>
                  <a:pt x="3139606" y="1334684"/>
                  <a:pt x="3137784" y="1336506"/>
                  <a:pt x="3137784" y="1338328"/>
                </a:cubicBezTo>
                <a:cubicBezTo>
                  <a:pt x="3134140" y="1336506"/>
                  <a:pt x="3137784" y="1331039"/>
                  <a:pt x="3132317" y="1332862"/>
                </a:cubicBezTo>
                <a:close/>
                <a:moveTo>
                  <a:pt x="1235434" y="1332862"/>
                </a:moveTo>
                <a:cubicBezTo>
                  <a:pt x="1233612" y="1336506"/>
                  <a:pt x="1240901" y="1334684"/>
                  <a:pt x="1242723" y="1338328"/>
                </a:cubicBezTo>
                <a:cubicBezTo>
                  <a:pt x="1242723" y="1338328"/>
                  <a:pt x="1242723" y="1336506"/>
                  <a:pt x="1242723" y="1334684"/>
                </a:cubicBezTo>
                <a:cubicBezTo>
                  <a:pt x="1240901" y="1332862"/>
                  <a:pt x="1237256" y="1334684"/>
                  <a:pt x="1235434" y="1332862"/>
                </a:cubicBezTo>
                <a:close/>
                <a:moveTo>
                  <a:pt x="1147970" y="1332862"/>
                </a:moveTo>
                <a:cubicBezTo>
                  <a:pt x="1146148" y="1345617"/>
                  <a:pt x="1138859" y="1358372"/>
                  <a:pt x="1151614" y="1372949"/>
                </a:cubicBezTo>
                <a:cubicBezTo>
                  <a:pt x="1153436" y="1371127"/>
                  <a:pt x="1153436" y="1367483"/>
                  <a:pt x="1151614" y="1365661"/>
                </a:cubicBezTo>
                <a:cubicBezTo>
                  <a:pt x="1157081" y="1363838"/>
                  <a:pt x="1155259" y="1372949"/>
                  <a:pt x="1153436" y="1374771"/>
                </a:cubicBezTo>
                <a:cubicBezTo>
                  <a:pt x="1155259" y="1376594"/>
                  <a:pt x="1157081" y="1378416"/>
                  <a:pt x="1158903" y="1380238"/>
                </a:cubicBezTo>
                <a:cubicBezTo>
                  <a:pt x="1157081" y="1380238"/>
                  <a:pt x="1157081" y="1378416"/>
                  <a:pt x="1155259" y="1378416"/>
                </a:cubicBezTo>
                <a:cubicBezTo>
                  <a:pt x="1155259" y="1382060"/>
                  <a:pt x="1157081" y="1383882"/>
                  <a:pt x="1158903" y="1387527"/>
                </a:cubicBezTo>
                <a:cubicBezTo>
                  <a:pt x="1160725" y="1385705"/>
                  <a:pt x="1160725" y="1383882"/>
                  <a:pt x="1158903" y="1382060"/>
                </a:cubicBezTo>
                <a:cubicBezTo>
                  <a:pt x="1160725" y="1382060"/>
                  <a:pt x="1160725" y="1383882"/>
                  <a:pt x="1162547" y="1382060"/>
                </a:cubicBezTo>
                <a:cubicBezTo>
                  <a:pt x="1162547" y="1378416"/>
                  <a:pt x="1158903" y="1374771"/>
                  <a:pt x="1157081" y="1371127"/>
                </a:cubicBezTo>
                <a:lnTo>
                  <a:pt x="1159608" y="1371127"/>
                </a:lnTo>
                <a:lnTo>
                  <a:pt x="1160725" y="1376594"/>
                </a:lnTo>
                <a:cubicBezTo>
                  <a:pt x="1158903" y="1374771"/>
                  <a:pt x="1160725" y="1372949"/>
                  <a:pt x="1160725" y="1371127"/>
                </a:cubicBezTo>
                <a:lnTo>
                  <a:pt x="1159608" y="1371127"/>
                </a:lnTo>
                <a:lnTo>
                  <a:pt x="1156397" y="1355411"/>
                </a:lnTo>
                <a:cubicBezTo>
                  <a:pt x="1153892" y="1348350"/>
                  <a:pt x="1150703" y="1341062"/>
                  <a:pt x="1147970" y="1332862"/>
                </a:cubicBezTo>
                <a:close/>
                <a:moveTo>
                  <a:pt x="502920" y="1332862"/>
                </a:moveTo>
                <a:cubicBezTo>
                  <a:pt x="501098" y="1336506"/>
                  <a:pt x="493809" y="1332862"/>
                  <a:pt x="497454" y="1340150"/>
                </a:cubicBezTo>
                <a:cubicBezTo>
                  <a:pt x="501098" y="1341972"/>
                  <a:pt x="504743" y="1336506"/>
                  <a:pt x="502920" y="1332862"/>
                </a:cubicBezTo>
                <a:close/>
                <a:moveTo>
                  <a:pt x="337102" y="1332862"/>
                </a:moveTo>
                <a:cubicBezTo>
                  <a:pt x="331636" y="1334684"/>
                  <a:pt x="326169" y="1338328"/>
                  <a:pt x="320703" y="1341972"/>
                </a:cubicBezTo>
                <a:cubicBezTo>
                  <a:pt x="322525" y="1345617"/>
                  <a:pt x="326169" y="1345617"/>
                  <a:pt x="327993" y="1349261"/>
                </a:cubicBezTo>
                <a:cubicBezTo>
                  <a:pt x="333458" y="1343795"/>
                  <a:pt x="337102" y="1338328"/>
                  <a:pt x="337102" y="1332862"/>
                </a:cubicBezTo>
                <a:close/>
                <a:moveTo>
                  <a:pt x="1023151" y="1331495"/>
                </a:moveTo>
                <a:cubicBezTo>
                  <a:pt x="1022240" y="1331951"/>
                  <a:pt x="1021329" y="1332862"/>
                  <a:pt x="1020418" y="1332862"/>
                </a:cubicBezTo>
                <a:cubicBezTo>
                  <a:pt x="1018596" y="1336506"/>
                  <a:pt x="1022240" y="1334684"/>
                  <a:pt x="1022240" y="1336506"/>
                </a:cubicBezTo>
                <a:cubicBezTo>
                  <a:pt x="1025884" y="1334684"/>
                  <a:pt x="1024062" y="1332862"/>
                  <a:pt x="1025884" y="1332862"/>
                </a:cubicBezTo>
                <a:cubicBezTo>
                  <a:pt x="1024973" y="1331040"/>
                  <a:pt x="1024062" y="1331040"/>
                  <a:pt x="1023151" y="1331495"/>
                </a:cubicBezTo>
                <a:close/>
                <a:moveTo>
                  <a:pt x="3097468" y="1331039"/>
                </a:moveTo>
                <a:cubicBezTo>
                  <a:pt x="3091319" y="1331039"/>
                  <a:pt x="3084941" y="1331950"/>
                  <a:pt x="3075830" y="1332862"/>
                </a:cubicBezTo>
                <a:cubicBezTo>
                  <a:pt x="3079474" y="1338328"/>
                  <a:pt x="3090407" y="1345617"/>
                  <a:pt x="3095874" y="1340150"/>
                </a:cubicBezTo>
                <a:cubicBezTo>
                  <a:pt x="3097696" y="1340150"/>
                  <a:pt x="3097696" y="1345617"/>
                  <a:pt x="3101340" y="1341972"/>
                </a:cubicBezTo>
                <a:cubicBezTo>
                  <a:pt x="3097696" y="1349261"/>
                  <a:pt x="3106807" y="1352905"/>
                  <a:pt x="3108629" y="1347439"/>
                </a:cubicBezTo>
                <a:cubicBezTo>
                  <a:pt x="3106807" y="1345617"/>
                  <a:pt x="3106807" y="1345617"/>
                  <a:pt x="3103163" y="1345617"/>
                </a:cubicBezTo>
                <a:cubicBezTo>
                  <a:pt x="3104985" y="1341972"/>
                  <a:pt x="3114096" y="1345617"/>
                  <a:pt x="3110451" y="1338328"/>
                </a:cubicBezTo>
                <a:cubicBezTo>
                  <a:pt x="3114096" y="1338328"/>
                  <a:pt x="3112274" y="1343795"/>
                  <a:pt x="3114096" y="1345617"/>
                </a:cubicBezTo>
                <a:cubicBezTo>
                  <a:pt x="3117740" y="1345617"/>
                  <a:pt x="3117740" y="1340150"/>
                  <a:pt x="3117740" y="1334684"/>
                </a:cubicBezTo>
                <a:cubicBezTo>
                  <a:pt x="3109540" y="1331950"/>
                  <a:pt x="3103618" y="1331039"/>
                  <a:pt x="3097468" y="1331039"/>
                </a:cubicBezTo>
                <a:close/>
                <a:moveTo>
                  <a:pt x="2946456" y="1331039"/>
                </a:moveTo>
                <a:cubicBezTo>
                  <a:pt x="2946456" y="1332862"/>
                  <a:pt x="2946456" y="1336506"/>
                  <a:pt x="2946456" y="1338328"/>
                </a:cubicBezTo>
                <a:cubicBezTo>
                  <a:pt x="2950100" y="1338328"/>
                  <a:pt x="2951922" y="1338328"/>
                  <a:pt x="2955566" y="1338328"/>
                </a:cubicBezTo>
                <a:cubicBezTo>
                  <a:pt x="2953744" y="1336506"/>
                  <a:pt x="2950100" y="1332862"/>
                  <a:pt x="2946456" y="1331039"/>
                </a:cubicBezTo>
                <a:close/>
                <a:moveTo>
                  <a:pt x="1929683" y="1331039"/>
                </a:moveTo>
                <a:lnTo>
                  <a:pt x="1913283" y="1332862"/>
                </a:lnTo>
                <a:lnTo>
                  <a:pt x="1927861" y="1347439"/>
                </a:lnTo>
                <a:close/>
                <a:moveTo>
                  <a:pt x="901976" y="1331039"/>
                </a:moveTo>
                <a:cubicBezTo>
                  <a:pt x="898333" y="1332862"/>
                  <a:pt x="894688" y="1331039"/>
                  <a:pt x="891043" y="1334684"/>
                </a:cubicBezTo>
                <a:cubicBezTo>
                  <a:pt x="892866" y="1336506"/>
                  <a:pt x="900154" y="1332862"/>
                  <a:pt x="898333" y="1338328"/>
                </a:cubicBezTo>
                <a:cubicBezTo>
                  <a:pt x="899243" y="1338328"/>
                  <a:pt x="900154" y="1336962"/>
                  <a:pt x="900838" y="1335367"/>
                </a:cubicBezTo>
                <a:lnTo>
                  <a:pt x="900896" y="1335147"/>
                </a:lnTo>
                <a:lnTo>
                  <a:pt x="903799" y="1336962"/>
                </a:lnTo>
                <a:cubicBezTo>
                  <a:pt x="905166" y="1336962"/>
                  <a:pt x="906533" y="1336506"/>
                  <a:pt x="907444" y="1336506"/>
                </a:cubicBezTo>
                <a:cubicBezTo>
                  <a:pt x="909265" y="1332862"/>
                  <a:pt x="903799" y="1332862"/>
                  <a:pt x="903799" y="1331039"/>
                </a:cubicBezTo>
                <a:lnTo>
                  <a:pt x="901325" y="1333513"/>
                </a:lnTo>
                <a:close/>
                <a:moveTo>
                  <a:pt x="388123" y="1331039"/>
                </a:moveTo>
                <a:cubicBezTo>
                  <a:pt x="388123" y="1331039"/>
                  <a:pt x="391768" y="1336506"/>
                  <a:pt x="391768" y="1331039"/>
                </a:cubicBezTo>
                <a:cubicBezTo>
                  <a:pt x="389946" y="1329217"/>
                  <a:pt x="389946" y="1331039"/>
                  <a:pt x="388123" y="1331039"/>
                </a:cubicBezTo>
                <a:close/>
                <a:moveTo>
                  <a:pt x="1222186" y="1329808"/>
                </a:moveTo>
                <a:lnTo>
                  <a:pt x="1222323" y="1329920"/>
                </a:lnTo>
                <a:lnTo>
                  <a:pt x="1222223" y="1329901"/>
                </a:lnTo>
                <a:close/>
                <a:moveTo>
                  <a:pt x="3558707" y="1329320"/>
                </a:moveTo>
                <a:lnTo>
                  <a:pt x="3567818" y="1353007"/>
                </a:lnTo>
                <a:lnTo>
                  <a:pt x="3542307" y="1345719"/>
                </a:lnTo>
                <a:close/>
                <a:moveTo>
                  <a:pt x="3378311" y="1329217"/>
                </a:moveTo>
                <a:cubicBezTo>
                  <a:pt x="3376489" y="1331039"/>
                  <a:pt x="3376489" y="1338328"/>
                  <a:pt x="3381955" y="1338328"/>
                </a:cubicBezTo>
                <a:cubicBezTo>
                  <a:pt x="3380133" y="1334684"/>
                  <a:pt x="3380133" y="1332862"/>
                  <a:pt x="3378311" y="1329217"/>
                </a:cubicBezTo>
                <a:close/>
                <a:moveTo>
                  <a:pt x="699715" y="1329217"/>
                </a:moveTo>
                <a:cubicBezTo>
                  <a:pt x="697893" y="1331039"/>
                  <a:pt x="699715" y="1331039"/>
                  <a:pt x="697893" y="1332862"/>
                </a:cubicBezTo>
                <a:cubicBezTo>
                  <a:pt x="699715" y="1334684"/>
                  <a:pt x="701537" y="1331039"/>
                  <a:pt x="703359" y="1332862"/>
                </a:cubicBezTo>
                <a:cubicBezTo>
                  <a:pt x="705182" y="1331039"/>
                  <a:pt x="703359" y="1327395"/>
                  <a:pt x="699715" y="1329217"/>
                </a:cubicBezTo>
                <a:close/>
                <a:moveTo>
                  <a:pt x="690604" y="1329217"/>
                </a:moveTo>
                <a:cubicBezTo>
                  <a:pt x="686960" y="1329217"/>
                  <a:pt x="688782" y="1332862"/>
                  <a:pt x="690604" y="1334684"/>
                </a:cubicBezTo>
                <a:cubicBezTo>
                  <a:pt x="694249" y="1332862"/>
                  <a:pt x="688782" y="1331039"/>
                  <a:pt x="690604" y="1329217"/>
                </a:cubicBezTo>
                <a:close/>
                <a:moveTo>
                  <a:pt x="466478" y="1329217"/>
                </a:moveTo>
                <a:cubicBezTo>
                  <a:pt x="464655" y="1332862"/>
                  <a:pt x="470121" y="1334684"/>
                  <a:pt x="471943" y="1338328"/>
                </a:cubicBezTo>
                <a:cubicBezTo>
                  <a:pt x="473766" y="1338328"/>
                  <a:pt x="475589" y="1336506"/>
                  <a:pt x="477410" y="1334684"/>
                </a:cubicBezTo>
                <a:cubicBezTo>
                  <a:pt x="473766" y="1329217"/>
                  <a:pt x="470121" y="1329217"/>
                  <a:pt x="466478" y="1329217"/>
                </a:cubicBezTo>
                <a:close/>
                <a:moveTo>
                  <a:pt x="379012" y="1329217"/>
                </a:moveTo>
                <a:cubicBezTo>
                  <a:pt x="377190" y="1332862"/>
                  <a:pt x="384479" y="1341972"/>
                  <a:pt x="388123" y="1340150"/>
                </a:cubicBezTo>
                <a:cubicBezTo>
                  <a:pt x="389946" y="1332862"/>
                  <a:pt x="382657" y="1331039"/>
                  <a:pt x="379012" y="1329217"/>
                </a:cubicBezTo>
                <a:close/>
                <a:moveTo>
                  <a:pt x="346213" y="1329217"/>
                </a:moveTo>
                <a:cubicBezTo>
                  <a:pt x="338926" y="1332862"/>
                  <a:pt x="337102" y="1341972"/>
                  <a:pt x="331636" y="1349261"/>
                </a:cubicBezTo>
                <a:cubicBezTo>
                  <a:pt x="338926" y="1354728"/>
                  <a:pt x="348037" y="1360194"/>
                  <a:pt x="357146" y="1358372"/>
                </a:cubicBezTo>
                <a:cubicBezTo>
                  <a:pt x="360790" y="1359283"/>
                  <a:pt x="363068" y="1357461"/>
                  <a:pt x="365347" y="1355639"/>
                </a:cubicBezTo>
                <a:lnTo>
                  <a:pt x="370423" y="1353946"/>
                </a:lnTo>
                <a:lnTo>
                  <a:pt x="362613" y="1360194"/>
                </a:lnTo>
                <a:cubicBezTo>
                  <a:pt x="362613" y="1362016"/>
                  <a:pt x="364435" y="1360194"/>
                  <a:pt x="366257" y="1362016"/>
                </a:cubicBezTo>
                <a:cubicBezTo>
                  <a:pt x="364435" y="1360194"/>
                  <a:pt x="368079" y="1360194"/>
                  <a:pt x="371724" y="1363838"/>
                </a:cubicBezTo>
                <a:cubicBezTo>
                  <a:pt x="375368" y="1362016"/>
                  <a:pt x="371724" y="1360194"/>
                  <a:pt x="373546" y="1360194"/>
                </a:cubicBezTo>
                <a:cubicBezTo>
                  <a:pt x="375368" y="1358372"/>
                  <a:pt x="373546" y="1362016"/>
                  <a:pt x="375368" y="1363838"/>
                </a:cubicBezTo>
                <a:cubicBezTo>
                  <a:pt x="376279" y="1362927"/>
                  <a:pt x="375823" y="1361105"/>
                  <a:pt x="374912" y="1359055"/>
                </a:cubicBezTo>
                <a:lnTo>
                  <a:pt x="371992" y="1353423"/>
                </a:lnTo>
                <a:lnTo>
                  <a:pt x="373546" y="1352905"/>
                </a:lnTo>
                <a:cubicBezTo>
                  <a:pt x="371724" y="1351083"/>
                  <a:pt x="369902" y="1349261"/>
                  <a:pt x="368079" y="1347439"/>
                </a:cubicBezTo>
                <a:cubicBezTo>
                  <a:pt x="369902" y="1347439"/>
                  <a:pt x="373546" y="1352905"/>
                  <a:pt x="377190" y="1349261"/>
                </a:cubicBezTo>
                <a:cubicBezTo>
                  <a:pt x="368079" y="1340150"/>
                  <a:pt x="357146" y="1321929"/>
                  <a:pt x="346213" y="1332862"/>
                </a:cubicBezTo>
                <a:cubicBezTo>
                  <a:pt x="346213" y="1332862"/>
                  <a:pt x="346213" y="1329217"/>
                  <a:pt x="346213" y="1329217"/>
                </a:cubicBezTo>
                <a:close/>
                <a:moveTo>
                  <a:pt x="3464015" y="1328831"/>
                </a:moveTo>
                <a:lnTo>
                  <a:pt x="3463953" y="1329217"/>
                </a:lnTo>
                <a:lnTo>
                  <a:pt x="3463552" y="1329016"/>
                </a:lnTo>
                <a:close/>
                <a:moveTo>
                  <a:pt x="3414754" y="1327395"/>
                </a:moveTo>
                <a:cubicBezTo>
                  <a:pt x="3412932" y="1327395"/>
                  <a:pt x="3412932" y="1331039"/>
                  <a:pt x="3412932" y="1332862"/>
                </a:cubicBezTo>
                <a:cubicBezTo>
                  <a:pt x="3418399" y="1331039"/>
                  <a:pt x="3416577" y="1332862"/>
                  <a:pt x="3422043" y="1332862"/>
                </a:cubicBezTo>
                <a:cubicBezTo>
                  <a:pt x="3423865" y="1325573"/>
                  <a:pt x="3416577" y="1329217"/>
                  <a:pt x="3414754" y="1327395"/>
                </a:cubicBezTo>
                <a:close/>
                <a:moveTo>
                  <a:pt x="3349156" y="1327395"/>
                </a:moveTo>
                <a:cubicBezTo>
                  <a:pt x="3347334" y="1331039"/>
                  <a:pt x="3347334" y="1336506"/>
                  <a:pt x="3347334" y="1340150"/>
                </a:cubicBezTo>
                <a:cubicBezTo>
                  <a:pt x="3349156" y="1338328"/>
                  <a:pt x="3350978" y="1334684"/>
                  <a:pt x="3356445" y="1338328"/>
                </a:cubicBezTo>
                <a:cubicBezTo>
                  <a:pt x="3354623" y="1334684"/>
                  <a:pt x="3356445" y="1325573"/>
                  <a:pt x="3349156" y="1327395"/>
                </a:cubicBezTo>
                <a:close/>
                <a:moveTo>
                  <a:pt x="3192449" y="1327395"/>
                </a:moveTo>
                <a:cubicBezTo>
                  <a:pt x="3186982" y="1329217"/>
                  <a:pt x="3194271" y="1334684"/>
                  <a:pt x="3194271" y="1338328"/>
                </a:cubicBezTo>
                <a:cubicBezTo>
                  <a:pt x="3196093" y="1336506"/>
                  <a:pt x="3196093" y="1327395"/>
                  <a:pt x="3192449" y="1327395"/>
                </a:cubicBezTo>
                <a:close/>
                <a:moveTo>
                  <a:pt x="2982672" y="1326712"/>
                </a:moveTo>
                <a:cubicBezTo>
                  <a:pt x="2981077" y="1327851"/>
                  <a:pt x="2980166" y="1330128"/>
                  <a:pt x="2981077" y="1332862"/>
                </a:cubicBezTo>
                <a:cubicBezTo>
                  <a:pt x="2986543" y="1334684"/>
                  <a:pt x="2986543" y="1329217"/>
                  <a:pt x="2988366" y="1327395"/>
                </a:cubicBezTo>
                <a:cubicBezTo>
                  <a:pt x="2986544" y="1325573"/>
                  <a:pt x="2984266" y="1325573"/>
                  <a:pt x="2982672" y="1326712"/>
                </a:cubicBezTo>
                <a:close/>
                <a:moveTo>
                  <a:pt x="332686" y="1326558"/>
                </a:moveTo>
                <a:lnTo>
                  <a:pt x="327689" y="1329734"/>
                </a:lnTo>
                <a:lnTo>
                  <a:pt x="331408" y="1327167"/>
                </a:lnTo>
                <a:close/>
                <a:moveTo>
                  <a:pt x="554398" y="1326029"/>
                </a:moveTo>
                <a:lnTo>
                  <a:pt x="557586" y="1329217"/>
                </a:lnTo>
                <a:lnTo>
                  <a:pt x="556867" y="1329909"/>
                </a:lnTo>
                <a:close/>
                <a:moveTo>
                  <a:pt x="728870" y="1325573"/>
                </a:moveTo>
                <a:cubicBezTo>
                  <a:pt x="725226" y="1320106"/>
                  <a:pt x="719759" y="1329217"/>
                  <a:pt x="717937" y="1332862"/>
                </a:cubicBezTo>
                <a:cubicBezTo>
                  <a:pt x="721581" y="1336506"/>
                  <a:pt x="725226" y="1329217"/>
                  <a:pt x="728870" y="1325573"/>
                </a:cubicBezTo>
                <a:close/>
                <a:moveTo>
                  <a:pt x="595852" y="1325573"/>
                </a:moveTo>
                <a:cubicBezTo>
                  <a:pt x="592207" y="1325573"/>
                  <a:pt x="586741" y="1327395"/>
                  <a:pt x="586741" y="1331039"/>
                </a:cubicBezTo>
                <a:cubicBezTo>
                  <a:pt x="586741" y="1334684"/>
                  <a:pt x="590385" y="1332862"/>
                  <a:pt x="594030" y="1332862"/>
                </a:cubicBezTo>
                <a:cubicBezTo>
                  <a:pt x="594030" y="1331039"/>
                  <a:pt x="590385" y="1329217"/>
                  <a:pt x="590385" y="1329217"/>
                </a:cubicBezTo>
                <a:cubicBezTo>
                  <a:pt x="594030" y="1331039"/>
                  <a:pt x="595852" y="1331039"/>
                  <a:pt x="599496" y="1329217"/>
                </a:cubicBezTo>
                <a:cubicBezTo>
                  <a:pt x="597673" y="1329217"/>
                  <a:pt x="597673" y="1327395"/>
                  <a:pt x="595852" y="1325573"/>
                </a:cubicBezTo>
                <a:close/>
                <a:moveTo>
                  <a:pt x="3372844" y="1323751"/>
                </a:moveTo>
                <a:cubicBezTo>
                  <a:pt x="3371022" y="1323751"/>
                  <a:pt x="3369200" y="1325573"/>
                  <a:pt x="3365556" y="1327395"/>
                </a:cubicBezTo>
                <a:cubicBezTo>
                  <a:pt x="3367378" y="1329217"/>
                  <a:pt x="3372844" y="1327395"/>
                  <a:pt x="3371022" y="1332862"/>
                </a:cubicBezTo>
                <a:cubicBezTo>
                  <a:pt x="3367378" y="1334684"/>
                  <a:pt x="3369200" y="1329217"/>
                  <a:pt x="3365556" y="1331039"/>
                </a:cubicBezTo>
                <a:cubicBezTo>
                  <a:pt x="3365556" y="1336506"/>
                  <a:pt x="3361911" y="1338328"/>
                  <a:pt x="3361911" y="1343795"/>
                </a:cubicBezTo>
                <a:cubicBezTo>
                  <a:pt x="3364645" y="1343795"/>
                  <a:pt x="3366011" y="1342428"/>
                  <a:pt x="3367150" y="1341289"/>
                </a:cubicBezTo>
                <a:lnTo>
                  <a:pt x="3369314" y="1340653"/>
                </a:lnTo>
                <a:lnTo>
                  <a:pt x="3370795" y="1347211"/>
                </a:lnTo>
                <a:cubicBezTo>
                  <a:pt x="3371478" y="1349261"/>
                  <a:pt x="3371933" y="1351083"/>
                  <a:pt x="3371022" y="1352905"/>
                </a:cubicBezTo>
                <a:cubicBezTo>
                  <a:pt x="3374666" y="1351083"/>
                  <a:pt x="3380133" y="1349261"/>
                  <a:pt x="3381955" y="1345617"/>
                </a:cubicBezTo>
                <a:cubicBezTo>
                  <a:pt x="3383777" y="1349261"/>
                  <a:pt x="3385600" y="1352905"/>
                  <a:pt x="3383777" y="1358372"/>
                </a:cubicBezTo>
                <a:cubicBezTo>
                  <a:pt x="3389244" y="1349261"/>
                  <a:pt x="3403821" y="1351083"/>
                  <a:pt x="3401999" y="1338328"/>
                </a:cubicBezTo>
                <a:cubicBezTo>
                  <a:pt x="3397444" y="1341062"/>
                  <a:pt x="3392888" y="1340150"/>
                  <a:pt x="3387649" y="1339239"/>
                </a:cubicBezTo>
                <a:lnTo>
                  <a:pt x="3371055" y="1340058"/>
                </a:lnTo>
                <a:lnTo>
                  <a:pt x="3373983" y="1331950"/>
                </a:lnTo>
                <a:cubicBezTo>
                  <a:pt x="3374211" y="1330128"/>
                  <a:pt x="3373755" y="1328306"/>
                  <a:pt x="3372844" y="1323751"/>
                </a:cubicBezTo>
                <a:close/>
                <a:moveTo>
                  <a:pt x="686960" y="1323751"/>
                </a:moveTo>
                <a:cubicBezTo>
                  <a:pt x="683316" y="1323751"/>
                  <a:pt x="681493" y="1331039"/>
                  <a:pt x="686960" y="1332862"/>
                </a:cubicBezTo>
                <a:cubicBezTo>
                  <a:pt x="690604" y="1329217"/>
                  <a:pt x="685138" y="1327395"/>
                  <a:pt x="686960" y="1323751"/>
                </a:cubicBezTo>
                <a:close/>
                <a:moveTo>
                  <a:pt x="621362" y="1323751"/>
                </a:moveTo>
                <a:cubicBezTo>
                  <a:pt x="619539" y="1331039"/>
                  <a:pt x="630472" y="1329217"/>
                  <a:pt x="634117" y="1329217"/>
                </a:cubicBezTo>
                <a:cubicBezTo>
                  <a:pt x="630472" y="1323751"/>
                  <a:pt x="623185" y="1329217"/>
                  <a:pt x="621362" y="1323751"/>
                </a:cubicBezTo>
                <a:close/>
                <a:moveTo>
                  <a:pt x="377190" y="1323751"/>
                </a:moveTo>
                <a:cubicBezTo>
                  <a:pt x="375368" y="1323751"/>
                  <a:pt x="373546" y="1323751"/>
                  <a:pt x="373546" y="1325573"/>
                </a:cubicBezTo>
                <a:cubicBezTo>
                  <a:pt x="373546" y="1323751"/>
                  <a:pt x="380835" y="1331039"/>
                  <a:pt x="377190" y="1323751"/>
                </a:cubicBezTo>
                <a:close/>
                <a:moveTo>
                  <a:pt x="304303" y="1323751"/>
                </a:moveTo>
                <a:cubicBezTo>
                  <a:pt x="298837" y="1325573"/>
                  <a:pt x="287904" y="1327395"/>
                  <a:pt x="289726" y="1336506"/>
                </a:cubicBezTo>
                <a:cubicBezTo>
                  <a:pt x="295193" y="1331039"/>
                  <a:pt x="298837" y="1329217"/>
                  <a:pt x="304303" y="1323751"/>
                </a:cubicBezTo>
                <a:close/>
                <a:moveTo>
                  <a:pt x="515903" y="1323523"/>
                </a:moveTo>
                <a:cubicBezTo>
                  <a:pt x="514309" y="1324207"/>
                  <a:pt x="512943" y="1325573"/>
                  <a:pt x="513853" y="1327395"/>
                </a:cubicBezTo>
                <a:cubicBezTo>
                  <a:pt x="515676" y="1327395"/>
                  <a:pt x="517498" y="1325573"/>
                  <a:pt x="519320" y="1323751"/>
                </a:cubicBezTo>
                <a:cubicBezTo>
                  <a:pt x="519320" y="1322840"/>
                  <a:pt x="517498" y="1322840"/>
                  <a:pt x="515903" y="1323523"/>
                </a:cubicBezTo>
                <a:close/>
                <a:moveTo>
                  <a:pt x="2833481" y="1321929"/>
                </a:moveTo>
                <a:cubicBezTo>
                  <a:pt x="2828014" y="1321929"/>
                  <a:pt x="2831659" y="1327395"/>
                  <a:pt x="2833481" y="1329217"/>
                </a:cubicBezTo>
                <a:cubicBezTo>
                  <a:pt x="2837125" y="1329217"/>
                  <a:pt x="2831659" y="1325573"/>
                  <a:pt x="2833481" y="1321929"/>
                </a:cubicBezTo>
                <a:close/>
                <a:moveTo>
                  <a:pt x="1014951" y="1321929"/>
                </a:moveTo>
                <a:cubicBezTo>
                  <a:pt x="1014951" y="1325573"/>
                  <a:pt x="1016774" y="1327395"/>
                  <a:pt x="1018596" y="1331039"/>
                </a:cubicBezTo>
                <a:cubicBezTo>
                  <a:pt x="1020418" y="1331039"/>
                  <a:pt x="1024062" y="1327395"/>
                  <a:pt x="1027707" y="1327395"/>
                </a:cubicBezTo>
                <a:cubicBezTo>
                  <a:pt x="1025884" y="1323751"/>
                  <a:pt x="1018596" y="1323751"/>
                  <a:pt x="1014951" y="1321929"/>
                </a:cubicBezTo>
                <a:close/>
                <a:moveTo>
                  <a:pt x="528431" y="1321929"/>
                </a:moveTo>
                <a:cubicBezTo>
                  <a:pt x="521142" y="1323751"/>
                  <a:pt x="517498" y="1331039"/>
                  <a:pt x="513853" y="1336506"/>
                </a:cubicBezTo>
                <a:cubicBezTo>
                  <a:pt x="524786" y="1338328"/>
                  <a:pt x="519320" y="1325573"/>
                  <a:pt x="528431" y="1321929"/>
                </a:cubicBezTo>
                <a:close/>
                <a:moveTo>
                  <a:pt x="3316357" y="1320106"/>
                </a:moveTo>
                <a:cubicBezTo>
                  <a:pt x="3312713" y="1321929"/>
                  <a:pt x="3316357" y="1327395"/>
                  <a:pt x="3316357" y="1331039"/>
                </a:cubicBezTo>
                <a:cubicBezTo>
                  <a:pt x="3318179" y="1334684"/>
                  <a:pt x="3312713" y="1332862"/>
                  <a:pt x="3310890" y="1334684"/>
                </a:cubicBezTo>
                <a:cubicBezTo>
                  <a:pt x="3314535" y="1332862"/>
                  <a:pt x="3314535" y="1327395"/>
                  <a:pt x="3312713" y="1325573"/>
                </a:cubicBezTo>
                <a:cubicBezTo>
                  <a:pt x="3301780" y="1329217"/>
                  <a:pt x="3289024" y="1332862"/>
                  <a:pt x="3287202" y="1345617"/>
                </a:cubicBezTo>
                <a:cubicBezTo>
                  <a:pt x="3290847" y="1347439"/>
                  <a:pt x="3294491" y="1345617"/>
                  <a:pt x="3298135" y="1340150"/>
                </a:cubicBezTo>
                <a:cubicBezTo>
                  <a:pt x="3301780" y="1341972"/>
                  <a:pt x="3296313" y="1347439"/>
                  <a:pt x="3299957" y="1349261"/>
                </a:cubicBezTo>
                <a:cubicBezTo>
                  <a:pt x="3303602" y="1351083"/>
                  <a:pt x="3307246" y="1341972"/>
                  <a:pt x="3303602" y="1341972"/>
                </a:cubicBezTo>
                <a:cubicBezTo>
                  <a:pt x="3307246" y="1338328"/>
                  <a:pt x="3318179" y="1341972"/>
                  <a:pt x="3307246" y="1345617"/>
                </a:cubicBezTo>
                <a:cubicBezTo>
                  <a:pt x="3307246" y="1345617"/>
                  <a:pt x="3312713" y="1349261"/>
                  <a:pt x="3312713" y="1354728"/>
                </a:cubicBezTo>
                <a:cubicBezTo>
                  <a:pt x="3316357" y="1351083"/>
                  <a:pt x="3316357" y="1343795"/>
                  <a:pt x="3320001" y="1336506"/>
                </a:cubicBezTo>
                <a:cubicBezTo>
                  <a:pt x="3321824" y="1336506"/>
                  <a:pt x="3323646" y="1338328"/>
                  <a:pt x="3325468" y="1340150"/>
                </a:cubicBezTo>
                <a:cubicBezTo>
                  <a:pt x="3325468" y="1338328"/>
                  <a:pt x="3323646" y="1332862"/>
                  <a:pt x="3323646" y="1325573"/>
                </a:cubicBezTo>
                <a:cubicBezTo>
                  <a:pt x="3318179" y="1327395"/>
                  <a:pt x="3320001" y="1321929"/>
                  <a:pt x="3316357" y="1320106"/>
                </a:cubicBezTo>
                <a:close/>
                <a:moveTo>
                  <a:pt x="2771527" y="1320106"/>
                </a:moveTo>
                <a:cubicBezTo>
                  <a:pt x="2767882" y="1334684"/>
                  <a:pt x="2767882" y="1351083"/>
                  <a:pt x="2766060" y="1363838"/>
                </a:cubicBezTo>
                <a:cubicBezTo>
                  <a:pt x="2767882" y="1362016"/>
                  <a:pt x="2769705" y="1363838"/>
                  <a:pt x="2771527" y="1365661"/>
                </a:cubicBezTo>
                <a:cubicBezTo>
                  <a:pt x="2775171" y="1351083"/>
                  <a:pt x="2782460" y="1340150"/>
                  <a:pt x="2789749" y="1327395"/>
                </a:cubicBezTo>
                <a:cubicBezTo>
                  <a:pt x="2786104" y="1325573"/>
                  <a:pt x="2784282" y="1327395"/>
                  <a:pt x="2784282" y="1329217"/>
                </a:cubicBezTo>
                <a:cubicBezTo>
                  <a:pt x="2780638" y="1325573"/>
                  <a:pt x="2778816" y="1320106"/>
                  <a:pt x="2771527" y="1320106"/>
                </a:cubicBezTo>
                <a:close/>
                <a:moveTo>
                  <a:pt x="486521" y="1320106"/>
                </a:moveTo>
                <a:cubicBezTo>
                  <a:pt x="486521" y="1323751"/>
                  <a:pt x="488343" y="1325573"/>
                  <a:pt x="490165" y="1329217"/>
                </a:cubicBezTo>
                <a:cubicBezTo>
                  <a:pt x="491987" y="1325573"/>
                  <a:pt x="490165" y="1316462"/>
                  <a:pt x="486521" y="1320106"/>
                </a:cubicBezTo>
                <a:close/>
                <a:moveTo>
                  <a:pt x="1260945" y="1318284"/>
                </a:moveTo>
                <a:cubicBezTo>
                  <a:pt x="1262767" y="1323751"/>
                  <a:pt x="1262767" y="1316462"/>
                  <a:pt x="1264589" y="1318284"/>
                </a:cubicBezTo>
                <a:cubicBezTo>
                  <a:pt x="1262767" y="1322840"/>
                  <a:pt x="1260489" y="1327395"/>
                  <a:pt x="1258895" y="1332178"/>
                </a:cubicBezTo>
                <a:lnTo>
                  <a:pt x="1257817" y="1342489"/>
                </a:lnTo>
                <a:lnTo>
                  <a:pt x="1256121" y="1340793"/>
                </a:lnTo>
                <a:close/>
                <a:moveTo>
                  <a:pt x="501098" y="1318284"/>
                </a:moveTo>
                <a:lnTo>
                  <a:pt x="501098" y="1320106"/>
                </a:lnTo>
                <a:lnTo>
                  <a:pt x="501098" y="1325573"/>
                </a:lnTo>
                <a:cubicBezTo>
                  <a:pt x="499276" y="1323751"/>
                  <a:pt x="501098" y="1321929"/>
                  <a:pt x="502920" y="1321929"/>
                </a:cubicBezTo>
                <a:cubicBezTo>
                  <a:pt x="502920" y="1320106"/>
                  <a:pt x="501098" y="1320106"/>
                  <a:pt x="501098" y="1320106"/>
                </a:cubicBezTo>
                <a:cubicBezTo>
                  <a:pt x="506565" y="1320106"/>
                  <a:pt x="502920" y="1318284"/>
                  <a:pt x="501098" y="1318284"/>
                </a:cubicBezTo>
                <a:close/>
                <a:moveTo>
                  <a:pt x="484700" y="1318284"/>
                </a:moveTo>
                <a:cubicBezTo>
                  <a:pt x="482876" y="1320106"/>
                  <a:pt x="481054" y="1320106"/>
                  <a:pt x="479232" y="1321929"/>
                </a:cubicBezTo>
                <a:cubicBezTo>
                  <a:pt x="479232" y="1325573"/>
                  <a:pt x="484700" y="1323751"/>
                  <a:pt x="486521" y="1325573"/>
                </a:cubicBezTo>
                <a:cubicBezTo>
                  <a:pt x="488343" y="1323751"/>
                  <a:pt x="486521" y="1321929"/>
                  <a:pt x="484700" y="1318284"/>
                </a:cubicBezTo>
                <a:close/>
                <a:moveTo>
                  <a:pt x="458960" y="1316690"/>
                </a:moveTo>
                <a:cubicBezTo>
                  <a:pt x="456455" y="1315551"/>
                  <a:pt x="453721" y="1315551"/>
                  <a:pt x="450077" y="1318284"/>
                </a:cubicBezTo>
                <a:cubicBezTo>
                  <a:pt x="451899" y="1318284"/>
                  <a:pt x="451899" y="1320106"/>
                  <a:pt x="453722" y="1321929"/>
                </a:cubicBezTo>
                <a:cubicBezTo>
                  <a:pt x="450077" y="1320106"/>
                  <a:pt x="442789" y="1318284"/>
                  <a:pt x="442789" y="1325573"/>
                </a:cubicBezTo>
                <a:cubicBezTo>
                  <a:pt x="440966" y="1327395"/>
                  <a:pt x="446433" y="1331039"/>
                  <a:pt x="448256" y="1332862"/>
                </a:cubicBezTo>
                <a:cubicBezTo>
                  <a:pt x="451899" y="1332862"/>
                  <a:pt x="446433" y="1329217"/>
                  <a:pt x="450077" y="1329217"/>
                </a:cubicBezTo>
                <a:cubicBezTo>
                  <a:pt x="455544" y="1332862"/>
                  <a:pt x="461010" y="1345617"/>
                  <a:pt x="466478" y="1338328"/>
                </a:cubicBezTo>
                <a:cubicBezTo>
                  <a:pt x="466478" y="1334684"/>
                  <a:pt x="462832" y="1332862"/>
                  <a:pt x="461010" y="1329217"/>
                </a:cubicBezTo>
                <a:cubicBezTo>
                  <a:pt x="461010" y="1329217"/>
                  <a:pt x="461010" y="1331039"/>
                  <a:pt x="462832" y="1332862"/>
                </a:cubicBezTo>
                <a:cubicBezTo>
                  <a:pt x="459188" y="1331039"/>
                  <a:pt x="455544" y="1329217"/>
                  <a:pt x="453722" y="1325573"/>
                </a:cubicBezTo>
                <a:cubicBezTo>
                  <a:pt x="459188" y="1325573"/>
                  <a:pt x="459188" y="1329217"/>
                  <a:pt x="461010" y="1331039"/>
                </a:cubicBezTo>
                <a:cubicBezTo>
                  <a:pt x="461010" y="1329217"/>
                  <a:pt x="461010" y="1327395"/>
                  <a:pt x="459188" y="1325573"/>
                </a:cubicBezTo>
                <a:cubicBezTo>
                  <a:pt x="464655" y="1323751"/>
                  <a:pt x="464655" y="1334684"/>
                  <a:pt x="470121" y="1329217"/>
                </a:cubicBezTo>
                <a:cubicBezTo>
                  <a:pt x="475589" y="1323751"/>
                  <a:pt x="461010" y="1325573"/>
                  <a:pt x="466478" y="1321929"/>
                </a:cubicBezTo>
                <a:cubicBezTo>
                  <a:pt x="463743" y="1320107"/>
                  <a:pt x="461466" y="1317829"/>
                  <a:pt x="458960" y="1316690"/>
                </a:cubicBezTo>
                <a:close/>
                <a:moveTo>
                  <a:pt x="3248937" y="1316462"/>
                </a:moveTo>
                <a:cubicBezTo>
                  <a:pt x="3247114" y="1320106"/>
                  <a:pt x="3252581" y="1327395"/>
                  <a:pt x="3256225" y="1320106"/>
                </a:cubicBezTo>
                <a:cubicBezTo>
                  <a:pt x="3258047" y="1321929"/>
                  <a:pt x="3256225" y="1327395"/>
                  <a:pt x="3254403" y="1329217"/>
                </a:cubicBezTo>
                <a:cubicBezTo>
                  <a:pt x="3254403" y="1331039"/>
                  <a:pt x="3258047" y="1329217"/>
                  <a:pt x="3258047" y="1331039"/>
                </a:cubicBezTo>
                <a:cubicBezTo>
                  <a:pt x="3263514" y="1325573"/>
                  <a:pt x="3261692" y="1320106"/>
                  <a:pt x="3258047" y="1316462"/>
                </a:cubicBezTo>
                <a:cubicBezTo>
                  <a:pt x="3256225" y="1320106"/>
                  <a:pt x="3250759" y="1321929"/>
                  <a:pt x="3248937" y="1316462"/>
                </a:cubicBezTo>
                <a:close/>
                <a:moveTo>
                  <a:pt x="2563799" y="1316462"/>
                </a:moveTo>
                <a:cubicBezTo>
                  <a:pt x="2561977" y="1316462"/>
                  <a:pt x="2560155" y="1316462"/>
                  <a:pt x="2558332" y="1318284"/>
                </a:cubicBezTo>
                <a:cubicBezTo>
                  <a:pt x="2558332" y="1321929"/>
                  <a:pt x="2558332" y="1323751"/>
                  <a:pt x="2560155" y="1325573"/>
                </a:cubicBezTo>
                <a:close/>
                <a:moveTo>
                  <a:pt x="829089" y="1316462"/>
                </a:moveTo>
                <a:cubicBezTo>
                  <a:pt x="823623" y="1316462"/>
                  <a:pt x="818156" y="1314640"/>
                  <a:pt x="814512" y="1321929"/>
                </a:cubicBezTo>
                <a:cubicBezTo>
                  <a:pt x="818156" y="1323751"/>
                  <a:pt x="825445" y="1323751"/>
                  <a:pt x="829089" y="1316462"/>
                </a:cubicBezTo>
                <a:close/>
                <a:moveTo>
                  <a:pt x="801757" y="1316462"/>
                </a:moveTo>
                <a:cubicBezTo>
                  <a:pt x="799935" y="1316462"/>
                  <a:pt x="798112" y="1318284"/>
                  <a:pt x="796290" y="1320106"/>
                </a:cubicBezTo>
                <a:cubicBezTo>
                  <a:pt x="798112" y="1321929"/>
                  <a:pt x="798112" y="1321929"/>
                  <a:pt x="799935" y="1321929"/>
                </a:cubicBezTo>
                <a:cubicBezTo>
                  <a:pt x="801757" y="1320106"/>
                  <a:pt x="803579" y="1318284"/>
                  <a:pt x="801757" y="1316462"/>
                </a:cubicBezTo>
                <a:close/>
                <a:moveTo>
                  <a:pt x="595852" y="1316462"/>
                </a:moveTo>
                <a:lnTo>
                  <a:pt x="597119" y="1320264"/>
                </a:lnTo>
                <a:lnTo>
                  <a:pt x="595480" y="1320733"/>
                </a:lnTo>
                <a:lnTo>
                  <a:pt x="595168" y="1320562"/>
                </a:lnTo>
                <a:lnTo>
                  <a:pt x="594883" y="1320903"/>
                </a:lnTo>
                <a:lnTo>
                  <a:pt x="594484" y="1321018"/>
                </a:lnTo>
                <a:cubicBezTo>
                  <a:pt x="593573" y="1321018"/>
                  <a:pt x="593118" y="1321018"/>
                  <a:pt x="594030" y="1321929"/>
                </a:cubicBezTo>
                <a:lnTo>
                  <a:pt x="594883" y="1320903"/>
                </a:lnTo>
                <a:lnTo>
                  <a:pt x="595480" y="1320733"/>
                </a:lnTo>
                <a:lnTo>
                  <a:pt x="597673" y="1321929"/>
                </a:lnTo>
                <a:lnTo>
                  <a:pt x="597119" y="1320264"/>
                </a:lnTo>
                <a:lnTo>
                  <a:pt x="597673" y="1320106"/>
                </a:lnTo>
                <a:cubicBezTo>
                  <a:pt x="595852" y="1320106"/>
                  <a:pt x="595852" y="1320106"/>
                  <a:pt x="595852" y="1316462"/>
                </a:cubicBezTo>
                <a:close/>
                <a:moveTo>
                  <a:pt x="358969" y="1316462"/>
                </a:moveTo>
                <a:cubicBezTo>
                  <a:pt x="355324" y="1318284"/>
                  <a:pt x="351680" y="1316462"/>
                  <a:pt x="348037" y="1320106"/>
                </a:cubicBezTo>
                <a:cubicBezTo>
                  <a:pt x="349858" y="1321929"/>
                  <a:pt x="351680" y="1323751"/>
                  <a:pt x="351680" y="1323751"/>
                </a:cubicBezTo>
                <a:cubicBezTo>
                  <a:pt x="355324" y="1321929"/>
                  <a:pt x="357146" y="1318284"/>
                  <a:pt x="358969" y="1316462"/>
                </a:cubicBezTo>
                <a:close/>
                <a:moveTo>
                  <a:pt x="1141330" y="1315998"/>
                </a:moveTo>
                <a:lnTo>
                  <a:pt x="1141820" y="1316690"/>
                </a:lnTo>
                <a:lnTo>
                  <a:pt x="1141774" y="1316860"/>
                </a:lnTo>
                <a:close/>
                <a:moveTo>
                  <a:pt x="439145" y="1314677"/>
                </a:moveTo>
                <a:cubicBezTo>
                  <a:pt x="437322" y="1316498"/>
                  <a:pt x="437322" y="1316498"/>
                  <a:pt x="437322" y="1318322"/>
                </a:cubicBezTo>
                <a:lnTo>
                  <a:pt x="435500" y="1316499"/>
                </a:lnTo>
                <a:close/>
                <a:moveTo>
                  <a:pt x="433677" y="1314677"/>
                </a:moveTo>
                <a:lnTo>
                  <a:pt x="435500" y="1316499"/>
                </a:lnTo>
                <a:lnTo>
                  <a:pt x="435044" y="1316727"/>
                </a:lnTo>
                <a:cubicBezTo>
                  <a:pt x="434133" y="1316499"/>
                  <a:pt x="433677" y="1315588"/>
                  <a:pt x="433677" y="1314677"/>
                </a:cubicBezTo>
                <a:close/>
                <a:moveTo>
                  <a:pt x="3385600" y="1314640"/>
                </a:moveTo>
                <a:cubicBezTo>
                  <a:pt x="3383777" y="1316462"/>
                  <a:pt x="3381955" y="1316462"/>
                  <a:pt x="3381955" y="1316462"/>
                </a:cubicBezTo>
                <a:cubicBezTo>
                  <a:pt x="3381955" y="1325573"/>
                  <a:pt x="3389244" y="1329217"/>
                  <a:pt x="3381955" y="1336506"/>
                </a:cubicBezTo>
                <a:cubicBezTo>
                  <a:pt x="3391066" y="1338328"/>
                  <a:pt x="3385600" y="1327395"/>
                  <a:pt x="3389244" y="1323751"/>
                </a:cubicBezTo>
                <a:cubicBezTo>
                  <a:pt x="3387422" y="1321929"/>
                  <a:pt x="3383777" y="1321929"/>
                  <a:pt x="3385600" y="1314640"/>
                </a:cubicBezTo>
                <a:close/>
                <a:moveTo>
                  <a:pt x="3177872" y="1314640"/>
                </a:moveTo>
                <a:cubicBezTo>
                  <a:pt x="3172405" y="1314640"/>
                  <a:pt x="3179694" y="1320106"/>
                  <a:pt x="3176050" y="1320106"/>
                </a:cubicBezTo>
                <a:cubicBezTo>
                  <a:pt x="3177872" y="1321929"/>
                  <a:pt x="3179694" y="1321929"/>
                  <a:pt x="3183338" y="1321929"/>
                </a:cubicBezTo>
                <a:cubicBezTo>
                  <a:pt x="3185160" y="1323751"/>
                  <a:pt x="3186982" y="1323751"/>
                  <a:pt x="3190627" y="1323751"/>
                </a:cubicBezTo>
                <a:cubicBezTo>
                  <a:pt x="3186982" y="1321929"/>
                  <a:pt x="3185160" y="1318284"/>
                  <a:pt x="3183338" y="1314640"/>
                </a:cubicBezTo>
                <a:cubicBezTo>
                  <a:pt x="3183338" y="1314640"/>
                  <a:pt x="3181516" y="1314640"/>
                  <a:pt x="3181516" y="1314640"/>
                </a:cubicBezTo>
                <a:cubicBezTo>
                  <a:pt x="3185160" y="1318284"/>
                  <a:pt x="3183338" y="1316462"/>
                  <a:pt x="3183338" y="1321929"/>
                </a:cubicBezTo>
                <a:cubicBezTo>
                  <a:pt x="3183338" y="1318284"/>
                  <a:pt x="3177872" y="1318284"/>
                  <a:pt x="3177872" y="1314640"/>
                </a:cubicBezTo>
                <a:close/>
                <a:moveTo>
                  <a:pt x="2838947" y="1314640"/>
                </a:moveTo>
                <a:cubicBezTo>
                  <a:pt x="2835303" y="1320106"/>
                  <a:pt x="2838947" y="1323751"/>
                  <a:pt x="2835303" y="1332862"/>
                </a:cubicBezTo>
                <a:cubicBezTo>
                  <a:pt x="2844414" y="1340150"/>
                  <a:pt x="2849880" y="1349261"/>
                  <a:pt x="2858991" y="1354728"/>
                </a:cubicBezTo>
                <a:cubicBezTo>
                  <a:pt x="2853525" y="1345617"/>
                  <a:pt x="2846236" y="1340150"/>
                  <a:pt x="2848058" y="1325573"/>
                </a:cubicBezTo>
                <a:cubicBezTo>
                  <a:pt x="2844414" y="1321929"/>
                  <a:pt x="2840769" y="1318284"/>
                  <a:pt x="2838947" y="1314640"/>
                </a:cubicBezTo>
                <a:close/>
                <a:moveTo>
                  <a:pt x="2623931" y="1314640"/>
                </a:moveTo>
                <a:cubicBezTo>
                  <a:pt x="2623931" y="1320106"/>
                  <a:pt x="2616642" y="1314640"/>
                  <a:pt x="2616642" y="1320106"/>
                </a:cubicBezTo>
                <a:cubicBezTo>
                  <a:pt x="2614820" y="1320106"/>
                  <a:pt x="2614820" y="1320106"/>
                  <a:pt x="2614820" y="1318284"/>
                </a:cubicBezTo>
                <a:lnTo>
                  <a:pt x="2594776" y="1338328"/>
                </a:lnTo>
                <a:lnTo>
                  <a:pt x="2602065" y="1349261"/>
                </a:lnTo>
                <a:lnTo>
                  <a:pt x="2623931" y="1323751"/>
                </a:lnTo>
                <a:lnTo>
                  <a:pt x="2638508" y="1331039"/>
                </a:lnTo>
                <a:lnTo>
                  <a:pt x="2649441" y="1327395"/>
                </a:lnTo>
                <a:cubicBezTo>
                  <a:pt x="2647619" y="1325573"/>
                  <a:pt x="2647619" y="1321929"/>
                  <a:pt x="2645797" y="1320106"/>
                </a:cubicBezTo>
                <a:cubicBezTo>
                  <a:pt x="2643975" y="1323751"/>
                  <a:pt x="2627575" y="1314640"/>
                  <a:pt x="2625753" y="1318284"/>
                </a:cubicBezTo>
                <a:cubicBezTo>
                  <a:pt x="2625753" y="1318284"/>
                  <a:pt x="2623931" y="1316462"/>
                  <a:pt x="2623931" y="1314640"/>
                </a:cubicBezTo>
                <a:close/>
                <a:moveTo>
                  <a:pt x="883755" y="1314640"/>
                </a:moveTo>
                <a:cubicBezTo>
                  <a:pt x="881933" y="1318284"/>
                  <a:pt x="880111" y="1320106"/>
                  <a:pt x="876466" y="1320106"/>
                </a:cubicBezTo>
                <a:cubicBezTo>
                  <a:pt x="878288" y="1323751"/>
                  <a:pt x="878288" y="1320106"/>
                  <a:pt x="880111" y="1321929"/>
                </a:cubicBezTo>
                <a:cubicBezTo>
                  <a:pt x="881933" y="1321929"/>
                  <a:pt x="881933" y="1320106"/>
                  <a:pt x="881933" y="1318284"/>
                </a:cubicBezTo>
                <a:cubicBezTo>
                  <a:pt x="883755" y="1318284"/>
                  <a:pt x="883755" y="1321929"/>
                  <a:pt x="887399" y="1318284"/>
                </a:cubicBezTo>
                <a:cubicBezTo>
                  <a:pt x="885577" y="1316462"/>
                  <a:pt x="887399" y="1314640"/>
                  <a:pt x="883755" y="1314640"/>
                </a:cubicBezTo>
                <a:close/>
                <a:moveTo>
                  <a:pt x="557586" y="1314640"/>
                </a:moveTo>
                <a:cubicBezTo>
                  <a:pt x="555763" y="1317373"/>
                  <a:pt x="553486" y="1320562"/>
                  <a:pt x="552802" y="1323523"/>
                </a:cubicBezTo>
                <a:lnTo>
                  <a:pt x="554398" y="1326029"/>
                </a:lnTo>
                <a:lnTo>
                  <a:pt x="552119" y="1323751"/>
                </a:lnTo>
                <a:cubicBezTo>
                  <a:pt x="550297" y="1327395"/>
                  <a:pt x="544830" y="1331039"/>
                  <a:pt x="546653" y="1332862"/>
                </a:cubicBezTo>
                <a:cubicBezTo>
                  <a:pt x="548475" y="1339240"/>
                  <a:pt x="549841" y="1337873"/>
                  <a:pt x="551436" y="1335139"/>
                </a:cubicBezTo>
                <a:lnTo>
                  <a:pt x="556867" y="1329909"/>
                </a:lnTo>
                <a:lnTo>
                  <a:pt x="557586" y="1331039"/>
                </a:lnTo>
                <a:cubicBezTo>
                  <a:pt x="555763" y="1325573"/>
                  <a:pt x="566697" y="1323751"/>
                  <a:pt x="561230" y="1318284"/>
                </a:cubicBezTo>
                <a:cubicBezTo>
                  <a:pt x="561230" y="1316462"/>
                  <a:pt x="557586" y="1316462"/>
                  <a:pt x="557586" y="1314640"/>
                </a:cubicBezTo>
                <a:close/>
                <a:moveTo>
                  <a:pt x="3057608" y="1312818"/>
                </a:moveTo>
                <a:cubicBezTo>
                  <a:pt x="3059430" y="1318284"/>
                  <a:pt x="3057608" y="1320106"/>
                  <a:pt x="3055786" y="1323751"/>
                </a:cubicBezTo>
                <a:cubicBezTo>
                  <a:pt x="3059430" y="1323751"/>
                  <a:pt x="3061253" y="1312818"/>
                  <a:pt x="3057608" y="1312818"/>
                </a:cubicBezTo>
                <a:close/>
                <a:moveTo>
                  <a:pt x="1929683" y="1312818"/>
                </a:moveTo>
                <a:cubicBezTo>
                  <a:pt x="1927861" y="1314640"/>
                  <a:pt x="1927861" y="1316462"/>
                  <a:pt x="1926038" y="1316462"/>
                </a:cubicBezTo>
                <a:lnTo>
                  <a:pt x="1936972" y="1321929"/>
                </a:lnTo>
                <a:lnTo>
                  <a:pt x="1938793" y="1320106"/>
                </a:lnTo>
                <a:cubicBezTo>
                  <a:pt x="1935149" y="1316462"/>
                  <a:pt x="1933327" y="1309173"/>
                  <a:pt x="1929683" y="1312818"/>
                </a:cubicBezTo>
                <a:close/>
                <a:moveTo>
                  <a:pt x="1222679" y="1312818"/>
                </a:moveTo>
                <a:cubicBezTo>
                  <a:pt x="1220858" y="1310995"/>
                  <a:pt x="1217213" y="1314640"/>
                  <a:pt x="1217213" y="1316462"/>
                </a:cubicBezTo>
                <a:cubicBezTo>
                  <a:pt x="1219036" y="1316462"/>
                  <a:pt x="1219036" y="1318284"/>
                  <a:pt x="1220858" y="1316462"/>
                </a:cubicBezTo>
                <a:cubicBezTo>
                  <a:pt x="1220858" y="1320106"/>
                  <a:pt x="1215390" y="1314640"/>
                  <a:pt x="1213568" y="1318284"/>
                </a:cubicBezTo>
                <a:cubicBezTo>
                  <a:pt x="1213568" y="1320106"/>
                  <a:pt x="1217213" y="1320106"/>
                  <a:pt x="1215390" y="1321929"/>
                </a:cubicBezTo>
                <a:cubicBezTo>
                  <a:pt x="1217213" y="1320106"/>
                  <a:pt x="1219036" y="1321929"/>
                  <a:pt x="1215390" y="1323751"/>
                </a:cubicBezTo>
                <a:cubicBezTo>
                  <a:pt x="1219036" y="1325573"/>
                  <a:pt x="1219036" y="1323751"/>
                  <a:pt x="1219036" y="1321929"/>
                </a:cubicBezTo>
                <a:lnTo>
                  <a:pt x="1222186" y="1329808"/>
                </a:lnTo>
                <a:lnTo>
                  <a:pt x="1208102" y="1318284"/>
                </a:lnTo>
                <a:cubicBezTo>
                  <a:pt x="1202636" y="1323751"/>
                  <a:pt x="1193525" y="1309173"/>
                  <a:pt x="1188058" y="1316462"/>
                </a:cubicBezTo>
                <a:cubicBezTo>
                  <a:pt x="1200814" y="1331039"/>
                  <a:pt x="1215390" y="1334684"/>
                  <a:pt x="1228146" y="1340150"/>
                </a:cubicBezTo>
                <a:cubicBezTo>
                  <a:pt x="1228146" y="1338328"/>
                  <a:pt x="1228146" y="1336506"/>
                  <a:pt x="1228146" y="1334684"/>
                </a:cubicBezTo>
                <a:lnTo>
                  <a:pt x="1222323" y="1329920"/>
                </a:lnTo>
                <a:lnTo>
                  <a:pt x="1228146" y="1331039"/>
                </a:lnTo>
                <a:cubicBezTo>
                  <a:pt x="1226323" y="1323751"/>
                  <a:pt x="1222679" y="1318284"/>
                  <a:pt x="1222679" y="1312818"/>
                </a:cubicBezTo>
                <a:close/>
                <a:moveTo>
                  <a:pt x="809046" y="1312818"/>
                </a:moveTo>
                <a:cubicBezTo>
                  <a:pt x="807223" y="1314640"/>
                  <a:pt x="810868" y="1316462"/>
                  <a:pt x="810868" y="1318284"/>
                </a:cubicBezTo>
                <a:cubicBezTo>
                  <a:pt x="810868" y="1316462"/>
                  <a:pt x="812690" y="1316462"/>
                  <a:pt x="812690" y="1314640"/>
                </a:cubicBezTo>
                <a:cubicBezTo>
                  <a:pt x="812690" y="1310995"/>
                  <a:pt x="810868" y="1314640"/>
                  <a:pt x="809046" y="1312818"/>
                </a:cubicBezTo>
                <a:close/>
                <a:moveTo>
                  <a:pt x="736159" y="1312818"/>
                </a:moveTo>
                <a:cubicBezTo>
                  <a:pt x="734336" y="1314640"/>
                  <a:pt x="732515" y="1316462"/>
                  <a:pt x="732515" y="1316462"/>
                </a:cubicBezTo>
                <a:cubicBezTo>
                  <a:pt x="734336" y="1320106"/>
                  <a:pt x="736159" y="1318284"/>
                  <a:pt x="737981" y="1318284"/>
                </a:cubicBezTo>
                <a:cubicBezTo>
                  <a:pt x="739803" y="1316462"/>
                  <a:pt x="736159" y="1314640"/>
                  <a:pt x="736159" y="1312818"/>
                </a:cubicBezTo>
                <a:close/>
                <a:moveTo>
                  <a:pt x="526609" y="1312818"/>
                </a:moveTo>
                <a:cubicBezTo>
                  <a:pt x="524786" y="1310995"/>
                  <a:pt x="513853" y="1316462"/>
                  <a:pt x="515676" y="1320106"/>
                </a:cubicBezTo>
                <a:cubicBezTo>
                  <a:pt x="526609" y="1327395"/>
                  <a:pt x="519320" y="1310995"/>
                  <a:pt x="526609" y="1312818"/>
                </a:cubicBezTo>
                <a:close/>
                <a:moveTo>
                  <a:pt x="499276" y="1312818"/>
                </a:moveTo>
                <a:cubicBezTo>
                  <a:pt x="497454" y="1312818"/>
                  <a:pt x="497454" y="1312818"/>
                  <a:pt x="495632" y="1314640"/>
                </a:cubicBezTo>
                <a:cubicBezTo>
                  <a:pt x="497454" y="1316462"/>
                  <a:pt x="499276" y="1316462"/>
                  <a:pt x="501098" y="1314640"/>
                </a:cubicBezTo>
                <a:cubicBezTo>
                  <a:pt x="501098" y="1314640"/>
                  <a:pt x="499276" y="1312818"/>
                  <a:pt x="499276" y="1312818"/>
                </a:cubicBezTo>
                <a:close/>
                <a:moveTo>
                  <a:pt x="1128653" y="1312695"/>
                </a:moveTo>
                <a:lnTo>
                  <a:pt x="1131570" y="1314640"/>
                </a:lnTo>
                <a:cubicBezTo>
                  <a:pt x="1133392" y="1318285"/>
                  <a:pt x="1134304" y="1323296"/>
                  <a:pt x="1134759" y="1328079"/>
                </a:cubicBezTo>
                <a:lnTo>
                  <a:pt x="1135104" y="1337217"/>
                </a:lnTo>
                <a:lnTo>
                  <a:pt x="1132253" y="1330128"/>
                </a:lnTo>
                <a:close/>
                <a:moveTo>
                  <a:pt x="3267327" y="1312450"/>
                </a:moveTo>
                <a:lnTo>
                  <a:pt x="3268980" y="1312818"/>
                </a:lnTo>
                <a:cubicBezTo>
                  <a:pt x="3267158" y="1312818"/>
                  <a:pt x="3267158" y="1313274"/>
                  <a:pt x="3267614" y="1313957"/>
                </a:cubicBezTo>
                <a:lnTo>
                  <a:pt x="3267986" y="1314640"/>
                </a:lnTo>
                <a:lnTo>
                  <a:pt x="3267158" y="1314640"/>
                </a:lnTo>
                <a:close/>
                <a:moveTo>
                  <a:pt x="333686" y="1311906"/>
                </a:moveTo>
                <a:cubicBezTo>
                  <a:pt x="330270" y="1312362"/>
                  <a:pt x="327081" y="1313729"/>
                  <a:pt x="324347" y="1316462"/>
                </a:cubicBezTo>
                <a:lnTo>
                  <a:pt x="326169" y="1314640"/>
                </a:lnTo>
                <a:cubicBezTo>
                  <a:pt x="315236" y="1314640"/>
                  <a:pt x="307948" y="1323751"/>
                  <a:pt x="298837" y="1332862"/>
                </a:cubicBezTo>
                <a:cubicBezTo>
                  <a:pt x="289726" y="1338328"/>
                  <a:pt x="278793" y="1343795"/>
                  <a:pt x="280615" y="1351083"/>
                </a:cubicBezTo>
                <a:cubicBezTo>
                  <a:pt x="289726" y="1348350"/>
                  <a:pt x="300204" y="1345161"/>
                  <a:pt x="310225" y="1340834"/>
                </a:cubicBezTo>
                <a:lnTo>
                  <a:pt x="327689" y="1329734"/>
                </a:lnTo>
                <a:lnTo>
                  <a:pt x="315236" y="1338328"/>
                </a:lnTo>
                <a:cubicBezTo>
                  <a:pt x="322525" y="1345617"/>
                  <a:pt x="333458" y="1331039"/>
                  <a:pt x="340747" y="1329217"/>
                </a:cubicBezTo>
                <a:cubicBezTo>
                  <a:pt x="338926" y="1327395"/>
                  <a:pt x="344391" y="1325573"/>
                  <a:pt x="346213" y="1320106"/>
                </a:cubicBezTo>
                <a:cubicBezTo>
                  <a:pt x="346213" y="1321929"/>
                  <a:pt x="342569" y="1323751"/>
                  <a:pt x="344391" y="1325573"/>
                </a:cubicBezTo>
                <a:cubicBezTo>
                  <a:pt x="346213" y="1325573"/>
                  <a:pt x="348037" y="1325573"/>
                  <a:pt x="349858" y="1323751"/>
                </a:cubicBezTo>
                <a:cubicBezTo>
                  <a:pt x="349858" y="1323751"/>
                  <a:pt x="348037" y="1321929"/>
                  <a:pt x="346213" y="1320106"/>
                </a:cubicBezTo>
                <a:lnTo>
                  <a:pt x="332686" y="1326558"/>
                </a:lnTo>
                <a:lnTo>
                  <a:pt x="337102" y="1323751"/>
                </a:lnTo>
                <a:cubicBezTo>
                  <a:pt x="331636" y="1318284"/>
                  <a:pt x="327993" y="1327395"/>
                  <a:pt x="322525" y="1321929"/>
                </a:cubicBezTo>
                <a:cubicBezTo>
                  <a:pt x="329814" y="1320106"/>
                  <a:pt x="337102" y="1316462"/>
                  <a:pt x="344391" y="1312818"/>
                </a:cubicBezTo>
                <a:cubicBezTo>
                  <a:pt x="340747" y="1311907"/>
                  <a:pt x="337103" y="1311451"/>
                  <a:pt x="333686" y="1311906"/>
                </a:cubicBezTo>
                <a:close/>
                <a:moveTo>
                  <a:pt x="3255542" y="1310995"/>
                </a:moveTo>
                <a:cubicBezTo>
                  <a:pt x="3253492" y="1310995"/>
                  <a:pt x="3250759" y="1311907"/>
                  <a:pt x="3248937" y="1312818"/>
                </a:cubicBezTo>
                <a:cubicBezTo>
                  <a:pt x="3248937" y="1318284"/>
                  <a:pt x="3254403" y="1314640"/>
                  <a:pt x="3258047" y="1314640"/>
                </a:cubicBezTo>
                <a:cubicBezTo>
                  <a:pt x="3258958" y="1311907"/>
                  <a:pt x="3257592" y="1310995"/>
                  <a:pt x="3255542" y="1310995"/>
                </a:cubicBezTo>
                <a:close/>
                <a:moveTo>
                  <a:pt x="3048497" y="1310995"/>
                </a:moveTo>
                <a:cubicBezTo>
                  <a:pt x="3044853" y="1310995"/>
                  <a:pt x="3048497" y="1318284"/>
                  <a:pt x="3044853" y="1321929"/>
                </a:cubicBezTo>
                <a:cubicBezTo>
                  <a:pt x="3048497" y="1321929"/>
                  <a:pt x="3050319" y="1323751"/>
                  <a:pt x="3053964" y="1323751"/>
                </a:cubicBezTo>
                <a:cubicBezTo>
                  <a:pt x="3050319" y="1318284"/>
                  <a:pt x="3048497" y="1318284"/>
                  <a:pt x="3048497" y="1310995"/>
                </a:cubicBezTo>
                <a:close/>
                <a:moveTo>
                  <a:pt x="1162547" y="1310995"/>
                </a:moveTo>
                <a:cubicBezTo>
                  <a:pt x="1160725" y="1310995"/>
                  <a:pt x="1160725" y="1312818"/>
                  <a:pt x="1158903" y="1312818"/>
                </a:cubicBezTo>
                <a:cubicBezTo>
                  <a:pt x="1160725" y="1318284"/>
                  <a:pt x="1164370" y="1312818"/>
                  <a:pt x="1166192" y="1316462"/>
                </a:cubicBezTo>
                <a:cubicBezTo>
                  <a:pt x="1168014" y="1316462"/>
                  <a:pt x="1168014" y="1318284"/>
                  <a:pt x="1169836" y="1320106"/>
                </a:cubicBezTo>
                <a:cubicBezTo>
                  <a:pt x="1171658" y="1320106"/>
                  <a:pt x="1171658" y="1320106"/>
                  <a:pt x="1173481" y="1320106"/>
                </a:cubicBezTo>
                <a:cubicBezTo>
                  <a:pt x="1171658" y="1320106"/>
                  <a:pt x="1169836" y="1314640"/>
                  <a:pt x="1166192" y="1316462"/>
                </a:cubicBezTo>
                <a:cubicBezTo>
                  <a:pt x="1168014" y="1312818"/>
                  <a:pt x="1164370" y="1312818"/>
                  <a:pt x="1162547" y="1310995"/>
                </a:cubicBezTo>
                <a:close/>
                <a:moveTo>
                  <a:pt x="646872" y="1310995"/>
                </a:moveTo>
                <a:cubicBezTo>
                  <a:pt x="645050" y="1318284"/>
                  <a:pt x="648694" y="1320106"/>
                  <a:pt x="652339" y="1323751"/>
                </a:cubicBezTo>
                <a:cubicBezTo>
                  <a:pt x="652339" y="1323751"/>
                  <a:pt x="652339" y="1321929"/>
                  <a:pt x="652339" y="1321929"/>
                </a:cubicBezTo>
                <a:cubicBezTo>
                  <a:pt x="654161" y="1323751"/>
                  <a:pt x="657805" y="1325573"/>
                  <a:pt x="659627" y="1327395"/>
                </a:cubicBezTo>
                <a:cubicBezTo>
                  <a:pt x="661449" y="1325573"/>
                  <a:pt x="661449" y="1325573"/>
                  <a:pt x="663272" y="1323751"/>
                </a:cubicBezTo>
                <a:cubicBezTo>
                  <a:pt x="661449" y="1320106"/>
                  <a:pt x="657805" y="1316462"/>
                  <a:pt x="655983" y="1314640"/>
                </a:cubicBezTo>
                <a:cubicBezTo>
                  <a:pt x="652339" y="1318284"/>
                  <a:pt x="650516" y="1320106"/>
                  <a:pt x="652339" y="1321929"/>
                </a:cubicBezTo>
                <a:cubicBezTo>
                  <a:pt x="650516" y="1320106"/>
                  <a:pt x="646872" y="1316462"/>
                  <a:pt x="650516" y="1310995"/>
                </a:cubicBezTo>
                <a:cubicBezTo>
                  <a:pt x="648694" y="1309173"/>
                  <a:pt x="648694" y="1312818"/>
                  <a:pt x="646872" y="1310995"/>
                </a:cubicBezTo>
                <a:close/>
                <a:moveTo>
                  <a:pt x="395412" y="1310995"/>
                </a:moveTo>
                <a:cubicBezTo>
                  <a:pt x="391768" y="1310995"/>
                  <a:pt x="388123" y="1312818"/>
                  <a:pt x="384479" y="1314640"/>
                </a:cubicBezTo>
                <a:cubicBezTo>
                  <a:pt x="384479" y="1316462"/>
                  <a:pt x="386301" y="1320106"/>
                  <a:pt x="384479" y="1323751"/>
                </a:cubicBezTo>
                <a:cubicBezTo>
                  <a:pt x="386301" y="1327395"/>
                  <a:pt x="388123" y="1327395"/>
                  <a:pt x="391768" y="1325573"/>
                </a:cubicBezTo>
                <a:cubicBezTo>
                  <a:pt x="389946" y="1325573"/>
                  <a:pt x="389946" y="1323751"/>
                  <a:pt x="388123" y="1321929"/>
                </a:cubicBezTo>
                <a:cubicBezTo>
                  <a:pt x="388123" y="1318284"/>
                  <a:pt x="391768" y="1325573"/>
                  <a:pt x="395412" y="1321929"/>
                </a:cubicBezTo>
                <a:cubicBezTo>
                  <a:pt x="395412" y="1321929"/>
                  <a:pt x="395412" y="1323751"/>
                  <a:pt x="395412" y="1323751"/>
                </a:cubicBezTo>
                <a:cubicBezTo>
                  <a:pt x="402701" y="1327395"/>
                  <a:pt x="404523" y="1316462"/>
                  <a:pt x="408167" y="1312818"/>
                </a:cubicBezTo>
                <a:cubicBezTo>
                  <a:pt x="402701" y="1312818"/>
                  <a:pt x="397234" y="1316462"/>
                  <a:pt x="393590" y="1314640"/>
                </a:cubicBezTo>
                <a:cubicBezTo>
                  <a:pt x="391768" y="1312818"/>
                  <a:pt x="402701" y="1314640"/>
                  <a:pt x="395412" y="1310995"/>
                </a:cubicBezTo>
                <a:close/>
                <a:moveTo>
                  <a:pt x="3125029" y="1309173"/>
                </a:moveTo>
                <a:cubicBezTo>
                  <a:pt x="3128673" y="1314640"/>
                  <a:pt x="3135962" y="1318284"/>
                  <a:pt x="3141428" y="1316462"/>
                </a:cubicBezTo>
                <a:cubicBezTo>
                  <a:pt x="3139606" y="1310995"/>
                  <a:pt x="3132317" y="1310995"/>
                  <a:pt x="3125029" y="1309173"/>
                </a:cubicBezTo>
                <a:close/>
                <a:moveTo>
                  <a:pt x="3068541" y="1309173"/>
                </a:moveTo>
                <a:cubicBezTo>
                  <a:pt x="3063075" y="1310995"/>
                  <a:pt x="3068541" y="1312818"/>
                  <a:pt x="3066719" y="1318284"/>
                </a:cubicBezTo>
                <a:cubicBezTo>
                  <a:pt x="3070363" y="1318284"/>
                  <a:pt x="3072186" y="1318284"/>
                  <a:pt x="3075830" y="1318284"/>
                </a:cubicBezTo>
                <a:cubicBezTo>
                  <a:pt x="3074008" y="1312818"/>
                  <a:pt x="3068541" y="1316462"/>
                  <a:pt x="3068541" y="1309173"/>
                </a:cubicBezTo>
                <a:close/>
                <a:moveTo>
                  <a:pt x="1184414" y="1309173"/>
                </a:moveTo>
                <a:cubicBezTo>
                  <a:pt x="1180769" y="1310995"/>
                  <a:pt x="1186236" y="1312818"/>
                  <a:pt x="1186236" y="1314640"/>
                </a:cubicBezTo>
                <a:cubicBezTo>
                  <a:pt x="1188058" y="1312818"/>
                  <a:pt x="1188058" y="1314640"/>
                  <a:pt x="1189880" y="1312818"/>
                </a:cubicBezTo>
                <a:cubicBezTo>
                  <a:pt x="1188058" y="1310995"/>
                  <a:pt x="1186236" y="1310995"/>
                  <a:pt x="1184414" y="1309173"/>
                </a:cubicBezTo>
                <a:close/>
                <a:moveTo>
                  <a:pt x="1178947" y="1309173"/>
                </a:moveTo>
                <a:cubicBezTo>
                  <a:pt x="1177125" y="1309173"/>
                  <a:pt x="1177125" y="1312818"/>
                  <a:pt x="1173481" y="1312818"/>
                </a:cubicBezTo>
                <a:cubicBezTo>
                  <a:pt x="1177125" y="1314640"/>
                  <a:pt x="1178947" y="1316462"/>
                  <a:pt x="1182592" y="1314640"/>
                </a:cubicBezTo>
                <a:cubicBezTo>
                  <a:pt x="1182592" y="1312818"/>
                  <a:pt x="1178947" y="1310995"/>
                  <a:pt x="1178947" y="1309173"/>
                </a:cubicBezTo>
                <a:close/>
                <a:moveTo>
                  <a:pt x="661449" y="1309173"/>
                </a:moveTo>
                <a:cubicBezTo>
                  <a:pt x="657805" y="1312818"/>
                  <a:pt x="663272" y="1312818"/>
                  <a:pt x="665094" y="1314640"/>
                </a:cubicBezTo>
                <a:cubicBezTo>
                  <a:pt x="666916" y="1312818"/>
                  <a:pt x="665094" y="1310995"/>
                  <a:pt x="665094" y="1309173"/>
                </a:cubicBezTo>
                <a:cubicBezTo>
                  <a:pt x="663272" y="1310995"/>
                  <a:pt x="661449" y="1310995"/>
                  <a:pt x="661449" y="1309173"/>
                </a:cubicBezTo>
                <a:close/>
                <a:moveTo>
                  <a:pt x="606784" y="1309173"/>
                </a:moveTo>
                <a:cubicBezTo>
                  <a:pt x="604963" y="1309173"/>
                  <a:pt x="604963" y="1310995"/>
                  <a:pt x="604963" y="1310995"/>
                </a:cubicBezTo>
                <a:cubicBezTo>
                  <a:pt x="603140" y="1309173"/>
                  <a:pt x="601318" y="1309173"/>
                  <a:pt x="599496" y="1312818"/>
                </a:cubicBezTo>
                <a:cubicBezTo>
                  <a:pt x="597673" y="1314640"/>
                  <a:pt x="606784" y="1320106"/>
                  <a:pt x="603140" y="1325573"/>
                </a:cubicBezTo>
                <a:cubicBezTo>
                  <a:pt x="603140" y="1329217"/>
                  <a:pt x="606784" y="1334684"/>
                  <a:pt x="610429" y="1331039"/>
                </a:cubicBezTo>
                <a:cubicBezTo>
                  <a:pt x="608606" y="1331039"/>
                  <a:pt x="608606" y="1329217"/>
                  <a:pt x="608606" y="1327395"/>
                </a:cubicBezTo>
                <a:lnTo>
                  <a:pt x="612250" y="1323751"/>
                </a:lnTo>
                <a:lnTo>
                  <a:pt x="610429" y="1327395"/>
                </a:lnTo>
                <a:cubicBezTo>
                  <a:pt x="612251" y="1327395"/>
                  <a:pt x="612251" y="1321929"/>
                  <a:pt x="614074" y="1325573"/>
                </a:cubicBezTo>
                <a:cubicBezTo>
                  <a:pt x="617717" y="1323751"/>
                  <a:pt x="612251" y="1321929"/>
                  <a:pt x="614074" y="1320106"/>
                </a:cubicBezTo>
                <a:cubicBezTo>
                  <a:pt x="613162" y="1320106"/>
                  <a:pt x="613162" y="1321017"/>
                  <a:pt x="612934" y="1322384"/>
                </a:cubicBezTo>
                <a:lnTo>
                  <a:pt x="612251" y="1323751"/>
                </a:lnTo>
                <a:lnTo>
                  <a:pt x="608606" y="1314640"/>
                </a:lnTo>
                <a:cubicBezTo>
                  <a:pt x="608606" y="1312818"/>
                  <a:pt x="608606" y="1310995"/>
                  <a:pt x="606784" y="1309173"/>
                </a:cubicBezTo>
                <a:close/>
                <a:moveTo>
                  <a:pt x="588562" y="1309173"/>
                </a:moveTo>
                <a:cubicBezTo>
                  <a:pt x="586741" y="1310995"/>
                  <a:pt x="586741" y="1312818"/>
                  <a:pt x="588562" y="1314640"/>
                </a:cubicBezTo>
                <a:cubicBezTo>
                  <a:pt x="588562" y="1316462"/>
                  <a:pt x="588562" y="1316462"/>
                  <a:pt x="590385" y="1318284"/>
                </a:cubicBezTo>
                <a:cubicBezTo>
                  <a:pt x="590385" y="1316462"/>
                  <a:pt x="588562" y="1314640"/>
                  <a:pt x="590385" y="1314640"/>
                </a:cubicBezTo>
                <a:cubicBezTo>
                  <a:pt x="590385" y="1314640"/>
                  <a:pt x="592207" y="1312818"/>
                  <a:pt x="594030" y="1310995"/>
                </a:cubicBezTo>
                <a:cubicBezTo>
                  <a:pt x="592207" y="1307351"/>
                  <a:pt x="590385" y="1312818"/>
                  <a:pt x="588562" y="1309173"/>
                </a:cubicBezTo>
                <a:close/>
                <a:moveTo>
                  <a:pt x="575808" y="1309173"/>
                </a:moveTo>
                <a:cubicBezTo>
                  <a:pt x="575808" y="1325573"/>
                  <a:pt x="579452" y="1310995"/>
                  <a:pt x="579452" y="1310995"/>
                </a:cubicBezTo>
                <a:cubicBezTo>
                  <a:pt x="577630" y="1307351"/>
                  <a:pt x="575808" y="1310995"/>
                  <a:pt x="575808" y="1309173"/>
                </a:cubicBezTo>
                <a:close/>
                <a:moveTo>
                  <a:pt x="530253" y="1309173"/>
                </a:moveTo>
                <a:cubicBezTo>
                  <a:pt x="528431" y="1312818"/>
                  <a:pt x="530253" y="1314640"/>
                  <a:pt x="526609" y="1316462"/>
                </a:cubicBezTo>
                <a:cubicBezTo>
                  <a:pt x="530253" y="1320106"/>
                  <a:pt x="533897" y="1312818"/>
                  <a:pt x="530253" y="1309173"/>
                </a:cubicBezTo>
                <a:close/>
                <a:moveTo>
                  <a:pt x="461010" y="1309173"/>
                </a:moveTo>
                <a:cubicBezTo>
                  <a:pt x="461010" y="1310995"/>
                  <a:pt x="461010" y="1314640"/>
                  <a:pt x="462832" y="1318284"/>
                </a:cubicBezTo>
                <a:cubicBezTo>
                  <a:pt x="466478" y="1312818"/>
                  <a:pt x="461010" y="1312818"/>
                  <a:pt x="461010" y="1309173"/>
                </a:cubicBezTo>
                <a:close/>
                <a:moveTo>
                  <a:pt x="455999" y="1308717"/>
                </a:moveTo>
                <a:cubicBezTo>
                  <a:pt x="454177" y="1308717"/>
                  <a:pt x="451899" y="1309173"/>
                  <a:pt x="450077" y="1309173"/>
                </a:cubicBezTo>
                <a:cubicBezTo>
                  <a:pt x="450077" y="1312818"/>
                  <a:pt x="457367" y="1314640"/>
                  <a:pt x="459188" y="1310995"/>
                </a:cubicBezTo>
                <a:cubicBezTo>
                  <a:pt x="459188" y="1309173"/>
                  <a:pt x="457821" y="1308717"/>
                  <a:pt x="455999" y="1308717"/>
                </a:cubicBezTo>
                <a:close/>
                <a:moveTo>
                  <a:pt x="428497" y="1308006"/>
                </a:moveTo>
                <a:cubicBezTo>
                  <a:pt x="423543" y="1308263"/>
                  <a:pt x="419101" y="1316462"/>
                  <a:pt x="413634" y="1316462"/>
                </a:cubicBezTo>
                <a:cubicBezTo>
                  <a:pt x="417278" y="1314640"/>
                  <a:pt x="419100" y="1310995"/>
                  <a:pt x="422745" y="1309173"/>
                </a:cubicBezTo>
                <a:cubicBezTo>
                  <a:pt x="417278" y="1307351"/>
                  <a:pt x="409989" y="1309173"/>
                  <a:pt x="408167" y="1316462"/>
                </a:cubicBezTo>
                <a:cubicBezTo>
                  <a:pt x="409989" y="1318284"/>
                  <a:pt x="409989" y="1316462"/>
                  <a:pt x="411812" y="1316462"/>
                </a:cubicBezTo>
                <a:cubicBezTo>
                  <a:pt x="399056" y="1321929"/>
                  <a:pt x="393590" y="1331039"/>
                  <a:pt x="395412" y="1340150"/>
                </a:cubicBezTo>
                <a:cubicBezTo>
                  <a:pt x="395412" y="1349261"/>
                  <a:pt x="409989" y="1354728"/>
                  <a:pt x="422745" y="1354728"/>
                </a:cubicBezTo>
                <a:cubicBezTo>
                  <a:pt x="420923" y="1354728"/>
                  <a:pt x="420923" y="1352905"/>
                  <a:pt x="419100" y="1351083"/>
                </a:cubicBezTo>
                <a:cubicBezTo>
                  <a:pt x="426389" y="1352905"/>
                  <a:pt x="431856" y="1360194"/>
                  <a:pt x="437322" y="1354728"/>
                </a:cubicBezTo>
                <a:cubicBezTo>
                  <a:pt x="437322" y="1352905"/>
                  <a:pt x="437322" y="1352905"/>
                  <a:pt x="435500" y="1351083"/>
                </a:cubicBezTo>
                <a:cubicBezTo>
                  <a:pt x="444611" y="1351083"/>
                  <a:pt x="451899" y="1358372"/>
                  <a:pt x="459188" y="1349261"/>
                </a:cubicBezTo>
                <a:cubicBezTo>
                  <a:pt x="453722" y="1345617"/>
                  <a:pt x="451899" y="1347439"/>
                  <a:pt x="450077" y="1341972"/>
                </a:cubicBezTo>
                <a:cubicBezTo>
                  <a:pt x="451899" y="1340150"/>
                  <a:pt x="444611" y="1343795"/>
                  <a:pt x="440966" y="1345617"/>
                </a:cubicBezTo>
                <a:cubicBezTo>
                  <a:pt x="448256" y="1338328"/>
                  <a:pt x="448256" y="1332862"/>
                  <a:pt x="440966" y="1327395"/>
                </a:cubicBezTo>
                <a:cubicBezTo>
                  <a:pt x="437322" y="1325573"/>
                  <a:pt x="435500" y="1329217"/>
                  <a:pt x="433678" y="1327395"/>
                </a:cubicBezTo>
                <a:cubicBezTo>
                  <a:pt x="430034" y="1323751"/>
                  <a:pt x="433678" y="1323751"/>
                  <a:pt x="437322" y="1323751"/>
                </a:cubicBezTo>
                <a:lnTo>
                  <a:pt x="437720" y="1323433"/>
                </a:lnTo>
                <a:lnTo>
                  <a:pt x="431855" y="1321967"/>
                </a:lnTo>
                <a:cubicBezTo>
                  <a:pt x="433677" y="1321967"/>
                  <a:pt x="435500" y="1321967"/>
                  <a:pt x="437322" y="1320143"/>
                </a:cubicBezTo>
                <a:lnTo>
                  <a:pt x="438610" y="1322721"/>
                </a:lnTo>
                <a:lnTo>
                  <a:pt x="446433" y="1316462"/>
                </a:lnTo>
                <a:cubicBezTo>
                  <a:pt x="440966" y="1309173"/>
                  <a:pt x="431856" y="1314640"/>
                  <a:pt x="424567" y="1314640"/>
                </a:cubicBezTo>
                <a:cubicBezTo>
                  <a:pt x="428211" y="1312818"/>
                  <a:pt x="430034" y="1312818"/>
                  <a:pt x="433678" y="1310995"/>
                </a:cubicBezTo>
                <a:cubicBezTo>
                  <a:pt x="431856" y="1308718"/>
                  <a:pt x="430148" y="1307921"/>
                  <a:pt x="428497" y="1308006"/>
                </a:cubicBezTo>
                <a:close/>
                <a:moveTo>
                  <a:pt x="1514228" y="1307443"/>
                </a:moveTo>
                <a:lnTo>
                  <a:pt x="1523339" y="1323843"/>
                </a:lnTo>
                <a:lnTo>
                  <a:pt x="1497827" y="1322021"/>
                </a:lnTo>
                <a:close/>
                <a:moveTo>
                  <a:pt x="1355881" y="1307364"/>
                </a:moveTo>
                <a:lnTo>
                  <a:pt x="1358887" y="1307579"/>
                </a:lnTo>
                <a:cubicBezTo>
                  <a:pt x="1359797" y="1308262"/>
                  <a:pt x="1360253" y="1309173"/>
                  <a:pt x="1359342" y="1309173"/>
                </a:cubicBezTo>
                <a:lnTo>
                  <a:pt x="1355885" y="1307444"/>
                </a:lnTo>
                <a:close/>
                <a:moveTo>
                  <a:pt x="3321824" y="1307351"/>
                </a:moveTo>
                <a:cubicBezTo>
                  <a:pt x="3320001" y="1307351"/>
                  <a:pt x="3320001" y="1309173"/>
                  <a:pt x="3318179" y="1309173"/>
                </a:cubicBezTo>
                <a:cubicBezTo>
                  <a:pt x="3316357" y="1314640"/>
                  <a:pt x="3320001" y="1312818"/>
                  <a:pt x="3320001" y="1316462"/>
                </a:cubicBezTo>
                <a:cubicBezTo>
                  <a:pt x="3321824" y="1316462"/>
                  <a:pt x="3325468" y="1316462"/>
                  <a:pt x="3327290" y="1312818"/>
                </a:cubicBezTo>
                <a:cubicBezTo>
                  <a:pt x="3327290" y="1309173"/>
                  <a:pt x="3323646" y="1309173"/>
                  <a:pt x="3321824" y="1307351"/>
                </a:cubicBezTo>
                <a:close/>
                <a:moveTo>
                  <a:pt x="3197916" y="1307351"/>
                </a:moveTo>
                <a:cubicBezTo>
                  <a:pt x="3194271" y="1309173"/>
                  <a:pt x="3201560" y="1316462"/>
                  <a:pt x="3205204" y="1314640"/>
                </a:cubicBezTo>
                <a:cubicBezTo>
                  <a:pt x="3205204" y="1309173"/>
                  <a:pt x="3197916" y="1310995"/>
                  <a:pt x="3197916" y="1307351"/>
                </a:cubicBezTo>
                <a:close/>
                <a:moveTo>
                  <a:pt x="1907816" y="1307351"/>
                </a:moveTo>
                <a:lnTo>
                  <a:pt x="1904172" y="1309780"/>
                </a:lnTo>
                <a:lnTo>
                  <a:pt x="1902350" y="1309173"/>
                </a:lnTo>
                <a:cubicBezTo>
                  <a:pt x="1902350" y="1309173"/>
                  <a:pt x="1902350" y="1309173"/>
                  <a:pt x="1902350" y="1310995"/>
                </a:cubicBezTo>
                <a:lnTo>
                  <a:pt x="1904172" y="1309780"/>
                </a:lnTo>
                <a:lnTo>
                  <a:pt x="1907816" y="1310995"/>
                </a:lnTo>
                <a:cubicBezTo>
                  <a:pt x="1909639" y="1309173"/>
                  <a:pt x="1907816" y="1307351"/>
                  <a:pt x="1907816" y="1307351"/>
                </a:cubicBezTo>
                <a:close/>
                <a:moveTo>
                  <a:pt x="1153436" y="1307351"/>
                </a:moveTo>
                <a:cubicBezTo>
                  <a:pt x="1155259" y="1305529"/>
                  <a:pt x="1158903" y="1310995"/>
                  <a:pt x="1157081" y="1310995"/>
                </a:cubicBezTo>
                <a:cubicBezTo>
                  <a:pt x="1155259" y="1310995"/>
                  <a:pt x="1157081" y="1309173"/>
                  <a:pt x="1153436" y="1307351"/>
                </a:cubicBezTo>
                <a:close/>
                <a:moveTo>
                  <a:pt x="1056861" y="1307351"/>
                </a:moveTo>
                <a:cubicBezTo>
                  <a:pt x="1065972" y="1320106"/>
                  <a:pt x="1078727" y="1334684"/>
                  <a:pt x="1089660" y="1347439"/>
                </a:cubicBezTo>
                <a:cubicBezTo>
                  <a:pt x="1091484" y="1341972"/>
                  <a:pt x="1091484" y="1336506"/>
                  <a:pt x="1086016" y="1331039"/>
                </a:cubicBezTo>
                <a:cubicBezTo>
                  <a:pt x="1086016" y="1329217"/>
                  <a:pt x="1087838" y="1336506"/>
                  <a:pt x="1089660" y="1332862"/>
                </a:cubicBezTo>
                <a:cubicBezTo>
                  <a:pt x="1093305" y="1336506"/>
                  <a:pt x="1100593" y="1341972"/>
                  <a:pt x="1102416" y="1343795"/>
                </a:cubicBezTo>
                <a:cubicBezTo>
                  <a:pt x="1102416" y="1336506"/>
                  <a:pt x="1096949" y="1329217"/>
                  <a:pt x="1091484" y="1327395"/>
                </a:cubicBezTo>
                <a:cubicBezTo>
                  <a:pt x="1089660" y="1325573"/>
                  <a:pt x="1093305" y="1325573"/>
                  <a:pt x="1093305" y="1327395"/>
                </a:cubicBezTo>
                <a:cubicBezTo>
                  <a:pt x="1095127" y="1327395"/>
                  <a:pt x="1091484" y="1325573"/>
                  <a:pt x="1091484" y="1323751"/>
                </a:cubicBezTo>
                <a:cubicBezTo>
                  <a:pt x="1089660" y="1327395"/>
                  <a:pt x="1089660" y="1329217"/>
                  <a:pt x="1089660" y="1332862"/>
                </a:cubicBezTo>
                <a:cubicBezTo>
                  <a:pt x="1078727" y="1323751"/>
                  <a:pt x="1067794" y="1314640"/>
                  <a:pt x="1056861" y="1307351"/>
                </a:cubicBezTo>
                <a:close/>
                <a:moveTo>
                  <a:pt x="716115" y="1307351"/>
                </a:moveTo>
                <a:cubicBezTo>
                  <a:pt x="712470" y="1316462"/>
                  <a:pt x="699715" y="1325573"/>
                  <a:pt x="710648" y="1332862"/>
                </a:cubicBezTo>
                <a:cubicBezTo>
                  <a:pt x="714293" y="1325573"/>
                  <a:pt x="721581" y="1321929"/>
                  <a:pt x="723404" y="1314640"/>
                </a:cubicBezTo>
                <a:cubicBezTo>
                  <a:pt x="721581" y="1310995"/>
                  <a:pt x="717937" y="1309173"/>
                  <a:pt x="716115" y="1307351"/>
                </a:cubicBezTo>
                <a:close/>
                <a:moveTo>
                  <a:pt x="626828" y="1307351"/>
                </a:moveTo>
                <a:cubicBezTo>
                  <a:pt x="625006" y="1310995"/>
                  <a:pt x="625006" y="1316462"/>
                  <a:pt x="630472" y="1320106"/>
                </a:cubicBezTo>
                <a:cubicBezTo>
                  <a:pt x="628650" y="1318284"/>
                  <a:pt x="629106" y="1316918"/>
                  <a:pt x="629789" y="1315551"/>
                </a:cubicBezTo>
                <a:lnTo>
                  <a:pt x="630472" y="1310995"/>
                </a:lnTo>
                <a:lnTo>
                  <a:pt x="630473" y="1310995"/>
                </a:lnTo>
                <a:lnTo>
                  <a:pt x="634117" y="1316462"/>
                </a:lnTo>
                <a:cubicBezTo>
                  <a:pt x="634117" y="1316462"/>
                  <a:pt x="635939" y="1318284"/>
                  <a:pt x="635939" y="1318284"/>
                </a:cubicBezTo>
                <a:cubicBezTo>
                  <a:pt x="635939" y="1316462"/>
                  <a:pt x="635939" y="1316462"/>
                  <a:pt x="634117" y="1314640"/>
                </a:cubicBezTo>
                <a:cubicBezTo>
                  <a:pt x="637761" y="1316462"/>
                  <a:pt x="637761" y="1316462"/>
                  <a:pt x="639583" y="1320106"/>
                </a:cubicBezTo>
                <a:lnTo>
                  <a:pt x="630473" y="1310995"/>
                </a:lnTo>
                <a:lnTo>
                  <a:pt x="630472" y="1310995"/>
                </a:lnTo>
                <a:lnTo>
                  <a:pt x="630472" y="1310995"/>
                </a:lnTo>
                <a:close/>
                <a:moveTo>
                  <a:pt x="488343" y="1307351"/>
                </a:moveTo>
                <a:cubicBezTo>
                  <a:pt x="488343" y="1309173"/>
                  <a:pt x="486521" y="1314640"/>
                  <a:pt x="493809" y="1312818"/>
                </a:cubicBezTo>
                <a:cubicBezTo>
                  <a:pt x="491987" y="1310995"/>
                  <a:pt x="490165" y="1309173"/>
                  <a:pt x="490165" y="1307351"/>
                </a:cubicBezTo>
                <a:cubicBezTo>
                  <a:pt x="490165" y="1309173"/>
                  <a:pt x="488343" y="1307351"/>
                  <a:pt x="488343" y="1307351"/>
                </a:cubicBezTo>
                <a:close/>
                <a:moveTo>
                  <a:pt x="304303" y="1307351"/>
                </a:moveTo>
                <a:cubicBezTo>
                  <a:pt x="298837" y="1310995"/>
                  <a:pt x="293370" y="1312818"/>
                  <a:pt x="293370" y="1318284"/>
                </a:cubicBezTo>
                <a:lnTo>
                  <a:pt x="298661" y="1320047"/>
                </a:lnTo>
                <a:lnTo>
                  <a:pt x="298382" y="1320675"/>
                </a:lnTo>
                <a:lnTo>
                  <a:pt x="297926" y="1321245"/>
                </a:lnTo>
                <a:cubicBezTo>
                  <a:pt x="297015" y="1321473"/>
                  <a:pt x="296104" y="1321929"/>
                  <a:pt x="297015" y="1323751"/>
                </a:cubicBezTo>
                <a:lnTo>
                  <a:pt x="298382" y="1320675"/>
                </a:lnTo>
                <a:lnTo>
                  <a:pt x="298837" y="1320106"/>
                </a:lnTo>
                <a:lnTo>
                  <a:pt x="298661" y="1320047"/>
                </a:lnTo>
                <a:close/>
                <a:moveTo>
                  <a:pt x="375539" y="1306326"/>
                </a:moveTo>
                <a:cubicBezTo>
                  <a:pt x="366144" y="1304960"/>
                  <a:pt x="360335" y="1316918"/>
                  <a:pt x="353502" y="1323751"/>
                </a:cubicBezTo>
                <a:cubicBezTo>
                  <a:pt x="362613" y="1329217"/>
                  <a:pt x="368079" y="1340150"/>
                  <a:pt x="380835" y="1336506"/>
                </a:cubicBezTo>
                <a:cubicBezTo>
                  <a:pt x="377190" y="1332862"/>
                  <a:pt x="371724" y="1329217"/>
                  <a:pt x="369902" y="1323751"/>
                </a:cubicBezTo>
                <a:cubicBezTo>
                  <a:pt x="371724" y="1323751"/>
                  <a:pt x="371724" y="1321929"/>
                  <a:pt x="375368" y="1321929"/>
                </a:cubicBezTo>
                <a:cubicBezTo>
                  <a:pt x="373546" y="1318284"/>
                  <a:pt x="369902" y="1316462"/>
                  <a:pt x="368079" y="1312818"/>
                </a:cubicBezTo>
                <a:cubicBezTo>
                  <a:pt x="373546" y="1314640"/>
                  <a:pt x="375368" y="1320106"/>
                  <a:pt x="379012" y="1321929"/>
                </a:cubicBezTo>
                <a:cubicBezTo>
                  <a:pt x="382657" y="1321929"/>
                  <a:pt x="380835" y="1316462"/>
                  <a:pt x="382657" y="1316462"/>
                </a:cubicBezTo>
                <a:cubicBezTo>
                  <a:pt x="380835" y="1314640"/>
                  <a:pt x="379012" y="1316462"/>
                  <a:pt x="377190" y="1316462"/>
                </a:cubicBezTo>
                <a:cubicBezTo>
                  <a:pt x="380835" y="1316462"/>
                  <a:pt x="382657" y="1316462"/>
                  <a:pt x="386301" y="1312818"/>
                </a:cubicBezTo>
                <a:cubicBezTo>
                  <a:pt x="382201" y="1308718"/>
                  <a:pt x="378671" y="1306782"/>
                  <a:pt x="375539" y="1306326"/>
                </a:cubicBezTo>
                <a:close/>
                <a:moveTo>
                  <a:pt x="3159650" y="1305529"/>
                </a:moveTo>
                <a:lnTo>
                  <a:pt x="3156006" y="1310995"/>
                </a:lnTo>
                <a:cubicBezTo>
                  <a:pt x="3155095" y="1312818"/>
                  <a:pt x="3155095" y="1314640"/>
                  <a:pt x="3157828" y="1316462"/>
                </a:cubicBezTo>
                <a:cubicBezTo>
                  <a:pt x="3156006" y="1320106"/>
                  <a:pt x="3154184" y="1314640"/>
                  <a:pt x="3150539" y="1316462"/>
                </a:cubicBezTo>
                <a:cubicBezTo>
                  <a:pt x="3152361" y="1318284"/>
                  <a:pt x="3157828" y="1318284"/>
                  <a:pt x="3161472" y="1318284"/>
                </a:cubicBezTo>
                <a:lnTo>
                  <a:pt x="3156006" y="1310995"/>
                </a:lnTo>
                <a:lnTo>
                  <a:pt x="3157828" y="1309173"/>
                </a:lnTo>
                <a:cubicBezTo>
                  <a:pt x="3159650" y="1309173"/>
                  <a:pt x="3159650" y="1309173"/>
                  <a:pt x="3159650" y="1310995"/>
                </a:cubicBezTo>
                <a:cubicBezTo>
                  <a:pt x="3163294" y="1314640"/>
                  <a:pt x="3159650" y="1307351"/>
                  <a:pt x="3159650" y="1305529"/>
                </a:cubicBezTo>
                <a:close/>
                <a:moveTo>
                  <a:pt x="3117740" y="1305529"/>
                </a:moveTo>
                <a:cubicBezTo>
                  <a:pt x="3114096" y="1305529"/>
                  <a:pt x="3114096" y="1309173"/>
                  <a:pt x="3114096" y="1312818"/>
                </a:cubicBezTo>
                <a:cubicBezTo>
                  <a:pt x="3115918" y="1312818"/>
                  <a:pt x="3117740" y="1312818"/>
                  <a:pt x="3119562" y="1312818"/>
                </a:cubicBezTo>
                <a:cubicBezTo>
                  <a:pt x="3119562" y="1309173"/>
                  <a:pt x="3115918" y="1309173"/>
                  <a:pt x="3117740" y="1305529"/>
                </a:cubicBezTo>
                <a:close/>
                <a:moveTo>
                  <a:pt x="1935149" y="1305529"/>
                </a:moveTo>
                <a:cubicBezTo>
                  <a:pt x="1929683" y="1303707"/>
                  <a:pt x="1931505" y="1310995"/>
                  <a:pt x="1933327" y="1310995"/>
                </a:cubicBezTo>
                <a:cubicBezTo>
                  <a:pt x="1938793" y="1312818"/>
                  <a:pt x="1936972" y="1305529"/>
                  <a:pt x="1935149" y="1305529"/>
                </a:cubicBezTo>
                <a:close/>
                <a:moveTo>
                  <a:pt x="1164370" y="1305529"/>
                </a:moveTo>
                <a:cubicBezTo>
                  <a:pt x="1162547" y="1305529"/>
                  <a:pt x="1162547" y="1307351"/>
                  <a:pt x="1162547" y="1307351"/>
                </a:cubicBezTo>
                <a:cubicBezTo>
                  <a:pt x="1164370" y="1309173"/>
                  <a:pt x="1168014" y="1312818"/>
                  <a:pt x="1169836" y="1312818"/>
                </a:cubicBezTo>
                <a:cubicBezTo>
                  <a:pt x="1169836" y="1309173"/>
                  <a:pt x="1166192" y="1307351"/>
                  <a:pt x="1164370" y="1305529"/>
                </a:cubicBezTo>
                <a:close/>
                <a:moveTo>
                  <a:pt x="861889" y="1305529"/>
                </a:moveTo>
                <a:cubicBezTo>
                  <a:pt x="856422" y="1307351"/>
                  <a:pt x="854600" y="1316462"/>
                  <a:pt x="850956" y="1318284"/>
                </a:cubicBezTo>
                <a:cubicBezTo>
                  <a:pt x="850956" y="1320106"/>
                  <a:pt x="850956" y="1320106"/>
                  <a:pt x="852778" y="1321929"/>
                </a:cubicBezTo>
                <a:cubicBezTo>
                  <a:pt x="852778" y="1318284"/>
                  <a:pt x="852778" y="1316462"/>
                  <a:pt x="854600" y="1314640"/>
                </a:cubicBezTo>
                <a:cubicBezTo>
                  <a:pt x="858244" y="1318284"/>
                  <a:pt x="854600" y="1325573"/>
                  <a:pt x="858244" y="1325573"/>
                </a:cubicBezTo>
                <a:cubicBezTo>
                  <a:pt x="861889" y="1323751"/>
                  <a:pt x="863711" y="1321929"/>
                  <a:pt x="863711" y="1321929"/>
                </a:cubicBezTo>
                <a:cubicBezTo>
                  <a:pt x="865533" y="1320106"/>
                  <a:pt x="872822" y="1320106"/>
                  <a:pt x="872822" y="1312818"/>
                </a:cubicBezTo>
                <a:cubicBezTo>
                  <a:pt x="867355" y="1309173"/>
                  <a:pt x="863711" y="1312818"/>
                  <a:pt x="863711" y="1318284"/>
                </a:cubicBezTo>
                <a:cubicBezTo>
                  <a:pt x="863711" y="1314640"/>
                  <a:pt x="861889" y="1309173"/>
                  <a:pt x="861889" y="1305529"/>
                </a:cubicBezTo>
                <a:close/>
                <a:moveTo>
                  <a:pt x="752558" y="1305529"/>
                </a:moveTo>
                <a:cubicBezTo>
                  <a:pt x="750737" y="1303707"/>
                  <a:pt x="747092" y="1309173"/>
                  <a:pt x="745269" y="1309173"/>
                </a:cubicBezTo>
                <a:cubicBezTo>
                  <a:pt x="747092" y="1310995"/>
                  <a:pt x="750737" y="1305529"/>
                  <a:pt x="752558" y="1305529"/>
                </a:cubicBezTo>
                <a:close/>
                <a:moveTo>
                  <a:pt x="446433" y="1305529"/>
                </a:moveTo>
                <a:cubicBezTo>
                  <a:pt x="444611" y="1307351"/>
                  <a:pt x="444611" y="1307351"/>
                  <a:pt x="440966" y="1309173"/>
                </a:cubicBezTo>
                <a:cubicBezTo>
                  <a:pt x="442789" y="1310995"/>
                  <a:pt x="448256" y="1310995"/>
                  <a:pt x="448256" y="1309173"/>
                </a:cubicBezTo>
                <a:cubicBezTo>
                  <a:pt x="448256" y="1307351"/>
                  <a:pt x="446433" y="1307351"/>
                  <a:pt x="446433" y="1305529"/>
                </a:cubicBezTo>
                <a:close/>
                <a:moveTo>
                  <a:pt x="315236" y="1305529"/>
                </a:moveTo>
                <a:cubicBezTo>
                  <a:pt x="307948" y="1305529"/>
                  <a:pt x="304303" y="1309173"/>
                  <a:pt x="302481" y="1316462"/>
                </a:cubicBezTo>
                <a:cubicBezTo>
                  <a:pt x="307948" y="1314640"/>
                  <a:pt x="318882" y="1314640"/>
                  <a:pt x="315236" y="1305529"/>
                </a:cubicBezTo>
                <a:close/>
                <a:moveTo>
                  <a:pt x="207956" y="1304846"/>
                </a:moveTo>
                <a:cubicBezTo>
                  <a:pt x="207272" y="1305529"/>
                  <a:pt x="206817" y="1306440"/>
                  <a:pt x="205906" y="1305529"/>
                </a:cubicBezTo>
                <a:cubicBezTo>
                  <a:pt x="205906" y="1307351"/>
                  <a:pt x="211372" y="1309173"/>
                  <a:pt x="211372" y="1305529"/>
                </a:cubicBezTo>
                <a:cubicBezTo>
                  <a:pt x="209550" y="1303707"/>
                  <a:pt x="208640" y="1304163"/>
                  <a:pt x="207956" y="1304846"/>
                </a:cubicBezTo>
                <a:close/>
                <a:moveTo>
                  <a:pt x="3273081" y="1304618"/>
                </a:moveTo>
                <a:cubicBezTo>
                  <a:pt x="3271258" y="1304163"/>
                  <a:pt x="3268981" y="1304618"/>
                  <a:pt x="3265336" y="1305529"/>
                </a:cubicBezTo>
                <a:cubicBezTo>
                  <a:pt x="3265336" y="1305529"/>
                  <a:pt x="3266703" y="1306895"/>
                  <a:pt x="3267614" y="1308718"/>
                </a:cubicBezTo>
                <a:lnTo>
                  <a:pt x="3267327" y="1312450"/>
                </a:lnTo>
                <a:lnTo>
                  <a:pt x="3266931" y="1312362"/>
                </a:lnTo>
                <a:cubicBezTo>
                  <a:pt x="3265792" y="1313273"/>
                  <a:pt x="3264425" y="1314640"/>
                  <a:pt x="3263514" y="1314640"/>
                </a:cubicBezTo>
                <a:cubicBezTo>
                  <a:pt x="3265336" y="1314640"/>
                  <a:pt x="3265336" y="1316462"/>
                  <a:pt x="3268980" y="1316462"/>
                </a:cubicBezTo>
                <a:lnTo>
                  <a:pt x="3267986" y="1314640"/>
                </a:lnTo>
                <a:lnTo>
                  <a:pt x="3274447" y="1314640"/>
                </a:lnTo>
                <a:cubicBezTo>
                  <a:pt x="3270803" y="1318284"/>
                  <a:pt x="3276269" y="1329217"/>
                  <a:pt x="3268980" y="1329217"/>
                </a:cubicBezTo>
                <a:cubicBezTo>
                  <a:pt x="3268980" y="1327395"/>
                  <a:pt x="3268980" y="1323751"/>
                  <a:pt x="3268980" y="1321929"/>
                </a:cubicBezTo>
                <a:cubicBezTo>
                  <a:pt x="3268980" y="1323751"/>
                  <a:pt x="3268980" y="1325573"/>
                  <a:pt x="3267158" y="1325573"/>
                </a:cubicBezTo>
                <a:cubicBezTo>
                  <a:pt x="3267158" y="1325573"/>
                  <a:pt x="3265336" y="1323751"/>
                  <a:pt x="3265336" y="1321929"/>
                </a:cubicBezTo>
                <a:cubicBezTo>
                  <a:pt x="3265336" y="1327395"/>
                  <a:pt x="3272625" y="1334684"/>
                  <a:pt x="3267158" y="1338328"/>
                </a:cubicBezTo>
                <a:cubicBezTo>
                  <a:pt x="3263514" y="1340150"/>
                  <a:pt x="3261692" y="1332862"/>
                  <a:pt x="3259869" y="1331039"/>
                </a:cubicBezTo>
                <a:cubicBezTo>
                  <a:pt x="3258047" y="1338328"/>
                  <a:pt x="3265336" y="1347439"/>
                  <a:pt x="3256225" y="1345617"/>
                </a:cubicBezTo>
                <a:cubicBezTo>
                  <a:pt x="3252581" y="1345617"/>
                  <a:pt x="3252581" y="1338328"/>
                  <a:pt x="3254403" y="1331039"/>
                </a:cubicBezTo>
                <a:cubicBezTo>
                  <a:pt x="3254403" y="1329217"/>
                  <a:pt x="3250759" y="1325573"/>
                  <a:pt x="3248937" y="1327395"/>
                </a:cubicBezTo>
                <a:cubicBezTo>
                  <a:pt x="3236181" y="1340150"/>
                  <a:pt x="3256225" y="1349261"/>
                  <a:pt x="3259869" y="1360194"/>
                </a:cubicBezTo>
                <a:cubicBezTo>
                  <a:pt x="3263514" y="1356550"/>
                  <a:pt x="3263514" y="1351083"/>
                  <a:pt x="3261692" y="1347439"/>
                </a:cubicBezTo>
                <a:cubicBezTo>
                  <a:pt x="3261692" y="1347439"/>
                  <a:pt x="3261692" y="1347439"/>
                  <a:pt x="3263514" y="1347439"/>
                </a:cubicBezTo>
                <a:cubicBezTo>
                  <a:pt x="3263514" y="1351083"/>
                  <a:pt x="3261692" y="1356550"/>
                  <a:pt x="3263514" y="1358372"/>
                </a:cubicBezTo>
                <a:cubicBezTo>
                  <a:pt x="3267158" y="1365661"/>
                  <a:pt x="3274447" y="1354728"/>
                  <a:pt x="3279913" y="1354728"/>
                </a:cubicBezTo>
                <a:cubicBezTo>
                  <a:pt x="3279913" y="1351083"/>
                  <a:pt x="3272625" y="1354728"/>
                  <a:pt x="3267158" y="1351083"/>
                </a:cubicBezTo>
                <a:cubicBezTo>
                  <a:pt x="3279913" y="1349261"/>
                  <a:pt x="3281736" y="1338328"/>
                  <a:pt x="3289024" y="1329217"/>
                </a:cubicBezTo>
                <a:lnTo>
                  <a:pt x="3290847" y="1331039"/>
                </a:lnTo>
                <a:cubicBezTo>
                  <a:pt x="3296313" y="1327395"/>
                  <a:pt x="3299957" y="1320106"/>
                  <a:pt x="3307246" y="1321929"/>
                </a:cubicBezTo>
                <a:cubicBezTo>
                  <a:pt x="3310890" y="1321929"/>
                  <a:pt x="3309068" y="1312818"/>
                  <a:pt x="3305424" y="1310995"/>
                </a:cubicBezTo>
                <a:cubicBezTo>
                  <a:pt x="3301780" y="1309173"/>
                  <a:pt x="3296313" y="1307351"/>
                  <a:pt x="3292669" y="1309173"/>
                </a:cubicBezTo>
                <a:cubicBezTo>
                  <a:pt x="3290847" y="1310995"/>
                  <a:pt x="3292669" y="1316462"/>
                  <a:pt x="3292669" y="1316462"/>
                </a:cubicBezTo>
                <a:cubicBezTo>
                  <a:pt x="3287202" y="1318284"/>
                  <a:pt x="3294491" y="1310995"/>
                  <a:pt x="3290847" y="1310995"/>
                </a:cubicBezTo>
                <a:cubicBezTo>
                  <a:pt x="3289024" y="1310995"/>
                  <a:pt x="3289024" y="1314640"/>
                  <a:pt x="3287202" y="1312818"/>
                </a:cubicBezTo>
                <a:cubicBezTo>
                  <a:pt x="3285380" y="1309173"/>
                  <a:pt x="3285380" y="1307351"/>
                  <a:pt x="3283558" y="1305529"/>
                </a:cubicBezTo>
                <a:cubicBezTo>
                  <a:pt x="3279913" y="1303707"/>
                  <a:pt x="3279913" y="1307351"/>
                  <a:pt x="3278091" y="1309173"/>
                </a:cubicBezTo>
                <a:cubicBezTo>
                  <a:pt x="3276269" y="1306440"/>
                  <a:pt x="3274903" y="1305073"/>
                  <a:pt x="3273081" y="1304618"/>
                </a:cubicBezTo>
                <a:close/>
                <a:moveTo>
                  <a:pt x="408531" y="1304436"/>
                </a:moveTo>
                <a:lnTo>
                  <a:pt x="411812" y="1305529"/>
                </a:lnTo>
                <a:cubicBezTo>
                  <a:pt x="410900" y="1305529"/>
                  <a:pt x="409534" y="1305529"/>
                  <a:pt x="408622" y="1305073"/>
                </a:cubicBezTo>
                <a:close/>
                <a:moveTo>
                  <a:pt x="723233" y="1303877"/>
                </a:moveTo>
                <a:cubicBezTo>
                  <a:pt x="721240" y="1304048"/>
                  <a:pt x="719304" y="1305073"/>
                  <a:pt x="717937" y="1307351"/>
                </a:cubicBezTo>
                <a:cubicBezTo>
                  <a:pt x="717937" y="1307351"/>
                  <a:pt x="719759" y="1309173"/>
                  <a:pt x="721581" y="1309173"/>
                </a:cubicBezTo>
                <a:cubicBezTo>
                  <a:pt x="721581" y="1312818"/>
                  <a:pt x="725226" y="1312818"/>
                  <a:pt x="728870" y="1314640"/>
                </a:cubicBezTo>
                <a:cubicBezTo>
                  <a:pt x="733425" y="1311907"/>
                  <a:pt x="732059" y="1307807"/>
                  <a:pt x="728870" y="1305529"/>
                </a:cubicBezTo>
                <a:cubicBezTo>
                  <a:pt x="727276" y="1304390"/>
                  <a:pt x="725226" y="1303707"/>
                  <a:pt x="723233" y="1303877"/>
                </a:cubicBezTo>
                <a:close/>
                <a:moveTo>
                  <a:pt x="3141428" y="1303707"/>
                </a:moveTo>
                <a:cubicBezTo>
                  <a:pt x="3135962" y="1303707"/>
                  <a:pt x="3137784" y="1310995"/>
                  <a:pt x="3139606" y="1310995"/>
                </a:cubicBezTo>
                <a:cubicBezTo>
                  <a:pt x="3143250" y="1309173"/>
                  <a:pt x="3145073" y="1314640"/>
                  <a:pt x="3148717" y="1309173"/>
                </a:cubicBezTo>
                <a:cubicBezTo>
                  <a:pt x="3148717" y="1307351"/>
                  <a:pt x="3148717" y="1307351"/>
                  <a:pt x="3148717" y="1305529"/>
                </a:cubicBezTo>
                <a:cubicBezTo>
                  <a:pt x="3145073" y="1305529"/>
                  <a:pt x="3141428" y="1310995"/>
                  <a:pt x="3141428" y="1303707"/>
                </a:cubicBezTo>
                <a:close/>
                <a:moveTo>
                  <a:pt x="1364809" y="1303707"/>
                </a:moveTo>
                <a:cubicBezTo>
                  <a:pt x="1366632" y="1305529"/>
                  <a:pt x="1364809" y="1305529"/>
                  <a:pt x="1364809" y="1307351"/>
                </a:cubicBezTo>
                <a:cubicBezTo>
                  <a:pt x="1362987" y="1309173"/>
                  <a:pt x="1361164" y="1307351"/>
                  <a:pt x="1359342" y="1305529"/>
                </a:cubicBezTo>
                <a:cubicBezTo>
                  <a:pt x="1361164" y="1303707"/>
                  <a:pt x="1362987" y="1301885"/>
                  <a:pt x="1364809" y="1303707"/>
                </a:cubicBezTo>
                <a:close/>
                <a:moveTo>
                  <a:pt x="1151614" y="1303707"/>
                </a:moveTo>
                <a:cubicBezTo>
                  <a:pt x="1149792" y="1309173"/>
                  <a:pt x="1147970" y="1314640"/>
                  <a:pt x="1149792" y="1320106"/>
                </a:cubicBezTo>
                <a:cubicBezTo>
                  <a:pt x="1153436" y="1318284"/>
                  <a:pt x="1155259" y="1314640"/>
                  <a:pt x="1157081" y="1310995"/>
                </a:cubicBezTo>
                <a:cubicBezTo>
                  <a:pt x="1158903" y="1312818"/>
                  <a:pt x="1160725" y="1307351"/>
                  <a:pt x="1158903" y="1305529"/>
                </a:cubicBezTo>
                <a:cubicBezTo>
                  <a:pt x="1155259" y="1301885"/>
                  <a:pt x="1153436" y="1309173"/>
                  <a:pt x="1151614" y="1303707"/>
                </a:cubicBezTo>
                <a:close/>
                <a:moveTo>
                  <a:pt x="809046" y="1303707"/>
                </a:moveTo>
                <a:cubicBezTo>
                  <a:pt x="809046" y="1309173"/>
                  <a:pt x="810868" y="1307351"/>
                  <a:pt x="812690" y="1305529"/>
                </a:cubicBezTo>
                <a:cubicBezTo>
                  <a:pt x="810868" y="1303707"/>
                  <a:pt x="809046" y="1303707"/>
                  <a:pt x="809046" y="1303707"/>
                </a:cubicBezTo>
                <a:close/>
                <a:moveTo>
                  <a:pt x="575808" y="1303707"/>
                </a:moveTo>
                <a:cubicBezTo>
                  <a:pt x="573985" y="1305529"/>
                  <a:pt x="575808" y="1310995"/>
                  <a:pt x="579452" y="1305529"/>
                </a:cubicBezTo>
                <a:cubicBezTo>
                  <a:pt x="577630" y="1305529"/>
                  <a:pt x="577630" y="1303707"/>
                  <a:pt x="575808" y="1303707"/>
                </a:cubicBezTo>
                <a:close/>
                <a:moveTo>
                  <a:pt x="510209" y="1303707"/>
                </a:moveTo>
                <a:cubicBezTo>
                  <a:pt x="508387" y="1300062"/>
                  <a:pt x="501098" y="1307351"/>
                  <a:pt x="499276" y="1310995"/>
                </a:cubicBezTo>
                <a:cubicBezTo>
                  <a:pt x="501098" y="1312818"/>
                  <a:pt x="502920" y="1314640"/>
                  <a:pt x="504743" y="1316462"/>
                </a:cubicBezTo>
                <a:cubicBezTo>
                  <a:pt x="510209" y="1312818"/>
                  <a:pt x="510209" y="1309173"/>
                  <a:pt x="510209" y="1303707"/>
                </a:cubicBezTo>
                <a:close/>
                <a:moveTo>
                  <a:pt x="362613" y="1303707"/>
                </a:moveTo>
                <a:cubicBezTo>
                  <a:pt x="360791" y="1305529"/>
                  <a:pt x="362613" y="1309173"/>
                  <a:pt x="358969" y="1312818"/>
                </a:cubicBezTo>
                <a:cubicBezTo>
                  <a:pt x="362613" y="1312818"/>
                  <a:pt x="362613" y="1310995"/>
                  <a:pt x="364435" y="1309173"/>
                </a:cubicBezTo>
                <a:cubicBezTo>
                  <a:pt x="362613" y="1307351"/>
                  <a:pt x="362613" y="1305529"/>
                  <a:pt x="362613" y="1303707"/>
                </a:cubicBezTo>
                <a:close/>
                <a:moveTo>
                  <a:pt x="302481" y="1303707"/>
                </a:moveTo>
                <a:cubicBezTo>
                  <a:pt x="298837" y="1301885"/>
                  <a:pt x="297015" y="1307351"/>
                  <a:pt x="297015" y="1309173"/>
                </a:cubicBezTo>
                <a:cubicBezTo>
                  <a:pt x="300660" y="1310995"/>
                  <a:pt x="302481" y="1303707"/>
                  <a:pt x="302481" y="1303707"/>
                </a:cubicBezTo>
                <a:close/>
                <a:moveTo>
                  <a:pt x="454405" y="1303479"/>
                </a:moveTo>
                <a:cubicBezTo>
                  <a:pt x="452355" y="1304162"/>
                  <a:pt x="450077" y="1305529"/>
                  <a:pt x="448256" y="1305529"/>
                </a:cubicBezTo>
                <a:cubicBezTo>
                  <a:pt x="450077" y="1309173"/>
                  <a:pt x="457367" y="1307351"/>
                  <a:pt x="459188" y="1305529"/>
                </a:cubicBezTo>
                <a:cubicBezTo>
                  <a:pt x="458277" y="1302795"/>
                  <a:pt x="456455" y="1302795"/>
                  <a:pt x="454405" y="1303479"/>
                </a:cubicBezTo>
                <a:close/>
                <a:moveTo>
                  <a:pt x="408332" y="1303044"/>
                </a:moveTo>
                <a:lnTo>
                  <a:pt x="408531" y="1304436"/>
                </a:lnTo>
                <a:lnTo>
                  <a:pt x="406345" y="1303707"/>
                </a:lnTo>
                <a:close/>
                <a:moveTo>
                  <a:pt x="1763865" y="1301952"/>
                </a:moveTo>
                <a:lnTo>
                  <a:pt x="1763865" y="1316529"/>
                </a:lnTo>
                <a:lnTo>
                  <a:pt x="1749287" y="1316529"/>
                </a:lnTo>
                <a:close/>
                <a:moveTo>
                  <a:pt x="3356445" y="1301885"/>
                </a:moveTo>
                <a:cubicBezTo>
                  <a:pt x="3356445" y="1301885"/>
                  <a:pt x="3349156" y="1303707"/>
                  <a:pt x="3347334" y="1305529"/>
                </a:cubicBezTo>
                <a:cubicBezTo>
                  <a:pt x="3345512" y="1310995"/>
                  <a:pt x="3354623" y="1305529"/>
                  <a:pt x="3352800" y="1309173"/>
                </a:cubicBezTo>
                <a:cubicBezTo>
                  <a:pt x="3356445" y="1309173"/>
                  <a:pt x="3352800" y="1301885"/>
                  <a:pt x="3356445" y="1301885"/>
                </a:cubicBezTo>
                <a:close/>
                <a:moveTo>
                  <a:pt x="3314535" y="1301885"/>
                </a:moveTo>
                <a:cubicBezTo>
                  <a:pt x="3312713" y="1301885"/>
                  <a:pt x="3310890" y="1303707"/>
                  <a:pt x="3309068" y="1303707"/>
                </a:cubicBezTo>
                <a:cubicBezTo>
                  <a:pt x="3309068" y="1305529"/>
                  <a:pt x="3310890" y="1307351"/>
                  <a:pt x="3312713" y="1309173"/>
                </a:cubicBezTo>
                <a:cubicBezTo>
                  <a:pt x="3314535" y="1307351"/>
                  <a:pt x="3312713" y="1303707"/>
                  <a:pt x="3314535" y="1301885"/>
                </a:cubicBezTo>
                <a:close/>
                <a:moveTo>
                  <a:pt x="2966500" y="1301885"/>
                </a:moveTo>
                <a:cubicBezTo>
                  <a:pt x="2959211" y="1305529"/>
                  <a:pt x="2950100" y="1310995"/>
                  <a:pt x="2942811" y="1314640"/>
                </a:cubicBezTo>
                <a:cubicBezTo>
                  <a:pt x="2939167" y="1316462"/>
                  <a:pt x="2937345" y="1318284"/>
                  <a:pt x="2933700" y="1320106"/>
                </a:cubicBezTo>
                <a:lnTo>
                  <a:pt x="2940989" y="1316462"/>
                </a:lnTo>
                <a:cubicBezTo>
                  <a:pt x="2940989" y="1318284"/>
                  <a:pt x="2942811" y="1318284"/>
                  <a:pt x="2942811" y="1320106"/>
                </a:cubicBezTo>
                <a:cubicBezTo>
                  <a:pt x="2942811" y="1318284"/>
                  <a:pt x="2942811" y="1316462"/>
                  <a:pt x="2942811" y="1314640"/>
                </a:cubicBezTo>
                <a:cubicBezTo>
                  <a:pt x="2944634" y="1318284"/>
                  <a:pt x="2946456" y="1323751"/>
                  <a:pt x="2944634" y="1327395"/>
                </a:cubicBezTo>
                <a:cubicBezTo>
                  <a:pt x="2944634" y="1327395"/>
                  <a:pt x="2944634" y="1329217"/>
                  <a:pt x="2944634" y="1329217"/>
                </a:cubicBezTo>
                <a:cubicBezTo>
                  <a:pt x="2950100" y="1331039"/>
                  <a:pt x="2950100" y="1334684"/>
                  <a:pt x="2957389" y="1332862"/>
                </a:cubicBezTo>
                <a:cubicBezTo>
                  <a:pt x="2957389" y="1331039"/>
                  <a:pt x="2957389" y="1329217"/>
                  <a:pt x="2957389" y="1327395"/>
                </a:cubicBezTo>
                <a:cubicBezTo>
                  <a:pt x="2961033" y="1327395"/>
                  <a:pt x="2959211" y="1332862"/>
                  <a:pt x="2957389" y="1334684"/>
                </a:cubicBezTo>
                <a:cubicBezTo>
                  <a:pt x="2957389" y="1338328"/>
                  <a:pt x="2962855" y="1336506"/>
                  <a:pt x="2962855" y="1341972"/>
                </a:cubicBezTo>
                <a:cubicBezTo>
                  <a:pt x="2968322" y="1341972"/>
                  <a:pt x="2968322" y="1341972"/>
                  <a:pt x="2975610" y="1341972"/>
                </a:cubicBezTo>
                <a:cubicBezTo>
                  <a:pt x="2979255" y="1338328"/>
                  <a:pt x="2975610" y="1334684"/>
                  <a:pt x="2979255" y="1331039"/>
                </a:cubicBezTo>
                <a:cubicBezTo>
                  <a:pt x="2979255" y="1327395"/>
                  <a:pt x="2973788" y="1331039"/>
                  <a:pt x="2971966" y="1329217"/>
                </a:cubicBezTo>
                <a:cubicBezTo>
                  <a:pt x="2975610" y="1320106"/>
                  <a:pt x="2970144" y="1312818"/>
                  <a:pt x="2971966" y="1305529"/>
                </a:cubicBezTo>
                <a:cubicBezTo>
                  <a:pt x="2968322" y="1305529"/>
                  <a:pt x="2966500" y="1305529"/>
                  <a:pt x="2966500" y="1301885"/>
                </a:cubicBezTo>
                <a:close/>
                <a:moveTo>
                  <a:pt x="2797037" y="1301885"/>
                </a:moveTo>
                <a:cubicBezTo>
                  <a:pt x="2793393" y="1303707"/>
                  <a:pt x="2791571" y="1307351"/>
                  <a:pt x="2789749" y="1310995"/>
                </a:cubicBezTo>
                <a:cubicBezTo>
                  <a:pt x="2787927" y="1307351"/>
                  <a:pt x="2787927" y="1305529"/>
                  <a:pt x="2786104" y="1310995"/>
                </a:cubicBezTo>
                <a:cubicBezTo>
                  <a:pt x="2782460" y="1310995"/>
                  <a:pt x="2784282" y="1305529"/>
                  <a:pt x="2784282" y="1303707"/>
                </a:cubicBezTo>
                <a:cubicBezTo>
                  <a:pt x="2782460" y="1301885"/>
                  <a:pt x="2780638" y="1305529"/>
                  <a:pt x="2775171" y="1303707"/>
                </a:cubicBezTo>
                <a:cubicBezTo>
                  <a:pt x="2776993" y="1310995"/>
                  <a:pt x="2771527" y="1309173"/>
                  <a:pt x="2771527" y="1314640"/>
                </a:cubicBezTo>
                <a:cubicBezTo>
                  <a:pt x="2771527" y="1323751"/>
                  <a:pt x="2786104" y="1320106"/>
                  <a:pt x="2793393" y="1325573"/>
                </a:cubicBezTo>
                <a:cubicBezTo>
                  <a:pt x="2793393" y="1323751"/>
                  <a:pt x="2793393" y="1323751"/>
                  <a:pt x="2795215" y="1323751"/>
                </a:cubicBezTo>
                <a:cubicBezTo>
                  <a:pt x="2791571" y="1316462"/>
                  <a:pt x="2802504" y="1312818"/>
                  <a:pt x="2797037" y="1301885"/>
                </a:cubicBezTo>
                <a:close/>
                <a:moveTo>
                  <a:pt x="1133393" y="1301885"/>
                </a:moveTo>
                <a:cubicBezTo>
                  <a:pt x="1136126" y="1303707"/>
                  <a:pt x="1137037" y="1306440"/>
                  <a:pt x="1137949" y="1309401"/>
                </a:cubicBezTo>
                <a:lnTo>
                  <a:pt x="1141330" y="1315998"/>
                </a:lnTo>
                <a:lnTo>
                  <a:pt x="1135215" y="1307351"/>
                </a:lnTo>
                <a:cubicBezTo>
                  <a:pt x="1135215" y="1305529"/>
                  <a:pt x="1135215" y="1303707"/>
                  <a:pt x="1133393" y="1301885"/>
                </a:cubicBezTo>
                <a:close/>
                <a:moveTo>
                  <a:pt x="752558" y="1301885"/>
                </a:moveTo>
                <a:cubicBezTo>
                  <a:pt x="750737" y="1300062"/>
                  <a:pt x="748914" y="1303707"/>
                  <a:pt x="747092" y="1303707"/>
                </a:cubicBezTo>
                <a:cubicBezTo>
                  <a:pt x="748914" y="1307351"/>
                  <a:pt x="750737" y="1300062"/>
                  <a:pt x="752558" y="1301885"/>
                </a:cubicBezTo>
                <a:close/>
                <a:moveTo>
                  <a:pt x="595852" y="1301885"/>
                </a:moveTo>
                <a:cubicBezTo>
                  <a:pt x="594030" y="1300062"/>
                  <a:pt x="590385" y="1305529"/>
                  <a:pt x="592207" y="1307351"/>
                </a:cubicBezTo>
                <a:cubicBezTo>
                  <a:pt x="595852" y="1307351"/>
                  <a:pt x="594030" y="1303707"/>
                  <a:pt x="595852" y="1301885"/>
                </a:cubicBezTo>
                <a:close/>
                <a:moveTo>
                  <a:pt x="539364" y="1301885"/>
                </a:moveTo>
                <a:cubicBezTo>
                  <a:pt x="537542" y="1303707"/>
                  <a:pt x="528431" y="1305529"/>
                  <a:pt x="533897" y="1310995"/>
                </a:cubicBezTo>
                <a:cubicBezTo>
                  <a:pt x="537542" y="1307351"/>
                  <a:pt x="539364" y="1305529"/>
                  <a:pt x="539364" y="1301885"/>
                </a:cubicBezTo>
                <a:close/>
                <a:moveTo>
                  <a:pt x="528431" y="1301885"/>
                </a:moveTo>
                <a:cubicBezTo>
                  <a:pt x="528431" y="1303707"/>
                  <a:pt x="530253" y="1303707"/>
                  <a:pt x="530253" y="1305529"/>
                </a:cubicBezTo>
                <a:cubicBezTo>
                  <a:pt x="532075" y="1303707"/>
                  <a:pt x="532075" y="1301885"/>
                  <a:pt x="533897" y="1301885"/>
                </a:cubicBezTo>
                <a:cubicBezTo>
                  <a:pt x="532075" y="1300062"/>
                  <a:pt x="530253" y="1300062"/>
                  <a:pt x="528431" y="1301885"/>
                </a:cubicBezTo>
                <a:close/>
                <a:moveTo>
                  <a:pt x="406345" y="1301885"/>
                </a:moveTo>
                <a:cubicBezTo>
                  <a:pt x="399056" y="1303707"/>
                  <a:pt x="402701" y="1309173"/>
                  <a:pt x="406345" y="1309173"/>
                </a:cubicBezTo>
                <a:cubicBezTo>
                  <a:pt x="408167" y="1309173"/>
                  <a:pt x="408167" y="1307351"/>
                  <a:pt x="411812" y="1305529"/>
                </a:cubicBezTo>
                <a:cubicBezTo>
                  <a:pt x="413634" y="1303707"/>
                  <a:pt x="411812" y="1301885"/>
                  <a:pt x="411812" y="1301885"/>
                </a:cubicBezTo>
                <a:lnTo>
                  <a:pt x="408332" y="1303044"/>
                </a:lnTo>
                <a:lnTo>
                  <a:pt x="408167" y="1301885"/>
                </a:lnTo>
                <a:cubicBezTo>
                  <a:pt x="408167" y="1303707"/>
                  <a:pt x="406345" y="1301885"/>
                  <a:pt x="406345" y="1301885"/>
                </a:cubicBezTo>
                <a:close/>
                <a:moveTo>
                  <a:pt x="380835" y="1301885"/>
                </a:moveTo>
                <a:cubicBezTo>
                  <a:pt x="379012" y="1310995"/>
                  <a:pt x="386301" y="1307351"/>
                  <a:pt x="389946" y="1309173"/>
                </a:cubicBezTo>
                <a:cubicBezTo>
                  <a:pt x="389946" y="1305529"/>
                  <a:pt x="382657" y="1303707"/>
                  <a:pt x="380835" y="1301885"/>
                </a:cubicBezTo>
                <a:close/>
                <a:moveTo>
                  <a:pt x="785585" y="1301657"/>
                </a:moveTo>
                <a:lnTo>
                  <a:pt x="785539" y="1302067"/>
                </a:lnTo>
                <a:lnTo>
                  <a:pt x="781713" y="1303707"/>
                </a:lnTo>
                <a:cubicBezTo>
                  <a:pt x="782624" y="1302796"/>
                  <a:pt x="784446" y="1301885"/>
                  <a:pt x="785585" y="1301657"/>
                </a:cubicBezTo>
                <a:close/>
                <a:moveTo>
                  <a:pt x="1225213" y="1301330"/>
                </a:moveTo>
                <a:lnTo>
                  <a:pt x="1226141" y="1301794"/>
                </a:lnTo>
                <a:lnTo>
                  <a:pt x="1226080" y="1302371"/>
                </a:lnTo>
                <a:lnTo>
                  <a:pt x="1224501" y="1305529"/>
                </a:lnTo>
                <a:lnTo>
                  <a:pt x="1223045" y="1304420"/>
                </a:lnTo>
                <a:lnTo>
                  <a:pt x="1223134" y="1303707"/>
                </a:lnTo>
                <a:close/>
                <a:moveTo>
                  <a:pt x="289214" y="1301201"/>
                </a:moveTo>
                <a:cubicBezTo>
                  <a:pt x="283918" y="1300176"/>
                  <a:pt x="280159" y="1311451"/>
                  <a:pt x="273327" y="1307351"/>
                </a:cubicBezTo>
                <a:cubicBezTo>
                  <a:pt x="275149" y="1307351"/>
                  <a:pt x="276971" y="1305529"/>
                  <a:pt x="278793" y="1303707"/>
                </a:cubicBezTo>
                <a:cubicBezTo>
                  <a:pt x="275149" y="1305529"/>
                  <a:pt x="271504" y="1305529"/>
                  <a:pt x="269682" y="1307351"/>
                </a:cubicBezTo>
                <a:cubicBezTo>
                  <a:pt x="273327" y="1309173"/>
                  <a:pt x="276971" y="1314640"/>
                  <a:pt x="280615" y="1316462"/>
                </a:cubicBezTo>
                <a:cubicBezTo>
                  <a:pt x="275149" y="1314640"/>
                  <a:pt x="267860" y="1312818"/>
                  <a:pt x="267860" y="1305529"/>
                </a:cubicBezTo>
                <a:cubicBezTo>
                  <a:pt x="260571" y="1309173"/>
                  <a:pt x="253282" y="1310995"/>
                  <a:pt x="245994" y="1312818"/>
                </a:cubicBezTo>
                <a:cubicBezTo>
                  <a:pt x="251460" y="1318284"/>
                  <a:pt x="258749" y="1316462"/>
                  <a:pt x="266038" y="1312818"/>
                </a:cubicBezTo>
                <a:cubicBezTo>
                  <a:pt x="266038" y="1314640"/>
                  <a:pt x="266038" y="1316462"/>
                  <a:pt x="264216" y="1318284"/>
                </a:cubicBezTo>
                <a:cubicBezTo>
                  <a:pt x="271504" y="1320106"/>
                  <a:pt x="280615" y="1325573"/>
                  <a:pt x="284259" y="1320106"/>
                </a:cubicBezTo>
                <a:cubicBezTo>
                  <a:pt x="286082" y="1318284"/>
                  <a:pt x="284259" y="1316462"/>
                  <a:pt x="282438" y="1316462"/>
                </a:cubicBezTo>
                <a:cubicBezTo>
                  <a:pt x="282438" y="1316462"/>
                  <a:pt x="278793" y="1314640"/>
                  <a:pt x="280615" y="1312818"/>
                </a:cubicBezTo>
                <a:cubicBezTo>
                  <a:pt x="286082" y="1310995"/>
                  <a:pt x="291549" y="1320106"/>
                  <a:pt x="291549" y="1310995"/>
                </a:cubicBezTo>
                <a:cubicBezTo>
                  <a:pt x="289726" y="1309173"/>
                  <a:pt x="287904" y="1310995"/>
                  <a:pt x="286082" y="1309173"/>
                </a:cubicBezTo>
                <a:cubicBezTo>
                  <a:pt x="287904" y="1307351"/>
                  <a:pt x="293370" y="1309173"/>
                  <a:pt x="295193" y="1307351"/>
                </a:cubicBezTo>
                <a:cubicBezTo>
                  <a:pt x="292915" y="1303251"/>
                  <a:pt x="290980" y="1301543"/>
                  <a:pt x="289214" y="1301201"/>
                </a:cubicBezTo>
                <a:close/>
                <a:moveTo>
                  <a:pt x="1219582" y="1301156"/>
                </a:moveTo>
                <a:lnTo>
                  <a:pt x="1220086" y="1302165"/>
                </a:lnTo>
                <a:lnTo>
                  <a:pt x="1219718" y="1301885"/>
                </a:lnTo>
                <a:close/>
                <a:moveTo>
                  <a:pt x="3374666" y="1300062"/>
                </a:moveTo>
                <a:cubicBezTo>
                  <a:pt x="3371933" y="1301885"/>
                  <a:pt x="3371478" y="1304162"/>
                  <a:pt x="3372161" y="1305757"/>
                </a:cubicBezTo>
                <a:lnTo>
                  <a:pt x="3374666" y="1306679"/>
                </a:lnTo>
                <a:lnTo>
                  <a:pt x="3374666" y="1316462"/>
                </a:lnTo>
                <a:cubicBezTo>
                  <a:pt x="3372844" y="1314640"/>
                  <a:pt x="3374666" y="1310995"/>
                  <a:pt x="3376489" y="1307351"/>
                </a:cubicBezTo>
                <a:lnTo>
                  <a:pt x="3374666" y="1306679"/>
                </a:lnTo>
                <a:close/>
                <a:moveTo>
                  <a:pt x="3216137" y="1300062"/>
                </a:moveTo>
                <a:cubicBezTo>
                  <a:pt x="3214315" y="1305529"/>
                  <a:pt x="3221604" y="1307351"/>
                  <a:pt x="3217960" y="1309173"/>
                </a:cubicBezTo>
                <a:cubicBezTo>
                  <a:pt x="3217960" y="1312818"/>
                  <a:pt x="3219782" y="1307351"/>
                  <a:pt x="3221604" y="1309173"/>
                </a:cubicBezTo>
                <a:cubicBezTo>
                  <a:pt x="3221604" y="1305529"/>
                  <a:pt x="3217960" y="1305529"/>
                  <a:pt x="3219782" y="1300062"/>
                </a:cubicBezTo>
                <a:cubicBezTo>
                  <a:pt x="3217960" y="1300062"/>
                  <a:pt x="3217960" y="1300062"/>
                  <a:pt x="3216137" y="1300062"/>
                </a:cubicBezTo>
                <a:close/>
                <a:moveTo>
                  <a:pt x="1884128" y="1300062"/>
                </a:moveTo>
                <a:lnTo>
                  <a:pt x="1884128" y="1305529"/>
                </a:lnTo>
                <a:cubicBezTo>
                  <a:pt x="1887773" y="1310995"/>
                  <a:pt x="1887773" y="1314640"/>
                  <a:pt x="1891417" y="1318284"/>
                </a:cubicBezTo>
                <a:lnTo>
                  <a:pt x="1893239" y="1316462"/>
                </a:lnTo>
                <a:cubicBezTo>
                  <a:pt x="1895061" y="1312818"/>
                  <a:pt x="1895061" y="1307351"/>
                  <a:pt x="1889595" y="1307351"/>
                </a:cubicBezTo>
                <a:cubicBezTo>
                  <a:pt x="1896883" y="1309173"/>
                  <a:pt x="1895061" y="1303707"/>
                  <a:pt x="1895061" y="1300062"/>
                </a:cubicBezTo>
                <a:close/>
                <a:moveTo>
                  <a:pt x="1244545" y="1300062"/>
                </a:moveTo>
                <a:cubicBezTo>
                  <a:pt x="1242723" y="1298240"/>
                  <a:pt x="1239080" y="1301885"/>
                  <a:pt x="1242723" y="1303707"/>
                </a:cubicBezTo>
                <a:cubicBezTo>
                  <a:pt x="1244545" y="1301885"/>
                  <a:pt x="1242723" y="1301885"/>
                  <a:pt x="1244545" y="1300062"/>
                </a:cubicBezTo>
                <a:close/>
                <a:moveTo>
                  <a:pt x="1235434" y="1300062"/>
                </a:moveTo>
                <a:cubicBezTo>
                  <a:pt x="1235434" y="1307351"/>
                  <a:pt x="1240901" y="1314640"/>
                  <a:pt x="1242723" y="1321929"/>
                </a:cubicBezTo>
                <a:cubicBezTo>
                  <a:pt x="1242723" y="1316462"/>
                  <a:pt x="1242723" y="1309173"/>
                  <a:pt x="1239080" y="1305529"/>
                </a:cubicBezTo>
                <a:cubicBezTo>
                  <a:pt x="1237256" y="1305529"/>
                  <a:pt x="1240901" y="1305529"/>
                  <a:pt x="1240901" y="1303707"/>
                </a:cubicBezTo>
                <a:cubicBezTo>
                  <a:pt x="1239080" y="1301885"/>
                  <a:pt x="1237256" y="1300062"/>
                  <a:pt x="1235434" y="1300062"/>
                </a:cubicBezTo>
                <a:close/>
                <a:moveTo>
                  <a:pt x="1229969" y="1300062"/>
                </a:moveTo>
                <a:cubicBezTo>
                  <a:pt x="1228146" y="1303707"/>
                  <a:pt x="1224501" y="1305529"/>
                  <a:pt x="1222679" y="1309173"/>
                </a:cubicBezTo>
                <a:cubicBezTo>
                  <a:pt x="1224501" y="1316462"/>
                  <a:pt x="1228146" y="1323751"/>
                  <a:pt x="1228146" y="1329217"/>
                </a:cubicBezTo>
                <a:cubicBezTo>
                  <a:pt x="1233612" y="1329217"/>
                  <a:pt x="1237256" y="1329217"/>
                  <a:pt x="1240901" y="1331039"/>
                </a:cubicBezTo>
                <a:cubicBezTo>
                  <a:pt x="1240901" y="1321929"/>
                  <a:pt x="1235434" y="1309173"/>
                  <a:pt x="1229969" y="1300062"/>
                </a:cubicBezTo>
                <a:close/>
                <a:moveTo>
                  <a:pt x="765313" y="1300062"/>
                </a:moveTo>
                <a:cubicBezTo>
                  <a:pt x="761670" y="1305529"/>
                  <a:pt x="752558" y="1307351"/>
                  <a:pt x="748914" y="1314640"/>
                </a:cubicBezTo>
                <a:cubicBezTo>
                  <a:pt x="752558" y="1323751"/>
                  <a:pt x="759848" y="1321929"/>
                  <a:pt x="765313" y="1314640"/>
                </a:cubicBezTo>
                <a:cubicBezTo>
                  <a:pt x="767136" y="1309173"/>
                  <a:pt x="763491" y="1303707"/>
                  <a:pt x="765313" y="1300062"/>
                </a:cubicBezTo>
                <a:close/>
                <a:moveTo>
                  <a:pt x="630472" y="1300062"/>
                </a:moveTo>
                <a:cubicBezTo>
                  <a:pt x="628650" y="1303707"/>
                  <a:pt x="630472" y="1307351"/>
                  <a:pt x="634117" y="1309173"/>
                </a:cubicBezTo>
                <a:cubicBezTo>
                  <a:pt x="637761" y="1307351"/>
                  <a:pt x="632296" y="1300062"/>
                  <a:pt x="630472" y="1300062"/>
                </a:cubicBezTo>
                <a:close/>
                <a:moveTo>
                  <a:pt x="526609" y="1300062"/>
                </a:moveTo>
                <a:cubicBezTo>
                  <a:pt x="524786" y="1300062"/>
                  <a:pt x="522964" y="1301885"/>
                  <a:pt x="521142" y="1301885"/>
                </a:cubicBezTo>
                <a:cubicBezTo>
                  <a:pt x="524786" y="1309173"/>
                  <a:pt x="510209" y="1309173"/>
                  <a:pt x="517498" y="1314640"/>
                </a:cubicBezTo>
                <a:cubicBezTo>
                  <a:pt x="521142" y="1309173"/>
                  <a:pt x="533897" y="1310995"/>
                  <a:pt x="526609" y="1300062"/>
                </a:cubicBezTo>
                <a:close/>
                <a:moveTo>
                  <a:pt x="373546" y="1300062"/>
                </a:moveTo>
                <a:cubicBezTo>
                  <a:pt x="368079" y="1298240"/>
                  <a:pt x="364435" y="1300062"/>
                  <a:pt x="364435" y="1301885"/>
                </a:cubicBezTo>
                <a:cubicBezTo>
                  <a:pt x="366257" y="1303707"/>
                  <a:pt x="369902" y="1307351"/>
                  <a:pt x="371724" y="1303707"/>
                </a:cubicBezTo>
                <a:cubicBezTo>
                  <a:pt x="366257" y="1296418"/>
                  <a:pt x="377190" y="1303707"/>
                  <a:pt x="373546" y="1300062"/>
                </a:cubicBezTo>
                <a:close/>
                <a:moveTo>
                  <a:pt x="3362367" y="1299607"/>
                </a:moveTo>
                <a:cubicBezTo>
                  <a:pt x="3360090" y="1299151"/>
                  <a:pt x="3357356" y="1300063"/>
                  <a:pt x="3358267" y="1303707"/>
                </a:cubicBezTo>
                <a:cubicBezTo>
                  <a:pt x="3360089" y="1303707"/>
                  <a:pt x="3361911" y="1301885"/>
                  <a:pt x="3363734" y="1303707"/>
                </a:cubicBezTo>
                <a:cubicBezTo>
                  <a:pt x="3366467" y="1301885"/>
                  <a:pt x="3364645" y="1300062"/>
                  <a:pt x="3362367" y="1299607"/>
                </a:cubicBezTo>
                <a:close/>
                <a:moveTo>
                  <a:pt x="3084941" y="1298240"/>
                </a:moveTo>
                <a:cubicBezTo>
                  <a:pt x="3088585" y="1300062"/>
                  <a:pt x="3084941" y="1307351"/>
                  <a:pt x="3088585" y="1305529"/>
                </a:cubicBezTo>
                <a:cubicBezTo>
                  <a:pt x="3086763" y="1309173"/>
                  <a:pt x="3083119" y="1307351"/>
                  <a:pt x="3084941" y="1312818"/>
                </a:cubicBezTo>
                <a:cubicBezTo>
                  <a:pt x="3088585" y="1312818"/>
                  <a:pt x="3095874" y="1314640"/>
                  <a:pt x="3104985" y="1312818"/>
                </a:cubicBezTo>
                <a:cubicBezTo>
                  <a:pt x="3104985" y="1310995"/>
                  <a:pt x="3104985" y="1309173"/>
                  <a:pt x="3104985" y="1307351"/>
                </a:cubicBezTo>
                <a:cubicBezTo>
                  <a:pt x="3092230" y="1309173"/>
                  <a:pt x="3094052" y="1301885"/>
                  <a:pt x="3084941" y="1298240"/>
                </a:cubicBezTo>
                <a:close/>
                <a:moveTo>
                  <a:pt x="1907816" y="1298240"/>
                </a:moveTo>
                <a:lnTo>
                  <a:pt x="1907816" y="1301885"/>
                </a:lnTo>
                <a:lnTo>
                  <a:pt x="1913283" y="1301885"/>
                </a:lnTo>
                <a:cubicBezTo>
                  <a:pt x="1913283" y="1301885"/>
                  <a:pt x="1911461" y="1300062"/>
                  <a:pt x="1911461" y="1298240"/>
                </a:cubicBezTo>
                <a:cubicBezTo>
                  <a:pt x="1909639" y="1298240"/>
                  <a:pt x="1909639" y="1298240"/>
                  <a:pt x="1907816" y="1298240"/>
                </a:cubicBezTo>
                <a:close/>
                <a:moveTo>
                  <a:pt x="1844040" y="1298240"/>
                </a:moveTo>
                <a:cubicBezTo>
                  <a:pt x="1844040" y="1298240"/>
                  <a:pt x="1844040" y="1298240"/>
                  <a:pt x="1844040" y="1300062"/>
                </a:cubicBezTo>
                <a:cubicBezTo>
                  <a:pt x="1845864" y="1300062"/>
                  <a:pt x="1845864" y="1300062"/>
                  <a:pt x="1845864" y="1300062"/>
                </a:cubicBezTo>
                <a:cubicBezTo>
                  <a:pt x="1845864" y="1300062"/>
                  <a:pt x="1844040" y="1298240"/>
                  <a:pt x="1844040" y="1298240"/>
                </a:cubicBezTo>
                <a:close/>
                <a:moveTo>
                  <a:pt x="1113349" y="1298240"/>
                </a:moveTo>
                <a:cubicBezTo>
                  <a:pt x="1113349" y="1298240"/>
                  <a:pt x="1111526" y="1301885"/>
                  <a:pt x="1113349" y="1301885"/>
                </a:cubicBezTo>
                <a:lnTo>
                  <a:pt x="1112980" y="1298940"/>
                </a:lnTo>
                <a:close/>
                <a:moveTo>
                  <a:pt x="1109704" y="1298240"/>
                </a:moveTo>
                <a:cubicBezTo>
                  <a:pt x="1107882" y="1296418"/>
                  <a:pt x="1104238" y="1300062"/>
                  <a:pt x="1102416" y="1300062"/>
                </a:cubicBezTo>
                <a:cubicBezTo>
                  <a:pt x="1100593" y="1303707"/>
                  <a:pt x="1102416" y="1305529"/>
                  <a:pt x="1104238" y="1309173"/>
                </a:cubicBezTo>
                <a:cubicBezTo>
                  <a:pt x="1107882" y="1305529"/>
                  <a:pt x="1109704" y="1301885"/>
                  <a:pt x="1109704" y="1298240"/>
                </a:cubicBezTo>
                <a:close/>
                <a:moveTo>
                  <a:pt x="603140" y="1298240"/>
                </a:moveTo>
                <a:cubicBezTo>
                  <a:pt x="599496" y="1300062"/>
                  <a:pt x="604963" y="1303707"/>
                  <a:pt x="603140" y="1305529"/>
                </a:cubicBezTo>
                <a:cubicBezTo>
                  <a:pt x="604963" y="1305529"/>
                  <a:pt x="604963" y="1305529"/>
                  <a:pt x="606784" y="1305529"/>
                </a:cubicBezTo>
                <a:cubicBezTo>
                  <a:pt x="606784" y="1303707"/>
                  <a:pt x="603140" y="1300062"/>
                  <a:pt x="603140" y="1298240"/>
                </a:cubicBezTo>
                <a:close/>
                <a:moveTo>
                  <a:pt x="326169" y="1298240"/>
                </a:moveTo>
                <a:cubicBezTo>
                  <a:pt x="320703" y="1301885"/>
                  <a:pt x="317059" y="1305529"/>
                  <a:pt x="318882" y="1310995"/>
                </a:cubicBezTo>
                <a:cubicBezTo>
                  <a:pt x="326169" y="1307351"/>
                  <a:pt x="331636" y="1305529"/>
                  <a:pt x="338926" y="1303707"/>
                </a:cubicBezTo>
                <a:cubicBezTo>
                  <a:pt x="331636" y="1301885"/>
                  <a:pt x="329814" y="1303707"/>
                  <a:pt x="326169" y="1298240"/>
                </a:cubicBezTo>
                <a:close/>
                <a:moveTo>
                  <a:pt x="306126" y="1298240"/>
                </a:moveTo>
                <a:cubicBezTo>
                  <a:pt x="304303" y="1300062"/>
                  <a:pt x="304303" y="1301885"/>
                  <a:pt x="304303" y="1303707"/>
                </a:cubicBezTo>
                <a:cubicBezTo>
                  <a:pt x="304303" y="1303707"/>
                  <a:pt x="306126" y="1301885"/>
                  <a:pt x="309771" y="1301885"/>
                </a:cubicBezTo>
                <a:cubicBezTo>
                  <a:pt x="311592" y="1300062"/>
                  <a:pt x="307948" y="1300062"/>
                  <a:pt x="306126" y="1298240"/>
                </a:cubicBezTo>
                <a:close/>
                <a:moveTo>
                  <a:pt x="1345306" y="1297642"/>
                </a:moveTo>
                <a:lnTo>
                  <a:pt x="1345044" y="1299697"/>
                </a:lnTo>
                <a:lnTo>
                  <a:pt x="1344993" y="1299379"/>
                </a:lnTo>
                <a:cubicBezTo>
                  <a:pt x="1345107" y="1298126"/>
                  <a:pt x="1345278" y="1297386"/>
                  <a:pt x="1345306" y="1297642"/>
                </a:cubicBezTo>
                <a:close/>
                <a:moveTo>
                  <a:pt x="297015" y="1297101"/>
                </a:moveTo>
                <a:cubicBezTo>
                  <a:pt x="294737" y="1297785"/>
                  <a:pt x="292459" y="1299151"/>
                  <a:pt x="289726" y="1300062"/>
                </a:cubicBezTo>
                <a:cubicBezTo>
                  <a:pt x="295193" y="1301885"/>
                  <a:pt x="300660" y="1303707"/>
                  <a:pt x="304303" y="1298240"/>
                </a:cubicBezTo>
                <a:cubicBezTo>
                  <a:pt x="301570" y="1296418"/>
                  <a:pt x="299292" y="1296418"/>
                  <a:pt x="297015" y="1297101"/>
                </a:cubicBezTo>
                <a:close/>
                <a:moveTo>
                  <a:pt x="3330934" y="1296418"/>
                </a:moveTo>
                <a:cubicBezTo>
                  <a:pt x="3329112" y="1300062"/>
                  <a:pt x="3329112" y="1312818"/>
                  <a:pt x="3334579" y="1312818"/>
                </a:cubicBezTo>
                <a:cubicBezTo>
                  <a:pt x="3327290" y="1320106"/>
                  <a:pt x="3330934" y="1332862"/>
                  <a:pt x="3343690" y="1327395"/>
                </a:cubicBezTo>
                <a:cubicBezTo>
                  <a:pt x="3343690" y="1325573"/>
                  <a:pt x="3343690" y="1323751"/>
                  <a:pt x="3343690" y="1321929"/>
                </a:cubicBezTo>
                <a:cubicBezTo>
                  <a:pt x="3347334" y="1321929"/>
                  <a:pt x="3345512" y="1325573"/>
                  <a:pt x="3349156" y="1323751"/>
                </a:cubicBezTo>
                <a:cubicBezTo>
                  <a:pt x="3349156" y="1320106"/>
                  <a:pt x="3345512" y="1320106"/>
                  <a:pt x="3347334" y="1316462"/>
                </a:cubicBezTo>
                <a:cubicBezTo>
                  <a:pt x="3350978" y="1316462"/>
                  <a:pt x="3354623" y="1320106"/>
                  <a:pt x="3358267" y="1316462"/>
                </a:cubicBezTo>
                <a:cubicBezTo>
                  <a:pt x="3360089" y="1318284"/>
                  <a:pt x="3358267" y="1321929"/>
                  <a:pt x="3360089" y="1323751"/>
                </a:cubicBezTo>
                <a:cubicBezTo>
                  <a:pt x="3363734" y="1323751"/>
                  <a:pt x="3365556" y="1318284"/>
                  <a:pt x="3367378" y="1321929"/>
                </a:cubicBezTo>
                <a:cubicBezTo>
                  <a:pt x="3367378" y="1309173"/>
                  <a:pt x="3350978" y="1314640"/>
                  <a:pt x="3340045" y="1314640"/>
                </a:cubicBezTo>
                <a:cubicBezTo>
                  <a:pt x="3338223" y="1312818"/>
                  <a:pt x="3338223" y="1310995"/>
                  <a:pt x="3336401" y="1314640"/>
                </a:cubicBezTo>
                <a:cubicBezTo>
                  <a:pt x="3336401" y="1310995"/>
                  <a:pt x="3336401" y="1309173"/>
                  <a:pt x="3340045" y="1309173"/>
                </a:cubicBezTo>
                <a:cubicBezTo>
                  <a:pt x="3338223" y="1303707"/>
                  <a:pt x="3330934" y="1305529"/>
                  <a:pt x="3330934" y="1296418"/>
                </a:cubicBezTo>
                <a:close/>
                <a:moveTo>
                  <a:pt x="1251834" y="1296418"/>
                </a:moveTo>
                <a:cubicBezTo>
                  <a:pt x="1250012" y="1300062"/>
                  <a:pt x="1248189" y="1296418"/>
                  <a:pt x="1246367" y="1298240"/>
                </a:cubicBezTo>
                <a:cubicBezTo>
                  <a:pt x="1246367" y="1301885"/>
                  <a:pt x="1244545" y="1303707"/>
                  <a:pt x="1242723" y="1305529"/>
                </a:cubicBezTo>
                <a:cubicBezTo>
                  <a:pt x="1246367" y="1314640"/>
                  <a:pt x="1244545" y="1323751"/>
                  <a:pt x="1248189" y="1332862"/>
                </a:cubicBezTo>
                <a:cubicBezTo>
                  <a:pt x="1251834" y="1325573"/>
                  <a:pt x="1248189" y="1320106"/>
                  <a:pt x="1251834" y="1312818"/>
                </a:cubicBezTo>
                <a:cubicBezTo>
                  <a:pt x="1250012" y="1310995"/>
                  <a:pt x="1251834" y="1310995"/>
                  <a:pt x="1250012" y="1309173"/>
                </a:cubicBezTo>
                <a:cubicBezTo>
                  <a:pt x="1250012" y="1305529"/>
                  <a:pt x="1251834" y="1301885"/>
                  <a:pt x="1251834" y="1296418"/>
                </a:cubicBezTo>
                <a:close/>
                <a:moveTo>
                  <a:pt x="1217213" y="1296418"/>
                </a:moveTo>
                <a:cubicBezTo>
                  <a:pt x="1209925" y="1294596"/>
                  <a:pt x="1202636" y="1296418"/>
                  <a:pt x="1195346" y="1298240"/>
                </a:cubicBezTo>
                <a:cubicBezTo>
                  <a:pt x="1202636" y="1305529"/>
                  <a:pt x="1208102" y="1314640"/>
                  <a:pt x="1215390" y="1312818"/>
                </a:cubicBezTo>
                <a:cubicBezTo>
                  <a:pt x="1219036" y="1309173"/>
                  <a:pt x="1217213" y="1305529"/>
                  <a:pt x="1220858" y="1303707"/>
                </a:cubicBezTo>
                <a:lnTo>
                  <a:pt x="1220086" y="1302165"/>
                </a:lnTo>
                <a:lnTo>
                  <a:pt x="1223045" y="1304420"/>
                </a:lnTo>
                <a:lnTo>
                  <a:pt x="1222679" y="1307351"/>
                </a:lnTo>
                <a:cubicBezTo>
                  <a:pt x="1222679" y="1306440"/>
                  <a:pt x="1224501" y="1305529"/>
                  <a:pt x="1225868" y="1304390"/>
                </a:cubicBezTo>
                <a:lnTo>
                  <a:pt x="1226080" y="1302371"/>
                </a:lnTo>
                <a:lnTo>
                  <a:pt x="1226323" y="1301885"/>
                </a:lnTo>
                <a:lnTo>
                  <a:pt x="1226141" y="1301794"/>
                </a:lnTo>
                <a:lnTo>
                  <a:pt x="1226323" y="1300062"/>
                </a:lnTo>
                <a:lnTo>
                  <a:pt x="1225213" y="1301330"/>
                </a:lnTo>
                <a:lnTo>
                  <a:pt x="1219036" y="1298240"/>
                </a:lnTo>
                <a:lnTo>
                  <a:pt x="1219582" y="1301156"/>
                </a:lnTo>
                <a:close/>
                <a:moveTo>
                  <a:pt x="1166192" y="1296418"/>
                </a:moveTo>
                <a:cubicBezTo>
                  <a:pt x="1164370" y="1296418"/>
                  <a:pt x="1166192" y="1298240"/>
                  <a:pt x="1164370" y="1300062"/>
                </a:cubicBezTo>
                <a:cubicBezTo>
                  <a:pt x="1166192" y="1300062"/>
                  <a:pt x="1166192" y="1300062"/>
                  <a:pt x="1162547" y="1303707"/>
                </a:cubicBezTo>
                <a:cubicBezTo>
                  <a:pt x="1168014" y="1307351"/>
                  <a:pt x="1173481" y="1314640"/>
                  <a:pt x="1177125" y="1307351"/>
                </a:cubicBezTo>
                <a:cubicBezTo>
                  <a:pt x="1173481" y="1303707"/>
                  <a:pt x="1169836" y="1300062"/>
                  <a:pt x="1166192" y="1296418"/>
                </a:cubicBezTo>
                <a:close/>
                <a:moveTo>
                  <a:pt x="1098771" y="1296418"/>
                </a:moveTo>
                <a:cubicBezTo>
                  <a:pt x="1098771" y="1296418"/>
                  <a:pt x="1100593" y="1298240"/>
                  <a:pt x="1098771" y="1300062"/>
                </a:cubicBezTo>
                <a:cubicBezTo>
                  <a:pt x="1100593" y="1301885"/>
                  <a:pt x="1104238" y="1300062"/>
                  <a:pt x="1104238" y="1298240"/>
                </a:cubicBezTo>
                <a:cubicBezTo>
                  <a:pt x="1102416" y="1296418"/>
                  <a:pt x="1100593" y="1298240"/>
                  <a:pt x="1098771" y="1296418"/>
                </a:cubicBezTo>
                <a:close/>
                <a:moveTo>
                  <a:pt x="484700" y="1296418"/>
                </a:moveTo>
                <a:cubicBezTo>
                  <a:pt x="481054" y="1298240"/>
                  <a:pt x="477410" y="1300062"/>
                  <a:pt x="477410" y="1303707"/>
                </a:cubicBezTo>
                <a:cubicBezTo>
                  <a:pt x="473766" y="1303707"/>
                  <a:pt x="468299" y="1305529"/>
                  <a:pt x="462832" y="1309173"/>
                </a:cubicBezTo>
                <a:cubicBezTo>
                  <a:pt x="468299" y="1318284"/>
                  <a:pt x="477410" y="1325573"/>
                  <a:pt x="482876" y="1314640"/>
                </a:cubicBezTo>
                <a:cubicBezTo>
                  <a:pt x="486521" y="1309173"/>
                  <a:pt x="479232" y="1305529"/>
                  <a:pt x="490165" y="1303707"/>
                </a:cubicBezTo>
                <a:cubicBezTo>
                  <a:pt x="488343" y="1300062"/>
                  <a:pt x="486521" y="1300062"/>
                  <a:pt x="484700" y="1296418"/>
                </a:cubicBezTo>
                <a:close/>
                <a:moveTo>
                  <a:pt x="482876" y="1296418"/>
                </a:moveTo>
                <a:cubicBezTo>
                  <a:pt x="475589" y="1294596"/>
                  <a:pt x="468299" y="1301885"/>
                  <a:pt x="461010" y="1303707"/>
                </a:cubicBezTo>
                <a:cubicBezTo>
                  <a:pt x="466478" y="1310995"/>
                  <a:pt x="477410" y="1298240"/>
                  <a:pt x="482876" y="1296418"/>
                </a:cubicBezTo>
                <a:close/>
                <a:moveTo>
                  <a:pt x="448256" y="1296418"/>
                </a:moveTo>
                <a:cubicBezTo>
                  <a:pt x="450077" y="1296418"/>
                  <a:pt x="453722" y="1310995"/>
                  <a:pt x="451899" y="1296418"/>
                </a:cubicBezTo>
                <a:cubicBezTo>
                  <a:pt x="450077" y="1298240"/>
                  <a:pt x="450077" y="1298240"/>
                  <a:pt x="448256" y="1296418"/>
                </a:cubicBezTo>
                <a:close/>
                <a:moveTo>
                  <a:pt x="384479" y="1296418"/>
                </a:moveTo>
                <a:cubicBezTo>
                  <a:pt x="380835" y="1305529"/>
                  <a:pt x="391768" y="1303707"/>
                  <a:pt x="400879" y="1301885"/>
                </a:cubicBezTo>
                <a:cubicBezTo>
                  <a:pt x="397234" y="1303707"/>
                  <a:pt x="395412" y="1303707"/>
                  <a:pt x="393590" y="1305529"/>
                </a:cubicBezTo>
                <a:cubicBezTo>
                  <a:pt x="399056" y="1309173"/>
                  <a:pt x="400879" y="1305529"/>
                  <a:pt x="400879" y="1301885"/>
                </a:cubicBezTo>
                <a:cubicBezTo>
                  <a:pt x="400879" y="1300062"/>
                  <a:pt x="400879" y="1298240"/>
                  <a:pt x="400879" y="1296418"/>
                </a:cubicBezTo>
                <a:close/>
                <a:moveTo>
                  <a:pt x="437322" y="1296191"/>
                </a:moveTo>
                <a:cubicBezTo>
                  <a:pt x="433222" y="1296418"/>
                  <a:pt x="429122" y="1299151"/>
                  <a:pt x="428211" y="1303707"/>
                </a:cubicBezTo>
                <a:cubicBezTo>
                  <a:pt x="433678" y="1307351"/>
                  <a:pt x="439145" y="1307351"/>
                  <a:pt x="446433" y="1303707"/>
                </a:cubicBezTo>
                <a:cubicBezTo>
                  <a:pt x="445522" y="1298241"/>
                  <a:pt x="441422" y="1295963"/>
                  <a:pt x="437322" y="1296191"/>
                </a:cubicBezTo>
                <a:close/>
                <a:moveTo>
                  <a:pt x="3129218" y="1296043"/>
                </a:moveTo>
                <a:lnTo>
                  <a:pt x="3127079" y="1298468"/>
                </a:lnTo>
                <a:cubicBezTo>
                  <a:pt x="3125029" y="1298695"/>
                  <a:pt x="3122296" y="1298240"/>
                  <a:pt x="3119562" y="1298240"/>
                </a:cubicBezTo>
                <a:lnTo>
                  <a:pt x="3119473" y="1296572"/>
                </a:lnTo>
                <a:lnTo>
                  <a:pt x="3126395" y="1296873"/>
                </a:lnTo>
                <a:close/>
                <a:moveTo>
                  <a:pt x="207006" y="1295860"/>
                </a:moveTo>
                <a:lnTo>
                  <a:pt x="211372" y="1298240"/>
                </a:lnTo>
                <a:lnTo>
                  <a:pt x="210204" y="1298134"/>
                </a:lnTo>
                <a:close/>
                <a:moveTo>
                  <a:pt x="3243698" y="1294596"/>
                </a:moveTo>
                <a:cubicBezTo>
                  <a:pt x="3242104" y="1294595"/>
                  <a:pt x="3240737" y="1295507"/>
                  <a:pt x="3239826" y="1300062"/>
                </a:cubicBezTo>
                <a:cubicBezTo>
                  <a:pt x="3243470" y="1301885"/>
                  <a:pt x="3247114" y="1296418"/>
                  <a:pt x="3250759" y="1301885"/>
                </a:cubicBezTo>
                <a:cubicBezTo>
                  <a:pt x="3250759" y="1298240"/>
                  <a:pt x="3247114" y="1298240"/>
                  <a:pt x="3248937" y="1294596"/>
                </a:cubicBezTo>
                <a:cubicBezTo>
                  <a:pt x="3247115" y="1295507"/>
                  <a:pt x="3245292" y="1294596"/>
                  <a:pt x="3243698" y="1294596"/>
                </a:cubicBezTo>
                <a:close/>
                <a:moveTo>
                  <a:pt x="1115171" y="1294596"/>
                </a:moveTo>
                <a:cubicBezTo>
                  <a:pt x="1113348" y="1295507"/>
                  <a:pt x="1112893" y="1296873"/>
                  <a:pt x="1112893" y="1298240"/>
                </a:cubicBezTo>
                <a:lnTo>
                  <a:pt x="1112980" y="1298940"/>
                </a:lnTo>
                <a:lnTo>
                  <a:pt x="1108794" y="1306895"/>
                </a:lnTo>
                <a:cubicBezTo>
                  <a:pt x="1107882" y="1310540"/>
                  <a:pt x="1107882" y="1314640"/>
                  <a:pt x="1109704" y="1318284"/>
                </a:cubicBezTo>
                <a:cubicBezTo>
                  <a:pt x="1111526" y="1321929"/>
                  <a:pt x="1109704" y="1316462"/>
                  <a:pt x="1111526" y="1316462"/>
                </a:cubicBezTo>
                <a:cubicBezTo>
                  <a:pt x="1111526" y="1321929"/>
                  <a:pt x="1109704" y="1325573"/>
                  <a:pt x="1115171" y="1331039"/>
                </a:cubicBezTo>
                <a:cubicBezTo>
                  <a:pt x="1115171" y="1320106"/>
                  <a:pt x="1118815" y="1307351"/>
                  <a:pt x="1115171" y="1294596"/>
                </a:cubicBezTo>
                <a:close/>
                <a:moveTo>
                  <a:pt x="424567" y="1294596"/>
                </a:moveTo>
                <a:cubicBezTo>
                  <a:pt x="424567" y="1294596"/>
                  <a:pt x="422745" y="1294596"/>
                  <a:pt x="420923" y="1296418"/>
                </a:cubicBezTo>
                <a:cubicBezTo>
                  <a:pt x="422745" y="1300062"/>
                  <a:pt x="426389" y="1296418"/>
                  <a:pt x="424567" y="1294596"/>
                </a:cubicBezTo>
                <a:close/>
                <a:moveTo>
                  <a:pt x="362613" y="1294596"/>
                </a:moveTo>
                <a:cubicBezTo>
                  <a:pt x="360791" y="1300062"/>
                  <a:pt x="366257" y="1294596"/>
                  <a:pt x="368079" y="1296418"/>
                </a:cubicBezTo>
                <a:cubicBezTo>
                  <a:pt x="368079" y="1294596"/>
                  <a:pt x="364435" y="1296418"/>
                  <a:pt x="362613" y="1294596"/>
                </a:cubicBezTo>
                <a:close/>
                <a:moveTo>
                  <a:pt x="273327" y="1294596"/>
                </a:moveTo>
                <a:cubicBezTo>
                  <a:pt x="273327" y="1298240"/>
                  <a:pt x="282438" y="1298240"/>
                  <a:pt x="284259" y="1296418"/>
                </a:cubicBezTo>
                <a:cubicBezTo>
                  <a:pt x="280615" y="1294596"/>
                  <a:pt x="278793" y="1296418"/>
                  <a:pt x="273327" y="1294596"/>
                </a:cubicBezTo>
                <a:close/>
                <a:moveTo>
                  <a:pt x="3453872" y="1294150"/>
                </a:moveTo>
                <a:lnTo>
                  <a:pt x="3453020" y="1298240"/>
                </a:lnTo>
                <a:lnTo>
                  <a:pt x="3451261" y="1294586"/>
                </a:lnTo>
                <a:close/>
                <a:moveTo>
                  <a:pt x="3377172" y="1293457"/>
                </a:moveTo>
                <a:cubicBezTo>
                  <a:pt x="3374666" y="1292773"/>
                  <a:pt x="3371933" y="1292773"/>
                  <a:pt x="3369200" y="1294596"/>
                </a:cubicBezTo>
                <a:cubicBezTo>
                  <a:pt x="3371022" y="1300062"/>
                  <a:pt x="3378311" y="1298240"/>
                  <a:pt x="3383777" y="1296418"/>
                </a:cubicBezTo>
                <a:cubicBezTo>
                  <a:pt x="3381955" y="1295507"/>
                  <a:pt x="3379677" y="1294140"/>
                  <a:pt x="3377172" y="1293457"/>
                </a:cubicBezTo>
                <a:close/>
                <a:moveTo>
                  <a:pt x="3301780" y="1292774"/>
                </a:moveTo>
                <a:cubicBezTo>
                  <a:pt x="3299957" y="1294596"/>
                  <a:pt x="3299957" y="1294596"/>
                  <a:pt x="3298135" y="1294596"/>
                </a:cubicBezTo>
                <a:cubicBezTo>
                  <a:pt x="3299957" y="1301885"/>
                  <a:pt x="3296313" y="1296418"/>
                  <a:pt x="3292669" y="1298240"/>
                </a:cubicBezTo>
                <a:cubicBezTo>
                  <a:pt x="3294491" y="1301885"/>
                  <a:pt x="3298135" y="1301885"/>
                  <a:pt x="3301780" y="1300062"/>
                </a:cubicBezTo>
                <a:cubicBezTo>
                  <a:pt x="3299957" y="1298240"/>
                  <a:pt x="3301780" y="1298240"/>
                  <a:pt x="3301780" y="1292774"/>
                </a:cubicBezTo>
                <a:close/>
                <a:moveTo>
                  <a:pt x="3057608" y="1292774"/>
                </a:moveTo>
                <a:cubicBezTo>
                  <a:pt x="3057608" y="1298240"/>
                  <a:pt x="3063075" y="1301885"/>
                  <a:pt x="3059430" y="1307351"/>
                </a:cubicBezTo>
                <a:cubicBezTo>
                  <a:pt x="3061253" y="1307351"/>
                  <a:pt x="3061253" y="1309173"/>
                  <a:pt x="3064897" y="1309173"/>
                </a:cubicBezTo>
                <a:cubicBezTo>
                  <a:pt x="3064897" y="1305529"/>
                  <a:pt x="3064897" y="1301885"/>
                  <a:pt x="3066719" y="1300062"/>
                </a:cubicBezTo>
                <a:cubicBezTo>
                  <a:pt x="3068541" y="1300062"/>
                  <a:pt x="3068541" y="1303707"/>
                  <a:pt x="3068541" y="1305529"/>
                </a:cubicBezTo>
                <a:cubicBezTo>
                  <a:pt x="3077652" y="1300062"/>
                  <a:pt x="3061253" y="1296418"/>
                  <a:pt x="3057608" y="1292774"/>
                </a:cubicBezTo>
                <a:close/>
                <a:moveTo>
                  <a:pt x="2826192" y="1292774"/>
                </a:moveTo>
                <a:cubicBezTo>
                  <a:pt x="2824370" y="1298240"/>
                  <a:pt x="2831659" y="1296418"/>
                  <a:pt x="2829837" y="1303707"/>
                </a:cubicBezTo>
                <a:cubicBezTo>
                  <a:pt x="2835303" y="1298240"/>
                  <a:pt x="2842592" y="1300062"/>
                  <a:pt x="2846236" y="1298240"/>
                </a:cubicBezTo>
                <a:cubicBezTo>
                  <a:pt x="2838947" y="1290951"/>
                  <a:pt x="2835303" y="1296418"/>
                  <a:pt x="2826192" y="1292774"/>
                </a:cubicBezTo>
                <a:close/>
                <a:moveTo>
                  <a:pt x="1158903" y="1292774"/>
                </a:moveTo>
                <a:cubicBezTo>
                  <a:pt x="1157081" y="1296418"/>
                  <a:pt x="1160725" y="1300062"/>
                  <a:pt x="1160725" y="1301885"/>
                </a:cubicBezTo>
                <a:cubicBezTo>
                  <a:pt x="1162547" y="1300062"/>
                  <a:pt x="1162547" y="1296418"/>
                  <a:pt x="1164370" y="1294596"/>
                </a:cubicBezTo>
                <a:cubicBezTo>
                  <a:pt x="1162547" y="1292774"/>
                  <a:pt x="1160725" y="1294596"/>
                  <a:pt x="1158903" y="1292774"/>
                </a:cubicBezTo>
                <a:close/>
                <a:moveTo>
                  <a:pt x="818156" y="1292774"/>
                </a:moveTo>
                <a:cubicBezTo>
                  <a:pt x="816334" y="1292774"/>
                  <a:pt x="814512" y="1292774"/>
                  <a:pt x="812690" y="1294596"/>
                </a:cubicBezTo>
                <a:cubicBezTo>
                  <a:pt x="814512" y="1298240"/>
                  <a:pt x="810868" y="1301885"/>
                  <a:pt x="816334" y="1305529"/>
                </a:cubicBezTo>
                <a:cubicBezTo>
                  <a:pt x="819979" y="1300062"/>
                  <a:pt x="818156" y="1296418"/>
                  <a:pt x="818156" y="1292774"/>
                </a:cubicBezTo>
                <a:close/>
                <a:moveTo>
                  <a:pt x="683316" y="1292774"/>
                </a:moveTo>
                <a:cubicBezTo>
                  <a:pt x="668738" y="1298240"/>
                  <a:pt x="665094" y="1316462"/>
                  <a:pt x="672383" y="1331039"/>
                </a:cubicBezTo>
                <a:cubicBezTo>
                  <a:pt x="674205" y="1334684"/>
                  <a:pt x="679671" y="1336506"/>
                  <a:pt x="683316" y="1334684"/>
                </a:cubicBezTo>
                <a:cubicBezTo>
                  <a:pt x="679671" y="1332862"/>
                  <a:pt x="676027" y="1331039"/>
                  <a:pt x="674205" y="1327395"/>
                </a:cubicBezTo>
                <a:cubicBezTo>
                  <a:pt x="676027" y="1327395"/>
                  <a:pt x="676027" y="1327395"/>
                  <a:pt x="679671" y="1327395"/>
                </a:cubicBezTo>
                <a:cubicBezTo>
                  <a:pt x="676027" y="1318284"/>
                  <a:pt x="670560" y="1312818"/>
                  <a:pt x="677849" y="1307351"/>
                </a:cubicBezTo>
                <a:cubicBezTo>
                  <a:pt x="677849" y="1312818"/>
                  <a:pt x="679671" y="1318284"/>
                  <a:pt x="681493" y="1323751"/>
                </a:cubicBezTo>
                <a:cubicBezTo>
                  <a:pt x="690604" y="1318284"/>
                  <a:pt x="690604" y="1309173"/>
                  <a:pt x="686960" y="1301885"/>
                </a:cubicBezTo>
                <a:cubicBezTo>
                  <a:pt x="688782" y="1305529"/>
                  <a:pt x="686960" y="1309173"/>
                  <a:pt x="692426" y="1310995"/>
                </a:cubicBezTo>
                <a:lnTo>
                  <a:pt x="692426" y="1332862"/>
                </a:lnTo>
                <a:cubicBezTo>
                  <a:pt x="694249" y="1327395"/>
                  <a:pt x="694249" y="1323751"/>
                  <a:pt x="697893" y="1321929"/>
                </a:cubicBezTo>
                <a:cubicBezTo>
                  <a:pt x="688782" y="1318284"/>
                  <a:pt x="694249" y="1312818"/>
                  <a:pt x="694249" y="1305529"/>
                </a:cubicBezTo>
                <a:cubicBezTo>
                  <a:pt x="699715" y="1309173"/>
                  <a:pt x="692426" y="1316462"/>
                  <a:pt x="697893" y="1320106"/>
                </a:cubicBezTo>
                <a:cubicBezTo>
                  <a:pt x="701537" y="1316462"/>
                  <a:pt x="705182" y="1310995"/>
                  <a:pt x="710648" y="1305529"/>
                </a:cubicBezTo>
                <a:cubicBezTo>
                  <a:pt x="708826" y="1305529"/>
                  <a:pt x="708826" y="1303707"/>
                  <a:pt x="707004" y="1301885"/>
                </a:cubicBezTo>
                <a:cubicBezTo>
                  <a:pt x="710648" y="1303707"/>
                  <a:pt x="716115" y="1300062"/>
                  <a:pt x="714293" y="1298240"/>
                </a:cubicBezTo>
                <a:cubicBezTo>
                  <a:pt x="712470" y="1290951"/>
                  <a:pt x="697893" y="1296418"/>
                  <a:pt x="690604" y="1292774"/>
                </a:cubicBezTo>
                <a:cubicBezTo>
                  <a:pt x="690604" y="1296418"/>
                  <a:pt x="692426" y="1300062"/>
                  <a:pt x="694249" y="1303707"/>
                </a:cubicBezTo>
                <a:cubicBezTo>
                  <a:pt x="688782" y="1300062"/>
                  <a:pt x="692426" y="1290951"/>
                  <a:pt x="683316" y="1292774"/>
                </a:cubicBezTo>
                <a:close/>
                <a:moveTo>
                  <a:pt x="577630" y="1292774"/>
                </a:moveTo>
                <a:cubicBezTo>
                  <a:pt x="573985" y="1294596"/>
                  <a:pt x="577630" y="1300062"/>
                  <a:pt x="575808" y="1300062"/>
                </a:cubicBezTo>
                <a:cubicBezTo>
                  <a:pt x="575808" y="1301885"/>
                  <a:pt x="581274" y="1303707"/>
                  <a:pt x="583096" y="1305529"/>
                </a:cubicBezTo>
                <a:cubicBezTo>
                  <a:pt x="584919" y="1303707"/>
                  <a:pt x="583096" y="1301885"/>
                  <a:pt x="586741" y="1300062"/>
                </a:cubicBezTo>
                <a:cubicBezTo>
                  <a:pt x="583096" y="1296418"/>
                  <a:pt x="581274" y="1296418"/>
                  <a:pt x="577630" y="1292774"/>
                </a:cubicBezTo>
                <a:close/>
                <a:moveTo>
                  <a:pt x="264216" y="1292774"/>
                </a:moveTo>
                <a:cubicBezTo>
                  <a:pt x="262393" y="1294596"/>
                  <a:pt x="256927" y="1292774"/>
                  <a:pt x="255105" y="1296418"/>
                </a:cubicBezTo>
                <a:cubicBezTo>
                  <a:pt x="262393" y="1300062"/>
                  <a:pt x="267860" y="1300062"/>
                  <a:pt x="273327" y="1298240"/>
                </a:cubicBezTo>
                <a:cubicBezTo>
                  <a:pt x="269682" y="1298240"/>
                  <a:pt x="267860" y="1294596"/>
                  <a:pt x="264216" y="1292774"/>
                </a:cubicBezTo>
                <a:close/>
                <a:moveTo>
                  <a:pt x="236883" y="1292774"/>
                </a:moveTo>
                <a:cubicBezTo>
                  <a:pt x="235061" y="1294596"/>
                  <a:pt x="229594" y="1294596"/>
                  <a:pt x="225950" y="1294596"/>
                </a:cubicBezTo>
                <a:cubicBezTo>
                  <a:pt x="236883" y="1301885"/>
                  <a:pt x="249638" y="1301885"/>
                  <a:pt x="260571" y="1303707"/>
                </a:cubicBezTo>
                <a:cubicBezTo>
                  <a:pt x="253282" y="1292774"/>
                  <a:pt x="244172" y="1292774"/>
                  <a:pt x="236883" y="1292774"/>
                </a:cubicBezTo>
                <a:close/>
                <a:moveTo>
                  <a:pt x="1340698" y="1292570"/>
                </a:moveTo>
                <a:lnTo>
                  <a:pt x="1341120" y="1294596"/>
                </a:lnTo>
                <a:lnTo>
                  <a:pt x="1339546" y="1294596"/>
                </a:lnTo>
                <a:close/>
                <a:moveTo>
                  <a:pt x="784446" y="1292090"/>
                </a:moveTo>
                <a:cubicBezTo>
                  <a:pt x="780802" y="1292318"/>
                  <a:pt x="777157" y="1294595"/>
                  <a:pt x="774424" y="1298240"/>
                </a:cubicBezTo>
                <a:cubicBezTo>
                  <a:pt x="772602" y="1301885"/>
                  <a:pt x="770781" y="1305529"/>
                  <a:pt x="770781" y="1309173"/>
                </a:cubicBezTo>
                <a:cubicBezTo>
                  <a:pt x="770781" y="1310995"/>
                  <a:pt x="770781" y="1312818"/>
                  <a:pt x="772602" y="1314640"/>
                </a:cubicBezTo>
                <a:cubicBezTo>
                  <a:pt x="770781" y="1316462"/>
                  <a:pt x="770781" y="1316462"/>
                  <a:pt x="770781" y="1318284"/>
                </a:cubicBezTo>
                <a:cubicBezTo>
                  <a:pt x="768959" y="1316462"/>
                  <a:pt x="768959" y="1316462"/>
                  <a:pt x="768959" y="1314640"/>
                </a:cubicBezTo>
                <a:cubicBezTo>
                  <a:pt x="767136" y="1314640"/>
                  <a:pt x="765313" y="1320106"/>
                  <a:pt x="765313" y="1321929"/>
                </a:cubicBezTo>
                <a:cubicBezTo>
                  <a:pt x="768959" y="1323751"/>
                  <a:pt x="772602" y="1320106"/>
                  <a:pt x="776246" y="1321929"/>
                </a:cubicBezTo>
                <a:cubicBezTo>
                  <a:pt x="778070" y="1321929"/>
                  <a:pt x="778070" y="1320106"/>
                  <a:pt x="778070" y="1320106"/>
                </a:cubicBezTo>
                <a:cubicBezTo>
                  <a:pt x="779892" y="1320106"/>
                  <a:pt x="779892" y="1321929"/>
                  <a:pt x="781713" y="1321929"/>
                </a:cubicBezTo>
                <a:cubicBezTo>
                  <a:pt x="794468" y="1321929"/>
                  <a:pt x="798112" y="1309173"/>
                  <a:pt x="801757" y="1300062"/>
                </a:cubicBezTo>
                <a:cubicBezTo>
                  <a:pt x="796290" y="1301885"/>
                  <a:pt x="792646" y="1305529"/>
                  <a:pt x="785357" y="1303707"/>
                </a:cubicBezTo>
                <a:lnTo>
                  <a:pt x="785539" y="1302067"/>
                </a:lnTo>
                <a:lnTo>
                  <a:pt x="794468" y="1298240"/>
                </a:lnTo>
                <a:cubicBezTo>
                  <a:pt x="791735" y="1293685"/>
                  <a:pt x="788091" y="1291862"/>
                  <a:pt x="784446" y="1292090"/>
                </a:cubicBezTo>
                <a:close/>
                <a:moveTo>
                  <a:pt x="1811241" y="1290951"/>
                </a:moveTo>
                <a:cubicBezTo>
                  <a:pt x="1811241" y="1290951"/>
                  <a:pt x="1813063" y="1292774"/>
                  <a:pt x="1813063" y="1292774"/>
                </a:cubicBezTo>
                <a:lnTo>
                  <a:pt x="1811901" y="1291831"/>
                </a:lnTo>
                <a:close/>
                <a:moveTo>
                  <a:pt x="1250012" y="1290951"/>
                </a:moveTo>
                <a:cubicBezTo>
                  <a:pt x="1248189" y="1294596"/>
                  <a:pt x="1246367" y="1294596"/>
                  <a:pt x="1246367" y="1296418"/>
                </a:cubicBezTo>
                <a:cubicBezTo>
                  <a:pt x="1246367" y="1298240"/>
                  <a:pt x="1248189" y="1294596"/>
                  <a:pt x="1250012" y="1296418"/>
                </a:cubicBezTo>
                <a:cubicBezTo>
                  <a:pt x="1250012" y="1294596"/>
                  <a:pt x="1251834" y="1292774"/>
                  <a:pt x="1250012" y="1290951"/>
                </a:cubicBezTo>
                <a:close/>
                <a:moveTo>
                  <a:pt x="1175303" y="1290951"/>
                </a:moveTo>
                <a:cubicBezTo>
                  <a:pt x="1178947" y="1298240"/>
                  <a:pt x="1188058" y="1298240"/>
                  <a:pt x="1193525" y="1300062"/>
                </a:cubicBezTo>
                <a:cubicBezTo>
                  <a:pt x="1188058" y="1292774"/>
                  <a:pt x="1182592" y="1292774"/>
                  <a:pt x="1175303" y="1290951"/>
                </a:cubicBezTo>
                <a:close/>
                <a:moveTo>
                  <a:pt x="1131570" y="1290951"/>
                </a:moveTo>
                <a:cubicBezTo>
                  <a:pt x="1129748" y="1294596"/>
                  <a:pt x="1133393" y="1292774"/>
                  <a:pt x="1135215" y="1292774"/>
                </a:cubicBezTo>
                <a:cubicBezTo>
                  <a:pt x="1137037" y="1290951"/>
                  <a:pt x="1133393" y="1290951"/>
                  <a:pt x="1131570" y="1290951"/>
                </a:cubicBezTo>
                <a:close/>
                <a:moveTo>
                  <a:pt x="747092" y="1290951"/>
                </a:moveTo>
                <a:cubicBezTo>
                  <a:pt x="747092" y="1290951"/>
                  <a:pt x="745269" y="1292774"/>
                  <a:pt x="743447" y="1294596"/>
                </a:cubicBezTo>
                <a:cubicBezTo>
                  <a:pt x="743447" y="1294596"/>
                  <a:pt x="745269" y="1296418"/>
                  <a:pt x="743447" y="1298240"/>
                </a:cubicBezTo>
                <a:cubicBezTo>
                  <a:pt x="745269" y="1300062"/>
                  <a:pt x="748914" y="1292774"/>
                  <a:pt x="747092" y="1290951"/>
                </a:cubicBezTo>
                <a:close/>
                <a:moveTo>
                  <a:pt x="3453020" y="1290951"/>
                </a:moveTo>
                <a:lnTo>
                  <a:pt x="3453020" y="1290951"/>
                </a:lnTo>
                <a:lnTo>
                  <a:pt x="3453020" y="1290951"/>
                </a:lnTo>
                <a:close/>
                <a:moveTo>
                  <a:pt x="822570" y="1290923"/>
                </a:moveTo>
                <a:cubicBezTo>
                  <a:pt x="819751" y="1292204"/>
                  <a:pt x="821801" y="1301429"/>
                  <a:pt x="821801" y="1305529"/>
                </a:cubicBezTo>
                <a:cubicBezTo>
                  <a:pt x="823623" y="1309173"/>
                  <a:pt x="827267" y="1309173"/>
                  <a:pt x="830912" y="1309173"/>
                </a:cubicBezTo>
                <a:cubicBezTo>
                  <a:pt x="832734" y="1301885"/>
                  <a:pt x="825445" y="1298240"/>
                  <a:pt x="827267" y="1292774"/>
                </a:cubicBezTo>
                <a:cubicBezTo>
                  <a:pt x="824990" y="1290952"/>
                  <a:pt x="823509" y="1290496"/>
                  <a:pt x="822570" y="1290923"/>
                </a:cubicBezTo>
                <a:close/>
                <a:moveTo>
                  <a:pt x="3453113" y="1290842"/>
                </a:moveTo>
                <a:lnTo>
                  <a:pt x="3453149" y="1290908"/>
                </a:lnTo>
                <a:lnTo>
                  <a:pt x="3453020" y="1290951"/>
                </a:lnTo>
                <a:close/>
                <a:moveTo>
                  <a:pt x="504743" y="1290496"/>
                </a:moveTo>
                <a:cubicBezTo>
                  <a:pt x="500643" y="1290496"/>
                  <a:pt x="496543" y="1290952"/>
                  <a:pt x="491987" y="1292774"/>
                </a:cubicBezTo>
                <a:cubicBezTo>
                  <a:pt x="491987" y="1294596"/>
                  <a:pt x="493809" y="1294596"/>
                  <a:pt x="495632" y="1296418"/>
                </a:cubicBezTo>
                <a:cubicBezTo>
                  <a:pt x="493809" y="1298240"/>
                  <a:pt x="490165" y="1296418"/>
                  <a:pt x="488343" y="1296418"/>
                </a:cubicBezTo>
                <a:cubicBezTo>
                  <a:pt x="488343" y="1300062"/>
                  <a:pt x="493809" y="1305529"/>
                  <a:pt x="495632" y="1307351"/>
                </a:cubicBezTo>
                <a:cubicBezTo>
                  <a:pt x="495632" y="1305529"/>
                  <a:pt x="499276" y="1301885"/>
                  <a:pt x="501098" y="1300062"/>
                </a:cubicBezTo>
                <a:cubicBezTo>
                  <a:pt x="499276" y="1298240"/>
                  <a:pt x="497454" y="1300062"/>
                  <a:pt x="495632" y="1298240"/>
                </a:cubicBezTo>
                <a:cubicBezTo>
                  <a:pt x="499276" y="1296418"/>
                  <a:pt x="501098" y="1298240"/>
                  <a:pt x="504743" y="1298240"/>
                </a:cubicBezTo>
                <a:cubicBezTo>
                  <a:pt x="506565" y="1296418"/>
                  <a:pt x="506565" y="1294596"/>
                  <a:pt x="508387" y="1292774"/>
                </a:cubicBezTo>
                <a:cubicBezTo>
                  <a:pt x="510209" y="1292774"/>
                  <a:pt x="508387" y="1296418"/>
                  <a:pt x="508387" y="1296418"/>
                </a:cubicBezTo>
                <a:cubicBezTo>
                  <a:pt x="512031" y="1296418"/>
                  <a:pt x="515676" y="1294596"/>
                  <a:pt x="517498" y="1290951"/>
                </a:cubicBezTo>
                <a:cubicBezTo>
                  <a:pt x="512943" y="1290951"/>
                  <a:pt x="508843" y="1290496"/>
                  <a:pt x="504743" y="1290496"/>
                </a:cubicBezTo>
                <a:close/>
                <a:moveTo>
                  <a:pt x="225267" y="1290496"/>
                </a:moveTo>
                <a:cubicBezTo>
                  <a:pt x="224584" y="1290496"/>
                  <a:pt x="224128" y="1290952"/>
                  <a:pt x="224128" y="1292774"/>
                </a:cubicBezTo>
                <a:cubicBezTo>
                  <a:pt x="227772" y="1292774"/>
                  <a:pt x="233239" y="1294596"/>
                  <a:pt x="233239" y="1292774"/>
                </a:cubicBezTo>
                <a:cubicBezTo>
                  <a:pt x="231416" y="1290951"/>
                  <a:pt x="229594" y="1294596"/>
                  <a:pt x="227772" y="1290951"/>
                </a:cubicBezTo>
                <a:cubicBezTo>
                  <a:pt x="226861" y="1290951"/>
                  <a:pt x="225950" y="1290496"/>
                  <a:pt x="225267" y="1290496"/>
                </a:cubicBezTo>
                <a:close/>
                <a:moveTo>
                  <a:pt x="1321761" y="1289812"/>
                </a:moveTo>
                <a:cubicBezTo>
                  <a:pt x="1321077" y="1290496"/>
                  <a:pt x="1321077" y="1291863"/>
                  <a:pt x="1322899" y="1292774"/>
                </a:cubicBezTo>
                <a:cubicBezTo>
                  <a:pt x="1322899" y="1292774"/>
                  <a:pt x="1324721" y="1290951"/>
                  <a:pt x="1324721" y="1290951"/>
                </a:cubicBezTo>
                <a:cubicBezTo>
                  <a:pt x="1323810" y="1289129"/>
                  <a:pt x="1322443" y="1289129"/>
                  <a:pt x="1321761" y="1289812"/>
                </a:cubicBezTo>
                <a:close/>
                <a:moveTo>
                  <a:pt x="350768" y="1289812"/>
                </a:moveTo>
                <a:cubicBezTo>
                  <a:pt x="347581" y="1290496"/>
                  <a:pt x="344391" y="1291863"/>
                  <a:pt x="342569" y="1292774"/>
                </a:cubicBezTo>
                <a:cubicBezTo>
                  <a:pt x="348037" y="1294596"/>
                  <a:pt x="353502" y="1290951"/>
                  <a:pt x="358969" y="1290951"/>
                </a:cubicBezTo>
                <a:cubicBezTo>
                  <a:pt x="357146" y="1289129"/>
                  <a:pt x="353957" y="1289129"/>
                  <a:pt x="350768" y="1289812"/>
                </a:cubicBezTo>
                <a:close/>
                <a:moveTo>
                  <a:pt x="1239173" y="1289602"/>
                </a:moveTo>
                <a:lnTo>
                  <a:pt x="1239306" y="1289813"/>
                </a:lnTo>
                <a:lnTo>
                  <a:pt x="1239229" y="1289878"/>
                </a:lnTo>
                <a:close/>
                <a:moveTo>
                  <a:pt x="3001121" y="1289129"/>
                </a:moveTo>
                <a:cubicBezTo>
                  <a:pt x="2999299" y="1290951"/>
                  <a:pt x="2993832" y="1289129"/>
                  <a:pt x="2992010" y="1290951"/>
                </a:cubicBezTo>
                <a:cubicBezTo>
                  <a:pt x="2990188" y="1294596"/>
                  <a:pt x="2993832" y="1294596"/>
                  <a:pt x="2993832" y="1296418"/>
                </a:cubicBezTo>
                <a:cubicBezTo>
                  <a:pt x="2988366" y="1292774"/>
                  <a:pt x="2982899" y="1294596"/>
                  <a:pt x="2977432" y="1296418"/>
                </a:cubicBezTo>
                <a:cubicBezTo>
                  <a:pt x="2977432" y="1301885"/>
                  <a:pt x="2975610" y="1305529"/>
                  <a:pt x="2973788" y="1305529"/>
                </a:cubicBezTo>
                <a:cubicBezTo>
                  <a:pt x="2975610" y="1312818"/>
                  <a:pt x="2982899" y="1318284"/>
                  <a:pt x="2979255" y="1325573"/>
                </a:cubicBezTo>
                <a:cubicBezTo>
                  <a:pt x="2982899" y="1329217"/>
                  <a:pt x="2984721" y="1323751"/>
                  <a:pt x="2992010" y="1325573"/>
                </a:cubicBezTo>
                <a:cubicBezTo>
                  <a:pt x="2992010" y="1320106"/>
                  <a:pt x="2990188" y="1318284"/>
                  <a:pt x="2984721" y="1318284"/>
                </a:cubicBezTo>
                <a:cubicBezTo>
                  <a:pt x="2981077" y="1309173"/>
                  <a:pt x="2990188" y="1305529"/>
                  <a:pt x="2986543" y="1298240"/>
                </a:cubicBezTo>
                <a:cubicBezTo>
                  <a:pt x="2992010" y="1298240"/>
                  <a:pt x="2993832" y="1303707"/>
                  <a:pt x="2993832" y="1309173"/>
                </a:cubicBezTo>
                <a:cubicBezTo>
                  <a:pt x="3001121" y="1307351"/>
                  <a:pt x="3006587" y="1296418"/>
                  <a:pt x="3001121" y="1289129"/>
                </a:cubicBezTo>
                <a:close/>
                <a:moveTo>
                  <a:pt x="2612998" y="1289129"/>
                </a:moveTo>
                <a:lnTo>
                  <a:pt x="2611176" y="1292774"/>
                </a:lnTo>
                <a:lnTo>
                  <a:pt x="2622109" y="1307351"/>
                </a:lnTo>
                <a:cubicBezTo>
                  <a:pt x="2623931" y="1301885"/>
                  <a:pt x="2625753" y="1296418"/>
                  <a:pt x="2623931" y="1292774"/>
                </a:cubicBezTo>
                <a:cubicBezTo>
                  <a:pt x="2622109" y="1298240"/>
                  <a:pt x="2612998" y="1296418"/>
                  <a:pt x="2612998" y="1289129"/>
                </a:cubicBezTo>
                <a:close/>
                <a:moveTo>
                  <a:pt x="1284633" y="1289129"/>
                </a:moveTo>
                <a:cubicBezTo>
                  <a:pt x="1282811" y="1289129"/>
                  <a:pt x="1282811" y="1290951"/>
                  <a:pt x="1282811" y="1290951"/>
                </a:cubicBezTo>
                <a:cubicBezTo>
                  <a:pt x="1284633" y="1292774"/>
                  <a:pt x="1284633" y="1292774"/>
                  <a:pt x="1286455" y="1290951"/>
                </a:cubicBezTo>
                <a:cubicBezTo>
                  <a:pt x="1286455" y="1289129"/>
                  <a:pt x="1284633" y="1289129"/>
                  <a:pt x="1284633" y="1289129"/>
                </a:cubicBezTo>
                <a:close/>
                <a:moveTo>
                  <a:pt x="1168014" y="1289129"/>
                </a:moveTo>
                <a:cubicBezTo>
                  <a:pt x="1164370" y="1292774"/>
                  <a:pt x="1171658" y="1298240"/>
                  <a:pt x="1175303" y="1298240"/>
                </a:cubicBezTo>
                <a:cubicBezTo>
                  <a:pt x="1175303" y="1305529"/>
                  <a:pt x="1184414" y="1307351"/>
                  <a:pt x="1189880" y="1309173"/>
                </a:cubicBezTo>
                <a:cubicBezTo>
                  <a:pt x="1190791" y="1310995"/>
                  <a:pt x="1191246" y="1310540"/>
                  <a:pt x="1191703" y="1309857"/>
                </a:cubicBezTo>
                <a:lnTo>
                  <a:pt x="1192334" y="1309619"/>
                </a:lnTo>
                <a:lnTo>
                  <a:pt x="1192385" y="1309629"/>
                </a:lnTo>
                <a:lnTo>
                  <a:pt x="1192402" y="1309594"/>
                </a:lnTo>
                <a:lnTo>
                  <a:pt x="1193525" y="1309173"/>
                </a:lnTo>
                <a:cubicBezTo>
                  <a:pt x="1193525" y="1314640"/>
                  <a:pt x="1202636" y="1320106"/>
                  <a:pt x="1206279" y="1314640"/>
                </a:cubicBezTo>
                <a:cubicBezTo>
                  <a:pt x="1202636" y="1312818"/>
                  <a:pt x="1200814" y="1312818"/>
                  <a:pt x="1198991" y="1312818"/>
                </a:cubicBezTo>
                <a:cubicBezTo>
                  <a:pt x="1198991" y="1309173"/>
                  <a:pt x="1195346" y="1309173"/>
                  <a:pt x="1193525" y="1307351"/>
                </a:cubicBezTo>
                <a:lnTo>
                  <a:pt x="1192402" y="1309594"/>
                </a:lnTo>
                <a:lnTo>
                  <a:pt x="1192334" y="1309619"/>
                </a:lnTo>
                <a:lnTo>
                  <a:pt x="1189880" y="1309173"/>
                </a:lnTo>
                <a:cubicBezTo>
                  <a:pt x="1191703" y="1307351"/>
                  <a:pt x="1191703" y="1305529"/>
                  <a:pt x="1191703" y="1303707"/>
                </a:cubicBezTo>
                <a:cubicBezTo>
                  <a:pt x="1184414" y="1300062"/>
                  <a:pt x="1175303" y="1292774"/>
                  <a:pt x="1168014" y="1289129"/>
                </a:cubicBezTo>
                <a:close/>
                <a:moveTo>
                  <a:pt x="674205" y="1289129"/>
                </a:moveTo>
                <a:cubicBezTo>
                  <a:pt x="672383" y="1292774"/>
                  <a:pt x="670560" y="1290951"/>
                  <a:pt x="668738" y="1294596"/>
                </a:cubicBezTo>
                <a:cubicBezTo>
                  <a:pt x="670560" y="1300062"/>
                  <a:pt x="676027" y="1292774"/>
                  <a:pt x="674205" y="1289129"/>
                </a:cubicBezTo>
                <a:close/>
                <a:moveTo>
                  <a:pt x="380835" y="1289129"/>
                </a:moveTo>
                <a:cubicBezTo>
                  <a:pt x="377190" y="1287307"/>
                  <a:pt x="373546" y="1287307"/>
                  <a:pt x="373546" y="1290951"/>
                </a:cubicBezTo>
                <a:cubicBezTo>
                  <a:pt x="369902" y="1289129"/>
                  <a:pt x="366257" y="1290951"/>
                  <a:pt x="364435" y="1292774"/>
                </a:cubicBezTo>
                <a:cubicBezTo>
                  <a:pt x="373546" y="1298240"/>
                  <a:pt x="377190" y="1294596"/>
                  <a:pt x="380835" y="1289129"/>
                </a:cubicBezTo>
                <a:close/>
                <a:moveTo>
                  <a:pt x="3459773" y="1288700"/>
                </a:moveTo>
                <a:lnTo>
                  <a:pt x="3462131" y="1292774"/>
                </a:lnTo>
                <a:lnTo>
                  <a:pt x="3453872" y="1294150"/>
                </a:lnTo>
                <a:lnTo>
                  <a:pt x="3454159" y="1292773"/>
                </a:lnTo>
                <a:lnTo>
                  <a:pt x="3453149" y="1290908"/>
                </a:lnTo>
                <a:close/>
                <a:moveTo>
                  <a:pt x="804034" y="1287990"/>
                </a:moveTo>
                <a:cubicBezTo>
                  <a:pt x="802668" y="1287763"/>
                  <a:pt x="802668" y="1288218"/>
                  <a:pt x="803579" y="1289129"/>
                </a:cubicBezTo>
                <a:cubicBezTo>
                  <a:pt x="798112" y="1289129"/>
                  <a:pt x="796290" y="1296418"/>
                  <a:pt x="803579" y="1296418"/>
                </a:cubicBezTo>
                <a:cubicBezTo>
                  <a:pt x="801757" y="1290951"/>
                  <a:pt x="810868" y="1296418"/>
                  <a:pt x="805401" y="1289129"/>
                </a:cubicBezTo>
                <a:lnTo>
                  <a:pt x="807364" y="1289129"/>
                </a:lnTo>
                <a:lnTo>
                  <a:pt x="812690" y="1290951"/>
                </a:lnTo>
                <a:lnTo>
                  <a:pt x="813904" y="1289736"/>
                </a:lnTo>
                <a:lnTo>
                  <a:pt x="816334" y="1290951"/>
                </a:lnTo>
                <a:cubicBezTo>
                  <a:pt x="816334" y="1289129"/>
                  <a:pt x="816334" y="1290951"/>
                  <a:pt x="814512" y="1289129"/>
                </a:cubicBezTo>
                <a:lnTo>
                  <a:pt x="813904" y="1289736"/>
                </a:lnTo>
                <a:lnTo>
                  <a:pt x="812690" y="1289129"/>
                </a:lnTo>
                <a:lnTo>
                  <a:pt x="807364" y="1289129"/>
                </a:lnTo>
                <a:close/>
                <a:moveTo>
                  <a:pt x="384934" y="1287763"/>
                </a:moveTo>
                <a:cubicBezTo>
                  <a:pt x="383569" y="1289585"/>
                  <a:pt x="382657" y="1292773"/>
                  <a:pt x="379012" y="1294596"/>
                </a:cubicBezTo>
                <a:cubicBezTo>
                  <a:pt x="384479" y="1296418"/>
                  <a:pt x="388123" y="1290951"/>
                  <a:pt x="393590" y="1289129"/>
                </a:cubicBezTo>
                <a:cubicBezTo>
                  <a:pt x="388123" y="1285485"/>
                  <a:pt x="386301" y="1285941"/>
                  <a:pt x="384934" y="1287763"/>
                </a:cubicBezTo>
                <a:close/>
                <a:moveTo>
                  <a:pt x="1652713" y="1287443"/>
                </a:moveTo>
                <a:lnTo>
                  <a:pt x="1680046" y="1309308"/>
                </a:lnTo>
                <a:lnTo>
                  <a:pt x="1660001" y="1332995"/>
                </a:lnTo>
                <a:lnTo>
                  <a:pt x="1645423" y="1294732"/>
                </a:lnTo>
                <a:close/>
                <a:moveTo>
                  <a:pt x="3461290" y="1287307"/>
                </a:moveTo>
                <a:lnTo>
                  <a:pt x="3463953" y="1287307"/>
                </a:lnTo>
                <a:lnTo>
                  <a:pt x="3459773" y="1288700"/>
                </a:lnTo>
                <a:lnTo>
                  <a:pt x="3459626" y="1288446"/>
                </a:lnTo>
                <a:close/>
                <a:moveTo>
                  <a:pt x="3451198" y="1287307"/>
                </a:moveTo>
                <a:lnTo>
                  <a:pt x="3452890" y="1290430"/>
                </a:lnTo>
                <a:lnTo>
                  <a:pt x="3453020" y="1290951"/>
                </a:lnTo>
                <a:lnTo>
                  <a:pt x="3450098" y="1291925"/>
                </a:lnTo>
                <a:close/>
                <a:moveTo>
                  <a:pt x="3196093" y="1287307"/>
                </a:moveTo>
                <a:cubicBezTo>
                  <a:pt x="3188805" y="1289129"/>
                  <a:pt x="3199738" y="1294596"/>
                  <a:pt x="3197916" y="1301885"/>
                </a:cubicBezTo>
                <a:cubicBezTo>
                  <a:pt x="3201560" y="1305529"/>
                  <a:pt x="3207027" y="1301885"/>
                  <a:pt x="3208849" y="1307351"/>
                </a:cubicBezTo>
                <a:cubicBezTo>
                  <a:pt x="3212493" y="1307351"/>
                  <a:pt x="3212493" y="1296418"/>
                  <a:pt x="3212493" y="1292774"/>
                </a:cubicBezTo>
                <a:cubicBezTo>
                  <a:pt x="3208849" y="1290951"/>
                  <a:pt x="3210671" y="1294596"/>
                  <a:pt x="3208849" y="1296418"/>
                </a:cubicBezTo>
                <a:cubicBezTo>
                  <a:pt x="3205204" y="1292774"/>
                  <a:pt x="3199738" y="1290951"/>
                  <a:pt x="3196093" y="1287307"/>
                </a:cubicBezTo>
                <a:close/>
                <a:moveTo>
                  <a:pt x="1793020" y="1287307"/>
                </a:moveTo>
                <a:lnTo>
                  <a:pt x="1794842" y="1292774"/>
                </a:lnTo>
                <a:lnTo>
                  <a:pt x="1807598" y="1296418"/>
                </a:lnTo>
                <a:cubicBezTo>
                  <a:pt x="1803953" y="1292774"/>
                  <a:pt x="1798487" y="1289129"/>
                  <a:pt x="1793020" y="1287307"/>
                </a:cubicBezTo>
                <a:close/>
                <a:moveTo>
                  <a:pt x="1324721" y="1287307"/>
                </a:moveTo>
                <a:cubicBezTo>
                  <a:pt x="1322899" y="1287307"/>
                  <a:pt x="1322899" y="1289129"/>
                  <a:pt x="1322899" y="1289129"/>
                </a:cubicBezTo>
                <a:lnTo>
                  <a:pt x="1326543" y="1289129"/>
                </a:lnTo>
                <a:lnTo>
                  <a:pt x="1324721" y="1292774"/>
                </a:lnTo>
                <a:cubicBezTo>
                  <a:pt x="1324721" y="1294596"/>
                  <a:pt x="1326543" y="1294596"/>
                  <a:pt x="1328365" y="1294596"/>
                </a:cubicBezTo>
                <a:cubicBezTo>
                  <a:pt x="1330188" y="1294596"/>
                  <a:pt x="1328365" y="1292774"/>
                  <a:pt x="1330188" y="1292774"/>
                </a:cubicBezTo>
                <a:lnTo>
                  <a:pt x="1326543" y="1289129"/>
                </a:lnTo>
                <a:close/>
                <a:moveTo>
                  <a:pt x="1315610" y="1287307"/>
                </a:moveTo>
                <a:cubicBezTo>
                  <a:pt x="1313788" y="1289129"/>
                  <a:pt x="1315610" y="1296418"/>
                  <a:pt x="1319254" y="1292774"/>
                </a:cubicBezTo>
                <a:cubicBezTo>
                  <a:pt x="1319254" y="1290951"/>
                  <a:pt x="1321077" y="1289129"/>
                  <a:pt x="1321077" y="1287307"/>
                </a:cubicBezTo>
                <a:cubicBezTo>
                  <a:pt x="1321077" y="1285485"/>
                  <a:pt x="1319254" y="1285485"/>
                  <a:pt x="1317432" y="1287307"/>
                </a:cubicBezTo>
                <a:cubicBezTo>
                  <a:pt x="1317432" y="1289129"/>
                  <a:pt x="1317432" y="1290951"/>
                  <a:pt x="1319254" y="1292774"/>
                </a:cubicBezTo>
                <a:cubicBezTo>
                  <a:pt x="1317432" y="1290951"/>
                  <a:pt x="1317432" y="1287307"/>
                  <a:pt x="1315610" y="1287307"/>
                </a:cubicBezTo>
                <a:close/>
                <a:moveTo>
                  <a:pt x="1158903" y="1287307"/>
                </a:moveTo>
                <a:cubicBezTo>
                  <a:pt x="1158903" y="1287307"/>
                  <a:pt x="1162547" y="1290951"/>
                  <a:pt x="1164370" y="1290951"/>
                </a:cubicBezTo>
                <a:cubicBezTo>
                  <a:pt x="1166192" y="1290951"/>
                  <a:pt x="1164370" y="1289129"/>
                  <a:pt x="1166192" y="1287307"/>
                </a:cubicBezTo>
                <a:cubicBezTo>
                  <a:pt x="1164370" y="1285485"/>
                  <a:pt x="1162547" y="1287307"/>
                  <a:pt x="1158903" y="1287307"/>
                </a:cubicBezTo>
                <a:close/>
                <a:moveTo>
                  <a:pt x="1157081" y="1287307"/>
                </a:moveTo>
                <a:cubicBezTo>
                  <a:pt x="1155259" y="1287307"/>
                  <a:pt x="1155259" y="1289129"/>
                  <a:pt x="1155259" y="1289129"/>
                </a:cubicBezTo>
                <a:cubicBezTo>
                  <a:pt x="1157081" y="1290951"/>
                  <a:pt x="1158903" y="1292774"/>
                  <a:pt x="1160725" y="1290951"/>
                </a:cubicBezTo>
                <a:cubicBezTo>
                  <a:pt x="1158903" y="1289129"/>
                  <a:pt x="1158903" y="1289129"/>
                  <a:pt x="1157081" y="1287307"/>
                </a:cubicBezTo>
                <a:close/>
                <a:moveTo>
                  <a:pt x="623185" y="1287307"/>
                </a:moveTo>
                <a:cubicBezTo>
                  <a:pt x="621362" y="1287307"/>
                  <a:pt x="617717" y="1296418"/>
                  <a:pt x="623185" y="1298240"/>
                </a:cubicBezTo>
                <a:cubicBezTo>
                  <a:pt x="626828" y="1294596"/>
                  <a:pt x="625006" y="1290951"/>
                  <a:pt x="623185" y="1287307"/>
                </a:cubicBezTo>
                <a:close/>
                <a:moveTo>
                  <a:pt x="444611" y="1287307"/>
                </a:moveTo>
                <a:cubicBezTo>
                  <a:pt x="440966" y="1289129"/>
                  <a:pt x="437322" y="1289129"/>
                  <a:pt x="437322" y="1290951"/>
                </a:cubicBezTo>
                <a:cubicBezTo>
                  <a:pt x="439145" y="1296418"/>
                  <a:pt x="446433" y="1294596"/>
                  <a:pt x="450077" y="1292774"/>
                </a:cubicBezTo>
                <a:cubicBezTo>
                  <a:pt x="448256" y="1289129"/>
                  <a:pt x="442789" y="1290951"/>
                  <a:pt x="444611" y="1287307"/>
                </a:cubicBezTo>
                <a:close/>
                <a:moveTo>
                  <a:pt x="1125876" y="1287079"/>
                </a:moveTo>
                <a:lnTo>
                  <a:pt x="1127926" y="1289129"/>
                </a:lnTo>
                <a:lnTo>
                  <a:pt x="1122459" y="1287307"/>
                </a:lnTo>
                <a:lnTo>
                  <a:pt x="1122542" y="1287224"/>
                </a:lnTo>
                <a:close/>
                <a:moveTo>
                  <a:pt x="3298591" y="1286624"/>
                </a:moveTo>
                <a:cubicBezTo>
                  <a:pt x="3296769" y="1286396"/>
                  <a:pt x="3294491" y="1287307"/>
                  <a:pt x="3292669" y="1289129"/>
                </a:cubicBezTo>
                <a:cubicBezTo>
                  <a:pt x="3294491" y="1290951"/>
                  <a:pt x="3294491" y="1290951"/>
                  <a:pt x="3294491" y="1292774"/>
                </a:cubicBezTo>
                <a:cubicBezTo>
                  <a:pt x="3298135" y="1292774"/>
                  <a:pt x="3299957" y="1292774"/>
                  <a:pt x="3301780" y="1290951"/>
                </a:cubicBezTo>
                <a:cubicBezTo>
                  <a:pt x="3301780" y="1288218"/>
                  <a:pt x="3300414" y="1286851"/>
                  <a:pt x="3298591" y="1286624"/>
                </a:cubicBezTo>
                <a:close/>
                <a:moveTo>
                  <a:pt x="2854436" y="1285485"/>
                </a:moveTo>
                <a:cubicBezTo>
                  <a:pt x="2852158" y="1285941"/>
                  <a:pt x="2849880" y="1287307"/>
                  <a:pt x="2849880" y="1289129"/>
                </a:cubicBezTo>
                <a:cubicBezTo>
                  <a:pt x="2853525" y="1289129"/>
                  <a:pt x="2858991" y="1290951"/>
                  <a:pt x="2858991" y="1287307"/>
                </a:cubicBezTo>
                <a:cubicBezTo>
                  <a:pt x="2858991" y="1285485"/>
                  <a:pt x="2856713" y="1285029"/>
                  <a:pt x="2854436" y="1285485"/>
                </a:cubicBezTo>
                <a:close/>
                <a:moveTo>
                  <a:pt x="1907816" y="1285485"/>
                </a:moveTo>
                <a:lnTo>
                  <a:pt x="1907816" y="1289129"/>
                </a:lnTo>
                <a:cubicBezTo>
                  <a:pt x="1909639" y="1289129"/>
                  <a:pt x="1909639" y="1289129"/>
                  <a:pt x="1911461" y="1289129"/>
                </a:cubicBezTo>
                <a:cubicBezTo>
                  <a:pt x="1913283" y="1285485"/>
                  <a:pt x="1905994" y="1287307"/>
                  <a:pt x="1909639" y="1285485"/>
                </a:cubicBezTo>
                <a:cubicBezTo>
                  <a:pt x="1907816" y="1285485"/>
                  <a:pt x="1907816" y="1285485"/>
                  <a:pt x="1907816" y="1285485"/>
                </a:cubicBezTo>
                <a:close/>
                <a:moveTo>
                  <a:pt x="537542" y="1285485"/>
                </a:moveTo>
                <a:cubicBezTo>
                  <a:pt x="537542" y="1289129"/>
                  <a:pt x="533897" y="1290951"/>
                  <a:pt x="532075" y="1292774"/>
                </a:cubicBezTo>
                <a:cubicBezTo>
                  <a:pt x="537542" y="1294596"/>
                  <a:pt x="541186" y="1298240"/>
                  <a:pt x="544830" y="1290951"/>
                </a:cubicBezTo>
                <a:cubicBezTo>
                  <a:pt x="539364" y="1290951"/>
                  <a:pt x="543008" y="1287307"/>
                  <a:pt x="537542" y="1285485"/>
                </a:cubicBezTo>
                <a:close/>
                <a:moveTo>
                  <a:pt x="411812" y="1285485"/>
                </a:moveTo>
                <a:cubicBezTo>
                  <a:pt x="409989" y="1285485"/>
                  <a:pt x="408167" y="1285485"/>
                  <a:pt x="408167" y="1287307"/>
                </a:cubicBezTo>
                <a:cubicBezTo>
                  <a:pt x="422745" y="1303707"/>
                  <a:pt x="424567" y="1301885"/>
                  <a:pt x="411812" y="1285485"/>
                </a:cubicBezTo>
                <a:close/>
                <a:moveTo>
                  <a:pt x="242349" y="1285485"/>
                </a:moveTo>
                <a:cubicBezTo>
                  <a:pt x="240527" y="1287307"/>
                  <a:pt x="247816" y="1289129"/>
                  <a:pt x="247816" y="1289129"/>
                </a:cubicBezTo>
                <a:cubicBezTo>
                  <a:pt x="247816" y="1287307"/>
                  <a:pt x="244172" y="1287307"/>
                  <a:pt x="242349" y="1285485"/>
                </a:cubicBezTo>
                <a:close/>
                <a:moveTo>
                  <a:pt x="1335654" y="1284574"/>
                </a:moveTo>
                <a:lnTo>
                  <a:pt x="1335654" y="1287307"/>
                </a:lnTo>
                <a:lnTo>
                  <a:pt x="1333832" y="1287307"/>
                </a:lnTo>
                <a:close/>
                <a:moveTo>
                  <a:pt x="3365556" y="1283663"/>
                </a:moveTo>
                <a:cubicBezTo>
                  <a:pt x="3356445" y="1287307"/>
                  <a:pt x="3369200" y="1298240"/>
                  <a:pt x="3371022" y="1287307"/>
                </a:cubicBezTo>
                <a:cubicBezTo>
                  <a:pt x="3365556" y="1290951"/>
                  <a:pt x="3365556" y="1285485"/>
                  <a:pt x="3365556" y="1283663"/>
                </a:cubicBezTo>
                <a:close/>
                <a:moveTo>
                  <a:pt x="2472690" y="1283663"/>
                </a:moveTo>
                <a:lnTo>
                  <a:pt x="2456291" y="1290951"/>
                </a:lnTo>
                <a:cubicBezTo>
                  <a:pt x="2456291" y="1292774"/>
                  <a:pt x="2458113" y="1296418"/>
                  <a:pt x="2461757" y="1298240"/>
                </a:cubicBezTo>
                <a:cubicBezTo>
                  <a:pt x="2456291" y="1298240"/>
                  <a:pt x="2454469" y="1294596"/>
                  <a:pt x="2454469" y="1290951"/>
                </a:cubicBezTo>
                <a:lnTo>
                  <a:pt x="2450824" y="1292774"/>
                </a:lnTo>
                <a:cubicBezTo>
                  <a:pt x="2445358" y="1285485"/>
                  <a:pt x="2454469" y="1285485"/>
                  <a:pt x="2449002" y="1285485"/>
                </a:cubicBezTo>
                <a:cubicBezTo>
                  <a:pt x="2449002" y="1285485"/>
                  <a:pt x="2447180" y="1285485"/>
                  <a:pt x="2447180" y="1285485"/>
                </a:cubicBezTo>
                <a:cubicBezTo>
                  <a:pt x="2445358" y="1285485"/>
                  <a:pt x="2441713" y="1285485"/>
                  <a:pt x="2436247" y="1285485"/>
                </a:cubicBezTo>
                <a:lnTo>
                  <a:pt x="2414381" y="1285485"/>
                </a:lnTo>
                <a:lnTo>
                  <a:pt x="2414381" y="1292774"/>
                </a:lnTo>
                <a:lnTo>
                  <a:pt x="2435194" y="1301446"/>
                </a:lnTo>
                <a:lnTo>
                  <a:pt x="2435629" y="1302228"/>
                </a:lnTo>
                <a:lnTo>
                  <a:pt x="2419847" y="1310995"/>
                </a:lnTo>
                <a:lnTo>
                  <a:pt x="2434425" y="1323751"/>
                </a:lnTo>
                <a:cubicBezTo>
                  <a:pt x="2432603" y="1320106"/>
                  <a:pt x="2430780" y="1318284"/>
                  <a:pt x="2428958" y="1316462"/>
                </a:cubicBezTo>
                <a:cubicBezTo>
                  <a:pt x="2432603" y="1314640"/>
                  <a:pt x="2434425" y="1320106"/>
                  <a:pt x="2438069" y="1320106"/>
                </a:cubicBezTo>
                <a:lnTo>
                  <a:pt x="2443536" y="1316462"/>
                </a:lnTo>
                <a:lnTo>
                  <a:pt x="2435629" y="1302228"/>
                </a:lnTo>
                <a:lnTo>
                  <a:pt x="2436247" y="1301885"/>
                </a:lnTo>
                <a:lnTo>
                  <a:pt x="2435194" y="1301446"/>
                </a:lnTo>
                <a:lnTo>
                  <a:pt x="2434425" y="1300062"/>
                </a:lnTo>
                <a:lnTo>
                  <a:pt x="2472690" y="1300062"/>
                </a:lnTo>
                <a:close/>
                <a:moveTo>
                  <a:pt x="1335654" y="1283663"/>
                </a:moveTo>
                <a:lnTo>
                  <a:pt x="1336261" y="1283663"/>
                </a:lnTo>
                <a:lnTo>
                  <a:pt x="1335654" y="1284574"/>
                </a:lnTo>
                <a:close/>
                <a:moveTo>
                  <a:pt x="1297388" y="1283663"/>
                </a:moveTo>
                <a:cubicBezTo>
                  <a:pt x="1293744" y="1285485"/>
                  <a:pt x="1299210" y="1285485"/>
                  <a:pt x="1299210" y="1287307"/>
                </a:cubicBezTo>
                <a:cubicBezTo>
                  <a:pt x="1299210" y="1285485"/>
                  <a:pt x="1297388" y="1285485"/>
                  <a:pt x="1297388" y="1283663"/>
                </a:cubicBezTo>
                <a:close/>
                <a:moveTo>
                  <a:pt x="1257300" y="1283663"/>
                </a:moveTo>
                <a:cubicBezTo>
                  <a:pt x="1255478" y="1285485"/>
                  <a:pt x="1259123" y="1287307"/>
                  <a:pt x="1259123" y="1287307"/>
                </a:cubicBezTo>
                <a:cubicBezTo>
                  <a:pt x="1255478" y="1285485"/>
                  <a:pt x="1253656" y="1290951"/>
                  <a:pt x="1253656" y="1294596"/>
                </a:cubicBezTo>
                <a:cubicBezTo>
                  <a:pt x="1262767" y="1298240"/>
                  <a:pt x="1271878" y="1292774"/>
                  <a:pt x="1280989" y="1290951"/>
                </a:cubicBezTo>
                <a:cubicBezTo>
                  <a:pt x="1277344" y="1285485"/>
                  <a:pt x="1264589" y="1281841"/>
                  <a:pt x="1257300" y="1283663"/>
                </a:cubicBezTo>
                <a:close/>
                <a:moveTo>
                  <a:pt x="1129748" y="1283663"/>
                </a:moveTo>
                <a:cubicBezTo>
                  <a:pt x="1127926" y="1289129"/>
                  <a:pt x="1135215" y="1289129"/>
                  <a:pt x="1140681" y="1290951"/>
                </a:cubicBezTo>
                <a:cubicBezTo>
                  <a:pt x="1138859" y="1285485"/>
                  <a:pt x="1133393" y="1283663"/>
                  <a:pt x="1129748" y="1283663"/>
                </a:cubicBezTo>
                <a:close/>
                <a:moveTo>
                  <a:pt x="1126104" y="1283663"/>
                </a:moveTo>
                <a:lnTo>
                  <a:pt x="1122542" y="1287224"/>
                </a:lnTo>
                <a:lnTo>
                  <a:pt x="1120637" y="1287307"/>
                </a:lnTo>
                <a:cubicBezTo>
                  <a:pt x="1122459" y="1289129"/>
                  <a:pt x="1124282" y="1290951"/>
                  <a:pt x="1126104" y="1290951"/>
                </a:cubicBezTo>
                <a:cubicBezTo>
                  <a:pt x="1126104" y="1294596"/>
                  <a:pt x="1122459" y="1290951"/>
                  <a:pt x="1120637" y="1292774"/>
                </a:cubicBezTo>
                <a:cubicBezTo>
                  <a:pt x="1118815" y="1298240"/>
                  <a:pt x="1122459" y="1305529"/>
                  <a:pt x="1127926" y="1307351"/>
                </a:cubicBezTo>
                <a:cubicBezTo>
                  <a:pt x="1127926" y="1303707"/>
                  <a:pt x="1126104" y="1301885"/>
                  <a:pt x="1126104" y="1298240"/>
                </a:cubicBezTo>
                <a:cubicBezTo>
                  <a:pt x="1129748" y="1298240"/>
                  <a:pt x="1127926" y="1309173"/>
                  <a:pt x="1129748" y="1307351"/>
                </a:cubicBezTo>
                <a:cubicBezTo>
                  <a:pt x="1129748" y="1307351"/>
                  <a:pt x="1127926" y="1309173"/>
                  <a:pt x="1127926" y="1309173"/>
                </a:cubicBezTo>
                <a:lnTo>
                  <a:pt x="1128653" y="1312695"/>
                </a:lnTo>
                <a:lnTo>
                  <a:pt x="1126104" y="1310995"/>
                </a:lnTo>
                <a:cubicBezTo>
                  <a:pt x="1124282" y="1309173"/>
                  <a:pt x="1124282" y="1303707"/>
                  <a:pt x="1120637" y="1301885"/>
                </a:cubicBezTo>
                <a:cubicBezTo>
                  <a:pt x="1120637" y="1307351"/>
                  <a:pt x="1118815" y="1310995"/>
                  <a:pt x="1120637" y="1316462"/>
                </a:cubicBezTo>
                <a:cubicBezTo>
                  <a:pt x="1118815" y="1320106"/>
                  <a:pt x="1120637" y="1323751"/>
                  <a:pt x="1118815" y="1325573"/>
                </a:cubicBezTo>
                <a:cubicBezTo>
                  <a:pt x="1120637" y="1329217"/>
                  <a:pt x="1122459" y="1329217"/>
                  <a:pt x="1118815" y="1331039"/>
                </a:cubicBezTo>
                <a:cubicBezTo>
                  <a:pt x="1118815" y="1343795"/>
                  <a:pt x="1124282" y="1354728"/>
                  <a:pt x="1131570" y="1367483"/>
                </a:cubicBezTo>
                <a:cubicBezTo>
                  <a:pt x="1127926" y="1372949"/>
                  <a:pt x="1137037" y="1382060"/>
                  <a:pt x="1135215" y="1389349"/>
                </a:cubicBezTo>
                <a:cubicBezTo>
                  <a:pt x="1140681" y="1380238"/>
                  <a:pt x="1146148" y="1362016"/>
                  <a:pt x="1140681" y="1354728"/>
                </a:cubicBezTo>
                <a:lnTo>
                  <a:pt x="1136855" y="1350901"/>
                </a:lnTo>
                <a:lnTo>
                  <a:pt x="1138859" y="1351083"/>
                </a:lnTo>
                <a:cubicBezTo>
                  <a:pt x="1137037" y="1341972"/>
                  <a:pt x="1127926" y="1340150"/>
                  <a:pt x="1122459" y="1329217"/>
                </a:cubicBezTo>
                <a:cubicBezTo>
                  <a:pt x="1126104" y="1331039"/>
                  <a:pt x="1131570" y="1338328"/>
                  <a:pt x="1135215" y="1340150"/>
                </a:cubicBezTo>
                <a:lnTo>
                  <a:pt x="1135104" y="1337217"/>
                </a:lnTo>
                <a:lnTo>
                  <a:pt x="1140681" y="1351083"/>
                </a:lnTo>
                <a:cubicBezTo>
                  <a:pt x="1140681" y="1343795"/>
                  <a:pt x="1144326" y="1334684"/>
                  <a:pt x="1144326" y="1325573"/>
                </a:cubicBezTo>
                <a:cubicBezTo>
                  <a:pt x="1140681" y="1325573"/>
                  <a:pt x="1138859" y="1331039"/>
                  <a:pt x="1135215" y="1332862"/>
                </a:cubicBezTo>
                <a:cubicBezTo>
                  <a:pt x="1133393" y="1331039"/>
                  <a:pt x="1140681" y="1327395"/>
                  <a:pt x="1135215" y="1327395"/>
                </a:cubicBezTo>
                <a:cubicBezTo>
                  <a:pt x="1137037" y="1325573"/>
                  <a:pt x="1138859" y="1325573"/>
                  <a:pt x="1138859" y="1327395"/>
                </a:cubicBezTo>
                <a:lnTo>
                  <a:pt x="1141774" y="1316860"/>
                </a:lnTo>
                <a:lnTo>
                  <a:pt x="1142503" y="1318284"/>
                </a:lnTo>
                <a:cubicBezTo>
                  <a:pt x="1144326" y="1312818"/>
                  <a:pt x="1144326" y="1309173"/>
                  <a:pt x="1147970" y="1303707"/>
                </a:cubicBezTo>
                <a:cubicBezTo>
                  <a:pt x="1146148" y="1300062"/>
                  <a:pt x="1144326" y="1305529"/>
                  <a:pt x="1140681" y="1305529"/>
                </a:cubicBezTo>
                <a:cubicBezTo>
                  <a:pt x="1147970" y="1301885"/>
                  <a:pt x="1151614" y="1294596"/>
                  <a:pt x="1147970" y="1289129"/>
                </a:cubicBezTo>
                <a:cubicBezTo>
                  <a:pt x="1146148" y="1289129"/>
                  <a:pt x="1144326" y="1292774"/>
                  <a:pt x="1144326" y="1292774"/>
                </a:cubicBezTo>
                <a:cubicBezTo>
                  <a:pt x="1142503" y="1294596"/>
                  <a:pt x="1140681" y="1292774"/>
                  <a:pt x="1142503" y="1290951"/>
                </a:cubicBezTo>
                <a:lnTo>
                  <a:pt x="1137037" y="1296418"/>
                </a:lnTo>
                <a:lnTo>
                  <a:pt x="1133393" y="1294596"/>
                </a:lnTo>
                <a:cubicBezTo>
                  <a:pt x="1131570" y="1296418"/>
                  <a:pt x="1131570" y="1296418"/>
                  <a:pt x="1133393" y="1298240"/>
                </a:cubicBezTo>
                <a:cubicBezTo>
                  <a:pt x="1131570" y="1298240"/>
                  <a:pt x="1131570" y="1290951"/>
                  <a:pt x="1127926" y="1292774"/>
                </a:cubicBezTo>
                <a:cubicBezTo>
                  <a:pt x="1127926" y="1290951"/>
                  <a:pt x="1129748" y="1292774"/>
                  <a:pt x="1129748" y="1290951"/>
                </a:cubicBezTo>
                <a:lnTo>
                  <a:pt x="1127926" y="1289129"/>
                </a:lnTo>
                <a:cubicBezTo>
                  <a:pt x="1127926" y="1287307"/>
                  <a:pt x="1127926" y="1285485"/>
                  <a:pt x="1126104" y="1283663"/>
                </a:cubicBezTo>
                <a:close/>
                <a:moveTo>
                  <a:pt x="1104921" y="1283663"/>
                </a:moveTo>
                <a:cubicBezTo>
                  <a:pt x="1102416" y="1283663"/>
                  <a:pt x="1099683" y="1284574"/>
                  <a:pt x="1096949" y="1285485"/>
                </a:cubicBezTo>
                <a:cubicBezTo>
                  <a:pt x="1098771" y="1289129"/>
                  <a:pt x="1098771" y="1290951"/>
                  <a:pt x="1100593" y="1292774"/>
                </a:cubicBezTo>
                <a:cubicBezTo>
                  <a:pt x="1102416" y="1290951"/>
                  <a:pt x="1106060" y="1298240"/>
                  <a:pt x="1109704" y="1296418"/>
                </a:cubicBezTo>
                <a:cubicBezTo>
                  <a:pt x="1111526" y="1294596"/>
                  <a:pt x="1111526" y="1290951"/>
                  <a:pt x="1111526" y="1287307"/>
                </a:cubicBezTo>
                <a:cubicBezTo>
                  <a:pt x="1109704" y="1284574"/>
                  <a:pt x="1107426" y="1283663"/>
                  <a:pt x="1104921" y="1283663"/>
                </a:cubicBezTo>
                <a:close/>
                <a:moveTo>
                  <a:pt x="719759" y="1283663"/>
                </a:moveTo>
                <a:cubicBezTo>
                  <a:pt x="717937" y="1285485"/>
                  <a:pt x="723404" y="1294596"/>
                  <a:pt x="727048" y="1289129"/>
                </a:cubicBezTo>
                <a:cubicBezTo>
                  <a:pt x="725226" y="1289129"/>
                  <a:pt x="723404" y="1287307"/>
                  <a:pt x="725226" y="1285485"/>
                </a:cubicBezTo>
                <a:cubicBezTo>
                  <a:pt x="723404" y="1283663"/>
                  <a:pt x="721581" y="1285485"/>
                  <a:pt x="719759" y="1283663"/>
                </a:cubicBezTo>
                <a:close/>
                <a:moveTo>
                  <a:pt x="630472" y="1283663"/>
                </a:moveTo>
                <a:cubicBezTo>
                  <a:pt x="626828" y="1287307"/>
                  <a:pt x="634117" y="1290951"/>
                  <a:pt x="637761" y="1292774"/>
                </a:cubicBezTo>
                <a:cubicBezTo>
                  <a:pt x="637761" y="1285485"/>
                  <a:pt x="632296" y="1289129"/>
                  <a:pt x="630472" y="1283663"/>
                </a:cubicBezTo>
                <a:close/>
                <a:moveTo>
                  <a:pt x="614074" y="1283663"/>
                </a:moveTo>
                <a:cubicBezTo>
                  <a:pt x="608606" y="1287307"/>
                  <a:pt x="606784" y="1296418"/>
                  <a:pt x="614074" y="1303707"/>
                </a:cubicBezTo>
                <a:cubicBezTo>
                  <a:pt x="615895" y="1301885"/>
                  <a:pt x="615895" y="1298240"/>
                  <a:pt x="612251" y="1296418"/>
                </a:cubicBezTo>
                <a:cubicBezTo>
                  <a:pt x="615895" y="1292774"/>
                  <a:pt x="615895" y="1285485"/>
                  <a:pt x="614074" y="1283663"/>
                </a:cubicBezTo>
                <a:close/>
                <a:moveTo>
                  <a:pt x="533897" y="1283663"/>
                </a:moveTo>
                <a:cubicBezTo>
                  <a:pt x="532075" y="1281841"/>
                  <a:pt x="530253" y="1287307"/>
                  <a:pt x="528431" y="1287307"/>
                </a:cubicBezTo>
                <a:cubicBezTo>
                  <a:pt x="530253" y="1289129"/>
                  <a:pt x="530253" y="1285485"/>
                  <a:pt x="533897" y="1283663"/>
                </a:cubicBezTo>
                <a:close/>
                <a:moveTo>
                  <a:pt x="481054" y="1283663"/>
                </a:moveTo>
                <a:cubicBezTo>
                  <a:pt x="482876" y="1290951"/>
                  <a:pt x="488343" y="1290951"/>
                  <a:pt x="491987" y="1289129"/>
                </a:cubicBezTo>
                <a:cubicBezTo>
                  <a:pt x="490165" y="1285485"/>
                  <a:pt x="484700" y="1283663"/>
                  <a:pt x="481054" y="1283663"/>
                </a:cubicBezTo>
                <a:close/>
                <a:moveTo>
                  <a:pt x="321386" y="1282296"/>
                </a:moveTo>
                <a:cubicBezTo>
                  <a:pt x="317970" y="1283663"/>
                  <a:pt x="315236" y="1286396"/>
                  <a:pt x="313414" y="1289129"/>
                </a:cubicBezTo>
                <a:cubicBezTo>
                  <a:pt x="316147" y="1289129"/>
                  <a:pt x="319336" y="1290040"/>
                  <a:pt x="321841" y="1290724"/>
                </a:cubicBezTo>
                <a:lnTo>
                  <a:pt x="324459" y="1290861"/>
                </a:lnTo>
                <a:lnTo>
                  <a:pt x="324347" y="1290951"/>
                </a:lnTo>
                <a:cubicBezTo>
                  <a:pt x="326169" y="1290951"/>
                  <a:pt x="326169" y="1290951"/>
                  <a:pt x="326169" y="1290951"/>
                </a:cubicBezTo>
                <a:lnTo>
                  <a:pt x="324459" y="1290861"/>
                </a:lnTo>
                <a:lnTo>
                  <a:pt x="333458" y="1283663"/>
                </a:lnTo>
                <a:cubicBezTo>
                  <a:pt x="328903" y="1280929"/>
                  <a:pt x="324803" y="1280929"/>
                  <a:pt x="321386" y="1282296"/>
                </a:cubicBezTo>
                <a:close/>
                <a:moveTo>
                  <a:pt x="3349156" y="1281841"/>
                </a:moveTo>
                <a:cubicBezTo>
                  <a:pt x="3347334" y="1285485"/>
                  <a:pt x="3347334" y="1289129"/>
                  <a:pt x="3350978" y="1290951"/>
                </a:cubicBezTo>
                <a:cubicBezTo>
                  <a:pt x="3352800" y="1294596"/>
                  <a:pt x="3345512" y="1294596"/>
                  <a:pt x="3347334" y="1296418"/>
                </a:cubicBezTo>
                <a:cubicBezTo>
                  <a:pt x="3349156" y="1300062"/>
                  <a:pt x="3354623" y="1298240"/>
                  <a:pt x="3358267" y="1296418"/>
                </a:cubicBezTo>
                <a:cubicBezTo>
                  <a:pt x="3352800" y="1292774"/>
                  <a:pt x="3358267" y="1285485"/>
                  <a:pt x="3352800" y="1281841"/>
                </a:cubicBezTo>
                <a:cubicBezTo>
                  <a:pt x="3352800" y="1281841"/>
                  <a:pt x="3349156" y="1283663"/>
                  <a:pt x="3349156" y="1281841"/>
                </a:cubicBezTo>
                <a:close/>
                <a:moveTo>
                  <a:pt x="3228893" y="1281841"/>
                </a:moveTo>
                <a:cubicBezTo>
                  <a:pt x="3227071" y="1283663"/>
                  <a:pt x="3232537" y="1290951"/>
                  <a:pt x="3236181" y="1292774"/>
                </a:cubicBezTo>
                <a:cubicBezTo>
                  <a:pt x="3236181" y="1287307"/>
                  <a:pt x="3236181" y="1285485"/>
                  <a:pt x="3234359" y="1281841"/>
                </a:cubicBezTo>
                <a:cubicBezTo>
                  <a:pt x="3232537" y="1281841"/>
                  <a:pt x="3228893" y="1283663"/>
                  <a:pt x="3228893" y="1281841"/>
                </a:cubicBezTo>
                <a:close/>
                <a:moveTo>
                  <a:pt x="3139606" y="1281841"/>
                </a:moveTo>
                <a:cubicBezTo>
                  <a:pt x="3135962" y="1281841"/>
                  <a:pt x="3137784" y="1287307"/>
                  <a:pt x="3137784" y="1289129"/>
                </a:cubicBezTo>
                <a:cubicBezTo>
                  <a:pt x="3143250" y="1287307"/>
                  <a:pt x="3146895" y="1290951"/>
                  <a:pt x="3150539" y="1294596"/>
                </a:cubicBezTo>
                <a:cubicBezTo>
                  <a:pt x="3157828" y="1289129"/>
                  <a:pt x="3141428" y="1287307"/>
                  <a:pt x="3139606" y="1281841"/>
                </a:cubicBezTo>
                <a:close/>
                <a:moveTo>
                  <a:pt x="2616642" y="1281841"/>
                </a:moveTo>
                <a:lnTo>
                  <a:pt x="2614820" y="1285485"/>
                </a:lnTo>
                <a:cubicBezTo>
                  <a:pt x="2614820" y="1285485"/>
                  <a:pt x="2614820" y="1285485"/>
                  <a:pt x="2616642" y="1285485"/>
                </a:cubicBezTo>
                <a:cubicBezTo>
                  <a:pt x="2616642" y="1283663"/>
                  <a:pt x="2616642" y="1281841"/>
                  <a:pt x="2616642" y="1281841"/>
                </a:cubicBezTo>
                <a:close/>
                <a:moveTo>
                  <a:pt x="1182592" y="1281841"/>
                </a:moveTo>
                <a:cubicBezTo>
                  <a:pt x="1191703" y="1300062"/>
                  <a:pt x="1204457" y="1292774"/>
                  <a:pt x="1215390" y="1294596"/>
                </a:cubicBezTo>
                <a:cubicBezTo>
                  <a:pt x="1206279" y="1289129"/>
                  <a:pt x="1193525" y="1276374"/>
                  <a:pt x="1182592" y="1281841"/>
                </a:cubicBezTo>
                <a:close/>
                <a:moveTo>
                  <a:pt x="665094" y="1281841"/>
                </a:moveTo>
                <a:cubicBezTo>
                  <a:pt x="663272" y="1283663"/>
                  <a:pt x="665094" y="1290951"/>
                  <a:pt x="666916" y="1290951"/>
                </a:cubicBezTo>
                <a:cubicBezTo>
                  <a:pt x="668738" y="1289129"/>
                  <a:pt x="668738" y="1289129"/>
                  <a:pt x="670560" y="1287307"/>
                </a:cubicBezTo>
                <a:cubicBezTo>
                  <a:pt x="668738" y="1285485"/>
                  <a:pt x="666916" y="1283663"/>
                  <a:pt x="665094" y="1281841"/>
                </a:cubicBezTo>
                <a:close/>
                <a:moveTo>
                  <a:pt x="544830" y="1281841"/>
                </a:moveTo>
                <a:cubicBezTo>
                  <a:pt x="543008" y="1283663"/>
                  <a:pt x="550297" y="1285485"/>
                  <a:pt x="544830" y="1287307"/>
                </a:cubicBezTo>
                <a:cubicBezTo>
                  <a:pt x="548475" y="1289129"/>
                  <a:pt x="552119" y="1289129"/>
                  <a:pt x="552119" y="1287307"/>
                </a:cubicBezTo>
                <a:cubicBezTo>
                  <a:pt x="550297" y="1285485"/>
                  <a:pt x="548475" y="1283663"/>
                  <a:pt x="550297" y="1281841"/>
                </a:cubicBezTo>
                <a:cubicBezTo>
                  <a:pt x="548475" y="1281841"/>
                  <a:pt x="546653" y="1283663"/>
                  <a:pt x="544830" y="1281841"/>
                </a:cubicBezTo>
                <a:close/>
                <a:moveTo>
                  <a:pt x="411812" y="1281841"/>
                </a:moveTo>
                <a:cubicBezTo>
                  <a:pt x="411812" y="1285485"/>
                  <a:pt x="415456" y="1289129"/>
                  <a:pt x="417278" y="1283663"/>
                </a:cubicBezTo>
                <a:cubicBezTo>
                  <a:pt x="415456" y="1283663"/>
                  <a:pt x="413634" y="1283663"/>
                  <a:pt x="411812" y="1281841"/>
                </a:cubicBezTo>
                <a:close/>
                <a:moveTo>
                  <a:pt x="707459" y="1280930"/>
                </a:moveTo>
                <a:cubicBezTo>
                  <a:pt x="703815" y="1279107"/>
                  <a:pt x="699715" y="1279107"/>
                  <a:pt x="696071" y="1283663"/>
                </a:cubicBezTo>
                <a:cubicBezTo>
                  <a:pt x="694249" y="1283663"/>
                  <a:pt x="692426" y="1283663"/>
                  <a:pt x="690604" y="1283663"/>
                </a:cubicBezTo>
                <a:cubicBezTo>
                  <a:pt x="688782" y="1294596"/>
                  <a:pt x="701537" y="1289129"/>
                  <a:pt x="707004" y="1292774"/>
                </a:cubicBezTo>
                <a:cubicBezTo>
                  <a:pt x="705182" y="1290951"/>
                  <a:pt x="703359" y="1289129"/>
                  <a:pt x="701537" y="1287307"/>
                </a:cubicBezTo>
                <a:cubicBezTo>
                  <a:pt x="707004" y="1292774"/>
                  <a:pt x="712470" y="1287307"/>
                  <a:pt x="716115" y="1289129"/>
                </a:cubicBezTo>
                <a:cubicBezTo>
                  <a:pt x="714293" y="1286396"/>
                  <a:pt x="711103" y="1282752"/>
                  <a:pt x="707459" y="1280930"/>
                </a:cubicBezTo>
                <a:close/>
                <a:moveTo>
                  <a:pt x="1284633" y="1280018"/>
                </a:moveTo>
                <a:cubicBezTo>
                  <a:pt x="1284633" y="1280018"/>
                  <a:pt x="1282811" y="1281841"/>
                  <a:pt x="1282811" y="1281841"/>
                </a:cubicBezTo>
                <a:cubicBezTo>
                  <a:pt x="1284633" y="1285485"/>
                  <a:pt x="1288277" y="1287307"/>
                  <a:pt x="1290100" y="1285485"/>
                </a:cubicBezTo>
                <a:cubicBezTo>
                  <a:pt x="1288277" y="1281841"/>
                  <a:pt x="1286455" y="1283663"/>
                  <a:pt x="1284633" y="1280018"/>
                </a:cubicBezTo>
                <a:close/>
                <a:moveTo>
                  <a:pt x="1250012" y="1280018"/>
                </a:moveTo>
                <a:cubicBezTo>
                  <a:pt x="1248189" y="1281841"/>
                  <a:pt x="1246367" y="1281841"/>
                  <a:pt x="1246367" y="1283663"/>
                </a:cubicBezTo>
                <a:cubicBezTo>
                  <a:pt x="1246367" y="1283663"/>
                  <a:pt x="1248189" y="1283663"/>
                  <a:pt x="1248189" y="1285485"/>
                </a:cubicBezTo>
                <a:cubicBezTo>
                  <a:pt x="1251834" y="1283663"/>
                  <a:pt x="1251834" y="1281841"/>
                  <a:pt x="1250012" y="1280018"/>
                </a:cubicBezTo>
                <a:close/>
                <a:moveTo>
                  <a:pt x="1175303" y="1280018"/>
                </a:moveTo>
                <a:cubicBezTo>
                  <a:pt x="1173481" y="1285485"/>
                  <a:pt x="1173481" y="1285485"/>
                  <a:pt x="1168014" y="1285485"/>
                </a:cubicBezTo>
                <a:cubicBezTo>
                  <a:pt x="1173481" y="1287307"/>
                  <a:pt x="1178947" y="1290951"/>
                  <a:pt x="1184414" y="1289129"/>
                </a:cubicBezTo>
                <a:cubicBezTo>
                  <a:pt x="1182592" y="1285485"/>
                  <a:pt x="1178947" y="1280018"/>
                  <a:pt x="1175303" y="1280018"/>
                </a:cubicBezTo>
                <a:close/>
                <a:moveTo>
                  <a:pt x="1107882" y="1280018"/>
                </a:moveTo>
                <a:cubicBezTo>
                  <a:pt x="1106060" y="1280018"/>
                  <a:pt x="1106060" y="1281841"/>
                  <a:pt x="1104238" y="1281841"/>
                </a:cubicBezTo>
                <a:cubicBezTo>
                  <a:pt x="1106060" y="1283663"/>
                  <a:pt x="1106060" y="1281841"/>
                  <a:pt x="1107882" y="1283663"/>
                </a:cubicBezTo>
                <a:cubicBezTo>
                  <a:pt x="1107882" y="1281841"/>
                  <a:pt x="1106060" y="1280018"/>
                  <a:pt x="1107882" y="1280018"/>
                </a:cubicBezTo>
                <a:close/>
                <a:moveTo>
                  <a:pt x="745269" y="1280018"/>
                </a:moveTo>
                <a:cubicBezTo>
                  <a:pt x="743447" y="1281841"/>
                  <a:pt x="748914" y="1281841"/>
                  <a:pt x="748914" y="1283663"/>
                </a:cubicBezTo>
                <a:cubicBezTo>
                  <a:pt x="750737" y="1280018"/>
                  <a:pt x="747092" y="1281841"/>
                  <a:pt x="745269" y="1280018"/>
                </a:cubicBezTo>
                <a:close/>
                <a:moveTo>
                  <a:pt x="3168779" y="1279823"/>
                </a:moveTo>
                <a:lnTo>
                  <a:pt x="3168971" y="1280026"/>
                </a:lnTo>
                <a:lnTo>
                  <a:pt x="3168761" y="1280018"/>
                </a:lnTo>
                <a:close/>
                <a:moveTo>
                  <a:pt x="1330002" y="1278909"/>
                </a:moveTo>
                <a:lnTo>
                  <a:pt x="1330188" y="1280018"/>
                </a:lnTo>
                <a:lnTo>
                  <a:pt x="1329708" y="1279174"/>
                </a:lnTo>
                <a:close/>
                <a:moveTo>
                  <a:pt x="426617" y="1278879"/>
                </a:moveTo>
                <a:cubicBezTo>
                  <a:pt x="425022" y="1279107"/>
                  <a:pt x="423656" y="1280019"/>
                  <a:pt x="424567" y="1281841"/>
                </a:cubicBezTo>
                <a:cubicBezTo>
                  <a:pt x="428211" y="1283663"/>
                  <a:pt x="428211" y="1278196"/>
                  <a:pt x="430034" y="1280018"/>
                </a:cubicBezTo>
                <a:cubicBezTo>
                  <a:pt x="430034" y="1279107"/>
                  <a:pt x="428211" y="1278651"/>
                  <a:pt x="426617" y="1278879"/>
                </a:cubicBezTo>
                <a:close/>
                <a:moveTo>
                  <a:pt x="3192449" y="1278196"/>
                </a:moveTo>
                <a:cubicBezTo>
                  <a:pt x="3192449" y="1280018"/>
                  <a:pt x="3192449" y="1283663"/>
                  <a:pt x="3192449" y="1285485"/>
                </a:cubicBezTo>
                <a:cubicBezTo>
                  <a:pt x="3199738" y="1290951"/>
                  <a:pt x="3203382" y="1283663"/>
                  <a:pt x="3208849" y="1285485"/>
                </a:cubicBezTo>
                <a:cubicBezTo>
                  <a:pt x="3208849" y="1281841"/>
                  <a:pt x="3199738" y="1272730"/>
                  <a:pt x="3199738" y="1281841"/>
                </a:cubicBezTo>
                <a:cubicBezTo>
                  <a:pt x="3196093" y="1280018"/>
                  <a:pt x="3197916" y="1276374"/>
                  <a:pt x="3192449" y="1278196"/>
                </a:cubicBezTo>
                <a:close/>
                <a:moveTo>
                  <a:pt x="2971966" y="1278196"/>
                </a:moveTo>
                <a:lnTo>
                  <a:pt x="2973788" y="1283663"/>
                </a:lnTo>
                <a:cubicBezTo>
                  <a:pt x="2970144" y="1283663"/>
                  <a:pt x="2971966" y="1278196"/>
                  <a:pt x="2966500" y="1281841"/>
                </a:cubicBezTo>
                <a:close/>
                <a:moveTo>
                  <a:pt x="1127926" y="1278196"/>
                </a:moveTo>
                <a:cubicBezTo>
                  <a:pt x="1126104" y="1278196"/>
                  <a:pt x="1122459" y="1278196"/>
                  <a:pt x="1122459" y="1280018"/>
                </a:cubicBezTo>
                <a:cubicBezTo>
                  <a:pt x="1126104" y="1281841"/>
                  <a:pt x="1124282" y="1278196"/>
                  <a:pt x="1127926" y="1278196"/>
                </a:cubicBezTo>
                <a:close/>
                <a:moveTo>
                  <a:pt x="752558" y="1278196"/>
                </a:moveTo>
                <a:cubicBezTo>
                  <a:pt x="745269" y="1278196"/>
                  <a:pt x="747092" y="1278196"/>
                  <a:pt x="750737" y="1281841"/>
                </a:cubicBezTo>
                <a:cubicBezTo>
                  <a:pt x="754380" y="1280018"/>
                  <a:pt x="752558" y="1280018"/>
                  <a:pt x="752558" y="1278196"/>
                </a:cubicBezTo>
                <a:close/>
                <a:moveTo>
                  <a:pt x="588562" y="1278196"/>
                </a:moveTo>
                <a:cubicBezTo>
                  <a:pt x="584919" y="1278196"/>
                  <a:pt x="583096" y="1281841"/>
                  <a:pt x="579452" y="1285485"/>
                </a:cubicBezTo>
                <a:cubicBezTo>
                  <a:pt x="584919" y="1289129"/>
                  <a:pt x="588562" y="1283663"/>
                  <a:pt x="592207" y="1285485"/>
                </a:cubicBezTo>
                <a:cubicBezTo>
                  <a:pt x="594030" y="1283663"/>
                  <a:pt x="590385" y="1280018"/>
                  <a:pt x="588562" y="1278196"/>
                </a:cubicBezTo>
                <a:close/>
                <a:moveTo>
                  <a:pt x="448256" y="1278196"/>
                </a:moveTo>
                <a:cubicBezTo>
                  <a:pt x="446433" y="1276374"/>
                  <a:pt x="444611" y="1281841"/>
                  <a:pt x="442789" y="1281841"/>
                </a:cubicBezTo>
                <a:cubicBezTo>
                  <a:pt x="444611" y="1283663"/>
                  <a:pt x="448256" y="1280018"/>
                  <a:pt x="448256" y="1278196"/>
                </a:cubicBezTo>
                <a:close/>
                <a:moveTo>
                  <a:pt x="3075830" y="1276374"/>
                </a:moveTo>
                <a:cubicBezTo>
                  <a:pt x="3070363" y="1276374"/>
                  <a:pt x="3070363" y="1278196"/>
                  <a:pt x="3068541" y="1281841"/>
                </a:cubicBezTo>
                <a:cubicBezTo>
                  <a:pt x="3064897" y="1283663"/>
                  <a:pt x="3072186" y="1278196"/>
                  <a:pt x="3077652" y="1281841"/>
                </a:cubicBezTo>
                <a:cubicBezTo>
                  <a:pt x="3077652" y="1278196"/>
                  <a:pt x="3075830" y="1278196"/>
                  <a:pt x="3075830" y="1276374"/>
                </a:cubicBezTo>
                <a:close/>
                <a:moveTo>
                  <a:pt x="2906368" y="1276374"/>
                </a:moveTo>
                <a:cubicBezTo>
                  <a:pt x="2904546" y="1278196"/>
                  <a:pt x="2908190" y="1283663"/>
                  <a:pt x="2911834" y="1283663"/>
                </a:cubicBezTo>
                <a:cubicBezTo>
                  <a:pt x="2911834" y="1278196"/>
                  <a:pt x="2908190" y="1278196"/>
                  <a:pt x="2906368" y="1276374"/>
                </a:cubicBezTo>
                <a:close/>
                <a:moveTo>
                  <a:pt x="1293744" y="1276374"/>
                </a:moveTo>
                <a:cubicBezTo>
                  <a:pt x="1291922" y="1276374"/>
                  <a:pt x="1291922" y="1278196"/>
                  <a:pt x="1290100" y="1278196"/>
                </a:cubicBezTo>
                <a:cubicBezTo>
                  <a:pt x="1293744" y="1280018"/>
                  <a:pt x="1295566" y="1280018"/>
                  <a:pt x="1297388" y="1281841"/>
                </a:cubicBezTo>
                <a:cubicBezTo>
                  <a:pt x="1299210" y="1280018"/>
                  <a:pt x="1295566" y="1278196"/>
                  <a:pt x="1293744" y="1276374"/>
                </a:cubicBezTo>
                <a:close/>
                <a:moveTo>
                  <a:pt x="1144326" y="1276374"/>
                </a:moveTo>
                <a:cubicBezTo>
                  <a:pt x="1144326" y="1278196"/>
                  <a:pt x="1144326" y="1278196"/>
                  <a:pt x="1142503" y="1278196"/>
                </a:cubicBezTo>
                <a:cubicBezTo>
                  <a:pt x="1144326" y="1281841"/>
                  <a:pt x="1146148" y="1281841"/>
                  <a:pt x="1147970" y="1283663"/>
                </a:cubicBezTo>
                <a:cubicBezTo>
                  <a:pt x="1149792" y="1281841"/>
                  <a:pt x="1147970" y="1276374"/>
                  <a:pt x="1144326" y="1276374"/>
                </a:cubicBezTo>
                <a:close/>
                <a:moveTo>
                  <a:pt x="3376944" y="1275235"/>
                </a:moveTo>
                <a:cubicBezTo>
                  <a:pt x="3375122" y="1275007"/>
                  <a:pt x="3372844" y="1275463"/>
                  <a:pt x="3371022" y="1276374"/>
                </a:cubicBezTo>
                <a:cubicBezTo>
                  <a:pt x="3372844" y="1278196"/>
                  <a:pt x="3376489" y="1278196"/>
                  <a:pt x="3380133" y="1278196"/>
                </a:cubicBezTo>
                <a:cubicBezTo>
                  <a:pt x="3380133" y="1276374"/>
                  <a:pt x="3378767" y="1275463"/>
                  <a:pt x="3376944" y="1275235"/>
                </a:cubicBezTo>
                <a:close/>
                <a:moveTo>
                  <a:pt x="3183338" y="1274552"/>
                </a:moveTo>
                <a:cubicBezTo>
                  <a:pt x="3185160" y="1280018"/>
                  <a:pt x="3185160" y="1283663"/>
                  <a:pt x="3190627" y="1285485"/>
                </a:cubicBezTo>
                <a:cubicBezTo>
                  <a:pt x="3192449" y="1280018"/>
                  <a:pt x="3190627" y="1274552"/>
                  <a:pt x="3183338" y="1274552"/>
                </a:cubicBezTo>
                <a:close/>
                <a:moveTo>
                  <a:pt x="1226323" y="1274552"/>
                </a:moveTo>
                <a:lnTo>
                  <a:pt x="1228548" y="1276332"/>
                </a:lnTo>
                <a:lnTo>
                  <a:pt x="1225934" y="1274829"/>
                </a:lnTo>
                <a:close/>
                <a:moveTo>
                  <a:pt x="1177125" y="1274552"/>
                </a:moveTo>
                <a:cubicBezTo>
                  <a:pt x="1175303" y="1276374"/>
                  <a:pt x="1178947" y="1278196"/>
                  <a:pt x="1180769" y="1280018"/>
                </a:cubicBezTo>
                <a:cubicBezTo>
                  <a:pt x="1182592" y="1280018"/>
                  <a:pt x="1186236" y="1278196"/>
                  <a:pt x="1188058" y="1280018"/>
                </a:cubicBezTo>
                <a:cubicBezTo>
                  <a:pt x="1186236" y="1276374"/>
                  <a:pt x="1180769" y="1276374"/>
                  <a:pt x="1177125" y="1274552"/>
                </a:cubicBezTo>
                <a:close/>
                <a:moveTo>
                  <a:pt x="1135215" y="1274552"/>
                </a:moveTo>
                <a:cubicBezTo>
                  <a:pt x="1133393" y="1274552"/>
                  <a:pt x="1131570" y="1276374"/>
                  <a:pt x="1129748" y="1278196"/>
                </a:cubicBezTo>
                <a:cubicBezTo>
                  <a:pt x="1133393" y="1280018"/>
                  <a:pt x="1135215" y="1281841"/>
                  <a:pt x="1138859" y="1280018"/>
                </a:cubicBezTo>
                <a:cubicBezTo>
                  <a:pt x="1137037" y="1278196"/>
                  <a:pt x="1137037" y="1276374"/>
                  <a:pt x="1135215" y="1274552"/>
                </a:cubicBezTo>
                <a:close/>
                <a:moveTo>
                  <a:pt x="1111526" y="1274552"/>
                </a:moveTo>
                <a:cubicBezTo>
                  <a:pt x="1111526" y="1272730"/>
                  <a:pt x="1109704" y="1276374"/>
                  <a:pt x="1107882" y="1276374"/>
                </a:cubicBezTo>
                <a:cubicBezTo>
                  <a:pt x="1109704" y="1278196"/>
                  <a:pt x="1109704" y="1281841"/>
                  <a:pt x="1111526" y="1283663"/>
                </a:cubicBezTo>
                <a:cubicBezTo>
                  <a:pt x="1115171" y="1280018"/>
                  <a:pt x="1111526" y="1276374"/>
                  <a:pt x="1111526" y="1274552"/>
                </a:cubicBezTo>
                <a:close/>
                <a:moveTo>
                  <a:pt x="991263" y="1274552"/>
                </a:moveTo>
                <a:cubicBezTo>
                  <a:pt x="989441" y="1276374"/>
                  <a:pt x="987619" y="1278196"/>
                  <a:pt x="985796" y="1280018"/>
                </a:cubicBezTo>
                <a:cubicBezTo>
                  <a:pt x="985796" y="1283663"/>
                  <a:pt x="989441" y="1285485"/>
                  <a:pt x="989441" y="1287307"/>
                </a:cubicBezTo>
                <a:cubicBezTo>
                  <a:pt x="991263" y="1287307"/>
                  <a:pt x="994907" y="1287307"/>
                  <a:pt x="994907" y="1285485"/>
                </a:cubicBezTo>
                <a:cubicBezTo>
                  <a:pt x="998552" y="1285485"/>
                  <a:pt x="998552" y="1294596"/>
                  <a:pt x="1005840" y="1290951"/>
                </a:cubicBezTo>
                <a:cubicBezTo>
                  <a:pt x="1007663" y="1305529"/>
                  <a:pt x="1004018" y="1320106"/>
                  <a:pt x="1022240" y="1318284"/>
                </a:cubicBezTo>
                <a:cubicBezTo>
                  <a:pt x="1020418" y="1309173"/>
                  <a:pt x="1018596" y="1300062"/>
                  <a:pt x="1013129" y="1290951"/>
                </a:cubicBezTo>
                <a:cubicBezTo>
                  <a:pt x="1020418" y="1300062"/>
                  <a:pt x="1022240" y="1310995"/>
                  <a:pt x="1029529" y="1314640"/>
                </a:cubicBezTo>
                <a:cubicBezTo>
                  <a:pt x="1031351" y="1312818"/>
                  <a:pt x="1031351" y="1310995"/>
                  <a:pt x="1031351" y="1309173"/>
                </a:cubicBezTo>
                <a:cubicBezTo>
                  <a:pt x="1034995" y="1312818"/>
                  <a:pt x="1027707" y="1316462"/>
                  <a:pt x="1025884" y="1320106"/>
                </a:cubicBezTo>
                <a:cubicBezTo>
                  <a:pt x="1029529" y="1321929"/>
                  <a:pt x="1033173" y="1323751"/>
                  <a:pt x="1038639" y="1318284"/>
                </a:cubicBezTo>
                <a:cubicBezTo>
                  <a:pt x="1038639" y="1325573"/>
                  <a:pt x="1047750" y="1325573"/>
                  <a:pt x="1053217" y="1325573"/>
                </a:cubicBezTo>
                <a:cubicBezTo>
                  <a:pt x="1055040" y="1327395"/>
                  <a:pt x="1045929" y="1329217"/>
                  <a:pt x="1049573" y="1332862"/>
                </a:cubicBezTo>
                <a:cubicBezTo>
                  <a:pt x="1044106" y="1327395"/>
                  <a:pt x="1036818" y="1321929"/>
                  <a:pt x="1033173" y="1325573"/>
                </a:cubicBezTo>
                <a:cubicBezTo>
                  <a:pt x="1011307" y="1340150"/>
                  <a:pt x="1051395" y="1349261"/>
                  <a:pt x="1060506" y="1362016"/>
                </a:cubicBezTo>
                <a:cubicBezTo>
                  <a:pt x="1060506" y="1362016"/>
                  <a:pt x="1062328" y="1362016"/>
                  <a:pt x="1062328" y="1360194"/>
                </a:cubicBezTo>
                <a:cubicBezTo>
                  <a:pt x="1064151" y="1363838"/>
                  <a:pt x="1064151" y="1365661"/>
                  <a:pt x="1067794" y="1369305"/>
                </a:cubicBezTo>
                <a:cubicBezTo>
                  <a:pt x="1069616" y="1367483"/>
                  <a:pt x="1065972" y="1367483"/>
                  <a:pt x="1067794" y="1365661"/>
                </a:cubicBezTo>
                <a:cubicBezTo>
                  <a:pt x="1069616" y="1367483"/>
                  <a:pt x="1069616" y="1367483"/>
                  <a:pt x="1069616" y="1369305"/>
                </a:cubicBezTo>
                <a:cubicBezTo>
                  <a:pt x="1076905" y="1374771"/>
                  <a:pt x="1084194" y="1385705"/>
                  <a:pt x="1093305" y="1383882"/>
                </a:cubicBezTo>
                <a:cubicBezTo>
                  <a:pt x="1091484" y="1380238"/>
                  <a:pt x="1086016" y="1380238"/>
                  <a:pt x="1086016" y="1376594"/>
                </a:cubicBezTo>
                <a:cubicBezTo>
                  <a:pt x="1089660" y="1374771"/>
                  <a:pt x="1091484" y="1382060"/>
                  <a:pt x="1093305" y="1382060"/>
                </a:cubicBezTo>
                <a:cubicBezTo>
                  <a:pt x="1095127" y="1372949"/>
                  <a:pt x="1093305" y="1365661"/>
                  <a:pt x="1091484" y="1358372"/>
                </a:cubicBezTo>
                <a:cubicBezTo>
                  <a:pt x="1087838" y="1356550"/>
                  <a:pt x="1086016" y="1356550"/>
                  <a:pt x="1082373" y="1358372"/>
                </a:cubicBezTo>
                <a:cubicBezTo>
                  <a:pt x="1082373" y="1356550"/>
                  <a:pt x="1082373" y="1356550"/>
                  <a:pt x="1080549" y="1354728"/>
                </a:cubicBezTo>
                <a:cubicBezTo>
                  <a:pt x="1082373" y="1354728"/>
                  <a:pt x="1084194" y="1356550"/>
                  <a:pt x="1087838" y="1354728"/>
                </a:cubicBezTo>
                <a:cubicBezTo>
                  <a:pt x="1089660" y="1354728"/>
                  <a:pt x="1087838" y="1352905"/>
                  <a:pt x="1089660" y="1351083"/>
                </a:cubicBezTo>
                <a:cubicBezTo>
                  <a:pt x="1086016" y="1349261"/>
                  <a:pt x="1084194" y="1347439"/>
                  <a:pt x="1080549" y="1345617"/>
                </a:cubicBezTo>
                <a:cubicBezTo>
                  <a:pt x="1080549" y="1343795"/>
                  <a:pt x="1084194" y="1347439"/>
                  <a:pt x="1086016" y="1347439"/>
                </a:cubicBezTo>
                <a:cubicBezTo>
                  <a:pt x="1071439" y="1331039"/>
                  <a:pt x="1062328" y="1312818"/>
                  <a:pt x="1047750" y="1300062"/>
                </a:cubicBezTo>
                <a:cubicBezTo>
                  <a:pt x="1042284" y="1296418"/>
                  <a:pt x="1036818" y="1296418"/>
                  <a:pt x="1031351" y="1292774"/>
                </a:cubicBezTo>
                <a:cubicBezTo>
                  <a:pt x="1022240" y="1289129"/>
                  <a:pt x="1014951" y="1283663"/>
                  <a:pt x="1007663" y="1280018"/>
                </a:cubicBezTo>
                <a:cubicBezTo>
                  <a:pt x="1007663" y="1281841"/>
                  <a:pt x="1007663" y="1281841"/>
                  <a:pt x="1007663" y="1283663"/>
                </a:cubicBezTo>
                <a:cubicBezTo>
                  <a:pt x="1004018" y="1278196"/>
                  <a:pt x="998552" y="1274552"/>
                  <a:pt x="991263" y="1274552"/>
                </a:cubicBezTo>
                <a:close/>
                <a:moveTo>
                  <a:pt x="960286" y="1274552"/>
                </a:moveTo>
                <a:cubicBezTo>
                  <a:pt x="942064" y="1289129"/>
                  <a:pt x="951175" y="1283663"/>
                  <a:pt x="960286" y="1274552"/>
                </a:cubicBezTo>
                <a:close/>
                <a:moveTo>
                  <a:pt x="630472" y="1274552"/>
                </a:moveTo>
                <a:cubicBezTo>
                  <a:pt x="630472" y="1280018"/>
                  <a:pt x="639583" y="1285485"/>
                  <a:pt x="639583" y="1287307"/>
                </a:cubicBezTo>
                <a:cubicBezTo>
                  <a:pt x="639583" y="1283663"/>
                  <a:pt x="634117" y="1272730"/>
                  <a:pt x="630472" y="1274552"/>
                </a:cubicBezTo>
                <a:close/>
                <a:moveTo>
                  <a:pt x="597673" y="1274552"/>
                </a:moveTo>
                <a:cubicBezTo>
                  <a:pt x="595852" y="1272730"/>
                  <a:pt x="592207" y="1276374"/>
                  <a:pt x="590385" y="1276374"/>
                </a:cubicBezTo>
                <a:cubicBezTo>
                  <a:pt x="590385" y="1281841"/>
                  <a:pt x="595852" y="1285485"/>
                  <a:pt x="597673" y="1285485"/>
                </a:cubicBezTo>
                <a:cubicBezTo>
                  <a:pt x="599496" y="1280018"/>
                  <a:pt x="597673" y="1280018"/>
                  <a:pt x="597673" y="1274552"/>
                </a:cubicBezTo>
                <a:close/>
                <a:moveTo>
                  <a:pt x="1331098" y="1273095"/>
                </a:moveTo>
                <a:lnTo>
                  <a:pt x="1331326" y="1275007"/>
                </a:lnTo>
                <a:lnTo>
                  <a:pt x="1331782" y="1277247"/>
                </a:lnTo>
                <a:lnTo>
                  <a:pt x="1331554" y="1277513"/>
                </a:lnTo>
                <a:lnTo>
                  <a:pt x="1330002" y="1278909"/>
                </a:lnTo>
                <a:lnTo>
                  <a:pt x="1329276" y="1274552"/>
                </a:lnTo>
                <a:close/>
                <a:moveTo>
                  <a:pt x="3430243" y="1272730"/>
                </a:moveTo>
                <a:cubicBezTo>
                  <a:pt x="3428421" y="1274552"/>
                  <a:pt x="3426599" y="1277285"/>
                  <a:pt x="3423865" y="1278196"/>
                </a:cubicBezTo>
                <a:cubicBezTo>
                  <a:pt x="3422043" y="1283663"/>
                  <a:pt x="3427510" y="1285485"/>
                  <a:pt x="3429332" y="1289129"/>
                </a:cubicBezTo>
                <a:cubicBezTo>
                  <a:pt x="3438443" y="1285485"/>
                  <a:pt x="3431154" y="1280018"/>
                  <a:pt x="3436621" y="1272730"/>
                </a:cubicBezTo>
                <a:cubicBezTo>
                  <a:pt x="3433888" y="1269996"/>
                  <a:pt x="3432065" y="1270907"/>
                  <a:pt x="3430243" y="1272730"/>
                </a:cubicBezTo>
                <a:close/>
                <a:moveTo>
                  <a:pt x="3172405" y="1272730"/>
                </a:moveTo>
                <a:cubicBezTo>
                  <a:pt x="3169672" y="1271819"/>
                  <a:pt x="3169217" y="1273185"/>
                  <a:pt x="3169217" y="1275007"/>
                </a:cubicBezTo>
                <a:lnTo>
                  <a:pt x="3168779" y="1279823"/>
                </a:lnTo>
                <a:lnTo>
                  <a:pt x="3168533" y="1279563"/>
                </a:lnTo>
                <a:cubicBezTo>
                  <a:pt x="3167394" y="1278196"/>
                  <a:pt x="3166028" y="1277285"/>
                  <a:pt x="3163294" y="1278196"/>
                </a:cubicBezTo>
                <a:cubicBezTo>
                  <a:pt x="3163294" y="1281841"/>
                  <a:pt x="3163294" y="1283663"/>
                  <a:pt x="3163294" y="1285485"/>
                </a:cubicBezTo>
                <a:cubicBezTo>
                  <a:pt x="3165116" y="1285485"/>
                  <a:pt x="3168761" y="1285485"/>
                  <a:pt x="3170583" y="1285485"/>
                </a:cubicBezTo>
                <a:cubicBezTo>
                  <a:pt x="3166939" y="1289129"/>
                  <a:pt x="3166939" y="1292774"/>
                  <a:pt x="3163294" y="1292774"/>
                </a:cubicBezTo>
                <a:cubicBezTo>
                  <a:pt x="3165116" y="1296418"/>
                  <a:pt x="3165116" y="1300062"/>
                  <a:pt x="3165116" y="1303707"/>
                </a:cubicBezTo>
                <a:cubicBezTo>
                  <a:pt x="3168761" y="1303707"/>
                  <a:pt x="3174227" y="1303707"/>
                  <a:pt x="3177872" y="1303707"/>
                </a:cubicBezTo>
                <a:cubicBezTo>
                  <a:pt x="3168761" y="1305529"/>
                  <a:pt x="3179694" y="1314640"/>
                  <a:pt x="3185160" y="1309173"/>
                </a:cubicBezTo>
                <a:cubicBezTo>
                  <a:pt x="3179694" y="1305529"/>
                  <a:pt x="3186982" y="1300062"/>
                  <a:pt x="3190627" y="1300062"/>
                </a:cubicBezTo>
                <a:cubicBezTo>
                  <a:pt x="3188805" y="1289129"/>
                  <a:pt x="3183338" y="1285485"/>
                  <a:pt x="3179694" y="1278196"/>
                </a:cubicBezTo>
                <a:cubicBezTo>
                  <a:pt x="3176050" y="1278196"/>
                  <a:pt x="3174227" y="1280018"/>
                  <a:pt x="3172405" y="1283663"/>
                </a:cubicBezTo>
                <a:lnTo>
                  <a:pt x="3168971" y="1280026"/>
                </a:lnTo>
                <a:lnTo>
                  <a:pt x="3174683" y="1280246"/>
                </a:lnTo>
                <a:cubicBezTo>
                  <a:pt x="3176505" y="1280019"/>
                  <a:pt x="3177872" y="1279107"/>
                  <a:pt x="3177872" y="1276374"/>
                </a:cubicBezTo>
                <a:cubicBezTo>
                  <a:pt x="3174227" y="1276374"/>
                  <a:pt x="3172405" y="1276374"/>
                  <a:pt x="3172405" y="1272730"/>
                </a:cubicBezTo>
                <a:close/>
                <a:moveTo>
                  <a:pt x="1873195" y="1272730"/>
                </a:moveTo>
                <a:cubicBezTo>
                  <a:pt x="1871373" y="1276374"/>
                  <a:pt x="1869551" y="1281841"/>
                  <a:pt x="1867729" y="1287307"/>
                </a:cubicBezTo>
                <a:cubicBezTo>
                  <a:pt x="1871373" y="1281841"/>
                  <a:pt x="1873195" y="1276374"/>
                  <a:pt x="1876839" y="1272730"/>
                </a:cubicBezTo>
                <a:close/>
                <a:moveTo>
                  <a:pt x="1335654" y="1272730"/>
                </a:moveTo>
                <a:lnTo>
                  <a:pt x="1337476" y="1281841"/>
                </a:lnTo>
                <a:lnTo>
                  <a:pt x="1341120" y="1276374"/>
                </a:lnTo>
                <a:cubicBezTo>
                  <a:pt x="1342942" y="1281841"/>
                  <a:pt x="1342942" y="1274552"/>
                  <a:pt x="1344765" y="1278196"/>
                </a:cubicBezTo>
                <a:cubicBezTo>
                  <a:pt x="1343853" y="1280929"/>
                  <a:pt x="1343853" y="1284574"/>
                  <a:pt x="1343170" y="1288218"/>
                </a:cubicBezTo>
                <a:lnTo>
                  <a:pt x="1340698" y="1292570"/>
                </a:lnTo>
                <a:lnTo>
                  <a:pt x="1339981" y="1289129"/>
                </a:lnTo>
                <a:cubicBezTo>
                  <a:pt x="1339753" y="1287307"/>
                  <a:pt x="1339299" y="1285485"/>
                  <a:pt x="1337476" y="1283663"/>
                </a:cubicBezTo>
                <a:lnTo>
                  <a:pt x="1336261" y="1283663"/>
                </a:lnTo>
                <a:lnTo>
                  <a:pt x="1337475" y="1281841"/>
                </a:lnTo>
                <a:lnTo>
                  <a:pt x="1333832" y="1283663"/>
                </a:lnTo>
                <a:lnTo>
                  <a:pt x="1332579" y="1281158"/>
                </a:lnTo>
                <a:lnTo>
                  <a:pt x="1331782" y="1277247"/>
                </a:lnTo>
                <a:close/>
                <a:moveTo>
                  <a:pt x="1284633" y="1272730"/>
                </a:moveTo>
                <a:cubicBezTo>
                  <a:pt x="1282811" y="1274552"/>
                  <a:pt x="1286455" y="1280018"/>
                  <a:pt x="1288277" y="1276374"/>
                </a:cubicBezTo>
                <a:cubicBezTo>
                  <a:pt x="1288277" y="1274552"/>
                  <a:pt x="1286455" y="1272730"/>
                  <a:pt x="1284633" y="1272730"/>
                </a:cubicBezTo>
                <a:close/>
                <a:moveTo>
                  <a:pt x="1271878" y="1272730"/>
                </a:moveTo>
                <a:cubicBezTo>
                  <a:pt x="1268233" y="1274552"/>
                  <a:pt x="1264589" y="1276374"/>
                  <a:pt x="1260945" y="1278196"/>
                </a:cubicBezTo>
                <a:cubicBezTo>
                  <a:pt x="1260945" y="1280018"/>
                  <a:pt x="1262767" y="1278196"/>
                  <a:pt x="1264589" y="1280018"/>
                </a:cubicBezTo>
                <a:cubicBezTo>
                  <a:pt x="1266411" y="1278196"/>
                  <a:pt x="1266411" y="1278196"/>
                  <a:pt x="1268233" y="1276374"/>
                </a:cubicBezTo>
                <a:cubicBezTo>
                  <a:pt x="1268233" y="1278196"/>
                  <a:pt x="1266411" y="1278196"/>
                  <a:pt x="1266411" y="1280018"/>
                </a:cubicBezTo>
                <a:cubicBezTo>
                  <a:pt x="1271878" y="1281841"/>
                  <a:pt x="1275522" y="1283663"/>
                  <a:pt x="1280989" y="1283663"/>
                </a:cubicBezTo>
                <a:cubicBezTo>
                  <a:pt x="1284633" y="1278196"/>
                  <a:pt x="1275522" y="1274552"/>
                  <a:pt x="1271878" y="1272730"/>
                </a:cubicBezTo>
                <a:close/>
                <a:moveTo>
                  <a:pt x="708826" y="1272730"/>
                </a:moveTo>
                <a:cubicBezTo>
                  <a:pt x="707004" y="1274552"/>
                  <a:pt x="707004" y="1274552"/>
                  <a:pt x="705182" y="1274552"/>
                </a:cubicBezTo>
                <a:cubicBezTo>
                  <a:pt x="701537" y="1276374"/>
                  <a:pt x="708826" y="1278196"/>
                  <a:pt x="710648" y="1280018"/>
                </a:cubicBezTo>
                <a:cubicBezTo>
                  <a:pt x="712470" y="1278196"/>
                  <a:pt x="710648" y="1274552"/>
                  <a:pt x="708826" y="1272730"/>
                </a:cubicBezTo>
                <a:close/>
                <a:moveTo>
                  <a:pt x="570341" y="1272730"/>
                </a:moveTo>
                <a:cubicBezTo>
                  <a:pt x="564874" y="1269085"/>
                  <a:pt x="553941" y="1276374"/>
                  <a:pt x="552119" y="1281841"/>
                </a:cubicBezTo>
                <a:cubicBezTo>
                  <a:pt x="557586" y="1280018"/>
                  <a:pt x="564874" y="1276374"/>
                  <a:pt x="570341" y="1272730"/>
                </a:cubicBezTo>
                <a:close/>
                <a:moveTo>
                  <a:pt x="510209" y="1272730"/>
                </a:moveTo>
                <a:cubicBezTo>
                  <a:pt x="515676" y="1278196"/>
                  <a:pt x="519320" y="1285485"/>
                  <a:pt x="524786" y="1278196"/>
                </a:cubicBezTo>
                <a:cubicBezTo>
                  <a:pt x="528431" y="1272730"/>
                  <a:pt x="513853" y="1280018"/>
                  <a:pt x="515676" y="1272730"/>
                </a:cubicBezTo>
                <a:cubicBezTo>
                  <a:pt x="515676" y="1270908"/>
                  <a:pt x="513853" y="1270908"/>
                  <a:pt x="510209" y="1272730"/>
                </a:cubicBezTo>
                <a:close/>
                <a:moveTo>
                  <a:pt x="1325727" y="1272160"/>
                </a:moveTo>
                <a:lnTo>
                  <a:pt x="1325982" y="1272609"/>
                </a:lnTo>
                <a:lnTo>
                  <a:pt x="1325148" y="1277854"/>
                </a:lnTo>
                <a:lnTo>
                  <a:pt x="1324721" y="1278196"/>
                </a:lnTo>
                <a:close/>
                <a:moveTo>
                  <a:pt x="1681866" y="1270979"/>
                </a:moveTo>
                <a:lnTo>
                  <a:pt x="1698266" y="1285557"/>
                </a:lnTo>
                <a:lnTo>
                  <a:pt x="1681866" y="1285557"/>
                </a:lnTo>
                <a:close/>
                <a:moveTo>
                  <a:pt x="3141428" y="1270908"/>
                </a:moveTo>
                <a:cubicBezTo>
                  <a:pt x="3141428" y="1274552"/>
                  <a:pt x="3141428" y="1278196"/>
                  <a:pt x="3141428" y="1281841"/>
                </a:cubicBezTo>
                <a:cubicBezTo>
                  <a:pt x="3146895" y="1283663"/>
                  <a:pt x="3150539" y="1287307"/>
                  <a:pt x="3157828" y="1285485"/>
                </a:cubicBezTo>
                <a:cubicBezTo>
                  <a:pt x="3154184" y="1280018"/>
                  <a:pt x="3156006" y="1269085"/>
                  <a:pt x="3141428" y="1270908"/>
                </a:cubicBezTo>
                <a:close/>
                <a:moveTo>
                  <a:pt x="1885950" y="1270908"/>
                </a:moveTo>
                <a:lnTo>
                  <a:pt x="1885950" y="1289129"/>
                </a:lnTo>
                <a:cubicBezTo>
                  <a:pt x="1887773" y="1289129"/>
                  <a:pt x="1891417" y="1289129"/>
                  <a:pt x="1893239" y="1289129"/>
                </a:cubicBezTo>
                <a:lnTo>
                  <a:pt x="1896883" y="1285485"/>
                </a:lnTo>
                <a:cubicBezTo>
                  <a:pt x="1898706" y="1281841"/>
                  <a:pt x="1895061" y="1276374"/>
                  <a:pt x="1896883" y="1270908"/>
                </a:cubicBezTo>
                <a:close/>
                <a:moveTo>
                  <a:pt x="1162547" y="1270908"/>
                </a:moveTo>
                <a:cubicBezTo>
                  <a:pt x="1160725" y="1269085"/>
                  <a:pt x="1158903" y="1272730"/>
                  <a:pt x="1160725" y="1274552"/>
                </a:cubicBezTo>
                <a:cubicBezTo>
                  <a:pt x="1164370" y="1274552"/>
                  <a:pt x="1162547" y="1272730"/>
                  <a:pt x="1162547" y="1270908"/>
                </a:cubicBezTo>
                <a:close/>
                <a:moveTo>
                  <a:pt x="1120637" y="1270908"/>
                </a:moveTo>
                <a:cubicBezTo>
                  <a:pt x="1120637" y="1274552"/>
                  <a:pt x="1118815" y="1274552"/>
                  <a:pt x="1115171" y="1274552"/>
                </a:cubicBezTo>
                <a:cubicBezTo>
                  <a:pt x="1115171" y="1276374"/>
                  <a:pt x="1115171" y="1280018"/>
                  <a:pt x="1118815" y="1283663"/>
                </a:cubicBezTo>
                <a:cubicBezTo>
                  <a:pt x="1118815" y="1278196"/>
                  <a:pt x="1122459" y="1274552"/>
                  <a:pt x="1120637" y="1270908"/>
                </a:cubicBezTo>
                <a:close/>
                <a:moveTo>
                  <a:pt x="967575" y="1270908"/>
                </a:moveTo>
                <a:cubicBezTo>
                  <a:pt x="965753" y="1272730"/>
                  <a:pt x="963930" y="1272730"/>
                  <a:pt x="960286" y="1278196"/>
                </a:cubicBezTo>
                <a:cubicBezTo>
                  <a:pt x="962108" y="1278196"/>
                  <a:pt x="969397" y="1272730"/>
                  <a:pt x="967575" y="1270908"/>
                </a:cubicBezTo>
                <a:close/>
                <a:moveTo>
                  <a:pt x="931131" y="1270908"/>
                </a:moveTo>
                <a:cubicBezTo>
                  <a:pt x="929309" y="1274552"/>
                  <a:pt x="934777" y="1272730"/>
                  <a:pt x="936598" y="1274552"/>
                </a:cubicBezTo>
                <a:cubicBezTo>
                  <a:pt x="938420" y="1272730"/>
                  <a:pt x="938420" y="1272730"/>
                  <a:pt x="938420" y="1270908"/>
                </a:cubicBezTo>
                <a:cubicBezTo>
                  <a:pt x="936598" y="1269085"/>
                  <a:pt x="932953" y="1270908"/>
                  <a:pt x="931131" y="1270908"/>
                </a:cubicBezTo>
                <a:close/>
                <a:moveTo>
                  <a:pt x="776246" y="1270908"/>
                </a:moveTo>
                <a:cubicBezTo>
                  <a:pt x="776246" y="1272730"/>
                  <a:pt x="774424" y="1272730"/>
                  <a:pt x="774424" y="1274552"/>
                </a:cubicBezTo>
                <a:lnTo>
                  <a:pt x="775031" y="1274552"/>
                </a:lnTo>
                <a:lnTo>
                  <a:pt x="774424" y="1276374"/>
                </a:lnTo>
                <a:cubicBezTo>
                  <a:pt x="776246" y="1278196"/>
                  <a:pt x="778070" y="1276374"/>
                  <a:pt x="779892" y="1274552"/>
                </a:cubicBezTo>
                <a:lnTo>
                  <a:pt x="775031" y="1274552"/>
                </a:lnTo>
                <a:close/>
                <a:moveTo>
                  <a:pt x="759848" y="1270908"/>
                </a:moveTo>
                <a:cubicBezTo>
                  <a:pt x="754380" y="1272730"/>
                  <a:pt x="756203" y="1278196"/>
                  <a:pt x="752558" y="1283663"/>
                </a:cubicBezTo>
                <a:cubicBezTo>
                  <a:pt x="756203" y="1283663"/>
                  <a:pt x="758025" y="1285485"/>
                  <a:pt x="761670" y="1283663"/>
                </a:cubicBezTo>
                <a:cubicBezTo>
                  <a:pt x="761670" y="1280018"/>
                  <a:pt x="761670" y="1274552"/>
                  <a:pt x="759848" y="1270908"/>
                </a:cubicBezTo>
                <a:close/>
                <a:moveTo>
                  <a:pt x="615895" y="1270908"/>
                </a:moveTo>
                <a:cubicBezTo>
                  <a:pt x="612251" y="1274552"/>
                  <a:pt x="610429" y="1278196"/>
                  <a:pt x="614074" y="1280018"/>
                </a:cubicBezTo>
                <a:cubicBezTo>
                  <a:pt x="617717" y="1278196"/>
                  <a:pt x="615895" y="1276374"/>
                  <a:pt x="619539" y="1274552"/>
                </a:cubicBezTo>
                <a:cubicBezTo>
                  <a:pt x="617717" y="1272730"/>
                  <a:pt x="617717" y="1270908"/>
                  <a:pt x="615895" y="1270908"/>
                </a:cubicBezTo>
                <a:close/>
                <a:moveTo>
                  <a:pt x="522964" y="1270908"/>
                </a:moveTo>
                <a:cubicBezTo>
                  <a:pt x="524786" y="1272730"/>
                  <a:pt x="528431" y="1276374"/>
                  <a:pt x="530253" y="1274552"/>
                </a:cubicBezTo>
                <a:cubicBezTo>
                  <a:pt x="530253" y="1272730"/>
                  <a:pt x="524786" y="1269085"/>
                  <a:pt x="522964" y="1270908"/>
                </a:cubicBezTo>
                <a:close/>
                <a:moveTo>
                  <a:pt x="744131" y="1270908"/>
                </a:moveTo>
                <a:cubicBezTo>
                  <a:pt x="743447" y="1271363"/>
                  <a:pt x="742536" y="1271819"/>
                  <a:pt x="741626" y="1270908"/>
                </a:cubicBezTo>
                <a:cubicBezTo>
                  <a:pt x="741626" y="1285485"/>
                  <a:pt x="743447" y="1270908"/>
                  <a:pt x="745269" y="1270908"/>
                </a:cubicBezTo>
                <a:cubicBezTo>
                  <a:pt x="745269" y="1269997"/>
                  <a:pt x="744814" y="1270452"/>
                  <a:pt x="744131" y="1270908"/>
                </a:cubicBezTo>
                <a:close/>
                <a:moveTo>
                  <a:pt x="3355078" y="1270680"/>
                </a:moveTo>
                <a:cubicBezTo>
                  <a:pt x="3352345" y="1270908"/>
                  <a:pt x="3350067" y="1271819"/>
                  <a:pt x="3349156" y="1270908"/>
                </a:cubicBezTo>
                <a:cubicBezTo>
                  <a:pt x="3349156" y="1278196"/>
                  <a:pt x="3358267" y="1274552"/>
                  <a:pt x="3363734" y="1274552"/>
                </a:cubicBezTo>
                <a:cubicBezTo>
                  <a:pt x="3361001" y="1270907"/>
                  <a:pt x="3357812" y="1270452"/>
                  <a:pt x="3355078" y="1270680"/>
                </a:cubicBezTo>
                <a:close/>
                <a:moveTo>
                  <a:pt x="1414664" y="1270398"/>
                </a:moveTo>
                <a:lnTo>
                  <a:pt x="1414463" y="1272502"/>
                </a:lnTo>
                <a:lnTo>
                  <a:pt x="1406116" y="1283830"/>
                </a:lnTo>
                <a:close/>
                <a:moveTo>
                  <a:pt x="3290164" y="1270224"/>
                </a:moveTo>
                <a:cubicBezTo>
                  <a:pt x="3287203" y="1270452"/>
                  <a:pt x="3284469" y="1271819"/>
                  <a:pt x="3285380" y="1274552"/>
                </a:cubicBezTo>
                <a:cubicBezTo>
                  <a:pt x="3290847" y="1272730"/>
                  <a:pt x="3290847" y="1274552"/>
                  <a:pt x="3296313" y="1272730"/>
                </a:cubicBezTo>
                <a:cubicBezTo>
                  <a:pt x="3296313" y="1270907"/>
                  <a:pt x="3293125" y="1269996"/>
                  <a:pt x="3290164" y="1270224"/>
                </a:cubicBezTo>
                <a:close/>
                <a:moveTo>
                  <a:pt x="3182200" y="1269768"/>
                </a:moveTo>
                <a:cubicBezTo>
                  <a:pt x="3180605" y="1269541"/>
                  <a:pt x="3178783" y="1269996"/>
                  <a:pt x="3177872" y="1270908"/>
                </a:cubicBezTo>
                <a:cubicBezTo>
                  <a:pt x="3179694" y="1272730"/>
                  <a:pt x="3181516" y="1272730"/>
                  <a:pt x="3185160" y="1272730"/>
                </a:cubicBezTo>
                <a:cubicBezTo>
                  <a:pt x="3185160" y="1270907"/>
                  <a:pt x="3183794" y="1269996"/>
                  <a:pt x="3182200" y="1269768"/>
                </a:cubicBezTo>
                <a:close/>
                <a:moveTo>
                  <a:pt x="1326034" y="1269668"/>
                </a:moveTo>
                <a:lnTo>
                  <a:pt x="1326087" y="1269996"/>
                </a:lnTo>
                <a:lnTo>
                  <a:pt x="1325727" y="1272160"/>
                </a:lnTo>
                <a:lnTo>
                  <a:pt x="1325404" y="1271591"/>
                </a:lnTo>
                <a:lnTo>
                  <a:pt x="1325326" y="1270475"/>
                </a:lnTo>
                <a:close/>
                <a:moveTo>
                  <a:pt x="291093" y="1269086"/>
                </a:moveTo>
                <a:cubicBezTo>
                  <a:pt x="283348" y="1267264"/>
                  <a:pt x="276059" y="1267264"/>
                  <a:pt x="269682" y="1270908"/>
                </a:cubicBezTo>
                <a:cubicBezTo>
                  <a:pt x="271504" y="1270908"/>
                  <a:pt x="275149" y="1274552"/>
                  <a:pt x="278793" y="1274552"/>
                </a:cubicBezTo>
                <a:cubicBezTo>
                  <a:pt x="280615" y="1274552"/>
                  <a:pt x="278793" y="1272730"/>
                  <a:pt x="276971" y="1270908"/>
                </a:cubicBezTo>
                <a:cubicBezTo>
                  <a:pt x="280615" y="1274552"/>
                  <a:pt x="284259" y="1276374"/>
                  <a:pt x="287904" y="1278196"/>
                </a:cubicBezTo>
                <a:cubicBezTo>
                  <a:pt x="289726" y="1278196"/>
                  <a:pt x="286082" y="1274552"/>
                  <a:pt x="289726" y="1274552"/>
                </a:cubicBezTo>
                <a:cubicBezTo>
                  <a:pt x="286082" y="1281841"/>
                  <a:pt x="298837" y="1285485"/>
                  <a:pt x="304303" y="1287307"/>
                </a:cubicBezTo>
                <a:cubicBezTo>
                  <a:pt x="309771" y="1287307"/>
                  <a:pt x="309771" y="1280018"/>
                  <a:pt x="315236" y="1278196"/>
                </a:cubicBezTo>
                <a:cubicBezTo>
                  <a:pt x="307036" y="1274552"/>
                  <a:pt x="298837" y="1270908"/>
                  <a:pt x="291093" y="1269086"/>
                </a:cubicBezTo>
                <a:close/>
                <a:moveTo>
                  <a:pt x="1304677" y="1269085"/>
                </a:moveTo>
                <a:cubicBezTo>
                  <a:pt x="1295566" y="1269085"/>
                  <a:pt x="1299210" y="1281841"/>
                  <a:pt x="1306499" y="1283663"/>
                </a:cubicBezTo>
                <a:cubicBezTo>
                  <a:pt x="1308321" y="1280018"/>
                  <a:pt x="1308321" y="1274552"/>
                  <a:pt x="1304677" y="1269085"/>
                </a:cubicBezTo>
                <a:close/>
                <a:moveTo>
                  <a:pt x="1051395" y="1269085"/>
                </a:moveTo>
                <a:cubicBezTo>
                  <a:pt x="1058683" y="1281841"/>
                  <a:pt x="1071439" y="1289129"/>
                  <a:pt x="1080549" y="1296418"/>
                </a:cubicBezTo>
                <a:cubicBezTo>
                  <a:pt x="1076905" y="1296418"/>
                  <a:pt x="1075083" y="1294596"/>
                  <a:pt x="1073262" y="1292774"/>
                </a:cubicBezTo>
                <a:cubicBezTo>
                  <a:pt x="1075083" y="1296418"/>
                  <a:pt x="1078727" y="1303707"/>
                  <a:pt x="1084194" y="1305529"/>
                </a:cubicBezTo>
                <a:cubicBezTo>
                  <a:pt x="1086016" y="1307351"/>
                  <a:pt x="1089660" y="1318284"/>
                  <a:pt x="1093305" y="1316462"/>
                </a:cubicBezTo>
                <a:cubicBezTo>
                  <a:pt x="1091484" y="1320106"/>
                  <a:pt x="1098771" y="1329217"/>
                  <a:pt x="1100593" y="1331039"/>
                </a:cubicBezTo>
                <a:cubicBezTo>
                  <a:pt x="1104238" y="1327395"/>
                  <a:pt x="1100593" y="1327395"/>
                  <a:pt x="1098771" y="1325573"/>
                </a:cubicBezTo>
                <a:cubicBezTo>
                  <a:pt x="1100593" y="1325573"/>
                  <a:pt x="1102416" y="1325573"/>
                  <a:pt x="1102416" y="1325573"/>
                </a:cubicBezTo>
                <a:cubicBezTo>
                  <a:pt x="1104238" y="1323751"/>
                  <a:pt x="1100593" y="1321929"/>
                  <a:pt x="1098771" y="1318284"/>
                </a:cubicBezTo>
                <a:cubicBezTo>
                  <a:pt x="1100593" y="1318284"/>
                  <a:pt x="1100593" y="1321929"/>
                  <a:pt x="1102416" y="1321929"/>
                </a:cubicBezTo>
                <a:cubicBezTo>
                  <a:pt x="1102416" y="1314640"/>
                  <a:pt x="1095127" y="1307351"/>
                  <a:pt x="1087838" y="1301885"/>
                </a:cubicBezTo>
                <a:cubicBezTo>
                  <a:pt x="1091484" y="1301885"/>
                  <a:pt x="1093305" y="1305529"/>
                  <a:pt x="1096949" y="1303707"/>
                </a:cubicBezTo>
                <a:cubicBezTo>
                  <a:pt x="1096949" y="1296418"/>
                  <a:pt x="1093305" y="1290951"/>
                  <a:pt x="1086016" y="1285485"/>
                </a:cubicBezTo>
                <a:cubicBezTo>
                  <a:pt x="1089660" y="1285485"/>
                  <a:pt x="1091484" y="1289129"/>
                  <a:pt x="1093305" y="1289129"/>
                </a:cubicBezTo>
                <a:cubicBezTo>
                  <a:pt x="1093305" y="1280018"/>
                  <a:pt x="1082373" y="1281841"/>
                  <a:pt x="1080549" y="1278196"/>
                </a:cubicBezTo>
                <a:cubicBezTo>
                  <a:pt x="1080549" y="1280018"/>
                  <a:pt x="1082373" y="1280018"/>
                  <a:pt x="1082373" y="1281841"/>
                </a:cubicBezTo>
                <a:cubicBezTo>
                  <a:pt x="1075083" y="1278196"/>
                  <a:pt x="1064151" y="1272730"/>
                  <a:pt x="1058683" y="1269085"/>
                </a:cubicBezTo>
                <a:cubicBezTo>
                  <a:pt x="1056861" y="1267263"/>
                  <a:pt x="1053217" y="1267263"/>
                  <a:pt x="1051395" y="1269085"/>
                </a:cubicBezTo>
                <a:close/>
                <a:moveTo>
                  <a:pt x="901976" y="1269085"/>
                </a:moveTo>
                <a:cubicBezTo>
                  <a:pt x="898333" y="1269085"/>
                  <a:pt x="898333" y="1274552"/>
                  <a:pt x="896510" y="1274552"/>
                </a:cubicBezTo>
                <a:cubicBezTo>
                  <a:pt x="898333" y="1276374"/>
                  <a:pt x="900154" y="1270908"/>
                  <a:pt x="901976" y="1269085"/>
                </a:cubicBezTo>
                <a:close/>
                <a:moveTo>
                  <a:pt x="732515" y="1269085"/>
                </a:moveTo>
                <a:cubicBezTo>
                  <a:pt x="732515" y="1270908"/>
                  <a:pt x="734336" y="1276374"/>
                  <a:pt x="736159" y="1272730"/>
                </a:cubicBezTo>
                <a:cubicBezTo>
                  <a:pt x="736159" y="1270908"/>
                  <a:pt x="734336" y="1270908"/>
                  <a:pt x="732515" y="1269085"/>
                </a:cubicBezTo>
                <a:close/>
                <a:moveTo>
                  <a:pt x="712470" y="1269085"/>
                </a:moveTo>
                <a:cubicBezTo>
                  <a:pt x="708826" y="1278196"/>
                  <a:pt x="714293" y="1280018"/>
                  <a:pt x="721581" y="1280018"/>
                </a:cubicBezTo>
                <a:cubicBezTo>
                  <a:pt x="721581" y="1274552"/>
                  <a:pt x="721581" y="1270908"/>
                  <a:pt x="717937" y="1269085"/>
                </a:cubicBezTo>
                <a:cubicBezTo>
                  <a:pt x="714293" y="1272730"/>
                  <a:pt x="714293" y="1270908"/>
                  <a:pt x="712470" y="1269085"/>
                </a:cubicBezTo>
                <a:close/>
                <a:moveTo>
                  <a:pt x="2477611" y="1267445"/>
                </a:moveTo>
                <a:lnTo>
                  <a:pt x="2478157" y="1269085"/>
                </a:lnTo>
                <a:lnTo>
                  <a:pt x="2477505" y="1267453"/>
                </a:lnTo>
                <a:close/>
                <a:moveTo>
                  <a:pt x="1279166" y="1267263"/>
                </a:moveTo>
                <a:cubicBezTo>
                  <a:pt x="1277344" y="1267263"/>
                  <a:pt x="1275522" y="1267263"/>
                  <a:pt x="1273700" y="1269085"/>
                </a:cubicBezTo>
                <a:cubicBezTo>
                  <a:pt x="1277344" y="1270908"/>
                  <a:pt x="1279166" y="1274552"/>
                  <a:pt x="1280989" y="1272730"/>
                </a:cubicBezTo>
                <a:cubicBezTo>
                  <a:pt x="1279166" y="1270908"/>
                  <a:pt x="1280989" y="1269085"/>
                  <a:pt x="1279166" y="1267263"/>
                </a:cubicBezTo>
                <a:close/>
                <a:moveTo>
                  <a:pt x="1024062" y="1267263"/>
                </a:moveTo>
                <a:cubicBezTo>
                  <a:pt x="1025884" y="1267263"/>
                  <a:pt x="1027707" y="1272730"/>
                  <a:pt x="1027707" y="1274552"/>
                </a:cubicBezTo>
                <a:cubicBezTo>
                  <a:pt x="1027707" y="1274552"/>
                  <a:pt x="1022240" y="1269085"/>
                  <a:pt x="1024062" y="1267263"/>
                </a:cubicBezTo>
                <a:close/>
                <a:moveTo>
                  <a:pt x="768959" y="1267263"/>
                </a:moveTo>
                <a:cubicBezTo>
                  <a:pt x="763491" y="1265441"/>
                  <a:pt x="763491" y="1278196"/>
                  <a:pt x="768959" y="1276374"/>
                </a:cubicBezTo>
                <a:cubicBezTo>
                  <a:pt x="770781" y="1272730"/>
                  <a:pt x="767136" y="1270908"/>
                  <a:pt x="768959" y="1267263"/>
                </a:cubicBezTo>
                <a:close/>
                <a:moveTo>
                  <a:pt x="747092" y="1267263"/>
                </a:moveTo>
                <a:cubicBezTo>
                  <a:pt x="745269" y="1272730"/>
                  <a:pt x="750737" y="1270908"/>
                  <a:pt x="752558" y="1267263"/>
                </a:cubicBezTo>
                <a:cubicBezTo>
                  <a:pt x="750737" y="1265441"/>
                  <a:pt x="748914" y="1267263"/>
                  <a:pt x="747092" y="1267263"/>
                </a:cubicBezTo>
                <a:close/>
                <a:moveTo>
                  <a:pt x="610429" y="1267263"/>
                </a:moveTo>
                <a:cubicBezTo>
                  <a:pt x="608606" y="1265441"/>
                  <a:pt x="606784" y="1269085"/>
                  <a:pt x="604963" y="1269085"/>
                </a:cubicBezTo>
                <a:cubicBezTo>
                  <a:pt x="604963" y="1272730"/>
                  <a:pt x="608606" y="1269085"/>
                  <a:pt x="610429" y="1267263"/>
                </a:cubicBezTo>
                <a:close/>
                <a:moveTo>
                  <a:pt x="553941" y="1267263"/>
                </a:moveTo>
                <a:cubicBezTo>
                  <a:pt x="552119" y="1269085"/>
                  <a:pt x="550297" y="1269085"/>
                  <a:pt x="550297" y="1270908"/>
                </a:cubicBezTo>
                <a:cubicBezTo>
                  <a:pt x="552119" y="1272730"/>
                  <a:pt x="555763" y="1269085"/>
                  <a:pt x="553941" y="1267263"/>
                </a:cubicBezTo>
                <a:close/>
                <a:moveTo>
                  <a:pt x="512031" y="1267263"/>
                </a:moveTo>
                <a:cubicBezTo>
                  <a:pt x="497454" y="1267263"/>
                  <a:pt x="512031" y="1270908"/>
                  <a:pt x="513853" y="1270908"/>
                </a:cubicBezTo>
                <a:cubicBezTo>
                  <a:pt x="515676" y="1269085"/>
                  <a:pt x="510209" y="1269085"/>
                  <a:pt x="512031" y="1267263"/>
                </a:cubicBezTo>
                <a:close/>
                <a:moveTo>
                  <a:pt x="464655" y="1267263"/>
                </a:moveTo>
                <a:cubicBezTo>
                  <a:pt x="459188" y="1267263"/>
                  <a:pt x="455544" y="1272730"/>
                  <a:pt x="450077" y="1276374"/>
                </a:cubicBezTo>
                <a:cubicBezTo>
                  <a:pt x="455544" y="1278196"/>
                  <a:pt x="446433" y="1278196"/>
                  <a:pt x="444611" y="1283663"/>
                </a:cubicBezTo>
                <a:cubicBezTo>
                  <a:pt x="451899" y="1294596"/>
                  <a:pt x="459188" y="1309173"/>
                  <a:pt x="470121" y="1292774"/>
                </a:cubicBezTo>
                <a:cubicBezTo>
                  <a:pt x="471943" y="1290951"/>
                  <a:pt x="473766" y="1290951"/>
                  <a:pt x="475589" y="1289129"/>
                </a:cubicBezTo>
                <a:cubicBezTo>
                  <a:pt x="475589" y="1289129"/>
                  <a:pt x="473766" y="1287307"/>
                  <a:pt x="473766" y="1287307"/>
                </a:cubicBezTo>
                <a:cubicBezTo>
                  <a:pt x="475589" y="1289129"/>
                  <a:pt x="477410" y="1290951"/>
                  <a:pt x="477410" y="1289129"/>
                </a:cubicBezTo>
                <a:cubicBezTo>
                  <a:pt x="477410" y="1287307"/>
                  <a:pt x="477410" y="1285485"/>
                  <a:pt x="477410" y="1283663"/>
                </a:cubicBezTo>
                <a:cubicBezTo>
                  <a:pt x="473766" y="1280018"/>
                  <a:pt x="466478" y="1280018"/>
                  <a:pt x="461010" y="1281841"/>
                </a:cubicBezTo>
                <a:cubicBezTo>
                  <a:pt x="464655" y="1287307"/>
                  <a:pt x="473766" y="1285485"/>
                  <a:pt x="470121" y="1292774"/>
                </a:cubicBezTo>
                <a:cubicBezTo>
                  <a:pt x="473766" y="1289129"/>
                  <a:pt x="462832" y="1283663"/>
                  <a:pt x="455544" y="1278196"/>
                </a:cubicBezTo>
                <a:cubicBezTo>
                  <a:pt x="461010" y="1280018"/>
                  <a:pt x="466478" y="1281841"/>
                  <a:pt x="470121" y="1276374"/>
                </a:cubicBezTo>
                <a:cubicBezTo>
                  <a:pt x="471943" y="1272730"/>
                  <a:pt x="468299" y="1269085"/>
                  <a:pt x="464655" y="1267263"/>
                </a:cubicBezTo>
                <a:close/>
                <a:moveTo>
                  <a:pt x="215017" y="1267263"/>
                </a:moveTo>
                <a:cubicBezTo>
                  <a:pt x="216839" y="1270908"/>
                  <a:pt x="220483" y="1272730"/>
                  <a:pt x="222306" y="1272730"/>
                </a:cubicBezTo>
                <a:cubicBezTo>
                  <a:pt x="220483" y="1278196"/>
                  <a:pt x="222306" y="1278196"/>
                  <a:pt x="225950" y="1278196"/>
                </a:cubicBezTo>
                <a:lnTo>
                  <a:pt x="225950" y="1272730"/>
                </a:lnTo>
                <a:lnTo>
                  <a:pt x="224583" y="1271363"/>
                </a:lnTo>
                <a:cubicBezTo>
                  <a:pt x="221394" y="1269997"/>
                  <a:pt x="217751" y="1269086"/>
                  <a:pt x="215017" y="1267263"/>
                </a:cubicBezTo>
                <a:close/>
                <a:moveTo>
                  <a:pt x="2818398" y="1267066"/>
                </a:moveTo>
                <a:lnTo>
                  <a:pt x="2818903" y="1267263"/>
                </a:lnTo>
                <a:lnTo>
                  <a:pt x="2818552" y="1267614"/>
                </a:lnTo>
                <a:close/>
                <a:moveTo>
                  <a:pt x="157734" y="1267028"/>
                </a:moveTo>
                <a:lnTo>
                  <a:pt x="162174" y="1270535"/>
                </a:lnTo>
                <a:lnTo>
                  <a:pt x="160352" y="1269768"/>
                </a:lnTo>
                <a:close/>
                <a:moveTo>
                  <a:pt x="907671" y="1265669"/>
                </a:moveTo>
                <a:cubicBezTo>
                  <a:pt x="906077" y="1266352"/>
                  <a:pt x="904710" y="1268175"/>
                  <a:pt x="903799" y="1270908"/>
                </a:cubicBezTo>
                <a:cubicBezTo>
                  <a:pt x="905621" y="1270908"/>
                  <a:pt x="907444" y="1272730"/>
                  <a:pt x="909265" y="1272730"/>
                </a:cubicBezTo>
                <a:cubicBezTo>
                  <a:pt x="909265" y="1270908"/>
                  <a:pt x="911087" y="1269085"/>
                  <a:pt x="912909" y="1267263"/>
                </a:cubicBezTo>
                <a:cubicBezTo>
                  <a:pt x="911087" y="1265441"/>
                  <a:pt x="909265" y="1264986"/>
                  <a:pt x="907671" y="1265669"/>
                </a:cubicBezTo>
                <a:close/>
                <a:moveTo>
                  <a:pt x="519940" y="1265596"/>
                </a:moveTo>
                <a:lnTo>
                  <a:pt x="526609" y="1267263"/>
                </a:lnTo>
                <a:lnTo>
                  <a:pt x="524040" y="1268547"/>
                </a:lnTo>
                <a:close/>
                <a:moveTo>
                  <a:pt x="1240901" y="1265441"/>
                </a:moveTo>
                <a:cubicBezTo>
                  <a:pt x="1242723" y="1270908"/>
                  <a:pt x="1242723" y="1276374"/>
                  <a:pt x="1246367" y="1281841"/>
                </a:cubicBezTo>
                <a:cubicBezTo>
                  <a:pt x="1246367" y="1280018"/>
                  <a:pt x="1246367" y="1280018"/>
                  <a:pt x="1248189" y="1278196"/>
                </a:cubicBezTo>
                <a:cubicBezTo>
                  <a:pt x="1246367" y="1276374"/>
                  <a:pt x="1250012" y="1272730"/>
                  <a:pt x="1246367" y="1272730"/>
                </a:cubicBezTo>
                <a:cubicBezTo>
                  <a:pt x="1245456" y="1271819"/>
                  <a:pt x="1245911" y="1271819"/>
                  <a:pt x="1246595" y="1271819"/>
                </a:cubicBezTo>
                <a:lnTo>
                  <a:pt x="1248148" y="1270931"/>
                </a:lnTo>
                <a:lnTo>
                  <a:pt x="1248218" y="1270985"/>
                </a:lnTo>
                <a:lnTo>
                  <a:pt x="1249328" y="1273869"/>
                </a:lnTo>
                <a:cubicBezTo>
                  <a:pt x="1249556" y="1275007"/>
                  <a:pt x="1250011" y="1276374"/>
                  <a:pt x="1251834" y="1278196"/>
                </a:cubicBezTo>
                <a:cubicBezTo>
                  <a:pt x="1252745" y="1275463"/>
                  <a:pt x="1250923" y="1273185"/>
                  <a:pt x="1248417" y="1271135"/>
                </a:cubicBezTo>
                <a:lnTo>
                  <a:pt x="1248218" y="1270985"/>
                </a:lnTo>
                <a:lnTo>
                  <a:pt x="1248189" y="1270908"/>
                </a:lnTo>
                <a:lnTo>
                  <a:pt x="1248148" y="1270931"/>
                </a:lnTo>
                <a:close/>
                <a:moveTo>
                  <a:pt x="1155259" y="1265441"/>
                </a:moveTo>
                <a:cubicBezTo>
                  <a:pt x="1153436" y="1265441"/>
                  <a:pt x="1153436" y="1267263"/>
                  <a:pt x="1153436" y="1269085"/>
                </a:cubicBezTo>
                <a:cubicBezTo>
                  <a:pt x="1157081" y="1270908"/>
                  <a:pt x="1157081" y="1270908"/>
                  <a:pt x="1157081" y="1274552"/>
                </a:cubicBezTo>
                <a:cubicBezTo>
                  <a:pt x="1162547" y="1274552"/>
                  <a:pt x="1160725" y="1263619"/>
                  <a:pt x="1155259" y="1265441"/>
                </a:cubicBezTo>
                <a:close/>
                <a:moveTo>
                  <a:pt x="402701" y="1265441"/>
                </a:moveTo>
                <a:lnTo>
                  <a:pt x="402923" y="1265508"/>
                </a:lnTo>
                <a:lnTo>
                  <a:pt x="412294" y="1270907"/>
                </a:lnTo>
                <a:lnTo>
                  <a:pt x="411812" y="1270907"/>
                </a:lnTo>
                <a:cubicBezTo>
                  <a:pt x="409078" y="1269541"/>
                  <a:pt x="406345" y="1267263"/>
                  <a:pt x="402701" y="1265441"/>
                </a:cubicBezTo>
                <a:close/>
                <a:moveTo>
                  <a:pt x="402017" y="1264986"/>
                </a:moveTo>
                <a:cubicBezTo>
                  <a:pt x="397690" y="1263164"/>
                  <a:pt x="393590" y="1262708"/>
                  <a:pt x="389946" y="1265441"/>
                </a:cubicBezTo>
                <a:cubicBezTo>
                  <a:pt x="393590" y="1270908"/>
                  <a:pt x="397234" y="1269085"/>
                  <a:pt x="402701" y="1270908"/>
                </a:cubicBezTo>
                <a:cubicBezTo>
                  <a:pt x="404523" y="1270908"/>
                  <a:pt x="400879" y="1269085"/>
                  <a:pt x="399056" y="1267263"/>
                </a:cubicBezTo>
                <a:cubicBezTo>
                  <a:pt x="404523" y="1265441"/>
                  <a:pt x="409989" y="1278196"/>
                  <a:pt x="415456" y="1272730"/>
                </a:cubicBezTo>
                <a:lnTo>
                  <a:pt x="412294" y="1270907"/>
                </a:lnTo>
                <a:lnTo>
                  <a:pt x="420923" y="1270908"/>
                </a:lnTo>
                <a:lnTo>
                  <a:pt x="402923" y="1265508"/>
                </a:lnTo>
                <a:close/>
                <a:moveTo>
                  <a:pt x="697134" y="1264378"/>
                </a:moveTo>
                <a:lnTo>
                  <a:pt x="694096" y="1267416"/>
                </a:lnTo>
                <a:lnTo>
                  <a:pt x="694932" y="1265669"/>
                </a:lnTo>
                <a:close/>
                <a:moveTo>
                  <a:pt x="3163294" y="1263619"/>
                </a:moveTo>
                <a:cubicBezTo>
                  <a:pt x="3163294" y="1267263"/>
                  <a:pt x="3163294" y="1269085"/>
                  <a:pt x="3166939" y="1269085"/>
                </a:cubicBezTo>
                <a:cubicBezTo>
                  <a:pt x="3166939" y="1267263"/>
                  <a:pt x="3166939" y="1265441"/>
                  <a:pt x="3166939" y="1263619"/>
                </a:cubicBezTo>
                <a:cubicBezTo>
                  <a:pt x="3165116" y="1263619"/>
                  <a:pt x="3163294" y="1263619"/>
                  <a:pt x="3163294" y="1263619"/>
                </a:cubicBezTo>
                <a:close/>
                <a:moveTo>
                  <a:pt x="1344765" y="1263619"/>
                </a:moveTo>
                <a:cubicBezTo>
                  <a:pt x="1346587" y="1267263"/>
                  <a:pt x="1346587" y="1270908"/>
                  <a:pt x="1341120" y="1274552"/>
                </a:cubicBezTo>
                <a:cubicBezTo>
                  <a:pt x="1341120" y="1274552"/>
                  <a:pt x="1339299" y="1272730"/>
                  <a:pt x="1339299" y="1272730"/>
                </a:cubicBezTo>
                <a:cubicBezTo>
                  <a:pt x="1341120" y="1274552"/>
                  <a:pt x="1341120" y="1276374"/>
                  <a:pt x="1339299" y="1276374"/>
                </a:cubicBezTo>
                <a:cubicBezTo>
                  <a:pt x="1333832" y="1272730"/>
                  <a:pt x="1339299" y="1267263"/>
                  <a:pt x="1344765" y="1263619"/>
                </a:cubicBezTo>
                <a:close/>
                <a:moveTo>
                  <a:pt x="1311966" y="1263619"/>
                </a:moveTo>
                <a:cubicBezTo>
                  <a:pt x="1310143" y="1263619"/>
                  <a:pt x="1310143" y="1265441"/>
                  <a:pt x="1308321" y="1265441"/>
                </a:cubicBezTo>
                <a:cubicBezTo>
                  <a:pt x="1311966" y="1269085"/>
                  <a:pt x="1310143" y="1270908"/>
                  <a:pt x="1311966" y="1272730"/>
                </a:cubicBezTo>
                <a:cubicBezTo>
                  <a:pt x="1311966" y="1269085"/>
                  <a:pt x="1311966" y="1265441"/>
                  <a:pt x="1311966" y="1263619"/>
                </a:cubicBezTo>
                <a:close/>
                <a:moveTo>
                  <a:pt x="1016774" y="1263619"/>
                </a:moveTo>
                <a:cubicBezTo>
                  <a:pt x="1020418" y="1269085"/>
                  <a:pt x="1022240" y="1269085"/>
                  <a:pt x="1027707" y="1274552"/>
                </a:cubicBezTo>
                <a:cubicBezTo>
                  <a:pt x="1045929" y="1303707"/>
                  <a:pt x="1067794" y="1310995"/>
                  <a:pt x="1087838" y="1331039"/>
                </a:cubicBezTo>
                <a:cubicBezTo>
                  <a:pt x="1093305" y="1316462"/>
                  <a:pt x="1071439" y="1294596"/>
                  <a:pt x="1058683" y="1289129"/>
                </a:cubicBezTo>
                <a:cubicBezTo>
                  <a:pt x="1060506" y="1285485"/>
                  <a:pt x="1062328" y="1290951"/>
                  <a:pt x="1064151" y="1289129"/>
                </a:cubicBezTo>
                <a:cubicBezTo>
                  <a:pt x="1062328" y="1285485"/>
                  <a:pt x="1058683" y="1283663"/>
                  <a:pt x="1056861" y="1281841"/>
                </a:cubicBezTo>
                <a:cubicBezTo>
                  <a:pt x="1055040" y="1278196"/>
                  <a:pt x="1049573" y="1274552"/>
                  <a:pt x="1047750" y="1272730"/>
                </a:cubicBezTo>
                <a:cubicBezTo>
                  <a:pt x="1047750" y="1276374"/>
                  <a:pt x="1053217" y="1281841"/>
                  <a:pt x="1056861" y="1281841"/>
                </a:cubicBezTo>
                <a:cubicBezTo>
                  <a:pt x="1055040" y="1283663"/>
                  <a:pt x="1056861" y="1285485"/>
                  <a:pt x="1058683" y="1287307"/>
                </a:cubicBezTo>
                <a:cubicBezTo>
                  <a:pt x="1047750" y="1287307"/>
                  <a:pt x="1047750" y="1272730"/>
                  <a:pt x="1042284" y="1267263"/>
                </a:cubicBezTo>
                <a:cubicBezTo>
                  <a:pt x="1036818" y="1261797"/>
                  <a:pt x="1031351" y="1267263"/>
                  <a:pt x="1024062" y="1263619"/>
                </a:cubicBezTo>
                <a:cubicBezTo>
                  <a:pt x="1022240" y="1263619"/>
                  <a:pt x="1024062" y="1265441"/>
                  <a:pt x="1024062" y="1265441"/>
                </a:cubicBezTo>
                <a:cubicBezTo>
                  <a:pt x="1022240" y="1263619"/>
                  <a:pt x="1018596" y="1261797"/>
                  <a:pt x="1016774" y="1263619"/>
                </a:cubicBezTo>
                <a:close/>
                <a:moveTo>
                  <a:pt x="1007663" y="1263619"/>
                </a:moveTo>
                <a:cubicBezTo>
                  <a:pt x="1002196" y="1263619"/>
                  <a:pt x="994907" y="1265441"/>
                  <a:pt x="993085" y="1272730"/>
                </a:cubicBezTo>
                <a:cubicBezTo>
                  <a:pt x="996729" y="1278196"/>
                  <a:pt x="1002196" y="1276374"/>
                  <a:pt x="1005840" y="1280018"/>
                </a:cubicBezTo>
                <a:cubicBezTo>
                  <a:pt x="1007663" y="1278196"/>
                  <a:pt x="1005840" y="1278196"/>
                  <a:pt x="1007663" y="1276374"/>
                </a:cubicBezTo>
                <a:cubicBezTo>
                  <a:pt x="1014951" y="1285485"/>
                  <a:pt x="1031351" y="1290951"/>
                  <a:pt x="1044106" y="1296418"/>
                </a:cubicBezTo>
                <a:cubicBezTo>
                  <a:pt x="1033173" y="1283663"/>
                  <a:pt x="1020418" y="1272730"/>
                  <a:pt x="1007663" y="1263619"/>
                </a:cubicBezTo>
                <a:close/>
                <a:moveTo>
                  <a:pt x="737981" y="1263619"/>
                </a:moveTo>
                <a:cubicBezTo>
                  <a:pt x="736159" y="1265441"/>
                  <a:pt x="739803" y="1265441"/>
                  <a:pt x="741626" y="1267263"/>
                </a:cubicBezTo>
                <a:cubicBezTo>
                  <a:pt x="741626" y="1263619"/>
                  <a:pt x="737981" y="1265441"/>
                  <a:pt x="737981" y="1263619"/>
                </a:cubicBezTo>
                <a:close/>
                <a:moveTo>
                  <a:pt x="251929" y="1263330"/>
                </a:moveTo>
                <a:lnTo>
                  <a:pt x="266762" y="1270532"/>
                </a:lnTo>
                <a:lnTo>
                  <a:pt x="267860" y="1272730"/>
                </a:lnTo>
                <a:cubicBezTo>
                  <a:pt x="260571" y="1269085"/>
                  <a:pt x="255105" y="1267263"/>
                  <a:pt x="251460" y="1263619"/>
                </a:cubicBezTo>
                <a:close/>
                <a:moveTo>
                  <a:pt x="726137" y="1263164"/>
                </a:moveTo>
                <a:cubicBezTo>
                  <a:pt x="725226" y="1263164"/>
                  <a:pt x="724315" y="1263619"/>
                  <a:pt x="723404" y="1263619"/>
                </a:cubicBezTo>
                <a:cubicBezTo>
                  <a:pt x="721581" y="1269085"/>
                  <a:pt x="730692" y="1281841"/>
                  <a:pt x="736159" y="1276374"/>
                </a:cubicBezTo>
                <a:cubicBezTo>
                  <a:pt x="734336" y="1269085"/>
                  <a:pt x="728870" y="1270908"/>
                  <a:pt x="725226" y="1265441"/>
                </a:cubicBezTo>
                <a:cubicBezTo>
                  <a:pt x="727048" y="1265441"/>
                  <a:pt x="727048" y="1267263"/>
                  <a:pt x="728870" y="1265441"/>
                </a:cubicBezTo>
                <a:cubicBezTo>
                  <a:pt x="727959" y="1263619"/>
                  <a:pt x="727048" y="1263164"/>
                  <a:pt x="726137" y="1263164"/>
                </a:cubicBezTo>
                <a:close/>
                <a:moveTo>
                  <a:pt x="667172" y="1262594"/>
                </a:moveTo>
                <a:cubicBezTo>
                  <a:pt x="665207" y="1263049"/>
                  <a:pt x="663271" y="1264985"/>
                  <a:pt x="661449" y="1269085"/>
                </a:cubicBezTo>
                <a:cubicBezTo>
                  <a:pt x="661449" y="1270908"/>
                  <a:pt x="665094" y="1276374"/>
                  <a:pt x="665094" y="1280018"/>
                </a:cubicBezTo>
                <a:cubicBezTo>
                  <a:pt x="666916" y="1281841"/>
                  <a:pt x="674205" y="1287307"/>
                  <a:pt x="672383" y="1280018"/>
                </a:cubicBezTo>
                <a:cubicBezTo>
                  <a:pt x="676027" y="1278196"/>
                  <a:pt x="674205" y="1285485"/>
                  <a:pt x="677849" y="1281841"/>
                </a:cubicBezTo>
                <a:cubicBezTo>
                  <a:pt x="674205" y="1278196"/>
                  <a:pt x="668738" y="1274552"/>
                  <a:pt x="668738" y="1267263"/>
                </a:cubicBezTo>
                <a:cubicBezTo>
                  <a:pt x="672383" y="1270908"/>
                  <a:pt x="674205" y="1280018"/>
                  <a:pt x="683316" y="1280018"/>
                </a:cubicBezTo>
                <a:cubicBezTo>
                  <a:pt x="679216" y="1273185"/>
                  <a:pt x="673066" y="1261227"/>
                  <a:pt x="667172" y="1262594"/>
                </a:cubicBezTo>
                <a:close/>
                <a:moveTo>
                  <a:pt x="3132317" y="1261797"/>
                </a:moveTo>
                <a:cubicBezTo>
                  <a:pt x="3125029" y="1258152"/>
                  <a:pt x="3125029" y="1267263"/>
                  <a:pt x="3125029" y="1270908"/>
                </a:cubicBezTo>
                <a:cubicBezTo>
                  <a:pt x="3121384" y="1270908"/>
                  <a:pt x="3121384" y="1265441"/>
                  <a:pt x="3114096" y="1267263"/>
                </a:cubicBezTo>
                <a:cubicBezTo>
                  <a:pt x="3114096" y="1276374"/>
                  <a:pt x="3103163" y="1269085"/>
                  <a:pt x="3097696" y="1274552"/>
                </a:cubicBezTo>
                <a:cubicBezTo>
                  <a:pt x="3095874" y="1280018"/>
                  <a:pt x="3104985" y="1276374"/>
                  <a:pt x="3104985" y="1281841"/>
                </a:cubicBezTo>
                <a:cubicBezTo>
                  <a:pt x="3106807" y="1280018"/>
                  <a:pt x="3106807" y="1276374"/>
                  <a:pt x="3106807" y="1274552"/>
                </a:cubicBezTo>
                <a:cubicBezTo>
                  <a:pt x="3110451" y="1276374"/>
                  <a:pt x="3106807" y="1283663"/>
                  <a:pt x="3104985" y="1285485"/>
                </a:cubicBezTo>
                <a:cubicBezTo>
                  <a:pt x="3110451" y="1283663"/>
                  <a:pt x="3110451" y="1287307"/>
                  <a:pt x="3115918" y="1289129"/>
                </a:cubicBezTo>
                <a:cubicBezTo>
                  <a:pt x="3115918" y="1285485"/>
                  <a:pt x="3115918" y="1280018"/>
                  <a:pt x="3114096" y="1278196"/>
                </a:cubicBezTo>
                <a:cubicBezTo>
                  <a:pt x="3116829" y="1278196"/>
                  <a:pt x="3118196" y="1281385"/>
                  <a:pt x="3118879" y="1285485"/>
                </a:cubicBezTo>
                <a:lnTo>
                  <a:pt x="3119473" y="1296572"/>
                </a:lnTo>
                <a:lnTo>
                  <a:pt x="3115918" y="1296418"/>
                </a:lnTo>
                <a:cubicBezTo>
                  <a:pt x="3119562" y="1298240"/>
                  <a:pt x="3117740" y="1305529"/>
                  <a:pt x="3123206" y="1307351"/>
                </a:cubicBezTo>
                <a:cubicBezTo>
                  <a:pt x="3130495" y="1305529"/>
                  <a:pt x="3137784" y="1301885"/>
                  <a:pt x="3134140" y="1294596"/>
                </a:cubicBezTo>
                <a:lnTo>
                  <a:pt x="3129218" y="1296043"/>
                </a:lnTo>
                <a:lnTo>
                  <a:pt x="3130495" y="1294596"/>
                </a:lnTo>
                <a:cubicBezTo>
                  <a:pt x="3126851" y="1294596"/>
                  <a:pt x="3125029" y="1294596"/>
                  <a:pt x="3123206" y="1292774"/>
                </a:cubicBezTo>
                <a:cubicBezTo>
                  <a:pt x="3125029" y="1290951"/>
                  <a:pt x="3128673" y="1290951"/>
                  <a:pt x="3126851" y="1285485"/>
                </a:cubicBezTo>
                <a:lnTo>
                  <a:pt x="3129281" y="1285485"/>
                </a:lnTo>
                <a:lnTo>
                  <a:pt x="3130164" y="1286810"/>
                </a:lnTo>
                <a:lnTo>
                  <a:pt x="3129584" y="1289130"/>
                </a:lnTo>
                <a:cubicBezTo>
                  <a:pt x="3129585" y="1290952"/>
                  <a:pt x="3130496" y="1292774"/>
                  <a:pt x="3134140" y="1292774"/>
                </a:cubicBezTo>
                <a:lnTo>
                  <a:pt x="3130164" y="1286810"/>
                </a:lnTo>
                <a:lnTo>
                  <a:pt x="3130495" y="1285485"/>
                </a:lnTo>
                <a:lnTo>
                  <a:pt x="3129281" y="1285485"/>
                </a:lnTo>
                <a:lnTo>
                  <a:pt x="3126851" y="1281841"/>
                </a:lnTo>
                <a:cubicBezTo>
                  <a:pt x="3132317" y="1280018"/>
                  <a:pt x="3130495" y="1274552"/>
                  <a:pt x="3132317" y="1270908"/>
                </a:cubicBezTo>
                <a:cubicBezTo>
                  <a:pt x="3130495" y="1269085"/>
                  <a:pt x="3128673" y="1269085"/>
                  <a:pt x="3126851" y="1269085"/>
                </a:cubicBezTo>
                <a:cubicBezTo>
                  <a:pt x="3128673" y="1265441"/>
                  <a:pt x="3132317" y="1265441"/>
                  <a:pt x="3132317" y="1261797"/>
                </a:cubicBezTo>
                <a:close/>
                <a:moveTo>
                  <a:pt x="1315610" y="1261797"/>
                </a:moveTo>
                <a:cubicBezTo>
                  <a:pt x="1313788" y="1263619"/>
                  <a:pt x="1313788" y="1269085"/>
                  <a:pt x="1315610" y="1272730"/>
                </a:cubicBezTo>
                <a:cubicBezTo>
                  <a:pt x="1317432" y="1269085"/>
                  <a:pt x="1319254" y="1265441"/>
                  <a:pt x="1317432" y="1261797"/>
                </a:cubicBezTo>
                <a:cubicBezTo>
                  <a:pt x="1317432" y="1261797"/>
                  <a:pt x="1315610" y="1261797"/>
                  <a:pt x="1315610" y="1261797"/>
                </a:cubicBezTo>
                <a:close/>
                <a:moveTo>
                  <a:pt x="1293744" y="1261797"/>
                </a:moveTo>
                <a:cubicBezTo>
                  <a:pt x="1291922" y="1265441"/>
                  <a:pt x="1282811" y="1261797"/>
                  <a:pt x="1282811" y="1269085"/>
                </a:cubicBezTo>
                <a:cubicBezTo>
                  <a:pt x="1286455" y="1272730"/>
                  <a:pt x="1290100" y="1272730"/>
                  <a:pt x="1293744" y="1274552"/>
                </a:cubicBezTo>
                <a:cubicBezTo>
                  <a:pt x="1295566" y="1272730"/>
                  <a:pt x="1295566" y="1270908"/>
                  <a:pt x="1293744" y="1269085"/>
                </a:cubicBezTo>
                <a:cubicBezTo>
                  <a:pt x="1295566" y="1267263"/>
                  <a:pt x="1295566" y="1270908"/>
                  <a:pt x="1297388" y="1270908"/>
                </a:cubicBezTo>
                <a:cubicBezTo>
                  <a:pt x="1299210" y="1267263"/>
                  <a:pt x="1297388" y="1269085"/>
                  <a:pt x="1301033" y="1267263"/>
                </a:cubicBezTo>
                <a:cubicBezTo>
                  <a:pt x="1301033" y="1263619"/>
                  <a:pt x="1297388" y="1263619"/>
                  <a:pt x="1293744" y="1261797"/>
                </a:cubicBezTo>
                <a:close/>
                <a:moveTo>
                  <a:pt x="1257300" y="1261797"/>
                </a:moveTo>
                <a:cubicBezTo>
                  <a:pt x="1255478" y="1265441"/>
                  <a:pt x="1253656" y="1269085"/>
                  <a:pt x="1257300" y="1272730"/>
                </a:cubicBezTo>
                <a:cubicBezTo>
                  <a:pt x="1257300" y="1272730"/>
                  <a:pt x="1259123" y="1270908"/>
                  <a:pt x="1259123" y="1270908"/>
                </a:cubicBezTo>
                <a:cubicBezTo>
                  <a:pt x="1259123" y="1272730"/>
                  <a:pt x="1259123" y="1272730"/>
                  <a:pt x="1259123" y="1274552"/>
                </a:cubicBezTo>
                <a:cubicBezTo>
                  <a:pt x="1262767" y="1274552"/>
                  <a:pt x="1266411" y="1270908"/>
                  <a:pt x="1270056" y="1269085"/>
                </a:cubicBezTo>
                <a:cubicBezTo>
                  <a:pt x="1268233" y="1267263"/>
                  <a:pt x="1268233" y="1269085"/>
                  <a:pt x="1266411" y="1267263"/>
                </a:cubicBezTo>
                <a:cubicBezTo>
                  <a:pt x="1264589" y="1267263"/>
                  <a:pt x="1264589" y="1269085"/>
                  <a:pt x="1262767" y="1269085"/>
                </a:cubicBezTo>
                <a:cubicBezTo>
                  <a:pt x="1264589" y="1265441"/>
                  <a:pt x="1260945" y="1265441"/>
                  <a:pt x="1257300" y="1261797"/>
                </a:cubicBezTo>
                <a:close/>
                <a:moveTo>
                  <a:pt x="1217213" y="1261797"/>
                </a:moveTo>
                <a:cubicBezTo>
                  <a:pt x="1219036" y="1261797"/>
                  <a:pt x="1219036" y="1269085"/>
                  <a:pt x="1220858" y="1263619"/>
                </a:cubicBezTo>
                <a:cubicBezTo>
                  <a:pt x="1222679" y="1265441"/>
                  <a:pt x="1219036" y="1267263"/>
                  <a:pt x="1219036" y="1269085"/>
                </a:cubicBezTo>
                <a:cubicBezTo>
                  <a:pt x="1219036" y="1267263"/>
                  <a:pt x="1217213" y="1263619"/>
                  <a:pt x="1217213" y="1261797"/>
                </a:cubicBezTo>
                <a:close/>
                <a:moveTo>
                  <a:pt x="1011307" y="1261797"/>
                </a:moveTo>
                <a:cubicBezTo>
                  <a:pt x="1009485" y="1265441"/>
                  <a:pt x="1018596" y="1269085"/>
                  <a:pt x="1020418" y="1269085"/>
                </a:cubicBezTo>
                <a:cubicBezTo>
                  <a:pt x="1016774" y="1265441"/>
                  <a:pt x="1014951" y="1261797"/>
                  <a:pt x="1011307" y="1261797"/>
                </a:cubicBezTo>
                <a:close/>
                <a:moveTo>
                  <a:pt x="781713" y="1261797"/>
                </a:moveTo>
                <a:cubicBezTo>
                  <a:pt x="783535" y="1263619"/>
                  <a:pt x="783535" y="1265441"/>
                  <a:pt x="783535" y="1267263"/>
                </a:cubicBezTo>
                <a:lnTo>
                  <a:pt x="785248" y="1263837"/>
                </a:lnTo>
                <a:lnTo>
                  <a:pt x="785403" y="1263926"/>
                </a:lnTo>
                <a:lnTo>
                  <a:pt x="786040" y="1268174"/>
                </a:lnTo>
                <a:cubicBezTo>
                  <a:pt x="784902" y="1269541"/>
                  <a:pt x="783535" y="1270907"/>
                  <a:pt x="785357" y="1272730"/>
                </a:cubicBezTo>
                <a:cubicBezTo>
                  <a:pt x="788091" y="1269996"/>
                  <a:pt x="788547" y="1267263"/>
                  <a:pt x="787635" y="1265213"/>
                </a:cubicBezTo>
                <a:lnTo>
                  <a:pt x="785403" y="1263926"/>
                </a:lnTo>
                <a:lnTo>
                  <a:pt x="785357" y="1263619"/>
                </a:lnTo>
                <a:lnTo>
                  <a:pt x="785248" y="1263837"/>
                </a:lnTo>
                <a:close/>
                <a:moveTo>
                  <a:pt x="508387" y="1261797"/>
                </a:moveTo>
                <a:cubicBezTo>
                  <a:pt x="508387" y="1263619"/>
                  <a:pt x="513853" y="1265441"/>
                  <a:pt x="515676" y="1263619"/>
                </a:cubicBezTo>
                <a:cubicBezTo>
                  <a:pt x="513853" y="1259975"/>
                  <a:pt x="510209" y="1263619"/>
                  <a:pt x="508387" y="1261797"/>
                </a:cubicBezTo>
                <a:close/>
                <a:moveTo>
                  <a:pt x="409989" y="1261797"/>
                </a:moveTo>
                <a:cubicBezTo>
                  <a:pt x="408167" y="1265441"/>
                  <a:pt x="415456" y="1265441"/>
                  <a:pt x="417278" y="1265441"/>
                </a:cubicBezTo>
                <a:cubicBezTo>
                  <a:pt x="413634" y="1261797"/>
                  <a:pt x="413634" y="1265441"/>
                  <a:pt x="409989" y="1261797"/>
                </a:cubicBezTo>
                <a:close/>
                <a:moveTo>
                  <a:pt x="1782276" y="1261498"/>
                </a:moveTo>
                <a:lnTo>
                  <a:pt x="1787552" y="1270996"/>
                </a:lnTo>
                <a:lnTo>
                  <a:pt x="1786495" y="1270996"/>
                </a:lnTo>
                <a:lnTo>
                  <a:pt x="1789376" y="1278196"/>
                </a:lnTo>
                <a:cubicBezTo>
                  <a:pt x="1793020" y="1278196"/>
                  <a:pt x="1794842" y="1281841"/>
                  <a:pt x="1796664" y="1283663"/>
                </a:cubicBezTo>
                <a:close/>
                <a:moveTo>
                  <a:pt x="1133848" y="1260886"/>
                </a:moveTo>
                <a:cubicBezTo>
                  <a:pt x="1131115" y="1261341"/>
                  <a:pt x="1128838" y="1263619"/>
                  <a:pt x="1127926" y="1267263"/>
                </a:cubicBezTo>
                <a:cubicBezTo>
                  <a:pt x="1129748" y="1270908"/>
                  <a:pt x="1133393" y="1269085"/>
                  <a:pt x="1135215" y="1272730"/>
                </a:cubicBezTo>
                <a:lnTo>
                  <a:pt x="1138859" y="1269085"/>
                </a:lnTo>
                <a:lnTo>
                  <a:pt x="1140681" y="1278196"/>
                </a:lnTo>
                <a:cubicBezTo>
                  <a:pt x="1140681" y="1278196"/>
                  <a:pt x="1140681" y="1276374"/>
                  <a:pt x="1142503" y="1276374"/>
                </a:cubicBezTo>
                <a:cubicBezTo>
                  <a:pt x="1140681" y="1274552"/>
                  <a:pt x="1140681" y="1274552"/>
                  <a:pt x="1142503" y="1272730"/>
                </a:cubicBezTo>
                <a:cubicBezTo>
                  <a:pt x="1140681" y="1271819"/>
                  <a:pt x="1140225" y="1270908"/>
                  <a:pt x="1139998" y="1270224"/>
                </a:cubicBezTo>
                <a:lnTo>
                  <a:pt x="1138859" y="1269085"/>
                </a:lnTo>
                <a:lnTo>
                  <a:pt x="1142503" y="1265441"/>
                </a:lnTo>
                <a:cubicBezTo>
                  <a:pt x="1139770" y="1261796"/>
                  <a:pt x="1136581" y="1260430"/>
                  <a:pt x="1133848" y="1260886"/>
                </a:cubicBezTo>
                <a:close/>
                <a:moveTo>
                  <a:pt x="2940989" y="1260658"/>
                </a:moveTo>
                <a:cubicBezTo>
                  <a:pt x="2928689" y="1261797"/>
                  <a:pt x="2916390" y="1267264"/>
                  <a:pt x="2910012" y="1274552"/>
                </a:cubicBezTo>
                <a:cubicBezTo>
                  <a:pt x="2911834" y="1280018"/>
                  <a:pt x="2913656" y="1283663"/>
                  <a:pt x="2913656" y="1289129"/>
                </a:cubicBezTo>
                <a:cubicBezTo>
                  <a:pt x="2913656" y="1287307"/>
                  <a:pt x="2910012" y="1287307"/>
                  <a:pt x="2906368" y="1287307"/>
                </a:cubicBezTo>
                <a:cubicBezTo>
                  <a:pt x="2902724" y="1283663"/>
                  <a:pt x="2900901" y="1280018"/>
                  <a:pt x="2895435" y="1280018"/>
                </a:cubicBezTo>
                <a:cubicBezTo>
                  <a:pt x="2899079" y="1289129"/>
                  <a:pt x="2897257" y="1294596"/>
                  <a:pt x="2902724" y="1301885"/>
                </a:cubicBezTo>
                <a:cubicBezTo>
                  <a:pt x="2900901" y="1307351"/>
                  <a:pt x="2900901" y="1300062"/>
                  <a:pt x="2899079" y="1300062"/>
                </a:cubicBezTo>
                <a:cubicBezTo>
                  <a:pt x="2888146" y="1301885"/>
                  <a:pt x="2897257" y="1314640"/>
                  <a:pt x="2899079" y="1320106"/>
                </a:cubicBezTo>
                <a:cubicBezTo>
                  <a:pt x="2893613" y="1323751"/>
                  <a:pt x="2891790" y="1312818"/>
                  <a:pt x="2891790" y="1321929"/>
                </a:cubicBezTo>
                <a:cubicBezTo>
                  <a:pt x="2886324" y="1321929"/>
                  <a:pt x="2889968" y="1314640"/>
                  <a:pt x="2882680" y="1318284"/>
                </a:cubicBezTo>
                <a:cubicBezTo>
                  <a:pt x="2888146" y="1307351"/>
                  <a:pt x="2880857" y="1301885"/>
                  <a:pt x="2875391" y="1298240"/>
                </a:cubicBezTo>
                <a:cubicBezTo>
                  <a:pt x="2880857" y="1296418"/>
                  <a:pt x="2882680" y="1303707"/>
                  <a:pt x="2886324" y="1305529"/>
                </a:cubicBezTo>
                <a:cubicBezTo>
                  <a:pt x="2886324" y="1301885"/>
                  <a:pt x="2886324" y="1301885"/>
                  <a:pt x="2888146" y="1298240"/>
                </a:cubicBezTo>
                <a:cubicBezTo>
                  <a:pt x="2891790" y="1298240"/>
                  <a:pt x="2889968" y="1303707"/>
                  <a:pt x="2889968" y="1305529"/>
                </a:cubicBezTo>
                <a:cubicBezTo>
                  <a:pt x="2899079" y="1303707"/>
                  <a:pt x="2891790" y="1289129"/>
                  <a:pt x="2886324" y="1289129"/>
                </a:cubicBezTo>
                <a:cubicBezTo>
                  <a:pt x="2889968" y="1285485"/>
                  <a:pt x="2893613" y="1292774"/>
                  <a:pt x="2897257" y="1290951"/>
                </a:cubicBezTo>
                <a:cubicBezTo>
                  <a:pt x="2899079" y="1287307"/>
                  <a:pt x="2895435" y="1287307"/>
                  <a:pt x="2895435" y="1283663"/>
                </a:cubicBezTo>
                <a:cubicBezTo>
                  <a:pt x="2886324" y="1287307"/>
                  <a:pt x="2880857" y="1294596"/>
                  <a:pt x="2869924" y="1296418"/>
                </a:cubicBezTo>
                <a:cubicBezTo>
                  <a:pt x="2869924" y="1305529"/>
                  <a:pt x="2875391" y="1316462"/>
                  <a:pt x="2864458" y="1316462"/>
                </a:cubicBezTo>
                <a:cubicBezTo>
                  <a:pt x="2864458" y="1323751"/>
                  <a:pt x="2857169" y="1323751"/>
                  <a:pt x="2853525" y="1329217"/>
                </a:cubicBezTo>
                <a:cubicBezTo>
                  <a:pt x="2853525" y="1347439"/>
                  <a:pt x="2864458" y="1352905"/>
                  <a:pt x="2875391" y="1358372"/>
                </a:cubicBezTo>
                <a:cubicBezTo>
                  <a:pt x="2875391" y="1354728"/>
                  <a:pt x="2875391" y="1349261"/>
                  <a:pt x="2873569" y="1347439"/>
                </a:cubicBezTo>
                <a:cubicBezTo>
                  <a:pt x="2879035" y="1347439"/>
                  <a:pt x="2879035" y="1362016"/>
                  <a:pt x="2884502" y="1365661"/>
                </a:cubicBezTo>
                <a:cubicBezTo>
                  <a:pt x="2886324" y="1365661"/>
                  <a:pt x="2889968" y="1365661"/>
                  <a:pt x="2891790" y="1365661"/>
                </a:cubicBezTo>
                <a:cubicBezTo>
                  <a:pt x="2899079" y="1352905"/>
                  <a:pt x="2908190" y="1341972"/>
                  <a:pt x="2917301" y="1329217"/>
                </a:cubicBezTo>
                <a:cubicBezTo>
                  <a:pt x="2915479" y="1323751"/>
                  <a:pt x="2915479" y="1320106"/>
                  <a:pt x="2915479" y="1314640"/>
                </a:cubicBezTo>
                <a:cubicBezTo>
                  <a:pt x="2919123" y="1314640"/>
                  <a:pt x="2917301" y="1321929"/>
                  <a:pt x="2919123" y="1325573"/>
                </a:cubicBezTo>
                <a:cubicBezTo>
                  <a:pt x="2928234" y="1321929"/>
                  <a:pt x="2926412" y="1309173"/>
                  <a:pt x="2933700" y="1309173"/>
                </a:cubicBezTo>
                <a:cubicBezTo>
                  <a:pt x="2935523" y="1305529"/>
                  <a:pt x="2930056" y="1307351"/>
                  <a:pt x="2928234" y="1307351"/>
                </a:cubicBezTo>
                <a:cubicBezTo>
                  <a:pt x="2933700" y="1303707"/>
                  <a:pt x="2928234" y="1301885"/>
                  <a:pt x="2928234" y="1296418"/>
                </a:cubicBezTo>
                <a:cubicBezTo>
                  <a:pt x="2933700" y="1296418"/>
                  <a:pt x="2935523" y="1301885"/>
                  <a:pt x="2935523" y="1307351"/>
                </a:cubicBezTo>
                <a:cubicBezTo>
                  <a:pt x="2948278" y="1309173"/>
                  <a:pt x="2942811" y="1294596"/>
                  <a:pt x="2951922" y="1292774"/>
                </a:cubicBezTo>
                <a:cubicBezTo>
                  <a:pt x="2951922" y="1296418"/>
                  <a:pt x="2950100" y="1296418"/>
                  <a:pt x="2950100" y="1301885"/>
                </a:cubicBezTo>
                <a:cubicBezTo>
                  <a:pt x="2964677" y="1298240"/>
                  <a:pt x="2979255" y="1292774"/>
                  <a:pt x="2992010" y="1287307"/>
                </a:cubicBezTo>
                <a:cubicBezTo>
                  <a:pt x="2992010" y="1285485"/>
                  <a:pt x="2990188" y="1280018"/>
                  <a:pt x="2993832" y="1281841"/>
                </a:cubicBezTo>
                <a:cubicBezTo>
                  <a:pt x="2992010" y="1280018"/>
                  <a:pt x="2986543" y="1278196"/>
                  <a:pt x="2986543" y="1281841"/>
                </a:cubicBezTo>
                <a:cubicBezTo>
                  <a:pt x="2982899" y="1278196"/>
                  <a:pt x="2984721" y="1276374"/>
                  <a:pt x="2984721" y="1270908"/>
                </a:cubicBezTo>
                <a:cubicBezTo>
                  <a:pt x="2982899" y="1272730"/>
                  <a:pt x="2981077" y="1276374"/>
                  <a:pt x="2982899" y="1278196"/>
                </a:cubicBezTo>
                <a:cubicBezTo>
                  <a:pt x="2979255" y="1279107"/>
                  <a:pt x="2977888" y="1279563"/>
                  <a:pt x="2976749" y="1279563"/>
                </a:cubicBezTo>
                <a:lnTo>
                  <a:pt x="2971967" y="1278196"/>
                </a:lnTo>
                <a:lnTo>
                  <a:pt x="2974016" y="1276829"/>
                </a:lnTo>
                <a:cubicBezTo>
                  <a:pt x="2976522" y="1275463"/>
                  <a:pt x="2978344" y="1273641"/>
                  <a:pt x="2977432" y="1269085"/>
                </a:cubicBezTo>
                <a:cubicBezTo>
                  <a:pt x="2973788" y="1269085"/>
                  <a:pt x="2971966" y="1269085"/>
                  <a:pt x="2971966" y="1272730"/>
                </a:cubicBezTo>
                <a:cubicBezTo>
                  <a:pt x="2965589" y="1262708"/>
                  <a:pt x="2953289" y="1259519"/>
                  <a:pt x="2940989" y="1260658"/>
                </a:cubicBezTo>
                <a:close/>
                <a:moveTo>
                  <a:pt x="1328034" y="1260140"/>
                </a:moveTo>
                <a:lnTo>
                  <a:pt x="1328365" y="1261797"/>
                </a:lnTo>
                <a:cubicBezTo>
                  <a:pt x="1330188" y="1258152"/>
                  <a:pt x="1332009" y="1269085"/>
                  <a:pt x="1333832" y="1270908"/>
                </a:cubicBezTo>
                <a:lnTo>
                  <a:pt x="1331098" y="1273095"/>
                </a:lnTo>
                <a:lnTo>
                  <a:pt x="1330188" y="1265441"/>
                </a:lnTo>
                <a:cubicBezTo>
                  <a:pt x="1328365" y="1259975"/>
                  <a:pt x="1328365" y="1267263"/>
                  <a:pt x="1328365" y="1269085"/>
                </a:cubicBezTo>
                <a:lnTo>
                  <a:pt x="1329276" y="1274552"/>
                </a:lnTo>
                <a:lnTo>
                  <a:pt x="1327769" y="1275758"/>
                </a:lnTo>
                <a:lnTo>
                  <a:pt x="1325982" y="1272609"/>
                </a:lnTo>
                <a:lnTo>
                  <a:pt x="1326543" y="1269085"/>
                </a:lnTo>
                <a:lnTo>
                  <a:pt x="1326034" y="1269668"/>
                </a:lnTo>
                <a:lnTo>
                  <a:pt x="1324721" y="1261797"/>
                </a:lnTo>
                <a:close/>
                <a:moveTo>
                  <a:pt x="3010232" y="1259975"/>
                </a:moveTo>
                <a:cubicBezTo>
                  <a:pt x="3013876" y="1259975"/>
                  <a:pt x="3012054" y="1265441"/>
                  <a:pt x="3012054" y="1267263"/>
                </a:cubicBezTo>
                <a:cubicBezTo>
                  <a:pt x="3010232" y="1267263"/>
                  <a:pt x="3010232" y="1263619"/>
                  <a:pt x="3010232" y="1259975"/>
                </a:cubicBezTo>
                <a:close/>
                <a:moveTo>
                  <a:pt x="2986543" y="1259975"/>
                </a:moveTo>
                <a:cubicBezTo>
                  <a:pt x="2982899" y="1259975"/>
                  <a:pt x="2982899" y="1263619"/>
                  <a:pt x="2982899" y="1265441"/>
                </a:cubicBezTo>
                <a:cubicBezTo>
                  <a:pt x="2984721" y="1265441"/>
                  <a:pt x="2986543" y="1265441"/>
                  <a:pt x="2988366" y="1265441"/>
                </a:cubicBezTo>
                <a:cubicBezTo>
                  <a:pt x="2988366" y="1263619"/>
                  <a:pt x="2986543" y="1261797"/>
                  <a:pt x="2986543" y="1259975"/>
                </a:cubicBezTo>
                <a:close/>
                <a:moveTo>
                  <a:pt x="1319254" y="1259975"/>
                </a:moveTo>
                <a:cubicBezTo>
                  <a:pt x="1317432" y="1261797"/>
                  <a:pt x="1319254" y="1265441"/>
                  <a:pt x="1319254" y="1267263"/>
                </a:cubicBezTo>
                <a:cubicBezTo>
                  <a:pt x="1319254" y="1269085"/>
                  <a:pt x="1317432" y="1267263"/>
                  <a:pt x="1317432" y="1267263"/>
                </a:cubicBezTo>
                <a:cubicBezTo>
                  <a:pt x="1317432" y="1269085"/>
                  <a:pt x="1315610" y="1270908"/>
                  <a:pt x="1319254" y="1274552"/>
                </a:cubicBezTo>
                <a:cubicBezTo>
                  <a:pt x="1324721" y="1270908"/>
                  <a:pt x="1328365" y="1263619"/>
                  <a:pt x="1319254" y="1259975"/>
                </a:cubicBezTo>
                <a:close/>
                <a:moveTo>
                  <a:pt x="1306499" y="1259975"/>
                </a:moveTo>
                <a:cubicBezTo>
                  <a:pt x="1308321" y="1261797"/>
                  <a:pt x="1306499" y="1261797"/>
                  <a:pt x="1308321" y="1263619"/>
                </a:cubicBezTo>
                <a:cubicBezTo>
                  <a:pt x="1310143" y="1261797"/>
                  <a:pt x="1310143" y="1261797"/>
                  <a:pt x="1313788" y="1259975"/>
                </a:cubicBezTo>
                <a:cubicBezTo>
                  <a:pt x="1311966" y="1258152"/>
                  <a:pt x="1308321" y="1258152"/>
                  <a:pt x="1306499" y="1259975"/>
                </a:cubicBezTo>
                <a:close/>
                <a:moveTo>
                  <a:pt x="1164370" y="1259975"/>
                </a:moveTo>
                <a:cubicBezTo>
                  <a:pt x="1162547" y="1261797"/>
                  <a:pt x="1164370" y="1265441"/>
                  <a:pt x="1166192" y="1265441"/>
                </a:cubicBezTo>
                <a:lnTo>
                  <a:pt x="1166192" y="1266124"/>
                </a:lnTo>
                <a:cubicBezTo>
                  <a:pt x="1165736" y="1267263"/>
                  <a:pt x="1165282" y="1268174"/>
                  <a:pt x="1166192" y="1269085"/>
                </a:cubicBezTo>
                <a:cubicBezTo>
                  <a:pt x="1166192" y="1269085"/>
                  <a:pt x="1164370" y="1270908"/>
                  <a:pt x="1164370" y="1270908"/>
                </a:cubicBezTo>
                <a:cubicBezTo>
                  <a:pt x="1164370" y="1272730"/>
                  <a:pt x="1166192" y="1274552"/>
                  <a:pt x="1168014" y="1274552"/>
                </a:cubicBezTo>
                <a:cubicBezTo>
                  <a:pt x="1169836" y="1274552"/>
                  <a:pt x="1168014" y="1272730"/>
                  <a:pt x="1169836" y="1270908"/>
                </a:cubicBezTo>
                <a:cubicBezTo>
                  <a:pt x="1168014" y="1269085"/>
                  <a:pt x="1168014" y="1270908"/>
                  <a:pt x="1166192" y="1269085"/>
                </a:cubicBezTo>
                <a:cubicBezTo>
                  <a:pt x="1169836" y="1265441"/>
                  <a:pt x="1169836" y="1263619"/>
                  <a:pt x="1169836" y="1259975"/>
                </a:cubicBezTo>
                <a:cubicBezTo>
                  <a:pt x="1168014" y="1259975"/>
                  <a:pt x="1166192" y="1261797"/>
                  <a:pt x="1164370" y="1259975"/>
                </a:cubicBezTo>
                <a:close/>
                <a:moveTo>
                  <a:pt x="1073262" y="1259975"/>
                </a:moveTo>
                <a:cubicBezTo>
                  <a:pt x="1069616" y="1261797"/>
                  <a:pt x="1071439" y="1261797"/>
                  <a:pt x="1071439" y="1263619"/>
                </a:cubicBezTo>
                <a:cubicBezTo>
                  <a:pt x="1064151" y="1261797"/>
                  <a:pt x="1056861" y="1261797"/>
                  <a:pt x="1049573" y="1261797"/>
                </a:cubicBezTo>
                <a:cubicBezTo>
                  <a:pt x="1060506" y="1269085"/>
                  <a:pt x="1075083" y="1274552"/>
                  <a:pt x="1087838" y="1276374"/>
                </a:cubicBezTo>
                <a:cubicBezTo>
                  <a:pt x="1086016" y="1267263"/>
                  <a:pt x="1080549" y="1261797"/>
                  <a:pt x="1073262" y="1259975"/>
                </a:cubicBezTo>
                <a:close/>
                <a:moveTo>
                  <a:pt x="389946" y="1259975"/>
                </a:moveTo>
                <a:cubicBezTo>
                  <a:pt x="389946" y="1261797"/>
                  <a:pt x="393590" y="1265441"/>
                  <a:pt x="395412" y="1261797"/>
                </a:cubicBezTo>
                <a:cubicBezTo>
                  <a:pt x="393590" y="1258152"/>
                  <a:pt x="393590" y="1263619"/>
                  <a:pt x="389946" y="1259975"/>
                </a:cubicBezTo>
                <a:close/>
                <a:moveTo>
                  <a:pt x="284259" y="1259975"/>
                </a:moveTo>
                <a:cubicBezTo>
                  <a:pt x="286082" y="1263619"/>
                  <a:pt x="291549" y="1265441"/>
                  <a:pt x="293370" y="1267263"/>
                </a:cubicBezTo>
                <a:cubicBezTo>
                  <a:pt x="295193" y="1265441"/>
                  <a:pt x="295193" y="1263619"/>
                  <a:pt x="291549" y="1259975"/>
                </a:cubicBezTo>
                <a:cubicBezTo>
                  <a:pt x="287904" y="1259975"/>
                  <a:pt x="287904" y="1261797"/>
                  <a:pt x="284259" y="1259975"/>
                </a:cubicBezTo>
                <a:close/>
                <a:moveTo>
                  <a:pt x="3354851" y="1259291"/>
                </a:moveTo>
                <a:cubicBezTo>
                  <a:pt x="3352800" y="1259975"/>
                  <a:pt x="3350978" y="1260886"/>
                  <a:pt x="3350978" y="1259975"/>
                </a:cubicBezTo>
                <a:cubicBezTo>
                  <a:pt x="3347334" y="1263619"/>
                  <a:pt x="3354623" y="1265441"/>
                  <a:pt x="3358267" y="1265441"/>
                </a:cubicBezTo>
                <a:cubicBezTo>
                  <a:pt x="3360089" y="1263619"/>
                  <a:pt x="3360089" y="1261797"/>
                  <a:pt x="3360089" y="1259975"/>
                </a:cubicBezTo>
                <a:cubicBezTo>
                  <a:pt x="3359178" y="1258152"/>
                  <a:pt x="3356900" y="1258608"/>
                  <a:pt x="3354851" y="1259291"/>
                </a:cubicBezTo>
                <a:close/>
                <a:moveTo>
                  <a:pt x="1041828" y="1258836"/>
                </a:moveTo>
                <a:cubicBezTo>
                  <a:pt x="1040917" y="1258152"/>
                  <a:pt x="1039550" y="1258152"/>
                  <a:pt x="1038639" y="1259975"/>
                </a:cubicBezTo>
                <a:cubicBezTo>
                  <a:pt x="1040462" y="1259975"/>
                  <a:pt x="1040462" y="1261797"/>
                  <a:pt x="1042284" y="1261797"/>
                </a:cubicBezTo>
                <a:cubicBezTo>
                  <a:pt x="1043195" y="1260886"/>
                  <a:pt x="1042739" y="1259519"/>
                  <a:pt x="1041828" y="1258836"/>
                </a:cubicBezTo>
                <a:close/>
                <a:moveTo>
                  <a:pt x="3254403" y="1258152"/>
                </a:moveTo>
                <a:lnTo>
                  <a:pt x="3256225" y="1261797"/>
                </a:lnTo>
                <a:cubicBezTo>
                  <a:pt x="3256225" y="1259975"/>
                  <a:pt x="3256225" y="1256330"/>
                  <a:pt x="3256225" y="1258152"/>
                </a:cubicBezTo>
                <a:cubicBezTo>
                  <a:pt x="3254403" y="1258152"/>
                  <a:pt x="3254403" y="1258152"/>
                  <a:pt x="3254403" y="1258152"/>
                </a:cubicBezTo>
                <a:close/>
                <a:moveTo>
                  <a:pt x="2962855" y="1258152"/>
                </a:moveTo>
                <a:cubicBezTo>
                  <a:pt x="2962855" y="1263619"/>
                  <a:pt x="2968322" y="1261797"/>
                  <a:pt x="2971966" y="1263619"/>
                </a:cubicBezTo>
                <a:cubicBezTo>
                  <a:pt x="2971966" y="1261797"/>
                  <a:pt x="2971966" y="1259975"/>
                  <a:pt x="2971966" y="1258152"/>
                </a:cubicBezTo>
                <a:cubicBezTo>
                  <a:pt x="2968322" y="1259975"/>
                  <a:pt x="2968322" y="1258152"/>
                  <a:pt x="2962855" y="1258152"/>
                </a:cubicBezTo>
                <a:close/>
                <a:moveTo>
                  <a:pt x="2396159" y="1258152"/>
                </a:moveTo>
                <a:cubicBezTo>
                  <a:pt x="2388871" y="1256330"/>
                  <a:pt x="2388871" y="1261797"/>
                  <a:pt x="2390693" y="1267263"/>
                </a:cubicBezTo>
                <a:cubicBezTo>
                  <a:pt x="2394337" y="1265441"/>
                  <a:pt x="2390693" y="1259975"/>
                  <a:pt x="2396159" y="1258152"/>
                </a:cubicBezTo>
                <a:close/>
                <a:moveTo>
                  <a:pt x="1415829" y="1258152"/>
                </a:moveTo>
                <a:cubicBezTo>
                  <a:pt x="1417652" y="1261797"/>
                  <a:pt x="1419474" y="1258152"/>
                  <a:pt x="1421296" y="1259975"/>
                </a:cubicBezTo>
                <a:lnTo>
                  <a:pt x="1414664" y="1270398"/>
                </a:lnTo>
                <a:close/>
                <a:moveTo>
                  <a:pt x="1297388" y="1258152"/>
                </a:moveTo>
                <a:lnTo>
                  <a:pt x="1300867" y="1259312"/>
                </a:lnTo>
                <a:lnTo>
                  <a:pt x="1301033" y="1259975"/>
                </a:lnTo>
                <a:lnTo>
                  <a:pt x="1297388" y="1259714"/>
                </a:lnTo>
                <a:close/>
                <a:moveTo>
                  <a:pt x="1129748" y="1258152"/>
                </a:moveTo>
                <a:cubicBezTo>
                  <a:pt x="1126104" y="1256330"/>
                  <a:pt x="1122459" y="1258152"/>
                  <a:pt x="1118815" y="1259975"/>
                </a:cubicBezTo>
                <a:cubicBezTo>
                  <a:pt x="1116993" y="1263619"/>
                  <a:pt x="1120637" y="1267263"/>
                  <a:pt x="1124282" y="1267263"/>
                </a:cubicBezTo>
                <a:cubicBezTo>
                  <a:pt x="1127926" y="1265441"/>
                  <a:pt x="1127926" y="1261797"/>
                  <a:pt x="1129748" y="1258152"/>
                </a:cubicBezTo>
                <a:close/>
                <a:moveTo>
                  <a:pt x="703359" y="1258152"/>
                </a:moveTo>
                <a:cubicBezTo>
                  <a:pt x="703359" y="1263619"/>
                  <a:pt x="710648" y="1261797"/>
                  <a:pt x="712470" y="1259975"/>
                </a:cubicBezTo>
                <a:cubicBezTo>
                  <a:pt x="710648" y="1256330"/>
                  <a:pt x="705182" y="1259975"/>
                  <a:pt x="703359" y="1258152"/>
                </a:cubicBezTo>
                <a:close/>
                <a:moveTo>
                  <a:pt x="499276" y="1258152"/>
                </a:moveTo>
                <a:cubicBezTo>
                  <a:pt x="488343" y="1254508"/>
                  <a:pt x="481054" y="1259975"/>
                  <a:pt x="471943" y="1265441"/>
                </a:cubicBezTo>
                <a:cubicBezTo>
                  <a:pt x="475589" y="1267263"/>
                  <a:pt x="479232" y="1261797"/>
                  <a:pt x="481054" y="1267263"/>
                </a:cubicBezTo>
                <a:cubicBezTo>
                  <a:pt x="477410" y="1269085"/>
                  <a:pt x="470121" y="1265441"/>
                  <a:pt x="466478" y="1267263"/>
                </a:cubicBezTo>
                <a:cubicBezTo>
                  <a:pt x="477410" y="1287307"/>
                  <a:pt x="502920" y="1289129"/>
                  <a:pt x="517498" y="1285485"/>
                </a:cubicBezTo>
                <a:cubicBezTo>
                  <a:pt x="519320" y="1283663"/>
                  <a:pt x="513853" y="1283663"/>
                  <a:pt x="512031" y="1283663"/>
                </a:cubicBezTo>
                <a:cubicBezTo>
                  <a:pt x="512031" y="1280018"/>
                  <a:pt x="512031" y="1280018"/>
                  <a:pt x="515676" y="1280018"/>
                </a:cubicBezTo>
                <a:cubicBezTo>
                  <a:pt x="513853" y="1274552"/>
                  <a:pt x="506565" y="1274552"/>
                  <a:pt x="504743" y="1269085"/>
                </a:cubicBezTo>
                <a:cubicBezTo>
                  <a:pt x="504743" y="1270908"/>
                  <a:pt x="506565" y="1272730"/>
                  <a:pt x="508387" y="1270908"/>
                </a:cubicBezTo>
                <a:cubicBezTo>
                  <a:pt x="506565" y="1270908"/>
                  <a:pt x="504743" y="1267263"/>
                  <a:pt x="504743" y="1267263"/>
                </a:cubicBezTo>
                <a:cubicBezTo>
                  <a:pt x="497454" y="1270908"/>
                  <a:pt x="490165" y="1274552"/>
                  <a:pt x="486521" y="1281841"/>
                </a:cubicBezTo>
                <a:cubicBezTo>
                  <a:pt x="484700" y="1274552"/>
                  <a:pt x="491987" y="1272730"/>
                  <a:pt x="495632" y="1269085"/>
                </a:cubicBezTo>
                <a:cubicBezTo>
                  <a:pt x="491987" y="1267263"/>
                  <a:pt x="488343" y="1267263"/>
                  <a:pt x="484700" y="1265441"/>
                </a:cubicBezTo>
                <a:cubicBezTo>
                  <a:pt x="488343" y="1261797"/>
                  <a:pt x="491987" y="1261797"/>
                  <a:pt x="493809" y="1265441"/>
                </a:cubicBezTo>
                <a:cubicBezTo>
                  <a:pt x="491987" y="1265441"/>
                  <a:pt x="493809" y="1263619"/>
                  <a:pt x="491987" y="1261797"/>
                </a:cubicBezTo>
                <a:cubicBezTo>
                  <a:pt x="493809" y="1263619"/>
                  <a:pt x="497454" y="1265441"/>
                  <a:pt x="499276" y="1263619"/>
                </a:cubicBezTo>
                <a:cubicBezTo>
                  <a:pt x="501098" y="1261797"/>
                  <a:pt x="495632" y="1259975"/>
                  <a:pt x="499276" y="1258152"/>
                </a:cubicBezTo>
                <a:close/>
                <a:moveTo>
                  <a:pt x="1277344" y="1256330"/>
                </a:moveTo>
                <a:cubicBezTo>
                  <a:pt x="1279166" y="1258152"/>
                  <a:pt x="1282811" y="1258152"/>
                  <a:pt x="1280989" y="1261797"/>
                </a:cubicBezTo>
                <a:lnTo>
                  <a:pt x="1281445" y="1261797"/>
                </a:lnTo>
                <a:lnTo>
                  <a:pt x="1282811" y="1263619"/>
                </a:lnTo>
                <a:cubicBezTo>
                  <a:pt x="1282811" y="1263619"/>
                  <a:pt x="1284633" y="1261797"/>
                  <a:pt x="1284633" y="1261797"/>
                </a:cubicBezTo>
                <a:lnTo>
                  <a:pt x="1281445" y="1261797"/>
                </a:lnTo>
                <a:close/>
                <a:moveTo>
                  <a:pt x="1093305" y="1256330"/>
                </a:moveTo>
                <a:cubicBezTo>
                  <a:pt x="1091484" y="1256330"/>
                  <a:pt x="1091484" y="1263619"/>
                  <a:pt x="1087838" y="1259975"/>
                </a:cubicBezTo>
                <a:cubicBezTo>
                  <a:pt x="1086016" y="1265441"/>
                  <a:pt x="1087838" y="1270908"/>
                  <a:pt x="1091484" y="1278196"/>
                </a:cubicBezTo>
                <a:cubicBezTo>
                  <a:pt x="1095127" y="1278196"/>
                  <a:pt x="1091484" y="1276374"/>
                  <a:pt x="1093305" y="1274552"/>
                </a:cubicBezTo>
                <a:cubicBezTo>
                  <a:pt x="1096949" y="1276374"/>
                  <a:pt x="1095127" y="1276374"/>
                  <a:pt x="1093305" y="1280018"/>
                </a:cubicBezTo>
                <a:cubicBezTo>
                  <a:pt x="1096949" y="1281841"/>
                  <a:pt x="1102416" y="1283663"/>
                  <a:pt x="1104238" y="1278196"/>
                </a:cubicBezTo>
                <a:cubicBezTo>
                  <a:pt x="1100593" y="1270908"/>
                  <a:pt x="1095127" y="1263619"/>
                  <a:pt x="1093305" y="1256330"/>
                </a:cubicBezTo>
                <a:close/>
                <a:moveTo>
                  <a:pt x="1075083" y="1256330"/>
                </a:moveTo>
                <a:cubicBezTo>
                  <a:pt x="1073262" y="1259975"/>
                  <a:pt x="1076905" y="1259975"/>
                  <a:pt x="1078727" y="1261797"/>
                </a:cubicBezTo>
                <a:cubicBezTo>
                  <a:pt x="1082373" y="1259975"/>
                  <a:pt x="1078727" y="1258152"/>
                  <a:pt x="1078727" y="1256330"/>
                </a:cubicBezTo>
                <a:cubicBezTo>
                  <a:pt x="1076905" y="1256330"/>
                  <a:pt x="1076905" y="1258152"/>
                  <a:pt x="1075083" y="1256330"/>
                </a:cubicBezTo>
                <a:close/>
                <a:moveTo>
                  <a:pt x="989441" y="1256330"/>
                </a:moveTo>
                <a:cubicBezTo>
                  <a:pt x="987619" y="1256330"/>
                  <a:pt x="985796" y="1256330"/>
                  <a:pt x="983974" y="1258152"/>
                </a:cubicBezTo>
                <a:cubicBezTo>
                  <a:pt x="985796" y="1261797"/>
                  <a:pt x="987619" y="1256330"/>
                  <a:pt x="989441" y="1256330"/>
                </a:cubicBezTo>
                <a:close/>
                <a:moveTo>
                  <a:pt x="659627" y="1256330"/>
                </a:moveTo>
                <a:cubicBezTo>
                  <a:pt x="657805" y="1261797"/>
                  <a:pt x="666916" y="1261797"/>
                  <a:pt x="666916" y="1258152"/>
                </a:cubicBezTo>
                <a:cubicBezTo>
                  <a:pt x="665094" y="1256330"/>
                  <a:pt x="661449" y="1259975"/>
                  <a:pt x="659627" y="1256330"/>
                </a:cubicBezTo>
                <a:close/>
                <a:moveTo>
                  <a:pt x="652339" y="1256330"/>
                </a:moveTo>
                <a:cubicBezTo>
                  <a:pt x="652339" y="1258152"/>
                  <a:pt x="657805" y="1261797"/>
                  <a:pt x="657805" y="1258152"/>
                </a:cubicBezTo>
                <a:cubicBezTo>
                  <a:pt x="655983" y="1256330"/>
                  <a:pt x="654161" y="1259975"/>
                  <a:pt x="652339" y="1256330"/>
                </a:cubicBezTo>
                <a:close/>
                <a:moveTo>
                  <a:pt x="645050" y="1256330"/>
                </a:moveTo>
                <a:cubicBezTo>
                  <a:pt x="637761" y="1256330"/>
                  <a:pt x="637761" y="1263619"/>
                  <a:pt x="635939" y="1270908"/>
                </a:cubicBezTo>
                <a:cubicBezTo>
                  <a:pt x="641407" y="1278196"/>
                  <a:pt x="645050" y="1280018"/>
                  <a:pt x="645050" y="1289129"/>
                </a:cubicBezTo>
                <a:cubicBezTo>
                  <a:pt x="643228" y="1292774"/>
                  <a:pt x="652339" y="1292774"/>
                  <a:pt x="657805" y="1296418"/>
                </a:cubicBezTo>
                <a:cubicBezTo>
                  <a:pt x="652339" y="1300062"/>
                  <a:pt x="645050" y="1290951"/>
                  <a:pt x="641407" y="1298240"/>
                </a:cubicBezTo>
                <a:cubicBezTo>
                  <a:pt x="637761" y="1303707"/>
                  <a:pt x="646872" y="1307351"/>
                  <a:pt x="648694" y="1309173"/>
                </a:cubicBezTo>
                <a:cubicBezTo>
                  <a:pt x="652339" y="1309173"/>
                  <a:pt x="654161" y="1307351"/>
                  <a:pt x="654161" y="1303707"/>
                </a:cubicBezTo>
                <a:cubicBezTo>
                  <a:pt x="654161" y="1309173"/>
                  <a:pt x="655983" y="1310995"/>
                  <a:pt x="659627" y="1310995"/>
                </a:cubicBezTo>
                <a:cubicBezTo>
                  <a:pt x="661449" y="1310995"/>
                  <a:pt x="661449" y="1305529"/>
                  <a:pt x="666916" y="1305529"/>
                </a:cubicBezTo>
                <a:cubicBezTo>
                  <a:pt x="663272" y="1301885"/>
                  <a:pt x="661449" y="1300062"/>
                  <a:pt x="661449" y="1296418"/>
                </a:cubicBezTo>
                <a:cubicBezTo>
                  <a:pt x="666916" y="1283663"/>
                  <a:pt x="663272" y="1270908"/>
                  <a:pt x="655983" y="1265441"/>
                </a:cubicBezTo>
                <a:cubicBezTo>
                  <a:pt x="655983" y="1263619"/>
                  <a:pt x="650516" y="1267263"/>
                  <a:pt x="646872" y="1269085"/>
                </a:cubicBezTo>
                <a:cubicBezTo>
                  <a:pt x="648694" y="1267263"/>
                  <a:pt x="652339" y="1261797"/>
                  <a:pt x="657805" y="1261797"/>
                </a:cubicBezTo>
                <a:cubicBezTo>
                  <a:pt x="654161" y="1259975"/>
                  <a:pt x="648694" y="1256330"/>
                  <a:pt x="645050" y="1256330"/>
                </a:cubicBezTo>
                <a:close/>
                <a:moveTo>
                  <a:pt x="550297" y="1256330"/>
                </a:moveTo>
                <a:cubicBezTo>
                  <a:pt x="546653" y="1256330"/>
                  <a:pt x="544830" y="1256330"/>
                  <a:pt x="543008" y="1258152"/>
                </a:cubicBezTo>
                <a:cubicBezTo>
                  <a:pt x="546653" y="1263619"/>
                  <a:pt x="548475" y="1258152"/>
                  <a:pt x="550297" y="1256330"/>
                </a:cubicBezTo>
                <a:close/>
                <a:moveTo>
                  <a:pt x="421184" y="1256224"/>
                </a:moveTo>
                <a:lnTo>
                  <a:pt x="423200" y="1257469"/>
                </a:lnTo>
                <a:lnTo>
                  <a:pt x="426726" y="1261797"/>
                </a:lnTo>
                <a:lnTo>
                  <a:pt x="424567" y="1261797"/>
                </a:lnTo>
                <a:lnTo>
                  <a:pt x="420923" y="1256330"/>
                </a:lnTo>
                <a:close/>
                <a:moveTo>
                  <a:pt x="265354" y="1254963"/>
                </a:moveTo>
                <a:cubicBezTo>
                  <a:pt x="263760" y="1255419"/>
                  <a:pt x="262393" y="1256330"/>
                  <a:pt x="260571" y="1256330"/>
                </a:cubicBezTo>
                <a:cubicBezTo>
                  <a:pt x="260571" y="1259975"/>
                  <a:pt x="267860" y="1258152"/>
                  <a:pt x="271504" y="1256330"/>
                </a:cubicBezTo>
                <a:cubicBezTo>
                  <a:pt x="268771" y="1254508"/>
                  <a:pt x="266949" y="1254508"/>
                  <a:pt x="265354" y="1254963"/>
                </a:cubicBezTo>
                <a:close/>
                <a:moveTo>
                  <a:pt x="3318179" y="1254508"/>
                </a:moveTo>
                <a:cubicBezTo>
                  <a:pt x="3316357" y="1258152"/>
                  <a:pt x="3316357" y="1259975"/>
                  <a:pt x="3312713" y="1261797"/>
                </a:cubicBezTo>
                <a:cubicBezTo>
                  <a:pt x="3318179" y="1263619"/>
                  <a:pt x="3310890" y="1269085"/>
                  <a:pt x="3314535" y="1276374"/>
                </a:cubicBezTo>
                <a:cubicBezTo>
                  <a:pt x="3320001" y="1272730"/>
                  <a:pt x="3329112" y="1265441"/>
                  <a:pt x="3329112" y="1274552"/>
                </a:cubicBezTo>
                <a:cubicBezTo>
                  <a:pt x="3336401" y="1263619"/>
                  <a:pt x="3320001" y="1263619"/>
                  <a:pt x="3318179" y="1254508"/>
                </a:cubicBezTo>
                <a:close/>
                <a:moveTo>
                  <a:pt x="3008410" y="1254508"/>
                </a:moveTo>
                <a:cubicBezTo>
                  <a:pt x="3010232" y="1259975"/>
                  <a:pt x="3006587" y="1276374"/>
                  <a:pt x="3015698" y="1272730"/>
                </a:cubicBezTo>
                <a:cubicBezTo>
                  <a:pt x="3015698" y="1270908"/>
                  <a:pt x="3013876" y="1269085"/>
                  <a:pt x="3012054" y="1267263"/>
                </a:cubicBezTo>
                <a:cubicBezTo>
                  <a:pt x="3015698" y="1265441"/>
                  <a:pt x="3013876" y="1265441"/>
                  <a:pt x="3015698" y="1269085"/>
                </a:cubicBezTo>
                <a:cubicBezTo>
                  <a:pt x="3021165" y="1269085"/>
                  <a:pt x="3024809" y="1258152"/>
                  <a:pt x="3017521" y="1258152"/>
                </a:cubicBezTo>
                <a:cubicBezTo>
                  <a:pt x="3017521" y="1258152"/>
                  <a:pt x="3019343" y="1258152"/>
                  <a:pt x="3019343" y="1256330"/>
                </a:cubicBezTo>
                <a:cubicBezTo>
                  <a:pt x="3021165" y="1256330"/>
                  <a:pt x="3021165" y="1256330"/>
                  <a:pt x="3021165" y="1258152"/>
                </a:cubicBezTo>
                <a:cubicBezTo>
                  <a:pt x="3026631" y="1249042"/>
                  <a:pt x="3013876" y="1259975"/>
                  <a:pt x="3008410" y="1254508"/>
                </a:cubicBezTo>
                <a:close/>
                <a:moveTo>
                  <a:pt x="1242723" y="1254508"/>
                </a:moveTo>
                <a:cubicBezTo>
                  <a:pt x="1244545" y="1261797"/>
                  <a:pt x="1250012" y="1261797"/>
                  <a:pt x="1251834" y="1267263"/>
                </a:cubicBezTo>
                <a:cubicBezTo>
                  <a:pt x="1251834" y="1265441"/>
                  <a:pt x="1253656" y="1267263"/>
                  <a:pt x="1253656" y="1265441"/>
                </a:cubicBezTo>
                <a:cubicBezTo>
                  <a:pt x="1253656" y="1261797"/>
                  <a:pt x="1251834" y="1267263"/>
                  <a:pt x="1251834" y="1263619"/>
                </a:cubicBezTo>
                <a:cubicBezTo>
                  <a:pt x="1251834" y="1261797"/>
                  <a:pt x="1253656" y="1263619"/>
                  <a:pt x="1253656" y="1261797"/>
                </a:cubicBezTo>
                <a:cubicBezTo>
                  <a:pt x="1250012" y="1256330"/>
                  <a:pt x="1246367" y="1256330"/>
                  <a:pt x="1242723" y="1254508"/>
                </a:cubicBezTo>
                <a:close/>
                <a:moveTo>
                  <a:pt x="898333" y="1254508"/>
                </a:moveTo>
                <a:cubicBezTo>
                  <a:pt x="896510" y="1259975"/>
                  <a:pt x="896510" y="1263619"/>
                  <a:pt x="896510" y="1267263"/>
                </a:cubicBezTo>
                <a:cubicBezTo>
                  <a:pt x="901976" y="1270908"/>
                  <a:pt x="901976" y="1263619"/>
                  <a:pt x="905621" y="1258152"/>
                </a:cubicBezTo>
                <a:cubicBezTo>
                  <a:pt x="903799" y="1254508"/>
                  <a:pt x="900154" y="1256330"/>
                  <a:pt x="898333" y="1254508"/>
                </a:cubicBezTo>
                <a:close/>
                <a:moveTo>
                  <a:pt x="725226" y="1254508"/>
                </a:moveTo>
                <a:cubicBezTo>
                  <a:pt x="725226" y="1259975"/>
                  <a:pt x="727048" y="1258152"/>
                  <a:pt x="728870" y="1256330"/>
                </a:cubicBezTo>
                <a:cubicBezTo>
                  <a:pt x="728870" y="1254508"/>
                  <a:pt x="727048" y="1254508"/>
                  <a:pt x="725226" y="1254508"/>
                </a:cubicBezTo>
                <a:close/>
                <a:moveTo>
                  <a:pt x="692426" y="1254508"/>
                </a:moveTo>
                <a:lnTo>
                  <a:pt x="681802" y="1258492"/>
                </a:lnTo>
                <a:lnTo>
                  <a:pt x="681493" y="1258152"/>
                </a:lnTo>
                <a:lnTo>
                  <a:pt x="681581" y="1258575"/>
                </a:lnTo>
                <a:lnTo>
                  <a:pt x="677849" y="1259975"/>
                </a:lnTo>
                <a:cubicBezTo>
                  <a:pt x="679671" y="1263619"/>
                  <a:pt x="683316" y="1265441"/>
                  <a:pt x="685138" y="1269085"/>
                </a:cubicBezTo>
                <a:cubicBezTo>
                  <a:pt x="683315" y="1267263"/>
                  <a:pt x="682860" y="1265441"/>
                  <a:pt x="682632" y="1263619"/>
                </a:cubicBezTo>
                <a:lnTo>
                  <a:pt x="681581" y="1258575"/>
                </a:lnTo>
                <a:lnTo>
                  <a:pt x="681802" y="1258492"/>
                </a:lnTo>
                <a:lnTo>
                  <a:pt x="686050" y="1263163"/>
                </a:lnTo>
                <a:cubicBezTo>
                  <a:pt x="686960" y="1265896"/>
                  <a:pt x="687872" y="1269086"/>
                  <a:pt x="690604" y="1270908"/>
                </a:cubicBezTo>
                <a:lnTo>
                  <a:pt x="694096" y="1267416"/>
                </a:lnTo>
                <a:lnTo>
                  <a:pt x="692426" y="1270908"/>
                </a:lnTo>
                <a:cubicBezTo>
                  <a:pt x="696071" y="1278196"/>
                  <a:pt x="701537" y="1263619"/>
                  <a:pt x="708826" y="1263619"/>
                </a:cubicBezTo>
                <a:cubicBezTo>
                  <a:pt x="707004" y="1263619"/>
                  <a:pt x="705182" y="1263619"/>
                  <a:pt x="701537" y="1261797"/>
                </a:cubicBezTo>
                <a:lnTo>
                  <a:pt x="697134" y="1264378"/>
                </a:lnTo>
                <a:lnTo>
                  <a:pt x="701537" y="1259975"/>
                </a:lnTo>
                <a:cubicBezTo>
                  <a:pt x="701537" y="1254508"/>
                  <a:pt x="690604" y="1263619"/>
                  <a:pt x="692426" y="1254508"/>
                </a:cubicBezTo>
                <a:close/>
                <a:moveTo>
                  <a:pt x="244172" y="1254508"/>
                </a:moveTo>
                <a:cubicBezTo>
                  <a:pt x="244172" y="1256330"/>
                  <a:pt x="247816" y="1259975"/>
                  <a:pt x="249638" y="1261797"/>
                </a:cubicBezTo>
                <a:cubicBezTo>
                  <a:pt x="249638" y="1258152"/>
                  <a:pt x="253282" y="1259975"/>
                  <a:pt x="255105" y="1254508"/>
                </a:cubicBezTo>
                <a:cubicBezTo>
                  <a:pt x="253282" y="1252686"/>
                  <a:pt x="247816" y="1252686"/>
                  <a:pt x="244172" y="1254508"/>
                </a:cubicBezTo>
                <a:close/>
                <a:moveTo>
                  <a:pt x="224128" y="1254508"/>
                </a:moveTo>
                <a:lnTo>
                  <a:pt x="231236" y="1254508"/>
                </a:lnTo>
                <a:lnTo>
                  <a:pt x="234684" y="1255664"/>
                </a:lnTo>
                <a:lnTo>
                  <a:pt x="242349" y="1261797"/>
                </a:lnTo>
                <a:cubicBezTo>
                  <a:pt x="238705" y="1259975"/>
                  <a:pt x="227772" y="1258152"/>
                  <a:pt x="224128" y="1254508"/>
                </a:cubicBezTo>
                <a:close/>
                <a:moveTo>
                  <a:pt x="145774" y="1254508"/>
                </a:moveTo>
                <a:lnTo>
                  <a:pt x="157734" y="1267028"/>
                </a:lnTo>
                <a:lnTo>
                  <a:pt x="147165" y="1258681"/>
                </a:lnTo>
                <a:close/>
                <a:moveTo>
                  <a:pt x="2694996" y="1252686"/>
                </a:moveTo>
                <a:cubicBezTo>
                  <a:pt x="2696818" y="1270908"/>
                  <a:pt x="2705929" y="1285485"/>
                  <a:pt x="2718684" y="1292774"/>
                </a:cubicBezTo>
                <a:cubicBezTo>
                  <a:pt x="2700462" y="1292774"/>
                  <a:pt x="2691351" y="1274552"/>
                  <a:pt x="2689529" y="1256330"/>
                </a:cubicBezTo>
                <a:cubicBezTo>
                  <a:pt x="2687707" y="1259975"/>
                  <a:pt x="2684063" y="1258152"/>
                  <a:pt x="2676774" y="1259975"/>
                </a:cubicBezTo>
                <a:cubicBezTo>
                  <a:pt x="2693174" y="1278196"/>
                  <a:pt x="2702284" y="1303707"/>
                  <a:pt x="2720506" y="1321929"/>
                </a:cubicBezTo>
                <a:cubicBezTo>
                  <a:pt x="2722328" y="1301885"/>
                  <a:pt x="2729617" y="1278196"/>
                  <a:pt x="2731439" y="1256330"/>
                </a:cubicBezTo>
                <a:cubicBezTo>
                  <a:pt x="2725973" y="1261797"/>
                  <a:pt x="2727795" y="1252686"/>
                  <a:pt x="2720506" y="1254508"/>
                </a:cubicBezTo>
                <a:cubicBezTo>
                  <a:pt x="2718684" y="1261797"/>
                  <a:pt x="2724150" y="1259975"/>
                  <a:pt x="2725973" y="1263619"/>
                </a:cubicBezTo>
                <a:cubicBezTo>
                  <a:pt x="2720506" y="1267263"/>
                  <a:pt x="2720506" y="1259975"/>
                  <a:pt x="2716862" y="1258152"/>
                </a:cubicBezTo>
                <a:cubicBezTo>
                  <a:pt x="2711395" y="1258152"/>
                  <a:pt x="2713217" y="1263619"/>
                  <a:pt x="2705929" y="1261797"/>
                </a:cubicBezTo>
                <a:cubicBezTo>
                  <a:pt x="2700462" y="1259975"/>
                  <a:pt x="2704106" y="1250864"/>
                  <a:pt x="2694996" y="1252686"/>
                </a:cubicBezTo>
                <a:close/>
                <a:moveTo>
                  <a:pt x="1158903" y="1252686"/>
                </a:moveTo>
                <a:cubicBezTo>
                  <a:pt x="1157081" y="1254508"/>
                  <a:pt x="1157081" y="1254508"/>
                  <a:pt x="1158903" y="1254508"/>
                </a:cubicBezTo>
                <a:cubicBezTo>
                  <a:pt x="1158903" y="1256330"/>
                  <a:pt x="1160725" y="1256330"/>
                  <a:pt x="1162547" y="1254508"/>
                </a:cubicBezTo>
                <a:cubicBezTo>
                  <a:pt x="1160725" y="1254508"/>
                  <a:pt x="1160725" y="1252686"/>
                  <a:pt x="1158903" y="1252686"/>
                </a:cubicBezTo>
                <a:close/>
                <a:moveTo>
                  <a:pt x="1095127" y="1252686"/>
                </a:moveTo>
                <a:cubicBezTo>
                  <a:pt x="1095127" y="1258152"/>
                  <a:pt x="1098771" y="1265441"/>
                  <a:pt x="1104238" y="1267263"/>
                </a:cubicBezTo>
                <a:cubicBezTo>
                  <a:pt x="1106060" y="1269085"/>
                  <a:pt x="1102416" y="1267263"/>
                  <a:pt x="1102416" y="1269085"/>
                </a:cubicBezTo>
                <a:cubicBezTo>
                  <a:pt x="1106060" y="1270908"/>
                  <a:pt x="1104238" y="1272730"/>
                  <a:pt x="1106060" y="1274552"/>
                </a:cubicBezTo>
                <a:cubicBezTo>
                  <a:pt x="1109704" y="1269085"/>
                  <a:pt x="1109704" y="1263619"/>
                  <a:pt x="1106060" y="1254508"/>
                </a:cubicBezTo>
                <a:cubicBezTo>
                  <a:pt x="1102416" y="1252686"/>
                  <a:pt x="1098771" y="1252686"/>
                  <a:pt x="1095127" y="1252686"/>
                </a:cubicBezTo>
                <a:close/>
                <a:moveTo>
                  <a:pt x="934777" y="1252686"/>
                </a:moveTo>
                <a:cubicBezTo>
                  <a:pt x="927487" y="1258152"/>
                  <a:pt x="934777" y="1267263"/>
                  <a:pt x="938420" y="1265441"/>
                </a:cubicBezTo>
                <a:cubicBezTo>
                  <a:pt x="943886" y="1267263"/>
                  <a:pt x="934777" y="1263619"/>
                  <a:pt x="936598" y="1258152"/>
                </a:cubicBezTo>
                <a:cubicBezTo>
                  <a:pt x="940242" y="1261797"/>
                  <a:pt x="940242" y="1259975"/>
                  <a:pt x="943886" y="1258152"/>
                </a:cubicBezTo>
                <a:cubicBezTo>
                  <a:pt x="942064" y="1254508"/>
                  <a:pt x="938420" y="1254508"/>
                  <a:pt x="934777" y="1252686"/>
                </a:cubicBezTo>
                <a:close/>
                <a:moveTo>
                  <a:pt x="743447" y="1252686"/>
                </a:moveTo>
                <a:cubicBezTo>
                  <a:pt x="741626" y="1252686"/>
                  <a:pt x="739803" y="1254508"/>
                  <a:pt x="737981" y="1256330"/>
                </a:cubicBezTo>
                <a:cubicBezTo>
                  <a:pt x="739803" y="1258152"/>
                  <a:pt x="743447" y="1254508"/>
                  <a:pt x="745269" y="1258152"/>
                </a:cubicBezTo>
                <a:cubicBezTo>
                  <a:pt x="745269" y="1256330"/>
                  <a:pt x="743447" y="1254508"/>
                  <a:pt x="743447" y="1252686"/>
                </a:cubicBezTo>
                <a:close/>
                <a:moveTo>
                  <a:pt x="692426" y="1252686"/>
                </a:moveTo>
                <a:cubicBezTo>
                  <a:pt x="692426" y="1256330"/>
                  <a:pt x="697893" y="1254508"/>
                  <a:pt x="699715" y="1256330"/>
                </a:cubicBezTo>
                <a:cubicBezTo>
                  <a:pt x="699715" y="1252686"/>
                  <a:pt x="694249" y="1252686"/>
                  <a:pt x="692426" y="1252686"/>
                </a:cubicBezTo>
                <a:close/>
                <a:moveTo>
                  <a:pt x="173107" y="1252686"/>
                </a:moveTo>
                <a:lnTo>
                  <a:pt x="196187" y="1264923"/>
                </a:lnTo>
                <a:lnTo>
                  <a:pt x="193378" y="1264302"/>
                </a:lnTo>
                <a:cubicBezTo>
                  <a:pt x="186773" y="1260886"/>
                  <a:pt x="180395" y="1256330"/>
                  <a:pt x="173107" y="1252686"/>
                </a:cubicBezTo>
                <a:close/>
                <a:moveTo>
                  <a:pt x="304075" y="1252458"/>
                </a:moveTo>
                <a:cubicBezTo>
                  <a:pt x="304303" y="1251775"/>
                  <a:pt x="305214" y="1251775"/>
                  <a:pt x="307948" y="1252686"/>
                </a:cubicBezTo>
                <a:cubicBezTo>
                  <a:pt x="307948" y="1252686"/>
                  <a:pt x="304303" y="1254508"/>
                  <a:pt x="304303" y="1256330"/>
                </a:cubicBezTo>
                <a:cubicBezTo>
                  <a:pt x="304303" y="1254508"/>
                  <a:pt x="303847" y="1253142"/>
                  <a:pt x="304075" y="1252458"/>
                </a:cubicBezTo>
                <a:close/>
                <a:moveTo>
                  <a:pt x="1153436" y="1252230"/>
                </a:moveTo>
                <a:cubicBezTo>
                  <a:pt x="1152980" y="1253142"/>
                  <a:pt x="1152525" y="1254508"/>
                  <a:pt x="1151614" y="1254508"/>
                </a:cubicBezTo>
                <a:cubicBezTo>
                  <a:pt x="1151614" y="1254508"/>
                  <a:pt x="1153436" y="1256330"/>
                  <a:pt x="1153436" y="1256330"/>
                </a:cubicBezTo>
                <a:cubicBezTo>
                  <a:pt x="1155259" y="1254508"/>
                  <a:pt x="1151614" y="1254508"/>
                  <a:pt x="1155259" y="1252686"/>
                </a:cubicBezTo>
                <a:cubicBezTo>
                  <a:pt x="1154347" y="1250864"/>
                  <a:pt x="1153892" y="1251320"/>
                  <a:pt x="1153436" y="1252230"/>
                </a:cubicBezTo>
                <a:close/>
                <a:moveTo>
                  <a:pt x="982835" y="1252230"/>
                </a:moveTo>
                <a:cubicBezTo>
                  <a:pt x="980786" y="1254508"/>
                  <a:pt x="979419" y="1258152"/>
                  <a:pt x="980330" y="1259975"/>
                </a:cubicBezTo>
                <a:cubicBezTo>
                  <a:pt x="983974" y="1258152"/>
                  <a:pt x="989441" y="1254508"/>
                  <a:pt x="989441" y="1252686"/>
                </a:cubicBezTo>
                <a:cubicBezTo>
                  <a:pt x="987618" y="1249042"/>
                  <a:pt x="984885" y="1249952"/>
                  <a:pt x="982835" y="1252230"/>
                </a:cubicBezTo>
                <a:close/>
                <a:moveTo>
                  <a:pt x="2994288" y="1251547"/>
                </a:moveTo>
                <a:cubicBezTo>
                  <a:pt x="2990643" y="1253142"/>
                  <a:pt x="2988366" y="1258152"/>
                  <a:pt x="2990188" y="1267263"/>
                </a:cubicBezTo>
                <a:cubicBezTo>
                  <a:pt x="2993832" y="1265441"/>
                  <a:pt x="2999299" y="1265441"/>
                  <a:pt x="2997477" y="1258152"/>
                </a:cubicBezTo>
                <a:cubicBezTo>
                  <a:pt x="3002943" y="1256330"/>
                  <a:pt x="3004765" y="1259975"/>
                  <a:pt x="3004765" y="1261797"/>
                </a:cubicBezTo>
                <a:cubicBezTo>
                  <a:pt x="3008410" y="1261797"/>
                  <a:pt x="3002943" y="1256330"/>
                  <a:pt x="3006587" y="1256330"/>
                </a:cubicBezTo>
                <a:cubicBezTo>
                  <a:pt x="3002943" y="1251774"/>
                  <a:pt x="2997932" y="1249952"/>
                  <a:pt x="2994288" y="1251547"/>
                </a:cubicBezTo>
                <a:close/>
                <a:moveTo>
                  <a:pt x="337786" y="1251547"/>
                </a:moveTo>
                <a:cubicBezTo>
                  <a:pt x="335736" y="1251775"/>
                  <a:pt x="334369" y="1252686"/>
                  <a:pt x="335280" y="1254508"/>
                </a:cubicBezTo>
                <a:cubicBezTo>
                  <a:pt x="338926" y="1256330"/>
                  <a:pt x="344391" y="1256330"/>
                  <a:pt x="344391" y="1252686"/>
                </a:cubicBezTo>
                <a:cubicBezTo>
                  <a:pt x="342569" y="1251775"/>
                  <a:pt x="339836" y="1251319"/>
                  <a:pt x="337786" y="1251547"/>
                </a:cubicBezTo>
                <a:close/>
                <a:moveTo>
                  <a:pt x="354185" y="1251320"/>
                </a:moveTo>
                <a:cubicBezTo>
                  <a:pt x="349857" y="1251775"/>
                  <a:pt x="346213" y="1254508"/>
                  <a:pt x="346213" y="1259975"/>
                </a:cubicBezTo>
                <a:cubicBezTo>
                  <a:pt x="335280" y="1249042"/>
                  <a:pt x="326169" y="1256330"/>
                  <a:pt x="320703" y="1259975"/>
                </a:cubicBezTo>
                <a:cubicBezTo>
                  <a:pt x="326169" y="1261797"/>
                  <a:pt x="329814" y="1263619"/>
                  <a:pt x="333458" y="1267263"/>
                </a:cubicBezTo>
                <a:cubicBezTo>
                  <a:pt x="322525" y="1259975"/>
                  <a:pt x="313414" y="1259975"/>
                  <a:pt x="302481" y="1263619"/>
                </a:cubicBezTo>
                <a:cubicBezTo>
                  <a:pt x="300660" y="1261797"/>
                  <a:pt x="300660" y="1261797"/>
                  <a:pt x="304303" y="1261797"/>
                </a:cubicBezTo>
                <a:cubicBezTo>
                  <a:pt x="302481" y="1261797"/>
                  <a:pt x="298837" y="1259975"/>
                  <a:pt x="297015" y="1259975"/>
                </a:cubicBezTo>
                <a:cubicBezTo>
                  <a:pt x="295193" y="1261797"/>
                  <a:pt x="297015" y="1265441"/>
                  <a:pt x="295193" y="1267263"/>
                </a:cubicBezTo>
                <a:cubicBezTo>
                  <a:pt x="315236" y="1276374"/>
                  <a:pt x="338926" y="1283663"/>
                  <a:pt x="351680" y="1274552"/>
                </a:cubicBezTo>
                <a:cubicBezTo>
                  <a:pt x="351680" y="1274552"/>
                  <a:pt x="349858" y="1276374"/>
                  <a:pt x="349858" y="1276374"/>
                </a:cubicBezTo>
                <a:cubicBezTo>
                  <a:pt x="353502" y="1278196"/>
                  <a:pt x="357146" y="1274552"/>
                  <a:pt x="360791" y="1278196"/>
                </a:cubicBezTo>
                <a:cubicBezTo>
                  <a:pt x="358969" y="1274552"/>
                  <a:pt x="358969" y="1274552"/>
                  <a:pt x="358969" y="1272730"/>
                </a:cubicBezTo>
                <a:cubicBezTo>
                  <a:pt x="360791" y="1278196"/>
                  <a:pt x="366257" y="1278196"/>
                  <a:pt x="369902" y="1278196"/>
                </a:cubicBezTo>
                <a:cubicBezTo>
                  <a:pt x="366257" y="1276374"/>
                  <a:pt x="366257" y="1274552"/>
                  <a:pt x="364435" y="1272730"/>
                </a:cubicBezTo>
                <a:cubicBezTo>
                  <a:pt x="368079" y="1272730"/>
                  <a:pt x="369902" y="1274552"/>
                  <a:pt x="371724" y="1276374"/>
                </a:cubicBezTo>
                <a:cubicBezTo>
                  <a:pt x="369902" y="1274552"/>
                  <a:pt x="369902" y="1274552"/>
                  <a:pt x="368079" y="1272730"/>
                </a:cubicBezTo>
                <a:cubicBezTo>
                  <a:pt x="373546" y="1276374"/>
                  <a:pt x="375368" y="1269085"/>
                  <a:pt x="379012" y="1270908"/>
                </a:cubicBezTo>
                <a:cubicBezTo>
                  <a:pt x="377190" y="1267263"/>
                  <a:pt x="382657" y="1263619"/>
                  <a:pt x="375368" y="1259975"/>
                </a:cubicBezTo>
                <a:cubicBezTo>
                  <a:pt x="379012" y="1263619"/>
                  <a:pt x="382657" y="1261797"/>
                  <a:pt x="382657" y="1259975"/>
                </a:cubicBezTo>
                <a:cubicBezTo>
                  <a:pt x="381746" y="1258152"/>
                  <a:pt x="380379" y="1259064"/>
                  <a:pt x="378785" y="1259974"/>
                </a:cubicBezTo>
                <a:lnTo>
                  <a:pt x="373717" y="1259975"/>
                </a:lnTo>
                <a:lnTo>
                  <a:pt x="379012" y="1258152"/>
                </a:lnTo>
                <a:cubicBezTo>
                  <a:pt x="377190" y="1258152"/>
                  <a:pt x="375368" y="1258152"/>
                  <a:pt x="373546" y="1259975"/>
                </a:cubicBezTo>
                <a:lnTo>
                  <a:pt x="373717" y="1259975"/>
                </a:lnTo>
                <a:lnTo>
                  <a:pt x="365119" y="1262935"/>
                </a:lnTo>
                <a:cubicBezTo>
                  <a:pt x="361246" y="1266808"/>
                  <a:pt x="358057" y="1271819"/>
                  <a:pt x="355324" y="1274552"/>
                </a:cubicBezTo>
                <a:cubicBezTo>
                  <a:pt x="351680" y="1270908"/>
                  <a:pt x="353502" y="1272730"/>
                  <a:pt x="355324" y="1270908"/>
                </a:cubicBezTo>
                <a:cubicBezTo>
                  <a:pt x="353502" y="1270908"/>
                  <a:pt x="351680" y="1270908"/>
                  <a:pt x="351680" y="1270908"/>
                </a:cubicBezTo>
                <a:cubicBezTo>
                  <a:pt x="351680" y="1269085"/>
                  <a:pt x="353502" y="1269085"/>
                  <a:pt x="353502" y="1269085"/>
                </a:cubicBezTo>
                <a:cubicBezTo>
                  <a:pt x="351680" y="1267263"/>
                  <a:pt x="349858" y="1269085"/>
                  <a:pt x="348037" y="1267263"/>
                </a:cubicBezTo>
                <a:cubicBezTo>
                  <a:pt x="357146" y="1265441"/>
                  <a:pt x="369902" y="1263619"/>
                  <a:pt x="366257" y="1256330"/>
                </a:cubicBezTo>
                <a:cubicBezTo>
                  <a:pt x="363524" y="1252686"/>
                  <a:pt x="358513" y="1250864"/>
                  <a:pt x="354185" y="1251320"/>
                </a:cubicBezTo>
                <a:close/>
                <a:moveTo>
                  <a:pt x="298837" y="1251319"/>
                </a:moveTo>
                <a:cubicBezTo>
                  <a:pt x="297470" y="1252686"/>
                  <a:pt x="297926" y="1255419"/>
                  <a:pt x="300660" y="1258152"/>
                </a:cubicBezTo>
                <a:cubicBezTo>
                  <a:pt x="306126" y="1263619"/>
                  <a:pt x="311592" y="1263619"/>
                  <a:pt x="318882" y="1259975"/>
                </a:cubicBezTo>
                <a:cubicBezTo>
                  <a:pt x="315236" y="1258152"/>
                  <a:pt x="311592" y="1254508"/>
                  <a:pt x="307948" y="1252686"/>
                </a:cubicBezTo>
                <a:cubicBezTo>
                  <a:pt x="303392" y="1249952"/>
                  <a:pt x="300204" y="1249952"/>
                  <a:pt x="298837" y="1251319"/>
                </a:cubicBezTo>
                <a:close/>
                <a:moveTo>
                  <a:pt x="3329112" y="1250864"/>
                </a:moveTo>
                <a:cubicBezTo>
                  <a:pt x="3323646" y="1250864"/>
                  <a:pt x="3325468" y="1259975"/>
                  <a:pt x="3330934" y="1256330"/>
                </a:cubicBezTo>
                <a:cubicBezTo>
                  <a:pt x="3330934" y="1254508"/>
                  <a:pt x="3329112" y="1254508"/>
                  <a:pt x="3329112" y="1250864"/>
                </a:cubicBezTo>
                <a:close/>
                <a:moveTo>
                  <a:pt x="3252581" y="1250864"/>
                </a:moveTo>
                <a:lnTo>
                  <a:pt x="3254403" y="1254508"/>
                </a:lnTo>
                <a:cubicBezTo>
                  <a:pt x="3256225" y="1254508"/>
                  <a:pt x="3258047" y="1254508"/>
                  <a:pt x="3258047" y="1250864"/>
                </a:cubicBezTo>
                <a:cubicBezTo>
                  <a:pt x="3256225" y="1250864"/>
                  <a:pt x="3254403" y="1250864"/>
                  <a:pt x="3252581" y="1250864"/>
                </a:cubicBezTo>
                <a:close/>
                <a:moveTo>
                  <a:pt x="2427136" y="1250864"/>
                </a:moveTo>
                <a:cubicBezTo>
                  <a:pt x="2425314" y="1254508"/>
                  <a:pt x="2416203" y="1250864"/>
                  <a:pt x="2418025" y="1258152"/>
                </a:cubicBezTo>
                <a:cubicBezTo>
                  <a:pt x="2419847" y="1259975"/>
                  <a:pt x="2419847" y="1259975"/>
                  <a:pt x="2421669" y="1259975"/>
                </a:cubicBezTo>
                <a:cubicBezTo>
                  <a:pt x="2419847" y="1259975"/>
                  <a:pt x="2419847" y="1261797"/>
                  <a:pt x="2418025" y="1261797"/>
                </a:cubicBezTo>
                <a:lnTo>
                  <a:pt x="2419847" y="1269085"/>
                </a:lnTo>
                <a:lnTo>
                  <a:pt x="2412559" y="1269085"/>
                </a:lnTo>
                <a:cubicBezTo>
                  <a:pt x="2410737" y="1270908"/>
                  <a:pt x="2410737" y="1272730"/>
                  <a:pt x="2412559" y="1276374"/>
                </a:cubicBezTo>
                <a:cubicBezTo>
                  <a:pt x="2410737" y="1276374"/>
                  <a:pt x="2408914" y="1278196"/>
                  <a:pt x="2408914" y="1280018"/>
                </a:cubicBezTo>
                <a:cubicBezTo>
                  <a:pt x="2410737" y="1281841"/>
                  <a:pt x="2412559" y="1280018"/>
                  <a:pt x="2416203" y="1276374"/>
                </a:cubicBezTo>
                <a:cubicBezTo>
                  <a:pt x="2414381" y="1276374"/>
                  <a:pt x="2414381" y="1274552"/>
                  <a:pt x="2414381" y="1272730"/>
                </a:cubicBezTo>
                <a:cubicBezTo>
                  <a:pt x="2416203" y="1272730"/>
                  <a:pt x="2416203" y="1272730"/>
                  <a:pt x="2418025" y="1272730"/>
                </a:cubicBezTo>
                <a:cubicBezTo>
                  <a:pt x="2419847" y="1270908"/>
                  <a:pt x="2419847" y="1270908"/>
                  <a:pt x="2421669" y="1269085"/>
                </a:cubicBezTo>
                <a:lnTo>
                  <a:pt x="2430780" y="1269085"/>
                </a:lnTo>
                <a:cubicBezTo>
                  <a:pt x="2432603" y="1265441"/>
                  <a:pt x="2432603" y="1259975"/>
                  <a:pt x="2430780" y="1256330"/>
                </a:cubicBezTo>
                <a:cubicBezTo>
                  <a:pt x="2428958" y="1258152"/>
                  <a:pt x="2428958" y="1259975"/>
                  <a:pt x="2427136" y="1258152"/>
                </a:cubicBezTo>
                <a:cubicBezTo>
                  <a:pt x="2425314" y="1256330"/>
                  <a:pt x="2427136" y="1252686"/>
                  <a:pt x="2427136" y="1250864"/>
                </a:cubicBezTo>
                <a:close/>
                <a:moveTo>
                  <a:pt x="2390693" y="1250864"/>
                </a:moveTo>
                <a:cubicBezTo>
                  <a:pt x="2387048" y="1249042"/>
                  <a:pt x="2383404" y="1252686"/>
                  <a:pt x="2379760" y="1254508"/>
                </a:cubicBezTo>
                <a:cubicBezTo>
                  <a:pt x="2381582" y="1259975"/>
                  <a:pt x="2376115" y="1263619"/>
                  <a:pt x="2377937" y="1265441"/>
                </a:cubicBezTo>
                <a:cubicBezTo>
                  <a:pt x="2383404" y="1261797"/>
                  <a:pt x="2388871" y="1256330"/>
                  <a:pt x="2390693" y="1250864"/>
                </a:cubicBezTo>
                <a:close/>
                <a:moveTo>
                  <a:pt x="2097323" y="1250864"/>
                </a:moveTo>
                <a:lnTo>
                  <a:pt x="2095500" y="1258152"/>
                </a:lnTo>
                <a:cubicBezTo>
                  <a:pt x="2099145" y="1256330"/>
                  <a:pt x="2102790" y="1254508"/>
                  <a:pt x="2106433" y="1252686"/>
                </a:cubicBezTo>
                <a:cubicBezTo>
                  <a:pt x="2102790" y="1252686"/>
                  <a:pt x="2099145" y="1256330"/>
                  <a:pt x="2097323" y="1250864"/>
                </a:cubicBezTo>
                <a:close/>
                <a:moveTo>
                  <a:pt x="1244545" y="1250864"/>
                </a:moveTo>
                <a:cubicBezTo>
                  <a:pt x="1246367" y="1254508"/>
                  <a:pt x="1250012" y="1252686"/>
                  <a:pt x="1253656" y="1259975"/>
                </a:cubicBezTo>
                <a:lnTo>
                  <a:pt x="1253656" y="1254508"/>
                </a:lnTo>
                <a:lnTo>
                  <a:pt x="1253656" y="1252686"/>
                </a:lnTo>
                <a:cubicBezTo>
                  <a:pt x="1253656" y="1250864"/>
                  <a:pt x="1251834" y="1250864"/>
                  <a:pt x="1250012" y="1250864"/>
                </a:cubicBezTo>
                <a:cubicBezTo>
                  <a:pt x="1250012" y="1250864"/>
                  <a:pt x="1253656" y="1252686"/>
                  <a:pt x="1253656" y="1254508"/>
                </a:cubicBezTo>
                <a:cubicBezTo>
                  <a:pt x="1250012" y="1256330"/>
                  <a:pt x="1248189" y="1249042"/>
                  <a:pt x="1244545" y="1250864"/>
                </a:cubicBezTo>
                <a:close/>
                <a:moveTo>
                  <a:pt x="920198" y="1250864"/>
                </a:moveTo>
                <a:cubicBezTo>
                  <a:pt x="918376" y="1252686"/>
                  <a:pt x="922020" y="1256330"/>
                  <a:pt x="920198" y="1259975"/>
                </a:cubicBezTo>
                <a:lnTo>
                  <a:pt x="925664" y="1259975"/>
                </a:lnTo>
                <a:lnTo>
                  <a:pt x="923843" y="1261797"/>
                </a:lnTo>
                <a:cubicBezTo>
                  <a:pt x="925666" y="1270908"/>
                  <a:pt x="931131" y="1269085"/>
                  <a:pt x="934777" y="1267263"/>
                </a:cubicBezTo>
                <a:cubicBezTo>
                  <a:pt x="931131" y="1263619"/>
                  <a:pt x="929309" y="1259975"/>
                  <a:pt x="927487" y="1258152"/>
                </a:cubicBezTo>
                <a:lnTo>
                  <a:pt x="925666" y="1259975"/>
                </a:lnTo>
                <a:close/>
                <a:moveTo>
                  <a:pt x="750737" y="1250864"/>
                </a:moveTo>
                <a:cubicBezTo>
                  <a:pt x="750737" y="1252686"/>
                  <a:pt x="748914" y="1254508"/>
                  <a:pt x="748914" y="1256330"/>
                </a:cubicBezTo>
                <a:cubicBezTo>
                  <a:pt x="750737" y="1256330"/>
                  <a:pt x="756203" y="1256330"/>
                  <a:pt x="754380" y="1256330"/>
                </a:cubicBezTo>
                <a:cubicBezTo>
                  <a:pt x="752558" y="1254508"/>
                  <a:pt x="752558" y="1252686"/>
                  <a:pt x="750737" y="1250864"/>
                </a:cubicBezTo>
                <a:close/>
                <a:moveTo>
                  <a:pt x="721581" y="1250864"/>
                </a:moveTo>
                <a:cubicBezTo>
                  <a:pt x="719759" y="1254508"/>
                  <a:pt x="723404" y="1256330"/>
                  <a:pt x="725226" y="1252686"/>
                </a:cubicBezTo>
                <a:cubicBezTo>
                  <a:pt x="725226" y="1250864"/>
                  <a:pt x="723404" y="1252686"/>
                  <a:pt x="721581" y="1250864"/>
                </a:cubicBezTo>
                <a:close/>
                <a:moveTo>
                  <a:pt x="714293" y="1250864"/>
                </a:moveTo>
                <a:lnTo>
                  <a:pt x="712364" y="1253758"/>
                </a:lnTo>
                <a:lnTo>
                  <a:pt x="710648" y="1252686"/>
                </a:lnTo>
                <a:cubicBezTo>
                  <a:pt x="707004" y="1254508"/>
                  <a:pt x="710648" y="1256330"/>
                  <a:pt x="710648" y="1256330"/>
                </a:cubicBezTo>
                <a:lnTo>
                  <a:pt x="712364" y="1253758"/>
                </a:lnTo>
                <a:lnTo>
                  <a:pt x="712471" y="1253825"/>
                </a:lnTo>
                <a:cubicBezTo>
                  <a:pt x="712926" y="1253142"/>
                  <a:pt x="713382" y="1251775"/>
                  <a:pt x="714293" y="1250864"/>
                </a:cubicBezTo>
                <a:close/>
                <a:moveTo>
                  <a:pt x="464655" y="1250864"/>
                </a:moveTo>
                <a:cubicBezTo>
                  <a:pt x="462832" y="1250864"/>
                  <a:pt x="461010" y="1250864"/>
                  <a:pt x="461010" y="1252686"/>
                </a:cubicBezTo>
                <a:cubicBezTo>
                  <a:pt x="462832" y="1254508"/>
                  <a:pt x="464655" y="1254508"/>
                  <a:pt x="466478" y="1256330"/>
                </a:cubicBezTo>
                <a:cubicBezTo>
                  <a:pt x="468299" y="1254508"/>
                  <a:pt x="468299" y="1254508"/>
                  <a:pt x="464655" y="1250864"/>
                </a:cubicBezTo>
                <a:close/>
                <a:moveTo>
                  <a:pt x="419100" y="1250864"/>
                </a:moveTo>
                <a:cubicBezTo>
                  <a:pt x="409989" y="1247219"/>
                  <a:pt x="404523" y="1254508"/>
                  <a:pt x="397234" y="1256330"/>
                </a:cubicBezTo>
                <a:cubicBezTo>
                  <a:pt x="400879" y="1254508"/>
                  <a:pt x="406345" y="1258152"/>
                  <a:pt x="411812" y="1259975"/>
                </a:cubicBezTo>
                <a:cubicBezTo>
                  <a:pt x="409989" y="1259975"/>
                  <a:pt x="409989" y="1258152"/>
                  <a:pt x="409989" y="1254508"/>
                </a:cubicBezTo>
                <a:lnTo>
                  <a:pt x="424567" y="1261797"/>
                </a:lnTo>
                <a:lnTo>
                  <a:pt x="428211" y="1263619"/>
                </a:lnTo>
                <a:lnTo>
                  <a:pt x="426726" y="1261797"/>
                </a:lnTo>
                <a:lnTo>
                  <a:pt x="430034" y="1261797"/>
                </a:lnTo>
                <a:cubicBezTo>
                  <a:pt x="428211" y="1259975"/>
                  <a:pt x="428211" y="1259975"/>
                  <a:pt x="428211" y="1258152"/>
                </a:cubicBezTo>
                <a:cubicBezTo>
                  <a:pt x="431856" y="1259975"/>
                  <a:pt x="433678" y="1259975"/>
                  <a:pt x="435500" y="1258152"/>
                </a:cubicBezTo>
                <a:cubicBezTo>
                  <a:pt x="434589" y="1257241"/>
                  <a:pt x="432311" y="1257697"/>
                  <a:pt x="430490" y="1257469"/>
                </a:cubicBezTo>
                <a:lnTo>
                  <a:pt x="428486" y="1253264"/>
                </a:lnTo>
                <a:lnTo>
                  <a:pt x="429003" y="1253055"/>
                </a:lnTo>
                <a:lnTo>
                  <a:pt x="435044" y="1255875"/>
                </a:lnTo>
                <a:cubicBezTo>
                  <a:pt x="437322" y="1256330"/>
                  <a:pt x="439145" y="1255419"/>
                  <a:pt x="439145" y="1250864"/>
                </a:cubicBezTo>
                <a:cubicBezTo>
                  <a:pt x="436411" y="1252686"/>
                  <a:pt x="432767" y="1252686"/>
                  <a:pt x="429350" y="1252914"/>
                </a:cubicBezTo>
                <a:lnTo>
                  <a:pt x="429003" y="1253055"/>
                </a:lnTo>
                <a:lnTo>
                  <a:pt x="428211" y="1252686"/>
                </a:lnTo>
                <a:lnTo>
                  <a:pt x="428486" y="1253264"/>
                </a:lnTo>
                <a:lnTo>
                  <a:pt x="421184" y="1256224"/>
                </a:lnTo>
                <a:lnTo>
                  <a:pt x="415456" y="1252686"/>
                </a:lnTo>
                <a:cubicBezTo>
                  <a:pt x="415456" y="1252686"/>
                  <a:pt x="417278" y="1250864"/>
                  <a:pt x="419100" y="1250864"/>
                </a:cubicBezTo>
                <a:close/>
                <a:moveTo>
                  <a:pt x="282438" y="1250864"/>
                </a:moveTo>
                <a:cubicBezTo>
                  <a:pt x="276971" y="1250864"/>
                  <a:pt x="275149" y="1250864"/>
                  <a:pt x="269682" y="1252686"/>
                </a:cubicBezTo>
                <a:lnTo>
                  <a:pt x="280537" y="1254043"/>
                </a:lnTo>
                <a:lnTo>
                  <a:pt x="280843" y="1254280"/>
                </a:lnTo>
                <a:cubicBezTo>
                  <a:pt x="281982" y="1254052"/>
                  <a:pt x="283348" y="1253597"/>
                  <a:pt x="284259" y="1254508"/>
                </a:cubicBezTo>
                <a:lnTo>
                  <a:pt x="280537" y="1254043"/>
                </a:lnTo>
                <a:lnTo>
                  <a:pt x="278793" y="1252686"/>
                </a:lnTo>
                <a:cubicBezTo>
                  <a:pt x="278793" y="1250864"/>
                  <a:pt x="280615" y="1252686"/>
                  <a:pt x="282438" y="1250864"/>
                </a:cubicBezTo>
                <a:close/>
                <a:moveTo>
                  <a:pt x="1263054" y="1250832"/>
                </a:moveTo>
                <a:lnTo>
                  <a:pt x="1263487" y="1251104"/>
                </a:lnTo>
                <a:lnTo>
                  <a:pt x="1262767" y="1250864"/>
                </a:lnTo>
                <a:close/>
                <a:moveTo>
                  <a:pt x="320931" y="1250636"/>
                </a:moveTo>
                <a:cubicBezTo>
                  <a:pt x="317515" y="1250409"/>
                  <a:pt x="314326" y="1250864"/>
                  <a:pt x="311592" y="1252686"/>
                </a:cubicBezTo>
                <a:cubicBezTo>
                  <a:pt x="315236" y="1256330"/>
                  <a:pt x="317059" y="1256330"/>
                  <a:pt x="320703" y="1258152"/>
                </a:cubicBezTo>
                <a:cubicBezTo>
                  <a:pt x="326169" y="1258152"/>
                  <a:pt x="326169" y="1252686"/>
                  <a:pt x="331636" y="1252686"/>
                </a:cubicBezTo>
                <a:cubicBezTo>
                  <a:pt x="327992" y="1251775"/>
                  <a:pt x="324348" y="1250864"/>
                  <a:pt x="320931" y="1250636"/>
                </a:cubicBezTo>
                <a:close/>
                <a:moveTo>
                  <a:pt x="1177125" y="1249511"/>
                </a:moveTo>
                <a:lnTo>
                  <a:pt x="1177125" y="1250864"/>
                </a:lnTo>
                <a:lnTo>
                  <a:pt x="1176601" y="1250340"/>
                </a:lnTo>
                <a:close/>
                <a:moveTo>
                  <a:pt x="3281736" y="1249042"/>
                </a:moveTo>
                <a:cubicBezTo>
                  <a:pt x="3268980" y="1250864"/>
                  <a:pt x="3265336" y="1263619"/>
                  <a:pt x="3258047" y="1270908"/>
                </a:cubicBezTo>
                <a:cubicBezTo>
                  <a:pt x="3261692" y="1269085"/>
                  <a:pt x="3265336" y="1265441"/>
                  <a:pt x="3268980" y="1265441"/>
                </a:cubicBezTo>
                <a:cubicBezTo>
                  <a:pt x="3268980" y="1269085"/>
                  <a:pt x="3272625" y="1274552"/>
                  <a:pt x="3270803" y="1274552"/>
                </a:cubicBezTo>
                <a:cubicBezTo>
                  <a:pt x="3265336" y="1274552"/>
                  <a:pt x="3259869" y="1269085"/>
                  <a:pt x="3254403" y="1272730"/>
                </a:cubicBezTo>
                <a:cubicBezTo>
                  <a:pt x="3250759" y="1274552"/>
                  <a:pt x="3258047" y="1280018"/>
                  <a:pt x="3258047" y="1285485"/>
                </a:cubicBezTo>
                <a:cubicBezTo>
                  <a:pt x="3252581" y="1290951"/>
                  <a:pt x="3247114" y="1285485"/>
                  <a:pt x="3241648" y="1289129"/>
                </a:cubicBezTo>
                <a:cubicBezTo>
                  <a:pt x="3245292" y="1292774"/>
                  <a:pt x="3250759" y="1294596"/>
                  <a:pt x="3254403" y="1290951"/>
                </a:cubicBezTo>
                <a:cubicBezTo>
                  <a:pt x="3254403" y="1298240"/>
                  <a:pt x="3263514" y="1305529"/>
                  <a:pt x="3270803" y="1298240"/>
                </a:cubicBezTo>
                <a:cubicBezTo>
                  <a:pt x="3270803" y="1296418"/>
                  <a:pt x="3267158" y="1294596"/>
                  <a:pt x="3268980" y="1292774"/>
                </a:cubicBezTo>
                <a:cubicBezTo>
                  <a:pt x="3265336" y="1292774"/>
                  <a:pt x="3265336" y="1298240"/>
                  <a:pt x="3263514" y="1298240"/>
                </a:cubicBezTo>
                <a:cubicBezTo>
                  <a:pt x="3259869" y="1296418"/>
                  <a:pt x="3263514" y="1290951"/>
                  <a:pt x="3261692" y="1289129"/>
                </a:cubicBezTo>
                <a:cubicBezTo>
                  <a:pt x="3265336" y="1290951"/>
                  <a:pt x="3268980" y="1290951"/>
                  <a:pt x="3268980" y="1289129"/>
                </a:cubicBezTo>
                <a:cubicBezTo>
                  <a:pt x="3268980" y="1285485"/>
                  <a:pt x="3263514" y="1289129"/>
                  <a:pt x="3261692" y="1287307"/>
                </a:cubicBezTo>
                <a:cubicBezTo>
                  <a:pt x="3268980" y="1278196"/>
                  <a:pt x="3292669" y="1272730"/>
                  <a:pt x="3285380" y="1258152"/>
                </a:cubicBezTo>
                <a:cubicBezTo>
                  <a:pt x="3283558" y="1259975"/>
                  <a:pt x="3283558" y="1263619"/>
                  <a:pt x="3281736" y="1265441"/>
                </a:cubicBezTo>
                <a:cubicBezTo>
                  <a:pt x="3276269" y="1267263"/>
                  <a:pt x="3272625" y="1261797"/>
                  <a:pt x="3274447" y="1258152"/>
                </a:cubicBezTo>
                <a:cubicBezTo>
                  <a:pt x="3274447" y="1252686"/>
                  <a:pt x="3279913" y="1258152"/>
                  <a:pt x="3283558" y="1256330"/>
                </a:cubicBezTo>
                <a:cubicBezTo>
                  <a:pt x="3285380" y="1250864"/>
                  <a:pt x="3278091" y="1252686"/>
                  <a:pt x="3281736" y="1249042"/>
                </a:cubicBezTo>
                <a:close/>
                <a:moveTo>
                  <a:pt x="1175303" y="1249042"/>
                </a:moveTo>
                <a:lnTo>
                  <a:pt x="1176601" y="1250340"/>
                </a:lnTo>
                <a:lnTo>
                  <a:pt x="1173082" y="1255900"/>
                </a:lnTo>
                <a:lnTo>
                  <a:pt x="1173937" y="1252914"/>
                </a:lnTo>
                <a:lnTo>
                  <a:pt x="1174559" y="1249488"/>
                </a:lnTo>
                <a:close/>
                <a:moveTo>
                  <a:pt x="1089660" y="1249042"/>
                </a:moveTo>
                <a:cubicBezTo>
                  <a:pt x="1087838" y="1250864"/>
                  <a:pt x="1087838" y="1254508"/>
                  <a:pt x="1089660" y="1254508"/>
                </a:cubicBezTo>
                <a:cubicBezTo>
                  <a:pt x="1091484" y="1256330"/>
                  <a:pt x="1091484" y="1252686"/>
                  <a:pt x="1093305" y="1254508"/>
                </a:cubicBezTo>
                <a:cubicBezTo>
                  <a:pt x="1093305" y="1250864"/>
                  <a:pt x="1089660" y="1252686"/>
                  <a:pt x="1089660" y="1249042"/>
                </a:cubicBezTo>
                <a:close/>
                <a:moveTo>
                  <a:pt x="1014951" y="1249042"/>
                </a:moveTo>
                <a:cubicBezTo>
                  <a:pt x="1014951" y="1252686"/>
                  <a:pt x="1016774" y="1252686"/>
                  <a:pt x="1016774" y="1254508"/>
                </a:cubicBezTo>
                <a:cubicBezTo>
                  <a:pt x="1014951" y="1256330"/>
                  <a:pt x="1014951" y="1252686"/>
                  <a:pt x="1013129" y="1250864"/>
                </a:cubicBezTo>
                <a:cubicBezTo>
                  <a:pt x="1009485" y="1250864"/>
                  <a:pt x="1005840" y="1252686"/>
                  <a:pt x="1002196" y="1258152"/>
                </a:cubicBezTo>
                <a:cubicBezTo>
                  <a:pt x="1013129" y="1259975"/>
                  <a:pt x="1024062" y="1258152"/>
                  <a:pt x="1034995" y="1258152"/>
                </a:cubicBezTo>
                <a:cubicBezTo>
                  <a:pt x="1029529" y="1247219"/>
                  <a:pt x="1022240" y="1249042"/>
                  <a:pt x="1014951" y="1249042"/>
                </a:cubicBezTo>
                <a:close/>
                <a:moveTo>
                  <a:pt x="748914" y="1249042"/>
                </a:moveTo>
                <a:cubicBezTo>
                  <a:pt x="747092" y="1249042"/>
                  <a:pt x="745269" y="1249042"/>
                  <a:pt x="743447" y="1250864"/>
                </a:cubicBezTo>
                <a:cubicBezTo>
                  <a:pt x="747092" y="1256330"/>
                  <a:pt x="748914" y="1252686"/>
                  <a:pt x="748914" y="1249042"/>
                </a:cubicBezTo>
                <a:close/>
                <a:moveTo>
                  <a:pt x="501098" y="1249042"/>
                </a:moveTo>
                <a:cubicBezTo>
                  <a:pt x="499276" y="1249042"/>
                  <a:pt x="501098" y="1254508"/>
                  <a:pt x="502920" y="1252686"/>
                </a:cubicBezTo>
                <a:cubicBezTo>
                  <a:pt x="502920" y="1250864"/>
                  <a:pt x="501098" y="1250864"/>
                  <a:pt x="501098" y="1249042"/>
                </a:cubicBezTo>
                <a:close/>
                <a:moveTo>
                  <a:pt x="699716" y="1248814"/>
                </a:moveTo>
                <a:cubicBezTo>
                  <a:pt x="697893" y="1249042"/>
                  <a:pt x="696071" y="1249953"/>
                  <a:pt x="694249" y="1250864"/>
                </a:cubicBezTo>
                <a:cubicBezTo>
                  <a:pt x="703359" y="1254508"/>
                  <a:pt x="705182" y="1254508"/>
                  <a:pt x="705182" y="1250864"/>
                </a:cubicBezTo>
                <a:cubicBezTo>
                  <a:pt x="703360" y="1249042"/>
                  <a:pt x="701538" y="1248586"/>
                  <a:pt x="699716" y="1248814"/>
                </a:cubicBezTo>
                <a:close/>
                <a:moveTo>
                  <a:pt x="2985177" y="1248586"/>
                </a:moveTo>
                <a:cubicBezTo>
                  <a:pt x="2986543" y="1247675"/>
                  <a:pt x="2987455" y="1248130"/>
                  <a:pt x="2988366" y="1250864"/>
                </a:cubicBezTo>
                <a:lnTo>
                  <a:pt x="2981142" y="1252621"/>
                </a:lnTo>
                <a:close/>
                <a:moveTo>
                  <a:pt x="1156397" y="1248358"/>
                </a:moveTo>
                <a:cubicBezTo>
                  <a:pt x="1154347" y="1249497"/>
                  <a:pt x="1153436" y="1251775"/>
                  <a:pt x="1157081" y="1252686"/>
                </a:cubicBezTo>
                <a:cubicBezTo>
                  <a:pt x="1158903" y="1250864"/>
                  <a:pt x="1160725" y="1249042"/>
                  <a:pt x="1162547" y="1250864"/>
                </a:cubicBezTo>
                <a:cubicBezTo>
                  <a:pt x="1161636" y="1247220"/>
                  <a:pt x="1158447" y="1247220"/>
                  <a:pt x="1156397" y="1248358"/>
                </a:cubicBezTo>
                <a:close/>
                <a:moveTo>
                  <a:pt x="3003577" y="1248011"/>
                </a:moveTo>
                <a:lnTo>
                  <a:pt x="2999300" y="1250863"/>
                </a:lnTo>
                <a:lnTo>
                  <a:pt x="3002260" y="1248358"/>
                </a:lnTo>
                <a:close/>
                <a:moveTo>
                  <a:pt x="736158" y="1247903"/>
                </a:moveTo>
                <a:cubicBezTo>
                  <a:pt x="734336" y="1249042"/>
                  <a:pt x="732515" y="1250864"/>
                  <a:pt x="730692" y="1250864"/>
                </a:cubicBezTo>
                <a:cubicBezTo>
                  <a:pt x="734336" y="1256330"/>
                  <a:pt x="736159" y="1249042"/>
                  <a:pt x="741626" y="1249042"/>
                </a:cubicBezTo>
                <a:cubicBezTo>
                  <a:pt x="739803" y="1246308"/>
                  <a:pt x="737981" y="1246764"/>
                  <a:pt x="736158" y="1247903"/>
                </a:cubicBezTo>
                <a:close/>
                <a:moveTo>
                  <a:pt x="395184" y="1247902"/>
                </a:moveTo>
                <a:cubicBezTo>
                  <a:pt x="393590" y="1248130"/>
                  <a:pt x="392680" y="1249042"/>
                  <a:pt x="393590" y="1250864"/>
                </a:cubicBezTo>
                <a:cubicBezTo>
                  <a:pt x="397234" y="1252686"/>
                  <a:pt x="399056" y="1250864"/>
                  <a:pt x="400879" y="1249042"/>
                </a:cubicBezTo>
                <a:cubicBezTo>
                  <a:pt x="399056" y="1248130"/>
                  <a:pt x="396779" y="1247675"/>
                  <a:pt x="395184" y="1247902"/>
                </a:cubicBezTo>
                <a:close/>
                <a:moveTo>
                  <a:pt x="3268980" y="1247219"/>
                </a:moveTo>
                <a:cubicBezTo>
                  <a:pt x="3267158" y="1247219"/>
                  <a:pt x="3265336" y="1250864"/>
                  <a:pt x="3265336" y="1252686"/>
                </a:cubicBezTo>
                <a:cubicBezTo>
                  <a:pt x="3267158" y="1252686"/>
                  <a:pt x="3268980" y="1250864"/>
                  <a:pt x="3272625" y="1249042"/>
                </a:cubicBezTo>
                <a:cubicBezTo>
                  <a:pt x="3272625" y="1247219"/>
                  <a:pt x="3268980" y="1249042"/>
                  <a:pt x="3268980" y="1247219"/>
                </a:cubicBezTo>
                <a:close/>
                <a:moveTo>
                  <a:pt x="3192449" y="1247219"/>
                </a:moveTo>
                <a:cubicBezTo>
                  <a:pt x="3190627" y="1249042"/>
                  <a:pt x="3190627" y="1250864"/>
                  <a:pt x="3190627" y="1252686"/>
                </a:cubicBezTo>
                <a:cubicBezTo>
                  <a:pt x="3192449" y="1252686"/>
                  <a:pt x="3194271" y="1254508"/>
                  <a:pt x="3196093" y="1254508"/>
                </a:cubicBezTo>
                <a:cubicBezTo>
                  <a:pt x="3197916" y="1250864"/>
                  <a:pt x="3194271" y="1250864"/>
                  <a:pt x="3192449" y="1247219"/>
                </a:cubicBezTo>
                <a:close/>
                <a:moveTo>
                  <a:pt x="3170583" y="1247219"/>
                </a:moveTo>
                <a:cubicBezTo>
                  <a:pt x="3174227" y="1250864"/>
                  <a:pt x="3174227" y="1258152"/>
                  <a:pt x="3177872" y="1258152"/>
                </a:cubicBezTo>
                <a:cubicBezTo>
                  <a:pt x="3176050" y="1254508"/>
                  <a:pt x="3176050" y="1247219"/>
                  <a:pt x="3170583" y="1247219"/>
                </a:cubicBezTo>
                <a:close/>
                <a:moveTo>
                  <a:pt x="2445358" y="1247219"/>
                </a:moveTo>
                <a:cubicBezTo>
                  <a:pt x="2450824" y="1252686"/>
                  <a:pt x="2438069" y="1254508"/>
                  <a:pt x="2439891" y="1261797"/>
                </a:cubicBezTo>
                <a:cubicBezTo>
                  <a:pt x="2439891" y="1263619"/>
                  <a:pt x="2441713" y="1261797"/>
                  <a:pt x="2441713" y="1259975"/>
                </a:cubicBezTo>
                <a:cubicBezTo>
                  <a:pt x="2447180" y="1261797"/>
                  <a:pt x="2443536" y="1267263"/>
                  <a:pt x="2439891" y="1270908"/>
                </a:cubicBezTo>
                <a:lnTo>
                  <a:pt x="2449002" y="1270908"/>
                </a:lnTo>
                <a:cubicBezTo>
                  <a:pt x="2450824" y="1267263"/>
                  <a:pt x="2456291" y="1261797"/>
                  <a:pt x="2459935" y="1265441"/>
                </a:cubicBezTo>
                <a:cubicBezTo>
                  <a:pt x="2461757" y="1267263"/>
                  <a:pt x="2461757" y="1269085"/>
                  <a:pt x="2459935" y="1270908"/>
                </a:cubicBezTo>
                <a:lnTo>
                  <a:pt x="2465402" y="1270908"/>
                </a:lnTo>
                <a:cubicBezTo>
                  <a:pt x="2467224" y="1269085"/>
                  <a:pt x="2469046" y="1265441"/>
                  <a:pt x="2469046" y="1261797"/>
                </a:cubicBezTo>
                <a:cubicBezTo>
                  <a:pt x="2459935" y="1261797"/>
                  <a:pt x="2454469" y="1250864"/>
                  <a:pt x="2445358" y="1247219"/>
                </a:cubicBezTo>
                <a:close/>
                <a:moveTo>
                  <a:pt x="2432603" y="1247219"/>
                </a:moveTo>
                <a:cubicBezTo>
                  <a:pt x="2430780" y="1250864"/>
                  <a:pt x="2430780" y="1254508"/>
                  <a:pt x="2432603" y="1258152"/>
                </a:cubicBezTo>
                <a:cubicBezTo>
                  <a:pt x="2434425" y="1256330"/>
                  <a:pt x="2432603" y="1252686"/>
                  <a:pt x="2436247" y="1250864"/>
                </a:cubicBezTo>
                <a:cubicBezTo>
                  <a:pt x="2438069" y="1247219"/>
                  <a:pt x="2432603" y="1249042"/>
                  <a:pt x="2432603" y="1247219"/>
                </a:cubicBezTo>
                <a:close/>
                <a:moveTo>
                  <a:pt x="1324721" y="1247219"/>
                </a:moveTo>
                <a:cubicBezTo>
                  <a:pt x="1322899" y="1250864"/>
                  <a:pt x="1321077" y="1254508"/>
                  <a:pt x="1321077" y="1258152"/>
                </a:cubicBezTo>
                <a:cubicBezTo>
                  <a:pt x="1326543" y="1256330"/>
                  <a:pt x="1321077" y="1252686"/>
                  <a:pt x="1326543" y="1249042"/>
                </a:cubicBezTo>
                <a:cubicBezTo>
                  <a:pt x="1326543" y="1249042"/>
                  <a:pt x="1324721" y="1247219"/>
                  <a:pt x="1324721" y="1247219"/>
                </a:cubicBezTo>
                <a:close/>
                <a:moveTo>
                  <a:pt x="1257300" y="1247219"/>
                </a:moveTo>
                <a:cubicBezTo>
                  <a:pt x="1253656" y="1250864"/>
                  <a:pt x="1255478" y="1254508"/>
                  <a:pt x="1255478" y="1258152"/>
                </a:cubicBezTo>
                <a:cubicBezTo>
                  <a:pt x="1262767" y="1259975"/>
                  <a:pt x="1268233" y="1270908"/>
                  <a:pt x="1275522" y="1263619"/>
                </a:cubicBezTo>
                <a:cubicBezTo>
                  <a:pt x="1273700" y="1258152"/>
                  <a:pt x="1270511" y="1255419"/>
                  <a:pt x="1267095" y="1253369"/>
                </a:cubicBezTo>
                <a:lnTo>
                  <a:pt x="1263487" y="1251104"/>
                </a:lnTo>
                <a:lnTo>
                  <a:pt x="1268233" y="1252686"/>
                </a:lnTo>
                <a:cubicBezTo>
                  <a:pt x="1269144" y="1251775"/>
                  <a:pt x="1268233" y="1250864"/>
                  <a:pt x="1266867" y="1250408"/>
                </a:cubicBezTo>
                <a:lnTo>
                  <a:pt x="1263054" y="1250832"/>
                </a:lnTo>
                <a:close/>
                <a:moveTo>
                  <a:pt x="1058683" y="1247219"/>
                </a:moveTo>
                <a:cubicBezTo>
                  <a:pt x="1053217" y="1252686"/>
                  <a:pt x="1042284" y="1254508"/>
                  <a:pt x="1047750" y="1261797"/>
                </a:cubicBezTo>
                <a:cubicBezTo>
                  <a:pt x="1055040" y="1256330"/>
                  <a:pt x="1064151" y="1263619"/>
                  <a:pt x="1069616" y="1258152"/>
                </a:cubicBezTo>
                <a:cubicBezTo>
                  <a:pt x="1065972" y="1252686"/>
                  <a:pt x="1062328" y="1250864"/>
                  <a:pt x="1058683" y="1247219"/>
                </a:cubicBezTo>
                <a:close/>
                <a:moveTo>
                  <a:pt x="1042284" y="1247219"/>
                </a:moveTo>
                <a:cubicBezTo>
                  <a:pt x="1038639" y="1245397"/>
                  <a:pt x="1036818" y="1250864"/>
                  <a:pt x="1033173" y="1252686"/>
                </a:cubicBezTo>
                <a:cubicBezTo>
                  <a:pt x="1034995" y="1254508"/>
                  <a:pt x="1040462" y="1254508"/>
                  <a:pt x="1038639" y="1256330"/>
                </a:cubicBezTo>
                <a:cubicBezTo>
                  <a:pt x="1042284" y="1256330"/>
                  <a:pt x="1049573" y="1254508"/>
                  <a:pt x="1047750" y="1250864"/>
                </a:cubicBezTo>
                <a:cubicBezTo>
                  <a:pt x="1044106" y="1252686"/>
                  <a:pt x="1042284" y="1250864"/>
                  <a:pt x="1040462" y="1252686"/>
                </a:cubicBezTo>
                <a:cubicBezTo>
                  <a:pt x="1040462" y="1250864"/>
                  <a:pt x="1044106" y="1250864"/>
                  <a:pt x="1044106" y="1249042"/>
                </a:cubicBezTo>
                <a:cubicBezTo>
                  <a:pt x="1042284" y="1249042"/>
                  <a:pt x="1042284" y="1247219"/>
                  <a:pt x="1042284" y="1247219"/>
                </a:cubicBezTo>
                <a:close/>
                <a:moveTo>
                  <a:pt x="754380" y="1247219"/>
                </a:moveTo>
                <a:cubicBezTo>
                  <a:pt x="752558" y="1249042"/>
                  <a:pt x="758025" y="1252686"/>
                  <a:pt x="758025" y="1254508"/>
                </a:cubicBezTo>
                <a:cubicBezTo>
                  <a:pt x="758025" y="1252686"/>
                  <a:pt x="756203" y="1250864"/>
                  <a:pt x="758025" y="1249042"/>
                </a:cubicBezTo>
                <a:cubicBezTo>
                  <a:pt x="756203" y="1249042"/>
                  <a:pt x="756203" y="1247219"/>
                  <a:pt x="754380" y="1247219"/>
                </a:cubicBezTo>
                <a:close/>
                <a:moveTo>
                  <a:pt x="604963" y="1247219"/>
                </a:moveTo>
                <a:cubicBezTo>
                  <a:pt x="603140" y="1247219"/>
                  <a:pt x="603140" y="1249042"/>
                  <a:pt x="601318" y="1250864"/>
                </a:cubicBezTo>
                <a:cubicBezTo>
                  <a:pt x="603140" y="1252686"/>
                  <a:pt x="606784" y="1249042"/>
                  <a:pt x="604963" y="1247219"/>
                </a:cubicBezTo>
                <a:close/>
                <a:moveTo>
                  <a:pt x="524786" y="1247219"/>
                </a:moveTo>
                <a:cubicBezTo>
                  <a:pt x="521142" y="1249042"/>
                  <a:pt x="526609" y="1250864"/>
                  <a:pt x="526609" y="1250864"/>
                </a:cubicBezTo>
                <a:cubicBezTo>
                  <a:pt x="526609" y="1249042"/>
                  <a:pt x="524786" y="1247219"/>
                  <a:pt x="524786" y="1247219"/>
                </a:cubicBezTo>
                <a:close/>
                <a:moveTo>
                  <a:pt x="335280" y="1247219"/>
                </a:moveTo>
                <a:cubicBezTo>
                  <a:pt x="344391" y="1252686"/>
                  <a:pt x="349858" y="1250864"/>
                  <a:pt x="355324" y="1247219"/>
                </a:cubicBezTo>
                <a:cubicBezTo>
                  <a:pt x="348037" y="1245397"/>
                  <a:pt x="340747" y="1245397"/>
                  <a:pt x="335280" y="1247219"/>
                </a:cubicBezTo>
                <a:close/>
                <a:moveTo>
                  <a:pt x="264216" y="1247219"/>
                </a:moveTo>
                <a:cubicBezTo>
                  <a:pt x="266038" y="1252686"/>
                  <a:pt x="271504" y="1247219"/>
                  <a:pt x="275149" y="1249042"/>
                </a:cubicBezTo>
                <a:cubicBezTo>
                  <a:pt x="273327" y="1247219"/>
                  <a:pt x="267860" y="1249042"/>
                  <a:pt x="264216" y="1247219"/>
                </a:cubicBezTo>
                <a:close/>
                <a:moveTo>
                  <a:pt x="3113185" y="1246764"/>
                </a:moveTo>
                <a:cubicBezTo>
                  <a:pt x="3109541" y="1246764"/>
                  <a:pt x="3105896" y="1248131"/>
                  <a:pt x="3103163" y="1250864"/>
                </a:cubicBezTo>
                <a:cubicBezTo>
                  <a:pt x="3101340" y="1254508"/>
                  <a:pt x="3104985" y="1254508"/>
                  <a:pt x="3104985" y="1256330"/>
                </a:cubicBezTo>
                <a:cubicBezTo>
                  <a:pt x="3101340" y="1258152"/>
                  <a:pt x="3095874" y="1261797"/>
                  <a:pt x="3095874" y="1267263"/>
                </a:cubicBezTo>
                <a:cubicBezTo>
                  <a:pt x="3103163" y="1269085"/>
                  <a:pt x="3110451" y="1261797"/>
                  <a:pt x="3119562" y="1261797"/>
                </a:cubicBezTo>
                <a:cubicBezTo>
                  <a:pt x="3117740" y="1258152"/>
                  <a:pt x="3119562" y="1256330"/>
                  <a:pt x="3121384" y="1256330"/>
                </a:cubicBezTo>
                <a:cubicBezTo>
                  <a:pt x="3123206" y="1252686"/>
                  <a:pt x="3114096" y="1256330"/>
                  <a:pt x="3114096" y="1252686"/>
                </a:cubicBezTo>
                <a:cubicBezTo>
                  <a:pt x="3115918" y="1249042"/>
                  <a:pt x="3119562" y="1254508"/>
                  <a:pt x="3123206" y="1250864"/>
                </a:cubicBezTo>
                <a:cubicBezTo>
                  <a:pt x="3120473" y="1248131"/>
                  <a:pt x="3116829" y="1246764"/>
                  <a:pt x="3113185" y="1246764"/>
                </a:cubicBezTo>
                <a:close/>
                <a:moveTo>
                  <a:pt x="361018" y="1246536"/>
                </a:moveTo>
                <a:cubicBezTo>
                  <a:pt x="358513" y="1246764"/>
                  <a:pt x="356236" y="1248130"/>
                  <a:pt x="355324" y="1250864"/>
                </a:cubicBezTo>
                <a:cubicBezTo>
                  <a:pt x="366257" y="1250864"/>
                  <a:pt x="375368" y="1254508"/>
                  <a:pt x="384479" y="1256330"/>
                </a:cubicBezTo>
                <a:cubicBezTo>
                  <a:pt x="379012" y="1252686"/>
                  <a:pt x="377190" y="1245397"/>
                  <a:pt x="368079" y="1249042"/>
                </a:cubicBezTo>
                <a:cubicBezTo>
                  <a:pt x="366257" y="1247220"/>
                  <a:pt x="363524" y="1246308"/>
                  <a:pt x="361018" y="1246536"/>
                </a:cubicBezTo>
                <a:close/>
                <a:moveTo>
                  <a:pt x="3502219" y="1245397"/>
                </a:moveTo>
                <a:cubicBezTo>
                  <a:pt x="3496752" y="1254508"/>
                  <a:pt x="3511330" y="1258152"/>
                  <a:pt x="3514974" y="1265441"/>
                </a:cubicBezTo>
                <a:cubicBezTo>
                  <a:pt x="3511330" y="1267263"/>
                  <a:pt x="3507685" y="1269085"/>
                  <a:pt x="3504041" y="1270908"/>
                </a:cubicBezTo>
                <a:cubicBezTo>
                  <a:pt x="3502219" y="1267263"/>
                  <a:pt x="3505863" y="1265441"/>
                  <a:pt x="3507685" y="1263619"/>
                </a:cubicBezTo>
                <a:cubicBezTo>
                  <a:pt x="3502219" y="1261797"/>
                  <a:pt x="3494930" y="1261797"/>
                  <a:pt x="3493108" y="1269085"/>
                </a:cubicBezTo>
                <a:cubicBezTo>
                  <a:pt x="3493108" y="1267263"/>
                  <a:pt x="3493108" y="1267263"/>
                  <a:pt x="3493108" y="1265441"/>
                </a:cubicBezTo>
                <a:cubicBezTo>
                  <a:pt x="3489463" y="1267263"/>
                  <a:pt x="3485819" y="1267263"/>
                  <a:pt x="3485819" y="1270908"/>
                </a:cubicBezTo>
                <a:cubicBezTo>
                  <a:pt x="3485819" y="1270908"/>
                  <a:pt x="3487641" y="1270908"/>
                  <a:pt x="3489463" y="1270908"/>
                </a:cubicBezTo>
                <a:cubicBezTo>
                  <a:pt x="3493108" y="1278196"/>
                  <a:pt x="3489463" y="1285485"/>
                  <a:pt x="3500397" y="1283663"/>
                </a:cubicBezTo>
                <a:cubicBezTo>
                  <a:pt x="3494930" y="1287307"/>
                  <a:pt x="3494930" y="1292774"/>
                  <a:pt x="3493108" y="1298240"/>
                </a:cubicBezTo>
                <a:cubicBezTo>
                  <a:pt x="3491286" y="1294596"/>
                  <a:pt x="3487641" y="1289129"/>
                  <a:pt x="3485819" y="1287307"/>
                </a:cubicBezTo>
                <a:cubicBezTo>
                  <a:pt x="3480353" y="1283663"/>
                  <a:pt x="3471242" y="1280018"/>
                  <a:pt x="3463953" y="1285485"/>
                </a:cubicBezTo>
                <a:lnTo>
                  <a:pt x="3461290" y="1287307"/>
                </a:lnTo>
                <a:lnTo>
                  <a:pt x="3460309" y="1287307"/>
                </a:lnTo>
                <a:cubicBezTo>
                  <a:pt x="3473064" y="1254508"/>
                  <a:pt x="3454842" y="1287307"/>
                  <a:pt x="3467597" y="1256330"/>
                </a:cubicBezTo>
                <a:lnTo>
                  <a:pt x="3480353" y="1267263"/>
                </a:lnTo>
                <a:cubicBezTo>
                  <a:pt x="3489463" y="1261797"/>
                  <a:pt x="3494930" y="1252686"/>
                  <a:pt x="3502219" y="1245397"/>
                </a:cubicBezTo>
                <a:close/>
                <a:moveTo>
                  <a:pt x="3408149" y="1245397"/>
                </a:moveTo>
                <a:cubicBezTo>
                  <a:pt x="3406555" y="1244942"/>
                  <a:pt x="3404732" y="1245397"/>
                  <a:pt x="3403821" y="1247219"/>
                </a:cubicBezTo>
                <a:cubicBezTo>
                  <a:pt x="3405643" y="1252686"/>
                  <a:pt x="3407466" y="1247219"/>
                  <a:pt x="3411110" y="1249042"/>
                </a:cubicBezTo>
                <a:cubicBezTo>
                  <a:pt x="3411110" y="1247220"/>
                  <a:pt x="3409744" y="1245853"/>
                  <a:pt x="3408149" y="1245397"/>
                </a:cubicBezTo>
                <a:close/>
                <a:moveTo>
                  <a:pt x="3022987" y="1245397"/>
                </a:moveTo>
                <a:cubicBezTo>
                  <a:pt x="3019343" y="1247219"/>
                  <a:pt x="3012054" y="1245397"/>
                  <a:pt x="3012054" y="1252686"/>
                </a:cubicBezTo>
                <a:cubicBezTo>
                  <a:pt x="3017521" y="1252686"/>
                  <a:pt x="3022987" y="1250864"/>
                  <a:pt x="3022987" y="1245397"/>
                </a:cubicBezTo>
                <a:close/>
                <a:moveTo>
                  <a:pt x="566697" y="1245397"/>
                </a:moveTo>
                <a:cubicBezTo>
                  <a:pt x="559408" y="1250864"/>
                  <a:pt x="561230" y="1259975"/>
                  <a:pt x="555763" y="1265441"/>
                </a:cubicBezTo>
                <a:cubicBezTo>
                  <a:pt x="564874" y="1267263"/>
                  <a:pt x="572163" y="1265441"/>
                  <a:pt x="579452" y="1263619"/>
                </a:cubicBezTo>
                <a:cubicBezTo>
                  <a:pt x="572163" y="1259975"/>
                  <a:pt x="575808" y="1247219"/>
                  <a:pt x="566697" y="1245397"/>
                </a:cubicBezTo>
                <a:close/>
                <a:moveTo>
                  <a:pt x="311592" y="1245397"/>
                </a:moveTo>
                <a:cubicBezTo>
                  <a:pt x="309771" y="1247219"/>
                  <a:pt x="307948" y="1245397"/>
                  <a:pt x="307948" y="1247219"/>
                </a:cubicBezTo>
                <a:cubicBezTo>
                  <a:pt x="309771" y="1250864"/>
                  <a:pt x="315236" y="1247219"/>
                  <a:pt x="311592" y="1245397"/>
                </a:cubicBezTo>
                <a:close/>
                <a:moveTo>
                  <a:pt x="158529" y="1243617"/>
                </a:moveTo>
                <a:cubicBezTo>
                  <a:pt x="167641" y="1250906"/>
                  <a:pt x="174930" y="1260017"/>
                  <a:pt x="184041" y="1267306"/>
                </a:cubicBezTo>
                <a:cubicBezTo>
                  <a:pt x="173108" y="1260017"/>
                  <a:pt x="163996" y="1250906"/>
                  <a:pt x="151241" y="1250906"/>
                </a:cubicBezTo>
                <a:cubicBezTo>
                  <a:pt x="154885" y="1250906"/>
                  <a:pt x="154885" y="1249083"/>
                  <a:pt x="158529" y="1247261"/>
                </a:cubicBezTo>
                <a:close/>
                <a:moveTo>
                  <a:pt x="3028453" y="1243575"/>
                </a:moveTo>
                <a:cubicBezTo>
                  <a:pt x="3026631" y="1247219"/>
                  <a:pt x="3024809" y="1249042"/>
                  <a:pt x="3024809" y="1252686"/>
                </a:cubicBezTo>
                <a:cubicBezTo>
                  <a:pt x="3030276" y="1252686"/>
                  <a:pt x="3030276" y="1250864"/>
                  <a:pt x="3033920" y="1252686"/>
                </a:cubicBezTo>
                <a:cubicBezTo>
                  <a:pt x="3032098" y="1249042"/>
                  <a:pt x="3028453" y="1249042"/>
                  <a:pt x="3028453" y="1243575"/>
                </a:cubicBezTo>
                <a:close/>
                <a:moveTo>
                  <a:pt x="1310143" y="1243575"/>
                </a:moveTo>
                <a:cubicBezTo>
                  <a:pt x="1306499" y="1247219"/>
                  <a:pt x="1302855" y="1243575"/>
                  <a:pt x="1299210" y="1245397"/>
                </a:cubicBezTo>
                <a:cubicBezTo>
                  <a:pt x="1301033" y="1249042"/>
                  <a:pt x="1304677" y="1263619"/>
                  <a:pt x="1311966" y="1254508"/>
                </a:cubicBezTo>
                <a:cubicBezTo>
                  <a:pt x="1311966" y="1252686"/>
                  <a:pt x="1311966" y="1250864"/>
                  <a:pt x="1311966" y="1249042"/>
                </a:cubicBezTo>
                <a:cubicBezTo>
                  <a:pt x="1313788" y="1250864"/>
                  <a:pt x="1315610" y="1256330"/>
                  <a:pt x="1315610" y="1258152"/>
                </a:cubicBezTo>
                <a:cubicBezTo>
                  <a:pt x="1321077" y="1256330"/>
                  <a:pt x="1321077" y="1249042"/>
                  <a:pt x="1324721" y="1243575"/>
                </a:cubicBezTo>
                <a:cubicBezTo>
                  <a:pt x="1319254" y="1239931"/>
                  <a:pt x="1313788" y="1239931"/>
                  <a:pt x="1310143" y="1243575"/>
                </a:cubicBezTo>
                <a:close/>
                <a:moveTo>
                  <a:pt x="1020418" y="1243575"/>
                </a:moveTo>
                <a:cubicBezTo>
                  <a:pt x="1018596" y="1243575"/>
                  <a:pt x="1018596" y="1245397"/>
                  <a:pt x="1018596" y="1249042"/>
                </a:cubicBezTo>
                <a:cubicBezTo>
                  <a:pt x="1020418" y="1249042"/>
                  <a:pt x="1022240" y="1250864"/>
                  <a:pt x="1025884" y="1249042"/>
                </a:cubicBezTo>
                <a:cubicBezTo>
                  <a:pt x="1024062" y="1247219"/>
                  <a:pt x="1022240" y="1243575"/>
                  <a:pt x="1020418" y="1243575"/>
                </a:cubicBezTo>
                <a:close/>
                <a:moveTo>
                  <a:pt x="510209" y="1243575"/>
                </a:moveTo>
                <a:lnTo>
                  <a:pt x="508387" y="1247220"/>
                </a:lnTo>
                <a:lnTo>
                  <a:pt x="508387" y="1247219"/>
                </a:lnTo>
                <a:cubicBezTo>
                  <a:pt x="506565" y="1249042"/>
                  <a:pt x="508387" y="1249042"/>
                  <a:pt x="506565" y="1250864"/>
                </a:cubicBezTo>
                <a:lnTo>
                  <a:pt x="508387" y="1247220"/>
                </a:lnTo>
                <a:lnTo>
                  <a:pt x="508387" y="1257014"/>
                </a:lnTo>
                <a:cubicBezTo>
                  <a:pt x="509298" y="1259519"/>
                  <a:pt x="511120" y="1260886"/>
                  <a:pt x="513853" y="1259975"/>
                </a:cubicBezTo>
                <a:cubicBezTo>
                  <a:pt x="513853" y="1259975"/>
                  <a:pt x="515676" y="1258152"/>
                  <a:pt x="517498" y="1258152"/>
                </a:cubicBezTo>
                <a:cubicBezTo>
                  <a:pt x="516587" y="1260886"/>
                  <a:pt x="517498" y="1263163"/>
                  <a:pt x="519092" y="1264985"/>
                </a:cubicBezTo>
                <a:lnTo>
                  <a:pt x="519940" y="1265596"/>
                </a:lnTo>
                <a:lnTo>
                  <a:pt x="519320" y="1265441"/>
                </a:lnTo>
                <a:cubicBezTo>
                  <a:pt x="519320" y="1267263"/>
                  <a:pt x="521142" y="1268630"/>
                  <a:pt x="522964" y="1269085"/>
                </a:cubicBezTo>
                <a:lnTo>
                  <a:pt x="524040" y="1268547"/>
                </a:lnTo>
                <a:lnTo>
                  <a:pt x="524786" y="1269085"/>
                </a:lnTo>
                <a:cubicBezTo>
                  <a:pt x="530253" y="1270908"/>
                  <a:pt x="541186" y="1276374"/>
                  <a:pt x="543008" y="1267263"/>
                </a:cubicBezTo>
                <a:cubicBezTo>
                  <a:pt x="541186" y="1265441"/>
                  <a:pt x="535719" y="1261797"/>
                  <a:pt x="532075" y="1259975"/>
                </a:cubicBezTo>
                <a:lnTo>
                  <a:pt x="533897" y="1258152"/>
                </a:lnTo>
                <a:cubicBezTo>
                  <a:pt x="530253" y="1254508"/>
                  <a:pt x="526609" y="1252686"/>
                  <a:pt x="522964" y="1254508"/>
                </a:cubicBezTo>
                <a:cubicBezTo>
                  <a:pt x="524786" y="1254508"/>
                  <a:pt x="526609" y="1258152"/>
                  <a:pt x="526609" y="1258152"/>
                </a:cubicBezTo>
                <a:cubicBezTo>
                  <a:pt x="522964" y="1265441"/>
                  <a:pt x="522964" y="1250864"/>
                  <a:pt x="519320" y="1254508"/>
                </a:cubicBezTo>
                <a:cubicBezTo>
                  <a:pt x="517498" y="1254508"/>
                  <a:pt x="517498" y="1256330"/>
                  <a:pt x="517498" y="1256330"/>
                </a:cubicBezTo>
                <a:cubicBezTo>
                  <a:pt x="519320" y="1250864"/>
                  <a:pt x="519320" y="1241753"/>
                  <a:pt x="510209" y="1243575"/>
                </a:cubicBezTo>
                <a:close/>
                <a:moveTo>
                  <a:pt x="484700" y="1243575"/>
                </a:moveTo>
                <a:cubicBezTo>
                  <a:pt x="479232" y="1252686"/>
                  <a:pt x="486521" y="1247219"/>
                  <a:pt x="488343" y="1247219"/>
                </a:cubicBezTo>
                <a:cubicBezTo>
                  <a:pt x="486521" y="1245397"/>
                  <a:pt x="486521" y="1243575"/>
                  <a:pt x="484700" y="1243575"/>
                </a:cubicBezTo>
                <a:close/>
                <a:moveTo>
                  <a:pt x="399056" y="1243575"/>
                </a:moveTo>
                <a:cubicBezTo>
                  <a:pt x="404523" y="1249042"/>
                  <a:pt x="411812" y="1245397"/>
                  <a:pt x="417278" y="1243575"/>
                </a:cubicBezTo>
                <a:cubicBezTo>
                  <a:pt x="411812" y="1243575"/>
                  <a:pt x="406345" y="1247219"/>
                  <a:pt x="399056" y="1243575"/>
                </a:cubicBezTo>
                <a:close/>
                <a:moveTo>
                  <a:pt x="393590" y="1243575"/>
                </a:moveTo>
                <a:cubicBezTo>
                  <a:pt x="391768" y="1247219"/>
                  <a:pt x="389946" y="1247219"/>
                  <a:pt x="389946" y="1249042"/>
                </a:cubicBezTo>
                <a:cubicBezTo>
                  <a:pt x="388123" y="1249042"/>
                  <a:pt x="384479" y="1249042"/>
                  <a:pt x="382657" y="1250864"/>
                </a:cubicBezTo>
                <a:cubicBezTo>
                  <a:pt x="380835" y="1252686"/>
                  <a:pt x="388123" y="1256330"/>
                  <a:pt x="388123" y="1254508"/>
                </a:cubicBezTo>
                <a:cubicBezTo>
                  <a:pt x="386301" y="1252686"/>
                  <a:pt x="384479" y="1252686"/>
                  <a:pt x="382657" y="1250864"/>
                </a:cubicBezTo>
                <a:cubicBezTo>
                  <a:pt x="384479" y="1250864"/>
                  <a:pt x="388123" y="1254508"/>
                  <a:pt x="389946" y="1254508"/>
                </a:cubicBezTo>
                <a:cubicBezTo>
                  <a:pt x="391768" y="1252686"/>
                  <a:pt x="391768" y="1250864"/>
                  <a:pt x="389946" y="1249042"/>
                </a:cubicBezTo>
                <a:cubicBezTo>
                  <a:pt x="393590" y="1249042"/>
                  <a:pt x="397234" y="1247219"/>
                  <a:pt x="395412" y="1247219"/>
                </a:cubicBezTo>
                <a:cubicBezTo>
                  <a:pt x="397234" y="1245397"/>
                  <a:pt x="395412" y="1245397"/>
                  <a:pt x="393590" y="1243575"/>
                </a:cubicBezTo>
                <a:close/>
                <a:moveTo>
                  <a:pt x="273327" y="1243575"/>
                </a:moveTo>
                <a:cubicBezTo>
                  <a:pt x="273327" y="1249042"/>
                  <a:pt x="278793" y="1243575"/>
                  <a:pt x="280615" y="1247219"/>
                </a:cubicBezTo>
                <a:cubicBezTo>
                  <a:pt x="276971" y="1245397"/>
                  <a:pt x="275149" y="1243575"/>
                  <a:pt x="273327" y="1243575"/>
                </a:cubicBezTo>
                <a:close/>
                <a:moveTo>
                  <a:pt x="3036426" y="1243120"/>
                </a:moveTo>
                <a:cubicBezTo>
                  <a:pt x="3034832" y="1243120"/>
                  <a:pt x="3033009" y="1243575"/>
                  <a:pt x="3032098" y="1243575"/>
                </a:cubicBezTo>
                <a:cubicBezTo>
                  <a:pt x="3033920" y="1245397"/>
                  <a:pt x="3033920" y="1247219"/>
                  <a:pt x="3033920" y="1249042"/>
                </a:cubicBezTo>
                <a:cubicBezTo>
                  <a:pt x="3037564" y="1249042"/>
                  <a:pt x="3037564" y="1247219"/>
                  <a:pt x="3039387" y="1245397"/>
                </a:cubicBezTo>
                <a:cubicBezTo>
                  <a:pt x="3039387" y="1243575"/>
                  <a:pt x="3038020" y="1243120"/>
                  <a:pt x="3036426" y="1243120"/>
                </a:cubicBezTo>
                <a:close/>
                <a:moveTo>
                  <a:pt x="322297" y="1242892"/>
                </a:moveTo>
                <a:cubicBezTo>
                  <a:pt x="319336" y="1243120"/>
                  <a:pt x="317058" y="1245398"/>
                  <a:pt x="315236" y="1249042"/>
                </a:cubicBezTo>
                <a:cubicBezTo>
                  <a:pt x="320703" y="1252686"/>
                  <a:pt x="326169" y="1250864"/>
                  <a:pt x="333458" y="1249042"/>
                </a:cubicBezTo>
                <a:cubicBezTo>
                  <a:pt x="328903" y="1244486"/>
                  <a:pt x="325258" y="1242664"/>
                  <a:pt x="322297" y="1242892"/>
                </a:cubicBezTo>
                <a:close/>
                <a:moveTo>
                  <a:pt x="303165" y="1242208"/>
                </a:moveTo>
                <a:cubicBezTo>
                  <a:pt x="301570" y="1242208"/>
                  <a:pt x="299748" y="1242664"/>
                  <a:pt x="298837" y="1243575"/>
                </a:cubicBezTo>
                <a:cubicBezTo>
                  <a:pt x="302481" y="1245397"/>
                  <a:pt x="304303" y="1243575"/>
                  <a:pt x="306126" y="1243575"/>
                </a:cubicBezTo>
                <a:cubicBezTo>
                  <a:pt x="306126" y="1242664"/>
                  <a:pt x="304759" y="1242208"/>
                  <a:pt x="303165" y="1242208"/>
                </a:cubicBezTo>
                <a:close/>
                <a:moveTo>
                  <a:pt x="1257300" y="1241753"/>
                </a:moveTo>
                <a:cubicBezTo>
                  <a:pt x="1257300" y="1241753"/>
                  <a:pt x="1255478" y="1243575"/>
                  <a:pt x="1255478" y="1243575"/>
                </a:cubicBezTo>
                <a:cubicBezTo>
                  <a:pt x="1259123" y="1247219"/>
                  <a:pt x="1260945" y="1247219"/>
                  <a:pt x="1264589" y="1247219"/>
                </a:cubicBezTo>
                <a:cubicBezTo>
                  <a:pt x="1264589" y="1245397"/>
                  <a:pt x="1264589" y="1243575"/>
                  <a:pt x="1262767" y="1241753"/>
                </a:cubicBezTo>
                <a:cubicBezTo>
                  <a:pt x="1260945" y="1241753"/>
                  <a:pt x="1259123" y="1245397"/>
                  <a:pt x="1257300" y="1241753"/>
                </a:cubicBezTo>
                <a:close/>
                <a:moveTo>
                  <a:pt x="1142503" y="1241753"/>
                </a:moveTo>
                <a:cubicBezTo>
                  <a:pt x="1140681" y="1243575"/>
                  <a:pt x="1140681" y="1249042"/>
                  <a:pt x="1142503" y="1252686"/>
                </a:cubicBezTo>
                <a:cubicBezTo>
                  <a:pt x="1144326" y="1250864"/>
                  <a:pt x="1146148" y="1250864"/>
                  <a:pt x="1146148" y="1249042"/>
                </a:cubicBezTo>
                <a:cubicBezTo>
                  <a:pt x="1142503" y="1245397"/>
                  <a:pt x="1144326" y="1245397"/>
                  <a:pt x="1142503" y="1241753"/>
                </a:cubicBezTo>
                <a:close/>
                <a:moveTo>
                  <a:pt x="579452" y="1241753"/>
                </a:moveTo>
                <a:cubicBezTo>
                  <a:pt x="581274" y="1243575"/>
                  <a:pt x="579452" y="1245397"/>
                  <a:pt x="581274" y="1245397"/>
                </a:cubicBezTo>
                <a:cubicBezTo>
                  <a:pt x="583096" y="1243575"/>
                  <a:pt x="581274" y="1243575"/>
                  <a:pt x="583096" y="1241753"/>
                </a:cubicBezTo>
                <a:cubicBezTo>
                  <a:pt x="581274" y="1239931"/>
                  <a:pt x="579452" y="1239931"/>
                  <a:pt x="579452" y="1241753"/>
                </a:cubicBezTo>
                <a:close/>
                <a:moveTo>
                  <a:pt x="462832" y="1241753"/>
                </a:moveTo>
                <a:cubicBezTo>
                  <a:pt x="459188" y="1241753"/>
                  <a:pt x="455544" y="1243575"/>
                  <a:pt x="451899" y="1243575"/>
                </a:cubicBezTo>
                <a:cubicBezTo>
                  <a:pt x="457367" y="1247219"/>
                  <a:pt x="459188" y="1243575"/>
                  <a:pt x="462832" y="1241753"/>
                </a:cubicBezTo>
                <a:close/>
                <a:moveTo>
                  <a:pt x="125730" y="1241753"/>
                </a:moveTo>
                <a:lnTo>
                  <a:pt x="147165" y="1258681"/>
                </a:lnTo>
                <a:lnTo>
                  <a:pt x="147596" y="1259975"/>
                </a:lnTo>
                <a:cubicBezTo>
                  <a:pt x="136663" y="1258152"/>
                  <a:pt x="134841" y="1245397"/>
                  <a:pt x="125730" y="1241753"/>
                </a:cubicBezTo>
                <a:close/>
                <a:moveTo>
                  <a:pt x="1125872" y="1241695"/>
                </a:moveTo>
                <a:lnTo>
                  <a:pt x="1126104" y="1241753"/>
                </a:lnTo>
                <a:lnTo>
                  <a:pt x="1125834" y="1242293"/>
                </a:lnTo>
                <a:close/>
                <a:moveTo>
                  <a:pt x="2525533" y="1240003"/>
                </a:moveTo>
                <a:lnTo>
                  <a:pt x="2541933" y="1254580"/>
                </a:lnTo>
                <a:lnTo>
                  <a:pt x="2525533" y="1256403"/>
                </a:lnTo>
                <a:close/>
                <a:moveTo>
                  <a:pt x="3392888" y="1239931"/>
                </a:moveTo>
                <a:cubicBezTo>
                  <a:pt x="3389244" y="1239931"/>
                  <a:pt x="3387422" y="1241753"/>
                  <a:pt x="3387422" y="1245397"/>
                </a:cubicBezTo>
                <a:cubicBezTo>
                  <a:pt x="3389244" y="1243575"/>
                  <a:pt x="3391066" y="1245397"/>
                  <a:pt x="3392888" y="1245397"/>
                </a:cubicBezTo>
                <a:cubicBezTo>
                  <a:pt x="3394710" y="1241753"/>
                  <a:pt x="3392888" y="1241753"/>
                  <a:pt x="3392888" y="1239931"/>
                </a:cubicBezTo>
                <a:close/>
                <a:moveTo>
                  <a:pt x="3298135" y="1239931"/>
                </a:moveTo>
                <a:cubicBezTo>
                  <a:pt x="3283558" y="1243575"/>
                  <a:pt x="3296313" y="1245397"/>
                  <a:pt x="3292669" y="1250864"/>
                </a:cubicBezTo>
                <a:cubicBezTo>
                  <a:pt x="3292669" y="1252686"/>
                  <a:pt x="3294491" y="1252686"/>
                  <a:pt x="3296313" y="1252686"/>
                </a:cubicBezTo>
                <a:cubicBezTo>
                  <a:pt x="3294491" y="1261797"/>
                  <a:pt x="3296313" y="1269085"/>
                  <a:pt x="3299957" y="1274552"/>
                </a:cubicBezTo>
                <a:cubicBezTo>
                  <a:pt x="3296313" y="1281841"/>
                  <a:pt x="3298135" y="1278196"/>
                  <a:pt x="3290847" y="1278196"/>
                </a:cubicBezTo>
                <a:cubicBezTo>
                  <a:pt x="3292669" y="1280018"/>
                  <a:pt x="3292669" y="1283663"/>
                  <a:pt x="3294491" y="1285485"/>
                </a:cubicBezTo>
                <a:cubicBezTo>
                  <a:pt x="3296313" y="1289129"/>
                  <a:pt x="3296313" y="1278196"/>
                  <a:pt x="3299957" y="1281841"/>
                </a:cubicBezTo>
                <a:cubicBezTo>
                  <a:pt x="3299957" y="1278196"/>
                  <a:pt x="3299957" y="1276374"/>
                  <a:pt x="3299957" y="1274552"/>
                </a:cubicBezTo>
                <a:cubicBezTo>
                  <a:pt x="3301780" y="1280018"/>
                  <a:pt x="3307246" y="1283663"/>
                  <a:pt x="3309068" y="1289129"/>
                </a:cubicBezTo>
                <a:cubicBezTo>
                  <a:pt x="3309068" y="1283663"/>
                  <a:pt x="3316357" y="1283663"/>
                  <a:pt x="3314535" y="1280018"/>
                </a:cubicBezTo>
                <a:cubicBezTo>
                  <a:pt x="3310890" y="1270908"/>
                  <a:pt x="3303602" y="1259975"/>
                  <a:pt x="3301780" y="1249042"/>
                </a:cubicBezTo>
                <a:cubicBezTo>
                  <a:pt x="3299957" y="1249042"/>
                  <a:pt x="3298135" y="1250864"/>
                  <a:pt x="3296313" y="1250864"/>
                </a:cubicBezTo>
                <a:cubicBezTo>
                  <a:pt x="3292669" y="1247219"/>
                  <a:pt x="3298135" y="1243575"/>
                  <a:pt x="3298135" y="1239931"/>
                </a:cubicBezTo>
                <a:close/>
                <a:moveTo>
                  <a:pt x="3121384" y="1239931"/>
                </a:moveTo>
                <a:cubicBezTo>
                  <a:pt x="3117740" y="1239931"/>
                  <a:pt x="3123206" y="1241753"/>
                  <a:pt x="3121384" y="1245397"/>
                </a:cubicBezTo>
                <a:cubicBezTo>
                  <a:pt x="3126851" y="1241753"/>
                  <a:pt x="3126851" y="1250864"/>
                  <a:pt x="3126851" y="1256330"/>
                </a:cubicBezTo>
                <a:cubicBezTo>
                  <a:pt x="3128673" y="1254508"/>
                  <a:pt x="3130495" y="1254508"/>
                  <a:pt x="3132317" y="1254508"/>
                </a:cubicBezTo>
                <a:cubicBezTo>
                  <a:pt x="3130495" y="1252686"/>
                  <a:pt x="3130495" y="1247219"/>
                  <a:pt x="3128673" y="1243575"/>
                </a:cubicBezTo>
                <a:cubicBezTo>
                  <a:pt x="3125029" y="1243575"/>
                  <a:pt x="3123206" y="1241753"/>
                  <a:pt x="3121384" y="1239931"/>
                </a:cubicBezTo>
                <a:close/>
                <a:moveTo>
                  <a:pt x="1297388" y="1239931"/>
                </a:moveTo>
                <a:cubicBezTo>
                  <a:pt x="1297388" y="1241753"/>
                  <a:pt x="1297388" y="1241753"/>
                  <a:pt x="1301033" y="1243575"/>
                </a:cubicBezTo>
                <a:cubicBezTo>
                  <a:pt x="1301033" y="1243575"/>
                  <a:pt x="1302855" y="1241753"/>
                  <a:pt x="1302855" y="1241753"/>
                </a:cubicBezTo>
                <a:cubicBezTo>
                  <a:pt x="1304677" y="1245397"/>
                  <a:pt x="1310143" y="1243575"/>
                  <a:pt x="1311966" y="1241753"/>
                </a:cubicBezTo>
                <a:cubicBezTo>
                  <a:pt x="1308321" y="1239931"/>
                  <a:pt x="1304677" y="1241753"/>
                  <a:pt x="1302855" y="1239931"/>
                </a:cubicBezTo>
                <a:cubicBezTo>
                  <a:pt x="1302855" y="1239931"/>
                  <a:pt x="1301033" y="1241753"/>
                  <a:pt x="1301033" y="1241753"/>
                </a:cubicBezTo>
                <a:cubicBezTo>
                  <a:pt x="1301033" y="1239931"/>
                  <a:pt x="1299210" y="1239931"/>
                  <a:pt x="1297388" y="1239931"/>
                </a:cubicBezTo>
                <a:close/>
                <a:moveTo>
                  <a:pt x="1231790" y="1239931"/>
                </a:moveTo>
                <a:cubicBezTo>
                  <a:pt x="1229969" y="1241753"/>
                  <a:pt x="1231790" y="1243575"/>
                  <a:pt x="1233612" y="1245397"/>
                </a:cubicBezTo>
                <a:cubicBezTo>
                  <a:pt x="1235434" y="1243575"/>
                  <a:pt x="1237256" y="1247219"/>
                  <a:pt x="1239080" y="1245397"/>
                </a:cubicBezTo>
                <a:cubicBezTo>
                  <a:pt x="1239080" y="1239931"/>
                  <a:pt x="1233612" y="1241753"/>
                  <a:pt x="1231790" y="1239931"/>
                </a:cubicBezTo>
                <a:close/>
                <a:moveTo>
                  <a:pt x="1051395" y="1239931"/>
                </a:moveTo>
                <a:cubicBezTo>
                  <a:pt x="1047750" y="1241753"/>
                  <a:pt x="1047750" y="1245397"/>
                  <a:pt x="1044106" y="1243575"/>
                </a:cubicBezTo>
                <a:cubicBezTo>
                  <a:pt x="1045929" y="1245397"/>
                  <a:pt x="1044106" y="1245397"/>
                  <a:pt x="1045929" y="1247219"/>
                </a:cubicBezTo>
                <a:cubicBezTo>
                  <a:pt x="1047750" y="1247219"/>
                  <a:pt x="1047750" y="1245397"/>
                  <a:pt x="1047750" y="1245397"/>
                </a:cubicBezTo>
                <a:cubicBezTo>
                  <a:pt x="1049573" y="1245397"/>
                  <a:pt x="1049573" y="1247219"/>
                  <a:pt x="1051395" y="1249042"/>
                </a:cubicBezTo>
                <a:cubicBezTo>
                  <a:pt x="1053217" y="1250864"/>
                  <a:pt x="1056861" y="1247219"/>
                  <a:pt x="1056861" y="1245397"/>
                </a:cubicBezTo>
                <a:cubicBezTo>
                  <a:pt x="1055040" y="1243575"/>
                  <a:pt x="1053217" y="1241753"/>
                  <a:pt x="1051395" y="1239931"/>
                </a:cubicBezTo>
                <a:close/>
                <a:moveTo>
                  <a:pt x="1223590" y="1238792"/>
                </a:moveTo>
                <a:cubicBezTo>
                  <a:pt x="1222679" y="1238108"/>
                  <a:pt x="1221768" y="1238108"/>
                  <a:pt x="1220858" y="1239931"/>
                </a:cubicBezTo>
                <a:cubicBezTo>
                  <a:pt x="1222679" y="1241753"/>
                  <a:pt x="1224501" y="1243575"/>
                  <a:pt x="1226323" y="1241753"/>
                </a:cubicBezTo>
                <a:cubicBezTo>
                  <a:pt x="1225412" y="1240842"/>
                  <a:pt x="1224501" y="1239475"/>
                  <a:pt x="1223590" y="1238792"/>
                </a:cubicBezTo>
                <a:close/>
                <a:moveTo>
                  <a:pt x="1275522" y="1238109"/>
                </a:moveTo>
                <a:cubicBezTo>
                  <a:pt x="1273700" y="1237653"/>
                  <a:pt x="1271878" y="1238108"/>
                  <a:pt x="1270056" y="1241753"/>
                </a:cubicBezTo>
                <a:cubicBezTo>
                  <a:pt x="1271878" y="1256330"/>
                  <a:pt x="1290100" y="1256330"/>
                  <a:pt x="1295566" y="1245397"/>
                </a:cubicBezTo>
                <a:cubicBezTo>
                  <a:pt x="1295566" y="1245397"/>
                  <a:pt x="1293744" y="1250864"/>
                  <a:pt x="1290100" y="1252686"/>
                </a:cubicBezTo>
                <a:cubicBezTo>
                  <a:pt x="1290100" y="1256330"/>
                  <a:pt x="1291922" y="1252686"/>
                  <a:pt x="1293744" y="1254508"/>
                </a:cubicBezTo>
                <a:cubicBezTo>
                  <a:pt x="1293744" y="1258152"/>
                  <a:pt x="1290100" y="1252686"/>
                  <a:pt x="1288277" y="1256330"/>
                </a:cubicBezTo>
                <a:cubicBezTo>
                  <a:pt x="1290099" y="1259974"/>
                  <a:pt x="1292377" y="1259974"/>
                  <a:pt x="1294656" y="1259519"/>
                </a:cubicBezTo>
                <a:lnTo>
                  <a:pt x="1297388" y="1259714"/>
                </a:lnTo>
                <a:lnTo>
                  <a:pt x="1297388" y="1261797"/>
                </a:lnTo>
                <a:cubicBezTo>
                  <a:pt x="1301033" y="1263619"/>
                  <a:pt x="1302855" y="1261797"/>
                  <a:pt x="1302855" y="1265441"/>
                </a:cubicBezTo>
                <a:cubicBezTo>
                  <a:pt x="1304677" y="1263619"/>
                  <a:pt x="1302855" y="1261797"/>
                  <a:pt x="1302855" y="1259975"/>
                </a:cubicBezTo>
                <a:lnTo>
                  <a:pt x="1300867" y="1259312"/>
                </a:lnTo>
                <a:lnTo>
                  <a:pt x="1299210" y="1252686"/>
                </a:lnTo>
                <a:cubicBezTo>
                  <a:pt x="1299210" y="1252686"/>
                  <a:pt x="1297388" y="1254508"/>
                  <a:pt x="1295566" y="1254508"/>
                </a:cubicBezTo>
                <a:cubicBezTo>
                  <a:pt x="1297388" y="1250864"/>
                  <a:pt x="1297388" y="1249042"/>
                  <a:pt x="1295566" y="1245397"/>
                </a:cubicBezTo>
                <a:cubicBezTo>
                  <a:pt x="1290100" y="1238108"/>
                  <a:pt x="1282811" y="1239931"/>
                  <a:pt x="1277344" y="1243575"/>
                </a:cubicBezTo>
                <a:cubicBezTo>
                  <a:pt x="1277344" y="1239931"/>
                  <a:pt x="1279166" y="1241753"/>
                  <a:pt x="1280989" y="1239931"/>
                </a:cubicBezTo>
                <a:cubicBezTo>
                  <a:pt x="1279166" y="1239931"/>
                  <a:pt x="1277344" y="1238564"/>
                  <a:pt x="1275522" y="1238109"/>
                </a:cubicBezTo>
                <a:close/>
                <a:moveTo>
                  <a:pt x="2133766" y="1238108"/>
                </a:moveTo>
                <a:cubicBezTo>
                  <a:pt x="2130122" y="1238108"/>
                  <a:pt x="2130122" y="1241753"/>
                  <a:pt x="2130122" y="1243575"/>
                </a:cubicBezTo>
                <a:cubicBezTo>
                  <a:pt x="2131944" y="1243575"/>
                  <a:pt x="2131944" y="1243575"/>
                  <a:pt x="2133766" y="1241753"/>
                </a:cubicBezTo>
                <a:close/>
                <a:moveTo>
                  <a:pt x="1244545" y="1238108"/>
                </a:moveTo>
                <a:cubicBezTo>
                  <a:pt x="1240901" y="1239931"/>
                  <a:pt x="1240901" y="1241753"/>
                  <a:pt x="1242723" y="1243575"/>
                </a:cubicBezTo>
                <a:cubicBezTo>
                  <a:pt x="1244545" y="1241753"/>
                  <a:pt x="1244545" y="1241753"/>
                  <a:pt x="1246367" y="1239931"/>
                </a:cubicBezTo>
                <a:cubicBezTo>
                  <a:pt x="1246367" y="1239931"/>
                  <a:pt x="1244545" y="1238108"/>
                  <a:pt x="1244545" y="1238108"/>
                </a:cubicBezTo>
                <a:close/>
                <a:moveTo>
                  <a:pt x="544603" y="1237653"/>
                </a:moveTo>
                <a:lnTo>
                  <a:pt x="541495" y="1239004"/>
                </a:lnTo>
                <a:lnTo>
                  <a:pt x="539364" y="1239931"/>
                </a:lnTo>
                <a:cubicBezTo>
                  <a:pt x="539364" y="1243575"/>
                  <a:pt x="539364" y="1243575"/>
                  <a:pt x="537542" y="1245397"/>
                </a:cubicBezTo>
                <a:cubicBezTo>
                  <a:pt x="543008" y="1245397"/>
                  <a:pt x="548475" y="1243575"/>
                  <a:pt x="548475" y="1238108"/>
                </a:cubicBezTo>
                <a:cubicBezTo>
                  <a:pt x="547564" y="1235375"/>
                  <a:pt x="546197" y="1236286"/>
                  <a:pt x="544603" y="1237653"/>
                </a:cubicBezTo>
                <a:close/>
                <a:moveTo>
                  <a:pt x="579451" y="1236741"/>
                </a:moveTo>
                <a:cubicBezTo>
                  <a:pt x="577630" y="1237197"/>
                  <a:pt x="575808" y="1238108"/>
                  <a:pt x="573985" y="1238108"/>
                </a:cubicBezTo>
                <a:cubicBezTo>
                  <a:pt x="575808" y="1238108"/>
                  <a:pt x="575808" y="1239931"/>
                  <a:pt x="575808" y="1241753"/>
                </a:cubicBezTo>
                <a:cubicBezTo>
                  <a:pt x="579452" y="1239931"/>
                  <a:pt x="581274" y="1238108"/>
                  <a:pt x="584919" y="1238108"/>
                </a:cubicBezTo>
                <a:cubicBezTo>
                  <a:pt x="583096" y="1236286"/>
                  <a:pt x="581274" y="1236286"/>
                  <a:pt x="579451" y="1236741"/>
                </a:cubicBezTo>
                <a:close/>
                <a:moveTo>
                  <a:pt x="3115918" y="1236286"/>
                </a:moveTo>
                <a:cubicBezTo>
                  <a:pt x="3114096" y="1236286"/>
                  <a:pt x="3114096" y="1238108"/>
                  <a:pt x="3114096" y="1238108"/>
                </a:cubicBezTo>
                <a:cubicBezTo>
                  <a:pt x="3114096" y="1239931"/>
                  <a:pt x="3110451" y="1239931"/>
                  <a:pt x="3108629" y="1239931"/>
                </a:cubicBezTo>
                <a:cubicBezTo>
                  <a:pt x="3110451" y="1241753"/>
                  <a:pt x="3112274" y="1241753"/>
                  <a:pt x="3115918" y="1241753"/>
                </a:cubicBezTo>
                <a:cubicBezTo>
                  <a:pt x="3115918" y="1239931"/>
                  <a:pt x="3115918" y="1238108"/>
                  <a:pt x="3115918" y="1236286"/>
                </a:cubicBezTo>
                <a:close/>
                <a:moveTo>
                  <a:pt x="1328365" y="1236286"/>
                </a:moveTo>
                <a:cubicBezTo>
                  <a:pt x="1326543" y="1238108"/>
                  <a:pt x="1326543" y="1239931"/>
                  <a:pt x="1328365" y="1241753"/>
                </a:cubicBezTo>
                <a:cubicBezTo>
                  <a:pt x="1332009" y="1241753"/>
                  <a:pt x="1330188" y="1236286"/>
                  <a:pt x="1328365" y="1236286"/>
                </a:cubicBezTo>
                <a:close/>
                <a:moveTo>
                  <a:pt x="1253656" y="1236286"/>
                </a:moveTo>
                <a:cubicBezTo>
                  <a:pt x="1251834" y="1234464"/>
                  <a:pt x="1248189" y="1238108"/>
                  <a:pt x="1251834" y="1239931"/>
                </a:cubicBezTo>
                <a:cubicBezTo>
                  <a:pt x="1253656" y="1239931"/>
                  <a:pt x="1253656" y="1238108"/>
                  <a:pt x="1253656" y="1236286"/>
                </a:cubicBezTo>
                <a:close/>
                <a:moveTo>
                  <a:pt x="1100593" y="1236286"/>
                </a:moveTo>
                <a:cubicBezTo>
                  <a:pt x="1100593" y="1239931"/>
                  <a:pt x="1093305" y="1241753"/>
                  <a:pt x="1095127" y="1243575"/>
                </a:cubicBezTo>
                <a:cubicBezTo>
                  <a:pt x="1098771" y="1250864"/>
                  <a:pt x="1106060" y="1249042"/>
                  <a:pt x="1111526" y="1249042"/>
                </a:cubicBezTo>
                <a:cubicBezTo>
                  <a:pt x="1107882" y="1243575"/>
                  <a:pt x="1106060" y="1238108"/>
                  <a:pt x="1100593" y="1236286"/>
                </a:cubicBezTo>
                <a:close/>
                <a:moveTo>
                  <a:pt x="1045929" y="1236286"/>
                </a:moveTo>
                <a:cubicBezTo>
                  <a:pt x="1045929" y="1238108"/>
                  <a:pt x="1045929" y="1241753"/>
                  <a:pt x="1042284" y="1243575"/>
                </a:cubicBezTo>
                <a:cubicBezTo>
                  <a:pt x="1044106" y="1245397"/>
                  <a:pt x="1047750" y="1241753"/>
                  <a:pt x="1049573" y="1239931"/>
                </a:cubicBezTo>
                <a:cubicBezTo>
                  <a:pt x="1047750" y="1238108"/>
                  <a:pt x="1047750" y="1236286"/>
                  <a:pt x="1045929" y="1236286"/>
                </a:cubicBezTo>
                <a:close/>
                <a:moveTo>
                  <a:pt x="572163" y="1236286"/>
                </a:moveTo>
                <a:cubicBezTo>
                  <a:pt x="570341" y="1238108"/>
                  <a:pt x="568519" y="1238108"/>
                  <a:pt x="568519" y="1238108"/>
                </a:cubicBezTo>
                <a:cubicBezTo>
                  <a:pt x="568519" y="1243575"/>
                  <a:pt x="570341" y="1247219"/>
                  <a:pt x="573985" y="1249042"/>
                </a:cubicBezTo>
                <a:cubicBezTo>
                  <a:pt x="575808" y="1243575"/>
                  <a:pt x="575808" y="1243575"/>
                  <a:pt x="572163" y="1236286"/>
                </a:cubicBezTo>
                <a:close/>
                <a:moveTo>
                  <a:pt x="430262" y="1235375"/>
                </a:moveTo>
                <a:cubicBezTo>
                  <a:pt x="427756" y="1234464"/>
                  <a:pt x="425478" y="1234464"/>
                  <a:pt x="424567" y="1236286"/>
                </a:cubicBezTo>
                <a:cubicBezTo>
                  <a:pt x="430034" y="1238108"/>
                  <a:pt x="433678" y="1239931"/>
                  <a:pt x="437322" y="1239931"/>
                </a:cubicBezTo>
                <a:cubicBezTo>
                  <a:pt x="435500" y="1238108"/>
                  <a:pt x="432767" y="1236286"/>
                  <a:pt x="430262" y="1235375"/>
                </a:cubicBezTo>
                <a:close/>
                <a:moveTo>
                  <a:pt x="3405643" y="1234893"/>
                </a:moveTo>
                <a:lnTo>
                  <a:pt x="3405643" y="1236286"/>
                </a:lnTo>
                <a:lnTo>
                  <a:pt x="3400934" y="1235837"/>
                </a:lnTo>
                <a:lnTo>
                  <a:pt x="3403594" y="1235375"/>
                </a:lnTo>
                <a:close/>
                <a:moveTo>
                  <a:pt x="3307246" y="1234464"/>
                </a:moveTo>
                <a:cubicBezTo>
                  <a:pt x="3299957" y="1238108"/>
                  <a:pt x="3305424" y="1241753"/>
                  <a:pt x="3305424" y="1245397"/>
                </a:cubicBezTo>
                <a:cubicBezTo>
                  <a:pt x="3307246" y="1245397"/>
                  <a:pt x="3312713" y="1249042"/>
                  <a:pt x="3314535" y="1243575"/>
                </a:cubicBezTo>
                <a:cubicBezTo>
                  <a:pt x="3310890" y="1245397"/>
                  <a:pt x="3309068" y="1243575"/>
                  <a:pt x="3307246" y="1243575"/>
                </a:cubicBezTo>
                <a:cubicBezTo>
                  <a:pt x="3309068" y="1239931"/>
                  <a:pt x="3307246" y="1236286"/>
                  <a:pt x="3307246" y="1234464"/>
                </a:cubicBezTo>
                <a:close/>
                <a:moveTo>
                  <a:pt x="3137784" y="1234464"/>
                </a:moveTo>
                <a:cubicBezTo>
                  <a:pt x="3135962" y="1236286"/>
                  <a:pt x="3134140" y="1236286"/>
                  <a:pt x="3134140" y="1239931"/>
                </a:cubicBezTo>
                <a:cubicBezTo>
                  <a:pt x="3135962" y="1239931"/>
                  <a:pt x="3137784" y="1239931"/>
                  <a:pt x="3139606" y="1239931"/>
                </a:cubicBezTo>
                <a:cubicBezTo>
                  <a:pt x="3139606" y="1236286"/>
                  <a:pt x="3137784" y="1236286"/>
                  <a:pt x="3137784" y="1234464"/>
                </a:cubicBezTo>
                <a:close/>
                <a:moveTo>
                  <a:pt x="2117366" y="1234464"/>
                </a:moveTo>
                <a:cubicBezTo>
                  <a:pt x="2108256" y="1238108"/>
                  <a:pt x="2119189" y="1250864"/>
                  <a:pt x="2126477" y="1245397"/>
                </a:cubicBezTo>
                <a:cubicBezTo>
                  <a:pt x="2124655" y="1241753"/>
                  <a:pt x="2117366" y="1241753"/>
                  <a:pt x="2117366" y="1234464"/>
                </a:cubicBezTo>
                <a:close/>
                <a:moveTo>
                  <a:pt x="1321077" y="1234464"/>
                </a:moveTo>
                <a:cubicBezTo>
                  <a:pt x="1321077" y="1236286"/>
                  <a:pt x="1322899" y="1239931"/>
                  <a:pt x="1324721" y="1241753"/>
                </a:cubicBezTo>
                <a:cubicBezTo>
                  <a:pt x="1326543" y="1239931"/>
                  <a:pt x="1326543" y="1234464"/>
                  <a:pt x="1321077" y="1234464"/>
                </a:cubicBezTo>
                <a:close/>
                <a:moveTo>
                  <a:pt x="1319254" y="1234464"/>
                </a:moveTo>
                <a:cubicBezTo>
                  <a:pt x="1313788" y="1236286"/>
                  <a:pt x="1306499" y="1236286"/>
                  <a:pt x="1301033" y="1238108"/>
                </a:cubicBezTo>
                <a:cubicBezTo>
                  <a:pt x="1304677" y="1239931"/>
                  <a:pt x="1308321" y="1238108"/>
                  <a:pt x="1311966" y="1239931"/>
                </a:cubicBezTo>
                <a:cubicBezTo>
                  <a:pt x="1313788" y="1239931"/>
                  <a:pt x="1311966" y="1238108"/>
                  <a:pt x="1313788" y="1238108"/>
                </a:cubicBezTo>
                <a:cubicBezTo>
                  <a:pt x="1315610" y="1236286"/>
                  <a:pt x="1313788" y="1239931"/>
                  <a:pt x="1315610" y="1241753"/>
                </a:cubicBezTo>
                <a:cubicBezTo>
                  <a:pt x="1317432" y="1239931"/>
                  <a:pt x="1319254" y="1241753"/>
                  <a:pt x="1321077" y="1239931"/>
                </a:cubicBezTo>
                <a:cubicBezTo>
                  <a:pt x="1319254" y="1238108"/>
                  <a:pt x="1321077" y="1236286"/>
                  <a:pt x="1319254" y="1234464"/>
                </a:cubicBezTo>
                <a:close/>
                <a:moveTo>
                  <a:pt x="1183112" y="1234464"/>
                </a:moveTo>
                <a:lnTo>
                  <a:pt x="1184414" y="1234464"/>
                </a:lnTo>
                <a:cubicBezTo>
                  <a:pt x="1181680" y="1238108"/>
                  <a:pt x="1180313" y="1242664"/>
                  <a:pt x="1178719" y="1246992"/>
                </a:cubicBezTo>
                <a:lnTo>
                  <a:pt x="1177125" y="1249511"/>
                </a:lnTo>
                <a:lnTo>
                  <a:pt x="1177125" y="1247447"/>
                </a:lnTo>
                <a:cubicBezTo>
                  <a:pt x="1177580" y="1246308"/>
                  <a:pt x="1178036" y="1245397"/>
                  <a:pt x="1177125" y="1245397"/>
                </a:cubicBezTo>
                <a:lnTo>
                  <a:pt x="1175081" y="1246624"/>
                </a:lnTo>
                <a:lnTo>
                  <a:pt x="1175303" y="1245397"/>
                </a:lnTo>
                <a:close/>
                <a:moveTo>
                  <a:pt x="1065972" y="1234464"/>
                </a:moveTo>
                <a:cubicBezTo>
                  <a:pt x="1062328" y="1238108"/>
                  <a:pt x="1064151" y="1241753"/>
                  <a:pt x="1058683" y="1243575"/>
                </a:cubicBezTo>
                <a:cubicBezTo>
                  <a:pt x="1062328" y="1247219"/>
                  <a:pt x="1065972" y="1250864"/>
                  <a:pt x="1071439" y="1256330"/>
                </a:cubicBezTo>
                <a:cubicBezTo>
                  <a:pt x="1073262" y="1254508"/>
                  <a:pt x="1075083" y="1254508"/>
                  <a:pt x="1076905" y="1252686"/>
                </a:cubicBezTo>
                <a:cubicBezTo>
                  <a:pt x="1075083" y="1250864"/>
                  <a:pt x="1075083" y="1243575"/>
                  <a:pt x="1071439" y="1243575"/>
                </a:cubicBezTo>
                <a:cubicBezTo>
                  <a:pt x="1073262" y="1239931"/>
                  <a:pt x="1067794" y="1238108"/>
                  <a:pt x="1065972" y="1234464"/>
                </a:cubicBezTo>
                <a:close/>
                <a:moveTo>
                  <a:pt x="557586" y="1234464"/>
                </a:moveTo>
                <a:cubicBezTo>
                  <a:pt x="557586" y="1234464"/>
                  <a:pt x="557586" y="1236286"/>
                  <a:pt x="555763" y="1236286"/>
                </a:cubicBezTo>
                <a:cubicBezTo>
                  <a:pt x="550297" y="1247219"/>
                  <a:pt x="537542" y="1243575"/>
                  <a:pt x="533897" y="1252686"/>
                </a:cubicBezTo>
                <a:cubicBezTo>
                  <a:pt x="541186" y="1259975"/>
                  <a:pt x="546653" y="1254508"/>
                  <a:pt x="550297" y="1252686"/>
                </a:cubicBezTo>
                <a:cubicBezTo>
                  <a:pt x="559408" y="1250864"/>
                  <a:pt x="555763" y="1241753"/>
                  <a:pt x="557586" y="1234464"/>
                </a:cubicBezTo>
                <a:close/>
                <a:moveTo>
                  <a:pt x="451899" y="1234464"/>
                </a:moveTo>
                <a:cubicBezTo>
                  <a:pt x="450077" y="1236286"/>
                  <a:pt x="450077" y="1236286"/>
                  <a:pt x="450077" y="1238108"/>
                </a:cubicBezTo>
                <a:cubicBezTo>
                  <a:pt x="451899" y="1238108"/>
                  <a:pt x="453722" y="1239931"/>
                  <a:pt x="455544" y="1238108"/>
                </a:cubicBezTo>
                <a:cubicBezTo>
                  <a:pt x="455544" y="1236286"/>
                  <a:pt x="453722" y="1236286"/>
                  <a:pt x="451899" y="1234464"/>
                </a:cubicBezTo>
                <a:close/>
                <a:moveTo>
                  <a:pt x="326169" y="1234464"/>
                </a:moveTo>
                <a:cubicBezTo>
                  <a:pt x="324347" y="1236286"/>
                  <a:pt x="324347" y="1238108"/>
                  <a:pt x="322525" y="1239931"/>
                </a:cubicBezTo>
                <a:cubicBezTo>
                  <a:pt x="327993" y="1243575"/>
                  <a:pt x="331636" y="1245397"/>
                  <a:pt x="337102" y="1245397"/>
                </a:cubicBezTo>
                <a:cubicBezTo>
                  <a:pt x="338926" y="1243575"/>
                  <a:pt x="337102" y="1243575"/>
                  <a:pt x="335280" y="1241753"/>
                </a:cubicBezTo>
                <a:cubicBezTo>
                  <a:pt x="337102" y="1239931"/>
                  <a:pt x="340747" y="1243575"/>
                  <a:pt x="342569" y="1241753"/>
                </a:cubicBezTo>
                <a:cubicBezTo>
                  <a:pt x="335280" y="1238108"/>
                  <a:pt x="329814" y="1243575"/>
                  <a:pt x="326169" y="1234464"/>
                </a:cubicBezTo>
                <a:close/>
                <a:moveTo>
                  <a:pt x="934775" y="1233781"/>
                </a:moveTo>
                <a:cubicBezTo>
                  <a:pt x="932498" y="1234464"/>
                  <a:pt x="930220" y="1236286"/>
                  <a:pt x="929309" y="1239931"/>
                </a:cubicBezTo>
                <a:cubicBezTo>
                  <a:pt x="927487" y="1239931"/>
                  <a:pt x="929309" y="1238108"/>
                  <a:pt x="927487" y="1236286"/>
                </a:cubicBezTo>
                <a:cubicBezTo>
                  <a:pt x="923843" y="1238108"/>
                  <a:pt x="922020" y="1239931"/>
                  <a:pt x="922020" y="1243575"/>
                </a:cubicBezTo>
                <a:cubicBezTo>
                  <a:pt x="923843" y="1245397"/>
                  <a:pt x="931131" y="1245397"/>
                  <a:pt x="932953" y="1239931"/>
                </a:cubicBezTo>
                <a:cubicBezTo>
                  <a:pt x="938420" y="1241753"/>
                  <a:pt x="945709" y="1241753"/>
                  <a:pt x="940242" y="1234464"/>
                </a:cubicBezTo>
                <a:cubicBezTo>
                  <a:pt x="939331" y="1233553"/>
                  <a:pt x="937053" y="1233097"/>
                  <a:pt x="934775" y="1233781"/>
                </a:cubicBezTo>
                <a:close/>
                <a:moveTo>
                  <a:pt x="3294491" y="1232642"/>
                </a:moveTo>
                <a:cubicBezTo>
                  <a:pt x="3290847" y="1234464"/>
                  <a:pt x="3290847" y="1239931"/>
                  <a:pt x="3296313" y="1238108"/>
                </a:cubicBezTo>
                <a:cubicBezTo>
                  <a:pt x="3296313" y="1236286"/>
                  <a:pt x="3296313" y="1234464"/>
                  <a:pt x="3294491" y="1232642"/>
                </a:cubicBezTo>
                <a:close/>
                <a:moveTo>
                  <a:pt x="3188805" y="1232642"/>
                </a:moveTo>
                <a:cubicBezTo>
                  <a:pt x="3188805" y="1238108"/>
                  <a:pt x="3190627" y="1239931"/>
                  <a:pt x="3196093" y="1239931"/>
                </a:cubicBezTo>
                <a:cubicBezTo>
                  <a:pt x="3196093" y="1236286"/>
                  <a:pt x="3196093" y="1234464"/>
                  <a:pt x="3196093" y="1232642"/>
                </a:cubicBezTo>
                <a:cubicBezTo>
                  <a:pt x="3192449" y="1232642"/>
                  <a:pt x="3190627" y="1232642"/>
                  <a:pt x="3188805" y="1232642"/>
                </a:cubicBezTo>
                <a:close/>
                <a:moveTo>
                  <a:pt x="3044853" y="1232642"/>
                </a:moveTo>
                <a:cubicBezTo>
                  <a:pt x="3041209" y="1232642"/>
                  <a:pt x="3039387" y="1243575"/>
                  <a:pt x="3035742" y="1234464"/>
                </a:cubicBezTo>
                <a:cubicBezTo>
                  <a:pt x="3032098" y="1236286"/>
                  <a:pt x="3037564" y="1239931"/>
                  <a:pt x="3041209" y="1239931"/>
                </a:cubicBezTo>
                <a:cubicBezTo>
                  <a:pt x="3041209" y="1238108"/>
                  <a:pt x="3044853" y="1238108"/>
                  <a:pt x="3046675" y="1236286"/>
                </a:cubicBezTo>
                <a:cubicBezTo>
                  <a:pt x="3044853" y="1236286"/>
                  <a:pt x="3044853" y="1234464"/>
                  <a:pt x="3044853" y="1232642"/>
                </a:cubicBezTo>
                <a:close/>
                <a:moveTo>
                  <a:pt x="1226323" y="1232642"/>
                </a:moveTo>
                <a:cubicBezTo>
                  <a:pt x="1226323" y="1232642"/>
                  <a:pt x="1226323" y="1234464"/>
                  <a:pt x="1226323" y="1236286"/>
                </a:cubicBezTo>
                <a:cubicBezTo>
                  <a:pt x="1231790" y="1234464"/>
                  <a:pt x="1235434" y="1239931"/>
                  <a:pt x="1240901" y="1239931"/>
                </a:cubicBezTo>
                <a:cubicBezTo>
                  <a:pt x="1235434" y="1236286"/>
                  <a:pt x="1231790" y="1234464"/>
                  <a:pt x="1226323" y="1232642"/>
                </a:cubicBezTo>
                <a:close/>
                <a:moveTo>
                  <a:pt x="1104238" y="1232642"/>
                </a:moveTo>
                <a:cubicBezTo>
                  <a:pt x="1102416" y="1236286"/>
                  <a:pt x="1115171" y="1247219"/>
                  <a:pt x="1118815" y="1249042"/>
                </a:cubicBezTo>
                <a:cubicBezTo>
                  <a:pt x="1120637" y="1247219"/>
                  <a:pt x="1118815" y="1249042"/>
                  <a:pt x="1118815" y="1247219"/>
                </a:cubicBezTo>
                <a:cubicBezTo>
                  <a:pt x="1120637" y="1245397"/>
                  <a:pt x="1120637" y="1247219"/>
                  <a:pt x="1122459" y="1249042"/>
                </a:cubicBezTo>
                <a:lnTo>
                  <a:pt x="1125834" y="1242293"/>
                </a:lnTo>
                <a:lnTo>
                  <a:pt x="1125648" y="1245169"/>
                </a:lnTo>
                <a:cubicBezTo>
                  <a:pt x="1124737" y="1247219"/>
                  <a:pt x="1123370" y="1249042"/>
                  <a:pt x="1122459" y="1250864"/>
                </a:cubicBezTo>
                <a:cubicBezTo>
                  <a:pt x="1124282" y="1250864"/>
                  <a:pt x="1127926" y="1254508"/>
                  <a:pt x="1129748" y="1254508"/>
                </a:cubicBezTo>
                <a:cubicBezTo>
                  <a:pt x="1133393" y="1252686"/>
                  <a:pt x="1135215" y="1247219"/>
                  <a:pt x="1137037" y="1241753"/>
                </a:cubicBezTo>
                <a:cubicBezTo>
                  <a:pt x="1133393" y="1232642"/>
                  <a:pt x="1124282" y="1232642"/>
                  <a:pt x="1116993" y="1232642"/>
                </a:cubicBezTo>
                <a:cubicBezTo>
                  <a:pt x="1116993" y="1234464"/>
                  <a:pt x="1116993" y="1234464"/>
                  <a:pt x="1116993" y="1236286"/>
                </a:cubicBezTo>
                <a:cubicBezTo>
                  <a:pt x="1120637" y="1238108"/>
                  <a:pt x="1122459" y="1238108"/>
                  <a:pt x="1126104" y="1238108"/>
                </a:cubicBezTo>
                <a:lnTo>
                  <a:pt x="1125872" y="1241695"/>
                </a:lnTo>
                <a:lnTo>
                  <a:pt x="1118815" y="1239931"/>
                </a:lnTo>
                <a:cubicBezTo>
                  <a:pt x="1116993" y="1238108"/>
                  <a:pt x="1115171" y="1234464"/>
                  <a:pt x="1115171" y="1232642"/>
                </a:cubicBezTo>
                <a:cubicBezTo>
                  <a:pt x="1111526" y="1232642"/>
                  <a:pt x="1107882" y="1234464"/>
                  <a:pt x="1104238" y="1232642"/>
                </a:cubicBezTo>
                <a:close/>
                <a:moveTo>
                  <a:pt x="1065972" y="1232642"/>
                </a:moveTo>
                <a:cubicBezTo>
                  <a:pt x="1067794" y="1232642"/>
                  <a:pt x="1069616" y="1236286"/>
                  <a:pt x="1071439" y="1238108"/>
                </a:cubicBezTo>
                <a:cubicBezTo>
                  <a:pt x="1071439" y="1236286"/>
                  <a:pt x="1067794" y="1228998"/>
                  <a:pt x="1065972" y="1232642"/>
                </a:cubicBezTo>
                <a:close/>
                <a:moveTo>
                  <a:pt x="396096" y="1232414"/>
                </a:moveTo>
                <a:cubicBezTo>
                  <a:pt x="394957" y="1232187"/>
                  <a:pt x="393590" y="1232642"/>
                  <a:pt x="391768" y="1234464"/>
                </a:cubicBezTo>
                <a:cubicBezTo>
                  <a:pt x="397234" y="1234464"/>
                  <a:pt x="404523" y="1238108"/>
                  <a:pt x="409989" y="1236286"/>
                </a:cubicBezTo>
                <a:cubicBezTo>
                  <a:pt x="408167" y="1236286"/>
                  <a:pt x="406345" y="1234920"/>
                  <a:pt x="404523" y="1234008"/>
                </a:cubicBezTo>
                <a:cubicBezTo>
                  <a:pt x="402701" y="1233097"/>
                  <a:pt x="400878" y="1232642"/>
                  <a:pt x="399056" y="1234464"/>
                </a:cubicBezTo>
                <a:cubicBezTo>
                  <a:pt x="398145" y="1233553"/>
                  <a:pt x="397234" y="1232642"/>
                  <a:pt x="396096" y="1232414"/>
                </a:cubicBezTo>
                <a:close/>
                <a:moveTo>
                  <a:pt x="1332693" y="1232414"/>
                </a:moveTo>
                <a:cubicBezTo>
                  <a:pt x="1329732" y="1233098"/>
                  <a:pt x="1328365" y="1235376"/>
                  <a:pt x="1332009" y="1239931"/>
                </a:cubicBezTo>
                <a:cubicBezTo>
                  <a:pt x="1335654" y="1238108"/>
                  <a:pt x="1339299" y="1238108"/>
                  <a:pt x="1342942" y="1234464"/>
                </a:cubicBezTo>
                <a:cubicBezTo>
                  <a:pt x="1340209" y="1232642"/>
                  <a:pt x="1335654" y="1231731"/>
                  <a:pt x="1332693" y="1232414"/>
                </a:cubicBezTo>
                <a:close/>
                <a:moveTo>
                  <a:pt x="456911" y="1231275"/>
                </a:moveTo>
                <a:cubicBezTo>
                  <a:pt x="455088" y="1231275"/>
                  <a:pt x="453722" y="1231731"/>
                  <a:pt x="453722" y="1232642"/>
                </a:cubicBezTo>
                <a:cubicBezTo>
                  <a:pt x="457367" y="1236286"/>
                  <a:pt x="464655" y="1230820"/>
                  <a:pt x="462832" y="1232642"/>
                </a:cubicBezTo>
                <a:cubicBezTo>
                  <a:pt x="461010" y="1231731"/>
                  <a:pt x="458732" y="1231275"/>
                  <a:pt x="456911" y="1231275"/>
                </a:cubicBezTo>
                <a:close/>
                <a:moveTo>
                  <a:pt x="2133766" y="1230820"/>
                </a:moveTo>
                <a:cubicBezTo>
                  <a:pt x="2131944" y="1230820"/>
                  <a:pt x="2130122" y="1230820"/>
                  <a:pt x="2130122" y="1232642"/>
                </a:cubicBezTo>
                <a:cubicBezTo>
                  <a:pt x="2128300" y="1234464"/>
                  <a:pt x="2131944" y="1236286"/>
                  <a:pt x="2133766" y="1234464"/>
                </a:cubicBezTo>
                <a:close/>
                <a:moveTo>
                  <a:pt x="1339299" y="1230820"/>
                </a:moveTo>
                <a:cubicBezTo>
                  <a:pt x="1341120" y="1232642"/>
                  <a:pt x="1344765" y="1234464"/>
                  <a:pt x="1346587" y="1232642"/>
                </a:cubicBezTo>
                <a:cubicBezTo>
                  <a:pt x="1346587" y="1232642"/>
                  <a:pt x="1344765" y="1230820"/>
                  <a:pt x="1346587" y="1230820"/>
                </a:cubicBezTo>
                <a:cubicBezTo>
                  <a:pt x="1342942" y="1227175"/>
                  <a:pt x="1341120" y="1227175"/>
                  <a:pt x="1339299" y="1230820"/>
                </a:cubicBezTo>
                <a:close/>
                <a:moveTo>
                  <a:pt x="1328365" y="1230820"/>
                </a:moveTo>
                <a:cubicBezTo>
                  <a:pt x="1328365" y="1230820"/>
                  <a:pt x="1326543" y="1232642"/>
                  <a:pt x="1326543" y="1232642"/>
                </a:cubicBezTo>
                <a:cubicBezTo>
                  <a:pt x="1326543" y="1234464"/>
                  <a:pt x="1328365" y="1234464"/>
                  <a:pt x="1328365" y="1234464"/>
                </a:cubicBezTo>
                <a:cubicBezTo>
                  <a:pt x="1330188" y="1232642"/>
                  <a:pt x="1332009" y="1232642"/>
                  <a:pt x="1332009" y="1230820"/>
                </a:cubicBezTo>
                <a:cubicBezTo>
                  <a:pt x="1330188" y="1228998"/>
                  <a:pt x="1330188" y="1232642"/>
                  <a:pt x="1328365" y="1230820"/>
                </a:cubicBezTo>
                <a:close/>
                <a:moveTo>
                  <a:pt x="1291922" y="1230820"/>
                </a:moveTo>
                <a:cubicBezTo>
                  <a:pt x="1288277" y="1228998"/>
                  <a:pt x="1282811" y="1234464"/>
                  <a:pt x="1279166" y="1234464"/>
                </a:cubicBezTo>
                <a:cubicBezTo>
                  <a:pt x="1280989" y="1239931"/>
                  <a:pt x="1288277" y="1236286"/>
                  <a:pt x="1291922" y="1234464"/>
                </a:cubicBezTo>
                <a:cubicBezTo>
                  <a:pt x="1293744" y="1234464"/>
                  <a:pt x="1290100" y="1232642"/>
                  <a:pt x="1291922" y="1230820"/>
                </a:cubicBezTo>
                <a:close/>
                <a:moveTo>
                  <a:pt x="1273016" y="1230820"/>
                </a:moveTo>
                <a:cubicBezTo>
                  <a:pt x="1270967" y="1230820"/>
                  <a:pt x="1269144" y="1231731"/>
                  <a:pt x="1268233" y="1234464"/>
                </a:cubicBezTo>
                <a:cubicBezTo>
                  <a:pt x="1271878" y="1236286"/>
                  <a:pt x="1275522" y="1236286"/>
                  <a:pt x="1279166" y="1232642"/>
                </a:cubicBezTo>
                <a:cubicBezTo>
                  <a:pt x="1277344" y="1231731"/>
                  <a:pt x="1275066" y="1230820"/>
                  <a:pt x="1273016" y="1230820"/>
                </a:cubicBezTo>
                <a:close/>
                <a:moveTo>
                  <a:pt x="1169836" y="1230820"/>
                </a:moveTo>
                <a:cubicBezTo>
                  <a:pt x="1166192" y="1232642"/>
                  <a:pt x="1166192" y="1234464"/>
                  <a:pt x="1166192" y="1236286"/>
                </a:cubicBezTo>
                <a:cubicBezTo>
                  <a:pt x="1166192" y="1238108"/>
                  <a:pt x="1168014" y="1236286"/>
                  <a:pt x="1168014" y="1236286"/>
                </a:cubicBezTo>
                <a:cubicBezTo>
                  <a:pt x="1168014" y="1238108"/>
                  <a:pt x="1164370" y="1238108"/>
                  <a:pt x="1164370" y="1239931"/>
                </a:cubicBezTo>
                <a:cubicBezTo>
                  <a:pt x="1164370" y="1241753"/>
                  <a:pt x="1168014" y="1241753"/>
                  <a:pt x="1173481" y="1243575"/>
                </a:cubicBezTo>
                <a:cubicBezTo>
                  <a:pt x="1171658" y="1245397"/>
                  <a:pt x="1169836" y="1241753"/>
                  <a:pt x="1168014" y="1243575"/>
                </a:cubicBezTo>
                <a:cubicBezTo>
                  <a:pt x="1166192" y="1245397"/>
                  <a:pt x="1166192" y="1249042"/>
                  <a:pt x="1168014" y="1250864"/>
                </a:cubicBezTo>
                <a:lnTo>
                  <a:pt x="1175081" y="1246624"/>
                </a:lnTo>
                <a:lnTo>
                  <a:pt x="1174559" y="1249488"/>
                </a:lnTo>
                <a:lnTo>
                  <a:pt x="1166192" y="1254508"/>
                </a:lnTo>
                <a:cubicBezTo>
                  <a:pt x="1168014" y="1256330"/>
                  <a:pt x="1169836" y="1258152"/>
                  <a:pt x="1171658" y="1258152"/>
                </a:cubicBezTo>
                <a:lnTo>
                  <a:pt x="1173082" y="1255900"/>
                </a:lnTo>
                <a:lnTo>
                  <a:pt x="1169836" y="1267263"/>
                </a:lnTo>
                <a:cubicBezTo>
                  <a:pt x="1178947" y="1269085"/>
                  <a:pt x="1195346" y="1283663"/>
                  <a:pt x="1206279" y="1272730"/>
                </a:cubicBezTo>
                <a:cubicBezTo>
                  <a:pt x="1204457" y="1270908"/>
                  <a:pt x="1204457" y="1270908"/>
                  <a:pt x="1202636" y="1272730"/>
                </a:cubicBezTo>
                <a:cubicBezTo>
                  <a:pt x="1202636" y="1272730"/>
                  <a:pt x="1200814" y="1270908"/>
                  <a:pt x="1200814" y="1269085"/>
                </a:cubicBezTo>
                <a:cubicBezTo>
                  <a:pt x="1202636" y="1267263"/>
                  <a:pt x="1200814" y="1272730"/>
                  <a:pt x="1202636" y="1270908"/>
                </a:cubicBezTo>
                <a:cubicBezTo>
                  <a:pt x="1204457" y="1269085"/>
                  <a:pt x="1204457" y="1267263"/>
                  <a:pt x="1202636" y="1265441"/>
                </a:cubicBezTo>
                <a:cubicBezTo>
                  <a:pt x="1208102" y="1263619"/>
                  <a:pt x="1204457" y="1270908"/>
                  <a:pt x="1208102" y="1272730"/>
                </a:cubicBezTo>
                <a:cubicBezTo>
                  <a:pt x="1211747" y="1270908"/>
                  <a:pt x="1215390" y="1272730"/>
                  <a:pt x="1215390" y="1269085"/>
                </a:cubicBezTo>
                <a:cubicBezTo>
                  <a:pt x="1213568" y="1269085"/>
                  <a:pt x="1211747" y="1265441"/>
                  <a:pt x="1209925" y="1263619"/>
                </a:cubicBezTo>
                <a:cubicBezTo>
                  <a:pt x="1213568" y="1265441"/>
                  <a:pt x="1215390" y="1269085"/>
                  <a:pt x="1219036" y="1269085"/>
                </a:cubicBezTo>
                <a:cubicBezTo>
                  <a:pt x="1220858" y="1269996"/>
                  <a:pt x="1221312" y="1271363"/>
                  <a:pt x="1222679" y="1272958"/>
                </a:cubicBezTo>
                <a:lnTo>
                  <a:pt x="1225934" y="1274829"/>
                </a:lnTo>
                <a:lnTo>
                  <a:pt x="1224729" y="1275691"/>
                </a:lnTo>
                <a:cubicBezTo>
                  <a:pt x="1224956" y="1276374"/>
                  <a:pt x="1225412" y="1277285"/>
                  <a:pt x="1224501" y="1278196"/>
                </a:cubicBezTo>
                <a:cubicBezTo>
                  <a:pt x="1222679" y="1276374"/>
                  <a:pt x="1222679" y="1270908"/>
                  <a:pt x="1219036" y="1270908"/>
                </a:cubicBezTo>
                <a:cubicBezTo>
                  <a:pt x="1213568" y="1278196"/>
                  <a:pt x="1208102" y="1278196"/>
                  <a:pt x="1200814" y="1281841"/>
                </a:cubicBezTo>
                <a:cubicBezTo>
                  <a:pt x="1206279" y="1285485"/>
                  <a:pt x="1209925" y="1287307"/>
                  <a:pt x="1215390" y="1290951"/>
                </a:cubicBezTo>
                <a:cubicBezTo>
                  <a:pt x="1217213" y="1285485"/>
                  <a:pt x="1209925" y="1283663"/>
                  <a:pt x="1213568" y="1280018"/>
                </a:cubicBezTo>
                <a:cubicBezTo>
                  <a:pt x="1215390" y="1285485"/>
                  <a:pt x="1215390" y="1294596"/>
                  <a:pt x="1222679" y="1294596"/>
                </a:cubicBezTo>
                <a:cubicBezTo>
                  <a:pt x="1224501" y="1294596"/>
                  <a:pt x="1226323" y="1292774"/>
                  <a:pt x="1228146" y="1290951"/>
                </a:cubicBezTo>
                <a:cubicBezTo>
                  <a:pt x="1228146" y="1290951"/>
                  <a:pt x="1224501" y="1292774"/>
                  <a:pt x="1224501" y="1294596"/>
                </a:cubicBezTo>
                <a:cubicBezTo>
                  <a:pt x="1226323" y="1296418"/>
                  <a:pt x="1228146" y="1296418"/>
                  <a:pt x="1229969" y="1294596"/>
                </a:cubicBezTo>
                <a:cubicBezTo>
                  <a:pt x="1229969" y="1292774"/>
                  <a:pt x="1229969" y="1292774"/>
                  <a:pt x="1228146" y="1290951"/>
                </a:cubicBezTo>
                <a:cubicBezTo>
                  <a:pt x="1226323" y="1287307"/>
                  <a:pt x="1226323" y="1283663"/>
                  <a:pt x="1224501" y="1280018"/>
                </a:cubicBezTo>
                <a:cubicBezTo>
                  <a:pt x="1228146" y="1280018"/>
                  <a:pt x="1226323" y="1285485"/>
                  <a:pt x="1229969" y="1283663"/>
                </a:cubicBezTo>
                <a:cubicBezTo>
                  <a:pt x="1228146" y="1287307"/>
                  <a:pt x="1228146" y="1290951"/>
                  <a:pt x="1233612" y="1294596"/>
                </a:cubicBezTo>
                <a:lnTo>
                  <a:pt x="1239229" y="1289878"/>
                </a:lnTo>
                <a:lnTo>
                  <a:pt x="1240901" y="1298240"/>
                </a:lnTo>
                <a:cubicBezTo>
                  <a:pt x="1244545" y="1296418"/>
                  <a:pt x="1246367" y="1292774"/>
                  <a:pt x="1242723" y="1290951"/>
                </a:cubicBezTo>
                <a:lnTo>
                  <a:pt x="1242723" y="1289129"/>
                </a:lnTo>
                <a:cubicBezTo>
                  <a:pt x="1240901" y="1289129"/>
                  <a:pt x="1240901" y="1287307"/>
                  <a:pt x="1239080" y="1289129"/>
                </a:cubicBezTo>
                <a:lnTo>
                  <a:pt x="1239173" y="1289602"/>
                </a:lnTo>
                <a:lnTo>
                  <a:pt x="1235434" y="1283663"/>
                </a:lnTo>
                <a:lnTo>
                  <a:pt x="1235434" y="1281841"/>
                </a:lnTo>
                <a:lnTo>
                  <a:pt x="1228548" y="1276332"/>
                </a:lnTo>
                <a:lnTo>
                  <a:pt x="1231790" y="1278196"/>
                </a:lnTo>
                <a:cubicBezTo>
                  <a:pt x="1235434" y="1274552"/>
                  <a:pt x="1235434" y="1276374"/>
                  <a:pt x="1237256" y="1272730"/>
                </a:cubicBezTo>
                <a:cubicBezTo>
                  <a:pt x="1237256" y="1276374"/>
                  <a:pt x="1235434" y="1280018"/>
                  <a:pt x="1237256" y="1283663"/>
                </a:cubicBezTo>
                <a:cubicBezTo>
                  <a:pt x="1242723" y="1285485"/>
                  <a:pt x="1240901" y="1270908"/>
                  <a:pt x="1237256" y="1270908"/>
                </a:cubicBezTo>
                <a:cubicBezTo>
                  <a:pt x="1237256" y="1272730"/>
                  <a:pt x="1237256" y="1272730"/>
                  <a:pt x="1237256" y="1272730"/>
                </a:cubicBezTo>
                <a:cubicBezTo>
                  <a:pt x="1235434" y="1269085"/>
                  <a:pt x="1233612" y="1267263"/>
                  <a:pt x="1231790" y="1269085"/>
                </a:cubicBezTo>
                <a:cubicBezTo>
                  <a:pt x="1231790" y="1267263"/>
                  <a:pt x="1233612" y="1263619"/>
                  <a:pt x="1235434" y="1265441"/>
                </a:cubicBezTo>
                <a:cubicBezTo>
                  <a:pt x="1235434" y="1258152"/>
                  <a:pt x="1226323" y="1247219"/>
                  <a:pt x="1219036" y="1245397"/>
                </a:cubicBezTo>
                <a:cubicBezTo>
                  <a:pt x="1219036" y="1245397"/>
                  <a:pt x="1220858" y="1252686"/>
                  <a:pt x="1222679" y="1250864"/>
                </a:cubicBezTo>
                <a:cubicBezTo>
                  <a:pt x="1220858" y="1250864"/>
                  <a:pt x="1220858" y="1254508"/>
                  <a:pt x="1222679" y="1258152"/>
                </a:cubicBezTo>
                <a:cubicBezTo>
                  <a:pt x="1219036" y="1256330"/>
                  <a:pt x="1220858" y="1249042"/>
                  <a:pt x="1215390" y="1243575"/>
                </a:cubicBezTo>
                <a:cubicBezTo>
                  <a:pt x="1209925" y="1245397"/>
                  <a:pt x="1206279" y="1239931"/>
                  <a:pt x="1202636" y="1243575"/>
                </a:cubicBezTo>
                <a:cubicBezTo>
                  <a:pt x="1208102" y="1249042"/>
                  <a:pt x="1208102" y="1252686"/>
                  <a:pt x="1208102" y="1252686"/>
                </a:cubicBezTo>
                <a:cubicBezTo>
                  <a:pt x="1200814" y="1250864"/>
                  <a:pt x="1202636" y="1243575"/>
                  <a:pt x="1198991" y="1238108"/>
                </a:cubicBezTo>
                <a:cubicBezTo>
                  <a:pt x="1193525" y="1236286"/>
                  <a:pt x="1189880" y="1236286"/>
                  <a:pt x="1184414" y="1232642"/>
                </a:cubicBezTo>
                <a:lnTo>
                  <a:pt x="1183112" y="1234464"/>
                </a:lnTo>
                <a:lnTo>
                  <a:pt x="1173481" y="1234464"/>
                </a:lnTo>
                <a:cubicBezTo>
                  <a:pt x="1171658" y="1232642"/>
                  <a:pt x="1171658" y="1232642"/>
                  <a:pt x="1169836" y="1230820"/>
                </a:cubicBezTo>
                <a:close/>
                <a:moveTo>
                  <a:pt x="998552" y="1230820"/>
                </a:moveTo>
                <a:cubicBezTo>
                  <a:pt x="996729" y="1236286"/>
                  <a:pt x="991263" y="1241753"/>
                  <a:pt x="989441" y="1245397"/>
                </a:cubicBezTo>
                <a:cubicBezTo>
                  <a:pt x="993085" y="1245397"/>
                  <a:pt x="994907" y="1245397"/>
                  <a:pt x="994907" y="1243575"/>
                </a:cubicBezTo>
                <a:cubicBezTo>
                  <a:pt x="994907" y="1241753"/>
                  <a:pt x="994907" y="1241753"/>
                  <a:pt x="993085" y="1239931"/>
                </a:cubicBezTo>
                <a:cubicBezTo>
                  <a:pt x="996729" y="1241753"/>
                  <a:pt x="1002196" y="1241753"/>
                  <a:pt x="1004018" y="1239931"/>
                </a:cubicBezTo>
                <a:cubicBezTo>
                  <a:pt x="1004018" y="1238108"/>
                  <a:pt x="1004018" y="1238108"/>
                  <a:pt x="1004018" y="1236286"/>
                </a:cubicBezTo>
                <a:cubicBezTo>
                  <a:pt x="1007663" y="1236286"/>
                  <a:pt x="1009485" y="1236286"/>
                  <a:pt x="1011307" y="1234464"/>
                </a:cubicBezTo>
                <a:cubicBezTo>
                  <a:pt x="1009485" y="1230820"/>
                  <a:pt x="1005840" y="1232642"/>
                  <a:pt x="1007663" y="1234464"/>
                </a:cubicBezTo>
                <a:cubicBezTo>
                  <a:pt x="1005840" y="1234464"/>
                  <a:pt x="1005840" y="1234464"/>
                  <a:pt x="1004018" y="1234464"/>
                </a:cubicBezTo>
                <a:cubicBezTo>
                  <a:pt x="1004018" y="1232642"/>
                  <a:pt x="1007663" y="1234464"/>
                  <a:pt x="1007663" y="1232642"/>
                </a:cubicBezTo>
                <a:cubicBezTo>
                  <a:pt x="1004018" y="1230820"/>
                  <a:pt x="1002196" y="1230820"/>
                  <a:pt x="998552" y="1230820"/>
                </a:cubicBezTo>
                <a:close/>
                <a:moveTo>
                  <a:pt x="920198" y="1230820"/>
                </a:moveTo>
                <a:cubicBezTo>
                  <a:pt x="918376" y="1232642"/>
                  <a:pt x="916555" y="1234464"/>
                  <a:pt x="914732" y="1236286"/>
                </a:cubicBezTo>
                <a:cubicBezTo>
                  <a:pt x="916555" y="1234464"/>
                  <a:pt x="922020" y="1236286"/>
                  <a:pt x="920198" y="1230820"/>
                </a:cubicBezTo>
                <a:close/>
                <a:moveTo>
                  <a:pt x="836378" y="1230820"/>
                </a:moveTo>
                <a:cubicBezTo>
                  <a:pt x="834556" y="1232642"/>
                  <a:pt x="838200" y="1236286"/>
                  <a:pt x="836378" y="1234464"/>
                </a:cubicBezTo>
                <a:cubicBezTo>
                  <a:pt x="838200" y="1238108"/>
                  <a:pt x="843667" y="1238108"/>
                  <a:pt x="847311" y="1238108"/>
                </a:cubicBezTo>
                <a:cubicBezTo>
                  <a:pt x="845489" y="1232642"/>
                  <a:pt x="840022" y="1232642"/>
                  <a:pt x="836378" y="1230820"/>
                </a:cubicBezTo>
                <a:close/>
                <a:moveTo>
                  <a:pt x="597673" y="1230820"/>
                </a:moveTo>
                <a:cubicBezTo>
                  <a:pt x="590385" y="1228998"/>
                  <a:pt x="588562" y="1241753"/>
                  <a:pt x="581274" y="1247219"/>
                </a:cubicBezTo>
                <a:cubicBezTo>
                  <a:pt x="581274" y="1249042"/>
                  <a:pt x="583096" y="1250864"/>
                  <a:pt x="584919" y="1252686"/>
                </a:cubicBezTo>
                <a:cubicBezTo>
                  <a:pt x="579452" y="1249042"/>
                  <a:pt x="581274" y="1249042"/>
                  <a:pt x="575808" y="1250864"/>
                </a:cubicBezTo>
                <a:cubicBezTo>
                  <a:pt x="579452" y="1254508"/>
                  <a:pt x="579452" y="1265441"/>
                  <a:pt x="583096" y="1261797"/>
                </a:cubicBezTo>
                <a:cubicBezTo>
                  <a:pt x="594030" y="1258152"/>
                  <a:pt x="604963" y="1245397"/>
                  <a:pt x="597673" y="1230820"/>
                </a:cubicBezTo>
                <a:close/>
                <a:moveTo>
                  <a:pt x="231416" y="1230820"/>
                </a:moveTo>
                <a:lnTo>
                  <a:pt x="239589" y="1242261"/>
                </a:lnTo>
                <a:lnTo>
                  <a:pt x="239389" y="1242209"/>
                </a:lnTo>
                <a:cubicBezTo>
                  <a:pt x="235972" y="1239931"/>
                  <a:pt x="233239" y="1236287"/>
                  <a:pt x="231416" y="1230820"/>
                </a:cubicBezTo>
                <a:close/>
                <a:moveTo>
                  <a:pt x="1160356" y="1230750"/>
                </a:moveTo>
                <a:lnTo>
                  <a:pt x="1160497" y="1231275"/>
                </a:lnTo>
                <a:lnTo>
                  <a:pt x="1157162" y="1233306"/>
                </a:lnTo>
                <a:close/>
                <a:moveTo>
                  <a:pt x="3405643" y="1230684"/>
                </a:moveTo>
                <a:lnTo>
                  <a:pt x="3407466" y="1234464"/>
                </a:lnTo>
                <a:lnTo>
                  <a:pt x="3405643" y="1234893"/>
                </a:lnTo>
                <a:close/>
                <a:moveTo>
                  <a:pt x="1358782" y="1229558"/>
                </a:moveTo>
                <a:lnTo>
                  <a:pt x="1359041" y="1229660"/>
                </a:lnTo>
                <a:lnTo>
                  <a:pt x="1357065" y="1234008"/>
                </a:lnTo>
                <a:cubicBezTo>
                  <a:pt x="1355242" y="1235375"/>
                  <a:pt x="1352964" y="1236286"/>
                  <a:pt x="1352053" y="1236286"/>
                </a:cubicBezTo>
                <a:close/>
                <a:moveTo>
                  <a:pt x="3405643" y="1228998"/>
                </a:moveTo>
                <a:lnTo>
                  <a:pt x="3405643" y="1230684"/>
                </a:lnTo>
                <a:lnTo>
                  <a:pt x="3405028" y="1229408"/>
                </a:lnTo>
                <a:close/>
                <a:moveTo>
                  <a:pt x="3207027" y="1228998"/>
                </a:moveTo>
                <a:cubicBezTo>
                  <a:pt x="3203382" y="1232642"/>
                  <a:pt x="3199738" y="1232642"/>
                  <a:pt x="3197916" y="1230820"/>
                </a:cubicBezTo>
                <a:cubicBezTo>
                  <a:pt x="3197916" y="1232642"/>
                  <a:pt x="3203382" y="1239931"/>
                  <a:pt x="3205204" y="1241753"/>
                </a:cubicBezTo>
                <a:cubicBezTo>
                  <a:pt x="3201560" y="1243575"/>
                  <a:pt x="3201560" y="1243575"/>
                  <a:pt x="3199738" y="1249042"/>
                </a:cubicBezTo>
                <a:cubicBezTo>
                  <a:pt x="3203382" y="1254508"/>
                  <a:pt x="3210671" y="1245397"/>
                  <a:pt x="3207027" y="1241753"/>
                </a:cubicBezTo>
                <a:cubicBezTo>
                  <a:pt x="3208849" y="1238108"/>
                  <a:pt x="3210671" y="1241753"/>
                  <a:pt x="3214315" y="1241753"/>
                </a:cubicBezTo>
                <a:cubicBezTo>
                  <a:pt x="3214315" y="1239931"/>
                  <a:pt x="3214315" y="1239931"/>
                  <a:pt x="3214315" y="1238108"/>
                </a:cubicBezTo>
                <a:cubicBezTo>
                  <a:pt x="3212493" y="1234464"/>
                  <a:pt x="3208849" y="1234464"/>
                  <a:pt x="3207027" y="1228998"/>
                </a:cubicBezTo>
                <a:close/>
                <a:moveTo>
                  <a:pt x="2173854" y="1228998"/>
                </a:moveTo>
                <a:cubicBezTo>
                  <a:pt x="2170210" y="1228998"/>
                  <a:pt x="2168387" y="1230820"/>
                  <a:pt x="2168387" y="1232642"/>
                </a:cubicBezTo>
                <a:lnTo>
                  <a:pt x="2173854" y="1232642"/>
                </a:lnTo>
                <a:cubicBezTo>
                  <a:pt x="2173854" y="1232642"/>
                  <a:pt x="2175676" y="1230820"/>
                  <a:pt x="2173854" y="1228998"/>
                </a:cubicBezTo>
                <a:close/>
                <a:moveTo>
                  <a:pt x="2106433" y="1228998"/>
                </a:moveTo>
                <a:cubicBezTo>
                  <a:pt x="2102790" y="1230820"/>
                  <a:pt x="2100967" y="1230820"/>
                  <a:pt x="2097323" y="1230820"/>
                </a:cubicBezTo>
                <a:cubicBezTo>
                  <a:pt x="2099145" y="1234464"/>
                  <a:pt x="2099145" y="1236286"/>
                  <a:pt x="2099145" y="1239931"/>
                </a:cubicBezTo>
                <a:lnTo>
                  <a:pt x="2099145" y="1241753"/>
                </a:lnTo>
                <a:cubicBezTo>
                  <a:pt x="2100967" y="1243575"/>
                  <a:pt x="2102790" y="1245397"/>
                  <a:pt x="2106433" y="1245397"/>
                </a:cubicBezTo>
                <a:cubicBezTo>
                  <a:pt x="2110078" y="1243575"/>
                  <a:pt x="2106433" y="1238108"/>
                  <a:pt x="2111900" y="1238108"/>
                </a:cubicBezTo>
                <a:cubicBezTo>
                  <a:pt x="2104611" y="1236286"/>
                  <a:pt x="2104611" y="1236286"/>
                  <a:pt x="2106433" y="1228998"/>
                </a:cubicBezTo>
                <a:close/>
                <a:moveTo>
                  <a:pt x="1319254" y="1228998"/>
                </a:moveTo>
                <a:cubicBezTo>
                  <a:pt x="1319254" y="1232642"/>
                  <a:pt x="1322899" y="1228998"/>
                  <a:pt x="1324721" y="1230820"/>
                </a:cubicBezTo>
                <a:cubicBezTo>
                  <a:pt x="1324721" y="1228998"/>
                  <a:pt x="1321077" y="1227175"/>
                  <a:pt x="1319254" y="1228998"/>
                </a:cubicBezTo>
                <a:close/>
                <a:moveTo>
                  <a:pt x="1313788" y="1228998"/>
                </a:moveTo>
                <a:cubicBezTo>
                  <a:pt x="1306499" y="1230820"/>
                  <a:pt x="1301033" y="1227175"/>
                  <a:pt x="1293744" y="1230820"/>
                </a:cubicBezTo>
                <a:cubicBezTo>
                  <a:pt x="1295566" y="1232642"/>
                  <a:pt x="1295566" y="1234464"/>
                  <a:pt x="1297388" y="1236286"/>
                </a:cubicBezTo>
                <a:cubicBezTo>
                  <a:pt x="1301033" y="1234464"/>
                  <a:pt x="1315610" y="1238108"/>
                  <a:pt x="1313788" y="1228998"/>
                </a:cubicBezTo>
                <a:close/>
                <a:moveTo>
                  <a:pt x="1277344" y="1228998"/>
                </a:moveTo>
                <a:cubicBezTo>
                  <a:pt x="1277344" y="1232642"/>
                  <a:pt x="1286455" y="1230820"/>
                  <a:pt x="1290100" y="1228998"/>
                </a:cubicBezTo>
                <a:cubicBezTo>
                  <a:pt x="1284633" y="1227175"/>
                  <a:pt x="1280989" y="1228998"/>
                  <a:pt x="1277344" y="1228998"/>
                </a:cubicBezTo>
                <a:close/>
                <a:moveTo>
                  <a:pt x="1233612" y="1228998"/>
                </a:moveTo>
                <a:cubicBezTo>
                  <a:pt x="1233612" y="1232642"/>
                  <a:pt x="1240901" y="1234464"/>
                  <a:pt x="1242723" y="1236286"/>
                </a:cubicBezTo>
                <a:cubicBezTo>
                  <a:pt x="1242723" y="1230820"/>
                  <a:pt x="1248189" y="1236286"/>
                  <a:pt x="1250012" y="1234464"/>
                </a:cubicBezTo>
                <a:cubicBezTo>
                  <a:pt x="1244545" y="1228998"/>
                  <a:pt x="1239080" y="1230820"/>
                  <a:pt x="1233612" y="1228998"/>
                </a:cubicBezTo>
                <a:close/>
                <a:moveTo>
                  <a:pt x="1206279" y="1228998"/>
                </a:moveTo>
                <a:cubicBezTo>
                  <a:pt x="1204457" y="1230820"/>
                  <a:pt x="1211747" y="1238108"/>
                  <a:pt x="1213568" y="1236286"/>
                </a:cubicBezTo>
                <a:cubicBezTo>
                  <a:pt x="1211747" y="1234464"/>
                  <a:pt x="1208102" y="1232642"/>
                  <a:pt x="1206279" y="1228998"/>
                </a:cubicBezTo>
                <a:close/>
                <a:moveTo>
                  <a:pt x="1091484" y="1228998"/>
                </a:moveTo>
                <a:cubicBezTo>
                  <a:pt x="1091484" y="1228998"/>
                  <a:pt x="1089660" y="1230820"/>
                  <a:pt x="1089660" y="1230820"/>
                </a:cubicBezTo>
                <a:cubicBezTo>
                  <a:pt x="1089660" y="1234464"/>
                  <a:pt x="1091484" y="1236286"/>
                  <a:pt x="1093305" y="1238108"/>
                </a:cubicBezTo>
                <a:cubicBezTo>
                  <a:pt x="1095127" y="1234464"/>
                  <a:pt x="1095127" y="1228998"/>
                  <a:pt x="1091484" y="1228998"/>
                </a:cubicBezTo>
                <a:close/>
                <a:moveTo>
                  <a:pt x="1073262" y="1228998"/>
                </a:moveTo>
                <a:cubicBezTo>
                  <a:pt x="1078727" y="1234464"/>
                  <a:pt x="1076905" y="1238108"/>
                  <a:pt x="1078727" y="1241753"/>
                </a:cubicBezTo>
                <a:cubicBezTo>
                  <a:pt x="1080549" y="1239931"/>
                  <a:pt x="1080549" y="1241753"/>
                  <a:pt x="1082373" y="1241753"/>
                </a:cubicBezTo>
                <a:cubicBezTo>
                  <a:pt x="1084194" y="1243575"/>
                  <a:pt x="1080549" y="1241753"/>
                  <a:pt x="1078727" y="1243575"/>
                </a:cubicBezTo>
                <a:cubicBezTo>
                  <a:pt x="1078727" y="1247219"/>
                  <a:pt x="1078727" y="1249042"/>
                  <a:pt x="1080549" y="1252686"/>
                </a:cubicBezTo>
                <a:cubicBezTo>
                  <a:pt x="1084194" y="1250864"/>
                  <a:pt x="1080549" y="1249042"/>
                  <a:pt x="1082373" y="1247219"/>
                </a:cubicBezTo>
                <a:cubicBezTo>
                  <a:pt x="1082373" y="1249042"/>
                  <a:pt x="1082373" y="1249042"/>
                  <a:pt x="1082373" y="1250864"/>
                </a:cubicBezTo>
                <a:cubicBezTo>
                  <a:pt x="1089660" y="1249042"/>
                  <a:pt x="1082373" y="1225353"/>
                  <a:pt x="1073262" y="1228998"/>
                </a:cubicBezTo>
                <a:close/>
                <a:moveTo>
                  <a:pt x="854600" y="1228998"/>
                </a:moveTo>
                <a:cubicBezTo>
                  <a:pt x="852778" y="1230820"/>
                  <a:pt x="852778" y="1228998"/>
                  <a:pt x="850956" y="1230820"/>
                </a:cubicBezTo>
                <a:cubicBezTo>
                  <a:pt x="852778" y="1232642"/>
                  <a:pt x="852778" y="1228998"/>
                  <a:pt x="854600" y="1232642"/>
                </a:cubicBezTo>
                <a:cubicBezTo>
                  <a:pt x="856422" y="1230820"/>
                  <a:pt x="854600" y="1230820"/>
                  <a:pt x="854600" y="1228998"/>
                </a:cubicBezTo>
                <a:close/>
                <a:moveTo>
                  <a:pt x="543008" y="1228998"/>
                </a:moveTo>
                <a:cubicBezTo>
                  <a:pt x="537542" y="1225353"/>
                  <a:pt x="524786" y="1238108"/>
                  <a:pt x="522964" y="1241753"/>
                </a:cubicBezTo>
                <a:cubicBezTo>
                  <a:pt x="526609" y="1243575"/>
                  <a:pt x="528431" y="1249042"/>
                  <a:pt x="533897" y="1247219"/>
                </a:cubicBezTo>
                <a:cubicBezTo>
                  <a:pt x="532075" y="1245397"/>
                  <a:pt x="530253" y="1247219"/>
                  <a:pt x="530253" y="1245397"/>
                </a:cubicBezTo>
                <a:cubicBezTo>
                  <a:pt x="543008" y="1247219"/>
                  <a:pt x="535719" y="1232642"/>
                  <a:pt x="543008" y="1232642"/>
                </a:cubicBezTo>
                <a:cubicBezTo>
                  <a:pt x="548475" y="1234464"/>
                  <a:pt x="553941" y="1238108"/>
                  <a:pt x="559408" y="1230820"/>
                </a:cubicBezTo>
                <a:cubicBezTo>
                  <a:pt x="553941" y="1230820"/>
                  <a:pt x="548475" y="1227175"/>
                  <a:pt x="543008" y="1232642"/>
                </a:cubicBezTo>
                <a:lnTo>
                  <a:pt x="539364" y="1232642"/>
                </a:lnTo>
                <a:cubicBezTo>
                  <a:pt x="541186" y="1232642"/>
                  <a:pt x="543008" y="1230820"/>
                  <a:pt x="543008" y="1228998"/>
                </a:cubicBezTo>
                <a:close/>
                <a:moveTo>
                  <a:pt x="532075" y="1228998"/>
                </a:moveTo>
                <a:cubicBezTo>
                  <a:pt x="530253" y="1227175"/>
                  <a:pt x="526609" y="1232642"/>
                  <a:pt x="522964" y="1232642"/>
                </a:cubicBezTo>
                <a:cubicBezTo>
                  <a:pt x="522964" y="1234464"/>
                  <a:pt x="524786" y="1234464"/>
                  <a:pt x="524786" y="1236286"/>
                </a:cubicBezTo>
                <a:cubicBezTo>
                  <a:pt x="526609" y="1234464"/>
                  <a:pt x="532075" y="1232642"/>
                  <a:pt x="532075" y="1228998"/>
                </a:cubicBezTo>
                <a:close/>
                <a:moveTo>
                  <a:pt x="440398" y="1228570"/>
                </a:moveTo>
                <a:cubicBezTo>
                  <a:pt x="439714" y="1228713"/>
                  <a:pt x="439601" y="1229567"/>
                  <a:pt x="439601" y="1230592"/>
                </a:cubicBezTo>
                <a:cubicBezTo>
                  <a:pt x="439601" y="1232642"/>
                  <a:pt x="440055" y="1235375"/>
                  <a:pt x="437322" y="1234464"/>
                </a:cubicBezTo>
                <a:cubicBezTo>
                  <a:pt x="431856" y="1232642"/>
                  <a:pt x="437322" y="1230820"/>
                  <a:pt x="437322" y="1230820"/>
                </a:cubicBezTo>
                <a:cubicBezTo>
                  <a:pt x="437322" y="1228998"/>
                  <a:pt x="433678" y="1232642"/>
                  <a:pt x="431856" y="1232642"/>
                </a:cubicBezTo>
                <a:cubicBezTo>
                  <a:pt x="437322" y="1232642"/>
                  <a:pt x="442789" y="1245397"/>
                  <a:pt x="440966" y="1238108"/>
                </a:cubicBezTo>
                <a:cubicBezTo>
                  <a:pt x="440966" y="1232642"/>
                  <a:pt x="451899" y="1234464"/>
                  <a:pt x="444611" y="1230820"/>
                </a:cubicBezTo>
                <a:cubicBezTo>
                  <a:pt x="442333" y="1228998"/>
                  <a:pt x="441081" y="1228428"/>
                  <a:pt x="440398" y="1228570"/>
                </a:cubicBezTo>
                <a:close/>
                <a:moveTo>
                  <a:pt x="1353875" y="1227631"/>
                </a:moveTo>
                <a:cubicBezTo>
                  <a:pt x="1349776" y="1228086"/>
                  <a:pt x="1347497" y="1230819"/>
                  <a:pt x="1352053" y="1236286"/>
                </a:cubicBezTo>
                <a:cubicBezTo>
                  <a:pt x="1353876" y="1241753"/>
                  <a:pt x="1362987" y="1239931"/>
                  <a:pt x="1366632" y="1232642"/>
                </a:cubicBezTo>
                <a:lnTo>
                  <a:pt x="1359041" y="1229660"/>
                </a:lnTo>
                <a:lnTo>
                  <a:pt x="1359342" y="1228998"/>
                </a:lnTo>
                <a:lnTo>
                  <a:pt x="1358782" y="1229558"/>
                </a:lnTo>
                <a:close/>
                <a:moveTo>
                  <a:pt x="3213632" y="1227175"/>
                </a:moveTo>
                <a:cubicBezTo>
                  <a:pt x="3212949" y="1228087"/>
                  <a:pt x="3212493" y="1229909"/>
                  <a:pt x="3212493" y="1230820"/>
                </a:cubicBezTo>
                <a:cubicBezTo>
                  <a:pt x="3212493" y="1232642"/>
                  <a:pt x="3214315" y="1232642"/>
                  <a:pt x="3214315" y="1234464"/>
                </a:cubicBezTo>
                <a:lnTo>
                  <a:pt x="3221604" y="1232642"/>
                </a:lnTo>
                <a:cubicBezTo>
                  <a:pt x="3219782" y="1230820"/>
                  <a:pt x="3216137" y="1228998"/>
                  <a:pt x="3216137" y="1228998"/>
                </a:cubicBezTo>
                <a:cubicBezTo>
                  <a:pt x="3215226" y="1226264"/>
                  <a:pt x="3214315" y="1226264"/>
                  <a:pt x="3213632" y="1227175"/>
                </a:cubicBezTo>
                <a:close/>
                <a:moveTo>
                  <a:pt x="2068168" y="1227175"/>
                </a:moveTo>
                <a:lnTo>
                  <a:pt x="2064524" y="1230820"/>
                </a:lnTo>
                <a:cubicBezTo>
                  <a:pt x="2066346" y="1230820"/>
                  <a:pt x="2066346" y="1230820"/>
                  <a:pt x="2068168" y="1230820"/>
                </a:cubicBezTo>
                <a:cubicBezTo>
                  <a:pt x="2069990" y="1230820"/>
                  <a:pt x="2069990" y="1228998"/>
                  <a:pt x="2068168" y="1227175"/>
                </a:cubicBezTo>
                <a:close/>
                <a:moveTo>
                  <a:pt x="1406719" y="1227175"/>
                </a:moveTo>
                <a:cubicBezTo>
                  <a:pt x="1406719" y="1227175"/>
                  <a:pt x="1408541" y="1227175"/>
                  <a:pt x="1408541" y="1227175"/>
                </a:cubicBezTo>
                <a:cubicBezTo>
                  <a:pt x="1410363" y="1225353"/>
                  <a:pt x="1408541" y="1227175"/>
                  <a:pt x="1408541" y="1228998"/>
                </a:cubicBezTo>
                <a:cubicBezTo>
                  <a:pt x="1408541" y="1228998"/>
                  <a:pt x="1404896" y="1227175"/>
                  <a:pt x="1406719" y="1227175"/>
                </a:cubicBezTo>
                <a:close/>
                <a:moveTo>
                  <a:pt x="1004018" y="1227175"/>
                </a:moveTo>
                <a:cubicBezTo>
                  <a:pt x="1004018" y="1227175"/>
                  <a:pt x="1005840" y="1227175"/>
                  <a:pt x="1005840" y="1228998"/>
                </a:cubicBezTo>
                <a:lnTo>
                  <a:pt x="1006752" y="1228998"/>
                </a:lnTo>
                <a:lnTo>
                  <a:pt x="1008491" y="1230157"/>
                </a:lnTo>
                <a:lnTo>
                  <a:pt x="1005840" y="1230820"/>
                </a:lnTo>
                <a:cubicBezTo>
                  <a:pt x="1007663" y="1228998"/>
                  <a:pt x="1011307" y="1232642"/>
                  <a:pt x="1009485" y="1230820"/>
                </a:cubicBezTo>
                <a:lnTo>
                  <a:pt x="1008491" y="1230157"/>
                </a:lnTo>
                <a:lnTo>
                  <a:pt x="1013129" y="1228998"/>
                </a:lnTo>
                <a:lnTo>
                  <a:pt x="1006752" y="1228998"/>
                </a:lnTo>
                <a:close/>
                <a:moveTo>
                  <a:pt x="996729" y="1227175"/>
                </a:moveTo>
                <a:cubicBezTo>
                  <a:pt x="993085" y="1230820"/>
                  <a:pt x="991263" y="1232642"/>
                  <a:pt x="989441" y="1234464"/>
                </a:cubicBezTo>
                <a:cubicBezTo>
                  <a:pt x="989441" y="1232642"/>
                  <a:pt x="989441" y="1232642"/>
                  <a:pt x="989441" y="1232642"/>
                </a:cubicBezTo>
                <a:lnTo>
                  <a:pt x="988348" y="1234828"/>
                </a:lnTo>
                <a:lnTo>
                  <a:pt x="986708" y="1235375"/>
                </a:lnTo>
                <a:lnTo>
                  <a:pt x="982152" y="1230820"/>
                </a:lnTo>
                <a:cubicBezTo>
                  <a:pt x="978508" y="1234464"/>
                  <a:pt x="980330" y="1239931"/>
                  <a:pt x="983974" y="1239931"/>
                </a:cubicBezTo>
                <a:cubicBezTo>
                  <a:pt x="983063" y="1237198"/>
                  <a:pt x="983974" y="1236286"/>
                  <a:pt x="985341" y="1235831"/>
                </a:cubicBezTo>
                <a:lnTo>
                  <a:pt x="986708" y="1235375"/>
                </a:lnTo>
                <a:lnTo>
                  <a:pt x="987619" y="1236286"/>
                </a:lnTo>
                <a:lnTo>
                  <a:pt x="988348" y="1234828"/>
                </a:lnTo>
                <a:lnTo>
                  <a:pt x="989441" y="1234464"/>
                </a:lnTo>
                <a:cubicBezTo>
                  <a:pt x="991263" y="1234464"/>
                  <a:pt x="993085" y="1232642"/>
                  <a:pt x="998552" y="1228998"/>
                </a:cubicBezTo>
                <a:cubicBezTo>
                  <a:pt x="998552" y="1228998"/>
                  <a:pt x="996729" y="1227175"/>
                  <a:pt x="996729" y="1227175"/>
                </a:cubicBezTo>
                <a:close/>
                <a:moveTo>
                  <a:pt x="929309" y="1227175"/>
                </a:moveTo>
                <a:cubicBezTo>
                  <a:pt x="927487" y="1227175"/>
                  <a:pt x="922020" y="1232642"/>
                  <a:pt x="925666" y="1232642"/>
                </a:cubicBezTo>
                <a:cubicBezTo>
                  <a:pt x="927487" y="1230820"/>
                  <a:pt x="927487" y="1228998"/>
                  <a:pt x="929309" y="1227175"/>
                </a:cubicBezTo>
                <a:close/>
                <a:moveTo>
                  <a:pt x="909265" y="1227175"/>
                </a:moveTo>
                <a:cubicBezTo>
                  <a:pt x="907444" y="1227175"/>
                  <a:pt x="905621" y="1228998"/>
                  <a:pt x="903799" y="1230820"/>
                </a:cubicBezTo>
                <a:cubicBezTo>
                  <a:pt x="905621" y="1232642"/>
                  <a:pt x="903799" y="1236286"/>
                  <a:pt x="907444" y="1236286"/>
                </a:cubicBezTo>
                <a:cubicBezTo>
                  <a:pt x="905621" y="1234464"/>
                  <a:pt x="909265" y="1230820"/>
                  <a:pt x="909265" y="1227175"/>
                </a:cubicBezTo>
                <a:close/>
                <a:moveTo>
                  <a:pt x="847311" y="1227175"/>
                </a:moveTo>
                <a:cubicBezTo>
                  <a:pt x="845489" y="1227175"/>
                  <a:pt x="841845" y="1227175"/>
                  <a:pt x="838200" y="1228998"/>
                </a:cubicBezTo>
                <a:cubicBezTo>
                  <a:pt x="840022" y="1232642"/>
                  <a:pt x="843667" y="1230820"/>
                  <a:pt x="847311" y="1234464"/>
                </a:cubicBezTo>
                <a:cubicBezTo>
                  <a:pt x="850956" y="1232642"/>
                  <a:pt x="847311" y="1228998"/>
                  <a:pt x="847311" y="1227175"/>
                </a:cubicBezTo>
                <a:close/>
                <a:moveTo>
                  <a:pt x="637761" y="1227175"/>
                </a:moveTo>
                <a:cubicBezTo>
                  <a:pt x="637761" y="1228998"/>
                  <a:pt x="630472" y="1230820"/>
                  <a:pt x="634117" y="1234464"/>
                </a:cubicBezTo>
                <a:cubicBezTo>
                  <a:pt x="634117" y="1232642"/>
                  <a:pt x="632296" y="1232642"/>
                  <a:pt x="632296" y="1228998"/>
                </a:cubicBezTo>
                <a:cubicBezTo>
                  <a:pt x="623185" y="1230820"/>
                  <a:pt x="617717" y="1238108"/>
                  <a:pt x="623185" y="1243575"/>
                </a:cubicBezTo>
                <a:cubicBezTo>
                  <a:pt x="623185" y="1243575"/>
                  <a:pt x="626828" y="1243575"/>
                  <a:pt x="628650" y="1241753"/>
                </a:cubicBezTo>
                <a:cubicBezTo>
                  <a:pt x="626828" y="1239931"/>
                  <a:pt x="625006" y="1238108"/>
                  <a:pt x="626828" y="1234464"/>
                </a:cubicBezTo>
                <a:cubicBezTo>
                  <a:pt x="625006" y="1245397"/>
                  <a:pt x="637761" y="1238108"/>
                  <a:pt x="646872" y="1239931"/>
                </a:cubicBezTo>
                <a:cubicBezTo>
                  <a:pt x="643228" y="1234464"/>
                  <a:pt x="641407" y="1230820"/>
                  <a:pt x="637761" y="1227175"/>
                </a:cubicBezTo>
                <a:close/>
                <a:moveTo>
                  <a:pt x="608606" y="1227175"/>
                </a:moveTo>
                <a:cubicBezTo>
                  <a:pt x="606784" y="1227175"/>
                  <a:pt x="610429" y="1232642"/>
                  <a:pt x="610429" y="1230820"/>
                </a:cubicBezTo>
                <a:cubicBezTo>
                  <a:pt x="610429" y="1228998"/>
                  <a:pt x="608606" y="1228998"/>
                  <a:pt x="608606" y="1227175"/>
                </a:cubicBezTo>
                <a:close/>
                <a:moveTo>
                  <a:pt x="595852" y="1227175"/>
                </a:moveTo>
                <a:cubicBezTo>
                  <a:pt x="588562" y="1225353"/>
                  <a:pt x="581274" y="1228998"/>
                  <a:pt x="575808" y="1230820"/>
                </a:cubicBezTo>
                <a:cubicBezTo>
                  <a:pt x="577630" y="1230820"/>
                  <a:pt x="577630" y="1230820"/>
                  <a:pt x="577630" y="1232642"/>
                </a:cubicBezTo>
                <a:cubicBezTo>
                  <a:pt x="584919" y="1232642"/>
                  <a:pt x="590385" y="1228998"/>
                  <a:pt x="595852" y="1227175"/>
                </a:cubicBezTo>
                <a:close/>
                <a:moveTo>
                  <a:pt x="406345" y="1227175"/>
                </a:moveTo>
                <a:cubicBezTo>
                  <a:pt x="402701" y="1232642"/>
                  <a:pt x="409989" y="1227175"/>
                  <a:pt x="409989" y="1230820"/>
                </a:cubicBezTo>
                <a:cubicBezTo>
                  <a:pt x="409989" y="1228998"/>
                  <a:pt x="408167" y="1228998"/>
                  <a:pt x="406345" y="1227175"/>
                </a:cubicBezTo>
                <a:close/>
                <a:moveTo>
                  <a:pt x="1419618" y="1227111"/>
                </a:moveTo>
                <a:lnTo>
                  <a:pt x="1419579" y="1227192"/>
                </a:lnTo>
                <a:lnTo>
                  <a:pt x="1419474" y="1227175"/>
                </a:lnTo>
                <a:close/>
                <a:moveTo>
                  <a:pt x="343040" y="1226411"/>
                </a:moveTo>
                <a:lnTo>
                  <a:pt x="356780" y="1228860"/>
                </a:lnTo>
                <a:lnTo>
                  <a:pt x="354869" y="1229453"/>
                </a:lnTo>
                <a:close/>
                <a:moveTo>
                  <a:pt x="1213569" y="1226264"/>
                </a:moveTo>
                <a:cubicBezTo>
                  <a:pt x="1211746" y="1225809"/>
                  <a:pt x="1209925" y="1226264"/>
                  <a:pt x="1208102" y="1227175"/>
                </a:cubicBezTo>
                <a:cubicBezTo>
                  <a:pt x="1209925" y="1228998"/>
                  <a:pt x="1213568" y="1232642"/>
                  <a:pt x="1215390" y="1234464"/>
                </a:cubicBezTo>
                <a:cubicBezTo>
                  <a:pt x="1217213" y="1232642"/>
                  <a:pt x="1217213" y="1232642"/>
                  <a:pt x="1219036" y="1230820"/>
                </a:cubicBezTo>
                <a:cubicBezTo>
                  <a:pt x="1217213" y="1228087"/>
                  <a:pt x="1215391" y="1226720"/>
                  <a:pt x="1213569" y="1226264"/>
                </a:cubicBezTo>
                <a:close/>
                <a:moveTo>
                  <a:pt x="1066200" y="1226264"/>
                </a:moveTo>
                <a:cubicBezTo>
                  <a:pt x="1064605" y="1225353"/>
                  <a:pt x="1062328" y="1225353"/>
                  <a:pt x="1060506" y="1227175"/>
                </a:cubicBezTo>
                <a:cubicBezTo>
                  <a:pt x="1064151" y="1230820"/>
                  <a:pt x="1065972" y="1230820"/>
                  <a:pt x="1067794" y="1230820"/>
                </a:cubicBezTo>
                <a:cubicBezTo>
                  <a:pt x="1068705" y="1228997"/>
                  <a:pt x="1067794" y="1227175"/>
                  <a:pt x="1066200" y="1226264"/>
                </a:cubicBezTo>
                <a:close/>
                <a:moveTo>
                  <a:pt x="3285380" y="1225353"/>
                </a:moveTo>
                <a:cubicBezTo>
                  <a:pt x="3285380" y="1227175"/>
                  <a:pt x="3281736" y="1228998"/>
                  <a:pt x="3283558" y="1230820"/>
                </a:cubicBezTo>
                <a:cubicBezTo>
                  <a:pt x="3283558" y="1230820"/>
                  <a:pt x="3285380" y="1230820"/>
                  <a:pt x="3285380" y="1230820"/>
                </a:cubicBezTo>
                <a:cubicBezTo>
                  <a:pt x="3281736" y="1232642"/>
                  <a:pt x="3276269" y="1236286"/>
                  <a:pt x="3278091" y="1238108"/>
                </a:cubicBezTo>
                <a:cubicBezTo>
                  <a:pt x="3281736" y="1245397"/>
                  <a:pt x="3283558" y="1234464"/>
                  <a:pt x="3287202" y="1234464"/>
                </a:cubicBezTo>
                <a:cubicBezTo>
                  <a:pt x="3287202" y="1228998"/>
                  <a:pt x="3285380" y="1228998"/>
                  <a:pt x="3285380" y="1225353"/>
                </a:cubicBezTo>
                <a:close/>
                <a:moveTo>
                  <a:pt x="3238003" y="1225353"/>
                </a:moveTo>
                <a:cubicBezTo>
                  <a:pt x="3238003" y="1225353"/>
                  <a:pt x="3239826" y="1227175"/>
                  <a:pt x="3239826" y="1227175"/>
                </a:cubicBezTo>
                <a:lnTo>
                  <a:pt x="3241648" y="1227175"/>
                </a:lnTo>
                <a:cubicBezTo>
                  <a:pt x="3241648" y="1225353"/>
                  <a:pt x="3239826" y="1225353"/>
                  <a:pt x="3238003" y="1225353"/>
                </a:cubicBezTo>
                <a:close/>
                <a:moveTo>
                  <a:pt x="2423492" y="1225353"/>
                </a:moveTo>
                <a:cubicBezTo>
                  <a:pt x="2423492" y="1227175"/>
                  <a:pt x="2427136" y="1225353"/>
                  <a:pt x="2428958" y="1227175"/>
                </a:cubicBezTo>
                <a:cubicBezTo>
                  <a:pt x="2428958" y="1225353"/>
                  <a:pt x="2430780" y="1225353"/>
                  <a:pt x="2430780" y="1225353"/>
                </a:cubicBezTo>
                <a:close/>
                <a:moveTo>
                  <a:pt x="2246741" y="1225353"/>
                </a:moveTo>
                <a:cubicBezTo>
                  <a:pt x="2246741" y="1227175"/>
                  <a:pt x="2244919" y="1230820"/>
                  <a:pt x="2244919" y="1234464"/>
                </a:cubicBezTo>
                <a:lnTo>
                  <a:pt x="2255852" y="1232642"/>
                </a:lnTo>
                <a:close/>
                <a:moveTo>
                  <a:pt x="1364809" y="1225353"/>
                </a:moveTo>
                <a:cubicBezTo>
                  <a:pt x="1362987" y="1225353"/>
                  <a:pt x="1362987" y="1227175"/>
                  <a:pt x="1362987" y="1227175"/>
                </a:cubicBezTo>
                <a:cubicBezTo>
                  <a:pt x="1364809" y="1228998"/>
                  <a:pt x="1366632" y="1230820"/>
                  <a:pt x="1368453" y="1230820"/>
                </a:cubicBezTo>
                <a:cubicBezTo>
                  <a:pt x="1372097" y="1228998"/>
                  <a:pt x="1366632" y="1227175"/>
                  <a:pt x="1364809" y="1225353"/>
                </a:cubicBezTo>
                <a:close/>
                <a:moveTo>
                  <a:pt x="1158903" y="1225353"/>
                </a:moveTo>
                <a:cubicBezTo>
                  <a:pt x="1157081" y="1228998"/>
                  <a:pt x="1155259" y="1232642"/>
                  <a:pt x="1155259" y="1234464"/>
                </a:cubicBezTo>
                <a:lnTo>
                  <a:pt x="1157162" y="1233306"/>
                </a:lnTo>
                <a:lnTo>
                  <a:pt x="1153436" y="1236286"/>
                </a:lnTo>
                <a:cubicBezTo>
                  <a:pt x="1155259" y="1239931"/>
                  <a:pt x="1158903" y="1239931"/>
                  <a:pt x="1160725" y="1239931"/>
                </a:cubicBezTo>
                <a:cubicBezTo>
                  <a:pt x="1160725" y="1241753"/>
                  <a:pt x="1157081" y="1241753"/>
                  <a:pt x="1157081" y="1243575"/>
                </a:cubicBezTo>
                <a:cubicBezTo>
                  <a:pt x="1164370" y="1247219"/>
                  <a:pt x="1160725" y="1232642"/>
                  <a:pt x="1162547" y="1228998"/>
                </a:cubicBezTo>
                <a:lnTo>
                  <a:pt x="1160356" y="1230750"/>
                </a:lnTo>
                <a:close/>
                <a:moveTo>
                  <a:pt x="1142503" y="1225353"/>
                </a:moveTo>
                <a:cubicBezTo>
                  <a:pt x="1140681" y="1227175"/>
                  <a:pt x="1144326" y="1230820"/>
                  <a:pt x="1144326" y="1232642"/>
                </a:cubicBezTo>
                <a:cubicBezTo>
                  <a:pt x="1142503" y="1232642"/>
                  <a:pt x="1140681" y="1232642"/>
                  <a:pt x="1140681" y="1234464"/>
                </a:cubicBezTo>
                <a:cubicBezTo>
                  <a:pt x="1140681" y="1234464"/>
                  <a:pt x="1142503" y="1236286"/>
                  <a:pt x="1142503" y="1236286"/>
                </a:cubicBezTo>
                <a:cubicBezTo>
                  <a:pt x="1147970" y="1232642"/>
                  <a:pt x="1147970" y="1228998"/>
                  <a:pt x="1151614" y="1227175"/>
                </a:cubicBezTo>
                <a:cubicBezTo>
                  <a:pt x="1147970" y="1225353"/>
                  <a:pt x="1146148" y="1225353"/>
                  <a:pt x="1142503" y="1225353"/>
                </a:cubicBezTo>
                <a:close/>
                <a:moveTo>
                  <a:pt x="1131570" y="1225353"/>
                </a:moveTo>
                <a:cubicBezTo>
                  <a:pt x="1129748" y="1227175"/>
                  <a:pt x="1129748" y="1228998"/>
                  <a:pt x="1129748" y="1230820"/>
                </a:cubicBezTo>
                <a:cubicBezTo>
                  <a:pt x="1131570" y="1232642"/>
                  <a:pt x="1133393" y="1234464"/>
                  <a:pt x="1135215" y="1232642"/>
                </a:cubicBezTo>
                <a:cubicBezTo>
                  <a:pt x="1135215" y="1228998"/>
                  <a:pt x="1133393" y="1227175"/>
                  <a:pt x="1131570" y="1225353"/>
                </a:cubicBezTo>
                <a:close/>
                <a:moveTo>
                  <a:pt x="1034995" y="1225353"/>
                </a:moveTo>
                <a:cubicBezTo>
                  <a:pt x="1031351" y="1227175"/>
                  <a:pt x="1033173" y="1228998"/>
                  <a:pt x="1033173" y="1230820"/>
                </a:cubicBezTo>
                <a:cubicBezTo>
                  <a:pt x="1029529" y="1230820"/>
                  <a:pt x="1024062" y="1230820"/>
                  <a:pt x="1020418" y="1236286"/>
                </a:cubicBezTo>
                <a:cubicBezTo>
                  <a:pt x="1020418" y="1238108"/>
                  <a:pt x="1024062" y="1245397"/>
                  <a:pt x="1025884" y="1241753"/>
                </a:cubicBezTo>
                <a:cubicBezTo>
                  <a:pt x="1027707" y="1241753"/>
                  <a:pt x="1025884" y="1247219"/>
                  <a:pt x="1029529" y="1249042"/>
                </a:cubicBezTo>
                <a:cubicBezTo>
                  <a:pt x="1034995" y="1250864"/>
                  <a:pt x="1036818" y="1241753"/>
                  <a:pt x="1040462" y="1241753"/>
                </a:cubicBezTo>
                <a:cubicBezTo>
                  <a:pt x="1038639" y="1239931"/>
                  <a:pt x="1036818" y="1238108"/>
                  <a:pt x="1036818" y="1236286"/>
                </a:cubicBezTo>
                <a:cubicBezTo>
                  <a:pt x="1038639" y="1236286"/>
                  <a:pt x="1042284" y="1239931"/>
                  <a:pt x="1040462" y="1239931"/>
                </a:cubicBezTo>
                <a:cubicBezTo>
                  <a:pt x="1042284" y="1239931"/>
                  <a:pt x="1042284" y="1236286"/>
                  <a:pt x="1044106" y="1234464"/>
                </a:cubicBezTo>
                <a:cubicBezTo>
                  <a:pt x="1040462" y="1230820"/>
                  <a:pt x="1038639" y="1227175"/>
                  <a:pt x="1034995" y="1225353"/>
                </a:cubicBezTo>
                <a:close/>
                <a:moveTo>
                  <a:pt x="931131" y="1225353"/>
                </a:moveTo>
                <a:cubicBezTo>
                  <a:pt x="931131" y="1225353"/>
                  <a:pt x="929309" y="1228998"/>
                  <a:pt x="931131" y="1230820"/>
                </a:cubicBezTo>
                <a:cubicBezTo>
                  <a:pt x="932953" y="1228998"/>
                  <a:pt x="934777" y="1228998"/>
                  <a:pt x="936598" y="1227175"/>
                </a:cubicBezTo>
                <a:cubicBezTo>
                  <a:pt x="934777" y="1223531"/>
                  <a:pt x="931131" y="1228998"/>
                  <a:pt x="931131" y="1225353"/>
                </a:cubicBezTo>
                <a:close/>
                <a:moveTo>
                  <a:pt x="322525" y="1225353"/>
                </a:moveTo>
                <a:cubicBezTo>
                  <a:pt x="320703" y="1227175"/>
                  <a:pt x="320703" y="1228998"/>
                  <a:pt x="322525" y="1230820"/>
                </a:cubicBezTo>
                <a:cubicBezTo>
                  <a:pt x="322525" y="1228998"/>
                  <a:pt x="324347" y="1228998"/>
                  <a:pt x="324347" y="1227175"/>
                </a:cubicBezTo>
                <a:cubicBezTo>
                  <a:pt x="322525" y="1225353"/>
                  <a:pt x="322525" y="1225353"/>
                  <a:pt x="322525" y="1225353"/>
                </a:cubicBezTo>
                <a:close/>
                <a:moveTo>
                  <a:pt x="318882" y="1225353"/>
                </a:moveTo>
                <a:cubicBezTo>
                  <a:pt x="317059" y="1228998"/>
                  <a:pt x="311592" y="1230820"/>
                  <a:pt x="313414" y="1232642"/>
                </a:cubicBezTo>
                <a:cubicBezTo>
                  <a:pt x="317059" y="1239931"/>
                  <a:pt x="317059" y="1227175"/>
                  <a:pt x="320703" y="1232642"/>
                </a:cubicBezTo>
                <a:cubicBezTo>
                  <a:pt x="318882" y="1230820"/>
                  <a:pt x="320703" y="1228998"/>
                  <a:pt x="318882" y="1225353"/>
                </a:cubicBezTo>
                <a:close/>
                <a:moveTo>
                  <a:pt x="1426432" y="1224083"/>
                </a:moveTo>
                <a:lnTo>
                  <a:pt x="1423118" y="1227175"/>
                </a:lnTo>
                <a:lnTo>
                  <a:pt x="1422099" y="1226009"/>
                </a:lnTo>
                <a:close/>
                <a:moveTo>
                  <a:pt x="1426763" y="1223936"/>
                </a:moveTo>
                <a:lnTo>
                  <a:pt x="1426432" y="1224083"/>
                </a:lnTo>
                <a:lnTo>
                  <a:pt x="1426536" y="1223987"/>
                </a:lnTo>
                <a:close/>
                <a:moveTo>
                  <a:pt x="3345512" y="1223531"/>
                </a:moveTo>
                <a:cubicBezTo>
                  <a:pt x="3343690" y="1223531"/>
                  <a:pt x="3343690" y="1225353"/>
                  <a:pt x="3341867" y="1225353"/>
                </a:cubicBezTo>
                <a:cubicBezTo>
                  <a:pt x="3341867" y="1228998"/>
                  <a:pt x="3343690" y="1228998"/>
                  <a:pt x="3347334" y="1228998"/>
                </a:cubicBezTo>
                <a:cubicBezTo>
                  <a:pt x="3347334" y="1225353"/>
                  <a:pt x="3345512" y="1225353"/>
                  <a:pt x="3345512" y="1223531"/>
                </a:cubicBezTo>
                <a:close/>
                <a:moveTo>
                  <a:pt x="3157828" y="1223531"/>
                </a:moveTo>
                <a:cubicBezTo>
                  <a:pt x="3156006" y="1223531"/>
                  <a:pt x="3154184" y="1227175"/>
                  <a:pt x="3150539" y="1225353"/>
                </a:cubicBezTo>
                <a:cubicBezTo>
                  <a:pt x="3150539" y="1227175"/>
                  <a:pt x="3150539" y="1228998"/>
                  <a:pt x="3150539" y="1230820"/>
                </a:cubicBezTo>
                <a:cubicBezTo>
                  <a:pt x="3152361" y="1228998"/>
                  <a:pt x="3157828" y="1228998"/>
                  <a:pt x="3157828" y="1223531"/>
                </a:cubicBezTo>
                <a:close/>
                <a:moveTo>
                  <a:pt x="1421296" y="1223531"/>
                </a:moveTo>
                <a:cubicBezTo>
                  <a:pt x="1422208" y="1223531"/>
                  <a:pt x="1421752" y="1224442"/>
                  <a:pt x="1421524" y="1225353"/>
                </a:cubicBezTo>
                <a:lnTo>
                  <a:pt x="1422099" y="1226009"/>
                </a:lnTo>
                <a:lnTo>
                  <a:pt x="1419618" y="1227111"/>
                </a:lnTo>
                <a:close/>
                <a:moveTo>
                  <a:pt x="1131570" y="1223531"/>
                </a:moveTo>
                <a:cubicBezTo>
                  <a:pt x="1133393" y="1225353"/>
                  <a:pt x="1135215" y="1227175"/>
                  <a:pt x="1137037" y="1230820"/>
                </a:cubicBezTo>
                <a:cubicBezTo>
                  <a:pt x="1138859" y="1228998"/>
                  <a:pt x="1138859" y="1223531"/>
                  <a:pt x="1135215" y="1223531"/>
                </a:cubicBezTo>
                <a:cubicBezTo>
                  <a:pt x="1133393" y="1225353"/>
                  <a:pt x="1133393" y="1223531"/>
                  <a:pt x="1131570" y="1223531"/>
                </a:cubicBezTo>
                <a:close/>
                <a:moveTo>
                  <a:pt x="1051395" y="1223531"/>
                </a:moveTo>
                <a:cubicBezTo>
                  <a:pt x="1049573" y="1227175"/>
                  <a:pt x="1044106" y="1230820"/>
                  <a:pt x="1045929" y="1234464"/>
                </a:cubicBezTo>
                <a:cubicBezTo>
                  <a:pt x="1049573" y="1236286"/>
                  <a:pt x="1049573" y="1234464"/>
                  <a:pt x="1051395" y="1238108"/>
                </a:cubicBezTo>
                <a:cubicBezTo>
                  <a:pt x="1055040" y="1236286"/>
                  <a:pt x="1055040" y="1232642"/>
                  <a:pt x="1056861" y="1232642"/>
                </a:cubicBezTo>
                <a:cubicBezTo>
                  <a:pt x="1060506" y="1236286"/>
                  <a:pt x="1058683" y="1238108"/>
                  <a:pt x="1060506" y="1239931"/>
                </a:cubicBezTo>
                <a:cubicBezTo>
                  <a:pt x="1065972" y="1234464"/>
                  <a:pt x="1058683" y="1223531"/>
                  <a:pt x="1051395" y="1223531"/>
                </a:cubicBezTo>
                <a:close/>
                <a:moveTo>
                  <a:pt x="1044106" y="1223531"/>
                </a:moveTo>
                <a:cubicBezTo>
                  <a:pt x="1045929" y="1225353"/>
                  <a:pt x="1045929" y="1227175"/>
                  <a:pt x="1047750" y="1227175"/>
                </a:cubicBezTo>
                <a:cubicBezTo>
                  <a:pt x="1049573" y="1227175"/>
                  <a:pt x="1049573" y="1225353"/>
                  <a:pt x="1049573" y="1223531"/>
                </a:cubicBezTo>
                <a:cubicBezTo>
                  <a:pt x="1047750" y="1223531"/>
                  <a:pt x="1045929" y="1221709"/>
                  <a:pt x="1044106" y="1223531"/>
                </a:cubicBezTo>
                <a:close/>
                <a:moveTo>
                  <a:pt x="1036818" y="1223531"/>
                </a:moveTo>
                <a:cubicBezTo>
                  <a:pt x="1040462" y="1227175"/>
                  <a:pt x="1040462" y="1227175"/>
                  <a:pt x="1044106" y="1230820"/>
                </a:cubicBezTo>
                <a:cubicBezTo>
                  <a:pt x="1045929" y="1228998"/>
                  <a:pt x="1045929" y="1227175"/>
                  <a:pt x="1044106" y="1225353"/>
                </a:cubicBezTo>
                <a:cubicBezTo>
                  <a:pt x="1042284" y="1225353"/>
                  <a:pt x="1040462" y="1221709"/>
                  <a:pt x="1036818" y="1223531"/>
                </a:cubicBezTo>
                <a:close/>
                <a:moveTo>
                  <a:pt x="923843" y="1223531"/>
                </a:moveTo>
                <a:cubicBezTo>
                  <a:pt x="923843" y="1225353"/>
                  <a:pt x="923843" y="1230820"/>
                  <a:pt x="927487" y="1227175"/>
                </a:cubicBezTo>
                <a:cubicBezTo>
                  <a:pt x="927487" y="1223531"/>
                  <a:pt x="923843" y="1225353"/>
                  <a:pt x="923843" y="1223531"/>
                </a:cubicBezTo>
                <a:close/>
                <a:moveTo>
                  <a:pt x="920198" y="1223531"/>
                </a:moveTo>
                <a:cubicBezTo>
                  <a:pt x="918376" y="1225353"/>
                  <a:pt x="916555" y="1225353"/>
                  <a:pt x="916555" y="1227175"/>
                </a:cubicBezTo>
                <a:cubicBezTo>
                  <a:pt x="918376" y="1227175"/>
                  <a:pt x="920198" y="1228998"/>
                  <a:pt x="922020" y="1227175"/>
                </a:cubicBezTo>
                <a:cubicBezTo>
                  <a:pt x="920198" y="1227175"/>
                  <a:pt x="922020" y="1225353"/>
                  <a:pt x="920198" y="1223531"/>
                </a:cubicBezTo>
                <a:close/>
                <a:moveTo>
                  <a:pt x="352819" y="1221937"/>
                </a:moveTo>
                <a:cubicBezTo>
                  <a:pt x="348037" y="1221709"/>
                  <a:pt x="343480" y="1222620"/>
                  <a:pt x="338926" y="1225353"/>
                </a:cubicBezTo>
                <a:lnTo>
                  <a:pt x="343040" y="1226411"/>
                </a:lnTo>
                <a:lnTo>
                  <a:pt x="337102" y="1225353"/>
                </a:lnTo>
                <a:cubicBezTo>
                  <a:pt x="331636" y="1223531"/>
                  <a:pt x="329814" y="1230820"/>
                  <a:pt x="329814" y="1232642"/>
                </a:cubicBezTo>
                <a:cubicBezTo>
                  <a:pt x="349858" y="1241753"/>
                  <a:pt x="373546" y="1247219"/>
                  <a:pt x="388123" y="1238108"/>
                </a:cubicBezTo>
                <a:cubicBezTo>
                  <a:pt x="386301" y="1238108"/>
                  <a:pt x="386301" y="1236286"/>
                  <a:pt x="386301" y="1236286"/>
                </a:cubicBezTo>
                <a:cubicBezTo>
                  <a:pt x="386301" y="1236286"/>
                  <a:pt x="382657" y="1236286"/>
                  <a:pt x="382657" y="1236286"/>
                </a:cubicBezTo>
                <a:cubicBezTo>
                  <a:pt x="386301" y="1232642"/>
                  <a:pt x="384479" y="1230820"/>
                  <a:pt x="389946" y="1232642"/>
                </a:cubicBezTo>
                <a:cubicBezTo>
                  <a:pt x="388123" y="1230820"/>
                  <a:pt x="388123" y="1230820"/>
                  <a:pt x="386301" y="1228998"/>
                </a:cubicBezTo>
                <a:cubicBezTo>
                  <a:pt x="388123" y="1228998"/>
                  <a:pt x="391768" y="1228998"/>
                  <a:pt x="393590" y="1230820"/>
                </a:cubicBezTo>
                <a:cubicBezTo>
                  <a:pt x="389945" y="1227175"/>
                  <a:pt x="386757" y="1226264"/>
                  <a:pt x="383797" y="1226036"/>
                </a:cubicBezTo>
                <a:lnTo>
                  <a:pt x="378021" y="1225568"/>
                </a:lnTo>
                <a:lnTo>
                  <a:pt x="379012" y="1225353"/>
                </a:lnTo>
                <a:cubicBezTo>
                  <a:pt x="377190" y="1227175"/>
                  <a:pt x="375368" y="1225353"/>
                  <a:pt x="375368" y="1225353"/>
                </a:cubicBezTo>
                <a:lnTo>
                  <a:pt x="378021" y="1225568"/>
                </a:lnTo>
                <a:lnTo>
                  <a:pt x="360107" y="1229453"/>
                </a:lnTo>
                <a:lnTo>
                  <a:pt x="356780" y="1228860"/>
                </a:lnTo>
                <a:lnTo>
                  <a:pt x="368079" y="1225353"/>
                </a:lnTo>
                <a:cubicBezTo>
                  <a:pt x="362612" y="1223531"/>
                  <a:pt x="357602" y="1222164"/>
                  <a:pt x="352819" y="1221937"/>
                </a:cubicBezTo>
                <a:close/>
                <a:moveTo>
                  <a:pt x="3272625" y="1221709"/>
                </a:moveTo>
                <a:cubicBezTo>
                  <a:pt x="3272625" y="1223531"/>
                  <a:pt x="3265336" y="1223531"/>
                  <a:pt x="3267158" y="1228998"/>
                </a:cubicBezTo>
                <a:cubicBezTo>
                  <a:pt x="3274447" y="1225353"/>
                  <a:pt x="3272625" y="1232642"/>
                  <a:pt x="3278091" y="1228998"/>
                </a:cubicBezTo>
                <a:cubicBezTo>
                  <a:pt x="3278091" y="1225353"/>
                  <a:pt x="3274447" y="1225353"/>
                  <a:pt x="3272625" y="1221709"/>
                </a:cubicBezTo>
                <a:close/>
                <a:moveTo>
                  <a:pt x="3267158" y="1221709"/>
                </a:moveTo>
                <a:cubicBezTo>
                  <a:pt x="3261692" y="1227175"/>
                  <a:pt x="3252581" y="1223531"/>
                  <a:pt x="3256225" y="1230820"/>
                </a:cubicBezTo>
                <a:cubicBezTo>
                  <a:pt x="3250759" y="1232642"/>
                  <a:pt x="3252581" y="1227175"/>
                  <a:pt x="3252581" y="1225353"/>
                </a:cubicBezTo>
                <a:cubicBezTo>
                  <a:pt x="3248937" y="1227175"/>
                  <a:pt x="3245292" y="1225353"/>
                  <a:pt x="3243470" y="1225353"/>
                </a:cubicBezTo>
                <a:lnTo>
                  <a:pt x="3245292" y="1228998"/>
                </a:lnTo>
                <a:cubicBezTo>
                  <a:pt x="3245292" y="1227175"/>
                  <a:pt x="3247114" y="1227175"/>
                  <a:pt x="3247114" y="1227175"/>
                </a:cubicBezTo>
                <a:cubicBezTo>
                  <a:pt x="3247114" y="1230820"/>
                  <a:pt x="3247114" y="1232642"/>
                  <a:pt x="3247114" y="1234464"/>
                </a:cubicBezTo>
                <a:lnTo>
                  <a:pt x="3247114" y="1236286"/>
                </a:lnTo>
                <a:cubicBezTo>
                  <a:pt x="3250759" y="1234464"/>
                  <a:pt x="3254403" y="1234464"/>
                  <a:pt x="3256225" y="1232642"/>
                </a:cubicBezTo>
                <a:cubicBezTo>
                  <a:pt x="3256225" y="1236286"/>
                  <a:pt x="3256225" y="1241753"/>
                  <a:pt x="3254403" y="1243575"/>
                </a:cubicBezTo>
                <a:cubicBezTo>
                  <a:pt x="3263514" y="1250864"/>
                  <a:pt x="3270803" y="1239931"/>
                  <a:pt x="3274447" y="1232642"/>
                </a:cubicBezTo>
                <a:cubicBezTo>
                  <a:pt x="3268980" y="1228998"/>
                  <a:pt x="3261692" y="1232642"/>
                  <a:pt x="3263514" y="1239931"/>
                </a:cubicBezTo>
                <a:cubicBezTo>
                  <a:pt x="3259869" y="1238108"/>
                  <a:pt x="3256225" y="1232642"/>
                  <a:pt x="3259869" y="1228998"/>
                </a:cubicBezTo>
                <a:cubicBezTo>
                  <a:pt x="3265336" y="1227175"/>
                  <a:pt x="3268980" y="1228998"/>
                  <a:pt x="3267158" y="1221709"/>
                </a:cubicBezTo>
                <a:close/>
                <a:moveTo>
                  <a:pt x="3135962" y="1221709"/>
                </a:moveTo>
                <a:cubicBezTo>
                  <a:pt x="3134140" y="1221709"/>
                  <a:pt x="3135962" y="1225353"/>
                  <a:pt x="3134140" y="1225353"/>
                </a:cubicBezTo>
                <a:cubicBezTo>
                  <a:pt x="3134140" y="1228998"/>
                  <a:pt x="3137784" y="1227175"/>
                  <a:pt x="3141428" y="1228998"/>
                </a:cubicBezTo>
                <a:cubicBezTo>
                  <a:pt x="3143250" y="1225353"/>
                  <a:pt x="3135962" y="1227175"/>
                  <a:pt x="3135962" y="1221709"/>
                </a:cubicBezTo>
                <a:close/>
                <a:moveTo>
                  <a:pt x="2381582" y="1221709"/>
                </a:moveTo>
                <a:cubicBezTo>
                  <a:pt x="2379760" y="1227175"/>
                  <a:pt x="2377937" y="1230820"/>
                  <a:pt x="2374293" y="1234464"/>
                </a:cubicBezTo>
                <a:cubicBezTo>
                  <a:pt x="2372471" y="1228998"/>
                  <a:pt x="2368827" y="1227175"/>
                  <a:pt x="2365182" y="1228998"/>
                </a:cubicBezTo>
                <a:cubicBezTo>
                  <a:pt x="2361538" y="1239931"/>
                  <a:pt x="2363360" y="1234464"/>
                  <a:pt x="2361538" y="1230820"/>
                </a:cubicBezTo>
                <a:cubicBezTo>
                  <a:pt x="2359716" y="1230820"/>
                  <a:pt x="2359716" y="1232642"/>
                  <a:pt x="2357893" y="1232642"/>
                </a:cubicBezTo>
                <a:cubicBezTo>
                  <a:pt x="2354249" y="1234464"/>
                  <a:pt x="2350605" y="1236286"/>
                  <a:pt x="2348782" y="1238108"/>
                </a:cubicBezTo>
                <a:cubicBezTo>
                  <a:pt x="2348782" y="1238108"/>
                  <a:pt x="2346960" y="1239931"/>
                  <a:pt x="2346960" y="1239931"/>
                </a:cubicBezTo>
                <a:cubicBezTo>
                  <a:pt x="2346960" y="1239931"/>
                  <a:pt x="2348782" y="1241753"/>
                  <a:pt x="2348782" y="1243575"/>
                </a:cubicBezTo>
                <a:cubicBezTo>
                  <a:pt x="2361538" y="1249042"/>
                  <a:pt x="2350605" y="1247219"/>
                  <a:pt x="2368827" y="1241753"/>
                </a:cubicBezTo>
                <a:lnTo>
                  <a:pt x="2372471" y="1252686"/>
                </a:lnTo>
                <a:cubicBezTo>
                  <a:pt x="2372471" y="1252686"/>
                  <a:pt x="2374293" y="1254508"/>
                  <a:pt x="2376115" y="1252686"/>
                </a:cubicBezTo>
                <a:cubicBezTo>
                  <a:pt x="2381582" y="1249042"/>
                  <a:pt x="2368827" y="1250864"/>
                  <a:pt x="2374293" y="1247219"/>
                </a:cubicBezTo>
                <a:cubicBezTo>
                  <a:pt x="2376115" y="1245397"/>
                  <a:pt x="2379760" y="1243575"/>
                  <a:pt x="2383404" y="1243575"/>
                </a:cubicBezTo>
                <a:cubicBezTo>
                  <a:pt x="2383404" y="1245397"/>
                  <a:pt x="2377937" y="1247219"/>
                  <a:pt x="2379760" y="1250864"/>
                </a:cubicBezTo>
                <a:cubicBezTo>
                  <a:pt x="2382493" y="1249042"/>
                  <a:pt x="2386593" y="1249042"/>
                  <a:pt x="2390693" y="1248586"/>
                </a:cubicBezTo>
                <a:lnTo>
                  <a:pt x="2397920" y="1245274"/>
                </a:lnTo>
                <a:lnTo>
                  <a:pt x="2397981" y="1245397"/>
                </a:lnTo>
                <a:lnTo>
                  <a:pt x="2398079" y="1245200"/>
                </a:lnTo>
                <a:lnTo>
                  <a:pt x="2401626" y="1243575"/>
                </a:lnTo>
                <a:lnTo>
                  <a:pt x="2399803" y="1241753"/>
                </a:lnTo>
                <a:lnTo>
                  <a:pt x="2398079" y="1245200"/>
                </a:lnTo>
                <a:lnTo>
                  <a:pt x="2397920" y="1245274"/>
                </a:lnTo>
                <a:lnTo>
                  <a:pt x="2396159" y="1241753"/>
                </a:lnTo>
                <a:lnTo>
                  <a:pt x="2381582" y="1241753"/>
                </a:lnTo>
                <a:close/>
                <a:moveTo>
                  <a:pt x="2073634" y="1221709"/>
                </a:moveTo>
                <a:lnTo>
                  <a:pt x="2069990" y="1225353"/>
                </a:lnTo>
                <a:cubicBezTo>
                  <a:pt x="2073634" y="1228998"/>
                  <a:pt x="2077279" y="1228998"/>
                  <a:pt x="2086390" y="1227175"/>
                </a:cubicBezTo>
                <a:cubicBezTo>
                  <a:pt x="2084568" y="1230820"/>
                  <a:pt x="2080923" y="1227175"/>
                  <a:pt x="2079101" y="1230820"/>
                </a:cubicBezTo>
                <a:lnTo>
                  <a:pt x="2082745" y="1230820"/>
                </a:lnTo>
                <a:cubicBezTo>
                  <a:pt x="2084568" y="1230820"/>
                  <a:pt x="2088212" y="1228998"/>
                  <a:pt x="2090034" y="1228998"/>
                </a:cubicBezTo>
                <a:lnTo>
                  <a:pt x="2084568" y="1221709"/>
                </a:lnTo>
                <a:cubicBezTo>
                  <a:pt x="2080923" y="1221709"/>
                  <a:pt x="2077279" y="1221709"/>
                  <a:pt x="2073634" y="1221709"/>
                </a:cubicBezTo>
                <a:close/>
                <a:moveTo>
                  <a:pt x="1262767" y="1221709"/>
                </a:moveTo>
                <a:cubicBezTo>
                  <a:pt x="1260945" y="1219887"/>
                  <a:pt x="1259123" y="1223531"/>
                  <a:pt x="1259123" y="1225353"/>
                </a:cubicBezTo>
                <a:cubicBezTo>
                  <a:pt x="1260945" y="1225353"/>
                  <a:pt x="1264589" y="1221709"/>
                  <a:pt x="1262767" y="1221709"/>
                </a:cubicBezTo>
                <a:close/>
                <a:moveTo>
                  <a:pt x="1257300" y="1221709"/>
                </a:moveTo>
                <a:cubicBezTo>
                  <a:pt x="1257300" y="1221709"/>
                  <a:pt x="1255478" y="1221709"/>
                  <a:pt x="1253656" y="1223531"/>
                </a:cubicBezTo>
                <a:cubicBezTo>
                  <a:pt x="1255478" y="1227175"/>
                  <a:pt x="1260945" y="1225353"/>
                  <a:pt x="1257300" y="1221709"/>
                </a:cubicBezTo>
                <a:close/>
                <a:moveTo>
                  <a:pt x="901976" y="1221709"/>
                </a:moveTo>
                <a:cubicBezTo>
                  <a:pt x="900154" y="1223531"/>
                  <a:pt x="903799" y="1225353"/>
                  <a:pt x="900154" y="1228998"/>
                </a:cubicBezTo>
                <a:cubicBezTo>
                  <a:pt x="901976" y="1230820"/>
                  <a:pt x="903799" y="1227175"/>
                  <a:pt x="905621" y="1225353"/>
                </a:cubicBezTo>
                <a:cubicBezTo>
                  <a:pt x="903799" y="1223531"/>
                  <a:pt x="901976" y="1225353"/>
                  <a:pt x="901976" y="1221709"/>
                </a:cubicBezTo>
                <a:close/>
                <a:moveTo>
                  <a:pt x="892866" y="1221709"/>
                </a:moveTo>
                <a:cubicBezTo>
                  <a:pt x="887399" y="1227175"/>
                  <a:pt x="892866" y="1227175"/>
                  <a:pt x="894688" y="1228998"/>
                </a:cubicBezTo>
                <a:cubicBezTo>
                  <a:pt x="894688" y="1227175"/>
                  <a:pt x="894688" y="1225353"/>
                  <a:pt x="892866" y="1221709"/>
                </a:cubicBezTo>
                <a:close/>
                <a:moveTo>
                  <a:pt x="413555" y="1219965"/>
                </a:moveTo>
                <a:lnTo>
                  <a:pt x="412722" y="1222392"/>
                </a:lnTo>
                <a:lnTo>
                  <a:pt x="410870" y="1222649"/>
                </a:lnTo>
                <a:close/>
                <a:moveTo>
                  <a:pt x="3037564" y="1219887"/>
                </a:moveTo>
                <a:cubicBezTo>
                  <a:pt x="3037564" y="1223531"/>
                  <a:pt x="3041209" y="1225353"/>
                  <a:pt x="3044853" y="1227175"/>
                </a:cubicBezTo>
                <a:cubicBezTo>
                  <a:pt x="3043031" y="1225353"/>
                  <a:pt x="3043031" y="1218065"/>
                  <a:pt x="3037564" y="1219887"/>
                </a:cubicBezTo>
                <a:close/>
                <a:moveTo>
                  <a:pt x="2414381" y="1219887"/>
                </a:moveTo>
                <a:cubicBezTo>
                  <a:pt x="2410737" y="1219887"/>
                  <a:pt x="2410737" y="1225353"/>
                  <a:pt x="2410737" y="1227175"/>
                </a:cubicBezTo>
                <a:lnTo>
                  <a:pt x="2414381" y="1225353"/>
                </a:lnTo>
                <a:lnTo>
                  <a:pt x="2414381" y="1223531"/>
                </a:lnTo>
                <a:cubicBezTo>
                  <a:pt x="2414381" y="1221709"/>
                  <a:pt x="2414381" y="1221709"/>
                  <a:pt x="2414381" y="1219887"/>
                </a:cubicBezTo>
                <a:close/>
                <a:moveTo>
                  <a:pt x="1435873" y="1219887"/>
                </a:moveTo>
                <a:cubicBezTo>
                  <a:pt x="1438606" y="1225353"/>
                  <a:pt x="1434962" y="1228087"/>
                  <a:pt x="1430407" y="1228998"/>
                </a:cubicBezTo>
                <a:lnTo>
                  <a:pt x="1423422" y="1227833"/>
                </a:lnTo>
                <a:lnTo>
                  <a:pt x="1428585" y="1223531"/>
                </a:lnTo>
                <a:lnTo>
                  <a:pt x="1426763" y="1223936"/>
                </a:lnTo>
                <a:close/>
                <a:moveTo>
                  <a:pt x="1414007" y="1219887"/>
                </a:moveTo>
                <a:lnTo>
                  <a:pt x="1412185" y="1220570"/>
                </a:lnTo>
                <a:lnTo>
                  <a:pt x="1412185" y="1220201"/>
                </a:lnTo>
                <a:close/>
                <a:moveTo>
                  <a:pt x="1186236" y="1219887"/>
                </a:moveTo>
                <a:cubicBezTo>
                  <a:pt x="1184414" y="1223531"/>
                  <a:pt x="1184414" y="1227175"/>
                  <a:pt x="1184414" y="1230820"/>
                </a:cubicBezTo>
                <a:cubicBezTo>
                  <a:pt x="1188058" y="1230820"/>
                  <a:pt x="1186236" y="1230820"/>
                  <a:pt x="1191703" y="1228998"/>
                </a:cubicBezTo>
                <a:cubicBezTo>
                  <a:pt x="1195346" y="1236286"/>
                  <a:pt x="1204457" y="1238108"/>
                  <a:pt x="1209925" y="1239931"/>
                </a:cubicBezTo>
                <a:cubicBezTo>
                  <a:pt x="1204457" y="1230820"/>
                  <a:pt x="1198991" y="1216242"/>
                  <a:pt x="1186236" y="1219887"/>
                </a:cubicBezTo>
                <a:close/>
                <a:moveTo>
                  <a:pt x="1184414" y="1219887"/>
                </a:moveTo>
                <a:cubicBezTo>
                  <a:pt x="1178947" y="1219887"/>
                  <a:pt x="1173481" y="1219887"/>
                  <a:pt x="1168014" y="1223531"/>
                </a:cubicBezTo>
                <a:cubicBezTo>
                  <a:pt x="1173481" y="1227175"/>
                  <a:pt x="1178947" y="1227175"/>
                  <a:pt x="1182592" y="1230820"/>
                </a:cubicBezTo>
                <a:cubicBezTo>
                  <a:pt x="1184414" y="1227175"/>
                  <a:pt x="1186236" y="1223531"/>
                  <a:pt x="1184414" y="1219887"/>
                </a:cubicBezTo>
                <a:close/>
                <a:moveTo>
                  <a:pt x="825445" y="1219887"/>
                </a:moveTo>
                <a:cubicBezTo>
                  <a:pt x="821801" y="1221709"/>
                  <a:pt x="827267" y="1227175"/>
                  <a:pt x="829089" y="1223531"/>
                </a:cubicBezTo>
                <a:cubicBezTo>
                  <a:pt x="827267" y="1221709"/>
                  <a:pt x="825445" y="1219887"/>
                  <a:pt x="825445" y="1219887"/>
                </a:cubicBezTo>
                <a:close/>
                <a:moveTo>
                  <a:pt x="626828" y="1219887"/>
                </a:moveTo>
                <a:cubicBezTo>
                  <a:pt x="625006" y="1220798"/>
                  <a:pt x="623185" y="1222620"/>
                  <a:pt x="621362" y="1223531"/>
                </a:cubicBezTo>
                <a:cubicBezTo>
                  <a:pt x="626828" y="1232642"/>
                  <a:pt x="628650" y="1218065"/>
                  <a:pt x="632296" y="1221709"/>
                </a:cubicBezTo>
                <a:cubicBezTo>
                  <a:pt x="630472" y="1218975"/>
                  <a:pt x="628650" y="1218975"/>
                  <a:pt x="626828" y="1219887"/>
                </a:cubicBezTo>
                <a:close/>
                <a:moveTo>
                  <a:pt x="614074" y="1219887"/>
                </a:moveTo>
                <a:cubicBezTo>
                  <a:pt x="614074" y="1221709"/>
                  <a:pt x="610429" y="1223531"/>
                  <a:pt x="612251" y="1225353"/>
                </a:cubicBezTo>
                <a:cubicBezTo>
                  <a:pt x="610429" y="1228998"/>
                  <a:pt x="617717" y="1228998"/>
                  <a:pt x="617717" y="1225353"/>
                </a:cubicBezTo>
                <a:cubicBezTo>
                  <a:pt x="617717" y="1223531"/>
                  <a:pt x="614074" y="1227175"/>
                  <a:pt x="612251" y="1225353"/>
                </a:cubicBezTo>
                <a:cubicBezTo>
                  <a:pt x="614074" y="1221709"/>
                  <a:pt x="617717" y="1225353"/>
                  <a:pt x="617717" y="1221709"/>
                </a:cubicBezTo>
                <a:cubicBezTo>
                  <a:pt x="617717" y="1218065"/>
                  <a:pt x="615895" y="1221709"/>
                  <a:pt x="614074" y="1219887"/>
                </a:cubicBezTo>
                <a:close/>
                <a:moveTo>
                  <a:pt x="561230" y="1219887"/>
                </a:moveTo>
                <a:cubicBezTo>
                  <a:pt x="559408" y="1218065"/>
                  <a:pt x="557586" y="1219887"/>
                  <a:pt x="555763" y="1221709"/>
                </a:cubicBezTo>
                <a:cubicBezTo>
                  <a:pt x="557586" y="1225353"/>
                  <a:pt x="559408" y="1221709"/>
                  <a:pt x="561230" y="1219887"/>
                </a:cubicBezTo>
                <a:close/>
                <a:moveTo>
                  <a:pt x="297015" y="1219887"/>
                </a:moveTo>
                <a:lnTo>
                  <a:pt x="298837" y="1221709"/>
                </a:lnTo>
                <a:cubicBezTo>
                  <a:pt x="295193" y="1221709"/>
                  <a:pt x="291549" y="1219887"/>
                  <a:pt x="291549" y="1221709"/>
                </a:cubicBezTo>
                <a:cubicBezTo>
                  <a:pt x="297015" y="1230820"/>
                  <a:pt x="313414" y="1234464"/>
                  <a:pt x="317059" y="1225353"/>
                </a:cubicBezTo>
                <a:cubicBezTo>
                  <a:pt x="313414" y="1227175"/>
                  <a:pt x="307948" y="1223531"/>
                  <a:pt x="306126" y="1227175"/>
                </a:cubicBezTo>
                <a:cubicBezTo>
                  <a:pt x="304303" y="1227175"/>
                  <a:pt x="302481" y="1225353"/>
                  <a:pt x="298837" y="1225353"/>
                </a:cubicBezTo>
                <a:cubicBezTo>
                  <a:pt x="300660" y="1219887"/>
                  <a:pt x="306126" y="1221709"/>
                  <a:pt x="309771" y="1221709"/>
                </a:cubicBezTo>
                <a:cubicBezTo>
                  <a:pt x="306126" y="1221709"/>
                  <a:pt x="300660" y="1219887"/>
                  <a:pt x="297015" y="1219887"/>
                </a:cubicBezTo>
                <a:close/>
                <a:moveTo>
                  <a:pt x="2503668" y="1218166"/>
                </a:moveTo>
                <a:lnTo>
                  <a:pt x="2525535" y="1218166"/>
                </a:lnTo>
                <a:cubicBezTo>
                  <a:pt x="2514601" y="1234566"/>
                  <a:pt x="2525535" y="1227277"/>
                  <a:pt x="2503668" y="1232744"/>
                </a:cubicBezTo>
                <a:close/>
                <a:moveTo>
                  <a:pt x="3305424" y="1218065"/>
                </a:moveTo>
                <a:cubicBezTo>
                  <a:pt x="3307246" y="1219887"/>
                  <a:pt x="3310890" y="1219887"/>
                  <a:pt x="3312713" y="1223531"/>
                </a:cubicBezTo>
                <a:cubicBezTo>
                  <a:pt x="3318179" y="1223531"/>
                  <a:pt x="3310890" y="1219887"/>
                  <a:pt x="3314535" y="1219887"/>
                </a:cubicBezTo>
                <a:cubicBezTo>
                  <a:pt x="3310890" y="1218065"/>
                  <a:pt x="3309068" y="1218065"/>
                  <a:pt x="3305424" y="1218065"/>
                </a:cubicBezTo>
                <a:close/>
                <a:moveTo>
                  <a:pt x="3052142" y="1218065"/>
                </a:moveTo>
                <a:cubicBezTo>
                  <a:pt x="3052142" y="1219887"/>
                  <a:pt x="3052142" y="1221709"/>
                  <a:pt x="3052142" y="1223531"/>
                </a:cubicBezTo>
                <a:cubicBezTo>
                  <a:pt x="3053964" y="1225353"/>
                  <a:pt x="3055786" y="1223531"/>
                  <a:pt x="3059430" y="1221709"/>
                </a:cubicBezTo>
                <a:cubicBezTo>
                  <a:pt x="3057608" y="1219887"/>
                  <a:pt x="3055786" y="1218065"/>
                  <a:pt x="3052142" y="1218065"/>
                </a:cubicBezTo>
                <a:close/>
                <a:moveTo>
                  <a:pt x="2640330" y="1218065"/>
                </a:moveTo>
                <a:cubicBezTo>
                  <a:pt x="2640330" y="1218065"/>
                  <a:pt x="2640330" y="1219887"/>
                  <a:pt x="2640330" y="1219887"/>
                </a:cubicBezTo>
                <a:cubicBezTo>
                  <a:pt x="2642153" y="1219887"/>
                  <a:pt x="2643975" y="1218065"/>
                  <a:pt x="2643975" y="1218065"/>
                </a:cubicBezTo>
                <a:cubicBezTo>
                  <a:pt x="2642153" y="1218065"/>
                  <a:pt x="2642153" y="1218065"/>
                  <a:pt x="2640330" y="1218065"/>
                </a:cubicBezTo>
                <a:close/>
                <a:moveTo>
                  <a:pt x="2133766" y="1218065"/>
                </a:moveTo>
                <a:cubicBezTo>
                  <a:pt x="2130122" y="1221709"/>
                  <a:pt x="2126477" y="1223531"/>
                  <a:pt x="2124655" y="1227175"/>
                </a:cubicBezTo>
                <a:cubicBezTo>
                  <a:pt x="2126477" y="1228998"/>
                  <a:pt x="2131944" y="1227175"/>
                  <a:pt x="2131944" y="1228998"/>
                </a:cubicBezTo>
                <a:cubicBezTo>
                  <a:pt x="2133766" y="1225353"/>
                  <a:pt x="2133766" y="1223531"/>
                  <a:pt x="2133766" y="1221709"/>
                </a:cubicBezTo>
                <a:close/>
                <a:moveTo>
                  <a:pt x="2099145" y="1218065"/>
                </a:moveTo>
                <a:cubicBezTo>
                  <a:pt x="2099145" y="1221709"/>
                  <a:pt x="2099145" y="1225353"/>
                  <a:pt x="2099145" y="1227175"/>
                </a:cubicBezTo>
                <a:cubicBezTo>
                  <a:pt x="2100967" y="1225353"/>
                  <a:pt x="2104611" y="1225353"/>
                  <a:pt x="2106433" y="1223531"/>
                </a:cubicBezTo>
                <a:cubicBezTo>
                  <a:pt x="2104611" y="1219887"/>
                  <a:pt x="2100967" y="1219887"/>
                  <a:pt x="2099145" y="1218065"/>
                </a:cubicBezTo>
                <a:close/>
                <a:moveTo>
                  <a:pt x="1240901" y="1218065"/>
                </a:moveTo>
                <a:cubicBezTo>
                  <a:pt x="1240901" y="1218976"/>
                  <a:pt x="1241812" y="1218976"/>
                  <a:pt x="1242495" y="1218976"/>
                </a:cubicBezTo>
                <a:lnTo>
                  <a:pt x="1242723" y="1219887"/>
                </a:lnTo>
                <a:close/>
                <a:moveTo>
                  <a:pt x="1240901" y="1218065"/>
                </a:moveTo>
                <a:cubicBezTo>
                  <a:pt x="1239080" y="1219887"/>
                  <a:pt x="1237256" y="1219887"/>
                  <a:pt x="1235434" y="1221709"/>
                </a:cubicBezTo>
                <a:cubicBezTo>
                  <a:pt x="1237256" y="1223531"/>
                  <a:pt x="1240901" y="1223531"/>
                  <a:pt x="1244545" y="1221709"/>
                </a:cubicBezTo>
                <a:lnTo>
                  <a:pt x="1242723" y="1219887"/>
                </a:lnTo>
                <a:lnTo>
                  <a:pt x="1244545" y="1218292"/>
                </a:lnTo>
                <a:cubicBezTo>
                  <a:pt x="1244089" y="1217153"/>
                  <a:pt x="1242723" y="1216243"/>
                  <a:pt x="1240901" y="1218065"/>
                </a:cubicBezTo>
                <a:close/>
                <a:moveTo>
                  <a:pt x="994907" y="1218065"/>
                </a:moveTo>
                <a:cubicBezTo>
                  <a:pt x="991263" y="1223531"/>
                  <a:pt x="989441" y="1225353"/>
                  <a:pt x="989441" y="1230820"/>
                </a:cubicBezTo>
                <a:cubicBezTo>
                  <a:pt x="991263" y="1230820"/>
                  <a:pt x="996729" y="1221709"/>
                  <a:pt x="994907" y="1218065"/>
                </a:cubicBezTo>
                <a:close/>
                <a:moveTo>
                  <a:pt x="927487" y="1218065"/>
                </a:moveTo>
                <a:cubicBezTo>
                  <a:pt x="927487" y="1223531"/>
                  <a:pt x="932953" y="1221709"/>
                  <a:pt x="934777" y="1223531"/>
                </a:cubicBezTo>
                <a:cubicBezTo>
                  <a:pt x="934777" y="1219887"/>
                  <a:pt x="929309" y="1219887"/>
                  <a:pt x="927487" y="1218065"/>
                </a:cubicBezTo>
                <a:close/>
                <a:moveTo>
                  <a:pt x="524786" y="1218065"/>
                </a:moveTo>
                <a:cubicBezTo>
                  <a:pt x="524786" y="1216242"/>
                  <a:pt x="519320" y="1221709"/>
                  <a:pt x="521142" y="1223531"/>
                </a:cubicBezTo>
                <a:cubicBezTo>
                  <a:pt x="521142" y="1221709"/>
                  <a:pt x="524786" y="1219887"/>
                  <a:pt x="524786" y="1218065"/>
                </a:cubicBezTo>
                <a:close/>
                <a:moveTo>
                  <a:pt x="419100" y="1218065"/>
                </a:moveTo>
                <a:cubicBezTo>
                  <a:pt x="422745" y="1218065"/>
                  <a:pt x="426389" y="1225353"/>
                  <a:pt x="428211" y="1228998"/>
                </a:cubicBezTo>
                <a:cubicBezTo>
                  <a:pt x="424567" y="1225353"/>
                  <a:pt x="420923" y="1221709"/>
                  <a:pt x="419100" y="1218065"/>
                </a:cubicBezTo>
                <a:close/>
                <a:moveTo>
                  <a:pt x="382657" y="1218065"/>
                </a:moveTo>
                <a:cubicBezTo>
                  <a:pt x="380835" y="1219887"/>
                  <a:pt x="377190" y="1219887"/>
                  <a:pt x="384479" y="1223531"/>
                </a:cubicBezTo>
                <a:cubicBezTo>
                  <a:pt x="384479" y="1223531"/>
                  <a:pt x="384479" y="1223531"/>
                  <a:pt x="384479" y="1221709"/>
                </a:cubicBezTo>
                <a:cubicBezTo>
                  <a:pt x="384479" y="1219887"/>
                  <a:pt x="384479" y="1219887"/>
                  <a:pt x="382657" y="1218065"/>
                </a:cubicBezTo>
                <a:close/>
                <a:moveTo>
                  <a:pt x="1025884" y="1218064"/>
                </a:moveTo>
                <a:lnTo>
                  <a:pt x="1027138" y="1219317"/>
                </a:lnTo>
                <a:lnTo>
                  <a:pt x="1025884" y="1219887"/>
                </a:lnTo>
                <a:close/>
                <a:moveTo>
                  <a:pt x="2342405" y="1217153"/>
                </a:moveTo>
                <a:cubicBezTo>
                  <a:pt x="2340127" y="1216698"/>
                  <a:pt x="2337850" y="1217153"/>
                  <a:pt x="2336027" y="1219887"/>
                </a:cubicBezTo>
                <a:cubicBezTo>
                  <a:pt x="2336027" y="1221709"/>
                  <a:pt x="2336027" y="1221709"/>
                  <a:pt x="2336027" y="1223531"/>
                </a:cubicBezTo>
                <a:lnTo>
                  <a:pt x="2346960" y="1221709"/>
                </a:lnTo>
                <a:cubicBezTo>
                  <a:pt x="2348782" y="1221709"/>
                  <a:pt x="2348782" y="1219887"/>
                  <a:pt x="2348782" y="1219887"/>
                </a:cubicBezTo>
                <a:cubicBezTo>
                  <a:pt x="2346960" y="1218976"/>
                  <a:pt x="2344683" y="1217609"/>
                  <a:pt x="2342405" y="1217153"/>
                </a:cubicBezTo>
                <a:close/>
                <a:moveTo>
                  <a:pt x="1382119" y="1216698"/>
                </a:moveTo>
                <a:cubicBezTo>
                  <a:pt x="1381208" y="1216242"/>
                  <a:pt x="1380297" y="1216242"/>
                  <a:pt x="1379386" y="1218065"/>
                </a:cubicBezTo>
                <a:cubicBezTo>
                  <a:pt x="1381208" y="1218065"/>
                  <a:pt x="1381208" y="1218065"/>
                  <a:pt x="1383030" y="1218065"/>
                </a:cubicBezTo>
                <a:cubicBezTo>
                  <a:pt x="1383030" y="1219887"/>
                  <a:pt x="1379386" y="1219887"/>
                  <a:pt x="1379386" y="1221709"/>
                </a:cubicBezTo>
                <a:cubicBezTo>
                  <a:pt x="1381208" y="1223531"/>
                  <a:pt x="1383030" y="1221709"/>
                  <a:pt x="1384854" y="1218065"/>
                </a:cubicBezTo>
                <a:cubicBezTo>
                  <a:pt x="1383941" y="1218065"/>
                  <a:pt x="1383030" y="1217154"/>
                  <a:pt x="1382119" y="1216698"/>
                </a:cubicBezTo>
                <a:close/>
                <a:moveTo>
                  <a:pt x="3174227" y="1216242"/>
                </a:moveTo>
                <a:cubicBezTo>
                  <a:pt x="3170583" y="1221709"/>
                  <a:pt x="3185160" y="1219887"/>
                  <a:pt x="3183338" y="1227175"/>
                </a:cubicBezTo>
                <a:cubicBezTo>
                  <a:pt x="3190627" y="1225353"/>
                  <a:pt x="3179694" y="1216242"/>
                  <a:pt x="3188805" y="1216242"/>
                </a:cubicBezTo>
                <a:cubicBezTo>
                  <a:pt x="3183338" y="1210776"/>
                  <a:pt x="3177872" y="1223531"/>
                  <a:pt x="3174227" y="1216242"/>
                </a:cubicBezTo>
                <a:close/>
                <a:moveTo>
                  <a:pt x="2824370" y="1216242"/>
                </a:moveTo>
                <a:cubicBezTo>
                  <a:pt x="2822548" y="1223531"/>
                  <a:pt x="2829837" y="1221709"/>
                  <a:pt x="2831659" y="1225353"/>
                </a:cubicBezTo>
                <a:cubicBezTo>
                  <a:pt x="2833481" y="1223531"/>
                  <a:pt x="2833481" y="1221709"/>
                  <a:pt x="2833481" y="1218065"/>
                </a:cubicBezTo>
                <a:cubicBezTo>
                  <a:pt x="2829837" y="1218065"/>
                  <a:pt x="2828014" y="1216242"/>
                  <a:pt x="2824370" y="1216242"/>
                </a:cubicBezTo>
                <a:close/>
                <a:moveTo>
                  <a:pt x="1393963" y="1216242"/>
                </a:moveTo>
                <a:cubicBezTo>
                  <a:pt x="1388497" y="1214420"/>
                  <a:pt x="1384854" y="1218065"/>
                  <a:pt x="1383030" y="1221709"/>
                </a:cubicBezTo>
                <a:cubicBezTo>
                  <a:pt x="1386676" y="1225353"/>
                  <a:pt x="1390319" y="1223531"/>
                  <a:pt x="1393963" y="1219887"/>
                </a:cubicBezTo>
                <a:cubicBezTo>
                  <a:pt x="1392141" y="1218065"/>
                  <a:pt x="1392141" y="1219887"/>
                  <a:pt x="1390319" y="1218065"/>
                </a:cubicBezTo>
                <a:cubicBezTo>
                  <a:pt x="1393963" y="1218065"/>
                  <a:pt x="1392141" y="1218065"/>
                  <a:pt x="1393963" y="1216242"/>
                </a:cubicBezTo>
                <a:close/>
                <a:moveTo>
                  <a:pt x="1286455" y="1216242"/>
                </a:moveTo>
                <a:cubicBezTo>
                  <a:pt x="1279166" y="1214420"/>
                  <a:pt x="1270056" y="1218065"/>
                  <a:pt x="1264589" y="1223531"/>
                </a:cubicBezTo>
                <a:cubicBezTo>
                  <a:pt x="1271878" y="1227175"/>
                  <a:pt x="1280989" y="1223531"/>
                  <a:pt x="1286455" y="1216242"/>
                </a:cubicBezTo>
                <a:close/>
                <a:moveTo>
                  <a:pt x="358969" y="1216242"/>
                </a:moveTo>
                <a:cubicBezTo>
                  <a:pt x="358969" y="1216242"/>
                  <a:pt x="357146" y="1218065"/>
                  <a:pt x="357146" y="1218065"/>
                </a:cubicBezTo>
                <a:cubicBezTo>
                  <a:pt x="358969" y="1218065"/>
                  <a:pt x="362613" y="1219887"/>
                  <a:pt x="364435" y="1219887"/>
                </a:cubicBezTo>
                <a:cubicBezTo>
                  <a:pt x="362613" y="1218065"/>
                  <a:pt x="360791" y="1216242"/>
                  <a:pt x="358969" y="1216242"/>
                </a:cubicBezTo>
                <a:close/>
                <a:moveTo>
                  <a:pt x="326169" y="1216242"/>
                </a:moveTo>
                <a:cubicBezTo>
                  <a:pt x="327993" y="1223531"/>
                  <a:pt x="335280" y="1216242"/>
                  <a:pt x="337102" y="1216242"/>
                </a:cubicBezTo>
                <a:cubicBezTo>
                  <a:pt x="333458" y="1214420"/>
                  <a:pt x="329814" y="1216242"/>
                  <a:pt x="326169" y="1216242"/>
                </a:cubicBezTo>
                <a:close/>
                <a:moveTo>
                  <a:pt x="1348410" y="1214420"/>
                </a:moveTo>
                <a:lnTo>
                  <a:pt x="1335868" y="1219994"/>
                </a:lnTo>
                <a:lnTo>
                  <a:pt x="1335654" y="1219887"/>
                </a:lnTo>
                <a:lnTo>
                  <a:pt x="1335654" y="1220089"/>
                </a:lnTo>
                <a:lnTo>
                  <a:pt x="1332009" y="1221709"/>
                </a:lnTo>
                <a:cubicBezTo>
                  <a:pt x="1332009" y="1225353"/>
                  <a:pt x="1333832" y="1221709"/>
                  <a:pt x="1335654" y="1223531"/>
                </a:cubicBezTo>
                <a:lnTo>
                  <a:pt x="1335654" y="1220089"/>
                </a:lnTo>
                <a:lnTo>
                  <a:pt x="1335868" y="1219994"/>
                </a:lnTo>
                <a:lnTo>
                  <a:pt x="1339299" y="1221709"/>
                </a:lnTo>
                <a:cubicBezTo>
                  <a:pt x="1342942" y="1219887"/>
                  <a:pt x="1346587" y="1219887"/>
                  <a:pt x="1350231" y="1218065"/>
                </a:cubicBezTo>
                <a:cubicBezTo>
                  <a:pt x="1348410" y="1216242"/>
                  <a:pt x="1350231" y="1216242"/>
                  <a:pt x="1348410" y="1214420"/>
                </a:cubicBezTo>
                <a:close/>
                <a:moveTo>
                  <a:pt x="1297388" y="1214420"/>
                </a:moveTo>
                <a:cubicBezTo>
                  <a:pt x="1293744" y="1216242"/>
                  <a:pt x="1290100" y="1218065"/>
                  <a:pt x="1293744" y="1221709"/>
                </a:cubicBezTo>
                <a:cubicBezTo>
                  <a:pt x="1295566" y="1223531"/>
                  <a:pt x="1299210" y="1221709"/>
                  <a:pt x="1301033" y="1219887"/>
                </a:cubicBezTo>
                <a:cubicBezTo>
                  <a:pt x="1304677" y="1219887"/>
                  <a:pt x="1306499" y="1223531"/>
                  <a:pt x="1310143" y="1219887"/>
                </a:cubicBezTo>
                <a:cubicBezTo>
                  <a:pt x="1304677" y="1218065"/>
                  <a:pt x="1301033" y="1218065"/>
                  <a:pt x="1297388" y="1214420"/>
                </a:cubicBezTo>
                <a:close/>
                <a:moveTo>
                  <a:pt x="1288277" y="1214420"/>
                </a:moveTo>
                <a:cubicBezTo>
                  <a:pt x="1286455" y="1216242"/>
                  <a:pt x="1288277" y="1218065"/>
                  <a:pt x="1288277" y="1219887"/>
                </a:cubicBezTo>
                <a:cubicBezTo>
                  <a:pt x="1290100" y="1218065"/>
                  <a:pt x="1288277" y="1218065"/>
                  <a:pt x="1291922" y="1216242"/>
                </a:cubicBezTo>
                <a:cubicBezTo>
                  <a:pt x="1291922" y="1212598"/>
                  <a:pt x="1290100" y="1218065"/>
                  <a:pt x="1288277" y="1214420"/>
                </a:cubicBezTo>
                <a:close/>
                <a:moveTo>
                  <a:pt x="1262767" y="1214420"/>
                </a:moveTo>
                <a:cubicBezTo>
                  <a:pt x="1257300" y="1214420"/>
                  <a:pt x="1250012" y="1214420"/>
                  <a:pt x="1244545" y="1218065"/>
                </a:cubicBezTo>
                <a:cubicBezTo>
                  <a:pt x="1250012" y="1225353"/>
                  <a:pt x="1257300" y="1219887"/>
                  <a:pt x="1262767" y="1214420"/>
                </a:cubicBezTo>
                <a:close/>
                <a:moveTo>
                  <a:pt x="1075083" y="1214420"/>
                </a:moveTo>
                <a:cubicBezTo>
                  <a:pt x="1075083" y="1216242"/>
                  <a:pt x="1078727" y="1221709"/>
                  <a:pt x="1082373" y="1219887"/>
                </a:cubicBezTo>
                <a:cubicBezTo>
                  <a:pt x="1080549" y="1218065"/>
                  <a:pt x="1076905" y="1214420"/>
                  <a:pt x="1075083" y="1214420"/>
                </a:cubicBezTo>
                <a:close/>
                <a:moveTo>
                  <a:pt x="1004018" y="1214420"/>
                </a:moveTo>
                <a:cubicBezTo>
                  <a:pt x="1004018" y="1214420"/>
                  <a:pt x="1002196" y="1216242"/>
                  <a:pt x="1004018" y="1216242"/>
                </a:cubicBezTo>
                <a:cubicBezTo>
                  <a:pt x="1004018" y="1218065"/>
                  <a:pt x="1005840" y="1219887"/>
                  <a:pt x="1007663" y="1221709"/>
                </a:cubicBezTo>
                <a:cubicBezTo>
                  <a:pt x="1007663" y="1221709"/>
                  <a:pt x="1009485" y="1219887"/>
                  <a:pt x="1009485" y="1219887"/>
                </a:cubicBezTo>
                <a:cubicBezTo>
                  <a:pt x="1009485" y="1218065"/>
                  <a:pt x="1005840" y="1218065"/>
                  <a:pt x="1004018" y="1214420"/>
                </a:cubicBezTo>
                <a:close/>
                <a:moveTo>
                  <a:pt x="470121" y="1214420"/>
                </a:moveTo>
                <a:cubicBezTo>
                  <a:pt x="468299" y="1214420"/>
                  <a:pt x="468299" y="1216242"/>
                  <a:pt x="470121" y="1218065"/>
                </a:cubicBezTo>
                <a:cubicBezTo>
                  <a:pt x="470121" y="1216242"/>
                  <a:pt x="471943" y="1218065"/>
                  <a:pt x="471943" y="1216242"/>
                </a:cubicBezTo>
                <a:cubicBezTo>
                  <a:pt x="471943" y="1216242"/>
                  <a:pt x="471943" y="1214420"/>
                  <a:pt x="470121" y="1214420"/>
                </a:cubicBezTo>
                <a:close/>
                <a:moveTo>
                  <a:pt x="411812" y="1214420"/>
                </a:moveTo>
                <a:cubicBezTo>
                  <a:pt x="408167" y="1214420"/>
                  <a:pt x="408167" y="1219887"/>
                  <a:pt x="404523" y="1223531"/>
                </a:cubicBezTo>
                <a:lnTo>
                  <a:pt x="410870" y="1222649"/>
                </a:lnTo>
                <a:lnTo>
                  <a:pt x="408167" y="1225353"/>
                </a:lnTo>
                <a:cubicBezTo>
                  <a:pt x="413634" y="1228998"/>
                  <a:pt x="419100" y="1234464"/>
                  <a:pt x="420923" y="1230820"/>
                </a:cubicBezTo>
                <a:cubicBezTo>
                  <a:pt x="417278" y="1227175"/>
                  <a:pt x="413634" y="1228998"/>
                  <a:pt x="411812" y="1225353"/>
                </a:cubicBezTo>
                <a:cubicBezTo>
                  <a:pt x="417278" y="1223531"/>
                  <a:pt x="424567" y="1232642"/>
                  <a:pt x="428211" y="1228998"/>
                </a:cubicBezTo>
                <a:cubicBezTo>
                  <a:pt x="430034" y="1230820"/>
                  <a:pt x="431856" y="1227175"/>
                  <a:pt x="433678" y="1225353"/>
                </a:cubicBezTo>
                <a:cubicBezTo>
                  <a:pt x="430034" y="1221709"/>
                  <a:pt x="424567" y="1216242"/>
                  <a:pt x="419100" y="1214420"/>
                </a:cubicBezTo>
                <a:lnTo>
                  <a:pt x="413555" y="1219965"/>
                </a:lnTo>
                <a:lnTo>
                  <a:pt x="415456" y="1214420"/>
                </a:lnTo>
                <a:cubicBezTo>
                  <a:pt x="411812" y="1216242"/>
                  <a:pt x="413634" y="1218065"/>
                  <a:pt x="411812" y="1219887"/>
                </a:cubicBezTo>
                <a:cubicBezTo>
                  <a:pt x="408167" y="1216242"/>
                  <a:pt x="413634" y="1216242"/>
                  <a:pt x="411812" y="1214420"/>
                </a:cubicBezTo>
                <a:close/>
                <a:moveTo>
                  <a:pt x="386301" y="1214420"/>
                </a:moveTo>
                <a:cubicBezTo>
                  <a:pt x="386301" y="1219887"/>
                  <a:pt x="389946" y="1219887"/>
                  <a:pt x="393590" y="1219887"/>
                </a:cubicBezTo>
                <a:cubicBezTo>
                  <a:pt x="393590" y="1216242"/>
                  <a:pt x="388123" y="1216242"/>
                  <a:pt x="386301" y="1214420"/>
                </a:cubicBezTo>
                <a:close/>
                <a:moveTo>
                  <a:pt x="984886" y="1213965"/>
                </a:moveTo>
                <a:cubicBezTo>
                  <a:pt x="983519" y="1213965"/>
                  <a:pt x="982152" y="1214420"/>
                  <a:pt x="980330" y="1216242"/>
                </a:cubicBezTo>
                <a:cubicBezTo>
                  <a:pt x="982152" y="1218065"/>
                  <a:pt x="980330" y="1221709"/>
                  <a:pt x="982152" y="1223531"/>
                </a:cubicBezTo>
                <a:cubicBezTo>
                  <a:pt x="982152" y="1223531"/>
                  <a:pt x="983974" y="1221709"/>
                  <a:pt x="983974" y="1219887"/>
                </a:cubicBezTo>
                <a:cubicBezTo>
                  <a:pt x="985796" y="1221709"/>
                  <a:pt x="983974" y="1221709"/>
                  <a:pt x="985796" y="1223531"/>
                </a:cubicBezTo>
                <a:cubicBezTo>
                  <a:pt x="987619" y="1221709"/>
                  <a:pt x="987619" y="1219887"/>
                  <a:pt x="985796" y="1218065"/>
                </a:cubicBezTo>
                <a:cubicBezTo>
                  <a:pt x="987619" y="1216242"/>
                  <a:pt x="987619" y="1219887"/>
                  <a:pt x="989441" y="1219887"/>
                </a:cubicBezTo>
                <a:cubicBezTo>
                  <a:pt x="989441" y="1218065"/>
                  <a:pt x="991263" y="1216242"/>
                  <a:pt x="989441" y="1214420"/>
                </a:cubicBezTo>
                <a:cubicBezTo>
                  <a:pt x="987619" y="1214420"/>
                  <a:pt x="986252" y="1213965"/>
                  <a:pt x="984886" y="1213965"/>
                </a:cubicBezTo>
                <a:close/>
                <a:moveTo>
                  <a:pt x="364663" y="1213965"/>
                </a:moveTo>
                <a:cubicBezTo>
                  <a:pt x="363069" y="1213965"/>
                  <a:pt x="361702" y="1214420"/>
                  <a:pt x="360791" y="1216242"/>
                </a:cubicBezTo>
                <a:cubicBezTo>
                  <a:pt x="364435" y="1216242"/>
                  <a:pt x="371724" y="1221709"/>
                  <a:pt x="369902" y="1214420"/>
                </a:cubicBezTo>
                <a:cubicBezTo>
                  <a:pt x="368080" y="1214420"/>
                  <a:pt x="366258" y="1213965"/>
                  <a:pt x="364663" y="1213965"/>
                </a:cubicBezTo>
                <a:close/>
                <a:moveTo>
                  <a:pt x="1166951" y="1213813"/>
                </a:moveTo>
                <a:lnTo>
                  <a:pt x="1166426" y="1218013"/>
                </a:lnTo>
                <a:lnTo>
                  <a:pt x="1166192" y="1218065"/>
                </a:lnTo>
                <a:close/>
                <a:moveTo>
                  <a:pt x="1311966" y="1213509"/>
                </a:moveTo>
                <a:cubicBezTo>
                  <a:pt x="1311056" y="1212598"/>
                  <a:pt x="1309232" y="1212598"/>
                  <a:pt x="1306499" y="1214420"/>
                </a:cubicBezTo>
                <a:cubicBezTo>
                  <a:pt x="1308321" y="1216242"/>
                  <a:pt x="1310143" y="1218065"/>
                  <a:pt x="1311966" y="1218065"/>
                </a:cubicBezTo>
                <a:cubicBezTo>
                  <a:pt x="1312878" y="1216242"/>
                  <a:pt x="1312878" y="1214420"/>
                  <a:pt x="1311966" y="1213509"/>
                </a:cubicBezTo>
                <a:close/>
                <a:moveTo>
                  <a:pt x="3298135" y="1212598"/>
                </a:moveTo>
                <a:cubicBezTo>
                  <a:pt x="3294491" y="1212598"/>
                  <a:pt x="3296313" y="1218065"/>
                  <a:pt x="3290847" y="1216242"/>
                </a:cubicBezTo>
                <a:cubicBezTo>
                  <a:pt x="3292669" y="1219887"/>
                  <a:pt x="3294491" y="1219887"/>
                  <a:pt x="3298135" y="1219887"/>
                </a:cubicBezTo>
                <a:cubicBezTo>
                  <a:pt x="3298135" y="1218065"/>
                  <a:pt x="3298135" y="1214420"/>
                  <a:pt x="3298135" y="1212598"/>
                </a:cubicBezTo>
                <a:close/>
                <a:moveTo>
                  <a:pt x="1324721" y="1212598"/>
                </a:moveTo>
                <a:cubicBezTo>
                  <a:pt x="1321077" y="1214420"/>
                  <a:pt x="1322899" y="1216242"/>
                  <a:pt x="1321077" y="1218065"/>
                </a:cubicBezTo>
                <a:cubicBezTo>
                  <a:pt x="1322899" y="1219887"/>
                  <a:pt x="1322899" y="1216242"/>
                  <a:pt x="1324721" y="1218065"/>
                </a:cubicBezTo>
                <a:cubicBezTo>
                  <a:pt x="1324721" y="1216242"/>
                  <a:pt x="1326543" y="1214420"/>
                  <a:pt x="1324721" y="1212598"/>
                </a:cubicBezTo>
                <a:close/>
                <a:moveTo>
                  <a:pt x="1027707" y="1212598"/>
                </a:moveTo>
                <a:cubicBezTo>
                  <a:pt x="1027707" y="1214420"/>
                  <a:pt x="1029529" y="1214420"/>
                  <a:pt x="1025884" y="1216242"/>
                </a:cubicBezTo>
                <a:lnTo>
                  <a:pt x="1025884" y="1218064"/>
                </a:lnTo>
                <a:lnTo>
                  <a:pt x="1024062" y="1216242"/>
                </a:lnTo>
                <a:cubicBezTo>
                  <a:pt x="1022240" y="1218065"/>
                  <a:pt x="1022240" y="1219887"/>
                  <a:pt x="1020418" y="1221709"/>
                </a:cubicBezTo>
                <a:cubicBezTo>
                  <a:pt x="1022240" y="1223531"/>
                  <a:pt x="1024062" y="1221709"/>
                  <a:pt x="1027707" y="1219887"/>
                </a:cubicBezTo>
                <a:lnTo>
                  <a:pt x="1027138" y="1219317"/>
                </a:lnTo>
                <a:lnTo>
                  <a:pt x="1030895" y="1217609"/>
                </a:lnTo>
                <a:cubicBezTo>
                  <a:pt x="1031806" y="1216242"/>
                  <a:pt x="1032262" y="1214420"/>
                  <a:pt x="1033173" y="1212598"/>
                </a:cubicBezTo>
                <a:cubicBezTo>
                  <a:pt x="1031351" y="1210776"/>
                  <a:pt x="1029529" y="1214420"/>
                  <a:pt x="1027707" y="1212598"/>
                </a:cubicBezTo>
                <a:close/>
                <a:moveTo>
                  <a:pt x="446433" y="1212598"/>
                </a:moveTo>
                <a:cubicBezTo>
                  <a:pt x="446433" y="1212598"/>
                  <a:pt x="448256" y="1214420"/>
                  <a:pt x="448256" y="1214420"/>
                </a:cubicBezTo>
                <a:lnTo>
                  <a:pt x="447211" y="1214153"/>
                </a:lnTo>
                <a:close/>
                <a:moveTo>
                  <a:pt x="388123" y="1212598"/>
                </a:moveTo>
                <a:cubicBezTo>
                  <a:pt x="391768" y="1218065"/>
                  <a:pt x="404523" y="1223531"/>
                  <a:pt x="406345" y="1214420"/>
                </a:cubicBezTo>
                <a:cubicBezTo>
                  <a:pt x="399056" y="1212598"/>
                  <a:pt x="393590" y="1210776"/>
                  <a:pt x="388123" y="1212598"/>
                </a:cubicBezTo>
                <a:close/>
                <a:moveTo>
                  <a:pt x="701993" y="1212143"/>
                </a:moveTo>
                <a:cubicBezTo>
                  <a:pt x="697437" y="1211687"/>
                  <a:pt x="692426" y="1212598"/>
                  <a:pt x="688782" y="1212598"/>
                </a:cubicBezTo>
                <a:cubicBezTo>
                  <a:pt x="686960" y="1218065"/>
                  <a:pt x="696071" y="1221709"/>
                  <a:pt x="690604" y="1227175"/>
                </a:cubicBezTo>
                <a:cubicBezTo>
                  <a:pt x="694249" y="1228998"/>
                  <a:pt x="697893" y="1227175"/>
                  <a:pt x="701537" y="1225353"/>
                </a:cubicBezTo>
                <a:cubicBezTo>
                  <a:pt x="701537" y="1223531"/>
                  <a:pt x="701537" y="1223531"/>
                  <a:pt x="699715" y="1221709"/>
                </a:cubicBezTo>
                <a:cubicBezTo>
                  <a:pt x="707004" y="1228998"/>
                  <a:pt x="710648" y="1218065"/>
                  <a:pt x="714293" y="1219887"/>
                </a:cubicBezTo>
                <a:cubicBezTo>
                  <a:pt x="714293" y="1219887"/>
                  <a:pt x="721581" y="1212598"/>
                  <a:pt x="712470" y="1219887"/>
                </a:cubicBezTo>
                <a:cubicBezTo>
                  <a:pt x="710648" y="1214420"/>
                  <a:pt x="706548" y="1212598"/>
                  <a:pt x="701993" y="1212143"/>
                </a:cubicBezTo>
                <a:close/>
                <a:moveTo>
                  <a:pt x="3199738" y="1210776"/>
                </a:moveTo>
                <a:cubicBezTo>
                  <a:pt x="3201560" y="1214420"/>
                  <a:pt x="3203382" y="1214420"/>
                  <a:pt x="3201560" y="1219887"/>
                </a:cubicBezTo>
                <a:cubicBezTo>
                  <a:pt x="3203382" y="1219887"/>
                  <a:pt x="3207027" y="1219887"/>
                  <a:pt x="3208849" y="1221709"/>
                </a:cubicBezTo>
                <a:cubicBezTo>
                  <a:pt x="3210671" y="1219887"/>
                  <a:pt x="3207027" y="1216242"/>
                  <a:pt x="3214315" y="1218065"/>
                </a:cubicBezTo>
                <a:cubicBezTo>
                  <a:pt x="3214315" y="1210776"/>
                  <a:pt x="3205204" y="1210776"/>
                  <a:pt x="3199738" y="1210776"/>
                </a:cubicBezTo>
                <a:close/>
                <a:moveTo>
                  <a:pt x="3022987" y="1210776"/>
                </a:moveTo>
                <a:cubicBezTo>
                  <a:pt x="3022987" y="1216242"/>
                  <a:pt x="3033920" y="1219887"/>
                  <a:pt x="3033920" y="1212598"/>
                </a:cubicBezTo>
                <a:cubicBezTo>
                  <a:pt x="3028453" y="1212598"/>
                  <a:pt x="3028453" y="1208954"/>
                  <a:pt x="3022987" y="1210776"/>
                </a:cubicBezTo>
                <a:close/>
                <a:moveTo>
                  <a:pt x="2427136" y="1210776"/>
                </a:moveTo>
                <a:cubicBezTo>
                  <a:pt x="2425314" y="1210776"/>
                  <a:pt x="2423492" y="1210776"/>
                  <a:pt x="2423492" y="1212598"/>
                </a:cubicBezTo>
                <a:lnTo>
                  <a:pt x="2425314" y="1214420"/>
                </a:lnTo>
                <a:cubicBezTo>
                  <a:pt x="2425314" y="1212598"/>
                  <a:pt x="2425314" y="1210776"/>
                  <a:pt x="2427136" y="1210776"/>
                </a:cubicBezTo>
                <a:close/>
                <a:moveTo>
                  <a:pt x="2414381" y="1210776"/>
                </a:moveTo>
                <a:cubicBezTo>
                  <a:pt x="2408914" y="1212598"/>
                  <a:pt x="2408914" y="1218065"/>
                  <a:pt x="2414381" y="1216242"/>
                </a:cubicBezTo>
                <a:cubicBezTo>
                  <a:pt x="2414381" y="1214420"/>
                  <a:pt x="2414381" y="1212598"/>
                  <a:pt x="2414381" y="1210776"/>
                </a:cubicBezTo>
                <a:close/>
                <a:moveTo>
                  <a:pt x="2405270" y="1210776"/>
                </a:moveTo>
                <a:cubicBezTo>
                  <a:pt x="2401626" y="1212598"/>
                  <a:pt x="2401626" y="1214420"/>
                  <a:pt x="2397981" y="1214420"/>
                </a:cubicBezTo>
                <a:cubicBezTo>
                  <a:pt x="2397981" y="1221709"/>
                  <a:pt x="2401626" y="1223531"/>
                  <a:pt x="2407092" y="1225353"/>
                </a:cubicBezTo>
                <a:cubicBezTo>
                  <a:pt x="2410737" y="1219887"/>
                  <a:pt x="2405270" y="1221709"/>
                  <a:pt x="2407092" y="1214420"/>
                </a:cubicBezTo>
                <a:cubicBezTo>
                  <a:pt x="2405270" y="1214420"/>
                  <a:pt x="2403448" y="1214420"/>
                  <a:pt x="2401626" y="1214420"/>
                </a:cubicBezTo>
                <a:cubicBezTo>
                  <a:pt x="2399803" y="1212598"/>
                  <a:pt x="2407092" y="1214420"/>
                  <a:pt x="2405270" y="1210776"/>
                </a:cubicBezTo>
                <a:close/>
                <a:moveTo>
                  <a:pt x="2394337" y="1210776"/>
                </a:moveTo>
                <a:cubicBezTo>
                  <a:pt x="2388871" y="1212598"/>
                  <a:pt x="2385226" y="1216242"/>
                  <a:pt x="2383404" y="1218065"/>
                </a:cubicBezTo>
                <a:lnTo>
                  <a:pt x="2399803" y="1230820"/>
                </a:lnTo>
                <a:lnTo>
                  <a:pt x="2405270" y="1228998"/>
                </a:lnTo>
                <a:cubicBezTo>
                  <a:pt x="2399803" y="1225353"/>
                  <a:pt x="2388871" y="1219887"/>
                  <a:pt x="2394337" y="1210776"/>
                </a:cubicBezTo>
                <a:close/>
                <a:moveTo>
                  <a:pt x="2057235" y="1210776"/>
                </a:moveTo>
                <a:cubicBezTo>
                  <a:pt x="2055413" y="1210776"/>
                  <a:pt x="2055413" y="1214420"/>
                  <a:pt x="2057235" y="1216242"/>
                </a:cubicBezTo>
                <a:lnTo>
                  <a:pt x="2059057" y="1214420"/>
                </a:lnTo>
                <a:cubicBezTo>
                  <a:pt x="2059057" y="1212598"/>
                  <a:pt x="2057235" y="1212598"/>
                  <a:pt x="2057235" y="1210776"/>
                </a:cubicBezTo>
                <a:close/>
                <a:moveTo>
                  <a:pt x="1239080" y="1210776"/>
                </a:moveTo>
                <a:cubicBezTo>
                  <a:pt x="1235434" y="1212598"/>
                  <a:pt x="1226323" y="1210776"/>
                  <a:pt x="1226323" y="1216242"/>
                </a:cubicBezTo>
                <a:cubicBezTo>
                  <a:pt x="1222679" y="1214420"/>
                  <a:pt x="1220858" y="1216242"/>
                  <a:pt x="1217213" y="1218065"/>
                </a:cubicBezTo>
                <a:cubicBezTo>
                  <a:pt x="1224501" y="1225353"/>
                  <a:pt x="1233612" y="1219887"/>
                  <a:pt x="1242723" y="1216242"/>
                </a:cubicBezTo>
                <a:cubicBezTo>
                  <a:pt x="1240901" y="1214420"/>
                  <a:pt x="1240901" y="1212598"/>
                  <a:pt x="1239080" y="1210776"/>
                </a:cubicBezTo>
                <a:close/>
                <a:moveTo>
                  <a:pt x="1055040" y="1210776"/>
                </a:moveTo>
                <a:cubicBezTo>
                  <a:pt x="1055040" y="1212598"/>
                  <a:pt x="1053217" y="1210776"/>
                  <a:pt x="1051395" y="1214420"/>
                </a:cubicBezTo>
                <a:cubicBezTo>
                  <a:pt x="1055040" y="1214420"/>
                  <a:pt x="1056861" y="1216242"/>
                  <a:pt x="1060506" y="1214420"/>
                </a:cubicBezTo>
                <a:cubicBezTo>
                  <a:pt x="1058683" y="1210776"/>
                  <a:pt x="1056861" y="1212598"/>
                  <a:pt x="1055040" y="1210776"/>
                </a:cubicBezTo>
                <a:close/>
                <a:moveTo>
                  <a:pt x="1788956" y="1209303"/>
                </a:moveTo>
                <a:lnTo>
                  <a:pt x="1790286" y="1210347"/>
                </a:lnTo>
                <a:cubicBezTo>
                  <a:pt x="1791197" y="1212625"/>
                  <a:pt x="1791197" y="1215358"/>
                  <a:pt x="1791197" y="1218091"/>
                </a:cubicBezTo>
                <a:close/>
                <a:moveTo>
                  <a:pt x="305822" y="1209258"/>
                </a:moveTo>
                <a:lnTo>
                  <a:pt x="306809" y="1209637"/>
                </a:lnTo>
                <a:lnTo>
                  <a:pt x="306854" y="1209682"/>
                </a:lnTo>
                <a:lnTo>
                  <a:pt x="305795" y="1209285"/>
                </a:lnTo>
                <a:close/>
                <a:moveTo>
                  <a:pt x="3145073" y="1208954"/>
                </a:moveTo>
                <a:cubicBezTo>
                  <a:pt x="3141428" y="1207132"/>
                  <a:pt x="3141428" y="1218065"/>
                  <a:pt x="3145073" y="1216242"/>
                </a:cubicBezTo>
                <a:cubicBezTo>
                  <a:pt x="3145073" y="1212598"/>
                  <a:pt x="3145073" y="1210776"/>
                  <a:pt x="3145073" y="1208954"/>
                </a:cubicBezTo>
                <a:close/>
                <a:moveTo>
                  <a:pt x="2722328" y="1208954"/>
                </a:moveTo>
                <a:cubicBezTo>
                  <a:pt x="2716862" y="1210776"/>
                  <a:pt x="2718684" y="1218065"/>
                  <a:pt x="2711395" y="1218065"/>
                </a:cubicBezTo>
                <a:cubicBezTo>
                  <a:pt x="2709573" y="1218065"/>
                  <a:pt x="2709573" y="1216242"/>
                  <a:pt x="2709573" y="1216242"/>
                </a:cubicBezTo>
                <a:cubicBezTo>
                  <a:pt x="2709573" y="1218065"/>
                  <a:pt x="2713217" y="1225353"/>
                  <a:pt x="2718684" y="1225353"/>
                </a:cubicBezTo>
                <a:cubicBezTo>
                  <a:pt x="2716862" y="1219887"/>
                  <a:pt x="2729617" y="1227175"/>
                  <a:pt x="2733261" y="1227175"/>
                </a:cubicBezTo>
                <a:cubicBezTo>
                  <a:pt x="2729617" y="1221709"/>
                  <a:pt x="2733261" y="1223531"/>
                  <a:pt x="2735084" y="1219887"/>
                </a:cubicBezTo>
                <a:cubicBezTo>
                  <a:pt x="2736906" y="1221709"/>
                  <a:pt x="2735084" y="1225353"/>
                  <a:pt x="2740550" y="1225353"/>
                </a:cubicBezTo>
                <a:cubicBezTo>
                  <a:pt x="2736906" y="1221709"/>
                  <a:pt x="2735084" y="1218065"/>
                  <a:pt x="2733261" y="1214420"/>
                </a:cubicBezTo>
                <a:cubicBezTo>
                  <a:pt x="2731439" y="1216242"/>
                  <a:pt x="2731439" y="1216242"/>
                  <a:pt x="2729617" y="1218065"/>
                </a:cubicBezTo>
                <a:cubicBezTo>
                  <a:pt x="2725973" y="1214420"/>
                  <a:pt x="2718684" y="1214420"/>
                  <a:pt x="2722328" y="1208954"/>
                </a:cubicBezTo>
                <a:close/>
                <a:moveTo>
                  <a:pt x="2439891" y="1208954"/>
                </a:moveTo>
                <a:cubicBezTo>
                  <a:pt x="2434425" y="1210776"/>
                  <a:pt x="2432603" y="1214420"/>
                  <a:pt x="2430780" y="1218065"/>
                </a:cubicBezTo>
                <a:lnTo>
                  <a:pt x="2434425" y="1221709"/>
                </a:lnTo>
                <a:cubicBezTo>
                  <a:pt x="2436247" y="1218065"/>
                  <a:pt x="2438069" y="1216242"/>
                  <a:pt x="2439891" y="1208954"/>
                </a:cubicBezTo>
                <a:close/>
                <a:moveTo>
                  <a:pt x="1324721" y="1208954"/>
                </a:moveTo>
                <a:cubicBezTo>
                  <a:pt x="1321077" y="1207132"/>
                  <a:pt x="1317432" y="1210776"/>
                  <a:pt x="1313788" y="1210776"/>
                </a:cubicBezTo>
                <a:cubicBezTo>
                  <a:pt x="1311966" y="1212598"/>
                  <a:pt x="1313788" y="1216242"/>
                  <a:pt x="1315610" y="1218065"/>
                </a:cubicBezTo>
                <a:cubicBezTo>
                  <a:pt x="1317432" y="1218065"/>
                  <a:pt x="1317432" y="1214420"/>
                  <a:pt x="1319254" y="1218065"/>
                </a:cubicBezTo>
                <a:cubicBezTo>
                  <a:pt x="1322899" y="1214420"/>
                  <a:pt x="1321077" y="1212598"/>
                  <a:pt x="1324721" y="1208954"/>
                </a:cubicBezTo>
                <a:close/>
                <a:moveTo>
                  <a:pt x="1297388" y="1208954"/>
                </a:moveTo>
                <a:cubicBezTo>
                  <a:pt x="1301033" y="1214420"/>
                  <a:pt x="1304677" y="1208954"/>
                  <a:pt x="1306499" y="1212598"/>
                </a:cubicBezTo>
                <a:cubicBezTo>
                  <a:pt x="1308321" y="1212598"/>
                  <a:pt x="1310143" y="1212598"/>
                  <a:pt x="1311966" y="1208954"/>
                </a:cubicBezTo>
                <a:cubicBezTo>
                  <a:pt x="1313788" y="1212598"/>
                  <a:pt x="1315610" y="1208954"/>
                  <a:pt x="1319254" y="1208954"/>
                </a:cubicBezTo>
                <a:cubicBezTo>
                  <a:pt x="1317432" y="1208954"/>
                  <a:pt x="1313788" y="1207132"/>
                  <a:pt x="1311966" y="1208954"/>
                </a:cubicBezTo>
                <a:cubicBezTo>
                  <a:pt x="1308321" y="1205309"/>
                  <a:pt x="1302855" y="1205309"/>
                  <a:pt x="1297388" y="1208954"/>
                </a:cubicBezTo>
                <a:close/>
                <a:moveTo>
                  <a:pt x="911087" y="1208954"/>
                </a:moveTo>
                <a:cubicBezTo>
                  <a:pt x="911087" y="1210776"/>
                  <a:pt x="911087" y="1214420"/>
                  <a:pt x="911087" y="1214420"/>
                </a:cubicBezTo>
                <a:cubicBezTo>
                  <a:pt x="912909" y="1221709"/>
                  <a:pt x="914732" y="1210776"/>
                  <a:pt x="916555" y="1214420"/>
                </a:cubicBezTo>
                <a:cubicBezTo>
                  <a:pt x="916555" y="1210776"/>
                  <a:pt x="912909" y="1210776"/>
                  <a:pt x="911087" y="1208954"/>
                </a:cubicBezTo>
                <a:close/>
                <a:moveTo>
                  <a:pt x="3002943" y="1207132"/>
                </a:moveTo>
                <a:cubicBezTo>
                  <a:pt x="2995654" y="1208954"/>
                  <a:pt x="3004765" y="1214420"/>
                  <a:pt x="3002943" y="1219887"/>
                </a:cubicBezTo>
                <a:cubicBezTo>
                  <a:pt x="3006587" y="1218065"/>
                  <a:pt x="3010232" y="1214420"/>
                  <a:pt x="3008410" y="1221709"/>
                </a:cubicBezTo>
                <a:cubicBezTo>
                  <a:pt x="3012054" y="1223531"/>
                  <a:pt x="3010232" y="1219887"/>
                  <a:pt x="3012054" y="1218065"/>
                </a:cubicBezTo>
                <a:cubicBezTo>
                  <a:pt x="3015698" y="1218065"/>
                  <a:pt x="3012054" y="1223531"/>
                  <a:pt x="3017521" y="1221709"/>
                </a:cubicBezTo>
                <a:cubicBezTo>
                  <a:pt x="3017521" y="1225353"/>
                  <a:pt x="3017521" y="1227175"/>
                  <a:pt x="3017521" y="1228998"/>
                </a:cubicBezTo>
                <a:cubicBezTo>
                  <a:pt x="3019343" y="1228998"/>
                  <a:pt x="3022987" y="1228998"/>
                  <a:pt x="3024809" y="1228998"/>
                </a:cubicBezTo>
                <a:cubicBezTo>
                  <a:pt x="3021165" y="1225353"/>
                  <a:pt x="3021165" y="1219887"/>
                  <a:pt x="3019343" y="1214420"/>
                </a:cubicBezTo>
                <a:cubicBezTo>
                  <a:pt x="3015698" y="1214420"/>
                  <a:pt x="3008410" y="1214420"/>
                  <a:pt x="3006587" y="1216242"/>
                </a:cubicBezTo>
                <a:cubicBezTo>
                  <a:pt x="3004765" y="1210776"/>
                  <a:pt x="3012054" y="1214420"/>
                  <a:pt x="3010232" y="1208954"/>
                </a:cubicBezTo>
                <a:cubicBezTo>
                  <a:pt x="3004765" y="1212598"/>
                  <a:pt x="3004765" y="1212598"/>
                  <a:pt x="3002943" y="1207132"/>
                </a:cubicBezTo>
                <a:close/>
                <a:moveTo>
                  <a:pt x="2744194" y="1207132"/>
                </a:moveTo>
                <a:cubicBezTo>
                  <a:pt x="2742372" y="1210776"/>
                  <a:pt x="2740550" y="1227175"/>
                  <a:pt x="2751483" y="1227175"/>
                </a:cubicBezTo>
                <a:cubicBezTo>
                  <a:pt x="2749661" y="1218065"/>
                  <a:pt x="2749661" y="1212598"/>
                  <a:pt x="2749661" y="1207132"/>
                </a:cubicBezTo>
                <a:cubicBezTo>
                  <a:pt x="2746016" y="1208954"/>
                  <a:pt x="2747839" y="1208954"/>
                  <a:pt x="2747839" y="1212598"/>
                </a:cubicBezTo>
                <a:cubicBezTo>
                  <a:pt x="2744194" y="1212598"/>
                  <a:pt x="2746016" y="1208954"/>
                  <a:pt x="2744194" y="1207132"/>
                </a:cubicBezTo>
                <a:close/>
                <a:moveTo>
                  <a:pt x="1341120" y="1207132"/>
                </a:moveTo>
                <a:cubicBezTo>
                  <a:pt x="1339299" y="1208954"/>
                  <a:pt x="1337476" y="1208954"/>
                  <a:pt x="1337476" y="1210776"/>
                </a:cubicBezTo>
                <a:cubicBezTo>
                  <a:pt x="1339299" y="1212598"/>
                  <a:pt x="1341120" y="1212598"/>
                  <a:pt x="1342942" y="1216242"/>
                </a:cubicBezTo>
                <a:cubicBezTo>
                  <a:pt x="1342942" y="1212598"/>
                  <a:pt x="1346587" y="1214420"/>
                  <a:pt x="1348410" y="1212598"/>
                </a:cubicBezTo>
                <a:cubicBezTo>
                  <a:pt x="1346587" y="1208954"/>
                  <a:pt x="1342942" y="1208954"/>
                  <a:pt x="1341120" y="1207132"/>
                </a:cubicBezTo>
                <a:close/>
                <a:moveTo>
                  <a:pt x="1013129" y="1207132"/>
                </a:moveTo>
                <a:cubicBezTo>
                  <a:pt x="1013129" y="1208954"/>
                  <a:pt x="1013584" y="1210776"/>
                  <a:pt x="1013584" y="1212598"/>
                </a:cubicBezTo>
                <a:lnTo>
                  <a:pt x="1013345" y="1213174"/>
                </a:lnTo>
                <a:close/>
                <a:moveTo>
                  <a:pt x="1013129" y="1207132"/>
                </a:moveTo>
                <a:cubicBezTo>
                  <a:pt x="1011307" y="1207132"/>
                  <a:pt x="1011307" y="1207132"/>
                  <a:pt x="1009485" y="1208954"/>
                </a:cubicBezTo>
                <a:cubicBezTo>
                  <a:pt x="1009485" y="1210776"/>
                  <a:pt x="1011307" y="1210776"/>
                  <a:pt x="1011307" y="1210776"/>
                </a:cubicBezTo>
                <a:cubicBezTo>
                  <a:pt x="1009485" y="1212598"/>
                  <a:pt x="1007663" y="1208954"/>
                  <a:pt x="1005840" y="1210776"/>
                </a:cubicBezTo>
                <a:cubicBezTo>
                  <a:pt x="1004018" y="1214420"/>
                  <a:pt x="1007663" y="1216242"/>
                  <a:pt x="1011307" y="1218065"/>
                </a:cubicBezTo>
                <a:lnTo>
                  <a:pt x="1013345" y="1213174"/>
                </a:lnTo>
                <a:lnTo>
                  <a:pt x="1013357" y="1213509"/>
                </a:lnTo>
                <a:lnTo>
                  <a:pt x="1013432" y="1213813"/>
                </a:lnTo>
                <a:lnTo>
                  <a:pt x="1013129" y="1214420"/>
                </a:lnTo>
                <a:lnTo>
                  <a:pt x="1013584" y="1214420"/>
                </a:lnTo>
                <a:lnTo>
                  <a:pt x="1014170" y="1216763"/>
                </a:lnTo>
                <a:lnTo>
                  <a:pt x="1014951" y="1219887"/>
                </a:lnTo>
                <a:cubicBezTo>
                  <a:pt x="1016774" y="1218065"/>
                  <a:pt x="1018596" y="1216242"/>
                  <a:pt x="1018596" y="1214420"/>
                </a:cubicBezTo>
                <a:lnTo>
                  <a:pt x="1014951" y="1214420"/>
                </a:lnTo>
                <a:lnTo>
                  <a:pt x="1013584" y="1214420"/>
                </a:lnTo>
                <a:lnTo>
                  <a:pt x="1013432" y="1213813"/>
                </a:lnTo>
                <a:lnTo>
                  <a:pt x="1014951" y="1210776"/>
                </a:lnTo>
                <a:cubicBezTo>
                  <a:pt x="1014951" y="1208954"/>
                  <a:pt x="1013129" y="1208954"/>
                  <a:pt x="1013129" y="1207132"/>
                </a:cubicBezTo>
                <a:close/>
                <a:moveTo>
                  <a:pt x="929309" y="1207132"/>
                </a:moveTo>
                <a:cubicBezTo>
                  <a:pt x="929309" y="1207132"/>
                  <a:pt x="927487" y="1208954"/>
                  <a:pt x="927487" y="1208954"/>
                </a:cubicBezTo>
                <a:cubicBezTo>
                  <a:pt x="929309" y="1212598"/>
                  <a:pt x="931131" y="1208954"/>
                  <a:pt x="932953" y="1212598"/>
                </a:cubicBezTo>
                <a:lnTo>
                  <a:pt x="931131" y="1212598"/>
                </a:lnTo>
                <a:cubicBezTo>
                  <a:pt x="931131" y="1216242"/>
                  <a:pt x="936598" y="1221709"/>
                  <a:pt x="938420" y="1218065"/>
                </a:cubicBezTo>
                <a:cubicBezTo>
                  <a:pt x="938420" y="1214420"/>
                  <a:pt x="934777" y="1214420"/>
                  <a:pt x="936598" y="1212598"/>
                </a:cubicBezTo>
                <a:lnTo>
                  <a:pt x="932953" y="1212598"/>
                </a:lnTo>
                <a:cubicBezTo>
                  <a:pt x="932953" y="1210776"/>
                  <a:pt x="931131" y="1207132"/>
                  <a:pt x="929309" y="1207132"/>
                </a:cubicBezTo>
                <a:close/>
                <a:moveTo>
                  <a:pt x="840022" y="1207132"/>
                </a:moveTo>
                <a:cubicBezTo>
                  <a:pt x="836378" y="1208954"/>
                  <a:pt x="840022" y="1216242"/>
                  <a:pt x="843667" y="1212598"/>
                </a:cubicBezTo>
                <a:cubicBezTo>
                  <a:pt x="843667" y="1210776"/>
                  <a:pt x="841845" y="1208954"/>
                  <a:pt x="840022" y="1207132"/>
                </a:cubicBezTo>
                <a:close/>
                <a:moveTo>
                  <a:pt x="674205" y="1207132"/>
                </a:moveTo>
                <a:cubicBezTo>
                  <a:pt x="668738" y="1214420"/>
                  <a:pt x="674205" y="1219887"/>
                  <a:pt x="676027" y="1225353"/>
                </a:cubicBezTo>
                <a:cubicBezTo>
                  <a:pt x="674205" y="1223531"/>
                  <a:pt x="672383" y="1221709"/>
                  <a:pt x="670560" y="1219887"/>
                </a:cubicBezTo>
                <a:cubicBezTo>
                  <a:pt x="672383" y="1214420"/>
                  <a:pt x="666916" y="1214420"/>
                  <a:pt x="668738" y="1210776"/>
                </a:cubicBezTo>
                <a:cubicBezTo>
                  <a:pt x="659627" y="1214420"/>
                  <a:pt x="655983" y="1225353"/>
                  <a:pt x="666916" y="1230820"/>
                </a:cubicBezTo>
                <a:cubicBezTo>
                  <a:pt x="686960" y="1236286"/>
                  <a:pt x="674205" y="1214420"/>
                  <a:pt x="674205" y="1207132"/>
                </a:cubicBezTo>
                <a:close/>
                <a:moveTo>
                  <a:pt x="1199218" y="1205993"/>
                </a:moveTo>
                <a:cubicBezTo>
                  <a:pt x="1198080" y="1205309"/>
                  <a:pt x="1196257" y="1205309"/>
                  <a:pt x="1195346" y="1207132"/>
                </a:cubicBezTo>
                <a:cubicBezTo>
                  <a:pt x="1197169" y="1208954"/>
                  <a:pt x="1197169" y="1207132"/>
                  <a:pt x="1198991" y="1208954"/>
                </a:cubicBezTo>
                <a:cubicBezTo>
                  <a:pt x="1200814" y="1208043"/>
                  <a:pt x="1200357" y="1206676"/>
                  <a:pt x="1199218" y="1205993"/>
                </a:cubicBezTo>
                <a:close/>
                <a:moveTo>
                  <a:pt x="1293097" y="1205721"/>
                </a:moveTo>
                <a:lnTo>
                  <a:pt x="1292599" y="1206038"/>
                </a:lnTo>
                <a:lnTo>
                  <a:pt x="1292833" y="1205765"/>
                </a:lnTo>
                <a:close/>
                <a:moveTo>
                  <a:pt x="2144699" y="1205309"/>
                </a:moveTo>
                <a:cubicBezTo>
                  <a:pt x="2141055" y="1205309"/>
                  <a:pt x="2139233" y="1207132"/>
                  <a:pt x="2135588" y="1208954"/>
                </a:cubicBezTo>
                <a:lnTo>
                  <a:pt x="2133766" y="1210776"/>
                </a:lnTo>
                <a:cubicBezTo>
                  <a:pt x="2133766" y="1210776"/>
                  <a:pt x="2135588" y="1212598"/>
                  <a:pt x="2135588" y="1212598"/>
                </a:cubicBezTo>
                <a:cubicBezTo>
                  <a:pt x="2139233" y="1210776"/>
                  <a:pt x="2142877" y="1208954"/>
                  <a:pt x="2144699" y="1205309"/>
                </a:cubicBezTo>
                <a:close/>
                <a:moveTo>
                  <a:pt x="1355698" y="1205309"/>
                </a:moveTo>
                <a:cubicBezTo>
                  <a:pt x="1353876" y="1205309"/>
                  <a:pt x="1352053" y="1205309"/>
                  <a:pt x="1350231" y="1207132"/>
                </a:cubicBezTo>
                <a:cubicBezTo>
                  <a:pt x="1350231" y="1207132"/>
                  <a:pt x="1352053" y="1208954"/>
                  <a:pt x="1352053" y="1208954"/>
                </a:cubicBezTo>
                <a:cubicBezTo>
                  <a:pt x="1353876" y="1208954"/>
                  <a:pt x="1353876" y="1207132"/>
                  <a:pt x="1355698" y="1205309"/>
                </a:cubicBezTo>
                <a:close/>
                <a:moveTo>
                  <a:pt x="1273700" y="1205309"/>
                </a:moveTo>
                <a:cubicBezTo>
                  <a:pt x="1270056" y="1207132"/>
                  <a:pt x="1270056" y="1210776"/>
                  <a:pt x="1268233" y="1212598"/>
                </a:cubicBezTo>
                <a:cubicBezTo>
                  <a:pt x="1273700" y="1214420"/>
                  <a:pt x="1279166" y="1214420"/>
                  <a:pt x="1284633" y="1212598"/>
                </a:cubicBezTo>
                <a:cubicBezTo>
                  <a:pt x="1282811" y="1207132"/>
                  <a:pt x="1275522" y="1208954"/>
                  <a:pt x="1273700" y="1205309"/>
                </a:cubicBezTo>
                <a:close/>
                <a:moveTo>
                  <a:pt x="1206279" y="1205309"/>
                </a:moveTo>
                <a:cubicBezTo>
                  <a:pt x="1206279" y="1207132"/>
                  <a:pt x="1202636" y="1208954"/>
                  <a:pt x="1204457" y="1210776"/>
                </a:cubicBezTo>
                <a:cubicBezTo>
                  <a:pt x="1204457" y="1210776"/>
                  <a:pt x="1206279" y="1210776"/>
                  <a:pt x="1208102" y="1207132"/>
                </a:cubicBezTo>
                <a:cubicBezTo>
                  <a:pt x="1208102" y="1207132"/>
                  <a:pt x="1206279" y="1205309"/>
                  <a:pt x="1206279" y="1205309"/>
                </a:cubicBezTo>
                <a:close/>
                <a:moveTo>
                  <a:pt x="1168014" y="1205309"/>
                </a:moveTo>
                <a:cubicBezTo>
                  <a:pt x="1162547" y="1210776"/>
                  <a:pt x="1164370" y="1216242"/>
                  <a:pt x="1160725" y="1219887"/>
                </a:cubicBezTo>
                <a:cubicBezTo>
                  <a:pt x="1162547" y="1221709"/>
                  <a:pt x="1164370" y="1221709"/>
                  <a:pt x="1166192" y="1219887"/>
                </a:cubicBezTo>
                <a:lnTo>
                  <a:pt x="1166426" y="1218013"/>
                </a:lnTo>
                <a:lnTo>
                  <a:pt x="1182592" y="1214420"/>
                </a:lnTo>
                <a:cubicBezTo>
                  <a:pt x="1182592" y="1212598"/>
                  <a:pt x="1182592" y="1216242"/>
                  <a:pt x="1184414" y="1216242"/>
                </a:cubicBezTo>
                <a:cubicBezTo>
                  <a:pt x="1188058" y="1208954"/>
                  <a:pt x="1175303" y="1207132"/>
                  <a:pt x="1169836" y="1205309"/>
                </a:cubicBezTo>
                <a:cubicBezTo>
                  <a:pt x="1168014" y="1207131"/>
                  <a:pt x="1167558" y="1209409"/>
                  <a:pt x="1167331" y="1211687"/>
                </a:cubicBezTo>
                <a:lnTo>
                  <a:pt x="1166951" y="1213813"/>
                </a:lnTo>
                <a:close/>
                <a:moveTo>
                  <a:pt x="1160725" y="1205309"/>
                </a:moveTo>
                <a:cubicBezTo>
                  <a:pt x="1158903" y="1208954"/>
                  <a:pt x="1158903" y="1210776"/>
                  <a:pt x="1160725" y="1214420"/>
                </a:cubicBezTo>
                <a:cubicBezTo>
                  <a:pt x="1160725" y="1212598"/>
                  <a:pt x="1162547" y="1208954"/>
                  <a:pt x="1162547" y="1207132"/>
                </a:cubicBezTo>
                <a:cubicBezTo>
                  <a:pt x="1162547" y="1207132"/>
                  <a:pt x="1160725" y="1205309"/>
                  <a:pt x="1160725" y="1205309"/>
                </a:cubicBezTo>
                <a:close/>
                <a:moveTo>
                  <a:pt x="1122459" y="1205309"/>
                </a:moveTo>
                <a:cubicBezTo>
                  <a:pt x="1122459" y="1207132"/>
                  <a:pt x="1126104" y="1210776"/>
                  <a:pt x="1122459" y="1212598"/>
                </a:cubicBezTo>
                <a:cubicBezTo>
                  <a:pt x="1118815" y="1212598"/>
                  <a:pt x="1118815" y="1216242"/>
                  <a:pt x="1122459" y="1219887"/>
                </a:cubicBezTo>
                <a:cubicBezTo>
                  <a:pt x="1124282" y="1218065"/>
                  <a:pt x="1124282" y="1219887"/>
                  <a:pt x="1126104" y="1218065"/>
                </a:cubicBezTo>
                <a:cubicBezTo>
                  <a:pt x="1135215" y="1218065"/>
                  <a:pt x="1129748" y="1208954"/>
                  <a:pt x="1122459" y="1205309"/>
                </a:cubicBezTo>
                <a:close/>
                <a:moveTo>
                  <a:pt x="654161" y="1205309"/>
                </a:moveTo>
                <a:cubicBezTo>
                  <a:pt x="654161" y="1208954"/>
                  <a:pt x="655983" y="1212598"/>
                  <a:pt x="657805" y="1207132"/>
                </a:cubicBezTo>
                <a:cubicBezTo>
                  <a:pt x="657805" y="1203487"/>
                  <a:pt x="655983" y="1208954"/>
                  <a:pt x="654161" y="1205309"/>
                </a:cubicBezTo>
                <a:close/>
                <a:moveTo>
                  <a:pt x="455544" y="1205309"/>
                </a:moveTo>
                <a:cubicBezTo>
                  <a:pt x="455544" y="1208954"/>
                  <a:pt x="455544" y="1212598"/>
                  <a:pt x="451899" y="1216242"/>
                </a:cubicBezTo>
                <a:cubicBezTo>
                  <a:pt x="459188" y="1219887"/>
                  <a:pt x="466478" y="1218065"/>
                  <a:pt x="466478" y="1212598"/>
                </a:cubicBezTo>
                <a:cubicBezTo>
                  <a:pt x="462832" y="1208954"/>
                  <a:pt x="459188" y="1207132"/>
                  <a:pt x="455544" y="1205309"/>
                </a:cubicBezTo>
                <a:close/>
                <a:moveTo>
                  <a:pt x="1290555" y="1204170"/>
                </a:moveTo>
                <a:cubicBezTo>
                  <a:pt x="1289644" y="1204398"/>
                  <a:pt x="1289188" y="1205309"/>
                  <a:pt x="1290100" y="1207132"/>
                </a:cubicBezTo>
                <a:cubicBezTo>
                  <a:pt x="1290100" y="1208043"/>
                  <a:pt x="1290556" y="1207587"/>
                  <a:pt x="1291239" y="1206904"/>
                </a:cubicBezTo>
                <a:lnTo>
                  <a:pt x="1292599" y="1206038"/>
                </a:lnTo>
                <a:lnTo>
                  <a:pt x="1290100" y="1208954"/>
                </a:lnTo>
                <a:cubicBezTo>
                  <a:pt x="1291922" y="1210776"/>
                  <a:pt x="1295566" y="1207132"/>
                  <a:pt x="1295566" y="1205309"/>
                </a:cubicBezTo>
                <a:lnTo>
                  <a:pt x="1293097" y="1205721"/>
                </a:lnTo>
                <a:lnTo>
                  <a:pt x="1293744" y="1205309"/>
                </a:lnTo>
                <a:cubicBezTo>
                  <a:pt x="1292834" y="1204398"/>
                  <a:pt x="1291466" y="1203943"/>
                  <a:pt x="1290555" y="1204170"/>
                </a:cubicBezTo>
                <a:close/>
                <a:moveTo>
                  <a:pt x="1281444" y="1204170"/>
                </a:moveTo>
                <a:cubicBezTo>
                  <a:pt x="1280077" y="1203487"/>
                  <a:pt x="1278255" y="1203487"/>
                  <a:pt x="1277344" y="1205309"/>
                </a:cubicBezTo>
                <a:cubicBezTo>
                  <a:pt x="1279166" y="1207132"/>
                  <a:pt x="1280989" y="1205309"/>
                  <a:pt x="1282811" y="1207132"/>
                </a:cubicBezTo>
                <a:cubicBezTo>
                  <a:pt x="1283723" y="1206221"/>
                  <a:pt x="1282811" y="1204854"/>
                  <a:pt x="1281444" y="1204170"/>
                </a:cubicBezTo>
                <a:close/>
                <a:moveTo>
                  <a:pt x="363752" y="1204170"/>
                </a:moveTo>
                <a:cubicBezTo>
                  <a:pt x="362613" y="1204854"/>
                  <a:pt x="361702" y="1206221"/>
                  <a:pt x="360791" y="1207132"/>
                </a:cubicBezTo>
                <a:cubicBezTo>
                  <a:pt x="362613" y="1207132"/>
                  <a:pt x="366257" y="1205309"/>
                  <a:pt x="368079" y="1205309"/>
                </a:cubicBezTo>
                <a:cubicBezTo>
                  <a:pt x="366257" y="1203487"/>
                  <a:pt x="364891" y="1203487"/>
                  <a:pt x="363752" y="1204170"/>
                </a:cubicBezTo>
                <a:close/>
                <a:moveTo>
                  <a:pt x="2981077" y="1203487"/>
                </a:moveTo>
                <a:cubicBezTo>
                  <a:pt x="2975610" y="1203487"/>
                  <a:pt x="2979255" y="1208954"/>
                  <a:pt x="2979255" y="1210776"/>
                </a:cubicBezTo>
                <a:cubicBezTo>
                  <a:pt x="2982899" y="1210776"/>
                  <a:pt x="2979255" y="1205309"/>
                  <a:pt x="2981077" y="1203487"/>
                </a:cubicBezTo>
                <a:close/>
                <a:moveTo>
                  <a:pt x="2849880" y="1203487"/>
                </a:moveTo>
                <a:cubicBezTo>
                  <a:pt x="2848058" y="1205309"/>
                  <a:pt x="2848058" y="1207132"/>
                  <a:pt x="2848058" y="1210776"/>
                </a:cubicBezTo>
                <a:cubicBezTo>
                  <a:pt x="2849880" y="1210776"/>
                  <a:pt x="2851703" y="1210776"/>
                  <a:pt x="2853525" y="1210776"/>
                </a:cubicBezTo>
                <a:cubicBezTo>
                  <a:pt x="2853525" y="1207132"/>
                  <a:pt x="2849880" y="1207132"/>
                  <a:pt x="2849880" y="1203487"/>
                </a:cubicBezTo>
                <a:close/>
                <a:moveTo>
                  <a:pt x="2055413" y="1203487"/>
                </a:moveTo>
                <a:cubicBezTo>
                  <a:pt x="2051768" y="1203487"/>
                  <a:pt x="2048124" y="1205309"/>
                  <a:pt x="2046302" y="1207132"/>
                </a:cubicBezTo>
                <a:lnTo>
                  <a:pt x="2049946" y="1210776"/>
                </a:lnTo>
                <a:cubicBezTo>
                  <a:pt x="2051768" y="1208954"/>
                  <a:pt x="2049946" y="1205309"/>
                  <a:pt x="2055413" y="1203487"/>
                </a:cubicBezTo>
                <a:close/>
                <a:moveTo>
                  <a:pt x="1417652" y="1203487"/>
                </a:moveTo>
                <a:cubicBezTo>
                  <a:pt x="1415829" y="1205309"/>
                  <a:pt x="1412185" y="1207132"/>
                  <a:pt x="1410363" y="1208954"/>
                </a:cubicBezTo>
                <a:cubicBezTo>
                  <a:pt x="1412185" y="1208954"/>
                  <a:pt x="1419474" y="1207132"/>
                  <a:pt x="1417652" y="1203487"/>
                </a:cubicBezTo>
                <a:close/>
                <a:moveTo>
                  <a:pt x="1361164" y="1203487"/>
                </a:moveTo>
                <a:cubicBezTo>
                  <a:pt x="1357521" y="1203487"/>
                  <a:pt x="1353876" y="1207132"/>
                  <a:pt x="1352053" y="1210776"/>
                </a:cubicBezTo>
                <a:cubicBezTo>
                  <a:pt x="1353876" y="1212598"/>
                  <a:pt x="1353876" y="1210776"/>
                  <a:pt x="1355698" y="1212598"/>
                </a:cubicBezTo>
                <a:cubicBezTo>
                  <a:pt x="1357521" y="1208954"/>
                  <a:pt x="1361164" y="1207132"/>
                  <a:pt x="1361164" y="1203487"/>
                </a:cubicBezTo>
                <a:close/>
                <a:moveTo>
                  <a:pt x="1257300" y="1203487"/>
                </a:moveTo>
                <a:lnTo>
                  <a:pt x="1257466" y="1203515"/>
                </a:lnTo>
                <a:lnTo>
                  <a:pt x="1253656" y="1207132"/>
                </a:lnTo>
                <a:lnTo>
                  <a:pt x="1246833" y="1206976"/>
                </a:lnTo>
                <a:close/>
                <a:moveTo>
                  <a:pt x="1151614" y="1203487"/>
                </a:moveTo>
                <a:cubicBezTo>
                  <a:pt x="1153436" y="1207132"/>
                  <a:pt x="1155259" y="1208954"/>
                  <a:pt x="1157081" y="1210776"/>
                </a:cubicBezTo>
                <a:cubicBezTo>
                  <a:pt x="1158903" y="1210776"/>
                  <a:pt x="1158903" y="1208954"/>
                  <a:pt x="1158903" y="1205309"/>
                </a:cubicBezTo>
                <a:cubicBezTo>
                  <a:pt x="1157081" y="1203487"/>
                  <a:pt x="1153436" y="1203487"/>
                  <a:pt x="1151614" y="1203487"/>
                </a:cubicBezTo>
                <a:close/>
                <a:moveTo>
                  <a:pt x="1014951" y="1203487"/>
                </a:moveTo>
                <a:cubicBezTo>
                  <a:pt x="1018596" y="1207132"/>
                  <a:pt x="1020418" y="1210776"/>
                  <a:pt x="1024062" y="1208954"/>
                </a:cubicBezTo>
                <a:cubicBezTo>
                  <a:pt x="1024062" y="1210776"/>
                  <a:pt x="1022240" y="1210776"/>
                  <a:pt x="1024062" y="1214420"/>
                </a:cubicBezTo>
                <a:cubicBezTo>
                  <a:pt x="1025884" y="1212598"/>
                  <a:pt x="1025884" y="1210776"/>
                  <a:pt x="1027707" y="1208954"/>
                </a:cubicBezTo>
                <a:cubicBezTo>
                  <a:pt x="1024062" y="1205309"/>
                  <a:pt x="1020418" y="1201665"/>
                  <a:pt x="1014951" y="1203487"/>
                </a:cubicBezTo>
                <a:close/>
                <a:moveTo>
                  <a:pt x="240527" y="1203487"/>
                </a:moveTo>
                <a:cubicBezTo>
                  <a:pt x="238705" y="1203487"/>
                  <a:pt x="240527" y="1205309"/>
                  <a:pt x="240527" y="1205309"/>
                </a:cubicBezTo>
                <a:cubicBezTo>
                  <a:pt x="242349" y="1207132"/>
                  <a:pt x="245994" y="1205309"/>
                  <a:pt x="245994" y="1205309"/>
                </a:cubicBezTo>
                <a:cubicBezTo>
                  <a:pt x="244172" y="1203487"/>
                  <a:pt x="242349" y="1205309"/>
                  <a:pt x="240527" y="1203487"/>
                </a:cubicBezTo>
                <a:close/>
                <a:moveTo>
                  <a:pt x="2838036" y="1202804"/>
                </a:moveTo>
                <a:cubicBezTo>
                  <a:pt x="2837125" y="1203487"/>
                  <a:pt x="2836214" y="1204398"/>
                  <a:pt x="2835303" y="1203487"/>
                </a:cubicBezTo>
                <a:cubicBezTo>
                  <a:pt x="2835303" y="1207132"/>
                  <a:pt x="2835303" y="1208954"/>
                  <a:pt x="2835303" y="1212598"/>
                </a:cubicBezTo>
                <a:cubicBezTo>
                  <a:pt x="2840769" y="1214420"/>
                  <a:pt x="2837125" y="1205309"/>
                  <a:pt x="2840769" y="1203487"/>
                </a:cubicBezTo>
                <a:cubicBezTo>
                  <a:pt x="2839858" y="1201665"/>
                  <a:pt x="2838947" y="1202121"/>
                  <a:pt x="2838036" y="1202804"/>
                </a:cubicBezTo>
                <a:close/>
                <a:moveTo>
                  <a:pt x="1134987" y="1202719"/>
                </a:moveTo>
                <a:cubicBezTo>
                  <a:pt x="1132596" y="1202007"/>
                  <a:pt x="1130204" y="1202121"/>
                  <a:pt x="1127926" y="1203487"/>
                </a:cubicBezTo>
                <a:cubicBezTo>
                  <a:pt x="1127926" y="1205309"/>
                  <a:pt x="1129748" y="1207132"/>
                  <a:pt x="1131570" y="1208954"/>
                </a:cubicBezTo>
                <a:cubicBezTo>
                  <a:pt x="1133393" y="1207132"/>
                  <a:pt x="1133393" y="1207132"/>
                  <a:pt x="1133393" y="1205309"/>
                </a:cubicBezTo>
                <a:cubicBezTo>
                  <a:pt x="1135215" y="1203487"/>
                  <a:pt x="1135215" y="1207132"/>
                  <a:pt x="1133393" y="1208954"/>
                </a:cubicBezTo>
                <a:cubicBezTo>
                  <a:pt x="1135215" y="1210776"/>
                  <a:pt x="1142503" y="1212598"/>
                  <a:pt x="1138859" y="1216242"/>
                </a:cubicBezTo>
                <a:cubicBezTo>
                  <a:pt x="1144326" y="1218065"/>
                  <a:pt x="1149792" y="1219887"/>
                  <a:pt x="1153436" y="1219887"/>
                </a:cubicBezTo>
                <a:cubicBezTo>
                  <a:pt x="1149337" y="1214420"/>
                  <a:pt x="1142162" y="1204854"/>
                  <a:pt x="1134987" y="1202719"/>
                </a:cubicBezTo>
                <a:close/>
                <a:moveTo>
                  <a:pt x="3211355" y="1201893"/>
                </a:moveTo>
                <a:cubicBezTo>
                  <a:pt x="3208849" y="1201665"/>
                  <a:pt x="3205205" y="1202576"/>
                  <a:pt x="3203382" y="1203487"/>
                </a:cubicBezTo>
                <a:cubicBezTo>
                  <a:pt x="3207027" y="1205309"/>
                  <a:pt x="3205204" y="1210776"/>
                  <a:pt x="3208849" y="1210776"/>
                </a:cubicBezTo>
                <a:cubicBezTo>
                  <a:pt x="3208849" y="1207132"/>
                  <a:pt x="3208849" y="1205309"/>
                  <a:pt x="3208849" y="1203487"/>
                </a:cubicBezTo>
                <a:cubicBezTo>
                  <a:pt x="3210671" y="1203487"/>
                  <a:pt x="3212493" y="1205309"/>
                  <a:pt x="3212493" y="1207132"/>
                </a:cubicBezTo>
                <a:cubicBezTo>
                  <a:pt x="3215227" y="1203487"/>
                  <a:pt x="3213860" y="1202121"/>
                  <a:pt x="3211355" y="1201893"/>
                </a:cubicBezTo>
                <a:close/>
                <a:moveTo>
                  <a:pt x="2359716" y="1201665"/>
                </a:moveTo>
                <a:cubicBezTo>
                  <a:pt x="2356071" y="1205309"/>
                  <a:pt x="2345138" y="1205309"/>
                  <a:pt x="2345138" y="1214420"/>
                </a:cubicBezTo>
                <a:cubicBezTo>
                  <a:pt x="2352427" y="1208954"/>
                  <a:pt x="2354249" y="1214420"/>
                  <a:pt x="2356071" y="1219887"/>
                </a:cubicBezTo>
                <a:lnTo>
                  <a:pt x="2367004" y="1218065"/>
                </a:lnTo>
                <a:cubicBezTo>
                  <a:pt x="2367004" y="1216242"/>
                  <a:pt x="2365182" y="1216242"/>
                  <a:pt x="2361538" y="1218065"/>
                </a:cubicBezTo>
                <a:cubicBezTo>
                  <a:pt x="2367004" y="1210776"/>
                  <a:pt x="2354249" y="1210776"/>
                  <a:pt x="2354249" y="1205309"/>
                </a:cubicBezTo>
                <a:cubicBezTo>
                  <a:pt x="2357893" y="1203487"/>
                  <a:pt x="2354249" y="1208954"/>
                  <a:pt x="2359716" y="1207132"/>
                </a:cubicBezTo>
                <a:cubicBezTo>
                  <a:pt x="2359716" y="1205309"/>
                  <a:pt x="2363360" y="1203487"/>
                  <a:pt x="2363360" y="1201665"/>
                </a:cubicBezTo>
                <a:cubicBezTo>
                  <a:pt x="2361538" y="1201665"/>
                  <a:pt x="2361538" y="1201665"/>
                  <a:pt x="2359716" y="1201665"/>
                </a:cubicBezTo>
                <a:close/>
                <a:moveTo>
                  <a:pt x="2213942" y="1201665"/>
                </a:moveTo>
                <a:lnTo>
                  <a:pt x="2210297" y="1210776"/>
                </a:lnTo>
                <a:lnTo>
                  <a:pt x="2224875" y="1227175"/>
                </a:lnTo>
                <a:lnTo>
                  <a:pt x="2228519" y="1225353"/>
                </a:lnTo>
                <a:cubicBezTo>
                  <a:pt x="2226697" y="1214420"/>
                  <a:pt x="2223053" y="1201665"/>
                  <a:pt x="2213942" y="1201665"/>
                </a:cubicBezTo>
                <a:close/>
                <a:moveTo>
                  <a:pt x="1235434" y="1201665"/>
                </a:moveTo>
                <a:cubicBezTo>
                  <a:pt x="1240901" y="1199843"/>
                  <a:pt x="1244545" y="1203487"/>
                  <a:pt x="1248189" y="1203487"/>
                </a:cubicBezTo>
                <a:lnTo>
                  <a:pt x="1240783" y="1206450"/>
                </a:lnTo>
                <a:lnTo>
                  <a:pt x="1238368" y="1206066"/>
                </a:lnTo>
                <a:close/>
                <a:moveTo>
                  <a:pt x="843667" y="1201665"/>
                </a:moveTo>
                <a:cubicBezTo>
                  <a:pt x="843667" y="1201665"/>
                  <a:pt x="841845" y="1203487"/>
                  <a:pt x="841845" y="1205309"/>
                </a:cubicBezTo>
                <a:cubicBezTo>
                  <a:pt x="843667" y="1201665"/>
                  <a:pt x="843667" y="1208954"/>
                  <a:pt x="847311" y="1205309"/>
                </a:cubicBezTo>
                <a:cubicBezTo>
                  <a:pt x="845489" y="1203487"/>
                  <a:pt x="845489" y="1203487"/>
                  <a:pt x="843667" y="1201665"/>
                </a:cubicBezTo>
                <a:close/>
                <a:moveTo>
                  <a:pt x="457367" y="1201665"/>
                </a:moveTo>
                <a:cubicBezTo>
                  <a:pt x="457367" y="1205309"/>
                  <a:pt x="464655" y="1207132"/>
                  <a:pt x="462832" y="1203487"/>
                </a:cubicBezTo>
                <a:cubicBezTo>
                  <a:pt x="461010" y="1205309"/>
                  <a:pt x="457367" y="1201665"/>
                  <a:pt x="457367" y="1201665"/>
                </a:cubicBezTo>
                <a:close/>
                <a:moveTo>
                  <a:pt x="371724" y="1201665"/>
                </a:moveTo>
                <a:cubicBezTo>
                  <a:pt x="369902" y="1201665"/>
                  <a:pt x="368079" y="1201665"/>
                  <a:pt x="368079" y="1203487"/>
                </a:cubicBezTo>
                <a:cubicBezTo>
                  <a:pt x="369902" y="1205309"/>
                  <a:pt x="373546" y="1201665"/>
                  <a:pt x="371724" y="1201665"/>
                </a:cubicBezTo>
                <a:close/>
                <a:moveTo>
                  <a:pt x="362613" y="1201665"/>
                </a:moveTo>
                <a:cubicBezTo>
                  <a:pt x="355324" y="1199843"/>
                  <a:pt x="351680" y="1201665"/>
                  <a:pt x="348037" y="1205309"/>
                </a:cubicBezTo>
                <a:cubicBezTo>
                  <a:pt x="344391" y="1207132"/>
                  <a:pt x="337102" y="1207132"/>
                  <a:pt x="335280" y="1210776"/>
                </a:cubicBezTo>
                <a:cubicBezTo>
                  <a:pt x="348037" y="1212598"/>
                  <a:pt x="355324" y="1205309"/>
                  <a:pt x="362613" y="1201665"/>
                </a:cubicBezTo>
                <a:close/>
                <a:moveTo>
                  <a:pt x="286082" y="1201665"/>
                </a:moveTo>
                <a:cubicBezTo>
                  <a:pt x="291549" y="1201665"/>
                  <a:pt x="293370" y="1201665"/>
                  <a:pt x="295193" y="1205309"/>
                </a:cubicBezTo>
                <a:lnTo>
                  <a:pt x="305795" y="1209285"/>
                </a:lnTo>
                <a:lnTo>
                  <a:pt x="302481" y="1212598"/>
                </a:lnTo>
                <a:cubicBezTo>
                  <a:pt x="306126" y="1212598"/>
                  <a:pt x="309771" y="1216242"/>
                  <a:pt x="311592" y="1214420"/>
                </a:cubicBezTo>
                <a:lnTo>
                  <a:pt x="306854" y="1209682"/>
                </a:lnTo>
                <a:lnTo>
                  <a:pt x="309771" y="1210776"/>
                </a:lnTo>
                <a:lnTo>
                  <a:pt x="306809" y="1209637"/>
                </a:lnTo>
                <a:lnTo>
                  <a:pt x="306126" y="1208954"/>
                </a:lnTo>
                <a:lnTo>
                  <a:pt x="305822" y="1209258"/>
                </a:lnTo>
                <a:close/>
                <a:moveTo>
                  <a:pt x="307036" y="1201437"/>
                </a:moveTo>
                <a:cubicBezTo>
                  <a:pt x="304759" y="1201209"/>
                  <a:pt x="302481" y="1201665"/>
                  <a:pt x="300660" y="1201665"/>
                </a:cubicBezTo>
                <a:cubicBezTo>
                  <a:pt x="306126" y="1207132"/>
                  <a:pt x="309771" y="1207132"/>
                  <a:pt x="313414" y="1205309"/>
                </a:cubicBezTo>
                <a:cubicBezTo>
                  <a:pt x="311592" y="1202576"/>
                  <a:pt x="309315" y="1201665"/>
                  <a:pt x="307036" y="1201437"/>
                </a:cubicBezTo>
                <a:close/>
                <a:moveTo>
                  <a:pt x="241211" y="1201209"/>
                </a:moveTo>
                <a:cubicBezTo>
                  <a:pt x="239616" y="1200754"/>
                  <a:pt x="237795" y="1200754"/>
                  <a:pt x="236883" y="1201665"/>
                </a:cubicBezTo>
                <a:cubicBezTo>
                  <a:pt x="240527" y="1203487"/>
                  <a:pt x="242349" y="1201665"/>
                  <a:pt x="244172" y="1203487"/>
                </a:cubicBezTo>
                <a:cubicBezTo>
                  <a:pt x="244172" y="1202576"/>
                  <a:pt x="242805" y="1201665"/>
                  <a:pt x="241211" y="1201209"/>
                </a:cubicBezTo>
                <a:close/>
                <a:moveTo>
                  <a:pt x="484987" y="1200642"/>
                </a:moveTo>
                <a:lnTo>
                  <a:pt x="486521" y="1201665"/>
                </a:lnTo>
                <a:lnTo>
                  <a:pt x="484236" y="1201121"/>
                </a:lnTo>
                <a:lnTo>
                  <a:pt x="485041" y="1200754"/>
                </a:lnTo>
                <a:close/>
                <a:moveTo>
                  <a:pt x="2623931" y="1200526"/>
                </a:moveTo>
                <a:cubicBezTo>
                  <a:pt x="2622565" y="1199843"/>
                  <a:pt x="2621198" y="1199843"/>
                  <a:pt x="2620287" y="1201665"/>
                </a:cubicBezTo>
                <a:cubicBezTo>
                  <a:pt x="2620287" y="1201665"/>
                  <a:pt x="2620287" y="1203487"/>
                  <a:pt x="2620287" y="1203487"/>
                </a:cubicBezTo>
                <a:cubicBezTo>
                  <a:pt x="2622109" y="1203487"/>
                  <a:pt x="2623931" y="1203487"/>
                  <a:pt x="2627575" y="1203487"/>
                </a:cubicBezTo>
                <a:cubicBezTo>
                  <a:pt x="2626664" y="1202576"/>
                  <a:pt x="2625298" y="1201209"/>
                  <a:pt x="2623931" y="1200526"/>
                </a:cubicBezTo>
                <a:close/>
                <a:moveTo>
                  <a:pt x="1230697" y="1200207"/>
                </a:moveTo>
                <a:lnTo>
                  <a:pt x="1231790" y="1203487"/>
                </a:lnTo>
                <a:lnTo>
                  <a:pt x="1219036" y="1205309"/>
                </a:lnTo>
                <a:lnTo>
                  <a:pt x="1226323" y="1201665"/>
                </a:lnTo>
                <a:close/>
                <a:moveTo>
                  <a:pt x="2408914" y="1199843"/>
                </a:moveTo>
                <a:cubicBezTo>
                  <a:pt x="2405270" y="1203487"/>
                  <a:pt x="2399803" y="1205309"/>
                  <a:pt x="2397981" y="1208954"/>
                </a:cubicBezTo>
                <a:cubicBezTo>
                  <a:pt x="2407092" y="1207132"/>
                  <a:pt x="2407092" y="1208954"/>
                  <a:pt x="2414381" y="1208954"/>
                </a:cubicBezTo>
                <a:cubicBezTo>
                  <a:pt x="2414381" y="1203487"/>
                  <a:pt x="2410737" y="1203487"/>
                  <a:pt x="2408914" y="1199843"/>
                </a:cubicBezTo>
                <a:close/>
                <a:moveTo>
                  <a:pt x="1299210" y="1199843"/>
                </a:moveTo>
                <a:lnTo>
                  <a:pt x="1309436" y="1201547"/>
                </a:lnTo>
                <a:lnTo>
                  <a:pt x="1304904" y="1202121"/>
                </a:lnTo>
                <a:lnTo>
                  <a:pt x="1300239" y="1201993"/>
                </a:lnTo>
                <a:lnTo>
                  <a:pt x="1299666" y="1201665"/>
                </a:lnTo>
                <a:cubicBezTo>
                  <a:pt x="1298755" y="1201209"/>
                  <a:pt x="1298299" y="1200754"/>
                  <a:pt x="1299210" y="1199843"/>
                </a:cubicBezTo>
                <a:close/>
                <a:moveTo>
                  <a:pt x="1231790" y="1199843"/>
                </a:moveTo>
                <a:lnTo>
                  <a:pt x="1234601" y="1205466"/>
                </a:lnTo>
                <a:lnTo>
                  <a:pt x="1233612" y="1205309"/>
                </a:lnTo>
                <a:lnTo>
                  <a:pt x="1231010" y="1200103"/>
                </a:lnTo>
                <a:close/>
                <a:moveTo>
                  <a:pt x="883755" y="1199843"/>
                </a:moveTo>
                <a:cubicBezTo>
                  <a:pt x="881933" y="1201665"/>
                  <a:pt x="885577" y="1205309"/>
                  <a:pt x="885577" y="1207132"/>
                </a:cubicBezTo>
                <a:cubicBezTo>
                  <a:pt x="887399" y="1205309"/>
                  <a:pt x="885577" y="1203487"/>
                  <a:pt x="887399" y="1201665"/>
                </a:cubicBezTo>
                <a:cubicBezTo>
                  <a:pt x="885577" y="1201665"/>
                  <a:pt x="885577" y="1199843"/>
                  <a:pt x="883755" y="1199843"/>
                </a:cubicBezTo>
                <a:close/>
                <a:moveTo>
                  <a:pt x="810868" y="1199843"/>
                </a:moveTo>
                <a:cubicBezTo>
                  <a:pt x="805401" y="1201665"/>
                  <a:pt x="812690" y="1203487"/>
                  <a:pt x="812690" y="1207132"/>
                </a:cubicBezTo>
                <a:cubicBezTo>
                  <a:pt x="814512" y="1205309"/>
                  <a:pt x="810868" y="1201665"/>
                  <a:pt x="810868" y="1199843"/>
                </a:cubicBezTo>
                <a:close/>
                <a:moveTo>
                  <a:pt x="413634" y="1199843"/>
                </a:moveTo>
                <a:cubicBezTo>
                  <a:pt x="413634" y="1199843"/>
                  <a:pt x="411812" y="1201665"/>
                  <a:pt x="409989" y="1201665"/>
                </a:cubicBezTo>
                <a:cubicBezTo>
                  <a:pt x="411812" y="1203487"/>
                  <a:pt x="417278" y="1205309"/>
                  <a:pt x="419100" y="1203487"/>
                </a:cubicBezTo>
                <a:cubicBezTo>
                  <a:pt x="417278" y="1201665"/>
                  <a:pt x="415456" y="1201665"/>
                  <a:pt x="413634" y="1199843"/>
                </a:cubicBezTo>
                <a:close/>
                <a:moveTo>
                  <a:pt x="275604" y="1199160"/>
                </a:moveTo>
                <a:cubicBezTo>
                  <a:pt x="271504" y="1198932"/>
                  <a:pt x="267860" y="1199843"/>
                  <a:pt x="266038" y="1201665"/>
                </a:cubicBezTo>
                <a:cubicBezTo>
                  <a:pt x="275149" y="1203487"/>
                  <a:pt x="286082" y="1212598"/>
                  <a:pt x="293370" y="1210776"/>
                </a:cubicBezTo>
                <a:lnTo>
                  <a:pt x="291549" y="1208954"/>
                </a:lnTo>
                <a:cubicBezTo>
                  <a:pt x="293370" y="1210776"/>
                  <a:pt x="297015" y="1214420"/>
                  <a:pt x="300660" y="1214420"/>
                </a:cubicBezTo>
                <a:cubicBezTo>
                  <a:pt x="298837" y="1208954"/>
                  <a:pt x="297015" y="1208954"/>
                  <a:pt x="291549" y="1207132"/>
                </a:cubicBezTo>
                <a:cubicBezTo>
                  <a:pt x="291549" y="1207132"/>
                  <a:pt x="291549" y="1208954"/>
                  <a:pt x="291549" y="1208954"/>
                </a:cubicBezTo>
                <a:cubicBezTo>
                  <a:pt x="287904" y="1205309"/>
                  <a:pt x="284259" y="1205309"/>
                  <a:pt x="278793" y="1201665"/>
                </a:cubicBezTo>
                <a:lnTo>
                  <a:pt x="283279" y="1201860"/>
                </a:lnTo>
                <a:lnTo>
                  <a:pt x="287904" y="1203487"/>
                </a:lnTo>
                <a:cubicBezTo>
                  <a:pt x="286993" y="1204398"/>
                  <a:pt x="285626" y="1203031"/>
                  <a:pt x="284032" y="1201893"/>
                </a:cubicBezTo>
                <a:lnTo>
                  <a:pt x="283279" y="1201860"/>
                </a:lnTo>
                <a:close/>
                <a:moveTo>
                  <a:pt x="437777" y="1199159"/>
                </a:moveTo>
                <a:cubicBezTo>
                  <a:pt x="435044" y="1201209"/>
                  <a:pt x="432766" y="1204398"/>
                  <a:pt x="430034" y="1205309"/>
                </a:cubicBezTo>
                <a:cubicBezTo>
                  <a:pt x="433677" y="1206221"/>
                  <a:pt x="435955" y="1209409"/>
                  <a:pt x="438461" y="1211915"/>
                </a:cubicBezTo>
                <a:lnTo>
                  <a:pt x="447211" y="1214153"/>
                </a:lnTo>
                <a:lnTo>
                  <a:pt x="448256" y="1216242"/>
                </a:lnTo>
                <a:cubicBezTo>
                  <a:pt x="453722" y="1207132"/>
                  <a:pt x="450077" y="1203487"/>
                  <a:pt x="442789" y="1199843"/>
                </a:cubicBezTo>
                <a:cubicBezTo>
                  <a:pt x="444611" y="1199843"/>
                  <a:pt x="444611" y="1199843"/>
                  <a:pt x="448256" y="1199843"/>
                </a:cubicBezTo>
                <a:cubicBezTo>
                  <a:pt x="443699" y="1196198"/>
                  <a:pt x="440511" y="1197109"/>
                  <a:pt x="437777" y="1199159"/>
                </a:cubicBezTo>
                <a:close/>
                <a:moveTo>
                  <a:pt x="3367164" y="1199093"/>
                </a:moveTo>
                <a:lnTo>
                  <a:pt x="3368627" y="1200068"/>
                </a:lnTo>
                <a:lnTo>
                  <a:pt x="3365556" y="1207132"/>
                </a:lnTo>
                <a:cubicBezTo>
                  <a:pt x="3362823" y="1207132"/>
                  <a:pt x="3364645" y="1204854"/>
                  <a:pt x="3366467" y="1202577"/>
                </a:cubicBezTo>
                <a:close/>
                <a:moveTo>
                  <a:pt x="1028468" y="1198646"/>
                </a:moveTo>
                <a:lnTo>
                  <a:pt x="1030212" y="1199615"/>
                </a:lnTo>
                <a:lnTo>
                  <a:pt x="1030027" y="1201665"/>
                </a:lnTo>
                <a:lnTo>
                  <a:pt x="1029529" y="1201665"/>
                </a:lnTo>
                <a:cubicBezTo>
                  <a:pt x="1031351" y="1203487"/>
                  <a:pt x="1029529" y="1205309"/>
                  <a:pt x="1029529" y="1207132"/>
                </a:cubicBezTo>
                <a:close/>
                <a:moveTo>
                  <a:pt x="3367378" y="1198021"/>
                </a:moveTo>
                <a:lnTo>
                  <a:pt x="3367164" y="1199093"/>
                </a:lnTo>
                <a:lnTo>
                  <a:pt x="3366446" y="1198614"/>
                </a:lnTo>
                <a:close/>
                <a:moveTo>
                  <a:pt x="3303602" y="1198021"/>
                </a:moveTo>
                <a:cubicBezTo>
                  <a:pt x="3299957" y="1198021"/>
                  <a:pt x="3298135" y="1199843"/>
                  <a:pt x="3296313" y="1201665"/>
                </a:cubicBezTo>
                <a:cubicBezTo>
                  <a:pt x="3301780" y="1198021"/>
                  <a:pt x="3301780" y="1205309"/>
                  <a:pt x="3305424" y="1207132"/>
                </a:cubicBezTo>
                <a:cubicBezTo>
                  <a:pt x="3303602" y="1205309"/>
                  <a:pt x="3303602" y="1201665"/>
                  <a:pt x="3303602" y="1198021"/>
                </a:cubicBezTo>
                <a:close/>
                <a:moveTo>
                  <a:pt x="3165116" y="1198021"/>
                </a:moveTo>
                <a:cubicBezTo>
                  <a:pt x="3163294" y="1198021"/>
                  <a:pt x="3165116" y="1199843"/>
                  <a:pt x="3165116" y="1201665"/>
                </a:cubicBezTo>
                <a:cubicBezTo>
                  <a:pt x="3165116" y="1203487"/>
                  <a:pt x="3161472" y="1203487"/>
                  <a:pt x="3163294" y="1207132"/>
                </a:cubicBezTo>
                <a:cubicBezTo>
                  <a:pt x="3165116" y="1207132"/>
                  <a:pt x="3165116" y="1207132"/>
                  <a:pt x="3166939" y="1207132"/>
                </a:cubicBezTo>
                <a:cubicBezTo>
                  <a:pt x="3165116" y="1205309"/>
                  <a:pt x="3165116" y="1203487"/>
                  <a:pt x="3166939" y="1205309"/>
                </a:cubicBezTo>
                <a:cubicBezTo>
                  <a:pt x="3168761" y="1199843"/>
                  <a:pt x="3165116" y="1199843"/>
                  <a:pt x="3165116" y="1198021"/>
                </a:cubicBezTo>
                <a:close/>
                <a:moveTo>
                  <a:pt x="2186609" y="1198021"/>
                </a:moveTo>
                <a:cubicBezTo>
                  <a:pt x="2179320" y="1196199"/>
                  <a:pt x="2161099" y="1198021"/>
                  <a:pt x="2161099" y="1207132"/>
                </a:cubicBezTo>
                <a:cubicBezTo>
                  <a:pt x="2151988" y="1205309"/>
                  <a:pt x="2144699" y="1207132"/>
                  <a:pt x="2137410" y="1212598"/>
                </a:cubicBezTo>
                <a:lnTo>
                  <a:pt x="2141055" y="1216242"/>
                </a:lnTo>
                <a:cubicBezTo>
                  <a:pt x="2161099" y="1203487"/>
                  <a:pt x="2148344" y="1212598"/>
                  <a:pt x="2155632" y="1216242"/>
                </a:cubicBezTo>
                <a:cubicBezTo>
                  <a:pt x="2157454" y="1219887"/>
                  <a:pt x="2159277" y="1221709"/>
                  <a:pt x="2161099" y="1221709"/>
                </a:cubicBezTo>
                <a:cubicBezTo>
                  <a:pt x="2161099" y="1223531"/>
                  <a:pt x="2159277" y="1223531"/>
                  <a:pt x="2159277" y="1225353"/>
                </a:cubicBezTo>
                <a:cubicBezTo>
                  <a:pt x="2164743" y="1227175"/>
                  <a:pt x="2170210" y="1223531"/>
                  <a:pt x="2166565" y="1219887"/>
                </a:cubicBezTo>
                <a:cubicBezTo>
                  <a:pt x="2168387" y="1219887"/>
                  <a:pt x="2170210" y="1218065"/>
                  <a:pt x="2172032" y="1218065"/>
                </a:cubicBezTo>
                <a:lnTo>
                  <a:pt x="2173854" y="1218065"/>
                </a:lnTo>
                <a:cubicBezTo>
                  <a:pt x="2179320" y="1216242"/>
                  <a:pt x="2184787" y="1212598"/>
                  <a:pt x="2190253" y="1208954"/>
                </a:cubicBezTo>
                <a:cubicBezTo>
                  <a:pt x="2186609" y="1203487"/>
                  <a:pt x="2188431" y="1208954"/>
                  <a:pt x="2190253" y="1199843"/>
                </a:cubicBezTo>
                <a:cubicBezTo>
                  <a:pt x="2190253" y="1199843"/>
                  <a:pt x="2188431" y="1201665"/>
                  <a:pt x="2188431" y="1203487"/>
                </a:cubicBezTo>
                <a:cubicBezTo>
                  <a:pt x="2186609" y="1201665"/>
                  <a:pt x="2182965" y="1198021"/>
                  <a:pt x="2186609" y="1198021"/>
                </a:cubicBezTo>
                <a:close/>
                <a:moveTo>
                  <a:pt x="1415829" y="1198021"/>
                </a:moveTo>
                <a:cubicBezTo>
                  <a:pt x="1401252" y="1198021"/>
                  <a:pt x="1381208" y="1201665"/>
                  <a:pt x="1364809" y="1219887"/>
                </a:cubicBezTo>
                <a:cubicBezTo>
                  <a:pt x="1368453" y="1221709"/>
                  <a:pt x="1373920" y="1218065"/>
                  <a:pt x="1379386" y="1212598"/>
                </a:cubicBezTo>
                <a:cubicBezTo>
                  <a:pt x="1381208" y="1214420"/>
                  <a:pt x="1379386" y="1214420"/>
                  <a:pt x="1377564" y="1216242"/>
                </a:cubicBezTo>
                <a:cubicBezTo>
                  <a:pt x="1379386" y="1218065"/>
                  <a:pt x="1384854" y="1216242"/>
                  <a:pt x="1384854" y="1214420"/>
                </a:cubicBezTo>
                <a:cubicBezTo>
                  <a:pt x="1386676" y="1212598"/>
                  <a:pt x="1386676" y="1216242"/>
                  <a:pt x="1388497" y="1216242"/>
                </a:cubicBezTo>
                <a:cubicBezTo>
                  <a:pt x="1397608" y="1210776"/>
                  <a:pt x="1406719" y="1212598"/>
                  <a:pt x="1415829" y="1201665"/>
                </a:cubicBezTo>
                <a:cubicBezTo>
                  <a:pt x="1415829" y="1199843"/>
                  <a:pt x="1415829" y="1199843"/>
                  <a:pt x="1415829" y="1198021"/>
                </a:cubicBezTo>
                <a:close/>
                <a:moveTo>
                  <a:pt x="1229969" y="1198021"/>
                </a:moveTo>
                <a:lnTo>
                  <a:pt x="1231010" y="1200103"/>
                </a:lnTo>
                <a:lnTo>
                  <a:pt x="1230697" y="1200207"/>
                </a:lnTo>
                <a:close/>
                <a:moveTo>
                  <a:pt x="1005840" y="1198021"/>
                </a:moveTo>
                <a:cubicBezTo>
                  <a:pt x="1004018" y="1199843"/>
                  <a:pt x="1002196" y="1205309"/>
                  <a:pt x="1005840" y="1207132"/>
                </a:cubicBezTo>
                <a:cubicBezTo>
                  <a:pt x="1007663" y="1207132"/>
                  <a:pt x="1005840" y="1205309"/>
                  <a:pt x="1007663" y="1203487"/>
                </a:cubicBezTo>
                <a:cubicBezTo>
                  <a:pt x="1009485" y="1201665"/>
                  <a:pt x="1011307" y="1205309"/>
                  <a:pt x="1013129" y="1201665"/>
                </a:cubicBezTo>
                <a:cubicBezTo>
                  <a:pt x="1011307" y="1199843"/>
                  <a:pt x="1011307" y="1199843"/>
                  <a:pt x="1009485" y="1198021"/>
                </a:cubicBezTo>
                <a:cubicBezTo>
                  <a:pt x="1007663" y="1198021"/>
                  <a:pt x="1007663" y="1199843"/>
                  <a:pt x="1005840" y="1198021"/>
                </a:cubicBezTo>
                <a:close/>
                <a:moveTo>
                  <a:pt x="996729" y="1198021"/>
                </a:moveTo>
                <a:lnTo>
                  <a:pt x="995727" y="1204034"/>
                </a:lnTo>
                <a:lnTo>
                  <a:pt x="994907" y="1203487"/>
                </a:lnTo>
                <a:cubicBezTo>
                  <a:pt x="996729" y="1205309"/>
                  <a:pt x="996729" y="1207132"/>
                  <a:pt x="994907" y="1208954"/>
                </a:cubicBezTo>
                <a:lnTo>
                  <a:pt x="995727" y="1204034"/>
                </a:lnTo>
                <a:lnTo>
                  <a:pt x="996957" y="1204854"/>
                </a:lnTo>
                <a:cubicBezTo>
                  <a:pt x="997641" y="1205765"/>
                  <a:pt x="998552" y="1206221"/>
                  <a:pt x="1000374" y="1203487"/>
                </a:cubicBezTo>
                <a:cubicBezTo>
                  <a:pt x="996729" y="1203487"/>
                  <a:pt x="998552" y="1199843"/>
                  <a:pt x="996729" y="1198021"/>
                </a:cubicBezTo>
                <a:close/>
                <a:moveTo>
                  <a:pt x="940242" y="1198021"/>
                </a:moveTo>
                <a:lnTo>
                  <a:pt x="936646" y="1200418"/>
                </a:lnTo>
                <a:lnTo>
                  <a:pt x="936598" y="1199843"/>
                </a:lnTo>
                <a:cubicBezTo>
                  <a:pt x="934777" y="1199843"/>
                  <a:pt x="934777" y="1201665"/>
                  <a:pt x="934777" y="1201665"/>
                </a:cubicBezTo>
                <a:lnTo>
                  <a:pt x="936646" y="1200418"/>
                </a:lnTo>
                <a:lnTo>
                  <a:pt x="936826" y="1202576"/>
                </a:lnTo>
                <a:cubicBezTo>
                  <a:pt x="936598" y="1203487"/>
                  <a:pt x="936598" y="1204398"/>
                  <a:pt x="938420" y="1205309"/>
                </a:cubicBezTo>
                <a:cubicBezTo>
                  <a:pt x="938420" y="1203487"/>
                  <a:pt x="940242" y="1201665"/>
                  <a:pt x="940242" y="1198021"/>
                </a:cubicBezTo>
                <a:close/>
                <a:moveTo>
                  <a:pt x="513853" y="1198021"/>
                </a:moveTo>
                <a:cubicBezTo>
                  <a:pt x="522964" y="1214420"/>
                  <a:pt x="541186" y="1210776"/>
                  <a:pt x="550297" y="1205309"/>
                </a:cubicBezTo>
                <a:cubicBezTo>
                  <a:pt x="544830" y="1201665"/>
                  <a:pt x="537542" y="1210776"/>
                  <a:pt x="533897" y="1205309"/>
                </a:cubicBezTo>
                <a:cubicBezTo>
                  <a:pt x="537542" y="1207132"/>
                  <a:pt x="541186" y="1205309"/>
                  <a:pt x="543008" y="1203487"/>
                </a:cubicBezTo>
                <a:cubicBezTo>
                  <a:pt x="535719" y="1201665"/>
                  <a:pt x="522964" y="1196199"/>
                  <a:pt x="513853" y="1198021"/>
                </a:cubicBezTo>
                <a:close/>
                <a:moveTo>
                  <a:pt x="417278" y="1198021"/>
                </a:moveTo>
                <a:cubicBezTo>
                  <a:pt x="419100" y="1199843"/>
                  <a:pt x="419100" y="1199843"/>
                  <a:pt x="420923" y="1199843"/>
                </a:cubicBezTo>
                <a:cubicBezTo>
                  <a:pt x="422745" y="1199843"/>
                  <a:pt x="419100" y="1196199"/>
                  <a:pt x="417278" y="1198021"/>
                </a:cubicBezTo>
                <a:close/>
                <a:moveTo>
                  <a:pt x="488542" y="1197558"/>
                </a:moveTo>
                <a:lnTo>
                  <a:pt x="488570" y="1197565"/>
                </a:lnTo>
                <a:cubicBezTo>
                  <a:pt x="488798" y="1199387"/>
                  <a:pt x="488343" y="1201665"/>
                  <a:pt x="490165" y="1201665"/>
                </a:cubicBezTo>
                <a:cubicBezTo>
                  <a:pt x="490165" y="1200754"/>
                  <a:pt x="489254" y="1199387"/>
                  <a:pt x="488571" y="1198021"/>
                </a:cubicBezTo>
                <a:close/>
                <a:moveTo>
                  <a:pt x="170602" y="1197338"/>
                </a:moveTo>
                <a:lnTo>
                  <a:pt x="170857" y="1197378"/>
                </a:lnTo>
                <a:lnTo>
                  <a:pt x="167640" y="1198021"/>
                </a:lnTo>
                <a:cubicBezTo>
                  <a:pt x="168551" y="1198932"/>
                  <a:pt x="169463" y="1198021"/>
                  <a:pt x="170602" y="1197338"/>
                </a:cubicBezTo>
                <a:close/>
                <a:moveTo>
                  <a:pt x="3236181" y="1196199"/>
                </a:moveTo>
                <a:cubicBezTo>
                  <a:pt x="3234359" y="1196199"/>
                  <a:pt x="3234359" y="1198021"/>
                  <a:pt x="3232537" y="1198021"/>
                </a:cubicBezTo>
                <a:cubicBezTo>
                  <a:pt x="3232537" y="1201665"/>
                  <a:pt x="3234359" y="1201665"/>
                  <a:pt x="3238003" y="1201665"/>
                </a:cubicBezTo>
                <a:cubicBezTo>
                  <a:pt x="3238003" y="1198021"/>
                  <a:pt x="3236181" y="1198021"/>
                  <a:pt x="3236181" y="1196199"/>
                </a:cubicBezTo>
                <a:close/>
                <a:moveTo>
                  <a:pt x="3194271" y="1196199"/>
                </a:moveTo>
                <a:cubicBezTo>
                  <a:pt x="3197916" y="1198021"/>
                  <a:pt x="3192449" y="1207132"/>
                  <a:pt x="3201560" y="1207132"/>
                </a:cubicBezTo>
                <a:cubicBezTo>
                  <a:pt x="3201560" y="1201665"/>
                  <a:pt x="3197916" y="1199843"/>
                  <a:pt x="3199738" y="1196199"/>
                </a:cubicBezTo>
                <a:cubicBezTo>
                  <a:pt x="3197916" y="1196199"/>
                  <a:pt x="3196093" y="1196199"/>
                  <a:pt x="3194271" y="1196199"/>
                </a:cubicBezTo>
                <a:close/>
                <a:moveTo>
                  <a:pt x="2416203" y="1196199"/>
                </a:moveTo>
                <a:cubicBezTo>
                  <a:pt x="2412559" y="1198021"/>
                  <a:pt x="2416203" y="1201665"/>
                  <a:pt x="2414381" y="1205309"/>
                </a:cubicBezTo>
                <a:cubicBezTo>
                  <a:pt x="2421669" y="1203487"/>
                  <a:pt x="2419847" y="1196199"/>
                  <a:pt x="2416203" y="1196199"/>
                </a:cubicBezTo>
                <a:close/>
                <a:moveTo>
                  <a:pt x="2368827" y="1196199"/>
                </a:moveTo>
                <a:cubicBezTo>
                  <a:pt x="2367004" y="1198021"/>
                  <a:pt x="2367004" y="1199843"/>
                  <a:pt x="2365182" y="1199843"/>
                </a:cubicBezTo>
                <a:cubicBezTo>
                  <a:pt x="2363360" y="1205309"/>
                  <a:pt x="2365182" y="1210776"/>
                  <a:pt x="2367004" y="1216242"/>
                </a:cubicBezTo>
                <a:cubicBezTo>
                  <a:pt x="2374293" y="1214420"/>
                  <a:pt x="2372471" y="1207132"/>
                  <a:pt x="2374293" y="1201665"/>
                </a:cubicBezTo>
                <a:cubicBezTo>
                  <a:pt x="2372471" y="1199843"/>
                  <a:pt x="2368827" y="1199843"/>
                  <a:pt x="2368827" y="1196199"/>
                </a:cubicBezTo>
                <a:close/>
                <a:moveTo>
                  <a:pt x="2053590" y="1196199"/>
                </a:moveTo>
                <a:cubicBezTo>
                  <a:pt x="2051768" y="1198021"/>
                  <a:pt x="2049946" y="1198021"/>
                  <a:pt x="2046302" y="1198021"/>
                </a:cubicBezTo>
                <a:cubicBezTo>
                  <a:pt x="2051768" y="1198021"/>
                  <a:pt x="2046302" y="1203487"/>
                  <a:pt x="2051768" y="1203487"/>
                </a:cubicBezTo>
                <a:cubicBezTo>
                  <a:pt x="2053590" y="1199843"/>
                  <a:pt x="2053590" y="1198021"/>
                  <a:pt x="2053590" y="1196199"/>
                </a:cubicBezTo>
                <a:close/>
                <a:moveTo>
                  <a:pt x="1346587" y="1196199"/>
                </a:moveTo>
                <a:cubicBezTo>
                  <a:pt x="1348410" y="1196199"/>
                  <a:pt x="1350231" y="1194376"/>
                  <a:pt x="1353876" y="1196199"/>
                </a:cubicBezTo>
                <a:cubicBezTo>
                  <a:pt x="1352053" y="1196199"/>
                  <a:pt x="1348410" y="1199843"/>
                  <a:pt x="1346587" y="1196199"/>
                </a:cubicBezTo>
                <a:close/>
                <a:moveTo>
                  <a:pt x="1341120" y="1196199"/>
                </a:moveTo>
                <a:cubicBezTo>
                  <a:pt x="1341120" y="1199843"/>
                  <a:pt x="1335654" y="1198021"/>
                  <a:pt x="1332009" y="1201665"/>
                </a:cubicBezTo>
                <a:lnTo>
                  <a:pt x="1339298" y="1199843"/>
                </a:lnTo>
                <a:lnTo>
                  <a:pt x="1339298" y="1199843"/>
                </a:lnTo>
                <a:lnTo>
                  <a:pt x="1337704" y="1201665"/>
                </a:lnTo>
                <a:cubicBezTo>
                  <a:pt x="1336565" y="1202121"/>
                  <a:pt x="1335654" y="1202576"/>
                  <a:pt x="1337476" y="1203487"/>
                </a:cubicBezTo>
                <a:lnTo>
                  <a:pt x="1339298" y="1199843"/>
                </a:lnTo>
                <a:lnTo>
                  <a:pt x="1339299" y="1199843"/>
                </a:lnTo>
                <a:lnTo>
                  <a:pt x="1339298" y="1199843"/>
                </a:lnTo>
                <a:close/>
                <a:moveTo>
                  <a:pt x="1089660" y="1196199"/>
                </a:moveTo>
                <a:cubicBezTo>
                  <a:pt x="1086016" y="1203487"/>
                  <a:pt x="1089660" y="1212598"/>
                  <a:pt x="1086016" y="1216242"/>
                </a:cubicBezTo>
                <a:cubicBezTo>
                  <a:pt x="1089660" y="1218065"/>
                  <a:pt x="1089660" y="1223531"/>
                  <a:pt x="1095127" y="1223531"/>
                </a:cubicBezTo>
                <a:cubicBezTo>
                  <a:pt x="1095127" y="1214420"/>
                  <a:pt x="1091484" y="1205309"/>
                  <a:pt x="1089660" y="1196199"/>
                </a:cubicBezTo>
                <a:close/>
                <a:moveTo>
                  <a:pt x="1036818" y="1196199"/>
                </a:moveTo>
                <a:cubicBezTo>
                  <a:pt x="1036818" y="1199843"/>
                  <a:pt x="1034995" y="1203487"/>
                  <a:pt x="1034995" y="1207132"/>
                </a:cubicBezTo>
                <a:cubicBezTo>
                  <a:pt x="1038639" y="1208954"/>
                  <a:pt x="1042284" y="1210776"/>
                  <a:pt x="1045929" y="1210776"/>
                </a:cubicBezTo>
                <a:cubicBezTo>
                  <a:pt x="1044106" y="1205309"/>
                  <a:pt x="1038639" y="1199843"/>
                  <a:pt x="1036818" y="1196199"/>
                </a:cubicBezTo>
                <a:close/>
                <a:moveTo>
                  <a:pt x="829089" y="1196199"/>
                </a:moveTo>
                <a:cubicBezTo>
                  <a:pt x="830912" y="1201665"/>
                  <a:pt x="829089" y="1207132"/>
                  <a:pt x="836378" y="1203487"/>
                </a:cubicBezTo>
                <a:cubicBezTo>
                  <a:pt x="838200" y="1198021"/>
                  <a:pt x="832734" y="1196199"/>
                  <a:pt x="829089" y="1196199"/>
                </a:cubicBezTo>
                <a:close/>
                <a:moveTo>
                  <a:pt x="437322" y="1196199"/>
                </a:moveTo>
                <a:cubicBezTo>
                  <a:pt x="430034" y="1192554"/>
                  <a:pt x="424567" y="1198021"/>
                  <a:pt x="426389" y="1203487"/>
                </a:cubicBezTo>
                <a:cubicBezTo>
                  <a:pt x="431856" y="1205309"/>
                  <a:pt x="433678" y="1199843"/>
                  <a:pt x="437322" y="1196199"/>
                </a:cubicBezTo>
                <a:close/>
                <a:moveTo>
                  <a:pt x="307948" y="1196199"/>
                </a:moveTo>
                <a:cubicBezTo>
                  <a:pt x="306126" y="1196199"/>
                  <a:pt x="304303" y="1196199"/>
                  <a:pt x="302481" y="1198021"/>
                </a:cubicBezTo>
                <a:cubicBezTo>
                  <a:pt x="306126" y="1199843"/>
                  <a:pt x="307948" y="1199843"/>
                  <a:pt x="311592" y="1199843"/>
                </a:cubicBezTo>
                <a:cubicBezTo>
                  <a:pt x="309771" y="1198021"/>
                  <a:pt x="309771" y="1198021"/>
                  <a:pt x="307948" y="1196199"/>
                </a:cubicBezTo>
                <a:close/>
                <a:moveTo>
                  <a:pt x="1420840" y="1194832"/>
                </a:moveTo>
                <a:cubicBezTo>
                  <a:pt x="1419474" y="1195288"/>
                  <a:pt x="1417651" y="1196199"/>
                  <a:pt x="1415829" y="1196199"/>
                </a:cubicBezTo>
                <a:cubicBezTo>
                  <a:pt x="1417652" y="1198021"/>
                  <a:pt x="1415829" y="1198021"/>
                  <a:pt x="1417652" y="1199843"/>
                </a:cubicBezTo>
                <a:cubicBezTo>
                  <a:pt x="1419474" y="1196199"/>
                  <a:pt x="1419474" y="1196199"/>
                  <a:pt x="1423118" y="1196199"/>
                </a:cubicBezTo>
                <a:cubicBezTo>
                  <a:pt x="1423118" y="1194376"/>
                  <a:pt x="1422208" y="1194376"/>
                  <a:pt x="1420840" y="1194832"/>
                </a:cubicBezTo>
                <a:close/>
                <a:moveTo>
                  <a:pt x="998552" y="1194376"/>
                </a:moveTo>
                <a:cubicBezTo>
                  <a:pt x="998552" y="1194376"/>
                  <a:pt x="996729" y="1196199"/>
                  <a:pt x="996729" y="1196199"/>
                </a:cubicBezTo>
                <a:cubicBezTo>
                  <a:pt x="996729" y="1198021"/>
                  <a:pt x="998552" y="1199843"/>
                  <a:pt x="998552" y="1199843"/>
                </a:cubicBezTo>
                <a:cubicBezTo>
                  <a:pt x="1002196" y="1198021"/>
                  <a:pt x="1000374" y="1194376"/>
                  <a:pt x="998552" y="1194376"/>
                </a:cubicBezTo>
                <a:close/>
                <a:moveTo>
                  <a:pt x="931131" y="1194376"/>
                </a:moveTo>
                <a:cubicBezTo>
                  <a:pt x="931131" y="1194376"/>
                  <a:pt x="929309" y="1196199"/>
                  <a:pt x="929309" y="1196199"/>
                </a:cubicBezTo>
                <a:cubicBezTo>
                  <a:pt x="929309" y="1198021"/>
                  <a:pt x="932953" y="1194376"/>
                  <a:pt x="931131" y="1194376"/>
                </a:cubicBezTo>
                <a:close/>
                <a:moveTo>
                  <a:pt x="794468" y="1194376"/>
                </a:moveTo>
                <a:cubicBezTo>
                  <a:pt x="794468" y="1201665"/>
                  <a:pt x="801757" y="1212598"/>
                  <a:pt x="809046" y="1212598"/>
                </a:cubicBezTo>
                <a:cubicBezTo>
                  <a:pt x="807223" y="1214420"/>
                  <a:pt x="810868" y="1218065"/>
                  <a:pt x="812690" y="1216242"/>
                </a:cubicBezTo>
                <a:cubicBezTo>
                  <a:pt x="810868" y="1212598"/>
                  <a:pt x="810868" y="1214420"/>
                  <a:pt x="809046" y="1212598"/>
                </a:cubicBezTo>
                <a:cubicBezTo>
                  <a:pt x="810868" y="1203487"/>
                  <a:pt x="799935" y="1199843"/>
                  <a:pt x="794468" y="1194376"/>
                </a:cubicBezTo>
                <a:close/>
                <a:moveTo>
                  <a:pt x="508387" y="1194376"/>
                </a:moveTo>
                <a:cubicBezTo>
                  <a:pt x="491987" y="1194376"/>
                  <a:pt x="510209" y="1208954"/>
                  <a:pt x="519320" y="1207132"/>
                </a:cubicBezTo>
                <a:cubicBezTo>
                  <a:pt x="521142" y="1203487"/>
                  <a:pt x="512031" y="1198021"/>
                  <a:pt x="508387" y="1194376"/>
                </a:cubicBezTo>
                <a:close/>
                <a:moveTo>
                  <a:pt x="488343" y="1194376"/>
                </a:moveTo>
                <a:lnTo>
                  <a:pt x="488542" y="1197558"/>
                </a:lnTo>
                <a:lnTo>
                  <a:pt x="482876" y="1196199"/>
                </a:lnTo>
                <a:lnTo>
                  <a:pt x="484987" y="1200642"/>
                </a:lnTo>
                <a:lnTo>
                  <a:pt x="481054" y="1198021"/>
                </a:lnTo>
                <a:cubicBezTo>
                  <a:pt x="480143" y="1198021"/>
                  <a:pt x="480598" y="1199387"/>
                  <a:pt x="481737" y="1200526"/>
                </a:cubicBezTo>
                <a:lnTo>
                  <a:pt x="484236" y="1201121"/>
                </a:lnTo>
                <a:lnTo>
                  <a:pt x="481054" y="1202576"/>
                </a:lnTo>
                <a:cubicBezTo>
                  <a:pt x="477410" y="1203487"/>
                  <a:pt x="472854" y="1204399"/>
                  <a:pt x="473766" y="1208954"/>
                </a:cubicBezTo>
                <a:cubicBezTo>
                  <a:pt x="475589" y="1210776"/>
                  <a:pt x="477410" y="1210776"/>
                  <a:pt x="479232" y="1210776"/>
                </a:cubicBezTo>
                <a:cubicBezTo>
                  <a:pt x="475589" y="1210776"/>
                  <a:pt x="473766" y="1214420"/>
                  <a:pt x="479232" y="1216242"/>
                </a:cubicBezTo>
                <a:cubicBezTo>
                  <a:pt x="491987" y="1218065"/>
                  <a:pt x="501098" y="1212598"/>
                  <a:pt x="499276" y="1201665"/>
                </a:cubicBezTo>
                <a:cubicBezTo>
                  <a:pt x="501098" y="1201665"/>
                  <a:pt x="497454" y="1192554"/>
                  <a:pt x="488343" y="1194376"/>
                </a:cubicBezTo>
                <a:close/>
                <a:moveTo>
                  <a:pt x="468299" y="1194376"/>
                </a:moveTo>
                <a:cubicBezTo>
                  <a:pt x="464655" y="1198021"/>
                  <a:pt x="462832" y="1201665"/>
                  <a:pt x="468299" y="1205309"/>
                </a:cubicBezTo>
                <a:cubicBezTo>
                  <a:pt x="471943" y="1205309"/>
                  <a:pt x="473766" y="1201665"/>
                  <a:pt x="473766" y="1199843"/>
                </a:cubicBezTo>
                <a:cubicBezTo>
                  <a:pt x="471943" y="1198021"/>
                  <a:pt x="470121" y="1196199"/>
                  <a:pt x="468299" y="1194376"/>
                </a:cubicBezTo>
                <a:close/>
                <a:moveTo>
                  <a:pt x="1288547" y="1193948"/>
                </a:moveTo>
                <a:lnTo>
                  <a:pt x="1289188" y="1194376"/>
                </a:lnTo>
                <a:cubicBezTo>
                  <a:pt x="1290100" y="1195743"/>
                  <a:pt x="1291011" y="1197110"/>
                  <a:pt x="1291922" y="1196199"/>
                </a:cubicBezTo>
                <a:cubicBezTo>
                  <a:pt x="1291922" y="1194376"/>
                  <a:pt x="1290100" y="1196199"/>
                  <a:pt x="1288277" y="1194376"/>
                </a:cubicBezTo>
                <a:close/>
                <a:moveTo>
                  <a:pt x="412723" y="1193921"/>
                </a:moveTo>
                <a:cubicBezTo>
                  <a:pt x="411812" y="1193921"/>
                  <a:pt x="410901" y="1194376"/>
                  <a:pt x="409989" y="1194376"/>
                </a:cubicBezTo>
                <a:cubicBezTo>
                  <a:pt x="409989" y="1196199"/>
                  <a:pt x="415456" y="1198021"/>
                  <a:pt x="415456" y="1196199"/>
                </a:cubicBezTo>
                <a:cubicBezTo>
                  <a:pt x="414545" y="1194377"/>
                  <a:pt x="413634" y="1193921"/>
                  <a:pt x="412723" y="1193921"/>
                </a:cubicBezTo>
                <a:close/>
                <a:moveTo>
                  <a:pt x="2118148" y="1193205"/>
                </a:moveTo>
                <a:lnTo>
                  <a:pt x="2122833" y="1194376"/>
                </a:lnTo>
                <a:cubicBezTo>
                  <a:pt x="2119189" y="1196199"/>
                  <a:pt x="2122833" y="1199843"/>
                  <a:pt x="2121011" y="1199843"/>
                </a:cubicBezTo>
                <a:cubicBezTo>
                  <a:pt x="2117367" y="1200754"/>
                  <a:pt x="2116911" y="1198932"/>
                  <a:pt x="2117367" y="1196426"/>
                </a:cubicBezTo>
                <a:close/>
                <a:moveTo>
                  <a:pt x="2979255" y="1192554"/>
                </a:moveTo>
                <a:cubicBezTo>
                  <a:pt x="2981077" y="1196199"/>
                  <a:pt x="2979255" y="1196199"/>
                  <a:pt x="2975610" y="1196199"/>
                </a:cubicBezTo>
                <a:cubicBezTo>
                  <a:pt x="2975610" y="1198021"/>
                  <a:pt x="2977432" y="1198021"/>
                  <a:pt x="2977432" y="1198021"/>
                </a:cubicBezTo>
                <a:cubicBezTo>
                  <a:pt x="2977432" y="1198021"/>
                  <a:pt x="2977432" y="1199843"/>
                  <a:pt x="2977432" y="1199843"/>
                </a:cubicBezTo>
                <a:cubicBezTo>
                  <a:pt x="2984721" y="1192554"/>
                  <a:pt x="2981077" y="1205309"/>
                  <a:pt x="2984721" y="1210776"/>
                </a:cubicBezTo>
                <a:cubicBezTo>
                  <a:pt x="2986543" y="1210776"/>
                  <a:pt x="2986543" y="1207132"/>
                  <a:pt x="2986543" y="1205309"/>
                </a:cubicBezTo>
                <a:cubicBezTo>
                  <a:pt x="2992010" y="1205309"/>
                  <a:pt x="2988366" y="1212598"/>
                  <a:pt x="2993832" y="1210776"/>
                </a:cubicBezTo>
                <a:cubicBezTo>
                  <a:pt x="2993832" y="1205309"/>
                  <a:pt x="2995654" y="1205309"/>
                  <a:pt x="2995654" y="1201665"/>
                </a:cubicBezTo>
                <a:cubicBezTo>
                  <a:pt x="2999299" y="1201665"/>
                  <a:pt x="2997477" y="1205309"/>
                  <a:pt x="3001121" y="1203487"/>
                </a:cubicBezTo>
                <a:cubicBezTo>
                  <a:pt x="2999299" y="1196199"/>
                  <a:pt x="2993832" y="1199843"/>
                  <a:pt x="2988366" y="1198021"/>
                </a:cubicBezTo>
                <a:cubicBezTo>
                  <a:pt x="2986543" y="1194376"/>
                  <a:pt x="2986543" y="1188910"/>
                  <a:pt x="2979255" y="1192554"/>
                </a:cubicBezTo>
                <a:close/>
                <a:moveTo>
                  <a:pt x="2463580" y="1192554"/>
                </a:moveTo>
                <a:cubicBezTo>
                  <a:pt x="2461757" y="1198021"/>
                  <a:pt x="2461757" y="1203487"/>
                  <a:pt x="2458113" y="1207132"/>
                </a:cubicBezTo>
                <a:cubicBezTo>
                  <a:pt x="2458113" y="1210776"/>
                  <a:pt x="2465402" y="1207132"/>
                  <a:pt x="2467224" y="1208954"/>
                </a:cubicBezTo>
                <a:cubicBezTo>
                  <a:pt x="2467224" y="1205309"/>
                  <a:pt x="2459935" y="1208954"/>
                  <a:pt x="2461757" y="1201665"/>
                </a:cubicBezTo>
                <a:cubicBezTo>
                  <a:pt x="2461757" y="1199843"/>
                  <a:pt x="2465402" y="1198021"/>
                  <a:pt x="2469046" y="1198021"/>
                </a:cubicBezTo>
                <a:cubicBezTo>
                  <a:pt x="2469046" y="1196199"/>
                  <a:pt x="2469046" y="1196199"/>
                  <a:pt x="2469046" y="1196199"/>
                </a:cubicBezTo>
                <a:cubicBezTo>
                  <a:pt x="2467224" y="1194376"/>
                  <a:pt x="2465402" y="1194376"/>
                  <a:pt x="2463580" y="1192554"/>
                </a:cubicBezTo>
                <a:close/>
                <a:moveTo>
                  <a:pt x="2397981" y="1192554"/>
                </a:moveTo>
                <a:cubicBezTo>
                  <a:pt x="2396159" y="1198021"/>
                  <a:pt x="2390693" y="1201665"/>
                  <a:pt x="2387048" y="1196199"/>
                </a:cubicBezTo>
                <a:cubicBezTo>
                  <a:pt x="2385226" y="1203487"/>
                  <a:pt x="2381582" y="1201665"/>
                  <a:pt x="2376115" y="1198021"/>
                </a:cubicBezTo>
                <a:cubicBezTo>
                  <a:pt x="2376115" y="1199843"/>
                  <a:pt x="2376115" y="1205309"/>
                  <a:pt x="2376115" y="1207132"/>
                </a:cubicBezTo>
                <a:cubicBezTo>
                  <a:pt x="2377937" y="1207132"/>
                  <a:pt x="2377937" y="1205309"/>
                  <a:pt x="2379760" y="1205309"/>
                </a:cubicBezTo>
                <a:cubicBezTo>
                  <a:pt x="2381582" y="1207132"/>
                  <a:pt x="2381582" y="1207132"/>
                  <a:pt x="2381582" y="1208954"/>
                </a:cubicBezTo>
                <a:cubicBezTo>
                  <a:pt x="2387048" y="1203487"/>
                  <a:pt x="2394337" y="1203487"/>
                  <a:pt x="2399803" y="1198021"/>
                </a:cubicBezTo>
                <a:cubicBezTo>
                  <a:pt x="2399803" y="1194376"/>
                  <a:pt x="2399803" y="1194376"/>
                  <a:pt x="2397981" y="1192554"/>
                </a:cubicBezTo>
                <a:close/>
                <a:moveTo>
                  <a:pt x="1351370" y="1192554"/>
                </a:moveTo>
                <a:cubicBezTo>
                  <a:pt x="1349320" y="1192554"/>
                  <a:pt x="1347498" y="1193465"/>
                  <a:pt x="1346587" y="1196199"/>
                </a:cubicBezTo>
                <a:cubicBezTo>
                  <a:pt x="1342942" y="1198021"/>
                  <a:pt x="1342942" y="1201665"/>
                  <a:pt x="1344765" y="1207132"/>
                </a:cubicBezTo>
                <a:cubicBezTo>
                  <a:pt x="1346587" y="1208954"/>
                  <a:pt x="1350231" y="1207132"/>
                  <a:pt x="1350231" y="1205309"/>
                </a:cubicBezTo>
                <a:cubicBezTo>
                  <a:pt x="1353876" y="1207132"/>
                  <a:pt x="1362987" y="1203487"/>
                  <a:pt x="1362987" y="1198021"/>
                </a:cubicBezTo>
                <a:cubicBezTo>
                  <a:pt x="1364809" y="1196199"/>
                  <a:pt x="1364809" y="1199843"/>
                  <a:pt x="1364809" y="1201665"/>
                </a:cubicBezTo>
                <a:cubicBezTo>
                  <a:pt x="1366632" y="1203487"/>
                  <a:pt x="1366632" y="1199843"/>
                  <a:pt x="1366632" y="1198021"/>
                </a:cubicBezTo>
                <a:cubicBezTo>
                  <a:pt x="1362987" y="1194376"/>
                  <a:pt x="1359342" y="1194376"/>
                  <a:pt x="1355698" y="1196199"/>
                </a:cubicBezTo>
                <a:cubicBezTo>
                  <a:pt x="1353876" y="1194376"/>
                  <a:pt x="1357521" y="1196199"/>
                  <a:pt x="1357521" y="1194376"/>
                </a:cubicBezTo>
                <a:cubicBezTo>
                  <a:pt x="1355698" y="1193465"/>
                  <a:pt x="1353420" y="1192554"/>
                  <a:pt x="1351370" y="1192554"/>
                </a:cubicBezTo>
                <a:close/>
                <a:moveTo>
                  <a:pt x="1282811" y="1192554"/>
                </a:moveTo>
                <a:lnTo>
                  <a:pt x="1282626" y="1193727"/>
                </a:lnTo>
                <a:lnTo>
                  <a:pt x="1282360" y="1192798"/>
                </a:lnTo>
                <a:close/>
                <a:moveTo>
                  <a:pt x="916555" y="1192554"/>
                </a:moveTo>
                <a:cubicBezTo>
                  <a:pt x="912909" y="1194376"/>
                  <a:pt x="912909" y="1196199"/>
                  <a:pt x="912909" y="1198021"/>
                </a:cubicBezTo>
                <a:cubicBezTo>
                  <a:pt x="914732" y="1199843"/>
                  <a:pt x="916555" y="1194376"/>
                  <a:pt x="916555" y="1192554"/>
                </a:cubicBezTo>
                <a:close/>
                <a:moveTo>
                  <a:pt x="891043" y="1192554"/>
                </a:moveTo>
                <a:cubicBezTo>
                  <a:pt x="881933" y="1192554"/>
                  <a:pt x="887399" y="1203487"/>
                  <a:pt x="894688" y="1199843"/>
                </a:cubicBezTo>
                <a:cubicBezTo>
                  <a:pt x="894688" y="1198021"/>
                  <a:pt x="892866" y="1194376"/>
                  <a:pt x="891043" y="1192554"/>
                </a:cubicBezTo>
                <a:close/>
                <a:moveTo>
                  <a:pt x="856422" y="1192554"/>
                </a:moveTo>
                <a:cubicBezTo>
                  <a:pt x="854600" y="1196199"/>
                  <a:pt x="854600" y="1201665"/>
                  <a:pt x="860066" y="1201665"/>
                </a:cubicBezTo>
                <a:cubicBezTo>
                  <a:pt x="860066" y="1201665"/>
                  <a:pt x="861889" y="1199843"/>
                  <a:pt x="863711" y="1199843"/>
                </a:cubicBezTo>
                <a:cubicBezTo>
                  <a:pt x="860066" y="1196199"/>
                  <a:pt x="858244" y="1194376"/>
                  <a:pt x="856422" y="1192554"/>
                </a:cubicBezTo>
                <a:close/>
                <a:moveTo>
                  <a:pt x="818156" y="1192554"/>
                </a:moveTo>
                <a:lnTo>
                  <a:pt x="818156" y="1201893"/>
                </a:lnTo>
                <a:cubicBezTo>
                  <a:pt x="820890" y="1206676"/>
                  <a:pt x="825445" y="1210776"/>
                  <a:pt x="829089" y="1212598"/>
                </a:cubicBezTo>
                <a:cubicBezTo>
                  <a:pt x="830000" y="1208953"/>
                  <a:pt x="829545" y="1205309"/>
                  <a:pt x="827723" y="1201893"/>
                </a:cubicBezTo>
                <a:close/>
                <a:moveTo>
                  <a:pt x="380835" y="1192554"/>
                </a:moveTo>
                <a:cubicBezTo>
                  <a:pt x="382657" y="1194376"/>
                  <a:pt x="384479" y="1198021"/>
                  <a:pt x="386301" y="1192554"/>
                </a:cubicBezTo>
                <a:cubicBezTo>
                  <a:pt x="384479" y="1190732"/>
                  <a:pt x="382657" y="1190732"/>
                  <a:pt x="380835" y="1192554"/>
                </a:cubicBezTo>
                <a:close/>
                <a:moveTo>
                  <a:pt x="284259" y="1192554"/>
                </a:moveTo>
                <a:cubicBezTo>
                  <a:pt x="282438" y="1192554"/>
                  <a:pt x="280615" y="1192554"/>
                  <a:pt x="280615" y="1194376"/>
                </a:cubicBezTo>
                <a:cubicBezTo>
                  <a:pt x="282438" y="1198021"/>
                  <a:pt x="287904" y="1196199"/>
                  <a:pt x="284259" y="1192554"/>
                </a:cubicBezTo>
                <a:close/>
                <a:moveTo>
                  <a:pt x="1188438" y="1191650"/>
                </a:moveTo>
                <a:lnTo>
                  <a:pt x="1188513" y="1192554"/>
                </a:lnTo>
                <a:lnTo>
                  <a:pt x="1188251" y="1193184"/>
                </a:lnTo>
                <a:lnTo>
                  <a:pt x="1188285" y="1192326"/>
                </a:lnTo>
                <a:close/>
                <a:moveTo>
                  <a:pt x="1138859" y="1191415"/>
                </a:moveTo>
                <a:cubicBezTo>
                  <a:pt x="1137949" y="1190732"/>
                  <a:pt x="1137037" y="1190732"/>
                  <a:pt x="1137037" y="1192554"/>
                </a:cubicBezTo>
                <a:cubicBezTo>
                  <a:pt x="1138859" y="1194376"/>
                  <a:pt x="1138859" y="1192554"/>
                  <a:pt x="1140681" y="1194376"/>
                </a:cubicBezTo>
                <a:cubicBezTo>
                  <a:pt x="1140681" y="1193465"/>
                  <a:pt x="1139770" y="1192098"/>
                  <a:pt x="1138859" y="1191415"/>
                </a:cubicBezTo>
                <a:close/>
                <a:moveTo>
                  <a:pt x="1153664" y="1190960"/>
                </a:moveTo>
                <a:cubicBezTo>
                  <a:pt x="1150703" y="1190276"/>
                  <a:pt x="1147060" y="1190732"/>
                  <a:pt x="1144326" y="1192554"/>
                </a:cubicBezTo>
                <a:cubicBezTo>
                  <a:pt x="1147970" y="1196199"/>
                  <a:pt x="1155259" y="1196199"/>
                  <a:pt x="1158903" y="1196199"/>
                </a:cubicBezTo>
                <a:cubicBezTo>
                  <a:pt x="1158903" y="1193465"/>
                  <a:pt x="1156625" y="1191643"/>
                  <a:pt x="1153664" y="1190960"/>
                </a:cubicBezTo>
                <a:close/>
                <a:moveTo>
                  <a:pt x="3374666" y="1190732"/>
                </a:moveTo>
                <a:cubicBezTo>
                  <a:pt x="3374666" y="1194376"/>
                  <a:pt x="3371022" y="1196199"/>
                  <a:pt x="3371022" y="1201665"/>
                </a:cubicBezTo>
                <a:lnTo>
                  <a:pt x="3368627" y="1200068"/>
                </a:lnTo>
                <a:lnTo>
                  <a:pt x="3370111" y="1196654"/>
                </a:lnTo>
                <a:lnTo>
                  <a:pt x="3369318" y="1195011"/>
                </a:lnTo>
                <a:close/>
                <a:moveTo>
                  <a:pt x="3181516" y="1190732"/>
                </a:moveTo>
                <a:cubicBezTo>
                  <a:pt x="3181516" y="1194376"/>
                  <a:pt x="3181516" y="1196199"/>
                  <a:pt x="3183338" y="1198021"/>
                </a:cubicBezTo>
                <a:cubicBezTo>
                  <a:pt x="3183338" y="1196199"/>
                  <a:pt x="3186982" y="1196199"/>
                  <a:pt x="3186982" y="1192554"/>
                </a:cubicBezTo>
                <a:cubicBezTo>
                  <a:pt x="3185160" y="1192554"/>
                  <a:pt x="3183338" y="1192554"/>
                  <a:pt x="3181516" y="1190732"/>
                </a:cubicBezTo>
                <a:close/>
                <a:moveTo>
                  <a:pt x="1368453" y="1190732"/>
                </a:moveTo>
                <a:cubicBezTo>
                  <a:pt x="1366632" y="1194376"/>
                  <a:pt x="1364809" y="1192554"/>
                  <a:pt x="1362987" y="1194376"/>
                </a:cubicBezTo>
                <a:cubicBezTo>
                  <a:pt x="1364809" y="1196199"/>
                  <a:pt x="1364809" y="1194376"/>
                  <a:pt x="1364809" y="1196199"/>
                </a:cubicBezTo>
                <a:cubicBezTo>
                  <a:pt x="1368453" y="1194376"/>
                  <a:pt x="1370275" y="1192554"/>
                  <a:pt x="1368453" y="1190732"/>
                </a:cubicBezTo>
                <a:close/>
                <a:moveTo>
                  <a:pt x="1129748" y="1190732"/>
                </a:moveTo>
                <a:cubicBezTo>
                  <a:pt x="1131570" y="1192554"/>
                  <a:pt x="1137037" y="1194376"/>
                  <a:pt x="1137037" y="1190732"/>
                </a:cubicBezTo>
                <a:cubicBezTo>
                  <a:pt x="1133393" y="1188910"/>
                  <a:pt x="1131570" y="1190732"/>
                  <a:pt x="1129748" y="1190732"/>
                </a:cubicBezTo>
                <a:close/>
                <a:moveTo>
                  <a:pt x="1049573" y="1190732"/>
                </a:moveTo>
                <a:cubicBezTo>
                  <a:pt x="1045929" y="1190732"/>
                  <a:pt x="1042284" y="1192554"/>
                  <a:pt x="1038639" y="1192554"/>
                </a:cubicBezTo>
                <a:cubicBezTo>
                  <a:pt x="1038639" y="1198021"/>
                  <a:pt x="1045929" y="1207132"/>
                  <a:pt x="1049573" y="1210776"/>
                </a:cubicBezTo>
                <a:cubicBezTo>
                  <a:pt x="1051395" y="1210776"/>
                  <a:pt x="1053217" y="1207132"/>
                  <a:pt x="1055040" y="1203487"/>
                </a:cubicBezTo>
                <a:cubicBezTo>
                  <a:pt x="1055040" y="1199843"/>
                  <a:pt x="1051395" y="1194376"/>
                  <a:pt x="1049573" y="1190732"/>
                </a:cubicBezTo>
                <a:close/>
                <a:moveTo>
                  <a:pt x="850956" y="1190732"/>
                </a:moveTo>
                <a:cubicBezTo>
                  <a:pt x="845489" y="1207132"/>
                  <a:pt x="850956" y="1199843"/>
                  <a:pt x="854600" y="1198021"/>
                </a:cubicBezTo>
                <a:cubicBezTo>
                  <a:pt x="854600" y="1196199"/>
                  <a:pt x="854600" y="1194376"/>
                  <a:pt x="854600" y="1192554"/>
                </a:cubicBezTo>
                <a:cubicBezTo>
                  <a:pt x="854600" y="1190732"/>
                  <a:pt x="852778" y="1194376"/>
                  <a:pt x="850956" y="1190732"/>
                </a:cubicBezTo>
                <a:close/>
                <a:moveTo>
                  <a:pt x="799935" y="1190732"/>
                </a:moveTo>
                <a:cubicBezTo>
                  <a:pt x="799935" y="1194376"/>
                  <a:pt x="807223" y="1203487"/>
                  <a:pt x="809046" y="1198021"/>
                </a:cubicBezTo>
                <a:cubicBezTo>
                  <a:pt x="805401" y="1192554"/>
                  <a:pt x="803579" y="1194376"/>
                  <a:pt x="799935" y="1190732"/>
                </a:cubicBezTo>
                <a:close/>
                <a:moveTo>
                  <a:pt x="395412" y="1190732"/>
                </a:moveTo>
                <a:cubicBezTo>
                  <a:pt x="393590" y="1192554"/>
                  <a:pt x="399056" y="1194376"/>
                  <a:pt x="400879" y="1196199"/>
                </a:cubicBezTo>
                <a:cubicBezTo>
                  <a:pt x="400879" y="1194376"/>
                  <a:pt x="400879" y="1194376"/>
                  <a:pt x="402701" y="1192554"/>
                </a:cubicBezTo>
                <a:cubicBezTo>
                  <a:pt x="400879" y="1188910"/>
                  <a:pt x="399056" y="1194376"/>
                  <a:pt x="395412" y="1190732"/>
                </a:cubicBezTo>
                <a:close/>
                <a:moveTo>
                  <a:pt x="331636" y="1190732"/>
                </a:moveTo>
                <a:cubicBezTo>
                  <a:pt x="329814" y="1190732"/>
                  <a:pt x="327993" y="1190732"/>
                  <a:pt x="327993" y="1192554"/>
                </a:cubicBezTo>
                <a:cubicBezTo>
                  <a:pt x="329814" y="1194376"/>
                  <a:pt x="335280" y="1192554"/>
                  <a:pt x="331636" y="1190732"/>
                </a:cubicBezTo>
                <a:close/>
                <a:moveTo>
                  <a:pt x="2118866" y="1190244"/>
                </a:moveTo>
                <a:lnTo>
                  <a:pt x="2118148" y="1193205"/>
                </a:lnTo>
                <a:lnTo>
                  <a:pt x="2115544" y="1192554"/>
                </a:lnTo>
                <a:close/>
                <a:moveTo>
                  <a:pt x="1214753" y="1189815"/>
                </a:moveTo>
                <a:lnTo>
                  <a:pt x="1217213" y="1190732"/>
                </a:lnTo>
                <a:lnTo>
                  <a:pt x="1216808" y="1191542"/>
                </a:lnTo>
                <a:lnTo>
                  <a:pt x="1213568" y="1190732"/>
                </a:lnTo>
                <a:close/>
                <a:moveTo>
                  <a:pt x="3243470" y="1188910"/>
                </a:moveTo>
                <a:cubicBezTo>
                  <a:pt x="3243470" y="1194376"/>
                  <a:pt x="3247114" y="1192554"/>
                  <a:pt x="3247114" y="1196199"/>
                </a:cubicBezTo>
                <a:cubicBezTo>
                  <a:pt x="3252581" y="1194376"/>
                  <a:pt x="3247114" y="1185266"/>
                  <a:pt x="3243470" y="1188910"/>
                </a:cubicBezTo>
                <a:close/>
                <a:moveTo>
                  <a:pt x="3168761" y="1188910"/>
                </a:moveTo>
                <a:cubicBezTo>
                  <a:pt x="3168761" y="1190732"/>
                  <a:pt x="3168761" y="1192554"/>
                  <a:pt x="3166939" y="1192554"/>
                </a:cubicBezTo>
                <a:cubicBezTo>
                  <a:pt x="3168761" y="1199843"/>
                  <a:pt x="3170583" y="1201665"/>
                  <a:pt x="3177872" y="1199843"/>
                </a:cubicBezTo>
                <a:cubicBezTo>
                  <a:pt x="3179694" y="1194376"/>
                  <a:pt x="3179694" y="1194376"/>
                  <a:pt x="3179694" y="1188910"/>
                </a:cubicBezTo>
                <a:cubicBezTo>
                  <a:pt x="3174227" y="1188910"/>
                  <a:pt x="3172405" y="1187088"/>
                  <a:pt x="3168761" y="1188910"/>
                </a:cubicBezTo>
                <a:close/>
                <a:moveTo>
                  <a:pt x="2615428" y="1188910"/>
                </a:moveTo>
                <a:lnTo>
                  <a:pt x="2616642" y="1188910"/>
                </a:lnTo>
                <a:cubicBezTo>
                  <a:pt x="2617553" y="1189821"/>
                  <a:pt x="2617098" y="1190732"/>
                  <a:pt x="2616642" y="1192098"/>
                </a:cubicBezTo>
                <a:lnTo>
                  <a:pt x="2616642" y="1192554"/>
                </a:lnTo>
                <a:close/>
                <a:moveTo>
                  <a:pt x="1162547" y="1188910"/>
                </a:moveTo>
                <a:cubicBezTo>
                  <a:pt x="1158903" y="1190732"/>
                  <a:pt x="1158903" y="1194376"/>
                  <a:pt x="1160725" y="1196199"/>
                </a:cubicBezTo>
                <a:cubicBezTo>
                  <a:pt x="1164370" y="1196199"/>
                  <a:pt x="1166192" y="1196199"/>
                  <a:pt x="1169836" y="1194376"/>
                </a:cubicBezTo>
                <a:cubicBezTo>
                  <a:pt x="1168014" y="1192554"/>
                  <a:pt x="1164370" y="1188910"/>
                  <a:pt x="1162547" y="1188910"/>
                </a:cubicBezTo>
                <a:close/>
                <a:moveTo>
                  <a:pt x="909265" y="1188910"/>
                </a:moveTo>
                <a:cubicBezTo>
                  <a:pt x="905621" y="1190732"/>
                  <a:pt x="900154" y="1190732"/>
                  <a:pt x="905621" y="1196199"/>
                </a:cubicBezTo>
                <a:cubicBezTo>
                  <a:pt x="907444" y="1194376"/>
                  <a:pt x="909265" y="1192554"/>
                  <a:pt x="909265" y="1188910"/>
                </a:cubicBezTo>
                <a:close/>
                <a:moveTo>
                  <a:pt x="819979" y="1188910"/>
                </a:moveTo>
                <a:cubicBezTo>
                  <a:pt x="827267" y="1187088"/>
                  <a:pt x="827267" y="1199843"/>
                  <a:pt x="832734" y="1194376"/>
                </a:cubicBezTo>
                <a:cubicBezTo>
                  <a:pt x="836378" y="1190732"/>
                  <a:pt x="832734" y="1190732"/>
                  <a:pt x="832734" y="1188910"/>
                </a:cubicBezTo>
                <a:cubicBezTo>
                  <a:pt x="829089" y="1190732"/>
                  <a:pt x="825445" y="1187088"/>
                  <a:pt x="819979" y="1188910"/>
                </a:cubicBezTo>
                <a:close/>
                <a:moveTo>
                  <a:pt x="768959" y="1188910"/>
                </a:moveTo>
                <a:cubicBezTo>
                  <a:pt x="768959" y="1188910"/>
                  <a:pt x="754380" y="1203487"/>
                  <a:pt x="772602" y="1190732"/>
                </a:cubicBezTo>
                <a:cubicBezTo>
                  <a:pt x="770781" y="1188910"/>
                  <a:pt x="768959" y="1190732"/>
                  <a:pt x="768959" y="1188910"/>
                </a:cubicBezTo>
                <a:close/>
                <a:moveTo>
                  <a:pt x="324347" y="1188910"/>
                </a:moveTo>
                <a:cubicBezTo>
                  <a:pt x="317059" y="1185266"/>
                  <a:pt x="313414" y="1192554"/>
                  <a:pt x="309771" y="1192554"/>
                </a:cubicBezTo>
                <a:cubicBezTo>
                  <a:pt x="317059" y="1207132"/>
                  <a:pt x="337102" y="1201665"/>
                  <a:pt x="348037" y="1198021"/>
                </a:cubicBezTo>
                <a:cubicBezTo>
                  <a:pt x="338926" y="1192554"/>
                  <a:pt x="327993" y="1190732"/>
                  <a:pt x="318882" y="1196199"/>
                </a:cubicBezTo>
                <a:cubicBezTo>
                  <a:pt x="318882" y="1192554"/>
                  <a:pt x="322525" y="1190732"/>
                  <a:pt x="324347" y="1188910"/>
                </a:cubicBezTo>
                <a:close/>
                <a:moveTo>
                  <a:pt x="302481" y="1188910"/>
                </a:moveTo>
                <a:cubicBezTo>
                  <a:pt x="306126" y="1192554"/>
                  <a:pt x="307948" y="1187088"/>
                  <a:pt x="309771" y="1188910"/>
                </a:cubicBezTo>
                <a:cubicBezTo>
                  <a:pt x="307948" y="1188910"/>
                  <a:pt x="306126" y="1188910"/>
                  <a:pt x="302481" y="1188910"/>
                </a:cubicBezTo>
                <a:close/>
                <a:moveTo>
                  <a:pt x="163996" y="1188910"/>
                </a:moveTo>
                <a:lnTo>
                  <a:pt x="164710" y="1189318"/>
                </a:lnTo>
                <a:lnTo>
                  <a:pt x="163996" y="1189342"/>
                </a:lnTo>
                <a:close/>
                <a:moveTo>
                  <a:pt x="1776619" y="1187113"/>
                </a:moveTo>
                <a:cubicBezTo>
                  <a:pt x="1780265" y="1190759"/>
                  <a:pt x="1789374" y="1187113"/>
                  <a:pt x="1789374" y="1194403"/>
                </a:cubicBezTo>
                <a:cubicBezTo>
                  <a:pt x="1789374" y="1194403"/>
                  <a:pt x="1783908" y="1194403"/>
                  <a:pt x="1783908" y="1196225"/>
                </a:cubicBezTo>
                <a:cubicBezTo>
                  <a:pt x="1783908" y="1199869"/>
                  <a:pt x="1786186" y="1203058"/>
                  <a:pt x="1788236" y="1206475"/>
                </a:cubicBezTo>
                <a:lnTo>
                  <a:pt x="1788956" y="1209303"/>
                </a:lnTo>
                <a:lnTo>
                  <a:pt x="1783908" y="1205336"/>
                </a:lnTo>
                <a:close/>
                <a:moveTo>
                  <a:pt x="3156006" y="1187088"/>
                </a:moveTo>
                <a:cubicBezTo>
                  <a:pt x="3150539" y="1188910"/>
                  <a:pt x="3148717" y="1192554"/>
                  <a:pt x="3148717" y="1198021"/>
                </a:cubicBezTo>
                <a:cubicBezTo>
                  <a:pt x="3159650" y="1199843"/>
                  <a:pt x="3148717" y="1190732"/>
                  <a:pt x="3156006" y="1190732"/>
                </a:cubicBezTo>
                <a:cubicBezTo>
                  <a:pt x="3156006" y="1188910"/>
                  <a:pt x="3156006" y="1188910"/>
                  <a:pt x="3156006" y="1187088"/>
                </a:cubicBezTo>
                <a:close/>
                <a:moveTo>
                  <a:pt x="2740550" y="1187088"/>
                </a:moveTo>
                <a:cubicBezTo>
                  <a:pt x="2733261" y="1188910"/>
                  <a:pt x="2747839" y="1199843"/>
                  <a:pt x="2747839" y="1190732"/>
                </a:cubicBezTo>
                <a:cubicBezTo>
                  <a:pt x="2746016" y="1190732"/>
                  <a:pt x="2744194" y="1190732"/>
                  <a:pt x="2742372" y="1190732"/>
                </a:cubicBezTo>
                <a:cubicBezTo>
                  <a:pt x="2742372" y="1188910"/>
                  <a:pt x="2740550" y="1188910"/>
                  <a:pt x="2740550" y="1187088"/>
                </a:cubicBezTo>
                <a:close/>
                <a:moveTo>
                  <a:pt x="2715040" y="1187088"/>
                </a:moveTo>
                <a:cubicBezTo>
                  <a:pt x="2711395" y="1190732"/>
                  <a:pt x="2716862" y="1199843"/>
                  <a:pt x="2718684" y="1201665"/>
                </a:cubicBezTo>
                <a:cubicBezTo>
                  <a:pt x="2718684" y="1198021"/>
                  <a:pt x="2716862" y="1192554"/>
                  <a:pt x="2715040" y="1187088"/>
                </a:cubicBezTo>
                <a:close/>
                <a:moveTo>
                  <a:pt x="2680418" y="1187088"/>
                </a:moveTo>
                <a:cubicBezTo>
                  <a:pt x="2676774" y="1196199"/>
                  <a:pt x="2674952" y="1205309"/>
                  <a:pt x="2687707" y="1205309"/>
                </a:cubicBezTo>
                <a:cubicBezTo>
                  <a:pt x="2685885" y="1201665"/>
                  <a:pt x="2682240" y="1199843"/>
                  <a:pt x="2682240" y="1196199"/>
                </a:cubicBezTo>
                <a:cubicBezTo>
                  <a:pt x="2684063" y="1196199"/>
                  <a:pt x="2684063" y="1194376"/>
                  <a:pt x="2684063" y="1192554"/>
                </a:cubicBezTo>
                <a:cubicBezTo>
                  <a:pt x="2687707" y="1196199"/>
                  <a:pt x="2685885" y="1203487"/>
                  <a:pt x="2691351" y="1203487"/>
                </a:cubicBezTo>
                <a:cubicBezTo>
                  <a:pt x="2689529" y="1199843"/>
                  <a:pt x="2682240" y="1194376"/>
                  <a:pt x="2689529" y="1192554"/>
                </a:cubicBezTo>
                <a:cubicBezTo>
                  <a:pt x="2685885" y="1190732"/>
                  <a:pt x="2684063" y="1188910"/>
                  <a:pt x="2680418" y="1187088"/>
                </a:cubicBezTo>
                <a:close/>
                <a:moveTo>
                  <a:pt x="2432603" y="1187088"/>
                </a:moveTo>
                <a:cubicBezTo>
                  <a:pt x="2428958" y="1188910"/>
                  <a:pt x="2427136" y="1190732"/>
                  <a:pt x="2421669" y="1192554"/>
                </a:cubicBezTo>
                <a:cubicBezTo>
                  <a:pt x="2423492" y="1194376"/>
                  <a:pt x="2423492" y="1196199"/>
                  <a:pt x="2425314" y="1198021"/>
                </a:cubicBezTo>
                <a:cubicBezTo>
                  <a:pt x="2428958" y="1196199"/>
                  <a:pt x="2432603" y="1192554"/>
                  <a:pt x="2432603" y="1187088"/>
                </a:cubicBezTo>
                <a:close/>
                <a:moveTo>
                  <a:pt x="1058683" y="1187088"/>
                </a:moveTo>
                <a:cubicBezTo>
                  <a:pt x="1060506" y="1192554"/>
                  <a:pt x="1058683" y="1201665"/>
                  <a:pt x="1067794" y="1205309"/>
                </a:cubicBezTo>
                <a:cubicBezTo>
                  <a:pt x="1067794" y="1199843"/>
                  <a:pt x="1060506" y="1192554"/>
                  <a:pt x="1058683" y="1187088"/>
                </a:cubicBezTo>
                <a:close/>
                <a:moveTo>
                  <a:pt x="878029" y="1187088"/>
                </a:moveTo>
                <a:lnTo>
                  <a:pt x="878288" y="1187088"/>
                </a:lnTo>
                <a:lnTo>
                  <a:pt x="878288" y="1188910"/>
                </a:lnTo>
                <a:close/>
                <a:moveTo>
                  <a:pt x="493809" y="1187088"/>
                </a:moveTo>
                <a:cubicBezTo>
                  <a:pt x="493809" y="1190732"/>
                  <a:pt x="502920" y="1192554"/>
                  <a:pt x="502920" y="1188910"/>
                </a:cubicBezTo>
                <a:cubicBezTo>
                  <a:pt x="499276" y="1187088"/>
                  <a:pt x="497454" y="1188910"/>
                  <a:pt x="493809" y="1187088"/>
                </a:cubicBezTo>
                <a:close/>
                <a:moveTo>
                  <a:pt x="297015" y="1187088"/>
                </a:moveTo>
                <a:cubicBezTo>
                  <a:pt x="297015" y="1188910"/>
                  <a:pt x="295193" y="1190732"/>
                  <a:pt x="291549" y="1190732"/>
                </a:cubicBezTo>
                <a:cubicBezTo>
                  <a:pt x="295193" y="1190732"/>
                  <a:pt x="300660" y="1198021"/>
                  <a:pt x="306126" y="1192554"/>
                </a:cubicBezTo>
                <a:cubicBezTo>
                  <a:pt x="302481" y="1190732"/>
                  <a:pt x="298837" y="1188910"/>
                  <a:pt x="297015" y="1187088"/>
                </a:cubicBezTo>
                <a:close/>
                <a:moveTo>
                  <a:pt x="245994" y="1187088"/>
                </a:moveTo>
                <a:cubicBezTo>
                  <a:pt x="242349" y="1196199"/>
                  <a:pt x="247816" y="1188910"/>
                  <a:pt x="249638" y="1190732"/>
                </a:cubicBezTo>
                <a:cubicBezTo>
                  <a:pt x="247816" y="1187088"/>
                  <a:pt x="247816" y="1188910"/>
                  <a:pt x="245994" y="1187088"/>
                </a:cubicBezTo>
                <a:close/>
                <a:moveTo>
                  <a:pt x="202262" y="1187088"/>
                </a:moveTo>
                <a:cubicBezTo>
                  <a:pt x="204084" y="1188910"/>
                  <a:pt x="213195" y="1198021"/>
                  <a:pt x="205906" y="1187088"/>
                </a:cubicBezTo>
                <a:cubicBezTo>
                  <a:pt x="204084" y="1185266"/>
                  <a:pt x="204084" y="1187088"/>
                  <a:pt x="202262" y="1187088"/>
                </a:cubicBezTo>
                <a:close/>
                <a:moveTo>
                  <a:pt x="191329" y="1187088"/>
                </a:moveTo>
                <a:cubicBezTo>
                  <a:pt x="193151" y="1196199"/>
                  <a:pt x="204084" y="1198021"/>
                  <a:pt x="205906" y="1192554"/>
                </a:cubicBezTo>
                <a:cubicBezTo>
                  <a:pt x="200439" y="1188910"/>
                  <a:pt x="196795" y="1188910"/>
                  <a:pt x="191329" y="1187088"/>
                </a:cubicBezTo>
                <a:close/>
                <a:moveTo>
                  <a:pt x="2097551" y="1186860"/>
                </a:moveTo>
                <a:cubicBezTo>
                  <a:pt x="2094590" y="1186633"/>
                  <a:pt x="2091856" y="1187088"/>
                  <a:pt x="2090034" y="1188910"/>
                </a:cubicBezTo>
                <a:cubicBezTo>
                  <a:pt x="2088212" y="1188910"/>
                  <a:pt x="2088212" y="1190732"/>
                  <a:pt x="2086390" y="1190732"/>
                </a:cubicBezTo>
                <a:lnTo>
                  <a:pt x="2106433" y="1203487"/>
                </a:lnTo>
                <a:cubicBezTo>
                  <a:pt x="2104611" y="1208954"/>
                  <a:pt x="2102790" y="1214420"/>
                  <a:pt x="2102790" y="1218065"/>
                </a:cubicBezTo>
                <a:cubicBezTo>
                  <a:pt x="2108256" y="1219887"/>
                  <a:pt x="2113722" y="1219887"/>
                  <a:pt x="2117366" y="1218065"/>
                </a:cubicBezTo>
                <a:lnTo>
                  <a:pt x="2126477" y="1196199"/>
                </a:lnTo>
                <a:cubicBezTo>
                  <a:pt x="2124655" y="1196199"/>
                  <a:pt x="2124655" y="1198021"/>
                  <a:pt x="2124655" y="1198021"/>
                </a:cubicBezTo>
                <a:cubicBezTo>
                  <a:pt x="2124655" y="1196199"/>
                  <a:pt x="2122833" y="1196199"/>
                  <a:pt x="2122833" y="1194376"/>
                </a:cubicBezTo>
                <a:lnTo>
                  <a:pt x="2124655" y="1190732"/>
                </a:lnTo>
                <a:cubicBezTo>
                  <a:pt x="2123744" y="1189821"/>
                  <a:pt x="2122378" y="1188910"/>
                  <a:pt x="2120783" y="1188910"/>
                </a:cubicBezTo>
                <a:lnTo>
                  <a:pt x="2118866" y="1190244"/>
                </a:lnTo>
                <a:lnTo>
                  <a:pt x="2119189" y="1188910"/>
                </a:lnTo>
                <a:cubicBezTo>
                  <a:pt x="2117366" y="1188910"/>
                  <a:pt x="2113722" y="1188910"/>
                  <a:pt x="2113722" y="1190732"/>
                </a:cubicBezTo>
                <a:cubicBezTo>
                  <a:pt x="2113722" y="1192554"/>
                  <a:pt x="2113722" y="1194376"/>
                  <a:pt x="2115544" y="1196199"/>
                </a:cubicBezTo>
                <a:cubicBezTo>
                  <a:pt x="2111900" y="1190732"/>
                  <a:pt x="2108256" y="1198021"/>
                  <a:pt x="2104611" y="1194376"/>
                </a:cubicBezTo>
                <a:cubicBezTo>
                  <a:pt x="2100967" y="1190732"/>
                  <a:pt x="2110078" y="1190732"/>
                  <a:pt x="2106433" y="1188910"/>
                </a:cubicBezTo>
                <a:cubicBezTo>
                  <a:pt x="2103700" y="1187999"/>
                  <a:pt x="2100512" y="1187088"/>
                  <a:pt x="2097551" y="1186860"/>
                </a:cubicBezTo>
                <a:close/>
                <a:moveTo>
                  <a:pt x="1989342" y="1186261"/>
                </a:moveTo>
                <a:lnTo>
                  <a:pt x="1987478" y="1189290"/>
                </a:lnTo>
                <a:lnTo>
                  <a:pt x="1988220" y="1186405"/>
                </a:lnTo>
                <a:close/>
                <a:moveTo>
                  <a:pt x="1402117" y="1185448"/>
                </a:moveTo>
                <a:lnTo>
                  <a:pt x="1397089" y="1188071"/>
                </a:lnTo>
                <a:lnTo>
                  <a:pt x="1400113" y="1186176"/>
                </a:lnTo>
                <a:close/>
                <a:moveTo>
                  <a:pt x="3186982" y="1185266"/>
                </a:moveTo>
                <a:cubicBezTo>
                  <a:pt x="3183338" y="1185266"/>
                  <a:pt x="3181516" y="1185266"/>
                  <a:pt x="3179694" y="1187088"/>
                </a:cubicBezTo>
                <a:cubicBezTo>
                  <a:pt x="3179694" y="1190732"/>
                  <a:pt x="3183338" y="1188910"/>
                  <a:pt x="3188805" y="1188910"/>
                </a:cubicBezTo>
                <a:cubicBezTo>
                  <a:pt x="3186982" y="1188910"/>
                  <a:pt x="3186982" y="1187088"/>
                  <a:pt x="3186982" y="1185266"/>
                </a:cubicBezTo>
                <a:close/>
                <a:moveTo>
                  <a:pt x="2971966" y="1185266"/>
                </a:moveTo>
                <a:cubicBezTo>
                  <a:pt x="2968322" y="1181621"/>
                  <a:pt x="2968322" y="1192554"/>
                  <a:pt x="2971966" y="1192554"/>
                </a:cubicBezTo>
                <a:cubicBezTo>
                  <a:pt x="2971966" y="1188910"/>
                  <a:pt x="2971966" y="1187088"/>
                  <a:pt x="2971966" y="1185266"/>
                </a:cubicBezTo>
                <a:close/>
                <a:moveTo>
                  <a:pt x="2944634" y="1185266"/>
                </a:moveTo>
                <a:cubicBezTo>
                  <a:pt x="2940989" y="1192554"/>
                  <a:pt x="2944634" y="1201665"/>
                  <a:pt x="2939167" y="1203487"/>
                </a:cubicBezTo>
                <a:cubicBezTo>
                  <a:pt x="2940989" y="1208954"/>
                  <a:pt x="2942811" y="1212598"/>
                  <a:pt x="2944634" y="1218065"/>
                </a:cubicBezTo>
                <a:cubicBezTo>
                  <a:pt x="2933700" y="1230820"/>
                  <a:pt x="2926412" y="1247219"/>
                  <a:pt x="2917301" y="1261797"/>
                </a:cubicBezTo>
                <a:cubicBezTo>
                  <a:pt x="2930056" y="1263619"/>
                  <a:pt x="2948278" y="1247219"/>
                  <a:pt x="2959211" y="1259975"/>
                </a:cubicBezTo>
                <a:cubicBezTo>
                  <a:pt x="2964677" y="1258152"/>
                  <a:pt x="2968322" y="1256330"/>
                  <a:pt x="2970144" y="1252686"/>
                </a:cubicBezTo>
                <a:cubicBezTo>
                  <a:pt x="2971966" y="1252686"/>
                  <a:pt x="2970144" y="1254508"/>
                  <a:pt x="2970144" y="1256330"/>
                </a:cubicBezTo>
                <a:cubicBezTo>
                  <a:pt x="2975611" y="1256330"/>
                  <a:pt x="2977888" y="1254508"/>
                  <a:pt x="2979939" y="1252914"/>
                </a:cubicBezTo>
                <a:lnTo>
                  <a:pt x="2981142" y="1252621"/>
                </a:lnTo>
                <a:lnTo>
                  <a:pt x="2979255" y="1254508"/>
                </a:lnTo>
                <a:cubicBezTo>
                  <a:pt x="2982899" y="1250864"/>
                  <a:pt x="2988366" y="1256330"/>
                  <a:pt x="2992010" y="1256330"/>
                </a:cubicBezTo>
                <a:cubicBezTo>
                  <a:pt x="2993832" y="1254508"/>
                  <a:pt x="2993832" y="1252686"/>
                  <a:pt x="2993832" y="1249042"/>
                </a:cubicBezTo>
                <a:cubicBezTo>
                  <a:pt x="2995655" y="1251775"/>
                  <a:pt x="2997477" y="1251775"/>
                  <a:pt x="2999299" y="1250864"/>
                </a:cubicBezTo>
                <a:cubicBezTo>
                  <a:pt x="3002943" y="1250864"/>
                  <a:pt x="3008410" y="1249042"/>
                  <a:pt x="3006587" y="1252686"/>
                </a:cubicBezTo>
                <a:cubicBezTo>
                  <a:pt x="3008410" y="1252686"/>
                  <a:pt x="3006587" y="1247219"/>
                  <a:pt x="3006587" y="1247219"/>
                </a:cubicBezTo>
                <a:lnTo>
                  <a:pt x="3003577" y="1248011"/>
                </a:lnTo>
                <a:lnTo>
                  <a:pt x="3004765" y="1247219"/>
                </a:lnTo>
                <a:cubicBezTo>
                  <a:pt x="3004765" y="1243575"/>
                  <a:pt x="2999299" y="1236286"/>
                  <a:pt x="3006587" y="1236286"/>
                </a:cubicBezTo>
                <a:cubicBezTo>
                  <a:pt x="3002943" y="1234464"/>
                  <a:pt x="3001121" y="1228998"/>
                  <a:pt x="2999299" y="1225353"/>
                </a:cubicBezTo>
                <a:cubicBezTo>
                  <a:pt x="2997477" y="1232642"/>
                  <a:pt x="2999299" y="1236286"/>
                  <a:pt x="2997477" y="1243575"/>
                </a:cubicBezTo>
                <a:cubicBezTo>
                  <a:pt x="2993832" y="1243575"/>
                  <a:pt x="2995654" y="1238108"/>
                  <a:pt x="2992010" y="1241753"/>
                </a:cubicBezTo>
                <a:cubicBezTo>
                  <a:pt x="2993832" y="1232642"/>
                  <a:pt x="2992010" y="1230820"/>
                  <a:pt x="2990188" y="1223531"/>
                </a:cubicBezTo>
                <a:cubicBezTo>
                  <a:pt x="2988366" y="1223531"/>
                  <a:pt x="2986543" y="1223531"/>
                  <a:pt x="2986543" y="1227175"/>
                </a:cubicBezTo>
                <a:cubicBezTo>
                  <a:pt x="2984721" y="1227175"/>
                  <a:pt x="2984721" y="1223531"/>
                  <a:pt x="2984721" y="1221709"/>
                </a:cubicBezTo>
                <a:cubicBezTo>
                  <a:pt x="2981077" y="1221709"/>
                  <a:pt x="2979255" y="1225353"/>
                  <a:pt x="2979255" y="1228998"/>
                </a:cubicBezTo>
                <a:cubicBezTo>
                  <a:pt x="2975610" y="1227175"/>
                  <a:pt x="2971966" y="1225353"/>
                  <a:pt x="2966500" y="1227175"/>
                </a:cubicBezTo>
                <a:cubicBezTo>
                  <a:pt x="2966500" y="1230820"/>
                  <a:pt x="2970144" y="1232642"/>
                  <a:pt x="2966500" y="1234464"/>
                </a:cubicBezTo>
                <a:cubicBezTo>
                  <a:pt x="2962855" y="1230820"/>
                  <a:pt x="2968322" y="1225353"/>
                  <a:pt x="2966500" y="1219887"/>
                </a:cubicBezTo>
                <a:cubicBezTo>
                  <a:pt x="2961033" y="1223531"/>
                  <a:pt x="2961033" y="1218065"/>
                  <a:pt x="2962855" y="1212598"/>
                </a:cubicBezTo>
                <a:cubicBezTo>
                  <a:pt x="2966500" y="1212598"/>
                  <a:pt x="2968322" y="1214420"/>
                  <a:pt x="2970144" y="1212598"/>
                </a:cubicBezTo>
                <a:cubicBezTo>
                  <a:pt x="2971966" y="1208954"/>
                  <a:pt x="2968322" y="1208954"/>
                  <a:pt x="2968322" y="1207132"/>
                </a:cubicBezTo>
                <a:cubicBezTo>
                  <a:pt x="2968322" y="1210776"/>
                  <a:pt x="2964677" y="1207132"/>
                  <a:pt x="2966500" y="1205309"/>
                </a:cubicBezTo>
                <a:cubicBezTo>
                  <a:pt x="2966500" y="1203487"/>
                  <a:pt x="2959211" y="1207132"/>
                  <a:pt x="2961033" y="1199843"/>
                </a:cubicBezTo>
                <a:cubicBezTo>
                  <a:pt x="2955566" y="1199843"/>
                  <a:pt x="2955566" y="1196199"/>
                  <a:pt x="2950100" y="1196199"/>
                </a:cubicBezTo>
                <a:cubicBezTo>
                  <a:pt x="2950100" y="1194376"/>
                  <a:pt x="2951922" y="1192554"/>
                  <a:pt x="2951922" y="1190732"/>
                </a:cubicBezTo>
                <a:cubicBezTo>
                  <a:pt x="2953744" y="1190732"/>
                  <a:pt x="2953744" y="1192554"/>
                  <a:pt x="2955566" y="1192554"/>
                </a:cubicBezTo>
                <a:cubicBezTo>
                  <a:pt x="2953744" y="1188910"/>
                  <a:pt x="2950100" y="1185266"/>
                  <a:pt x="2944634" y="1185266"/>
                </a:cubicBezTo>
                <a:close/>
                <a:moveTo>
                  <a:pt x="488343" y="1185266"/>
                </a:moveTo>
                <a:cubicBezTo>
                  <a:pt x="482876" y="1187088"/>
                  <a:pt x="488343" y="1188910"/>
                  <a:pt x="490165" y="1188910"/>
                </a:cubicBezTo>
                <a:cubicBezTo>
                  <a:pt x="491987" y="1188910"/>
                  <a:pt x="490165" y="1187088"/>
                  <a:pt x="488343" y="1185266"/>
                </a:cubicBezTo>
                <a:close/>
                <a:moveTo>
                  <a:pt x="266038" y="1185266"/>
                </a:moveTo>
                <a:cubicBezTo>
                  <a:pt x="267860" y="1190732"/>
                  <a:pt x="276971" y="1190732"/>
                  <a:pt x="278793" y="1188910"/>
                </a:cubicBezTo>
                <a:cubicBezTo>
                  <a:pt x="273327" y="1185266"/>
                  <a:pt x="271504" y="1188910"/>
                  <a:pt x="266038" y="1185266"/>
                </a:cubicBezTo>
                <a:close/>
                <a:moveTo>
                  <a:pt x="3303602" y="1183443"/>
                </a:moveTo>
                <a:cubicBezTo>
                  <a:pt x="3301780" y="1185266"/>
                  <a:pt x="3299957" y="1187088"/>
                  <a:pt x="3298135" y="1188910"/>
                </a:cubicBezTo>
                <a:cubicBezTo>
                  <a:pt x="3294491" y="1190732"/>
                  <a:pt x="3303602" y="1188910"/>
                  <a:pt x="3305424" y="1187088"/>
                </a:cubicBezTo>
                <a:cubicBezTo>
                  <a:pt x="3305424" y="1185266"/>
                  <a:pt x="3303602" y="1185266"/>
                  <a:pt x="3303602" y="1183443"/>
                </a:cubicBezTo>
                <a:close/>
                <a:moveTo>
                  <a:pt x="2931878" y="1183443"/>
                </a:moveTo>
                <a:cubicBezTo>
                  <a:pt x="2922767" y="1185266"/>
                  <a:pt x="2935523" y="1192554"/>
                  <a:pt x="2937345" y="1198021"/>
                </a:cubicBezTo>
                <a:cubicBezTo>
                  <a:pt x="2940989" y="1192554"/>
                  <a:pt x="2931878" y="1188910"/>
                  <a:pt x="2931878" y="1183443"/>
                </a:cubicBezTo>
                <a:close/>
                <a:moveTo>
                  <a:pt x="1373920" y="1183443"/>
                </a:moveTo>
                <a:cubicBezTo>
                  <a:pt x="1366632" y="1185266"/>
                  <a:pt x="1361164" y="1185266"/>
                  <a:pt x="1355698" y="1188910"/>
                </a:cubicBezTo>
                <a:cubicBezTo>
                  <a:pt x="1357521" y="1190732"/>
                  <a:pt x="1359342" y="1192554"/>
                  <a:pt x="1361164" y="1192554"/>
                </a:cubicBezTo>
                <a:cubicBezTo>
                  <a:pt x="1362987" y="1188910"/>
                  <a:pt x="1372097" y="1192554"/>
                  <a:pt x="1372097" y="1187088"/>
                </a:cubicBezTo>
                <a:cubicBezTo>
                  <a:pt x="1372097" y="1187088"/>
                  <a:pt x="1373920" y="1187088"/>
                  <a:pt x="1373920" y="1187088"/>
                </a:cubicBezTo>
                <a:cubicBezTo>
                  <a:pt x="1375743" y="1187088"/>
                  <a:pt x="1375743" y="1185266"/>
                  <a:pt x="1373920" y="1183443"/>
                </a:cubicBezTo>
                <a:close/>
                <a:moveTo>
                  <a:pt x="1184414" y="1183443"/>
                </a:moveTo>
                <a:cubicBezTo>
                  <a:pt x="1182592" y="1181621"/>
                  <a:pt x="1182592" y="1187088"/>
                  <a:pt x="1180769" y="1185266"/>
                </a:cubicBezTo>
                <a:lnTo>
                  <a:pt x="1180769" y="1190732"/>
                </a:lnTo>
                <a:cubicBezTo>
                  <a:pt x="1178947" y="1188910"/>
                  <a:pt x="1177125" y="1187088"/>
                  <a:pt x="1175303" y="1188910"/>
                </a:cubicBezTo>
                <a:cubicBezTo>
                  <a:pt x="1175303" y="1190732"/>
                  <a:pt x="1180769" y="1194376"/>
                  <a:pt x="1180769" y="1190732"/>
                </a:cubicBezTo>
                <a:lnTo>
                  <a:pt x="1180769" y="1194376"/>
                </a:lnTo>
                <a:cubicBezTo>
                  <a:pt x="1180769" y="1194376"/>
                  <a:pt x="1182592" y="1196199"/>
                  <a:pt x="1182592" y="1196199"/>
                </a:cubicBezTo>
                <a:cubicBezTo>
                  <a:pt x="1184414" y="1194376"/>
                  <a:pt x="1182592" y="1192554"/>
                  <a:pt x="1184414" y="1188910"/>
                </a:cubicBezTo>
                <a:cubicBezTo>
                  <a:pt x="1186236" y="1192554"/>
                  <a:pt x="1182592" y="1196199"/>
                  <a:pt x="1186236" y="1198021"/>
                </a:cubicBezTo>
                <a:lnTo>
                  <a:pt x="1188251" y="1193184"/>
                </a:lnTo>
                <a:lnTo>
                  <a:pt x="1188058" y="1198021"/>
                </a:lnTo>
                <a:cubicBezTo>
                  <a:pt x="1191703" y="1199843"/>
                  <a:pt x="1195346" y="1201665"/>
                  <a:pt x="1198991" y="1199843"/>
                </a:cubicBezTo>
                <a:cubicBezTo>
                  <a:pt x="1197169" y="1198021"/>
                  <a:pt x="1197169" y="1190732"/>
                  <a:pt x="1191703" y="1192554"/>
                </a:cubicBezTo>
                <a:cubicBezTo>
                  <a:pt x="1191703" y="1192554"/>
                  <a:pt x="1193525" y="1190732"/>
                  <a:pt x="1193525" y="1190732"/>
                </a:cubicBezTo>
                <a:cubicBezTo>
                  <a:pt x="1191703" y="1188910"/>
                  <a:pt x="1193525" y="1187088"/>
                  <a:pt x="1191703" y="1185266"/>
                </a:cubicBezTo>
                <a:cubicBezTo>
                  <a:pt x="1191703" y="1185266"/>
                  <a:pt x="1189880" y="1185266"/>
                  <a:pt x="1189880" y="1185266"/>
                </a:cubicBezTo>
                <a:lnTo>
                  <a:pt x="1188438" y="1191650"/>
                </a:lnTo>
                <a:lnTo>
                  <a:pt x="1188058" y="1187088"/>
                </a:lnTo>
                <a:cubicBezTo>
                  <a:pt x="1188058" y="1187088"/>
                  <a:pt x="1186236" y="1187088"/>
                  <a:pt x="1184414" y="1188910"/>
                </a:cubicBezTo>
                <a:cubicBezTo>
                  <a:pt x="1182592" y="1187088"/>
                  <a:pt x="1182592" y="1183443"/>
                  <a:pt x="1184414" y="1183443"/>
                </a:cubicBezTo>
                <a:close/>
                <a:moveTo>
                  <a:pt x="1126104" y="1183443"/>
                </a:moveTo>
                <a:cubicBezTo>
                  <a:pt x="1126104" y="1185266"/>
                  <a:pt x="1126104" y="1187088"/>
                  <a:pt x="1127926" y="1187088"/>
                </a:cubicBezTo>
                <a:cubicBezTo>
                  <a:pt x="1127926" y="1187088"/>
                  <a:pt x="1129748" y="1187088"/>
                  <a:pt x="1131570" y="1185266"/>
                </a:cubicBezTo>
                <a:cubicBezTo>
                  <a:pt x="1129748" y="1185266"/>
                  <a:pt x="1127926" y="1185266"/>
                  <a:pt x="1126104" y="1183443"/>
                </a:cubicBezTo>
                <a:close/>
                <a:moveTo>
                  <a:pt x="1014951" y="1183443"/>
                </a:moveTo>
                <a:cubicBezTo>
                  <a:pt x="1013129" y="1183443"/>
                  <a:pt x="1013129" y="1185266"/>
                  <a:pt x="1011307" y="1185266"/>
                </a:cubicBezTo>
                <a:cubicBezTo>
                  <a:pt x="1011307" y="1187088"/>
                  <a:pt x="1013129" y="1185266"/>
                  <a:pt x="1013129" y="1187088"/>
                </a:cubicBezTo>
                <a:cubicBezTo>
                  <a:pt x="1007663" y="1190732"/>
                  <a:pt x="1007663" y="1196199"/>
                  <a:pt x="1014951" y="1201665"/>
                </a:cubicBezTo>
                <a:cubicBezTo>
                  <a:pt x="1020418" y="1199843"/>
                  <a:pt x="1016774" y="1194376"/>
                  <a:pt x="1020418" y="1194376"/>
                </a:cubicBezTo>
                <a:cubicBezTo>
                  <a:pt x="1020418" y="1198021"/>
                  <a:pt x="1018596" y="1199843"/>
                  <a:pt x="1016774" y="1201665"/>
                </a:cubicBezTo>
                <a:cubicBezTo>
                  <a:pt x="1020418" y="1203487"/>
                  <a:pt x="1025884" y="1205309"/>
                  <a:pt x="1029529" y="1207132"/>
                </a:cubicBezTo>
                <a:lnTo>
                  <a:pt x="1030027" y="1201665"/>
                </a:lnTo>
                <a:lnTo>
                  <a:pt x="1033173" y="1201665"/>
                </a:lnTo>
                <a:cubicBezTo>
                  <a:pt x="1034995" y="1199843"/>
                  <a:pt x="1033173" y="1198021"/>
                  <a:pt x="1034995" y="1196199"/>
                </a:cubicBezTo>
                <a:cubicBezTo>
                  <a:pt x="1031351" y="1194376"/>
                  <a:pt x="1029529" y="1192554"/>
                  <a:pt x="1027707" y="1192554"/>
                </a:cubicBezTo>
                <a:lnTo>
                  <a:pt x="1028468" y="1198646"/>
                </a:lnTo>
                <a:lnTo>
                  <a:pt x="1024062" y="1196199"/>
                </a:lnTo>
                <a:cubicBezTo>
                  <a:pt x="1022240" y="1196199"/>
                  <a:pt x="1022240" y="1194376"/>
                  <a:pt x="1022240" y="1194376"/>
                </a:cubicBezTo>
                <a:cubicBezTo>
                  <a:pt x="1024062" y="1194376"/>
                  <a:pt x="1025884" y="1194376"/>
                  <a:pt x="1027707" y="1196199"/>
                </a:cubicBezTo>
                <a:cubicBezTo>
                  <a:pt x="1029529" y="1188910"/>
                  <a:pt x="1018596" y="1190732"/>
                  <a:pt x="1014951" y="1183443"/>
                </a:cubicBezTo>
                <a:close/>
                <a:moveTo>
                  <a:pt x="696071" y="1183443"/>
                </a:moveTo>
                <a:cubicBezTo>
                  <a:pt x="686960" y="1192554"/>
                  <a:pt x="696071" y="1185266"/>
                  <a:pt x="697893" y="1187088"/>
                </a:cubicBezTo>
                <a:cubicBezTo>
                  <a:pt x="699715" y="1185266"/>
                  <a:pt x="696071" y="1185266"/>
                  <a:pt x="696071" y="1183443"/>
                </a:cubicBezTo>
                <a:close/>
                <a:moveTo>
                  <a:pt x="276971" y="1183443"/>
                </a:moveTo>
                <a:cubicBezTo>
                  <a:pt x="297015" y="1201665"/>
                  <a:pt x="278793" y="1183443"/>
                  <a:pt x="280615" y="1183443"/>
                </a:cubicBezTo>
                <a:cubicBezTo>
                  <a:pt x="278793" y="1183443"/>
                  <a:pt x="278793" y="1183443"/>
                  <a:pt x="276971" y="1183443"/>
                </a:cubicBezTo>
                <a:close/>
                <a:moveTo>
                  <a:pt x="205906" y="1183443"/>
                </a:moveTo>
                <a:cubicBezTo>
                  <a:pt x="209550" y="1188910"/>
                  <a:pt x="216839" y="1192554"/>
                  <a:pt x="218661" y="1190732"/>
                </a:cubicBezTo>
                <a:cubicBezTo>
                  <a:pt x="213195" y="1185266"/>
                  <a:pt x="209550" y="1185266"/>
                  <a:pt x="205906" y="1183443"/>
                </a:cubicBezTo>
                <a:close/>
                <a:moveTo>
                  <a:pt x="321842" y="1182988"/>
                </a:moveTo>
                <a:cubicBezTo>
                  <a:pt x="320703" y="1182988"/>
                  <a:pt x="319792" y="1183443"/>
                  <a:pt x="318882" y="1183443"/>
                </a:cubicBezTo>
                <a:cubicBezTo>
                  <a:pt x="318882" y="1187088"/>
                  <a:pt x="324347" y="1187088"/>
                  <a:pt x="326169" y="1185266"/>
                </a:cubicBezTo>
                <a:cubicBezTo>
                  <a:pt x="324347" y="1183444"/>
                  <a:pt x="322981" y="1182988"/>
                  <a:pt x="321842" y="1182988"/>
                </a:cubicBezTo>
                <a:close/>
                <a:moveTo>
                  <a:pt x="2986460" y="1182697"/>
                </a:moveTo>
                <a:lnTo>
                  <a:pt x="2990188" y="1183443"/>
                </a:lnTo>
                <a:lnTo>
                  <a:pt x="2986543" y="1183443"/>
                </a:lnTo>
                <a:close/>
                <a:moveTo>
                  <a:pt x="436639" y="1182532"/>
                </a:moveTo>
                <a:cubicBezTo>
                  <a:pt x="433678" y="1182077"/>
                  <a:pt x="430944" y="1182532"/>
                  <a:pt x="430034" y="1185266"/>
                </a:cubicBezTo>
                <a:cubicBezTo>
                  <a:pt x="431856" y="1187088"/>
                  <a:pt x="431856" y="1187088"/>
                  <a:pt x="433678" y="1187088"/>
                </a:cubicBezTo>
                <a:cubicBezTo>
                  <a:pt x="433678" y="1185266"/>
                  <a:pt x="431856" y="1185266"/>
                  <a:pt x="431856" y="1185266"/>
                </a:cubicBezTo>
                <a:cubicBezTo>
                  <a:pt x="435500" y="1188910"/>
                  <a:pt x="440966" y="1190732"/>
                  <a:pt x="444611" y="1185266"/>
                </a:cubicBezTo>
                <a:cubicBezTo>
                  <a:pt x="442788" y="1184354"/>
                  <a:pt x="439601" y="1182988"/>
                  <a:pt x="436639" y="1182532"/>
                </a:cubicBezTo>
                <a:close/>
                <a:moveTo>
                  <a:pt x="417734" y="1181621"/>
                </a:moveTo>
                <a:cubicBezTo>
                  <a:pt x="415912" y="1182077"/>
                  <a:pt x="414545" y="1183444"/>
                  <a:pt x="413634" y="1185266"/>
                </a:cubicBezTo>
                <a:cubicBezTo>
                  <a:pt x="420923" y="1190732"/>
                  <a:pt x="422745" y="1185266"/>
                  <a:pt x="424567" y="1183443"/>
                </a:cubicBezTo>
                <a:cubicBezTo>
                  <a:pt x="421834" y="1181621"/>
                  <a:pt x="419556" y="1181166"/>
                  <a:pt x="417734" y="1181621"/>
                </a:cubicBezTo>
                <a:close/>
                <a:moveTo>
                  <a:pt x="3258047" y="1181621"/>
                </a:moveTo>
                <a:cubicBezTo>
                  <a:pt x="3256225" y="1183443"/>
                  <a:pt x="3254403" y="1187088"/>
                  <a:pt x="3258047" y="1188910"/>
                </a:cubicBezTo>
                <a:cubicBezTo>
                  <a:pt x="3263514" y="1190732"/>
                  <a:pt x="3261692" y="1181621"/>
                  <a:pt x="3265336" y="1185266"/>
                </a:cubicBezTo>
                <a:cubicBezTo>
                  <a:pt x="3265336" y="1181621"/>
                  <a:pt x="3259869" y="1183443"/>
                  <a:pt x="3258047" y="1181621"/>
                </a:cubicBezTo>
                <a:close/>
                <a:moveTo>
                  <a:pt x="3201560" y="1181621"/>
                </a:moveTo>
                <a:cubicBezTo>
                  <a:pt x="3205204" y="1185266"/>
                  <a:pt x="3205204" y="1188910"/>
                  <a:pt x="3208849" y="1188910"/>
                </a:cubicBezTo>
                <a:cubicBezTo>
                  <a:pt x="3208849" y="1187088"/>
                  <a:pt x="3208849" y="1185266"/>
                  <a:pt x="3208849" y="1183443"/>
                </a:cubicBezTo>
                <a:cubicBezTo>
                  <a:pt x="3208849" y="1181621"/>
                  <a:pt x="3205204" y="1181621"/>
                  <a:pt x="3201560" y="1181621"/>
                </a:cubicBezTo>
                <a:close/>
                <a:moveTo>
                  <a:pt x="2667663" y="1181621"/>
                </a:moveTo>
                <a:cubicBezTo>
                  <a:pt x="2665841" y="1181621"/>
                  <a:pt x="2665841" y="1183443"/>
                  <a:pt x="2664019" y="1183443"/>
                </a:cubicBezTo>
                <a:cubicBezTo>
                  <a:pt x="2665841" y="1188910"/>
                  <a:pt x="2667663" y="1190732"/>
                  <a:pt x="2667663" y="1196199"/>
                </a:cubicBezTo>
                <a:lnTo>
                  <a:pt x="2669485" y="1196199"/>
                </a:lnTo>
                <a:cubicBezTo>
                  <a:pt x="2671307" y="1198021"/>
                  <a:pt x="2671307" y="1198021"/>
                  <a:pt x="2673130" y="1199843"/>
                </a:cubicBezTo>
                <a:cubicBezTo>
                  <a:pt x="2673130" y="1198021"/>
                  <a:pt x="2673130" y="1194376"/>
                  <a:pt x="2674952" y="1192554"/>
                </a:cubicBezTo>
                <a:cubicBezTo>
                  <a:pt x="2671307" y="1192554"/>
                  <a:pt x="2671307" y="1185266"/>
                  <a:pt x="2667663" y="1181621"/>
                </a:cubicBezTo>
                <a:close/>
                <a:moveTo>
                  <a:pt x="2612998" y="1181621"/>
                </a:moveTo>
                <a:lnTo>
                  <a:pt x="2615428" y="1188910"/>
                </a:lnTo>
                <a:lnTo>
                  <a:pt x="2611176" y="1188910"/>
                </a:lnTo>
                <a:cubicBezTo>
                  <a:pt x="2611176" y="1194376"/>
                  <a:pt x="2611176" y="1198021"/>
                  <a:pt x="2616642" y="1198021"/>
                </a:cubicBezTo>
                <a:lnTo>
                  <a:pt x="2616642" y="1192554"/>
                </a:lnTo>
                <a:lnTo>
                  <a:pt x="2618464" y="1198021"/>
                </a:lnTo>
                <a:cubicBezTo>
                  <a:pt x="2623931" y="1198021"/>
                  <a:pt x="2620287" y="1190732"/>
                  <a:pt x="2623931" y="1188910"/>
                </a:cubicBezTo>
                <a:cubicBezTo>
                  <a:pt x="2622109" y="1185266"/>
                  <a:pt x="2618464" y="1181621"/>
                  <a:pt x="2612998" y="1181621"/>
                </a:cubicBezTo>
                <a:close/>
                <a:moveTo>
                  <a:pt x="1279166" y="1181621"/>
                </a:moveTo>
                <a:cubicBezTo>
                  <a:pt x="1277344" y="1183443"/>
                  <a:pt x="1277344" y="1183443"/>
                  <a:pt x="1277344" y="1185266"/>
                </a:cubicBezTo>
                <a:lnTo>
                  <a:pt x="1277344" y="1183546"/>
                </a:lnTo>
                <a:close/>
                <a:moveTo>
                  <a:pt x="1279166" y="1181621"/>
                </a:moveTo>
                <a:cubicBezTo>
                  <a:pt x="1280988" y="1183443"/>
                  <a:pt x="1281444" y="1185266"/>
                  <a:pt x="1281216" y="1187088"/>
                </a:cubicBezTo>
                <a:lnTo>
                  <a:pt x="1280939" y="1187827"/>
                </a:lnTo>
                <a:close/>
                <a:moveTo>
                  <a:pt x="936598" y="1181621"/>
                </a:moveTo>
                <a:cubicBezTo>
                  <a:pt x="934777" y="1183443"/>
                  <a:pt x="932953" y="1183443"/>
                  <a:pt x="932953" y="1185266"/>
                </a:cubicBezTo>
                <a:cubicBezTo>
                  <a:pt x="934777" y="1187088"/>
                  <a:pt x="938420" y="1183443"/>
                  <a:pt x="936598" y="1181621"/>
                </a:cubicBezTo>
                <a:close/>
                <a:moveTo>
                  <a:pt x="683316" y="1181621"/>
                </a:moveTo>
                <a:cubicBezTo>
                  <a:pt x="681493" y="1185266"/>
                  <a:pt x="685138" y="1187088"/>
                  <a:pt x="688782" y="1183443"/>
                </a:cubicBezTo>
                <a:cubicBezTo>
                  <a:pt x="686960" y="1181621"/>
                  <a:pt x="685138" y="1183443"/>
                  <a:pt x="683316" y="1181621"/>
                </a:cubicBezTo>
                <a:close/>
                <a:moveTo>
                  <a:pt x="473766" y="1181621"/>
                </a:moveTo>
                <a:cubicBezTo>
                  <a:pt x="470121" y="1183443"/>
                  <a:pt x="477410" y="1188910"/>
                  <a:pt x="481054" y="1185266"/>
                </a:cubicBezTo>
                <a:cubicBezTo>
                  <a:pt x="477410" y="1183443"/>
                  <a:pt x="475589" y="1183443"/>
                  <a:pt x="473766" y="1181621"/>
                </a:cubicBezTo>
                <a:close/>
                <a:moveTo>
                  <a:pt x="300660" y="1181621"/>
                </a:moveTo>
                <a:cubicBezTo>
                  <a:pt x="298837" y="1188910"/>
                  <a:pt x="304303" y="1187088"/>
                  <a:pt x="307948" y="1187088"/>
                </a:cubicBezTo>
                <a:cubicBezTo>
                  <a:pt x="307948" y="1183443"/>
                  <a:pt x="304303" y="1185266"/>
                  <a:pt x="300660" y="1181621"/>
                </a:cubicBezTo>
                <a:close/>
                <a:moveTo>
                  <a:pt x="249638" y="1181621"/>
                </a:moveTo>
                <a:cubicBezTo>
                  <a:pt x="253282" y="1188910"/>
                  <a:pt x="264216" y="1192554"/>
                  <a:pt x="269682" y="1190732"/>
                </a:cubicBezTo>
                <a:cubicBezTo>
                  <a:pt x="260571" y="1185266"/>
                  <a:pt x="255105" y="1181621"/>
                  <a:pt x="249638" y="1181621"/>
                </a:cubicBezTo>
                <a:close/>
                <a:moveTo>
                  <a:pt x="149419" y="1181621"/>
                </a:moveTo>
                <a:cubicBezTo>
                  <a:pt x="153063" y="1183443"/>
                  <a:pt x="156707" y="1187088"/>
                  <a:pt x="160352" y="1188910"/>
                </a:cubicBezTo>
                <a:cubicBezTo>
                  <a:pt x="158529" y="1187088"/>
                  <a:pt x="154885" y="1183443"/>
                  <a:pt x="151241" y="1181621"/>
                </a:cubicBezTo>
                <a:cubicBezTo>
                  <a:pt x="154885" y="1183443"/>
                  <a:pt x="158985" y="1187088"/>
                  <a:pt x="163312" y="1189366"/>
                </a:cubicBezTo>
                <a:lnTo>
                  <a:pt x="163996" y="1189342"/>
                </a:lnTo>
                <a:lnTo>
                  <a:pt x="163996" y="1190732"/>
                </a:lnTo>
                <a:cubicBezTo>
                  <a:pt x="160352" y="1192554"/>
                  <a:pt x="154885" y="1188910"/>
                  <a:pt x="153063" y="1188910"/>
                </a:cubicBezTo>
                <a:cubicBezTo>
                  <a:pt x="153063" y="1187088"/>
                  <a:pt x="154885" y="1188910"/>
                  <a:pt x="156707" y="1187088"/>
                </a:cubicBezTo>
                <a:cubicBezTo>
                  <a:pt x="153063" y="1185266"/>
                  <a:pt x="151241" y="1185266"/>
                  <a:pt x="149419" y="1181621"/>
                </a:cubicBezTo>
                <a:close/>
                <a:moveTo>
                  <a:pt x="1451714" y="1181410"/>
                </a:moveTo>
                <a:lnTo>
                  <a:pt x="1450761" y="1181827"/>
                </a:lnTo>
                <a:lnTo>
                  <a:pt x="1450451" y="1181621"/>
                </a:lnTo>
                <a:close/>
                <a:moveTo>
                  <a:pt x="2753305" y="1181165"/>
                </a:moveTo>
                <a:cubicBezTo>
                  <a:pt x="2751939" y="1182076"/>
                  <a:pt x="2750572" y="1183443"/>
                  <a:pt x="2749661" y="1183443"/>
                </a:cubicBezTo>
                <a:cubicBezTo>
                  <a:pt x="2747839" y="1181621"/>
                  <a:pt x="2753305" y="1187088"/>
                  <a:pt x="2756950" y="1185266"/>
                </a:cubicBezTo>
                <a:cubicBezTo>
                  <a:pt x="2756950" y="1183443"/>
                  <a:pt x="2756950" y="1183443"/>
                  <a:pt x="2756950" y="1181621"/>
                </a:cubicBezTo>
                <a:cubicBezTo>
                  <a:pt x="2756039" y="1179799"/>
                  <a:pt x="2754672" y="1180254"/>
                  <a:pt x="2753305" y="1181165"/>
                </a:cubicBezTo>
                <a:close/>
                <a:moveTo>
                  <a:pt x="2044529" y="1179992"/>
                </a:moveTo>
                <a:lnTo>
                  <a:pt x="2048352" y="1182076"/>
                </a:lnTo>
                <a:lnTo>
                  <a:pt x="2049946" y="1185266"/>
                </a:lnTo>
                <a:cubicBezTo>
                  <a:pt x="2045391" y="1185266"/>
                  <a:pt x="2044024" y="1182532"/>
                  <a:pt x="2044480" y="1180027"/>
                </a:cubicBezTo>
                <a:close/>
                <a:moveTo>
                  <a:pt x="3367378" y="1179799"/>
                </a:moveTo>
                <a:cubicBezTo>
                  <a:pt x="3367378" y="1181621"/>
                  <a:pt x="3367378" y="1181621"/>
                  <a:pt x="3369200" y="1183443"/>
                </a:cubicBezTo>
                <a:cubicBezTo>
                  <a:pt x="3368289" y="1184354"/>
                  <a:pt x="3366467" y="1184810"/>
                  <a:pt x="3364872" y="1184810"/>
                </a:cubicBezTo>
                <a:lnTo>
                  <a:pt x="3364257" y="1184526"/>
                </a:lnTo>
                <a:lnTo>
                  <a:pt x="3363734" y="1183443"/>
                </a:lnTo>
                <a:cubicBezTo>
                  <a:pt x="3364645" y="1182532"/>
                  <a:pt x="3366012" y="1182076"/>
                  <a:pt x="3366923" y="1181393"/>
                </a:cubicBezTo>
                <a:lnTo>
                  <a:pt x="3367112" y="1179977"/>
                </a:lnTo>
                <a:close/>
                <a:moveTo>
                  <a:pt x="3316357" y="1179799"/>
                </a:moveTo>
                <a:cubicBezTo>
                  <a:pt x="3316357" y="1179799"/>
                  <a:pt x="3314535" y="1181621"/>
                  <a:pt x="3312713" y="1181621"/>
                </a:cubicBezTo>
                <a:cubicBezTo>
                  <a:pt x="3310890" y="1187088"/>
                  <a:pt x="3318179" y="1183443"/>
                  <a:pt x="3318179" y="1185266"/>
                </a:cubicBezTo>
                <a:cubicBezTo>
                  <a:pt x="3320001" y="1185266"/>
                  <a:pt x="3318179" y="1181621"/>
                  <a:pt x="3316357" y="1179799"/>
                </a:cubicBezTo>
                <a:close/>
                <a:moveTo>
                  <a:pt x="1091484" y="1179799"/>
                </a:moveTo>
                <a:cubicBezTo>
                  <a:pt x="1084194" y="1192554"/>
                  <a:pt x="1095127" y="1207132"/>
                  <a:pt x="1095127" y="1221709"/>
                </a:cubicBezTo>
                <a:cubicBezTo>
                  <a:pt x="1096949" y="1223531"/>
                  <a:pt x="1098771" y="1223531"/>
                  <a:pt x="1100593" y="1223531"/>
                </a:cubicBezTo>
                <a:cubicBezTo>
                  <a:pt x="1100593" y="1223531"/>
                  <a:pt x="1098771" y="1221709"/>
                  <a:pt x="1098771" y="1221709"/>
                </a:cubicBezTo>
                <a:cubicBezTo>
                  <a:pt x="1102416" y="1223531"/>
                  <a:pt x="1106060" y="1221709"/>
                  <a:pt x="1106060" y="1225353"/>
                </a:cubicBezTo>
                <a:cubicBezTo>
                  <a:pt x="1109704" y="1223531"/>
                  <a:pt x="1107882" y="1221709"/>
                  <a:pt x="1107882" y="1219887"/>
                </a:cubicBezTo>
                <a:cubicBezTo>
                  <a:pt x="1107882" y="1219887"/>
                  <a:pt x="1109704" y="1221709"/>
                  <a:pt x="1109704" y="1221709"/>
                </a:cubicBezTo>
                <a:cubicBezTo>
                  <a:pt x="1111526" y="1219887"/>
                  <a:pt x="1113349" y="1219887"/>
                  <a:pt x="1111526" y="1218065"/>
                </a:cubicBezTo>
                <a:cubicBezTo>
                  <a:pt x="1111526" y="1218065"/>
                  <a:pt x="1113349" y="1219887"/>
                  <a:pt x="1113349" y="1219887"/>
                </a:cubicBezTo>
                <a:cubicBezTo>
                  <a:pt x="1116993" y="1216242"/>
                  <a:pt x="1113349" y="1212598"/>
                  <a:pt x="1115171" y="1208954"/>
                </a:cubicBezTo>
                <a:cubicBezTo>
                  <a:pt x="1118815" y="1208954"/>
                  <a:pt x="1115171" y="1214420"/>
                  <a:pt x="1116993" y="1216242"/>
                </a:cubicBezTo>
                <a:cubicBezTo>
                  <a:pt x="1120637" y="1212598"/>
                  <a:pt x="1120637" y="1207132"/>
                  <a:pt x="1120637" y="1201665"/>
                </a:cubicBezTo>
                <a:cubicBezTo>
                  <a:pt x="1113349" y="1192554"/>
                  <a:pt x="1104238" y="1185266"/>
                  <a:pt x="1093305" y="1181621"/>
                </a:cubicBezTo>
                <a:cubicBezTo>
                  <a:pt x="1091484" y="1181621"/>
                  <a:pt x="1091484" y="1179799"/>
                  <a:pt x="1091484" y="1179799"/>
                </a:cubicBezTo>
                <a:close/>
                <a:moveTo>
                  <a:pt x="1073262" y="1179799"/>
                </a:moveTo>
                <a:cubicBezTo>
                  <a:pt x="1073262" y="1181621"/>
                  <a:pt x="1073262" y="1183443"/>
                  <a:pt x="1075083" y="1185266"/>
                </a:cubicBezTo>
                <a:cubicBezTo>
                  <a:pt x="1073262" y="1187088"/>
                  <a:pt x="1073262" y="1185266"/>
                  <a:pt x="1071439" y="1183443"/>
                </a:cubicBezTo>
                <a:cubicBezTo>
                  <a:pt x="1069616" y="1185266"/>
                  <a:pt x="1069616" y="1188910"/>
                  <a:pt x="1067794" y="1190732"/>
                </a:cubicBezTo>
                <a:cubicBezTo>
                  <a:pt x="1067794" y="1187088"/>
                  <a:pt x="1069616" y="1185266"/>
                  <a:pt x="1067794" y="1183443"/>
                </a:cubicBezTo>
                <a:cubicBezTo>
                  <a:pt x="1065972" y="1181621"/>
                  <a:pt x="1062328" y="1181621"/>
                  <a:pt x="1058683" y="1183443"/>
                </a:cubicBezTo>
                <a:cubicBezTo>
                  <a:pt x="1062328" y="1187088"/>
                  <a:pt x="1062328" y="1190732"/>
                  <a:pt x="1065972" y="1194376"/>
                </a:cubicBezTo>
                <a:cubicBezTo>
                  <a:pt x="1067794" y="1190732"/>
                  <a:pt x="1064151" y="1188910"/>
                  <a:pt x="1064151" y="1185266"/>
                </a:cubicBezTo>
                <a:cubicBezTo>
                  <a:pt x="1069616" y="1192554"/>
                  <a:pt x="1067794" y="1198021"/>
                  <a:pt x="1073262" y="1207132"/>
                </a:cubicBezTo>
                <a:cubicBezTo>
                  <a:pt x="1075083" y="1207132"/>
                  <a:pt x="1076905" y="1207132"/>
                  <a:pt x="1076905" y="1205309"/>
                </a:cubicBezTo>
                <a:cubicBezTo>
                  <a:pt x="1075083" y="1208954"/>
                  <a:pt x="1080549" y="1212598"/>
                  <a:pt x="1084194" y="1214420"/>
                </a:cubicBezTo>
                <a:cubicBezTo>
                  <a:pt x="1084194" y="1208954"/>
                  <a:pt x="1089660" y="1199843"/>
                  <a:pt x="1082373" y="1194376"/>
                </a:cubicBezTo>
                <a:cubicBezTo>
                  <a:pt x="1093305" y="1188910"/>
                  <a:pt x="1078727" y="1179799"/>
                  <a:pt x="1073262" y="1179799"/>
                </a:cubicBezTo>
                <a:close/>
                <a:moveTo>
                  <a:pt x="885577" y="1179799"/>
                </a:moveTo>
                <a:cubicBezTo>
                  <a:pt x="883755" y="1181621"/>
                  <a:pt x="883755" y="1183443"/>
                  <a:pt x="883755" y="1187088"/>
                </a:cubicBezTo>
                <a:cubicBezTo>
                  <a:pt x="887399" y="1185266"/>
                  <a:pt x="887399" y="1183443"/>
                  <a:pt x="887399" y="1181621"/>
                </a:cubicBezTo>
                <a:cubicBezTo>
                  <a:pt x="887399" y="1179799"/>
                  <a:pt x="885577" y="1181621"/>
                  <a:pt x="885577" y="1179799"/>
                </a:cubicBezTo>
                <a:close/>
                <a:moveTo>
                  <a:pt x="809046" y="1179799"/>
                </a:moveTo>
                <a:cubicBezTo>
                  <a:pt x="809046" y="1183443"/>
                  <a:pt x="809046" y="1185266"/>
                  <a:pt x="810868" y="1188910"/>
                </a:cubicBezTo>
                <a:cubicBezTo>
                  <a:pt x="812690" y="1188910"/>
                  <a:pt x="814512" y="1187088"/>
                  <a:pt x="816334" y="1185266"/>
                </a:cubicBezTo>
                <a:cubicBezTo>
                  <a:pt x="814512" y="1183443"/>
                  <a:pt x="810868" y="1181621"/>
                  <a:pt x="809046" y="1179799"/>
                </a:cubicBezTo>
                <a:close/>
                <a:moveTo>
                  <a:pt x="652339" y="1179799"/>
                </a:moveTo>
                <a:cubicBezTo>
                  <a:pt x="648694" y="1179799"/>
                  <a:pt x="646872" y="1181621"/>
                  <a:pt x="641407" y="1183443"/>
                </a:cubicBezTo>
                <a:cubicBezTo>
                  <a:pt x="646872" y="1185266"/>
                  <a:pt x="650516" y="1187088"/>
                  <a:pt x="655983" y="1185266"/>
                </a:cubicBezTo>
                <a:cubicBezTo>
                  <a:pt x="654161" y="1181621"/>
                  <a:pt x="652339" y="1183443"/>
                  <a:pt x="650516" y="1183443"/>
                </a:cubicBezTo>
                <a:cubicBezTo>
                  <a:pt x="650516" y="1179799"/>
                  <a:pt x="652339" y="1181621"/>
                  <a:pt x="652339" y="1179799"/>
                </a:cubicBezTo>
                <a:close/>
                <a:moveTo>
                  <a:pt x="491987" y="1179799"/>
                </a:moveTo>
                <a:cubicBezTo>
                  <a:pt x="490165" y="1181621"/>
                  <a:pt x="493809" y="1187088"/>
                  <a:pt x="497454" y="1185266"/>
                </a:cubicBezTo>
                <a:cubicBezTo>
                  <a:pt x="495632" y="1181621"/>
                  <a:pt x="491987" y="1181621"/>
                  <a:pt x="491987" y="1179799"/>
                </a:cubicBezTo>
                <a:close/>
                <a:moveTo>
                  <a:pt x="453722" y="1179799"/>
                </a:moveTo>
                <a:cubicBezTo>
                  <a:pt x="455544" y="1183443"/>
                  <a:pt x="468299" y="1187088"/>
                  <a:pt x="473766" y="1185266"/>
                </a:cubicBezTo>
                <a:cubicBezTo>
                  <a:pt x="469210" y="1181621"/>
                  <a:pt x="465566" y="1180255"/>
                  <a:pt x="462377" y="1179799"/>
                </a:cubicBezTo>
                <a:cubicBezTo>
                  <a:pt x="459188" y="1179343"/>
                  <a:pt x="456455" y="1179799"/>
                  <a:pt x="453722" y="1179799"/>
                </a:cubicBezTo>
                <a:close/>
                <a:moveTo>
                  <a:pt x="302481" y="1179799"/>
                </a:moveTo>
                <a:cubicBezTo>
                  <a:pt x="306126" y="1183443"/>
                  <a:pt x="317059" y="1188910"/>
                  <a:pt x="317059" y="1183443"/>
                </a:cubicBezTo>
                <a:cubicBezTo>
                  <a:pt x="311592" y="1179799"/>
                  <a:pt x="307948" y="1181621"/>
                  <a:pt x="302481" y="1179799"/>
                </a:cubicBezTo>
                <a:close/>
                <a:moveTo>
                  <a:pt x="2939623" y="1179343"/>
                </a:moveTo>
                <a:cubicBezTo>
                  <a:pt x="2937800" y="1179343"/>
                  <a:pt x="2935523" y="1179799"/>
                  <a:pt x="2933700" y="1179799"/>
                </a:cubicBezTo>
                <a:cubicBezTo>
                  <a:pt x="2933700" y="1183443"/>
                  <a:pt x="2935523" y="1183443"/>
                  <a:pt x="2935523" y="1187088"/>
                </a:cubicBezTo>
                <a:cubicBezTo>
                  <a:pt x="2939167" y="1187088"/>
                  <a:pt x="2937345" y="1181621"/>
                  <a:pt x="2942811" y="1181621"/>
                </a:cubicBezTo>
                <a:cubicBezTo>
                  <a:pt x="2942811" y="1179799"/>
                  <a:pt x="2941445" y="1179343"/>
                  <a:pt x="2939623" y="1179343"/>
                </a:cubicBezTo>
                <a:close/>
                <a:moveTo>
                  <a:pt x="1492911" y="1178877"/>
                </a:moveTo>
                <a:lnTo>
                  <a:pt x="1490539" y="1179799"/>
                </a:lnTo>
                <a:lnTo>
                  <a:pt x="1490734" y="1179409"/>
                </a:lnTo>
                <a:lnTo>
                  <a:pt x="1491677" y="1179116"/>
                </a:lnTo>
                <a:close/>
                <a:moveTo>
                  <a:pt x="3004765" y="1177977"/>
                </a:moveTo>
                <a:cubicBezTo>
                  <a:pt x="2997477" y="1176155"/>
                  <a:pt x="3001121" y="1188910"/>
                  <a:pt x="2997477" y="1181621"/>
                </a:cubicBezTo>
                <a:cubicBezTo>
                  <a:pt x="2993832" y="1187088"/>
                  <a:pt x="3001121" y="1194376"/>
                  <a:pt x="3006587" y="1194376"/>
                </a:cubicBezTo>
                <a:cubicBezTo>
                  <a:pt x="3006587" y="1192554"/>
                  <a:pt x="3004765" y="1190732"/>
                  <a:pt x="3004765" y="1188910"/>
                </a:cubicBezTo>
                <a:cubicBezTo>
                  <a:pt x="3008410" y="1188910"/>
                  <a:pt x="3008410" y="1192554"/>
                  <a:pt x="3010232" y="1196199"/>
                </a:cubicBezTo>
                <a:cubicBezTo>
                  <a:pt x="3010232" y="1198021"/>
                  <a:pt x="3006587" y="1198021"/>
                  <a:pt x="3004765" y="1198021"/>
                </a:cubicBezTo>
                <a:cubicBezTo>
                  <a:pt x="3006587" y="1199843"/>
                  <a:pt x="3006587" y="1201665"/>
                  <a:pt x="3010232" y="1201665"/>
                </a:cubicBezTo>
                <a:cubicBezTo>
                  <a:pt x="3010232" y="1199843"/>
                  <a:pt x="3010232" y="1199843"/>
                  <a:pt x="3010232" y="1198021"/>
                </a:cubicBezTo>
                <a:cubicBezTo>
                  <a:pt x="3015698" y="1199843"/>
                  <a:pt x="3024809" y="1198021"/>
                  <a:pt x="3024809" y="1205309"/>
                </a:cubicBezTo>
                <a:cubicBezTo>
                  <a:pt x="3028453" y="1207132"/>
                  <a:pt x="3030276" y="1203487"/>
                  <a:pt x="3035742" y="1203487"/>
                </a:cubicBezTo>
                <a:cubicBezTo>
                  <a:pt x="3032098" y="1198021"/>
                  <a:pt x="3035742" y="1194376"/>
                  <a:pt x="3039387" y="1192554"/>
                </a:cubicBezTo>
                <a:cubicBezTo>
                  <a:pt x="3035742" y="1190732"/>
                  <a:pt x="3033920" y="1192554"/>
                  <a:pt x="3030276" y="1188910"/>
                </a:cubicBezTo>
                <a:cubicBezTo>
                  <a:pt x="3030276" y="1192554"/>
                  <a:pt x="3030276" y="1196199"/>
                  <a:pt x="3030276" y="1199843"/>
                </a:cubicBezTo>
                <a:cubicBezTo>
                  <a:pt x="3024809" y="1198021"/>
                  <a:pt x="3026631" y="1187088"/>
                  <a:pt x="3022987" y="1183443"/>
                </a:cubicBezTo>
                <a:cubicBezTo>
                  <a:pt x="3019343" y="1185266"/>
                  <a:pt x="3022987" y="1190732"/>
                  <a:pt x="3022987" y="1190732"/>
                </a:cubicBezTo>
                <a:cubicBezTo>
                  <a:pt x="3019343" y="1192554"/>
                  <a:pt x="3021165" y="1188910"/>
                  <a:pt x="3019343" y="1187088"/>
                </a:cubicBezTo>
                <a:cubicBezTo>
                  <a:pt x="3015698" y="1188910"/>
                  <a:pt x="3021165" y="1190732"/>
                  <a:pt x="3017521" y="1192554"/>
                </a:cubicBezTo>
                <a:cubicBezTo>
                  <a:pt x="3013876" y="1192554"/>
                  <a:pt x="3015698" y="1185266"/>
                  <a:pt x="3015698" y="1181621"/>
                </a:cubicBezTo>
                <a:cubicBezTo>
                  <a:pt x="3012054" y="1181621"/>
                  <a:pt x="3012054" y="1183443"/>
                  <a:pt x="3012054" y="1187088"/>
                </a:cubicBezTo>
                <a:cubicBezTo>
                  <a:pt x="3008410" y="1187088"/>
                  <a:pt x="3010232" y="1183443"/>
                  <a:pt x="3008410" y="1181621"/>
                </a:cubicBezTo>
                <a:cubicBezTo>
                  <a:pt x="3006587" y="1183443"/>
                  <a:pt x="3006587" y="1185266"/>
                  <a:pt x="3006587" y="1188910"/>
                </a:cubicBezTo>
                <a:cubicBezTo>
                  <a:pt x="3002943" y="1188910"/>
                  <a:pt x="3006587" y="1183443"/>
                  <a:pt x="3004765" y="1177977"/>
                </a:cubicBezTo>
                <a:close/>
                <a:moveTo>
                  <a:pt x="2292295" y="1177977"/>
                </a:moveTo>
                <a:cubicBezTo>
                  <a:pt x="2286829" y="1183443"/>
                  <a:pt x="2279540" y="1190732"/>
                  <a:pt x="2272251" y="1196199"/>
                </a:cubicBezTo>
                <a:lnTo>
                  <a:pt x="2286829" y="1212598"/>
                </a:lnTo>
                <a:lnTo>
                  <a:pt x="2297762" y="1203487"/>
                </a:lnTo>
                <a:cubicBezTo>
                  <a:pt x="2295940" y="1201665"/>
                  <a:pt x="2294117" y="1201665"/>
                  <a:pt x="2292295" y="1199843"/>
                </a:cubicBezTo>
                <a:cubicBezTo>
                  <a:pt x="2285007" y="1194376"/>
                  <a:pt x="2286829" y="1185266"/>
                  <a:pt x="2297762" y="1183443"/>
                </a:cubicBezTo>
                <a:cubicBezTo>
                  <a:pt x="2294117" y="1185266"/>
                  <a:pt x="2290473" y="1181621"/>
                  <a:pt x="2292295" y="1177977"/>
                </a:cubicBezTo>
                <a:close/>
                <a:moveTo>
                  <a:pt x="2090034" y="1177977"/>
                </a:moveTo>
                <a:cubicBezTo>
                  <a:pt x="2091856" y="1177977"/>
                  <a:pt x="2088212" y="1179799"/>
                  <a:pt x="2088212" y="1181621"/>
                </a:cubicBezTo>
                <a:lnTo>
                  <a:pt x="2089118" y="1177997"/>
                </a:lnTo>
                <a:close/>
                <a:moveTo>
                  <a:pt x="821801" y="1177977"/>
                </a:moveTo>
                <a:cubicBezTo>
                  <a:pt x="818156" y="1185266"/>
                  <a:pt x="825445" y="1187088"/>
                  <a:pt x="829089" y="1187088"/>
                </a:cubicBezTo>
                <a:cubicBezTo>
                  <a:pt x="832734" y="1181621"/>
                  <a:pt x="823623" y="1177977"/>
                  <a:pt x="821801" y="1177977"/>
                </a:cubicBezTo>
                <a:close/>
                <a:moveTo>
                  <a:pt x="1756575" y="1176180"/>
                </a:moveTo>
                <a:lnTo>
                  <a:pt x="1783908" y="1205336"/>
                </a:lnTo>
                <a:lnTo>
                  <a:pt x="1783908" y="1214448"/>
                </a:lnTo>
                <a:cubicBezTo>
                  <a:pt x="1774797" y="1201692"/>
                  <a:pt x="1763864" y="1188936"/>
                  <a:pt x="1756575" y="1176180"/>
                </a:cubicBezTo>
                <a:close/>
                <a:moveTo>
                  <a:pt x="3267158" y="1176155"/>
                </a:moveTo>
                <a:cubicBezTo>
                  <a:pt x="3265336" y="1181621"/>
                  <a:pt x="3272625" y="1177977"/>
                  <a:pt x="3270803" y="1183443"/>
                </a:cubicBezTo>
                <a:cubicBezTo>
                  <a:pt x="3279913" y="1179799"/>
                  <a:pt x="3270803" y="1176155"/>
                  <a:pt x="3267158" y="1176155"/>
                </a:cubicBezTo>
                <a:close/>
                <a:moveTo>
                  <a:pt x="2142877" y="1176155"/>
                </a:moveTo>
                <a:cubicBezTo>
                  <a:pt x="2137410" y="1177977"/>
                  <a:pt x="2131944" y="1181621"/>
                  <a:pt x="2126477" y="1185266"/>
                </a:cubicBezTo>
                <a:cubicBezTo>
                  <a:pt x="2128300" y="1185266"/>
                  <a:pt x="2131944" y="1185266"/>
                  <a:pt x="2133766" y="1185266"/>
                </a:cubicBezTo>
                <a:cubicBezTo>
                  <a:pt x="2133766" y="1187088"/>
                  <a:pt x="2131944" y="1188910"/>
                  <a:pt x="2131944" y="1188910"/>
                </a:cubicBezTo>
                <a:lnTo>
                  <a:pt x="2133766" y="1190732"/>
                </a:lnTo>
                <a:cubicBezTo>
                  <a:pt x="2133766" y="1190732"/>
                  <a:pt x="2133766" y="1188910"/>
                  <a:pt x="2133766" y="1187088"/>
                </a:cubicBezTo>
                <a:cubicBezTo>
                  <a:pt x="2133766" y="1185266"/>
                  <a:pt x="2133766" y="1185266"/>
                  <a:pt x="2133766" y="1185266"/>
                </a:cubicBezTo>
                <a:cubicBezTo>
                  <a:pt x="2139233" y="1187088"/>
                  <a:pt x="2141055" y="1194376"/>
                  <a:pt x="2148344" y="1192554"/>
                </a:cubicBezTo>
                <a:cubicBezTo>
                  <a:pt x="2144699" y="1194376"/>
                  <a:pt x="2142877" y="1194376"/>
                  <a:pt x="2141055" y="1192554"/>
                </a:cubicBezTo>
                <a:cubicBezTo>
                  <a:pt x="2142877" y="1194376"/>
                  <a:pt x="2141055" y="1201665"/>
                  <a:pt x="2142877" y="1201665"/>
                </a:cubicBezTo>
                <a:cubicBezTo>
                  <a:pt x="2159277" y="1198021"/>
                  <a:pt x="2177498" y="1201665"/>
                  <a:pt x="2188431" y="1187088"/>
                </a:cubicBezTo>
                <a:lnTo>
                  <a:pt x="2186609" y="1181621"/>
                </a:lnTo>
                <a:cubicBezTo>
                  <a:pt x="2182965" y="1183443"/>
                  <a:pt x="2181143" y="1181621"/>
                  <a:pt x="2177498" y="1179799"/>
                </a:cubicBezTo>
                <a:lnTo>
                  <a:pt x="2175676" y="1179799"/>
                </a:lnTo>
                <a:cubicBezTo>
                  <a:pt x="2173854" y="1187088"/>
                  <a:pt x="2168387" y="1185266"/>
                  <a:pt x="2162921" y="1185266"/>
                </a:cubicBezTo>
                <a:cubicBezTo>
                  <a:pt x="2164743" y="1185266"/>
                  <a:pt x="2164743" y="1183443"/>
                  <a:pt x="2164743" y="1183443"/>
                </a:cubicBezTo>
                <a:lnTo>
                  <a:pt x="2142877" y="1179799"/>
                </a:lnTo>
                <a:close/>
                <a:moveTo>
                  <a:pt x="1506938" y="1176155"/>
                </a:moveTo>
                <a:lnTo>
                  <a:pt x="1492911" y="1178877"/>
                </a:lnTo>
                <a:lnTo>
                  <a:pt x="1498739" y="1176610"/>
                </a:lnTo>
                <a:cubicBezTo>
                  <a:pt x="1501472" y="1175699"/>
                  <a:pt x="1504205" y="1175244"/>
                  <a:pt x="1506938" y="1176155"/>
                </a:cubicBezTo>
                <a:close/>
                <a:moveTo>
                  <a:pt x="1277344" y="1176155"/>
                </a:moveTo>
                <a:cubicBezTo>
                  <a:pt x="1278255" y="1177977"/>
                  <a:pt x="1277799" y="1179343"/>
                  <a:pt x="1277344" y="1180710"/>
                </a:cubicBezTo>
                <a:lnTo>
                  <a:pt x="1277344" y="1183546"/>
                </a:lnTo>
                <a:lnTo>
                  <a:pt x="1267095" y="1194376"/>
                </a:lnTo>
                <a:lnTo>
                  <a:pt x="1262440" y="1198794"/>
                </a:lnTo>
                <a:lnTo>
                  <a:pt x="1255478" y="1198021"/>
                </a:lnTo>
                <a:cubicBezTo>
                  <a:pt x="1262767" y="1190732"/>
                  <a:pt x="1270056" y="1183443"/>
                  <a:pt x="1277344" y="1176155"/>
                </a:cubicBezTo>
                <a:close/>
                <a:moveTo>
                  <a:pt x="1197169" y="1176155"/>
                </a:moveTo>
                <a:cubicBezTo>
                  <a:pt x="1195346" y="1177977"/>
                  <a:pt x="1195346" y="1179799"/>
                  <a:pt x="1193525" y="1181621"/>
                </a:cubicBezTo>
                <a:cubicBezTo>
                  <a:pt x="1195346" y="1177977"/>
                  <a:pt x="1191703" y="1179799"/>
                  <a:pt x="1189880" y="1181621"/>
                </a:cubicBezTo>
                <a:cubicBezTo>
                  <a:pt x="1191703" y="1183443"/>
                  <a:pt x="1191703" y="1181621"/>
                  <a:pt x="1193525" y="1183443"/>
                </a:cubicBezTo>
                <a:cubicBezTo>
                  <a:pt x="1197169" y="1181621"/>
                  <a:pt x="1198991" y="1181621"/>
                  <a:pt x="1200814" y="1179799"/>
                </a:cubicBezTo>
                <a:cubicBezTo>
                  <a:pt x="1200814" y="1176155"/>
                  <a:pt x="1198991" y="1176155"/>
                  <a:pt x="1197169" y="1176155"/>
                </a:cubicBezTo>
                <a:close/>
                <a:moveTo>
                  <a:pt x="1102416" y="1176155"/>
                </a:moveTo>
                <a:cubicBezTo>
                  <a:pt x="1109704" y="1179799"/>
                  <a:pt x="1116993" y="1181621"/>
                  <a:pt x="1124282" y="1187088"/>
                </a:cubicBezTo>
                <a:cubicBezTo>
                  <a:pt x="1122459" y="1179799"/>
                  <a:pt x="1109704" y="1176155"/>
                  <a:pt x="1102416" y="1176155"/>
                </a:cubicBezTo>
                <a:close/>
                <a:moveTo>
                  <a:pt x="896510" y="1176155"/>
                </a:moveTo>
                <a:cubicBezTo>
                  <a:pt x="894688" y="1176155"/>
                  <a:pt x="892866" y="1181621"/>
                  <a:pt x="891043" y="1183443"/>
                </a:cubicBezTo>
                <a:cubicBezTo>
                  <a:pt x="894688" y="1183443"/>
                  <a:pt x="896510" y="1185266"/>
                  <a:pt x="896510" y="1187088"/>
                </a:cubicBezTo>
                <a:cubicBezTo>
                  <a:pt x="896510" y="1183443"/>
                  <a:pt x="896510" y="1179799"/>
                  <a:pt x="896510" y="1176155"/>
                </a:cubicBezTo>
                <a:close/>
                <a:moveTo>
                  <a:pt x="812690" y="1176155"/>
                </a:moveTo>
                <a:cubicBezTo>
                  <a:pt x="812690" y="1177977"/>
                  <a:pt x="816334" y="1181621"/>
                  <a:pt x="818156" y="1181621"/>
                </a:cubicBezTo>
                <a:cubicBezTo>
                  <a:pt x="819979" y="1179799"/>
                  <a:pt x="816334" y="1177977"/>
                  <a:pt x="818156" y="1176155"/>
                </a:cubicBezTo>
                <a:cubicBezTo>
                  <a:pt x="816334" y="1176155"/>
                  <a:pt x="814512" y="1176155"/>
                  <a:pt x="812690" y="1176155"/>
                </a:cubicBezTo>
                <a:close/>
                <a:moveTo>
                  <a:pt x="284259" y="1176155"/>
                </a:moveTo>
                <a:cubicBezTo>
                  <a:pt x="284259" y="1177977"/>
                  <a:pt x="289726" y="1181621"/>
                  <a:pt x="291549" y="1177977"/>
                </a:cubicBezTo>
                <a:cubicBezTo>
                  <a:pt x="287904" y="1176155"/>
                  <a:pt x="286082" y="1177977"/>
                  <a:pt x="284259" y="1176155"/>
                </a:cubicBezTo>
                <a:close/>
                <a:moveTo>
                  <a:pt x="1394631" y="1175890"/>
                </a:moveTo>
                <a:lnTo>
                  <a:pt x="1391686" y="1178204"/>
                </a:lnTo>
                <a:lnTo>
                  <a:pt x="1386365" y="1179682"/>
                </a:lnTo>
                <a:lnTo>
                  <a:pt x="1389636" y="1177066"/>
                </a:lnTo>
                <a:close/>
                <a:moveTo>
                  <a:pt x="3205204" y="1174332"/>
                </a:moveTo>
                <a:cubicBezTo>
                  <a:pt x="3205204" y="1177977"/>
                  <a:pt x="3207027" y="1179799"/>
                  <a:pt x="3207027" y="1181621"/>
                </a:cubicBezTo>
                <a:cubicBezTo>
                  <a:pt x="3210671" y="1179799"/>
                  <a:pt x="3210671" y="1174332"/>
                  <a:pt x="3205204" y="1174332"/>
                </a:cubicBezTo>
                <a:close/>
                <a:moveTo>
                  <a:pt x="2899079" y="1174332"/>
                </a:moveTo>
                <a:cubicBezTo>
                  <a:pt x="2897257" y="1177977"/>
                  <a:pt x="2891790" y="1176155"/>
                  <a:pt x="2891790" y="1181621"/>
                </a:cubicBezTo>
                <a:cubicBezTo>
                  <a:pt x="2880857" y="1179799"/>
                  <a:pt x="2869924" y="1188910"/>
                  <a:pt x="2860813" y="1194376"/>
                </a:cubicBezTo>
                <a:cubicBezTo>
                  <a:pt x="2862636" y="1196199"/>
                  <a:pt x="2862636" y="1199843"/>
                  <a:pt x="2864458" y="1201665"/>
                </a:cubicBezTo>
                <a:cubicBezTo>
                  <a:pt x="2862636" y="1203487"/>
                  <a:pt x="2857169" y="1203487"/>
                  <a:pt x="2857169" y="1208954"/>
                </a:cubicBezTo>
                <a:cubicBezTo>
                  <a:pt x="2864458" y="1207132"/>
                  <a:pt x="2857169" y="1216242"/>
                  <a:pt x="2858991" y="1219887"/>
                </a:cubicBezTo>
                <a:cubicBezTo>
                  <a:pt x="2862636" y="1212598"/>
                  <a:pt x="2864458" y="1230820"/>
                  <a:pt x="2860813" y="1234464"/>
                </a:cubicBezTo>
                <a:cubicBezTo>
                  <a:pt x="2857169" y="1230820"/>
                  <a:pt x="2851703" y="1227175"/>
                  <a:pt x="2853525" y="1219887"/>
                </a:cubicBezTo>
                <a:cubicBezTo>
                  <a:pt x="2849880" y="1219887"/>
                  <a:pt x="2849880" y="1225353"/>
                  <a:pt x="2851703" y="1228998"/>
                </a:cubicBezTo>
                <a:cubicBezTo>
                  <a:pt x="2851703" y="1230820"/>
                  <a:pt x="2846236" y="1228998"/>
                  <a:pt x="2846236" y="1230820"/>
                </a:cubicBezTo>
                <a:cubicBezTo>
                  <a:pt x="2842592" y="1228998"/>
                  <a:pt x="2842592" y="1225353"/>
                  <a:pt x="2838947" y="1225353"/>
                </a:cubicBezTo>
                <a:cubicBezTo>
                  <a:pt x="2837125" y="1228998"/>
                  <a:pt x="2844414" y="1241753"/>
                  <a:pt x="2835303" y="1241753"/>
                </a:cubicBezTo>
                <a:cubicBezTo>
                  <a:pt x="2833481" y="1232642"/>
                  <a:pt x="2824370" y="1236286"/>
                  <a:pt x="2829837" y="1228998"/>
                </a:cubicBezTo>
                <a:cubicBezTo>
                  <a:pt x="2824370" y="1228998"/>
                  <a:pt x="2824370" y="1225353"/>
                  <a:pt x="2818903" y="1227175"/>
                </a:cubicBezTo>
                <a:cubicBezTo>
                  <a:pt x="2818903" y="1230820"/>
                  <a:pt x="2818903" y="1232642"/>
                  <a:pt x="2815259" y="1232642"/>
                </a:cubicBezTo>
                <a:cubicBezTo>
                  <a:pt x="2820726" y="1239931"/>
                  <a:pt x="2820726" y="1252686"/>
                  <a:pt x="2838947" y="1247219"/>
                </a:cubicBezTo>
                <a:cubicBezTo>
                  <a:pt x="2833481" y="1250864"/>
                  <a:pt x="2828014" y="1249042"/>
                  <a:pt x="2822548" y="1250864"/>
                </a:cubicBezTo>
                <a:cubicBezTo>
                  <a:pt x="2820726" y="1250864"/>
                  <a:pt x="2818903" y="1247219"/>
                  <a:pt x="2818903" y="1243575"/>
                </a:cubicBezTo>
                <a:cubicBezTo>
                  <a:pt x="2815259" y="1243575"/>
                  <a:pt x="2813437" y="1245397"/>
                  <a:pt x="2809793" y="1245397"/>
                </a:cubicBezTo>
                <a:cubicBezTo>
                  <a:pt x="2813437" y="1249952"/>
                  <a:pt x="2815259" y="1255419"/>
                  <a:pt x="2816854" y="1261569"/>
                </a:cubicBezTo>
                <a:lnTo>
                  <a:pt x="2818398" y="1267066"/>
                </a:lnTo>
                <a:lnTo>
                  <a:pt x="2814804" y="1265669"/>
                </a:lnTo>
                <a:cubicBezTo>
                  <a:pt x="2814804" y="1262708"/>
                  <a:pt x="2815259" y="1258152"/>
                  <a:pt x="2813437" y="1254508"/>
                </a:cubicBezTo>
                <a:cubicBezTo>
                  <a:pt x="2807971" y="1258152"/>
                  <a:pt x="2807971" y="1267263"/>
                  <a:pt x="2811615" y="1274552"/>
                </a:cubicBezTo>
                <a:lnTo>
                  <a:pt x="2818552" y="1267614"/>
                </a:lnTo>
                <a:lnTo>
                  <a:pt x="2822548" y="1281841"/>
                </a:lnTo>
                <a:cubicBezTo>
                  <a:pt x="2824370" y="1281841"/>
                  <a:pt x="2824370" y="1280018"/>
                  <a:pt x="2824370" y="1278196"/>
                </a:cubicBezTo>
                <a:cubicBezTo>
                  <a:pt x="2829837" y="1281841"/>
                  <a:pt x="2829837" y="1289129"/>
                  <a:pt x="2835303" y="1292774"/>
                </a:cubicBezTo>
                <a:cubicBezTo>
                  <a:pt x="2840769" y="1289129"/>
                  <a:pt x="2851703" y="1289129"/>
                  <a:pt x="2855347" y="1281841"/>
                </a:cubicBezTo>
                <a:cubicBezTo>
                  <a:pt x="2853525" y="1280018"/>
                  <a:pt x="2853525" y="1280018"/>
                  <a:pt x="2853525" y="1274552"/>
                </a:cubicBezTo>
                <a:cubicBezTo>
                  <a:pt x="2857169" y="1276374"/>
                  <a:pt x="2858991" y="1280018"/>
                  <a:pt x="2858991" y="1285485"/>
                </a:cubicBezTo>
                <a:cubicBezTo>
                  <a:pt x="2864458" y="1283663"/>
                  <a:pt x="2860813" y="1290951"/>
                  <a:pt x="2866280" y="1289129"/>
                </a:cubicBezTo>
                <a:cubicBezTo>
                  <a:pt x="2864458" y="1278196"/>
                  <a:pt x="2871747" y="1290951"/>
                  <a:pt x="2869924" y="1280018"/>
                </a:cubicBezTo>
                <a:cubicBezTo>
                  <a:pt x="2875391" y="1287307"/>
                  <a:pt x="2879035" y="1280018"/>
                  <a:pt x="2886324" y="1278196"/>
                </a:cubicBezTo>
                <a:cubicBezTo>
                  <a:pt x="2884502" y="1270908"/>
                  <a:pt x="2880857" y="1259975"/>
                  <a:pt x="2873569" y="1269085"/>
                </a:cubicBezTo>
                <a:cubicBezTo>
                  <a:pt x="2869924" y="1265441"/>
                  <a:pt x="2873569" y="1263619"/>
                  <a:pt x="2871747" y="1258152"/>
                </a:cubicBezTo>
                <a:cubicBezTo>
                  <a:pt x="2862636" y="1263619"/>
                  <a:pt x="2858991" y="1252686"/>
                  <a:pt x="2855347" y="1247219"/>
                </a:cubicBezTo>
                <a:cubicBezTo>
                  <a:pt x="2858991" y="1249042"/>
                  <a:pt x="2866280" y="1252686"/>
                  <a:pt x="2862636" y="1254508"/>
                </a:cubicBezTo>
                <a:cubicBezTo>
                  <a:pt x="2866280" y="1259975"/>
                  <a:pt x="2877213" y="1252686"/>
                  <a:pt x="2877213" y="1256330"/>
                </a:cubicBezTo>
                <a:cubicBezTo>
                  <a:pt x="2879035" y="1250864"/>
                  <a:pt x="2871747" y="1243575"/>
                  <a:pt x="2868102" y="1243575"/>
                </a:cubicBezTo>
                <a:cubicBezTo>
                  <a:pt x="2868102" y="1238108"/>
                  <a:pt x="2871747" y="1236286"/>
                  <a:pt x="2873569" y="1234464"/>
                </a:cubicBezTo>
                <a:cubicBezTo>
                  <a:pt x="2875391" y="1236286"/>
                  <a:pt x="2877213" y="1239931"/>
                  <a:pt x="2871747" y="1239931"/>
                </a:cubicBezTo>
                <a:cubicBezTo>
                  <a:pt x="2873569" y="1241753"/>
                  <a:pt x="2873569" y="1245397"/>
                  <a:pt x="2875391" y="1247219"/>
                </a:cubicBezTo>
                <a:cubicBezTo>
                  <a:pt x="2879035" y="1247219"/>
                  <a:pt x="2873569" y="1239931"/>
                  <a:pt x="2879035" y="1241753"/>
                </a:cubicBezTo>
                <a:cubicBezTo>
                  <a:pt x="2879035" y="1247219"/>
                  <a:pt x="2879035" y="1249042"/>
                  <a:pt x="2880857" y="1256330"/>
                </a:cubicBezTo>
                <a:cubicBezTo>
                  <a:pt x="2884502" y="1256330"/>
                  <a:pt x="2886324" y="1259975"/>
                  <a:pt x="2888146" y="1261797"/>
                </a:cubicBezTo>
                <a:cubicBezTo>
                  <a:pt x="2889968" y="1265441"/>
                  <a:pt x="2886324" y="1265441"/>
                  <a:pt x="2886324" y="1270908"/>
                </a:cubicBezTo>
                <a:cubicBezTo>
                  <a:pt x="2888146" y="1270908"/>
                  <a:pt x="2889968" y="1272730"/>
                  <a:pt x="2893613" y="1272730"/>
                </a:cubicBezTo>
                <a:cubicBezTo>
                  <a:pt x="2893613" y="1269085"/>
                  <a:pt x="2895435" y="1265441"/>
                  <a:pt x="2897257" y="1261797"/>
                </a:cubicBezTo>
                <a:cubicBezTo>
                  <a:pt x="2899079" y="1263619"/>
                  <a:pt x="2900901" y="1263619"/>
                  <a:pt x="2902724" y="1265441"/>
                </a:cubicBezTo>
                <a:cubicBezTo>
                  <a:pt x="2911834" y="1261797"/>
                  <a:pt x="2926412" y="1241753"/>
                  <a:pt x="2931878" y="1234464"/>
                </a:cubicBezTo>
                <a:cubicBezTo>
                  <a:pt x="2939167" y="1219887"/>
                  <a:pt x="2944634" y="1203487"/>
                  <a:pt x="2920945" y="1201665"/>
                </a:cubicBezTo>
                <a:cubicBezTo>
                  <a:pt x="2920945" y="1196199"/>
                  <a:pt x="2926412" y="1192554"/>
                  <a:pt x="2922767" y="1187088"/>
                </a:cubicBezTo>
                <a:cubicBezTo>
                  <a:pt x="2920945" y="1187088"/>
                  <a:pt x="2920945" y="1188910"/>
                  <a:pt x="2920945" y="1192554"/>
                </a:cubicBezTo>
                <a:cubicBezTo>
                  <a:pt x="2913656" y="1192554"/>
                  <a:pt x="2913656" y="1185266"/>
                  <a:pt x="2910012" y="1183443"/>
                </a:cubicBezTo>
                <a:cubicBezTo>
                  <a:pt x="2911834" y="1185266"/>
                  <a:pt x="2911834" y="1187088"/>
                  <a:pt x="2911834" y="1190732"/>
                </a:cubicBezTo>
                <a:cubicBezTo>
                  <a:pt x="2915479" y="1192554"/>
                  <a:pt x="2915479" y="1190732"/>
                  <a:pt x="2919123" y="1192554"/>
                </a:cubicBezTo>
                <a:cubicBezTo>
                  <a:pt x="2919123" y="1194376"/>
                  <a:pt x="2917301" y="1192554"/>
                  <a:pt x="2917301" y="1192554"/>
                </a:cubicBezTo>
                <a:cubicBezTo>
                  <a:pt x="2915479" y="1192554"/>
                  <a:pt x="2915479" y="1198021"/>
                  <a:pt x="2919123" y="1196199"/>
                </a:cubicBezTo>
                <a:cubicBezTo>
                  <a:pt x="2917301" y="1198021"/>
                  <a:pt x="2906368" y="1196199"/>
                  <a:pt x="2906368" y="1203487"/>
                </a:cubicBezTo>
                <a:cubicBezTo>
                  <a:pt x="2900901" y="1203487"/>
                  <a:pt x="2899079" y="1199843"/>
                  <a:pt x="2899079" y="1194376"/>
                </a:cubicBezTo>
                <a:cubicBezTo>
                  <a:pt x="2899079" y="1194376"/>
                  <a:pt x="2897257" y="1196199"/>
                  <a:pt x="2897257" y="1198021"/>
                </a:cubicBezTo>
                <a:cubicBezTo>
                  <a:pt x="2891790" y="1192554"/>
                  <a:pt x="2897257" y="1179799"/>
                  <a:pt x="2899079" y="1174332"/>
                </a:cubicBezTo>
                <a:close/>
                <a:moveTo>
                  <a:pt x="2441713" y="1174332"/>
                </a:moveTo>
                <a:cubicBezTo>
                  <a:pt x="2434425" y="1174332"/>
                  <a:pt x="2427136" y="1179799"/>
                  <a:pt x="2427136" y="1187088"/>
                </a:cubicBezTo>
                <a:cubicBezTo>
                  <a:pt x="2438069" y="1187088"/>
                  <a:pt x="2443536" y="1177977"/>
                  <a:pt x="2441713" y="1174332"/>
                </a:cubicBezTo>
                <a:close/>
                <a:moveTo>
                  <a:pt x="626828" y="1174332"/>
                </a:moveTo>
                <a:cubicBezTo>
                  <a:pt x="625006" y="1176155"/>
                  <a:pt x="623185" y="1172510"/>
                  <a:pt x="621362" y="1176155"/>
                </a:cubicBezTo>
                <a:cubicBezTo>
                  <a:pt x="623185" y="1181621"/>
                  <a:pt x="625006" y="1181621"/>
                  <a:pt x="628650" y="1179799"/>
                </a:cubicBezTo>
                <a:cubicBezTo>
                  <a:pt x="628650" y="1177977"/>
                  <a:pt x="628650" y="1176155"/>
                  <a:pt x="626828" y="1174332"/>
                </a:cubicBezTo>
                <a:close/>
                <a:moveTo>
                  <a:pt x="497454" y="1174332"/>
                </a:moveTo>
                <a:cubicBezTo>
                  <a:pt x="495632" y="1174332"/>
                  <a:pt x="493809" y="1174332"/>
                  <a:pt x="491987" y="1177977"/>
                </a:cubicBezTo>
                <a:cubicBezTo>
                  <a:pt x="499276" y="1185266"/>
                  <a:pt x="506565" y="1188910"/>
                  <a:pt x="512031" y="1188910"/>
                </a:cubicBezTo>
                <a:cubicBezTo>
                  <a:pt x="510209" y="1183443"/>
                  <a:pt x="504743" y="1181621"/>
                  <a:pt x="497454" y="1174332"/>
                </a:cubicBezTo>
                <a:close/>
                <a:moveTo>
                  <a:pt x="276971" y="1174332"/>
                </a:moveTo>
                <a:cubicBezTo>
                  <a:pt x="275149" y="1176155"/>
                  <a:pt x="282438" y="1179799"/>
                  <a:pt x="284259" y="1179799"/>
                </a:cubicBezTo>
                <a:cubicBezTo>
                  <a:pt x="280615" y="1177977"/>
                  <a:pt x="278793" y="1174332"/>
                  <a:pt x="276971" y="1174332"/>
                </a:cubicBezTo>
                <a:close/>
                <a:moveTo>
                  <a:pt x="1379893" y="1174032"/>
                </a:moveTo>
                <a:lnTo>
                  <a:pt x="1381208" y="1177977"/>
                </a:lnTo>
                <a:lnTo>
                  <a:pt x="1379386" y="1178705"/>
                </a:lnTo>
                <a:lnTo>
                  <a:pt x="1379386" y="1174560"/>
                </a:lnTo>
                <a:close/>
                <a:moveTo>
                  <a:pt x="2966272" y="1173877"/>
                </a:moveTo>
                <a:lnTo>
                  <a:pt x="2966377" y="1174087"/>
                </a:lnTo>
                <a:lnTo>
                  <a:pt x="2965515" y="1174785"/>
                </a:lnTo>
                <a:close/>
                <a:moveTo>
                  <a:pt x="456455" y="1173876"/>
                </a:moveTo>
                <a:cubicBezTo>
                  <a:pt x="454177" y="1173877"/>
                  <a:pt x="452810" y="1174332"/>
                  <a:pt x="453722" y="1176155"/>
                </a:cubicBezTo>
                <a:cubicBezTo>
                  <a:pt x="457367" y="1177977"/>
                  <a:pt x="466478" y="1177977"/>
                  <a:pt x="464655" y="1174332"/>
                </a:cubicBezTo>
                <a:cubicBezTo>
                  <a:pt x="461921" y="1174332"/>
                  <a:pt x="458732" y="1173876"/>
                  <a:pt x="456455" y="1173876"/>
                </a:cubicBezTo>
                <a:close/>
                <a:moveTo>
                  <a:pt x="696555" y="1173535"/>
                </a:moveTo>
                <a:cubicBezTo>
                  <a:pt x="694477" y="1172852"/>
                  <a:pt x="691971" y="1172966"/>
                  <a:pt x="688782" y="1174332"/>
                </a:cubicBezTo>
                <a:cubicBezTo>
                  <a:pt x="692426" y="1179799"/>
                  <a:pt x="703359" y="1188910"/>
                  <a:pt x="710648" y="1188910"/>
                </a:cubicBezTo>
                <a:cubicBezTo>
                  <a:pt x="705182" y="1184810"/>
                  <a:pt x="702790" y="1175585"/>
                  <a:pt x="696555" y="1173535"/>
                </a:cubicBezTo>
                <a:close/>
                <a:moveTo>
                  <a:pt x="1178263" y="1173193"/>
                </a:moveTo>
                <a:cubicBezTo>
                  <a:pt x="1176669" y="1173877"/>
                  <a:pt x="1175302" y="1175243"/>
                  <a:pt x="1177125" y="1176155"/>
                </a:cubicBezTo>
                <a:cubicBezTo>
                  <a:pt x="1177125" y="1172510"/>
                  <a:pt x="1178947" y="1174332"/>
                  <a:pt x="1180769" y="1174332"/>
                </a:cubicBezTo>
                <a:cubicBezTo>
                  <a:pt x="1181680" y="1172510"/>
                  <a:pt x="1179858" y="1172510"/>
                  <a:pt x="1178263" y="1173193"/>
                </a:cubicBezTo>
                <a:close/>
                <a:moveTo>
                  <a:pt x="1458367" y="1172517"/>
                </a:moveTo>
                <a:lnTo>
                  <a:pt x="1459562" y="1177977"/>
                </a:lnTo>
                <a:lnTo>
                  <a:pt x="1458158" y="1178591"/>
                </a:lnTo>
                <a:close/>
                <a:moveTo>
                  <a:pt x="3022987" y="1172510"/>
                </a:moveTo>
                <a:cubicBezTo>
                  <a:pt x="3022987" y="1174332"/>
                  <a:pt x="3021165" y="1174332"/>
                  <a:pt x="3019343" y="1174332"/>
                </a:cubicBezTo>
                <a:cubicBezTo>
                  <a:pt x="3019343" y="1177977"/>
                  <a:pt x="3022987" y="1179799"/>
                  <a:pt x="3026631" y="1179799"/>
                </a:cubicBezTo>
                <a:cubicBezTo>
                  <a:pt x="3028453" y="1176155"/>
                  <a:pt x="3022987" y="1179799"/>
                  <a:pt x="3022987" y="1172510"/>
                </a:cubicBezTo>
                <a:close/>
                <a:moveTo>
                  <a:pt x="1419474" y="1172510"/>
                </a:moveTo>
                <a:lnTo>
                  <a:pt x="1419988" y="1173949"/>
                </a:lnTo>
                <a:lnTo>
                  <a:pt x="1419474" y="1174332"/>
                </a:lnTo>
                <a:lnTo>
                  <a:pt x="1418664" y="1174130"/>
                </a:lnTo>
                <a:close/>
                <a:moveTo>
                  <a:pt x="639583" y="1172510"/>
                </a:moveTo>
                <a:cubicBezTo>
                  <a:pt x="639583" y="1176155"/>
                  <a:pt x="639583" y="1181621"/>
                  <a:pt x="643228" y="1179799"/>
                </a:cubicBezTo>
                <a:cubicBezTo>
                  <a:pt x="646872" y="1179799"/>
                  <a:pt x="643228" y="1174332"/>
                  <a:pt x="643228" y="1172510"/>
                </a:cubicBezTo>
                <a:cubicBezTo>
                  <a:pt x="641407" y="1172510"/>
                  <a:pt x="641407" y="1172510"/>
                  <a:pt x="639583" y="1172510"/>
                </a:cubicBezTo>
                <a:close/>
                <a:moveTo>
                  <a:pt x="586741" y="1172510"/>
                </a:moveTo>
                <a:cubicBezTo>
                  <a:pt x="583096" y="1177977"/>
                  <a:pt x="588562" y="1183443"/>
                  <a:pt x="594030" y="1179799"/>
                </a:cubicBezTo>
                <a:cubicBezTo>
                  <a:pt x="594030" y="1176155"/>
                  <a:pt x="588562" y="1172510"/>
                  <a:pt x="586741" y="1172510"/>
                </a:cubicBezTo>
                <a:close/>
                <a:moveTo>
                  <a:pt x="552119" y="1172510"/>
                </a:moveTo>
                <a:cubicBezTo>
                  <a:pt x="548475" y="1174332"/>
                  <a:pt x="553941" y="1177977"/>
                  <a:pt x="555763" y="1176155"/>
                </a:cubicBezTo>
                <a:cubicBezTo>
                  <a:pt x="553941" y="1174332"/>
                  <a:pt x="552119" y="1174332"/>
                  <a:pt x="552119" y="1172510"/>
                </a:cubicBezTo>
                <a:close/>
                <a:moveTo>
                  <a:pt x="249638" y="1172510"/>
                </a:moveTo>
                <a:cubicBezTo>
                  <a:pt x="249638" y="1174332"/>
                  <a:pt x="256927" y="1179799"/>
                  <a:pt x="258749" y="1177977"/>
                </a:cubicBezTo>
                <a:cubicBezTo>
                  <a:pt x="255105" y="1174332"/>
                  <a:pt x="253282" y="1174332"/>
                  <a:pt x="249638" y="1172510"/>
                </a:cubicBezTo>
                <a:close/>
                <a:moveTo>
                  <a:pt x="224378" y="1172484"/>
                </a:moveTo>
                <a:lnTo>
                  <a:pt x="224957" y="1172986"/>
                </a:lnTo>
                <a:lnTo>
                  <a:pt x="224128" y="1172510"/>
                </a:lnTo>
                <a:close/>
                <a:moveTo>
                  <a:pt x="477638" y="1171143"/>
                </a:moveTo>
                <a:cubicBezTo>
                  <a:pt x="476043" y="1171599"/>
                  <a:pt x="474677" y="1172510"/>
                  <a:pt x="473766" y="1172510"/>
                </a:cubicBezTo>
                <a:cubicBezTo>
                  <a:pt x="475589" y="1174332"/>
                  <a:pt x="481054" y="1172510"/>
                  <a:pt x="482876" y="1172510"/>
                </a:cubicBezTo>
                <a:cubicBezTo>
                  <a:pt x="481054" y="1170688"/>
                  <a:pt x="479232" y="1170688"/>
                  <a:pt x="477638" y="1171143"/>
                </a:cubicBezTo>
                <a:close/>
                <a:moveTo>
                  <a:pt x="3248937" y="1170688"/>
                </a:moveTo>
                <a:cubicBezTo>
                  <a:pt x="3250759" y="1174332"/>
                  <a:pt x="3247114" y="1179799"/>
                  <a:pt x="3254403" y="1179799"/>
                </a:cubicBezTo>
                <a:cubicBezTo>
                  <a:pt x="3252581" y="1176155"/>
                  <a:pt x="3256225" y="1176155"/>
                  <a:pt x="3256225" y="1170688"/>
                </a:cubicBezTo>
                <a:cubicBezTo>
                  <a:pt x="3252581" y="1172510"/>
                  <a:pt x="3254403" y="1168866"/>
                  <a:pt x="3248937" y="1170688"/>
                </a:cubicBezTo>
                <a:close/>
                <a:moveTo>
                  <a:pt x="3044853" y="1170688"/>
                </a:moveTo>
                <a:cubicBezTo>
                  <a:pt x="3044853" y="1174332"/>
                  <a:pt x="3046675" y="1174332"/>
                  <a:pt x="3046675" y="1177977"/>
                </a:cubicBezTo>
                <a:cubicBezTo>
                  <a:pt x="3043031" y="1177977"/>
                  <a:pt x="3044853" y="1172510"/>
                  <a:pt x="3041209" y="1172510"/>
                </a:cubicBezTo>
                <a:cubicBezTo>
                  <a:pt x="3037564" y="1172510"/>
                  <a:pt x="3039387" y="1177977"/>
                  <a:pt x="3039387" y="1181621"/>
                </a:cubicBezTo>
                <a:cubicBezTo>
                  <a:pt x="3043031" y="1183443"/>
                  <a:pt x="3041209" y="1177977"/>
                  <a:pt x="3041209" y="1176155"/>
                </a:cubicBezTo>
                <a:cubicBezTo>
                  <a:pt x="3044853" y="1176155"/>
                  <a:pt x="3043031" y="1181621"/>
                  <a:pt x="3046675" y="1177977"/>
                </a:cubicBezTo>
                <a:cubicBezTo>
                  <a:pt x="3046675" y="1181621"/>
                  <a:pt x="3043031" y="1181621"/>
                  <a:pt x="3044853" y="1185266"/>
                </a:cubicBezTo>
                <a:cubicBezTo>
                  <a:pt x="3046675" y="1185266"/>
                  <a:pt x="3048497" y="1185266"/>
                  <a:pt x="3050319" y="1185266"/>
                </a:cubicBezTo>
                <a:cubicBezTo>
                  <a:pt x="3053964" y="1179799"/>
                  <a:pt x="3052142" y="1170688"/>
                  <a:pt x="3044853" y="1170688"/>
                </a:cubicBezTo>
                <a:close/>
                <a:moveTo>
                  <a:pt x="1998925" y="1170688"/>
                </a:moveTo>
                <a:cubicBezTo>
                  <a:pt x="1998925" y="1176155"/>
                  <a:pt x="1995281" y="1179799"/>
                  <a:pt x="1997103" y="1185266"/>
                </a:cubicBezTo>
                <a:lnTo>
                  <a:pt x="1989342" y="1186261"/>
                </a:lnTo>
                <a:close/>
                <a:moveTo>
                  <a:pt x="1862262" y="1170688"/>
                </a:moveTo>
                <a:lnTo>
                  <a:pt x="1863809" y="1171668"/>
                </a:lnTo>
                <a:lnTo>
                  <a:pt x="1865906" y="1183443"/>
                </a:lnTo>
                <a:cubicBezTo>
                  <a:pt x="1867729" y="1198021"/>
                  <a:pt x="1871373" y="1210776"/>
                  <a:pt x="1875017" y="1225353"/>
                </a:cubicBezTo>
                <a:lnTo>
                  <a:pt x="1869795" y="1228617"/>
                </a:lnTo>
                <a:lnTo>
                  <a:pt x="1864767" y="1204170"/>
                </a:lnTo>
                <a:cubicBezTo>
                  <a:pt x="1863628" y="1193009"/>
                  <a:pt x="1863174" y="1181621"/>
                  <a:pt x="1862262" y="1170688"/>
                </a:cubicBezTo>
                <a:close/>
                <a:moveTo>
                  <a:pt x="1401252" y="1170688"/>
                </a:moveTo>
                <a:lnTo>
                  <a:pt x="1401252" y="1172054"/>
                </a:lnTo>
                <a:lnTo>
                  <a:pt x="1401252" y="1174332"/>
                </a:lnTo>
                <a:lnTo>
                  <a:pt x="1394631" y="1175890"/>
                </a:lnTo>
                <a:close/>
                <a:moveTo>
                  <a:pt x="1224501" y="1170688"/>
                </a:moveTo>
                <a:cubicBezTo>
                  <a:pt x="1217213" y="1176155"/>
                  <a:pt x="1209925" y="1176155"/>
                  <a:pt x="1202636" y="1177977"/>
                </a:cubicBezTo>
                <a:cubicBezTo>
                  <a:pt x="1204457" y="1181621"/>
                  <a:pt x="1204457" y="1181621"/>
                  <a:pt x="1208102" y="1181621"/>
                </a:cubicBezTo>
                <a:cubicBezTo>
                  <a:pt x="1202636" y="1181621"/>
                  <a:pt x="1200814" y="1181621"/>
                  <a:pt x="1197169" y="1185266"/>
                </a:cubicBezTo>
                <a:cubicBezTo>
                  <a:pt x="1200814" y="1185266"/>
                  <a:pt x="1204457" y="1187088"/>
                  <a:pt x="1209925" y="1183443"/>
                </a:cubicBezTo>
                <a:cubicBezTo>
                  <a:pt x="1209925" y="1183443"/>
                  <a:pt x="1208102" y="1181621"/>
                  <a:pt x="1208102" y="1181621"/>
                </a:cubicBezTo>
                <a:cubicBezTo>
                  <a:pt x="1213568" y="1183443"/>
                  <a:pt x="1220858" y="1177977"/>
                  <a:pt x="1224501" y="1170688"/>
                </a:cubicBezTo>
                <a:close/>
                <a:moveTo>
                  <a:pt x="1220858" y="1170688"/>
                </a:moveTo>
                <a:cubicBezTo>
                  <a:pt x="1213568" y="1167044"/>
                  <a:pt x="1208102" y="1172510"/>
                  <a:pt x="1202636" y="1176155"/>
                </a:cubicBezTo>
                <a:cubicBezTo>
                  <a:pt x="1208102" y="1176155"/>
                  <a:pt x="1213568" y="1176155"/>
                  <a:pt x="1220858" y="1170688"/>
                </a:cubicBezTo>
                <a:close/>
                <a:moveTo>
                  <a:pt x="861889" y="1170688"/>
                </a:moveTo>
                <a:lnTo>
                  <a:pt x="861889" y="1174880"/>
                </a:lnTo>
                <a:lnTo>
                  <a:pt x="861223" y="1172019"/>
                </a:lnTo>
                <a:close/>
                <a:moveTo>
                  <a:pt x="841845" y="1170688"/>
                </a:moveTo>
                <a:cubicBezTo>
                  <a:pt x="840022" y="1170688"/>
                  <a:pt x="840022" y="1176155"/>
                  <a:pt x="840022" y="1176155"/>
                </a:cubicBezTo>
                <a:cubicBezTo>
                  <a:pt x="843667" y="1177977"/>
                  <a:pt x="840022" y="1172510"/>
                  <a:pt x="841845" y="1170688"/>
                </a:cubicBezTo>
                <a:close/>
                <a:moveTo>
                  <a:pt x="630472" y="1170688"/>
                </a:moveTo>
                <a:cubicBezTo>
                  <a:pt x="628650" y="1174332"/>
                  <a:pt x="630472" y="1179799"/>
                  <a:pt x="634117" y="1179799"/>
                </a:cubicBezTo>
                <a:cubicBezTo>
                  <a:pt x="637761" y="1176155"/>
                  <a:pt x="634117" y="1172510"/>
                  <a:pt x="630472" y="1170688"/>
                </a:cubicBezTo>
                <a:close/>
                <a:moveTo>
                  <a:pt x="588562" y="1170688"/>
                </a:moveTo>
                <a:cubicBezTo>
                  <a:pt x="590385" y="1172510"/>
                  <a:pt x="594030" y="1172510"/>
                  <a:pt x="594030" y="1176155"/>
                </a:cubicBezTo>
                <a:cubicBezTo>
                  <a:pt x="595852" y="1174332"/>
                  <a:pt x="597673" y="1172510"/>
                  <a:pt x="595852" y="1170688"/>
                </a:cubicBezTo>
                <a:cubicBezTo>
                  <a:pt x="594030" y="1168866"/>
                  <a:pt x="590385" y="1170688"/>
                  <a:pt x="588562" y="1170688"/>
                </a:cubicBezTo>
                <a:close/>
                <a:moveTo>
                  <a:pt x="286082" y="1170688"/>
                </a:moveTo>
                <a:cubicBezTo>
                  <a:pt x="287904" y="1172510"/>
                  <a:pt x="293370" y="1179799"/>
                  <a:pt x="298837" y="1172510"/>
                </a:cubicBezTo>
                <a:cubicBezTo>
                  <a:pt x="293370" y="1172510"/>
                  <a:pt x="289726" y="1172510"/>
                  <a:pt x="286082" y="1170688"/>
                </a:cubicBezTo>
                <a:close/>
                <a:moveTo>
                  <a:pt x="209550" y="1170688"/>
                </a:moveTo>
                <a:cubicBezTo>
                  <a:pt x="211372" y="1177977"/>
                  <a:pt x="224128" y="1185266"/>
                  <a:pt x="231416" y="1190732"/>
                </a:cubicBezTo>
                <a:cubicBezTo>
                  <a:pt x="225950" y="1183443"/>
                  <a:pt x="215017" y="1176155"/>
                  <a:pt x="209550" y="1170688"/>
                </a:cubicBezTo>
                <a:close/>
                <a:moveTo>
                  <a:pt x="3303109" y="1169021"/>
                </a:moveTo>
                <a:lnTo>
                  <a:pt x="3304416" y="1169962"/>
                </a:lnTo>
                <a:lnTo>
                  <a:pt x="3299957" y="1172510"/>
                </a:lnTo>
                <a:close/>
                <a:moveTo>
                  <a:pt x="1483250" y="1168866"/>
                </a:moveTo>
                <a:cubicBezTo>
                  <a:pt x="1479606" y="1174332"/>
                  <a:pt x="1474139" y="1187088"/>
                  <a:pt x="1465028" y="1183443"/>
                </a:cubicBezTo>
                <a:cubicBezTo>
                  <a:pt x="1465028" y="1183443"/>
                  <a:pt x="1466850" y="1181621"/>
                  <a:pt x="1466850" y="1181621"/>
                </a:cubicBezTo>
                <a:cubicBezTo>
                  <a:pt x="1465028" y="1183443"/>
                  <a:pt x="1463206" y="1183443"/>
                  <a:pt x="1461384" y="1181621"/>
                </a:cubicBezTo>
                <a:cubicBezTo>
                  <a:pt x="1468673" y="1176155"/>
                  <a:pt x="1475961" y="1168866"/>
                  <a:pt x="1483250" y="1168866"/>
                </a:cubicBezTo>
                <a:close/>
                <a:moveTo>
                  <a:pt x="1157081" y="1168866"/>
                </a:moveTo>
                <a:cubicBezTo>
                  <a:pt x="1155259" y="1170688"/>
                  <a:pt x="1153436" y="1168866"/>
                  <a:pt x="1149792" y="1172510"/>
                </a:cubicBezTo>
                <a:cubicBezTo>
                  <a:pt x="1151614" y="1176155"/>
                  <a:pt x="1151614" y="1177977"/>
                  <a:pt x="1155259" y="1177977"/>
                </a:cubicBezTo>
                <a:cubicBezTo>
                  <a:pt x="1157081" y="1172510"/>
                  <a:pt x="1162547" y="1172510"/>
                  <a:pt x="1157081" y="1168866"/>
                </a:cubicBezTo>
                <a:close/>
                <a:moveTo>
                  <a:pt x="929309" y="1168866"/>
                </a:moveTo>
                <a:cubicBezTo>
                  <a:pt x="925666" y="1170688"/>
                  <a:pt x="923843" y="1177977"/>
                  <a:pt x="920198" y="1179799"/>
                </a:cubicBezTo>
                <a:cubicBezTo>
                  <a:pt x="925666" y="1179799"/>
                  <a:pt x="929309" y="1176155"/>
                  <a:pt x="931131" y="1172510"/>
                </a:cubicBezTo>
                <a:cubicBezTo>
                  <a:pt x="931131" y="1170688"/>
                  <a:pt x="929309" y="1170688"/>
                  <a:pt x="929309" y="1168866"/>
                </a:cubicBezTo>
                <a:close/>
                <a:moveTo>
                  <a:pt x="843667" y="1168866"/>
                </a:moveTo>
                <a:cubicBezTo>
                  <a:pt x="843667" y="1176155"/>
                  <a:pt x="840022" y="1185266"/>
                  <a:pt x="845489" y="1190732"/>
                </a:cubicBezTo>
                <a:cubicBezTo>
                  <a:pt x="849133" y="1187088"/>
                  <a:pt x="849133" y="1181621"/>
                  <a:pt x="845489" y="1179799"/>
                </a:cubicBezTo>
                <a:cubicBezTo>
                  <a:pt x="843667" y="1177977"/>
                  <a:pt x="847311" y="1177977"/>
                  <a:pt x="847311" y="1176155"/>
                </a:cubicBezTo>
                <a:cubicBezTo>
                  <a:pt x="847311" y="1172510"/>
                  <a:pt x="845489" y="1170688"/>
                  <a:pt x="843667" y="1168866"/>
                </a:cubicBezTo>
                <a:close/>
                <a:moveTo>
                  <a:pt x="705182" y="1168866"/>
                </a:moveTo>
                <a:cubicBezTo>
                  <a:pt x="705182" y="1177977"/>
                  <a:pt x="717937" y="1188910"/>
                  <a:pt x="727048" y="1190732"/>
                </a:cubicBezTo>
                <a:cubicBezTo>
                  <a:pt x="721581" y="1179799"/>
                  <a:pt x="712470" y="1177977"/>
                  <a:pt x="705182" y="1168866"/>
                </a:cubicBezTo>
                <a:close/>
                <a:moveTo>
                  <a:pt x="697893" y="1168866"/>
                </a:moveTo>
                <a:cubicBezTo>
                  <a:pt x="697893" y="1172510"/>
                  <a:pt x="703359" y="1176155"/>
                  <a:pt x="705182" y="1174332"/>
                </a:cubicBezTo>
                <a:cubicBezTo>
                  <a:pt x="703359" y="1172510"/>
                  <a:pt x="703359" y="1170688"/>
                  <a:pt x="701537" y="1168866"/>
                </a:cubicBezTo>
                <a:cubicBezTo>
                  <a:pt x="699715" y="1168866"/>
                  <a:pt x="699715" y="1170688"/>
                  <a:pt x="697893" y="1168866"/>
                </a:cubicBezTo>
                <a:close/>
                <a:moveTo>
                  <a:pt x="191329" y="1168866"/>
                </a:moveTo>
                <a:cubicBezTo>
                  <a:pt x="198617" y="1177977"/>
                  <a:pt x="211372" y="1187088"/>
                  <a:pt x="220483" y="1187088"/>
                </a:cubicBezTo>
                <a:cubicBezTo>
                  <a:pt x="211372" y="1176155"/>
                  <a:pt x="200439" y="1170688"/>
                  <a:pt x="191329" y="1168866"/>
                </a:cubicBezTo>
                <a:close/>
                <a:moveTo>
                  <a:pt x="169462" y="1168866"/>
                </a:moveTo>
                <a:cubicBezTo>
                  <a:pt x="163996" y="1168866"/>
                  <a:pt x="174929" y="1177977"/>
                  <a:pt x="180396" y="1179799"/>
                </a:cubicBezTo>
                <a:cubicBezTo>
                  <a:pt x="178573" y="1177977"/>
                  <a:pt x="169462" y="1170688"/>
                  <a:pt x="169462" y="1168866"/>
                </a:cubicBezTo>
                <a:close/>
                <a:moveTo>
                  <a:pt x="475361" y="1168183"/>
                </a:moveTo>
                <a:cubicBezTo>
                  <a:pt x="474677" y="1168866"/>
                  <a:pt x="473765" y="1169777"/>
                  <a:pt x="471943" y="1168866"/>
                </a:cubicBezTo>
                <a:cubicBezTo>
                  <a:pt x="471943" y="1170688"/>
                  <a:pt x="477410" y="1170688"/>
                  <a:pt x="477410" y="1168866"/>
                </a:cubicBezTo>
                <a:cubicBezTo>
                  <a:pt x="476499" y="1167044"/>
                  <a:pt x="476043" y="1167499"/>
                  <a:pt x="475361" y="1168183"/>
                </a:cubicBezTo>
                <a:close/>
                <a:moveTo>
                  <a:pt x="213088" y="1167616"/>
                </a:moveTo>
                <a:lnTo>
                  <a:pt x="213802" y="1167854"/>
                </a:lnTo>
                <a:lnTo>
                  <a:pt x="215017" y="1168866"/>
                </a:lnTo>
                <a:close/>
                <a:moveTo>
                  <a:pt x="2412559" y="1167044"/>
                </a:moveTo>
                <a:cubicBezTo>
                  <a:pt x="2403448" y="1174332"/>
                  <a:pt x="2397981" y="1179799"/>
                  <a:pt x="2405270" y="1190732"/>
                </a:cubicBezTo>
                <a:cubicBezTo>
                  <a:pt x="2405270" y="1192554"/>
                  <a:pt x="2410737" y="1190732"/>
                  <a:pt x="2412559" y="1190732"/>
                </a:cubicBezTo>
                <a:cubicBezTo>
                  <a:pt x="2405270" y="1187088"/>
                  <a:pt x="2414381" y="1183443"/>
                  <a:pt x="2416203" y="1176155"/>
                </a:cubicBezTo>
                <a:cubicBezTo>
                  <a:pt x="2412559" y="1176155"/>
                  <a:pt x="2410737" y="1176155"/>
                  <a:pt x="2410737" y="1177977"/>
                </a:cubicBezTo>
                <a:cubicBezTo>
                  <a:pt x="2414381" y="1172510"/>
                  <a:pt x="2416203" y="1172510"/>
                  <a:pt x="2412559" y="1167044"/>
                </a:cubicBezTo>
                <a:close/>
                <a:moveTo>
                  <a:pt x="2210297" y="1167044"/>
                </a:moveTo>
                <a:cubicBezTo>
                  <a:pt x="2210297" y="1168866"/>
                  <a:pt x="2210297" y="1170688"/>
                  <a:pt x="2210297" y="1172510"/>
                </a:cubicBezTo>
                <a:cubicBezTo>
                  <a:pt x="2213942" y="1172510"/>
                  <a:pt x="2215764" y="1172510"/>
                  <a:pt x="2217586" y="1172510"/>
                </a:cubicBezTo>
                <a:cubicBezTo>
                  <a:pt x="2215764" y="1168866"/>
                  <a:pt x="2213942" y="1168866"/>
                  <a:pt x="2210297" y="1167044"/>
                </a:cubicBezTo>
                <a:close/>
                <a:moveTo>
                  <a:pt x="2060879" y="1167044"/>
                </a:moveTo>
                <a:cubicBezTo>
                  <a:pt x="2059057" y="1170688"/>
                  <a:pt x="2059057" y="1174332"/>
                  <a:pt x="2059057" y="1177977"/>
                </a:cubicBezTo>
                <a:cubicBezTo>
                  <a:pt x="2064524" y="1176155"/>
                  <a:pt x="2069990" y="1172510"/>
                  <a:pt x="2075457" y="1170688"/>
                </a:cubicBezTo>
                <a:close/>
                <a:moveTo>
                  <a:pt x="1140681" y="1167044"/>
                </a:moveTo>
                <a:cubicBezTo>
                  <a:pt x="1142503" y="1170688"/>
                  <a:pt x="1138859" y="1168866"/>
                  <a:pt x="1137037" y="1170688"/>
                </a:cubicBezTo>
                <a:cubicBezTo>
                  <a:pt x="1138859" y="1172510"/>
                  <a:pt x="1142503" y="1174332"/>
                  <a:pt x="1144326" y="1176155"/>
                </a:cubicBezTo>
                <a:cubicBezTo>
                  <a:pt x="1146148" y="1174332"/>
                  <a:pt x="1147970" y="1172510"/>
                  <a:pt x="1149792" y="1170688"/>
                </a:cubicBezTo>
                <a:cubicBezTo>
                  <a:pt x="1147970" y="1167044"/>
                  <a:pt x="1142503" y="1170688"/>
                  <a:pt x="1144326" y="1167044"/>
                </a:cubicBezTo>
                <a:cubicBezTo>
                  <a:pt x="1144326" y="1165222"/>
                  <a:pt x="1142503" y="1168866"/>
                  <a:pt x="1140681" y="1167044"/>
                </a:cubicBezTo>
                <a:close/>
                <a:moveTo>
                  <a:pt x="1111526" y="1167044"/>
                </a:moveTo>
                <a:cubicBezTo>
                  <a:pt x="1115171" y="1168866"/>
                  <a:pt x="1120637" y="1172510"/>
                  <a:pt x="1124282" y="1170688"/>
                </a:cubicBezTo>
                <a:cubicBezTo>
                  <a:pt x="1124282" y="1177977"/>
                  <a:pt x="1135215" y="1176155"/>
                  <a:pt x="1138859" y="1181621"/>
                </a:cubicBezTo>
                <a:cubicBezTo>
                  <a:pt x="1140681" y="1179799"/>
                  <a:pt x="1144326" y="1181621"/>
                  <a:pt x="1147970" y="1179799"/>
                </a:cubicBezTo>
                <a:cubicBezTo>
                  <a:pt x="1144326" y="1177977"/>
                  <a:pt x="1140681" y="1177977"/>
                  <a:pt x="1137037" y="1174332"/>
                </a:cubicBezTo>
                <a:cubicBezTo>
                  <a:pt x="1135215" y="1176155"/>
                  <a:pt x="1140681" y="1177977"/>
                  <a:pt x="1137037" y="1177977"/>
                </a:cubicBezTo>
                <a:cubicBezTo>
                  <a:pt x="1135215" y="1177977"/>
                  <a:pt x="1135215" y="1176155"/>
                  <a:pt x="1133393" y="1174332"/>
                </a:cubicBezTo>
                <a:cubicBezTo>
                  <a:pt x="1133393" y="1172510"/>
                  <a:pt x="1135215" y="1174332"/>
                  <a:pt x="1135215" y="1172510"/>
                </a:cubicBezTo>
                <a:cubicBezTo>
                  <a:pt x="1127926" y="1165222"/>
                  <a:pt x="1120637" y="1167044"/>
                  <a:pt x="1111526" y="1167044"/>
                </a:cubicBezTo>
                <a:close/>
                <a:moveTo>
                  <a:pt x="867355" y="1167044"/>
                </a:moveTo>
                <a:cubicBezTo>
                  <a:pt x="869177" y="1169777"/>
                  <a:pt x="869177" y="1172966"/>
                  <a:pt x="868721" y="1176154"/>
                </a:cubicBezTo>
                <a:lnTo>
                  <a:pt x="868641" y="1176691"/>
                </a:lnTo>
                <a:close/>
                <a:moveTo>
                  <a:pt x="479232" y="1167044"/>
                </a:moveTo>
                <a:cubicBezTo>
                  <a:pt x="482876" y="1170688"/>
                  <a:pt x="486521" y="1174332"/>
                  <a:pt x="490165" y="1168866"/>
                </a:cubicBezTo>
                <a:cubicBezTo>
                  <a:pt x="484700" y="1167044"/>
                  <a:pt x="482876" y="1168866"/>
                  <a:pt x="479232" y="1167044"/>
                </a:cubicBezTo>
                <a:close/>
                <a:moveTo>
                  <a:pt x="200439" y="1167044"/>
                </a:moveTo>
                <a:cubicBezTo>
                  <a:pt x="202262" y="1168866"/>
                  <a:pt x="207728" y="1174332"/>
                  <a:pt x="211372" y="1174332"/>
                </a:cubicBezTo>
                <a:cubicBezTo>
                  <a:pt x="209550" y="1172510"/>
                  <a:pt x="204084" y="1168866"/>
                  <a:pt x="204084" y="1167044"/>
                </a:cubicBezTo>
                <a:cubicBezTo>
                  <a:pt x="204084" y="1167044"/>
                  <a:pt x="202262" y="1165222"/>
                  <a:pt x="200439" y="1167044"/>
                </a:cubicBezTo>
                <a:close/>
                <a:moveTo>
                  <a:pt x="2922347" y="1166278"/>
                </a:moveTo>
                <a:lnTo>
                  <a:pt x="2924590" y="1168866"/>
                </a:lnTo>
                <a:lnTo>
                  <a:pt x="2920703" y="1166491"/>
                </a:lnTo>
                <a:close/>
                <a:moveTo>
                  <a:pt x="4185533" y="1165311"/>
                </a:moveTo>
                <a:lnTo>
                  <a:pt x="4201933" y="1179889"/>
                </a:lnTo>
                <a:lnTo>
                  <a:pt x="4185533" y="1188999"/>
                </a:lnTo>
                <a:close/>
                <a:moveTo>
                  <a:pt x="2026468" y="1165264"/>
                </a:moveTo>
                <a:lnTo>
                  <a:pt x="2034802" y="1166930"/>
                </a:lnTo>
                <a:lnTo>
                  <a:pt x="2034427" y="1168600"/>
                </a:lnTo>
                <a:lnTo>
                  <a:pt x="2032595" y="1171620"/>
                </a:lnTo>
                <a:lnTo>
                  <a:pt x="2026486" y="1165905"/>
                </a:lnTo>
                <a:close/>
                <a:moveTo>
                  <a:pt x="3329112" y="1165222"/>
                </a:moveTo>
                <a:lnTo>
                  <a:pt x="3329112" y="1165677"/>
                </a:lnTo>
                <a:lnTo>
                  <a:pt x="3327290" y="1167044"/>
                </a:lnTo>
                <a:close/>
                <a:moveTo>
                  <a:pt x="2913656" y="1165222"/>
                </a:moveTo>
                <a:cubicBezTo>
                  <a:pt x="2917301" y="1164310"/>
                  <a:pt x="2919123" y="1165221"/>
                  <a:pt x="2920490" y="1166360"/>
                </a:cubicBezTo>
                <a:lnTo>
                  <a:pt x="2920703" y="1166491"/>
                </a:lnTo>
                <a:lnTo>
                  <a:pt x="2914881" y="1167243"/>
                </a:lnTo>
                <a:lnTo>
                  <a:pt x="2914365" y="1167412"/>
                </a:lnTo>
                <a:close/>
                <a:moveTo>
                  <a:pt x="2478157" y="1165222"/>
                </a:moveTo>
                <a:lnTo>
                  <a:pt x="2483624" y="1188910"/>
                </a:lnTo>
                <a:lnTo>
                  <a:pt x="2478157" y="1203487"/>
                </a:lnTo>
                <a:cubicBezTo>
                  <a:pt x="2478157" y="1203487"/>
                  <a:pt x="2476335" y="1201665"/>
                  <a:pt x="2474513" y="1201665"/>
                </a:cubicBezTo>
                <a:cubicBezTo>
                  <a:pt x="2474513" y="1210776"/>
                  <a:pt x="2470868" y="1219887"/>
                  <a:pt x="2469046" y="1227175"/>
                </a:cubicBezTo>
                <a:cubicBezTo>
                  <a:pt x="2461757" y="1225353"/>
                  <a:pt x="2470868" y="1216242"/>
                  <a:pt x="2465402" y="1214420"/>
                </a:cubicBezTo>
                <a:cubicBezTo>
                  <a:pt x="2461757" y="1212598"/>
                  <a:pt x="2465402" y="1218065"/>
                  <a:pt x="2463580" y="1219887"/>
                </a:cubicBezTo>
                <a:cubicBezTo>
                  <a:pt x="2459935" y="1219887"/>
                  <a:pt x="2459935" y="1216242"/>
                  <a:pt x="2458113" y="1214420"/>
                </a:cubicBezTo>
                <a:cubicBezTo>
                  <a:pt x="2459935" y="1221709"/>
                  <a:pt x="2456291" y="1230820"/>
                  <a:pt x="2458113" y="1236286"/>
                </a:cubicBezTo>
                <a:lnTo>
                  <a:pt x="2465402" y="1241753"/>
                </a:lnTo>
                <a:lnTo>
                  <a:pt x="2450824" y="1243575"/>
                </a:lnTo>
                <a:cubicBezTo>
                  <a:pt x="2454469" y="1254508"/>
                  <a:pt x="2463580" y="1261797"/>
                  <a:pt x="2474513" y="1259975"/>
                </a:cubicBezTo>
                <a:lnTo>
                  <a:pt x="2477505" y="1267453"/>
                </a:lnTo>
                <a:lnTo>
                  <a:pt x="2477018" y="1267491"/>
                </a:lnTo>
                <a:cubicBezTo>
                  <a:pt x="2475424" y="1267718"/>
                  <a:pt x="2473602" y="1268174"/>
                  <a:pt x="2472690" y="1269085"/>
                </a:cubicBezTo>
                <a:cubicBezTo>
                  <a:pt x="2472690" y="1270908"/>
                  <a:pt x="2470868" y="1270908"/>
                  <a:pt x="2470868" y="1270908"/>
                </a:cubicBezTo>
                <a:lnTo>
                  <a:pt x="2481801" y="1269085"/>
                </a:lnTo>
                <a:lnTo>
                  <a:pt x="2479979" y="1267263"/>
                </a:lnTo>
                <a:lnTo>
                  <a:pt x="2477611" y="1267445"/>
                </a:lnTo>
                <a:lnTo>
                  <a:pt x="2472690" y="1252686"/>
                </a:lnTo>
                <a:lnTo>
                  <a:pt x="2478157" y="1245397"/>
                </a:lnTo>
                <a:lnTo>
                  <a:pt x="2509134" y="1250864"/>
                </a:lnTo>
                <a:cubicBezTo>
                  <a:pt x="2505490" y="1256330"/>
                  <a:pt x="2496379" y="1265441"/>
                  <a:pt x="2490912" y="1272730"/>
                </a:cubicBezTo>
                <a:cubicBezTo>
                  <a:pt x="2492734" y="1274552"/>
                  <a:pt x="2492734" y="1278196"/>
                  <a:pt x="2489090" y="1281841"/>
                </a:cubicBezTo>
                <a:cubicBezTo>
                  <a:pt x="2489090" y="1281841"/>
                  <a:pt x="2487268" y="1281841"/>
                  <a:pt x="2487268" y="1281841"/>
                </a:cubicBezTo>
                <a:cubicBezTo>
                  <a:pt x="2487268" y="1300062"/>
                  <a:pt x="2490912" y="1294596"/>
                  <a:pt x="2503667" y="1301885"/>
                </a:cubicBezTo>
                <a:lnTo>
                  <a:pt x="2494556" y="1280018"/>
                </a:lnTo>
                <a:cubicBezTo>
                  <a:pt x="2520067" y="1285485"/>
                  <a:pt x="2507312" y="1287307"/>
                  <a:pt x="2525534" y="1280018"/>
                </a:cubicBezTo>
                <a:lnTo>
                  <a:pt x="2525534" y="1301885"/>
                </a:lnTo>
                <a:cubicBezTo>
                  <a:pt x="2549222" y="1303707"/>
                  <a:pt x="2549222" y="1300062"/>
                  <a:pt x="2554688" y="1314640"/>
                </a:cubicBezTo>
                <a:cubicBezTo>
                  <a:pt x="2558332" y="1312818"/>
                  <a:pt x="2560155" y="1309173"/>
                  <a:pt x="2563799" y="1307351"/>
                </a:cubicBezTo>
                <a:cubicBezTo>
                  <a:pt x="2561977" y="1307351"/>
                  <a:pt x="2561977" y="1305529"/>
                  <a:pt x="2561977" y="1303707"/>
                </a:cubicBezTo>
                <a:cubicBezTo>
                  <a:pt x="2567443" y="1305529"/>
                  <a:pt x="2589310" y="1303707"/>
                  <a:pt x="2578377" y="1294596"/>
                </a:cubicBezTo>
                <a:cubicBezTo>
                  <a:pt x="2580199" y="1292774"/>
                  <a:pt x="2582021" y="1294596"/>
                  <a:pt x="2585665" y="1292774"/>
                </a:cubicBezTo>
                <a:cubicBezTo>
                  <a:pt x="2585665" y="1289129"/>
                  <a:pt x="2585665" y="1287307"/>
                  <a:pt x="2582021" y="1285485"/>
                </a:cubicBezTo>
                <a:lnTo>
                  <a:pt x="2576429" y="1285485"/>
                </a:lnTo>
                <a:lnTo>
                  <a:pt x="2576555" y="1285612"/>
                </a:lnTo>
                <a:cubicBezTo>
                  <a:pt x="2571089" y="1292900"/>
                  <a:pt x="2585666" y="1292900"/>
                  <a:pt x="2554689" y="1292900"/>
                </a:cubicBezTo>
                <a:cubicBezTo>
                  <a:pt x="2534646" y="1292900"/>
                  <a:pt x="2541934" y="1291077"/>
                  <a:pt x="2532823" y="1278323"/>
                </a:cubicBezTo>
                <a:lnTo>
                  <a:pt x="2556512" y="1281967"/>
                </a:lnTo>
                <a:lnTo>
                  <a:pt x="2569267" y="1278323"/>
                </a:lnTo>
                <a:lnTo>
                  <a:pt x="2575298" y="1284354"/>
                </a:lnTo>
                <a:lnTo>
                  <a:pt x="2582021" y="1270908"/>
                </a:lnTo>
                <a:lnTo>
                  <a:pt x="2594776" y="1272730"/>
                </a:lnTo>
                <a:cubicBezTo>
                  <a:pt x="2594776" y="1272730"/>
                  <a:pt x="2596598" y="1270908"/>
                  <a:pt x="2596598" y="1270908"/>
                </a:cubicBezTo>
                <a:cubicBezTo>
                  <a:pt x="2594776" y="1261797"/>
                  <a:pt x="2591132" y="1256330"/>
                  <a:pt x="2585665" y="1250864"/>
                </a:cubicBezTo>
                <a:cubicBezTo>
                  <a:pt x="2585665" y="1241753"/>
                  <a:pt x="2582021" y="1234464"/>
                  <a:pt x="2572910" y="1234464"/>
                </a:cubicBezTo>
                <a:cubicBezTo>
                  <a:pt x="2571088" y="1216242"/>
                  <a:pt x="2552866" y="1214420"/>
                  <a:pt x="2543755" y="1201665"/>
                </a:cubicBezTo>
                <a:cubicBezTo>
                  <a:pt x="2532822" y="1205309"/>
                  <a:pt x="2531000" y="1192554"/>
                  <a:pt x="2525534" y="1185266"/>
                </a:cubicBezTo>
                <a:cubicBezTo>
                  <a:pt x="2520067" y="1174332"/>
                  <a:pt x="2505490" y="1177977"/>
                  <a:pt x="2496379" y="1168866"/>
                </a:cubicBezTo>
                <a:cubicBezTo>
                  <a:pt x="2490912" y="1170688"/>
                  <a:pt x="2498201" y="1170688"/>
                  <a:pt x="2494556" y="1176155"/>
                </a:cubicBezTo>
                <a:cubicBezTo>
                  <a:pt x="2492734" y="1167044"/>
                  <a:pt x="2485446" y="1167044"/>
                  <a:pt x="2478157" y="1165222"/>
                </a:cubicBezTo>
                <a:close/>
                <a:moveTo>
                  <a:pt x="2252207" y="1165222"/>
                </a:moveTo>
                <a:cubicBezTo>
                  <a:pt x="2237630" y="1172510"/>
                  <a:pt x="2235808" y="1187088"/>
                  <a:pt x="2235808" y="1201665"/>
                </a:cubicBezTo>
                <a:cubicBezTo>
                  <a:pt x="2230341" y="1198021"/>
                  <a:pt x="2233986" y="1190732"/>
                  <a:pt x="2232163" y="1187088"/>
                </a:cubicBezTo>
                <a:cubicBezTo>
                  <a:pt x="2215764" y="1196199"/>
                  <a:pt x="2232163" y="1210776"/>
                  <a:pt x="2237630" y="1223531"/>
                </a:cubicBezTo>
                <a:cubicBezTo>
                  <a:pt x="2239452" y="1219887"/>
                  <a:pt x="2243096" y="1216242"/>
                  <a:pt x="2246741" y="1212598"/>
                </a:cubicBezTo>
                <a:lnTo>
                  <a:pt x="2250385" y="1203487"/>
                </a:lnTo>
                <a:cubicBezTo>
                  <a:pt x="2247652" y="1200754"/>
                  <a:pt x="2245830" y="1195743"/>
                  <a:pt x="2245830" y="1190960"/>
                </a:cubicBezTo>
                <a:lnTo>
                  <a:pt x="2250882" y="1182118"/>
                </a:lnTo>
                <a:lnTo>
                  <a:pt x="2252207" y="1179799"/>
                </a:lnTo>
                <a:lnTo>
                  <a:pt x="2248563" y="1174332"/>
                </a:lnTo>
                <a:lnTo>
                  <a:pt x="2250385" y="1174332"/>
                </a:lnTo>
                <a:cubicBezTo>
                  <a:pt x="2248563" y="1170688"/>
                  <a:pt x="2248563" y="1168866"/>
                  <a:pt x="2252207" y="1165222"/>
                </a:cubicBezTo>
                <a:close/>
                <a:moveTo>
                  <a:pt x="2203009" y="1165222"/>
                </a:moveTo>
                <a:cubicBezTo>
                  <a:pt x="2199364" y="1165222"/>
                  <a:pt x="2197542" y="1167044"/>
                  <a:pt x="2197542" y="1168866"/>
                </a:cubicBezTo>
                <a:cubicBezTo>
                  <a:pt x="2197542" y="1168866"/>
                  <a:pt x="2199364" y="1170688"/>
                  <a:pt x="2201187" y="1170688"/>
                </a:cubicBezTo>
                <a:cubicBezTo>
                  <a:pt x="2201187" y="1168866"/>
                  <a:pt x="2201187" y="1167044"/>
                  <a:pt x="2203009" y="1165222"/>
                </a:cubicBezTo>
                <a:close/>
                <a:moveTo>
                  <a:pt x="1053217" y="1165222"/>
                </a:moveTo>
                <a:cubicBezTo>
                  <a:pt x="1049573" y="1170688"/>
                  <a:pt x="1056861" y="1170688"/>
                  <a:pt x="1058683" y="1170688"/>
                </a:cubicBezTo>
                <a:cubicBezTo>
                  <a:pt x="1060506" y="1168866"/>
                  <a:pt x="1055040" y="1165222"/>
                  <a:pt x="1053217" y="1165222"/>
                </a:cubicBezTo>
                <a:close/>
                <a:moveTo>
                  <a:pt x="781713" y="1165222"/>
                </a:moveTo>
                <a:cubicBezTo>
                  <a:pt x="779892" y="1168866"/>
                  <a:pt x="785357" y="1170688"/>
                  <a:pt x="785357" y="1172510"/>
                </a:cubicBezTo>
                <a:cubicBezTo>
                  <a:pt x="787179" y="1170688"/>
                  <a:pt x="783535" y="1165222"/>
                  <a:pt x="781713" y="1165222"/>
                </a:cubicBezTo>
                <a:close/>
                <a:moveTo>
                  <a:pt x="717937" y="1165222"/>
                </a:moveTo>
                <a:cubicBezTo>
                  <a:pt x="717937" y="1170688"/>
                  <a:pt x="719759" y="1168866"/>
                  <a:pt x="721581" y="1172510"/>
                </a:cubicBezTo>
                <a:cubicBezTo>
                  <a:pt x="721581" y="1168866"/>
                  <a:pt x="719759" y="1167044"/>
                  <a:pt x="717937" y="1165222"/>
                </a:cubicBezTo>
                <a:close/>
                <a:moveTo>
                  <a:pt x="686960" y="1165222"/>
                </a:moveTo>
                <a:cubicBezTo>
                  <a:pt x="686960" y="1167044"/>
                  <a:pt x="685138" y="1167044"/>
                  <a:pt x="685138" y="1168866"/>
                </a:cubicBezTo>
                <a:cubicBezTo>
                  <a:pt x="685138" y="1170688"/>
                  <a:pt x="686960" y="1167044"/>
                  <a:pt x="688782" y="1168866"/>
                </a:cubicBezTo>
                <a:cubicBezTo>
                  <a:pt x="688782" y="1167044"/>
                  <a:pt x="686960" y="1167044"/>
                  <a:pt x="686960" y="1165222"/>
                </a:cubicBezTo>
                <a:close/>
                <a:moveTo>
                  <a:pt x="428211" y="1165222"/>
                </a:moveTo>
                <a:cubicBezTo>
                  <a:pt x="428211" y="1165222"/>
                  <a:pt x="426389" y="1165222"/>
                  <a:pt x="426389" y="1167044"/>
                </a:cubicBezTo>
                <a:cubicBezTo>
                  <a:pt x="426389" y="1163399"/>
                  <a:pt x="431856" y="1170688"/>
                  <a:pt x="433678" y="1168866"/>
                </a:cubicBezTo>
                <a:cubicBezTo>
                  <a:pt x="433678" y="1168866"/>
                  <a:pt x="431856" y="1167044"/>
                  <a:pt x="428211" y="1165222"/>
                </a:cubicBezTo>
                <a:close/>
                <a:moveTo>
                  <a:pt x="3017749" y="1164310"/>
                </a:moveTo>
                <a:cubicBezTo>
                  <a:pt x="3016154" y="1164310"/>
                  <a:pt x="3014787" y="1165221"/>
                  <a:pt x="3015698" y="1167044"/>
                </a:cubicBezTo>
                <a:cubicBezTo>
                  <a:pt x="3017521" y="1167044"/>
                  <a:pt x="3019343" y="1167044"/>
                  <a:pt x="3021165" y="1167044"/>
                </a:cubicBezTo>
                <a:cubicBezTo>
                  <a:pt x="3021165" y="1165221"/>
                  <a:pt x="3019343" y="1164310"/>
                  <a:pt x="3017749" y="1164310"/>
                </a:cubicBezTo>
                <a:close/>
                <a:moveTo>
                  <a:pt x="3044853" y="1163399"/>
                </a:moveTo>
                <a:cubicBezTo>
                  <a:pt x="3039387" y="1161577"/>
                  <a:pt x="3041209" y="1168866"/>
                  <a:pt x="3039387" y="1168866"/>
                </a:cubicBezTo>
                <a:cubicBezTo>
                  <a:pt x="3043031" y="1172510"/>
                  <a:pt x="3044853" y="1167044"/>
                  <a:pt x="3044853" y="1163399"/>
                </a:cubicBezTo>
                <a:close/>
                <a:moveTo>
                  <a:pt x="1457739" y="1163399"/>
                </a:moveTo>
                <a:cubicBezTo>
                  <a:pt x="1458650" y="1165221"/>
                  <a:pt x="1458650" y="1167044"/>
                  <a:pt x="1458422" y="1170916"/>
                </a:cubicBezTo>
                <a:lnTo>
                  <a:pt x="1458367" y="1172517"/>
                </a:lnTo>
                <a:lnTo>
                  <a:pt x="1457968" y="1170688"/>
                </a:lnTo>
                <a:cubicBezTo>
                  <a:pt x="1457284" y="1168410"/>
                  <a:pt x="1456828" y="1166132"/>
                  <a:pt x="1457739" y="1163399"/>
                </a:cubicBezTo>
                <a:close/>
                <a:moveTo>
                  <a:pt x="1044106" y="1163399"/>
                </a:moveTo>
                <a:cubicBezTo>
                  <a:pt x="1044106" y="1165222"/>
                  <a:pt x="1047750" y="1165222"/>
                  <a:pt x="1047750" y="1167044"/>
                </a:cubicBezTo>
                <a:cubicBezTo>
                  <a:pt x="1047750" y="1167044"/>
                  <a:pt x="1049573" y="1165222"/>
                  <a:pt x="1049573" y="1165222"/>
                </a:cubicBezTo>
                <a:cubicBezTo>
                  <a:pt x="1049573" y="1163399"/>
                  <a:pt x="1047750" y="1165222"/>
                  <a:pt x="1044106" y="1163399"/>
                </a:cubicBezTo>
                <a:close/>
                <a:moveTo>
                  <a:pt x="1033173" y="1163399"/>
                </a:moveTo>
                <a:cubicBezTo>
                  <a:pt x="1022240" y="1163399"/>
                  <a:pt x="1033173" y="1179799"/>
                  <a:pt x="1042284" y="1174332"/>
                </a:cubicBezTo>
                <a:cubicBezTo>
                  <a:pt x="1040462" y="1168866"/>
                  <a:pt x="1036818" y="1163399"/>
                  <a:pt x="1033173" y="1163399"/>
                </a:cubicBezTo>
                <a:close/>
                <a:moveTo>
                  <a:pt x="805401" y="1163399"/>
                </a:moveTo>
                <a:cubicBezTo>
                  <a:pt x="803579" y="1172510"/>
                  <a:pt x="812690" y="1177977"/>
                  <a:pt x="818156" y="1172510"/>
                </a:cubicBezTo>
                <a:cubicBezTo>
                  <a:pt x="816334" y="1168866"/>
                  <a:pt x="810868" y="1174332"/>
                  <a:pt x="809046" y="1170688"/>
                </a:cubicBezTo>
                <a:cubicBezTo>
                  <a:pt x="809046" y="1167044"/>
                  <a:pt x="810868" y="1172510"/>
                  <a:pt x="812690" y="1168866"/>
                </a:cubicBezTo>
                <a:cubicBezTo>
                  <a:pt x="809046" y="1167044"/>
                  <a:pt x="805401" y="1168866"/>
                  <a:pt x="805401" y="1163399"/>
                </a:cubicBezTo>
                <a:close/>
                <a:moveTo>
                  <a:pt x="798112" y="1163399"/>
                </a:moveTo>
                <a:cubicBezTo>
                  <a:pt x="798112" y="1172510"/>
                  <a:pt x="789003" y="1185266"/>
                  <a:pt x="801757" y="1187088"/>
                </a:cubicBezTo>
                <a:cubicBezTo>
                  <a:pt x="799935" y="1187088"/>
                  <a:pt x="798112" y="1185266"/>
                  <a:pt x="799935" y="1183443"/>
                </a:cubicBezTo>
                <a:cubicBezTo>
                  <a:pt x="801757" y="1185266"/>
                  <a:pt x="803579" y="1190732"/>
                  <a:pt x="807223" y="1187088"/>
                </a:cubicBezTo>
                <a:cubicBezTo>
                  <a:pt x="807223" y="1181621"/>
                  <a:pt x="805401" y="1172510"/>
                  <a:pt x="799935" y="1168866"/>
                </a:cubicBezTo>
                <a:cubicBezTo>
                  <a:pt x="805401" y="1165222"/>
                  <a:pt x="799935" y="1165222"/>
                  <a:pt x="798112" y="1163399"/>
                </a:cubicBezTo>
                <a:close/>
                <a:moveTo>
                  <a:pt x="533897" y="1163399"/>
                </a:moveTo>
                <a:cubicBezTo>
                  <a:pt x="532075" y="1165222"/>
                  <a:pt x="532075" y="1165222"/>
                  <a:pt x="530253" y="1167044"/>
                </a:cubicBezTo>
                <a:cubicBezTo>
                  <a:pt x="537542" y="1168866"/>
                  <a:pt x="543008" y="1174332"/>
                  <a:pt x="548475" y="1174332"/>
                </a:cubicBezTo>
                <a:cubicBezTo>
                  <a:pt x="543008" y="1168866"/>
                  <a:pt x="539364" y="1167044"/>
                  <a:pt x="533897" y="1163399"/>
                </a:cubicBezTo>
                <a:close/>
                <a:moveTo>
                  <a:pt x="404523" y="1163399"/>
                </a:moveTo>
                <a:cubicBezTo>
                  <a:pt x="402701" y="1163399"/>
                  <a:pt x="400879" y="1165222"/>
                  <a:pt x="399056" y="1165222"/>
                </a:cubicBezTo>
                <a:cubicBezTo>
                  <a:pt x="400879" y="1167044"/>
                  <a:pt x="408167" y="1167044"/>
                  <a:pt x="409989" y="1167044"/>
                </a:cubicBezTo>
                <a:cubicBezTo>
                  <a:pt x="408167" y="1165222"/>
                  <a:pt x="406345" y="1165222"/>
                  <a:pt x="404523" y="1163399"/>
                </a:cubicBezTo>
                <a:close/>
                <a:moveTo>
                  <a:pt x="879745" y="1163034"/>
                </a:moveTo>
                <a:lnTo>
                  <a:pt x="880111" y="1165222"/>
                </a:lnTo>
                <a:lnTo>
                  <a:pt x="879630" y="1163495"/>
                </a:lnTo>
                <a:close/>
                <a:moveTo>
                  <a:pt x="2095443" y="1162529"/>
                </a:moveTo>
                <a:cubicBezTo>
                  <a:pt x="2096297" y="1163894"/>
                  <a:pt x="2090489" y="1170381"/>
                  <a:pt x="2091855" y="1163549"/>
                </a:cubicBezTo>
                <a:cubicBezTo>
                  <a:pt x="2094133" y="1162182"/>
                  <a:pt x="2095158" y="1162072"/>
                  <a:pt x="2095443" y="1162529"/>
                </a:cubicBezTo>
                <a:close/>
                <a:moveTo>
                  <a:pt x="879980" y="1162098"/>
                </a:moveTo>
                <a:lnTo>
                  <a:pt x="879745" y="1163034"/>
                </a:lnTo>
                <a:lnTo>
                  <a:pt x="879655" y="1162488"/>
                </a:lnTo>
                <a:close/>
                <a:moveTo>
                  <a:pt x="2766060" y="1161577"/>
                </a:moveTo>
                <a:cubicBezTo>
                  <a:pt x="2764238" y="1163399"/>
                  <a:pt x="2762416" y="1163399"/>
                  <a:pt x="2760594" y="1163399"/>
                </a:cubicBezTo>
                <a:cubicBezTo>
                  <a:pt x="2758772" y="1168866"/>
                  <a:pt x="2762416" y="1168866"/>
                  <a:pt x="2762416" y="1170688"/>
                </a:cubicBezTo>
                <a:cubicBezTo>
                  <a:pt x="2766060" y="1170688"/>
                  <a:pt x="2764238" y="1167044"/>
                  <a:pt x="2766060" y="1161577"/>
                </a:cubicBezTo>
                <a:close/>
                <a:moveTo>
                  <a:pt x="1273700" y="1161577"/>
                </a:moveTo>
                <a:cubicBezTo>
                  <a:pt x="1279166" y="1167044"/>
                  <a:pt x="1277344" y="1172510"/>
                  <a:pt x="1279166" y="1179799"/>
                </a:cubicBezTo>
                <a:cubicBezTo>
                  <a:pt x="1282811" y="1179799"/>
                  <a:pt x="1286455" y="1172510"/>
                  <a:pt x="1290100" y="1170688"/>
                </a:cubicBezTo>
                <a:cubicBezTo>
                  <a:pt x="1286455" y="1174332"/>
                  <a:pt x="1284633" y="1179799"/>
                  <a:pt x="1279166" y="1181621"/>
                </a:cubicBezTo>
                <a:cubicBezTo>
                  <a:pt x="1275522" y="1174332"/>
                  <a:pt x="1277344" y="1168866"/>
                  <a:pt x="1273700" y="1161577"/>
                </a:cubicBezTo>
                <a:close/>
                <a:moveTo>
                  <a:pt x="1166192" y="1161577"/>
                </a:moveTo>
                <a:cubicBezTo>
                  <a:pt x="1164370" y="1161577"/>
                  <a:pt x="1160725" y="1165222"/>
                  <a:pt x="1162547" y="1167044"/>
                </a:cubicBezTo>
                <a:cubicBezTo>
                  <a:pt x="1164370" y="1168866"/>
                  <a:pt x="1164370" y="1167044"/>
                  <a:pt x="1166192" y="1167044"/>
                </a:cubicBezTo>
                <a:cubicBezTo>
                  <a:pt x="1166192" y="1170688"/>
                  <a:pt x="1160725" y="1172510"/>
                  <a:pt x="1160725" y="1176155"/>
                </a:cubicBezTo>
                <a:cubicBezTo>
                  <a:pt x="1164370" y="1176155"/>
                  <a:pt x="1166192" y="1176155"/>
                  <a:pt x="1169836" y="1177977"/>
                </a:cubicBezTo>
                <a:cubicBezTo>
                  <a:pt x="1171658" y="1176155"/>
                  <a:pt x="1171658" y="1174332"/>
                  <a:pt x="1173481" y="1176155"/>
                </a:cubicBezTo>
                <a:cubicBezTo>
                  <a:pt x="1171658" y="1170688"/>
                  <a:pt x="1169836" y="1167044"/>
                  <a:pt x="1166192" y="1161577"/>
                </a:cubicBezTo>
                <a:close/>
                <a:moveTo>
                  <a:pt x="1144326" y="1161577"/>
                </a:moveTo>
                <a:cubicBezTo>
                  <a:pt x="1144326" y="1163399"/>
                  <a:pt x="1147970" y="1163399"/>
                  <a:pt x="1144326" y="1165222"/>
                </a:cubicBezTo>
                <a:cubicBezTo>
                  <a:pt x="1144326" y="1165222"/>
                  <a:pt x="1146148" y="1167044"/>
                  <a:pt x="1146148" y="1167044"/>
                </a:cubicBezTo>
                <a:cubicBezTo>
                  <a:pt x="1147970" y="1165222"/>
                  <a:pt x="1146148" y="1163399"/>
                  <a:pt x="1147970" y="1161577"/>
                </a:cubicBezTo>
                <a:cubicBezTo>
                  <a:pt x="1146148" y="1159755"/>
                  <a:pt x="1144326" y="1159755"/>
                  <a:pt x="1144326" y="1161577"/>
                </a:cubicBezTo>
                <a:close/>
                <a:moveTo>
                  <a:pt x="901976" y="1161577"/>
                </a:moveTo>
                <a:cubicBezTo>
                  <a:pt x="898333" y="1165222"/>
                  <a:pt x="903799" y="1170688"/>
                  <a:pt x="907444" y="1174332"/>
                </a:cubicBezTo>
                <a:cubicBezTo>
                  <a:pt x="905621" y="1168866"/>
                  <a:pt x="901976" y="1165222"/>
                  <a:pt x="901976" y="1161577"/>
                </a:cubicBezTo>
                <a:close/>
                <a:moveTo>
                  <a:pt x="880111" y="1161577"/>
                </a:moveTo>
                <a:lnTo>
                  <a:pt x="880276" y="1161743"/>
                </a:lnTo>
                <a:lnTo>
                  <a:pt x="879980" y="1162098"/>
                </a:lnTo>
                <a:close/>
                <a:moveTo>
                  <a:pt x="834556" y="1161577"/>
                </a:moveTo>
                <a:cubicBezTo>
                  <a:pt x="834556" y="1168866"/>
                  <a:pt x="834556" y="1177977"/>
                  <a:pt x="840022" y="1187088"/>
                </a:cubicBezTo>
                <a:cubicBezTo>
                  <a:pt x="838200" y="1177977"/>
                  <a:pt x="841845" y="1170688"/>
                  <a:pt x="834556" y="1161577"/>
                </a:cubicBezTo>
                <a:close/>
                <a:moveTo>
                  <a:pt x="814512" y="1161577"/>
                </a:moveTo>
                <a:cubicBezTo>
                  <a:pt x="814512" y="1163399"/>
                  <a:pt x="814512" y="1165222"/>
                  <a:pt x="816334" y="1167044"/>
                </a:cubicBezTo>
                <a:cubicBezTo>
                  <a:pt x="816334" y="1167044"/>
                  <a:pt x="816334" y="1167044"/>
                  <a:pt x="818156" y="1165222"/>
                </a:cubicBezTo>
                <a:cubicBezTo>
                  <a:pt x="816334" y="1163399"/>
                  <a:pt x="816334" y="1163399"/>
                  <a:pt x="814512" y="1161577"/>
                </a:cubicBezTo>
                <a:close/>
                <a:moveTo>
                  <a:pt x="790824" y="1161577"/>
                </a:moveTo>
                <a:cubicBezTo>
                  <a:pt x="789003" y="1165222"/>
                  <a:pt x="790824" y="1168866"/>
                  <a:pt x="792646" y="1172510"/>
                </a:cubicBezTo>
                <a:cubicBezTo>
                  <a:pt x="796290" y="1168866"/>
                  <a:pt x="792646" y="1165222"/>
                  <a:pt x="796290" y="1163399"/>
                </a:cubicBezTo>
                <a:cubicBezTo>
                  <a:pt x="794468" y="1161577"/>
                  <a:pt x="792646" y="1163399"/>
                  <a:pt x="790824" y="1161577"/>
                </a:cubicBezTo>
                <a:close/>
                <a:moveTo>
                  <a:pt x="697893" y="1161577"/>
                </a:moveTo>
                <a:cubicBezTo>
                  <a:pt x="696071" y="1163399"/>
                  <a:pt x="696071" y="1165222"/>
                  <a:pt x="697893" y="1167044"/>
                </a:cubicBezTo>
                <a:cubicBezTo>
                  <a:pt x="697893" y="1167044"/>
                  <a:pt x="699715" y="1167044"/>
                  <a:pt x="701537" y="1165222"/>
                </a:cubicBezTo>
                <a:cubicBezTo>
                  <a:pt x="701537" y="1165222"/>
                  <a:pt x="699715" y="1161577"/>
                  <a:pt x="697893" y="1161577"/>
                </a:cubicBezTo>
                <a:close/>
                <a:moveTo>
                  <a:pt x="435500" y="1161577"/>
                </a:moveTo>
                <a:cubicBezTo>
                  <a:pt x="433678" y="1161577"/>
                  <a:pt x="431856" y="1163399"/>
                  <a:pt x="428211" y="1163399"/>
                </a:cubicBezTo>
                <a:cubicBezTo>
                  <a:pt x="430034" y="1167044"/>
                  <a:pt x="433678" y="1163399"/>
                  <a:pt x="435500" y="1161577"/>
                </a:cubicBezTo>
                <a:close/>
                <a:moveTo>
                  <a:pt x="240527" y="1161577"/>
                </a:moveTo>
                <a:cubicBezTo>
                  <a:pt x="238705" y="1168866"/>
                  <a:pt x="244172" y="1163399"/>
                  <a:pt x="247816" y="1165222"/>
                </a:cubicBezTo>
                <a:cubicBezTo>
                  <a:pt x="245994" y="1163399"/>
                  <a:pt x="242349" y="1163399"/>
                  <a:pt x="240527" y="1161577"/>
                </a:cubicBezTo>
                <a:close/>
                <a:moveTo>
                  <a:pt x="2943961" y="1161381"/>
                </a:moveTo>
                <a:lnTo>
                  <a:pt x="2944634" y="1163399"/>
                </a:lnTo>
                <a:lnTo>
                  <a:pt x="2922347" y="1166278"/>
                </a:lnTo>
                <a:lnTo>
                  <a:pt x="2921629" y="1165450"/>
                </a:lnTo>
                <a:cubicBezTo>
                  <a:pt x="2920945" y="1164766"/>
                  <a:pt x="2920945" y="1164310"/>
                  <a:pt x="2922767" y="1163399"/>
                </a:cubicBezTo>
                <a:close/>
                <a:moveTo>
                  <a:pt x="3039614" y="1160666"/>
                </a:moveTo>
                <a:cubicBezTo>
                  <a:pt x="3038476" y="1161577"/>
                  <a:pt x="3037564" y="1163399"/>
                  <a:pt x="3037564" y="1165222"/>
                </a:cubicBezTo>
                <a:cubicBezTo>
                  <a:pt x="3041209" y="1167044"/>
                  <a:pt x="3039387" y="1161577"/>
                  <a:pt x="3043031" y="1161577"/>
                </a:cubicBezTo>
                <a:cubicBezTo>
                  <a:pt x="3042120" y="1159755"/>
                  <a:pt x="3040754" y="1159755"/>
                  <a:pt x="3039614" y="1160666"/>
                </a:cubicBezTo>
                <a:close/>
                <a:moveTo>
                  <a:pt x="2590221" y="1160666"/>
                </a:moveTo>
                <a:cubicBezTo>
                  <a:pt x="2587943" y="1161121"/>
                  <a:pt x="2585665" y="1162488"/>
                  <a:pt x="2585665" y="1163399"/>
                </a:cubicBezTo>
                <a:cubicBezTo>
                  <a:pt x="2587487" y="1167044"/>
                  <a:pt x="2591132" y="1161577"/>
                  <a:pt x="2594776" y="1163399"/>
                </a:cubicBezTo>
                <a:cubicBezTo>
                  <a:pt x="2594776" y="1160666"/>
                  <a:pt x="2592498" y="1160210"/>
                  <a:pt x="2590221" y="1160666"/>
                </a:cubicBezTo>
                <a:close/>
                <a:moveTo>
                  <a:pt x="2334205" y="1159755"/>
                </a:moveTo>
                <a:cubicBezTo>
                  <a:pt x="2321450" y="1165222"/>
                  <a:pt x="2301406" y="1159755"/>
                  <a:pt x="2308695" y="1179799"/>
                </a:cubicBezTo>
                <a:cubicBezTo>
                  <a:pt x="2312339" y="1176155"/>
                  <a:pt x="2312339" y="1168866"/>
                  <a:pt x="2314161" y="1168866"/>
                </a:cubicBezTo>
                <a:cubicBezTo>
                  <a:pt x="2323272" y="1168866"/>
                  <a:pt x="2319628" y="1179799"/>
                  <a:pt x="2325094" y="1187088"/>
                </a:cubicBezTo>
                <a:cubicBezTo>
                  <a:pt x="2323272" y="1185266"/>
                  <a:pt x="2321450" y="1185266"/>
                  <a:pt x="2319628" y="1187088"/>
                </a:cubicBezTo>
                <a:cubicBezTo>
                  <a:pt x="2315983" y="1192554"/>
                  <a:pt x="2315983" y="1199843"/>
                  <a:pt x="2308695" y="1196199"/>
                </a:cubicBezTo>
                <a:cubicBezTo>
                  <a:pt x="2308695" y="1198021"/>
                  <a:pt x="2308695" y="1198021"/>
                  <a:pt x="2308695" y="1199843"/>
                </a:cubicBezTo>
                <a:lnTo>
                  <a:pt x="2326916" y="1219887"/>
                </a:lnTo>
                <a:cubicBezTo>
                  <a:pt x="2330561" y="1214420"/>
                  <a:pt x="2332383" y="1208954"/>
                  <a:pt x="2334205" y="1199843"/>
                </a:cubicBezTo>
                <a:cubicBezTo>
                  <a:pt x="2337850" y="1201665"/>
                  <a:pt x="2336027" y="1203487"/>
                  <a:pt x="2336027" y="1205309"/>
                </a:cubicBezTo>
                <a:cubicBezTo>
                  <a:pt x="2339672" y="1201665"/>
                  <a:pt x="2337850" y="1198021"/>
                  <a:pt x="2339672" y="1194376"/>
                </a:cubicBezTo>
                <a:cubicBezTo>
                  <a:pt x="2343316" y="1199843"/>
                  <a:pt x="2348782" y="1198021"/>
                  <a:pt x="2350605" y="1201665"/>
                </a:cubicBezTo>
                <a:cubicBezTo>
                  <a:pt x="2350605" y="1201665"/>
                  <a:pt x="2352427" y="1199843"/>
                  <a:pt x="2352427" y="1199843"/>
                </a:cubicBezTo>
                <a:lnTo>
                  <a:pt x="2352427" y="1187088"/>
                </a:lnTo>
                <a:lnTo>
                  <a:pt x="2374293" y="1187088"/>
                </a:lnTo>
                <a:cubicBezTo>
                  <a:pt x="2376115" y="1185266"/>
                  <a:pt x="2376115" y="1183443"/>
                  <a:pt x="2376115" y="1179799"/>
                </a:cubicBezTo>
                <a:cubicBezTo>
                  <a:pt x="2387048" y="1181621"/>
                  <a:pt x="2376115" y="1187088"/>
                  <a:pt x="2379760" y="1188910"/>
                </a:cubicBezTo>
                <a:cubicBezTo>
                  <a:pt x="2379760" y="1183443"/>
                  <a:pt x="2387048" y="1188910"/>
                  <a:pt x="2387048" y="1183443"/>
                </a:cubicBezTo>
                <a:cubicBezTo>
                  <a:pt x="2387048" y="1183443"/>
                  <a:pt x="2387048" y="1183443"/>
                  <a:pt x="2385226" y="1181621"/>
                </a:cubicBezTo>
                <a:cubicBezTo>
                  <a:pt x="2388871" y="1179799"/>
                  <a:pt x="2392515" y="1179799"/>
                  <a:pt x="2394337" y="1176155"/>
                </a:cubicBezTo>
                <a:cubicBezTo>
                  <a:pt x="2394337" y="1172510"/>
                  <a:pt x="2390693" y="1170688"/>
                  <a:pt x="2388871" y="1168866"/>
                </a:cubicBezTo>
                <a:cubicBezTo>
                  <a:pt x="2385226" y="1168866"/>
                  <a:pt x="2390693" y="1176155"/>
                  <a:pt x="2387048" y="1174332"/>
                </a:cubicBezTo>
                <a:cubicBezTo>
                  <a:pt x="2383404" y="1174332"/>
                  <a:pt x="2379760" y="1174332"/>
                  <a:pt x="2379760" y="1168866"/>
                </a:cubicBezTo>
                <a:cubicBezTo>
                  <a:pt x="2374293" y="1168866"/>
                  <a:pt x="2377937" y="1177977"/>
                  <a:pt x="2374293" y="1174332"/>
                </a:cubicBezTo>
                <a:cubicBezTo>
                  <a:pt x="2376115" y="1181621"/>
                  <a:pt x="2368827" y="1181621"/>
                  <a:pt x="2367004" y="1183443"/>
                </a:cubicBezTo>
                <a:cubicBezTo>
                  <a:pt x="2359716" y="1179799"/>
                  <a:pt x="2368827" y="1174332"/>
                  <a:pt x="2367004" y="1172510"/>
                </a:cubicBezTo>
                <a:cubicBezTo>
                  <a:pt x="2367004" y="1170688"/>
                  <a:pt x="2361538" y="1174332"/>
                  <a:pt x="2359716" y="1172510"/>
                </a:cubicBezTo>
                <a:cubicBezTo>
                  <a:pt x="2356071" y="1168866"/>
                  <a:pt x="2352427" y="1163399"/>
                  <a:pt x="2346960" y="1161577"/>
                </a:cubicBezTo>
                <a:cubicBezTo>
                  <a:pt x="2343316" y="1170688"/>
                  <a:pt x="2334205" y="1168866"/>
                  <a:pt x="2326916" y="1174332"/>
                </a:cubicBezTo>
                <a:cubicBezTo>
                  <a:pt x="2325094" y="1174332"/>
                  <a:pt x="2325094" y="1172510"/>
                  <a:pt x="2325094" y="1170688"/>
                </a:cubicBezTo>
                <a:cubicBezTo>
                  <a:pt x="2326916" y="1167044"/>
                  <a:pt x="2332383" y="1167044"/>
                  <a:pt x="2336027" y="1167044"/>
                </a:cubicBezTo>
                <a:cubicBezTo>
                  <a:pt x="2334205" y="1165222"/>
                  <a:pt x="2334205" y="1161577"/>
                  <a:pt x="2334205" y="1159755"/>
                </a:cubicBezTo>
                <a:close/>
                <a:moveTo>
                  <a:pt x="2277718" y="1159755"/>
                </a:moveTo>
                <a:cubicBezTo>
                  <a:pt x="2272251" y="1163399"/>
                  <a:pt x="2268607" y="1167044"/>
                  <a:pt x="2268607" y="1172510"/>
                </a:cubicBezTo>
                <a:lnTo>
                  <a:pt x="2270429" y="1172510"/>
                </a:lnTo>
                <a:lnTo>
                  <a:pt x="2270429" y="1179799"/>
                </a:lnTo>
                <a:cubicBezTo>
                  <a:pt x="2272251" y="1176155"/>
                  <a:pt x="2274074" y="1172510"/>
                  <a:pt x="2277718" y="1172510"/>
                </a:cubicBezTo>
                <a:cubicBezTo>
                  <a:pt x="2277718" y="1167044"/>
                  <a:pt x="2279540" y="1163399"/>
                  <a:pt x="2277718" y="1159755"/>
                </a:cubicBezTo>
                <a:close/>
                <a:moveTo>
                  <a:pt x="748914" y="1159755"/>
                </a:moveTo>
                <a:cubicBezTo>
                  <a:pt x="743447" y="1157933"/>
                  <a:pt x="745269" y="1170688"/>
                  <a:pt x="750737" y="1170688"/>
                </a:cubicBezTo>
                <a:cubicBezTo>
                  <a:pt x="752558" y="1165222"/>
                  <a:pt x="747092" y="1163399"/>
                  <a:pt x="748914" y="1159755"/>
                </a:cubicBezTo>
                <a:close/>
                <a:moveTo>
                  <a:pt x="679671" y="1159755"/>
                </a:moveTo>
                <a:cubicBezTo>
                  <a:pt x="677849" y="1163399"/>
                  <a:pt x="679671" y="1167044"/>
                  <a:pt x="681493" y="1170688"/>
                </a:cubicBezTo>
                <a:cubicBezTo>
                  <a:pt x="683316" y="1168866"/>
                  <a:pt x="681493" y="1165222"/>
                  <a:pt x="683316" y="1163399"/>
                </a:cubicBezTo>
                <a:cubicBezTo>
                  <a:pt x="683316" y="1159755"/>
                  <a:pt x="681493" y="1159755"/>
                  <a:pt x="679671" y="1159755"/>
                </a:cubicBezTo>
                <a:close/>
                <a:moveTo>
                  <a:pt x="1124281" y="1159754"/>
                </a:moveTo>
                <a:lnTo>
                  <a:pt x="1131570" y="1162670"/>
                </a:lnTo>
                <a:lnTo>
                  <a:pt x="1131570" y="1163399"/>
                </a:lnTo>
                <a:lnTo>
                  <a:pt x="1124281" y="1159755"/>
                </a:lnTo>
                <a:close/>
                <a:moveTo>
                  <a:pt x="828179" y="1159527"/>
                </a:moveTo>
                <a:lnTo>
                  <a:pt x="828529" y="1159615"/>
                </a:lnTo>
                <a:lnTo>
                  <a:pt x="827267" y="1163399"/>
                </a:lnTo>
                <a:cubicBezTo>
                  <a:pt x="827267" y="1162488"/>
                  <a:pt x="827723" y="1160666"/>
                  <a:pt x="828179" y="1159527"/>
                </a:cubicBezTo>
                <a:close/>
                <a:moveTo>
                  <a:pt x="516131" y="1159527"/>
                </a:moveTo>
                <a:cubicBezTo>
                  <a:pt x="515220" y="1160666"/>
                  <a:pt x="514764" y="1162488"/>
                  <a:pt x="515676" y="1163399"/>
                </a:cubicBezTo>
                <a:cubicBezTo>
                  <a:pt x="517498" y="1161577"/>
                  <a:pt x="517498" y="1159755"/>
                  <a:pt x="519320" y="1159755"/>
                </a:cubicBezTo>
                <a:cubicBezTo>
                  <a:pt x="518409" y="1157933"/>
                  <a:pt x="517042" y="1158388"/>
                  <a:pt x="516131" y="1159527"/>
                </a:cubicBezTo>
                <a:close/>
                <a:moveTo>
                  <a:pt x="585373" y="1159072"/>
                </a:moveTo>
                <a:cubicBezTo>
                  <a:pt x="584462" y="1159299"/>
                  <a:pt x="584007" y="1159755"/>
                  <a:pt x="584919" y="1159755"/>
                </a:cubicBezTo>
                <a:cubicBezTo>
                  <a:pt x="584919" y="1163399"/>
                  <a:pt x="586741" y="1159755"/>
                  <a:pt x="588562" y="1163399"/>
                </a:cubicBezTo>
                <a:cubicBezTo>
                  <a:pt x="592207" y="1163399"/>
                  <a:pt x="586741" y="1161577"/>
                  <a:pt x="588562" y="1159755"/>
                </a:cubicBezTo>
                <a:cubicBezTo>
                  <a:pt x="587651" y="1158844"/>
                  <a:pt x="586285" y="1158844"/>
                  <a:pt x="585373" y="1159072"/>
                </a:cubicBezTo>
                <a:close/>
                <a:moveTo>
                  <a:pt x="872821" y="1157970"/>
                </a:moveTo>
                <a:cubicBezTo>
                  <a:pt x="872821" y="1157970"/>
                  <a:pt x="874643" y="1159792"/>
                  <a:pt x="874643" y="1159792"/>
                </a:cubicBezTo>
                <a:cubicBezTo>
                  <a:pt x="869177" y="1163437"/>
                  <a:pt x="869177" y="1163437"/>
                  <a:pt x="872821" y="1157970"/>
                </a:cubicBezTo>
                <a:close/>
                <a:moveTo>
                  <a:pt x="3081297" y="1157933"/>
                </a:moveTo>
                <a:cubicBezTo>
                  <a:pt x="3074008" y="1157933"/>
                  <a:pt x="3070363" y="1159755"/>
                  <a:pt x="3063075" y="1163399"/>
                </a:cubicBezTo>
                <a:cubicBezTo>
                  <a:pt x="3066719" y="1172510"/>
                  <a:pt x="3063075" y="1179799"/>
                  <a:pt x="3070363" y="1183443"/>
                </a:cubicBezTo>
                <a:cubicBezTo>
                  <a:pt x="3070363" y="1185266"/>
                  <a:pt x="3068541" y="1185266"/>
                  <a:pt x="3068541" y="1187088"/>
                </a:cubicBezTo>
                <a:cubicBezTo>
                  <a:pt x="3070363" y="1190732"/>
                  <a:pt x="3072186" y="1192554"/>
                  <a:pt x="3074008" y="1194376"/>
                </a:cubicBezTo>
                <a:cubicBezTo>
                  <a:pt x="3077652" y="1194376"/>
                  <a:pt x="3074008" y="1188910"/>
                  <a:pt x="3074008" y="1187088"/>
                </a:cubicBezTo>
                <a:cubicBezTo>
                  <a:pt x="3079474" y="1185266"/>
                  <a:pt x="3075830" y="1190732"/>
                  <a:pt x="3081297" y="1188910"/>
                </a:cubicBezTo>
                <a:cubicBezTo>
                  <a:pt x="3079474" y="1185266"/>
                  <a:pt x="3075830" y="1185266"/>
                  <a:pt x="3075830" y="1179799"/>
                </a:cubicBezTo>
                <a:cubicBezTo>
                  <a:pt x="3079474" y="1183443"/>
                  <a:pt x="3079474" y="1185266"/>
                  <a:pt x="3083119" y="1187088"/>
                </a:cubicBezTo>
                <a:cubicBezTo>
                  <a:pt x="3088585" y="1187088"/>
                  <a:pt x="3088585" y="1181621"/>
                  <a:pt x="3094052" y="1185266"/>
                </a:cubicBezTo>
                <a:cubicBezTo>
                  <a:pt x="3094052" y="1179799"/>
                  <a:pt x="3101340" y="1179799"/>
                  <a:pt x="3103163" y="1174332"/>
                </a:cubicBezTo>
                <a:cubicBezTo>
                  <a:pt x="3101340" y="1172510"/>
                  <a:pt x="3101340" y="1174332"/>
                  <a:pt x="3101340" y="1176155"/>
                </a:cubicBezTo>
                <a:cubicBezTo>
                  <a:pt x="3095874" y="1165222"/>
                  <a:pt x="3084941" y="1168866"/>
                  <a:pt x="3081297" y="1157933"/>
                </a:cubicBezTo>
                <a:close/>
                <a:moveTo>
                  <a:pt x="3048497" y="1157933"/>
                </a:moveTo>
                <a:cubicBezTo>
                  <a:pt x="3046675" y="1159755"/>
                  <a:pt x="3046675" y="1161577"/>
                  <a:pt x="3046675" y="1165222"/>
                </a:cubicBezTo>
                <a:cubicBezTo>
                  <a:pt x="3052142" y="1165222"/>
                  <a:pt x="3050319" y="1161577"/>
                  <a:pt x="3052142" y="1157933"/>
                </a:cubicBezTo>
                <a:cubicBezTo>
                  <a:pt x="3050319" y="1157933"/>
                  <a:pt x="3048497" y="1157933"/>
                  <a:pt x="3048497" y="1157933"/>
                </a:cubicBezTo>
                <a:close/>
                <a:moveTo>
                  <a:pt x="2649441" y="1157933"/>
                </a:moveTo>
                <a:cubicBezTo>
                  <a:pt x="2647619" y="1157933"/>
                  <a:pt x="2649441" y="1163399"/>
                  <a:pt x="2651263" y="1163399"/>
                </a:cubicBezTo>
                <a:cubicBezTo>
                  <a:pt x="2651263" y="1163399"/>
                  <a:pt x="2653086" y="1163399"/>
                  <a:pt x="2653086" y="1161577"/>
                </a:cubicBezTo>
                <a:cubicBezTo>
                  <a:pt x="2653086" y="1159755"/>
                  <a:pt x="2653086" y="1159755"/>
                  <a:pt x="2653086" y="1159755"/>
                </a:cubicBezTo>
                <a:cubicBezTo>
                  <a:pt x="2651263" y="1159755"/>
                  <a:pt x="2649441" y="1159755"/>
                  <a:pt x="2649441" y="1157933"/>
                </a:cubicBezTo>
                <a:close/>
                <a:moveTo>
                  <a:pt x="2642153" y="1157933"/>
                </a:moveTo>
                <a:cubicBezTo>
                  <a:pt x="2640330" y="1159755"/>
                  <a:pt x="2643975" y="1165222"/>
                  <a:pt x="2645797" y="1163399"/>
                </a:cubicBezTo>
                <a:cubicBezTo>
                  <a:pt x="2649441" y="1156111"/>
                  <a:pt x="2643975" y="1159755"/>
                  <a:pt x="2642153" y="1157933"/>
                </a:cubicBezTo>
                <a:close/>
                <a:moveTo>
                  <a:pt x="1208102" y="1157933"/>
                </a:moveTo>
                <a:cubicBezTo>
                  <a:pt x="1200814" y="1161577"/>
                  <a:pt x="1193525" y="1167044"/>
                  <a:pt x="1188058" y="1168866"/>
                </a:cubicBezTo>
                <a:cubicBezTo>
                  <a:pt x="1197169" y="1176155"/>
                  <a:pt x="1208102" y="1168866"/>
                  <a:pt x="1208102" y="1157933"/>
                </a:cubicBezTo>
                <a:close/>
                <a:moveTo>
                  <a:pt x="1175303" y="1157933"/>
                </a:moveTo>
                <a:lnTo>
                  <a:pt x="1173481" y="1163399"/>
                </a:lnTo>
                <a:lnTo>
                  <a:pt x="1172341" y="1159299"/>
                </a:lnTo>
                <a:cubicBezTo>
                  <a:pt x="1173025" y="1157933"/>
                  <a:pt x="1174391" y="1157022"/>
                  <a:pt x="1175303" y="1157933"/>
                </a:cubicBezTo>
                <a:close/>
                <a:moveTo>
                  <a:pt x="1154264" y="1157933"/>
                </a:moveTo>
                <a:lnTo>
                  <a:pt x="1155834" y="1157933"/>
                </a:lnTo>
                <a:lnTo>
                  <a:pt x="1155259" y="1158616"/>
                </a:lnTo>
                <a:close/>
                <a:moveTo>
                  <a:pt x="1137037" y="1157933"/>
                </a:moveTo>
                <a:lnTo>
                  <a:pt x="1138859" y="1158020"/>
                </a:lnTo>
                <a:lnTo>
                  <a:pt x="1138859" y="1159755"/>
                </a:lnTo>
                <a:cubicBezTo>
                  <a:pt x="1138859" y="1159755"/>
                  <a:pt x="1137037" y="1157933"/>
                  <a:pt x="1137037" y="1157933"/>
                </a:cubicBezTo>
                <a:close/>
                <a:moveTo>
                  <a:pt x="1095127" y="1157933"/>
                </a:moveTo>
                <a:cubicBezTo>
                  <a:pt x="1093305" y="1156111"/>
                  <a:pt x="1095127" y="1161577"/>
                  <a:pt x="1091484" y="1161577"/>
                </a:cubicBezTo>
                <a:cubicBezTo>
                  <a:pt x="1093305" y="1161577"/>
                  <a:pt x="1093305" y="1163399"/>
                  <a:pt x="1093305" y="1163399"/>
                </a:cubicBezTo>
                <a:cubicBezTo>
                  <a:pt x="1095127" y="1163399"/>
                  <a:pt x="1095127" y="1159755"/>
                  <a:pt x="1095127" y="1157933"/>
                </a:cubicBezTo>
                <a:close/>
                <a:moveTo>
                  <a:pt x="923843" y="1157933"/>
                </a:moveTo>
                <a:cubicBezTo>
                  <a:pt x="923843" y="1159755"/>
                  <a:pt x="922020" y="1159755"/>
                  <a:pt x="922020" y="1163399"/>
                </a:cubicBezTo>
                <a:cubicBezTo>
                  <a:pt x="923843" y="1165222"/>
                  <a:pt x="927487" y="1168866"/>
                  <a:pt x="927487" y="1163399"/>
                </a:cubicBezTo>
                <a:cubicBezTo>
                  <a:pt x="925666" y="1161577"/>
                  <a:pt x="925666" y="1159755"/>
                  <a:pt x="923843" y="1157933"/>
                </a:cubicBezTo>
                <a:close/>
                <a:moveTo>
                  <a:pt x="686960" y="1157933"/>
                </a:moveTo>
                <a:cubicBezTo>
                  <a:pt x="683316" y="1165222"/>
                  <a:pt x="694249" y="1161577"/>
                  <a:pt x="694249" y="1167044"/>
                </a:cubicBezTo>
                <a:cubicBezTo>
                  <a:pt x="696071" y="1161577"/>
                  <a:pt x="690604" y="1159755"/>
                  <a:pt x="686960" y="1157933"/>
                </a:cubicBezTo>
                <a:close/>
                <a:moveTo>
                  <a:pt x="663272" y="1157933"/>
                </a:moveTo>
                <a:cubicBezTo>
                  <a:pt x="661449" y="1159755"/>
                  <a:pt x="659627" y="1161577"/>
                  <a:pt x="657805" y="1163399"/>
                </a:cubicBezTo>
                <a:cubicBezTo>
                  <a:pt x="654161" y="1167044"/>
                  <a:pt x="655983" y="1167044"/>
                  <a:pt x="665094" y="1159755"/>
                </a:cubicBezTo>
                <a:cubicBezTo>
                  <a:pt x="665094" y="1157933"/>
                  <a:pt x="663272" y="1159755"/>
                  <a:pt x="663272" y="1157933"/>
                </a:cubicBezTo>
                <a:close/>
                <a:moveTo>
                  <a:pt x="650516" y="1157933"/>
                </a:moveTo>
                <a:cubicBezTo>
                  <a:pt x="646872" y="1161577"/>
                  <a:pt x="645050" y="1156111"/>
                  <a:pt x="643228" y="1159755"/>
                </a:cubicBezTo>
                <a:cubicBezTo>
                  <a:pt x="646872" y="1159755"/>
                  <a:pt x="646872" y="1167044"/>
                  <a:pt x="652339" y="1165222"/>
                </a:cubicBezTo>
                <a:cubicBezTo>
                  <a:pt x="657805" y="1163399"/>
                  <a:pt x="652339" y="1159755"/>
                  <a:pt x="650516" y="1157933"/>
                </a:cubicBezTo>
                <a:close/>
                <a:moveTo>
                  <a:pt x="539364" y="1157933"/>
                </a:moveTo>
                <a:cubicBezTo>
                  <a:pt x="541186" y="1167044"/>
                  <a:pt x="550297" y="1168866"/>
                  <a:pt x="555763" y="1170688"/>
                </a:cubicBezTo>
                <a:cubicBezTo>
                  <a:pt x="555763" y="1165222"/>
                  <a:pt x="544830" y="1157933"/>
                  <a:pt x="539364" y="1157933"/>
                </a:cubicBezTo>
                <a:close/>
                <a:moveTo>
                  <a:pt x="521142" y="1157933"/>
                </a:moveTo>
                <a:cubicBezTo>
                  <a:pt x="522964" y="1159755"/>
                  <a:pt x="513853" y="1161577"/>
                  <a:pt x="521142" y="1165222"/>
                </a:cubicBezTo>
                <a:cubicBezTo>
                  <a:pt x="521142" y="1163399"/>
                  <a:pt x="524786" y="1161577"/>
                  <a:pt x="528431" y="1161577"/>
                </a:cubicBezTo>
                <a:cubicBezTo>
                  <a:pt x="526609" y="1159755"/>
                  <a:pt x="524786" y="1159755"/>
                  <a:pt x="521142" y="1157933"/>
                </a:cubicBezTo>
                <a:close/>
                <a:moveTo>
                  <a:pt x="399056" y="1157933"/>
                </a:moveTo>
                <a:cubicBezTo>
                  <a:pt x="395412" y="1156111"/>
                  <a:pt x="399056" y="1161577"/>
                  <a:pt x="395412" y="1163399"/>
                </a:cubicBezTo>
                <a:cubicBezTo>
                  <a:pt x="399056" y="1163399"/>
                  <a:pt x="399056" y="1159755"/>
                  <a:pt x="399056" y="1157933"/>
                </a:cubicBezTo>
                <a:close/>
                <a:moveTo>
                  <a:pt x="182218" y="1157933"/>
                </a:moveTo>
                <a:lnTo>
                  <a:pt x="183259" y="1158453"/>
                </a:lnTo>
                <a:lnTo>
                  <a:pt x="184040" y="1159755"/>
                </a:lnTo>
                <a:close/>
                <a:moveTo>
                  <a:pt x="393134" y="1157249"/>
                </a:moveTo>
                <a:cubicBezTo>
                  <a:pt x="391768" y="1157022"/>
                  <a:pt x="390857" y="1157022"/>
                  <a:pt x="391768" y="1157933"/>
                </a:cubicBezTo>
                <a:cubicBezTo>
                  <a:pt x="393590" y="1159755"/>
                  <a:pt x="395412" y="1159755"/>
                  <a:pt x="397234" y="1157933"/>
                </a:cubicBezTo>
                <a:cubicBezTo>
                  <a:pt x="396323" y="1157933"/>
                  <a:pt x="394501" y="1157478"/>
                  <a:pt x="393134" y="1157249"/>
                </a:cubicBezTo>
                <a:close/>
                <a:moveTo>
                  <a:pt x="1131570" y="1156111"/>
                </a:moveTo>
                <a:cubicBezTo>
                  <a:pt x="1135215" y="1156111"/>
                  <a:pt x="1133393" y="1159755"/>
                  <a:pt x="1135215" y="1161577"/>
                </a:cubicBezTo>
                <a:cubicBezTo>
                  <a:pt x="1135215" y="1161577"/>
                  <a:pt x="1133393" y="1163399"/>
                  <a:pt x="1133393" y="1163399"/>
                </a:cubicBezTo>
                <a:lnTo>
                  <a:pt x="1131570" y="1162670"/>
                </a:lnTo>
                <a:close/>
                <a:moveTo>
                  <a:pt x="1080549" y="1156111"/>
                </a:moveTo>
                <a:cubicBezTo>
                  <a:pt x="1078727" y="1157933"/>
                  <a:pt x="1078727" y="1157933"/>
                  <a:pt x="1078727" y="1159755"/>
                </a:cubicBezTo>
                <a:cubicBezTo>
                  <a:pt x="1078727" y="1161577"/>
                  <a:pt x="1082373" y="1157933"/>
                  <a:pt x="1080549" y="1156111"/>
                </a:cubicBezTo>
                <a:close/>
                <a:moveTo>
                  <a:pt x="705182" y="1156111"/>
                </a:moveTo>
                <a:cubicBezTo>
                  <a:pt x="707004" y="1157933"/>
                  <a:pt x="712470" y="1165222"/>
                  <a:pt x="716115" y="1163399"/>
                </a:cubicBezTo>
                <a:cubicBezTo>
                  <a:pt x="714293" y="1157933"/>
                  <a:pt x="708826" y="1157933"/>
                  <a:pt x="705182" y="1156111"/>
                </a:cubicBezTo>
                <a:close/>
                <a:moveTo>
                  <a:pt x="362613" y="1156111"/>
                </a:moveTo>
                <a:cubicBezTo>
                  <a:pt x="360791" y="1157933"/>
                  <a:pt x="358969" y="1156111"/>
                  <a:pt x="357146" y="1157933"/>
                </a:cubicBezTo>
                <a:cubicBezTo>
                  <a:pt x="358969" y="1159755"/>
                  <a:pt x="360791" y="1157933"/>
                  <a:pt x="364435" y="1159755"/>
                </a:cubicBezTo>
                <a:cubicBezTo>
                  <a:pt x="366257" y="1157933"/>
                  <a:pt x="362613" y="1157933"/>
                  <a:pt x="362613" y="1156111"/>
                </a:cubicBezTo>
                <a:close/>
                <a:moveTo>
                  <a:pt x="3063530" y="1154288"/>
                </a:moveTo>
                <a:cubicBezTo>
                  <a:pt x="3061708" y="1154743"/>
                  <a:pt x="3060342" y="1156110"/>
                  <a:pt x="3061253" y="1157933"/>
                </a:cubicBezTo>
                <a:cubicBezTo>
                  <a:pt x="3066719" y="1159755"/>
                  <a:pt x="3066719" y="1156111"/>
                  <a:pt x="3068541" y="1156111"/>
                </a:cubicBezTo>
                <a:cubicBezTo>
                  <a:pt x="3067630" y="1154288"/>
                  <a:pt x="3065353" y="1153833"/>
                  <a:pt x="3063530" y="1154288"/>
                </a:cubicBezTo>
                <a:close/>
                <a:moveTo>
                  <a:pt x="3030276" y="1154288"/>
                </a:moveTo>
                <a:cubicBezTo>
                  <a:pt x="3030276" y="1157933"/>
                  <a:pt x="3032098" y="1159755"/>
                  <a:pt x="3035742" y="1159755"/>
                </a:cubicBezTo>
                <a:cubicBezTo>
                  <a:pt x="3035742" y="1157933"/>
                  <a:pt x="3035742" y="1156111"/>
                  <a:pt x="3035742" y="1154288"/>
                </a:cubicBezTo>
                <a:cubicBezTo>
                  <a:pt x="3033920" y="1154288"/>
                  <a:pt x="3032098" y="1154288"/>
                  <a:pt x="3030276" y="1154288"/>
                </a:cubicBezTo>
                <a:close/>
                <a:moveTo>
                  <a:pt x="799935" y="1154288"/>
                </a:moveTo>
                <a:cubicBezTo>
                  <a:pt x="796290" y="1163399"/>
                  <a:pt x="807223" y="1159755"/>
                  <a:pt x="809046" y="1163399"/>
                </a:cubicBezTo>
                <a:cubicBezTo>
                  <a:pt x="809046" y="1157933"/>
                  <a:pt x="803579" y="1156111"/>
                  <a:pt x="799935" y="1154288"/>
                </a:cubicBezTo>
                <a:close/>
                <a:moveTo>
                  <a:pt x="1154803" y="1153984"/>
                </a:moveTo>
                <a:lnTo>
                  <a:pt x="1155259" y="1154288"/>
                </a:lnTo>
                <a:lnTo>
                  <a:pt x="1153437" y="1154895"/>
                </a:lnTo>
                <a:close/>
                <a:moveTo>
                  <a:pt x="682177" y="1153833"/>
                </a:moveTo>
                <a:cubicBezTo>
                  <a:pt x="681494" y="1153833"/>
                  <a:pt x="680582" y="1154288"/>
                  <a:pt x="679671" y="1154288"/>
                </a:cubicBezTo>
                <a:cubicBezTo>
                  <a:pt x="677849" y="1154288"/>
                  <a:pt x="681493" y="1157933"/>
                  <a:pt x="683316" y="1156111"/>
                </a:cubicBezTo>
                <a:cubicBezTo>
                  <a:pt x="683316" y="1154289"/>
                  <a:pt x="682861" y="1153833"/>
                  <a:pt x="682177" y="1153833"/>
                </a:cubicBezTo>
                <a:close/>
                <a:moveTo>
                  <a:pt x="2574732" y="1152466"/>
                </a:moveTo>
                <a:cubicBezTo>
                  <a:pt x="2574732" y="1156111"/>
                  <a:pt x="2580199" y="1154288"/>
                  <a:pt x="2578377" y="1157933"/>
                </a:cubicBezTo>
                <a:cubicBezTo>
                  <a:pt x="2582021" y="1157933"/>
                  <a:pt x="2585665" y="1157933"/>
                  <a:pt x="2589310" y="1157933"/>
                </a:cubicBezTo>
                <a:cubicBezTo>
                  <a:pt x="2587487" y="1152466"/>
                  <a:pt x="2580199" y="1154288"/>
                  <a:pt x="2574732" y="1152466"/>
                </a:cubicBezTo>
                <a:close/>
                <a:moveTo>
                  <a:pt x="2343316" y="1152466"/>
                </a:moveTo>
                <a:cubicBezTo>
                  <a:pt x="2341494" y="1148822"/>
                  <a:pt x="2334205" y="1154288"/>
                  <a:pt x="2337850" y="1157933"/>
                </a:cubicBezTo>
                <a:cubicBezTo>
                  <a:pt x="2337850" y="1156111"/>
                  <a:pt x="2343316" y="1156111"/>
                  <a:pt x="2343316" y="1152466"/>
                </a:cubicBezTo>
                <a:close/>
                <a:moveTo>
                  <a:pt x="1075083" y="1152466"/>
                </a:moveTo>
                <a:cubicBezTo>
                  <a:pt x="1073262" y="1154288"/>
                  <a:pt x="1073262" y="1156111"/>
                  <a:pt x="1075083" y="1159755"/>
                </a:cubicBezTo>
                <a:cubicBezTo>
                  <a:pt x="1076905" y="1156111"/>
                  <a:pt x="1080549" y="1154288"/>
                  <a:pt x="1075083" y="1152466"/>
                </a:cubicBezTo>
                <a:close/>
                <a:moveTo>
                  <a:pt x="1033173" y="1152466"/>
                </a:moveTo>
                <a:cubicBezTo>
                  <a:pt x="1033173" y="1156111"/>
                  <a:pt x="1036818" y="1154288"/>
                  <a:pt x="1038639" y="1156111"/>
                </a:cubicBezTo>
                <a:cubicBezTo>
                  <a:pt x="1038639" y="1154288"/>
                  <a:pt x="1036818" y="1154288"/>
                  <a:pt x="1036818" y="1152466"/>
                </a:cubicBezTo>
                <a:cubicBezTo>
                  <a:pt x="1034995" y="1154288"/>
                  <a:pt x="1034995" y="1152466"/>
                  <a:pt x="1033173" y="1152466"/>
                </a:cubicBezTo>
                <a:close/>
                <a:moveTo>
                  <a:pt x="834556" y="1152466"/>
                </a:moveTo>
                <a:cubicBezTo>
                  <a:pt x="830912" y="1156111"/>
                  <a:pt x="836378" y="1159755"/>
                  <a:pt x="840022" y="1161577"/>
                </a:cubicBezTo>
                <a:cubicBezTo>
                  <a:pt x="840022" y="1157933"/>
                  <a:pt x="834556" y="1156111"/>
                  <a:pt x="834556" y="1152466"/>
                </a:cubicBezTo>
                <a:close/>
                <a:moveTo>
                  <a:pt x="743447" y="1152466"/>
                </a:moveTo>
                <a:cubicBezTo>
                  <a:pt x="743447" y="1154288"/>
                  <a:pt x="745269" y="1159755"/>
                  <a:pt x="747092" y="1154288"/>
                </a:cubicBezTo>
                <a:cubicBezTo>
                  <a:pt x="747092" y="1152466"/>
                  <a:pt x="745269" y="1154288"/>
                  <a:pt x="743447" y="1152466"/>
                </a:cubicBezTo>
                <a:close/>
                <a:moveTo>
                  <a:pt x="430034" y="1152466"/>
                </a:moveTo>
                <a:cubicBezTo>
                  <a:pt x="430034" y="1154288"/>
                  <a:pt x="424567" y="1156111"/>
                  <a:pt x="426389" y="1161577"/>
                </a:cubicBezTo>
                <a:cubicBezTo>
                  <a:pt x="430034" y="1163399"/>
                  <a:pt x="430034" y="1157933"/>
                  <a:pt x="435500" y="1159755"/>
                </a:cubicBezTo>
                <a:cubicBezTo>
                  <a:pt x="435500" y="1157933"/>
                  <a:pt x="431856" y="1152466"/>
                  <a:pt x="430034" y="1152466"/>
                </a:cubicBezTo>
                <a:close/>
                <a:moveTo>
                  <a:pt x="408167" y="1152466"/>
                </a:moveTo>
                <a:cubicBezTo>
                  <a:pt x="408167" y="1157933"/>
                  <a:pt x="411812" y="1156111"/>
                  <a:pt x="411812" y="1154288"/>
                </a:cubicBezTo>
                <a:cubicBezTo>
                  <a:pt x="409989" y="1154288"/>
                  <a:pt x="409989" y="1152466"/>
                  <a:pt x="408167" y="1152466"/>
                </a:cubicBezTo>
                <a:close/>
                <a:moveTo>
                  <a:pt x="368079" y="1152466"/>
                </a:moveTo>
                <a:cubicBezTo>
                  <a:pt x="368079" y="1156111"/>
                  <a:pt x="366257" y="1154288"/>
                  <a:pt x="364435" y="1156111"/>
                </a:cubicBezTo>
                <a:cubicBezTo>
                  <a:pt x="368079" y="1157933"/>
                  <a:pt x="371724" y="1159755"/>
                  <a:pt x="375368" y="1156111"/>
                </a:cubicBezTo>
                <a:cubicBezTo>
                  <a:pt x="371724" y="1154288"/>
                  <a:pt x="369902" y="1154288"/>
                  <a:pt x="368079" y="1152466"/>
                </a:cubicBezTo>
                <a:close/>
                <a:moveTo>
                  <a:pt x="266038" y="1152466"/>
                </a:moveTo>
                <a:cubicBezTo>
                  <a:pt x="269682" y="1157933"/>
                  <a:pt x="275149" y="1154288"/>
                  <a:pt x="276971" y="1156111"/>
                </a:cubicBezTo>
                <a:cubicBezTo>
                  <a:pt x="273327" y="1152466"/>
                  <a:pt x="269682" y="1152466"/>
                  <a:pt x="266038" y="1152466"/>
                </a:cubicBezTo>
                <a:close/>
                <a:moveTo>
                  <a:pt x="145774" y="1152466"/>
                </a:moveTo>
                <a:cubicBezTo>
                  <a:pt x="151241" y="1161577"/>
                  <a:pt x="158529" y="1177977"/>
                  <a:pt x="174929" y="1179799"/>
                </a:cubicBezTo>
                <a:cubicBezTo>
                  <a:pt x="171285" y="1174332"/>
                  <a:pt x="162174" y="1174332"/>
                  <a:pt x="165818" y="1167044"/>
                </a:cubicBezTo>
                <a:cubicBezTo>
                  <a:pt x="158529" y="1161577"/>
                  <a:pt x="151241" y="1156111"/>
                  <a:pt x="145774" y="1152466"/>
                </a:cubicBezTo>
                <a:close/>
                <a:moveTo>
                  <a:pt x="3161472" y="1150644"/>
                </a:moveTo>
                <a:cubicBezTo>
                  <a:pt x="3159650" y="1157933"/>
                  <a:pt x="3159650" y="1167044"/>
                  <a:pt x="3157828" y="1176155"/>
                </a:cubicBezTo>
                <a:cubicBezTo>
                  <a:pt x="3163294" y="1176155"/>
                  <a:pt x="3166939" y="1176155"/>
                  <a:pt x="3168761" y="1174332"/>
                </a:cubicBezTo>
                <a:cubicBezTo>
                  <a:pt x="3172405" y="1174332"/>
                  <a:pt x="3168761" y="1179799"/>
                  <a:pt x="3174227" y="1177977"/>
                </a:cubicBezTo>
                <a:cubicBezTo>
                  <a:pt x="3172405" y="1181621"/>
                  <a:pt x="3172405" y="1179799"/>
                  <a:pt x="3168761" y="1181621"/>
                </a:cubicBezTo>
                <a:cubicBezTo>
                  <a:pt x="3168761" y="1179799"/>
                  <a:pt x="3168761" y="1177977"/>
                  <a:pt x="3168761" y="1176155"/>
                </a:cubicBezTo>
                <a:cubicBezTo>
                  <a:pt x="3165116" y="1177977"/>
                  <a:pt x="3166939" y="1179799"/>
                  <a:pt x="3161472" y="1177977"/>
                </a:cubicBezTo>
                <a:cubicBezTo>
                  <a:pt x="3159650" y="1181621"/>
                  <a:pt x="3166939" y="1179799"/>
                  <a:pt x="3168761" y="1181621"/>
                </a:cubicBezTo>
                <a:cubicBezTo>
                  <a:pt x="3172405" y="1183443"/>
                  <a:pt x="3174227" y="1185266"/>
                  <a:pt x="3177872" y="1185266"/>
                </a:cubicBezTo>
                <a:cubicBezTo>
                  <a:pt x="3179694" y="1179799"/>
                  <a:pt x="3181516" y="1176155"/>
                  <a:pt x="3186982" y="1179799"/>
                </a:cubicBezTo>
                <a:cubicBezTo>
                  <a:pt x="3185160" y="1167044"/>
                  <a:pt x="3174227" y="1156111"/>
                  <a:pt x="3161472" y="1150644"/>
                </a:cubicBezTo>
                <a:close/>
                <a:moveTo>
                  <a:pt x="2441713" y="1150644"/>
                </a:moveTo>
                <a:cubicBezTo>
                  <a:pt x="2441713" y="1150644"/>
                  <a:pt x="2441713" y="1152466"/>
                  <a:pt x="2441713" y="1152466"/>
                </a:cubicBezTo>
                <a:lnTo>
                  <a:pt x="2441258" y="1152010"/>
                </a:lnTo>
                <a:close/>
                <a:moveTo>
                  <a:pt x="2199364" y="1150644"/>
                </a:moveTo>
                <a:cubicBezTo>
                  <a:pt x="2199364" y="1154288"/>
                  <a:pt x="2197542" y="1157933"/>
                  <a:pt x="2195720" y="1161577"/>
                </a:cubicBezTo>
                <a:cubicBezTo>
                  <a:pt x="2197542" y="1161577"/>
                  <a:pt x="2197542" y="1163399"/>
                  <a:pt x="2199364" y="1163399"/>
                </a:cubicBezTo>
                <a:cubicBezTo>
                  <a:pt x="2203009" y="1159755"/>
                  <a:pt x="2203009" y="1154288"/>
                  <a:pt x="2199364" y="1150644"/>
                </a:cubicBezTo>
                <a:close/>
                <a:moveTo>
                  <a:pt x="2095500" y="1150644"/>
                </a:moveTo>
                <a:cubicBezTo>
                  <a:pt x="2093679" y="1157933"/>
                  <a:pt x="2091856" y="1161577"/>
                  <a:pt x="2091856" y="1163399"/>
                </a:cubicBezTo>
                <a:cubicBezTo>
                  <a:pt x="2090034" y="1163399"/>
                  <a:pt x="2088212" y="1167044"/>
                  <a:pt x="2084568" y="1168866"/>
                </a:cubicBezTo>
                <a:cubicBezTo>
                  <a:pt x="2086390" y="1168866"/>
                  <a:pt x="2088212" y="1170688"/>
                  <a:pt x="2090034" y="1174332"/>
                </a:cubicBezTo>
                <a:lnTo>
                  <a:pt x="2089118" y="1177997"/>
                </a:lnTo>
                <a:lnTo>
                  <a:pt x="2079784" y="1178205"/>
                </a:lnTo>
                <a:cubicBezTo>
                  <a:pt x="2076368" y="1179344"/>
                  <a:pt x="2073634" y="1181621"/>
                  <a:pt x="2073634" y="1185266"/>
                </a:cubicBezTo>
                <a:cubicBezTo>
                  <a:pt x="2082745" y="1185266"/>
                  <a:pt x="2090034" y="1188910"/>
                  <a:pt x="2097323" y="1183443"/>
                </a:cubicBezTo>
                <a:cubicBezTo>
                  <a:pt x="2097323" y="1181621"/>
                  <a:pt x="2097323" y="1181621"/>
                  <a:pt x="2095500" y="1179799"/>
                </a:cubicBezTo>
                <a:cubicBezTo>
                  <a:pt x="2100967" y="1179799"/>
                  <a:pt x="2095500" y="1187088"/>
                  <a:pt x="2099145" y="1187088"/>
                </a:cubicBezTo>
                <a:cubicBezTo>
                  <a:pt x="2100967" y="1187088"/>
                  <a:pt x="2102790" y="1187088"/>
                  <a:pt x="2102790" y="1185266"/>
                </a:cubicBezTo>
                <a:cubicBezTo>
                  <a:pt x="2095500" y="1176155"/>
                  <a:pt x="2108256" y="1172510"/>
                  <a:pt x="2104611" y="1165222"/>
                </a:cubicBezTo>
                <a:cubicBezTo>
                  <a:pt x="2104611" y="1167044"/>
                  <a:pt x="2104611" y="1168866"/>
                  <a:pt x="2102790" y="1170688"/>
                </a:cubicBezTo>
                <a:cubicBezTo>
                  <a:pt x="2100967" y="1168866"/>
                  <a:pt x="2100967" y="1167044"/>
                  <a:pt x="2102790" y="1165222"/>
                </a:cubicBezTo>
                <a:cubicBezTo>
                  <a:pt x="2100967" y="1165222"/>
                  <a:pt x="2099145" y="1165222"/>
                  <a:pt x="2099145" y="1165222"/>
                </a:cubicBezTo>
                <a:cubicBezTo>
                  <a:pt x="2097323" y="1159755"/>
                  <a:pt x="2102790" y="1157933"/>
                  <a:pt x="2106433" y="1156111"/>
                </a:cubicBezTo>
                <a:close/>
                <a:moveTo>
                  <a:pt x="1049573" y="1150644"/>
                </a:moveTo>
                <a:cubicBezTo>
                  <a:pt x="1047750" y="1152466"/>
                  <a:pt x="1051395" y="1157933"/>
                  <a:pt x="1053217" y="1154288"/>
                </a:cubicBezTo>
                <a:cubicBezTo>
                  <a:pt x="1053217" y="1152466"/>
                  <a:pt x="1051395" y="1152466"/>
                  <a:pt x="1049573" y="1150644"/>
                </a:cubicBezTo>
                <a:close/>
                <a:moveTo>
                  <a:pt x="1031351" y="1150644"/>
                </a:moveTo>
                <a:cubicBezTo>
                  <a:pt x="1027707" y="1152466"/>
                  <a:pt x="1027707" y="1152466"/>
                  <a:pt x="1025884" y="1154288"/>
                </a:cubicBezTo>
                <a:cubicBezTo>
                  <a:pt x="1025884" y="1156111"/>
                  <a:pt x="1027707" y="1154288"/>
                  <a:pt x="1027707" y="1156111"/>
                </a:cubicBezTo>
                <a:cubicBezTo>
                  <a:pt x="1031351" y="1154288"/>
                  <a:pt x="1031351" y="1150644"/>
                  <a:pt x="1031351" y="1150644"/>
                </a:cubicBezTo>
                <a:close/>
                <a:moveTo>
                  <a:pt x="916555" y="1150644"/>
                </a:moveTo>
                <a:cubicBezTo>
                  <a:pt x="912909" y="1153377"/>
                  <a:pt x="911087" y="1156566"/>
                  <a:pt x="911087" y="1159755"/>
                </a:cubicBezTo>
                <a:lnTo>
                  <a:pt x="916555" y="1168866"/>
                </a:lnTo>
                <a:cubicBezTo>
                  <a:pt x="914732" y="1167044"/>
                  <a:pt x="914732" y="1167044"/>
                  <a:pt x="912909" y="1167044"/>
                </a:cubicBezTo>
                <a:cubicBezTo>
                  <a:pt x="909265" y="1168866"/>
                  <a:pt x="912909" y="1172510"/>
                  <a:pt x="912909" y="1174332"/>
                </a:cubicBezTo>
                <a:cubicBezTo>
                  <a:pt x="914732" y="1174332"/>
                  <a:pt x="916555" y="1174332"/>
                  <a:pt x="918376" y="1170688"/>
                </a:cubicBezTo>
                <a:lnTo>
                  <a:pt x="916555" y="1168866"/>
                </a:lnTo>
                <a:lnTo>
                  <a:pt x="917465" y="1160438"/>
                </a:lnTo>
                <a:cubicBezTo>
                  <a:pt x="918831" y="1157477"/>
                  <a:pt x="920198" y="1154288"/>
                  <a:pt x="918376" y="1150644"/>
                </a:cubicBezTo>
                <a:cubicBezTo>
                  <a:pt x="916555" y="1154288"/>
                  <a:pt x="916555" y="1150644"/>
                  <a:pt x="916555" y="1150644"/>
                </a:cubicBezTo>
                <a:close/>
                <a:moveTo>
                  <a:pt x="850956" y="1150644"/>
                </a:moveTo>
                <a:cubicBezTo>
                  <a:pt x="849133" y="1152466"/>
                  <a:pt x="852778" y="1154288"/>
                  <a:pt x="850956" y="1156111"/>
                </a:cubicBezTo>
                <a:cubicBezTo>
                  <a:pt x="852778" y="1156111"/>
                  <a:pt x="852778" y="1150644"/>
                  <a:pt x="850956" y="1150644"/>
                </a:cubicBezTo>
                <a:close/>
                <a:moveTo>
                  <a:pt x="827267" y="1150644"/>
                </a:moveTo>
                <a:cubicBezTo>
                  <a:pt x="821801" y="1154288"/>
                  <a:pt x="821801" y="1159755"/>
                  <a:pt x="827267" y="1163399"/>
                </a:cubicBezTo>
                <a:cubicBezTo>
                  <a:pt x="819979" y="1165222"/>
                  <a:pt x="830912" y="1168866"/>
                  <a:pt x="829089" y="1172510"/>
                </a:cubicBezTo>
                <a:cubicBezTo>
                  <a:pt x="832734" y="1168866"/>
                  <a:pt x="830912" y="1165222"/>
                  <a:pt x="827267" y="1163399"/>
                </a:cubicBezTo>
                <a:cubicBezTo>
                  <a:pt x="830912" y="1165222"/>
                  <a:pt x="829089" y="1159755"/>
                  <a:pt x="829089" y="1159755"/>
                </a:cubicBezTo>
                <a:lnTo>
                  <a:pt x="828529" y="1159615"/>
                </a:lnTo>
                <a:lnTo>
                  <a:pt x="830912" y="1152466"/>
                </a:lnTo>
                <a:cubicBezTo>
                  <a:pt x="829089" y="1150644"/>
                  <a:pt x="829089" y="1150644"/>
                  <a:pt x="827267" y="1150644"/>
                </a:cubicBezTo>
                <a:close/>
                <a:moveTo>
                  <a:pt x="612251" y="1150644"/>
                </a:moveTo>
                <a:cubicBezTo>
                  <a:pt x="608606" y="1152466"/>
                  <a:pt x="610429" y="1157933"/>
                  <a:pt x="614074" y="1156111"/>
                </a:cubicBezTo>
                <a:cubicBezTo>
                  <a:pt x="615895" y="1154288"/>
                  <a:pt x="614074" y="1152466"/>
                  <a:pt x="612251" y="1150644"/>
                </a:cubicBezTo>
                <a:close/>
                <a:moveTo>
                  <a:pt x="610429" y="1150644"/>
                </a:moveTo>
                <a:cubicBezTo>
                  <a:pt x="606784" y="1150644"/>
                  <a:pt x="606784" y="1154288"/>
                  <a:pt x="604963" y="1156111"/>
                </a:cubicBezTo>
                <a:cubicBezTo>
                  <a:pt x="608606" y="1159755"/>
                  <a:pt x="608606" y="1152466"/>
                  <a:pt x="610429" y="1150644"/>
                </a:cubicBezTo>
                <a:close/>
                <a:moveTo>
                  <a:pt x="231416" y="1150644"/>
                </a:moveTo>
                <a:cubicBezTo>
                  <a:pt x="233239" y="1154288"/>
                  <a:pt x="242349" y="1159755"/>
                  <a:pt x="244172" y="1156111"/>
                </a:cubicBezTo>
                <a:cubicBezTo>
                  <a:pt x="238705" y="1152466"/>
                  <a:pt x="236883" y="1154288"/>
                  <a:pt x="231416" y="1150644"/>
                </a:cubicBezTo>
                <a:close/>
                <a:moveTo>
                  <a:pt x="859659" y="1149665"/>
                </a:moveTo>
                <a:lnTo>
                  <a:pt x="859620" y="1150273"/>
                </a:lnTo>
                <a:lnTo>
                  <a:pt x="859610" y="1149961"/>
                </a:lnTo>
                <a:close/>
                <a:moveTo>
                  <a:pt x="3021848" y="1149505"/>
                </a:moveTo>
                <a:cubicBezTo>
                  <a:pt x="3020710" y="1150644"/>
                  <a:pt x="3019343" y="1152466"/>
                  <a:pt x="3017521" y="1152466"/>
                </a:cubicBezTo>
                <a:cubicBezTo>
                  <a:pt x="3019343" y="1157933"/>
                  <a:pt x="3021165" y="1159755"/>
                  <a:pt x="3024809" y="1159755"/>
                </a:cubicBezTo>
                <a:cubicBezTo>
                  <a:pt x="3024809" y="1156111"/>
                  <a:pt x="3022987" y="1156111"/>
                  <a:pt x="3022987" y="1150644"/>
                </a:cubicBezTo>
                <a:cubicBezTo>
                  <a:pt x="3022987" y="1150644"/>
                  <a:pt x="3024809" y="1150644"/>
                  <a:pt x="3024809" y="1150644"/>
                </a:cubicBezTo>
                <a:cubicBezTo>
                  <a:pt x="3023898" y="1147911"/>
                  <a:pt x="3022987" y="1148366"/>
                  <a:pt x="3021848" y="1149505"/>
                </a:cubicBezTo>
                <a:close/>
                <a:moveTo>
                  <a:pt x="223900" y="1149049"/>
                </a:moveTo>
                <a:cubicBezTo>
                  <a:pt x="222761" y="1149733"/>
                  <a:pt x="222306" y="1151555"/>
                  <a:pt x="222306" y="1152466"/>
                </a:cubicBezTo>
                <a:cubicBezTo>
                  <a:pt x="222306" y="1152466"/>
                  <a:pt x="222306" y="1152466"/>
                  <a:pt x="224128" y="1154288"/>
                </a:cubicBezTo>
                <a:cubicBezTo>
                  <a:pt x="225950" y="1152466"/>
                  <a:pt x="225950" y="1152466"/>
                  <a:pt x="229594" y="1152466"/>
                </a:cubicBezTo>
                <a:cubicBezTo>
                  <a:pt x="226862" y="1148822"/>
                  <a:pt x="225039" y="1148366"/>
                  <a:pt x="223900" y="1149049"/>
                </a:cubicBezTo>
                <a:close/>
                <a:moveTo>
                  <a:pt x="3114096" y="1148822"/>
                </a:moveTo>
                <a:cubicBezTo>
                  <a:pt x="3108629" y="1157933"/>
                  <a:pt x="3103163" y="1161577"/>
                  <a:pt x="3106807" y="1172510"/>
                </a:cubicBezTo>
                <a:cubicBezTo>
                  <a:pt x="3110451" y="1167044"/>
                  <a:pt x="3119562" y="1157933"/>
                  <a:pt x="3117740" y="1148822"/>
                </a:cubicBezTo>
                <a:cubicBezTo>
                  <a:pt x="3115918" y="1148822"/>
                  <a:pt x="3115918" y="1148822"/>
                  <a:pt x="3114096" y="1148822"/>
                </a:cubicBezTo>
                <a:close/>
                <a:moveTo>
                  <a:pt x="2233986" y="1148822"/>
                </a:moveTo>
                <a:cubicBezTo>
                  <a:pt x="2235808" y="1152466"/>
                  <a:pt x="2228519" y="1154288"/>
                  <a:pt x="2230341" y="1156111"/>
                </a:cubicBezTo>
                <a:cubicBezTo>
                  <a:pt x="2235808" y="1152466"/>
                  <a:pt x="2233986" y="1152466"/>
                  <a:pt x="2239452" y="1156111"/>
                </a:cubicBezTo>
                <a:cubicBezTo>
                  <a:pt x="2239452" y="1152466"/>
                  <a:pt x="2239452" y="1150644"/>
                  <a:pt x="2237630" y="1148822"/>
                </a:cubicBezTo>
                <a:close/>
                <a:moveTo>
                  <a:pt x="2044479" y="1148822"/>
                </a:moveTo>
                <a:lnTo>
                  <a:pt x="2035369" y="1154288"/>
                </a:lnTo>
                <a:cubicBezTo>
                  <a:pt x="2037191" y="1156111"/>
                  <a:pt x="2039013" y="1157933"/>
                  <a:pt x="2042657" y="1154288"/>
                </a:cubicBezTo>
                <a:cubicBezTo>
                  <a:pt x="2044479" y="1156111"/>
                  <a:pt x="2046302" y="1156111"/>
                  <a:pt x="2046302" y="1157933"/>
                </a:cubicBezTo>
                <a:cubicBezTo>
                  <a:pt x="2046302" y="1163399"/>
                  <a:pt x="2035369" y="1165222"/>
                  <a:pt x="2040835" y="1170688"/>
                </a:cubicBezTo>
                <a:cubicBezTo>
                  <a:pt x="2042657" y="1170688"/>
                  <a:pt x="2042657" y="1170688"/>
                  <a:pt x="2044479" y="1170688"/>
                </a:cubicBezTo>
                <a:cubicBezTo>
                  <a:pt x="2046302" y="1170688"/>
                  <a:pt x="2042657" y="1167044"/>
                  <a:pt x="2048124" y="1165222"/>
                </a:cubicBezTo>
                <a:cubicBezTo>
                  <a:pt x="2051768" y="1163399"/>
                  <a:pt x="2057235" y="1165222"/>
                  <a:pt x="2059057" y="1168866"/>
                </a:cubicBezTo>
                <a:cubicBezTo>
                  <a:pt x="2059057" y="1167044"/>
                  <a:pt x="2059057" y="1167044"/>
                  <a:pt x="2059057" y="1165222"/>
                </a:cubicBezTo>
                <a:lnTo>
                  <a:pt x="2053590" y="1163399"/>
                </a:lnTo>
                <a:close/>
                <a:moveTo>
                  <a:pt x="1158903" y="1148822"/>
                </a:moveTo>
                <a:cubicBezTo>
                  <a:pt x="1160725" y="1150644"/>
                  <a:pt x="1160725" y="1152466"/>
                  <a:pt x="1158903" y="1154288"/>
                </a:cubicBezTo>
                <a:cubicBezTo>
                  <a:pt x="1158903" y="1154288"/>
                  <a:pt x="1157081" y="1152466"/>
                  <a:pt x="1157081" y="1152466"/>
                </a:cubicBezTo>
                <a:cubicBezTo>
                  <a:pt x="1158903" y="1152466"/>
                  <a:pt x="1157081" y="1150644"/>
                  <a:pt x="1158903" y="1148822"/>
                </a:cubicBezTo>
                <a:close/>
                <a:moveTo>
                  <a:pt x="809046" y="1148822"/>
                </a:moveTo>
                <a:cubicBezTo>
                  <a:pt x="810868" y="1154288"/>
                  <a:pt x="812690" y="1154288"/>
                  <a:pt x="812690" y="1159755"/>
                </a:cubicBezTo>
                <a:cubicBezTo>
                  <a:pt x="816334" y="1159755"/>
                  <a:pt x="812690" y="1156111"/>
                  <a:pt x="816334" y="1156111"/>
                </a:cubicBezTo>
                <a:cubicBezTo>
                  <a:pt x="814512" y="1152466"/>
                  <a:pt x="810868" y="1148822"/>
                  <a:pt x="809046" y="1148822"/>
                </a:cubicBezTo>
                <a:close/>
                <a:moveTo>
                  <a:pt x="470121" y="1148822"/>
                </a:moveTo>
                <a:cubicBezTo>
                  <a:pt x="470121" y="1150644"/>
                  <a:pt x="473766" y="1150644"/>
                  <a:pt x="475589" y="1154288"/>
                </a:cubicBezTo>
                <a:cubicBezTo>
                  <a:pt x="475589" y="1152466"/>
                  <a:pt x="475589" y="1152466"/>
                  <a:pt x="475589" y="1150644"/>
                </a:cubicBezTo>
                <a:cubicBezTo>
                  <a:pt x="473766" y="1148822"/>
                  <a:pt x="471943" y="1150644"/>
                  <a:pt x="470121" y="1148822"/>
                </a:cubicBezTo>
                <a:close/>
                <a:moveTo>
                  <a:pt x="459188" y="1148822"/>
                </a:moveTo>
                <a:cubicBezTo>
                  <a:pt x="461010" y="1150644"/>
                  <a:pt x="457367" y="1150644"/>
                  <a:pt x="455544" y="1150644"/>
                </a:cubicBezTo>
                <a:cubicBezTo>
                  <a:pt x="459188" y="1152466"/>
                  <a:pt x="464655" y="1156111"/>
                  <a:pt x="466478" y="1152466"/>
                </a:cubicBezTo>
                <a:cubicBezTo>
                  <a:pt x="464655" y="1152466"/>
                  <a:pt x="461010" y="1150644"/>
                  <a:pt x="459188" y="1148822"/>
                </a:cubicBezTo>
                <a:close/>
                <a:moveTo>
                  <a:pt x="202262" y="1148822"/>
                </a:moveTo>
                <a:cubicBezTo>
                  <a:pt x="213195" y="1157933"/>
                  <a:pt x="225950" y="1156111"/>
                  <a:pt x="236883" y="1163399"/>
                </a:cubicBezTo>
                <a:cubicBezTo>
                  <a:pt x="238705" y="1163399"/>
                  <a:pt x="233239" y="1157933"/>
                  <a:pt x="236883" y="1159755"/>
                </a:cubicBezTo>
                <a:cubicBezTo>
                  <a:pt x="229594" y="1154288"/>
                  <a:pt x="220483" y="1156111"/>
                  <a:pt x="215017" y="1148822"/>
                </a:cubicBezTo>
                <a:close/>
                <a:moveTo>
                  <a:pt x="193151" y="1148822"/>
                </a:moveTo>
                <a:cubicBezTo>
                  <a:pt x="194062" y="1152466"/>
                  <a:pt x="198162" y="1157022"/>
                  <a:pt x="202717" y="1160894"/>
                </a:cubicBezTo>
                <a:lnTo>
                  <a:pt x="213088" y="1167616"/>
                </a:lnTo>
                <a:lnTo>
                  <a:pt x="211372" y="1167044"/>
                </a:lnTo>
                <a:cubicBezTo>
                  <a:pt x="220483" y="1176155"/>
                  <a:pt x="229594" y="1185266"/>
                  <a:pt x="238705" y="1192554"/>
                </a:cubicBezTo>
                <a:cubicBezTo>
                  <a:pt x="240527" y="1190732"/>
                  <a:pt x="240527" y="1187088"/>
                  <a:pt x="236883" y="1183443"/>
                </a:cubicBezTo>
                <a:cubicBezTo>
                  <a:pt x="238705" y="1185266"/>
                  <a:pt x="242349" y="1188910"/>
                  <a:pt x="244172" y="1187088"/>
                </a:cubicBezTo>
                <a:cubicBezTo>
                  <a:pt x="242349" y="1182532"/>
                  <a:pt x="237339" y="1181166"/>
                  <a:pt x="232555" y="1179571"/>
                </a:cubicBezTo>
                <a:lnTo>
                  <a:pt x="224957" y="1172986"/>
                </a:lnTo>
                <a:lnTo>
                  <a:pt x="238022" y="1180482"/>
                </a:lnTo>
                <a:cubicBezTo>
                  <a:pt x="243260" y="1182532"/>
                  <a:pt x="248727" y="1184354"/>
                  <a:pt x="253282" y="1187088"/>
                </a:cubicBezTo>
                <a:cubicBezTo>
                  <a:pt x="251460" y="1185266"/>
                  <a:pt x="244172" y="1181621"/>
                  <a:pt x="244172" y="1177977"/>
                </a:cubicBezTo>
                <a:cubicBezTo>
                  <a:pt x="245994" y="1177977"/>
                  <a:pt x="249638" y="1177977"/>
                  <a:pt x="253282" y="1177977"/>
                </a:cubicBezTo>
                <a:cubicBezTo>
                  <a:pt x="247815" y="1173421"/>
                  <a:pt x="242349" y="1171599"/>
                  <a:pt x="237339" y="1171144"/>
                </a:cubicBezTo>
                <a:lnTo>
                  <a:pt x="224378" y="1172484"/>
                </a:lnTo>
                <a:lnTo>
                  <a:pt x="222306" y="1170688"/>
                </a:lnTo>
                <a:lnTo>
                  <a:pt x="213802" y="1167854"/>
                </a:lnTo>
                <a:lnTo>
                  <a:pt x="204084" y="1159755"/>
                </a:lnTo>
                <a:cubicBezTo>
                  <a:pt x="215017" y="1165222"/>
                  <a:pt x="225950" y="1172510"/>
                  <a:pt x="235061" y="1170688"/>
                </a:cubicBezTo>
                <a:cubicBezTo>
                  <a:pt x="235061" y="1167044"/>
                  <a:pt x="227772" y="1168866"/>
                  <a:pt x="227772" y="1165222"/>
                </a:cubicBezTo>
                <a:cubicBezTo>
                  <a:pt x="216839" y="1163399"/>
                  <a:pt x="205906" y="1154288"/>
                  <a:pt x="193151" y="1148822"/>
                </a:cubicBezTo>
                <a:close/>
                <a:moveTo>
                  <a:pt x="2955351" y="1148585"/>
                </a:moveTo>
                <a:lnTo>
                  <a:pt x="2955795" y="1149733"/>
                </a:lnTo>
                <a:lnTo>
                  <a:pt x="2952322" y="1155844"/>
                </a:lnTo>
                <a:lnTo>
                  <a:pt x="2951922" y="1156111"/>
                </a:lnTo>
                <a:cubicBezTo>
                  <a:pt x="2952833" y="1154288"/>
                  <a:pt x="2952833" y="1152011"/>
                  <a:pt x="2953289" y="1150188"/>
                </a:cubicBezTo>
                <a:close/>
                <a:moveTo>
                  <a:pt x="867355" y="1147037"/>
                </a:moveTo>
                <a:cubicBezTo>
                  <a:pt x="871000" y="1148860"/>
                  <a:pt x="872822" y="1154327"/>
                  <a:pt x="874644" y="1156149"/>
                </a:cubicBezTo>
                <a:cubicBezTo>
                  <a:pt x="874644" y="1156149"/>
                  <a:pt x="872822" y="1157971"/>
                  <a:pt x="872822" y="1157971"/>
                </a:cubicBezTo>
                <a:cubicBezTo>
                  <a:pt x="872822" y="1156149"/>
                  <a:pt x="871000" y="1156149"/>
                  <a:pt x="869177" y="1154327"/>
                </a:cubicBezTo>
                <a:cubicBezTo>
                  <a:pt x="869177" y="1154327"/>
                  <a:pt x="865533" y="1156149"/>
                  <a:pt x="865533" y="1159793"/>
                </a:cubicBezTo>
                <a:cubicBezTo>
                  <a:pt x="863711" y="1154327"/>
                  <a:pt x="865533" y="1150683"/>
                  <a:pt x="867355" y="1147037"/>
                </a:cubicBezTo>
                <a:close/>
                <a:moveTo>
                  <a:pt x="2643975" y="1147000"/>
                </a:moveTo>
                <a:cubicBezTo>
                  <a:pt x="2633042" y="1141533"/>
                  <a:pt x="2620287" y="1150644"/>
                  <a:pt x="2633042" y="1156111"/>
                </a:cubicBezTo>
                <a:cubicBezTo>
                  <a:pt x="2638508" y="1156111"/>
                  <a:pt x="2638508" y="1152466"/>
                  <a:pt x="2645797" y="1154288"/>
                </a:cubicBezTo>
                <a:cubicBezTo>
                  <a:pt x="2643975" y="1152466"/>
                  <a:pt x="2643975" y="1150644"/>
                  <a:pt x="2643975" y="1147000"/>
                </a:cubicBezTo>
                <a:close/>
                <a:moveTo>
                  <a:pt x="2330561" y="1147000"/>
                </a:moveTo>
                <a:cubicBezTo>
                  <a:pt x="2323272" y="1147000"/>
                  <a:pt x="2323272" y="1150644"/>
                  <a:pt x="2323272" y="1156111"/>
                </a:cubicBezTo>
                <a:cubicBezTo>
                  <a:pt x="2326916" y="1156111"/>
                  <a:pt x="2328739" y="1154288"/>
                  <a:pt x="2332383" y="1154288"/>
                </a:cubicBezTo>
                <a:cubicBezTo>
                  <a:pt x="2332383" y="1150644"/>
                  <a:pt x="2328739" y="1150644"/>
                  <a:pt x="2330561" y="1147000"/>
                </a:cubicBezTo>
                <a:close/>
                <a:moveTo>
                  <a:pt x="2223053" y="1147000"/>
                </a:moveTo>
                <a:cubicBezTo>
                  <a:pt x="2213942" y="1148822"/>
                  <a:pt x="2212120" y="1156111"/>
                  <a:pt x="2204831" y="1159755"/>
                </a:cubicBezTo>
                <a:cubicBezTo>
                  <a:pt x="2210297" y="1163399"/>
                  <a:pt x="2213942" y="1154288"/>
                  <a:pt x="2221230" y="1156111"/>
                </a:cubicBezTo>
                <a:cubicBezTo>
                  <a:pt x="2221230" y="1152466"/>
                  <a:pt x="2223053" y="1150644"/>
                  <a:pt x="2223053" y="1147000"/>
                </a:cubicBezTo>
                <a:close/>
                <a:moveTo>
                  <a:pt x="1005840" y="1147000"/>
                </a:moveTo>
                <a:cubicBezTo>
                  <a:pt x="1004018" y="1148822"/>
                  <a:pt x="1004018" y="1152466"/>
                  <a:pt x="1004018" y="1154288"/>
                </a:cubicBezTo>
                <a:cubicBezTo>
                  <a:pt x="1007663" y="1157933"/>
                  <a:pt x="1013129" y="1154288"/>
                  <a:pt x="1016774" y="1154288"/>
                </a:cubicBezTo>
                <a:cubicBezTo>
                  <a:pt x="1013129" y="1152466"/>
                  <a:pt x="1009485" y="1152466"/>
                  <a:pt x="1005840" y="1147000"/>
                </a:cubicBezTo>
                <a:close/>
                <a:moveTo>
                  <a:pt x="707004" y="1147000"/>
                </a:moveTo>
                <a:cubicBezTo>
                  <a:pt x="705182" y="1147000"/>
                  <a:pt x="703359" y="1148822"/>
                  <a:pt x="701537" y="1148822"/>
                </a:cubicBezTo>
                <a:cubicBezTo>
                  <a:pt x="703359" y="1152466"/>
                  <a:pt x="708826" y="1154288"/>
                  <a:pt x="712470" y="1154288"/>
                </a:cubicBezTo>
                <a:cubicBezTo>
                  <a:pt x="710648" y="1152466"/>
                  <a:pt x="708826" y="1148822"/>
                  <a:pt x="707004" y="1147000"/>
                </a:cubicBezTo>
                <a:close/>
                <a:moveTo>
                  <a:pt x="491987" y="1147000"/>
                </a:moveTo>
                <a:cubicBezTo>
                  <a:pt x="486521" y="1156111"/>
                  <a:pt x="486521" y="1156111"/>
                  <a:pt x="497454" y="1150644"/>
                </a:cubicBezTo>
                <a:cubicBezTo>
                  <a:pt x="493809" y="1148822"/>
                  <a:pt x="491987" y="1150644"/>
                  <a:pt x="491987" y="1147000"/>
                </a:cubicBezTo>
                <a:close/>
                <a:moveTo>
                  <a:pt x="368079" y="1147000"/>
                </a:moveTo>
                <a:cubicBezTo>
                  <a:pt x="368079" y="1148822"/>
                  <a:pt x="371724" y="1150644"/>
                  <a:pt x="371724" y="1148822"/>
                </a:cubicBezTo>
                <a:cubicBezTo>
                  <a:pt x="369902" y="1145178"/>
                  <a:pt x="369902" y="1148822"/>
                  <a:pt x="368079" y="1147000"/>
                </a:cubicBezTo>
                <a:close/>
                <a:moveTo>
                  <a:pt x="349858" y="1147000"/>
                </a:moveTo>
                <a:cubicBezTo>
                  <a:pt x="355324" y="1150644"/>
                  <a:pt x="360791" y="1156111"/>
                  <a:pt x="364435" y="1152466"/>
                </a:cubicBezTo>
                <a:cubicBezTo>
                  <a:pt x="364435" y="1150644"/>
                  <a:pt x="358969" y="1154288"/>
                  <a:pt x="357146" y="1148822"/>
                </a:cubicBezTo>
                <a:cubicBezTo>
                  <a:pt x="355324" y="1147000"/>
                  <a:pt x="351680" y="1145178"/>
                  <a:pt x="349858" y="1147000"/>
                </a:cubicBezTo>
                <a:close/>
                <a:moveTo>
                  <a:pt x="297015" y="1147000"/>
                </a:moveTo>
                <a:cubicBezTo>
                  <a:pt x="295193" y="1147000"/>
                  <a:pt x="300660" y="1150644"/>
                  <a:pt x="300660" y="1150644"/>
                </a:cubicBezTo>
                <a:cubicBezTo>
                  <a:pt x="298837" y="1147000"/>
                  <a:pt x="298837" y="1148822"/>
                  <a:pt x="297015" y="1147000"/>
                </a:cubicBezTo>
                <a:close/>
                <a:moveTo>
                  <a:pt x="601317" y="1146544"/>
                </a:moveTo>
                <a:cubicBezTo>
                  <a:pt x="599495" y="1147000"/>
                  <a:pt x="598584" y="1148822"/>
                  <a:pt x="601318" y="1152466"/>
                </a:cubicBezTo>
                <a:cubicBezTo>
                  <a:pt x="603140" y="1152466"/>
                  <a:pt x="604963" y="1150644"/>
                  <a:pt x="606784" y="1148822"/>
                </a:cubicBezTo>
                <a:cubicBezTo>
                  <a:pt x="605873" y="1147000"/>
                  <a:pt x="603140" y="1146089"/>
                  <a:pt x="601317" y="1146544"/>
                </a:cubicBezTo>
                <a:close/>
                <a:moveTo>
                  <a:pt x="3356445" y="1145178"/>
                </a:moveTo>
                <a:lnTo>
                  <a:pt x="3360374" y="1147692"/>
                </a:lnTo>
                <a:lnTo>
                  <a:pt x="3358495" y="1148366"/>
                </a:lnTo>
                <a:lnTo>
                  <a:pt x="3356142" y="1148509"/>
                </a:lnTo>
                <a:close/>
                <a:moveTo>
                  <a:pt x="3106807" y="1145178"/>
                </a:moveTo>
                <a:cubicBezTo>
                  <a:pt x="3103163" y="1145178"/>
                  <a:pt x="3101340" y="1147000"/>
                  <a:pt x="3099518" y="1148822"/>
                </a:cubicBezTo>
                <a:cubicBezTo>
                  <a:pt x="3099518" y="1154288"/>
                  <a:pt x="3097696" y="1157933"/>
                  <a:pt x="3101340" y="1159755"/>
                </a:cubicBezTo>
                <a:cubicBezTo>
                  <a:pt x="3099518" y="1159755"/>
                  <a:pt x="3095874" y="1159755"/>
                  <a:pt x="3095874" y="1159755"/>
                </a:cubicBezTo>
                <a:cubicBezTo>
                  <a:pt x="3095874" y="1156111"/>
                  <a:pt x="3097696" y="1156111"/>
                  <a:pt x="3097696" y="1150644"/>
                </a:cubicBezTo>
                <a:cubicBezTo>
                  <a:pt x="3094052" y="1148822"/>
                  <a:pt x="3086763" y="1150644"/>
                  <a:pt x="3081297" y="1152466"/>
                </a:cubicBezTo>
                <a:cubicBezTo>
                  <a:pt x="3086763" y="1159755"/>
                  <a:pt x="3092230" y="1168866"/>
                  <a:pt x="3104985" y="1170688"/>
                </a:cubicBezTo>
                <a:cubicBezTo>
                  <a:pt x="3104985" y="1165222"/>
                  <a:pt x="3103163" y="1163399"/>
                  <a:pt x="3101340" y="1159755"/>
                </a:cubicBezTo>
                <a:cubicBezTo>
                  <a:pt x="3103163" y="1156111"/>
                  <a:pt x="3104985" y="1152466"/>
                  <a:pt x="3106807" y="1145178"/>
                </a:cubicBezTo>
                <a:close/>
                <a:moveTo>
                  <a:pt x="2286829" y="1145178"/>
                </a:moveTo>
                <a:cubicBezTo>
                  <a:pt x="2285007" y="1150644"/>
                  <a:pt x="2288651" y="1157933"/>
                  <a:pt x="2281362" y="1163399"/>
                </a:cubicBezTo>
                <a:cubicBezTo>
                  <a:pt x="2285007" y="1165222"/>
                  <a:pt x="2286829" y="1163399"/>
                  <a:pt x="2290473" y="1161577"/>
                </a:cubicBezTo>
                <a:cubicBezTo>
                  <a:pt x="2290473" y="1154288"/>
                  <a:pt x="2292295" y="1147000"/>
                  <a:pt x="2286829" y="1145178"/>
                </a:cubicBezTo>
                <a:close/>
                <a:moveTo>
                  <a:pt x="1082373" y="1145178"/>
                </a:moveTo>
                <a:cubicBezTo>
                  <a:pt x="1082373" y="1148822"/>
                  <a:pt x="1080549" y="1152466"/>
                  <a:pt x="1082373" y="1156111"/>
                </a:cubicBezTo>
                <a:cubicBezTo>
                  <a:pt x="1084194" y="1152466"/>
                  <a:pt x="1086016" y="1148822"/>
                  <a:pt x="1089660" y="1145178"/>
                </a:cubicBezTo>
                <a:cubicBezTo>
                  <a:pt x="1087838" y="1145178"/>
                  <a:pt x="1084194" y="1147000"/>
                  <a:pt x="1082373" y="1145178"/>
                </a:cubicBezTo>
                <a:close/>
                <a:moveTo>
                  <a:pt x="1036818" y="1145178"/>
                </a:moveTo>
                <a:cubicBezTo>
                  <a:pt x="1034995" y="1147000"/>
                  <a:pt x="1034995" y="1148822"/>
                  <a:pt x="1034995" y="1148822"/>
                </a:cubicBezTo>
                <a:cubicBezTo>
                  <a:pt x="1034995" y="1150644"/>
                  <a:pt x="1038639" y="1147000"/>
                  <a:pt x="1036818" y="1145178"/>
                </a:cubicBezTo>
                <a:close/>
                <a:moveTo>
                  <a:pt x="1000374" y="1145178"/>
                </a:moveTo>
                <a:cubicBezTo>
                  <a:pt x="996729" y="1147000"/>
                  <a:pt x="1000374" y="1150644"/>
                  <a:pt x="996729" y="1152466"/>
                </a:cubicBezTo>
                <a:cubicBezTo>
                  <a:pt x="998552" y="1154288"/>
                  <a:pt x="998552" y="1156111"/>
                  <a:pt x="1000374" y="1154288"/>
                </a:cubicBezTo>
                <a:cubicBezTo>
                  <a:pt x="1000374" y="1154288"/>
                  <a:pt x="998552" y="1152466"/>
                  <a:pt x="998552" y="1152466"/>
                </a:cubicBezTo>
                <a:cubicBezTo>
                  <a:pt x="1000374" y="1152466"/>
                  <a:pt x="1000374" y="1154288"/>
                  <a:pt x="1002196" y="1154288"/>
                </a:cubicBezTo>
                <a:cubicBezTo>
                  <a:pt x="1004018" y="1152466"/>
                  <a:pt x="1004018" y="1148822"/>
                  <a:pt x="1004018" y="1147000"/>
                </a:cubicBezTo>
                <a:cubicBezTo>
                  <a:pt x="1002196" y="1145178"/>
                  <a:pt x="1002196" y="1147000"/>
                  <a:pt x="1000374" y="1145178"/>
                </a:cubicBezTo>
                <a:close/>
                <a:moveTo>
                  <a:pt x="799935" y="1145178"/>
                </a:moveTo>
                <a:cubicBezTo>
                  <a:pt x="794468" y="1154288"/>
                  <a:pt x="805401" y="1154288"/>
                  <a:pt x="809046" y="1157933"/>
                </a:cubicBezTo>
                <a:cubicBezTo>
                  <a:pt x="810868" y="1154288"/>
                  <a:pt x="803579" y="1147000"/>
                  <a:pt x="799935" y="1145178"/>
                </a:cubicBezTo>
                <a:close/>
                <a:moveTo>
                  <a:pt x="650516" y="1145178"/>
                </a:moveTo>
                <a:cubicBezTo>
                  <a:pt x="652339" y="1148822"/>
                  <a:pt x="655983" y="1152466"/>
                  <a:pt x="659627" y="1152466"/>
                </a:cubicBezTo>
                <a:cubicBezTo>
                  <a:pt x="661449" y="1148822"/>
                  <a:pt x="654161" y="1141533"/>
                  <a:pt x="650516" y="1145178"/>
                </a:cubicBezTo>
                <a:close/>
                <a:moveTo>
                  <a:pt x="292460" y="1144722"/>
                </a:moveTo>
                <a:cubicBezTo>
                  <a:pt x="291548" y="1144722"/>
                  <a:pt x="290637" y="1145178"/>
                  <a:pt x="289726" y="1145178"/>
                </a:cubicBezTo>
                <a:cubicBezTo>
                  <a:pt x="289726" y="1145178"/>
                  <a:pt x="295193" y="1148822"/>
                  <a:pt x="295193" y="1147000"/>
                </a:cubicBezTo>
                <a:cubicBezTo>
                  <a:pt x="294282" y="1145178"/>
                  <a:pt x="293371" y="1144722"/>
                  <a:pt x="292460" y="1144722"/>
                </a:cubicBezTo>
                <a:close/>
                <a:moveTo>
                  <a:pt x="694932" y="1144722"/>
                </a:moveTo>
                <a:cubicBezTo>
                  <a:pt x="693338" y="1143811"/>
                  <a:pt x="691515" y="1143355"/>
                  <a:pt x="688782" y="1145178"/>
                </a:cubicBezTo>
                <a:cubicBezTo>
                  <a:pt x="692426" y="1147000"/>
                  <a:pt x="696071" y="1150644"/>
                  <a:pt x="699715" y="1147000"/>
                </a:cubicBezTo>
                <a:cubicBezTo>
                  <a:pt x="697893" y="1147000"/>
                  <a:pt x="696527" y="1145633"/>
                  <a:pt x="694932" y="1144722"/>
                </a:cubicBezTo>
                <a:close/>
                <a:moveTo>
                  <a:pt x="3381955" y="1143355"/>
                </a:moveTo>
                <a:lnTo>
                  <a:pt x="3381506" y="1145039"/>
                </a:lnTo>
                <a:lnTo>
                  <a:pt x="3378311" y="1145178"/>
                </a:lnTo>
                <a:lnTo>
                  <a:pt x="3377304" y="1144130"/>
                </a:lnTo>
                <a:close/>
                <a:moveTo>
                  <a:pt x="2334205" y="1143355"/>
                </a:moveTo>
                <a:cubicBezTo>
                  <a:pt x="2328739" y="1143355"/>
                  <a:pt x="2332383" y="1148822"/>
                  <a:pt x="2336027" y="1148822"/>
                </a:cubicBezTo>
                <a:cubicBezTo>
                  <a:pt x="2336027" y="1147000"/>
                  <a:pt x="2336027" y="1145178"/>
                  <a:pt x="2334205" y="1143355"/>
                </a:cubicBezTo>
                <a:close/>
                <a:moveTo>
                  <a:pt x="852778" y="1143355"/>
                </a:moveTo>
                <a:cubicBezTo>
                  <a:pt x="852778" y="1147000"/>
                  <a:pt x="850956" y="1147000"/>
                  <a:pt x="849133" y="1148822"/>
                </a:cubicBezTo>
                <a:cubicBezTo>
                  <a:pt x="854600" y="1150644"/>
                  <a:pt x="856422" y="1147000"/>
                  <a:pt x="854600" y="1145178"/>
                </a:cubicBezTo>
                <a:cubicBezTo>
                  <a:pt x="854600" y="1145178"/>
                  <a:pt x="852778" y="1145178"/>
                  <a:pt x="852778" y="1143355"/>
                </a:cubicBezTo>
                <a:close/>
                <a:moveTo>
                  <a:pt x="794468" y="1143355"/>
                </a:moveTo>
                <a:lnTo>
                  <a:pt x="794832" y="1145906"/>
                </a:lnTo>
                <a:lnTo>
                  <a:pt x="793947" y="1144136"/>
                </a:lnTo>
                <a:close/>
                <a:moveTo>
                  <a:pt x="637761" y="1143355"/>
                </a:moveTo>
                <a:cubicBezTo>
                  <a:pt x="634117" y="1152466"/>
                  <a:pt x="641407" y="1152466"/>
                  <a:pt x="645050" y="1152466"/>
                </a:cubicBezTo>
                <a:cubicBezTo>
                  <a:pt x="645050" y="1147000"/>
                  <a:pt x="641407" y="1148822"/>
                  <a:pt x="637761" y="1143355"/>
                </a:cubicBezTo>
                <a:close/>
                <a:moveTo>
                  <a:pt x="561230" y="1143355"/>
                </a:moveTo>
                <a:cubicBezTo>
                  <a:pt x="563052" y="1145178"/>
                  <a:pt x="553941" y="1148822"/>
                  <a:pt x="563052" y="1147000"/>
                </a:cubicBezTo>
                <a:cubicBezTo>
                  <a:pt x="563052" y="1145178"/>
                  <a:pt x="563052" y="1145178"/>
                  <a:pt x="561230" y="1143355"/>
                </a:cubicBezTo>
                <a:close/>
                <a:moveTo>
                  <a:pt x="342569" y="1143355"/>
                </a:moveTo>
                <a:cubicBezTo>
                  <a:pt x="335280" y="1139711"/>
                  <a:pt x="337102" y="1145178"/>
                  <a:pt x="338926" y="1148822"/>
                </a:cubicBezTo>
                <a:cubicBezTo>
                  <a:pt x="342569" y="1152466"/>
                  <a:pt x="346213" y="1150644"/>
                  <a:pt x="348037" y="1156111"/>
                </a:cubicBezTo>
                <a:cubicBezTo>
                  <a:pt x="351680" y="1156111"/>
                  <a:pt x="353502" y="1154288"/>
                  <a:pt x="357146" y="1154288"/>
                </a:cubicBezTo>
                <a:cubicBezTo>
                  <a:pt x="351680" y="1150644"/>
                  <a:pt x="348037" y="1147000"/>
                  <a:pt x="342569" y="1143355"/>
                </a:cubicBezTo>
                <a:close/>
                <a:moveTo>
                  <a:pt x="2840769" y="1141533"/>
                </a:moveTo>
                <a:cubicBezTo>
                  <a:pt x="2842592" y="1150644"/>
                  <a:pt x="2838947" y="1147000"/>
                  <a:pt x="2835303" y="1148822"/>
                </a:cubicBezTo>
                <a:cubicBezTo>
                  <a:pt x="2833481" y="1152466"/>
                  <a:pt x="2837125" y="1152466"/>
                  <a:pt x="2838947" y="1150644"/>
                </a:cubicBezTo>
                <a:cubicBezTo>
                  <a:pt x="2838947" y="1156111"/>
                  <a:pt x="2835303" y="1156111"/>
                  <a:pt x="2829837" y="1156111"/>
                </a:cubicBezTo>
                <a:cubicBezTo>
                  <a:pt x="2829837" y="1163399"/>
                  <a:pt x="2822548" y="1176155"/>
                  <a:pt x="2828014" y="1181621"/>
                </a:cubicBezTo>
                <a:cubicBezTo>
                  <a:pt x="2837125" y="1170688"/>
                  <a:pt x="2844414" y="1157933"/>
                  <a:pt x="2853525" y="1147000"/>
                </a:cubicBezTo>
                <a:cubicBezTo>
                  <a:pt x="2851703" y="1143355"/>
                  <a:pt x="2846236" y="1141533"/>
                  <a:pt x="2840769" y="1141533"/>
                </a:cubicBezTo>
                <a:close/>
                <a:moveTo>
                  <a:pt x="934777" y="1141533"/>
                </a:moveTo>
                <a:cubicBezTo>
                  <a:pt x="934777" y="1143355"/>
                  <a:pt x="934777" y="1148822"/>
                  <a:pt x="940242" y="1143355"/>
                </a:cubicBezTo>
                <a:cubicBezTo>
                  <a:pt x="938420" y="1143355"/>
                  <a:pt x="936598" y="1141533"/>
                  <a:pt x="934777" y="1141533"/>
                </a:cubicBezTo>
                <a:close/>
                <a:moveTo>
                  <a:pt x="927487" y="1141533"/>
                </a:moveTo>
                <a:cubicBezTo>
                  <a:pt x="927487" y="1145178"/>
                  <a:pt x="923843" y="1152466"/>
                  <a:pt x="929309" y="1156111"/>
                </a:cubicBezTo>
                <a:cubicBezTo>
                  <a:pt x="931131" y="1150644"/>
                  <a:pt x="927487" y="1147000"/>
                  <a:pt x="927487" y="1141533"/>
                </a:cubicBezTo>
                <a:close/>
                <a:moveTo>
                  <a:pt x="845489" y="1141533"/>
                </a:moveTo>
                <a:cubicBezTo>
                  <a:pt x="840022" y="1145178"/>
                  <a:pt x="845489" y="1145178"/>
                  <a:pt x="847311" y="1147000"/>
                </a:cubicBezTo>
                <a:cubicBezTo>
                  <a:pt x="847311" y="1145178"/>
                  <a:pt x="845489" y="1143355"/>
                  <a:pt x="845489" y="1141533"/>
                </a:cubicBezTo>
                <a:close/>
                <a:moveTo>
                  <a:pt x="378101" y="1141077"/>
                </a:moveTo>
                <a:cubicBezTo>
                  <a:pt x="376735" y="1140622"/>
                  <a:pt x="375368" y="1140622"/>
                  <a:pt x="375368" y="1141533"/>
                </a:cubicBezTo>
                <a:cubicBezTo>
                  <a:pt x="379012" y="1143355"/>
                  <a:pt x="379012" y="1141533"/>
                  <a:pt x="380835" y="1143355"/>
                </a:cubicBezTo>
                <a:cubicBezTo>
                  <a:pt x="380835" y="1142444"/>
                  <a:pt x="379468" y="1141533"/>
                  <a:pt x="378101" y="1141077"/>
                </a:cubicBezTo>
                <a:close/>
                <a:moveTo>
                  <a:pt x="1085036" y="1140552"/>
                </a:moveTo>
                <a:lnTo>
                  <a:pt x="1087175" y="1142692"/>
                </a:lnTo>
                <a:lnTo>
                  <a:pt x="1084194" y="1143355"/>
                </a:lnTo>
                <a:close/>
                <a:moveTo>
                  <a:pt x="1476119" y="1139949"/>
                </a:moveTo>
                <a:lnTo>
                  <a:pt x="1472317" y="1141533"/>
                </a:lnTo>
                <a:lnTo>
                  <a:pt x="1473309" y="1140350"/>
                </a:lnTo>
                <a:close/>
                <a:moveTo>
                  <a:pt x="2219408" y="1139711"/>
                </a:moveTo>
                <a:cubicBezTo>
                  <a:pt x="2212120" y="1141533"/>
                  <a:pt x="2206653" y="1141533"/>
                  <a:pt x="2201187" y="1143355"/>
                </a:cubicBezTo>
                <a:cubicBezTo>
                  <a:pt x="2208475" y="1145178"/>
                  <a:pt x="2203009" y="1148822"/>
                  <a:pt x="2203009" y="1152466"/>
                </a:cubicBezTo>
                <a:cubicBezTo>
                  <a:pt x="2213942" y="1152466"/>
                  <a:pt x="2215764" y="1147000"/>
                  <a:pt x="2219408" y="1139711"/>
                </a:cubicBezTo>
                <a:close/>
                <a:moveTo>
                  <a:pt x="796290" y="1139711"/>
                </a:moveTo>
                <a:cubicBezTo>
                  <a:pt x="794468" y="1139711"/>
                  <a:pt x="794468" y="1139711"/>
                  <a:pt x="792646" y="1141533"/>
                </a:cubicBezTo>
                <a:lnTo>
                  <a:pt x="793947" y="1144136"/>
                </a:lnTo>
                <a:lnTo>
                  <a:pt x="790824" y="1148822"/>
                </a:lnTo>
                <a:cubicBezTo>
                  <a:pt x="790824" y="1148822"/>
                  <a:pt x="790824" y="1147000"/>
                  <a:pt x="790824" y="1147000"/>
                </a:cubicBezTo>
                <a:cubicBezTo>
                  <a:pt x="787179" y="1145178"/>
                  <a:pt x="787179" y="1150644"/>
                  <a:pt x="790824" y="1152466"/>
                </a:cubicBezTo>
                <a:cubicBezTo>
                  <a:pt x="792646" y="1154288"/>
                  <a:pt x="792646" y="1154288"/>
                  <a:pt x="796290" y="1156111"/>
                </a:cubicBezTo>
                <a:lnTo>
                  <a:pt x="794832" y="1145906"/>
                </a:lnTo>
                <a:lnTo>
                  <a:pt x="796290" y="1148822"/>
                </a:lnTo>
                <a:cubicBezTo>
                  <a:pt x="796290" y="1145178"/>
                  <a:pt x="796290" y="1143355"/>
                  <a:pt x="796290" y="1139711"/>
                </a:cubicBezTo>
                <a:close/>
                <a:moveTo>
                  <a:pt x="787179" y="1139711"/>
                </a:moveTo>
                <a:cubicBezTo>
                  <a:pt x="789003" y="1141533"/>
                  <a:pt x="787179" y="1143355"/>
                  <a:pt x="789003" y="1145178"/>
                </a:cubicBezTo>
                <a:cubicBezTo>
                  <a:pt x="792646" y="1143355"/>
                  <a:pt x="790824" y="1136067"/>
                  <a:pt x="787179" y="1139711"/>
                </a:cubicBezTo>
                <a:close/>
                <a:moveTo>
                  <a:pt x="641407" y="1139711"/>
                </a:moveTo>
                <a:cubicBezTo>
                  <a:pt x="639583" y="1143355"/>
                  <a:pt x="645050" y="1141533"/>
                  <a:pt x="645050" y="1145178"/>
                </a:cubicBezTo>
                <a:cubicBezTo>
                  <a:pt x="648694" y="1141533"/>
                  <a:pt x="645050" y="1141533"/>
                  <a:pt x="641407" y="1139711"/>
                </a:cubicBezTo>
                <a:close/>
                <a:moveTo>
                  <a:pt x="495632" y="1139711"/>
                </a:moveTo>
                <a:cubicBezTo>
                  <a:pt x="495632" y="1143355"/>
                  <a:pt x="504743" y="1143355"/>
                  <a:pt x="506565" y="1143355"/>
                </a:cubicBezTo>
                <a:cubicBezTo>
                  <a:pt x="504743" y="1139711"/>
                  <a:pt x="499276" y="1139711"/>
                  <a:pt x="495632" y="1139711"/>
                </a:cubicBezTo>
                <a:close/>
                <a:moveTo>
                  <a:pt x="98397" y="1137920"/>
                </a:moveTo>
                <a:cubicBezTo>
                  <a:pt x="107508" y="1139742"/>
                  <a:pt x="111152" y="1148853"/>
                  <a:pt x="116619" y="1152498"/>
                </a:cubicBezTo>
                <a:cubicBezTo>
                  <a:pt x="109330" y="1148853"/>
                  <a:pt x="103864" y="1143387"/>
                  <a:pt x="98397" y="1137920"/>
                </a:cubicBezTo>
                <a:close/>
                <a:moveTo>
                  <a:pt x="2294117" y="1137889"/>
                </a:moveTo>
                <a:cubicBezTo>
                  <a:pt x="2295940" y="1141533"/>
                  <a:pt x="2297762" y="1143355"/>
                  <a:pt x="2299584" y="1147000"/>
                </a:cubicBezTo>
                <a:cubicBezTo>
                  <a:pt x="2303228" y="1145178"/>
                  <a:pt x="2297762" y="1141533"/>
                  <a:pt x="2301406" y="1137889"/>
                </a:cubicBezTo>
                <a:cubicBezTo>
                  <a:pt x="2299584" y="1137889"/>
                  <a:pt x="2297762" y="1137889"/>
                  <a:pt x="2294117" y="1137889"/>
                </a:cubicBezTo>
                <a:close/>
                <a:moveTo>
                  <a:pt x="1047750" y="1137889"/>
                </a:moveTo>
                <a:cubicBezTo>
                  <a:pt x="1042284" y="1137889"/>
                  <a:pt x="1040462" y="1143355"/>
                  <a:pt x="1040462" y="1147000"/>
                </a:cubicBezTo>
                <a:cubicBezTo>
                  <a:pt x="1040462" y="1148822"/>
                  <a:pt x="1042284" y="1145178"/>
                  <a:pt x="1044106" y="1145178"/>
                </a:cubicBezTo>
                <a:cubicBezTo>
                  <a:pt x="1044106" y="1147000"/>
                  <a:pt x="1040462" y="1148822"/>
                  <a:pt x="1040462" y="1150644"/>
                </a:cubicBezTo>
                <a:cubicBezTo>
                  <a:pt x="1040462" y="1150644"/>
                  <a:pt x="1040462" y="1152466"/>
                  <a:pt x="1040462" y="1152466"/>
                </a:cubicBezTo>
                <a:cubicBezTo>
                  <a:pt x="1042284" y="1156111"/>
                  <a:pt x="1045929" y="1154288"/>
                  <a:pt x="1047750" y="1154288"/>
                </a:cubicBezTo>
                <a:cubicBezTo>
                  <a:pt x="1047750" y="1148822"/>
                  <a:pt x="1047750" y="1145178"/>
                  <a:pt x="1047750" y="1137889"/>
                </a:cubicBezTo>
                <a:close/>
                <a:moveTo>
                  <a:pt x="1013129" y="1137889"/>
                </a:moveTo>
                <a:cubicBezTo>
                  <a:pt x="1009485" y="1139711"/>
                  <a:pt x="1005840" y="1136067"/>
                  <a:pt x="1000374" y="1139711"/>
                </a:cubicBezTo>
                <a:cubicBezTo>
                  <a:pt x="1002196" y="1141533"/>
                  <a:pt x="1002196" y="1141533"/>
                  <a:pt x="1004018" y="1143355"/>
                </a:cubicBezTo>
                <a:cubicBezTo>
                  <a:pt x="1005840" y="1141533"/>
                  <a:pt x="1004018" y="1141533"/>
                  <a:pt x="1005840" y="1139711"/>
                </a:cubicBezTo>
                <a:cubicBezTo>
                  <a:pt x="1007663" y="1143355"/>
                  <a:pt x="1011307" y="1148822"/>
                  <a:pt x="1016774" y="1150644"/>
                </a:cubicBezTo>
                <a:cubicBezTo>
                  <a:pt x="1018596" y="1147000"/>
                  <a:pt x="1014951" y="1141533"/>
                  <a:pt x="1013129" y="1137889"/>
                </a:cubicBezTo>
                <a:close/>
                <a:moveTo>
                  <a:pt x="947531" y="1137889"/>
                </a:moveTo>
                <a:cubicBezTo>
                  <a:pt x="945709" y="1137889"/>
                  <a:pt x="942064" y="1148822"/>
                  <a:pt x="938420" y="1148822"/>
                </a:cubicBezTo>
                <a:cubicBezTo>
                  <a:pt x="942064" y="1150644"/>
                  <a:pt x="947531" y="1141533"/>
                  <a:pt x="947531" y="1137889"/>
                </a:cubicBezTo>
                <a:close/>
                <a:moveTo>
                  <a:pt x="770781" y="1137889"/>
                </a:moveTo>
                <a:cubicBezTo>
                  <a:pt x="768959" y="1145178"/>
                  <a:pt x="774424" y="1150644"/>
                  <a:pt x="776246" y="1154288"/>
                </a:cubicBezTo>
                <a:cubicBezTo>
                  <a:pt x="776246" y="1150644"/>
                  <a:pt x="776246" y="1148822"/>
                  <a:pt x="779892" y="1148822"/>
                </a:cubicBezTo>
                <a:cubicBezTo>
                  <a:pt x="776246" y="1147000"/>
                  <a:pt x="774424" y="1141533"/>
                  <a:pt x="770781" y="1137889"/>
                </a:cubicBezTo>
                <a:close/>
                <a:moveTo>
                  <a:pt x="513853" y="1137889"/>
                </a:moveTo>
                <a:cubicBezTo>
                  <a:pt x="513853" y="1141533"/>
                  <a:pt x="519320" y="1143355"/>
                  <a:pt x="522964" y="1139711"/>
                </a:cubicBezTo>
                <a:cubicBezTo>
                  <a:pt x="519320" y="1137889"/>
                  <a:pt x="517498" y="1137889"/>
                  <a:pt x="513853" y="1137889"/>
                </a:cubicBezTo>
                <a:close/>
                <a:moveTo>
                  <a:pt x="389946" y="1137889"/>
                </a:moveTo>
                <a:cubicBezTo>
                  <a:pt x="389946" y="1137889"/>
                  <a:pt x="388123" y="1139711"/>
                  <a:pt x="388123" y="1139711"/>
                </a:cubicBezTo>
                <a:cubicBezTo>
                  <a:pt x="384479" y="1145178"/>
                  <a:pt x="386301" y="1143355"/>
                  <a:pt x="393590" y="1139711"/>
                </a:cubicBezTo>
                <a:cubicBezTo>
                  <a:pt x="391768" y="1137889"/>
                  <a:pt x="391768" y="1137889"/>
                  <a:pt x="389946" y="1137889"/>
                </a:cubicBezTo>
                <a:close/>
                <a:moveTo>
                  <a:pt x="1116470" y="1137860"/>
                </a:moveTo>
                <a:lnTo>
                  <a:pt x="1116993" y="1137889"/>
                </a:lnTo>
                <a:lnTo>
                  <a:pt x="1114954" y="1139247"/>
                </a:lnTo>
                <a:lnTo>
                  <a:pt x="1114943" y="1139028"/>
                </a:lnTo>
                <a:close/>
                <a:moveTo>
                  <a:pt x="65598" y="1136114"/>
                </a:moveTo>
                <a:cubicBezTo>
                  <a:pt x="67420" y="1139759"/>
                  <a:pt x="69243" y="1139759"/>
                  <a:pt x="71065" y="1143403"/>
                </a:cubicBezTo>
                <a:lnTo>
                  <a:pt x="71065" y="1139759"/>
                </a:lnTo>
                <a:cubicBezTo>
                  <a:pt x="76531" y="1145225"/>
                  <a:pt x="80176" y="1148869"/>
                  <a:pt x="85642" y="1152514"/>
                </a:cubicBezTo>
                <a:cubicBezTo>
                  <a:pt x="76531" y="1150692"/>
                  <a:pt x="69243" y="1147047"/>
                  <a:pt x="65598" y="1136114"/>
                </a:cubicBezTo>
                <a:close/>
                <a:moveTo>
                  <a:pt x="1869551" y="1136067"/>
                </a:moveTo>
                <a:lnTo>
                  <a:pt x="1872144" y="1140388"/>
                </a:lnTo>
                <a:lnTo>
                  <a:pt x="1872983" y="1145516"/>
                </a:lnTo>
                <a:lnTo>
                  <a:pt x="1870917" y="1145861"/>
                </a:lnTo>
                <a:cubicBezTo>
                  <a:pt x="1869551" y="1146999"/>
                  <a:pt x="1868640" y="1148822"/>
                  <a:pt x="1869551" y="1150644"/>
                </a:cubicBezTo>
                <a:cubicBezTo>
                  <a:pt x="1865906" y="1145178"/>
                  <a:pt x="1869551" y="1141533"/>
                  <a:pt x="1869551" y="1136067"/>
                </a:cubicBezTo>
                <a:close/>
                <a:moveTo>
                  <a:pt x="1118815" y="1136067"/>
                </a:moveTo>
                <a:lnTo>
                  <a:pt x="1116470" y="1137860"/>
                </a:lnTo>
                <a:lnTo>
                  <a:pt x="1112893" y="1137661"/>
                </a:lnTo>
                <a:cubicBezTo>
                  <a:pt x="1111526" y="1138800"/>
                  <a:pt x="1110616" y="1140622"/>
                  <a:pt x="1111526" y="1141533"/>
                </a:cubicBezTo>
                <a:lnTo>
                  <a:pt x="1114954" y="1139247"/>
                </a:lnTo>
                <a:lnTo>
                  <a:pt x="1115171" y="1143355"/>
                </a:lnTo>
                <a:cubicBezTo>
                  <a:pt x="1116993" y="1143355"/>
                  <a:pt x="1116993" y="1141533"/>
                  <a:pt x="1118815" y="1139711"/>
                </a:cubicBezTo>
                <a:cubicBezTo>
                  <a:pt x="1120637" y="1141533"/>
                  <a:pt x="1115171" y="1143355"/>
                  <a:pt x="1118815" y="1145178"/>
                </a:cubicBezTo>
                <a:cubicBezTo>
                  <a:pt x="1116993" y="1147000"/>
                  <a:pt x="1116993" y="1148822"/>
                  <a:pt x="1115171" y="1150644"/>
                </a:cubicBezTo>
                <a:cubicBezTo>
                  <a:pt x="1115171" y="1148822"/>
                  <a:pt x="1118815" y="1147000"/>
                  <a:pt x="1116993" y="1145178"/>
                </a:cubicBezTo>
                <a:cubicBezTo>
                  <a:pt x="1106060" y="1139711"/>
                  <a:pt x="1093305" y="1154288"/>
                  <a:pt x="1095127" y="1165222"/>
                </a:cubicBezTo>
                <a:cubicBezTo>
                  <a:pt x="1096949" y="1159755"/>
                  <a:pt x="1102416" y="1163399"/>
                  <a:pt x="1104238" y="1165222"/>
                </a:cubicBezTo>
                <a:cubicBezTo>
                  <a:pt x="1107882" y="1163399"/>
                  <a:pt x="1113349" y="1157933"/>
                  <a:pt x="1111526" y="1154288"/>
                </a:cubicBezTo>
                <a:cubicBezTo>
                  <a:pt x="1113349" y="1152466"/>
                  <a:pt x="1115171" y="1152466"/>
                  <a:pt x="1113349" y="1154288"/>
                </a:cubicBezTo>
                <a:cubicBezTo>
                  <a:pt x="1111526" y="1157933"/>
                  <a:pt x="1109704" y="1159755"/>
                  <a:pt x="1109704" y="1163399"/>
                </a:cubicBezTo>
                <a:cubicBezTo>
                  <a:pt x="1113349" y="1157933"/>
                  <a:pt x="1116993" y="1161577"/>
                  <a:pt x="1120637" y="1157933"/>
                </a:cubicBezTo>
                <a:lnTo>
                  <a:pt x="1124281" y="1159755"/>
                </a:lnTo>
                <a:lnTo>
                  <a:pt x="1115171" y="1161577"/>
                </a:lnTo>
                <a:cubicBezTo>
                  <a:pt x="1113349" y="1163399"/>
                  <a:pt x="1113349" y="1163399"/>
                  <a:pt x="1109704" y="1165222"/>
                </a:cubicBezTo>
                <a:cubicBezTo>
                  <a:pt x="1118815" y="1167044"/>
                  <a:pt x="1126104" y="1167044"/>
                  <a:pt x="1135215" y="1167044"/>
                </a:cubicBezTo>
                <a:cubicBezTo>
                  <a:pt x="1133393" y="1165222"/>
                  <a:pt x="1133393" y="1165222"/>
                  <a:pt x="1131570" y="1165222"/>
                </a:cubicBezTo>
                <a:cubicBezTo>
                  <a:pt x="1133393" y="1165222"/>
                  <a:pt x="1135215" y="1165222"/>
                  <a:pt x="1137037" y="1165222"/>
                </a:cubicBezTo>
                <a:cubicBezTo>
                  <a:pt x="1138859" y="1163399"/>
                  <a:pt x="1137037" y="1159755"/>
                  <a:pt x="1137037" y="1157933"/>
                </a:cubicBezTo>
                <a:cubicBezTo>
                  <a:pt x="1138859" y="1157933"/>
                  <a:pt x="1138859" y="1161577"/>
                  <a:pt x="1138859" y="1161577"/>
                </a:cubicBezTo>
                <a:cubicBezTo>
                  <a:pt x="1140681" y="1163399"/>
                  <a:pt x="1140681" y="1159755"/>
                  <a:pt x="1142503" y="1159755"/>
                </a:cubicBezTo>
                <a:cubicBezTo>
                  <a:pt x="1142503" y="1158844"/>
                  <a:pt x="1142503" y="1158388"/>
                  <a:pt x="1141820" y="1158161"/>
                </a:cubicBezTo>
                <a:lnTo>
                  <a:pt x="1138859" y="1158020"/>
                </a:lnTo>
                <a:lnTo>
                  <a:pt x="1138859" y="1154288"/>
                </a:lnTo>
                <a:cubicBezTo>
                  <a:pt x="1138859" y="1154288"/>
                  <a:pt x="1137037" y="1156111"/>
                  <a:pt x="1137037" y="1156111"/>
                </a:cubicBezTo>
                <a:cubicBezTo>
                  <a:pt x="1137037" y="1147000"/>
                  <a:pt x="1126104" y="1141533"/>
                  <a:pt x="1122459" y="1137889"/>
                </a:cubicBezTo>
                <a:cubicBezTo>
                  <a:pt x="1120637" y="1137889"/>
                  <a:pt x="1120637" y="1139711"/>
                  <a:pt x="1120637" y="1139711"/>
                </a:cubicBezTo>
                <a:cubicBezTo>
                  <a:pt x="1118815" y="1137889"/>
                  <a:pt x="1122459" y="1136067"/>
                  <a:pt x="1118815" y="1136067"/>
                </a:cubicBezTo>
                <a:close/>
                <a:moveTo>
                  <a:pt x="920198" y="1136067"/>
                </a:moveTo>
                <a:cubicBezTo>
                  <a:pt x="916555" y="1139711"/>
                  <a:pt x="920198" y="1141533"/>
                  <a:pt x="922020" y="1143355"/>
                </a:cubicBezTo>
                <a:cubicBezTo>
                  <a:pt x="925666" y="1141533"/>
                  <a:pt x="923843" y="1139711"/>
                  <a:pt x="923843" y="1137889"/>
                </a:cubicBezTo>
                <a:cubicBezTo>
                  <a:pt x="922020" y="1136067"/>
                  <a:pt x="922020" y="1137889"/>
                  <a:pt x="920198" y="1136067"/>
                </a:cubicBezTo>
                <a:close/>
                <a:moveTo>
                  <a:pt x="901976" y="1136067"/>
                </a:moveTo>
                <a:cubicBezTo>
                  <a:pt x="900154" y="1139711"/>
                  <a:pt x="901976" y="1139711"/>
                  <a:pt x="898333" y="1141533"/>
                </a:cubicBezTo>
                <a:cubicBezTo>
                  <a:pt x="898333" y="1139711"/>
                  <a:pt x="900154" y="1139711"/>
                  <a:pt x="900154" y="1137889"/>
                </a:cubicBezTo>
                <a:cubicBezTo>
                  <a:pt x="896510" y="1136067"/>
                  <a:pt x="896510" y="1148822"/>
                  <a:pt x="900154" y="1145178"/>
                </a:cubicBezTo>
                <a:cubicBezTo>
                  <a:pt x="901976" y="1147000"/>
                  <a:pt x="896510" y="1150644"/>
                  <a:pt x="900154" y="1152466"/>
                </a:cubicBezTo>
                <a:cubicBezTo>
                  <a:pt x="901976" y="1147000"/>
                  <a:pt x="901976" y="1141533"/>
                  <a:pt x="901976" y="1136067"/>
                </a:cubicBezTo>
                <a:close/>
                <a:moveTo>
                  <a:pt x="779892" y="1136067"/>
                </a:moveTo>
                <a:lnTo>
                  <a:pt x="781106" y="1136067"/>
                </a:lnTo>
                <a:lnTo>
                  <a:pt x="780620" y="1136431"/>
                </a:lnTo>
                <a:close/>
                <a:moveTo>
                  <a:pt x="696071" y="1136067"/>
                </a:moveTo>
                <a:cubicBezTo>
                  <a:pt x="694249" y="1137889"/>
                  <a:pt x="694249" y="1139711"/>
                  <a:pt x="692426" y="1141533"/>
                </a:cubicBezTo>
                <a:cubicBezTo>
                  <a:pt x="694249" y="1143355"/>
                  <a:pt x="696071" y="1143355"/>
                  <a:pt x="697893" y="1145178"/>
                </a:cubicBezTo>
                <a:cubicBezTo>
                  <a:pt x="699715" y="1145178"/>
                  <a:pt x="697893" y="1143355"/>
                  <a:pt x="697893" y="1143355"/>
                </a:cubicBezTo>
                <a:cubicBezTo>
                  <a:pt x="699715" y="1143355"/>
                  <a:pt x="699715" y="1145178"/>
                  <a:pt x="701537" y="1145178"/>
                </a:cubicBezTo>
                <a:cubicBezTo>
                  <a:pt x="703359" y="1141533"/>
                  <a:pt x="697893" y="1139711"/>
                  <a:pt x="696071" y="1136067"/>
                </a:cubicBezTo>
                <a:close/>
                <a:moveTo>
                  <a:pt x="865988" y="1134928"/>
                </a:moveTo>
                <a:cubicBezTo>
                  <a:pt x="863711" y="1134244"/>
                  <a:pt x="861889" y="1134244"/>
                  <a:pt x="861889" y="1136067"/>
                </a:cubicBezTo>
                <a:lnTo>
                  <a:pt x="859659" y="1149665"/>
                </a:lnTo>
                <a:lnTo>
                  <a:pt x="860066" y="1143355"/>
                </a:lnTo>
                <a:cubicBezTo>
                  <a:pt x="854600" y="1150644"/>
                  <a:pt x="858244" y="1161577"/>
                  <a:pt x="852778" y="1168866"/>
                </a:cubicBezTo>
                <a:cubicBezTo>
                  <a:pt x="857333" y="1167044"/>
                  <a:pt x="858700" y="1162488"/>
                  <a:pt x="859155" y="1157477"/>
                </a:cubicBezTo>
                <a:lnTo>
                  <a:pt x="859620" y="1150273"/>
                </a:lnTo>
                <a:lnTo>
                  <a:pt x="860066" y="1165222"/>
                </a:lnTo>
                <a:cubicBezTo>
                  <a:pt x="861889" y="1163399"/>
                  <a:pt x="861889" y="1161577"/>
                  <a:pt x="860066" y="1159755"/>
                </a:cubicBezTo>
                <a:cubicBezTo>
                  <a:pt x="861889" y="1159755"/>
                  <a:pt x="861889" y="1161577"/>
                  <a:pt x="863711" y="1163399"/>
                </a:cubicBezTo>
                <a:cubicBezTo>
                  <a:pt x="863711" y="1165222"/>
                  <a:pt x="861889" y="1165222"/>
                  <a:pt x="860066" y="1167044"/>
                </a:cubicBezTo>
                <a:lnTo>
                  <a:pt x="861223" y="1172019"/>
                </a:lnTo>
                <a:lnTo>
                  <a:pt x="860522" y="1173421"/>
                </a:lnTo>
                <a:cubicBezTo>
                  <a:pt x="860979" y="1174332"/>
                  <a:pt x="861889" y="1175243"/>
                  <a:pt x="861889" y="1176155"/>
                </a:cubicBezTo>
                <a:lnTo>
                  <a:pt x="861889" y="1174880"/>
                </a:lnTo>
                <a:lnTo>
                  <a:pt x="862345" y="1176838"/>
                </a:lnTo>
                <a:cubicBezTo>
                  <a:pt x="863255" y="1179799"/>
                  <a:pt x="864622" y="1182532"/>
                  <a:pt x="867355" y="1185266"/>
                </a:cubicBezTo>
                <a:lnTo>
                  <a:pt x="868641" y="1176691"/>
                </a:lnTo>
                <a:lnTo>
                  <a:pt x="871000" y="1194376"/>
                </a:lnTo>
                <a:cubicBezTo>
                  <a:pt x="876466" y="1188910"/>
                  <a:pt x="872822" y="1181621"/>
                  <a:pt x="876466" y="1176155"/>
                </a:cubicBezTo>
                <a:lnTo>
                  <a:pt x="878029" y="1187088"/>
                </a:lnTo>
                <a:lnTo>
                  <a:pt x="876466" y="1187088"/>
                </a:lnTo>
                <a:cubicBezTo>
                  <a:pt x="878288" y="1190732"/>
                  <a:pt x="876466" y="1194376"/>
                  <a:pt x="880111" y="1194376"/>
                </a:cubicBezTo>
                <a:cubicBezTo>
                  <a:pt x="883755" y="1192554"/>
                  <a:pt x="878288" y="1188910"/>
                  <a:pt x="880111" y="1187088"/>
                </a:cubicBezTo>
                <a:lnTo>
                  <a:pt x="878288" y="1187088"/>
                </a:lnTo>
                <a:lnTo>
                  <a:pt x="878288" y="1172510"/>
                </a:lnTo>
                <a:cubicBezTo>
                  <a:pt x="878288" y="1172510"/>
                  <a:pt x="880111" y="1174332"/>
                  <a:pt x="880111" y="1176155"/>
                </a:cubicBezTo>
                <a:lnTo>
                  <a:pt x="878491" y="1168056"/>
                </a:lnTo>
                <a:lnTo>
                  <a:pt x="878735" y="1167078"/>
                </a:lnTo>
                <a:lnTo>
                  <a:pt x="881249" y="1167271"/>
                </a:lnTo>
                <a:cubicBezTo>
                  <a:pt x="882388" y="1168410"/>
                  <a:pt x="883755" y="1169777"/>
                  <a:pt x="885577" y="1168866"/>
                </a:cubicBezTo>
                <a:cubicBezTo>
                  <a:pt x="885577" y="1170688"/>
                  <a:pt x="883755" y="1174332"/>
                  <a:pt x="885577" y="1176155"/>
                </a:cubicBezTo>
                <a:cubicBezTo>
                  <a:pt x="885577" y="1176155"/>
                  <a:pt x="885577" y="1176155"/>
                  <a:pt x="883755" y="1177977"/>
                </a:cubicBezTo>
                <a:cubicBezTo>
                  <a:pt x="885577" y="1177977"/>
                  <a:pt x="891043" y="1179799"/>
                  <a:pt x="892866" y="1177977"/>
                </a:cubicBezTo>
                <a:cubicBezTo>
                  <a:pt x="894688" y="1165222"/>
                  <a:pt x="891043" y="1154288"/>
                  <a:pt x="887399" y="1143355"/>
                </a:cubicBezTo>
                <a:cubicBezTo>
                  <a:pt x="885577" y="1150644"/>
                  <a:pt x="880111" y="1154288"/>
                  <a:pt x="881933" y="1163399"/>
                </a:cubicBezTo>
                <a:lnTo>
                  <a:pt x="880276" y="1161743"/>
                </a:lnTo>
                <a:lnTo>
                  <a:pt x="881933" y="1159755"/>
                </a:lnTo>
                <a:cubicBezTo>
                  <a:pt x="880111" y="1158844"/>
                  <a:pt x="879199" y="1159755"/>
                  <a:pt x="878971" y="1161122"/>
                </a:cubicBezTo>
                <a:lnTo>
                  <a:pt x="879630" y="1163495"/>
                </a:lnTo>
                <a:lnTo>
                  <a:pt x="878735" y="1167078"/>
                </a:lnTo>
                <a:lnTo>
                  <a:pt x="878288" y="1167044"/>
                </a:lnTo>
                <a:lnTo>
                  <a:pt x="878491" y="1168056"/>
                </a:lnTo>
                <a:lnTo>
                  <a:pt x="878288" y="1168866"/>
                </a:lnTo>
                <a:cubicBezTo>
                  <a:pt x="878288" y="1167044"/>
                  <a:pt x="876466" y="1163399"/>
                  <a:pt x="874644" y="1161577"/>
                </a:cubicBezTo>
                <a:cubicBezTo>
                  <a:pt x="876466" y="1161577"/>
                  <a:pt x="876466" y="1161577"/>
                  <a:pt x="878288" y="1159755"/>
                </a:cubicBezTo>
                <a:cubicBezTo>
                  <a:pt x="878288" y="1157933"/>
                  <a:pt x="876466" y="1159755"/>
                  <a:pt x="874644" y="1157933"/>
                </a:cubicBezTo>
                <a:cubicBezTo>
                  <a:pt x="876466" y="1159755"/>
                  <a:pt x="878288" y="1159755"/>
                  <a:pt x="880111" y="1157933"/>
                </a:cubicBezTo>
                <a:cubicBezTo>
                  <a:pt x="887399" y="1152466"/>
                  <a:pt x="880111" y="1141533"/>
                  <a:pt x="872822" y="1137889"/>
                </a:cubicBezTo>
                <a:cubicBezTo>
                  <a:pt x="871000" y="1136978"/>
                  <a:pt x="868266" y="1135611"/>
                  <a:pt x="865988" y="1134928"/>
                </a:cubicBezTo>
                <a:close/>
                <a:moveTo>
                  <a:pt x="3108629" y="1134245"/>
                </a:moveTo>
                <a:cubicBezTo>
                  <a:pt x="3108629" y="1137889"/>
                  <a:pt x="3110451" y="1139711"/>
                  <a:pt x="3114096" y="1139711"/>
                </a:cubicBezTo>
                <a:cubicBezTo>
                  <a:pt x="3114096" y="1137889"/>
                  <a:pt x="3112274" y="1136067"/>
                  <a:pt x="3112274" y="1134245"/>
                </a:cubicBezTo>
                <a:cubicBezTo>
                  <a:pt x="3110451" y="1134245"/>
                  <a:pt x="3110451" y="1134245"/>
                  <a:pt x="3108629" y="1134245"/>
                </a:cubicBezTo>
                <a:close/>
                <a:moveTo>
                  <a:pt x="2131944" y="1134245"/>
                </a:moveTo>
                <a:lnTo>
                  <a:pt x="2111900" y="1157933"/>
                </a:lnTo>
                <a:lnTo>
                  <a:pt x="2108256" y="1156111"/>
                </a:lnTo>
                <a:cubicBezTo>
                  <a:pt x="2108256" y="1159755"/>
                  <a:pt x="2108256" y="1163399"/>
                  <a:pt x="2111900" y="1161577"/>
                </a:cubicBezTo>
                <a:cubicBezTo>
                  <a:pt x="2115544" y="1159755"/>
                  <a:pt x="2117366" y="1161577"/>
                  <a:pt x="2122833" y="1163399"/>
                </a:cubicBezTo>
                <a:cubicBezTo>
                  <a:pt x="2119189" y="1165222"/>
                  <a:pt x="2121011" y="1170688"/>
                  <a:pt x="2115544" y="1172510"/>
                </a:cubicBezTo>
                <a:cubicBezTo>
                  <a:pt x="2113722" y="1170688"/>
                  <a:pt x="2117366" y="1167044"/>
                  <a:pt x="2115544" y="1165222"/>
                </a:cubicBezTo>
                <a:cubicBezTo>
                  <a:pt x="2113722" y="1170688"/>
                  <a:pt x="2102790" y="1170688"/>
                  <a:pt x="2106433" y="1179799"/>
                </a:cubicBezTo>
                <a:cubicBezTo>
                  <a:pt x="2111900" y="1174332"/>
                  <a:pt x="2111900" y="1181621"/>
                  <a:pt x="2113722" y="1181621"/>
                </a:cubicBezTo>
                <a:cubicBezTo>
                  <a:pt x="2122833" y="1183443"/>
                  <a:pt x="2131944" y="1181621"/>
                  <a:pt x="2141055" y="1176155"/>
                </a:cubicBezTo>
                <a:lnTo>
                  <a:pt x="2133766" y="1157933"/>
                </a:lnTo>
                <a:cubicBezTo>
                  <a:pt x="2142877" y="1139711"/>
                  <a:pt x="2141055" y="1154288"/>
                  <a:pt x="2131944" y="1134245"/>
                </a:cubicBezTo>
                <a:close/>
                <a:moveTo>
                  <a:pt x="1089660" y="1134245"/>
                </a:moveTo>
                <a:lnTo>
                  <a:pt x="1089727" y="1134425"/>
                </a:lnTo>
                <a:lnTo>
                  <a:pt x="1089517" y="1134405"/>
                </a:lnTo>
                <a:close/>
                <a:moveTo>
                  <a:pt x="1031351" y="1134245"/>
                </a:moveTo>
                <a:cubicBezTo>
                  <a:pt x="1031351" y="1134245"/>
                  <a:pt x="1033173" y="1136067"/>
                  <a:pt x="1033173" y="1136067"/>
                </a:cubicBezTo>
                <a:lnTo>
                  <a:pt x="1029529" y="1136067"/>
                </a:lnTo>
                <a:cubicBezTo>
                  <a:pt x="1029529" y="1136067"/>
                  <a:pt x="1031351" y="1134245"/>
                  <a:pt x="1031351" y="1134245"/>
                </a:cubicBezTo>
                <a:close/>
                <a:moveTo>
                  <a:pt x="375368" y="1134245"/>
                </a:moveTo>
                <a:cubicBezTo>
                  <a:pt x="373546" y="1136067"/>
                  <a:pt x="373546" y="1136067"/>
                  <a:pt x="375368" y="1139711"/>
                </a:cubicBezTo>
                <a:cubicBezTo>
                  <a:pt x="375368" y="1136067"/>
                  <a:pt x="379012" y="1137889"/>
                  <a:pt x="382657" y="1139711"/>
                </a:cubicBezTo>
                <a:cubicBezTo>
                  <a:pt x="380835" y="1136067"/>
                  <a:pt x="377190" y="1137889"/>
                  <a:pt x="375368" y="1134245"/>
                </a:cubicBezTo>
                <a:close/>
                <a:moveTo>
                  <a:pt x="3503177" y="1133285"/>
                </a:moveTo>
                <a:lnTo>
                  <a:pt x="3520440" y="1137889"/>
                </a:lnTo>
                <a:cubicBezTo>
                  <a:pt x="3514974" y="1135155"/>
                  <a:pt x="3509507" y="1134700"/>
                  <a:pt x="3504269" y="1133789"/>
                </a:cubicBezTo>
                <a:close/>
                <a:moveTo>
                  <a:pt x="1494183" y="1132422"/>
                </a:moveTo>
                <a:cubicBezTo>
                  <a:pt x="1492361" y="1132422"/>
                  <a:pt x="1492361" y="1134245"/>
                  <a:pt x="1492361" y="1134245"/>
                </a:cubicBezTo>
                <a:lnTo>
                  <a:pt x="1493871" y="1132552"/>
                </a:lnTo>
                <a:close/>
                <a:moveTo>
                  <a:pt x="1044106" y="1132422"/>
                </a:moveTo>
                <a:cubicBezTo>
                  <a:pt x="1044106" y="1134245"/>
                  <a:pt x="1044106" y="1134245"/>
                  <a:pt x="1042284" y="1136067"/>
                </a:cubicBezTo>
                <a:cubicBezTo>
                  <a:pt x="1044106" y="1137889"/>
                  <a:pt x="1045929" y="1137889"/>
                  <a:pt x="1045929" y="1136067"/>
                </a:cubicBezTo>
                <a:cubicBezTo>
                  <a:pt x="1044106" y="1134245"/>
                  <a:pt x="1045929" y="1134245"/>
                  <a:pt x="1044106" y="1132422"/>
                </a:cubicBezTo>
                <a:close/>
                <a:moveTo>
                  <a:pt x="911087" y="1132422"/>
                </a:moveTo>
                <a:cubicBezTo>
                  <a:pt x="903799" y="1137889"/>
                  <a:pt x="914732" y="1136067"/>
                  <a:pt x="914732" y="1139711"/>
                </a:cubicBezTo>
                <a:cubicBezTo>
                  <a:pt x="916555" y="1136067"/>
                  <a:pt x="912909" y="1132422"/>
                  <a:pt x="911087" y="1132422"/>
                </a:cubicBezTo>
                <a:close/>
                <a:moveTo>
                  <a:pt x="905621" y="1132422"/>
                </a:moveTo>
                <a:cubicBezTo>
                  <a:pt x="903799" y="1141533"/>
                  <a:pt x="901976" y="1148822"/>
                  <a:pt x="901976" y="1157933"/>
                </a:cubicBezTo>
                <a:cubicBezTo>
                  <a:pt x="903799" y="1152466"/>
                  <a:pt x="912909" y="1150644"/>
                  <a:pt x="911087" y="1141533"/>
                </a:cubicBezTo>
                <a:cubicBezTo>
                  <a:pt x="912909" y="1143355"/>
                  <a:pt x="912909" y="1145178"/>
                  <a:pt x="914732" y="1143355"/>
                </a:cubicBezTo>
                <a:cubicBezTo>
                  <a:pt x="912909" y="1137889"/>
                  <a:pt x="909265" y="1136067"/>
                  <a:pt x="905621" y="1132422"/>
                </a:cubicBezTo>
                <a:close/>
                <a:moveTo>
                  <a:pt x="801757" y="1132422"/>
                </a:moveTo>
                <a:cubicBezTo>
                  <a:pt x="799935" y="1136067"/>
                  <a:pt x="798112" y="1137889"/>
                  <a:pt x="799935" y="1139711"/>
                </a:cubicBezTo>
                <a:cubicBezTo>
                  <a:pt x="805401" y="1141533"/>
                  <a:pt x="807223" y="1139711"/>
                  <a:pt x="807223" y="1143355"/>
                </a:cubicBezTo>
                <a:cubicBezTo>
                  <a:pt x="809046" y="1143355"/>
                  <a:pt x="809046" y="1145178"/>
                  <a:pt x="810868" y="1143355"/>
                </a:cubicBezTo>
                <a:cubicBezTo>
                  <a:pt x="807223" y="1141533"/>
                  <a:pt x="805401" y="1136067"/>
                  <a:pt x="801757" y="1132422"/>
                </a:cubicBezTo>
                <a:close/>
                <a:moveTo>
                  <a:pt x="670560" y="1132422"/>
                </a:moveTo>
                <a:cubicBezTo>
                  <a:pt x="672383" y="1139711"/>
                  <a:pt x="674205" y="1143355"/>
                  <a:pt x="679671" y="1139711"/>
                </a:cubicBezTo>
                <a:cubicBezTo>
                  <a:pt x="676027" y="1136067"/>
                  <a:pt x="677849" y="1130600"/>
                  <a:pt x="670560" y="1132422"/>
                </a:cubicBezTo>
                <a:close/>
                <a:moveTo>
                  <a:pt x="276971" y="1132422"/>
                </a:moveTo>
                <a:cubicBezTo>
                  <a:pt x="280615" y="1137889"/>
                  <a:pt x="284259" y="1136067"/>
                  <a:pt x="287904" y="1139711"/>
                </a:cubicBezTo>
                <a:cubicBezTo>
                  <a:pt x="282438" y="1139711"/>
                  <a:pt x="278793" y="1136067"/>
                  <a:pt x="276971" y="1132422"/>
                </a:cubicBezTo>
                <a:close/>
                <a:moveTo>
                  <a:pt x="933865" y="1132195"/>
                </a:moveTo>
                <a:cubicBezTo>
                  <a:pt x="932498" y="1131967"/>
                  <a:pt x="931131" y="1132423"/>
                  <a:pt x="929309" y="1134245"/>
                </a:cubicBezTo>
                <a:cubicBezTo>
                  <a:pt x="931131" y="1136067"/>
                  <a:pt x="934777" y="1137889"/>
                  <a:pt x="936598" y="1139711"/>
                </a:cubicBezTo>
                <a:cubicBezTo>
                  <a:pt x="940242" y="1137889"/>
                  <a:pt x="940242" y="1136067"/>
                  <a:pt x="938420" y="1134245"/>
                </a:cubicBezTo>
                <a:cubicBezTo>
                  <a:pt x="936598" y="1133334"/>
                  <a:pt x="935232" y="1132422"/>
                  <a:pt x="933865" y="1132195"/>
                </a:cubicBezTo>
                <a:close/>
                <a:moveTo>
                  <a:pt x="240299" y="1131283"/>
                </a:moveTo>
                <a:cubicBezTo>
                  <a:pt x="238705" y="1130600"/>
                  <a:pt x="236883" y="1130600"/>
                  <a:pt x="235061" y="1132422"/>
                </a:cubicBezTo>
                <a:cubicBezTo>
                  <a:pt x="238705" y="1132422"/>
                  <a:pt x="242349" y="1136067"/>
                  <a:pt x="244172" y="1134245"/>
                </a:cubicBezTo>
                <a:cubicBezTo>
                  <a:pt x="243260" y="1133333"/>
                  <a:pt x="241894" y="1131967"/>
                  <a:pt x="240299" y="1131283"/>
                </a:cubicBezTo>
                <a:close/>
                <a:moveTo>
                  <a:pt x="3405643" y="1130600"/>
                </a:moveTo>
                <a:cubicBezTo>
                  <a:pt x="3403821" y="1130600"/>
                  <a:pt x="3400177" y="1134245"/>
                  <a:pt x="3401999" y="1132422"/>
                </a:cubicBezTo>
                <a:cubicBezTo>
                  <a:pt x="3409288" y="1134245"/>
                  <a:pt x="3412932" y="1139711"/>
                  <a:pt x="3414754" y="1145178"/>
                </a:cubicBezTo>
                <a:cubicBezTo>
                  <a:pt x="3416577" y="1148822"/>
                  <a:pt x="3412932" y="1137889"/>
                  <a:pt x="3418399" y="1137889"/>
                </a:cubicBezTo>
                <a:cubicBezTo>
                  <a:pt x="3414754" y="1132422"/>
                  <a:pt x="3414754" y="1134245"/>
                  <a:pt x="3407466" y="1134245"/>
                </a:cubicBezTo>
                <a:cubicBezTo>
                  <a:pt x="3407466" y="1134245"/>
                  <a:pt x="3407466" y="1130600"/>
                  <a:pt x="3405643" y="1130600"/>
                </a:cubicBezTo>
                <a:close/>
                <a:moveTo>
                  <a:pt x="2264963" y="1130600"/>
                </a:moveTo>
                <a:cubicBezTo>
                  <a:pt x="2248563" y="1134245"/>
                  <a:pt x="2252207" y="1141533"/>
                  <a:pt x="2254030" y="1150644"/>
                </a:cubicBezTo>
                <a:cubicBezTo>
                  <a:pt x="2259496" y="1145178"/>
                  <a:pt x="2266785" y="1139711"/>
                  <a:pt x="2268607" y="1132422"/>
                </a:cubicBezTo>
                <a:cubicBezTo>
                  <a:pt x="2264963" y="1134245"/>
                  <a:pt x="2264963" y="1137889"/>
                  <a:pt x="2264963" y="1130600"/>
                </a:cubicBezTo>
                <a:close/>
                <a:moveTo>
                  <a:pt x="1521516" y="1130600"/>
                </a:moveTo>
                <a:cubicBezTo>
                  <a:pt x="1517871" y="1128778"/>
                  <a:pt x="1514228" y="1137889"/>
                  <a:pt x="1512405" y="1134245"/>
                </a:cubicBezTo>
                <a:lnTo>
                  <a:pt x="1513138" y="1133145"/>
                </a:lnTo>
                <a:close/>
                <a:moveTo>
                  <a:pt x="1253656" y="1130600"/>
                </a:moveTo>
                <a:cubicBezTo>
                  <a:pt x="1250012" y="1132422"/>
                  <a:pt x="1253656" y="1136067"/>
                  <a:pt x="1251834" y="1137889"/>
                </a:cubicBezTo>
                <a:cubicBezTo>
                  <a:pt x="1251834" y="1139711"/>
                  <a:pt x="1253656" y="1137889"/>
                  <a:pt x="1253656" y="1137889"/>
                </a:cubicBezTo>
                <a:cubicBezTo>
                  <a:pt x="1255478" y="1139711"/>
                  <a:pt x="1250012" y="1141533"/>
                  <a:pt x="1250012" y="1143355"/>
                </a:cubicBezTo>
                <a:cubicBezTo>
                  <a:pt x="1255478" y="1141533"/>
                  <a:pt x="1259123" y="1137889"/>
                  <a:pt x="1266411" y="1134245"/>
                </a:cubicBezTo>
                <a:cubicBezTo>
                  <a:pt x="1264589" y="1130600"/>
                  <a:pt x="1257300" y="1132422"/>
                  <a:pt x="1253656" y="1130600"/>
                </a:cubicBezTo>
                <a:close/>
                <a:moveTo>
                  <a:pt x="898333" y="1130600"/>
                </a:moveTo>
                <a:cubicBezTo>
                  <a:pt x="896510" y="1132422"/>
                  <a:pt x="896510" y="1134245"/>
                  <a:pt x="898333" y="1136067"/>
                </a:cubicBezTo>
                <a:cubicBezTo>
                  <a:pt x="900154" y="1134245"/>
                  <a:pt x="900154" y="1132422"/>
                  <a:pt x="901976" y="1130600"/>
                </a:cubicBezTo>
                <a:cubicBezTo>
                  <a:pt x="900154" y="1128778"/>
                  <a:pt x="900154" y="1132422"/>
                  <a:pt x="898333" y="1130600"/>
                </a:cubicBezTo>
                <a:close/>
                <a:moveTo>
                  <a:pt x="191329" y="1130600"/>
                </a:moveTo>
                <a:cubicBezTo>
                  <a:pt x="196795" y="1136067"/>
                  <a:pt x="207728" y="1145178"/>
                  <a:pt x="215017" y="1137889"/>
                </a:cubicBezTo>
                <a:cubicBezTo>
                  <a:pt x="205906" y="1132422"/>
                  <a:pt x="200439" y="1136067"/>
                  <a:pt x="191329" y="1130600"/>
                </a:cubicBezTo>
                <a:close/>
                <a:moveTo>
                  <a:pt x="3034972" y="1130380"/>
                </a:moveTo>
                <a:lnTo>
                  <a:pt x="3037564" y="1132422"/>
                </a:lnTo>
                <a:lnTo>
                  <a:pt x="3035742" y="1133151"/>
                </a:lnTo>
                <a:close/>
                <a:moveTo>
                  <a:pt x="850272" y="1130144"/>
                </a:moveTo>
                <a:cubicBezTo>
                  <a:pt x="848222" y="1130600"/>
                  <a:pt x="846400" y="1132422"/>
                  <a:pt x="845489" y="1136067"/>
                </a:cubicBezTo>
                <a:cubicBezTo>
                  <a:pt x="849133" y="1136067"/>
                  <a:pt x="841845" y="1139711"/>
                  <a:pt x="849133" y="1141533"/>
                </a:cubicBezTo>
                <a:cubicBezTo>
                  <a:pt x="852778" y="1141533"/>
                  <a:pt x="854600" y="1136067"/>
                  <a:pt x="856422" y="1132422"/>
                </a:cubicBezTo>
                <a:cubicBezTo>
                  <a:pt x="854600" y="1130600"/>
                  <a:pt x="852322" y="1129689"/>
                  <a:pt x="850272" y="1130144"/>
                </a:cubicBezTo>
                <a:close/>
                <a:moveTo>
                  <a:pt x="1026567" y="1129461"/>
                </a:moveTo>
                <a:cubicBezTo>
                  <a:pt x="1023151" y="1128778"/>
                  <a:pt x="1018596" y="1129689"/>
                  <a:pt x="1013129" y="1132422"/>
                </a:cubicBezTo>
                <a:cubicBezTo>
                  <a:pt x="1013129" y="1132422"/>
                  <a:pt x="1013129" y="1134245"/>
                  <a:pt x="1014951" y="1136067"/>
                </a:cubicBezTo>
                <a:cubicBezTo>
                  <a:pt x="1016774" y="1141533"/>
                  <a:pt x="1018596" y="1147000"/>
                  <a:pt x="1024062" y="1143355"/>
                </a:cubicBezTo>
                <a:cubicBezTo>
                  <a:pt x="1025884" y="1145178"/>
                  <a:pt x="1022240" y="1145178"/>
                  <a:pt x="1022240" y="1147000"/>
                </a:cubicBezTo>
                <a:cubicBezTo>
                  <a:pt x="1022240" y="1148822"/>
                  <a:pt x="1024062" y="1147000"/>
                  <a:pt x="1024062" y="1148822"/>
                </a:cubicBezTo>
                <a:cubicBezTo>
                  <a:pt x="1027707" y="1145178"/>
                  <a:pt x="1029529" y="1143355"/>
                  <a:pt x="1034995" y="1139711"/>
                </a:cubicBezTo>
                <a:cubicBezTo>
                  <a:pt x="1033173" y="1139711"/>
                  <a:pt x="1033173" y="1137889"/>
                  <a:pt x="1033173" y="1137889"/>
                </a:cubicBezTo>
                <a:cubicBezTo>
                  <a:pt x="1033173" y="1139711"/>
                  <a:pt x="1036818" y="1137889"/>
                  <a:pt x="1036818" y="1136067"/>
                </a:cubicBezTo>
                <a:lnTo>
                  <a:pt x="1033173" y="1136067"/>
                </a:lnTo>
                <a:cubicBezTo>
                  <a:pt x="1032262" y="1132422"/>
                  <a:pt x="1029984" y="1130145"/>
                  <a:pt x="1026567" y="1129461"/>
                </a:cubicBezTo>
                <a:close/>
                <a:moveTo>
                  <a:pt x="2319628" y="1128778"/>
                </a:moveTo>
                <a:cubicBezTo>
                  <a:pt x="2319628" y="1132422"/>
                  <a:pt x="2321450" y="1134245"/>
                  <a:pt x="2325094" y="1134245"/>
                </a:cubicBezTo>
                <a:cubicBezTo>
                  <a:pt x="2323272" y="1132422"/>
                  <a:pt x="2325094" y="1126956"/>
                  <a:pt x="2319628" y="1128778"/>
                </a:cubicBezTo>
                <a:close/>
                <a:moveTo>
                  <a:pt x="1042284" y="1128778"/>
                </a:moveTo>
                <a:cubicBezTo>
                  <a:pt x="1040462" y="1126956"/>
                  <a:pt x="1036818" y="1126956"/>
                  <a:pt x="1034995" y="1130600"/>
                </a:cubicBezTo>
                <a:cubicBezTo>
                  <a:pt x="1036818" y="1132422"/>
                  <a:pt x="1036818" y="1132422"/>
                  <a:pt x="1038639" y="1134245"/>
                </a:cubicBezTo>
                <a:cubicBezTo>
                  <a:pt x="1042284" y="1134245"/>
                  <a:pt x="1042284" y="1130600"/>
                  <a:pt x="1045929" y="1128778"/>
                </a:cubicBezTo>
                <a:cubicBezTo>
                  <a:pt x="1042284" y="1126956"/>
                  <a:pt x="1040462" y="1132422"/>
                  <a:pt x="1038639" y="1134245"/>
                </a:cubicBezTo>
                <a:cubicBezTo>
                  <a:pt x="1040462" y="1132422"/>
                  <a:pt x="1042284" y="1130600"/>
                  <a:pt x="1042284" y="1128778"/>
                </a:cubicBezTo>
                <a:close/>
                <a:moveTo>
                  <a:pt x="841845" y="1128778"/>
                </a:moveTo>
                <a:cubicBezTo>
                  <a:pt x="841845" y="1134245"/>
                  <a:pt x="841845" y="1132422"/>
                  <a:pt x="845489" y="1130600"/>
                </a:cubicBezTo>
                <a:cubicBezTo>
                  <a:pt x="845489" y="1128778"/>
                  <a:pt x="843667" y="1128778"/>
                  <a:pt x="841845" y="1128778"/>
                </a:cubicBezTo>
                <a:close/>
                <a:moveTo>
                  <a:pt x="138486" y="1128778"/>
                </a:moveTo>
                <a:lnTo>
                  <a:pt x="142076" y="1130573"/>
                </a:lnTo>
                <a:lnTo>
                  <a:pt x="146768" y="1134410"/>
                </a:lnTo>
                <a:close/>
                <a:moveTo>
                  <a:pt x="418872" y="1127867"/>
                </a:moveTo>
                <a:cubicBezTo>
                  <a:pt x="416367" y="1127867"/>
                  <a:pt x="415456" y="1129689"/>
                  <a:pt x="420923" y="1134245"/>
                </a:cubicBezTo>
                <a:cubicBezTo>
                  <a:pt x="422745" y="1132422"/>
                  <a:pt x="424567" y="1132422"/>
                  <a:pt x="426389" y="1132422"/>
                </a:cubicBezTo>
                <a:cubicBezTo>
                  <a:pt x="425478" y="1129689"/>
                  <a:pt x="421379" y="1127867"/>
                  <a:pt x="418872" y="1127867"/>
                </a:cubicBezTo>
                <a:close/>
                <a:moveTo>
                  <a:pt x="3358267" y="1126956"/>
                </a:moveTo>
                <a:lnTo>
                  <a:pt x="3357554" y="1128362"/>
                </a:lnTo>
                <a:lnTo>
                  <a:pt x="3356081" y="1127503"/>
                </a:lnTo>
                <a:close/>
                <a:moveTo>
                  <a:pt x="2935523" y="1126956"/>
                </a:moveTo>
                <a:lnTo>
                  <a:pt x="2936219" y="1128027"/>
                </a:lnTo>
                <a:lnTo>
                  <a:pt x="2935423" y="1127955"/>
                </a:lnTo>
                <a:close/>
                <a:moveTo>
                  <a:pt x="1516049" y="1126956"/>
                </a:moveTo>
                <a:cubicBezTo>
                  <a:pt x="1517871" y="1125134"/>
                  <a:pt x="1517871" y="1128778"/>
                  <a:pt x="1516049" y="1128778"/>
                </a:cubicBezTo>
                <a:lnTo>
                  <a:pt x="1513138" y="1133145"/>
                </a:lnTo>
                <a:lnTo>
                  <a:pt x="1503522" y="1136067"/>
                </a:lnTo>
                <a:cubicBezTo>
                  <a:pt x="1497372" y="1136067"/>
                  <a:pt x="1491449" y="1135156"/>
                  <a:pt x="1486895" y="1136067"/>
                </a:cubicBezTo>
                <a:cubicBezTo>
                  <a:pt x="1483250" y="1136067"/>
                  <a:pt x="1481428" y="1137889"/>
                  <a:pt x="1477784" y="1139711"/>
                </a:cubicBezTo>
                <a:lnTo>
                  <a:pt x="1476119" y="1139949"/>
                </a:lnTo>
                <a:lnTo>
                  <a:pt x="1493779" y="1132590"/>
                </a:lnTo>
                <a:lnTo>
                  <a:pt x="1492361" y="1134245"/>
                </a:lnTo>
                <a:cubicBezTo>
                  <a:pt x="1499650" y="1136067"/>
                  <a:pt x="1508760" y="1134245"/>
                  <a:pt x="1516049" y="1126956"/>
                </a:cubicBezTo>
                <a:close/>
                <a:moveTo>
                  <a:pt x="1056861" y="1126956"/>
                </a:moveTo>
                <a:cubicBezTo>
                  <a:pt x="1053217" y="1128778"/>
                  <a:pt x="1045929" y="1130600"/>
                  <a:pt x="1047750" y="1136067"/>
                </a:cubicBezTo>
                <a:cubicBezTo>
                  <a:pt x="1051395" y="1132422"/>
                  <a:pt x="1058683" y="1132422"/>
                  <a:pt x="1056861" y="1126956"/>
                </a:cubicBezTo>
                <a:close/>
                <a:moveTo>
                  <a:pt x="836378" y="1126956"/>
                </a:moveTo>
                <a:cubicBezTo>
                  <a:pt x="836378" y="1130600"/>
                  <a:pt x="838200" y="1132422"/>
                  <a:pt x="841845" y="1134245"/>
                </a:cubicBezTo>
                <a:cubicBezTo>
                  <a:pt x="843667" y="1132422"/>
                  <a:pt x="840022" y="1128778"/>
                  <a:pt x="840022" y="1126956"/>
                </a:cubicBezTo>
                <a:cubicBezTo>
                  <a:pt x="838200" y="1126956"/>
                  <a:pt x="838200" y="1128778"/>
                  <a:pt x="836378" y="1126956"/>
                </a:cubicBezTo>
                <a:close/>
                <a:moveTo>
                  <a:pt x="530253" y="1126956"/>
                </a:moveTo>
                <a:cubicBezTo>
                  <a:pt x="532075" y="1132422"/>
                  <a:pt x="541186" y="1132422"/>
                  <a:pt x="546653" y="1134245"/>
                </a:cubicBezTo>
                <a:cubicBezTo>
                  <a:pt x="544830" y="1128778"/>
                  <a:pt x="535719" y="1128778"/>
                  <a:pt x="530253" y="1126956"/>
                </a:cubicBezTo>
                <a:close/>
                <a:moveTo>
                  <a:pt x="521142" y="1126956"/>
                </a:moveTo>
                <a:cubicBezTo>
                  <a:pt x="521142" y="1128778"/>
                  <a:pt x="521142" y="1128778"/>
                  <a:pt x="519320" y="1128778"/>
                </a:cubicBezTo>
                <a:cubicBezTo>
                  <a:pt x="521142" y="1132422"/>
                  <a:pt x="528431" y="1134245"/>
                  <a:pt x="530253" y="1132422"/>
                </a:cubicBezTo>
                <a:cubicBezTo>
                  <a:pt x="526609" y="1130600"/>
                  <a:pt x="526609" y="1128778"/>
                  <a:pt x="521142" y="1126956"/>
                </a:cubicBezTo>
                <a:close/>
                <a:moveTo>
                  <a:pt x="373546" y="1126956"/>
                </a:moveTo>
                <a:cubicBezTo>
                  <a:pt x="379012" y="1128778"/>
                  <a:pt x="382657" y="1130600"/>
                  <a:pt x="386301" y="1130600"/>
                </a:cubicBezTo>
                <a:cubicBezTo>
                  <a:pt x="384479" y="1128778"/>
                  <a:pt x="375368" y="1125134"/>
                  <a:pt x="373546" y="1126956"/>
                </a:cubicBezTo>
                <a:close/>
                <a:moveTo>
                  <a:pt x="937964" y="1126728"/>
                </a:moveTo>
                <a:cubicBezTo>
                  <a:pt x="936143" y="1126045"/>
                  <a:pt x="933864" y="1126956"/>
                  <a:pt x="932953" y="1130600"/>
                </a:cubicBezTo>
                <a:cubicBezTo>
                  <a:pt x="936598" y="1132422"/>
                  <a:pt x="938420" y="1132422"/>
                  <a:pt x="940242" y="1132422"/>
                </a:cubicBezTo>
                <a:cubicBezTo>
                  <a:pt x="941153" y="1129689"/>
                  <a:pt x="939786" y="1127411"/>
                  <a:pt x="937964" y="1126728"/>
                </a:cubicBezTo>
                <a:close/>
                <a:moveTo>
                  <a:pt x="1499819" y="1125542"/>
                </a:moveTo>
                <a:lnTo>
                  <a:pt x="1499877" y="1125817"/>
                </a:lnTo>
                <a:lnTo>
                  <a:pt x="1493871" y="1132552"/>
                </a:lnTo>
                <a:lnTo>
                  <a:pt x="1493779" y="1132590"/>
                </a:lnTo>
                <a:close/>
                <a:moveTo>
                  <a:pt x="1231790" y="1125134"/>
                </a:moveTo>
                <a:cubicBezTo>
                  <a:pt x="1231790" y="1125134"/>
                  <a:pt x="1231790" y="1128778"/>
                  <a:pt x="1233612" y="1130600"/>
                </a:cubicBezTo>
                <a:cubicBezTo>
                  <a:pt x="1229969" y="1132422"/>
                  <a:pt x="1229969" y="1134245"/>
                  <a:pt x="1228146" y="1136067"/>
                </a:cubicBezTo>
                <a:cubicBezTo>
                  <a:pt x="1229969" y="1132422"/>
                  <a:pt x="1228146" y="1132422"/>
                  <a:pt x="1231790" y="1130600"/>
                </a:cubicBezTo>
                <a:cubicBezTo>
                  <a:pt x="1231790" y="1128778"/>
                  <a:pt x="1229969" y="1126956"/>
                  <a:pt x="1231790" y="1125134"/>
                </a:cubicBezTo>
                <a:close/>
                <a:moveTo>
                  <a:pt x="3414754" y="1123312"/>
                </a:moveTo>
                <a:cubicBezTo>
                  <a:pt x="3416577" y="1123312"/>
                  <a:pt x="3414754" y="1126956"/>
                  <a:pt x="3412932" y="1128778"/>
                </a:cubicBezTo>
                <a:cubicBezTo>
                  <a:pt x="3418399" y="1132422"/>
                  <a:pt x="3423865" y="1132422"/>
                  <a:pt x="3423865" y="1139711"/>
                </a:cubicBezTo>
                <a:cubicBezTo>
                  <a:pt x="3423865" y="1141533"/>
                  <a:pt x="3423865" y="1141533"/>
                  <a:pt x="3422043" y="1143355"/>
                </a:cubicBezTo>
                <a:cubicBezTo>
                  <a:pt x="3422043" y="1139711"/>
                  <a:pt x="3422043" y="1136067"/>
                  <a:pt x="3420221" y="1136067"/>
                </a:cubicBezTo>
                <a:cubicBezTo>
                  <a:pt x="3412932" y="1134245"/>
                  <a:pt x="3420221" y="1145178"/>
                  <a:pt x="3420221" y="1148822"/>
                </a:cubicBezTo>
                <a:cubicBezTo>
                  <a:pt x="3412932" y="1148822"/>
                  <a:pt x="3407466" y="1148822"/>
                  <a:pt x="3400177" y="1150644"/>
                </a:cubicBezTo>
                <a:cubicBezTo>
                  <a:pt x="3396532" y="1150644"/>
                  <a:pt x="3398355" y="1143355"/>
                  <a:pt x="3394710" y="1143355"/>
                </a:cubicBezTo>
                <a:cubicBezTo>
                  <a:pt x="3392888" y="1143355"/>
                  <a:pt x="3391066" y="1143355"/>
                  <a:pt x="3391066" y="1145178"/>
                </a:cubicBezTo>
                <a:cubicBezTo>
                  <a:pt x="3391066" y="1148822"/>
                  <a:pt x="3394710" y="1147000"/>
                  <a:pt x="3396532" y="1147000"/>
                </a:cubicBezTo>
                <a:cubicBezTo>
                  <a:pt x="3381955" y="1156111"/>
                  <a:pt x="3381955" y="1167044"/>
                  <a:pt x="3389244" y="1181621"/>
                </a:cubicBezTo>
                <a:cubicBezTo>
                  <a:pt x="3381955" y="1181621"/>
                  <a:pt x="3372844" y="1176155"/>
                  <a:pt x="3374666" y="1170688"/>
                </a:cubicBezTo>
                <a:lnTo>
                  <a:pt x="3381506" y="1145039"/>
                </a:lnTo>
                <a:lnTo>
                  <a:pt x="3383550" y="1144950"/>
                </a:lnTo>
                <a:cubicBezTo>
                  <a:pt x="3385600" y="1144722"/>
                  <a:pt x="3387422" y="1144266"/>
                  <a:pt x="3387422" y="1143355"/>
                </a:cubicBezTo>
                <a:cubicBezTo>
                  <a:pt x="3389244" y="1137889"/>
                  <a:pt x="3381955" y="1143355"/>
                  <a:pt x="3380133" y="1137889"/>
                </a:cubicBezTo>
                <a:cubicBezTo>
                  <a:pt x="3385600" y="1139711"/>
                  <a:pt x="3387422" y="1134245"/>
                  <a:pt x="3385600" y="1130600"/>
                </a:cubicBezTo>
                <a:cubicBezTo>
                  <a:pt x="3394710" y="1136067"/>
                  <a:pt x="3403821" y="1123312"/>
                  <a:pt x="3414754" y="1123312"/>
                </a:cubicBezTo>
                <a:close/>
                <a:moveTo>
                  <a:pt x="3363734" y="1123312"/>
                </a:moveTo>
                <a:cubicBezTo>
                  <a:pt x="3361911" y="1125134"/>
                  <a:pt x="3361911" y="1126956"/>
                  <a:pt x="3361911" y="1128778"/>
                </a:cubicBezTo>
                <a:cubicBezTo>
                  <a:pt x="3367378" y="1128778"/>
                  <a:pt x="3369200" y="1121489"/>
                  <a:pt x="3363734" y="1123312"/>
                </a:cubicBezTo>
                <a:close/>
                <a:moveTo>
                  <a:pt x="1126104" y="1123312"/>
                </a:moveTo>
                <a:cubicBezTo>
                  <a:pt x="1122459" y="1123312"/>
                  <a:pt x="1124282" y="1126956"/>
                  <a:pt x="1120637" y="1128778"/>
                </a:cubicBezTo>
                <a:cubicBezTo>
                  <a:pt x="1122459" y="1130600"/>
                  <a:pt x="1122459" y="1130600"/>
                  <a:pt x="1124282" y="1130600"/>
                </a:cubicBezTo>
                <a:cubicBezTo>
                  <a:pt x="1127926" y="1128778"/>
                  <a:pt x="1126104" y="1125134"/>
                  <a:pt x="1126104" y="1123312"/>
                </a:cubicBezTo>
                <a:close/>
                <a:moveTo>
                  <a:pt x="1031351" y="1123312"/>
                </a:moveTo>
                <a:cubicBezTo>
                  <a:pt x="1029529" y="1126956"/>
                  <a:pt x="1029529" y="1123312"/>
                  <a:pt x="1027707" y="1125134"/>
                </a:cubicBezTo>
                <a:cubicBezTo>
                  <a:pt x="1027707" y="1126956"/>
                  <a:pt x="1027707" y="1128778"/>
                  <a:pt x="1027707" y="1128778"/>
                </a:cubicBezTo>
                <a:cubicBezTo>
                  <a:pt x="1029529" y="1125134"/>
                  <a:pt x="1031351" y="1128778"/>
                  <a:pt x="1033173" y="1125134"/>
                </a:cubicBezTo>
                <a:cubicBezTo>
                  <a:pt x="1033173" y="1125134"/>
                  <a:pt x="1031351" y="1123312"/>
                  <a:pt x="1031351" y="1123312"/>
                </a:cubicBezTo>
                <a:close/>
                <a:moveTo>
                  <a:pt x="976686" y="1123312"/>
                </a:moveTo>
                <a:cubicBezTo>
                  <a:pt x="976686" y="1123312"/>
                  <a:pt x="974863" y="1125134"/>
                  <a:pt x="973041" y="1125134"/>
                </a:cubicBezTo>
                <a:cubicBezTo>
                  <a:pt x="974863" y="1126956"/>
                  <a:pt x="976686" y="1125134"/>
                  <a:pt x="976686" y="1126956"/>
                </a:cubicBezTo>
                <a:cubicBezTo>
                  <a:pt x="978508" y="1125134"/>
                  <a:pt x="974863" y="1123312"/>
                  <a:pt x="976686" y="1123312"/>
                </a:cubicBezTo>
                <a:close/>
                <a:moveTo>
                  <a:pt x="883755" y="1123312"/>
                </a:moveTo>
                <a:cubicBezTo>
                  <a:pt x="881933" y="1121489"/>
                  <a:pt x="880111" y="1125134"/>
                  <a:pt x="880111" y="1126956"/>
                </a:cubicBezTo>
                <a:cubicBezTo>
                  <a:pt x="881933" y="1128778"/>
                  <a:pt x="881933" y="1128778"/>
                  <a:pt x="883755" y="1128778"/>
                </a:cubicBezTo>
                <a:cubicBezTo>
                  <a:pt x="883755" y="1126956"/>
                  <a:pt x="881933" y="1125134"/>
                  <a:pt x="883755" y="1123312"/>
                </a:cubicBezTo>
                <a:close/>
                <a:moveTo>
                  <a:pt x="805401" y="1123312"/>
                </a:moveTo>
                <a:cubicBezTo>
                  <a:pt x="799935" y="1128778"/>
                  <a:pt x="809046" y="1134245"/>
                  <a:pt x="810868" y="1139711"/>
                </a:cubicBezTo>
                <a:cubicBezTo>
                  <a:pt x="810868" y="1139711"/>
                  <a:pt x="812690" y="1137889"/>
                  <a:pt x="814512" y="1136067"/>
                </a:cubicBezTo>
                <a:cubicBezTo>
                  <a:pt x="814512" y="1130600"/>
                  <a:pt x="809046" y="1125134"/>
                  <a:pt x="805401" y="1123312"/>
                </a:cubicBezTo>
                <a:close/>
                <a:moveTo>
                  <a:pt x="1225230" y="1122947"/>
                </a:moveTo>
                <a:lnTo>
                  <a:pt x="1226655" y="1123422"/>
                </a:lnTo>
                <a:lnTo>
                  <a:pt x="1224501" y="1123312"/>
                </a:lnTo>
                <a:close/>
                <a:moveTo>
                  <a:pt x="3068541" y="1121489"/>
                </a:moveTo>
                <a:lnTo>
                  <a:pt x="3070487" y="1123218"/>
                </a:lnTo>
                <a:lnTo>
                  <a:pt x="3070363" y="1125134"/>
                </a:lnTo>
                <a:cubicBezTo>
                  <a:pt x="3070363" y="1123312"/>
                  <a:pt x="3070363" y="1121489"/>
                  <a:pt x="3068541" y="1121489"/>
                </a:cubicBezTo>
                <a:close/>
                <a:moveTo>
                  <a:pt x="2314161" y="1121489"/>
                </a:moveTo>
                <a:cubicBezTo>
                  <a:pt x="2312339" y="1123312"/>
                  <a:pt x="2308695" y="1128778"/>
                  <a:pt x="2314161" y="1126956"/>
                </a:cubicBezTo>
                <a:cubicBezTo>
                  <a:pt x="2315983" y="1125134"/>
                  <a:pt x="2315983" y="1123312"/>
                  <a:pt x="2314161" y="1121489"/>
                </a:cubicBezTo>
                <a:close/>
                <a:moveTo>
                  <a:pt x="2223053" y="1121489"/>
                </a:moveTo>
                <a:cubicBezTo>
                  <a:pt x="2219408" y="1123312"/>
                  <a:pt x="2215764" y="1134245"/>
                  <a:pt x="2217586" y="1136067"/>
                </a:cubicBezTo>
                <a:cubicBezTo>
                  <a:pt x="2223053" y="1134245"/>
                  <a:pt x="2221230" y="1126956"/>
                  <a:pt x="2223053" y="1121489"/>
                </a:cubicBezTo>
                <a:close/>
                <a:moveTo>
                  <a:pt x="1291922" y="1121489"/>
                </a:moveTo>
                <a:cubicBezTo>
                  <a:pt x="1286455" y="1123312"/>
                  <a:pt x="1280989" y="1126956"/>
                  <a:pt x="1273700" y="1130600"/>
                </a:cubicBezTo>
                <a:cubicBezTo>
                  <a:pt x="1279166" y="1136067"/>
                  <a:pt x="1286455" y="1125134"/>
                  <a:pt x="1291922" y="1121489"/>
                </a:cubicBezTo>
                <a:close/>
                <a:moveTo>
                  <a:pt x="1084194" y="1121489"/>
                </a:moveTo>
                <a:lnTo>
                  <a:pt x="1084308" y="1123084"/>
                </a:lnTo>
                <a:lnTo>
                  <a:pt x="1082373" y="1126956"/>
                </a:lnTo>
                <a:lnTo>
                  <a:pt x="1080640" y="1127533"/>
                </a:lnTo>
                <a:lnTo>
                  <a:pt x="1080549" y="1127184"/>
                </a:lnTo>
                <a:cubicBezTo>
                  <a:pt x="1081461" y="1124678"/>
                  <a:pt x="1083283" y="1122400"/>
                  <a:pt x="1084194" y="1121489"/>
                </a:cubicBezTo>
                <a:close/>
                <a:moveTo>
                  <a:pt x="1034995" y="1121489"/>
                </a:moveTo>
                <a:cubicBezTo>
                  <a:pt x="1038639" y="1123312"/>
                  <a:pt x="1040462" y="1123312"/>
                  <a:pt x="1042284" y="1125134"/>
                </a:cubicBezTo>
                <a:cubicBezTo>
                  <a:pt x="1044106" y="1123312"/>
                  <a:pt x="1038639" y="1119667"/>
                  <a:pt x="1034995" y="1121489"/>
                </a:cubicBezTo>
                <a:close/>
                <a:moveTo>
                  <a:pt x="1033173" y="1121489"/>
                </a:moveTo>
                <a:cubicBezTo>
                  <a:pt x="1033173" y="1123312"/>
                  <a:pt x="1033173" y="1125134"/>
                  <a:pt x="1034995" y="1126956"/>
                </a:cubicBezTo>
                <a:cubicBezTo>
                  <a:pt x="1034995" y="1125134"/>
                  <a:pt x="1036818" y="1125134"/>
                  <a:pt x="1036818" y="1123312"/>
                </a:cubicBezTo>
                <a:cubicBezTo>
                  <a:pt x="1034995" y="1121489"/>
                  <a:pt x="1034995" y="1123312"/>
                  <a:pt x="1033173" y="1121489"/>
                </a:cubicBezTo>
                <a:close/>
                <a:moveTo>
                  <a:pt x="920198" y="1121489"/>
                </a:moveTo>
                <a:cubicBezTo>
                  <a:pt x="911087" y="1130600"/>
                  <a:pt x="920198" y="1123312"/>
                  <a:pt x="920198" y="1125134"/>
                </a:cubicBezTo>
                <a:cubicBezTo>
                  <a:pt x="920198" y="1125134"/>
                  <a:pt x="920198" y="1123312"/>
                  <a:pt x="920198" y="1121489"/>
                </a:cubicBezTo>
                <a:close/>
                <a:moveTo>
                  <a:pt x="790824" y="1121489"/>
                </a:moveTo>
                <a:cubicBezTo>
                  <a:pt x="790824" y="1125134"/>
                  <a:pt x="792646" y="1132422"/>
                  <a:pt x="796290" y="1132422"/>
                </a:cubicBezTo>
                <a:cubicBezTo>
                  <a:pt x="798112" y="1126956"/>
                  <a:pt x="794468" y="1125134"/>
                  <a:pt x="790824" y="1121489"/>
                </a:cubicBezTo>
                <a:close/>
                <a:moveTo>
                  <a:pt x="641407" y="1121489"/>
                </a:moveTo>
                <a:cubicBezTo>
                  <a:pt x="637761" y="1123312"/>
                  <a:pt x="637761" y="1125134"/>
                  <a:pt x="637761" y="1126956"/>
                </a:cubicBezTo>
                <a:cubicBezTo>
                  <a:pt x="641407" y="1130600"/>
                  <a:pt x="645050" y="1132422"/>
                  <a:pt x="648694" y="1128778"/>
                </a:cubicBezTo>
                <a:cubicBezTo>
                  <a:pt x="648694" y="1125134"/>
                  <a:pt x="643228" y="1125134"/>
                  <a:pt x="641407" y="1121489"/>
                </a:cubicBezTo>
                <a:close/>
                <a:moveTo>
                  <a:pt x="298837" y="1121489"/>
                </a:moveTo>
                <a:cubicBezTo>
                  <a:pt x="300660" y="1125134"/>
                  <a:pt x="307948" y="1130600"/>
                  <a:pt x="313414" y="1134245"/>
                </a:cubicBezTo>
                <a:cubicBezTo>
                  <a:pt x="311592" y="1126956"/>
                  <a:pt x="304303" y="1126956"/>
                  <a:pt x="298837" y="1121489"/>
                </a:cubicBezTo>
                <a:close/>
                <a:moveTo>
                  <a:pt x="3045945" y="1121257"/>
                </a:moveTo>
                <a:lnTo>
                  <a:pt x="3048497" y="1123312"/>
                </a:lnTo>
                <a:cubicBezTo>
                  <a:pt x="3046675" y="1125134"/>
                  <a:pt x="3047587" y="1129234"/>
                  <a:pt x="3048498" y="1133561"/>
                </a:cubicBezTo>
                <a:lnTo>
                  <a:pt x="3048498" y="1134245"/>
                </a:lnTo>
                <a:lnTo>
                  <a:pt x="3048497" y="1134245"/>
                </a:lnTo>
                <a:cubicBezTo>
                  <a:pt x="3049408" y="1128778"/>
                  <a:pt x="3047586" y="1125134"/>
                  <a:pt x="3045992" y="1121717"/>
                </a:cubicBezTo>
                <a:close/>
                <a:moveTo>
                  <a:pt x="1130963" y="1120882"/>
                </a:moveTo>
                <a:lnTo>
                  <a:pt x="1132709" y="1122628"/>
                </a:lnTo>
                <a:cubicBezTo>
                  <a:pt x="1133392" y="1123767"/>
                  <a:pt x="1134303" y="1125134"/>
                  <a:pt x="1137037" y="1126956"/>
                </a:cubicBezTo>
                <a:cubicBezTo>
                  <a:pt x="1138859" y="1130600"/>
                  <a:pt x="1144326" y="1136067"/>
                  <a:pt x="1142503" y="1139711"/>
                </a:cubicBezTo>
                <a:lnTo>
                  <a:pt x="1138003" y="1136898"/>
                </a:lnTo>
                <a:lnTo>
                  <a:pt x="1135670" y="1129234"/>
                </a:lnTo>
                <a:lnTo>
                  <a:pt x="1135275" y="1128717"/>
                </a:lnTo>
                <a:lnTo>
                  <a:pt x="1129748" y="1121489"/>
                </a:lnTo>
                <a:close/>
                <a:moveTo>
                  <a:pt x="3329112" y="1119667"/>
                </a:moveTo>
                <a:lnTo>
                  <a:pt x="3331299" y="1125134"/>
                </a:lnTo>
                <a:lnTo>
                  <a:pt x="3329112" y="1125134"/>
                </a:lnTo>
                <a:lnTo>
                  <a:pt x="3331542" y="1125741"/>
                </a:lnTo>
                <a:lnTo>
                  <a:pt x="3332425" y="1127950"/>
                </a:lnTo>
                <a:lnTo>
                  <a:pt x="3331797" y="1128107"/>
                </a:lnTo>
                <a:lnTo>
                  <a:pt x="3328325" y="1125675"/>
                </a:lnTo>
                <a:lnTo>
                  <a:pt x="3328239" y="1125341"/>
                </a:lnTo>
                <a:close/>
                <a:moveTo>
                  <a:pt x="2924590" y="1119667"/>
                </a:moveTo>
                <a:lnTo>
                  <a:pt x="2926379" y="1120043"/>
                </a:lnTo>
                <a:lnTo>
                  <a:pt x="2927337" y="1122671"/>
                </a:lnTo>
                <a:close/>
                <a:moveTo>
                  <a:pt x="2239452" y="1119667"/>
                </a:moveTo>
                <a:cubicBezTo>
                  <a:pt x="2239452" y="1125134"/>
                  <a:pt x="2239452" y="1128778"/>
                  <a:pt x="2243096" y="1126956"/>
                </a:cubicBezTo>
                <a:cubicBezTo>
                  <a:pt x="2243096" y="1121489"/>
                  <a:pt x="2244919" y="1125134"/>
                  <a:pt x="2248563" y="1125134"/>
                </a:cubicBezTo>
                <a:cubicBezTo>
                  <a:pt x="2250385" y="1123312"/>
                  <a:pt x="2250385" y="1121489"/>
                  <a:pt x="2248563" y="1119667"/>
                </a:cubicBezTo>
                <a:cubicBezTo>
                  <a:pt x="2243096" y="1125134"/>
                  <a:pt x="2246741" y="1119667"/>
                  <a:pt x="2239452" y="1119667"/>
                </a:cubicBezTo>
                <a:close/>
                <a:moveTo>
                  <a:pt x="1258895" y="1119667"/>
                </a:moveTo>
                <a:lnTo>
                  <a:pt x="1273275" y="1119667"/>
                </a:lnTo>
                <a:lnTo>
                  <a:pt x="1262083" y="1124678"/>
                </a:lnTo>
                <a:lnTo>
                  <a:pt x="1248953" y="1127458"/>
                </a:lnTo>
                <a:lnTo>
                  <a:pt x="1242723" y="1125134"/>
                </a:lnTo>
                <a:cubicBezTo>
                  <a:pt x="1247279" y="1123311"/>
                  <a:pt x="1253200" y="1121034"/>
                  <a:pt x="1258895" y="1119667"/>
                </a:cubicBezTo>
                <a:close/>
                <a:moveTo>
                  <a:pt x="1133393" y="1119667"/>
                </a:moveTo>
                <a:lnTo>
                  <a:pt x="1133890" y="1120660"/>
                </a:lnTo>
                <a:lnTo>
                  <a:pt x="1133393" y="1121489"/>
                </a:lnTo>
                <a:lnTo>
                  <a:pt x="1132513" y="1120107"/>
                </a:lnTo>
                <a:close/>
                <a:moveTo>
                  <a:pt x="1086016" y="1119667"/>
                </a:moveTo>
                <a:cubicBezTo>
                  <a:pt x="1073262" y="1121489"/>
                  <a:pt x="1062328" y="1134245"/>
                  <a:pt x="1049573" y="1141533"/>
                </a:cubicBezTo>
                <a:cubicBezTo>
                  <a:pt x="1051395" y="1143355"/>
                  <a:pt x="1051395" y="1147000"/>
                  <a:pt x="1051395" y="1150644"/>
                </a:cubicBezTo>
                <a:cubicBezTo>
                  <a:pt x="1053217" y="1148822"/>
                  <a:pt x="1055040" y="1154288"/>
                  <a:pt x="1058683" y="1157933"/>
                </a:cubicBezTo>
                <a:cubicBezTo>
                  <a:pt x="1062328" y="1156111"/>
                  <a:pt x="1064151" y="1159755"/>
                  <a:pt x="1067794" y="1157933"/>
                </a:cubicBezTo>
                <a:lnTo>
                  <a:pt x="1067794" y="1159755"/>
                </a:lnTo>
                <a:cubicBezTo>
                  <a:pt x="1069616" y="1159755"/>
                  <a:pt x="1071439" y="1159755"/>
                  <a:pt x="1073262" y="1159755"/>
                </a:cubicBezTo>
                <a:cubicBezTo>
                  <a:pt x="1073262" y="1156111"/>
                  <a:pt x="1075083" y="1154288"/>
                  <a:pt x="1075083" y="1150644"/>
                </a:cubicBezTo>
                <a:cubicBezTo>
                  <a:pt x="1076905" y="1150644"/>
                  <a:pt x="1076905" y="1150644"/>
                  <a:pt x="1078727" y="1152466"/>
                </a:cubicBezTo>
                <a:cubicBezTo>
                  <a:pt x="1080549" y="1147000"/>
                  <a:pt x="1082373" y="1141533"/>
                  <a:pt x="1087838" y="1143355"/>
                </a:cubicBezTo>
                <a:lnTo>
                  <a:pt x="1087175" y="1142692"/>
                </a:lnTo>
                <a:lnTo>
                  <a:pt x="1092394" y="1141533"/>
                </a:lnTo>
                <a:lnTo>
                  <a:pt x="1089727" y="1134425"/>
                </a:lnTo>
                <a:lnTo>
                  <a:pt x="1092621" y="1134700"/>
                </a:lnTo>
                <a:cubicBezTo>
                  <a:pt x="1093760" y="1135156"/>
                  <a:pt x="1094216" y="1136067"/>
                  <a:pt x="1093305" y="1137889"/>
                </a:cubicBezTo>
                <a:cubicBezTo>
                  <a:pt x="1100593" y="1134245"/>
                  <a:pt x="1100593" y="1123312"/>
                  <a:pt x="1089660" y="1119667"/>
                </a:cubicBezTo>
                <a:cubicBezTo>
                  <a:pt x="1089660" y="1121489"/>
                  <a:pt x="1087838" y="1125134"/>
                  <a:pt x="1089660" y="1126956"/>
                </a:cubicBezTo>
                <a:lnTo>
                  <a:pt x="1087838" y="1129324"/>
                </a:lnTo>
                <a:lnTo>
                  <a:pt x="1087382" y="1129917"/>
                </a:lnTo>
                <a:cubicBezTo>
                  <a:pt x="1087382" y="1131511"/>
                  <a:pt x="1087838" y="1133333"/>
                  <a:pt x="1087838" y="1134245"/>
                </a:cubicBezTo>
                <a:lnTo>
                  <a:pt x="1089517" y="1134405"/>
                </a:lnTo>
                <a:lnTo>
                  <a:pt x="1085560" y="1138800"/>
                </a:lnTo>
                <a:lnTo>
                  <a:pt x="1085036" y="1140552"/>
                </a:lnTo>
                <a:lnTo>
                  <a:pt x="1084194" y="1139711"/>
                </a:lnTo>
                <a:cubicBezTo>
                  <a:pt x="1080549" y="1141533"/>
                  <a:pt x="1084194" y="1145178"/>
                  <a:pt x="1080549" y="1147000"/>
                </a:cubicBezTo>
                <a:cubicBezTo>
                  <a:pt x="1078727" y="1141533"/>
                  <a:pt x="1084194" y="1137889"/>
                  <a:pt x="1080549" y="1134245"/>
                </a:cubicBezTo>
                <a:cubicBezTo>
                  <a:pt x="1076905" y="1139711"/>
                  <a:pt x="1069616" y="1137889"/>
                  <a:pt x="1067794" y="1145178"/>
                </a:cubicBezTo>
                <a:cubicBezTo>
                  <a:pt x="1065972" y="1141533"/>
                  <a:pt x="1064151" y="1145178"/>
                  <a:pt x="1060506" y="1147000"/>
                </a:cubicBezTo>
                <a:cubicBezTo>
                  <a:pt x="1058683" y="1145178"/>
                  <a:pt x="1062328" y="1143355"/>
                  <a:pt x="1064151" y="1143355"/>
                </a:cubicBezTo>
                <a:cubicBezTo>
                  <a:pt x="1064151" y="1143355"/>
                  <a:pt x="1064151" y="1141533"/>
                  <a:pt x="1062328" y="1139711"/>
                </a:cubicBezTo>
                <a:cubicBezTo>
                  <a:pt x="1064151" y="1137889"/>
                  <a:pt x="1064151" y="1143355"/>
                  <a:pt x="1065972" y="1141533"/>
                </a:cubicBezTo>
                <a:cubicBezTo>
                  <a:pt x="1067794" y="1139711"/>
                  <a:pt x="1065972" y="1137889"/>
                  <a:pt x="1065972" y="1136067"/>
                </a:cubicBezTo>
                <a:cubicBezTo>
                  <a:pt x="1067794" y="1134245"/>
                  <a:pt x="1067794" y="1136067"/>
                  <a:pt x="1069616" y="1134245"/>
                </a:cubicBezTo>
                <a:cubicBezTo>
                  <a:pt x="1071439" y="1136067"/>
                  <a:pt x="1067794" y="1136067"/>
                  <a:pt x="1067794" y="1137889"/>
                </a:cubicBezTo>
                <a:cubicBezTo>
                  <a:pt x="1073262" y="1136067"/>
                  <a:pt x="1076905" y="1132422"/>
                  <a:pt x="1078727" y="1130600"/>
                </a:cubicBezTo>
                <a:cubicBezTo>
                  <a:pt x="1076905" y="1130600"/>
                  <a:pt x="1075083" y="1130600"/>
                  <a:pt x="1075083" y="1132422"/>
                </a:cubicBezTo>
                <a:cubicBezTo>
                  <a:pt x="1075083" y="1128778"/>
                  <a:pt x="1076905" y="1128778"/>
                  <a:pt x="1075083" y="1126956"/>
                </a:cubicBezTo>
                <a:cubicBezTo>
                  <a:pt x="1076905" y="1125134"/>
                  <a:pt x="1075083" y="1128778"/>
                  <a:pt x="1076905" y="1128778"/>
                </a:cubicBezTo>
                <a:lnTo>
                  <a:pt x="1080640" y="1127533"/>
                </a:lnTo>
                <a:lnTo>
                  <a:pt x="1082373" y="1134245"/>
                </a:lnTo>
                <a:cubicBezTo>
                  <a:pt x="1084194" y="1132422"/>
                  <a:pt x="1084649" y="1130145"/>
                  <a:pt x="1084649" y="1127867"/>
                </a:cubicBezTo>
                <a:lnTo>
                  <a:pt x="1084308" y="1123084"/>
                </a:lnTo>
                <a:close/>
                <a:moveTo>
                  <a:pt x="967575" y="1119667"/>
                </a:moveTo>
                <a:cubicBezTo>
                  <a:pt x="965753" y="1117845"/>
                  <a:pt x="952997" y="1136067"/>
                  <a:pt x="962108" y="1126956"/>
                </a:cubicBezTo>
                <a:cubicBezTo>
                  <a:pt x="963930" y="1125134"/>
                  <a:pt x="965753" y="1123312"/>
                  <a:pt x="967575" y="1119667"/>
                </a:cubicBezTo>
                <a:close/>
                <a:moveTo>
                  <a:pt x="931131" y="1119667"/>
                </a:moveTo>
                <a:cubicBezTo>
                  <a:pt x="929309" y="1121489"/>
                  <a:pt x="931131" y="1123312"/>
                  <a:pt x="931131" y="1125134"/>
                </a:cubicBezTo>
                <a:cubicBezTo>
                  <a:pt x="932953" y="1121489"/>
                  <a:pt x="932953" y="1125134"/>
                  <a:pt x="934777" y="1123312"/>
                </a:cubicBezTo>
                <a:cubicBezTo>
                  <a:pt x="934777" y="1121489"/>
                  <a:pt x="932953" y="1119667"/>
                  <a:pt x="931131" y="1119667"/>
                </a:cubicBezTo>
                <a:close/>
                <a:moveTo>
                  <a:pt x="369902" y="1119667"/>
                </a:moveTo>
                <a:cubicBezTo>
                  <a:pt x="368079" y="1119667"/>
                  <a:pt x="375368" y="1125134"/>
                  <a:pt x="375368" y="1123312"/>
                </a:cubicBezTo>
                <a:cubicBezTo>
                  <a:pt x="373546" y="1121489"/>
                  <a:pt x="371724" y="1121489"/>
                  <a:pt x="369902" y="1119667"/>
                </a:cubicBezTo>
                <a:close/>
                <a:moveTo>
                  <a:pt x="262393" y="1119667"/>
                </a:moveTo>
                <a:cubicBezTo>
                  <a:pt x="262393" y="1121489"/>
                  <a:pt x="267860" y="1125134"/>
                  <a:pt x="267860" y="1123312"/>
                </a:cubicBezTo>
                <a:cubicBezTo>
                  <a:pt x="266038" y="1121489"/>
                  <a:pt x="264216" y="1121489"/>
                  <a:pt x="262393" y="1119667"/>
                </a:cubicBezTo>
                <a:close/>
                <a:moveTo>
                  <a:pt x="1274690" y="1119033"/>
                </a:moveTo>
                <a:lnTo>
                  <a:pt x="1273700" y="1119667"/>
                </a:lnTo>
                <a:lnTo>
                  <a:pt x="1273275" y="1119667"/>
                </a:lnTo>
                <a:close/>
                <a:moveTo>
                  <a:pt x="3026670" y="1117944"/>
                </a:moveTo>
                <a:lnTo>
                  <a:pt x="3026727" y="1117967"/>
                </a:lnTo>
                <a:lnTo>
                  <a:pt x="3034148" y="1127411"/>
                </a:lnTo>
                <a:lnTo>
                  <a:pt x="3034972" y="1130380"/>
                </a:lnTo>
                <a:lnTo>
                  <a:pt x="3030048" y="1126500"/>
                </a:lnTo>
                <a:close/>
                <a:moveTo>
                  <a:pt x="1290100" y="1117845"/>
                </a:moveTo>
                <a:cubicBezTo>
                  <a:pt x="1290100" y="1117845"/>
                  <a:pt x="1291922" y="1119667"/>
                  <a:pt x="1291922" y="1119667"/>
                </a:cubicBezTo>
                <a:lnTo>
                  <a:pt x="1291440" y="1119828"/>
                </a:lnTo>
                <a:lnTo>
                  <a:pt x="1288960" y="1119894"/>
                </a:lnTo>
                <a:lnTo>
                  <a:pt x="1287873" y="1120072"/>
                </a:lnTo>
                <a:close/>
                <a:moveTo>
                  <a:pt x="1131570" y="1117845"/>
                </a:moveTo>
                <a:cubicBezTo>
                  <a:pt x="1131570" y="1117845"/>
                  <a:pt x="1133393" y="1117845"/>
                  <a:pt x="1133393" y="1117845"/>
                </a:cubicBezTo>
                <a:lnTo>
                  <a:pt x="1133419" y="1117942"/>
                </a:lnTo>
                <a:close/>
                <a:moveTo>
                  <a:pt x="896510" y="1117845"/>
                </a:moveTo>
                <a:cubicBezTo>
                  <a:pt x="892866" y="1125134"/>
                  <a:pt x="900154" y="1117845"/>
                  <a:pt x="898333" y="1121489"/>
                </a:cubicBezTo>
                <a:cubicBezTo>
                  <a:pt x="900154" y="1121489"/>
                  <a:pt x="896510" y="1119667"/>
                  <a:pt x="896510" y="1117845"/>
                </a:cubicBezTo>
                <a:close/>
                <a:moveTo>
                  <a:pt x="676027" y="1117845"/>
                </a:moveTo>
                <a:cubicBezTo>
                  <a:pt x="668738" y="1128778"/>
                  <a:pt x="683316" y="1137889"/>
                  <a:pt x="688782" y="1139711"/>
                </a:cubicBezTo>
                <a:cubicBezTo>
                  <a:pt x="690604" y="1136067"/>
                  <a:pt x="688782" y="1132422"/>
                  <a:pt x="685138" y="1128778"/>
                </a:cubicBezTo>
                <a:cubicBezTo>
                  <a:pt x="686960" y="1128778"/>
                  <a:pt x="688782" y="1132422"/>
                  <a:pt x="690604" y="1132422"/>
                </a:cubicBezTo>
                <a:cubicBezTo>
                  <a:pt x="690604" y="1125134"/>
                  <a:pt x="685138" y="1126956"/>
                  <a:pt x="681493" y="1126956"/>
                </a:cubicBezTo>
                <a:cubicBezTo>
                  <a:pt x="681493" y="1123312"/>
                  <a:pt x="686960" y="1128778"/>
                  <a:pt x="686960" y="1125134"/>
                </a:cubicBezTo>
                <a:cubicBezTo>
                  <a:pt x="683316" y="1121489"/>
                  <a:pt x="679671" y="1119667"/>
                  <a:pt x="676027" y="1117845"/>
                </a:cubicBezTo>
                <a:close/>
                <a:moveTo>
                  <a:pt x="674205" y="1117845"/>
                </a:moveTo>
                <a:cubicBezTo>
                  <a:pt x="672383" y="1116023"/>
                  <a:pt x="668738" y="1121489"/>
                  <a:pt x="672383" y="1121489"/>
                </a:cubicBezTo>
                <a:cubicBezTo>
                  <a:pt x="674205" y="1121489"/>
                  <a:pt x="672383" y="1119667"/>
                  <a:pt x="674205" y="1117845"/>
                </a:cubicBezTo>
                <a:close/>
                <a:moveTo>
                  <a:pt x="650516" y="1117845"/>
                </a:moveTo>
                <a:cubicBezTo>
                  <a:pt x="646872" y="1126956"/>
                  <a:pt x="652339" y="1123312"/>
                  <a:pt x="655983" y="1125134"/>
                </a:cubicBezTo>
                <a:cubicBezTo>
                  <a:pt x="655983" y="1125134"/>
                  <a:pt x="655983" y="1123312"/>
                  <a:pt x="655983" y="1123312"/>
                </a:cubicBezTo>
                <a:cubicBezTo>
                  <a:pt x="654161" y="1125134"/>
                  <a:pt x="652339" y="1119667"/>
                  <a:pt x="650516" y="1117845"/>
                </a:cubicBezTo>
                <a:close/>
                <a:moveTo>
                  <a:pt x="548475" y="1117845"/>
                </a:moveTo>
                <a:cubicBezTo>
                  <a:pt x="550297" y="1119667"/>
                  <a:pt x="552119" y="1123312"/>
                  <a:pt x="557586" y="1125134"/>
                </a:cubicBezTo>
                <a:cubicBezTo>
                  <a:pt x="559408" y="1123312"/>
                  <a:pt x="557586" y="1123312"/>
                  <a:pt x="559408" y="1121489"/>
                </a:cubicBezTo>
                <a:cubicBezTo>
                  <a:pt x="553941" y="1123312"/>
                  <a:pt x="552119" y="1116023"/>
                  <a:pt x="548475" y="1117845"/>
                </a:cubicBezTo>
                <a:close/>
                <a:moveTo>
                  <a:pt x="528431" y="1117845"/>
                </a:moveTo>
                <a:cubicBezTo>
                  <a:pt x="524786" y="1117845"/>
                  <a:pt x="522964" y="1119667"/>
                  <a:pt x="530253" y="1119667"/>
                </a:cubicBezTo>
                <a:cubicBezTo>
                  <a:pt x="530253" y="1119667"/>
                  <a:pt x="528431" y="1117845"/>
                  <a:pt x="528431" y="1117845"/>
                </a:cubicBezTo>
                <a:close/>
                <a:moveTo>
                  <a:pt x="216839" y="1117845"/>
                </a:moveTo>
                <a:cubicBezTo>
                  <a:pt x="216839" y="1121489"/>
                  <a:pt x="220483" y="1126956"/>
                  <a:pt x="222306" y="1121489"/>
                </a:cubicBezTo>
                <a:cubicBezTo>
                  <a:pt x="220483" y="1119667"/>
                  <a:pt x="218661" y="1121489"/>
                  <a:pt x="216839" y="1117845"/>
                </a:cubicBezTo>
                <a:close/>
                <a:moveTo>
                  <a:pt x="2239452" y="1116023"/>
                </a:moveTo>
                <a:cubicBezTo>
                  <a:pt x="2233986" y="1117845"/>
                  <a:pt x="2228519" y="1123312"/>
                  <a:pt x="2233986" y="1128778"/>
                </a:cubicBezTo>
                <a:cubicBezTo>
                  <a:pt x="2235808" y="1125134"/>
                  <a:pt x="2237630" y="1121489"/>
                  <a:pt x="2239452" y="1116023"/>
                </a:cubicBezTo>
                <a:close/>
                <a:moveTo>
                  <a:pt x="1279394" y="1116023"/>
                </a:moveTo>
                <a:cubicBezTo>
                  <a:pt x="1281900" y="1116023"/>
                  <a:pt x="1284633" y="1116934"/>
                  <a:pt x="1286455" y="1117845"/>
                </a:cubicBezTo>
                <a:lnTo>
                  <a:pt x="1283776" y="1120739"/>
                </a:lnTo>
                <a:lnTo>
                  <a:pt x="1279166" y="1121489"/>
                </a:lnTo>
                <a:cubicBezTo>
                  <a:pt x="1279166" y="1119667"/>
                  <a:pt x="1277344" y="1119667"/>
                  <a:pt x="1277344" y="1117845"/>
                </a:cubicBezTo>
                <a:lnTo>
                  <a:pt x="1274690" y="1119033"/>
                </a:lnTo>
                <a:close/>
                <a:moveTo>
                  <a:pt x="716115" y="1116023"/>
                </a:moveTo>
                <a:cubicBezTo>
                  <a:pt x="717937" y="1119667"/>
                  <a:pt x="721581" y="1121489"/>
                  <a:pt x="723404" y="1121489"/>
                </a:cubicBezTo>
                <a:cubicBezTo>
                  <a:pt x="721581" y="1125134"/>
                  <a:pt x="717937" y="1123312"/>
                  <a:pt x="716115" y="1123312"/>
                </a:cubicBezTo>
                <a:cubicBezTo>
                  <a:pt x="716115" y="1125134"/>
                  <a:pt x="717937" y="1126956"/>
                  <a:pt x="719759" y="1128778"/>
                </a:cubicBezTo>
                <a:cubicBezTo>
                  <a:pt x="721581" y="1128778"/>
                  <a:pt x="717937" y="1126956"/>
                  <a:pt x="719759" y="1125134"/>
                </a:cubicBezTo>
                <a:cubicBezTo>
                  <a:pt x="721581" y="1126956"/>
                  <a:pt x="725226" y="1139711"/>
                  <a:pt x="730692" y="1137889"/>
                </a:cubicBezTo>
                <a:cubicBezTo>
                  <a:pt x="730692" y="1134245"/>
                  <a:pt x="727048" y="1128778"/>
                  <a:pt x="727048" y="1125134"/>
                </a:cubicBezTo>
                <a:cubicBezTo>
                  <a:pt x="725226" y="1125134"/>
                  <a:pt x="725226" y="1126956"/>
                  <a:pt x="725226" y="1126956"/>
                </a:cubicBezTo>
                <a:cubicBezTo>
                  <a:pt x="723404" y="1126956"/>
                  <a:pt x="725226" y="1125134"/>
                  <a:pt x="725226" y="1123312"/>
                </a:cubicBezTo>
                <a:cubicBezTo>
                  <a:pt x="723404" y="1121489"/>
                  <a:pt x="719759" y="1114201"/>
                  <a:pt x="716115" y="1116023"/>
                </a:cubicBezTo>
                <a:close/>
                <a:moveTo>
                  <a:pt x="280615" y="1116023"/>
                </a:moveTo>
                <a:cubicBezTo>
                  <a:pt x="278793" y="1117845"/>
                  <a:pt x="286082" y="1121489"/>
                  <a:pt x="287904" y="1123312"/>
                </a:cubicBezTo>
                <a:cubicBezTo>
                  <a:pt x="287904" y="1119667"/>
                  <a:pt x="282438" y="1119667"/>
                  <a:pt x="280615" y="1116023"/>
                </a:cubicBezTo>
                <a:close/>
                <a:moveTo>
                  <a:pt x="242349" y="1116023"/>
                </a:moveTo>
                <a:cubicBezTo>
                  <a:pt x="240527" y="1121489"/>
                  <a:pt x="253282" y="1128778"/>
                  <a:pt x="256927" y="1128778"/>
                </a:cubicBezTo>
                <a:cubicBezTo>
                  <a:pt x="255105" y="1123312"/>
                  <a:pt x="245994" y="1117845"/>
                  <a:pt x="242349" y="1116023"/>
                </a:cubicBezTo>
                <a:close/>
                <a:moveTo>
                  <a:pt x="328344" y="1115806"/>
                </a:moveTo>
                <a:lnTo>
                  <a:pt x="326169" y="1116023"/>
                </a:lnTo>
                <a:cubicBezTo>
                  <a:pt x="322525" y="1116023"/>
                  <a:pt x="320703" y="1116023"/>
                  <a:pt x="317059" y="1116023"/>
                </a:cubicBezTo>
                <a:close/>
                <a:moveTo>
                  <a:pt x="1072806" y="1115795"/>
                </a:moveTo>
                <a:cubicBezTo>
                  <a:pt x="1071438" y="1116478"/>
                  <a:pt x="1070527" y="1117845"/>
                  <a:pt x="1071439" y="1119667"/>
                </a:cubicBezTo>
                <a:cubicBezTo>
                  <a:pt x="1073262" y="1117845"/>
                  <a:pt x="1075083" y="1116023"/>
                  <a:pt x="1076905" y="1116023"/>
                </a:cubicBezTo>
                <a:cubicBezTo>
                  <a:pt x="1075994" y="1115112"/>
                  <a:pt x="1074172" y="1115112"/>
                  <a:pt x="1072806" y="1115795"/>
                </a:cubicBezTo>
                <a:close/>
                <a:moveTo>
                  <a:pt x="1034539" y="1115795"/>
                </a:moveTo>
                <a:cubicBezTo>
                  <a:pt x="1033628" y="1114656"/>
                  <a:pt x="1032262" y="1114200"/>
                  <a:pt x="1031351" y="1116023"/>
                </a:cubicBezTo>
                <a:cubicBezTo>
                  <a:pt x="1033173" y="1117845"/>
                  <a:pt x="1031351" y="1117845"/>
                  <a:pt x="1033173" y="1119667"/>
                </a:cubicBezTo>
                <a:cubicBezTo>
                  <a:pt x="1033173" y="1119667"/>
                  <a:pt x="1034995" y="1119667"/>
                  <a:pt x="1034995" y="1119667"/>
                </a:cubicBezTo>
                <a:cubicBezTo>
                  <a:pt x="1035906" y="1118756"/>
                  <a:pt x="1035450" y="1116934"/>
                  <a:pt x="1034539" y="1115795"/>
                </a:cubicBezTo>
                <a:close/>
                <a:moveTo>
                  <a:pt x="3189175" y="1115567"/>
                </a:moveTo>
                <a:cubicBezTo>
                  <a:pt x="3186072" y="1114998"/>
                  <a:pt x="3182883" y="1115567"/>
                  <a:pt x="3179694" y="1117845"/>
                </a:cubicBezTo>
                <a:cubicBezTo>
                  <a:pt x="3183338" y="1123312"/>
                  <a:pt x="3183338" y="1130600"/>
                  <a:pt x="3190627" y="1132422"/>
                </a:cubicBezTo>
                <a:cubicBezTo>
                  <a:pt x="3183338" y="1137889"/>
                  <a:pt x="3197916" y="1147000"/>
                  <a:pt x="3197916" y="1157933"/>
                </a:cubicBezTo>
                <a:cubicBezTo>
                  <a:pt x="3192449" y="1157933"/>
                  <a:pt x="3194271" y="1148822"/>
                  <a:pt x="3192449" y="1147000"/>
                </a:cubicBezTo>
                <a:cubicBezTo>
                  <a:pt x="3190627" y="1147000"/>
                  <a:pt x="3190627" y="1148822"/>
                  <a:pt x="3188805" y="1148822"/>
                </a:cubicBezTo>
                <a:cubicBezTo>
                  <a:pt x="3185160" y="1143355"/>
                  <a:pt x="3185160" y="1130600"/>
                  <a:pt x="3181516" y="1123312"/>
                </a:cubicBezTo>
                <a:cubicBezTo>
                  <a:pt x="3176050" y="1123312"/>
                  <a:pt x="3176050" y="1128778"/>
                  <a:pt x="3172405" y="1130600"/>
                </a:cubicBezTo>
                <a:cubicBezTo>
                  <a:pt x="3172405" y="1134245"/>
                  <a:pt x="3176050" y="1134245"/>
                  <a:pt x="3177872" y="1137889"/>
                </a:cubicBezTo>
                <a:cubicBezTo>
                  <a:pt x="3176050" y="1139711"/>
                  <a:pt x="3170583" y="1143355"/>
                  <a:pt x="3170583" y="1139711"/>
                </a:cubicBezTo>
                <a:cubicBezTo>
                  <a:pt x="3174227" y="1145178"/>
                  <a:pt x="3179694" y="1161577"/>
                  <a:pt x="3190627" y="1163399"/>
                </a:cubicBezTo>
                <a:cubicBezTo>
                  <a:pt x="3188805" y="1167044"/>
                  <a:pt x="3188805" y="1168866"/>
                  <a:pt x="3192449" y="1170688"/>
                </a:cubicBezTo>
                <a:cubicBezTo>
                  <a:pt x="3196093" y="1172510"/>
                  <a:pt x="3197916" y="1165222"/>
                  <a:pt x="3199738" y="1168866"/>
                </a:cubicBezTo>
                <a:cubicBezTo>
                  <a:pt x="3203382" y="1168866"/>
                  <a:pt x="3199738" y="1163399"/>
                  <a:pt x="3199738" y="1161577"/>
                </a:cubicBezTo>
                <a:cubicBezTo>
                  <a:pt x="3203382" y="1163399"/>
                  <a:pt x="3203382" y="1167044"/>
                  <a:pt x="3207027" y="1167044"/>
                </a:cubicBezTo>
                <a:cubicBezTo>
                  <a:pt x="3207027" y="1165222"/>
                  <a:pt x="3207027" y="1163399"/>
                  <a:pt x="3207027" y="1161577"/>
                </a:cubicBezTo>
                <a:cubicBezTo>
                  <a:pt x="3210671" y="1161577"/>
                  <a:pt x="3210671" y="1163399"/>
                  <a:pt x="3212493" y="1165222"/>
                </a:cubicBezTo>
                <a:cubicBezTo>
                  <a:pt x="3214315" y="1170688"/>
                  <a:pt x="3207027" y="1167044"/>
                  <a:pt x="3208849" y="1172510"/>
                </a:cubicBezTo>
                <a:cubicBezTo>
                  <a:pt x="3217960" y="1176155"/>
                  <a:pt x="3225248" y="1185266"/>
                  <a:pt x="3225248" y="1194376"/>
                </a:cubicBezTo>
                <a:cubicBezTo>
                  <a:pt x="3230715" y="1194376"/>
                  <a:pt x="3234359" y="1187088"/>
                  <a:pt x="3236181" y="1194376"/>
                </a:cubicBezTo>
                <a:cubicBezTo>
                  <a:pt x="3239826" y="1194376"/>
                  <a:pt x="3234359" y="1185266"/>
                  <a:pt x="3239826" y="1183443"/>
                </a:cubicBezTo>
                <a:cubicBezTo>
                  <a:pt x="3236181" y="1167044"/>
                  <a:pt x="3225248" y="1147000"/>
                  <a:pt x="3212493" y="1136067"/>
                </a:cubicBezTo>
                <a:cubicBezTo>
                  <a:pt x="3207026" y="1129234"/>
                  <a:pt x="3198485" y="1117276"/>
                  <a:pt x="3189175" y="1115567"/>
                </a:cubicBezTo>
                <a:close/>
                <a:moveTo>
                  <a:pt x="2311656" y="1115111"/>
                </a:moveTo>
                <a:cubicBezTo>
                  <a:pt x="2310062" y="1114200"/>
                  <a:pt x="2307784" y="1114200"/>
                  <a:pt x="2306873" y="1116023"/>
                </a:cubicBezTo>
                <a:cubicBezTo>
                  <a:pt x="2305050" y="1119667"/>
                  <a:pt x="2312339" y="1117845"/>
                  <a:pt x="2312339" y="1119667"/>
                </a:cubicBezTo>
                <a:cubicBezTo>
                  <a:pt x="2314161" y="1117845"/>
                  <a:pt x="2313250" y="1116023"/>
                  <a:pt x="2311656" y="1115111"/>
                </a:cubicBezTo>
                <a:close/>
                <a:moveTo>
                  <a:pt x="348435" y="1115027"/>
                </a:moveTo>
                <a:cubicBezTo>
                  <a:pt x="347808" y="1114542"/>
                  <a:pt x="347581" y="1114656"/>
                  <a:pt x="348037" y="1116023"/>
                </a:cubicBezTo>
                <a:lnTo>
                  <a:pt x="350859" y="1117278"/>
                </a:lnTo>
                <a:lnTo>
                  <a:pt x="351225" y="1117617"/>
                </a:lnTo>
                <a:cubicBezTo>
                  <a:pt x="352363" y="1118642"/>
                  <a:pt x="353616" y="1119610"/>
                  <a:pt x="354698" y="1119867"/>
                </a:cubicBezTo>
                <a:lnTo>
                  <a:pt x="355393" y="1119293"/>
                </a:lnTo>
                <a:lnTo>
                  <a:pt x="364435" y="1123312"/>
                </a:lnTo>
                <a:cubicBezTo>
                  <a:pt x="366257" y="1121489"/>
                  <a:pt x="358969" y="1119667"/>
                  <a:pt x="357146" y="1117845"/>
                </a:cubicBezTo>
                <a:lnTo>
                  <a:pt x="355393" y="1119293"/>
                </a:lnTo>
                <a:lnTo>
                  <a:pt x="350859" y="1117278"/>
                </a:lnTo>
                <a:close/>
                <a:moveTo>
                  <a:pt x="2944634" y="1114201"/>
                </a:moveTo>
                <a:cubicBezTo>
                  <a:pt x="2953744" y="1114201"/>
                  <a:pt x="2948278" y="1123312"/>
                  <a:pt x="2951922" y="1125134"/>
                </a:cubicBezTo>
                <a:cubicBezTo>
                  <a:pt x="2955566" y="1126956"/>
                  <a:pt x="2951922" y="1119667"/>
                  <a:pt x="2953744" y="1117845"/>
                </a:cubicBezTo>
                <a:cubicBezTo>
                  <a:pt x="2953744" y="1119667"/>
                  <a:pt x="2953744" y="1119667"/>
                  <a:pt x="2955566" y="1121489"/>
                </a:cubicBezTo>
                <a:cubicBezTo>
                  <a:pt x="2962855" y="1125134"/>
                  <a:pt x="2970144" y="1117845"/>
                  <a:pt x="2970144" y="1125134"/>
                </a:cubicBezTo>
                <a:cubicBezTo>
                  <a:pt x="2970144" y="1126956"/>
                  <a:pt x="2967866" y="1125589"/>
                  <a:pt x="2965361" y="1124678"/>
                </a:cubicBezTo>
                <a:lnTo>
                  <a:pt x="2961649" y="1126053"/>
                </a:lnTo>
                <a:lnTo>
                  <a:pt x="2962855" y="1125134"/>
                </a:lnTo>
                <a:cubicBezTo>
                  <a:pt x="2961033" y="1126956"/>
                  <a:pt x="2961033" y="1126956"/>
                  <a:pt x="2959211" y="1126956"/>
                </a:cubicBezTo>
                <a:lnTo>
                  <a:pt x="2961649" y="1126053"/>
                </a:lnTo>
                <a:lnTo>
                  <a:pt x="2958072" y="1128778"/>
                </a:lnTo>
                <a:cubicBezTo>
                  <a:pt x="2955566" y="1128778"/>
                  <a:pt x="2952833" y="1127867"/>
                  <a:pt x="2951922" y="1126956"/>
                </a:cubicBezTo>
                <a:cubicBezTo>
                  <a:pt x="2953744" y="1130600"/>
                  <a:pt x="2950100" y="1134245"/>
                  <a:pt x="2950100" y="1137889"/>
                </a:cubicBezTo>
                <a:cubicBezTo>
                  <a:pt x="2959211" y="1136067"/>
                  <a:pt x="2953744" y="1145178"/>
                  <a:pt x="2957389" y="1147000"/>
                </a:cubicBezTo>
                <a:lnTo>
                  <a:pt x="2955351" y="1148585"/>
                </a:lnTo>
                <a:lnTo>
                  <a:pt x="2951922" y="1139711"/>
                </a:lnTo>
                <a:cubicBezTo>
                  <a:pt x="2946456" y="1139711"/>
                  <a:pt x="2948278" y="1145178"/>
                  <a:pt x="2942811" y="1141533"/>
                </a:cubicBezTo>
                <a:cubicBezTo>
                  <a:pt x="2942811" y="1145178"/>
                  <a:pt x="2940989" y="1148822"/>
                  <a:pt x="2946456" y="1148822"/>
                </a:cubicBezTo>
                <a:cubicBezTo>
                  <a:pt x="2946456" y="1147000"/>
                  <a:pt x="2946456" y="1145178"/>
                  <a:pt x="2946456" y="1143355"/>
                </a:cubicBezTo>
                <a:cubicBezTo>
                  <a:pt x="2948278" y="1145178"/>
                  <a:pt x="2948278" y="1147000"/>
                  <a:pt x="2948278" y="1148822"/>
                </a:cubicBezTo>
                <a:cubicBezTo>
                  <a:pt x="2948278" y="1152466"/>
                  <a:pt x="2940989" y="1150644"/>
                  <a:pt x="2939167" y="1150644"/>
                </a:cubicBezTo>
                <a:cubicBezTo>
                  <a:pt x="2937345" y="1148822"/>
                  <a:pt x="2935523" y="1145178"/>
                  <a:pt x="2935523" y="1139711"/>
                </a:cubicBezTo>
                <a:cubicBezTo>
                  <a:pt x="2930056" y="1137889"/>
                  <a:pt x="2933700" y="1147000"/>
                  <a:pt x="2931878" y="1145178"/>
                </a:cubicBezTo>
                <a:cubicBezTo>
                  <a:pt x="2931878" y="1145178"/>
                  <a:pt x="2930056" y="1143355"/>
                  <a:pt x="2930056" y="1143355"/>
                </a:cubicBezTo>
                <a:lnTo>
                  <a:pt x="2926412" y="1156111"/>
                </a:lnTo>
                <a:cubicBezTo>
                  <a:pt x="2908190" y="1150644"/>
                  <a:pt x="2908190" y="1143355"/>
                  <a:pt x="2917301" y="1134245"/>
                </a:cubicBezTo>
                <a:cubicBezTo>
                  <a:pt x="2922767" y="1134245"/>
                  <a:pt x="2919123" y="1126956"/>
                  <a:pt x="2920945" y="1123312"/>
                </a:cubicBezTo>
                <a:cubicBezTo>
                  <a:pt x="2920945" y="1121489"/>
                  <a:pt x="2926412" y="1126956"/>
                  <a:pt x="2928234" y="1125134"/>
                </a:cubicBezTo>
                <a:lnTo>
                  <a:pt x="2927337" y="1122671"/>
                </a:lnTo>
                <a:lnTo>
                  <a:pt x="2931879" y="1127639"/>
                </a:lnTo>
                <a:lnTo>
                  <a:pt x="2935423" y="1127955"/>
                </a:lnTo>
                <a:lnTo>
                  <a:pt x="2935067" y="1131511"/>
                </a:lnTo>
                <a:cubicBezTo>
                  <a:pt x="2935978" y="1132878"/>
                  <a:pt x="2937345" y="1134244"/>
                  <a:pt x="2937345" y="1136067"/>
                </a:cubicBezTo>
                <a:cubicBezTo>
                  <a:pt x="2939167" y="1135156"/>
                  <a:pt x="2939167" y="1133334"/>
                  <a:pt x="2938484" y="1131511"/>
                </a:cubicBezTo>
                <a:lnTo>
                  <a:pt x="2936219" y="1128027"/>
                </a:lnTo>
                <a:lnTo>
                  <a:pt x="2944634" y="1128778"/>
                </a:lnTo>
                <a:cubicBezTo>
                  <a:pt x="2944634" y="1125134"/>
                  <a:pt x="2940989" y="1121489"/>
                  <a:pt x="2942811" y="1117845"/>
                </a:cubicBezTo>
                <a:cubicBezTo>
                  <a:pt x="2946456" y="1119667"/>
                  <a:pt x="2946456" y="1123312"/>
                  <a:pt x="2950100" y="1121489"/>
                </a:cubicBezTo>
                <a:cubicBezTo>
                  <a:pt x="2948278" y="1117845"/>
                  <a:pt x="2946456" y="1116023"/>
                  <a:pt x="2944634" y="1114201"/>
                </a:cubicBezTo>
                <a:close/>
                <a:moveTo>
                  <a:pt x="1138859" y="1114201"/>
                </a:moveTo>
                <a:cubicBezTo>
                  <a:pt x="1138859" y="1117845"/>
                  <a:pt x="1137037" y="1119667"/>
                  <a:pt x="1135215" y="1123312"/>
                </a:cubicBezTo>
                <a:lnTo>
                  <a:pt x="1133890" y="1120660"/>
                </a:lnTo>
                <a:lnTo>
                  <a:pt x="1134076" y="1120350"/>
                </a:lnTo>
                <a:lnTo>
                  <a:pt x="1133419" y="1117942"/>
                </a:lnTo>
                <a:lnTo>
                  <a:pt x="1135898" y="1118073"/>
                </a:lnTo>
                <a:cubicBezTo>
                  <a:pt x="1136581" y="1116934"/>
                  <a:pt x="1137037" y="1115112"/>
                  <a:pt x="1138859" y="1114201"/>
                </a:cubicBezTo>
                <a:close/>
                <a:moveTo>
                  <a:pt x="1067794" y="1114201"/>
                </a:moveTo>
                <a:cubicBezTo>
                  <a:pt x="1064151" y="1114201"/>
                  <a:pt x="1064151" y="1119667"/>
                  <a:pt x="1062328" y="1121489"/>
                </a:cubicBezTo>
                <a:cubicBezTo>
                  <a:pt x="1065972" y="1123312"/>
                  <a:pt x="1071439" y="1117845"/>
                  <a:pt x="1067794" y="1114201"/>
                </a:cubicBezTo>
                <a:close/>
                <a:moveTo>
                  <a:pt x="900154" y="1114201"/>
                </a:moveTo>
                <a:cubicBezTo>
                  <a:pt x="898333" y="1117845"/>
                  <a:pt x="901976" y="1125134"/>
                  <a:pt x="905621" y="1121489"/>
                </a:cubicBezTo>
                <a:cubicBezTo>
                  <a:pt x="901976" y="1119667"/>
                  <a:pt x="903799" y="1114201"/>
                  <a:pt x="900154" y="1114201"/>
                </a:cubicBezTo>
                <a:close/>
                <a:moveTo>
                  <a:pt x="781713" y="1114201"/>
                </a:moveTo>
                <a:cubicBezTo>
                  <a:pt x="772602" y="1119667"/>
                  <a:pt x="767136" y="1134245"/>
                  <a:pt x="776246" y="1139711"/>
                </a:cubicBezTo>
                <a:lnTo>
                  <a:pt x="780620" y="1136431"/>
                </a:lnTo>
                <a:lnTo>
                  <a:pt x="782624" y="1137434"/>
                </a:lnTo>
                <a:cubicBezTo>
                  <a:pt x="783535" y="1137889"/>
                  <a:pt x="784446" y="1137889"/>
                  <a:pt x="785357" y="1136067"/>
                </a:cubicBezTo>
                <a:cubicBezTo>
                  <a:pt x="787179" y="1137889"/>
                  <a:pt x="787179" y="1137889"/>
                  <a:pt x="789003" y="1137889"/>
                </a:cubicBezTo>
                <a:cubicBezTo>
                  <a:pt x="790824" y="1136067"/>
                  <a:pt x="790824" y="1134245"/>
                  <a:pt x="789003" y="1132422"/>
                </a:cubicBezTo>
                <a:cubicBezTo>
                  <a:pt x="787179" y="1132422"/>
                  <a:pt x="785357" y="1136067"/>
                  <a:pt x="785357" y="1136067"/>
                </a:cubicBezTo>
                <a:lnTo>
                  <a:pt x="781106" y="1136067"/>
                </a:lnTo>
                <a:lnTo>
                  <a:pt x="783535" y="1134245"/>
                </a:lnTo>
                <a:cubicBezTo>
                  <a:pt x="787179" y="1130600"/>
                  <a:pt x="778070" y="1126956"/>
                  <a:pt x="781713" y="1125134"/>
                </a:cubicBezTo>
                <a:lnTo>
                  <a:pt x="785357" y="1125134"/>
                </a:lnTo>
                <a:cubicBezTo>
                  <a:pt x="790824" y="1119667"/>
                  <a:pt x="783535" y="1117845"/>
                  <a:pt x="781713" y="1114201"/>
                </a:cubicBezTo>
                <a:close/>
                <a:moveTo>
                  <a:pt x="734336" y="1114201"/>
                </a:moveTo>
                <a:cubicBezTo>
                  <a:pt x="734336" y="1117845"/>
                  <a:pt x="737981" y="1119667"/>
                  <a:pt x="739803" y="1123312"/>
                </a:cubicBezTo>
                <a:cubicBezTo>
                  <a:pt x="743447" y="1121489"/>
                  <a:pt x="736159" y="1116023"/>
                  <a:pt x="734336" y="1114201"/>
                </a:cubicBezTo>
                <a:close/>
                <a:moveTo>
                  <a:pt x="1057545" y="1114200"/>
                </a:moveTo>
                <a:cubicBezTo>
                  <a:pt x="1055040" y="1114200"/>
                  <a:pt x="1052306" y="1115111"/>
                  <a:pt x="1049573" y="1117845"/>
                </a:cubicBezTo>
                <a:cubicBezTo>
                  <a:pt x="1051395" y="1121489"/>
                  <a:pt x="1049573" y="1123312"/>
                  <a:pt x="1049573" y="1126956"/>
                </a:cubicBezTo>
                <a:cubicBezTo>
                  <a:pt x="1055040" y="1128778"/>
                  <a:pt x="1064151" y="1121489"/>
                  <a:pt x="1064151" y="1116023"/>
                </a:cubicBezTo>
                <a:cubicBezTo>
                  <a:pt x="1062328" y="1115112"/>
                  <a:pt x="1060050" y="1114200"/>
                  <a:pt x="1057545" y="1114200"/>
                </a:cubicBezTo>
                <a:close/>
                <a:moveTo>
                  <a:pt x="1198385" y="1113998"/>
                </a:moveTo>
                <a:lnTo>
                  <a:pt x="1217366" y="1120326"/>
                </a:lnTo>
                <a:lnTo>
                  <a:pt x="1215163" y="1121261"/>
                </a:lnTo>
                <a:cubicBezTo>
                  <a:pt x="1209013" y="1120123"/>
                  <a:pt x="1202636" y="1116934"/>
                  <a:pt x="1197169" y="1116023"/>
                </a:cubicBezTo>
                <a:close/>
                <a:moveTo>
                  <a:pt x="1019689" y="1113836"/>
                </a:moveTo>
                <a:lnTo>
                  <a:pt x="1020418" y="1114201"/>
                </a:lnTo>
                <a:lnTo>
                  <a:pt x="1018596" y="1115112"/>
                </a:lnTo>
                <a:lnTo>
                  <a:pt x="1018596" y="1114201"/>
                </a:lnTo>
                <a:close/>
                <a:moveTo>
                  <a:pt x="2585665" y="1112378"/>
                </a:moveTo>
                <a:cubicBezTo>
                  <a:pt x="2582021" y="1112378"/>
                  <a:pt x="2582021" y="1117845"/>
                  <a:pt x="2585665" y="1117845"/>
                </a:cubicBezTo>
                <a:cubicBezTo>
                  <a:pt x="2585665" y="1119667"/>
                  <a:pt x="2582021" y="1116023"/>
                  <a:pt x="2578377" y="1117845"/>
                </a:cubicBezTo>
                <a:cubicBezTo>
                  <a:pt x="2576554" y="1121489"/>
                  <a:pt x="2572910" y="1123312"/>
                  <a:pt x="2574732" y="1130600"/>
                </a:cubicBezTo>
                <a:cubicBezTo>
                  <a:pt x="2578377" y="1132422"/>
                  <a:pt x="2585665" y="1130600"/>
                  <a:pt x="2591132" y="1132422"/>
                </a:cubicBezTo>
                <a:cubicBezTo>
                  <a:pt x="2591132" y="1123312"/>
                  <a:pt x="2587487" y="1117845"/>
                  <a:pt x="2585665" y="1112378"/>
                </a:cubicBezTo>
                <a:close/>
                <a:moveTo>
                  <a:pt x="2192076" y="1112378"/>
                </a:moveTo>
                <a:lnTo>
                  <a:pt x="2195720" y="1113664"/>
                </a:lnTo>
                <a:lnTo>
                  <a:pt x="2195720" y="1114201"/>
                </a:lnTo>
                <a:cubicBezTo>
                  <a:pt x="2193898" y="1112378"/>
                  <a:pt x="2193898" y="1112378"/>
                  <a:pt x="2192076" y="1112378"/>
                </a:cubicBezTo>
                <a:close/>
                <a:moveTo>
                  <a:pt x="1239080" y="1112378"/>
                </a:moveTo>
                <a:cubicBezTo>
                  <a:pt x="1235434" y="1114201"/>
                  <a:pt x="1235434" y="1116023"/>
                  <a:pt x="1235434" y="1117845"/>
                </a:cubicBezTo>
                <a:lnTo>
                  <a:pt x="1225230" y="1122947"/>
                </a:lnTo>
                <a:lnTo>
                  <a:pt x="1217366" y="1120326"/>
                </a:lnTo>
                <a:lnTo>
                  <a:pt x="1231790" y="1114201"/>
                </a:lnTo>
                <a:cubicBezTo>
                  <a:pt x="1235434" y="1116023"/>
                  <a:pt x="1235434" y="1112378"/>
                  <a:pt x="1239080" y="1112378"/>
                </a:cubicBezTo>
                <a:close/>
                <a:moveTo>
                  <a:pt x="1016774" y="1112378"/>
                </a:moveTo>
                <a:cubicBezTo>
                  <a:pt x="1014951" y="1112378"/>
                  <a:pt x="1014951" y="1114201"/>
                  <a:pt x="1016774" y="1116023"/>
                </a:cubicBezTo>
                <a:lnTo>
                  <a:pt x="1018596" y="1115112"/>
                </a:lnTo>
                <a:lnTo>
                  <a:pt x="1018596" y="1123312"/>
                </a:lnTo>
                <a:cubicBezTo>
                  <a:pt x="1018596" y="1123312"/>
                  <a:pt x="1020418" y="1125134"/>
                  <a:pt x="1020418" y="1125134"/>
                </a:cubicBezTo>
                <a:cubicBezTo>
                  <a:pt x="1022240" y="1125134"/>
                  <a:pt x="1025884" y="1123312"/>
                  <a:pt x="1027707" y="1121489"/>
                </a:cubicBezTo>
                <a:cubicBezTo>
                  <a:pt x="1025884" y="1119667"/>
                  <a:pt x="1025884" y="1117845"/>
                  <a:pt x="1024062" y="1112378"/>
                </a:cubicBezTo>
                <a:cubicBezTo>
                  <a:pt x="1023151" y="1111467"/>
                  <a:pt x="1022240" y="1112378"/>
                  <a:pt x="1021329" y="1113289"/>
                </a:cubicBezTo>
                <a:lnTo>
                  <a:pt x="1019689" y="1113836"/>
                </a:lnTo>
                <a:close/>
                <a:moveTo>
                  <a:pt x="852778" y="1112378"/>
                </a:moveTo>
                <a:cubicBezTo>
                  <a:pt x="850956" y="1114201"/>
                  <a:pt x="854600" y="1116023"/>
                  <a:pt x="856422" y="1119667"/>
                </a:cubicBezTo>
                <a:cubicBezTo>
                  <a:pt x="858244" y="1117845"/>
                  <a:pt x="856422" y="1116023"/>
                  <a:pt x="858244" y="1116023"/>
                </a:cubicBezTo>
                <a:cubicBezTo>
                  <a:pt x="856422" y="1114201"/>
                  <a:pt x="854600" y="1114201"/>
                  <a:pt x="852778" y="1112378"/>
                </a:cubicBezTo>
                <a:close/>
                <a:moveTo>
                  <a:pt x="490165" y="1112378"/>
                </a:moveTo>
                <a:cubicBezTo>
                  <a:pt x="488343" y="1112378"/>
                  <a:pt x="484700" y="1112378"/>
                  <a:pt x="484700" y="1116023"/>
                </a:cubicBezTo>
                <a:cubicBezTo>
                  <a:pt x="490165" y="1117845"/>
                  <a:pt x="493809" y="1117845"/>
                  <a:pt x="497454" y="1117845"/>
                </a:cubicBezTo>
                <a:cubicBezTo>
                  <a:pt x="493809" y="1116023"/>
                  <a:pt x="493809" y="1114201"/>
                  <a:pt x="490165" y="1112378"/>
                </a:cubicBezTo>
                <a:close/>
                <a:moveTo>
                  <a:pt x="2401626" y="1110556"/>
                </a:moveTo>
                <a:cubicBezTo>
                  <a:pt x="2392515" y="1110556"/>
                  <a:pt x="2379760" y="1114201"/>
                  <a:pt x="2368827" y="1121489"/>
                </a:cubicBezTo>
                <a:lnTo>
                  <a:pt x="2368827" y="1123312"/>
                </a:lnTo>
                <a:lnTo>
                  <a:pt x="2367004" y="1123312"/>
                </a:lnTo>
                <a:cubicBezTo>
                  <a:pt x="2359716" y="1128778"/>
                  <a:pt x="2354249" y="1134245"/>
                  <a:pt x="2354249" y="1143355"/>
                </a:cubicBezTo>
                <a:cubicBezTo>
                  <a:pt x="2346960" y="1139711"/>
                  <a:pt x="2348782" y="1145178"/>
                  <a:pt x="2345138" y="1150644"/>
                </a:cubicBezTo>
                <a:cubicBezTo>
                  <a:pt x="2348782" y="1150644"/>
                  <a:pt x="2354249" y="1150644"/>
                  <a:pt x="2357893" y="1152466"/>
                </a:cubicBezTo>
                <a:cubicBezTo>
                  <a:pt x="2359716" y="1154288"/>
                  <a:pt x="2350605" y="1154288"/>
                  <a:pt x="2352427" y="1156111"/>
                </a:cubicBezTo>
                <a:cubicBezTo>
                  <a:pt x="2356071" y="1157933"/>
                  <a:pt x="2361538" y="1156111"/>
                  <a:pt x="2359716" y="1148822"/>
                </a:cubicBezTo>
                <a:cubicBezTo>
                  <a:pt x="2367004" y="1147000"/>
                  <a:pt x="2365182" y="1154288"/>
                  <a:pt x="2367004" y="1156111"/>
                </a:cubicBezTo>
                <a:cubicBezTo>
                  <a:pt x="2370649" y="1159755"/>
                  <a:pt x="2374293" y="1154288"/>
                  <a:pt x="2379760" y="1152466"/>
                </a:cubicBezTo>
                <a:cubicBezTo>
                  <a:pt x="2379760" y="1154288"/>
                  <a:pt x="2379760" y="1154288"/>
                  <a:pt x="2377937" y="1156111"/>
                </a:cubicBezTo>
                <a:cubicBezTo>
                  <a:pt x="2385226" y="1156111"/>
                  <a:pt x="2390693" y="1156111"/>
                  <a:pt x="2394337" y="1150644"/>
                </a:cubicBezTo>
                <a:cubicBezTo>
                  <a:pt x="2397981" y="1150644"/>
                  <a:pt x="2392515" y="1157933"/>
                  <a:pt x="2397981" y="1156111"/>
                </a:cubicBezTo>
                <a:cubicBezTo>
                  <a:pt x="2392515" y="1156111"/>
                  <a:pt x="2392515" y="1163399"/>
                  <a:pt x="2385226" y="1163399"/>
                </a:cubicBezTo>
                <a:cubicBezTo>
                  <a:pt x="2388871" y="1165222"/>
                  <a:pt x="2392515" y="1163399"/>
                  <a:pt x="2396159" y="1159755"/>
                </a:cubicBezTo>
                <a:cubicBezTo>
                  <a:pt x="2394337" y="1163399"/>
                  <a:pt x="2394337" y="1172510"/>
                  <a:pt x="2397981" y="1170688"/>
                </a:cubicBezTo>
                <a:cubicBezTo>
                  <a:pt x="2408914" y="1165222"/>
                  <a:pt x="2418025" y="1167044"/>
                  <a:pt x="2425314" y="1156111"/>
                </a:cubicBezTo>
                <a:cubicBezTo>
                  <a:pt x="2428958" y="1154288"/>
                  <a:pt x="2428958" y="1157933"/>
                  <a:pt x="2430780" y="1159755"/>
                </a:cubicBezTo>
                <a:cubicBezTo>
                  <a:pt x="2436247" y="1157933"/>
                  <a:pt x="2432603" y="1150644"/>
                  <a:pt x="2438069" y="1148822"/>
                </a:cubicBezTo>
                <a:lnTo>
                  <a:pt x="2441258" y="1152010"/>
                </a:lnTo>
                <a:lnTo>
                  <a:pt x="2438069" y="1161577"/>
                </a:lnTo>
                <a:cubicBezTo>
                  <a:pt x="2436703" y="1164310"/>
                  <a:pt x="2434425" y="1165221"/>
                  <a:pt x="2428958" y="1161577"/>
                </a:cubicBezTo>
                <a:cubicBezTo>
                  <a:pt x="2430780" y="1167044"/>
                  <a:pt x="2425314" y="1168866"/>
                  <a:pt x="2423492" y="1168866"/>
                </a:cubicBezTo>
                <a:cubicBezTo>
                  <a:pt x="2419847" y="1168866"/>
                  <a:pt x="2421669" y="1165222"/>
                  <a:pt x="2421669" y="1163399"/>
                </a:cubicBezTo>
                <a:cubicBezTo>
                  <a:pt x="2408914" y="1170688"/>
                  <a:pt x="2421669" y="1170688"/>
                  <a:pt x="2419847" y="1176155"/>
                </a:cubicBezTo>
                <a:cubicBezTo>
                  <a:pt x="2427136" y="1172510"/>
                  <a:pt x="2436247" y="1167044"/>
                  <a:pt x="2441713" y="1161577"/>
                </a:cubicBezTo>
                <a:cubicBezTo>
                  <a:pt x="2445358" y="1157933"/>
                  <a:pt x="2447180" y="1152466"/>
                  <a:pt x="2443536" y="1148822"/>
                </a:cubicBezTo>
                <a:cubicBezTo>
                  <a:pt x="2438069" y="1145178"/>
                  <a:pt x="2434425" y="1141533"/>
                  <a:pt x="2428958" y="1137889"/>
                </a:cubicBezTo>
                <a:lnTo>
                  <a:pt x="2419847" y="1145178"/>
                </a:lnTo>
                <a:cubicBezTo>
                  <a:pt x="2412559" y="1130600"/>
                  <a:pt x="2410737" y="1136067"/>
                  <a:pt x="2414381" y="1130600"/>
                </a:cubicBezTo>
                <a:cubicBezTo>
                  <a:pt x="2410737" y="1130600"/>
                  <a:pt x="2407092" y="1141533"/>
                  <a:pt x="2397981" y="1143355"/>
                </a:cubicBezTo>
                <a:cubicBezTo>
                  <a:pt x="2401626" y="1134245"/>
                  <a:pt x="2412559" y="1130600"/>
                  <a:pt x="2412559" y="1121489"/>
                </a:cubicBezTo>
                <a:lnTo>
                  <a:pt x="2397981" y="1121489"/>
                </a:lnTo>
                <a:cubicBezTo>
                  <a:pt x="2399803" y="1117845"/>
                  <a:pt x="2401626" y="1114201"/>
                  <a:pt x="2401626" y="1110556"/>
                </a:cubicBezTo>
                <a:close/>
                <a:moveTo>
                  <a:pt x="1045929" y="1110556"/>
                </a:moveTo>
                <a:cubicBezTo>
                  <a:pt x="1042284" y="1112378"/>
                  <a:pt x="1047750" y="1114201"/>
                  <a:pt x="1044106" y="1114201"/>
                </a:cubicBezTo>
                <a:cubicBezTo>
                  <a:pt x="1045929" y="1114201"/>
                  <a:pt x="1047750" y="1114201"/>
                  <a:pt x="1047750" y="1112378"/>
                </a:cubicBezTo>
                <a:cubicBezTo>
                  <a:pt x="1047750" y="1110556"/>
                  <a:pt x="1045929" y="1112378"/>
                  <a:pt x="1045929" y="1110556"/>
                </a:cubicBezTo>
                <a:close/>
                <a:moveTo>
                  <a:pt x="1025884" y="1110556"/>
                </a:moveTo>
                <a:cubicBezTo>
                  <a:pt x="1025884" y="1114201"/>
                  <a:pt x="1027707" y="1116023"/>
                  <a:pt x="1031351" y="1119667"/>
                </a:cubicBezTo>
                <a:cubicBezTo>
                  <a:pt x="1033173" y="1116023"/>
                  <a:pt x="1031351" y="1114201"/>
                  <a:pt x="1029529" y="1110556"/>
                </a:cubicBezTo>
                <a:cubicBezTo>
                  <a:pt x="1027707" y="1110556"/>
                  <a:pt x="1027707" y="1112378"/>
                  <a:pt x="1025884" y="1110556"/>
                </a:cubicBezTo>
                <a:close/>
                <a:moveTo>
                  <a:pt x="861889" y="1110556"/>
                </a:moveTo>
                <a:cubicBezTo>
                  <a:pt x="861889" y="1116023"/>
                  <a:pt x="863711" y="1117845"/>
                  <a:pt x="863711" y="1112378"/>
                </a:cubicBezTo>
                <a:cubicBezTo>
                  <a:pt x="863711" y="1112378"/>
                  <a:pt x="861889" y="1112378"/>
                  <a:pt x="861889" y="1110556"/>
                </a:cubicBezTo>
                <a:close/>
                <a:moveTo>
                  <a:pt x="590385" y="1110556"/>
                </a:moveTo>
                <a:cubicBezTo>
                  <a:pt x="588562" y="1110556"/>
                  <a:pt x="586741" y="1110556"/>
                  <a:pt x="586741" y="1112378"/>
                </a:cubicBezTo>
                <a:cubicBezTo>
                  <a:pt x="588562" y="1114201"/>
                  <a:pt x="592207" y="1116023"/>
                  <a:pt x="590385" y="1110556"/>
                </a:cubicBezTo>
                <a:close/>
                <a:moveTo>
                  <a:pt x="194973" y="1110556"/>
                </a:moveTo>
                <a:cubicBezTo>
                  <a:pt x="198617" y="1116023"/>
                  <a:pt x="207728" y="1121489"/>
                  <a:pt x="213195" y="1121489"/>
                </a:cubicBezTo>
                <a:cubicBezTo>
                  <a:pt x="209550" y="1114201"/>
                  <a:pt x="200439" y="1114201"/>
                  <a:pt x="194973" y="1110556"/>
                </a:cubicBezTo>
                <a:close/>
                <a:moveTo>
                  <a:pt x="1071439" y="1108734"/>
                </a:moveTo>
                <a:cubicBezTo>
                  <a:pt x="1069616" y="1112378"/>
                  <a:pt x="1076905" y="1110556"/>
                  <a:pt x="1078727" y="1112378"/>
                </a:cubicBezTo>
                <a:cubicBezTo>
                  <a:pt x="1078727" y="1108734"/>
                  <a:pt x="1073262" y="1108734"/>
                  <a:pt x="1071439" y="1108734"/>
                </a:cubicBezTo>
                <a:close/>
                <a:moveTo>
                  <a:pt x="1031351" y="1108734"/>
                </a:moveTo>
                <a:cubicBezTo>
                  <a:pt x="1029529" y="1112378"/>
                  <a:pt x="1036818" y="1119667"/>
                  <a:pt x="1040462" y="1117845"/>
                </a:cubicBezTo>
                <a:cubicBezTo>
                  <a:pt x="1042284" y="1116023"/>
                  <a:pt x="1040462" y="1112378"/>
                  <a:pt x="1040462" y="1110556"/>
                </a:cubicBezTo>
                <a:cubicBezTo>
                  <a:pt x="1038639" y="1108734"/>
                  <a:pt x="1034995" y="1108734"/>
                  <a:pt x="1031351" y="1108734"/>
                </a:cubicBezTo>
                <a:close/>
                <a:moveTo>
                  <a:pt x="931131" y="1108734"/>
                </a:moveTo>
                <a:cubicBezTo>
                  <a:pt x="929309" y="1112378"/>
                  <a:pt x="932953" y="1121489"/>
                  <a:pt x="938420" y="1119667"/>
                </a:cubicBezTo>
                <a:cubicBezTo>
                  <a:pt x="934777" y="1116023"/>
                  <a:pt x="936598" y="1110556"/>
                  <a:pt x="931131" y="1108734"/>
                </a:cubicBezTo>
                <a:close/>
                <a:moveTo>
                  <a:pt x="869177" y="1108734"/>
                </a:moveTo>
                <a:cubicBezTo>
                  <a:pt x="865533" y="1114201"/>
                  <a:pt x="867355" y="1117845"/>
                  <a:pt x="869177" y="1121489"/>
                </a:cubicBezTo>
                <a:cubicBezTo>
                  <a:pt x="869177" y="1121489"/>
                  <a:pt x="871000" y="1121489"/>
                  <a:pt x="871000" y="1119667"/>
                </a:cubicBezTo>
                <a:cubicBezTo>
                  <a:pt x="872822" y="1119667"/>
                  <a:pt x="872822" y="1121489"/>
                  <a:pt x="872822" y="1121489"/>
                </a:cubicBezTo>
                <a:cubicBezTo>
                  <a:pt x="880111" y="1125134"/>
                  <a:pt x="869177" y="1116023"/>
                  <a:pt x="876466" y="1117845"/>
                </a:cubicBezTo>
                <a:cubicBezTo>
                  <a:pt x="872822" y="1116023"/>
                  <a:pt x="872822" y="1110556"/>
                  <a:pt x="869177" y="1108734"/>
                </a:cubicBezTo>
                <a:close/>
                <a:moveTo>
                  <a:pt x="856422" y="1108734"/>
                </a:moveTo>
                <a:cubicBezTo>
                  <a:pt x="856422" y="1110556"/>
                  <a:pt x="854600" y="1110556"/>
                  <a:pt x="854600" y="1110556"/>
                </a:cubicBezTo>
                <a:cubicBezTo>
                  <a:pt x="856422" y="1110556"/>
                  <a:pt x="860066" y="1114201"/>
                  <a:pt x="856422" y="1108734"/>
                </a:cubicBezTo>
                <a:close/>
                <a:moveTo>
                  <a:pt x="814512" y="1108734"/>
                </a:moveTo>
                <a:cubicBezTo>
                  <a:pt x="812690" y="1112378"/>
                  <a:pt x="816334" y="1117845"/>
                  <a:pt x="818156" y="1117845"/>
                </a:cubicBezTo>
                <a:cubicBezTo>
                  <a:pt x="819979" y="1114201"/>
                  <a:pt x="816334" y="1110556"/>
                  <a:pt x="814512" y="1108734"/>
                </a:cubicBezTo>
                <a:close/>
                <a:moveTo>
                  <a:pt x="583096" y="1108734"/>
                </a:moveTo>
                <a:cubicBezTo>
                  <a:pt x="581274" y="1108734"/>
                  <a:pt x="577630" y="1110556"/>
                  <a:pt x="584919" y="1112378"/>
                </a:cubicBezTo>
                <a:cubicBezTo>
                  <a:pt x="586741" y="1110556"/>
                  <a:pt x="584919" y="1110556"/>
                  <a:pt x="583096" y="1108734"/>
                </a:cubicBezTo>
                <a:close/>
                <a:moveTo>
                  <a:pt x="280615" y="1108734"/>
                </a:moveTo>
                <a:cubicBezTo>
                  <a:pt x="273327" y="1108734"/>
                  <a:pt x="284259" y="1117845"/>
                  <a:pt x="287904" y="1117845"/>
                </a:cubicBezTo>
                <a:cubicBezTo>
                  <a:pt x="287904" y="1116023"/>
                  <a:pt x="282438" y="1112378"/>
                  <a:pt x="280615" y="1108734"/>
                </a:cubicBezTo>
                <a:close/>
                <a:moveTo>
                  <a:pt x="260571" y="1108734"/>
                </a:moveTo>
                <a:cubicBezTo>
                  <a:pt x="262393" y="1116023"/>
                  <a:pt x="275149" y="1128778"/>
                  <a:pt x="276971" y="1121489"/>
                </a:cubicBezTo>
                <a:cubicBezTo>
                  <a:pt x="273327" y="1117845"/>
                  <a:pt x="271504" y="1121489"/>
                  <a:pt x="267860" y="1117845"/>
                </a:cubicBezTo>
                <a:cubicBezTo>
                  <a:pt x="267860" y="1116023"/>
                  <a:pt x="271504" y="1119667"/>
                  <a:pt x="273327" y="1119667"/>
                </a:cubicBezTo>
                <a:cubicBezTo>
                  <a:pt x="271504" y="1114201"/>
                  <a:pt x="264216" y="1114201"/>
                  <a:pt x="260571" y="1108734"/>
                </a:cubicBezTo>
                <a:close/>
                <a:moveTo>
                  <a:pt x="189506" y="1108734"/>
                </a:moveTo>
                <a:cubicBezTo>
                  <a:pt x="189506" y="1108734"/>
                  <a:pt x="198617" y="1119667"/>
                  <a:pt x="200439" y="1117845"/>
                </a:cubicBezTo>
                <a:cubicBezTo>
                  <a:pt x="196795" y="1116023"/>
                  <a:pt x="193151" y="1114201"/>
                  <a:pt x="189506" y="1108734"/>
                </a:cubicBezTo>
                <a:close/>
                <a:moveTo>
                  <a:pt x="508614" y="1107367"/>
                </a:moveTo>
                <a:cubicBezTo>
                  <a:pt x="504288" y="1106912"/>
                  <a:pt x="500187" y="1107823"/>
                  <a:pt x="497454" y="1110556"/>
                </a:cubicBezTo>
                <a:cubicBezTo>
                  <a:pt x="506565" y="1121489"/>
                  <a:pt x="513853" y="1114201"/>
                  <a:pt x="521142" y="1112378"/>
                </a:cubicBezTo>
                <a:cubicBezTo>
                  <a:pt x="517497" y="1109645"/>
                  <a:pt x="512943" y="1107823"/>
                  <a:pt x="508614" y="1107367"/>
                </a:cubicBezTo>
                <a:close/>
                <a:moveTo>
                  <a:pt x="3090407" y="1106912"/>
                </a:moveTo>
                <a:lnTo>
                  <a:pt x="3093962" y="1115589"/>
                </a:lnTo>
                <a:lnTo>
                  <a:pt x="3092230" y="1116023"/>
                </a:lnTo>
                <a:cubicBezTo>
                  <a:pt x="3092230" y="1112378"/>
                  <a:pt x="3090407" y="1110556"/>
                  <a:pt x="3090407" y="1106912"/>
                </a:cubicBezTo>
                <a:close/>
                <a:moveTo>
                  <a:pt x="2281362" y="1106912"/>
                </a:moveTo>
                <a:cubicBezTo>
                  <a:pt x="2279540" y="1112378"/>
                  <a:pt x="2281362" y="1114201"/>
                  <a:pt x="2285007" y="1114201"/>
                </a:cubicBezTo>
                <a:cubicBezTo>
                  <a:pt x="2288651" y="1112378"/>
                  <a:pt x="2288651" y="1103268"/>
                  <a:pt x="2281362" y="1106912"/>
                </a:cubicBezTo>
                <a:close/>
                <a:moveTo>
                  <a:pt x="2246741" y="1106912"/>
                </a:moveTo>
                <a:cubicBezTo>
                  <a:pt x="2246741" y="1108734"/>
                  <a:pt x="2246741" y="1110556"/>
                  <a:pt x="2246741" y="1112378"/>
                </a:cubicBezTo>
                <a:cubicBezTo>
                  <a:pt x="2246741" y="1110556"/>
                  <a:pt x="2248563" y="1110556"/>
                  <a:pt x="2250385" y="1108734"/>
                </a:cubicBezTo>
                <a:close/>
                <a:moveTo>
                  <a:pt x="925666" y="1106912"/>
                </a:moveTo>
                <a:cubicBezTo>
                  <a:pt x="923843" y="1108734"/>
                  <a:pt x="923843" y="1108734"/>
                  <a:pt x="923843" y="1110556"/>
                </a:cubicBezTo>
                <a:cubicBezTo>
                  <a:pt x="925666" y="1112378"/>
                  <a:pt x="927487" y="1112378"/>
                  <a:pt x="929309" y="1110556"/>
                </a:cubicBezTo>
                <a:cubicBezTo>
                  <a:pt x="927487" y="1108734"/>
                  <a:pt x="927487" y="1108734"/>
                  <a:pt x="925666" y="1106912"/>
                </a:cubicBezTo>
                <a:close/>
                <a:moveTo>
                  <a:pt x="830912" y="1106912"/>
                </a:moveTo>
                <a:cubicBezTo>
                  <a:pt x="829089" y="1106912"/>
                  <a:pt x="825445" y="1108734"/>
                  <a:pt x="823623" y="1110556"/>
                </a:cubicBezTo>
                <a:cubicBezTo>
                  <a:pt x="823623" y="1114201"/>
                  <a:pt x="827267" y="1116023"/>
                  <a:pt x="829089" y="1116023"/>
                </a:cubicBezTo>
                <a:cubicBezTo>
                  <a:pt x="830912" y="1117845"/>
                  <a:pt x="827267" y="1116023"/>
                  <a:pt x="827267" y="1116023"/>
                </a:cubicBezTo>
                <a:cubicBezTo>
                  <a:pt x="829089" y="1121489"/>
                  <a:pt x="834556" y="1117845"/>
                  <a:pt x="836378" y="1119667"/>
                </a:cubicBezTo>
                <a:cubicBezTo>
                  <a:pt x="834556" y="1114201"/>
                  <a:pt x="832734" y="1108734"/>
                  <a:pt x="830912" y="1106912"/>
                </a:cubicBezTo>
                <a:close/>
                <a:moveTo>
                  <a:pt x="772602" y="1106912"/>
                </a:moveTo>
                <a:cubicBezTo>
                  <a:pt x="772602" y="1112378"/>
                  <a:pt x="772602" y="1117845"/>
                  <a:pt x="770781" y="1121489"/>
                </a:cubicBezTo>
                <a:cubicBezTo>
                  <a:pt x="770781" y="1119667"/>
                  <a:pt x="772602" y="1108734"/>
                  <a:pt x="772602" y="1106912"/>
                </a:cubicBezTo>
                <a:close/>
                <a:moveTo>
                  <a:pt x="568519" y="1106912"/>
                </a:moveTo>
                <a:cubicBezTo>
                  <a:pt x="568519" y="1119667"/>
                  <a:pt x="570341" y="1106912"/>
                  <a:pt x="572163" y="1108734"/>
                </a:cubicBezTo>
                <a:cubicBezTo>
                  <a:pt x="572163" y="1108734"/>
                  <a:pt x="570341" y="1108734"/>
                  <a:pt x="568519" y="1106912"/>
                </a:cubicBezTo>
                <a:close/>
                <a:moveTo>
                  <a:pt x="539364" y="1106912"/>
                </a:moveTo>
                <a:cubicBezTo>
                  <a:pt x="537542" y="1106912"/>
                  <a:pt x="541186" y="1110556"/>
                  <a:pt x="543008" y="1110556"/>
                </a:cubicBezTo>
                <a:cubicBezTo>
                  <a:pt x="544830" y="1110556"/>
                  <a:pt x="541186" y="1108734"/>
                  <a:pt x="543008" y="1108734"/>
                </a:cubicBezTo>
                <a:cubicBezTo>
                  <a:pt x="541186" y="1106912"/>
                  <a:pt x="541186" y="1108734"/>
                  <a:pt x="539364" y="1106912"/>
                </a:cubicBezTo>
                <a:close/>
                <a:moveTo>
                  <a:pt x="430034" y="1106912"/>
                </a:moveTo>
                <a:cubicBezTo>
                  <a:pt x="430034" y="1108734"/>
                  <a:pt x="428211" y="1106912"/>
                  <a:pt x="426389" y="1108734"/>
                </a:cubicBezTo>
                <a:cubicBezTo>
                  <a:pt x="430034" y="1110556"/>
                  <a:pt x="431856" y="1110556"/>
                  <a:pt x="433678" y="1110556"/>
                </a:cubicBezTo>
                <a:cubicBezTo>
                  <a:pt x="431856" y="1108734"/>
                  <a:pt x="431856" y="1108734"/>
                  <a:pt x="430034" y="1106912"/>
                </a:cubicBezTo>
                <a:close/>
                <a:moveTo>
                  <a:pt x="313414" y="1106912"/>
                </a:moveTo>
                <a:cubicBezTo>
                  <a:pt x="317059" y="1108734"/>
                  <a:pt x="318882" y="1110556"/>
                  <a:pt x="320703" y="1112378"/>
                </a:cubicBezTo>
                <a:cubicBezTo>
                  <a:pt x="313414" y="1106912"/>
                  <a:pt x="304303" y="1106912"/>
                  <a:pt x="295193" y="1108734"/>
                </a:cubicBezTo>
                <a:cubicBezTo>
                  <a:pt x="300660" y="1117845"/>
                  <a:pt x="309771" y="1123312"/>
                  <a:pt x="317059" y="1128778"/>
                </a:cubicBezTo>
                <a:lnTo>
                  <a:pt x="315236" y="1126956"/>
                </a:lnTo>
                <a:cubicBezTo>
                  <a:pt x="317059" y="1128778"/>
                  <a:pt x="320703" y="1130600"/>
                  <a:pt x="322525" y="1132422"/>
                </a:cubicBezTo>
                <a:cubicBezTo>
                  <a:pt x="326169" y="1130600"/>
                  <a:pt x="322525" y="1130600"/>
                  <a:pt x="320703" y="1128778"/>
                </a:cubicBezTo>
                <a:cubicBezTo>
                  <a:pt x="322525" y="1128778"/>
                  <a:pt x="324347" y="1132422"/>
                  <a:pt x="326169" y="1130600"/>
                </a:cubicBezTo>
                <a:cubicBezTo>
                  <a:pt x="331636" y="1136067"/>
                  <a:pt x="335280" y="1137889"/>
                  <a:pt x="338926" y="1136067"/>
                </a:cubicBezTo>
                <a:cubicBezTo>
                  <a:pt x="337102" y="1136067"/>
                  <a:pt x="337102" y="1136067"/>
                  <a:pt x="337102" y="1136067"/>
                </a:cubicBezTo>
                <a:cubicBezTo>
                  <a:pt x="340747" y="1139711"/>
                  <a:pt x="342569" y="1139711"/>
                  <a:pt x="348037" y="1141533"/>
                </a:cubicBezTo>
                <a:lnTo>
                  <a:pt x="348037" y="1139711"/>
                </a:lnTo>
                <a:cubicBezTo>
                  <a:pt x="349858" y="1141533"/>
                  <a:pt x="351680" y="1141533"/>
                  <a:pt x="355324" y="1141533"/>
                </a:cubicBezTo>
                <a:cubicBezTo>
                  <a:pt x="353502" y="1139711"/>
                  <a:pt x="351680" y="1137889"/>
                  <a:pt x="351680" y="1136067"/>
                </a:cubicBezTo>
                <a:cubicBezTo>
                  <a:pt x="358969" y="1147000"/>
                  <a:pt x="364435" y="1145178"/>
                  <a:pt x="373546" y="1143355"/>
                </a:cubicBezTo>
                <a:cubicBezTo>
                  <a:pt x="371724" y="1143355"/>
                  <a:pt x="368079" y="1143355"/>
                  <a:pt x="366257" y="1141533"/>
                </a:cubicBezTo>
                <a:cubicBezTo>
                  <a:pt x="368079" y="1139711"/>
                  <a:pt x="368079" y="1139711"/>
                  <a:pt x="369902" y="1139711"/>
                </a:cubicBezTo>
                <a:cubicBezTo>
                  <a:pt x="364435" y="1137889"/>
                  <a:pt x="360791" y="1136067"/>
                  <a:pt x="357146" y="1136067"/>
                </a:cubicBezTo>
                <a:cubicBezTo>
                  <a:pt x="360791" y="1134245"/>
                  <a:pt x="366257" y="1134245"/>
                  <a:pt x="369902" y="1134245"/>
                </a:cubicBezTo>
                <a:cubicBezTo>
                  <a:pt x="366257" y="1125134"/>
                  <a:pt x="358969" y="1136067"/>
                  <a:pt x="355324" y="1128778"/>
                </a:cubicBezTo>
                <a:cubicBezTo>
                  <a:pt x="355324" y="1126956"/>
                  <a:pt x="355324" y="1126956"/>
                  <a:pt x="357146" y="1126956"/>
                </a:cubicBezTo>
                <a:cubicBezTo>
                  <a:pt x="349858" y="1123312"/>
                  <a:pt x="342569" y="1125134"/>
                  <a:pt x="335280" y="1121489"/>
                </a:cubicBezTo>
                <a:cubicBezTo>
                  <a:pt x="337102" y="1121489"/>
                  <a:pt x="340747" y="1119667"/>
                  <a:pt x="340747" y="1119667"/>
                </a:cubicBezTo>
                <a:cubicBezTo>
                  <a:pt x="337102" y="1116022"/>
                  <a:pt x="333002" y="1115567"/>
                  <a:pt x="328903" y="1115795"/>
                </a:cubicBezTo>
                <a:lnTo>
                  <a:pt x="328344" y="1115806"/>
                </a:lnTo>
                <a:lnTo>
                  <a:pt x="344391" y="1114201"/>
                </a:lnTo>
                <a:cubicBezTo>
                  <a:pt x="335280" y="1108734"/>
                  <a:pt x="327993" y="1112378"/>
                  <a:pt x="320703" y="1110556"/>
                </a:cubicBezTo>
                <a:cubicBezTo>
                  <a:pt x="320703" y="1108734"/>
                  <a:pt x="318882" y="1105090"/>
                  <a:pt x="313414" y="1106912"/>
                </a:cubicBezTo>
                <a:close/>
                <a:moveTo>
                  <a:pt x="291549" y="1106912"/>
                </a:moveTo>
                <a:cubicBezTo>
                  <a:pt x="286082" y="1105090"/>
                  <a:pt x="291549" y="1114201"/>
                  <a:pt x="297015" y="1116023"/>
                </a:cubicBezTo>
                <a:cubicBezTo>
                  <a:pt x="298837" y="1114201"/>
                  <a:pt x="291549" y="1108734"/>
                  <a:pt x="291549" y="1106912"/>
                </a:cubicBezTo>
                <a:close/>
                <a:moveTo>
                  <a:pt x="229594" y="1106912"/>
                </a:moveTo>
                <a:cubicBezTo>
                  <a:pt x="229594" y="1108734"/>
                  <a:pt x="235061" y="1114201"/>
                  <a:pt x="236883" y="1112378"/>
                </a:cubicBezTo>
                <a:cubicBezTo>
                  <a:pt x="235061" y="1108734"/>
                  <a:pt x="231416" y="1108734"/>
                  <a:pt x="229594" y="1106912"/>
                </a:cubicBezTo>
                <a:close/>
                <a:moveTo>
                  <a:pt x="1486895" y="1105090"/>
                </a:moveTo>
                <a:cubicBezTo>
                  <a:pt x="1486895" y="1105090"/>
                  <a:pt x="1486895" y="1106912"/>
                  <a:pt x="1488716" y="1108734"/>
                </a:cubicBezTo>
                <a:cubicBezTo>
                  <a:pt x="1488716" y="1106912"/>
                  <a:pt x="1492361" y="1108734"/>
                  <a:pt x="1494183" y="1106912"/>
                </a:cubicBezTo>
                <a:cubicBezTo>
                  <a:pt x="1486895" y="1110556"/>
                  <a:pt x="1485072" y="1119667"/>
                  <a:pt x="1488716" y="1119667"/>
                </a:cubicBezTo>
                <a:cubicBezTo>
                  <a:pt x="1485072" y="1123312"/>
                  <a:pt x="1481428" y="1126956"/>
                  <a:pt x="1481428" y="1130600"/>
                </a:cubicBezTo>
                <a:cubicBezTo>
                  <a:pt x="1483250" y="1132422"/>
                  <a:pt x="1486895" y="1125134"/>
                  <a:pt x="1486895" y="1128778"/>
                </a:cubicBezTo>
                <a:cubicBezTo>
                  <a:pt x="1484161" y="1130600"/>
                  <a:pt x="1480972" y="1132422"/>
                  <a:pt x="1478240" y="1134472"/>
                </a:cubicBezTo>
                <a:lnTo>
                  <a:pt x="1473309" y="1140350"/>
                </a:lnTo>
                <a:lnTo>
                  <a:pt x="1465028" y="1141533"/>
                </a:lnTo>
                <a:cubicBezTo>
                  <a:pt x="1457739" y="1145178"/>
                  <a:pt x="1450451" y="1156111"/>
                  <a:pt x="1441340" y="1161577"/>
                </a:cubicBezTo>
                <a:cubicBezTo>
                  <a:pt x="1444984" y="1163399"/>
                  <a:pt x="1446806" y="1156111"/>
                  <a:pt x="1448629" y="1159755"/>
                </a:cubicBezTo>
                <a:cubicBezTo>
                  <a:pt x="1443162" y="1163399"/>
                  <a:pt x="1430407" y="1170688"/>
                  <a:pt x="1424940" y="1176155"/>
                </a:cubicBezTo>
                <a:cubicBezTo>
                  <a:pt x="1424940" y="1174332"/>
                  <a:pt x="1426763" y="1174332"/>
                  <a:pt x="1424940" y="1172510"/>
                </a:cubicBezTo>
                <a:cubicBezTo>
                  <a:pt x="1419474" y="1174332"/>
                  <a:pt x="1421296" y="1181621"/>
                  <a:pt x="1417652" y="1183443"/>
                </a:cubicBezTo>
                <a:cubicBezTo>
                  <a:pt x="1419474" y="1181621"/>
                  <a:pt x="1419474" y="1181621"/>
                  <a:pt x="1417652" y="1179799"/>
                </a:cubicBezTo>
                <a:lnTo>
                  <a:pt x="1402117" y="1185448"/>
                </a:lnTo>
                <a:lnTo>
                  <a:pt x="1404214" y="1184354"/>
                </a:lnTo>
                <a:cubicBezTo>
                  <a:pt x="1409452" y="1180710"/>
                  <a:pt x="1413097" y="1177066"/>
                  <a:pt x="1410363" y="1176155"/>
                </a:cubicBezTo>
                <a:cubicBezTo>
                  <a:pt x="1410363" y="1177977"/>
                  <a:pt x="1412185" y="1176155"/>
                  <a:pt x="1414007" y="1176155"/>
                </a:cubicBezTo>
                <a:cubicBezTo>
                  <a:pt x="1414007" y="1174332"/>
                  <a:pt x="1410363" y="1174332"/>
                  <a:pt x="1412185" y="1172510"/>
                </a:cubicBezTo>
                <a:lnTo>
                  <a:pt x="1418664" y="1174130"/>
                </a:lnTo>
                <a:lnTo>
                  <a:pt x="1417652" y="1176155"/>
                </a:lnTo>
                <a:cubicBezTo>
                  <a:pt x="1418563" y="1177066"/>
                  <a:pt x="1419929" y="1176610"/>
                  <a:pt x="1420613" y="1175699"/>
                </a:cubicBezTo>
                <a:lnTo>
                  <a:pt x="1419988" y="1173949"/>
                </a:lnTo>
                <a:lnTo>
                  <a:pt x="1432001" y="1164994"/>
                </a:lnTo>
                <a:cubicBezTo>
                  <a:pt x="1436329" y="1161577"/>
                  <a:pt x="1440430" y="1157932"/>
                  <a:pt x="1443162" y="1154288"/>
                </a:cubicBezTo>
                <a:cubicBezTo>
                  <a:pt x="1443162" y="1143355"/>
                  <a:pt x="1439518" y="1128778"/>
                  <a:pt x="1439518" y="1117845"/>
                </a:cubicBezTo>
                <a:cubicBezTo>
                  <a:pt x="1439518" y="1126956"/>
                  <a:pt x="1443162" y="1137889"/>
                  <a:pt x="1443162" y="1148822"/>
                </a:cubicBezTo>
                <a:cubicBezTo>
                  <a:pt x="1443162" y="1148822"/>
                  <a:pt x="1444984" y="1148822"/>
                  <a:pt x="1444984" y="1148822"/>
                </a:cubicBezTo>
                <a:cubicBezTo>
                  <a:pt x="1444984" y="1150644"/>
                  <a:pt x="1443162" y="1152466"/>
                  <a:pt x="1444984" y="1154288"/>
                </a:cubicBezTo>
                <a:cubicBezTo>
                  <a:pt x="1452273" y="1152466"/>
                  <a:pt x="1457739" y="1143355"/>
                  <a:pt x="1459562" y="1139711"/>
                </a:cubicBezTo>
                <a:cubicBezTo>
                  <a:pt x="1459562" y="1141533"/>
                  <a:pt x="1459562" y="1141533"/>
                  <a:pt x="1461384" y="1141533"/>
                </a:cubicBezTo>
                <a:cubicBezTo>
                  <a:pt x="1461384" y="1137889"/>
                  <a:pt x="1461384" y="1134245"/>
                  <a:pt x="1459562" y="1130600"/>
                </a:cubicBezTo>
                <a:cubicBezTo>
                  <a:pt x="1465028" y="1132422"/>
                  <a:pt x="1461384" y="1123312"/>
                  <a:pt x="1463206" y="1121489"/>
                </a:cubicBezTo>
                <a:cubicBezTo>
                  <a:pt x="1466850" y="1125134"/>
                  <a:pt x="1461384" y="1134245"/>
                  <a:pt x="1465028" y="1139711"/>
                </a:cubicBezTo>
                <a:cubicBezTo>
                  <a:pt x="1468673" y="1137889"/>
                  <a:pt x="1470495" y="1134245"/>
                  <a:pt x="1470495" y="1132422"/>
                </a:cubicBezTo>
                <a:cubicBezTo>
                  <a:pt x="1472317" y="1132422"/>
                  <a:pt x="1470495" y="1134245"/>
                  <a:pt x="1472317" y="1134245"/>
                </a:cubicBezTo>
                <a:lnTo>
                  <a:pt x="1475961" y="1128778"/>
                </a:lnTo>
                <a:lnTo>
                  <a:pt x="1479606" y="1126956"/>
                </a:lnTo>
                <a:cubicBezTo>
                  <a:pt x="1477784" y="1123312"/>
                  <a:pt x="1485072" y="1121489"/>
                  <a:pt x="1483250" y="1116023"/>
                </a:cubicBezTo>
                <a:cubicBezTo>
                  <a:pt x="1481428" y="1112378"/>
                  <a:pt x="1477784" y="1110556"/>
                  <a:pt x="1477784" y="1106912"/>
                </a:cubicBezTo>
                <a:cubicBezTo>
                  <a:pt x="1479606" y="1108734"/>
                  <a:pt x="1483250" y="1116023"/>
                  <a:pt x="1485072" y="1116023"/>
                </a:cubicBezTo>
                <a:cubicBezTo>
                  <a:pt x="1488716" y="1112378"/>
                  <a:pt x="1485072" y="1106912"/>
                  <a:pt x="1486895" y="1105090"/>
                </a:cubicBezTo>
                <a:close/>
                <a:moveTo>
                  <a:pt x="1113349" y="1105090"/>
                </a:moveTo>
                <a:cubicBezTo>
                  <a:pt x="1109704" y="1108734"/>
                  <a:pt x="1107882" y="1112378"/>
                  <a:pt x="1109704" y="1116023"/>
                </a:cubicBezTo>
                <a:cubicBezTo>
                  <a:pt x="1115171" y="1117845"/>
                  <a:pt x="1118815" y="1114201"/>
                  <a:pt x="1120637" y="1110556"/>
                </a:cubicBezTo>
                <a:cubicBezTo>
                  <a:pt x="1116993" y="1112378"/>
                  <a:pt x="1115171" y="1106912"/>
                  <a:pt x="1113349" y="1105090"/>
                </a:cubicBezTo>
                <a:close/>
                <a:moveTo>
                  <a:pt x="932953" y="1105090"/>
                </a:moveTo>
                <a:cubicBezTo>
                  <a:pt x="932953" y="1106912"/>
                  <a:pt x="936598" y="1112378"/>
                  <a:pt x="938420" y="1112378"/>
                </a:cubicBezTo>
                <a:cubicBezTo>
                  <a:pt x="940242" y="1108734"/>
                  <a:pt x="932953" y="1106912"/>
                  <a:pt x="932953" y="1105090"/>
                </a:cubicBezTo>
                <a:close/>
                <a:moveTo>
                  <a:pt x="623185" y="1105090"/>
                </a:moveTo>
                <a:cubicBezTo>
                  <a:pt x="623185" y="1108734"/>
                  <a:pt x="621362" y="1106912"/>
                  <a:pt x="619539" y="1108734"/>
                </a:cubicBezTo>
                <a:cubicBezTo>
                  <a:pt x="623185" y="1114201"/>
                  <a:pt x="634117" y="1116023"/>
                  <a:pt x="634117" y="1110556"/>
                </a:cubicBezTo>
                <a:cubicBezTo>
                  <a:pt x="630472" y="1112378"/>
                  <a:pt x="626828" y="1108734"/>
                  <a:pt x="623185" y="1105090"/>
                </a:cubicBezTo>
                <a:close/>
                <a:moveTo>
                  <a:pt x="450077" y="1105090"/>
                </a:moveTo>
                <a:cubicBezTo>
                  <a:pt x="450077" y="1106912"/>
                  <a:pt x="455544" y="1110556"/>
                  <a:pt x="455544" y="1108734"/>
                </a:cubicBezTo>
                <a:cubicBezTo>
                  <a:pt x="453722" y="1106912"/>
                  <a:pt x="451899" y="1105090"/>
                  <a:pt x="450077" y="1105090"/>
                </a:cubicBezTo>
                <a:close/>
                <a:moveTo>
                  <a:pt x="377190" y="1105090"/>
                </a:moveTo>
                <a:cubicBezTo>
                  <a:pt x="380835" y="1112378"/>
                  <a:pt x="391768" y="1114201"/>
                  <a:pt x="395412" y="1119667"/>
                </a:cubicBezTo>
                <a:cubicBezTo>
                  <a:pt x="393590" y="1114201"/>
                  <a:pt x="382657" y="1105090"/>
                  <a:pt x="377190" y="1105090"/>
                </a:cubicBezTo>
                <a:close/>
                <a:moveTo>
                  <a:pt x="494949" y="1104635"/>
                </a:moveTo>
                <a:cubicBezTo>
                  <a:pt x="493810" y="1104635"/>
                  <a:pt x="492898" y="1105090"/>
                  <a:pt x="491987" y="1105090"/>
                </a:cubicBezTo>
                <a:cubicBezTo>
                  <a:pt x="490165" y="1108734"/>
                  <a:pt x="497454" y="1108734"/>
                  <a:pt x="499276" y="1106912"/>
                </a:cubicBezTo>
                <a:cubicBezTo>
                  <a:pt x="497454" y="1105090"/>
                  <a:pt x="496088" y="1104635"/>
                  <a:pt x="494949" y="1104635"/>
                </a:cubicBezTo>
                <a:close/>
                <a:moveTo>
                  <a:pt x="1127926" y="1103268"/>
                </a:moveTo>
                <a:cubicBezTo>
                  <a:pt x="1124282" y="1105090"/>
                  <a:pt x="1124282" y="1108734"/>
                  <a:pt x="1122459" y="1110556"/>
                </a:cubicBezTo>
                <a:cubicBezTo>
                  <a:pt x="1126104" y="1108734"/>
                  <a:pt x="1129748" y="1108734"/>
                  <a:pt x="1131570" y="1105090"/>
                </a:cubicBezTo>
                <a:cubicBezTo>
                  <a:pt x="1131570" y="1105090"/>
                  <a:pt x="1129748" y="1103268"/>
                  <a:pt x="1127926" y="1103268"/>
                </a:cubicBezTo>
                <a:close/>
                <a:moveTo>
                  <a:pt x="1082373" y="1103268"/>
                </a:moveTo>
                <a:cubicBezTo>
                  <a:pt x="1082373" y="1101445"/>
                  <a:pt x="1078727" y="1103268"/>
                  <a:pt x="1076905" y="1105090"/>
                </a:cubicBezTo>
                <a:cubicBezTo>
                  <a:pt x="1078727" y="1105090"/>
                  <a:pt x="1078727" y="1110556"/>
                  <a:pt x="1082373" y="1108734"/>
                </a:cubicBezTo>
                <a:cubicBezTo>
                  <a:pt x="1082373" y="1106912"/>
                  <a:pt x="1078727" y="1103268"/>
                  <a:pt x="1082373" y="1103268"/>
                </a:cubicBezTo>
                <a:close/>
                <a:moveTo>
                  <a:pt x="1047750" y="1103268"/>
                </a:moveTo>
                <a:cubicBezTo>
                  <a:pt x="1045929" y="1105090"/>
                  <a:pt x="1044106" y="1106912"/>
                  <a:pt x="1045929" y="1108734"/>
                </a:cubicBezTo>
                <a:cubicBezTo>
                  <a:pt x="1047750" y="1108734"/>
                  <a:pt x="1047750" y="1110556"/>
                  <a:pt x="1049573" y="1108734"/>
                </a:cubicBezTo>
                <a:cubicBezTo>
                  <a:pt x="1049573" y="1106912"/>
                  <a:pt x="1049573" y="1105090"/>
                  <a:pt x="1047750" y="1103268"/>
                </a:cubicBezTo>
                <a:close/>
                <a:moveTo>
                  <a:pt x="841845" y="1103268"/>
                </a:moveTo>
                <a:cubicBezTo>
                  <a:pt x="834556" y="1099623"/>
                  <a:pt x="834556" y="1112378"/>
                  <a:pt x="840022" y="1117845"/>
                </a:cubicBezTo>
                <a:cubicBezTo>
                  <a:pt x="843667" y="1117845"/>
                  <a:pt x="847311" y="1117845"/>
                  <a:pt x="841845" y="1114201"/>
                </a:cubicBezTo>
                <a:cubicBezTo>
                  <a:pt x="843667" y="1116023"/>
                  <a:pt x="845489" y="1116023"/>
                  <a:pt x="847311" y="1117845"/>
                </a:cubicBezTo>
                <a:cubicBezTo>
                  <a:pt x="849133" y="1117845"/>
                  <a:pt x="849133" y="1114201"/>
                  <a:pt x="849133" y="1114201"/>
                </a:cubicBezTo>
                <a:lnTo>
                  <a:pt x="841845" y="1114201"/>
                </a:lnTo>
                <a:lnTo>
                  <a:pt x="840022" y="1114201"/>
                </a:lnTo>
                <a:cubicBezTo>
                  <a:pt x="840022" y="1108734"/>
                  <a:pt x="847311" y="1114201"/>
                  <a:pt x="847311" y="1110556"/>
                </a:cubicBezTo>
                <a:cubicBezTo>
                  <a:pt x="849133" y="1106912"/>
                  <a:pt x="841845" y="1110556"/>
                  <a:pt x="841845" y="1103268"/>
                </a:cubicBezTo>
                <a:close/>
                <a:moveTo>
                  <a:pt x="789003" y="1103268"/>
                </a:moveTo>
                <a:cubicBezTo>
                  <a:pt x="783535" y="1105090"/>
                  <a:pt x="787179" y="1106912"/>
                  <a:pt x="790824" y="1106912"/>
                </a:cubicBezTo>
                <a:cubicBezTo>
                  <a:pt x="790824" y="1106912"/>
                  <a:pt x="790824" y="1105090"/>
                  <a:pt x="789003" y="1103268"/>
                </a:cubicBezTo>
                <a:close/>
                <a:moveTo>
                  <a:pt x="595852" y="1103268"/>
                </a:moveTo>
                <a:cubicBezTo>
                  <a:pt x="597673" y="1106912"/>
                  <a:pt x="604963" y="1114201"/>
                  <a:pt x="612251" y="1114201"/>
                </a:cubicBezTo>
                <a:cubicBezTo>
                  <a:pt x="606784" y="1110556"/>
                  <a:pt x="599496" y="1105090"/>
                  <a:pt x="595852" y="1103268"/>
                </a:cubicBezTo>
                <a:close/>
                <a:moveTo>
                  <a:pt x="247816" y="1103268"/>
                </a:moveTo>
                <a:cubicBezTo>
                  <a:pt x="247816" y="1105090"/>
                  <a:pt x="245994" y="1103268"/>
                  <a:pt x="244172" y="1105090"/>
                </a:cubicBezTo>
                <a:cubicBezTo>
                  <a:pt x="253282" y="1105090"/>
                  <a:pt x="255105" y="1114201"/>
                  <a:pt x="262393" y="1117845"/>
                </a:cubicBezTo>
                <a:cubicBezTo>
                  <a:pt x="258749" y="1112378"/>
                  <a:pt x="253282" y="1106912"/>
                  <a:pt x="247816" y="1103268"/>
                </a:cubicBezTo>
                <a:close/>
                <a:moveTo>
                  <a:pt x="235061" y="1103268"/>
                </a:moveTo>
                <a:cubicBezTo>
                  <a:pt x="235061" y="1105090"/>
                  <a:pt x="240527" y="1106912"/>
                  <a:pt x="238705" y="1106912"/>
                </a:cubicBezTo>
                <a:cubicBezTo>
                  <a:pt x="238705" y="1103268"/>
                  <a:pt x="236883" y="1105090"/>
                  <a:pt x="235061" y="1103268"/>
                </a:cubicBezTo>
                <a:close/>
                <a:moveTo>
                  <a:pt x="220483" y="1103268"/>
                </a:moveTo>
                <a:cubicBezTo>
                  <a:pt x="222306" y="1110556"/>
                  <a:pt x="231416" y="1110556"/>
                  <a:pt x="233239" y="1116023"/>
                </a:cubicBezTo>
                <a:cubicBezTo>
                  <a:pt x="231416" y="1110556"/>
                  <a:pt x="225950" y="1103268"/>
                  <a:pt x="220483" y="1103268"/>
                </a:cubicBezTo>
                <a:close/>
                <a:moveTo>
                  <a:pt x="426388" y="1103267"/>
                </a:moveTo>
                <a:lnTo>
                  <a:pt x="426389" y="1103267"/>
                </a:lnTo>
                <a:lnTo>
                  <a:pt x="426389" y="1103268"/>
                </a:lnTo>
                <a:close/>
                <a:moveTo>
                  <a:pt x="976310" y="1102517"/>
                </a:moveTo>
                <a:lnTo>
                  <a:pt x="976686" y="1103268"/>
                </a:lnTo>
                <a:lnTo>
                  <a:pt x="975704" y="1104249"/>
                </a:lnTo>
                <a:close/>
                <a:moveTo>
                  <a:pt x="3285380" y="1101445"/>
                </a:moveTo>
                <a:cubicBezTo>
                  <a:pt x="3281736" y="1106912"/>
                  <a:pt x="3276269" y="1105090"/>
                  <a:pt x="3274447" y="1110556"/>
                </a:cubicBezTo>
                <a:cubicBezTo>
                  <a:pt x="3270803" y="1108734"/>
                  <a:pt x="3272625" y="1106912"/>
                  <a:pt x="3270803" y="1103268"/>
                </a:cubicBezTo>
                <a:cubicBezTo>
                  <a:pt x="3265336" y="1106912"/>
                  <a:pt x="3267158" y="1114201"/>
                  <a:pt x="3263514" y="1119667"/>
                </a:cubicBezTo>
                <a:cubicBezTo>
                  <a:pt x="3258047" y="1116023"/>
                  <a:pt x="3263514" y="1106912"/>
                  <a:pt x="3265336" y="1103268"/>
                </a:cubicBezTo>
                <a:cubicBezTo>
                  <a:pt x="3241648" y="1097801"/>
                  <a:pt x="3221604" y="1103268"/>
                  <a:pt x="3205204" y="1110556"/>
                </a:cubicBezTo>
                <a:cubicBezTo>
                  <a:pt x="3210671" y="1121489"/>
                  <a:pt x="3221604" y="1126956"/>
                  <a:pt x="3230715" y="1134245"/>
                </a:cubicBezTo>
                <a:cubicBezTo>
                  <a:pt x="3234359" y="1143355"/>
                  <a:pt x="3236181" y="1154288"/>
                  <a:pt x="3247114" y="1156111"/>
                </a:cubicBezTo>
                <a:cubicBezTo>
                  <a:pt x="3243470" y="1167044"/>
                  <a:pt x="3254403" y="1170688"/>
                  <a:pt x="3263514" y="1170688"/>
                </a:cubicBezTo>
                <a:cubicBezTo>
                  <a:pt x="3263514" y="1165222"/>
                  <a:pt x="3268980" y="1163399"/>
                  <a:pt x="3270803" y="1159755"/>
                </a:cubicBezTo>
                <a:cubicBezTo>
                  <a:pt x="3276269" y="1161577"/>
                  <a:pt x="3267158" y="1176155"/>
                  <a:pt x="3278091" y="1172510"/>
                </a:cubicBezTo>
                <a:cubicBezTo>
                  <a:pt x="3276269" y="1165222"/>
                  <a:pt x="3281736" y="1161577"/>
                  <a:pt x="3281736" y="1154288"/>
                </a:cubicBezTo>
                <a:cubicBezTo>
                  <a:pt x="3285380" y="1152466"/>
                  <a:pt x="3287202" y="1156111"/>
                  <a:pt x="3289024" y="1157933"/>
                </a:cubicBezTo>
                <a:cubicBezTo>
                  <a:pt x="3285380" y="1159755"/>
                  <a:pt x="3287202" y="1165222"/>
                  <a:pt x="3281736" y="1167044"/>
                </a:cubicBezTo>
                <a:cubicBezTo>
                  <a:pt x="3283558" y="1170688"/>
                  <a:pt x="3287202" y="1170688"/>
                  <a:pt x="3289024" y="1167044"/>
                </a:cubicBezTo>
                <a:cubicBezTo>
                  <a:pt x="3289024" y="1170688"/>
                  <a:pt x="3285380" y="1170688"/>
                  <a:pt x="3287202" y="1174332"/>
                </a:cubicBezTo>
                <a:cubicBezTo>
                  <a:pt x="3294491" y="1172510"/>
                  <a:pt x="3298135" y="1170688"/>
                  <a:pt x="3299957" y="1174332"/>
                </a:cubicBezTo>
                <a:cubicBezTo>
                  <a:pt x="3303602" y="1174332"/>
                  <a:pt x="3303602" y="1170688"/>
                  <a:pt x="3305424" y="1170688"/>
                </a:cubicBezTo>
                <a:lnTo>
                  <a:pt x="3304416" y="1169962"/>
                </a:lnTo>
                <a:lnTo>
                  <a:pt x="3312713" y="1165222"/>
                </a:lnTo>
                <a:cubicBezTo>
                  <a:pt x="3309980" y="1162488"/>
                  <a:pt x="3308157" y="1163399"/>
                  <a:pt x="3306335" y="1165449"/>
                </a:cubicBezTo>
                <a:lnTo>
                  <a:pt x="3303109" y="1169021"/>
                </a:lnTo>
                <a:lnTo>
                  <a:pt x="3299730" y="1166588"/>
                </a:lnTo>
                <a:cubicBezTo>
                  <a:pt x="3298135" y="1165221"/>
                  <a:pt x="3296313" y="1164310"/>
                  <a:pt x="3292669" y="1165222"/>
                </a:cubicBezTo>
                <a:cubicBezTo>
                  <a:pt x="3289024" y="1165222"/>
                  <a:pt x="3294491" y="1159755"/>
                  <a:pt x="3290847" y="1159755"/>
                </a:cubicBezTo>
                <a:cubicBezTo>
                  <a:pt x="3296313" y="1165222"/>
                  <a:pt x="3314535" y="1152466"/>
                  <a:pt x="3320001" y="1161577"/>
                </a:cubicBezTo>
                <a:cubicBezTo>
                  <a:pt x="3321824" y="1159755"/>
                  <a:pt x="3321824" y="1157933"/>
                  <a:pt x="3325468" y="1156111"/>
                </a:cubicBezTo>
                <a:cubicBezTo>
                  <a:pt x="3327290" y="1157933"/>
                  <a:pt x="3329112" y="1157933"/>
                  <a:pt x="3330934" y="1159755"/>
                </a:cubicBezTo>
                <a:lnTo>
                  <a:pt x="3327290" y="1167044"/>
                </a:lnTo>
                <a:lnTo>
                  <a:pt x="3324785" y="1169549"/>
                </a:lnTo>
                <a:cubicBezTo>
                  <a:pt x="3324102" y="1171143"/>
                  <a:pt x="3323646" y="1172510"/>
                  <a:pt x="3321824" y="1172510"/>
                </a:cubicBezTo>
                <a:cubicBezTo>
                  <a:pt x="3320001" y="1174332"/>
                  <a:pt x="3323646" y="1176155"/>
                  <a:pt x="3323646" y="1172510"/>
                </a:cubicBezTo>
                <a:cubicBezTo>
                  <a:pt x="3325468" y="1172510"/>
                  <a:pt x="3327290" y="1172510"/>
                  <a:pt x="3329112" y="1172510"/>
                </a:cubicBezTo>
                <a:lnTo>
                  <a:pt x="3329112" y="1165677"/>
                </a:lnTo>
                <a:lnTo>
                  <a:pt x="3330934" y="1164310"/>
                </a:lnTo>
                <a:cubicBezTo>
                  <a:pt x="3331390" y="1162944"/>
                  <a:pt x="3331846" y="1161577"/>
                  <a:pt x="3334579" y="1161577"/>
                </a:cubicBezTo>
                <a:cubicBezTo>
                  <a:pt x="3334579" y="1157933"/>
                  <a:pt x="3334579" y="1152466"/>
                  <a:pt x="3334579" y="1148822"/>
                </a:cubicBezTo>
                <a:cubicBezTo>
                  <a:pt x="3336401" y="1148822"/>
                  <a:pt x="3336401" y="1148822"/>
                  <a:pt x="3336401" y="1152466"/>
                </a:cubicBezTo>
                <a:lnTo>
                  <a:pt x="3341787" y="1148785"/>
                </a:lnTo>
                <a:lnTo>
                  <a:pt x="3341867" y="1148822"/>
                </a:lnTo>
                <a:lnTo>
                  <a:pt x="3341843" y="1148748"/>
                </a:lnTo>
                <a:lnTo>
                  <a:pt x="3350068" y="1143127"/>
                </a:lnTo>
                <a:lnTo>
                  <a:pt x="3357554" y="1128362"/>
                </a:lnTo>
                <a:lnTo>
                  <a:pt x="3358267" y="1128778"/>
                </a:lnTo>
                <a:cubicBezTo>
                  <a:pt x="3360089" y="1126956"/>
                  <a:pt x="3361911" y="1125134"/>
                  <a:pt x="3361911" y="1123312"/>
                </a:cubicBezTo>
                <a:cubicBezTo>
                  <a:pt x="3358267" y="1123312"/>
                  <a:pt x="3356445" y="1125134"/>
                  <a:pt x="3352800" y="1126956"/>
                </a:cubicBezTo>
                <a:cubicBezTo>
                  <a:pt x="3352800" y="1127867"/>
                  <a:pt x="3354167" y="1127411"/>
                  <a:pt x="3355534" y="1127184"/>
                </a:cubicBezTo>
                <a:lnTo>
                  <a:pt x="3356081" y="1127503"/>
                </a:lnTo>
                <a:lnTo>
                  <a:pt x="3347334" y="1129689"/>
                </a:lnTo>
                <a:cubicBezTo>
                  <a:pt x="3344146" y="1129689"/>
                  <a:pt x="3340957" y="1129689"/>
                  <a:pt x="3336401" y="1132422"/>
                </a:cubicBezTo>
                <a:lnTo>
                  <a:pt x="3341843" y="1148748"/>
                </a:lnTo>
                <a:lnTo>
                  <a:pt x="3341787" y="1148785"/>
                </a:lnTo>
                <a:lnTo>
                  <a:pt x="3334806" y="1145633"/>
                </a:lnTo>
                <a:cubicBezTo>
                  <a:pt x="3332301" y="1145177"/>
                  <a:pt x="3330023" y="1146088"/>
                  <a:pt x="3329112" y="1150644"/>
                </a:cubicBezTo>
                <a:cubicBezTo>
                  <a:pt x="3323646" y="1148822"/>
                  <a:pt x="3330934" y="1139711"/>
                  <a:pt x="3332756" y="1143355"/>
                </a:cubicBezTo>
                <a:cubicBezTo>
                  <a:pt x="3338223" y="1128778"/>
                  <a:pt x="3316357" y="1137889"/>
                  <a:pt x="3309068" y="1139711"/>
                </a:cubicBezTo>
                <a:cubicBezTo>
                  <a:pt x="3309068" y="1136067"/>
                  <a:pt x="3312713" y="1134245"/>
                  <a:pt x="3312713" y="1130600"/>
                </a:cubicBezTo>
                <a:cubicBezTo>
                  <a:pt x="3312713" y="1132422"/>
                  <a:pt x="3314535" y="1132422"/>
                  <a:pt x="3314535" y="1134245"/>
                </a:cubicBezTo>
                <a:cubicBezTo>
                  <a:pt x="3316357" y="1134245"/>
                  <a:pt x="3316357" y="1125134"/>
                  <a:pt x="3312713" y="1130600"/>
                </a:cubicBezTo>
                <a:cubicBezTo>
                  <a:pt x="3310890" y="1112378"/>
                  <a:pt x="3292669" y="1112378"/>
                  <a:pt x="3285380" y="1101445"/>
                </a:cubicBezTo>
                <a:close/>
                <a:moveTo>
                  <a:pt x="2922767" y="1101445"/>
                </a:moveTo>
                <a:cubicBezTo>
                  <a:pt x="2928234" y="1101445"/>
                  <a:pt x="2930056" y="1112378"/>
                  <a:pt x="2935523" y="1112378"/>
                </a:cubicBezTo>
                <a:cubicBezTo>
                  <a:pt x="2939167" y="1112378"/>
                  <a:pt x="2931878" y="1106912"/>
                  <a:pt x="2933700" y="1105090"/>
                </a:cubicBezTo>
                <a:cubicBezTo>
                  <a:pt x="2935523" y="1101445"/>
                  <a:pt x="2939167" y="1108734"/>
                  <a:pt x="2940989" y="1108734"/>
                </a:cubicBezTo>
                <a:cubicBezTo>
                  <a:pt x="2939167" y="1112378"/>
                  <a:pt x="2939167" y="1114201"/>
                  <a:pt x="2937345" y="1116023"/>
                </a:cubicBezTo>
                <a:cubicBezTo>
                  <a:pt x="2937345" y="1116023"/>
                  <a:pt x="2939167" y="1117845"/>
                  <a:pt x="2939167" y="1117845"/>
                </a:cubicBezTo>
                <a:cubicBezTo>
                  <a:pt x="2938256" y="1120578"/>
                  <a:pt x="2935979" y="1121489"/>
                  <a:pt x="2933245" y="1121489"/>
                </a:cubicBezTo>
                <a:lnTo>
                  <a:pt x="2926379" y="1120043"/>
                </a:lnTo>
                <a:lnTo>
                  <a:pt x="2925786" y="1118414"/>
                </a:lnTo>
                <a:cubicBezTo>
                  <a:pt x="2925615" y="1110897"/>
                  <a:pt x="2930056" y="1102356"/>
                  <a:pt x="2919123" y="1105090"/>
                </a:cubicBezTo>
                <a:cubicBezTo>
                  <a:pt x="2920945" y="1103268"/>
                  <a:pt x="2920945" y="1101445"/>
                  <a:pt x="2922767" y="1101445"/>
                </a:cubicBezTo>
                <a:close/>
                <a:moveTo>
                  <a:pt x="2341494" y="1101445"/>
                </a:moveTo>
                <a:cubicBezTo>
                  <a:pt x="2339672" y="1105090"/>
                  <a:pt x="2345138" y="1110556"/>
                  <a:pt x="2350605" y="1110556"/>
                </a:cubicBezTo>
                <a:cubicBezTo>
                  <a:pt x="2348782" y="1106912"/>
                  <a:pt x="2345138" y="1103268"/>
                  <a:pt x="2341494" y="1101445"/>
                </a:cubicBezTo>
                <a:close/>
                <a:moveTo>
                  <a:pt x="2315983" y="1101445"/>
                </a:moveTo>
                <a:cubicBezTo>
                  <a:pt x="2310517" y="1103268"/>
                  <a:pt x="2308695" y="1108734"/>
                  <a:pt x="2303228" y="1110556"/>
                </a:cubicBezTo>
                <a:cubicBezTo>
                  <a:pt x="2308695" y="1112378"/>
                  <a:pt x="2310517" y="1106912"/>
                  <a:pt x="2315983" y="1112378"/>
                </a:cubicBezTo>
                <a:cubicBezTo>
                  <a:pt x="2314161" y="1108734"/>
                  <a:pt x="2319628" y="1105090"/>
                  <a:pt x="2315983" y="1101445"/>
                </a:cubicBezTo>
                <a:close/>
                <a:moveTo>
                  <a:pt x="2203237" y="1101445"/>
                </a:moveTo>
                <a:cubicBezTo>
                  <a:pt x="2202554" y="1102356"/>
                  <a:pt x="2202098" y="1104179"/>
                  <a:pt x="2201187" y="1105090"/>
                </a:cubicBezTo>
                <a:cubicBezTo>
                  <a:pt x="2197542" y="1108734"/>
                  <a:pt x="2206653" y="1108734"/>
                  <a:pt x="2204831" y="1112378"/>
                </a:cubicBezTo>
                <a:cubicBezTo>
                  <a:pt x="2208475" y="1112378"/>
                  <a:pt x="2208475" y="1110556"/>
                  <a:pt x="2208475" y="1106912"/>
                </a:cubicBezTo>
                <a:cubicBezTo>
                  <a:pt x="2204831" y="1110556"/>
                  <a:pt x="2203009" y="1105090"/>
                  <a:pt x="2206653" y="1103268"/>
                </a:cubicBezTo>
                <a:cubicBezTo>
                  <a:pt x="2204831" y="1100534"/>
                  <a:pt x="2203920" y="1100534"/>
                  <a:pt x="2203237" y="1101445"/>
                </a:cubicBezTo>
                <a:close/>
                <a:moveTo>
                  <a:pt x="1372097" y="1101445"/>
                </a:moveTo>
                <a:cubicBezTo>
                  <a:pt x="1369364" y="1101445"/>
                  <a:pt x="1365720" y="1104178"/>
                  <a:pt x="1361848" y="1106456"/>
                </a:cubicBezTo>
                <a:lnTo>
                  <a:pt x="1360908" y="1106641"/>
                </a:lnTo>
                <a:close/>
                <a:moveTo>
                  <a:pt x="1113349" y="1101445"/>
                </a:moveTo>
                <a:cubicBezTo>
                  <a:pt x="1115171" y="1103268"/>
                  <a:pt x="1118815" y="1103268"/>
                  <a:pt x="1118815" y="1106912"/>
                </a:cubicBezTo>
                <a:cubicBezTo>
                  <a:pt x="1122459" y="1106912"/>
                  <a:pt x="1122459" y="1103268"/>
                  <a:pt x="1120637" y="1101445"/>
                </a:cubicBezTo>
                <a:cubicBezTo>
                  <a:pt x="1118815" y="1103268"/>
                  <a:pt x="1116993" y="1099623"/>
                  <a:pt x="1113349" y="1101445"/>
                </a:cubicBezTo>
                <a:close/>
                <a:moveTo>
                  <a:pt x="1060506" y="1101445"/>
                </a:moveTo>
                <a:cubicBezTo>
                  <a:pt x="1060506" y="1101445"/>
                  <a:pt x="1058683" y="1103268"/>
                  <a:pt x="1058683" y="1103268"/>
                </a:cubicBezTo>
                <a:cubicBezTo>
                  <a:pt x="1060506" y="1105090"/>
                  <a:pt x="1062328" y="1106912"/>
                  <a:pt x="1064151" y="1105090"/>
                </a:cubicBezTo>
                <a:cubicBezTo>
                  <a:pt x="1062328" y="1103268"/>
                  <a:pt x="1062328" y="1105090"/>
                  <a:pt x="1060506" y="1101445"/>
                </a:cubicBezTo>
                <a:close/>
                <a:moveTo>
                  <a:pt x="1038639" y="1101445"/>
                </a:moveTo>
                <a:cubicBezTo>
                  <a:pt x="1034995" y="1105090"/>
                  <a:pt x="1033173" y="1103268"/>
                  <a:pt x="1031351" y="1105090"/>
                </a:cubicBezTo>
                <a:cubicBezTo>
                  <a:pt x="1033173" y="1106912"/>
                  <a:pt x="1034995" y="1105090"/>
                  <a:pt x="1036818" y="1103268"/>
                </a:cubicBezTo>
                <a:cubicBezTo>
                  <a:pt x="1038639" y="1105090"/>
                  <a:pt x="1036818" y="1105090"/>
                  <a:pt x="1038639" y="1106912"/>
                </a:cubicBezTo>
                <a:cubicBezTo>
                  <a:pt x="1040462" y="1105090"/>
                  <a:pt x="1038639" y="1103268"/>
                  <a:pt x="1038639" y="1101445"/>
                </a:cubicBezTo>
                <a:close/>
                <a:moveTo>
                  <a:pt x="1024062" y="1101445"/>
                </a:moveTo>
                <a:cubicBezTo>
                  <a:pt x="1022240" y="1101445"/>
                  <a:pt x="1022240" y="1103268"/>
                  <a:pt x="1022240" y="1103268"/>
                </a:cubicBezTo>
                <a:cubicBezTo>
                  <a:pt x="1022240" y="1105090"/>
                  <a:pt x="1024062" y="1105090"/>
                  <a:pt x="1025884" y="1103268"/>
                </a:cubicBezTo>
                <a:cubicBezTo>
                  <a:pt x="1025884" y="1101445"/>
                  <a:pt x="1024062" y="1103268"/>
                  <a:pt x="1024062" y="1101445"/>
                </a:cubicBezTo>
                <a:close/>
                <a:moveTo>
                  <a:pt x="821801" y="1101445"/>
                </a:moveTo>
                <a:cubicBezTo>
                  <a:pt x="821801" y="1103268"/>
                  <a:pt x="821801" y="1105090"/>
                  <a:pt x="821801" y="1106912"/>
                </a:cubicBezTo>
                <a:cubicBezTo>
                  <a:pt x="825445" y="1106912"/>
                  <a:pt x="823623" y="1099623"/>
                  <a:pt x="821801" y="1101445"/>
                </a:cubicBezTo>
                <a:close/>
                <a:moveTo>
                  <a:pt x="599496" y="1101445"/>
                </a:moveTo>
                <a:cubicBezTo>
                  <a:pt x="597673" y="1103268"/>
                  <a:pt x="606784" y="1106912"/>
                  <a:pt x="608606" y="1108734"/>
                </a:cubicBezTo>
                <a:cubicBezTo>
                  <a:pt x="610429" y="1105090"/>
                  <a:pt x="604963" y="1099623"/>
                  <a:pt x="599496" y="1101445"/>
                </a:cubicBezTo>
                <a:close/>
                <a:moveTo>
                  <a:pt x="457367" y="1101445"/>
                </a:moveTo>
                <a:cubicBezTo>
                  <a:pt x="459188" y="1103268"/>
                  <a:pt x="462832" y="1105090"/>
                  <a:pt x="464655" y="1106912"/>
                </a:cubicBezTo>
                <a:cubicBezTo>
                  <a:pt x="471943" y="1105090"/>
                  <a:pt x="461010" y="1105090"/>
                  <a:pt x="461010" y="1101445"/>
                </a:cubicBezTo>
                <a:cubicBezTo>
                  <a:pt x="461010" y="1101445"/>
                  <a:pt x="459188" y="1101445"/>
                  <a:pt x="457367" y="1101445"/>
                </a:cubicBezTo>
                <a:close/>
                <a:moveTo>
                  <a:pt x="205906" y="1101445"/>
                </a:moveTo>
                <a:cubicBezTo>
                  <a:pt x="205906" y="1105090"/>
                  <a:pt x="211372" y="1105090"/>
                  <a:pt x="213195" y="1108734"/>
                </a:cubicBezTo>
                <a:cubicBezTo>
                  <a:pt x="213195" y="1103268"/>
                  <a:pt x="209550" y="1105090"/>
                  <a:pt x="205906" y="1101445"/>
                </a:cubicBezTo>
                <a:close/>
                <a:moveTo>
                  <a:pt x="184040" y="1101445"/>
                </a:moveTo>
                <a:cubicBezTo>
                  <a:pt x="189506" y="1108734"/>
                  <a:pt x="198617" y="1108734"/>
                  <a:pt x="205906" y="1112378"/>
                </a:cubicBezTo>
                <a:cubicBezTo>
                  <a:pt x="200439" y="1106912"/>
                  <a:pt x="191329" y="1106912"/>
                  <a:pt x="184040" y="1101445"/>
                </a:cubicBezTo>
                <a:close/>
                <a:moveTo>
                  <a:pt x="143952" y="1101445"/>
                </a:moveTo>
                <a:lnTo>
                  <a:pt x="160113" y="1110981"/>
                </a:lnTo>
                <a:lnTo>
                  <a:pt x="157847" y="1110101"/>
                </a:lnTo>
                <a:cubicBezTo>
                  <a:pt x="153063" y="1107368"/>
                  <a:pt x="148508" y="1104179"/>
                  <a:pt x="143952" y="1101445"/>
                </a:cubicBezTo>
                <a:close/>
                <a:moveTo>
                  <a:pt x="490848" y="1100989"/>
                </a:moveTo>
                <a:cubicBezTo>
                  <a:pt x="489254" y="1100534"/>
                  <a:pt x="487432" y="1100534"/>
                  <a:pt x="486521" y="1101445"/>
                </a:cubicBezTo>
                <a:cubicBezTo>
                  <a:pt x="488343" y="1105090"/>
                  <a:pt x="490165" y="1103268"/>
                  <a:pt x="493809" y="1103268"/>
                </a:cubicBezTo>
                <a:cubicBezTo>
                  <a:pt x="493809" y="1102356"/>
                  <a:pt x="492442" y="1101445"/>
                  <a:pt x="490848" y="1100989"/>
                </a:cubicBezTo>
                <a:close/>
                <a:moveTo>
                  <a:pt x="260344" y="1099623"/>
                </a:moveTo>
                <a:cubicBezTo>
                  <a:pt x="259205" y="1099168"/>
                  <a:pt x="257838" y="1099623"/>
                  <a:pt x="256927" y="1101445"/>
                </a:cubicBezTo>
                <a:cubicBezTo>
                  <a:pt x="258749" y="1105090"/>
                  <a:pt x="260571" y="1101445"/>
                  <a:pt x="262393" y="1103268"/>
                </a:cubicBezTo>
                <a:cubicBezTo>
                  <a:pt x="262393" y="1101446"/>
                  <a:pt x="261482" y="1100079"/>
                  <a:pt x="260344" y="1099623"/>
                </a:cubicBezTo>
                <a:close/>
                <a:moveTo>
                  <a:pt x="872822" y="1099623"/>
                </a:moveTo>
                <a:cubicBezTo>
                  <a:pt x="872822" y="1105090"/>
                  <a:pt x="871000" y="1110556"/>
                  <a:pt x="876466" y="1110556"/>
                </a:cubicBezTo>
                <a:cubicBezTo>
                  <a:pt x="876466" y="1106912"/>
                  <a:pt x="874644" y="1105090"/>
                  <a:pt x="872822" y="1103268"/>
                </a:cubicBezTo>
                <a:cubicBezTo>
                  <a:pt x="872822" y="1103268"/>
                  <a:pt x="874644" y="1105090"/>
                  <a:pt x="874644" y="1105090"/>
                </a:cubicBezTo>
                <a:cubicBezTo>
                  <a:pt x="874644" y="1103268"/>
                  <a:pt x="874644" y="1099623"/>
                  <a:pt x="872822" y="1099623"/>
                </a:cubicBezTo>
                <a:close/>
                <a:moveTo>
                  <a:pt x="847311" y="1099623"/>
                </a:moveTo>
                <a:cubicBezTo>
                  <a:pt x="847311" y="1103268"/>
                  <a:pt x="850956" y="1105090"/>
                  <a:pt x="850956" y="1108734"/>
                </a:cubicBezTo>
                <a:cubicBezTo>
                  <a:pt x="850956" y="1108734"/>
                  <a:pt x="854600" y="1106912"/>
                  <a:pt x="854600" y="1105090"/>
                </a:cubicBezTo>
                <a:cubicBezTo>
                  <a:pt x="850956" y="1105090"/>
                  <a:pt x="854600" y="1105090"/>
                  <a:pt x="854600" y="1099623"/>
                </a:cubicBezTo>
                <a:cubicBezTo>
                  <a:pt x="850956" y="1097801"/>
                  <a:pt x="849133" y="1103268"/>
                  <a:pt x="847311" y="1099623"/>
                </a:cubicBezTo>
                <a:close/>
                <a:moveTo>
                  <a:pt x="676027" y="1099623"/>
                </a:moveTo>
                <a:cubicBezTo>
                  <a:pt x="670560" y="1108734"/>
                  <a:pt x="676027" y="1121489"/>
                  <a:pt x="683316" y="1116023"/>
                </a:cubicBezTo>
                <a:cubicBezTo>
                  <a:pt x="686960" y="1119667"/>
                  <a:pt x="686960" y="1121489"/>
                  <a:pt x="688782" y="1123312"/>
                </a:cubicBezTo>
                <a:cubicBezTo>
                  <a:pt x="688782" y="1119667"/>
                  <a:pt x="685138" y="1108734"/>
                  <a:pt x="679671" y="1110556"/>
                </a:cubicBezTo>
                <a:cubicBezTo>
                  <a:pt x="677849" y="1108734"/>
                  <a:pt x="681493" y="1108734"/>
                  <a:pt x="681493" y="1106912"/>
                </a:cubicBezTo>
                <a:cubicBezTo>
                  <a:pt x="679671" y="1101445"/>
                  <a:pt x="677849" y="1106912"/>
                  <a:pt x="676027" y="1099623"/>
                </a:cubicBezTo>
                <a:close/>
                <a:moveTo>
                  <a:pt x="521142" y="1099623"/>
                </a:moveTo>
                <a:cubicBezTo>
                  <a:pt x="522964" y="1101445"/>
                  <a:pt x="524786" y="1103268"/>
                  <a:pt x="528431" y="1105090"/>
                </a:cubicBezTo>
                <a:cubicBezTo>
                  <a:pt x="530253" y="1103268"/>
                  <a:pt x="522964" y="1099623"/>
                  <a:pt x="521142" y="1099623"/>
                </a:cubicBezTo>
                <a:close/>
                <a:moveTo>
                  <a:pt x="267860" y="1099623"/>
                </a:moveTo>
                <a:cubicBezTo>
                  <a:pt x="269682" y="1105090"/>
                  <a:pt x="271504" y="1103268"/>
                  <a:pt x="273327" y="1101445"/>
                </a:cubicBezTo>
                <a:cubicBezTo>
                  <a:pt x="271504" y="1101445"/>
                  <a:pt x="269682" y="1101445"/>
                  <a:pt x="267860" y="1099623"/>
                </a:cubicBezTo>
                <a:close/>
                <a:moveTo>
                  <a:pt x="296331" y="1099167"/>
                </a:moveTo>
                <a:cubicBezTo>
                  <a:pt x="295193" y="1100078"/>
                  <a:pt x="294281" y="1101445"/>
                  <a:pt x="293370" y="1101445"/>
                </a:cubicBezTo>
                <a:cubicBezTo>
                  <a:pt x="295193" y="1101445"/>
                  <a:pt x="298837" y="1099623"/>
                  <a:pt x="300660" y="1099623"/>
                </a:cubicBezTo>
                <a:cubicBezTo>
                  <a:pt x="298837" y="1097801"/>
                  <a:pt x="297470" y="1098256"/>
                  <a:pt x="296331" y="1099167"/>
                </a:cubicBezTo>
                <a:close/>
                <a:moveTo>
                  <a:pt x="529444" y="1098813"/>
                </a:moveTo>
                <a:lnTo>
                  <a:pt x="532075" y="1101445"/>
                </a:lnTo>
                <a:lnTo>
                  <a:pt x="530731" y="1100677"/>
                </a:lnTo>
                <a:lnTo>
                  <a:pt x="529797" y="1099851"/>
                </a:lnTo>
                <a:close/>
                <a:moveTo>
                  <a:pt x="2295940" y="1097801"/>
                </a:moveTo>
                <a:cubicBezTo>
                  <a:pt x="2294117" y="1099623"/>
                  <a:pt x="2292295" y="1106912"/>
                  <a:pt x="2297762" y="1105090"/>
                </a:cubicBezTo>
                <a:cubicBezTo>
                  <a:pt x="2295940" y="1097801"/>
                  <a:pt x="2301406" y="1103268"/>
                  <a:pt x="2303228" y="1097801"/>
                </a:cubicBezTo>
                <a:cubicBezTo>
                  <a:pt x="2299584" y="1099623"/>
                  <a:pt x="2299584" y="1095979"/>
                  <a:pt x="2295940" y="1097801"/>
                </a:cubicBezTo>
                <a:close/>
                <a:moveTo>
                  <a:pt x="1104238" y="1097801"/>
                </a:moveTo>
                <a:cubicBezTo>
                  <a:pt x="1102416" y="1099623"/>
                  <a:pt x="1106060" y="1099623"/>
                  <a:pt x="1104238" y="1101445"/>
                </a:cubicBezTo>
                <a:cubicBezTo>
                  <a:pt x="1102416" y="1103268"/>
                  <a:pt x="1104238" y="1099623"/>
                  <a:pt x="1102416" y="1099623"/>
                </a:cubicBezTo>
                <a:cubicBezTo>
                  <a:pt x="1100593" y="1099623"/>
                  <a:pt x="1100593" y="1101445"/>
                  <a:pt x="1098771" y="1101445"/>
                </a:cubicBezTo>
                <a:cubicBezTo>
                  <a:pt x="1095127" y="1103268"/>
                  <a:pt x="1095127" y="1105090"/>
                  <a:pt x="1095127" y="1106912"/>
                </a:cubicBezTo>
                <a:cubicBezTo>
                  <a:pt x="1096949" y="1108734"/>
                  <a:pt x="1100593" y="1112378"/>
                  <a:pt x="1102416" y="1112378"/>
                </a:cubicBezTo>
                <a:cubicBezTo>
                  <a:pt x="1104238" y="1110556"/>
                  <a:pt x="1102416" y="1110556"/>
                  <a:pt x="1104238" y="1108734"/>
                </a:cubicBezTo>
                <a:cubicBezTo>
                  <a:pt x="1106060" y="1110556"/>
                  <a:pt x="1106060" y="1112378"/>
                  <a:pt x="1107882" y="1114201"/>
                </a:cubicBezTo>
                <a:cubicBezTo>
                  <a:pt x="1107882" y="1110556"/>
                  <a:pt x="1109704" y="1106912"/>
                  <a:pt x="1111526" y="1103268"/>
                </a:cubicBezTo>
                <a:cubicBezTo>
                  <a:pt x="1109704" y="1101445"/>
                  <a:pt x="1109704" y="1101445"/>
                  <a:pt x="1107882" y="1099623"/>
                </a:cubicBezTo>
                <a:cubicBezTo>
                  <a:pt x="1106060" y="1101445"/>
                  <a:pt x="1107882" y="1101445"/>
                  <a:pt x="1106060" y="1103268"/>
                </a:cubicBezTo>
                <a:cubicBezTo>
                  <a:pt x="1104238" y="1101445"/>
                  <a:pt x="1106060" y="1099623"/>
                  <a:pt x="1104238" y="1097801"/>
                </a:cubicBezTo>
                <a:close/>
                <a:moveTo>
                  <a:pt x="1055040" y="1097801"/>
                </a:moveTo>
                <a:cubicBezTo>
                  <a:pt x="1053217" y="1099623"/>
                  <a:pt x="1053217" y="1101445"/>
                  <a:pt x="1049573" y="1103268"/>
                </a:cubicBezTo>
                <a:cubicBezTo>
                  <a:pt x="1051395" y="1106912"/>
                  <a:pt x="1047750" y="1108734"/>
                  <a:pt x="1051395" y="1110556"/>
                </a:cubicBezTo>
                <a:cubicBezTo>
                  <a:pt x="1053217" y="1108734"/>
                  <a:pt x="1056861" y="1101445"/>
                  <a:pt x="1055040" y="1097801"/>
                </a:cubicBezTo>
                <a:close/>
                <a:moveTo>
                  <a:pt x="1042284" y="1097801"/>
                </a:moveTo>
                <a:cubicBezTo>
                  <a:pt x="1040462" y="1097801"/>
                  <a:pt x="1040462" y="1105090"/>
                  <a:pt x="1042284" y="1105090"/>
                </a:cubicBezTo>
                <a:cubicBezTo>
                  <a:pt x="1045929" y="1103268"/>
                  <a:pt x="1038639" y="1099623"/>
                  <a:pt x="1042284" y="1097801"/>
                </a:cubicBezTo>
                <a:close/>
                <a:moveTo>
                  <a:pt x="971219" y="1097801"/>
                </a:moveTo>
                <a:cubicBezTo>
                  <a:pt x="974863" y="1101445"/>
                  <a:pt x="974863" y="1101445"/>
                  <a:pt x="974863" y="1105090"/>
                </a:cubicBezTo>
                <a:lnTo>
                  <a:pt x="975704" y="1104249"/>
                </a:lnTo>
                <a:lnTo>
                  <a:pt x="975091" y="1106001"/>
                </a:lnTo>
                <a:cubicBezTo>
                  <a:pt x="974408" y="1107367"/>
                  <a:pt x="973952" y="1108734"/>
                  <a:pt x="974863" y="1110556"/>
                </a:cubicBezTo>
                <a:cubicBezTo>
                  <a:pt x="976686" y="1108734"/>
                  <a:pt x="976686" y="1108734"/>
                  <a:pt x="976686" y="1106912"/>
                </a:cubicBezTo>
                <a:cubicBezTo>
                  <a:pt x="978508" y="1105090"/>
                  <a:pt x="976686" y="1108734"/>
                  <a:pt x="978508" y="1108734"/>
                </a:cubicBezTo>
                <a:cubicBezTo>
                  <a:pt x="980330" y="1106912"/>
                  <a:pt x="978508" y="1105090"/>
                  <a:pt x="976686" y="1101445"/>
                </a:cubicBezTo>
                <a:lnTo>
                  <a:pt x="976310" y="1102517"/>
                </a:lnTo>
                <a:lnTo>
                  <a:pt x="974636" y="1099167"/>
                </a:lnTo>
                <a:cubicBezTo>
                  <a:pt x="973497" y="1097801"/>
                  <a:pt x="972131" y="1096890"/>
                  <a:pt x="971219" y="1097801"/>
                </a:cubicBezTo>
                <a:close/>
                <a:moveTo>
                  <a:pt x="880111" y="1097801"/>
                </a:moveTo>
                <a:cubicBezTo>
                  <a:pt x="878288" y="1101445"/>
                  <a:pt x="885577" y="1106912"/>
                  <a:pt x="887399" y="1103268"/>
                </a:cubicBezTo>
                <a:cubicBezTo>
                  <a:pt x="885577" y="1099623"/>
                  <a:pt x="881933" y="1099623"/>
                  <a:pt x="880111" y="1097801"/>
                </a:cubicBezTo>
                <a:close/>
                <a:moveTo>
                  <a:pt x="767136" y="1097801"/>
                </a:moveTo>
                <a:cubicBezTo>
                  <a:pt x="765313" y="1099623"/>
                  <a:pt x="763491" y="1108734"/>
                  <a:pt x="767136" y="1108734"/>
                </a:cubicBezTo>
                <a:cubicBezTo>
                  <a:pt x="768959" y="1105090"/>
                  <a:pt x="767136" y="1101445"/>
                  <a:pt x="767136" y="1097801"/>
                </a:cubicBezTo>
                <a:close/>
                <a:moveTo>
                  <a:pt x="621362" y="1097801"/>
                </a:moveTo>
                <a:cubicBezTo>
                  <a:pt x="619539" y="1099623"/>
                  <a:pt x="626828" y="1103268"/>
                  <a:pt x="628650" y="1103268"/>
                </a:cubicBezTo>
                <a:cubicBezTo>
                  <a:pt x="628650" y="1101445"/>
                  <a:pt x="626828" y="1099623"/>
                  <a:pt x="625006" y="1097801"/>
                </a:cubicBezTo>
                <a:cubicBezTo>
                  <a:pt x="623185" y="1097801"/>
                  <a:pt x="623185" y="1099623"/>
                  <a:pt x="621362" y="1097801"/>
                </a:cubicBezTo>
                <a:close/>
                <a:moveTo>
                  <a:pt x="570341" y="1097801"/>
                </a:moveTo>
                <a:cubicBezTo>
                  <a:pt x="566697" y="1101445"/>
                  <a:pt x="573985" y="1103268"/>
                  <a:pt x="572163" y="1106912"/>
                </a:cubicBezTo>
                <a:cubicBezTo>
                  <a:pt x="575808" y="1105090"/>
                  <a:pt x="577630" y="1103268"/>
                  <a:pt x="577630" y="1101445"/>
                </a:cubicBezTo>
                <a:cubicBezTo>
                  <a:pt x="573985" y="1097801"/>
                  <a:pt x="572163" y="1099623"/>
                  <a:pt x="570341" y="1097801"/>
                </a:cubicBezTo>
                <a:close/>
                <a:moveTo>
                  <a:pt x="340747" y="1097801"/>
                </a:moveTo>
                <a:cubicBezTo>
                  <a:pt x="337102" y="1099623"/>
                  <a:pt x="335280" y="1097801"/>
                  <a:pt x="333458" y="1099623"/>
                </a:cubicBezTo>
                <a:cubicBezTo>
                  <a:pt x="333458" y="1103268"/>
                  <a:pt x="342569" y="1103268"/>
                  <a:pt x="346213" y="1105090"/>
                </a:cubicBezTo>
                <a:cubicBezTo>
                  <a:pt x="348037" y="1103268"/>
                  <a:pt x="342569" y="1099623"/>
                  <a:pt x="340747" y="1097801"/>
                </a:cubicBezTo>
                <a:close/>
                <a:moveTo>
                  <a:pt x="282438" y="1097801"/>
                </a:moveTo>
                <a:cubicBezTo>
                  <a:pt x="287904" y="1101445"/>
                  <a:pt x="289726" y="1097801"/>
                  <a:pt x="293370" y="1097801"/>
                </a:cubicBezTo>
                <a:cubicBezTo>
                  <a:pt x="289726" y="1095979"/>
                  <a:pt x="286082" y="1097801"/>
                  <a:pt x="282438" y="1097801"/>
                </a:cubicBezTo>
                <a:close/>
                <a:moveTo>
                  <a:pt x="326853" y="1097345"/>
                </a:moveTo>
                <a:cubicBezTo>
                  <a:pt x="325258" y="1096890"/>
                  <a:pt x="323436" y="1096890"/>
                  <a:pt x="322525" y="1097801"/>
                </a:cubicBezTo>
                <a:cubicBezTo>
                  <a:pt x="324347" y="1099623"/>
                  <a:pt x="326169" y="1097801"/>
                  <a:pt x="329814" y="1099623"/>
                </a:cubicBezTo>
                <a:cubicBezTo>
                  <a:pt x="329814" y="1098712"/>
                  <a:pt x="328447" y="1097801"/>
                  <a:pt x="326853" y="1097345"/>
                </a:cubicBezTo>
                <a:close/>
                <a:moveTo>
                  <a:pt x="3024809" y="1095979"/>
                </a:moveTo>
                <a:cubicBezTo>
                  <a:pt x="3019343" y="1099623"/>
                  <a:pt x="3024809" y="1108734"/>
                  <a:pt x="3030276" y="1106912"/>
                </a:cubicBezTo>
                <a:cubicBezTo>
                  <a:pt x="3032098" y="1101445"/>
                  <a:pt x="3024809" y="1103268"/>
                  <a:pt x="3024809" y="1095979"/>
                </a:cubicBezTo>
                <a:close/>
                <a:moveTo>
                  <a:pt x="2884502" y="1095979"/>
                </a:moveTo>
                <a:cubicBezTo>
                  <a:pt x="2869924" y="1108734"/>
                  <a:pt x="2849880" y="1117845"/>
                  <a:pt x="2842592" y="1134245"/>
                </a:cubicBezTo>
                <a:cubicBezTo>
                  <a:pt x="2848058" y="1136067"/>
                  <a:pt x="2848058" y="1141533"/>
                  <a:pt x="2855347" y="1141533"/>
                </a:cubicBezTo>
                <a:cubicBezTo>
                  <a:pt x="2857169" y="1137889"/>
                  <a:pt x="2857169" y="1134245"/>
                  <a:pt x="2858991" y="1130600"/>
                </a:cubicBezTo>
                <a:cubicBezTo>
                  <a:pt x="2860813" y="1132422"/>
                  <a:pt x="2860813" y="1132422"/>
                  <a:pt x="2862636" y="1130600"/>
                </a:cubicBezTo>
                <a:cubicBezTo>
                  <a:pt x="2857169" y="1125134"/>
                  <a:pt x="2864458" y="1125134"/>
                  <a:pt x="2866280" y="1119667"/>
                </a:cubicBezTo>
                <a:cubicBezTo>
                  <a:pt x="2866280" y="1117845"/>
                  <a:pt x="2864458" y="1117845"/>
                  <a:pt x="2864458" y="1116023"/>
                </a:cubicBezTo>
                <a:cubicBezTo>
                  <a:pt x="2875391" y="1116023"/>
                  <a:pt x="2875391" y="1101445"/>
                  <a:pt x="2884502" y="1095979"/>
                </a:cubicBezTo>
                <a:close/>
                <a:moveTo>
                  <a:pt x="2283184" y="1095979"/>
                </a:moveTo>
                <a:cubicBezTo>
                  <a:pt x="2281362" y="1097801"/>
                  <a:pt x="2281362" y="1101445"/>
                  <a:pt x="2281362" y="1105090"/>
                </a:cubicBezTo>
                <a:cubicBezTo>
                  <a:pt x="2288651" y="1105090"/>
                  <a:pt x="2288651" y="1101445"/>
                  <a:pt x="2292295" y="1099623"/>
                </a:cubicBezTo>
                <a:cubicBezTo>
                  <a:pt x="2288651" y="1097801"/>
                  <a:pt x="2290473" y="1095979"/>
                  <a:pt x="2283184" y="1095979"/>
                </a:cubicBezTo>
                <a:close/>
                <a:moveTo>
                  <a:pt x="1313788" y="1095979"/>
                </a:moveTo>
                <a:cubicBezTo>
                  <a:pt x="1315610" y="1097801"/>
                  <a:pt x="1317432" y="1099623"/>
                  <a:pt x="1317432" y="1101445"/>
                </a:cubicBezTo>
                <a:cubicBezTo>
                  <a:pt x="1313788" y="1103268"/>
                  <a:pt x="1311966" y="1108734"/>
                  <a:pt x="1306499" y="1108734"/>
                </a:cubicBezTo>
                <a:cubicBezTo>
                  <a:pt x="1308321" y="1103268"/>
                  <a:pt x="1310143" y="1099623"/>
                  <a:pt x="1313788" y="1095979"/>
                </a:cubicBezTo>
                <a:close/>
                <a:moveTo>
                  <a:pt x="1171658" y="1095979"/>
                </a:moveTo>
                <a:cubicBezTo>
                  <a:pt x="1168014" y="1094157"/>
                  <a:pt x="1166192" y="1099623"/>
                  <a:pt x="1158903" y="1099623"/>
                </a:cubicBezTo>
                <a:cubicBezTo>
                  <a:pt x="1157081" y="1099623"/>
                  <a:pt x="1153436" y="1101445"/>
                  <a:pt x="1153436" y="1103268"/>
                </a:cubicBezTo>
                <a:cubicBezTo>
                  <a:pt x="1155259" y="1106912"/>
                  <a:pt x="1158903" y="1105090"/>
                  <a:pt x="1162547" y="1106912"/>
                </a:cubicBezTo>
                <a:cubicBezTo>
                  <a:pt x="1164370" y="1103268"/>
                  <a:pt x="1171658" y="1099623"/>
                  <a:pt x="1171658" y="1095979"/>
                </a:cubicBezTo>
                <a:close/>
                <a:moveTo>
                  <a:pt x="968258" y="1094840"/>
                </a:moveTo>
                <a:cubicBezTo>
                  <a:pt x="967575" y="1095523"/>
                  <a:pt x="967575" y="1096890"/>
                  <a:pt x="969397" y="1097801"/>
                </a:cubicBezTo>
                <a:cubicBezTo>
                  <a:pt x="969397" y="1097801"/>
                  <a:pt x="971219" y="1095979"/>
                  <a:pt x="971219" y="1095979"/>
                </a:cubicBezTo>
                <a:cubicBezTo>
                  <a:pt x="970308" y="1094157"/>
                  <a:pt x="968941" y="1094157"/>
                  <a:pt x="968258" y="1094840"/>
                </a:cubicBezTo>
                <a:close/>
                <a:moveTo>
                  <a:pt x="3604260" y="1094157"/>
                </a:moveTo>
                <a:cubicBezTo>
                  <a:pt x="3598794" y="1092335"/>
                  <a:pt x="3602438" y="1099623"/>
                  <a:pt x="3598794" y="1099623"/>
                </a:cubicBezTo>
                <a:cubicBezTo>
                  <a:pt x="3604260" y="1101445"/>
                  <a:pt x="3600616" y="1106912"/>
                  <a:pt x="3604260" y="1110556"/>
                </a:cubicBezTo>
                <a:cubicBezTo>
                  <a:pt x="3606082" y="1110556"/>
                  <a:pt x="3609727" y="1110556"/>
                  <a:pt x="3611549" y="1110556"/>
                </a:cubicBezTo>
                <a:cubicBezTo>
                  <a:pt x="3613371" y="1099623"/>
                  <a:pt x="3604260" y="1099623"/>
                  <a:pt x="3604260" y="1094157"/>
                </a:cubicBezTo>
                <a:close/>
                <a:moveTo>
                  <a:pt x="841845" y="1094157"/>
                </a:moveTo>
                <a:cubicBezTo>
                  <a:pt x="838200" y="1099623"/>
                  <a:pt x="838200" y="1097801"/>
                  <a:pt x="834556" y="1101445"/>
                </a:cubicBezTo>
                <a:cubicBezTo>
                  <a:pt x="838200" y="1099623"/>
                  <a:pt x="840022" y="1101445"/>
                  <a:pt x="843667" y="1097801"/>
                </a:cubicBezTo>
                <a:cubicBezTo>
                  <a:pt x="841845" y="1097801"/>
                  <a:pt x="843667" y="1095979"/>
                  <a:pt x="841845" y="1094157"/>
                </a:cubicBezTo>
                <a:close/>
                <a:moveTo>
                  <a:pt x="573985" y="1094157"/>
                </a:moveTo>
                <a:cubicBezTo>
                  <a:pt x="572163" y="1095979"/>
                  <a:pt x="579452" y="1097801"/>
                  <a:pt x="581274" y="1099623"/>
                </a:cubicBezTo>
                <a:cubicBezTo>
                  <a:pt x="583096" y="1099623"/>
                  <a:pt x="581274" y="1097801"/>
                  <a:pt x="583096" y="1097801"/>
                </a:cubicBezTo>
                <a:cubicBezTo>
                  <a:pt x="579452" y="1095979"/>
                  <a:pt x="577630" y="1097801"/>
                  <a:pt x="573985" y="1094157"/>
                </a:cubicBezTo>
                <a:close/>
                <a:moveTo>
                  <a:pt x="461010" y="1094157"/>
                </a:moveTo>
                <a:cubicBezTo>
                  <a:pt x="457367" y="1095979"/>
                  <a:pt x="462832" y="1097801"/>
                  <a:pt x="464655" y="1099623"/>
                </a:cubicBezTo>
                <a:cubicBezTo>
                  <a:pt x="466478" y="1097801"/>
                  <a:pt x="462832" y="1095979"/>
                  <a:pt x="461010" y="1094157"/>
                </a:cubicBezTo>
                <a:close/>
                <a:moveTo>
                  <a:pt x="399056" y="1094157"/>
                </a:moveTo>
                <a:cubicBezTo>
                  <a:pt x="399056" y="1095979"/>
                  <a:pt x="400879" y="1101445"/>
                  <a:pt x="404523" y="1099623"/>
                </a:cubicBezTo>
                <a:cubicBezTo>
                  <a:pt x="400879" y="1099623"/>
                  <a:pt x="402701" y="1097801"/>
                  <a:pt x="399056" y="1094157"/>
                </a:cubicBezTo>
                <a:close/>
                <a:moveTo>
                  <a:pt x="176751" y="1094157"/>
                </a:moveTo>
                <a:cubicBezTo>
                  <a:pt x="176751" y="1097801"/>
                  <a:pt x="182218" y="1101445"/>
                  <a:pt x="184040" y="1099623"/>
                </a:cubicBezTo>
                <a:cubicBezTo>
                  <a:pt x="182218" y="1095979"/>
                  <a:pt x="180396" y="1095979"/>
                  <a:pt x="176751" y="1094157"/>
                </a:cubicBezTo>
                <a:close/>
                <a:moveTo>
                  <a:pt x="3030457" y="1093069"/>
                </a:moveTo>
                <a:lnTo>
                  <a:pt x="3035287" y="1094840"/>
                </a:lnTo>
                <a:cubicBezTo>
                  <a:pt x="3035742" y="1095523"/>
                  <a:pt x="3034831" y="1095979"/>
                  <a:pt x="3033920" y="1095979"/>
                </a:cubicBezTo>
                <a:close/>
                <a:moveTo>
                  <a:pt x="3591505" y="1092335"/>
                </a:moveTo>
                <a:cubicBezTo>
                  <a:pt x="3589683" y="1092335"/>
                  <a:pt x="3587861" y="1094157"/>
                  <a:pt x="3587861" y="1097801"/>
                </a:cubicBezTo>
                <a:cubicBezTo>
                  <a:pt x="3589683" y="1095979"/>
                  <a:pt x="3591505" y="1097801"/>
                  <a:pt x="3591505" y="1097801"/>
                </a:cubicBezTo>
                <a:cubicBezTo>
                  <a:pt x="3595150" y="1095979"/>
                  <a:pt x="3587861" y="1094157"/>
                  <a:pt x="3591505" y="1092335"/>
                </a:cubicBezTo>
                <a:close/>
                <a:moveTo>
                  <a:pt x="3177872" y="1092335"/>
                </a:moveTo>
                <a:cubicBezTo>
                  <a:pt x="3170583" y="1095979"/>
                  <a:pt x="3165116" y="1110556"/>
                  <a:pt x="3166939" y="1119667"/>
                </a:cubicBezTo>
                <a:cubicBezTo>
                  <a:pt x="3172405" y="1116023"/>
                  <a:pt x="3186982" y="1106912"/>
                  <a:pt x="3179694" y="1099623"/>
                </a:cubicBezTo>
                <a:cubicBezTo>
                  <a:pt x="3179694" y="1101445"/>
                  <a:pt x="3177872" y="1103268"/>
                  <a:pt x="3177872" y="1105090"/>
                </a:cubicBezTo>
                <a:cubicBezTo>
                  <a:pt x="3174227" y="1103268"/>
                  <a:pt x="3183338" y="1097801"/>
                  <a:pt x="3177872" y="1092335"/>
                </a:cubicBezTo>
                <a:close/>
                <a:moveTo>
                  <a:pt x="3088585" y="1092335"/>
                </a:moveTo>
                <a:cubicBezTo>
                  <a:pt x="3092230" y="1095979"/>
                  <a:pt x="3095874" y="1099623"/>
                  <a:pt x="3095874" y="1106912"/>
                </a:cubicBezTo>
                <a:cubicBezTo>
                  <a:pt x="3094052" y="1110556"/>
                  <a:pt x="3092230" y="1103268"/>
                  <a:pt x="3090407" y="1106912"/>
                </a:cubicBezTo>
                <a:cubicBezTo>
                  <a:pt x="3084941" y="1106912"/>
                  <a:pt x="3081297" y="1110556"/>
                  <a:pt x="3079474" y="1114201"/>
                </a:cubicBezTo>
                <a:cubicBezTo>
                  <a:pt x="3077652" y="1117845"/>
                  <a:pt x="3079474" y="1119667"/>
                  <a:pt x="3081297" y="1119667"/>
                </a:cubicBezTo>
                <a:cubicBezTo>
                  <a:pt x="3077652" y="1121489"/>
                  <a:pt x="3077652" y="1125134"/>
                  <a:pt x="3074008" y="1128778"/>
                </a:cubicBezTo>
                <a:cubicBezTo>
                  <a:pt x="3073097" y="1128778"/>
                  <a:pt x="3073097" y="1126955"/>
                  <a:pt x="3072642" y="1125133"/>
                </a:cubicBezTo>
                <a:lnTo>
                  <a:pt x="3070487" y="1123218"/>
                </a:lnTo>
                <a:lnTo>
                  <a:pt x="3070819" y="1118073"/>
                </a:lnTo>
                <a:cubicBezTo>
                  <a:pt x="3073097" y="1115567"/>
                  <a:pt x="3076741" y="1113289"/>
                  <a:pt x="3079474" y="1112378"/>
                </a:cubicBezTo>
                <a:cubicBezTo>
                  <a:pt x="3079474" y="1106912"/>
                  <a:pt x="3077652" y="1103268"/>
                  <a:pt x="3077652" y="1097801"/>
                </a:cubicBezTo>
                <a:cubicBezTo>
                  <a:pt x="3081297" y="1103268"/>
                  <a:pt x="3084941" y="1101445"/>
                  <a:pt x="3090407" y="1105090"/>
                </a:cubicBezTo>
                <a:cubicBezTo>
                  <a:pt x="3090407" y="1097801"/>
                  <a:pt x="3084941" y="1099623"/>
                  <a:pt x="3083119" y="1094157"/>
                </a:cubicBezTo>
                <a:cubicBezTo>
                  <a:pt x="3084941" y="1092335"/>
                  <a:pt x="3086763" y="1095979"/>
                  <a:pt x="3088585" y="1092335"/>
                </a:cubicBezTo>
                <a:close/>
                <a:moveTo>
                  <a:pt x="2532822" y="1092335"/>
                </a:moveTo>
                <a:cubicBezTo>
                  <a:pt x="2532822" y="1095979"/>
                  <a:pt x="2534644" y="1101445"/>
                  <a:pt x="2538289" y="1101445"/>
                </a:cubicBezTo>
                <a:cubicBezTo>
                  <a:pt x="2536466" y="1094157"/>
                  <a:pt x="2538289" y="1095979"/>
                  <a:pt x="2540111" y="1092335"/>
                </a:cubicBezTo>
                <a:cubicBezTo>
                  <a:pt x="2538289" y="1092335"/>
                  <a:pt x="2536466" y="1092335"/>
                  <a:pt x="2532822" y="1092335"/>
                </a:cubicBezTo>
                <a:close/>
                <a:moveTo>
                  <a:pt x="1494183" y="1092335"/>
                </a:moveTo>
                <a:cubicBezTo>
                  <a:pt x="1496006" y="1095979"/>
                  <a:pt x="1496006" y="1090512"/>
                  <a:pt x="1497827" y="1092335"/>
                </a:cubicBezTo>
                <a:cubicBezTo>
                  <a:pt x="1497827" y="1099623"/>
                  <a:pt x="1496006" y="1106912"/>
                  <a:pt x="1497827" y="1114201"/>
                </a:cubicBezTo>
                <a:cubicBezTo>
                  <a:pt x="1499650" y="1116023"/>
                  <a:pt x="1499650" y="1114201"/>
                  <a:pt x="1501472" y="1116023"/>
                </a:cubicBezTo>
                <a:cubicBezTo>
                  <a:pt x="1501472" y="1117845"/>
                  <a:pt x="1499650" y="1121489"/>
                  <a:pt x="1503294" y="1121489"/>
                </a:cubicBezTo>
                <a:lnTo>
                  <a:pt x="1499819" y="1125542"/>
                </a:lnTo>
                <a:lnTo>
                  <a:pt x="1497827" y="1116023"/>
                </a:lnTo>
                <a:cubicBezTo>
                  <a:pt x="1492361" y="1119667"/>
                  <a:pt x="1492361" y="1125134"/>
                  <a:pt x="1486895" y="1125134"/>
                </a:cubicBezTo>
                <a:cubicBezTo>
                  <a:pt x="1497827" y="1117845"/>
                  <a:pt x="1497827" y="1105090"/>
                  <a:pt x="1496006" y="1097801"/>
                </a:cubicBezTo>
                <a:cubicBezTo>
                  <a:pt x="1494183" y="1099623"/>
                  <a:pt x="1496006" y="1099623"/>
                  <a:pt x="1494183" y="1099623"/>
                </a:cubicBezTo>
                <a:cubicBezTo>
                  <a:pt x="1496006" y="1097801"/>
                  <a:pt x="1494183" y="1094157"/>
                  <a:pt x="1494183" y="1092335"/>
                </a:cubicBezTo>
                <a:close/>
                <a:moveTo>
                  <a:pt x="938420" y="1092335"/>
                </a:moveTo>
                <a:cubicBezTo>
                  <a:pt x="934777" y="1094157"/>
                  <a:pt x="936598" y="1097801"/>
                  <a:pt x="934777" y="1099623"/>
                </a:cubicBezTo>
                <a:cubicBezTo>
                  <a:pt x="938420" y="1099623"/>
                  <a:pt x="940242" y="1094157"/>
                  <a:pt x="938420" y="1092335"/>
                </a:cubicBezTo>
                <a:close/>
                <a:moveTo>
                  <a:pt x="847311" y="1092335"/>
                </a:moveTo>
                <a:cubicBezTo>
                  <a:pt x="847311" y="1094157"/>
                  <a:pt x="847311" y="1095979"/>
                  <a:pt x="847311" y="1095979"/>
                </a:cubicBezTo>
                <a:cubicBezTo>
                  <a:pt x="849133" y="1092335"/>
                  <a:pt x="850956" y="1095979"/>
                  <a:pt x="852778" y="1094157"/>
                </a:cubicBezTo>
                <a:cubicBezTo>
                  <a:pt x="850956" y="1092335"/>
                  <a:pt x="849133" y="1092335"/>
                  <a:pt x="847311" y="1092335"/>
                </a:cubicBezTo>
                <a:close/>
                <a:moveTo>
                  <a:pt x="488343" y="1092335"/>
                </a:moveTo>
                <a:cubicBezTo>
                  <a:pt x="495632" y="1094157"/>
                  <a:pt x="499276" y="1103268"/>
                  <a:pt x="506565" y="1101445"/>
                </a:cubicBezTo>
                <a:cubicBezTo>
                  <a:pt x="499276" y="1099623"/>
                  <a:pt x="493809" y="1092335"/>
                  <a:pt x="488343" y="1092335"/>
                </a:cubicBezTo>
                <a:close/>
                <a:moveTo>
                  <a:pt x="353502" y="1092335"/>
                </a:moveTo>
                <a:cubicBezTo>
                  <a:pt x="355324" y="1095979"/>
                  <a:pt x="362613" y="1095979"/>
                  <a:pt x="360791" y="1094157"/>
                </a:cubicBezTo>
                <a:cubicBezTo>
                  <a:pt x="358969" y="1092335"/>
                  <a:pt x="357146" y="1094157"/>
                  <a:pt x="353502" y="1092335"/>
                </a:cubicBezTo>
                <a:close/>
                <a:moveTo>
                  <a:pt x="225950" y="1092335"/>
                </a:moveTo>
                <a:cubicBezTo>
                  <a:pt x="227772" y="1097801"/>
                  <a:pt x="233239" y="1097801"/>
                  <a:pt x="235061" y="1099623"/>
                </a:cubicBezTo>
                <a:cubicBezTo>
                  <a:pt x="235061" y="1095979"/>
                  <a:pt x="229594" y="1095979"/>
                  <a:pt x="225950" y="1092335"/>
                </a:cubicBezTo>
                <a:close/>
                <a:moveTo>
                  <a:pt x="3271030" y="1092334"/>
                </a:moveTo>
                <a:cubicBezTo>
                  <a:pt x="3268525" y="1090968"/>
                  <a:pt x="3265336" y="1090512"/>
                  <a:pt x="3263514" y="1092335"/>
                </a:cubicBezTo>
                <a:cubicBezTo>
                  <a:pt x="3265336" y="1097801"/>
                  <a:pt x="3270803" y="1095979"/>
                  <a:pt x="3274447" y="1097801"/>
                </a:cubicBezTo>
                <a:cubicBezTo>
                  <a:pt x="3275358" y="1095979"/>
                  <a:pt x="3273536" y="1093701"/>
                  <a:pt x="3271030" y="1092334"/>
                </a:cubicBezTo>
                <a:close/>
                <a:moveTo>
                  <a:pt x="3191842" y="1091120"/>
                </a:moveTo>
                <a:lnTo>
                  <a:pt x="3192677" y="1091196"/>
                </a:lnTo>
                <a:lnTo>
                  <a:pt x="3193056" y="1091727"/>
                </a:lnTo>
                <a:close/>
                <a:moveTo>
                  <a:pt x="3627949" y="1090512"/>
                </a:moveTo>
                <a:cubicBezTo>
                  <a:pt x="3618838" y="1094157"/>
                  <a:pt x="3633415" y="1099623"/>
                  <a:pt x="3629771" y="1105090"/>
                </a:cubicBezTo>
                <a:cubicBezTo>
                  <a:pt x="3635237" y="1101445"/>
                  <a:pt x="3629771" y="1095979"/>
                  <a:pt x="3627949" y="1090512"/>
                </a:cubicBezTo>
                <a:close/>
                <a:moveTo>
                  <a:pt x="3617016" y="1090512"/>
                </a:moveTo>
                <a:cubicBezTo>
                  <a:pt x="3613371" y="1090512"/>
                  <a:pt x="3607905" y="1090512"/>
                  <a:pt x="3606082" y="1092335"/>
                </a:cubicBezTo>
                <a:cubicBezTo>
                  <a:pt x="3609727" y="1095979"/>
                  <a:pt x="3611549" y="1099623"/>
                  <a:pt x="3617016" y="1095979"/>
                </a:cubicBezTo>
                <a:cubicBezTo>
                  <a:pt x="3620660" y="1095979"/>
                  <a:pt x="3615193" y="1094157"/>
                  <a:pt x="3617016" y="1090512"/>
                </a:cubicBezTo>
                <a:close/>
                <a:moveTo>
                  <a:pt x="1071439" y="1090512"/>
                </a:moveTo>
                <a:cubicBezTo>
                  <a:pt x="1071439" y="1090512"/>
                  <a:pt x="1069616" y="1090512"/>
                  <a:pt x="1067794" y="1092335"/>
                </a:cubicBezTo>
                <a:cubicBezTo>
                  <a:pt x="1069616" y="1095979"/>
                  <a:pt x="1067794" y="1097801"/>
                  <a:pt x="1071439" y="1099623"/>
                </a:cubicBezTo>
                <a:cubicBezTo>
                  <a:pt x="1073262" y="1099623"/>
                  <a:pt x="1073262" y="1097801"/>
                  <a:pt x="1075083" y="1095979"/>
                </a:cubicBezTo>
                <a:cubicBezTo>
                  <a:pt x="1071439" y="1094157"/>
                  <a:pt x="1069616" y="1094157"/>
                  <a:pt x="1071439" y="1090512"/>
                </a:cubicBezTo>
                <a:close/>
                <a:moveTo>
                  <a:pt x="774424" y="1090512"/>
                </a:moveTo>
                <a:cubicBezTo>
                  <a:pt x="772602" y="1094157"/>
                  <a:pt x="776246" y="1103268"/>
                  <a:pt x="779892" y="1101445"/>
                </a:cubicBezTo>
                <a:cubicBezTo>
                  <a:pt x="778070" y="1099623"/>
                  <a:pt x="774424" y="1095979"/>
                  <a:pt x="778070" y="1094157"/>
                </a:cubicBezTo>
                <a:cubicBezTo>
                  <a:pt x="776246" y="1090512"/>
                  <a:pt x="776246" y="1092335"/>
                  <a:pt x="774424" y="1090512"/>
                </a:cubicBezTo>
                <a:close/>
                <a:moveTo>
                  <a:pt x="552119" y="1090512"/>
                </a:moveTo>
                <a:cubicBezTo>
                  <a:pt x="539364" y="1097801"/>
                  <a:pt x="559408" y="1106912"/>
                  <a:pt x="564874" y="1114201"/>
                </a:cubicBezTo>
                <a:cubicBezTo>
                  <a:pt x="566697" y="1110556"/>
                  <a:pt x="566697" y="1105090"/>
                  <a:pt x="568519" y="1099623"/>
                </a:cubicBezTo>
                <a:cubicBezTo>
                  <a:pt x="563052" y="1095979"/>
                  <a:pt x="559408" y="1095979"/>
                  <a:pt x="555763" y="1095979"/>
                </a:cubicBezTo>
                <a:cubicBezTo>
                  <a:pt x="555763" y="1094157"/>
                  <a:pt x="557586" y="1092335"/>
                  <a:pt x="559408" y="1094157"/>
                </a:cubicBezTo>
                <a:cubicBezTo>
                  <a:pt x="555763" y="1092335"/>
                  <a:pt x="553941" y="1088690"/>
                  <a:pt x="552119" y="1090512"/>
                </a:cubicBezTo>
                <a:close/>
                <a:moveTo>
                  <a:pt x="481054" y="1090512"/>
                </a:moveTo>
                <a:cubicBezTo>
                  <a:pt x="481054" y="1094157"/>
                  <a:pt x="484700" y="1095979"/>
                  <a:pt x="488343" y="1097801"/>
                </a:cubicBezTo>
                <a:lnTo>
                  <a:pt x="488343" y="1096760"/>
                </a:lnTo>
                <a:lnTo>
                  <a:pt x="493809" y="1101445"/>
                </a:lnTo>
                <a:cubicBezTo>
                  <a:pt x="491987" y="1099623"/>
                  <a:pt x="488343" y="1097801"/>
                  <a:pt x="488343" y="1095979"/>
                </a:cubicBezTo>
                <a:lnTo>
                  <a:pt x="488343" y="1096760"/>
                </a:lnTo>
                <a:close/>
                <a:moveTo>
                  <a:pt x="386301" y="1090512"/>
                </a:moveTo>
                <a:cubicBezTo>
                  <a:pt x="386301" y="1090512"/>
                  <a:pt x="384479" y="1092335"/>
                  <a:pt x="384479" y="1092335"/>
                </a:cubicBezTo>
                <a:cubicBezTo>
                  <a:pt x="382657" y="1095979"/>
                  <a:pt x="388123" y="1095979"/>
                  <a:pt x="391768" y="1099623"/>
                </a:cubicBezTo>
                <a:cubicBezTo>
                  <a:pt x="391768" y="1095979"/>
                  <a:pt x="389946" y="1094157"/>
                  <a:pt x="386301" y="1090512"/>
                </a:cubicBezTo>
                <a:close/>
                <a:moveTo>
                  <a:pt x="205906" y="1090512"/>
                </a:moveTo>
                <a:cubicBezTo>
                  <a:pt x="207728" y="1092335"/>
                  <a:pt x="209550" y="1095979"/>
                  <a:pt x="211372" y="1095979"/>
                </a:cubicBezTo>
                <a:cubicBezTo>
                  <a:pt x="213195" y="1092335"/>
                  <a:pt x="207728" y="1088690"/>
                  <a:pt x="205906" y="1090512"/>
                </a:cubicBezTo>
                <a:close/>
                <a:moveTo>
                  <a:pt x="189506" y="1090512"/>
                </a:moveTo>
                <a:cubicBezTo>
                  <a:pt x="189506" y="1095979"/>
                  <a:pt x="200439" y="1095979"/>
                  <a:pt x="204084" y="1099623"/>
                </a:cubicBezTo>
                <a:cubicBezTo>
                  <a:pt x="200439" y="1094157"/>
                  <a:pt x="193151" y="1088690"/>
                  <a:pt x="189506" y="1090512"/>
                </a:cubicBezTo>
                <a:close/>
                <a:moveTo>
                  <a:pt x="616806" y="1090057"/>
                </a:moveTo>
                <a:cubicBezTo>
                  <a:pt x="615440" y="1090057"/>
                  <a:pt x="614073" y="1090512"/>
                  <a:pt x="612251" y="1090512"/>
                </a:cubicBezTo>
                <a:cubicBezTo>
                  <a:pt x="612251" y="1092335"/>
                  <a:pt x="615895" y="1095979"/>
                  <a:pt x="619539" y="1097801"/>
                </a:cubicBezTo>
                <a:cubicBezTo>
                  <a:pt x="617717" y="1094157"/>
                  <a:pt x="619539" y="1094157"/>
                  <a:pt x="621362" y="1092335"/>
                </a:cubicBezTo>
                <a:cubicBezTo>
                  <a:pt x="619540" y="1090513"/>
                  <a:pt x="618173" y="1090057"/>
                  <a:pt x="616806" y="1090057"/>
                </a:cubicBezTo>
                <a:close/>
                <a:moveTo>
                  <a:pt x="3075830" y="1088765"/>
                </a:moveTo>
                <a:lnTo>
                  <a:pt x="3075830" y="1105165"/>
                </a:lnTo>
                <a:lnTo>
                  <a:pt x="3059430" y="1103343"/>
                </a:lnTo>
                <a:close/>
                <a:moveTo>
                  <a:pt x="3232537" y="1088690"/>
                </a:moveTo>
                <a:cubicBezTo>
                  <a:pt x="3228893" y="1088690"/>
                  <a:pt x="3227071" y="1088690"/>
                  <a:pt x="3225248" y="1090512"/>
                </a:cubicBezTo>
                <a:cubicBezTo>
                  <a:pt x="3225248" y="1092335"/>
                  <a:pt x="3234359" y="1092335"/>
                  <a:pt x="3232537" y="1088690"/>
                </a:cubicBezTo>
                <a:close/>
                <a:moveTo>
                  <a:pt x="2297762" y="1088690"/>
                </a:moveTo>
                <a:cubicBezTo>
                  <a:pt x="2294117" y="1086868"/>
                  <a:pt x="2292295" y="1088690"/>
                  <a:pt x="2290473" y="1090512"/>
                </a:cubicBezTo>
                <a:cubicBezTo>
                  <a:pt x="2290473" y="1094157"/>
                  <a:pt x="2297762" y="1092335"/>
                  <a:pt x="2297762" y="1088690"/>
                </a:cubicBezTo>
                <a:close/>
                <a:moveTo>
                  <a:pt x="1147970" y="1088690"/>
                </a:moveTo>
                <a:cubicBezTo>
                  <a:pt x="1140681" y="1094157"/>
                  <a:pt x="1137037" y="1095979"/>
                  <a:pt x="1131570" y="1101445"/>
                </a:cubicBezTo>
                <a:cubicBezTo>
                  <a:pt x="1137037" y="1105090"/>
                  <a:pt x="1151614" y="1097801"/>
                  <a:pt x="1147970" y="1088690"/>
                </a:cubicBezTo>
                <a:close/>
                <a:moveTo>
                  <a:pt x="881933" y="1088690"/>
                </a:moveTo>
                <a:cubicBezTo>
                  <a:pt x="880111" y="1090512"/>
                  <a:pt x="880111" y="1088690"/>
                  <a:pt x="878288" y="1090512"/>
                </a:cubicBezTo>
                <a:cubicBezTo>
                  <a:pt x="878288" y="1092335"/>
                  <a:pt x="880111" y="1090512"/>
                  <a:pt x="881933" y="1094157"/>
                </a:cubicBezTo>
                <a:cubicBezTo>
                  <a:pt x="883755" y="1092335"/>
                  <a:pt x="883755" y="1090512"/>
                  <a:pt x="881933" y="1088690"/>
                </a:cubicBezTo>
                <a:close/>
                <a:moveTo>
                  <a:pt x="807223" y="1088690"/>
                </a:moveTo>
                <a:cubicBezTo>
                  <a:pt x="805401" y="1094157"/>
                  <a:pt x="809046" y="1097801"/>
                  <a:pt x="810868" y="1103268"/>
                </a:cubicBezTo>
                <a:cubicBezTo>
                  <a:pt x="810868" y="1101445"/>
                  <a:pt x="812690" y="1101445"/>
                  <a:pt x="812690" y="1099623"/>
                </a:cubicBezTo>
                <a:cubicBezTo>
                  <a:pt x="812690" y="1095979"/>
                  <a:pt x="807223" y="1092335"/>
                  <a:pt x="807223" y="1088690"/>
                </a:cubicBezTo>
                <a:close/>
                <a:moveTo>
                  <a:pt x="759848" y="1088690"/>
                </a:moveTo>
                <a:cubicBezTo>
                  <a:pt x="759848" y="1092335"/>
                  <a:pt x="758025" y="1095979"/>
                  <a:pt x="761670" y="1099623"/>
                </a:cubicBezTo>
                <a:cubicBezTo>
                  <a:pt x="758025" y="1099623"/>
                  <a:pt x="758025" y="1106912"/>
                  <a:pt x="761670" y="1106912"/>
                </a:cubicBezTo>
                <a:cubicBezTo>
                  <a:pt x="765313" y="1105090"/>
                  <a:pt x="761670" y="1103268"/>
                  <a:pt x="761670" y="1099623"/>
                </a:cubicBezTo>
                <a:cubicBezTo>
                  <a:pt x="763491" y="1095979"/>
                  <a:pt x="763491" y="1094157"/>
                  <a:pt x="763491" y="1090512"/>
                </a:cubicBezTo>
                <a:cubicBezTo>
                  <a:pt x="761670" y="1088690"/>
                  <a:pt x="761670" y="1090512"/>
                  <a:pt x="759848" y="1088690"/>
                </a:cubicBezTo>
                <a:close/>
                <a:moveTo>
                  <a:pt x="557586" y="1088690"/>
                </a:moveTo>
                <a:cubicBezTo>
                  <a:pt x="555763" y="1092335"/>
                  <a:pt x="563052" y="1092335"/>
                  <a:pt x="564874" y="1094157"/>
                </a:cubicBezTo>
                <a:cubicBezTo>
                  <a:pt x="564874" y="1092335"/>
                  <a:pt x="559408" y="1090512"/>
                  <a:pt x="557586" y="1088690"/>
                </a:cubicBezTo>
                <a:close/>
                <a:moveTo>
                  <a:pt x="413634" y="1088690"/>
                </a:moveTo>
                <a:lnTo>
                  <a:pt x="426388" y="1103267"/>
                </a:lnTo>
                <a:lnTo>
                  <a:pt x="422745" y="1101445"/>
                </a:lnTo>
                <a:cubicBezTo>
                  <a:pt x="422745" y="1103268"/>
                  <a:pt x="424567" y="1105090"/>
                  <a:pt x="426389" y="1106912"/>
                </a:cubicBezTo>
                <a:cubicBezTo>
                  <a:pt x="428211" y="1105090"/>
                  <a:pt x="428211" y="1106912"/>
                  <a:pt x="430034" y="1105090"/>
                </a:cubicBezTo>
                <a:lnTo>
                  <a:pt x="426389" y="1103267"/>
                </a:lnTo>
                <a:lnTo>
                  <a:pt x="425706" y="1097801"/>
                </a:lnTo>
                <a:cubicBezTo>
                  <a:pt x="425022" y="1095979"/>
                  <a:pt x="424567" y="1094157"/>
                  <a:pt x="426389" y="1092335"/>
                </a:cubicBezTo>
                <a:cubicBezTo>
                  <a:pt x="431856" y="1097801"/>
                  <a:pt x="433678" y="1103268"/>
                  <a:pt x="440966" y="1106912"/>
                </a:cubicBezTo>
                <a:cubicBezTo>
                  <a:pt x="437322" y="1099623"/>
                  <a:pt x="430034" y="1095979"/>
                  <a:pt x="428211" y="1090512"/>
                </a:cubicBezTo>
                <a:cubicBezTo>
                  <a:pt x="424567" y="1094157"/>
                  <a:pt x="417278" y="1085046"/>
                  <a:pt x="413634" y="1088690"/>
                </a:cubicBezTo>
                <a:close/>
                <a:moveTo>
                  <a:pt x="355552" y="1088690"/>
                </a:moveTo>
                <a:cubicBezTo>
                  <a:pt x="353958" y="1088234"/>
                  <a:pt x="352591" y="1088690"/>
                  <a:pt x="353502" y="1090512"/>
                </a:cubicBezTo>
                <a:cubicBezTo>
                  <a:pt x="355324" y="1092335"/>
                  <a:pt x="357146" y="1090512"/>
                  <a:pt x="358969" y="1092335"/>
                </a:cubicBezTo>
                <a:cubicBezTo>
                  <a:pt x="358969" y="1090512"/>
                  <a:pt x="357148" y="1089146"/>
                  <a:pt x="355552" y="1088690"/>
                </a:cubicBezTo>
                <a:close/>
                <a:moveTo>
                  <a:pt x="443927" y="1088462"/>
                </a:moveTo>
                <a:cubicBezTo>
                  <a:pt x="442333" y="1087779"/>
                  <a:pt x="440055" y="1087779"/>
                  <a:pt x="439145" y="1088690"/>
                </a:cubicBezTo>
                <a:cubicBezTo>
                  <a:pt x="440966" y="1088690"/>
                  <a:pt x="442789" y="1092335"/>
                  <a:pt x="444611" y="1092335"/>
                </a:cubicBezTo>
                <a:cubicBezTo>
                  <a:pt x="446433" y="1090512"/>
                  <a:pt x="445522" y="1089146"/>
                  <a:pt x="443927" y="1088462"/>
                </a:cubicBezTo>
                <a:close/>
                <a:moveTo>
                  <a:pt x="2268607" y="1086868"/>
                </a:moveTo>
                <a:cubicBezTo>
                  <a:pt x="2264963" y="1092335"/>
                  <a:pt x="2270429" y="1099623"/>
                  <a:pt x="2277718" y="1099623"/>
                </a:cubicBezTo>
                <a:cubicBezTo>
                  <a:pt x="2277718" y="1095979"/>
                  <a:pt x="2275896" y="1094157"/>
                  <a:pt x="2275896" y="1090512"/>
                </a:cubicBezTo>
                <a:cubicBezTo>
                  <a:pt x="2270429" y="1092335"/>
                  <a:pt x="2268607" y="1090512"/>
                  <a:pt x="2268607" y="1086868"/>
                </a:cubicBezTo>
                <a:close/>
                <a:moveTo>
                  <a:pt x="1177125" y="1086868"/>
                </a:moveTo>
                <a:cubicBezTo>
                  <a:pt x="1175303" y="1088690"/>
                  <a:pt x="1173481" y="1090512"/>
                  <a:pt x="1171658" y="1092335"/>
                </a:cubicBezTo>
                <a:cubicBezTo>
                  <a:pt x="1173481" y="1094157"/>
                  <a:pt x="1178947" y="1088690"/>
                  <a:pt x="1177125" y="1086868"/>
                </a:cubicBezTo>
                <a:close/>
                <a:moveTo>
                  <a:pt x="1102416" y="1086868"/>
                </a:moveTo>
                <a:cubicBezTo>
                  <a:pt x="1100593" y="1088690"/>
                  <a:pt x="1102416" y="1090512"/>
                  <a:pt x="1104238" y="1094157"/>
                </a:cubicBezTo>
                <a:cubicBezTo>
                  <a:pt x="1106060" y="1092335"/>
                  <a:pt x="1107882" y="1095979"/>
                  <a:pt x="1109704" y="1095979"/>
                </a:cubicBezTo>
                <a:cubicBezTo>
                  <a:pt x="1109704" y="1095979"/>
                  <a:pt x="1111526" y="1094157"/>
                  <a:pt x="1111526" y="1094157"/>
                </a:cubicBezTo>
                <a:cubicBezTo>
                  <a:pt x="1109704" y="1092335"/>
                  <a:pt x="1107882" y="1090512"/>
                  <a:pt x="1106060" y="1092335"/>
                </a:cubicBezTo>
                <a:cubicBezTo>
                  <a:pt x="1106060" y="1090512"/>
                  <a:pt x="1104238" y="1088690"/>
                  <a:pt x="1102416" y="1086868"/>
                </a:cubicBezTo>
                <a:close/>
                <a:moveTo>
                  <a:pt x="1075083" y="1086868"/>
                </a:moveTo>
                <a:cubicBezTo>
                  <a:pt x="1073262" y="1085046"/>
                  <a:pt x="1071439" y="1088690"/>
                  <a:pt x="1073262" y="1090512"/>
                </a:cubicBezTo>
                <a:cubicBezTo>
                  <a:pt x="1076905" y="1088690"/>
                  <a:pt x="1075083" y="1086868"/>
                  <a:pt x="1075083" y="1086868"/>
                </a:cubicBezTo>
                <a:close/>
                <a:moveTo>
                  <a:pt x="488343" y="1086868"/>
                </a:moveTo>
                <a:cubicBezTo>
                  <a:pt x="486521" y="1086868"/>
                  <a:pt x="484700" y="1088690"/>
                  <a:pt x="491987" y="1090512"/>
                </a:cubicBezTo>
                <a:cubicBezTo>
                  <a:pt x="491987" y="1088690"/>
                  <a:pt x="490165" y="1088690"/>
                  <a:pt x="488343" y="1086868"/>
                </a:cubicBezTo>
                <a:close/>
                <a:moveTo>
                  <a:pt x="402701" y="1086868"/>
                </a:moveTo>
                <a:cubicBezTo>
                  <a:pt x="404523" y="1092335"/>
                  <a:pt x="411812" y="1095979"/>
                  <a:pt x="415456" y="1103268"/>
                </a:cubicBezTo>
                <a:cubicBezTo>
                  <a:pt x="415456" y="1099623"/>
                  <a:pt x="409989" y="1090512"/>
                  <a:pt x="402701" y="1086868"/>
                </a:cubicBezTo>
                <a:close/>
                <a:moveTo>
                  <a:pt x="320703" y="1086868"/>
                </a:moveTo>
                <a:cubicBezTo>
                  <a:pt x="318882" y="1086868"/>
                  <a:pt x="326169" y="1092335"/>
                  <a:pt x="326169" y="1090512"/>
                </a:cubicBezTo>
                <a:cubicBezTo>
                  <a:pt x="324347" y="1088690"/>
                  <a:pt x="322525" y="1088690"/>
                  <a:pt x="320703" y="1086868"/>
                </a:cubicBezTo>
                <a:close/>
                <a:moveTo>
                  <a:pt x="215017" y="1086868"/>
                </a:moveTo>
                <a:cubicBezTo>
                  <a:pt x="213195" y="1088690"/>
                  <a:pt x="213195" y="1088690"/>
                  <a:pt x="211372" y="1088690"/>
                </a:cubicBezTo>
                <a:cubicBezTo>
                  <a:pt x="215017" y="1090512"/>
                  <a:pt x="216839" y="1090512"/>
                  <a:pt x="218661" y="1092335"/>
                </a:cubicBezTo>
                <a:cubicBezTo>
                  <a:pt x="220483" y="1090512"/>
                  <a:pt x="216839" y="1088690"/>
                  <a:pt x="215017" y="1086868"/>
                </a:cubicBezTo>
                <a:close/>
                <a:moveTo>
                  <a:pt x="3607905" y="1085046"/>
                </a:moveTo>
                <a:cubicBezTo>
                  <a:pt x="3600616" y="1090512"/>
                  <a:pt x="3617016" y="1090512"/>
                  <a:pt x="3615193" y="1085046"/>
                </a:cubicBezTo>
                <a:cubicBezTo>
                  <a:pt x="3613371" y="1085046"/>
                  <a:pt x="3606082" y="1086868"/>
                  <a:pt x="3607905" y="1085046"/>
                </a:cubicBezTo>
                <a:close/>
                <a:moveTo>
                  <a:pt x="3252581" y="1085046"/>
                </a:moveTo>
                <a:cubicBezTo>
                  <a:pt x="3250759" y="1086868"/>
                  <a:pt x="3247114" y="1090512"/>
                  <a:pt x="3245292" y="1092335"/>
                </a:cubicBezTo>
                <a:cubicBezTo>
                  <a:pt x="3250759" y="1092335"/>
                  <a:pt x="3259869" y="1092335"/>
                  <a:pt x="3259869" y="1086868"/>
                </a:cubicBezTo>
                <a:cubicBezTo>
                  <a:pt x="3256225" y="1088690"/>
                  <a:pt x="3250759" y="1090512"/>
                  <a:pt x="3252581" y="1085046"/>
                </a:cubicBezTo>
                <a:close/>
                <a:moveTo>
                  <a:pt x="1096949" y="1085046"/>
                </a:moveTo>
                <a:cubicBezTo>
                  <a:pt x="1095127" y="1085046"/>
                  <a:pt x="1095127" y="1086868"/>
                  <a:pt x="1093305" y="1088690"/>
                </a:cubicBezTo>
                <a:cubicBezTo>
                  <a:pt x="1096949" y="1090512"/>
                  <a:pt x="1096949" y="1086868"/>
                  <a:pt x="1100593" y="1086868"/>
                </a:cubicBezTo>
                <a:cubicBezTo>
                  <a:pt x="1098771" y="1085046"/>
                  <a:pt x="1098771" y="1086868"/>
                  <a:pt x="1096949" y="1085046"/>
                </a:cubicBezTo>
                <a:close/>
                <a:moveTo>
                  <a:pt x="707004" y="1085046"/>
                </a:moveTo>
                <a:cubicBezTo>
                  <a:pt x="707004" y="1092335"/>
                  <a:pt x="710648" y="1099623"/>
                  <a:pt x="717937" y="1101445"/>
                </a:cubicBezTo>
                <a:cubicBezTo>
                  <a:pt x="717937" y="1094157"/>
                  <a:pt x="712470" y="1088690"/>
                  <a:pt x="707004" y="1085046"/>
                </a:cubicBezTo>
                <a:close/>
                <a:moveTo>
                  <a:pt x="666916" y="1085046"/>
                </a:moveTo>
                <a:cubicBezTo>
                  <a:pt x="659627" y="1085046"/>
                  <a:pt x="661449" y="1092335"/>
                  <a:pt x="663272" y="1095979"/>
                </a:cubicBezTo>
                <a:cubicBezTo>
                  <a:pt x="668738" y="1097801"/>
                  <a:pt x="672383" y="1095979"/>
                  <a:pt x="677849" y="1095979"/>
                </a:cubicBezTo>
                <a:cubicBezTo>
                  <a:pt x="676027" y="1092335"/>
                  <a:pt x="670560" y="1088690"/>
                  <a:pt x="666916" y="1085046"/>
                </a:cubicBezTo>
                <a:close/>
                <a:moveTo>
                  <a:pt x="572163" y="1085046"/>
                </a:moveTo>
                <a:cubicBezTo>
                  <a:pt x="577630" y="1094157"/>
                  <a:pt x="592207" y="1099623"/>
                  <a:pt x="595852" y="1090512"/>
                </a:cubicBezTo>
                <a:cubicBezTo>
                  <a:pt x="588562" y="1086868"/>
                  <a:pt x="581274" y="1090512"/>
                  <a:pt x="572163" y="1085046"/>
                </a:cubicBezTo>
                <a:close/>
                <a:moveTo>
                  <a:pt x="563052" y="1085046"/>
                </a:moveTo>
                <a:cubicBezTo>
                  <a:pt x="563052" y="1086868"/>
                  <a:pt x="566697" y="1086868"/>
                  <a:pt x="566697" y="1088690"/>
                </a:cubicBezTo>
                <a:cubicBezTo>
                  <a:pt x="568519" y="1086868"/>
                  <a:pt x="566697" y="1086868"/>
                  <a:pt x="568519" y="1085046"/>
                </a:cubicBezTo>
                <a:cubicBezTo>
                  <a:pt x="566697" y="1085046"/>
                  <a:pt x="564874" y="1086868"/>
                  <a:pt x="563052" y="1085046"/>
                </a:cubicBezTo>
                <a:close/>
                <a:moveTo>
                  <a:pt x="535719" y="1085046"/>
                </a:moveTo>
                <a:cubicBezTo>
                  <a:pt x="533897" y="1085046"/>
                  <a:pt x="539364" y="1092335"/>
                  <a:pt x="543008" y="1095979"/>
                </a:cubicBezTo>
                <a:cubicBezTo>
                  <a:pt x="550297" y="1095979"/>
                  <a:pt x="541186" y="1083224"/>
                  <a:pt x="535719" y="1085046"/>
                </a:cubicBezTo>
                <a:close/>
                <a:moveTo>
                  <a:pt x="275149" y="1085046"/>
                </a:moveTo>
                <a:cubicBezTo>
                  <a:pt x="275149" y="1094157"/>
                  <a:pt x="286082" y="1094157"/>
                  <a:pt x="291549" y="1094157"/>
                </a:cubicBezTo>
                <a:cubicBezTo>
                  <a:pt x="286082" y="1090512"/>
                  <a:pt x="280615" y="1088690"/>
                  <a:pt x="275149" y="1085046"/>
                </a:cubicBezTo>
                <a:close/>
                <a:moveTo>
                  <a:pt x="1337957" y="1084792"/>
                </a:moveTo>
                <a:lnTo>
                  <a:pt x="1337931" y="1084818"/>
                </a:lnTo>
                <a:lnTo>
                  <a:pt x="1337826" y="1084880"/>
                </a:lnTo>
                <a:close/>
                <a:moveTo>
                  <a:pt x="1033173" y="1083224"/>
                </a:moveTo>
                <a:cubicBezTo>
                  <a:pt x="1027707" y="1088690"/>
                  <a:pt x="1027707" y="1095979"/>
                  <a:pt x="1020418" y="1099623"/>
                </a:cubicBezTo>
                <a:cubicBezTo>
                  <a:pt x="1024062" y="1099623"/>
                  <a:pt x="1027707" y="1099623"/>
                  <a:pt x="1029529" y="1103268"/>
                </a:cubicBezTo>
                <a:cubicBezTo>
                  <a:pt x="1034995" y="1101445"/>
                  <a:pt x="1034995" y="1099623"/>
                  <a:pt x="1033173" y="1095979"/>
                </a:cubicBezTo>
                <a:cubicBezTo>
                  <a:pt x="1040462" y="1095979"/>
                  <a:pt x="1034995" y="1085046"/>
                  <a:pt x="1033173" y="1083224"/>
                </a:cubicBezTo>
                <a:close/>
                <a:moveTo>
                  <a:pt x="832734" y="1083224"/>
                </a:moveTo>
                <a:cubicBezTo>
                  <a:pt x="836378" y="1090512"/>
                  <a:pt x="823623" y="1090512"/>
                  <a:pt x="827267" y="1097801"/>
                </a:cubicBezTo>
                <a:cubicBezTo>
                  <a:pt x="829089" y="1099623"/>
                  <a:pt x="830912" y="1103268"/>
                  <a:pt x="832734" y="1101445"/>
                </a:cubicBezTo>
                <a:cubicBezTo>
                  <a:pt x="834556" y="1097801"/>
                  <a:pt x="840022" y="1095979"/>
                  <a:pt x="840022" y="1090512"/>
                </a:cubicBezTo>
                <a:cubicBezTo>
                  <a:pt x="838200" y="1085046"/>
                  <a:pt x="836378" y="1083224"/>
                  <a:pt x="832734" y="1083224"/>
                </a:cubicBezTo>
                <a:close/>
                <a:moveTo>
                  <a:pt x="776246" y="1083224"/>
                </a:moveTo>
                <a:cubicBezTo>
                  <a:pt x="777157" y="1085046"/>
                  <a:pt x="778524" y="1088690"/>
                  <a:pt x="780118" y="1091879"/>
                </a:cubicBezTo>
                <a:lnTo>
                  <a:pt x="783912" y="1096167"/>
                </a:lnTo>
                <a:lnTo>
                  <a:pt x="783535" y="1095979"/>
                </a:lnTo>
                <a:cubicBezTo>
                  <a:pt x="783535" y="1095979"/>
                  <a:pt x="783535" y="1097801"/>
                  <a:pt x="785357" y="1097801"/>
                </a:cubicBezTo>
                <a:lnTo>
                  <a:pt x="783912" y="1096167"/>
                </a:lnTo>
                <a:lnTo>
                  <a:pt x="787179" y="1097801"/>
                </a:lnTo>
                <a:cubicBezTo>
                  <a:pt x="789003" y="1090512"/>
                  <a:pt x="779892" y="1086868"/>
                  <a:pt x="776246" y="1083224"/>
                </a:cubicBezTo>
                <a:close/>
                <a:moveTo>
                  <a:pt x="741626" y="1083224"/>
                </a:moveTo>
                <a:cubicBezTo>
                  <a:pt x="739803" y="1085046"/>
                  <a:pt x="743447" y="1088690"/>
                  <a:pt x="745269" y="1092335"/>
                </a:cubicBezTo>
                <a:cubicBezTo>
                  <a:pt x="748914" y="1088690"/>
                  <a:pt x="743447" y="1086868"/>
                  <a:pt x="741626" y="1083224"/>
                </a:cubicBezTo>
                <a:close/>
                <a:moveTo>
                  <a:pt x="220483" y="1083224"/>
                </a:moveTo>
                <a:cubicBezTo>
                  <a:pt x="218661" y="1086868"/>
                  <a:pt x="225950" y="1088690"/>
                  <a:pt x="227772" y="1090512"/>
                </a:cubicBezTo>
                <a:cubicBezTo>
                  <a:pt x="227772" y="1086868"/>
                  <a:pt x="222306" y="1085046"/>
                  <a:pt x="220483" y="1083224"/>
                </a:cubicBezTo>
                <a:close/>
                <a:moveTo>
                  <a:pt x="171285" y="1083224"/>
                </a:moveTo>
                <a:cubicBezTo>
                  <a:pt x="174929" y="1088690"/>
                  <a:pt x="184040" y="1095979"/>
                  <a:pt x="189506" y="1095979"/>
                </a:cubicBezTo>
                <a:cubicBezTo>
                  <a:pt x="184040" y="1090512"/>
                  <a:pt x="176751" y="1085046"/>
                  <a:pt x="171285" y="1083224"/>
                </a:cubicBezTo>
                <a:close/>
                <a:moveTo>
                  <a:pt x="2568485" y="1083171"/>
                </a:moveTo>
                <a:lnTo>
                  <a:pt x="2567671" y="1084818"/>
                </a:lnTo>
                <a:lnTo>
                  <a:pt x="2566781" y="1085093"/>
                </a:lnTo>
                <a:close/>
                <a:moveTo>
                  <a:pt x="973868" y="1082939"/>
                </a:moveTo>
                <a:cubicBezTo>
                  <a:pt x="969169" y="1084818"/>
                  <a:pt x="969853" y="1096434"/>
                  <a:pt x="976686" y="1097801"/>
                </a:cubicBezTo>
                <a:cubicBezTo>
                  <a:pt x="978508" y="1097801"/>
                  <a:pt x="976686" y="1095979"/>
                  <a:pt x="976686" y="1094157"/>
                </a:cubicBezTo>
                <a:cubicBezTo>
                  <a:pt x="978508" y="1094157"/>
                  <a:pt x="980330" y="1094157"/>
                  <a:pt x="980330" y="1094157"/>
                </a:cubicBezTo>
                <a:cubicBezTo>
                  <a:pt x="980330" y="1090512"/>
                  <a:pt x="980330" y="1088690"/>
                  <a:pt x="980330" y="1085046"/>
                </a:cubicBezTo>
                <a:cubicBezTo>
                  <a:pt x="977597" y="1082768"/>
                  <a:pt x="975433" y="1082312"/>
                  <a:pt x="973868" y="1082939"/>
                </a:cubicBezTo>
                <a:close/>
                <a:moveTo>
                  <a:pt x="3558706" y="1081402"/>
                </a:moveTo>
                <a:cubicBezTo>
                  <a:pt x="3560528" y="1086868"/>
                  <a:pt x="3560528" y="1090512"/>
                  <a:pt x="3564173" y="1090512"/>
                </a:cubicBezTo>
                <a:cubicBezTo>
                  <a:pt x="3564173" y="1086868"/>
                  <a:pt x="3565995" y="1081402"/>
                  <a:pt x="3558706" y="1081402"/>
                </a:cubicBezTo>
                <a:close/>
                <a:moveTo>
                  <a:pt x="3239826" y="1081402"/>
                </a:moveTo>
                <a:cubicBezTo>
                  <a:pt x="3239826" y="1085046"/>
                  <a:pt x="3238003" y="1086868"/>
                  <a:pt x="3236181" y="1088690"/>
                </a:cubicBezTo>
                <a:cubicBezTo>
                  <a:pt x="3239826" y="1092335"/>
                  <a:pt x="3247114" y="1086868"/>
                  <a:pt x="3247114" y="1081402"/>
                </a:cubicBezTo>
                <a:cubicBezTo>
                  <a:pt x="3245292" y="1081402"/>
                  <a:pt x="3241648" y="1081402"/>
                  <a:pt x="3239826" y="1081402"/>
                </a:cubicBezTo>
                <a:close/>
                <a:moveTo>
                  <a:pt x="3185160" y="1081402"/>
                </a:moveTo>
                <a:cubicBezTo>
                  <a:pt x="3183338" y="1083224"/>
                  <a:pt x="3181516" y="1085046"/>
                  <a:pt x="3181516" y="1088690"/>
                </a:cubicBezTo>
                <a:cubicBezTo>
                  <a:pt x="3183338" y="1088690"/>
                  <a:pt x="3185160" y="1088690"/>
                  <a:pt x="3186982" y="1088690"/>
                </a:cubicBezTo>
                <a:cubicBezTo>
                  <a:pt x="3188805" y="1085046"/>
                  <a:pt x="3185160" y="1085046"/>
                  <a:pt x="3185160" y="1081402"/>
                </a:cubicBezTo>
                <a:close/>
                <a:moveTo>
                  <a:pt x="2813437" y="1081402"/>
                </a:moveTo>
                <a:lnTo>
                  <a:pt x="2814223" y="1083044"/>
                </a:lnTo>
                <a:lnTo>
                  <a:pt x="2810650" y="1087375"/>
                </a:lnTo>
                <a:lnTo>
                  <a:pt x="2809793" y="1084590"/>
                </a:lnTo>
                <a:cubicBezTo>
                  <a:pt x="2809793" y="1083224"/>
                  <a:pt x="2810704" y="1082313"/>
                  <a:pt x="2813437" y="1081402"/>
                </a:cubicBezTo>
                <a:close/>
                <a:moveTo>
                  <a:pt x="1193525" y="1081402"/>
                </a:moveTo>
                <a:cubicBezTo>
                  <a:pt x="1189880" y="1083224"/>
                  <a:pt x="1186236" y="1085046"/>
                  <a:pt x="1188058" y="1088690"/>
                </a:cubicBezTo>
                <a:cubicBezTo>
                  <a:pt x="1178947" y="1095979"/>
                  <a:pt x="1171658" y="1094157"/>
                  <a:pt x="1166192" y="1105090"/>
                </a:cubicBezTo>
                <a:cubicBezTo>
                  <a:pt x="1168014" y="1106912"/>
                  <a:pt x="1168014" y="1105090"/>
                  <a:pt x="1169836" y="1106912"/>
                </a:cubicBezTo>
                <a:cubicBezTo>
                  <a:pt x="1171658" y="1105090"/>
                  <a:pt x="1177125" y="1103268"/>
                  <a:pt x="1178947" y="1105090"/>
                </a:cubicBezTo>
                <a:cubicBezTo>
                  <a:pt x="1182592" y="1103268"/>
                  <a:pt x="1182592" y="1101445"/>
                  <a:pt x="1184414" y="1099623"/>
                </a:cubicBezTo>
                <a:cubicBezTo>
                  <a:pt x="1184414" y="1101445"/>
                  <a:pt x="1182592" y="1103268"/>
                  <a:pt x="1182592" y="1105090"/>
                </a:cubicBezTo>
                <a:cubicBezTo>
                  <a:pt x="1186236" y="1105090"/>
                  <a:pt x="1186236" y="1101445"/>
                  <a:pt x="1186236" y="1099623"/>
                </a:cubicBezTo>
                <a:cubicBezTo>
                  <a:pt x="1189880" y="1101445"/>
                  <a:pt x="1184414" y="1103268"/>
                  <a:pt x="1186236" y="1105090"/>
                </a:cubicBezTo>
                <a:cubicBezTo>
                  <a:pt x="1191703" y="1101445"/>
                  <a:pt x="1195346" y="1097801"/>
                  <a:pt x="1197169" y="1092335"/>
                </a:cubicBezTo>
                <a:cubicBezTo>
                  <a:pt x="1198991" y="1094157"/>
                  <a:pt x="1202636" y="1092335"/>
                  <a:pt x="1206279" y="1090512"/>
                </a:cubicBezTo>
                <a:cubicBezTo>
                  <a:pt x="1202636" y="1086868"/>
                  <a:pt x="1197169" y="1086868"/>
                  <a:pt x="1193525" y="1081402"/>
                </a:cubicBezTo>
                <a:close/>
                <a:moveTo>
                  <a:pt x="1153436" y="1081402"/>
                </a:moveTo>
                <a:cubicBezTo>
                  <a:pt x="1149792" y="1083224"/>
                  <a:pt x="1149792" y="1083224"/>
                  <a:pt x="1149792" y="1085046"/>
                </a:cubicBezTo>
                <a:cubicBezTo>
                  <a:pt x="1149792" y="1085046"/>
                  <a:pt x="1151614" y="1086868"/>
                  <a:pt x="1151614" y="1086868"/>
                </a:cubicBezTo>
                <a:cubicBezTo>
                  <a:pt x="1155259" y="1085046"/>
                  <a:pt x="1155259" y="1083224"/>
                  <a:pt x="1153436" y="1081402"/>
                </a:cubicBezTo>
                <a:close/>
                <a:moveTo>
                  <a:pt x="823623" y="1081402"/>
                </a:moveTo>
                <a:cubicBezTo>
                  <a:pt x="821801" y="1081402"/>
                  <a:pt x="821801" y="1086868"/>
                  <a:pt x="821801" y="1088690"/>
                </a:cubicBezTo>
                <a:cubicBezTo>
                  <a:pt x="825445" y="1086868"/>
                  <a:pt x="821801" y="1083224"/>
                  <a:pt x="823623" y="1081402"/>
                </a:cubicBezTo>
                <a:close/>
                <a:moveTo>
                  <a:pt x="479232" y="1081402"/>
                </a:moveTo>
                <a:cubicBezTo>
                  <a:pt x="477410" y="1088690"/>
                  <a:pt x="482876" y="1083224"/>
                  <a:pt x="484700" y="1085046"/>
                </a:cubicBezTo>
                <a:cubicBezTo>
                  <a:pt x="482876" y="1083224"/>
                  <a:pt x="481054" y="1083224"/>
                  <a:pt x="479232" y="1081402"/>
                </a:cubicBezTo>
                <a:close/>
                <a:moveTo>
                  <a:pt x="2986543" y="1079579"/>
                </a:moveTo>
                <a:cubicBezTo>
                  <a:pt x="2982899" y="1077757"/>
                  <a:pt x="2986543" y="1085046"/>
                  <a:pt x="2986543" y="1088690"/>
                </a:cubicBezTo>
                <a:cubicBezTo>
                  <a:pt x="2988366" y="1086868"/>
                  <a:pt x="2984721" y="1081402"/>
                  <a:pt x="2990188" y="1083224"/>
                </a:cubicBezTo>
                <a:cubicBezTo>
                  <a:pt x="2990188" y="1079579"/>
                  <a:pt x="2984721" y="1081402"/>
                  <a:pt x="2986543" y="1079579"/>
                </a:cubicBezTo>
                <a:close/>
                <a:moveTo>
                  <a:pt x="856422" y="1079579"/>
                </a:moveTo>
                <a:cubicBezTo>
                  <a:pt x="852778" y="1085046"/>
                  <a:pt x="856422" y="1090512"/>
                  <a:pt x="861889" y="1092335"/>
                </a:cubicBezTo>
                <a:cubicBezTo>
                  <a:pt x="863711" y="1090512"/>
                  <a:pt x="861889" y="1088690"/>
                  <a:pt x="865533" y="1086868"/>
                </a:cubicBezTo>
                <a:cubicBezTo>
                  <a:pt x="861889" y="1081402"/>
                  <a:pt x="860066" y="1083224"/>
                  <a:pt x="856422" y="1079579"/>
                </a:cubicBezTo>
                <a:close/>
                <a:moveTo>
                  <a:pt x="610429" y="1079579"/>
                </a:moveTo>
                <a:cubicBezTo>
                  <a:pt x="608606" y="1081402"/>
                  <a:pt x="612251" y="1085046"/>
                  <a:pt x="610429" y="1086868"/>
                </a:cubicBezTo>
                <a:cubicBezTo>
                  <a:pt x="614074" y="1086868"/>
                  <a:pt x="617717" y="1088690"/>
                  <a:pt x="621362" y="1086868"/>
                </a:cubicBezTo>
                <a:cubicBezTo>
                  <a:pt x="615895" y="1085046"/>
                  <a:pt x="615895" y="1081402"/>
                  <a:pt x="610429" y="1079579"/>
                </a:cubicBezTo>
                <a:close/>
                <a:moveTo>
                  <a:pt x="513853" y="1079579"/>
                </a:moveTo>
                <a:cubicBezTo>
                  <a:pt x="519320" y="1083224"/>
                  <a:pt x="517498" y="1090512"/>
                  <a:pt x="526609" y="1094157"/>
                </a:cubicBezTo>
                <a:cubicBezTo>
                  <a:pt x="528431" y="1092335"/>
                  <a:pt x="524786" y="1092335"/>
                  <a:pt x="526609" y="1090512"/>
                </a:cubicBezTo>
                <a:lnTo>
                  <a:pt x="529444" y="1098813"/>
                </a:lnTo>
                <a:lnTo>
                  <a:pt x="526609" y="1095979"/>
                </a:lnTo>
                <a:cubicBezTo>
                  <a:pt x="525697" y="1096890"/>
                  <a:pt x="526153" y="1097801"/>
                  <a:pt x="527292" y="1098712"/>
                </a:cubicBezTo>
                <a:lnTo>
                  <a:pt x="530731" y="1100677"/>
                </a:lnTo>
                <a:lnTo>
                  <a:pt x="535719" y="1105090"/>
                </a:lnTo>
                <a:cubicBezTo>
                  <a:pt x="552119" y="1106912"/>
                  <a:pt x="539364" y="1097801"/>
                  <a:pt x="532075" y="1092335"/>
                </a:cubicBezTo>
                <a:lnTo>
                  <a:pt x="535719" y="1092335"/>
                </a:lnTo>
                <a:cubicBezTo>
                  <a:pt x="532075" y="1085046"/>
                  <a:pt x="522964" y="1083224"/>
                  <a:pt x="513853" y="1079579"/>
                </a:cubicBezTo>
                <a:close/>
                <a:moveTo>
                  <a:pt x="373546" y="1079579"/>
                </a:moveTo>
                <a:cubicBezTo>
                  <a:pt x="375368" y="1079579"/>
                  <a:pt x="373546" y="1086868"/>
                  <a:pt x="379012" y="1083224"/>
                </a:cubicBezTo>
                <a:cubicBezTo>
                  <a:pt x="377190" y="1081402"/>
                  <a:pt x="375368" y="1083224"/>
                  <a:pt x="373546" y="1079579"/>
                </a:cubicBezTo>
                <a:close/>
                <a:moveTo>
                  <a:pt x="178573" y="1079579"/>
                </a:moveTo>
                <a:cubicBezTo>
                  <a:pt x="178573" y="1085046"/>
                  <a:pt x="187684" y="1088690"/>
                  <a:pt x="189506" y="1086868"/>
                </a:cubicBezTo>
                <a:cubicBezTo>
                  <a:pt x="185862" y="1081402"/>
                  <a:pt x="182218" y="1083224"/>
                  <a:pt x="178573" y="1079579"/>
                </a:cubicBezTo>
                <a:close/>
                <a:moveTo>
                  <a:pt x="87465" y="1079579"/>
                </a:moveTo>
                <a:cubicBezTo>
                  <a:pt x="105686" y="1097801"/>
                  <a:pt x="123908" y="1114201"/>
                  <a:pt x="142130" y="1130600"/>
                </a:cubicBezTo>
                <a:lnTo>
                  <a:pt x="142076" y="1130573"/>
                </a:lnTo>
                <a:lnTo>
                  <a:pt x="133475" y="1123539"/>
                </a:lnTo>
                <a:cubicBezTo>
                  <a:pt x="117075" y="1110100"/>
                  <a:pt x="101131" y="1095978"/>
                  <a:pt x="87465" y="1079579"/>
                </a:cubicBezTo>
                <a:close/>
                <a:moveTo>
                  <a:pt x="843619" y="1078600"/>
                </a:moveTo>
                <a:lnTo>
                  <a:pt x="843895" y="1079579"/>
                </a:lnTo>
                <a:lnTo>
                  <a:pt x="842909" y="1083084"/>
                </a:lnTo>
                <a:lnTo>
                  <a:pt x="842072" y="1082312"/>
                </a:lnTo>
                <a:close/>
                <a:moveTo>
                  <a:pt x="3330934" y="1077757"/>
                </a:moveTo>
                <a:cubicBezTo>
                  <a:pt x="3329112" y="1079579"/>
                  <a:pt x="3327290" y="1079579"/>
                  <a:pt x="3325468" y="1079579"/>
                </a:cubicBezTo>
                <a:cubicBezTo>
                  <a:pt x="3321824" y="1085046"/>
                  <a:pt x="3332756" y="1085046"/>
                  <a:pt x="3330934" y="1077757"/>
                </a:cubicBezTo>
                <a:close/>
                <a:moveTo>
                  <a:pt x="1344765" y="1077757"/>
                </a:moveTo>
                <a:cubicBezTo>
                  <a:pt x="1346587" y="1081402"/>
                  <a:pt x="1350231" y="1077757"/>
                  <a:pt x="1352053" y="1077757"/>
                </a:cubicBezTo>
                <a:cubicBezTo>
                  <a:pt x="1352053" y="1077757"/>
                  <a:pt x="1353876" y="1077757"/>
                  <a:pt x="1355698" y="1077757"/>
                </a:cubicBezTo>
                <a:cubicBezTo>
                  <a:pt x="1350231" y="1077757"/>
                  <a:pt x="1346587" y="1079579"/>
                  <a:pt x="1342942" y="1081402"/>
                </a:cubicBezTo>
                <a:lnTo>
                  <a:pt x="1337957" y="1084792"/>
                </a:lnTo>
                <a:close/>
                <a:moveTo>
                  <a:pt x="1065972" y="1077757"/>
                </a:moveTo>
                <a:cubicBezTo>
                  <a:pt x="1064151" y="1079579"/>
                  <a:pt x="1065972" y="1085046"/>
                  <a:pt x="1067794" y="1079579"/>
                </a:cubicBezTo>
                <a:cubicBezTo>
                  <a:pt x="1067794" y="1081402"/>
                  <a:pt x="1067794" y="1083224"/>
                  <a:pt x="1069616" y="1085046"/>
                </a:cubicBezTo>
                <a:cubicBezTo>
                  <a:pt x="1071439" y="1085046"/>
                  <a:pt x="1069616" y="1083224"/>
                  <a:pt x="1071439" y="1081402"/>
                </a:cubicBezTo>
                <a:cubicBezTo>
                  <a:pt x="1069616" y="1079579"/>
                  <a:pt x="1067794" y="1079579"/>
                  <a:pt x="1065972" y="1077757"/>
                </a:cubicBezTo>
                <a:close/>
                <a:moveTo>
                  <a:pt x="1040462" y="1077757"/>
                </a:moveTo>
                <a:cubicBezTo>
                  <a:pt x="1040462" y="1081402"/>
                  <a:pt x="1042284" y="1085046"/>
                  <a:pt x="1044106" y="1090512"/>
                </a:cubicBezTo>
                <a:cubicBezTo>
                  <a:pt x="1045929" y="1088690"/>
                  <a:pt x="1044106" y="1088690"/>
                  <a:pt x="1045929" y="1086868"/>
                </a:cubicBezTo>
                <a:cubicBezTo>
                  <a:pt x="1042284" y="1085046"/>
                  <a:pt x="1045929" y="1079579"/>
                  <a:pt x="1040462" y="1077757"/>
                </a:cubicBezTo>
                <a:close/>
                <a:moveTo>
                  <a:pt x="1029529" y="1077757"/>
                </a:moveTo>
                <a:cubicBezTo>
                  <a:pt x="1024062" y="1075935"/>
                  <a:pt x="1016774" y="1083224"/>
                  <a:pt x="1009485" y="1088690"/>
                </a:cubicBezTo>
                <a:cubicBezTo>
                  <a:pt x="1013129" y="1090512"/>
                  <a:pt x="1009485" y="1092335"/>
                  <a:pt x="1011307" y="1094157"/>
                </a:cubicBezTo>
                <a:cubicBezTo>
                  <a:pt x="1011307" y="1092335"/>
                  <a:pt x="1011307" y="1090512"/>
                  <a:pt x="1011307" y="1090512"/>
                </a:cubicBezTo>
                <a:cubicBezTo>
                  <a:pt x="1013129" y="1094157"/>
                  <a:pt x="1014951" y="1094157"/>
                  <a:pt x="1016774" y="1095979"/>
                </a:cubicBezTo>
                <a:cubicBezTo>
                  <a:pt x="1018596" y="1088690"/>
                  <a:pt x="1024062" y="1085046"/>
                  <a:pt x="1029529" y="1077757"/>
                </a:cubicBezTo>
                <a:close/>
                <a:moveTo>
                  <a:pt x="825445" y="1077757"/>
                </a:moveTo>
                <a:cubicBezTo>
                  <a:pt x="825445" y="1081402"/>
                  <a:pt x="825445" y="1085046"/>
                  <a:pt x="825445" y="1088690"/>
                </a:cubicBezTo>
                <a:cubicBezTo>
                  <a:pt x="827267" y="1088690"/>
                  <a:pt x="829089" y="1088690"/>
                  <a:pt x="830912" y="1086868"/>
                </a:cubicBezTo>
                <a:cubicBezTo>
                  <a:pt x="832734" y="1081402"/>
                  <a:pt x="829089" y="1079579"/>
                  <a:pt x="825445" y="1077757"/>
                </a:cubicBezTo>
                <a:close/>
                <a:moveTo>
                  <a:pt x="561913" y="1077757"/>
                </a:moveTo>
                <a:cubicBezTo>
                  <a:pt x="559408" y="1076391"/>
                  <a:pt x="556674" y="1075935"/>
                  <a:pt x="553941" y="1079579"/>
                </a:cubicBezTo>
                <a:cubicBezTo>
                  <a:pt x="559408" y="1083224"/>
                  <a:pt x="564874" y="1085046"/>
                  <a:pt x="568519" y="1081402"/>
                </a:cubicBezTo>
                <a:cubicBezTo>
                  <a:pt x="566697" y="1081402"/>
                  <a:pt x="564419" y="1079124"/>
                  <a:pt x="561913" y="1077757"/>
                </a:cubicBezTo>
                <a:close/>
                <a:moveTo>
                  <a:pt x="388123" y="1077757"/>
                </a:moveTo>
                <a:cubicBezTo>
                  <a:pt x="388123" y="1079579"/>
                  <a:pt x="393590" y="1088690"/>
                  <a:pt x="397234" y="1086868"/>
                </a:cubicBezTo>
                <a:cubicBezTo>
                  <a:pt x="393590" y="1085046"/>
                  <a:pt x="393590" y="1083224"/>
                  <a:pt x="393590" y="1081402"/>
                </a:cubicBezTo>
                <a:cubicBezTo>
                  <a:pt x="391768" y="1079579"/>
                  <a:pt x="389946" y="1079579"/>
                  <a:pt x="388123" y="1077757"/>
                </a:cubicBezTo>
                <a:close/>
                <a:moveTo>
                  <a:pt x="326169" y="1077757"/>
                </a:moveTo>
                <a:cubicBezTo>
                  <a:pt x="324347" y="1079579"/>
                  <a:pt x="329814" y="1083224"/>
                  <a:pt x="331636" y="1085046"/>
                </a:cubicBezTo>
                <a:cubicBezTo>
                  <a:pt x="329814" y="1086868"/>
                  <a:pt x="327993" y="1081402"/>
                  <a:pt x="326169" y="1079579"/>
                </a:cubicBezTo>
                <a:cubicBezTo>
                  <a:pt x="324347" y="1083224"/>
                  <a:pt x="329814" y="1086868"/>
                  <a:pt x="331636" y="1088690"/>
                </a:cubicBezTo>
                <a:cubicBezTo>
                  <a:pt x="331636" y="1086868"/>
                  <a:pt x="329814" y="1085046"/>
                  <a:pt x="331636" y="1085046"/>
                </a:cubicBezTo>
                <a:cubicBezTo>
                  <a:pt x="335280" y="1086868"/>
                  <a:pt x="338926" y="1094157"/>
                  <a:pt x="342569" y="1092335"/>
                </a:cubicBezTo>
                <a:cubicBezTo>
                  <a:pt x="338926" y="1086868"/>
                  <a:pt x="331636" y="1077757"/>
                  <a:pt x="326169" y="1077757"/>
                </a:cubicBezTo>
                <a:close/>
                <a:moveTo>
                  <a:pt x="276971" y="1077757"/>
                </a:moveTo>
                <a:cubicBezTo>
                  <a:pt x="282438" y="1077757"/>
                  <a:pt x="284715" y="1079579"/>
                  <a:pt x="286309" y="1081857"/>
                </a:cubicBezTo>
                <a:lnTo>
                  <a:pt x="287018" y="1082781"/>
                </a:lnTo>
                <a:close/>
                <a:moveTo>
                  <a:pt x="260571" y="1077757"/>
                </a:moveTo>
                <a:lnTo>
                  <a:pt x="266038" y="1083224"/>
                </a:lnTo>
                <a:lnTo>
                  <a:pt x="269682" y="1086868"/>
                </a:lnTo>
                <a:cubicBezTo>
                  <a:pt x="270593" y="1086868"/>
                  <a:pt x="270137" y="1086412"/>
                  <a:pt x="269226" y="1085729"/>
                </a:cubicBezTo>
                <a:lnTo>
                  <a:pt x="266038" y="1083224"/>
                </a:lnTo>
                <a:lnTo>
                  <a:pt x="267860" y="1083224"/>
                </a:lnTo>
                <a:cubicBezTo>
                  <a:pt x="267860" y="1079579"/>
                  <a:pt x="262393" y="1081402"/>
                  <a:pt x="260571" y="1077757"/>
                </a:cubicBezTo>
                <a:close/>
                <a:moveTo>
                  <a:pt x="153063" y="1077757"/>
                </a:moveTo>
                <a:cubicBezTo>
                  <a:pt x="156707" y="1085046"/>
                  <a:pt x="165818" y="1094157"/>
                  <a:pt x="171285" y="1092335"/>
                </a:cubicBezTo>
                <a:cubicBezTo>
                  <a:pt x="163996" y="1083224"/>
                  <a:pt x="158529" y="1079579"/>
                  <a:pt x="153063" y="1077757"/>
                </a:cubicBezTo>
                <a:close/>
                <a:moveTo>
                  <a:pt x="1171658" y="1075935"/>
                </a:moveTo>
                <a:cubicBezTo>
                  <a:pt x="1168014" y="1077757"/>
                  <a:pt x="1166192" y="1079579"/>
                  <a:pt x="1164370" y="1081402"/>
                </a:cubicBezTo>
                <a:cubicBezTo>
                  <a:pt x="1166192" y="1083224"/>
                  <a:pt x="1175303" y="1077757"/>
                  <a:pt x="1171658" y="1075935"/>
                </a:cubicBezTo>
                <a:close/>
                <a:moveTo>
                  <a:pt x="1045929" y="1075935"/>
                </a:moveTo>
                <a:cubicBezTo>
                  <a:pt x="1044106" y="1077757"/>
                  <a:pt x="1047750" y="1079579"/>
                  <a:pt x="1049573" y="1081402"/>
                </a:cubicBezTo>
                <a:cubicBezTo>
                  <a:pt x="1047750" y="1085046"/>
                  <a:pt x="1053217" y="1088690"/>
                  <a:pt x="1055040" y="1094157"/>
                </a:cubicBezTo>
                <a:cubicBezTo>
                  <a:pt x="1058683" y="1092335"/>
                  <a:pt x="1053217" y="1088690"/>
                  <a:pt x="1058683" y="1092335"/>
                </a:cubicBezTo>
                <a:cubicBezTo>
                  <a:pt x="1058683" y="1085046"/>
                  <a:pt x="1051395" y="1079579"/>
                  <a:pt x="1045929" y="1075935"/>
                </a:cubicBezTo>
                <a:close/>
                <a:moveTo>
                  <a:pt x="911087" y="1075935"/>
                </a:moveTo>
                <a:cubicBezTo>
                  <a:pt x="905621" y="1075935"/>
                  <a:pt x="898333" y="1074113"/>
                  <a:pt x="896510" y="1081402"/>
                </a:cubicBezTo>
                <a:cubicBezTo>
                  <a:pt x="900154" y="1081402"/>
                  <a:pt x="905621" y="1079579"/>
                  <a:pt x="911087" y="1075935"/>
                </a:cubicBezTo>
                <a:close/>
                <a:moveTo>
                  <a:pt x="823623" y="1075935"/>
                </a:moveTo>
                <a:cubicBezTo>
                  <a:pt x="819979" y="1074113"/>
                  <a:pt x="819979" y="1079579"/>
                  <a:pt x="819979" y="1081402"/>
                </a:cubicBezTo>
                <a:cubicBezTo>
                  <a:pt x="821801" y="1081402"/>
                  <a:pt x="823623" y="1077757"/>
                  <a:pt x="823623" y="1075935"/>
                </a:cubicBezTo>
                <a:close/>
                <a:moveTo>
                  <a:pt x="763491" y="1075935"/>
                </a:moveTo>
                <a:cubicBezTo>
                  <a:pt x="756203" y="1081402"/>
                  <a:pt x="768959" y="1085046"/>
                  <a:pt x="765313" y="1092335"/>
                </a:cubicBezTo>
                <a:cubicBezTo>
                  <a:pt x="768959" y="1090512"/>
                  <a:pt x="767136" y="1081402"/>
                  <a:pt x="763491" y="1075935"/>
                </a:cubicBezTo>
                <a:close/>
                <a:moveTo>
                  <a:pt x="490165" y="1075935"/>
                </a:moveTo>
                <a:cubicBezTo>
                  <a:pt x="488343" y="1077757"/>
                  <a:pt x="490165" y="1079579"/>
                  <a:pt x="488343" y="1081402"/>
                </a:cubicBezTo>
                <a:cubicBezTo>
                  <a:pt x="490165" y="1083224"/>
                  <a:pt x="495632" y="1086868"/>
                  <a:pt x="499276" y="1088690"/>
                </a:cubicBezTo>
                <a:cubicBezTo>
                  <a:pt x="499276" y="1085046"/>
                  <a:pt x="495632" y="1079579"/>
                  <a:pt x="490165" y="1075935"/>
                </a:cubicBezTo>
                <a:close/>
                <a:moveTo>
                  <a:pt x="318882" y="1075935"/>
                </a:moveTo>
                <a:cubicBezTo>
                  <a:pt x="320703" y="1077757"/>
                  <a:pt x="322525" y="1079579"/>
                  <a:pt x="322525" y="1079579"/>
                </a:cubicBezTo>
                <a:cubicBezTo>
                  <a:pt x="327993" y="1079579"/>
                  <a:pt x="324347" y="1075935"/>
                  <a:pt x="322525" y="1075935"/>
                </a:cubicBezTo>
                <a:cubicBezTo>
                  <a:pt x="322525" y="1077757"/>
                  <a:pt x="320703" y="1074113"/>
                  <a:pt x="318882" y="1075935"/>
                </a:cubicBezTo>
                <a:close/>
                <a:moveTo>
                  <a:pt x="302481" y="1075935"/>
                </a:moveTo>
                <a:cubicBezTo>
                  <a:pt x="300660" y="1079579"/>
                  <a:pt x="309771" y="1086868"/>
                  <a:pt x="311592" y="1086868"/>
                </a:cubicBezTo>
                <a:cubicBezTo>
                  <a:pt x="309771" y="1085046"/>
                  <a:pt x="306126" y="1077757"/>
                  <a:pt x="302481" y="1075935"/>
                </a:cubicBezTo>
                <a:close/>
                <a:moveTo>
                  <a:pt x="143952" y="1075935"/>
                </a:moveTo>
                <a:cubicBezTo>
                  <a:pt x="145774" y="1081402"/>
                  <a:pt x="156707" y="1086868"/>
                  <a:pt x="160352" y="1090512"/>
                </a:cubicBezTo>
                <a:cubicBezTo>
                  <a:pt x="156707" y="1085046"/>
                  <a:pt x="149419" y="1081402"/>
                  <a:pt x="143952" y="1075935"/>
                </a:cubicBezTo>
                <a:close/>
                <a:moveTo>
                  <a:pt x="327080" y="1075479"/>
                </a:moveTo>
                <a:cubicBezTo>
                  <a:pt x="325714" y="1075024"/>
                  <a:pt x="324347" y="1075024"/>
                  <a:pt x="324347" y="1075935"/>
                </a:cubicBezTo>
                <a:cubicBezTo>
                  <a:pt x="326169" y="1075935"/>
                  <a:pt x="327993" y="1075935"/>
                  <a:pt x="329814" y="1077757"/>
                </a:cubicBezTo>
                <a:cubicBezTo>
                  <a:pt x="329814" y="1076846"/>
                  <a:pt x="328447" y="1075935"/>
                  <a:pt x="327080" y="1075479"/>
                </a:cubicBezTo>
                <a:close/>
                <a:moveTo>
                  <a:pt x="3620660" y="1074113"/>
                </a:moveTo>
                <a:cubicBezTo>
                  <a:pt x="3626127" y="1075935"/>
                  <a:pt x="3622482" y="1083224"/>
                  <a:pt x="3633415" y="1081402"/>
                </a:cubicBezTo>
                <a:cubicBezTo>
                  <a:pt x="3635237" y="1077757"/>
                  <a:pt x="3626127" y="1081402"/>
                  <a:pt x="3626127" y="1077757"/>
                </a:cubicBezTo>
                <a:cubicBezTo>
                  <a:pt x="3626127" y="1074113"/>
                  <a:pt x="3631593" y="1079579"/>
                  <a:pt x="3631593" y="1074113"/>
                </a:cubicBezTo>
                <a:cubicBezTo>
                  <a:pt x="3629771" y="1074113"/>
                  <a:pt x="3622482" y="1074113"/>
                  <a:pt x="3620660" y="1074113"/>
                </a:cubicBezTo>
                <a:close/>
                <a:moveTo>
                  <a:pt x="3106807" y="1074113"/>
                </a:moveTo>
                <a:cubicBezTo>
                  <a:pt x="3108629" y="1075935"/>
                  <a:pt x="3110451" y="1081402"/>
                  <a:pt x="3112274" y="1083224"/>
                </a:cubicBezTo>
                <a:cubicBezTo>
                  <a:pt x="3112274" y="1085046"/>
                  <a:pt x="3108629" y="1085046"/>
                  <a:pt x="3106807" y="1085046"/>
                </a:cubicBezTo>
                <a:cubicBezTo>
                  <a:pt x="3108629" y="1079579"/>
                  <a:pt x="3106807" y="1077757"/>
                  <a:pt x="3106807" y="1074113"/>
                </a:cubicBezTo>
                <a:close/>
                <a:moveTo>
                  <a:pt x="2997477" y="1074113"/>
                </a:moveTo>
                <a:cubicBezTo>
                  <a:pt x="3001121" y="1075935"/>
                  <a:pt x="2995654" y="1079579"/>
                  <a:pt x="2993832" y="1075935"/>
                </a:cubicBezTo>
                <a:cubicBezTo>
                  <a:pt x="2992010" y="1075935"/>
                  <a:pt x="2992010" y="1079579"/>
                  <a:pt x="2992010" y="1081402"/>
                </a:cubicBezTo>
                <a:cubicBezTo>
                  <a:pt x="2993832" y="1081402"/>
                  <a:pt x="2993832" y="1085046"/>
                  <a:pt x="2997477" y="1083224"/>
                </a:cubicBezTo>
                <a:cubicBezTo>
                  <a:pt x="2997477" y="1088690"/>
                  <a:pt x="2995654" y="1092335"/>
                  <a:pt x="2995654" y="1095979"/>
                </a:cubicBezTo>
                <a:cubicBezTo>
                  <a:pt x="3004765" y="1097801"/>
                  <a:pt x="3008410" y="1092335"/>
                  <a:pt x="3010232" y="1086868"/>
                </a:cubicBezTo>
                <a:cubicBezTo>
                  <a:pt x="3010232" y="1092335"/>
                  <a:pt x="3017521" y="1095979"/>
                  <a:pt x="3015698" y="1105090"/>
                </a:cubicBezTo>
                <a:cubicBezTo>
                  <a:pt x="3032098" y="1094157"/>
                  <a:pt x="3006587" y="1079579"/>
                  <a:pt x="2997477" y="1074113"/>
                </a:cubicBezTo>
                <a:close/>
                <a:moveTo>
                  <a:pt x="2264963" y="1074113"/>
                </a:moveTo>
                <a:cubicBezTo>
                  <a:pt x="2261318" y="1074113"/>
                  <a:pt x="2259496" y="1075935"/>
                  <a:pt x="2257674" y="1077757"/>
                </a:cubicBezTo>
                <a:cubicBezTo>
                  <a:pt x="2257674" y="1079579"/>
                  <a:pt x="2261318" y="1079579"/>
                  <a:pt x="2264963" y="1079579"/>
                </a:cubicBezTo>
                <a:cubicBezTo>
                  <a:pt x="2264963" y="1077757"/>
                  <a:pt x="2264963" y="1075935"/>
                  <a:pt x="2264963" y="1074113"/>
                </a:cubicBezTo>
                <a:close/>
                <a:moveTo>
                  <a:pt x="1182592" y="1074113"/>
                </a:moveTo>
                <a:cubicBezTo>
                  <a:pt x="1182592" y="1075935"/>
                  <a:pt x="1180769" y="1079579"/>
                  <a:pt x="1182592" y="1083224"/>
                </a:cubicBezTo>
                <a:lnTo>
                  <a:pt x="1181144" y="1086843"/>
                </a:lnTo>
                <a:lnTo>
                  <a:pt x="1180769" y="1086868"/>
                </a:lnTo>
                <a:lnTo>
                  <a:pt x="1181073" y="1087020"/>
                </a:lnTo>
                <a:lnTo>
                  <a:pt x="1178947" y="1092335"/>
                </a:lnTo>
                <a:cubicBezTo>
                  <a:pt x="1180769" y="1092335"/>
                  <a:pt x="1182592" y="1090512"/>
                  <a:pt x="1184414" y="1088690"/>
                </a:cubicBezTo>
                <a:lnTo>
                  <a:pt x="1181073" y="1087020"/>
                </a:lnTo>
                <a:lnTo>
                  <a:pt x="1181144" y="1086843"/>
                </a:lnTo>
                <a:lnTo>
                  <a:pt x="1184186" y="1086640"/>
                </a:lnTo>
                <a:cubicBezTo>
                  <a:pt x="1185325" y="1086868"/>
                  <a:pt x="1186236" y="1086868"/>
                  <a:pt x="1186236" y="1085046"/>
                </a:cubicBezTo>
                <a:cubicBezTo>
                  <a:pt x="1184414" y="1083224"/>
                  <a:pt x="1184414" y="1085046"/>
                  <a:pt x="1182592" y="1083224"/>
                </a:cubicBezTo>
                <a:cubicBezTo>
                  <a:pt x="1184414" y="1079579"/>
                  <a:pt x="1184414" y="1079579"/>
                  <a:pt x="1188058" y="1075935"/>
                </a:cubicBezTo>
                <a:cubicBezTo>
                  <a:pt x="1186236" y="1074113"/>
                  <a:pt x="1184414" y="1074113"/>
                  <a:pt x="1182592" y="1074113"/>
                </a:cubicBezTo>
                <a:close/>
                <a:moveTo>
                  <a:pt x="1180769" y="1074113"/>
                </a:moveTo>
                <a:cubicBezTo>
                  <a:pt x="1178947" y="1072291"/>
                  <a:pt x="1175303" y="1075935"/>
                  <a:pt x="1173481" y="1077757"/>
                </a:cubicBezTo>
                <a:cubicBezTo>
                  <a:pt x="1178947" y="1077757"/>
                  <a:pt x="1177125" y="1081402"/>
                  <a:pt x="1178947" y="1081402"/>
                </a:cubicBezTo>
                <a:cubicBezTo>
                  <a:pt x="1180769" y="1079579"/>
                  <a:pt x="1178947" y="1075935"/>
                  <a:pt x="1180769" y="1074113"/>
                </a:cubicBezTo>
                <a:close/>
                <a:moveTo>
                  <a:pt x="1133393" y="1074113"/>
                </a:moveTo>
                <a:lnTo>
                  <a:pt x="1134310" y="1074571"/>
                </a:lnTo>
                <a:lnTo>
                  <a:pt x="1132548" y="1082557"/>
                </a:lnTo>
                <a:close/>
                <a:moveTo>
                  <a:pt x="914732" y="1074113"/>
                </a:moveTo>
                <a:cubicBezTo>
                  <a:pt x="907444" y="1081402"/>
                  <a:pt x="901976" y="1079579"/>
                  <a:pt x="896510" y="1085046"/>
                </a:cubicBezTo>
                <a:cubicBezTo>
                  <a:pt x="901976" y="1086868"/>
                  <a:pt x="896510" y="1086868"/>
                  <a:pt x="894688" y="1088690"/>
                </a:cubicBezTo>
                <a:cubicBezTo>
                  <a:pt x="900154" y="1099623"/>
                  <a:pt x="903799" y="1117845"/>
                  <a:pt x="920198" y="1116023"/>
                </a:cubicBezTo>
                <a:cubicBezTo>
                  <a:pt x="922020" y="1114201"/>
                  <a:pt x="922020" y="1116023"/>
                  <a:pt x="923843" y="1114201"/>
                </a:cubicBezTo>
                <a:cubicBezTo>
                  <a:pt x="923843" y="1112378"/>
                  <a:pt x="923843" y="1112378"/>
                  <a:pt x="922020" y="1110556"/>
                </a:cubicBezTo>
                <a:cubicBezTo>
                  <a:pt x="920198" y="1112378"/>
                  <a:pt x="920198" y="1114201"/>
                  <a:pt x="920198" y="1116023"/>
                </a:cubicBezTo>
                <a:cubicBezTo>
                  <a:pt x="916555" y="1114201"/>
                  <a:pt x="912909" y="1112378"/>
                  <a:pt x="911087" y="1108734"/>
                </a:cubicBezTo>
                <a:cubicBezTo>
                  <a:pt x="912909" y="1110556"/>
                  <a:pt x="914732" y="1110556"/>
                  <a:pt x="916555" y="1112378"/>
                </a:cubicBezTo>
                <a:cubicBezTo>
                  <a:pt x="918376" y="1110556"/>
                  <a:pt x="918376" y="1110556"/>
                  <a:pt x="918376" y="1108734"/>
                </a:cubicBezTo>
                <a:cubicBezTo>
                  <a:pt x="918376" y="1108734"/>
                  <a:pt x="918376" y="1110556"/>
                  <a:pt x="920198" y="1110556"/>
                </a:cubicBezTo>
                <a:cubicBezTo>
                  <a:pt x="922020" y="1108734"/>
                  <a:pt x="922020" y="1108734"/>
                  <a:pt x="920198" y="1106912"/>
                </a:cubicBezTo>
                <a:cubicBezTo>
                  <a:pt x="920198" y="1110556"/>
                  <a:pt x="920198" y="1106912"/>
                  <a:pt x="918376" y="1106912"/>
                </a:cubicBezTo>
                <a:cubicBezTo>
                  <a:pt x="918376" y="1099623"/>
                  <a:pt x="912909" y="1097801"/>
                  <a:pt x="903799" y="1094157"/>
                </a:cubicBezTo>
                <a:cubicBezTo>
                  <a:pt x="907444" y="1090512"/>
                  <a:pt x="914732" y="1099623"/>
                  <a:pt x="914732" y="1090512"/>
                </a:cubicBezTo>
                <a:cubicBezTo>
                  <a:pt x="912909" y="1090512"/>
                  <a:pt x="912909" y="1090512"/>
                  <a:pt x="911087" y="1092335"/>
                </a:cubicBezTo>
                <a:cubicBezTo>
                  <a:pt x="911087" y="1088690"/>
                  <a:pt x="909265" y="1086868"/>
                  <a:pt x="909265" y="1083224"/>
                </a:cubicBezTo>
                <a:cubicBezTo>
                  <a:pt x="911087" y="1085046"/>
                  <a:pt x="912909" y="1085046"/>
                  <a:pt x="914732" y="1086868"/>
                </a:cubicBezTo>
                <a:cubicBezTo>
                  <a:pt x="916555" y="1086868"/>
                  <a:pt x="912909" y="1085046"/>
                  <a:pt x="912909" y="1083224"/>
                </a:cubicBezTo>
                <a:cubicBezTo>
                  <a:pt x="916555" y="1085046"/>
                  <a:pt x="914732" y="1081402"/>
                  <a:pt x="914732" y="1079579"/>
                </a:cubicBezTo>
                <a:cubicBezTo>
                  <a:pt x="916555" y="1083224"/>
                  <a:pt x="914732" y="1086868"/>
                  <a:pt x="918376" y="1088690"/>
                </a:cubicBezTo>
                <a:cubicBezTo>
                  <a:pt x="920198" y="1092335"/>
                  <a:pt x="914732" y="1094157"/>
                  <a:pt x="918376" y="1097801"/>
                </a:cubicBezTo>
                <a:cubicBezTo>
                  <a:pt x="920198" y="1097801"/>
                  <a:pt x="923843" y="1097801"/>
                  <a:pt x="925666" y="1101445"/>
                </a:cubicBezTo>
                <a:cubicBezTo>
                  <a:pt x="925666" y="1097801"/>
                  <a:pt x="920198" y="1097801"/>
                  <a:pt x="918376" y="1092335"/>
                </a:cubicBezTo>
                <a:cubicBezTo>
                  <a:pt x="920198" y="1090512"/>
                  <a:pt x="922020" y="1094157"/>
                  <a:pt x="923843" y="1094157"/>
                </a:cubicBezTo>
                <a:cubicBezTo>
                  <a:pt x="925666" y="1088690"/>
                  <a:pt x="923843" y="1077757"/>
                  <a:pt x="914732" y="1074113"/>
                </a:cubicBezTo>
                <a:close/>
                <a:moveTo>
                  <a:pt x="832734" y="1074113"/>
                </a:moveTo>
                <a:cubicBezTo>
                  <a:pt x="830912" y="1077757"/>
                  <a:pt x="834556" y="1083224"/>
                  <a:pt x="836378" y="1079579"/>
                </a:cubicBezTo>
                <a:cubicBezTo>
                  <a:pt x="834556" y="1079579"/>
                  <a:pt x="834556" y="1077757"/>
                  <a:pt x="832734" y="1074113"/>
                </a:cubicBezTo>
                <a:close/>
                <a:moveTo>
                  <a:pt x="393590" y="1074113"/>
                </a:moveTo>
                <a:cubicBezTo>
                  <a:pt x="400879" y="1081402"/>
                  <a:pt x="395412" y="1074113"/>
                  <a:pt x="397234" y="1074113"/>
                </a:cubicBezTo>
                <a:cubicBezTo>
                  <a:pt x="395412" y="1074113"/>
                  <a:pt x="395412" y="1075935"/>
                  <a:pt x="393590" y="1074113"/>
                </a:cubicBezTo>
                <a:close/>
                <a:moveTo>
                  <a:pt x="213195" y="1074113"/>
                </a:moveTo>
                <a:cubicBezTo>
                  <a:pt x="215017" y="1077757"/>
                  <a:pt x="215017" y="1083224"/>
                  <a:pt x="222306" y="1081402"/>
                </a:cubicBezTo>
                <a:cubicBezTo>
                  <a:pt x="220483" y="1075935"/>
                  <a:pt x="216839" y="1074113"/>
                  <a:pt x="213195" y="1074113"/>
                </a:cubicBezTo>
                <a:close/>
                <a:moveTo>
                  <a:pt x="145774" y="1074113"/>
                </a:moveTo>
                <a:cubicBezTo>
                  <a:pt x="145774" y="1077757"/>
                  <a:pt x="151241" y="1079579"/>
                  <a:pt x="154885" y="1083224"/>
                </a:cubicBezTo>
                <a:cubicBezTo>
                  <a:pt x="153063" y="1079579"/>
                  <a:pt x="149419" y="1079579"/>
                  <a:pt x="145774" y="1074113"/>
                </a:cubicBezTo>
                <a:close/>
                <a:moveTo>
                  <a:pt x="1134762" y="1072522"/>
                </a:moveTo>
                <a:lnTo>
                  <a:pt x="1136228" y="1074720"/>
                </a:lnTo>
                <a:lnTo>
                  <a:pt x="1136374" y="1075604"/>
                </a:lnTo>
                <a:lnTo>
                  <a:pt x="1134310" y="1074571"/>
                </a:lnTo>
                <a:close/>
                <a:moveTo>
                  <a:pt x="1195346" y="1072291"/>
                </a:moveTo>
                <a:cubicBezTo>
                  <a:pt x="1193525" y="1070469"/>
                  <a:pt x="1189880" y="1072291"/>
                  <a:pt x="1189880" y="1074113"/>
                </a:cubicBezTo>
                <a:cubicBezTo>
                  <a:pt x="1191703" y="1077757"/>
                  <a:pt x="1193525" y="1072291"/>
                  <a:pt x="1195346" y="1072291"/>
                </a:cubicBezTo>
                <a:close/>
                <a:moveTo>
                  <a:pt x="1177125" y="1072291"/>
                </a:moveTo>
                <a:cubicBezTo>
                  <a:pt x="1175303" y="1072291"/>
                  <a:pt x="1175303" y="1074113"/>
                  <a:pt x="1173481" y="1074113"/>
                </a:cubicBezTo>
                <a:cubicBezTo>
                  <a:pt x="1175303" y="1077757"/>
                  <a:pt x="1177125" y="1074113"/>
                  <a:pt x="1177125" y="1072291"/>
                </a:cubicBezTo>
                <a:close/>
                <a:moveTo>
                  <a:pt x="1075083" y="1072291"/>
                </a:moveTo>
                <a:cubicBezTo>
                  <a:pt x="1075083" y="1074113"/>
                  <a:pt x="1075083" y="1074113"/>
                  <a:pt x="1075083" y="1075935"/>
                </a:cubicBezTo>
                <a:cubicBezTo>
                  <a:pt x="1078727" y="1077757"/>
                  <a:pt x="1078727" y="1075935"/>
                  <a:pt x="1078727" y="1074113"/>
                </a:cubicBezTo>
                <a:cubicBezTo>
                  <a:pt x="1076905" y="1072291"/>
                  <a:pt x="1076905" y="1074113"/>
                  <a:pt x="1075083" y="1072291"/>
                </a:cubicBezTo>
                <a:close/>
                <a:moveTo>
                  <a:pt x="1053217" y="1072291"/>
                </a:moveTo>
                <a:cubicBezTo>
                  <a:pt x="1051395" y="1075935"/>
                  <a:pt x="1058683" y="1079579"/>
                  <a:pt x="1060506" y="1081402"/>
                </a:cubicBezTo>
                <a:cubicBezTo>
                  <a:pt x="1064151" y="1075935"/>
                  <a:pt x="1056861" y="1074113"/>
                  <a:pt x="1053217" y="1072291"/>
                </a:cubicBezTo>
                <a:close/>
                <a:moveTo>
                  <a:pt x="936598" y="1072291"/>
                </a:moveTo>
                <a:cubicBezTo>
                  <a:pt x="932953" y="1074113"/>
                  <a:pt x="929309" y="1085046"/>
                  <a:pt x="934777" y="1088690"/>
                </a:cubicBezTo>
                <a:cubicBezTo>
                  <a:pt x="938420" y="1083224"/>
                  <a:pt x="934777" y="1077757"/>
                  <a:pt x="936598" y="1072291"/>
                </a:cubicBezTo>
                <a:close/>
                <a:moveTo>
                  <a:pt x="495632" y="1072291"/>
                </a:moveTo>
                <a:cubicBezTo>
                  <a:pt x="497454" y="1083224"/>
                  <a:pt x="506565" y="1090512"/>
                  <a:pt x="515676" y="1099623"/>
                </a:cubicBezTo>
                <a:cubicBezTo>
                  <a:pt x="517498" y="1097801"/>
                  <a:pt x="515676" y="1095979"/>
                  <a:pt x="517498" y="1094157"/>
                </a:cubicBezTo>
                <a:cubicBezTo>
                  <a:pt x="519320" y="1095979"/>
                  <a:pt x="517498" y="1095979"/>
                  <a:pt x="519320" y="1094157"/>
                </a:cubicBezTo>
                <a:cubicBezTo>
                  <a:pt x="522964" y="1095979"/>
                  <a:pt x="522964" y="1097801"/>
                  <a:pt x="524786" y="1099623"/>
                </a:cubicBezTo>
                <a:cubicBezTo>
                  <a:pt x="524786" y="1092335"/>
                  <a:pt x="517498" y="1081402"/>
                  <a:pt x="504743" y="1079579"/>
                </a:cubicBezTo>
                <a:cubicBezTo>
                  <a:pt x="508387" y="1079579"/>
                  <a:pt x="508387" y="1079579"/>
                  <a:pt x="512031" y="1079579"/>
                </a:cubicBezTo>
                <a:cubicBezTo>
                  <a:pt x="506565" y="1077757"/>
                  <a:pt x="501098" y="1074113"/>
                  <a:pt x="495632" y="1072291"/>
                </a:cubicBezTo>
                <a:close/>
                <a:moveTo>
                  <a:pt x="431856" y="1072291"/>
                </a:moveTo>
                <a:cubicBezTo>
                  <a:pt x="433678" y="1079579"/>
                  <a:pt x="446433" y="1088690"/>
                  <a:pt x="453722" y="1088690"/>
                </a:cubicBezTo>
                <a:cubicBezTo>
                  <a:pt x="450077" y="1083224"/>
                  <a:pt x="437322" y="1074113"/>
                  <a:pt x="431856" y="1072291"/>
                </a:cubicBezTo>
                <a:close/>
                <a:moveTo>
                  <a:pt x="1009485" y="1072063"/>
                </a:moveTo>
                <a:cubicBezTo>
                  <a:pt x="1008575" y="1073201"/>
                  <a:pt x="1007663" y="1075024"/>
                  <a:pt x="1005840" y="1075935"/>
                </a:cubicBezTo>
                <a:cubicBezTo>
                  <a:pt x="1007663" y="1077757"/>
                  <a:pt x="1013129" y="1075935"/>
                  <a:pt x="1013129" y="1072291"/>
                </a:cubicBezTo>
                <a:cubicBezTo>
                  <a:pt x="1011307" y="1070468"/>
                  <a:pt x="1010396" y="1070924"/>
                  <a:pt x="1009485" y="1072063"/>
                </a:cubicBezTo>
                <a:close/>
                <a:moveTo>
                  <a:pt x="3567817" y="1070469"/>
                </a:moveTo>
                <a:cubicBezTo>
                  <a:pt x="3564173" y="1072291"/>
                  <a:pt x="3569639" y="1075935"/>
                  <a:pt x="3575106" y="1075935"/>
                </a:cubicBezTo>
                <a:cubicBezTo>
                  <a:pt x="3575106" y="1072291"/>
                  <a:pt x="3567817" y="1074113"/>
                  <a:pt x="3567817" y="1070469"/>
                </a:cubicBezTo>
                <a:close/>
                <a:moveTo>
                  <a:pt x="2233986" y="1070469"/>
                </a:moveTo>
                <a:lnTo>
                  <a:pt x="2235283" y="1070665"/>
                </a:lnTo>
                <a:lnTo>
                  <a:pt x="2233274" y="1071418"/>
                </a:lnTo>
                <a:close/>
                <a:moveTo>
                  <a:pt x="1133393" y="1070469"/>
                </a:moveTo>
                <a:lnTo>
                  <a:pt x="1135215" y="1070469"/>
                </a:lnTo>
                <a:lnTo>
                  <a:pt x="1134762" y="1072522"/>
                </a:lnTo>
                <a:close/>
                <a:moveTo>
                  <a:pt x="889222" y="1070469"/>
                </a:moveTo>
                <a:cubicBezTo>
                  <a:pt x="885577" y="1072291"/>
                  <a:pt x="885577" y="1075935"/>
                  <a:pt x="885577" y="1079579"/>
                </a:cubicBezTo>
                <a:cubicBezTo>
                  <a:pt x="891043" y="1079579"/>
                  <a:pt x="892866" y="1074113"/>
                  <a:pt x="889222" y="1070469"/>
                </a:cubicBezTo>
                <a:close/>
                <a:moveTo>
                  <a:pt x="834556" y="1070469"/>
                </a:moveTo>
                <a:cubicBezTo>
                  <a:pt x="834556" y="1075935"/>
                  <a:pt x="838200" y="1081402"/>
                  <a:pt x="841845" y="1086868"/>
                </a:cubicBezTo>
                <a:lnTo>
                  <a:pt x="842909" y="1083084"/>
                </a:lnTo>
                <a:lnTo>
                  <a:pt x="850956" y="1090512"/>
                </a:lnTo>
                <a:cubicBezTo>
                  <a:pt x="854600" y="1088690"/>
                  <a:pt x="849133" y="1085046"/>
                  <a:pt x="847311" y="1086868"/>
                </a:cubicBezTo>
                <a:cubicBezTo>
                  <a:pt x="849133" y="1083224"/>
                  <a:pt x="849133" y="1081402"/>
                  <a:pt x="849133" y="1077757"/>
                </a:cubicBezTo>
                <a:cubicBezTo>
                  <a:pt x="852778" y="1081402"/>
                  <a:pt x="852778" y="1083224"/>
                  <a:pt x="854600" y="1086868"/>
                </a:cubicBezTo>
                <a:cubicBezTo>
                  <a:pt x="856422" y="1081402"/>
                  <a:pt x="849133" y="1072291"/>
                  <a:pt x="845489" y="1074113"/>
                </a:cubicBezTo>
                <a:lnTo>
                  <a:pt x="843619" y="1078600"/>
                </a:lnTo>
                <a:lnTo>
                  <a:pt x="841845" y="1072291"/>
                </a:lnTo>
                <a:cubicBezTo>
                  <a:pt x="838200" y="1068646"/>
                  <a:pt x="836378" y="1072291"/>
                  <a:pt x="834556" y="1070469"/>
                </a:cubicBezTo>
                <a:close/>
                <a:moveTo>
                  <a:pt x="830912" y="1070469"/>
                </a:moveTo>
                <a:cubicBezTo>
                  <a:pt x="829089" y="1070469"/>
                  <a:pt x="827267" y="1074113"/>
                  <a:pt x="827267" y="1075935"/>
                </a:cubicBezTo>
                <a:cubicBezTo>
                  <a:pt x="829089" y="1075935"/>
                  <a:pt x="829089" y="1075935"/>
                  <a:pt x="830912" y="1077757"/>
                </a:cubicBezTo>
                <a:cubicBezTo>
                  <a:pt x="830912" y="1075935"/>
                  <a:pt x="830912" y="1074113"/>
                  <a:pt x="830912" y="1070469"/>
                </a:cubicBezTo>
                <a:close/>
                <a:moveTo>
                  <a:pt x="739803" y="1070469"/>
                </a:moveTo>
                <a:cubicBezTo>
                  <a:pt x="739803" y="1075935"/>
                  <a:pt x="741626" y="1081402"/>
                  <a:pt x="747092" y="1086868"/>
                </a:cubicBezTo>
                <a:cubicBezTo>
                  <a:pt x="747092" y="1081402"/>
                  <a:pt x="747092" y="1077757"/>
                  <a:pt x="745269" y="1072291"/>
                </a:cubicBezTo>
                <a:cubicBezTo>
                  <a:pt x="743447" y="1068646"/>
                  <a:pt x="739803" y="1072291"/>
                  <a:pt x="739803" y="1070469"/>
                </a:cubicBezTo>
                <a:close/>
                <a:moveTo>
                  <a:pt x="570341" y="1070469"/>
                </a:moveTo>
                <a:cubicBezTo>
                  <a:pt x="570341" y="1075935"/>
                  <a:pt x="573985" y="1075935"/>
                  <a:pt x="579452" y="1075935"/>
                </a:cubicBezTo>
                <a:cubicBezTo>
                  <a:pt x="579452" y="1074113"/>
                  <a:pt x="575808" y="1072291"/>
                  <a:pt x="573985" y="1070469"/>
                </a:cubicBezTo>
                <a:cubicBezTo>
                  <a:pt x="572163" y="1074113"/>
                  <a:pt x="572163" y="1074113"/>
                  <a:pt x="570341" y="1070469"/>
                </a:cubicBezTo>
                <a:close/>
                <a:moveTo>
                  <a:pt x="386301" y="1070469"/>
                </a:moveTo>
                <a:cubicBezTo>
                  <a:pt x="389946" y="1074113"/>
                  <a:pt x="384479" y="1070469"/>
                  <a:pt x="380835" y="1072291"/>
                </a:cubicBezTo>
                <a:cubicBezTo>
                  <a:pt x="380835" y="1068646"/>
                  <a:pt x="384479" y="1072291"/>
                  <a:pt x="386301" y="1070469"/>
                </a:cubicBezTo>
                <a:close/>
                <a:moveTo>
                  <a:pt x="258749" y="1070469"/>
                </a:moveTo>
                <a:cubicBezTo>
                  <a:pt x="262393" y="1074113"/>
                  <a:pt x="266038" y="1074113"/>
                  <a:pt x="269682" y="1079579"/>
                </a:cubicBezTo>
                <a:cubicBezTo>
                  <a:pt x="269682" y="1075935"/>
                  <a:pt x="260571" y="1065002"/>
                  <a:pt x="258749" y="1070469"/>
                </a:cubicBezTo>
                <a:close/>
                <a:moveTo>
                  <a:pt x="204084" y="1070469"/>
                </a:moveTo>
                <a:cubicBezTo>
                  <a:pt x="204084" y="1077757"/>
                  <a:pt x="207728" y="1074113"/>
                  <a:pt x="209550" y="1074113"/>
                </a:cubicBezTo>
                <a:cubicBezTo>
                  <a:pt x="211372" y="1070469"/>
                  <a:pt x="205906" y="1070469"/>
                  <a:pt x="204084" y="1070469"/>
                </a:cubicBezTo>
                <a:close/>
                <a:moveTo>
                  <a:pt x="1096949" y="1070468"/>
                </a:moveTo>
                <a:cubicBezTo>
                  <a:pt x="1093760" y="1071835"/>
                  <a:pt x="1090572" y="1074113"/>
                  <a:pt x="1087838" y="1075935"/>
                </a:cubicBezTo>
                <a:cubicBezTo>
                  <a:pt x="1086016" y="1077757"/>
                  <a:pt x="1091484" y="1077757"/>
                  <a:pt x="1087838" y="1079579"/>
                </a:cubicBezTo>
                <a:cubicBezTo>
                  <a:pt x="1089660" y="1081402"/>
                  <a:pt x="1091484" y="1077757"/>
                  <a:pt x="1089660" y="1075935"/>
                </a:cubicBezTo>
                <a:cubicBezTo>
                  <a:pt x="1091484" y="1074113"/>
                  <a:pt x="1091484" y="1077757"/>
                  <a:pt x="1093305" y="1079579"/>
                </a:cubicBezTo>
                <a:cubicBezTo>
                  <a:pt x="1095127" y="1079579"/>
                  <a:pt x="1095127" y="1077757"/>
                  <a:pt x="1093305" y="1075935"/>
                </a:cubicBezTo>
                <a:cubicBezTo>
                  <a:pt x="1095127" y="1075935"/>
                  <a:pt x="1096949" y="1079579"/>
                  <a:pt x="1095127" y="1081402"/>
                </a:cubicBezTo>
                <a:cubicBezTo>
                  <a:pt x="1100593" y="1083224"/>
                  <a:pt x="1102416" y="1079579"/>
                  <a:pt x="1106060" y="1075935"/>
                </a:cubicBezTo>
                <a:cubicBezTo>
                  <a:pt x="1106060" y="1074113"/>
                  <a:pt x="1106060" y="1072291"/>
                  <a:pt x="1106060" y="1070469"/>
                </a:cubicBezTo>
                <a:cubicBezTo>
                  <a:pt x="1103326" y="1068646"/>
                  <a:pt x="1100139" y="1069102"/>
                  <a:pt x="1096949" y="1070468"/>
                </a:cubicBezTo>
                <a:close/>
                <a:moveTo>
                  <a:pt x="2343487" y="1069643"/>
                </a:moveTo>
                <a:cubicBezTo>
                  <a:pt x="2340583" y="1071607"/>
                  <a:pt x="2343316" y="1080490"/>
                  <a:pt x="2337850" y="1083224"/>
                </a:cubicBezTo>
                <a:cubicBezTo>
                  <a:pt x="2336027" y="1099623"/>
                  <a:pt x="2348782" y="1105090"/>
                  <a:pt x="2363360" y="1103268"/>
                </a:cubicBezTo>
                <a:lnTo>
                  <a:pt x="2365182" y="1101445"/>
                </a:lnTo>
                <a:lnTo>
                  <a:pt x="2365182" y="1103268"/>
                </a:lnTo>
                <a:cubicBezTo>
                  <a:pt x="2372471" y="1101445"/>
                  <a:pt x="2381582" y="1099623"/>
                  <a:pt x="2388871" y="1094157"/>
                </a:cubicBezTo>
                <a:cubicBezTo>
                  <a:pt x="2388871" y="1086868"/>
                  <a:pt x="2388871" y="1075935"/>
                  <a:pt x="2383404" y="1074113"/>
                </a:cubicBezTo>
                <a:cubicBezTo>
                  <a:pt x="2376115" y="1072291"/>
                  <a:pt x="2388871" y="1085046"/>
                  <a:pt x="2381582" y="1081402"/>
                </a:cubicBezTo>
                <a:cubicBezTo>
                  <a:pt x="2376115" y="1077757"/>
                  <a:pt x="2372471" y="1075935"/>
                  <a:pt x="2367004" y="1079579"/>
                </a:cubicBezTo>
                <a:cubicBezTo>
                  <a:pt x="2367004" y="1081402"/>
                  <a:pt x="2367004" y="1081402"/>
                  <a:pt x="2367004" y="1083224"/>
                </a:cubicBezTo>
                <a:cubicBezTo>
                  <a:pt x="2363360" y="1083224"/>
                  <a:pt x="2357893" y="1081402"/>
                  <a:pt x="2359716" y="1075935"/>
                </a:cubicBezTo>
                <a:cubicBezTo>
                  <a:pt x="2356071" y="1074113"/>
                  <a:pt x="2352427" y="1077757"/>
                  <a:pt x="2346960" y="1077757"/>
                </a:cubicBezTo>
                <a:cubicBezTo>
                  <a:pt x="2346960" y="1074113"/>
                  <a:pt x="2346960" y="1072291"/>
                  <a:pt x="2348782" y="1070469"/>
                </a:cubicBezTo>
                <a:cubicBezTo>
                  <a:pt x="2346049" y="1069102"/>
                  <a:pt x="2344455" y="1068988"/>
                  <a:pt x="2343487" y="1069643"/>
                </a:cubicBezTo>
                <a:close/>
                <a:moveTo>
                  <a:pt x="2317806" y="1068646"/>
                </a:moveTo>
                <a:cubicBezTo>
                  <a:pt x="2315983" y="1074113"/>
                  <a:pt x="2321450" y="1074113"/>
                  <a:pt x="2321450" y="1075935"/>
                </a:cubicBezTo>
                <a:cubicBezTo>
                  <a:pt x="2325094" y="1074113"/>
                  <a:pt x="2321450" y="1070469"/>
                  <a:pt x="2321450" y="1068646"/>
                </a:cubicBezTo>
                <a:cubicBezTo>
                  <a:pt x="2319628" y="1068646"/>
                  <a:pt x="2319628" y="1068646"/>
                  <a:pt x="2317806" y="1068646"/>
                </a:cubicBezTo>
                <a:close/>
                <a:moveTo>
                  <a:pt x="1162547" y="1068646"/>
                </a:moveTo>
                <a:cubicBezTo>
                  <a:pt x="1160725" y="1072291"/>
                  <a:pt x="1153436" y="1075935"/>
                  <a:pt x="1157081" y="1077757"/>
                </a:cubicBezTo>
                <a:cubicBezTo>
                  <a:pt x="1158903" y="1074113"/>
                  <a:pt x="1162547" y="1072291"/>
                  <a:pt x="1166192" y="1070469"/>
                </a:cubicBezTo>
                <a:cubicBezTo>
                  <a:pt x="1164370" y="1070469"/>
                  <a:pt x="1164370" y="1068646"/>
                  <a:pt x="1162547" y="1068646"/>
                </a:cubicBezTo>
                <a:close/>
                <a:moveTo>
                  <a:pt x="1113349" y="1068646"/>
                </a:moveTo>
                <a:lnTo>
                  <a:pt x="1121509" y="1073379"/>
                </a:lnTo>
                <a:lnTo>
                  <a:pt x="1120637" y="1074113"/>
                </a:lnTo>
                <a:cubicBezTo>
                  <a:pt x="1118815" y="1072291"/>
                  <a:pt x="1115171" y="1070469"/>
                  <a:pt x="1113349" y="1068646"/>
                </a:cubicBezTo>
                <a:close/>
                <a:moveTo>
                  <a:pt x="1065972" y="1068646"/>
                </a:moveTo>
                <a:cubicBezTo>
                  <a:pt x="1064151" y="1070469"/>
                  <a:pt x="1065972" y="1072291"/>
                  <a:pt x="1064151" y="1075935"/>
                </a:cubicBezTo>
                <a:cubicBezTo>
                  <a:pt x="1065972" y="1077757"/>
                  <a:pt x="1071439" y="1079579"/>
                  <a:pt x="1071439" y="1077757"/>
                </a:cubicBezTo>
                <a:cubicBezTo>
                  <a:pt x="1073262" y="1075935"/>
                  <a:pt x="1069616" y="1072291"/>
                  <a:pt x="1071439" y="1070469"/>
                </a:cubicBezTo>
                <a:cubicBezTo>
                  <a:pt x="1069616" y="1066824"/>
                  <a:pt x="1067794" y="1070469"/>
                  <a:pt x="1065972" y="1068646"/>
                </a:cubicBezTo>
                <a:close/>
                <a:moveTo>
                  <a:pt x="1060506" y="1068646"/>
                </a:moveTo>
                <a:cubicBezTo>
                  <a:pt x="1058683" y="1070469"/>
                  <a:pt x="1056861" y="1068646"/>
                  <a:pt x="1055040" y="1070469"/>
                </a:cubicBezTo>
                <a:cubicBezTo>
                  <a:pt x="1056861" y="1072291"/>
                  <a:pt x="1058683" y="1072291"/>
                  <a:pt x="1060506" y="1074113"/>
                </a:cubicBezTo>
                <a:cubicBezTo>
                  <a:pt x="1062328" y="1072291"/>
                  <a:pt x="1062328" y="1070469"/>
                  <a:pt x="1060506" y="1068646"/>
                </a:cubicBezTo>
                <a:close/>
                <a:moveTo>
                  <a:pt x="776246" y="1068646"/>
                </a:moveTo>
                <a:cubicBezTo>
                  <a:pt x="770781" y="1079579"/>
                  <a:pt x="783535" y="1075935"/>
                  <a:pt x="783535" y="1081402"/>
                </a:cubicBezTo>
                <a:cubicBezTo>
                  <a:pt x="785357" y="1079579"/>
                  <a:pt x="787179" y="1079579"/>
                  <a:pt x="787179" y="1077757"/>
                </a:cubicBezTo>
                <a:cubicBezTo>
                  <a:pt x="789003" y="1075935"/>
                  <a:pt x="787179" y="1074113"/>
                  <a:pt x="789003" y="1072291"/>
                </a:cubicBezTo>
                <a:cubicBezTo>
                  <a:pt x="787179" y="1072291"/>
                  <a:pt x="785357" y="1070469"/>
                  <a:pt x="783535" y="1072291"/>
                </a:cubicBezTo>
                <a:cubicBezTo>
                  <a:pt x="785357" y="1075935"/>
                  <a:pt x="787179" y="1075935"/>
                  <a:pt x="787179" y="1077757"/>
                </a:cubicBezTo>
                <a:cubicBezTo>
                  <a:pt x="783535" y="1072291"/>
                  <a:pt x="778070" y="1070469"/>
                  <a:pt x="776246" y="1068646"/>
                </a:cubicBezTo>
                <a:close/>
                <a:moveTo>
                  <a:pt x="541414" y="1068646"/>
                </a:moveTo>
                <a:cubicBezTo>
                  <a:pt x="539364" y="1067735"/>
                  <a:pt x="537542" y="1067735"/>
                  <a:pt x="537542" y="1070469"/>
                </a:cubicBezTo>
                <a:cubicBezTo>
                  <a:pt x="535719" y="1072291"/>
                  <a:pt x="535719" y="1081402"/>
                  <a:pt x="548475" y="1081402"/>
                </a:cubicBezTo>
                <a:cubicBezTo>
                  <a:pt x="550297" y="1081402"/>
                  <a:pt x="548475" y="1079579"/>
                  <a:pt x="550297" y="1077757"/>
                </a:cubicBezTo>
                <a:cubicBezTo>
                  <a:pt x="546653" y="1074113"/>
                  <a:pt x="544830" y="1077757"/>
                  <a:pt x="541186" y="1075935"/>
                </a:cubicBezTo>
                <a:cubicBezTo>
                  <a:pt x="543008" y="1075935"/>
                  <a:pt x="543008" y="1075935"/>
                  <a:pt x="546653" y="1075935"/>
                </a:cubicBezTo>
                <a:cubicBezTo>
                  <a:pt x="544830" y="1074113"/>
                  <a:pt x="543008" y="1074113"/>
                  <a:pt x="541186" y="1072291"/>
                </a:cubicBezTo>
                <a:cubicBezTo>
                  <a:pt x="541186" y="1070469"/>
                  <a:pt x="546653" y="1074113"/>
                  <a:pt x="546653" y="1072291"/>
                </a:cubicBezTo>
                <a:cubicBezTo>
                  <a:pt x="545741" y="1071380"/>
                  <a:pt x="543464" y="1069557"/>
                  <a:pt x="541414" y="1068646"/>
                </a:cubicBezTo>
                <a:close/>
                <a:moveTo>
                  <a:pt x="2459935" y="1066824"/>
                </a:moveTo>
                <a:cubicBezTo>
                  <a:pt x="2458113" y="1066824"/>
                  <a:pt x="2456291" y="1068646"/>
                  <a:pt x="2454469" y="1068646"/>
                </a:cubicBezTo>
                <a:cubicBezTo>
                  <a:pt x="2454469" y="1074113"/>
                  <a:pt x="2449002" y="1075935"/>
                  <a:pt x="2449002" y="1081402"/>
                </a:cubicBezTo>
                <a:cubicBezTo>
                  <a:pt x="2456291" y="1094157"/>
                  <a:pt x="2469046" y="1106912"/>
                  <a:pt x="2489090" y="1099623"/>
                </a:cubicBezTo>
                <a:cubicBezTo>
                  <a:pt x="2489090" y="1094157"/>
                  <a:pt x="2485446" y="1095979"/>
                  <a:pt x="2481801" y="1095979"/>
                </a:cubicBezTo>
                <a:cubicBezTo>
                  <a:pt x="2487268" y="1083224"/>
                  <a:pt x="2478157" y="1075935"/>
                  <a:pt x="2469046" y="1074113"/>
                </a:cubicBezTo>
                <a:cubicBezTo>
                  <a:pt x="2465402" y="1075935"/>
                  <a:pt x="2465402" y="1077757"/>
                  <a:pt x="2465402" y="1081402"/>
                </a:cubicBezTo>
                <a:cubicBezTo>
                  <a:pt x="2463580" y="1081402"/>
                  <a:pt x="2461757" y="1079579"/>
                  <a:pt x="2461757" y="1081402"/>
                </a:cubicBezTo>
                <a:cubicBezTo>
                  <a:pt x="2459935" y="1077757"/>
                  <a:pt x="2459935" y="1074113"/>
                  <a:pt x="2459935" y="1066824"/>
                </a:cubicBezTo>
                <a:close/>
                <a:moveTo>
                  <a:pt x="1153436" y="1066824"/>
                </a:moveTo>
                <a:cubicBezTo>
                  <a:pt x="1151614" y="1068646"/>
                  <a:pt x="1149792" y="1066824"/>
                  <a:pt x="1147970" y="1068646"/>
                </a:cubicBezTo>
                <a:cubicBezTo>
                  <a:pt x="1149792" y="1070469"/>
                  <a:pt x="1147970" y="1070469"/>
                  <a:pt x="1149792" y="1072291"/>
                </a:cubicBezTo>
                <a:cubicBezTo>
                  <a:pt x="1149792" y="1072291"/>
                  <a:pt x="1151614" y="1070469"/>
                  <a:pt x="1151614" y="1068646"/>
                </a:cubicBezTo>
                <a:cubicBezTo>
                  <a:pt x="1149792" y="1070469"/>
                  <a:pt x="1147970" y="1074113"/>
                  <a:pt x="1147970" y="1077757"/>
                </a:cubicBezTo>
                <a:cubicBezTo>
                  <a:pt x="1151614" y="1079579"/>
                  <a:pt x="1151614" y="1075935"/>
                  <a:pt x="1153436" y="1074113"/>
                </a:cubicBezTo>
                <a:cubicBezTo>
                  <a:pt x="1151614" y="1072291"/>
                  <a:pt x="1153436" y="1068646"/>
                  <a:pt x="1153436" y="1066824"/>
                </a:cubicBezTo>
                <a:close/>
                <a:moveTo>
                  <a:pt x="1144326" y="1066824"/>
                </a:moveTo>
                <a:cubicBezTo>
                  <a:pt x="1140681" y="1068646"/>
                  <a:pt x="1144326" y="1070469"/>
                  <a:pt x="1142503" y="1072291"/>
                </a:cubicBezTo>
                <a:cubicBezTo>
                  <a:pt x="1144326" y="1074113"/>
                  <a:pt x="1146148" y="1072291"/>
                  <a:pt x="1147970" y="1074113"/>
                </a:cubicBezTo>
                <a:cubicBezTo>
                  <a:pt x="1147970" y="1070469"/>
                  <a:pt x="1147970" y="1068646"/>
                  <a:pt x="1144326" y="1066824"/>
                </a:cubicBezTo>
                <a:close/>
                <a:moveTo>
                  <a:pt x="1113349" y="1066824"/>
                </a:moveTo>
                <a:cubicBezTo>
                  <a:pt x="1113349" y="1068646"/>
                  <a:pt x="1113349" y="1068646"/>
                  <a:pt x="1113349" y="1068646"/>
                </a:cubicBezTo>
                <a:cubicBezTo>
                  <a:pt x="1106060" y="1074113"/>
                  <a:pt x="1107882" y="1079579"/>
                  <a:pt x="1107882" y="1085046"/>
                </a:cubicBezTo>
                <a:cubicBezTo>
                  <a:pt x="1104238" y="1085046"/>
                  <a:pt x="1107882" y="1081402"/>
                  <a:pt x="1106060" y="1079579"/>
                </a:cubicBezTo>
                <a:cubicBezTo>
                  <a:pt x="1104238" y="1079579"/>
                  <a:pt x="1104238" y="1081402"/>
                  <a:pt x="1102416" y="1081402"/>
                </a:cubicBezTo>
                <a:cubicBezTo>
                  <a:pt x="1104238" y="1085046"/>
                  <a:pt x="1107882" y="1090512"/>
                  <a:pt x="1111526" y="1090512"/>
                </a:cubicBezTo>
                <a:cubicBezTo>
                  <a:pt x="1115171" y="1088690"/>
                  <a:pt x="1113349" y="1086868"/>
                  <a:pt x="1116993" y="1085046"/>
                </a:cubicBezTo>
                <a:cubicBezTo>
                  <a:pt x="1118815" y="1086868"/>
                  <a:pt x="1115171" y="1090512"/>
                  <a:pt x="1113349" y="1092335"/>
                </a:cubicBezTo>
                <a:cubicBezTo>
                  <a:pt x="1113349" y="1094157"/>
                  <a:pt x="1115171" y="1094157"/>
                  <a:pt x="1115171" y="1095979"/>
                </a:cubicBezTo>
                <a:cubicBezTo>
                  <a:pt x="1115171" y="1099623"/>
                  <a:pt x="1120637" y="1101445"/>
                  <a:pt x="1122459" y="1097801"/>
                </a:cubicBezTo>
                <a:cubicBezTo>
                  <a:pt x="1120637" y="1094157"/>
                  <a:pt x="1116993" y="1095979"/>
                  <a:pt x="1115171" y="1095979"/>
                </a:cubicBezTo>
                <a:cubicBezTo>
                  <a:pt x="1116993" y="1095979"/>
                  <a:pt x="1118815" y="1094157"/>
                  <a:pt x="1120637" y="1092335"/>
                </a:cubicBezTo>
                <a:cubicBezTo>
                  <a:pt x="1120637" y="1095979"/>
                  <a:pt x="1122459" y="1097801"/>
                  <a:pt x="1126104" y="1097801"/>
                </a:cubicBezTo>
                <a:cubicBezTo>
                  <a:pt x="1127926" y="1099623"/>
                  <a:pt x="1122459" y="1095979"/>
                  <a:pt x="1122459" y="1099623"/>
                </a:cubicBezTo>
                <a:cubicBezTo>
                  <a:pt x="1126104" y="1101445"/>
                  <a:pt x="1127926" y="1101445"/>
                  <a:pt x="1129748" y="1101445"/>
                </a:cubicBezTo>
                <a:cubicBezTo>
                  <a:pt x="1131570" y="1096890"/>
                  <a:pt x="1131570" y="1091423"/>
                  <a:pt x="1131798" y="1085957"/>
                </a:cubicBezTo>
                <a:lnTo>
                  <a:pt x="1132548" y="1082557"/>
                </a:lnTo>
                <a:lnTo>
                  <a:pt x="1131570" y="1092335"/>
                </a:lnTo>
                <a:cubicBezTo>
                  <a:pt x="1137037" y="1088690"/>
                  <a:pt x="1142503" y="1083224"/>
                  <a:pt x="1137037" y="1079579"/>
                </a:cubicBezTo>
                <a:lnTo>
                  <a:pt x="1136374" y="1075604"/>
                </a:lnTo>
                <a:lnTo>
                  <a:pt x="1137037" y="1075935"/>
                </a:lnTo>
                <a:lnTo>
                  <a:pt x="1136228" y="1074720"/>
                </a:lnTo>
                <a:lnTo>
                  <a:pt x="1135215" y="1068646"/>
                </a:lnTo>
                <a:cubicBezTo>
                  <a:pt x="1135215" y="1068646"/>
                  <a:pt x="1133393" y="1070469"/>
                  <a:pt x="1133393" y="1070469"/>
                </a:cubicBezTo>
                <a:lnTo>
                  <a:pt x="1131570" y="1070469"/>
                </a:lnTo>
                <a:cubicBezTo>
                  <a:pt x="1131570" y="1070469"/>
                  <a:pt x="1135215" y="1068646"/>
                  <a:pt x="1133393" y="1066824"/>
                </a:cubicBezTo>
                <a:cubicBezTo>
                  <a:pt x="1131570" y="1071379"/>
                  <a:pt x="1128382" y="1074568"/>
                  <a:pt x="1124737" y="1075251"/>
                </a:cubicBezTo>
                <a:lnTo>
                  <a:pt x="1121509" y="1073379"/>
                </a:lnTo>
                <a:lnTo>
                  <a:pt x="1124965" y="1070468"/>
                </a:lnTo>
                <a:cubicBezTo>
                  <a:pt x="1126559" y="1069101"/>
                  <a:pt x="1127926" y="1067735"/>
                  <a:pt x="1127926" y="1066824"/>
                </a:cubicBezTo>
                <a:cubicBezTo>
                  <a:pt x="1122459" y="1065002"/>
                  <a:pt x="1118815" y="1068646"/>
                  <a:pt x="1113349" y="1066824"/>
                </a:cubicBezTo>
                <a:close/>
                <a:moveTo>
                  <a:pt x="1025884" y="1066824"/>
                </a:moveTo>
                <a:cubicBezTo>
                  <a:pt x="1018596" y="1066824"/>
                  <a:pt x="1016774" y="1072291"/>
                  <a:pt x="1014951" y="1077757"/>
                </a:cubicBezTo>
                <a:cubicBezTo>
                  <a:pt x="1018596" y="1079579"/>
                  <a:pt x="1029529" y="1072291"/>
                  <a:pt x="1025884" y="1066824"/>
                </a:cubicBezTo>
                <a:close/>
                <a:moveTo>
                  <a:pt x="905621" y="1066824"/>
                </a:moveTo>
                <a:cubicBezTo>
                  <a:pt x="901976" y="1070469"/>
                  <a:pt x="903799" y="1072291"/>
                  <a:pt x="898333" y="1075935"/>
                </a:cubicBezTo>
                <a:cubicBezTo>
                  <a:pt x="901976" y="1077757"/>
                  <a:pt x="907444" y="1072291"/>
                  <a:pt x="909265" y="1072291"/>
                </a:cubicBezTo>
                <a:cubicBezTo>
                  <a:pt x="911087" y="1068646"/>
                  <a:pt x="907444" y="1070469"/>
                  <a:pt x="905621" y="1066824"/>
                </a:cubicBezTo>
                <a:close/>
                <a:moveTo>
                  <a:pt x="595852" y="1066824"/>
                </a:moveTo>
                <a:cubicBezTo>
                  <a:pt x="594030" y="1070469"/>
                  <a:pt x="599496" y="1074113"/>
                  <a:pt x="603140" y="1072291"/>
                </a:cubicBezTo>
                <a:cubicBezTo>
                  <a:pt x="603140" y="1070469"/>
                  <a:pt x="599496" y="1066824"/>
                  <a:pt x="595852" y="1066824"/>
                </a:cubicBezTo>
                <a:close/>
                <a:moveTo>
                  <a:pt x="459188" y="1066824"/>
                </a:moveTo>
                <a:cubicBezTo>
                  <a:pt x="462832" y="1072291"/>
                  <a:pt x="468299" y="1079579"/>
                  <a:pt x="475589" y="1083224"/>
                </a:cubicBezTo>
                <a:cubicBezTo>
                  <a:pt x="479232" y="1077757"/>
                  <a:pt x="464655" y="1072291"/>
                  <a:pt x="459188" y="1066824"/>
                </a:cubicBezTo>
                <a:close/>
                <a:moveTo>
                  <a:pt x="340747" y="1066824"/>
                </a:moveTo>
                <a:cubicBezTo>
                  <a:pt x="340747" y="1070469"/>
                  <a:pt x="346213" y="1074113"/>
                  <a:pt x="348037" y="1074113"/>
                </a:cubicBezTo>
                <a:cubicBezTo>
                  <a:pt x="349858" y="1072291"/>
                  <a:pt x="342569" y="1068646"/>
                  <a:pt x="340747" y="1066824"/>
                </a:cubicBezTo>
                <a:close/>
                <a:moveTo>
                  <a:pt x="309771" y="1066824"/>
                </a:moveTo>
                <a:cubicBezTo>
                  <a:pt x="311592" y="1072291"/>
                  <a:pt x="317059" y="1070469"/>
                  <a:pt x="320703" y="1074113"/>
                </a:cubicBezTo>
                <a:cubicBezTo>
                  <a:pt x="320703" y="1070469"/>
                  <a:pt x="311592" y="1065002"/>
                  <a:pt x="309771" y="1066824"/>
                </a:cubicBezTo>
                <a:close/>
                <a:moveTo>
                  <a:pt x="267860" y="1066824"/>
                </a:moveTo>
                <a:cubicBezTo>
                  <a:pt x="266038" y="1068646"/>
                  <a:pt x="269682" y="1072291"/>
                  <a:pt x="269682" y="1075935"/>
                </a:cubicBezTo>
                <a:cubicBezTo>
                  <a:pt x="271504" y="1075935"/>
                  <a:pt x="271504" y="1070469"/>
                  <a:pt x="267860" y="1066824"/>
                </a:cubicBezTo>
                <a:close/>
                <a:moveTo>
                  <a:pt x="842985" y="1065229"/>
                </a:moveTo>
                <a:cubicBezTo>
                  <a:pt x="842301" y="1065002"/>
                  <a:pt x="841845" y="1065913"/>
                  <a:pt x="841845" y="1068646"/>
                </a:cubicBezTo>
                <a:cubicBezTo>
                  <a:pt x="841845" y="1070469"/>
                  <a:pt x="843667" y="1072291"/>
                  <a:pt x="845489" y="1072291"/>
                </a:cubicBezTo>
                <a:cubicBezTo>
                  <a:pt x="845489" y="1068646"/>
                  <a:pt x="840022" y="1068646"/>
                  <a:pt x="845489" y="1068646"/>
                </a:cubicBezTo>
                <a:cubicBezTo>
                  <a:pt x="844578" y="1066824"/>
                  <a:pt x="843667" y="1065457"/>
                  <a:pt x="842985" y="1065229"/>
                </a:cubicBezTo>
                <a:close/>
                <a:moveTo>
                  <a:pt x="1036818" y="1065002"/>
                </a:moveTo>
                <a:cubicBezTo>
                  <a:pt x="1031351" y="1065002"/>
                  <a:pt x="1027707" y="1068646"/>
                  <a:pt x="1029529" y="1072291"/>
                </a:cubicBezTo>
                <a:cubicBezTo>
                  <a:pt x="1033173" y="1074113"/>
                  <a:pt x="1033173" y="1066824"/>
                  <a:pt x="1034995" y="1072291"/>
                </a:cubicBezTo>
                <a:cubicBezTo>
                  <a:pt x="1036818" y="1072291"/>
                  <a:pt x="1038639" y="1070469"/>
                  <a:pt x="1040462" y="1068646"/>
                </a:cubicBezTo>
                <a:cubicBezTo>
                  <a:pt x="1038639" y="1068646"/>
                  <a:pt x="1038639" y="1066824"/>
                  <a:pt x="1036818" y="1065002"/>
                </a:cubicBezTo>
                <a:close/>
                <a:moveTo>
                  <a:pt x="936598" y="1065002"/>
                </a:moveTo>
                <a:cubicBezTo>
                  <a:pt x="927487" y="1063180"/>
                  <a:pt x="927487" y="1072291"/>
                  <a:pt x="929309" y="1079579"/>
                </a:cubicBezTo>
                <a:cubicBezTo>
                  <a:pt x="932953" y="1075935"/>
                  <a:pt x="934777" y="1070469"/>
                  <a:pt x="936598" y="1065002"/>
                </a:cubicBezTo>
                <a:close/>
                <a:moveTo>
                  <a:pt x="840022" y="1065002"/>
                </a:moveTo>
                <a:cubicBezTo>
                  <a:pt x="838200" y="1066824"/>
                  <a:pt x="838200" y="1065002"/>
                  <a:pt x="836378" y="1066824"/>
                </a:cubicBezTo>
                <a:cubicBezTo>
                  <a:pt x="840022" y="1068646"/>
                  <a:pt x="840022" y="1070469"/>
                  <a:pt x="840022" y="1065002"/>
                </a:cubicBezTo>
                <a:close/>
                <a:moveTo>
                  <a:pt x="420923" y="1065002"/>
                </a:moveTo>
                <a:cubicBezTo>
                  <a:pt x="420923" y="1066824"/>
                  <a:pt x="426389" y="1070469"/>
                  <a:pt x="426389" y="1068646"/>
                </a:cubicBezTo>
                <a:cubicBezTo>
                  <a:pt x="424567" y="1066824"/>
                  <a:pt x="422745" y="1065002"/>
                  <a:pt x="420923" y="1065002"/>
                </a:cubicBezTo>
                <a:close/>
                <a:moveTo>
                  <a:pt x="386301" y="1065002"/>
                </a:moveTo>
                <a:cubicBezTo>
                  <a:pt x="384479" y="1066824"/>
                  <a:pt x="380835" y="1065002"/>
                  <a:pt x="382657" y="1068646"/>
                </a:cubicBezTo>
                <a:cubicBezTo>
                  <a:pt x="382657" y="1068646"/>
                  <a:pt x="380835" y="1066824"/>
                  <a:pt x="380835" y="1066824"/>
                </a:cubicBezTo>
                <a:cubicBezTo>
                  <a:pt x="380835" y="1070469"/>
                  <a:pt x="377190" y="1068646"/>
                  <a:pt x="380835" y="1072291"/>
                </a:cubicBezTo>
                <a:cubicBezTo>
                  <a:pt x="382657" y="1075935"/>
                  <a:pt x="388123" y="1075935"/>
                  <a:pt x="391768" y="1075935"/>
                </a:cubicBezTo>
                <a:cubicBezTo>
                  <a:pt x="389946" y="1074113"/>
                  <a:pt x="389946" y="1072291"/>
                  <a:pt x="388123" y="1070469"/>
                </a:cubicBezTo>
                <a:cubicBezTo>
                  <a:pt x="389946" y="1070469"/>
                  <a:pt x="391768" y="1072291"/>
                  <a:pt x="391768" y="1070469"/>
                </a:cubicBezTo>
                <a:cubicBezTo>
                  <a:pt x="389946" y="1068646"/>
                  <a:pt x="388123" y="1068646"/>
                  <a:pt x="386301" y="1065002"/>
                </a:cubicBezTo>
                <a:close/>
                <a:moveTo>
                  <a:pt x="300660" y="1065002"/>
                </a:moveTo>
                <a:cubicBezTo>
                  <a:pt x="302481" y="1066824"/>
                  <a:pt x="307948" y="1070469"/>
                  <a:pt x="309771" y="1068646"/>
                </a:cubicBezTo>
                <a:cubicBezTo>
                  <a:pt x="309771" y="1068646"/>
                  <a:pt x="307948" y="1066824"/>
                  <a:pt x="306126" y="1065002"/>
                </a:cubicBezTo>
                <a:cubicBezTo>
                  <a:pt x="304303" y="1066824"/>
                  <a:pt x="304303" y="1065002"/>
                  <a:pt x="300660" y="1065002"/>
                </a:cubicBezTo>
                <a:close/>
                <a:moveTo>
                  <a:pt x="289726" y="1065002"/>
                </a:moveTo>
                <a:cubicBezTo>
                  <a:pt x="293370" y="1068646"/>
                  <a:pt x="297015" y="1072291"/>
                  <a:pt x="298837" y="1075935"/>
                </a:cubicBezTo>
                <a:cubicBezTo>
                  <a:pt x="300660" y="1074113"/>
                  <a:pt x="302481" y="1072291"/>
                  <a:pt x="304303" y="1074113"/>
                </a:cubicBezTo>
                <a:cubicBezTo>
                  <a:pt x="307948" y="1079579"/>
                  <a:pt x="311592" y="1088690"/>
                  <a:pt x="320703" y="1092335"/>
                </a:cubicBezTo>
                <a:cubicBezTo>
                  <a:pt x="320703" y="1088690"/>
                  <a:pt x="315236" y="1086868"/>
                  <a:pt x="311592" y="1083224"/>
                </a:cubicBezTo>
                <a:cubicBezTo>
                  <a:pt x="320703" y="1088690"/>
                  <a:pt x="313414" y="1075935"/>
                  <a:pt x="320703" y="1079579"/>
                </a:cubicBezTo>
                <a:cubicBezTo>
                  <a:pt x="311592" y="1072291"/>
                  <a:pt x="298837" y="1063180"/>
                  <a:pt x="289726" y="1065002"/>
                </a:cubicBezTo>
                <a:close/>
                <a:moveTo>
                  <a:pt x="273327" y="1065002"/>
                </a:moveTo>
                <a:cubicBezTo>
                  <a:pt x="267860" y="1075935"/>
                  <a:pt x="278793" y="1083224"/>
                  <a:pt x="291549" y="1088690"/>
                </a:cubicBezTo>
                <a:lnTo>
                  <a:pt x="287018" y="1082781"/>
                </a:lnTo>
                <a:lnTo>
                  <a:pt x="287904" y="1083224"/>
                </a:lnTo>
                <a:cubicBezTo>
                  <a:pt x="284259" y="1077757"/>
                  <a:pt x="278793" y="1070469"/>
                  <a:pt x="273327" y="1065002"/>
                </a:cubicBezTo>
                <a:close/>
                <a:moveTo>
                  <a:pt x="151241" y="1065002"/>
                </a:moveTo>
                <a:cubicBezTo>
                  <a:pt x="156707" y="1074113"/>
                  <a:pt x="165818" y="1083224"/>
                  <a:pt x="176751" y="1085046"/>
                </a:cubicBezTo>
                <a:cubicBezTo>
                  <a:pt x="169462" y="1077757"/>
                  <a:pt x="158529" y="1070469"/>
                  <a:pt x="151241" y="1065002"/>
                </a:cubicBezTo>
                <a:close/>
                <a:moveTo>
                  <a:pt x="739803" y="1064774"/>
                </a:moveTo>
                <a:cubicBezTo>
                  <a:pt x="738437" y="1065002"/>
                  <a:pt x="737070" y="1065913"/>
                  <a:pt x="736159" y="1066824"/>
                </a:cubicBezTo>
                <a:cubicBezTo>
                  <a:pt x="737981" y="1068646"/>
                  <a:pt x="743447" y="1070469"/>
                  <a:pt x="743447" y="1066824"/>
                </a:cubicBezTo>
                <a:cubicBezTo>
                  <a:pt x="742536" y="1065002"/>
                  <a:pt x="741170" y="1064547"/>
                  <a:pt x="739803" y="1064774"/>
                </a:cubicBezTo>
                <a:close/>
                <a:moveTo>
                  <a:pt x="3100202" y="1064773"/>
                </a:moveTo>
                <a:cubicBezTo>
                  <a:pt x="3097697" y="1066368"/>
                  <a:pt x="3094963" y="1068646"/>
                  <a:pt x="3092230" y="1068646"/>
                </a:cubicBezTo>
                <a:cubicBezTo>
                  <a:pt x="3097696" y="1072291"/>
                  <a:pt x="3103163" y="1066824"/>
                  <a:pt x="3106807" y="1065002"/>
                </a:cubicBezTo>
                <a:cubicBezTo>
                  <a:pt x="3104985" y="1062268"/>
                  <a:pt x="3102708" y="1063179"/>
                  <a:pt x="3100202" y="1064773"/>
                </a:cubicBezTo>
                <a:close/>
                <a:moveTo>
                  <a:pt x="3604260" y="1063180"/>
                </a:moveTo>
                <a:cubicBezTo>
                  <a:pt x="3602438" y="1063180"/>
                  <a:pt x="3600616" y="1065002"/>
                  <a:pt x="3598794" y="1065002"/>
                </a:cubicBezTo>
                <a:cubicBezTo>
                  <a:pt x="3598794" y="1066824"/>
                  <a:pt x="3600616" y="1066824"/>
                  <a:pt x="3604260" y="1068646"/>
                </a:cubicBezTo>
                <a:cubicBezTo>
                  <a:pt x="3604260" y="1066824"/>
                  <a:pt x="3604260" y="1065002"/>
                  <a:pt x="3604260" y="1063180"/>
                </a:cubicBezTo>
                <a:close/>
                <a:moveTo>
                  <a:pt x="2204831" y="1063180"/>
                </a:moveTo>
                <a:lnTo>
                  <a:pt x="2205109" y="1063328"/>
                </a:lnTo>
                <a:lnTo>
                  <a:pt x="2205038" y="1063524"/>
                </a:lnTo>
                <a:close/>
                <a:moveTo>
                  <a:pt x="1169836" y="1063180"/>
                </a:moveTo>
                <a:cubicBezTo>
                  <a:pt x="1168014" y="1065002"/>
                  <a:pt x="1168014" y="1065002"/>
                  <a:pt x="1166192" y="1065002"/>
                </a:cubicBezTo>
                <a:cubicBezTo>
                  <a:pt x="1168014" y="1065002"/>
                  <a:pt x="1169836" y="1066824"/>
                  <a:pt x="1171658" y="1065002"/>
                </a:cubicBezTo>
                <a:cubicBezTo>
                  <a:pt x="1171658" y="1065002"/>
                  <a:pt x="1169836" y="1063180"/>
                  <a:pt x="1169836" y="1063180"/>
                </a:cubicBezTo>
                <a:close/>
                <a:moveTo>
                  <a:pt x="1082373" y="1063180"/>
                </a:moveTo>
                <a:cubicBezTo>
                  <a:pt x="1080549" y="1065002"/>
                  <a:pt x="1076905" y="1063180"/>
                  <a:pt x="1073262" y="1066824"/>
                </a:cubicBezTo>
                <a:cubicBezTo>
                  <a:pt x="1073262" y="1068646"/>
                  <a:pt x="1076905" y="1070469"/>
                  <a:pt x="1078727" y="1072291"/>
                </a:cubicBezTo>
                <a:cubicBezTo>
                  <a:pt x="1082373" y="1070469"/>
                  <a:pt x="1080549" y="1066824"/>
                  <a:pt x="1082373" y="1063180"/>
                </a:cubicBezTo>
                <a:close/>
                <a:moveTo>
                  <a:pt x="747092" y="1063180"/>
                </a:moveTo>
                <a:cubicBezTo>
                  <a:pt x="745269" y="1072291"/>
                  <a:pt x="747092" y="1079579"/>
                  <a:pt x="750737" y="1085046"/>
                </a:cubicBezTo>
                <a:cubicBezTo>
                  <a:pt x="750737" y="1092335"/>
                  <a:pt x="752558" y="1099623"/>
                  <a:pt x="758025" y="1106912"/>
                </a:cubicBezTo>
                <a:cubicBezTo>
                  <a:pt x="758025" y="1097801"/>
                  <a:pt x="759848" y="1086868"/>
                  <a:pt x="752558" y="1081402"/>
                </a:cubicBezTo>
                <a:cubicBezTo>
                  <a:pt x="754380" y="1083224"/>
                  <a:pt x="754380" y="1085046"/>
                  <a:pt x="758025" y="1085046"/>
                </a:cubicBezTo>
                <a:cubicBezTo>
                  <a:pt x="754380" y="1077757"/>
                  <a:pt x="754380" y="1068646"/>
                  <a:pt x="747092" y="1063180"/>
                </a:cubicBezTo>
                <a:close/>
                <a:moveTo>
                  <a:pt x="666916" y="1063180"/>
                </a:moveTo>
                <a:cubicBezTo>
                  <a:pt x="666916" y="1063180"/>
                  <a:pt x="670560" y="1068646"/>
                  <a:pt x="672383" y="1065002"/>
                </a:cubicBezTo>
                <a:cubicBezTo>
                  <a:pt x="670560" y="1063180"/>
                  <a:pt x="668738" y="1065002"/>
                  <a:pt x="666916" y="1063180"/>
                </a:cubicBezTo>
                <a:close/>
                <a:moveTo>
                  <a:pt x="473766" y="1063180"/>
                </a:moveTo>
                <a:lnTo>
                  <a:pt x="480074" y="1074534"/>
                </a:lnTo>
                <a:lnTo>
                  <a:pt x="479232" y="1074113"/>
                </a:lnTo>
                <a:cubicBezTo>
                  <a:pt x="481054" y="1075935"/>
                  <a:pt x="482876" y="1075935"/>
                  <a:pt x="482876" y="1079579"/>
                </a:cubicBezTo>
                <a:lnTo>
                  <a:pt x="480074" y="1074534"/>
                </a:lnTo>
                <a:lnTo>
                  <a:pt x="482876" y="1075935"/>
                </a:lnTo>
                <a:cubicBezTo>
                  <a:pt x="482876" y="1074113"/>
                  <a:pt x="481054" y="1068646"/>
                  <a:pt x="481054" y="1066824"/>
                </a:cubicBezTo>
                <a:cubicBezTo>
                  <a:pt x="479232" y="1063180"/>
                  <a:pt x="475589" y="1065002"/>
                  <a:pt x="473766" y="1063180"/>
                </a:cubicBezTo>
                <a:close/>
                <a:moveTo>
                  <a:pt x="413634" y="1063180"/>
                </a:moveTo>
                <a:cubicBezTo>
                  <a:pt x="417278" y="1070469"/>
                  <a:pt x="426389" y="1077757"/>
                  <a:pt x="433678" y="1085046"/>
                </a:cubicBezTo>
                <a:cubicBezTo>
                  <a:pt x="433678" y="1081402"/>
                  <a:pt x="431856" y="1079579"/>
                  <a:pt x="430034" y="1075935"/>
                </a:cubicBezTo>
                <a:cubicBezTo>
                  <a:pt x="424567" y="1074113"/>
                  <a:pt x="419100" y="1068646"/>
                  <a:pt x="413634" y="1063180"/>
                </a:cubicBezTo>
                <a:close/>
                <a:moveTo>
                  <a:pt x="158529" y="1063180"/>
                </a:moveTo>
                <a:cubicBezTo>
                  <a:pt x="167640" y="1070469"/>
                  <a:pt x="176751" y="1075935"/>
                  <a:pt x="185862" y="1079579"/>
                </a:cubicBezTo>
                <a:cubicBezTo>
                  <a:pt x="185862" y="1077757"/>
                  <a:pt x="182218" y="1077757"/>
                  <a:pt x="180396" y="1075935"/>
                </a:cubicBezTo>
                <a:cubicBezTo>
                  <a:pt x="174929" y="1068646"/>
                  <a:pt x="165818" y="1066824"/>
                  <a:pt x="158529" y="1063180"/>
                </a:cubicBezTo>
                <a:close/>
                <a:moveTo>
                  <a:pt x="1188369" y="1063135"/>
                </a:moveTo>
                <a:lnTo>
                  <a:pt x="1188122" y="1064625"/>
                </a:lnTo>
                <a:lnTo>
                  <a:pt x="1187374" y="1064774"/>
                </a:lnTo>
                <a:lnTo>
                  <a:pt x="1186738" y="1064562"/>
                </a:lnTo>
                <a:close/>
                <a:moveTo>
                  <a:pt x="1204685" y="1062952"/>
                </a:moveTo>
                <a:cubicBezTo>
                  <a:pt x="1200357" y="1063635"/>
                  <a:pt x="1196257" y="1065913"/>
                  <a:pt x="1193525" y="1068646"/>
                </a:cubicBezTo>
                <a:cubicBezTo>
                  <a:pt x="1191703" y="1072291"/>
                  <a:pt x="1197169" y="1070469"/>
                  <a:pt x="1198991" y="1072291"/>
                </a:cubicBezTo>
                <a:cubicBezTo>
                  <a:pt x="1195346" y="1074113"/>
                  <a:pt x="1193525" y="1075935"/>
                  <a:pt x="1193525" y="1077757"/>
                </a:cubicBezTo>
                <a:cubicBezTo>
                  <a:pt x="1197169" y="1079579"/>
                  <a:pt x="1202636" y="1074113"/>
                  <a:pt x="1202636" y="1074113"/>
                </a:cubicBezTo>
                <a:cubicBezTo>
                  <a:pt x="1206279" y="1070469"/>
                  <a:pt x="1211747" y="1070469"/>
                  <a:pt x="1217213" y="1066824"/>
                </a:cubicBezTo>
                <a:cubicBezTo>
                  <a:pt x="1215390" y="1075935"/>
                  <a:pt x="1202636" y="1074113"/>
                  <a:pt x="1195346" y="1079579"/>
                </a:cubicBezTo>
                <a:cubicBezTo>
                  <a:pt x="1197169" y="1085046"/>
                  <a:pt x="1206279" y="1088690"/>
                  <a:pt x="1211747" y="1090512"/>
                </a:cubicBezTo>
                <a:cubicBezTo>
                  <a:pt x="1219036" y="1086868"/>
                  <a:pt x="1222679" y="1083224"/>
                  <a:pt x="1226323" y="1077757"/>
                </a:cubicBezTo>
                <a:cubicBezTo>
                  <a:pt x="1227234" y="1079579"/>
                  <a:pt x="1224501" y="1081401"/>
                  <a:pt x="1221768" y="1083451"/>
                </a:cubicBezTo>
                <a:lnTo>
                  <a:pt x="1218254" y="1088898"/>
                </a:lnTo>
                <a:lnTo>
                  <a:pt x="1217213" y="1088690"/>
                </a:lnTo>
                <a:cubicBezTo>
                  <a:pt x="1217213" y="1088690"/>
                  <a:pt x="1217213" y="1088690"/>
                  <a:pt x="1217213" y="1090512"/>
                </a:cubicBezTo>
                <a:lnTo>
                  <a:pt x="1218254" y="1088898"/>
                </a:lnTo>
                <a:lnTo>
                  <a:pt x="1226323" y="1090512"/>
                </a:lnTo>
                <a:cubicBezTo>
                  <a:pt x="1237256" y="1094157"/>
                  <a:pt x="1255478" y="1086868"/>
                  <a:pt x="1253656" y="1074113"/>
                </a:cubicBezTo>
                <a:cubicBezTo>
                  <a:pt x="1242723" y="1083224"/>
                  <a:pt x="1228146" y="1070469"/>
                  <a:pt x="1217213" y="1066824"/>
                </a:cubicBezTo>
                <a:cubicBezTo>
                  <a:pt x="1213568" y="1063179"/>
                  <a:pt x="1209013" y="1062268"/>
                  <a:pt x="1204685" y="1062952"/>
                </a:cubicBezTo>
                <a:close/>
                <a:moveTo>
                  <a:pt x="496910" y="1062933"/>
                </a:moveTo>
                <a:lnTo>
                  <a:pt x="501554" y="1066141"/>
                </a:lnTo>
                <a:lnTo>
                  <a:pt x="503758" y="1068713"/>
                </a:lnTo>
                <a:lnTo>
                  <a:pt x="503604" y="1068646"/>
                </a:lnTo>
                <a:close/>
                <a:moveTo>
                  <a:pt x="280616" y="1062725"/>
                </a:moveTo>
                <a:cubicBezTo>
                  <a:pt x="278793" y="1062725"/>
                  <a:pt x="276971" y="1063180"/>
                  <a:pt x="275149" y="1065002"/>
                </a:cubicBezTo>
                <a:cubicBezTo>
                  <a:pt x="286082" y="1077757"/>
                  <a:pt x="293370" y="1088690"/>
                  <a:pt x="307948" y="1094157"/>
                </a:cubicBezTo>
                <a:cubicBezTo>
                  <a:pt x="302481" y="1083224"/>
                  <a:pt x="286082" y="1079579"/>
                  <a:pt x="280615" y="1068646"/>
                </a:cubicBezTo>
                <a:cubicBezTo>
                  <a:pt x="287904" y="1074113"/>
                  <a:pt x="295193" y="1081402"/>
                  <a:pt x="302481" y="1083224"/>
                </a:cubicBezTo>
                <a:lnTo>
                  <a:pt x="291549" y="1072291"/>
                </a:lnTo>
                <a:lnTo>
                  <a:pt x="286082" y="1063180"/>
                </a:lnTo>
                <a:cubicBezTo>
                  <a:pt x="284260" y="1063180"/>
                  <a:pt x="282438" y="1062725"/>
                  <a:pt x="280616" y="1062725"/>
                </a:cubicBezTo>
                <a:close/>
                <a:moveTo>
                  <a:pt x="248955" y="1062725"/>
                </a:moveTo>
                <a:cubicBezTo>
                  <a:pt x="247816" y="1062725"/>
                  <a:pt x="246905" y="1063180"/>
                  <a:pt x="245994" y="1063180"/>
                </a:cubicBezTo>
                <a:cubicBezTo>
                  <a:pt x="244172" y="1065002"/>
                  <a:pt x="247816" y="1065002"/>
                  <a:pt x="249638" y="1066824"/>
                </a:cubicBezTo>
                <a:cubicBezTo>
                  <a:pt x="251460" y="1066824"/>
                  <a:pt x="251460" y="1066824"/>
                  <a:pt x="253282" y="1065002"/>
                </a:cubicBezTo>
                <a:cubicBezTo>
                  <a:pt x="251460" y="1063180"/>
                  <a:pt x="250094" y="1062725"/>
                  <a:pt x="248955" y="1062725"/>
                </a:cubicBezTo>
                <a:close/>
                <a:moveTo>
                  <a:pt x="2384771" y="1062268"/>
                </a:moveTo>
                <a:cubicBezTo>
                  <a:pt x="2383404" y="1061357"/>
                  <a:pt x="2381582" y="1061357"/>
                  <a:pt x="2379760" y="1063180"/>
                </a:cubicBezTo>
                <a:cubicBezTo>
                  <a:pt x="2377937" y="1066824"/>
                  <a:pt x="2381582" y="1066824"/>
                  <a:pt x="2381582" y="1068646"/>
                </a:cubicBezTo>
                <a:cubicBezTo>
                  <a:pt x="2383404" y="1068646"/>
                  <a:pt x="2385226" y="1066824"/>
                  <a:pt x="2387048" y="1066824"/>
                </a:cubicBezTo>
                <a:cubicBezTo>
                  <a:pt x="2387048" y="1065002"/>
                  <a:pt x="2386137" y="1063179"/>
                  <a:pt x="2384771" y="1062268"/>
                </a:cubicBezTo>
                <a:close/>
                <a:moveTo>
                  <a:pt x="824307" y="1062041"/>
                </a:moveTo>
                <a:cubicBezTo>
                  <a:pt x="823623" y="1062724"/>
                  <a:pt x="823623" y="1064091"/>
                  <a:pt x="825445" y="1065002"/>
                </a:cubicBezTo>
                <a:cubicBezTo>
                  <a:pt x="827267" y="1065002"/>
                  <a:pt x="825445" y="1065002"/>
                  <a:pt x="827267" y="1063180"/>
                </a:cubicBezTo>
                <a:cubicBezTo>
                  <a:pt x="826356" y="1061357"/>
                  <a:pt x="824989" y="1061357"/>
                  <a:pt x="824307" y="1062041"/>
                </a:cubicBezTo>
                <a:close/>
                <a:moveTo>
                  <a:pt x="1140681" y="1061358"/>
                </a:moveTo>
                <a:cubicBezTo>
                  <a:pt x="1140681" y="1065002"/>
                  <a:pt x="1147970" y="1065002"/>
                  <a:pt x="1146148" y="1061358"/>
                </a:cubicBezTo>
                <a:cubicBezTo>
                  <a:pt x="1144326" y="1059535"/>
                  <a:pt x="1142503" y="1061358"/>
                  <a:pt x="1140681" y="1061358"/>
                </a:cubicBezTo>
                <a:close/>
                <a:moveTo>
                  <a:pt x="911087" y="1061358"/>
                </a:moveTo>
                <a:cubicBezTo>
                  <a:pt x="909265" y="1063180"/>
                  <a:pt x="907444" y="1063180"/>
                  <a:pt x="909265" y="1065002"/>
                </a:cubicBezTo>
                <a:cubicBezTo>
                  <a:pt x="911087" y="1066824"/>
                  <a:pt x="912909" y="1068646"/>
                  <a:pt x="912909" y="1066824"/>
                </a:cubicBezTo>
                <a:cubicBezTo>
                  <a:pt x="912909" y="1065002"/>
                  <a:pt x="912909" y="1065002"/>
                  <a:pt x="912909" y="1063180"/>
                </a:cubicBezTo>
                <a:cubicBezTo>
                  <a:pt x="911087" y="1061358"/>
                  <a:pt x="911087" y="1065002"/>
                  <a:pt x="909265" y="1065002"/>
                </a:cubicBezTo>
                <a:cubicBezTo>
                  <a:pt x="909265" y="1065002"/>
                  <a:pt x="911087" y="1063180"/>
                  <a:pt x="911087" y="1063180"/>
                </a:cubicBezTo>
                <a:cubicBezTo>
                  <a:pt x="911087" y="1063180"/>
                  <a:pt x="909265" y="1063180"/>
                  <a:pt x="911087" y="1061358"/>
                </a:cubicBezTo>
                <a:close/>
                <a:moveTo>
                  <a:pt x="812690" y="1061358"/>
                </a:moveTo>
                <a:lnTo>
                  <a:pt x="812739" y="1061388"/>
                </a:lnTo>
                <a:lnTo>
                  <a:pt x="812740" y="1061424"/>
                </a:lnTo>
                <a:close/>
                <a:moveTo>
                  <a:pt x="601318" y="1061358"/>
                </a:moveTo>
                <a:cubicBezTo>
                  <a:pt x="599496" y="1063180"/>
                  <a:pt x="597673" y="1063180"/>
                  <a:pt x="597673" y="1063180"/>
                </a:cubicBezTo>
                <a:cubicBezTo>
                  <a:pt x="599496" y="1065002"/>
                  <a:pt x="601318" y="1065002"/>
                  <a:pt x="603140" y="1066824"/>
                </a:cubicBezTo>
                <a:cubicBezTo>
                  <a:pt x="603140" y="1065002"/>
                  <a:pt x="604963" y="1063180"/>
                  <a:pt x="601318" y="1061358"/>
                </a:cubicBezTo>
                <a:close/>
                <a:moveTo>
                  <a:pt x="331636" y="1061358"/>
                </a:moveTo>
                <a:cubicBezTo>
                  <a:pt x="327993" y="1063180"/>
                  <a:pt x="335280" y="1066824"/>
                  <a:pt x="337102" y="1068646"/>
                </a:cubicBezTo>
                <a:cubicBezTo>
                  <a:pt x="337102" y="1065002"/>
                  <a:pt x="335280" y="1061358"/>
                  <a:pt x="331636" y="1061358"/>
                </a:cubicBezTo>
                <a:close/>
                <a:moveTo>
                  <a:pt x="143952" y="1061358"/>
                </a:moveTo>
                <a:cubicBezTo>
                  <a:pt x="145774" y="1065002"/>
                  <a:pt x="145774" y="1063180"/>
                  <a:pt x="147596" y="1065002"/>
                </a:cubicBezTo>
                <a:cubicBezTo>
                  <a:pt x="149419" y="1063180"/>
                  <a:pt x="145774" y="1061358"/>
                  <a:pt x="143952" y="1061358"/>
                </a:cubicBezTo>
                <a:close/>
                <a:moveTo>
                  <a:pt x="3496297" y="1060446"/>
                </a:moveTo>
                <a:cubicBezTo>
                  <a:pt x="3489919" y="1060902"/>
                  <a:pt x="3483997" y="1062269"/>
                  <a:pt x="3478530" y="1065002"/>
                </a:cubicBezTo>
                <a:cubicBezTo>
                  <a:pt x="3469419" y="1068646"/>
                  <a:pt x="3454842" y="1068646"/>
                  <a:pt x="3453020" y="1075935"/>
                </a:cubicBezTo>
                <a:cubicBezTo>
                  <a:pt x="3451198" y="1088690"/>
                  <a:pt x="3473064" y="1094157"/>
                  <a:pt x="3483997" y="1086868"/>
                </a:cubicBezTo>
                <a:cubicBezTo>
                  <a:pt x="3483997" y="1086868"/>
                  <a:pt x="3483997" y="1083224"/>
                  <a:pt x="3485819" y="1081402"/>
                </a:cubicBezTo>
                <a:cubicBezTo>
                  <a:pt x="3489463" y="1079579"/>
                  <a:pt x="3494930" y="1075935"/>
                  <a:pt x="3493108" y="1072291"/>
                </a:cubicBezTo>
                <a:cubicBezTo>
                  <a:pt x="3500397" y="1072291"/>
                  <a:pt x="3502219" y="1068646"/>
                  <a:pt x="3513152" y="1072291"/>
                </a:cubicBezTo>
                <a:cubicBezTo>
                  <a:pt x="3520440" y="1070469"/>
                  <a:pt x="3513152" y="1066824"/>
                  <a:pt x="3516796" y="1061358"/>
                </a:cubicBezTo>
                <a:cubicBezTo>
                  <a:pt x="3509508" y="1060447"/>
                  <a:pt x="3502674" y="1059991"/>
                  <a:pt x="3496297" y="1060446"/>
                </a:cubicBezTo>
                <a:close/>
                <a:moveTo>
                  <a:pt x="2851247" y="1060446"/>
                </a:moveTo>
                <a:cubicBezTo>
                  <a:pt x="2849881" y="1061357"/>
                  <a:pt x="2848969" y="1063180"/>
                  <a:pt x="2849880" y="1065002"/>
                </a:cubicBezTo>
                <a:cubicBezTo>
                  <a:pt x="2853525" y="1068646"/>
                  <a:pt x="2853525" y="1063180"/>
                  <a:pt x="2855347" y="1061358"/>
                </a:cubicBezTo>
                <a:cubicBezTo>
                  <a:pt x="2854436" y="1059535"/>
                  <a:pt x="2852614" y="1059535"/>
                  <a:pt x="2851247" y="1060446"/>
                </a:cubicBezTo>
                <a:close/>
                <a:moveTo>
                  <a:pt x="3075830" y="1059535"/>
                </a:moveTo>
                <a:cubicBezTo>
                  <a:pt x="3079474" y="1066824"/>
                  <a:pt x="3081297" y="1077757"/>
                  <a:pt x="3090407" y="1068646"/>
                </a:cubicBezTo>
                <a:cubicBezTo>
                  <a:pt x="3092230" y="1065002"/>
                  <a:pt x="3086763" y="1066824"/>
                  <a:pt x="3086763" y="1063180"/>
                </a:cubicBezTo>
                <a:cubicBezTo>
                  <a:pt x="3081297" y="1066824"/>
                  <a:pt x="3083119" y="1059535"/>
                  <a:pt x="3075830" y="1059535"/>
                </a:cubicBezTo>
                <a:close/>
                <a:moveTo>
                  <a:pt x="1155259" y="1059535"/>
                </a:moveTo>
                <a:cubicBezTo>
                  <a:pt x="1153436" y="1057713"/>
                  <a:pt x="1149792" y="1059535"/>
                  <a:pt x="1147970" y="1061358"/>
                </a:cubicBezTo>
                <a:cubicBezTo>
                  <a:pt x="1147970" y="1063180"/>
                  <a:pt x="1147970" y="1063180"/>
                  <a:pt x="1149792" y="1063180"/>
                </a:cubicBezTo>
                <a:cubicBezTo>
                  <a:pt x="1151614" y="1065002"/>
                  <a:pt x="1153436" y="1061358"/>
                  <a:pt x="1155259" y="1059535"/>
                </a:cubicBezTo>
                <a:close/>
                <a:moveTo>
                  <a:pt x="1022240" y="1059535"/>
                </a:moveTo>
                <a:lnTo>
                  <a:pt x="1026405" y="1060577"/>
                </a:lnTo>
                <a:lnTo>
                  <a:pt x="1027023" y="1061814"/>
                </a:lnTo>
                <a:cubicBezTo>
                  <a:pt x="1027707" y="1061814"/>
                  <a:pt x="1028618" y="1061358"/>
                  <a:pt x="1029529" y="1061358"/>
                </a:cubicBezTo>
                <a:lnTo>
                  <a:pt x="1026405" y="1060577"/>
                </a:lnTo>
                <a:lnTo>
                  <a:pt x="1025884" y="1059535"/>
                </a:lnTo>
                <a:cubicBezTo>
                  <a:pt x="1024062" y="1057713"/>
                  <a:pt x="1024062" y="1061358"/>
                  <a:pt x="1022240" y="1059535"/>
                </a:cubicBezTo>
                <a:close/>
                <a:moveTo>
                  <a:pt x="1005840" y="1059535"/>
                </a:moveTo>
                <a:cubicBezTo>
                  <a:pt x="1002196" y="1063180"/>
                  <a:pt x="1004018" y="1066824"/>
                  <a:pt x="1002196" y="1070469"/>
                </a:cubicBezTo>
                <a:cubicBezTo>
                  <a:pt x="1007663" y="1072291"/>
                  <a:pt x="1002196" y="1074113"/>
                  <a:pt x="1004018" y="1075935"/>
                </a:cubicBezTo>
                <a:cubicBezTo>
                  <a:pt x="1005840" y="1070469"/>
                  <a:pt x="1011307" y="1065002"/>
                  <a:pt x="1007663" y="1059535"/>
                </a:cubicBezTo>
                <a:cubicBezTo>
                  <a:pt x="1005840" y="1059535"/>
                  <a:pt x="1005840" y="1061358"/>
                  <a:pt x="1005840" y="1059535"/>
                </a:cubicBezTo>
                <a:close/>
                <a:moveTo>
                  <a:pt x="366257" y="1059535"/>
                </a:moveTo>
                <a:cubicBezTo>
                  <a:pt x="366257" y="1061358"/>
                  <a:pt x="371724" y="1066824"/>
                  <a:pt x="373546" y="1066824"/>
                </a:cubicBezTo>
                <a:cubicBezTo>
                  <a:pt x="375368" y="1066824"/>
                  <a:pt x="373546" y="1065002"/>
                  <a:pt x="373546" y="1063180"/>
                </a:cubicBezTo>
                <a:cubicBezTo>
                  <a:pt x="369902" y="1059535"/>
                  <a:pt x="368079" y="1061358"/>
                  <a:pt x="366257" y="1059535"/>
                </a:cubicBezTo>
                <a:close/>
                <a:moveTo>
                  <a:pt x="209550" y="1059535"/>
                </a:moveTo>
                <a:cubicBezTo>
                  <a:pt x="215017" y="1066824"/>
                  <a:pt x="224128" y="1068646"/>
                  <a:pt x="229594" y="1074113"/>
                </a:cubicBezTo>
                <a:cubicBezTo>
                  <a:pt x="225950" y="1066824"/>
                  <a:pt x="215017" y="1063180"/>
                  <a:pt x="209550" y="1059535"/>
                </a:cubicBezTo>
                <a:close/>
                <a:moveTo>
                  <a:pt x="163996" y="1059535"/>
                </a:moveTo>
                <a:lnTo>
                  <a:pt x="171845" y="1064020"/>
                </a:lnTo>
                <a:lnTo>
                  <a:pt x="172681" y="1064595"/>
                </a:lnTo>
                <a:lnTo>
                  <a:pt x="167925" y="1061990"/>
                </a:lnTo>
                <a:close/>
                <a:moveTo>
                  <a:pt x="149419" y="1059535"/>
                </a:moveTo>
                <a:cubicBezTo>
                  <a:pt x="151241" y="1061358"/>
                  <a:pt x="160352" y="1068646"/>
                  <a:pt x="163996" y="1072291"/>
                </a:cubicBezTo>
                <a:cubicBezTo>
                  <a:pt x="160352" y="1068646"/>
                  <a:pt x="153063" y="1059535"/>
                  <a:pt x="149419" y="1059535"/>
                </a:cubicBezTo>
                <a:close/>
                <a:moveTo>
                  <a:pt x="1187884" y="1057886"/>
                </a:moveTo>
                <a:lnTo>
                  <a:pt x="1188058" y="1061358"/>
                </a:lnTo>
                <a:cubicBezTo>
                  <a:pt x="1189880" y="1063180"/>
                  <a:pt x="1191703" y="1059535"/>
                  <a:pt x="1193525" y="1061358"/>
                </a:cubicBezTo>
                <a:cubicBezTo>
                  <a:pt x="1193525" y="1061358"/>
                  <a:pt x="1191703" y="1061358"/>
                  <a:pt x="1189880" y="1061813"/>
                </a:cubicBezTo>
                <a:lnTo>
                  <a:pt x="1188369" y="1063135"/>
                </a:lnTo>
                <a:lnTo>
                  <a:pt x="1188513" y="1062269"/>
                </a:lnTo>
                <a:cubicBezTo>
                  <a:pt x="1188513" y="1061357"/>
                  <a:pt x="1188058" y="1060446"/>
                  <a:pt x="1186236" y="1059535"/>
                </a:cubicBezTo>
                <a:close/>
                <a:moveTo>
                  <a:pt x="1188058" y="1057713"/>
                </a:moveTo>
                <a:lnTo>
                  <a:pt x="1187884" y="1057886"/>
                </a:lnTo>
                <a:lnTo>
                  <a:pt x="1187882" y="1057845"/>
                </a:lnTo>
                <a:close/>
                <a:moveTo>
                  <a:pt x="916555" y="1057713"/>
                </a:moveTo>
                <a:cubicBezTo>
                  <a:pt x="914732" y="1057713"/>
                  <a:pt x="916555" y="1059535"/>
                  <a:pt x="916555" y="1059535"/>
                </a:cubicBezTo>
                <a:cubicBezTo>
                  <a:pt x="916555" y="1059535"/>
                  <a:pt x="914732" y="1059535"/>
                  <a:pt x="914732" y="1061358"/>
                </a:cubicBezTo>
                <a:cubicBezTo>
                  <a:pt x="914732" y="1063180"/>
                  <a:pt x="914732" y="1068646"/>
                  <a:pt x="918376" y="1068646"/>
                </a:cubicBezTo>
                <a:cubicBezTo>
                  <a:pt x="918376" y="1065002"/>
                  <a:pt x="918376" y="1061358"/>
                  <a:pt x="916555" y="1057713"/>
                </a:cubicBezTo>
                <a:close/>
                <a:moveTo>
                  <a:pt x="896510" y="1057713"/>
                </a:moveTo>
                <a:cubicBezTo>
                  <a:pt x="891043" y="1063180"/>
                  <a:pt x="891043" y="1068646"/>
                  <a:pt x="892866" y="1075935"/>
                </a:cubicBezTo>
                <a:cubicBezTo>
                  <a:pt x="896510" y="1072291"/>
                  <a:pt x="901976" y="1068646"/>
                  <a:pt x="903799" y="1065002"/>
                </a:cubicBezTo>
                <a:cubicBezTo>
                  <a:pt x="901976" y="1061358"/>
                  <a:pt x="898333" y="1061358"/>
                  <a:pt x="896510" y="1057713"/>
                </a:cubicBezTo>
                <a:close/>
                <a:moveTo>
                  <a:pt x="721581" y="1057713"/>
                </a:moveTo>
                <a:cubicBezTo>
                  <a:pt x="717937" y="1063180"/>
                  <a:pt x="725226" y="1072291"/>
                  <a:pt x="728870" y="1068646"/>
                </a:cubicBezTo>
                <a:cubicBezTo>
                  <a:pt x="728870" y="1065002"/>
                  <a:pt x="723404" y="1059535"/>
                  <a:pt x="721581" y="1057713"/>
                </a:cubicBezTo>
                <a:close/>
                <a:moveTo>
                  <a:pt x="298153" y="1057029"/>
                </a:moveTo>
                <a:cubicBezTo>
                  <a:pt x="294737" y="1055891"/>
                  <a:pt x="291549" y="1055891"/>
                  <a:pt x="289726" y="1057713"/>
                </a:cubicBezTo>
                <a:cubicBezTo>
                  <a:pt x="297015" y="1059535"/>
                  <a:pt x="302481" y="1059535"/>
                  <a:pt x="307948" y="1063180"/>
                </a:cubicBezTo>
                <a:cubicBezTo>
                  <a:pt x="305214" y="1060446"/>
                  <a:pt x="301570" y="1058169"/>
                  <a:pt x="298153" y="1057029"/>
                </a:cubicBezTo>
                <a:close/>
                <a:moveTo>
                  <a:pt x="3225248" y="1055891"/>
                </a:moveTo>
                <a:cubicBezTo>
                  <a:pt x="3212493" y="1061358"/>
                  <a:pt x="3197916" y="1066824"/>
                  <a:pt x="3192449" y="1079579"/>
                </a:cubicBezTo>
                <a:cubicBezTo>
                  <a:pt x="3192449" y="1077757"/>
                  <a:pt x="3190627" y="1077757"/>
                  <a:pt x="3188805" y="1077757"/>
                </a:cubicBezTo>
                <a:cubicBezTo>
                  <a:pt x="3188805" y="1081402"/>
                  <a:pt x="3185160" y="1081402"/>
                  <a:pt x="3186982" y="1085046"/>
                </a:cubicBezTo>
                <a:cubicBezTo>
                  <a:pt x="3192449" y="1086868"/>
                  <a:pt x="3188805" y="1079579"/>
                  <a:pt x="3192449" y="1079579"/>
                </a:cubicBezTo>
                <a:cubicBezTo>
                  <a:pt x="3192449" y="1083224"/>
                  <a:pt x="3190627" y="1085046"/>
                  <a:pt x="3190627" y="1090512"/>
                </a:cubicBezTo>
                <a:lnTo>
                  <a:pt x="3191842" y="1091120"/>
                </a:lnTo>
                <a:lnTo>
                  <a:pt x="3185160" y="1090512"/>
                </a:lnTo>
                <a:cubicBezTo>
                  <a:pt x="3185160" y="1095979"/>
                  <a:pt x="3190627" y="1094157"/>
                  <a:pt x="3188805" y="1099623"/>
                </a:cubicBezTo>
                <a:cubicBezTo>
                  <a:pt x="3190627" y="1097801"/>
                  <a:pt x="3196093" y="1099623"/>
                  <a:pt x="3196093" y="1095979"/>
                </a:cubicBezTo>
                <a:lnTo>
                  <a:pt x="3193056" y="1091727"/>
                </a:lnTo>
                <a:lnTo>
                  <a:pt x="3197916" y="1094157"/>
                </a:lnTo>
                <a:cubicBezTo>
                  <a:pt x="3207027" y="1090512"/>
                  <a:pt x="3210671" y="1083224"/>
                  <a:pt x="3221604" y="1081402"/>
                </a:cubicBezTo>
                <a:cubicBezTo>
                  <a:pt x="3221604" y="1075935"/>
                  <a:pt x="3219782" y="1074113"/>
                  <a:pt x="3217960" y="1072291"/>
                </a:cubicBezTo>
                <a:cubicBezTo>
                  <a:pt x="3221604" y="1068646"/>
                  <a:pt x="3221604" y="1061358"/>
                  <a:pt x="3225248" y="1055891"/>
                </a:cubicBezTo>
                <a:close/>
                <a:moveTo>
                  <a:pt x="2377937" y="1055891"/>
                </a:moveTo>
                <a:cubicBezTo>
                  <a:pt x="2372471" y="1055891"/>
                  <a:pt x="2374293" y="1061358"/>
                  <a:pt x="2372471" y="1065002"/>
                </a:cubicBezTo>
                <a:cubicBezTo>
                  <a:pt x="2377937" y="1063180"/>
                  <a:pt x="2377937" y="1059535"/>
                  <a:pt x="2377937" y="1055891"/>
                </a:cubicBezTo>
                <a:close/>
                <a:moveTo>
                  <a:pt x="1175303" y="1055891"/>
                </a:moveTo>
                <a:cubicBezTo>
                  <a:pt x="1173481" y="1054069"/>
                  <a:pt x="1164370" y="1057713"/>
                  <a:pt x="1169836" y="1061358"/>
                </a:cubicBezTo>
                <a:cubicBezTo>
                  <a:pt x="1173481" y="1059535"/>
                  <a:pt x="1175303" y="1059535"/>
                  <a:pt x="1175303" y="1055891"/>
                </a:cubicBezTo>
                <a:close/>
                <a:moveTo>
                  <a:pt x="1104238" y="1055891"/>
                </a:moveTo>
                <a:cubicBezTo>
                  <a:pt x="1102416" y="1054069"/>
                  <a:pt x="1098771" y="1055891"/>
                  <a:pt x="1098771" y="1057713"/>
                </a:cubicBezTo>
                <a:cubicBezTo>
                  <a:pt x="1098771" y="1059535"/>
                  <a:pt x="1100593" y="1059535"/>
                  <a:pt x="1102416" y="1057713"/>
                </a:cubicBezTo>
                <a:cubicBezTo>
                  <a:pt x="1100593" y="1057713"/>
                  <a:pt x="1102416" y="1057713"/>
                  <a:pt x="1104238" y="1055891"/>
                </a:cubicBezTo>
                <a:close/>
                <a:moveTo>
                  <a:pt x="974863" y="1055891"/>
                </a:moveTo>
                <a:cubicBezTo>
                  <a:pt x="974863" y="1059535"/>
                  <a:pt x="974863" y="1061358"/>
                  <a:pt x="976686" y="1065002"/>
                </a:cubicBezTo>
                <a:cubicBezTo>
                  <a:pt x="978508" y="1063180"/>
                  <a:pt x="978508" y="1065002"/>
                  <a:pt x="980330" y="1063180"/>
                </a:cubicBezTo>
                <a:cubicBezTo>
                  <a:pt x="976686" y="1059535"/>
                  <a:pt x="976686" y="1057713"/>
                  <a:pt x="974863" y="1055891"/>
                </a:cubicBezTo>
                <a:close/>
                <a:moveTo>
                  <a:pt x="973041" y="1055891"/>
                </a:moveTo>
                <a:cubicBezTo>
                  <a:pt x="969397" y="1063180"/>
                  <a:pt x="967575" y="1072291"/>
                  <a:pt x="971219" y="1079579"/>
                </a:cubicBezTo>
                <a:cubicBezTo>
                  <a:pt x="974863" y="1079579"/>
                  <a:pt x="976686" y="1081402"/>
                  <a:pt x="980330" y="1081402"/>
                </a:cubicBezTo>
                <a:cubicBezTo>
                  <a:pt x="983974" y="1075935"/>
                  <a:pt x="980330" y="1066824"/>
                  <a:pt x="973041" y="1065002"/>
                </a:cubicBezTo>
                <a:cubicBezTo>
                  <a:pt x="976686" y="1065002"/>
                  <a:pt x="974863" y="1059535"/>
                  <a:pt x="973041" y="1055891"/>
                </a:cubicBezTo>
                <a:close/>
                <a:moveTo>
                  <a:pt x="741626" y="1055891"/>
                </a:moveTo>
                <a:cubicBezTo>
                  <a:pt x="739803" y="1059535"/>
                  <a:pt x="748914" y="1065002"/>
                  <a:pt x="748914" y="1059535"/>
                </a:cubicBezTo>
                <a:cubicBezTo>
                  <a:pt x="745269" y="1055891"/>
                  <a:pt x="743447" y="1059535"/>
                  <a:pt x="741626" y="1055891"/>
                </a:cubicBezTo>
                <a:close/>
                <a:moveTo>
                  <a:pt x="431856" y="1055891"/>
                </a:moveTo>
                <a:cubicBezTo>
                  <a:pt x="428211" y="1059535"/>
                  <a:pt x="437322" y="1066824"/>
                  <a:pt x="442789" y="1066824"/>
                </a:cubicBezTo>
                <a:cubicBezTo>
                  <a:pt x="442789" y="1063180"/>
                  <a:pt x="433678" y="1057713"/>
                  <a:pt x="431856" y="1055891"/>
                </a:cubicBezTo>
                <a:close/>
                <a:moveTo>
                  <a:pt x="344391" y="1055891"/>
                </a:moveTo>
                <a:cubicBezTo>
                  <a:pt x="344391" y="1059535"/>
                  <a:pt x="353502" y="1065002"/>
                  <a:pt x="357146" y="1072291"/>
                </a:cubicBezTo>
                <a:cubicBezTo>
                  <a:pt x="357146" y="1066824"/>
                  <a:pt x="349858" y="1061358"/>
                  <a:pt x="344391" y="1055891"/>
                </a:cubicBezTo>
                <a:close/>
                <a:moveTo>
                  <a:pt x="338926" y="1055891"/>
                </a:moveTo>
                <a:cubicBezTo>
                  <a:pt x="337102" y="1057713"/>
                  <a:pt x="338926" y="1059535"/>
                  <a:pt x="335280" y="1057713"/>
                </a:cubicBezTo>
                <a:cubicBezTo>
                  <a:pt x="337102" y="1063180"/>
                  <a:pt x="349858" y="1068646"/>
                  <a:pt x="355324" y="1070469"/>
                </a:cubicBezTo>
                <a:cubicBezTo>
                  <a:pt x="351680" y="1065002"/>
                  <a:pt x="344391" y="1059535"/>
                  <a:pt x="338926" y="1055891"/>
                </a:cubicBezTo>
                <a:close/>
                <a:moveTo>
                  <a:pt x="2364271" y="1054980"/>
                </a:moveTo>
                <a:cubicBezTo>
                  <a:pt x="2360171" y="1054980"/>
                  <a:pt x="2355160" y="1056802"/>
                  <a:pt x="2352427" y="1059535"/>
                </a:cubicBezTo>
                <a:cubicBezTo>
                  <a:pt x="2354249" y="1063180"/>
                  <a:pt x="2354249" y="1059535"/>
                  <a:pt x="2357893" y="1059535"/>
                </a:cubicBezTo>
                <a:cubicBezTo>
                  <a:pt x="2359716" y="1066824"/>
                  <a:pt x="2359716" y="1077757"/>
                  <a:pt x="2370649" y="1077757"/>
                </a:cubicBezTo>
                <a:cubicBezTo>
                  <a:pt x="2374293" y="1068646"/>
                  <a:pt x="2365182" y="1065002"/>
                  <a:pt x="2363360" y="1059535"/>
                </a:cubicBezTo>
                <a:cubicBezTo>
                  <a:pt x="2368827" y="1055891"/>
                  <a:pt x="2365182" y="1063180"/>
                  <a:pt x="2370649" y="1061358"/>
                </a:cubicBezTo>
                <a:cubicBezTo>
                  <a:pt x="2371560" y="1056802"/>
                  <a:pt x="2368371" y="1054980"/>
                  <a:pt x="2364271" y="1054980"/>
                </a:cubicBezTo>
                <a:close/>
                <a:moveTo>
                  <a:pt x="2773531" y="1054888"/>
                </a:moveTo>
                <a:lnTo>
                  <a:pt x="2773349" y="1055891"/>
                </a:lnTo>
                <a:cubicBezTo>
                  <a:pt x="2764238" y="1063180"/>
                  <a:pt x="2758772" y="1065002"/>
                  <a:pt x="2753305" y="1075935"/>
                </a:cubicBezTo>
                <a:cubicBezTo>
                  <a:pt x="2753305" y="1070468"/>
                  <a:pt x="2756039" y="1065457"/>
                  <a:pt x="2760138" y="1061585"/>
                </a:cubicBezTo>
                <a:close/>
                <a:moveTo>
                  <a:pt x="266265" y="1054752"/>
                </a:moveTo>
                <a:cubicBezTo>
                  <a:pt x="264672" y="1054524"/>
                  <a:pt x="263304" y="1054980"/>
                  <a:pt x="264216" y="1055891"/>
                </a:cubicBezTo>
                <a:cubicBezTo>
                  <a:pt x="267860" y="1057713"/>
                  <a:pt x="267860" y="1055891"/>
                  <a:pt x="269682" y="1057713"/>
                </a:cubicBezTo>
                <a:cubicBezTo>
                  <a:pt x="269682" y="1055891"/>
                  <a:pt x="267860" y="1054980"/>
                  <a:pt x="266265" y="1054752"/>
                </a:cubicBezTo>
                <a:close/>
                <a:moveTo>
                  <a:pt x="1751109" y="1054222"/>
                </a:moveTo>
                <a:cubicBezTo>
                  <a:pt x="1767509" y="1054222"/>
                  <a:pt x="1749287" y="1065157"/>
                  <a:pt x="1789376" y="1068802"/>
                </a:cubicBezTo>
                <a:lnTo>
                  <a:pt x="1782086" y="1083374"/>
                </a:lnTo>
                <a:cubicBezTo>
                  <a:pt x="1791197" y="1094310"/>
                  <a:pt x="1789376" y="1066979"/>
                  <a:pt x="1789376" y="1097955"/>
                </a:cubicBezTo>
                <a:lnTo>
                  <a:pt x="1789376" y="1105245"/>
                </a:lnTo>
                <a:cubicBezTo>
                  <a:pt x="1789376" y="1123461"/>
                  <a:pt x="1769331" y="1134399"/>
                  <a:pt x="1758398" y="1150797"/>
                </a:cubicBezTo>
                <a:lnTo>
                  <a:pt x="1712844" y="1134399"/>
                </a:lnTo>
                <a:cubicBezTo>
                  <a:pt x="1703733" y="1103422"/>
                  <a:pt x="1696444" y="1121638"/>
                  <a:pt x="1696444" y="1097955"/>
                </a:cubicBezTo>
                <a:cubicBezTo>
                  <a:pt x="1696444" y="1087018"/>
                  <a:pt x="1703733" y="1087018"/>
                  <a:pt x="1712844" y="1083374"/>
                </a:cubicBezTo>
                <a:lnTo>
                  <a:pt x="1705555" y="1068802"/>
                </a:lnTo>
                <a:cubicBezTo>
                  <a:pt x="1751109" y="1065157"/>
                  <a:pt x="1721955" y="1054222"/>
                  <a:pt x="1751109" y="1054222"/>
                </a:cubicBezTo>
                <a:close/>
                <a:moveTo>
                  <a:pt x="1118815" y="1054069"/>
                </a:moveTo>
                <a:cubicBezTo>
                  <a:pt x="1118815" y="1054069"/>
                  <a:pt x="1116993" y="1055891"/>
                  <a:pt x="1116993" y="1055891"/>
                </a:cubicBezTo>
                <a:cubicBezTo>
                  <a:pt x="1120637" y="1061358"/>
                  <a:pt x="1126104" y="1057713"/>
                  <a:pt x="1129748" y="1055891"/>
                </a:cubicBezTo>
                <a:cubicBezTo>
                  <a:pt x="1126104" y="1055891"/>
                  <a:pt x="1122459" y="1057713"/>
                  <a:pt x="1118815" y="1054069"/>
                </a:cubicBezTo>
                <a:close/>
                <a:moveTo>
                  <a:pt x="1065972" y="1054069"/>
                </a:moveTo>
                <a:cubicBezTo>
                  <a:pt x="1064151" y="1054069"/>
                  <a:pt x="1062328" y="1055891"/>
                  <a:pt x="1064151" y="1057713"/>
                </a:cubicBezTo>
                <a:cubicBezTo>
                  <a:pt x="1065972" y="1057713"/>
                  <a:pt x="1065972" y="1055891"/>
                  <a:pt x="1067794" y="1055891"/>
                </a:cubicBezTo>
                <a:cubicBezTo>
                  <a:pt x="1067794" y="1054069"/>
                  <a:pt x="1065972" y="1055891"/>
                  <a:pt x="1065972" y="1054069"/>
                </a:cubicBezTo>
                <a:close/>
                <a:moveTo>
                  <a:pt x="903799" y="1054069"/>
                </a:moveTo>
                <a:cubicBezTo>
                  <a:pt x="907444" y="1052247"/>
                  <a:pt x="905621" y="1059535"/>
                  <a:pt x="909265" y="1059535"/>
                </a:cubicBezTo>
                <a:cubicBezTo>
                  <a:pt x="907444" y="1057713"/>
                  <a:pt x="905621" y="1057713"/>
                  <a:pt x="903799" y="1059535"/>
                </a:cubicBezTo>
                <a:cubicBezTo>
                  <a:pt x="903799" y="1057713"/>
                  <a:pt x="907444" y="1055891"/>
                  <a:pt x="903799" y="1054069"/>
                </a:cubicBezTo>
                <a:close/>
                <a:moveTo>
                  <a:pt x="856422" y="1054069"/>
                </a:moveTo>
                <a:cubicBezTo>
                  <a:pt x="854600" y="1059535"/>
                  <a:pt x="850956" y="1057713"/>
                  <a:pt x="849133" y="1059535"/>
                </a:cubicBezTo>
                <a:cubicBezTo>
                  <a:pt x="849133" y="1068646"/>
                  <a:pt x="854600" y="1077757"/>
                  <a:pt x="863711" y="1083224"/>
                </a:cubicBezTo>
                <a:cubicBezTo>
                  <a:pt x="863711" y="1079579"/>
                  <a:pt x="861889" y="1075935"/>
                  <a:pt x="858244" y="1072291"/>
                </a:cubicBezTo>
                <a:cubicBezTo>
                  <a:pt x="861889" y="1074113"/>
                  <a:pt x="863711" y="1074113"/>
                  <a:pt x="865533" y="1072291"/>
                </a:cubicBezTo>
                <a:cubicBezTo>
                  <a:pt x="863711" y="1066824"/>
                  <a:pt x="860066" y="1059535"/>
                  <a:pt x="856422" y="1054069"/>
                </a:cubicBezTo>
                <a:close/>
                <a:moveTo>
                  <a:pt x="453722" y="1054069"/>
                </a:moveTo>
                <a:cubicBezTo>
                  <a:pt x="455544" y="1061358"/>
                  <a:pt x="464655" y="1063180"/>
                  <a:pt x="470121" y="1068646"/>
                </a:cubicBezTo>
                <a:cubicBezTo>
                  <a:pt x="470121" y="1063180"/>
                  <a:pt x="459188" y="1054069"/>
                  <a:pt x="453722" y="1054069"/>
                </a:cubicBezTo>
                <a:close/>
                <a:moveTo>
                  <a:pt x="377190" y="1054069"/>
                </a:moveTo>
                <a:cubicBezTo>
                  <a:pt x="375368" y="1055891"/>
                  <a:pt x="375368" y="1055891"/>
                  <a:pt x="373546" y="1055891"/>
                </a:cubicBezTo>
                <a:cubicBezTo>
                  <a:pt x="373546" y="1059535"/>
                  <a:pt x="373546" y="1063180"/>
                  <a:pt x="377190" y="1066824"/>
                </a:cubicBezTo>
                <a:cubicBezTo>
                  <a:pt x="379012" y="1065002"/>
                  <a:pt x="386301" y="1066824"/>
                  <a:pt x="388123" y="1063180"/>
                </a:cubicBezTo>
                <a:cubicBezTo>
                  <a:pt x="382657" y="1059535"/>
                  <a:pt x="380835" y="1059535"/>
                  <a:pt x="377190" y="1054069"/>
                </a:cubicBezTo>
                <a:close/>
                <a:moveTo>
                  <a:pt x="251460" y="1054069"/>
                </a:moveTo>
                <a:cubicBezTo>
                  <a:pt x="251460" y="1057713"/>
                  <a:pt x="258749" y="1061358"/>
                  <a:pt x="260571" y="1059535"/>
                </a:cubicBezTo>
                <a:cubicBezTo>
                  <a:pt x="258749" y="1055891"/>
                  <a:pt x="253282" y="1057713"/>
                  <a:pt x="251460" y="1054069"/>
                </a:cubicBezTo>
                <a:close/>
                <a:moveTo>
                  <a:pt x="187684" y="1054069"/>
                </a:moveTo>
                <a:cubicBezTo>
                  <a:pt x="191329" y="1063180"/>
                  <a:pt x="200439" y="1061358"/>
                  <a:pt x="205906" y="1068646"/>
                </a:cubicBezTo>
                <a:cubicBezTo>
                  <a:pt x="204084" y="1061358"/>
                  <a:pt x="193151" y="1057713"/>
                  <a:pt x="187684" y="1054069"/>
                </a:cubicBezTo>
                <a:close/>
                <a:moveTo>
                  <a:pt x="176751" y="1054069"/>
                </a:moveTo>
                <a:cubicBezTo>
                  <a:pt x="176751" y="1055891"/>
                  <a:pt x="178573" y="1061358"/>
                  <a:pt x="182218" y="1061358"/>
                </a:cubicBezTo>
                <a:cubicBezTo>
                  <a:pt x="184040" y="1057713"/>
                  <a:pt x="178573" y="1055891"/>
                  <a:pt x="176751" y="1054069"/>
                </a:cubicBezTo>
                <a:close/>
                <a:moveTo>
                  <a:pt x="1052359" y="1053640"/>
                </a:moveTo>
                <a:lnTo>
                  <a:pt x="1051568" y="1054589"/>
                </a:lnTo>
                <a:lnTo>
                  <a:pt x="1051395" y="1054069"/>
                </a:lnTo>
                <a:close/>
                <a:moveTo>
                  <a:pt x="2817081" y="1052247"/>
                </a:moveTo>
                <a:cubicBezTo>
                  <a:pt x="2813437" y="1052247"/>
                  <a:pt x="2811615" y="1055891"/>
                  <a:pt x="2809793" y="1054069"/>
                </a:cubicBezTo>
                <a:cubicBezTo>
                  <a:pt x="2807971" y="1061358"/>
                  <a:pt x="2811615" y="1072291"/>
                  <a:pt x="2820726" y="1074113"/>
                </a:cubicBezTo>
                <a:cubicBezTo>
                  <a:pt x="2828014" y="1075935"/>
                  <a:pt x="2817081" y="1079579"/>
                  <a:pt x="2818903" y="1083224"/>
                </a:cubicBezTo>
                <a:cubicBezTo>
                  <a:pt x="2820726" y="1085046"/>
                  <a:pt x="2824370" y="1085046"/>
                  <a:pt x="2826192" y="1085046"/>
                </a:cubicBezTo>
                <a:cubicBezTo>
                  <a:pt x="2831659" y="1074113"/>
                  <a:pt x="2818903" y="1057713"/>
                  <a:pt x="2817081" y="1052247"/>
                </a:cubicBezTo>
                <a:close/>
                <a:moveTo>
                  <a:pt x="2434425" y="1052247"/>
                </a:moveTo>
                <a:cubicBezTo>
                  <a:pt x="2428958" y="1055891"/>
                  <a:pt x="2436247" y="1061358"/>
                  <a:pt x="2438069" y="1068646"/>
                </a:cubicBezTo>
                <a:cubicBezTo>
                  <a:pt x="2445358" y="1066824"/>
                  <a:pt x="2447180" y="1061358"/>
                  <a:pt x="2447180" y="1055891"/>
                </a:cubicBezTo>
                <a:cubicBezTo>
                  <a:pt x="2443536" y="1055891"/>
                  <a:pt x="2443536" y="1057713"/>
                  <a:pt x="2443536" y="1059535"/>
                </a:cubicBezTo>
                <a:cubicBezTo>
                  <a:pt x="2439891" y="1059535"/>
                  <a:pt x="2441713" y="1055891"/>
                  <a:pt x="2441713" y="1052247"/>
                </a:cubicBezTo>
                <a:cubicBezTo>
                  <a:pt x="2439891" y="1050425"/>
                  <a:pt x="2434425" y="1054069"/>
                  <a:pt x="2434425" y="1052247"/>
                </a:cubicBezTo>
                <a:close/>
                <a:moveTo>
                  <a:pt x="810868" y="1052247"/>
                </a:moveTo>
                <a:cubicBezTo>
                  <a:pt x="809046" y="1055891"/>
                  <a:pt x="814512" y="1055891"/>
                  <a:pt x="816334" y="1061358"/>
                </a:cubicBezTo>
                <a:cubicBezTo>
                  <a:pt x="816334" y="1057713"/>
                  <a:pt x="814512" y="1052247"/>
                  <a:pt x="810868" y="1052247"/>
                </a:cubicBezTo>
                <a:close/>
                <a:moveTo>
                  <a:pt x="807223" y="1052247"/>
                </a:moveTo>
                <a:cubicBezTo>
                  <a:pt x="801757" y="1061358"/>
                  <a:pt x="803579" y="1072291"/>
                  <a:pt x="810868" y="1081402"/>
                </a:cubicBezTo>
                <a:cubicBezTo>
                  <a:pt x="814512" y="1079579"/>
                  <a:pt x="816334" y="1075935"/>
                  <a:pt x="819979" y="1074113"/>
                </a:cubicBezTo>
                <a:cubicBezTo>
                  <a:pt x="816334" y="1070468"/>
                  <a:pt x="814057" y="1069557"/>
                  <a:pt x="812918" y="1068191"/>
                </a:cubicBezTo>
                <a:lnTo>
                  <a:pt x="812740" y="1061424"/>
                </a:lnTo>
                <a:lnTo>
                  <a:pt x="815424" y="1065002"/>
                </a:lnTo>
                <a:cubicBezTo>
                  <a:pt x="816790" y="1065457"/>
                  <a:pt x="818156" y="1065913"/>
                  <a:pt x="818156" y="1068646"/>
                </a:cubicBezTo>
                <a:cubicBezTo>
                  <a:pt x="819978" y="1066824"/>
                  <a:pt x="819067" y="1065457"/>
                  <a:pt x="817473" y="1064318"/>
                </a:cubicBezTo>
                <a:lnTo>
                  <a:pt x="812739" y="1061388"/>
                </a:lnTo>
                <a:lnTo>
                  <a:pt x="812690" y="1059535"/>
                </a:lnTo>
                <a:cubicBezTo>
                  <a:pt x="809046" y="1055891"/>
                  <a:pt x="810868" y="1055891"/>
                  <a:pt x="807223" y="1052247"/>
                </a:cubicBezTo>
                <a:close/>
                <a:moveTo>
                  <a:pt x="781713" y="1052247"/>
                </a:moveTo>
                <a:cubicBezTo>
                  <a:pt x="779892" y="1054069"/>
                  <a:pt x="778070" y="1057713"/>
                  <a:pt x="779892" y="1061358"/>
                </a:cubicBezTo>
                <a:cubicBezTo>
                  <a:pt x="779892" y="1061358"/>
                  <a:pt x="781713" y="1059535"/>
                  <a:pt x="781713" y="1059535"/>
                </a:cubicBezTo>
                <a:cubicBezTo>
                  <a:pt x="781713" y="1063180"/>
                  <a:pt x="779892" y="1063180"/>
                  <a:pt x="778070" y="1065002"/>
                </a:cubicBezTo>
                <a:cubicBezTo>
                  <a:pt x="781713" y="1066824"/>
                  <a:pt x="785357" y="1068646"/>
                  <a:pt x="789003" y="1066824"/>
                </a:cubicBezTo>
                <a:cubicBezTo>
                  <a:pt x="785357" y="1061358"/>
                  <a:pt x="783535" y="1057713"/>
                  <a:pt x="781713" y="1052247"/>
                </a:cubicBezTo>
                <a:close/>
                <a:moveTo>
                  <a:pt x="750737" y="1052247"/>
                </a:moveTo>
                <a:cubicBezTo>
                  <a:pt x="745269" y="1052247"/>
                  <a:pt x="750737" y="1065002"/>
                  <a:pt x="754380" y="1061358"/>
                </a:cubicBezTo>
                <a:cubicBezTo>
                  <a:pt x="752558" y="1057713"/>
                  <a:pt x="754380" y="1055891"/>
                  <a:pt x="750737" y="1052247"/>
                </a:cubicBezTo>
                <a:close/>
                <a:moveTo>
                  <a:pt x="721581" y="1052247"/>
                </a:moveTo>
                <a:cubicBezTo>
                  <a:pt x="721581" y="1054069"/>
                  <a:pt x="719759" y="1052247"/>
                  <a:pt x="719759" y="1054069"/>
                </a:cubicBezTo>
                <a:cubicBezTo>
                  <a:pt x="721581" y="1054069"/>
                  <a:pt x="723404" y="1057713"/>
                  <a:pt x="723404" y="1059535"/>
                </a:cubicBezTo>
                <a:cubicBezTo>
                  <a:pt x="725226" y="1055891"/>
                  <a:pt x="723404" y="1054069"/>
                  <a:pt x="721581" y="1052247"/>
                </a:cubicBezTo>
                <a:close/>
                <a:moveTo>
                  <a:pt x="659627" y="1052247"/>
                </a:moveTo>
                <a:cubicBezTo>
                  <a:pt x="657805" y="1055891"/>
                  <a:pt x="665094" y="1055891"/>
                  <a:pt x="665094" y="1057713"/>
                </a:cubicBezTo>
                <a:cubicBezTo>
                  <a:pt x="666916" y="1055891"/>
                  <a:pt x="665094" y="1055891"/>
                  <a:pt x="666916" y="1054069"/>
                </a:cubicBezTo>
                <a:cubicBezTo>
                  <a:pt x="665094" y="1054069"/>
                  <a:pt x="661449" y="1052247"/>
                  <a:pt x="659627" y="1052247"/>
                </a:cubicBezTo>
                <a:close/>
                <a:moveTo>
                  <a:pt x="348037" y="1052247"/>
                </a:moveTo>
                <a:cubicBezTo>
                  <a:pt x="351680" y="1059535"/>
                  <a:pt x="364435" y="1074113"/>
                  <a:pt x="373546" y="1077757"/>
                </a:cubicBezTo>
                <a:cubicBezTo>
                  <a:pt x="375368" y="1075935"/>
                  <a:pt x="369902" y="1075935"/>
                  <a:pt x="368079" y="1072291"/>
                </a:cubicBezTo>
                <a:cubicBezTo>
                  <a:pt x="373546" y="1075935"/>
                  <a:pt x="369902" y="1068646"/>
                  <a:pt x="368079" y="1066824"/>
                </a:cubicBezTo>
                <a:cubicBezTo>
                  <a:pt x="364435" y="1065002"/>
                  <a:pt x="362613" y="1065002"/>
                  <a:pt x="360791" y="1065002"/>
                </a:cubicBezTo>
                <a:cubicBezTo>
                  <a:pt x="358969" y="1063180"/>
                  <a:pt x="362613" y="1065002"/>
                  <a:pt x="362613" y="1063180"/>
                </a:cubicBezTo>
                <a:cubicBezTo>
                  <a:pt x="357146" y="1055891"/>
                  <a:pt x="353502" y="1057713"/>
                  <a:pt x="348037" y="1052247"/>
                </a:cubicBezTo>
                <a:close/>
                <a:moveTo>
                  <a:pt x="2774134" y="1051578"/>
                </a:moveTo>
                <a:lnTo>
                  <a:pt x="2775171" y="1054069"/>
                </a:lnTo>
                <a:lnTo>
                  <a:pt x="2773531" y="1054888"/>
                </a:lnTo>
                <a:close/>
                <a:moveTo>
                  <a:pt x="2314161" y="1050425"/>
                </a:moveTo>
                <a:cubicBezTo>
                  <a:pt x="2314161" y="1052247"/>
                  <a:pt x="2314161" y="1052247"/>
                  <a:pt x="2315983" y="1052247"/>
                </a:cubicBezTo>
                <a:cubicBezTo>
                  <a:pt x="2315983" y="1052247"/>
                  <a:pt x="2317806" y="1050425"/>
                  <a:pt x="2317806" y="1052247"/>
                </a:cubicBezTo>
                <a:close/>
                <a:moveTo>
                  <a:pt x="1157081" y="1050425"/>
                </a:moveTo>
                <a:cubicBezTo>
                  <a:pt x="1157081" y="1052247"/>
                  <a:pt x="1155259" y="1052247"/>
                  <a:pt x="1155259" y="1052247"/>
                </a:cubicBezTo>
                <a:cubicBezTo>
                  <a:pt x="1157081" y="1054069"/>
                  <a:pt x="1158903" y="1054069"/>
                  <a:pt x="1160725" y="1052247"/>
                </a:cubicBezTo>
                <a:cubicBezTo>
                  <a:pt x="1158903" y="1050425"/>
                  <a:pt x="1158903" y="1052247"/>
                  <a:pt x="1157081" y="1050425"/>
                </a:cubicBezTo>
                <a:close/>
                <a:moveTo>
                  <a:pt x="1111526" y="1050425"/>
                </a:moveTo>
                <a:cubicBezTo>
                  <a:pt x="1109704" y="1052247"/>
                  <a:pt x="1115171" y="1050425"/>
                  <a:pt x="1116993" y="1054069"/>
                </a:cubicBezTo>
                <a:cubicBezTo>
                  <a:pt x="1116993" y="1054069"/>
                  <a:pt x="1118815" y="1052247"/>
                  <a:pt x="1118815" y="1052247"/>
                </a:cubicBezTo>
                <a:cubicBezTo>
                  <a:pt x="1116993" y="1050425"/>
                  <a:pt x="1113349" y="1052247"/>
                  <a:pt x="1111526" y="1050425"/>
                </a:cubicBezTo>
                <a:close/>
                <a:moveTo>
                  <a:pt x="1022240" y="1050425"/>
                </a:moveTo>
                <a:cubicBezTo>
                  <a:pt x="1020418" y="1055891"/>
                  <a:pt x="1018596" y="1055891"/>
                  <a:pt x="1020418" y="1059535"/>
                </a:cubicBezTo>
                <a:cubicBezTo>
                  <a:pt x="1022240" y="1057713"/>
                  <a:pt x="1020418" y="1054069"/>
                  <a:pt x="1024062" y="1052247"/>
                </a:cubicBezTo>
                <a:cubicBezTo>
                  <a:pt x="1024062" y="1052247"/>
                  <a:pt x="1022240" y="1050425"/>
                  <a:pt x="1022240" y="1050425"/>
                </a:cubicBezTo>
                <a:close/>
                <a:moveTo>
                  <a:pt x="891043" y="1050425"/>
                </a:moveTo>
                <a:cubicBezTo>
                  <a:pt x="889222" y="1054069"/>
                  <a:pt x="894688" y="1055891"/>
                  <a:pt x="891043" y="1059535"/>
                </a:cubicBezTo>
                <a:cubicBezTo>
                  <a:pt x="892866" y="1061358"/>
                  <a:pt x="892866" y="1055891"/>
                  <a:pt x="894688" y="1054069"/>
                </a:cubicBezTo>
                <a:cubicBezTo>
                  <a:pt x="892866" y="1054069"/>
                  <a:pt x="892866" y="1052247"/>
                  <a:pt x="891043" y="1050425"/>
                </a:cubicBezTo>
                <a:close/>
                <a:moveTo>
                  <a:pt x="196795" y="1050425"/>
                </a:moveTo>
                <a:lnTo>
                  <a:pt x="199225" y="1054069"/>
                </a:lnTo>
                <a:lnTo>
                  <a:pt x="198617" y="1054069"/>
                </a:lnTo>
                <a:cubicBezTo>
                  <a:pt x="196795" y="1055891"/>
                  <a:pt x="202262" y="1059535"/>
                  <a:pt x="204084" y="1061358"/>
                </a:cubicBezTo>
                <a:lnTo>
                  <a:pt x="199225" y="1054069"/>
                </a:lnTo>
                <a:lnTo>
                  <a:pt x="200439" y="1054069"/>
                </a:lnTo>
                <a:cubicBezTo>
                  <a:pt x="198617" y="1054069"/>
                  <a:pt x="194973" y="1050425"/>
                  <a:pt x="196795" y="1050425"/>
                </a:cubicBezTo>
                <a:close/>
                <a:moveTo>
                  <a:pt x="253738" y="1050424"/>
                </a:moveTo>
                <a:cubicBezTo>
                  <a:pt x="251460" y="1050880"/>
                  <a:pt x="248727" y="1052247"/>
                  <a:pt x="245994" y="1052247"/>
                </a:cubicBezTo>
                <a:cubicBezTo>
                  <a:pt x="249638" y="1057713"/>
                  <a:pt x="253282" y="1048602"/>
                  <a:pt x="258749" y="1054069"/>
                </a:cubicBezTo>
                <a:cubicBezTo>
                  <a:pt x="257838" y="1050424"/>
                  <a:pt x="256017" y="1049969"/>
                  <a:pt x="253738" y="1050424"/>
                </a:cubicBezTo>
                <a:close/>
                <a:moveTo>
                  <a:pt x="3134140" y="1048602"/>
                </a:moveTo>
                <a:cubicBezTo>
                  <a:pt x="3125029" y="1048602"/>
                  <a:pt x="3135962" y="1057713"/>
                  <a:pt x="3134140" y="1059535"/>
                </a:cubicBezTo>
                <a:cubicBezTo>
                  <a:pt x="3139606" y="1057713"/>
                  <a:pt x="3132317" y="1054069"/>
                  <a:pt x="3134140" y="1048602"/>
                </a:cubicBezTo>
                <a:close/>
                <a:moveTo>
                  <a:pt x="907444" y="1048602"/>
                </a:moveTo>
                <a:cubicBezTo>
                  <a:pt x="903799" y="1052247"/>
                  <a:pt x="900154" y="1052247"/>
                  <a:pt x="898333" y="1055891"/>
                </a:cubicBezTo>
                <a:cubicBezTo>
                  <a:pt x="900154" y="1057713"/>
                  <a:pt x="903799" y="1061358"/>
                  <a:pt x="905621" y="1063180"/>
                </a:cubicBezTo>
                <a:cubicBezTo>
                  <a:pt x="907444" y="1063180"/>
                  <a:pt x="907444" y="1061358"/>
                  <a:pt x="909265" y="1059535"/>
                </a:cubicBezTo>
                <a:cubicBezTo>
                  <a:pt x="911087" y="1055891"/>
                  <a:pt x="907444" y="1052247"/>
                  <a:pt x="907444" y="1048602"/>
                </a:cubicBezTo>
                <a:close/>
                <a:moveTo>
                  <a:pt x="884666" y="1048147"/>
                </a:moveTo>
                <a:cubicBezTo>
                  <a:pt x="883300" y="1048147"/>
                  <a:pt x="881933" y="1048603"/>
                  <a:pt x="880111" y="1050425"/>
                </a:cubicBezTo>
                <a:cubicBezTo>
                  <a:pt x="881933" y="1052247"/>
                  <a:pt x="881933" y="1052247"/>
                  <a:pt x="881933" y="1052247"/>
                </a:cubicBezTo>
                <a:cubicBezTo>
                  <a:pt x="880111" y="1052247"/>
                  <a:pt x="880111" y="1050425"/>
                  <a:pt x="878288" y="1050425"/>
                </a:cubicBezTo>
                <a:cubicBezTo>
                  <a:pt x="874644" y="1050425"/>
                  <a:pt x="871000" y="1050425"/>
                  <a:pt x="869177" y="1052247"/>
                </a:cubicBezTo>
                <a:cubicBezTo>
                  <a:pt x="869177" y="1055891"/>
                  <a:pt x="871000" y="1057713"/>
                  <a:pt x="871000" y="1059535"/>
                </a:cubicBezTo>
                <a:cubicBezTo>
                  <a:pt x="871000" y="1065002"/>
                  <a:pt x="872822" y="1079579"/>
                  <a:pt x="881933" y="1075935"/>
                </a:cubicBezTo>
                <a:cubicBezTo>
                  <a:pt x="881933" y="1075935"/>
                  <a:pt x="881933" y="1074113"/>
                  <a:pt x="881933" y="1074113"/>
                </a:cubicBezTo>
                <a:cubicBezTo>
                  <a:pt x="892866" y="1070469"/>
                  <a:pt x="891043" y="1061358"/>
                  <a:pt x="883755" y="1054069"/>
                </a:cubicBezTo>
                <a:cubicBezTo>
                  <a:pt x="885577" y="1055891"/>
                  <a:pt x="885577" y="1055891"/>
                  <a:pt x="887399" y="1055891"/>
                </a:cubicBezTo>
                <a:cubicBezTo>
                  <a:pt x="891043" y="1054069"/>
                  <a:pt x="889222" y="1050425"/>
                  <a:pt x="889222" y="1048602"/>
                </a:cubicBezTo>
                <a:cubicBezTo>
                  <a:pt x="887399" y="1048602"/>
                  <a:pt x="886033" y="1048147"/>
                  <a:pt x="884666" y="1048147"/>
                </a:cubicBezTo>
                <a:close/>
                <a:moveTo>
                  <a:pt x="1276731" y="1046798"/>
                </a:moveTo>
                <a:lnTo>
                  <a:pt x="1275522" y="1050425"/>
                </a:lnTo>
                <a:lnTo>
                  <a:pt x="1273875" y="1047131"/>
                </a:lnTo>
                <a:lnTo>
                  <a:pt x="1275294" y="1047463"/>
                </a:lnTo>
                <a:close/>
                <a:moveTo>
                  <a:pt x="1016774" y="1046780"/>
                </a:moveTo>
                <a:cubicBezTo>
                  <a:pt x="1013129" y="1050425"/>
                  <a:pt x="1013129" y="1055891"/>
                  <a:pt x="1014951" y="1059535"/>
                </a:cubicBezTo>
                <a:cubicBezTo>
                  <a:pt x="1018596" y="1055891"/>
                  <a:pt x="1022240" y="1052247"/>
                  <a:pt x="1016774" y="1046780"/>
                </a:cubicBezTo>
                <a:close/>
                <a:moveTo>
                  <a:pt x="871000" y="1046780"/>
                </a:moveTo>
                <a:cubicBezTo>
                  <a:pt x="871000" y="1046780"/>
                  <a:pt x="869177" y="1048602"/>
                  <a:pt x="869177" y="1048602"/>
                </a:cubicBezTo>
                <a:cubicBezTo>
                  <a:pt x="869177" y="1050425"/>
                  <a:pt x="871000" y="1050425"/>
                  <a:pt x="872822" y="1048602"/>
                </a:cubicBezTo>
                <a:cubicBezTo>
                  <a:pt x="872822" y="1046780"/>
                  <a:pt x="872822" y="1046780"/>
                  <a:pt x="871000" y="1046780"/>
                </a:cubicBezTo>
                <a:close/>
                <a:moveTo>
                  <a:pt x="810868" y="1046780"/>
                </a:moveTo>
                <a:cubicBezTo>
                  <a:pt x="809046" y="1048602"/>
                  <a:pt x="809046" y="1048602"/>
                  <a:pt x="807223" y="1050425"/>
                </a:cubicBezTo>
                <a:cubicBezTo>
                  <a:pt x="809046" y="1050425"/>
                  <a:pt x="810868" y="1050425"/>
                  <a:pt x="812690" y="1052247"/>
                </a:cubicBezTo>
                <a:cubicBezTo>
                  <a:pt x="812690" y="1050425"/>
                  <a:pt x="812690" y="1048602"/>
                  <a:pt x="810868" y="1046780"/>
                </a:cubicBezTo>
                <a:close/>
                <a:moveTo>
                  <a:pt x="655983" y="1046780"/>
                </a:moveTo>
                <a:cubicBezTo>
                  <a:pt x="657805" y="1050425"/>
                  <a:pt x="663272" y="1052247"/>
                  <a:pt x="665094" y="1050425"/>
                </a:cubicBezTo>
                <a:cubicBezTo>
                  <a:pt x="665094" y="1048602"/>
                  <a:pt x="657805" y="1044958"/>
                  <a:pt x="655983" y="1046780"/>
                </a:cubicBezTo>
                <a:close/>
                <a:moveTo>
                  <a:pt x="420923" y="1046780"/>
                </a:moveTo>
                <a:cubicBezTo>
                  <a:pt x="422745" y="1050425"/>
                  <a:pt x="422745" y="1057713"/>
                  <a:pt x="428211" y="1057713"/>
                </a:cubicBezTo>
                <a:cubicBezTo>
                  <a:pt x="430034" y="1057713"/>
                  <a:pt x="424567" y="1052247"/>
                  <a:pt x="430034" y="1050425"/>
                </a:cubicBezTo>
                <a:cubicBezTo>
                  <a:pt x="428211" y="1050425"/>
                  <a:pt x="424567" y="1046780"/>
                  <a:pt x="420923" y="1046780"/>
                </a:cubicBezTo>
                <a:close/>
                <a:moveTo>
                  <a:pt x="311592" y="1046780"/>
                </a:moveTo>
                <a:cubicBezTo>
                  <a:pt x="317059" y="1052247"/>
                  <a:pt x="322525" y="1055891"/>
                  <a:pt x="326169" y="1055891"/>
                </a:cubicBezTo>
                <a:cubicBezTo>
                  <a:pt x="322525" y="1054069"/>
                  <a:pt x="320703" y="1050425"/>
                  <a:pt x="318882" y="1046780"/>
                </a:cubicBezTo>
                <a:cubicBezTo>
                  <a:pt x="315236" y="1044958"/>
                  <a:pt x="313414" y="1046780"/>
                  <a:pt x="311592" y="1046780"/>
                </a:cubicBezTo>
                <a:close/>
                <a:moveTo>
                  <a:pt x="125730" y="1046780"/>
                </a:moveTo>
                <a:cubicBezTo>
                  <a:pt x="129375" y="1052247"/>
                  <a:pt x="136663" y="1055891"/>
                  <a:pt x="143952" y="1059535"/>
                </a:cubicBezTo>
                <a:cubicBezTo>
                  <a:pt x="138486" y="1050425"/>
                  <a:pt x="131197" y="1052247"/>
                  <a:pt x="125730" y="1046780"/>
                </a:cubicBezTo>
                <a:close/>
                <a:moveTo>
                  <a:pt x="3297233" y="1045564"/>
                </a:moveTo>
                <a:lnTo>
                  <a:pt x="3296996" y="1045641"/>
                </a:lnTo>
                <a:lnTo>
                  <a:pt x="3289969" y="1048725"/>
                </a:lnTo>
                <a:lnTo>
                  <a:pt x="3294719" y="1045869"/>
                </a:lnTo>
                <a:close/>
                <a:moveTo>
                  <a:pt x="3084941" y="1044958"/>
                </a:moveTo>
                <a:cubicBezTo>
                  <a:pt x="3083119" y="1048602"/>
                  <a:pt x="3079474" y="1050425"/>
                  <a:pt x="3075830" y="1050425"/>
                </a:cubicBezTo>
                <a:cubicBezTo>
                  <a:pt x="3075830" y="1054069"/>
                  <a:pt x="3077652" y="1057713"/>
                  <a:pt x="3079474" y="1059535"/>
                </a:cubicBezTo>
                <a:cubicBezTo>
                  <a:pt x="3086763" y="1057713"/>
                  <a:pt x="3088585" y="1055891"/>
                  <a:pt x="3095874" y="1057713"/>
                </a:cubicBezTo>
                <a:cubicBezTo>
                  <a:pt x="3088585" y="1055891"/>
                  <a:pt x="3086763" y="1050425"/>
                  <a:pt x="3084941" y="1044958"/>
                </a:cubicBezTo>
                <a:close/>
                <a:moveTo>
                  <a:pt x="2299584" y="1044958"/>
                </a:moveTo>
                <a:cubicBezTo>
                  <a:pt x="2297762" y="1048602"/>
                  <a:pt x="2297762" y="1054069"/>
                  <a:pt x="2303228" y="1054069"/>
                </a:cubicBezTo>
                <a:cubicBezTo>
                  <a:pt x="2303228" y="1050425"/>
                  <a:pt x="2301406" y="1046780"/>
                  <a:pt x="2305050" y="1046780"/>
                </a:cubicBezTo>
                <a:cubicBezTo>
                  <a:pt x="2308695" y="1046780"/>
                  <a:pt x="2303228" y="1050425"/>
                  <a:pt x="2305050" y="1052247"/>
                </a:cubicBezTo>
                <a:cubicBezTo>
                  <a:pt x="2308695" y="1052247"/>
                  <a:pt x="2310517" y="1050425"/>
                  <a:pt x="2310517" y="1048602"/>
                </a:cubicBezTo>
                <a:close/>
                <a:moveTo>
                  <a:pt x="2235808" y="1044958"/>
                </a:moveTo>
                <a:cubicBezTo>
                  <a:pt x="2221230" y="1050425"/>
                  <a:pt x="2217586" y="1061358"/>
                  <a:pt x="2221230" y="1075935"/>
                </a:cubicBezTo>
                <a:lnTo>
                  <a:pt x="2233274" y="1071418"/>
                </a:lnTo>
                <a:lnTo>
                  <a:pt x="2228520" y="1077757"/>
                </a:lnTo>
                <a:lnTo>
                  <a:pt x="2228519" y="1077757"/>
                </a:lnTo>
                <a:cubicBezTo>
                  <a:pt x="2228519" y="1081402"/>
                  <a:pt x="2224875" y="1083224"/>
                  <a:pt x="2223053" y="1085046"/>
                </a:cubicBezTo>
                <a:lnTo>
                  <a:pt x="2228520" y="1077757"/>
                </a:lnTo>
                <a:lnTo>
                  <a:pt x="2232163" y="1083224"/>
                </a:lnTo>
                <a:cubicBezTo>
                  <a:pt x="2235808" y="1075935"/>
                  <a:pt x="2246741" y="1077757"/>
                  <a:pt x="2252207" y="1068646"/>
                </a:cubicBezTo>
                <a:cubicBezTo>
                  <a:pt x="2250385" y="1070469"/>
                  <a:pt x="2248563" y="1066824"/>
                  <a:pt x="2244919" y="1068646"/>
                </a:cubicBezTo>
                <a:cubicBezTo>
                  <a:pt x="2244919" y="1072290"/>
                  <a:pt x="2243553" y="1072290"/>
                  <a:pt x="2241503" y="1071607"/>
                </a:cubicBezTo>
                <a:lnTo>
                  <a:pt x="2235283" y="1070665"/>
                </a:lnTo>
                <a:lnTo>
                  <a:pt x="2250385" y="1065002"/>
                </a:lnTo>
                <a:cubicBezTo>
                  <a:pt x="2254030" y="1065002"/>
                  <a:pt x="2254030" y="1055891"/>
                  <a:pt x="2255852" y="1050425"/>
                </a:cubicBezTo>
                <a:cubicBezTo>
                  <a:pt x="2254030" y="1050425"/>
                  <a:pt x="2250385" y="1050425"/>
                  <a:pt x="2248563" y="1048602"/>
                </a:cubicBezTo>
                <a:cubicBezTo>
                  <a:pt x="2246741" y="1052247"/>
                  <a:pt x="2244919" y="1055891"/>
                  <a:pt x="2244919" y="1059535"/>
                </a:cubicBezTo>
                <a:cubicBezTo>
                  <a:pt x="2237630" y="1059535"/>
                  <a:pt x="2239452" y="1059535"/>
                  <a:pt x="2233986" y="1066824"/>
                </a:cubicBezTo>
                <a:cubicBezTo>
                  <a:pt x="2230341" y="1061358"/>
                  <a:pt x="2233986" y="1059535"/>
                  <a:pt x="2233986" y="1055891"/>
                </a:cubicBezTo>
                <a:cubicBezTo>
                  <a:pt x="2228519" y="1055891"/>
                  <a:pt x="2228519" y="1063180"/>
                  <a:pt x="2223053" y="1063180"/>
                </a:cubicBezTo>
                <a:cubicBezTo>
                  <a:pt x="2230341" y="1059535"/>
                  <a:pt x="2230341" y="1050425"/>
                  <a:pt x="2235808" y="1044958"/>
                </a:cubicBezTo>
                <a:close/>
                <a:moveTo>
                  <a:pt x="1142503" y="1044958"/>
                </a:moveTo>
                <a:cubicBezTo>
                  <a:pt x="1140681" y="1046780"/>
                  <a:pt x="1138859" y="1046780"/>
                  <a:pt x="1138859" y="1048602"/>
                </a:cubicBezTo>
                <a:cubicBezTo>
                  <a:pt x="1140681" y="1050425"/>
                  <a:pt x="1146148" y="1046780"/>
                  <a:pt x="1142503" y="1044958"/>
                </a:cubicBezTo>
                <a:close/>
                <a:moveTo>
                  <a:pt x="922020" y="1044958"/>
                </a:moveTo>
                <a:cubicBezTo>
                  <a:pt x="916555" y="1050425"/>
                  <a:pt x="920198" y="1059535"/>
                  <a:pt x="923843" y="1066824"/>
                </a:cubicBezTo>
                <a:cubicBezTo>
                  <a:pt x="923843" y="1059535"/>
                  <a:pt x="922020" y="1052247"/>
                  <a:pt x="922020" y="1044958"/>
                </a:cubicBezTo>
                <a:close/>
                <a:moveTo>
                  <a:pt x="894688" y="1044958"/>
                </a:moveTo>
                <a:cubicBezTo>
                  <a:pt x="894688" y="1044958"/>
                  <a:pt x="892866" y="1048602"/>
                  <a:pt x="891043" y="1046780"/>
                </a:cubicBezTo>
                <a:cubicBezTo>
                  <a:pt x="891043" y="1048602"/>
                  <a:pt x="894688" y="1050425"/>
                  <a:pt x="894688" y="1052247"/>
                </a:cubicBezTo>
                <a:cubicBezTo>
                  <a:pt x="892866" y="1048602"/>
                  <a:pt x="898333" y="1048602"/>
                  <a:pt x="894688" y="1044958"/>
                </a:cubicBezTo>
                <a:close/>
                <a:moveTo>
                  <a:pt x="821801" y="1044958"/>
                </a:moveTo>
                <a:cubicBezTo>
                  <a:pt x="819979" y="1046780"/>
                  <a:pt x="821801" y="1050425"/>
                  <a:pt x="821801" y="1052247"/>
                </a:cubicBezTo>
                <a:cubicBezTo>
                  <a:pt x="825445" y="1052247"/>
                  <a:pt x="823623" y="1046780"/>
                  <a:pt x="821801" y="1044958"/>
                </a:cubicBezTo>
                <a:close/>
                <a:moveTo>
                  <a:pt x="380835" y="1044958"/>
                </a:moveTo>
                <a:cubicBezTo>
                  <a:pt x="393590" y="1052247"/>
                  <a:pt x="399056" y="1065002"/>
                  <a:pt x="413634" y="1068646"/>
                </a:cubicBezTo>
                <a:cubicBezTo>
                  <a:pt x="413634" y="1063180"/>
                  <a:pt x="399056" y="1063180"/>
                  <a:pt x="400879" y="1055891"/>
                </a:cubicBezTo>
                <a:cubicBezTo>
                  <a:pt x="395412" y="1050425"/>
                  <a:pt x="386301" y="1044958"/>
                  <a:pt x="380835" y="1044958"/>
                </a:cubicBezTo>
                <a:close/>
                <a:moveTo>
                  <a:pt x="368079" y="1044958"/>
                </a:moveTo>
                <a:cubicBezTo>
                  <a:pt x="368079" y="1052247"/>
                  <a:pt x="373546" y="1050425"/>
                  <a:pt x="377190" y="1050425"/>
                </a:cubicBezTo>
                <a:cubicBezTo>
                  <a:pt x="375368" y="1050425"/>
                  <a:pt x="371724" y="1046780"/>
                  <a:pt x="368079" y="1044958"/>
                </a:cubicBezTo>
                <a:close/>
                <a:moveTo>
                  <a:pt x="324347" y="1044958"/>
                </a:moveTo>
                <a:cubicBezTo>
                  <a:pt x="326169" y="1048602"/>
                  <a:pt x="329814" y="1055891"/>
                  <a:pt x="337102" y="1055891"/>
                </a:cubicBezTo>
                <a:cubicBezTo>
                  <a:pt x="335280" y="1050425"/>
                  <a:pt x="327993" y="1048602"/>
                  <a:pt x="324347" y="1044958"/>
                </a:cubicBezTo>
                <a:close/>
                <a:moveTo>
                  <a:pt x="202262" y="1044958"/>
                </a:moveTo>
                <a:cubicBezTo>
                  <a:pt x="209550" y="1063180"/>
                  <a:pt x="227772" y="1066824"/>
                  <a:pt x="240527" y="1077757"/>
                </a:cubicBezTo>
                <a:cubicBezTo>
                  <a:pt x="236883" y="1061358"/>
                  <a:pt x="215017" y="1055891"/>
                  <a:pt x="202262" y="1044958"/>
                </a:cubicBezTo>
                <a:close/>
                <a:moveTo>
                  <a:pt x="3141428" y="1043136"/>
                </a:moveTo>
                <a:cubicBezTo>
                  <a:pt x="3137784" y="1044958"/>
                  <a:pt x="3137784" y="1048602"/>
                  <a:pt x="3137784" y="1052247"/>
                </a:cubicBezTo>
                <a:cubicBezTo>
                  <a:pt x="3139606" y="1052247"/>
                  <a:pt x="3141428" y="1054069"/>
                  <a:pt x="3141428" y="1055891"/>
                </a:cubicBezTo>
                <a:cubicBezTo>
                  <a:pt x="3146895" y="1057713"/>
                  <a:pt x="3148717" y="1054069"/>
                  <a:pt x="3148717" y="1050425"/>
                </a:cubicBezTo>
                <a:cubicBezTo>
                  <a:pt x="3148717" y="1046780"/>
                  <a:pt x="3143250" y="1048602"/>
                  <a:pt x="3141428" y="1043136"/>
                </a:cubicBezTo>
                <a:close/>
                <a:moveTo>
                  <a:pt x="1271878" y="1043136"/>
                </a:moveTo>
                <a:lnTo>
                  <a:pt x="1273875" y="1047131"/>
                </a:lnTo>
                <a:lnTo>
                  <a:pt x="1264589" y="1044958"/>
                </a:lnTo>
                <a:cubicBezTo>
                  <a:pt x="1264589" y="1043136"/>
                  <a:pt x="1270056" y="1043136"/>
                  <a:pt x="1271878" y="1043136"/>
                </a:cubicBezTo>
                <a:close/>
                <a:moveTo>
                  <a:pt x="1211747" y="1043136"/>
                </a:moveTo>
                <a:cubicBezTo>
                  <a:pt x="1210836" y="1044958"/>
                  <a:pt x="1210380" y="1047691"/>
                  <a:pt x="1209241" y="1050197"/>
                </a:cubicBezTo>
                <a:lnTo>
                  <a:pt x="1204064" y="1054660"/>
                </a:lnTo>
                <a:close/>
                <a:moveTo>
                  <a:pt x="1149792" y="1043136"/>
                </a:moveTo>
                <a:cubicBezTo>
                  <a:pt x="1147970" y="1043136"/>
                  <a:pt x="1142503" y="1044958"/>
                  <a:pt x="1146148" y="1046780"/>
                </a:cubicBezTo>
                <a:cubicBezTo>
                  <a:pt x="1147970" y="1044958"/>
                  <a:pt x="1147970" y="1044958"/>
                  <a:pt x="1149792" y="1043136"/>
                </a:cubicBezTo>
                <a:close/>
                <a:moveTo>
                  <a:pt x="1091484" y="1043136"/>
                </a:moveTo>
                <a:cubicBezTo>
                  <a:pt x="1089660" y="1044958"/>
                  <a:pt x="1089660" y="1046780"/>
                  <a:pt x="1091484" y="1048602"/>
                </a:cubicBezTo>
                <a:cubicBezTo>
                  <a:pt x="1091484" y="1050425"/>
                  <a:pt x="1089660" y="1050425"/>
                  <a:pt x="1091484" y="1052247"/>
                </a:cubicBezTo>
                <a:cubicBezTo>
                  <a:pt x="1095127" y="1052247"/>
                  <a:pt x="1096949" y="1050425"/>
                  <a:pt x="1098771" y="1050425"/>
                </a:cubicBezTo>
                <a:cubicBezTo>
                  <a:pt x="1100593" y="1046780"/>
                  <a:pt x="1098771" y="1048602"/>
                  <a:pt x="1096949" y="1044958"/>
                </a:cubicBezTo>
                <a:cubicBezTo>
                  <a:pt x="1093305" y="1046780"/>
                  <a:pt x="1093305" y="1050425"/>
                  <a:pt x="1091484" y="1048602"/>
                </a:cubicBezTo>
                <a:cubicBezTo>
                  <a:pt x="1093305" y="1046780"/>
                  <a:pt x="1093305" y="1046780"/>
                  <a:pt x="1095127" y="1044958"/>
                </a:cubicBezTo>
                <a:cubicBezTo>
                  <a:pt x="1093305" y="1043136"/>
                  <a:pt x="1093305" y="1044958"/>
                  <a:pt x="1091484" y="1043136"/>
                </a:cubicBezTo>
                <a:close/>
                <a:moveTo>
                  <a:pt x="1047750" y="1043136"/>
                </a:moveTo>
                <a:cubicBezTo>
                  <a:pt x="1044106" y="1048602"/>
                  <a:pt x="1038639" y="1054069"/>
                  <a:pt x="1045929" y="1061358"/>
                </a:cubicBezTo>
                <a:lnTo>
                  <a:pt x="1051568" y="1054589"/>
                </a:lnTo>
                <a:lnTo>
                  <a:pt x="1053217" y="1059535"/>
                </a:lnTo>
                <a:cubicBezTo>
                  <a:pt x="1055040" y="1057713"/>
                  <a:pt x="1055040" y="1059535"/>
                  <a:pt x="1056861" y="1057713"/>
                </a:cubicBezTo>
                <a:lnTo>
                  <a:pt x="1055040" y="1057713"/>
                </a:lnTo>
                <a:cubicBezTo>
                  <a:pt x="1056861" y="1055891"/>
                  <a:pt x="1055040" y="1052247"/>
                  <a:pt x="1056861" y="1050425"/>
                </a:cubicBezTo>
                <a:cubicBezTo>
                  <a:pt x="1055950" y="1050425"/>
                  <a:pt x="1055950" y="1051336"/>
                  <a:pt x="1055494" y="1052247"/>
                </a:cubicBezTo>
                <a:lnTo>
                  <a:pt x="1052359" y="1053640"/>
                </a:lnTo>
                <a:lnTo>
                  <a:pt x="1055040" y="1050425"/>
                </a:lnTo>
                <a:cubicBezTo>
                  <a:pt x="1053217" y="1046780"/>
                  <a:pt x="1049573" y="1046780"/>
                  <a:pt x="1047750" y="1043136"/>
                </a:cubicBezTo>
                <a:close/>
                <a:moveTo>
                  <a:pt x="1009485" y="1043136"/>
                </a:moveTo>
                <a:cubicBezTo>
                  <a:pt x="1009485" y="1044958"/>
                  <a:pt x="1007663" y="1048602"/>
                  <a:pt x="1009485" y="1050425"/>
                </a:cubicBezTo>
                <a:cubicBezTo>
                  <a:pt x="1011307" y="1048602"/>
                  <a:pt x="1011307" y="1048602"/>
                  <a:pt x="1013129" y="1046780"/>
                </a:cubicBezTo>
                <a:cubicBezTo>
                  <a:pt x="1013129" y="1044958"/>
                  <a:pt x="1011307" y="1043136"/>
                  <a:pt x="1009485" y="1043136"/>
                </a:cubicBezTo>
                <a:close/>
                <a:moveTo>
                  <a:pt x="901976" y="1043136"/>
                </a:moveTo>
                <a:cubicBezTo>
                  <a:pt x="896510" y="1043136"/>
                  <a:pt x="896510" y="1050425"/>
                  <a:pt x="896510" y="1055891"/>
                </a:cubicBezTo>
                <a:cubicBezTo>
                  <a:pt x="900154" y="1052247"/>
                  <a:pt x="901976" y="1050425"/>
                  <a:pt x="903799" y="1046780"/>
                </a:cubicBezTo>
                <a:cubicBezTo>
                  <a:pt x="901976" y="1044958"/>
                  <a:pt x="903799" y="1044958"/>
                  <a:pt x="901976" y="1043136"/>
                </a:cubicBezTo>
                <a:close/>
                <a:moveTo>
                  <a:pt x="444611" y="1043136"/>
                </a:moveTo>
                <a:cubicBezTo>
                  <a:pt x="442789" y="1048602"/>
                  <a:pt x="451899" y="1054069"/>
                  <a:pt x="455544" y="1052247"/>
                </a:cubicBezTo>
                <a:cubicBezTo>
                  <a:pt x="451899" y="1048602"/>
                  <a:pt x="448256" y="1044958"/>
                  <a:pt x="444611" y="1043136"/>
                </a:cubicBezTo>
                <a:close/>
                <a:moveTo>
                  <a:pt x="878060" y="1042225"/>
                </a:moveTo>
                <a:cubicBezTo>
                  <a:pt x="876010" y="1042225"/>
                  <a:pt x="873732" y="1043136"/>
                  <a:pt x="871000" y="1043136"/>
                </a:cubicBezTo>
                <a:cubicBezTo>
                  <a:pt x="876466" y="1046780"/>
                  <a:pt x="880111" y="1048602"/>
                  <a:pt x="883755" y="1046780"/>
                </a:cubicBezTo>
                <a:cubicBezTo>
                  <a:pt x="881932" y="1043136"/>
                  <a:pt x="880111" y="1042225"/>
                  <a:pt x="878060" y="1042225"/>
                </a:cubicBezTo>
                <a:close/>
                <a:moveTo>
                  <a:pt x="190242" y="1041524"/>
                </a:moveTo>
                <a:lnTo>
                  <a:pt x="191007" y="1041742"/>
                </a:lnTo>
                <a:lnTo>
                  <a:pt x="193151" y="1044958"/>
                </a:lnTo>
                <a:close/>
                <a:moveTo>
                  <a:pt x="3365556" y="1041314"/>
                </a:moveTo>
                <a:cubicBezTo>
                  <a:pt x="3360089" y="1043136"/>
                  <a:pt x="3365556" y="1044958"/>
                  <a:pt x="3363734" y="1048602"/>
                </a:cubicBezTo>
                <a:cubicBezTo>
                  <a:pt x="3371022" y="1044958"/>
                  <a:pt x="3371022" y="1052247"/>
                  <a:pt x="3376489" y="1050425"/>
                </a:cubicBezTo>
                <a:cubicBezTo>
                  <a:pt x="3374666" y="1052247"/>
                  <a:pt x="3371022" y="1052247"/>
                  <a:pt x="3372844" y="1055891"/>
                </a:cubicBezTo>
                <a:cubicBezTo>
                  <a:pt x="3380133" y="1052247"/>
                  <a:pt x="3380133" y="1065002"/>
                  <a:pt x="3383777" y="1059535"/>
                </a:cubicBezTo>
                <a:cubicBezTo>
                  <a:pt x="3378311" y="1057713"/>
                  <a:pt x="3385600" y="1048602"/>
                  <a:pt x="3380133" y="1044958"/>
                </a:cubicBezTo>
                <a:cubicBezTo>
                  <a:pt x="3376489" y="1044958"/>
                  <a:pt x="3369200" y="1043136"/>
                  <a:pt x="3365556" y="1041314"/>
                </a:cubicBezTo>
                <a:close/>
                <a:moveTo>
                  <a:pt x="3150539" y="1041314"/>
                </a:moveTo>
                <a:cubicBezTo>
                  <a:pt x="3146895" y="1041314"/>
                  <a:pt x="3146895" y="1043136"/>
                  <a:pt x="3143250" y="1043136"/>
                </a:cubicBezTo>
                <a:cubicBezTo>
                  <a:pt x="3143250" y="1044958"/>
                  <a:pt x="3148717" y="1043136"/>
                  <a:pt x="3148717" y="1046780"/>
                </a:cubicBezTo>
                <a:cubicBezTo>
                  <a:pt x="3150539" y="1046780"/>
                  <a:pt x="3150539" y="1043136"/>
                  <a:pt x="3150539" y="1041314"/>
                </a:cubicBezTo>
                <a:close/>
                <a:moveTo>
                  <a:pt x="2623931" y="1041314"/>
                </a:moveTo>
                <a:cubicBezTo>
                  <a:pt x="2620287" y="1041314"/>
                  <a:pt x="2622109" y="1048602"/>
                  <a:pt x="2618464" y="1048602"/>
                </a:cubicBezTo>
                <a:cubicBezTo>
                  <a:pt x="2620287" y="1052247"/>
                  <a:pt x="2622109" y="1054069"/>
                  <a:pt x="2625753" y="1054069"/>
                </a:cubicBezTo>
                <a:cubicBezTo>
                  <a:pt x="2622109" y="1048602"/>
                  <a:pt x="2627575" y="1043136"/>
                  <a:pt x="2623931" y="1041314"/>
                </a:cubicBezTo>
                <a:close/>
                <a:moveTo>
                  <a:pt x="2259496" y="1041314"/>
                </a:moveTo>
                <a:cubicBezTo>
                  <a:pt x="2255852" y="1052247"/>
                  <a:pt x="2263140" y="1054069"/>
                  <a:pt x="2261318" y="1061358"/>
                </a:cubicBezTo>
                <a:cubicBezTo>
                  <a:pt x="2264963" y="1061358"/>
                  <a:pt x="2270429" y="1063180"/>
                  <a:pt x="2270429" y="1059535"/>
                </a:cubicBezTo>
                <a:cubicBezTo>
                  <a:pt x="2270429" y="1057713"/>
                  <a:pt x="2268607" y="1054069"/>
                  <a:pt x="2270429" y="1055891"/>
                </a:cubicBezTo>
                <a:cubicBezTo>
                  <a:pt x="2270429" y="1054069"/>
                  <a:pt x="2266785" y="1043136"/>
                  <a:pt x="2259496" y="1041314"/>
                </a:cubicBezTo>
                <a:close/>
                <a:moveTo>
                  <a:pt x="1197169" y="1041314"/>
                </a:moveTo>
                <a:cubicBezTo>
                  <a:pt x="1195346" y="1041314"/>
                  <a:pt x="1191703" y="1044958"/>
                  <a:pt x="1189880" y="1046780"/>
                </a:cubicBezTo>
                <a:cubicBezTo>
                  <a:pt x="1191703" y="1046780"/>
                  <a:pt x="1198991" y="1041314"/>
                  <a:pt x="1197169" y="1041314"/>
                </a:cubicBezTo>
                <a:close/>
                <a:moveTo>
                  <a:pt x="1153436" y="1041314"/>
                </a:moveTo>
                <a:cubicBezTo>
                  <a:pt x="1149792" y="1043136"/>
                  <a:pt x="1147970" y="1048602"/>
                  <a:pt x="1144326" y="1052247"/>
                </a:cubicBezTo>
                <a:cubicBezTo>
                  <a:pt x="1151614" y="1059535"/>
                  <a:pt x="1158903" y="1048602"/>
                  <a:pt x="1153436" y="1041314"/>
                </a:cubicBezTo>
                <a:close/>
                <a:moveTo>
                  <a:pt x="1127926" y="1041314"/>
                </a:moveTo>
                <a:cubicBezTo>
                  <a:pt x="1127926" y="1041314"/>
                  <a:pt x="1127926" y="1043136"/>
                  <a:pt x="1126104" y="1043136"/>
                </a:cubicBezTo>
                <a:cubicBezTo>
                  <a:pt x="1126104" y="1043136"/>
                  <a:pt x="1127926" y="1043136"/>
                  <a:pt x="1129748" y="1044958"/>
                </a:cubicBezTo>
                <a:cubicBezTo>
                  <a:pt x="1131570" y="1043136"/>
                  <a:pt x="1129748" y="1041314"/>
                  <a:pt x="1127926" y="1041314"/>
                </a:cubicBezTo>
                <a:close/>
                <a:moveTo>
                  <a:pt x="856422" y="1041314"/>
                </a:moveTo>
                <a:cubicBezTo>
                  <a:pt x="856422" y="1043136"/>
                  <a:pt x="856422" y="1044958"/>
                  <a:pt x="858244" y="1048602"/>
                </a:cubicBezTo>
                <a:cubicBezTo>
                  <a:pt x="861889" y="1046780"/>
                  <a:pt x="860066" y="1041314"/>
                  <a:pt x="856422" y="1041314"/>
                </a:cubicBezTo>
                <a:close/>
                <a:moveTo>
                  <a:pt x="763491" y="1041314"/>
                </a:moveTo>
                <a:cubicBezTo>
                  <a:pt x="756203" y="1048602"/>
                  <a:pt x="763491" y="1054069"/>
                  <a:pt x="765313" y="1059535"/>
                </a:cubicBezTo>
                <a:cubicBezTo>
                  <a:pt x="767136" y="1054069"/>
                  <a:pt x="761670" y="1050425"/>
                  <a:pt x="765313" y="1044958"/>
                </a:cubicBezTo>
                <a:cubicBezTo>
                  <a:pt x="763491" y="1044958"/>
                  <a:pt x="765313" y="1043136"/>
                  <a:pt x="763491" y="1041314"/>
                </a:cubicBezTo>
                <a:close/>
                <a:moveTo>
                  <a:pt x="393590" y="1041314"/>
                </a:moveTo>
                <a:cubicBezTo>
                  <a:pt x="395412" y="1048602"/>
                  <a:pt x="404523" y="1050425"/>
                  <a:pt x="409989" y="1054069"/>
                </a:cubicBezTo>
                <a:cubicBezTo>
                  <a:pt x="406345" y="1050425"/>
                  <a:pt x="399056" y="1046780"/>
                  <a:pt x="393590" y="1041314"/>
                </a:cubicBezTo>
                <a:close/>
                <a:moveTo>
                  <a:pt x="275149" y="1041314"/>
                </a:moveTo>
                <a:cubicBezTo>
                  <a:pt x="280615" y="1043136"/>
                  <a:pt x="282438" y="1048602"/>
                  <a:pt x="287904" y="1046780"/>
                </a:cubicBezTo>
                <a:cubicBezTo>
                  <a:pt x="284259" y="1041314"/>
                  <a:pt x="278793" y="1039492"/>
                  <a:pt x="275149" y="1041314"/>
                </a:cubicBezTo>
                <a:close/>
                <a:moveTo>
                  <a:pt x="260571" y="1041314"/>
                </a:moveTo>
                <a:lnTo>
                  <a:pt x="262863" y="1043210"/>
                </a:lnTo>
                <a:lnTo>
                  <a:pt x="261105" y="1041955"/>
                </a:lnTo>
                <a:close/>
                <a:moveTo>
                  <a:pt x="975198" y="1040182"/>
                </a:moveTo>
                <a:lnTo>
                  <a:pt x="975782" y="1041383"/>
                </a:lnTo>
                <a:lnTo>
                  <a:pt x="975319" y="1041086"/>
                </a:lnTo>
                <a:close/>
                <a:moveTo>
                  <a:pt x="1180769" y="1039492"/>
                </a:moveTo>
                <a:cubicBezTo>
                  <a:pt x="1175303" y="1044958"/>
                  <a:pt x="1171658" y="1048602"/>
                  <a:pt x="1171658" y="1052247"/>
                </a:cubicBezTo>
                <a:cubicBezTo>
                  <a:pt x="1178947" y="1048602"/>
                  <a:pt x="1182592" y="1046780"/>
                  <a:pt x="1188058" y="1041314"/>
                </a:cubicBezTo>
                <a:cubicBezTo>
                  <a:pt x="1186236" y="1039492"/>
                  <a:pt x="1182592" y="1043136"/>
                  <a:pt x="1180769" y="1039492"/>
                </a:cubicBezTo>
                <a:close/>
                <a:moveTo>
                  <a:pt x="789003" y="1039492"/>
                </a:moveTo>
                <a:cubicBezTo>
                  <a:pt x="789003" y="1044958"/>
                  <a:pt x="794468" y="1048602"/>
                  <a:pt x="794468" y="1054069"/>
                </a:cubicBezTo>
                <a:cubicBezTo>
                  <a:pt x="798112" y="1050425"/>
                  <a:pt x="794468" y="1041314"/>
                  <a:pt x="789003" y="1039492"/>
                </a:cubicBezTo>
                <a:close/>
                <a:moveTo>
                  <a:pt x="694249" y="1039492"/>
                </a:moveTo>
                <a:cubicBezTo>
                  <a:pt x="697893" y="1044958"/>
                  <a:pt x="696071" y="1054069"/>
                  <a:pt x="705182" y="1057713"/>
                </a:cubicBezTo>
                <a:cubicBezTo>
                  <a:pt x="707004" y="1050425"/>
                  <a:pt x="701537" y="1044958"/>
                  <a:pt x="694249" y="1039492"/>
                </a:cubicBezTo>
                <a:close/>
                <a:moveTo>
                  <a:pt x="391768" y="1039492"/>
                </a:moveTo>
                <a:cubicBezTo>
                  <a:pt x="402701" y="1048602"/>
                  <a:pt x="413634" y="1054069"/>
                  <a:pt x="424567" y="1059535"/>
                </a:cubicBezTo>
                <a:cubicBezTo>
                  <a:pt x="422745" y="1054069"/>
                  <a:pt x="415456" y="1050425"/>
                  <a:pt x="415456" y="1044958"/>
                </a:cubicBezTo>
                <a:cubicBezTo>
                  <a:pt x="406345" y="1037669"/>
                  <a:pt x="399056" y="1041314"/>
                  <a:pt x="391768" y="1039492"/>
                </a:cubicBezTo>
                <a:close/>
                <a:moveTo>
                  <a:pt x="348037" y="1039492"/>
                </a:moveTo>
                <a:cubicBezTo>
                  <a:pt x="344391" y="1041314"/>
                  <a:pt x="340747" y="1043136"/>
                  <a:pt x="340747" y="1044958"/>
                </a:cubicBezTo>
                <a:cubicBezTo>
                  <a:pt x="346213" y="1054069"/>
                  <a:pt x="357146" y="1054069"/>
                  <a:pt x="362613" y="1057713"/>
                </a:cubicBezTo>
                <a:cubicBezTo>
                  <a:pt x="373546" y="1063180"/>
                  <a:pt x="368079" y="1050425"/>
                  <a:pt x="373546" y="1052247"/>
                </a:cubicBezTo>
                <a:cubicBezTo>
                  <a:pt x="362613" y="1048602"/>
                  <a:pt x="362613" y="1039492"/>
                  <a:pt x="355324" y="1041314"/>
                </a:cubicBezTo>
                <a:cubicBezTo>
                  <a:pt x="355324" y="1046780"/>
                  <a:pt x="362613" y="1052247"/>
                  <a:pt x="362613" y="1057713"/>
                </a:cubicBezTo>
                <a:cubicBezTo>
                  <a:pt x="360791" y="1055891"/>
                  <a:pt x="357146" y="1052247"/>
                  <a:pt x="357146" y="1050425"/>
                </a:cubicBezTo>
                <a:cubicBezTo>
                  <a:pt x="358969" y="1052247"/>
                  <a:pt x="358969" y="1052247"/>
                  <a:pt x="360791" y="1054069"/>
                </a:cubicBezTo>
                <a:cubicBezTo>
                  <a:pt x="358969" y="1048602"/>
                  <a:pt x="353502" y="1041314"/>
                  <a:pt x="348037" y="1039492"/>
                </a:cubicBezTo>
                <a:close/>
                <a:moveTo>
                  <a:pt x="209550" y="1039492"/>
                </a:moveTo>
                <a:cubicBezTo>
                  <a:pt x="209550" y="1043136"/>
                  <a:pt x="202262" y="1041314"/>
                  <a:pt x="200439" y="1043136"/>
                </a:cubicBezTo>
                <a:cubicBezTo>
                  <a:pt x="211372" y="1050425"/>
                  <a:pt x="222306" y="1057713"/>
                  <a:pt x="233239" y="1061358"/>
                </a:cubicBezTo>
                <a:cubicBezTo>
                  <a:pt x="225950" y="1054069"/>
                  <a:pt x="216839" y="1046780"/>
                  <a:pt x="209550" y="1039492"/>
                </a:cubicBezTo>
                <a:close/>
                <a:moveTo>
                  <a:pt x="133019" y="1039492"/>
                </a:moveTo>
                <a:cubicBezTo>
                  <a:pt x="136663" y="1044958"/>
                  <a:pt x="138486" y="1048602"/>
                  <a:pt x="143952" y="1050425"/>
                </a:cubicBezTo>
                <a:cubicBezTo>
                  <a:pt x="145774" y="1052247"/>
                  <a:pt x="149419" y="1052247"/>
                  <a:pt x="149419" y="1054069"/>
                </a:cubicBezTo>
                <a:cubicBezTo>
                  <a:pt x="151241" y="1054069"/>
                  <a:pt x="140308" y="1044958"/>
                  <a:pt x="138486" y="1043136"/>
                </a:cubicBezTo>
                <a:cubicBezTo>
                  <a:pt x="145774" y="1044958"/>
                  <a:pt x="151696" y="1050880"/>
                  <a:pt x="157618" y="1056346"/>
                </a:cubicBezTo>
                <a:lnTo>
                  <a:pt x="167925" y="1061990"/>
                </a:lnTo>
                <a:lnTo>
                  <a:pt x="178573" y="1068646"/>
                </a:lnTo>
                <a:lnTo>
                  <a:pt x="172681" y="1064595"/>
                </a:lnTo>
                <a:lnTo>
                  <a:pt x="176751" y="1066824"/>
                </a:lnTo>
                <a:lnTo>
                  <a:pt x="171845" y="1064020"/>
                </a:lnTo>
                <a:lnTo>
                  <a:pt x="149419" y="1048602"/>
                </a:lnTo>
                <a:cubicBezTo>
                  <a:pt x="154885" y="1050425"/>
                  <a:pt x="160352" y="1052247"/>
                  <a:pt x="163996" y="1055891"/>
                </a:cubicBezTo>
                <a:cubicBezTo>
                  <a:pt x="158529" y="1043136"/>
                  <a:pt x="143952" y="1043136"/>
                  <a:pt x="133019" y="1039492"/>
                </a:cubicBezTo>
                <a:close/>
                <a:moveTo>
                  <a:pt x="385391" y="1039492"/>
                </a:moveTo>
                <a:cubicBezTo>
                  <a:pt x="384479" y="1039036"/>
                  <a:pt x="383568" y="1038581"/>
                  <a:pt x="382657" y="1039492"/>
                </a:cubicBezTo>
                <a:cubicBezTo>
                  <a:pt x="384479" y="1043136"/>
                  <a:pt x="388123" y="1041314"/>
                  <a:pt x="389946" y="1044958"/>
                </a:cubicBezTo>
                <a:cubicBezTo>
                  <a:pt x="391768" y="1043136"/>
                  <a:pt x="389946" y="1041314"/>
                  <a:pt x="388123" y="1039492"/>
                </a:cubicBezTo>
                <a:cubicBezTo>
                  <a:pt x="387212" y="1040403"/>
                  <a:pt x="386301" y="1039947"/>
                  <a:pt x="385391" y="1039492"/>
                </a:cubicBezTo>
                <a:close/>
                <a:moveTo>
                  <a:pt x="1263463" y="1037965"/>
                </a:moveTo>
                <a:lnTo>
                  <a:pt x="1273700" y="1039492"/>
                </a:lnTo>
                <a:cubicBezTo>
                  <a:pt x="1275522" y="1041314"/>
                  <a:pt x="1275522" y="1039492"/>
                  <a:pt x="1277344" y="1041314"/>
                </a:cubicBezTo>
                <a:cubicBezTo>
                  <a:pt x="1277344" y="1043136"/>
                  <a:pt x="1277344" y="1044958"/>
                  <a:pt x="1275522" y="1046780"/>
                </a:cubicBezTo>
                <a:cubicBezTo>
                  <a:pt x="1273700" y="1044958"/>
                  <a:pt x="1273700" y="1043136"/>
                  <a:pt x="1271878" y="1043136"/>
                </a:cubicBezTo>
                <a:cubicBezTo>
                  <a:pt x="1268233" y="1039492"/>
                  <a:pt x="1257300" y="1046780"/>
                  <a:pt x="1251834" y="1041314"/>
                </a:cubicBezTo>
                <a:cubicBezTo>
                  <a:pt x="1253656" y="1039491"/>
                  <a:pt x="1257300" y="1039036"/>
                  <a:pt x="1260261" y="1038808"/>
                </a:cubicBezTo>
                <a:close/>
                <a:moveTo>
                  <a:pt x="3398355" y="1037669"/>
                </a:moveTo>
                <a:cubicBezTo>
                  <a:pt x="3394710" y="1046780"/>
                  <a:pt x="3411110" y="1054069"/>
                  <a:pt x="3418399" y="1059535"/>
                </a:cubicBezTo>
                <a:cubicBezTo>
                  <a:pt x="3422043" y="1057713"/>
                  <a:pt x="3425687" y="1057713"/>
                  <a:pt x="3429332" y="1057713"/>
                </a:cubicBezTo>
                <a:cubicBezTo>
                  <a:pt x="3434798" y="1061358"/>
                  <a:pt x="3434798" y="1068646"/>
                  <a:pt x="3442087" y="1070469"/>
                </a:cubicBezTo>
                <a:cubicBezTo>
                  <a:pt x="3442087" y="1054069"/>
                  <a:pt x="3412932" y="1048602"/>
                  <a:pt x="3398355" y="1037669"/>
                </a:cubicBezTo>
                <a:close/>
                <a:moveTo>
                  <a:pt x="1264589" y="1037669"/>
                </a:moveTo>
                <a:lnTo>
                  <a:pt x="1263463" y="1037965"/>
                </a:lnTo>
                <a:lnTo>
                  <a:pt x="1262895" y="1037880"/>
                </a:lnTo>
                <a:close/>
                <a:moveTo>
                  <a:pt x="974863" y="1037669"/>
                </a:moveTo>
                <a:lnTo>
                  <a:pt x="975198" y="1040182"/>
                </a:lnTo>
                <a:lnTo>
                  <a:pt x="974863" y="1039492"/>
                </a:lnTo>
                <a:cubicBezTo>
                  <a:pt x="973041" y="1041314"/>
                  <a:pt x="974863" y="1044958"/>
                  <a:pt x="973041" y="1046780"/>
                </a:cubicBezTo>
                <a:cubicBezTo>
                  <a:pt x="976686" y="1048602"/>
                  <a:pt x="978508" y="1059535"/>
                  <a:pt x="983974" y="1054069"/>
                </a:cubicBezTo>
                <a:cubicBezTo>
                  <a:pt x="983063" y="1052247"/>
                  <a:pt x="980786" y="1049969"/>
                  <a:pt x="978735" y="1047463"/>
                </a:cubicBezTo>
                <a:lnTo>
                  <a:pt x="975782" y="1041383"/>
                </a:lnTo>
                <a:lnTo>
                  <a:pt x="978508" y="1043136"/>
                </a:lnTo>
                <a:cubicBezTo>
                  <a:pt x="978508" y="1043136"/>
                  <a:pt x="980330" y="1041314"/>
                  <a:pt x="980330" y="1041314"/>
                </a:cubicBezTo>
                <a:cubicBezTo>
                  <a:pt x="980330" y="1043136"/>
                  <a:pt x="980330" y="1048602"/>
                  <a:pt x="983974" y="1048602"/>
                </a:cubicBezTo>
                <a:cubicBezTo>
                  <a:pt x="985796" y="1043136"/>
                  <a:pt x="980330" y="1037669"/>
                  <a:pt x="974863" y="1037669"/>
                </a:cubicBezTo>
                <a:close/>
                <a:moveTo>
                  <a:pt x="696071" y="1037669"/>
                </a:moveTo>
                <a:cubicBezTo>
                  <a:pt x="696071" y="1041314"/>
                  <a:pt x="707004" y="1044958"/>
                  <a:pt x="707004" y="1048602"/>
                </a:cubicBezTo>
                <a:cubicBezTo>
                  <a:pt x="708826" y="1044958"/>
                  <a:pt x="708826" y="1039492"/>
                  <a:pt x="699715" y="1037669"/>
                </a:cubicBezTo>
                <a:cubicBezTo>
                  <a:pt x="699715" y="1037669"/>
                  <a:pt x="697893" y="1037669"/>
                  <a:pt x="696071" y="1037669"/>
                </a:cubicBezTo>
                <a:close/>
                <a:moveTo>
                  <a:pt x="548475" y="1037669"/>
                </a:moveTo>
                <a:cubicBezTo>
                  <a:pt x="550297" y="1039492"/>
                  <a:pt x="550297" y="1046780"/>
                  <a:pt x="555763" y="1048602"/>
                </a:cubicBezTo>
                <a:cubicBezTo>
                  <a:pt x="555763" y="1044958"/>
                  <a:pt x="548475" y="1043136"/>
                  <a:pt x="552119" y="1039492"/>
                </a:cubicBezTo>
                <a:cubicBezTo>
                  <a:pt x="550297" y="1037669"/>
                  <a:pt x="550297" y="1037669"/>
                  <a:pt x="548475" y="1037669"/>
                </a:cubicBezTo>
                <a:close/>
                <a:moveTo>
                  <a:pt x="337102" y="1037669"/>
                </a:moveTo>
                <a:cubicBezTo>
                  <a:pt x="335280" y="1041314"/>
                  <a:pt x="338926" y="1039492"/>
                  <a:pt x="340747" y="1039492"/>
                </a:cubicBezTo>
                <a:cubicBezTo>
                  <a:pt x="338926" y="1039492"/>
                  <a:pt x="338926" y="1037669"/>
                  <a:pt x="337102" y="1037669"/>
                </a:cubicBezTo>
                <a:close/>
                <a:moveTo>
                  <a:pt x="255105" y="1037669"/>
                </a:moveTo>
                <a:lnTo>
                  <a:pt x="261105" y="1041955"/>
                </a:lnTo>
                <a:lnTo>
                  <a:pt x="269682" y="1052247"/>
                </a:lnTo>
                <a:cubicBezTo>
                  <a:pt x="270593" y="1050424"/>
                  <a:pt x="269226" y="1048602"/>
                  <a:pt x="267176" y="1046780"/>
                </a:cubicBezTo>
                <a:lnTo>
                  <a:pt x="262863" y="1043210"/>
                </a:lnTo>
                <a:lnTo>
                  <a:pt x="267860" y="1046780"/>
                </a:lnTo>
                <a:cubicBezTo>
                  <a:pt x="271504" y="1046780"/>
                  <a:pt x="271504" y="1044958"/>
                  <a:pt x="269682" y="1043136"/>
                </a:cubicBezTo>
                <a:cubicBezTo>
                  <a:pt x="273327" y="1046780"/>
                  <a:pt x="273327" y="1052247"/>
                  <a:pt x="282438" y="1052247"/>
                </a:cubicBezTo>
                <a:cubicBezTo>
                  <a:pt x="276971" y="1041314"/>
                  <a:pt x="264216" y="1037669"/>
                  <a:pt x="255105" y="1037669"/>
                </a:cubicBezTo>
                <a:close/>
                <a:moveTo>
                  <a:pt x="227772" y="1037669"/>
                </a:moveTo>
                <a:cubicBezTo>
                  <a:pt x="235061" y="1043136"/>
                  <a:pt x="242349" y="1048602"/>
                  <a:pt x="251460" y="1048602"/>
                </a:cubicBezTo>
                <a:cubicBezTo>
                  <a:pt x="245994" y="1043136"/>
                  <a:pt x="240527" y="1043136"/>
                  <a:pt x="236883" y="1037669"/>
                </a:cubicBezTo>
                <a:cubicBezTo>
                  <a:pt x="233239" y="1035847"/>
                  <a:pt x="229594" y="1035847"/>
                  <a:pt x="227772" y="1037669"/>
                </a:cubicBezTo>
                <a:close/>
                <a:moveTo>
                  <a:pt x="2206736" y="1037627"/>
                </a:moveTo>
                <a:lnTo>
                  <a:pt x="2205287" y="1040630"/>
                </a:lnTo>
                <a:lnTo>
                  <a:pt x="2205221" y="1041774"/>
                </a:lnTo>
                <a:lnTo>
                  <a:pt x="2203009" y="1043136"/>
                </a:lnTo>
                <a:cubicBezTo>
                  <a:pt x="2204831" y="1041314"/>
                  <a:pt x="2204831" y="1037669"/>
                  <a:pt x="2206653" y="1037669"/>
                </a:cubicBezTo>
                <a:close/>
                <a:moveTo>
                  <a:pt x="2235808" y="1035847"/>
                </a:moveTo>
                <a:lnTo>
                  <a:pt x="2235728" y="1035953"/>
                </a:lnTo>
                <a:lnTo>
                  <a:pt x="2235676" y="1035903"/>
                </a:lnTo>
                <a:close/>
                <a:moveTo>
                  <a:pt x="1135215" y="1035847"/>
                </a:moveTo>
                <a:cubicBezTo>
                  <a:pt x="1133393" y="1035847"/>
                  <a:pt x="1133393" y="1035847"/>
                  <a:pt x="1131570" y="1037669"/>
                </a:cubicBezTo>
                <a:cubicBezTo>
                  <a:pt x="1133393" y="1039492"/>
                  <a:pt x="1133393" y="1043136"/>
                  <a:pt x="1135215" y="1044958"/>
                </a:cubicBezTo>
                <a:cubicBezTo>
                  <a:pt x="1137037" y="1041314"/>
                  <a:pt x="1137037" y="1039492"/>
                  <a:pt x="1135215" y="1035847"/>
                </a:cubicBezTo>
                <a:close/>
                <a:moveTo>
                  <a:pt x="1080549" y="1035847"/>
                </a:moveTo>
                <a:cubicBezTo>
                  <a:pt x="1078727" y="1039492"/>
                  <a:pt x="1076905" y="1044958"/>
                  <a:pt x="1076905" y="1048602"/>
                </a:cubicBezTo>
                <a:cubicBezTo>
                  <a:pt x="1078727" y="1046780"/>
                  <a:pt x="1078727" y="1048602"/>
                  <a:pt x="1080549" y="1046780"/>
                </a:cubicBezTo>
                <a:cubicBezTo>
                  <a:pt x="1082373" y="1048602"/>
                  <a:pt x="1080549" y="1050425"/>
                  <a:pt x="1080549" y="1052247"/>
                </a:cubicBezTo>
                <a:cubicBezTo>
                  <a:pt x="1082373" y="1050425"/>
                  <a:pt x="1082373" y="1050425"/>
                  <a:pt x="1084194" y="1052247"/>
                </a:cubicBezTo>
                <a:lnTo>
                  <a:pt x="1084194" y="1046780"/>
                </a:lnTo>
                <a:cubicBezTo>
                  <a:pt x="1082373" y="1048602"/>
                  <a:pt x="1084194" y="1044958"/>
                  <a:pt x="1082373" y="1044958"/>
                </a:cubicBezTo>
                <a:cubicBezTo>
                  <a:pt x="1082373" y="1041314"/>
                  <a:pt x="1084194" y="1037669"/>
                  <a:pt x="1080549" y="1035847"/>
                </a:cubicBezTo>
                <a:close/>
                <a:moveTo>
                  <a:pt x="1018596" y="1035847"/>
                </a:moveTo>
                <a:cubicBezTo>
                  <a:pt x="1018596" y="1035847"/>
                  <a:pt x="1016774" y="1037669"/>
                  <a:pt x="1016774" y="1037669"/>
                </a:cubicBezTo>
                <a:cubicBezTo>
                  <a:pt x="1016774" y="1041314"/>
                  <a:pt x="1020418" y="1043136"/>
                  <a:pt x="1022240" y="1041314"/>
                </a:cubicBezTo>
                <a:cubicBezTo>
                  <a:pt x="1022240" y="1039492"/>
                  <a:pt x="1020418" y="1037669"/>
                  <a:pt x="1018596" y="1035847"/>
                </a:cubicBezTo>
                <a:close/>
                <a:moveTo>
                  <a:pt x="814512" y="1035847"/>
                </a:moveTo>
                <a:cubicBezTo>
                  <a:pt x="814512" y="1037669"/>
                  <a:pt x="812690" y="1039492"/>
                  <a:pt x="812690" y="1041314"/>
                </a:cubicBezTo>
                <a:lnTo>
                  <a:pt x="814512" y="1041314"/>
                </a:lnTo>
                <a:lnTo>
                  <a:pt x="816334" y="1041314"/>
                </a:lnTo>
                <a:cubicBezTo>
                  <a:pt x="818156" y="1039492"/>
                  <a:pt x="816334" y="1037669"/>
                  <a:pt x="814512" y="1035847"/>
                </a:cubicBezTo>
                <a:close/>
                <a:moveTo>
                  <a:pt x="703359" y="1035847"/>
                </a:moveTo>
                <a:cubicBezTo>
                  <a:pt x="703359" y="1037669"/>
                  <a:pt x="707004" y="1039492"/>
                  <a:pt x="708826" y="1041314"/>
                </a:cubicBezTo>
                <a:cubicBezTo>
                  <a:pt x="712470" y="1039492"/>
                  <a:pt x="707004" y="1035847"/>
                  <a:pt x="703359" y="1035847"/>
                </a:cubicBezTo>
                <a:close/>
                <a:moveTo>
                  <a:pt x="683316" y="1035847"/>
                </a:moveTo>
                <a:cubicBezTo>
                  <a:pt x="683316" y="1037669"/>
                  <a:pt x="683316" y="1039492"/>
                  <a:pt x="683316" y="1041314"/>
                </a:cubicBezTo>
                <a:cubicBezTo>
                  <a:pt x="681493" y="1041314"/>
                  <a:pt x="681493" y="1041314"/>
                  <a:pt x="681493" y="1041314"/>
                </a:cubicBezTo>
                <a:cubicBezTo>
                  <a:pt x="679671" y="1043136"/>
                  <a:pt x="681493" y="1044958"/>
                  <a:pt x="683316" y="1046780"/>
                </a:cubicBezTo>
                <a:cubicBezTo>
                  <a:pt x="683316" y="1044958"/>
                  <a:pt x="683316" y="1044958"/>
                  <a:pt x="685138" y="1043136"/>
                </a:cubicBezTo>
                <a:cubicBezTo>
                  <a:pt x="686960" y="1046780"/>
                  <a:pt x="694249" y="1050425"/>
                  <a:pt x="697893" y="1054069"/>
                </a:cubicBezTo>
                <a:cubicBezTo>
                  <a:pt x="697893" y="1052247"/>
                  <a:pt x="696071" y="1048602"/>
                  <a:pt x="696071" y="1046780"/>
                </a:cubicBezTo>
                <a:cubicBezTo>
                  <a:pt x="696071" y="1044958"/>
                  <a:pt x="692426" y="1044958"/>
                  <a:pt x="688782" y="1044958"/>
                </a:cubicBezTo>
                <a:cubicBezTo>
                  <a:pt x="688782" y="1043136"/>
                  <a:pt x="697893" y="1044958"/>
                  <a:pt x="692426" y="1039492"/>
                </a:cubicBezTo>
                <a:cubicBezTo>
                  <a:pt x="688782" y="1037669"/>
                  <a:pt x="685138" y="1034025"/>
                  <a:pt x="683316" y="1035847"/>
                </a:cubicBezTo>
                <a:close/>
                <a:moveTo>
                  <a:pt x="601318" y="1035847"/>
                </a:moveTo>
                <a:cubicBezTo>
                  <a:pt x="597673" y="1037669"/>
                  <a:pt x="601318" y="1041314"/>
                  <a:pt x="604963" y="1041314"/>
                </a:cubicBezTo>
                <a:cubicBezTo>
                  <a:pt x="608606" y="1039492"/>
                  <a:pt x="601318" y="1037669"/>
                  <a:pt x="604963" y="1037669"/>
                </a:cubicBezTo>
                <a:cubicBezTo>
                  <a:pt x="603140" y="1035847"/>
                  <a:pt x="603140" y="1037669"/>
                  <a:pt x="601318" y="1035847"/>
                </a:cubicBezTo>
                <a:close/>
                <a:moveTo>
                  <a:pt x="526609" y="1035847"/>
                </a:moveTo>
                <a:cubicBezTo>
                  <a:pt x="533897" y="1048602"/>
                  <a:pt x="535719" y="1063180"/>
                  <a:pt x="550297" y="1065002"/>
                </a:cubicBezTo>
                <a:cubicBezTo>
                  <a:pt x="555763" y="1066824"/>
                  <a:pt x="541186" y="1059535"/>
                  <a:pt x="544830" y="1052247"/>
                </a:cubicBezTo>
                <a:cubicBezTo>
                  <a:pt x="557586" y="1061358"/>
                  <a:pt x="555763" y="1054069"/>
                  <a:pt x="561230" y="1054069"/>
                </a:cubicBezTo>
                <a:cubicBezTo>
                  <a:pt x="557586" y="1054069"/>
                  <a:pt x="553941" y="1052247"/>
                  <a:pt x="550297" y="1052247"/>
                </a:cubicBezTo>
                <a:cubicBezTo>
                  <a:pt x="548475" y="1043136"/>
                  <a:pt x="530253" y="1043136"/>
                  <a:pt x="526609" y="1035847"/>
                </a:cubicBezTo>
                <a:close/>
                <a:moveTo>
                  <a:pt x="413634" y="1035847"/>
                </a:moveTo>
                <a:cubicBezTo>
                  <a:pt x="417278" y="1035847"/>
                  <a:pt x="424567" y="1037669"/>
                  <a:pt x="424567" y="1041314"/>
                </a:cubicBezTo>
                <a:cubicBezTo>
                  <a:pt x="422745" y="1041314"/>
                  <a:pt x="413634" y="1034025"/>
                  <a:pt x="413634" y="1035847"/>
                </a:cubicBezTo>
                <a:close/>
                <a:moveTo>
                  <a:pt x="1248827" y="1035782"/>
                </a:moveTo>
                <a:lnTo>
                  <a:pt x="1262895" y="1037880"/>
                </a:lnTo>
                <a:lnTo>
                  <a:pt x="1250012" y="1039492"/>
                </a:lnTo>
                <a:cubicBezTo>
                  <a:pt x="1248189" y="1041314"/>
                  <a:pt x="1246367" y="1039492"/>
                  <a:pt x="1244545" y="1041314"/>
                </a:cubicBezTo>
                <a:close/>
                <a:moveTo>
                  <a:pt x="3099518" y="1034025"/>
                </a:moveTo>
                <a:cubicBezTo>
                  <a:pt x="3094052" y="1032203"/>
                  <a:pt x="3095874" y="1035847"/>
                  <a:pt x="3095874" y="1039492"/>
                </a:cubicBezTo>
                <a:cubicBezTo>
                  <a:pt x="3097696" y="1039492"/>
                  <a:pt x="3099518" y="1039492"/>
                  <a:pt x="3101340" y="1039492"/>
                </a:cubicBezTo>
                <a:cubicBezTo>
                  <a:pt x="3103163" y="1035847"/>
                  <a:pt x="3099518" y="1037669"/>
                  <a:pt x="3099518" y="1034025"/>
                </a:cubicBezTo>
                <a:close/>
                <a:moveTo>
                  <a:pt x="1186236" y="1034025"/>
                </a:moveTo>
                <a:lnTo>
                  <a:pt x="1184940" y="1037912"/>
                </a:lnTo>
                <a:lnTo>
                  <a:pt x="1184414" y="1037669"/>
                </a:lnTo>
                <a:cubicBezTo>
                  <a:pt x="1184414" y="1037669"/>
                  <a:pt x="1186236" y="1039492"/>
                  <a:pt x="1184414" y="1039492"/>
                </a:cubicBezTo>
                <a:lnTo>
                  <a:pt x="1184940" y="1037912"/>
                </a:lnTo>
                <a:lnTo>
                  <a:pt x="1187374" y="1039036"/>
                </a:lnTo>
                <a:cubicBezTo>
                  <a:pt x="1188513" y="1039491"/>
                  <a:pt x="1189880" y="1039491"/>
                  <a:pt x="1191703" y="1037669"/>
                </a:cubicBezTo>
                <a:cubicBezTo>
                  <a:pt x="1191703" y="1034025"/>
                  <a:pt x="1188058" y="1034025"/>
                  <a:pt x="1186236" y="1034025"/>
                </a:cubicBezTo>
                <a:close/>
                <a:moveTo>
                  <a:pt x="1075083" y="1034025"/>
                </a:moveTo>
                <a:cubicBezTo>
                  <a:pt x="1073262" y="1035847"/>
                  <a:pt x="1075083" y="1037669"/>
                  <a:pt x="1073262" y="1039492"/>
                </a:cubicBezTo>
                <a:cubicBezTo>
                  <a:pt x="1073262" y="1039492"/>
                  <a:pt x="1073262" y="1035847"/>
                  <a:pt x="1073262" y="1035847"/>
                </a:cubicBezTo>
                <a:cubicBezTo>
                  <a:pt x="1069616" y="1037669"/>
                  <a:pt x="1069616" y="1041314"/>
                  <a:pt x="1067794" y="1043136"/>
                </a:cubicBezTo>
                <a:cubicBezTo>
                  <a:pt x="1069616" y="1043136"/>
                  <a:pt x="1073262" y="1044958"/>
                  <a:pt x="1071439" y="1046780"/>
                </a:cubicBezTo>
                <a:cubicBezTo>
                  <a:pt x="1069616" y="1048602"/>
                  <a:pt x="1069616" y="1044958"/>
                  <a:pt x="1067794" y="1044958"/>
                </a:cubicBezTo>
                <a:cubicBezTo>
                  <a:pt x="1064151" y="1046780"/>
                  <a:pt x="1065972" y="1048602"/>
                  <a:pt x="1064151" y="1050425"/>
                </a:cubicBezTo>
                <a:cubicBezTo>
                  <a:pt x="1065972" y="1050425"/>
                  <a:pt x="1069616" y="1054069"/>
                  <a:pt x="1071439" y="1052247"/>
                </a:cubicBezTo>
                <a:cubicBezTo>
                  <a:pt x="1069616" y="1050425"/>
                  <a:pt x="1069616" y="1050425"/>
                  <a:pt x="1069616" y="1048602"/>
                </a:cubicBezTo>
                <a:cubicBezTo>
                  <a:pt x="1071439" y="1048602"/>
                  <a:pt x="1071439" y="1052247"/>
                  <a:pt x="1073262" y="1052247"/>
                </a:cubicBezTo>
                <a:cubicBezTo>
                  <a:pt x="1075083" y="1050425"/>
                  <a:pt x="1073262" y="1048602"/>
                  <a:pt x="1075083" y="1046780"/>
                </a:cubicBezTo>
                <a:cubicBezTo>
                  <a:pt x="1073262" y="1044958"/>
                  <a:pt x="1071439" y="1043136"/>
                  <a:pt x="1071439" y="1041314"/>
                </a:cubicBezTo>
                <a:cubicBezTo>
                  <a:pt x="1073262" y="1041314"/>
                  <a:pt x="1073262" y="1041314"/>
                  <a:pt x="1073262" y="1039492"/>
                </a:cubicBezTo>
                <a:cubicBezTo>
                  <a:pt x="1075083" y="1039492"/>
                  <a:pt x="1078727" y="1043136"/>
                  <a:pt x="1075083" y="1043136"/>
                </a:cubicBezTo>
                <a:cubicBezTo>
                  <a:pt x="1078727" y="1043136"/>
                  <a:pt x="1078727" y="1039492"/>
                  <a:pt x="1078727" y="1037669"/>
                </a:cubicBezTo>
                <a:cubicBezTo>
                  <a:pt x="1076905" y="1037669"/>
                  <a:pt x="1076905" y="1034025"/>
                  <a:pt x="1075083" y="1034025"/>
                </a:cubicBezTo>
                <a:close/>
                <a:moveTo>
                  <a:pt x="1058683" y="1034025"/>
                </a:moveTo>
                <a:cubicBezTo>
                  <a:pt x="1058683" y="1034025"/>
                  <a:pt x="1056861" y="1035847"/>
                  <a:pt x="1056861" y="1035847"/>
                </a:cubicBezTo>
                <a:cubicBezTo>
                  <a:pt x="1058683" y="1037669"/>
                  <a:pt x="1056861" y="1037669"/>
                  <a:pt x="1058683" y="1039492"/>
                </a:cubicBezTo>
                <a:cubicBezTo>
                  <a:pt x="1058683" y="1037669"/>
                  <a:pt x="1060506" y="1035847"/>
                  <a:pt x="1058683" y="1034025"/>
                </a:cubicBezTo>
                <a:close/>
                <a:moveTo>
                  <a:pt x="1045929" y="1034025"/>
                </a:moveTo>
                <a:cubicBezTo>
                  <a:pt x="1049573" y="1037669"/>
                  <a:pt x="1053217" y="1043136"/>
                  <a:pt x="1056861" y="1044958"/>
                </a:cubicBezTo>
                <a:cubicBezTo>
                  <a:pt x="1058683" y="1046780"/>
                  <a:pt x="1060506" y="1048602"/>
                  <a:pt x="1060506" y="1048602"/>
                </a:cubicBezTo>
                <a:cubicBezTo>
                  <a:pt x="1064151" y="1044958"/>
                  <a:pt x="1064151" y="1039492"/>
                  <a:pt x="1064151" y="1035847"/>
                </a:cubicBezTo>
                <a:cubicBezTo>
                  <a:pt x="1064151" y="1037669"/>
                  <a:pt x="1064151" y="1037669"/>
                  <a:pt x="1065972" y="1039492"/>
                </a:cubicBezTo>
                <a:cubicBezTo>
                  <a:pt x="1067794" y="1037669"/>
                  <a:pt x="1069616" y="1035847"/>
                  <a:pt x="1069616" y="1034025"/>
                </a:cubicBezTo>
                <a:cubicBezTo>
                  <a:pt x="1067794" y="1032203"/>
                  <a:pt x="1065972" y="1035847"/>
                  <a:pt x="1064151" y="1035847"/>
                </a:cubicBezTo>
                <a:cubicBezTo>
                  <a:pt x="1060506" y="1034025"/>
                  <a:pt x="1058683" y="1043136"/>
                  <a:pt x="1056861" y="1044958"/>
                </a:cubicBezTo>
                <a:cubicBezTo>
                  <a:pt x="1058683" y="1035847"/>
                  <a:pt x="1051395" y="1032203"/>
                  <a:pt x="1045929" y="1034025"/>
                </a:cubicBezTo>
                <a:close/>
                <a:moveTo>
                  <a:pt x="761670" y="1034025"/>
                </a:moveTo>
                <a:cubicBezTo>
                  <a:pt x="759848" y="1034025"/>
                  <a:pt x="758025" y="1037669"/>
                  <a:pt x="756203" y="1039492"/>
                </a:cubicBezTo>
                <a:cubicBezTo>
                  <a:pt x="758025" y="1037669"/>
                  <a:pt x="763491" y="1039492"/>
                  <a:pt x="761670" y="1034025"/>
                </a:cubicBezTo>
                <a:close/>
                <a:moveTo>
                  <a:pt x="247816" y="1034025"/>
                </a:moveTo>
                <a:cubicBezTo>
                  <a:pt x="247816" y="1037669"/>
                  <a:pt x="244172" y="1039492"/>
                  <a:pt x="240527" y="1035847"/>
                </a:cubicBezTo>
                <a:cubicBezTo>
                  <a:pt x="244172" y="1043136"/>
                  <a:pt x="255105" y="1046780"/>
                  <a:pt x="260571" y="1048602"/>
                </a:cubicBezTo>
                <a:cubicBezTo>
                  <a:pt x="255105" y="1043136"/>
                  <a:pt x="255105" y="1035847"/>
                  <a:pt x="247816" y="1034025"/>
                </a:cubicBezTo>
                <a:close/>
                <a:moveTo>
                  <a:pt x="112975" y="1034025"/>
                </a:moveTo>
                <a:cubicBezTo>
                  <a:pt x="120264" y="1044958"/>
                  <a:pt x="129375" y="1044958"/>
                  <a:pt x="134841" y="1048602"/>
                </a:cubicBezTo>
                <a:cubicBezTo>
                  <a:pt x="129375" y="1039492"/>
                  <a:pt x="120264" y="1035847"/>
                  <a:pt x="112975" y="1034025"/>
                </a:cubicBezTo>
                <a:close/>
                <a:moveTo>
                  <a:pt x="794151" y="1033611"/>
                </a:moveTo>
                <a:lnTo>
                  <a:pt x="794468" y="1034086"/>
                </a:lnTo>
                <a:cubicBezTo>
                  <a:pt x="792646" y="1035909"/>
                  <a:pt x="789001" y="1037732"/>
                  <a:pt x="789001" y="1037732"/>
                </a:cubicBezTo>
                <a:close/>
                <a:moveTo>
                  <a:pt x="1234916" y="1033280"/>
                </a:moveTo>
                <a:lnTo>
                  <a:pt x="1245751" y="1035257"/>
                </a:lnTo>
                <a:lnTo>
                  <a:pt x="1244545" y="1037669"/>
                </a:lnTo>
                <a:cubicBezTo>
                  <a:pt x="1240901" y="1039492"/>
                  <a:pt x="1237256" y="1037669"/>
                  <a:pt x="1233612" y="1037669"/>
                </a:cubicBezTo>
                <a:cubicBezTo>
                  <a:pt x="1231790" y="1035847"/>
                  <a:pt x="1233612" y="1035847"/>
                  <a:pt x="1233612" y="1034025"/>
                </a:cubicBezTo>
                <a:close/>
                <a:moveTo>
                  <a:pt x="3106807" y="1032203"/>
                </a:moveTo>
                <a:cubicBezTo>
                  <a:pt x="3112274" y="1034025"/>
                  <a:pt x="3114096" y="1035847"/>
                  <a:pt x="3110451" y="1041314"/>
                </a:cubicBezTo>
                <a:cubicBezTo>
                  <a:pt x="3117740" y="1039492"/>
                  <a:pt x="3117740" y="1037669"/>
                  <a:pt x="3115918" y="1032203"/>
                </a:cubicBezTo>
                <a:cubicBezTo>
                  <a:pt x="3112274" y="1032203"/>
                  <a:pt x="3110451" y="1030381"/>
                  <a:pt x="3106807" y="1032203"/>
                </a:cubicBezTo>
                <a:close/>
                <a:moveTo>
                  <a:pt x="1290100" y="1032203"/>
                </a:moveTo>
                <a:lnTo>
                  <a:pt x="1287391" y="1044197"/>
                </a:lnTo>
                <a:lnTo>
                  <a:pt x="1284633" y="1043136"/>
                </a:lnTo>
                <a:lnTo>
                  <a:pt x="1276731" y="1046798"/>
                </a:lnTo>
                <a:lnTo>
                  <a:pt x="1279166" y="1039492"/>
                </a:lnTo>
                <a:cubicBezTo>
                  <a:pt x="1284633" y="1037669"/>
                  <a:pt x="1286455" y="1034025"/>
                  <a:pt x="1290100" y="1032203"/>
                </a:cubicBezTo>
                <a:close/>
                <a:moveTo>
                  <a:pt x="1146148" y="1032203"/>
                </a:moveTo>
                <a:cubicBezTo>
                  <a:pt x="1144326" y="1034025"/>
                  <a:pt x="1144326" y="1037669"/>
                  <a:pt x="1142503" y="1039492"/>
                </a:cubicBezTo>
                <a:cubicBezTo>
                  <a:pt x="1144326" y="1041314"/>
                  <a:pt x="1146148" y="1039492"/>
                  <a:pt x="1147970" y="1037669"/>
                </a:cubicBezTo>
                <a:cubicBezTo>
                  <a:pt x="1147970" y="1035847"/>
                  <a:pt x="1147970" y="1034025"/>
                  <a:pt x="1146148" y="1032203"/>
                </a:cubicBezTo>
                <a:close/>
                <a:moveTo>
                  <a:pt x="1034995" y="1032203"/>
                </a:moveTo>
                <a:cubicBezTo>
                  <a:pt x="1033173" y="1035847"/>
                  <a:pt x="1027707" y="1037669"/>
                  <a:pt x="1031351" y="1041314"/>
                </a:cubicBezTo>
                <a:cubicBezTo>
                  <a:pt x="1031351" y="1041314"/>
                  <a:pt x="1029529" y="1039492"/>
                  <a:pt x="1027707" y="1041314"/>
                </a:cubicBezTo>
                <a:cubicBezTo>
                  <a:pt x="1027707" y="1044958"/>
                  <a:pt x="1024062" y="1044958"/>
                  <a:pt x="1025884" y="1050425"/>
                </a:cubicBezTo>
                <a:cubicBezTo>
                  <a:pt x="1027707" y="1052247"/>
                  <a:pt x="1029529" y="1052247"/>
                  <a:pt x="1031351" y="1050425"/>
                </a:cubicBezTo>
                <a:cubicBezTo>
                  <a:pt x="1029529" y="1048602"/>
                  <a:pt x="1031351" y="1046780"/>
                  <a:pt x="1031351" y="1044958"/>
                </a:cubicBezTo>
                <a:cubicBezTo>
                  <a:pt x="1033173" y="1046780"/>
                  <a:pt x="1033173" y="1050425"/>
                  <a:pt x="1034995" y="1050425"/>
                </a:cubicBezTo>
                <a:lnTo>
                  <a:pt x="1034995" y="1048602"/>
                </a:lnTo>
                <a:cubicBezTo>
                  <a:pt x="1036818" y="1050425"/>
                  <a:pt x="1038639" y="1048602"/>
                  <a:pt x="1040462" y="1048602"/>
                </a:cubicBezTo>
                <a:cubicBezTo>
                  <a:pt x="1038639" y="1046780"/>
                  <a:pt x="1038639" y="1044958"/>
                  <a:pt x="1036818" y="1043136"/>
                </a:cubicBezTo>
                <a:cubicBezTo>
                  <a:pt x="1034995" y="1044958"/>
                  <a:pt x="1038639" y="1046780"/>
                  <a:pt x="1034995" y="1048602"/>
                </a:cubicBezTo>
                <a:lnTo>
                  <a:pt x="1034995" y="1039492"/>
                </a:lnTo>
                <a:cubicBezTo>
                  <a:pt x="1036818" y="1041314"/>
                  <a:pt x="1038639" y="1043136"/>
                  <a:pt x="1040462" y="1043136"/>
                </a:cubicBezTo>
                <a:cubicBezTo>
                  <a:pt x="1042284" y="1037669"/>
                  <a:pt x="1038639" y="1037669"/>
                  <a:pt x="1034995" y="1032203"/>
                </a:cubicBezTo>
                <a:close/>
                <a:moveTo>
                  <a:pt x="1024062" y="1032203"/>
                </a:moveTo>
                <a:cubicBezTo>
                  <a:pt x="1024062" y="1034025"/>
                  <a:pt x="1022240" y="1034025"/>
                  <a:pt x="1020418" y="1035847"/>
                </a:cubicBezTo>
                <a:cubicBezTo>
                  <a:pt x="1022240" y="1037669"/>
                  <a:pt x="1022240" y="1041314"/>
                  <a:pt x="1024062" y="1043136"/>
                </a:cubicBezTo>
                <a:cubicBezTo>
                  <a:pt x="1025884" y="1039492"/>
                  <a:pt x="1027707" y="1035847"/>
                  <a:pt x="1024062" y="1032203"/>
                </a:cubicBezTo>
                <a:close/>
                <a:moveTo>
                  <a:pt x="916555" y="1032203"/>
                </a:moveTo>
                <a:cubicBezTo>
                  <a:pt x="916555" y="1032203"/>
                  <a:pt x="916555" y="1034025"/>
                  <a:pt x="918376" y="1035847"/>
                </a:cubicBezTo>
                <a:cubicBezTo>
                  <a:pt x="918376" y="1039492"/>
                  <a:pt x="914732" y="1043136"/>
                  <a:pt x="916555" y="1046780"/>
                </a:cubicBezTo>
                <a:cubicBezTo>
                  <a:pt x="920198" y="1043136"/>
                  <a:pt x="918376" y="1041314"/>
                  <a:pt x="920198" y="1039492"/>
                </a:cubicBezTo>
                <a:cubicBezTo>
                  <a:pt x="920198" y="1037669"/>
                  <a:pt x="918376" y="1037669"/>
                  <a:pt x="918376" y="1035847"/>
                </a:cubicBezTo>
                <a:cubicBezTo>
                  <a:pt x="920198" y="1034025"/>
                  <a:pt x="918376" y="1032203"/>
                  <a:pt x="920198" y="1032203"/>
                </a:cubicBezTo>
                <a:cubicBezTo>
                  <a:pt x="918376" y="1030381"/>
                  <a:pt x="918376" y="1030381"/>
                  <a:pt x="916555" y="1032203"/>
                </a:cubicBezTo>
                <a:close/>
                <a:moveTo>
                  <a:pt x="225950" y="1032203"/>
                </a:moveTo>
                <a:cubicBezTo>
                  <a:pt x="231416" y="1035847"/>
                  <a:pt x="235061" y="1032203"/>
                  <a:pt x="238705" y="1032203"/>
                </a:cubicBezTo>
                <a:cubicBezTo>
                  <a:pt x="235061" y="1030381"/>
                  <a:pt x="229594" y="1030381"/>
                  <a:pt x="225950" y="1032203"/>
                </a:cubicBezTo>
                <a:close/>
                <a:moveTo>
                  <a:pt x="537541" y="1031519"/>
                </a:moveTo>
                <a:cubicBezTo>
                  <a:pt x="535264" y="1032203"/>
                  <a:pt x="532986" y="1033114"/>
                  <a:pt x="530253" y="1032203"/>
                </a:cubicBezTo>
                <a:cubicBezTo>
                  <a:pt x="533897" y="1035847"/>
                  <a:pt x="539364" y="1037669"/>
                  <a:pt x="544830" y="1039492"/>
                </a:cubicBezTo>
                <a:cubicBezTo>
                  <a:pt x="543008" y="1039492"/>
                  <a:pt x="541186" y="1041314"/>
                  <a:pt x="539364" y="1039492"/>
                </a:cubicBezTo>
                <a:cubicBezTo>
                  <a:pt x="541186" y="1041314"/>
                  <a:pt x="544830" y="1043136"/>
                  <a:pt x="546653" y="1044958"/>
                </a:cubicBezTo>
                <a:cubicBezTo>
                  <a:pt x="546653" y="1043136"/>
                  <a:pt x="546653" y="1041314"/>
                  <a:pt x="544830" y="1039492"/>
                </a:cubicBezTo>
                <a:cubicBezTo>
                  <a:pt x="543008" y="1035847"/>
                  <a:pt x="543008" y="1034025"/>
                  <a:pt x="544830" y="1032203"/>
                </a:cubicBezTo>
                <a:cubicBezTo>
                  <a:pt x="542097" y="1030381"/>
                  <a:pt x="539820" y="1030836"/>
                  <a:pt x="537541" y="1031519"/>
                </a:cubicBezTo>
                <a:close/>
                <a:moveTo>
                  <a:pt x="3533196" y="1030381"/>
                </a:moveTo>
                <a:cubicBezTo>
                  <a:pt x="3527729" y="1035847"/>
                  <a:pt x="3538662" y="1039492"/>
                  <a:pt x="3540484" y="1037669"/>
                </a:cubicBezTo>
                <a:cubicBezTo>
                  <a:pt x="3540484" y="1034025"/>
                  <a:pt x="3531374" y="1035847"/>
                  <a:pt x="3533196" y="1030381"/>
                </a:cubicBezTo>
                <a:close/>
                <a:moveTo>
                  <a:pt x="2589310" y="1030381"/>
                </a:moveTo>
                <a:cubicBezTo>
                  <a:pt x="2583843" y="1028559"/>
                  <a:pt x="2591132" y="1041314"/>
                  <a:pt x="2587487" y="1041314"/>
                </a:cubicBezTo>
                <a:cubicBezTo>
                  <a:pt x="2591132" y="1044958"/>
                  <a:pt x="2591132" y="1035847"/>
                  <a:pt x="2589310" y="1030381"/>
                </a:cubicBezTo>
                <a:close/>
                <a:moveTo>
                  <a:pt x="976686" y="1030381"/>
                </a:moveTo>
                <a:cubicBezTo>
                  <a:pt x="974863" y="1030381"/>
                  <a:pt x="974863" y="1032203"/>
                  <a:pt x="974863" y="1032203"/>
                </a:cubicBezTo>
                <a:cubicBezTo>
                  <a:pt x="976686" y="1034025"/>
                  <a:pt x="978508" y="1037669"/>
                  <a:pt x="980330" y="1037669"/>
                </a:cubicBezTo>
                <a:cubicBezTo>
                  <a:pt x="980330" y="1035847"/>
                  <a:pt x="978508" y="1032203"/>
                  <a:pt x="976686" y="1030381"/>
                </a:cubicBezTo>
                <a:close/>
                <a:moveTo>
                  <a:pt x="858244" y="1030381"/>
                </a:moveTo>
                <a:cubicBezTo>
                  <a:pt x="856422" y="1030381"/>
                  <a:pt x="856422" y="1035847"/>
                  <a:pt x="856422" y="1039492"/>
                </a:cubicBezTo>
                <a:cubicBezTo>
                  <a:pt x="858244" y="1041314"/>
                  <a:pt x="858244" y="1035847"/>
                  <a:pt x="860066" y="1037669"/>
                </a:cubicBezTo>
                <a:cubicBezTo>
                  <a:pt x="861889" y="1034025"/>
                  <a:pt x="856422" y="1032203"/>
                  <a:pt x="858244" y="1030381"/>
                </a:cubicBezTo>
                <a:close/>
                <a:moveTo>
                  <a:pt x="422745" y="1030381"/>
                </a:moveTo>
                <a:cubicBezTo>
                  <a:pt x="422745" y="1037669"/>
                  <a:pt x="431856" y="1037669"/>
                  <a:pt x="435500" y="1041314"/>
                </a:cubicBezTo>
                <a:cubicBezTo>
                  <a:pt x="431856" y="1037669"/>
                  <a:pt x="426389" y="1032203"/>
                  <a:pt x="422745" y="1030381"/>
                </a:cubicBezTo>
                <a:close/>
                <a:moveTo>
                  <a:pt x="320703" y="1030381"/>
                </a:moveTo>
                <a:cubicBezTo>
                  <a:pt x="320703" y="1035847"/>
                  <a:pt x="324347" y="1041314"/>
                  <a:pt x="331636" y="1039492"/>
                </a:cubicBezTo>
                <a:cubicBezTo>
                  <a:pt x="327993" y="1035847"/>
                  <a:pt x="324347" y="1030381"/>
                  <a:pt x="320703" y="1030381"/>
                </a:cubicBezTo>
                <a:close/>
                <a:moveTo>
                  <a:pt x="119505" y="1029828"/>
                </a:moveTo>
                <a:lnTo>
                  <a:pt x="122086" y="1032203"/>
                </a:lnTo>
                <a:lnTo>
                  <a:pt x="120875" y="1031842"/>
                </a:lnTo>
                <a:lnTo>
                  <a:pt x="119932" y="1030712"/>
                </a:lnTo>
                <a:lnTo>
                  <a:pt x="119808" y="1030153"/>
                </a:lnTo>
                <a:close/>
                <a:moveTo>
                  <a:pt x="3553467" y="1029470"/>
                </a:moveTo>
                <a:cubicBezTo>
                  <a:pt x="3551418" y="1029014"/>
                  <a:pt x="3548684" y="1029470"/>
                  <a:pt x="3545951" y="1030381"/>
                </a:cubicBezTo>
                <a:cubicBezTo>
                  <a:pt x="3547773" y="1034025"/>
                  <a:pt x="3553240" y="1037669"/>
                  <a:pt x="3544129" y="1041314"/>
                </a:cubicBezTo>
                <a:cubicBezTo>
                  <a:pt x="3544129" y="1043136"/>
                  <a:pt x="3547773" y="1044958"/>
                  <a:pt x="3547773" y="1048602"/>
                </a:cubicBezTo>
                <a:cubicBezTo>
                  <a:pt x="3549595" y="1046780"/>
                  <a:pt x="3551417" y="1044958"/>
                  <a:pt x="3553240" y="1041314"/>
                </a:cubicBezTo>
                <a:cubicBezTo>
                  <a:pt x="3551417" y="1044958"/>
                  <a:pt x="3558706" y="1044958"/>
                  <a:pt x="3558706" y="1046780"/>
                </a:cubicBezTo>
                <a:cubicBezTo>
                  <a:pt x="3560528" y="1044958"/>
                  <a:pt x="3560528" y="1044958"/>
                  <a:pt x="3560528" y="1043136"/>
                </a:cubicBezTo>
                <a:cubicBezTo>
                  <a:pt x="3560528" y="1044958"/>
                  <a:pt x="3567817" y="1044958"/>
                  <a:pt x="3562350" y="1046780"/>
                </a:cubicBezTo>
                <a:cubicBezTo>
                  <a:pt x="3553240" y="1050425"/>
                  <a:pt x="3556884" y="1052247"/>
                  <a:pt x="3558706" y="1057713"/>
                </a:cubicBezTo>
                <a:cubicBezTo>
                  <a:pt x="3562350" y="1065002"/>
                  <a:pt x="3573284" y="1050425"/>
                  <a:pt x="3578750" y="1059535"/>
                </a:cubicBezTo>
                <a:cubicBezTo>
                  <a:pt x="3578750" y="1059535"/>
                  <a:pt x="3576928" y="1061358"/>
                  <a:pt x="3575106" y="1061358"/>
                </a:cubicBezTo>
                <a:cubicBezTo>
                  <a:pt x="3578750" y="1065002"/>
                  <a:pt x="3584216" y="1066824"/>
                  <a:pt x="3589683" y="1066824"/>
                </a:cubicBezTo>
                <a:cubicBezTo>
                  <a:pt x="3584216" y="1063180"/>
                  <a:pt x="3580572" y="1059535"/>
                  <a:pt x="3582394" y="1052247"/>
                </a:cubicBezTo>
                <a:cubicBezTo>
                  <a:pt x="3582394" y="1050425"/>
                  <a:pt x="3589683" y="1052247"/>
                  <a:pt x="3591505" y="1050425"/>
                </a:cubicBezTo>
                <a:cubicBezTo>
                  <a:pt x="3591505" y="1048602"/>
                  <a:pt x="3591505" y="1044958"/>
                  <a:pt x="3593327" y="1043136"/>
                </a:cubicBezTo>
                <a:cubicBezTo>
                  <a:pt x="3602438" y="1048602"/>
                  <a:pt x="3589683" y="1052247"/>
                  <a:pt x="3593327" y="1057713"/>
                </a:cubicBezTo>
                <a:cubicBezTo>
                  <a:pt x="3595150" y="1054069"/>
                  <a:pt x="3595150" y="1048602"/>
                  <a:pt x="3604260" y="1050425"/>
                </a:cubicBezTo>
                <a:cubicBezTo>
                  <a:pt x="3609727" y="1034025"/>
                  <a:pt x="3586039" y="1032203"/>
                  <a:pt x="3573284" y="1032203"/>
                </a:cubicBezTo>
                <a:cubicBezTo>
                  <a:pt x="3569639" y="1032203"/>
                  <a:pt x="3565995" y="1035847"/>
                  <a:pt x="3560528" y="1034025"/>
                </a:cubicBezTo>
                <a:cubicBezTo>
                  <a:pt x="3562350" y="1037669"/>
                  <a:pt x="3564173" y="1044958"/>
                  <a:pt x="3553240" y="1041314"/>
                </a:cubicBezTo>
                <a:cubicBezTo>
                  <a:pt x="3549595" y="1041314"/>
                  <a:pt x="3549595" y="1032203"/>
                  <a:pt x="3556884" y="1034025"/>
                </a:cubicBezTo>
                <a:cubicBezTo>
                  <a:pt x="3556884" y="1031292"/>
                  <a:pt x="3555518" y="1029925"/>
                  <a:pt x="3553467" y="1029470"/>
                </a:cubicBezTo>
                <a:close/>
                <a:moveTo>
                  <a:pt x="164384" y="1029185"/>
                </a:moveTo>
                <a:lnTo>
                  <a:pt x="177777" y="1040346"/>
                </a:lnTo>
                <a:lnTo>
                  <a:pt x="182218" y="1044958"/>
                </a:lnTo>
                <a:cubicBezTo>
                  <a:pt x="178573" y="1041313"/>
                  <a:pt x="174018" y="1038125"/>
                  <a:pt x="169690" y="1034708"/>
                </a:cubicBezTo>
                <a:close/>
                <a:moveTo>
                  <a:pt x="2592954" y="1028559"/>
                </a:moveTo>
                <a:cubicBezTo>
                  <a:pt x="2591132" y="1032203"/>
                  <a:pt x="2596598" y="1034025"/>
                  <a:pt x="2596598" y="1043136"/>
                </a:cubicBezTo>
                <a:cubicBezTo>
                  <a:pt x="2600243" y="1041314"/>
                  <a:pt x="2594776" y="1032203"/>
                  <a:pt x="2596598" y="1030381"/>
                </a:cubicBezTo>
                <a:cubicBezTo>
                  <a:pt x="2596598" y="1028559"/>
                  <a:pt x="2594776" y="1028559"/>
                  <a:pt x="2592954" y="1028559"/>
                </a:cubicBezTo>
                <a:close/>
                <a:moveTo>
                  <a:pt x="1073262" y="1028559"/>
                </a:moveTo>
                <a:cubicBezTo>
                  <a:pt x="1071439" y="1028559"/>
                  <a:pt x="1071439" y="1030381"/>
                  <a:pt x="1071439" y="1030381"/>
                </a:cubicBezTo>
                <a:cubicBezTo>
                  <a:pt x="1071439" y="1032203"/>
                  <a:pt x="1073262" y="1032203"/>
                  <a:pt x="1075083" y="1030381"/>
                </a:cubicBezTo>
                <a:cubicBezTo>
                  <a:pt x="1075083" y="1030381"/>
                  <a:pt x="1073262" y="1030381"/>
                  <a:pt x="1073262" y="1028559"/>
                </a:cubicBezTo>
                <a:close/>
                <a:moveTo>
                  <a:pt x="819979" y="1028559"/>
                </a:moveTo>
                <a:lnTo>
                  <a:pt x="820707" y="1029651"/>
                </a:lnTo>
                <a:lnTo>
                  <a:pt x="819213" y="1031147"/>
                </a:lnTo>
                <a:close/>
                <a:moveTo>
                  <a:pt x="748914" y="1028559"/>
                </a:moveTo>
                <a:cubicBezTo>
                  <a:pt x="748914" y="1032203"/>
                  <a:pt x="747092" y="1035847"/>
                  <a:pt x="750737" y="1037669"/>
                </a:cubicBezTo>
                <a:cubicBezTo>
                  <a:pt x="752558" y="1035847"/>
                  <a:pt x="750737" y="1034025"/>
                  <a:pt x="752558" y="1034025"/>
                </a:cubicBezTo>
                <a:cubicBezTo>
                  <a:pt x="750737" y="1032203"/>
                  <a:pt x="750737" y="1030381"/>
                  <a:pt x="748914" y="1028559"/>
                </a:cubicBezTo>
                <a:close/>
                <a:moveTo>
                  <a:pt x="677849" y="1028559"/>
                </a:moveTo>
                <a:cubicBezTo>
                  <a:pt x="679671" y="1030381"/>
                  <a:pt x="677849" y="1035847"/>
                  <a:pt x="683316" y="1030381"/>
                </a:cubicBezTo>
                <a:cubicBezTo>
                  <a:pt x="681493" y="1028559"/>
                  <a:pt x="679671" y="1028559"/>
                  <a:pt x="677849" y="1028559"/>
                </a:cubicBezTo>
                <a:close/>
                <a:moveTo>
                  <a:pt x="386301" y="1028559"/>
                </a:moveTo>
                <a:cubicBezTo>
                  <a:pt x="386301" y="1041314"/>
                  <a:pt x="393590" y="1035847"/>
                  <a:pt x="399056" y="1035847"/>
                </a:cubicBezTo>
                <a:cubicBezTo>
                  <a:pt x="393590" y="1032203"/>
                  <a:pt x="391768" y="1034025"/>
                  <a:pt x="386301" y="1028559"/>
                </a:cubicBezTo>
                <a:close/>
                <a:moveTo>
                  <a:pt x="295193" y="1028559"/>
                </a:moveTo>
                <a:cubicBezTo>
                  <a:pt x="298837" y="1034025"/>
                  <a:pt x="306126" y="1046780"/>
                  <a:pt x="311592" y="1041314"/>
                </a:cubicBezTo>
                <a:cubicBezTo>
                  <a:pt x="309771" y="1037669"/>
                  <a:pt x="302481" y="1032203"/>
                  <a:pt x="300660" y="1028559"/>
                </a:cubicBezTo>
                <a:cubicBezTo>
                  <a:pt x="300660" y="1028559"/>
                  <a:pt x="298837" y="1028559"/>
                  <a:pt x="298837" y="1028559"/>
                </a:cubicBezTo>
                <a:cubicBezTo>
                  <a:pt x="298837" y="1032203"/>
                  <a:pt x="307948" y="1035847"/>
                  <a:pt x="311592" y="1041314"/>
                </a:cubicBezTo>
                <a:cubicBezTo>
                  <a:pt x="306126" y="1037669"/>
                  <a:pt x="300660" y="1032203"/>
                  <a:pt x="295193" y="1028559"/>
                </a:cubicBezTo>
                <a:close/>
                <a:moveTo>
                  <a:pt x="94753" y="1028559"/>
                </a:moveTo>
                <a:lnTo>
                  <a:pt x="94756" y="1028561"/>
                </a:lnTo>
                <a:lnTo>
                  <a:pt x="96576" y="1030381"/>
                </a:lnTo>
                <a:close/>
                <a:moveTo>
                  <a:pt x="798112" y="1026797"/>
                </a:moveTo>
                <a:cubicBezTo>
                  <a:pt x="798112" y="1026797"/>
                  <a:pt x="799934" y="1028620"/>
                  <a:pt x="799934" y="1030442"/>
                </a:cubicBezTo>
                <a:cubicBezTo>
                  <a:pt x="799934" y="1030442"/>
                  <a:pt x="798112" y="1030442"/>
                  <a:pt x="798112" y="1030442"/>
                </a:cubicBezTo>
                <a:lnTo>
                  <a:pt x="794151" y="1033611"/>
                </a:lnTo>
                <a:lnTo>
                  <a:pt x="793142" y="1032099"/>
                </a:lnTo>
                <a:lnTo>
                  <a:pt x="790823" y="1028620"/>
                </a:lnTo>
                <a:cubicBezTo>
                  <a:pt x="792646" y="1028620"/>
                  <a:pt x="798112" y="1024975"/>
                  <a:pt x="798112" y="1026797"/>
                </a:cubicBezTo>
                <a:close/>
                <a:moveTo>
                  <a:pt x="3119562" y="1026736"/>
                </a:moveTo>
                <a:cubicBezTo>
                  <a:pt x="3112274" y="1028559"/>
                  <a:pt x="3121384" y="1034025"/>
                  <a:pt x="3126851" y="1032203"/>
                </a:cubicBezTo>
                <a:cubicBezTo>
                  <a:pt x="3126851" y="1028559"/>
                  <a:pt x="3117740" y="1032203"/>
                  <a:pt x="3119562" y="1026736"/>
                </a:cubicBezTo>
                <a:close/>
                <a:moveTo>
                  <a:pt x="1250012" y="1026736"/>
                </a:moveTo>
                <a:cubicBezTo>
                  <a:pt x="1251834" y="1032203"/>
                  <a:pt x="1255478" y="1026736"/>
                  <a:pt x="1255478" y="1028559"/>
                </a:cubicBezTo>
                <a:cubicBezTo>
                  <a:pt x="1252745" y="1029470"/>
                  <a:pt x="1251378" y="1031747"/>
                  <a:pt x="1250012" y="1034252"/>
                </a:cubicBezTo>
                <a:lnTo>
                  <a:pt x="1248827" y="1035782"/>
                </a:lnTo>
                <a:lnTo>
                  <a:pt x="1247735" y="1035619"/>
                </a:lnTo>
                <a:lnTo>
                  <a:pt x="1245751" y="1035257"/>
                </a:lnTo>
                <a:close/>
                <a:moveTo>
                  <a:pt x="927487" y="1026736"/>
                </a:moveTo>
                <a:cubicBezTo>
                  <a:pt x="920198" y="1037669"/>
                  <a:pt x="925666" y="1050425"/>
                  <a:pt x="925666" y="1063180"/>
                </a:cubicBezTo>
                <a:cubicBezTo>
                  <a:pt x="929309" y="1065002"/>
                  <a:pt x="925666" y="1059535"/>
                  <a:pt x="929309" y="1059535"/>
                </a:cubicBezTo>
                <a:cubicBezTo>
                  <a:pt x="931131" y="1063180"/>
                  <a:pt x="927487" y="1061358"/>
                  <a:pt x="927487" y="1063180"/>
                </a:cubicBezTo>
                <a:cubicBezTo>
                  <a:pt x="931131" y="1066824"/>
                  <a:pt x="932953" y="1065002"/>
                  <a:pt x="936598" y="1063180"/>
                </a:cubicBezTo>
                <a:cubicBezTo>
                  <a:pt x="931131" y="1052247"/>
                  <a:pt x="931131" y="1039492"/>
                  <a:pt x="927487" y="1026736"/>
                </a:cubicBezTo>
                <a:close/>
                <a:moveTo>
                  <a:pt x="767136" y="1026736"/>
                </a:moveTo>
                <a:cubicBezTo>
                  <a:pt x="768959" y="1028559"/>
                  <a:pt x="770781" y="1030381"/>
                  <a:pt x="770781" y="1032203"/>
                </a:cubicBezTo>
                <a:cubicBezTo>
                  <a:pt x="768959" y="1032203"/>
                  <a:pt x="768959" y="1034025"/>
                  <a:pt x="767136" y="1034025"/>
                </a:cubicBezTo>
                <a:close/>
                <a:moveTo>
                  <a:pt x="379012" y="1026736"/>
                </a:moveTo>
                <a:cubicBezTo>
                  <a:pt x="377190" y="1028559"/>
                  <a:pt x="384479" y="1032203"/>
                  <a:pt x="384479" y="1035847"/>
                </a:cubicBezTo>
                <a:cubicBezTo>
                  <a:pt x="386301" y="1034025"/>
                  <a:pt x="384479" y="1030381"/>
                  <a:pt x="382657" y="1028559"/>
                </a:cubicBezTo>
                <a:cubicBezTo>
                  <a:pt x="382657" y="1028559"/>
                  <a:pt x="380835" y="1026736"/>
                  <a:pt x="379012" y="1026736"/>
                </a:cubicBezTo>
                <a:close/>
                <a:moveTo>
                  <a:pt x="207728" y="1026736"/>
                </a:moveTo>
                <a:cubicBezTo>
                  <a:pt x="207728" y="1032203"/>
                  <a:pt x="222306" y="1048602"/>
                  <a:pt x="227772" y="1048602"/>
                </a:cubicBezTo>
                <a:cubicBezTo>
                  <a:pt x="235061" y="1057713"/>
                  <a:pt x="244172" y="1063180"/>
                  <a:pt x="249638" y="1061358"/>
                </a:cubicBezTo>
                <a:cubicBezTo>
                  <a:pt x="244172" y="1052247"/>
                  <a:pt x="238705" y="1054069"/>
                  <a:pt x="231416" y="1048602"/>
                </a:cubicBezTo>
                <a:cubicBezTo>
                  <a:pt x="233239" y="1048602"/>
                  <a:pt x="236883" y="1050425"/>
                  <a:pt x="238705" y="1050425"/>
                </a:cubicBezTo>
                <a:cubicBezTo>
                  <a:pt x="229594" y="1037669"/>
                  <a:pt x="218661" y="1030381"/>
                  <a:pt x="207728" y="1026736"/>
                </a:cubicBezTo>
                <a:close/>
                <a:moveTo>
                  <a:pt x="191329" y="1026736"/>
                </a:moveTo>
                <a:cubicBezTo>
                  <a:pt x="191329" y="1030381"/>
                  <a:pt x="194973" y="1035847"/>
                  <a:pt x="198617" y="1039492"/>
                </a:cubicBezTo>
                <a:cubicBezTo>
                  <a:pt x="202262" y="1039492"/>
                  <a:pt x="205906" y="1039492"/>
                  <a:pt x="209550" y="1037669"/>
                </a:cubicBezTo>
                <a:cubicBezTo>
                  <a:pt x="202262" y="1030381"/>
                  <a:pt x="196795" y="1028559"/>
                  <a:pt x="191329" y="1026736"/>
                </a:cubicBezTo>
                <a:close/>
                <a:moveTo>
                  <a:pt x="185862" y="1026736"/>
                </a:moveTo>
                <a:lnTo>
                  <a:pt x="185865" y="1026739"/>
                </a:lnTo>
                <a:lnTo>
                  <a:pt x="185866" y="1026740"/>
                </a:lnTo>
                <a:close/>
                <a:moveTo>
                  <a:pt x="116619" y="1026736"/>
                </a:moveTo>
                <a:lnTo>
                  <a:pt x="119505" y="1029828"/>
                </a:lnTo>
                <a:lnTo>
                  <a:pt x="118181" y="1028610"/>
                </a:lnTo>
                <a:close/>
                <a:moveTo>
                  <a:pt x="3228893" y="1024914"/>
                </a:moveTo>
                <a:cubicBezTo>
                  <a:pt x="3221604" y="1023092"/>
                  <a:pt x="3219782" y="1028559"/>
                  <a:pt x="3216137" y="1030381"/>
                </a:cubicBezTo>
                <a:cubicBezTo>
                  <a:pt x="3219782" y="1032203"/>
                  <a:pt x="3228893" y="1030381"/>
                  <a:pt x="3228893" y="1024914"/>
                </a:cubicBezTo>
                <a:close/>
                <a:moveTo>
                  <a:pt x="3052142" y="1024914"/>
                </a:moveTo>
                <a:lnTo>
                  <a:pt x="3055038" y="1025879"/>
                </a:lnTo>
                <a:lnTo>
                  <a:pt x="3054648" y="1025825"/>
                </a:lnTo>
                <a:lnTo>
                  <a:pt x="3052372" y="1025565"/>
                </a:lnTo>
                <a:close/>
                <a:moveTo>
                  <a:pt x="3006587" y="1024914"/>
                </a:moveTo>
                <a:lnTo>
                  <a:pt x="3008260" y="1027701"/>
                </a:lnTo>
                <a:lnTo>
                  <a:pt x="3008410" y="1028559"/>
                </a:lnTo>
                <a:cubicBezTo>
                  <a:pt x="3008410" y="1026736"/>
                  <a:pt x="3006587" y="1026736"/>
                  <a:pt x="3006587" y="1024914"/>
                </a:cubicBezTo>
                <a:close/>
                <a:moveTo>
                  <a:pt x="2428958" y="1024914"/>
                </a:moveTo>
                <a:lnTo>
                  <a:pt x="2432603" y="1033704"/>
                </a:lnTo>
                <a:lnTo>
                  <a:pt x="2432603" y="1034025"/>
                </a:lnTo>
                <a:lnTo>
                  <a:pt x="2432748" y="1034054"/>
                </a:lnTo>
                <a:lnTo>
                  <a:pt x="2432831" y="1034252"/>
                </a:lnTo>
                <a:cubicBezTo>
                  <a:pt x="2435336" y="1036758"/>
                  <a:pt x="2438981" y="1038580"/>
                  <a:pt x="2443536" y="1039492"/>
                </a:cubicBezTo>
                <a:cubicBezTo>
                  <a:pt x="2441714" y="1038580"/>
                  <a:pt x="2440803" y="1036758"/>
                  <a:pt x="2439436" y="1035391"/>
                </a:cubicBezTo>
                <a:lnTo>
                  <a:pt x="2432748" y="1034054"/>
                </a:lnTo>
                <a:lnTo>
                  <a:pt x="2432603" y="1033704"/>
                </a:lnTo>
                <a:lnTo>
                  <a:pt x="2432603" y="1029470"/>
                </a:lnTo>
                <a:cubicBezTo>
                  <a:pt x="2432147" y="1028558"/>
                  <a:pt x="2431692" y="1027647"/>
                  <a:pt x="2432603" y="1024914"/>
                </a:cubicBezTo>
                <a:cubicBezTo>
                  <a:pt x="2430780" y="1024914"/>
                  <a:pt x="2428958" y="1026736"/>
                  <a:pt x="2428958" y="1024914"/>
                </a:cubicBezTo>
                <a:close/>
                <a:moveTo>
                  <a:pt x="1067794" y="1024914"/>
                </a:moveTo>
                <a:cubicBezTo>
                  <a:pt x="1064151" y="1021270"/>
                  <a:pt x="1062328" y="1028559"/>
                  <a:pt x="1065972" y="1030381"/>
                </a:cubicBezTo>
                <a:cubicBezTo>
                  <a:pt x="1067794" y="1028559"/>
                  <a:pt x="1065972" y="1026736"/>
                  <a:pt x="1067794" y="1024914"/>
                </a:cubicBezTo>
                <a:close/>
                <a:moveTo>
                  <a:pt x="1014951" y="1024914"/>
                </a:moveTo>
                <a:cubicBezTo>
                  <a:pt x="1013129" y="1024914"/>
                  <a:pt x="1013129" y="1026736"/>
                  <a:pt x="1011307" y="1026736"/>
                </a:cubicBezTo>
                <a:cubicBezTo>
                  <a:pt x="1013129" y="1028559"/>
                  <a:pt x="1013129" y="1030381"/>
                  <a:pt x="1013129" y="1030381"/>
                </a:cubicBezTo>
                <a:cubicBezTo>
                  <a:pt x="1016774" y="1030381"/>
                  <a:pt x="1014951" y="1026736"/>
                  <a:pt x="1014951" y="1024914"/>
                </a:cubicBezTo>
                <a:close/>
                <a:moveTo>
                  <a:pt x="646872" y="1024914"/>
                </a:moveTo>
                <a:cubicBezTo>
                  <a:pt x="643228" y="1026736"/>
                  <a:pt x="648694" y="1030381"/>
                  <a:pt x="650516" y="1028559"/>
                </a:cubicBezTo>
                <a:cubicBezTo>
                  <a:pt x="648694" y="1026736"/>
                  <a:pt x="648694" y="1026736"/>
                  <a:pt x="646872" y="1024914"/>
                </a:cubicBezTo>
                <a:close/>
                <a:moveTo>
                  <a:pt x="282438" y="1024914"/>
                </a:moveTo>
                <a:cubicBezTo>
                  <a:pt x="282438" y="1030381"/>
                  <a:pt x="293370" y="1041314"/>
                  <a:pt x="298837" y="1041314"/>
                </a:cubicBezTo>
                <a:cubicBezTo>
                  <a:pt x="298837" y="1034025"/>
                  <a:pt x="287904" y="1028559"/>
                  <a:pt x="282438" y="1024914"/>
                </a:cubicBezTo>
                <a:close/>
                <a:moveTo>
                  <a:pt x="249638" y="1024914"/>
                </a:moveTo>
                <a:cubicBezTo>
                  <a:pt x="251460" y="1032203"/>
                  <a:pt x="264216" y="1039492"/>
                  <a:pt x="269682" y="1034025"/>
                </a:cubicBezTo>
                <a:cubicBezTo>
                  <a:pt x="262393" y="1030381"/>
                  <a:pt x="256927" y="1030381"/>
                  <a:pt x="249638" y="1024914"/>
                </a:cubicBezTo>
                <a:close/>
                <a:moveTo>
                  <a:pt x="143772" y="1024644"/>
                </a:moveTo>
                <a:lnTo>
                  <a:pt x="151241" y="1035847"/>
                </a:lnTo>
                <a:lnTo>
                  <a:pt x="149131" y="1033606"/>
                </a:lnTo>
                <a:close/>
                <a:moveTo>
                  <a:pt x="337330" y="1024230"/>
                </a:moveTo>
                <a:cubicBezTo>
                  <a:pt x="335280" y="1024914"/>
                  <a:pt x="333458" y="1025825"/>
                  <a:pt x="331636" y="1024914"/>
                </a:cubicBezTo>
                <a:cubicBezTo>
                  <a:pt x="340747" y="1030381"/>
                  <a:pt x="349858" y="1037669"/>
                  <a:pt x="358969" y="1034025"/>
                </a:cubicBezTo>
                <a:cubicBezTo>
                  <a:pt x="355324" y="1032203"/>
                  <a:pt x="353502" y="1030381"/>
                  <a:pt x="349858" y="1026736"/>
                </a:cubicBezTo>
                <a:cubicBezTo>
                  <a:pt x="349858" y="1028559"/>
                  <a:pt x="351680" y="1030381"/>
                  <a:pt x="353502" y="1032203"/>
                </a:cubicBezTo>
                <a:cubicBezTo>
                  <a:pt x="346213" y="1032203"/>
                  <a:pt x="349858" y="1026736"/>
                  <a:pt x="344391" y="1024914"/>
                </a:cubicBezTo>
                <a:cubicBezTo>
                  <a:pt x="341658" y="1023092"/>
                  <a:pt x="339380" y="1023547"/>
                  <a:pt x="337330" y="1024230"/>
                </a:cubicBezTo>
                <a:close/>
                <a:moveTo>
                  <a:pt x="3518618" y="1023092"/>
                </a:moveTo>
                <a:cubicBezTo>
                  <a:pt x="3518618" y="1026736"/>
                  <a:pt x="3524085" y="1026736"/>
                  <a:pt x="3525907" y="1030381"/>
                </a:cubicBezTo>
                <a:cubicBezTo>
                  <a:pt x="3531374" y="1028559"/>
                  <a:pt x="3522263" y="1024914"/>
                  <a:pt x="3518618" y="1023092"/>
                </a:cubicBezTo>
                <a:close/>
                <a:moveTo>
                  <a:pt x="2627575" y="1023092"/>
                </a:moveTo>
                <a:cubicBezTo>
                  <a:pt x="2627575" y="1024914"/>
                  <a:pt x="2623931" y="1024914"/>
                  <a:pt x="2625753" y="1028559"/>
                </a:cubicBezTo>
                <a:cubicBezTo>
                  <a:pt x="2629397" y="1024914"/>
                  <a:pt x="2629397" y="1032203"/>
                  <a:pt x="2633042" y="1030381"/>
                </a:cubicBezTo>
                <a:cubicBezTo>
                  <a:pt x="2633042" y="1024914"/>
                  <a:pt x="2627575" y="1028559"/>
                  <a:pt x="2627575" y="1023092"/>
                </a:cubicBezTo>
                <a:close/>
                <a:moveTo>
                  <a:pt x="1168014" y="1023092"/>
                </a:moveTo>
                <a:cubicBezTo>
                  <a:pt x="1166192" y="1026736"/>
                  <a:pt x="1160725" y="1028559"/>
                  <a:pt x="1160725" y="1034025"/>
                </a:cubicBezTo>
                <a:cubicBezTo>
                  <a:pt x="1160725" y="1035847"/>
                  <a:pt x="1162547" y="1032203"/>
                  <a:pt x="1164370" y="1032203"/>
                </a:cubicBezTo>
                <a:cubicBezTo>
                  <a:pt x="1160725" y="1037669"/>
                  <a:pt x="1160725" y="1043136"/>
                  <a:pt x="1158903" y="1048602"/>
                </a:cubicBezTo>
                <a:cubicBezTo>
                  <a:pt x="1160725" y="1052247"/>
                  <a:pt x="1164370" y="1050425"/>
                  <a:pt x="1168014" y="1048602"/>
                </a:cubicBezTo>
                <a:cubicBezTo>
                  <a:pt x="1168014" y="1043136"/>
                  <a:pt x="1168014" y="1035847"/>
                  <a:pt x="1168014" y="1030381"/>
                </a:cubicBezTo>
                <a:cubicBezTo>
                  <a:pt x="1168014" y="1030381"/>
                  <a:pt x="1168014" y="1032203"/>
                  <a:pt x="1166192" y="1032203"/>
                </a:cubicBezTo>
                <a:cubicBezTo>
                  <a:pt x="1166192" y="1028559"/>
                  <a:pt x="1171658" y="1026736"/>
                  <a:pt x="1168014" y="1023092"/>
                </a:cubicBezTo>
                <a:close/>
                <a:moveTo>
                  <a:pt x="1135215" y="1023092"/>
                </a:moveTo>
                <a:cubicBezTo>
                  <a:pt x="1135215" y="1023092"/>
                  <a:pt x="1133393" y="1024914"/>
                  <a:pt x="1133393" y="1026736"/>
                </a:cubicBezTo>
                <a:cubicBezTo>
                  <a:pt x="1133393" y="1026736"/>
                  <a:pt x="1135215" y="1028559"/>
                  <a:pt x="1135215" y="1028559"/>
                </a:cubicBezTo>
                <a:cubicBezTo>
                  <a:pt x="1137037" y="1026736"/>
                  <a:pt x="1137037" y="1023092"/>
                  <a:pt x="1135215" y="1023092"/>
                </a:cubicBezTo>
                <a:close/>
                <a:moveTo>
                  <a:pt x="1055040" y="1023092"/>
                </a:moveTo>
                <a:cubicBezTo>
                  <a:pt x="1053217" y="1026736"/>
                  <a:pt x="1055040" y="1028559"/>
                  <a:pt x="1056861" y="1032203"/>
                </a:cubicBezTo>
                <a:cubicBezTo>
                  <a:pt x="1058683" y="1032203"/>
                  <a:pt x="1060506" y="1032203"/>
                  <a:pt x="1062328" y="1030381"/>
                </a:cubicBezTo>
                <a:cubicBezTo>
                  <a:pt x="1062328" y="1028559"/>
                  <a:pt x="1062328" y="1028559"/>
                  <a:pt x="1062328" y="1026736"/>
                </a:cubicBezTo>
                <a:cubicBezTo>
                  <a:pt x="1058683" y="1026736"/>
                  <a:pt x="1056861" y="1024914"/>
                  <a:pt x="1055040" y="1023092"/>
                </a:cubicBezTo>
                <a:close/>
                <a:moveTo>
                  <a:pt x="925666" y="1023092"/>
                </a:moveTo>
                <a:cubicBezTo>
                  <a:pt x="922020" y="1021270"/>
                  <a:pt x="923843" y="1026736"/>
                  <a:pt x="922020" y="1028559"/>
                </a:cubicBezTo>
                <a:cubicBezTo>
                  <a:pt x="925666" y="1028559"/>
                  <a:pt x="923843" y="1024914"/>
                  <a:pt x="925666" y="1023092"/>
                </a:cubicBezTo>
                <a:close/>
                <a:moveTo>
                  <a:pt x="918376" y="1023092"/>
                </a:moveTo>
                <a:cubicBezTo>
                  <a:pt x="916555" y="1024914"/>
                  <a:pt x="914732" y="1026736"/>
                  <a:pt x="914732" y="1028559"/>
                </a:cubicBezTo>
                <a:cubicBezTo>
                  <a:pt x="916555" y="1030381"/>
                  <a:pt x="916555" y="1028559"/>
                  <a:pt x="918376" y="1030381"/>
                </a:cubicBezTo>
                <a:cubicBezTo>
                  <a:pt x="918376" y="1028559"/>
                  <a:pt x="920198" y="1024914"/>
                  <a:pt x="918376" y="1023092"/>
                </a:cubicBezTo>
                <a:close/>
                <a:moveTo>
                  <a:pt x="754380" y="1023092"/>
                </a:moveTo>
                <a:cubicBezTo>
                  <a:pt x="750737" y="1024914"/>
                  <a:pt x="756203" y="1032203"/>
                  <a:pt x="756203" y="1035847"/>
                </a:cubicBezTo>
                <a:cubicBezTo>
                  <a:pt x="759848" y="1032203"/>
                  <a:pt x="759848" y="1028559"/>
                  <a:pt x="754380" y="1023092"/>
                </a:cubicBezTo>
                <a:close/>
                <a:moveTo>
                  <a:pt x="719759" y="1023092"/>
                </a:moveTo>
                <a:cubicBezTo>
                  <a:pt x="714293" y="1026736"/>
                  <a:pt x="719759" y="1028559"/>
                  <a:pt x="723404" y="1030381"/>
                </a:cubicBezTo>
                <a:cubicBezTo>
                  <a:pt x="723404" y="1026736"/>
                  <a:pt x="721581" y="1024914"/>
                  <a:pt x="719759" y="1023092"/>
                </a:cubicBezTo>
                <a:close/>
                <a:moveTo>
                  <a:pt x="382657" y="1023092"/>
                </a:moveTo>
                <a:cubicBezTo>
                  <a:pt x="393590" y="1030381"/>
                  <a:pt x="404523" y="1035847"/>
                  <a:pt x="413634" y="1037669"/>
                </a:cubicBezTo>
                <a:cubicBezTo>
                  <a:pt x="404523" y="1026736"/>
                  <a:pt x="393590" y="1024914"/>
                  <a:pt x="382657" y="1023092"/>
                </a:cubicBezTo>
                <a:close/>
                <a:moveTo>
                  <a:pt x="364435" y="1023092"/>
                </a:moveTo>
                <a:cubicBezTo>
                  <a:pt x="364435" y="1024914"/>
                  <a:pt x="371724" y="1032203"/>
                  <a:pt x="375368" y="1034025"/>
                </a:cubicBezTo>
                <a:cubicBezTo>
                  <a:pt x="375368" y="1030381"/>
                  <a:pt x="371724" y="1028559"/>
                  <a:pt x="371724" y="1024914"/>
                </a:cubicBezTo>
                <a:cubicBezTo>
                  <a:pt x="369902" y="1024914"/>
                  <a:pt x="368079" y="1023092"/>
                  <a:pt x="364435" y="1023092"/>
                </a:cubicBezTo>
                <a:close/>
                <a:moveTo>
                  <a:pt x="158529" y="1023092"/>
                </a:moveTo>
                <a:lnTo>
                  <a:pt x="158534" y="1023096"/>
                </a:lnTo>
                <a:lnTo>
                  <a:pt x="162174" y="1026736"/>
                </a:lnTo>
                <a:lnTo>
                  <a:pt x="161660" y="1026350"/>
                </a:lnTo>
                <a:close/>
                <a:moveTo>
                  <a:pt x="1138859" y="1021270"/>
                </a:moveTo>
                <a:lnTo>
                  <a:pt x="1139310" y="1022021"/>
                </a:lnTo>
                <a:lnTo>
                  <a:pt x="1138859" y="1023092"/>
                </a:lnTo>
                <a:lnTo>
                  <a:pt x="1138312" y="1021816"/>
                </a:lnTo>
                <a:close/>
                <a:moveTo>
                  <a:pt x="1016774" y="1021270"/>
                </a:moveTo>
                <a:cubicBezTo>
                  <a:pt x="1018596" y="1024914"/>
                  <a:pt x="1020418" y="1023092"/>
                  <a:pt x="1022240" y="1024914"/>
                </a:cubicBezTo>
                <a:cubicBezTo>
                  <a:pt x="1024062" y="1021270"/>
                  <a:pt x="1016774" y="1021270"/>
                  <a:pt x="1016774" y="1021270"/>
                </a:cubicBezTo>
                <a:close/>
                <a:moveTo>
                  <a:pt x="911087" y="1021270"/>
                </a:moveTo>
                <a:cubicBezTo>
                  <a:pt x="903799" y="1017625"/>
                  <a:pt x="898333" y="1034025"/>
                  <a:pt x="903799" y="1039492"/>
                </a:cubicBezTo>
                <a:cubicBezTo>
                  <a:pt x="912909" y="1037669"/>
                  <a:pt x="911087" y="1028559"/>
                  <a:pt x="911087" y="1021270"/>
                </a:cubicBezTo>
                <a:close/>
                <a:moveTo>
                  <a:pt x="887399" y="1021270"/>
                </a:moveTo>
                <a:cubicBezTo>
                  <a:pt x="885577" y="1028559"/>
                  <a:pt x="889222" y="1037669"/>
                  <a:pt x="891043" y="1044958"/>
                </a:cubicBezTo>
                <a:cubicBezTo>
                  <a:pt x="898333" y="1044958"/>
                  <a:pt x="898333" y="1035847"/>
                  <a:pt x="900154" y="1030381"/>
                </a:cubicBezTo>
                <a:cubicBezTo>
                  <a:pt x="894688" y="1026736"/>
                  <a:pt x="891043" y="1026736"/>
                  <a:pt x="887399" y="1021270"/>
                </a:cubicBezTo>
                <a:close/>
                <a:moveTo>
                  <a:pt x="865533" y="1021270"/>
                </a:moveTo>
                <a:cubicBezTo>
                  <a:pt x="865533" y="1026736"/>
                  <a:pt x="863711" y="1030381"/>
                  <a:pt x="867355" y="1037669"/>
                </a:cubicBezTo>
                <a:cubicBezTo>
                  <a:pt x="869177" y="1035847"/>
                  <a:pt x="869177" y="1037669"/>
                  <a:pt x="871000" y="1035847"/>
                </a:cubicBezTo>
                <a:cubicBezTo>
                  <a:pt x="871000" y="1037669"/>
                  <a:pt x="869177" y="1039492"/>
                  <a:pt x="869177" y="1041314"/>
                </a:cubicBezTo>
                <a:cubicBezTo>
                  <a:pt x="872822" y="1043136"/>
                  <a:pt x="876466" y="1043136"/>
                  <a:pt x="880111" y="1041314"/>
                </a:cubicBezTo>
                <a:cubicBezTo>
                  <a:pt x="878288" y="1039492"/>
                  <a:pt x="874644" y="1028559"/>
                  <a:pt x="871000" y="1032203"/>
                </a:cubicBezTo>
                <a:cubicBezTo>
                  <a:pt x="871000" y="1028559"/>
                  <a:pt x="869177" y="1024914"/>
                  <a:pt x="865533" y="1021270"/>
                </a:cubicBezTo>
                <a:close/>
                <a:moveTo>
                  <a:pt x="739803" y="1021270"/>
                </a:moveTo>
                <a:cubicBezTo>
                  <a:pt x="732515" y="1026736"/>
                  <a:pt x="734336" y="1034025"/>
                  <a:pt x="739803" y="1039492"/>
                </a:cubicBezTo>
                <a:cubicBezTo>
                  <a:pt x="743447" y="1034025"/>
                  <a:pt x="741626" y="1032203"/>
                  <a:pt x="737981" y="1028559"/>
                </a:cubicBezTo>
                <a:cubicBezTo>
                  <a:pt x="739803" y="1028559"/>
                  <a:pt x="743447" y="1030381"/>
                  <a:pt x="745269" y="1032203"/>
                </a:cubicBezTo>
                <a:cubicBezTo>
                  <a:pt x="745269" y="1026736"/>
                  <a:pt x="747092" y="1023092"/>
                  <a:pt x="739803" y="1021270"/>
                </a:cubicBezTo>
                <a:close/>
                <a:moveTo>
                  <a:pt x="291549" y="1021270"/>
                </a:moveTo>
                <a:cubicBezTo>
                  <a:pt x="291549" y="1024914"/>
                  <a:pt x="297015" y="1028559"/>
                  <a:pt x="300660" y="1026736"/>
                </a:cubicBezTo>
                <a:cubicBezTo>
                  <a:pt x="297015" y="1023092"/>
                  <a:pt x="295193" y="1024914"/>
                  <a:pt x="291549" y="1021270"/>
                </a:cubicBezTo>
                <a:close/>
                <a:moveTo>
                  <a:pt x="154885" y="1021270"/>
                </a:moveTo>
                <a:lnTo>
                  <a:pt x="161660" y="1026350"/>
                </a:lnTo>
                <a:lnTo>
                  <a:pt x="164384" y="1029185"/>
                </a:lnTo>
                <a:close/>
                <a:moveTo>
                  <a:pt x="3429104" y="1020358"/>
                </a:moveTo>
                <a:cubicBezTo>
                  <a:pt x="3426143" y="1020358"/>
                  <a:pt x="3423865" y="1021269"/>
                  <a:pt x="3423865" y="1024914"/>
                </a:cubicBezTo>
                <a:cubicBezTo>
                  <a:pt x="3427510" y="1024914"/>
                  <a:pt x="3432976" y="1023092"/>
                  <a:pt x="3434798" y="1026736"/>
                </a:cubicBezTo>
                <a:cubicBezTo>
                  <a:pt x="3429332" y="1028559"/>
                  <a:pt x="3427510" y="1030381"/>
                  <a:pt x="3422043" y="1026736"/>
                </a:cubicBezTo>
                <a:cubicBezTo>
                  <a:pt x="3420221" y="1030381"/>
                  <a:pt x="3416577" y="1034025"/>
                  <a:pt x="3418399" y="1037669"/>
                </a:cubicBezTo>
                <a:cubicBezTo>
                  <a:pt x="3418399" y="1035847"/>
                  <a:pt x="3414754" y="1032203"/>
                  <a:pt x="3416577" y="1030381"/>
                </a:cubicBezTo>
                <a:cubicBezTo>
                  <a:pt x="3411110" y="1030381"/>
                  <a:pt x="3409288" y="1035847"/>
                  <a:pt x="3407466" y="1039492"/>
                </a:cubicBezTo>
                <a:cubicBezTo>
                  <a:pt x="3411110" y="1039492"/>
                  <a:pt x="3416577" y="1039492"/>
                  <a:pt x="3418399" y="1041314"/>
                </a:cubicBezTo>
                <a:cubicBezTo>
                  <a:pt x="3429332" y="1050425"/>
                  <a:pt x="3451198" y="1055891"/>
                  <a:pt x="3451198" y="1070469"/>
                </a:cubicBezTo>
                <a:cubicBezTo>
                  <a:pt x="3462131" y="1063180"/>
                  <a:pt x="3473064" y="1066824"/>
                  <a:pt x="3473064" y="1052247"/>
                </a:cubicBezTo>
                <a:cubicBezTo>
                  <a:pt x="3476708" y="1054069"/>
                  <a:pt x="3476708" y="1059535"/>
                  <a:pt x="3478530" y="1057713"/>
                </a:cubicBezTo>
                <a:cubicBezTo>
                  <a:pt x="3491286" y="1054069"/>
                  <a:pt x="3514974" y="1063180"/>
                  <a:pt x="3516796" y="1046780"/>
                </a:cubicBezTo>
                <a:cubicBezTo>
                  <a:pt x="3524085" y="1050425"/>
                  <a:pt x="3531374" y="1057713"/>
                  <a:pt x="3540484" y="1055891"/>
                </a:cubicBezTo>
                <a:cubicBezTo>
                  <a:pt x="3529551" y="1050425"/>
                  <a:pt x="3533196" y="1037669"/>
                  <a:pt x="3522263" y="1035847"/>
                </a:cubicBezTo>
                <a:cubicBezTo>
                  <a:pt x="3518618" y="1035847"/>
                  <a:pt x="3520440" y="1044958"/>
                  <a:pt x="3518618" y="1043136"/>
                </a:cubicBezTo>
                <a:cubicBezTo>
                  <a:pt x="3511330" y="1037669"/>
                  <a:pt x="3514974" y="1030381"/>
                  <a:pt x="3504041" y="1032203"/>
                </a:cubicBezTo>
                <a:cubicBezTo>
                  <a:pt x="3504041" y="1030381"/>
                  <a:pt x="3504041" y="1028559"/>
                  <a:pt x="3504041" y="1028559"/>
                </a:cubicBezTo>
                <a:cubicBezTo>
                  <a:pt x="3500397" y="1026736"/>
                  <a:pt x="3494930" y="1028559"/>
                  <a:pt x="3493108" y="1026736"/>
                </a:cubicBezTo>
                <a:cubicBezTo>
                  <a:pt x="3491286" y="1032203"/>
                  <a:pt x="3496752" y="1030381"/>
                  <a:pt x="3498574" y="1030381"/>
                </a:cubicBezTo>
                <a:cubicBezTo>
                  <a:pt x="3494930" y="1032203"/>
                  <a:pt x="3487641" y="1032203"/>
                  <a:pt x="3491286" y="1037669"/>
                </a:cubicBezTo>
                <a:cubicBezTo>
                  <a:pt x="3482175" y="1039492"/>
                  <a:pt x="3485819" y="1032203"/>
                  <a:pt x="3483997" y="1034025"/>
                </a:cubicBezTo>
                <a:cubicBezTo>
                  <a:pt x="3476708" y="1034025"/>
                  <a:pt x="3483997" y="1043136"/>
                  <a:pt x="3485819" y="1048602"/>
                </a:cubicBezTo>
                <a:cubicBezTo>
                  <a:pt x="3474886" y="1043136"/>
                  <a:pt x="3471242" y="1039492"/>
                  <a:pt x="3463953" y="1028559"/>
                </a:cubicBezTo>
                <a:cubicBezTo>
                  <a:pt x="3462131" y="1024914"/>
                  <a:pt x="3456664" y="1028559"/>
                  <a:pt x="3451198" y="1026736"/>
                </a:cubicBezTo>
                <a:cubicBezTo>
                  <a:pt x="3451198" y="1037669"/>
                  <a:pt x="3443909" y="1028559"/>
                  <a:pt x="3442087" y="1035847"/>
                </a:cubicBezTo>
                <a:cubicBezTo>
                  <a:pt x="3440265" y="1035847"/>
                  <a:pt x="3438443" y="1035847"/>
                  <a:pt x="3436621" y="1034025"/>
                </a:cubicBezTo>
                <a:cubicBezTo>
                  <a:pt x="3436621" y="1030381"/>
                  <a:pt x="3436621" y="1024914"/>
                  <a:pt x="3438443" y="1021270"/>
                </a:cubicBezTo>
                <a:cubicBezTo>
                  <a:pt x="3435710" y="1021270"/>
                  <a:pt x="3432065" y="1020358"/>
                  <a:pt x="3429104" y="1020358"/>
                </a:cubicBezTo>
                <a:close/>
                <a:moveTo>
                  <a:pt x="790823" y="1019497"/>
                </a:moveTo>
                <a:cubicBezTo>
                  <a:pt x="789001" y="1021319"/>
                  <a:pt x="789001" y="1023141"/>
                  <a:pt x="787179" y="1024963"/>
                </a:cubicBezTo>
                <a:cubicBezTo>
                  <a:pt x="785357" y="1023141"/>
                  <a:pt x="789001" y="1017675"/>
                  <a:pt x="790823" y="1019497"/>
                </a:cubicBezTo>
                <a:close/>
                <a:moveTo>
                  <a:pt x="774424" y="1019496"/>
                </a:moveTo>
                <a:cubicBezTo>
                  <a:pt x="772602" y="1021318"/>
                  <a:pt x="781713" y="1024963"/>
                  <a:pt x="778068" y="1028607"/>
                </a:cubicBezTo>
                <a:cubicBezTo>
                  <a:pt x="774424" y="1028607"/>
                  <a:pt x="770779" y="1019496"/>
                  <a:pt x="774424" y="1019496"/>
                </a:cubicBezTo>
                <a:close/>
                <a:moveTo>
                  <a:pt x="2376115" y="1019448"/>
                </a:moveTo>
                <a:cubicBezTo>
                  <a:pt x="2377937" y="1017625"/>
                  <a:pt x="2379760" y="1021270"/>
                  <a:pt x="2381582" y="1021270"/>
                </a:cubicBezTo>
                <a:cubicBezTo>
                  <a:pt x="2377937" y="1021270"/>
                  <a:pt x="2377937" y="1023092"/>
                  <a:pt x="2377937" y="1024914"/>
                </a:cubicBezTo>
                <a:cubicBezTo>
                  <a:pt x="2376115" y="1024914"/>
                  <a:pt x="2376115" y="1021270"/>
                  <a:pt x="2376115" y="1019448"/>
                </a:cubicBezTo>
                <a:close/>
                <a:moveTo>
                  <a:pt x="985796" y="1019448"/>
                </a:moveTo>
                <a:cubicBezTo>
                  <a:pt x="985796" y="1019448"/>
                  <a:pt x="983974" y="1023092"/>
                  <a:pt x="982152" y="1021270"/>
                </a:cubicBezTo>
                <a:cubicBezTo>
                  <a:pt x="980330" y="1023092"/>
                  <a:pt x="983974" y="1026736"/>
                  <a:pt x="985796" y="1028559"/>
                </a:cubicBezTo>
                <a:cubicBezTo>
                  <a:pt x="989441" y="1026736"/>
                  <a:pt x="989441" y="1023092"/>
                  <a:pt x="985796" y="1019448"/>
                </a:cubicBezTo>
                <a:close/>
                <a:moveTo>
                  <a:pt x="595852" y="1019448"/>
                </a:moveTo>
                <a:cubicBezTo>
                  <a:pt x="597673" y="1021270"/>
                  <a:pt x="599496" y="1024914"/>
                  <a:pt x="601318" y="1026736"/>
                </a:cubicBezTo>
                <a:cubicBezTo>
                  <a:pt x="601318" y="1024914"/>
                  <a:pt x="601318" y="1019448"/>
                  <a:pt x="595852" y="1019448"/>
                </a:cubicBezTo>
                <a:close/>
                <a:moveTo>
                  <a:pt x="584919" y="1019448"/>
                </a:moveTo>
                <a:cubicBezTo>
                  <a:pt x="583096" y="1019448"/>
                  <a:pt x="583096" y="1021270"/>
                  <a:pt x="581274" y="1023092"/>
                </a:cubicBezTo>
                <a:cubicBezTo>
                  <a:pt x="583096" y="1024914"/>
                  <a:pt x="592207" y="1030381"/>
                  <a:pt x="594030" y="1026736"/>
                </a:cubicBezTo>
                <a:cubicBezTo>
                  <a:pt x="590385" y="1023092"/>
                  <a:pt x="588562" y="1021270"/>
                  <a:pt x="584919" y="1019448"/>
                </a:cubicBezTo>
                <a:close/>
                <a:moveTo>
                  <a:pt x="266038" y="1019448"/>
                </a:moveTo>
                <a:lnTo>
                  <a:pt x="267066" y="1020692"/>
                </a:lnTo>
                <a:lnTo>
                  <a:pt x="266549" y="1020316"/>
                </a:lnTo>
                <a:close/>
                <a:moveTo>
                  <a:pt x="679215" y="1018764"/>
                </a:moveTo>
                <a:cubicBezTo>
                  <a:pt x="675116" y="1017625"/>
                  <a:pt x="670560" y="1018536"/>
                  <a:pt x="672383" y="1023092"/>
                </a:cubicBezTo>
                <a:cubicBezTo>
                  <a:pt x="676027" y="1026736"/>
                  <a:pt x="679671" y="1024914"/>
                  <a:pt x="683316" y="1026736"/>
                </a:cubicBezTo>
                <a:cubicBezTo>
                  <a:pt x="686960" y="1023092"/>
                  <a:pt x="683315" y="1019903"/>
                  <a:pt x="679215" y="1018764"/>
                </a:cubicBezTo>
                <a:close/>
                <a:moveTo>
                  <a:pt x="344619" y="1018308"/>
                </a:moveTo>
                <a:lnTo>
                  <a:pt x="344531" y="1019448"/>
                </a:lnTo>
                <a:lnTo>
                  <a:pt x="338926" y="1019448"/>
                </a:lnTo>
                <a:cubicBezTo>
                  <a:pt x="340747" y="1019448"/>
                  <a:pt x="342569" y="1019448"/>
                  <a:pt x="344391" y="1021270"/>
                </a:cubicBezTo>
                <a:lnTo>
                  <a:pt x="344531" y="1019448"/>
                </a:lnTo>
                <a:lnTo>
                  <a:pt x="346213" y="1019448"/>
                </a:lnTo>
                <a:cubicBezTo>
                  <a:pt x="346213" y="1018536"/>
                  <a:pt x="345302" y="1018080"/>
                  <a:pt x="344619" y="1018308"/>
                </a:cubicBezTo>
                <a:close/>
                <a:moveTo>
                  <a:pt x="315464" y="1018308"/>
                </a:moveTo>
                <a:cubicBezTo>
                  <a:pt x="314325" y="1017625"/>
                  <a:pt x="313414" y="1017625"/>
                  <a:pt x="313414" y="1019448"/>
                </a:cubicBezTo>
                <a:cubicBezTo>
                  <a:pt x="322525" y="1026736"/>
                  <a:pt x="331636" y="1028559"/>
                  <a:pt x="338926" y="1032203"/>
                </a:cubicBezTo>
                <a:cubicBezTo>
                  <a:pt x="335280" y="1028559"/>
                  <a:pt x="326169" y="1024914"/>
                  <a:pt x="318882" y="1021270"/>
                </a:cubicBezTo>
                <a:cubicBezTo>
                  <a:pt x="317970" y="1020359"/>
                  <a:pt x="316603" y="1018992"/>
                  <a:pt x="315464" y="1018308"/>
                </a:cubicBezTo>
                <a:close/>
                <a:moveTo>
                  <a:pt x="326963" y="1017890"/>
                </a:moveTo>
                <a:lnTo>
                  <a:pt x="323160" y="1018734"/>
                </a:lnTo>
                <a:lnTo>
                  <a:pt x="337102" y="1021270"/>
                </a:lnTo>
                <a:close/>
                <a:moveTo>
                  <a:pt x="3364417" y="1017853"/>
                </a:moveTo>
                <a:cubicBezTo>
                  <a:pt x="3358268" y="1018536"/>
                  <a:pt x="3350068" y="1020359"/>
                  <a:pt x="3345512" y="1019448"/>
                </a:cubicBezTo>
                <a:lnTo>
                  <a:pt x="3345512" y="1024985"/>
                </a:lnTo>
                <a:lnTo>
                  <a:pt x="3341867" y="1024914"/>
                </a:lnTo>
                <a:cubicBezTo>
                  <a:pt x="3345512" y="1023092"/>
                  <a:pt x="3345512" y="1026736"/>
                  <a:pt x="3345512" y="1026736"/>
                </a:cubicBezTo>
                <a:lnTo>
                  <a:pt x="3345512" y="1024985"/>
                </a:lnTo>
                <a:lnTo>
                  <a:pt x="3353484" y="1025142"/>
                </a:lnTo>
                <a:cubicBezTo>
                  <a:pt x="3358723" y="1023548"/>
                  <a:pt x="3364645" y="1021270"/>
                  <a:pt x="3369200" y="1021270"/>
                </a:cubicBezTo>
                <a:cubicBezTo>
                  <a:pt x="3369200" y="1024914"/>
                  <a:pt x="3369200" y="1028559"/>
                  <a:pt x="3369200" y="1032203"/>
                </a:cubicBezTo>
                <a:cubicBezTo>
                  <a:pt x="3365556" y="1034025"/>
                  <a:pt x="3361911" y="1030381"/>
                  <a:pt x="3363734" y="1024914"/>
                </a:cubicBezTo>
                <a:cubicBezTo>
                  <a:pt x="3356445" y="1026736"/>
                  <a:pt x="3347334" y="1026736"/>
                  <a:pt x="3347334" y="1034025"/>
                </a:cubicBezTo>
                <a:cubicBezTo>
                  <a:pt x="3358267" y="1032203"/>
                  <a:pt x="3371022" y="1037669"/>
                  <a:pt x="3380133" y="1030381"/>
                </a:cubicBezTo>
                <a:cubicBezTo>
                  <a:pt x="3374666" y="1030381"/>
                  <a:pt x="3378311" y="1021270"/>
                  <a:pt x="3371022" y="1023092"/>
                </a:cubicBezTo>
                <a:cubicBezTo>
                  <a:pt x="3374667" y="1017625"/>
                  <a:pt x="3370567" y="1017170"/>
                  <a:pt x="3364417" y="1017853"/>
                </a:cubicBezTo>
                <a:close/>
                <a:moveTo>
                  <a:pt x="3330934" y="1017625"/>
                </a:moveTo>
                <a:cubicBezTo>
                  <a:pt x="3325468" y="1019448"/>
                  <a:pt x="3332756" y="1021270"/>
                  <a:pt x="3332756" y="1024914"/>
                </a:cubicBezTo>
                <a:cubicBezTo>
                  <a:pt x="3336401" y="1024914"/>
                  <a:pt x="3336401" y="1021270"/>
                  <a:pt x="3338223" y="1017625"/>
                </a:cubicBezTo>
                <a:cubicBezTo>
                  <a:pt x="3336401" y="1017625"/>
                  <a:pt x="3332756" y="1017625"/>
                  <a:pt x="3332756" y="1019448"/>
                </a:cubicBezTo>
                <a:cubicBezTo>
                  <a:pt x="3330934" y="1019448"/>
                  <a:pt x="3330934" y="1017625"/>
                  <a:pt x="3330934" y="1017625"/>
                </a:cubicBezTo>
                <a:close/>
                <a:moveTo>
                  <a:pt x="2192076" y="1017625"/>
                </a:moveTo>
                <a:cubicBezTo>
                  <a:pt x="2190253" y="1017625"/>
                  <a:pt x="2190253" y="1017625"/>
                  <a:pt x="2188431" y="1019448"/>
                </a:cubicBezTo>
                <a:cubicBezTo>
                  <a:pt x="2188431" y="1019448"/>
                  <a:pt x="2190253" y="1021270"/>
                  <a:pt x="2190253" y="1023092"/>
                </a:cubicBezTo>
                <a:cubicBezTo>
                  <a:pt x="2192076" y="1021270"/>
                  <a:pt x="2192076" y="1019448"/>
                  <a:pt x="2192076" y="1017625"/>
                </a:cubicBezTo>
                <a:close/>
                <a:moveTo>
                  <a:pt x="1045929" y="1017625"/>
                </a:moveTo>
                <a:cubicBezTo>
                  <a:pt x="1047750" y="1019448"/>
                  <a:pt x="1047750" y="1021270"/>
                  <a:pt x="1051395" y="1021270"/>
                </a:cubicBezTo>
                <a:cubicBezTo>
                  <a:pt x="1051395" y="1021270"/>
                  <a:pt x="1049573" y="1023092"/>
                  <a:pt x="1049573" y="1023092"/>
                </a:cubicBezTo>
                <a:cubicBezTo>
                  <a:pt x="1047750" y="1023092"/>
                  <a:pt x="1049573" y="1019448"/>
                  <a:pt x="1045929" y="1017625"/>
                </a:cubicBezTo>
                <a:close/>
                <a:moveTo>
                  <a:pt x="736159" y="1017625"/>
                </a:moveTo>
                <a:cubicBezTo>
                  <a:pt x="734336" y="1017625"/>
                  <a:pt x="736159" y="1017625"/>
                  <a:pt x="734336" y="1019448"/>
                </a:cubicBezTo>
                <a:cubicBezTo>
                  <a:pt x="736159" y="1021270"/>
                  <a:pt x="739803" y="1017625"/>
                  <a:pt x="736159" y="1017625"/>
                </a:cubicBezTo>
                <a:close/>
                <a:moveTo>
                  <a:pt x="685138" y="1017625"/>
                </a:moveTo>
                <a:cubicBezTo>
                  <a:pt x="688782" y="1023092"/>
                  <a:pt x="686960" y="1028559"/>
                  <a:pt x="696071" y="1032203"/>
                </a:cubicBezTo>
                <a:cubicBezTo>
                  <a:pt x="692426" y="1030381"/>
                  <a:pt x="690604" y="1026736"/>
                  <a:pt x="686960" y="1024914"/>
                </a:cubicBezTo>
                <a:cubicBezTo>
                  <a:pt x="685138" y="1028559"/>
                  <a:pt x="686960" y="1030381"/>
                  <a:pt x="688782" y="1032203"/>
                </a:cubicBezTo>
                <a:cubicBezTo>
                  <a:pt x="690604" y="1034025"/>
                  <a:pt x="690604" y="1030381"/>
                  <a:pt x="690604" y="1030381"/>
                </a:cubicBezTo>
                <a:cubicBezTo>
                  <a:pt x="690604" y="1032203"/>
                  <a:pt x="694249" y="1034025"/>
                  <a:pt x="696071" y="1032203"/>
                </a:cubicBezTo>
                <a:cubicBezTo>
                  <a:pt x="697893" y="1030381"/>
                  <a:pt x="696071" y="1026736"/>
                  <a:pt x="692426" y="1024914"/>
                </a:cubicBezTo>
                <a:cubicBezTo>
                  <a:pt x="701537" y="1026736"/>
                  <a:pt x="697893" y="1034025"/>
                  <a:pt x="710648" y="1035847"/>
                </a:cubicBezTo>
                <a:cubicBezTo>
                  <a:pt x="708826" y="1026736"/>
                  <a:pt x="701537" y="1017625"/>
                  <a:pt x="685138" y="1017625"/>
                </a:cubicBezTo>
                <a:close/>
                <a:moveTo>
                  <a:pt x="634117" y="1017625"/>
                </a:moveTo>
                <a:cubicBezTo>
                  <a:pt x="632296" y="1021270"/>
                  <a:pt x="634117" y="1023092"/>
                  <a:pt x="635939" y="1026736"/>
                </a:cubicBezTo>
                <a:cubicBezTo>
                  <a:pt x="641407" y="1024914"/>
                  <a:pt x="637761" y="1021270"/>
                  <a:pt x="639583" y="1019448"/>
                </a:cubicBezTo>
                <a:cubicBezTo>
                  <a:pt x="637761" y="1019448"/>
                  <a:pt x="635939" y="1019448"/>
                  <a:pt x="634117" y="1017625"/>
                </a:cubicBezTo>
                <a:close/>
                <a:moveTo>
                  <a:pt x="382657" y="1017625"/>
                </a:moveTo>
                <a:cubicBezTo>
                  <a:pt x="382657" y="1026736"/>
                  <a:pt x="391768" y="1021270"/>
                  <a:pt x="397234" y="1024914"/>
                </a:cubicBezTo>
                <a:cubicBezTo>
                  <a:pt x="397234" y="1023092"/>
                  <a:pt x="397234" y="1023092"/>
                  <a:pt x="397234" y="1021270"/>
                </a:cubicBezTo>
                <a:cubicBezTo>
                  <a:pt x="391768" y="1017625"/>
                  <a:pt x="386301" y="1017625"/>
                  <a:pt x="382657" y="1017625"/>
                </a:cubicBezTo>
                <a:close/>
                <a:moveTo>
                  <a:pt x="1029528" y="1016258"/>
                </a:moveTo>
                <a:cubicBezTo>
                  <a:pt x="1028617" y="1016714"/>
                  <a:pt x="1027707" y="1017625"/>
                  <a:pt x="1027707" y="1017625"/>
                </a:cubicBezTo>
                <a:cubicBezTo>
                  <a:pt x="1024062" y="1021270"/>
                  <a:pt x="1029529" y="1023092"/>
                  <a:pt x="1031351" y="1024914"/>
                </a:cubicBezTo>
                <a:cubicBezTo>
                  <a:pt x="1031351" y="1021270"/>
                  <a:pt x="1033173" y="1019448"/>
                  <a:pt x="1031351" y="1017625"/>
                </a:cubicBezTo>
                <a:cubicBezTo>
                  <a:pt x="1031351" y="1015803"/>
                  <a:pt x="1030440" y="1015803"/>
                  <a:pt x="1029528" y="1016258"/>
                </a:cubicBezTo>
                <a:close/>
                <a:moveTo>
                  <a:pt x="104342" y="1015878"/>
                </a:moveTo>
                <a:lnTo>
                  <a:pt x="118181" y="1028610"/>
                </a:lnTo>
                <a:lnTo>
                  <a:pt x="119932" y="1030712"/>
                </a:lnTo>
                <a:lnTo>
                  <a:pt x="120135" y="1031623"/>
                </a:lnTo>
                <a:lnTo>
                  <a:pt x="119520" y="1031440"/>
                </a:lnTo>
                <a:close/>
                <a:moveTo>
                  <a:pt x="819978" y="1015861"/>
                </a:moveTo>
                <a:cubicBezTo>
                  <a:pt x="821800" y="1017683"/>
                  <a:pt x="821800" y="1017683"/>
                  <a:pt x="821800" y="1019506"/>
                </a:cubicBezTo>
                <a:cubicBezTo>
                  <a:pt x="821800" y="1023151"/>
                  <a:pt x="816334" y="1026795"/>
                  <a:pt x="810867" y="1026795"/>
                </a:cubicBezTo>
                <a:cubicBezTo>
                  <a:pt x="812689" y="1017683"/>
                  <a:pt x="816334" y="1019506"/>
                  <a:pt x="819978" y="1015861"/>
                </a:cubicBezTo>
                <a:close/>
                <a:moveTo>
                  <a:pt x="3443909" y="1015803"/>
                </a:moveTo>
                <a:cubicBezTo>
                  <a:pt x="3442087" y="1019448"/>
                  <a:pt x="3451198" y="1028559"/>
                  <a:pt x="3460309" y="1023092"/>
                </a:cubicBezTo>
                <a:cubicBezTo>
                  <a:pt x="3456664" y="1019448"/>
                  <a:pt x="3447553" y="1021270"/>
                  <a:pt x="3443909" y="1015803"/>
                </a:cubicBezTo>
                <a:close/>
                <a:moveTo>
                  <a:pt x="1131570" y="1015803"/>
                </a:moveTo>
                <a:lnTo>
                  <a:pt x="1131533" y="1016459"/>
                </a:lnTo>
                <a:lnTo>
                  <a:pt x="1129520" y="1017170"/>
                </a:lnTo>
                <a:cubicBezTo>
                  <a:pt x="1129292" y="1018536"/>
                  <a:pt x="1129748" y="1020359"/>
                  <a:pt x="1129748" y="1021270"/>
                </a:cubicBezTo>
                <a:cubicBezTo>
                  <a:pt x="1130659" y="1022181"/>
                  <a:pt x="1131114" y="1021270"/>
                  <a:pt x="1131342" y="1019903"/>
                </a:cubicBezTo>
                <a:lnTo>
                  <a:pt x="1131533" y="1016459"/>
                </a:lnTo>
                <a:lnTo>
                  <a:pt x="1133393" y="1015803"/>
                </a:lnTo>
                <a:cubicBezTo>
                  <a:pt x="1133393" y="1015803"/>
                  <a:pt x="1131570" y="1015803"/>
                  <a:pt x="1131570" y="1015803"/>
                </a:cubicBezTo>
                <a:close/>
                <a:moveTo>
                  <a:pt x="1080549" y="1015803"/>
                </a:moveTo>
                <a:cubicBezTo>
                  <a:pt x="1078727" y="1017625"/>
                  <a:pt x="1080549" y="1019448"/>
                  <a:pt x="1076905" y="1021270"/>
                </a:cubicBezTo>
                <a:cubicBezTo>
                  <a:pt x="1076905" y="1023092"/>
                  <a:pt x="1078727" y="1023092"/>
                  <a:pt x="1080549" y="1023092"/>
                </a:cubicBezTo>
                <a:cubicBezTo>
                  <a:pt x="1080549" y="1019448"/>
                  <a:pt x="1082373" y="1017625"/>
                  <a:pt x="1080549" y="1015803"/>
                </a:cubicBezTo>
                <a:close/>
                <a:moveTo>
                  <a:pt x="1064151" y="1015803"/>
                </a:moveTo>
                <a:lnTo>
                  <a:pt x="1065972" y="1015803"/>
                </a:lnTo>
                <a:lnTo>
                  <a:pt x="1065607" y="1017260"/>
                </a:lnTo>
                <a:close/>
                <a:moveTo>
                  <a:pt x="952997" y="1015803"/>
                </a:moveTo>
                <a:cubicBezTo>
                  <a:pt x="951175" y="1021270"/>
                  <a:pt x="952997" y="1026736"/>
                  <a:pt x="958464" y="1030381"/>
                </a:cubicBezTo>
                <a:cubicBezTo>
                  <a:pt x="963930" y="1026736"/>
                  <a:pt x="962108" y="1021270"/>
                  <a:pt x="965753" y="1015803"/>
                </a:cubicBezTo>
                <a:cubicBezTo>
                  <a:pt x="960286" y="1015803"/>
                  <a:pt x="956642" y="1019448"/>
                  <a:pt x="952997" y="1015803"/>
                </a:cubicBezTo>
                <a:close/>
                <a:moveTo>
                  <a:pt x="395412" y="1015803"/>
                </a:moveTo>
                <a:cubicBezTo>
                  <a:pt x="399056" y="1021270"/>
                  <a:pt x="413634" y="1030381"/>
                  <a:pt x="419100" y="1028559"/>
                </a:cubicBezTo>
                <a:cubicBezTo>
                  <a:pt x="413634" y="1021270"/>
                  <a:pt x="402701" y="1015803"/>
                  <a:pt x="395412" y="1015803"/>
                </a:cubicBezTo>
                <a:close/>
                <a:moveTo>
                  <a:pt x="3467142" y="1014664"/>
                </a:moveTo>
                <a:cubicBezTo>
                  <a:pt x="3464864" y="1014892"/>
                  <a:pt x="3462131" y="1015803"/>
                  <a:pt x="3460309" y="1015803"/>
                </a:cubicBezTo>
                <a:cubicBezTo>
                  <a:pt x="3460309" y="1019448"/>
                  <a:pt x="3469419" y="1019448"/>
                  <a:pt x="3471242" y="1017625"/>
                </a:cubicBezTo>
                <a:cubicBezTo>
                  <a:pt x="3471242" y="1014892"/>
                  <a:pt x="3469420" y="1014436"/>
                  <a:pt x="3467142" y="1014664"/>
                </a:cubicBezTo>
                <a:close/>
                <a:moveTo>
                  <a:pt x="3063075" y="1013981"/>
                </a:moveTo>
                <a:cubicBezTo>
                  <a:pt x="3057608" y="1013981"/>
                  <a:pt x="3064897" y="1024914"/>
                  <a:pt x="3070363" y="1023092"/>
                </a:cubicBezTo>
                <a:cubicBezTo>
                  <a:pt x="3070363" y="1017625"/>
                  <a:pt x="3063075" y="1019448"/>
                  <a:pt x="3063075" y="1013981"/>
                </a:cubicBezTo>
                <a:close/>
                <a:moveTo>
                  <a:pt x="1211747" y="1013981"/>
                </a:moveTo>
                <a:cubicBezTo>
                  <a:pt x="1208102" y="1023092"/>
                  <a:pt x="1200814" y="1030381"/>
                  <a:pt x="1198991" y="1039492"/>
                </a:cubicBezTo>
                <a:cubicBezTo>
                  <a:pt x="1206279" y="1035847"/>
                  <a:pt x="1213568" y="1028559"/>
                  <a:pt x="1217213" y="1023092"/>
                </a:cubicBezTo>
                <a:cubicBezTo>
                  <a:pt x="1217213" y="1019448"/>
                  <a:pt x="1213568" y="1013981"/>
                  <a:pt x="1211747" y="1013981"/>
                </a:cubicBezTo>
                <a:close/>
                <a:moveTo>
                  <a:pt x="692426" y="1013981"/>
                </a:moveTo>
                <a:cubicBezTo>
                  <a:pt x="694249" y="1017625"/>
                  <a:pt x="699715" y="1019448"/>
                  <a:pt x="703359" y="1021270"/>
                </a:cubicBezTo>
                <a:cubicBezTo>
                  <a:pt x="703359" y="1019448"/>
                  <a:pt x="696071" y="1013981"/>
                  <a:pt x="692426" y="1013981"/>
                </a:cubicBezTo>
                <a:close/>
                <a:moveTo>
                  <a:pt x="522964" y="1013981"/>
                </a:moveTo>
                <a:cubicBezTo>
                  <a:pt x="532075" y="1015803"/>
                  <a:pt x="530253" y="1024914"/>
                  <a:pt x="539364" y="1026736"/>
                </a:cubicBezTo>
                <a:lnTo>
                  <a:pt x="539105" y="1026671"/>
                </a:lnTo>
                <a:lnTo>
                  <a:pt x="529570" y="1021042"/>
                </a:lnTo>
                <a:lnTo>
                  <a:pt x="523021" y="1014440"/>
                </a:lnTo>
                <a:close/>
                <a:moveTo>
                  <a:pt x="324347" y="1013981"/>
                </a:moveTo>
                <a:cubicBezTo>
                  <a:pt x="322525" y="1015803"/>
                  <a:pt x="320703" y="1015803"/>
                  <a:pt x="320703" y="1017625"/>
                </a:cubicBezTo>
                <a:cubicBezTo>
                  <a:pt x="318882" y="1017625"/>
                  <a:pt x="318882" y="1017625"/>
                  <a:pt x="317059" y="1017625"/>
                </a:cubicBezTo>
                <a:lnTo>
                  <a:pt x="322085" y="1018539"/>
                </a:lnTo>
                <a:lnTo>
                  <a:pt x="322525" y="1017661"/>
                </a:lnTo>
                <a:lnTo>
                  <a:pt x="326278" y="1017661"/>
                </a:lnTo>
                <a:lnTo>
                  <a:pt x="326169" y="1017625"/>
                </a:lnTo>
                <a:cubicBezTo>
                  <a:pt x="327993" y="1015803"/>
                  <a:pt x="327993" y="1015803"/>
                  <a:pt x="329814" y="1015803"/>
                </a:cubicBezTo>
                <a:cubicBezTo>
                  <a:pt x="327993" y="1013981"/>
                  <a:pt x="326169" y="1015803"/>
                  <a:pt x="324347" y="1013981"/>
                </a:cubicBezTo>
                <a:close/>
                <a:moveTo>
                  <a:pt x="260571" y="1013981"/>
                </a:moveTo>
                <a:cubicBezTo>
                  <a:pt x="259660" y="1014892"/>
                  <a:pt x="261027" y="1016258"/>
                  <a:pt x="262849" y="1017625"/>
                </a:cubicBezTo>
                <a:lnTo>
                  <a:pt x="266549" y="1020316"/>
                </a:lnTo>
                <a:lnTo>
                  <a:pt x="268315" y="1023320"/>
                </a:lnTo>
                <a:cubicBezTo>
                  <a:pt x="270137" y="1025370"/>
                  <a:pt x="272415" y="1027647"/>
                  <a:pt x="273327" y="1028559"/>
                </a:cubicBezTo>
                <a:cubicBezTo>
                  <a:pt x="273327" y="1026736"/>
                  <a:pt x="271959" y="1025825"/>
                  <a:pt x="270365" y="1024686"/>
                </a:cubicBezTo>
                <a:lnTo>
                  <a:pt x="267066" y="1020692"/>
                </a:lnTo>
                <a:lnTo>
                  <a:pt x="267860" y="1021270"/>
                </a:lnTo>
                <a:cubicBezTo>
                  <a:pt x="267860" y="1017625"/>
                  <a:pt x="262393" y="1015803"/>
                  <a:pt x="260571" y="1013981"/>
                </a:cubicBezTo>
                <a:close/>
                <a:moveTo>
                  <a:pt x="2227381" y="1013753"/>
                </a:moveTo>
                <a:cubicBezTo>
                  <a:pt x="2224420" y="1012614"/>
                  <a:pt x="2221231" y="1012159"/>
                  <a:pt x="2217586" y="1013981"/>
                </a:cubicBezTo>
                <a:cubicBezTo>
                  <a:pt x="2219408" y="1013981"/>
                  <a:pt x="2215764" y="1015803"/>
                  <a:pt x="2217586" y="1035847"/>
                </a:cubicBezTo>
                <a:cubicBezTo>
                  <a:pt x="2215764" y="1035847"/>
                  <a:pt x="2215764" y="1034025"/>
                  <a:pt x="2213942" y="1034025"/>
                </a:cubicBezTo>
                <a:lnTo>
                  <a:pt x="2206736" y="1037627"/>
                </a:lnTo>
                <a:lnTo>
                  <a:pt x="2208475" y="1034025"/>
                </a:lnTo>
                <a:cubicBezTo>
                  <a:pt x="2204831" y="1035847"/>
                  <a:pt x="2201187" y="1030381"/>
                  <a:pt x="2197542" y="1032203"/>
                </a:cubicBezTo>
                <a:cubicBezTo>
                  <a:pt x="2197542" y="1032203"/>
                  <a:pt x="2197542" y="1034025"/>
                  <a:pt x="2197542" y="1035847"/>
                </a:cubicBezTo>
                <a:cubicBezTo>
                  <a:pt x="2193898" y="1034025"/>
                  <a:pt x="2192076" y="1032203"/>
                  <a:pt x="2188431" y="1030381"/>
                </a:cubicBezTo>
                <a:lnTo>
                  <a:pt x="2173854" y="1030381"/>
                </a:lnTo>
                <a:lnTo>
                  <a:pt x="2197542" y="1059535"/>
                </a:lnTo>
                <a:lnTo>
                  <a:pt x="2173854" y="1059535"/>
                </a:lnTo>
                <a:lnTo>
                  <a:pt x="2181143" y="1074113"/>
                </a:lnTo>
                <a:lnTo>
                  <a:pt x="2157454" y="1074113"/>
                </a:lnTo>
                <a:lnTo>
                  <a:pt x="2164743" y="1088690"/>
                </a:lnTo>
                <a:cubicBezTo>
                  <a:pt x="2155632" y="1105090"/>
                  <a:pt x="2157454" y="1088690"/>
                  <a:pt x="2157454" y="1119667"/>
                </a:cubicBezTo>
                <a:cubicBezTo>
                  <a:pt x="2173854" y="1123312"/>
                  <a:pt x="2182965" y="1128778"/>
                  <a:pt x="2190253" y="1132422"/>
                </a:cubicBezTo>
                <a:cubicBezTo>
                  <a:pt x="2195720" y="1128778"/>
                  <a:pt x="2195720" y="1126956"/>
                  <a:pt x="2193898" y="1119667"/>
                </a:cubicBezTo>
                <a:cubicBezTo>
                  <a:pt x="2192076" y="1117845"/>
                  <a:pt x="2188431" y="1119667"/>
                  <a:pt x="2186609" y="1117845"/>
                </a:cubicBezTo>
                <a:cubicBezTo>
                  <a:pt x="2192076" y="1116023"/>
                  <a:pt x="2199364" y="1117845"/>
                  <a:pt x="2204831" y="1117845"/>
                </a:cubicBezTo>
                <a:cubicBezTo>
                  <a:pt x="2205742" y="1114200"/>
                  <a:pt x="2203009" y="1114656"/>
                  <a:pt x="2199820" y="1115111"/>
                </a:cubicBezTo>
                <a:lnTo>
                  <a:pt x="2195720" y="1113664"/>
                </a:lnTo>
                <a:lnTo>
                  <a:pt x="2195720" y="1108734"/>
                </a:lnTo>
                <a:cubicBezTo>
                  <a:pt x="2188431" y="1108734"/>
                  <a:pt x="2177498" y="1114201"/>
                  <a:pt x="2170210" y="1106912"/>
                </a:cubicBezTo>
                <a:cubicBezTo>
                  <a:pt x="2179320" y="1108734"/>
                  <a:pt x="2201187" y="1108734"/>
                  <a:pt x="2197542" y="1095979"/>
                </a:cubicBezTo>
                <a:cubicBezTo>
                  <a:pt x="2197542" y="1092335"/>
                  <a:pt x="2192076" y="1086868"/>
                  <a:pt x="2186609" y="1088690"/>
                </a:cubicBezTo>
                <a:cubicBezTo>
                  <a:pt x="2186609" y="1085046"/>
                  <a:pt x="2188431" y="1081402"/>
                  <a:pt x="2190253" y="1083224"/>
                </a:cubicBezTo>
                <a:cubicBezTo>
                  <a:pt x="2193898" y="1085046"/>
                  <a:pt x="2197542" y="1086868"/>
                  <a:pt x="2203009" y="1085046"/>
                </a:cubicBezTo>
                <a:cubicBezTo>
                  <a:pt x="2204831" y="1085046"/>
                  <a:pt x="2208475" y="1083224"/>
                  <a:pt x="2208475" y="1079579"/>
                </a:cubicBezTo>
                <a:cubicBezTo>
                  <a:pt x="2206653" y="1079579"/>
                  <a:pt x="2204831" y="1081402"/>
                  <a:pt x="2204831" y="1083224"/>
                </a:cubicBezTo>
                <a:cubicBezTo>
                  <a:pt x="2206653" y="1081402"/>
                  <a:pt x="2208475" y="1079579"/>
                  <a:pt x="2210297" y="1077757"/>
                </a:cubicBezTo>
                <a:cubicBezTo>
                  <a:pt x="2206653" y="1074113"/>
                  <a:pt x="2201187" y="1083224"/>
                  <a:pt x="2203009" y="1085046"/>
                </a:cubicBezTo>
                <a:cubicBezTo>
                  <a:pt x="2201187" y="1081402"/>
                  <a:pt x="2204831" y="1077757"/>
                  <a:pt x="2204831" y="1075935"/>
                </a:cubicBezTo>
                <a:cubicBezTo>
                  <a:pt x="2204831" y="1075935"/>
                  <a:pt x="2201187" y="1075935"/>
                  <a:pt x="2201187" y="1074113"/>
                </a:cubicBezTo>
                <a:lnTo>
                  <a:pt x="2205038" y="1063524"/>
                </a:lnTo>
                <a:lnTo>
                  <a:pt x="2210297" y="1072291"/>
                </a:lnTo>
                <a:cubicBezTo>
                  <a:pt x="2212120" y="1070469"/>
                  <a:pt x="2212120" y="1068646"/>
                  <a:pt x="2212120" y="1065002"/>
                </a:cubicBezTo>
                <a:cubicBezTo>
                  <a:pt x="2215764" y="1063180"/>
                  <a:pt x="2212120" y="1070469"/>
                  <a:pt x="2217586" y="1068646"/>
                </a:cubicBezTo>
                <a:cubicBezTo>
                  <a:pt x="2215764" y="1066824"/>
                  <a:pt x="2217586" y="1063180"/>
                  <a:pt x="2217586" y="1059535"/>
                </a:cubicBezTo>
                <a:cubicBezTo>
                  <a:pt x="2215764" y="1057713"/>
                  <a:pt x="2212120" y="1057713"/>
                  <a:pt x="2208475" y="1057713"/>
                </a:cubicBezTo>
                <a:cubicBezTo>
                  <a:pt x="2206653" y="1063180"/>
                  <a:pt x="2212120" y="1063180"/>
                  <a:pt x="2210297" y="1066824"/>
                </a:cubicBezTo>
                <a:cubicBezTo>
                  <a:pt x="2208475" y="1067735"/>
                  <a:pt x="2208475" y="1066369"/>
                  <a:pt x="2208247" y="1065002"/>
                </a:cubicBezTo>
                <a:lnTo>
                  <a:pt x="2205109" y="1063328"/>
                </a:lnTo>
                <a:lnTo>
                  <a:pt x="2208475" y="1054069"/>
                </a:lnTo>
                <a:cubicBezTo>
                  <a:pt x="2204831" y="1052247"/>
                  <a:pt x="2201187" y="1052247"/>
                  <a:pt x="2197542" y="1050425"/>
                </a:cubicBezTo>
                <a:cubicBezTo>
                  <a:pt x="2201187" y="1050425"/>
                  <a:pt x="2203009" y="1050425"/>
                  <a:pt x="2204831" y="1048602"/>
                </a:cubicBezTo>
                <a:lnTo>
                  <a:pt x="2205221" y="1041774"/>
                </a:lnTo>
                <a:lnTo>
                  <a:pt x="2208931" y="1039491"/>
                </a:lnTo>
                <a:cubicBezTo>
                  <a:pt x="2210298" y="1037669"/>
                  <a:pt x="2211209" y="1035847"/>
                  <a:pt x="2212120" y="1035847"/>
                </a:cubicBezTo>
                <a:cubicBezTo>
                  <a:pt x="2215764" y="1034025"/>
                  <a:pt x="2224875" y="1035847"/>
                  <a:pt x="2219408" y="1043136"/>
                </a:cubicBezTo>
                <a:cubicBezTo>
                  <a:pt x="2223053" y="1041314"/>
                  <a:pt x="2227608" y="1042225"/>
                  <a:pt x="2231025" y="1042225"/>
                </a:cubicBezTo>
                <a:lnTo>
                  <a:pt x="2235728" y="1035953"/>
                </a:lnTo>
                <a:lnTo>
                  <a:pt x="2239452" y="1039492"/>
                </a:lnTo>
                <a:cubicBezTo>
                  <a:pt x="2239452" y="1035847"/>
                  <a:pt x="2241274" y="1034025"/>
                  <a:pt x="2241274" y="1030381"/>
                </a:cubicBezTo>
                <a:cubicBezTo>
                  <a:pt x="2243096" y="1035847"/>
                  <a:pt x="2246741" y="1039492"/>
                  <a:pt x="2241274" y="1043136"/>
                </a:cubicBezTo>
                <a:cubicBezTo>
                  <a:pt x="2244919" y="1044958"/>
                  <a:pt x="2250385" y="1044958"/>
                  <a:pt x="2255852" y="1046780"/>
                </a:cubicBezTo>
                <a:lnTo>
                  <a:pt x="2256440" y="1044429"/>
                </a:lnTo>
                <a:lnTo>
                  <a:pt x="2258130" y="1042908"/>
                </a:lnTo>
                <a:cubicBezTo>
                  <a:pt x="2258130" y="1041769"/>
                  <a:pt x="2257674" y="1040403"/>
                  <a:pt x="2257674" y="1039492"/>
                </a:cubicBezTo>
                <a:lnTo>
                  <a:pt x="2256440" y="1044429"/>
                </a:lnTo>
                <a:lnTo>
                  <a:pt x="2255852" y="1044958"/>
                </a:lnTo>
                <a:cubicBezTo>
                  <a:pt x="2254030" y="1043136"/>
                  <a:pt x="2255852" y="1041314"/>
                  <a:pt x="2255852" y="1037669"/>
                </a:cubicBezTo>
                <a:cubicBezTo>
                  <a:pt x="2255852" y="1037669"/>
                  <a:pt x="2254030" y="1035847"/>
                  <a:pt x="2254030" y="1035847"/>
                </a:cubicBezTo>
                <a:cubicBezTo>
                  <a:pt x="2252207" y="1037669"/>
                  <a:pt x="2250385" y="1037669"/>
                  <a:pt x="2248563" y="1037669"/>
                </a:cubicBezTo>
                <a:cubicBezTo>
                  <a:pt x="2252207" y="1035847"/>
                  <a:pt x="2252207" y="1034025"/>
                  <a:pt x="2252207" y="1034025"/>
                </a:cubicBezTo>
                <a:cubicBezTo>
                  <a:pt x="2250385" y="1032203"/>
                  <a:pt x="2248563" y="1028559"/>
                  <a:pt x="2246741" y="1026736"/>
                </a:cubicBezTo>
                <a:cubicBezTo>
                  <a:pt x="2243096" y="1026736"/>
                  <a:pt x="2239452" y="1028559"/>
                  <a:pt x="2235808" y="1026736"/>
                </a:cubicBezTo>
                <a:cubicBezTo>
                  <a:pt x="2234897" y="1029469"/>
                  <a:pt x="2234442" y="1032658"/>
                  <a:pt x="2234897" y="1035164"/>
                </a:cubicBezTo>
                <a:lnTo>
                  <a:pt x="2235676" y="1035903"/>
                </a:lnTo>
                <a:lnTo>
                  <a:pt x="2231025" y="1037897"/>
                </a:lnTo>
                <a:cubicBezTo>
                  <a:pt x="2229430" y="1037213"/>
                  <a:pt x="2227608" y="1035847"/>
                  <a:pt x="2224875" y="1035847"/>
                </a:cubicBezTo>
                <a:cubicBezTo>
                  <a:pt x="2224875" y="1035847"/>
                  <a:pt x="2221230" y="1032203"/>
                  <a:pt x="2223053" y="1032203"/>
                </a:cubicBezTo>
                <a:cubicBezTo>
                  <a:pt x="2226697" y="1028559"/>
                  <a:pt x="2232163" y="1032203"/>
                  <a:pt x="2233986" y="1024914"/>
                </a:cubicBezTo>
                <a:cubicBezTo>
                  <a:pt x="2235808" y="1023092"/>
                  <a:pt x="2235808" y="1021270"/>
                  <a:pt x="2235808" y="1017625"/>
                </a:cubicBezTo>
                <a:cubicBezTo>
                  <a:pt x="2233075" y="1016714"/>
                  <a:pt x="2230342" y="1014892"/>
                  <a:pt x="2227381" y="1013753"/>
                </a:cubicBezTo>
                <a:close/>
                <a:moveTo>
                  <a:pt x="823623" y="1013070"/>
                </a:moveTo>
                <a:lnTo>
                  <a:pt x="823623" y="1017625"/>
                </a:lnTo>
                <a:cubicBezTo>
                  <a:pt x="823623" y="1019448"/>
                  <a:pt x="825445" y="1021270"/>
                  <a:pt x="825445" y="1024914"/>
                </a:cubicBezTo>
                <a:lnTo>
                  <a:pt x="823050" y="1027308"/>
                </a:lnTo>
                <a:lnTo>
                  <a:pt x="821801" y="1013981"/>
                </a:lnTo>
                <a:close/>
                <a:moveTo>
                  <a:pt x="1037274" y="1012842"/>
                </a:moveTo>
                <a:cubicBezTo>
                  <a:pt x="1035452" y="1012614"/>
                  <a:pt x="1034084" y="1013070"/>
                  <a:pt x="1034995" y="1015803"/>
                </a:cubicBezTo>
                <a:cubicBezTo>
                  <a:pt x="1036818" y="1015803"/>
                  <a:pt x="1038639" y="1013981"/>
                  <a:pt x="1036818" y="1015803"/>
                </a:cubicBezTo>
                <a:cubicBezTo>
                  <a:pt x="1038639" y="1017625"/>
                  <a:pt x="1031351" y="1017625"/>
                  <a:pt x="1034995" y="1019448"/>
                </a:cubicBezTo>
                <a:cubicBezTo>
                  <a:pt x="1036818" y="1015803"/>
                  <a:pt x="1040462" y="1017625"/>
                  <a:pt x="1042284" y="1013981"/>
                </a:cubicBezTo>
                <a:cubicBezTo>
                  <a:pt x="1041373" y="1013981"/>
                  <a:pt x="1039095" y="1013070"/>
                  <a:pt x="1037274" y="1012842"/>
                </a:cubicBezTo>
                <a:close/>
                <a:moveTo>
                  <a:pt x="3551417" y="1012159"/>
                </a:moveTo>
                <a:cubicBezTo>
                  <a:pt x="3547773" y="1015803"/>
                  <a:pt x="3549595" y="1030381"/>
                  <a:pt x="3556884" y="1023092"/>
                </a:cubicBezTo>
                <a:cubicBezTo>
                  <a:pt x="3556884" y="1017625"/>
                  <a:pt x="3549595" y="1017625"/>
                  <a:pt x="3551417" y="1012159"/>
                </a:cubicBezTo>
                <a:close/>
                <a:moveTo>
                  <a:pt x="3055786" y="1012159"/>
                </a:moveTo>
                <a:cubicBezTo>
                  <a:pt x="3052142" y="1013981"/>
                  <a:pt x="3050319" y="1013981"/>
                  <a:pt x="3048497" y="1013981"/>
                </a:cubicBezTo>
                <a:cubicBezTo>
                  <a:pt x="3046675" y="1015803"/>
                  <a:pt x="3048497" y="1021270"/>
                  <a:pt x="3044853" y="1021270"/>
                </a:cubicBezTo>
                <a:cubicBezTo>
                  <a:pt x="3044853" y="1021270"/>
                  <a:pt x="3046675" y="1023092"/>
                  <a:pt x="3046675" y="1024914"/>
                </a:cubicBezTo>
                <a:lnTo>
                  <a:pt x="3052372" y="1025565"/>
                </a:lnTo>
                <a:lnTo>
                  <a:pt x="3053508" y="1028786"/>
                </a:lnTo>
                <a:cubicBezTo>
                  <a:pt x="3055331" y="1030380"/>
                  <a:pt x="3057608" y="1032203"/>
                  <a:pt x="3057608" y="1034025"/>
                </a:cubicBezTo>
                <a:cubicBezTo>
                  <a:pt x="3061253" y="1034025"/>
                  <a:pt x="3057608" y="1030381"/>
                  <a:pt x="3057608" y="1026736"/>
                </a:cubicBezTo>
                <a:lnTo>
                  <a:pt x="3055038" y="1025879"/>
                </a:lnTo>
                <a:lnTo>
                  <a:pt x="3061253" y="1026736"/>
                </a:lnTo>
                <a:cubicBezTo>
                  <a:pt x="3057608" y="1026736"/>
                  <a:pt x="3059430" y="1021270"/>
                  <a:pt x="3055786" y="1021270"/>
                </a:cubicBezTo>
                <a:cubicBezTo>
                  <a:pt x="3063075" y="1019448"/>
                  <a:pt x="3055786" y="1017625"/>
                  <a:pt x="3055786" y="1012159"/>
                </a:cubicBezTo>
                <a:close/>
                <a:moveTo>
                  <a:pt x="3017521" y="1012159"/>
                </a:moveTo>
                <a:cubicBezTo>
                  <a:pt x="3017521" y="1026736"/>
                  <a:pt x="3022987" y="1015803"/>
                  <a:pt x="3024809" y="1015803"/>
                </a:cubicBezTo>
                <a:cubicBezTo>
                  <a:pt x="3022987" y="1013981"/>
                  <a:pt x="3021165" y="1012159"/>
                  <a:pt x="3017521" y="1012159"/>
                </a:cubicBezTo>
                <a:close/>
                <a:moveTo>
                  <a:pt x="1164370" y="1012159"/>
                </a:moveTo>
                <a:lnTo>
                  <a:pt x="1165120" y="1012909"/>
                </a:lnTo>
                <a:lnTo>
                  <a:pt x="1163914" y="1019903"/>
                </a:lnTo>
                <a:lnTo>
                  <a:pt x="1163417" y="1020942"/>
                </a:lnTo>
                <a:lnTo>
                  <a:pt x="1163003" y="1019220"/>
                </a:lnTo>
                <a:cubicBezTo>
                  <a:pt x="1163459" y="1017170"/>
                  <a:pt x="1164370" y="1014892"/>
                  <a:pt x="1164370" y="1012159"/>
                </a:cubicBezTo>
                <a:close/>
                <a:moveTo>
                  <a:pt x="462832" y="1012159"/>
                </a:moveTo>
                <a:cubicBezTo>
                  <a:pt x="462832" y="1016715"/>
                  <a:pt x="464199" y="1020815"/>
                  <a:pt x="465110" y="1024687"/>
                </a:cubicBezTo>
                <a:lnTo>
                  <a:pt x="464970" y="1028120"/>
                </a:lnTo>
                <a:close/>
                <a:moveTo>
                  <a:pt x="335280" y="1012159"/>
                </a:moveTo>
                <a:cubicBezTo>
                  <a:pt x="333458" y="1013981"/>
                  <a:pt x="337102" y="1017625"/>
                  <a:pt x="337102" y="1015803"/>
                </a:cubicBezTo>
                <a:cubicBezTo>
                  <a:pt x="338926" y="1015803"/>
                  <a:pt x="337102" y="1013981"/>
                  <a:pt x="338926" y="1013981"/>
                </a:cubicBezTo>
                <a:cubicBezTo>
                  <a:pt x="338926" y="1013981"/>
                  <a:pt x="337102" y="1013981"/>
                  <a:pt x="335280" y="1012159"/>
                </a:cubicBezTo>
                <a:close/>
                <a:moveTo>
                  <a:pt x="298837" y="1012159"/>
                </a:moveTo>
                <a:lnTo>
                  <a:pt x="301252" y="1016735"/>
                </a:lnTo>
                <a:lnTo>
                  <a:pt x="300660" y="1017625"/>
                </a:lnTo>
                <a:lnTo>
                  <a:pt x="301949" y="1018055"/>
                </a:lnTo>
                <a:lnTo>
                  <a:pt x="303164" y="1020358"/>
                </a:lnTo>
                <a:cubicBezTo>
                  <a:pt x="305214" y="1022636"/>
                  <a:pt x="307947" y="1024003"/>
                  <a:pt x="311592" y="1023092"/>
                </a:cubicBezTo>
                <a:cubicBezTo>
                  <a:pt x="317059" y="1019448"/>
                  <a:pt x="311592" y="1015803"/>
                  <a:pt x="304303" y="1015803"/>
                </a:cubicBezTo>
                <a:cubicBezTo>
                  <a:pt x="306126" y="1017625"/>
                  <a:pt x="304303" y="1017625"/>
                  <a:pt x="306126" y="1019448"/>
                </a:cubicBezTo>
                <a:lnTo>
                  <a:pt x="301949" y="1018055"/>
                </a:lnTo>
                <a:lnTo>
                  <a:pt x="301252" y="1016735"/>
                </a:lnTo>
                <a:lnTo>
                  <a:pt x="304303" y="1012159"/>
                </a:lnTo>
                <a:cubicBezTo>
                  <a:pt x="302481" y="1010337"/>
                  <a:pt x="300660" y="1012159"/>
                  <a:pt x="298837" y="1012159"/>
                </a:cubicBezTo>
                <a:close/>
                <a:moveTo>
                  <a:pt x="247816" y="1012159"/>
                </a:moveTo>
                <a:cubicBezTo>
                  <a:pt x="251460" y="1015803"/>
                  <a:pt x="253282" y="1013981"/>
                  <a:pt x="255105" y="1015803"/>
                </a:cubicBezTo>
                <a:cubicBezTo>
                  <a:pt x="255105" y="1013981"/>
                  <a:pt x="249638" y="1010337"/>
                  <a:pt x="247816" y="1012159"/>
                </a:cubicBezTo>
                <a:close/>
                <a:moveTo>
                  <a:pt x="911253" y="1011825"/>
                </a:moveTo>
                <a:lnTo>
                  <a:pt x="911543" y="1012842"/>
                </a:lnTo>
                <a:lnTo>
                  <a:pt x="911475" y="1013827"/>
                </a:lnTo>
                <a:close/>
                <a:moveTo>
                  <a:pt x="1165318" y="1011759"/>
                </a:moveTo>
                <a:lnTo>
                  <a:pt x="1168014" y="1015803"/>
                </a:lnTo>
                <a:lnTo>
                  <a:pt x="1165120" y="1012909"/>
                </a:lnTo>
                <a:close/>
                <a:moveTo>
                  <a:pt x="287676" y="1011703"/>
                </a:moveTo>
                <a:cubicBezTo>
                  <a:pt x="285626" y="1009881"/>
                  <a:pt x="283348" y="1009425"/>
                  <a:pt x="280615" y="1012159"/>
                </a:cubicBezTo>
                <a:cubicBezTo>
                  <a:pt x="286082" y="1013981"/>
                  <a:pt x="289726" y="1017625"/>
                  <a:pt x="293370" y="1019448"/>
                </a:cubicBezTo>
                <a:cubicBezTo>
                  <a:pt x="291549" y="1016714"/>
                  <a:pt x="289726" y="1013525"/>
                  <a:pt x="287676" y="1011703"/>
                </a:cubicBezTo>
                <a:close/>
                <a:moveTo>
                  <a:pt x="1025884" y="1010337"/>
                </a:moveTo>
                <a:cubicBezTo>
                  <a:pt x="1024062" y="1012159"/>
                  <a:pt x="1024062" y="1012159"/>
                  <a:pt x="1022240" y="1013981"/>
                </a:cubicBezTo>
                <a:cubicBezTo>
                  <a:pt x="1024062" y="1015803"/>
                  <a:pt x="1025884" y="1015803"/>
                  <a:pt x="1027707" y="1013981"/>
                </a:cubicBezTo>
                <a:cubicBezTo>
                  <a:pt x="1027707" y="1012159"/>
                  <a:pt x="1027707" y="1012159"/>
                  <a:pt x="1025884" y="1010337"/>
                </a:cubicBezTo>
                <a:close/>
                <a:moveTo>
                  <a:pt x="679671" y="1010337"/>
                </a:moveTo>
                <a:cubicBezTo>
                  <a:pt x="672383" y="1017625"/>
                  <a:pt x="683316" y="1012159"/>
                  <a:pt x="683316" y="1012159"/>
                </a:cubicBezTo>
                <a:cubicBezTo>
                  <a:pt x="681493" y="1012159"/>
                  <a:pt x="681493" y="1010337"/>
                  <a:pt x="679671" y="1010337"/>
                </a:cubicBezTo>
                <a:close/>
                <a:moveTo>
                  <a:pt x="313414" y="1010337"/>
                </a:moveTo>
                <a:cubicBezTo>
                  <a:pt x="313414" y="1012159"/>
                  <a:pt x="315236" y="1013981"/>
                  <a:pt x="317059" y="1015803"/>
                </a:cubicBezTo>
                <a:cubicBezTo>
                  <a:pt x="318882" y="1012159"/>
                  <a:pt x="318882" y="1012159"/>
                  <a:pt x="322525" y="1012159"/>
                </a:cubicBezTo>
                <a:cubicBezTo>
                  <a:pt x="318882" y="1010337"/>
                  <a:pt x="317059" y="1010337"/>
                  <a:pt x="313414" y="1010337"/>
                </a:cubicBezTo>
                <a:close/>
                <a:moveTo>
                  <a:pt x="231416" y="1010337"/>
                </a:moveTo>
                <a:cubicBezTo>
                  <a:pt x="231416" y="1012159"/>
                  <a:pt x="238705" y="1019448"/>
                  <a:pt x="240527" y="1019448"/>
                </a:cubicBezTo>
                <a:cubicBezTo>
                  <a:pt x="240527" y="1015803"/>
                  <a:pt x="233239" y="1012159"/>
                  <a:pt x="231416" y="1010337"/>
                </a:cubicBezTo>
                <a:close/>
                <a:moveTo>
                  <a:pt x="1076905" y="1008515"/>
                </a:moveTo>
                <a:cubicBezTo>
                  <a:pt x="1075083" y="1012159"/>
                  <a:pt x="1071439" y="1013981"/>
                  <a:pt x="1075083" y="1019448"/>
                </a:cubicBezTo>
                <a:cubicBezTo>
                  <a:pt x="1076905" y="1015803"/>
                  <a:pt x="1082373" y="1012159"/>
                  <a:pt x="1076905" y="1008515"/>
                </a:cubicBezTo>
                <a:close/>
                <a:moveTo>
                  <a:pt x="1013129" y="1008515"/>
                </a:moveTo>
                <a:cubicBezTo>
                  <a:pt x="1013129" y="1008515"/>
                  <a:pt x="1009485" y="1010337"/>
                  <a:pt x="1011307" y="1012159"/>
                </a:cubicBezTo>
                <a:cubicBezTo>
                  <a:pt x="1013129" y="1010337"/>
                  <a:pt x="1013129" y="1010337"/>
                  <a:pt x="1014951" y="1010337"/>
                </a:cubicBezTo>
                <a:cubicBezTo>
                  <a:pt x="1014951" y="1010337"/>
                  <a:pt x="1013129" y="1008515"/>
                  <a:pt x="1013129" y="1008515"/>
                </a:cubicBezTo>
                <a:close/>
                <a:moveTo>
                  <a:pt x="854600" y="1008515"/>
                </a:moveTo>
                <a:cubicBezTo>
                  <a:pt x="852778" y="1013981"/>
                  <a:pt x="856422" y="1023092"/>
                  <a:pt x="861889" y="1026736"/>
                </a:cubicBezTo>
                <a:cubicBezTo>
                  <a:pt x="861889" y="1021270"/>
                  <a:pt x="861889" y="1012159"/>
                  <a:pt x="854600" y="1008515"/>
                </a:cubicBezTo>
                <a:close/>
                <a:moveTo>
                  <a:pt x="710648" y="1008515"/>
                </a:moveTo>
                <a:cubicBezTo>
                  <a:pt x="708826" y="1010337"/>
                  <a:pt x="707004" y="1015803"/>
                  <a:pt x="714293" y="1019448"/>
                </a:cubicBezTo>
                <a:cubicBezTo>
                  <a:pt x="717937" y="1015803"/>
                  <a:pt x="712470" y="1012159"/>
                  <a:pt x="710648" y="1008515"/>
                </a:cubicBezTo>
                <a:close/>
                <a:moveTo>
                  <a:pt x="697893" y="1008515"/>
                </a:moveTo>
                <a:cubicBezTo>
                  <a:pt x="694249" y="1010337"/>
                  <a:pt x="699715" y="1010337"/>
                  <a:pt x="701537" y="1012159"/>
                </a:cubicBezTo>
                <a:cubicBezTo>
                  <a:pt x="703359" y="1013981"/>
                  <a:pt x="699715" y="1013981"/>
                  <a:pt x="699715" y="1012159"/>
                </a:cubicBezTo>
                <a:cubicBezTo>
                  <a:pt x="697893" y="1013981"/>
                  <a:pt x="703359" y="1015803"/>
                  <a:pt x="705182" y="1017625"/>
                </a:cubicBezTo>
                <a:cubicBezTo>
                  <a:pt x="705182" y="1013981"/>
                  <a:pt x="703359" y="1012159"/>
                  <a:pt x="703359" y="1008515"/>
                </a:cubicBezTo>
                <a:cubicBezTo>
                  <a:pt x="701537" y="1008515"/>
                  <a:pt x="699715" y="1008515"/>
                  <a:pt x="697893" y="1008515"/>
                </a:cubicBezTo>
                <a:close/>
                <a:moveTo>
                  <a:pt x="632296" y="1008515"/>
                </a:moveTo>
                <a:cubicBezTo>
                  <a:pt x="630472" y="1012159"/>
                  <a:pt x="637761" y="1013981"/>
                  <a:pt x="641407" y="1017625"/>
                </a:cubicBezTo>
                <a:cubicBezTo>
                  <a:pt x="643228" y="1015803"/>
                  <a:pt x="643228" y="1013981"/>
                  <a:pt x="643228" y="1012159"/>
                </a:cubicBezTo>
                <a:cubicBezTo>
                  <a:pt x="639583" y="1010337"/>
                  <a:pt x="635939" y="1010337"/>
                  <a:pt x="632296" y="1008515"/>
                </a:cubicBezTo>
                <a:close/>
                <a:moveTo>
                  <a:pt x="572163" y="1008515"/>
                </a:moveTo>
                <a:cubicBezTo>
                  <a:pt x="573985" y="1015803"/>
                  <a:pt x="573985" y="1017625"/>
                  <a:pt x="581274" y="1015803"/>
                </a:cubicBezTo>
                <a:cubicBezTo>
                  <a:pt x="577630" y="1013981"/>
                  <a:pt x="577630" y="1010337"/>
                  <a:pt x="572163" y="1008515"/>
                </a:cubicBezTo>
                <a:close/>
                <a:moveTo>
                  <a:pt x="189506" y="1008515"/>
                </a:moveTo>
                <a:cubicBezTo>
                  <a:pt x="193151" y="1023092"/>
                  <a:pt x="205906" y="1024914"/>
                  <a:pt x="216839" y="1028559"/>
                </a:cubicBezTo>
                <a:cubicBezTo>
                  <a:pt x="215017" y="1026736"/>
                  <a:pt x="213195" y="1024914"/>
                  <a:pt x="211372" y="1023092"/>
                </a:cubicBezTo>
                <a:cubicBezTo>
                  <a:pt x="211372" y="1023092"/>
                  <a:pt x="213195" y="1024914"/>
                  <a:pt x="215017" y="1024914"/>
                </a:cubicBezTo>
                <a:cubicBezTo>
                  <a:pt x="216839" y="1023092"/>
                  <a:pt x="215017" y="1021270"/>
                  <a:pt x="215017" y="1021270"/>
                </a:cubicBezTo>
                <a:cubicBezTo>
                  <a:pt x="207728" y="1017625"/>
                  <a:pt x="202262" y="1015803"/>
                  <a:pt x="196795" y="1015803"/>
                </a:cubicBezTo>
                <a:cubicBezTo>
                  <a:pt x="196795" y="1015803"/>
                  <a:pt x="196795" y="1015803"/>
                  <a:pt x="198617" y="1013981"/>
                </a:cubicBezTo>
                <a:cubicBezTo>
                  <a:pt x="194973" y="1012159"/>
                  <a:pt x="193151" y="1008515"/>
                  <a:pt x="189506" y="1008515"/>
                </a:cubicBezTo>
                <a:close/>
                <a:moveTo>
                  <a:pt x="2970827" y="1008059"/>
                </a:moveTo>
                <a:cubicBezTo>
                  <a:pt x="2968322" y="1008970"/>
                  <a:pt x="2965589" y="1010337"/>
                  <a:pt x="2962855" y="1010337"/>
                </a:cubicBezTo>
                <a:cubicBezTo>
                  <a:pt x="2964677" y="1019448"/>
                  <a:pt x="2962855" y="1023092"/>
                  <a:pt x="2955566" y="1024914"/>
                </a:cubicBezTo>
                <a:cubicBezTo>
                  <a:pt x="2955566" y="1024914"/>
                  <a:pt x="2955566" y="1024914"/>
                  <a:pt x="2953744" y="1023092"/>
                </a:cubicBezTo>
                <a:cubicBezTo>
                  <a:pt x="2959211" y="1023092"/>
                  <a:pt x="2966500" y="1015803"/>
                  <a:pt x="2961033" y="1013981"/>
                </a:cubicBezTo>
                <a:cubicBezTo>
                  <a:pt x="2951922" y="1010337"/>
                  <a:pt x="2950100" y="1023092"/>
                  <a:pt x="2940989" y="1024914"/>
                </a:cubicBezTo>
                <a:cubicBezTo>
                  <a:pt x="2948278" y="1037669"/>
                  <a:pt x="2961033" y="1043136"/>
                  <a:pt x="2973788" y="1044958"/>
                </a:cubicBezTo>
                <a:cubicBezTo>
                  <a:pt x="2975610" y="1046780"/>
                  <a:pt x="2975610" y="1050425"/>
                  <a:pt x="2977432" y="1052247"/>
                </a:cubicBezTo>
                <a:cubicBezTo>
                  <a:pt x="2979255" y="1050425"/>
                  <a:pt x="2979255" y="1046780"/>
                  <a:pt x="2977432" y="1044958"/>
                </a:cubicBezTo>
                <a:cubicBezTo>
                  <a:pt x="2984721" y="1046780"/>
                  <a:pt x="2986543" y="1055891"/>
                  <a:pt x="2988366" y="1057713"/>
                </a:cubicBezTo>
                <a:lnTo>
                  <a:pt x="3030457" y="1093069"/>
                </a:lnTo>
                <a:lnTo>
                  <a:pt x="3028453" y="1092335"/>
                </a:lnTo>
                <a:cubicBezTo>
                  <a:pt x="3028453" y="1095979"/>
                  <a:pt x="3033920" y="1095979"/>
                  <a:pt x="3035742" y="1097801"/>
                </a:cubicBezTo>
                <a:cubicBezTo>
                  <a:pt x="3037564" y="1099623"/>
                  <a:pt x="3041209" y="1101445"/>
                  <a:pt x="3041209" y="1105090"/>
                </a:cubicBezTo>
                <a:cubicBezTo>
                  <a:pt x="3041209" y="1099623"/>
                  <a:pt x="3043031" y="1095979"/>
                  <a:pt x="3044853" y="1092335"/>
                </a:cubicBezTo>
                <a:cubicBezTo>
                  <a:pt x="3044853" y="1097801"/>
                  <a:pt x="3052142" y="1097801"/>
                  <a:pt x="3055786" y="1099623"/>
                </a:cubicBezTo>
                <a:cubicBezTo>
                  <a:pt x="3048497" y="1099623"/>
                  <a:pt x="3057608" y="1108734"/>
                  <a:pt x="3053964" y="1114201"/>
                </a:cubicBezTo>
                <a:cubicBezTo>
                  <a:pt x="3048497" y="1114201"/>
                  <a:pt x="3050319" y="1108734"/>
                  <a:pt x="3044853" y="1110556"/>
                </a:cubicBezTo>
                <a:lnTo>
                  <a:pt x="3045945" y="1121257"/>
                </a:lnTo>
                <a:lnTo>
                  <a:pt x="3039159" y="1115795"/>
                </a:lnTo>
                <a:lnTo>
                  <a:pt x="3035706" y="1114692"/>
                </a:lnTo>
                <a:lnTo>
                  <a:pt x="3035742" y="1114201"/>
                </a:lnTo>
                <a:lnTo>
                  <a:pt x="3033902" y="1114117"/>
                </a:lnTo>
                <a:lnTo>
                  <a:pt x="3028453" y="1112378"/>
                </a:lnTo>
                <a:cubicBezTo>
                  <a:pt x="3028453" y="1115111"/>
                  <a:pt x="3029365" y="1114656"/>
                  <a:pt x="3030731" y="1113972"/>
                </a:cubicBezTo>
                <a:lnTo>
                  <a:pt x="3033902" y="1114117"/>
                </a:lnTo>
                <a:lnTo>
                  <a:pt x="3035706" y="1114692"/>
                </a:lnTo>
                <a:lnTo>
                  <a:pt x="3035287" y="1120350"/>
                </a:lnTo>
                <a:cubicBezTo>
                  <a:pt x="3036654" y="1121489"/>
                  <a:pt x="3038476" y="1122400"/>
                  <a:pt x="3037564" y="1125134"/>
                </a:cubicBezTo>
                <a:cubicBezTo>
                  <a:pt x="3033009" y="1125134"/>
                  <a:pt x="3030276" y="1121489"/>
                  <a:pt x="3027542" y="1118300"/>
                </a:cubicBezTo>
                <a:lnTo>
                  <a:pt x="3026727" y="1117967"/>
                </a:lnTo>
                <a:lnTo>
                  <a:pt x="3026631" y="1117845"/>
                </a:lnTo>
                <a:lnTo>
                  <a:pt x="3026670" y="1117944"/>
                </a:lnTo>
                <a:lnTo>
                  <a:pt x="3017521" y="1114201"/>
                </a:lnTo>
                <a:cubicBezTo>
                  <a:pt x="3015698" y="1112378"/>
                  <a:pt x="3021165" y="1106912"/>
                  <a:pt x="3017521" y="1103268"/>
                </a:cubicBezTo>
                <a:cubicBezTo>
                  <a:pt x="3015698" y="1106912"/>
                  <a:pt x="3012054" y="1110556"/>
                  <a:pt x="3013876" y="1117845"/>
                </a:cubicBezTo>
                <a:cubicBezTo>
                  <a:pt x="3010232" y="1112378"/>
                  <a:pt x="3001121" y="1106912"/>
                  <a:pt x="3001121" y="1095979"/>
                </a:cubicBezTo>
                <a:cubicBezTo>
                  <a:pt x="2997477" y="1097801"/>
                  <a:pt x="2995654" y="1097801"/>
                  <a:pt x="2995654" y="1101445"/>
                </a:cubicBezTo>
                <a:cubicBezTo>
                  <a:pt x="2995654" y="1101445"/>
                  <a:pt x="2995654" y="1099623"/>
                  <a:pt x="2997477" y="1099623"/>
                </a:cubicBezTo>
                <a:cubicBezTo>
                  <a:pt x="2999299" y="1103268"/>
                  <a:pt x="2995654" y="1103268"/>
                  <a:pt x="2995654" y="1105090"/>
                </a:cubicBezTo>
                <a:cubicBezTo>
                  <a:pt x="2992010" y="1097801"/>
                  <a:pt x="2990188" y="1095979"/>
                  <a:pt x="2990188" y="1086868"/>
                </a:cubicBezTo>
                <a:cubicBezTo>
                  <a:pt x="2986543" y="1086868"/>
                  <a:pt x="2982899" y="1094157"/>
                  <a:pt x="2982899" y="1086868"/>
                </a:cubicBezTo>
                <a:cubicBezTo>
                  <a:pt x="2975610" y="1090512"/>
                  <a:pt x="2988366" y="1101445"/>
                  <a:pt x="2979255" y="1101445"/>
                </a:cubicBezTo>
                <a:cubicBezTo>
                  <a:pt x="2979255" y="1105090"/>
                  <a:pt x="2982899" y="1106912"/>
                  <a:pt x="2982899" y="1110556"/>
                </a:cubicBezTo>
                <a:cubicBezTo>
                  <a:pt x="2977432" y="1116023"/>
                  <a:pt x="2973788" y="1106912"/>
                  <a:pt x="2968322" y="1105090"/>
                </a:cubicBezTo>
                <a:cubicBezTo>
                  <a:pt x="2968322" y="1103268"/>
                  <a:pt x="2971966" y="1101445"/>
                  <a:pt x="2968322" y="1099623"/>
                </a:cubicBezTo>
                <a:cubicBezTo>
                  <a:pt x="2966500" y="1097801"/>
                  <a:pt x="2966500" y="1099623"/>
                  <a:pt x="2966500" y="1101445"/>
                </a:cubicBezTo>
                <a:cubicBezTo>
                  <a:pt x="2962855" y="1101445"/>
                  <a:pt x="2962855" y="1099623"/>
                  <a:pt x="2962855" y="1095979"/>
                </a:cubicBezTo>
                <a:cubicBezTo>
                  <a:pt x="2964677" y="1094157"/>
                  <a:pt x="2968322" y="1099623"/>
                  <a:pt x="2968322" y="1095979"/>
                </a:cubicBezTo>
                <a:cubicBezTo>
                  <a:pt x="2970144" y="1097801"/>
                  <a:pt x="2971966" y="1099623"/>
                  <a:pt x="2971966" y="1101445"/>
                </a:cubicBezTo>
                <a:cubicBezTo>
                  <a:pt x="2977432" y="1099623"/>
                  <a:pt x="2971966" y="1094157"/>
                  <a:pt x="2973788" y="1090512"/>
                </a:cubicBezTo>
                <a:cubicBezTo>
                  <a:pt x="2968322" y="1095979"/>
                  <a:pt x="2970144" y="1085046"/>
                  <a:pt x="2968322" y="1081402"/>
                </a:cubicBezTo>
                <a:cubicBezTo>
                  <a:pt x="2966500" y="1079579"/>
                  <a:pt x="2966500" y="1081402"/>
                  <a:pt x="2966500" y="1083224"/>
                </a:cubicBezTo>
                <a:cubicBezTo>
                  <a:pt x="2959211" y="1079579"/>
                  <a:pt x="2968322" y="1074113"/>
                  <a:pt x="2970144" y="1072291"/>
                </a:cubicBezTo>
                <a:cubicBezTo>
                  <a:pt x="2970144" y="1070469"/>
                  <a:pt x="2968322" y="1070469"/>
                  <a:pt x="2966500" y="1070469"/>
                </a:cubicBezTo>
                <a:cubicBezTo>
                  <a:pt x="2964677" y="1066824"/>
                  <a:pt x="2968322" y="1066824"/>
                  <a:pt x="2970144" y="1065002"/>
                </a:cubicBezTo>
                <a:cubicBezTo>
                  <a:pt x="2973788" y="1068646"/>
                  <a:pt x="2977432" y="1074113"/>
                  <a:pt x="2986543" y="1074113"/>
                </a:cubicBezTo>
                <a:cubicBezTo>
                  <a:pt x="2986543" y="1070469"/>
                  <a:pt x="2982899" y="1065002"/>
                  <a:pt x="2986543" y="1065002"/>
                </a:cubicBezTo>
                <a:cubicBezTo>
                  <a:pt x="2982899" y="1065002"/>
                  <a:pt x="2981077" y="1057713"/>
                  <a:pt x="2975610" y="1063180"/>
                </a:cubicBezTo>
                <a:cubicBezTo>
                  <a:pt x="2971966" y="1054069"/>
                  <a:pt x="2961033" y="1037669"/>
                  <a:pt x="2950100" y="1043136"/>
                </a:cubicBezTo>
                <a:cubicBezTo>
                  <a:pt x="2948278" y="1044958"/>
                  <a:pt x="2948278" y="1046780"/>
                  <a:pt x="2948278" y="1048602"/>
                </a:cubicBezTo>
                <a:cubicBezTo>
                  <a:pt x="2942811" y="1046780"/>
                  <a:pt x="2937345" y="1041314"/>
                  <a:pt x="2937345" y="1034025"/>
                </a:cubicBezTo>
                <a:cubicBezTo>
                  <a:pt x="2940989" y="1037669"/>
                  <a:pt x="2942811" y="1043136"/>
                  <a:pt x="2950100" y="1039492"/>
                </a:cubicBezTo>
                <a:cubicBezTo>
                  <a:pt x="2944634" y="1034025"/>
                  <a:pt x="2939167" y="1030381"/>
                  <a:pt x="2931878" y="1026736"/>
                </a:cubicBezTo>
                <a:cubicBezTo>
                  <a:pt x="2919123" y="1048602"/>
                  <a:pt x="2889968" y="1063180"/>
                  <a:pt x="2888146" y="1097801"/>
                </a:cubicBezTo>
                <a:cubicBezTo>
                  <a:pt x="2897257" y="1094157"/>
                  <a:pt x="2904546" y="1086868"/>
                  <a:pt x="2906368" y="1077757"/>
                </a:cubicBezTo>
                <a:cubicBezTo>
                  <a:pt x="2908190" y="1077757"/>
                  <a:pt x="2910012" y="1079579"/>
                  <a:pt x="2911834" y="1079579"/>
                </a:cubicBezTo>
                <a:cubicBezTo>
                  <a:pt x="2906368" y="1090512"/>
                  <a:pt x="2884502" y="1099623"/>
                  <a:pt x="2900901" y="1110556"/>
                </a:cubicBezTo>
                <a:cubicBezTo>
                  <a:pt x="2895435" y="1112378"/>
                  <a:pt x="2893613" y="1103268"/>
                  <a:pt x="2891790" y="1105090"/>
                </a:cubicBezTo>
                <a:cubicBezTo>
                  <a:pt x="2879035" y="1114201"/>
                  <a:pt x="2868102" y="1130600"/>
                  <a:pt x="2868102" y="1147000"/>
                </a:cubicBezTo>
                <a:cubicBezTo>
                  <a:pt x="2868102" y="1147000"/>
                  <a:pt x="2866280" y="1143355"/>
                  <a:pt x="2862636" y="1145178"/>
                </a:cubicBezTo>
                <a:cubicBezTo>
                  <a:pt x="2862636" y="1148822"/>
                  <a:pt x="2864458" y="1148822"/>
                  <a:pt x="2868102" y="1148822"/>
                </a:cubicBezTo>
                <a:cubicBezTo>
                  <a:pt x="2860813" y="1150644"/>
                  <a:pt x="2866280" y="1154288"/>
                  <a:pt x="2868102" y="1159755"/>
                </a:cubicBezTo>
                <a:cubicBezTo>
                  <a:pt x="2868102" y="1161577"/>
                  <a:pt x="2864458" y="1161577"/>
                  <a:pt x="2862636" y="1161577"/>
                </a:cubicBezTo>
                <a:cubicBezTo>
                  <a:pt x="2862636" y="1157933"/>
                  <a:pt x="2866280" y="1157933"/>
                  <a:pt x="2864458" y="1154288"/>
                </a:cubicBezTo>
                <a:cubicBezTo>
                  <a:pt x="2855347" y="1152466"/>
                  <a:pt x="2849880" y="1161577"/>
                  <a:pt x="2848058" y="1168866"/>
                </a:cubicBezTo>
                <a:cubicBezTo>
                  <a:pt x="2840769" y="1174332"/>
                  <a:pt x="2835303" y="1181621"/>
                  <a:pt x="2833481" y="1190732"/>
                </a:cubicBezTo>
                <a:cubicBezTo>
                  <a:pt x="2837125" y="1188910"/>
                  <a:pt x="2840769" y="1194376"/>
                  <a:pt x="2840769" y="1188910"/>
                </a:cubicBezTo>
                <a:cubicBezTo>
                  <a:pt x="2842592" y="1190732"/>
                  <a:pt x="2844414" y="1192554"/>
                  <a:pt x="2844414" y="1196199"/>
                </a:cubicBezTo>
                <a:cubicBezTo>
                  <a:pt x="2862636" y="1188910"/>
                  <a:pt x="2876302" y="1181166"/>
                  <a:pt x="2891107" y="1175016"/>
                </a:cubicBezTo>
                <a:lnTo>
                  <a:pt x="2914365" y="1167412"/>
                </a:lnTo>
                <a:lnTo>
                  <a:pt x="2916162" y="1172966"/>
                </a:lnTo>
                <a:cubicBezTo>
                  <a:pt x="2918212" y="1174332"/>
                  <a:pt x="2920945" y="1174332"/>
                  <a:pt x="2922767" y="1172510"/>
                </a:cubicBezTo>
                <a:cubicBezTo>
                  <a:pt x="2932334" y="1179343"/>
                  <a:pt x="2948050" y="1184127"/>
                  <a:pt x="2959154" y="1179941"/>
                </a:cubicBezTo>
                <a:lnTo>
                  <a:pt x="2965515" y="1174785"/>
                </a:lnTo>
                <a:lnTo>
                  <a:pt x="2962855" y="1177977"/>
                </a:lnTo>
                <a:cubicBezTo>
                  <a:pt x="2964677" y="1177977"/>
                  <a:pt x="2966500" y="1177977"/>
                  <a:pt x="2968322" y="1177977"/>
                </a:cubicBezTo>
                <a:lnTo>
                  <a:pt x="2966377" y="1174087"/>
                </a:lnTo>
                <a:lnTo>
                  <a:pt x="2968322" y="1172510"/>
                </a:lnTo>
                <a:cubicBezTo>
                  <a:pt x="2964677" y="1165222"/>
                  <a:pt x="2957389" y="1172510"/>
                  <a:pt x="2951922" y="1170688"/>
                </a:cubicBezTo>
                <a:cubicBezTo>
                  <a:pt x="2951922" y="1165222"/>
                  <a:pt x="2961033" y="1165222"/>
                  <a:pt x="2961033" y="1159755"/>
                </a:cubicBezTo>
                <a:lnTo>
                  <a:pt x="2943961" y="1161381"/>
                </a:lnTo>
                <a:lnTo>
                  <a:pt x="2942811" y="1157933"/>
                </a:lnTo>
                <a:cubicBezTo>
                  <a:pt x="2942811" y="1156111"/>
                  <a:pt x="2948278" y="1157933"/>
                  <a:pt x="2948278" y="1156111"/>
                </a:cubicBezTo>
                <a:cubicBezTo>
                  <a:pt x="2951922" y="1156111"/>
                  <a:pt x="2946456" y="1157933"/>
                  <a:pt x="2950100" y="1159755"/>
                </a:cubicBezTo>
                <a:lnTo>
                  <a:pt x="2952322" y="1155844"/>
                </a:lnTo>
                <a:lnTo>
                  <a:pt x="2956706" y="1152922"/>
                </a:lnTo>
                <a:cubicBezTo>
                  <a:pt x="2957389" y="1151099"/>
                  <a:pt x="2957389" y="1148822"/>
                  <a:pt x="2957389" y="1147000"/>
                </a:cubicBezTo>
                <a:cubicBezTo>
                  <a:pt x="2959211" y="1145178"/>
                  <a:pt x="2962855" y="1145178"/>
                  <a:pt x="2962855" y="1141533"/>
                </a:cubicBezTo>
                <a:cubicBezTo>
                  <a:pt x="2961033" y="1141533"/>
                  <a:pt x="2959211" y="1141533"/>
                  <a:pt x="2957389" y="1141533"/>
                </a:cubicBezTo>
                <a:cubicBezTo>
                  <a:pt x="2957389" y="1139711"/>
                  <a:pt x="2961033" y="1139711"/>
                  <a:pt x="2959211" y="1136067"/>
                </a:cubicBezTo>
                <a:cubicBezTo>
                  <a:pt x="2962855" y="1137889"/>
                  <a:pt x="2966500" y="1141533"/>
                  <a:pt x="2970144" y="1139711"/>
                </a:cubicBezTo>
                <a:cubicBezTo>
                  <a:pt x="2973788" y="1137889"/>
                  <a:pt x="2961033" y="1136067"/>
                  <a:pt x="2966500" y="1130600"/>
                </a:cubicBezTo>
                <a:cubicBezTo>
                  <a:pt x="2975610" y="1132422"/>
                  <a:pt x="2973788" y="1152466"/>
                  <a:pt x="2962855" y="1147000"/>
                </a:cubicBezTo>
                <a:cubicBezTo>
                  <a:pt x="2961033" y="1154288"/>
                  <a:pt x="2961033" y="1165222"/>
                  <a:pt x="2970144" y="1159755"/>
                </a:cubicBezTo>
                <a:cubicBezTo>
                  <a:pt x="2970144" y="1163399"/>
                  <a:pt x="2968322" y="1163399"/>
                  <a:pt x="2964677" y="1163399"/>
                </a:cubicBezTo>
                <a:cubicBezTo>
                  <a:pt x="2964677" y="1174332"/>
                  <a:pt x="2970144" y="1170688"/>
                  <a:pt x="2975610" y="1177977"/>
                </a:cubicBezTo>
                <a:cubicBezTo>
                  <a:pt x="2975610" y="1174332"/>
                  <a:pt x="2977432" y="1174332"/>
                  <a:pt x="2977432" y="1170688"/>
                </a:cubicBezTo>
                <a:cubicBezTo>
                  <a:pt x="2978344" y="1171599"/>
                  <a:pt x="2979711" y="1172966"/>
                  <a:pt x="2981305" y="1173649"/>
                </a:cubicBezTo>
                <a:lnTo>
                  <a:pt x="2984135" y="1173034"/>
                </a:lnTo>
                <a:lnTo>
                  <a:pt x="2986543" y="1172510"/>
                </a:lnTo>
                <a:cubicBezTo>
                  <a:pt x="2984721" y="1174332"/>
                  <a:pt x="2985177" y="1175699"/>
                  <a:pt x="2985860" y="1177294"/>
                </a:cubicBezTo>
                <a:lnTo>
                  <a:pt x="2986460" y="1182697"/>
                </a:lnTo>
                <a:lnTo>
                  <a:pt x="2981077" y="1181621"/>
                </a:lnTo>
                <a:cubicBezTo>
                  <a:pt x="2981077" y="1188910"/>
                  <a:pt x="2986543" y="1187088"/>
                  <a:pt x="2986543" y="1192554"/>
                </a:cubicBezTo>
                <a:cubicBezTo>
                  <a:pt x="2990188" y="1190732"/>
                  <a:pt x="2986543" y="1187088"/>
                  <a:pt x="2990188" y="1183443"/>
                </a:cubicBezTo>
                <a:lnTo>
                  <a:pt x="2992010" y="1183443"/>
                </a:lnTo>
                <a:cubicBezTo>
                  <a:pt x="2992010" y="1177977"/>
                  <a:pt x="2993832" y="1177977"/>
                  <a:pt x="2997477" y="1179799"/>
                </a:cubicBezTo>
                <a:cubicBezTo>
                  <a:pt x="2995654" y="1174332"/>
                  <a:pt x="2999299" y="1174332"/>
                  <a:pt x="2999299" y="1168866"/>
                </a:cubicBezTo>
                <a:cubicBezTo>
                  <a:pt x="2995654" y="1168866"/>
                  <a:pt x="2995654" y="1172510"/>
                  <a:pt x="2992010" y="1170688"/>
                </a:cubicBezTo>
                <a:cubicBezTo>
                  <a:pt x="2988366" y="1170688"/>
                  <a:pt x="2990188" y="1165222"/>
                  <a:pt x="2990188" y="1163399"/>
                </a:cubicBezTo>
                <a:cubicBezTo>
                  <a:pt x="2992010" y="1167044"/>
                  <a:pt x="3001121" y="1165222"/>
                  <a:pt x="3001121" y="1161577"/>
                </a:cubicBezTo>
                <a:cubicBezTo>
                  <a:pt x="3004765" y="1165222"/>
                  <a:pt x="2999299" y="1167044"/>
                  <a:pt x="3002943" y="1172510"/>
                </a:cubicBezTo>
                <a:cubicBezTo>
                  <a:pt x="2993832" y="1172510"/>
                  <a:pt x="3008410" y="1176155"/>
                  <a:pt x="3012054" y="1177977"/>
                </a:cubicBezTo>
                <a:cubicBezTo>
                  <a:pt x="3013876" y="1172510"/>
                  <a:pt x="3006587" y="1168866"/>
                  <a:pt x="3010232" y="1163399"/>
                </a:cubicBezTo>
                <a:cubicBezTo>
                  <a:pt x="3008410" y="1163399"/>
                  <a:pt x="3006587" y="1163399"/>
                  <a:pt x="3004765" y="1163399"/>
                </a:cubicBezTo>
                <a:cubicBezTo>
                  <a:pt x="3006587" y="1161577"/>
                  <a:pt x="3012054" y="1154288"/>
                  <a:pt x="3006587" y="1152466"/>
                </a:cubicBezTo>
                <a:cubicBezTo>
                  <a:pt x="3006587" y="1150644"/>
                  <a:pt x="3008410" y="1150644"/>
                  <a:pt x="3010232" y="1150644"/>
                </a:cubicBezTo>
                <a:cubicBezTo>
                  <a:pt x="3008410" y="1148822"/>
                  <a:pt x="3008410" y="1143355"/>
                  <a:pt x="3002943" y="1143355"/>
                </a:cubicBezTo>
                <a:cubicBezTo>
                  <a:pt x="3004765" y="1136067"/>
                  <a:pt x="3001121" y="1132422"/>
                  <a:pt x="2999299" y="1128778"/>
                </a:cubicBezTo>
                <a:cubicBezTo>
                  <a:pt x="2993832" y="1132422"/>
                  <a:pt x="2993832" y="1121489"/>
                  <a:pt x="2986543" y="1126956"/>
                </a:cubicBezTo>
                <a:cubicBezTo>
                  <a:pt x="2981077" y="1123312"/>
                  <a:pt x="2988366" y="1117845"/>
                  <a:pt x="2984721" y="1114201"/>
                </a:cubicBezTo>
                <a:cubicBezTo>
                  <a:pt x="2988366" y="1112378"/>
                  <a:pt x="2990188" y="1114201"/>
                  <a:pt x="2990188" y="1116023"/>
                </a:cubicBezTo>
                <a:cubicBezTo>
                  <a:pt x="2990188" y="1123312"/>
                  <a:pt x="2997477" y="1121489"/>
                  <a:pt x="3001121" y="1125134"/>
                </a:cubicBezTo>
                <a:cubicBezTo>
                  <a:pt x="2997477" y="1121489"/>
                  <a:pt x="2999299" y="1117845"/>
                  <a:pt x="2999299" y="1110556"/>
                </a:cubicBezTo>
                <a:cubicBezTo>
                  <a:pt x="3002943" y="1114201"/>
                  <a:pt x="3002943" y="1117845"/>
                  <a:pt x="3004765" y="1121489"/>
                </a:cubicBezTo>
                <a:cubicBezTo>
                  <a:pt x="3006587" y="1119667"/>
                  <a:pt x="3006587" y="1119667"/>
                  <a:pt x="3006587" y="1117845"/>
                </a:cubicBezTo>
                <a:cubicBezTo>
                  <a:pt x="3006587" y="1122400"/>
                  <a:pt x="3007498" y="1130600"/>
                  <a:pt x="3010460" y="1137205"/>
                </a:cubicBezTo>
                <a:lnTo>
                  <a:pt x="3023192" y="1144917"/>
                </a:lnTo>
                <a:lnTo>
                  <a:pt x="3022987" y="1145178"/>
                </a:lnTo>
                <a:lnTo>
                  <a:pt x="3023387" y="1145035"/>
                </a:lnTo>
                <a:lnTo>
                  <a:pt x="3026631" y="1147000"/>
                </a:lnTo>
                <a:cubicBezTo>
                  <a:pt x="3027542" y="1144266"/>
                  <a:pt x="3027087" y="1143811"/>
                  <a:pt x="3026176" y="1144039"/>
                </a:cubicBezTo>
                <a:lnTo>
                  <a:pt x="3023387" y="1145035"/>
                </a:lnTo>
                <a:lnTo>
                  <a:pt x="3023192" y="1144917"/>
                </a:lnTo>
                <a:lnTo>
                  <a:pt x="3027087" y="1139939"/>
                </a:lnTo>
                <a:cubicBezTo>
                  <a:pt x="3028909" y="1139255"/>
                  <a:pt x="3030276" y="1138800"/>
                  <a:pt x="3028453" y="1136067"/>
                </a:cubicBezTo>
                <a:lnTo>
                  <a:pt x="3035742" y="1133151"/>
                </a:lnTo>
                <a:lnTo>
                  <a:pt x="3037564" y="1139711"/>
                </a:lnTo>
                <a:cubicBezTo>
                  <a:pt x="3043031" y="1136067"/>
                  <a:pt x="3035742" y="1141533"/>
                  <a:pt x="3039387" y="1143355"/>
                </a:cubicBezTo>
                <a:cubicBezTo>
                  <a:pt x="3037564" y="1145178"/>
                  <a:pt x="3037564" y="1145178"/>
                  <a:pt x="3035742" y="1147000"/>
                </a:cubicBezTo>
                <a:cubicBezTo>
                  <a:pt x="3033920" y="1152466"/>
                  <a:pt x="3039387" y="1152466"/>
                  <a:pt x="3043031" y="1154288"/>
                </a:cubicBezTo>
                <a:cubicBezTo>
                  <a:pt x="3044853" y="1152466"/>
                  <a:pt x="3043031" y="1147000"/>
                  <a:pt x="3044853" y="1143355"/>
                </a:cubicBezTo>
                <a:cubicBezTo>
                  <a:pt x="3044853" y="1143355"/>
                  <a:pt x="3048497" y="1143355"/>
                  <a:pt x="3048497" y="1145178"/>
                </a:cubicBezTo>
                <a:lnTo>
                  <a:pt x="3048498" y="1134245"/>
                </a:lnTo>
                <a:lnTo>
                  <a:pt x="3059430" y="1123312"/>
                </a:lnTo>
                <a:cubicBezTo>
                  <a:pt x="3061253" y="1123312"/>
                  <a:pt x="3059430" y="1128778"/>
                  <a:pt x="3061253" y="1128778"/>
                </a:cubicBezTo>
                <a:cubicBezTo>
                  <a:pt x="3061253" y="1128778"/>
                  <a:pt x="3059430" y="1130600"/>
                  <a:pt x="3057608" y="1130600"/>
                </a:cubicBezTo>
                <a:cubicBezTo>
                  <a:pt x="3057608" y="1134245"/>
                  <a:pt x="3064897" y="1128778"/>
                  <a:pt x="3063075" y="1132422"/>
                </a:cubicBezTo>
                <a:cubicBezTo>
                  <a:pt x="3063075" y="1134245"/>
                  <a:pt x="3059430" y="1134245"/>
                  <a:pt x="3057608" y="1134245"/>
                </a:cubicBezTo>
                <a:cubicBezTo>
                  <a:pt x="3057608" y="1137889"/>
                  <a:pt x="3057608" y="1141533"/>
                  <a:pt x="3059430" y="1143355"/>
                </a:cubicBezTo>
                <a:cubicBezTo>
                  <a:pt x="3057608" y="1145178"/>
                  <a:pt x="3055786" y="1139711"/>
                  <a:pt x="3052142" y="1141533"/>
                </a:cubicBezTo>
                <a:cubicBezTo>
                  <a:pt x="3048497" y="1143355"/>
                  <a:pt x="3050319" y="1150644"/>
                  <a:pt x="3052142" y="1154288"/>
                </a:cubicBezTo>
                <a:cubicBezTo>
                  <a:pt x="3059430" y="1154288"/>
                  <a:pt x="3064897" y="1150644"/>
                  <a:pt x="3074008" y="1150644"/>
                </a:cubicBezTo>
                <a:cubicBezTo>
                  <a:pt x="3074008" y="1147000"/>
                  <a:pt x="3074008" y="1145178"/>
                  <a:pt x="3074008" y="1143355"/>
                </a:cubicBezTo>
                <a:cubicBezTo>
                  <a:pt x="3077652" y="1145178"/>
                  <a:pt x="3075830" y="1150644"/>
                  <a:pt x="3081297" y="1148822"/>
                </a:cubicBezTo>
                <a:cubicBezTo>
                  <a:pt x="3079474" y="1143355"/>
                  <a:pt x="3081297" y="1143355"/>
                  <a:pt x="3081297" y="1137889"/>
                </a:cubicBezTo>
                <a:cubicBezTo>
                  <a:pt x="3077652" y="1137889"/>
                  <a:pt x="3075830" y="1136067"/>
                  <a:pt x="3074008" y="1134245"/>
                </a:cubicBezTo>
                <a:cubicBezTo>
                  <a:pt x="3075830" y="1130600"/>
                  <a:pt x="3081297" y="1130600"/>
                  <a:pt x="3084941" y="1132422"/>
                </a:cubicBezTo>
                <a:cubicBezTo>
                  <a:pt x="3084941" y="1130600"/>
                  <a:pt x="3086763" y="1125134"/>
                  <a:pt x="3083119" y="1126956"/>
                </a:cubicBezTo>
                <a:cubicBezTo>
                  <a:pt x="3083119" y="1123312"/>
                  <a:pt x="3088585" y="1126956"/>
                  <a:pt x="3086763" y="1121489"/>
                </a:cubicBezTo>
                <a:cubicBezTo>
                  <a:pt x="3090407" y="1123312"/>
                  <a:pt x="3088585" y="1126956"/>
                  <a:pt x="3094052" y="1125134"/>
                </a:cubicBezTo>
                <a:cubicBezTo>
                  <a:pt x="3094052" y="1128778"/>
                  <a:pt x="3094052" y="1130600"/>
                  <a:pt x="3094052" y="1132422"/>
                </a:cubicBezTo>
                <a:cubicBezTo>
                  <a:pt x="3092230" y="1136067"/>
                  <a:pt x="3086763" y="1132422"/>
                  <a:pt x="3084941" y="1134245"/>
                </a:cubicBezTo>
                <a:cubicBezTo>
                  <a:pt x="3083119" y="1136067"/>
                  <a:pt x="3084941" y="1137889"/>
                  <a:pt x="3083119" y="1141533"/>
                </a:cubicBezTo>
                <a:cubicBezTo>
                  <a:pt x="3086763" y="1139711"/>
                  <a:pt x="3086763" y="1141533"/>
                  <a:pt x="3086763" y="1145178"/>
                </a:cubicBezTo>
                <a:cubicBezTo>
                  <a:pt x="3092230" y="1145178"/>
                  <a:pt x="3090407" y="1145178"/>
                  <a:pt x="3094052" y="1145178"/>
                </a:cubicBezTo>
                <a:cubicBezTo>
                  <a:pt x="3094052" y="1141533"/>
                  <a:pt x="3092230" y="1137889"/>
                  <a:pt x="3095874" y="1137889"/>
                </a:cubicBezTo>
                <a:cubicBezTo>
                  <a:pt x="3099518" y="1137889"/>
                  <a:pt x="3094052" y="1141533"/>
                  <a:pt x="3097696" y="1143355"/>
                </a:cubicBezTo>
                <a:cubicBezTo>
                  <a:pt x="3101341" y="1136977"/>
                  <a:pt x="3100430" y="1131511"/>
                  <a:pt x="3098152" y="1125817"/>
                </a:cubicBezTo>
                <a:lnTo>
                  <a:pt x="3093962" y="1115589"/>
                </a:lnTo>
                <a:lnTo>
                  <a:pt x="3095874" y="1115111"/>
                </a:lnTo>
                <a:cubicBezTo>
                  <a:pt x="3096785" y="1116478"/>
                  <a:pt x="3097696" y="1118756"/>
                  <a:pt x="3099518" y="1119667"/>
                </a:cubicBezTo>
                <a:cubicBezTo>
                  <a:pt x="3104985" y="1119667"/>
                  <a:pt x="3104985" y="1112378"/>
                  <a:pt x="3104985" y="1106912"/>
                </a:cubicBezTo>
                <a:cubicBezTo>
                  <a:pt x="3107718" y="1106001"/>
                  <a:pt x="3108174" y="1107823"/>
                  <a:pt x="3108629" y="1109873"/>
                </a:cubicBezTo>
                <a:lnTo>
                  <a:pt x="3110725" y="1112362"/>
                </a:lnTo>
                <a:lnTo>
                  <a:pt x="3110451" y="1112378"/>
                </a:lnTo>
                <a:cubicBezTo>
                  <a:pt x="3112274" y="1112378"/>
                  <a:pt x="3112274" y="1112378"/>
                  <a:pt x="3112274" y="1114201"/>
                </a:cubicBezTo>
                <a:lnTo>
                  <a:pt x="3110725" y="1112362"/>
                </a:lnTo>
                <a:lnTo>
                  <a:pt x="3114323" y="1112150"/>
                </a:lnTo>
                <a:cubicBezTo>
                  <a:pt x="3116373" y="1112378"/>
                  <a:pt x="3118651" y="1112378"/>
                  <a:pt x="3119562" y="1110556"/>
                </a:cubicBezTo>
                <a:cubicBezTo>
                  <a:pt x="3119562" y="1105090"/>
                  <a:pt x="3117740" y="1105090"/>
                  <a:pt x="3115918" y="1101445"/>
                </a:cubicBezTo>
                <a:cubicBezTo>
                  <a:pt x="3119562" y="1101445"/>
                  <a:pt x="3119562" y="1105090"/>
                  <a:pt x="3123206" y="1103268"/>
                </a:cubicBezTo>
                <a:cubicBezTo>
                  <a:pt x="3125029" y="1101445"/>
                  <a:pt x="3121384" y="1095979"/>
                  <a:pt x="3125029" y="1095979"/>
                </a:cubicBezTo>
                <a:cubicBezTo>
                  <a:pt x="3125029" y="1092335"/>
                  <a:pt x="3119562" y="1094157"/>
                  <a:pt x="3119562" y="1090512"/>
                </a:cubicBezTo>
                <a:cubicBezTo>
                  <a:pt x="3123206" y="1086868"/>
                  <a:pt x="3126851" y="1083224"/>
                  <a:pt x="3132317" y="1077757"/>
                </a:cubicBezTo>
                <a:cubicBezTo>
                  <a:pt x="3126851" y="1075935"/>
                  <a:pt x="3125029" y="1072291"/>
                  <a:pt x="3119562" y="1072291"/>
                </a:cubicBezTo>
                <a:cubicBezTo>
                  <a:pt x="3119562" y="1074113"/>
                  <a:pt x="3119562" y="1075935"/>
                  <a:pt x="3119562" y="1077757"/>
                </a:cubicBezTo>
                <a:cubicBezTo>
                  <a:pt x="3115918" y="1075935"/>
                  <a:pt x="3114096" y="1072291"/>
                  <a:pt x="3106807" y="1074113"/>
                </a:cubicBezTo>
                <a:cubicBezTo>
                  <a:pt x="3103163" y="1072291"/>
                  <a:pt x="3101340" y="1075935"/>
                  <a:pt x="3099518" y="1075935"/>
                </a:cubicBezTo>
                <a:cubicBezTo>
                  <a:pt x="3099518" y="1077757"/>
                  <a:pt x="3101340" y="1077757"/>
                  <a:pt x="3101340" y="1079579"/>
                </a:cubicBezTo>
                <a:cubicBezTo>
                  <a:pt x="3097696" y="1081402"/>
                  <a:pt x="3099518" y="1075935"/>
                  <a:pt x="3094052" y="1077757"/>
                </a:cubicBezTo>
                <a:cubicBezTo>
                  <a:pt x="3095874" y="1077757"/>
                  <a:pt x="3095874" y="1079579"/>
                  <a:pt x="3095874" y="1081402"/>
                </a:cubicBezTo>
                <a:cubicBezTo>
                  <a:pt x="3092230" y="1079579"/>
                  <a:pt x="3088585" y="1079579"/>
                  <a:pt x="3083119" y="1079579"/>
                </a:cubicBezTo>
                <a:cubicBezTo>
                  <a:pt x="3081297" y="1083224"/>
                  <a:pt x="3081297" y="1088690"/>
                  <a:pt x="3079474" y="1092335"/>
                </a:cubicBezTo>
                <a:cubicBezTo>
                  <a:pt x="3077652" y="1090512"/>
                  <a:pt x="3081297" y="1083224"/>
                  <a:pt x="3077652" y="1081402"/>
                </a:cubicBezTo>
                <a:cubicBezTo>
                  <a:pt x="3075830" y="1083224"/>
                  <a:pt x="3070363" y="1083224"/>
                  <a:pt x="3070363" y="1077757"/>
                </a:cubicBezTo>
                <a:cubicBezTo>
                  <a:pt x="3061253" y="1077757"/>
                  <a:pt x="3059430" y="1086868"/>
                  <a:pt x="3052142" y="1088690"/>
                </a:cubicBezTo>
                <a:cubicBezTo>
                  <a:pt x="3053964" y="1083224"/>
                  <a:pt x="3059430" y="1079579"/>
                  <a:pt x="3064897" y="1072291"/>
                </a:cubicBezTo>
                <a:cubicBezTo>
                  <a:pt x="3072186" y="1063180"/>
                  <a:pt x="3063075" y="1052247"/>
                  <a:pt x="3059430" y="1043136"/>
                </a:cubicBezTo>
                <a:cubicBezTo>
                  <a:pt x="3055786" y="1052247"/>
                  <a:pt x="3066719" y="1059535"/>
                  <a:pt x="3055786" y="1063180"/>
                </a:cubicBezTo>
                <a:cubicBezTo>
                  <a:pt x="3055786" y="1061358"/>
                  <a:pt x="3055786" y="1059535"/>
                  <a:pt x="3055786" y="1057713"/>
                </a:cubicBezTo>
                <a:cubicBezTo>
                  <a:pt x="3050319" y="1048602"/>
                  <a:pt x="3050319" y="1052247"/>
                  <a:pt x="3053964" y="1041314"/>
                </a:cubicBezTo>
                <a:cubicBezTo>
                  <a:pt x="3048497" y="1043136"/>
                  <a:pt x="3048497" y="1037669"/>
                  <a:pt x="3046675" y="1039492"/>
                </a:cubicBezTo>
                <a:cubicBezTo>
                  <a:pt x="3044853" y="1039492"/>
                  <a:pt x="3050319" y="1043136"/>
                  <a:pt x="3048497" y="1044958"/>
                </a:cubicBezTo>
                <a:cubicBezTo>
                  <a:pt x="3041209" y="1048602"/>
                  <a:pt x="3039387" y="1039492"/>
                  <a:pt x="3037564" y="1034025"/>
                </a:cubicBezTo>
                <a:cubicBezTo>
                  <a:pt x="3033920" y="1039492"/>
                  <a:pt x="3032098" y="1037669"/>
                  <a:pt x="3026631" y="1039492"/>
                </a:cubicBezTo>
                <a:cubicBezTo>
                  <a:pt x="3026631" y="1034025"/>
                  <a:pt x="3019343" y="1034025"/>
                  <a:pt x="3019343" y="1026736"/>
                </a:cubicBezTo>
                <a:cubicBezTo>
                  <a:pt x="3013876" y="1028559"/>
                  <a:pt x="3015698" y="1034025"/>
                  <a:pt x="3017521" y="1035847"/>
                </a:cubicBezTo>
                <a:cubicBezTo>
                  <a:pt x="3015699" y="1034025"/>
                  <a:pt x="3012965" y="1033114"/>
                  <a:pt x="3010687" y="1031747"/>
                </a:cubicBezTo>
                <a:lnTo>
                  <a:pt x="3008260" y="1027701"/>
                </a:lnTo>
                <a:lnTo>
                  <a:pt x="3007300" y="1022238"/>
                </a:lnTo>
                <a:cubicBezTo>
                  <a:pt x="3002943" y="1018650"/>
                  <a:pt x="2990643" y="1021725"/>
                  <a:pt x="2986543" y="1017625"/>
                </a:cubicBezTo>
                <a:cubicBezTo>
                  <a:pt x="2988366" y="1015803"/>
                  <a:pt x="2990188" y="1015803"/>
                  <a:pt x="2992010" y="1015803"/>
                </a:cubicBezTo>
                <a:cubicBezTo>
                  <a:pt x="2992010" y="1010337"/>
                  <a:pt x="2984721" y="1006692"/>
                  <a:pt x="2981077" y="1010337"/>
                </a:cubicBezTo>
                <a:cubicBezTo>
                  <a:pt x="2979255" y="1012159"/>
                  <a:pt x="2986543" y="1015803"/>
                  <a:pt x="2984721" y="1017625"/>
                </a:cubicBezTo>
                <a:cubicBezTo>
                  <a:pt x="2984721" y="1023092"/>
                  <a:pt x="2979255" y="1015803"/>
                  <a:pt x="2975610" y="1017625"/>
                </a:cubicBezTo>
                <a:cubicBezTo>
                  <a:pt x="2975610" y="1013981"/>
                  <a:pt x="2979255" y="1010337"/>
                  <a:pt x="2977432" y="1008515"/>
                </a:cubicBezTo>
                <a:cubicBezTo>
                  <a:pt x="2975610" y="1006692"/>
                  <a:pt x="2973333" y="1007148"/>
                  <a:pt x="2970827" y="1008059"/>
                </a:cubicBezTo>
                <a:close/>
                <a:moveTo>
                  <a:pt x="531814" y="1007778"/>
                </a:moveTo>
                <a:lnTo>
                  <a:pt x="531976" y="1007891"/>
                </a:lnTo>
                <a:lnTo>
                  <a:pt x="531847" y="1007831"/>
                </a:lnTo>
                <a:close/>
                <a:moveTo>
                  <a:pt x="779892" y="1006741"/>
                </a:moveTo>
                <a:cubicBezTo>
                  <a:pt x="781713" y="1014031"/>
                  <a:pt x="785357" y="1019497"/>
                  <a:pt x="783535" y="1028608"/>
                </a:cubicBezTo>
                <a:cubicBezTo>
                  <a:pt x="776246" y="1019497"/>
                  <a:pt x="770781" y="1014031"/>
                  <a:pt x="779892" y="1006741"/>
                </a:cubicBezTo>
                <a:close/>
                <a:moveTo>
                  <a:pt x="3398355" y="1006692"/>
                </a:moveTo>
                <a:cubicBezTo>
                  <a:pt x="3394710" y="1004870"/>
                  <a:pt x="3389244" y="1008515"/>
                  <a:pt x="3385600" y="1010337"/>
                </a:cubicBezTo>
                <a:cubicBezTo>
                  <a:pt x="3387422" y="1015803"/>
                  <a:pt x="3389244" y="1026736"/>
                  <a:pt x="3396532" y="1024914"/>
                </a:cubicBezTo>
                <a:cubicBezTo>
                  <a:pt x="3400177" y="1023092"/>
                  <a:pt x="3398355" y="1012159"/>
                  <a:pt x="3405643" y="1012159"/>
                </a:cubicBezTo>
                <a:cubicBezTo>
                  <a:pt x="3403821" y="1008515"/>
                  <a:pt x="3398355" y="1013981"/>
                  <a:pt x="3396532" y="1012159"/>
                </a:cubicBezTo>
                <a:cubicBezTo>
                  <a:pt x="3394710" y="1012159"/>
                  <a:pt x="3400177" y="1008515"/>
                  <a:pt x="3398355" y="1006692"/>
                </a:cubicBezTo>
                <a:close/>
                <a:moveTo>
                  <a:pt x="3072186" y="1006692"/>
                </a:moveTo>
                <a:cubicBezTo>
                  <a:pt x="3068541" y="1006692"/>
                  <a:pt x="3072186" y="1012159"/>
                  <a:pt x="3072186" y="1015803"/>
                </a:cubicBezTo>
                <a:cubicBezTo>
                  <a:pt x="3075830" y="1013981"/>
                  <a:pt x="3074008" y="1010337"/>
                  <a:pt x="3072186" y="1006692"/>
                </a:cubicBezTo>
                <a:close/>
                <a:moveTo>
                  <a:pt x="1084194" y="1006692"/>
                </a:moveTo>
                <a:cubicBezTo>
                  <a:pt x="1084194" y="1010337"/>
                  <a:pt x="1082373" y="1012159"/>
                  <a:pt x="1082373" y="1015803"/>
                </a:cubicBezTo>
                <a:cubicBezTo>
                  <a:pt x="1084194" y="1017625"/>
                  <a:pt x="1082373" y="1012159"/>
                  <a:pt x="1084194" y="1012159"/>
                </a:cubicBezTo>
                <a:lnTo>
                  <a:pt x="1084194" y="1018991"/>
                </a:lnTo>
                <a:lnTo>
                  <a:pt x="1082371" y="1024003"/>
                </a:lnTo>
                <a:lnTo>
                  <a:pt x="1083384" y="1029571"/>
                </a:lnTo>
                <a:lnTo>
                  <a:pt x="1082373" y="1028559"/>
                </a:lnTo>
                <a:cubicBezTo>
                  <a:pt x="1084194" y="1030381"/>
                  <a:pt x="1086016" y="1032203"/>
                  <a:pt x="1084194" y="1034025"/>
                </a:cubicBezTo>
                <a:lnTo>
                  <a:pt x="1083384" y="1029571"/>
                </a:lnTo>
                <a:lnTo>
                  <a:pt x="1084194" y="1030381"/>
                </a:lnTo>
                <a:cubicBezTo>
                  <a:pt x="1087838" y="1026736"/>
                  <a:pt x="1084194" y="1024914"/>
                  <a:pt x="1084194" y="1021270"/>
                </a:cubicBezTo>
                <a:lnTo>
                  <a:pt x="1084194" y="1018991"/>
                </a:lnTo>
                <a:lnTo>
                  <a:pt x="1086016" y="1013981"/>
                </a:lnTo>
                <a:cubicBezTo>
                  <a:pt x="1086016" y="1013981"/>
                  <a:pt x="1084194" y="1012159"/>
                  <a:pt x="1084194" y="1012159"/>
                </a:cubicBezTo>
                <a:close/>
                <a:moveTo>
                  <a:pt x="1064151" y="1006692"/>
                </a:moveTo>
                <a:cubicBezTo>
                  <a:pt x="1062328" y="1006692"/>
                  <a:pt x="1056861" y="1006692"/>
                  <a:pt x="1058683" y="1010337"/>
                </a:cubicBezTo>
                <a:cubicBezTo>
                  <a:pt x="1055040" y="1008515"/>
                  <a:pt x="1051395" y="1013981"/>
                  <a:pt x="1045929" y="1017625"/>
                </a:cubicBezTo>
                <a:cubicBezTo>
                  <a:pt x="1038639" y="1021270"/>
                  <a:pt x="1033173" y="1023092"/>
                  <a:pt x="1042284" y="1026736"/>
                </a:cubicBezTo>
                <a:cubicBezTo>
                  <a:pt x="1045929" y="1024914"/>
                  <a:pt x="1049573" y="1028559"/>
                  <a:pt x="1053217" y="1024914"/>
                </a:cubicBezTo>
                <a:cubicBezTo>
                  <a:pt x="1055040" y="1026736"/>
                  <a:pt x="1053217" y="1030381"/>
                  <a:pt x="1055040" y="1028559"/>
                </a:cubicBezTo>
                <a:cubicBezTo>
                  <a:pt x="1056861" y="1026736"/>
                  <a:pt x="1055040" y="1024914"/>
                  <a:pt x="1053217" y="1021270"/>
                </a:cubicBezTo>
                <a:cubicBezTo>
                  <a:pt x="1055040" y="1021270"/>
                  <a:pt x="1055040" y="1019448"/>
                  <a:pt x="1055040" y="1017625"/>
                </a:cubicBezTo>
                <a:cubicBezTo>
                  <a:pt x="1056861" y="1017625"/>
                  <a:pt x="1058683" y="1021270"/>
                  <a:pt x="1060506" y="1021270"/>
                </a:cubicBezTo>
                <a:cubicBezTo>
                  <a:pt x="1062328" y="1019448"/>
                  <a:pt x="1058683" y="1019448"/>
                  <a:pt x="1060506" y="1017625"/>
                </a:cubicBezTo>
                <a:cubicBezTo>
                  <a:pt x="1062328" y="1017625"/>
                  <a:pt x="1062328" y="1021270"/>
                  <a:pt x="1064151" y="1023092"/>
                </a:cubicBezTo>
                <a:lnTo>
                  <a:pt x="1065607" y="1017260"/>
                </a:lnTo>
                <a:lnTo>
                  <a:pt x="1071439" y="1023092"/>
                </a:lnTo>
                <a:cubicBezTo>
                  <a:pt x="1075083" y="1019448"/>
                  <a:pt x="1071439" y="1017625"/>
                  <a:pt x="1067794" y="1013981"/>
                </a:cubicBezTo>
                <a:cubicBezTo>
                  <a:pt x="1067794" y="1015803"/>
                  <a:pt x="1065972" y="1015803"/>
                  <a:pt x="1064151" y="1015803"/>
                </a:cubicBezTo>
                <a:lnTo>
                  <a:pt x="1062328" y="1015803"/>
                </a:lnTo>
                <a:cubicBezTo>
                  <a:pt x="1062328" y="1013981"/>
                  <a:pt x="1062328" y="1013981"/>
                  <a:pt x="1064151" y="1012159"/>
                </a:cubicBezTo>
                <a:cubicBezTo>
                  <a:pt x="1064151" y="1010337"/>
                  <a:pt x="1062328" y="1008515"/>
                  <a:pt x="1064151" y="1006692"/>
                </a:cubicBezTo>
                <a:close/>
                <a:moveTo>
                  <a:pt x="867355" y="1006692"/>
                </a:moveTo>
                <a:cubicBezTo>
                  <a:pt x="856422" y="1017625"/>
                  <a:pt x="880111" y="1034025"/>
                  <a:pt x="887399" y="1046780"/>
                </a:cubicBezTo>
                <a:cubicBezTo>
                  <a:pt x="885577" y="1035847"/>
                  <a:pt x="885577" y="1023092"/>
                  <a:pt x="878288" y="1013981"/>
                </a:cubicBezTo>
                <a:cubicBezTo>
                  <a:pt x="874644" y="1012159"/>
                  <a:pt x="871000" y="1010337"/>
                  <a:pt x="867355" y="1006692"/>
                </a:cubicBezTo>
                <a:close/>
                <a:moveTo>
                  <a:pt x="725226" y="1006692"/>
                </a:moveTo>
                <a:cubicBezTo>
                  <a:pt x="714293" y="1015803"/>
                  <a:pt x="727048" y="1021270"/>
                  <a:pt x="727048" y="1028559"/>
                </a:cubicBezTo>
                <a:cubicBezTo>
                  <a:pt x="739803" y="1024914"/>
                  <a:pt x="727048" y="1017625"/>
                  <a:pt x="730692" y="1012159"/>
                </a:cubicBezTo>
                <a:cubicBezTo>
                  <a:pt x="728870" y="1010337"/>
                  <a:pt x="727048" y="1008515"/>
                  <a:pt x="725226" y="1006692"/>
                </a:cubicBezTo>
                <a:close/>
                <a:moveTo>
                  <a:pt x="577630" y="1006692"/>
                </a:moveTo>
                <a:cubicBezTo>
                  <a:pt x="575808" y="1008515"/>
                  <a:pt x="583096" y="1010337"/>
                  <a:pt x="583096" y="1012159"/>
                </a:cubicBezTo>
                <a:cubicBezTo>
                  <a:pt x="584919" y="1012159"/>
                  <a:pt x="583096" y="1010337"/>
                  <a:pt x="584919" y="1010337"/>
                </a:cubicBezTo>
                <a:cubicBezTo>
                  <a:pt x="581274" y="1008515"/>
                  <a:pt x="579452" y="1008515"/>
                  <a:pt x="577630" y="1006692"/>
                </a:cubicBezTo>
                <a:close/>
                <a:moveTo>
                  <a:pt x="382657" y="1006692"/>
                </a:moveTo>
                <a:cubicBezTo>
                  <a:pt x="375368" y="1013981"/>
                  <a:pt x="384479" y="1008515"/>
                  <a:pt x="386301" y="1010337"/>
                </a:cubicBezTo>
                <a:cubicBezTo>
                  <a:pt x="386301" y="1008515"/>
                  <a:pt x="384479" y="1006692"/>
                  <a:pt x="382657" y="1006692"/>
                </a:cubicBezTo>
                <a:close/>
                <a:moveTo>
                  <a:pt x="375368" y="1006692"/>
                </a:moveTo>
                <a:cubicBezTo>
                  <a:pt x="373546" y="1008515"/>
                  <a:pt x="373546" y="1008515"/>
                  <a:pt x="373546" y="1010337"/>
                </a:cubicBezTo>
                <a:cubicBezTo>
                  <a:pt x="375368" y="1012159"/>
                  <a:pt x="376734" y="1011703"/>
                  <a:pt x="377190" y="1010564"/>
                </a:cubicBezTo>
                <a:lnTo>
                  <a:pt x="377190" y="1012159"/>
                </a:lnTo>
                <a:cubicBezTo>
                  <a:pt x="377190" y="1015803"/>
                  <a:pt x="377190" y="1008515"/>
                  <a:pt x="379012" y="1010337"/>
                </a:cubicBezTo>
                <a:cubicBezTo>
                  <a:pt x="379012" y="1010337"/>
                  <a:pt x="377190" y="1008515"/>
                  <a:pt x="377190" y="1008515"/>
                </a:cubicBezTo>
                <a:lnTo>
                  <a:pt x="377190" y="1010564"/>
                </a:lnTo>
                <a:cubicBezTo>
                  <a:pt x="377645" y="1009426"/>
                  <a:pt x="377190" y="1007603"/>
                  <a:pt x="375368" y="1006692"/>
                </a:cubicBezTo>
                <a:close/>
                <a:moveTo>
                  <a:pt x="1178947" y="1006645"/>
                </a:moveTo>
                <a:lnTo>
                  <a:pt x="1178947" y="1006692"/>
                </a:lnTo>
                <a:lnTo>
                  <a:pt x="1178923" y="1006692"/>
                </a:lnTo>
                <a:close/>
                <a:moveTo>
                  <a:pt x="1165463" y="1005963"/>
                </a:moveTo>
                <a:lnTo>
                  <a:pt x="1166192" y="1006692"/>
                </a:lnTo>
                <a:lnTo>
                  <a:pt x="1165318" y="1011759"/>
                </a:lnTo>
                <a:lnTo>
                  <a:pt x="1164370" y="1010337"/>
                </a:lnTo>
                <a:close/>
                <a:moveTo>
                  <a:pt x="909479" y="1005620"/>
                </a:moveTo>
                <a:lnTo>
                  <a:pt x="909720" y="1006464"/>
                </a:lnTo>
                <a:lnTo>
                  <a:pt x="909265" y="1006692"/>
                </a:lnTo>
                <a:close/>
                <a:moveTo>
                  <a:pt x="3325165" y="1004870"/>
                </a:moveTo>
                <a:lnTo>
                  <a:pt x="3325468" y="1004870"/>
                </a:lnTo>
                <a:lnTo>
                  <a:pt x="3324740" y="1005598"/>
                </a:lnTo>
                <a:close/>
                <a:moveTo>
                  <a:pt x="3010232" y="1004870"/>
                </a:moveTo>
                <a:cubicBezTo>
                  <a:pt x="3004765" y="1004870"/>
                  <a:pt x="3001121" y="1006692"/>
                  <a:pt x="2997477" y="1010337"/>
                </a:cubicBezTo>
                <a:cubicBezTo>
                  <a:pt x="3001121" y="1015803"/>
                  <a:pt x="3012054" y="1013981"/>
                  <a:pt x="3015698" y="1017625"/>
                </a:cubicBezTo>
                <a:cubicBezTo>
                  <a:pt x="3021165" y="1013981"/>
                  <a:pt x="3008410" y="1008515"/>
                  <a:pt x="3010232" y="1004870"/>
                </a:cubicBezTo>
                <a:close/>
                <a:moveTo>
                  <a:pt x="1104238" y="1004870"/>
                </a:moveTo>
                <a:cubicBezTo>
                  <a:pt x="1102416" y="1006692"/>
                  <a:pt x="1100593" y="1004870"/>
                  <a:pt x="1098771" y="1006692"/>
                </a:cubicBezTo>
                <a:cubicBezTo>
                  <a:pt x="1098771" y="1010337"/>
                  <a:pt x="1104238" y="1010337"/>
                  <a:pt x="1106060" y="1012159"/>
                </a:cubicBezTo>
                <a:cubicBezTo>
                  <a:pt x="1100593" y="1013981"/>
                  <a:pt x="1095127" y="1004870"/>
                  <a:pt x="1089660" y="1010337"/>
                </a:cubicBezTo>
                <a:cubicBezTo>
                  <a:pt x="1095127" y="1013981"/>
                  <a:pt x="1087838" y="1019448"/>
                  <a:pt x="1086016" y="1024914"/>
                </a:cubicBezTo>
                <a:cubicBezTo>
                  <a:pt x="1087838" y="1024914"/>
                  <a:pt x="1087838" y="1026736"/>
                  <a:pt x="1089660" y="1024914"/>
                </a:cubicBezTo>
                <a:cubicBezTo>
                  <a:pt x="1087838" y="1028559"/>
                  <a:pt x="1087838" y="1032203"/>
                  <a:pt x="1087838" y="1037669"/>
                </a:cubicBezTo>
                <a:cubicBezTo>
                  <a:pt x="1089660" y="1039492"/>
                  <a:pt x="1093305" y="1041314"/>
                  <a:pt x="1096949" y="1043136"/>
                </a:cubicBezTo>
                <a:cubicBezTo>
                  <a:pt x="1100593" y="1041314"/>
                  <a:pt x="1100593" y="1039492"/>
                  <a:pt x="1102416" y="1037669"/>
                </a:cubicBezTo>
                <a:cubicBezTo>
                  <a:pt x="1102416" y="1037669"/>
                  <a:pt x="1102416" y="1035847"/>
                  <a:pt x="1100593" y="1035847"/>
                </a:cubicBezTo>
                <a:cubicBezTo>
                  <a:pt x="1100593" y="1035847"/>
                  <a:pt x="1104238" y="1035847"/>
                  <a:pt x="1104238" y="1035847"/>
                </a:cubicBezTo>
                <a:lnTo>
                  <a:pt x="1104238" y="1034025"/>
                </a:lnTo>
                <a:cubicBezTo>
                  <a:pt x="1106060" y="1035847"/>
                  <a:pt x="1109704" y="1032203"/>
                  <a:pt x="1107882" y="1030381"/>
                </a:cubicBezTo>
                <a:cubicBezTo>
                  <a:pt x="1106060" y="1032203"/>
                  <a:pt x="1106060" y="1032203"/>
                  <a:pt x="1104238" y="1034025"/>
                </a:cubicBezTo>
                <a:lnTo>
                  <a:pt x="1104238" y="1028559"/>
                </a:lnTo>
                <a:cubicBezTo>
                  <a:pt x="1109704" y="1030381"/>
                  <a:pt x="1107882" y="1023092"/>
                  <a:pt x="1107882" y="1021270"/>
                </a:cubicBezTo>
                <a:cubicBezTo>
                  <a:pt x="1109704" y="1023092"/>
                  <a:pt x="1107882" y="1032203"/>
                  <a:pt x="1111526" y="1034025"/>
                </a:cubicBezTo>
                <a:cubicBezTo>
                  <a:pt x="1106060" y="1035847"/>
                  <a:pt x="1100593" y="1037669"/>
                  <a:pt x="1098771" y="1043136"/>
                </a:cubicBezTo>
                <a:cubicBezTo>
                  <a:pt x="1102416" y="1048602"/>
                  <a:pt x="1107882" y="1041314"/>
                  <a:pt x="1111526" y="1041314"/>
                </a:cubicBezTo>
                <a:cubicBezTo>
                  <a:pt x="1113349" y="1039492"/>
                  <a:pt x="1111526" y="1035847"/>
                  <a:pt x="1111526" y="1034025"/>
                </a:cubicBezTo>
                <a:cubicBezTo>
                  <a:pt x="1111526" y="1032203"/>
                  <a:pt x="1111526" y="1032203"/>
                  <a:pt x="1111526" y="1030381"/>
                </a:cubicBezTo>
                <a:cubicBezTo>
                  <a:pt x="1113349" y="1030381"/>
                  <a:pt x="1115171" y="1032203"/>
                  <a:pt x="1115171" y="1034025"/>
                </a:cubicBezTo>
                <a:cubicBezTo>
                  <a:pt x="1116993" y="1034025"/>
                  <a:pt x="1116993" y="1032203"/>
                  <a:pt x="1116993" y="1032203"/>
                </a:cubicBezTo>
                <a:cubicBezTo>
                  <a:pt x="1118815" y="1034025"/>
                  <a:pt x="1122459" y="1035847"/>
                  <a:pt x="1124282" y="1037669"/>
                </a:cubicBezTo>
                <a:cubicBezTo>
                  <a:pt x="1126104" y="1030381"/>
                  <a:pt x="1118815" y="1023092"/>
                  <a:pt x="1113349" y="1017625"/>
                </a:cubicBezTo>
                <a:cubicBezTo>
                  <a:pt x="1109704" y="1013981"/>
                  <a:pt x="1107882" y="1010337"/>
                  <a:pt x="1106060" y="1006692"/>
                </a:cubicBezTo>
                <a:cubicBezTo>
                  <a:pt x="1109704" y="1008515"/>
                  <a:pt x="1102416" y="1006692"/>
                  <a:pt x="1104238" y="1004870"/>
                </a:cubicBezTo>
                <a:close/>
                <a:moveTo>
                  <a:pt x="1071439" y="1004870"/>
                </a:moveTo>
                <a:cubicBezTo>
                  <a:pt x="1071439" y="1004870"/>
                  <a:pt x="1069616" y="1006692"/>
                  <a:pt x="1069616" y="1006692"/>
                </a:cubicBezTo>
                <a:cubicBezTo>
                  <a:pt x="1067794" y="1008515"/>
                  <a:pt x="1067794" y="1010337"/>
                  <a:pt x="1069616" y="1012159"/>
                </a:cubicBezTo>
                <a:cubicBezTo>
                  <a:pt x="1069616" y="1012159"/>
                  <a:pt x="1071439" y="1010337"/>
                  <a:pt x="1071439" y="1010337"/>
                </a:cubicBezTo>
                <a:cubicBezTo>
                  <a:pt x="1069616" y="1008515"/>
                  <a:pt x="1069616" y="1008515"/>
                  <a:pt x="1069616" y="1006692"/>
                </a:cubicBezTo>
                <a:cubicBezTo>
                  <a:pt x="1069616" y="1008515"/>
                  <a:pt x="1071439" y="1008515"/>
                  <a:pt x="1071439" y="1008515"/>
                </a:cubicBezTo>
                <a:cubicBezTo>
                  <a:pt x="1071439" y="1006692"/>
                  <a:pt x="1071439" y="1006692"/>
                  <a:pt x="1071439" y="1004870"/>
                </a:cubicBezTo>
                <a:close/>
                <a:moveTo>
                  <a:pt x="925666" y="1004870"/>
                </a:moveTo>
                <a:cubicBezTo>
                  <a:pt x="920198" y="1004870"/>
                  <a:pt x="920198" y="1013981"/>
                  <a:pt x="923843" y="1017625"/>
                </a:cubicBezTo>
                <a:cubicBezTo>
                  <a:pt x="927487" y="1013981"/>
                  <a:pt x="925666" y="1008515"/>
                  <a:pt x="925666" y="1004870"/>
                </a:cubicBezTo>
                <a:close/>
                <a:moveTo>
                  <a:pt x="741626" y="1004870"/>
                </a:moveTo>
                <a:cubicBezTo>
                  <a:pt x="742536" y="1006692"/>
                  <a:pt x="745269" y="1006237"/>
                  <a:pt x="747091" y="1006464"/>
                </a:cubicBezTo>
                <a:lnTo>
                  <a:pt x="747091" y="1007213"/>
                </a:lnTo>
                <a:close/>
                <a:moveTo>
                  <a:pt x="732515" y="1004870"/>
                </a:moveTo>
                <a:lnTo>
                  <a:pt x="743569" y="1011187"/>
                </a:lnTo>
                <a:lnTo>
                  <a:pt x="741626" y="1012159"/>
                </a:lnTo>
                <a:lnTo>
                  <a:pt x="734115" y="1008744"/>
                </a:lnTo>
                <a:close/>
                <a:moveTo>
                  <a:pt x="521142" y="1004870"/>
                </a:moveTo>
                <a:cubicBezTo>
                  <a:pt x="519320" y="1004870"/>
                  <a:pt x="521142" y="1008515"/>
                  <a:pt x="522964" y="1008515"/>
                </a:cubicBezTo>
                <a:cubicBezTo>
                  <a:pt x="521142" y="1009881"/>
                  <a:pt x="521257" y="1011817"/>
                  <a:pt x="522594" y="1014009"/>
                </a:cubicBezTo>
                <a:lnTo>
                  <a:pt x="523021" y="1014440"/>
                </a:lnTo>
                <a:lnTo>
                  <a:pt x="524786" y="1028559"/>
                </a:lnTo>
                <a:cubicBezTo>
                  <a:pt x="526609" y="1030381"/>
                  <a:pt x="530253" y="1030381"/>
                  <a:pt x="532075" y="1030381"/>
                </a:cubicBezTo>
                <a:cubicBezTo>
                  <a:pt x="532075" y="1026736"/>
                  <a:pt x="532075" y="1026736"/>
                  <a:pt x="532075" y="1024914"/>
                </a:cubicBezTo>
                <a:lnTo>
                  <a:pt x="539105" y="1026671"/>
                </a:lnTo>
                <a:lnTo>
                  <a:pt x="548475" y="1032203"/>
                </a:lnTo>
                <a:cubicBezTo>
                  <a:pt x="550297" y="1028559"/>
                  <a:pt x="552119" y="1030381"/>
                  <a:pt x="552119" y="1028559"/>
                </a:cubicBezTo>
                <a:cubicBezTo>
                  <a:pt x="550297" y="1026736"/>
                  <a:pt x="548475" y="1028559"/>
                  <a:pt x="544830" y="1024914"/>
                </a:cubicBezTo>
                <a:cubicBezTo>
                  <a:pt x="544830" y="1023092"/>
                  <a:pt x="544830" y="1024914"/>
                  <a:pt x="546653" y="1024914"/>
                </a:cubicBezTo>
                <a:cubicBezTo>
                  <a:pt x="539364" y="1017625"/>
                  <a:pt x="530253" y="1012159"/>
                  <a:pt x="521142" y="1004870"/>
                </a:cubicBezTo>
                <a:close/>
                <a:moveTo>
                  <a:pt x="3106807" y="1003047"/>
                </a:moveTo>
                <a:cubicBezTo>
                  <a:pt x="3110451" y="1012159"/>
                  <a:pt x="3115918" y="1021270"/>
                  <a:pt x="3123206" y="1026736"/>
                </a:cubicBezTo>
                <a:cubicBezTo>
                  <a:pt x="3128673" y="1030381"/>
                  <a:pt x="3137784" y="1024914"/>
                  <a:pt x="3145073" y="1028559"/>
                </a:cubicBezTo>
                <a:cubicBezTo>
                  <a:pt x="3143250" y="1023092"/>
                  <a:pt x="3145073" y="1017625"/>
                  <a:pt x="3141428" y="1012159"/>
                </a:cubicBezTo>
                <a:cubicBezTo>
                  <a:pt x="3139606" y="1019448"/>
                  <a:pt x="3141428" y="1028559"/>
                  <a:pt x="3134140" y="1021270"/>
                </a:cubicBezTo>
                <a:cubicBezTo>
                  <a:pt x="3130495" y="1021270"/>
                  <a:pt x="3137784" y="1013981"/>
                  <a:pt x="3134140" y="1010337"/>
                </a:cubicBezTo>
                <a:cubicBezTo>
                  <a:pt x="3123206" y="1012159"/>
                  <a:pt x="3123206" y="999403"/>
                  <a:pt x="3106807" y="1003047"/>
                </a:cubicBezTo>
                <a:close/>
                <a:moveTo>
                  <a:pt x="1175303" y="1003047"/>
                </a:moveTo>
                <a:cubicBezTo>
                  <a:pt x="1177125" y="1001226"/>
                  <a:pt x="1177125" y="1004870"/>
                  <a:pt x="1180769" y="1003047"/>
                </a:cubicBezTo>
                <a:lnTo>
                  <a:pt x="1178947" y="1006645"/>
                </a:lnTo>
                <a:lnTo>
                  <a:pt x="1178947" y="1004870"/>
                </a:lnTo>
                <a:cubicBezTo>
                  <a:pt x="1177125" y="1003047"/>
                  <a:pt x="1177125" y="1004870"/>
                  <a:pt x="1175303" y="1003047"/>
                </a:cubicBezTo>
                <a:close/>
                <a:moveTo>
                  <a:pt x="1111526" y="1003047"/>
                </a:moveTo>
                <a:cubicBezTo>
                  <a:pt x="1109704" y="1004870"/>
                  <a:pt x="1111526" y="1008515"/>
                  <a:pt x="1113349" y="1010337"/>
                </a:cubicBezTo>
                <a:cubicBezTo>
                  <a:pt x="1109704" y="1010337"/>
                  <a:pt x="1107882" y="1006692"/>
                  <a:pt x="1107882" y="1004870"/>
                </a:cubicBezTo>
                <a:cubicBezTo>
                  <a:pt x="1109704" y="1012159"/>
                  <a:pt x="1116993" y="1023092"/>
                  <a:pt x="1122459" y="1026736"/>
                </a:cubicBezTo>
                <a:cubicBezTo>
                  <a:pt x="1120637" y="1030381"/>
                  <a:pt x="1124282" y="1032203"/>
                  <a:pt x="1126104" y="1035847"/>
                </a:cubicBezTo>
                <a:cubicBezTo>
                  <a:pt x="1127926" y="1034025"/>
                  <a:pt x="1127926" y="1028559"/>
                  <a:pt x="1126104" y="1028559"/>
                </a:cubicBezTo>
                <a:cubicBezTo>
                  <a:pt x="1127926" y="1026736"/>
                  <a:pt x="1129748" y="1023092"/>
                  <a:pt x="1124282" y="1019448"/>
                </a:cubicBezTo>
                <a:cubicBezTo>
                  <a:pt x="1124282" y="1015803"/>
                  <a:pt x="1127926" y="1019448"/>
                  <a:pt x="1127926" y="1017625"/>
                </a:cubicBezTo>
                <a:cubicBezTo>
                  <a:pt x="1126104" y="1012159"/>
                  <a:pt x="1127926" y="1008515"/>
                  <a:pt x="1126104" y="1004870"/>
                </a:cubicBezTo>
                <a:cubicBezTo>
                  <a:pt x="1120637" y="1003047"/>
                  <a:pt x="1116993" y="1003047"/>
                  <a:pt x="1111526" y="1003047"/>
                </a:cubicBezTo>
                <a:close/>
                <a:moveTo>
                  <a:pt x="1045929" y="1003047"/>
                </a:moveTo>
                <a:cubicBezTo>
                  <a:pt x="1042284" y="1003047"/>
                  <a:pt x="1038639" y="1004870"/>
                  <a:pt x="1034995" y="1008515"/>
                </a:cubicBezTo>
                <a:cubicBezTo>
                  <a:pt x="1036818" y="1010337"/>
                  <a:pt x="1034995" y="1010337"/>
                  <a:pt x="1036818" y="1012159"/>
                </a:cubicBezTo>
                <a:cubicBezTo>
                  <a:pt x="1040462" y="1008515"/>
                  <a:pt x="1044106" y="1004870"/>
                  <a:pt x="1045929" y="1003047"/>
                </a:cubicBezTo>
                <a:close/>
                <a:moveTo>
                  <a:pt x="1018596" y="1003047"/>
                </a:moveTo>
                <a:cubicBezTo>
                  <a:pt x="1016774" y="1004870"/>
                  <a:pt x="1018596" y="1008515"/>
                  <a:pt x="1016774" y="1006692"/>
                </a:cubicBezTo>
                <a:cubicBezTo>
                  <a:pt x="1013129" y="1004870"/>
                  <a:pt x="1018596" y="1006692"/>
                  <a:pt x="1016774" y="1008515"/>
                </a:cubicBezTo>
                <a:cubicBezTo>
                  <a:pt x="1020418" y="1010337"/>
                  <a:pt x="1020418" y="1004870"/>
                  <a:pt x="1018596" y="1003047"/>
                </a:cubicBezTo>
                <a:close/>
                <a:moveTo>
                  <a:pt x="699715" y="1003047"/>
                </a:moveTo>
                <a:cubicBezTo>
                  <a:pt x="697893" y="1003047"/>
                  <a:pt x="694249" y="1006692"/>
                  <a:pt x="701537" y="1006692"/>
                </a:cubicBezTo>
                <a:cubicBezTo>
                  <a:pt x="701537" y="1004870"/>
                  <a:pt x="701537" y="1004870"/>
                  <a:pt x="699715" y="1003047"/>
                </a:cubicBezTo>
                <a:close/>
                <a:moveTo>
                  <a:pt x="635939" y="1003047"/>
                </a:moveTo>
                <a:cubicBezTo>
                  <a:pt x="625006" y="999403"/>
                  <a:pt x="632296" y="1012159"/>
                  <a:pt x="639583" y="1008515"/>
                </a:cubicBezTo>
                <a:cubicBezTo>
                  <a:pt x="637761" y="1006692"/>
                  <a:pt x="637761" y="1004870"/>
                  <a:pt x="635939" y="1003047"/>
                </a:cubicBezTo>
                <a:close/>
                <a:moveTo>
                  <a:pt x="169462" y="1003047"/>
                </a:moveTo>
                <a:cubicBezTo>
                  <a:pt x="173107" y="1008515"/>
                  <a:pt x="182218" y="1006692"/>
                  <a:pt x="187684" y="1013981"/>
                </a:cubicBezTo>
                <a:cubicBezTo>
                  <a:pt x="184040" y="1004870"/>
                  <a:pt x="174929" y="1006692"/>
                  <a:pt x="169462" y="1003047"/>
                </a:cubicBezTo>
                <a:close/>
                <a:moveTo>
                  <a:pt x="3361911" y="1001226"/>
                </a:moveTo>
                <a:cubicBezTo>
                  <a:pt x="3356445" y="1001226"/>
                  <a:pt x="3358267" y="1004870"/>
                  <a:pt x="3356445" y="1006692"/>
                </a:cubicBezTo>
                <a:cubicBezTo>
                  <a:pt x="3360089" y="1010337"/>
                  <a:pt x="3360089" y="1003047"/>
                  <a:pt x="3361911" y="1001226"/>
                </a:cubicBezTo>
                <a:close/>
                <a:moveTo>
                  <a:pt x="3341867" y="1001226"/>
                </a:moveTo>
                <a:lnTo>
                  <a:pt x="3342146" y="1001756"/>
                </a:lnTo>
                <a:lnTo>
                  <a:pt x="3341585" y="1001789"/>
                </a:lnTo>
                <a:close/>
                <a:moveTo>
                  <a:pt x="506565" y="1001226"/>
                </a:moveTo>
                <a:cubicBezTo>
                  <a:pt x="504743" y="1003047"/>
                  <a:pt x="508387" y="1006692"/>
                  <a:pt x="510209" y="1010337"/>
                </a:cubicBezTo>
                <a:cubicBezTo>
                  <a:pt x="513853" y="1006692"/>
                  <a:pt x="508387" y="1003047"/>
                  <a:pt x="506565" y="1001226"/>
                </a:cubicBezTo>
                <a:close/>
                <a:moveTo>
                  <a:pt x="318882" y="1001226"/>
                </a:moveTo>
                <a:cubicBezTo>
                  <a:pt x="315236" y="1003047"/>
                  <a:pt x="320703" y="1004870"/>
                  <a:pt x="322525" y="1004870"/>
                </a:cubicBezTo>
                <a:cubicBezTo>
                  <a:pt x="322525" y="1003047"/>
                  <a:pt x="318882" y="1001226"/>
                  <a:pt x="318882" y="1001226"/>
                </a:cubicBezTo>
                <a:close/>
                <a:moveTo>
                  <a:pt x="229594" y="1001226"/>
                </a:moveTo>
                <a:cubicBezTo>
                  <a:pt x="233239" y="1003047"/>
                  <a:pt x="240527" y="1012159"/>
                  <a:pt x="244172" y="1010337"/>
                </a:cubicBezTo>
                <a:lnTo>
                  <a:pt x="240528" y="1006693"/>
                </a:lnTo>
                <a:lnTo>
                  <a:pt x="247816" y="1010337"/>
                </a:lnTo>
                <a:cubicBezTo>
                  <a:pt x="245994" y="1008515"/>
                  <a:pt x="242349" y="1006692"/>
                  <a:pt x="240527" y="1006692"/>
                </a:cubicBezTo>
                <a:lnTo>
                  <a:pt x="240528" y="1006693"/>
                </a:lnTo>
                <a:close/>
                <a:moveTo>
                  <a:pt x="1259469" y="1000186"/>
                </a:moveTo>
                <a:lnTo>
                  <a:pt x="1259123" y="1001226"/>
                </a:lnTo>
                <a:lnTo>
                  <a:pt x="1259123" y="1000369"/>
                </a:lnTo>
                <a:close/>
                <a:moveTo>
                  <a:pt x="1259123" y="999847"/>
                </a:moveTo>
                <a:lnTo>
                  <a:pt x="1259123" y="1000369"/>
                </a:lnTo>
                <a:lnTo>
                  <a:pt x="1257324" y="1001323"/>
                </a:lnTo>
                <a:lnTo>
                  <a:pt x="1258895" y="1000086"/>
                </a:lnTo>
                <a:close/>
                <a:moveTo>
                  <a:pt x="3454842" y="999403"/>
                </a:moveTo>
                <a:cubicBezTo>
                  <a:pt x="3451198" y="1001226"/>
                  <a:pt x="3453020" y="1008515"/>
                  <a:pt x="3458487" y="1006692"/>
                </a:cubicBezTo>
                <a:cubicBezTo>
                  <a:pt x="3458487" y="1003047"/>
                  <a:pt x="3456664" y="1001226"/>
                  <a:pt x="3454842" y="999403"/>
                </a:cubicBezTo>
                <a:close/>
                <a:moveTo>
                  <a:pt x="1160725" y="999403"/>
                </a:moveTo>
                <a:lnTo>
                  <a:pt x="1159604" y="999964"/>
                </a:lnTo>
                <a:lnTo>
                  <a:pt x="1159458" y="999720"/>
                </a:lnTo>
                <a:close/>
                <a:moveTo>
                  <a:pt x="1049573" y="999403"/>
                </a:moveTo>
                <a:cubicBezTo>
                  <a:pt x="1047750" y="1003047"/>
                  <a:pt x="1044106" y="1004870"/>
                  <a:pt x="1042284" y="1008515"/>
                </a:cubicBezTo>
                <a:cubicBezTo>
                  <a:pt x="1049573" y="1015803"/>
                  <a:pt x="1053217" y="1004870"/>
                  <a:pt x="1060506" y="1004870"/>
                </a:cubicBezTo>
                <a:cubicBezTo>
                  <a:pt x="1056861" y="1003047"/>
                  <a:pt x="1053217" y="999403"/>
                  <a:pt x="1049573" y="999403"/>
                </a:cubicBezTo>
                <a:close/>
                <a:moveTo>
                  <a:pt x="952997" y="999403"/>
                </a:moveTo>
                <a:cubicBezTo>
                  <a:pt x="947531" y="1004870"/>
                  <a:pt x="954819" y="1017625"/>
                  <a:pt x="962108" y="1010337"/>
                </a:cubicBezTo>
                <a:cubicBezTo>
                  <a:pt x="962108" y="1006692"/>
                  <a:pt x="956642" y="1003047"/>
                  <a:pt x="952997" y="999403"/>
                </a:cubicBezTo>
                <a:close/>
                <a:moveTo>
                  <a:pt x="878288" y="999403"/>
                </a:moveTo>
                <a:cubicBezTo>
                  <a:pt x="874644" y="1003047"/>
                  <a:pt x="871000" y="1003047"/>
                  <a:pt x="869177" y="1003047"/>
                </a:cubicBezTo>
                <a:lnTo>
                  <a:pt x="881933" y="1010337"/>
                </a:lnTo>
                <a:lnTo>
                  <a:pt x="883755" y="1015803"/>
                </a:lnTo>
                <a:cubicBezTo>
                  <a:pt x="881933" y="1013981"/>
                  <a:pt x="881933" y="1012159"/>
                  <a:pt x="881933" y="1010337"/>
                </a:cubicBezTo>
                <a:lnTo>
                  <a:pt x="881933" y="1010337"/>
                </a:lnTo>
                <a:close/>
                <a:moveTo>
                  <a:pt x="526609" y="999403"/>
                </a:moveTo>
                <a:lnTo>
                  <a:pt x="531814" y="1007778"/>
                </a:lnTo>
                <a:lnTo>
                  <a:pt x="530253" y="1006692"/>
                </a:lnTo>
                <a:cubicBezTo>
                  <a:pt x="532075" y="1010337"/>
                  <a:pt x="537542" y="1012159"/>
                  <a:pt x="539364" y="1013981"/>
                </a:cubicBezTo>
                <a:cubicBezTo>
                  <a:pt x="539364" y="1013070"/>
                  <a:pt x="537542" y="1011703"/>
                  <a:pt x="535492" y="1010336"/>
                </a:cubicBezTo>
                <a:lnTo>
                  <a:pt x="531976" y="1007891"/>
                </a:lnTo>
                <a:lnTo>
                  <a:pt x="541186" y="1012159"/>
                </a:lnTo>
                <a:cubicBezTo>
                  <a:pt x="541186" y="1008515"/>
                  <a:pt x="532075" y="1003047"/>
                  <a:pt x="526609" y="999403"/>
                </a:cubicBezTo>
                <a:close/>
                <a:moveTo>
                  <a:pt x="491987" y="999403"/>
                </a:moveTo>
                <a:cubicBezTo>
                  <a:pt x="495632" y="1006692"/>
                  <a:pt x="504743" y="1013981"/>
                  <a:pt x="512031" y="1023092"/>
                </a:cubicBezTo>
                <a:cubicBezTo>
                  <a:pt x="508387" y="1015803"/>
                  <a:pt x="504743" y="1003047"/>
                  <a:pt x="491987" y="999403"/>
                </a:cubicBezTo>
                <a:close/>
                <a:moveTo>
                  <a:pt x="408167" y="999403"/>
                </a:moveTo>
                <a:cubicBezTo>
                  <a:pt x="413634" y="1006692"/>
                  <a:pt x="419100" y="1017625"/>
                  <a:pt x="426389" y="1021270"/>
                </a:cubicBezTo>
                <a:cubicBezTo>
                  <a:pt x="433678" y="1026736"/>
                  <a:pt x="433678" y="1037669"/>
                  <a:pt x="448256" y="1044958"/>
                </a:cubicBezTo>
                <a:cubicBezTo>
                  <a:pt x="444611" y="1039492"/>
                  <a:pt x="440966" y="1034025"/>
                  <a:pt x="439145" y="1030381"/>
                </a:cubicBezTo>
                <a:cubicBezTo>
                  <a:pt x="446433" y="1041314"/>
                  <a:pt x="451899" y="1052247"/>
                  <a:pt x="470121" y="1057713"/>
                </a:cubicBezTo>
                <a:cubicBezTo>
                  <a:pt x="466478" y="1055891"/>
                  <a:pt x="461010" y="1052247"/>
                  <a:pt x="457367" y="1048602"/>
                </a:cubicBezTo>
                <a:cubicBezTo>
                  <a:pt x="461010" y="1046780"/>
                  <a:pt x="462832" y="1054069"/>
                  <a:pt x="470121" y="1054069"/>
                </a:cubicBezTo>
                <a:cubicBezTo>
                  <a:pt x="462832" y="1039492"/>
                  <a:pt x="442789" y="1032203"/>
                  <a:pt x="430034" y="1023092"/>
                </a:cubicBezTo>
                <a:cubicBezTo>
                  <a:pt x="428211" y="1021270"/>
                  <a:pt x="428211" y="1023092"/>
                  <a:pt x="426389" y="1021270"/>
                </a:cubicBezTo>
                <a:cubicBezTo>
                  <a:pt x="424567" y="1013981"/>
                  <a:pt x="413634" y="1006692"/>
                  <a:pt x="408167" y="999403"/>
                </a:cubicBezTo>
                <a:close/>
                <a:moveTo>
                  <a:pt x="306126" y="999403"/>
                </a:moveTo>
                <a:cubicBezTo>
                  <a:pt x="306126" y="1001226"/>
                  <a:pt x="307948" y="1003047"/>
                  <a:pt x="309771" y="1004870"/>
                </a:cubicBezTo>
                <a:cubicBezTo>
                  <a:pt x="313414" y="1004870"/>
                  <a:pt x="307948" y="1001226"/>
                  <a:pt x="306126" y="999403"/>
                </a:cubicBezTo>
                <a:close/>
                <a:moveTo>
                  <a:pt x="245994" y="999403"/>
                </a:moveTo>
                <a:cubicBezTo>
                  <a:pt x="247816" y="1001226"/>
                  <a:pt x="249638" y="1003047"/>
                  <a:pt x="251460" y="1004870"/>
                </a:cubicBezTo>
                <a:cubicBezTo>
                  <a:pt x="256927" y="1006692"/>
                  <a:pt x="245994" y="1003047"/>
                  <a:pt x="245994" y="999403"/>
                </a:cubicBezTo>
                <a:close/>
                <a:moveTo>
                  <a:pt x="180396" y="999403"/>
                </a:moveTo>
                <a:cubicBezTo>
                  <a:pt x="180396" y="999403"/>
                  <a:pt x="182218" y="1001226"/>
                  <a:pt x="182218" y="1001226"/>
                </a:cubicBezTo>
                <a:lnTo>
                  <a:pt x="181771" y="1001053"/>
                </a:lnTo>
                <a:close/>
                <a:moveTo>
                  <a:pt x="1260074" y="998849"/>
                </a:moveTo>
                <a:lnTo>
                  <a:pt x="1260945" y="999403"/>
                </a:lnTo>
                <a:lnTo>
                  <a:pt x="1259469" y="1000186"/>
                </a:lnTo>
                <a:lnTo>
                  <a:pt x="1259830" y="999107"/>
                </a:lnTo>
                <a:close/>
                <a:moveTo>
                  <a:pt x="1259123" y="998244"/>
                </a:moveTo>
                <a:lnTo>
                  <a:pt x="1259943" y="998766"/>
                </a:lnTo>
                <a:lnTo>
                  <a:pt x="1259830" y="999107"/>
                </a:lnTo>
                <a:lnTo>
                  <a:pt x="1259123" y="999847"/>
                </a:lnTo>
                <a:close/>
                <a:moveTo>
                  <a:pt x="3090407" y="997582"/>
                </a:moveTo>
                <a:lnTo>
                  <a:pt x="3090407" y="999403"/>
                </a:lnTo>
                <a:lnTo>
                  <a:pt x="3090407" y="1001226"/>
                </a:lnTo>
                <a:cubicBezTo>
                  <a:pt x="3095874" y="1001226"/>
                  <a:pt x="3095874" y="1004870"/>
                  <a:pt x="3097696" y="1012159"/>
                </a:cubicBezTo>
                <a:cubicBezTo>
                  <a:pt x="3094052" y="1010337"/>
                  <a:pt x="3092230" y="1004870"/>
                  <a:pt x="3090407" y="1004870"/>
                </a:cubicBezTo>
                <a:cubicBezTo>
                  <a:pt x="3086763" y="1003047"/>
                  <a:pt x="3079474" y="1004870"/>
                  <a:pt x="3077652" y="1008515"/>
                </a:cubicBezTo>
                <a:cubicBezTo>
                  <a:pt x="3074008" y="1019448"/>
                  <a:pt x="3079474" y="1028559"/>
                  <a:pt x="3090407" y="1026736"/>
                </a:cubicBezTo>
                <a:cubicBezTo>
                  <a:pt x="3092230" y="1026736"/>
                  <a:pt x="3095874" y="1019448"/>
                  <a:pt x="3099518" y="1019448"/>
                </a:cubicBezTo>
                <a:cubicBezTo>
                  <a:pt x="3103163" y="1021270"/>
                  <a:pt x="3101340" y="1026736"/>
                  <a:pt x="3101340" y="1028559"/>
                </a:cubicBezTo>
                <a:cubicBezTo>
                  <a:pt x="3119562" y="1019448"/>
                  <a:pt x="3101340" y="1008515"/>
                  <a:pt x="3097696" y="997582"/>
                </a:cubicBezTo>
                <a:cubicBezTo>
                  <a:pt x="3095874" y="999403"/>
                  <a:pt x="3092230" y="997582"/>
                  <a:pt x="3090407" y="997582"/>
                </a:cubicBezTo>
                <a:close/>
                <a:moveTo>
                  <a:pt x="3030276" y="997582"/>
                </a:moveTo>
                <a:cubicBezTo>
                  <a:pt x="3026631" y="997582"/>
                  <a:pt x="3028453" y="1003047"/>
                  <a:pt x="3026631" y="1003047"/>
                </a:cubicBezTo>
                <a:cubicBezTo>
                  <a:pt x="3032098" y="1006692"/>
                  <a:pt x="3035742" y="1001226"/>
                  <a:pt x="3030276" y="997582"/>
                </a:cubicBezTo>
                <a:close/>
                <a:moveTo>
                  <a:pt x="2886324" y="997582"/>
                </a:moveTo>
                <a:cubicBezTo>
                  <a:pt x="2864458" y="999403"/>
                  <a:pt x="2858991" y="1023092"/>
                  <a:pt x="2853525" y="1041314"/>
                </a:cubicBezTo>
                <a:cubicBezTo>
                  <a:pt x="2853525" y="1044958"/>
                  <a:pt x="2855347" y="1044958"/>
                  <a:pt x="2855347" y="1048602"/>
                </a:cubicBezTo>
                <a:cubicBezTo>
                  <a:pt x="2864458" y="1054069"/>
                  <a:pt x="2868102" y="1046780"/>
                  <a:pt x="2869924" y="1039492"/>
                </a:cubicBezTo>
                <a:cubicBezTo>
                  <a:pt x="2868102" y="1035847"/>
                  <a:pt x="2864458" y="1035847"/>
                  <a:pt x="2862636" y="1032203"/>
                </a:cubicBezTo>
                <a:cubicBezTo>
                  <a:pt x="2862636" y="1028559"/>
                  <a:pt x="2868102" y="1030381"/>
                  <a:pt x="2868102" y="1028559"/>
                </a:cubicBezTo>
                <a:cubicBezTo>
                  <a:pt x="2869924" y="1030381"/>
                  <a:pt x="2869924" y="1032203"/>
                  <a:pt x="2873569" y="1032203"/>
                </a:cubicBezTo>
                <a:cubicBezTo>
                  <a:pt x="2880857" y="1030381"/>
                  <a:pt x="2886324" y="1028559"/>
                  <a:pt x="2884502" y="1019448"/>
                </a:cubicBezTo>
                <a:cubicBezTo>
                  <a:pt x="2880857" y="1019448"/>
                  <a:pt x="2880857" y="1017625"/>
                  <a:pt x="2877213" y="1017625"/>
                </a:cubicBezTo>
                <a:cubicBezTo>
                  <a:pt x="2877213" y="1015803"/>
                  <a:pt x="2875391" y="1012159"/>
                  <a:pt x="2873569" y="1008515"/>
                </a:cubicBezTo>
                <a:cubicBezTo>
                  <a:pt x="2882680" y="1006692"/>
                  <a:pt x="2879035" y="1019448"/>
                  <a:pt x="2889968" y="1017625"/>
                </a:cubicBezTo>
                <a:cubicBezTo>
                  <a:pt x="2889968" y="1013981"/>
                  <a:pt x="2888146" y="1010337"/>
                  <a:pt x="2884502" y="1008515"/>
                </a:cubicBezTo>
                <a:cubicBezTo>
                  <a:pt x="2886324" y="1006692"/>
                  <a:pt x="2886324" y="1004870"/>
                  <a:pt x="2886324" y="997582"/>
                </a:cubicBezTo>
                <a:close/>
                <a:moveTo>
                  <a:pt x="1258082" y="997582"/>
                </a:moveTo>
                <a:lnTo>
                  <a:pt x="1259123" y="997582"/>
                </a:lnTo>
                <a:lnTo>
                  <a:pt x="1259123" y="998244"/>
                </a:lnTo>
                <a:close/>
                <a:moveTo>
                  <a:pt x="993085" y="997582"/>
                </a:moveTo>
                <a:cubicBezTo>
                  <a:pt x="991263" y="1001226"/>
                  <a:pt x="991263" y="1004870"/>
                  <a:pt x="987619" y="1008515"/>
                </a:cubicBezTo>
                <a:cubicBezTo>
                  <a:pt x="989441" y="1008515"/>
                  <a:pt x="989441" y="1010337"/>
                  <a:pt x="991263" y="1012159"/>
                </a:cubicBezTo>
                <a:cubicBezTo>
                  <a:pt x="993085" y="1006692"/>
                  <a:pt x="994907" y="1001226"/>
                  <a:pt x="993085" y="997582"/>
                </a:cubicBezTo>
                <a:close/>
                <a:moveTo>
                  <a:pt x="708826" y="997582"/>
                </a:moveTo>
                <a:cubicBezTo>
                  <a:pt x="703359" y="1001226"/>
                  <a:pt x="712470" y="1003047"/>
                  <a:pt x="712470" y="1004870"/>
                </a:cubicBezTo>
                <a:cubicBezTo>
                  <a:pt x="710648" y="1008515"/>
                  <a:pt x="714293" y="1010337"/>
                  <a:pt x="717937" y="1012159"/>
                </a:cubicBezTo>
                <a:cubicBezTo>
                  <a:pt x="727048" y="1004870"/>
                  <a:pt x="717937" y="1006692"/>
                  <a:pt x="716115" y="1004870"/>
                </a:cubicBezTo>
                <a:cubicBezTo>
                  <a:pt x="714293" y="1004870"/>
                  <a:pt x="714293" y="1004870"/>
                  <a:pt x="712470" y="1004870"/>
                </a:cubicBezTo>
                <a:cubicBezTo>
                  <a:pt x="712470" y="1001226"/>
                  <a:pt x="712470" y="999403"/>
                  <a:pt x="716115" y="1001226"/>
                </a:cubicBezTo>
                <a:cubicBezTo>
                  <a:pt x="716115" y="997582"/>
                  <a:pt x="710648" y="999403"/>
                  <a:pt x="708826" y="997582"/>
                </a:cubicBezTo>
                <a:close/>
                <a:moveTo>
                  <a:pt x="548475" y="997582"/>
                </a:moveTo>
                <a:cubicBezTo>
                  <a:pt x="546653" y="1004870"/>
                  <a:pt x="559408" y="1006692"/>
                  <a:pt x="566697" y="1013981"/>
                </a:cubicBezTo>
                <a:cubicBezTo>
                  <a:pt x="568519" y="1006692"/>
                  <a:pt x="555763" y="1003047"/>
                  <a:pt x="548475" y="997582"/>
                </a:cubicBezTo>
                <a:close/>
                <a:moveTo>
                  <a:pt x="2274985" y="997581"/>
                </a:moveTo>
                <a:lnTo>
                  <a:pt x="2274986" y="997582"/>
                </a:lnTo>
                <a:lnTo>
                  <a:pt x="2274984" y="997582"/>
                </a:lnTo>
                <a:close/>
                <a:moveTo>
                  <a:pt x="182050" y="996916"/>
                </a:moveTo>
                <a:lnTo>
                  <a:pt x="185862" y="1001681"/>
                </a:lnTo>
                <a:lnTo>
                  <a:pt x="186364" y="1002874"/>
                </a:lnTo>
                <a:close/>
                <a:moveTo>
                  <a:pt x="1255333" y="995832"/>
                </a:moveTo>
                <a:lnTo>
                  <a:pt x="1258082" y="997582"/>
                </a:lnTo>
                <a:lnTo>
                  <a:pt x="1251834" y="997582"/>
                </a:lnTo>
                <a:close/>
                <a:moveTo>
                  <a:pt x="787179" y="995808"/>
                </a:moveTo>
                <a:cubicBezTo>
                  <a:pt x="790823" y="1003097"/>
                  <a:pt x="794467" y="1012209"/>
                  <a:pt x="787179" y="1017675"/>
                </a:cubicBezTo>
                <a:cubicBezTo>
                  <a:pt x="785357" y="1014031"/>
                  <a:pt x="787179" y="1008563"/>
                  <a:pt x="781712" y="1004919"/>
                </a:cubicBezTo>
                <a:cubicBezTo>
                  <a:pt x="781712" y="1001274"/>
                  <a:pt x="783534" y="997630"/>
                  <a:pt x="787179" y="995808"/>
                </a:cubicBezTo>
                <a:close/>
                <a:moveTo>
                  <a:pt x="3241648" y="995759"/>
                </a:moveTo>
                <a:cubicBezTo>
                  <a:pt x="3236181" y="993937"/>
                  <a:pt x="3236181" y="1003047"/>
                  <a:pt x="3241648" y="1001226"/>
                </a:cubicBezTo>
                <a:cubicBezTo>
                  <a:pt x="3241648" y="999403"/>
                  <a:pt x="3241648" y="997582"/>
                  <a:pt x="3241648" y="995759"/>
                </a:cubicBezTo>
                <a:close/>
                <a:moveTo>
                  <a:pt x="3130495" y="995759"/>
                </a:moveTo>
                <a:cubicBezTo>
                  <a:pt x="3125029" y="997582"/>
                  <a:pt x="3130495" y="1001226"/>
                  <a:pt x="3130495" y="1004870"/>
                </a:cubicBezTo>
                <a:cubicBezTo>
                  <a:pt x="3134140" y="1004870"/>
                  <a:pt x="3130495" y="999403"/>
                  <a:pt x="3130495" y="995759"/>
                </a:cubicBezTo>
                <a:close/>
                <a:moveTo>
                  <a:pt x="1025884" y="995759"/>
                </a:moveTo>
                <a:cubicBezTo>
                  <a:pt x="1020418" y="997582"/>
                  <a:pt x="1020418" y="1004870"/>
                  <a:pt x="1024062" y="1010337"/>
                </a:cubicBezTo>
                <a:cubicBezTo>
                  <a:pt x="1025884" y="1008515"/>
                  <a:pt x="1029529" y="1008515"/>
                  <a:pt x="1031351" y="1006692"/>
                </a:cubicBezTo>
                <a:cubicBezTo>
                  <a:pt x="1029529" y="1003047"/>
                  <a:pt x="1025884" y="999403"/>
                  <a:pt x="1025884" y="995759"/>
                </a:cubicBezTo>
                <a:close/>
                <a:moveTo>
                  <a:pt x="236883" y="995759"/>
                </a:moveTo>
                <a:cubicBezTo>
                  <a:pt x="235061" y="997582"/>
                  <a:pt x="242349" y="1003047"/>
                  <a:pt x="244172" y="1001226"/>
                </a:cubicBezTo>
                <a:cubicBezTo>
                  <a:pt x="242349" y="1001226"/>
                  <a:pt x="238705" y="997582"/>
                  <a:pt x="236883" y="995759"/>
                </a:cubicBezTo>
                <a:close/>
                <a:moveTo>
                  <a:pt x="185862" y="995759"/>
                </a:moveTo>
                <a:cubicBezTo>
                  <a:pt x="193151" y="999403"/>
                  <a:pt x="200439" y="1004870"/>
                  <a:pt x="207728" y="1010337"/>
                </a:cubicBezTo>
                <a:lnTo>
                  <a:pt x="207728" y="1008515"/>
                </a:lnTo>
                <a:cubicBezTo>
                  <a:pt x="211372" y="1012159"/>
                  <a:pt x="213195" y="1013981"/>
                  <a:pt x="216839" y="1015803"/>
                </a:cubicBezTo>
                <a:cubicBezTo>
                  <a:pt x="213195" y="1026736"/>
                  <a:pt x="233239" y="1024914"/>
                  <a:pt x="238705" y="1028559"/>
                </a:cubicBezTo>
                <a:cubicBezTo>
                  <a:pt x="235061" y="1023092"/>
                  <a:pt x="227772" y="1019448"/>
                  <a:pt x="224128" y="1015803"/>
                </a:cubicBezTo>
                <a:cubicBezTo>
                  <a:pt x="220483" y="1017625"/>
                  <a:pt x="218661" y="1015803"/>
                  <a:pt x="216839" y="1013981"/>
                </a:cubicBezTo>
                <a:cubicBezTo>
                  <a:pt x="218661" y="1013981"/>
                  <a:pt x="218661" y="1015803"/>
                  <a:pt x="220483" y="1013981"/>
                </a:cubicBezTo>
                <a:cubicBezTo>
                  <a:pt x="222306" y="1012159"/>
                  <a:pt x="215017" y="1012159"/>
                  <a:pt x="215017" y="1008515"/>
                </a:cubicBezTo>
                <a:cubicBezTo>
                  <a:pt x="205906" y="997582"/>
                  <a:pt x="194973" y="992115"/>
                  <a:pt x="185862" y="995759"/>
                </a:cubicBezTo>
                <a:close/>
                <a:moveTo>
                  <a:pt x="1255071" y="995665"/>
                </a:moveTo>
                <a:lnTo>
                  <a:pt x="1255478" y="995759"/>
                </a:lnTo>
                <a:lnTo>
                  <a:pt x="1255333" y="995832"/>
                </a:lnTo>
                <a:close/>
                <a:moveTo>
                  <a:pt x="2917301" y="993937"/>
                </a:moveTo>
                <a:cubicBezTo>
                  <a:pt x="2915479" y="999403"/>
                  <a:pt x="2919123" y="1006692"/>
                  <a:pt x="2920945" y="1012159"/>
                </a:cubicBezTo>
                <a:cubicBezTo>
                  <a:pt x="2935523" y="1012159"/>
                  <a:pt x="2940989" y="1004870"/>
                  <a:pt x="2951922" y="1001226"/>
                </a:cubicBezTo>
                <a:cubicBezTo>
                  <a:pt x="2942811" y="995759"/>
                  <a:pt x="2930056" y="990293"/>
                  <a:pt x="2917301" y="993937"/>
                </a:cubicBezTo>
                <a:close/>
                <a:moveTo>
                  <a:pt x="2374293" y="993937"/>
                </a:moveTo>
                <a:cubicBezTo>
                  <a:pt x="2365182" y="995759"/>
                  <a:pt x="2361538" y="1001226"/>
                  <a:pt x="2357893" y="1006692"/>
                </a:cubicBezTo>
                <a:cubicBezTo>
                  <a:pt x="2361538" y="1006692"/>
                  <a:pt x="2363360" y="1006692"/>
                  <a:pt x="2365182" y="1004870"/>
                </a:cubicBezTo>
                <a:cubicBezTo>
                  <a:pt x="2363360" y="1012159"/>
                  <a:pt x="2367004" y="1012159"/>
                  <a:pt x="2367004" y="1017625"/>
                </a:cubicBezTo>
                <a:cubicBezTo>
                  <a:pt x="2363360" y="1015803"/>
                  <a:pt x="2363360" y="1012159"/>
                  <a:pt x="2361538" y="1008515"/>
                </a:cubicBezTo>
                <a:cubicBezTo>
                  <a:pt x="2361538" y="1008515"/>
                  <a:pt x="2359716" y="1008515"/>
                  <a:pt x="2359716" y="1008515"/>
                </a:cubicBezTo>
                <a:lnTo>
                  <a:pt x="2361538" y="1012159"/>
                </a:lnTo>
                <a:lnTo>
                  <a:pt x="2348782" y="1012159"/>
                </a:lnTo>
                <a:cubicBezTo>
                  <a:pt x="2346960" y="1012159"/>
                  <a:pt x="2346960" y="1013981"/>
                  <a:pt x="2345138" y="1013981"/>
                </a:cubicBezTo>
                <a:cubicBezTo>
                  <a:pt x="2345138" y="1013981"/>
                  <a:pt x="2343316" y="1012159"/>
                  <a:pt x="2341494" y="1012159"/>
                </a:cubicBezTo>
                <a:lnTo>
                  <a:pt x="2336027" y="1012159"/>
                </a:lnTo>
                <a:cubicBezTo>
                  <a:pt x="2330561" y="1012159"/>
                  <a:pt x="2323272" y="1013981"/>
                  <a:pt x="2315983" y="1013981"/>
                </a:cubicBezTo>
                <a:lnTo>
                  <a:pt x="2328739" y="1023092"/>
                </a:lnTo>
                <a:cubicBezTo>
                  <a:pt x="2317806" y="1054069"/>
                  <a:pt x="2334205" y="1023092"/>
                  <a:pt x="2323272" y="1052247"/>
                </a:cubicBezTo>
                <a:cubicBezTo>
                  <a:pt x="2326916" y="1050425"/>
                  <a:pt x="2330561" y="1048602"/>
                  <a:pt x="2332383" y="1043136"/>
                </a:cubicBezTo>
                <a:cubicBezTo>
                  <a:pt x="2336027" y="1044958"/>
                  <a:pt x="2332383" y="1044958"/>
                  <a:pt x="2332383" y="1048602"/>
                </a:cubicBezTo>
                <a:cubicBezTo>
                  <a:pt x="2343316" y="1050425"/>
                  <a:pt x="2346960" y="1043136"/>
                  <a:pt x="2356071" y="1039492"/>
                </a:cubicBezTo>
                <a:cubicBezTo>
                  <a:pt x="2356071" y="1037669"/>
                  <a:pt x="2356071" y="1035847"/>
                  <a:pt x="2356071" y="1034025"/>
                </a:cubicBezTo>
                <a:cubicBezTo>
                  <a:pt x="2354249" y="1034025"/>
                  <a:pt x="2354249" y="1034025"/>
                  <a:pt x="2352427" y="1034025"/>
                </a:cubicBezTo>
                <a:cubicBezTo>
                  <a:pt x="2354249" y="1028559"/>
                  <a:pt x="2357893" y="1030381"/>
                  <a:pt x="2357893" y="1024914"/>
                </a:cubicBezTo>
                <a:cubicBezTo>
                  <a:pt x="2365182" y="1023092"/>
                  <a:pt x="2363360" y="1032203"/>
                  <a:pt x="2368827" y="1032203"/>
                </a:cubicBezTo>
                <a:cubicBezTo>
                  <a:pt x="2365182" y="1034025"/>
                  <a:pt x="2356071" y="1043136"/>
                  <a:pt x="2365182" y="1043136"/>
                </a:cubicBezTo>
                <a:cubicBezTo>
                  <a:pt x="2365182" y="1039492"/>
                  <a:pt x="2365182" y="1037669"/>
                  <a:pt x="2367004" y="1035847"/>
                </a:cubicBezTo>
                <a:cubicBezTo>
                  <a:pt x="2368827" y="1037669"/>
                  <a:pt x="2368827" y="1041314"/>
                  <a:pt x="2370649" y="1043136"/>
                </a:cubicBezTo>
                <a:cubicBezTo>
                  <a:pt x="2379760" y="1043136"/>
                  <a:pt x="2376115" y="1035847"/>
                  <a:pt x="2381582" y="1041314"/>
                </a:cubicBezTo>
                <a:cubicBezTo>
                  <a:pt x="2381582" y="1039492"/>
                  <a:pt x="2381582" y="1037669"/>
                  <a:pt x="2381582" y="1035847"/>
                </a:cubicBezTo>
                <a:cubicBezTo>
                  <a:pt x="2379760" y="1034025"/>
                  <a:pt x="2374293" y="1039492"/>
                  <a:pt x="2376115" y="1032203"/>
                </a:cubicBezTo>
                <a:cubicBezTo>
                  <a:pt x="2377937" y="1026736"/>
                  <a:pt x="2379760" y="1032203"/>
                  <a:pt x="2381582" y="1030381"/>
                </a:cubicBezTo>
                <a:cubicBezTo>
                  <a:pt x="2379760" y="1026736"/>
                  <a:pt x="2383404" y="1023092"/>
                  <a:pt x="2381582" y="1021270"/>
                </a:cubicBezTo>
                <a:cubicBezTo>
                  <a:pt x="2383404" y="1010337"/>
                  <a:pt x="2374293" y="1008515"/>
                  <a:pt x="2374293" y="993937"/>
                </a:cubicBezTo>
                <a:close/>
                <a:moveTo>
                  <a:pt x="1080549" y="993937"/>
                </a:moveTo>
                <a:cubicBezTo>
                  <a:pt x="1078727" y="995759"/>
                  <a:pt x="1080549" y="997582"/>
                  <a:pt x="1082373" y="1001226"/>
                </a:cubicBezTo>
                <a:cubicBezTo>
                  <a:pt x="1084194" y="999403"/>
                  <a:pt x="1084194" y="999403"/>
                  <a:pt x="1086016" y="1001226"/>
                </a:cubicBezTo>
                <a:cubicBezTo>
                  <a:pt x="1086016" y="997582"/>
                  <a:pt x="1084194" y="993937"/>
                  <a:pt x="1080549" y="993937"/>
                </a:cubicBezTo>
                <a:close/>
                <a:moveTo>
                  <a:pt x="1067794" y="993937"/>
                </a:moveTo>
                <a:cubicBezTo>
                  <a:pt x="1064151" y="993937"/>
                  <a:pt x="1062328" y="995759"/>
                  <a:pt x="1058683" y="997582"/>
                </a:cubicBezTo>
                <a:cubicBezTo>
                  <a:pt x="1058683" y="997582"/>
                  <a:pt x="1060506" y="999403"/>
                  <a:pt x="1060506" y="999403"/>
                </a:cubicBezTo>
                <a:cubicBezTo>
                  <a:pt x="1058683" y="997582"/>
                  <a:pt x="1056861" y="995759"/>
                  <a:pt x="1055040" y="1001226"/>
                </a:cubicBezTo>
                <a:cubicBezTo>
                  <a:pt x="1060506" y="1004870"/>
                  <a:pt x="1062328" y="999403"/>
                  <a:pt x="1067794" y="1003047"/>
                </a:cubicBezTo>
                <a:cubicBezTo>
                  <a:pt x="1067794" y="1001226"/>
                  <a:pt x="1069616" y="1001226"/>
                  <a:pt x="1071439" y="999403"/>
                </a:cubicBezTo>
                <a:cubicBezTo>
                  <a:pt x="1069616" y="997582"/>
                  <a:pt x="1069616" y="995759"/>
                  <a:pt x="1067794" y="993937"/>
                </a:cubicBezTo>
                <a:close/>
                <a:moveTo>
                  <a:pt x="515676" y="993937"/>
                </a:moveTo>
                <a:cubicBezTo>
                  <a:pt x="519320" y="995759"/>
                  <a:pt x="521142" y="999403"/>
                  <a:pt x="524786" y="1001226"/>
                </a:cubicBezTo>
                <a:cubicBezTo>
                  <a:pt x="526609" y="997582"/>
                  <a:pt x="517498" y="992115"/>
                  <a:pt x="515676" y="993937"/>
                </a:cubicBezTo>
                <a:close/>
                <a:moveTo>
                  <a:pt x="435500" y="993937"/>
                </a:moveTo>
                <a:cubicBezTo>
                  <a:pt x="442789" y="1008515"/>
                  <a:pt x="455544" y="1021270"/>
                  <a:pt x="464655" y="1035847"/>
                </a:cubicBezTo>
                <a:lnTo>
                  <a:pt x="464970" y="1028120"/>
                </a:lnTo>
                <a:lnTo>
                  <a:pt x="466250" y="1037670"/>
                </a:lnTo>
                <a:cubicBezTo>
                  <a:pt x="466022" y="1045869"/>
                  <a:pt x="467388" y="1053158"/>
                  <a:pt x="479232" y="1057713"/>
                </a:cubicBezTo>
                <a:cubicBezTo>
                  <a:pt x="484700" y="1059535"/>
                  <a:pt x="473766" y="1052247"/>
                  <a:pt x="473766" y="1046780"/>
                </a:cubicBezTo>
                <a:cubicBezTo>
                  <a:pt x="477410" y="1050425"/>
                  <a:pt x="482876" y="1054069"/>
                  <a:pt x="484700" y="1057713"/>
                </a:cubicBezTo>
                <a:cubicBezTo>
                  <a:pt x="486521" y="1055891"/>
                  <a:pt x="488343" y="1055891"/>
                  <a:pt x="486521" y="1054069"/>
                </a:cubicBezTo>
                <a:lnTo>
                  <a:pt x="496910" y="1062933"/>
                </a:lnTo>
                <a:lnTo>
                  <a:pt x="491987" y="1059535"/>
                </a:lnTo>
                <a:cubicBezTo>
                  <a:pt x="491076" y="1064090"/>
                  <a:pt x="493809" y="1067735"/>
                  <a:pt x="498137" y="1070468"/>
                </a:cubicBezTo>
                <a:lnTo>
                  <a:pt x="508290" y="1074000"/>
                </a:lnTo>
                <a:lnTo>
                  <a:pt x="508387" y="1074113"/>
                </a:lnTo>
                <a:lnTo>
                  <a:pt x="508669" y="1074132"/>
                </a:lnTo>
                <a:lnTo>
                  <a:pt x="513853" y="1075935"/>
                </a:lnTo>
                <a:cubicBezTo>
                  <a:pt x="513853" y="1075935"/>
                  <a:pt x="512942" y="1075024"/>
                  <a:pt x="511804" y="1074341"/>
                </a:cubicBezTo>
                <a:lnTo>
                  <a:pt x="508669" y="1074132"/>
                </a:lnTo>
                <a:lnTo>
                  <a:pt x="508290" y="1074000"/>
                </a:lnTo>
                <a:lnTo>
                  <a:pt x="503758" y="1068713"/>
                </a:lnTo>
                <a:lnTo>
                  <a:pt x="524786" y="1077757"/>
                </a:lnTo>
                <a:cubicBezTo>
                  <a:pt x="521142" y="1074113"/>
                  <a:pt x="521142" y="1072291"/>
                  <a:pt x="519320" y="1068646"/>
                </a:cubicBezTo>
                <a:cubicBezTo>
                  <a:pt x="526609" y="1070469"/>
                  <a:pt x="533897" y="1083224"/>
                  <a:pt x="535719" y="1079579"/>
                </a:cubicBezTo>
                <a:cubicBezTo>
                  <a:pt x="537542" y="1070469"/>
                  <a:pt x="524786" y="1063180"/>
                  <a:pt x="512031" y="1054069"/>
                </a:cubicBezTo>
                <a:cubicBezTo>
                  <a:pt x="512031" y="1050425"/>
                  <a:pt x="512031" y="1050425"/>
                  <a:pt x="512031" y="1048602"/>
                </a:cubicBezTo>
                <a:cubicBezTo>
                  <a:pt x="517498" y="1052247"/>
                  <a:pt x="521142" y="1059535"/>
                  <a:pt x="530253" y="1061358"/>
                </a:cubicBezTo>
                <a:cubicBezTo>
                  <a:pt x="524786" y="1050425"/>
                  <a:pt x="517498" y="1043136"/>
                  <a:pt x="510209" y="1035847"/>
                </a:cubicBezTo>
                <a:cubicBezTo>
                  <a:pt x="521142" y="1043136"/>
                  <a:pt x="524786" y="1054069"/>
                  <a:pt x="533897" y="1063180"/>
                </a:cubicBezTo>
                <a:cubicBezTo>
                  <a:pt x="533897" y="1059535"/>
                  <a:pt x="532075" y="1059535"/>
                  <a:pt x="530253" y="1057713"/>
                </a:cubicBezTo>
                <a:lnTo>
                  <a:pt x="533897" y="1057713"/>
                </a:lnTo>
                <a:cubicBezTo>
                  <a:pt x="524786" y="1023092"/>
                  <a:pt x="471943" y="1013981"/>
                  <a:pt x="435500" y="993937"/>
                </a:cubicBezTo>
                <a:close/>
                <a:moveTo>
                  <a:pt x="289726" y="993937"/>
                </a:moveTo>
                <a:cubicBezTo>
                  <a:pt x="295193" y="997582"/>
                  <a:pt x="300660" y="1003047"/>
                  <a:pt x="306126" y="1004870"/>
                </a:cubicBezTo>
                <a:cubicBezTo>
                  <a:pt x="304303" y="997582"/>
                  <a:pt x="295193" y="990293"/>
                  <a:pt x="289726" y="993937"/>
                </a:cubicBezTo>
                <a:close/>
                <a:moveTo>
                  <a:pt x="85642" y="993937"/>
                </a:moveTo>
                <a:lnTo>
                  <a:pt x="95368" y="1002238"/>
                </a:lnTo>
                <a:lnTo>
                  <a:pt x="102042" y="1010337"/>
                </a:lnTo>
                <a:lnTo>
                  <a:pt x="94296" y="1004250"/>
                </a:lnTo>
                <a:close/>
                <a:moveTo>
                  <a:pt x="3247114" y="992115"/>
                </a:moveTo>
                <a:cubicBezTo>
                  <a:pt x="3247114" y="997582"/>
                  <a:pt x="3247114" y="1003047"/>
                  <a:pt x="3252581" y="1001226"/>
                </a:cubicBezTo>
                <a:cubicBezTo>
                  <a:pt x="3254403" y="997582"/>
                  <a:pt x="3250759" y="992115"/>
                  <a:pt x="3247114" y="992115"/>
                </a:cubicBezTo>
                <a:close/>
                <a:moveTo>
                  <a:pt x="3101340" y="992115"/>
                </a:moveTo>
                <a:cubicBezTo>
                  <a:pt x="3099518" y="995759"/>
                  <a:pt x="3103163" y="997582"/>
                  <a:pt x="3104985" y="1001226"/>
                </a:cubicBezTo>
                <a:cubicBezTo>
                  <a:pt x="3108629" y="1001226"/>
                  <a:pt x="3114096" y="1001226"/>
                  <a:pt x="3115918" y="999403"/>
                </a:cubicBezTo>
                <a:cubicBezTo>
                  <a:pt x="3117740" y="1003047"/>
                  <a:pt x="3123206" y="1003047"/>
                  <a:pt x="3125029" y="1004870"/>
                </a:cubicBezTo>
                <a:cubicBezTo>
                  <a:pt x="3130495" y="1004870"/>
                  <a:pt x="3126851" y="997582"/>
                  <a:pt x="3125029" y="997582"/>
                </a:cubicBezTo>
                <a:cubicBezTo>
                  <a:pt x="3115918" y="997582"/>
                  <a:pt x="3108629" y="995759"/>
                  <a:pt x="3101340" y="992115"/>
                </a:cubicBezTo>
                <a:close/>
                <a:moveTo>
                  <a:pt x="2591132" y="992115"/>
                </a:moveTo>
                <a:cubicBezTo>
                  <a:pt x="2592954" y="1003047"/>
                  <a:pt x="2591132" y="1013981"/>
                  <a:pt x="2605709" y="1015803"/>
                </a:cubicBezTo>
                <a:cubicBezTo>
                  <a:pt x="2607531" y="1015803"/>
                  <a:pt x="2598421" y="1021270"/>
                  <a:pt x="2605709" y="1019448"/>
                </a:cubicBezTo>
                <a:cubicBezTo>
                  <a:pt x="2611176" y="1019448"/>
                  <a:pt x="2609353" y="1010337"/>
                  <a:pt x="2616642" y="1010337"/>
                </a:cubicBezTo>
                <a:cubicBezTo>
                  <a:pt x="2607531" y="1006692"/>
                  <a:pt x="2602065" y="997582"/>
                  <a:pt x="2591132" y="992115"/>
                </a:cubicBezTo>
                <a:close/>
                <a:moveTo>
                  <a:pt x="1182592" y="992115"/>
                </a:moveTo>
                <a:cubicBezTo>
                  <a:pt x="1182592" y="993937"/>
                  <a:pt x="1186236" y="997582"/>
                  <a:pt x="1189880" y="1001226"/>
                </a:cubicBezTo>
                <a:cubicBezTo>
                  <a:pt x="1189880" y="999403"/>
                  <a:pt x="1188058" y="1001226"/>
                  <a:pt x="1186236" y="999403"/>
                </a:cubicBezTo>
                <a:cubicBezTo>
                  <a:pt x="1184414" y="999403"/>
                  <a:pt x="1184414" y="999403"/>
                  <a:pt x="1182592" y="1001226"/>
                </a:cubicBezTo>
                <a:cubicBezTo>
                  <a:pt x="1184414" y="997582"/>
                  <a:pt x="1180769" y="995759"/>
                  <a:pt x="1182592" y="992115"/>
                </a:cubicBezTo>
                <a:close/>
                <a:moveTo>
                  <a:pt x="1089660" y="992115"/>
                </a:moveTo>
                <a:cubicBezTo>
                  <a:pt x="1091484" y="995759"/>
                  <a:pt x="1086016" y="997582"/>
                  <a:pt x="1086016" y="997582"/>
                </a:cubicBezTo>
                <a:cubicBezTo>
                  <a:pt x="1089660" y="1003047"/>
                  <a:pt x="1095127" y="1001226"/>
                  <a:pt x="1100593" y="999403"/>
                </a:cubicBezTo>
                <a:cubicBezTo>
                  <a:pt x="1098771" y="995759"/>
                  <a:pt x="1093305" y="995759"/>
                  <a:pt x="1089660" y="992115"/>
                </a:cubicBezTo>
                <a:close/>
                <a:moveTo>
                  <a:pt x="1073262" y="992115"/>
                </a:moveTo>
                <a:cubicBezTo>
                  <a:pt x="1075083" y="993937"/>
                  <a:pt x="1075083" y="995759"/>
                  <a:pt x="1076905" y="993937"/>
                </a:cubicBezTo>
                <a:cubicBezTo>
                  <a:pt x="1076905" y="995759"/>
                  <a:pt x="1076905" y="995759"/>
                  <a:pt x="1075083" y="997582"/>
                </a:cubicBezTo>
                <a:cubicBezTo>
                  <a:pt x="1076905" y="997582"/>
                  <a:pt x="1076905" y="999403"/>
                  <a:pt x="1078727" y="999403"/>
                </a:cubicBezTo>
                <a:cubicBezTo>
                  <a:pt x="1082373" y="997582"/>
                  <a:pt x="1075083" y="988471"/>
                  <a:pt x="1073262" y="992115"/>
                </a:cubicBezTo>
                <a:close/>
                <a:moveTo>
                  <a:pt x="570341" y="992115"/>
                </a:moveTo>
                <a:cubicBezTo>
                  <a:pt x="568519" y="999403"/>
                  <a:pt x="577630" y="1004870"/>
                  <a:pt x="584919" y="1006692"/>
                </a:cubicBezTo>
                <a:cubicBezTo>
                  <a:pt x="584919" y="999403"/>
                  <a:pt x="575808" y="995759"/>
                  <a:pt x="570341" y="992115"/>
                </a:cubicBezTo>
                <a:close/>
                <a:moveTo>
                  <a:pt x="318882" y="992115"/>
                </a:moveTo>
                <a:cubicBezTo>
                  <a:pt x="322525" y="992115"/>
                  <a:pt x="324347" y="997582"/>
                  <a:pt x="327993" y="999403"/>
                </a:cubicBezTo>
                <a:cubicBezTo>
                  <a:pt x="327993" y="997582"/>
                  <a:pt x="322525" y="990293"/>
                  <a:pt x="318882" y="992115"/>
                </a:cubicBezTo>
                <a:close/>
                <a:moveTo>
                  <a:pt x="302481" y="992115"/>
                </a:moveTo>
                <a:cubicBezTo>
                  <a:pt x="302481" y="992115"/>
                  <a:pt x="302481" y="993937"/>
                  <a:pt x="302481" y="993937"/>
                </a:cubicBezTo>
                <a:cubicBezTo>
                  <a:pt x="306126" y="997582"/>
                  <a:pt x="307948" y="999403"/>
                  <a:pt x="311592" y="1001226"/>
                </a:cubicBezTo>
                <a:cubicBezTo>
                  <a:pt x="309771" y="997582"/>
                  <a:pt x="306126" y="995759"/>
                  <a:pt x="302481" y="992115"/>
                </a:cubicBezTo>
                <a:close/>
                <a:moveTo>
                  <a:pt x="914804" y="992042"/>
                </a:moveTo>
                <a:lnTo>
                  <a:pt x="915187" y="992342"/>
                </a:lnTo>
                <a:lnTo>
                  <a:pt x="915306" y="992498"/>
                </a:lnTo>
                <a:lnTo>
                  <a:pt x="914732" y="992115"/>
                </a:lnTo>
                <a:close/>
                <a:moveTo>
                  <a:pt x="3265331" y="990349"/>
                </a:moveTo>
                <a:lnTo>
                  <a:pt x="3268753" y="992115"/>
                </a:lnTo>
                <a:cubicBezTo>
                  <a:pt x="3269436" y="996215"/>
                  <a:pt x="3268980" y="1002137"/>
                  <a:pt x="3268980" y="1006692"/>
                </a:cubicBezTo>
                <a:cubicBezTo>
                  <a:pt x="3265336" y="1005781"/>
                  <a:pt x="3264425" y="1003503"/>
                  <a:pt x="3264425" y="1000542"/>
                </a:cubicBezTo>
                <a:close/>
                <a:moveTo>
                  <a:pt x="3438443" y="990293"/>
                </a:moveTo>
                <a:cubicBezTo>
                  <a:pt x="3434798" y="988471"/>
                  <a:pt x="3436621" y="997582"/>
                  <a:pt x="3434798" y="993937"/>
                </a:cubicBezTo>
                <a:cubicBezTo>
                  <a:pt x="3434798" y="995759"/>
                  <a:pt x="3434798" y="997582"/>
                  <a:pt x="3427510" y="997582"/>
                </a:cubicBezTo>
                <a:cubicBezTo>
                  <a:pt x="3431154" y="1004870"/>
                  <a:pt x="3436621" y="1004870"/>
                  <a:pt x="3445731" y="1004870"/>
                </a:cubicBezTo>
                <a:cubicBezTo>
                  <a:pt x="3447553" y="995759"/>
                  <a:pt x="3440265" y="995759"/>
                  <a:pt x="3438443" y="990293"/>
                </a:cubicBezTo>
                <a:close/>
                <a:moveTo>
                  <a:pt x="3374666" y="990293"/>
                </a:moveTo>
                <a:cubicBezTo>
                  <a:pt x="3371022" y="995759"/>
                  <a:pt x="3360089" y="1003047"/>
                  <a:pt x="3367378" y="1006692"/>
                </a:cubicBezTo>
                <a:cubicBezTo>
                  <a:pt x="3380133" y="1006692"/>
                  <a:pt x="3389244" y="1006692"/>
                  <a:pt x="3381955" y="1001226"/>
                </a:cubicBezTo>
                <a:cubicBezTo>
                  <a:pt x="3380133" y="1001226"/>
                  <a:pt x="3378311" y="1003047"/>
                  <a:pt x="3378311" y="1003047"/>
                </a:cubicBezTo>
                <a:cubicBezTo>
                  <a:pt x="3378311" y="997582"/>
                  <a:pt x="3376489" y="993937"/>
                  <a:pt x="3374666" y="990293"/>
                </a:cubicBezTo>
                <a:close/>
                <a:moveTo>
                  <a:pt x="3265336" y="990293"/>
                </a:moveTo>
                <a:lnTo>
                  <a:pt x="3265331" y="990349"/>
                </a:lnTo>
                <a:lnTo>
                  <a:pt x="3265267" y="990316"/>
                </a:lnTo>
                <a:close/>
                <a:moveTo>
                  <a:pt x="2931878" y="990293"/>
                </a:moveTo>
                <a:cubicBezTo>
                  <a:pt x="2939167" y="993937"/>
                  <a:pt x="2951922" y="999403"/>
                  <a:pt x="2959211" y="997582"/>
                </a:cubicBezTo>
                <a:cubicBezTo>
                  <a:pt x="2953744" y="992115"/>
                  <a:pt x="2940989" y="988471"/>
                  <a:pt x="2931878" y="990293"/>
                </a:cubicBezTo>
                <a:close/>
                <a:moveTo>
                  <a:pt x="854600" y="990293"/>
                </a:moveTo>
                <a:cubicBezTo>
                  <a:pt x="853689" y="991204"/>
                  <a:pt x="854144" y="992570"/>
                  <a:pt x="855055" y="994165"/>
                </a:cubicBezTo>
                <a:lnTo>
                  <a:pt x="858243" y="999403"/>
                </a:lnTo>
                <a:lnTo>
                  <a:pt x="854600" y="995759"/>
                </a:lnTo>
                <a:cubicBezTo>
                  <a:pt x="856422" y="1001226"/>
                  <a:pt x="854600" y="997582"/>
                  <a:pt x="850956" y="1001226"/>
                </a:cubicBezTo>
                <a:lnTo>
                  <a:pt x="852778" y="1003047"/>
                </a:lnTo>
                <a:lnTo>
                  <a:pt x="849133" y="1006692"/>
                </a:lnTo>
                <a:cubicBezTo>
                  <a:pt x="849133" y="1008515"/>
                  <a:pt x="852778" y="1008515"/>
                  <a:pt x="854600" y="1006692"/>
                </a:cubicBezTo>
                <a:lnTo>
                  <a:pt x="852778" y="1003048"/>
                </a:lnTo>
                <a:lnTo>
                  <a:pt x="856422" y="1006692"/>
                </a:lnTo>
                <a:cubicBezTo>
                  <a:pt x="860066" y="1004870"/>
                  <a:pt x="858244" y="1003047"/>
                  <a:pt x="860066" y="1001226"/>
                </a:cubicBezTo>
                <a:lnTo>
                  <a:pt x="858244" y="999403"/>
                </a:lnTo>
                <a:lnTo>
                  <a:pt x="859838" y="993481"/>
                </a:lnTo>
                <a:cubicBezTo>
                  <a:pt x="859155" y="991659"/>
                  <a:pt x="857333" y="990293"/>
                  <a:pt x="854600" y="990293"/>
                </a:cubicBezTo>
                <a:close/>
                <a:moveTo>
                  <a:pt x="340747" y="990293"/>
                </a:moveTo>
                <a:cubicBezTo>
                  <a:pt x="340747" y="993937"/>
                  <a:pt x="340747" y="997582"/>
                  <a:pt x="348037" y="1001226"/>
                </a:cubicBezTo>
                <a:cubicBezTo>
                  <a:pt x="340747" y="995759"/>
                  <a:pt x="351680" y="999403"/>
                  <a:pt x="349858" y="997582"/>
                </a:cubicBezTo>
                <a:cubicBezTo>
                  <a:pt x="346213" y="995759"/>
                  <a:pt x="346213" y="993937"/>
                  <a:pt x="340747" y="990293"/>
                </a:cubicBezTo>
                <a:close/>
                <a:moveTo>
                  <a:pt x="76532" y="990293"/>
                </a:moveTo>
                <a:lnTo>
                  <a:pt x="94296" y="1004250"/>
                </a:lnTo>
                <a:lnTo>
                  <a:pt x="102270" y="1013753"/>
                </a:lnTo>
                <a:lnTo>
                  <a:pt x="104342" y="1015878"/>
                </a:lnTo>
                <a:close/>
                <a:moveTo>
                  <a:pt x="1392161" y="990006"/>
                </a:moveTo>
                <a:lnTo>
                  <a:pt x="1392141" y="990293"/>
                </a:lnTo>
                <a:lnTo>
                  <a:pt x="1391796" y="990687"/>
                </a:lnTo>
                <a:close/>
                <a:moveTo>
                  <a:pt x="69248" y="988520"/>
                </a:moveTo>
                <a:lnTo>
                  <a:pt x="74709" y="993982"/>
                </a:lnTo>
                <a:lnTo>
                  <a:pt x="69254" y="988527"/>
                </a:lnTo>
                <a:close/>
                <a:moveTo>
                  <a:pt x="3041209" y="988471"/>
                </a:moveTo>
                <a:cubicBezTo>
                  <a:pt x="3039387" y="990293"/>
                  <a:pt x="3030276" y="992115"/>
                  <a:pt x="3035742" y="997582"/>
                </a:cubicBezTo>
                <a:cubicBezTo>
                  <a:pt x="3037564" y="993937"/>
                  <a:pt x="3044853" y="990293"/>
                  <a:pt x="3052142" y="992115"/>
                </a:cubicBezTo>
                <a:cubicBezTo>
                  <a:pt x="3052142" y="988471"/>
                  <a:pt x="3044853" y="988471"/>
                  <a:pt x="3041209" y="988471"/>
                </a:cubicBezTo>
                <a:close/>
                <a:moveTo>
                  <a:pt x="2576554" y="988471"/>
                </a:moveTo>
                <a:cubicBezTo>
                  <a:pt x="2569266" y="990293"/>
                  <a:pt x="2561977" y="992115"/>
                  <a:pt x="2554688" y="993937"/>
                </a:cubicBezTo>
                <a:cubicBezTo>
                  <a:pt x="2554688" y="997582"/>
                  <a:pt x="2558332" y="997582"/>
                  <a:pt x="2558332" y="1003047"/>
                </a:cubicBezTo>
                <a:cubicBezTo>
                  <a:pt x="2552866" y="992115"/>
                  <a:pt x="2543755" y="995759"/>
                  <a:pt x="2534644" y="999403"/>
                </a:cubicBezTo>
                <a:cubicBezTo>
                  <a:pt x="2538289" y="1006692"/>
                  <a:pt x="2531000" y="1004870"/>
                  <a:pt x="2532822" y="1010337"/>
                </a:cubicBezTo>
                <a:cubicBezTo>
                  <a:pt x="2525534" y="1010337"/>
                  <a:pt x="2534644" y="1001226"/>
                  <a:pt x="2525534" y="1003047"/>
                </a:cubicBezTo>
                <a:cubicBezTo>
                  <a:pt x="2527356" y="1010337"/>
                  <a:pt x="2527356" y="1017625"/>
                  <a:pt x="2525534" y="1019448"/>
                </a:cubicBezTo>
                <a:cubicBezTo>
                  <a:pt x="2521889" y="1023092"/>
                  <a:pt x="2516423" y="1015803"/>
                  <a:pt x="2516423" y="1023092"/>
                </a:cubicBezTo>
                <a:cubicBezTo>
                  <a:pt x="2512778" y="1021270"/>
                  <a:pt x="2516423" y="1015803"/>
                  <a:pt x="2514600" y="1013981"/>
                </a:cubicBezTo>
                <a:cubicBezTo>
                  <a:pt x="2505490" y="1004870"/>
                  <a:pt x="2496379" y="1017625"/>
                  <a:pt x="2494556" y="1024914"/>
                </a:cubicBezTo>
                <a:cubicBezTo>
                  <a:pt x="2492734" y="1026736"/>
                  <a:pt x="2492734" y="1034025"/>
                  <a:pt x="2498201" y="1034025"/>
                </a:cubicBezTo>
                <a:cubicBezTo>
                  <a:pt x="2503667" y="1034025"/>
                  <a:pt x="2503667" y="1026736"/>
                  <a:pt x="2505490" y="1023092"/>
                </a:cubicBezTo>
                <a:cubicBezTo>
                  <a:pt x="2512778" y="1028559"/>
                  <a:pt x="2501845" y="1035847"/>
                  <a:pt x="2503667" y="1041314"/>
                </a:cubicBezTo>
                <a:cubicBezTo>
                  <a:pt x="2507312" y="1057713"/>
                  <a:pt x="2512778" y="1077757"/>
                  <a:pt x="2534644" y="1085046"/>
                </a:cubicBezTo>
                <a:cubicBezTo>
                  <a:pt x="2532822" y="1086868"/>
                  <a:pt x="2531000" y="1088690"/>
                  <a:pt x="2532822" y="1090512"/>
                </a:cubicBezTo>
                <a:cubicBezTo>
                  <a:pt x="2538289" y="1090512"/>
                  <a:pt x="2541933" y="1085046"/>
                  <a:pt x="2541933" y="1079579"/>
                </a:cubicBezTo>
                <a:cubicBezTo>
                  <a:pt x="2545577" y="1083224"/>
                  <a:pt x="2551044" y="1083224"/>
                  <a:pt x="2549222" y="1090512"/>
                </a:cubicBezTo>
                <a:lnTo>
                  <a:pt x="2566781" y="1085093"/>
                </a:lnTo>
                <a:lnTo>
                  <a:pt x="2561322" y="1091252"/>
                </a:lnTo>
                <a:cubicBezTo>
                  <a:pt x="2557080" y="1093815"/>
                  <a:pt x="2551500" y="1095068"/>
                  <a:pt x="2543755" y="1094157"/>
                </a:cubicBezTo>
                <a:cubicBezTo>
                  <a:pt x="2545577" y="1099623"/>
                  <a:pt x="2541933" y="1099623"/>
                  <a:pt x="2540111" y="1101445"/>
                </a:cubicBezTo>
                <a:cubicBezTo>
                  <a:pt x="2540111" y="1106912"/>
                  <a:pt x="2541933" y="1112378"/>
                  <a:pt x="2541933" y="1117845"/>
                </a:cubicBezTo>
                <a:cubicBezTo>
                  <a:pt x="2549222" y="1116023"/>
                  <a:pt x="2545577" y="1117845"/>
                  <a:pt x="2545577" y="1123312"/>
                </a:cubicBezTo>
                <a:cubicBezTo>
                  <a:pt x="2552866" y="1125134"/>
                  <a:pt x="2549222" y="1117845"/>
                  <a:pt x="2554688" y="1117845"/>
                </a:cubicBezTo>
                <a:cubicBezTo>
                  <a:pt x="2552866" y="1114201"/>
                  <a:pt x="2551044" y="1108734"/>
                  <a:pt x="2551044" y="1103268"/>
                </a:cubicBezTo>
                <a:cubicBezTo>
                  <a:pt x="2556510" y="1103268"/>
                  <a:pt x="2554688" y="1110556"/>
                  <a:pt x="2558332" y="1110556"/>
                </a:cubicBezTo>
                <a:cubicBezTo>
                  <a:pt x="2561977" y="1112378"/>
                  <a:pt x="2565621" y="1105090"/>
                  <a:pt x="2560155" y="1106912"/>
                </a:cubicBezTo>
                <a:cubicBezTo>
                  <a:pt x="2560155" y="1103268"/>
                  <a:pt x="2561977" y="1108734"/>
                  <a:pt x="2565621" y="1106912"/>
                </a:cubicBezTo>
                <a:cubicBezTo>
                  <a:pt x="2569266" y="1094157"/>
                  <a:pt x="2587487" y="1097801"/>
                  <a:pt x="2585665" y="1081402"/>
                </a:cubicBezTo>
                <a:cubicBezTo>
                  <a:pt x="2598421" y="1083224"/>
                  <a:pt x="2605709" y="1063180"/>
                  <a:pt x="2616642" y="1055891"/>
                </a:cubicBezTo>
                <a:cubicBezTo>
                  <a:pt x="2616642" y="1052247"/>
                  <a:pt x="2614820" y="1052247"/>
                  <a:pt x="2614820" y="1050425"/>
                </a:cubicBezTo>
                <a:cubicBezTo>
                  <a:pt x="2609353" y="1050425"/>
                  <a:pt x="2605709" y="1054069"/>
                  <a:pt x="2605709" y="1059535"/>
                </a:cubicBezTo>
                <a:cubicBezTo>
                  <a:pt x="2603887" y="1057713"/>
                  <a:pt x="2602065" y="1054069"/>
                  <a:pt x="2600243" y="1052247"/>
                </a:cubicBezTo>
                <a:cubicBezTo>
                  <a:pt x="2596598" y="1055891"/>
                  <a:pt x="2592954" y="1063180"/>
                  <a:pt x="2585665" y="1055891"/>
                </a:cubicBezTo>
                <a:cubicBezTo>
                  <a:pt x="2578377" y="1061357"/>
                  <a:pt x="2575643" y="1071835"/>
                  <a:pt x="2570860" y="1080490"/>
                </a:cubicBezTo>
                <a:lnTo>
                  <a:pt x="2568485" y="1083171"/>
                </a:lnTo>
                <a:lnTo>
                  <a:pt x="2576554" y="1066824"/>
                </a:lnTo>
                <a:cubicBezTo>
                  <a:pt x="2574732" y="1061358"/>
                  <a:pt x="2569266" y="1061358"/>
                  <a:pt x="2567443" y="1055891"/>
                </a:cubicBezTo>
                <a:cubicBezTo>
                  <a:pt x="2571088" y="1054069"/>
                  <a:pt x="2572910" y="1057713"/>
                  <a:pt x="2578377" y="1057713"/>
                </a:cubicBezTo>
                <a:cubicBezTo>
                  <a:pt x="2576554" y="1046780"/>
                  <a:pt x="2583843" y="1039492"/>
                  <a:pt x="2580199" y="1030381"/>
                </a:cubicBezTo>
                <a:cubicBezTo>
                  <a:pt x="2578377" y="1030381"/>
                  <a:pt x="2578377" y="1026736"/>
                  <a:pt x="2574732" y="1028559"/>
                </a:cubicBezTo>
                <a:cubicBezTo>
                  <a:pt x="2572910" y="1021270"/>
                  <a:pt x="2578377" y="1021270"/>
                  <a:pt x="2576554" y="1013981"/>
                </a:cubicBezTo>
                <a:cubicBezTo>
                  <a:pt x="2582021" y="1013981"/>
                  <a:pt x="2580199" y="1021270"/>
                  <a:pt x="2585665" y="1021270"/>
                </a:cubicBezTo>
                <a:cubicBezTo>
                  <a:pt x="2580199" y="1008515"/>
                  <a:pt x="2591132" y="1004870"/>
                  <a:pt x="2587487" y="990293"/>
                </a:cubicBezTo>
                <a:cubicBezTo>
                  <a:pt x="2585665" y="990293"/>
                  <a:pt x="2585665" y="986649"/>
                  <a:pt x="2582021" y="988471"/>
                </a:cubicBezTo>
                <a:cubicBezTo>
                  <a:pt x="2582021" y="995759"/>
                  <a:pt x="2582021" y="990293"/>
                  <a:pt x="2578377" y="990293"/>
                </a:cubicBezTo>
                <a:cubicBezTo>
                  <a:pt x="2580199" y="993937"/>
                  <a:pt x="2576554" y="993937"/>
                  <a:pt x="2578377" y="997582"/>
                </a:cubicBezTo>
                <a:cubicBezTo>
                  <a:pt x="2574732" y="993937"/>
                  <a:pt x="2578377" y="992115"/>
                  <a:pt x="2576554" y="988471"/>
                </a:cubicBezTo>
                <a:close/>
                <a:moveTo>
                  <a:pt x="1264589" y="988471"/>
                </a:moveTo>
                <a:cubicBezTo>
                  <a:pt x="1268233" y="986649"/>
                  <a:pt x="1264589" y="990293"/>
                  <a:pt x="1268233" y="990293"/>
                </a:cubicBezTo>
                <a:lnTo>
                  <a:pt x="1260074" y="998849"/>
                </a:lnTo>
                <a:lnTo>
                  <a:pt x="1259943" y="998766"/>
                </a:lnTo>
                <a:lnTo>
                  <a:pt x="1260261" y="997809"/>
                </a:lnTo>
                <a:cubicBezTo>
                  <a:pt x="1259578" y="996670"/>
                  <a:pt x="1258211" y="995759"/>
                  <a:pt x="1257300" y="995759"/>
                </a:cubicBezTo>
                <a:cubicBezTo>
                  <a:pt x="1259123" y="993937"/>
                  <a:pt x="1268233" y="992115"/>
                  <a:pt x="1264589" y="988471"/>
                </a:cubicBezTo>
                <a:close/>
                <a:moveTo>
                  <a:pt x="1058683" y="988471"/>
                </a:moveTo>
                <a:cubicBezTo>
                  <a:pt x="1058683" y="990293"/>
                  <a:pt x="1056861" y="990293"/>
                  <a:pt x="1055040" y="992115"/>
                </a:cubicBezTo>
                <a:cubicBezTo>
                  <a:pt x="1056861" y="993937"/>
                  <a:pt x="1060506" y="990293"/>
                  <a:pt x="1058683" y="988471"/>
                </a:cubicBezTo>
                <a:close/>
                <a:moveTo>
                  <a:pt x="900154" y="988471"/>
                </a:moveTo>
                <a:cubicBezTo>
                  <a:pt x="892866" y="990293"/>
                  <a:pt x="887399" y="995759"/>
                  <a:pt x="881933" y="1001226"/>
                </a:cubicBezTo>
                <a:cubicBezTo>
                  <a:pt x="883755" y="1004870"/>
                  <a:pt x="885577" y="1010337"/>
                  <a:pt x="887399" y="1013981"/>
                </a:cubicBezTo>
                <a:cubicBezTo>
                  <a:pt x="887399" y="1012159"/>
                  <a:pt x="889222" y="1012159"/>
                  <a:pt x="889222" y="1010337"/>
                </a:cubicBezTo>
                <a:cubicBezTo>
                  <a:pt x="891043" y="1010337"/>
                  <a:pt x="887399" y="1015803"/>
                  <a:pt x="887399" y="1019448"/>
                </a:cubicBezTo>
                <a:cubicBezTo>
                  <a:pt x="891043" y="1023092"/>
                  <a:pt x="894688" y="1026736"/>
                  <a:pt x="898333" y="1028559"/>
                </a:cubicBezTo>
                <a:cubicBezTo>
                  <a:pt x="900154" y="1026736"/>
                  <a:pt x="898333" y="1024914"/>
                  <a:pt x="900154" y="1023092"/>
                </a:cubicBezTo>
                <a:cubicBezTo>
                  <a:pt x="901976" y="1024914"/>
                  <a:pt x="900154" y="1024914"/>
                  <a:pt x="901976" y="1026736"/>
                </a:cubicBezTo>
                <a:cubicBezTo>
                  <a:pt x="905621" y="1023092"/>
                  <a:pt x="903799" y="1021270"/>
                  <a:pt x="905621" y="1017625"/>
                </a:cubicBezTo>
                <a:cubicBezTo>
                  <a:pt x="903799" y="1015803"/>
                  <a:pt x="903799" y="1017625"/>
                  <a:pt x="901976" y="1015803"/>
                </a:cubicBezTo>
                <a:cubicBezTo>
                  <a:pt x="900154" y="1013981"/>
                  <a:pt x="901976" y="1012159"/>
                  <a:pt x="900154" y="1010337"/>
                </a:cubicBezTo>
                <a:cubicBezTo>
                  <a:pt x="901976" y="1010337"/>
                  <a:pt x="901976" y="1013981"/>
                  <a:pt x="903799" y="1015803"/>
                </a:cubicBezTo>
                <a:cubicBezTo>
                  <a:pt x="907444" y="1013981"/>
                  <a:pt x="903799" y="1012159"/>
                  <a:pt x="905621" y="1010337"/>
                </a:cubicBezTo>
                <a:cubicBezTo>
                  <a:pt x="907444" y="1012159"/>
                  <a:pt x="905621" y="1013981"/>
                  <a:pt x="907444" y="1015803"/>
                </a:cubicBezTo>
                <a:cubicBezTo>
                  <a:pt x="911087" y="1013981"/>
                  <a:pt x="907444" y="1019448"/>
                  <a:pt x="911087" y="1019448"/>
                </a:cubicBezTo>
                <a:lnTo>
                  <a:pt x="911475" y="1013827"/>
                </a:lnTo>
                <a:lnTo>
                  <a:pt x="912909" y="1026736"/>
                </a:lnTo>
                <a:cubicBezTo>
                  <a:pt x="916555" y="1023092"/>
                  <a:pt x="914732" y="1021270"/>
                  <a:pt x="918376" y="1017625"/>
                </a:cubicBezTo>
                <a:cubicBezTo>
                  <a:pt x="916555" y="1013981"/>
                  <a:pt x="918376" y="1010337"/>
                  <a:pt x="912909" y="1006692"/>
                </a:cubicBezTo>
                <a:cubicBezTo>
                  <a:pt x="911087" y="1008515"/>
                  <a:pt x="911087" y="1010337"/>
                  <a:pt x="912909" y="1012159"/>
                </a:cubicBezTo>
                <a:cubicBezTo>
                  <a:pt x="912909" y="1012159"/>
                  <a:pt x="911087" y="1010337"/>
                  <a:pt x="911087" y="1010337"/>
                </a:cubicBezTo>
                <a:lnTo>
                  <a:pt x="911253" y="1011825"/>
                </a:lnTo>
                <a:lnTo>
                  <a:pt x="909720" y="1006464"/>
                </a:lnTo>
                <a:lnTo>
                  <a:pt x="912909" y="1004870"/>
                </a:lnTo>
                <a:cubicBezTo>
                  <a:pt x="912909" y="1001226"/>
                  <a:pt x="912909" y="999403"/>
                  <a:pt x="911087" y="997582"/>
                </a:cubicBezTo>
                <a:lnTo>
                  <a:pt x="909479" y="1005620"/>
                </a:lnTo>
                <a:lnTo>
                  <a:pt x="909265" y="1004870"/>
                </a:lnTo>
                <a:cubicBezTo>
                  <a:pt x="907444" y="1004870"/>
                  <a:pt x="907444" y="1004870"/>
                  <a:pt x="905621" y="1006692"/>
                </a:cubicBezTo>
                <a:cubicBezTo>
                  <a:pt x="903799" y="999403"/>
                  <a:pt x="905621" y="993937"/>
                  <a:pt x="900154" y="988471"/>
                </a:cubicBezTo>
                <a:close/>
                <a:moveTo>
                  <a:pt x="708826" y="988471"/>
                </a:moveTo>
                <a:cubicBezTo>
                  <a:pt x="707004" y="988471"/>
                  <a:pt x="705182" y="990293"/>
                  <a:pt x="705182" y="992115"/>
                </a:cubicBezTo>
                <a:cubicBezTo>
                  <a:pt x="708826" y="993937"/>
                  <a:pt x="710648" y="993937"/>
                  <a:pt x="712470" y="995759"/>
                </a:cubicBezTo>
                <a:cubicBezTo>
                  <a:pt x="714293" y="993937"/>
                  <a:pt x="710648" y="990293"/>
                  <a:pt x="708826" y="988471"/>
                </a:cubicBezTo>
                <a:close/>
                <a:moveTo>
                  <a:pt x="685138" y="988471"/>
                </a:moveTo>
                <a:cubicBezTo>
                  <a:pt x="679671" y="993937"/>
                  <a:pt x="688782" y="992115"/>
                  <a:pt x="692426" y="990293"/>
                </a:cubicBezTo>
                <a:cubicBezTo>
                  <a:pt x="690604" y="990293"/>
                  <a:pt x="686960" y="988471"/>
                  <a:pt x="685138" y="988471"/>
                </a:cubicBezTo>
                <a:close/>
                <a:moveTo>
                  <a:pt x="395412" y="988471"/>
                </a:moveTo>
                <a:cubicBezTo>
                  <a:pt x="388123" y="988471"/>
                  <a:pt x="382657" y="992115"/>
                  <a:pt x="380835" y="999403"/>
                </a:cubicBezTo>
                <a:cubicBezTo>
                  <a:pt x="386301" y="1006692"/>
                  <a:pt x="388123" y="1015803"/>
                  <a:pt x="399056" y="1013981"/>
                </a:cubicBezTo>
                <a:cubicBezTo>
                  <a:pt x="397234" y="1012159"/>
                  <a:pt x="395412" y="1012159"/>
                  <a:pt x="397234" y="1010337"/>
                </a:cubicBezTo>
                <a:cubicBezTo>
                  <a:pt x="406345" y="1017625"/>
                  <a:pt x="419100" y="1021270"/>
                  <a:pt x="426389" y="1030381"/>
                </a:cubicBezTo>
                <a:cubicBezTo>
                  <a:pt x="422745" y="1013981"/>
                  <a:pt x="406345" y="1001226"/>
                  <a:pt x="395412" y="988471"/>
                </a:cubicBezTo>
                <a:close/>
                <a:moveTo>
                  <a:pt x="377190" y="988471"/>
                </a:moveTo>
                <a:cubicBezTo>
                  <a:pt x="375368" y="990293"/>
                  <a:pt x="380835" y="993937"/>
                  <a:pt x="380835" y="990293"/>
                </a:cubicBezTo>
                <a:cubicBezTo>
                  <a:pt x="379012" y="988471"/>
                  <a:pt x="379012" y="988471"/>
                  <a:pt x="377190" y="988471"/>
                </a:cubicBezTo>
                <a:close/>
                <a:moveTo>
                  <a:pt x="371724" y="988471"/>
                </a:moveTo>
                <a:cubicBezTo>
                  <a:pt x="371724" y="988471"/>
                  <a:pt x="369902" y="988471"/>
                  <a:pt x="368079" y="990293"/>
                </a:cubicBezTo>
                <a:cubicBezTo>
                  <a:pt x="369902" y="995759"/>
                  <a:pt x="371724" y="992115"/>
                  <a:pt x="375368" y="993937"/>
                </a:cubicBezTo>
                <a:cubicBezTo>
                  <a:pt x="375368" y="992115"/>
                  <a:pt x="371724" y="990293"/>
                  <a:pt x="371724" y="988471"/>
                </a:cubicBezTo>
                <a:close/>
                <a:moveTo>
                  <a:pt x="287904" y="988471"/>
                </a:moveTo>
                <a:cubicBezTo>
                  <a:pt x="284259" y="990293"/>
                  <a:pt x="295193" y="992115"/>
                  <a:pt x="291549" y="990293"/>
                </a:cubicBezTo>
                <a:cubicBezTo>
                  <a:pt x="291549" y="992115"/>
                  <a:pt x="289726" y="990293"/>
                  <a:pt x="287904" y="988471"/>
                </a:cubicBezTo>
                <a:close/>
                <a:moveTo>
                  <a:pt x="251460" y="988471"/>
                </a:moveTo>
                <a:cubicBezTo>
                  <a:pt x="258749" y="1001226"/>
                  <a:pt x="264216" y="1012159"/>
                  <a:pt x="278793" y="1019448"/>
                </a:cubicBezTo>
                <a:cubicBezTo>
                  <a:pt x="282438" y="1019448"/>
                  <a:pt x="278793" y="1015803"/>
                  <a:pt x="276971" y="1013981"/>
                </a:cubicBezTo>
                <a:cubicBezTo>
                  <a:pt x="278793" y="1012159"/>
                  <a:pt x="273327" y="1008515"/>
                  <a:pt x="273327" y="1010337"/>
                </a:cubicBezTo>
                <a:cubicBezTo>
                  <a:pt x="267860" y="1001226"/>
                  <a:pt x="262393" y="992115"/>
                  <a:pt x="251460" y="988471"/>
                </a:cubicBezTo>
                <a:close/>
                <a:moveTo>
                  <a:pt x="240527" y="988471"/>
                </a:moveTo>
                <a:cubicBezTo>
                  <a:pt x="238705" y="992115"/>
                  <a:pt x="245994" y="993937"/>
                  <a:pt x="247816" y="997582"/>
                </a:cubicBezTo>
                <a:cubicBezTo>
                  <a:pt x="245994" y="993937"/>
                  <a:pt x="240527" y="988471"/>
                  <a:pt x="240527" y="988471"/>
                </a:cubicBezTo>
                <a:close/>
                <a:moveTo>
                  <a:pt x="2295682" y="987133"/>
                </a:moveTo>
                <a:lnTo>
                  <a:pt x="2288439" y="994190"/>
                </a:lnTo>
                <a:lnTo>
                  <a:pt x="2291157" y="989609"/>
                </a:lnTo>
                <a:close/>
                <a:moveTo>
                  <a:pt x="3070363" y="986649"/>
                </a:moveTo>
                <a:cubicBezTo>
                  <a:pt x="3070363" y="988471"/>
                  <a:pt x="3072186" y="990293"/>
                  <a:pt x="3075830" y="990293"/>
                </a:cubicBezTo>
                <a:lnTo>
                  <a:pt x="3075830" y="986649"/>
                </a:lnTo>
                <a:cubicBezTo>
                  <a:pt x="3074008" y="986649"/>
                  <a:pt x="3072186" y="988471"/>
                  <a:pt x="3070363" y="986649"/>
                </a:cubicBezTo>
                <a:close/>
                <a:moveTo>
                  <a:pt x="3052142" y="986649"/>
                </a:moveTo>
                <a:cubicBezTo>
                  <a:pt x="3055786" y="992115"/>
                  <a:pt x="3059430" y="995759"/>
                  <a:pt x="3057608" y="1003047"/>
                </a:cubicBezTo>
                <a:cubicBezTo>
                  <a:pt x="3063075" y="995759"/>
                  <a:pt x="3064897" y="1004870"/>
                  <a:pt x="3066719" y="1006692"/>
                </a:cubicBezTo>
                <a:cubicBezTo>
                  <a:pt x="3066719" y="997582"/>
                  <a:pt x="3061253" y="983004"/>
                  <a:pt x="3052142" y="986649"/>
                </a:cubicBezTo>
                <a:close/>
                <a:moveTo>
                  <a:pt x="2592954" y="986649"/>
                </a:moveTo>
                <a:cubicBezTo>
                  <a:pt x="2596598" y="993937"/>
                  <a:pt x="2603887" y="997582"/>
                  <a:pt x="2609353" y="999403"/>
                </a:cubicBezTo>
                <a:cubicBezTo>
                  <a:pt x="2605709" y="992115"/>
                  <a:pt x="2602065" y="986649"/>
                  <a:pt x="2592954" y="986649"/>
                </a:cubicBezTo>
                <a:close/>
                <a:moveTo>
                  <a:pt x="1393963" y="986649"/>
                </a:moveTo>
                <a:lnTo>
                  <a:pt x="1392161" y="990006"/>
                </a:lnTo>
                <a:lnTo>
                  <a:pt x="1392369" y="987104"/>
                </a:lnTo>
                <a:cubicBezTo>
                  <a:pt x="1392596" y="985737"/>
                  <a:pt x="1393052" y="984826"/>
                  <a:pt x="1393963" y="986649"/>
                </a:cubicBezTo>
                <a:close/>
                <a:moveTo>
                  <a:pt x="1240901" y="986649"/>
                </a:moveTo>
                <a:lnTo>
                  <a:pt x="1255071" y="995665"/>
                </a:lnTo>
                <a:lnTo>
                  <a:pt x="1247507" y="993937"/>
                </a:lnTo>
                <a:cubicBezTo>
                  <a:pt x="1245001" y="992115"/>
                  <a:pt x="1242723" y="989382"/>
                  <a:pt x="1240901" y="986649"/>
                </a:cubicBezTo>
                <a:close/>
                <a:moveTo>
                  <a:pt x="355324" y="986649"/>
                </a:moveTo>
                <a:cubicBezTo>
                  <a:pt x="353502" y="993937"/>
                  <a:pt x="360791" y="992115"/>
                  <a:pt x="362613" y="992115"/>
                </a:cubicBezTo>
                <a:cubicBezTo>
                  <a:pt x="362613" y="990293"/>
                  <a:pt x="360791" y="988471"/>
                  <a:pt x="358969" y="986649"/>
                </a:cubicBezTo>
                <a:cubicBezTo>
                  <a:pt x="357146" y="988471"/>
                  <a:pt x="357146" y="988471"/>
                  <a:pt x="355324" y="986649"/>
                </a:cubicBezTo>
                <a:close/>
                <a:moveTo>
                  <a:pt x="244172" y="986649"/>
                </a:moveTo>
                <a:cubicBezTo>
                  <a:pt x="245994" y="990293"/>
                  <a:pt x="245994" y="986649"/>
                  <a:pt x="249638" y="988471"/>
                </a:cubicBezTo>
                <a:cubicBezTo>
                  <a:pt x="249638" y="990293"/>
                  <a:pt x="244172" y="988471"/>
                  <a:pt x="244172" y="986649"/>
                </a:cubicBezTo>
                <a:close/>
                <a:moveTo>
                  <a:pt x="191329" y="986649"/>
                </a:moveTo>
                <a:cubicBezTo>
                  <a:pt x="193151" y="988471"/>
                  <a:pt x="194973" y="986649"/>
                  <a:pt x="196795" y="990293"/>
                </a:cubicBezTo>
                <a:cubicBezTo>
                  <a:pt x="198617" y="990293"/>
                  <a:pt x="193151" y="983004"/>
                  <a:pt x="191329" y="986649"/>
                </a:cubicBezTo>
                <a:close/>
                <a:moveTo>
                  <a:pt x="3102252" y="985965"/>
                </a:moveTo>
                <a:cubicBezTo>
                  <a:pt x="3099974" y="986193"/>
                  <a:pt x="3097696" y="987560"/>
                  <a:pt x="3095874" y="988471"/>
                </a:cubicBezTo>
                <a:cubicBezTo>
                  <a:pt x="3099518" y="990293"/>
                  <a:pt x="3104985" y="992115"/>
                  <a:pt x="3108629" y="990293"/>
                </a:cubicBezTo>
                <a:cubicBezTo>
                  <a:pt x="3106807" y="986648"/>
                  <a:pt x="3104529" y="985737"/>
                  <a:pt x="3102252" y="985965"/>
                </a:cubicBezTo>
                <a:close/>
                <a:moveTo>
                  <a:pt x="3150539" y="984826"/>
                </a:moveTo>
                <a:cubicBezTo>
                  <a:pt x="3148717" y="986649"/>
                  <a:pt x="3150539" y="990293"/>
                  <a:pt x="3154184" y="993937"/>
                </a:cubicBezTo>
                <a:cubicBezTo>
                  <a:pt x="3148717" y="993937"/>
                  <a:pt x="3148717" y="984826"/>
                  <a:pt x="3146895" y="992115"/>
                </a:cubicBezTo>
                <a:cubicBezTo>
                  <a:pt x="3145073" y="995759"/>
                  <a:pt x="3147350" y="996670"/>
                  <a:pt x="3150312" y="997354"/>
                </a:cubicBezTo>
                <a:lnTo>
                  <a:pt x="3157547" y="1001081"/>
                </a:lnTo>
                <a:lnTo>
                  <a:pt x="3157640" y="1001430"/>
                </a:lnTo>
                <a:lnTo>
                  <a:pt x="3149628" y="1010109"/>
                </a:lnTo>
                <a:cubicBezTo>
                  <a:pt x="3149173" y="1013981"/>
                  <a:pt x="3150539" y="1018537"/>
                  <a:pt x="3152361" y="1023092"/>
                </a:cubicBezTo>
                <a:cubicBezTo>
                  <a:pt x="3154184" y="1019448"/>
                  <a:pt x="3150539" y="1015803"/>
                  <a:pt x="3154184" y="1010337"/>
                </a:cubicBezTo>
                <a:cubicBezTo>
                  <a:pt x="3159650" y="1012159"/>
                  <a:pt x="3154184" y="1019448"/>
                  <a:pt x="3157828" y="1019448"/>
                </a:cubicBezTo>
                <a:cubicBezTo>
                  <a:pt x="3163294" y="1021270"/>
                  <a:pt x="3156006" y="1013981"/>
                  <a:pt x="3159650" y="1012159"/>
                </a:cubicBezTo>
                <a:cubicBezTo>
                  <a:pt x="3159650" y="1012159"/>
                  <a:pt x="3161472" y="1013981"/>
                  <a:pt x="3161472" y="1015803"/>
                </a:cubicBezTo>
                <a:lnTo>
                  <a:pt x="3157640" y="1001430"/>
                </a:lnTo>
                <a:lnTo>
                  <a:pt x="3157828" y="1001226"/>
                </a:lnTo>
                <a:lnTo>
                  <a:pt x="3157547" y="1001081"/>
                </a:lnTo>
                <a:lnTo>
                  <a:pt x="3154184" y="988471"/>
                </a:lnTo>
                <a:cubicBezTo>
                  <a:pt x="3154184" y="986649"/>
                  <a:pt x="3159650" y="993937"/>
                  <a:pt x="3157828" y="986649"/>
                </a:cubicBezTo>
                <a:cubicBezTo>
                  <a:pt x="3157828" y="986649"/>
                  <a:pt x="3152361" y="983004"/>
                  <a:pt x="3150539" y="984826"/>
                </a:cubicBezTo>
                <a:close/>
                <a:moveTo>
                  <a:pt x="1082373" y="984826"/>
                </a:moveTo>
                <a:cubicBezTo>
                  <a:pt x="1080549" y="986649"/>
                  <a:pt x="1078727" y="986649"/>
                  <a:pt x="1076905" y="988471"/>
                </a:cubicBezTo>
                <a:cubicBezTo>
                  <a:pt x="1078727" y="990293"/>
                  <a:pt x="1080549" y="990293"/>
                  <a:pt x="1084194" y="988471"/>
                </a:cubicBezTo>
                <a:cubicBezTo>
                  <a:pt x="1082373" y="986649"/>
                  <a:pt x="1084194" y="986649"/>
                  <a:pt x="1082373" y="984826"/>
                </a:cubicBezTo>
                <a:close/>
                <a:moveTo>
                  <a:pt x="1076905" y="984826"/>
                </a:moveTo>
                <a:cubicBezTo>
                  <a:pt x="1076905" y="984826"/>
                  <a:pt x="1076905" y="984826"/>
                  <a:pt x="1078727" y="986649"/>
                </a:cubicBezTo>
                <a:cubicBezTo>
                  <a:pt x="1078727" y="986649"/>
                  <a:pt x="1080549" y="984826"/>
                  <a:pt x="1080549" y="984826"/>
                </a:cubicBezTo>
                <a:close/>
                <a:moveTo>
                  <a:pt x="1018596" y="984826"/>
                </a:moveTo>
                <a:cubicBezTo>
                  <a:pt x="1016774" y="988471"/>
                  <a:pt x="1013129" y="993937"/>
                  <a:pt x="1018596" y="997582"/>
                </a:cubicBezTo>
                <a:cubicBezTo>
                  <a:pt x="1020418" y="993937"/>
                  <a:pt x="1020418" y="986649"/>
                  <a:pt x="1018596" y="984826"/>
                </a:cubicBezTo>
                <a:close/>
                <a:moveTo>
                  <a:pt x="901976" y="984826"/>
                </a:moveTo>
                <a:cubicBezTo>
                  <a:pt x="903799" y="988471"/>
                  <a:pt x="905621" y="990293"/>
                  <a:pt x="909265" y="993937"/>
                </a:cubicBezTo>
                <a:cubicBezTo>
                  <a:pt x="907444" y="995759"/>
                  <a:pt x="905621" y="995759"/>
                  <a:pt x="905621" y="993937"/>
                </a:cubicBezTo>
                <a:cubicBezTo>
                  <a:pt x="903799" y="995759"/>
                  <a:pt x="907444" y="999403"/>
                  <a:pt x="907444" y="1001226"/>
                </a:cubicBezTo>
                <a:cubicBezTo>
                  <a:pt x="909265" y="1004870"/>
                  <a:pt x="909265" y="997582"/>
                  <a:pt x="909265" y="995759"/>
                </a:cubicBezTo>
                <a:cubicBezTo>
                  <a:pt x="912909" y="997582"/>
                  <a:pt x="916555" y="1001226"/>
                  <a:pt x="922020" y="1001226"/>
                </a:cubicBezTo>
                <a:lnTo>
                  <a:pt x="915306" y="992498"/>
                </a:lnTo>
                <a:lnTo>
                  <a:pt x="920198" y="995759"/>
                </a:lnTo>
                <a:cubicBezTo>
                  <a:pt x="922020" y="993937"/>
                  <a:pt x="914732" y="986649"/>
                  <a:pt x="912909" y="986649"/>
                </a:cubicBezTo>
                <a:cubicBezTo>
                  <a:pt x="911087" y="988471"/>
                  <a:pt x="914732" y="990293"/>
                  <a:pt x="916555" y="990293"/>
                </a:cubicBezTo>
                <a:lnTo>
                  <a:pt x="914804" y="992042"/>
                </a:lnTo>
                <a:lnTo>
                  <a:pt x="905621" y="984826"/>
                </a:lnTo>
                <a:cubicBezTo>
                  <a:pt x="905621" y="984826"/>
                  <a:pt x="905621" y="986649"/>
                  <a:pt x="905621" y="986649"/>
                </a:cubicBezTo>
                <a:cubicBezTo>
                  <a:pt x="905621" y="986649"/>
                  <a:pt x="903799" y="984826"/>
                  <a:pt x="901976" y="984826"/>
                </a:cubicBezTo>
                <a:close/>
                <a:moveTo>
                  <a:pt x="872822" y="984826"/>
                </a:moveTo>
                <a:cubicBezTo>
                  <a:pt x="871000" y="986649"/>
                  <a:pt x="872822" y="988471"/>
                  <a:pt x="874644" y="986649"/>
                </a:cubicBezTo>
                <a:cubicBezTo>
                  <a:pt x="872822" y="990293"/>
                  <a:pt x="871000" y="992115"/>
                  <a:pt x="871000" y="995759"/>
                </a:cubicBezTo>
                <a:cubicBezTo>
                  <a:pt x="869177" y="995759"/>
                  <a:pt x="867355" y="995759"/>
                  <a:pt x="865533" y="993937"/>
                </a:cubicBezTo>
                <a:cubicBezTo>
                  <a:pt x="863711" y="995759"/>
                  <a:pt x="863711" y="999403"/>
                  <a:pt x="863711" y="1003047"/>
                </a:cubicBezTo>
                <a:cubicBezTo>
                  <a:pt x="872822" y="999403"/>
                  <a:pt x="889222" y="997582"/>
                  <a:pt x="892866" y="986649"/>
                </a:cubicBezTo>
                <a:cubicBezTo>
                  <a:pt x="885577" y="983004"/>
                  <a:pt x="880111" y="990293"/>
                  <a:pt x="872822" y="984826"/>
                </a:cubicBezTo>
                <a:close/>
                <a:moveTo>
                  <a:pt x="677849" y="984826"/>
                </a:moveTo>
                <a:lnTo>
                  <a:pt x="679671" y="986649"/>
                </a:lnTo>
                <a:cubicBezTo>
                  <a:pt x="679671" y="986649"/>
                  <a:pt x="677849" y="988471"/>
                  <a:pt x="677849" y="988471"/>
                </a:cubicBezTo>
                <a:close/>
                <a:moveTo>
                  <a:pt x="544830" y="984826"/>
                </a:moveTo>
                <a:cubicBezTo>
                  <a:pt x="546653" y="988471"/>
                  <a:pt x="552119" y="993937"/>
                  <a:pt x="557586" y="997582"/>
                </a:cubicBezTo>
                <a:cubicBezTo>
                  <a:pt x="557586" y="993937"/>
                  <a:pt x="550297" y="984826"/>
                  <a:pt x="544830" y="984826"/>
                </a:cubicBezTo>
                <a:close/>
                <a:moveTo>
                  <a:pt x="404523" y="984826"/>
                </a:moveTo>
                <a:cubicBezTo>
                  <a:pt x="402701" y="984826"/>
                  <a:pt x="400879" y="988471"/>
                  <a:pt x="399056" y="988471"/>
                </a:cubicBezTo>
                <a:cubicBezTo>
                  <a:pt x="415456" y="1006692"/>
                  <a:pt x="431856" y="1026736"/>
                  <a:pt x="457367" y="1037669"/>
                </a:cubicBezTo>
                <a:cubicBezTo>
                  <a:pt x="450077" y="1024914"/>
                  <a:pt x="433678" y="1013981"/>
                  <a:pt x="426389" y="1001226"/>
                </a:cubicBezTo>
                <a:cubicBezTo>
                  <a:pt x="439145" y="1012159"/>
                  <a:pt x="448256" y="1024914"/>
                  <a:pt x="462832" y="1035847"/>
                </a:cubicBezTo>
                <a:cubicBezTo>
                  <a:pt x="448256" y="1017625"/>
                  <a:pt x="437322" y="984826"/>
                  <a:pt x="404523" y="984826"/>
                </a:cubicBezTo>
                <a:close/>
                <a:moveTo>
                  <a:pt x="313414" y="984826"/>
                </a:moveTo>
                <a:cubicBezTo>
                  <a:pt x="311592" y="984826"/>
                  <a:pt x="317059" y="990293"/>
                  <a:pt x="318882" y="988471"/>
                </a:cubicBezTo>
                <a:cubicBezTo>
                  <a:pt x="317059" y="986649"/>
                  <a:pt x="315236" y="986649"/>
                  <a:pt x="313414" y="984826"/>
                </a:cubicBezTo>
                <a:close/>
                <a:moveTo>
                  <a:pt x="205906" y="984826"/>
                </a:moveTo>
                <a:lnTo>
                  <a:pt x="207512" y="987050"/>
                </a:lnTo>
                <a:lnTo>
                  <a:pt x="207728" y="990293"/>
                </a:lnTo>
                <a:cubicBezTo>
                  <a:pt x="209550" y="991204"/>
                  <a:pt x="209550" y="990293"/>
                  <a:pt x="208868" y="988926"/>
                </a:cubicBezTo>
                <a:lnTo>
                  <a:pt x="207512" y="987050"/>
                </a:lnTo>
                <a:lnTo>
                  <a:pt x="207500" y="986876"/>
                </a:lnTo>
                <a:cubicBezTo>
                  <a:pt x="206817" y="985737"/>
                  <a:pt x="205906" y="984826"/>
                  <a:pt x="205906" y="984826"/>
                </a:cubicBezTo>
                <a:close/>
                <a:moveTo>
                  <a:pt x="96576" y="984826"/>
                </a:moveTo>
                <a:cubicBezTo>
                  <a:pt x="96576" y="990293"/>
                  <a:pt x="109331" y="1003047"/>
                  <a:pt x="114797" y="1008515"/>
                </a:cubicBezTo>
                <a:cubicBezTo>
                  <a:pt x="109331" y="999403"/>
                  <a:pt x="102042" y="990293"/>
                  <a:pt x="96576" y="984826"/>
                </a:cubicBezTo>
                <a:close/>
                <a:moveTo>
                  <a:pt x="867811" y="983459"/>
                </a:moveTo>
                <a:cubicBezTo>
                  <a:pt x="863255" y="982548"/>
                  <a:pt x="858244" y="984826"/>
                  <a:pt x="863711" y="992115"/>
                </a:cubicBezTo>
                <a:cubicBezTo>
                  <a:pt x="867355" y="988471"/>
                  <a:pt x="867355" y="992115"/>
                  <a:pt x="869177" y="993937"/>
                </a:cubicBezTo>
                <a:cubicBezTo>
                  <a:pt x="876466" y="988470"/>
                  <a:pt x="872366" y="984370"/>
                  <a:pt x="867811" y="983459"/>
                </a:cubicBezTo>
                <a:close/>
                <a:moveTo>
                  <a:pt x="3128673" y="983004"/>
                </a:moveTo>
                <a:cubicBezTo>
                  <a:pt x="3121384" y="983004"/>
                  <a:pt x="3117740" y="984826"/>
                  <a:pt x="3114096" y="986649"/>
                </a:cubicBezTo>
                <a:cubicBezTo>
                  <a:pt x="3117740" y="988471"/>
                  <a:pt x="3128673" y="986649"/>
                  <a:pt x="3128673" y="983004"/>
                </a:cubicBezTo>
                <a:close/>
                <a:moveTo>
                  <a:pt x="2534644" y="983004"/>
                </a:moveTo>
                <a:cubicBezTo>
                  <a:pt x="2531000" y="984826"/>
                  <a:pt x="2527356" y="984826"/>
                  <a:pt x="2525534" y="988471"/>
                </a:cubicBezTo>
                <a:cubicBezTo>
                  <a:pt x="2527356" y="990293"/>
                  <a:pt x="2536466" y="988471"/>
                  <a:pt x="2534644" y="983004"/>
                </a:cubicBezTo>
                <a:close/>
                <a:moveTo>
                  <a:pt x="555763" y="983004"/>
                </a:moveTo>
                <a:cubicBezTo>
                  <a:pt x="553941" y="983004"/>
                  <a:pt x="552119" y="986649"/>
                  <a:pt x="548475" y="984826"/>
                </a:cubicBezTo>
                <a:cubicBezTo>
                  <a:pt x="553941" y="986649"/>
                  <a:pt x="557586" y="992115"/>
                  <a:pt x="564874" y="999403"/>
                </a:cubicBezTo>
                <a:cubicBezTo>
                  <a:pt x="570341" y="993937"/>
                  <a:pt x="563052" y="988471"/>
                  <a:pt x="555763" y="983004"/>
                </a:cubicBezTo>
                <a:close/>
                <a:moveTo>
                  <a:pt x="497454" y="983004"/>
                </a:moveTo>
                <a:cubicBezTo>
                  <a:pt x="501098" y="988471"/>
                  <a:pt x="506565" y="995759"/>
                  <a:pt x="510209" y="1003047"/>
                </a:cubicBezTo>
                <a:cubicBezTo>
                  <a:pt x="513853" y="1004870"/>
                  <a:pt x="512031" y="997582"/>
                  <a:pt x="512031" y="995759"/>
                </a:cubicBezTo>
                <a:cubicBezTo>
                  <a:pt x="513853" y="993937"/>
                  <a:pt x="512031" y="997582"/>
                  <a:pt x="515676" y="999403"/>
                </a:cubicBezTo>
                <a:cubicBezTo>
                  <a:pt x="517498" y="995759"/>
                  <a:pt x="513853" y="993937"/>
                  <a:pt x="512031" y="990293"/>
                </a:cubicBezTo>
                <a:cubicBezTo>
                  <a:pt x="510209" y="992115"/>
                  <a:pt x="513853" y="993937"/>
                  <a:pt x="510209" y="995759"/>
                </a:cubicBezTo>
                <a:cubicBezTo>
                  <a:pt x="510209" y="990293"/>
                  <a:pt x="502920" y="986649"/>
                  <a:pt x="497454" y="983004"/>
                </a:cubicBezTo>
                <a:close/>
                <a:moveTo>
                  <a:pt x="433678" y="983004"/>
                </a:moveTo>
                <a:cubicBezTo>
                  <a:pt x="426389" y="984826"/>
                  <a:pt x="435500" y="990293"/>
                  <a:pt x="439145" y="993937"/>
                </a:cubicBezTo>
                <a:cubicBezTo>
                  <a:pt x="439145" y="992115"/>
                  <a:pt x="442789" y="990293"/>
                  <a:pt x="446433" y="990293"/>
                </a:cubicBezTo>
                <a:cubicBezTo>
                  <a:pt x="446433" y="988471"/>
                  <a:pt x="440966" y="990293"/>
                  <a:pt x="439145" y="986649"/>
                </a:cubicBezTo>
                <a:cubicBezTo>
                  <a:pt x="437322" y="984826"/>
                  <a:pt x="431856" y="986649"/>
                  <a:pt x="433678" y="983004"/>
                </a:cubicBezTo>
                <a:close/>
                <a:moveTo>
                  <a:pt x="1270967" y="982595"/>
                </a:moveTo>
                <a:cubicBezTo>
                  <a:pt x="1271878" y="982595"/>
                  <a:pt x="1272789" y="983050"/>
                  <a:pt x="1273700" y="983050"/>
                </a:cubicBezTo>
                <a:cubicBezTo>
                  <a:pt x="1275522" y="984872"/>
                  <a:pt x="1270055" y="986694"/>
                  <a:pt x="1270055" y="988516"/>
                </a:cubicBezTo>
                <a:cubicBezTo>
                  <a:pt x="1270055" y="990338"/>
                  <a:pt x="1270055" y="988516"/>
                  <a:pt x="1268233" y="988516"/>
                </a:cubicBezTo>
                <a:cubicBezTo>
                  <a:pt x="1268233" y="986694"/>
                  <a:pt x="1270055" y="984872"/>
                  <a:pt x="1268233" y="984872"/>
                </a:cubicBezTo>
                <a:cubicBezTo>
                  <a:pt x="1269144" y="983050"/>
                  <a:pt x="1270056" y="982595"/>
                  <a:pt x="1270967" y="982595"/>
                </a:cubicBezTo>
                <a:close/>
                <a:moveTo>
                  <a:pt x="1104238" y="982320"/>
                </a:moveTo>
                <a:cubicBezTo>
                  <a:pt x="1102416" y="981637"/>
                  <a:pt x="1100593" y="981182"/>
                  <a:pt x="1098771" y="983004"/>
                </a:cubicBezTo>
                <a:cubicBezTo>
                  <a:pt x="1102416" y="988471"/>
                  <a:pt x="1107882" y="988471"/>
                  <a:pt x="1109704" y="983004"/>
                </a:cubicBezTo>
                <a:cubicBezTo>
                  <a:pt x="1107882" y="983915"/>
                  <a:pt x="1106060" y="983004"/>
                  <a:pt x="1104238" y="982320"/>
                </a:cubicBezTo>
                <a:close/>
                <a:moveTo>
                  <a:pt x="3250759" y="981182"/>
                </a:moveTo>
                <a:cubicBezTo>
                  <a:pt x="3247114" y="981182"/>
                  <a:pt x="3247114" y="984826"/>
                  <a:pt x="3247114" y="988471"/>
                </a:cubicBezTo>
                <a:cubicBezTo>
                  <a:pt x="3252581" y="988471"/>
                  <a:pt x="3254403" y="983004"/>
                  <a:pt x="3250759" y="981182"/>
                </a:cubicBezTo>
                <a:close/>
                <a:moveTo>
                  <a:pt x="1313788" y="981182"/>
                </a:moveTo>
                <a:cubicBezTo>
                  <a:pt x="1302855" y="986649"/>
                  <a:pt x="1290100" y="992115"/>
                  <a:pt x="1279166" y="1001226"/>
                </a:cubicBezTo>
                <a:cubicBezTo>
                  <a:pt x="1286455" y="1001226"/>
                  <a:pt x="1295566" y="997582"/>
                  <a:pt x="1301033" y="990293"/>
                </a:cubicBezTo>
                <a:cubicBezTo>
                  <a:pt x="1301033" y="992115"/>
                  <a:pt x="1301033" y="992115"/>
                  <a:pt x="1299210" y="993937"/>
                </a:cubicBezTo>
                <a:cubicBezTo>
                  <a:pt x="1302855" y="992115"/>
                  <a:pt x="1308321" y="984826"/>
                  <a:pt x="1313788" y="981182"/>
                </a:cubicBezTo>
                <a:close/>
                <a:moveTo>
                  <a:pt x="1093305" y="981182"/>
                </a:moveTo>
                <a:lnTo>
                  <a:pt x="1091484" y="984826"/>
                </a:lnTo>
                <a:lnTo>
                  <a:pt x="1087838" y="984826"/>
                </a:lnTo>
                <a:cubicBezTo>
                  <a:pt x="1087838" y="984826"/>
                  <a:pt x="1089660" y="986649"/>
                  <a:pt x="1091484" y="988471"/>
                </a:cubicBezTo>
                <a:cubicBezTo>
                  <a:pt x="1093305" y="986649"/>
                  <a:pt x="1093305" y="983004"/>
                  <a:pt x="1093305" y="981182"/>
                </a:cubicBezTo>
                <a:close/>
                <a:moveTo>
                  <a:pt x="1027707" y="981182"/>
                </a:moveTo>
                <a:cubicBezTo>
                  <a:pt x="1025884" y="983004"/>
                  <a:pt x="1022240" y="984826"/>
                  <a:pt x="1022240" y="986649"/>
                </a:cubicBezTo>
                <a:cubicBezTo>
                  <a:pt x="1022240" y="986649"/>
                  <a:pt x="1024062" y="988471"/>
                  <a:pt x="1024062" y="988471"/>
                </a:cubicBezTo>
                <a:cubicBezTo>
                  <a:pt x="1025884" y="988471"/>
                  <a:pt x="1029529" y="984826"/>
                  <a:pt x="1027707" y="981182"/>
                </a:cubicBezTo>
                <a:close/>
                <a:moveTo>
                  <a:pt x="737981" y="981182"/>
                </a:moveTo>
                <a:cubicBezTo>
                  <a:pt x="736159" y="983004"/>
                  <a:pt x="736159" y="984826"/>
                  <a:pt x="734336" y="988471"/>
                </a:cubicBezTo>
                <a:cubicBezTo>
                  <a:pt x="734336" y="988471"/>
                  <a:pt x="736159" y="988471"/>
                  <a:pt x="737981" y="988471"/>
                </a:cubicBezTo>
                <a:cubicBezTo>
                  <a:pt x="736159" y="988471"/>
                  <a:pt x="736159" y="990293"/>
                  <a:pt x="734336" y="990293"/>
                </a:cubicBezTo>
                <a:cubicBezTo>
                  <a:pt x="747092" y="988471"/>
                  <a:pt x="741626" y="988471"/>
                  <a:pt x="737981" y="988471"/>
                </a:cubicBezTo>
                <a:cubicBezTo>
                  <a:pt x="741626" y="986649"/>
                  <a:pt x="743447" y="984826"/>
                  <a:pt x="737981" y="981182"/>
                </a:cubicBezTo>
                <a:close/>
                <a:moveTo>
                  <a:pt x="674205" y="981182"/>
                </a:moveTo>
                <a:cubicBezTo>
                  <a:pt x="674205" y="984826"/>
                  <a:pt x="676027" y="984826"/>
                  <a:pt x="677849" y="988471"/>
                </a:cubicBezTo>
                <a:lnTo>
                  <a:pt x="677849" y="990293"/>
                </a:lnTo>
                <a:cubicBezTo>
                  <a:pt x="679671" y="988471"/>
                  <a:pt x="681493" y="984826"/>
                  <a:pt x="686960" y="986649"/>
                </a:cubicBezTo>
                <a:cubicBezTo>
                  <a:pt x="686960" y="986649"/>
                  <a:pt x="681493" y="984826"/>
                  <a:pt x="677849" y="983004"/>
                </a:cubicBezTo>
                <a:lnTo>
                  <a:pt x="677849" y="984826"/>
                </a:lnTo>
                <a:lnTo>
                  <a:pt x="676939" y="983915"/>
                </a:lnTo>
                <a:cubicBezTo>
                  <a:pt x="676482" y="983004"/>
                  <a:pt x="676027" y="982093"/>
                  <a:pt x="674205" y="981182"/>
                </a:cubicBezTo>
                <a:close/>
                <a:moveTo>
                  <a:pt x="371724" y="981182"/>
                </a:moveTo>
                <a:cubicBezTo>
                  <a:pt x="371724" y="983004"/>
                  <a:pt x="377190" y="986649"/>
                  <a:pt x="377190" y="983004"/>
                </a:cubicBezTo>
                <a:cubicBezTo>
                  <a:pt x="375368" y="981182"/>
                  <a:pt x="373546" y="983004"/>
                  <a:pt x="371724" y="981182"/>
                </a:cubicBezTo>
                <a:close/>
                <a:moveTo>
                  <a:pt x="358969" y="981182"/>
                </a:moveTo>
                <a:cubicBezTo>
                  <a:pt x="357146" y="984826"/>
                  <a:pt x="360791" y="983004"/>
                  <a:pt x="362613" y="984826"/>
                </a:cubicBezTo>
                <a:cubicBezTo>
                  <a:pt x="364435" y="981182"/>
                  <a:pt x="360791" y="983004"/>
                  <a:pt x="358969" y="981182"/>
                </a:cubicBezTo>
                <a:close/>
                <a:moveTo>
                  <a:pt x="351680" y="981182"/>
                </a:moveTo>
                <a:cubicBezTo>
                  <a:pt x="349858" y="981182"/>
                  <a:pt x="351680" y="983004"/>
                  <a:pt x="349858" y="983004"/>
                </a:cubicBezTo>
                <a:cubicBezTo>
                  <a:pt x="351680" y="984826"/>
                  <a:pt x="353502" y="984826"/>
                  <a:pt x="353502" y="983004"/>
                </a:cubicBezTo>
                <a:cubicBezTo>
                  <a:pt x="353502" y="983004"/>
                  <a:pt x="353502" y="981182"/>
                  <a:pt x="351680" y="981182"/>
                </a:cubicBezTo>
                <a:close/>
                <a:moveTo>
                  <a:pt x="245994" y="981182"/>
                </a:moveTo>
                <a:cubicBezTo>
                  <a:pt x="245994" y="984826"/>
                  <a:pt x="251460" y="988471"/>
                  <a:pt x="253282" y="986649"/>
                </a:cubicBezTo>
                <a:cubicBezTo>
                  <a:pt x="251460" y="983004"/>
                  <a:pt x="247816" y="981182"/>
                  <a:pt x="245994" y="981182"/>
                </a:cubicBezTo>
                <a:close/>
                <a:moveTo>
                  <a:pt x="3459028" y="979473"/>
                </a:moveTo>
                <a:cubicBezTo>
                  <a:pt x="3457519" y="978904"/>
                  <a:pt x="3456095" y="979359"/>
                  <a:pt x="3454614" y="980270"/>
                </a:cubicBezTo>
                <a:cubicBezTo>
                  <a:pt x="3451653" y="982093"/>
                  <a:pt x="3448465" y="985737"/>
                  <a:pt x="3443909" y="986649"/>
                </a:cubicBezTo>
                <a:cubicBezTo>
                  <a:pt x="3443909" y="988471"/>
                  <a:pt x="3443909" y="992115"/>
                  <a:pt x="3445731" y="992115"/>
                </a:cubicBezTo>
                <a:cubicBezTo>
                  <a:pt x="3453020" y="986649"/>
                  <a:pt x="3462131" y="992115"/>
                  <a:pt x="3469419" y="997582"/>
                </a:cubicBezTo>
                <a:cubicBezTo>
                  <a:pt x="3465775" y="1001226"/>
                  <a:pt x="3463953" y="993937"/>
                  <a:pt x="3463953" y="995759"/>
                </a:cubicBezTo>
                <a:cubicBezTo>
                  <a:pt x="3465775" y="1006692"/>
                  <a:pt x="3474886" y="1012159"/>
                  <a:pt x="3485819" y="1006692"/>
                </a:cubicBezTo>
                <a:cubicBezTo>
                  <a:pt x="3487641" y="1006692"/>
                  <a:pt x="3487641" y="1010337"/>
                  <a:pt x="3489463" y="1010337"/>
                </a:cubicBezTo>
                <a:cubicBezTo>
                  <a:pt x="3489463" y="1010337"/>
                  <a:pt x="3491286" y="1008515"/>
                  <a:pt x="3491286" y="1006692"/>
                </a:cubicBezTo>
                <a:cubicBezTo>
                  <a:pt x="3487641" y="1006692"/>
                  <a:pt x="3487641" y="1004870"/>
                  <a:pt x="3485819" y="1004870"/>
                </a:cubicBezTo>
                <a:cubicBezTo>
                  <a:pt x="3491286" y="1003047"/>
                  <a:pt x="3493108" y="1003047"/>
                  <a:pt x="3493108" y="995759"/>
                </a:cubicBezTo>
                <a:cubicBezTo>
                  <a:pt x="3491286" y="993937"/>
                  <a:pt x="3485819" y="993937"/>
                  <a:pt x="3485819" y="995759"/>
                </a:cubicBezTo>
                <a:cubicBezTo>
                  <a:pt x="3485819" y="1003047"/>
                  <a:pt x="3482175" y="1006692"/>
                  <a:pt x="3474886" y="1004870"/>
                </a:cubicBezTo>
                <a:cubicBezTo>
                  <a:pt x="3480353" y="999403"/>
                  <a:pt x="3474886" y="993937"/>
                  <a:pt x="3473064" y="988471"/>
                </a:cubicBezTo>
                <a:cubicBezTo>
                  <a:pt x="3471242" y="988471"/>
                  <a:pt x="3467597" y="990293"/>
                  <a:pt x="3465775" y="990293"/>
                </a:cubicBezTo>
                <a:cubicBezTo>
                  <a:pt x="3465775" y="986649"/>
                  <a:pt x="3469419" y="984826"/>
                  <a:pt x="3467597" y="983004"/>
                </a:cubicBezTo>
                <a:cubicBezTo>
                  <a:pt x="3465775" y="983004"/>
                  <a:pt x="3463953" y="984826"/>
                  <a:pt x="3463953" y="984826"/>
                </a:cubicBezTo>
                <a:cubicBezTo>
                  <a:pt x="3462131" y="981637"/>
                  <a:pt x="3460537" y="980043"/>
                  <a:pt x="3459028" y="979473"/>
                </a:cubicBezTo>
                <a:close/>
                <a:moveTo>
                  <a:pt x="1233612" y="979360"/>
                </a:moveTo>
                <a:cubicBezTo>
                  <a:pt x="1235434" y="979360"/>
                  <a:pt x="1235434" y="983004"/>
                  <a:pt x="1235434" y="981182"/>
                </a:cubicBezTo>
                <a:cubicBezTo>
                  <a:pt x="1237256" y="979360"/>
                  <a:pt x="1237256" y="979360"/>
                  <a:pt x="1237256" y="979360"/>
                </a:cubicBezTo>
                <a:cubicBezTo>
                  <a:pt x="1237256" y="977538"/>
                  <a:pt x="1235434" y="977538"/>
                  <a:pt x="1233612" y="979360"/>
                </a:cubicBezTo>
                <a:close/>
                <a:moveTo>
                  <a:pt x="1186236" y="979360"/>
                </a:moveTo>
                <a:cubicBezTo>
                  <a:pt x="1182592" y="977538"/>
                  <a:pt x="1178947" y="984826"/>
                  <a:pt x="1177125" y="984826"/>
                </a:cubicBezTo>
                <a:cubicBezTo>
                  <a:pt x="1178947" y="986649"/>
                  <a:pt x="1178947" y="984826"/>
                  <a:pt x="1180769" y="986649"/>
                </a:cubicBezTo>
                <a:cubicBezTo>
                  <a:pt x="1171658" y="986649"/>
                  <a:pt x="1166192" y="993937"/>
                  <a:pt x="1157081" y="995759"/>
                </a:cubicBezTo>
                <a:lnTo>
                  <a:pt x="1159458" y="999720"/>
                </a:lnTo>
                <a:lnTo>
                  <a:pt x="1153436" y="1001226"/>
                </a:lnTo>
                <a:cubicBezTo>
                  <a:pt x="1155259" y="1001226"/>
                  <a:pt x="1155259" y="1001226"/>
                  <a:pt x="1157081" y="1001226"/>
                </a:cubicBezTo>
                <a:cubicBezTo>
                  <a:pt x="1157081" y="1003047"/>
                  <a:pt x="1155259" y="1003047"/>
                  <a:pt x="1155259" y="1004870"/>
                </a:cubicBezTo>
                <a:cubicBezTo>
                  <a:pt x="1146148" y="1004870"/>
                  <a:pt x="1142503" y="1010337"/>
                  <a:pt x="1133393" y="1010337"/>
                </a:cubicBezTo>
                <a:cubicBezTo>
                  <a:pt x="1135215" y="1013070"/>
                  <a:pt x="1135670" y="1014892"/>
                  <a:pt x="1136126" y="1016714"/>
                </a:cubicBezTo>
                <a:lnTo>
                  <a:pt x="1138312" y="1021816"/>
                </a:lnTo>
                <a:lnTo>
                  <a:pt x="1137037" y="1023092"/>
                </a:lnTo>
                <a:lnTo>
                  <a:pt x="1141896" y="1026331"/>
                </a:lnTo>
                <a:lnTo>
                  <a:pt x="1142275" y="1026963"/>
                </a:lnTo>
                <a:lnTo>
                  <a:pt x="1139542" y="1029697"/>
                </a:lnTo>
                <a:cubicBezTo>
                  <a:pt x="1138403" y="1030836"/>
                  <a:pt x="1137949" y="1032203"/>
                  <a:pt x="1140681" y="1034025"/>
                </a:cubicBezTo>
                <a:cubicBezTo>
                  <a:pt x="1142503" y="1034025"/>
                  <a:pt x="1142503" y="1032203"/>
                  <a:pt x="1144326" y="1030381"/>
                </a:cubicBezTo>
                <a:lnTo>
                  <a:pt x="1142275" y="1026963"/>
                </a:lnTo>
                <a:lnTo>
                  <a:pt x="1142503" y="1026736"/>
                </a:lnTo>
                <a:lnTo>
                  <a:pt x="1141896" y="1026331"/>
                </a:lnTo>
                <a:lnTo>
                  <a:pt x="1139310" y="1022021"/>
                </a:lnTo>
                <a:lnTo>
                  <a:pt x="1140681" y="1018764"/>
                </a:lnTo>
                <a:cubicBezTo>
                  <a:pt x="1140681" y="1017625"/>
                  <a:pt x="1140681" y="1016714"/>
                  <a:pt x="1142503" y="1015803"/>
                </a:cubicBezTo>
                <a:cubicBezTo>
                  <a:pt x="1142503" y="1017625"/>
                  <a:pt x="1140681" y="1021270"/>
                  <a:pt x="1140681" y="1023092"/>
                </a:cubicBezTo>
                <a:cubicBezTo>
                  <a:pt x="1142503" y="1023092"/>
                  <a:pt x="1140681" y="1021270"/>
                  <a:pt x="1142503" y="1019448"/>
                </a:cubicBezTo>
                <a:cubicBezTo>
                  <a:pt x="1142503" y="1026736"/>
                  <a:pt x="1146148" y="1028559"/>
                  <a:pt x="1149792" y="1035847"/>
                </a:cubicBezTo>
                <a:cubicBezTo>
                  <a:pt x="1149792" y="1035847"/>
                  <a:pt x="1151614" y="1035847"/>
                  <a:pt x="1151614" y="1035847"/>
                </a:cubicBezTo>
                <a:cubicBezTo>
                  <a:pt x="1157081" y="1030381"/>
                  <a:pt x="1157081" y="1019448"/>
                  <a:pt x="1147970" y="1015803"/>
                </a:cubicBezTo>
                <a:cubicBezTo>
                  <a:pt x="1149792" y="1015803"/>
                  <a:pt x="1153436" y="1017625"/>
                  <a:pt x="1155259" y="1017625"/>
                </a:cubicBezTo>
                <a:lnTo>
                  <a:pt x="1155779" y="1021270"/>
                </a:lnTo>
                <a:lnTo>
                  <a:pt x="1155259" y="1021270"/>
                </a:lnTo>
                <a:cubicBezTo>
                  <a:pt x="1158903" y="1023092"/>
                  <a:pt x="1158903" y="1026736"/>
                  <a:pt x="1157081" y="1030381"/>
                </a:cubicBezTo>
                <a:lnTo>
                  <a:pt x="1155779" y="1021270"/>
                </a:lnTo>
                <a:lnTo>
                  <a:pt x="1158903" y="1021270"/>
                </a:lnTo>
                <a:cubicBezTo>
                  <a:pt x="1160725" y="1013981"/>
                  <a:pt x="1166192" y="1001226"/>
                  <a:pt x="1157081" y="1001226"/>
                </a:cubicBezTo>
                <a:lnTo>
                  <a:pt x="1159604" y="999964"/>
                </a:lnTo>
                <a:lnTo>
                  <a:pt x="1162547" y="1004870"/>
                </a:lnTo>
                <a:cubicBezTo>
                  <a:pt x="1164370" y="1003047"/>
                  <a:pt x="1164370" y="1003047"/>
                  <a:pt x="1166192" y="1003047"/>
                </a:cubicBezTo>
                <a:lnTo>
                  <a:pt x="1165463" y="1005963"/>
                </a:lnTo>
                <a:lnTo>
                  <a:pt x="1164370" y="1004870"/>
                </a:lnTo>
                <a:cubicBezTo>
                  <a:pt x="1162547" y="1012159"/>
                  <a:pt x="1164370" y="1021270"/>
                  <a:pt x="1158903" y="1030381"/>
                </a:cubicBezTo>
                <a:lnTo>
                  <a:pt x="1163417" y="1020942"/>
                </a:lnTo>
                <a:lnTo>
                  <a:pt x="1164370" y="1024914"/>
                </a:lnTo>
                <a:cubicBezTo>
                  <a:pt x="1169836" y="1017625"/>
                  <a:pt x="1173481" y="1015803"/>
                  <a:pt x="1175303" y="1006692"/>
                </a:cubicBezTo>
                <a:lnTo>
                  <a:pt x="1178923" y="1006692"/>
                </a:lnTo>
                <a:lnTo>
                  <a:pt x="1171886" y="1020586"/>
                </a:lnTo>
                <a:cubicBezTo>
                  <a:pt x="1169836" y="1026736"/>
                  <a:pt x="1168925" y="1033114"/>
                  <a:pt x="1169836" y="1039492"/>
                </a:cubicBezTo>
                <a:cubicBezTo>
                  <a:pt x="1171658" y="1032203"/>
                  <a:pt x="1177125" y="1026736"/>
                  <a:pt x="1173481" y="1019448"/>
                </a:cubicBezTo>
                <a:cubicBezTo>
                  <a:pt x="1178947" y="1017625"/>
                  <a:pt x="1175303" y="1024914"/>
                  <a:pt x="1178947" y="1024914"/>
                </a:cubicBezTo>
                <a:cubicBezTo>
                  <a:pt x="1175303" y="1028559"/>
                  <a:pt x="1175303" y="1032203"/>
                  <a:pt x="1175303" y="1035847"/>
                </a:cubicBezTo>
                <a:cubicBezTo>
                  <a:pt x="1175303" y="1039492"/>
                  <a:pt x="1177125" y="1034025"/>
                  <a:pt x="1178947" y="1035847"/>
                </a:cubicBezTo>
                <a:cubicBezTo>
                  <a:pt x="1178947" y="1039492"/>
                  <a:pt x="1171658" y="1041314"/>
                  <a:pt x="1175303" y="1043136"/>
                </a:cubicBezTo>
                <a:cubicBezTo>
                  <a:pt x="1188058" y="1032203"/>
                  <a:pt x="1188058" y="1019448"/>
                  <a:pt x="1188058" y="1006692"/>
                </a:cubicBezTo>
                <a:cubicBezTo>
                  <a:pt x="1186236" y="1004870"/>
                  <a:pt x="1186236" y="1008515"/>
                  <a:pt x="1184414" y="1004870"/>
                </a:cubicBezTo>
                <a:cubicBezTo>
                  <a:pt x="1188058" y="1006692"/>
                  <a:pt x="1186236" y="1004870"/>
                  <a:pt x="1189880" y="1001226"/>
                </a:cubicBezTo>
                <a:cubicBezTo>
                  <a:pt x="1191703" y="997582"/>
                  <a:pt x="1191703" y="988471"/>
                  <a:pt x="1184414" y="988471"/>
                </a:cubicBezTo>
                <a:cubicBezTo>
                  <a:pt x="1188058" y="984826"/>
                  <a:pt x="1184414" y="981182"/>
                  <a:pt x="1186236" y="979360"/>
                </a:cubicBezTo>
                <a:close/>
                <a:moveTo>
                  <a:pt x="1031351" y="979360"/>
                </a:moveTo>
                <a:cubicBezTo>
                  <a:pt x="1027707" y="983004"/>
                  <a:pt x="1029529" y="988471"/>
                  <a:pt x="1024062" y="992115"/>
                </a:cubicBezTo>
                <a:cubicBezTo>
                  <a:pt x="1027707" y="997582"/>
                  <a:pt x="1029529" y="1003047"/>
                  <a:pt x="1033173" y="1006692"/>
                </a:cubicBezTo>
                <a:cubicBezTo>
                  <a:pt x="1033173" y="997582"/>
                  <a:pt x="1034995" y="988471"/>
                  <a:pt x="1031351" y="979360"/>
                </a:cubicBezTo>
                <a:close/>
                <a:moveTo>
                  <a:pt x="916555" y="979360"/>
                </a:moveTo>
                <a:cubicBezTo>
                  <a:pt x="914732" y="977538"/>
                  <a:pt x="912909" y="981182"/>
                  <a:pt x="912909" y="983004"/>
                </a:cubicBezTo>
                <a:cubicBezTo>
                  <a:pt x="914732" y="984826"/>
                  <a:pt x="916555" y="986649"/>
                  <a:pt x="918376" y="984826"/>
                </a:cubicBezTo>
                <a:cubicBezTo>
                  <a:pt x="918376" y="983004"/>
                  <a:pt x="916555" y="981182"/>
                  <a:pt x="916555" y="979360"/>
                </a:cubicBezTo>
                <a:close/>
                <a:moveTo>
                  <a:pt x="612251" y="979360"/>
                </a:moveTo>
                <a:cubicBezTo>
                  <a:pt x="612251" y="981182"/>
                  <a:pt x="610429" y="981182"/>
                  <a:pt x="608606" y="981182"/>
                </a:cubicBezTo>
                <a:cubicBezTo>
                  <a:pt x="608606" y="986649"/>
                  <a:pt x="623185" y="986649"/>
                  <a:pt x="621362" y="992115"/>
                </a:cubicBezTo>
                <a:lnTo>
                  <a:pt x="621362" y="985434"/>
                </a:lnTo>
                <a:lnTo>
                  <a:pt x="625917" y="988471"/>
                </a:lnTo>
                <a:lnTo>
                  <a:pt x="623185" y="988471"/>
                </a:lnTo>
                <a:cubicBezTo>
                  <a:pt x="626828" y="990293"/>
                  <a:pt x="630472" y="992115"/>
                  <a:pt x="635939" y="993937"/>
                </a:cubicBezTo>
                <a:cubicBezTo>
                  <a:pt x="635939" y="992115"/>
                  <a:pt x="634117" y="988471"/>
                  <a:pt x="628650" y="990293"/>
                </a:cubicBezTo>
                <a:lnTo>
                  <a:pt x="625917" y="988471"/>
                </a:lnTo>
                <a:lnTo>
                  <a:pt x="630472" y="988471"/>
                </a:lnTo>
                <a:cubicBezTo>
                  <a:pt x="626828" y="986649"/>
                  <a:pt x="625006" y="986649"/>
                  <a:pt x="621362" y="984826"/>
                </a:cubicBezTo>
                <a:lnTo>
                  <a:pt x="621362" y="985434"/>
                </a:lnTo>
                <a:close/>
                <a:moveTo>
                  <a:pt x="453722" y="979360"/>
                </a:moveTo>
                <a:cubicBezTo>
                  <a:pt x="444611" y="986649"/>
                  <a:pt x="451899" y="993937"/>
                  <a:pt x="462832" y="1003047"/>
                </a:cubicBezTo>
                <a:cubicBezTo>
                  <a:pt x="466478" y="1004870"/>
                  <a:pt x="470121" y="1004870"/>
                  <a:pt x="473766" y="1004870"/>
                </a:cubicBezTo>
                <a:lnTo>
                  <a:pt x="471943" y="1006692"/>
                </a:lnTo>
                <a:cubicBezTo>
                  <a:pt x="475589" y="1008515"/>
                  <a:pt x="479232" y="1010337"/>
                  <a:pt x="482876" y="1013981"/>
                </a:cubicBezTo>
                <a:cubicBezTo>
                  <a:pt x="482876" y="1008515"/>
                  <a:pt x="473766" y="1006692"/>
                  <a:pt x="475589" y="1003047"/>
                </a:cubicBezTo>
                <a:cubicBezTo>
                  <a:pt x="486521" y="1010337"/>
                  <a:pt x="493809" y="1021270"/>
                  <a:pt x="508387" y="1021270"/>
                </a:cubicBezTo>
                <a:cubicBezTo>
                  <a:pt x="495632" y="1008515"/>
                  <a:pt x="486521" y="992115"/>
                  <a:pt x="466478" y="988471"/>
                </a:cubicBezTo>
                <a:cubicBezTo>
                  <a:pt x="462832" y="984826"/>
                  <a:pt x="457367" y="981182"/>
                  <a:pt x="453722" y="979360"/>
                </a:cubicBezTo>
                <a:close/>
                <a:moveTo>
                  <a:pt x="437322" y="979360"/>
                </a:moveTo>
                <a:cubicBezTo>
                  <a:pt x="437322" y="981182"/>
                  <a:pt x="435500" y="981182"/>
                  <a:pt x="435500" y="981182"/>
                </a:cubicBezTo>
                <a:cubicBezTo>
                  <a:pt x="437322" y="981182"/>
                  <a:pt x="439145" y="984826"/>
                  <a:pt x="440966" y="984826"/>
                </a:cubicBezTo>
                <a:cubicBezTo>
                  <a:pt x="440966" y="983004"/>
                  <a:pt x="437322" y="981182"/>
                  <a:pt x="437322" y="979360"/>
                </a:cubicBezTo>
                <a:close/>
                <a:moveTo>
                  <a:pt x="211372" y="979360"/>
                </a:moveTo>
                <a:cubicBezTo>
                  <a:pt x="215017" y="990293"/>
                  <a:pt x="224128" y="997582"/>
                  <a:pt x="231416" y="995759"/>
                </a:cubicBezTo>
                <a:cubicBezTo>
                  <a:pt x="229594" y="993937"/>
                  <a:pt x="225950" y="992115"/>
                  <a:pt x="222306" y="990293"/>
                </a:cubicBezTo>
                <a:cubicBezTo>
                  <a:pt x="220483" y="984826"/>
                  <a:pt x="216839" y="983004"/>
                  <a:pt x="211372" y="979360"/>
                </a:cubicBezTo>
                <a:close/>
                <a:moveTo>
                  <a:pt x="1044789" y="979132"/>
                </a:moveTo>
                <a:lnTo>
                  <a:pt x="1045101" y="979416"/>
                </a:lnTo>
                <a:lnTo>
                  <a:pt x="1044678" y="979134"/>
                </a:lnTo>
                <a:close/>
                <a:moveTo>
                  <a:pt x="960286" y="977538"/>
                </a:moveTo>
                <a:cubicBezTo>
                  <a:pt x="958464" y="983004"/>
                  <a:pt x="958464" y="986649"/>
                  <a:pt x="954819" y="990293"/>
                </a:cubicBezTo>
                <a:cubicBezTo>
                  <a:pt x="958464" y="995759"/>
                  <a:pt x="962108" y="1004870"/>
                  <a:pt x="967575" y="1008515"/>
                </a:cubicBezTo>
                <a:cubicBezTo>
                  <a:pt x="971219" y="1004870"/>
                  <a:pt x="967575" y="997582"/>
                  <a:pt x="965753" y="993937"/>
                </a:cubicBezTo>
                <a:cubicBezTo>
                  <a:pt x="963930" y="988471"/>
                  <a:pt x="962108" y="983004"/>
                  <a:pt x="960286" y="977538"/>
                </a:cubicBezTo>
                <a:close/>
                <a:moveTo>
                  <a:pt x="484700" y="977538"/>
                </a:moveTo>
                <a:cubicBezTo>
                  <a:pt x="486521" y="981182"/>
                  <a:pt x="490165" y="983004"/>
                  <a:pt x="491987" y="984826"/>
                </a:cubicBezTo>
                <a:cubicBezTo>
                  <a:pt x="493809" y="983004"/>
                  <a:pt x="490165" y="981182"/>
                  <a:pt x="490165" y="979360"/>
                </a:cubicBezTo>
                <a:cubicBezTo>
                  <a:pt x="490165" y="979360"/>
                  <a:pt x="495632" y="983004"/>
                  <a:pt x="495632" y="984826"/>
                </a:cubicBezTo>
                <a:cubicBezTo>
                  <a:pt x="497454" y="983004"/>
                  <a:pt x="488343" y="972071"/>
                  <a:pt x="484700" y="977538"/>
                </a:cubicBezTo>
                <a:close/>
                <a:moveTo>
                  <a:pt x="317059" y="977538"/>
                </a:moveTo>
                <a:cubicBezTo>
                  <a:pt x="318882" y="981182"/>
                  <a:pt x="313414" y="986649"/>
                  <a:pt x="322525" y="983004"/>
                </a:cubicBezTo>
                <a:cubicBezTo>
                  <a:pt x="320703" y="979360"/>
                  <a:pt x="318882" y="981182"/>
                  <a:pt x="317059" y="977538"/>
                </a:cubicBezTo>
                <a:close/>
                <a:moveTo>
                  <a:pt x="275149" y="977538"/>
                </a:moveTo>
                <a:cubicBezTo>
                  <a:pt x="276971" y="983004"/>
                  <a:pt x="276971" y="986649"/>
                  <a:pt x="282438" y="983004"/>
                </a:cubicBezTo>
                <a:cubicBezTo>
                  <a:pt x="280615" y="981182"/>
                  <a:pt x="276971" y="979360"/>
                  <a:pt x="275149" y="977538"/>
                </a:cubicBezTo>
                <a:close/>
                <a:moveTo>
                  <a:pt x="256927" y="977538"/>
                </a:moveTo>
                <a:cubicBezTo>
                  <a:pt x="258749" y="983004"/>
                  <a:pt x="267860" y="988471"/>
                  <a:pt x="275149" y="986649"/>
                </a:cubicBezTo>
                <a:cubicBezTo>
                  <a:pt x="267860" y="983004"/>
                  <a:pt x="262393" y="983004"/>
                  <a:pt x="256927" y="977538"/>
                </a:cubicBezTo>
                <a:close/>
                <a:moveTo>
                  <a:pt x="755292" y="977082"/>
                </a:moveTo>
                <a:lnTo>
                  <a:pt x="756203" y="977538"/>
                </a:lnTo>
                <a:lnTo>
                  <a:pt x="755995" y="977668"/>
                </a:lnTo>
                <a:close/>
                <a:moveTo>
                  <a:pt x="865077" y="976399"/>
                </a:moveTo>
                <a:lnTo>
                  <a:pt x="865214" y="977286"/>
                </a:lnTo>
                <a:lnTo>
                  <a:pt x="864293" y="976679"/>
                </a:lnTo>
                <a:close/>
                <a:moveTo>
                  <a:pt x="2297762" y="975715"/>
                </a:moveTo>
                <a:cubicBezTo>
                  <a:pt x="2288651" y="975715"/>
                  <a:pt x="2290473" y="986649"/>
                  <a:pt x="2285007" y="981182"/>
                </a:cubicBezTo>
                <a:cubicBezTo>
                  <a:pt x="2283184" y="986649"/>
                  <a:pt x="2285007" y="988471"/>
                  <a:pt x="2286829" y="995759"/>
                </a:cubicBezTo>
                <a:lnTo>
                  <a:pt x="2288439" y="994190"/>
                </a:lnTo>
                <a:lnTo>
                  <a:pt x="2283184" y="1003047"/>
                </a:lnTo>
                <a:lnTo>
                  <a:pt x="2274986" y="997582"/>
                </a:lnTo>
                <a:lnTo>
                  <a:pt x="2277718" y="997582"/>
                </a:lnTo>
                <a:cubicBezTo>
                  <a:pt x="2279540" y="990293"/>
                  <a:pt x="2275896" y="990293"/>
                  <a:pt x="2270429" y="990293"/>
                </a:cubicBezTo>
                <a:cubicBezTo>
                  <a:pt x="2270429" y="993937"/>
                  <a:pt x="2266785" y="993937"/>
                  <a:pt x="2266785" y="997582"/>
                </a:cubicBezTo>
                <a:lnTo>
                  <a:pt x="2274984" y="997582"/>
                </a:lnTo>
                <a:lnTo>
                  <a:pt x="2266785" y="1003047"/>
                </a:lnTo>
                <a:cubicBezTo>
                  <a:pt x="2264963" y="997582"/>
                  <a:pt x="2261318" y="1003047"/>
                  <a:pt x="2257674" y="1004870"/>
                </a:cubicBezTo>
                <a:cubicBezTo>
                  <a:pt x="2257674" y="1006692"/>
                  <a:pt x="2257674" y="1006692"/>
                  <a:pt x="2257674" y="1008515"/>
                </a:cubicBezTo>
                <a:lnTo>
                  <a:pt x="2277718" y="1013981"/>
                </a:lnTo>
                <a:lnTo>
                  <a:pt x="2277718" y="1043136"/>
                </a:lnTo>
                <a:cubicBezTo>
                  <a:pt x="2275896" y="1043136"/>
                  <a:pt x="2275896" y="1043136"/>
                  <a:pt x="2274074" y="1043136"/>
                </a:cubicBezTo>
                <a:cubicBezTo>
                  <a:pt x="2275896" y="1046780"/>
                  <a:pt x="2277718" y="1050425"/>
                  <a:pt x="2281362" y="1048602"/>
                </a:cubicBezTo>
                <a:cubicBezTo>
                  <a:pt x="2286829" y="1044958"/>
                  <a:pt x="2290473" y="1044958"/>
                  <a:pt x="2288651" y="1037669"/>
                </a:cubicBezTo>
                <a:cubicBezTo>
                  <a:pt x="2288651" y="1034025"/>
                  <a:pt x="2292295" y="1035847"/>
                  <a:pt x="2294117" y="1035847"/>
                </a:cubicBezTo>
                <a:cubicBezTo>
                  <a:pt x="2294117" y="1032203"/>
                  <a:pt x="2294117" y="1026736"/>
                  <a:pt x="2295940" y="1023092"/>
                </a:cubicBezTo>
                <a:cubicBezTo>
                  <a:pt x="2297762" y="1023092"/>
                  <a:pt x="2297762" y="1023092"/>
                  <a:pt x="2299584" y="1024914"/>
                </a:cubicBezTo>
                <a:cubicBezTo>
                  <a:pt x="2299584" y="1021270"/>
                  <a:pt x="2301406" y="1019448"/>
                  <a:pt x="2303228" y="1017625"/>
                </a:cubicBezTo>
                <a:lnTo>
                  <a:pt x="2305050" y="1010337"/>
                </a:lnTo>
                <a:cubicBezTo>
                  <a:pt x="2299584" y="1006692"/>
                  <a:pt x="2294117" y="1010337"/>
                  <a:pt x="2286829" y="1008515"/>
                </a:cubicBezTo>
                <a:cubicBezTo>
                  <a:pt x="2292295" y="1004870"/>
                  <a:pt x="2299584" y="1008515"/>
                  <a:pt x="2306873" y="1006692"/>
                </a:cubicBezTo>
                <a:lnTo>
                  <a:pt x="2306873" y="1003047"/>
                </a:lnTo>
                <a:lnTo>
                  <a:pt x="2310517" y="1004870"/>
                </a:lnTo>
                <a:cubicBezTo>
                  <a:pt x="2312339" y="1004870"/>
                  <a:pt x="2312339" y="1003047"/>
                  <a:pt x="2314161" y="1001226"/>
                </a:cubicBezTo>
                <a:cubicBezTo>
                  <a:pt x="2317806" y="1010337"/>
                  <a:pt x="2334205" y="1008515"/>
                  <a:pt x="2336027" y="999403"/>
                </a:cubicBezTo>
                <a:cubicBezTo>
                  <a:pt x="2337850" y="1001226"/>
                  <a:pt x="2339672" y="1003047"/>
                  <a:pt x="2341494" y="1004870"/>
                </a:cubicBezTo>
                <a:cubicBezTo>
                  <a:pt x="2341494" y="1004870"/>
                  <a:pt x="2343316" y="1004870"/>
                  <a:pt x="2343316" y="1004870"/>
                </a:cubicBezTo>
                <a:lnTo>
                  <a:pt x="2354249" y="993937"/>
                </a:lnTo>
                <a:lnTo>
                  <a:pt x="2357893" y="1001226"/>
                </a:lnTo>
                <a:cubicBezTo>
                  <a:pt x="2359716" y="999403"/>
                  <a:pt x="2361538" y="995759"/>
                  <a:pt x="2359716" y="992115"/>
                </a:cubicBezTo>
                <a:cubicBezTo>
                  <a:pt x="2357893" y="984826"/>
                  <a:pt x="2348782" y="981182"/>
                  <a:pt x="2343316" y="981182"/>
                </a:cubicBezTo>
                <a:cubicBezTo>
                  <a:pt x="2330561" y="981182"/>
                  <a:pt x="2314161" y="979360"/>
                  <a:pt x="2303228" y="983004"/>
                </a:cubicBezTo>
                <a:lnTo>
                  <a:pt x="2295682" y="987133"/>
                </a:lnTo>
                <a:lnTo>
                  <a:pt x="2295712" y="987103"/>
                </a:lnTo>
                <a:cubicBezTo>
                  <a:pt x="2298218" y="983459"/>
                  <a:pt x="2299584" y="979359"/>
                  <a:pt x="2297762" y="975715"/>
                </a:cubicBezTo>
                <a:close/>
                <a:moveTo>
                  <a:pt x="1169836" y="975715"/>
                </a:moveTo>
                <a:lnTo>
                  <a:pt x="1167467" y="984009"/>
                </a:lnTo>
                <a:lnTo>
                  <a:pt x="1166192" y="984826"/>
                </a:lnTo>
                <a:cubicBezTo>
                  <a:pt x="1162547" y="981182"/>
                  <a:pt x="1169836" y="977538"/>
                  <a:pt x="1169836" y="975715"/>
                </a:cubicBezTo>
                <a:close/>
                <a:moveTo>
                  <a:pt x="703359" y="975715"/>
                </a:moveTo>
                <a:cubicBezTo>
                  <a:pt x="703359" y="977538"/>
                  <a:pt x="699715" y="979360"/>
                  <a:pt x="703359" y="981182"/>
                </a:cubicBezTo>
                <a:cubicBezTo>
                  <a:pt x="707004" y="981182"/>
                  <a:pt x="707004" y="979360"/>
                  <a:pt x="707004" y="977538"/>
                </a:cubicBezTo>
                <a:cubicBezTo>
                  <a:pt x="707004" y="977538"/>
                  <a:pt x="705182" y="977538"/>
                  <a:pt x="703359" y="975715"/>
                </a:cubicBezTo>
                <a:close/>
                <a:moveTo>
                  <a:pt x="481054" y="975715"/>
                </a:moveTo>
                <a:cubicBezTo>
                  <a:pt x="482876" y="984826"/>
                  <a:pt x="490165" y="997582"/>
                  <a:pt x="502920" y="1001226"/>
                </a:cubicBezTo>
                <a:cubicBezTo>
                  <a:pt x="499276" y="992115"/>
                  <a:pt x="491987" y="986649"/>
                  <a:pt x="481054" y="975715"/>
                </a:cubicBezTo>
                <a:close/>
                <a:moveTo>
                  <a:pt x="278793" y="975715"/>
                </a:moveTo>
                <a:cubicBezTo>
                  <a:pt x="280615" y="979360"/>
                  <a:pt x="287904" y="986649"/>
                  <a:pt x="291549" y="984826"/>
                </a:cubicBezTo>
                <a:cubicBezTo>
                  <a:pt x="289726" y="979360"/>
                  <a:pt x="282438" y="979360"/>
                  <a:pt x="278793" y="975715"/>
                </a:cubicBezTo>
                <a:close/>
                <a:moveTo>
                  <a:pt x="3298925" y="974594"/>
                </a:moveTo>
                <a:lnTo>
                  <a:pt x="3304715" y="1006435"/>
                </a:lnTo>
                <a:lnTo>
                  <a:pt x="3303602" y="1006692"/>
                </a:lnTo>
                <a:cubicBezTo>
                  <a:pt x="3301780" y="999403"/>
                  <a:pt x="3300868" y="993481"/>
                  <a:pt x="3300185" y="987331"/>
                </a:cubicBezTo>
                <a:close/>
                <a:moveTo>
                  <a:pt x="1064151" y="973893"/>
                </a:moveTo>
                <a:cubicBezTo>
                  <a:pt x="1062328" y="975715"/>
                  <a:pt x="1064151" y="977538"/>
                  <a:pt x="1065972" y="979360"/>
                </a:cubicBezTo>
                <a:cubicBezTo>
                  <a:pt x="1065972" y="979360"/>
                  <a:pt x="1065972" y="979360"/>
                  <a:pt x="1067794" y="979360"/>
                </a:cubicBezTo>
                <a:cubicBezTo>
                  <a:pt x="1067794" y="984826"/>
                  <a:pt x="1062328" y="983004"/>
                  <a:pt x="1060506" y="986649"/>
                </a:cubicBezTo>
                <a:cubicBezTo>
                  <a:pt x="1062328" y="988471"/>
                  <a:pt x="1064151" y="988471"/>
                  <a:pt x="1065972" y="990293"/>
                </a:cubicBezTo>
                <a:cubicBezTo>
                  <a:pt x="1064151" y="988471"/>
                  <a:pt x="1062328" y="988471"/>
                  <a:pt x="1060506" y="988471"/>
                </a:cubicBezTo>
                <a:cubicBezTo>
                  <a:pt x="1060506" y="990293"/>
                  <a:pt x="1058683" y="992115"/>
                  <a:pt x="1056861" y="993937"/>
                </a:cubicBezTo>
                <a:cubicBezTo>
                  <a:pt x="1060506" y="995759"/>
                  <a:pt x="1062328" y="992115"/>
                  <a:pt x="1065972" y="990293"/>
                </a:cubicBezTo>
                <a:cubicBezTo>
                  <a:pt x="1067794" y="986649"/>
                  <a:pt x="1071439" y="990293"/>
                  <a:pt x="1075083" y="986649"/>
                </a:cubicBezTo>
                <a:cubicBezTo>
                  <a:pt x="1075083" y="986649"/>
                  <a:pt x="1075083" y="984826"/>
                  <a:pt x="1075083" y="984826"/>
                </a:cubicBezTo>
                <a:lnTo>
                  <a:pt x="1069616" y="984826"/>
                </a:lnTo>
                <a:lnTo>
                  <a:pt x="1067794" y="973893"/>
                </a:lnTo>
                <a:cubicBezTo>
                  <a:pt x="1065972" y="973893"/>
                  <a:pt x="1065972" y="973893"/>
                  <a:pt x="1064151" y="973893"/>
                </a:cubicBezTo>
                <a:close/>
                <a:moveTo>
                  <a:pt x="909265" y="973893"/>
                </a:moveTo>
                <a:cubicBezTo>
                  <a:pt x="907444" y="975715"/>
                  <a:pt x="909265" y="977538"/>
                  <a:pt x="905621" y="979360"/>
                </a:cubicBezTo>
                <a:cubicBezTo>
                  <a:pt x="907444" y="981182"/>
                  <a:pt x="907444" y="983004"/>
                  <a:pt x="909265" y="981182"/>
                </a:cubicBezTo>
                <a:cubicBezTo>
                  <a:pt x="905621" y="979360"/>
                  <a:pt x="911087" y="977538"/>
                  <a:pt x="909265" y="973893"/>
                </a:cubicBezTo>
                <a:close/>
                <a:moveTo>
                  <a:pt x="723404" y="973893"/>
                </a:moveTo>
                <a:cubicBezTo>
                  <a:pt x="723404" y="973893"/>
                  <a:pt x="721581" y="975715"/>
                  <a:pt x="719759" y="977538"/>
                </a:cubicBezTo>
                <a:cubicBezTo>
                  <a:pt x="721581" y="979360"/>
                  <a:pt x="725226" y="975715"/>
                  <a:pt x="723404" y="973893"/>
                </a:cubicBezTo>
                <a:close/>
                <a:moveTo>
                  <a:pt x="677849" y="973893"/>
                </a:moveTo>
                <a:cubicBezTo>
                  <a:pt x="674205" y="972071"/>
                  <a:pt x="676027" y="977538"/>
                  <a:pt x="676027" y="979360"/>
                </a:cubicBezTo>
                <a:cubicBezTo>
                  <a:pt x="677849" y="979360"/>
                  <a:pt x="677849" y="975715"/>
                  <a:pt x="677849" y="973893"/>
                </a:cubicBezTo>
                <a:close/>
                <a:moveTo>
                  <a:pt x="661449" y="973893"/>
                </a:moveTo>
                <a:cubicBezTo>
                  <a:pt x="659627" y="977538"/>
                  <a:pt x="668738" y="981182"/>
                  <a:pt x="670560" y="979360"/>
                </a:cubicBezTo>
                <a:cubicBezTo>
                  <a:pt x="666916" y="975715"/>
                  <a:pt x="665094" y="977538"/>
                  <a:pt x="661449" y="973893"/>
                </a:cubicBezTo>
                <a:close/>
                <a:moveTo>
                  <a:pt x="497454" y="973893"/>
                </a:moveTo>
                <a:cubicBezTo>
                  <a:pt x="493809" y="975715"/>
                  <a:pt x="499276" y="979360"/>
                  <a:pt x="502920" y="979360"/>
                </a:cubicBezTo>
                <a:cubicBezTo>
                  <a:pt x="501098" y="977538"/>
                  <a:pt x="499276" y="975715"/>
                  <a:pt x="497454" y="973893"/>
                </a:cubicBezTo>
                <a:close/>
                <a:moveTo>
                  <a:pt x="457367" y="973893"/>
                </a:moveTo>
                <a:cubicBezTo>
                  <a:pt x="461010" y="984826"/>
                  <a:pt x="477410" y="992115"/>
                  <a:pt x="484700" y="993937"/>
                </a:cubicBezTo>
                <a:cubicBezTo>
                  <a:pt x="481054" y="981182"/>
                  <a:pt x="475589" y="970249"/>
                  <a:pt x="457367" y="973893"/>
                </a:cubicBezTo>
                <a:close/>
                <a:moveTo>
                  <a:pt x="309771" y="973893"/>
                </a:moveTo>
                <a:cubicBezTo>
                  <a:pt x="306126" y="977538"/>
                  <a:pt x="309771" y="981182"/>
                  <a:pt x="315236" y="979360"/>
                </a:cubicBezTo>
                <a:cubicBezTo>
                  <a:pt x="313414" y="977538"/>
                  <a:pt x="313414" y="973893"/>
                  <a:pt x="309771" y="973893"/>
                </a:cubicBezTo>
                <a:close/>
                <a:moveTo>
                  <a:pt x="189506" y="973893"/>
                </a:moveTo>
                <a:cubicBezTo>
                  <a:pt x="191329" y="983004"/>
                  <a:pt x="202262" y="984826"/>
                  <a:pt x="205906" y="988471"/>
                </a:cubicBezTo>
                <a:cubicBezTo>
                  <a:pt x="205906" y="984826"/>
                  <a:pt x="204084" y="981182"/>
                  <a:pt x="198617" y="975715"/>
                </a:cubicBezTo>
                <a:cubicBezTo>
                  <a:pt x="194973" y="975715"/>
                  <a:pt x="193151" y="975715"/>
                  <a:pt x="189506" y="973893"/>
                </a:cubicBezTo>
                <a:close/>
                <a:moveTo>
                  <a:pt x="156707" y="973893"/>
                </a:moveTo>
                <a:cubicBezTo>
                  <a:pt x="159440" y="973893"/>
                  <a:pt x="161263" y="976170"/>
                  <a:pt x="163085" y="978448"/>
                </a:cubicBezTo>
                <a:lnTo>
                  <a:pt x="165589" y="980237"/>
                </a:lnTo>
                <a:lnTo>
                  <a:pt x="163313" y="979131"/>
                </a:lnTo>
                <a:cubicBezTo>
                  <a:pt x="161263" y="977081"/>
                  <a:pt x="159440" y="974804"/>
                  <a:pt x="156707" y="973893"/>
                </a:cubicBezTo>
                <a:close/>
                <a:moveTo>
                  <a:pt x="2558332" y="972071"/>
                </a:moveTo>
                <a:cubicBezTo>
                  <a:pt x="2551044" y="973893"/>
                  <a:pt x="2543755" y="970249"/>
                  <a:pt x="2541933" y="983004"/>
                </a:cubicBezTo>
                <a:cubicBezTo>
                  <a:pt x="2549222" y="983004"/>
                  <a:pt x="2556510" y="984826"/>
                  <a:pt x="2560155" y="977538"/>
                </a:cubicBezTo>
                <a:cubicBezTo>
                  <a:pt x="2560155" y="977538"/>
                  <a:pt x="2560155" y="977538"/>
                  <a:pt x="2558332" y="977538"/>
                </a:cubicBezTo>
                <a:cubicBezTo>
                  <a:pt x="2558332" y="975715"/>
                  <a:pt x="2558332" y="973893"/>
                  <a:pt x="2558332" y="972071"/>
                </a:cubicBezTo>
                <a:close/>
                <a:moveTo>
                  <a:pt x="1211747" y="972071"/>
                </a:moveTo>
                <a:cubicBezTo>
                  <a:pt x="1209925" y="973893"/>
                  <a:pt x="1211747" y="975715"/>
                  <a:pt x="1209925" y="977538"/>
                </a:cubicBezTo>
                <a:cubicBezTo>
                  <a:pt x="1209925" y="975715"/>
                  <a:pt x="1209925" y="975715"/>
                  <a:pt x="1208102" y="973893"/>
                </a:cubicBezTo>
                <a:cubicBezTo>
                  <a:pt x="1209925" y="973893"/>
                  <a:pt x="1209925" y="972071"/>
                  <a:pt x="1211747" y="972071"/>
                </a:cubicBezTo>
                <a:close/>
                <a:moveTo>
                  <a:pt x="479232" y="972071"/>
                </a:moveTo>
                <a:cubicBezTo>
                  <a:pt x="477410" y="975715"/>
                  <a:pt x="484700" y="977538"/>
                  <a:pt x="484700" y="973893"/>
                </a:cubicBezTo>
                <a:cubicBezTo>
                  <a:pt x="482876" y="970249"/>
                  <a:pt x="481054" y="973893"/>
                  <a:pt x="479232" y="972071"/>
                </a:cubicBezTo>
                <a:close/>
                <a:moveTo>
                  <a:pt x="256927" y="972071"/>
                </a:moveTo>
                <a:cubicBezTo>
                  <a:pt x="256927" y="973893"/>
                  <a:pt x="262393" y="977538"/>
                  <a:pt x="264216" y="977538"/>
                </a:cubicBezTo>
                <a:cubicBezTo>
                  <a:pt x="262393" y="972071"/>
                  <a:pt x="258749" y="973893"/>
                  <a:pt x="256927" y="972071"/>
                </a:cubicBezTo>
                <a:close/>
                <a:moveTo>
                  <a:pt x="52843" y="970293"/>
                </a:moveTo>
                <a:cubicBezTo>
                  <a:pt x="56488" y="977582"/>
                  <a:pt x="63776" y="983049"/>
                  <a:pt x="69243" y="988516"/>
                </a:cubicBezTo>
                <a:lnTo>
                  <a:pt x="69245" y="988517"/>
                </a:lnTo>
                <a:lnTo>
                  <a:pt x="69246" y="988518"/>
                </a:lnTo>
                <a:lnTo>
                  <a:pt x="69246" y="988519"/>
                </a:lnTo>
                <a:lnTo>
                  <a:pt x="69248" y="988520"/>
                </a:lnTo>
                <a:lnTo>
                  <a:pt x="69247" y="988520"/>
                </a:lnTo>
                <a:lnTo>
                  <a:pt x="69254" y="988527"/>
                </a:lnTo>
                <a:lnTo>
                  <a:pt x="89288" y="1012205"/>
                </a:lnTo>
                <a:cubicBezTo>
                  <a:pt x="76532" y="999449"/>
                  <a:pt x="61954" y="986694"/>
                  <a:pt x="52843" y="970293"/>
                </a:cubicBezTo>
                <a:close/>
                <a:moveTo>
                  <a:pt x="2498201" y="970249"/>
                </a:moveTo>
                <a:cubicBezTo>
                  <a:pt x="2494556" y="977538"/>
                  <a:pt x="2490912" y="983004"/>
                  <a:pt x="2492734" y="992115"/>
                </a:cubicBezTo>
                <a:cubicBezTo>
                  <a:pt x="2489090" y="992115"/>
                  <a:pt x="2485446" y="999403"/>
                  <a:pt x="2485446" y="1006692"/>
                </a:cubicBezTo>
                <a:cubicBezTo>
                  <a:pt x="2496379" y="999403"/>
                  <a:pt x="2500023" y="988471"/>
                  <a:pt x="2509134" y="981182"/>
                </a:cubicBezTo>
                <a:cubicBezTo>
                  <a:pt x="2507312" y="972071"/>
                  <a:pt x="2500023" y="975715"/>
                  <a:pt x="2498201" y="970249"/>
                </a:cubicBezTo>
                <a:close/>
                <a:moveTo>
                  <a:pt x="818156" y="970249"/>
                </a:moveTo>
                <a:cubicBezTo>
                  <a:pt x="810868" y="972071"/>
                  <a:pt x="805401" y="968427"/>
                  <a:pt x="801757" y="972071"/>
                </a:cubicBezTo>
                <a:cubicBezTo>
                  <a:pt x="807223" y="972071"/>
                  <a:pt x="812690" y="973893"/>
                  <a:pt x="818156" y="970249"/>
                </a:cubicBezTo>
                <a:close/>
                <a:moveTo>
                  <a:pt x="734336" y="970249"/>
                </a:moveTo>
                <a:lnTo>
                  <a:pt x="734336" y="971463"/>
                </a:lnTo>
                <a:lnTo>
                  <a:pt x="733832" y="970624"/>
                </a:lnTo>
                <a:close/>
                <a:moveTo>
                  <a:pt x="683316" y="970249"/>
                </a:moveTo>
                <a:cubicBezTo>
                  <a:pt x="679671" y="970249"/>
                  <a:pt x="681493" y="973893"/>
                  <a:pt x="679671" y="975715"/>
                </a:cubicBezTo>
                <a:cubicBezTo>
                  <a:pt x="683316" y="975715"/>
                  <a:pt x="685138" y="977538"/>
                  <a:pt x="686960" y="979360"/>
                </a:cubicBezTo>
                <a:cubicBezTo>
                  <a:pt x="690604" y="975715"/>
                  <a:pt x="683316" y="973893"/>
                  <a:pt x="683316" y="970249"/>
                </a:cubicBezTo>
                <a:close/>
                <a:moveTo>
                  <a:pt x="650516" y="970249"/>
                </a:moveTo>
                <a:cubicBezTo>
                  <a:pt x="650516" y="979360"/>
                  <a:pt x="650516" y="988471"/>
                  <a:pt x="659627" y="993937"/>
                </a:cubicBezTo>
                <a:cubicBezTo>
                  <a:pt x="659627" y="992115"/>
                  <a:pt x="654161" y="988471"/>
                  <a:pt x="655983" y="984826"/>
                </a:cubicBezTo>
                <a:cubicBezTo>
                  <a:pt x="657805" y="984826"/>
                  <a:pt x="657805" y="988471"/>
                  <a:pt x="661449" y="990293"/>
                </a:cubicBezTo>
                <a:cubicBezTo>
                  <a:pt x="657805" y="983004"/>
                  <a:pt x="655983" y="975715"/>
                  <a:pt x="650516" y="970249"/>
                </a:cubicBezTo>
                <a:close/>
                <a:moveTo>
                  <a:pt x="619539" y="970249"/>
                </a:moveTo>
                <a:cubicBezTo>
                  <a:pt x="617717" y="970249"/>
                  <a:pt x="617717" y="972071"/>
                  <a:pt x="615895" y="973893"/>
                </a:cubicBezTo>
                <a:cubicBezTo>
                  <a:pt x="621362" y="979360"/>
                  <a:pt x="625006" y="981182"/>
                  <a:pt x="630472" y="983004"/>
                </a:cubicBezTo>
                <a:cubicBezTo>
                  <a:pt x="628650" y="979360"/>
                  <a:pt x="626828" y="973893"/>
                  <a:pt x="619539" y="970249"/>
                </a:cubicBezTo>
                <a:close/>
                <a:moveTo>
                  <a:pt x="72887" y="970249"/>
                </a:moveTo>
                <a:lnTo>
                  <a:pt x="74123" y="972273"/>
                </a:lnTo>
                <a:lnTo>
                  <a:pt x="83592" y="987787"/>
                </a:lnTo>
                <a:cubicBezTo>
                  <a:pt x="87464" y="993481"/>
                  <a:pt x="92020" y="998492"/>
                  <a:pt x="98398" y="1001226"/>
                </a:cubicBezTo>
                <a:cubicBezTo>
                  <a:pt x="94753" y="997582"/>
                  <a:pt x="91109" y="992115"/>
                  <a:pt x="87465" y="988471"/>
                </a:cubicBezTo>
                <a:cubicBezTo>
                  <a:pt x="103864" y="1003047"/>
                  <a:pt x="118442" y="1026736"/>
                  <a:pt x="140308" y="1034025"/>
                </a:cubicBezTo>
                <a:cubicBezTo>
                  <a:pt x="123908" y="1019448"/>
                  <a:pt x="105686" y="1006692"/>
                  <a:pt x="92931" y="990293"/>
                </a:cubicBezTo>
                <a:cubicBezTo>
                  <a:pt x="100220" y="990293"/>
                  <a:pt x="100220" y="1003047"/>
                  <a:pt x="107509" y="1003047"/>
                </a:cubicBezTo>
                <a:cubicBezTo>
                  <a:pt x="94753" y="983004"/>
                  <a:pt x="83820" y="981182"/>
                  <a:pt x="72887" y="970249"/>
                </a:cubicBezTo>
                <a:close/>
                <a:moveTo>
                  <a:pt x="418645" y="968882"/>
                </a:moveTo>
                <a:lnTo>
                  <a:pt x="413634" y="973893"/>
                </a:lnTo>
                <a:lnTo>
                  <a:pt x="411812" y="975715"/>
                </a:lnTo>
                <a:cubicBezTo>
                  <a:pt x="409989" y="975715"/>
                  <a:pt x="408167" y="977538"/>
                  <a:pt x="406345" y="977538"/>
                </a:cubicBezTo>
                <a:cubicBezTo>
                  <a:pt x="408167" y="979360"/>
                  <a:pt x="411812" y="981182"/>
                  <a:pt x="415456" y="983004"/>
                </a:cubicBezTo>
                <a:cubicBezTo>
                  <a:pt x="413634" y="981182"/>
                  <a:pt x="411812" y="977538"/>
                  <a:pt x="411812" y="975715"/>
                </a:cubicBezTo>
                <a:cubicBezTo>
                  <a:pt x="411812" y="979360"/>
                  <a:pt x="420923" y="986649"/>
                  <a:pt x="430034" y="990293"/>
                </a:cubicBezTo>
                <a:cubicBezTo>
                  <a:pt x="424567" y="986649"/>
                  <a:pt x="422745" y="979360"/>
                  <a:pt x="415456" y="979360"/>
                </a:cubicBezTo>
                <a:cubicBezTo>
                  <a:pt x="415456" y="979360"/>
                  <a:pt x="417278" y="977538"/>
                  <a:pt x="419100" y="979360"/>
                </a:cubicBezTo>
                <a:lnTo>
                  <a:pt x="413634" y="973893"/>
                </a:lnTo>
                <a:lnTo>
                  <a:pt x="428211" y="975715"/>
                </a:lnTo>
                <a:cubicBezTo>
                  <a:pt x="426389" y="970248"/>
                  <a:pt x="422289" y="968426"/>
                  <a:pt x="418645" y="968882"/>
                </a:cubicBezTo>
                <a:close/>
                <a:moveTo>
                  <a:pt x="2285007" y="968427"/>
                </a:moveTo>
                <a:cubicBezTo>
                  <a:pt x="2281362" y="972071"/>
                  <a:pt x="2277718" y="973893"/>
                  <a:pt x="2275896" y="979360"/>
                </a:cubicBezTo>
                <a:cubicBezTo>
                  <a:pt x="2277718" y="981182"/>
                  <a:pt x="2286829" y="979360"/>
                  <a:pt x="2290473" y="975715"/>
                </a:cubicBezTo>
                <a:cubicBezTo>
                  <a:pt x="2292295" y="970249"/>
                  <a:pt x="2288651" y="964782"/>
                  <a:pt x="2285007" y="968427"/>
                </a:cubicBezTo>
                <a:close/>
                <a:moveTo>
                  <a:pt x="1058683" y="968427"/>
                </a:moveTo>
                <a:cubicBezTo>
                  <a:pt x="1056861" y="968427"/>
                  <a:pt x="1058683" y="970249"/>
                  <a:pt x="1056861" y="970249"/>
                </a:cubicBezTo>
                <a:cubicBezTo>
                  <a:pt x="1051395" y="968427"/>
                  <a:pt x="1045929" y="973893"/>
                  <a:pt x="1042284" y="977538"/>
                </a:cubicBezTo>
                <a:lnTo>
                  <a:pt x="1044678" y="979134"/>
                </a:lnTo>
                <a:lnTo>
                  <a:pt x="1033173" y="979360"/>
                </a:lnTo>
                <a:cubicBezTo>
                  <a:pt x="1036818" y="988471"/>
                  <a:pt x="1033173" y="995759"/>
                  <a:pt x="1036818" y="1004870"/>
                </a:cubicBezTo>
                <a:cubicBezTo>
                  <a:pt x="1042284" y="1001226"/>
                  <a:pt x="1049573" y="1001226"/>
                  <a:pt x="1053217" y="993937"/>
                </a:cubicBezTo>
                <a:cubicBezTo>
                  <a:pt x="1053217" y="992115"/>
                  <a:pt x="1049573" y="992115"/>
                  <a:pt x="1047750" y="990293"/>
                </a:cubicBezTo>
                <a:cubicBezTo>
                  <a:pt x="1049573" y="988471"/>
                  <a:pt x="1053217" y="992115"/>
                  <a:pt x="1055040" y="988471"/>
                </a:cubicBezTo>
                <a:lnTo>
                  <a:pt x="1045101" y="979416"/>
                </a:lnTo>
                <a:lnTo>
                  <a:pt x="1053217" y="984826"/>
                </a:lnTo>
                <a:cubicBezTo>
                  <a:pt x="1055040" y="981182"/>
                  <a:pt x="1053217" y="984826"/>
                  <a:pt x="1056861" y="984826"/>
                </a:cubicBezTo>
                <a:cubicBezTo>
                  <a:pt x="1058683" y="983004"/>
                  <a:pt x="1058683" y="983004"/>
                  <a:pt x="1060506" y="981182"/>
                </a:cubicBezTo>
                <a:cubicBezTo>
                  <a:pt x="1060506" y="977538"/>
                  <a:pt x="1058683" y="973893"/>
                  <a:pt x="1056861" y="970249"/>
                </a:cubicBezTo>
                <a:cubicBezTo>
                  <a:pt x="1058683" y="968427"/>
                  <a:pt x="1058683" y="973893"/>
                  <a:pt x="1060506" y="973893"/>
                </a:cubicBezTo>
                <a:cubicBezTo>
                  <a:pt x="1062328" y="972071"/>
                  <a:pt x="1060506" y="968427"/>
                  <a:pt x="1058683" y="968427"/>
                </a:cubicBezTo>
                <a:close/>
                <a:moveTo>
                  <a:pt x="1049573" y="968427"/>
                </a:moveTo>
                <a:cubicBezTo>
                  <a:pt x="1044106" y="966604"/>
                  <a:pt x="1038639" y="972071"/>
                  <a:pt x="1034995" y="972071"/>
                </a:cubicBezTo>
                <a:cubicBezTo>
                  <a:pt x="1034995" y="975715"/>
                  <a:pt x="1045929" y="970249"/>
                  <a:pt x="1049573" y="968427"/>
                </a:cubicBezTo>
                <a:close/>
                <a:moveTo>
                  <a:pt x="1031351" y="968427"/>
                </a:moveTo>
                <a:cubicBezTo>
                  <a:pt x="1027707" y="968427"/>
                  <a:pt x="1025884" y="970249"/>
                  <a:pt x="1024062" y="973893"/>
                </a:cubicBezTo>
                <a:cubicBezTo>
                  <a:pt x="1027707" y="975715"/>
                  <a:pt x="1031351" y="970249"/>
                  <a:pt x="1031351" y="968427"/>
                </a:cubicBezTo>
                <a:close/>
                <a:moveTo>
                  <a:pt x="1005840" y="968427"/>
                </a:moveTo>
                <a:cubicBezTo>
                  <a:pt x="1002196" y="968427"/>
                  <a:pt x="1000374" y="973893"/>
                  <a:pt x="998552" y="975715"/>
                </a:cubicBezTo>
                <a:cubicBezTo>
                  <a:pt x="998552" y="977538"/>
                  <a:pt x="998552" y="975715"/>
                  <a:pt x="1000374" y="977538"/>
                </a:cubicBezTo>
                <a:cubicBezTo>
                  <a:pt x="1002196" y="973893"/>
                  <a:pt x="1004018" y="970249"/>
                  <a:pt x="1005840" y="968427"/>
                </a:cubicBezTo>
                <a:close/>
                <a:moveTo>
                  <a:pt x="949353" y="968427"/>
                </a:moveTo>
                <a:cubicBezTo>
                  <a:pt x="947531" y="973893"/>
                  <a:pt x="947531" y="981182"/>
                  <a:pt x="952997" y="986649"/>
                </a:cubicBezTo>
                <a:cubicBezTo>
                  <a:pt x="954819" y="983004"/>
                  <a:pt x="956642" y="979360"/>
                  <a:pt x="958464" y="975715"/>
                </a:cubicBezTo>
                <a:cubicBezTo>
                  <a:pt x="954819" y="973893"/>
                  <a:pt x="951175" y="972071"/>
                  <a:pt x="949353" y="968427"/>
                </a:cubicBezTo>
                <a:close/>
                <a:moveTo>
                  <a:pt x="317059" y="968427"/>
                </a:moveTo>
                <a:cubicBezTo>
                  <a:pt x="315236" y="970249"/>
                  <a:pt x="315236" y="970249"/>
                  <a:pt x="315236" y="970249"/>
                </a:cubicBezTo>
                <a:cubicBezTo>
                  <a:pt x="317059" y="972071"/>
                  <a:pt x="318882" y="973893"/>
                  <a:pt x="320703" y="973893"/>
                </a:cubicBezTo>
                <a:cubicBezTo>
                  <a:pt x="320703" y="972071"/>
                  <a:pt x="318882" y="970249"/>
                  <a:pt x="317059" y="968427"/>
                </a:cubicBezTo>
                <a:close/>
                <a:moveTo>
                  <a:pt x="284259" y="968427"/>
                </a:moveTo>
                <a:cubicBezTo>
                  <a:pt x="284259" y="975715"/>
                  <a:pt x="293370" y="981182"/>
                  <a:pt x="298837" y="984826"/>
                </a:cubicBezTo>
                <a:cubicBezTo>
                  <a:pt x="298837" y="983004"/>
                  <a:pt x="295193" y="979360"/>
                  <a:pt x="298837" y="977538"/>
                </a:cubicBezTo>
                <a:cubicBezTo>
                  <a:pt x="300660" y="984826"/>
                  <a:pt x="311592" y="988471"/>
                  <a:pt x="315236" y="993937"/>
                </a:cubicBezTo>
                <a:cubicBezTo>
                  <a:pt x="313414" y="983004"/>
                  <a:pt x="300660" y="979360"/>
                  <a:pt x="297015" y="972071"/>
                </a:cubicBezTo>
                <a:cubicBezTo>
                  <a:pt x="295193" y="973893"/>
                  <a:pt x="289726" y="970249"/>
                  <a:pt x="284259" y="968427"/>
                </a:cubicBezTo>
                <a:close/>
                <a:moveTo>
                  <a:pt x="242349" y="968427"/>
                </a:moveTo>
                <a:cubicBezTo>
                  <a:pt x="244172" y="973893"/>
                  <a:pt x="253282" y="981182"/>
                  <a:pt x="258749" y="986649"/>
                </a:cubicBezTo>
                <a:cubicBezTo>
                  <a:pt x="256927" y="988471"/>
                  <a:pt x="262393" y="992115"/>
                  <a:pt x="264216" y="990293"/>
                </a:cubicBezTo>
                <a:cubicBezTo>
                  <a:pt x="262393" y="988471"/>
                  <a:pt x="260571" y="988471"/>
                  <a:pt x="258749" y="986649"/>
                </a:cubicBezTo>
                <a:cubicBezTo>
                  <a:pt x="256927" y="977538"/>
                  <a:pt x="245994" y="972071"/>
                  <a:pt x="242349" y="968427"/>
                </a:cubicBezTo>
                <a:close/>
                <a:moveTo>
                  <a:pt x="222306" y="968427"/>
                </a:moveTo>
                <a:cubicBezTo>
                  <a:pt x="222306" y="973893"/>
                  <a:pt x="229594" y="986649"/>
                  <a:pt x="236883" y="984826"/>
                </a:cubicBezTo>
                <a:cubicBezTo>
                  <a:pt x="235061" y="981182"/>
                  <a:pt x="235061" y="983004"/>
                  <a:pt x="235061" y="981182"/>
                </a:cubicBezTo>
                <a:cubicBezTo>
                  <a:pt x="238705" y="981182"/>
                  <a:pt x="244172" y="990293"/>
                  <a:pt x="247816" y="986649"/>
                </a:cubicBezTo>
                <a:cubicBezTo>
                  <a:pt x="240527" y="975715"/>
                  <a:pt x="231416" y="973893"/>
                  <a:pt x="222306" y="968427"/>
                </a:cubicBezTo>
                <a:close/>
                <a:moveTo>
                  <a:pt x="187684" y="968427"/>
                </a:moveTo>
                <a:cubicBezTo>
                  <a:pt x="187684" y="975715"/>
                  <a:pt x="193151" y="970249"/>
                  <a:pt x="196795" y="973893"/>
                </a:cubicBezTo>
                <a:cubicBezTo>
                  <a:pt x="194973" y="972071"/>
                  <a:pt x="189506" y="972071"/>
                  <a:pt x="187684" y="968427"/>
                </a:cubicBezTo>
                <a:close/>
                <a:moveTo>
                  <a:pt x="2339672" y="968427"/>
                </a:moveTo>
                <a:lnTo>
                  <a:pt x="2341521" y="969351"/>
                </a:lnTo>
                <a:lnTo>
                  <a:pt x="2341494" y="970249"/>
                </a:lnTo>
                <a:lnTo>
                  <a:pt x="2339276" y="968823"/>
                </a:lnTo>
                <a:close/>
                <a:moveTo>
                  <a:pt x="1326221" y="968248"/>
                </a:moveTo>
                <a:lnTo>
                  <a:pt x="1328365" y="968427"/>
                </a:lnTo>
                <a:lnTo>
                  <a:pt x="1327089" y="969702"/>
                </a:lnTo>
                <a:lnTo>
                  <a:pt x="1324721" y="970249"/>
                </a:lnTo>
                <a:close/>
                <a:moveTo>
                  <a:pt x="3172405" y="966604"/>
                </a:moveTo>
                <a:cubicBezTo>
                  <a:pt x="3161472" y="968427"/>
                  <a:pt x="3159650" y="977538"/>
                  <a:pt x="3154184" y="981182"/>
                </a:cubicBezTo>
                <a:cubicBezTo>
                  <a:pt x="3156006" y="984826"/>
                  <a:pt x="3163294" y="983004"/>
                  <a:pt x="3168761" y="983004"/>
                </a:cubicBezTo>
                <a:cubicBezTo>
                  <a:pt x="3168761" y="975715"/>
                  <a:pt x="3172405" y="973893"/>
                  <a:pt x="3172405" y="966604"/>
                </a:cubicBezTo>
                <a:close/>
                <a:moveTo>
                  <a:pt x="2425314" y="966604"/>
                </a:moveTo>
                <a:cubicBezTo>
                  <a:pt x="2421669" y="968427"/>
                  <a:pt x="2419847" y="973893"/>
                  <a:pt x="2416203" y="975715"/>
                </a:cubicBezTo>
                <a:cubicBezTo>
                  <a:pt x="2427136" y="984826"/>
                  <a:pt x="2447180" y="1003047"/>
                  <a:pt x="2458113" y="990293"/>
                </a:cubicBezTo>
                <a:cubicBezTo>
                  <a:pt x="2459935" y="993937"/>
                  <a:pt x="2454469" y="1001226"/>
                  <a:pt x="2463580" y="1001226"/>
                </a:cubicBezTo>
                <a:cubicBezTo>
                  <a:pt x="2461757" y="997582"/>
                  <a:pt x="2465402" y="997582"/>
                  <a:pt x="2463580" y="993937"/>
                </a:cubicBezTo>
                <a:cubicBezTo>
                  <a:pt x="2465402" y="997582"/>
                  <a:pt x="2467224" y="1001226"/>
                  <a:pt x="2469046" y="1004870"/>
                </a:cubicBezTo>
                <a:cubicBezTo>
                  <a:pt x="2470868" y="1010337"/>
                  <a:pt x="2463580" y="999403"/>
                  <a:pt x="2463580" y="1006692"/>
                </a:cubicBezTo>
                <a:cubicBezTo>
                  <a:pt x="2463580" y="1008515"/>
                  <a:pt x="2467224" y="1010337"/>
                  <a:pt x="2467224" y="1013981"/>
                </a:cubicBezTo>
                <a:cubicBezTo>
                  <a:pt x="2474513" y="1003047"/>
                  <a:pt x="2481801" y="992115"/>
                  <a:pt x="2479979" y="975715"/>
                </a:cubicBezTo>
                <a:cubicBezTo>
                  <a:pt x="2469046" y="977538"/>
                  <a:pt x="2454469" y="973893"/>
                  <a:pt x="2454469" y="990293"/>
                </a:cubicBezTo>
                <a:cubicBezTo>
                  <a:pt x="2450824" y="990293"/>
                  <a:pt x="2449002" y="981182"/>
                  <a:pt x="2450824" y="975715"/>
                </a:cubicBezTo>
                <a:cubicBezTo>
                  <a:pt x="2449002" y="975715"/>
                  <a:pt x="2447180" y="977538"/>
                  <a:pt x="2445358" y="975715"/>
                </a:cubicBezTo>
                <a:cubicBezTo>
                  <a:pt x="2443536" y="972071"/>
                  <a:pt x="2447180" y="970249"/>
                  <a:pt x="2445358" y="966604"/>
                </a:cubicBezTo>
                <a:cubicBezTo>
                  <a:pt x="2443536" y="964782"/>
                  <a:pt x="2441713" y="964782"/>
                  <a:pt x="2439891" y="966604"/>
                </a:cubicBezTo>
                <a:cubicBezTo>
                  <a:pt x="2441713" y="970249"/>
                  <a:pt x="2443536" y="973893"/>
                  <a:pt x="2441713" y="975715"/>
                </a:cubicBezTo>
                <a:cubicBezTo>
                  <a:pt x="2438069" y="977538"/>
                  <a:pt x="2434425" y="973893"/>
                  <a:pt x="2434425" y="970249"/>
                </a:cubicBezTo>
                <a:cubicBezTo>
                  <a:pt x="2432603" y="973893"/>
                  <a:pt x="2432603" y="977538"/>
                  <a:pt x="2430780" y="983004"/>
                </a:cubicBezTo>
                <a:cubicBezTo>
                  <a:pt x="2425314" y="983004"/>
                  <a:pt x="2428958" y="968427"/>
                  <a:pt x="2425314" y="966604"/>
                </a:cubicBezTo>
                <a:close/>
                <a:moveTo>
                  <a:pt x="236883" y="966604"/>
                </a:moveTo>
                <a:lnTo>
                  <a:pt x="245565" y="976527"/>
                </a:lnTo>
                <a:lnTo>
                  <a:pt x="245994" y="977538"/>
                </a:lnTo>
                <a:cubicBezTo>
                  <a:pt x="247816" y="979360"/>
                  <a:pt x="249638" y="979360"/>
                  <a:pt x="249638" y="981182"/>
                </a:cubicBezTo>
                <a:lnTo>
                  <a:pt x="245565" y="976527"/>
                </a:lnTo>
                <a:lnTo>
                  <a:pt x="242805" y="970021"/>
                </a:lnTo>
                <a:cubicBezTo>
                  <a:pt x="240983" y="968427"/>
                  <a:pt x="238705" y="967516"/>
                  <a:pt x="236883" y="966604"/>
                </a:cubicBezTo>
                <a:close/>
                <a:moveTo>
                  <a:pt x="982152" y="965693"/>
                </a:moveTo>
                <a:lnTo>
                  <a:pt x="983366" y="965997"/>
                </a:lnTo>
                <a:lnTo>
                  <a:pt x="983974" y="966604"/>
                </a:lnTo>
                <a:close/>
                <a:moveTo>
                  <a:pt x="2563799" y="964782"/>
                </a:moveTo>
                <a:cubicBezTo>
                  <a:pt x="2558332" y="964782"/>
                  <a:pt x="2565621" y="973893"/>
                  <a:pt x="2563799" y="981182"/>
                </a:cubicBezTo>
                <a:cubicBezTo>
                  <a:pt x="2569266" y="981182"/>
                  <a:pt x="2574732" y="981182"/>
                  <a:pt x="2578377" y="979360"/>
                </a:cubicBezTo>
                <a:cubicBezTo>
                  <a:pt x="2574732" y="972071"/>
                  <a:pt x="2567443" y="970249"/>
                  <a:pt x="2563799" y="964782"/>
                </a:cubicBezTo>
                <a:close/>
                <a:moveTo>
                  <a:pt x="2337850" y="964782"/>
                </a:moveTo>
                <a:cubicBezTo>
                  <a:pt x="2338761" y="964782"/>
                  <a:pt x="2338305" y="966604"/>
                  <a:pt x="2338305" y="968199"/>
                </a:cubicBezTo>
                <a:lnTo>
                  <a:pt x="2339276" y="968823"/>
                </a:lnTo>
                <a:lnTo>
                  <a:pt x="2336640" y="971459"/>
                </a:lnTo>
                <a:lnTo>
                  <a:pt x="2336158" y="971546"/>
                </a:lnTo>
                <a:close/>
                <a:moveTo>
                  <a:pt x="1198991" y="964782"/>
                </a:moveTo>
                <a:cubicBezTo>
                  <a:pt x="1200814" y="970249"/>
                  <a:pt x="1208102" y="977538"/>
                  <a:pt x="1209925" y="983004"/>
                </a:cubicBezTo>
                <a:cubicBezTo>
                  <a:pt x="1209925" y="983004"/>
                  <a:pt x="1211747" y="981182"/>
                  <a:pt x="1211747" y="981182"/>
                </a:cubicBezTo>
                <a:cubicBezTo>
                  <a:pt x="1213568" y="984826"/>
                  <a:pt x="1209925" y="988471"/>
                  <a:pt x="1213568" y="992115"/>
                </a:cubicBezTo>
                <a:cubicBezTo>
                  <a:pt x="1213568" y="990293"/>
                  <a:pt x="1217213" y="988471"/>
                  <a:pt x="1219036" y="986649"/>
                </a:cubicBezTo>
                <a:cubicBezTo>
                  <a:pt x="1219036" y="988471"/>
                  <a:pt x="1215390" y="992115"/>
                  <a:pt x="1213568" y="993937"/>
                </a:cubicBezTo>
                <a:cubicBezTo>
                  <a:pt x="1215390" y="995759"/>
                  <a:pt x="1215390" y="997582"/>
                  <a:pt x="1217213" y="999403"/>
                </a:cubicBezTo>
                <a:cubicBezTo>
                  <a:pt x="1215390" y="997582"/>
                  <a:pt x="1215390" y="999403"/>
                  <a:pt x="1213568" y="999403"/>
                </a:cubicBezTo>
                <a:cubicBezTo>
                  <a:pt x="1213568" y="997582"/>
                  <a:pt x="1215390" y="995759"/>
                  <a:pt x="1211747" y="995759"/>
                </a:cubicBezTo>
                <a:cubicBezTo>
                  <a:pt x="1211747" y="997582"/>
                  <a:pt x="1209925" y="999403"/>
                  <a:pt x="1211747" y="1003047"/>
                </a:cubicBezTo>
                <a:cubicBezTo>
                  <a:pt x="1211747" y="1003047"/>
                  <a:pt x="1213568" y="1001226"/>
                  <a:pt x="1213568" y="1001226"/>
                </a:cubicBezTo>
                <a:cubicBezTo>
                  <a:pt x="1211747" y="1004870"/>
                  <a:pt x="1211747" y="1010337"/>
                  <a:pt x="1211747" y="1012159"/>
                </a:cubicBezTo>
                <a:cubicBezTo>
                  <a:pt x="1217213" y="1008515"/>
                  <a:pt x="1220858" y="1004870"/>
                  <a:pt x="1226323" y="999403"/>
                </a:cubicBezTo>
                <a:cubicBezTo>
                  <a:pt x="1224501" y="997582"/>
                  <a:pt x="1226323" y="997582"/>
                  <a:pt x="1224501" y="995759"/>
                </a:cubicBezTo>
                <a:cubicBezTo>
                  <a:pt x="1226323" y="997582"/>
                  <a:pt x="1226323" y="999403"/>
                  <a:pt x="1229969" y="995759"/>
                </a:cubicBezTo>
                <a:cubicBezTo>
                  <a:pt x="1228146" y="1001226"/>
                  <a:pt x="1219036" y="1006692"/>
                  <a:pt x="1213568" y="1012159"/>
                </a:cubicBezTo>
                <a:cubicBezTo>
                  <a:pt x="1213568" y="1013981"/>
                  <a:pt x="1217213" y="1017625"/>
                  <a:pt x="1217213" y="1019448"/>
                </a:cubicBezTo>
                <a:cubicBezTo>
                  <a:pt x="1222679" y="1019448"/>
                  <a:pt x="1222679" y="1012159"/>
                  <a:pt x="1222679" y="1012159"/>
                </a:cubicBezTo>
                <a:cubicBezTo>
                  <a:pt x="1224501" y="1010337"/>
                  <a:pt x="1224501" y="1013981"/>
                  <a:pt x="1226323" y="1015803"/>
                </a:cubicBezTo>
                <a:cubicBezTo>
                  <a:pt x="1231790" y="1006692"/>
                  <a:pt x="1235434" y="995759"/>
                  <a:pt x="1239080" y="986649"/>
                </a:cubicBezTo>
                <a:cubicBezTo>
                  <a:pt x="1237256" y="983004"/>
                  <a:pt x="1231790" y="983004"/>
                  <a:pt x="1231790" y="979360"/>
                </a:cubicBezTo>
                <a:cubicBezTo>
                  <a:pt x="1228146" y="981182"/>
                  <a:pt x="1226323" y="977538"/>
                  <a:pt x="1222679" y="979360"/>
                </a:cubicBezTo>
                <a:cubicBezTo>
                  <a:pt x="1219036" y="973893"/>
                  <a:pt x="1215390" y="975715"/>
                  <a:pt x="1211747" y="972071"/>
                </a:cubicBezTo>
                <a:cubicBezTo>
                  <a:pt x="1209925" y="970249"/>
                  <a:pt x="1209925" y="970249"/>
                  <a:pt x="1209925" y="968427"/>
                </a:cubicBezTo>
                <a:cubicBezTo>
                  <a:pt x="1206279" y="966604"/>
                  <a:pt x="1202636" y="962960"/>
                  <a:pt x="1198991" y="964782"/>
                </a:cubicBezTo>
                <a:close/>
                <a:moveTo>
                  <a:pt x="1197169" y="964782"/>
                </a:moveTo>
                <a:cubicBezTo>
                  <a:pt x="1193525" y="966604"/>
                  <a:pt x="1189880" y="972071"/>
                  <a:pt x="1191703" y="975715"/>
                </a:cubicBezTo>
                <a:cubicBezTo>
                  <a:pt x="1193525" y="972071"/>
                  <a:pt x="1197169" y="973893"/>
                  <a:pt x="1198991" y="972071"/>
                </a:cubicBezTo>
                <a:cubicBezTo>
                  <a:pt x="1195346" y="973893"/>
                  <a:pt x="1191703" y="973893"/>
                  <a:pt x="1188058" y="977538"/>
                </a:cubicBezTo>
                <a:cubicBezTo>
                  <a:pt x="1189880" y="983004"/>
                  <a:pt x="1189880" y="990293"/>
                  <a:pt x="1193525" y="997582"/>
                </a:cubicBezTo>
                <a:cubicBezTo>
                  <a:pt x="1195346" y="997582"/>
                  <a:pt x="1195346" y="995759"/>
                  <a:pt x="1197169" y="995759"/>
                </a:cubicBezTo>
                <a:cubicBezTo>
                  <a:pt x="1195346" y="1008515"/>
                  <a:pt x="1191703" y="1019448"/>
                  <a:pt x="1189880" y="1030381"/>
                </a:cubicBezTo>
                <a:cubicBezTo>
                  <a:pt x="1188058" y="1030381"/>
                  <a:pt x="1186236" y="1030381"/>
                  <a:pt x="1186236" y="1032203"/>
                </a:cubicBezTo>
                <a:cubicBezTo>
                  <a:pt x="1188058" y="1034025"/>
                  <a:pt x="1189880" y="1034025"/>
                  <a:pt x="1189880" y="1032203"/>
                </a:cubicBezTo>
                <a:cubicBezTo>
                  <a:pt x="1189880" y="1032203"/>
                  <a:pt x="1189880" y="1034025"/>
                  <a:pt x="1191703" y="1035847"/>
                </a:cubicBezTo>
                <a:cubicBezTo>
                  <a:pt x="1193525" y="1035847"/>
                  <a:pt x="1193525" y="1034025"/>
                  <a:pt x="1195346" y="1032203"/>
                </a:cubicBezTo>
                <a:cubicBezTo>
                  <a:pt x="1197169" y="1032203"/>
                  <a:pt x="1195346" y="1035847"/>
                  <a:pt x="1193525" y="1037669"/>
                </a:cubicBezTo>
                <a:cubicBezTo>
                  <a:pt x="1202636" y="1032203"/>
                  <a:pt x="1206279" y="1019448"/>
                  <a:pt x="1204457" y="1010337"/>
                </a:cubicBezTo>
                <a:cubicBezTo>
                  <a:pt x="1209925" y="1006692"/>
                  <a:pt x="1204457" y="995759"/>
                  <a:pt x="1208102" y="990293"/>
                </a:cubicBezTo>
                <a:cubicBezTo>
                  <a:pt x="1204457" y="986649"/>
                  <a:pt x="1202636" y="983004"/>
                  <a:pt x="1198991" y="979360"/>
                </a:cubicBezTo>
                <a:cubicBezTo>
                  <a:pt x="1198991" y="978449"/>
                  <a:pt x="1199447" y="978905"/>
                  <a:pt x="1200130" y="979360"/>
                </a:cubicBezTo>
                <a:lnTo>
                  <a:pt x="1202635" y="979360"/>
                </a:lnTo>
                <a:lnTo>
                  <a:pt x="1202636" y="979360"/>
                </a:lnTo>
                <a:lnTo>
                  <a:pt x="1203774" y="983688"/>
                </a:lnTo>
                <a:cubicBezTo>
                  <a:pt x="1204457" y="985282"/>
                  <a:pt x="1205368" y="986649"/>
                  <a:pt x="1206279" y="986649"/>
                </a:cubicBezTo>
                <a:lnTo>
                  <a:pt x="1202636" y="979360"/>
                </a:lnTo>
                <a:lnTo>
                  <a:pt x="1202636" y="979360"/>
                </a:lnTo>
                <a:lnTo>
                  <a:pt x="1202635" y="979360"/>
                </a:lnTo>
                <a:lnTo>
                  <a:pt x="1198991" y="972071"/>
                </a:lnTo>
                <a:cubicBezTo>
                  <a:pt x="1198991" y="968427"/>
                  <a:pt x="1193525" y="968427"/>
                  <a:pt x="1197169" y="964782"/>
                </a:cubicBezTo>
                <a:close/>
                <a:moveTo>
                  <a:pt x="836378" y="964782"/>
                </a:moveTo>
                <a:lnTo>
                  <a:pt x="816933" y="967774"/>
                </a:lnTo>
                <a:lnTo>
                  <a:pt x="816334" y="967288"/>
                </a:lnTo>
                <a:cubicBezTo>
                  <a:pt x="814512" y="967971"/>
                  <a:pt x="812690" y="969338"/>
                  <a:pt x="812690" y="968427"/>
                </a:cubicBezTo>
                <a:lnTo>
                  <a:pt x="816933" y="967774"/>
                </a:lnTo>
                <a:lnTo>
                  <a:pt x="819979" y="970249"/>
                </a:lnTo>
                <a:cubicBezTo>
                  <a:pt x="812690" y="973893"/>
                  <a:pt x="807223" y="972071"/>
                  <a:pt x="801757" y="973893"/>
                </a:cubicBezTo>
                <a:cubicBezTo>
                  <a:pt x="812690" y="983004"/>
                  <a:pt x="816334" y="997582"/>
                  <a:pt x="825445" y="1004870"/>
                </a:cubicBezTo>
                <a:cubicBezTo>
                  <a:pt x="825445" y="997582"/>
                  <a:pt x="823623" y="990293"/>
                  <a:pt x="823623" y="983004"/>
                </a:cubicBezTo>
                <a:cubicBezTo>
                  <a:pt x="829089" y="986649"/>
                  <a:pt x="832734" y="990293"/>
                  <a:pt x="840022" y="990293"/>
                </a:cubicBezTo>
                <a:cubicBezTo>
                  <a:pt x="825445" y="993937"/>
                  <a:pt x="829089" y="999403"/>
                  <a:pt x="829089" y="1010337"/>
                </a:cubicBezTo>
                <a:lnTo>
                  <a:pt x="823623" y="1013070"/>
                </a:lnTo>
                <a:lnTo>
                  <a:pt x="823623" y="1012159"/>
                </a:lnTo>
                <a:cubicBezTo>
                  <a:pt x="821801" y="993937"/>
                  <a:pt x="799935" y="986649"/>
                  <a:pt x="785357" y="975715"/>
                </a:cubicBezTo>
                <a:cubicBezTo>
                  <a:pt x="796290" y="977538"/>
                  <a:pt x="801757" y="986649"/>
                  <a:pt x="810868" y="992115"/>
                </a:cubicBezTo>
                <a:cubicBezTo>
                  <a:pt x="810868" y="984826"/>
                  <a:pt x="803579" y="975715"/>
                  <a:pt x="799935" y="975715"/>
                </a:cubicBezTo>
                <a:cubicBezTo>
                  <a:pt x="794468" y="973893"/>
                  <a:pt x="787179" y="972071"/>
                  <a:pt x="776246" y="973893"/>
                </a:cubicBezTo>
                <a:cubicBezTo>
                  <a:pt x="779892" y="972071"/>
                  <a:pt x="781713" y="972071"/>
                  <a:pt x="785357" y="972071"/>
                </a:cubicBezTo>
                <a:cubicBezTo>
                  <a:pt x="774424" y="964782"/>
                  <a:pt x="761670" y="970249"/>
                  <a:pt x="748914" y="966604"/>
                </a:cubicBezTo>
                <a:cubicBezTo>
                  <a:pt x="748914" y="968427"/>
                  <a:pt x="748914" y="968427"/>
                  <a:pt x="747092" y="970249"/>
                </a:cubicBezTo>
                <a:lnTo>
                  <a:pt x="755292" y="977082"/>
                </a:lnTo>
                <a:lnTo>
                  <a:pt x="748914" y="973893"/>
                </a:lnTo>
                <a:cubicBezTo>
                  <a:pt x="747092" y="979360"/>
                  <a:pt x="747092" y="981182"/>
                  <a:pt x="741626" y="986649"/>
                </a:cubicBezTo>
                <a:lnTo>
                  <a:pt x="755995" y="977668"/>
                </a:lnTo>
                <a:lnTo>
                  <a:pt x="758025" y="979360"/>
                </a:lnTo>
                <a:cubicBezTo>
                  <a:pt x="748914" y="983004"/>
                  <a:pt x="739803" y="990293"/>
                  <a:pt x="734336" y="997582"/>
                </a:cubicBezTo>
                <a:cubicBezTo>
                  <a:pt x="734336" y="999403"/>
                  <a:pt x="737981" y="999403"/>
                  <a:pt x="739803" y="997582"/>
                </a:cubicBezTo>
                <a:cubicBezTo>
                  <a:pt x="739803" y="1001226"/>
                  <a:pt x="732515" y="999403"/>
                  <a:pt x="730692" y="1001226"/>
                </a:cubicBezTo>
                <a:cubicBezTo>
                  <a:pt x="728870" y="1006692"/>
                  <a:pt x="731148" y="1008059"/>
                  <a:pt x="734109" y="1008742"/>
                </a:cubicBezTo>
                <a:lnTo>
                  <a:pt x="734115" y="1008744"/>
                </a:lnTo>
                <a:lnTo>
                  <a:pt x="736842" y="1015348"/>
                </a:lnTo>
                <a:cubicBezTo>
                  <a:pt x="739347" y="1016714"/>
                  <a:pt x="742536" y="1015803"/>
                  <a:pt x="745269" y="1012159"/>
                </a:cubicBezTo>
                <a:lnTo>
                  <a:pt x="743569" y="1011187"/>
                </a:lnTo>
                <a:lnTo>
                  <a:pt x="744358" y="1010792"/>
                </a:lnTo>
                <a:cubicBezTo>
                  <a:pt x="744814" y="1010337"/>
                  <a:pt x="745269" y="1010337"/>
                  <a:pt x="747092" y="1012159"/>
                </a:cubicBezTo>
                <a:lnTo>
                  <a:pt x="747091" y="1007213"/>
                </a:lnTo>
                <a:lnTo>
                  <a:pt x="754380" y="1010337"/>
                </a:lnTo>
                <a:cubicBezTo>
                  <a:pt x="754380" y="1013981"/>
                  <a:pt x="750737" y="1013981"/>
                  <a:pt x="747092" y="1013981"/>
                </a:cubicBezTo>
                <a:cubicBezTo>
                  <a:pt x="748914" y="1015803"/>
                  <a:pt x="750737" y="1019448"/>
                  <a:pt x="754380" y="1019448"/>
                </a:cubicBezTo>
                <a:cubicBezTo>
                  <a:pt x="754380" y="1017625"/>
                  <a:pt x="754380" y="1017625"/>
                  <a:pt x="752558" y="1015803"/>
                </a:cubicBezTo>
                <a:cubicBezTo>
                  <a:pt x="754380" y="1015803"/>
                  <a:pt x="756203" y="1017625"/>
                  <a:pt x="758025" y="1019448"/>
                </a:cubicBezTo>
                <a:cubicBezTo>
                  <a:pt x="756203" y="1023092"/>
                  <a:pt x="758025" y="1026736"/>
                  <a:pt x="758025" y="1028559"/>
                </a:cubicBezTo>
                <a:cubicBezTo>
                  <a:pt x="759848" y="1028559"/>
                  <a:pt x="759848" y="1026736"/>
                  <a:pt x="761670" y="1026736"/>
                </a:cubicBezTo>
                <a:cubicBezTo>
                  <a:pt x="763491" y="1028559"/>
                  <a:pt x="765313" y="1032203"/>
                  <a:pt x="767136" y="1035847"/>
                </a:cubicBezTo>
                <a:lnTo>
                  <a:pt x="767136" y="1034025"/>
                </a:lnTo>
                <a:cubicBezTo>
                  <a:pt x="768959" y="1034025"/>
                  <a:pt x="768959" y="1035847"/>
                  <a:pt x="770781" y="1037669"/>
                </a:cubicBezTo>
                <a:cubicBezTo>
                  <a:pt x="770781" y="1039492"/>
                  <a:pt x="768959" y="1039492"/>
                  <a:pt x="768959" y="1039492"/>
                </a:cubicBezTo>
                <a:cubicBezTo>
                  <a:pt x="772602" y="1046780"/>
                  <a:pt x="770781" y="1055891"/>
                  <a:pt x="774424" y="1063180"/>
                </a:cubicBezTo>
                <a:cubicBezTo>
                  <a:pt x="777157" y="1058624"/>
                  <a:pt x="778070" y="1054069"/>
                  <a:pt x="777842" y="1049741"/>
                </a:cubicBezTo>
                <a:lnTo>
                  <a:pt x="775294" y="1040743"/>
                </a:lnTo>
                <a:lnTo>
                  <a:pt x="770779" y="1037732"/>
                </a:lnTo>
                <a:lnTo>
                  <a:pt x="772601" y="1037732"/>
                </a:lnTo>
                <a:lnTo>
                  <a:pt x="775169" y="1040300"/>
                </a:lnTo>
                <a:lnTo>
                  <a:pt x="774424" y="1037669"/>
                </a:lnTo>
                <a:cubicBezTo>
                  <a:pt x="776246" y="1037669"/>
                  <a:pt x="776246" y="1037669"/>
                  <a:pt x="778070" y="1037669"/>
                </a:cubicBezTo>
                <a:cubicBezTo>
                  <a:pt x="776246" y="1035847"/>
                  <a:pt x="774424" y="1034025"/>
                  <a:pt x="772602" y="1032203"/>
                </a:cubicBezTo>
                <a:cubicBezTo>
                  <a:pt x="781713" y="1037669"/>
                  <a:pt x="779892" y="1043136"/>
                  <a:pt x="790824" y="1037669"/>
                </a:cubicBezTo>
                <a:cubicBezTo>
                  <a:pt x="792646" y="1044958"/>
                  <a:pt x="794468" y="1039492"/>
                  <a:pt x="798112" y="1037669"/>
                </a:cubicBezTo>
                <a:cubicBezTo>
                  <a:pt x="798112" y="1043136"/>
                  <a:pt x="796290" y="1054069"/>
                  <a:pt x="799935" y="1052247"/>
                </a:cubicBezTo>
                <a:cubicBezTo>
                  <a:pt x="805401" y="1055891"/>
                  <a:pt x="801757" y="1048602"/>
                  <a:pt x="799935" y="1044958"/>
                </a:cubicBezTo>
                <a:cubicBezTo>
                  <a:pt x="803579" y="1044958"/>
                  <a:pt x="803579" y="1046780"/>
                  <a:pt x="805401" y="1048602"/>
                </a:cubicBezTo>
                <a:cubicBezTo>
                  <a:pt x="807223" y="1043136"/>
                  <a:pt x="807223" y="1035847"/>
                  <a:pt x="803579" y="1030381"/>
                </a:cubicBezTo>
                <a:lnTo>
                  <a:pt x="808853" y="1028623"/>
                </a:lnTo>
                <a:lnTo>
                  <a:pt x="807223" y="1028623"/>
                </a:lnTo>
                <a:cubicBezTo>
                  <a:pt x="805401" y="1026801"/>
                  <a:pt x="805401" y="1024978"/>
                  <a:pt x="805401" y="1023156"/>
                </a:cubicBezTo>
                <a:lnTo>
                  <a:pt x="809011" y="1028570"/>
                </a:lnTo>
                <a:lnTo>
                  <a:pt x="809046" y="1028559"/>
                </a:lnTo>
                <a:cubicBezTo>
                  <a:pt x="809046" y="1030381"/>
                  <a:pt x="809046" y="1030381"/>
                  <a:pt x="810868" y="1030381"/>
                </a:cubicBezTo>
                <a:cubicBezTo>
                  <a:pt x="803579" y="1034025"/>
                  <a:pt x="809046" y="1037669"/>
                  <a:pt x="810868" y="1039492"/>
                </a:cubicBezTo>
                <a:cubicBezTo>
                  <a:pt x="810868" y="1039492"/>
                  <a:pt x="810868" y="1035847"/>
                  <a:pt x="814512" y="1034025"/>
                </a:cubicBezTo>
                <a:cubicBezTo>
                  <a:pt x="812690" y="1032203"/>
                  <a:pt x="812690" y="1032203"/>
                  <a:pt x="810868" y="1030381"/>
                </a:cubicBezTo>
                <a:cubicBezTo>
                  <a:pt x="810868" y="1030381"/>
                  <a:pt x="810868" y="1028559"/>
                  <a:pt x="810868" y="1028559"/>
                </a:cubicBezTo>
                <a:cubicBezTo>
                  <a:pt x="812690" y="1026736"/>
                  <a:pt x="812690" y="1026736"/>
                  <a:pt x="814512" y="1026736"/>
                </a:cubicBezTo>
                <a:cubicBezTo>
                  <a:pt x="816334" y="1028559"/>
                  <a:pt x="816334" y="1030381"/>
                  <a:pt x="818156" y="1032203"/>
                </a:cubicBezTo>
                <a:lnTo>
                  <a:pt x="819213" y="1031147"/>
                </a:lnTo>
                <a:lnTo>
                  <a:pt x="818273" y="1034316"/>
                </a:lnTo>
                <a:lnTo>
                  <a:pt x="818156" y="1034708"/>
                </a:lnTo>
                <a:lnTo>
                  <a:pt x="818731" y="1035462"/>
                </a:lnTo>
                <a:lnTo>
                  <a:pt x="821801" y="1039492"/>
                </a:lnTo>
                <a:cubicBezTo>
                  <a:pt x="823623" y="1037669"/>
                  <a:pt x="824079" y="1035847"/>
                  <a:pt x="823623" y="1034025"/>
                </a:cubicBezTo>
                <a:lnTo>
                  <a:pt x="820707" y="1029651"/>
                </a:lnTo>
                <a:lnTo>
                  <a:pt x="823050" y="1027308"/>
                </a:lnTo>
                <a:lnTo>
                  <a:pt x="823851" y="1035847"/>
                </a:lnTo>
                <a:lnTo>
                  <a:pt x="826599" y="1053435"/>
                </a:lnTo>
                <a:lnTo>
                  <a:pt x="825217" y="1055891"/>
                </a:lnTo>
                <a:cubicBezTo>
                  <a:pt x="824989" y="1057257"/>
                  <a:pt x="825445" y="1058624"/>
                  <a:pt x="827267" y="1059535"/>
                </a:cubicBezTo>
                <a:lnTo>
                  <a:pt x="827267" y="1057713"/>
                </a:lnTo>
                <a:lnTo>
                  <a:pt x="826599" y="1053435"/>
                </a:lnTo>
                <a:lnTo>
                  <a:pt x="827267" y="1052247"/>
                </a:lnTo>
                <a:lnTo>
                  <a:pt x="827267" y="1034025"/>
                </a:lnTo>
                <a:cubicBezTo>
                  <a:pt x="829089" y="1037669"/>
                  <a:pt x="830456" y="1041769"/>
                  <a:pt x="832506" y="1045641"/>
                </a:cubicBezTo>
                <a:lnTo>
                  <a:pt x="841618" y="1055641"/>
                </a:lnTo>
                <a:lnTo>
                  <a:pt x="841574" y="1055674"/>
                </a:lnTo>
                <a:lnTo>
                  <a:pt x="832734" y="1048602"/>
                </a:lnTo>
                <a:cubicBezTo>
                  <a:pt x="830912" y="1054069"/>
                  <a:pt x="827267" y="1059535"/>
                  <a:pt x="829089" y="1065002"/>
                </a:cubicBezTo>
                <a:lnTo>
                  <a:pt x="841574" y="1055674"/>
                </a:lnTo>
                <a:lnTo>
                  <a:pt x="841845" y="1055891"/>
                </a:lnTo>
                <a:lnTo>
                  <a:pt x="841618" y="1055641"/>
                </a:lnTo>
                <a:lnTo>
                  <a:pt x="848905" y="1050197"/>
                </a:lnTo>
                <a:cubicBezTo>
                  <a:pt x="852778" y="1044502"/>
                  <a:pt x="852778" y="1037669"/>
                  <a:pt x="845489" y="1028559"/>
                </a:cubicBezTo>
                <a:cubicBezTo>
                  <a:pt x="847311" y="1032203"/>
                  <a:pt x="849133" y="1034025"/>
                  <a:pt x="852778" y="1035847"/>
                </a:cubicBezTo>
                <a:cubicBezTo>
                  <a:pt x="856422" y="1026736"/>
                  <a:pt x="850956" y="1017625"/>
                  <a:pt x="847311" y="1008515"/>
                </a:cubicBezTo>
                <a:cubicBezTo>
                  <a:pt x="841845" y="1006692"/>
                  <a:pt x="836378" y="1008515"/>
                  <a:pt x="830912" y="1010337"/>
                </a:cubicBezTo>
                <a:cubicBezTo>
                  <a:pt x="838200" y="995759"/>
                  <a:pt x="858244" y="968427"/>
                  <a:pt x="841845" y="972071"/>
                </a:cubicBezTo>
                <a:cubicBezTo>
                  <a:pt x="840022" y="972071"/>
                  <a:pt x="838200" y="972071"/>
                  <a:pt x="836378" y="972071"/>
                </a:cubicBezTo>
                <a:cubicBezTo>
                  <a:pt x="832734" y="970249"/>
                  <a:pt x="840022" y="966604"/>
                  <a:pt x="836378" y="964782"/>
                </a:cubicBezTo>
                <a:close/>
                <a:moveTo>
                  <a:pt x="737980" y="964782"/>
                </a:moveTo>
                <a:cubicBezTo>
                  <a:pt x="734792" y="963415"/>
                  <a:pt x="730692" y="963871"/>
                  <a:pt x="727048" y="966604"/>
                </a:cubicBezTo>
                <a:cubicBezTo>
                  <a:pt x="728870" y="968427"/>
                  <a:pt x="730692" y="968427"/>
                  <a:pt x="732515" y="968427"/>
                </a:cubicBezTo>
                <a:lnTo>
                  <a:pt x="733832" y="970624"/>
                </a:lnTo>
                <a:lnTo>
                  <a:pt x="723632" y="978221"/>
                </a:lnTo>
                <a:cubicBezTo>
                  <a:pt x="721581" y="982093"/>
                  <a:pt x="721581" y="986648"/>
                  <a:pt x="725226" y="990293"/>
                </a:cubicBezTo>
                <a:cubicBezTo>
                  <a:pt x="727048" y="986649"/>
                  <a:pt x="727048" y="984826"/>
                  <a:pt x="727048" y="981182"/>
                </a:cubicBezTo>
                <a:cubicBezTo>
                  <a:pt x="730692" y="981182"/>
                  <a:pt x="727048" y="990293"/>
                  <a:pt x="730692" y="988471"/>
                </a:cubicBezTo>
                <a:cubicBezTo>
                  <a:pt x="732515" y="986649"/>
                  <a:pt x="730692" y="986649"/>
                  <a:pt x="730692" y="983004"/>
                </a:cubicBezTo>
                <a:cubicBezTo>
                  <a:pt x="730692" y="984826"/>
                  <a:pt x="732515" y="983004"/>
                  <a:pt x="734336" y="984826"/>
                </a:cubicBezTo>
                <a:lnTo>
                  <a:pt x="734336" y="971463"/>
                </a:lnTo>
                <a:lnTo>
                  <a:pt x="737981" y="977538"/>
                </a:lnTo>
                <a:cubicBezTo>
                  <a:pt x="748914" y="977538"/>
                  <a:pt x="730692" y="973893"/>
                  <a:pt x="737981" y="970249"/>
                </a:cubicBezTo>
                <a:cubicBezTo>
                  <a:pt x="737981" y="968427"/>
                  <a:pt x="741626" y="972071"/>
                  <a:pt x="743447" y="973893"/>
                </a:cubicBezTo>
                <a:cubicBezTo>
                  <a:pt x="743447" y="969337"/>
                  <a:pt x="741170" y="966148"/>
                  <a:pt x="737980" y="964782"/>
                </a:cubicBezTo>
                <a:close/>
                <a:moveTo>
                  <a:pt x="561230" y="964782"/>
                </a:moveTo>
                <a:cubicBezTo>
                  <a:pt x="557586" y="966604"/>
                  <a:pt x="564874" y="968427"/>
                  <a:pt x="566697" y="970249"/>
                </a:cubicBezTo>
                <a:cubicBezTo>
                  <a:pt x="566697" y="966604"/>
                  <a:pt x="564874" y="966604"/>
                  <a:pt x="561230" y="964782"/>
                </a:cubicBezTo>
                <a:close/>
                <a:moveTo>
                  <a:pt x="251460" y="964782"/>
                </a:moveTo>
                <a:cubicBezTo>
                  <a:pt x="252371" y="965693"/>
                  <a:pt x="253738" y="966149"/>
                  <a:pt x="254649" y="966604"/>
                </a:cubicBezTo>
                <a:lnTo>
                  <a:pt x="254752" y="967016"/>
                </a:lnTo>
                <a:lnTo>
                  <a:pt x="251511" y="965215"/>
                </a:lnTo>
                <a:close/>
                <a:moveTo>
                  <a:pt x="2722329" y="963096"/>
                </a:moveTo>
                <a:cubicBezTo>
                  <a:pt x="2731440" y="977680"/>
                  <a:pt x="2736906" y="977680"/>
                  <a:pt x="2736906" y="994077"/>
                </a:cubicBezTo>
                <a:lnTo>
                  <a:pt x="2736906" y="1001367"/>
                </a:lnTo>
                <a:cubicBezTo>
                  <a:pt x="2736906" y="1026885"/>
                  <a:pt x="2727795" y="1021418"/>
                  <a:pt x="2715040" y="1015950"/>
                </a:cubicBezTo>
                <a:lnTo>
                  <a:pt x="2693174" y="1039638"/>
                </a:lnTo>
                <a:lnTo>
                  <a:pt x="2687708" y="1014128"/>
                </a:lnTo>
                <a:cubicBezTo>
                  <a:pt x="2691352" y="999545"/>
                  <a:pt x="2691352" y="992255"/>
                  <a:pt x="2684063" y="977680"/>
                </a:cubicBezTo>
                <a:cubicBezTo>
                  <a:pt x="2716862" y="975858"/>
                  <a:pt x="2698641" y="979503"/>
                  <a:pt x="2722329" y="963096"/>
                </a:cubicBezTo>
                <a:close/>
                <a:moveTo>
                  <a:pt x="2503667" y="962960"/>
                </a:moveTo>
                <a:cubicBezTo>
                  <a:pt x="2503667" y="972071"/>
                  <a:pt x="2514600" y="981182"/>
                  <a:pt x="2518245" y="972071"/>
                </a:cubicBezTo>
                <a:cubicBezTo>
                  <a:pt x="2518245" y="968427"/>
                  <a:pt x="2516423" y="966604"/>
                  <a:pt x="2518245" y="962960"/>
                </a:cubicBezTo>
                <a:cubicBezTo>
                  <a:pt x="2512778" y="962960"/>
                  <a:pt x="2509134" y="961138"/>
                  <a:pt x="2503667" y="962960"/>
                </a:cubicBezTo>
                <a:close/>
                <a:moveTo>
                  <a:pt x="1330188" y="962960"/>
                </a:moveTo>
                <a:lnTo>
                  <a:pt x="1326221" y="968248"/>
                </a:lnTo>
                <a:lnTo>
                  <a:pt x="1306499" y="966604"/>
                </a:lnTo>
                <a:cubicBezTo>
                  <a:pt x="1306499" y="968427"/>
                  <a:pt x="1317432" y="973893"/>
                  <a:pt x="1321077" y="975715"/>
                </a:cubicBezTo>
                <a:lnTo>
                  <a:pt x="1327089" y="969702"/>
                </a:lnTo>
                <a:lnTo>
                  <a:pt x="1330644" y="968882"/>
                </a:lnTo>
                <a:cubicBezTo>
                  <a:pt x="1332465" y="967971"/>
                  <a:pt x="1333832" y="966604"/>
                  <a:pt x="1333832" y="964782"/>
                </a:cubicBezTo>
                <a:cubicBezTo>
                  <a:pt x="1332009" y="962960"/>
                  <a:pt x="1332009" y="964782"/>
                  <a:pt x="1330188" y="962960"/>
                </a:cubicBezTo>
                <a:close/>
                <a:moveTo>
                  <a:pt x="717937" y="962960"/>
                </a:moveTo>
                <a:cubicBezTo>
                  <a:pt x="714293" y="964782"/>
                  <a:pt x="708826" y="968427"/>
                  <a:pt x="714293" y="970249"/>
                </a:cubicBezTo>
                <a:cubicBezTo>
                  <a:pt x="714293" y="968427"/>
                  <a:pt x="714293" y="966604"/>
                  <a:pt x="717937" y="962960"/>
                </a:cubicBezTo>
                <a:close/>
                <a:moveTo>
                  <a:pt x="610429" y="962960"/>
                </a:moveTo>
                <a:cubicBezTo>
                  <a:pt x="603140" y="966604"/>
                  <a:pt x="615895" y="966604"/>
                  <a:pt x="614074" y="966604"/>
                </a:cubicBezTo>
                <a:cubicBezTo>
                  <a:pt x="614074" y="964782"/>
                  <a:pt x="612251" y="964782"/>
                  <a:pt x="610429" y="962960"/>
                </a:cubicBezTo>
                <a:close/>
                <a:moveTo>
                  <a:pt x="524786" y="962960"/>
                </a:moveTo>
                <a:cubicBezTo>
                  <a:pt x="532075" y="972071"/>
                  <a:pt x="539364" y="986649"/>
                  <a:pt x="557586" y="983004"/>
                </a:cubicBezTo>
                <a:cubicBezTo>
                  <a:pt x="555763" y="981182"/>
                  <a:pt x="552119" y="979360"/>
                  <a:pt x="550297" y="977538"/>
                </a:cubicBezTo>
                <a:cubicBezTo>
                  <a:pt x="552119" y="975715"/>
                  <a:pt x="553941" y="977538"/>
                  <a:pt x="555763" y="979360"/>
                </a:cubicBezTo>
                <a:cubicBezTo>
                  <a:pt x="548475" y="972071"/>
                  <a:pt x="533897" y="966604"/>
                  <a:pt x="524786" y="962960"/>
                </a:cubicBezTo>
                <a:close/>
                <a:moveTo>
                  <a:pt x="431856" y="962960"/>
                </a:moveTo>
                <a:cubicBezTo>
                  <a:pt x="435500" y="964782"/>
                  <a:pt x="437322" y="966604"/>
                  <a:pt x="440966" y="970249"/>
                </a:cubicBezTo>
                <a:lnTo>
                  <a:pt x="441044" y="970795"/>
                </a:lnTo>
                <a:close/>
                <a:moveTo>
                  <a:pt x="333458" y="962960"/>
                </a:moveTo>
                <a:cubicBezTo>
                  <a:pt x="335280" y="966604"/>
                  <a:pt x="337102" y="966604"/>
                  <a:pt x="338926" y="968427"/>
                </a:cubicBezTo>
                <a:cubicBezTo>
                  <a:pt x="340747" y="968427"/>
                  <a:pt x="337102" y="964782"/>
                  <a:pt x="337102" y="962960"/>
                </a:cubicBezTo>
                <a:cubicBezTo>
                  <a:pt x="335280" y="962960"/>
                  <a:pt x="335280" y="966604"/>
                  <a:pt x="333458" y="962960"/>
                </a:cubicBezTo>
                <a:close/>
                <a:moveTo>
                  <a:pt x="291549" y="962960"/>
                </a:moveTo>
                <a:cubicBezTo>
                  <a:pt x="291549" y="968427"/>
                  <a:pt x="300660" y="973893"/>
                  <a:pt x="304303" y="972071"/>
                </a:cubicBezTo>
                <a:cubicBezTo>
                  <a:pt x="302481" y="966604"/>
                  <a:pt x="297015" y="964782"/>
                  <a:pt x="291549" y="962960"/>
                </a:cubicBezTo>
                <a:close/>
                <a:moveTo>
                  <a:pt x="275149" y="962960"/>
                </a:moveTo>
                <a:cubicBezTo>
                  <a:pt x="278793" y="966604"/>
                  <a:pt x="282438" y="973893"/>
                  <a:pt x="286082" y="975715"/>
                </a:cubicBezTo>
                <a:cubicBezTo>
                  <a:pt x="287904" y="973893"/>
                  <a:pt x="278793" y="968427"/>
                  <a:pt x="278793" y="964782"/>
                </a:cubicBezTo>
                <a:cubicBezTo>
                  <a:pt x="284259" y="968427"/>
                  <a:pt x="289726" y="970249"/>
                  <a:pt x="293370" y="970249"/>
                </a:cubicBezTo>
                <a:cubicBezTo>
                  <a:pt x="289726" y="968427"/>
                  <a:pt x="280615" y="959316"/>
                  <a:pt x="275149" y="962960"/>
                </a:cubicBezTo>
                <a:close/>
                <a:moveTo>
                  <a:pt x="267860" y="962960"/>
                </a:moveTo>
                <a:cubicBezTo>
                  <a:pt x="267860" y="972071"/>
                  <a:pt x="276971" y="968427"/>
                  <a:pt x="278793" y="973893"/>
                </a:cubicBezTo>
                <a:cubicBezTo>
                  <a:pt x="276971" y="970249"/>
                  <a:pt x="271504" y="966604"/>
                  <a:pt x="267860" y="962960"/>
                </a:cubicBezTo>
                <a:close/>
                <a:moveTo>
                  <a:pt x="2244919" y="961138"/>
                </a:moveTo>
                <a:cubicBezTo>
                  <a:pt x="2241274" y="966604"/>
                  <a:pt x="2232163" y="961138"/>
                  <a:pt x="2232163" y="966604"/>
                </a:cubicBezTo>
                <a:cubicBezTo>
                  <a:pt x="2232163" y="973893"/>
                  <a:pt x="2237630" y="977538"/>
                  <a:pt x="2230341" y="984826"/>
                </a:cubicBezTo>
                <a:cubicBezTo>
                  <a:pt x="2226697" y="986649"/>
                  <a:pt x="2224875" y="984826"/>
                  <a:pt x="2224875" y="983004"/>
                </a:cubicBezTo>
                <a:cubicBezTo>
                  <a:pt x="2224875" y="984826"/>
                  <a:pt x="2223053" y="986649"/>
                  <a:pt x="2223053" y="988471"/>
                </a:cubicBezTo>
                <a:cubicBezTo>
                  <a:pt x="2223053" y="992115"/>
                  <a:pt x="2226697" y="993937"/>
                  <a:pt x="2224875" y="997582"/>
                </a:cubicBezTo>
                <a:cubicBezTo>
                  <a:pt x="2232163" y="997582"/>
                  <a:pt x="2233986" y="990293"/>
                  <a:pt x="2241274" y="993937"/>
                </a:cubicBezTo>
                <a:cubicBezTo>
                  <a:pt x="2239452" y="993937"/>
                  <a:pt x="2237630" y="997582"/>
                  <a:pt x="2233986" y="997582"/>
                </a:cubicBezTo>
                <a:cubicBezTo>
                  <a:pt x="2235808" y="1001226"/>
                  <a:pt x="2243096" y="1001226"/>
                  <a:pt x="2239452" y="1006692"/>
                </a:cubicBezTo>
                <a:cubicBezTo>
                  <a:pt x="2243096" y="1001226"/>
                  <a:pt x="2244919" y="1010337"/>
                  <a:pt x="2246741" y="1008515"/>
                </a:cubicBezTo>
                <a:cubicBezTo>
                  <a:pt x="2248563" y="1004870"/>
                  <a:pt x="2252207" y="1001226"/>
                  <a:pt x="2250385" y="995759"/>
                </a:cubicBezTo>
                <a:cubicBezTo>
                  <a:pt x="2259496" y="1003047"/>
                  <a:pt x="2263140" y="979360"/>
                  <a:pt x="2266785" y="973893"/>
                </a:cubicBezTo>
                <a:cubicBezTo>
                  <a:pt x="2257674" y="968427"/>
                  <a:pt x="2254030" y="981182"/>
                  <a:pt x="2250385" y="988471"/>
                </a:cubicBezTo>
                <a:cubicBezTo>
                  <a:pt x="2244919" y="983004"/>
                  <a:pt x="2250385" y="972071"/>
                  <a:pt x="2257674" y="973893"/>
                </a:cubicBezTo>
                <a:cubicBezTo>
                  <a:pt x="2254030" y="966604"/>
                  <a:pt x="2254030" y="970249"/>
                  <a:pt x="2246741" y="970249"/>
                </a:cubicBezTo>
                <a:cubicBezTo>
                  <a:pt x="2246741" y="966604"/>
                  <a:pt x="2250385" y="964782"/>
                  <a:pt x="2248563" y="962960"/>
                </a:cubicBezTo>
                <a:cubicBezTo>
                  <a:pt x="2246741" y="961138"/>
                  <a:pt x="2243096" y="964782"/>
                  <a:pt x="2243096" y="968427"/>
                </a:cubicBezTo>
                <a:cubicBezTo>
                  <a:pt x="2239452" y="968427"/>
                  <a:pt x="2244919" y="962960"/>
                  <a:pt x="2244919" y="961138"/>
                </a:cubicBezTo>
                <a:close/>
                <a:moveTo>
                  <a:pt x="1311966" y="961138"/>
                </a:moveTo>
                <a:cubicBezTo>
                  <a:pt x="1313788" y="964782"/>
                  <a:pt x="1321077" y="962960"/>
                  <a:pt x="1324721" y="962960"/>
                </a:cubicBezTo>
                <a:cubicBezTo>
                  <a:pt x="1321077" y="961138"/>
                  <a:pt x="1317432" y="962960"/>
                  <a:pt x="1311966" y="961138"/>
                </a:cubicBezTo>
                <a:close/>
                <a:moveTo>
                  <a:pt x="1208102" y="961138"/>
                </a:moveTo>
                <a:cubicBezTo>
                  <a:pt x="1208102" y="962960"/>
                  <a:pt x="1215390" y="972071"/>
                  <a:pt x="1219036" y="968427"/>
                </a:cubicBezTo>
                <a:cubicBezTo>
                  <a:pt x="1222679" y="973893"/>
                  <a:pt x="1233612" y="977538"/>
                  <a:pt x="1240901" y="973893"/>
                </a:cubicBezTo>
                <a:cubicBezTo>
                  <a:pt x="1240901" y="973893"/>
                  <a:pt x="1239080" y="973893"/>
                  <a:pt x="1237256" y="973893"/>
                </a:cubicBezTo>
                <a:cubicBezTo>
                  <a:pt x="1239080" y="972071"/>
                  <a:pt x="1242723" y="966604"/>
                  <a:pt x="1244545" y="962960"/>
                </a:cubicBezTo>
                <a:cubicBezTo>
                  <a:pt x="1233612" y="961138"/>
                  <a:pt x="1220858" y="966604"/>
                  <a:pt x="1208102" y="961138"/>
                </a:cubicBezTo>
                <a:close/>
                <a:moveTo>
                  <a:pt x="459188" y="961138"/>
                </a:moveTo>
                <a:lnTo>
                  <a:pt x="457367" y="964782"/>
                </a:lnTo>
                <a:lnTo>
                  <a:pt x="455544" y="968427"/>
                </a:lnTo>
                <a:cubicBezTo>
                  <a:pt x="457367" y="970249"/>
                  <a:pt x="459188" y="966604"/>
                  <a:pt x="461010" y="968427"/>
                </a:cubicBezTo>
                <a:cubicBezTo>
                  <a:pt x="461921" y="967516"/>
                  <a:pt x="461465" y="967060"/>
                  <a:pt x="460554" y="966604"/>
                </a:cubicBezTo>
                <a:lnTo>
                  <a:pt x="457367" y="964782"/>
                </a:lnTo>
                <a:lnTo>
                  <a:pt x="462832" y="964782"/>
                </a:lnTo>
                <a:cubicBezTo>
                  <a:pt x="462832" y="962960"/>
                  <a:pt x="461010" y="962960"/>
                  <a:pt x="459188" y="961138"/>
                </a:cubicBezTo>
                <a:close/>
                <a:moveTo>
                  <a:pt x="435500" y="961138"/>
                </a:moveTo>
                <a:cubicBezTo>
                  <a:pt x="433678" y="962960"/>
                  <a:pt x="431856" y="961138"/>
                  <a:pt x="431856" y="962960"/>
                </a:cubicBezTo>
                <a:cubicBezTo>
                  <a:pt x="433678" y="968427"/>
                  <a:pt x="435500" y="970249"/>
                  <a:pt x="439145" y="973893"/>
                </a:cubicBezTo>
                <a:cubicBezTo>
                  <a:pt x="440966" y="974804"/>
                  <a:pt x="441422" y="974348"/>
                  <a:pt x="441422" y="973437"/>
                </a:cubicBezTo>
                <a:lnTo>
                  <a:pt x="441044" y="970795"/>
                </a:lnTo>
                <a:lnTo>
                  <a:pt x="441137" y="970875"/>
                </a:lnTo>
                <a:cubicBezTo>
                  <a:pt x="446433" y="974804"/>
                  <a:pt x="440967" y="967971"/>
                  <a:pt x="435500" y="961138"/>
                </a:cubicBezTo>
                <a:close/>
                <a:moveTo>
                  <a:pt x="399844" y="960940"/>
                </a:moveTo>
                <a:lnTo>
                  <a:pt x="400136" y="962218"/>
                </a:lnTo>
                <a:lnTo>
                  <a:pt x="399056" y="961138"/>
                </a:lnTo>
                <a:close/>
                <a:moveTo>
                  <a:pt x="2172032" y="959316"/>
                </a:moveTo>
                <a:cubicBezTo>
                  <a:pt x="2170210" y="959316"/>
                  <a:pt x="2168387" y="961138"/>
                  <a:pt x="2168387" y="961138"/>
                </a:cubicBezTo>
                <a:cubicBezTo>
                  <a:pt x="2170210" y="961138"/>
                  <a:pt x="2170210" y="961138"/>
                  <a:pt x="2172032" y="961138"/>
                </a:cubicBezTo>
                <a:close/>
                <a:moveTo>
                  <a:pt x="1198991" y="959316"/>
                </a:moveTo>
                <a:cubicBezTo>
                  <a:pt x="1198991" y="962960"/>
                  <a:pt x="1204457" y="961138"/>
                  <a:pt x="1206279" y="962960"/>
                </a:cubicBezTo>
                <a:cubicBezTo>
                  <a:pt x="1206279" y="959316"/>
                  <a:pt x="1200814" y="961138"/>
                  <a:pt x="1198991" y="959316"/>
                </a:cubicBezTo>
                <a:close/>
                <a:moveTo>
                  <a:pt x="1191703" y="959316"/>
                </a:moveTo>
                <a:cubicBezTo>
                  <a:pt x="1189880" y="962960"/>
                  <a:pt x="1191703" y="966604"/>
                  <a:pt x="1189880" y="968427"/>
                </a:cubicBezTo>
                <a:cubicBezTo>
                  <a:pt x="1191703" y="968427"/>
                  <a:pt x="1191703" y="964782"/>
                  <a:pt x="1193525" y="962960"/>
                </a:cubicBezTo>
                <a:cubicBezTo>
                  <a:pt x="1193525" y="961138"/>
                  <a:pt x="1191703" y="961138"/>
                  <a:pt x="1191703" y="961138"/>
                </a:cubicBezTo>
                <a:cubicBezTo>
                  <a:pt x="1193525" y="961138"/>
                  <a:pt x="1191703" y="959316"/>
                  <a:pt x="1191703" y="959316"/>
                </a:cubicBezTo>
                <a:close/>
                <a:moveTo>
                  <a:pt x="707004" y="959316"/>
                </a:moveTo>
                <a:cubicBezTo>
                  <a:pt x="705182" y="961138"/>
                  <a:pt x="707004" y="962960"/>
                  <a:pt x="708826" y="964782"/>
                </a:cubicBezTo>
                <a:cubicBezTo>
                  <a:pt x="710648" y="962960"/>
                  <a:pt x="714293" y="962960"/>
                  <a:pt x="714293" y="962960"/>
                </a:cubicBezTo>
                <a:cubicBezTo>
                  <a:pt x="712470" y="959316"/>
                  <a:pt x="708826" y="959316"/>
                  <a:pt x="707004" y="959316"/>
                </a:cubicBezTo>
                <a:close/>
                <a:moveTo>
                  <a:pt x="558042" y="959316"/>
                </a:moveTo>
                <a:cubicBezTo>
                  <a:pt x="556674" y="958860"/>
                  <a:pt x="554852" y="959316"/>
                  <a:pt x="553941" y="961138"/>
                </a:cubicBezTo>
                <a:cubicBezTo>
                  <a:pt x="555763" y="962960"/>
                  <a:pt x="557586" y="962960"/>
                  <a:pt x="559408" y="962960"/>
                </a:cubicBezTo>
                <a:cubicBezTo>
                  <a:pt x="560319" y="961138"/>
                  <a:pt x="559408" y="959771"/>
                  <a:pt x="558042" y="959316"/>
                </a:cubicBezTo>
                <a:close/>
                <a:moveTo>
                  <a:pt x="180396" y="959316"/>
                </a:moveTo>
                <a:cubicBezTo>
                  <a:pt x="180396" y="961138"/>
                  <a:pt x="187684" y="968427"/>
                  <a:pt x="189506" y="968427"/>
                </a:cubicBezTo>
                <a:cubicBezTo>
                  <a:pt x="187684" y="964782"/>
                  <a:pt x="184040" y="964782"/>
                  <a:pt x="180396" y="959316"/>
                </a:cubicBezTo>
                <a:close/>
                <a:moveTo>
                  <a:pt x="1124992" y="958250"/>
                </a:moveTo>
                <a:lnTo>
                  <a:pt x="1125420" y="960910"/>
                </a:lnTo>
                <a:lnTo>
                  <a:pt x="1125051" y="961622"/>
                </a:lnTo>
                <a:lnTo>
                  <a:pt x="1124281" y="959315"/>
                </a:lnTo>
                <a:close/>
                <a:moveTo>
                  <a:pt x="1322898" y="957949"/>
                </a:moveTo>
                <a:cubicBezTo>
                  <a:pt x="1319710" y="958405"/>
                  <a:pt x="1316521" y="959316"/>
                  <a:pt x="1313788" y="959316"/>
                </a:cubicBezTo>
                <a:cubicBezTo>
                  <a:pt x="1317432" y="961138"/>
                  <a:pt x="1328365" y="962960"/>
                  <a:pt x="1332009" y="959316"/>
                </a:cubicBezTo>
                <a:cubicBezTo>
                  <a:pt x="1329276" y="957494"/>
                  <a:pt x="1326087" y="957494"/>
                  <a:pt x="1322898" y="957949"/>
                </a:cubicBezTo>
                <a:close/>
                <a:moveTo>
                  <a:pt x="3309068" y="957494"/>
                </a:moveTo>
                <a:cubicBezTo>
                  <a:pt x="3303602" y="959316"/>
                  <a:pt x="3305424" y="968427"/>
                  <a:pt x="3298135" y="966604"/>
                </a:cubicBezTo>
                <a:lnTo>
                  <a:pt x="3298925" y="974594"/>
                </a:lnTo>
                <a:lnTo>
                  <a:pt x="3298135" y="970249"/>
                </a:lnTo>
                <a:cubicBezTo>
                  <a:pt x="3292669" y="970249"/>
                  <a:pt x="3289024" y="962960"/>
                  <a:pt x="3281736" y="970249"/>
                </a:cubicBezTo>
                <a:cubicBezTo>
                  <a:pt x="3283558" y="972071"/>
                  <a:pt x="3287202" y="981182"/>
                  <a:pt x="3281736" y="981182"/>
                </a:cubicBezTo>
                <a:cubicBezTo>
                  <a:pt x="3278091" y="979360"/>
                  <a:pt x="3283558" y="975715"/>
                  <a:pt x="3281736" y="972071"/>
                </a:cubicBezTo>
                <a:cubicBezTo>
                  <a:pt x="3278091" y="972071"/>
                  <a:pt x="3279913" y="973893"/>
                  <a:pt x="3279913" y="977538"/>
                </a:cubicBezTo>
                <a:cubicBezTo>
                  <a:pt x="3278091" y="977538"/>
                  <a:pt x="3276269" y="977538"/>
                  <a:pt x="3276269" y="979360"/>
                </a:cubicBezTo>
                <a:cubicBezTo>
                  <a:pt x="3272625" y="979360"/>
                  <a:pt x="3274447" y="972071"/>
                  <a:pt x="3274447" y="970249"/>
                </a:cubicBezTo>
                <a:cubicBezTo>
                  <a:pt x="3268980" y="968427"/>
                  <a:pt x="3268980" y="970249"/>
                  <a:pt x="3261692" y="970249"/>
                </a:cubicBezTo>
                <a:cubicBezTo>
                  <a:pt x="3256225" y="975715"/>
                  <a:pt x="3259869" y="981182"/>
                  <a:pt x="3261692" y="988471"/>
                </a:cubicBezTo>
                <a:lnTo>
                  <a:pt x="3265267" y="990316"/>
                </a:lnTo>
                <a:lnTo>
                  <a:pt x="3261236" y="991659"/>
                </a:lnTo>
                <a:cubicBezTo>
                  <a:pt x="3260781" y="993026"/>
                  <a:pt x="3260781" y="994848"/>
                  <a:pt x="3259869" y="995759"/>
                </a:cubicBezTo>
                <a:cubicBezTo>
                  <a:pt x="3256225" y="993937"/>
                  <a:pt x="3261692" y="992115"/>
                  <a:pt x="3259869" y="990293"/>
                </a:cubicBezTo>
                <a:cubicBezTo>
                  <a:pt x="3252581" y="993937"/>
                  <a:pt x="3259869" y="995759"/>
                  <a:pt x="3261692" y="999403"/>
                </a:cubicBezTo>
                <a:cubicBezTo>
                  <a:pt x="3261692" y="1004870"/>
                  <a:pt x="3254403" y="1004870"/>
                  <a:pt x="3258047" y="1010337"/>
                </a:cubicBezTo>
                <a:cubicBezTo>
                  <a:pt x="3263514" y="1004870"/>
                  <a:pt x="3261692" y="1006692"/>
                  <a:pt x="3268980" y="1008515"/>
                </a:cubicBezTo>
                <a:cubicBezTo>
                  <a:pt x="3267158" y="1013981"/>
                  <a:pt x="3268980" y="1015803"/>
                  <a:pt x="3270803" y="1017625"/>
                </a:cubicBezTo>
                <a:cubicBezTo>
                  <a:pt x="3281736" y="1013981"/>
                  <a:pt x="3294491" y="1013981"/>
                  <a:pt x="3305424" y="1010337"/>
                </a:cubicBezTo>
                <a:lnTo>
                  <a:pt x="3304715" y="1006435"/>
                </a:lnTo>
                <a:lnTo>
                  <a:pt x="3327290" y="1001226"/>
                </a:lnTo>
                <a:lnTo>
                  <a:pt x="3325165" y="1004870"/>
                </a:lnTo>
                <a:lnTo>
                  <a:pt x="3318635" y="1004870"/>
                </a:lnTo>
                <a:cubicBezTo>
                  <a:pt x="3315902" y="1005781"/>
                  <a:pt x="3313624" y="1007603"/>
                  <a:pt x="3314535" y="1010337"/>
                </a:cubicBezTo>
                <a:cubicBezTo>
                  <a:pt x="3317268" y="1011248"/>
                  <a:pt x="3319546" y="1010336"/>
                  <a:pt x="3321368" y="1008970"/>
                </a:cubicBezTo>
                <a:lnTo>
                  <a:pt x="3324740" y="1005598"/>
                </a:lnTo>
                <a:lnTo>
                  <a:pt x="3324102" y="1006692"/>
                </a:lnTo>
                <a:cubicBezTo>
                  <a:pt x="3323191" y="1008514"/>
                  <a:pt x="3322735" y="1010337"/>
                  <a:pt x="3323646" y="1012159"/>
                </a:cubicBezTo>
                <a:cubicBezTo>
                  <a:pt x="3325468" y="1013981"/>
                  <a:pt x="3330934" y="1012159"/>
                  <a:pt x="3330934" y="1012159"/>
                </a:cubicBezTo>
                <a:cubicBezTo>
                  <a:pt x="3332757" y="1006692"/>
                  <a:pt x="3335946" y="1003503"/>
                  <a:pt x="3339590" y="1001909"/>
                </a:cubicBezTo>
                <a:lnTo>
                  <a:pt x="3341585" y="1001789"/>
                </a:lnTo>
                <a:lnTo>
                  <a:pt x="3338223" y="1008515"/>
                </a:lnTo>
                <a:cubicBezTo>
                  <a:pt x="3341868" y="1008515"/>
                  <a:pt x="3343690" y="1007148"/>
                  <a:pt x="3344145" y="1005553"/>
                </a:cubicBezTo>
                <a:lnTo>
                  <a:pt x="3342146" y="1001756"/>
                </a:lnTo>
                <a:lnTo>
                  <a:pt x="3350978" y="1001226"/>
                </a:lnTo>
                <a:cubicBezTo>
                  <a:pt x="3352800" y="1001226"/>
                  <a:pt x="3350978" y="1003047"/>
                  <a:pt x="3349156" y="1004870"/>
                </a:cubicBezTo>
                <a:cubicBezTo>
                  <a:pt x="3358267" y="1003047"/>
                  <a:pt x="3361911" y="999403"/>
                  <a:pt x="3369200" y="993937"/>
                </a:cubicBezTo>
                <a:cubicBezTo>
                  <a:pt x="3367378" y="990293"/>
                  <a:pt x="3363734" y="986649"/>
                  <a:pt x="3358267" y="990293"/>
                </a:cubicBezTo>
                <a:cubicBezTo>
                  <a:pt x="3358267" y="993937"/>
                  <a:pt x="3358267" y="995759"/>
                  <a:pt x="3356445" y="997582"/>
                </a:cubicBezTo>
                <a:cubicBezTo>
                  <a:pt x="3354623" y="997582"/>
                  <a:pt x="3352800" y="997582"/>
                  <a:pt x="3350978" y="997582"/>
                </a:cubicBezTo>
                <a:cubicBezTo>
                  <a:pt x="3350978" y="992115"/>
                  <a:pt x="3354623" y="979360"/>
                  <a:pt x="3361911" y="983004"/>
                </a:cubicBezTo>
                <a:cubicBezTo>
                  <a:pt x="3361911" y="984826"/>
                  <a:pt x="3361911" y="984826"/>
                  <a:pt x="3363734" y="986649"/>
                </a:cubicBezTo>
                <a:cubicBezTo>
                  <a:pt x="3367378" y="988471"/>
                  <a:pt x="3367378" y="983004"/>
                  <a:pt x="3369200" y="981182"/>
                </a:cubicBezTo>
                <a:cubicBezTo>
                  <a:pt x="3371022" y="977538"/>
                  <a:pt x="3374666" y="984826"/>
                  <a:pt x="3378311" y="983004"/>
                </a:cubicBezTo>
                <a:cubicBezTo>
                  <a:pt x="3383777" y="977538"/>
                  <a:pt x="3378311" y="977538"/>
                  <a:pt x="3376489" y="975715"/>
                </a:cubicBezTo>
                <a:cubicBezTo>
                  <a:pt x="3380133" y="972071"/>
                  <a:pt x="3385600" y="975715"/>
                  <a:pt x="3387422" y="973893"/>
                </a:cubicBezTo>
                <a:cubicBezTo>
                  <a:pt x="3392888" y="966604"/>
                  <a:pt x="3380133" y="970249"/>
                  <a:pt x="3376489" y="968427"/>
                </a:cubicBezTo>
                <a:cubicBezTo>
                  <a:pt x="3374666" y="966604"/>
                  <a:pt x="3371022" y="968427"/>
                  <a:pt x="3369200" y="970249"/>
                </a:cubicBezTo>
                <a:cubicBezTo>
                  <a:pt x="3369200" y="968427"/>
                  <a:pt x="3363734" y="972071"/>
                  <a:pt x="3365556" y="968427"/>
                </a:cubicBezTo>
                <a:cubicBezTo>
                  <a:pt x="3367378" y="966604"/>
                  <a:pt x="3369200" y="966604"/>
                  <a:pt x="3369200" y="964782"/>
                </a:cubicBezTo>
                <a:cubicBezTo>
                  <a:pt x="3365556" y="955672"/>
                  <a:pt x="3352800" y="959316"/>
                  <a:pt x="3345512" y="962960"/>
                </a:cubicBezTo>
                <a:cubicBezTo>
                  <a:pt x="3350978" y="970249"/>
                  <a:pt x="3345512" y="970249"/>
                  <a:pt x="3343690" y="977538"/>
                </a:cubicBezTo>
                <a:cubicBezTo>
                  <a:pt x="3341867" y="977538"/>
                  <a:pt x="3336401" y="979360"/>
                  <a:pt x="3338223" y="975715"/>
                </a:cubicBezTo>
                <a:cubicBezTo>
                  <a:pt x="3340045" y="972071"/>
                  <a:pt x="3343690" y="970249"/>
                  <a:pt x="3341867" y="970249"/>
                </a:cubicBezTo>
                <a:cubicBezTo>
                  <a:pt x="3338223" y="966604"/>
                  <a:pt x="3336401" y="973893"/>
                  <a:pt x="3334579" y="983004"/>
                </a:cubicBezTo>
                <a:cubicBezTo>
                  <a:pt x="3329112" y="983004"/>
                  <a:pt x="3334579" y="975715"/>
                  <a:pt x="3329112" y="975715"/>
                </a:cubicBezTo>
                <a:cubicBezTo>
                  <a:pt x="3327290" y="975715"/>
                  <a:pt x="3327290" y="979360"/>
                  <a:pt x="3325468" y="979360"/>
                </a:cubicBezTo>
                <a:cubicBezTo>
                  <a:pt x="3321824" y="977538"/>
                  <a:pt x="3325468" y="970249"/>
                  <a:pt x="3323646" y="972071"/>
                </a:cubicBezTo>
                <a:cubicBezTo>
                  <a:pt x="3314535" y="972071"/>
                  <a:pt x="3316357" y="983004"/>
                  <a:pt x="3307246" y="984826"/>
                </a:cubicBezTo>
                <a:cubicBezTo>
                  <a:pt x="3310890" y="975715"/>
                  <a:pt x="3309068" y="966604"/>
                  <a:pt x="3309068" y="957494"/>
                </a:cubicBezTo>
                <a:close/>
                <a:moveTo>
                  <a:pt x="2419847" y="957494"/>
                </a:moveTo>
                <a:cubicBezTo>
                  <a:pt x="2418025" y="961138"/>
                  <a:pt x="2412559" y="962960"/>
                  <a:pt x="2414381" y="970249"/>
                </a:cubicBezTo>
                <a:cubicBezTo>
                  <a:pt x="2418025" y="968427"/>
                  <a:pt x="2418025" y="962960"/>
                  <a:pt x="2423492" y="962960"/>
                </a:cubicBezTo>
                <a:cubicBezTo>
                  <a:pt x="2425314" y="957494"/>
                  <a:pt x="2421669" y="959316"/>
                  <a:pt x="2419847" y="957494"/>
                </a:cubicBezTo>
                <a:close/>
                <a:moveTo>
                  <a:pt x="2184787" y="957494"/>
                </a:moveTo>
                <a:cubicBezTo>
                  <a:pt x="2184787" y="959316"/>
                  <a:pt x="2184787" y="959316"/>
                  <a:pt x="2184787" y="961138"/>
                </a:cubicBezTo>
                <a:cubicBezTo>
                  <a:pt x="2184787" y="979360"/>
                  <a:pt x="2182965" y="979360"/>
                  <a:pt x="2175676" y="992115"/>
                </a:cubicBezTo>
                <a:lnTo>
                  <a:pt x="2181143" y="995759"/>
                </a:lnTo>
                <a:cubicBezTo>
                  <a:pt x="2186609" y="995759"/>
                  <a:pt x="2188431" y="999403"/>
                  <a:pt x="2188431" y="1001226"/>
                </a:cubicBezTo>
                <a:lnTo>
                  <a:pt x="2193898" y="1004870"/>
                </a:lnTo>
                <a:cubicBezTo>
                  <a:pt x="2193898" y="1008515"/>
                  <a:pt x="2192076" y="1008515"/>
                  <a:pt x="2192076" y="1010337"/>
                </a:cubicBezTo>
                <a:cubicBezTo>
                  <a:pt x="2193898" y="1010337"/>
                  <a:pt x="2195720" y="1010337"/>
                  <a:pt x="2195720" y="1012159"/>
                </a:cubicBezTo>
                <a:cubicBezTo>
                  <a:pt x="2195720" y="1017625"/>
                  <a:pt x="2197542" y="1021270"/>
                  <a:pt x="2201187" y="1023092"/>
                </a:cubicBezTo>
                <a:cubicBezTo>
                  <a:pt x="2203009" y="1021270"/>
                  <a:pt x="2203009" y="1015803"/>
                  <a:pt x="2203009" y="1004870"/>
                </a:cubicBezTo>
                <a:cubicBezTo>
                  <a:pt x="2206653" y="1008515"/>
                  <a:pt x="2208475" y="1008515"/>
                  <a:pt x="2210297" y="1010337"/>
                </a:cubicBezTo>
                <a:cubicBezTo>
                  <a:pt x="2212120" y="1008515"/>
                  <a:pt x="2212120" y="1006692"/>
                  <a:pt x="2212120" y="1004870"/>
                </a:cubicBezTo>
                <a:cubicBezTo>
                  <a:pt x="2212120" y="1004870"/>
                  <a:pt x="2210297" y="1004870"/>
                  <a:pt x="2210297" y="1006692"/>
                </a:cubicBezTo>
                <a:cubicBezTo>
                  <a:pt x="2210297" y="1003047"/>
                  <a:pt x="2210297" y="1001226"/>
                  <a:pt x="2213942" y="999403"/>
                </a:cubicBezTo>
                <a:cubicBezTo>
                  <a:pt x="2215764" y="1003047"/>
                  <a:pt x="2210297" y="1012159"/>
                  <a:pt x="2217586" y="1010337"/>
                </a:cubicBezTo>
                <a:cubicBezTo>
                  <a:pt x="2224875" y="1010337"/>
                  <a:pt x="2226697" y="997582"/>
                  <a:pt x="2223053" y="990293"/>
                </a:cubicBezTo>
                <a:cubicBezTo>
                  <a:pt x="2221230" y="990293"/>
                  <a:pt x="2219408" y="990293"/>
                  <a:pt x="2217586" y="988471"/>
                </a:cubicBezTo>
                <a:cubicBezTo>
                  <a:pt x="2217586" y="990293"/>
                  <a:pt x="2217586" y="992115"/>
                  <a:pt x="2219408" y="993937"/>
                </a:cubicBezTo>
                <a:cubicBezTo>
                  <a:pt x="2217586" y="993937"/>
                  <a:pt x="2217586" y="993937"/>
                  <a:pt x="2217586" y="993937"/>
                </a:cubicBezTo>
                <a:lnTo>
                  <a:pt x="2217586" y="999403"/>
                </a:lnTo>
                <a:lnTo>
                  <a:pt x="2213942" y="999403"/>
                </a:lnTo>
                <a:lnTo>
                  <a:pt x="2210297" y="999403"/>
                </a:lnTo>
                <a:lnTo>
                  <a:pt x="2201187" y="999403"/>
                </a:lnTo>
                <a:lnTo>
                  <a:pt x="2206653" y="993937"/>
                </a:lnTo>
                <a:cubicBezTo>
                  <a:pt x="2204831" y="990293"/>
                  <a:pt x="2206653" y="986649"/>
                  <a:pt x="2206653" y="984826"/>
                </a:cubicBezTo>
                <a:cubicBezTo>
                  <a:pt x="2210297" y="984826"/>
                  <a:pt x="2212120" y="984826"/>
                  <a:pt x="2213942" y="984826"/>
                </a:cubicBezTo>
                <a:lnTo>
                  <a:pt x="2215764" y="983004"/>
                </a:lnTo>
                <a:lnTo>
                  <a:pt x="2215764" y="984826"/>
                </a:lnTo>
                <a:cubicBezTo>
                  <a:pt x="2217586" y="983004"/>
                  <a:pt x="2221230" y="981182"/>
                  <a:pt x="2221230" y="977538"/>
                </a:cubicBezTo>
                <a:cubicBezTo>
                  <a:pt x="2213942" y="981182"/>
                  <a:pt x="2219408" y="968427"/>
                  <a:pt x="2217586" y="966604"/>
                </a:cubicBezTo>
                <a:cubicBezTo>
                  <a:pt x="2226697" y="968427"/>
                  <a:pt x="2221230" y="968427"/>
                  <a:pt x="2223053" y="975715"/>
                </a:cubicBezTo>
                <a:cubicBezTo>
                  <a:pt x="2224875" y="977538"/>
                  <a:pt x="2226697" y="975715"/>
                  <a:pt x="2228519" y="973893"/>
                </a:cubicBezTo>
                <a:cubicBezTo>
                  <a:pt x="2230341" y="968427"/>
                  <a:pt x="2230341" y="959316"/>
                  <a:pt x="2223053" y="957494"/>
                </a:cubicBezTo>
                <a:cubicBezTo>
                  <a:pt x="2217586" y="957494"/>
                  <a:pt x="2213942" y="962960"/>
                  <a:pt x="2208475" y="964782"/>
                </a:cubicBezTo>
                <a:cubicBezTo>
                  <a:pt x="2208475" y="961138"/>
                  <a:pt x="2210297" y="961138"/>
                  <a:pt x="2212120" y="959316"/>
                </a:cubicBezTo>
                <a:cubicBezTo>
                  <a:pt x="2203009" y="961138"/>
                  <a:pt x="2193898" y="959316"/>
                  <a:pt x="2184787" y="957494"/>
                </a:cubicBezTo>
                <a:close/>
                <a:moveTo>
                  <a:pt x="1275522" y="957494"/>
                </a:moveTo>
                <a:cubicBezTo>
                  <a:pt x="1273700" y="959316"/>
                  <a:pt x="1266411" y="961138"/>
                  <a:pt x="1268233" y="964782"/>
                </a:cubicBezTo>
                <a:cubicBezTo>
                  <a:pt x="1270056" y="962960"/>
                  <a:pt x="1271878" y="962960"/>
                  <a:pt x="1271878" y="961138"/>
                </a:cubicBezTo>
                <a:cubicBezTo>
                  <a:pt x="1273700" y="962960"/>
                  <a:pt x="1270056" y="964782"/>
                  <a:pt x="1270056" y="966604"/>
                </a:cubicBezTo>
                <a:cubicBezTo>
                  <a:pt x="1264589" y="966604"/>
                  <a:pt x="1259123" y="966604"/>
                  <a:pt x="1253656" y="962960"/>
                </a:cubicBezTo>
                <a:cubicBezTo>
                  <a:pt x="1248189" y="966604"/>
                  <a:pt x="1248189" y="972071"/>
                  <a:pt x="1248189" y="975715"/>
                </a:cubicBezTo>
                <a:cubicBezTo>
                  <a:pt x="1250012" y="975715"/>
                  <a:pt x="1253656" y="973893"/>
                  <a:pt x="1255478" y="972071"/>
                </a:cubicBezTo>
                <a:cubicBezTo>
                  <a:pt x="1251834" y="977538"/>
                  <a:pt x="1246367" y="979360"/>
                  <a:pt x="1240901" y="983004"/>
                </a:cubicBezTo>
                <a:cubicBezTo>
                  <a:pt x="1242723" y="984826"/>
                  <a:pt x="1242723" y="986649"/>
                  <a:pt x="1240901" y="986649"/>
                </a:cubicBezTo>
                <a:cubicBezTo>
                  <a:pt x="1237256" y="993937"/>
                  <a:pt x="1233612" y="1001226"/>
                  <a:pt x="1233612" y="1010337"/>
                </a:cubicBezTo>
                <a:cubicBezTo>
                  <a:pt x="1228146" y="1010337"/>
                  <a:pt x="1226323" y="1015803"/>
                  <a:pt x="1224501" y="1019448"/>
                </a:cubicBezTo>
                <a:cubicBezTo>
                  <a:pt x="1230878" y="1015803"/>
                  <a:pt x="1236345" y="1012614"/>
                  <a:pt x="1242039" y="1009425"/>
                </a:cubicBezTo>
                <a:lnTo>
                  <a:pt x="1257324" y="1001323"/>
                </a:lnTo>
                <a:lnTo>
                  <a:pt x="1248189" y="1008515"/>
                </a:lnTo>
                <a:cubicBezTo>
                  <a:pt x="1253656" y="1010337"/>
                  <a:pt x="1260945" y="1004870"/>
                  <a:pt x="1264589" y="999403"/>
                </a:cubicBezTo>
                <a:cubicBezTo>
                  <a:pt x="1264589" y="1001226"/>
                  <a:pt x="1262767" y="1004870"/>
                  <a:pt x="1259123" y="1006692"/>
                </a:cubicBezTo>
                <a:cubicBezTo>
                  <a:pt x="1271878" y="1010337"/>
                  <a:pt x="1290100" y="992115"/>
                  <a:pt x="1301033" y="981182"/>
                </a:cubicBezTo>
                <a:cubicBezTo>
                  <a:pt x="1302855" y="983004"/>
                  <a:pt x="1295566" y="984826"/>
                  <a:pt x="1297388" y="988471"/>
                </a:cubicBezTo>
                <a:cubicBezTo>
                  <a:pt x="1302855" y="984826"/>
                  <a:pt x="1310143" y="979360"/>
                  <a:pt x="1317432" y="979360"/>
                </a:cubicBezTo>
                <a:cubicBezTo>
                  <a:pt x="1315610" y="975715"/>
                  <a:pt x="1310143" y="973893"/>
                  <a:pt x="1306499" y="972071"/>
                </a:cubicBezTo>
                <a:cubicBezTo>
                  <a:pt x="1308321" y="975715"/>
                  <a:pt x="1304677" y="979360"/>
                  <a:pt x="1301033" y="983004"/>
                </a:cubicBezTo>
                <a:cubicBezTo>
                  <a:pt x="1301945" y="980271"/>
                  <a:pt x="1303311" y="977537"/>
                  <a:pt x="1303995" y="975032"/>
                </a:cubicBezTo>
                <a:lnTo>
                  <a:pt x="1303016" y="969361"/>
                </a:lnTo>
                <a:lnTo>
                  <a:pt x="1304677" y="970249"/>
                </a:lnTo>
                <a:cubicBezTo>
                  <a:pt x="1304677" y="970249"/>
                  <a:pt x="1302855" y="968427"/>
                  <a:pt x="1302855" y="968427"/>
                </a:cubicBezTo>
                <a:lnTo>
                  <a:pt x="1303016" y="969361"/>
                </a:lnTo>
                <a:lnTo>
                  <a:pt x="1291466" y="963188"/>
                </a:lnTo>
                <a:cubicBezTo>
                  <a:pt x="1285999" y="962048"/>
                  <a:pt x="1280077" y="961138"/>
                  <a:pt x="1275522" y="957494"/>
                </a:cubicBezTo>
                <a:close/>
                <a:moveTo>
                  <a:pt x="1100593" y="957494"/>
                </a:moveTo>
                <a:lnTo>
                  <a:pt x="1098771" y="961138"/>
                </a:lnTo>
                <a:cubicBezTo>
                  <a:pt x="1098771" y="962960"/>
                  <a:pt x="1098771" y="964782"/>
                  <a:pt x="1096949" y="966604"/>
                </a:cubicBezTo>
                <a:lnTo>
                  <a:pt x="1095127" y="972071"/>
                </a:lnTo>
                <a:cubicBezTo>
                  <a:pt x="1095127" y="973893"/>
                  <a:pt x="1095127" y="977538"/>
                  <a:pt x="1098771" y="979360"/>
                </a:cubicBezTo>
                <a:cubicBezTo>
                  <a:pt x="1102416" y="979360"/>
                  <a:pt x="1102416" y="977538"/>
                  <a:pt x="1104238" y="975715"/>
                </a:cubicBezTo>
                <a:cubicBezTo>
                  <a:pt x="1104238" y="977538"/>
                  <a:pt x="1102416" y="979360"/>
                  <a:pt x="1104238" y="981182"/>
                </a:cubicBezTo>
                <a:cubicBezTo>
                  <a:pt x="1106060" y="981182"/>
                  <a:pt x="1107882" y="981182"/>
                  <a:pt x="1109704" y="979360"/>
                </a:cubicBezTo>
                <a:cubicBezTo>
                  <a:pt x="1107882" y="977538"/>
                  <a:pt x="1109704" y="975715"/>
                  <a:pt x="1107882" y="973893"/>
                </a:cubicBezTo>
                <a:cubicBezTo>
                  <a:pt x="1107882" y="973893"/>
                  <a:pt x="1109704" y="973893"/>
                  <a:pt x="1111526" y="972071"/>
                </a:cubicBezTo>
                <a:cubicBezTo>
                  <a:pt x="1109704" y="966604"/>
                  <a:pt x="1111526" y="962960"/>
                  <a:pt x="1107882" y="957494"/>
                </a:cubicBezTo>
                <a:cubicBezTo>
                  <a:pt x="1104238" y="959316"/>
                  <a:pt x="1102416" y="957494"/>
                  <a:pt x="1100593" y="957494"/>
                </a:cubicBezTo>
                <a:close/>
                <a:moveTo>
                  <a:pt x="1064151" y="957494"/>
                </a:moveTo>
                <a:cubicBezTo>
                  <a:pt x="1060506" y="955672"/>
                  <a:pt x="1056861" y="957494"/>
                  <a:pt x="1051395" y="959316"/>
                </a:cubicBezTo>
                <a:cubicBezTo>
                  <a:pt x="1051395" y="962960"/>
                  <a:pt x="1055040" y="961138"/>
                  <a:pt x="1056861" y="962960"/>
                </a:cubicBezTo>
                <a:cubicBezTo>
                  <a:pt x="1058683" y="962960"/>
                  <a:pt x="1058683" y="961138"/>
                  <a:pt x="1056861" y="959316"/>
                </a:cubicBezTo>
                <a:cubicBezTo>
                  <a:pt x="1060506" y="959316"/>
                  <a:pt x="1058683" y="961138"/>
                  <a:pt x="1060506" y="962960"/>
                </a:cubicBezTo>
                <a:cubicBezTo>
                  <a:pt x="1060506" y="961138"/>
                  <a:pt x="1062328" y="961138"/>
                  <a:pt x="1064151" y="961138"/>
                </a:cubicBezTo>
                <a:close/>
                <a:moveTo>
                  <a:pt x="819979" y="957494"/>
                </a:moveTo>
                <a:cubicBezTo>
                  <a:pt x="818156" y="959316"/>
                  <a:pt x="812690" y="962960"/>
                  <a:pt x="816334" y="964782"/>
                </a:cubicBezTo>
                <a:cubicBezTo>
                  <a:pt x="821801" y="964782"/>
                  <a:pt x="827267" y="959316"/>
                  <a:pt x="819979" y="957494"/>
                </a:cubicBezTo>
                <a:close/>
                <a:moveTo>
                  <a:pt x="515676" y="957494"/>
                </a:moveTo>
                <a:cubicBezTo>
                  <a:pt x="513853" y="962960"/>
                  <a:pt x="522964" y="966604"/>
                  <a:pt x="528431" y="972071"/>
                </a:cubicBezTo>
                <a:cubicBezTo>
                  <a:pt x="526609" y="968427"/>
                  <a:pt x="521142" y="961138"/>
                  <a:pt x="515676" y="957494"/>
                </a:cubicBezTo>
                <a:close/>
                <a:moveTo>
                  <a:pt x="457367" y="957494"/>
                </a:moveTo>
                <a:cubicBezTo>
                  <a:pt x="455544" y="961138"/>
                  <a:pt x="444611" y="959316"/>
                  <a:pt x="444611" y="962960"/>
                </a:cubicBezTo>
                <a:cubicBezTo>
                  <a:pt x="446433" y="962960"/>
                  <a:pt x="446433" y="962960"/>
                  <a:pt x="450077" y="962960"/>
                </a:cubicBezTo>
                <a:cubicBezTo>
                  <a:pt x="448256" y="962960"/>
                  <a:pt x="448256" y="962960"/>
                  <a:pt x="446433" y="964782"/>
                </a:cubicBezTo>
                <a:cubicBezTo>
                  <a:pt x="448256" y="964782"/>
                  <a:pt x="450077" y="968427"/>
                  <a:pt x="453722" y="968427"/>
                </a:cubicBezTo>
                <a:cubicBezTo>
                  <a:pt x="455544" y="962960"/>
                  <a:pt x="459188" y="962960"/>
                  <a:pt x="457367" y="957494"/>
                </a:cubicBezTo>
                <a:close/>
                <a:moveTo>
                  <a:pt x="348037" y="957494"/>
                </a:moveTo>
                <a:cubicBezTo>
                  <a:pt x="348037" y="972071"/>
                  <a:pt x="358969" y="981182"/>
                  <a:pt x="375368" y="979360"/>
                </a:cubicBezTo>
                <a:cubicBezTo>
                  <a:pt x="371724" y="972071"/>
                  <a:pt x="360791" y="973893"/>
                  <a:pt x="355324" y="966604"/>
                </a:cubicBezTo>
                <a:lnTo>
                  <a:pt x="362426" y="969268"/>
                </a:lnTo>
                <a:lnTo>
                  <a:pt x="368079" y="973893"/>
                </a:lnTo>
                <a:lnTo>
                  <a:pt x="364738" y="970134"/>
                </a:lnTo>
                <a:lnTo>
                  <a:pt x="369902" y="972071"/>
                </a:lnTo>
                <a:cubicBezTo>
                  <a:pt x="373546" y="975715"/>
                  <a:pt x="377190" y="977538"/>
                  <a:pt x="384479" y="975715"/>
                </a:cubicBezTo>
                <a:cubicBezTo>
                  <a:pt x="386301" y="970249"/>
                  <a:pt x="369902" y="973893"/>
                  <a:pt x="375368" y="964782"/>
                </a:cubicBezTo>
                <a:cubicBezTo>
                  <a:pt x="379012" y="966604"/>
                  <a:pt x="382657" y="970249"/>
                  <a:pt x="386301" y="972071"/>
                </a:cubicBezTo>
                <a:cubicBezTo>
                  <a:pt x="386301" y="970249"/>
                  <a:pt x="386301" y="968427"/>
                  <a:pt x="384479" y="966604"/>
                </a:cubicBezTo>
                <a:cubicBezTo>
                  <a:pt x="386301" y="968427"/>
                  <a:pt x="388123" y="970249"/>
                  <a:pt x="389946" y="973893"/>
                </a:cubicBezTo>
                <a:cubicBezTo>
                  <a:pt x="389946" y="972071"/>
                  <a:pt x="391768" y="972071"/>
                  <a:pt x="393590" y="970249"/>
                </a:cubicBezTo>
                <a:cubicBezTo>
                  <a:pt x="384479" y="961138"/>
                  <a:pt x="368079" y="950204"/>
                  <a:pt x="353502" y="957494"/>
                </a:cubicBezTo>
                <a:lnTo>
                  <a:pt x="364738" y="970134"/>
                </a:lnTo>
                <a:lnTo>
                  <a:pt x="362426" y="969268"/>
                </a:lnTo>
                <a:close/>
                <a:moveTo>
                  <a:pt x="100220" y="957494"/>
                </a:moveTo>
                <a:lnTo>
                  <a:pt x="106930" y="962352"/>
                </a:lnTo>
                <a:lnTo>
                  <a:pt x="107509" y="962960"/>
                </a:lnTo>
                <a:cubicBezTo>
                  <a:pt x="103864" y="961138"/>
                  <a:pt x="102042" y="959316"/>
                  <a:pt x="100220" y="957494"/>
                </a:cubicBezTo>
                <a:close/>
                <a:moveTo>
                  <a:pt x="390173" y="956810"/>
                </a:moveTo>
                <a:cubicBezTo>
                  <a:pt x="387668" y="957493"/>
                  <a:pt x="385390" y="958405"/>
                  <a:pt x="382657" y="957494"/>
                </a:cubicBezTo>
                <a:cubicBezTo>
                  <a:pt x="386301" y="964782"/>
                  <a:pt x="391768" y="970249"/>
                  <a:pt x="397234" y="972071"/>
                </a:cubicBezTo>
                <a:cubicBezTo>
                  <a:pt x="401789" y="971160"/>
                  <a:pt x="401789" y="968427"/>
                  <a:pt x="400878" y="965465"/>
                </a:cubicBezTo>
                <a:lnTo>
                  <a:pt x="400136" y="962218"/>
                </a:lnTo>
                <a:lnTo>
                  <a:pt x="404523" y="966604"/>
                </a:lnTo>
                <a:cubicBezTo>
                  <a:pt x="406345" y="964782"/>
                  <a:pt x="408167" y="964782"/>
                  <a:pt x="409989" y="961138"/>
                </a:cubicBezTo>
                <a:cubicBezTo>
                  <a:pt x="408167" y="961138"/>
                  <a:pt x="406345" y="960227"/>
                  <a:pt x="404523" y="959771"/>
                </a:cubicBezTo>
                <a:lnTo>
                  <a:pt x="399844" y="960940"/>
                </a:lnTo>
                <a:lnTo>
                  <a:pt x="399056" y="957494"/>
                </a:lnTo>
                <a:cubicBezTo>
                  <a:pt x="395412" y="955671"/>
                  <a:pt x="392680" y="956126"/>
                  <a:pt x="390173" y="956810"/>
                </a:cubicBezTo>
                <a:close/>
                <a:moveTo>
                  <a:pt x="1178380" y="956238"/>
                </a:moveTo>
                <a:lnTo>
                  <a:pt x="1180769" y="957317"/>
                </a:lnTo>
                <a:lnTo>
                  <a:pt x="1180769" y="957494"/>
                </a:lnTo>
                <a:lnTo>
                  <a:pt x="1181122" y="957477"/>
                </a:lnTo>
                <a:lnTo>
                  <a:pt x="1184186" y="958860"/>
                </a:lnTo>
                <a:lnTo>
                  <a:pt x="1184208" y="959418"/>
                </a:lnTo>
                <a:lnTo>
                  <a:pt x="1180769" y="961138"/>
                </a:lnTo>
                <a:cubicBezTo>
                  <a:pt x="1178947" y="959316"/>
                  <a:pt x="1178947" y="959316"/>
                  <a:pt x="1177125" y="957494"/>
                </a:cubicBezTo>
                <a:close/>
                <a:moveTo>
                  <a:pt x="958460" y="955675"/>
                </a:moveTo>
                <a:lnTo>
                  <a:pt x="952997" y="961138"/>
                </a:lnTo>
                <a:lnTo>
                  <a:pt x="952927" y="959824"/>
                </a:lnTo>
                <a:close/>
                <a:moveTo>
                  <a:pt x="701537" y="955672"/>
                </a:moveTo>
                <a:cubicBezTo>
                  <a:pt x="696071" y="959316"/>
                  <a:pt x="685138" y="959316"/>
                  <a:pt x="686960" y="968427"/>
                </a:cubicBezTo>
                <a:cubicBezTo>
                  <a:pt x="686960" y="968427"/>
                  <a:pt x="688782" y="966604"/>
                  <a:pt x="688782" y="966604"/>
                </a:cubicBezTo>
                <a:cubicBezTo>
                  <a:pt x="685138" y="972071"/>
                  <a:pt x="696071" y="970249"/>
                  <a:pt x="697893" y="973893"/>
                </a:cubicBezTo>
                <a:cubicBezTo>
                  <a:pt x="705182" y="968427"/>
                  <a:pt x="697893" y="961138"/>
                  <a:pt x="701537" y="955672"/>
                </a:cubicBezTo>
                <a:close/>
                <a:moveTo>
                  <a:pt x="663272" y="955672"/>
                </a:moveTo>
                <a:cubicBezTo>
                  <a:pt x="663272" y="961138"/>
                  <a:pt x="661449" y="966604"/>
                  <a:pt x="666916" y="968427"/>
                </a:cubicBezTo>
                <a:cubicBezTo>
                  <a:pt x="674205" y="968427"/>
                  <a:pt x="668738" y="962960"/>
                  <a:pt x="670560" y="959316"/>
                </a:cubicBezTo>
                <a:cubicBezTo>
                  <a:pt x="668738" y="957494"/>
                  <a:pt x="665094" y="955672"/>
                  <a:pt x="663272" y="955672"/>
                </a:cubicBezTo>
                <a:close/>
                <a:moveTo>
                  <a:pt x="537542" y="955672"/>
                </a:moveTo>
                <a:cubicBezTo>
                  <a:pt x="533897" y="959316"/>
                  <a:pt x="537542" y="962960"/>
                  <a:pt x="543008" y="961138"/>
                </a:cubicBezTo>
                <a:cubicBezTo>
                  <a:pt x="543008" y="959316"/>
                  <a:pt x="539364" y="957494"/>
                  <a:pt x="537542" y="955672"/>
                </a:cubicBezTo>
                <a:close/>
                <a:moveTo>
                  <a:pt x="255105" y="955672"/>
                </a:moveTo>
                <a:cubicBezTo>
                  <a:pt x="256927" y="957494"/>
                  <a:pt x="255105" y="962960"/>
                  <a:pt x="262393" y="961138"/>
                </a:cubicBezTo>
                <a:cubicBezTo>
                  <a:pt x="258749" y="957494"/>
                  <a:pt x="256927" y="955672"/>
                  <a:pt x="255105" y="955672"/>
                </a:cubicBezTo>
                <a:close/>
                <a:moveTo>
                  <a:pt x="227772" y="955672"/>
                </a:moveTo>
                <a:cubicBezTo>
                  <a:pt x="233239" y="961138"/>
                  <a:pt x="229594" y="966604"/>
                  <a:pt x="238705" y="962960"/>
                </a:cubicBezTo>
                <a:cubicBezTo>
                  <a:pt x="235061" y="957494"/>
                  <a:pt x="231416" y="959316"/>
                  <a:pt x="227772" y="955672"/>
                </a:cubicBezTo>
                <a:close/>
                <a:moveTo>
                  <a:pt x="158529" y="955672"/>
                </a:moveTo>
                <a:cubicBezTo>
                  <a:pt x="158529" y="957494"/>
                  <a:pt x="162174" y="961138"/>
                  <a:pt x="165818" y="962960"/>
                </a:cubicBezTo>
                <a:cubicBezTo>
                  <a:pt x="165818" y="961138"/>
                  <a:pt x="160352" y="955672"/>
                  <a:pt x="158529" y="955672"/>
                </a:cubicBezTo>
                <a:close/>
                <a:moveTo>
                  <a:pt x="2150166" y="953848"/>
                </a:moveTo>
                <a:cubicBezTo>
                  <a:pt x="2148344" y="955672"/>
                  <a:pt x="2146521" y="955672"/>
                  <a:pt x="2142877" y="955672"/>
                </a:cubicBezTo>
                <a:cubicBezTo>
                  <a:pt x="2148344" y="955672"/>
                  <a:pt x="2155632" y="957494"/>
                  <a:pt x="2164743" y="959316"/>
                </a:cubicBezTo>
                <a:cubicBezTo>
                  <a:pt x="2164743" y="957494"/>
                  <a:pt x="2164743" y="957494"/>
                  <a:pt x="2162921" y="955672"/>
                </a:cubicBezTo>
                <a:cubicBezTo>
                  <a:pt x="2159277" y="952026"/>
                  <a:pt x="2153810" y="952026"/>
                  <a:pt x="2150166" y="953848"/>
                </a:cubicBezTo>
                <a:close/>
                <a:moveTo>
                  <a:pt x="2137410" y="953848"/>
                </a:moveTo>
                <a:cubicBezTo>
                  <a:pt x="2133766" y="957494"/>
                  <a:pt x="2128300" y="955672"/>
                  <a:pt x="2122833" y="957494"/>
                </a:cubicBezTo>
                <a:lnTo>
                  <a:pt x="2126477" y="961138"/>
                </a:lnTo>
                <a:cubicBezTo>
                  <a:pt x="2131944" y="959316"/>
                  <a:pt x="2133766" y="957494"/>
                  <a:pt x="2137410" y="957494"/>
                </a:cubicBezTo>
                <a:cubicBezTo>
                  <a:pt x="2137410" y="957494"/>
                  <a:pt x="2137410" y="955672"/>
                  <a:pt x="2137410" y="953848"/>
                </a:cubicBezTo>
                <a:close/>
                <a:moveTo>
                  <a:pt x="1124282" y="953848"/>
                </a:moveTo>
                <a:cubicBezTo>
                  <a:pt x="1120637" y="955672"/>
                  <a:pt x="1115171" y="953848"/>
                  <a:pt x="1111526" y="955672"/>
                </a:cubicBezTo>
                <a:cubicBezTo>
                  <a:pt x="1111526" y="966604"/>
                  <a:pt x="1115171" y="977538"/>
                  <a:pt x="1124282" y="986649"/>
                </a:cubicBezTo>
                <a:cubicBezTo>
                  <a:pt x="1126104" y="981182"/>
                  <a:pt x="1126104" y="975715"/>
                  <a:pt x="1122459" y="966604"/>
                </a:cubicBezTo>
                <a:lnTo>
                  <a:pt x="1125051" y="961622"/>
                </a:lnTo>
                <a:lnTo>
                  <a:pt x="1126104" y="964782"/>
                </a:lnTo>
                <a:cubicBezTo>
                  <a:pt x="1124282" y="975715"/>
                  <a:pt x="1122459" y="986649"/>
                  <a:pt x="1126104" y="997582"/>
                </a:cubicBezTo>
                <a:cubicBezTo>
                  <a:pt x="1126104" y="995759"/>
                  <a:pt x="1127926" y="993937"/>
                  <a:pt x="1129748" y="993937"/>
                </a:cubicBezTo>
                <a:cubicBezTo>
                  <a:pt x="1129748" y="997582"/>
                  <a:pt x="1126104" y="997582"/>
                  <a:pt x="1126104" y="999403"/>
                </a:cubicBezTo>
                <a:cubicBezTo>
                  <a:pt x="1124282" y="997582"/>
                  <a:pt x="1124282" y="993937"/>
                  <a:pt x="1122459" y="990293"/>
                </a:cubicBezTo>
                <a:cubicBezTo>
                  <a:pt x="1120637" y="984826"/>
                  <a:pt x="1115171" y="981182"/>
                  <a:pt x="1115171" y="977538"/>
                </a:cubicBezTo>
                <a:cubicBezTo>
                  <a:pt x="1109704" y="979360"/>
                  <a:pt x="1111526" y="984826"/>
                  <a:pt x="1106060" y="988471"/>
                </a:cubicBezTo>
                <a:cubicBezTo>
                  <a:pt x="1109704" y="992115"/>
                  <a:pt x="1111526" y="988471"/>
                  <a:pt x="1113349" y="992115"/>
                </a:cubicBezTo>
                <a:cubicBezTo>
                  <a:pt x="1116993" y="986649"/>
                  <a:pt x="1118815" y="993937"/>
                  <a:pt x="1122459" y="990293"/>
                </a:cubicBezTo>
                <a:cubicBezTo>
                  <a:pt x="1120637" y="990293"/>
                  <a:pt x="1118815" y="992115"/>
                  <a:pt x="1118815" y="993937"/>
                </a:cubicBezTo>
                <a:cubicBezTo>
                  <a:pt x="1115171" y="995759"/>
                  <a:pt x="1106060" y="986649"/>
                  <a:pt x="1106060" y="993937"/>
                </a:cubicBezTo>
                <a:cubicBezTo>
                  <a:pt x="1104238" y="993937"/>
                  <a:pt x="1102416" y="990293"/>
                  <a:pt x="1100593" y="992115"/>
                </a:cubicBezTo>
                <a:cubicBezTo>
                  <a:pt x="1096949" y="995759"/>
                  <a:pt x="1102416" y="997582"/>
                  <a:pt x="1104238" y="1001226"/>
                </a:cubicBezTo>
                <a:cubicBezTo>
                  <a:pt x="1111526" y="999403"/>
                  <a:pt x="1118815" y="1001226"/>
                  <a:pt x="1126104" y="999403"/>
                </a:cubicBezTo>
                <a:cubicBezTo>
                  <a:pt x="1135215" y="1006692"/>
                  <a:pt x="1146148" y="997582"/>
                  <a:pt x="1151614" y="990293"/>
                </a:cubicBezTo>
                <a:cubicBezTo>
                  <a:pt x="1151614" y="995759"/>
                  <a:pt x="1155259" y="990293"/>
                  <a:pt x="1158903" y="990293"/>
                </a:cubicBezTo>
                <a:cubicBezTo>
                  <a:pt x="1160725" y="988471"/>
                  <a:pt x="1160725" y="984826"/>
                  <a:pt x="1162547" y="983004"/>
                </a:cubicBezTo>
                <a:cubicBezTo>
                  <a:pt x="1166192" y="983004"/>
                  <a:pt x="1160725" y="988471"/>
                  <a:pt x="1162547" y="990293"/>
                </a:cubicBezTo>
                <a:cubicBezTo>
                  <a:pt x="1164370" y="990293"/>
                  <a:pt x="1164370" y="986649"/>
                  <a:pt x="1166192" y="988471"/>
                </a:cubicBezTo>
                <a:lnTo>
                  <a:pt x="1167467" y="984009"/>
                </a:lnTo>
                <a:lnTo>
                  <a:pt x="1175075" y="979132"/>
                </a:lnTo>
                <a:cubicBezTo>
                  <a:pt x="1178491" y="977537"/>
                  <a:pt x="1181680" y="975715"/>
                  <a:pt x="1182592" y="972071"/>
                </a:cubicBezTo>
                <a:cubicBezTo>
                  <a:pt x="1184414" y="972071"/>
                  <a:pt x="1182592" y="973893"/>
                  <a:pt x="1184414" y="973893"/>
                </a:cubicBezTo>
                <a:cubicBezTo>
                  <a:pt x="1188058" y="970249"/>
                  <a:pt x="1182592" y="964782"/>
                  <a:pt x="1178947" y="961138"/>
                </a:cubicBezTo>
                <a:cubicBezTo>
                  <a:pt x="1180769" y="961138"/>
                  <a:pt x="1182592" y="964782"/>
                  <a:pt x="1184414" y="964782"/>
                </a:cubicBezTo>
                <a:lnTo>
                  <a:pt x="1184208" y="959418"/>
                </a:lnTo>
                <a:lnTo>
                  <a:pt x="1184414" y="959316"/>
                </a:lnTo>
                <a:cubicBezTo>
                  <a:pt x="1186236" y="959316"/>
                  <a:pt x="1186236" y="961138"/>
                  <a:pt x="1186236" y="961138"/>
                </a:cubicBezTo>
                <a:cubicBezTo>
                  <a:pt x="1187147" y="959316"/>
                  <a:pt x="1186691" y="957949"/>
                  <a:pt x="1185552" y="957266"/>
                </a:cubicBezTo>
                <a:lnTo>
                  <a:pt x="1181122" y="957477"/>
                </a:lnTo>
                <a:lnTo>
                  <a:pt x="1180769" y="957317"/>
                </a:lnTo>
                <a:lnTo>
                  <a:pt x="1180769" y="955672"/>
                </a:lnTo>
                <a:cubicBezTo>
                  <a:pt x="1180769" y="955672"/>
                  <a:pt x="1178947" y="955672"/>
                  <a:pt x="1178947" y="955672"/>
                </a:cubicBezTo>
                <a:lnTo>
                  <a:pt x="1178380" y="956238"/>
                </a:lnTo>
                <a:lnTo>
                  <a:pt x="1177125" y="955672"/>
                </a:lnTo>
                <a:lnTo>
                  <a:pt x="1177125" y="957494"/>
                </a:lnTo>
                <a:lnTo>
                  <a:pt x="1177125" y="959316"/>
                </a:lnTo>
                <a:cubicBezTo>
                  <a:pt x="1173481" y="957494"/>
                  <a:pt x="1169836" y="964782"/>
                  <a:pt x="1166192" y="968427"/>
                </a:cubicBezTo>
                <a:cubicBezTo>
                  <a:pt x="1164370" y="966604"/>
                  <a:pt x="1164370" y="962960"/>
                  <a:pt x="1164370" y="961138"/>
                </a:cubicBezTo>
                <a:cubicBezTo>
                  <a:pt x="1166192" y="961138"/>
                  <a:pt x="1166192" y="964782"/>
                  <a:pt x="1166192" y="964782"/>
                </a:cubicBezTo>
                <a:cubicBezTo>
                  <a:pt x="1169836" y="964782"/>
                  <a:pt x="1173481" y="959316"/>
                  <a:pt x="1175303" y="957494"/>
                </a:cubicBezTo>
                <a:cubicBezTo>
                  <a:pt x="1173481" y="959316"/>
                  <a:pt x="1171658" y="955672"/>
                  <a:pt x="1168014" y="953848"/>
                </a:cubicBezTo>
                <a:cubicBezTo>
                  <a:pt x="1162547" y="952026"/>
                  <a:pt x="1155259" y="957494"/>
                  <a:pt x="1149792" y="957494"/>
                </a:cubicBezTo>
                <a:cubicBezTo>
                  <a:pt x="1142503" y="957494"/>
                  <a:pt x="1138859" y="953848"/>
                  <a:pt x="1131570" y="953848"/>
                </a:cubicBezTo>
                <a:cubicBezTo>
                  <a:pt x="1133393" y="957494"/>
                  <a:pt x="1129748" y="955672"/>
                  <a:pt x="1127926" y="959316"/>
                </a:cubicBezTo>
                <a:cubicBezTo>
                  <a:pt x="1124282" y="957494"/>
                  <a:pt x="1129748" y="955672"/>
                  <a:pt x="1127926" y="953848"/>
                </a:cubicBezTo>
                <a:lnTo>
                  <a:pt x="1124992" y="958250"/>
                </a:lnTo>
                <a:close/>
                <a:moveTo>
                  <a:pt x="1034995" y="953848"/>
                </a:moveTo>
                <a:cubicBezTo>
                  <a:pt x="1031351" y="957494"/>
                  <a:pt x="1038639" y="957494"/>
                  <a:pt x="1033173" y="959316"/>
                </a:cubicBezTo>
                <a:cubicBezTo>
                  <a:pt x="1033173" y="961138"/>
                  <a:pt x="1034995" y="961138"/>
                  <a:pt x="1034995" y="962960"/>
                </a:cubicBezTo>
                <a:cubicBezTo>
                  <a:pt x="1038639" y="962960"/>
                  <a:pt x="1040462" y="962960"/>
                  <a:pt x="1044106" y="959316"/>
                </a:cubicBezTo>
                <a:cubicBezTo>
                  <a:pt x="1044106" y="957494"/>
                  <a:pt x="1042284" y="957494"/>
                  <a:pt x="1042284" y="955672"/>
                </a:cubicBezTo>
                <a:cubicBezTo>
                  <a:pt x="1040462" y="957494"/>
                  <a:pt x="1040462" y="957494"/>
                  <a:pt x="1038639" y="957494"/>
                </a:cubicBezTo>
                <a:cubicBezTo>
                  <a:pt x="1038639" y="957494"/>
                  <a:pt x="1040462" y="955672"/>
                  <a:pt x="1040462" y="955672"/>
                </a:cubicBezTo>
                <a:cubicBezTo>
                  <a:pt x="1038639" y="952026"/>
                  <a:pt x="1036818" y="955672"/>
                  <a:pt x="1034995" y="953848"/>
                </a:cubicBezTo>
                <a:close/>
                <a:moveTo>
                  <a:pt x="967575" y="953848"/>
                </a:moveTo>
                <a:cubicBezTo>
                  <a:pt x="965753" y="953848"/>
                  <a:pt x="967575" y="955672"/>
                  <a:pt x="965753" y="957494"/>
                </a:cubicBezTo>
                <a:cubicBezTo>
                  <a:pt x="963930" y="957494"/>
                  <a:pt x="963930" y="955672"/>
                  <a:pt x="962108" y="955672"/>
                </a:cubicBezTo>
                <a:cubicBezTo>
                  <a:pt x="963930" y="953848"/>
                  <a:pt x="965753" y="955672"/>
                  <a:pt x="967575" y="953848"/>
                </a:cubicBezTo>
                <a:close/>
                <a:moveTo>
                  <a:pt x="872822" y="953848"/>
                </a:moveTo>
                <a:lnTo>
                  <a:pt x="871000" y="958953"/>
                </a:lnTo>
                <a:lnTo>
                  <a:pt x="870544" y="960227"/>
                </a:lnTo>
                <a:cubicBezTo>
                  <a:pt x="871000" y="962504"/>
                  <a:pt x="871910" y="964782"/>
                  <a:pt x="871000" y="966604"/>
                </a:cubicBezTo>
                <a:cubicBezTo>
                  <a:pt x="867355" y="966604"/>
                  <a:pt x="865533" y="968427"/>
                  <a:pt x="860066" y="973893"/>
                </a:cubicBezTo>
                <a:lnTo>
                  <a:pt x="864293" y="976679"/>
                </a:lnTo>
                <a:lnTo>
                  <a:pt x="861889" y="977538"/>
                </a:lnTo>
                <a:cubicBezTo>
                  <a:pt x="863711" y="979360"/>
                  <a:pt x="863711" y="977538"/>
                  <a:pt x="865533" y="979360"/>
                </a:cubicBezTo>
                <a:lnTo>
                  <a:pt x="865214" y="977286"/>
                </a:lnTo>
                <a:lnTo>
                  <a:pt x="870088" y="980498"/>
                </a:lnTo>
                <a:lnTo>
                  <a:pt x="874279" y="981546"/>
                </a:lnTo>
                <a:lnTo>
                  <a:pt x="880111" y="983004"/>
                </a:lnTo>
                <a:cubicBezTo>
                  <a:pt x="876466" y="979360"/>
                  <a:pt x="878288" y="977538"/>
                  <a:pt x="876466" y="973893"/>
                </a:cubicBezTo>
                <a:cubicBezTo>
                  <a:pt x="880111" y="979360"/>
                  <a:pt x="887399" y="984826"/>
                  <a:pt x="894688" y="981182"/>
                </a:cubicBezTo>
                <a:cubicBezTo>
                  <a:pt x="891043" y="979360"/>
                  <a:pt x="892866" y="975715"/>
                  <a:pt x="892866" y="972071"/>
                </a:cubicBezTo>
                <a:cubicBezTo>
                  <a:pt x="887399" y="968427"/>
                  <a:pt x="880111" y="955672"/>
                  <a:pt x="872822" y="953848"/>
                </a:cubicBezTo>
                <a:close/>
                <a:moveTo>
                  <a:pt x="484700" y="953848"/>
                </a:moveTo>
                <a:cubicBezTo>
                  <a:pt x="504743" y="968427"/>
                  <a:pt x="521142" y="983004"/>
                  <a:pt x="546653" y="992115"/>
                </a:cubicBezTo>
                <a:cubicBezTo>
                  <a:pt x="548475" y="986649"/>
                  <a:pt x="535719" y="984826"/>
                  <a:pt x="535719" y="981182"/>
                </a:cubicBezTo>
                <a:cubicBezTo>
                  <a:pt x="526609" y="970249"/>
                  <a:pt x="512031" y="961138"/>
                  <a:pt x="499276" y="957494"/>
                </a:cubicBezTo>
                <a:cubicBezTo>
                  <a:pt x="499276" y="957494"/>
                  <a:pt x="501098" y="957494"/>
                  <a:pt x="501098" y="957494"/>
                </a:cubicBezTo>
                <a:cubicBezTo>
                  <a:pt x="495632" y="955672"/>
                  <a:pt x="490165" y="953848"/>
                  <a:pt x="484700" y="953848"/>
                </a:cubicBezTo>
                <a:close/>
                <a:moveTo>
                  <a:pt x="267860" y="953848"/>
                </a:moveTo>
                <a:cubicBezTo>
                  <a:pt x="267860" y="959316"/>
                  <a:pt x="275149" y="959316"/>
                  <a:pt x="276971" y="961138"/>
                </a:cubicBezTo>
                <a:cubicBezTo>
                  <a:pt x="275149" y="957494"/>
                  <a:pt x="271504" y="957494"/>
                  <a:pt x="267860" y="953848"/>
                </a:cubicBezTo>
                <a:close/>
                <a:moveTo>
                  <a:pt x="233239" y="953848"/>
                </a:moveTo>
                <a:cubicBezTo>
                  <a:pt x="238705" y="959316"/>
                  <a:pt x="242349" y="968427"/>
                  <a:pt x="251460" y="966604"/>
                </a:cubicBezTo>
                <a:cubicBezTo>
                  <a:pt x="249638" y="964782"/>
                  <a:pt x="245994" y="962960"/>
                  <a:pt x="244172" y="961138"/>
                </a:cubicBezTo>
                <a:lnTo>
                  <a:pt x="251511" y="965215"/>
                </a:lnTo>
                <a:lnTo>
                  <a:pt x="251916" y="968654"/>
                </a:lnTo>
                <a:cubicBezTo>
                  <a:pt x="253283" y="968427"/>
                  <a:pt x="255105" y="967516"/>
                  <a:pt x="255105" y="968427"/>
                </a:cubicBezTo>
                <a:lnTo>
                  <a:pt x="254752" y="967016"/>
                </a:lnTo>
                <a:lnTo>
                  <a:pt x="260571" y="970249"/>
                </a:lnTo>
                <a:cubicBezTo>
                  <a:pt x="256927" y="966604"/>
                  <a:pt x="256927" y="955672"/>
                  <a:pt x="249638" y="961138"/>
                </a:cubicBezTo>
                <a:cubicBezTo>
                  <a:pt x="247816" y="961138"/>
                  <a:pt x="247816" y="959316"/>
                  <a:pt x="247816" y="957494"/>
                </a:cubicBezTo>
                <a:cubicBezTo>
                  <a:pt x="245994" y="953848"/>
                  <a:pt x="240527" y="952026"/>
                  <a:pt x="236883" y="953848"/>
                </a:cubicBezTo>
                <a:cubicBezTo>
                  <a:pt x="236883" y="955672"/>
                  <a:pt x="236883" y="957494"/>
                  <a:pt x="238705" y="959316"/>
                </a:cubicBezTo>
                <a:cubicBezTo>
                  <a:pt x="235061" y="957494"/>
                  <a:pt x="235061" y="955672"/>
                  <a:pt x="233239" y="953848"/>
                </a:cubicBezTo>
                <a:close/>
                <a:moveTo>
                  <a:pt x="198617" y="953848"/>
                </a:moveTo>
                <a:cubicBezTo>
                  <a:pt x="202262" y="957494"/>
                  <a:pt x="211372" y="968427"/>
                  <a:pt x="216839" y="970249"/>
                </a:cubicBezTo>
                <a:cubicBezTo>
                  <a:pt x="213195" y="964782"/>
                  <a:pt x="204084" y="953848"/>
                  <a:pt x="198617" y="953848"/>
                </a:cubicBezTo>
                <a:close/>
                <a:moveTo>
                  <a:pt x="193151" y="953848"/>
                </a:moveTo>
                <a:cubicBezTo>
                  <a:pt x="196795" y="968427"/>
                  <a:pt x="213195" y="979360"/>
                  <a:pt x="224128" y="983004"/>
                </a:cubicBezTo>
                <a:cubicBezTo>
                  <a:pt x="213195" y="973893"/>
                  <a:pt x="204084" y="962960"/>
                  <a:pt x="193151" y="953848"/>
                </a:cubicBezTo>
                <a:close/>
                <a:moveTo>
                  <a:pt x="2749661" y="952026"/>
                </a:moveTo>
                <a:cubicBezTo>
                  <a:pt x="2746016" y="950204"/>
                  <a:pt x="2749661" y="959316"/>
                  <a:pt x="2753305" y="959316"/>
                </a:cubicBezTo>
                <a:cubicBezTo>
                  <a:pt x="2751483" y="955672"/>
                  <a:pt x="2749661" y="955672"/>
                  <a:pt x="2749661" y="952026"/>
                </a:cubicBezTo>
                <a:close/>
                <a:moveTo>
                  <a:pt x="1053217" y="952026"/>
                </a:moveTo>
                <a:cubicBezTo>
                  <a:pt x="1051395" y="952026"/>
                  <a:pt x="1053217" y="959316"/>
                  <a:pt x="1056861" y="955672"/>
                </a:cubicBezTo>
                <a:cubicBezTo>
                  <a:pt x="1056861" y="953848"/>
                  <a:pt x="1055040" y="952026"/>
                  <a:pt x="1053217" y="952026"/>
                </a:cubicBezTo>
                <a:close/>
                <a:moveTo>
                  <a:pt x="834556" y="952026"/>
                </a:moveTo>
                <a:cubicBezTo>
                  <a:pt x="832734" y="953848"/>
                  <a:pt x="834556" y="955672"/>
                  <a:pt x="832734" y="957494"/>
                </a:cubicBezTo>
                <a:cubicBezTo>
                  <a:pt x="836378" y="957494"/>
                  <a:pt x="836378" y="957494"/>
                  <a:pt x="838200" y="955672"/>
                </a:cubicBezTo>
                <a:cubicBezTo>
                  <a:pt x="838200" y="953848"/>
                  <a:pt x="836378" y="953848"/>
                  <a:pt x="834556" y="952026"/>
                </a:cubicBezTo>
                <a:close/>
                <a:moveTo>
                  <a:pt x="830912" y="952026"/>
                </a:moveTo>
                <a:cubicBezTo>
                  <a:pt x="827267" y="953848"/>
                  <a:pt x="830912" y="957494"/>
                  <a:pt x="827267" y="959316"/>
                </a:cubicBezTo>
                <a:cubicBezTo>
                  <a:pt x="829089" y="959316"/>
                  <a:pt x="830912" y="961138"/>
                  <a:pt x="832734" y="961138"/>
                </a:cubicBezTo>
                <a:cubicBezTo>
                  <a:pt x="832734" y="957494"/>
                  <a:pt x="830912" y="953848"/>
                  <a:pt x="830912" y="952026"/>
                </a:cubicBezTo>
                <a:close/>
                <a:moveTo>
                  <a:pt x="681493" y="952026"/>
                </a:moveTo>
                <a:cubicBezTo>
                  <a:pt x="681493" y="955672"/>
                  <a:pt x="677849" y="957494"/>
                  <a:pt x="679671" y="959316"/>
                </a:cubicBezTo>
                <a:cubicBezTo>
                  <a:pt x="679671" y="957494"/>
                  <a:pt x="685138" y="953848"/>
                  <a:pt x="681493" y="952026"/>
                </a:cubicBezTo>
                <a:close/>
                <a:moveTo>
                  <a:pt x="544830" y="952026"/>
                </a:moveTo>
                <a:cubicBezTo>
                  <a:pt x="546653" y="955672"/>
                  <a:pt x="546653" y="952026"/>
                  <a:pt x="550297" y="953848"/>
                </a:cubicBezTo>
                <a:cubicBezTo>
                  <a:pt x="550297" y="952026"/>
                  <a:pt x="546653" y="950204"/>
                  <a:pt x="544830" y="952026"/>
                </a:cubicBezTo>
                <a:close/>
                <a:moveTo>
                  <a:pt x="524786" y="952026"/>
                </a:moveTo>
                <a:cubicBezTo>
                  <a:pt x="524786" y="957494"/>
                  <a:pt x="530253" y="955672"/>
                  <a:pt x="533897" y="957494"/>
                </a:cubicBezTo>
                <a:cubicBezTo>
                  <a:pt x="533897" y="953848"/>
                  <a:pt x="528431" y="953848"/>
                  <a:pt x="524786" y="952026"/>
                </a:cubicBezTo>
                <a:close/>
                <a:moveTo>
                  <a:pt x="477410" y="952026"/>
                </a:moveTo>
                <a:cubicBezTo>
                  <a:pt x="477410" y="953848"/>
                  <a:pt x="482876" y="953848"/>
                  <a:pt x="484700" y="955672"/>
                </a:cubicBezTo>
                <a:cubicBezTo>
                  <a:pt x="486521" y="952026"/>
                  <a:pt x="479232" y="953848"/>
                  <a:pt x="477410" y="952026"/>
                </a:cubicBezTo>
                <a:close/>
                <a:moveTo>
                  <a:pt x="335280" y="952026"/>
                </a:moveTo>
                <a:cubicBezTo>
                  <a:pt x="332547" y="951116"/>
                  <a:pt x="331180" y="951571"/>
                  <a:pt x="331180" y="952482"/>
                </a:cubicBezTo>
                <a:lnTo>
                  <a:pt x="332690" y="953657"/>
                </a:lnTo>
                <a:lnTo>
                  <a:pt x="335280" y="955672"/>
                </a:lnTo>
                <a:cubicBezTo>
                  <a:pt x="337102" y="953848"/>
                  <a:pt x="335280" y="952026"/>
                  <a:pt x="335280" y="952026"/>
                </a:cubicBezTo>
                <a:close/>
                <a:moveTo>
                  <a:pt x="278793" y="952026"/>
                </a:moveTo>
                <a:cubicBezTo>
                  <a:pt x="276971" y="955672"/>
                  <a:pt x="284259" y="955672"/>
                  <a:pt x="286082" y="957494"/>
                </a:cubicBezTo>
                <a:cubicBezTo>
                  <a:pt x="286082" y="955672"/>
                  <a:pt x="280615" y="953848"/>
                  <a:pt x="278793" y="952026"/>
                </a:cubicBezTo>
                <a:close/>
                <a:moveTo>
                  <a:pt x="151241" y="952026"/>
                </a:moveTo>
                <a:cubicBezTo>
                  <a:pt x="151241" y="955672"/>
                  <a:pt x="160352" y="964782"/>
                  <a:pt x="163996" y="964782"/>
                </a:cubicBezTo>
                <a:cubicBezTo>
                  <a:pt x="160352" y="961138"/>
                  <a:pt x="154885" y="952026"/>
                  <a:pt x="151241" y="952026"/>
                </a:cubicBezTo>
                <a:close/>
                <a:moveTo>
                  <a:pt x="1192841" y="950888"/>
                </a:moveTo>
                <a:cubicBezTo>
                  <a:pt x="1191246" y="951116"/>
                  <a:pt x="1189880" y="952026"/>
                  <a:pt x="1189880" y="953848"/>
                </a:cubicBezTo>
                <a:cubicBezTo>
                  <a:pt x="1193525" y="957494"/>
                  <a:pt x="1198991" y="955672"/>
                  <a:pt x="1197169" y="952026"/>
                </a:cubicBezTo>
                <a:cubicBezTo>
                  <a:pt x="1196257" y="951116"/>
                  <a:pt x="1194435" y="950660"/>
                  <a:pt x="1192841" y="950888"/>
                </a:cubicBezTo>
                <a:close/>
                <a:moveTo>
                  <a:pt x="621134" y="950888"/>
                </a:moveTo>
                <a:cubicBezTo>
                  <a:pt x="619995" y="951571"/>
                  <a:pt x="618628" y="952938"/>
                  <a:pt x="617717" y="953848"/>
                </a:cubicBezTo>
                <a:cubicBezTo>
                  <a:pt x="619539" y="955672"/>
                  <a:pt x="621362" y="950204"/>
                  <a:pt x="623185" y="952026"/>
                </a:cubicBezTo>
                <a:cubicBezTo>
                  <a:pt x="623185" y="950205"/>
                  <a:pt x="622273" y="950205"/>
                  <a:pt x="621134" y="950888"/>
                </a:cubicBezTo>
                <a:close/>
                <a:moveTo>
                  <a:pt x="3279913" y="950204"/>
                </a:moveTo>
                <a:cubicBezTo>
                  <a:pt x="3274447" y="950204"/>
                  <a:pt x="3268980" y="959316"/>
                  <a:pt x="3265336" y="964782"/>
                </a:cubicBezTo>
                <a:cubicBezTo>
                  <a:pt x="3270803" y="964782"/>
                  <a:pt x="3276269" y="964782"/>
                  <a:pt x="3279913" y="962960"/>
                </a:cubicBezTo>
                <a:cubicBezTo>
                  <a:pt x="3278091" y="957494"/>
                  <a:pt x="3279913" y="955672"/>
                  <a:pt x="3279913" y="950204"/>
                </a:cubicBezTo>
                <a:close/>
                <a:moveTo>
                  <a:pt x="2527356" y="950204"/>
                </a:moveTo>
                <a:cubicBezTo>
                  <a:pt x="2527356" y="955672"/>
                  <a:pt x="2525534" y="959316"/>
                  <a:pt x="2529178" y="962960"/>
                </a:cubicBezTo>
                <a:cubicBezTo>
                  <a:pt x="2534644" y="959316"/>
                  <a:pt x="2541933" y="959316"/>
                  <a:pt x="2543755" y="952026"/>
                </a:cubicBezTo>
                <a:cubicBezTo>
                  <a:pt x="2538289" y="948383"/>
                  <a:pt x="2534644" y="952026"/>
                  <a:pt x="2527356" y="950204"/>
                </a:cubicBezTo>
                <a:close/>
                <a:moveTo>
                  <a:pt x="2516423" y="950204"/>
                </a:moveTo>
                <a:cubicBezTo>
                  <a:pt x="2516423" y="955672"/>
                  <a:pt x="2520067" y="953848"/>
                  <a:pt x="2521889" y="953848"/>
                </a:cubicBezTo>
                <a:cubicBezTo>
                  <a:pt x="2521889" y="950204"/>
                  <a:pt x="2520067" y="950204"/>
                  <a:pt x="2516423" y="950204"/>
                </a:cubicBezTo>
                <a:close/>
                <a:moveTo>
                  <a:pt x="1211747" y="950204"/>
                </a:moveTo>
                <a:lnTo>
                  <a:pt x="1212266" y="950204"/>
                </a:lnTo>
                <a:lnTo>
                  <a:pt x="1216625" y="953595"/>
                </a:lnTo>
                <a:lnTo>
                  <a:pt x="1214707" y="953393"/>
                </a:lnTo>
                <a:cubicBezTo>
                  <a:pt x="1213113" y="952938"/>
                  <a:pt x="1211747" y="952026"/>
                  <a:pt x="1211747" y="950204"/>
                </a:cubicBezTo>
                <a:close/>
                <a:moveTo>
                  <a:pt x="1056861" y="950204"/>
                </a:moveTo>
                <a:cubicBezTo>
                  <a:pt x="1060506" y="952026"/>
                  <a:pt x="1058683" y="953848"/>
                  <a:pt x="1060506" y="955672"/>
                </a:cubicBezTo>
                <a:cubicBezTo>
                  <a:pt x="1060506" y="955672"/>
                  <a:pt x="1062328" y="955672"/>
                  <a:pt x="1064151" y="953848"/>
                </a:cubicBezTo>
                <a:cubicBezTo>
                  <a:pt x="1064151" y="953848"/>
                  <a:pt x="1065972" y="952026"/>
                  <a:pt x="1067794" y="952026"/>
                </a:cubicBezTo>
                <a:cubicBezTo>
                  <a:pt x="1064151" y="950204"/>
                  <a:pt x="1060506" y="950204"/>
                  <a:pt x="1056861" y="950204"/>
                </a:cubicBezTo>
                <a:close/>
                <a:moveTo>
                  <a:pt x="1045929" y="950204"/>
                </a:moveTo>
                <a:cubicBezTo>
                  <a:pt x="1044106" y="950204"/>
                  <a:pt x="1042284" y="950204"/>
                  <a:pt x="1040462" y="952026"/>
                </a:cubicBezTo>
                <a:cubicBezTo>
                  <a:pt x="1042284" y="955672"/>
                  <a:pt x="1044106" y="955672"/>
                  <a:pt x="1045929" y="955672"/>
                </a:cubicBezTo>
                <a:cubicBezTo>
                  <a:pt x="1047750" y="953848"/>
                  <a:pt x="1047750" y="953848"/>
                  <a:pt x="1045929" y="950204"/>
                </a:cubicBezTo>
                <a:close/>
                <a:moveTo>
                  <a:pt x="996729" y="950204"/>
                </a:moveTo>
                <a:cubicBezTo>
                  <a:pt x="994907" y="953848"/>
                  <a:pt x="994907" y="957494"/>
                  <a:pt x="996729" y="961138"/>
                </a:cubicBezTo>
                <a:cubicBezTo>
                  <a:pt x="998552" y="959316"/>
                  <a:pt x="1000374" y="959316"/>
                  <a:pt x="1004018" y="957494"/>
                </a:cubicBezTo>
                <a:cubicBezTo>
                  <a:pt x="1002196" y="955672"/>
                  <a:pt x="998552" y="952026"/>
                  <a:pt x="996729" y="950204"/>
                </a:cubicBezTo>
                <a:close/>
                <a:moveTo>
                  <a:pt x="694249" y="950204"/>
                </a:moveTo>
                <a:cubicBezTo>
                  <a:pt x="692426" y="952026"/>
                  <a:pt x="688782" y="953848"/>
                  <a:pt x="688782" y="955672"/>
                </a:cubicBezTo>
                <a:cubicBezTo>
                  <a:pt x="690604" y="955672"/>
                  <a:pt x="699715" y="952026"/>
                  <a:pt x="694249" y="950204"/>
                </a:cubicBezTo>
                <a:close/>
                <a:moveTo>
                  <a:pt x="3126851" y="948383"/>
                </a:moveTo>
                <a:cubicBezTo>
                  <a:pt x="3134140" y="957494"/>
                  <a:pt x="3130495" y="981182"/>
                  <a:pt x="3145073" y="973893"/>
                </a:cubicBezTo>
                <a:cubicBezTo>
                  <a:pt x="3145073" y="972071"/>
                  <a:pt x="3143250" y="972071"/>
                  <a:pt x="3143250" y="968427"/>
                </a:cubicBezTo>
                <a:cubicBezTo>
                  <a:pt x="3145073" y="970249"/>
                  <a:pt x="3145073" y="970249"/>
                  <a:pt x="3145073" y="972071"/>
                </a:cubicBezTo>
                <a:cubicBezTo>
                  <a:pt x="3145073" y="962960"/>
                  <a:pt x="3143250" y="957494"/>
                  <a:pt x="3137784" y="952026"/>
                </a:cubicBezTo>
                <a:cubicBezTo>
                  <a:pt x="3135962" y="952026"/>
                  <a:pt x="3134140" y="957494"/>
                  <a:pt x="3132317" y="953848"/>
                </a:cubicBezTo>
                <a:cubicBezTo>
                  <a:pt x="3132317" y="952026"/>
                  <a:pt x="3130495" y="950204"/>
                  <a:pt x="3134140" y="950204"/>
                </a:cubicBezTo>
                <a:cubicBezTo>
                  <a:pt x="3130495" y="948383"/>
                  <a:pt x="3128673" y="948383"/>
                  <a:pt x="3126851" y="948383"/>
                </a:cubicBezTo>
                <a:close/>
                <a:moveTo>
                  <a:pt x="3108629" y="948383"/>
                </a:moveTo>
                <a:cubicBezTo>
                  <a:pt x="3106807" y="952026"/>
                  <a:pt x="3108629" y="950204"/>
                  <a:pt x="3108629" y="953848"/>
                </a:cubicBezTo>
                <a:cubicBezTo>
                  <a:pt x="3099518" y="950204"/>
                  <a:pt x="3097696" y="952026"/>
                  <a:pt x="3095874" y="959316"/>
                </a:cubicBezTo>
                <a:cubicBezTo>
                  <a:pt x="3104985" y="959316"/>
                  <a:pt x="3092230" y="968427"/>
                  <a:pt x="3094052" y="975715"/>
                </a:cubicBezTo>
                <a:cubicBezTo>
                  <a:pt x="3101340" y="972071"/>
                  <a:pt x="3112274" y="981182"/>
                  <a:pt x="3125029" y="975715"/>
                </a:cubicBezTo>
                <a:cubicBezTo>
                  <a:pt x="3123206" y="972071"/>
                  <a:pt x="3121384" y="962960"/>
                  <a:pt x="3126851" y="961138"/>
                </a:cubicBezTo>
                <a:cubicBezTo>
                  <a:pt x="3125029" y="955672"/>
                  <a:pt x="3123206" y="961138"/>
                  <a:pt x="3117740" y="959316"/>
                </a:cubicBezTo>
                <a:cubicBezTo>
                  <a:pt x="3115918" y="955672"/>
                  <a:pt x="3121384" y="955672"/>
                  <a:pt x="3119562" y="950204"/>
                </a:cubicBezTo>
                <a:cubicBezTo>
                  <a:pt x="3115918" y="950204"/>
                  <a:pt x="3110451" y="952026"/>
                  <a:pt x="3112274" y="948383"/>
                </a:cubicBezTo>
                <a:cubicBezTo>
                  <a:pt x="3112274" y="948383"/>
                  <a:pt x="3110451" y="948383"/>
                  <a:pt x="3108629" y="948383"/>
                </a:cubicBezTo>
                <a:close/>
                <a:moveTo>
                  <a:pt x="1304677" y="948383"/>
                </a:moveTo>
                <a:cubicBezTo>
                  <a:pt x="1302855" y="952026"/>
                  <a:pt x="1297388" y="952026"/>
                  <a:pt x="1295566" y="953848"/>
                </a:cubicBezTo>
                <a:cubicBezTo>
                  <a:pt x="1299210" y="955672"/>
                  <a:pt x="1302855" y="955672"/>
                  <a:pt x="1308321" y="953848"/>
                </a:cubicBezTo>
                <a:cubicBezTo>
                  <a:pt x="1310143" y="952026"/>
                  <a:pt x="1306499" y="952026"/>
                  <a:pt x="1304677" y="948383"/>
                </a:cubicBezTo>
                <a:close/>
                <a:moveTo>
                  <a:pt x="1291922" y="948383"/>
                </a:moveTo>
                <a:cubicBezTo>
                  <a:pt x="1286455" y="946560"/>
                  <a:pt x="1280989" y="952026"/>
                  <a:pt x="1275522" y="950204"/>
                </a:cubicBezTo>
                <a:cubicBezTo>
                  <a:pt x="1275522" y="955672"/>
                  <a:pt x="1286455" y="948383"/>
                  <a:pt x="1291922" y="948383"/>
                </a:cubicBezTo>
                <a:close/>
                <a:moveTo>
                  <a:pt x="517498" y="948383"/>
                </a:moveTo>
                <a:cubicBezTo>
                  <a:pt x="522964" y="952026"/>
                  <a:pt x="524786" y="948383"/>
                  <a:pt x="528431" y="952026"/>
                </a:cubicBezTo>
                <a:cubicBezTo>
                  <a:pt x="528431" y="950204"/>
                  <a:pt x="521142" y="946560"/>
                  <a:pt x="517498" y="948383"/>
                </a:cubicBezTo>
                <a:close/>
                <a:moveTo>
                  <a:pt x="284259" y="948383"/>
                </a:moveTo>
                <a:cubicBezTo>
                  <a:pt x="282438" y="952026"/>
                  <a:pt x="289726" y="957494"/>
                  <a:pt x="293370" y="959316"/>
                </a:cubicBezTo>
                <a:cubicBezTo>
                  <a:pt x="291549" y="955672"/>
                  <a:pt x="287904" y="952026"/>
                  <a:pt x="287904" y="948383"/>
                </a:cubicBezTo>
                <a:cubicBezTo>
                  <a:pt x="286082" y="950204"/>
                  <a:pt x="286082" y="952026"/>
                  <a:pt x="284259" y="948383"/>
                </a:cubicBezTo>
                <a:close/>
                <a:moveTo>
                  <a:pt x="1313104" y="948155"/>
                </a:moveTo>
                <a:cubicBezTo>
                  <a:pt x="1311054" y="948383"/>
                  <a:pt x="1309232" y="949294"/>
                  <a:pt x="1308321" y="952026"/>
                </a:cubicBezTo>
                <a:cubicBezTo>
                  <a:pt x="1308321" y="952026"/>
                  <a:pt x="1310143" y="953848"/>
                  <a:pt x="1310143" y="953848"/>
                </a:cubicBezTo>
                <a:cubicBezTo>
                  <a:pt x="1315610" y="952026"/>
                  <a:pt x="1315610" y="950204"/>
                  <a:pt x="1319254" y="948383"/>
                </a:cubicBezTo>
                <a:cubicBezTo>
                  <a:pt x="1317432" y="948383"/>
                  <a:pt x="1315154" y="947927"/>
                  <a:pt x="1313104" y="948155"/>
                </a:cubicBezTo>
                <a:close/>
                <a:moveTo>
                  <a:pt x="1327682" y="947016"/>
                </a:moveTo>
                <a:cubicBezTo>
                  <a:pt x="1323810" y="946560"/>
                  <a:pt x="1320165" y="947471"/>
                  <a:pt x="1317432" y="952026"/>
                </a:cubicBezTo>
                <a:cubicBezTo>
                  <a:pt x="1321077" y="953848"/>
                  <a:pt x="1322899" y="952026"/>
                  <a:pt x="1324721" y="950204"/>
                </a:cubicBezTo>
                <a:cubicBezTo>
                  <a:pt x="1322899" y="953848"/>
                  <a:pt x="1317432" y="953848"/>
                  <a:pt x="1315610" y="955672"/>
                </a:cubicBezTo>
                <a:cubicBezTo>
                  <a:pt x="1324721" y="953848"/>
                  <a:pt x="1332009" y="957494"/>
                  <a:pt x="1339299" y="950204"/>
                </a:cubicBezTo>
                <a:cubicBezTo>
                  <a:pt x="1335653" y="949294"/>
                  <a:pt x="1331554" y="947471"/>
                  <a:pt x="1327682" y="947016"/>
                </a:cubicBezTo>
                <a:close/>
                <a:moveTo>
                  <a:pt x="3334579" y="946560"/>
                </a:moveTo>
                <a:lnTo>
                  <a:pt x="3332730" y="949126"/>
                </a:lnTo>
                <a:lnTo>
                  <a:pt x="3331979" y="947292"/>
                </a:lnTo>
                <a:close/>
                <a:moveTo>
                  <a:pt x="3299957" y="946560"/>
                </a:moveTo>
                <a:cubicBezTo>
                  <a:pt x="3294491" y="946560"/>
                  <a:pt x="3294491" y="953848"/>
                  <a:pt x="3301780" y="952026"/>
                </a:cubicBezTo>
                <a:cubicBezTo>
                  <a:pt x="3301780" y="948383"/>
                  <a:pt x="3299957" y="948383"/>
                  <a:pt x="3299957" y="946560"/>
                </a:cubicBezTo>
                <a:close/>
                <a:moveTo>
                  <a:pt x="2439891" y="946560"/>
                </a:moveTo>
                <a:cubicBezTo>
                  <a:pt x="2436247" y="948383"/>
                  <a:pt x="2438069" y="957494"/>
                  <a:pt x="2439891" y="959316"/>
                </a:cubicBezTo>
                <a:cubicBezTo>
                  <a:pt x="2441713" y="957494"/>
                  <a:pt x="2439891" y="953848"/>
                  <a:pt x="2441713" y="953848"/>
                </a:cubicBezTo>
                <a:cubicBezTo>
                  <a:pt x="2438069" y="952026"/>
                  <a:pt x="2439891" y="952026"/>
                  <a:pt x="2439891" y="946560"/>
                </a:cubicBezTo>
                <a:close/>
                <a:moveTo>
                  <a:pt x="2430780" y="946560"/>
                </a:moveTo>
                <a:cubicBezTo>
                  <a:pt x="2428958" y="946560"/>
                  <a:pt x="2427136" y="953848"/>
                  <a:pt x="2427136" y="950204"/>
                </a:cubicBezTo>
                <a:cubicBezTo>
                  <a:pt x="2421669" y="953848"/>
                  <a:pt x="2428958" y="950204"/>
                  <a:pt x="2430780" y="952026"/>
                </a:cubicBezTo>
                <a:cubicBezTo>
                  <a:pt x="2432603" y="952026"/>
                  <a:pt x="2432603" y="948383"/>
                  <a:pt x="2430780" y="946560"/>
                </a:cubicBezTo>
                <a:close/>
                <a:moveTo>
                  <a:pt x="819979" y="946560"/>
                </a:moveTo>
                <a:cubicBezTo>
                  <a:pt x="816334" y="950204"/>
                  <a:pt x="823623" y="953848"/>
                  <a:pt x="827267" y="952026"/>
                </a:cubicBezTo>
                <a:cubicBezTo>
                  <a:pt x="821801" y="950204"/>
                  <a:pt x="825445" y="948383"/>
                  <a:pt x="819979" y="946560"/>
                </a:cubicBezTo>
                <a:close/>
                <a:moveTo>
                  <a:pt x="701537" y="946560"/>
                </a:moveTo>
                <a:cubicBezTo>
                  <a:pt x="696071" y="957494"/>
                  <a:pt x="703359" y="946560"/>
                  <a:pt x="705182" y="948383"/>
                </a:cubicBezTo>
                <a:cubicBezTo>
                  <a:pt x="705182" y="946560"/>
                  <a:pt x="703359" y="946560"/>
                  <a:pt x="701537" y="946560"/>
                </a:cubicBezTo>
                <a:close/>
                <a:moveTo>
                  <a:pt x="632296" y="946560"/>
                </a:moveTo>
                <a:cubicBezTo>
                  <a:pt x="628650" y="944738"/>
                  <a:pt x="630472" y="948383"/>
                  <a:pt x="630472" y="950204"/>
                </a:cubicBezTo>
                <a:cubicBezTo>
                  <a:pt x="634117" y="950204"/>
                  <a:pt x="632296" y="946560"/>
                  <a:pt x="632296" y="946560"/>
                </a:cubicBezTo>
                <a:close/>
                <a:moveTo>
                  <a:pt x="163996" y="946560"/>
                </a:moveTo>
                <a:cubicBezTo>
                  <a:pt x="165818" y="953848"/>
                  <a:pt x="176751" y="964782"/>
                  <a:pt x="182218" y="962960"/>
                </a:cubicBezTo>
                <a:cubicBezTo>
                  <a:pt x="176751" y="952026"/>
                  <a:pt x="171285" y="952026"/>
                  <a:pt x="163996" y="946560"/>
                </a:cubicBezTo>
                <a:close/>
                <a:moveTo>
                  <a:pt x="2113722" y="944738"/>
                </a:moveTo>
                <a:lnTo>
                  <a:pt x="2121011" y="953848"/>
                </a:lnTo>
                <a:cubicBezTo>
                  <a:pt x="2122833" y="952026"/>
                  <a:pt x="2122833" y="952026"/>
                  <a:pt x="2122833" y="950204"/>
                </a:cubicBezTo>
                <a:cubicBezTo>
                  <a:pt x="2122833" y="946560"/>
                  <a:pt x="2119189" y="946560"/>
                  <a:pt x="2113722" y="944738"/>
                </a:cubicBezTo>
                <a:close/>
                <a:moveTo>
                  <a:pt x="1193525" y="944738"/>
                </a:moveTo>
                <a:cubicBezTo>
                  <a:pt x="1188058" y="946560"/>
                  <a:pt x="1193525" y="950204"/>
                  <a:pt x="1197169" y="950204"/>
                </a:cubicBezTo>
                <a:cubicBezTo>
                  <a:pt x="1197169" y="948383"/>
                  <a:pt x="1193525" y="946560"/>
                  <a:pt x="1193525" y="944738"/>
                </a:cubicBezTo>
                <a:close/>
                <a:moveTo>
                  <a:pt x="1118815" y="944738"/>
                </a:moveTo>
                <a:cubicBezTo>
                  <a:pt x="1115171" y="948383"/>
                  <a:pt x="1115171" y="948383"/>
                  <a:pt x="1111526" y="952026"/>
                </a:cubicBezTo>
                <a:cubicBezTo>
                  <a:pt x="1115171" y="952026"/>
                  <a:pt x="1120637" y="952026"/>
                  <a:pt x="1122459" y="952026"/>
                </a:cubicBezTo>
                <a:cubicBezTo>
                  <a:pt x="1124282" y="950204"/>
                  <a:pt x="1120637" y="946560"/>
                  <a:pt x="1118815" y="944738"/>
                </a:cubicBezTo>
                <a:close/>
                <a:moveTo>
                  <a:pt x="963930" y="944738"/>
                </a:moveTo>
                <a:lnTo>
                  <a:pt x="965546" y="948774"/>
                </a:lnTo>
                <a:lnTo>
                  <a:pt x="961880" y="955671"/>
                </a:lnTo>
                <a:cubicBezTo>
                  <a:pt x="960741" y="957949"/>
                  <a:pt x="960286" y="960227"/>
                  <a:pt x="962108" y="962960"/>
                </a:cubicBezTo>
                <a:cubicBezTo>
                  <a:pt x="962108" y="968427"/>
                  <a:pt x="960286" y="973893"/>
                  <a:pt x="965753" y="979360"/>
                </a:cubicBezTo>
                <a:cubicBezTo>
                  <a:pt x="965753" y="981182"/>
                  <a:pt x="963930" y="979360"/>
                  <a:pt x="963930" y="979360"/>
                </a:cubicBezTo>
                <a:cubicBezTo>
                  <a:pt x="967575" y="986649"/>
                  <a:pt x="967575" y="993937"/>
                  <a:pt x="973041" y="1001226"/>
                </a:cubicBezTo>
                <a:cubicBezTo>
                  <a:pt x="974863" y="995759"/>
                  <a:pt x="971219" y="990293"/>
                  <a:pt x="967575" y="983004"/>
                </a:cubicBezTo>
                <a:cubicBezTo>
                  <a:pt x="967575" y="983004"/>
                  <a:pt x="971219" y="983004"/>
                  <a:pt x="969397" y="984826"/>
                </a:cubicBezTo>
                <a:cubicBezTo>
                  <a:pt x="971219" y="983004"/>
                  <a:pt x="969397" y="975715"/>
                  <a:pt x="971219" y="972071"/>
                </a:cubicBezTo>
                <a:cubicBezTo>
                  <a:pt x="973041" y="975715"/>
                  <a:pt x="971219" y="981182"/>
                  <a:pt x="974863" y="983004"/>
                </a:cubicBezTo>
                <a:cubicBezTo>
                  <a:pt x="971219" y="988471"/>
                  <a:pt x="974863" y="993937"/>
                  <a:pt x="974863" y="999403"/>
                </a:cubicBezTo>
                <a:cubicBezTo>
                  <a:pt x="978508" y="999403"/>
                  <a:pt x="980330" y="988471"/>
                  <a:pt x="974863" y="983004"/>
                </a:cubicBezTo>
                <a:cubicBezTo>
                  <a:pt x="976686" y="977538"/>
                  <a:pt x="974863" y="973893"/>
                  <a:pt x="973041" y="968427"/>
                </a:cubicBezTo>
                <a:cubicBezTo>
                  <a:pt x="973041" y="968427"/>
                  <a:pt x="971219" y="970249"/>
                  <a:pt x="971219" y="970249"/>
                </a:cubicBezTo>
                <a:cubicBezTo>
                  <a:pt x="971219" y="966604"/>
                  <a:pt x="971219" y="964782"/>
                  <a:pt x="969397" y="962960"/>
                </a:cubicBezTo>
                <a:cubicBezTo>
                  <a:pt x="967575" y="961138"/>
                  <a:pt x="971219" y="961138"/>
                  <a:pt x="971219" y="959316"/>
                </a:cubicBezTo>
                <a:cubicBezTo>
                  <a:pt x="967575" y="957494"/>
                  <a:pt x="971219" y="955672"/>
                  <a:pt x="967575" y="953848"/>
                </a:cubicBezTo>
                <a:lnTo>
                  <a:pt x="965546" y="948774"/>
                </a:lnTo>
                <a:lnTo>
                  <a:pt x="965753" y="948383"/>
                </a:lnTo>
                <a:cubicBezTo>
                  <a:pt x="963930" y="948383"/>
                  <a:pt x="962108" y="946560"/>
                  <a:pt x="963930" y="944738"/>
                </a:cubicBezTo>
                <a:close/>
                <a:moveTo>
                  <a:pt x="821801" y="944738"/>
                </a:moveTo>
                <a:cubicBezTo>
                  <a:pt x="818156" y="946560"/>
                  <a:pt x="825445" y="946560"/>
                  <a:pt x="827267" y="948383"/>
                </a:cubicBezTo>
                <a:cubicBezTo>
                  <a:pt x="827267" y="946560"/>
                  <a:pt x="823623" y="944738"/>
                  <a:pt x="821801" y="944738"/>
                </a:cubicBezTo>
                <a:close/>
                <a:moveTo>
                  <a:pt x="803579" y="944738"/>
                </a:moveTo>
                <a:cubicBezTo>
                  <a:pt x="803579" y="948383"/>
                  <a:pt x="814512" y="952026"/>
                  <a:pt x="818156" y="953848"/>
                </a:cubicBezTo>
                <a:cubicBezTo>
                  <a:pt x="818156" y="952026"/>
                  <a:pt x="816334" y="950204"/>
                  <a:pt x="818156" y="946560"/>
                </a:cubicBezTo>
                <a:cubicBezTo>
                  <a:pt x="816334" y="944738"/>
                  <a:pt x="809046" y="944738"/>
                  <a:pt x="803579" y="944738"/>
                </a:cubicBezTo>
                <a:close/>
                <a:moveTo>
                  <a:pt x="789003" y="944738"/>
                </a:moveTo>
                <a:cubicBezTo>
                  <a:pt x="794468" y="953848"/>
                  <a:pt x="794468" y="959316"/>
                  <a:pt x="801757" y="964782"/>
                </a:cubicBezTo>
                <a:cubicBezTo>
                  <a:pt x="807223" y="972071"/>
                  <a:pt x="816334" y="964782"/>
                  <a:pt x="818156" y="957494"/>
                </a:cubicBezTo>
                <a:cubicBezTo>
                  <a:pt x="818156" y="955672"/>
                  <a:pt x="812690" y="953848"/>
                  <a:pt x="809046" y="955672"/>
                </a:cubicBezTo>
                <a:cubicBezTo>
                  <a:pt x="810868" y="953848"/>
                  <a:pt x="810868" y="953848"/>
                  <a:pt x="810868" y="953848"/>
                </a:cubicBezTo>
                <a:cubicBezTo>
                  <a:pt x="809046" y="952026"/>
                  <a:pt x="807223" y="952026"/>
                  <a:pt x="805401" y="952026"/>
                </a:cubicBezTo>
                <a:cubicBezTo>
                  <a:pt x="801757" y="944738"/>
                  <a:pt x="794468" y="944738"/>
                  <a:pt x="789003" y="944738"/>
                </a:cubicBezTo>
                <a:close/>
                <a:moveTo>
                  <a:pt x="512031" y="944738"/>
                </a:moveTo>
                <a:cubicBezTo>
                  <a:pt x="513853" y="952026"/>
                  <a:pt x="519320" y="952026"/>
                  <a:pt x="524786" y="953848"/>
                </a:cubicBezTo>
                <a:cubicBezTo>
                  <a:pt x="521142" y="952026"/>
                  <a:pt x="515676" y="946560"/>
                  <a:pt x="512031" y="944738"/>
                </a:cubicBezTo>
                <a:close/>
                <a:moveTo>
                  <a:pt x="371724" y="944738"/>
                </a:moveTo>
                <a:cubicBezTo>
                  <a:pt x="375368" y="952026"/>
                  <a:pt x="382657" y="952026"/>
                  <a:pt x="388123" y="953848"/>
                </a:cubicBezTo>
                <a:cubicBezTo>
                  <a:pt x="384479" y="948383"/>
                  <a:pt x="377190" y="946560"/>
                  <a:pt x="371724" y="944738"/>
                </a:cubicBezTo>
                <a:close/>
                <a:moveTo>
                  <a:pt x="317059" y="944738"/>
                </a:moveTo>
                <a:cubicBezTo>
                  <a:pt x="317970" y="946560"/>
                  <a:pt x="319792" y="948838"/>
                  <a:pt x="321842" y="950204"/>
                </a:cubicBezTo>
                <a:lnTo>
                  <a:pt x="326169" y="950204"/>
                </a:lnTo>
                <a:lnTo>
                  <a:pt x="327993" y="950204"/>
                </a:lnTo>
                <a:cubicBezTo>
                  <a:pt x="329814" y="952026"/>
                  <a:pt x="331636" y="950204"/>
                  <a:pt x="333458" y="948383"/>
                </a:cubicBezTo>
                <a:cubicBezTo>
                  <a:pt x="329814" y="946560"/>
                  <a:pt x="327993" y="946560"/>
                  <a:pt x="326169" y="944738"/>
                </a:cubicBezTo>
                <a:lnTo>
                  <a:pt x="326169" y="950204"/>
                </a:lnTo>
                <a:lnTo>
                  <a:pt x="322525" y="944738"/>
                </a:lnTo>
                <a:cubicBezTo>
                  <a:pt x="320703" y="946560"/>
                  <a:pt x="317059" y="942916"/>
                  <a:pt x="317059" y="944738"/>
                </a:cubicBezTo>
                <a:close/>
                <a:moveTo>
                  <a:pt x="304303" y="944738"/>
                </a:moveTo>
                <a:lnTo>
                  <a:pt x="304970" y="945627"/>
                </a:lnTo>
                <a:lnTo>
                  <a:pt x="304366" y="945139"/>
                </a:lnTo>
                <a:close/>
                <a:moveTo>
                  <a:pt x="273327" y="944738"/>
                </a:moveTo>
                <a:cubicBezTo>
                  <a:pt x="278793" y="948383"/>
                  <a:pt x="278793" y="953848"/>
                  <a:pt x="282438" y="953848"/>
                </a:cubicBezTo>
                <a:cubicBezTo>
                  <a:pt x="278793" y="948383"/>
                  <a:pt x="278793" y="946560"/>
                  <a:pt x="273327" y="944738"/>
                </a:cubicBezTo>
                <a:close/>
                <a:moveTo>
                  <a:pt x="253282" y="944738"/>
                </a:moveTo>
                <a:cubicBezTo>
                  <a:pt x="256927" y="953848"/>
                  <a:pt x="266038" y="961138"/>
                  <a:pt x="273327" y="964782"/>
                </a:cubicBezTo>
                <a:cubicBezTo>
                  <a:pt x="267860" y="957494"/>
                  <a:pt x="260571" y="946560"/>
                  <a:pt x="253282" y="944738"/>
                </a:cubicBezTo>
                <a:close/>
                <a:moveTo>
                  <a:pt x="760705" y="943988"/>
                </a:moveTo>
                <a:lnTo>
                  <a:pt x="756203" y="946560"/>
                </a:lnTo>
                <a:lnTo>
                  <a:pt x="755291" y="945405"/>
                </a:lnTo>
                <a:close/>
                <a:moveTo>
                  <a:pt x="2656730" y="942916"/>
                </a:moveTo>
                <a:cubicBezTo>
                  <a:pt x="2656730" y="944738"/>
                  <a:pt x="2658552" y="944738"/>
                  <a:pt x="2658552" y="946560"/>
                </a:cubicBezTo>
                <a:cubicBezTo>
                  <a:pt x="2656730" y="953848"/>
                  <a:pt x="2654908" y="959316"/>
                  <a:pt x="2660374" y="966604"/>
                </a:cubicBezTo>
                <a:cubicBezTo>
                  <a:pt x="2658552" y="966604"/>
                  <a:pt x="2658552" y="966604"/>
                  <a:pt x="2656730" y="968427"/>
                </a:cubicBezTo>
                <a:cubicBezTo>
                  <a:pt x="2656730" y="962960"/>
                  <a:pt x="2653086" y="955672"/>
                  <a:pt x="2654908" y="948383"/>
                </a:cubicBezTo>
                <a:cubicBezTo>
                  <a:pt x="2654908" y="946560"/>
                  <a:pt x="2653086" y="946560"/>
                  <a:pt x="2651263" y="948383"/>
                </a:cubicBezTo>
                <a:cubicBezTo>
                  <a:pt x="2649441" y="952026"/>
                  <a:pt x="2647619" y="955672"/>
                  <a:pt x="2649441" y="959316"/>
                </a:cubicBezTo>
                <a:cubicBezTo>
                  <a:pt x="2649441" y="959316"/>
                  <a:pt x="2645797" y="959316"/>
                  <a:pt x="2645797" y="957494"/>
                </a:cubicBezTo>
                <a:cubicBezTo>
                  <a:pt x="2636686" y="977538"/>
                  <a:pt x="2643975" y="1003047"/>
                  <a:pt x="2656730" y="1017625"/>
                </a:cubicBezTo>
                <a:cubicBezTo>
                  <a:pt x="2654908" y="1019448"/>
                  <a:pt x="2653086" y="1019448"/>
                  <a:pt x="2651263" y="1019448"/>
                </a:cubicBezTo>
                <a:cubicBezTo>
                  <a:pt x="2651263" y="1028559"/>
                  <a:pt x="2658552" y="1043136"/>
                  <a:pt x="2671307" y="1039492"/>
                </a:cubicBezTo>
                <a:cubicBezTo>
                  <a:pt x="2673130" y="1039492"/>
                  <a:pt x="2669485" y="1034025"/>
                  <a:pt x="2667663" y="1030381"/>
                </a:cubicBezTo>
                <a:cubicBezTo>
                  <a:pt x="2682240" y="1032203"/>
                  <a:pt x="2674952" y="1041314"/>
                  <a:pt x="2680418" y="1052247"/>
                </a:cubicBezTo>
                <a:cubicBezTo>
                  <a:pt x="2680418" y="1050425"/>
                  <a:pt x="2680418" y="1048602"/>
                  <a:pt x="2680418" y="1046780"/>
                </a:cubicBezTo>
                <a:cubicBezTo>
                  <a:pt x="2682240" y="1046780"/>
                  <a:pt x="2689529" y="1054069"/>
                  <a:pt x="2682240" y="1055891"/>
                </a:cubicBezTo>
                <a:cubicBezTo>
                  <a:pt x="2680418" y="1055891"/>
                  <a:pt x="2678596" y="1054069"/>
                  <a:pt x="2676774" y="1054069"/>
                </a:cubicBezTo>
                <a:cubicBezTo>
                  <a:pt x="2676774" y="1057713"/>
                  <a:pt x="2678596" y="1063180"/>
                  <a:pt x="2674952" y="1061358"/>
                </a:cubicBezTo>
                <a:cubicBezTo>
                  <a:pt x="2669485" y="1059535"/>
                  <a:pt x="2676774" y="1048602"/>
                  <a:pt x="2667663" y="1046780"/>
                </a:cubicBezTo>
                <a:cubicBezTo>
                  <a:pt x="2667663" y="1048602"/>
                  <a:pt x="2667663" y="1052247"/>
                  <a:pt x="2669485" y="1054069"/>
                </a:cubicBezTo>
                <a:cubicBezTo>
                  <a:pt x="2665841" y="1054069"/>
                  <a:pt x="2662197" y="1050425"/>
                  <a:pt x="2662197" y="1052247"/>
                </a:cubicBezTo>
                <a:cubicBezTo>
                  <a:pt x="2662197" y="1055891"/>
                  <a:pt x="2664019" y="1059535"/>
                  <a:pt x="2664019" y="1063180"/>
                </a:cubicBezTo>
                <a:cubicBezTo>
                  <a:pt x="2660374" y="1061358"/>
                  <a:pt x="2660374" y="1055891"/>
                  <a:pt x="2656730" y="1057713"/>
                </a:cubicBezTo>
                <a:cubicBezTo>
                  <a:pt x="2654908" y="1059535"/>
                  <a:pt x="2656730" y="1065002"/>
                  <a:pt x="2658552" y="1066824"/>
                </a:cubicBezTo>
                <a:cubicBezTo>
                  <a:pt x="2653086" y="1068646"/>
                  <a:pt x="2653086" y="1061358"/>
                  <a:pt x="2651263" y="1061358"/>
                </a:cubicBezTo>
                <a:cubicBezTo>
                  <a:pt x="2640330" y="1066824"/>
                  <a:pt x="2633042" y="1070469"/>
                  <a:pt x="2629397" y="1081402"/>
                </a:cubicBezTo>
                <a:cubicBezTo>
                  <a:pt x="2629397" y="1081402"/>
                  <a:pt x="2625753" y="1079579"/>
                  <a:pt x="2625753" y="1077757"/>
                </a:cubicBezTo>
                <a:cubicBezTo>
                  <a:pt x="2614820" y="1085046"/>
                  <a:pt x="2603887" y="1095979"/>
                  <a:pt x="2592954" y="1106912"/>
                </a:cubicBezTo>
                <a:cubicBezTo>
                  <a:pt x="2592954" y="1117845"/>
                  <a:pt x="2598421" y="1123312"/>
                  <a:pt x="2600243" y="1130600"/>
                </a:cubicBezTo>
                <a:cubicBezTo>
                  <a:pt x="2602065" y="1130600"/>
                  <a:pt x="2605709" y="1130600"/>
                  <a:pt x="2607531" y="1128778"/>
                </a:cubicBezTo>
                <a:cubicBezTo>
                  <a:pt x="2607531" y="1130600"/>
                  <a:pt x="2607531" y="1134245"/>
                  <a:pt x="2607531" y="1136067"/>
                </a:cubicBezTo>
                <a:cubicBezTo>
                  <a:pt x="2616642" y="1137889"/>
                  <a:pt x="2622109" y="1143355"/>
                  <a:pt x="2627575" y="1147000"/>
                </a:cubicBezTo>
                <a:cubicBezTo>
                  <a:pt x="2638508" y="1145178"/>
                  <a:pt x="2649441" y="1147000"/>
                  <a:pt x="2654908" y="1136067"/>
                </a:cubicBezTo>
                <a:cubicBezTo>
                  <a:pt x="2660374" y="1137889"/>
                  <a:pt x="2660374" y="1139711"/>
                  <a:pt x="2665841" y="1137889"/>
                </a:cubicBezTo>
                <a:cubicBezTo>
                  <a:pt x="2667663" y="1143355"/>
                  <a:pt x="2662197" y="1141533"/>
                  <a:pt x="2664019" y="1145178"/>
                </a:cubicBezTo>
                <a:cubicBezTo>
                  <a:pt x="2667663" y="1145178"/>
                  <a:pt x="2671307" y="1148822"/>
                  <a:pt x="2671307" y="1152466"/>
                </a:cubicBezTo>
                <a:cubicBezTo>
                  <a:pt x="2680418" y="1148822"/>
                  <a:pt x="2687707" y="1150644"/>
                  <a:pt x="2696818" y="1154288"/>
                </a:cubicBezTo>
                <a:cubicBezTo>
                  <a:pt x="2696818" y="1154288"/>
                  <a:pt x="2696818" y="1156111"/>
                  <a:pt x="2694996" y="1156111"/>
                </a:cubicBezTo>
                <a:cubicBezTo>
                  <a:pt x="2696818" y="1157933"/>
                  <a:pt x="2702284" y="1156111"/>
                  <a:pt x="2705929" y="1157933"/>
                </a:cubicBezTo>
                <a:cubicBezTo>
                  <a:pt x="2705929" y="1150644"/>
                  <a:pt x="2705929" y="1147000"/>
                  <a:pt x="2698640" y="1143355"/>
                </a:cubicBezTo>
                <a:cubicBezTo>
                  <a:pt x="2704106" y="1136067"/>
                  <a:pt x="2707751" y="1147000"/>
                  <a:pt x="2709573" y="1141533"/>
                </a:cubicBezTo>
                <a:cubicBezTo>
                  <a:pt x="2713217" y="1148822"/>
                  <a:pt x="2713217" y="1159755"/>
                  <a:pt x="2720506" y="1165222"/>
                </a:cubicBezTo>
                <a:cubicBezTo>
                  <a:pt x="2724150" y="1163399"/>
                  <a:pt x="2718684" y="1161577"/>
                  <a:pt x="2722328" y="1159755"/>
                </a:cubicBezTo>
                <a:cubicBezTo>
                  <a:pt x="2725973" y="1161577"/>
                  <a:pt x="2731439" y="1167044"/>
                  <a:pt x="2731439" y="1159755"/>
                </a:cubicBezTo>
                <a:cubicBezTo>
                  <a:pt x="2733261" y="1161577"/>
                  <a:pt x="2733261" y="1163399"/>
                  <a:pt x="2733261" y="1165222"/>
                </a:cubicBezTo>
                <a:cubicBezTo>
                  <a:pt x="2740550" y="1167044"/>
                  <a:pt x="2746016" y="1163399"/>
                  <a:pt x="2746016" y="1157933"/>
                </a:cubicBezTo>
                <a:cubicBezTo>
                  <a:pt x="2749661" y="1163399"/>
                  <a:pt x="2753305" y="1168866"/>
                  <a:pt x="2758772" y="1172510"/>
                </a:cubicBezTo>
                <a:cubicBezTo>
                  <a:pt x="2758772" y="1163399"/>
                  <a:pt x="2762416" y="1150644"/>
                  <a:pt x="2756950" y="1147000"/>
                </a:cubicBezTo>
                <a:cubicBezTo>
                  <a:pt x="2756950" y="1145178"/>
                  <a:pt x="2760594" y="1145178"/>
                  <a:pt x="2762416" y="1145178"/>
                </a:cubicBezTo>
                <a:cubicBezTo>
                  <a:pt x="2764238" y="1141533"/>
                  <a:pt x="2756950" y="1141533"/>
                  <a:pt x="2760594" y="1137889"/>
                </a:cubicBezTo>
                <a:cubicBezTo>
                  <a:pt x="2764238" y="1141533"/>
                  <a:pt x="2766060" y="1147000"/>
                  <a:pt x="2773349" y="1147000"/>
                </a:cubicBezTo>
                <a:cubicBezTo>
                  <a:pt x="2776993" y="1141533"/>
                  <a:pt x="2775171" y="1137889"/>
                  <a:pt x="2773349" y="1132422"/>
                </a:cubicBezTo>
                <a:cubicBezTo>
                  <a:pt x="2769705" y="1132422"/>
                  <a:pt x="2764238" y="1132422"/>
                  <a:pt x="2762416" y="1130600"/>
                </a:cubicBezTo>
                <a:cubicBezTo>
                  <a:pt x="2775171" y="1128778"/>
                  <a:pt x="2791571" y="1125134"/>
                  <a:pt x="2786104" y="1108734"/>
                </a:cubicBezTo>
                <a:cubicBezTo>
                  <a:pt x="2793393" y="1108734"/>
                  <a:pt x="2787927" y="1117845"/>
                  <a:pt x="2789749" y="1116023"/>
                </a:cubicBezTo>
                <a:cubicBezTo>
                  <a:pt x="2795216" y="1112378"/>
                  <a:pt x="2798405" y="1105090"/>
                  <a:pt x="2802049" y="1097801"/>
                </a:cubicBezTo>
                <a:lnTo>
                  <a:pt x="2810650" y="1087375"/>
                </a:lnTo>
                <a:lnTo>
                  <a:pt x="2811615" y="1090512"/>
                </a:lnTo>
                <a:cubicBezTo>
                  <a:pt x="2814348" y="1089601"/>
                  <a:pt x="2815715" y="1088234"/>
                  <a:pt x="2815942" y="1086640"/>
                </a:cubicBezTo>
                <a:lnTo>
                  <a:pt x="2814223" y="1083044"/>
                </a:lnTo>
                <a:lnTo>
                  <a:pt x="2817081" y="1079579"/>
                </a:lnTo>
                <a:cubicBezTo>
                  <a:pt x="2807971" y="1066824"/>
                  <a:pt x="2807971" y="1057713"/>
                  <a:pt x="2797037" y="1046780"/>
                </a:cubicBezTo>
                <a:cubicBezTo>
                  <a:pt x="2800682" y="1046780"/>
                  <a:pt x="2800682" y="1054069"/>
                  <a:pt x="2806148" y="1052247"/>
                </a:cubicBezTo>
                <a:cubicBezTo>
                  <a:pt x="2800682" y="1043136"/>
                  <a:pt x="2787927" y="1028559"/>
                  <a:pt x="2776993" y="1035847"/>
                </a:cubicBezTo>
                <a:cubicBezTo>
                  <a:pt x="2773349" y="1037669"/>
                  <a:pt x="2774260" y="1041769"/>
                  <a:pt x="2775172" y="1045869"/>
                </a:cubicBezTo>
                <a:lnTo>
                  <a:pt x="2774134" y="1051578"/>
                </a:lnTo>
                <a:lnTo>
                  <a:pt x="2771755" y="1045869"/>
                </a:lnTo>
                <a:cubicBezTo>
                  <a:pt x="2770161" y="1043591"/>
                  <a:pt x="2767883" y="1042225"/>
                  <a:pt x="2764238" y="1043136"/>
                </a:cubicBezTo>
                <a:cubicBezTo>
                  <a:pt x="2760594" y="1043136"/>
                  <a:pt x="2758772" y="1046780"/>
                  <a:pt x="2756950" y="1050425"/>
                </a:cubicBezTo>
                <a:cubicBezTo>
                  <a:pt x="2747839" y="1043136"/>
                  <a:pt x="2738728" y="1052247"/>
                  <a:pt x="2731439" y="1055891"/>
                </a:cubicBezTo>
                <a:cubicBezTo>
                  <a:pt x="2731439" y="1050425"/>
                  <a:pt x="2733261" y="1048602"/>
                  <a:pt x="2735084" y="1048602"/>
                </a:cubicBezTo>
                <a:cubicBezTo>
                  <a:pt x="2751483" y="1044958"/>
                  <a:pt x="2766060" y="1037669"/>
                  <a:pt x="2778816" y="1028559"/>
                </a:cubicBezTo>
                <a:cubicBezTo>
                  <a:pt x="2760594" y="1001226"/>
                  <a:pt x="2742372" y="975715"/>
                  <a:pt x="2718684" y="955672"/>
                </a:cubicBezTo>
                <a:cubicBezTo>
                  <a:pt x="2720506" y="959316"/>
                  <a:pt x="2718684" y="962960"/>
                  <a:pt x="2716862" y="964782"/>
                </a:cubicBezTo>
                <a:cubicBezTo>
                  <a:pt x="2716862" y="959316"/>
                  <a:pt x="2713217" y="955672"/>
                  <a:pt x="2705929" y="957494"/>
                </a:cubicBezTo>
                <a:cubicBezTo>
                  <a:pt x="2702284" y="957494"/>
                  <a:pt x="2704106" y="962960"/>
                  <a:pt x="2704106" y="966604"/>
                </a:cubicBezTo>
                <a:cubicBezTo>
                  <a:pt x="2694996" y="961138"/>
                  <a:pt x="2700462" y="946560"/>
                  <a:pt x="2693174" y="942916"/>
                </a:cubicBezTo>
                <a:cubicBezTo>
                  <a:pt x="2689529" y="941094"/>
                  <a:pt x="2689529" y="948383"/>
                  <a:pt x="2687707" y="950204"/>
                </a:cubicBezTo>
                <a:cubicBezTo>
                  <a:pt x="2693174" y="948383"/>
                  <a:pt x="2700462" y="959316"/>
                  <a:pt x="2693174" y="961138"/>
                </a:cubicBezTo>
                <a:cubicBezTo>
                  <a:pt x="2687707" y="961138"/>
                  <a:pt x="2680418" y="961138"/>
                  <a:pt x="2678596" y="961138"/>
                </a:cubicBezTo>
                <a:cubicBezTo>
                  <a:pt x="2678596" y="962960"/>
                  <a:pt x="2678596" y="964782"/>
                  <a:pt x="2678596" y="966604"/>
                </a:cubicBezTo>
                <a:cubicBezTo>
                  <a:pt x="2676774" y="966604"/>
                  <a:pt x="2673130" y="966604"/>
                  <a:pt x="2671307" y="964782"/>
                </a:cubicBezTo>
                <a:cubicBezTo>
                  <a:pt x="2664019" y="955672"/>
                  <a:pt x="2669485" y="944738"/>
                  <a:pt x="2656730" y="942916"/>
                </a:cubicBezTo>
                <a:close/>
                <a:moveTo>
                  <a:pt x="1204457" y="942916"/>
                </a:moveTo>
                <a:lnTo>
                  <a:pt x="1202636" y="944738"/>
                </a:lnTo>
                <a:lnTo>
                  <a:pt x="1200814" y="944738"/>
                </a:lnTo>
                <a:cubicBezTo>
                  <a:pt x="1204457" y="944738"/>
                  <a:pt x="1202636" y="942916"/>
                  <a:pt x="1204457" y="942916"/>
                </a:cubicBezTo>
                <a:close/>
                <a:moveTo>
                  <a:pt x="1204457" y="942916"/>
                </a:moveTo>
                <a:cubicBezTo>
                  <a:pt x="1200814" y="942916"/>
                  <a:pt x="1198991" y="942916"/>
                  <a:pt x="1197169" y="944738"/>
                </a:cubicBezTo>
                <a:cubicBezTo>
                  <a:pt x="1197169" y="944738"/>
                  <a:pt x="1197169" y="946560"/>
                  <a:pt x="1198991" y="948383"/>
                </a:cubicBezTo>
                <a:cubicBezTo>
                  <a:pt x="1200814" y="947472"/>
                  <a:pt x="1201268" y="946560"/>
                  <a:pt x="1201724" y="945649"/>
                </a:cubicBezTo>
                <a:lnTo>
                  <a:pt x="1202636" y="944738"/>
                </a:lnTo>
                <a:lnTo>
                  <a:pt x="1209925" y="944738"/>
                </a:lnTo>
                <a:cubicBezTo>
                  <a:pt x="1208102" y="942916"/>
                  <a:pt x="1206279" y="946560"/>
                  <a:pt x="1204457" y="942916"/>
                </a:cubicBezTo>
                <a:close/>
                <a:moveTo>
                  <a:pt x="849133" y="942916"/>
                </a:moveTo>
                <a:cubicBezTo>
                  <a:pt x="847311" y="944738"/>
                  <a:pt x="852778" y="948383"/>
                  <a:pt x="852778" y="944738"/>
                </a:cubicBezTo>
                <a:cubicBezTo>
                  <a:pt x="850956" y="942916"/>
                  <a:pt x="850956" y="944738"/>
                  <a:pt x="849133" y="942916"/>
                </a:cubicBezTo>
                <a:close/>
                <a:moveTo>
                  <a:pt x="840022" y="942916"/>
                </a:moveTo>
                <a:cubicBezTo>
                  <a:pt x="840933" y="944738"/>
                  <a:pt x="842757" y="945194"/>
                  <a:pt x="844351" y="945649"/>
                </a:cubicBezTo>
                <a:lnTo>
                  <a:pt x="844944" y="946197"/>
                </a:lnTo>
                <a:close/>
                <a:moveTo>
                  <a:pt x="674205" y="942916"/>
                </a:moveTo>
                <a:cubicBezTo>
                  <a:pt x="674205" y="944738"/>
                  <a:pt x="674205" y="944738"/>
                  <a:pt x="677849" y="946560"/>
                </a:cubicBezTo>
                <a:cubicBezTo>
                  <a:pt x="681493" y="944738"/>
                  <a:pt x="676027" y="942916"/>
                  <a:pt x="674205" y="942916"/>
                </a:cubicBezTo>
                <a:close/>
                <a:moveTo>
                  <a:pt x="670560" y="942916"/>
                </a:moveTo>
                <a:cubicBezTo>
                  <a:pt x="666916" y="946560"/>
                  <a:pt x="663272" y="952026"/>
                  <a:pt x="670560" y="953848"/>
                </a:cubicBezTo>
                <a:cubicBezTo>
                  <a:pt x="670560" y="950204"/>
                  <a:pt x="668738" y="946560"/>
                  <a:pt x="670560" y="942916"/>
                </a:cubicBezTo>
                <a:close/>
                <a:moveTo>
                  <a:pt x="548475" y="942916"/>
                </a:moveTo>
                <a:cubicBezTo>
                  <a:pt x="548475" y="944738"/>
                  <a:pt x="553941" y="948383"/>
                  <a:pt x="553941" y="946560"/>
                </a:cubicBezTo>
                <a:cubicBezTo>
                  <a:pt x="552119" y="946560"/>
                  <a:pt x="552119" y="944738"/>
                  <a:pt x="548475" y="942916"/>
                </a:cubicBezTo>
                <a:close/>
                <a:moveTo>
                  <a:pt x="502920" y="942916"/>
                </a:moveTo>
                <a:cubicBezTo>
                  <a:pt x="506565" y="946560"/>
                  <a:pt x="506565" y="948383"/>
                  <a:pt x="512031" y="950204"/>
                </a:cubicBezTo>
                <a:cubicBezTo>
                  <a:pt x="513853" y="948383"/>
                  <a:pt x="512031" y="944738"/>
                  <a:pt x="510209" y="942916"/>
                </a:cubicBezTo>
                <a:cubicBezTo>
                  <a:pt x="506565" y="941094"/>
                  <a:pt x="504743" y="941094"/>
                  <a:pt x="502920" y="942916"/>
                </a:cubicBezTo>
                <a:close/>
                <a:moveTo>
                  <a:pt x="497454" y="942916"/>
                </a:moveTo>
                <a:cubicBezTo>
                  <a:pt x="495632" y="944738"/>
                  <a:pt x="493809" y="944738"/>
                  <a:pt x="495632" y="946560"/>
                </a:cubicBezTo>
                <a:cubicBezTo>
                  <a:pt x="497454" y="948383"/>
                  <a:pt x="499276" y="946560"/>
                  <a:pt x="502920" y="948383"/>
                </a:cubicBezTo>
                <a:cubicBezTo>
                  <a:pt x="502920" y="946560"/>
                  <a:pt x="499276" y="944738"/>
                  <a:pt x="497454" y="942916"/>
                </a:cubicBezTo>
                <a:close/>
                <a:moveTo>
                  <a:pt x="402701" y="942916"/>
                </a:moveTo>
                <a:cubicBezTo>
                  <a:pt x="404523" y="944738"/>
                  <a:pt x="408167" y="946560"/>
                  <a:pt x="409989" y="946560"/>
                </a:cubicBezTo>
                <a:cubicBezTo>
                  <a:pt x="409989" y="942916"/>
                  <a:pt x="404523" y="944738"/>
                  <a:pt x="402701" y="942916"/>
                </a:cubicBezTo>
                <a:close/>
                <a:moveTo>
                  <a:pt x="397234" y="942916"/>
                </a:moveTo>
                <a:cubicBezTo>
                  <a:pt x="395412" y="944738"/>
                  <a:pt x="395412" y="944738"/>
                  <a:pt x="395412" y="946560"/>
                </a:cubicBezTo>
                <a:cubicBezTo>
                  <a:pt x="397234" y="948383"/>
                  <a:pt x="399056" y="948383"/>
                  <a:pt x="400879" y="946560"/>
                </a:cubicBezTo>
                <a:cubicBezTo>
                  <a:pt x="400879" y="944738"/>
                  <a:pt x="399056" y="944738"/>
                  <a:pt x="397234" y="942916"/>
                </a:cubicBezTo>
                <a:close/>
                <a:moveTo>
                  <a:pt x="762756" y="942816"/>
                </a:moveTo>
                <a:lnTo>
                  <a:pt x="761754" y="943713"/>
                </a:lnTo>
                <a:lnTo>
                  <a:pt x="760705" y="943988"/>
                </a:lnTo>
                <a:close/>
                <a:moveTo>
                  <a:pt x="1216529" y="942005"/>
                </a:moveTo>
                <a:cubicBezTo>
                  <a:pt x="1214479" y="942916"/>
                  <a:pt x="1212657" y="944738"/>
                  <a:pt x="1211747" y="946560"/>
                </a:cubicBezTo>
                <a:cubicBezTo>
                  <a:pt x="1211747" y="948383"/>
                  <a:pt x="1213568" y="948383"/>
                  <a:pt x="1215390" y="950204"/>
                </a:cubicBezTo>
                <a:lnTo>
                  <a:pt x="1212266" y="950204"/>
                </a:lnTo>
                <a:lnTo>
                  <a:pt x="1209925" y="948383"/>
                </a:lnTo>
                <a:cubicBezTo>
                  <a:pt x="1206279" y="948383"/>
                  <a:pt x="1204457" y="948383"/>
                  <a:pt x="1200814" y="950204"/>
                </a:cubicBezTo>
                <a:cubicBezTo>
                  <a:pt x="1204457" y="959316"/>
                  <a:pt x="1211747" y="959316"/>
                  <a:pt x="1219036" y="961138"/>
                </a:cubicBezTo>
                <a:cubicBezTo>
                  <a:pt x="1219036" y="959316"/>
                  <a:pt x="1220858" y="959316"/>
                  <a:pt x="1220858" y="957494"/>
                </a:cubicBezTo>
                <a:cubicBezTo>
                  <a:pt x="1222679" y="959316"/>
                  <a:pt x="1220858" y="959316"/>
                  <a:pt x="1222679" y="961138"/>
                </a:cubicBezTo>
                <a:cubicBezTo>
                  <a:pt x="1229969" y="961138"/>
                  <a:pt x="1239080" y="959316"/>
                  <a:pt x="1244545" y="957494"/>
                </a:cubicBezTo>
                <a:cubicBezTo>
                  <a:pt x="1244545" y="953848"/>
                  <a:pt x="1244545" y="950204"/>
                  <a:pt x="1240901" y="946560"/>
                </a:cubicBezTo>
                <a:cubicBezTo>
                  <a:pt x="1240901" y="946560"/>
                  <a:pt x="1224501" y="942916"/>
                  <a:pt x="1224501" y="942916"/>
                </a:cubicBezTo>
                <a:cubicBezTo>
                  <a:pt x="1220858" y="942916"/>
                  <a:pt x="1219036" y="946560"/>
                  <a:pt x="1220858" y="950204"/>
                </a:cubicBezTo>
                <a:cubicBezTo>
                  <a:pt x="1220858" y="950204"/>
                  <a:pt x="1222679" y="948383"/>
                  <a:pt x="1224501" y="948383"/>
                </a:cubicBezTo>
                <a:cubicBezTo>
                  <a:pt x="1226323" y="948383"/>
                  <a:pt x="1222679" y="952026"/>
                  <a:pt x="1226323" y="950204"/>
                </a:cubicBezTo>
                <a:cubicBezTo>
                  <a:pt x="1224501" y="952938"/>
                  <a:pt x="1221312" y="954760"/>
                  <a:pt x="1218123" y="954760"/>
                </a:cubicBezTo>
                <a:lnTo>
                  <a:pt x="1216625" y="953595"/>
                </a:lnTo>
                <a:lnTo>
                  <a:pt x="1219036" y="953848"/>
                </a:lnTo>
                <a:cubicBezTo>
                  <a:pt x="1220858" y="952026"/>
                  <a:pt x="1220858" y="952026"/>
                  <a:pt x="1219036" y="950204"/>
                </a:cubicBezTo>
                <a:lnTo>
                  <a:pt x="1215390" y="950204"/>
                </a:lnTo>
                <a:cubicBezTo>
                  <a:pt x="1219036" y="948383"/>
                  <a:pt x="1219036" y="946560"/>
                  <a:pt x="1222679" y="942916"/>
                </a:cubicBezTo>
                <a:cubicBezTo>
                  <a:pt x="1220858" y="941094"/>
                  <a:pt x="1218579" y="941094"/>
                  <a:pt x="1216529" y="942005"/>
                </a:cubicBezTo>
                <a:close/>
                <a:moveTo>
                  <a:pt x="2735084" y="941094"/>
                </a:moveTo>
                <a:cubicBezTo>
                  <a:pt x="2736906" y="946560"/>
                  <a:pt x="2742372" y="946560"/>
                  <a:pt x="2744194" y="952026"/>
                </a:cubicBezTo>
                <a:cubicBezTo>
                  <a:pt x="2747839" y="953848"/>
                  <a:pt x="2746016" y="944738"/>
                  <a:pt x="2744194" y="942916"/>
                </a:cubicBezTo>
                <a:cubicBezTo>
                  <a:pt x="2740550" y="944738"/>
                  <a:pt x="2738728" y="942916"/>
                  <a:pt x="2735084" y="941094"/>
                </a:cubicBezTo>
                <a:close/>
                <a:moveTo>
                  <a:pt x="2472690" y="941094"/>
                </a:moveTo>
                <a:cubicBezTo>
                  <a:pt x="2463580" y="942916"/>
                  <a:pt x="2469046" y="948383"/>
                  <a:pt x="2467224" y="948383"/>
                </a:cubicBezTo>
                <a:cubicBezTo>
                  <a:pt x="2465402" y="950204"/>
                  <a:pt x="2459935" y="946560"/>
                  <a:pt x="2456291" y="948383"/>
                </a:cubicBezTo>
                <a:cubicBezTo>
                  <a:pt x="2452647" y="948383"/>
                  <a:pt x="2450824" y="955672"/>
                  <a:pt x="2445358" y="957494"/>
                </a:cubicBezTo>
                <a:cubicBezTo>
                  <a:pt x="2450824" y="959316"/>
                  <a:pt x="2449002" y="970249"/>
                  <a:pt x="2452647" y="972071"/>
                </a:cubicBezTo>
                <a:cubicBezTo>
                  <a:pt x="2465402" y="975715"/>
                  <a:pt x="2481801" y="975715"/>
                  <a:pt x="2478157" y="955672"/>
                </a:cubicBezTo>
                <a:cubicBezTo>
                  <a:pt x="2487268" y="959316"/>
                  <a:pt x="2474513" y="968427"/>
                  <a:pt x="2479979" y="970249"/>
                </a:cubicBezTo>
                <a:cubicBezTo>
                  <a:pt x="2487268" y="970249"/>
                  <a:pt x="2479979" y="959316"/>
                  <a:pt x="2483624" y="955672"/>
                </a:cubicBezTo>
                <a:cubicBezTo>
                  <a:pt x="2476335" y="957494"/>
                  <a:pt x="2474513" y="948383"/>
                  <a:pt x="2472690" y="941094"/>
                </a:cubicBezTo>
                <a:close/>
                <a:moveTo>
                  <a:pt x="1353876" y="941094"/>
                </a:moveTo>
                <a:cubicBezTo>
                  <a:pt x="1350231" y="944738"/>
                  <a:pt x="1344765" y="944738"/>
                  <a:pt x="1342942" y="950204"/>
                </a:cubicBezTo>
                <a:cubicBezTo>
                  <a:pt x="1346587" y="950204"/>
                  <a:pt x="1355698" y="948383"/>
                  <a:pt x="1353876" y="941094"/>
                </a:cubicBezTo>
                <a:close/>
                <a:moveTo>
                  <a:pt x="1324721" y="941094"/>
                </a:moveTo>
                <a:cubicBezTo>
                  <a:pt x="1322899" y="939272"/>
                  <a:pt x="1319254" y="944738"/>
                  <a:pt x="1315610" y="942916"/>
                </a:cubicBezTo>
                <a:cubicBezTo>
                  <a:pt x="1315610" y="946560"/>
                  <a:pt x="1319254" y="942916"/>
                  <a:pt x="1321077" y="944738"/>
                </a:cubicBezTo>
                <a:cubicBezTo>
                  <a:pt x="1322899" y="944738"/>
                  <a:pt x="1322899" y="942916"/>
                  <a:pt x="1324721" y="941094"/>
                </a:cubicBezTo>
                <a:close/>
                <a:moveTo>
                  <a:pt x="876466" y="941094"/>
                </a:moveTo>
                <a:cubicBezTo>
                  <a:pt x="874644" y="941094"/>
                  <a:pt x="872822" y="941094"/>
                  <a:pt x="871000" y="942916"/>
                </a:cubicBezTo>
                <a:cubicBezTo>
                  <a:pt x="872822" y="944738"/>
                  <a:pt x="874644" y="946560"/>
                  <a:pt x="874644" y="948383"/>
                </a:cubicBezTo>
                <a:cubicBezTo>
                  <a:pt x="876466" y="944738"/>
                  <a:pt x="876466" y="942916"/>
                  <a:pt x="876466" y="941094"/>
                </a:cubicBezTo>
                <a:close/>
                <a:moveTo>
                  <a:pt x="787179" y="941094"/>
                </a:moveTo>
                <a:cubicBezTo>
                  <a:pt x="783535" y="944738"/>
                  <a:pt x="789003" y="942916"/>
                  <a:pt x="790824" y="944738"/>
                </a:cubicBezTo>
                <a:cubicBezTo>
                  <a:pt x="792646" y="942916"/>
                  <a:pt x="789003" y="942916"/>
                  <a:pt x="787179" y="941094"/>
                </a:cubicBezTo>
                <a:close/>
                <a:moveTo>
                  <a:pt x="750737" y="941094"/>
                </a:moveTo>
                <a:cubicBezTo>
                  <a:pt x="747092" y="942916"/>
                  <a:pt x="741626" y="946560"/>
                  <a:pt x="737981" y="950204"/>
                </a:cubicBezTo>
                <a:cubicBezTo>
                  <a:pt x="743447" y="950204"/>
                  <a:pt x="758025" y="944738"/>
                  <a:pt x="750737" y="941094"/>
                </a:cubicBezTo>
                <a:close/>
                <a:moveTo>
                  <a:pt x="2310289" y="940638"/>
                </a:moveTo>
                <a:cubicBezTo>
                  <a:pt x="2308240" y="941094"/>
                  <a:pt x="2305962" y="942005"/>
                  <a:pt x="2305050" y="942916"/>
                </a:cubicBezTo>
                <a:cubicBezTo>
                  <a:pt x="2303228" y="946560"/>
                  <a:pt x="2308695" y="944738"/>
                  <a:pt x="2306873" y="950204"/>
                </a:cubicBezTo>
                <a:cubicBezTo>
                  <a:pt x="2312339" y="950204"/>
                  <a:pt x="2310517" y="942916"/>
                  <a:pt x="2314161" y="941094"/>
                </a:cubicBezTo>
                <a:cubicBezTo>
                  <a:pt x="2314161" y="940183"/>
                  <a:pt x="2312339" y="940183"/>
                  <a:pt x="2310289" y="940638"/>
                </a:cubicBezTo>
                <a:close/>
                <a:moveTo>
                  <a:pt x="1210379" y="940638"/>
                </a:moveTo>
                <a:cubicBezTo>
                  <a:pt x="1208557" y="940638"/>
                  <a:pt x="1206279" y="941094"/>
                  <a:pt x="1204457" y="941094"/>
                </a:cubicBezTo>
                <a:cubicBezTo>
                  <a:pt x="1208102" y="942916"/>
                  <a:pt x="1209925" y="941094"/>
                  <a:pt x="1213568" y="942916"/>
                </a:cubicBezTo>
                <a:cubicBezTo>
                  <a:pt x="1213568" y="941094"/>
                  <a:pt x="1212201" y="940638"/>
                  <a:pt x="1210379" y="940638"/>
                </a:cubicBezTo>
                <a:close/>
                <a:moveTo>
                  <a:pt x="2213942" y="939272"/>
                </a:moveTo>
                <a:lnTo>
                  <a:pt x="2213346" y="940265"/>
                </a:lnTo>
                <a:lnTo>
                  <a:pt x="2213243" y="939495"/>
                </a:lnTo>
                <a:close/>
                <a:moveTo>
                  <a:pt x="723404" y="939272"/>
                </a:moveTo>
                <a:cubicBezTo>
                  <a:pt x="723404" y="941094"/>
                  <a:pt x="725226" y="942916"/>
                  <a:pt x="725226" y="944738"/>
                </a:cubicBezTo>
                <a:cubicBezTo>
                  <a:pt x="717937" y="944738"/>
                  <a:pt x="712470" y="950204"/>
                  <a:pt x="705182" y="953848"/>
                </a:cubicBezTo>
                <a:cubicBezTo>
                  <a:pt x="712470" y="961138"/>
                  <a:pt x="714293" y="952026"/>
                  <a:pt x="721581" y="952026"/>
                </a:cubicBezTo>
                <a:cubicBezTo>
                  <a:pt x="727048" y="950204"/>
                  <a:pt x="728870" y="942916"/>
                  <a:pt x="723404" y="939272"/>
                </a:cubicBezTo>
                <a:close/>
                <a:moveTo>
                  <a:pt x="317059" y="939272"/>
                </a:moveTo>
                <a:cubicBezTo>
                  <a:pt x="320703" y="942916"/>
                  <a:pt x="326169" y="944738"/>
                  <a:pt x="329814" y="944738"/>
                </a:cubicBezTo>
                <a:cubicBezTo>
                  <a:pt x="327993" y="942916"/>
                  <a:pt x="326169" y="941094"/>
                  <a:pt x="324347" y="939272"/>
                </a:cubicBezTo>
                <a:cubicBezTo>
                  <a:pt x="322525" y="939272"/>
                  <a:pt x="320703" y="939272"/>
                  <a:pt x="317059" y="939272"/>
                </a:cubicBezTo>
                <a:close/>
                <a:moveTo>
                  <a:pt x="260571" y="939272"/>
                </a:moveTo>
                <a:cubicBezTo>
                  <a:pt x="264216" y="942916"/>
                  <a:pt x="269682" y="948383"/>
                  <a:pt x="275149" y="948383"/>
                </a:cubicBezTo>
                <a:cubicBezTo>
                  <a:pt x="269682" y="941094"/>
                  <a:pt x="266038" y="941094"/>
                  <a:pt x="260571" y="939272"/>
                </a:cubicBezTo>
                <a:close/>
                <a:moveTo>
                  <a:pt x="213195" y="939272"/>
                </a:moveTo>
                <a:cubicBezTo>
                  <a:pt x="213195" y="942916"/>
                  <a:pt x="222306" y="952026"/>
                  <a:pt x="225950" y="955672"/>
                </a:cubicBezTo>
                <a:cubicBezTo>
                  <a:pt x="229594" y="953848"/>
                  <a:pt x="222306" y="952026"/>
                  <a:pt x="224128" y="950204"/>
                </a:cubicBezTo>
                <a:cubicBezTo>
                  <a:pt x="227772" y="952026"/>
                  <a:pt x="231416" y="955672"/>
                  <a:pt x="235061" y="959316"/>
                </a:cubicBezTo>
                <a:cubicBezTo>
                  <a:pt x="231416" y="953848"/>
                  <a:pt x="224128" y="944738"/>
                  <a:pt x="213195" y="939272"/>
                </a:cubicBezTo>
                <a:close/>
                <a:moveTo>
                  <a:pt x="767503" y="938563"/>
                </a:moveTo>
                <a:lnTo>
                  <a:pt x="768959" y="939272"/>
                </a:lnTo>
                <a:lnTo>
                  <a:pt x="762756" y="942816"/>
                </a:lnTo>
                <a:close/>
                <a:moveTo>
                  <a:pt x="2516423" y="937450"/>
                </a:moveTo>
                <a:cubicBezTo>
                  <a:pt x="2510956" y="939272"/>
                  <a:pt x="2514600" y="942916"/>
                  <a:pt x="2516423" y="944738"/>
                </a:cubicBezTo>
                <a:cubicBezTo>
                  <a:pt x="2510956" y="944738"/>
                  <a:pt x="2505490" y="942916"/>
                  <a:pt x="2507312" y="952026"/>
                </a:cubicBezTo>
                <a:cubicBezTo>
                  <a:pt x="2509134" y="946560"/>
                  <a:pt x="2518245" y="953848"/>
                  <a:pt x="2516423" y="944738"/>
                </a:cubicBezTo>
                <a:cubicBezTo>
                  <a:pt x="2521889" y="941094"/>
                  <a:pt x="2518245" y="952026"/>
                  <a:pt x="2525534" y="950204"/>
                </a:cubicBezTo>
                <a:cubicBezTo>
                  <a:pt x="2525534" y="941094"/>
                  <a:pt x="2518245" y="942916"/>
                  <a:pt x="2516423" y="937450"/>
                </a:cubicBezTo>
                <a:close/>
                <a:moveTo>
                  <a:pt x="2461757" y="937450"/>
                </a:moveTo>
                <a:cubicBezTo>
                  <a:pt x="2459935" y="937450"/>
                  <a:pt x="2458113" y="941094"/>
                  <a:pt x="2459935" y="944738"/>
                </a:cubicBezTo>
                <a:cubicBezTo>
                  <a:pt x="2461757" y="944738"/>
                  <a:pt x="2461757" y="942916"/>
                  <a:pt x="2463580" y="942916"/>
                </a:cubicBezTo>
                <a:cubicBezTo>
                  <a:pt x="2463580" y="939272"/>
                  <a:pt x="2461757" y="939272"/>
                  <a:pt x="2461757" y="937450"/>
                </a:cubicBezTo>
                <a:close/>
                <a:moveTo>
                  <a:pt x="2447180" y="937450"/>
                </a:moveTo>
                <a:cubicBezTo>
                  <a:pt x="2443536" y="941094"/>
                  <a:pt x="2439891" y="944738"/>
                  <a:pt x="2443536" y="950204"/>
                </a:cubicBezTo>
                <a:cubicBezTo>
                  <a:pt x="2443536" y="950204"/>
                  <a:pt x="2447180" y="946560"/>
                  <a:pt x="2449002" y="952026"/>
                </a:cubicBezTo>
                <a:cubicBezTo>
                  <a:pt x="2452647" y="948383"/>
                  <a:pt x="2445358" y="946560"/>
                  <a:pt x="2447180" y="937450"/>
                </a:cubicBezTo>
                <a:close/>
                <a:moveTo>
                  <a:pt x="1377564" y="937450"/>
                </a:moveTo>
                <a:lnTo>
                  <a:pt x="1375924" y="939089"/>
                </a:lnTo>
                <a:lnTo>
                  <a:pt x="1375971" y="938588"/>
                </a:lnTo>
                <a:cubicBezTo>
                  <a:pt x="1376653" y="937905"/>
                  <a:pt x="1377564" y="937450"/>
                  <a:pt x="1377564" y="937450"/>
                </a:cubicBezTo>
                <a:close/>
                <a:moveTo>
                  <a:pt x="1270056" y="937450"/>
                </a:moveTo>
                <a:cubicBezTo>
                  <a:pt x="1268233" y="937450"/>
                  <a:pt x="1260945" y="942916"/>
                  <a:pt x="1260945" y="946560"/>
                </a:cubicBezTo>
                <a:cubicBezTo>
                  <a:pt x="1266411" y="946560"/>
                  <a:pt x="1270056" y="941094"/>
                  <a:pt x="1270056" y="937450"/>
                </a:cubicBezTo>
                <a:close/>
                <a:moveTo>
                  <a:pt x="1193525" y="937450"/>
                </a:moveTo>
                <a:cubicBezTo>
                  <a:pt x="1191703" y="939272"/>
                  <a:pt x="1193525" y="939272"/>
                  <a:pt x="1195346" y="941094"/>
                </a:cubicBezTo>
                <a:cubicBezTo>
                  <a:pt x="1197169" y="939272"/>
                  <a:pt x="1197169" y="941094"/>
                  <a:pt x="1198991" y="939272"/>
                </a:cubicBezTo>
                <a:cubicBezTo>
                  <a:pt x="1197169" y="937450"/>
                  <a:pt x="1195346" y="939272"/>
                  <a:pt x="1193525" y="937450"/>
                </a:cubicBezTo>
                <a:close/>
                <a:moveTo>
                  <a:pt x="355324" y="937450"/>
                </a:moveTo>
                <a:cubicBezTo>
                  <a:pt x="353502" y="937450"/>
                  <a:pt x="353502" y="939272"/>
                  <a:pt x="351680" y="939272"/>
                </a:cubicBezTo>
                <a:cubicBezTo>
                  <a:pt x="353502" y="942916"/>
                  <a:pt x="357146" y="941094"/>
                  <a:pt x="358969" y="941094"/>
                </a:cubicBezTo>
                <a:cubicBezTo>
                  <a:pt x="357146" y="939272"/>
                  <a:pt x="355324" y="937450"/>
                  <a:pt x="355324" y="937450"/>
                </a:cubicBezTo>
                <a:close/>
                <a:moveTo>
                  <a:pt x="184040" y="937450"/>
                </a:moveTo>
                <a:cubicBezTo>
                  <a:pt x="189506" y="946560"/>
                  <a:pt x="193151" y="950204"/>
                  <a:pt x="200439" y="953848"/>
                </a:cubicBezTo>
                <a:cubicBezTo>
                  <a:pt x="198617" y="948383"/>
                  <a:pt x="187684" y="939272"/>
                  <a:pt x="184040" y="937450"/>
                </a:cubicBezTo>
                <a:close/>
                <a:moveTo>
                  <a:pt x="180396" y="937450"/>
                </a:moveTo>
                <a:cubicBezTo>
                  <a:pt x="176751" y="935628"/>
                  <a:pt x="185862" y="942916"/>
                  <a:pt x="184040" y="942916"/>
                </a:cubicBezTo>
                <a:cubicBezTo>
                  <a:pt x="187684" y="944738"/>
                  <a:pt x="182218" y="939272"/>
                  <a:pt x="180396" y="937450"/>
                </a:cubicBezTo>
                <a:close/>
                <a:moveTo>
                  <a:pt x="541869" y="936994"/>
                </a:moveTo>
                <a:cubicBezTo>
                  <a:pt x="540276" y="936994"/>
                  <a:pt x="538453" y="937450"/>
                  <a:pt x="537542" y="937450"/>
                </a:cubicBezTo>
                <a:cubicBezTo>
                  <a:pt x="537542" y="939272"/>
                  <a:pt x="538908" y="939727"/>
                  <a:pt x="540504" y="939727"/>
                </a:cubicBezTo>
                <a:lnTo>
                  <a:pt x="542266" y="939541"/>
                </a:lnTo>
                <a:lnTo>
                  <a:pt x="544830" y="939272"/>
                </a:lnTo>
                <a:cubicBezTo>
                  <a:pt x="544830" y="937450"/>
                  <a:pt x="543463" y="936994"/>
                  <a:pt x="541869" y="936994"/>
                </a:cubicBezTo>
                <a:close/>
                <a:moveTo>
                  <a:pt x="1072806" y="935855"/>
                </a:moveTo>
                <a:cubicBezTo>
                  <a:pt x="1069616" y="936083"/>
                  <a:pt x="1065972" y="937450"/>
                  <a:pt x="1064151" y="939272"/>
                </a:cubicBezTo>
                <a:cubicBezTo>
                  <a:pt x="1069616" y="941094"/>
                  <a:pt x="1073262" y="944738"/>
                  <a:pt x="1078727" y="944738"/>
                </a:cubicBezTo>
                <a:cubicBezTo>
                  <a:pt x="1076905" y="942916"/>
                  <a:pt x="1078727" y="939272"/>
                  <a:pt x="1075083" y="937450"/>
                </a:cubicBezTo>
                <a:lnTo>
                  <a:pt x="1075704" y="937528"/>
                </a:lnTo>
                <a:lnTo>
                  <a:pt x="1078727" y="939272"/>
                </a:lnTo>
                <a:cubicBezTo>
                  <a:pt x="1077816" y="939272"/>
                  <a:pt x="1077361" y="938361"/>
                  <a:pt x="1076905" y="937678"/>
                </a:cubicBezTo>
                <a:lnTo>
                  <a:pt x="1075704" y="937528"/>
                </a:lnTo>
                <a:close/>
                <a:moveTo>
                  <a:pt x="3426197" y="935843"/>
                </a:moveTo>
                <a:lnTo>
                  <a:pt x="3427510" y="941094"/>
                </a:lnTo>
                <a:lnTo>
                  <a:pt x="3423856" y="936805"/>
                </a:lnTo>
                <a:lnTo>
                  <a:pt x="3425232" y="936538"/>
                </a:lnTo>
                <a:close/>
                <a:moveTo>
                  <a:pt x="2179320" y="935628"/>
                </a:moveTo>
                <a:cubicBezTo>
                  <a:pt x="2168387" y="933804"/>
                  <a:pt x="2179320" y="941094"/>
                  <a:pt x="2173854" y="942916"/>
                </a:cubicBezTo>
                <a:cubicBezTo>
                  <a:pt x="2179320" y="948383"/>
                  <a:pt x="2186609" y="944738"/>
                  <a:pt x="2192076" y="948383"/>
                </a:cubicBezTo>
                <a:cubicBezTo>
                  <a:pt x="2192076" y="944738"/>
                  <a:pt x="2186609" y="944738"/>
                  <a:pt x="2188431" y="939272"/>
                </a:cubicBezTo>
                <a:cubicBezTo>
                  <a:pt x="2184787" y="939272"/>
                  <a:pt x="2182965" y="939272"/>
                  <a:pt x="2181143" y="941094"/>
                </a:cubicBezTo>
                <a:cubicBezTo>
                  <a:pt x="2182965" y="937450"/>
                  <a:pt x="2181143" y="935628"/>
                  <a:pt x="2179320" y="935628"/>
                </a:cubicBezTo>
                <a:close/>
                <a:moveTo>
                  <a:pt x="1260945" y="935628"/>
                </a:moveTo>
                <a:cubicBezTo>
                  <a:pt x="1257300" y="937450"/>
                  <a:pt x="1251834" y="946560"/>
                  <a:pt x="1257300" y="948383"/>
                </a:cubicBezTo>
                <a:cubicBezTo>
                  <a:pt x="1260945" y="944738"/>
                  <a:pt x="1260945" y="939272"/>
                  <a:pt x="1260945" y="935628"/>
                </a:cubicBezTo>
                <a:close/>
                <a:moveTo>
                  <a:pt x="1224501" y="935628"/>
                </a:moveTo>
                <a:cubicBezTo>
                  <a:pt x="1224501" y="939272"/>
                  <a:pt x="1235434" y="942916"/>
                  <a:pt x="1240901" y="942916"/>
                </a:cubicBezTo>
                <a:cubicBezTo>
                  <a:pt x="1240901" y="937450"/>
                  <a:pt x="1229969" y="935628"/>
                  <a:pt x="1224501" y="935628"/>
                </a:cubicBezTo>
                <a:close/>
                <a:moveTo>
                  <a:pt x="920198" y="935628"/>
                </a:moveTo>
                <a:cubicBezTo>
                  <a:pt x="918376" y="939272"/>
                  <a:pt x="923843" y="944738"/>
                  <a:pt x="925666" y="950204"/>
                </a:cubicBezTo>
                <a:cubicBezTo>
                  <a:pt x="927487" y="948383"/>
                  <a:pt x="927487" y="944738"/>
                  <a:pt x="927487" y="942916"/>
                </a:cubicBezTo>
                <a:cubicBezTo>
                  <a:pt x="925666" y="939272"/>
                  <a:pt x="922020" y="939272"/>
                  <a:pt x="920198" y="935628"/>
                </a:cubicBezTo>
                <a:close/>
                <a:moveTo>
                  <a:pt x="885577" y="935628"/>
                </a:moveTo>
                <a:cubicBezTo>
                  <a:pt x="878288" y="941094"/>
                  <a:pt x="881933" y="944738"/>
                  <a:pt x="880111" y="950204"/>
                </a:cubicBezTo>
                <a:cubicBezTo>
                  <a:pt x="885577" y="961138"/>
                  <a:pt x="896510" y="968427"/>
                  <a:pt x="901976" y="979360"/>
                </a:cubicBezTo>
                <a:cubicBezTo>
                  <a:pt x="901976" y="977538"/>
                  <a:pt x="905621" y="973893"/>
                  <a:pt x="905621" y="972071"/>
                </a:cubicBezTo>
                <a:cubicBezTo>
                  <a:pt x="903799" y="970249"/>
                  <a:pt x="903799" y="970249"/>
                  <a:pt x="901976" y="968427"/>
                </a:cubicBezTo>
                <a:cubicBezTo>
                  <a:pt x="903799" y="966604"/>
                  <a:pt x="905621" y="966604"/>
                  <a:pt x="905621" y="968427"/>
                </a:cubicBezTo>
                <a:cubicBezTo>
                  <a:pt x="905621" y="966604"/>
                  <a:pt x="900154" y="962960"/>
                  <a:pt x="903799" y="961138"/>
                </a:cubicBezTo>
                <a:cubicBezTo>
                  <a:pt x="900154" y="955672"/>
                  <a:pt x="896510" y="953848"/>
                  <a:pt x="892866" y="953848"/>
                </a:cubicBezTo>
                <a:cubicBezTo>
                  <a:pt x="892866" y="952026"/>
                  <a:pt x="894688" y="952026"/>
                  <a:pt x="894688" y="952026"/>
                </a:cubicBezTo>
                <a:cubicBezTo>
                  <a:pt x="898333" y="952026"/>
                  <a:pt x="901976" y="953848"/>
                  <a:pt x="905621" y="957494"/>
                </a:cubicBezTo>
                <a:cubicBezTo>
                  <a:pt x="905621" y="948383"/>
                  <a:pt x="892866" y="942916"/>
                  <a:pt x="885577" y="935628"/>
                </a:cubicBezTo>
                <a:close/>
                <a:moveTo>
                  <a:pt x="838200" y="935628"/>
                </a:moveTo>
                <a:cubicBezTo>
                  <a:pt x="843667" y="939272"/>
                  <a:pt x="847311" y="941094"/>
                  <a:pt x="850956" y="942916"/>
                </a:cubicBezTo>
                <a:lnTo>
                  <a:pt x="852778" y="939272"/>
                </a:lnTo>
                <a:lnTo>
                  <a:pt x="854600" y="944738"/>
                </a:lnTo>
                <a:cubicBezTo>
                  <a:pt x="856422" y="942916"/>
                  <a:pt x="858244" y="941094"/>
                  <a:pt x="860066" y="941094"/>
                </a:cubicBezTo>
                <a:lnTo>
                  <a:pt x="852778" y="939272"/>
                </a:lnTo>
                <a:close/>
                <a:moveTo>
                  <a:pt x="297015" y="935628"/>
                </a:moveTo>
                <a:cubicBezTo>
                  <a:pt x="297015" y="937450"/>
                  <a:pt x="298381" y="939727"/>
                  <a:pt x="300204" y="941777"/>
                </a:cubicBezTo>
                <a:lnTo>
                  <a:pt x="304366" y="945139"/>
                </a:lnTo>
                <a:lnTo>
                  <a:pt x="304987" y="949066"/>
                </a:lnTo>
                <a:cubicBezTo>
                  <a:pt x="306126" y="950205"/>
                  <a:pt x="307948" y="951116"/>
                  <a:pt x="309771" y="952026"/>
                </a:cubicBezTo>
                <a:lnTo>
                  <a:pt x="304970" y="945627"/>
                </a:lnTo>
                <a:lnTo>
                  <a:pt x="306126" y="946560"/>
                </a:lnTo>
                <a:cubicBezTo>
                  <a:pt x="306126" y="942916"/>
                  <a:pt x="300660" y="939272"/>
                  <a:pt x="297015" y="935628"/>
                </a:cubicBezTo>
                <a:close/>
                <a:moveTo>
                  <a:pt x="501782" y="935172"/>
                </a:moveTo>
                <a:cubicBezTo>
                  <a:pt x="499732" y="935172"/>
                  <a:pt x="497454" y="935628"/>
                  <a:pt x="495632" y="935628"/>
                </a:cubicBezTo>
                <a:cubicBezTo>
                  <a:pt x="501098" y="941094"/>
                  <a:pt x="502920" y="935628"/>
                  <a:pt x="506565" y="937450"/>
                </a:cubicBezTo>
                <a:cubicBezTo>
                  <a:pt x="505654" y="935627"/>
                  <a:pt x="503832" y="935172"/>
                  <a:pt x="501782" y="935172"/>
                </a:cubicBezTo>
                <a:close/>
                <a:moveTo>
                  <a:pt x="760530" y="935171"/>
                </a:moveTo>
                <a:cubicBezTo>
                  <a:pt x="757114" y="935171"/>
                  <a:pt x="753469" y="936538"/>
                  <a:pt x="750737" y="939272"/>
                </a:cubicBezTo>
                <a:cubicBezTo>
                  <a:pt x="752558" y="940183"/>
                  <a:pt x="752558" y="941094"/>
                  <a:pt x="752786" y="942232"/>
                </a:cubicBezTo>
                <a:lnTo>
                  <a:pt x="755291" y="945405"/>
                </a:lnTo>
                <a:lnTo>
                  <a:pt x="749141" y="947016"/>
                </a:lnTo>
                <a:cubicBezTo>
                  <a:pt x="740714" y="948838"/>
                  <a:pt x="733425" y="951116"/>
                  <a:pt x="734336" y="961138"/>
                </a:cubicBezTo>
                <a:cubicBezTo>
                  <a:pt x="732515" y="966604"/>
                  <a:pt x="747092" y="953848"/>
                  <a:pt x="750737" y="962960"/>
                </a:cubicBezTo>
                <a:cubicBezTo>
                  <a:pt x="752558" y="964782"/>
                  <a:pt x="754380" y="961138"/>
                  <a:pt x="754380" y="959316"/>
                </a:cubicBezTo>
                <a:cubicBezTo>
                  <a:pt x="763491" y="970249"/>
                  <a:pt x="779892" y="961138"/>
                  <a:pt x="790824" y="968427"/>
                </a:cubicBezTo>
                <a:cubicBezTo>
                  <a:pt x="794468" y="961138"/>
                  <a:pt x="790824" y="952026"/>
                  <a:pt x="781713" y="946560"/>
                </a:cubicBezTo>
                <a:cubicBezTo>
                  <a:pt x="781713" y="948383"/>
                  <a:pt x="783535" y="948383"/>
                  <a:pt x="783535" y="948383"/>
                </a:cubicBezTo>
                <a:cubicBezTo>
                  <a:pt x="783535" y="939272"/>
                  <a:pt x="776246" y="939272"/>
                  <a:pt x="770781" y="935628"/>
                </a:cubicBezTo>
                <a:lnTo>
                  <a:pt x="767503" y="938563"/>
                </a:lnTo>
                <a:close/>
                <a:moveTo>
                  <a:pt x="2336027" y="933804"/>
                </a:moveTo>
                <a:cubicBezTo>
                  <a:pt x="2330561" y="939272"/>
                  <a:pt x="2337850" y="946560"/>
                  <a:pt x="2334205" y="955672"/>
                </a:cubicBezTo>
                <a:cubicBezTo>
                  <a:pt x="2336027" y="957494"/>
                  <a:pt x="2339672" y="955672"/>
                  <a:pt x="2339672" y="959316"/>
                </a:cubicBezTo>
                <a:cubicBezTo>
                  <a:pt x="2336027" y="957494"/>
                  <a:pt x="2334205" y="961138"/>
                  <a:pt x="2328739" y="962960"/>
                </a:cubicBezTo>
                <a:cubicBezTo>
                  <a:pt x="2330561" y="953848"/>
                  <a:pt x="2326916" y="953848"/>
                  <a:pt x="2326916" y="948383"/>
                </a:cubicBezTo>
                <a:cubicBezTo>
                  <a:pt x="2325094" y="948383"/>
                  <a:pt x="2323272" y="948383"/>
                  <a:pt x="2321450" y="948383"/>
                </a:cubicBezTo>
                <a:cubicBezTo>
                  <a:pt x="2323272" y="950204"/>
                  <a:pt x="2326916" y="950204"/>
                  <a:pt x="2326916" y="952026"/>
                </a:cubicBezTo>
                <a:cubicBezTo>
                  <a:pt x="2325094" y="952026"/>
                  <a:pt x="2323272" y="953848"/>
                  <a:pt x="2323272" y="955672"/>
                </a:cubicBezTo>
                <a:cubicBezTo>
                  <a:pt x="2319628" y="955672"/>
                  <a:pt x="2319628" y="953848"/>
                  <a:pt x="2319628" y="950204"/>
                </a:cubicBezTo>
                <a:cubicBezTo>
                  <a:pt x="2317806" y="950204"/>
                  <a:pt x="2315983" y="950204"/>
                  <a:pt x="2314161" y="950204"/>
                </a:cubicBezTo>
                <a:cubicBezTo>
                  <a:pt x="2317806" y="953848"/>
                  <a:pt x="2308695" y="955672"/>
                  <a:pt x="2310517" y="962960"/>
                </a:cubicBezTo>
                <a:cubicBezTo>
                  <a:pt x="2314161" y="962960"/>
                  <a:pt x="2310517" y="961138"/>
                  <a:pt x="2314161" y="959316"/>
                </a:cubicBezTo>
                <a:cubicBezTo>
                  <a:pt x="2315983" y="959316"/>
                  <a:pt x="2315983" y="962960"/>
                  <a:pt x="2317806" y="964782"/>
                </a:cubicBezTo>
                <a:cubicBezTo>
                  <a:pt x="2317806" y="966604"/>
                  <a:pt x="2314161" y="966604"/>
                  <a:pt x="2312339" y="966604"/>
                </a:cubicBezTo>
                <a:cubicBezTo>
                  <a:pt x="2312339" y="972071"/>
                  <a:pt x="2317806" y="972071"/>
                  <a:pt x="2321450" y="973893"/>
                </a:cubicBezTo>
                <a:cubicBezTo>
                  <a:pt x="2323272" y="970249"/>
                  <a:pt x="2319628" y="966604"/>
                  <a:pt x="2323272" y="962960"/>
                </a:cubicBezTo>
                <a:cubicBezTo>
                  <a:pt x="2323272" y="959316"/>
                  <a:pt x="2321450" y="962960"/>
                  <a:pt x="2319628" y="962960"/>
                </a:cubicBezTo>
                <a:cubicBezTo>
                  <a:pt x="2319628" y="959316"/>
                  <a:pt x="2325094" y="961138"/>
                  <a:pt x="2323272" y="955672"/>
                </a:cubicBezTo>
                <a:cubicBezTo>
                  <a:pt x="2327372" y="961138"/>
                  <a:pt x="2326347" y="970704"/>
                  <a:pt x="2333266" y="972071"/>
                </a:cubicBezTo>
                <a:lnTo>
                  <a:pt x="2336158" y="971546"/>
                </a:lnTo>
                <a:lnTo>
                  <a:pt x="2336027" y="972071"/>
                </a:lnTo>
                <a:lnTo>
                  <a:pt x="2336640" y="971459"/>
                </a:lnTo>
                <a:lnTo>
                  <a:pt x="2343316" y="970249"/>
                </a:lnTo>
                <a:lnTo>
                  <a:pt x="2341521" y="969351"/>
                </a:lnTo>
                <a:lnTo>
                  <a:pt x="2341608" y="966434"/>
                </a:lnTo>
                <a:cubicBezTo>
                  <a:pt x="2341950" y="966263"/>
                  <a:pt x="2343316" y="974804"/>
                  <a:pt x="2348782" y="972071"/>
                </a:cubicBezTo>
                <a:cubicBezTo>
                  <a:pt x="2361538" y="952026"/>
                  <a:pt x="2339672" y="946560"/>
                  <a:pt x="2336027" y="933804"/>
                </a:cubicBezTo>
                <a:close/>
                <a:moveTo>
                  <a:pt x="2155632" y="933804"/>
                </a:moveTo>
                <a:cubicBezTo>
                  <a:pt x="2157454" y="939272"/>
                  <a:pt x="2164743" y="937450"/>
                  <a:pt x="2164743" y="933804"/>
                </a:cubicBezTo>
                <a:cubicBezTo>
                  <a:pt x="2161099" y="931983"/>
                  <a:pt x="2159277" y="931983"/>
                  <a:pt x="2155632" y="933804"/>
                </a:cubicBezTo>
                <a:close/>
                <a:moveTo>
                  <a:pt x="750737" y="933804"/>
                </a:moveTo>
                <a:cubicBezTo>
                  <a:pt x="750737" y="933804"/>
                  <a:pt x="750737" y="935628"/>
                  <a:pt x="748914" y="935628"/>
                </a:cubicBezTo>
                <a:cubicBezTo>
                  <a:pt x="750737" y="937450"/>
                  <a:pt x="752558" y="935628"/>
                  <a:pt x="754380" y="935628"/>
                </a:cubicBezTo>
                <a:cubicBezTo>
                  <a:pt x="752558" y="933804"/>
                  <a:pt x="752558" y="933804"/>
                  <a:pt x="750737" y="933804"/>
                </a:cubicBezTo>
                <a:close/>
                <a:moveTo>
                  <a:pt x="462832" y="933804"/>
                </a:moveTo>
                <a:cubicBezTo>
                  <a:pt x="459188" y="931983"/>
                  <a:pt x="459188" y="933804"/>
                  <a:pt x="457367" y="935628"/>
                </a:cubicBezTo>
                <a:cubicBezTo>
                  <a:pt x="459188" y="939272"/>
                  <a:pt x="461010" y="933804"/>
                  <a:pt x="462832" y="933804"/>
                </a:cubicBezTo>
                <a:close/>
                <a:moveTo>
                  <a:pt x="171285" y="933804"/>
                </a:moveTo>
                <a:cubicBezTo>
                  <a:pt x="174929" y="935628"/>
                  <a:pt x="176751" y="937450"/>
                  <a:pt x="178573" y="939272"/>
                </a:cubicBezTo>
                <a:cubicBezTo>
                  <a:pt x="178573" y="942916"/>
                  <a:pt x="184040" y="950204"/>
                  <a:pt x="189506" y="955672"/>
                </a:cubicBezTo>
                <a:cubicBezTo>
                  <a:pt x="189506" y="952026"/>
                  <a:pt x="182218" y="942916"/>
                  <a:pt x="178573" y="939272"/>
                </a:cubicBezTo>
                <a:cubicBezTo>
                  <a:pt x="180396" y="939272"/>
                  <a:pt x="176751" y="935628"/>
                  <a:pt x="176751" y="935628"/>
                </a:cubicBezTo>
                <a:cubicBezTo>
                  <a:pt x="174929" y="933804"/>
                  <a:pt x="173107" y="931983"/>
                  <a:pt x="171285" y="933804"/>
                </a:cubicBezTo>
                <a:close/>
                <a:moveTo>
                  <a:pt x="486522" y="933351"/>
                </a:moveTo>
                <a:lnTo>
                  <a:pt x="488343" y="935628"/>
                </a:lnTo>
                <a:lnTo>
                  <a:pt x="487350" y="935628"/>
                </a:lnTo>
                <a:close/>
                <a:moveTo>
                  <a:pt x="333037" y="932683"/>
                </a:moveTo>
                <a:lnTo>
                  <a:pt x="335280" y="933805"/>
                </a:lnTo>
                <a:lnTo>
                  <a:pt x="334141" y="934033"/>
                </a:lnTo>
                <a:close/>
                <a:moveTo>
                  <a:pt x="1080711" y="932506"/>
                </a:moveTo>
                <a:lnTo>
                  <a:pt x="1080549" y="933804"/>
                </a:lnTo>
                <a:lnTo>
                  <a:pt x="1079996" y="933068"/>
                </a:lnTo>
                <a:close/>
                <a:moveTo>
                  <a:pt x="1284633" y="931983"/>
                </a:moveTo>
                <a:cubicBezTo>
                  <a:pt x="1282811" y="933804"/>
                  <a:pt x="1280989" y="935628"/>
                  <a:pt x="1277344" y="937450"/>
                </a:cubicBezTo>
                <a:cubicBezTo>
                  <a:pt x="1279166" y="937450"/>
                  <a:pt x="1286455" y="935628"/>
                  <a:pt x="1284633" y="931983"/>
                </a:cubicBezTo>
                <a:close/>
                <a:moveTo>
                  <a:pt x="368079" y="931983"/>
                </a:moveTo>
                <a:cubicBezTo>
                  <a:pt x="369902" y="937450"/>
                  <a:pt x="382657" y="944738"/>
                  <a:pt x="388123" y="941094"/>
                </a:cubicBezTo>
                <a:cubicBezTo>
                  <a:pt x="384479" y="933804"/>
                  <a:pt x="373546" y="937450"/>
                  <a:pt x="368079" y="931983"/>
                </a:cubicBezTo>
                <a:close/>
                <a:moveTo>
                  <a:pt x="313414" y="931983"/>
                </a:moveTo>
                <a:cubicBezTo>
                  <a:pt x="309771" y="937450"/>
                  <a:pt x="317059" y="935628"/>
                  <a:pt x="320703" y="937450"/>
                </a:cubicBezTo>
                <a:cubicBezTo>
                  <a:pt x="318882" y="935628"/>
                  <a:pt x="315236" y="933804"/>
                  <a:pt x="313414" y="931983"/>
                </a:cubicBezTo>
                <a:close/>
                <a:moveTo>
                  <a:pt x="287904" y="931983"/>
                </a:moveTo>
                <a:cubicBezTo>
                  <a:pt x="291549" y="933804"/>
                  <a:pt x="286082" y="942916"/>
                  <a:pt x="295193" y="941094"/>
                </a:cubicBezTo>
                <a:cubicBezTo>
                  <a:pt x="297015" y="939272"/>
                  <a:pt x="289726" y="933804"/>
                  <a:pt x="287904" y="931983"/>
                </a:cubicBezTo>
                <a:close/>
                <a:moveTo>
                  <a:pt x="3095874" y="930160"/>
                </a:moveTo>
                <a:cubicBezTo>
                  <a:pt x="3086763" y="935628"/>
                  <a:pt x="3084941" y="941094"/>
                  <a:pt x="3083119" y="952026"/>
                </a:cubicBezTo>
                <a:cubicBezTo>
                  <a:pt x="3088585" y="953848"/>
                  <a:pt x="3094052" y="948383"/>
                  <a:pt x="3094052" y="942916"/>
                </a:cubicBezTo>
                <a:cubicBezTo>
                  <a:pt x="3097696" y="942916"/>
                  <a:pt x="3101340" y="942916"/>
                  <a:pt x="3103163" y="941094"/>
                </a:cubicBezTo>
                <a:cubicBezTo>
                  <a:pt x="3101340" y="935628"/>
                  <a:pt x="3097696" y="933804"/>
                  <a:pt x="3095874" y="930160"/>
                </a:cubicBezTo>
                <a:close/>
                <a:moveTo>
                  <a:pt x="2461757" y="930160"/>
                </a:moveTo>
                <a:cubicBezTo>
                  <a:pt x="2456291" y="931983"/>
                  <a:pt x="2452647" y="931983"/>
                  <a:pt x="2456291" y="939272"/>
                </a:cubicBezTo>
                <a:cubicBezTo>
                  <a:pt x="2459935" y="937450"/>
                  <a:pt x="2461757" y="935628"/>
                  <a:pt x="2461757" y="930160"/>
                </a:cubicBezTo>
                <a:close/>
                <a:moveTo>
                  <a:pt x="1326543" y="930160"/>
                </a:moveTo>
                <a:cubicBezTo>
                  <a:pt x="1324721" y="931983"/>
                  <a:pt x="1321077" y="933804"/>
                  <a:pt x="1321077" y="937450"/>
                </a:cubicBezTo>
                <a:cubicBezTo>
                  <a:pt x="1324721" y="939272"/>
                  <a:pt x="1330188" y="933804"/>
                  <a:pt x="1326543" y="930160"/>
                </a:cubicBezTo>
                <a:close/>
                <a:moveTo>
                  <a:pt x="1240901" y="930160"/>
                </a:moveTo>
                <a:cubicBezTo>
                  <a:pt x="1237256" y="930160"/>
                  <a:pt x="1233612" y="931983"/>
                  <a:pt x="1231790" y="933804"/>
                </a:cubicBezTo>
                <a:cubicBezTo>
                  <a:pt x="1235434" y="935628"/>
                  <a:pt x="1237256" y="935628"/>
                  <a:pt x="1240901" y="935628"/>
                </a:cubicBezTo>
                <a:cubicBezTo>
                  <a:pt x="1242723" y="933804"/>
                  <a:pt x="1242723" y="931983"/>
                  <a:pt x="1240901" y="930160"/>
                </a:cubicBezTo>
                <a:close/>
                <a:moveTo>
                  <a:pt x="880111" y="930160"/>
                </a:moveTo>
                <a:cubicBezTo>
                  <a:pt x="878288" y="931983"/>
                  <a:pt x="878288" y="933804"/>
                  <a:pt x="880111" y="935628"/>
                </a:cubicBezTo>
                <a:cubicBezTo>
                  <a:pt x="881933" y="933804"/>
                  <a:pt x="881933" y="935628"/>
                  <a:pt x="883755" y="933804"/>
                </a:cubicBezTo>
                <a:cubicBezTo>
                  <a:pt x="883755" y="931983"/>
                  <a:pt x="881933" y="931983"/>
                  <a:pt x="880111" y="930160"/>
                </a:cubicBezTo>
                <a:close/>
                <a:moveTo>
                  <a:pt x="663272" y="930160"/>
                </a:moveTo>
                <a:cubicBezTo>
                  <a:pt x="655983" y="930160"/>
                  <a:pt x="643228" y="931983"/>
                  <a:pt x="650516" y="939272"/>
                </a:cubicBezTo>
                <a:cubicBezTo>
                  <a:pt x="654161" y="933804"/>
                  <a:pt x="659627" y="933804"/>
                  <a:pt x="663272" y="930160"/>
                </a:cubicBezTo>
                <a:close/>
                <a:moveTo>
                  <a:pt x="313414" y="930160"/>
                </a:moveTo>
                <a:cubicBezTo>
                  <a:pt x="320703" y="931983"/>
                  <a:pt x="322525" y="941094"/>
                  <a:pt x="329814" y="937450"/>
                </a:cubicBezTo>
                <a:cubicBezTo>
                  <a:pt x="327993" y="931983"/>
                  <a:pt x="317059" y="930160"/>
                  <a:pt x="313414" y="930160"/>
                </a:cubicBezTo>
                <a:close/>
                <a:moveTo>
                  <a:pt x="163996" y="930160"/>
                </a:moveTo>
                <a:cubicBezTo>
                  <a:pt x="163996" y="939272"/>
                  <a:pt x="174929" y="952026"/>
                  <a:pt x="182218" y="955672"/>
                </a:cubicBezTo>
                <a:cubicBezTo>
                  <a:pt x="182218" y="948383"/>
                  <a:pt x="169462" y="939272"/>
                  <a:pt x="163996" y="930160"/>
                </a:cubicBezTo>
                <a:close/>
                <a:moveTo>
                  <a:pt x="1167558" y="929022"/>
                </a:moveTo>
                <a:cubicBezTo>
                  <a:pt x="1160270" y="928339"/>
                  <a:pt x="1152525" y="929249"/>
                  <a:pt x="1146148" y="930160"/>
                </a:cubicBezTo>
                <a:cubicBezTo>
                  <a:pt x="1146148" y="931983"/>
                  <a:pt x="1147970" y="931983"/>
                  <a:pt x="1147970" y="933804"/>
                </a:cubicBezTo>
                <a:cubicBezTo>
                  <a:pt x="1140681" y="930160"/>
                  <a:pt x="1133393" y="935628"/>
                  <a:pt x="1126104" y="941094"/>
                </a:cubicBezTo>
                <a:cubicBezTo>
                  <a:pt x="1126104" y="944738"/>
                  <a:pt x="1126104" y="946560"/>
                  <a:pt x="1127926" y="950204"/>
                </a:cubicBezTo>
                <a:cubicBezTo>
                  <a:pt x="1140681" y="952026"/>
                  <a:pt x="1153436" y="959316"/>
                  <a:pt x="1168014" y="950204"/>
                </a:cubicBezTo>
                <a:cubicBezTo>
                  <a:pt x="1169836" y="948383"/>
                  <a:pt x="1169836" y="946560"/>
                  <a:pt x="1169836" y="944738"/>
                </a:cubicBezTo>
                <a:cubicBezTo>
                  <a:pt x="1171658" y="942916"/>
                  <a:pt x="1171658" y="946560"/>
                  <a:pt x="1173481" y="946560"/>
                </a:cubicBezTo>
                <a:cubicBezTo>
                  <a:pt x="1175303" y="946560"/>
                  <a:pt x="1175303" y="944738"/>
                  <a:pt x="1177125" y="942916"/>
                </a:cubicBezTo>
                <a:cubicBezTo>
                  <a:pt x="1177125" y="944738"/>
                  <a:pt x="1173481" y="946560"/>
                  <a:pt x="1173481" y="948383"/>
                </a:cubicBezTo>
                <a:cubicBezTo>
                  <a:pt x="1175303" y="950204"/>
                  <a:pt x="1180769" y="946560"/>
                  <a:pt x="1180769" y="944738"/>
                </a:cubicBezTo>
                <a:cubicBezTo>
                  <a:pt x="1182592" y="946560"/>
                  <a:pt x="1186236" y="946560"/>
                  <a:pt x="1186236" y="942916"/>
                </a:cubicBezTo>
                <a:cubicBezTo>
                  <a:pt x="1188058" y="942916"/>
                  <a:pt x="1186236" y="944738"/>
                  <a:pt x="1188058" y="944738"/>
                </a:cubicBezTo>
                <a:cubicBezTo>
                  <a:pt x="1189880" y="942916"/>
                  <a:pt x="1188058" y="939272"/>
                  <a:pt x="1191703" y="942916"/>
                </a:cubicBezTo>
                <a:cubicBezTo>
                  <a:pt x="1191703" y="941094"/>
                  <a:pt x="1189880" y="935628"/>
                  <a:pt x="1186236" y="937450"/>
                </a:cubicBezTo>
                <a:cubicBezTo>
                  <a:pt x="1181680" y="931983"/>
                  <a:pt x="1174847" y="929705"/>
                  <a:pt x="1167558" y="929022"/>
                </a:cubicBezTo>
                <a:close/>
                <a:moveTo>
                  <a:pt x="2689529" y="928339"/>
                </a:moveTo>
                <a:cubicBezTo>
                  <a:pt x="2691351" y="931983"/>
                  <a:pt x="2691351" y="937450"/>
                  <a:pt x="2694996" y="937450"/>
                </a:cubicBezTo>
                <a:cubicBezTo>
                  <a:pt x="2694996" y="931983"/>
                  <a:pt x="2694996" y="928339"/>
                  <a:pt x="2689529" y="928339"/>
                </a:cubicBezTo>
                <a:close/>
                <a:moveTo>
                  <a:pt x="1264589" y="928339"/>
                </a:moveTo>
                <a:cubicBezTo>
                  <a:pt x="1262767" y="931983"/>
                  <a:pt x="1268233" y="933804"/>
                  <a:pt x="1264589" y="935628"/>
                </a:cubicBezTo>
                <a:cubicBezTo>
                  <a:pt x="1264589" y="937450"/>
                  <a:pt x="1266411" y="933804"/>
                  <a:pt x="1268233" y="933804"/>
                </a:cubicBezTo>
                <a:cubicBezTo>
                  <a:pt x="1268233" y="931983"/>
                  <a:pt x="1268233" y="930160"/>
                  <a:pt x="1266411" y="928339"/>
                </a:cubicBezTo>
                <a:cubicBezTo>
                  <a:pt x="1266411" y="930160"/>
                  <a:pt x="1264589" y="928339"/>
                  <a:pt x="1264589" y="928339"/>
                </a:cubicBezTo>
                <a:close/>
                <a:moveTo>
                  <a:pt x="1204457" y="928339"/>
                </a:moveTo>
                <a:lnTo>
                  <a:pt x="1204779" y="928339"/>
                </a:lnTo>
                <a:lnTo>
                  <a:pt x="1204408" y="928435"/>
                </a:lnTo>
                <a:close/>
                <a:moveTo>
                  <a:pt x="956642" y="928339"/>
                </a:moveTo>
                <a:cubicBezTo>
                  <a:pt x="954819" y="933805"/>
                  <a:pt x="952997" y="938816"/>
                  <a:pt x="952086" y="944055"/>
                </a:cubicBezTo>
                <a:lnTo>
                  <a:pt x="952927" y="959824"/>
                </a:lnTo>
                <a:lnTo>
                  <a:pt x="951175" y="961138"/>
                </a:lnTo>
                <a:cubicBezTo>
                  <a:pt x="949353" y="964782"/>
                  <a:pt x="954819" y="972071"/>
                  <a:pt x="958464" y="970249"/>
                </a:cubicBezTo>
                <a:cubicBezTo>
                  <a:pt x="958464" y="966604"/>
                  <a:pt x="960286" y="959316"/>
                  <a:pt x="958464" y="955672"/>
                </a:cubicBezTo>
                <a:lnTo>
                  <a:pt x="958460" y="955675"/>
                </a:lnTo>
                <a:lnTo>
                  <a:pt x="960286" y="953848"/>
                </a:lnTo>
                <a:cubicBezTo>
                  <a:pt x="956642" y="944738"/>
                  <a:pt x="965753" y="937450"/>
                  <a:pt x="956642" y="928339"/>
                </a:cubicBezTo>
                <a:close/>
                <a:moveTo>
                  <a:pt x="747092" y="928339"/>
                </a:moveTo>
                <a:cubicBezTo>
                  <a:pt x="743447" y="926516"/>
                  <a:pt x="741626" y="928339"/>
                  <a:pt x="737981" y="930160"/>
                </a:cubicBezTo>
                <a:cubicBezTo>
                  <a:pt x="737981" y="931983"/>
                  <a:pt x="739803" y="931983"/>
                  <a:pt x="739803" y="931983"/>
                </a:cubicBezTo>
                <a:cubicBezTo>
                  <a:pt x="734336" y="930160"/>
                  <a:pt x="728870" y="933804"/>
                  <a:pt x="727048" y="939272"/>
                </a:cubicBezTo>
                <a:cubicBezTo>
                  <a:pt x="727048" y="941094"/>
                  <a:pt x="732515" y="944738"/>
                  <a:pt x="730692" y="952026"/>
                </a:cubicBezTo>
                <a:cubicBezTo>
                  <a:pt x="736159" y="952026"/>
                  <a:pt x="736159" y="946560"/>
                  <a:pt x="736159" y="942916"/>
                </a:cubicBezTo>
                <a:cubicBezTo>
                  <a:pt x="745269" y="944738"/>
                  <a:pt x="748914" y="939272"/>
                  <a:pt x="745269" y="935628"/>
                </a:cubicBezTo>
                <a:cubicBezTo>
                  <a:pt x="745269" y="933804"/>
                  <a:pt x="743447" y="933804"/>
                  <a:pt x="741626" y="930160"/>
                </a:cubicBezTo>
                <a:cubicBezTo>
                  <a:pt x="745269" y="930160"/>
                  <a:pt x="747092" y="930160"/>
                  <a:pt x="747092" y="928339"/>
                </a:cubicBezTo>
                <a:close/>
                <a:moveTo>
                  <a:pt x="428211" y="928339"/>
                </a:moveTo>
                <a:cubicBezTo>
                  <a:pt x="428211" y="933804"/>
                  <a:pt x="439145" y="931983"/>
                  <a:pt x="442789" y="937450"/>
                </a:cubicBezTo>
                <a:cubicBezTo>
                  <a:pt x="440966" y="931983"/>
                  <a:pt x="433678" y="933804"/>
                  <a:pt x="428211" y="928339"/>
                </a:cubicBezTo>
                <a:close/>
                <a:moveTo>
                  <a:pt x="355324" y="928339"/>
                </a:moveTo>
                <a:cubicBezTo>
                  <a:pt x="369902" y="942916"/>
                  <a:pt x="371724" y="944738"/>
                  <a:pt x="360791" y="933804"/>
                </a:cubicBezTo>
                <a:cubicBezTo>
                  <a:pt x="362613" y="933804"/>
                  <a:pt x="364435" y="931983"/>
                  <a:pt x="364435" y="931983"/>
                </a:cubicBezTo>
                <a:cubicBezTo>
                  <a:pt x="362613" y="928339"/>
                  <a:pt x="362613" y="930160"/>
                  <a:pt x="360791" y="931983"/>
                </a:cubicBezTo>
                <a:cubicBezTo>
                  <a:pt x="358969" y="930160"/>
                  <a:pt x="358969" y="930160"/>
                  <a:pt x="355324" y="928339"/>
                </a:cubicBezTo>
                <a:close/>
                <a:moveTo>
                  <a:pt x="1323734" y="926669"/>
                </a:moveTo>
                <a:lnTo>
                  <a:pt x="1323289" y="928377"/>
                </a:lnTo>
                <a:lnTo>
                  <a:pt x="1322899" y="928339"/>
                </a:lnTo>
                <a:close/>
                <a:moveTo>
                  <a:pt x="2177498" y="926516"/>
                </a:moveTo>
                <a:cubicBezTo>
                  <a:pt x="2175676" y="926516"/>
                  <a:pt x="2177498" y="931983"/>
                  <a:pt x="2177498" y="933804"/>
                </a:cubicBezTo>
                <a:cubicBezTo>
                  <a:pt x="2177498" y="931983"/>
                  <a:pt x="2179320" y="931983"/>
                  <a:pt x="2181143" y="931983"/>
                </a:cubicBezTo>
                <a:cubicBezTo>
                  <a:pt x="2182965" y="926516"/>
                  <a:pt x="2177498" y="930160"/>
                  <a:pt x="2177498" y="926516"/>
                </a:cubicBezTo>
                <a:close/>
                <a:moveTo>
                  <a:pt x="1251834" y="926516"/>
                </a:moveTo>
                <a:cubicBezTo>
                  <a:pt x="1250012" y="931983"/>
                  <a:pt x="1248189" y="935628"/>
                  <a:pt x="1246367" y="939272"/>
                </a:cubicBezTo>
                <a:cubicBezTo>
                  <a:pt x="1250012" y="941094"/>
                  <a:pt x="1244545" y="939272"/>
                  <a:pt x="1246367" y="942916"/>
                </a:cubicBezTo>
                <a:cubicBezTo>
                  <a:pt x="1250012" y="944738"/>
                  <a:pt x="1248189" y="942916"/>
                  <a:pt x="1250012" y="946560"/>
                </a:cubicBezTo>
                <a:cubicBezTo>
                  <a:pt x="1253656" y="946560"/>
                  <a:pt x="1257300" y="939272"/>
                  <a:pt x="1253656" y="935628"/>
                </a:cubicBezTo>
                <a:cubicBezTo>
                  <a:pt x="1257300" y="937450"/>
                  <a:pt x="1259123" y="931983"/>
                  <a:pt x="1259123" y="930160"/>
                </a:cubicBezTo>
                <a:cubicBezTo>
                  <a:pt x="1255478" y="926516"/>
                  <a:pt x="1253656" y="928339"/>
                  <a:pt x="1251834" y="926516"/>
                </a:cubicBezTo>
                <a:close/>
                <a:moveTo>
                  <a:pt x="1248189" y="926516"/>
                </a:moveTo>
                <a:cubicBezTo>
                  <a:pt x="1246367" y="926516"/>
                  <a:pt x="1244545" y="930160"/>
                  <a:pt x="1240901" y="928339"/>
                </a:cubicBezTo>
                <a:cubicBezTo>
                  <a:pt x="1240901" y="930160"/>
                  <a:pt x="1240901" y="933804"/>
                  <a:pt x="1242723" y="933804"/>
                </a:cubicBezTo>
                <a:cubicBezTo>
                  <a:pt x="1246367" y="931983"/>
                  <a:pt x="1246367" y="928339"/>
                  <a:pt x="1248189" y="926516"/>
                </a:cubicBezTo>
                <a:close/>
                <a:moveTo>
                  <a:pt x="1204457" y="926516"/>
                </a:moveTo>
                <a:cubicBezTo>
                  <a:pt x="1204457" y="926516"/>
                  <a:pt x="1204457" y="928339"/>
                  <a:pt x="1204457" y="928339"/>
                </a:cubicBezTo>
                <a:lnTo>
                  <a:pt x="1203282" y="928730"/>
                </a:lnTo>
                <a:lnTo>
                  <a:pt x="1199751" y="929654"/>
                </a:lnTo>
                <a:close/>
                <a:moveTo>
                  <a:pt x="756430" y="926516"/>
                </a:moveTo>
                <a:cubicBezTo>
                  <a:pt x="753469" y="925605"/>
                  <a:pt x="749825" y="926516"/>
                  <a:pt x="747092" y="930160"/>
                </a:cubicBezTo>
                <a:cubicBezTo>
                  <a:pt x="747092" y="930160"/>
                  <a:pt x="748914" y="930160"/>
                  <a:pt x="748914" y="931983"/>
                </a:cubicBezTo>
                <a:cubicBezTo>
                  <a:pt x="750737" y="930160"/>
                  <a:pt x="748914" y="930160"/>
                  <a:pt x="752558" y="933804"/>
                </a:cubicBezTo>
                <a:cubicBezTo>
                  <a:pt x="756203" y="933804"/>
                  <a:pt x="761670" y="931983"/>
                  <a:pt x="761670" y="933804"/>
                </a:cubicBezTo>
                <a:cubicBezTo>
                  <a:pt x="761670" y="930160"/>
                  <a:pt x="759391" y="927427"/>
                  <a:pt x="756430" y="926516"/>
                </a:cubicBezTo>
                <a:close/>
                <a:moveTo>
                  <a:pt x="688782" y="926516"/>
                </a:moveTo>
                <a:cubicBezTo>
                  <a:pt x="683316" y="930160"/>
                  <a:pt x="677849" y="935628"/>
                  <a:pt x="674205" y="937450"/>
                </a:cubicBezTo>
                <a:cubicBezTo>
                  <a:pt x="679671" y="935628"/>
                  <a:pt x="683316" y="937450"/>
                  <a:pt x="688782" y="941094"/>
                </a:cubicBezTo>
                <a:cubicBezTo>
                  <a:pt x="694249" y="937450"/>
                  <a:pt x="697893" y="931983"/>
                  <a:pt x="688782" y="926516"/>
                </a:cubicBezTo>
                <a:close/>
                <a:moveTo>
                  <a:pt x="597673" y="926516"/>
                </a:moveTo>
                <a:cubicBezTo>
                  <a:pt x="594030" y="933804"/>
                  <a:pt x="604963" y="942916"/>
                  <a:pt x="612251" y="939272"/>
                </a:cubicBezTo>
                <a:cubicBezTo>
                  <a:pt x="610429" y="933804"/>
                  <a:pt x="610429" y="922872"/>
                  <a:pt x="597673" y="926516"/>
                </a:cubicBezTo>
                <a:close/>
                <a:moveTo>
                  <a:pt x="386301" y="926516"/>
                </a:moveTo>
                <a:cubicBezTo>
                  <a:pt x="386301" y="928339"/>
                  <a:pt x="391768" y="931983"/>
                  <a:pt x="393590" y="933804"/>
                </a:cubicBezTo>
                <a:cubicBezTo>
                  <a:pt x="395412" y="931983"/>
                  <a:pt x="389946" y="930160"/>
                  <a:pt x="391768" y="928339"/>
                </a:cubicBezTo>
                <a:cubicBezTo>
                  <a:pt x="389946" y="926516"/>
                  <a:pt x="388123" y="928339"/>
                  <a:pt x="386301" y="926516"/>
                </a:cubicBezTo>
                <a:close/>
                <a:moveTo>
                  <a:pt x="327993" y="926516"/>
                </a:moveTo>
                <a:lnTo>
                  <a:pt x="333037" y="932683"/>
                </a:lnTo>
                <a:lnTo>
                  <a:pt x="331636" y="931983"/>
                </a:lnTo>
                <a:cubicBezTo>
                  <a:pt x="333458" y="935628"/>
                  <a:pt x="335280" y="935628"/>
                  <a:pt x="337102" y="939272"/>
                </a:cubicBezTo>
                <a:cubicBezTo>
                  <a:pt x="333458" y="937450"/>
                  <a:pt x="327993" y="937450"/>
                  <a:pt x="329814" y="939272"/>
                </a:cubicBezTo>
                <a:cubicBezTo>
                  <a:pt x="338926" y="957494"/>
                  <a:pt x="358969" y="952026"/>
                  <a:pt x="377190" y="952026"/>
                </a:cubicBezTo>
                <a:cubicBezTo>
                  <a:pt x="366257" y="942916"/>
                  <a:pt x="349858" y="942916"/>
                  <a:pt x="338926" y="935628"/>
                </a:cubicBezTo>
                <a:lnTo>
                  <a:pt x="335280" y="933805"/>
                </a:lnTo>
                <a:lnTo>
                  <a:pt x="344391" y="931983"/>
                </a:lnTo>
                <a:cubicBezTo>
                  <a:pt x="340747" y="928339"/>
                  <a:pt x="333458" y="926516"/>
                  <a:pt x="327993" y="926516"/>
                </a:cubicBezTo>
                <a:close/>
                <a:moveTo>
                  <a:pt x="291549" y="926516"/>
                </a:moveTo>
                <a:cubicBezTo>
                  <a:pt x="293370" y="928339"/>
                  <a:pt x="295193" y="928339"/>
                  <a:pt x="295193" y="931983"/>
                </a:cubicBezTo>
                <a:cubicBezTo>
                  <a:pt x="300660" y="935628"/>
                  <a:pt x="289726" y="926516"/>
                  <a:pt x="291549" y="926516"/>
                </a:cubicBezTo>
                <a:close/>
                <a:moveTo>
                  <a:pt x="218661" y="926516"/>
                </a:moveTo>
                <a:cubicBezTo>
                  <a:pt x="225950" y="939272"/>
                  <a:pt x="236883" y="946560"/>
                  <a:pt x="247816" y="953848"/>
                </a:cubicBezTo>
                <a:cubicBezTo>
                  <a:pt x="245994" y="950204"/>
                  <a:pt x="238705" y="946560"/>
                  <a:pt x="238705" y="941094"/>
                </a:cubicBezTo>
                <a:cubicBezTo>
                  <a:pt x="231416" y="931983"/>
                  <a:pt x="224128" y="933804"/>
                  <a:pt x="218661" y="926516"/>
                </a:cubicBezTo>
                <a:close/>
                <a:moveTo>
                  <a:pt x="3351684" y="925517"/>
                </a:moveTo>
                <a:lnTo>
                  <a:pt x="3350978" y="928339"/>
                </a:lnTo>
                <a:lnTo>
                  <a:pt x="3350330" y="926395"/>
                </a:lnTo>
                <a:close/>
                <a:moveTo>
                  <a:pt x="2213914" y="924922"/>
                </a:moveTo>
                <a:cubicBezTo>
                  <a:pt x="2210754" y="925036"/>
                  <a:pt x="2207109" y="926061"/>
                  <a:pt x="2203009" y="928339"/>
                </a:cubicBezTo>
                <a:cubicBezTo>
                  <a:pt x="2207565" y="930161"/>
                  <a:pt x="2210754" y="931983"/>
                  <a:pt x="2212576" y="934488"/>
                </a:cubicBezTo>
                <a:lnTo>
                  <a:pt x="2213243" y="939495"/>
                </a:lnTo>
                <a:lnTo>
                  <a:pt x="2208248" y="941094"/>
                </a:lnTo>
                <a:cubicBezTo>
                  <a:pt x="2206653" y="941549"/>
                  <a:pt x="2205742" y="941094"/>
                  <a:pt x="2206653" y="937450"/>
                </a:cubicBezTo>
                <a:cubicBezTo>
                  <a:pt x="2203009" y="937450"/>
                  <a:pt x="2203009" y="941094"/>
                  <a:pt x="2201187" y="942916"/>
                </a:cubicBezTo>
                <a:cubicBezTo>
                  <a:pt x="2201187" y="941094"/>
                  <a:pt x="2203009" y="933804"/>
                  <a:pt x="2195720" y="935628"/>
                </a:cubicBezTo>
                <a:cubicBezTo>
                  <a:pt x="2195720" y="933804"/>
                  <a:pt x="2197542" y="933804"/>
                  <a:pt x="2199364" y="933804"/>
                </a:cubicBezTo>
                <a:cubicBezTo>
                  <a:pt x="2199364" y="930160"/>
                  <a:pt x="2197542" y="930160"/>
                  <a:pt x="2193898" y="930160"/>
                </a:cubicBezTo>
                <a:cubicBezTo>
                  <a:pt x="2195720" y="935628"/>
                  <a:pt x="2193898" y="939272"/>
                  <a:pt x="2192076" y="944738"/>
                </a:cubicBezTo>
                <a:cubicBezTo>
                  <a:pt x="2195720" y="946560"/>
                  <a:pt x="2199364" y="948383"/>
                  <a:pt x="2208475" y="948383"/>
                </a:cubicBezTo>
                <a:lnTo>
                  <a:pt x="2213346" y="940265"/>
                </a:lnTo>
                <a:lnTo>
                  <a:pt x="2213942" y="944738"/>
                </a:lnTo>
                <a:cubicBezTo>
                  <a:pt x="2219408" y="944738"/>
                  <a:pt x="2223053" y="939272"/>
                  <a:pt x="2228519" y="939272"/>
                </a:cubicBezTo>
                <a:cubicBezTo>
                  <a:pt x="2228519" y="934716"/>
                  <a:pt x="2226242" y="929705"/>
                  <a:pt x="2221914" y="926972"/>
                </a:cubicBezTo>
                <a:cubicBezTo>
                  <a:pt x="2219750" y="925606"/>
                  <a:pt x="2217074" y="924808"/>
                  <a:pt x="2213914" y="924922"/>
                </a:cubicBezTo>
                <a:close/>
                <a:moveTo>
                  <a:pt x="2526160" y="924808"/>
                </a:moveTo>
                <a:cubicBezTo>
                  <a:pt x="2523598" y="924352"/>
                  <a:pt x="2520979" y="924694"/>
                  <a:pt x="2518245" y="926516"/>
                </a:cubicBezTo>
                <a:cubicBezTo>
                  <a:pt x="2527356" y="942916"/>
                  <a:pt x="2547400" y="952026"/>
                  <a:pt x="2565621" y="946560"/>
                </a:cubicBezTo>
                <a:cubicBezTo>
                  <a:pt x="2560155" y="937450"/>
                  <a:pt x="2547400" y="942916"/>
                  <a:pt x="2549222" y="931983"/>
                </a:cubicBezTo>
                <a:cubicBezTo>
                  <a:pt x="2541023" y="934717"/>
                  <a:pt x="2533848" y="926175"/>
                  <a:pt x="2526160" y="924808"/>
                </a:cubicBezTo>
                <a:close/>
                <a:moveTo>
                  <a:pt x="3219782" y="924695"/>
                </a:moveTo>
                <a:cubicBezTo>
                  <a:pt x="3212493" y="930160"/>
                  <a:pt x="3199738" y="930160"/>
                  <a:pt x="3201560" y="941094"/>
                </a:cubicBezTo>
                <a:cubicBezTo>
                  <a:pt x="3203382" y="942916"/>
                  <a:pt x="3205204" y="942916"/>
                  <a:pt x="3207027" y="942916"/>
                </a:cubicBezTo>
                <a:cubicBezTo>
                  <a:pt x="3203382" y="948383"/>
                  <a:pt x="3196093" y="946560"/>
                  <a:pt x="3192449" y="950204"/>
                </a:cubicBezTo>
                <a:cubicBezTo>
                  <a:pt x="3192449" y="952026"/>
                  <a:pt x="3194271" y="957494"/>
                  <a:pt x="3190627" y="959316"/>
                </a:cubicBezTo>
                <a:cubicBezTo>
                  <a:pt x="3186982" y="961138"/>
                  <a:pt x="3186982" y="957494"/>
                  <a:pt x="3185160" y="957494"/>
                </a:cubicBezTo>
                <a:cubicBezTo>
                  <a:pt x="3172405" y="964782"/>
                  <a:pt x="3172405" y="979360"/>
                  <a:pt x="3174227" y="992115"/>
                </a:cubicBezTo>
                <a:cubicBezTo>
                  <a:pt x="3176050" y="993937"/>
                  <a:pt x="3168761" y="992115"/>
                  <a:pt x="3168761" y="993937"/>
                </a:cubicBezTo>
                <a:cubicBezTo>
                  <a:pt x="3170583" y="1003047"/>
                  <a:pt x="3177872" y="1004870"/>
                  <a:pt x="3185160" y="1004870"/>
                </a:cubicBezTo>
                <a:cubicBezTo>
                  <a:pt x="3188805" y="1003047"/>
                  <a:pt x="3190627" y="1001226"/>
                  <a:pt x="3192449" y="999403"/>
                </a:cubicBezTo>
                <a:cubicBezTo>
                  <a:pt x="3192449" y="995759"/>
                  <a:pt x="3190627" y="993937"/>
                  <a:pt x="3190627" y="992115"/>
                </a:cubicBezTo>
                <a:cubicBezTo>
                  <a:pt x="3205204" y="979360"/>
                  <a:pt x="3219782" y="961138"/>
                  <a:pt x="3228893" y="942916"/>
                </a:cubicBezTo>
                <a:cubicBezTo>
                  <a:pt x="3230715" y="939272"/>
                  <a:pt x="3239826" y="939272"/>
                  <a:pt x="3241648" y="930160"/>
                </a:cubicBezTo>
                <a:cubicBezTo>
                  <a:pt x="3236181" y="931983"/>
                  <a:pt x="3232537" y="926516"/>
                  <a:pt x="3227071" y="928339"/>
                </a:cubicBezTo>
                <a:cubicBezTo>
                  <a:pt x="3228893" y="931983"/>
                  <a:pt x="3227071" y="931983"/>
                  <a:pt x="3227071" y="935628"/>
                </a:cubicBezTo>
                <a:cubicBezTo>
                  <a:pt x="3221604" y="935628"/>
                  <a:pt x="3225248" y="926516"/>
                  <a:pt x="3219782" y="924695"/>
                </a:cubicBezTo>
                <a:close/>
                <a:moveTo>
                  <a:pt x="2725973" y="924695"/>
                </a:moveTo>
                <a:cubicBezTo>
                  <a:pt x="2724151" y="925605"/>
                  <a:pt x="2724606" y="926972"/>
                  <a:pt x="2725745" y="928339"/>
                </a:cubicBezTo>
                <a:lnTo>
                  <a:pt x="2729303" y="931687"/>
                </a:lnTo>
                <a:lnTo>
                  <a:pt x="2729389" y="931983"/>
                </a:lnTo>
                <a:cubicBezTo>
                  <a:pt x="2730528" y="933350"/>
                  <a:pt x="2731439" y="933805"/>
                  <a:pt x="2729617" y="931983"/>
                </a:cubicBezTo>
                <a:lnTo>
                  <a:pt x="2729303" y="931687"/>
                </a:lnTo>
                <a:lnTo>
                  <a:pt x="2727795" y="926516"/>
                </a:lnTo>
                <a:cubicBezTo>
                  <a:pt x="2727795" y="926516"/>
                  <a:pt x="2725973" y="926516"/>
                  <a:pt x="2725973" y="924695"/>
                </a:cubicBezTo>
                <a:close/>
                <a:moveTo>
                  <a:pt x="2469046" y="924695"/>
                </a:moveTo>
                <a:cubicBezTo>
                  <a:pt x="2465402" y="930160"/>
                  <a:pt x="2467224" y="928339"/>
                  <a:pt x="2461757" y="928339"/>
                </a:cubicBezTo>
                <a:cubicBezTo>
                  <a:pt x="2461757" y="935628"/>
                  <a:pt x="2467224" y="937450"/>
                  <a:pt x="2470868" y="939272"/>
                </a:cubicBezTo>
                <a:cubicBezTo>
                  <a:pt x="2469046" y="933804"/>
                  <a:pt x="2470868" y="930160"/>
                  <a:pt x="2469046" y="924695"/>
                </a:cubicBezTo>
                <a:close/>
                <a:moveTo>
                  <a:pt x="1344765" y="924695"/>
                </a:moveTo>
                <a:cubicBezTo>
                  <a:pt x="1342942" y="926516"/>
                  <a:pt x="1341120" y="926516"/>
                  <a:pt x="1339299" y="926516"/>
                </a:cubicBezTo>
                <a:cubicBezTo>
                  <a:pt x="1337476" y="931983"/>
                  <a:pt x="1328365" y="937450"/>
                  <a:pt x="1326543" y="944738"/>
                </a:cubicBezTo>
                <a:cubicBezTo>
                  <a:pt x="1330188" y="946560"/>
                  <a:pt x="1333832" y="939272"/>
                  <a:pt x="1335654" y="937450"/>
                </a:cubicBezTo>
                <a:cubicBezTo>
                  <a:pt x="1335654" y="939272"/>
                  <a:pt x="1333832" y="941094"/>
                  <a:pt x="1332009" y="942916"/>
                </a:cubicBezTo>
                <a:cubicBezTo>
                  <a:pt x="1335654" y="944738"/>
                  <a:pt x="1341120" y="941094"/>
                  <a:pt x="1341120" y="937450"/>
                </a:cubicBezTo>
                <a:cubicBezTo>
                  <a:pt x="1341120" y="935628"/>
                  <a:pt x="1339299" y="937450"/>
                  <a:pt x="1339299" y="937450"/>
                </a:cubicBezTo>
                <a:cubicBezTo>
                  <a:pt x="1337476" y="935628"/>
                  <a:pt x="1341120" y="937450"/>
                  <a:pt x="1341120" y="935628"/>
                </a:cubicBezTo>
                <a:cubicBezTo>
                  <a:pt x="1341120" y="933804"/>
                  <a:pt x="1341120" y="931983"/>
                  <a:pt x="1339299" y="930160"/>
                </a:cubicBezTo>
                <a:cubicBezTo>
                  <a:pt x="1339299" y="930160"/>
                  <a:pt x="1341120" y="931983"/>
                  <a:pt x="1341120" y="931983"/>
                </a:cubicBezTo>
                <a:cubicBezTo>
                  <a:pt x="1342942" y="928339"/>
                  <a:pt x="1342942" y="926516"/>
                  <a:pt x="1344765" y="924695"/>
                </a:cubicBezTo>
                <a:close/>
                <a:moveTo>
                  <a:pt x="1335654" y="924695"/>
                </a:moveTo>
                <a:cubicBezTo>
                  <a:pt x="1332009" y="921049"/>
                  <a:pt x="1326543" y="928339"/>
                  <a:pt x="1330188" y="930160"/>
                </a:cubicBezTo>
                <a:cubicBezTo>
                  <a:pt x="1333832" y="930160"/>
                  <a:pt x="1333832" y="926516"/>
                  <a:pt x="1335654" y="924695"/>
                </a:cubicBezTo>
                <a:close/>
                <a:moveTo>
                  <a:pt x="1239080" y="924695"/>
                </a:moveTo>
                <a:cubicBezTo>
                  <a:pt x="1237256" y="922872"/>
                  <a:pt x="1237256" y="926516"/>
                  <a:pt x="1235434" y="926516"/>
                </a:cubicBezTo>
                <a:cubicBezTo>
                  <a:pt x="1237256" y="930160"/>
                  <a:pt x="1237256" y="926516"/>
                  <a:pt x="1239080" y="924695"/>
                </a:cubicBezTo>
                <a:close/>
                <a:moveTo>
                  <a:pt x="867355" y="924695"/>
                </a:moveTo>
                <a:cubicBezTo>
                  <a:pt x="865533" y="926516"/>
                  <a:pt x="865533" y="928339"/>
                  <a:pt x="863711" y="930160"/>
                </a:cubicBezTo>
                <a:cubicBezTo>
                  <a:pt x="865533" y="931983"/>
                  <a:pt x="867355" y="935628"/>
                  <a:pt x="869177" y="935628"/>
                </a:cubicBezTo>
                <a:cubicBezTo>
                  <a:pt x="871000" y="933804"/>
                  <a:pt x="869177" y="933804"/>
                  <a:pt x="867355" y="931983"/>
                </a:cubicBezTo>
                <a:cubicBezTo>
                  <a:pt x="869177" y="930160"/>
                  <a:pt x="871000" y="933804"/>
                  <a:pt x="872822" y="933804"/>
                </a:cubicBezTo>
                <a:cubicBezTo>
                  <a:pt x="872822" y="935628"/>
                  <a:pt x="871000" y="939272"/>
                  <a:pt x="874644" y="941094"/>
                </a:cubicBezTo>
                <a:cubicBezTo>
                  <a:pt x="876466" y="939272"/>
                  <a:pt x="876466" y="941094"/>
                  <a:pt x="878288" y="939272"/>
                </a:cubicBezTo>
                <a:cubicBezTo>
                  <a:pt x="878288" y="937450"/>
                  <a:pt x="874644" y="933804"/>
                  <a:pt x="876466" y="930160"/>
                </a:cubicBezTo>
                <a:cubicBezTo>
                  <a:pt x="872822" y="930160"/>
                  <a:pt x="869177" y="928339"/>
                  <a:pt x="867355" y="924695"/>
                </a:cubicBezTo>
                <a:close/>
                <a:moveTo>
                  <a:pt x="665094" y="924695"/>
                </a:moveTo>
                <a:cubicBezTo>
                  <a:pt x="663272" y="928339"/>
                  <a:pt x="657805" y="926516"/>
                  <a:pt x="654161" y="930160"/>
                </a:cubicBezTo>
                <a:cubicBezTo>
                  <a:pt x="654161" y="930160"/>
                  <a:pt x="668738" y="928339"/>
                  <a:pt x="665094" y="924695"/>
                </a:cubicBezTo>
                <a:close/>
                <a:moveTo>
                  <a:pt x="373546" y="924695"/>
                </a:moveTo>
                <a:cubicBezTo>
                  <a:pt x="368079" y="935628"/>
                  <a:pt x="382657" y="931983"/>
                  <a:pt x="388123" y="937450"/>
                </a:cubicBezTo>
                <a:cubicBezTo>
                  <a:pt x="384479" y="930160"/>
                  <a:pt x="379012" y="928339"/>
                  <a:pt x="373546" y="924695"/>
                </a:cubicBezTo>
                <a:close/>
                <a:moveTo>
                  <a:pt x="2279250" y="924622"/>
                </a:moveTo>
                <a:lnTo>
                  <a:pt x="2279540" y="924695"/>
                </a:lnTo>
                <a:lnTo>
                  <a:pt x="2279412" y="925047"/>
                </a:lnTo>
                <a:close/>
                <a:moveTo>
                  <a:pt x="1376653" y="924239"/>
                </a:moveTo>
                <a:cubicBezTo>
                  <a:pt x="1377564" y="924239"/>
                  <a:pt x="1378475" y="924695"/>
                  <a:pt x="1379386" y="924695"/>
                </a:cubicBezTo>
                <a:lnTo>
                  <a:pt x="1375965" y="924813"/>
                </a:lnTo>
                <a:close/>
                <a:moveTo>
                  <a:pt x="651427" y="923555"/>
                </a:moveTo>
                <a:cubicBezTo>
                  <a:pt x="649606" y="924239"/>
                  <a:pt x="647783" y="925605"/>
                  <a:pt x="646872" y="926516"/>
                </a:cubicBezTo>
                <a:cubicBezTo>
                  <a:pt x="650516" y="928339"/>
                  <a:pt x="652339" y="926516"/>
                  <a:pt x="655983" y="924695"/>
                </a:cubicBezTo>
                <a:cubicBezTo>
                  <a:pt x="655072" y="922872"/>
                  <a:pt x="653250" y="922872"/>
                  <a:pt x="651427" y="923555"/>
                </a:cubicBezTo>
                <a:close/>
                <a:moveTo>
                  <a:pt x="3343690" y="922872"/>
                </a:moveTo>
                <a:cubicBezTo>
                  <a:pt x="3341867" y="924695"/>
                  <a:pt x="3338223" y="926516"/>
                  <a:pt x="3338223" y="930160"/>
                </a:cubicBezTo>
                <a:cubicBezTo>
                  <a:pt x="3340045" y="930160"/>
                  <a:pt x="3341867" y="930160"/>
                  <a:pt x="3341867" y="931983"/>
                </a:cubicBezTo>
                <a:cubicBezTo>
                  <a:pt x="3345512" y="931983"/>
                  <a:pt x="3347334" y="926516"/>
                  <a:pt x="3343690" y="922872"/>
                </a:cubicBezTo>
                <a:close/>
                <a:moveTo>
                  <a:pt x="1293744" y="922872"/>
                </a:moveTo>
                <a:cubicBezTo>
                  <a:pt x="1282811" y="919227"/>
                  <a:pt x="1279166" y="930160"/>
                  <a:pt x="1270056" y="933804"/>
                </a:cubicBezTo>
                <a:cubicBezTo>
                  <a:pt x="1270056" y="935628"/>
                  <a:pt x="1270056" y="935628"/>
                  <a:pt x="1271878" y="937450"/>
                </a:cubicBezTo>
                <a:cubicBezTo>
                  <a:pt x="1279166" y="935628"/>
                  <a:pt x="1286455" y="928339"/>
                  <a:pt x="1293744" y="922872"/>
                </a:cubicBezTo>
                <a:close/>
                <a:moveTo>
                  <a:pt x="481054" y="922872"/>
                </a:moveTo>
                <a:cubicBezTo>
                  <a:pt x="484700" y="928339"/>
                  <a:pt x="488343" y="924695"/>
                  <a:pt x="491987" y="928339"/>
                </a:cubicBezTo>
                <a:cubicBezTo>
                  <a:pt x="488343" y="930160"/>
                  <a:pt x="481054" y="928339"/>
                  <a:pt x="481054" y="922872"/>
                </a:cubicBezTo>
                <a:close/>
                <a:moveTo>
                  <a:pt x="477410" y="922872"/>
                </a:moveTo>
                <a:cubicBezTo>
                  <a:pt x="477410" y="928339"/>
                  <a:pt x="479232" y="930160"/>
                  <a:pt x="479232" y="930160"/>
                </a:cubicBezTo>
                <a:cubicBezTo>
                  <a:pt x="479232" y="931982"/>
                  <a:pt x="479232" y="934260"/>
                  <a:pt x="480371" y="935627"/>
                </a:cubicBezTo>
                <a:lnTo>
                  <a:pt x="487350" y="935628"/>
                </a:lnTo>
                <a:lnTo>
                  <a:pt x="487433" y="935855"/>
                </a:lnTo>
                <a:cubicBezTo>
                  <a:pt x="489255" y="937905"/>
                  <a:pt x="491988" y="939272"/>
                  <a:pt x="495632" y="939272"/>
                </a:cubicBezTo>
                <a:cubicBezTo>
                  <a:pt x="495632" y="935628"/>
                  <a:pt x="490165" y="933804"/>
                  <a:pt x="490165" y="931983"/>
                </a:cubicBezTo>
                <a:cubicBezTo>
                  <a:pt x="491987" y="931983"/>
                  <a:pt x="493809" y="933804"/>
                  <a:pt x="497454" y="931983"/>
                </a:cubicBezTo>
                <a:cubicBezTo>
                  <a:pt x="493809" y="928339"/>
                  <a:pt x="488343" y="930160"/>
                  <a:pt x="484700" y="928339"/>
                </a:cubicBezTo>
                <a:lnTo>
                  <a:pt x="486522" y="933351"/>
                </a:lnTo>
                <a:lnTo>
                  <a:pt x="484699" y="931072"/>
                </a:lnTo>
                <a:cubicBezTo>
                  <a:pt x="484243" y="929705"/>
                  <a:pt x="483788" y="928338"/>
                  <a:pt x="481054" y="926516"/>
                </a:cubicBezTo>
                <a:cubicBezTo>
                  <a:pt x="481054" y="926516"/>
                  <a:pt x="481054" y="924695"/>
                  <a:pt x="481054" y="924695"/>
                </a:cubicBezTo>
                <a:cubicBezTo>
                  <a:pt x="479232" y="922872"/>
                  <a:pt x="479232" y="924695"/>
                  <a:pt x="477410" y="922872"/>
                </a:cubicBezTo>
                <a:close/>
                <a:moveTo>
                  <a:pt x="457367" y="922872"/>
                </a:moveTo>
                <a:cubicBezTo>
                  <a:pt x="455544" y="924695"/>
                  <a:pt x="453722" y="924695"/>
                  <a:pt x="453722" y="924695"/>
                </a:cubicBezTo>
                <a:cubicBezTo>
                  <a:pt x="453722" y="926516"/>
                  <a:pt x="453722" y="928339"/>
                  <a:pt x="455544" y="930160"/>
                </a:cubicBezTo>
                <a:cubicBezTo>
                  <a:pt x="455544" y="926516"/>
                  <a:pt x="462832" y="926516"/>
                  <a:pt x="457367" y="922872"/>
                </a:cubicBezTo>
                <a:close/>
                <a:moveTo>
                  <a:pt x="433678" y="922872"/>
                </a:moveTo>
                <a:cubicBezTo>
                  <a:pt x="433678" y="926516"/>
                  <a:pt x="440966" y="930160"/>
                  <a:pt x="442789" y="928339"/>
                </a:cubicBezTo>
                <a:cubicBezTo>
                  <a:pt x="440966" y="924695"/>
                  <a:pt x="437322" y="924695"/>
                  <a:pt x="433678" y="922872"/>
                </a:cubicBezTo>
                <a:close/>
                <a:moveTo>
                  <a:pt x="426389" y="922872"/>
                </a:moveTo>
                <a:cubicBezTo>
                  <a:pt x="426389" y="924695"/>
                  <a:pt x="431856" y="928339"/>
                  <a:pt x="431856" y="924695"/>
                </a:cubicBezTo>
                <a:cubicBezTo>
                  <a:pt x="430034" y="924695"/>
                  <a:pt x="428211" y="922872"/>
                  <a:pt x="426389" y="922872"/>
                </a:cubicBezTo>
                <a:close/>
                <a:moveTo>
                  <a:pt x="311592" y="922872"/>
                </a:moveTo>
                <a:cubicBezTo>
                  <a:pt x="309771" y="928339"/>
                  <a:pt x="318882" y="928339"/>
                  <a:pt x="320703" y="930160"/>
                </a:cubicBezTo>
                <a:cubicBezTo>
                  <a:pt x="320703" y="928339"/>
                  <a:pt x="313414" y="924695"/>
                  <a:pt x="311592" y="922872"/>
                </a:cubicBezTo>
                <a:close/>
                <a:moveTo>
                  <a:pt x="2213942" y="921049"/>
                </a:moveTo>
                <a:cubicBezTo>
                  <a:pt x="2212120" y="926516"/>
                  <a:pt x="2219408" y="926516"/>
                  <a:pt x="2219408" y="921049"/>
                </a:cubicBezTo>
                <a:cubicBezTo>
                  <a:pt x="2217586" y="921049"/>
                  <a:pt x="2215764" y="921049"/>
                  <a:pt x="2213942" y="921049"/>
                </a:cubicBezTo>
                <a:close/>
                <a:moveTo>
                  <a:pt x="1051395" y="921049"/>
                </a:moveTo>
                <a:cubicBezTo>
                  <a:pt x="1040462" y="919227"/>
                  <a:pt x="1044106" y="935628"/>
                  <a:pt x="1036818" y="941094"/>
                </a:cubicBezTo>
                <a:cubicBezTo>
                  <a:pt x="1040462" y="942916"/>
                  <a:pt x="1044106" y="941094"/>
                  <a:pt x="1047750" y="939272"/>
                </a:cubicBezTo>
                <a:cubicBezTo>
                  <a:pt x="1051395" y="933804"/>
                  <a:pt x="1049573" y="926516"/>
                  <a:pt x="1051395" y="921049"/>
                </a:cubicBezTo>
                <a:close/>
                <a:moveTo>
                  <a:pt x="878288" y="921049"/>
                </a:moveTo>
                <a:cubicBezTo>
                  <a:pt x="878288" y="921049"/>
                  <a:pt x="876466" y="921049"/>
                  <a:pt x="874644" y="922872"/>
                </a:cubicBezTo>
                <a:cubicBezTo>
                  <a:pt x="878288" y="926516"/>
                  <a:pt x="881933" y="928339"/>
                  <a:pt x="883755" y="930160"/>
                </a:cubicBezTo>
                <a:cubicBezTo>
                  <a:pt x="883755" y="926516"/>
                  <a:pt x="880111" y="922872"/>
                  <a:pt x="878288" y="921049"/>
                </a:cubicBezTo>
                <a:close/>
                <a:moveTo>
                  <a:pt x="635939" y="921049"/>
                </a:moveTo>
                <a:lnTo>
                  <a:pt x="635494" y="924728"/>
                </a:lnTo>
                <a:lnTo>
                  <a:pt x="623867" y="925605"/>
                </a:lnTo>
                <a:cubicBezTo>
                  <a:pt x="619995" y="926517"/>
                  <a:pt x="616806" y="928339"/>
                  <a:pt x="615895" y="931983"/>
                </a:cubicBezTo>
                <a:lnTo>
                  <a:pt x="619539" y="931983"/>
                </a:lnTo>
                <a:lnTo>
                  <a:pt x="617717" y="937450"/>
                </a:lnTo>
                <a:cubicBezTo>
                  <a:pt x="619539" y="939272"/>
                  <a:pt x="621362" y="935628"/>
                  <a:pt x="623185" y="935628"/>
                </a:cubicBezTo>
                <a:lnTo>
                  <a:pt x="619539" y="931983"/>
                </a:lnTo>
                <a:lnTo>
                  <a:pt x="629333" y="931983"/>
                </a:lnTo>
                <a:cubicBezTo>
                  <a:pt x="631725" y="931072"/>
                  <a:pt x="633832" y="929705"/>
                  <a:pt x="635113" y="927883"/>
                </a:cubicBezTo>
                <a:lnTo>
                  <a:pt x="635494" y="924728"/>
                </a:lnTo>
                <a:lnTo>
                  <a:pt x="635939" y="924695"/>
                </a:lnTo>
                <a:cubicBezTo>
                  <a:pt x="635939" y="924695"/>
                  <a:pt x="635939" y="921049"/>
                  <a:pt x="635939" y="921049"/>
                </a:cubicBezTo>
                <a:close/>
                <a:moveTo>
                  <a:pt x="3239826" y="919227"/>
                </a:moveTo>
                <a:cubicBezTo>
                  <a:pt x="3238003" y="921049"/>
                  <a:pt x="3239826" y="926516"/>
                  <a:pt x="3239826" y="928339"/>
                </a:cubicBezTo>
                <a:cubicBezTo>
                  <a:pt x="3248937" y="928339"/>
                  <a:pt x="3243470" y="921049"/>
                  <a:pt x="3239826" y="919227"/>
                </a:cubicBezTo>
                <a:close/>
                <a:moveTo>
                  <a:pt x="2321450" y="919227"/>
                </a:moveTo>
                <a:cubicBezTo>
                  <a:pt x="2319628" y="922872"/>
                  <a:pt x="2328739" y="924695"/>
                  <a:pt x="2323272" y="928339"/>
                </a:cubicBezTo>
                <a:cubicBezTo>
                  <a:pt x="2321450" y="926516"/>
                  <a:pt x="2319628" y="926516"/>
                  <a:pt x="2319628" y="928339"/>
                </a:cubicBezTo>
                <a:cubicBezTo>
                  <a:pt x="2323272" y="937450"/>
                  <a:pt x="2323272" y="941094"/>
                  <a:pt x="2332383" y="941094"/>
                </a:cubicBezTo>
                <a:cubicBezTo>
                  <a:pt x="2328739" y="935628"/>
                  <a:pt x="2330561" y="921049"/>
                  <a:pt x="2321450" y="919227"/>
                </a:cubicBezTo>
                <a:close/>
                <a:moveTo>
                  <a:pt x="2168387" y="919227"/>
                </a:moveTo>
                <a:cubicBezTo>
                  <a:pt x="2164743" y="921049"/>
                  <a:pt x="2166565" y="924695"/>
                  <a:pt x="2164743" y="930160"/>
                </a:cubicBezTo>
                <a:cubicBezTo>
                  <a:pt x="2166565" y="928339"/>
                  <a:pt x="2173854" y="931983"/>
                  <a:pt x="2172032" y="924695"/>
                </a:cubicBezTo>
                <a:cubicBezTo>
                  <a:pt x="2172032" y="924695"/>
                  <a:pt x="2170210" y="924695"/>
                  <a:pt x="2170210" y="926516"/>
                </a:cubicBezTo>
                <a:cubicBezTo>
                  <a:pt x="2168387" y="924695"/>
                  <a:pt x="2168387" y="921049"/>
                  <a:pt x="2168387" y="919227"/>
                </a:cubicBezTo>
                <a:close/>
                <a:moveTo>
                  <a:pt x="1228146" y="919227"/>
                </a:moveTo>
                <a:cubicBezTo>
                  <a:pt x="1224501" y="924695"/>
                  <a:pt x="1211747" y="924695"/>
                  <a:pt x="1217213" y="930160"/>
                </a:cubicBezTo>
                <a:cubicBezTo>
                  <a:pt x="1224501" y="933804"/>
                  <a:pt x="1240901" y="926516"/>
                  <a:pt x="1228146" y="919227"/>
                </a:cubicBezTo>
                <a:close/>
                <a:moveTo>
                  <a:pt x="1124282" y="919227"/>
                </a:moveTo>
                <a:lnTo>
                  <a:pt x="1122699" y="927140"/>
                </a:lnTo>
                <a:lnTo>
                  <a:pt x="1121932" y="927546"/>
                </a:lnTo>
                <a:lnTo>
                  <a:pt x="1118815" y="922872"/>
                </a:lnTo>
                <a:cubicBezTo>
                  <a:pt x="1120637" y="922872"/>
                  <a:pt x="1122459" y="922872"/>
                  <a:pt x="1120637" y="921049"/>
                </a:cubicBezTo>
                <a:cubicBezTo>
                  <a:pt x="1115171" y="924695"/>
                  <a:pt x="1100593" y="930160"/>
                  <a:pt x="1095127" y="935628"/>
                </a:cubicBezTo>
                <a:cubicBezTo>
                  <a:pt x="1093305" y="935628"/>
                  <a:pt x="1089660" y="935628"/>
                  <a:pt x="1086016" y="928339"/>
                </a:cubicBezTo>
                <a:lnTo>
                  <a:pt x="1080711" y="932506"/>
                </a:lnTo>
                <a:lnTo>
                  <a:pt x="1081005" y="930160"/>
                </a:lnTo>
                <a:cubicBezTo>
                  <a:pt x="1081005" y="928794"/>
                  <a:pt x="1080549" y="927428"/>
                  <a:pt x="1078727" y="926516"/>
                </a:cubicBezTo>
                <a:cubicBezTo>
                  <a:pt x="1080549" y="928339"/>
                  <a:pt x="1080549" y="926516"/>
                  <a:pt x="1080549" y="924695"/>
                </a:cubicBezTo>
                <a:cubicBezTo>
                  <a:pt x="1075083" y="924695"/>
                  <a:pt x="1069616" y="930160"/>
                  <a:pt x="1065972" y="933804"/>
                </a:cubicBezTo>
                <a:cubicBezTo>
                  <a:pt x="1069616" y="935628"/>
                  <a:pt x="1073262" y="935628"/>
                  <a:pt x="1076905" y="933804"/>
                </a:cubicBezTo>
                <a:cubicBezTo>
                  <a:pt x="1076905" y="931983"/>
                  <a:pt x="1076905" y="930160"/>
                  <a:pt x="1075083" y="928339"/>
                </a:cubicBezTo>
                <a:cubicBezTo>
                  <a:pt x="1077816" y="928339"/>
                  <a:pt x="1078271" y="929705"/>
                  <a:pt x="1078499" y="931072"/>
                </a:cubicBezTo>
                <a:lnTo>
                  <a:pt x="1079996" y="933068"/>
                </a:lnTo>
                <a:lnTo>
                  <a:pt x="1079638" y="933350"/>
                </a:lnTo>
                <a:cubicBezTo>
                  <a:pt x="1078727" y="935627"/>
                  <a:pt x="1078727" y="938361"/>
                  <a:pt x="1078727" y="941094"/>
                </a:cubicBezTo>
                <a:cubicBezTo>
                  <a:pt x="1084194" y="941094"/>
                  <a:pt x="1093305" y="942916"/>
                  <a:pt x="1100593" y="941094"/>
                </a:cubicBezTo>
                <a:cubicBezTo>
                  <a:pt x="1106060" y="939272"/>
                  <a:pt x="1111526" y="933804"/>
                  <a:pt x="1116993" y="930160"/>
                </a:cubicBezTo>
                <a:lnTo>
                  <a:pt x="1121932" y="927546"/>
                </a:lnTo>
                <a:lnTo>
                  <a:pt x="1122459" y="928339"/>
                </a:lnTo>
                <a:lnTo>
                  <a:pt x="1122699" y="927140"/>
                </a:lnTo>
                <a:lnTo>
                  <a:pt x="1124737" y="926061"/>
                </a:lnTo>
                <a:cubicBezTo>
                  <a:pt x="1126559" y="924239"/>
                  <a:pt x="1127015" y="921961"/>
                  <a:pt x="1124282" y="919227"/>
                </a:cubicBezTo>
                <a:close/>
                <a:moveTo>
                  <a:pt x="701537" y="919227"/>
                </a:moveTo>
                <a:cubicBezTo>
                  <a:pt x="697893" y="922872"/>
                  <a:pt x="696071" y="922872"/>
                  <a:pt x="692426" y="924695"/>
                </a:cubicBezTo>
                <a:cubicBezTo>
                  <a:pt x="699715" y="930160"/>
                  <a:pt x="696071" y="937450"/>
                  <a:pt x="692426" y="942916"/>
                </a:cubicBezTo>
                <a:cubicBezTo>
                  <a:pt x="701537" y="939272"/>
                  <a:pt x="710648" y="931983"/>
                  <a:pt x="712470" y="922872"/>
                </a:cubicBezTo>
                <a:cubicBezTo>
                  <a:pt x="712470" y="919227"/>
                  <a:pt x="705182" y="924695"/>
                  <a:pt x="701537" y="919227"/>
                </a:cubicBezTo>
                <a:close/>
                <a:moveTo>
                  <a:pt x="608606" y="919227"/>
                </a:moveTo>
                <a:cubicBezTo>
                  <a:pt x="606784" y="921049"/>
                  <a:pt x="606784" y="919227"/>
                  <a:pt x="604963" y="921049"/>
                </a:cubicBezTo>
                <a:cubicBezTo>
                  <a:pt x="606784" y="922872"/>
                  <a:pt x="610429" y="924695"/>
                  <a:pt x="608606" y="919227"/>
                </a:cubicBezTo>
                <a:close/>
                <a:moveTo>
                  <a:pt x="499276" y="919227"/>
                </a:moveTo>
                <a:cubicBezTo>
                  <a:pt x="495632" y="921049"/>
                  <a:pt x="497454" y="921049"/>
                  <a:pt x="495632" y="921049"/>
                </a:cubicBezTo>
                <a:cubicBezTo>
                  <a:pt x="495632" y="921049"/>
                  <a:pt x="499276" y="921049"/>
                  <a:pt x="501098" y="922872"/>
                </a:cubicBezTo>
                <a:cubicBezTo>
                  <a:pt x="502920" y="921049"/>
                  <a:pt x="501098" y="921049"/>
                  <a:pt x="499276" y="919227"/>
                </a:cubicBezTo>
                <a:close/>
                <a:moveTo>
                  <a:pt x="300660" y="919227"/>
                </a:moveTo>
                <a:cubicBezTo>
                  <a:pt x="297015" y="924695"/>
                  <a:pt x="307948" y="928339"/>
                  <a:pt x="306126" y="931983"/>
                </a:cubicBezTo>
                <a:cubicBezTo>
                  <a:pt x="307948" y="930160"/>
                  <a:pt x="302481" y="926516"/>
                  <a:pt x="304303" y="922872"/>
                </a:cubicBezTo>
                <a:cubicBezTo>
                  <a:pt x="302481" y="921049"/>
                  <a:pt x="302481" y="919227"/>
                  <a:pt x="300660" y="919227"/>
                </a:cubicBezTo>
                <a:close/>
                <a:moveTo>
                  <a:pt x="2618009" y="918544"/>
                </a:moveTo>
                <a:cubicBezTo>
                  <a:pt x="2615731" y="918772"/>
                  <a:pt x="2613909" y="920139"/>
                  <a:pt x="2614820" y="922872"/>
                </a:cubicBezTo>
                <a:cubicBezTo>
                  <a:pt x="2618464" y="922872"/>
                  <a:pt x="2620287" y="922872"/>
                  <a:pt x="2623931" y="921049"/>
                </a:cubicBezTo>
                <a:cubicBezTo>
                  <a:pt x="2623020" y="919227"/>
                  <a:pt x="2620287" y="918317"/>
                  <a:pt x="2618009" y="918544"/>
                </a:cubicBezTo>
                <a:close/>
                <a:moveTo>
                  <a:pt x="3365556" y="918129"/>
                </a:moveTo>
                <a:lnTo>
                  <a:pt x="3365556" y="919227"/>
                </a:lnTo>
                <a:lnTo>
                  <a:pt x="3365224" y="918229"/>
                </a:lnTo>
                <a:close/>
                <a:moveTo>
                  <a:pt x="414766" y="918046"/>
                </a:moveTo>
                <a:lnTo>
                  <a:pt x="419100" y="919227"/>
                </a:lnTo>
                <a:lnTo>
                  <a:pt x="415193" y="918401"/>
                </a:lnTo>
                <a:close/>
                <a:moveTo>
                  <a:pt x="1991636" y="917502"/>
                </a:moveTo>
                <a:lnTo>
                  <a:pt x="2006214" y="930258"/>
                </a:lnTo>
                <a:lnTo>
                  <a:pt x="1997103" y="937547"/>
                </a:lnTo>
                <a:lnTo>
                  <a:pt x="1982525" y="932081"/>
                </a:lnTo>
                <a:close/>
                <a:moveTo>
                  <a:pt x="134841" y="917447"/>
                </a:moveTo>
                <a:cubicBezTo>
                  <a:pt x="136663" y="919269"/>
                  <a:pt x="138486" y="921093"/>
                  <a:pt x="140308" y="922915"/>
                </a:cubicBezTo>
                <a:cubicBezTo>
                  <a:pt x="138486" y="921093"/>
                  <a:pt x="136663" y="921093"/>
                  <a:pt x="134841" y="919269"/>
                </a:cubicBezTo>
                <a:lnTo>
                  <a:pt x="134841" y="918055"/>
                </a:lnTo>
                <a:close/>
                <a:moveTo>
                  <a:pt x="3412932" y="917405"/>
                </a:moveTo>
                <a:cubicBezTo>
                  <a:pt x="3409288" y="919227"/>
                  <a:pt x="3407466" y="926516"/>
                  <a:pt x="3409288" y="928339"/>
                </a:cubicBezTo>
                <a:cubicBezTo>
                  <a:pt x="3412932" y="926516"/>
                  <a:pt x="3411110" y="921049"/>
                  <a:pt x="3412932" y="917405"/>
                </a:cubicBezTo>
                <a:close/>
                <a:moveTo>
                  <a:pt x="408167" y="917405"/>
                </a:moveTo>
                <a:cubicBezTo>
                  <a:pt x="408167" y="922872"/>
                  <a:pt x="409989" y="926516"/>
                  <a:pt x="415456" y="928339"/>
                </a:cubicBezTo>
                <a:cubicBezTo>
                  <a:pt x="415456" y="926516"/>
                  <a:pt x="413634" y="924695"/>
                  <a:pt x="411812" y="922872"/>
                </a:cubicBezTo>
                <a:cubicBezTo>
                  <a:pt x="415456" y="926516"/>
                  <a:pt x="419100" y="933804"/>
                  <a:pt x="424567" y="928339"/>
                </a:cubicBezTo>
                <a:cubicBezTo>
                  <a:pt x="420923" y="921049"/>
                  <a:pt x="411812" y="921049"/>
                  <a:pt x="408167" y="917405"/>
                </a:cubicBezTo>
                <a:close/>
                <a:moveTo>
                  <a:pt x="315236" y="917405"/>
                </a:moveTo>
                <a:cubicBezTo>
                  <a:pt x="324347" y="926516"/>
                  <a:pt x="331636" y="922872"/>
                  <a:pt x="338926" y="926516"/>
                </a:cubicBezTo>
                <a:cubicBezTo>
                  <a:pt x="331636" y="919227"/>
                  <a:pt x="324347" y="921049"/>
                  <a:pt x="315236" y="917405"/>
                </a:cubicBezTo>
                <a:close/>
                <a:moveTo>
                  <a:pt x="291549" y="917405"/>
                </a:moveTo>
                <a:cubicBezTo>
                  <a:pt x="291549" y="921049"/>
                  <a:pt x="291549" y="921049"/>
                  <a:pt x="289726" y="921049"/>
                </a:cubicBezTo>
                <a:cubicBezTo>
                  <a:pt x="295193" y="924695"/>
                  <a:pt x="298837" y="928339"/>
                  <a:pt x="298837" y="930160"/>
                </a:cubicBezTo>
                <a:cubicBezTo>
                  <a:pt x="302481" y="928338"/>
                  <a:pt x="301116" y="926061"/>
                  <a:pt x="298609" y="923783"/>
                </a:cubicBezTo>
                <a:lnTo>
                  <a:pt x="296129" y="921543"/>
                </a:lnTo>
                <a:close/>
                <a:moveTo>
                  <a:pt x="3359449" y="917307"/>
                </a:moveTo>
                <a:lnTo>
                  <a:pt x="3360089" y="919227"/>
                </a:lnTo>
                <a:lnTo>
                  <a:pt x="3359005" y="918714"/>
                </a:lnTo>
                <a:close/>
                <a:moveTo>
                  <a:pt x="413697" y="917154"/>
                </a:moveTo>
                <a:lnTo>
                  <a:pt x="414766" y="918046"/>
                </a:lnTo>
                <a:lnTo>
                  <a:pt x="414089" y="917861"/>
                </a:lnTo>
                <a:close/>
                <a:moveTo>
                  <a:pt x="885576" y="915638"/>
                </a:moveTo>
                <a:cubicBezTo>
                  <a:pt x="885576" y="917461"/>
                  <a:pt x="889222" y="915638"/>
                  <a:pt x="889222" y="917461"/>
                </a:cubicBezTo>
                <a:cubicBezTo>
                  <a:pt x="885576" y="919284"/>
                  <a:pt x="883754" y="917461"/>
                  <a:pt x="883754" y="917461"/>
                </a:cubicBezTo>
                <a:cubicBezTo>
                  <a:pt x="883754" y="915638"/>
                  <a:pt x="885576" y="915638"/>
                  <a:pt x="885576" y="915638"/>
                </a:cubicBezTo>
                <a:close/>
                <a:moveTo>
                  <a:pt x="1342942" y="915583"/>
                </a:moveTo>
                <a:cubicBezTo>
                  <a:pt x="1339299" y="915583"/>
                  <a:pt x="1337476" y="917405"/>
                  <a:pt x="1333832" y="921049"/>
                </a:cubicBezTo>
                <a:cubicBezTo>
                  <a:pt x="1335654" y="922872"/>
                  <a:pt x="1339299" y="921049"/>
                  <a:pt x="1337476" y="919227"/>
                </a:cubicBezTo>
                <a:cubicBezTo>
                  <a:pt x="1337476" y="921049"/>
                  <a:pt x="1339299" y="922872"/>
                  <a:pt x="1342942" y="921049"/>
                </a:cubicBezTo>
                <a:cubicBezTo>
                  <a:pt x="1344765" y="919227"/>
                  <a:pt x="1341120" y="917405"/>
                  <a:pt x="1342942" y="915583"/>
                </a:cubicBezTo>
                <a:close/>
                <a:moveTo>
                  <a:pt x="1306499" y="915583"/>
                </a:moveTo>
                <a:cubicBezTo>
                  <a:pt x="1304677" y="919227"/>
                  <a:pt x="1302855" y="926516"/>
                  <a:pt x="1297388" y="928339"/>
                </a:cubicBezTo>
                <a:lnTo>
                  <a:pt x="1297271" y="925640"/>
                </a:lnTo>
                <a:close/>
                <a:moveTo>
                  <a:pt x="736159" y="915583"/>
                </a:moveTo>
                <a:cubicBezTo>
                  <a:pt x="727048" y="913761"/>
                  <a:pt x="721581" y="915583"/>
                  <a:pt x="716115" y="921049"/>
                </a:cubicBezTo>
                <a:cubicBezTo>
                  <a:pt x="719759" y="921049"/>
                  <a:pt x="721581" y="921049"/>
                  <a:pt x="723404" y="921049"/>
                </a:cubicBezTo>
                <a:cubicBezTo>
                  <a:pt x="712470" y="924695"/>
                  <a:pt x="707004" y="935628"/>
                  <a:pt x="699715" y="944738"/>
                </a:cubicBezTo>
                <a:cubicBezTo>
                  <a:pt x="708826" y="948383"/>
                  <a:pt x="712470" y="941094"/>
                  <a:pt x="721581" y="939272"/>
                </a:cubicBezTo>
                <a:cubicBezTo>
                  <a:pt x="719759" y="933804"/>
                  <a:pt x="714293" y="933804"/>
                  <a:pt x="710648" y="935628"/>
                </a:cubicBezTo>
                <a:cubicBezTo>
                  <a:pt x="712470" y="935628"/>
                  <a:pt x="712470" y="933804"/>
                  <a:pt x="716115" y="933804"/>
                </a:cubicBezTo>
                <a:cubicBezTo>
                  <a:pt x="716115" y="933804"/>
                  <a:pt x="716115" y="931983"/>
                  <a:pt x="716115" y="931983"/>
                </a:cubicBezTo>
                <a:cubicBezTo>
                  <a:pt x="719759" y="937450"/>
                  <a:pt x="727048" y="930160"/>
                  <a:pt x="736159" y="930160"/>
                </a:cubicBezTo>
                <a:cubicBezTo>
                  <a:pt x="732515" y="924695"/>
                  <a:pt x="739803" y="921049"/>
                  <a:pt x="736159" y="917405"/>
                </a:cubicBezTo>
                <a:cubicBezTo>
                  <a:pt x="734336" y="922872"/>
                  <a:pt x="728870" y="921049"/>
                  <a:pt x="723404" y="922872"/>
                </a:cubicBezTo>
                <a:cubicBezTo>
                  <a:pt x="725226" y="921049"/>
                  <a:pt x="732515" y="919227"/>
                  <a:pt x="736159" y="915583"/>
                </a:cubicBezTo>
                <a:close/>
                <a:moveTo>
                  <a:pt x="705182" y="915583"/>
                </a:moveTo>
                <a:cubicBezTo>
                  <a:pt x="703359" y="915583"/>
                  <a:pt x="703359" y="919227"/>
                  <a:pt x="703359" y="919227"/>
                </a:cubicBezTo>
                <a:cubicBezTo>
                  <a:pt x="705182" y="922872"/>
                  <a:pt x="707004" y="919227"/>
                  <a:pt x="710648" y="917405"/>
                </a:cubicBezTo>
                <a:cubicBezTo>
                  <a:pt x="710648" y="915583"/>
                  <a:pt x="707004" y="915583"/>
                  <a:pt x="705182" y="915583"/>
                </a:cubicBezTo>
                <a:close/>
                <a:moveTo>
                  <a:pt x="701537" y="915583"/>
                </a:moveTo>
                <a:cubicBezTo>
                  <a:pt x="694249" y="915583"/>
                  <a:pt x="694249" y="917405"/>
                  <a:pt x="694249" y="921049"/>
                </a:cubicBezTo>
                <a:cubicBezTo>
                  <a:pt x="696071" y="919227"/>
                  <a:pt x="703359" y="919227"/>
                  <a:pt x="701537" y="915583"/>
                </a:cubicBezTo>
                <a:close/>
                <a:moveTo>
                  <a:pt x="628650" y="915583"/>
                </a:moveTo>
                <a:cubicBezTo>
                  <a:pt x="626828" y="915583"/>
                  <a:pt x="625006" y="917405"/>
                  <a:pt x="625006" y="919227"/>
                </a:cubicBezTo>
                <a:cubicBezTo>
                  <a:pt x="628650" y="921049"/>
                  <a:pt x="630472" y="919227"/>
                  <a:pt x="634117" y="919227"/>
                </a:cubicBezTo>
                <a:cubicBezTo>
                  <a:pt x="637761" y="917405"/>
                  <a:pt x="632296" y="915583"/>
                  <a:pt x="628650" y="915583"/>
                </a:cubicBezTo>
                <a:close/>
                <a:moveTo>
                  <a:pt x="515676" y="915583"/>
                </a:moveTo>
                <a:cubicBezTo>
                  <a:pt x="513853" y="917405"/>
                  <a:pt x="519320" y="921049"/>
                  <a:pt x="519320" y="917405"/>
                </a:cubicBezTo>
                <a:cubicBezTo>
                  <a:pt x="517498" y="915583"/>
                  <a:pt x="517498" y="917405"/>
                  <a:pt x="515676" y="915583"/>
                </a:cubicBezTo>
                <a:close/>
                <a:moveTo>
                  <a:pt x="491987" y="915583"/>
                </a:moveTo>
                <a:cubicBezTo>
                  <a:pt x="490165" y="915583"/>
                  <a:pt x="488343" y="917405"/>
                  <a:pt x="488343" y="917405"/>
                </a:cubicBezTo>
                <a:cubicBezTo>
                  <a:pt x="491987" y="922872"/>
                  <a:pt x="497454" y="915583"/>
                  <a:pt x="502920" y="917405"/>
                </a:cubicBezTo>
                <a:cubicBezTo>
                  <a:pt x="501098" y="917405"/>
                  <a:pt x="501098" y="917405"/>
                  <a:pt x="501098" y="915583"/>
                </a:cubicBezTo>
                <a:cubicBezTo>
                  <a:pt x="499276" y="917405"/>
                  <a:pt x="495632" y="917405"/>
                  <a:pt x="491987" y="915583"/>
                </a:cubicBezTo>
                <a:close/>
                <a:moveTo>
                  <a:pt x="411812" y="915583"/>
                </a:moveTo>
                <a:lnTo>
                  <a:pt x="412927" y="915770"/>
                </a:lnTo>
                <a:lnTo>
                  <a:pt x="413697" y="917154"/>
                </a:lnTo>
                <a:close/>
                <a:moveTo>
                  <a:pt x="275149" y="915583"/>
                </a:moveTo>
                <a:cubicBezTo>
                  <a:pt x="275149" y="915583"/>
                  <a:pt x="278793" y="921049"/>
                  <a:pt x="280615" y="921049"/>
                </a:cubicBezTo>
                <a:cubicBezTo>
                  <a:pt x="282438" y="919227"/>
                  <a:pt x="276971" y="915583"/>
                  <a:pt x="275149" y="915583"/>
                </a:cubicBezTo>
                <a:close/>
                <a:moveTo>
                  <a:pt x="200439" y="915583"/>
                </a:moveTo>
                <a:cubicBezTo>
                  <a:pt x="200439" y="922872"/>
                  <a:pt x="211372" y="935628"/>
                  <a:pt x="218661" y="939272"/>
                </a:cubicBezTo>
                <a:cubicBezTo>
                  <a:pt x="220483" y="939272"/>
                  <a:pt x="216839" y="937450"/>
                  <a:pt x="216839" y="935628"/>
                </a:cubicBezTo>
                <a:cubicBezTo>
                  <a:pt x="220483" y="937450"/>
                  <a:pt x="227772" y="948383"/>
                  <a:pt x="229594" y="942916"/>
                </a:cubicBezTo>
                <a:cubicBezTo>
                  <a:pt x="220483" y="931983"/>
                  <a:pt x="211372" y="922872"/>
                  <a:pt x="200439" y="915583"/>
                </a:cubicBezTo>
                <a:close/>
                <a:moveTo>
                  <a:pt x="2154682" y="914672"/>
                </a:moveTo>
                <a:lnTo>
                  <a:pt x="2155632" y="915355"/>
                </a:lnTo>
                <a:cubicBezTo>
                  <a:pt x="2156999" y="917861"/>
                  <a:pt x="2157454" y="921050"/>
                  <a:pt x="2157454" y="924695"/>
                </a:cubicBezTo>
                <a:lnTo>
                  <a:pt x="2155632" y="926517"/>
                </a:lnTo>
                <a:lnTo>
                  <a:pt x="2155632" y="922872"/>
                </a:lnTo>
                <a:lnTo>
                  <a:pt x="2153810" y="924695"/>
                </a:lnTo>
                <a:close/>
                <a:moveTo>
                  <a:pt x="3363734" y="913761"/>
                </a:moveTo>
                <a:lnTo>
                  <a:pt x="3365224" y="918229"/>
                </a:lnTo>
                <a:lnTo>
                  <a:pt x="3361911" y="919227"/>
                </a:lnTo>
                <a:lnTo>
                  <a:pt x="3360670" y="915974"/>
                </a:lnTo>
                <a:close/>
                <a:moveTo>
                  <a:pt x="3234359" y="913761"/>
                </a:moveTo>
                <a:cubicBezTo>
                  <a:pt x="3228893" y="911939"/>
                  <a:pt x="3232537" y="919227"/>
                  <a:pt x="3230715" y="919227"/>
                </a:cubicBezTo>
                <a:cubicBezTo>
                  <a:pt x="3232537" y="921049"/>
                  <a:pt x="3232537" y="919227"/>
                  <a:pt x="3232537" y="917405"/>
                </a:cubicBezTo>
                <a:cubicBezTo>
                  <a:pt x="3236181" y="917405"/>
                  <a:pt x="3234359" y="922872"/>
                  <a:pt x="3238003" y="921049"/>
                </a:cubicBezTo>
                <a:cubicBezTo>
                  <a:pt x="3236181" y="919227"/>
                  <a:pt x="3236181" y="915583"/>
                  <a:pt x="3234359" y="913761"/>
                </a:cubicBezTo>
                <a:close/>
                <a:moveTo>
                  <a:pt x="1326543" y="913761"/>
                </a:moveTo>
                <a:cubicBezTo>
                  <a:pt x="1324721" y="915583"/>
                  <a:pt x="1324721" y="917405"/>
                  <a:pt x="1324721" y="919227"/>
                </a:cubicBezTo>
                <a:cubicBezTo>
                  <a:pt x="1328365" y="921049"/>
                  <a:pt x="1330188" y="921049"/>
                  <a:pt x="1332009" y="922872"/>
                </a:cubicBezTo>
                <a:cubicBezTo>
                  <a:pt x="1337476" y="919227"/>
                  <a:pt x="1333832" y="915583"/>
                  <a:pt x="1339299" y="915583"/>
                </a:cubicBezTo>
                <a:cubicBezTo>
                  <a:pt x="1337476" y="913761"/>
                  <a:pt x="1333832" y="915583"/>
                  <a:pt x="1332009" y="913761"/>
                </a:cubicBezTo>
                <a:cubicBezTo>
                  <a:pt x="1330188" y="915583"/>
                  <a:pt x="1330188" y="917405"/>
                  <a:pt x="1330188" y="919227"/>
                </a:cubicBezTo>
                <a:cubicBezTo>
                  <a:pt x="1326543" y="917405"/>
                  <a:pt x="1330188" y="915583"/>
                  <a:pt x="1328365" y="913761"/>
                </a:cubicBezTo>
                <a:cubicBezTo>
                  <a:pt x="1328365" y="915583"/>
                  <a:pt x="1328365" y="915583"/>
                  <a:pt x="1326543" y="913761"/>
                </a:cubicBezTo>
                <a:close/>
                <a:moveTo>
                  <a:pt x="1237256" y="913761"/>
                </a:moveTo>
                <a:cubicBezTo>
                  <a:pt x="1235434" y="915583"/>
                  <a:pt x="1231790" y="917405"/>
                  <a:pt x="1231790" y="919227"/>
                </a:cubicBezTo>
                <a:cubicBezTo>
                  <a:pt x="1239080" y="924695"/>
                  <a:pt x="1240901" y="919227"/>
                  <a:pt x="1237256" y="913761"/>
                </a:cubicBezTo>
                <a:close/>
                <a:moveTo>
                  <a:pt x="881933" y="913761"/>
                </a:moveTo>
                <a:cubicBezTo>
                  <a:pt x="881933" y="915583"/>
                  <a:pt x="881933" y="915583"/>
                  <a:pt x="881933" y="917405"/>
                </a:cubicBezTo>
                <a:cubicBezTo>
                  <a:pt x="883755" y="917405"/>
                  <a:pt x="883755" y="919227"/>
                  <a:pt x="885577" y="919227"/>
                </a:cubicBezTo>
                <a:cubicBezTo>
                  <a:pt x="883755" y="919227"/>
                  <a:pt x="883755" y="919227"/>
                  <a:pt x="881933" y="919227"/>
                </a:cubicBezTo>
                <a:cubicBezTo>
                  <a:pt x="885577" y="922872"/>
                  <a:pt x="885577" y="922872"/>
                  <a:pt x="887399" y="926516"/>
                </a:cubicBezTo>
                <a:cubicBezTo>
                  <a:pt x="887399" y="924695"/>
                  <a:pt x="887399" y="922872"/>
                  <a:pt x="889222" y="921049"/>
                </a:cubicBezTo>
                <a:cubicBezTo>
                  <a:pt x="891043" y="921049"/>
                  <a:pt x="891043" y="921049"/>
                  <a:pt x="891043" y="921049"/>
                </a:cubicBezTo>
                <a:cubicBezTo>
                  <a:pt x="891043" y="921049"/>
                  <a:pt x="891043" y="922872"/>
                  <a:pt x="889222" y="922872"/>
                </a:cubicBezTo>
                <a:cubicBezTo>
                  <a:pt x="889222" y="924695"/>
                  <a:pt x="891043" y="922872"/>
                  <a:pt x="891043" y="922872"/>
                </a:cubicBezTo>
                <a:cubicBezTo>
                  <a:pt x="887399" y="930160"/>
                  <a:pt x="894688" y="937450"/>
                  <a:pt x="901976" y="942916"/>
                </a:cubicBezTo>
                <a:cubicBezTo>
                  <a:pt x="901976" y="942916"/>
                  <a:pt x="901976" y="941094"/>
                  <a:pt x="900154" y="939272"/>
                </a:cubicBezTo>
                <a:cubicBezTo>
                  <a:pt x="900154" y="939272"/>
                  <a:pt x="901976" y="941094"/>
                  <a:pt x="901976" y="941094"/>
                </a:cubicBezTo>
                <a:cubicBezTo>
                  <a:pt x="900154" y="933804"/>
                  <a:pt x="896510" y="928339"/>
                  <a:pt x="891043" y="921049"/>
                </a:cubicBezTo>
                <a:cubicBezTo>
                  <a:pt x="891043" y="921049"/>
                  <a:pt x="892866" y="921049"/>
                  <a:pt x="892866" y="921049"/>
                </a:cubicBezTo>
                <a:cubicBezTo>
                  <a:pt x="889222" y="919227"/>
                  <a:pt x="889222" y="913761"/>
                  <a:pt x="881933" y="913761"/>
                </a:cubicBezTo>
                <a:close/>
                <a:moveTo>
                  <a:pt x="266038" y="913761"/>
                </a:moveTo>
                <a:cubicBezTo>
                  <a:pt x="267860" y="924695"/>
                  <a:pt x="276971" y="928339"/>
                  <a:pt x="289726" y="931983"/>
                </a:cubicBezTo>
                <a:cubicBezTo>
                  <a:pt x="287904" y="930160"/>
                  <a:pt x="276971" y="921049"/>
                  <a:pt x="271504" y="919227"/>
                </a:cubicBezTo>
                <a:cubicBezTo>
                  <a:pt x="269682" y="915583"/>
                  <a:pt x="267860" y="917405"/>
                  <a:pt x="266038" y="913761"/>
                </a:cubicBezTo>
                <a:close/>
                <a:moveTo>
                  <a:pt x="1319254" y="911939"/>
                </a:moveTo>
                <a:cubicBezTo>
                  <a:pt x="1321077" y="913761"/>
                  <a:pt x="1321077" y="915583"/>
                  <a:pt x="1322899" y="917405"/>
                </a:cubicBezTo>
                <a:cubicBezTo>
                  <a:pt x="1326543" y="915583"/>
                  <a:pt x="1322899" y="910117"/>
                  <a:pt x="1319254" y="911939"/>
                </a:cubicBezTo>
                <a:close/>
                <a:moveTo>
                  <a:pt x="1217213" y="911939"/>
                </a:moveTo>
                <a:cubicBezTo>
                  <a:pt x="1204457" y="917405"/>
                  <a:pt x="1191703" y="917405"/>
                  <a:pt x="1178947" y="926516"/>
                </a:cubicBezTo>
                <a:cubicBezTo>
                  <a:pt x="1180769" y="926516"/>
                  <a:pt x="1182592" y="928339"/>
                  <a:pt x="1184414" y="928339"/>
                </a:cubicBezTo>
                <a:cubicBezTo>
                  <a:pt x="1188058" y="928339"/>
                  <a:pt x="1184414" y="926516"/>
                  <a:pt x="1186236" y="924695"/>
                </a:cubicBezTo>
                <a:cubicBezTo>
                  <a:pt x="1188058" y="931072"/>
                  <a:pt x="1192159" y="931528"/>
                  <a:pt x="1196941" y="930389"/>
                </a:cubicBezTo>
                <a:lnTo>
                  <a:pt x="1199751" y="929654"/>
                </a:lnTo>
                <a:lnTo>
                  <a:pt x="1198991" y="930160"/>
                </a:lnTo>
                <a:lnTo>
                  <a:pt x="1203282" y="928730"/>
                </a:lnTo>
                <a:lnTo>
                  <a:pt x="1204408" y="928435"/>
                </a:lnTo>
                <a:lnTo>
                  <a:pt x="1202636" y="931983"/>
                </a:lnTo>
                <a:cubicBezTo>
                  <a:pt x="1204457" y="935628"/>
                  <a:pt x="1213568" y="931983"/>
                  <a:pt x="1215390" y="928339"/>
                </a:cubicBezTo>
                <a:lnTo>
                  <a:pt x="1204779" y="928339"/>
                </a:lnTo>
                <a:lnTo>
                  <a:pt x="1211747" y="926516"/>
                </a:lnTo>
                <a:cubicBezTo>
                  <a:pt x="1211747" y="924695"/>
                  <a:pt x="1211747" y="924695"/>
                  <a:pt x="1211747" y="922872"/>
                </a:cubicBezTo>
                <a:cubicBezTo>
                  <a:pt x="1217213" y="924695"/>
                  <a:pt x="1220858" y="922872"/>
                  <a:pt x="1226323" y="919227"/>
                </a:cubicBezTo>
                <a:cubicBezTo>
                  <a:pt x="1222679" y="917405"/>
                  <a:pt x="1220858" y="915583"/>
                  <a:pt x="1217213" y="911939"/>
                </a:cubicBezTo>
                <a:close/>
                <a:moveTo>
                  <a:pt x="506565" y="911939"/>
                </a:moveTo>
                <a:cubicBezTo>
                  <a:pt x="506565" y="913761"/>
                  <a:pt x="512031" y="917405"/>
                  <a:pt x="512031" y="915583"/>
                </a:cubicBezTo>
                <a:cubicBezTo>
                  <a:pt x="510209" y="913761"/>
                  <a:pt x="508387" y="911939"/>
                  <a:pt x="506565" y="911939"/>
                </a:cubicBezTo>
                <a:close/>
                <a:moveTo>
                  <a:pt x="258749" y="911939"/>
                </a:moveTo>
                <a:cubicBezTo>
                  <a:pt x="266038" y="922872"/>
                  <a:pt x="273327" y="937450"/>
                  <a:pt x="287904" y="941094"/>
                </a:cubicBezTo>
                <a:cubicBezTo>
                  <a:pt x="284259" y="937450"/>
                  <a:pt x="280615" y="931983"/>
                  <a:pt x="273327" y="930160"/>
                </a:cubicBezTo>
                <a:cubicBezTo>
                  <a:pt x="275149" y="924695"/>
                  <a:pt x="260571" y="913761"/>
                  <a:pt x="258749" y="911939"/>
                </a:cubicBezTo>
                <a:close/>
                <a:moveTo>
                  <a:pt x="3251215" y="911711"/>
                </a:moveTo>
                <a:cubicBezTo>
                  <a:pt x="3248481" y="910572"/>
                  <a:pt x="3244382" y="911027"/>
                  <a:pt x="3239826" y="911939"/>
                </a:cubicBezTo>
                <a:cubicBezTo>
                  <a:pt x="3241648" y="917405"/>
                  <a:pt x="3245292" y="921049"/>
                  <a:pt x="3254403" y="921049"/>
                </a:cubicBezTo>
                <a:cubicBezTo>
                  <a:pt x="3255314" y="915583"/>
                  <a:pt x="3253948" y="912850"/>
                  <a:pt x="3251215" y="911711"/>
                </a:cubicBezTo>
                <a:close/>
                <a:moveTo>
                  <a:pt x="3376261" y="910572"/>
                </a:moveTo>
                <a:lnTo>
                  <a:pt x="3380319" y="911958"/>
                </a:lnTo>
                <a:lnTo>
                  <a:pt x="3378539" y="914217"/>
                </a:lnTo>
                <a:lnTo>
                  <a:pt x="3365556" y="918129"/>
                </a:lnTo>
                <a:lnTo>
                  <a:pt x="3365556" y="915583"/>
                </a:lnTo>
                <a:cubicBezTo>
                  <a:pt x="3368289" y="912850"/>
                  <a:pt x="3372389" y="911028"/>
                  <a:pt x="3376261" y="910572"/>
                </a:cubicBezTo>
                <a:close/>
                <a:moveTo>
                  <a:pt x="909265" y="910163"/>
                </a:moveTo>
                <a:lnTo>
                  <a:pt x="912909" y="911985"/>
                </a:lnTo>
                <a:lnTo>
                  <a:pt x="912910" y="911986"/>
                </a:lnTo>
                <a:lnTo>
                  <a:pt x="912909" y="911987"/>
                </a:lnTo>
                <a:lnTo>
                  <a:pt x="911090" y="913806"/>
                </a:lnTo>
                <a:lnTo>
                  <a:pt x="920198" y="919271"/>
                </a:lnTo>
                <a:cubicBezTo>
                  <a:pt x="920198" y="922915"/>
                  <a:pt x="918376" y="928383"/>
                  <a:pt x="918376" y="932027"/>
                </a:cubicBezTo>
                <a:cubicBezTo>
                  <a:pt x="916555" y="928383"/>
                  <a:pt x="912909" y="921093"/>
                  <a:pt x="911087" y="915626"/>
                </a:cubicBezTo>
                <a:lnTo>
                  <a:pt x="911087" y="913808"/>
                </a:lnTo>
                <a:cubicBezTo>
                  <a:pt x="911087" y="913808"/>
                  <a:pt x="909265" y="913808"/>
                  <a:pt x="909265" y="911986"/>
                </a:cubicBezTo>
                <a:cubicBezTo>
                  <a:pt x="909265" y="911986"/>
                  <a:pt x="909265" y="910163"/>
                  <a:pt x="909265" y="910163"/>
                </a:cubicBezTo>
                <a:close/>
                <a:moveTo>
                  <a:pt x="1228146" y="910117"/>
                </a:moveTo>
                <a:cubicBezTo>
                  <a:pt x="1229969" y="910117"/>
                  <a:pt x="1228146" y="911939"/>
                  <a:pt x="1229969" y="911939"/>
                </a:cubicBezTo>
                <a:cubicBezTo>
                  <a:pt x="1226323" y="913761"/>
                  <a:pt x="1228146" y="910117"/>
                  <a:pt x="1228146" y="910117"/>
                </a:cubicBezTo>
                <a:close/>
                <a:moveTo>
                  <a:pt x="1228146" y="910117"/>
                </a:moveTo>
                <a:cubicBezTo>
                  <a:pt x="1224501" y="910117"/>
                  <a:pt x="1222679" y="910117"/>
                  <a:pt x="1220858" y="911939"/>
                </a:cubicBezTo>
                <a:cubicBezTo>
                  <a:pt x="1222679" y="913761"/>
                  <a:pt x="1231790" y="921049"/>
                  <a:pt x="1229969" y="913761"/>
                </a:cubicBezTo>
                <a:cubicBezTo>
                  <a:pt x="1231790" y="911939"/>
                  <a:pt x="1229969" y="915583"/>
                  <a:pt x="1231790" y="915583"/>
                </a:cubicBezTo>
                <a:cubicBezTo>
                  <a:pt x="1233612" y="915583"/>
                  <a:pt x="1235434" y="913761"/>
                  <a:pt x="1237256" y="911939"/>
                </a:cubicBezTo>
                <a:cubicBezTo>
                  <a:pt x="1233612" y="908295"/>
                  <a:pt x="1231790" y="908295"/>
                  <a:pt x="1228146" y="910117"/>
                </a:cubicBezTo>
                <a:close/>
                <a:moveTo>
                  <a:pt x="723404" y="910117"/>
                </a:moveTo>
                <a:cubicBezTo>
                  <a:pt x="717937" y="911939"/>
                  <a:pt x="714293" y="911939"/>
                  <a:pt x="708826" y="913761"/>
                </a:cubicBezTo>
                <a:cubicBezTo>
                  <a:pt x="714293" y="917405"/>
                  <a:pt x="717937" y="911939"/>
                  <a:pt x="723404" y="910117"/>
                </a:cubicBezTo>
                <a:cubicBezTo>
                  <a:pt x="725226" y="911939"/>
                  <a:pt x="719759" y="913761"/>
                  <a:pt x="719759" y="915583"/>
                </a:cubicBezTo>
                <a:cubicBezTo>
                  <a:pt x="723404" y="915583"/>
                  <a:pt x="725226" y="913761"/>
                  <a:pt x="728870" y="913761"/>
                </a:cubicBezTo>
                <a:cubicBezTo>
                  <a:pt x="727048" y="911939"/>
                  <a:pt x="725226" y="911939"/>
                  <a:pt x="723404" y="910117"/>
                </a:cubicBezTo>
                <a:close/>
                <a:moveTo>
                  <a:pt x="362613" y="910117"/>
                </a:moveTo>
                <a:cubicBezTo>
                  <a:pt x="362613" y="913761"/>
                  <a:pt x="369902" y="917405"/>
                  <a:pt x="371724" y="917405"/>
                </a:cubicBezTo>
                <a:cubicBezTo>
                  <a:pt x="369902" y="911939"/>
                  <a:pt x="366257" y="913761"/>
                  <a:pt x="362613" y="910117"/>
                </a:cubicBezTo>
                <a:close/>
                <a:moveTo>
                  <a:pt x="1204457" y="909206"/>
                </a:moveTo>
                <a:cubicBezTo>
                  <a:pt x="1201268" y="910572"/>
                  <a:pt x="1198079" y="912850"/>
                  <a:pt x="1195346" y="913761"/>
                </a:cubicBezTo>
                <a:cubicBezTo>
                  <a:pt x="1198991" y="915583"/>
                  <a:pt x="1208102" y="911939"/>
                  <a:pt x="1213568" y="910117"/>
                </a:cubicBezTo>
                <a:cubicBezTo>
                  <a:pt x="1210835" y="907383"/>
                  <a:pt x="1207646" y="907839"/>
                  <a:pt x="1204457" y="909206"/>
                </a:cubicBezTo>
                <a:close/>
                <a:moveTo>
                  <a:pt x="487432" y="909206"/>
                </a:moveTo>
                <a:cubicBezTo>
                  <a:pt x="486065" y="908295"/>
                  <a:pt x="484698" y="908295"/>
                  <a:pt x="482876" y="910117"/>
                </a:cubicBezTo>
                <a:cubicBezTo>
                  <a:pt x="488343" y="921049"/>
                  <a:pt x="486521" y="910117"/>
                  <a:pt x="491987" y="913761"/>
                </a:cubicBezTo>
                <a:cubicBezTo>
                  <a:pt x="490165" y="911939"/>
                  <a:pt x="488798" y="910117"/>
                  <a:pt x="487432" y="909206"/>
                </a:cubicBezTo>
                <a:close/>
                <a:moveTo>
                  <a:pt x="1304677" y="908295"/>
                </a:moveTo>
                <a:cubicBezTo>
                  <a:pt x="1302855" y="911939"/>
                  <a:pt x="1301033" y="915583"/>
                  <a:pt x="1297388" y="919227"/>
                </a:cubicBezTo>
                <a:cubicBezTo>
                  <a:pt x="1299210" y="921049"/>
                  <a:pt x="1299210" y="921049"/>
                  <a:pt x="1301033" y="919227"/>
                </a:cubicBezTo>
                <a:cubicBezTo>
                  <a:pt x="1300122" y="920138"/>
                  <a:pt x="1298300" y="921505"/>
                  <a:pt x="1297161" y="923100"/>
                </a:cubicBezTo>
                <a:lnTo>
                  <a:pt x="1297271" y="925640"/>
                </a:lnTo>
                <a:lnTo>
                  <a:pt x="1288733" y="934944"/>
                </a:lnTo>
                <a:cubicBezTo>
                  <a:pt x="1279622" y="940183"/>
                  <a:pt x="1269145" y="944738"/>
                  <a:pt x="1262767" y="950204"/>
                </a:cubicBezTo>
                <a:cubicBezTo>
                  <a:pt x="1264589" y="952026"/>
                  <a:pt x="1268233" y="950204"/>
                  <a:pt x="1270056" y="948383"/>
                </a:cubicBezTo>
                <a:cubicBezTo>
                  <a:pt x="1280989" y="952026"/>
                  <a:pt x="1297388" y="939272"/>
                  <a:pt x="1306499" y="946560"/>
                </a:cubicBezTo>
                <a:cubicBezTo>
                  <a:pt x="1308321" y="942916"/>
                  <a:pt x="1311966" y="939272"/>
                  <a:pt x="1311966" y="935628"/>
                </a:cubicBezTo>
                <a:cubicBezTo>
                  <a:pt x="1313788" y="937450"/>
                  <a:pt x="1310143" y="941094"/>
                  <a:pt x="1311966" y="942916"/>
                </a:cubicBezTo>
                <a:cubicBezTo>
                  <a:pt x="1317432" y="941094"/>
                  <a:pt x="1320167" y="937905"/>
                  <a:pt x="1321761" y="934260"/>
                </a:cubicBezTo>
                <a:lnTo>
                  <a:pt x="1323289" y="928377"/>
                </a:lnTo>
                <a:lnTo>
                  <a:pt x="1325176" y="928566"/>
                </a:lnTo>
                <a:cubicBezTo>
                  <a:pt x="1326087" y="927428"/>
                  <a:pt x="1326543" y="925605"/>
                  <a:pt x="1324721" y="924695"/>
                </a:cubicBezTo>
                <a:lnTo>
                  <a:pt x="1323734" y="926669"/>
                </a:lnTo>
                <a:lnTo>
                  <a:pt x="1324721" y="922872"/>
                </a:lnTo>
                <a:cubicBezTo>
                  <a:pt x="1319254" y="917405"/>
                  <a:pt x="1315610" y="911939"/>
                  <a:pt x="1311966" y="910117"/>
                </a:cubicBezTo>
                <a:cubicBezTo>
                  <a:pt x="1310143" y="911939"/>
                  <a:pt x="1308321" y="906473"/>
                  <a:pt x="1304677" y="908295"/>
                </a:cubicBezTo>
                <a:close/>
                <a:moveTo>
                  <a:pt x="1051395" y="908295"/>
                </a:moveTo>
                <a:cubicBezTo>
                  <a:pt x="1045929" y="908295"/>
                  <a:pt x="1045929" y="913761"/>
                  <a:pt x="1044106" y="917405"/>
                </a:cubicBezTo>
                <a:cubicBezTo>
                  <a:pt x="1045929" y="917405"/>
                  <a:pt x="1047750" y="919227"/>
                  <a:pt x="1049573" y="919227"/>
                </a:cubicBezTo>
                <a:cubicBezTo>
                  <a:pt x="1051395" y="915583"/>
                  <a:pt x="1051395" y="911939"/>
                  <a:pt x="1051395" y="908295"/>
                </a:cubicBezTo>
                <a:close/>
                <a:moveTo>
                  <a:pt x="743447" y="908295"/>
                </a:moveTo>
                <a:cubicBezTo>
                  <a:pt x="741626" y="908295"/>
                  <a:pt x="741626" y="910117"/>
                  <a:pt x="739803" y="910117"/>
                </a:cubicBezTo>
                <a:cubicBezTo>
                  <a:pt x="739803" y="910117"/>
                  <a:pt x="745269" y="921049"/>
                  <a:pt x="743447" y="908295"/>
                </a:cubicBezTo>
                <a:close/>
                <a:moveTo>
                  <a:pt x="736159" y="908295"/>
                </a:moveTo>
                <a:cubicBezTo>
                  <a:pt x="732515" y="908295"/>
                  <a:pt x="730692" y="908295"/>
                  <a:pt x="727048" y="910117"/>
                </a:cubicBezTo>
                <a:cubicBezTo>
                  <a:pt x="730692" y="913761"/>
                  <a:pt x="736159" y="910117"/>
                  <a:pt x="736159" y="908295"/>
                </a:cubicBezTo>
                <a:close/>
                <a:moveTo>
                  <a:pt x="614074" y="908295"/>
                </a:moveTo>
                <a:cubicBezTo>
                  <a:pt x="619539" y="917405"/>
                  <a:pt x="621362" y="908295"/>
                  <a:pt x="625006" y="910117"/>
                </a:cubicBezTo>
                <a:cubicBezTo>
                  <a:pt x="623185" y="908295"/>
                  <a:pt x="617717" y="908295"/>
                  <a:pt x="614074" y="908295"/>
                </a:cubicBezTo>
                <a:close/>
                <a:moveTo>
                  <a:pt x="612251" y="908295"/>
                </a:moveTo>
                <a:cubicBezTo>
                  <a:pt x="610429" y="910117"/>
                  <a:pt x="610429" y="908295"/>
                  <a:pt x="608606" y="910117"/>
                </a:cubicBezTo>
                <a:cubicBezTo>
                  <a:pt x="626828" y="922872"/>
                  <a:pt x="610429" y="908295"/>
                  <a:pt x="612251" y="908295"/>
                </a:cubicBezTo>
                <a:close/>
                <a:moveTo>
                  <a:pt x="424567" y="908295"/>
                </a:moveTo>
                <a:cubicBezTo>
                  <a:pt x="420923" y="911939"/>
                  <a:pt x="428211" y="919227"/>
                  <a:pt x="431856" y="915583"/>
                </a:cubicBezTo>
                <a:cubicBezTo>
                  <a:pt x="428211" y="913761"/>
                  <a:pt x="428211" y="908295"/>
                  <a:pt x="424567" y="908295"/>
                </a:cubicBezTo>
                <a:close/>
                <a:moveTo>
                  <a:pt x="349858" y="908295"/>
                </a:moveTo>
                <a:cubicBezTo>
                  <a:pt x="353502" y="917405"/>
                  <a:pt x="366257" y="917405"/>
                  <a:pt x="371724" y="921049"/>
                </a:cubicBezTo>
                <a:cubicBezTo>
                  <a:pt x="369902" y="913761"/>
                  <a:pt x="358969" y="917405"/>
                  <a:pt x="355324" y="910117"/>
                </a:cubicBezTo>
                <a:cubicBezTo>
                  <a:pt x="355324" y="910117"/>
                  <a:pt x="355324" y="910117"/>
                  <a:pt x="351680" y="908295"/>
                </a:cubicBezTo>
                <a:cubicBezTo>
                  <a:pt x="351680" y="908295"/>
                  <a:pt x="349858" y="908295"/>
                  <a:pt x="349858" y="908295"/>
                </a:cubicBezTo>
                <a:close/>
                <a:moveTo>
                  <a:pt x="335280" y="908295"/>
                </a:moveTo>
                <a:cubicBezTo>
                  <a:pt x="335280" y="915583"/>
                  <a:pt x="342569" y="921049"/>
                  <a:pt x="346213" y="924695"/>
                </a:cubicBezTo>
                <a:lnTo>
                  <a:pt x="346213" y="921049"/>
                </a:lnTo>
                <a:cubicBezTo>
                  <a:pt x="346213" y="924695"/>
                  <a:pt x="349858" y="926516"/>
                  <a:pt x="355324" y="926516"/>
                </a:cubicBezTo>
                <a:cubicBezTo>
                  <a:pt x="355324" y="924695"/>
                  <a:pt x="351680" y="924695"/>
                  <a:pt x="349858" y="922872"/>
                </a:cubicBezTo>
                <a:cubicBezTo>
                  <a:pt x="355324" y="921049"/>
                  <a:pt x="360791" y="930160"/>
                  <a:pt x="368079" y="924695"/>
                </a:cubicBezTo>
                <a:cubicBezTo>
                  <a:pt x="355324" y="928339"/>
                  <a:pt x="355324" y="910117"/>
                  <a:pt x="342569" y="908295"/>
                </a:cubicBezTo>
                <a:cubicBezTo>
                  <a:pt x="340747" y="908295"/>
                  <a:pt x="337102" y="908295"/>
                  <a:pt x="338926" y="911939"/>
                </a:cubicBezTo>
                <a:cubicBezTo>
                  <a:pt x="337102" y="910117"/>
                  <a:pt x="337102" y="908295"/>
                  <a:pt x="335280" y="908295"/>
                </a:cubicBezTo>
                <a:close/>
                <a:moveTo>
                  <a:pt x="693110" y="907840"/>
                </a:moveTo>
                <a:cubicBezTo>
                  <a:pt x="691060" y="907840"/>
                  <a:pt x="688782" y="908295"/>
                  <a:pt x="686960" y="908295"/>
                </a:cubicBezTo>
                <a:cubicBezTo>
                  <a:pt x="685138" y="910117"/>
                  <a:pt x="683316" y="911939"/>
                  <a:pt x="683316" y="913761"/>
                </a:cubicBezTo>
                <a:cubicBezTo>
                  <a:pt x="686960" y="915583"/>
                  <a:pt x="692426" y="913761"/>
                  <a:pt x="697893" y="910117"/>
                </a:cubicBezTo>
                <a:cubicBezTo>
                  <a:pt x="696982" y="908295"/>
                  <a:pt x="695160" y="907840"/>
                  <a:pt x="693110" y="907840"/>
                </a:cubicBezTo>
                <a:close/>
                <a:moveTo>
                  <a:pt x="1354951" y="907650"/>
                </a:moveTo>
                <a:lnTo>
                  <a:pt x="1353878" y="908293"/>
                </a:lnTo>
                <a:lnTo>
                  <a:pt x="1353876" y="908294"/>
                </a:lnTo>
                <a:lnTo>
                  <a:pt x="1353930" y="908173"/>
                </a:lnTo>
                <a:close/>
                <a:moveTo>
                  <a:pt x="1322899" y="906473"/>
                </a:moveTo>
                <a:cubicBezTo>
                  <a:pt x="1321077" y="908295"/>
                  <a:pt x="1321077" y="906473"/>
                  <a:pt x="1319254" y="910117"/>
                </a:cubicBezTo>
                <a:cubicBezTo>
                  <a:pt x="1321077" y="910117"/>
                  <a:pt x="1322899" y="911939"/>
                  <a:pt x="1324721" y="910117"/>
                </a:cubicBezTo>
                <a:cubicBezTo>
                  <a:pt x="1324721" y="908295"/>
                  <a:pt x="1324721" y="908295"/>
                  <a:pt x="1322899" y="906473"/>
                </a:cubicBezTo>
                <a:close/>
                <a:moveTo>
                  <a:pt x="1297388" y="906473"/>
                </a:moveTo>
                <a:cubicBezTo>
                  <a:pt x="1295566" y="911939"/>
                  <a:pt x="1288277" y="917405"/>
                  <a:pt x="1284633" y="921049"/>
                </a:cubicBezTo>
                <a:cubicBezTo>
                  <a:pt x="1291922" y="924695"/>
                  <a:pt x="1301033" y="913761"/>
                  <a:pt x="1297388" y="906473"/>
                </a:cubicBezTo>
                <a:close/>
                <a:moveTo>
                  <a:pt x="1295566" y="906473"/>
                </a:moveTo>
                <a:cubicBezTo>
                  <a:pt x="1290100" y="904651"/>
                  <a:pt x="1286455" y="911939"/>
                  <a:pt x="1286455" y="915583"/>
                </a:cubicBezTo>
                <a:cubicBezTo>
                  <a:pt x="1291922" y="915583"/>
                  <a:pt x="1293744" y="908295"/>
                  <a:pt x="1295566" y="906473"/>
                </a:cubicBezTo>
                <a:close/>
                <a:moveTo>
                  <a:pt x="1270056" y="906473"/>
                </a:moveTo>
                <a:cubicBezTo>
                  <a:pt x="1268233" y="908295"/>
                  <a:pt x="1270056" y="913761"/>
                  <a:pt x="1268233" y="910117"/>
                </a:cubicBezTo>
                <a:cubicBezTo>
                  <a:pt x="1264589" y="915583"/>
                  <a:pt x="1273700" y="919227"/>
                  <a:pt x="1271878" y="921049"/>
                </a:cubicBezTo>
                <a:cubicBezTo>
                  <a:pt x="1273700" y="922872"/>
                  <a:pt x="1273700" y="921049"/>
                  <a:pt x="1275522" y="922872"/>
                </a:cubicBezTo>
                <a:cubicBezTo>
                  <a:pt x="1277344" y="921049"/>
                  <a:pt x="1275522" y="921049"/>
                  <a:pt x="1277344" y="919227"/>
                </a:cubicBezTo>
                <a:cubicBezTo>
                  <a:pt x="1277344" y="922872"/>
                  <a:pt x="1280989" y="919227"/>
                  <a:pt x="1282811" y="917405"/>
                </a:cubicBezTo>
                <a:cubicBezTo>
                  <a:pt x="1282811" y="915583"/>
                  <a:pt x="1280989" y="917405"/>
                  <a:pt x="1280989" y="915583"/>
                </a:cubicBezTo>
                <a:cubicBezTo>
                  <a:pt x="1286455" y="917405"/>
                  <a:pt x="1282811" y="910117"/>
                  <a:pt x="1280989" y="908295"/>
                </a:cubicBezTo>
                <a:cubicBezTo>
                  <a:pt x="1277344" y="906473"/>
                  <a:pt x="1273700" y="908295"/>
                  <a:pt x="1270056" y="906473"/>
                </a:cubicBezTo>
                <a:close/>
                <a:moveTo>
                  <a:pt x="1080549" y="906473"/>
                </a:moveTo>
                <a:cubicBezTo>
                  <a:pt x="1084194" y="908295"/>
                  <a:pt x="1086016" y="911939"/>
                  <a:pt x="1087838" y="908295"/>
                </a:cubicBezTo>
                <a:cubicBezTo>
                  <a:pt x="1086016" y="906473"/>
                  <a:pt x="1082373" y="904651"/>
                  <a:pt x="1080549" y="906473"/>
                </a:cubicBezTo>
                <a:close/>
                <a:moveTo>
                  <a:pt x="1078727" y="906473"/>
                </a:moveTo>
                <a:cubicBezTo>
                  <a:pt x="1076905" y="908295"/>
                  <a:pt x="1071439" y="910117"/>
                  <a:pt x="1067794" y="913761"/>
                </a:cubicBezTo>
                <a:cubicBezTo>
                  <a:pt x="1067794" y="915583"/>
                  <a:pt x="1067794" y="915583"/>
                  <a:pt x="1069616" y="915583"/>
                </a:cubicBezTo>
                <a:cubicBezTo>
                  <a:pt x="1055040" y="919227"/>
                  <a:pt x="1053217" y="931983"/>
                  <a:pt x="1055040" y="942916"/>
                </a:cubicBezTo>
                <a:cubicBezTo>
                  <a:pt x="1060506" y="935628"/>
                  <a:pt x="1069616" y="919227"/>
                  <a:pt x="1080549" y="919227"/>
                </a:cubicBezTo>
                <a:cubicBezTo>
                  <a:pt x="1082373" y="917405"/>
                  <a:pt x="1080549" y="917405"/>
                  <a:pt x="1082373" y="915583"/>
                </a:cubicBezTo>
                <a:cubicBezTo>
                  <a:pt x="1082373" y="915583"/>
                  <a:pt x="1084194" y="919227"/>
                  <a:pt x="1086016" y="919227"/>
                </a:cubicBezTo>
                <a:cubicBezTo>
                  <a:pt x="1087838" y="917405"/>
                  <a:pt x="1086016" y="915583"/>
                  <a:pt x="1084194" y="911939"/>
                </a:cubicBezTo>
                <a:cubicBezTo>
                  <a:pt x="1082373" y="915583"/>
                  <a:pt x="1082373" y="911939"/>
                  <a:pt x="1082373" y="910117"/>
                </a:cubicBezTo>
                <a:cubicBezTo>
                  <a:pt x="1082373" y="908295"/>
                  <a:pt x="1080549" y="908295"/>
                  <a:pt x="1078727" y="906473"/>
                </a:cubicBezTo>
                <a:close/>
                <a:moveTo>
                  <a:pt x="1067794" y="906473"/>
                </a:moveTo>
                <a:cubicBezTo>
                  <a:pt x="1065972" y="906473"/>
                  <a:pt x="1067794" y="908295"/>
                  <a:pt x="1065972" y="910117"/>
                </a:cubicBezTo>
                <a:cubicBezTo>
                  <a:pt x="1067794" y="911939"/>
                  <a:pt x="1071439" y="908295"/>
                  <a:pt x="1067794" y="906473"/>
                </a:cubicBezTo>
                <a:close/>
                <a:moveTo>
                  <a:pt x="1056861" y="906473"/>
                </a:moveTo>
                <a:cubicBezTo>
                  <a:pt x="1055040" y="910117"/>
                  <a:pt x="1056861" y="913761"/>
                  <a:pt x="1055040" y="917405"/>
                </a:cubicBezTo>
                <a:cubicBezTo>
                  <a:pt x="1062328" y="915583"/>
                  <a:pt x="1062328" y="911939"/>
                  <a:pt x="1065972" y="908295"/>
                </a:cubicBezTo>
                <a:cubicBezTo>
                  <a:pt x="1062328" y="906473"/>
                  <a:pt x="1060506" y="908295"/>
                  <a:pt x="1056861" y="906473"/>
                </a:cubicBezTo>
                <a:close/>
                <a:moveTo>
                  <a:pt x="765313" y="906473"/>
                </a:moveTo>
                <a:cubicBezTo>
                  <a:pt x="756203" y="904651"/>
                  <a:pt x="737981" y="910117"/>
                  <a:pt x="741626" y="921049"/>
                </a:cubicBezTo>
                <a:cubicBezTo>
                  <a:pt x="741626" y="922872"/>
                  <a:pt x="745269" y="922872"/>
                  <a:pt x="745269" y="924695"/>
                </a:cubicBezTo>
                <a:cubicBezTo>
                  <a:pt x="747092" y="922872"/>
                  <a:pt x="750737" y="922872"/>
                  <a:pt x="748914" y="921049"/>
                </a:cubicBezTo>
                <a:cubicBezTo>
                  <a:pt x="750737" y="922872"/>
                  <a:pt x="752558" y="922872"/>
                  <a:pt x="754380" y="921049"/>
                </a:cubicBezTo>
                <a:cubicBezTo>
                  <a:pt x="750737" y="921049"/>
                  <a:pt x="750737" y="919227"/>
                  <a:pt x="748914" y="917405"/>
                </a:cubicBezTo>
                <a:cubicBezTo>
                  <a:pt x="756203" y="915583"/>
                  <a:pt x="756203" y="921049"/>
                  <a:pt x="763491" y="926516"/>
                </a:cubicBezTo>
                <a:cubicBezTo>
                  <a:pt x="763491" y="926516"/>
                  <a:pt x="765313" y="924695"/>
                  <a:pt x="767136" y="922872"/>
                </a:cubicBezTo>
                <a:cubicBezTo>
                  <a:pt x="767136" y="926516"/>
                  <a:pt x="765313" y="926516"/>
                  <a:pt x="763491" y="928339"/>
                </a:cubicBezTo>
                <a:cubicBezTo>
                  <a:pt x="779892" y="931983"/>
                  <a:pt x="790824" y="948383"/>
                  <a:pt x="807223" y="941094"/>
                </a:cubicBezTo>
                <a:cubicBezTo>
                  <a:pt x="807223" y="941094"/>
                  <a:pt x="807223" y="939272"/>
                  <a:pt x="807223" y="939272"/>
                </a:cubicBezTo>
                <a:cubicBezTo>
                  <a:pt x="810868" y="942916"/>
                  <a:pt x="812690" y="944738"/>
                  <a:pt x="818156" y="942916"/>
                </a:cubicBezTo>
                <a:lnTo>
                  <a:pt x="814512" y="942916"/>
                </a:lnTo>
                <a:cubicBezTo>
                  <a:pt x="825445" y="941094"/>
                  <a:pt x="836378" y="950204"/>
                  <a:pt x="847311" y="948383"/>
                </a:cubicBezTo>
                <a:lnTo>
                  <a:pt x="844944" y="946197"/>
                </a:lnTo>
                <a:lnTo>
                  <a:pt x="845489" y="946560"/>
                </a:lnTo>
                <a:cubicBezTo>
                  <a:pt x="840022" y="933804"/>
                  <a:pt x="827267" y="933804"/>
                  <a:pt x="814512" y="926516"/>
                </a:cubicBezTo>
                <a:lnTo>
                  <a:pt x="818156" y="926516"/>
                </a:lnTo>
                <a:cubicBezTo>
                  <a:pt x="803579" y="917405"/>
                  <a:pt x="790824" y="913761"/>
                  <a:pt x="774424" y="915583"/>
                </a:cubicBezTo>
                <a:cubicBezTo>
                  <a:pt x="778070" y="913761"/>
                  <a:pt x="779892" y="913761"/>
                  <a:pt x="781713" y="911939"/>
                </a:cubicBezTo>
                <a:cubicBezTo>
                  <a:pt x="778070" y="910117"/>
                  <a:pt x="774424" y="913761"/>
                  <a:pt x="770781" y="911939"/>
                </a:cubicBezTo>
                <a:cubicBezTo>
                  <a:pt x="772602" y="908295"/>
                  <a:pt x="778070" y="911939"/>
                  <a:pt x="781713" y="908295"/>
                </a:cubicBezTo>
                <a:cubicBezTo>
                  <a:pt x="774424" y="906473"/>
                  <a:pt x="763491" y="906473"/>
                  <a:pt x="758025" y="910117"/>
                </a:cubicBezTo>
                <a:cubicBezTo>
                  <a:pt x="761670" y="911939"/>
                  <a:pt x="767136" y="915583"/>
                  <a:pt x="772602" y="915583"/>
                </a:cubicBezTo>
                <a:cubicBezTo>
                  <a:pt x="772602" y="915583"/>
                  <a:pt x="770781" y="915583"/>
                  <a:pt x="770781" y="915583"/>
                </a:cubicBezTo>
                <a:cubicBezTo>
                  <a:pt x="770781" y="917405"/>
                  <a:pt x="772602" y="919227"/>
                  <a:pt x="774424" y="917405"/>
                </a:cubicBezTo>
                <a:cubicBezTo>
                  <a:pt x="763491" y="922872"/>
                  <a:pt x="758025" y="906473"/>
                  <a:pt x="748914" y="910117"/>
                </a:cubicBezTo>
                <a:cubicBezTo>
                  <a:pt x="754380" y="908295"/>
                  <a:pt x="759848" y="908295"/>
                  <a:pt x="765313" y="906473"/>
                </a:cubicBezTo>
                <a:close/>
                <a:moveTo>
                  <a:pt x="477410" y="906473"/>
                </a:moveTo>
                <a:cubicBezTo>
                  <a:pt x="473766" y="908295"/>
                  <a:pt x="479232" y="911939"/>
                  <a:pt x="481054" y="908295"/>
                </a:cubicBezTo>
                <a:cubicBezTo>
                  <a:pt x="479232" y="906473"/>
                  <a:pt x="479232" y="908295"/>
                  <a:pt x="477410" y="906473"/>
                </a:cubicBezTo>
                <a:close/>
                <a:moveTo>
                  <a:pt x="266038" y="906473"/>
                </a:moveTo>
                <a:cubicBezTo>
                  <a:pt x="269682" y="911939"/>
                  <a:pt x="273327" y="911939"/>
                  <a:pt x="276971" y="913761"/>
                </a:cubicBezTo>
                <a:cubicBezTo>
                  <a:pt x="276971" y="911939"/>
                  <a:pt x="271504" y="910117"/>
                  <a:pt x="271504" y="906473"/>
                </a:cubicBezTo>
                <a:cubicBezTo>
                  <a:pt x="269682" y="906473"/>
                  <a:pt x="267860" y="906473"/>
                  <a:pt x="266038" y="906473"/>
                </a:cubicBezTo>
                <a:close/>
                <a:moveTo>
                  <a:pt x="231416" y="906473"/>
                </a:moveTo>
                <a:cubicBezTo>
                  <a:pt x="242349" y="919227"/>
                  <a:pt x="249638" y="937450"/>
                  <a:pt x="267860" y="939272"/>
                </a:cubicBezTo>
                <a:cubicBezTo>
                  <a:pt x="260571" y="931983"/>
                  <a:pt x="255105" y="922872"/>
                  <a:pt x="251460" y="911939"/>
                </a:cubicBezTo>
                <a:cubicBezTo>
                  <a:pt x="245994" y="910117"/>
                  <a:pt x="240527" y="906473"/>
                  <a:pt x="231416" y="906473"/>
                </a:cubicBezTo>
                <a:close/>
                <a:moveTo>
                  <a:pt x="229594" y="906473"/>
                </a:moveTo>
                <a:cubicBezTo>
                  <a:pt x="227772" y="906473"/>
                  <a:pt x="227772" y="910117"/>
                  <a:pt x="225950" y="908295"/>
                </a:cubicBezTo>
                <a:cubicBezTo>
                  <a:pt x="225950" y="910117"/>
                  <a:pt x="235061" y="915583"/>
                  <a:pt x="236883" y="919227"/>
                </a:cubicBezTo>
                <a:cubicBezTo>
                  <a:pt x="235061" y="915583"/>
                  <a:pt x="233239" y="911939"/>
                  <a:pt x="229594" y="906473"/>
                </a:cubicBezTo>
                <a:close/>
                <a:moveTo>
                  <a:pt x="1263450" y="906245"/>
                </a:moveTo>
                <a:lnTo>
                  <a:pt x="1264589" y="908294"/>
                </a:lnTo>
                <a:lnTo>
                  <a:pt x="1262949" y="906654"/>
                </a:lnTo>
                <a:close/>
                <a:moveTo>
                  <a:pt x="2454863" y="905457"/>
                </a:moveTo>
                <a:lnTo>
                  <a:pt x="2455656" y="905704"/>
                </a:lnTo>
                <a:lnTo>
                  <a:pt x="2454469" y="906473"/>
                </a:lnTo>
                <a:close/>
                <a:moveTo>
                  <a:pt x="1299210" y="904651"/>
                </a:moveTo>
                <a:cubicBezTo>
                  <a:pt x="1297388" y="906473"/>
                  <a:pt x="1301033" y="908295"/>
                  <a:pt x="1299210" y="910117"/>
                </a:cubicBezTo>
                <a:cubicBezTo>
                  <a:pt x="1301033" y="911939"/>
                  <a:pt x="1301033" y="908295"/>
                  <a:pt x="1302855" y="906473"/>
                </a:cubicBezTo>
                <a:cubicBezTo>
                  <a:pt x="1302855" y="904651"/>
                  <a:pt x="1301033" y="908295"/>
                  <a:pt x="1299210" y="904651"/>
                </a:cubicBezTo>
                <a:close/>
                <a:moveTo>
                  <a:pt x="1158903" y="904651"/>
                </a:moveTo>
                <a:cubicBezTo>
                  <a:pt x="1153436" y="906473"/>
                  <a:pt x="1146148" y="908295"/>
                  <a:pt x="1138859" y="908295"/>
                </a:cubicBezTo>
                <a:cubicBezTo>
                  <a:pt x="1137037" y="910117"/>
                  <a:pt x="1137037" y="911939"/>
                  <a:pt x="1135215" y="913761"/>
                </a:cubicBezTo>
                <a:cubicBezTo>
                  <a:pt x="1135215" y="915583"/>
                  <a:pt x="1137037" y="913761"/>
                  <a:pt x="1137037" y="913761"/>
                </a:cubicBezTo>
                <a:cubicBezTo>
                  <a:pt x="1137037" y="915583"/>
                  <a:pt x="1133393" y="917405"/>
                  <a:pt x="1131570" y="919227"/>
                </a:cubicBezTo>
                <a:cubicBezTo>
                  <a:pt x="1131570" y="921049"/>
                  <a:pt x="1131570" y="921049"/>
                  <a:pt x="1131570" y="922872"/>
                </a:cubicBezTo>
                <a:cubicBezTo>
                  <a:pt x="1127926" y="924695"/>
                  <a:pt x="1129748" y="924695"/>
                  <a:pt x="1127926" y="926516"/>
                </a:cubicBezTo>
                <a:cubicBezTo>
                  <a:pt x="1137037" y="930160"/>
                  <a:pt x="1142503" y="921049"/>
                  <a:pt x="1146148" y="913761"/>
                </a:cubicBezTo>
                <a:cubicBezTo>
                  <a:pt x="1147970" y="911939"/>
                  <a:pt x="1147970" y="915583"/>
                  <a:pt x="1146148" y="915583"/>
                </a:cubicBezTo>
                <a:cubicBezTo>
                  <a:pt x="1151614" y="917405"/>
                  <a:pt x="1158903" y="908295"/>
                  <a:pt x="1158903" y="904651"/>
                </a:cubicBezTo>
                <a:close/>
                <a:moveTo>
                  <a:pt x="1095127" y="904651"/>
                </a:moveTo>
                <a:cubicBezTo>
                  <a:pt x="1089660" y="906473"/>
                  <a:pt x="1091484" y="913761"/>
                  <a:pt x="1089660" y="917405"/>
                </a:cubicBezTo>
                <a:cubicBezTo>
                  <a:pt x="1095127" y="919227"/>
                  <a:pt x="1098771" y="908295"/>
                  <a:pt x="1095127" y="904651"/>
                </a:cubicBezTo>
                <a:close/>
                <a:moveTo>
                  <a:pt x="123784" y="904503"/>
                </a:moveTo>
                <a:lnTo>
                  <a:pt x="123908" y="904651"/>
                </a:lnTo>
                <a:lnTo>
                  <a:pt x="123826" y="904602"/>
                </a:lnTo>
                <a:close/>
                <a:moveTo>
                  <a:pt x="1280988" y="903967"/>
                </a:moveTo>
                <a:cubicBezTo>
                  <a:pt x="1279622" y="904650"/>
                  <a:pt x="1278255" y="905562"/>
                  <a:pt x="1277344" y="904651"/>
                </a:cubicBezTo>
                <a:cubicBezTo>
                  <a:pt x="1277344" y="906473"/>
                  <a:pt x="1282811" y="906473"/>
                  <a:pt x="1284633" y="904651"/>
                </a:cubicBezTo>
                <a:cubicBezTo>
                  <a:pt x="1283723" y="902828"/>
                  <a:pt x="1282355" y="903283"/>
                  <a:pt x="1280988" y="903967"/>
                </a:cubicBezTo>
                <a:close/>
                <a:moveTo>
                  <a:pt x="2422125" y="903966"/>
                </a:moveTo>
                <a:cubicBezTo>
                  <a:pt x="2419848" y="903283"/>
                  <a:pt x="2417114" y="904650"/>
                  <a:pt x="2414381" y="908295"/>
                </a:cubicBezTo>
                <a:cubicBezTo>
                  <a:pt x="2414381" y="919227"/>
                  <a:pt x="2418025" y="924695"/>
                  <a:pt x="2423492" y="926516"/>
                </a:cubicBezTo>
                <a:cubicBezTo>
                  <a:pt x="2421669" y="921049"/>
                  <a:pt x="2427136" y="919227"/>
                  <a:pt x="2427136" y="911939"/>
                </a:cubicBezTo>
                <a:cubicBezTo>
                  <a:pt x="2426225" y="907383"/>
                  <a:pt x="2424403" y="904650"/>
                  <a:pt x="2422125" y="903966"/>
                </a:cubicBezTo>
                <a:close/>
                <a:moveTo>
                  <a:pt x="3493014" y="903015"/>
                </a:moveTo>
                <a:lnTo>
                  <a:pt x="3493791" y="903056"/>
                </a:lnTo>
                <a:cubicBezTo>
                  <a:pt x="3494930" y="902828"/>
                  <a:pt x="3495841" y="902828"/>
                  <a:pt x="3496752" y="904651"/>
                </a:cubicBezTo>
                <a:lnTo>
                  <a:pt x="3492124" y="904795"/>
                </a:lnTo>
                <a:close/>
                <a:moveTo>
                  <a:pt x="3429332" y="902827"/>
                </a:moveTo>
                <a:cubicBezTo>
                  <a:pt x="3429332" y="902827"/>
                  <a:pt x="3427510" y="904651"/>
                  <a:pt x="3425687" y="904651"/>
                </a:cubicBezTo>
                <a:cubicBezTo>
                  <a:pt x="3429332" y="908295"/>
                  <a:pt x="3431154" y="913761"/>
                  <a:pt x="3436621" y="913761"/>
                </a:cubicBezTo>
                <a:cubicBezTo>
                  <a:pt x="3432976" y="910117"/>
                  <a:pt x="3432976" y="904651"/>
                  <a:pt x="3429332" y="902827"/>
                </a:cubicBezTo>
                <a:close/>
                <a:moveTo>
                  <a:pt x="3387422" y="902827"/>
                </a:moveTo>
                <a:cubicBezTo>
                  <a:pt x="3383777" y="904651"/>
                  <a:pt x="3385600" y="908295"/>
                  <a:pt x="3387422" y="910117"/>
                </a:cubicBezTo>
                <a:cubicBezTo>
                  <a:pt x="3391066" y="910117"/>
                  <a:pt x="3391066" y="904651"/>
                  <a:pt x="3387422" y="902827"/>
                </a:cubicBezTo>
                <a:close/>
                <a:moveTo>
                  <a:pt x="3121384" y="902827"/>
                </a:moveTo>
                <a:cubicBezTo>
                  <a:pt x="3106807" y="906473"/>
                  <a:pt x="3106807" y="919227"/>
                  <a:pt x="3095874" y="928339"/>
                </a:cubicBezTo>
                <a:cubicBezTo>
                  <a:pt x="3103163" y="935628"/>
                  <a:pt x="3108629" y="935628"/>
                  <a:pt x="3117740" y="941094"/>
                </a:cubicBezTo>
                <a:cubicBezTo>
                  <a:pt x="3117740" y="939272"/>
                  <a:pt x="3117740" y="937450"/>
                  <a:pt x="3117740" y="935628"/>
                </a:cubicBezTo>
                <a:lnTo>
                  <a:pt x="3127534" y="932211"/>
                </a:lnTo>
                <a:lnTo>
                  <a:pt x="3128673" y="937450"/>
                </a:lnTo>
                <a:cubicBezTo>
                  <a:pt x="3134140" y="944738"/>
                  <a:pt x="3139606" y="933804"/>
                  <a:pt x="3146895" y="931983"/>
                </a:cubicBezTo>
                <a:cubicBezTo>
                  <a:pt x="3145073" y="928339"/>
                  <a:pt x="3135962" y="935628"/>
                  <a:pt x="3135962" y="928339"/>
                </a:cubicBezTo>
                <a:lnTo>
                  <a:pt x="3127534" y="932210"/>
                </a:lnTo>
                <a:lnTo>
                  <a:pt x="3125029" y="919227"/>
                </a:lnTo>
                <a:cubicBezTo>
                  <a:pt x="3125029" y="917405"/>
                  <a:pt x="3126851" y="917405"/>
                  <a:pt x="3128673" y="917405"/>
                </a:cubicBezTo>
                <a:cubicBezTo>
                  <a:pt x="3126851" y="910117"/>
                  <a:pt x="3121384" y="910117"/>
                  <a:pt x="3121384" y="902827"/>
                </a:cubicBezTo>
                <a:close/>
                <a:moveTo>
                  <a:pt x="2583843" y="902827"/>
                </a:moveTo>
                <a:cubicBezTo>
                  <a:pt x="2592954" y="913761"/>
                  <a:pt x="2596598" y="924695"/>
                  <a:pt x="2589310" y="937450"/>
                </a:cubicBezTo>
                <a:cubicBezTo>
                  <a:pt x="2591132" y="937450"/>
                  <a:pt x="2592954" y="935628"/>
                  <a:pt x="2592954" y="933804"/>
                </a:cubicBezTo>
                <a:cubicBezTo>
                  <a:pt x="2598421" y="944738"/>
                  <a:pt x="2609353" y="950204"/>
                  <a:pt x="2618464" y="957494"/>
                </a:cubicBezTo>
                <a:cubicBezTo>
                  <a:pt x="2611176" y="957494"/>
                  <a:pt x="2616642" y="964782"/>
                  <a:pt x="2618464" y="968427"/>
                </a:cubicBezTo>
                <a:cubicBezTo>
                  <a:pt x="2618464" y="970249"/>
                  <a:pt x="2616642" y="973893"/>
                  <a:pt x="2614820" y="970249"/>
                </a:cubicBezTo>
                <a:cubicBezTo>
                  <a:pt x="2614820" y="966604"/>
                  <a:pt x="2614820" y="964782"/>
                  <a:pt x="2612998" y="962960"/>
                </a:cubicBezTo>
                <a:cubicBezTo>
                  <a:pt x="2609353" y="962960"/>
                  <a:pt x="2603887" y="959316"/>
                  <a:pt x="2602065" y="964782"/>
                </a:cubicBezTo>
                <a:cubicBezTo>
                  <a:pt x="2600243" y="968427"/>
                  <a:pt x="2607531" y="972071"/>
                  <a:pt x="2605709" y="977538"/>
                </a:cubicBezTo>
                <a:cubicBezTo>
                  <a:pt x="2603887" y="975715"/>
                  <a:pt x="2602065" y="973893"/>
                  <a:pt x="2602065" y="970249"/>
                </a:cubicBezTo>
                <a:cubicBezTo>
                  <a:pt x="2598421" y="973893"/>
                  <a:pt x="2591132" y="975715"/>
                  <a:pt x="2591132" y="983004"/>
                </a:cubicBezTo>
                <a:cubicBezTo>
                  <a:pt x="2596598" y="981182"/>
                  <a:pt x="2602065" y="986649"/>
                  <a:pt x="2607531" y="983004"/>
                </a:cubicBezTo>
                <a:cubicBezTo>
                  <a:pt x="2602065" y="990293"/>
                  <a:pt x="2616642" y="995759"/>
                  <a:pt x="2618464" y="1004870"/>
                </a:cubicBezTo>
                <a:cubicBezTo>
                  <a:pt x="2623931" y="997582"/>
                  <a:pt x="2627575" y="1006692"/>
                  <a:pt x="2633042" y="1008515"/>
                </a:cubicBezTo>
                <a:cubicBezTo>
                  <a:pt x="2623931" y="984826"/>
                  <a:pt x="2634864" y="955672"/>
                  <a:pt x="2622109" y="933804"/>
                </a:cubicBezTo>
                <a:cubicBezTo>
                  <a:pt x="2618464" y="930160"/>
                  <a:pt x="2623931" y="944738"/>
                  <a:pt x="2616642" y="948383"/>
                </a:cubicBezTo>
                <a:cubicBezTo>
                  <a:pt x="2614820" y="941094"/>
                  <a:pt x="2611176" y="939272"/>
                  <a:pt x="2603887" y="941094"/>
                </a:cubicBezTo>
                <a:cubicBezTo>
                  <a:pt x="2603887" y="939272"/>
                  <a:pt x="2603887" y="935628"/>
                  <a:pt x="2603887" y="933804"/>
                </a:cubicBezTo>
                <a:cubicBezTo>
                  <a:pt x="2605709" y="931983"/>
                  <a:pt x="2605709" y="931983"/>
                  <a:pt x="2607531" y="933804"/>
                </a:cubicBezTo>
                <a:cubicBezTo>
                  <a:pt x="2607531" y="937450"/>
                  <a:pt x="2607531" y="939272"/>
                  <a:pt x="2607531" y="941094"/>
                </a:cubicBezTo>
                <a:cubicBezTo>
                  <a:pt x="2612998" y="937450"/>
                  <a:pt x="2605709" y="933804"/>
                  <a:pt x="2607531" y="930160"/>
                </a:cubicBezTo>
                <a:lnTo>
                  <a:pt x="2605709" y="931983"/>
                </a:lnTo>
                <a:cubicBezTo>
                  <a:pt x="2603887" y="930160"/>
                  <a:pt x="2605709" y="926516"/>
                  <a:pt x="2602065" y="926516"/>
                </a:cubicBezTo>
                <a:cubicBezTo>
                  <a:pt x="2603887" y="917405"/>
                  <a:pt x="2594776" y="901005"/>
                  <a:pt x="2583843" y="902827"/>
                </a:cubicBezTo>
                <a:close/>
                <a:moveTo>
                  <a:pt x="2303228" y="902827"/>
                </a:moveTo>
                <a:cubicBezTo>
                  <a:pt x="2297762" y="904651"/>
                  <a:pt x="2301406" y="908295"/>
                  <a:pt x="2303228" y="910117"/>
                </a:cubicBezTo>
                <a:cubicBezTo>
                  <a:pt x="2305050" y="908295"/>
                  <a:pt x="2303228" y="902827"/>
                  <a:pt x="2303228" y="902827"/>
                </a:cubicBezTo>
                <a:close/>
                <a:moveTo>
                  <a:pt x="1362987" y="902827"/>
                </a:moveTo>
                <a:cubicBezTo>
                  <a:pt x="1361164" y="905561"/>
                  <a:pt x="1358431" y="906472"/>
                  <a:pt x="1355470" y="907383"/>
                </a:cubicBezTo>
                <a:lnTo>
                  <a:pt x="1354951" y="907650"/>
                </a:lnTo>
                <a:close/>
                <a:moveTo>
                  <a:pt x="1286455" y="902827"/>
                </a:moveTo>
                <a:cubicBezTo>
                  <a:pt x="1284633" y="902827"/>
                  <a:pt x="1284633" y="904651"/>
                  <a:pt x="1286455" y="906473"/>
                </a:cubicBezTo>
                <a:cubicBezTo>
                  <a:pt x="1288277" y="906473"/>
                  <a:pt x="1290100" y="904651"/>
                  <a:pt x="1288277" y="904651"/>
                </a:cubicBezTo>
                <a:cubicBezTo>
                  <a:pt x="1288277" y="904651"/>
                  <a:pt x="1286455" y="902827"/>
                  <a:pt x="1286455" y="902827"/>
                </a:cubicBezTo>
                <a:close/>
                <a:moveTo>
                  <a:pt x="1270056" y="902827"/>
                </a:moveTo>
                <a:cubicBezTo>
                  <a:pt x="1270056" y="906473"/>
                  <a:pt x="1277344" y="902827"/>
                  <a:pt x="1280989" y="902827"/>
                </a:cubicBezTo>
                <a:cubicBezTo>
                  <a:pt x="1279166" y="901005"/>
                  <a:pt x="1273700" y="902827"/>
                  <a:pt x="1270056" y="902827"/>
                </a:cubicBezTo>
                <a:close/>
                <a:moveTo>
                  <a:pt x="1259123" y="902827"/>
                </a:moveTo>
                <a:lnTo>
                  <a:pt x="1262949" y="906654"/>
                </a:lnTo>
                <a:lnTo>
                  <a:pt x="1260945" y="908295"/>
                </a:lnTo>
                <a:cubicBezTo>
                  <a:pt x="1260945" y="906473"/>
                  <a:pt x="1255478" y="904651"/>
                  <a:pt x="1259123" y="902827"/>
                </a:cubicBezTo>
                <a:close/>
                <a:moveTo>
                  <a:pt x="1259123" y="902827"/>
                </a:moveTo>
                <a:cubicBezTo>
                  <a:pt x="1251834" y="901005"/>
                  <a:pt x="1246367" y="906473"/>
                  <a:pt x="1240901" y="911939"/>
                </a:cubicBezTo>
                <a:cubicBezTo>
                  <a:pt x="1240901" y="917405"/>
                  <a:pt x="1246367" y="921049"/>
                  <a:pt x="1244545" y="924695"/>
                </a:cubicBezTo>
                <a:cubicBezTo>
                  <a:pt x="1251834" y="926516"/>
                  <a:pt x="1255478" y="915583"/>
                  <a:pt x="1255478" y="910117"/>
                </a:cubicBezTo>
                <a:cubicBezTo>
                  <a:pt x="1257300" y="915583"/>
                  <a:pt x="1255478" y="919227"/>
                  <a:pt x="1255478" y="922872"/>
                </a:cubicBezTo>
                <a:cubicBezTo>
                  <a:pt x="1257300" y="924695"/>
                  <a:pt x="1259123" y="921049"/>
                  <a:pt x="1260945" y="921049"/>
                </a:cubicBezTo>
                <a:cubicBezTo>
                  <a:pt x="1260945" y="919227"/>
                  <a:pt x="1257300" y="917405"/>
                  <a:pt x="1257300" y="915583"/>
                </a:cubicBezTo>
                <a:cubicBezTo>
                  <a:pt x="1259123" y="915583"/>
                  <a:pt x="1259123" y="919227"/>
                  <a:pt x="1264589" y="919227"/>
                </a:cubicBezTo>
                <a:cubicBezTo>
                  <a:pt x="1266411" y="917405"/>
                  <a:pt x="1266411" y="913761"/>
                  <a:pt x="1266411" y="910117"/>
                </a:cubicBezTo>
                <a:lnTo>
                  <a:pt x="1264589" y="908294"/>
                </a:lnTo>
                <a:lnTo>
                  <a:pt x="1263222" y="904878"/>
                </a:lnTo>
                <a:cubicBezTo>
                  <a:pt x="1261856" y="904195"/>
                  <a:pt x="1260034" y="903739"/>
                  <a:pt x="1259123" y="902827"/>
                </a:cubicBezTo>
                <a:close/>
                <a:moveTo>
                  <a:pt x="1124282" y="902827"/>
                </a:moveTo>
                <a:cubicBezTo>
                  <a:pt x="1122459" y="908295"/>
                  <a:pt x="1120637" y="911939"/>
                  <a:pt x="1120637" y="917405"/>
                </a:cubicBezTo>
                <a:cubicBezTo>
                  <a:pt x="1122459" y="915583"/>
                  <a:pt x="1124282" y="913761"/>
                  <a:pt x="1127926" y="910117"/>
                </a:cubicBezTo>
                <a:cubicBezTo>
                  <a:pt x="1126104" y="908295"/>
                  <a:pt x="1126104" y="904651"/>
                  <a:pt x="1124282" y="902827"/>
                </a:cubicBezTo>
                <a:close/>
                <a:moveTo>
                  <a:pt x="1113349" y="902827"/>
                </a:moveTo>
                <a:cubicBezTo>
                  <a:pt x="1109704" y="906473"/>
                  <a:pt x="1111526" y="908295"/>
                  <a:pt x="1109704" y="911939"/>
                </a:cubicBezTo>
                <a:cubicBezTo>
                  <a:pt x="1100593" y="911939"/>
                  <a:pt x="1087838" y="922872"/>
                  <a:pt x="1093305" y="930160"/>
                </a:cubicBezTo>
                <a:cubicBezTo>
                  <a:pt x="1098771" y="924695"/>
                  <a:pt x="1102416" y="926516"/>
                  <a:pt x="1109704" y="919227"/>
                </a:cubicBezTo>
                <a:cubicBezTo>
                  <a:pt x="1109704" y="921049"/>
                  <a:pt x="1107882" y="922872"/>
                  <a:pt x="1106060" y="924695"/>
                </a:cubicBezTo>
                <a:cubicBezTo>
                  <a:pt x="1115171" y="924695"/>
                  <a:pt x="1120637" y="913761"/>
                  <a:pt x="1120637" y="906473"/>
                </a:cubicBezTo>
                <a:cubicBezTo>
                  <a:pt x="1118815" y="904651"/>
                  <a:pt x="1115171" y="904651"/>
                  <a:pt x="1113349" y="902827"/>
                </a:cubicBezTo>
                <a:close/>
                <a:moveTo>
                  <a:pt x="1104238" y="902827"/>
                </a:moveTo>
                <a:cubicBezTo>
                  <a:pt x="1104238" y="906473"/>
                  <a:pt x="1102416" y="908295"/>
                  <a:pt x="1104238" y="911939"/>
                </a:cubicBezTo>
                <a:cubicBezTo>
                  <a:pt x="1109704" y="911939"/>
                  <a:pt x="1109704" y="902827"/>
                  <a:pt x="1104238" y="902827"/>
                </a:cubicBezTo>
                <a:close/>
                <a:moveTo>
                  <a:pt x="1102416" y="902827"/>
                </a:moveTo>
                <a:cubicBezTo>
                  <a:pt x="1095127" y="901005"/>
                  <a:pt x="1096949" y="910117"/>
                  <a:pt x="1096949" y="913761"/>
                </a:cubicBezTo>
                <a:cubicBezTo>
                  <a:pt x="1100593" y="910117"/>
                  <a:pt x="1102416" y="906473"/>
                  <a:pt x="1102416" y="902827"/>
                </a:cubicBezTo>
                <a:close/>
                <a:moveTo>
                  <a:pt x="422745" y="902827"/>
                </a:moveTo>
                <a:cubicBezTo>
                  <a:pt x="426389" y="906473"/>
                  <a:pt x="435500" y="917405"/>
                  <a:pt x="439145" y="915583"/>
                </a:cubicBezTo>
                <a:lnTo>
                  <a:pt x="437550" y="913306"/>
                </a:lnTo>
                <a:lnTo>
                  <a:pt x="439145" y="910117"/>
                </a:lnTo>
                <a:cubicBezTo>
                  <a:pt x="440966" y="911939"/>
                  <a:pt x="440966" y="910117"/>
                  <a:pt x="442789" y="911939"/>
                </a:cubicBezTo>
                <a:cubicBezTo>
                  <a:pt x="442789" y="911939"/>
                  <a:pt x="439145" y="910117"/>
                  <a:pt x="439145" y="908295"/>
                </a:cubicBezTo>
                <a:cubicBezTo>
                  <a:pt x="437322" y="908295"/>
                  <a:pt x="437322" y="910117"/>
                  <a:pt x="437322" y="910117"/>
                </a:cubicBezTo>
                <a:cubicBezTo>
                  <a:pt x="431856" y="904651"/>
                  <a:pt x="426389" y="902827"/>
                  <a:pt x="422745" y="902827"/>
                </a:cubicBezTo>
                <a:close/>
                <a:moveTo>
                  <a:pt x="304303" y="902827"/>
                </a:moveTo>
                <a:cubicBezTo>
                  <a:pt x="307948" y="908295"/>
                  <a:pt x="309771" y="908295"/>
                  <a:pt x="313414" y="906473"/>
                </a:cubicBezTo>
                <a:cubicBezTo>
                  <a:pt x="313414" y="906473"/>
                  <a:pt x="311592" y="906473"/>
                  <a:pt x="309771" y="902827"/>
                </a:cubicBezTo>
                <a:cubicBezTo>
                  <a:pt x="307948" y="902827"/>
                  <a:pt x="306126" y="904651"/>
                  <a:pt x="304303" y="902827"/>
                </a:cubicBezTo>
                <a:close/>
                <a:moveTo>
                  <a:pt x="147596" y="902827"/>
                </a:moveTo>
                <a:cubicBezTo>
                  <a:pt x="149419" y="910117"/>
                  <a:pt x="162174" y="913761"/>
                  <a:pt x="167640" y="921049"/>
                </a:cubicBezTo>
                <a:cubicBezTo>
                  <a:pt x="162174" y="915583"/>
                  <a:pt x="156707" y="899183"/>
                  <a:pt x="147596" y="902827"/>
                </a:cubicBezTo>
                <a:close/>
                <a:moveTo>
                  <a:pt x="3375247" y="901450"/>
                </a:moveTo>
                <a:lnTo>
                  <a:pt x="3367378" y="904651"/>
                </a:lnTo>
                <a:cubicBezTo>
                  <a:pt x="3370111" y="903739"/>
                  <a:pt x="3372844" y="902372"/>
                  <a:pt x="3375122" y="901461"/>
                </a:cubicBezTo>
                <a:close/>
                <a:moveTo>
                  <a:pt x="1194618" y="901370"/>
                </a:moveTo>
                <a:lnTo>
                  <a:pt x="1195346" y="902827"/>
                </a:lnTo>
                <a:lnTo>
                  <a:pt x="1194236" y="904423"/>
                </a:lnTo>
                <a:close/>
                <a:moveTo>
                  <a:pt x="3456664" y="901005"/>
                </a:moveTo>
                <a:cubicBezTo>
                  <a:pt x="3449376" y="899183"/>
                  <a:pt x="3443909" y="902827"/>
                  <a:pt x="3447553" y="908295"/>
                </a:cubicBezTo>
                <a:cubicBezTo>
                  <a:pt x="3453020" y="908295"/>
                  <a:pt x="3449376" y="901005"/>
                  <a:pt x="3456664" y="901005"/>
                </a:cubicBezTo>
                <a:close/>
                <a:moveTo>
                  <a:pt x="2582021" y="901005"/>
                </a:moveTo>
                <a:cubicBezTo>
                  <a:pt x="2578377" y="901005"/>
                  <a:pt x="2578377" y="902827"/>
                  <a:pt x="2574732" y="902827"/>
                </a:cubicBezTo>
                <a:cubicBezTo>
                  <a:pt x="2578377" y="906473"/>
                  <a:pt x="2578377" y="915583"/>
                  <a:pt x="2580199" y="919227"/>
                </a:cubicBezTo>
                <a:cubicBezTo>
                  <a:pt x="2587487" y="919227"/>
                  <a:pt x="2582021" y="908295"/>
                  <a:pt x="2582021" y="901005"/>
                </a:cubicBezTo>
                <a:close/>
                <a:moveTo>
                  <a:pt x="661449" y="901005"/>
                </a:moveTo>
                <a:cubicBezTo>
                  <a:pt x="657805" y="901005"/>
                  <a:pt x="654161" y="902827"/>
                  <a:pt x="650516" y="902827"/>
                </a:cubicBezTo>
                <a:cubicBezTo>
                  <a:pt x="652339" y="906473"/>
                  <a:pt x="657805" y="908295"/>
                  <a:pt x="663272" y="906473"/>
                </a:cubicBezTo>
                <a:cubicBezTo>
                  <a:pt x="661449" y="904651"/>
                  <a:pt x="661449" y="902827"/>
                  <a:pt x="661449" y="901005"/>
                </a:cubicBezTo>
                <a:close/>
                <a:moveTo>
                  <a:pt x="643228" y="901005"/>
                </a:moveTo>
                <a:cubicBezTo>
                  <a:pt x="637761" y="906473"/>
                  <a:pt x="645050" y="901005"/>
                  <a:pt x="645050" y="902827"/>
                </a:cubicBezTo>
                <a:cubicBezTo>
                  <a:pt x="645050" y="902827"/>
                  <a:pt x="643228" y="901005"/>
                  <a:pt x="643228" y="901005"/>
                </a:cubicBezTo>
                <a:close/>
                <a:moveTo>
                  <a:pt x="244172" y="901005"/>
                </a:moveTo>
                <a:lnTo>
                  <a:pt x="249448" y="903267"/>
                </a:lnTo>
                <a:lnTo>
                  <a:pt x="251460" y="904651"/>
                </a:lnTo>
                <a:lnTo>
                  <a:pt x="251391" y="904100"/>
                </a:lnTo>
                <a:lnTo>
                  <a:pt x="256927" y="906473"/>
                </a:lnTo>
                <a:cubicBezTo>
                  <a:pt x="256927" y="904651"/>
                  <a:pt x="251460" y="899183"/>
                  <a:pt x="249638" y="901005"/>
                </a:cubicBezTo>
                <a:cubicBezTo>
                  <a:pt x="249638" y="901005"/>
                  <a:pt x="250549" y="901917"/>
                  <a:pt x="251232" y="902828"/>
                </a:cubicBezTo>
                <a:lnTo>
                  <a:pt x="251391" y="904100"/>
                </a:lnTo>
                <a:lnTo>
                  <a:pt x="249448" y="903267"/>
                </a:lnTo>
                <a:lnTo>
                  <a:pt x="247816" y="902145"/>
                </a:lnTo>
                <a:cubicBezTo>
                  <a:pt x="246450" y="901006"/>
                  <a:pt x="245084" y="900094"/>
                  <a:pt x="244172" y="901005"/>
                </a:cubicBezTo>
                <a:close/>
                <a:moveTo>
                  <a:pt x="156707" y="901005"/>
                </a:moveTo>
                <a:cubicBezTo>
                  <a:pt x="160352" y="908295"/>
                  <a:pt x="173107" y="922872"/>
                  <a:pt x="178573" y="928339"/>
                </a:cubicBezTo>
                <a:cubicBezTo>
                  <a:pt x="173107" y="921049"/>
                  <a:pt x="163996" y="908295"/>
                  <a:pt x="156707" y="901005"/>
                </a:cubicBezTo>
                <a:close/>
                <a:moveTo>
                  <a:pt x="142130" y="901005"/>
                </a:moveTo>
                <a:cubicBezTo>
                  <a:pt x="147596" y="908295"/>
                  <a:pt x="154885" y="921049"/>
                  <a:pt x="163996" y="928339"/>
                </a:cubicBezTo>
                <a:lnTo>
                  <a:pt x="163996" y="924695"/>
                </a:lnTo>
                <a:cubicBezTo>
                  <a:pt x="167640" y="919227"/>
                  <a:pt x="169462" y="930160"/>
                  <a:pt x="176751" y="931983"/>
                </a:cubicBezTo>
                <a:cubicBezTo>
                  <a:pt x="165818" y="919227"/>
                  <a:pt x="153063" y="913761"/>
                  <a:pt x="142130" y="901005"/>
                </a:cubicBezTo>
                <a:close/>
                <a:moveTo>
                  <a:pt x="2591132" y="899183"/>
                </a:moveTo>
                <a:cubicBezTo>
                  <a:pt x="2598421" y="906473"/>
                  <a:pt x="2605709" y="910117"/>
                  <a:pt x="2603887" y="921049"/>
                </a:cubicBezTo>
                <a:cubicBezTo>
                  <a:pt x="2607531" y="921049"/>
                  <a:pt x="2609353" y="921049"/>
                  <a:pt x="2611176" y="921049"/>
                </a:cubicBezTo>
                <a:cubicBezTo>
                  <a:pt x="2609353" y="919227"/>
                  <a:pt x="2607531" y="919227"/>
                  <a:pt x="2605709" y="915583"/>
                </a:cubicBezTo>
                <a:cubicBezTo>
                  <a:pt x="2605709" y="915583"/>
                  <a:pt x="2607531" y="915583"/>
                  <a:pt x="2607531" y="913761"/>
                </a:cubicBezTo>
                <a:cubicBezTo>
                  <a:pt x="2611176" y="911939"/>
                  <a:pt x="2609353" y="915583"/>
                  <a:pt x="2611176" y="917405"/>
                </a:cubicBezTo>
                <a:cubicBezTo>
                  <a:pt x="2614820" y="910117"/>
                  <a:pt x="2611176" y="910117"/>
                  <a:pt x="2605709" y="908295"/>
                </a:cubicBezTo>
                <a:cubicBezTo>
                  <a:pt x="2609353" y="906473"/>
                  <a:pt x="2609353" y="904651"/>
                  <a:pt x="2607531" y="904651"/>
                </a:cubicBezTo>
                <a:cubicBezTo>
                  <a:pt x="2602065" y="904651"/>
                  <a:pt x="2598421" y="899183"/>
                  <a:pt x="2591132" y="899183"/>
                </a:cubicBezTo>
                <a:close/>
                <a:moveTo>
                  <a:pt x="2489090" y="899183"/>
                </a:moveTo>
                <a:cubicBezTo>
                  <a:pt x="2479979" y="901005"/>
                  <a:pt x="2485446" y="915583"/>
                  <a:pt x="2478157" y="919227"/>
                </a:cubicBezTo>
                <a:cubicBezTo>
                  <a:pt x="2476335" y="915583"/>
                  <a:pt x="2474513" y="911939"/>
                  <a:pt x="2474513" y="913761"/>
                </a:cubicBezTo>
                <a:cubicBezTo>
                  <a:pt x="2470868" y="924695"/>
                  <a:pt x="2469046" y="937450"/>
                  <a:pt x="2481801" y="944738"/>
                </a:cubicBezTo>
                <a:cubicBezTo>
                  <a:pt x="2492734" y="928339"/>
                  <a:pt x="2489090" y="917405"/>
                  <a:pt x="2489090" y="899183"/>
                </a:cubicBezTo>
                <a:close/>
                <a:moveTo>
                  <a:pt x="2474513" y="899183"/>
                </a:moveTo>
                <a:cubicBezTo>
                  <a:pt x="2461757" y="895539"/>
                  <a:pt x="2454469" y="919227"/>
                  <a:pt x="2443536" y="924695"/>
                </a:cubicBezTo>
                <a:cubicBezTo>
                  <a:pt x="2443536" y="928339"/>
                  <a:pt x="2445358" y="928339"/>
                  <a:pt x="2445358" y="931983"/>
                </a:cubicBezTo>
                <a:cubicBezTo>
                  <a:pt x="2454469" y="922872"/>
                  <a:pt x="2465402" y="911939"/>
                  <a:pt x="2474513" y="899183"/>
                </a:cubicBezTo>
                <a:close/>
                <a:moveTo>
                  <a:pt x="2408914" y="899183"/>
                </a:moveTo>
                <a:cubicBezTo>
                  <a:pt x="2407092" y="901005"/>
                  <a:pt x="2407092" y="902827"/>
                  <a:pt x="2405270" y="902827"/>
                </a:cubicBezTo>
                <a:cubicBezTo>
                  <a:pt x="2407092" y="904651"/>
                  <a:pt x="2408914" y="908295"/>
                  <a:pt x="2410737" y="908295"/>
                </a:cubicBezTo>
                <a:cubicBezTo>
                  <a:pt x="2407092" y="913761"/>
                  <a:pt x="2407092" y="915583"/>
                  <a:pt x="2408914" y="922872"/>
                </a:cubicBezTo>
                <a:cubicBezTo>
                  <a:pt x="2401626" y="924695"/>
                  <a:pt x="2410737" y="906473"/>
                  <a:pt x="2403448" y="910117"/>
                </a:cubicBezTo>
                <a:cubicBezTo>
                  <a:pt x="2403448" y="915583"/>
                  <a:pt x="2403448" y="919227"/>
                  <a:pt x="2403448" y="922872"/>
                </a:cubicBezTo>
                <a:cubicBezTo>
                  <a:pt x="2401626" y="928339"/>
                  <a:pt x="2399803" y="917405"/>
                  <a:pt x="2399803" y="922872"/>
                </a:cubicBezTo>
                <a:cubicBezTo>
                  <a:pt x="2392515" y="931983"/>
                  <a:pt x="2403448" y="937450"/>
                  <a:pt x="2403448" y="944738"/>
                </a:cubicBezTo>
                <a:cubicBezTo>
                  <a:pt x="2410737" y="939272"/>
                  <a:pt x="2412559" y="939272"/>
                  <a:pt x="2418025" y="931983"/>
                </a:cubicBezTo>
                <a:cubicBezTo>
                  <a:pt x="2414381" y="922872"/>
                  <a:pt x="2410737" y="910117"/>
                  <a:pt x="2408914" y="899183"/>
                </a:cubicBezTo>
                <a:close/>
                <a:moveTo>
                  <a:pt x="1344765" y="899183"/>
                </a:moveTo>
                <a:cubicBezTo>
                  <a:pt x="1337476" y="906473"/>
                  <a:pt x="1332009" y="906473"/>
                  <a:pt x="1324721" y="908295"/>
                </a:cubicBezTo>
                <a:cubicBezTo>
                  <a:pt x="1326543" y="910117"/>
                  <a:pt x="1326543" y="910117"/>
                  <a:pt x="1328365" y="911939"/>
                </a:cubicBezTo>
                <a:cubicBezTo>
                  <a:pt x="1333832" y="910117"/>
                  <a:pt x="1337476" y="913761"/>
                  <a:pt x="1341120" y="911939"/>
                </a:cubicBezTo>
                <a:cubicBezTo>
                  <a:pt x="1342942" y="910117"/>
                  <a:pt x="1342942" y="908295"/>
                  <a:pt x="1341120" y="906473"/>
                </a:cubicBezTo>
                <a:cubicBezTo>
                  <a:pt x="1342942" y="906473"/>
                  <a:pt x="1342942" y="906473"/>
                  <a:pt x="1344765" y="904651"/>
                </a:cubicBezTo>
                <a:cubicBezTo>
                  <a:pt x="1348410" y="908295"/>
                  <a:pt x="1341120" y="906473"/>
                  <a:pt x="1344765" y="908295"/>
                </a:cubicBezTo>
                <a:lnTo>
                  <a:pt x="1344765" y="904651"/>
                </a:lnTo>
                <a:close/>
                <a:moveTo>
                  <a:pt x="668738" y="899183"/>
                </a:moveTo>
                <a:cubicBezTo>
                  <a:pt x="666916" y="899183"/>
                  <a:pt x="665094" y="899183"/>
                  <a:pt x="663272" y="901005"/>
                </a:cubicBezTo>
                <a:cubicBezTo>
                  <a:pt x="663272" y="902827"/>
                  <a:pt x="665094" y="904651"/>
                  <a:pt x="665094" y="906473"/>
                </a:cubicBezTo>
                <a:cubicBezTo>
                  <a:pt x="666916" y="906473"/>
                  <a:pt x="665094" y="902827"/>
                  <a:pt x="672383" y="901005"/>
                </a:cubicBezTo>
                <a:cubicBezTo>
                  <a:pt x="668738" y="901005"/>
                  <a:pt x="670560" y="901005"/>
                  <a:pt x="668738" y="899183"/>
                </a:cubicBezTo>
                <a:close/>
                <a:moveTo>
                  <a:pt x="563052" y="899183"/>
                </a:moveTo>
                <a:cubicBezTo>
                  <a:pt x="555763" y="902827"/>
                  <a:pt x="566697" y="902827"/>
                  <a:pt x="568519" y="904651"/>
                </a:cubicBezTo>
                <a:cubicBezTo>
                  <a:pt x="568519" y="901005"/>
                  <a:pt x="564874" y="901005"/>
                  <a:pt x="563052" y="899183"/>
                </a:cubicBezTo>
                <a:close/>
                <a:moveTo>
                  <a:pt x="377190" y="899183"/>
                </a:moveTo>
                <a:cubicBezTo>
                  <a:pt x="382657" y="906473"/>
                  <a:pt x="380835" y="915583"/>
                  <a:pt x="391768" y="919227"/>
                </a:cubicBezTo>
                <a:cubicBezTo>
                  <a:pt x="386301" y="911939"/>
                  <a:pt x="388123" y="904651"/>
                  <a:pt x="379012" y="899183"/>
                </a:cubicBezTo>
                <a:cubicBezTo>
                  <a:pt x="379012" y="899183"/>
                  <a:pt x="377190" y="899183"/>
                  <a:pt x="377190" y="899183"/>
                </a:cubicBezTo>
                <a:close/>
                <a:moveTo>
                  <a:pt x="375368" y="899183"/>
                </a:moveTo>
                <a:cubicBezTo>
                  <a:pt x="375368" y="901005"/>
                  <a:pt x="373546" y="901005"/>
                  <a:pt x="373546" y="901005"/>
                </a:cubicBezTo>
                <a:cubicBezTo>
                  <a:pt x="375368" y="902827"/>
                  <a:pt x="377190" y="906473"/>
                  <a:pt x="379012" y="904651"/>
                </a:cubicBezTo>
                <a:cubicBezTo>
                  <a:pt x="377190" y="902827"/>
                  <a:pt x="375368" y="901005"/>
                  <a:pt x="375368" y="899183"/>
                </a:cubicBezTo>
                <a:close/>
                <a:moveTo>
                  <a:pt x="262393" y="899183"/>
                </a:moveTo>
                <a:cubicBezTo>
                  <a:pt x="260571" y="899183"/>
                  <a:pt x="256927" y="901005"/>
                  <a:pt x="256927" y="902827"/>
                </a:cubicBezTo>
                <a:cubicBezTo>
                  <a:pt x="260571" y="904651"/>
                  <a:pt x="267860" y="908295"/>
                  <a:pt x="269682" y="904651"/>
                </a:cubicBezTo>
                <a:cubicBezTo>
                  <a:pt x="269682" y="902827"/>
                  <a:pt x="266038" y="906473"/>
                  <a:pt x="264216" y="902827"/>
                </a:cubicBezTo>
                <a:cubicBezTo>
                  <a:pt x="262393" y="901005"/>
                  <a:pt x="262393" y="899183"/>
                  <a:pt x="262393" y="899183"/>
                </a:cubicBezTo>
                <a:close/>
                <a:moveTo>
                  <a:pt x="909265" y="897401"/>
                </a:moveTo>
                <a:cubicBezTo>
                  <a:pt x="911087" y="899223"/>
                  <a:pt x="912910" y="901046"/>
                  <a:pt x="914732" y="901046"/>
                </a:cubicBezTo>
                <a:cubicBezTo>
                  <a:pt x="914732" y="902868"/>
                  <a:pt x="914732" y="902868"/>
                  <a:pt x="914732" y="902868"/>
                </a:cubicBezTo>
                <a:cubicBezTo>
                  <a:pt x="914732" y="904700"/>
                  <a:pt x="912910" y="904700"/>
                  <a:pt x="911087" y="904700"/>
                </a:cubicBezTo>
                <a:lnTo>
                  <a:pt x="911087" y="904699"/>
                </a:lnTo>
                <a:close/>
                <a:moveTo>
                  <a:pt x="903799" y="897397"/>
                </a:moveTo>
                <a:cubicBezTo>
                  <a:pt x="905621" y="897397"/>
                  <a:pt x="907444" y="904694"/>
                  <a:pt x="905621" y="904694"/>
                </a:cubicBezTo>
                <a:cubicBezTo>
                  <a:pt x="907444" y="902864"/>
                  <a:pt x="901976" y="899219"/>
                  <a:pt x="903799" y="897397"/>
                </a:cubicBezTo>
                <a:close/>
                <a:moveTo>
                  <a:pt x="3427510" y="897361"/>
                </a:moveTo>
                <a:cubicBezTo>
                  <a:pt x="3422043" y="899183"/>
                  <a:pt x="3418399" y="897361"/>
                  <a:pt x="3416577" y="899183"/>
                </a:cubicBezTo>
                <a:cubicBezTo>
                  <a:pt x="3416577" y="906473"/>
                  <a:pt x="3427510" y="897361"/>
                  <a:pt x="3427510" y="901005"/>
                </a:cubicBezTo>
                <a:cubicBezTo>
                  <a:pt x="3432976" y="901005"/>
                  <a:pt x="3425687" y="899183"/>
                  <a:pt x="3427510" y="897361"/>
                </a:cubicBezTo>
                <a:close/>
                <a:moveTo>
                  <a:pt x="3135962" y="897361"/>
                </a:moveTo>
                <a:cubicBezTo>
                  <a:pt x="3134140" y="913761"/>
                  <a:pt x="3150539" y="921049"/>
                  <a:pt x="3161472" y="928339"/>
                </a:cubicBezTo>
                <a:cubicBezTo>
                  <a:pt x="3145073" y="941094"/>
                  <a:pt x="3134140" y="950204"/>
                  <a:pt x="3150539" y="964782"/>
                </a:cubicBezTo>
                <a:cubicBezTo>
                  <a:pt x="3152361" y="968427"/>
                  <a:pt x="3156006" y="955672"/>
                  <a:pt x="3159650" y="957494"/>
                </a:cubicBezTo>
                <a:cubicBezTo>
                  <a:pt x="3165116" y="959316"/>
                  <a:pt x="3168761" y="955672"/>
                  <a:pt x="3174227" y="948383"/>
                </a:cubicBezTo>
                <a:cubicBezTo>
                  <a:pt x="3177872" y="944738"/>
                  <a:pt x="3179694" y="942916"/>
                  <a:pt x="3181516" y="937450"/>
                </a:cubicBezTo>
                <a:cubicBezTo>
                  <a:pt x="3181516" y="939272"/>
                  <a:pt x="3181516" y="941094"/>
                  <a:pt x="3183338" y="942916"/>
                </a:cubicBezTo>
                <a:cubicBezTo>
                  <a:pt x="3188805" y="933804"/>
                  <a:pt x="3199738" y="928339"/>
                  <a:pt x="3207027" y="921049"/>
                </a:cubicBezTo>
                <a:cubicBezTo>
                  <a:pt x="3194271" y="915583"/>
                  <a:pt x="3181516" y="913761"/>
                  <a:pt x="3168761" y="910117"/>
                </a:cubicBezTo>
                <a:cubicBezTo>
                  <a:pt x="3168761" y="911939"/>
                  <a:pt x="3168761" y="913761"/>
                  <a:pt x="3168761" y="913761"/>
                </a:cubicBezTo>
                <a:cubicBezTo>
                  <a:pt x="3161472" y="917405"/>
                  <a:pt x="3166939" y="906473"/>
                  <a:pt x="3163294" y="906473"/>
                </a:cubicBezTo>
                <a:cubicBezTo>
                  <a:pt x="3156006" y="904651"/>
                  <a:pt x="3157828" y="917405"/>
                  <a:pt x="3152361" y="915583"/>
                </a:cubicBezTo>
                <a:cubicBezTo>
                  <a:pt x="3148717" y="915583"/>
                  <a:pt x="3152361" y="908295"/>
                  <a:pt x="3150539" y="904651"/>
                </a:cubicBezTo>
                <a:cubicBezTo>
                  <a:pt x="3141428" y="906473"/>
                  <a:pt x="3145073" y="895539"/>
                  <a:pt x="3135962" y="897361"/>
                </a:cubicBezTo>
                <a:close/>
                <a:moveTo>
                  <a:pt x="3134140" y="897361"/>
                </a:moveTo>
                <a:cubicBezTo>
                  <a:pt x="3128673" y="895539"/>
                  <a:pt x="3132317" y="904651"/>
                  <a:pt x="3135962" y="902827"/>
                </a:cubicBezTo>
                <a:cubicBezTo>
                  <a:pt x="3135962" y="899183"/>
                  <a:pt x="3134140" y="901005"/>
                  <a:pt x="3134140" y="897361"/>
                </a:cubicBezTo>
                <a:close/>
                <a:moveTo>
                  <a:pt x="2509134" y="897361"/>
                </a:moveTo>
                <a:cubicBezTo>
                  <a:pt x="2505490" y="901005"/>
                  <a:pt x="2503667" y="904651"/>
                  <a:pt x="2503667" y="910117"/>
                </a:cubicBezTo>
                <a:cubicBezTo>
                  <a:pt x="2505490" y="910117"/>
                  <a:pt x="2507312" y="908295"/>
                  <a:pt x="2509134" y="908295"/>
                </a:cubicBezTo>
                <a:cubicBezTo>
                  <a:pt x="2509134" y="904651"/>
                  <a:pt x="2509134" y="901005"/>
                  <a:pt x="2509134" y="897361"/>
                </a:cubicBezTo>
                <a:close/>
                <a:moveTo>
                  <a:pt x="1326543" y="897361"/>
                </a:moveTo>
                <a:lnTo>
                  <a:pt x="1326283" y="899704"/>
                </a:lnTo>
                <a:lnTo>
                  <a:pt x="1325983" y="898202"/>
                </a:lnTo>
                <a:close/>
                <a:moveTo>
                  <a:pt x="592207" y="897361"/>
                </a:moveTo>
                <a:cubicBezTo>
                  <a:pt x="590385" y="901005"/>
                  <a:pt x="592207" y="902827"/>
                  <a:pt x="592207" y="904651"/>
                </a:cubicBezTo>
                <a:cubicBezTo>
                  <a:pt x="599496" y="899183"/>
                  <a:pt x="588562" y="917405"/>
                  <a:pt x="599496" y="908295"/>
                </a:cubicBezTo>
                <a:cubicBezTo>
                  <a:pt x="601318" y="908295"/>
                  <a:pt x="599496" y="904651"/>
                  <a:pt x="597673" y="902827"/>
                </a:cubicBezTo>
                <a:cubicBezTo>
                  <a:pt x="601318" y="904651"/>
                  <a:pt x="603140" y="911939"/>
                  <a:pt x="612251" y="906473"/>
                </a:cubicBezTo>
                <a:cubicBezTo>
                  <a:pt x="604963" y="902827"/>
                  <a:pt x="599496" y="901005"/>
                  <a:pt x="592207" y="897361"/>
                </a:cubicBezTo>
                <a:close/>
                <a:moveTo>
                  <a:pt x="482876" y="897361"/>
                </a:moveTo>
                <a:cubicBezTo>
                  <a:pt x="484700" y="899183"/>
                  <a:pt x="491987" y="904651"/>
                  <a:pt x="495632" y="902827"/>
                </a:cubicBezTo>
                <a:cubicBezTo>
                  <a:pt x="491987" y="902827"/>
                  <a:pt x="488343" y="901005"/>
                  <a:pt x="482876" y="897361"/>
                </a:cubicBezTo>
                <a:close/>
                <a:moveTo>
                  <a:pt x="701537" y="896906"/>
                </a:moveTo>
                <a:cubicBezTo>
                  <a:pt x="699259" y="895995"/>
                  <a:pt x="696983" y="895539"/>
                  <a:pt x="694249" y="897361"/>
                </a:cubicBezTo>
                <a:cubicBezTo>
                  <a:pt x="692426" y="899183"/>
                  <a:pt x="692426" y="901005"/>
                  <a:pt x="688782" y="902827"/>
                </a:cubicBezTo>
                <a:cubicBezTo>
                  <a:pt x="694249" y="908295"/>
                  <a:pt x="707004" y="904651"/>
                  <a:pt x="708826" y="899183"/>
                </a:cubicBezTo>
                <a:cubicBezTo>
                  <a:pt x="706092" y="899183"/>
                  <a:pt x="703815" y="897817"/>
                  <a:pt x="701537" y="896906"/>
                </a:cubicBezTo>
                <a:close/>
                <a:moveTo>
                  <a:pt x="651428" y="896906"/>
                </a:moveTo>
                <a:cubicBezTo>
                  <a:pt x="648695" y="896906"/>
                  <a:pt x="645961" y="897361"/>
                  <a:pt x="643228" y="899183"/>
                </a:cubicBezTo>
                <a:cubicBezTo>
                  <a:pt x="650516" y="901005"/>
                  <a:pt x="654161" y="902827"/>
                  <a:pt x="659627" y="897361"/>
                </a:cubicBezTo>
                <a:cubicBezTo>
                  <a:pt x="656894" y="897361"/>
                  <a:pt x="654161" y="896906"/>
                  <a:pt x="651428" y="896906"/>
                </a:cubicBezTo>
                <a:close/>
                <a:moveTo>
                  <a:pt x="274465" y="896223"/>
                </a:moveTo>
                <a:cubicBezTo>
                  <a:pt x="273327" y="895539"/>
                  <a:pt x="272415" y="895539"/>
                  <a:pt x="271504" y="897361"/>
                </a:cubicBezTo>
                <a:cubicBezTo>
                  <a:pt x="273327" y="901005"/>
                  <a:pt x="276971" y="895539"/>
                  <a:pt x="278793" y="899183"/>
                </a:cubicBezTo>
                <a:cubicBezTo>
                  <a:pt x="276971" y="898272"/>
                  <a:pt x="275604" y="896906"/>
                  <a:pt x="274465" y="896223"/>
                </a:cubicBezTo>
                <a:close/>
                <a:moveTo>
                  <a:pt x="3196092" y="895560"/>
                </a:moveTo>
                <a:cubicBezTo>
                  <a:pt x="3196092" y="901027"/>
                  <a:pt x="3201559" y="902849"/>
                  <a:pt x="3199737" y="910141"/>
                </a:cubicBezTo>
                <a:cubicBezTo>
                  <a:pt x="3197915" y="910141"/>
                  <a:pt x="3196092" y="910141"/>
                  <a:pt x="3194270" y="910141"/>
                </a:cubicBezTo>
                <a:cubicBezTo>
                  <a:pt x="3192448" y="904674"/>
                  <a:pt x="3190626" y="897382"/>
                  <a:pt x="3196092" y="895560"/>
                </a:cubicBezTo>
                <a:close/>
                <a:moveTo>
                  <a:pt x="3310890" y="895539"/>
                </a:moveTo>
                <a:cubicBezTo>
                  <a:pt x="3307246" y="899183"/>
                  <a:pt x="3298135" y="899183"/>
                  <a:pt x="3305424" y="904651"/>
                </a:cubicBezTo>
                <a:cubicBezTo>
                  <a:pt x="3307246" y="906473"/>
                  <a:pt x="3310890" y="899183"/>
                  <a:pt x="3314535" y="899183"/>
                </a:cubicBezTo>
                <a:cubicBezTo>
                  <a:pt x="3312713" y="897361"/>
                  <a:pt x="3310890" y="897361"/>
                  <a:pt x="3310890" y="895539"/>
                </a:cubicBezTo>
                <a:close/>
                <a:moveTo>
                  <a:pt x="1297388" y="895539"/>
                </a:moveTo>
                <a:cubicBezTo>
                  <a:pt x="1295566" y="895539"/>
                  <a:pt x="1293744" y="897361"/>
                  <a:pt x="1291922" y="899183"/>
                </a:cubicBezTo>
                <a:cubicBezTo>
                  <a:pt x="1291922" y="901005"/>
                  <a:pt x="1293744" y="901005"/>
                  <a:pt x="1297388" y="902827"/>
                </a:cubicBezTo>
                <a:cubicBezTo>
                  <a:pt x="1297388" y="901005"/>
                  <a:pt x="1301033" y="897361"/>
                  <a:pt x="1297388" y="895539"/>
                </a:cubicBezTo>
                <a:close/>
                <a:moveTo>
                  <a:pt x="295193" y="895539"/>
                </a:moveTo>
                <a:cubicBezTo>
                  <a:pt x="287904" y="902827"/>
                  <a:pt x="297015" y="897361"/>
                  <a:pt x="298837" y="899183"/>
                </a:cubicBezTo>
                <a:cubicBezTo>
                  <a:pt x="298837" y="897361"/>
                  <a:pt x="295193" y="897361"/>
                  <a:pt x="295193" y="895539"/>
                </a:cubicBezTo>
                <a:close/>
                <a:moveTo>
                  <a:pt x="2698515" y="894597"/>
                </a:moveTo>
                <a:lnTo>
                  <a:pt x="2698811" y="895386"/>
                </a:lnTo>
                <a:lnTo>
                  <a:pt x="2698640" y="895539"/>
                </a:lnTo>
                <a:close/>
                <a:moveTo>
                  <a:pt x="3186072" y="894172"/>
                </a:moveTo>
                <a:cubicBezTo>
                  <a:pt x="3182883" y="895084"/>
                  <a:pt x="3179694" y="896450"/>
                  <a:pt x="3176050" y="895539"/>
                </a:cubicBezTo>
                <a:cubicBezTo>
                  <a:pt x="3170583" y="913761"/>
                  <a:pt x="3194271" y="913761"/>
                  <a:pt x="3210671" y="919227"/>
                </a:cubicBezTo>
                <a:cubicBezTo>
                  <a:pt x="3216137" y="910117"/>
                  <a:pt x="3208849" y="895539"/>
                  <a:pt x="3196093" y="895539"/>
                </a:cubicBezTo>
                <a:cubicBezTo>
                  <a:pt x="3192449" y="892806"/>
                  <a:pt x="3189261" y="893261"/>
                  <a:pt x="3186072" y="894172"/>
                </a:cubicBezTo>
                <a:close/>
                <a:moveTo>
                  <a:pt x="852778" y="893717"/>
                </a:moveTo>
                <a:cubicBezTo>
                  <a:pt x="856422" y="899183"/>
                  <a:pt x="861889" y="901005"/>
                  <a:pt x="869177" y="902827"/>
                </a:cubicBezTo>
                <a:cubicBezTo>
                  <a:pt x="867355" y="897361"/>
                  <a:pt x="861889" y="888250"/>
                  <a:pt x="852778" y="893717"/>
                </a:cubicBezTo>
                <a:close/>
                <a:moveTo>
                  <a:pt x="829089" y="893717"/>
                </a:moveTo>
                <a:cubicBezTo>
                  <a:pt x="818156" y="895539"/>
                  <a:pt x="805401" y="897361"/>
                  <a:pt x="796290" y="901005"/>
                </a:cubicBezTo>
                <a:cubicBezTo>
                  <a:pt x="818156" y="911939"/>
                  <a:pt x="840022" y="919227"/>
                  <a:pt x="863711" y="921049"/>
                </a:cubicBezTo>
                <a:cubicBezTo>
                  <a:pt x="858244" y="921049"/>
                  <a:pt x="852778" y="919227"/>
                  <a:pt x="847311" y="915583"/>
                </a:cubicBezTo>
                <a:cubicBezTo>
                  <a:pt x="854600" y="915583"/>
                  <a:pt x="860066" y="919227"/>
                  <a:pt x="867355" y="919227"/>
                </a:cubicBezTo>
                <a:cubicBezTo>
                  <a:pt x="863711" y="917405"/>
                  <a:pt x="861889" y="915583"/>
                  <a:pt x="858244" y="913761"/>
                </a:cubicBezTo>
                <a:cubicBezTo>
                  <a:pt x="863711" y="915583"/>
                  <a:pt x="867355" y="917405"/>
                  <a:pt x="871000" y="921049"/>
                </a:cubicBezTo>
                <a:cubicBezTo>
                  <a:pt x="874644" y="915583"/>
                  <a:pt x="869177" y="911939"/>
                  <a:pt x="869177" y="908295"/>
                </a:cubicBezTo>
                <a:cubicBezTo>
                  <a:pt x="871000" y="908295"/>
                  <a:pt x="871000" y="908295"/>
                  <a:pt x="872822" y="910117"/>
                </a:cubicBezTo>
                <a:cubicBezTo>
                  <a:pt x="874644" y="902827"/>
                  <a:pt x="854600" y="899183"/>
                  <a:pt x="845489" y="902827"/>
                </a:cubicBezTo>
                <a:cubicBezTo>
                  <a:pt x="847311" y="897361"/>
                  <a:pt x="854600" y="902827"/>
                  <a:pt x="858244" y="901005"/>
                </a:cubicBezTo>
                <a:cubicBezTo>
                  <a:pt x="841845" y="886428"/>
                  <a:pt x="821801" y="902827"/>
                  <a:pt x="803579" y="902827"/>
                </a:cubicBezTo>
                <a:cubicBezTo>
                  <a:pt x="810868" y="899183"/>
                  <a:pt x="821801" y="899183"/>
                  <a:pt x="829089" y="893717"/>
                </a:cubicBezTo>
                <a:close/>
                <a:moveTo>
                  <a:pt x="548475" y="893717"/>
                </a:moveTo>
                <a:cubicBezTo>
                  <a:pt x="546653" y="895539"/>
                  <a:pt x="552119" y="899183"/>
                  <a:pt x="555763" y="902827"/>
                </a:cubicBezTo>
                <a:cubicBezTo>
                  <a:pt x="557586" y="901005"/>
                  <a:pt x="555763" y="897361"/>
                  <a:pt x="555763" y="895539"/>
                </a:cubicBezTo>
                <a:cubicBezTo>
                  <a:pt x="553941" y="895539"/>
                  <a:pt x="552119" y="893717"/>
                  <a:pt x="548475" y="893717"/>
                </a:cubicBezTo>
                <a:close/>
                <a:moveTo>
                  <a:pt x="249638" y="893717"/>
                </a:moveTo>
                <a:cubicBezTo>
                  <a:pt x="253282" y="899183"/>
                  <a:pt x="255105" y="897361"/>
                  <a:pt x="256927" y="895539"/>
                </a:cubicBezTo>
                <a:cubicBezTo>
                  <a:pt x="255105" y="895539"/>
                  <a:pt x="251460" y="893717"/>
                  <a:pt x="249638" y="893717"/>
                </a:cubicBezTo>
                <a:close/>
                <a:moveTo>
                  <a:pt x="165818" y="893717"/>
                </a:moveTo>
                <a:lnTo>
                  <a:pt x="167578" y="895037"/>
                </a:lnTo>
                <a:lnTo>
                  <a:pt x="172195" y="900095"/>
                </a:lnTo>
                <a:lnTo>
                  <a:pt x="177297" y="916532"/>
                </a:lnTo>
                <a:close/>
                <a:moveTo>
                  <a:pt x="1066883" y="892807"/>
                </a:moveTo>
                <a:lnTo>
                  <a:pt x="1066200" y="894856"/>
                </a:lnTo>
                <a:lnTo>
                  <a:pt x="1064647" y="895042"/>
                </a:lnTo>
                <a:close/>
                <a:moveTo>
                  <a:pt x="3411110" y="891894"/>
                </a:moveTo>
                <a:cubicBezTo>
                  <a:pt x="3405643" y="891894"/>
                  <a:pt x="3407466" y="895539"/>
                  <a:pt x="3409288" y="897361"/>
                </a:cubicBezTo>
                <a:cubicBezTo>
                  <a:pt x="3412932" y="897361"/>
                  <a:pt x="3412932" y="893717"/>
                  <a:pt x="3418399" y="895539"/>
                </a:cubicBezTo>
                <a:cubicBezTo>
                  <a:pt x="3420221" y="891894"/>
                  <a:pt x="3411110" y="895539"/>
                  <a:pt x="3411110" y="891894"/>
                </a:cubicBezTo>
                <a:close/>
                <a:moveTo>
                  <a:pt x="3156006" y="891894"/>
                </a:moveTo>
                <a:cubicBezTo>
                  <a:pt x="3152361" y="891894"/>
                  <a:pt x="3146895" y="891894"/>
                  <a:pt x="3146895" y="897361"/>
                </a:cubicBezTo>
                <a:cubicBezTo>
                  <a:pt x="3150539" y="899183"/>
                  <a:pt x="3157828" y="897361"/>
                  <a:pt x="3156006" y="891894"/>
                </a:cubicBezTo>
                <a:close/>
                <a:moveTo>
                  <a:pt x="2421669" y="891894"/>
                </a:moveTo>
                <a:cubicBezTo>
                  <a:pt x="2418025" y="891894"/>
                  <a:pt x="2418025" y="906473"/>
                  <a:pt x="2421669" y="902827"/>
                </a:cubicBezTo>
                <a:cubicBezTo>
                  <a:pt x="2419847" y="899183"/>
                  <a:pt x="2421669" y="897361"/>
                  <a:pt x="2421669" y="891894"/>
                </a:cubicBezTo>
                <a:close/>
                <a:moveTo>
                  <a:pt x="1264589" y="891894"/>
                </a:moveTo>
                <a:cubicBezTo>
                  <a:pt x="1262767" y="893717"/>
                  <a:pt x="1257300" y="895539"/>
                  <a:pt x="1257300" y="899183"/>
                </a:cubicBezTo>
                <a:cubicBezTo>
                  <a:pt x="1260945" y="901005"/>
                  <a:pt x="1268233" y="897361"/>
                  <a:pt x="1264589" y="891894"/>
                </a:cubicBezTo>
                <a:close/>
                <a:moveTo>
                  <a:pt x="1160725" y="891894"/>
                </a:moveTo>
                <a:cubicBezTo>
                  <a:pt x="1157081" y="893717"/>
                  <a:pt x="1158903" y="901005"/>
                  <a:pt x="1153436" y="902827"/>
                </a:cubicBezTo>
                <a:cubicBezTo>
                  <a:pt x="1160725" y="902827"/>
                  <a:pt x="1160725" y="897361"/>
                  <a:pt x="1160725" y="891894"/>
                </a:cubicBezTo>
                <a:close/>
                <a:moveTo>
                  <a:pt x="1118815" y="891894"/>
                </a:moveTo>
                <a:lnTo>
                  <a:pt x="1118953" y="892860"/>
                </a:lnTo>
                <a:lnTo>
                  <a:pt x="1117676" y="894400"/>
                </a:lnTo>
                <a:lnTo>
                  <a:pt x="1115108" y="896528"/>
                </a:lnTo>
                <a:close/>
                <a:moveTo>
                  <a:pt x="650516" y="891894"/>
                </a:moveTo>
                <a:cubicBezTo>
                  <a:pt x="648694" y="893717"/>
                  <a:pt x="648694" y="893717"/>
                  <a:pt x="646872" y="895539"/>
                </a:cubicBezTo>
                <a:cubicBezTo>
                  <a:pt x="650516" y="895539"/>
                  <a:pt x="654161" y="895539"/>
                  <a:pt x="657805" y="895539"/>
                </a:cubicBezTo>
                <a:cubicBezTo>
                  <a:pt x="657805" y="893717"/>
                  <a:pt x="652339" y="891894"/>
                  <a:pt x="650516" y="891894"/>
                </a:cubicBezTo>
                <a:close/>
                <a:moveTo>
                  <a:pt x="625006" y="891894"/>
                </a:moveTo>
                <a:cubicBezTo>
                  <a:pt x="626828" y="899183"/>
                  <a:pt x="632296" y="901005"/>
                  <a:pt x="637761" y="897361"/>
                </a:cubicBezTo>
                <a:cubicBezTo>
                  <a:pt x="635939" y="895539"/>
                  <a:pt x="628650" y="893717"/>
                  <a:pt x="625006" y="891894"/>
                </a:cubicBezTo>
                <a:close/>
                <a:moveTo>
                  <a:pt x="404523" y="891894"/>
                </a:moveTo>
                <a:cubicBezTo>
                  <a:pt x="404523" y="897361"/>
                  <a:pt x="413634" y="899183"/>
                  <a:pt x="417278" y="902827"/>
                </a:cubicBezTo>
                <a:cubicBezTo>
                  <a:pt x="404523" y="895539"/>
                  <a:pt x="393590" y="890072"/>
                  <a:pt x="382657" y="895539"/>
                </a:cubicBezTo>
                <a:cubicBezTo>
                  <a:pt x="389946" y="897361"/>
                  <a:pt x="389946" y="908295"/>
                  <a:pt x="397234" y="910117"/>
                </a:cubicBezTo>
                <a:lnTo>
                  <a:pt x="395412" y="910117"/>
                </a:lnTo>
                <a:cubicBezTo>
                  <a:pt x="395412" y="913761"/>
                  <a:pt x="397234" y="915583"/>
                  <a:pt x="400879" y="919227"/>
                </a:cubicBezTo>
                <a:cubicBezTo>
                  <a:pt x="400879" y="917405"/>
                  <a:pt x="399056" y="913761"/>
                  <a:pt x="397234" y="911939"/>
                </a:cubicBezTo>
                <a:cubicBezTo>
                  <a:pt x="397234" y="911939"/>
                  <a:pt x="395412" y="910117"/>
                  <a:pt x="395412" y="910117"/>
                </a:cubicBezTo>
                <a:lnTo>
                  <a:pt x="398680" y="911939"/>
                </a:lnTo>
                <a:lnTo>
                  <a:pt x="407256" y="916722"/>
                </a:lnTo>
                <a:lnTo>
                  <a:pt x="415193" y="918401"/>
                </a:lnTo>
                <a:lnTo>
                  <a:pt x="422745" y="924695"/>
                </a:lnTo>
                <a:cubicBezTo>
                  <a:pt x="424567" y="921049"/>
                  <a:pt x="422745" y="919227"/>
                  <a:pt x="422745" y="917405"/>
                </a:cubicBezTo>
                <a:lnTo>
                  <a:pt x="412927" y="915770"/>
                </a:lnTo>
                <a:lnTo>
                  <a:pt x="411812" y="913761"/>
                </a:lnTo>
                <a:cubicBezTo>
                  <a:pt x="411812" y="913761"/>
                  <a:pt x="411812" y="915583"/>
                  <a:pt x="409989" y="915583"/>
                </a:cubicBezTo>
                <a:cubicBezTo>
                  <a:pt x="411812" y="910117"/>
                  <a:pt x="411812" y="908295"/>
                  <a:pt x="404523" y="902827"/>
                </a:cubicBezTo>
                <a:cubicBezTo>
                  <a:pt x="411812" y="906473"/>
                  <a:pt x="415456" y="913761"/>
                  <a:pt x="422745" y="915583"/>
                </a:cubicBezTo>
                <a:cubicBezTo>
                  <a:pt x="424567" y="911939"/>
                  <a:pt x="417278" y="908295"/>
                  <a:pt x="417278" y="904651"/>
                </a:cubicBezTo>
                <a:cubicBezTo>
                  <a:pt x="422745" y="904651"/>
                  <a:pt x="411812" y="899183"/>
                  <a:pt x="419100" y="897361"/>
                </a:cubicBezTo>
                <a:cubicBezTo>
                  <a:pt x="415456" y="895539"/>
                  <a:pt x="409989" y="893717"/>
                  <a:pt x="404523" y="891894"/>
                </a:cubicBezTo>
                <a:close/>
                <a:moveTo>
                  <a:pt x="338926" y="891894"/>
                </a:moveTo>
                <a:cubicBezTo>
                  <a:pt x="337102" y="901005"/>
                  <a:pt x="344391" y="893717"/>
                  <a:pt x="348037" y="895539"/>
                </a:cubicBezTo>
                <a:cubicBezTo>
                  <a:pt x="346213" y="893717"/>
                  <a:pt x="340747" y="891894"/>
                  <a:pt x="338926" y="891894"/>
                </a:cubicBezTo>
                <a:close/>
                <a:moveTo>
                  <a:pt x="118442" y="891894"/>
                </a:moveTo>
                <a:lnTo>
                  <a:pt x="123784" y="904503"/>
                </a:lnTo>
                <a:lnTo>
                  <a:pt x="119125" y="898956"/>
                </a:lnTo>
                <a:cubicBezTo>
                  <a:pt x="118442" y="896906"/>
                  <a:pt x="118442" y="894628"/>
                  <a:pt x="118442" y="891894"/>
                </a:cubicBezTo>
                <a:close/>
                <a:moveTo>
                  <a:pt x="3225248" y="890072"/>
                </a:moveTo>
                <a:cubicBezTo>
                  <a:pt x="3221604" y="890072"/>
                  <a:pt x="3217960" y="893717"/>
                  <a:pt x="3219782" y="895539"/>
                </a:cubicBezTo>
                <a:cubicBezTo>
                  <a:pt x="3223426" y="890072"/>
                  <a:pt x="3225248" y="895539"/>
                  <a:pt x="3227071" y="897361"/>
                </a:cubicBezTo>
                <a:cubicBezTo>
                  <a:pt x="3232537" y="897361"/>
                  <a:pt x="3225248" y="893717"/>
                  <a:pt x="3225248" y="890072"/>
                </a:cubicBezTo>
                <a:close/>
                <a:moveTo>
                  <a:pt x="3205204" y="890072"/>
                </a:moveTo>
                <a:cubicBezTo>
                  <a:pt x="3201560" y="891894"/>
                  <a:pt x="3208849" y="895539"/>
                  <a:pt x="3210671" y="897361"/>
                </a:cubicBezTo>
                <a:cubicBezTo>
                  <a:pt x="3216137" y="895539"/>
                  <a:pt x="3208849" y="890072"/>
                  <a:pt x="3205204" y="890072"/>
                </a:cubicBezTo>
                <a:close/>
                <a:moveTo>
                  <a:pt x="419100" y="890072"/>
                </a:moveTo>
                <a:cubicBezTo>
                  <a:pt x="420923" y="893717"/>
                  <a:pt x="422745" y="891894"/>
                  <a:pt x="424567" y="893717"/>
                </a:cubicBezTo>
                <a:cubicBezTo>
                  <a:pt x="422745" y="895539"/>
                  <a:pt x="417278" y="893717"/>
                  <a:pt x="419100" y="890072"/>
                </a:cubicBezTo>
                <a:close/>
                <a:moveTo>
                  <a:pt x="1303267" y="889969"/>
                </a:moveTo>
                <a:lnTo>
                  <a:pt x="1302855" y="891894"/>
                </a:lnTo>
                <a:lnTo>
                  <a:pt x="1302490" y="891530"/>
                </a:lnTo>
                <a:lnTo>
                  <a:pt x="1302855" y="890072"/>
                </a:lnTo>
                <a:close/>
                <a:moveTo>
                  <a:pt x="238846" y="889477"/>
                </a:moveTo>
                <a:lnTo>
                  <a:pt x="240251" y="889784"/>
                </a:lnTo>
                <a:lnTo>
                  <a:pt x="240527" y="890072"/>
                </a:lnTo>
                <a:close/>
                <a:moveTo>
                  <a:pt x="3161700" y="889389"/>
                </a:moveTo>
                <a:cubicBezTo>
                  <a:pt x="3160106" y="890072"/>
                  <a:pt x="3158739" y="890983"/>
                  <a:pt x="3157828" y="890072"/>
                </a:cubicBezTo>
                <a:cubicBezTo>
                  <a:pt x="3163294" y="895539"/>
                  <a:pt x="3166939" y="890072"/>
                  <a:pt x="3165116" y="897361"/>
                </a:cubicBezTo>
                <a:cubicBezTo>
                  <a:pt x="3157828" y="893717"/>
                  <a:pt x="3161472" y="899183"/>
                  <a:pt x="3159650" y="899183"/>
                </a:cubicBezTo>
                <a:cubicBezTo>
                  <a:pt x="3163294" y="899183"/>
                  <a:pt x="3166939" y="902827"/>
                  <a:pt x="3168761" y="904651"/>
                </a:cubicBezTo>
                <a:cubicBezTo>
                  <a:pt x="3174227" y="899183"/>
                  <a:pt x="3161472" y="895539"/>
                  <a:pt x="3166939" y="890072"/>
                </a:cubicBezTo>
                <a:cubicBezTo>
                  <a:pt x="3165117" y="888250"/>
                  <a:pt x="3163294" y="888706"/>
                  <a:pt x="3161700" y="889389"/>
                </a:cubicBezTo>
                <a:close/>
                <a:moveTo>
                  <a:pt x="1425404" y="888343"/>
                </a:moveTo>
                <a:lnTo>
                  <a:pt x="1427217" y="888706"/>
                </a:lnTo>
                <a:lnTo>
                  <a:pt x="1434051" y="895539"/>
                </a:lnTo>
                <a:cubicBezTo>
                  <a:pt x="1430407" y="893717"/>
                  <a:pt x="1426763" y="893717"/>
                  <a:pt x="1423118" y="895539"/>
                </a:cubicBezTo>
                <a:cubicBezTo>
                  <a:pt x="1423118" y="893717"/>
                  <a:pt x="1426763" y="891894"/>
                  <a:pt x="1426763" y="890072"/>
                </a:cubicBezTo>
                <a:close/>
                <a:moveTo>
                  <a:pt x="3429332" y="888250"/>
                </a:moveTo>
                <a:cubicBezTo>
                  <a:pt x="3429332" y="890072"/>
                  <a:pt x="3429332" y="891894"/>
                  <a:pt x="3429332" y="893717"/>
                </a:cubicBezTo>
                <a:cubicBezTo>
                  <a:pt x="3431154" y="899183"/>
                  <a:pt x="3438443" y="901005"/>
                  <a:pt x="3440265" y="897361"/>
                </a:cubicBezTo>
                <a:cubicBezTo>
                  <a:pt x="3436621" y="895539"/>
                  <a:pt x="3432976" y="893717"/>
                  <a:pt x="3429332" y="893717"/>
                </a:cubicBezTo>
                <a:cubicBezTo>
                  <a:pt x="3431154" y="890072"/>
                  <a:pt x="3434798" y="890072"/>
                  <a:pt x="3436621" y="890072"/>
                </a:cubicBezTo>
                <a:cubicBezTo>
                  <a:pt x="3436621" y="888250"/>
                  <a:pt x="3432976" y="888250"/>
                  <a:pt x="3429332" y="888250"/>
                </a:cubicBezTo>
                <a:close/>
                <a:moveTo>
                  <a:pt x="3254403" y="888250"/>
                </a:moveTo>
                <a:cubicBezTo>
                  <a:pt x="3250759" y="884606"/>
                  <a:pt x="3254403" y="897361"/>
                  <a:pt x="3261692" y="897361"/>
                </a:cubicBezTo>
                <a:cubicBezTo>
                  <a:pt x="3259869" y="891894"/>
                  <a:pt x="3256225" y="891894"/>
                  <a:pt x="3254403" y="888250"/>
                </a:cubicBezTo>
                <a:close/>
                <a:moveTo>
                  <a:pt x="2297762" y="888250"/>
                </a:moveTo>
                <a:cubicBezTo>
                  <a:pt x="2294117" y="888250"/>
                  <a:pt x="2294117" y="891894"/>
                  <a:pt x="2290473" y="893717"/>
                </a:cubicBezTo>
                <a:cubicBezTo>
                  <a:pt x="2295940" y="893717"/>
                  <a:pt x="2294117" y="899183"/>
                  <a:pt x="2297762" y="901005"/>
                </a:cubicBezTo>
                <a:cubicBezTo>
                  <a:pt x="2295940" y="904651"/>
                  <a:pt x="2295940" y="899183"/>
                  <a:pt x="2292295" y="901005"/>
                </a:cubicBezTo>
                <a:cubicBezTo>
                  <a:pt x="2290473" y="904651"/>
                  <a:pt x="2290473" y="906473"/>
                  <a:pt x="2290473" y="910117"/>
                </a:cubicBezTo>
                <a:cubicBezTo>
                  <a:pt x="2297762" y="910117"/>
                  <a:pt x="2297762" y="901005"/>
                  <a:pt x="2301406" y="897361"/>
                </a:cubicBezTo>
                <a:cubicBezTo>
                  <a:pt x="2303228" y="891894"/>
                  <a:pt x="2295940" y="895539"/>
                  <a:pt x="2297762" y="888250"/>
                </a:cubicBezTo>
                <a:close/>
                <a:moveTo>
                  <a:pt x="572163" y="888250"/>
                </a:moveTo>
                <a:cubicBezTo>
                  <a:pt x="570341" y="891894"/>
                  <a:pt x="570341" y="895539"/>
                  <a:pt x="573985" y="901005"/>
                </a:cubicBezTo>
                <a:cubicBezTo>
                  <a:pt x="583096" y="902827"/>
                  <a:pt x="573985" y="891894"/>
                  <a:pt x="572163" y="888250"/>
                </a:cubicBezTo>
                <a:close/>
                <a:moveTo>
                  <a:pt x="484700" y="888250"/>
                </a:moveTo>
                <a:cubicBezTo>
                  <a:pt x="484700" y="897361"/>
                  <a:pt x="491987" y="893717"/>
                  <a:pt x="493809" y="897361"/>
                </a:cubicBezTo>
                <a:cubicBezTo>
                  <a:pt x="495632" y="893717"/>
                  <a:pt x="488343" y="890072"/>
                  <a:pt x="484700" y="888250"/>
                </a:cubicBezTo>
                <a:close/>
                <a:moveTo>
                  <a:pt x="1425198" y="888079"/>
                </a:moveTo>
                <a:lnTo>
                  <a:pt x="1425404" y="888343"/>
                </a:lnTo>
                <a:lnTo>
                  <a:pt x="1424940" y="888250"/>
                </a:lnTo>
                <a:close/>
                <a:moveTo>
                  <a:pt x="596534" y="887795"/>
                </a:moveTo>
                <a:cubicBezTo>
                  <a:pt x="593573" y="888251"/>
                  <a:pt x="592206" y="890073"/>
                  <a:pt x="595852" y="893717"/>
                </a:cubicBezTo>
                <a:cubicBezTo>
                  <a:pt x="603140" y="902827"/>
                  <a:pt x="617717" y="908295"/>
                  <a:pt x="630472" y="904651"/>
                </a:cubicBezTo>
                <a:cubicBezTo>
                  <a:pt x="626828" y="901005"/>
                  <a:pt x="615895" y="902827"/>
                  <a:pt x="608606" y="901005"/>
                </a:cubicBezTo>
                <a:cubicBezTo>
                  <a:pt x="612251" y="899183"/>
                  <a:pt x="617717" y="901005"/>
                  <a:pt x="623185" y="901005"/>
                </a:cubicBezTo>
                <a:cubicBezTo>
                  <a:pt x="617717" y="895539"/>
                  <a:pt x="612251" y="893717"/>
                  <a:pt x="604963" y="891894"/>
                </a:cubicBezTo>
                <a:cubicBezTo>
                  <a:pt x="604963" y="890072"/>
                  <a:pt x="606784" y="890072"/>
                  <a:pt x="606784" y="890072"/>
                </a:cubicBezTo>
                <a:cubicBezTo>
                  <a:pt x="604051" y="888250"/>
                  <a:pt x="599495" y="887339"/>
                  <a:pt x="596534" y="887795"/>
                </a:cubicBezTo>
                <a:close/>
                <a:moveTo>
                  <a:pt x="2546944" y="887567"/>
                </a:moveTo>
                <a:cubicBezTo>
                  <a:pt x="2544211" y="886884"/>
                  <a:pt x="2541933" y="887339"/>
                  <a:pt x="2541933" y="891894"/>
                </a:cubicBezTo>
                <a:cubicBezTo>
                  <a:pt x="2532822" y="882784"/>
                  <a:pt x="2520067" y="890072"/>
                  <a:pt x="2512778" y="897361"/>
                </a:cubicBezTo>
                <a:cubicBezTo>
                  <a:pt x="2512778" y="897361"/>
                  <a:pt x="2514600" y="904651"/>
                  <a:pt x="2516423" y="904651"/>
                </a:cubicBezTo>
                <a:cubicBezTo>
                  <a:pt x="2520067" y="906473"/>
                  <a:pt x="2520067" y="897361"/>
                  <a:pt x="2527356" y="899183"/>
                </a:cubicBezTo>
                <a:cubicBezTo>
                  <a:pt x="2525534" y="904651"/>
                  <a:pt x="2520067" y="904651"/>
                  <a:pt x="2516423" y="908295"/>
                </a:cubicBezTo>
                <a:cubicBezTo>
                  <a:pt x="2525534" y="913761"/>
                  <a:pt x="2534644" y="919227"/>
                  <a:pt x="2543755" y="924695"/>
                </a:cubicBezTo>
                <a:cubicBezTo>
                  <a:pt x="2543755" y="917405"/>
                  <a:pt x="2549222" y="919227"/>
                  <a:pt x="2554688" y="919227"/>
                </a:cubicBezTo>
                <a:cubicBezTo>
                  <a:pt x="2551044" y="921049"/>
                  <a:pt x="2551044" y="928339"/>
                  <a:pt x="2552866" y="928339"/>
                </a:cubicBezTo>
                <a:cubicBezTo>
                  <a:pt x="2560155" y="928339"/>
                  <a:pt x="2563799" y="935628"/>
                  <a:pt x="2571088" y="939272"/>
                </a:cubicBezTo>
                <a:cubicBezTo>
                  <a:pt x="2574732" y="941094"/>
                  <a:pt x="2580199" y="944738"/>
                  <a:pt x="2583843" y="942916"/>
                </a:cubicBezTo>
                <a:cubicBezTo>
                  <a:pt x="2589310" y="937450"/>
                  <a:pt x="2582021" y="930160"/>
                  <a:pt x="2580199" y="922872"/>
                </a:cubicBezTo>
                <a:cubicBezTo>
                  <a:pt x="2572910" y="930160"/>
                  <a:pt x="2569266" y="926516"/>
                  <a:pt x="2561977" y="921049"/>
                </a:cubicBezTo>
                <a:cubicBezTo>
                  <a:pt x="2565621" y="917405"/>
                  <a:pt x="2567443" y="913761"/>
                  <a:pt x="2565621" y="910117"/>
                </a:cubicBezTo>
                <a:cubicBezTo>
                  <a:pt x="2565621" y="910117"/>
                  <a:pt x="2561977" y="919227"/>
                  <a:pt x="2558332" y="911939"/>
                </a:cubicBezTo>
                <a:cubicBezTo>
                  <a:pt x="2567443" y="910117"/>
                  <a:pt x="2569266" y="904651"/>
                  <a:pt x="2565621" y="897361"/>
                </a:cubicBezTo>
                <a:cubicBezTo>
                  <a:pt x="2563799" y="893717"/>
                  <a:pt x="2556510" y="893717"/>
                  <a:pt x="2554688" y="895539"/>
                </a:cubicBezTo>
                <a:cubicBezTo>
                  <a:pt x="2552866" y="899183"/>
                  <a:pt x="2554688" y="904651"/>
                  <a:pt x="2558332" y="906473"/>
                </a:cubicBezTo>
                <a:cubicBezTo>
                  <a:pt x="2547400" y="902827"/>
                  <a:pt x="2551044" y="897361"/>
                  <a:pt x="2554688" y="890072"/>
                </a:cubicBezTo>
                <a:cubicBezTo>
                  <a:pt x="2552866" y="890072"/>
                  <a:pt x="2549677" y="888250"/>
                  <a:pt x="2546944" y="887567"/>
                </a:cubicBezTo>
                <a:close/>
                <a:moveTo>
                  <a:pt x="667600" y="887112"/>
                </a:moveTo>
                <a:cubicBezTo>
                  <a:pt x="666005" y="886884"/>
                  <a:pt x="664183" y="887339"/>
                  <a:pt x="663272" y="888250"/>
                </a:cubicBezTo>
                <a:cubicBezTo>
                  <a:pt x="663272" y="891894"/>
                  <a:pt x="665094" y="893717"/>
                  <a:pt x="668738" y="893717"/>
                </a:cubicBezTo>
                <a:cubicBezTo>
                  <a:pt x="670560" y="891894"/>
                  <a:pt x="663272" y="891894"/>
                  <a:pt x="665094" y="890072"/>
                </a:cubicBezTo>
                <a:cubicBezTo>
                  <a:pt x="666916" y="890072"/>
                  <a:pt x="666916" y="890072"/>
                  <a:pt x="670560" y="890072"/>
                </a:cubicBezTo>
                <a:cubicBezTo>
                  <a:pt x="670560" y="888250"/>
                  <a:pt x="669194" y="887339"/>
                  <a:pt x="667600" y="887112"/>
                </a:cubicBezTo>
                <a:close/>
                <a:moveTo>
                  <a:pt x="906077" y="886770"/>
                </a:moveTo>
                <a:cubicBezTo>
                  <a:pt x="902318" y="886315"/>
                  <a:pt x="898332" y="886884"/>
                  <a:pt x="894232" y="887795"/>
                </a:cubicBezTo>
                <a:cubicBezTo>
                  <a:pt x="886032" y="889617"/>
                  <a:pt x="877377" y="892806"/>
                  <a:pt x="869177" y="891894"/>
                </a:cubicBezTo>
                <a:cubicBezTo>
                  <a:pt x="872822" y="899183"/>
                  <a:pt x="874644" y="911939"/>
                  <a:pt x="881933" y="911939"/>
                </a:cubicBezTo>
                <a:cubicBezTo>
                  <a:pt x="892866" y="910117"/>
                  <a:pt x="896510" y="919227"/>
                  <a:pt x="901976" y="928339"/>
                </a:cubicBezTo>
                <a:cubicBezTo>
                  <a:pt x="901976" y="922872"/>
                  <a:pt x="907444" y="921049"/>
                  <a:pt x="911087" y="917405"/>
                </a:cubicBezTo>
                <a:cubicBezTo>
                  <a:pt x="903799" y="926516"/>
                  <a:pt x="903799" y="933804"/>
                  <a:pt x="918376" y="941094"/>
                </a:cubicBezTo>
                <a:cubicBezTo>
                  <a:pt x="918376" y="939272"/>
                  <a:pt x="918376" y="937450"/>
                  <a:pt x="918376" y="933804"/>
                </a:cubicBezTo>
                <a:cubicBezTo>
                  <a:pt x="920198" y="931983"/>
                  <a:pt x="920198" y="930160"/>
                  <a:pt x="920198" y="928339"/>
                </a:cubicBezTo>
                <a:cubicBezTo>
                  <a:pt x="920198" y="930160"/>
                  <a:pt x="922020" y="937450"/>
                  <a:pt x="927487" y="939272"/>
                </a:cubicBezTo>
                <a:cubicBezTo>
                  <a:pt x="931131" y="933804"/>
                  <a:pt x="925666" y="926516"/>
                  <a:pt x="923843" y="924695"/>
                </a:cubicBezTo>
                <a:cubicBezTo>
                  <a:pt x="923843" y="922872"/>
                  <a:pt x="923843" y="921049"/>
                  <a:pt x="923843" y="919227"/>
                </a:cubicBezTo>
                <a:cubicBezTo>
                  <a:pt x="923843" y="921049"/>
                  <a:pt x="925666" y="922872"/>
                  <a:pt x="927487" y="924695"/>
                </a:cubicBezTo>
                <a:cubicBezTo>
                  <a:pt x="927487" y="921049"/>
                  <a:pt x="925666" y="917405"/>
                  <a:pt x="922020" y="913761"/>
                </a:cubicBezTo>
                <a:cubicBezTo>
                  <a:pt x="923843" y="915583"/>
                  <a:pt x="923843" y="917405"/>
                  <a:pt x="923843" y="919227"/>
                </a:cubicBezTo>
                <a:cubicBezTo>
                  <a:pt x="920198" y="915583"/>
                  <a:pt x="916555" y="911939"/>
                  <a:pt x="914732" y="908295"/>
                </a:cubicBezTo>
                <a:cubicBezTo>
                  <a:pt x="916555" y="908295"/>
                  <a:pt x="918376" y="908295"/>
                  <a:pt x="920198" y="910117"/>
                </a:cubicBezTo>
                <a:cubicBezTo>
                  <a:pt x="918376" y="908295"/>
                  <a:pt x="918376" y="906473"/>
                  <a:pt x="918376" y="904651"/>
                </a:cubicBezTo>
                <a:cubicBezTo>
                  <a:pt x="920198" y="901005"/>
                  <a:pt x="918376" y="895539"/>
                  <a:pt x="916555" y="891894"/>
                </a:cubicBezTo>
                <a:cubicBezTo>
                  <a:pt x="913365" y="888706"/>
                  <a:pt x="909835" y="887225"/>
                  <a:pt x="906077" y="886770"/>
                </a:cubicBezTo>
                <a:close/>
                <a:moveTo>
                  <a:pt x="1427567" y="886499"/>
                </a:moveTo>
                <a:lnTo>
                  <a:pt x="1434727" y="886691"/>
                </a:lnTo>
                <a:lnTo>
                  <a:pt x="1434051" y="890072"/>
                </a:lnTo>
                <a:lnTo>
                  <a:pt x="1427217" y="888706"/>
                </a:lnTo>
                <a:lnTo>
                  <a:pt x="1426033" y="887522"/>
                </a:lnTo>
                <a:close/>
                <a:moveTo>
                  <a:pt x="779892" y="886428"/>
                </a:moveTo>
                <a:cubicBezTo>
                  <a:pt x="778070" y="886428"/>
                  <a:pt x="772602" y="888250"/>
                  <a:pt x="772602" y="890072"/>
                </a:cubicBezTo>
                <a:cubicBezTo>
                  <a:pt x="776246" y="890072"/>
                  <a:pt x="776246" y="897361"/>
                  <a:pt x="783535" y="893717"/>
                </a:cubicBezTo>
                <a:cubicBezTo>
                  <a:pt x="783535" y="891894"/>
                  <a:pt x="778070" y="890072"/>
                  <a:pt x="779892" y="886428"/>
                </a:cubicBezTo>
                <a:close/>
                <a:moveTo>
                  <a:pt x="732515" y="886428"/>
                </a:moveTo>
                <a:cubicBezTo>
                  <a:pt x="730692" y="888250"/>
                  <a:pt x="728870" y="888250"/>
                  <a:pt x="728870" y="890072"/>
                </a:cubicBezTo>
                <a:cubicBezTo>
                  <a:pt x="734336" y="891894"/>
                  <a:pt x="737981" y="895539"/>
                  <a:pt x="743447" y="893717"/>
                </a:cubicBezTo>
                <a:cubicBezTo>
                  <a:pt x="739803" y="890072"/>
                  <a:pt x="736159" y="890072"/>
                  <a:pt x="732515" y="886428"/>
                </a:cubicBezTo>
                <a:close/>
                <a:moveTo>
                  <a:pt x="433678" y="886428"/>
                </a:moveTo>
                <a:cubicBezTo>
                  <a:pt x="433678" y="890072"/>
                  <a:pt x="440966" y="895539"/>
                  <a:pt x="444611" y="893717"/>
                </a:cubicBezTo>
                <a:cubicBezTo>
                  <a:pt x="446433" y="888250"/>
                  <a:pt x="435500" y="886428"/>
                  <a:pt x="433678" y="886428"/>
                </a:cubicBezTo>
                <a:close/>
                <a:moveTo>
                  <a:pt x="406082" y="886208"/>
                </a:moveTo>
                <a:lnTo>
                  <a:pt x="406345" y="886428"/>
                </a:lnTo>
                <a:lnTo>
                  <a:pt x="406210" y="886407"/>
                </a:lnTo>
                <a:close/>
                <a:moveTo>
                  <a:pt x="154233" y="885574"/>
                </a:moveTo>
                <a:lnTo>
                  <a:pt x="156707" y="890072"/>
                </a:lnTo>
                <a:lnTo>
                  <a:pt x="154570" y="887427"/>
                </a:lnTo>
                <a:close/>
                <a:moveTo>
                  <a:pt x="315773" y="884820"/>
                </a:moveTo>
                <a:lnTo>
                  <a:pt x="317059" y="888250"/>
                </a:lnTo>
                <a:lnTo>
                  <a:pt x="315377" y="886007"/>
                </a:lnTo>
                <a:close/>
                <a:moveTo>
                  <a:pt x="2702284" y="884606"/>
                </a:moveTo>
                <a:cubicBezTo>
                  <a:pt x="2699551" y="885517"/>
                  <a:pt x="2698185" y="886884"/>
                  <a:pt x="2697729" y="888706"/>
                </a:cubicBezTo>
                <a:lnTo>
                  <a:pt x="2698515" y="894597"/>
                </a:lnTo>
                <a:lnTo>
                  <a:pt x="2696818" y="890072"/>
                </a:lnTo>
                <a:cubicBezTo>
                  <a:pt x="2693174" y="891894"/>
                  <a:pt x="2693174" y="895539"/>
                  <a:pt x="2693174" y="901005"/>
                </a:cubicBezTo>
                <a:cubicBezTo>
                  <a:pt x="2698640" y="901005"/>
                  <a:pt x="2696818" y="906473"/>
                  <a:pt x="2702284" y="904651"/>
                </a:cubicBezTo>
                <a:lnTo>
                  <a:pt x="2698811" y="895386"/>
                </a:lnTo>
                <a:lnTo>
                  <a:pt x="2703195" y="891439"/>
                </a:lnTo>
                <a:cubicBezTo>
                  <a:pt x="2703651" y="889162"/>
                  <a:pt x="2703195" y="886428"/>
                  <a:pt x="2702284" y="884606"/>
                </a:cubicBezTo>
                <a:close/>
                <a:moveTo>
                  <a:pt x="2580199" y="884606"/>
                </a:moveTo>
                <a:cubicBezTo>
                  <a:pt x="2578377" y="886428"/>
                  <a:pt x="2578377" y="890072"/>
                  <a:pt x="2578377" y="891894"/>
                </a:cubicBezTo>
                <a:cubicBezTo>
                  <a:pt x="2580199" y="893717"/>
                  <a:pt x="2582021" y="893717"/>
                  <a:pt x="2583843" y="893717"/>
                </a:cubicBezTo>
                <a:cubicBezTo>
                  <a:pt x="2583843" y="891894"/>
                  <a:pt x="2583843" y="888250"/>
                  <a:pt x="2583843" y="886428"/>
                </a:cubicBezTo>
                <a:cubicBezTo>
                  <a:pt x="2582021" y="886428"/>
                  <a:pt x="2580199" y="886428"/>
                  <a:pt x="2580199" y="884606"/>
                </a:cubicBezTo>
                <a:close/>
                <a:moveTo>
                  <a:pt x="2483624" y="884606"/>
                </a:moveTo>
                <a:cubicBezTo>
                  <a:pt x="2478157" y="886428"/>
                  <a:pt x="2478157" y="893717"/>
                  <a:pt x="2472690" y="893717"/>
                </a:cubicBezTo>
                <a:cubicBezTo>
                  <a:pt x="2474513" y="897361"/>
                  <a:pt x="2478157" y="895539"/>
                  <a:pt x="2479979" y="893717"/>
                </a:cubicBezTo>
                <a:cubicBezTo>
                  <a:pt x="2479979" y="886428"/>
                  <a:pt x="2485446" y="891894"/>
                  <a:pt x="2483624" y="884606"/>
                </a:cubicBezTo>
                <a:close/>
                <a:moveTo>
                  <a:pt x="2394337" y="884606"/>
                </a:moveTo>
                <a:cubicBezTo>
                  <a:pt x="2390693" y="888250"/>
                  <a:pt x="2392515" y="897361"/>
                  <a:pt x="2390693" y="904651"/>
                </a:cubicBezTo>
                <a:cubicBezTo>
                  <a:pt x="2396159" y="901005"/>
                  <a:pt x="2397981" y="890072"/>
                  <a:pt x="2394337" y="884606"/>
                </a:cubicBezTo>
                <a:close/>
                <a:moveTo>
                  <a:pt x="632296" y="884606"/>
                </a:moveTo>
                <a:cubicBezTo>
                  <a:pt x="628650" y="886428"/>
                  <a:pt x="630472" y="886428"/>
                  <a:pt x="630472" y="888250"/>
                </a:cubicBezTo>
                <a:cubicBezTo>
                  <a:pt x="632296" y="890072"/>
                  <a:pt x="635939" y="890072"/>
                  <a:pt x="637761" y="890072"/>
                </a:cubicBezTo>
                <a:cubicBezTo>
                  <a:pt x="634117" y="886428"/>
                  <a:pt x="637761" y="884606"/>
                  <a:pt x="632296" y="884606"/>
                </a:cubicBezTo>
                <a:close/>
                <a:moveTo>
                  <a:pt x="579452" y="884606"/>
                </a:moveTo>
                <a:cubicBezTo>
                  <a:pt x="579452" y="886428"/>
                  <a:pt x="581274" y="888250"/>
                  <a:pt x="583096" y="890072"/>
                </a:cubicBezTo>
                <a:cubicBezTo>
                  <a:pt x="584919" y="888250"/>
                  <a:pt x="583096" y="886428"/>
                  <a:pt x="584919" y="886428"/>
                </a:cubicBezTo>
                <a:cubicBezTo>
                  <a:pt x="583096" y="884606"/>
                  <a:pt x="581274" y="886428"/>
                  <a:pt x="579452" y="884606"/>
                </a:cubicBezTo>
                <a:close/>
                <a:moveTo>
                  <a:pt x="360791" y="884606"/>
                </a:moveTo>
                <a:cubicBezTo>
                  <a:pt x="362613" y="888250"/>
                  <a:pt x="364435" y="888250"/>
                  <a:pt x="368079" y="886428"/>
                </a:cubicBezTo>
                <a:cubicBezTo>
                  <a:pt x="369902" y="888250"/>
                  <a:pt x="362613" y="882784"/>
                  <a:pt x="360791" y="884606"/>
                </a:cubicBezTo>
                <a:close/>
                <a:moveTo>
                  <a:pt x="224128" y="884606"/>
                </a:moveTo>
                <a:cubicBezTo>
                  <a:pt x="227772" y="886428"/>
                  <a:pt x="231416" y="893717"/>
                  <a:pt x="235061" y="895539"/>
                </a:cubicBezTo>
                <a:cubicBezTo>
                  <a:pt x="233239" y="893717"/>
                  <a:pt x="227772" y="884606"/>
                  <a:pt x="224128" y="884606"/>
                </a:cubicBezTo>
                <a:close/>
                <a:moveTo>
                  <a:pt x="792418" y="884379"/>
                </a:moveTo>
                <a:cubicBezTo>
                  <a:pt x="789457" y="884151"/>
                  <a:pt x="785357" y="884606"/>
                  <a:pt x="783535" y="886428"/>
                </a:cubicBezTo>
                <a:cubicBezTo>
                  <a:pt x="785357" y="897361"/>
                  <a:pt x="801757" y="895539"/>
                  <a:pt x="807223" y="890072"/>
                </a:cubicBezTo>
                <a:cubicBezTo>
                  <a:pt x="805401" y="884606"/>
                  <a:pt x="798112" y="888250"/>
                  <a:pt x="794468" y="886428"/>
                </a:cubicBezTo>
                <a:cubicBezTo>
                  <a:pt x="797202" y="885517"/>
                  <a:pt x="795379" y="884606"/>
                  <a:pt x="792418" y="884379"/>
                </a:cubicBezTo>
                <a:close/>
                <a:moveTo>
                  <a:pt x="3454842" y="882784"/>
                </a:moveTo>
                <a:cubicBezTo>
                  <a:pt x="3454842" y="891894"/>
                  <a:pt x="3449376" y="890072"/>
                  <a:pt x="3443909" y="891894"/>
                </a:cubicBezTo>
                <a:cubicBezTo>
                  <a:pt x="3449376" y="901005"/>
                  <a:pt x="3460309" y="888250"/>
                  <a:pt x="3458487" y="899183"/>
                </a:cubicBezTo>
                <a:cubicBezTo>
                  <a:pt x="3458487" y="899183"/>
                  <a:pt x="3458487" y="899183"/>
                  <a:pt x="3460309" y="897361"/>
                </a:cubicBezTo>
                <a:cubicBezTo>
                  <a:pt x="3458487" y="891894"/>
                  <a:pt x="3458487" y="886428"/>
                  <a:pt x="3454842" y="882784"/>
                </a:cubicBezTo>
                <a:close/>
                <a:moveTo>
                  <a:pt x="1366632" y="882784"/>
                </a:moveTo>
                <a:cubicBezTo>
                  <a:pt x="1364809" y="887339"/>
                  <a:pt x="1362076" y="891439"/>
                  <a:pt x="1359570" y="895539"/>
                </a:cubicBezTo>
                <a:lnTo>
                  <a:pt x="1353930" y="908173"/>
                </a:lnTo>
                <a:lnTo>
                  <a:pt x="1346587" y="911939"/>
                </a:lnTo>
                <a:lnTo>
                  <a:pt x="1353876" y="908294"/>
                </a:lnTo>
                <a:lnTo>
                  <a:pt x="1353876" y="908295"/>
                </a:lnTo>
                <a:lnTo>
                  <a:pt x="1353878" y="908293"/>
                </a:lnTo>
                <a:lnTo>
                  <a:pt x="1364809" y="902828"/>
                </a:lnTo>
                <a:cubicBezTo>
                  <a:pt x="1368909" y="896906"/>
                  <a:pt x="1370275" y="889162"/>
                  <a:pt x="1366632" y="882784"/>
                </a:cubicBezTo>
                <a:close/>
                <a:moveTo>
                  <a:pt x="796290" y="882784"/>
                </a:moveTo>
                <a:cubicBezTo>
                  <a:pt x="798112" y="886428"/>
                  <a:pt x="805401" y="884606"/>
                  <a:pt x="809046" y="888250"/>
                </a:cubicBezTo>
                <a:cubicBezTo>
                  <a:pt x="807223" y="886428"/>
                  <a:pt x="799935" y="882784"/>
                  <a:pt x="796290" y="882784"/>
                </a:cubicBezTo>
                <a:close/>
                <a:moveTo>
                  <a:pt x="657805" y="882784"/>
                </a:moveTo>
                <a:cubicBezTo>
                  <a:pt x="657805" y="890072"/>
                  <a:pt x="661449" y="888250"/>
                  <a:pt x="666916" y="886428"/>
                </a:cubicBezTo>
                <a:cubicBezTo>
                  <a:pt x="665094" y="884606"/>
                  <a:pt x="663272" y="884606"/>
                  <a:pt x="661449" y="882784"/>
                </a:cubicBezTo>
                <a:cubicBezTo>
                  <a:pt x="661449" y="882784"/>
                  <a:pt x="657805" y="882784"/>
                  <a:pt x="657805" y="882784"/>
                </a:cubicBezTo>
                <a:close/>
                <a:moveTo>
                  <a:pt x="461010" y="882784"/>
                </a:moveTo>
                <a:cubicBezTo>
                  <a:pt x="462832" y="890072"/>
                  <a:pt x="471943" y="891894"/>
                  <a:pt x="475589" y="897361"/>
                </a:cubicBezTo>
                <a:lnTo>
                  <a:pt x="473766" y="897361"/>
                </a:lnTo>
                <a:cubicBezTo>
                  <a:pt x="475589" y="897361"/>
                  <a:pt x="475589" y="899183"/>
                  <a:pt x="477410" y="901005"/>
                </a:cubicBezTo>
                <a:cubicBezTo>
                  <a:pt x="471943" y="899183"/>
                  <a:pt x="464655" y="897361"/>
                  <a:pt x="461010" y="890072"/>
                </a:cubicBezTo>
                <a:cubicBezTo>
                  <a:pt x="451899" y="899183"/>
                  <a:pt x="471943" y="895539"/>
                  <a:pt x="473766" y="904651"/>
                </a:cubicBezTo>
                <a:cubicBezTo>
                  <a:pt x="475589" y="902827"/>
                  <a:pt x="479232" y="901005"/>
                  <a:pt x="481054" y="897361"/>
                </a:cubicBezTo>
                <a:lnTo>
                  <a:pt x="475589" y="897361"/>
                </a:lnTo>
                <a:cubicBezTo>
                  <a:pt x="475589" y="891894"/>
                  <a:pt x="464655" y="884606"/>
                  <a:pt x="461010" y="882784"/>
                </a:cubicBezTo>
                <a:close/>
                <a:moveTo>
                  <a:pt x="129375" y="882784"/>
                </a:moveTo>
                <a:cubicBezTo>
                  <a:pt x="134841" y="888250"/>
                  <a:pt x="143952" y="906473"/>
                  <a:pt x="151241" y="901005"/>
                </a:cubicBezTo>
                <a:cubicBezTo>
                  <a:pt x="145774" y="897361"/>
                  <a:pt x="136663" y="891894"/>
                  <a:pt x="129375" y="882784"/>
                </a:cubicBezTo>
                <a:close/>
                <a:moveTo>
                  <a:pt x="1277344" y="880961"/>
                </a:moveTo>
                <a:cubicBezTo>
                  <a:pt x="1273700" y="880961"/>
                  <a:pt x="1270056" y="888250"/>
                  <a:pt x="1271878" y="891894"/>
                </a:cubicBezTo>
                <a:cubicBezTo>
                  <a:pt x="1273700" y="888250"/>
                  <a:pt x="1275522" y="884606"/>
                  <a:pt x="1277344" y="880961"/>
                </a:cubicBezTo>
                <a:close/>
                <a:moveTo>
                  <a:pt x="799935" y="880961"/>
                </a:moveTo>
                <a:cubicBezTo>
                  <a:pt x="805401" y="886428"/>
                  <a:pt x="814512" y="891894"/>
                  <a:pt x="823623" y="890072"/>
                </a:cubicBezTo>
                <a:cubicBezTo>
                  <a:pt x="818156" y="886428"/>
                  <a:pt x="814512" y="886428"/>
                  <a:pt x="809046" y="884606"/>
                </a:cubicBezTo>
                <a:cubicBezTo>
                  <a:pt x="821801" y="882784"/>
                  <a:pt x="830912" y="888250"/>
                  <a:pt x="840022" y="888250"/>
                </a:cubicBezTo>
                <a:cubicBezTo>
                  <a:pt x="827267" y="882784"/>
                  <a:pt x="814512" y="877317"/>
                  <a:pt x="799935" y="880961"/>
                </a:cubicBezTo>
                <a:close/>
                <a:moveTo>
                  <a:pt x="311592" y="880961"/>
                </a:moveTo>
                <a:lnTo>
                  <a:pt x="315377" y="886007"/>
                </a:lnTo>
                <a:lnTo>
                  <a:pt x="315236" y="886428"/>
                </a:lnTo>
                <a:cubicBezTo>
                  <a:pt x="313414" y="886428"/>
                  <a:pt x="311592" y="884606"/>
                  <a:pt x="311592" y="882784"/>
                </a:cubicBezTo>
                <a:cubicBezTo>
                  <a:pt x="310681" y="881873"/>
                  <a:pt x="311592" y="882784"/>
                  <a:pt x="312958" y="884151"/>
                </a:cubicBezTo>
                <a:lnTo>
                  <a:pt x="315236" y="886428"/>
                </a:lnTo>
                <a:lnTo>
                  <a:pt x="317059" y="888250"/>
                </a:lnTo>
                <a:cubicBezTo>
                  <a:pt x="317059" y="888250"/>
                  <a:pt x="317059" y="886428"/>
                  <a:pt x="317059" y="886428"/>
                </a:cubicBezTo>
                <a:cubicBezTo>
                  <a:pt x="318882" y="888250"/>
                  <a:pt x="318882" y="888250"/>
                  <a:pt x="318882" y="888250"/>
                </a:cubicBezTo>
                <a:cubicBezTo>
                  <a:pt x="318882" y="888250"/>
                  <a:pt x="320703" y="888250"/>
                  <a:pt x="324347" y="886428"/>
                </a:cubicBezTo>
                <a:cubicBezTo>
                  <a:pt x="322525" y="884606"/>
                  <a:pt x="320703" y="884606"/>
                  <a:pt x="322525" y="882784"/>
                </a:cubicBezTo>
                <a:cubicBezTo>
                  <a:pt x="320703" y="880961"/>
                  <a:pt x="318882" y="879139"/>
                  <a:pt x="317059" y="880961"/>
                </a:cubicBezTo>
                <a:lnTo>
                  <a:pt x="315773" y="884820"/>
                </a:lnTo>
                <a:lnTo>
                  <a:pt x="315692" y="884606"/>
                </a:lnTo>
                <a:cubicBezTo>
                  <a:pt x="314325" y="883240"/>
                  <a:pt x="312503" y="881873"/>
                  <a:pt x="311592" y="880961"/>
                </a:cubicBezTo>
                <a:close/>
                <a:moveTo>
                  <a:pt x="230277" y="879367"/>
                </a:moveTo>
                <a:cubicBezTo>
                  <a:pt x="225950" y="877773"/>
                  <a:pt x="221394" y="878228"/>
                  <a:pt x="218661" y="880961"/>
                </a:cubicBezTo>
                <a:cubicBezTo>
                  <a:pt x="222305" y="884606"/>
                  <a:pt x="225950" y="885517"/>
                  <a:pt x="229594" y="886201"/>
                </a:cubicBezTo>
                <a:lnTo>
                  <a:pt x="238846" y="889477"/>
                </a:lnTo>
                <a:lnTo>
                  <a:pt x="233239" y="888250"/>
                </a:lnTo>
                <a:cubicBezTo>
                  <a:pt x="235061" y="893717"/>
                  <a:pt x="242349" y="897361"/>
                  <a:pt x="247816" y="895539"/>
                </a:cubicBezTo>
                <a:cubicBezTo>
                  <a:pt x="245994" y="891895"/>
                  <a:pt x="243261" y="890528"/>
                  <a:pt x="240527" y="889845"/>
                </a:cubicBezTo>
                <a:lnTo>
                  <a:pt x="240251" y="889784"/>
                </a:lnTo>
                <a:close/>
                <a:moveTo>
                  <a:pt x="2563799" y="879139"/>
                </a:moveTo>
                <a:cubicBezTo>
                  <a:pt x="2567443" y="879139"/>
                  <a:pt x="2563799" y="886428"/>
                  <a:pt x="2567443" y="888250"/>
                </a:cubicBezTo>
                <a:cubicBezTo>
                  <a:pt x="2571088" y="886428"/>
                  <a:pt x="2561977" y="873673"/>
                  <a:pt x="2563799" y="879139"/>
                </a:cubicBezTo>
                <a:close/>
                <a:moveTo>
                  <a:pt x="2558332" y="879139"/>
                </a:moveTo>
                <a:cubicBezTo>
                  <a:pt x="2560155" y="882784"/>
                  <a:pt x="2558332" y="891894"/>
                  <a:pt x="2565621" y="888250"/>
                </a:cubicBezTo>
                <a:cubicBezTo>
                  <a:pt x="2561977" y="884606"/>
                  <a:pt x="2561977" y="879139"/>
                  <a:pt x="2558332" y="879139"/>
                </a:cubicBezTo>
                <a:close/>
                <a:moveTo>
                  <a:pt x="2552866" y="879139"/>
                </a:moveTo>
                <a:cubicBezTo>
                  <a:pt x="2549222" y="882784"/>
                  <a:pt x="2540111" y="879139"/>
                  <a:pt x="2541933" y="884606"/>
                </a:cubicBezTo>
                <a:cubicBezTo>
                  <a:pt x="2551044" y="884606"/>
                  <a:pt x="2549222" y="882784"/>
                  <a:pt x="2554688" y="884606"/>
                </a:cubicBezTo>
                <a:cubicBezTo>
                  <a:pt x="2554688" y="880961"/>
                  <a:pt x="2552866" y="880961"/>
                  <a:pt x="2552866" y="879139"/>
                </a:cubicBezTo>
                <a:close/>
                <a:moveTo>
                  <a:pt x="2290473" y="879139"/>
                </a:moveTo>
                <a:cubicBezTo>
                  <a:pt x="2286829" y="879139"/>
                  <a:pt x="2283184" y="880961"/>
                  <a:pt x="2285007" y="886428"/>
                </a:cubicBezTo>
                <a:cubicBezTo>
                  <a:pt x="2286829" y="890072"/>
                  <a:pt x="2288651" y="882784"/>
                  <a:pt x="2290473" y="886428"/>
                </a:cubicBezTo>
                <a:cubicBezTo>
                  <a:pt x="2294117" y="886428"/>
                  <a:pt x="2292295" y="880961"/>
                  <a:pt x="2290473" y="879139"/>
                </a:cubicBezTo>
                <a:close/>
                <a:moveTo>
                  <a:pt x="579452" y="879139"/>
                </a:moveTo>
                <a:cubicBezTo>
                  <a:pt x="577630" y="879139"/>
                  <a:pt x="579452" y="880961"/>
                  <a:pt x="577630" y="880961"/>
                </a:cubicBezTo>
                <a:cubicBezTo>
                  <a:pt x="581274" y="882784"/>
                  <a:pt x="583096" y="884606"/>
                  <a:pt x="586741" y="882784"/>
                </a:cubicBezTo>
                <a:cubicBezTo>
                  <a:pt x="584919" y="880961"/>
                  <a:pt x="583096" y="882784"/>
                  <a:pt x="581274" y="879139"/>
                </a:cubicBezTo>
                <a:cubicBezTo>
                  <a:pt x="581274" y="879139"/>
                  <a:pt x="579452" y="879139"/>
                  <a:pt x="579452" y="879139"/>
                </a:cubicBezTo>
                <a:close/>
                <a:moveTo>
                  <a:pt x="236883" y="879139"/>
                </a:moveTo>
                <a:cubicBezTo>
                  <a:pt x="242349" y="884606"/>
                  <a:pt x="249638" y="893717"/>
                  <a:pt x="255105" y="891894"/>
                </a:cubicBezTo>
                <a:cubicBezTo>
                  <a:pt x="267860" y="888250"/>
                  <a:pt x="245994" y="888250"/>
                  <a:pt x="249638" y="882784"/>
                </a:cubicBezTo>
                <a:cubicBezTo>
                  <a:pt x="245994" y="884606"/>
                  <a:pt x="242349" y="880961"/>
                  <a:pt x="236883" y="879139"/>
                </a:cubicBezTo>
                <a:close/>
                <a:moveTo>
                  <a:pt x="1264782" y="879098"/>
                </a:moveTo>
                <a:lnTo>
                  <a:pt x="1266411" y="882784"/>
                </a:lnTo>
                <a:lnTo>
                  <a:pt x="1265830" y="883808"/>
                </a:lnTo>
                <a:close/>
                <a:moveTo>
                  <a:pt x="2720962" y="878912"/>
                </a:moveTo>
                <a:cubicBezTo>
                  <a:pt x="2722328" y="880051"/>
                  <a:pt x="2723239" y="881873"/>
                  <a:pt x="2722328" y="880961"/>
                </a:cubicBezTo>
                <a:lnTo>
                  <a:pt x="2720791" y="878997"/>
                </a:lnTo>
                <a:close/>
                <a:moveTo>
                  <a:pt x="2515056" y="878228"/>
                </a:moveTo>
                <a:cubicBezTo>
                  <a:pt x="2512323" y="879595"/>
                  <a:pt x="2510045" y="882784"/>
                  <a:pt x="2510956" y="886428"/>
                </a:cubicBezTo>
                <a:cubicBezTo>
                  <a:pt x="2516423" y="884606"/>
                  <a:pt x="2520067" y="884606"/>
                  <a:pt x="2521889" y="880961"/>
                </a:cubicBezTo>
                <a:cubicBezTo>
                  <a:pt x="2520978" y="877317"/>
                  <a:pt x="2517789" y="876862"/>
                  <a:pt x="2515056" y="878228"/>
                </a:cubicBezTo>
                <a:close/>
                <a:moveTo>
                  <a:pt x="3298135" y="877317"/>
                </a:moveTo>
                <a:cubicBezTo>
                  <a:pt x="3299957" y="882784"/>
                  <a:pt x="3298135" y="897361"/>
                  <a:pt x="3309068" y="893717"/>
                </a:cubicBezTo>
                <a:cubicBezTo>
                  <a:pt x="3307246" y="886428"/>
                  <a:pt x="3309068" y="879139"/>
                  <a:pt x="3298135" y="877317"/>
                </a:cubicBezTo>
                <a:close/>
                <a:moveTo>
                  <a:pt x="2583843" y="877317"/>
                </a:moveTo>
                <a:cubicBezTo>
                  <a:pt x="2576554" y="880961"/>
                  <a:pt x="2587487" y="884606"/>
                  <a:pt x="2587487" y="890072"/>
                </a:cubicBezTo>
                <a:cubicBezTo>
                  <a:pt x="2589310" y="888250"/>
                  <a:pt x="2589310" y="888250"/>
                  <a:pt x="2591132" y="888250"/>
                </a:cubicBezTo>
                <a:cubicBezTo>
                  <a:pt x="2592954" y="884606"/>
                  <a:pt x="2589310" y="884606"/>
                  <a:pt x="2589310" y="882784"/>
                </a:cubicBezTo>
                <a:cubicBezTo>
                  <a:pt x="2587487" y="888250"/>
                  <a:pt x="2583843" y="882784"/>
                  <a:pt x="2583843" y="877317"/>
                </a:cubicBezTo>
                <a:close/>
                <a:moveTo>
                  <a:pt x="1313788" y="877317"/>
                </a:moveTo>
                <a:cubicBezTo>
                  <a:pt x="1310143" y="873673"/>
                  <a:pt x="1304677" y="879139"/>
                  <a:pt x="1308321" y="882784"/>
                </a:cubicBezTo>
                <a:cubicBezTo>
                  <a:pt x="1311966" y="880961"/>
                  <a:pt x="1310143" y="879139"/>
                  <a:pt x="1313788" y="877317"/>
                </a:cubicBezTo>
                <a:close/>
                <a:moveTo>
                  <a:pt x="759848" y="877317"/>
                </a:moveTo>
                <a:cubicBezTo>
                  <a:pt x="759848" y="877317"/>
                  <a:pt x="759848" y="879139"/>
                  <a:pt x="761670" y="882784"/>
                </a:cubicBezTo>
                <a:cubicBezTo>
                  <a:pt x="763491" y="880961"/>
                  <a:pt x="761670" y="879139"/>
                  <a:pt x="765313" y="877317"/>
                </a:cubicBezTo>
                <a:cubicBezTo>
                  <a:pt x="763491" y="875495"/>
                  <a:pt x="761670" y="877317"/>
                  <a:pt x="759848" y="877317"/>
                </a:cubicBezTo>
                <a:close/>
                <a:moveTo>
                  <a:pt x="750737" y="877317"/>
                </a:moveTo>
                <a:cubicBezTo>
                  <a:pt x="750737" y="879139"/>
                  <a:pt x="750737" y="880961"/>
                  <a:pt x="754380" y="882784"/>
                </a:cubicBezTo>
                <a:cubicBezTo>
                  <a:pt x="758025" y="882784"/>
                  <a:pt x="756203" y="880961"/>
                  <a:pt x="758025" y="879139"/>
                </a:cubicBezTo>
                <a:cubicBezTo>
                  <a:pt x="754380" y="879139"/>
                  <a:pt x="752558" y="880961"/>
                  <a:pt x="750737" y="877317"/>
                </a:cubicBezTo>
                <a:close/>
                <a:moveTo>
                  <a:pt x="543008" y="877317"/>
                </a:moveTo>
                <a:cubicBezTo>
                  <a:pt x="541186" y="877317"/>
                  <a:pt x="541186" y="880961"/>
                  <a:pt x="541186" y="882784"/>
                </a:cubicBezTo>
                <a:cubicBezTo>
                  <a:pt x="543008" y="884606"/>
                  <a:pt x="541186" y="880961"/>
                  <a:pt x="543008" y="880961"/>
                </a:cubicBezTo>
                <a:cubicBezTo>
                  <a:pt x="543008" y="882784"/>
                  <a:pt x="544830" y="884606"/>
                  <a:pt x="544830" y="886428"/>
                </a:cubicBezTo>
                <a:cubicBezTo>
                  <a:pt x="550297" y="884606"/>
                  <a:pt x="543008" y="879139"/>
                  <a:pt x="543008" y="877317"/>
                </a:cubicBezTo>
                <a:close/>
                <a:moveTo>
                  <a:pt x="326169" y="877317"/>
                </a:moveTo>
                <a:cubicBezTo>
                  <a:pt x="329814" y="880961"/>
                  <a:pt x="333458" y="879139"/>
                  <a:pt x="337102" y="880961"/>
                </a:cubicBezTo>
                <a:cubicBezTo>
                  <a:pt x="337102" y="879139"/>
                  <a:pt x="329814" y="875495"/>
                  <a:pt x="326169" y="877317"/>
                </a:cubicBezTo>
                <a:close/>
                <a:moveTo>
                  <a:pt x="260571" y="877317"/>
                </a:moveTo>
                <a:cubicBezTo>
                  <a:pt x="264216" y="884606"/>
                  <a:pt x="271504" y="884606"/>
                  <a:pt x="276971" y="890072"/>
                </a:cubicBezTo>
                <a:cubicBezTo>
                  <a:pt x="273327" y="888250"/>
                  <a:pt x="266038" y="877317"/>
                  <a:pt x="260571" y="877317"/>
                </a:cubicBezTo>
                <a:close/>
                <a:moveTo>
                  <a:pt x="258749" y="877317"/>
                </a:moveTo>
                <a:cubicBezTo>
                  <a:pt x="256927" y="879139"/>
                  <a:pt x="262393" y="884606"/>
                  <a:pt x="264216" y="882784"/>
                </a:cubicBezTo>
                <a:cubicBezTo>
                  <a:pt x="262393" y="880961"/>
                  <a:pt x="260571" y="879139"/>
                  <a:pt x="258749" y="877317"/>
                </a:cubicBezTo>
                <a:close/>
                <a:moveTo>
                  <a:pt x="665321" y="877090"/>
                </a:moveTo>
                <a:cubicBezTo>
                  <a:pt x="664182" y="877317"/>
                  <a:pt x="663271" y="878228"/>
                  <a:pt x="665094" y="880961"/>
                </a:cubicBezTo>
                <a:cubicBezTo>
                  <a:pt x="666916" y="879139"/>
                  <a:pt x="663272" y="877317"/>
                  <a:pt x="666916" y="877317"/>
                </a:cubicBezTo>
                <a:cubicBezTo>
                  <a:pt x="667828" y="877317"/>
                  <a:pt x="666460" y="876862"/>
                  <a:pt x="665321" y="877090"/>
                </a:cubicBezTo>
                <a:close/>
                <a:moveTo>
                  <a:pt x="778752" y="876406"/>
                </a:moveTo>
                <a:cubicBezTo>
                  <a:pt x="777157" y="875495"/>
                  <a:pt x="774424" y="875495"/>
                  <a:pt x="772602" y="877317"/>
                </a:cubicBezTo>
                <a:cubicBezTo>
                  <a:pt x="774424" y="879139"/>
                  <a:pt x="776246" y="880961"/>
                  <a:pt x="778070" y="880961"/>
                </a:cubicBezTo>
                <a:cubicBezTo>
                  <a:pt x="780802" y="879139"/>
                  <a:pt x="780346" y="877317"/>
                  <a:pt x="778752" y="876406"/>
                </a:cubicBezTo>
                <a:close/>
                <a:moveTo>
                  <a:pt x="160989" y="876339"/>
                </a:moveTo>
                <a:lnTo>
                  <a:pt x="165818" y="884606"/>
                </a:lnTo>
                <a:lnTo>
                  <a:pt x="164021" y="883730"/>
                </a:lnTo>
                <a:lnTo>
                  <a:pt x="162829" y="881702"/>
                </a:lnTo>
                <a:close/>
                <a:moveTo>
                  <a:pt x="2478157" y="875495"/>
                </a:moveTo>
                <a:cubicBezTo>
                  <a:pt x="2474513" y="875495"/>
                  <a:pt x="2467224" y="880961"/>
                  <a:pt x="2467224" y="888250"/>
                </a:cubicBezTo>
                <a:cubicBezTo>
                  <a:pt x="2462669" y="887339"/>
                  <a:pt x="2460391" y="890984"/>
                  <a:pt x="2458797" y="895311"/>
                </a:cubicBezTo>
                <a:lnTo>
                  <a:pt x="2454863" y="905457"/>
                </a:lnTo>
                <a:lnTo>
                  <a:pt x="2454469" y="905333"/>
                </a:lnTo>
                <a:cubicBezTo>
                  <a:pt x="2453103" y="906472"/>
                  <a:pt x="2451736" y="908295"/>
                  <a:pt x="2450824" y="908295"/>
                </a:cubicBezTo>
                <a:cubicBezTo>
                  <a:pt x="2450824" y="908295"/>
                  <a:pt x="2450824" y="904651"/>
                  <a:pt x="2450824" y="904651"/>
                </a:cubicBezTo>
                <a:cubicBezTo>
                  <a:pt x="2443536" y="904651"/>
                  <a:pt x="2441713" y="915583"/>
                  <a:pt x="2438069" y="922872"/>
                </a:cubicBezTo>
                <a:cubicBezTo>
                  <a:pt x="2443536" y="922872"/>
                  <a:pt x="2450824" y="911939"/>
                  <a:pt x="2458113" y="906473"/>
                </a:cubicBezTo>
                <a:lnTo>
                  <a:pt x="2455656" y="905704"/>
                </a:lnTo>
                <a:lnTo>
                  <a:pt x="2462213" y="901461"/>
                </a:lnTo>
                <a:cubicBezTo>
                  <a:pt x="2464946" y="900094"/>
                  <a:pt x="2467224" y="898272"/>
                  <a:pt x="2467224" y="893717"/>
                </a:cubicBezTo>
                <a:cubicBezTo>
                  <a:pt x="2465402" y="893717"/>
                  <a:pt x="2463580" y="895539"/>
                  <a:pt x="2461757" y="895539"/>
                </a:cubicBezTo>
                <a:cubicBezTo>
                  <a:pt x="2467224" y="886428"/>
                  <a:pt x="2478157" y="888250"/>
                  <a:pt x="2478157" y="875495"/>
                </a:cubicBezTo>
                <a:close/>
                <a:moveTo>
                  <a:pt x="2179320" y="875495"/>
                </a:moveTo>
                <a:cubicBezTo>
                  <a:pt x="2173854" y="880961"/>
                  <a:pt x="2170210" y="890072"/>
                  <a:pt x="2175676" y="897361"/>
                </a:cubicBezTo>
                <a:cubicBezTo>
                  <a:pt x="2173854" y="902827"/>
                  <a:pt x="2170210" y="906473"/>
                  <a:pt x="2168387" y="913761"/>
                </a:cubicBezTo>
                <a:cubicBezTo>
                  <a:pt x="2170210" y="913761"/>
                  <a:pt x="2175676" y="911939"/>
                  <a:pt x="2177498" y="911939"/>
                </a:cubicBezTo>
                <a:lnTo>
                  <a:pt x="2177498" y="915583"/>
                </a:lnTo>
                <a:cubicBezTo>
                  <a:pt x="2182965" y="904651"/>
                  <a:pt x="2190253" y="888250"/>
                  <a:pt x="2179320" y="875495"/>
                </a:cubicBezTo>
                <a:close/>
                <a:moveTo>
                  <a:pt x="1086016" y="875495"/>
                </a:moveTo>
                <a:cubicBezTo>
                  <a:pt x="1084194" y="875495"/>
                  <a:pt x="1084194" y="877317"/>
                  <a:pt x="1084194" y="879139"/>
                </a:cubicBezTo>
                <a:cubicBezTo>
                  <a:pt x="1082373" y="879139"/>
                  <a:pt x="1084194" y="877317"/>
                  <a:pt x="1082373" y="877317"/>
                </a:cubicBezTo>
                <a:lnTo>
                  <a:pt x="1066883" y="892807"/>
                </a:lnTo>
                <a:lnTo>
                  <a:pt x="1067794" y="890072"/>
                </a:lnTo>
                <a:cubicBezTo>
                  <a:pt x="1064151" y="891894"/>
                  <a:pt x="1062328" y="893717"/>
                  <a:pt x="1060506" y="895539"/>
                </a:cubicBezTo>
                <a:lnTo>
                  <a:pt x="1064647" y="895042"/>
                </a:lnTo>
                <a:lnTo>
                  <a:pt x="1055040" y="904651"/>
                </a:lnTo>
                <a:cubicBezTo>
                  <a:pt x="1064151" y="908295"/>
                  <a:pt x="1069616" y="899183"/>
                  <a:pt x="1073262" y="893717"/>
                </a:cubicBezTo>
                <a:cubicBezTo>
                  <a:pt x="1075083" y="893717"/>
                  <a:pt x="1075083" y="895539"/>
                  <a:pt x="1075083" y="895539"/>
                </a:cubicBezTo>
                <a:cubicBezTo>
                  <a:pt x="1078727" y="895539"/>
                  <a:pt x="1080549" y="890072"/>
                  <a:pt x="1080549" y="888250"/>
                </a:cubicBezTo>
                <a:cubicBezTo>
                  <a:pt x="1082373" y="888250"/>
                  <a:pt x="1080549" y="891894"/>
                  <a:pt x="1080549" y="891894"/>
                </a:cubicBezTo>
                <a:cubicBezTo>
                  <a:pt x="1086016" y="890072"/>
                  <a:pt x="1087838" y="880961"/>
                  <a:pt x="1086016" y="875495"/>
                </a:cubicBezTo>
                <a:close/>
                <a:moveTo>
                  <a:pt x="690604" y="875495"/>
                </a:moveTo>
                <a:cubicBezTo>
                  <a:pt x="688782" y="877317"/>
                  <a:pt x="690604" y="877317"/>
                  <a:pt x="688782" y="879139"/>
                </a:cubicBezTo>
                <a:cubicBezTo>
                  <a:pt x="692426" y="879139"/>
                  <a:pt x="694249" y="880961"/>
                  <a:pt x="697893" y="877317"/>
                </a:cubicBezTo>
                <a:cubicBezTo>
                  <a:pt x="694249" y="875495"/>
                  <a:pt x="692426" y="875495"/>
                  <a:pt x="690604" y="875495"/>
                </a:cubicBezTo>
                <a:close/>
                <a:moveTo>
                  <a:pt x="625006" y="875495"/>
                </a:moveTo>
                <a:cubicBezTo>
                  <a:pt x="623185" y="877317"/>
                  <a:pt x="625006" y="879139"/>
                  <a:pt x="628650" y="880961"/>
                </a:cubicBezTo>
                <a:cubicBezTo>
                  <a:pt x="632296" y="879139"/>
                  <a:pt x="626828" y="877317"/>
                  <a:pt x="625006" y="875495"/>
                </a:cubicBezTo>
                <a:close/>
                <a:moveTo>
                  <a:pt x="577630" y="875495"/>
                </a:moveTo>
                <a:cubicBezTo>
                  <a:pt x="575808" y="875495"/>
                  <a:pt x="581274" y="879139"/>
                  <a:pt x="583096" y="879139"/>
                </a:cubicBezTo>
                <a:cubicBezTo>
                  <a:pt x="581274" y="875495"/>
                  <a:pt x="579452" y="877317"/>
                  <a:pt x="577630" y="875495"/>
                </a:cubicBezTo>
                <a:close/>
                <a:moveTo>
                  <a:pt x="882142" y="874389"/>
                </a:moveTo>
                <a:lnTo>
                  <a:pt x="880794" y="875040"/>
                </a:lnTo>
                <a:cubicBezTo>
                  <a:pt x="878289" y="875951"/>
                  <a:pt x="875555" y="876406"/>
                  <a:pt x="872822" y="875495"/>
                </a:cubicBezTo>
                <a:close/>
                <a:moveTo>
                  <a:pt x="439143" y="873799"/>
                </a:moveTo>
                <a:lnTo>
                  <a:pt x="439373" y="874129"/>
                </a:lnTo>
                <a:lnTo>
                  <a:pt x="441405" y="877012"/>
                </a:lnTo>
                <a:lnTo>
                  <a:pt x="440511" y="876634"/>
                </a:lnTo>
                <a:close/>
                <a:moveTo>
                  <a:pt x="3367378" y="873673"/>
                </a:moveTo>
                <a:cubicBezTo>
                  <a:pt x="3363734" y="873673"/>
                  <a:pt x="3363734" y="875495"/>
                  <a:pt x="3360089" y="875495"/>
                </a:cubicBezTo>
                <a:cubicBezTo>
                  <a:pt x="3360089" y="879139"/>
                  <a:pt x="3363734" y="879139"/>
                  <a:pt x="3365556" y="879139"/>
                </a:cubicBezTo>
                <a:cubicBezTo>
                  <a:pt x="3367378" y="879139"/>
                  <a:pt x="3367378" y="877317"/>
                  <a:pt x="3367378" y="873673"/>
                </a:cubicBezTo>
                <a:close/>
                <a:moveTo>
                  <a:pt x="3077652" y="873673"/>
                </a:moveTo>
                <a:cubicBezTo>
                  <a:pt x="3075830" y="879139"/>
                  <a:pt x="3083119" y="879139"/>
                  <a:pt x="3081297" y="880961"/>
                </a:cubicBezTo>
                <a:cubicBezTo>
                  <a:pt x="3055786" y="868206"/>
                  <a:pt x="3026631" y="888250"/>
                  <a:pt x="2999299" y="891894"/>
                </a:cubicBezTo>
                <a:cubicBezTo>
                  <a:pt x="2999299" y="893717"/>
                  <a:pt x="3001121" y="893717"/>
                  <a:pt x="3001121" y="895539"/>
                </a:cubicBezTo>
                <a:cubicBezTo>
                  <a:pt x="2988366" y="891894"/>
                  <a:pt x="2975610" y="899183"/>
                  <a:pt x="2968322" y="906473"/>
                </a:cubicBezTo>
                <a:cubicBezTo>
                  <a:pt x="2966500" y="908295"/>
                  <a:pt x="2977432" y="911939"/>
                  <a:pt x="2979255" y="921049"/>
                </a:cubicBezTo>
                <a:cubicBezTo>
                  <a:pt x="2973788" y="921049"/>
                  <a:pt x="2968322" y="917405"/>
                  <a:pt x="2966500" y="910117"/>
                </a:cubicBezTo>
                <a:cubicBezTo>
                  <a:pt x="2930056" y="919227"/>
                  <a:pt x="2924590" y="959316"/>
                  <a:pt x="2919123" y="988471"/>
                </a:cubicBezTo>
                <a:cubicBezTo>
                  <a:pt x="2926412" y="990293"/>
                  <a:pt x="2930056" y="984826"/>
                  <a:pt x="2935523" y="984826"/>
                </a:cubicBezTo>
                <a:cubicBezTo>
                  <a:pt x="2940989" y="984826"/>
                  <a:pt x="2944634" y="990293"/>
                  <a:pt x="2950100" y="986649"/>
                </a:cubicBezTo>
                <a:cubicBezTo>
                  <a:pt x="2942811" y="981182"/>
                  <a:pt x="2944634" y="973893"/>
                  <a:pt x="2942811" y="966604"/>
                </a:cubicBezTo>
                <a:cubicBezTo>
                  <a:pt x="2946456" y="968427"/>
                  <a:pt x="2948278" y="973893"/>
                  <a:pt x="2953744" y="970249"/>
                </a:cubicBezTo>
                <a:cubicBezTo>
                  <a:pt x="2948278" y="977538"/>
                  <a:pt x="2951922" y="986649"/>
                  <a:pt x="2959211" y="988471"/>
                </a:cubicBezTo>
                <a:cubicBezTo>
                  <a:pt x="2964677" y="990293"/>
                  <a:pt x="2968322" y="993937"/>
                  <a:pt x="2975610" y="992115"/>
                </a:cubicBezTo>
                <a:cubicBezTo>
                  <a:pt x="2986543" y="990293"/>
                  <a:pt x="3001121" y="990293"/>
                  <a:pt x="3004765" y="979360"/>
                </a:cubicBezTo>
                <a:cubicBezTo>
                  <a:pt x="3004765" y="977538"/>
                  <a:pt x="3002943" y="977538"/>
                  <a:pt x="3002943" y="975715"/>
                </a:cubicBezTo>
                <a:cubicBezTo>
                  <a:pt x="3006587" y="970249"/>
                  <a:pt x="3012054" y="973893"/>
                  <a:pt x="3013876" y="968427"/>
                </a:cubicBezTo>
                <a:cubicBezTo>
                  <a:pt x="3012054" y="973893"/>
                  <a:pt x="3004765" y="979360"/>
                  <a:pt x="3012054" y="981182"/>
                </a:cubicBezTo>
                <a:cubicBezTo>
                  <a:pt x="3015698" y="983004"/>
                  <a:pt x="3015698" y="972071"/>
                  <a:pt x="3013876" y="968427"/>
                </a:cubicBezTo>
                <a:cubicBezTo>
                  <a:pt x="3017521" y="970249"/>
                  <a:pt x="3019343" y="972071"/>
                  <a:pt x="3021165" y="975715"/>
                </a:cubicBezTo>
                <a:cubicBezTo>
                  <a:pt x="3024809" y="968427"/>
                  <a:pt x="3026631" y="977538"/>
                  <a:pt x="3032098" y="975715"/>
                </a:cubicBezTo>
                <a:cubicBezTo>
                  <a:pt x="3032098" y="975715"/>
                  <a:pt x="3032098" y="970249"/>
                  <a:pt x="3030276" y="966604"/>
                </a:cubicBezTo>
                <a:cubicBezTo>
                  <a:pt x="3041209" y="968427"/>
                  <a:pt x="3053964" y="973893"/>
                  <a:pt x="3063075" y="966604"/>
                </a:cubicBezTo>
                <a:cubicBezTo>
                  <a:pt x="3066719" y="964782"/>
                  <a:pt x="3061253" y="952026"/>
                  <a:pt x="3052142" y="953848"/>
                </a:cubicBezTo>
                <a:cubicBezTo>
                  <a:pt x="3057608" y="942916"/>
                  <a:pt x="3064897" y="937450"/>
                  <a:pt x="3075830" y="944738"/>
                </a:cubicBezTo>
                <a:cubicBezTo>
                  <a:pt x="3083119" y="924695"/>
                  <a:pt x="3103163" y="913761"/>
                  <a:pt x="3115918" y="899183"/>
                </a:cubicBezTo>
                <a:cubicBezTo>
                  <a:pt x="3119562" y="893717"/>
                  <a:pt x="3114096" y="890072"/>
                  <a:pt x="3108629" y="891894"/>
                </a:cubicBezTo>
                <a:cubicBezTo>
                  <a:pt x="3101340" y="880961"/>
                  <a:pt x="3088585" y="882784"/>
                  <a:pt x="3077652" y="873673"/>
                </a:cubicBezTo>
                <a:close/>
                <a:moveTo>
                  <a:pt x="2467224" y="873673"/>
                </a:moveTo>
                <a:cubicBezTo>
                  <a:pt x="2463580" y="873673"/>
                  <a:pt x="2456291" y="879139"/>
                  <a:pt x="2458113" y="886428"/>
                </a:cubicBezTo>
                <a:cubicBezTo>
                  <a:pt x="2459935" y="880961"/>
                  <a:pt x="2465402" y="879139"/>
                  <a:pt x="2467224" y="873673"/>
                </a:cubicBezTo>
                <a:close/>
                <a:moveTo>
                  <a:pt x="849133" y="873673"/>
                </a:moveTo>
                <a:cubicBezTo>
                  <a:pt x="849133" y="873673"/>
                  <a:pt x="849133" y="875495"/>
                  <a:pt x="849133" y="875495"/>
                </a:cubicBezTo>
                <a:cubicBezTo>
                  <a:pt x="841845" y="870028"/>
                  <a:pt x="829089" y="877317"/>
                  <a:pt x="819979" y="877317"/>
                </a:cubicBezTo>
                <a:cubicBezTo>
                  <a:pt x="830912" y="886428"/>
                  <a:pt x="847311" y="891894"/>
                  <a:pt x="858244" y="884606"/>
                </a:cubicBezTo>
                <a:cubicBezTo>
                  <a:pt x="865533" y="877317"/>
                  <a:pt x="849133" y="882784"/>
                  <a:pt x="849133" y="877317"/>
                </a:cubicBezTo>
                <a:lnTo>
                  <a:pt x="852778" y="877317"/>
                </a:lnTo>
                <a:cubicBezTo>
                  <a:pt x="850956" y="877317"/>
                  <a:pt x="850956" y="875495"/>
                  <a:pt x="849133" y="873673"/>
                </a:cubicBezTo>
                <a:close/>
                <a:moveTo>
                  <a:pt x="641407" y="873673"/>
                </a:moveTo>
                <a:cubicBezTo>
                  <a:pt x="641407" y="875495"/>
                  <a:pt x="639583" y="877317"/>
                  <a:pt x="641407" y="879139"/>
                </a:cubicBezTo>
                <a:cubicBezTo>
                  <a:pt x="643228" y="884606"/>
                  <a:pt x="646872" y="882784"/>
                  <a:pt x="650516" y="880961"/>
                </a:cubicBezTo>
                <a:cubicBezTo>
                  <a:pt x="648694" y="879139"/>
                  <a:pt x="641407" y="880961"/>
                  <a:pt x="646872" y="877317"/>
                </a:cubicBezTo>
                <a:cubicBezTo>
                  <a:pt x="646872" y="875495"/>
                  <a:pt x="645050" y="875495"/>
                  <a:pt x="641407" y="873673"/>
                </a:cubicBezTo>
                <a:close/>
                <a:moveTo>
                  <a:pt x="544830" y="873673"/>
                </a:moveTo>
                <a:cubicBezTo>
                  <a:pt x="548475" y="879139"/>
                  <a:pt x="548475" y="886428"/>
                  <a:pt x="553941" y="891894"/>
                </a:cubicBezTo>
                <a:cubicBezTo>
                  <a:pt x="557586" y="884606"/>
                  <a:pt x="552119" y="877317"/>
                  <a:pt x="544830" y="873673"/>
                </a:cubicBezTo>
                <a:close/>
                <a:moveTo>
                  <a:pt x="495632" y="873673"/>
                </a:moveTo>
                <a:cubicBezTo>
                  <a:pt x="491987" y="884606"/>
                  <a:pt x="499276" y="880961"/>
                  <a:pt x="502920" y="882784"/>
                </a:cubicBezTo>
                <a:cubicBezTo>
                  <a:pt x="502920" y="877317"/>
                  <a:pt x="497454" y="877317"/>
                  <a:pt x="495632" y="873673"/>
                </a:cubicBezTo>
                <a:close/>
                <a:moveTo>
                  <a:pt x="215017" y="873673"/>
                </a:moveTo>
                <a:cubicBezTo>
                  <a:pt x="215017" y="875495"/>
                  <a:pt x="218661" y="879139"/>
                  <a:pt x="220483" y="875495"/>
                </a:cubicBezTo>
                <a:cubicBezTo>
                  <a:pt x="218661" y="875495"/>
                  <a:pt x="216839" y="875495"/>
                  <a:pt x="215017" y="873673"/>
                </a:cubicBezTo>
                <a:close/>
                <a:moveTo>
                  <a:pt x="2526445" y="872078"/>
                </a:moveTo>
                <a:cubicBezTo>
                  <a:pt x="2523711" y="871851"/>
                  <a:pt x="2520978" y="873673"/>
                  <a:pt x="2521889" y="877317"/>
                </a:cubicBezTo>
                <a:cubicBezTo>
                  <a:pt x="2523711" y="879139"/>
                  <a:pt x="2527356" y="879139"/>
                  <a:pt x="2531000" y="879139"/>
                </a:cubicBezTo>
                <a:cubicBezTo>
                  <a:pt x="2531911" y="874584"/>
                  <a:pt x="2529178" y="872306"/>
                  <a:pt x="2526445" y="872078"/>
                </a:cubicBezTo>
                <a:close/>
                <a:moveTo>
                  <a:pt x="1084194" y="871851"/>
                </a:moveTo>
                <a:cubicBezTo>
                  <a:pt x="1075083" y="868206"/>
                  <a:pt x="1067794" y="884606"/>
                  <a:pt x="1064151" y="890072"/>
                </a:cubicBezTo>
                <a:cubicBezTo>
                  <a:pt x="1071439" y="884606"/>
                  <a:pt x="1080549" y="879139"/>
                  <a:pt x="1084194" y="871851"/>
                </a:cubicBezTo>
                <a:close/>
                <a:moveTo>
                  <a:pt x="1056861" y="871851"/>
                </a:moveTo>
                <a:cubicBezTo>
                  <a:pt x="1049573" y="873673"/>
                  <a:pt x="1044106" y="879139"/>
                  <a:pt x="1040462" y="884606"/>
                </a:cubicBezTo>
                <a:cubicBezTo>
                  <a:pt x="1042284" y="886428"/>
                  <a:pt x="1044106" y="886428"/>
                  <a:pt x="1045929" y="888250"/>
                </a:cubicBezTo>
                <a:cubicBezTo>
                  <a:pt x="1051395" y="882784"/>
                  <a:pt x="1056861" y="879139"/>
                  <a:pt x="1056861" y="871851"/>
                </a:cubicBezTo>
                <a:close/>
                <a:moveTo>
                  <a:pt x="792646" y="871851"/>
                </a:moveTo>
                <a:cubicBezTo>
                  <a:pt x="790824" y="871851"/>
                  <a:pt x="789003" y="873673"/>
                  <a:pt x="787179" y="873673"/>
                </a:cubicBezTo>
                <a:cubicBezTo>
                  <a:pt x="787179" y="875495"/>
                  <a:pt x="792646" y="875495"/>
                  <a:pt x="794468" y="873673"/>
                </a:cubicBezTo>
                <a:cubicBezTo>
                  <a:pt x="794468" y="873673"/>
                  <a:pt x="792646" y="871851"/>
                  <a:pt x="792646" y="871851"/>
                </a:cubicBezTo>
                <a:close/>
                <a:moveTo>
                  <a:pt x="650516" y="871851"/>
                </a:moveTo>
                <a:cubicBezTo>
                  <a:pt x="654161" y="873673"/>
                  <a:pt x="650516" y="875495"/>
                  <a:pt x="654161" y="877317"/>
                </a:cubicBezTo>
                <a:cubicBezTo>
                  <a:pt x="657805" y="875495"/>
                  <a:pt x="657805" y="875495"/>
                  <a:pt x="661449" y="873673"/>
                </a:cubicBezTo>
                <a:cubicBezTo>
                  <a:pt x="657805" y="870028"/>
                  <a:pt x="654161" y="870028"/>
                  <a:pt x="650516" y="871851"/>
                </a:cubicBezTo>
                <a:close/>
                <a:moveTo>
                  <a:pt x="597673" y="871851"/>
                </a:moveTo>
                <a:cubicBezTo>
                  <a:pt x="595852" y="870028"/>
                  <a:pt x="594030" y="873673"/>
                  <a:pt x="595852" y="875495"/>
                </a:cubicBezTo>
                <a:cubicBezTo>
                  <a:pt x="599496" y="873673"/>
                  <a:pt x="597673" y="873673"/>
                  <a:pt x="597673" y="871851"/>
                </a:cubicBezTo>
                <a:close/>
                <a:moveTo>
                  <a:pt x="557586" y="871851"/>
                </a:moveTo>
                <a:cubicBezTo>
                  <a:pt x="557586" y="871851"/>
                  <a:pt x="553941" y="873673"/>
                  <a:pt x="555763" y="875495"/>
                </a:cubicBezTo>
                <a:cubicBezTo>
                  <a:pt x="563052" y="873673"/>
                  <a:pt x="559408" y="880961"/>
                  <a:pt x="564874" y="882784"/>
                </a:cubicBezTo>
                <a:cubicBezTo>
                  <a:pt x="566697" y="877317"/>
                  <a:pt x="561230" y="873673"/>
                  <a:pt x="557586" y="871851"/>
                </a:cubicBezTo>
                <a:close/>
                <a:moveTo>
                  <a:pt x="475589" y="871851"/>
                </a:moveTo>
                <a:cubicBezTo>
                  <a:pt x="475589" y="873673"/>
                  <a:pt x="475589" y="877317"/>
                  <a:pt x="477410" y="879139"/>
                </a:cubicBezTo>
                <a:cubicBezTo>
                  <a:pt x="479232" y="880961"/>
                  <a:pt x="479232" y="877317"/>
                  <a:pt x="479232" y="877317"/>
                </a:cubicBezTo>
                <a:cubicBezTo>
                  <a:pt x="482876" y="888250"/>
                  <a:pt x="499276" y="890072"/>
                  <a:pt x="506565" y="897361"/>
                </a:cubicBezTo>
                <a:cubicBezTo>
                  <a:pt x="499276" y="888250"/>
                  <a:pt x="490165" y="879139"/>
                  <a:pt x="475589" y="871851"/>
                </a:cubicBezTo>
                <a:close/>
                <a:moveTo>
                  <a:pt x="411812" y="871851"/>
                </a:moveTo>
                <a:cubicBezTo>
                  <a:pt x="417278" y="879139"/>
                  <a:pt x="430034" y="890072"/>
                  <a:pt x="437322" y="886428"/>
                </a:cubicBezTo>
                <a:cubicBezTo>
                  <a:pt x="428211" y="879139"/>
                  <a:pt x="419100" y="868206"/>
                  <a:pt x="411812" y="871851"/>
                </a:cubicBezTo>
                <a:close/>
                <a:moveTo>
                  <a:pt x="467616" y="871623"/>
                </a:moveTo>
                <a:cubicBezTo>
                  <a:pt x="464199" y="870484"/>
                  <a:pt x="460099" y="870940"/>
                  <a:pt x="455544" y="873673"/>
                </a:cubicBezTo>
                <a:lnTo>
                  <a:pt x="455544" y="877317"/>
                </a:lnTo>
                <a:cubicBezTo>
                  <a:pt x="462832" y="880961"/>
                  <a:pt x="466478" y="886428"/>
                  <a:pt x="473766" y="888250"/>
                </a:cubicBezTo>
                <a:cubicBezTo>
                  <a:pt x="470121" y="882784"/>
                  <a:pt x="461010" y="879139"/>
                  <a:pt x="455544" y="873673"/>
                </a:cubicBezTo>
                <a:cubicBezTo>
                  <a:pt x="464655" y="879139"/>
                  <a:pt x="471943" y="884606"/>
                  <a:pt x="481054" y="891894"/>
                </a:cubicBezTo>
                <a:cubicBezTo>
                  <a:pt x="479232" y="884606"/>
                  <a:pt x="475589" y="880961"/>
                  <a:pt x="470121" y="875495"/>
                </a:cubicBezTo>
                <a:cubicBezTo>
                  <a:pt x="473766" y="873673"/>
                  <a:pt x="471943" y="879139"/>
                  <a:pt x="475589" y="879139"/>
                </a:cubicBezTo>
                <a:cubicBezTo>
                  <a:pt x="473765" y="875495"/>
                  <a:pt x="471032" y="872762"/>
                  <a:pt x="467616" y="871623"/>
                </a:cubicBezTo>
                <a:close/>
                <a:moveTo>
                  <a:pt x="1998963" y="870202"/>
                </a:moveTo>
                <a:lnTo>
                  <a:pt x="2000064" y="875267"/>
                </a:lnTo>
                <a:cubicBezTo>
                  <a:pt x="1999381" y="876862"/>
                  <a:pt x="1998014" y="878228"/>
                  <a:pt x="1997103" y="879139"/>
                </a:cubicBezTo>
                <a:cubicBezTo>
                  <a:pt x="1995281" y="875495"/>
                  <a:pt x="1991638" y="877317"/>
                  <a:pt x="1989814" y="877317"/>
                </a:cubicBezTo>
                <a:close/>
                <a:moveTo>
                  <a:pt x="1998925" y="870028"/>
                </a:moveTo>
                <a:lnTo>
                  <a:pt x="1998983" y="870186"/>
                </a:lnTo>
                <a:lnTo>
                  <a:pt x="1998963" y="870202"/>
                </a:lnTo>
                <a:close/>
                <a:moveTo>
                  <a:pt x="1295566" y="870028"/>
                </a:moveTo>
                <a:cubicBezTo>
                  <a:pt x="1295566" y="871851"/>
                  <a:pt x="1297388" y="871851"/>
                  <a:pt x="1301033" y="873673"/>
                </a:cubicBezTo>
                <a:cubicBezTo>
                  <a:pt x="1302855" y="873673"/>
                  <a:pt x="1302855" y="871851"/>
                  <a:pt x="1301033" y="870028"/>
                </a:cubicBezTo>
                <a:cubicBezTo>
                  <a:pt x="1299210" y="871851"/>
                  <a:pt x="1297388" y="868206"/>
                  <a:pt x="1295566" y="870028"/>
                </a:cubicBezTo>
                <a:close/>
                <a:moveTo>
                  <a:pt x="1279166" y="870028"/>
                </a:moveTo>
                <a:cubicBezTo>
                  <a:pt x="1277344" y="873673"/>
                  <a:pt x="1273700" y="875495"/>
                  <a:pt x="1275522" y="879139"/>
                </a:cubicBezTo>
                <a:cubicBezTo>
                  <a:pt x="1279166" y="879139"/>
                  <a:pt x="1280989" y="873673"/>
                  <a:pt x="1279166" y="870028"/>
                </a:cubicBezTo>
                <a:close/>
                <a:moveTo>
                  <a:pt x="577630" y="870028"/>
                </a:moveTo>
                <a:cubicBezTo>
                  <a:pt x="579452" y="871851"/>
                  <a:pt x="583096" y="873673"/>
                  <a:pt x="584919" y="873673"/>
                </a:cubicBezTo>
                <a:cubicBezTo>
                  <a:pt x="584919" y="873673"/>
                  <a:pt x="584919" y="875495"/>
                  <a:pt x="588562" y="875495"/>
                </a:cubicBezTo>
                <a:cubicBezTo>
                  <a:pt x="588562" y="875495"/>
                  <a:pt x="586741" y="875495"/>
                  <a:pt x="583096" y="871851"/>
                </a:cubicBezTo>
                <a:cubicBezTo>
                  <a:pt x="584919" y="871851"/>
                  <a:pt x="586741" y="871851"/>
                  <a:pt x="586741" y="871851"/>
                </a:cubicBezTo>
                <a:cubicBezTo>
                  <a:pt x="584919" y="871851"/>
                  <a:pt x="581274" y="871851"/>
                  <a:pt x="577630" y="870028"/>
                </a:cubicBezTo>
                <a:close/>
                <a:moveTo>
                  <a:pt x="1257300" y="868207"/>
                </a:moveTo>
                <a:lnTo>
                  <a:pt x="1262083" y="872990"/>
                </a:lnTo>
                <a:lnTo>
                  <a:pt x="1262631" y="874230"/>
                </a:lnTo>
                <a:lnTo>
                  <a:pt x="1262767" y="875495"/>
                </a:lnTo>
                <a:cubicBezTo>
                  <a:pt x="1261856" y="876406"/>
                  <a:pt x="1260945" y="875040"/>
                  <a:pt x="1260034" y="873217"/>
                </a:cubicBezTo>
                <a:close/>
                <a:moveTo>
                  <a:pt x="3121384" y="868206"/>
                </a:moveTo>
                <a:cubicBezTo>
                  <a:pt x="3115918" y="873673"/>
                  <a:pt x="3119562" y="882784"/>
                  <a:pt x="3123206" y="888250"/>
                </a:cubicBezTo>
                <a:cubicBezTo>
                  <a:pt x="3128673" y="891894"/>
                  <a:pt x="3135962" y="890072"/>
                  <a:pt x="3143250" y="888250"/>
                </a:cubicBezTo>
                <a:cubicBezTo>
                  <a:pt x="3152361" y="884606"/>
                  <a:pt x="3172405" y="890072"/>
                  <a:pt x="3170583" y="877317"/>
                </a:cubicBezTo>
                <a:cubicBezTo>
                  <a:pt x="3154184" y="882784"/>
                  <a:pt x="3139606" y="871851"/>
                  <a:pt x="3121384" y="871851"/>
                </a:cubicBezTo>
                <a:cubicBezTo>
                  <a:pt x="3121384" y="870028"/>
                  <a:pt x="3121384" y="870028"/>
                  <a:pt x="3121384" y="868206"/>
                </a:cubicBezTo>
                <a:close/>
                <a:moveTo>
                  <a:pt x="2607531" y="868206"/>
                </a:moveTo>
                <a:cubicBezTo>
                  <a:pt x="2603887" y="875495"/>
                  <a:pt x="2603887" y="897361"/>
                  <a:pt x="2614820" y="897361"/>
                </a:cubicBezTo>
                <a:cubicBezTo>
                  <a:pt x="2618464" y="891894"/>
                  <a:pt x="2616642" y="888250"/>
                  <a:pt x="2614820" y="882784"/>
                </a:cubicBezTo>
                <a:cubicBezTo>
                  <a:pt x="2614820" y="884606"/>
                  <a:pt x="2612998" y="884606"/>
                  <a:pt x="2609353" y="884606"/>
                </a:cubicBezTo>
                <a:cubicBezTo>
                  <a:pt x="2609353" y="877317"/>
                  <a:pt x="2614820" y="877317"/>
                  <a:pt x="2612998" y="868206"/>
                </a:cubicBezTo>
                <a:cubicBezTo>
                  <a:pt x="2611176" y="868206"/>
                  <a:pt x="2609353" y="868206"/>
                  <a:pt x="2607531" y="868206"/>
                </a:cubicBezTo>
                <a:close/>
                <a:moveTo>
                  <a:pt x="2600243" y="868206"/>
                </a:moveTo>
                <a:cubicBezTo>
                  <a:pt x="2596598" y="868206"/>
                  <a:pt x="2596598" y="871851"/>
                  <a:pt x="2592954" y="870028"/>
                </a:cubicBezTo>
                <a:cubicBezTo>
                  <a:pt x="2594776" y="875495"/>
                  <a:pt x="2592954" y="875495"/>
                  <a:pt x="2592954" y="879139"/>
                </a:cubicBezTo>
                <a:cubicBezTo>
                  <a:pt x="2598421" y="877317"/>
                  <a:pt x="2600243" y="880961"/>
                  <a:pt x="2600243" y="886428"/>
                </a:cubicBezTo>
                <a:cubicBezTo>
                  <a:pt x="2605709" y="886428"/>
                  <a:pt x="2602065" y="873673"/>
                  <a:pt x="2600243" y="868206"/>
                </a:cubicBezTo>
                <a:close/>
                <a:moveTo>
                  <a:pt x="863711" y="868206"/>
                </a:moveTo>
                <a:cubicBezTo>
                  <a:pt x="861889" y="868206"/>
                  <a:pt x="860066" y="871851"/>
                  <a:pt x="858244" y="870028"/>
                </a:cubicBezTo>
                <a:cubicBezTo>
                  <a:pt x="859155" y="872762"/>
                  <a:pt x="860522" y="873218"/>
                  <a:pt x="862345" y="872990"/>
                </a:cubicBezTo>
                <a:lnTo>
                  <a:pt x="862719" y="872927"/>
                </a:lnTo>
                <a:lnTo>
                  <a:pt x="870060" y="882443"/>
                </a:lnTo>
                <a:cubicBezTo>
                  <a:pt x="880567" y="886884"/>
                  <a:pt x="896966" y="875951"/>
                  <a:pt x="909265" y="877317"/>
                </a:cubicBezTo>
                <a:cubicBezTo>
                  <a:pt x="909265" y="871851"/>
                  <a:pt x="903799" y="868206"/>
                  <a:pt x="898333" y="868206"/>
                </a:cubicBezTo>
                <a:cubicBezTo>
                  <a:pt x="893777" y="868206"/>
                  <a:pt x="890133" y="871395"/>
                  <a:pt x="886261" y="873900"/>
                </a:cubicBezTo>
                <a:lnTo>
                  <a:pt x="882142" y="874389"/>
                </a:lnTo>
                <a:lnTo>
                  <a:pt x="887399" y="871851"/>
                </a:lnTo>
                <a:cubicBezTo>
                  <a:pt x="882843" y="868207"/>
                  <a:pt x="878743" y="870029"/>
                  <a:pt x="874643" y="871851"/>
                </a:cubicBezTo>
                <a:lnTo>
                  <a:pt x="869177" y="871851"/>
                </a:lnTo>
                <a:lnTo>
                  <a:pt x="862719" y="872927"/>
                </a:lnTo>
                <a:lnTo>
                  <a:pt x="861889" y="871851"/>
                </a:lnTo>
                <a:lnTo>
                  <a:pt x="869176" y="871851"/>
                </a:lnTo>
                <a:close/>
                <a:moveTo>
                  <a:pt x="814512" y="868206"/>
                </a:moveTo>
                <a:cubicBezTo>
                  <a:pt x="814512" y="868206"/>
                  <a:pt x="812690" y="871851"/>
                  <a:pt x="810868" y="870028"/>
                </a:cubicBezTo>
                <a:cubicBezTo>
                  <a:pt x="816334" y="873673"/>
                  <a:pt x="818156" y="866384"/>
                  <a:pt x="821801" y="868206"/>
                </a:cubicBezTo>
                <a:cubicBezTo>
                  <a:pt x="818156" y="868206"/>
                  <a:pt x="816334" y="866384"/>
                  <a:pt x="814512" y="868206"/>
                </a:cubicBezTo>
                <a:close/>
                <a:moveTo>
                  <a:pt x="643228" y="868206"/>
                </a:moveTo>
                <a:cubicBezTo>
                  <a:pt x="641407" y="871851"/>
                  <a:pt x="648694" y="877317"/>
                  <a:pt x="652339" y="875495"/>
                </a:cubicBezTo>
                <a:cubicBezTo>
                  <a:pt x="650516" y="871851"/>
                  <a:pt x="648694" y="870028"/>
                  <a:pt x="643228" y="868206"/>
                </a:cubicBezTo>
                <a:close/>
                <a:moveTo>
                  <a:pt x="626828" y="868206"/>
                </a:moveTo>
                <a:cubicBezTo>
                  <a:pt x="623185" y="870028"/>
                  <a:pt x="630472" y="873673"/>
                  <a:pt x="632296" y="875495"/>
                </a:cubicBezTo>
                <a:cubicBezTo>
                  <a:pt x="634117" y="871851"/>
                  <a:pt x="628650" y="870028"/>
                  <a:pt x="626828" y="868206"/>
                </a:cubicBezTo>
                <a:close/>
                <a:moveTo>
                  <a:pt x="267860" y="868206"/>
                </a:moveTo>
                <a:cubicBezTo>
                  <a:pt x="266038" y="871851"/>
                  <a:pt x="271504" y="879139"/>
                  <a:pt x="276971" y="880961"/>
                </a:cubicBezTo>
                <a:cubicBezTo>
                  <a:pt x="278793" y="879139"/>
                  <a:pt x="269682" y="875495"/>
                  <a:pt x="273327" y="873673"/>
                </a:cubicBezTo>
                <a:cubicBezTo>
                  <a:pt x="269682" y="870028"/>
                  <a:pt x="269682" y="870028"/>
                  <a:pt x="267860" y="868206"/>
                </a:cubicBezTo>
                <a:close/>
                <a:moveTo>
                  <a:pt x="225950" y="868206"/>
                </a:moveTo>
                <a:cubicBezTo>
                  <a:pt x="227772" y="873673"/>
                  <a:pt x="235061" y="880961"/>
                  <a:pt x="238705" y="877317"/>
                </a:cubicBezTo>
                <a:cubicBezTo>
                  <a:pt x="233239" y="873673"/>
                  <a:pt x="229594" y="871851"/>
                  <a:pt x="225950" y="868206"/>
                </a:cubicBezTo>
                <a:close/>
                <a:moveTo>
                  <a:pt x="120264" y="868206"/>
                </a:moveTo>
                <a:cubicBezTo>
                  <a:pt x="120264" y="873673"/>
                  <a:pt x="125730" y="875495"/>
                  <a:pt x="127552" y="879139"/>
                </a:cubicBezTo>
                <a:cubicBezTo>
                  <a:pt x="129375" y="877317"/>
                  <a:pt x="125730" y="875495"/>
                  <a:pt x="127552" y="873673"/>
                </a:cubicBezTo>
                <a:cubicBezTo>
                  <a:pt x="131197" y="882784"/>
                  <a:pt x="145774" y="897361"/>
                  <a:pt x="153063" y="897361"/>
                </a:cubicBezTo>
                <a:cubicBezTo>
                  <a:pt x="143952" y="882784"/>
                  <a:pt x="131197" y="875495"/>
                  <a:pt x="120264" y="868206"/>
                </a:cubicBezTo>
                <a:close/>
                <a:moveTo>
                  <a:pt x="1405803" y="868204"/>
                </a:moveTo>
                <a:lnTo>
                  <a:pt x="1411730" y="870940"/>
                </a:lnTo>
                <a:lnTo>
                  <a:pt x="1412415" y="871811"/>
                </a:lnTo>
                <a:close/>
                <a:moveTo>
                  <a:pt x="2543755" y="866384"/>
                </a:moveTo>
                <a:cubicBezTo>
                  <a:pt x="2536466" y="864562"/>
                  <a:pt x="2534644" y="868206"/>
                  <a:pt x="2536466" y="875495"/>
                </a:cubicBezTo>
                <a:cubicBezTo>
                  <a:pt x="2541933" y="875495"/>
                  <a:pt x="2541933" y="871851"/>
                  <a:pt x="2545577" y="873673"/>
                </a:cubicBezTo>
                <a:cubicBezTo>
                  <a:pt x="2543755" y="870028"/>
                  <a:pt x="2541933" y="870028"/>
                  <a:pt x="2543755" y="866384"/>
                </a:cubicBezTo>
                <a:close/>
                <a:moveTo>
                  <a:pt x="2385226" y="866384"/>
                </a:moveTo>
                <a:cubicBezTo>
                  <a:pt x="2385226" y="871851"/>
                  <a:pt x="2377937" y="877317"/>
                  <a:pt x="2381582" y="890072"/>
                </a:cubicBezTo>
                <a:cubicBezTo>
                  <a:pt x="2383404" y="888250"/>
                  <a:pt x="2388871" y="893717"/>
                  <a:pt x="2388871" y="890072"/>
                </a:cubicBezTo>
                <a:cubicBezTo>
                  <a:pt x="2392515" y="880961"/>
                  <a:pt x="2396159" y="880961"/>
                  <a:pt x="2401626" y="875495"/>
                </a:cubicBezTo>
                <a:cubicBezTo>
                  <a:pt x="2399803" y="873673"/>
                  <a:pt x="2397981" y="873673"/>
                  <a:pt x="2396159" y="875495"/>
                </a:cubicBezTo>
                <a:cubicBezTo>
                  <a:pt x="2392515" y="871851"/>
                  <a:pt x="2399803" y="870028"/>
                  <a:pt x="2397981" y="870028"/>
                </a:cubicBezTo>
                <a:cubicBezTo>
                  <a:pt x="2394337" y="870028"/>
                  <a:pt x="2390693" y="862740"/>
                  <a:pt x="2385226" y="866384"/>
                </a:cubicBezTo>
                <a:close/>
                <a:moveTo>
                  <a:pt x="1319254" y="866384"/>
                </a:moveTo>
                <a:cubicBezTo>
                  <a:pt x="1315610" y="866384"/>
                  <a:pt x="1311966" y="870028"/>
                  <a:pt x="1308321" y="873673"/>
                </a:cubicBezTo>
                <a:cubicBezTo>
                  <a:pt x="1311966" y="875495"/>
                  <a:pt x="1317432" y="868206"/>
                  <a:pt x="1319254" y="866384"/>
                </a:cubicBezTo>
                <a:close/>
                <a:moveTo>
                  <a:pt x="577630" y="866384"/>
                </a:moveTo>
                <a:cubicBezTo>
                  <a:pt x="577630" y="873673"/>
                  <a:pt x="583096" y="868206"/>
                  <a:pt x="584919" y="870028"/>
                </a:cubicBezTo>
                <a:cubicBezTo>
                  <a:pt x="583096" y="868206"/>
                  <a:pt x="579452" y="868206"/>
                  <a:pt x="577630" y="866384"/>
                </a:cubicBezTo>
                <a:close/>
                <a:moveTo>
                  <a:pt x="442789" y="866384"/>
                </a:moveTo>
                <a:cubicBezTo>
                  <a:pt x="442789" y="871851"/>
                  <a:pt x="446433" y="879139"/>
                  <a:pt x="451899" y="880961"/>
                </a:cubicBezTo>
                <a:cubicBezTo>
                  <a:pt x="455544" y="875495"/>
                  <a:pt x="448256" y="866384"/>
                  <a:pt x="442789" y="866384"/>
                </a:cubicBezTo>
                <a:close/>
                <a:moveTo>
                  <a:pt x="258749" y="866384"/>
                </a:moveTo>
                <a:cubicBezTo>
                  <a:pt x="256927" y="868206"/>
                  <a:pt x="266038" y="873673"/>
                  <a:pt x="269682" y="877317"/>
                </a:cubicBezTo>
                <a:cubicBezTo>
                  <a:pt x="269682" y="873673"/>
                  <a:pt x="260571" y="866384"/>
                  <a:pt x="258749" y="866384"/>
                </a:cubicBezTo>
                <a:close/>
                <a:moveTo>
                  <a:pt x="227772" y="866384"/>
                </a:moveTo>
                <a:cubicBezTo>
                  <a:pt x="227772" y="870028"/>
                  <a:pt x="238705" y="877317"/>
                  <a:pt x="244172" y="879139"/>
                </a:cubicBezTo>
                <a:cubicBezTo>
                  <a:pt x="240527" y="875495"/>
                  <a:pt x="233239" y="870028"/>
                  <a:pt x="227772" y="866384"/>
                </a:cubicBezTo>
                <a:close/>
                <a:moveTo>
                  <a:pt x="200439" y="866384"/>
                </a:moveTo>
                <a:cubicBezTo>
                  <a:pt x="200439" y="868206"/>
                  <a:pt x="204084" y="871851"/>
                  <a:pt x="205906" y="873673"/>
                </a:cubicBezTo>
                <a:cubicBezTo>
                  <a:pt x="207728" y="871851"/>
                  <a:pt x="207728" y="871851"/>
                  <a:pt x="205906" y="870028"/>
                </a:cubicBezTo>
                <a:cubicBezTo>
                  <a:pt x="204084" y="868206"/>
                  <a:pt x="202262" y="868206"/>
                  <a:pt x="200439" y="866384"/>
                </a:cubicBezTo>
                <a:close/>
                <a:moveTo>
                  <a:pt x="1334098" y="866044"/>
                </a:moveTo>
                <a:lnTo>
                  <a:pt x="1330188" y="869118"/>
                </a:lnTo>
                <a:lnTo>
                  <a:pt x="1320342" y="872634"/>
                </a:lnTo>
                <a:lnTo>
                  <a:pt x="1322215" y="870484"/>
                </a:lnTo>
                <a:close/>
                <a:moveTo>
                  <a:pt x="1424472" y="865792"/>
                </a:moveTo>
                <a:lnTo>
                  <a:pt x="1434348" y="867884"/>
                </a:lnTo>
                <a:lnTo>
                  <a:pt x="1432229" y="868890"/>
                </a:lnTo>
                <a:cubicBezTo>
                  <a:pt x="1429040" y="868662"/>
                  <a:pt x="1425851" y="867295"/>
                  <a:pt x="1423118" y="866384"/>
                </a:cubicBezTo>
                <a:close/>
                <a:moveTo>
                  <a:pt x="876238" y="865018"/>
                </a:moveTo>
                <a:cubicBezTo>
                  <a:pt x="873733" y="865473"/>
                  <a:pt x="871000" y="866384"/>
                  <a:pt x="869177" y="866384"/>
                </a:cubicBezTo>
                <a:cubicBezTo>
                  <a:pt x="867355" y="870028"/>
                  <a:pt x="878288" y="870028"/>
                  <a:pt x="881933" y="866384"/>
                </a:cubicBezTo>
                <a:cubicBezTo>
                  <a:pt x="881021" y="864562"/>
                  <a:pt x="878744" y="864562"/>
                  <a:pt x="876238" y="865018"/>
                </a:cubicBezTo>
                <a:close/>
                <a:moveTo>
                  <a:pt x="2199364" y="864562"/>
                </a:moveTo>
                <a:cubicBezTo>
                  <a:pt x="2197542" y="870028"/>
                  <a:pt x="2197542" y="873673"/>
                  <a:pt x="2195720" y="877317"/>
                </a:cubicBezTo>
                <a:cubicBezTo>
                  <a:pt x="2201187" y="875495"/>
                  <a:pt x="2204831" y="871851"/>
                  <a:pt x="2208475" y="868206"/>
                </a:cubicBezTo>
                <a:lnTo>
                  <a:pt x="2210297" y="864562"/>
                </a:lnTo>
                <a:close/>
                <a:moveTo>
                  <a:pt x="1441340" y="864562"/>
                </a:moveTo>
                <a:lnTo>
                  <a:pt x="1441947" y="865170"/>
                </a:lnTo>
                <a:lnTo>
                  <a:pt x="1435873" y="868206"/>
                </a:lnTo>
                <a:lnTo>
                  <a:pt x="1434348" y="867884"/>
                </a:lnTo>
                <a:close/>
                <a:moveTo>
                  <a:pt x="1275522" y="864562"/>
                </a:moveTo>
                <a:cubicBezTo>
                  <a:pt x="1275522" y="866384"/>
                  <a:pt x="1273700" y="870028"/>
                  <a:pt x="1275522" y="871851"/>
                </a:cubicBezTo>
                <a:cubicBezTo>
                  <a:pt x="1277344" y="870028"/>
                  <a:pt x="1275522" y="868206"/>
                  <a:pt x="1279166" y="866384"/>
                </a:cubicBezTo>
                <a:cubicBezTo>
                  <a:pt x="1277344" y="866384"/>
                  <a:pt x="1277344" y="866384"/>
                  <a:pt x="1275522" y="864562"/>
                </a:cubicBezTo>
                <a:close/>
                <a:moveTo>
                  <a:pt x="799251" y="864562"/>
                </a:moveTo>
                <a:cubicBezTo>
                  <a:pt x="796746" y="864562"/>
                  <a:pt x="794468" y="865473"/>
                  <a:pt x="792646" y="868206"/>
                </a:cubicBezTo>
                <a:cubicBezTo>
                  <a:pt x="798112" y="870028"/>
                  <a:pt x="801757" y="868206"/>
                  <a:pt x="807223" y="866384"/>
                </a:cubicBezTo>
                <a:cubicBezTo>
                  <a:pt x="804490" y="865473"/>
                  <a:pt x="801757" y="864562"/>
                  <a:pt x="799251" y="864562"/>
                </a:cubicBezTo>
                <a:close/>
                <a:moveTo>
                  <a:pt x="637761" y="864562"/>
                </a:moveTo>
                <a:cubicBezTo>
                  <a:pt x="635939" y="866384"/>
                  <a:pt x="635939" y="864562"/>
                  <a:pt x="634117" y="866384"/>
                </a:cubicBezTo>
                <a:cubicBezTo>
                  <a:pt x="635939" y="866384"/>
                  <a:pt x="643228" y="875495"/>
                  <a:pt x="637761" y="864562"/>
                </a:cubicBezTo>
                <a:close/>
                <a:moveTo>
                  <a:pt x="626828" y="864562"/>
                </a:moveTo>
                <a:cubicBezTo>
                  <a:pt x="623185" y="866384"/>
                  <a:pt x="628650" y="870028"/>
                  <a:pt x="632296" y="870028"/>
                </a:cubicBezTo>
                <a:cubicBezTo>
                  <a:pt x="635939" y="866384"/>
                  <a:pt x="628650" y="864562"/>
                  <a:pt x="626828" y="864562"/>
                </a:cubicBezTo>
                <a:close/>
                <a:moveTo>
                  <a:pt x="603453" y="864050"/>
                </a:moveTo>
                <a:cubicBezTo>
                  <a:pt x="600748" y="863537"/>
                  <a:pt x="598584" y="864107"/>
                  <a:pt x="597673" y="866384"/>
                </a:cubicBezTo>
                <a:cubicBezTo>
                  <a:pt x="599496" y="875495"/>
                  <a:pt x="606784" y="886428"/>
                  <a:pt x="621362" y="888250"/>
                </a:cubicBezTo>
                <a:cubicBezTo>
                  <a:pt x="623185" y="888250"/>
                  <a:pt x="623185" y="886428"/>
                  <a:pt x="621362" y="886428"/>
                </a:cubicBezTo>
                <a:cubicBezTo>
                  <a:pt x="625006" y="884606"/>
                  <a:pt x="626828" y="886428"/>
                  <a:pt x="628650" y="888250"/>
                </a:cubicBezTo>
                <a:cubicBezTo>
                  <a:pt x="630472" y="886428"/>
                  <a:pt x="626828" y="880961"/>
                  <a:pt x="623185" y="880961"/>
                </a:cubicBezTo>
                <a:cubicBezTo>
                  <a:pt x="624550" y="876862"/>
                  <a:pt x="611567" y="865587"/>
                  <a:pt x="603453" y="864050"/>
                </a:cubicBezTo>
                <a:close/>
                <a:moveTo>
                  <a:pt x="3247114" y="862740"/>
                </a:moveTo>
                <a:cubicBezTo>
                  <a:pt x="3247114" y="868206"/>
                  <a:pt x="3256225" y="868206"/>
                  <a:pt x="3254403" y="862740"/>
                </a:cubicBezTo>
                <a:cubicBezTo>
                  <a:pt x="3252581" y="862740"/>
                  <a:pt x="3250759" y="862740"/>
                  <a:pt x="3247114" y="862740"/>
                </a:cubicBezTo>
                <a:close/>
                <a:moveTo>
                  <a:pt x="2496379" y="862740"/>
                </a:moveTo>
                <a:cubicBezTo>
                  <a:pt x="2494556" y="862740"/>
                  <a:pt x="2492734" y="862740"/>
                  <a:pt x="2490912" y="864562"/>
                </a:cubicBezTo>
                <a:cubicBezTo>
                  <a:pt x="2494556" y="870028"/>
                  <a:pt x="2492734" y="875495"/>
                  <a:pt x="2494556" y="880961"/>
                </a:cubicBezTo>
                <a:cubicBezTo>
                  <a:pt x="2498201" y="875495"/>
                  <a:pt x="2492734" y="870028"/>
                  <a:pt x="2496379" y="862740"/>
                </a:cubicBezTo>
                <a:close/>
                <a:moveTo>
                  <a:pt x="1270056" y="862740"/>
                </a:moveTo>
                <a:cubicBezTo>
                  <a:pt x="1268233" y="864562"/>
                  <a:pt x="1270056" y="866384"/>
                  <a:pt x="1271878" y="868206"/>
                </a:cubicBezTo>
                <a:cubicBezTo>
                  <a:pt x="1273700" y="866384"/>
                  <a:pt x="1271878" y="866384"/>
                  <a:pt x="1273700" y="864562"/>
                </a:cubicBezTo>
                <a:cubicBezTo>
                  <a:pt x="1273700" y="862740"/>
                  <a:pt x="1271878" y="864562"/>
                  <a:pt x="1270056" y="862740"/>
                </a:cubicBezTo>
                <a:close/>
                <a:moveTo>
                  <a:pt x="978508" y="862740"/>
                </a:moveTo>
                <a:cubicBezTo>
                  <a:pt x="978508" y="860918"/>
                  <a:pt x="976686" y="864562"/>
                  <a:pt x="974863" y="864562"/>
                </a:cubicBezTo>
                <a:cubicBezTo>
                  <a:pt x="976686" y="864562"/>
                  <a:pt x="978508" y="864562"/>
                  <a:pt x="978508" y="864562"/>
                </a:cubicBezTo>
                <a:cubicBezTo>
                  <a:pt x="980330" y="862740"/>
                  <a:pt x="978508" y="860918"/>
                  <a:pt x="978508" y="862740"/>
                </a:cubicBezTo>
                <a:close/>
                <a:moveTo>
                  <a:pt x="947531" y="862740"/>
                </a:moveTo>
                <a:cubicBezTo>
                  <a:pt x="943886" y="862740"/>
                  <a:pt x="940242" y="868206"/>
                  <a:pt x="940242" y="871851"/>
                </a:cubicBezTo>
                <a:cubicBezTo>
                  <a:pt x="942064" y="873673"/>
                  <a:pt x="945709" y="879139"/>
                  <a:pt x="949353" y="873673"/>
                </a:cubicBezTo>
                <a:cubicBezTo>
                  <a:pt x="949353" y="870028"/>
                  <a:pt x="943886" y="870028"/>
                  <a:pt x="943886" y="868206"/>
                </a:cubicBezTo>
                <a:cubicBezTo>
                  <a:pt x="945709" y="870028"/>
                  <a:pt x="949353" y="871851"/>
                  <a:pt x="951175" y="870028"/>
                </a:cubicBezTo>
                <a:cubicBezTo>
                  <a:pt x="954819" y="868206"/>
                  <a:pt x="949353" y="864562"/>
                  <a:pt x="947531" y="862740"/>
                </a:cubicBezTo>
                <a:close/>
                <a:moveTo>
                  <a:pt x="646872" y="862740"/>
                </a:moveTo>
                <a:cubicBezTo>
                  <a:pt x="646872" y="866384"/>
                  <a:pt x="648694" y="868206"/>
                  <a:pt x="652339" y="870028"/>
                </a:cubicBezTo>
                <a:cubicBezTo>
                  <a:pt x="655983" y="866384"/>
                  <a:pt x="648694" y="864562"/>
                  <a:pt x="646872" y="862740"/>
                </a:cubicBezTo>
                <a:close/>
                <a:moveTo>
                  <a:pt x="548475" y="862740"/>
                </a:moveTo>
                <a:cubicBezTo>
                  <a:pt x="544830" y="870028"/>
                  <a:pt x="552119" y="866384"/>
                  <a:pt x="553941" y="868206"/>
                </a:cubicBezTo>
                <a:cubicBezTo>
                  <a:pt x="552119" y="866384"/>
                  <a:pt x="550297" y="862740"/>
                  <a:pt x="548475" y="862740"/>
                </a:cubicBezTo>
                <a:close/>
                <a:moveTo>
                  <a:pt x="532075" y="862740"/>
                </a:moveTo>
                <a:cubicBezTo>
                  <a:pt x="532075" y="866384"/>
                  <a:pt x="532075" y="868206"/>
                  <a:pt x="533897" y="871851"/>
                </a:cubicBezTo>
                <a:cubicBezTo>
                  <a:pt x="535719" y="868206"/>
                  <a:pt x="533897" y="866384"/>
                  <a:pt x="535719" y="864562"/>
                </a:cubicBezTo>
                <a:cubicBezTo>
                  <a:pt x="533897" y="862740"/>
                  <a:pt x="532075" y="862740"/>
                  <a:pt x="532075" y="862740"/>
                </a:cubicBezTo>
                <a:close/>
                <a:moveTo>
                  <a:pt x="433678" y="862740"/>
                </a:moveTo>
                <a:cubicBezTo>
                  <a:pt x="433678" y="866384"/>
                  <a:pt x="439145" y="870028"/>
                  <a:pt x="442789" y="873673"/>
                </a:cubicBezTo>
                <a:cubicBezTo>
                  <a:pt x="446433" y="870028"/>
                  <a:pt x="431856" y="868206"/>
                  <a:pt x="439145" y="864562"/>
                </a:cubicBezTo>
                <a:cubicBezTo>
                  <a:pt x="437322" y="862740"/>
                  <a:pt x="435500" y="866384"/>
                  <a:pt x="433678" y="862740"/>
                </a:cubicBezTo>
                <a:close/>
                <a:moveTo>
                  <a:pt x="235061" y="862740"/>
                </a:moveTo>
                <a:cubicBezTo>
                  <a:pt x="233239" y="864562"/>
                  <a:pt x="233239" y="862740"/>
                  <a:pt x="231416" y="864562"/>
                </a:cubicBezTo>
                <a:cubicBezTo>
                  <a:pt x="235061" y="866384"/>
                  <a:pt x="238705" y="868206"/>
                  <a:pt x="242349" y="871851"/>
                </a:cubicBezTo>
                <a:cubicBezTo>
                  <a:pt x="242349" y="868206"/>
                  <a:pt x="238705" y="866384"/>
                  <a:pt x="235061" y="862740"/>
                </a:cubicBezTo>
                <a:close/>
                <a:moveTo>
                  <a:pt x="140308" y="862740"/>
                </a:moveTo>
                <a:cubicBezTo>
                  <a:pt x="143952" y="866384"/>
                  <a:pt x="147596" y="870028"/>
                  <a:pt x="149419" y="873673"/>
                </a:cubicBezTo>
                <a:cubicBezTo>
                  <a:pt x="151241" y="873673"/>
                  <a:pt x="149419" y="871851"/>
                  <a:pt x="151241" y="870028"/>
                </a:cubicBezTo>
                <a:cubicBezTo>
                  <a:pt x="153063" y="873673"/>
                  <a:pt x="154429" y="877317"/>
                  <a:pt x="156479" y="880051"/>
                </a:cubicBezTo>
                <a:lnTo>
                  <a:pt x="164021" y="883730"/>
                </a:lnTo>
                <a:lnTo>
                  <a:pt x="173107" y="899183"/>
                </a:lnTo>
                <a:lnTo>
                  <a:pt x="167578" y="895037"/>
                </a:lnTo>
                <a:lnTo>
                  <a:pt x="153063" y="879139"/>
                </a:lnTo>
                <a:lnTo>
                  <a:pt x="154233" y="885574"/>
                </a:lnTo>
                <a:lnTo>
                  <a:pt x="149191" y="876406"/>
                </a:lnTo>
                <a:cubicBezTo>
                  <a:pt x="145774" y="872307"/>
                  <a:pt x="142130" y="868207"/>
                  <a:pt x="140308" y="862740"/>
                </a:cubicBezTo>
                <a:close/>
                <a:moveTo>
                  <a:pt x="1177044" y="861255"/>
                </a:moveTo>
                <a:lnTo>
                  <a:pt x="1178947" y="862740"/>
                </a:lnTo>
                <a:lnTo>
                  <a:pt x="1175965" y="865721"/>
                </a:lnTo>
                <a:close/>
                <a:moveTo>
                  <a:pt x="3236181" y="860918"/>
                </a:moveTo>
                <a:cubicBezTo>
                  <a:pt x="3234359" y="860918"/>
                  <a:pt x="3234359" y="862740"/>
                  <a:pt x="3232537" y="862740"/>
                </a:cubicBezTo>
                <a:cubicBezTo>
                  <a:pt x="3232537" y="866384"/>
                  <a:pt x="3234359" y="866384"/>
                  <a:pt x="3238003" y="866384"/>
                </a:cubicBezTo>
                <a:cubicBezTo>
                  <a:pt x="3238003" y="862740"/>
                  <a:pt x="3236181" y="862740"/>
                  <a:pt x="3236181" y="860918"/>
                </a:cubicBezTo>
                <a:close/>
                <a:moveTo>
                  <a:pt x="3143250" y="860918"/>
                </a:moveTo>
                <a:cubicBezTo>
                  <a:pt x="3141428" y="862740"/>
                  <a:pt x="3146895" y="866384"/>
                  <a:pt x="3152361" y="864562"/>
                </a:cubicBezTo>
                <a:cubicBezTo>
                  <a:pt x="3150539" y="862740"/>
                  <a:pt x="3145073" y="864562"/>
                  <a:pt x="3143250" y="860918"/>
                </a:cubicBezTo>
                <a:close/>
                <a:moveTo>
                  <a:pt x="2649441" y="860918"/>
                </a:moveTo>
                <a:cubicBezTo>
                  <a:pt x="2643975" y="866384"/>
                  <a:pt x="2627575" y="873673"/>
                  <a:pt x="2638508" y="880961"/>
                </a:cubicBezTo>
                <a:cubicBezTo>
                  <a:pt x="2633042" y="886428"/>
                  <a:pt x="2631219" y="877317"/>
                  <a:pt x="2631219" y="879139"/>
                </a:cubicBezTo>
                <a:cubicBezTo>
                  <a:pt x="2627575" y="893717"/>
                  <a:pt x="2638508" y="904651"/>
                  <a:pt x="2651263" y="911939"/>
                </a:cubicBezTo>
                <a:cubicBezTo>
                  <a:pt x="2642153" y="921049"/>
                  <a:pt x="2651263" y="928339"/>
                  <a:pt x="2658552" y="931983"/>
                </a:cubicBezTo>
                <a:cubicBezTo>
                  <a:pt x="2658552" y="924695"/>
                  <a:pt x="2664019" y="921049"/>
                  <a:pt x="2660374" y="913761"/>
                </a:cubicBezTo>
                <a:cubicBezTo>
                  <a:pt x="2664019" y="917405"/>
                  <a:pt x="2664019" y="922872"/>
                  <a:pt x="2671307" y="924695"/>
                </a:cubicBezTo>
                <a:cubicBezTo>
                  <a:pt x="2671307" y="924695"/>
                  <a:pt x="2671307" y="922872"/>
                  <a:pt x="2671307" y="922872"/>
                </a:cubicBezTo>
                <a:cubicBezTo>
                  <a:pt x="2669485" y="919227"/>
                  <a:pt x="2667663" y="919227"/>
                  <a:pt x="2673130" y="921049"/>
                </a:cubicBezTo>
                <a:cubicBezTo>
                  <a:pt x="2674952" y="915583"/>
                  <a:pt x="2673130" y="911939"/>
                  <a:pt x="2665841" y="908295"/>
                </a:cubicBezTo>
                <a:lnTo>
                  <a:pt x="2667663" y="906473"/>
                </a:lnTo>
                <a:cubicBezTo>
                  <a:pt x="2658552" y="901005"/>
                  <a:pt x="2651263" y="891894"/>
                  <a:pt x="2640330" y="886428"/>
                </a:cubicBezTo>
                <a:cubicBezTo>
                  <a:pt x="2649441" y="882784"/>
                  <a:pt x="2651263" y="897361"/>
                  <a:pt x="2660374" y="895539"/>
                </a:cubicBezTo>
                <a:cubicBezTo>
                  <a:pt x="2651263" y="884606"/>
                  <a:pt x="2647619" y="873673"/>
                  <a:pt x="2649441" y="860918"/>
                </a:cubicBezTo>
                <a:close/>
                <a:moveTo>
                  <a:pt x="2283184" y="860918"/>
                </a:moveTo>
                <a:cubicBezTo>
                  <a:pt x="2281362" y="862740"/>
                  <a:pt x="2281362" y="862740"/>
                  <a:pt x="2279540" y="864562"/>
                </a:cubicBezTo>
                <a:cubicBezTo>
                  <a:pt x="2277718" y="868206"/>
                  <a:pt x="2281362" y="873673"/>
                  <a:pt x="2281362" y="873673"/>
                </a:cubicBezTo>
                <a:cubicBezTo>
                  <a:pt x="2283184" y="871851"/>
                  <a:pt x="2285007" y="864562"/>
                  <a:pt x="2283184" y="860918"/>
                </a:cubicBezTo>
                <a:close/>
                <a:moveTo>
                  <a:pt x="1259123" y="860918"/>
                </a:moveTo>
                <a:lnTo>
                  <a:pt x="1260021" y="861091"/>
                </a:lnTo>
                <a:lnTo>
                  <a:pt x="1260433" y="861825"/>
                </a:lnTo>
                <a:close/>
                <a:moveTo>
                  <a:pt x="809046" y="860918"/>
                </a:moveTo>
                <a:cubicBezTo>
                  <a:pt x="807223" y="862740"/>
                  <a:pt x="805401" y="860918"/>
                  <a:pt x="803579" y="862740"/>
                </a:cubicBezTo>
                <a:lnTo>
                  <a:pt x="811274" y="862740"/>
                </a:lnTo>
                <a:lnTo>
                  <a:pt x="811551" y="862968"/>
                </a:lnTo>
                <a:lnTo>
                  <a:pt x="811678" y="862740"/>
                </a:lnTo>
                <a:lnTo>
                  <a:pt x="814512" y="862740"/>
                </a:lnTo>
                <a:cubicBezTo>
                  <a:pt x="814512" y="860918"/>
                  <a:pt x="812690" y="860918"/>
                  <a:pt x="812690" y="860918"/>
                </a:cubicBezTo>
                <a:lnTo>
                  <a:pt x="811678" y="862740"/>
                </a:lnTo>
                <a:lnTo>
                  <a:pt x="811274" y="862740"/>
                </a:lnTo>
                <a:close/>
                <a:moveTo>
                  <a:pt x="794468" y="860918"/>
                </a:moveTo>
                <a:cubicBezTo>
                  <a:pt x="792646" y="860918"/>
                  <a:pt x="789003" y="860918"/>
                  <a:pt x="787179" y="864562"/>
                </a:cubicBezTo>
                <a:cubicBezTo>
                  <a:pt x="794468" y="870028"/>
                  <a:pt x="794468" y="862740"/>
                  <a:pt x="794468" y="860918"/>
                </a:cubicBezTo>
                <a:close/>
                <a:moveTo>
                  <a:pt x="770781" y="860918"/>
                </a:moveTo>
                <a:cubicBezTo>
                  <a:pt x="772602" y="866384"/>
                  <a:pt x="781713" y="870028"/>
                  <a:pt x="783535" y="864562"/>
                </a:cubicBezTo>
                <a:cubicBezTo>
                  <a:pt x="779892" y="862740"/>
                  <a:pt x="774424" y="860918"/>
                  <a:pt x="770781" y="860918"/>
                </a:cubicBezTo>
                <a:close/>
                <a:moveTo>
                  <a:pt x="650516" y="860918"/>
                </a:moveTo>
                <a:cubicBezTo>
                  <a:pt x="650516" y="866384"/>
                  <a:pt x="659627" y="870028"/>
                  <a:pt x="663272" y="868206"/>
                </a:cubicBezTo>
                <a:cubicBezTo>
                  <a:pt x="665094" y="864562"/>
                  <a:pt x="654161" y="859095"/>
                  <a:pt x="650516" y="860918"/>
                </a:cubicBezTo>
                <a:close/>
                <a:moveTo>
                  <a:pt x="606784" y="860918"/>
                </a:moveTo>
                <a:cubicBezTo>
                  <a:pt x="604963" y="864562"/>
                  <a:pt x="614074" y="866384"/>
                  <a:pt x="617717" y="868206"/>
                </a:cubicBezTo>
                <a:cubicBezTo>
                  <a:pt x="615895" y="864562"/>
                  <a:pt x="610429" y="864562"/>
                  <a:pt x="606784" y="860918"/>
                </a:cubicBezTo>
                <a:close/>
                <a:moveTo>
                  <a:pt x="501098" y="860918"/>
                </a:moveTo>
                <a:cubicBezTo>
                  <a:pt x="499276" y="862740"/>
                  <a:pt x="504743" y="866384"/>
                  <a:pt x="504743" y="864562"/>
                </a:cubicBezTo>
                <a:cubicBezTo>
                  <a:pt x="506565" y="862740"/>
                  <a:pt x="502920" y="862740"/>
                  <a:pt x="501098" y="860918"/>
                </a:cubicBezTo>
                <a:close/>
                <a:moveTo>
                  <a:pt x="468299" y="860918"/>
                </a:moveTo>
                <a:cubicBezTo>
                  <a:pt x="468299" y="860918"/>
                  <a:pt x="470121" y="860918"/>
                  <a:pt x="470121" y="862740"/>
                </a:cubicBezTo>
                <a:lnTo>
                  <a:pt x="470219" y="862755"/>
                </a:lnTo>
                <a:lnTo>
                  <a:pt x="478776" y="870940"/>
                </a:lnTo>
                <a:cubicBezTo>
                  <a:pt x="483332" y="873218"/>
                  <a:pt x="488343" y="874584"/>
                  <a:pt x="491987" y="875495"/>
                </a:cubicBezTo>
                <a:cubicBezTo>
                  <a:pt x="493809" y="871851"/>
                  <a:pt x="490165" y="867751"/>
                  <a:pt x="485154" y="865018"/>
                </a:cubicBezTo>
                <a:lnTo>
                  <a:pt x="470219" y="862755"/>
                </a:lnTo>
                <a:close/>
                <a:moveTo>
                  <a:pt x="291549" y="860918"/>
                </a:moveTo>
                <a:cubicBezTo>
                  <a:pt x="291549" y="862740"/>
                  <a:pt x="289726" y="866384"/>
                  <a:pt x="295193" y="864562"/>
                </a:cubicBezTo>
                <a:cubicBezTo>
                  <a:pt x="295193" y="862740"/>
                  <a:pt x="293370" y="862740"/>
                  <a:pt x="291549" y="860918"/>
                </a:cubicBezTo>
                <a:close/>
                <a:moveTo>
                  <a:pt x="116619" y="860918"/>
                </a:moveTo>
                <a:cubicBezTo>
                  <a:pt x="120264" y="868206"/>
                  <a:pt x="127552" y="870028"/>
                  <a:pt x="131197" y="873673"/>
                </a:cubicBezTo>
                <a:cubicBezTo>
                  <a:pt x="129375" y="870028"/>
                  <a:pt x="122086" y="866384"/>
                  <a:pt x="116619" y="860918"/>
                </a:cubicBezTo>
                <a:close/>
                <a:moveTo>
                  <a:pt x="587652" y="860690"/>
                </a:moveTo>
                <a:cubicBezTo>
                  <a:pt x="586285" y="860462"/>
                  <a:pt x="584919" y="860918"/>
                  <a:pt x="583096" y="862740"/>
                </a:cubicBezTo>
                <a:cubicBezTo>
                  <a:pt x="586741" y="864562"/>
                  <a:pt x="584919" y="866384"/>
                  <a:pt x="588562" y="868206"/>
                </a:cubicBezTo>
                <a:cubicBezTo>
                  <a:pt x="592207" y="866384"/>
                  <a:pt x="588562" y="864562"/>
                  <a:pt x="592207" y="862740"/>
                </a:cubicBezTo>
                <a:cubicBezTo>
                  <a:pt x="590385" y="861829"/>
                  <a:pt x="589018" y="860918"/>
                  <a:pt x="587652" y="860690"/>
                </a:cubicBezTo>
                <a:close/>
                <a:moveTo>
                  <a:pt x="3194271" y="859095"/>
                </a:moveTo>
                <a:cubicBezTo>
                  <a:pt x="3194271" y="860918"/>
                  <a:pt x="3194271" y="860918"/>
                  <a:pt x="3192449" y="860918"/>
                </a:cubicBezTo>
                <a:cubicBezTo>
                  <a:pt x="3197916" y="862740"/>
                  <a:pt x="3199738" y="860918"/>
                  <a:pt x="3205204" y="860918"/>
                </a:cubicBezTo>
                <a:cubicBezTo>
                  <a:pt x="3203382" y="859095"/>
                  <a:pt x="3199738" y="859095"/>
                  <a:pt x="3194271" y="859095"/>
                </a:cubicBezTo>
                <a:close/>
                <a:moveTo>
                  <a:pt x="2554688" y="859095"/>
                </a:moveTo>
                <a:cubicBezTo>
                  <a:pt x="2545577" y="857273"/>
                  <a:pt x="2545577" y="864562"/>
                  <a:pt x="2545577" y="871851"/>
                </a:cubicBezTo>
                <a:cubicBezTo>
                  <a:pt x="2551044" y="871851"/>
                  <a:pt x="2556510" y="866384"/>
                  <a:pt x="2561977" y="870028"/>
                </a:cubicBezTo>
                <a:cubicBezTo>
                  <a:pt x="2561977" y="868206"/>
                  <a:pt x="2561977" y="866384"/>
                  <a:pt x="2561977" y="864562"/>
                </a:cubicBezTo>
                <a:cubicBezTo>
                  <a:pt x="2558332" y="868206"/>
                  <a:pt x="2554688" y="868206"/>
                  <a:pt x="2554688" y="859095"/>
                </a:cubicBezTo>
                <a:close/>
                <a:moveTo>
                  <a:pt x="1452273" y="859095"/>
                </a:moveTo>
                <a:cubicBezTo>
                  <a:pt x="1448629" y="862740"/>
                  <a:pt x="1446806" y="862740"/>
                  <a:pt x="1443162" y="866384"/>
                </a:cubicBezTo>
                <a:lnTo>
                  <a:pt x="1441947" y="865170"/>
                </a:lnTo>
                <a:lnTo>
                  <a:pt x="1445895" y="863196"/>
                </a:lnTo>
                <a:lnTo>
                  <a:pt x="1448157" y="859353"/>
                </a:lnTo>
                <a:close/>
                <a:moveTo>
                  <a:pt x="1277344" y="859095"/>
                </a:moveTo>
                <a:cubicBezTo>
                  <a:pt x="1275522" y="859095"/>
                  <a:pt x="1275522" y="860918"/>
                  <a:pt x="1275522" y="860918"/>
                </a:cubicBezTo>
                <a:cubicBezTo>
                  <a:pt x="1277344" y="860918"/>
                  <a:pt x="1277344" y="864562"/>
                  <a:pt x="1280989" y="864562"/>
                </a:cubicBezTo>
                <a:cubicBezTo>
                  <a:pt x="1280989" y="860918"/>
                  <a:pt x="1277344" y="862740"/>
                  <a:pt x="1277344" y="859095"/>
                </a:cubicBezTo>
                <a:close/>
                <a:moveTo>
                  <a:pt x="847311" y="859095"/>
                </a:moveTo>
                <a:cubicBezTo>
                  <a:pt x="843667" y="859095"/>
                  <a:pt x="847311" y="862740"/>
                  <a:pt x="850956" y="862740"/>
                </a:cubicBezTo>
                <a:cubicBezTo>
                  <a:pt x="854600" y="860918"/>
                  <a:pt x="849133" y="860918"/>
                  <a:pt x="847311" y="859095"/>
                </a:cubicBezTo>
                <a:close/>
                <a:moveTo>
                  <a:pt x="725226" y="859095"/>
                </a:moveTo>
                <a:cubicBezTo>
                  <a:pt x="721581" y="859095"/>
                  <a:pt x="721581" y="860918"/>
                  <a:pt x="723404" y="864562"/>
                </a:cubicBezTo>
                <a:cubicBezTo>
                  <a:pt x="727048" y="864562"/>
                  <a:pt x="727048" y="862740"/>
                  <a:pt x="728870" y="860918"/>
                </a:cubicBezTo>
                <a:cubicBezTo>
                  <a:pt x="727048" y="859095"/>
                  <a:pt x="727048" y="859095"/>
                  <a:pt x="725226" y="859095"/>
                </a:cubicBezTo>
                <a:close/>
                <a:moveTo>
                  <a:pt x="189506" y="859095"/>
                </a:moveTo>
                <a:cubicBezTo>
                  <a:pt x="189506" y="864562"/>
                  <a:pt x="200439" y="871851"/>
                  <a:pt x="204084" y="875495"/>
                </a:cubicBezTo>
                <a:cubicBezTo>
                  <a:pt x="204084" y="870028"/>
                  <a:pt x="194973" y="866384"/>
                  <a:pt x="189506" y="859095"/>
                </a:cubicBezTo>
                <a:close/>
                <a:moveTo>
                  <a:pt x="830911" y="858868"/>
                </a:moveTo>
                <a:cubicBezTo>
                  <a:pt x="829089" y="859096"/>
                  <a:pt x="827267" y="860007"/>
                  <a:pt x="825445" y="862740"/>
                </a:cubicBezTo>
                <a:cubicBezTo>
                  <a:pt x="829089" y="862740"/>
                  <a:pt x="832734" y="866384"/>
                  <a:pt x="836378" y="862740"/>
                </a:cubicBezTo>
                <a:cubicBezTo>
                  <a:pt x="834556" y="860918"/>
                  <a:pt x="836378" y="860918"/>
                  <a:pt x="836378" y="859095"/>
                </a:cubicBezTo>
                <a:cubicBezTo>
                  <a:pt x="834556" y="859095"/>
                  <a:pt x="832734" y="858640"/>
                  <a:pt x="830911" y="858868"/>
                </a:cubicBezTo>
                <a:close/>
                <a:moveTo>
                  <a:pt x="907444" y="858640"/>
                </a:moveTo>
                <a:cubicBezTo>
                  <a:pt x="905621" y="856363"/>
                  <a:pt x="902887" y="855451"/>
                  <a:pt x="898333" y="859095"/>
                </a:cubicBezTo>
                <a:cubicBezTo>
                  <a:pt x="900154" y="862740"/>
                  <a:pt x="907444" y="862740"/>
                  <a:pt x="911087" y="866384"/>
                </a:cubicBezTo>
                <a:cubicBezTo>
                  <a:pt x="910176" y="864562"/>
                  <a:pt x="909265" y="860918"/>
                  <a:pt x="907444" y="858640"/>
                </a:cubicBezTo>
                <a:close/>
                <a:moveTo>
                  <a:pt x="3486732" y="858531"/>
                </a:moveTo>
                <a:lnTo>
                  <a:pt x="3488781" y="860690"/>
                </a:lnTo>
                <a:cubicBezTo>
                  <a:pt x="3489008" y="866385"/>
                  <a:pt x="3486731" y="872762"/>
                  <a:pt x="3482175" y="873673"/>
                </a:cubicBezTo>
                <a:lnTo>
                  <a:pt x="3471998" y="875935"/>
                </a:lnTo>
                <a:lnTo>
                  <a:pt x="3469419" y="875495"/>
                </a:lnTo>
                <a:cubicBezTo>
                  <a:pt x="3467597" y="875495"/>
                  <a:pt x="3467597" y="871851"/>
                  <a:pt x="3462131" y="871851"/>
                </a:cubicBezTo>
                <a:cubicBezTo>
                  <a:pt x="3469419" y="866384"/>
                  <a:pt x="3478530" y="873673"/>
                  <a:pt x="3482175" y="866384"/>
                </a:cubicBezTo>
                <a:cubicBezTo>
                  <a:pt x="3483086" y="864562"/>
                  <a:pt x="3484908" y="861829"/>
                  <a:pt x="3486503" y="859096"/>
                </a:cubicBezTo>
                <a:close/>
                <a:moveTo>
                  <a:pt x="1347353" y="858213"/>
                </a:moveTo>
                <a:lnTo>
                  <a:pt x="1342942" y="862740"/>
                </a:lnTo>
                <a:lnTo>
                  <a:pt x="1334098" y="866044"/>
                </a:lnTo>
                <a:lnTo>
                  <a:pt x="1342942" y="859095"/>
                </a:lnTo>
                <a:close/>
                <a:moveTo>
                  <a:pt x="3349840" y="857957"/>
                </a:moveTo>
                <a:cubicBezTo>
                  <a:pt x="3348245" y="857729"/>
                  <a:pt x="3346423" y="858184"/>
                  <a:pt x="3345512" y="859095"/>
                </a:cubicBezTo>
                <a:cubicBezTo>
                  <a:pt x="3345512" y="860918"/>
                  <a:pt x="3349156" y="860918"/>
                  <a:pt x="3352800" y="860918"/>
                </a:cubicBezTo>
                <a:cubicBezTo>
                  <a:pt x="3352800" y="859096"/>
                  <a:pt x="3351434" y="858185"/>
                  <a:pt x="3349840" y="857957"/>
                </a:cubicBezTo>
                <a:close/>
                <a:moveTo>
                  <a:pt x="2476335" y="857273"/>
                </a:moveTo>
                <a:cubicBezTo>
                  <a:pt x="2472690" y="859095"/>
                  <a:pt x="2474513" y="866384"/>
                  <a:pt x="2478157" y="864562"/>
                </a:cubicBezTo>
                <a:cubicBezTo>
                  <a:pt x="2478157" y="860918"/>
                  <a:pt x="2476335" y="862740"/>
                  <a:pt x="2476335" y="857273"/>
                </a:cubicBezTo>
                <a:close/>
                <a:moveTo>
                  <a:pt x="860066" y="857273"/>
                </a:moveTo>
                <a:cubicBezTo>
                  <a:pt x="854600" y="855451"/>
                  <a:pt x="852778" y="860918"/>
                  <a:pt x="858244" y="860918"/>
                </a:cubicBezTo>
                <a:cubicBezTo>
                  <a:pt x="861889" y="859095"/>
                  <a:pt x="856422" y="859095"/>
                  <a:pt x="860066" y="857273"/>
                </a:cubicBezTo>
                <a:close/>
                <a:moveTo>
                  <a:pt x="750737" y="857273"/>
                </a:moveTo>
                <a:cubicBezTo>
                  <a:pt x="747092" y="859095"/>
                  <a:pt x="748914" y="859095"/>
                  <a:pt x="747092" y="860918"/>
                </a:cubicBezTo>
                <a:cubicBezTo>
                  <a:pt x="748914" y="862740"/>
                  <a:pt x="750737" y="860918"/>
                  <a:pt x="752558" y="862740"/>
                </a:cubicBezTo>
                <a:cubicBezTo>
                  <a:pt x="752558" y="859095"/>
                  <a:pt x="750737" y="860918"/>
                  <a:pt x="750737" y="857273"/>
                </a:cubicBezTo>
                <a:close/>
                <a:moveTo>
                  <a:pt x="555763" y="857273"/>
                </a:moveTo>
                <a:cubicBezTo>
                  <a:pt x="552119" y="859095"/>
                  <a:pt x="557586" y="862740"/>
                  <a:pt x="559408" y="860918"/>
                </a:cubicBezTo>
                <a:cubicBezTo>
                  <a:pt x="559408" y="860918"/>
                  <a:pt x="555763" y="859095"/>
                  <a:pt x="555763" y="857273"/>
                </a:cubicBezTo>
                <a:close/>
                <a:moveTo>
                  <a:pt x="1348763" y="856767"/>
                </a:moveTo>
                <a:lnTo>
                  <a:pt x="1352053" y="857273"/>
                </a:lnTo>
                <a:lnTo>
                  <a:pt x="1347353" y="858213"/>
                </a:lnTo>
                <a:close/>
                <a:moveTo>
                  <a:pt x="3411110" y="855451"/>
                </a:moveTo>
                <a:lnTo>
                  <a:pt x="3411997" y="855747"/>
                </a:lnTo>
                <a:lnTo>
                  <a:pt x="3411054" y="855808"/>
                </a:lnTo>
                <a:close/>
                <a:moveTo>
                  <a:pt x="2257674" y="855451"/>
                </a:moveTo>
                <a:cubicBezTo>
                  <a:pt x="2254030" y="855451"/>
                  <a:pt x="2255852" y="864562"/>
                  <a:pt x="2254030" y="870028"/>
                </a:cubicBezTo>
                <a:cubicBezTo>
                  <a:pt x="2255852" y="870028"/>
                  <a:pt x="2255852" y="871851"/>
                  <a:pt x="2259496" y="871851"/>
                </a:cubicBezTo>
                <a:cubicBezTo>
                  <a:pt x="2259496" y="871851"/>
                  <a:pt x="2259496" y="870028"/>
                  <a:pt x="2259496" y="868206"/>
                </a:cubicBezTo>
                <a:cubicBezTo>
                  <a:pt x="2259496" y="875495"/>
                  <a:pt x="2270429" y="871851"/>
                  <a:pt x="2275896" y="873673"/>
                </a:cubicBezTo>
                <a:cubicBezTo>
                  <a:pt x="2275896" y="870028"/>
                  <a:pt x="2272251" y="871851"/>
                  <a:pt x="2272251" y="868206"/>
                </a:cubicBezTo>
                <a:cubicBezTo>
                  <a:pt x="2272251" y="866384"/>
                  <a:pt x="2270429" y="866384"/>
                  <a:pt x="2270429" y="866384"/>
                </a:cubicBezTo>
                <a:cubicBezTo>
                  <a:pt x="2268607" y="868206"/>
                  <a:pt x="2264963" y="866384"/>
                  <a:pt x="2264963" y="871851"/>
                </a:cubicBezTo>
                <a:cubicBezTo>
                  <a:pt x="2263140" y="870028"/>
                  <a:pt x="2264963" y="866384"/>
                  <a:pt x="2264963" y="862740"/>
                </a:cubicBezTo>
                <a:cubicBezTo>
                  <a:pt x="2261318" y="860918"/>
                  <a:pt x="2263140" y="860918"/>
                  <a:pt x="2264963" y="857273"/>
                </a:cubicBezTo>
                <a:cubicBezTo>
                  <a:pt x="2263140" y="857273"/>
                  <a:pt x="2259496" y="857273"/>
                  <a:pt x="2257674" y="855451"/>
                </a:cubicBezTo>
                <a:close/>
                <a:moveTo>
                  <a:pt x="2250385" y="855451"/>
                </a:moveTo>
                <a:cubicBezTo>
                  <a:pt x="2230341" y="862740"/>
                  <a:pt x="2246741" y="877317"/>
                  <a:pt x="2204831" y="880961"/>
                </a:cubicBezTo>
                <a:cubicBezTo>
                  <a:pt x="2203009" y="884606"/>
                  <a:pt x="2199364" y="888250"/>
                  <a:pt x="2197542" y="893717"/>
                </a:cubicBezTo>
                <a:cubicBezTo>
                  <a:pt x="2195720" y="893717"/>
                  <a:pt x="2193898" y="893717"/>
                  <a:pt x="2192076" y="893717"/>
                </a:cubicBezTo>
                <a:cubicBezTo>
                  <a:pt x="2188431" y="904651"/>
                  <a:pt x="2179320" y="915583"/>
                  <a:pt x="2186609" y="926516"/>
                </a:cubicBezTo>
                <a:cubicBezTo>
                  <a:pt x="2186609" y="926516"/>
                  <a:pt x="2188431" y="921049"/>
                  <a:pt x="2190253" y="921049"/>
                </a:cubicBezTo>
                <a:cubicBezTo>
                  <a:pt x="2193898" y="922872"/>
                  <a:pt x="2193898" y="928339"/>
                  <a:pt x="2195720" y="928339"/>
                </a:cubicBezTo>
                <a:cubicBezTo>
                  <a:pt x="2206653" y="926516"/>
                  <a:pt x="2208475" y="921049"/>
                  <a:pt x="2210297" y="913761"/>
                </a:cubicBezTo>
                <a:cubicBezTo>
                  <a:pt x="2210297" y="915583"/>
                  <a:pt x="2210297" y="915583"/>
                  <a:pt x="2210297" y="915583"/>
                </a:cubicBezTo>
                <a:cubicBezTo>
                  <a:pt x="2221230" y="921049"/>
                  <a:pt x="2228519" y="919227"/>
                  <a:pt x="2232163" y="908295"/>
                </a:cubicBezTo>
                <a:cubicBezTo>
                  <a:pt x="2233986" y="906473"/>
                  <a:pt x="2232163" y="901005"/>
                  <a:pt x="2232163" y="897361"/>
                </a:cubicBezTo>
                <a:cubicBezTo>
                  <a:pt x="2237630" y="901005"/>
                  <a:pt x="2241274" y="904651"/>
                  <a:pt x="2237630" y="911939"/>
                </a:cubicBezTo>
                <a:cubicBezTo>
                  <a:pt x="2235808" y="911939"/>
                  <a:pt x="2233986" y="913761"/>
                  <a:pt x="2232163" y="913761"/>
                </a:cubicBezTo>
                <a:cubicBezTo>
                  <a:pt x="2228519" y="917405"/>
                  <a:pt x="2232163" y="921049"/>
                  <a:pt x="2233986" y="924695"/>
                </a:cubicBezTo>
                <a:cubicBezTo>
                  <a:pt x="2235808" y="922872"/>
                  <a:pt x="2233986" y="921049"/>
                  <a:pt x="2235808" y="917405"/>
                </a:cubicBezTo>
                <a:cubicBezTo>
                  <a:pt x="2246741" y="921049"/>
                  <a:pt x="2254030" y="901005"/>
                  <a:pt x="2257674" y="910117"/>
                </a:cubicBezTo>
                <a:cubicBezTo>
                  <a:pt x="2255852" y="908295"/>
                  <a:pt x="2255852" y="908295"/>
                  <a:pt x="2254030" y="910117"/>
                </a:cubicBezTo>
                <a:cubicBezTo>
                  <a:pt x="2252207" y="911939"/>
                  <a:pt x="2254030" y="913761"/>
                  <a:pt x="2255852" y="913761"/>
                </a:cubicBezTo>
                <a:cubicBezTo>
                  <a:pt x="2254030" y="913761"/>
                  <a:pt x="2252207" y="917405"/>
                  <a:pt x="2250385" y="915583"/>
                </a:cubicBezTo>
                <a:cubicBezTo>
                  <a:pt x="2250385" y="915583"/>
                  <a:pt x="2250385" y="915583"/>
                  <a:pt x="2250385" y="913761"/>
                </a:cubicBezTo>
                <a:cubicBezTo>
                  <a:pt x="2241274" y="915583"/>
                  <a:pt x="2237630" y="926516"/>
                  <a:pt x="2243096" y="930160"/>
                </a:cubicBezTo>
                <a:cubicBezTo>
                  <a:pt x="2254030" y="935628"/>
                  <a:pt x="2261318" y="922872"/>
                  <a:pt x="2270429" y="915583"/>
                </a:cubicBezTo>
                <a:cubicBezTo>
                  <a:pt x="2272251" y="921049"/>
                  <a:pt x="2263140" y="928339"/>
                  <a:pt x="2268607" y="935628"/>
                </a:cubicBezTo>
                <a:cubicBezTo>
                  <a:pt x="2271341" y="933805"/>
                  <a:pt x="2274530" y="933349"/>
                  <a:pt x="2276807" y="932210"/>
                </a:cubicBezTo>
                <a:lnTo>
                  <a:pt x="2279412" y="925047"/>
                </a:lnTo>
                <a:lnTo>
                  <a:pt x="2281362" y="930160"/>
                </a:lnTo>
                <a:cubicBezTo>
                  <a:pt x="2285007" y="931983"/>
                  <a:pt x="2292295" y="922872"/>
                  <a:pt x="2297762" y="922872"/>
                </a:cubicBezTo>
                <a:cubicBezTo>
                  <a:pt x="2299584" y="922872"/>
                  <a:pt x="2297762" y="930160"/>
                  <a:pt x="2295940" y="931983"/>
                </a:cubicBezTo>
                <a:cubicBezTo>
                  <a:pt x="2292295" y="922872"/>
                  <a:pt x="2283184" y="930160"/>
                  <a:pt x="2279540" y="933804"/>
                </a:cubicBezTo>
                <a:cubicBezTo>
                  <a:pt x="2279540" y="935628"/>
                  <a:pt x="2277718" y="939272"/>
                  <a:pt x="2277718" y="941094"/>
                </a:cubicBezTo>
                <a:cubicBezTo>
                  <a:pt x="2283184" y="939272"/>
                  <a:pt x="2290473" y="930160"/>
                  <a:pt x="2292295" y="939272"/>
                </a:cubicBezTo>
                <a:cubicBezTo>
                  <a:pt x="2294117" y="939272"/>
                  <a:pt x="2288651" y="941094"/>
                  <a:pt x="2286829" y="941094"/>
                </a:cubicBezTo>
                <a:cubicBezTo>
                  <a:pt x="2283184" y="944738"/>
                  <a:pt x="2288651" y="941094"/>
                  <a:pt x="2290473" y="942916"/>
                </a:cubicBezTo>
                <a:cubicBezTo>
                  <a:pt x="2290473" y="944738"/>
                  <a:pt x="2288651" y="946560"/>
                  <a:pt x="2286829" y="946560"/>
                </a:cubicBezTo>
                <a:cubicBezTo>
                  <a:pt x="2288651" y="950204"/>
                  <a:pt x="2290473" y="953848"/>
                  <a:pt x="2292295" y="952026"/>
                </a:cubicBezTo>
                <a:cubicBezTo>
                  <a:pt x="2295940" y="946560"/>
                  <a:pt x="2299584" y="946560"/>
                  <a:pt x="2292295" y="941094"/>
                </a:cubicBezTo>
                <a:cubicBezTo>
                  <a:pt x="2294117" y="941094"/>
                  <a:pt x="2294117" y="935628"/>
                  <a:pt x="2295940" y="935628"/>
                </a:cubicBezTo>
                <a:cubicBezTo>
                  <a:pt x="2299584" y="939272"/>
                  <a:pt x="2305050" y="941094"/>
                  <a:pt x="2308695" y="937450"/>
                </a:cubicBezTo>
                <a:cubicBezTo>
                  <a:pt x="2314161" y="935628"/>
                  <a:pt x="2312339" y="928339"/>
                  <a:pt x="2312339" y="921049"/>
                </a:cubicBezTo>
                <a:cubicBezTo>
                  <a:pt x="2312339" y="919227"/>
                  <a:pt x="2315983" y="922872"/>
                  <a:pt x="2314161" y="921049"/>
                </a:cubicBezTo>
                <a:cubicBezTo>
                  <a:pt x="2312339" y="915583"/>
                  <a:pt x="2299584" y="917405"/>
                  <a:pt x="2297762" y="910117"/>
                </a:cubicBezTo>
                <a:cubicBezTo>
                  <a:pt x="2290929" y="915583"/>
                  <a:pt x="2279996" y="917975"/>
                  <a:pt x="2278800" y="923441"/>
                </a:cubicBezTo>
                <a:lnTo>
                  <a:pt x="2279250" y="924622"/>
                </a:lnTo>
                <a:lnTo>
                  <a:pt x="2272251" y="922872"/>
                </a:lnTo>
                <a:cubicBezTo>
                  <a:pt x="2272251" y="919227"/>
                  <a:pt x="2275896" y="917405"/>
                  <a:pt x="2274074" y="915583"/>
                </a:cubicBezTo>
                <a:cubicBezTo>
                  <a:pt x="2279540" y="917405"/>
                  <a:pt x="2288651" y="915583"/>
                  <a:pt x="2290473" y="908295"/>
                </a:cubicBezTo>
                <a:cubicBezTo>
                  <a:pt x="2290473" y="906473"/>
                  <a:pt x="2286829" y="902827"/>
                  <a:pt x="2288651" y="899183"/>
                </a:cubicBezTo>
                <a:cubicBezTo>
                  <a:pt x="2286829" y="899183"/>
                  <a:pt x="2285007" y="899183"/>
                  <a:pt x="2283184" y="901005"/>
                </a:cubicBezTo>
                <a:cubicBezTo>
                  <a:pt x="2286829" y="893717"/>
                  <a:pt x="2288651" y="888250"/>
                  <a:pt x="2281362" y="886428"/>
                </a:cubicBezTo>
                <a:cubicBezTo>
                  <a:pt x="2279540" y="886428"/>
                  <a:pt x="2275896" y="890072"/>
                  <a:pt x="2274074" y="893717"/>
                </a:cubicBezTo>
                <a:cubicBezTo>
                  <a:pt x="2268607" y="891894"/>
                  <a:pt x="2270429" y="888250"/>
                  <a:pt x="2272251" y="884606"/>
                </a:cubicBezTo>
                <a:cubicBezTo>
                  <a:pt x="2274074" y="886428"/>
                  <a:pt x="2274074" y="886428"/>
                  <a:pt x="2274074" y="888250"/>
                </a:cubicBezTo>
                <a:cubicBezTo>
                  <a:pt x="2277718" y="888250"/>
                  <a:pt x="2274074" y="882784"/>
                  <a:pt x="2275896" y="880961"/>
                </a:cubicBezTo>
                <a:cubicBezTo>
                  <a:pt x="2272251" y="882784"/>
                  <a:pt x="2266785" y="879139"/>
                  <a:pt x="2263140" y="880961"/>
                </a:cubicBezTo>
                <a:cubicBezTo>
                  <a:pt x="2264963" y="875495"/>
                  <a:pt x="2272251" y="879139"/>
                  <a:pt x="2275896" y="879139"/>
                </a:cubicBezTo>
                <a:cubicBezTo>
                  <a:pt x="2261318" y="871851"/>
                  <a:pt x="2243096" y="870028"/>
                  <a:pt x="2241274" y="890072"/>
                </a:cubicBezTo>
                <a:cubicBezTo>
                  <a:pt x="2239452" y="884606"/>
                  <a:pt x="2237630" y="877317"/>
                  <a:pt x="2241274" y="873673"/>
                </a:cubicBezTo>
                <a:cubicBezTo>
                  <a:pt x="2241274" y="877317"/>
                  <a:pt x="2243096" y="879139"/>
                  <a:pt x="2244919" y="879139"/>
                </a:cubicBezTo>
                <a:cubicBezTo>
                  <a:pt x="2255852" y="873673"/>
                  <a:pt x="2252207" y="862740"/>
                  <a:pt x="2250385" y="855451"/>
                </a:cubicBezTo>
                <a:close/>
                <a:moveTo>
                  <a:pt x="1475961" y="855451"/>
                </a:moveTo>
                <a:cubicBezTo>
                  <a:pt x="1475961" y="857273"/>
                  <a:pt x="1472317" y="857273"/>
                  <a:pt x="1474139" y="859095"/>
                </a:cubicBezTo>
                <a:cubicBezTo>
                  <a:pt x="1477784" y="859095"/>
                  <a:pt x="1479606" y="851807"/>
                  <a:pt x="1483250" y="855451"/>
                </a:cubicBezTo>
                <a:cubicBezTo>
                  <a:pt x="1475961" y="859095"/>
                  <a:pt x="1466850" y="866384"/>
                  <a:pt x="1465028" y="871851"/>
                </a:cubicBezTo>
                <a:cubicBezTo>
                  <a:pt x="1457739" y="873673"/>
                  <a:pt x="1448629" y="879139"/>
                  <a:pt x="1443162" y="886428"/>
                </a:cubicBezTo>
                <a:cubicBezTo>
                  <a:pt x="1444984" y="888250"/>
                  <a:pt x="1454095" y="880961"/>
                  <a:pt x="1450451" y="886428"/>
                </a:cubicBezTo>
                <a:cubicBezTo>
                  <a:pt x="1457739" y="882784"/>
                  <a:pt x="1470495" y="884606"/>
                  <a:pt x="1474139" y="877317"/>
                </a:cubicBezTo>
                <a:cubicBezTo>
                  <a:pt x="1472317" y="880961"/>
                  <a:pt x="1477784" y="879139"/>
                  <a:pt x="1475961" y="880961"/>
                </a:cubicBezTo>
                <a:cubicBezTo>
                  <a:pt x="1466850" y="883695"/>
                  <a:pt x="1458650" y="885973"/>
                  <a:pt x="1450451" y="887112"/>
                </a:cubicBezTo>
                <a:lnTo>
                  <a:pt x="1434727" y="886691"/>
                </a:lnTo>
                <a:lnTo>
                  <a:pt x="1435873" y="880961"/>
                </a:lnTo>
                <a:lnTo>
                  <a:pt x="1427567" y="886499"/>
                </a:lnTo>
                <a:lnTo>
                  <a:pt x="1424940" y="886428"/>
                </a:lnTo>
                <a:lnTo>
                  <a:pt x="1426033" y="887522"/>
                </a:lnTo>
                <a:lnTo>
                  <a:pt x="1425198" y="888079"/>
                </a:lnTo>
                <a:lnTo>
                  <a:pt x="1412415" y="871811"/>
                </a:lnTo>
                <a:lnTo>
                  <a:pt x="1415829" y="873673"/>
                </a:lnTo>
                <a:cubicBezTo>
                  <a:pt x="1419474" y="877317"/>
                  <a:pt x="1419474" y="880961"/>
                  <a:pt x="1423118" y="882784"/>
                </a:cubicBezTo>
                <a:cubicBezTo>
                  <a:pt x="1426763" y="882784"/>
                  <a:pt x="1435873" y="875495"/>
                  <a:pt x="1441340" y="873673"/>
                </a:cubicBezTo>
                <a:cubicBezTo>
                  <a:pt x="1437696" y="871851"/>
                  <a:pt x="1437696" y="868206"/>
                  <a:pt x="1441340" y="868206"/>
                </a:cubicBezTo>
                <a:cubicBezTo>
                  <a:pt x="1439518" y="870028"/>
                  <a:pt x="1441340" y="871851"/>
                  <a:pt x="1443162" y="873673"/>
                </a:cubicBezTo>
                <a:cubicBezTo>
                  <a:pt x="1441340" y="877317"/>
                  <a:pt x="1435873" y="879139"/>
                  <a:pt x="1439518" y="884606"/>
                </a:cubicBezTo>
                <a:cubicBezTo>
                  <a:pt x="1450451" y="877317"/>
                  <a:pt x="1461384" y="870028"/>
                  <a:pt x="1468673" y="860918"/>
                </a:cubicBezTo>
                <a:cubicBezTo>
                  <a:pt x="1470495" y="859095"/>
                  <a:pt x="1472317" y="855451"/>
                  <a:pt x="1475961" y="855451"/>
                </a:cubicBezTo>
                <a:close/>
                <a:moveTo>
                  <a:pt x="1014951" y="855451"/>
                </a:moveTo>
                <a:cubicBezTo>
                  <a:pt x="1013129" y="857273"/>
                  <a:pt x="1016774" y="860918"/>
                  <a:pt x="1018596" y="862740"/>
                </a:cubicBezTo>
                <a:cubicBezTo>
                  <a:pt x="1022240" y="860918"/>
                  <a:pt x="1016774" y="857273"/>
                  <a:pt x="1014951" y="855451"/>
                </a:cubicBezTo>
                <a:close/>
                <a:moveTo>
                  <a:pt x="1000374" y="855451"/>
                </a:moveTo>
                <a:cubicBezTo>
                  <a:pt x="993085" y="857273"/>
                  <a:pt x="987619" y="853629"/>
                  <a:pt x="980330" y="857273"/>
                </a:cubicBezTo>
                <a:cubicBezTo>
                  <a:pt x="982152" y="859095"/>
                  <a:pt x="985796" y="860918"/>
                  <a:pt x="982152" y="864562"/>
                </a:cubicBezTo>
                <a:cubicBezTo>
                  <a:pt x="983974" y="864562"/>
                  <a:pt x="983974" y="866384"/>
                  <a:pt x="985796" y="868206"/>
                </a:cubicBezTo>
                <a:cubicBezTo>
                  <a:pt x="985796" y="866384"/>
                  <a:pt x="989441" y="866384"/>
                  <a:pt x="987619" y="864562"/>
                </a:cubicBezTo>
                <a:cubicBezTo>
                  <a:pt x="989441" y="864562"/>
                  <a:pt x="987619" y="868206"/>
                  <a:pt x="987619" y="868206"/>
                </a:cubicBezTo>
                <a:cubicBezTo>
                  <a:pt x="991263" y="870028"/>
                  <a:pt x="993085" y="871851"/>
                  <a:pt x="996729" y="870028"/>
                </a:cubicBezTo>
                <a:cubicBezTo>
                  <a:pt x="996729" y="870028"/>
                  <a:pt x="1000374" y="871851"/>
                  <a:pt x="998552" y="873673"/>
                </a:cubicBezTo>
                <a:cubicBezTo>
                  <a:pt x="993085" y="871851"/>
                  <a:pt x="989441" y="870028"/>
                  <a:pt x="983974" y="871851"/>
                </a:cubicBezTo>
                <a:cubicBezTo>
                  <a:pt x="980330" y="862740"/>
                  <a:pt x="965753" y="860918"/>
                  <a:pt x="971219" y="871851"/>
                </a:cubicBezTo>
                <a:cubicBezTo>
                  <a:pt x="969397" y="871851"/>
                  <a:pt x="969397" y="873673"/>
                  <a:pt x="967575" y="871851"/>
                </a:cubicBezTo>
                <a:cubicBezTo>
                  <a:pt x="960286" y="888250"/>
                  <a:pt x="960286" y="902827"/>
                  <a:pt x="956642" y="919227"/>
                </a:cubicBezTo>
                <a:cubicBezTo>
                  <a:pt x="958464" y="921049"/>
                  <a:pt x="960286" y="922872"/>
                  <a:pt x="962108" y="922872"/>
                </a:cubicBezTo>
                <a:cubicBezTo>
                  <a:pt x="958464" y="935628"/>
                  <a:pt x="965753" y="944738"/>
                  <a:pt x="973041" y="955672"/>
                </a:cubicBezTo>
                <a:cubicBezTo>
                  <a:pt x="971219" y="959316"/>
                  <a:pt x="973041" y="962960"/>
                  <a:pt x="974863" y="966604"/>
                </a:cubicBezTo>
                <a:cubicBezTo>
                  <a:pt x="976686" y="964782"/>
                  <a:pt x="982152" y="962960"/>
                  <a:pt x="978508" y="959316"/>
                </a:cubicBezTo>
                <a:cubicBezTo>
                  <a:pt x="980330" y="959316"/>
                  <a:pt x="980330" y="961138"/>
                  <a:pt x="982152" y="961138"/>
                </a:cubicBezTo>
                <a:lnTo>
                  <a:pt x="983974" y="959316"/>
                </a:lnTo>
                <a:lnTo>
                  <a:pt x="980330" y="964782"/>
                </a:lnTo>
                <a:lnTo>
                  <a:pt x="982152" y="965693"/>
                </a:lnTo>
                <a:lnTo>
                  <a:pt x="978508" y="964782"/>
                </a:lnTo>
                <a:cubicBezTo>
                  <a:pt x="973041" y="972071"/>
                  <a:pt x="976686" y="979360"/>
                  <a:pt x="978508" y="988471"/>
                </a:cubicBezTo>
                <a:cubicBezTo>
                  <a:pt x="982152" y="983004"/>
                  <a:pt x="983974" y="973893"/>
                  <a:pt x="985796" y="966604"/>
                </a:cubicBezTo>
                <a:lnTo>
                  <a:pt x="983366" y="965997"/>
                </a:lnTo>
                <a:lnTo>
                  <a:pt x="982152" y="964782"/>
                </a:lnTo>
                <a:cubicBezTo>
                  <a:pt x="983974" y="964782"/>
                  <a:pt x="985796" y="964782"/>
                  <a:pt x="985796" y="964782"/>
                </a:cubicBezTo>
                <a:lnTo>
                  <a:pt x="983974" y="959316"/>
                </a:lnTo>
                <a:lnTo>
                  <a:pt x="985796" y="957494"/>
                </a:lnTo>
                <a:cubicBezTo>
                  <a:pt x="985796" y="955672"/>
                  <a:pt x="983974" y="955672"/>
                  <a:pt x="982152" y="953848"/>
                </a:cubicBezTo>
                <a:cubicBezTo>
                  <a:pt x="983974" y="953848"/>
                  <a:pt x="987619" y="955672"/>
                  <a:pt x="989441" y="955672"/>
                </a:cubicBezTo>
                <a:cubicBezTo>
                  <a:pt x="989441" y="959316"/>
                  <a:pt x="989441" y="962960"/>
                  <a:pt x="989441" y="966604"/>
                </a:cubicBezTo>
                <a:cubicBezTo>
                  <a:pt x="994907" y="962960"/>
                  <a:pt x="996729" y="948383"/>
                  <a:pt x="987619" y="942916"/>
                </a:cubicBezTo>
                <a:cubicBezTo>
                  <a:pt x="982152" y="937450"/>
                  <a:pt x="978508" y="930160"/>
                  <a:pt x="973041" y="926516"/>
                </a:cubicBezTo>
                <a:cubicBezTo>
                  <a:pt x="980330" y="930160"/>
                  <a:pt x="983974" y="939272"/>
                  <a:pt x="991263" y="944738"/>
                </a:cubicBezTo>
                <a:cubicBezTo>
                  <a:pt x="993085" y="942916"/>
                  <a:pt x="989441" y="941094"/>
                  <a:pt x="989441" y="939272"/>
                </a:cubicBezTo>
                <a:cubicBezTo>
                  <a:pt x="991263" y="939272"/>
                  <a:pt x="993085" y="939272"/>
                  <a:pt x="993085" y="939272"/>
                </a:cubicBezTo>
                <a:cubicBezTo>
                  <a:pt x="993085" y="935628"/>
                  <a:pt x="991263" y="931983"/>
                  <a:pt x="987619" y="930160"/>
                </a:cubicBezTo>
                <a:cubicBezTo>
                  <a:pt x="989441" y="928339"/>
                  <a:pt x="993085" y="930160"/>
                  <a:pt x="994907" y="930160"/>
                </a:cubicBezTo>
                <a:cubicBezTo>
                  <a:pt x="996729" y="933804"/>
                  <a:pt x="993085" y="935628"/>
                  <a:pt x="996729" y="937450"/>
                </a:cubicBezTo>
                <a:cubicBezTo>
                  <a:pt x="993085" y="935628"/>
                  <a:pt x="998552" y="953848"/>
                  <a:pt x="1005840" y="955672"/>
                </a:cubicBezTo>
                <a:cubicBezTo>
                  <a:pt x="1013129" y="953848"/>
                  <a:pt x="1020418" y="942916"/>
                  <a:pt x="1016774" y="935628"/>
                </a:cubicBezTo>
                <a:cubicBezTo>
                  <a:pt x="1018596" y="931983"/>
                  <a:pt x="1018596" y="935628"/>
                  <a:pt x="1020418" y="933804"/>
                </a:cubicBezTo>
                <a:lnTo>
                  <a:pt x="1020418" y="928339"/>
                </a:lnTo>
                <a:cubicBezTo>
                  <a:pt x="1024062" y="922872"/>
                  <a:pt x="1024062" y="913761"/>
                  <a:pt x="1022240" y="906473"/>
                </a:cubicBezTo>
                <a:cubicBezTo>
                  <a:pt x="1025884" y="899183"/>
                  <a:pt x="1022240" y="890072"/>
                  <a:pt x="1022240" y="880961"/>
                </a:cubicBezTo>
                <a:cubicBezTo>
                  <a:pt x="1013129" y="873673"/>
                  <a:pt x="1007663" y="864562"/>
                  <a:pt x="1000374" y="855451"/>
                </a:cubicBezTo>
                <a:close/>
                <a:moveTo>
                  <a:pt x="840022" y="855451"/>
                </a:moveTo>
                <a:lnTo>
                  <a:pt x="843387" y="861058"/>
                </a:lnTo>
                <a:lnTo>
                  <a:pt x="836378" y="864562"/>
                </a:lnTo>
                <a:cubicBezTo>
                  <a:pt x="838200" y="866384"/>
                  <a:pt x="841845" y="862740"/>
                  <a:pt x="845489" y="864562"/>
                </a:cubicBezTo>
                <a:lnTo>
                  <a:pt x="843387" y="861058"/>
                </a:lnTo>
                <a:lnTo>
                  <a:pt x="843667" y="860918"/>
                </a:lnTo>
                <a:cubicBezTo>
                  <a:pt x="841845" y="859095"/>
                  <a:pt x="838200" y="857273"/>
                  <a:pt x="840022" y="855451"/>
                </a:cubicBezTo>
                <a:close/>
                <a:moveTo>
                  <a:pt x="787179" y="855451"/>
                </a:moveTo>
                <a:cubicBezTo>
                  <a:pt x="785357" y="859095"/>
                  <a:pt x="785357" y="860918"/>
                  <a:pt x="787179" y="862740"/>
                </a:cubicBezTo>
                <a:cubicBezTo>
                  <a:pt x="787179" y="853629"/>
                  <a:pt x="794468" y="859095"/>
                  <a:pt x="798112" y="859095"/>
                </a:cubicBezTo>
                <a:cubicBezTo>
                  <a:pt x="798112" y="855451"/>
                  <a:pt x="790824" y="857273"/>
                  <a:pt x="787179" y="855451"/>
                </a:cubicBezTo>
                <a:close/>
                <a:moveTo>
                  <a:pt x="603140" y="855451"/>
                </a:moveTo>
                <a:cubicBezTo>
                  <a:pt x="601318" y="857273"/>
                  <a:pt x="603140" y="857273"/>
                  <a:pt x="601318" y="859095"/>
                </a:cubicBezTo>
                <a:cubicBezTo>
                  <a:pt x="603140" y="859095"/>
                  <a:pt x="604963" y="860918"/>
                  <a:pt x="606784" y="859095"/>
                </a:cubicBezTo>
                <a:cubicBezTo>
                  <a:pt x="606784" y="859095"/>
                  <a:pt x="604963" y="857273"/>
                  <a:pt x="603140" y="855451"/>
                </a:cubicBezTo>
                <a:close/>
                <a:moveTo>
                  <a:pt x="448256" y="855451"/>
                </a:moveTo>
                <a:cubicBezTo>
                  <a:pt x="450077" y="859095"/>
                  <a:pt x="462832" y="868206"/>
                  <a:pt x="468299" y="864562"/>
                </a:cubicBezTo>
                <a:cubicBezTo>
                  <a:pt x="464655" y="860918"/>
                  <a:pt x="461010" y="864562"/>
                  <a:pt x="459188" y="860918"/>
                </a:cubicBezTo>
                <a:cubicBezTo>
                  <a:pt x="461010" y="859095"/>
                  <a:pt x="464655" y="862740"/>
                  <a:pt x="466478" y="860918"/>
                </a:cubicBezTo>
                <a:cubicBezTo>
                  <a:pt x="459188" y="857273"/>
                  <a:pt x="453722" y="857273"/>
                  <a:pt x="448256" y="855451"/>
                </a:cubicBezTo>
                <a:close/>
                <a:moveTo>
                  <a:pt x="883754" y="854768"/>
                </a:moveTo>
                <a:cubicBezTo>
                  <a:pt x="881932" y="854996"/>
                  <a:pt x="880111" y="855451"/>
                  <a:pt x="880111" y="855451"/>
                </a:cubicBezTo>
                <a:cubicBezTo>
                  <a:pt x="881933" y="857273"/>
                  <a:pt x="885577" y="855451"/>
                  <a:pt x="887399" y="855451"/>
                </a:cubicBezTo>
                <a:cubicBezTo>
                  <a:pt x="887399" y="854540"/>
                  <a:pt x="885577" y="854540"/>
                  <a:pt x="883754" y="854768"/>
                </a:cubicBezTo>
                <a:close/>
                <a:moveTo>
                  <a:pt x="3228893" y="853629"/>
                </a:moveTo>
                <a:cubicBezTo>
                  <a:pt x="3225248" y="851807"/>
                  <a:pt x="3223426" y="857273"/>
                  <a:pt x="3219782" y="857273"/>
                </a:cubicBezTo>
                <a:cubicBezTo>
                  <a:pt x="3221604" y="859095"/>
                  <a:pt x="3223426" y="860918"/>
                  <a:pt x="3225248" y="862740"/>
                </a:cubicBezTo>
                <a:cubicBezTo>
                  <a:pt x="3228893" y="860918"/>
                  <a:pt x="3225248" y="855451"/>
                  <a:pt x="3228893" y="853629"/>
                </a:cubicBezTo>
                <a:close/>
                <a:moveTo>
                  <a:pt x="2598421" y="853629"/>
                </a:moveTo>
                <a:cubicBezTo>
                  <a:pt x="2594776" y="853629"/>
                  <a:pt x="2594776" y="855451"/>
                  <a:pt x="2592954" y="855451"/>
                </a:cubicBezTo>
                <a:cubicBezTo>
                  <a:pt x="2596598" y="855451"/>
                  <a:pt x="2594776" y="860918"/>
                  <a:pt x="2598421" y="860918"/>
                </a:cubicBezTo>
                <a:cubicBezTo>
                  <a:pt x="2598421" y="859095"/>
                  <a:pt x="2598421" y="857273"/>
                  <a:pt x="2598421" y="853629"/>
                </a:cubicBezTo>
                <a:close/>
                <a:moveTo>
                  <a:pt x="1255478" y="853629"/>
                </a:moveTo>
                <a:cubicBezTo>
                  <a:pt x="1257300" y="855451"/>
                  <a:pt x="1260945" y="857273"/>
                  <a:pt x="1259123" y="857273"/>
                </a:cubicBezTo>
                <a:cubicBezTo>
                  <a:pt x="1259123" y="859095"/>
                  <a:pt x="1262767" y="857273"/>
                  <a:pt x="1262767" y="859095"/>
                </a:cubicBezTo>
                <a:cubicBezTo>
                  <a:pt x="1262767" y="857273"/>
                  <a:pt x="1262767" y="855451"/>
                  <a:pt x="1262767" y="853629"/>
                </a:cubicBezTo>
                <a:cubicBezTo>
                  <a:pt x="1260945" y="853629"/>
                  <a:pt x="1257300" y="851807"/>
                  <a:pt x="1255478" y="853629"/>
                </a:cubicBezTo>
                <a:close/>
                <a:moveTo>
                  <a:pt x="891043" y="853629"/>
                </a:moveTo>
                <a:cubicBezTo>
                  <a:pt x="891043" y="855451"/>
                  <a:pt x="891043" y="855451"/>
                  <a:pt x="887399" y="857273"/>
                </a:cubicBezTo>
                <a:cubicBezTo>
                  <a:pt x="889222" y="859095"/>
                  <a:pt x="891043" y="859095"/>
                  <a:pt x="892866" y="857273"/>
                </a:cubicBezTo>
                <a:cubicBezTo>
                  <a:pt x="892866" y="857273"/>
                  <a:pt x="892866" y="855451"/>
                  <a:pt x="891043" y="853629"/>
                </a:cubicBezTo>
                <a:close/>
                <a:moveTo>
                  <a:pt x="663272" y="853629"/>
                </a:moveTo>
                <a:cubicBezTo>
                  <a:pt x="659627" y="855451"/>
                  <a:pt x="657805" y="857273"/>
                  <a:pt x="661449" y="859095"/>
                </a:cubicBezTo>
                <a:cubicBezTo>
                  <a:pt x="663272" y="857273"/>
                  <a:pt x="663272" y="859095"/>
                  <a:pt x="666916" y="857273"/>
                </a:cubicBezTo>
                <a:cubicBezTo>
                  <a:pt x="665094" y="857273"/>
                  <a:pt x="665094" y="855451"/>
                  <a:pt x="663272" y="853629"/>
                </a:cubicBezTo>
                <a:close/>
                <a:moveTo>
                  <a:pt x="289726" y="853629"/>
                </a:moveTo>
                <a:cubicBezTo>
                  <a:pt x="287904" y="855451"/>
                  <a:pt x="295193" y="862740"/>
                  <a:pt x="297015" y="862740"/>
                </a:cubicBezTo>
                <a:cubicBezTo>
                  <a:pt x="295193" y="857273"/>
                  <a:pt x="293370" y="855451"/>
                  <a:pt x="289726" y="853629"/>
                </a:cubicBezTo>
                <a:close/>
                <a:moveTo>
                  <a:pt x="1189272" y="853224"/>
                </a:moveTo>
                <a:lnTo>
                  <a:pt x="1189880" y="853629"/>
                </a:lnTo>
                <a:cubicBezTo>
                  <a:pt x="1188058" y="855451"/>
                  <a:pt x="1188058" y="853629"/>
                  <a:pt x="1186236" y="855451"/>
                </a:cubicBezTo>
                <a:lnTo>
                  <a:pt x="1185520" y="854475"/>
                </a:lnTo>
                <a:close/>
                <a:moveTo>
                  <a:pt x="2522572" y="853174"/>
                </a:moveTo>
                <a:cubicBezTo>
                  <a:pt x="2518245" y="853174"/>
                  <a:pt x="2514600" y="854540"/>
                  <a:pt x="2514600" y="859095"/>
                </a:cubicBezTo>
                <a:cubicBezTo>
                  <a:pt x="2509134" y="853629"/>
                  <a:pt x="2503667" y="866384"/>
                  <a:pt x="2507312" y="871851"/>
                </a:cubicBezTo>
                <a:cubicBezTo>
                  <a:pt x="2518245" y="864562"/>
                  <a:pt x="2523711" y="860918"/>
                  <a:pt x="2534644" y="855451"/>
                </a:cubicBezTo>
                <a:cubicBezTo>
                  <a:pt x="2531911" y="854540"/>
                  <a:pt x="2526900" y="853174"/>
                  <a:pt x="2522572" y="853174"/>
                </a:cubicBezTo>
                <a:close/>
                <a:moveTo>
                  <a:pt x="3103533" y="852804"/>
                </a:moveTo>
                <a:cubicBezTo>
                  <a:pt x="3095419" y="851693"/>
                  <a:pt x="3084486" y="863651"/>
                  <a:pt x="3077652" y="866384"/>
                </a:cubicBezTo>
                <a:cubicBezTo>
                  <a:pt x="3084941" y="871851"/>
                  <a:pt x="3094052" y="875495"/>
                  <a:pt x="3106807" y="877317"/>
                </a:cubicBezTo>
                <a:cubicBezTo>
                  <a:pt x="3108629" y="871851"/>
                  <a:pt x="3106807" y="866384"/>
                  <a:pt x="3110451" y="859095"/>
                </a:cubicBezTo>
                <a:cubicBezTo>
                  <a:pt x="3108629" y="854996"/>
                  <a:pt x="3106238" y="853174"/>
                  <a:pt x="3103533" y="852804"/>
                </a:cubicBezTo>
                <a:close/>
                <a:moveTo>
                  <a:pt x="1404400" y="852139"/>
                </a:moveTo>
                <a:lnTo>
                  <a:pt x="1417652" y="855451"/>
                </a:lnTo>
                <a:cubicBezTo>
                  <a:pt x="1414007" y="855451"/>
                  <a:pt x="1410363" y="855451"/>
                  <a:pt x="1406946" y="854313"/>
                </a:cubicBezTo>
                <a:close/>
                <a:moveTo>
                  <a:pt x="3183338" y="851807"/>
                </a:moveTo>
                <a:cubicBezTo>
                  <a:pt x="3181516" y="860918"/>
                  <a:pt x="3190627" y="859095"/>
                  <a:pt x="3196093" y="857273"/>
                </a:cubicBezTo>
                <a:cubicBezTo>
                  <a:pt x="3196093" y="851807"/>
                  <a:pt x="3190627" y="851807"/>
                  <a:pt x="3183338" y="851807"/>
                </a:cubicBezTo>
                <a:close/>
                <a:moveTo>
                  <a:pt x="721581" y="851807"/>
                </a:moveTo>
                <a:cubicBezTo>
                  <a:pt x="717937" y="855451"/>
                  <a:pt x="716115" y="855451"/>
                  <a:pt x="710648" y="857273"/>
                </a:cubicBezTo>
                <a:cubicBezTo>
                  <a:pt x="714293" y="857273"/>
                  <a:pt x="725226" y="855451"/>
                  <a:pt x="721581" y="851807"/>
                </a:cubicBezTo>
                <a:close/>
                <a:moveTo>
                  <a:pt x="218661" y="851807"/>
                </a:moveTo>
                <a:cubicBezTo>
                  <a:pt x="216839" y="855451"/>
                  <a:pt x="225950" y="859095"/>
                  <a:pt x="227772" y="860918"/>
                </a:cubicBezTo>
                <a:cubicBezTo>
                  <a:pt x="231416" y="855451"/>
                  <a:pt x="220483" y="851807"/>
                  <a:pt x="218661" y="851807"/>
                </a:cubicBezTo>
                <a:close/>
                <a:moveTo>
                  <a:pt x="207728" y="851807"/>
                </a:moveTo>
                <a:cubicBezTo>
                  <a:pt x="209550" y="853629"/>
                  <a:pt x="215017" y="862740"/>
                  <a:pt x="218661" y="859095"/>
                </a:cubicBezTo>
                <a:cubicBezTo>
                  <a:pt x="213195" y="855451"/>
                  <a:pt x="213195" y="851807"/>
                  <a:pt x="207728" y="851807"/>
                </a:cubicBezTo>
                <a:close/>
                <a:moveTo>
                  <a:pt x="1403974" y="851775"/>
                </a:moveTo>
                <a:lnTo>
                  <a:pt x="1404400" y="852139"/>
                </a:lnTo>
                <a:lnTo>
                  <a:pt x="1403074" y="851807"/>
                </a:lnTo>
                <a:close/>
                <a:moveTo>
                  <a:pt x="2155051" y="851767"/>
                </a:moveTo>
                <a:lnTo>
                  <a:pt x="2150302" y="866333"/>
                </a:lnTo>
                <a:lnTo>
                  <a:pt x="2150166" y="866384"/>
                </a:lnTo>
                <a:cubicBezTo>
                  <a:pt x="2150166" y="862740"/>
                  <a:pt x="2150166" y="860918"/>
                  <a:pt x="2150166" y="859095"/>
                </a:cubicBezTo>
                <a:close/>
                <a:moveTo>
                  <a:pt x="3414754" y="849985"/>
                </a:moveTo>
                <a:cubicBezTo>
                  <a:pt x="3422043" y="848162"/>
                  <a:pt x="3418399" y="855451"/>
                  <a:pt x="3416577" y="857273"/>
                </a:cubicBezTo>
                <a:lnTo>
                  <a:pt x="3411997" y="855747"/>
                </a:lnTo>
                <a:lnTo>
                  <a:pt x="3416577" y="855451"/>
                </a:lnTo>
                <a:cubicBezTo>
                  <a:pt x="3416577" y="853629"/>
                  <a:pt x="3414754" y="851807"/>
                  <a:pt x="3414754" y="849985"/>
                </a:cubicBezTo>
                <a:close/>
                <a:moveTo>
                  <a:pt x="1457739" y="849985"/>
                </a:moveTo>
                <a:cubicBezTo>
                  <a:pt x="1455917" y="849985"/>
                  <a:pt x="1454095" y="849985"/>
                  <a:pt x="1452273" y="851807"/>
                </a:cubicBezTo>
                <a:cubicBezTo>
                  <a:pt x="1454095" y="855451"/>
                  <a:pt x="1457739" y="851807"/>
                  <a:pt x="1457739" y="849985"/>
                </a:cubicBezTo>
                <a:close/>
                <a:moveTo>
                  <a:pt x="1182592" y="849985"/>
                </a:moveTo>
                <a:cubicBezTo>
                  <a:pt x="1184414" y="849985"/>
                  <a:pt x="1184414" y="850441"/>
                  <a:pt x="1183730" y="850896"/>
                </a:cubicBezTo>
                <a:lnTo>
                  <a:pt x="1183189" y="851063"/>
                </a:lnTo>
                <a:close/>
                <a:moveTo>
                  <a:pt x="987619" y="849985"/>
                </a:moveTo>
                <a:cubicBezTo>
                  <a:pt x="987619" y="849985"/>
                  <a:pt x="987619" y="849985"/>
                  <a:pt x="985796" y="851807"/>
                </a:cubicBezTo>
                <a:cubicBezTo>
                  <a:pt x="987619" y="855451"/>
                  <a:pt x="989441" y="851807"/>
                  <a:pt x="991263" y="853629"/>
                </a:cubicBezTo>
                <a:cubicBezTo>
                  <a:pt x="993085" y="851807"/>
                  <a:pt x="989441" y="849985"/>
                  <a:pt x="987619" y="849985"/>
                </a:cubicBezTo>
                <a:close/>
                <a:moveTo>
                  <a:pt x="758025" y="849985"/>
                </a:moveTo>
                <a:cubicBezTo>
                  <a:pt x="758025" y="851807"/>
                  <a:pt x="758025" y="857273"/>
                  <a:pt x="761670" y="857273"/>
                </a:cubicBezTo>
                <a:cubicBezTo>
                  <a:pt x="763491" y="853629"/>
                  <a:pt x="759848" y="851807"/>
                  <a:pt x="758025" y="849985"/>
                </a:cubicBezTo>
                <a:close/>
                <a:moveTo>
                  <a:pt x="712470" y="849985"/>
                </a:moveTo>
                <a:cubicBezTo>
                  <a:pt x="710648" y="857273"/>
                  <a:pt x="712470" y="855451"/>
                  <a:pt x="714293" y="853629"/>
                </a:cubicBezTo>
                <a:cubicBezTo>
                  <a:pt x="714293" y="851807"/>
                  <a:pt x="714293" y="849985"/>
                  <a:pt x="712470" y="849985"/>
                </a:cubicBezTo>
                <a:close/>
                <a:moveTo>
                  <a:pt x="652339" y="849985"/>
                </a:moveTo>
                <a:cubicBezTo>
                  <a:pt x="652339" y="851807"/>
                  <a:pt x="650516" y="851807"/>
                  <a:pt x="648694" y="853629"/>
                </a:cubicBezTo>
                <a:cubicBezTo>
                  <a:pt x="652339" y="855451"/>
                  <a:pt x="655983" y="859095"/>
                  <a:pt x="659627" y="853629"/>
                </a:cubicBezTo>
                <a:cubicBezTo>
                  <a:pt x="655983" y="851807"/>
                  <a:pt x="654161" y="849985"/>
                  <a:pt x="652339" y="849985"/>
                </a:cubicBezTo>
                <a:close/>
                <a:moveTo>
                  <a:pt x="479232" y="849985"/>
                </a:moveTo>
                <a:cubicBezTo>
                  <a:pt x="479232" y="851807"/>
                  <a:pt x="484700" y="857273"/>
                  <a:pt x="486521" y="857273"/>
                </a:cubicBezTo>
                <a:cubicBezTo>
                  <a:pt x="486521" y="853629"/>
                  <a:pt x="481054" y="851807"/>
                  <a:pt x="479232" y="849985"/>
                </a:cubicBezTo>
                <a:close/>
                <a:moveTo>
                  <a:pt x="430034" y="849985"/>
                </a:moveTo>
                <a:cubicBezTo>
                  <a:pt x="428211" y="860918"/>
                  <a:pt x="442789" y="862740"/>
                  <a:pt x="450077" y="868206"/>
                </a:cubicBezTo>
                <a:cubicBezTo>
                  <a:pt x="451899" y="859095"/>
                  <a:pt x="435500" y="857273"/>
                  <a:pt x="430034" y="849985"/>
                </a:cubicBezTo>
                <a:close/>
                <a:moveTo>
                  <a:pt x="180396" y="849985"/>
                </a:moveTo>
                <a:lnTo>
                  <a:pt x="180497" y="850013"/>
                </a:lnTo>
                <a:lnTo>
                  <a:pt x="180605" y="850146"/>
                </a:lnTo>
                <a:close/>
                <a:moveTo>
                  <a:pt x="1174164" y="849529"/>
                </a:moveTo>
                <a:cubicBezTo>
                  <a:pt x="1173481" y="849529"/>
                  <a:pt x="1172569" y="849985"/>
                  <a:pt x="1171658" y="849985"/>
                </a:cubicBezTo>
                <a:cubicBezTo>
                  <a:pt x="1169836" y="849985"/>
                  <a:pt x="1173481" y="853629"/>
                  <a:pt x="1175303" y="851807"/>
                </a:cubicBezTo>
                <a:cubicBezTo>
                  <a:pt x="1175303" y="849985"/>
                  <a:pt x="1174848" y="849529"/>
                  <a:pt x="1174164" y="849529"/>
                </a:cubicBezTo>
                <a:close/>
                <a:moveTo>
                  <a:pt x="1359694" y="848514"/>
                </a:moveTo>
                <a:lnTo>
                  <a:pt x="1361164" y="849985"/>
                </a:lnTo>
                <a:lnTo>
                  <a:pt x="1355209" y="851474"/>
                </a:lnTo>
                <a:close/>
                <a:moveTo>
                  <a:pt x="3031414" y="848163"/>
                </a:moveTo>
                <a:lnTo>
                  <a:pt x="3032645" y="848681"/>
                </a:lnTo>
                <a:lnTo>
                  <a:pt x="3030103" y="849777"/>
                </a:lnTo>
                <a:close/>
                <a:moveTo>
                  <a:pt x="3217960" y="848162"/>
                </a:moveTo>
                <a:cubicBezTo>
                  <a:pt x="3212493" y="848162"/>
                  <a:pt x="3210671" y="848162"/>
                  <a:pt x="3208849" y="851807"/>
                </a:cubicBezTo>
                <a:cubicBezTo>
                  <a:pt x="3212493" y="857273"/>
                  <a:pt x="3214315" y="849985"/>
                  <a:pt x="3217960" y="848162"/>
                </a:cubicBezTo>
                <a:close/>
                <a:moveTo>
                  <a:pt x="2268607" y="848162"/>
                </a:moveTo>
                <a:cubicBezTo>
                  <a:pt x="2268607" y="848162"/>
                  <a:pt x="2266785" y="848162"/>
                  <a:pt x="2264963" y="849985"/>
                </a:cubicBezTo>
                <a:cubicBezTo>
                  <a:pt x="2264963" y="849985"/>
                  <a:pt x="2266785" y="851807"/>
                  <a:pt x="2266785" y="853629"/>
                </a:cubicBezTo>
                <a:cubicBezTo>
                  <a:pt x="2266785" y="851807"/>
                  <a:pt x="2268607" y="849985"/>
                  <a:pt x="2268607" y="848162"/>
                </a:cubicBezTo>
                <a:close/>
                <a:moveTo>
                  <a:pt x="2172032" y="848162"/>
                </a:moveTo>
                <a:cubicBezTo>
                  <a:pt x="2168387" y="853629"/>
                  <a:pt x="2166565" y="860918"/>
                  <a:pt x="2170210" y="868206"/>
                </a:cubicBezTo>
                <a:cubicBezTo>
                  <a:pt x="2168387" y="868206"/>
                  <a:pt x="2166565" y="868206"/>
                  <a:pt x="2166565" y="866384"/>
                </a:cubicBezTo>
                <a:cubicBezTo>
                  <a:pt x="2166565" y="862740"/>
                  <a:pt x="2164743" y="873673"/>
                  <a:pt x="2170210" y="871851"/>
                </a:cubicBezTo>
                <a:cubicBezTo>
                  <a:pt x="2170210" y="870028"/>
                  <a:pt x="2170210" y="870028"/>
                  <a:pt x="2170210" y="868206"/>
                </a:cubicBezTo>
                <a:cubicBezTo>
                  <a:pt x="2170210" y="870028"/>
                  <a:pt x="2170210" y="871851"/>
                  <a:pt x="2172032" y="873673"/>
                </a:cubicBezTo>
                <a:cubicBezTo>
                  <a:pt x="2173854" y="870028"/>
                  <a:pt x="2177498" y="870028"/>
                  <a:pt x="2179320" y="871851"/>
                </a:cubicBezTo>
                <a:cubicBezTo>
                  <a:pt x="2179320" y="871851"/>
                  <a:pt x="2179320" y="870028"/>
                  <a:pt x="2179320" y="870028"/>
                </a:cubicBezTo>
                <a:cubicBezTo>
                  <a:pt x="2177498" y="868206"/>
                  <a:pt x="2175676" y="866384"/>
                  <a:pt x="2175676" y="864562"/>
                </a:cubicBezTo>
                <a:cubicBezTo>
                  <a:pt x="2175676" y="864562"/>
                  <a:pt x="2173854" y="864562"/>
                  <a:pt x="2173854" y="864562"/>
                </a:cubicBezTo>
                <a:cubicBezTo>
                  <a:pt x="2173854" y="862740"/>
                  <a:pt x="2173854" y="862740"/>
                  <a:pt x="2173854" y="860918"/>
                </a:cubicBezTo>
                <a:cubicBezTo>
                  <a:pt x="2172032" y="859095"/>
                  <a:pt x="2173854" y="860918"/>
                  <a:pt x="2179320" y="848162"/>
                </a:cubicBezTo>
                <a:close/>
                <a:moveTo>
                  <a:pt x="707004" y="848162"/>
                </a:moveTo>
                <a:cubicBezTo>
                  <a:pt x="707004" y="849985"/>
                  <a:pt x="699715" y="853629"/>
                  <a:pt x="707004" y="857273"/>
                </a:cubicBezTo>
                <a:cubicBezTo>
                  <a:pt x="708826" y="855451"/>
                  <a:pt x="710648" y="849985"/>
                  <a:pt x="707004" y="848162"/>
                </a:cubicBezTo>
                <a:close/>
                <a:moveTo>
                  <a:pt x="559408" y="848162"/>
                </a:moveTo>
                <a:cubicBezTo>
                  <a:pt x="559408" y="848162"/>
                  <a:pt x="557586" y="849985"/>
                  <a:pt x="555763" y="849985"/>
                </a:cubicBezTo>
                <a:cubicBezTo>
                  <a:pt x="555763" y="851807"/>
                  <a:pt x="559408" y="855451"/>
                  <a:pt x="563052" y="857273"/>
                </a:cubicBezTo>
                <a:cubicBezTo>
                  <a:pt x="564874" y="853629"/>
                  <a:pt x="561230" y="849985"/>
                  <a:pt x="559408" y="848162"/>
                </a:cubicBezTo>
                <a:close/>
                <a:moveTo>
                  <a:pt x="470121" y="848162"/>
                </a:moveTo>
                <a:cubicBezTo>
                  <a:pt x="473766" y="851807"/>
                  <a:pt x="477410" y="857273"/>
                  <a:pt x="481054" y="855451"/>
                </a:cubicBezTo>
                <a:cubicBezTo>
                  <a:pt x="477410" y="851807"/>
                  <a:pt x="473766" y="844518"/>
                  <a:pt x="470121" y="848162"/>
                </a:cubicBezTo>
                <a:close/>
                <a:moveTo>
                  <a:pt x="351680" y="848162"/>
                </a:moveTo>
                <a:cubicBezTo>
                  <a:pt x="355324" y="851807"/>
                  <a:pt x="355324" y="855451"/>
                  <a:pt x="357146" y="859095"/>
                </a:cubicBezTo>
                <a:cubicBezTo>
                  <a:pt x="353502" y="868206"/>
                  <a:pt x="362613" y="877317"/>
                  <a:pt x="368079" y="882784"/>
                </a:cubicBezTo>
                <a:cubicBezTo>
                  <a:pt x="366257" y="879139"/>
                  <a:pt x="362613" y="879139"/>
                  <a:pt x="358969" y="877317"/>
                </a:cubicBezTo>
                <a:cubicBezTo>
                  <a:pt x="357146" y="882784"/>
                  <a:pt x="364435" y="884606"/>
                  <a:pt x="368079" y="884606"/>
                </a:cubicBezTo>
                <a:lnTo>
                  <a:pt x="391723" y="888243"/>
                </a:lnTo>
                <a:lnTo>
                  <a:pt x="388123" y="884643"/>
                </a:lnTo>
                <a:lnTo>
                  <a:pt x="393533" y="888250"/>
                </a:lnTo>
                <a:lnTo>
                  <a:pt x="400879" y="888250"/>
                </a:lnTo>
                <a:cubicBezTo>
                  <a:pt x="393590" y="888250"/>
                  <a:pt x="391768" y="882784"/>
                  <a:pt x="389946" y="879139"/>
                </a:cubicBezTo>
                <a:cubicBezTo>
                  <a:pt x="391768" y="880962"/>
                  <a:pt x="393590" y="883240"/>
                  <a:pt x="396095" y="884834"/>
                </a:cubicBezTo>
                <a:lnTo>
                  <a:pt x="406210" y="886407"/>
                </a:lnTo>
                <a:lnTo>
                  <a:pt x="409306" y="891211"/>
                </a:lnTo>
                <a:cubicBezTo>
                  <a:pt x="411812" y="893261"/>
                  <a:pt x="414545" y="893717"/>
                  <a:pt x="417278" y="891894"/>
                </a:cubicBezTo>
                <a:cubicBezTo>
                  <a:pt x="415456" y="886428"/>
                  <a:pt x="408167" y="886428"/>
                  <a:pt x="402701" y="880961"/>
                </a:cubicBezTo>
                <a:lnTo>
                  <a:pt x="406082" y="886208"/>
                </a:lnTo>
                <a:lnTo>
                  <a:pt x="381062" y="865246"/>
                </a:lnTo>
                <a:cubicBezTo>
                  <a:pt x="371724" y="859551"/>
                  <a:pt x="361702" y="854540"/>
                  <a:pt x="351680" y="848162"/>
                </a:cubicBezTo>
                <a:close/>
                <a:moveTo>
                  <a:pt x="251460" y="848162"/>
                </a:moveTo>
                <a:cubicBezTo>
                  <a:pt x="249638" y="849985"/>
                  <a:pt x="255105" y="853629"/>
                  <a:pt x="256927" y="853629"/>
                </a:cubicBezTo>
                <a:cubicBezTo>
                  <a:pt x="256927" y="849985"/>
                  <a:pt x="253282" y="851807"/>
                  <a:pt x="251460" y="848162"/>
                </a:cubicBezTo>
                <a:close/>
                <a:moveTo>
                  <a:pt x="2584526" y="847480"/>
                </a:moveTo>
                <a:cubicBezTo>
                  <a:pt x="2583388" y="848163"/>
                  <a:pt x="2582021" y="849074"/>
                  <a:pt x="2580199" y="848162"/>
                </a:cubicBezTo>
                <a:cubicBezTo>
                  <a:pt x="2582021" y="849985"/>
                  <a:pt x="2585665" y="860918"/>
                  <a:pt x="2585665" y="853629"/>
                </a:cubicBezTo>
                <a:cubicBezTo>
                  <a:pt x="2589310" y="853629"/>
                  <a:pt x="2587487" y="859095"/>
                  <a:pt x="2587487" y="860918"/>
                </a:cubicBezTo>
                <a:cubicBezTo>
                  <a:pt x="2583843" y="853629"/>
                  <a:pt x="2576554" y="860918"/>
                  <a:pt x="2571088" y="857273"/>
                </a:cubicBezTo>
                <a:cubicBezTo>
                  <a:pt x="2572910" y="862740"/>
                  <a:pt x="2565621" y="859095"/>
                  <a:pt x="2567443" y="866384"/>
                </a:cubicBezTo>
                <a:cubicBezTo>
                  <a:pt x="2578377" y="864562"/>
                  <a:pt x="2580199" y="864562"/>
                  <a:pt x="2589310" y="862740"/>
                </a:cubicBezTo>
                <a:cubicBezTo>
                  <a:pt x="2592954" y="857273"/>
                  <a:pt x="2587487" y="851807"/>
                  <a:pt x="2587487" y="848162"/>
                </a:cubicBezTo>
                <a:cubicBezTo>
                  <a:pt x="2586576" y="846340"/>
                  <a:pt x="2585665" y="846796"/>
                  <a:pt x="2584526" y="847480"/>
                </a:cubicBezTo>
                <a:close/>
                <a:moveTo>
                  <a:pt x="1349320" y="847480"/>
                </a:moveTo>
                <a:cubicBezTo>
                  <a:pt x="1347042" y="849074"/>
                  <a:pt x="1344764" y="851807"/>
                  <a:pt x="1342942" y="853629"/>
                </a:cubicBezTo>
                <a:cubicBezTo>
                  <a:pt x="1348410" y="857273"/>
                  <a:pt x="1353876" y="851807"/>
                  <a:pt x="1355698" y="848162"/>
                </a:cubicBezTo>
                <a:cubicBezTo>
                  <a:pt x="1353875" y="845429"/>
                  <a:pt x="1351598" y="845885"/>
                  <a:pt x="1349320" y="847480"/>
                </a:cubicBezTo>
                <a:close/>
                <a:moveTo>
                  <a:pt x="1362987" y="846340"/>
                </a:moveTo>
                <a:lnTo>
                  <a:pt x="1365207" y="847365"/>
                </a:lnTo>
                <a:lnTo>
                  <a:pt x="1364809" y="848162"/>
                </a:lnTo>
                <a:lnTo>
                  <a:pt x="1362529" y="846643"/>
                </a:lnTo>
                <a:close/>
                <a:moveTo>
                  <a:pt x="1193525" y="846340"/>
                </a:moveTo>
                <a:cubicBezTo>
                  <a:pt x="1193525" y="848162"/>
                  <a:pt x="1198991" y="851807"/>
                  <a:pt x="1200814" y="851807"/>
                </a:cubicBezTo>
                <a:cubicBezTo>
                  <a:pt x="1202636" y="862740"/>
                  <a:pt x="1217213" y="862740"/>
                  <a:pt x="1222679" y="855451"/>
                </a:cubicBezTo>
                <a:cubicBezTo>
                  <a:pt x="1220858" y="853629"/>
                  <a:pt x="1217213" y="857273"/>
                  <a:pt x="1220858" y="853629"/>
                </a:cubicBezTo>
                <a:cubicBezTo>
                  <a:pt x="1224501" y="855451"/>
                  <a:pt x="1228146" y="855451"/>
                  <a:pt x="1229969" y="853629"/>
                </a:cubicBezTo>
                <a:cubicBezTo>
                  <a:pt x="1228146" y="849985"/>
                  <a:pt x="1224501" y="849985"/>
                  <a:pt x="1222679" y="848162"/>
                </a:cubicBezTo>
                <a:cubicBezTo>
                  <a:pt x="1220858" y="849985"/>
                  <a:pt x="1222679" y="851807"/>
                  <a:pt x="1220858" y="853629"/>
                </a:cubicBezTo>
                <a:cubicBezTo>
                  <a:pt x="1211747" y="846340"/>
                  <a:pt x="1200814" y="844518"/>
                  <a:pt x="1193525" y="846340"/>
                </a:cubicBezTo>
                <a:close/>
                <a:moveTo>
                  <a:pt x="1002196" y="846340"/>
                </a:moveTo>
                <a:cubicBezTo>
                  <a:pt x="1005840" y="849985"/>
                  <a:pt x="1007663" y="851807"/>
                  <a:pt x="1011307" y="853629"/>
                </a:cubicBezTo>
                <a:cubicBezTo>
                  <a:pt x="1011307" y="851807"/>
                  <a:pt x="1011307" y="851807"/>
                  <a:pt x="1011307" y="849985"/>
                </a:cubicBezTo>
                <a:cubicBezTo>
                  <a:pt x="1013129" y="848162"/>
                  <a:pt x="1011307" y="851807"/>
                  <a:pt x="1013129" y="853629"/>
                </a:cubicBezTo>
                <a:cubicBezTo>
                  <a:pt x="1014951" y="851807"/>
                  <a:pt x="1014951" y="851807"/>
                  <a:pt x="1016774" y="853629"/>
                </a:cubicBezTo>
                <a:cubicBezTo>
                  <a:pt x="1011307" y="848162"/>
                  <a:pt x="1007663" y="842696"/>
                  <a:pt x="1002196" y="846340"/>
                </a:cubicBezTo>
                <a:close/>
                <a:moveTo>
                  <a:pt x="971219" y="846340"/>
                </a:moveTo>
                <a:cubicBezTo>
                  <a:pt x="969397" y="848162"/>
                  <a:pt x="967575" y="848162"/>
                  <a:pt x="967575" y="849985"/>
                </a:cubicBezTo>
                <a:cubicBezTo>
                  <a:pt x="967575" y="851807"/>
                  <a:pt x="969397" y="855451"/>
                  <a:pt x="973041" y="851807"/>
                </a:cubicBezTo>
                <a:cubicBezTo>
                  <a:pt x="974863" y="848162"/>
                  <a:pt x="971219" y="848162"/>
                  <a:pt x="971219" y="846340"/>
                </a:cubicBezTo>
                <a:close/>
                <a:moveTo>
                  <a:pt x="834556" y="846340"/>
                </a:moveTo>
                <a:cubicBezTo>
                  <a:pt x="832734" y="844518"/>
                  <a:pt x="829089" y="848162"/>
                  <a:pt x="825445" y="848162"/>
                </a:cubicBezTo>
                <a:cubicBezTo>
                  <a:pt x="825445" y="849985"/>
                  <a:pt x="832734" y="848162"/>
                  <a:pt x="834556" y="846340"/>
                </a:cubicBezTo>
                <a:close/>
                <a:moveTo>
                  <a:pt x="772602" y="846340"/>
                </a:moveTo>
                <a:cubicBezTo>
                  <a:pt x="770781" y="849985"/>
                  <a:pt x="774424" y="855451"/>
                  <a:pt x="779892" y="853629"/>
                </a:cubicBezTo>
                <a:cubicBezTo>
                  <a:pt x="783535" y="851807"/>
                  <a:pt x="779892" y="849985"/>
                  <a:pt x="779892" y="848162"/>
                </a:cubicBezTo>
                <a:cubicBezTo>
                  <a:pt x="778070" y="846340"/>
                  <a:pt x="774424" y="846340"/>
                  <a:pt x="772602" y="846340"/>
                </a:cubicBezTo>
                <a:close/>
                <a:moveTo>
                  <a:pt x="768959" y="846340"/>
                </a:moveTo>
                <a:cubicBezTo>
                  <a:pt x="765313" y="849985"/>
                  <a:pt x="765313" y="851807"/>
                  <a:pt x="768959" y="855451"/>
                </a:cubicBezTo>
                <a:cubicBezTo>
                  <a:pt x="770781" y="855451"/>
                  <a:pt x="770781" y="855451"/>
                  <a:pt x="774424" y="855451"/>
                </a:cubicBezTo>
                <a:cubicBezTo>
                  <a:pt x="774424" y="851807"/>
                  <a:pt x="772602" y="848162"/>
                  <a:pt x="768959" y="846340"/>
                </a:cubicBezTo>
                <a:close/>
                <a:moveTo>
                  <a:pt x="761670" y="846340"/>
                </a:moveTo>
                <a:cubicBezTo>
                  <a:pt x="759848" y="851807"/>
                  <a:pt x="761670" y="849985"/>
                  <a:pt x="765313" y="848162"/>
                </a:cubicBezTo>
                <a:cubicBezTo>
                  <a:pt x="763491" y="846340"/>
                  <a:pt x="763491" y="846340"/>
                  <a:pt x="761670" y="846340"/>
                </a:cubicBezTo>
                <a:close/>
                <a:moveTo>
                  <a:pt x="373546" y="846340"/>
                </a:moveTo>
                <a:cubicBezTo>
                  <a:pt x="382657" y="859095"/>
                  <a:pt x="397234" y="866384"/>
                  <a:pt x="408167" y="871851"/>
                </a:cubicBezTo>
                <a:cubicBezTo>
                  <a:pt x="397234" y="862740"/>
                  <a:pt x="386301" y="846340"/>
                  <a:pt x="373546" y="846340"/>
                </a:cubicBezTo>
                <a:close/>
                <a:moveTo>
                  <a:pt x="194973" y="846340"/>
                </a:moveTo>
                <a:lnTo>
                  <a:pt x="202262" y="851807"/>
                </a:lnTo>
                <a:lnTo>
                  <a:pt x="203173" y="850896"/>
                </a:lnTo>
                <a:cubicBezTo>
                  <a:pt x="204084" y="850896"/>
                  <a:pt x="204995" y="850896"/>
                  <a:pt x="204084" y="849985"/>
                </a:cubicBezTo>
                <a:cubicBezTo>
                  <a:pt x="200439" y="848162"/>
                  <a:pt x="196795" y="846340"/>
                  <a:pt x="194973" y="846340"/>
                </a:cubicBezTo>
                <a:close/>
                <a:moveTo>
                  <a:pt x="150048" y="846063"/>
                </a:moveTo>
                <a:lnTo>
                  <a:pt x="154658" y="852491"/>
                </a:lnTo>
                <a:cubicBezTo>
                  <a:pt x="158985" y="860918"/>
                  <a:pt x="162174" y="870029"/>
                  <a:pt x="163996" y="879139"/>
                </a:cubicBezTo>
                <a:lnTo>
                  <a:pt x="158788" y="869926"/>
                </a:lnTo>
                <a:lnTo>
                  <a:pt x="156479" y="863196"/>
                </a:lnTo>
                <a:close/>
                <a:moveTo>
                  <a:pt x="2153810" y="844671"/>
                </a:moveTo>
                <a:lnTo>
                  <a:pt x="2155061" y="848318"/>
                </a:lnTo>
                <a:lnTo>
                  <a:pt x="2153810" y="849985"/>
                </a:lnTo>
                <a:close/>
                <a:moveTo>
                  <a:pt x="2638508" y="844518"/>
                </a:moveTo>
                <a:cubicBezTo>
                  <a:pt x="2634864" y="846340"/>
                  <a:pt x="2634864" y="849985"/>
                  <a:pt x="2633042" y="855451"/>
                </a:cubicBezTo>
                <a:cubicBezTo>
                  <a:pt x="2638508" y="857273"/>
                  <a:pt x="2640330" y="853629"/>
                  <a:pt x="2645797" y="853629"/>
                </a:cubicBezTo>
                <a:cubicBezTo>
                  <a:pt x="2647619" y="849985"/>
                  <a:pt x="2643975" y="849985"/>
                  <a:pt x="2643975" y="844518"/>
                </a:cubicBezTo>
                <a:cubicBezTo>
                  <a:pt x="2638508" y="842696"/>
                  <a:pt x="2642153" y="851807"/>
                  <a:pt x="2640330" y="851807"/>
                </a:cubicBezTo>
                <a:cubicBezTo>
                  <a:pt x="2638508" y="851807"/>
                  <a:pt x="2640330" y="846340"/>
                  <a:pt x="2638508" y="844518"/>
                </a:cubicBezTo>
                <a:close/>
                <a:moveTo>
                  <a:pt x="2418025" y="844518"/>
                </a:moveTo>
                <a:cubicBezTo>
                  <a:pt x="2416203" y="846340"/>
                  <a:pt x="2414381" y="848162"/>
                  <a:pt x="2412559" y="849985"/>
                </a:cubicBezTo>
                <a:cubicBezTo>
                  <a:pt x="2414381" y="855451"/>
                  <a:pt x="2418025" y="853629"/>
                  <a:pt x="2419847" y="849985"/>
                </a:cubicBezTo>
                <a:close/>
                <a:moveTo>
                  <a:pt x="2153810" y="844518"/>
                </a:moveTo>
                <a:cubicBezTo>
                  <a:pt x="2154721" y="845429"/>
                  <a:pt x="2155632" y="846340"/>
                  <a:pt x="2155860" y="847252"/>
                </a:cubicBezTo>
                <a:lnTo>
                  <a:pt x="2155450" y="847798"/>
                </a:lnTo>
                <a:close/>
                <a:moveTo>
                  <a:pt x="1220858" y="844518"/>
                </a:moveTo>
                <a:cubicBezTo>
                  <a:pt x="1219036" y="848162"/>
                  <a:pt x="1215390" y="844518"/>
                  <a:pt x="1211747" y="846340"/>
                </a:cubicBezTo>
                <a:cubicBezTo>
                  <a:pt x="1215390" y="851807"/>
                  <a:pt x="1224501" y="851807"/>
                  <a:pt x="1220858" y="844518"/>
                </a:cubicBezTo>
                <a:close/>
                <a:moveTo>
                  <a:pt x="1155259" y="844518"/>
                </a:moveTo>
                <a:cubicBezTo>
                  <a:pt x="1158903" y="848162"/>
                  <a:pt x="1166192" y="851807"/>
                  <a:pt x="1171658" y="853629"/>
                </a:cubicBezTo>
                <a:cubicBezTo>
                  <a:pt x="1171658" y="855451"/>
                  <a:pt x="1173481" y="857273"/>
                  <a:pt x="1175303" y="859095"/>
                </a:cubicBezTo>
                <a:cubicBezTo>
                  <a:pt x="1178947" y="857273"/>
                  <a:pt x="1173481" y="857273"/>
                  <a:pt x="1171658" y="853629"/>
                </a:cubicBezTo>
                <a:cubicBezTo>
                  <a:pt x="1169836" y="848162"/>
                  <a:pt x="1164370" y="849985"/>
                  <a:pt x="1160725" y="844518"/>
                </a:cubicBezTo>
                <a:close/>
                <a:moveTo>
                  <a:pt x="688782" y="844518"/>
                </a:moveTo>
                <a:cubicBezTo>
                  <a:pt x="686960" y="846340"/>
                  <a:pt x="685138" y="848162"/>
                  <a:pt x="683316" y="849985"/>
                </a:cubicBezTo>
                <a:cubicBezTo>
                  <a:pt x="686960" y="851807"/>
                  <a:pt x="694249" y="848162"/>
                  <a:pt x="688782" y="844518"/>
                </a:cubicBezTo>
                <a:close/>
                <a:moveTo>
                  <a:pt x="632296" y="844518"/>
                </a:moveTo>
                <a:cubicBezTo>
                  <a:pt x="630472" y="846340"/>
                  <a:pt x="632296" y="851807"/>
                  <a:pt x="637761" y="851807"/>
                </a:cubicBezTo>
                <a:cubicBezTo>
                  <a:pt x="641407" y="848162"/>
                  <a:pt x="634117" y="848162"/>
                  <a:pt x="632296" y="844518"/>
                </a:cubicBezTo>
                <a:close/>
                <a:moveTo>
                  <a:pt x="610429" y="844518"/>
                </a:moveTo>
                <a:cubicBezTo>
                  <a:pt x="619539" y="851807"/>
                  <a:pt x="617717" y="860918"/>
                  <a:pt x="630472" y="862740"/>
                </a:cubicBezTo>
                <a:cubicBezTo>
                  <a:pt x="634117" y="857273"/>
                  <a:pt x="625006" y="857273"/>
                  <a:pt x="623185" y="853629"/>
                </a:cubicBezTo>
                <a:cubicBezTo>
                  <a:pt x="623185" y="851807"/>
                  <a:pt x="623185" y="849985"/>
                  <a:pt x="625006" y="849985"/>
                </a:cubicBezTo>
                <a:cubicBezTo>
                  <a:pt x="619539" y="848162"/>
                  <a:pt x="615895" y="844518"/>
                  <a:pt x="610429" y="844518"/>
                </a:cubicBezTo>
                <a:close/>
                <a:moveTo>
                  <a:pt x="608606" y="844518"/>
                </a:moveTo>
                <a:cubicBezTo>
                  <a:pt x="604963" y="853629"/>
                  <a:pt x="603140" y="853629"/>
                  <a:pt x="612251" y="859095"/>
                </a:cubicBezTo>
                <a:lnTo>
                  <a:pt x="612251" y="855451"/>
                </a:lnTo>
                <a:cubicBezTo>
                  <a:pt x="614074" y="855451"/>
                  <a:pt x="614074" y="857273"/>
                  <a:pt x="615895" y="857273"/>
                </a:cubicBezTo>
                <a:cubicBezTo>
                  <a:pt x="614074" y="857273"/>
                  <a:pt x="614074" y="857273"/>
                  <a:pt x="614074" y="859095"/>
                </a:cubicBezTo>
                <a:cubicBezTo>
                  <a:pt x="612251" y="862740"/>
                  <a:pt x="615895" y="862740"/>
                  <a:pt x="617717" y="862740"/>
                </a:cubicBezTo>
                <a:cubicBezTo>
                  <a:pt x="621362" y="857273"/>
                  <a:pt x="615895" y="851807"/>
                  <a:pt x="608606" y="844518"/>
                </a:cubicBezTo>
                <a:close/>
                <a:moveTo>
                  <a:pt x="504743" y="844518"/>
                </a:moveTo>
                <a:cubicBezTo>
                  <a:pt x="504743" y="849985"/>
                  <a:pt x="506565" y="848162"/>
                  <a:pt x="510209" y="846340"/>
                </a:cubicBezTo>
                <a:cubicBezTo>
                  <a:pt x="510209" y="844518"/>
                  <a:pt x="506565" y="842696"/>
                  <a:pt x="504743" y="844518"/>
                </a:cubicBezTo>
                <a:close/>
                <a:moveTo>
                  <a:pt x="703587" y="844291"/>
                </a:moveTo>
                <a:cubicBezTo>
                  <a:pt x="702448" y="845429"/>
                  <a:pt x="701537" y="847251"/>
                  <a:pt x="701537" y="848162"/>
                </a:cubicBezTo>
                <a:cubicBezTo>
                  <a:pt x="703359" y="848162"/>
                  <a:pt x="707004" y="848162"/>
                  <a:pt x="707004" y="844518"/>
                </a:cubicBezTo>
                <a:cubicBezTo>
                  <a:pt x="706094" y="842696"/>
                  <a:pt x="704726" y="843152"/>
                  <a:pt x="703587" y="844291"/>
                </a:cubicBezTo>
                <a:close/>
                <a:moveTo>
                  <a:pt x="1314441" y="844224"/>
                </a:moveTo>
                <a:lnTo>
                  <a:pt x="1317660" y="846341"/>
                </a:lnTo>
                <a:cubicBezTo>
                  <a:pt x="1323354" y="849530"/>
                  <a:pt x="1329276" y="851807"/>
                  <a:pt x="1335654" y="851807"/>
                </a:cubicBezTo>
                <a:lnTo>
                  <a:pt x="1332010" y="853629"/>
                </a:lnTo>
                <a:lnTo>
                  <a:pt x="1317432" y="849985"/>
                </a:lnTo>
                <a:cubicBezTo>
                  <a:pt x="1315610" y="848162"/>
                  <a:pt x="1315610" y="846340"/>
                  <a:pt x="1313788" y="844518"/>
                </a:cubicBezTo>
                <a:close/>
                <a:moveTo>
                  <a:pt x="499418" y="843209"/>
                </a:moveTo>
                <a:cubicBezTo>
                  <a:pt x="497795" y="844404"/>
                  <a:pt x="497453" y="856362"/>
                  <a:pt x="508387" y="859095"/>
                </a:cubicBezTo>
                <a:cubicBezTo>
                  <a:pt x="519320" y="848162"/>
                  <a:pt x="497454" y="853629"/>
                  <a:pt x="501098" y="846340"/>
                </a:cubicBezTo>
                <a:cubicBezTo>
                  <a:pt x="500642" y="843607"/>
                  <a:pt x="499959" y="842810"/>
                  <a:pt x="499418" y="843209"/>
                </a:cubicBezTo>
                <a:close/>
                <a:moveTo>
                  <a:pt x="2452647" y="842696"/>
                </a:moveTo>
                <a:cubicBezTo>
                  <a:pt x="2443536" y="842696"/>
                  <a:pt x="2436247" y="848162"/>
                  <a:pt x="2430780" y="855451"/>
                </a:cubicBezTo>
                <a:cubicBezTo>
                  <a:pt x="2432603" y="853629"/>
                  <a:pt x="2430780" y="849985"/>
                  <a:pt x="2428958" y="849985"/>
                </a:cubicBezTo>
                <a:lnTo>
                  <a:pt x="2425314" y="853629"/>
                </a:lnTo>
                <a:cubicBezTo>
                  <a:pt x="2425314" y="857273"/>
                  <a:pt x="2427136" y="855451"/>
                  <a:pt x="2428958" y="857273"/>
                </a:cubicBezTo>
                <a:cubicBezTo>
                  <a:pt x="2419847" y="873673"/>
                  <a:pt x="2418025" y="897361"/>
                  <a:pt x="2428958" y="915583"/>
                </a:cubicBezTo>
                <a:cubicBezTo>
                  <a:pt x="2438069" y="906473"/>
                  <a:pt x="2452647" y="901005"/>
                  <a:pt x="2449002" y="884606"/>
                </a:cubicBezTo>
                <a:cubicBezTo>
                  <a:pt x="2449002" y="886428"/>
                  <a:pt x="2447180" y="886428"/>
                  <a:pt x="2445358" y="888250"/>
                </a:cubicBezTo>
                <a:cubicBezTo>
                  <a:pt x="2445358" y="882784"/>
                  <a:pt x="2450824" y="880961"/>
                  <a:pt x="2447180" y="873673"/>
                </a:cubicBezTo>
                <a:cubicBezTo>
                  <a:pt x="2452647" y="870028"/>
                  <a:pt x="2456291" y="864562"/>
                  <a:pt x="2458113" y="857273"/>
                </a:cubicBezTo>
                <a:cubicBezTo>
                  <a:pt x="2461757" y="860918"/>
                  <a:pt x="2452647" y="866384"/>
                  <a:pt x="2458113" y="870028"/>
                </a:cubicBezTo>
                <a:cubicBezTo>
                  <a:pt x="2459935" y="870028"/>
                  <a:pt x="2461757" y="870028"/>
                  <a:pt x="2463580" y="870028"/>
                </a:cubicBezTo>
                <a:cubicBezTo>
                  <a:pt x="2465402" y="855451"/>
                  <a:pt x="2459935" y="840874"/>
                  <a:pt x="2452647" y="842696"/>
                </a:cubicBezTo>
                <a:close/>
                <a:moveTo>
                  <a:pt x="2377937" y="842696"/>
                </a:moveTo>
                <a:cubicBezTo>
                  <a:pt x="2376115" y="844518"/>
                  <a:pt x="2377937" y="846340"/>
                  <a:pt x="2379760" y="848162"/>
                </a:cubicBezTo>
                <a:cubicBezTo>
                  <a:pt x="2377937" y="848162"/>
                  <a:pt x="2376115" y="849985"/>
                  <a:pt x="2376115" y="848162"/>
                </a:cubicBezTo>
                <a:cubicBezTo>
                  <a:pt x="2376115" y="851807"/>
                  <a:pt x="2376115" y="855451"/>
                  <a:pt x="2376115" y="859095"/>
                </a:cubicBezTo>
                <a:cubicBezTo>
                  <a:pt x="2381582" y="857273"/>
                  <a:pt x="2388871" y="848162"/>
                  <a:pt x="2377937" y="842696"/>
                </a:cubicBezTo>
                <a:close/>
                <a:moveTo>
                  <a:pt x="969397" y="842696"/>
                </a:moveTo>
                <a:cubicBezTo>
                  <a:pt x="965753" y="846340"/>
                  <a:pt x="962108" y="842696"/>
                  <a:pt x="960286" y="844518"/>
                </a:cubicBezTo>
                <a:cubicBezTo>
                  <a:pt x="956642" y="849985"/>
                  <a:pt x="973041" y="848162"/>
                  <a:pt x="969397" y="842696"/>
                </a:cubicBezTo>
                <a:close/>
                <a:moveTo>
                  <a:pt x="655983" y="842696"/>
                </a:moveTo>
                <a:cubicBezTo>
                  <a:pt x="652339" y="842696"/>
                  <a:pt x="652339" y="846340"/>
                  <a:pt x="652339" y="846340"/>
                </a:cubicBezTo>
                <a:cubicBezTo>
                  <a:pt x="655983" y="848162"/>
                  <a:pt x="657805" y="849985"/>
                  <a:pt x="661449" y="849985"/>
                </a:cubicBezTo>
                <a:cubicBezTo>
                  <a:pt x="661449" y="848162"/>
                  <a:pt x="655983" y="844518"/>
                  <a:pt x="655983" y="842696"/>
                </a:cubicBezTo>
                <a:close/>
                <a:moveTo>
                  <a:pt x="586741" y="842696"/>
                </a:moveTo>
                <a:cubicBezTo>
                  <a:pt x="581274" y="846340"/>
                  <a:pt x="586741" y="848162"/>
                  <a:pt x="588562" y="848162"/>
                </a:cubicBezTo>
                <a:cubicBezTo>
                  <a:pt x="588562" y="846340"/>
                  <a:pt x="586741" y="844518"/>
                  <a:pt x="586741" y="842696"/>
                </a:cubicBezTo>
                <a:close/>
                <a:moveTo>
                  <a:pt x="564874" y="842696"/>
                </a:moveTo>
                <a:cubicBezTo>
                  <a:pt x="563052" y="840874"/>
                  <a:pt x="561230" y="844518"/>
                  <a:pt x="561230" y="844518"/>
                </a:cubicBezTo>
                <a:cubicBezTo>
                  <a:pt x="563052" y="846340"/>
                  <a:pt x="563052" y="846340"/>
                  <a:pt x="564874" y="848162"/>
                </a:cubicBezTo>
                <a:cubicBezTo>
                  <a:pt x="564874" y="846340"/>
                  <a:pt x="564874" y="844518"/>
                  <a:pt x="564874" y="842696"/>
                </a:cubicBezTo>
                <a:close/>
                <a:moveTo>
                  <a:pt x="464655" y="842696"/>
                </a:moveTo>
                <a:cubicBezTo>
                  <a:pt x="464655" y="844518"/>
                  <a:pt x="464655" y="848162"/>
                  <a:pt x="470121" y="846340"/>
                </a:cubicBezTo>
                <a:cubicBezTo>
                  <a:pt x="470121" y="844518"/>
                  <a:pt x="466478" y="844518"/>
                  <a:pt x="464655" y="842696"/>
                </a:cubicBezTo>
                <a:close/>
                <a:moveTo>
                  <a:pt x="1141364" y="841558"/>
                </a:moveTo>
                <a:cubicBezTo>
                  <a:pt x="1134304" y="842241"/>
                  <a:pt x="1125193" y="846341"/>
                  <a:pt x="1116993" y="849985"/>
                </a:cubicBezTo>
                <a:cubicBezTo>
                  <a:pt x="1107882" y="853629"/>
                  <a:pt x="1100593" y="853629"/>
                  <a:pt x="1095127" y="860918"/>
                </a:cubicBezTo>
                <a:cubicBezTo>
                  <a:pt x="1093305" y="860918"/>
                  <a:pt x="1093305" y="859095"/>
                  <a:pt x="1091484" y="860918"/>
                </a:cubicBezTo>
                <a:cubicBezTo>
                  <a:pt x="1093305" y="862740"/>
                  <a:pt x="1095127" y="860918"/>
                  <a:pt x="1102416" y="864562"/>
                </a:cubicBezTo>
                <a:cubicBezTo>
                  <a:pt x="1100593" y="864562"/>
                  <a:pt x="1096949" y="862740"/>
                  <a:pt x="1095127" y="862740"/>
                </a:cubicBezTo>
                <a:cubicBezTo>
                  <a:pt x="1091484" y="864562"/>
                  <a:pt x="1095127" y="866384"/>
                  <a:pt x="1093305" y="868206"/>
                </a:cubicBezTo>
                <a:cubicBezTo>
                  <a:pt x="1095127" y="866384"/>
                  <a:pt x="1095127" y="871851"/>
                  <a:pt x="1098771" y="868206"/>
                </a:cubicBezTo>
                <a:cubicBezTo>
                  <a:pt x="1098771" y="871851"/>
                  <a:pt x="1093305" y="870028"/>
                  <a:pt x="1091484" y="871851"/>
                </a:cubicBezTo>
                <a:cubicBezTo>
                  <a:pt x="1091484" y="877317"/>
                  <a:pt x="1089660" y="880961"/>
                  <a:pt x="1091484" y="886428"/>
                </a:cubicBezTo>
                <a:cubicBezTo>
                  <a:pt x="1093305" y="884606"/>
                  <a:pt x="1091484" y="884606"/>
                  <a:pt x="1093305" y="882784"/>
                </a:cubicBezTo>
                <a:cubicBezTo>
                  <a:pt x="1096949" y="888250"/>
                  <a:pt x="1084194" y="891894"/>
                  <a:pt x="1086016" y="897361"/>
                </a:cubicBezTo>
                <a:cubicBezTo>
                  <a:pt x="1084194" y="899183"/>
                  <a:pt x="1082373" y="899183"/>
                  <a:pt x="1082373" y="897361"/>
                </a:cubicBezTo>
                <a:cubicBezTo>
                  <a:pt x="1080549" y="899183"/>
                  <a:pt x="1080549" y="901005"/>
                  <a:pt x="1078727" y="902827"/>
                </a:cubicBezTo>
                <a:cubicBezTo>
                  <a:pt x="1082373" y="901005"/>
                  <a:pt x="1084194" y="902827"/>
                  <a:pt x="1087838" y="902827"/>
                </a:cubicBezTo>
                <a:cubicBezTo>
                  <a:pt x="1089660" y="901005"/>
                  <a:pt x="1098771" y="908295"/>
                  <a:pt x="1098771" y="901005"/>
                </a:cubicBezTo>
                <a:cubicBezTo>
                  <a:pt x="1100593" y="899183"/>
                  <a:pt x="1098771" y="902827"/>
                  <a:pt x="1100593" y="902827"/>
                </a:cubicBezTo>
                <a:cubicBezTo>
                  <a:pt x="1102416" y="901005"/>
                  <a:pt x="1104238" y="901005"/>
                  <a:pt x="1106060" y="901005"/>
                </a:cubicBezTo>
                <a:cubicBezTo>
                  <a:pt x="1109704" y="890072"/>
                  <a:pt x="1111526" y="877317"/>
                  <a:pt x="1100593" y="864562"/>
                </a:cubicBezTo>
                <a:cubicBezTo>
                  <a:pt x="1104238" y="862740"/>
                  <a:pt x="1104238" y="868206"/>
                  <a:pt x="1106060" y="870028"/>
                </a:cubicBezTo>
                <a:cubicBezTo>
                  <a:pt x="1107882" y="868206"/>
                  <a:pt x="1104238" y="864562"/>
                  <a:pt x="1106060" y="860918"/>
                </a:cubicBezTo>
                <a:cubicBezTo>
                  <a:pt x="1109704" y="871851"/>
                  <a:pt x="1107882" y="880961"/>
                  <a:pt x="1111526" y="891894"/>
                </a:cubicBezTo>
                <a:cubicBezTo>
                  <a:pt x="1113349" y="890072"/>
                  <a:pt x="1113349" y="890072"/>
                  <a:pt x="1115171" y="888250"/>
                </a:cubicBezTo>
                <a:cubicBezTo>
                  <a:pt x="1115171" y="891894"/>
                  <a:pt x="1106060" y="895539"/>
                  <a:pt x="1109704" y="901005"/>
                </a:cubicBezTo>
                <a:lnTo>
                  <a:pt x="1115108" y="896528"/>
                </a:lnTo>
                <a:lnTo>
                  <a:pt x="1111526" y="901005"/>
                </a:lnTo>
                <a:cubicBezTo>
                  <a:pt x="1115171" y="904651"/>
                  <a:pt x="1116993" y="904651"/>
                  <a:pt x="1120637" y="904651"/>
                </a:cubicBezTo>
                <a:lnTo>
                  <a:pt x="1118953" y="892860"/>
                </a:lnTo>
                <a:lnTo>
                  <a:pt x="1124282" y="886428"/>
                </a:lnTo>
                <a:cubicBezTo>
                  <a:pt x="1126104" y="888250"/>
                  <a:pt x="1122459" y="890072"/>
                  <a:pt x="1124282" y="891894"/>
                </a:cubicBezTo>
                <a:cubicBezTo>
                  <a:pt x="1126104" y="895539"/>
                  <a:pt x="1126104" y="891894"/>
                  <a:pt x="1127926" y="891894"/>
                </a:cubicBezTo>
                <a:cubicBezTo>
                  <a:pt x="1124282" y="899183"/>
                  <a:pt x="1129748" y="904651"/>
                  <a:pt x="1131570" y="911939"/>
                </a:cubicBezTo>
                <a:cubicBezTo>
                  <a:pt x="1138859" y="911939"/>
                  <a:pt x="1149792" y="901005"/>
                  <a:pt x="1146148" y="893717"/>
                </a:cubicBezTo>
                <a:cubicBezTo>
                  <a:pt x="1151614" y="895539"/>
                  <a:pt x="1151614" y="886428"/>
                  <a:pt x="1155259" y="884606"/>
                </a:cubicBezTo>
                <a:cubicBezTo>
                  <a:pt x="1151614" y="891894"/>
                  <a:pt x="1147970" y="899183"/>
                  <a:pt x="1144326" y="906473"/>
                </a:cubicBezTo>
                <a:cubicBezTo>
                  <a:pt x="1158903" y="904651"/>
                  <a:pt x="1166192" y="882784"/>
                  <a:pt x="1160725" y="871851"/>
                </a:cubicBezTo>
                <a:cubicBezTo>
                  <a:pt x="1162547" y="870028"/>
                  <a:pt x="1164370" y="871851"/>
                  <a:pt x="1164370" y="873673"/>
                </a:cubicBezTo>
                <a:cubicBezTo>
                  <a:pt x="1166192" y="871851"/>
                  <a:pt x="1164370" y="871851"/>
                  <a:pt x="1166192" y="870028"/>
                </a:cubicBezTo>
                <a:cubicBezTo>
                  <a:pt x="1164370" y="879139"/>
                  <a:pt x="1162547" y="888250"/>
                  <a:pt x="1162547" y="899183"/>
                </a:cubicBezTo>
                <a:cubicBezTo>
                  <a:pt x="1168014" y="890072"/>
                  <a:pt x="1175303" y="879139"/>
                  <a:pt x="1173481" y="868206"/>
                </a:cubicBezTo>
                <a:cubicBezTo>
                  <a:pt x="1175302" y="868206"/>
                  <a:pt x="1175302" y="867295"/>
                  <a:pt x="1175530" y="866157"/>
                </a:cubicBezTo>
                <a:lnTo>
                  <a:pt x="1175965" y="865721"/>
                </a:lnTo>
                <a:lnTo>
                  <a:pt x="1172342" y="880734"/>
                </a:lnTo>
                <a:cubicBezTo>
                  <a:pt x="1169836" y="886884"/>
                  <a:pt x="1167103" y="892806"/>
                  <a:pt x="1166192" y="899183"/>
                </a:cubicBezTo>
                <a:cubicBezTo>
                  <a:pt x="1171658" y="891894"/>
                  <a:pt x="1177125" y="899183"/>
                  <a:pt x="1182592" y="893717"/>
                </a:cubicBezTo>
                <a:cubicBezTo>
                  <a:pt x="1180769" y="891894"/>
                  <a:pt x="1182592" y="890072"/>
                  <a:pt x="1180769" y="888250"/>
                </a:cubicBezTo>
                <a:cubicBezTo>
                  <a:pt x="1184414" y="886428"/>
                  <a:pt x="1180769" y="890072"/>
                  <a:pt x="1184414" y="891894"/>
                </a:cubicBezTo>
                <a:cubicBezTo>
                  <a:pt x="1189880" y="890072"/>
                  <a:pt x="1191703" y="886428"/>
                  <a:pt x="1189880" y="882784"/>
                </a:cubicBezTo>
                <a:cubicBezTo>
                  <a:pt x="1189880" y="882784"/>
                  <a:pt x="1193525" y="886428"/>
                  <a:pt x="1191703" y="886428"/>
                </a:cubicBezTo>
                <a:cubicBezTo>
                  <a:pt x="1193525" y="888250"/>
                  <a:pt x="1193525" y="882784"/>
                  <a:pt x="1195346" y="882784"/>
                </a:cubicBezTo>
                <a:cubicBezTo>
                  <a:pt x="1197169" y="886428"/>
                  <a:pt x="1191703" y="888250"/>
                  <a:pt x="1195346" y="890072"/>
                </a:cubicBezTo>
                <a:cubicBezTo>
                  <a:pt x="1195346" y="890072"/>
                  <a:pt x="1193525" y="888250"/>
                  <a:pt x="1193525" y="888250"/>
                </a:cubicBezTo>
                <a:cubicBezTo>
                  <a:pt x="1189880" y="891895"/>
                  <a:pt x="1192614" y="895539"/>
                  <a:pt x="1194891" y="899183"/>
                </a:cubicBezTo>
                <a:lnTo>
                  <a:pt x="1194618" y="901370"/>
                </a:lnTo>
                <a:lnTo>
                  <a:pt x="1189880" y="891894"/>
                </a:lnTo>
                <a:cubicBezTo>
                  <a:pt x="1188058" y="895539"/>
                  <a:pt x="1184414" y="893717"/>
                  <a:pt x="1188058" y="897361"/>
                </a:cubicBezTo>
                <a:cubicBezTo>
                  <a:pt x="1178947" y="895539"/>
                  <a:pt x="1171658" y="899183"/>
                  <a:pt x="1162547" y="902827"/>
                </a:cubicBezTo>
                <a:cubicBezTo>
                  <a:pt x="1162547" y="910117"/>
                  <a:pt x="1153436" y="915583"/>
                  <a:pt x="1146148" y="922872"/>
                </a:cubicBezTo>
                <a:cubicBezTo>
                  <a:pt x="1157081" y="921049"/>
                  <a:pt x="1171658" y="924695"/>
                  <a:pt x="1180769" y="915583"/>
                </a:cubicBezTo>
                <a:cubicBezTo>
                  <a:pt x="1180769" y="916494"/>
                  <a:pt x="1184414" y="915583"/>
                  <a:pt x="1188058" y="913305"/>
                </a:cubicBezTo>
                <a:lnTo>
                  <a:pt x="1194236" y="904423"/>
                </a:lnTo>
                <a:lnTo>
                  <a:pt x="1193525" y="910117"/>
                </a:lnTo>
                <a:cubicBezTo>
                  <a:pt x="1197169" y="911939"/>
                  <a:pt x="1202636" y="906473"/>
                  <a:pt x="1206279" y="902827"/>
                </a:cubicBezTo>
                <a:cubicBezTo>
                  <a:pt x="1204457" y="899183"/>
                  <a:pt x="1202636" y="899183"/>
                  <a:pt x="1200814" y="897361"/>
                </a:cubicBezTo>
                <a:cubicBezTo>
                  <a:pt x="1202636" y="895539"/>
                  <a:pt x="1204457" y="899183"/>
                  <a:pt x="1206279" y="901005"/>
                </a:cubicBezTo>
                <a:cubicBezTo>
                  <a:pt x="1206279" y="901005"/>
                  <a:pt x="1206279" y="899183"/>
                  <a:pt x="1204457" y="897361"/>
                </a:cubicBezTo>
                <a:cubicBezTo>
                  <a:pt x="1206279" y="897361"/>
                  <a:pt x="1208102" y="904651"/>
                  <a:pt x="1211747" y="904651"/>
                </a:cubicBezTo>
                <a:cubicBezTo>
                  <a:pt x="1217213" y="902827"/>
                  <a:pt x="1215390" y="899183"/>
                  <a:pt x="1217213" y="895539"/>
                </a:cubicBezTo>
                <a:cubicBezTo>
                  <a:pt x="1215390" y="891894"/>
                  <a:pt x="1213568" y="891894"/>
                  <a:pt x="1211747" y="890072"/>
                </a:cubicBezTo>
                <a:cubicBezTo>
                  <a:pt x="1213568" y="888250"/>
                  <a:pt x="1215390" y="893717"/>
                  <a:pt x="1217213" y="893717"/>
                </a:cubicBezTo>
                <a:cubicBezTo>
                  <a:pt x="1219036" y="891894"/>
                  <a:pt x="1222679" y="890072"/>
                  <a:pt x="1224501" y="890072"/>
                </a:cubicBezTo>
                <a:cubicBezTo>
                  <a:pt x="1219036" y="893717"/>
                  <a:pt x="1219036" y="899183"/>
                  <a:pt x="1213568" y="906473"/>
                </a:cubicBezTo>
                <a:cubicBezTo>
                  <a:pt x="1219036" y="911939"/>
                  <a:pt x="1224501" y="904651"/>
                  <a:pt x="1229969" y="904651"/>
                </a:cubicBezTo>
                <a:cubicBezTo>
                  <a:pt x="1229969" y="902827"/>
                  <a:pt x="1228146" y="902827"/>
                  <a:pt x="1228146" y="901005"/>
                </a:cubicBezTo>
                <a:cubicBezTo>
                  <a:pt x="1229969" y="901005"/>
                  <a:pt x="1229969" y="904651"/>
                  <a:pt x="1231790" y="904651"/>
                </a:cubicBezTo>
                <a:cubicBezTo>
                  <a:pt x="1233612" y="904651"/>
                  <a:pt x="1237256" y="901005"/>
                  <a:pt x="1239080" y="902827"/>
                </a:cubicBezTo>
                <a:cubicBezTo>
                  <a:pt x="1240901" y="901005"/>
                  <a:pt x="1239080" y="899183"/>
                  <a:pt x="1239080" y="897361"/>
                </a:cubicBezTo>
                <a:cubicBezTo>
                  <a:pt x="1240901" y="895539"/>
                  <a:pt x="1240901" y="901005"/>
                  <a:pt x="1242723" y="897361"/>
                </a:cubicBezTo>
                <a:cubicBezTo>
                  <a:pt x="1242723" y="897361"/>
                  <a:pt x="1240901" y="899183"/>
                  <a:pt x="1240901" y="901005"/>
                </a:cubicBezTo>
                <a:cubicBezTo>
                  <a:pt x="1242723" y="901005"/>
                  <a:pt x="1246367" y="901005"/>
                  <a:pt x="1248189" y="899183"/>
                </a:cubicBezTo>
                <a:cubicBezTo>
                  <a:pt x="1251834" y="897361"/>
                  <a:pt x="1248189" y="895539"/>
                  <a:pt x="1250012" y="893717"/>
                </a:cubicBezTo>
                <a:cubicBezTo>
                  <a:pt x="1250012" y="893717"/>
                  <a:pt x="1253656" y="897361"/>
                  <a:pt x="1251834" y="899183"/>
                </a:cubicBezTo>
                <a:cubicBezTo>
                  <a:pt x="1254567" y="899183"/>
                  <a:pt x="1257300" y="897361"/>
                  <a:pt x="1259806" y="894400"/>
                </a:cubicBezTo>
                <a:lnTo>
                  <a:pt x="1265830" y="883808"/>
                </a:lnTo>
                <a:lnTo>
                  <a:pt x="1266411" y="886428"/>
                </a:lnTo>
                <a:cubicBezTo>
                  <a:pt x="1270056" y="880961"/>
                  <a:pt x="1270056" y="879139"/>
                  <a:pt x="1270056" y="873673"/>
                </a:cubicBezTo>
                <a:cubicBezTo>
                  <a:pt x="1268233" y="871851"/>
                  <a:pt x="1266411" y="868206"/>
                  <a:pt x="1262767" y="870028"/>
                </a:cubicBezTo>
                <a:lnTo>
                  <a:pt x="1264782" y="879098"/>
                </a:lnTo>
                <a:lnTo>
                  <a:pt x="1262631" y="874230"/>
                </a:lnTo>
                <a:lnTo>
                  <a:pt x="1262083" y="869118"/>
                </a:lnTo>
                <a:lnTo>
                  <a:pt x="1257300" y="868207"/>
                </a:lnTo>
                <a:lnTo>
                  <a:pt x="1255478" y="866384"/>
                </a:lnTo>
                <a:lnTo>
                  <a:pt x="1259123" y="868206"/>
                </a:lnTo>
                <a:cubicBezTo>
                  <a:pt x="1259123" y="866384"/>
                  <a:pt x="1257300" y="864562"/>
                  <a:pt x="1257300" y="864562"/>
                </a:cubicBezTo>
                <a:lnTo>
                  <a:pt x="1255478" y="866384"/>
                </a:lnTo>
                <a:lnTo>
                  <a:pt x="1253656" y="864562"/>
                </a:lnTo>
                <a:cubicBezTo>
                  <a:pt x="1253656" y="864562"/>
                  <a:pt x="1255478" y="862740"/>
                  <a:pt x="1255478" y="862740"/>
                </a:cubicBezTo>
                <a:cubicBezTo>
                  <a:pt x="1251834" y="860918"/>
                  <a:pt x="1250012" y="862740"/>
                  <a:pt x="1250012" y="859095"/>
                </a:cubicBezTo>
                <a:cubicBezTo>
                  <a:pt x="1246367" y="860918"/>
                  <a:pt x="1250012" y="864562"/>
                  <a:pt x="1246367" y="864562"/>
                </a:cubicBezTo>
                <a:cubicBezTo>
                  <a:pt x="1246367" y="862740"/>
                  <a:pt x="1250012" y="859095"/>
                  <a:pt x="1248189" y="857273"/>
                </a:cubicBezTo>
                <a:cubicBezTo>
                  <a:pt x="1250012" y="855451"/>
                  <a:pt x="1250012" y="859095"/>
                  <a:pt x="1251834" y="857273"/>
                </a:cubicBezTo>
                <a:lnTo>
                  <a:pt x="1251834" y="855451"/>
                </a:lnTo>
                <a:cubicBezTo>
                  <a:pt x="1251834" y="857273"/>
                  <a:pt x="1255478" y="862740"/>
                  <a:pt x="1260945" y="862740"/>
                </a:cubicBezTo>
                <a:lnTo>
                  <a:pt x="1260433" y="861825"/>
                </a:lnTo>
                <a:lnTo>
                  <a:pt x="1262084" y="862968"/>
                </a:lnTo>
                <a:cubicBezTo>
                  <a:pt x="1262767" y="863651"/>
                  <a:pt x="1262767" y="864562"/>
                  <a:pt x="1260945" y="866384"/>
                </a:cubicBezTo>
                <a:cubicBezTo>
                  <a:pt x="1262767" y="868206"/>
                  <a:pt x="1264589" y="871851"/>
                  <a:pt x="1268233" y="870028"/>
                </a:cubicBezTo>
                <a:cubicBezTo>
                  <a:pt x="1267322" y="867295"/>
                  <a:pt x="1266411" y="864107"/>
                  <a:pt x="1265045" y="862057"/>
                </a:cubicBezTo>
                <a:lnTo>
                  <a:pt x="1260021" y="861091"/>
                </a:lnTo>
                <a:lnTo>
                  <a:pt x="1257756" y="857046"/>
                </a:lnTo>
                <a:cubicBezTo>
                  <a:pt x="1255934" y="855907"/>
                  <a:pt x="1253656" y="855451"/>
                  <a:pt x="1251834" y="855451"/>
                </a:cubicBezTo>
                <a:lnTo>
                  <a:pt x="1251834" y="853629"/>
                </a:lnTo>
                <a:cubicBezTo>
                  <a:pt x="1239080" y="848162"/>
                  <a:pt x="1228146" y="855451"/>
                  <a:pt x="1215390" y="860918"/>
                </a:cubicBezTo>
                <a:cubicBezTo>
                  <a:pt x="1215390" y="866384"/>
                  <a:pt x="1220858" y="862740"/>
                  <a:pt x="1224501" y="860918"/>
                </a:cubicBezTo>
                <a:cubicBezTo>
                  <a:pt x="1222679" y="862740"/>
                  <a:pt x="1217213" y="866384"/>
                  <a:pt x="1215390" y="866384"/>
                </a:cubicBezTo>
                <a:cubicBezTo>
                  <a:pt x="1215390" y="866384"/>
                  <a:pt x="1219036" y="866384"/>
                  <a:pt x="1217213" y="868206"/>
                </a:cubicBezTo>
                <a:cubicBezTo>
                  <a:pt x="1208102" y="862740"/>
                  <a:pt x="1198991" y="859095"/>
                  <a:pt x="1193525" y="851807"/>
                </a:cubicBezTo>
                <a:lnTo>
                  <a:pt x="1189272" y="853224"/>
                </a:lnTo>
                <a:lnTo>
                  <a:pt x="1184414" y="849985"/>
                </a:lnTo>
                <a:cubicBezTo>
                  <a:pt x="1184414" y="844518"/>
                  <a:pt x="1177125" y="846340"/>
                  <a:pt x="1173481" y="842696"/>
                </a:cubicBezTo>
                <a:cubicBezTo>
                  <a:pt x="1171658" y="844518"/>
                  <a:pt x="1177125" y="844518"/>
                  <a:pt x="1173481" y="848162"/>
                </a:cubicBezTo>
                <a:cubicBezTo>
                  <a:pt x="1175303" y="849985"/>
                  <a:pt x="1175303" y="848162"/>
                  <a:pt x="1177125" y="849985"/>
                </a:cubicBezTo>
                <a:cubicBezTo>
                  <a:pt x="1178947" y="849985"/>
                  <a:pt x="1178947" y="848162"/>
                  <a:pt x="1178947" y="848162"/>
                </a:cubicBezTo>
                <a:cubicBezTo>
                  <a:pt x="1182592" y="846340"/>
                  <a:pt x="1178947" y="849985"/>
                  <a:pt x="1180769" y="851807"/>
                </a:cubicBezTo>
                <a:lnTo>
                  <a:pt x="1183189" y="851063"/>
                </a:lnTo>
                <a:lnTo>
                  <a:pt x="1183730" y="852035"/>
                </a:lnTo>
                <a:lnTo>
                  <a:pt x="1185520" y="854475"/>
                </a:lnTo>
                <a:lnTo>
                  <a:pt x="1182592" y="855451"/>
                </a:lnTo>
                <a:cubicBezTo>
                  <a:pt x="1178947" y="857273"/>
                  <a:pt x="1182592" y="859095"/>
                  <a:pt x="1177125" y="860918"/>
                </a:cubicBezTo>
                <a:lnTo>
                  <a:pt x="1177044" y="861255"/>
                </a:lnTo>
                <a:lnTo>
                  <a:pt x="1169608" y="855452"/>
                </a:lnTo>
                <a:cubicBezTo>
                  <a:pt x="1166192" y="854540"/>
                  <a:pt x="1162547" y="854540"/>
                  <a:pt x="1158903" y="853629"/>
                </a:cubicBezTo>
                <a:cubicBezTo>
                  <a:pt x="1169836" y="859095"/>
                  <a:pt x="1162547" y="870028"/>
                  <a:pt x="1157081" y="879139"/>
                </a:cubicBezTo>
                <a:cubicBezTo>
                  <a:pt x="1157081" y="877317"/>
                  <a:pt x="1158903" y="873673"/>
                  <a:pt x="1158903" y="870028"/>
                </a:cubicBezTo>
                <a:cubicBezTo>
                  <a:pt x="1160725" y="868206"/>
                  <a:pt x="1160725" y="870028"/>
                  <a:pt x="1162547" y="868206"/>
                </a:cubicBezTo>
                <a:cubicBezTo>
                  <a:pt x="1162547" y="864562"/>
                  <a:pt x="1160725" y="860918"/>
                  <a:pt x="1157081" y="855451"/>
                </a:cubicBezTo>
                <a:cubicBezTo>
                  <a:pt x="1155259" y="855451"/>
                  <a:pt x="1155259" y="857273"/>
                  <a:pt x="1153436" y="857273"/>
                </a:cubicBezTo>
                <a:cubicBezTo>
                  <a:pt x="1153436" y="855451"/>
                  <a:pt x="1155259" y="853629"/>
                  <a:pt x="1151614" y="853629"/>
                </a:cubicBezTo>
                <a:cubicBezTo>
                  <a:pt x="1149792" y="853629"/>
                  <a:pt x="1153436" y="853629"/>
                  <a:pt x="1153436" y="853629"/>
                </a:cubicBezTo>
                <a:cubicBezTo>
                  <a:pt x="1153436" y="843607"/>
                  <a:pt x="1148425" y="840874"/>
                  <a:pt x="1141364" y="841558"/>
                </a:cubicBezTo>
                <a:close/>
                <a:moveTo>
                  <a:pt x="1246367" y="840874"/>
                </a:moveTo>
                <a:cubicBezTo>
                  <a:pt x="1250012" y="839051"/>
                  <a:pt x="1248189" y="842696"/>
                  <a:pt x="1250012" y="842696"/>
                </a:cubicBezTo>
                <a:lnTo>
                  <a:pt x="1246783" y="844310"/>
                </a:lnTo>
                <a:close/>
                <a:moveTo>
                  <a:pt x="825445" y="840874"/>
                </a:moveTo>
                <a:cubicBezTo>
                  <a:pt x="825445" y="842696"/>
                  <a:pt x="823623" y="842696"/>
                  <a:pt x="821801" y="844518"/>
                </a:cubicBezTo>
                <a:cubicBezTo>
                  <a:pt x="825445" y="846340"/>
                  <a:pt x="830912" y="844518"/>
                  <a:pt x="830912" y="842696"/>
                </a:cubicBezTo>
                <a:cubicBezTo>
                  <a:pt x="830912" y="842696"/>
                  <a:pt x="829089" y="842696"/>
                  <a:pt x="825445" y="840874"/>
                </a:cubicBezTo>
                <a:close/>
                <a:moveTo>
                  <a:pt x="457367" y="840874"/>
                </a:moveTo>
                <a:cubicBezTo>
                  <a:pt x="457367" y="842696"/>
                  <a:pt x="457367" y="842696"/>
                  <a:pt x="455544" y="842696"/>
                </a:cubicBezTo>
                <a:cubicBezTo>
                  <a:pt x="457367" y="846340"/>
                  <a:pt x="462832" y="848162"/>
                  <a:pt x="466478" y="849985"/>
                </a:cubicBezTo>
                <a:cubicBezTo>
                  <a:pt x="466478" y="848162"/>
                  <a:pt x="459188" y="842696"/>
                  <a:pt x="457367" y="840874"/>
                </a:cubicBezTo>
                <a:close/>
                <a:moveTo>
                  <a:pt x="422745" y="840874"/>
                </a:moveTo>
                <a:cubicBezTo>
                  <a:pt x="420923" y="840874"/>
                  <a:pt x="426389" y="846340"/>
                  <a:pt x="428211" y="844518"/>
                </a:cubicBezTo>
                <a:cubicBezTo>
                  <a:pt x="426389" y="844518"/>
                  <a:pt x="426389" y="842696"/>
                  <a:pt x="422745" y="840874"/>
                </a:cubicBezTo>
                <a:close/>
                <a:moveTo>
                  <a:pt x="340747" y="840874"/>
                </a:moveTo>
                <a:cubicBezTo>
                  <a:pt x="340747" y="853629"/>
                  <a:pt x="346213" y="866384"/>
                  <a:pt x="353502" y="877317"/>
                </a:cubicBezTo>
                <a:cubicBezTo>
                  <a:pt x="353502" y="866384"/>
                  <a:pt x="353502" y="853629"/>
                  <a:pt x="340747" y="840874"/>
                </a:cubicBezTo>
                <a:close/>
                <a:moveTo>
                  <a:pt x="1478695" y="840874"/>
                </a:moveTo>
                <a:cubicBezTo>
                  <a:pt x="1477784" y="841785"/>
                  <a:pt x="1476873" y="843607"/>
                  <a:pt x="1475961" y="844518"/>
                </a:cubicBezTo>
                <a:cubicBezTo>
                  <a:pt x="1475961" y="844518"/>
                  <a:pt x="1477784" y="842696"/>
                  <a:pt x="1477784" y="842696"/>
                </a:cubicBezTo>
                <a:cubicBezTo>
                  <a:pt x="1479606" y="840874"/>
                  <a:pt x="1481428" y="840874"/>
                  <a:pt x="1481428" y="842696"/>
                </a:cubicBezTo>
                <a:cubicBezTo>
                  <a:pt x="1480517" y="839963"/>
                  <a:pt x="1479606" y="839963"/>
                  <a:pt x="1478695" y="840874"/>
                </a:cubicBezTo>
                <a:close/>
                <a:moveTo>
                  <a:pt x="268999" y="840874"/>
                </a:moveTo>
                <a:cubicBezTo>
                  <a:pt x="268316" y="840418"/>
                  <a:pt x="267860" y="839963"/>
                  <a:pt x="267860" y="840874"/>
                </a:cubicBezTo>
                <a:cubicBezTo>
                  <a:pt x="269682" y="844518"/>
                  <a:pt x="271504" y="844518"/>
                  <a:pt x="275149" y="846340"/>
                </a:cubicBezTo>
                <a:cubicBezTo>
                  <a:pt x="275149" y="844518"/>
                  <a:pt x="271504" y="842696"/>
                  <a:pt x="271504" y="840874"/>
                </a:cubicBezTo>
                <a:cubicBezTo>
                  <a:pt x="270593" y="841785"/>
                  <a:pt x="269682" y="841329"/>
                  <a:pt x="268999" y="840874"/>
                </a:cubicBezTo>
                <a:close/>
                <a:moveTo>
                  <a:pt x="1270388" y="840044"/>
                </a:moveTo>
                <a:lnTo>
                  <a:pt x="1270056" y="840874"/>
                </a:lnTo>
                <a:lnTo>
                  <a:pt x="1270056" y="840509"/>
                </a:lnTo>
                <a:close/>
                <a:moveTo>
                  <a:pt x="1169153" y="839508"/>
                </a:moveTo>
                <a:cubicBezTo>
                  <a:pt x="1166647" y="838141"/>
                  <a:pt x="1163458" y="838141"/>
                  <a:pt x="1162547" y="840874"/>
                </a:cubicBezTo>
                <a:cubicBezTo>
                  <a:pt x="1166192" y="840874"/>
                  <a:pt x="1168014" y="844518"/>
                  <a:pt x="1171658" y="846340"/>
                </a:cubicBezTo>
                <a:cubicBezTo>
                  <a:pt x="1173481" y="843607"/>
                  <a:pt x="1171658" y="840874"/>
                  <a:pt x="1169153" y="839508"/>
                </a:cubicBezTo>
                <a:close/>
                <a:moveTo>
                  <a:pt x="3245292" y="839051"/>
                </a:moveTo>
                <a:cubicBezTo>
                  <a:pt x="3243470" y="839051"/>
                  <a:pt x="3243470" y="840874"/>
                  <a:pt x="3243470" y="842696"/>
                </a:cubicBezTo>
                <a:cubicBezTo>
                  <a:pt x="3245292" y="842696"/>
                  <a:pt x="3250759" y="844518"/>
                  <a:pt x="3250759" y="842696"/>
                </a:cubicBezTo>
                <a:cubicBezTo>
                  <a:pt x="3252581" y="837229"/>
                  <a:pt x="3245292" y="842696"/>
                  <a:pt x="3245292" y="839051"/>
                </a:cubicBezTo>
                <a:close/>
                <a:moveTo>
                  <a:pt x="1257300" y="839051"/>
                </a:moveTo>
                <a:cubicBezTo>
                  <a:pt x="1253656" y="840874"/>
                  <a:pt x="1253656" y="844518"/>
                  <a:pt x="1251834" y="846340"/>
                </a:cubicBezTo>
                <a:cubicBezTo>
                  <a:pt x="1257300" y="849985"/>
                  <a:pt x="1262767" y="840874"/>
                  <a:pt x="1257300" y="839051"/>
                </a:cubicBezTo>
                <a:close/>
                <a:moveTo>
                  <a:pt x="1209925" y="839051"/>
                </a:moveTo>
                <a:cubicBezTo>
                  <a:pt x="1213568" y="840874"/>
                  <a:pt x="1217213" y="840874"/>
                  <a:pt x="1219036" y="844518"/>
                </a:cubicBezTo>
                <a:cubicBezTo>
                  <a:pt x="1222679" y="840874"/>
                  <a:pt x="1226323" y="844518"/>
                  <a:pt x="1229969" y="842696"/>
                </a:cubicBezTo>
                <a:cubicBezTo>
                  <a:pt x="1231790" y="844518"/>
                  <a:pt x="1229969" y="844518"/>
                  <a:pt x="1228146" y="846340"/>
                </a:cubicBezTo>
                <a:cubicBezTo>
                  <a:pt x="1231790" y="849985"/>
                  <a:pt x="1237256" y="849985"/>
                  <a:pt x="1239080" y="848162"/>
                </a:cubicBezTo>
                <a:cubicBezTo>
                  <a:pt x="1235434" y="846340"/>
                  <a:pt x="1233612" y="844518"/>
                  <a:pt x="1229969" y="842696"/>
                </a:cubicBezTo>
                <a:cubicBezTo>
                  <a:pt x="1222679" y="839051"/>
                  <a:pt x="1217213" y="837229"/>
                  <a:pt x="1209925" y="839051"/>
                </a:cubicBezTo>
                <a:close/>
                <a:moveTo>
                  <a:pt x="1200814" y="839051"/>
                </a:moveTo>
                <a:cubicBezTo>
                  <a:pt x="1206279" y="842696"/>
                  <a:pt x="1209925" y="846340"/>
                  <a:pt x="1215390" y="842696"/>
                </a:cubicBezTo>
                <a:cubicBezTo>
                  <a:pt x="1209925" y="840874"/>
                  <a:pt x="1206279" y="837229"/>
                  <a:pt x="1200814" y="839051"/>
                </a:cubicBezTo>
                <a:close/>
                <a:moveTo>
                  <a:pt x="1013129" y="839051"/>
                </a:moveTo>
                <a:cubicBezTo>
                  <a:pt x="1011307" y="839051"/>
                  <a:pt x="1009485" y="839051"/>
                  <a:pt x="1007663" y="840874"/>
                </a:cubicBezTo>
                <a:cubicBezTo>
                  <a:pt x="1011307" y="842696"/>
                  <a:pt x="1011307" y="842696"/>
                  <a:pt x="1014951" y="846340"/>
                </a:cubicBezTo>
                <a:cubicBezTo>
                  <a:pt x="1014951" y="842696"/>
                  <a:pt x="1014951" y="840874"/>
                  <a:pt x="1013129" y="839051"/>
                </a:cubicBezTo>
                <a:close/>
                <a:moveTo>
                  <a:pt x="971219" y="839051"/>
                </a:moveTo>
                <a:cubicBezTo>
                  <a:pt x="973041" y="842696"/>
                  <a:pt x="973041" y="844518"/>
                  <a:pt x="976686" y="848162"/>
                </a:cubicBezTo>
                <a:cubicBezTo>
                  <a:pt x="978508" y="848162"/>
                  <a:pt x="978508" y="844518"/>
                  <a:pt x="978508" y="844518"/>
                </a:cubicBezTo>
                <a:cubicBezTo>
                  <a:pt x="976686" y="842696"/>
                  <a:pt x="976686" y="842696"/>
                  <a:pt x="976686" y="840874"/>
                </a:cubicBezTo>
                <a:cubicBezTo>
                  <a:pt x="980330" y="842696"/>
                  <a:pt x="982152" y="842696"/>
                  <a:pt x="982152" y="842696"/>
                </a:cubicBezTo>
                <a:cubicBezTo>
                  <a:pt x="978508" y="840874"/>
                  <a:pt x="974863" y="839051"/>
                  <a:pt x="971219" y="839051"/>
                </a:cubicBezTo>
                <a:close/>
                <a:moveTo>
                  <a:pt x="894688" y="839051"/>
                </a:moveTo>
                <a:cubicBezTo>
                  <a:pt x="892866" y="840874"/>
                  <a:pt x="891043" y="840874"/>
                  <a:pt x="889222" y="842696"/>
                </a:cubicBezTo>
                <a:cubicBezTo>
                  <a:pt x="891043" y="844518"/>
                  <a:pt x="894688" y="849985"/>
                  <a:pt x="900154" y="846340"/>
                </a:cubicBezTo>
                <a:cubicBezTo>
                  <a:pt x="898333" y="842696"/>
                  <a:pt x="898333" y="840874"/>
                  <a:pt x="894688" y="839051"/>
                </a:cubicBezTo>
                <a:close/>
                <a:moveTo>
                  <a:pt x="889222" y="839051"/>
                </a:moveTo>
                <a:cubicBezTo>
                  <a:pt x="887399" y="839051"/>
                  <a:pt x="883755" y="840874"/>
                  <a:pt x="883755" y="842696"/>
                </a:cubicBezTo>
                <a:cubicBezTo>
                  <a:pt x="885577" y="844518"/>
                  <a:pt x="892866" y="839051"/>
                  <a:pt x="889222" y="839051"/>
                </a:cubicBezTo>
                <a:close/>
                <a:moveTo>
                  <a:pt x="204084" y="839051"/>
                </a:moveTo>
                <a:cubicBezTo>
                  <a:pt x="204084" y="844518"/>
                  <a:pt x="211372" y="844518"/>
                  <a:pt x="215017" y="846340"/>
                </a:cubicBezTo>
                <a:cubicBezTo>
                  <a:pt x="213195" y="842696"/>
                  <a:pt x="207728" y="840874"/>
                  <a:pt x="204084" y="839051"/>
                </a:cubicBezTo>
                <a:close/>
                <a:moveTo>
                  <a:pt x="173107" y="839051"/>
                </a:moveTo>
                <a:cubicBezTo>
                  <a:pt x="174929" y="842696"/>
                  <a:pt x="182218" y="848162"/>
                  <a:pt x="185862" y="848162"/>
                </a:cubicBezTo>
                <a:cubicBezTo>
                  <a:pt x="182218" y="844518"/>
                  <a:pt x="176751" y="842696"/>
                  <a:pt x="173107" y="839051"/>
                </a:cubicBezTo>
                <a:close/>
                <a:moveTo>
                  <a:pt x="1298032" y="838409"/>
                </a:moveTo>
                <a:lnTo>
                  <a:pt x="1299210" y="839051"/>
                </a:lnTo>
                <a:lnTo>
                  <a:pt x="1291923" y="844518"/>
                </a:lnTo>
                <a:close/>
                <a:moveTo>
                  <a:pt x="1353876" y="837229"/>
                </a:moveTo>
                <a:cubicBezTo>
                  <a:pt x="1352053" y="839051"/>
                  <a:pt x="1355698" y="842696"/>
                  <a:pt x="1357521" y="839051"/>
                </a:cubicBezTo>
                <a:cubicBezTo>
                  <a:pt x="1357521" y="837229"/>
                  <a:pt x="1355698" y="839051"/>
                  <a:pt x="1353876" y="837229"/>
                </a:cubicBezTo>
                <a:close/>
                <a:moveTo>
                  <a:pt x="1198991" y="837229"/>
                </a:moveTo>
                <a:cubicBezTo>
                  <a:pt x="1197169" y="839051"/>
                  <a:pt x="1198991" y="839051"/>
                  <a:pt x="1197169" y="840874"/>
                </a:cubicBezTo>
                <a:cubicBezTo>
                  <a:pt x="1198991" y="844518"/>
                  <a:pt x="1202636" y="842696"/>
                  <a:pt x="1206279" y="842696"/>
                </a:cubicBezTo>
                <a:cubicBezTo>
                  <a:pt x="1202636" y="844518"/>
                  <a:pt x="1200814" y="839051"/>
                  <a:pt x="1198991" y="837229"/>
                </a:cubicBezTo>
                <a:close/>
                <a:moveTo>
                  <a:pt x="1175303" y="837229"/>
                </a:moveTo>
                <a:cubicBezTo>
                  <a:pt x="1178947" y="840874"/>
                  <a:pt x="1188058" y="842696"/>
                  <a:pt x="1191703" y="844518"/>
                </a:cubicBezTo>
                <a:cubicBezTo>
                  <a:pt x="1193525" y="842696"/>
                  <a:pt x="1191703" y="840874"/>
                  <a:pt x="1195346" y="839051"/>
                </a:cubicBezTo>
                <a:cubicBezTo>
                  <a:pt x="1189880" y="835407"/>
                  <a:pt x="1182592" y="839051"/>
                  <a:pt x="1175303" y="837229"/>
                </a:cubicBezTo>
                <a:close/>
                <a:moveTo>
                  <a:pt x="1014951" y="837229"/>
                </a:moveTo>
                <a:cubicBezTo>
                  <a:pt x="1011307" y="840874"/>
                  <a:pt x="1016774" y="844518"/>
                  <a:pt x="1016774" y="846340"/>
                </a:cubicBezTo>
                <a:cubicBezTo>
                  <a:pt x="1016774" y="842696"/>
                  <a:pt x="1014951" y="840874"/>
                  <a:pt x="1014951" y="837229"/>
                </a:cubicBezTo>
                <a:close/>
                <a:moveTo>
                  <a:pt x="876466" y="837229"/>
                </a:moveTo>
                <a:cubicBezTo>
                  <a:pt x="858244" y="851807"/>
                  <a:pt x="876466" y="839051"/>
                  <a:pt x="878288" y="839051"/>
                </a:cubicBezTo>
                <a:cubicBezTo>
                  <a:pt x="878288" y="839051"/>
                  <a:pt x="878288" y="837229"/>
                  <a:pt x="876466" y="837229"/>
                </a:cubicBezTo>
                <a:close/>
                <a:moveTo>
                  <a:pt x="581274" y="837229"/>
                </a:moveTo>
                <a:cubicBezTo>
                  <a:pt x="575808" y="840874"/>
                  <a:pt x="583096" y="840874"/>
                  <a:pt x="583096" y="842696"/>
                </a:cubicBezTo>
                <a:cubicBezTo>
                  <a:pt x="584919" y="840874"/>
                  <a:pt x="583096" y="839051"/>
                  <a:pt x="581274" y="837229"/>
                </a:cubicBezTo>
                <a:close/>
                <a:moveTo>
                  <a:pt x="553941" y="837229"/>
                </a:moveTo>
                <a:cubicBezTo>
                  <a:pt x="548475" y="835407"/>
                  <a:pt x="546653" y="839051"/>
                  <a:pt x="544830" y="842696"/>
                </a:cubicBezTo>
                <a:cubicBezTo>
                  <a:pt x="550297" y="848162"/>
                  <a:pt x="553941" y="846340"/>
                  <a:pt x="557586" y="844518"/>
                </a:cubicBezTo>
                <a:cubicBezTo>
                  <a:pt x="564874" y="839051"/>
                  <a:pt x="546653" y="844518"/>
                  <a:pt x="553941" y="837229"/>
                </a:cubicBezTo>
                <a:close/>
                <a:moveTo>
                  <a:pt x="486521" y="837229"/>
                </a:moveTo>
                <a:cubicBezTo>
                  <a:pt x="484700" y="840874"/>
                  <a:pt x="491987" y="844518"/>
                  <a:pt x="493809" y="848162"/>
                </a:cubicBezTo>
                <a:cubicBezTo>
                  <a:pt x="495632" y="846340"/>
                  <a:pt x="495632" y="844518"/>
                  <a:pt x="495632" y="842696"/>
                </a:cubicBezTo>
                <a:cubicBezTo>
                  <a:pt x="491987" y="839051"/>
                  <a:pt x="490165" y="839051"/>
                  <a:pt x="486521" y="837229"/>
                </a:cubicBezTo>
                <a:close/>
                <a:moveTo>
                  <a:pt x="238705" y="837229"/>
                </a:moveTo>
                <a:cubicBezTo>
                  <a:pt x="238705" y="839051"/>
                  <a:pt x="244172" y="844518"/>
                  <a:pt x="245994" y="844518"/>
                </a:cubicBezTo>
                <a:cubicBezTo>
                  <a:pt x="247816" y="842696"/>
                  <a:pt x="240527" y="840874"/>
                  <a:pt x="238705" y="837229"/>
                </a:cubicBezTo>
                <a:close/>
                <a:moveTo>
                  <a:pt x="140308" y="837229"/>
                </a:moveTo>
                <a:lnTo>
                  <a:pt x="158788" y="869926"/>
                </a:lnTo>
                <a:lnTo>
                  <a:pt x="160989" y="876339"/>
                </a:lnTo>
                <a:lnTo>
                  <a:pt x="152380" y="861601"/>
                </a:lnTo>
                <a:cubicBezTo>
                  <a:pt x="148508" y="853629"/>
                  <a:pt x="144863" y="845429"/>
                  <a:pt x="140308" y="837229"/>
                </a:cubicBezTo>
                <a:close/>
                <a:moveTo>
                  <a:pt x="1303231" y="836853"/>
                </a:moveTo>
                <a:lnTo>
                  <a:pt x="1306818" y="839212"/>
                </a:lnTo>
                <a:lnTo>
                  <a:pt x="1302855" y="837229"/>
                </a:lnTo>
                <a:close/>
                <a:moveTo>
                  <a:pt x="750737" y="836546"/>
                </a:moveTo>
                <a:cubicBezTo>
                  <a:pt x="748914" y="835863"/>
                  <a:pt x="746180" y="836318"/>
                  <a:pt x="743447" y="839051"/>
                </a:cubicBezTo>
                <a:cubicBezTo>
                  <a:pt x="745269" y="840874"/>
                  <a:pt x="748914" y="840874"/>
                  <a:pt x="752558" y="840874"/>
                </a:cubicBezTo>
                <a:cubicBezTo>
                  <a:pt x="753469" y="839052"/>
                  <a:pt x="752558" y="837230"/>
                  <a:pt x="750737" y="836546"/>
                </a:cubicBezTo>
                <a:close/>
                <a:moveTo>
                  <a:pt x="787230" y="835986"/>
                </a:moveTo>
                <a:lnTo>
                  <a:pt x="791257" y="837229"/>
                </a:lnTo>
                <a:lnTo>
                  <a:pt x="788319" y="837229"/>
                </a:lnTo>
                <a:close/>
                <a:moveTo>
                  <a:pt x="3203382" y="835407"/>
                </a:moveTo>
                <a:cubicBezTo>
                  <a:pt x="3199738" y="837229"/>
                  <a:pt x="3201560" y="844518"/>
                  <a:pt x="3207027" y="846340"/>
                </a:cubicBezTo>
                <a:cubicBezTo>
                  <a:pt x="3207027" y="840874"/>
                  <a:pt x="3207027" y="842696"/>
                  <a:pt x="3207027" y="837229"/>
                </a:cubicBezTo>
                <a:cubicBezTo>
                  <a:pt x="3205204" y="837229"/>
                  <a:pt x="3203382" y="835407"/>
                  <a:pt x="3203382" y="835407"/>
                </a:cubicBezTo>
                <a:close/>
                <a:moveTo>
                  <a:pt x="1301033" y="835407"/>
                </a:moveTo>
                <a:lnTo>
                  <a:pt x="1301877" y="835963"/>
                </a:lnTo>
                <a:lnTo>
                  <a:pt x="1301033" y="837229"/>
                </a:lnTo>
                <a:lnTo>
                  <a:pt x="1299940" y="836501"/>
                </a:lnTo>
                <a:close/>
                <a:moveTo>
                  <a:pt x="1022240" y="835407"/>
                </a:moveTo>
                <a:cubicBezTo>
                  <a:pt x="1024062" y="837229"/>
                  <a:pt x="1020418" y="839051"/>
                  <a:pt x="1022240" y="839051"/>
                </a:cubicBezTo>
                <a:cubicBezTo>
                  <a:pt x="1025884" y="840874"/>
                  <a:pt x="1024062" y="842696"/>
                  <a:pt x="1025884" y="846340"/>
                </a:cubicBezTo>
                <a:cubicBezTo>
                  <a:pt x="1029529" y="840874"/>
                  <a:pt x="1025884" y="837229"/>
                  <a:pt x="1022240" y="835407"/>
                </a:cubicBezTo>
                <a:close/>
                <a:moveTo>
                  <a:pt x="973041" y="835407"/>
                </a:moveTo>
                <a:cubicBezTo>
                  <a:pt x="971219" y="837229"/>
                  <a:pt x="971219" y="837229"/>
                  <a:pt x="973041" y="839051"/>
                </a:cubicBezTo>
                <a:cubicBezTo>
                  <a:pt x="974863" y="837229"/>
                  <a:pt x="976686" y="835407"/>
                  <a:pt x="978508" y="835407"/>
                </a:cubicBezTo>
                <a:cubicBezTo>
                  <a:pt x="976686" y="833585"/>
                  <a:pt x="974863" y="835407"/>
                  <a:pt x="973041" y="835407"/>
                </a:cubicBezTo>
                <a:close/>
                <a:moveTo>
                  <a:pt x="685138" y="835407"/>
                </a:moveTo>
                <a:cubicBezTo>
                  <a:pt x="681493" y="837229"/>
                  <a:pt x="681493" y="840874"/>
                  <a:pt x="685138" y="842696"/>
                </a:cubicBezTo>
                <a:cubicBezTo>
                  <a:pt x="686960" y="842696"/>
                  <a:pt x="688782" y="840874"/>
                  <a:pt x="688782" y="839051"/>
                </a:cubicBezTo>
                <a:cubicBezTo>
                  <a:pt x="686960" y="837229"/>
                  <a:pt x="686960" y="837229"/>
                  <a:pt x="685138" y="835407"/>
                </a:cubicBezTo>
                <a:close/>
                <a:moveTo>
                  <a:pt x="532075" y="835407"/>
                </a:moveTo>
                <a:cubicBezTo>
                  <a:pt x="530253" y="837229"/>
                  <a:pt x="533897" y="837229"/>
                  <a:pt x="535719" y="840874"/>
                </a:cubicBezTo>
                <a:cubicBezTo>
                  <a:pt x="539364" y="839051"/>
                  <a:pt x="533897" y="835407"/>
                  <a:pt x="532075" y="835407"/>
                </a:cubicBezTo>
                <a:close/>
                <a:moveTo>
                  <a:pt x="322525" y="835407"/>
                </a:moveTo>
                <a:cubicBezTo>
                  <a:pt x="324347" y="840874"/>
                  <a:pt x="329814" y="844518"/>
                  <a:pt x="333458" y="849985"/>
                </a:cubicBezTo>
                <a:cubicBezTo>
                  <a:pt x="331636" y="844518"/>
                  <a:pt x="331636" y="839051"/>
                  <a:pt x="326169" y="837229"/>
                </a:cubicBezTo>
                <a:cubicBezTo>
                  <a:pt x="329814" y="837229"/>
                  <a:pt x="331636" y="840874"/>
                  <a:pt x="333458" y="842696"/>
                </a:cubicBezTo>
                <a:cubicBezTo>
                  <a:pt x="335280" y="839051"/>
                  <a:pt x="326169" y="831763"/>
                  <a:pt x="322525" y="835407"/>
                </a:cubicBezTo>
                <a:close/>
                <a:moveTo>
                  <a:pt x="961197" y="835180"/>
                </a:moveTo>
                <a:cubicBezTo>
                  <a:pt x="959830" y="834496"/>
                  <a:pt x="958464" y="834496"/>
                  <a:pt x="956642" y="837229"/>
                </a:cubicBezTo>
                <a:cubicBezTo>
                  <a:pt x="956642" y="837229"/>
                  <a:pt x="956642" y="839051"/>
                  <a:pt x="958464" y="839051"/>
                </a:cubicBezTo>
                <a:cubicBezTo>
                  <a:pt x="960286" y="840874"/>
                  <a:pt x="962108" y="840874"/>
                  <a:pt x="965753" y="837229"/>
                </a:cubicBezTo>
                <a:cubicBezTo>
                  <a:pt x="963930" y="837229"/>
                  <a:pt x="962564" y="835863"/>
                  <a:pt x="961197" y="835180"/>
                </a:cubicBezTo>
                <a:close/>
                <a:moveTo>
                  <a:pt x="3161472" y="833585"/>
                </a:moveTo>
                <a:cubicBezTo>
                  <a:pt x="3157828" y="839051"/>
                  <a:pt x="3152361" y="839051"/>
                  <a:pt x="3156006" y="846340"/>
                </a:cubicBezTo>
                <a:cubicBezTo>
                  <a:pt x="3156006" y="844518"/>
                  <a:pt x="3161472" y="842696"/>
                  <a:pt x="3159650" y="839051"/>
                </a:cubicBezTo>
                <a:cubicBezTo>
                  <a:pt x="3161472" y="840874"/>
                  <a:pt x="3165116" y="844518"/>
                  <a:pt x="3168761" y="840874"/>
                </a:cubicBezTo>
                <a:cubicBezTo>
                  <a:pt x="3165116" y="846340"/>
                  <a:pt x="3165116" y="848162"/>
                  <a:pt x="3157828" y="848162"/>
                </a:cubicBezTo>
                <a:cubicBezTo>
                  <a:pt x="3163294" y="853629"/>
                  <a:pt x="3170583" y="855451"/>
                  <a:pt x="3177872" y="857273"/>
                </a:cubicBezTo>
                <a:cubicBezTo>
                  <a:pt x="3176050" y="855451"/>
                  <a:pt x="3172405" y="855451"/>
                  <a:pt x="3170583" y="853629"/>
                </a:cubicBezTo>
                <a:cubicBezTo>
                  <a:pt x="3166939" y="848162"/>
                  <a:pt x="3177872" y="851807"/>
                  <a:pt x="3176050" y="846340"/>
                </a:cubicBezTo>
                <a:cubicBezTo>
                  <a:pt x="3174227" y="844518"/>
                  <a:pt x="3170583" y="846340"/>
                  <a:pt x="3168761" y="846340"/>
                </a:cubicBezTo>
                <a:cubicBezTo>
                  <a:pt x="3176050" y="840874"/>
                  <a:pt x="3172405" y="831763"/>
                  <a:pt x="3161472" y="833585"/>
                </a:cubicBezTo>
                <a:close/>
                <a:moveTo>
                  <a:pt x="3150539" y="833585"/>
                </a:moveTo>
                <a:cubicBezTo>
                  <a:pt x="3139606" y="833585"/>
                  <a:pt x="3134140" y="839051"/>
                  <a:pt x="3130495" y="844518"/>
                </a:cubicBezTo>
                <a:cubicBezTo>
                  <a:pt x="3135962" y="840874"/>
                  <a:pt x="3139606" y="846340"/>
                  <a:pt x="3146895" y="846340"/>
                </a:cubicBezTo>
                <a:cubicBezTo>
                  <a:pt x="3146895" y="842696"/>
                  <a:pt x="3150539" y="842696"/>
                  <a:pt x="3150539" y="837229"/>
                </a:cubicBezTo>
                <a:cubicBezTo>
                  <a:pt x="3150539" y="839051"/>
                  <a:pt x="3145073" y="840874"/>
                  <a:pt x="3146895" y="835407"/>
                </a:cubicBezTo>
                <a:cubicBezTo>
                  <a:pt x="3145073" y="833585"/>
                  <a:pt x="3152361" y="839051"/>
                  <a:pt x="3150539" y="833585"/>
                </a:cubicBezTo>
                <a:close/>
                <a:moveTo>
                  <a:pt x="2509134" y="833585"/>
                </a:moveTo>
                <a:cubicBezTo>
                  <a:pt x="2505490" y="835407"/>
                  <a:pt x="2507312" y="844518"/>
                  <a:pt x="2505490" y="849985"/>
                </a:cubicBezTo>
                <a:cubicBezTo>
                  <a:pt x="2510956" y="849985"/>
                  <a:pt x="2510956" y="848162"/>
                  <a:pt x="2514600" y="848162"/>
                </a:cubicBezTo>
                <a:cubicBezTo>
                  <a:pt x="2514600" y="840874"/>
                  <a:pt x="2510956" y="839051"/>
                  <a:pt x="2509134" y="833585"/>
                </a:cubicBezTo>
                <a:close/>
                <a:moveTo>
                  <a:pt x="1430407" y="833585"/>
                </a:moveTo>
                <a:cubicBezTo>
                  <a:pt x="1425851" y="838141"/>
                  <a:pt x="1420840" y="843607"/>
                  <a:pt x="1415829" y="847024"/>
                </a:cubicBezTo>
                <a:lnTo>
                  <a:pt x="1415235" y="847070"/>
                </a:lnTo>
                <a:close/>
                <a:moveTo>
                  <a:pt x="1335654" y="833585"/>
                </a:moveTo>
                <a:cubicBezTo>
                  <a:pt x="1332009" y="835407"/>
                  <a:pt x="1332009" y="835407"/>
                  <a:pt x="1330188" y="837229"/>
                </a:cubicBezTo>
                <a:cubicBezTo>
                  <a:pt x="1335654" y="840874"/>
                  <a:pt x="1339299" y="842696"/>
                  <a:pt x="1344765" y="840874"/>
                </a:cubicBezTo>
                <a:cubicBezTo>
                  <a:pt x="1344765" y="835407"/>
                  <a:pt x="1339299" y="833585"/>
                  <a:pt x="1335654" y="833585"/>
                </a:cubicBezTo>
                <a:close/>
                <a:moveTo>
                  <a:pt x="983974" y="833585"/>
                </a:moveTo>
                <a:cubicBezTo>
                  <a:pt x="982152" y="835407"/>
                  <a:pt x="980330" y="835407"/>
                  <a:pt x="978508" y="837229"/>
                </a:cubicBezTo>
                <a:cubicBezTo>
                  <a:pt x="980330" y="839051"/>
                  <a:pt x="987619" y="835407"/>
                  <a:pt x="983974" y="833585"/>
                </a:cubicBezTo>
                <a:close/>
                <a:moveTo>
                  <a:pt x="555763" y="833585"/>
                </a:moveTo>
                <a:cubicBezTo>
                  <a:pt x="555763" y="839051"/>
                  <a:pt x="557586" y="835407"/>
                  <a:pt x="561230" y="833585"/>
                </a:cubicBezTo>
                <a:cubicBezTo>
                  <a:pt x="559408" y="831763"/>
                  <a:pt x="557586" y="835407"/>
                  <a:pt x="555763" y="833585"/>
                </a:cubicBezTo>
                <a:close/>
                <a:moveTo>
                  <a:pt x="433678" y="833585"/>
                </a:moveTo>
                <a:cubicBezTo>
                  <a:pt x="439145" y="839051"/>
                  <a:pt x="444611" y="855451"/>
                  <a:pt x="453722" y="851807"/>
                </a:cubicBezTo>
                <a:cubicBezTo>
                  <a:pt x="451899" y="849985"/>
                  <a:pt x="453722" y="849985"/>
                  <a:pt x="451899" y="848162"/>
                </a:cubicBezTo>
                <a:cubicBezTo>
                  <a:pt x="457367" y="857273"/>
                  <a:pt x="466478" y="857273"/>
                  <a:pt x="475589" y="859095"/>
                </a:cubicBezTo>
                <a:cubicBezTo>
                  <a:pt x="470121" y="853629"/>
                  <a:pt x="466478" y="857273"/>
                  <a:pt x="461010" y="853629"/>
                </a:cubicBezTo>
                <a:cubicBezTo>
                  <a:pt x="459188" y="853629"/>
                  <a:pt x="462832" y="853629"/>
                  <a:pt x="462832" y="853629"/>
                </a:cubicBezTo>
                <a:cubicBezTo>
                  <a:pt x="453722" y="844518"/>
                  <a:pt x="442789" y="837229"/>
                  <a:pt x="433678" y="833585"/>
                </a:cubicBezTo>
                <a:close/>
                <a:moveTo>
                  <a:pt x="616806" y="832446"/>
                </a:moveTo>
                <a:cubicBezTo>
                  <a:pt x="614074" y="830396"/>
                  <a:pt x="610428" y="829941"/>
                  <a:pt x="608606" y="833585"/>
                </a:cubicBezTo>
                <a:cubicBezTo>
                  <a:pt x="612251" y="837229"/>
                  <a:pt x="615895" y="837229"/>
                  <a:pt x="619539" y="840874"/>
                </a:cubicBezTo>
                <a:cubicBezTo>
                  <a:pt x="621361" y="838141"/>
                  <a:pt x="619539" y="834496"/>
                  <a:pt x="616806" y="832446"/>
                </a:cubicBezTo>
                <a:close/>
                <a:moveTo>
                  <a:pt x="3217960" y="831763"/>
                </a:moveTo>
                <a:cubicBezTo>
                  <a:pt x="3212493" y="829941"/>
                  <a:pt x="3217960" y="837229"/>
                  <a:pt x="3216137" y="835407"/>
                </a:cubicBezTo>
                <a:cubicBezTo>
                  <a:pt x="3212493" y="831763"/>
                  <a:pt x="3212493" y="835407"/>
                  <a:pt x="3207027" y="835407"/>
                </a:cubicBezTo>
                <a:cubicBezTo>
                  <a:pt x="3207027" y="839051"/>
                  <a:pt x="3208849" y="842696"/>
                  <a:pt x="3210671" y="844518"/>
                </a:cubicBezTo>
                <a:cubicBezTo>
                  <a:pt x="3214315" y="840874"/>
                  <a:pt x="3221604" y="839051"/>
                  <a:pt x="3217960" y="831763"/>
                </a:cubicBezTo>
                <a:close/>
                <a:moveTo>
                  <a:pt x="1064151" y="831763"/>
                </a:moveTo>
                <a:cubicBezTo>
                  <a:pt x="1060506" y="835407"/>
                  <a:pt x="1058683" y="837229"/>
                  <a:pt x="1056861" y="837229"/>
                </a:cubicBezTo>
                <a:cubicBezTo>
                  <a:pt x="1060506" y="839051"/>
                  <a:pt x="1062328" y="844518"/>
                  <a:pt x="1064151" y="844518"/>
                </a:cubicBezTo>
                <a:cubicBezTo>
                  <a:pt x="1060506" y="844518"/>
                  <a:pt x="1058683" y="839051"/>
                  <a:pt x="1055040" y="835407"/>
                </a:cubicBezTo>
                <a:cubicBezTo>
                  <a:pt x="1051395" y="837229"/>
                  <a:pt x="1047750" y="839051"/>
                  <a:pt x="1045929" y="840874"/>
                </a:cubicBezTo>
                <a:cubicBezTo>
                  <a:pt x="1045929" y="842696"/>
                  <a:pt x="1047750" y="842696"/>
                  <a:pt x="1049573" y="842696"/>
                </a:cubicBezTo>
                <a:cubicBezTo>
                  <a:pt x="1045929" y="842696"/>
                  <a:pt x="1044106" y="848162"/>
                  <a:pt x="1040462" y="849985"/>
                </a:cubicBezTo>
                <a:cubicBezTo>
                  <a:pt x="1042284" y="851807"/>
                  <a:pt x="1042284" y="849985"/>
                  <a:pt x="1044106" y="849985"/>
                </a:cubicBezTo>
                <a:cubicBezTo>
                  <a:pt x="1044106" y="853629"/>
                  <a:pt x="1036818" y="857273"/>
                  <a:pt x="1040462" y="862740"/>
                </a:cubicBezTo>
                <a:cubicBezTo>
                  <a:pt x="1040462" y="862740"/>
                  <a:pt x="1042284" y="860918"/>
                  <a:pt x="1044106" y="859095"/>
                </a:cubicBezTo>
                <a:cubicBezTo>
                  <a:pt x="1044106" y="864562"/>
                  <a:pt x="1036818" y="870028"/>
                  <a:pt x="1042284" y="877317"/>
                </a:cubicBezTo>
                <a:cubicBezTo>
                  <a:pt x="1047750" y="873673"/>
                  <a:pt x="1051395" y="868206"/>
                  <a:pt x="1060506" y="866384"/>
                </a:cubicBezTo>
                <a:cubicBezTo>
                  <a:pt x="1062328" y="864562"/>
                  <a:pt x="1060506" y="862740"/>
                  <a:pt x="1060506" y="860918"/>
                </a:cubicBezTo>
                <a:cubicBezTo>
                  <a:pt x="1067794" y="855451"/>
                  <a:pt x="1060506" y="849985"/>
                  <a:pt x="1064151" y="844518"/>
                </a:cubicBezTo>
                <a:cubicBezTo>
                  <a:pt x="1067794" y="840874"/>
                  <a:pt x="1071439" y="837229"/>
                  <a:pt x="1069616" y="831763"/>
                </a:cubicBezTo>
                <a:cubicBezTo>
                  <a:pt x="1067794" y="831763"/>
                  <a:pt x="1065972" y="831763"/>
                  <a:pt x="1064151" y="831763"/>
                </a:cubicBezTo>
                <a:close/>
                <a:moveTo>
                  <a:pt x="736159" y="831763"/>
                </a:moveTo>
                <a:cubicBezTo>
                  <a:pt x="737981" y="833585"/>
                  <a:pt x="734336" y="835407"/>
                  <a:pt x="734336" y="839051"/>
                </a:cubicBezTo>
                <a:cubicBezTo>
                  <a:pt x="737981" y="840874"/>
                  <a:pt x="739803" y="840874"/>
                  <a:pt x="741626" y="835407"/>
                </a:cubicBezTo>
                <a:cubicBezTo>
                  <a:pt x="741626" y="831763"/>
                  <a:pt x="736159" y="833585"/>
                  <a:pt x="736159" y="831763"/>
                </a:cubicBezTo>
                <a:close/>
                <a:moveTo>
                  <a:pt x="717937" y="831763"/>
                </a:moveTo>
                <a:cubicBezTo>
                  <a:pt x="717937" y="829941"/>
                  <a:pt x="714293" y="835407"/>
                  <a:pt x="716115" y="837229"/>
                </a:cubicBezTo>
                <a:cubicBezTo>
                  <a:pt x="716115" y="835407"/>
                  <a:pt x="717937" y="833585"/>
                  <a:pt x="717937" y="831763"/>
                </a:cubicBezTo>
                <a:close/>
                <a:moveTo>
                  <a:pt x="382657" y="831763"/>
                </a:moveTo>
                <a:cubicBezTo>
                  <a:pt x="391768" y="842696"/>
                  <a:pt x="399056" y="859095"/>
                  <a:pt x="409989" y="868206"/>
                </a:cubicBezTo>
                <a:cubicBezTo>
                  <a:pt x="411812" y="868206"/>
                  <a:pt x="409989" y="866384"/>
                  <a:pt x="408167" y="864562"/>
                </a:cubicBezTo>
                <a:cubicBezTo>
                  <a:pt x="411812" y="866384"/>
                  <a:pt x="415456" y="871851"/>
                  <a:pt x="419100" y="868206"/>
                </a:cubicBezTo>
                <a:cubicBezTo>
                  <a:pt x="417278" y="864562"/>
                  <a:pt x="413634" y="860918"/>
                  <a:pt x="409989" y="857273"/>
                </a:cubicBezTo>
                <a:cubicBezTo>
                  <a:pt x="422745" y="864562"/>
                  <a:pt x="430034" y="877317"/>
                  <a:pt x="440966" y="884606"/>
                </a:cubicBezTo>
                <a:cubicBezTo>
                  <a:pt x="439145" y="884606"/>
                  <a:pt x="439145" y="880961"/>
                  <a:pt x="439145" y="879139"/>
                </a:cubicBezTo>
                <a:cubicBezTo>
                  <a:pt x="444611" y="884606"/>
                  <a:pt x="440966" y="891894"/>
                  <a:pt x="451899" y="891894"/>
                </a:cubicBezTo>
                <a:lnTo>
                  <a:pt x="441405" y="877012"/>
                </a:lnTo>
                <a:lnTo>
                  <a:pt x="446433" y="879139"/>
                </a:lnTo>
                <a:cubicBezTo>
                  <a:pt x="444611" y="877317"/>
                  <a:pt x="440966" y="875495"/>
                  <a:pt x="437322" y="870028"/>
                </a:cubicBezTo>
                <a:lnTo>
                  <a:pt x="439143" y="873799"/>
                </a:lnTo>
                <a:lnTo>
                  <a:pt x="433193" y="865246"/>
                </a:lnTo>
                <a:cubicBezTo>
                  <a:pt x="430603" y="862626"/>
                  <a:pt x="427300" y="860462"/>
                  <a:pt x="422745" y="859095"/>
                </a:cubicBezTo>
                <a:cubicBezTo>
                  <a:pt x="424567" y="859095"/>
                  <a:pt x="428211" y="859095"/>
                  <a:pt x="428211" y="859095"/>
                </a:cubicBezTo>
                <a:cubicBezTo>
                  <a:pt x="428211" y="851807"/>
                  <a:pt x="417278" y="848162"/>
                  <a:pt x="411812" y="844518"/>
                </a:cubicBezTo>
                <a:cubicBezTo>
                  <a:pt x="413634" y="846340"/>
                  <a:pt x="413634" y="846340"/>
                  <a:pt x="417278" y="846340"/>
                </a:cubicBezTo>
                <a:cubicBezTo>
                  <a:pt x="411812" y="839051"/>
                  <a:pt x="406345" y="846340"/>
                  <a:pt x="400879" y="844518"/>
                </a:cubicBezTo>
                <a:cubicBezTo>
                  <a:pt x="404523" y="842696"/>
                  <a:pt x="406345" y="840874"/>
                  <a:pt x="411812" y="840874"/>
                </a:cubicBezTo>
                <a:cubicBezTo>
                  <a:pt x="400879" y="840874"/>
                  <a:pt x="391768" y="829941"/>
                  <a:pt x="382657" y="831763"/>
                </a:cubicBezTo>
                <a:close/>
                <a:moveTo>
                  <a:pt x="338926" y="831763"/>
                </a:moveTo>
                <a:cubicBezTo>
                  <a:pt x="338926" y="833585"/>
                  <a:pt x="342569" y="840874"/>
                  <a:pt x="344391" y="839051"/>
                </a:cubicBezTo>
                <a:cubicBezTo>
                  <a:pt x="342569" y="837229"/>
                  <a:pt x="340747" y="835407"/>
                  <a:pt x="338926" y="831763"/>
                </a:cubicBezTo>
                <a:close/>
                <a:moveTo>
                  <a:pt x="3199738" y="829941"/>
                </a:moveTo>
                <a:cubicBezTo>
                  <a:pt x="3201560" y="833585"/>
                  <a:pt x="3192449" y="835407"/>
                  <a:pt x="3199738" y="835407"/>
                </a:cubicBezTo>
                <a:cubicBezTo>
                  <a:pt x="3199738" y="835407"/>
                  <a:pt x="3199738" y="833585"/>
                  <a:pt x="3199738" y="833585"/>
                </a:cubicBezTo>
                <a:cubicBezTo>
                  <a:pt x="3203382" y="833585"/>
                  <a:pt x="3205204" y="835407"/>
                  <a:pt x="3208849" y="833585"/>
                </a:cubicBezTo>
                <a:cubicBezTo>
                  <a:pt x="3210671" y="828118"/>
                  <a:pt x="3203382" y="831763"/>
                  <a:pt x="3199738" y="829941"/>
                </a:cubicBezTo>
                <a:close/>
                <a:moveTo>
                  <a:pt x="2337850" y="829941"/>
                </a:moveTo>
                <a:cubicBezTo>
                  <a:pt x="2336027" y="831763"/>
                  <a:pt x="2334205" y="831763"/>
                  <a:pt x="2334205" y="831763"/>
                </a:cubicBezTo>
                <a:cubicBezTo>
                  <a:pt x="2332383" y="837229"/>
                  <a:pt x="2336027" y="835407"/>
                  <a:pt x="2337850" y="835407"/>
                </a:cubicBezTo>
                <a:cubicBezTo>
                  <a:pt x="2337850" y="833585"/>
                  <a:pt x="2337850" y="831763"/>
                  <a:pt x="2337850" y="829941"/>
                </a:cubicBezTo>
                <a:close/>
                <a:moveTo>
                  <a:pt x="1109704" y="829941"/>
                </a:moveTo>
                <a:cubicBezTo>
                  <a:pt x="1102416" y="831763"/>
                  <a:pt x="1096949" y="831763"/>
                  <a:pt x="1089660" y="833585"/>
                </a:cubicBezTo>
                <a:cubicBezTo>
                  <a:pt x="1086016" y="835407"/>
                  <a:pt x="1082373" y="835407"/>
                  <a:pt x="1076905" y="835407"/>
                </a:cubicBezTo>
                <a:lnTo>
                  <a:pt x="1073262" y="835407"/>
                </a:lnTo>
                <a:cubicBezTo>
                  <a:pt x="1069616" y="839051"/>
                  <a:pt x="1067794" y="842696"/>
                  <a:pt x="1067794" y="846340"/>
                </a:cubicBezTo>
                <a:cubicBezTo>
                  <a:pt x="1073262" y="842696"/>
                  <a:pt x="1076905" y="837229"/>
                  <a:pt x="1078727" y="835407"/>
                </a:cubicBezTo>
                <a:cubicBezTo>
                  <a:pt x="1080549" y="837229"/>
                  <a:pt x="1076905" y="839051"/>
                  <a:pt x="1076905" y="840874"/>
                </a:cubicBezTo>
                <a:cubicBezTo>
                  <a:pt x="1078727" y="842696"/>
                  <a:pt x="1078727" y="839051"/>
                  <a:pt x="1080549" y="840874"/>
                </a:cubicBezTo>
                <a:cubicBezTo>
                  <a:pt x="1078727" y="842696"/>
                  <a:pt x="1071439" y="846340"/>
                  <a:pt x="1065972" y="848162"/>
                </a:cubicBezTo>
                <a:cubicBezTo>
                  <a:pt x="1065972" y="853629"/>
                  <a:pt x="1065972" y="859095"/>
                  <a:pt x="1064151" y="864562"/>
                </a:cubicBezTo>
                <a:cubicBezTo>
                  <a:pt x="1069616" y="862740"/>
                  <a:pt x="1075083" y="853629"/>
                  <a:pt x="1082373" y="849985"/>
                </a:cubicBezTo>
                <a:cubicBezTo>
                  <a:pt x="1086016" y="848162"/>
                  <a:pt x="1089660" y="848162"/>
                  <a:pt x="1089660" y="844518"/>
                </a:cubicBezTo>
                <a:cubicBezTo>
                  <a:pt x="1096949" y="844518"/>
                  <a:pt x="1109704" y="839051"/>
                  <a:pt x="1109704" y="829941"/>
                </a:cubicBezTo>
                <a:close/>
                <a:moveTo>
                  <a:pt x="1051395" y="829941"/>
                </a:moveTo>
                <a:cubicBezTo>
                  <a:pt x="1047750" y="831763"/>
                  <a:pt x="1047750" y="833585"/>
                  <a:pt x="1047750" y="835407"/>
                </a:cubicBezTo>
                <a:cubicBezTo>
                  <a:pt x="1049573" y="835407"/>
                  <a:pt x="1051395" y="835407"/>
                  <a:pt x="1053217" y="833585"/>
                </a:cubicBezTo>
                <a:cubicBezTo>
                  <a:pt x="1053217" y="833585"/>
                  <a:pt x="1053217" y="831763"/>
                  <a:pt x="1051395" y="829941"/>
                </a:cubicBezTo>
                <a:close/>
                <a:moveTo>
                  <a:pt x="1024062" y="829941"/>
                </a:moveTo>
                <a:cubicBezTo>
                  <a:pt x="1022240" y="831763"/>
                  <a:pt x="1018596" y="831763"/>
                  <a:pt x="1016774" y="833585"/>
                </a:cubicBezTo>
                <a:cubicBezTo>
                  <a:pt x="1018596" y="837229"/>
                  <a:pt x="1025884" y="833585"/>
                  <a:pt x="1024062" y="829941"/>
                </a:cubicBezTo>
                <a:close/>
                <a:moveTo>
                  <a:pt x="949353" y="829941"/>
                </a:moveTo>
                <a:cubicBezTo>
                  <a:pt x="945709" y="831763"/>
                  <a:pt x="943886" y="831763"/>
                  <a:pt x="943886" y="835407"/>
                </a:cubicBezTo>
                <a:cubicBezTo>
                  <a:pt x="945709" y="833585"/>
                  <a:pt x="951175" y="835407"/>
                  <a:pt x="949353" y="829941"/>
                </a:cubicBezTo>
                <a:close/>
                <a:moveTo>
                  <a:pt x="878288" y="829941"/>
                </a:moveTo>
                <a:cubicBezTo>
                  <a:pt x="876466" y="831763"/>
                  <a:pt x="880111" y="831763"/>
                  <a:pt x="876466" y="833585"/>
                </a:cubicBezTo>
                <a:cubicBezTo>
                  <a:pt x="878288" y="833585"/>
                  <a:pt x="880111" y="829941"/>
                  <a:pt x="881933" y="829941"/>
                </a:cubicBezTo>
                <a:cubicBezTo>
                  <a:pt x="880111" y="829941"/>
                  <a:pt x="878288" y="829941"/>
                  <a:pt x="878288" y="829941"/>
                </a:cubicBezTo>
                <a:close/>
                <a:moveTo>
                  <a:pt x="685138" y="829941"/>
                </a:moveTo>
                <a:cubicBezTo>
                  <a:pt x="681493" y="831763"/>
                  <a:pt x="688782" y="835407"/>
                  <a:pt x="690604" y="835407"/>
                </a:cubicBezTo>
                <a:cubicBezTo>
                  <a:pt x="692426" y="833585"/>
                  <a:pt x="686960" y="831763"/>
                  <a:pt x="685138" y="829941"/>
                </a:cubicBezTo>
                <a:close/>
                <a:moveTo>
                  <a:pt x="482876" y="829941"/>
                </a:moveTo>
                <a:cubicBezTo>
                  <a:pt x="484700" y="835407"/>
                  <a:pt x="491987" y="835407"/>
                  <a:pt x="495632" y="840874"/>
                </a:cubicBezTo>
                <a:cubicBezTo>
                  <a:pt x="497454" y="835407"/>
                  <a:pt x="488343" y="829941"/>
                  <a:pt x="482876" y="829941"/>
                </a:cubicBezTo>
                <a:close/>
                <a:moveTo>
                  <a:pt x="371724" y="829941"/>
                </a:moveTo>
                <a:cubicBezTo>
                  <a:pt x="375368" y="839051"/>
                  <a:pt x="382657" y="849985"/>
                  <a:pt x="391768" y="851807"/>
                </a:cubicBezTo>
                <a:cubicBezTo>
                  <a:pt x="389946" y="846340"/>
                  <a:pt x="379012" y="837229"/>
                  <a:pt x="380835" y="831763"/>
                </a:cubicBezTo>
                <a:cubicBezTo>
                  <a:pt x="377190" y="829941"/>
                  <a:pt x="375368" y="829941"/>
                  <a:pt x="371724" y="829941"/>
                </a:cubicBezTo>
                <a:close/>
                <a:moveTo>
                  <a:pt x="298837" y="829941"/>
                </a:moveTo>
                <a:cubicBezTo>
                  <a:pt x="295193" y="835407"/>
                  <a:pt x="298837" y="840874"/>
                  <a:pt x="298837" y="846340"/>
                </a:cubicBezTo>
                <a:cubicBezTo>
                  <a:pt x="298837" y="846340"/>
                  <a:pt x="297015" y="844518"/>
                  <a:pt x="297015" y="844518"/>
                </a:cubicBezTo>
                <a:cubicBezTo>
                  <a:pt x="297015" y="846340"/>
                  <a:pt x="297015" y="849985"/>
                  <a:pt x="300660" y="851807"/>
                </a:cubicBezTo>
                <a:cubicBezTo>
                  <a:pt x="298837" y="849985"/>
                  <a:pt x="297015" y="849985"/>
                  <a:pt x="297015" y="849985"/>
                </a:cubicBezTo>
                <a:cubicBezTo>
                  <a:pt x="300660" y="853629"/>
                  <a:pt x="300660" y="857273"/>
                  <a:pt x="306126" y="857273"/>
                </a:cubicBezTo>
                <a:cubicBezTo>
                  <a:pt x="306126" y="855451"/>
                  <a:pt x="304303" y="853629"/>
                  <a:pt x="302481" y="851807"/>
                </a:cubicBezTo>
                <a:cubicBezTo>
                  <a:pt x="304303" y="855451"/>
                  <a:pt x="307948" y="855451"/>
                  <a:pt x="309771" y="857273"/>
                </a:cubicBezTo>
                <a:cubicBezTo>
                  <a:pt x="307948" y="855451"/>
                  <a:pt x="307948" y="855451"/>
                  <a:pt x="307948" y="853629"/>
                </a:cubicBezTo>
                <a:cubicBezTo>
                  <a:pt x="309771" y="855451"/>
                  <a:pt x="309771" y="855451"/>
                  <a:pt x="311592" y="857273"/>
                </a:cubicBezTo>
                <a:cubicBezTo>
                  <a:pt x="311592" y="857273"/>
                  <a:pt x="311592" y="855451"/>
                  <a:pt x="311592" y="855451"/>
                </a:cubicBezTo>
                <a:cubicBezTo>
                  <a:pt x="317059" y="864562"/>
                  <a:pt x="324347" y="871851"/>
                  <a:pt x="335280" y="873673"/>
                </a:cubicBezTo>
                <a:cubicBezTo>
                  <a:pt x="329814" y="857273"/>
                  <a:pt x="317059" y="840874"/>
                  <a:pt x="298837" y="829941"/>
                </a:cubicBezTo>
                <a:close/>
                <a:moveTo>
                  <a:pt x="138486" y="829941"/>
                </a:moveTo>
                <a:cubicBezTo>
                  <a:pt x="143497" y="834497"/>
                  <a:pt x="147027" y="839735"/>
                  <a:pt x="149789" y="845373"/>
                </a:cubicBezTo>
                <a:lnTo>
                  <a:pt x="150048" y="846063"/>
                </a:lnTo>
                <a:close/>
                <a:moveTo>
                  <a:pt x="729782" y="829941"/>
                </a:moveTo>
                <a:cubicBezTo>
                  <a:pt x="728870" y="830396"/>
                  <a:pt x="727959" y="830852"/>
                  <a:pt x="727048" y="829941"/>
                </a:cubicBezTo>
                <a:cubicBezTo>
                  <a:pt x="727048" y="831763"/>
                  <a:pt x="730692" y="831763"/>
                  <a:pt x="730692" y="833585"/>
                </a:cubicBezTo>
                <a:cubicBezTo>
                  <a:pt x="732515" y="831763"/>
                  <a:pt x="732515" y="831763"/>
                  <a:pt x="732515" y="829941"/>
                </a:cubicBezTo>
                <a:cubicBezTo>
                  <a:pt x="731603" y="829030"/>
                  <a:pt x="730692" y="829485"/>
                  <a:pt x="729782" y="829941"/>
                </a:cubicBezTo>
                <a:close/>
                <a:moveTo>
                  <a:pt x="1279166" y="828118"/>
                </a:moveTo>
                <a:cubicBezTo>
                  <a:pt x="1273700" y="833585"/>
                  <a:pt x="1279166" y="844518"/>
                  <a:pt x="1280989" y="849985"/>
                </a:cubicBezTo>
                <a:cubicBezTo>
                  <a:pt x="1283723" y="849985"/>
                  <a:pt x="1286911" y="848163"/>
                  <a:pt x="1290099" y="845885"/>
                </a:cubicBezTo>
                <a:lnTo>
                  <a:pt x="1291923" y="844518"/>
                </a:lnTo>
                <a:lnTo>
                  <a:pt x="1280989" y="855451"/>
                </a:lnTo>
                <a:cubicBezTo>
                  <a:pt x="1282811" y="859095"/>
                  <a:pt x="1286455" y="860918"/>
                  <a:pt x="1290100" y="862740"/>
                </a:cubicBezTo>
                <a:cubicBezTo>
                  <a:pt x="1291922" y="862740"/>
                  <a:pt x="1290100" y="860918"/>
                  <a:pt x="1291922" y="860918"/>
                </a:cubicBezTo>
                <a:cubicBezTo>
                  <a:pt x="1293744" y="868206"/>
                  <a:pt x="1301033" y="866384"/>
                  <a:pt x="1304677" y="866384"/>
                </a:cubicBezTo>
                <a:cubicBezTo>
                  <a:pt x="1306499" y="864562"/>
                  <a:pt x="1304677" y="862740"/>
                  <a:pt x="1302855" y="859095"/>
                </a:cubicBezTo>
                <a:cubicBezTo>
                  <a:pt x="1306499" y="859095"/>
                  <a:pt x="1306499" y="860918"/>
                  <a:pt x="1308321" y="853629"/>
                </a:cubicBezTo>
                <a:cubicBezTo>
                  <a:pt x="1310143" y="857273"/>
                  <a:pt x="1310143" y="859095"/>
                  <a:pt x="1310143" y="862740"/>
                </a:cubicBezTo>
                <a:cubicBezTo>
                  <a:pt x="1311966" y="862740"/>
                  <a:pt x="1311966" y="862740"/>
                  <a:pt x="1311966" y="862740"/>
                </a:cubicBezTo>
                <a:cubicBezTo>
                  <a:pt x="1313788" y="860918"/>
                  <a:pt x="1311966" y="859095"/>
                  <a:pt x="1313788" y="859095"/>
                </a:cubicBezTo>
                <a:cubicBezTo>
                  <a:pt x="1315610" y="862740"/>
                  <a:pt x="1310143" y="860918"/>
                  <a:pt x="1313788" y="862740"/>
                </a:cubicBezTo>
                <a:lnTo>
                  <a:pt x="1332010" y="853629"/>
                </a:lnTo>
                <a:lnTo>
                  <a:pt x="1339299" y="855451"/>
                </a:lnTo>
                <a:cubicBezTo>
                  <a:pt x="1344765" y="849985"/>
                  <a:pt x="1348410" y="846340"/>
                  <a:pt x="1350231" y="842696"/>
                </a:cubicBezTo>
                <a:cubicBezTo>
                  <a:pt x="1344765" y="839051"/>
                  <a:pt x="1342942" y="842696"/>
                  <a:pt x="1341120" y="844518"/>
                </a:cubicBezTo>
                <a:cubicBezTo>
                  <a:pt x="1336564" y="843607"/>
                  <a:pt x="1332009" y="839963"/>
                  <a:pt x="1327454" y="838369"/>
                </a:cubicBezTo>
                <a:lnTo>
                  <a:pt x="1314441" y="844224"/>
                </a:lnTo>
                <a:lnTo>
                  <a:pt x="1306818" y="839212"/>
                </a:lnTo>
                <a:lnTo>
                  <a:pt x="1310143" y="840874"/>
                </a:lnTo>
                <a:cubicBezTo>
                  <a:pt x="1313788" y="839051"/>
                  <a:pt x="1315610" y="835407"/>
                  <a:pt x="1319254" y="835407"/>
                </a:cubicBezTo>
                <a:cubicBezTo>
                  <a:pt x="1317432" y="833585"/>
                  <a:pt x="1311966" y="833585"/>
                  <a:pt x="1308321" y="831763"/>
                </a:cubicBezTo>
                <a:lnTo>
                  <a:pt x="1303231" y="836853"/>
                </a:lnTo>
                <a:lnTo>
                  <a:pt x="1301877" y="835963"/>
                </a:lnTo>
                <a:lnTo>
                  <a:pt x="1304677" y="831763"/>
                </a:lnTo>
                <a:cubicBezTo>
                  <a:pt x="1301033" y="831763"/>
                  <a:pt x="1295566" y="829941"/>
                  <a:pt x="1290100" y="829941"/>
                </a:cubicBezTo>
                <a:lnTo>
                  <a:pt x="1299940" y="836501"/>
                </a:lnTo>
                <a:lnTo>
                  <a:pt x="1298032" y="838409"/>
                </a:lnTo>
                <a:close/>
                <a:moveTo>
                  <a:pt x="681493" y="828118"/>
                </a:moveTo>
                <a:cubicBezTo>
                  <a:pt x="677849" y="829941"/>
                  <a:pt x="681493" y="831763"/>
                  <a:pt x="679671" y="831763"/>
                </a:cubicBezTo>
                <a:cubicBezTo>
                  <a:pt x="681493" y="833585"/>
                  <a:pt x="683316" y="829941"/>
                  <a:pt x="681493" y="828118"/>
                </a:cubicBezTo>
                <a:close/>
                <a:moveTo>
                  <a:pt x="663272" y="828118"/>
                </a:moveTo>
                <a:cubicBezTo>
                  <a:pt x="663272" y="829941"/>
                  <a:pt x="665094" y="831763"/>
                  <a:pt x="665094" y="833585"/>
                </a:cubicBezTo>
                <a:cubicBezTo>
                  <a:pt x="666916" y="833585"/>
                  <a:pt x="665094" y="829941"/>
                  <a:pt x="666916" y="829941"/>
                </a:cubicBezTo>
                <a:cubicBezTo>
                  <a:pt x="668738" y="829941"/>
                  <a:pt x="668738" y="831763"/>
                  <a:pt x="670560" y="833585"/>
                </a:cubicBezTo>
                <a:cubicBezTo>
                  <a:pt x="670560" y="835407"/>
                  <a:pt x="670560" y="822652"/>
                  <a:pt x="663272" y="828118"/>
                </a:cubicBezTo>
                <a:close/>
                <a:moveTo>
                  <a:pt x="501098" y="828118"/>
                </a:moveTo>
                <a:cubicBezTo>
                  <a:pt x="501098" y="829941"/>
                  <a:pt x="502920" y="831763"/>
                  <a:pt x="504743" y="833585"/>
                </a:cubicBezTo>
                <a:cubicBezTo>
                  <a:pt x="504743" y="831763"/>
                  <a:pt x="504743" y="829941"/>
                  <a:pt x="502920" y="828118"/>
                </a:cubicBezTo>
                <a:cubicBezTo>
                  <a:pt x="502920" y="828118"/>
                  <a:pt x="501098" y="828118"/>
                  <a:pt x="501098" y="828118"/>
                </a:cubicBezTo>
                <a:close/>
                <a:moveTo>
                  <a:pt x="462832" y="828118"/>
                </a:moveTo>
                <a:cubicBezTo>
                  <a:pt x="464655" y="829941"/>
                  <a:pt x="462832" y="837229"/>
                  <a:pt x="473766" y="835407"/>
                </a:cubicBezTo>
                <a:cubicBezTo>
                  <a:pt x="473766" y="831763"/>
                  <a:pt x="466478" y="829941"/>
                  <a:pt x="462832" y="828118"/>
                </a:cubicBezTo>
                <a:close/>
                <a:moveTo>
                  <a:pt x="455544" y="828118"/>
                </a:moveTo>
                <a:cubicBezTo>
                  <a:pt x="457367" y="831763"/>
                  <a:pt x="461010" y="835407"/>
                  <a:pt x="464655" y="837229"/>
                </a:cubicBezTo>
                <a:cubicBezTo>
                  <a:pt x="464655" y="833585"/>
                  <a:pt x="457367" y="828118"/>
                  <a:pt x="455544" y="828118"/>
                </a:cubicBezTo>
                <a:close/>
                <a:moveTo>
                  <a:pt x="348037" y="828118"/>
                </a:moveTo>
                <a:cubicBezTo>
                  <a:pt x="351680" y="833585"/>
                  <a:pt x="356692" y="838596"/>
                  <a:pt x="362157" y="843151"/>
                </a:cubicBezTo>
                <a:lnTo>
                  <a:pt x="366372" y="846226"/>
                </a:lnTo>
                <a:lnTo>
                  <a:pt x="366257" y="846340"/>
                </a:lnTo>
                <a:lnTo>
                  <a:pt x="366876" y="846596"/>
                </a:lnTo>
                <a:lnTo>
                  <a:pt x="379012" y="855451"/>
                </a:lnTo>
                <a:cubicBezTo>
                  <a:pt x="377190" y="853629"/>
                  <a:pt x="375823" y="851352"/>
                  <a:pt x="374002" y="849529"/>
                </a:cubicBezTo>
                <a:lnTo>
                  <a:pt x="366876" y="846596"/>
                </a:lnTo>
                <a:lnTo>
                  <a:pt x="366372" y="846226"/>
                </a:lnTo>
                <a:lnTo>
                  <a:pt x="368079" y="844518"/>
                </a:lnTo>
                <a:cubicBezTo>
                  <a:pt x="360791" y="837229"/>
                  <a:pt x="355324" y="829941"/>
                  <a:pt x="348037" y="828118"/>
                </a:cubicBezTo>
                <a:close/>
                <a:moveTo>
                  <a:pt x="3449376" y="826296"/>
                </a:moveTo>
                <a:cubicBezTo>
                  <a:pt x="3453020" y="828118"/>
                  <a:pt x="3454842" y="831763"/>
                  <a:pt x="3456664" y="833585"/>
                </a:cubicBezTo>
                <a:cubicBezTo>
                  <a:pt x="3460309" y="829941"/>
                  <a:pt x="3453020" y="826296"/>
                  <a:pt x="3449376" y="826296"/>
                </a:cubicBezTo>
                <a:close/>
                <a:moveTo>
                  <a:pt x="3110451" y="826296"/>
                </a:moveTo>
                <a:cubicBezTo>
                  <a:pt x="3108629" y="828118"/>
                  <a:pt x="3106807" y="837229"/>
                  <a:pt x="3114096" y="835407"/>
                </a:cubicBezTo>
                <a:cubicBezTo>
                  <a:pt x="3117740" y="831763"/>
                  <a:pt x="3114096" y="828118"/>
                  <a:pt x="3110451" y="826296"/>
                </a:cubicBezTo>
                <a:close/>
                <a:moveTo>
                  <a:pt x="3068541" y="826296"/>
                </a:moveTo>
                <a:cubicBezTo>
                  <a:pt x="3061253" y="828118"/>
                  <a:pt x="3063075" y="835407"/>
                  <a:pt x="3064897" y="840874"/>
                </a:cubicBezTo>
                <a:cubicBezTo>
                  <a:pt x="3066719" y="837229"/>
                  <a:pt x="3070363" y="831763"/>
                  <a:pt x="3068541" y="826296"/>
                </a:cubicBezTo>
                <a:close/>
                <a:moveTo>
                  <a:pt x="2461757" y="826296"/>
                </a:moveTo>
                <a:cubicBezTo>
                  <a:pt x="2459935" y="831763"/>
                  <a:pt x="2459935" y="837229"/>
                  <a:pt x="2463580" y="842696"/>
                </a:cubicBezTo>
                <a:cubicBezTo>
                  <a:pt x="2465402" y="844518"/>
                  <a:pt x="2467224" y="842696"/>
                  <a:pt x="2469046" y="840874"/>
                </a:cubicBezTo>
                <a:cubicBezTo>
                  <a:pt x="2469046" y="844518"/>
                  <a:pt x="2467224" y="849985"/>
                  <a:pt x="2469046" y="853629"/>
                </a:cubicBezTo>
                <a:cubicBezTo>
                  <a:pt x="2474513" y="848162"/>
                  <a:pt x="2474513" y="842696"/>
                  <a:pt x="2481801" y="842696"/>
                </a:cubicBezTo>
                <a:cubicBezTo>
                  <a:pt x="2479979" y="846340"/>
                  <a:pt x="2479979" y="849985"/>
                  <a:pt x="2479979" y="853629"/>
                </a:cubicBezTo>
                <a:cubicBezTo>
                  <a:pt x="2481801" y="851807"/>
                  <a:pt x="2481801" y="848162"/>
                  <a:pt x="2483624" y="848162"/>
                </a:cubicBezTo>
                <a:cubicBezTo>
                  <a:pt x="2487268" y="849985"/>
                  <a:pt x="2481801" y="855451"/>
                  <a:pt x="2483624" y="857273"/>
                </a:cubicBezTo>
                <a:cubicBezTo>
                  <a:pt x="2489090" y="860918"/>
                  <a:pt x="2490912" y="853629"/>
                  <a:pt x="2496379" y="851807"/>
                </a:cubicBezTo>
                <a:cubicBezTo>
                  <a:pt x="2496379" y="846340"/>
                  <a:pt x="2496379" y="840874"/>
                  <a:pt x="2496379" y="837229"/>
                </a:cubicBezTo>
                <a:lnTo>
                  <a:pt x="2485446" y="828118"/>
                </a:lnTo>
                <a:cubicBezTo>
                  <a:pt x="2467224" y="833585"/>
                  <a:pt x="2483624" y="835407"/>
                  <a:pt x="2463580" y="826296"/>
                </a:cubicBezTo>
                <a:close/>
                <a:moveTo>
                  <a:pt x="2397981" y="826296"/>
                </a:moveTo>
                <a:cubicBezTo>
                  <a:pt x="2396159" y="835407"/>
                  <a:pt x="2401626" y="835407"/>
                  <a:pt x="2401626" y="840874"/>
                </a:cubicBezTo>
                <a:cubicBezTo>
                  <a:pt x="2407092" y="840874"/>
                  <a:pt x="2410737" y="837229"/>
                  <a:pt x="2414381" y="833585"/>
                </a:cubicBezTo>
                <a:lnTo>
                  <a:pt x="2412559" y="829941"/>
                </a:lnTo>
                <a:cubicBezTo>
                  <a:pt x="2410737" y="829941"/>
                  <a:pt x="2410737" y="831763"/>
                  <a:pt x="2410737" y="831763"/>
                </a:cubicBezTo>
                <a:cubicBezTo>
                  <a:pt x="2410737" y="829941"/>
                  <a:pt x="2410737" y="828118"/>
                  <a:pt x="2410737" y="826296"/>
                </a:cubicBezTo>
                <a:lnTo>
                  <a:pt x="2407092" y="826296"/>
                </a:lnTo>
                <a:cubicBezTo>
                  <a:pt x="2405270" y="828118"/>
                  <a:pt x="2399803" y="826296"/>
                  <a:pt x="2397981" y="826296"/>
                </a:cubicBezTo>
                <a:close/>
                <a:moveTo>
                  <a:pt x="1310143" y="826296"/>
                </a:moveTo>
                <a:cubicBezTo>
                  <a:pt x="1306499" y="824474"/>
                  <a:pt x="1304677" y="826296"/>
                  <a:pt x="1302855" y="828118"/>
                </a:cubicBezTo>
                <a:cubicBezTo>
                  <a:pt x="1304677" y="829941"/>
                  <a:pt x="1306499" y="828118"/>
                  <a:pt x="1308321" y="829941"/>
                </a:cubicBezTo>
                <a:cubicBezTo>
                  <a:pt x="1310143" y="828118"/>
                  <a:pt x="1308321" y="828118"/>
                  <a:pt x="1310143" y="826296"/>
                </a:cubicBezTo>
                <a:close/>
                <a:moveTo>
                  <a:pt x="1270056" y="826296"/>
                </a:moveTo>
                <a:cubicBezTo>
                  <a:pt x="1268233" y="829941"/>
                  <a:pt x="1268233" y="831763"/>
                  <a:pt x="1262767" y="835407"/>
                </a:cubicBezTo>
                <a:cubicBezTo>
                  <a:pt x="1264589" y="839051"/>
                  <a:pt x="1262767" y="840874"/>
                  <a:pt x="1262767" y="844518"/>
                </a:cubicBezTo>
                <a:cubicBezTo>
                  <a:pt x="1268233" y="844518"/>
                  <a:pt x="1268233" y="837229"/>
                  <a:pt x="1270056" y="835407"/>
                </a:cubicBezTo>
                <a:cubicBezTo>
                  <a:pt x="1270967" y="836318"/>
                  <a:pt x="1270511" y="837229"/>
                  <a:pt x="1270055" y="838141"/>
                </a:cubicBezTo>
                <a:lnTo>
                  <a:pt x="1270056" y="840509"/>
                </a:lnTo>
                <a:lnTo>
                  <a:pt x="1264589" y="848162"/>
                </a:lnTo>
                <a:cubicBezTo>
                  <a:pt x="1270056" y="853629"/>
                  <a:pt x="1273700" y="849985"/>
                  <a:pt x="1279166" y="848162"/>
                </a:cubicBezTo>
                <a:cubicBezTo>
                  <a:pt x="1275522" y="844518"/>
                  <a:pt x="1279166" y="837229"/>
                  <a:pt x="1273700" y="835407"/>
                </a:cubicBezTo>
                <a:lnTo>
                  <a:pt x="1270388" y="840044"/>
                </a:lnTo>
                <a:lnTo>
                  <a:pt x="1273700" y="831763"/>
                </a:lnTo>
                <a:cubicBezTo>
                  <a:pt x="1271878" y="828118"/>
                  <a:pt x="1271878" y="828118"/>
                  <a:pt x="1270056" y="826296"/>
                </a:cubicBezTo>
                <a:close/>
                <a:moveTo>
                  <a:pt x="832734" y="826296"/>
                </a:moveTo>
                <a:lnTo>
                  <a:pt x="836378" y="827207"/>
                </a:lnTo>
                <a:lnTo>
                  <a:pt x="836378" y="828118"/>
                </a:lnTo>
                <a:lnTo>
                  <a:pt x="832603" y="826825"/>
                </a:lnTo>
                <a:close/>
                <a:moveTo>
                  <a:pt x="781713" y="826296"/>
                </a:moveTo>
                <a:cubicBezTo>
                  <a:pt x="778070" y="826296"/>
                  <a:pt x="781713" y="828118"/>
                  <a:pt x="779892" y="829941"/>
                </a:cubicBezTo>
                <a:cubicBezTo>
                  <a:pt x="781713" y="829941"/>
                  <a:pt x="781713" y="829941"/>
                  <a:pt x="783535" y="829941"/>
                </a:cubicBezTo>
                <a:cubicBezTo>
                  <a:pt x="783535" y="829941"/>
                  <a:pt x="783535" y="829941"/>
                  <a:pt x="783535" y="831763"/>
                </a:cubicBezTo>
                <a:lnTo>
                  <a:pt x="787230" y="835986"/>
                </a:lnTo>
                <a:lnTo>
                  <a:pt x="785357" y="835407"/>
                </a:lnTo>
                <a:cubicBezTo>
                  <a:pt x="783535" y="844518"/>
                  <a:pt x="801757" y="846340"/>
                  <a:pt x="810868" y="846340"/>
                </a:cubicBezTo>
                <a:cubicBezTo>
                  <a:pt x="809957" y="842696"/>
                  <a:pt x="805857" y="841329"/>
                  <a:pt x="800846" y="840191"/>
                </a:cubicBezTo>
                <a:lnTo>
                  <a:pt x="791257" y="837229"/>
                </a:lnTo>
                <a:lnTo>
                  <a:pt x="799935" y="837229"/>
                </a:lnTo>
                <a:cubicBezTo>
                  <a:pt x="798112" y="835407"/>
                  <a:pt x="799935" y="835407"/>
                  <a:pt x="799935" y="833585"/>
                </a:cubicBezTo>
                <a:cubicBezTo>
                  <a:pt x="796290" y="833585"/>
                  <a:pt x="790824" y="829941"/>
                  <a:pt x="785357" y="829941"/>
                </a:cubicBezTo>
                <a:cubicBezTo>
                  <a:pt x="787179" y="829941"/>
                  <a:pt x="787179" y="829941"/>
                  <a:pt x="787179" y="829941"/>
                </a:cubicBezTo>
                <a:cubicBezTo>
                  <a:pt x="785357" y="828118"/>
                  <a:pt x="781713" y="828118"/>
                  <a:pt x="781713" y="826296"/>
                </a:cubicBezTo>
                <a:close/>
                <a:moveTo>
                  <a:pt x="584919" y="826296"/>
                </a:moveTo>
                <a:cubicBezTo>
                  <a:pt x="581274" y="828118"/>
                  <a:pt x="583096" y="829941"/>
                  <a:pt x="579452" y="831763"/>
                </a:cubicBezTo>
                <a:cubicBezTo>
                  <a:pt x="584919" y="837229"/>
                  <a:pt x="588562" y="835407"/>
                  <a:pt x="592207" y="839051"/>
                </a:cubicBezTo>
                <a:cubicBezTo>
                  <a:pt x="594030" y="837229"/>
                  <a:pt x="588562" y="831763"/>
                  <a:pt x="584919" y="826296"/>
                </a:cubicBezTo>
                <a:close/>
                <a:moveTo>
                  <a:pt x="552119" y="826296"/>
                </a:moveTo>
                <a:cubicBezTo>
                  <a:pt x="552119" y="826296"/>
                  <a:pt x="550297" y="828118"/>
                  <a:pt x="550297" y="828118"/>
                </a:cubicBezTo>
                <a:cubicBezTo>
                  <a:pt x="553941" y="828118"/>
                  <a:pt x="555763" y="831763"/>
                  <a:pt x="559408" y="829941"/>
                </a:cubicBezTo>
                <a:cubicBezTo>
                  <a:pt x="559408" y="828118"/>
                  <a:pt x="553941" y="826296"/>
                  <a:pt x="552119" y="826296"/>
                </a:cubicBezTo>
                <a:close/>
                <a:moveTo>
                  <a:pt x="417278" y="826296"/>
                </a:moveTo>
                <a:cubicBezTo>
                  <a:pt x="417278" y="829941"/>
                  <a:pt x="420923" y="837229"/>
                  <a:pt x="424567" y="839051"/>
                </a:cubicBezTo>
                <a:cubicBezTo>
                  <a:pt x="426389" y="839051"/>
                  <a:pt x="420923" y="835407"/>
                  <a:pt x="422745" y="831763"/>
                </a:cubicBezTo>
                <a:cubicBezTo>
                  <a:pt x="426389" y="835407"/>
                  <a:pt x="433678" y="853629"/>
                  <a:pt x="442789" y="849985"/>
                </a:cubicBezTo>
                <a:cubicBezTo>
                  <a:pt x="439145" y="839051"/>
                  <a:pt x="426389" y="828118"/>
                  <a:pt x="417278" y="826296"/>
                </a:cubicBezTo>
                <a:close/>
                <a:moveTo>
                  <a:pt x="393590" y="826296"/>
                </a:moveTo>
                <a:cubicBezTo>
                  <a:pt x="391768" y="828118"/>
                  <a:pt x="391768" y="828118"/>
                  <a:pt x="389946" y="829941"/>
                </a:cubicBezTo>
                <a:cubicBezTo>
                  <a:pt x="393590" y="833585"/>
                  <a:pt x="400879" y="835407"/>
                  <a:pt x="402701" y="835407"/>
                </a:cubicBezTo>
                <a:cubicBezTo>
                  <a:pt x="411812" y="829941"/>
                  <a:pt x="393590" y="831763"/>
                  <a:pt x="393590" y="826296"/>
                </a:cubicBezTo>
                <a:close/>
                <a:moveTo>
                  <a:pt x="3235271" y="825841"/>
                </a:moveTo>
                <a:cubicBezTo>
                  <a:pt x="3231171" y="825385"/>
                  <a:pt x="3225249" y="826296"/>
                  <a:pt x="3221604" y="826296"/>
                </a:cubicBezTo>
                <a:cubicBezTo>
                  <a:pt x="3221604" y="833585"/>
                  <a:pt x="3230715" y="831763"/>
                  <a:pt x="3238003" y="833585"/>
                </a:cubicBezTo>
                <a:cubicBezTo>
                  <a:pt x="3241648" y="828119"/>
                  <a:pt x="3239370" y="826297"/>
                  <a:pt x="3235271" y="825841"/>
                </a:cubicBezTo>
                <a:close/>
                <a:moveTo>
                  <a:pt x="3212266" y="825613"/>
                </a:moveTo>
                <a:cubicBezTo>
                  <a:pt x="3209760" y="825841"/>
                  <a:pt x="3207027" y="826296"/>
                  <a:pt x="3205204" y="826296"/>
                </a:cubicBezTo>
                <a:cubicBezTo>
                  <a:pt x="3205204" y="831763"/>
                  <a:pt x="3217960" y="829941"/>
                  <a:pt x="3217960" y="826296"/>
                </a:cubicBezTo>
                <a:cubicBezTo>
                  <a:pt x="3217049" y="825385"/>
                  <a:pt x="3214771" y="825385"/>
                  <a:pt x="3212266" y="825613"/>
                </a:cubicBezTo>
                <a:close/>
                <a:moveTo>
                  <a:pt x="3184477" y="825613"/>
                </a:moveTo>
                <a:cubicBezTo>
                  <a:pt x="3181516" y="826296"/>
                  <a:pt x="3177872" y="827207"/>
                  <a:pt x="3174227" y="826296"/>
                </a:cubicBezTo>
                <a:cubicBezTo>
                  <a:pt x="3176050" y="835407"/>
                  <a:pt x="3185160" y="829941"/>
                  <a:pt x="3190627" y="826296"/>
                </a:cubicBezTo>
                <a:cubicBezTo>
                  <a:pt x="3189716" y="824474"/>
                  <a:pt x="3187439" y="824930"/>
                  <a:pt x="3184477" y="825613"/>
                </a:cubicBezTo>
                <a:close/>
                <a:moveTo>
                  <a:pt x="968486" y="824475"/>
                </a:moveTo>
                <a:cubicBezTo>
                  <a:pt x="963476" y="824930"/>
                  <a:pt x="959375" y="827208"/>
                  <a:pt x="960286" y="831763"/>
                </a:cubicBezTo>
                <a:cubicBezTo>
                  <a:pt x="967575" y="831763"/>
                  <a:pt x="974863" y="829941"/>
                  <a:pt x="982152" y="828118"/>
                </a:cubicBezTo>
                <a:cubicBezTo>
                  <a:pt x="979419" y="825385"/>
                  <a:pt x="973497" y="824019"/>
                  <a:pt x="968486" y="824475"/>
                </a:cubicBezTo>
                <a:close/>
                <a:moveTo>
                  <a:pt x="3338223" y="824474"/>
                </a:moveTo>
                <a:cubicBezTo>
                  <a:pt x="3338223" y="828118"/>
                  <a:pt x="3340045" y="829941"/>
                  <a:pt x="3340045" y="831763"/>
                </a:cubicBezTo>
                <a:cubicBezTo>
                  <a:pt x="3338223" y="835407"/>
                  <a:pt x="3330934" y="833585"/>
                  <a:pt x="3329112" y="831763"/>
                </a:cubicBezTo>
                <a:cubicBezTo>
                  <a:pt x="3325468" y="831763"/>
                  <a:pt x="3321824" y="835407"/>
                  <a:pt x="3321824" y="839051"/>
                </a:cubicBezTo>
                <a:cubicBezTo>
                  <a:pt x="3330934" y="837229"/>
                  <a:pt x="3323646" y="842696"/>
                  <a:pt x="3325468" y="846340"/>
                </a:cubicBezTo>
                <a:cubicBezTo>
                  <a:pt x="3334579" y="848162"/>
                  <a:pt x="3330934" y="855451"/>
                  <a:pt x="3336401" y="860918"/>
                </a:cubicBezTo>
                <a:cubicBezTo>
                  <a:pt x="3343690" y="857273"/>
                  <a:pt x="3341867" y="848162"/>
                  <a:pt x="3349156" y="844518"/>
                </a:cubicBezTo>
                <a:cubicBezTo>
                  <a:pt x="3352800" y="844518"/>
                  <a:pt x="3347334" y="853629"/>
                  <a:pt x="3350978" y="855451"/>
                </a:cubicBezTo>
                <a:cubicBezTo>
                  <a:pt x="3360089" y="851807"/>
                  <a:pt x="3371022" y="849985"/>
                  <a:pt x="3380133" y="844518"/>
                </a:cubicBezTo>
                <a:cubicBezTo>
                  <a:pt x="3374666" y="842696"/>
                  <a:pt x="3372844" y="835407"/>
                  <a:pt x="3369200" y="828118"/>
                </a:cubicBezTo>
                <a:cubicBezTo>
                  <a:pt x="3350978" y="833585"/>
                  <a:pt x="3350978" y="822652"/>
                  <a:pt x="3338223" y="824474"/>
                </a:cubicBezTo>
                <a:close/>
                <a:moveTo>
                  <a:pt x="1373920" y="824474"/>
                </a:moveTo>
                <a:cubicBezTo>
                  <a:pt x="1372097" y="826296"/>
                  <a:pt x="1372097" y="829941"/>
                  <a:pt x="1368453" y="831763"/>
                </a:cubicBezTo>
                <a:cubicBezTo>
                  <a:pt x="1368453" y="829941"/>
                  <a:pt x="1372097" y="828118"/>
                  <a:pt x="1372097" y="826296"/>
                </a:cubicBezTo>
                <a:cubicBezTo>
                  <a:pt x="1366632" y="831763"/>
                  <a:pt x="1361164" y="831763"/>
                  <a:pt x="1359342" y="833585"/>
                </a:cubicBezTo>
                <a:cubicBezTo>
                  <a:pt x="1361164" y="835407"/>
                  <a:pt x="1364809" y="835407"/>
                  <a:pt x="1366632" y="837229"/>
                </a:cubicBezTo>
                <a:cubicBezTo>
                  <a:pt x="1366632" y="835407"/>
                  <a:pt x="1368453" y="833585"/>
                  <a:pt x="1370275" y="831763"/>
                </a:cubicBezTo>
                <a:cubicBezTo>
                  <a:pt x="1372097" y="833585"/>
                  <a:pt x="1368453" y="835407"/>
                  <a:pt x="1368453" y="837229"/>
                </a:cubicBezTo>
                <a:cubicBezTo>
                  <a:pt x="1375743" y="842696"/>
                  <a:pt x="1383030" y="842696"/>
                  <a:pt x="1392141" y="842696"/>
                </a:cubicBezTo>
                <a:cubicBezTo>
                  <a:pt x="1395785" y="840874"/>
                  <a:pt x="1396241" y="837685"/>
                  <a:pt x="1396469" y="834724"/>
                </a:cubicBezTo>
                <a:lnTo>
                  <a:pt x="1399280" y="828453"/>
                </a:lnTo>
                <a:lnTo>
                  <a:pt x="1399313" y="828460"/>
                </a:lnTo>
                <a:lnTo>
                  <a:pt x="1396697" y="836091"/>
                </a:lnTo>
                <a:cubicBezTo>
                  <a:pt x="1396241" y="838596"/>
                  <a:pt x="1395785" y="840874"/>
                  <a:pt x="1393963" y="842696"/>
                </a:cubicBezTo>
                <a:cubicBezTo>
                  <a:pt x="1401252" y="844518"/>
                  <a:pt x="1414007" y="833585"/>
                  <a:pt x="1415829" y="826296"/>
                </a:cubicBezTo>
                <a:cubicBezTo>
                  <a:pt x="1414007" y="826296"/>
                  <a:pt x="1403074" y="826296"/>
                  <a:pt x="1406719" y="829941"/>
                </a:cubicBezTo>
                <a:lnTo>
                  <a:pt x="1399313" y="828460"/>
                </a:lnTo>
                <a:lnTo>
                  <a:pt x="1399430" y="828118"/>
                </a:lnTo>
                <a:lnTo>
                  <a:pt x="1399280" y="828453"/>
                </a:lnTo>
                <a:lnTo>
                  <a:pt x="1397608" y="828118"/>
                </a:lnTo>
                <a:cubicBezTo>
                  <a:pt x="1390319" y="826296"/>
                  <a:pt x="1383030" y="822652"/>
                  <a:pt x="1373920" y="824474"/>
                </a:cubicBezTo>
                <a:close/>
                <a:moveTo>
                  <a:pt x="1313788" y="824474"/>
                </a:moveTo>
                <a:cubicBezTo>
                  <a:pt x="1311966" y="824474"/>
                  <a:pt x="1311966" y="826296"/>
                  <a:pt x="1310143" y="828118"/>
                </a:cubicBezTo>
                <a:cubicBezTo>
                  <a:pt x="1311966" y="828118"/>
                  <a:pt x="1313788" y="828118"/>
                  <a:pt x="1315610" y="826296"/>
                </a:cubicBezTo>
                <a:cubicBezTo>
                  <a:pt x="1315610" y="828118"/>
                  <a:pt x="1313788" y="828118"/>
                  <a:pt x="1315610" y="829941"/>
                </a:cubicBezTo>
                <a:cubicBezTo>
                  <a:pt x="1319254" y="829941"/>
                  <a:pt x="1322899" y="829941"/>
                  <a:pt x="1326543" y="829941"/>
                </a:cubicBezTo>
                <a:cubicBezTo>
                  <a:pt x="1324721" y="831763"/>
                  <a:pt x="1322899" y="831763"/>
                  <a:pt x="1321077" y="831763"/>
                </a:cubicBezTo>
                <a:cubicBezTo>
                  <a:pt x="1321077" y="833585"/>
                  <a:pt x="1324721" y="833585"/>
                  <a:pt x="1326543" y="833585"/>
                </a:cubicBezTo>
                <a:cubicBezTo>
                  <a:pt x="1328365" y="831763"/>
                  <a:pt x="1328365" y="831763"/>
                  <a:pt x="1328365" y="829941"/>
                </a:cubicBezTo>
                <a:cubicBezTo>
                  <a:pt x="1322899" y="826296"/>
                  <a:pt x="1317432" y="826296"/>
                  <a:pt x="1313788" y="824474"/>
                </a:cubicBezTo>
                <a:close/>
                <a:moveTo>
                  <a:pt x="1126104" y="824474"/>
                </a:moveTo>
                <a:cubicBezTo>
                  <a:pt x="1124282" y="826296"/>
                  <a:pt x="1126104" y="828118"/>
                  <a:pt x="1122459" y="829941"/>
                </a:cubicBezTo>
                <a:cubicBezTo>
                  <a:pt x="1124282" y="831763"/>
                  <a:pt x="1126104" y="833585"/>
                  <a:pt x="1126104" y="835407"/>
                </a:cubicBezTo>
                <a:cubicBezTo>
                  <a:pt x="1129748" y="833585"/>
                  <a:pt x="1133393" y="833585"/>
                  <a:pt x="1137037" y="831763"/>
                </a:cubicBezTo>
                <a:cubicBezTo>
                  <a:pt x="1133393" y="829941"/>
                  <a:pt x="1129748" y="828118"/>
                  <a:pt x="1126104" y="824474"/>
                </a:cubicBezTo>
                <a:close/>
                <a:moveTo>
                  <a:pt x="1031351" y="824474"/>
                </a:moveTo>
                <a:cubicBezTo>
                  <a:pt x="1031351" y="826296"/>
                  <a:pt x="1029529" y="828118"/>
                  <a:pt x="1031351" y="829941"/>
                </a:cubicBezTo>
                <a:cubicBezTo>
                  <a:pt x="1033173" y="831763"/>
                  <a:pt x="1033173" y="828118"/>
                  <a:pt x="1034995" y="829941"/>
                </a:cubicBezTo>
                <a:cubicBezTo>
                  <a:pt x="1036818" y="828118"/>
                  <a:pt x="1033173" y="829941"/>
                  <a:pt x="1031351" y="824474"/>
                </a:cubicBezTo>
                <a:close/>
                <a:moveTo>
                  <a:pt x="1014951" y="824474"/>
                </a:moveTo>
                <a:cubicBezTo>
                  <a:pt x="1014951" y="822652"/>
                  <a:pt x="1011307" y="826296"/>
                  <a:pt x="1013129" y="828118"/>
                </a:cubicBezTo>
                <a:cubicBezTo>
                  <a:pt x="1013129" y="828118"/>
                  <a:pt x="1016774" y="826296"/>
                  <a:pt x="1014951" y="824474"/>
                </a:cubicBezTo>
                <a:close/>
                <a:moveTo>
                  <a:pt x="1009485" y="824474"/>
                </a:moveTo>
                <a:cubicBezTo>
                  <a:pt x="1005840" y="828118"/>
                  <a:pt x="998552" y="829941"/>
                  <a:pt x="996729" y="833585"/>
                </a:cubicBezTo>
                <a:cubicBezTo>
                  <a:pt x="1000374" y="835407"/>
                  <a:pt x="1013129" y="831763"/>
                  <a:pt x="1009485" y="824474"/>
                </a:cubicBezTo>
                <a:close/>
                <a:moveTo>
                  <a:pt x="994907" y="824474"/>
                </a:moveTo>
                <a:cubicBezTo>
                  <a:pt x="993085" y="826296"/>
                  <a:pt x="993085" y="828118"/>
                  <a:pt x="994907" y="829941"/>
                </a:cubicBezTo>
                <a:cubicBezTo>
                  <a:pt x="998552" y="829941"/>
                  <a:pt x="996729" y="828118"/>
                  <a:pt x="996729" y="826296"/>
                </a:cubicBezTo>
                <a:cubicBezTo>
                  <a:pt x="996729" y="824474"/>
                  <a:pt x="994907" y="826296"/>
                  <a:pt x="994907" y="824474"/>
                </a:cubicBezTo>
                <a:close/>
                <a:moveTo>
                  <a:pt x="836378" y="824474"/>
                </a:moveTo>
                <a:cubicBezTo>
                  <a:pt x="836378" y="824474"/>
                  <a:pt x="828178" y="824474"/>
                  <a:pt x="830228" y="826012"/>
                </a:cubicBezTo>
                <a:lnTo>
                  <a:pt x="832603" y="826825"/>
                </a:lnTo>
                <a:lnTo>
                  <a:pt x="830912" y="833585"/>
                </a:lnTo>
                <a:cubicBezTo>
                  <a:pt x="836378" y="833585"/>
                  <a:pt x="840022" y="833585"/>
                  <a:pt x="840022" y="828118"/>
                </a:cubicBezTo>
                <a:lnTo>
                  <a:pt x="836378" y="827207"/>
                </a:lnTo>
                <a:close/>
                <a:moveTo>
                  <a:pt x="829089" y="824474"/>
                </a:moveTo>
                <a:cubicBezTo>
                  <a:pt x="827267" y="826296"/>
                  <a:pt x="825445" y="828118"/>
                  <a:pt x="821801" y="826296"/>
                </a:cubicBezTo>
                <a:cubicBezTo>
                  <a:pt x="821801" y="826296"/>
                  <a:pt x="819979" y="828118"/>
                  <a:pt x="821801" y="829941"/>
                </a:cubicBezTo>
                <a:cubicBezTo>
                  <a:pt x="827267" y="833585"/>
                  <a:pt x="830912" y="833585"/>
                  <a:pt x="829089" y="824474"/>
                </a:cubicBezTo>
                <a:close/>
                <a:moveTo>
                  <a:pt x="758025" y="824474"/>
                </a:moveTo>
                <a:cubicBezTo>
                  <a:pt x="754380" y="826296"/>
                  <a:pt x="754380" y="828118"/>
                  <a:pt x="756203" y="828118"/>
                </a:cubicBezTo>
                <a:cubicBezTo>
                  <a:pt x="759848" y="829941"/>
                  <a:pt x="761670" y="826296"/>
                  <a:pt x="758025" y="824474"/>
                </a:cubicBezTo>
                <a:close/>
                <a:moveTo>
                  <a:pt x="752558" y="824474"/>
                </a:moveTo>
                <a:cubicBezTo>
                  <a:pt x="748914" y="826296"/>
                  <a:pt x="750737" y="826296"/>
                  <a:pt x="748914" y="828118"/>
                </a:cubicBezTo>
                <a:cubicBezTo>
                  <a:pt x="750737" y="829941"/>
                  <a:pt x="752558" y="829941"/>
                  <a:pt x="756203" y="829941"/>
                </a:cubicBezTo>
                <a:cubicBezTo>
                  <a:pt x="756203" y="828118"/>
                  <a:pt x="756203" y="824474"/>
                  <a:pt x="752558" y="824474"/>
                </a:cubicBezTo>
                <a:close/>
                <a:moveTo>
                  <a:pt x="699715" y="824474"/>
                </a:moveTo>
                <a:cubicBezTo>
                  <a:pt x="694249" y="826296"/>
                  <a:pt x="699715" y="829941"/>
                  <a:pt x="701537" y="831763"/>
                </a:cubicBezTo>
                <a:cubicBezTo>
                  <a:pt x="701537" y="828118"/>
                  <a:pt x="703359" y="828118"/>
                  <a:pt x="705182" y="826296"/>
                </a:cubicBezTo>
                <a:cubicBezTo>
                  <a:pt x="703359" y="826296"/>
                  <a:pt x="701537" y="824474"/>
                  <a:pt x="699715" y="824474"/>
                </a:cubicBezTo>
                <a:close/>
                <a:moveTo>
                  <a:pt x="586741" y="824474"/>
                </a:moveTo>
                <a:cubicBezTo>
                  <a:pt x="584919" y="828118"/>
                  <a:pt x="595852" y="831763"/>
                  <a:pt x="595852" y="835407"/>
                </a:cubicBezTo>
                <a:cubicBezTo>
                  <a:pt x="601318" y="831763"/>
                  <a:pt x="590385" y="824474"/>
                  <a:pt x="586741" y="824474"/>
                </a:cubicBezTo>
                <a:close/>
                <a:moveTo>
                  <a:pt x="266038" y="824474"/>
                </a:moveTo>
                <a:cubicBezTo>
                  <a:pt x="264216" y="824474"/>
                  <a:pt x="269682" y="829941"/>
                  <a:pt x="269682" y="828118"/>
                </a:cubicBezTo>
                <a:cubicBezTo>
                  <a:pt x="267860" y="826296"/>
                  <a:pt x="267860" y="826296"/>
                  <a:pt x="266038" y="824474"/>
                </a:cubicBezTo>
                <a:close/>
                <a:moveTo>
                  <a:pt x="3046675" y="822652"/>
                </a:moveTo>
                <a:cubicBezTo>
                  <a:pt x="3041209" y="826296"/>
                  <a:pt x="3041209" y="835407"/>
                  <a:pt x="3044853" y="839051"/>
                </a:cubicBezTo>
                <a:cubicBezTo>
                  <a:pt x="3050319" y="835407"/>
                  <a:pt x="3044853" y="828118"/>
                  <a:pt x="3046675" y="822652"/>
                </a:cubicBezTo>
                <a:close/>
                <a:moveTo>
                  <a:pt x="954819" y="822652"/>
                </a:moveTo>
                <a:cubicBezTo>
                  <a:pt x="952997" y="824474"/>
                  <a:pt x="952997" y="824474"/>
                  <a:pt x="951175" y="826296"/>
                </a:cubicBezTo>
                <a:cubicBezTo>
                  <a:pt x="951175" y="826296"/>
                  <a:pt x="952997" y="828118"/>
                  <a:pt x="952997" y="828118"/>
                </a:cubicBezTo>
                <a:cubicBezTo>
                  <a:pt x="952997" y="826296"/>
                  <a:pt x="954819" y="824474"/>
                  <a:pt x="954819" y="822652"/>
                </a:cubicBezTo>
                <a:close/>
                <a:moveTo>
                  <a:pt x="767136" y="822652"/>
                </a:moveTo>
                <a:cubicBezTo>
                  <a:pt x="761670" y="826296"/>
                  <a:pt x="763491" y="835407"/>
                  <a:pt x="759848" y="839051"/>
                </a:cubicBezTo>
                <a:cubicBezTo>
                  <a:pt x="768959" y="837229"/>
                  <a:pt x="770781" y="839051"/>
                  <a:pt x="779892" y="842696"/>
                </a:cubicBezTo>
                <a:cubicBezTo>
                  <a:pt x="781713" y="835407"/>
                  <a:pt x="772602" y="828118"/>
                  <a:pt x="767136" y="822652"/>
                </a:cubicBezTo>
                <a:close/>
                <a:moveTo>
                  <a:pt x="594030" y="822652"/>
                </a:moveTo>
                <a:cubicBezTo>
                  <a:pt x="595852" y="824474"/>
                  <a:pt x="595852" y="824474"/>
                  <a:pt x="597673" y="826296"/>
                </a:cubicBezTo>
                <a:cubicBezTo>
                  <a:pt x="599496" y="824474"/>
                  <a:pt x="599496" y="820830"/>
                  <a:pt x="594030" y="822652"/>
                </a:cubicBezTo>
                <a:close/>
                <a:moveTo>
                  <a:pt x="273327" y="822652"/>
                </a:moveTo>
                <a:lnTo>
                  <a:pt x="278810" y="829416"/>
                </a:lnTo>
                <a:lnTo>
                  <a:pt x="278793" y="829941"/>
                </a:lnTo>
                <a:cubicBezTo>
                  <a:pt x="276971" y="828118"/>
                  <a:pt x="273327" y="824474"/>
                  <a:pt x="273327" y="822652"/>
                </a:cubicBezTo>
                <a:close/>
                <a:moveTo>
                  <a:pt x="231416" y="822652"/>
                </a:moveTo>
                <a:cubicBezTo>
                  <a:pt x="229594" y="826296"/>
                  <a:pt x="236883" y="829941"/>
                  <a:pt x="238705" y="829941"/>
                </a:cubicBezTo>
                <a:cubicBezTo>
                  <a:pt x="236883" y="826296"/>
                  <a:pt x="233239" y="826296"/>
                  <a:pt x="231416" y="822652"/>
                </a:cubicBezTo>
                <a:close/>
                <a:moveTo>
                  <a:pt x="1429193" y="822456"/>
                </a:moveTo>
                <a:lnTo>
                  <a:pt x="1435241" y="823701"/>
                </a:lnTo>
                <a:lnTo>
                  <a:pt x="1433596" y="824474"/>
                </a:lnTo>
                <a:cubicBezTo>
                  <a:pt x="1430863" y="824474"/>
                  <a:pt x="1428585" y="823563"/>
                  <a:pt x="1428585" y="822652"/>
                </a:cubicBezTo>
                <a:close/>
                <a:moveTo>
                  <a:pt x="1214231" y="821658"/>
                </a:moveTo>
                <a:lnTo>
                  <a:pt x="1213568" y="822652"/>
                </a:lnTo>
                <a:lnTo>
                  <a:pt x="1213462" y="822177"/>
                </a:lnTo>
                <a:close/>
                <a:moveTo>
                  <a:pt x="536533" y="821112"/>
                </a:moveTo>
                <a:lnTo>
                  <a:pt x="536630" y="821285"/>
                </a:lnTo>
                <a:lnTo>
                  <a:pt x="536643" y="821477"/>
                </a:lnTo>
                <a:close/>
                <a:moveTo>
                  <a:pt x="3587118" y="820856"/>
                </a:moveTo>
                <a:lnTo>
                  <a:pt x="3589228" y="821058"/>
                </a:lnTo>
                <a:lnTo>
                  <a:pt x="3589609" y="821239"/>
                </a:lnTo>
                <a:close/>
                <a:moveTo>
                  <a:pt x="2379760" y="820830"/>
                </a:moveTo>
                <a:cubicBezTo>
                  <a:pt x="2385226" y="828118"/>
                  <a:pt x="2387048" y="846340"/>
                  <a:pt x="2394337" y="839051"/>
                </a:cubicBezTo>
                <a:cubicBezTo>
                  <a:pt x="2396159" y="837229"/>
                  <a:pt x="2394337" y="828118"/>
                  <a:pt x="2390693" y="824474"/>
                </a:cubicBezTo>
                <a:lnTo>
                  <a:pt x="2388871" y="824474"/>
                </a:lnTo>
                <a:cubicBezTo>
                  <a:pt x="2388871" y="824474"/>
                  <a:pt x="2387048" y="826296"/>
                  <a:pt x="2387048" y="828118"/>
                </a:cubicBezTo>
                <a:cubicBezTo>
                  <a:pt x="2385226" y="828118"/>
                  <a:pt x="2385226" y="820830"/>
                  <a:pt x="2379760" y="820830"/>
                </a:cubicBezTo>
                <a:close/>
                <a:moveTo>
                  <a:pt x="2370649" y="820830"/>
                </a:moveTo>
                <a:lnTo>
                  <a:pt x="2371965" y="830042"/>
                </a:lnTo>
                <a:lnTo>
                  <a:pt x="2370649" y="831763"/>
                </a:lnTo>
                <a:lnTo>
                  <a:pt x="2372232" y="831907"/>
                </a:lnTo>
                <a:lnTo>
                  <a:pt x="2372471" y="833585"/>
                </a:lnTo>
                <a:cubicBezTo>
                  <a:pt x="2367004" y="837229"/>
                  <a:pt x="2370649" y="828118"/>
                  <a:pt x="2365182" y="831763"/>
                </a:cubicBezTo>
                <a:cubicBezTo>
                  <a:pt x="2365182" y="837229"/>
                  <a:pt x="2365182" y="842696"/>
                  <a:pt x="2367004" y="846340"/>
                </a:cubicBezTo>
                <a:cubicBezTo>
                  <a:pt x="2368827" y="846340"/>
                  <a:pt x="2368827" y="842696"/>
                  <a:pt x="2368827" y="840874"/>
                </a:cubicBezTo>
                <a:cubicBezTo>
                  <a:pt x="2369738" y="839963"/>
                  <a:pt x="2370194" y="840874"/>
                  <a:pt x="2370649" y="841785"/>
                </a:cubicBezTo>
                <a:lnTo>
                  <a:pt x="2372289" y="842605"/>
                </a:lnTo>
                <a:lnTo>
                  <a:pt x="2370649" y="849985"/>
                </a:lnTo>
                <a:cubicBezTo>
                  <a:pt x="2370649" y="846340"/>
                  <a:pt x="2372471" y="846340"/>
                  <a:pt x="2372471" y="842696"/>
                </a:cubicBezTo>
                <a:lnTo>
                  <a:pt x="2372289" y="842605"/>
                </a:lnTo>
                <a:lnTo>
                  <a:pt x="2374293" y="833585"/>
                </a:lnTo>
                <a:cubicBezTo>
                  <a:pt x="2373382" y="833585"/>
                  <a:pt x="2373382" y="832674"/>
                  <a:pt x="2373154" y="831991"/>
                </a:cubicBezTo>
                <a:lnTo>
                  <a:pt x="2372232" y="831907"/>
                </a:lnTo>
                <a:lnTo>
                  <a:pt x="2371965" y="830042"/>
                </a:lnTo>
                <a:lnTo>
                  <a:pt x="2373610" y="827891"/>
                </a:lnTo>
                <a:cubicBezTo>
                  <a:pt x="2375204" y="828119"/>
                  <a:pt x="2377026" y="829030"/>
                  <a:pt x="2377937" y="828118"/>
                </a:cubicBezTo>
                <a:cubicBezTo>
                  <a:pt x="2377937" y="822652"/>
                  <a:pt x="2374293" y="820830"/>
                  <a:pt x="2370649" y="820830"/>
                </a:cubicBezTo>
                <a:close/>
                <a:moveTo>
                  <a:pt x="2146521" y="820830"/>
                </a:moveTo>
                <a:cubicBezTo>
                  <a:pt x="2146521" y="822652"/>
                  <a:pt x="2146521" y="824474"/>
                  <a:pt x="2146521" y="826296"/>
                </a:cubicBezTo>
                <a:cubicBezTo>
                  <a:pt x="2148344" y="826296"/>
                  <a:pt x="2148344" y="826296"/>
                  <a:pt x="2150166" y="826296"/>
                </a:cubicBezTo>
                <a:cubicBezTo>
                  <a:pt x="2150166" y="826296"/>
                  <a:pt x="2150166" y="824474"/>
                  <a:pt x="2151988" y="824474"/>
                </a:cubicBezTo>
                <a:close/>
                <a:moveTo>
                  <a:pt x="1333832" y="820830"/>
                </a:moveTo>
                <a:cubicBezTo>
                  <a:pt x="1332009" y="820830"/>
                  <a:pt x="1332009" y="824474"/>
                  <a:pt x="1330188" y="824474"/>
                </a:cubicBezTo>
                <a:cubicBezTo>
                  <a:pt x="1332009" y="826296"/>
                  <a:pt x="1332009" y="824474"/>
                  <a:pt x="1333832" y="826296"/>
                </a:cubicBezTo>
                <a:cubicBezTo>
                  <a:pt x="1335654" y="824474"/>
                  <a:pt x="1332009" y="822652"/>
                  <a:pt x="1333832" y="820830"/>
                </a:cubicBezTo>
                <a:close/>
                <a:moveTo>
                  <a:pt x="1262767" y="820830"/>
                </a:moveTo>
                <a:cubicBezTo>
                  <a:pt x="1264589" y="824474"/>
                  <a:pt x="1260945" y="826296"/>
                  <a:pt x="1260945" y="828118"/>
                </a:cubicBezTo>
                <a:cubicBezTo>
                  <a:pt x="1260945" y="829941"/>
                  <a:pt x="1262767" y="829941"/>
                  <a:pt x="1262767" y="829941"/>
                </a:cubicBezTo>
                <a:cubicBezTo>
                  <a:pt x="1262767" y="829941"/>
                  <a:pt x="1260945" y="831763"/>
                  <a:pt x="1260945" y="831763"/>
                </a:cubicBezTo>
                <a:cubicBezTo>
                  <a:pt x="1268233" y="829941"/>
                  <a:pt x="1270056" y="820830"/>
                  <a:pt x="1262767" y="820830"/>
                </a:cubicBezTo>
                <a:close/>
                <a:moveTo>
                  <a:pt x="1211747" y="820830"/>
                </a:moveTo>
                <a:cubicBezTo>
                  <a:pt x="1195346" y="826296"/>
                  <a:pt x="1180769" y="826296"/>
                  <a:pt x="1164370" y="833585"/>
                </a:cubicBezTo>
                <a:cubicBezTo>
                  <a:pt x="1177125" y="833585"/>
                  <a:pt x="1188058" y="831763"/>
                  <a:pt x="1200814" y="833585"/>
                </a:cubicBezTo>
                <a:cubicBezTo>
                  <a:pt x="1206279" y="828118"/>
                  <a:pt x="1211747" y="824474"/>
                  <a:pt x="1211747" y="820830"/>
                </a:cubicBezTo>
                <a:close/>
                <a:moveTo>
                  <a:pt x="1106060" y="820830"/>
                </a:moveTo>
                <a:cubicBezTo>
                  <a:pt x="1104238" y="820830"/>
                  <a:pt x="1104238" y="822652"/>
                  <a:pt x="1102416" y="822652"/>
                </a:cubicBezTo>
                <a:cubicBezTo>
                  <a:pt x="1102416" y="822652"/>
                  <a:pt x="1104238" y="822652"/>
                  <a:pt x="1104238" y="822652"/>
                </a:cubicBezTo>
                <a:cubicBezTo>
                  <a:pt x="1102416" y="824474"/>
                  <a:pt x="1100593" y="824474"/>
                  <a:pt x="1098771" y="824474"/>
                </a:cubicBezTo>
                <a:cubicBezTo>
                  <a:pt x="1096949" y="826296"/>
                  <a:pt x="1095127" y="828118"/>
                  <a:pt x="1095127" y="829941"/>
                </a:cubicBezTo>
                <a:cubicBezTo>
                  <a:pt x="1102416" y="829941"/>
                  <a:pt x="1113349" y="829941"/>
                  <a:pt x="1115171" y="820830"/>
                </a:cubicBezTo>
                <a:cubicBezTo>
                  <a:pt x="1111526" y="820830"/>
                  <a:pt x="1109704" y="820830"/>
                  <a:pt x="1106060" y="820830"/>
                </a:cubicBezTo>
                <a:close/>
                <a:moveTo>
                  <a:pt x="1040462" y="820830"/>
                </a:moveTo>
                <a:cubicBezTo>
                  <a:pt x="1038639" y="819008"/>
                  <a:pt x="1034995" y="820830"/>
                  <a:pt x="1033173" y="822652"/>
                </a:cubicBezTo>
                <a:cubicBezTo>
                  <a:pt x="1033173" y="824474"/>
                  <a:pt x="1034995" y="824474"/>
                  <a:pt x="1036818" y="826296"/>
                </a:cubicBezTo>
                <a:cubicBezTo>
                  <a:pt x="1038639" y="824474"/>
                  <a:pt x="1038639" y="822652"/>
                  <a:pt x="1040462" y="820830"/>
                </a:cubicBezTo>
                <a:close/>
                <a:moveTo>
                  <a:pt x="871000" y="820830"/>
                </a:moveTo>
                <a:cubicBezTo>
                  <a:pt x="871000" y="822652"/>
                  <a:pt x="871000" y="831763"/>
                  <a:pt x="876466" y="826296"/>
                </a:cubicBezTo>
                <a:cubicBezTo>
                  <a:pt x="876466" y="826296"/>
                  <a:pt x="876466" y="824474"/>
                  <a:pt x="876466" y="822652"/>
                </a:cubicBezTo>
                <a:cubicBezTo>
                  <a:pt x="874644" y="822652"/>
                  <a:pt x="872822" y="822652"/>
                  <a:pt x="871000" y="820830"/>
                </a:cubicBezTo>
                <a:close/>
                <a:moveTo>
                  <a:pt x="856422" y="820830"/>
                </a:moveTo>
                <a:cubicBezTo>
                  <a:pt x="852778" y="822652"/>
                  <a:pt x="856422" y="826296"/>
                  <a:pt x="860066" y="826296"/>
                </a:cubicBezTo>
                <a:cubicBezTo>
                  <a:pt x="861889" y="824474"/>
                  <a:pt x="860066" y="822652"/>
                  <a:pt x="860066" y="820830"/>
                </a:cubicBezTo>
                <a:cubicBezTo>
                  <a:pt x="858244" y="820830"/>
                  <a:pt x="858244" y="822652"/>
                  <a:pt x="856422" y="820830"/>
                </a:cubicBezTo>
                <a:close/>
                <a:moveTo>
                  <a:pt x="849133" y="820830"/>
                </a:moveTo>
                <a:cubicBezTo>
                  <a:pt x="847311" y="820830"/>
                  <a:pt x="845489" y="824474"/>
                  <a:pt x="845489" y="824474"/>
                </a:cubicBezTo>
                <a:cubicBezTo>
                  <a:pt x="847311" y="822652"/>
                  <a:pt x="854600" y="831763"/>
                  <a:pt x="849133" y="820830"/>
                </a:cubicBezTo>
                <a:close/>
                <a:moveTo>
                  <a:pt x="313414" y="820830"/>
                </a:moveTo>
                <a:cubicBezTo>
                  <a:pt x="315236" y="826296"/>
                  <a:pt x="320703" y="826296"/>
                  <a:pt x="324347" y="828118"/>
                </a:cubicBezTo>
                <a:cubicBezTo>
                  <a:pt x="324347" y="822652"/>
                  <a:pt x="317059" y="822652"/>
                  <a:pt x="313414" y="820830"/>
                </a:cubicBezTo>
                <a:close/>
                <a:moveTo>
                  <a:pt x="1435646" y="820375"/>
                </a:moveTo>
                <a:lnTo>
                  <a:pt x="1429193" y="822456"/>
                </a:lnTo>
                <a:lnTo>
                  <a:pt x="1421296" y="820830"/>
                </a:lnTo>
                <a:cubicBezTo>
                  <a:pt x="1421296" y="828118"/>
                  <a:pt x="1414007" y="837229"/>
                  <a:pt x="1404896" y="840874"/>
                </a:cubicBezTo>
                <a:cubicBezTo>
                  <a:pt x="1404896" y="842696"/>
                  <a:pt x="1406719" y="842696"/>
                  <a:pt x="1404896" y="844518"/>
                </a:cubicBezTo>
                <a:cubicBezTo>
                  <a:pt x="1401252" y="846340"/>
                  <a:pt x="1404896" y="842696"/>
                  <a:pt x="1403074" y="842696"/>
                </a:cubicBezTo>
                <a:cubicBezTo>
                  <a:pt x="1401252" y="844518"/>
                  <a:pt x="1401252" y="844518"/>
                  <a:pt x="1399430" y="844518"/>
                </a:cubicBezTo>
                <a:cubicBezTo>
                  <a:pt x="1399430" y="846340"/>
                  <a:pt x="1403074" y="846340"/>
                  <a:pt x="1403074" y="846340"/>
                </a:cubicBezTo>
                <a:cubicBezTo>
                  <a:pt x="1403074" y="846340"/>
                  <a:pt x="1401252" y="848162"/>
                  <a:pt x="1401252" y="848162"/>
                </a:cubicBezTo>
                <a:lnTo>
                  <a:pt x="1415235" y="847070"/>
                </a:lnTo>
                <a:lnTo>
                  <a:pt x="1414007" y="848162"/>
                </a:lnTo>
                <a:cubicBezTo>
                  <a:pt x="1412185" y="848162"/>
                  <a:pt x="1415829" y="848162"/>
                  <a:pt x="1415829" y="849985"/>
                </a:cubicBezTo>
                <a:cubicBezTo>
                  <a:pt x="1414007" y="851807"/>
                  <a:pt x="1411729" y="851807"/>
                  <a:pt x="1409452" y="851580"/>
                </a:cubicBezTo>
                <a:lnTo>
                  <a:pt x="1403974" y="851775"/>
                </a:lnTo>
                <a:lnTo>
                  <a:pt x="1397608" y="846340"/>
                </a:lnTo>
                <a:cubicBezTo>
                  <a:pt x="1390319" y="842696"/>
                  <a:pt x="1381208" y="844518"/>
                  <a:pt x="1372097" y="840874"/>
                </a:cubicBezTo>
                <a:cubicBezTo>
                  <a:pt x="1370275" y="842696"/>
                  <a:pt x="1370275" y="842696"/>
                  <a:pt x="1368453" y="844518"/>
                </a:cubicBezTo>
                <a:cubicBezTo>
                  <a:pt x="1377564" y="849985"/>
                  <a:pt x="1383030" y="857273"/>
                  <a:pt x="1390319" y="859095"/>
                </a:cubicBezTo>
                <a:cubicBezTo>
                  <a:pt x="1399430" y="860918"/>
                  <a:pt x="1410363" y="855451"/>
                  <a:pt x="1419474" y="860918"/>
                </a:cubicBezTo>
                <a:cubicBezTo>
                  <a:pt x="1428585" y="859095"/>
                  <a:pt x="1435873" y="857273"/>
                  <a:pt x="1443162" y="849985"/>
                </a:cubicBezTo>
                <a:cubicBezTo>
                  <a:pt x="1444984" y="848162"/>
                  <a:pt x="1444984" y="851807"/>
                  <a:pt x="1446806" y="849985"/>
                </a:cubicBezTo>
                <a:cubicBezTo>
                  <a:pt x="1448629" y="848162"/>
                  <a:pt x="1452273" y="848162"/>
                  <a:pt x="1450451" y="844518"/>
                </a:cubicBezTo>
                <a:cubicBezTo>
                  <a:pt x="1452273" y="844518"/>
                  <a:pt x="1450451" y="848162"/>
                  <a:pt x="1452273" y="848162"/>
                </a:cubicBezTo>
                <a:cubicBezTo>
                  <a:pt x="1454095" y="842696"/>
                  <a:pt x="1450451" y="837229"/>
                  <a:pt x="1446806" y="831763"/>
                </a:cubicBezTo>
                <a:cubicBezTo>
                  <a:pt x="1452273" y="833585"/>
                  <a:pt x="1452273" y="842696"/>
                  <a:pt x="1454095" y="846340"/>
                </a:cubicBezTo>
                <a:cubicBezTo>
                  <a:pt x="1459562" y="837229"/>
                  <a:pt x="1463206" y="829941"/>
                  <a:pt x="1470495" y="820830"/>
                </a:cubicBezTo>
                <a:cubicBezTo>
                  <a:pt x="1461384" y="824474"/>
                  <a:pt x="1452728" y="825841"/>
                  <a:pt x="1444528" y="825613"/>
                </a:cubicBezTo>
                <a:lnTo>
                  <a:pt x="1435241" y="823701"/>
                </a:lnTo>
                <a:lnTo>
                  <a:pt x="1441340" y="820830"/>
                </a:lnTo>
                <a:cubicBezTo>
                  <a:pt x="1439518" y="819008"/>
                  <a:pt x="1437696" y="819463"/>
                  <a:pt x="1435646" y="820375"/>
                </a:cubicBezTo>
                <a:close/>
                <a:moveTo>
                  <a:pt x="3529551" y="819528"/>
                </a:moveTo>
                <a:lnTo>
                  <a:pt x="3534115" y="819746"/>
                </a:lnTo>
                <a:lnTo>
                  <a:pt x="3533652" y="821058"/>
                </a:lnTo>
                <a:cubicBezTo>
                  <a:pt x="3532285" y="821286"/>
                  <a:pt x="3530463" y="820830"/>
                  <a:pt x="3529551" y="820830"/>
                </a:cubicBezTo>
                <a:close/>
                <a:moveTo>
                  <a:pt x="1144326" y="819008"/>
                </a:moveTo>
                <a:cubicBezTo>
                  <a:pt x="1142503" y="820830"/>
                  <a:pt x="1144326" y="820830"/>
                  <a:pt x="1144326" y="822652"/>
                </a:cubicBezTo>
                <a:cubicBezTo>
                  <a:pt x="1144326" y="822652"/>
                  <a:pt x="1146148" y="822652"/>
                  <a:pt x="1147970" y="820830"/>
                </a:cubicBezTo>
                <a:cubicBezTo>
                  <a:pt x="1146148" y="819008"/>
                  <a:pt x="1146148" y="820830"/>
                  <a:pt x="1144326" y="819008"/>
                </a:cubicBezTo>
                <a:close/>
                <a:moveTo>
                  <a:pt x="515676" y="819008"/>
                </a:moveTo>
                <a:cubicBezTo>
                  <a:pt x="513853" y="817185"/>
                  <a:pt x="513853" y="820830"/>
                  <a:pt x="515676" y="822652"/>
                </a:cubicBezTo>
                <a:cubicBezTo>
                  <a:pt x="519320" y="822652"/>
                  <a:pt x="513853" y="820830"/>
                  <a:pt x="515676" y="819008"/>
                </a:cubicBezTo>
                <a:close/>
                <a:moveTo>
                  <a:pt x="1293744" y="818780"/>
                </a:moveTo>
                <a:cubicBezTo>
                  <a:pt x="1289644" y="817641"/>
                  <a:pt x="1285545" y="817186"/>
                  <a:pt x="1280989" y="819008"/>
                </a:cubicBezTo>
                <a:cubicBezTo>
                  <a:pt x="1288277" y="828118"/>
                  <a:pt x="1297388" y="828118"/>
                  <a:pt x="1306499" y="822652"/>
                </a:cubicBezTo>
                <a:cubicBezTo>
                  <a:pt x="1301943" y="821741"/>
                  <a:pt x="1297844" y="819919"/>
                  <a:pt x="1293744" y="818780"/>
                </a:cubicBezTo>
                <a:close/>
                <a:moveTo>
                  <a:pt x="1217213" y="817185"/>
                </a:moveTo>
                <a:cubicBezTo>
                  <a:pt x="1215390" y="816274"/>
                  <a:pt x="1213568" y="817186"/>
                  <a:pt x="1212657" y="818552"/>
                </a:cubicBezTo>
                <a:lnTo>
                  <a:pt x="1213462" y="822177"/>
                </a:lnTo>
                <a:lnTo>
                  <a:pt x="1211747" y="823335"/>
                </a:lnTo>
                <a:cubicBezTo>
                  <a:pt x="1209468" y="826752"/>
                  <a:pt x="1207190" y="830852"/>
                  <a:pt x="1202636" y="833585"/>
                </a:cubicBezTo>
                <a:cubicBezTo>
                  <a:pt x="1211747" y="835407"/>
                  <a:pt x="1219036" y="833585"/>
                  <a:pt x="1226323" y="837229"/>
                </a:cubicBezTo>
                <a:cubicBezTo>
                  <a:pt x="1228146" y="835407"/>
                  <a:pt x="1229969" y="835407"/>
                  <a:pt x="1231790" y="833585"/>
                </a:cubicBezTo>
                <a:cubicBezTo>
                  <a:pt x="1229969" y="829941"/>
                  <a:pt x="1229969" y="828118"/>
                  <a:pt x="1228146" y="826296"/>
                </a:cubicBezTo>
                <a:cubicBezTo>
                  <a:pt x="1229969" y="824474"/>
                  <a:pt x="1231790" y="829941"/>
                  <a:pt x="1231790" y="826296"/>
                </a:cubicBezTo>
                <a:cubicBezTo>
                  <a:pt x="1233612" y="828118"/>
                  <a:pt x="1231790" y="833585"/>
                  <a:pt x="1235434" y="833585"/>
                </a:cubicBezTo>
                <a:cubicBezTo>
                  <a:pt x="1237256" y="831763"/>
                  <a:pt x="1239080" y="829941"/>
                  <a:pt x="1240901" y="828118"/>
                </a:cubicBezTo>
                <a:cubicBezTo>
                  <a:pt x="1240901" y="829941"/>
                  <a:pt x="1237256" y="831763"/>
                  <a:pt x="1239080" y="833585"/>
                </a:cubicBezTo>
                <a:cubicBezTo>
                  <a:pt x="1237256" y="835407"/>
                  <a:pt x="1233612" y="831763"/>
                  <a:pt x="1233612" y="835407"/>
                </a:cubicBezTo>
                <a:cubicBezTo>
                  <a:pt x="1233612" y="835407"/>
                  <a:pt x="1231790" y="837229"/>
                  <a:pt x="1231790" y="837229"/>
                </a:cubicBezTo>
                <a:cubicBezTo>
                  <a:pt x="1233612" y="839051"/>
                  <a:pt x="1233612" y="839051"/>
                  <a:pt x="1235434" y="837229"/>
                </a:cubicBezTo>
                <a:cubicBezTo>
                  <a:pt x="1235434" y="837229"/>
                  <a:pt x="1233612" y="835407"/>
                  <a:pt x="1233612" y="835407"/>
                </a:cubicBezTo>
                <a:cubicBezTo>
                  <a:pt x="1237256" y="839051"/>
                  <a:pt x="1239080" y="837229"/>
                  <a:pt x="1242723" y="839051"/>
                </a:cubicBezTo>
                <a:cubicBezTo>
                  <a:pt x="1240901" y="840874"/>
                  <a:pt x="1240901" y="840874"/>
                  <a:pt x="1239080" y="840874"/>
                </a:cubicBezTo>
                <a:cubicBezTo>
                  <a:pt x="1239080" y="842696"/>
                  <a:pt x="1242723" y="844518"/>
                  <a:pt x="1242723" y="846340"/>
                </a:cubicBezTo>
                <a:lnTo>
                  <a:pt x="1246783" y="844310"/>
                </a:lnTo>
                <a:lnTo>
                  <a:pt x="1247233" y="848024"/>
                </a:lnTo>
                <a:lnTo>
                  <a:pt x="1242723" y="851807"/>
                </a:lnTo>
                <a:cubicBezTo>
                  <a:pt x="1245456" y="852718"/>
                  <a:pt x="1246823" y="850896"/>
                  <a:pt x="1247279" y="848391"/>
                </a:cubicBezTo>
                <a:lnTo>
                  <a:pt x="1247233" y="848024"/>
                </a:lnTo>
                <a:lnTo>
                  <a:pt x="1249784" y="845885"/>
                </a:lnTo>
                <a:cubicBezTo>
                  <a:pt x="1251378" y="844518"/>
                  <a:pt x="1251834" y="843607"/>
                  <a:pt x="1250012" y="842696"/>
                </a:cubicBezTo>
                <a:cubicBezTo>
                  <a:pt x="1253656" y="839963"/>
                  <a:pt x="1254111" y="835863"/>
                  <a:pt x="1253200" y="831991"/>
                </a:cubicBezTo>
                <a:lnTo>
                  <a:pt x="1248941" y="824054"/>
                </a:lnTo>
                <a:lnTo>
                  <a:pt x="1250012" y="824474"/>
                </a:lnTo>
                <a:lnTo>
                  <a:pt x="1248793" y="823778"/>
                </a:lnTo>
                <a:lnTo>
                  <a:pt x="1248189" y="822652"/>
                </a:lnTo>
                <a:cubicBezTo>
                  <a:pt x="1247279" y="823563"/>
                  <a:pt x="1247735" y="823563"/>
                  <a:pt x="1248417" y="823563"/>
                </a:cubicBezTo>
                <a:lnTo>
                  <a:pt x="1248793" y="823778"/>
                </a:lnTo>
                <a:lnTo>
                  <a:pt x="1248941" y="824054"/>
                </a:lnTo>
                <a:lnTo>
                  <a:pt x="1237256" y="819463"/>
                </a:lnTo>
                <a:cubicBezTo>
                  <a:pt x="1232701" y="817186"/>
                  <a:pt x="1228145" y="815363"/>
                  <a:pt x="1224501" y="817185"/>
                </a:cubicBezTo>
                <a:cubicBezTo>
                  <a:pt x="1222679" y="817185"/>
                  <a:pt x="1224501" y="819008"/>
                  <a:pt x="1220858" y="817185"/>
                </a:cubicBezTo>
                <a:lnTo>
                  <a:pt x="1214231" y="821658"/>
                </a:lnTo>
                <a:close/>
                <a:moveTo>
                  <a:pt x="996729" y="817185"/>
                </a:moveTo>
                <a:cubicBezTo>
                  <a:pt x="996729" y="819008"/>
                  <a:pt x="994907" y="820830"/>
                  <a:pt x="994907" y="822652"/>
                </a:cubicBezTo>
                <a:cubicBezTo>
                  <a:pt x="998552" y="824474"/>
                  <a:pt x="1000374" y="826296"/>
                  <a:pt x="1000374" y="824474"/>
                </a:cubicBezTo>
                <a:cubicBezTo>
                  <a:pt x="1000374" y="820830"/>
                  <a:pt x="1000374" y="817185"/>
                  <a:pt x="996729" y="817185"/>
                </a:cubicBezTo>
                <a:close/>
                <a:moveTo>
                  <a:pt x="843667" y="817185"/>
                </a:moveTo>
                <a:cubicBezTo>
                  <a:pt x="840022" y="819008"/>
                  <a:pt x="840022" y="819008"/>
                  <a:pt x="840022" y="820830"/>
                </a:cubicBezTo>
                <a:cubicBezTo>
                  <a:pt x="841845" y="820830"/>
                  <a:pt x="847311" y="819008"/>
                  <a:pt x="843667" y="817185"/>
                </a:cubicBezTo>
                <a:close/>
                <a:moveTo>
                  <a:pt x="657805" y="817185"/>
                </a:moveTo>
                <a:cubicBezTo>
                  <a:pt x="655983" y="819008"/>
                  <a:pt x="655983" y="817185"/>
                  <a:pt x="654161" y="819008"/>
                </a:cubicBezTo>
                <a:cubicBezTo>
                  <a:pt x="657805" y="819008"/>
                  <a:pt x="659627" y="820830"/>
                  <a:pt x="661449" y="819008"/>
                </a:cubicBezTo>
                <a:cubicBezTo>
                  <a:pt x="659627" y="819008"/>
                  <a:pt x="659627" y="817185"/>
                  <a:pt x="657805" y="817185"/>
                </a:cubicBezTo>
                <a:close/>
                <a:moveTo>
                  <a:pt x="448256" y="817185"/>
                </a:moveTo>
                <a:cubicBezTo>
                  <a:pt x="453722" y="820830"/>
                  <a:pt x="464655" y="829941"/>
                  <a:pt x="468299" y="826296"/>
                </a:cubicBezTo>
                <a:cubicBezTo>
                  <a:pt x="462832" y="822652"/>
                  <a:pt x="455544" y="817185"/>
                  <a:pt x="448256" y="817185"/>
                </a:cubicBezTo>
                <a:close/>
                <a:moveTo>
                  <a:pt x="431856" y="817185"/>
                </a:moveTo>
                <a:cubicBezTo>
                  <a:pt x="431856" y="820830"/>
                  <a:pt x="439145" y="824474"/>
                  <a:pt x="442789" y="828118"/>
                </a:cubicBezTo>
                <a:cubicBezTo>
                  <a:pt x="446433" y="824474"/>
                  <a:pt x="437322" y="817185"/>
                  <a:pt x="431856" y="817185"/>
                </a:cubicBezTo>
                <a:close/>
                <a:moveTo>
                  <a:pt x="298837" y="817185"/>
                </a:moveTo>
                <a:cubicBezTo>
                  <a:pt x="300660" y="824474"/>
                  <a:pt x="309771" y="831763"/>
                  <a:pt x="315236" y="835407"/>
                </a:cubicBezTo>
                <a:cubicBezTo>
                  <a:pt x="315236" y="831763"/>
                  <a:pt x="304303" y="813541"/>
                  <a:pt x="298837" y="817185"/>
                </a:cubicBezTo>
                <a:close/>
                <a:moveTo>
                  <a:pt x="275149" y="817185"/>
                </a:moveTo>
                <a:cubicBezTo>
                  <a:pt x="271504" y="819008"/>
                  <a:pt x="269682" y="817185"/>
                  <a:pt x="266038" y="819008"/>
                </a:cubicBezTo>
                <a:cubicBezTo>
                  <a:pt x="271504" y="826296"/>
                  <a:pt x="275149" y="835407"/>
                  <a:pt x="284259" y="840874"/>
                </a:cubicBezTo>
                <a:cubicBezTo>
                  <a:pt x="286081" y="836319"/>
                  <a:pt x="283348" y="833586"/>
                  <a:pt x="280159" y="831080"/>
                </a:cubicBezTo>
                <a:lnTo>
                  <a:pt x="278810" y="829416"/>
                </a:lnTo>
                <a:lnTo>
                  <a:pt x="279021" y="822880"/>
                </a:lnTo>
                <a:cubicBezTo>
                  <a:pt x="277882" y="820830"/>
                  <a:pt x="276060" y="819008"/>
                  <a:pt x="275149" y="817185"/>
                </a:cubicBezTo>
                <a:close/>
                <a:moveTo>
                  <a:pt x="671321" y="816814"/>
                </a:moveTo>
                <a:lnTo>
                  <a:pt x="672383" y="817185"/>
                </a:lnTo>
                <a:lnTo>
                  <a:pt x="671644" y="817924"/>
                </a:lnTo>
                <a:lnTo>
                  <a:pt x="671244" y="817186"/>
                </a:lnTo>
                <a:close/>
                <a:moveTo>
                  <a:pt x="3489463" y="815363"/>
                </a:moveTo>
                <a:cubicBezTo>
                  <a:pt x="3487641" y="819008"/>
                  <a:pt x="3493108" y="817185"/>
                  <a:pt x="3493108" y="819008"/>
                </a:cubicBezTo>
                <a:lnTo>
                  <a:pt x="3488601" y="819204"/>
                </a:lnTo>
                <a:lnTo>
                  <a:pt x="3488330" y="818118"/>
                </a:lnTo>
                <a:close/>
                <a:moveTo>
                  <a:pt x="3418399" y="815363"/>
                </a:moveTo>
                <a:cubicBezTo>
                  <a:pt x="3420221" y="817185"/>
                  <a:pt x="3420221" y="820830"/>
                  <a:pt x="3422043" y="822652"/>
                </a:cubicBezTo>
                <a:cubicBezTo>
                  <a:pt x="3423865" y="820830"/>
                  <a:pt x="3422043" y="817185"/>
                  <a:pt x="3423865" y="815363"/>
                </a:cubicBezTo>
                <a:cubicBezTo>
                  <a:pt x="3422043" y="815363"/>
                  <a:pt x="3420221" y="815363"/>
                  <a:pt x="3418399" y="815363"/>
                </a:cubicBezTo>
                <a:close/>
                <a:moveTo>
                  <a:pt x="3394710" y="815363"/>
                </a:moveTo>
                <a:cubicBezTo>
                  <a:pt x="3391066" y="820830"/>
                  <a:pt x="3407466" y="822652"/>
                  <a:pt x="3411110" y="820830"/>
                </a:cubicBezTo>
                <a:cubicBezTo>
                  <a:pt x="3407466" y="817185"/>
                  <a:pt x="3398355" y="819008"/>
                  <a:pt x="3394710" y="815363"/>
                </a:cubicBezTo>
                <a:close/>
                <a:moveTo>
                  <a:pt x="1330188" y="815363"/>
                </a:moveTo>
                <a:cubicBezTo>
                  <a:pt x="1326543" y="815363"/>
                  <a:pt x="1322899" y="819008"/>
                  <a:pt x="1319254" y="819008"/>
                </a:cubicBezTo>
                <a:cubicBezTo>
                  <a:pt x="1319254" y="822652"/>
                  <a:pt x="1326543" y="822652"/>
                  <a:pt x="1328365" y="824474"/>
                </a:cubicBezTo>
                <a:cubicBezTo>
                  <a:pt x="1330188" y="822652"/>
                  <a:pt x="1330188" y="819008"/>
                  <a:pt x="1330188" y="815363"/>
                </a:cubicBezTo>
                <a:close/>
                <a:moveTo>
                  <a:pt x="1262767" y="815363"/>
                </a:moveTo>
                <a:cubicBezTo>
                  <a:pt x="1262767" y="815363"/>
                  <a:pt x="1260945" y="817185"/>
                  <a:pt x="1260945" y="817185"/>
                </a:cubicBezTo>
                <a:cubicBezTo>
                  <a:pt x="1262767" y="820830"/>
                  <a:pt x="1264589" y="819008"/>
                  <a:pt x="1268233" y="820830"/>
                </a:cubicBezTo>
                <a:cubicBezTo>
                  <a:pt x="1268233" y="819008"/>
                  <a:pt x="1264589" y="815363"/>
                  <a:pt x="1262767" y="815363"/>
                </a:cubicBezTo>
                <a:close/>
                <a:moveTo>
                  <a:pt x="1014951" y="815363"/>
                </a:moveTo>
                <a:cubicBezTo>
                  <a:pt x="1013129" y="817185"/>
                  <a:pt x="1013129" y="819008"/>
                  <a:pt x="1014951" y="820830"/>
                </a:cubicBezTo>
                <a:cubicBezTo>
                  <a:pt x="1016774" y="820830"/>
                  <a:pt x="1018596" y="822652"/>
                  <a:pt x="1020418" y="822652"/>
                </a:cubicBezTo>
                <a:cubicBezTo>
                  <a:pt x="1022240" y="820830"/>
                  <a:pt x="1024062" y="820830"/>
                  <a:pt x="1024062" y="819008"/>
                </a:cubicBezTo>
                <a:cubicBezTo>
                  <a:pt x="1020418" y="815363"/>
                  <a:pt x="1016774" y="817185"/>
                  <a:pt x="1014951" y="820830"/>
                </a:cubicBezTo>
                <a:cubicBezTo>
                  <a:pt x="1014951" y="819008"/>
                  <a:pt x="1014951" y="819008"/>
                  <a:pt x="1016774" y="819008"/>
                </a:cubicBezTo>
                <a:cubicBezTo>
                  <a:pt x="1016774" y="817185"/>
                  <a:pt x="1014951" y="817185"/>
                  <a:pt x="1014951" y="815363"/>
                </a:cubicBezTo>
                <a:close/>
                <a:moveTo>
                  <a:pt x="781713" y="815363"/>
                </a:moveTo>
                <a:cubicBezTo>
                  <a:pt x="778070" y="824474"/>
                  <a:pt x="787179" y="822652"/>
                  <a:pt x="790824" y="828118"/>
                </a:cubicBezTo>
                <a:cubicBezTo>
                  <a:pt x="790824" y="828118"/>
                  <a:pt x="790824" y="826296"/>
                  <a:pt x="790824" y="826296"/>
                </a:cubicBezTo>
                <a:cubicBezTo>
                  <a:pt x="792646" y="829941"/>
                  <a:pt x="794468" y="829941"/>
                  <a:pt x="796290" y="829941"/>
                </a:cubicBezTo>
                <a:lnTo>
                  <a:pt x="799935" y="829941"/>
                </a:lnTo>
                <a:cubicBezTo>
                  <a:pt x="801757" y="829941"/>
                  <a:pt x="801757" y="828118"/>
                  <a:pt x="803579" y="828118"/>
                </a:cubicBezTo>
                <a:cubicBezTo>
                  <a:pt x="799935" y="819008"/>
                  <a:pt x="789003" y="819008"/>
                  <a:pt x="781713" y="815363"/>
                </a:cubicBezTo>
                <a:close/>
                <a:moveTo>
                  <a:pt x="750737" y="815363"/>
                </a:moveTo>
                <a:cubicBezTo>
                  <a:pt x="747092" y="815363"/>
                  <a:pt x="743447" y="819008"/>
                  <a:pt x="741626" y="822652"/>
                </a:cubicBezTo>
                <a:cubicBezTo>
                  <a:pt x="745269" y="824474"/>
                  <a:pt x="747092" y="824474"/>
                  <a:pt x="747092" y="826296"/>
                </a:cubicBezTo>
                <a:cubicBezTo>
                  <a:pt x="748914" y="824474"/>
                  <a:pt x="750737" y="822652"/>
                  <a:pt x="750737" y="819008"/>
                </a:cubicBezTo>
                <a:cubicBezTo>
                  <a:pt x="750737" y="817185"/>
                  <a:pt x="750737" y="817185"/>
                  <a:pt x="750737" y="815363"/>
                </a:cubicBezTo>
                <a:close/>
                <a:moveTo>
                  <a:pt x="564874" y="815363"/>
                </a:moveTo>
                <a:cubicBezTo>
                  <a:pt x="563052" y="819008"/>
                  <a:pt x="566697" y="822652"/>
                  <a:pt x="568519" y="824474"/>
                </a:cubicBezTo>
                <a:cubicBezTo>
                  <a:pt x="570341" y="822652"/>
                  <a:pt x="568519" y="819008"/>
                  <a:pt x="566697" y="815363"/>
                </a:cubicBezTo>
                <a:cubicBezTo>
                  <a:pt x="566697" y="815363"/>
                  <a:pt x="564874" y="815363"/>
                  <a:pt x="564874" y="815363"/>
                </a:cubicBezTo>
                <a:close/>
                <a:moveTo>
                  <a:pt x="333458" y="815363"/>
                </a:moveTo>
                <a:cubicBezTo>
                  <a:pt x="329814" y="813541"/>
                  <a:pt x="333458" y="819008"/>
                  <a:pt x="335280" y="820830"/>
                </a:cubicBezTo>
                <a:cubicBezTo>
                  <a:pt x="337102" y="820830"/>
                  <a:pt x="331636" y="817185"/>
                  <a:pt x="333458" y="815363"/>
                </a:cubicBezTo>
                <a:close/>
                <a:moveTo>
                  <a:pt x="3329568" y="814680"/>
                </a:moveTo>
                <a:cubicBezTo>
                  <a:pt x="3327746" y="814908"/>
                  <a:pt x="3325468" y="815363"/>
                  <a:pt x="3323646" y="815363"/>
                </a:cubicBezTo>
                <a:cubicBezTo>
                  <a:pt x="3323646" y="820830"/>
                  <a:pt x="3330934" y="817185"/>
                  <a:pt x="3332756" y="815363"/>
                </a:cubicBezTo>
                <a:cubicBezTo>
                  <a:pt x="3332756" y="814452"/>
                  <a:pt x="3331390" y="814452"/>
                  <a:pt x="3329568" y="814680"/>
                </a:cubicBezTo>
                <a:close/>
                <a:moveTo>
                  <a:pt x="1246823" y="814453"/>
                </a:moveTo>
                <a:cubicBezTo>
                  <a:pt x="1243634" y="813997"/>
                  <a:pt x="1239989" y="814452"/>
                  <a:pt x="1237256" y="815363"/>
                </a:cubicBezTo>
                <a:cubicBezTo>
                  <a:pt x="1240901" y="817185"/>
                  <a:pt x="1246367" y="819008"/>
                  <a:pt x="1253656" y="819008"/>
                </a:cubicBezTo>
                <a:cubicBezTo>
                  <a:pt x="1252745" y="816275"/>
                  <a:pt x="1250012" y="814908"/>
                  <a:pt x="1246823" y="814453"/>
                </a:cubicBezTo>
                <a:close/>
                <a:moveTo>
                  <a:pt x="2614820" y="813541"/>
                </a:moveTo>
                <a:cubicBezTo>
                  <a:pt x="2609353" y="811719"/>
                  <a:pt x="2611176" y="826296"/>
                  <a:pt x="2614820" y="824474"/>
                </a:cubicBezTo>
                <a:cubicBezTo>
                  <a:pt x="2618464" y="820830"/>
                  <a:pt x="2614820" y="817185"/>
                  <a:pt x="2614820" y="813541"/>
                </a:cubicBezTo>
                <a:close/>
                <a:moveTo>
                  <a:pt x="1133393" y="813541"/>
                </a:moveTo>
                <a:cubicBezTo>
                  <a:pt x="1129748" y="813541"/>
                  <a:pt x="1131570" y="819008"/>
                  <a:pt x="1127926" y="817185"/>
                </a:cubicBezTo>
                <a:cubicBezTo>
                  <a:pt x="1126104" y="817185"/>
                  <a:pt x="1127926" y="819008"/>
                  <a:pt x="1126104" y="819008"/>
                </a:cubicBezTo>
                <a:cubicBezTo>
                  <a:pt x="1127926" y="820830"/>
                  <a:pt x="1129748" y="822652"/>
                  <a:pt x="1131570" y="820830"/>
                </a:cubicBezTo>
                <a:cubicBezTo>
                  <a:pt x="1129748" y="826296"/>
                  <a:pt x="1138859" y="826296"/>
                  <a:pt x="1140681" y="826296"/>
                </a:cubicBezTo>
                <a:cubicBezTo>
                  <a:pt x="1144326" y="824474"/>
                  <a:pt x="1135215" y="820830"/>
                  <a:pt x="1138859" y="819008"/>
                </a:cubicBezTo>
                <a:cubicBezTo>
                  <a:pt x="1138859" y="819008"/>
                  <a:pt x="1137037" y="820830"/>
                  <a:pt x="1135215" y="820830"/>
                </a:cubicBezTo>
                <a:cubicBezTo>
                  <a:pt x="1137037" y="819008"/>
                  <a:pt x="1133393" y="817185"/>
                  <a:pt x="1131570" y="817185"/>
                </a:cubicBezTo>
                <a:cubicBezTo>
                  <a:pt x="1131570" y="815363"/>
                  <a:pt x="1137037" y="815363"/>
                  <a:pt x="1133393" y="813541"/>
                </a:cubicBezTo>
                <a:close/>
                <a:moveTo>
                  <a:pt x="767136" y="813541"/>
                </a:moveTo>
                <a:cubicBezTo>
                  <a:pt x="765313" y="815363"/>
                  <a:pt x="768959" y="817185"/>
                  <a:pt x="765313" y="819008"/>
                </a:cubicBezTo>
                <a:cubicBezTo>
                  <a:pt x="770781" y="822652"/>
                  <a:pt x="772602" y="828118"/>
                  <a:pt x="778070" y="828118"/>
                </a:cubicBezTo>
                <a:cubicBezTo>
                  <a:pt x="779892" y="822652"/>
                  <a:pt x="776246" y="819008"/>
                  <a:pt x="776246" y="815363"/>
                </a:cubicBezTo>
                <a:cubicBezTo>
                  <a:pt x="772602" y="811719"/>
                  <a:pt x="768959" y="815363"/>
                  <a:pt x="767136" y="813541"/>
                </a:cubicBezTo>
                <a:close/>
                <a:moveTo>
                  <a:pt x="754380" y="813541"/>
                </a:moveTo>
                <a:cubicBezTo>
                  <a:pt x="754380" y="819008"/>
                  <a:pt x="756203" y="822652"/>
                  <a:pt x="759848" y="824474"/>
                </a:cubicBezTo>
                <a:cubicBezTo>
                  <a:pt x="763491" y="822652"/>
                  <a:pt x="761670" y="820830"/>
                  <a:pt x="763491" y="819008"/>
                </a:cubicBezTo>
                <a:cubicBezTo>
                  <a:pt x="761670" y="817185"/>
                  <a:pt x="758025" y="815363"/>
                  <a:pt x="754380" y="813541"/>
                </a:cubicBezTo>
                <a:close/>
                <a:moveTo>
                  <a:pt x="568519" y="813541"/>
                </a:moveTo>
                <a:cubicBezTo>
                  <a:pt x="570341" y="817185"/>
                  <a:pt x="570341" y="819008"/>
                  <a:pt x="572163" y="824474"/>
                </a:cubicBezTo>
                <a:cubicBezTo>
                  <a:pt x="573985" y="822652"/>
                  <a:pt x="573985" y="819008"/>
                  <a:pt x="573985" y="817185"/>
                </a:cubicBezTo>
                <a:cubicBezTo>
                  <a:pt x="570341" y="815363"/>
                  <a:pt x="572163" y="815363"/>
                  <a:pt x="568519" y="813541"/>
                </a:cubicBezTo>
                <a:close/>
                <a:moveTo>
                  <a:pt x="335280" y="813541"/>
                </a:moveTo>
                <a:cubicBezTo>
                  <a:pt x="333458" y="815363"/>
                  <a:pt x="337102" y="819008"/>
                  <a:pt x="338926" y="820830"/>
                </a:cubicBezTo>
                <a:cubicBezTo>
                  <a:pt x="340747" y="819008"/>
                  <a:pt x="338926" y="817185"/>
                  <a:pt x="337102" y="813541"/>
                </a:cubicBezTo>
                <a:cubicBezTo>
                  <a:pt x="335280" y="813541"/>
                  <a:pt x="335280" y="813541"/>
                  <a:pt x="335280" y="813541"/>
                </a:cubicBezTo>
                <a:close/>
                <a:moveTo>
                  <a:pt x="409960" y="813534"/>
                </a:moveTo>
                <a:lnTo>
                  <a:pt x="409989" y="813541"/>
                </a:lnTo>
                <a:lnTo>
                  <a:pt x="409962" y="813536"/>
                </a:lnTo>
                <a:close/>
                <a:moveTo>
                  <a:pt x="409939" y="813490"/>
                </a:moveTo>
                <a:lnTo>
                  <a:pt x="409989" y="813541"/>
                </a:lnTo>
                <a:lnTo>
                  <a:pt x="409948" y="813508"/>
                </a:lnTo>
                <a:close/>
                <a:moveTo>
                  <a:pt x="2585665" y="811719"/>
                </a:moveTo>
                <a:cubicBezTo>
                  <a:pt x="2582021" y="811719"/>
                  <a:pt x="2585665" y="817185"/>
                  <a:pt x="2587487" y="819008"/>
                </a:cubicBezTo>
                <a:cubicBezTo>
                  <a:pt x="2587487" y="815363"/>
                  <a:pt x="2585665" y="813541"/>
                  <a:pt x="2585665" y="811719"/>
                </a:cubicBezTo>
                <a:close/>
                <a:moveTo>
                  <a:pt x="2582021" y="811719"/>
                </a:moveTo>
                <a:cubicBezTo>
                  <a:pt x="2578377" y="811719"/>
                  <a:pt x="2578377" y="817185"/>
                  <a:pt x="2574732" y="817185"/>
                </a:cubicBezTo>
                <a:cubicBezTo>
                  <a:pt x="2574732" y="824474"/>
                  <a:pt x="2580199" y="826296"/>
                  <a:pt x="2583843" y="829941"/>
                </a:cubicBezTo>
                <a:cubicBezTo>
                  <a:pt x="2587487" y="824474"/>
                  <a:pt x="2583843" y="817185"/>
                  <a:pt x="2582021" y="811719"/>
                </a:cubicBezTo>
                <a:close/>
                <a:moveTo>
                  <a:pt x="699715" y="811719"/>
                </a:moveTo>
                <a:cubicBezTo>
                  <a:pt x="699715" y="813541"/>
                  <a:pt x="699715" y="817185"/>
                  <a:pt x="703359" y="815363"/>
                </a:cubicBezTo>
                <a:cubicBezTo>
                  <a:pt x="705182" y="815363"/>
                  <a:pt x="703359" y="813541"/>
                  <a:pt x="703359" y="811719"/>
                </a:cubicBezTo>
                <a:cubicBezTo>
                  <a:pt x="701537" y="809897"/>
                  <a:pt x="699715" y="813541"/>
                  <a:pt x="699715" y="811719"/>
                </a:cubicBezTo>
                <a:close/>
                <a:moveTo>
                  <a:pt x="672383" y="811719"/>
                </a:moveTo>
                <a:lnTo>
                  <a:pt x="671321" y="816814"/>
                </a:lnTo>
                <a:lnTo>
                  <a:pt x="666688" y="815193"/>
                </a:lnTo>
                <a:cubicBezTo>
                  <a:pt x="664296" y="815022"/>
                  <a:pt x="670104" y="819464"/>
                  <a:pt x="668738" y="820830"/>
                </a:cubicBezTo>
                <a:cubicBezTo>
                  <a:pt x="670560" y="820830"/>
                  <a:pt x="670560" y="819919"/>
                  <a:pt x="670560" y="819008"/>
                </a:cubicBezTo>
                <a:lnTo>
                  <a:pt x="671644" y="817924"/>
                </a:lnTo>
                <a:lnTo>
                  <a:pt x="674205" y="822652"/>
                </a:lnTo>
                <a:cubicBezTo>
                  <a:pt x="674205" y="819008"/>
                  <a:pt x="676027" y="815363"/>
                  <a:pt x="672383" y="811719"/>
                </a:cubicBezTo>
                <a:close/>
                <a:moveTo>
                  <a:pt x="594030" y="811719"/>
                </a:moveTo>
                <a:cubicBezTo>
                  <a:pt x="592207" y="811719"/>
                  <a:pt x="592207" y="813541"/>
                  <a:pt x="592207" y="815363"/>
                </a:cubicBezTo>
                <a:cubicBezTo>
                  <a:pt x="592207" y="817185"/>
                  <a:pt x="594030" y="813541"/>
                  <a:pt x="595852" y="815363"/>
                </a:cubicBezTo>
                <a:cubicBezTo>
                  <a:pt x="597673" y="813541"/>
                  <a:pt x="595852" y="813541"/>
                  <a:pt x="594030" y="811719"/>
                </a:cubicBezTo>
                <a:close/>
                <a:moveTo>
                  <a:pt x="3078791" y="811264"/>
                </a:moveTo>
                <a:cubicBezTo>
                  <a:pt x="3076286" y="810352"/>
                  <a:pt x="3073097" y="811719"/>
                  <a:pt x="3070363" y="815363"/>
                </a:cubicBezTo>
                <a:cubicBezTo>
                  <a:pt x="3066719" y="817185"/>
                  <a:pt x="3079474" y="820830"/>
                  <a:pt x="3074008" y="829941"/>
                </a:cubicBezTo>
                <a:cubicBezTo>
                  <a:pt x="3072186" y="829941"/>
                  <a:pt x="3074008" y="824474"/>
                  <a:pt x="3068541" y="824474"/>
                </a:cubicBezTo>
                <a:cubicBezTo>
                  <a:pt x="3070363" y="828118"/>
                  <a:pt x="3074008" y="829941"/>
                  <a:pt x="3072186" y="837229"/>
                </a:cubicBezTo>
                <a:cubicBezTo>
                  <a:pt x="3079474" y="839051"/>
                  <a:pt x="3077652" y="829941"/>
                  <a:pt x="3081297" y="826296"/>
                </a:cubicBezTo>
                <a:cubicBezTo>
                  <a:pt x="3083119" y="826296"/>
                  <a:pt x="3083119" y="826296"/>
                  <a:pt x="3084941" y="828118"/>
                </a:cubicBezTo>
                <a:cubicBezTo>
                  <a:pt x="3084941" y="824474"/>
                  <a:pt x="3084941" y="820830"/>
                  <a:pt x="3084941" y="817185"/>
                </a:cubicBezTo>
                <a:cubicBezTo>
                  <a:pt x="3083119" y="819008"/>
                  <a:pt x="3083119" y="819008"/>
                  <a:pt x="3083119" y="820830"/>
                </a:cubicBezTo>
                <a:cubicBezTo>
                  <a:pt x="3083119" y="815364"/>
                  <a:pt x="3081297" y="812175"/>
                  <a:pt x="3078791" y="811264"/>
                </a:cubicBezTo>
                <a:close/>
                <a:moveTo>
                  <a:pt x="2609353" y="809897"/>
                </a:moveTo>
                <a:cubicBezTo>
                  <a:pt x="2603887" y="811719"/>
                  <a:pt x="2605709" y="819008"/>
                  <a:pt x="2607531" y="822652"/>
                </a:cubicBezTo>
                <a:cubicBezTo>
                  <a:pt x="2611176" y="822652"/>
                  <a:pt x="2609353" y="815363"/>
                  <a:pt x="2609353" y="809897"/>
                </a:cubicBezTo>
                <a:close/>
                <a:moveTo>
                  <a:pt x="2596598" y="809897"/>
                </a:moveTo>
                <a:cubicBezTo>
                  <a:pt x="2591132" y="809897"/>
                  <a:pt x="2589310" y="817185"/>
                  <a:pt x="2592954" y="822652"/>
                </a:cubicBezTo>
                <a:cubicBezTo>
                  <a:pt x="2596598" y="819008"/>
                  <a:pt x="2592954" y="817185"/>
                  <a:pt x="2600243" y="819008"/>
                </a:cubicBezTo>
                <a:cubicBezTo>
                  <a:pt x="2600243" y="815363"/>
                  <a:pt x="2598421" y="811719"/>
                  <a:pt x="2596598" y="809897"/>
                </a:cubicBezTo>
                <a:close/>
                <a:moveTo>
                  <a:pt x="1488716" y="809897"/>
                </a:moveTo>
                <a:cubicBezTo>
                  <a:pt x="1481428" y="813541"/>
                  <a:pt x="1475961" y="819008"/>
                  <a:pt x="1468673" y="824474"/>
                </a:cubicBezTo>
                <a:lnTo>
                  <a:pt x="1468673" y="826296"/>
                </a:lnTo>
                <a:lnTo>
                  <a:pt x="1468673" y="826297"/>
                </a:lnTo>
                <a:lnTo>
                  <a:pt x="1455917" y="846340"/>
                </a:lnTo>
                <a:cubicBezTo>
                  <a:pt x="1460472" y="846340"/>
                  <a:pt x="1463661" y="843152"/>
                  <a:pt x="1465711" y="839052"/>
                </a:cubicBezTo>
                <a:lnTo>
                  <a:pt x="1468673" y="826297"/>
                </a:lnTo>
                <a:lnTo>
                  <a:pt x="1468673" y="835407"/>
                </a:lnTo>
                <a:cubicBezTo>
                  <a:pt x="1467307" y="839052"/>
                  <a:pt x="1465028" y="842696"/>
                  <a:pt x="1463206" y="846340"/>
                </a:cubicBezTo>
                <a:cubicBezTo>
                  <a:pt x="1475961" y="851807"/>
                  <a:pt x="1490539" y="820830"/>
                  <a:pt x="1488716" y="809897"/>
                </a:cubicBezTo>
                <a:close/>
                <a:moveTo>
                  <a:pt x="1137037" y="809897"/>
                </a:moveTo>
                <a:cubicBezTo>
                  <a:pt x="1133393" y="809897"/>
                  <a:pt x="1135215" y="809897"/>
                  <a:pt x="1133393" y="811719"/>
                </a:cubicBezTo>
                <a:cubicBezTo>
                  <a:pt x="1135215" y="813541"/>
                  <a:pt x="1140681" y="811719"/>
                  <a:pt x="1137037" y="809897"/>
                </a:cubicBezTo>
                <a:close/>
                <a:moveTo>
                  <a:pt x="996729" y="809897"/>
                </a:moveTo>
                <a:lnTo>
                  <a:pt x="996836" y="810112"/>
                </a:lnTo>
                <a:lnTo>
                  <a:pt x="996547" y="810080"/>
                </a:lnTo>
                <a:close/>
                <a:moveTo>
                  <a:pt x="856422" y="809897"/>
                </a:moveTo>
                <a:cubicBezTo>
                  <a:pt x="854600" y="809897"/>
                  <a:pt x="852778" y="809897"/>
                  <a:pt x="850956" y="811719"/>
                </a:cubicBezTo>
                <a:cubicBezTo>
                  <a:pt x="852778" y="813541"/>
                  <a:pt x="856422" y="819008"/>
                  <a:pt x="863711" y="817185"/>
                </a:cubicBezTo>
                <a:cubicBezTo>
                  <a:pt x="861889" y="815363"/>
                  <a:pt x="860066" y="811719"/>
                  <a:pt x="856422" y="809897"/>
                </a:cubicBezTo>
                <a:close/>
                <a:moveTo>
                  <a:pt x="829089" y="809897"/>
                </a:moveTo>
                <a:cubicBezTo>
                  <a:pt x="825445" y="815363"/>
                  <a:pt x="829089" y="819008"/>
                  <a:pt x="830912" y="822652"/>
                </a:cubicBezTo>
                <a:cubicBezTo>
                  <a:pt x="834556" y="819008"/>
                  <a:pt x="836378" y="815363"/>
                  <a:pt x="829089" y="809897"/>
                </a:cubicBezTo>
                <a:close/>
                <a:moveTo>
                  <a:pt x="767136" y="809897"/>
                </a:moveTo>
                <a:cubicBezTo>
                  <a:pt x="768959" y="809897"/>
                  <a:pt x="774424" y="809897"/>
                  <a:pt x="774424" y="813541"/>
                </a:cubicBezTo>
                <a:cubicBezTo>
                  <a:pt x="772602" y="809897"/>
                  <a:pt x="768959" y="813541"/>
                  <a:pt x="767136" y="809897"/>
                </a:cubicBezTo>
                <a:close/>
                <a:moveTo>
                  <a:pt x="723404" y="809897"/>
                </a:moveTo>
                <a:cubicBezTo>
                  <a:pt x="721581" y="811719"/>
                  <a:pt x="723404" y="811719"/>
                  <a:pt x="725226" y="813541"/>
                </a:cubicBezTo>
                <a:cubicBezTo>
                  <a:pt x="728870" y="811719"/>
                  <a:pt x="723404" y="809897"/>
                  <a:pt x="723404" y="809897"/>
                </a:cubicBezTo>
                <a:close/>
                <a:moveTo>
                  <a:pt x="690604" y="809897"/>
                </a:moveTo>
                <a:cubicBezTo>
                  <a:pt x="685138" y="809897"/>
                  <a:pt x="692426" y="815363"/>
                  <a:pt x="685138" y="817185"/>
                </a:cubicBezTo>
                <a:cubicBezTo>
                  <a:pt x="686960" y="817185"/>
                  <a:pt x="686960" y="819008"/>
                  <a:pt x="688782" y="819008"/>
                </a:cubicBezTo>
                <a:cubicBezTo>
                  <a:pt x="692426" y="817185"/>
                  <a:pt x="694249" y="813541"/>
                  <a:pt x="690604" y="809897"/>
                </a:cubicBezTo>
                <a:close/>
                <a:moveTo>
                  <a:pt x="606784" y="809897"/>
                </a:moveTo>
                <a:cubicBezTo>
                  <a:pt x="603140" y="809897"/>
                  <a:pt x="604963" y="815363"/>
                  <a:pt x="604963" y="817185"/>
                </a:cubicBezTo>
                <a:cubicBezTo>
                  <a:pt x="608606" y="815363"/>
                  <a:pt x="604963" y="811719"/>
                  <a:pt x="606784" y="809897"/>
                </a:cubicBezTo>
                <a:close/>
                <a:moveTo>
                  <a:pt x="1029164" y="809532"/>
                </a:moveTo>
                <a:lnTo>
                  <a:pt x="1027707" y="811719"/>
                </a:lnTo>
                <a:lnTo>
                  <a:pt x="1027707" y="810505"/>
                </a:lnTo>
                <a:close/>
                <a:moveTo>
                  <a:pt x="1175804" y="809122"/>
                </a:moveTo>
                <a:lnTo>
                  <a:pt x="1175523" y="809557"/>
                </a:lnTo>
                <a:lnTo>
                  <a:pt x="1173481" y="809897"/>
                </a:lnTo>
                <a:close/>
                <a:moveTo>
                  <a:pt x="443564" y="808278"/>
                </a:moveTo>
                <a:lnTo>
                  <a:pt x="447116" y="809214"/>
                </a:lnTo>
                <a:lnTo>
                  <a:pt x="447708" y="809714"/>
                </a:lnTo>
                <a:lnTo>
                  <a:pt x="443843" y="808426"/>
                </a:lnTo>
                <a:close/>
                <a:moveTo>
                  <a:pt x="3437568" y="808074"/>
                </a:moveTo>
                <a:lnTo>
                  <a:pt x="3440265" y="808074"/>
                </a:lnTo>
                <a:lnTo>
                  <a:pt x="3438058" y="810113"/>
                </a:lnTo>
                <a:close/>
                <a:moveTo>
                  <a:pt x="732515" y="808074"/>
                </a:moveTo>
                <a:cubicBezTo>
                  <a:pt x="732515" y="811719"/>
                  <a:pt x="728870" y="813541"/>
                  <a:pt x="732515" y="815363"/>
                </a:cubicBezTo>
                <a:cubicBezTo>
                  <a:pt x="734336" y="815363"/>
                  <a:pt x="736159" y="813541"/>
                  <a:pt x="736159" y="811719"/>
                </a:cubicBezTo>
                <a:cubicBezTo>
                  <a:pt x="736159" y="811719"/>
                  <a:pt x="736159" y="808074"/>
                  <a:pt x="732515" y="808074"/>
                </a:cubicBezTo>
                <a:close/>
                <a:moveTo>
                  <a:pt x="610429" y="808074"/>
                </a:moveTo>
                <a:cubicBezTo>
                  <a:pt x="608606" y="813541"/>
                  <a:pt x="614074" y="822652"/>
                  <a:pt x="619539" y="826296"/>
                </a:cubicBezTo>
                <a:cubicBezTo>
                  <a:pt x="619539" y="820830"/>
                  <a:pt x="614074" y="813541"/>
                  <a:pt x="610429" y="808074"/>
                </a:cubicBezTo>
                <a:close/>
                <a:moveTo>
                  <a:pt x="3205204" y="806252"/>
                </a:moveTo>
                <a:cubicBezTo>
                  <a:pt x="3199738" y="806252"/>
                  <a:pt x="3199738" y="815363"/>
                  <a:pt x="3207027" y="813541"/>
                </a:cubicBezTo>
                <a:cubicBezTo>
                  <a:pt x="3207027" y="809897"/>
                  <a:pt x="3203382" y="809897"/>
                  <a:pt x="3205204" y="806252"/>
                </a:cubicBezTo>
                <a:close/>
                <a:moveTo>
                  <a:pt x="2106433" y="806252"/>
                </a:moveTo>
                <a:cubicBezTo>
                  <a:pt x="2099145" y="808074"/>
                  <a:pt x="2095500" y="815363"/>
                  <a:pt x="2093679" y="824474"/>
                </a:cubicBezTo>
                <a:cubicBezTo>
                  <a:pt x="2099145" y="826296"/>
                  <a:pt x="2102790" y="820830"/>
                  <a:pt x="2106433" y="819008"/>
                </a:cubicBezTo>
                <a:cubicBezTo>
                  <a:pt x="2108256" y="813541"/>
                  <a:pt x="2106433" y="811719"/>
                  <a:pt x="2106433" y="806252"/>
                </a:cubicBezTo>
                <a:close/>
                <a:moveTo>
                  <a:pt x="1295566" y="806252"/>
                </a:moveTo>
                <a:cubicBezTo>
                  <a:pt x="1291922" y="809897"/>
                  <a:pt x="1290100" y="809897"/>
                  <a:pt x="1286455" y="809897"/>
                </a:cubicBezTo>
                <a:cubicBezTo>
                  <a:pt x="1282811" y="811719"/>
                  <a:pt x="1288277" y="811719"/>
                  <a:pt x="1290100" y="811719"/>
                </a:cubicBezTo>
                <a:cubicBezTo>
                  <a:pt x="1291922" y="809897"/>
                  <a:pt x="1297388" y="808074"/>
                  <a:pt x="1295566" y="806252"/>
                </a:cubicBezTo>
                <a:close/>
                <a:moveTo>
                  <a:pt x="1217213" y="806252"/>
                </a:moveTo>
                <a:cubicBezTo>
                  <a:pt x="1217213" y="806252"/>
                  <a:pt x="1219036" y="808074"/>
                  <a:pt x="1219036" y="808074"/>
                </a:cubicBezTo>
                <a:lnTo>
                  <a:pt x="1219034" y="808074"/>
                </a:lnTo>
                <a:close/>
                <a:moveTo>
                  <a:pt x="845489" y="806252"/>
                </a:moveTo>
                <a:cubicBezTo>
                  <a:pt x="841845" y="809897"/>
                  <a:pt x="841845" y="811719"/>
                  <a:pt x="840022" y="813541"/>
                </a:cubicBezTo>
                <a:cubicBezTo>
                  <a:pt x="840022" y="813541"/>
                  <a:pt x="838200" y="813541"/>
                  <a:pt x="836378" y="815363"/>
                </a:cubicBezTo>
                <a:cubicBezTo>
                  <a:pt x="843667" y="820830"/>
                  <a:pt x="838200" y="813541"/>
                  <a:pt x="840022" y="813541"/>
                </a:cubicBezTo>
                <a:cubicBezTo>
                  <a:pt x="841845" y="815363"/>
                  <a:pt x="843667" y="815363"/>
                  <a:pt x="845489" y="815363"/>
                </a:cubicBezTo>
                <a:cubicBezTo>
                  <a:pt x="845489" y="811719"/>
                  <a:pt x="847311" y="808074"/>
                  <a:pt x="845489" y="806252"/>
                </a:cubicBezTo>
                <a:close/>
                <a:moveTo>
                  <a:pt x="758025" y="806252"/>
                </a:moveTo>
                <a:cubicBezTo>
                  <a:pt x="756203" y="806252"/>
                  <a:pt x="756203" y="806252"/>
                  <a:pt x="754380" y="809897"/>
                </a:cubicBezTo>
                <a:cubicBezTo>
                  <a:pt x="756203" y="811719"/>
                  <a:pt x="758025" y="811719"/>
                  <a:pt x="761670" y="811719"/>
                </a:cubicBezTo>
                <a:cubicBezTo>
                  <a:pt x="761670" y="809897"/>
                  <a:pt x="761670" y="809897"/>
                  <a:pt x="761670" y="808074"/>
                </a:cubicBezTo>
                <a:cubicBezTo>
                  <a:pt x="759848" y="808074"/>
                  <a:pt x="759848" y="806252"/>
                  <a:pt x="758025" y="806252"/>
                </a:cubicBezTo>
                <a:close/>
                <a:moveTo>
                  <a:pt x="712470" y="806252"/>
                </a:moveTo>
                <a:cubicBezTo>
                  <a:pt x="710648" y="808074"/>
                  <a:pt x="714293" y="808074"/>
                  <a:pt x="714293" y="811719"/>
                </a:cubicBezTo>
                <a:cubicBezTo>
                  <a:pt x="716115" y="809897"/>
                  <a:pt x="717937" y="808074"/>
                  <a:pt x="719759" y="806252"/>
                </a:cubicBezTo>
                <a:cubicBezTo>
                  <a:pt x="717937" y="806252"/>
                  <a:pt x="716115" y="809897"/>
                  <a:pt x="712470" y="806252"/>
                </a:cubicBezTo>
                <a:close/>
                <a:moveTo>
                  <a:pt x="612251" y="806252"/>
                </a:moveTo>
                <a:lnTo>
                  <a:pt x="618840" y="816961"/>
                </a:lnTo>
                <a:lnTo>
                  <a:pt x="617717" y="817185"/>
                </a:lnTo>
                <a:lnTo>
                  <a:pt x="619123" y="817420"/>
                </a:lnTo>
                <a:lnTo>
                  <a:pt x="625706" y="828118"/>
                </a:lnTo>
                <a:lnTo>
                  <a:pt x="625006" y="828118"/>
                </a:lnTo>
                <a:cubicBezTo>
                  <a:pt x="625006" y="828118"/>
                  <a:pt x="626828" y="829941"/>
                  <a:pt x="626828" y="829941"/>
                </a:cubicBezTo>
                <a:lnTo>
                  <a:pt x="625706" y="828118"/>
                </a:lnTo>
                <a:lnTo>
                  <a:pt x="634117" y="828118"/>
                </a:lnTo>
                <a:cubicBezTo>
                  <a:pt x="632296" y="828118"/>
                  <a:pt x="632296" y="828118"/>
                  <a:pt x="630472" y="829941"/>
                </a:cubicBezTo>
                <a:cubicBezTo>
                  <a:pt x="632296" y="831763"/>
                  <a:pt x="634117" y="831763"/>
                  <a:pt x="635939" y="833585"/>
                </a:cubicBezTo>
                <a:cubicBezTo>
                  <a:pt x="635939" y="833585"/>
                  <a:pt x="635939" y="831763"/>
                  <a:pt x="635939" y="831763"/>
                </a:cubicBezTo>
                <a:lnTo>
                  <a:pt x="640802" y="833564"/>
                </a:lnTo>
                <a:lnTo>
                  <a:pt x="641695" y="836927"/>
                </a:lnTo>
                <a:lnTo>
                  <a:pt x="641407" y="839051"/>
                </a:lnTo>
                <a:cubicBezTo>
                  <a:pt x="637761" y="835407"/>
                  <a:pt x="632296" y="831763"/>
                  <a:pt x="625006" y="829941"/>
                </a:cubicBezTo>
                <a:cubicBezTo>
                  <a:pt x="626828" y="840874"/>
                  <a:pt x="635939" y="837229"/>
                  <a:pt x="643228" y="842696"/>
                </a:cubicBezTo>
                <a:lnTo>
                  <a:pt x="641695" y="836927"/>
                </a:lnTo>
                <a:lnTo>
                  <a:pt x="642089" y="834041"/>
                </a:lnTo>
                <a:lnTo>
                  <a:pt x="640802" y="833564"/>
                </a:lnTo>
                <a:lnTo>
                  <a:pt x="639355" y="828119"/>
                </a:lnTo>
                <a:cubicBezTo>
                  <a:pt x="636394" y="824475"/>
                  <a:pt x="632294" y="821741"/>
                  <a:pt x="628650" y="819008"/>
                </a:cubicBezTo>
                <a:lnTo>
                  <a:pt x="619123" y="817420"/>
                </a:lnTo>
                <a:lnTo>
                  <a:pt x="618840" y="816961"/>
                </a:lnTo>
                <a:lnTo>
                  <a:pt x="626828" y="815363"/>
                </a:lnTo>
                <a:cubicBezTo>
                  <a:pt x="621362" y="811719"/>
                  <a:pt x="615895" y="808074"/>
                  <a:pt x="612251" y="806252"/>
                </a:cubicBezTo>
                <a:close/>
                <a:moveTo>
                  <a:pt x="400879" y="806252"/>
                </a:moveTo>
                <a:lnTo>
                  <a:pt x="409948" y="813508"/>
                </a:lnTo>
                <a:lnTo>
                  <a:pt x="409960" y="813534"/>
                </a:lnTo>
                <a:lnTo>
                  <a:pt x="402701" y="811719"/>
                </a:lnTo>
                <a:cubicBezTo>
                  <a:pt x="400879" y="809897"/>
                  <a:pt x="402701" y="808074"/>
                  <a:pt x="400879" y="806252"/>
                </a:cubicBezTo>
                <a:close/>
                <a:moveTo>
                  <a:pt x="255105" y="806252"/>
                </a:moveTo>
                <a:cubicBezTo>
                  <a:pt x="255105" y="815363"/>
                  <a:pt x="271504" y="817185"/>
                  <a:pt x="269682" y="813541"/>
                </a:cubicBezTo>
                <a:cubicBezTo>
                  <a:pt x="275149" y="806252"/>
                  <a:pt x="264216" y="813541"/>
                  <a:pt x="262393" y="809897"/>
                </a:cubicBezTo>
                <a:cubicBezTo>
                  <a:pt x="260571" y="806252"/>
                  <a:pt x="258749" y="809897"/>
                  <a:pt x="255105" y="806252"/>
                </a:cubicBezTo>
                <a:close/>
                <a:moveTo>
                  <a:pt x="356008" y="805114"/>
                </a:moveTo>
                <a:cubicBezTo>
                  <a:pt x="349402" y="805342"/>
                  <a:pt x="343480" y="808075"/>
                  <a:pt x="340747" y="815363"/>
                </a:cubicBezTo>
                <a:cubicBezTo>
                  <a:pt x="337102" y="824474"/>
                  <a:pt x="348037" y="828118"/>
                  <a:pt x="355324" y="829941"/>
                </a:cubicBezTo>
                <a:cubicBezTo>
                  <a:pt x="353502" y="824474"/>
                  <a:pt x="351680" y="817185"/>
                  <a:pt x="346213" y="813541"/>
                </a:cubicBezTo>
                <a:cubicBezTo>
                  <a:pt x="349858" y="813541"/>
                  <a:pt x="349858" y="815363"/>
                  <a:pt x="349858" y="811719"/>
                </a:cubicBezTo>
                <a:cubicBezTo>
                  <a:pt x="351680" y="826296"/>
                  <a:pt x="360791" y="840874"/>
                  <a:pt x="377190" y="844518"/>
                </a:cubicBezTo>
                <a:cubicBezTo>
                  <a:pt x="375368" y="839051"/>
                  <a:pt x="366257" y="837229"/>
                  <a:pt x="364435" y="831763"/>
                </a:cubicBezTo>
                <a:lnTo>
                  <a:pt x="368079" y="831763"/>
                </a:lnTo>
                <a:cubicBezTo>
                  <a:pt x="366257" y="829941"/>
                  <a:pt x="364435" y="828118"/>
                  <a:pt x="362613" y="826296"/>
                </a:cubicBezTo>
                <a:cubicBezTo>
                  <a:pt x="366257" y="822652"/>
                  <a:pt x="369902" y="831763"/>
                  <a:pt x="371724" y="828118"/>
                </a:cubicBezTo>
                <a:cubicBezTo>
                  <a:pt x="379012" y="820830"/>
                  <a:pt x="368079" y="817185"/>
                  <a:pt x="360791" y="817185"/>
                </a:cubicBezTo>
                <a:cubicBezTo>
                  <a:pt x="364435" y="819008"/>
                  <a:pt x="364435" y="817185"/>
                  <a:pt x="368079" y="817185"/>
                </a:cubicBezTo>
                <a:cubicBezTo>
                  <a:pt x="368079" y="815363"/>
                  <a:pt x="366257" y="817185"/>
                  <a:pt x="364435" y="815363"/>
                </a:cubicBezTo>
                <a:cubicBezTo>
                  <a:pt x="366257" y="813541"/>
                  <a:pt x="368079" y="811719"/>
                  <a:pt x="369902" y="809897"/>
                </a:cubicBezTo>
                <a:lnTo>
                  <a:pt x="371941" y="815037"/>
                </a:lnTo>
                <a:lnTo>
                  <a:pt x="371724" y="815363"/>
                </a:lnTo>
                <a:lnTo>
                  <a:pt x="372069" y="815359"/>
                </a:lnTo>
                <a:lnTo>
                  <a:pt x="375596" y="824247"/>
                </a:lnTo>
                <a:cubicBezTo>
                  <a:pt x="378557" y="827663"/>
                  <a:pt x="382657" y="829941"/>
                  <a:pt x="388123" y="831763"/>
                </a:cubicBezTo>
                <a:cubicBezTo>
                  <a:pt x="389946" y="824474"/>
                  <a:pt x="395412" y="819008"/>
                  <a:pt x="402701" y="824474"/>
                </a:cubicBezTo>
                <a:cubicBezTo>
                  <a:pt x="399056" y="820830"/>
                  <a:pt x="394956" y="817186"/>
                  <a:pt x="389945" y="815136"/>
                </a:cubicBezTo>
                <a:lnTo>
                  <a:pt x="372069" y="815359"/>
                </a:lnTo>
                <a:lnTo>
                  <a:pt x="371941" y="815037"/>
                </a:lnTo>
                <a:lnTo>
                  <a:pt x="375368" y="809897"/>
                </a:lnTo>
                <a:cubicBezTo>
                  <a:pt x="369901" y="807164"/>
                  <a:pt x="362613" y="804886"/>
                  <a:pt x="356008" y="805114"/>
                </a:cubicBezTo>
                <a:close/>
                <a:moveTo>
                  <a:pt x="1204457" y="804472"/>
                </a:moveTo>
                <a:cubicBezTo>
                  <a:pt x="1198991" y="813584"/>
                  <a:pt x="1191703" y="815406"/>
                  <a:pt x="1186235" y="813584"/>
                </a:cubicBezTo>
                <a:cubicBezTo>
                  <a:pt x="1191703" y="813584"/>
                  <a:pt x="1200814" y="809940"/>
                  <a:pt x="1204457" y="804472"/>
                </a:cubicBezTo>
                <a:close/>
                <a:moveTo>
                  <a:pt x="3210671" y="804430"/>
                </a:moveTo>
                <a:cubicBezTo>
                  <a:pt x="3212493" y="802608"/>
                  <a:pt x="3210671" y="808074"/>
                  <a:pt x="3212493" y="809897"/>
                </a:cubicBezTo>
                <a:cubicBezTo>
                  <a:pt x="3216137" y="811719"/>
                  <a:pt x="3216137" y="808074"/>
                  <a:pt x="3216137" y="804430"/>
                </a:cubicBezTo>
                <a:cubicBezTo>
                  <a:pt x="3212493" y="804430"/>
                  <a:pt x="3212493" y="802608"/>
                  <a:pt x="3210671" y="804430"/>
                </a:cubicBezTo>
                <a:close/>
                <a:moveTo>
                  <a:pt x="1315610" y="804430"/>
                </a:moveTo>
                <a:cubicBezTo>
                  <a:pt x="1308321" y="804430"/>
                  <a:pt x="1301033" y="802608"/>
                  <a:pt x="1293744" y="811719"/>
                </a:cubicBezTo>
                <a:cubicBezTo>
                  <a:pt x="1299210" y="815363"/>
                  <a:pt x="1304677" y="815363"/>
                  <a:pt x="1310143" y="817185"/>
                </a:cubicBezTo>
                <a:cubicBezTo>
                  <a:pt x="1311966" y="813541"/>
                  <a:pt x="1313788" y="808074"/>
                  <a:pt x="1315610" y="804430"/>
                </a:cubicBezTo>
                <a:close/>
                <a:moveTo>
                  <a:pt x="727048" y="804430"/>
                </a:moveTo>
                <a:cubicBezTo>
                  <a:pt x="725226" y="806252"/>
                  <a:pt x="723404" y="809897"/>
                  <a:pt x="727048" y="811719"/>
                </a:cubicBezTo>
                <a:cubicBezTo>
                  <a:pt x="734336" y="813541"/>
                  <a:pt x="723404" y="804430"/>
                  <a:pt x="730692" y="806252"/>
                </a:cubicBezTo>
                <a:cubicBezTo>
                  <a:pt x="730692" y="804430"/>
                  <a:pt x="728870" y="804430"/>
                  <a:pt x="727048" y="804430"/>
                </a:cubicBezTo>
                <a:close/>
                <a:moveTo>
                  <a:pt x="654161" y="804430"/>
                </a:moveTo>
                <a:cubicBezTo>
                  <a:pt x="650516" y="806252"/>
                  <a:pt x="652339" y="808074"/>
                  <a:pt x="650516" y="809897"/>
                </a:cubicBezTo>
                <a:cubicBezTo>
                  <a:pt x="654161" y="813541"/>
                  <a:pt x="659627" y="815363"/>
                  <a:pt x="661449" y="817185"/>
                </a:cubicBezTo>
                <a:cubicBezTo>
                  <a:pt x="663272" y="813541"/>
                  <a:pt x="659627" y="809897"/>
                  <a:pt x="654161" y="804430"/>
                </a:cubicBezTo>
                <a:close/>
                <a:moveTo>
                  <a:pt x="641407" y="804430"/>
                </a:moveTo>
                <a:cubicBezTo>
                  <a:pt x="645050" y="809897"/>
                  <a:pt x="646872" y="813541"/>
                  <a:pt x="650516" y="817185"/>
                </a:cubicBezTo>
                <a:cubicBezTo>
                  <a:pt x="655983" y="811719"/>
                  <a:pt x="646872" y="808074"/>
                  <a:pt x="645050" y="804430"/>
                </a:cubicBezTo>
                <a:close/>
                <a:moveTo>
                  <a:pt x="346213" y="804203"/>
                </a:moveTo>
                <a:cubicBezTo>
                  <a:pt x="344391" y="805341"/>
                  <a:pt x="342569" y="807163"/>
                  <a:pt x="340747" y="808074"/>
                </a:cubicBezTo>
                <a:cubicBezTo>
                  <a:pt x="344391" y="809897"/>
                  <a:pt x="348037" y="804430"/>
                  <a:pt x="351680" y="804430"/>
                </a:cubicBezTo>
                <a:cubicBezTo>
                  <a:pt x="349858" y="802608"/>
                  <a:pt x="348037" y="803064"/>
                  <a:pt x="346213" y="804203"/>
                </a:cubicBezTo>
                <a:close/>
                <a:moveTo>
                  <a:pt x="2596598" y="802608"/>
                </a:moveTo>
                <a:cubicBezTo>
                  <a:pt x="2594776" y="804430"/>
                  <a:pt x="2596598" y="806252"/>
                  <a:pt x="2598421" y="808074"/>
                </a:cubicBezTo>
                <a:cubicBezTo>
                  <a:pt x="2600243" y="808074"/>
                  <a:pt x="2600243" y="806252"/>
                  <a:pt x="2602065" y="806252"/>
                </a:cubicBezTo>
                <a:cubicBezTo>
                  <a:pt x="2602065" y="802608"/>
                  <a:pt x="2600243" y="802608"/>
                  <a:pt x="2596598" y="802608"/>
                </a:cubicBezTo>
                <a:close/>
                <a:moveTo>
                  <a:pt x="2343316" y="802608"/>
                </a:moveTo>
                <a:cubicBezTo>
                  <a:pt x="2341494" y="817185"/>
                  <a:pt x="2339672" y="815363"/>
                  <a:pt x="2336027" y="826296"/>
                </a:cubicBezTo>
                <a:cubicBezTo>
                  <a:pt x="2345138" y="831763"/>
                  <a:pt x="2346960" y="813541"/>
                  <a:pt x="2343316" y="802608"/>
                </a:cubicBezTo>
                <a:close/>
                <a:moveTo>
                  <a:pt x="1486895" y="802608"/>
                </a:moveTo>
                <a:cubicBezTo>
                  <a:pt x="1474139" y="808074"/>
                  <a:pt x="1463206" y="813541"/>
                  <a:pt x="1446806" y="820830"/>
                </a:cubicBezTo>
                <a:cubicBezTo>
                  <a:pt x="1446806" y="820830"/>
                  <a:pt x="1444984" y="819008"/>
                  <a:pt x="1444984" y="819008"/>
                </a:cubicBezTo>
                <a:cubicBezTo>
                  <a:pt x="1443162" y="820830"/>
                  <a:pt x="1443162" y="822652"/>
                  <a:pt x="1439518" y="822652"/>
                </a:cubicBezTo>
                <a:cubicBezTo>
                  <a:pt x="1443162" y="826296"/>
                  <a:pt x="1448629" y="822652"/>
                  <a:pt x="1454095" y="819008"/>
                </a:cubicBezTo>
                <a:cubicBezTo>
                  <a:pt x="1455917" y="819008"/>
                  <a:pt x="1454095" y="822652"/>
                  <a:pt x="1455917" y="822652"/>
                </a:cubicBezTo>
                <a:cubicBezTo>
                  <a:pt x="1459562" y="820830"/>
                  <a:pt x="1465028" y="819008"/>
                  <a:pt x="1466850" y="815363"/>
                </a:cubicBezTo>
                <a:cubicBezTo>
                  <a:pt x="1468673" y="819008"/>
                  <a:pt x="1463206" y="817185"/>
                  <a:pt x="1461384" y="820830"/>
                </a:cubicBezTo>
                <a:cubicBezTo>
                  <a:pt x="1465028" y="820830"/>
                  <a:pt x="1468673" y="817185"/>
                  <a:pt x="1472317" y="817185"/>
                </a:cubicBezTo>
                <a:cubicBezTo>
                  <a:pt x="1474139" y="815363"/>
                  <a:pt x="1472317" y="815363"/>
                  <a:pt x="1470495" y="815363"/>
                </a:cubicBezTo>
                <a:cubicBezTo>
                  <a:pt x="1472317" y="813541"/>
                  <a:pt x="1472317" y="813541"/>
                  <a:pt x="1474139" y="811719"/>
                </a:cubicBezTo>
                <a:cubicBezTo>
                  <a:pt x="1474139" y="813541"/>
                  <a:pt x="1472317" y="815363"/>
                  <a:pt x="1474139" y="817185"/>
                </a:cubicBezTo>
                <a:cubicBezTo>
                  <a:pt x="1477784" y="815363"/>
                  <a:pt x="1486895" y="811719"/>
                  <a:pt x="1490539" y="806252"/>
                </a:cubicBezTo>
                <a:cubicBezTo>
                  <a:pt x="1488716" y="804430"/>
                  <a:pt x="1488716" y="804430"/>
                  <a:pt x="1486895" y="802608"/>
                </a:cubicBezTo>
                <a:close/>
                <a:moveTo>
                  <a:pt x="1339299" y="802608"/>
                </a:moveTo>
                <a:cubicBezTo>
                  <a:pt x="1335654" y="798964"/>
                  <a:pt x="1333832" y="806252"/>
                  <a:pt x="1333832" y="808074"/>
                </a:cubicBezTo>
                <a:cubicBezTo>
                  <a:pt x="1335654" y="809897"/>
                  <a:pt x="1337476" y="804430"/>
                  <a:pt x="1339299" y="802608"/>
                </a:cubicBezTo>
                <a:close/>
                <a:moveTo>
                  <a:pt x="1333832" y="802608"/>
                </a:moveTo>
                <a:cubicBezTo>
                  <a:pt x="1332009" y="804430"/>
                  <a:pt x="1330188" y="802608"/>
                  <a:pt x="1332009" y="806252"/>
                </a:cubicBezTo>
                <a:cubicBezTo>
                  <a:pt x="1324721" y="798964"/>
                  <a:pt x="1311966" y="809897"/>
                  <a:pt x="1315610" y="819008"/>
                </a:cubicBezTo>
                <a:cubicBezTo>
                  <a:pt x="1317432" y="817185"/>
                  <a:pt x="1315610" y="815363"/>
                  <a:pt x="1319254" y="813541"/>
                </a:cubicBezTo>
                <a:cubicBezTo>
                  <a:pt x="1319254" y="815363"/>
                  <a:pt x="1317432" y="815363"/>
                  <a:pt x="1317432" y="817185"/>
                </a:cubicBezTo>
                <a:cubicBezTo>
                  <a:pt x="1322899" y="817185"/>
                  <a:pt x="1337476" y="811719"/>
                  <a:pt x="1333832" y="802608"/>
                </a:cubicBezTo>
                <a:close/>
                <a:moveTo>
                  <a:pt x="557586" y="802608"/>
                </a:moveTo>
                <a:cubicBezTo>
                  <a:pt x="555763" y="806252"/>
                  <a:pt x="559408" y="815363"/>
                  <a:pt x="566697" y="813541"/>
                </a:cubicBezTo>
                <a:cubicBezTo>
                  <a:pt x="564874" y="813541"/>
                  <a:pt x="563052" y="811719"/>
                  <a:pt x="563052" y="809897"/>
                </a:cubicBezTo>
                <a:cubicBezTo>
                  <a:pt x="570341" y="809897"/>
                  <a:pt x="561230" y="802608"/>
                  <a:pt x="557586" y="802608"/>
                </a:cubicBezTo>
                <a:close/>
                <a:moveTo>
                  <a:pt x="532075" y="802608"/>
                </a:moveTo>
                <a:cubicBezTo>
                  <a:pt x="533897" y="806252"/>
                  <a:pt x="535719" y="806252"/>
                  <a:pt x="537542" y="809897"/>
                </a:cubicBezTo>
                <a:cubicBezTo>
                  <a:pt x="535719" y="808074"/>
                  <a:pt x="533897" y="808074"/>
                  <a:pt x="532075" y="806252"/>
                </a:cubicBezTo>
                <a:lnTo>
                  <a:pt x="536533" y="821112"/>
                </a:lnTo>
                <a:lnTo>
                  <a:pt x="530253" y="809897"/>
                </a:lnTo>
                <a:cubicBezTo>
                  <a:pt x="533897" y="811719"/>
                  <a:pt x="532075" y="804430"/>
                  <a:pt x="528431" y="804430"/>
                </a:cubicBezTo>
                <a:cubicBezTo>
                  <a:pt x="530253" y="815363"/>
                  <a:pt x="526609" y="828118"/>
                  <a:pt x="537542" y="835407"/>
                </a:cubicBezTo>
                <a:lnTo>
                  <a:pt x="536643" y="821477"/>
                </a:lnTo>
                <a:lnTo>
                  <a:pt x="537542" y="824474"/>
                </a:lnTo>
                <a:cubicBezTo>
                  <a:pt x="544830" y="817185"/>
                  <a:pt x="543008" y="808074"/>
                  <a:pt x="532075" y="802608"/>
                </a:cubicBezTo>
                <a:close/>
                <a:moveTo>
                  <a:pt x="499276" y="802608"/>
                </a:moveTo>
                <a:cubicBezTo>
                  <a:pt x="499276" y="806252"/>
                  <a:pt x="491987" y="800786"/>
                  <a:pt x="493809" y="806252"/>
                </a:cubicBezTo>
                <a:cubicBezTo>
                  <a:pt x="493809" y="806252"/>
                  <a:pt x="497454" y="806252"/>
                  <a:pt x="499276" y="808074"/>
                </a:cubicBezTo>
                <a:cubicBezTo>
                  <a:pt x="499276" y="806252"/>
                  <a:pt x="497454" y="804430"/>
                  <a:pt x="499276" y="802608"/>
                </a:cubicBezTo>
                <a:close/>
                <a:moveTo>
                  <a:pt x="191329" y="802608"/>
                </a:moveTo>
                <a:cubicBezTo>
                  <a:pt x="193151" y="808074"/>
                  <a:pt x="200439" y="808074"/>
                  <a:pt x="202262" y="809897"/>
                </a:cubicBezTo>
                <a:cubicBezTo>
                  <a:pt x="198617" y="804430"/>
                  <a:pt x="194973" y="806252"/>
                  <a:pt x="191329" y="802608"/>
                </a:cubicBezTo>
                <a:close/>
                <a:moveTo>
                  <a:pt x="399056" y="802380"/>
                </a:moveTo>
                <a:cubicBezTo>
                  <a:pt x="393590" y="800786"/>
                  <a:pt x="387212" y="801697"/>
                  <a:pt x="382657" y="806252"/>
                </a:cubicBezTo>
                <a:cubicBezTo>
                  <a:pt x="391768" y="813541"/>
                  <a:pt x="400879" y="815363"/>
                  <a:pt x="409989" y="820830"/>
                </a:cubicBezTo>
                <a:cubicBezTo>
                  <a:pt x="404523" y="815363"/>
                  <a:pt x="400879" y="808074"/>
                  <a:pt x="391768" y="808074"/>
                </a:cubicBezTo>
                <a:cubicBezTo>
                  <a:pt x="395412" y="806252"/>
                  <a:pt x="397690" y="808986"/>
                  <a:pt x="400195" y="811491"/>
                </a:cubicBezTo>
                <a:lnTo>
                  <a:pt x="409962" y="813536"/>
                </a:lnTo>
                <a:lnTo>
                  <a:pt x="411243" y="816133"/>
                </a:lnTo>
                <a:cubicBezTo>
                  <a:pt x="416708" y="821514"/>
                  <a:pt x="427300" y="823563"/>
                  <a:pt x="424567" y="815363"/>
                </a:cubicBezTo>
                <a:cubicBezTo>
                  <a:pt x="419100" y="809897"/>
                  <a:pt x="415456" y="804430"/>
                  <a:pt x="406345" y="802608"/>
                </a:cubicBezTo>
                <a:cubicBezTo>
                  <a:pt x="406345" y="804430"/>
                  <a:pt x="409989" y="808074"/>
                  <a:pt x="408167" y="809897"/>
                </a:cubicBezTo>
                <a:lnTo>
                  <a:pt x="409939" y="813490"/>
                </a:lnTo>
                <a:close/>
                <a:moveTo>
                  <a:pt x="1108663" y="802088"/>
                </a:moveTo>
                <a:lnTo>
                  <a:pt x="1107882" y="802608"/>
                </a:lnTo>
                <a:lnTo>
                  <a:pt x="1107882" y="802244"/>
                </a:lnTo>
                <a:close/>
                <a:moveTo>
                  <a:pt x="3634916" y="800786"/>
                </a:moveTo>
                <a:lnTo>
                  <a:pt x="3635456" y="800786"/>
                </a:lnTo>
                <a:lnTo>
                  <a:pt x="3636600" y="801977"/>
                </a:lnTo>
                <a:lnTo>
                  <a:pt x="3633643" y="803519"/>
                </a:lnTo>
                <a:lnTo>
                  <a:pt x="3632348" y="802605"/>
                </a:lnTo>
                <a:close/>
                <a:moveTo>
                  <a:pt x="2363360" y="800786"/>
                </a:moveTo>
                <a:cubicBezTo>
                  <a:pt x="2365182" y="804430"/>
                  <a:pt x="2365182" y="808074"/>
                  <a:pt x="2367004" y="811719"/>
                </a:cubicBezTo>
                <a:cubicBezTo>
                  <a:pt x="2368827" y="809897"/>
                  <a:pt x="2365182" y="802608"/>
                  <a:pt x="2368827" y="802608"/>
                </a:cubicBezTo>
                <a:cubicBezTo>
                  <a:pt x="2367004" y="798964"/>
                  <a:pt x="2365182" y="798964"/>
                  <a:pt x="2363360" y="800786"/>
                </a:cubicBezTo>
                <a:close/>
                <a:moveTo>
                  <a:pt x="1390319" y="800786"/>
                </a:moveTo>
                <a:cubicBezTo>
                  <a:pt x="1386676" y="798964"/>
                  <a:pt x="1381208" y="800786"/>
                  <a:pt x="1377564" y="802608"/>
                </a:cubicBezTo>
                <a:cubicBezTo>
                  <a:pt x="1377564" y="802608"/>
                  <a:pt x="1379386" y="804430"/>
                  <a:pt x="1381208" y="804430"/>
                </a:cubicBezTo>
                <a:cubicBezTo>
                  <a:pt x="1383030" y="800786"/>
                  <a:pt x="1386676" y="800786"/>
                  <a:pt x="1390319" y="800786"/>
                </a:cubicBezTo>
                <a:close/>
                <a:moveTo>
                  <a:pt x="1138859" y="800786"/>
                </a:moveTo>
                <a:cubicBezTo>
                  <a:pt x="1135215" y="804430"/>
                  <a:pt x="1135215" y="806252"/>
                  <a:pt x="1131570" y="809897"/>
                </a:cubicBezTo>
                <a:lnTo>
                  <a:pt x="1140602" y="806886"/>
                </a:lnTo>
                <a:lnTo>
                  <a:pt x="1140884" y="807872"/>
                </a:lnTo>
                <a:lnTo>
                  <a:pt x="1138859" y="809897"/>
                </a:lnTo>
                <a:cubicBezTo>
                  <a:pt x="1142503" y="811719"/>
                  <a:pt x="1140681" y="813541"/>
                  <a:pt x="1142503" y="813541"/>
                </a:cubicBezTo>
                <a:lnTo>
                  <a:pt x="1140884" y="807872"/>
                </a:lnTo>
                <a:lnTo>
                  <a:pt x="1142503" y="806252"/>
                </a:lnTo>
                <a:lnTo>
                  <a:pt x="1140602" y="806886"/>
                </a:lnTo>
                <a:close/>
                <a:moveTo>
                  <a:pt x="1027707" y="800786"/>
                </a:moveTo>
                <a:lnTo>
                  <a:pt x="1027707" y="810505"/>
                </a:lnTo>
                <a:lnTo>
                  <a:pt x="1025884" y="811719"/>
                </a:lnTo>
                <a:cubicBezTo>
                  <a:pt x="1029529" y="815363"/>
                  <a:pt x="1029529" y="811719"/>
                  <a:pt x="1031351" y="808074"/>
                </a:cubicBezTo>
                <a:lnTo>
                  <a:pt x="1029164" y="809532"/>
                </a:lnTo>
                <a:lnTo>
                  <a:pt x="1031351" y="806252"/>
                </a:lnTo>
                <a:cubicBezTo>
                  <a:pt x="1029529" y="804430"/>
                  <a:pt x="1031351" y="802608"/>
                  <a:pt x="1027707" y="800786"/>
                </a:cubicBezTo>
                <a:close/>
                <a:moveTo>
                  <a:pt x="982152" y="800786"/>
                </a:moveTo>
                <a:cubicBezTo>
                  <a:pt x="976686" y="806252"/>
                  <a:pt x="965753" y="809897"/>
                  <a:pt x="962108" y="815363"/>
                </a:cubicBezTo>
                <a:cubicBezTo>
                  <a:pt x="971219" y="822652"/>
                  <a:pt x="985796" y="822652"/>
                  <a:pt x="989441" y="809897"/>
                </a:cubicBezTo>
                <a:cubicBezTo>
                  <a:pt x="989441" y="806252"/>
                  <a:pt x="983974" y="802608"/>
                  <a:pt x="982152" y="800786"/>
                </a:cubicBezTo>
                <a:close/>
                <a:moveTo>
                  <a:pt x="889222" y="800786"/>
                </a:moveTo>
                <a:cubicBezTo>
                  <a:pt x="885577" y="802608"/>
                  <a:pt x="883755" y="806252"/>
                  <a:pt x="881933" y="802608"/>
                </a:cubicBezTo>
                <a:cubicBezTo>
                  <a:pt x="878288" y="806252"/>
                  <a:pt x="887399" y="804430"/>
                  <a:pt x="883755" y="806252"/>
                </a:cubicBezTo>
                <a:cubicBezTo>
                  <a:pt x="883755" y="808074"/>
                  <a:pt x="889222" y="802608"/>
                  <a:pt x="889222" y="800786"/>
                </a:cubicBezTo>
                <a:close/>
                <a:moveTo>
                  <a:pt x="832734" y="800786"/>
                </a:moveTo>
                <a:cubicBezTo>
                  <a:pt x="832734" y="804430"/>
                  <a:pt x="832734" y="809897"/>
                  <a:pt x="838200" y="811719"/>
                </a:cubicBezTo>
                <a:cubicBezTo>
                  <a:pt x="841845" y="809897"/>
                  <a:pt x="841845" y="806252"/>
                  <a:pt x="841845" y="802608"/>
                </a:cubicBezTo>
                <a:cubicBezTo>
                  <a:pt x="840022" y="802608"/>
                  <a:pt x="836378" y="802608"/>
                  <a:pt x="832734" y="800786"/>
                </a:cubicBezTo>
                <a:close/>
                <a:moveTo>
                  <a:pt x="728870" y="800786"/>
                </a:moveTo>
                <a:cubicBezTo>
                  <a:pt x="732515" y="802608"/>
                  <a:pt x="730692" y="802608"/>
                  <a:pt x="732515" y="804430"/>
                </a:cubicBezTo>
                <a:cubicBezTo>
                  <a:pt x="736159" y="804430"/>
                  <a:pt x="732515" y="802608"/>
                  <a:pt x="734336" y="800786"/>
                </a:cubicBezTo>
                <a:cubicBezTo>
                  <a:pt x="732515" y="800786"/>
                  <a:pt x="730692" y="800786"/>
                  <a:pt x="728870" y="800786"/>
                </a:cubicBezTo>
                <a:close/>
                <a:moveTo>
                  <a:pt x="701537" y="800786"/>
                </a:moveTo>
                <a:cubicBezTo>
                  <a:pt x="699715" y="800786"/>
                  <a:pt x="697893" y="806252"/>
                  <a:pt x="694249" y="806252"/>
                </a:cubicBezTo>
                <a:cubicBezTo>
                  <a:pt x="694249" y="809897"/>
                  <a:pt x="697893" y="811719"/>
                  <a:pt x="701537" y="809897"/>
                </a:cubicBezTo>
                <a:cubicBezTo>
                  <a:pt x="701537" y="806252"/>
                  <a:pt x="703359" y="804430"/>
                  <a:pt x="701537" y="800786"/>
                </a:cubicBezTo>
                <a:close/>
                <a:moveTo>
                  <a:pt x="3389472" y="799420"/>
                </a:moveTo>
                <a:cubicBezTo>
                  <a:pt x="3384233" y="798964"/>
                  <a:pt x="3379222" y="798964"/>
                  <a:pt x="3372844" y="800786"/>
                </a:cubicBezTo>
                <a:cubicBezTo>
                  <a:pt x="3371022" y="802608"/>
                  <a:pt x="3371022" y="802608"/>
                  <a:pt x="3371022" y="804430"/>
                </a:cubicBezTo>
                <a:cubicBezTo>
                  <a:pt x="3383777" y="800786"/>
                  <a:pt x="3398355" y="808074"/>
                  <a:pt x="3407466" y="800786"/>
                </a:cubicBezTo>
                <a:cubicBezTo>
                  <a:pt x="3400177" y="800786"/>
                  <a:pt x="3394711" y="799875"/>
                  <a:pt x="3389472" y="799420"/>
                </a:cubicBezTo>
                <a:close/>
                <a:moveTo>
                  <a:pt x="3241648" y="798964"/>
                </a:moveTo>
                <a:cubicBezTo>
                  <a:pt x="3238003" y="800786"/>
                  <a:pt x="3236181" y="808074"/>
                  <a:pt x="3243470" y="806252"/>
                </a:cubicBezTo>
                <a:cubicBezTo>
                  <a:pt x="3243470" y="802608"/>
                  <a:pt x="3241648" y="802608"/>
                  <a:pt x="3241648" y="798964"/>
                </a:cubicBezTo>
                <a:close/>
                <a:moveTo>
                  <a:pt x="2552866" y="798964"/>
                </a:moveTo>
                <a:cubicBezTo>
                  <a:pt x="2551044" y="811719"/>
                  <a:pt x="2560155" y="822652"/>
                  <a:pt x="2554688" y="833585"/>
                </a:cubicBezTo>
                <a:cubicBezTo>
                  <a:pt x="2556510" y="833585"/>
                  <a:pt x="2560155" y="833585"/>
                  <a:pt x="2561977" y="831763"/>
                </a:cubicBezTo>
                <a:cubicBezTo>
                  <a:pt x="2563799" y="831763"/>
                  <a:pt x="2563799" y="833585"/>
                  <a:pt x="2563799" y="835407"/>
                </a:cubicBezTo>
                <a:cubicBezTo>
                  <a:pt x="2565621" y="835407"/>
                  <a:pt x="2567443" y="835407"/>
                  <a:pt x="2567443" y="833585"/>
                </a:cubicBezTo>
                <a:cubicBezTo>
                  <a:pt x="2561977" y="828118"/>
                  <a:pt x="2561977" y="820830"/>
                  <a:pt x="2569266" y="817185"/>
                </a:cubicBezTo>
                <a:cubicBezTo>
                  <a:pt x="2571088" y="815363"/>
                  <a:pt x="2565621" y="811719"/>
                  <a:pt x="2563799" y="808074"/>
                </a:cubicBezTo>
                <a:cubicBezTo>
                  <a:pt x="2563799" y="811719"/>
                  <a:pt x="2563799" y="815363"/>
                  <a:pt x="2556510" y="813541"/>
                </a:cubicBezTo>
                <a:cubicBezTo>
                  <a:pt x="2556510" y="809897"/>
                  <a:pt x="2554688" y="804430"/>
                  <a:pt x="2552866" y="798964"/>
                </a:cubicBezTo>
                <a:close/>
                <a:moveTo>
                  <a:pt x="1446806" y="798964"/>
                </a:moveTo>
                <a:lnTo>
                  <a:pt x="1446707" y="799561"/>
                </a:lnTo>
                <a:lnTo>
                  <a:pt x="1443855" y="801369"/>
                </a:lnTo>
                <a:close/>
                <a:moveTo>
                  <a:pt x="1025884" y="798964"/>
                </a:moveTo>
                <a:cubicBezTo>
                  <a:pt x="1024062" y="802608"/>
                  <a:pt x="1016774" y="800786"/>
                  <a:pt x="1020418" y="806252"/>
                </a:cubicBezTo>
                <a:lnTo>
                  <a:pt x="1020429" y="806274"/>
                </a:lnTo>
                <a:lnTo>
                  <a:pt x="1022239" y="802653"/>
                </a:lnTo>
                <a:cubicBezTo>
                  <a:pt x="1024062" y="802653"/>
                  <a:pt x="1022239" y="804475"/>
                  <a:pt x="1022239" y="806298"/>
                </a:cubicBezTo>
                <a:lnTo>
                  <a:pt x="1020442" y="806298"/>
                </a:lnTo>
                <a:lnTo>
                  <a:pt x="1022240" y="809897"/>
                </a:lnTo>
                <a:cubicBezTo>
                  <a:pt x="1022240" y="809897"/>
                  <a:pt x="1022240" y="808074"/>
                  <a:pt x="1022240" y="808074"/>
                </a:cubicBezTo>
                <a:cubicBezTo>
                  <a:pt x="1024062" y="806252"/>
                  <a:pt x="1025884" y="806252"/>
                  <a:pt x="1022240" y="802608"/>
                </a:cubicBezTo>
                <a:cubicBezTo>
                  <a:pt x="1025884" y="804430"/>
                  <a:pt x="1025884" y="800786"/>
                  <a:pt x="1025884" y="798964"/>
                </a:cubicBezTo>
                <a:close/>
                <a:moveTo>
                  <a:pt x="912909" y="798964"/>
                </a:moveTo>
                <a:cubicBezTo>
                  <a:pt x="905621" y="800786"/>
                  <a:pt x="911087" y="800786"/>
                  <a:pt x="912909" y="802608"/>
                </a:cubicBezTo>
                <a:cubicBezTo>
                  <a:pt x="914732" y="800786"/>
                  <a:pt x="911087" y="800786"/>
                  <a:pt x="912909" y="798964"/>
                </a:cubicBezTo>
                <a:close/>
                <a:moveTo>
                  <a:pt x="670560" y="798964"/>
                </a:moveTo>
                <a:cubicBezTo>
                  <a:pt x="670560" y="800786"/>
                  <a:pt x="666916" y="802608"/>
                  <a:pt x="666916" y="802608"/>
                </a:cubicBezTo>
                <a:cubicBezTo>
                  <a:pt x="668738" y="808074"/>
                  <a:pt x="672383" y="809897"/>
                  <a:pt x="677849" y="813541"/>
                </a:cubicBezTo>
                <a:cubicBezTo>
                  <a:pt x="681493" y="806252"/>
                  <a:pt x="679671" y="806252"/>
                  <a:pt x="672383" y="806252"/>
                </a:cubicBezTo>
                <a:cubicBezTo>
                  <a:pt x="674205" y="804430"/>
                  <a:pt x="676027" y="804430"/>
                  <a:pt x="677849" y="804430"/>
                </a:cubicBezTo>
                <a:cubicBezTo>
                  <a:pt x="681493" y="798964"/>
                  <a:pt x="676027" y="804430"/>
                  <a:pt x="670560" y="798964"/>
                </a:cubicBezTo>
                <a:close/>
                <a:moveTo>
                  <a:pt x="557586" y="798964"/>
                </a:moveTo>
                <a:cubicBezTo>
                  <a:pt x="553941" y="802608"/>
                  <a:pt x="561230" y="804430"/>
                  <a:pt x="564874" y="804430"/>
                </a:cubicBezTo>
                <a:cubicBezTo>
                  <a:pt x="561230" y="800786"/>
                  <a:pt x="559408" y="800786"/>
                  <a:pt x="557586" y="798964"/>
                </a:cubicBezTo>
                <a:close/>
                <a:moveTo>
                  <a:pt x="276971" y="798964"/>
                </a:moveTo>
                <a:cubicBezTo>
                  <a:pt x="276971" y="804430"/>
                  <a:pt x="276971" y="806252"/>
                  <a:pt x="282438" y="802608"/>
                </a:cubicBezTo>
                <a:cubicBezTo>
                  <a:pt x="280615" y="800786"/>
                  <a:pt x="278793" y="804430"/>
                  <a:pt x="276971" y="798964"/>
                </a:cubicBezTo>
                <a:close/>
                <a:moveTo>
                  <a:pt x="225950" y="798964"/>
                </a:moveTo>
                <a:cubicBezTo>
                  <a:pt x="231416" y="804430"/>
                  <a:pt x="233239" y="811719"/>
                  <a:pt x="242349" y="811719"/>
                </a:cubicBezTo>
                <a:cubicBezTo>
                  <a:pt x="240527" y="808074"/>
                  <a:pt x="233239" y="809897"/>
                  <a:pt x="236883" y="804430"/>
                </a:cubicBezTo>
                <a:cubicBezTo>
                  <a:pt x="233239" y="802608"/>
                  <a:pt x="229594" y="800786"/>
                  <a:pt x="225950" y="798964"/>
                </a:cubicBezTo>
                <a:close/>
                <a:moveTo>
                  <a:pt x="216839" y="798964"/>
                </a:moveTo>
                <a:cubicBezTo>
                  <a:pt x="216839" y="804430"/>
                  <a:pt x="227772" y="815363"/>
                  <a:pt x="233239" y="815363"/>
                </a:cubicBezTo>
                <a:cubicBezTo>
                  <a:pt x="235061" y="811719"/>
                  <a:pt x="224128" y="802608"/>
                  <a:pt x="225950" y="808074"/>
                </a:cubicBezTo>
                <a:cubicBezTo>
                  <a:pt x="222306" y="802608"/>
                  <a:pt x="220483" y="802608"/>
                  <a:pt x="216839" y="798964"/>
                </a:cubicBezTo>
                <a:close/>
                <a:moveTo>
                  <a:pt x="1448168" y="798634"/>
                </a:moveTo>
                <a:lnTo>
                  <a:pt x="1448629" y="804430"/>
                </a:lnTo>
                <a:cubicBezTo>
                  <a:pt x="1444984" y="806252"/>
                  <a:pt x="1448629" y="809897"/>
                  <a:pt x="1444984" y="809897"/>
                </a:cubicBezTo>
                <a:lnTo>
                  <a:pt x="1446707" y="799561"/>
                </a:lnTo>
                <a:close/>
                <a:moveTo>
                  <a:pt x="691288" y="798280"/>
                </a:moveTo>
                <a:cubicBezTo>
                  <a:pt x="689238" y="798964"/>
                  <a:pt x="687872" y="800786"/>
                  <a:pt x="688782" y="804430"/>
                </a:cubicBezTo>
                <a:cubicBezTo>
                  <a:pt x="692426" y="800786"/>
                  <a:pt x="688782" y="804430"/>
                  <a:pt x="692426" y="806252"/>
                </a:cubicBezTo>
                <a:cubicBezTo>
                  <a:pt x="696071" y="804430"/>
                  <a:pt x="697893" y="802608"/>
                  <a:pt x="697893" y="798964"/>
                </a:cubicBezTo>
                <a:cubicBezTo>
                  <a:pt x="696071" y="798053"/>
                  <a:pt x="693338" y="797597"/>
                  <a:pt x="691288" y="798280"/>
                </a:cubicBezTo>
                <a:close/>
                <a:moveTo>
                  <a:pt x="954990" y="797882"/>
                </a:moveTo>
                <a:cubicBezTo>
                  <a:pt x="952883" y="797370"/>
                  <a:pt x="950492" y="797825"/>
                  <a:pt x="947986" y="798964"/>
                </a:cubicBezTo>
                <a:cubicBezTo>
                  <a:pt x="942975" y="801242"/>
                  <a:pt x="937508" y="806253"/>
                  <a:pt x="932953" y="811719"/>
                </a:cubicBezTo>
                <a:cubicBezTo>
                  <a:pt x="932953" y="811719"/>
                  <a:pt x="932953" y="813541"/>
                  <a:pt x="932953" y="813541"/>
                </a:cubicBezTo>
                <a:cubicBezTo>
                  <a:pt x="931131" y="811719"/>
                  <a:pt x="931131" y="811719"/>
                  <a:pt x="931131" y="811719"/>
                </a:cubicBezTo>
                <a:cubicBezTo>
                  <a:pt x="931131" y="813541"/>
                  <a:pt x="929309" y="813541"/>
                  <a:pt x="927487" y="815363"/>
                </a:cubicBezTo>
                <a:cubicBezTo>
                  <a:pt x="927487" y="815363"/>
                  <a:pt x="929309" y="817185"/>
                  <a:pt x="929309" y="817185"/>
                </a:cubicBezTo>
                <a:cubicBezTo>
                  <a:pt x="927487" y="817185"/>
                  <a:pt x="927487" y="819008"/>
                  <a:pt x="927487" y="819008"/>
                </a:cubicBezTo>
                <a:cubicBezTo>
                  <a:pt x="929309" y="819008"/>
                  <a:pt x="931131" y="819008"/>
                  <a:pt x="932953" y="817185"/>
                </a:cubicBezTo>
                <a:cubicBezTo>
                  <a:pt x="931131" y="815363"/>
                  <a:pt x="931131" y="817185"/>
                  <a:pt x="929309" y="815363"/>
                </a:cubicBezTo>
                <a:cubicBezTo>
                  <a:pt x="932953" y="815363"/>
                  <a:pt x="932953" y="815363"/>
                  <a:pt x="932953" y="813541"/>
                </a:cubicBezTo>
                <a:cubicBezTo>
                  <a:pt x="934777" y="817185"/>
                  <a:pt x="942064" y="813541"/>
                  <a:pt x="942064" y="817185"/>
                </a:cubicBezTo>
                <a:cubicBezTo>
                  <a:pt x="942064" y="815363"/>
                  <a:pt x="943886" y="811719"/>
                  <a:pt x="945709" y="809897"/>
                </a:cubicBezTo>
                <a:cubicBezTo>
                  <a:pt x="949353" y="809897"/>
                  <a:pt x="943886" y="813541"/>
                  <a:pt x="947531" y="813541"/>
                </a:cubicBezTo>
                <a:cubicBezTo>
                  <a:pt x="952997" y="813541"/>
                  <a:pt x="954819" y="809897"/>
                  <a:pt x="958464" y="808074"/>
                </a:cubicBezTo>
                <a:cubicBezTo>
                  <a:pt x="956642" y="806252"/>
                  <a:pt x="952997" y="804430"/>
                  <a:pt x="951175" y="802608"/>
                </a:cubicBezTo>
                <a:cubicBezTo>
                  <a:pt x="954819" y="800786"/>
                  <a:pt x="956642" y="806252"/>
                  <a:pt x="960286" y="802608"/>
                </a:cubicBezTo>
                <a:cubicBezTo>
                  <a:pt x="958919" y="799875"/>
                  <a:pt x="957097" y="798395"/>
                  <a:pt x="954990" y="797882"/>
                </a:cubicBezTo>
                <a:close/>
                <a:moveTo>
                  <a:pt x="1322215" y="797825"/>
                </a:moveTo>
                <a:cubicBezTo>
                  <a:pt x="1320165" y="797597"/>
                  <a:pt x="1318343" y="798053"/>
                  <a:pt x="1317432" y="800786"/>
                </a:cubicBezTo>
                <a:cubicBezTo>
                  <a:pt x="1321077" y="800786"/>
                  <a:pt x="1324721" y="798964"/>
                  <a:pt x="1328365" y="798964"/>
                </a:cubicBezTo>
                <a:cubicBezTo>
                  <a:pt x="1326543" y="798964"/>
                  <a:pt x="1324265" y="798053"/>
                  <a:pt x="1322215" y="797825"/>
                </a:cubicBezTo>
                <a:close/>
                <a:moveTo>
                  <a:pt x="341202" y="797825"/>
                </a:moveTo>
                <a:cubicBezTo>
                  <a:pt x="339836" y="797142"/>
                  <a:pt x="338926" y="797142"/>
                  <a:pt x="338926" y="798964"/>
                </a:cubicBezTo>
                <a:lnTo>
                  <a:pt x="344470" y="799757"/>
                </a:lnTo>
                <a:lnTo>
                  <a:pt x="346213" y="800786"/>
                </a:lnTo>
                <a:cubicBezTo>
                  <a:pt x="348037" y="798964"/>
                  <a:pt x="351680" y="800786"/>
                  <a:pt x="351680" y="800786"/>
                </a:cubicBezTo>
                <a:lnTo>
                  <a:pt x="344470" y="799757"/>
                </a:lnTo>
                <a:close/>
                <a:moveTo>
                  <a:pt x="3645375" y="797761"/>
                </a:moveTo>
                <a:lnTo>
                  <a:pt x="3646171" y="800786"/>
                </a:lnTo>
                <a:lnTo>
                  <a:pt x="3643158" y="801791"/>
                </a:lnTo>
                <a:close/>
                <a:moveTo>
                  <a:pt x="1292068" y="797734"/>
                </a:moveTo>
                <a:lnTo>
                  <a:pt x="1297388" y="800786"/>
                </a:lnTo>
                <a:cubicBezTo>
                  <a:pt x="1295566" y="798964"/>
                  <a:pt x="1293744" y="798508"/>
                  <a:pt x="1292149" y="797825"/>
                </a:cubicBezTo>
                <a:close/>
                <a:moveTo>
                  <a:pt x="1217210" y="797142"/>
                </a:moveTo>
                <a:lnTo>
                  <a:pt x="1217212" y="797142"/>
                </a:lnTo>
                <a:lnTo>
                  <a:pt x="1209012" y="801242"/>
                </a:lnTo>
                <a:cubicBezTo>
                  <a:pt x="1206279" y="801697"/>
                  <a:pt x="1203546" y="801697"/>
                  <a:pt x="1200814" y="802608"/>
                </a:cubicBezTo>
                <a:close/>
                <a:moveTo>
                  <a:pt x="3540484" y="797141"/>
                </a:moveTo>
                <a:cubicBezTo>
                  <a:pt x="3538662" y="800786"/>
                  <a:pt x="3545951" y="802608"/>
                  <a:pt x="3542306" y="806252"/>
                </a:cubicBezTo>
                <a:cubicBezTo>
                  <a:pt x="3542306" y="806252"/>
                  <a:pt x="3542306" y="806252"/>
                  <a:pt x="3540484" y="804430"/>
                </a:cubicBezTo>
                <a:cubicBezTo>
                  <a:pt x="3536840" y="811719"/>
                  <a:pt x="3533196" y="809897"/>
                  <a:pt x="3525907" y="808074"/>
                </a:cubicBezTo>
                <a:cubicBezTo>
                  <a:pt x="3533196" y="813541"/>
                  <a:pt x="3542306" y="819008"/>
                  <a:pt x="3549595" y="815363"/>
                </a:cubicBezTo>
                <a:cubicBezTo>
                  <a:pt x="3553240" y="809897"/>
                  <a:pt x="3544129" y="802608"/>
                  <a:pt x="3549595" y="797141"/>
                </a:cubicBezTo>
                <a:cubicBezTo>
                  <a:pt x="3545951" y="798964"/>
                  <a:pt x="3544129" y="795319"/>
                  <a:pt x="3540484" y="797141"/>
                </a:cubicBezTo>
                <a:close/>
                <a:moveTo>
                  <a:pt x="3371022" y="797141"/>
                </a:moveTo>
                <a:cubicBezTo>
                  <a:pt x="3367378" y="798964"/>
                  <a:pt x="3360089" y="798964"/>
                  <a:pt x="3356445" y="800786"/>
                </a:cubicBezTo>
                <a:cubicBezTo>
                  <a:pt x="3358267" y="802608"/>
                  <a:pt x="3372844" y="802608"/>
                  <a:pt x="3371022" y="797141"/>
                </a:cubicBezTo>
                <a:close/>
                <a:moveTo>
                  <a:pt x="2786104" y="797141"/>
                </a:moveTo>
                <a:cubicBezTo>
                  <a:pt x="2784282" y="797141"/>
                  <a:pt x="2787927" y="811719"/>
                  <a:pt x="2793393" y="809897"/>
                </a:cubicBezTo>
                <a:cubicBezTo>
                  <a:pt x="2793393" y="804430"/>
                  <a:pt x="2787927" y="802608"/>
                  <a:pt x="2786104" y="797141"/>
                </a:cubicBezTo>
                <a:close/>
                <a:moveTo>
                  <a:pt x="2669485" y="797141"/>
                </a:moveTo>
                <a:cubicBezTo>
                  <a:pt x="2664019" y="795319"/>
                  <a:pt x="2665841" y="800786"/>
                  <a:pt x="2662197" y="800786"/>
                </a:cubicBezTo>
                <a:cubicBezTo>
                  <a:pt x="2664019" y="802608"/>
                  <a:pt x="2669485" y="800786"/>
                  <a:pt x="2669485" y="797141"/>
                </a:cubicBezTo>
                <a:close/>
                <a:moveTo>
                  <a:pt x="2638508" y="797141"/>
                </a:moveTo>
                <a:cubicBezTo>
                  <a:pt x="2631219" y="800786"/>
                  <a:pt x="2633042" y="808074"/>
                  <a:pt x="2636686" y="811719"/>
                </a:cubicBezTo>
                <a:cubicBezTo>
                  <a:pt x="2620287" y="813541"/>
                  <a:pt x="2634864" y="820830"/>
                  <a:pt x="2627575" y="822652"/>
                </a:cubicBezTo>
                <a:cubicBezTo>
                  <a:pt x="2631219" y="826296"/>
                  <a:pt x="2636686" y="828118"/>
                  <a:pt x="2642153" y="828118"/>
                </a:cubicBezTo>
                <a:cubicBezTo>
                  <a:pt x="2645797" y="815363"/>
                  <a:pt x="2640330" y="806252"/>
                  <a:pt x="2638508" y="797141"/>
                </a:cubicBezTo>
                <a:close/>
                <a:moveTo>
                  <a:pt x="2527356" y="797141"/>
                </a:moveTo>
                <a:cubicBezTo>
                  <a:pt x="2529178" y="802608"/>
                  <a:pt x="2531000" y="806252"/>
                  <a:pt x="2534644" y="808074"/>
                </a:cubicBezTo>
                <a:cubicBezTo>
                  <a:pt x="2536466" y="802608"/>
                  <a:pt x="2532822" y="802608"/>
                  <a:pt x="2532822" y="797141"/>
                </a:cubicBezTo>
                <a:cubicBezTo>
                  <a:pt x="2531000" y="797141"/>
                  <a:pt x="2529178" y="797141"/>
                  <a:pt x="2527356" y="797141"/>
                </a:cubicBezTo>
                <a:close/>
                <a:moveTo>
                  <a:pt x="2275896" y="797141"/>
                </a:moveTo>
                <a:lnTo>
                  <a:pt x="2279540" y="806252"/>
                </a:lnTo>
                <a:cubicBezTo>
                  <a:pt x="2281362" y="806252"/>
                  <a:pt x="2281362" y="808074"/>
                  <a:pt x="2283184" y="802608"/>
                </a:cubicBezTo>
                <a:cubicBezTo>
                  <a:pt x="2281362" y="798964"/>
                  <a:pt x="2277718" y="795319"/>
                  <a:pt x="2275896" y="797141"/>
                </a:cubicBezTo>
                <a:close/>
                <a:moveTo>
                  <a:pt x="1508760" y="797141"/>
                </a:moveTo>
                <a:cubicBezTo>
                  <a:pt x="1506027" y="797141"/>
                  <a:pt x="1503749" y="799419"/>
                  <a:pt x="1501472" y="801469"/>
                </a:cubicBezTo>
                <a:lnTo>
                  <a:pt x="1499606" y="802227"/>
                </a:lnTo>
                <a:close/>
                <a:moveTo>
                  <a:pt x="1341120" y="797141"/>
                </a:moveTo>
                <a:cubicBezTo>
                  <a:pt x="1337476" y="800786"/>
                  <a:pt x="1335654" y="798964"/>
                  <a:pt x="1332009" y="800786"/>
                </a:cubicBezTo>
                <a:cubicBezTo>
                  <a:pt x="1333832" y="800786"/>
                  <a:pt x="1344765" y="800786"/>
                  <a:pt x="1341120" y="797141"/>
                </a:cubicBezTo>
                <a:close/>
                <a:moveTo>
                  <a:pt x="707004" y="797141"/>
                </a:moveTo>
                <a:cubicBezTo>
                  <a:pt x="705182" y="797141"/>
                  <a:pt x="703359" y="797141"/>
                  <a:pt x="701537" y="798964"/>
                </a:cubicBezTo>
                <a:cubicBezTo>
                  <a:pt x="705182" y="802608"/>
                  <a:pt x="705182" y="804430"/>
                  <a:pt x="708826" y="808074"/>
                </a:cubicBezTo>
                <a:cubicBezTo>
                  <a:pt x="710648" y="806252"/>
                  <a:pt x="708826" y="802608"/>
                  <a:pt x="707004" y="797141"/>
                </a:cubicBezTo>
                <a:close/>
                <a:moveTo>
                  <a:pt x="635939" y="797141"/>
                </a:moveTo>
                <a:cubicBezTo>
                  <a:pt x="634117" y="798964"/>
                  <a:pt x="635939" y="804430"/>
                  <a:pt x="639583" y="804430"/>
                </a:cubicBezTo>
                <a:cubicBezTo>
                  <a:pt x="643228" y="804430"/>
                  <a:pt x="639583" y="802608"/>
                  <a:pt x="643228" y="800786"/>
                </a:cubicBezTo>
                <a:cubicBezTo>
                  <a:pt x="639583" y="802608"/>
                  <a:pt x="637761" y="798964"/>
                  <a:pt x="635939" y="797141"/>
                </a:cubicBezTo>
                <a:close/>
                <a:moveTo>
                  <a:pt x="402701" y="797141"/>
                </a:moveTo>
                <a:cubicBezTo>
                  <a:pt x="399056" y="798964"/>
                  <a:pt x="404523" y="800786"/>
                  <a:pt x="406345" y="800786"/>
                </a:cubicBezTo>
                <a:cubicBezTo>
                  <a:pt x="406345" y="798964"/>
                  <a:pt x="402701" y="797141"/>
                  <a:pt x="402701" y="797141"/>
                </a:cubicBezTo>
                <a:close/>
                <a:moveTo>
                  <a:pt x="311592" y="797141"/>
                </a:moveTo>
                <a:cubicBezTo>
                  <a:pt x="311592" y="800786"/>
                  <a:pt x="313414" y="806252"/>
                  <a:pt x="320703" y="806252"/>
                </a:cubicBezTo>
                <a:cubicBezTo>
                  <a:pt x="318882" y="804430"/>
                  <a:pt x="317059" y="802608"/>
                  <a:pt x="317059" y="802608"/>
                </a:cubicBezTo>
                <a:cubicBezTo>
                  <a:pt x="317059" y="802608"/>
                  <a:pt x="318882" y="802608"/>
                  <a:pt x="318882" y="802608"/>
                </a:cubicBezTo>
                <a:cubicBezTo>
                  <a:pt x="318882" y="798964"/>
                  <a:pt x="313414" y="800786"/>
                  <a:pt x="311592" y="797141"/>
                </a:cubicBezTo>
                <a:close/>
                <a:moveTo>
                  <a:pt x="200439" y="797141"/>
                </a:moveTo>
                <a:cubicBezTo>
                  <a:pt x="204084" y="804430"/>
                  <a:pt x="211372" y="813541"/>
                  <a:pt x="215017" y="815363"/>
                </a:cubicBezTo>
                <a:cubicBezTo>
                  <a:pt x="216839" y="815363"/>
                  <a:pt x="213195" y="811719"/>
                  <a:pt x="215017" y="811719"/>
                </a:cubicBezTo>
                <a:cubicBezTo>
                  <a:pt x="220483" y="811719"/>
                  <a:pt x="218661" y="820830"/>
                  <a:pt x="224128" y="819008"/>
                </a:cubicBezTo>
                <a:cubicBezTo>
                  <a:pt x="218661" y="808074"/>
                  <a:pt x="207728" y="806252"/>
                  <a:pt x="200439" y="797141"/>
                </a:cubicBezTo>
                <a:close/>
                <a:moveTo>
                  <a:pt x="1449855" y="796779"/>
                </a:moveTo>
                <a:lnTo>
                  <a:pt x="1449085" y="798053"/>
                </a:lnTo>
                <a:lnTo>
                  <a:pt x="1448168" y="798634"/>
                </a:lnTo>
                <a:lnTo>
                  <a:pt x="1448145" y="798338"/>
                </a:lnTo>
                <a:close/>
                <a:moveTo>
                  <a:pt x="2337850" y="795319"/>
                </a:moveTo>
                <a:lnTo>
                  <a:pt x="2332383" y="797141"/>
                </a:lnTo>
                <a:cubicBezTo>
                  <a:pt x="2334205" y="802608"/>
                  <a:pt x="2330561" y="809897"/>
                  <a:pt x="2328739" y="815363"/>
                </a:cubicBezTo>
                <a:cubicBezTo>
                  <a:pt x="2332383" y="808074"/>
                  <a:pt x="2334205" y="802608"/>
                  <a:pt x="2337850" y="795319"/>
                </a:cubicBezTo>
                <a:close/>
                <a:moveTo>
                  <a:pt x="1107882" y="795319"/>
                </a:moveTo>
                <a:lnTo>
                  <a:pt x="1107882" y="802244"/>
                </a:lnTo>
                <a:lnTo>
                  <a:pt x="1106060" y="802608"/>
                </a:lnTo>
                <a:cubicBezTo>
                  <a:pt x="1107882" y="806252"/>
                  <a:pt x="1107882" y="808074"/>
                  <a:pt x="1106060" y="809897"/>
                </a:cubicBezTo>
                <a:cubicBezTo>
                  <a:pt x="1106060" y="811719"/>
                  <a:pt x="1107882" y="813541"/>
                  <a:pt x="1107882" y="815363"/>
                </a:cubicBezTo>
                <a:cubicBezTo>
                  <a:pt x="1109704" y="815363"/>
                  <a:pt x="1113349" y="815363"/>
                  <a:pt x="1115171" y="813541"/>
                </a:cubicBezTo>
                <a:cubicBezTo>
                  <a:pt x="1115171" y="811719"/>
                  <a:pt x="1113349" y="811719"/>
                  <a:pt x="1111526" y="811719"/>
                </a:cubicBezTo>
                <a:cubicBezTo>
                  <a:pt x="1113349" y="811719"/>
                  <a:pt x="1113349" y="811719"/>
                  <a:pt x="1115171" y="811719"/>
                </a:cubicBezTo>
                <a:cubicBezTo>
                  <a:pt x="1115171" y="809897"/>
                  <a:pt x="1113349" y="806252"/>
                  <a:pt x="1109704" y="804430"/>
                </a:cubicBezTo>
                <a:cubicBezTo>
                  <a:pt x="1111526" y="802608"/>
                  <a:pt x="1113349" y="806252"/>
                  <a:pt x="1115171" y="808074"/>
                </a:cubicBezTo>
                <a:cubicBezTo>
                  <a:pt x="1116993" y="806252"/>
                  <a:pt x="1113349" y="802608"/>
                  <a:pt x="1115171" y="800786"/>
                </a:cubicBezTo>
                <a:lnTo>
                  <a:pt x="1108663" y="802088"/>
                </a:lnTo>
                <a:lnTo>
                  <a:pt x="1113349" y="798964"/>
                </a:lnTo>
                <a:cubicBezTo>
                  <a:pt x="1111526" y="797141"/>
                  <a:pt x="1111526" y="793497"/>
                  <a:pt x="1107882" y="795319"/>
                </a:cubicBezTo>
                <a:close/>
                <a:moveTo>
                  <a:pt x="1102416" y="795319"/>
                </a:moveTo>
                <a:cubicBezTo>
                  <a:pt x="1102416" y="797141"/>
                  <a:pt x="1102416" y="798964"/>
                  <a:pt x="1102416" y="800786"/>
                </a:cubicBezTo>
                <a:cubicBezTo>
                  <a:pt x="1106060" y="798964"/>
                  <a:pt x="1104238" y="797141"/>
                  <a:pt x="1104238" y="795319"/>
                </a:cubicBezTo>
                <a:cubicBezTo>
                  <a:pt x="1104238" y="795319"/>
                  <a:pt x="1102416" y="795319"/>
                  <a:pt x="1102416" y="795319"/>
                </a:cubicBezTo>
                <a:close/>
                <a:moveTo>
                  <a:pt x="719759" y="795319"/>
                </a:moveTo>
                <a:cubicBezTo>
                  <a:pt x="714293" y="797141"/>
                  <a:pt x="716115" y="800786"/>
                  <a:pt x="717937" y="804430"/>
                </a:cubicBezTo>
                <a:cubicBezTo>
                  <a:pt x="721581" y="802608"/>
                  <a:pt x="723404" y="800786"/>
                  <a:pt x="725226" y="798964"/>
                </a:cubicBezTo>
                <a:cubicBezTo>
                  <a:pt x="727048" y="797141"/>
                  <a:pt x="721581" y="797141"/>
                  <a:pt x="719759" y="795319"/>
                </a:cubicBezTo>
                <a:close/>
                <a:moveTo>
                  <a:pt x="666916" y="795319"/>
                </a:moveTo>
                <a:cubicBezTo>
                  <a:pt x="665094" y="797141"/>
                  <a:pt x="666916" y="797141"/>
                  <a:pt x="666916" y="798964"/>
                </a:cubicBezTo>
                <a:cubicBezTo>
                  <a:pt x="668738" y="800786"/>
                  <a:pt x="672383" y="797141"/>
                  <a:pt x="670560" y="797141"/>
                </a:cubicBezTo>
                <a:cubicBezTo>
                  <a:pt x="668738" y="795319"/>
                  <a:pt x="668738" y="795319"/>
                  <a:pt x="666916" y="795319"/>
                </a:cubicBezTo>
                <a:close/>
                <a:moveTo>
                  <a:pt x="648694" y="795319"/>
                </a:moveTo>
                <a:lnTo>
                  <a:pt x="650104" y="799552"/>
                </a:lnTo>
                <a:lnTo>
                  <a:pt x="648694" y="798964"/>
                </a:lnTo>
                <a:cubicBezTo>
                  <a:pt x="648694" y="798964"/>
                  <a:pt x="650516" y="800786"/>
                  <a:pt x="650516" y="800786"/>
                </a:cubicBezTo>
                <a:lnTo>
                  <a:pt x="650104" y="799552"/>
                </a:lnTo>
                <a:lnTo>
                  <a:pt x="651427" y="800103"/>
                </a:lnTo>
                <a:cubicBezTo>
                  <a:pt x="651883" y="801242"/>
                  <a:pt x="652338" y="802608"/>
                  <a:pt x="654161" y="802608"/>
                </a:cubicBezTo>
                <a:cubicBezTo>
                  <a:pt x="657805" y="800786"/>
                  <a:pt x="657805" y="798964"/>
                  <a:pt x="655983" y="795319"/>
                </a:cubicBezTo>
                <a:cubicBezTo>
                  <a:pt x="654161" y="795319"/>
                  <a:pt x="650516" y="795319"/>
                  <a:pt x="648694" y="795319"/>
                </a:cubicBezTo>
                <a:close/>
                <a:moveTo>
                  <a:pt x="532075" y="795319"/>
                </a:moveTo>
                <a:cubicBezTo>
                  <a:pt x="533897" y="798964"/>
                  <a:pt x="543008" y="802608"/>
                  <a:pt x="543008" y="808074"/>
                </a:cubicBezTo>
                <a:cubicBezTo>
                  <a:pt x="543008" y="802608"/>
                  <a:pt x="541186" y="791675"/>
                  <a:pt x="532075" y="795319"/>
                </a:cubicBezTo>
                <a:close/>
                <a:moveTo>
                  <a:pt x="3119428" y="794617"/>
                </a:moveTo>
                <a:lnTo>
                  <a:pt x="3119562" y="795319"/>
                </a:lnTo>
                <a:lnTo>
                  <a:pt x="3118119" y="795079"/>
                </a:lnTo>
                <a:close/>
                <a:moveTo>
                  <a:pt x="1022240" y="793497"/>
                </a:moveTo>
                <a:cubicBezTo>
                  <a:pt x="1018596" y="795319"/>
                  <a:pt x="1018596" y="798964"/>
                  <a:pt x="1020418" y="800786"/>
                </a:cubicBezTo>
                <a:cubicBezTo>
                  <a:pt x="1020418" y="798964"/>
                  <a:pt x="1024062" y="797141"/>
                  <a:pt x="1024062" y="795319"/>
                </a:cubicBezTo>
                <a:cubicBezTo>
                  <a:pt x="1022240" y="795319"/>
                  <a:pt x="1020418" y="795319"/>
                  <a:pt x="1022240" y="793497"/>
                </a:cubicBezTo>
                <a:close/>
                <a:moveTo>
                  <a:pt x="962108" y="793497"/>
                </a:moveTo>
                <a:cubicBezTo>
                  <a:pt x="960286" y="791675"/>
                  <a:pt x="958464" y="797141"/>
                  <a:pt x="956642" y="795319"/>
                </a:cubicBezTo>
                <a:cubicBezTo>
                  <a:pt x="952997" y="797141"/>
                  <a:pt x="958464" y="795319"/>
                  <a:pt x="962108" y="793497"/>
                </a:cubicBezTo>
                <a:close/>
                <a:moveTo>
                  <a:pt x="759848" y="793497"/>
                </a:moveTo>
                <a:cubicBezTo>
                  <a:pt x="761670" y="809897"/>
                  <a:pt x="763491" y="795319"/>
                  <a:pt x="763491" y="793497"/>
                </a:cubicBezTo>
                <a:cubicBezTo>
                  <a:pt x="761670" y="793497"/>
                  <a:pt x="761670" y="795319"/>
                  <a:pt x="759848" y="793497"/>
                </a:cubicBezTo>
                <a:close/>
                <a:moveTo>
                  <a:pt x="430034" y="793497"/>
                </a:moveTo>
                <a:cubicBezTo>
                  <a:pt x="430944" y="796231"/>
                  <a:pt x="434133" y="801242"/>
                  <a:pt x="438005" y="805342"/>
                </a:cubicBezTo>
                <a:lnTo>
                  <a:pt x="443564" y="808278"/>
                </a:lnTo>
                <a:lnTo>
                  <a:pt x="442789" y="808074"/>
                </a:lnTo>
                <a:lnTo>
                  <a:pt x="443843" y="808426"/>
                </a:lnTo>
                <a:lnTo>
                  <a:pt x="450077" y="811719"/>
                </a:lnTo>
                <a:lnTo>
                  <a:pt x="447708" y="809714"/>
                </a:lnTo>
                <a:lnTo>
                  <a:pt x="453722" y="811719"/>
                </a:lnTo>
                <a:cubicBezTo>
                  <a:pt x="453722" y="806252"/>
                  <a:pt x="446433" y="806252"/>
                  <a:pt x="442789" y="802608"/>
                </a:cubicBezTo>
                <a:cubicBezTo>
                  <a:pt x="446433" y="802608"/>
                  <a:pt x="451899" y="806252"/>
                  <a:pt x="455544" y="808074"/>
                </a:cubicBezTo>
                <a:cubicBezTo>
                  <a:pt x="451899" y="798964"/>
                  <a:pt x="437322" y="793497"/>
                  <a:pt x="430034" y="793497"/>
                </a:cubicBezTo>
                <a:close/>
                <a:moveTo>
                  <a:pt x="3324329" y="792586"/>
                </a:moveTo>
                <a:cubicBezTo>
                  <a:pt x="3322279" y="792586"/>
                  <a:pt x="3320001" y="793497"/>
                  <a:pt x="3320001" y="795319"/>
                </a:cubicBezTo>
                <a:cubicBezTo>
                  <a:pt x="3321824" y="795319"/>
                  <a:pt x="3325468" y="795319"/>
                  <a:pt x="3327290" y="795319"/>
                </a:cubicBezTo>
                <a:cubicBezTo>
                  <a:pt x="3328201" y="793497"/>
                  <a:pt x="3326379" y="792586"/>
                  <a:pt x="3324329" y="792586"/>
                </a:cubicBezTo>
                <a:close/>
                <a:moveTo>
                  <a:pt x="3460309" y="791675"/>
                </a:moveTo>
                <a:cubicBezTo>
                  <a:pt x="3462131" y="797141"/>
                  <a:pt x="3465775" y="798964"/>
                  <a:pt x="3460309" y="802608"/>
                </a:cubicBezTo>
                <a:cubicBezTo>
                  <a:pt x="3465775" y="802608"/>
                  <a:pt x="3463953" y="798964"/>
                  <a:pt x="3467597" y="798964"/>
                </a:cubicBezTo>
                <a:cubicBezTo>
                  <a:pt x="3465775" y="795319"/>
                  <a:pt x="3465775" y="789853"/>
                  <a:pt x="3460309" y="791675"/>
                </a:cubicBezTo>
                <a:close/>
                <a:moveTo>
                  <a:pt x="1131570" y="791675"/>
                </a:moveTo>
                <a:cubicBezTo>
                  <a:pt x="1126104" y="791675"/>
                  <a:pt x="1122459" y="791675"/>
                  <a:pt x="1116993" y="793497"/>
                </a:cubicBezTo>
                <a:cubicBezTo>
                  <a:pt x="1120637" y="797141"/>
                  <a:pt x="1118815" y="798964"/>
                  <a:pt x="1122459" y="800786"/>
                </a:cubicBezTo>
                <a:cubicBezTo>
                  <a:pt x="1126104" y="798964"/>
                  <a:pt x="1127926" y="795319"/>
                  <a:pt x="1131570" y="791675"/>
                </a:cubicBezTo>
                <a:close/>
                <a:moveTo>
                  <a:pt x="768959" y="791675"/>
                </a:moveTo>
                <a:cubicBezTo>
                  <a:pt x="759848" y="795319"/>
                  <a:pt x="763491" y="804430"/>
                  <a:pt x="772602" y="806252"/>
                </a:cubicBezTo>
                <a:cubicBezTo>
                  <a:pt x="772602" y="802608"/>
                  <a:pt x="776246" y="797141"/>
                  <a:pt x="768959" y="791675"/>
                </a:cubicBezTo>
                <a:close/>
                <a:moveTo>
                  <a:pt x="594030" y="791675"/>
                </a:moveTo>
                <a:cubicBezTo>
                  <a:pt x="592207" y="793497"/>
                  <a:pt x="597673" y="795319"/>
                  <a:pt x="595852" y="797141"/>
                </a:cubicBezTo>
                <a:cubicBezTo>
                  <a:pt x="597673" y="797141"/>
                  <a:pt x="595852" y="795319"/>
                  <a:pt x="597673" y="795319"/>
                </a:cubicBezTo>
                <a:cubicBezTo>
                  <a:pt x="597673" y="793497"/>
                  <a:pt x="595852" y="791675"/>
                  <a:pt x="594030" y="791675"/>
                </a:cubicBezTo>
                <a:close/>
                <a:moveTo>
                  <a:pt x="471943" y="791675"/>
                </a:moveTo>
                <a:cubicBezTo>
                  <a:pt x="466478" y="791675"/>
                  <a:pt x="470121" y="797141"/>
                  <a:pt x="468299" y="798964"/>
                </a:cubicBezTo>
                <a:cubicBezTo>
                  <a:pt x="470121" y="798964"/>
                  <a:pt x="473766" y="800786"/>
                  <a:pt x="473766" y="798964"/>
                </a:cubicBezTo>
                <a:cubicBezTo>
                  <a:pt x="475589" y="798964"/>
                  <a:pt x="475589" y="802608"/>
                  <a:pt x="477410" y="804430"/>
                </a:cubicBezTo>
                <a:cubicBezTo>
                  <a:pt x="477410" y="800786"/>
                  <a:pt x="477410" y="798964"/>
                  <a:pt x="475589" y="795319"/>
                </a:cubicBezTo>
                <a:cubicBezTo>
                  <a:pt x="475589" y="800786"/>
                  <a:pt x="473766" y="795319"/>
                  <a:pt x="471943" y="795319"/>
                </a:cubicBezTo>
                <a:cubicBezTo>
                  <a:pt x="471943" y="793497"/>
                  <a:pt x="475589" y="793497"/>
                  <a:pt x="471943" y="791675"/>
                </a:cubicBezTo>
                <a:close/>
                <a:moveTo>
                  <a:pt x="340747" y="791675"/>
                </a:moveTo>
                <a:cubicBezTo>
                  <a:pt x="346213" y="793497"/>
                  <a:pt x="348037" y="797141"/>
                  <a:pt x="351680" y="797141"/>
                </a:cubicBezTo>
                <a:cubicBezTo>
                  <a:pt x="349858" y="795319"/>
                  <a:pt x="344391" y="788031"/>
                  <a:pt x="340747" y="791675"/>
                </a:cubicBezTo>
                <a:close/>
                <a:moveTo>
                  <a:pt x="271504" y="791675"/>
                </a:moveTo>
                <a:cubicBezTo>
                  <a:pt x="269682" y="791675"/>
                  <a:pt x="275149" y="798964"/>
                  <a:pt x="276971" y="797141"/>
                </a:cubicBezTo>
                <a:cubicBezTo>
                  <a:pt x="275149" y="793497"/>
                  <a:pt x="273327" y="789853"/>
                  <a:pt x="271504" y="791675"/>
                </a:cubicBezTo>
                <a:close/>
                <a:moveTo>
                  <a:pt x="2682924" y="791220"/>
                </a:moveTo>
                <a:cubicBezTo>
                  <a:pt x="2681330" y="791220"/>
                  <a:pt x="2679507" y="791675"/>
                  <a:pt x="2678596" y="791675"/>
                </a:cubicBezTo>
                <a:cubicBezTo>
                  <a:pt x="2678596" y="797141"/>
                  <a:pt x="2682240" y="793497"/>
                  <a:pt x="2685885" y="793497"/>
                </a:cubicBezTo>
                <a:cubicBezTo>
                  <a:pt x="2685885" y="791675"/>
                  <a:pt x="2684518" y="791220"/>
                  <a:pt x="2682924" y="791220"/>
                </a:cubicBezTo>
                <a:close/>
                <a:moveTo>
                  <a:pt x="3247114" y="789853"/>
                </a:moveTo>
                <a:cubicBezTo>
                  <a:pt x="3245292" y="791675"/>
                  <a:pt x="3243470" y="793497"/>
                  <a:pt x="3241648" y="793497"/>
                </a:cubicBezTo>
                <a:cubicBezTo>
                  <a:pt x="3241648" y="795319"/>
                  <a:pt x="3245292" y="795319"/>
                  <a:pt x="3248937" y="795319"/>
                </a:cubicBezTo>
                <a:cubicBezTo>
                  <a:pt x="3248937" y="791675"/>
                  <a:pt x="3247114" y="791675"/>
                  <a:pt x="3247114" y="789853"/>
                </a:cubicBezTo>
                <a:close/>
                <a:moveTo>
                  <a:pt x="2645797" y="789853"/>
                </a:moveTo>
                <a:cubicBezTo>
                  <a:pt x="2642153" y="789853"/>
                  <a:pt x="2642153" y="797141"/>
                  <a:pt x="2647619" y="797141"/>
                </a:cubicBezTo>
                <a:cubicBezTo>
                  <a:pt x="2647619" y="793497"/>
                  <a:pt x="2647619" y="791675"/>
                  <a:pt x="2645797" y="789853"/>
                </a:cubicBezTo>
                <a:close/>
                <a:moveTo>
                  <a:pt x="2574732" y="789853"/>
                </a:moveTo>
                <a:cubicBezTo>
                  <a:pt x="2567443" y="791675"/>
                  <a:pt x="2576554" y="797141"/>
                  <a:pt x="2576554" y="802608"/>
                </a:cubicBezTo>
                <a:cubicBezTo>
                  <a:pt x="2580199" y="800786"/>
                  <a:pt x="2583843" y="800786"/>
                  <a:pt x="2582021" y="795319"/>
                </a:cubicBezTo>
                <a:cubicBezTo>
                  <a:pt x="2580199" y="793497"/>
                  <a:pt x="2572910" y="795319"/>
                  <a:pt x="2574732" y="789853"/>
                </a:cubicBezTo>
                <a:close/>
                <a:moveTo>
                  <a:pt x="1496006" y="789853"/>
                </a:moveTo>
                <a:cubicBezTo>
                  <a:pt x="1486895" y="788031"/>
                  <a:pt x="1472317" y="800786"/>
                  <a:pt x="1465028" y="809897"/>
                </a:cubicBezTo>
                <a:cubicBezTo>
                  <a:pt x="1479606" y="804430"/>
                  <a:pt x="1490539" y="798964"/>
                  <a:pt x="1496006" y="789853"/>
                </a:cubicBezTo>
                <a:close/>
                <a:moveTo>
                  <a:pt x="1204457" y="789853"/>
                </a:moveTo>
                <a:lnTo>
                  <a:pt x="1204254" y="790461"/>
                </a:lnTo>
                <a:lnTo>
                  <a:pt x="1203960" y="790350"/>
                </a:lnTo>
                <a:close/>
                <a:moveTo>
                  <a:pt x="854600" y="789853"/>
                </a:moveTo>
                <a:cubicBezTo>
                  <a:pt x="850956" y="795319"/>
                  <a:pt x="852778" y="798964"/>
                  <a:pt x="860066" y="802608"/>
                </a:cubicBezTo>
                <a:cubicBezTo>
                  <a:pt x="861889" y="804430"/>
                  <a:pt x="863711" y="802608"/>
                  <a:pt x="865533" y="804430"/>
                </a:cubicBezTo>
                <a:cubicBezTo>
                  <a:pt x="869177" y="802608"/>
                  <a:pt x="865533" y="800786"/>
                  <a:pt x="863711" y="798964"/>
                </a:cubicBezTo>
                <a:cubicBezTo>
                  <a:pt x="863711" y="800786"/>
                  <a:pt x="861889" y="800786"/>
                  <a:pt x="860066" y="802608"/>
                </a:cubicBezTo>
                <a:cubicBezTo>
                  <a:pt x="863711" y="798964"/>
                  <a:pt x="860066" y="797141"/>
                  <a:pt x="863711" y="793497"/>
                </a:cubicBezTo>
                <a:cubicBezTo>
                  <a:pt x="860066" y="797141"/>
                  <a:pt x="860066" y="789853"/>
                  <a:pt x="854600" y="789853"/>
                </a:cubicBezTo>
                <a:close/>
                <a:moveTo>
                  <a:pt x="634117" y="789853"/>
                </a:moveTo>
                <a:cubicBezTo>
                  <a:pt x="639583" y="791675"/>
                  <a:pt x="635939" y="798964"/>
                  <a:pt x="645050" y="798964"/>
                </a:cubicBezTo>
                <a:cubicBezTo>
                  <a:pt x="639583" y="795319"/>
                  <a:pt x="639583" y="791675"/>
                  <a:pt x="634117" y="789853"/>
                </a:cubicBezTo>
                <a:close/>
                <a:moveTo>
                  <a:pt x="235061" y="789853"/>
                </a:moveTo>
                <a:cubicBezTo>
                  <a:pt x="231416" y="789853"/>
                  <a:pt x="236883" y="797141"/>
                  <a:pt x="238705" y="795319"/>
                </a:cubicBezTo>
                <a:cubicBezTo>
                  <a:pt x="236883" y="791675"/>
                  <a:pt x="236883" y="791675"/>
                  <a:pt x="235061" y="789853"/>
                </a:cubicBezTo>
                <a:close/>
                <a:moveTo>
                  <a:pt x="2605709" y="788031"/>
                </a:moveTo>
                <a:cubicBezTo>
                  <a:pt x="2602065" y="786208"/>
                  <a:pt x="2607531" y="795319"/>
                  <a:pt x="2607531" y="797141"/>
                </a:cubicBezTo>
                <a:cubicBezTo>
                  <a:pt x="2612998" y="795319"/>
                  <a:pt x="2605709" y="791675"/>
                  <a:pt x="2605709" y="788031"/>
                </a:cubicBezTo>
                <a:close/>
                <a:moveTo>
                  <a:pt x="1339299" y="788031"/>
                </a:moveTo>
                <a:cubicBezTo>
                  <a:pt x="1335654" y="789853"/>
                  <a:pt x="1335654" y="791675"/>
                  <a:pt x="1333832" y="793497"/>
                </a:cubicBezTo>
                <a:cubicBezTo>
                  <a:pt x="1335654" y="795319"/>
                  <a:pt x="1339299" y="791675"/>
                  <a:pt x="1342942" y="791675"/>
                </a:cubicBezTo>
                <a:cubicBezTo>
                  <a:pt x="1341120" y="789853"/>
                  <a:pt x="1341120" y="789853"/>
                  <a:pt x="1339299" y="788031"/>
                </a:cubicBezTo>
                <a:close/>
                <a:moveTo>
                  <a:pt x="1332009" y="788031"/>
                </a:moveTo>
                <a:cubicBezTo>
                  <a:pt x="1324721" y="788031"/>
                  <a:pt x="1319254" y="791675"/>
                  <a:pt x="1313788" y="791675"/>
                </a:cubicBezTo>
                <a:cubicBezTo>
                  <a:pt x="1317432" y="795319"/>
                  <a:pt x="1324721" y="795319"/>
                  <a:pt x="1328365" y="795319"/>
                </a:cubicBezTo>
                <a:cubicBezTo>
                  <a:pt x="1330188" y="791675"/>
                  <a:pt x="1330188" y="789853"/>
                  <a:pt x="1332009" y="788031"/>
                </a:cubicBezTo>
                <a:close/>
                <a:moveTo>
                  <a:pt x="1164370" y="788031"/>
                </a:moveTo>
                <a:cubicBezTo>
                  <a:pt x="1162547" y="789853"/>
                  <a:pt x="1160725" y="789853"/>
                  <a:pt x="1158903" y="791675"/>
                </a:cubicBezTo>
                <a:cubicBezTo>
                  <a:pt x="1158903" y="793497"/>
                  <a:pt x="1166192" y="791675"/>
                  <a:pt x="1164370" y="788031"/>
                </a:cubicBezTo>
                <a:close/>
                <a:moveTo>
                  <a:pt x="1024062" y="788031"/>
                </a:moveTo>
                <a:lnTo>
                  <a:pt x="1024349" y="788383"/>
                </a:lnTo>
                <a:lnTo>
                  <a:pt x="1023843" y="788299"/>
                </a:lnTo>
                <a:close/>
                <a:moveTo>
                  <a:pt x="758025" y="788031"/>
                </a:moveTo>
                <a:cubicBezTo>
                  <a:pt x="756203" y="789853"/>
                  <a:pt x="758025" y="789853"/>
                  <a:pt x="758025" y="791675"/>
                </a:cubicBezTo>
                <a:cubicBezTo>
                  <a:pt x="761670" y="793497"/>
                  <a:pt x="761670" y="788031"/>
                  <a:pt x="758025" y="788031"/>
                </a:cubicBezTo>
                <a:close/>
                <a:moveTo>
                  <a:pt x="697893" y="788031"/>
                </a:moveTo>
                <a:cubicBezTo>
                  <a:pt x="694249" y="788031"/>
                  <a:pt x="690604" y="788031"/>
                  <a:pt x="686960" y="789853"/>
                </a:cubicBezTo>
                <a:cubicBezTo>
                  <a:pt x="688782" y="797141"/>
                  <a:pt x="694249" y="797141"/>
                  <a:pt x="699715" y="795319"/>
                </a:cubicBezTo>
                <a:cubicBezTo>
                  <a:pt x="699715" y="795319"/>
                  <a:pt x="697893" y="791675"/>
                  <a:pt x="697893" y="788031"/>
                </a:cubicBezTo>
                <a:cubicBezTo>
                  <a:pt x="699715" y="791675"/>
                  <a:pt x="701537" y="793497"/>
                  <a:pt x="703359" y="795319"/>
                </a:cubicBezTo>
                <a:cubicBezTo>
                  <a:pt x="703359" y="791675"/>
                  <a:pt x="703359" y="789853"/>
                  <a:pt x="708826" y="788031"/>
                </a:cubicBezTo>
                <a:cubicBezTo>
                  <a:pt x="705182" y="786208"/>
                  <a:pt x="703359" y="786208"/>
                  <a:pt x="697893" y="788031"/>
                </a:cubicBezTo>
                <a:close/>
                <a:moveTo>
                  <a:pt x="650516" y="788031"/>
                </a:moveTo>
                <a:cubicBezTo>
                  <a:pt x="650516" y="788031"/>
                  <a:pt x="650516" y="789853"/>
                  <a:pt x="648694" y="789853"/>
                </a:cubicBezTo>
                <a:cubicBezTo>
                  <a:pt x="650516" y="791675"/>
                  <a:pt x="652339" y="791675"/>
                  <a:pt x="654161" y="791675"/>
                </a:cubicBezTo>
                <a:cubicBezTo>
                  <a:pt x="655983" y="789853"/>
                  <a:pt x="652339" y="788031"/>
                  <a:pt x="650516" y="788031"/>
                </a:cubicBezTo>
                <a:close/>
                <a:moveTo>
                  <a:pt x="606784" y="788031"/>
                </a:moveTo>
                <a:lnTo>
                  <a:pt x="605825" y="791867"/>
                </a:lnTo>
                <a:lnTo>
                  <a:pt x="603140" y="791675"/>
                </a:lnTo>
                <a:cubicBezTo>
                  <a:pt x="603140" y="793497"/>
                  <a:pt x="604963" y="793497"/>
                  <a:pt x="604963" y="793497"/>
                </a:cubicBezTo>
                <a:cubicBezTo>
                  <a:pt x="604963" y="793497"/>
                  <a:pt x="604963" y="795319"/>
                  <a:pt x="604963" y="795319"/>
                </a:cubicBezTo>
                <a:lnTo>
                  <a:pt x="605825" y="791867"/>
                </a:lnTo>
                <a:lnTo>
                  <a:pt x="606328" y="791903"/>
                </a:lnTo>
                <a:cubicBezTo>
                  <a:pt x="606328" y="790764"/>
                  <a:pt x="605873" y="788942"/>
                  <a:pt x="606784" y="788031"/>
                </a:cubicBezTo>
                <a:close/>
                <a:moveTo>
                  <a:pt x="528431" y="788031"/>
                </a:moveTo>
                <a:lnTo>
                  <a:pt x="528939" y="791421"/>
                </a:lnTo>
                <a:lnTo>
                  <a:pt x="528431" y="791675"/>
                </a:lnTo>
                <a:lnTo>
                  <a:pt x="528978" y="791675"/>
                </a:lnTo>
                <a:lnTo>
                  <a:pt x="529114" y="792586"/>
                </a:lnTo>
                <a:cubicBezTo>
                  <a:pt x="530253" y="792586"/>
                  <a:pt x="532075" y="791675"/>
                  <a:pt x="533897" y="791675"/>
                </a:cubicBezTo>
                <a:lnTo>
                  <a:pt x="528978" y="791675"/>
                </a:lnTo>
                <a:lnTo>
                  <a:pt x="528939" y="791421"/>
                </a:lnTo>
                <a:lnTo>
                  <a:pt x="532075" y="789853"/>
                </a:lnTo>
                <a:cubicBezTo>
                  <a:pt x="533897" y="789853"/>
                  <a:pt x="528431" y="789853"/>
                  <a:pt x="528431" y="788031"/>
                </a:cubicBezTo>
                <a:close/>
                <a:moveTo>
                  <a:pt x="298837" y="788031"/>
                </a:moveTo>
                <a:cubicBezTo>
                  <a:pt x="295193" y="795319"/>
                  <a:pt x="307948" y="800786"/>
                  <a:pt x="313414" y="804430"/>
                </a:cubicBezTo>
                <a:cubicBezTo>
                  <a:pt x="311592" y="798964"/>
                  <a:pt x="304303" y="791675"/>
                  <a:pt x="298837" y="788031"/>
                </a:cubicBezTo>
                <a:close/>
                <a:moveTo>
                  <a:pt x="245994" y="788031"/>
                </a:moveTo>
                <a:cubicBezTo>
                  <a:pt x="244172" y="789853"/>
                  <a:pt x="245994" y="793497"/>
                  <a:pt x="249638" y="795319"/>
                </a:cubicBezTo>
                <a:cubicBezTo>
                  <a:pt x="251460" y="793497"/>
                  <a:pt x="249638" y="791675"/>
                  <a:pt x="251460" y="793497"/>
                </a:cubicBezTo>
                <a:cubicBezTo>
                  <a:pt x="249638" y="789853"/>
                  <a:pt x="247816" y="789853"/>
                  <a:pt x="245994" y="788031"/>
                </a:cubicBezTo>
                <a:close/>
                <a:moveTo>
                  <a:pt x="833190" y="787576"/>
                </a:moveTo>
                <a:cubicBezTo>
                  <a:pt x="833190" y="788942"/>
                  <a:pt x="833646" y="791675"/>
                  <a:pt x="832734" y="793497"/>
                </a:cubicBezTo>
                <a:cubicBezTo>
                  <a:pt x="834556" y="793497"/>
                  <a:pt x="834556" y="791675"/>
                  <a:pt x="836378" y="789853"/>
                </a:cubicBezTo>
                <a:cubicBezTo>
                  <a:pt x="833646" y="786209"/>
                  <a:pt x="833190" y="786209"/>
                  <a:pt x="833190" y="787576"/>
                </a:cubicBezTo>
                <a:close/>
                <a:moveTo>
                  <a:pt x="3119562" y="786208"/>
                </a:moveTo>
                <a:cubicBezTo>
                  <a:pt x="3121384" y="788942"/>
                  <a:pt x="3121384" y="792131"/>
                  <a:pt x="3120018" y="794409"/>
                </a:cubicBezTo>
                <a:lnTo>
                  <a:pt x="3119428" y="794617"/>
                </a:lnTo>
                <a:lnTo>
                  <a:pt x="3118651" y="790537"/>
                </a:lnTo>
                <a:cubicBezTo>
                  <a:pt x="3116829" y="789398"/>
                  <a:pt x="3114096" y="788942"/>
                  <a:pt x="3112274" y="789853"/>
                </a:cubicBezTo>
                <a:cubicBezTo>
                  <a:pt x="3114096" y="788031"/>
                  <a:pt x="3117740" y="784386"/>
                  <a:pt x="3119562" y="786208"/>
                </a:cubicBezTo>
                <a:close/>
                <a:moveTo>
                  <a:pt x="1361164" y="786208"/>
                </a:moveTo>
                <a:cubicBezTo>
                  <a:pt x="1355698" y="784386"/>
                  <a:pt x="1350231" y="788031"/>
                  <a:pt x="1346587" y="791675"/>
                </a:cubicBezTo>
                <a:cubicBezTo>
                  <a:pt x="1346587" y="793497"/>
                  <a:pt x="1348410" y="791675"/>
                  <a:pt x="1350231" y="791675"/>
                </a:cubicBezTo>
                <a:cubicBezTo>
                  <a:pt x="1352053" y="793497"/>
                  <a:pt x="1346587" y="793497"/>
                  <a:pt x="1350231" y="795319"/>
                </a:cubicBezTo>
                <a:cubicBezTo>
                  <a:pt x="1355698" y="793497"/>
                  <a:pt x="1359342" y="789853"/>
                  <a:pt x="1361164" y="786208"/>
                </a:cubicBezTo>
                <a:close/>
                <a:moveTo>
                  <a:pt x="1268233" y="786208"/>
                </a:moveTo>
                <a:cubicBezTo>
                  <a:pt x="1268233" y="793497"/>
                  <a:pt x="1270056" y="798964"/>
                  <a:pt x="1271878" y="806252"/>
                </a:cubicBezTo>
                <a:cubicBezTo>
                  <a:pt x="1280989" y="809897"/>
                  <a:pt x="1290100" y="806252"/>
                  <a:pt x="1297388" y="802608"/>
                </a:cubicBezTo>
                <a:cubicBezTo>
                  <a:pt x="1299210" y="800786"/>
                  <a:pt x="1301033" y="798964"/>
                  <a:pt x="1304677" y="800786"/>
                </a:cubicBezTo>
                <a:cubicBezTo>
                  <a:pt x="1306499" y="800786"/>
                  <a:pt x="1308321" y="798964"/>
                  <a:pt x="1310143" y="797141"/>
                </a:cubicBezTo>
                <a:cubicBezTo>
                  <a:pt x="1311966" y="797141"/>
                  <a:pt x="1315610" y="800786"/>
                  <a:pt x="1317432" y="795319"/>
                </a:cubicBezTo>
                <a:cubicBezTo>
                  <a:pt x="1308321" y="793497"/>
                  <a:pt x="1299210" y="789853"/>
                  <a:pt x="1288277" y="793497"/>
                </a:cubicBezTo>
                <a:lnTo>
                  <a:pt x="1292068" y="797734"/>
                </a:lnTo>
                <a:lnTo>
                  <a:pt x="1283495" y="792814"/>
                </a:lnTo>
                <a:cubicBezTo>
                  <a:pt x="1279166" y="788486"/>
                  <a:pt x="1274612" y="784386"/>
                  <a:pt x="1268233" y="786208"/>
                </a:cubicBezTo>
                <a:close/>
                <a:moveTo>
                  <a:pt x="849133" y="786208"/>
                </a:moveTo>
                <a:cubicBezTo>
                  <a:pt x="848222" y="787120"/>
                  <a:pt x="847311" y="788487"/>
                  <a:pt x="847311" y="789853"/>
                </a:cubicBezTo>
                <a:lnTo>
                  <a:pt x="849133" y="791675"/>
                </a:lnTo>
                <a:lnTo>
                  <a:pt x="851868" y="788259"/>
                </a:lnTo>
                <a:cubicBezTo>
                  <a:pt x="852322" y="787120"/>
                  <a:pt x="851866" y="786208"/>
                  <a:pt x="849133" y="786208"/>
                </a:cubicBezTo>
                <a:close/>
                <a:moveTo>
                  <a:pt x="781713" y="786208"/>
                </a:moveTo>
                <a:cubicBezTo>
                  <a:pt x="778070" y="791675"/>
                  <a:pt x="772602" y="793497"/>
                  <a:pt x="778070" y="800786"/>
                </a:cubicBezTo>
                <a:cubicBezTo>
                  <a:pt x="783535" y="797141"/>
                  <a:pt x="785357" y="793497"/>
                  <a:pt x="785357" y="788031"/>
                </a:cubicBezTo>
                <a:cubicBezTo>
                  <a:pt x="783535" y="786208"/>
                  <a:pt x="783535" y="786208"/>
                  <a:pt x="781713" y="786208"/>
                </a:cubicBezTo>
                <a:close/>
                <a:moveTo>
                  <a:pt x="501098" y="786208"/>
                </a:moveTo>
                <a:lnTo>
                  <a:pt x="507346" y="803389"/>
                </a:lnTo>
                <a:lnTo>
                  <a:pt x="506565" y="802608"/>
                </a:lnTo>
                <a:cubicBezTo>
                  <a:pt x="504743" y="804430"/>
                  <a:pt x="506565" y="806252"/>
                  <a:pt x="508387" y="806252"/>
                </a:cubicBezTo>
                <a:lnTo>
                  <a:pt x="507346" y="803389"/>
                </a:lnTo>
                <a:lnTo>
                  <a:pt x="510209" y="806252"/>
                </a:lnTo>
                <a:cubicBezTo>
                  <a:pt x="513853" y="802608"/>
                  <a:pt x="508387" y="798964"/>
                  <a:pt x="510209" y="793497"/>
                </a:cubicBezTo>
                <a:cubicBezTo>
                  <a:pt x="506565" y="791675"/>
                  <a:pt x="504743" y="788031"/>
                  <a:pt x="501098" y="786208"/>
                </a:cubicBezTo>
                <a:close/>
                <a:moveTo>
                  <a:pt x="3449376" y="784386"/>
                </a:moveTo>
                <a:cubicBezTo>
                  <a:pt x="3453020" y="788031"/>
                  <a:pt x="3449376" y="789853"/>
                  <a:pt x="3447553" y="789853"/>
                </a:cubicBezTo>
                <a:lnTo>
                  <a:pt x="3447751" y="790073"/>
                </a:lnTo>
                <a:lnTo>
                  <a:pt x="3445731" y="797141"/>
                </a:lnTo>
                <a:cubicBezTo>
                  <a:pt x="3445731" y="797141"/>
                  <a:pt x="3451198" y="797141"/>
                  <a:pt x="3453020" y="798964"/>
                </a:cubicBezTo>
                <a:cubicBezTo>
                  <a:pt x="3454842" y="796231"/>
                  <a:pt x="3453475" y="795319"/>
                  <a:pt x="3451653" y="794408"/>
                </a:cubicBezTo>
                <a:lnTo>
                  <a:pt x="3447751" y="790073"/>
                </a:lnTo>
                <a:close/>
                <a:moveTo>
                  <a:pt x="2540111" y="784386"/>
                </a:moveTo>
                <a:cubicBezTo>
                  <a:pt x="2540111" y="786208"/>
                  <a:pt x="2540111" y="788031"/>
                  <a:pt x="2540111" y="791675"/>
                </a:cubicBezTo>
                <a:cubicBezTo>
                  <a:pt x="2536466" y="791675"/>
                  <a:pt x="2536466" y="789853"/>
                  <a:pt x="2536466" y="788031"/>
                </a:cubicBezTo>
                <a:lnTo>
                  <a:pt x="2529178" y="795319"/>
                </a:lnTo>
                <a:cubicBezTo>
                  <a:pt x="2532822" y="797141"/>
                  <a:pt x="2538289" y="797141"/>
                  <a:pt x="2540111" y="804430"/>
                </a:cubicBezTo>
                <a:cubicBezTo>
                  <a:pt x="2540111" y="804430"/>
                  <a:pt x="2541933" y="804430"/>
                  <a:pt x="2541933" y="802608"/>
                </a:cubicBezTo>
                <a:cubicBezTo>
                  <a:pt x="2543755" y="808074"/>
                  <a:pt x="2536466" y="808074"/>
                  <a:pt x="2536466" y="811719"/>
                </a:cubicBezTo>
                <a:cubicBezTo>
                  <a:pt x="2531000" y="808074"/>
                  <a:pt x="2525534" y="804430"/>
                  <a:pt x="2523711" y="813541"/>
                </a:cubicBezTo>
                <a:cubicBezTo>
                  <a:pt x="2523711" y="806252"/>
                  <a:pt x="2521889" y="806252"/>
                  <a:pt x="2518245" y="804430"/>
                </a:cubicBezTo>
                <a:lnTo>
                  <a:pt x="2510956" y="817185"/>
                </a:lnTo>
                <a:cubicBezTo>
                  <a:pt x="2509134" y="822652"/>
                  <a:pt x="2512778" y="829941"/>
                  <a:pt x="2514600" y="835407"/>
                </a:cubicBezTo>
                <a:cubicBezTo>
                  <a:pt x="2516423" y="839051"/>
                  <a:pt x="2520067" y="840874"/>
                  <a:pt x="2521889" y="842696"/>
                </a:cubicBezTo>
                <a:cubicBezTo>
                  <a:pt x="2541933" y="851807"/>
                  <a:pt x="2536466" y="833585"/>
                  <a:pt x="2538289" y="819008"/>
                </a:cubicBezTo>
                <a:cubicBezTo>
                  <a:pt x="2541933" y="826296"/>
                  <a:pt x="2538289" y="833585"/>
                  <a:pt x="2549222" y="831763"/>
                </a:cubicBezTo>
                <a:cubicBezTo>
                  <a:pt x="2547400" y="824474"/>
                  <a:pt x="2540111" y="820830"/>
                  <a:pt x="2543755" y="813541"/>
                </a:cubicBezTo>
                <a:cubicBezTo>
                  <a:pt x="2549222" y="819008"/>
                  <a:pt x="2551044" y="826296"/>
                  <a:pt x="2551044" y="833585"/>
                </a:cubicBezTo>
                <a:cubicBezTo>
                  <a:pt x="2558332" y="826296"/>
                  <a:pt x="2552866" y="819008"/>
                  <a:pt x="2547400" y="811719"/>
                </a:cubicBezTo>
                <a:cubicBezTo>
                  <a:pt x="2554688" y="809897"/>
                  <a:pt x="2547400" y="800786"/>
                  <a:pt x="2549222" y="795319"/>
                </a:cubicBezTo>
                <a:cubicBezTo>
                  <a:pt x="2551044" y="795319"/>
                  <a:pt x="2551044" y="797141"/>
                  <a:pt x="2552866" y="797141"/>
                </a:cubicBezTo>
                <a:cubicBezTo>
                  <a:pt x="2549222" y="789853"/>
                  <a:pt x="2541933" y="782564"/>
                  <a:pt x="2540111" y="784386"/>
                </a:cubicBezTo>
                <a:close/>
                <a:moveTo>
                  <a:pt x="1423118" y="784386"/>
                </a:moveTo>
                <a:cubicBezTo>
                  <a:pt x="1419474" y="784386"/>
                  <a:pt x="1414007" y="788031"/>
                  <a:pt x="1408541" y="789853"/>
                </a:cubicBezTo>
                <a:cubicBezTo>
                  <a:pt x="1414007" y="789853"/>
                  <a:pt x="1421296" y="789853"/>
                  <a:pt x="1423118" y="784386"/>
                </a:cubicBezTo>
                <a:close/>
                <a:moveTo>
                  <a:pt x="836378" y="784386"/>
                </a:moveTo>
                <a:cubicBezTo>
                  <a:pt x="836378" y="788031"/>
                  <a:pt x="836378" y="791675"/>
                  <a:pt x="838200" y="795319"/>
                </a:cubicBezTo>
                <a:cubicBezTo>
                  <a:pt x="836378" y="795319"/>
                  <a:pt x="834556" y="795319"/>
                  <a:pt x="832734" y="797141"/>
                </a:cubicBezTo>
                <a:cubicBezTo>
                  <a:pt x="834556" y="797141"/>
                  <a:pt x="838200" y="797141"/>
                  <a:pt x="841845" y="797141"/>
                </a:cubicBezTo>
                <a:cubicBezTo>
                  <a:pt x="840022" y="795319"/>
                  <a:pt x="838200" y="795319"/>
                  <a:pt x="838200" y="793497"/>
                </a:cubicBezTo>
                <a:cubicBezTo>
                  <a:pt x="840022" y="791675"/>
                  <a:pt x="845489" y="795319"/>
                  <a:pt x="847311" y="793497"/>
                </a:cubicBezTo>
                <a:lnTo>
                  <a:pt x="845885" y="789220"/>
                </a:lnTo>
                <a:lnTo>
                  <a:pt x="847311" y="791675"/>
                </a:lnTo>
                <a:cubicBezTo>
                  <a:pt x="845489" y="789853"/>
                  <a:pt x="845489" y="789853"/>
                  <a:pt x="845489" y="788031"/>
                </a:cubicBezTo>
                <a:lnTo>
                  <a:pt x="845885" y="789220"/>
                </a:lnTo>
                <a:lnTo>
                  <a:pt x="843211" y="784615"/>
                </a:lnTo>
                <a:cubicBezTo>
                  <a:pt x="840478" y="784842"/>
                  <a:pt x="837289" y="786209"/>
                  <a:pt x="836378" y="784386"/>
                </a:cubicBezTo>
                <a:close/>
                <a:moveTo>
                  <a:pt x="581274" y="784386"/>
                </a:moveTo>
                <a:cubicBezTo>
                  <a:pt x="579452" y="788031"/>
                  <a:pt x="584919" y="789853"/>
                  <a:pt x="588562" y="793497"/>
                </a:cubicBezTo>
                <a:cubicBezTo>
                  <a:pt x="590385" y="791675"/>
                  <a:pt x="588562" y="788031"/>
                  <a:pt x="588562" y="786208"/>
                </a:cubicBezTo>
                <a:cubicBezTo>
                  <a:pt x="586741" y="788031"/>
                  <a:pt x="583096" y="786208"/>
                  <a:pt x="581274" y="784386"/>
                </a:cubicBezTo>
                <a:close/>
                <a:moveTo>
                  <a:pt x="1341803" y="784159"/>
                </a:moveTo>
                <a:cubicBezTo>
                  <a:pt x="1341120" y="784842"/>
                  <a:pt x="1341120" y="786209"/>
                  <a:pt x="1342942" y="788031"/>
                </a:cubicBezTo>
                <a:cubicBezTo>
                  <a:pt x="1344765" y="788031"/>
                  <a:pt x="1344765" y="786208"/>
                  <a:pt x="1344765" y="784386"/>
                </a:cubicBezTo>
                <a:cubicBezTo>
                  <a:pt x="1343853" y="783475"/>
                  <a:pt x="1342487" y="783475"/>
                  <a:pt x="1341803" y="784159"/>
                </a:cubicBezTo>
                <a:close/>
                <a:moveTo>
                  <a:pt x="1173481" y="782564"/>
                </a:moveTo>
                <a:cubicBezTo>
                  <a:pt x="1168014" y="786208"/>
                  <a:pt x="1164370" y="786208"/>
                  <a:pt x="1164370" y="791675"/>
                </a:cubicBezTo>
                <a:cubicBezTo>
                  <a:pt x="1168014" y="795319"/>
                  <a:pt x="1171658" y="791675"/>
                  <a:pt x="1175303" y="793497"/>
                </a:cubicBezTo>
                <a:cubicBezTo>
                  <a:pt x="1173481" y="791675"/>
                  <a:pt x="1178947" y="788031"/>
                  <a:pt x="1175303" y="788031"/>
                </a:cubicBezTo>
                <a:cubicBezTo>
                  <a:pt x="1177125" y="786208"/>
                  <a:pt x="1177125" y="788031"/>
                  <a:pt x="1178947" y="786208"/>
                </a:cubicBezTo>
                <a:cubicBezTo>
                  <a:pt x="1177125" y="782564"/>
                  <a:pt x="1175303" y="784386"/>
                  <a:pt x="1173481" y="782564"/>
                </a:cubicBezTo>
                <a:close/>
                <a:moveTo>
                  <a:pt x="810868" y="782564"/>
                </a:moveTo>
                <a:cubicBezTo>
                  <a:pt x="810868" y="786208"/>
                  <a:pt x="816334" y="789853"/>
                  <a:pt x="819979" y="793497"/>
                </a:cubicBezTo>
                <a:cubicBezTo>
                  <a:pt x="823623" y="789853"/>
                  <a:pt x="825445" y="788031"/>
                  <a:pt x="823623" y="782564"/>
                </a:cubicBezTo>
                <a:cubicBezTo>
                  <a:pt x="819979" y="784386"/>
                  <a:pt x="814512" y="784386"/>
                  <a:pt x="810868" y="782564"/>
                </a:cubicBezTo>
                <a:close/>
                <a:moveTo>
                  <a:pt x="796290" y="782564"/>
                </a:moveTo>
                <a:cubicBezTo>
                  <a:pt x="790824" y="789853"/>
                  <a:pt x="778070" y="797141"/>
                  <a:pt x="783535" y="806252"/>
                </a:cubicBezTo>
                <a:cubicBezTo>
                  <a:pt x="783535" y="808074"/>
                  <a:pt x="785357" y="809897"/>
                  <a:pt x="789003" y="811719"/>
                </a:cubicBezTo>
                <a:cubicBezTo>
                  <a:pt x="787179" y="817185"/>
                  <a:pt x="798112" y="819008"/>
                  <a:pt x="801757" y="820830"/>
                </a:cubicBezTo>
                <a:cubicBezTo>
                  <a:pt x="799935" y="819008"/>
                  <a:pt x="798112" y="817185"/>
                  <a:pt x="794468" y="815363"/>
                </a:cubicBezTo>
                <a:cubicBezTo>
                  <a:pt x="801757" y="819008"/>
                  <a:pt x="810868" y="820830"/>
                  <a:pt x="816334" y="826296"/>
                </a:cubicBezTo>
                <a:cubicBezTo>
                  <a:pt x="819979" y="824474"/>
                  <a:pt x="819979" y="820830"/>
                  <a:pt x="816334" y="819008"/>
                </a:cubicBezTo>
                <a:cubicBezTo>
                  <a:pt x="819979" y="819008"/>
                  <a:pt x="829089" y="819008"/>
                  <a:pt x="825445" y="811719"/>
                </a:cubicBezTo>
                <a:cubicBezTo>
                  <a:pt x="823623" y="809897"/>
                  <a:pt x="827267" y="804430"/>
                  <a:pt x="821801" y="800786"/>
                </a:cubicBezTo>
                <a:cubicBezTo>
                  <a:pt x="818156" y="798964"/>
                  <a:pt x="816334" y="798964"/>
                  <a:pt x="812690" y="798964"/>
                </a:cubicBezTo>
                <a:cubicBezTo>
                  <a:pt x="812690" y="797141"/>
                  <a:pt x="814512" y="795319"/>
                  <a:pt x="816334" y="797141"/>
                </a:cubicBezTo>
                <a:cubicBezTo>
                  <a:pt x="810868" y="793497"/>
                  <a:pt x="805401" y="793497"/>
                  <a:pt x="799935" y="789853"/>
                </a:cubicBezTo>
                <a:cubicBezTo>
                  <a:pt x="801757" y="789853"/>
                  <a:pt x="805401" y="789853"/>
                  <a:pt x="809046" y="791675"/>
                </a:cubicBezTo>
                <a:cubicBezTo>
                  <a:pt x="809046" y="782564"/>
                  <a:pt x="799935" y="786208"/>
                  <a:pt x="796290" y="782564"/>
                </a:cubicBezTo>
                <a:close/>
                <a:moveTo>
                  <a:pt x="490165" y="782564"/>
                </a:moveTo>
                <a:cubicBezTo>
                  <a:pt x="491987" y="784386"/>
                  <a:pt x="493809" y="786208"/>
                  <a:pt x="493809" y="788031"/>
                </a:cubicBezTo>
                <a:cubicBezTo>
                  <a:pt x="497454" y="788031"/>
                  <a:pt x="491987" y="784386"/>
                  <a:pt x="495632" y="784386"/>
                </a:cubicBezTo>
                <a:cubicBezTo>
                  <a:pt x="493809" y="784386"/>
                  <a:pt x="491987" y="780742"/>
                  <a:pt x="490165" y="782564"/>
                </a:cubicBezTo>
                <a:close/>
                <a:moveTo>
                  <a:pt x="461010" y="782564"/>
                </a:moveTo>
                <a:cubicBezTo>
                  <a:pt x="457367" y="784386"/>
                  <a:pt x="461010" y="789853"/>
                  <a:pt x="462832" y="789853"/>
                </a:cubicBezTo>
                <a:cubicBezTo>
                  <a:pt x="464655" y="789853"/>
                  <a:pt x="461010" y="788031"/>
                  <a:pt x="464655" y="786208"/>
                </a:cubicBezTo>
                <a:cubicBezTo>
                  <a:pt x="462832" y="784386"/>
                  <a:pt x="461010" y="786208"/>
                  <a:pt x="461010" y="782564"/>
                </a:cubicBezTo>
                <a:close/>
                <a:moveTo>
                  <a:pt x="424567" y="782564"/>
                </a:moveTo>
                <a:cubicBezTo>
                  <a:pt x="422745" y="784386"/>
                  <a:pt x="426389" y="788031"/>
                  <a:pt x="426389" y="789853"/>
                </a:cubicBezTo>
                <a:cubicBezTo>
                  <a:pt x="430034" y="789853"/>
                  <a:pt x="433678" y="795319"/>
                  <a:pt x="437322" y="791675"/>
                </a:cubicBezTo>
                <a:cubicBezTo>
                  <a:pt x="431856" y="788031"/>
                  <a:pt x="426389" y="788031"/>
                  <a:pt x="424567" y="782564"/>
                </a:cubicBezTo>
                <a:close/>
                <a:moveTo>
                  <a:pt x="337102" y="782564"/>
                </a:moveTo>
                <a:cubicBezTo>
                  <a:pt x="337102" y="784386"/>
                  <a:pt x="338926" y="786208"/>
                  <a:pt x="337102" y="788031"/>
                </a:cubicBezTo>
                <a:cubicBezTo>
                  <a:pt x="338926" y="788031"/>
                  <a:pt x="338926" y="789853"/>
                  <a:pt x="340747" y="788031"/>
                </a:cubicBezTo>
                <a:cubicBezTo>
                  <a:pt x="342569" y="786208"/>
                  <a:pt x="338926" y="784386"/>
                  <a:pt x="337102" y="782564"/>
                </a:cubicBezTo>
                <a:close/>
                <a:moveTo>
                  <a:pt x="309771" y="782564"/>
                </a:moveTo>
                <a:cubicBezTo>
                  <a:pt x="311592" y="788031"/>
                  <a:pt x="315236" y="793497"/>
                  <a:pt x="320703" y="795319"/>
                </a:cubicBezTo>
                <a:cubicBezTo>
                  <a:pt x="320703" y="793497"/>
                  <a:pt x="317059" y="791675"/>
                  <a:pt x="320703" y="791675"/>
                </a:cubicBezTo>
                <a:cubicBezTo>
                  <a:pt x="317059" y="789853"/>
                  <a:pt x="317059" y="780742"/>
                  <a:pt x="309771" y="782564"/>
                </a:cubicBezTo>
                <a:close/>
                <a:moveTo>
                  <a:pt x="255105" y="782564"/>
                </a:moveTo>
                <a:cubicBezTo>
                  <a:pt x="256927" y="786208"/>
                  <a:pt x="258749" y="784386"/>
                  <a:pt x="260571" y="788031"/>
                </a:cubicBezTo>
                <a:cubicBezTo>
                  <a:pt x="264216" y="788031"/>
                  <a:pt x="255105" y="780742"/>
                  <a:pt x="260571" y="782564"/>
                </a:cubicBezTo>
                <a:cubicBezTo>
                  <a:pt x="258749" y="780742"/>
                  <a:pt x="256927" y="780742"/>
                  <a:pt x="255105" y="782564"/>
                </a:cubicBezTo>
                <a:close/>
                <a:moveTo>
                  <a:pt x="235061" y="782564"/>
                </a:moveTo>
                <a:cubicBezTo>
                  <a:pt x="236883" y="784386"/>
                  <a:pt x="240527" y="786208"/>
                  <a:pt x="242349" y="786208"/>
                </a:cubicBezTo>
                <a:cubicBezTo>
                  <a:pt x="240527" y="786208"/>
                  <a:pt x="236883" y="780742"/>
                  <a:pt x="235061" y="782564"/>
                </a:cubicBezTo>
                <a:close/>
                <a:moveTo>
                  <a:pt x="1497827" y="780742"/>
                </a:moveTo>
                <a:cubicBezTo>
                  <a:pt x="1494183" y="782564"/>
                  <a:pt x="1494183" y="784386"/>
                  <a:pt x="1492361" y="786208"/>
                </a:cubicBezTo>
                <a:cubicBezTo>
                  <a:pt x="1494183" y="788031"/>
                  <a:pt x="1496006" y="786208"/>
                  <a:pt x="1497827" y="784386"/>
                </a:cubicBezTo>
                <a:cubicBezTo>
                  <a:pt x="1499650" y="786208"/>
                  <a:pt x="1496006" y="788031"/>
                  <a:pt x="1497827" y="789853"/>
                </a:cubicBezTo>
                <a:cubicBezTo>
                  <a:pt x="1499650" y="786208"/>
                  <a:pt x="1503294" y="786208"/>
                  <a:pt x="1503294" y="782564"/>
                </a:cubicBezTo>
                <a:cubicBezTo>
                  <a:pt x="1501472" y="782564"/>
                  <a:pt x="1497827" y="786208"/>
                  <a:pt x="1497827" y="780742"/>
                </a:cubicBezTo>
                <a:close/>
                <a:moveTo>
                  <a:pt x="1171658" y="780742"/>
                </a:moveTo>
                <a:cubicBezTo>
                  <a:pt x="1166192" y="778920"/>
                  <a:pt x="1158903" y="784386"/>
                  <a:pt x="1153436" y="789853"/>
                </a:cubicBezTo>
                <a:cubicBezTo>
                  <a:pt x="1158903" y="789853"/>
                  <a:pt x="1164370" y="786208"/>
                  <a:pt x="1171658" y="780742"/>
                </a:cubicBezTo>
                <a:close/>
                <a:moveTo>
                  <a:pt x="482876" y="780742"/>
                </a:moveTo>
                <a:cubicBezTo>
                  <a:pt x="479232" y="780742"/>
                  <a:pt x="484700" y="784386"/>
                  <a:pt x="486521" y="784386"/>
                </a:cubicBezTo>
                <a:cubicBezTo>
                  <a:pt x="486521" y="782564"/>
                  <a:pt x="484700" y="782564"/>
                  <a:pt x="482876" y="780742"/>
                </a:cubicBezTo>
                <a:close/>
                <a:moveTo>
                  <a:pt x="439145" y="780742"/>
                </a:moveTo>
                <a:cubicBezTo>
                  <a:pt x="437322" y="784386"/>
                  <a:pt x="444611" y="789853"/>
                  <a:pt x="448256" y="789853"/>
                </a:cubicBezTo>
                <a:cubicBezTo>
                  <a:pt x="442789" y="788031"/>
                  <a:pt x="444611" y="780742"/>
                  <a:pt x="439145" y="780742"/>
                </a:cubicBezTo>
                <a:close/>
                <a:moveTo>
                  <a:pt x="406345" y="780742"/>
                </a:moveTo>
                <a:cubicBezTo>
                  <a:pt x="402701" y="789853"/>
                  <a:pt x="411812" y="793497"/>
                  <a:pt x="420923" y="797141"/>
                </a:cubicBezTo>
                <a:cubicBezTo>
                  <a:pt x="415456" y="791675"/>
                  <a:pt x="411812" y="786208"/>
                  <a:pt x="406345" y="780742"/>
                </a:cubicBezTo>
                <a:close/>
                <a:moveTo>
                  <a:pt x="302481" y="780742"/>
                </a:moveTo>
                <a:cubicBezTo>
                  <a:pt x="302481" y="788031"/>
                  <a:pt x="309771" y="791675"/>
                  <a:pt x="315236" y="795319"/>
                </a:cubicBezTo>
                <a:cubicBezTo>
                  <a:pt x="311592" y="788031"/>
                  <a:pt x="306126" y="786208"/>
                  <a:pt x="302481" y="780742"/>
                </a:cubicBezTo>
                <a:close/>
                <a:moveTo>
                  <a:pt x="242349" y="780742"/>
                </a:moveTo>
                <a:cubicBezTo>
                  <a:pt x="245994" y="788031"/>
                  <a:pt x="253282" y="788031"/>
                  <a:pt x="258749" y="793497"/>
                </a:cubicBezTo>
                <a:cubicBezTo>
                  <a:pt x="255105" y="788031"/>
                  <a:pt x="247816" y="782564"/>
                  <a:pt x="242349" y="780742"/>
                </a:cubicBezTo>
                <a:close/>
                <a:moveTo>
                  <a:pt x="185862" y="780742"/>
                </a:moveTo>
                <a:cubicBezTo>
                  <a:pt x="196795" y="793497"/>
                  <a:pt x="207728" y="798964"/>
                  <a:pt x="218661" y="808074"/>
                </a:cubicBezTo>
                <a:cubicBezTo>
                  <a:pt x="211372" y="797141"/>
                  <a:pt x="194973" y="778920"/>
                  <a:pt x="185862" y="780742"/>
                </a:cubicBezTo>
                <a:close/>
                <a:moveTo>
                  <a:pt x="3639591" y="780683"/>
                </a:moveTo>
                <a:lnTo>
                  <a:pt x="3639565" y="780742"/>
                </a:lnTo>
                <a:lnTo>
                  <a:pt x="3638883" y="780742"/>
                </a:lnTo>
                <a:close/>
                <a:moveTo>
                  <a:pt x="1488455" y="778922"/>
                </a:moveTo>
                <a:lnTo>
                  <a:pt x="1486895" y="782564"/>
                </a:lnTo>
                <a:lnTo>
                  <a:pt x="1486752" y="781902"/>
                </a:lnTo>
                <a:close/>
                <a:moveTo>
                  <a:pt x="3205204" y="778920"/>
                </a:moveTo>
                <a:cubicBezTo>
                  <a:pt x="3199738" y="777098"/>
                  <a:pt x="3194271" y="786208"/>
                  <a:pt x="3188805" y="786208"/>
                </a:cubicBezTo>
                <a:cubicBezTo>
                  <a:pt x="3192449" y="797141"/>
                  <a:pt x="3188805" y="804430"/>
                  <a:pt x="3188805" y="808074"/>
                </a:cubicBezTo>
                <a:cubicBezTo>
                  <a:pt x="3188805" y="804430"/>
                  <a:pt x="3186982" y="798964"/>
                  <a:pt x="3185160" y="795319"/>
                </a:cubicBezTo>
                <a:cubicBezTo>
                  <a:pt x="3176050" y="795319"/>
                  <a:pt x="3181516" y="806252"/>
                  <a:pt x="3170583" y="804430"/>
                </a:cubicBezTo>
                <a:cubicBezTo>
                  <a:pt x="3170583" y="809897"/>
                  <a:pt x="3168761" y="808074"/>
                  <a:pt x="3170583" y="813541"/>
                </a:cubicBezTo>
                <a:cubicBezTo>
                  <a:pt x="3179694" y="813541"/>
                  <a:pt x="3190627" y="813541"/>
                  <a:pt x="3197916" y="809897"/>
                </a:cubicBezTo>
                <a:cubicBezTo>
                  <a:pt x="3197916" y="798964"/>
                  <a:pt x="3196093" y="786208"/>
                  <a:pt x="3205204" y="778920"/>
                </a:cubicBezTo>
                <a:close/>
                <a:moveTo>
                  <a:pt x="1149792" y="778920"/>
                </a:moveTo>
                <a:cubicBezTo>
                  <a:pt x="1144326" y="778920"/>
                  <a:pt x="1135215" y="778920"/>
                  <a:pt x="1129748" y="784386"/>
                </a:cubicBezTo>
                <a:cubicBezTo>
                  <a:pt x="1137037" y="789853"/>
                  <a:pt x="1146148" y="780742"/>
                  <a:pt x="1149792" y="778920"/>
                </a:cubicBezTo>
                <a:close/>
                <a:moveTo>
                  <a:pt x="794468" y="778920"/>
                </a:moveTo>
                <a:cubicBezTo>
                  <a:pt x="789003" y="778920"/>
                  <a:pt x="787179" y="778920"/>
                  <a:pt x="783535" y="782564"/>
                </a:cubicBezTo>
                <a:cubicBezTo>
                  <a:pt x="787179" y="786208"/>
                  <a:pt x="792646" y="782564"/>
                  <a:pt x="794468" y="778920"/>
                </a:cubicBezTo>
                <a:close/>
                <a:moveTo>
                  <a:pt x="714293" y="778920"/>
                </a:moveTo>
                <a:cubicBezTo>
                  <a:pt x="712470" y="784386"/>
                  <a:pt x="716115" y="782564"/>
                  <a:pt x="717937" y="782564"/>
                </a:cubicBezTo>
                <a:cubicBezTo>
                  <a:pt x="717937" y="778920"/>
                  <a:pt x="716115" y="780742"/>
                  <a:pt x="714293" y="778920"/>
                </a:cubicBezTo>
                <a:close/>
                <a:moveTo>
                  <a:pt x="522964" y="778920"/>
                </a:moveTo>
                <a:cubicBezTo>
                  <a:pt x="522964" y="778920"/>
                  <a:pt x="524786" y="780742"/>
                  <a:pt x="522964" y="782564"/>
                </a:cubicBezTo>
                <a:cubicBezTo>
                  <a:pt x="530253" y="784386"/>
                  <a:pt x="533897" y="782564"/>
                  <a:pt x="537542" y="789853"/>
                </a:cubicBezTo>
                <a:cubicBezTo>
                  <a:pt x="537542" y="786208"/>
                  <a:pt x="528431" y="778920"/>
                  <a:pt x="522964" y="778920"/>
                </a:cubicBezTo>
                <a:close/>
                <a:moveTo>
                  <a:pt x="473766" y="778920"/>
                </a:moveTo>
                <a:cubicBezTo>
                  <a:pt x="471943" y="780742"/>
                  <a:pt x="477410" y="784386"/>
                  <a:pt x="479232" y="786208"/>
                </a:cubicBezTo>
                <a:cubicBezTo>
                  <a:pt x="479232" y="784386"/>
                  <a:pt x="477410" y="778920"/>
                  <a:pt x="473766" y="778920"/>
                </a:cubicBezTo>
                <a:close/>
                <a:moveTo>
                  <a:pt x="249638" y="778920"/>
                </a:moveTo>
                <a:cubicBezTo>
                  <a:pt x="251460" y="780742"/>
                  <a:pt x="255105" y="788031"/>
                  <a:pt x="256927" y="786208"/>
                </a:cubicBezTo>
                <a:cubicBezTo>
                  <a:pt x="253282" y="784386"/>
                  <a:pt x="253282" y="780742"/>
                  <a:pt x="249638" y="778920"/>
                </a:cubicBezTo>
                <a:close/>
                <a:moveTo>
                  <a:pt x="1299379" y="778902"/>
                </a:moveTo>
                <a:lnTo>
                  <a:pt x="1299250" y="779042"/>
                </a:lnTo>
                <a:lnTo>
                  <a:pt x="1299210" y="778920"/>
                </a:lnTo>
                <a:close/>
                <a:moveTo>
                  <a:pt x="3238003" y="777098"/>
                </a:moveTo>
                <a:cubicBezTo>
                  <a:pt x="3227071" y="775275"/>
                  <a:pt x="3208849" y="780742"/>
                  <a:pt x="3212493" y="795319"/>
                </a:cubicBezTo>
                <a:cubicBezTo>
                  <a:pt x="3210671" y="791675"/>
                  <a:pt x="3210671" y="788031"/>
                  <a:pt x="3208849" y="784386"/>
                </a:cubicBezTo>
                <a:cubicBezTo>
                  <a:pt x="3205204" y="784386"/>
                  <a:pt x="3203382" y="786208"/>
                  <a:pt x="3203382" y="788031"/>
                </a:cubicBezTo>
                <a:cubicBezTo>
                  <a:pt x="3205204" y="795319"/>
                  <a:pt x="3212493" y="795319"/>
                  <a:pt x="3217960" y="797141"/>
                </a:cubicBezTo>
                <a:cubicBezTo>
                  <a:pt x="3217960" y="798964"/>
                  <a:pt x="3216137" y="800786"/>
                  <a:pt x="3216137" y="802608"/>
                </a:cubicBezTo>
                <a:cubicBezTo>
                  <a:pt x="3217960" y="815363"/>
                  <a:pt x="3227071" y="817185"/>
                  <a:pt x="3238003" y="813541"/>
                </a:cubicBezTo>
                <a:cubicBezTo>
                  <a:pt x="3234359" y="804430"/>
                  <a:pt x="3228893" y="798964"/>
                  <a:pt x="3221604" y="793497"/>
                </a:cubicBezTo>
                <a:cubicBezTo>
                  <a:pt x="3232537" y="797141"/>
                  <a:pt x="3238003" y="786208"/>
                  <a:pt x="3245292" y="784386"/>
                </a:cubicBezTo>
                <a:cubicBezTo>
                  <a:pt x="3243470" y="782564"/>
                  <a:pt x="3241648" y="777098"/>
                  <a:pt x="3238003" y="777098"/>
                </a:cubicBezTo>
                <a:close/>
                <a:moveTo>
                  <a:pt x="2596598" y="777098"/>
                </a:moveTo>
                <a:cubicBezTo>
                  <a:pt x="2594776" y="777098"/>
                  <a:pt x="2594776" y="778920"/>
                  <a:pt x="2592954" y="778920"/>
                </a:cubicBezTo>
                <a:cubicBezTo>
                  <a:pt x="2592954" y="780742"/>
                  <a:pt x="2592954" y="780742"/>
                  <a:pt x="2592954" y="782564"/>
                </a:cubicBezTo>
                <a:cubicBezTo>
                  <a:pt x="2591132" y="782564"/>
                  <a:pt x="2589310" y="782564"/>
                  <a:pt x="2589310" y="780742"/>
                </a:cubicBezTo>
                <a:cubicBezTo>
                  <a:pt x="2587487" y="780742"/>
                  <a:pt x="2585665" y="778920"/>
                  <a:pt x="2583843" y="778920"/>
                </a:cubicBezTo>
                <a:cubicBezTo>
                  <a:pt x="2585665" y="782564"/>
                  <a:pt x="2592954" y="789853"/>
                  <a:pt x="2591132" y="793497"/>
                </a:cubicBezTo>
                <a:cubicBezTo>
                  <a:pt x="2589310" y="797141"/>
                  <a:pt x="2585665" y="788031"/>
                  <a:pt x="2583843" y="789853"/>
                </a:cubicBezTo>
                <a:cubicBezTo>
                  <a:pt x="2582021" y="791675"/>
                  <a:pt x="2589310" y="800786"/>
                  <a:pt x="2582021" y="800786"/>
                </a:cubicBezTo>
                <a:cubicBezTo>
                  <a:pt x="2589310" y="802608"/>
                  <a:pt x="2596598" y="798964"/>
                  <a:pt x="2602065" y="798964"/>
                </a:cubicBezTo>
                <a:cubicBezTo>
                  <a:pt x="2600243" y="797141"/>
                  <a:pt x="2598421" y="791675"/>
                  <a:pt x="2594776" y="793497"/>
                </a:cubicBezTo>
                <a:cubicBezTo>
                  <a:pt x="2600243" y="789853"/>
                  <a:pt x="2600243" y="782564"/>
                  <a:pt x="2596598" y="777098"/>
                </a:cubicBezTo>
                <a:close/>
                <a:moveTo>
                  <a:pt x="2552866" y="777098"/>
                </a:moveTo>
                <a:cubicBezTo>
                  <a:pt x="2549222" y="777098"/>
                  <a:pt x="2552866" y="782564"/>
                  <a:pt x="2547400" y="778920"/>
                </a:cubicBezTo>
                <a:cubicBezTo>
                  <a:pt x="2549222" y="784386"/>
                  <a:pt x="2552866" y="784386"/>
                  <a:pt x="2556510" y="788031"/>
                </a:cubicBezTo>
                <a:cubicBezTo>
                  <a:pt x="2554688" y="784386"/>
                  <a:pt x="2558332" y="784386"/>
                  <a:pt x="2558332" y="780742"/>
                </a:cubicBezTo>
                <a:cubicBezTo>
                  <a:pt x="2554688" y="778920"/>
                  <a:pt x="2552866" y="778920"/>
                  <a:pt x="2552866" y="777098"/>
                </a:cubicBezTo>
                <a:close/>
                <a:moveTo>
                  <a:pt x="1301033" y="777098"/>
                </a:moveTo>
                <a:cubicBezTo>
                  <a:pt x="1290100" y="777098"/>
                  <a:pt x="1277344" y="777098"/>
                  <a:pt x="1266411" y="778920"/>
                </a:cubicBezTo>
                <a:cubicBezTo>
                  <a:pt x="1275522" y="782564"/>
                  <a:pt x="1282811" y="786208"/>
                  <a:pt x="1291922" y="788031"/>
                </a:cubicBezTo>
                <a:cubicBezTo>
                  <a:pt x="1293744" y="786208"/>
                  <a:pt x="1293744" y="784386"/>
                  <a:pt x="1293744" y="782564"/>
                </a:cubicBezTo>
                <a:cubicBezTo>
                  <a:pt x="1295566" y="780742"/>
                  <a:pt x="1295566" y="784386"/>
                  <a:pt x="1297388" y="782564"/>
                </a:cubicBezTo>
                <a:cubicBezTo>
                  <a:pt x="1298299" y="781653"/>
                  <a:pt x="1298299" y="780742"/>
                  <a:pt x="1298527" y="779831"/>
                </a:cubicBezTo>
                <a:lnTo>
                  <a:pt x="1299250" y="779042"/>
                </a:lnTo>
                <a:lnTo>
                  <a:pt x="1301033" y="784386"/>
                </a:lnTo>
                <a:cubicBezTo>
                  <a:pt x="1299210" y="786208"/>
                  <a:pt x="1302855" y="782564"/>
                  <a:pt x="1299210" y="780742"/>
                </a:cubicBezTo>
                <a:cubicBezTo>
                  <a:pt x="1297388" y="784386"/>
                  <a:pt x="1293744" y="784386"/>
                  <a:pt x="1293744" y="788031"/>
                </a:cubicBezTo>
                <a:cubicBezTo>
                  <a:pt x="1297388" y="789853"/>
                  <a:pt x="1299210" y="789853"/>
                  <a:pt x="1301033" y="786208"/>
                </a:cubicBezTo>
                <a:cubicBezTo>
                  <a:pt x="1304677" y="786208"/>
                  <a:pt x="1301033" y="789853"/>
                  <a:pt x="1301033" y="789853"/>
                </a:cubicBezTo>
                <a:cubicBezTo>
                  <a:pt x="1304677" y="786208"/>
                  <a:pt x="1311966" y="780742"/>
                  <a:pt x="1315610" y="777098"/>
                </a:cubicBezTo>
                <a:lnTo>
                  <a:pt x="1299379" y="778902"/>
                </a:lnTo>
                <a:close/>
                <a:moveTo>
                  <a:pt x="1186236" y="777098"/>
                </a:moveTo>
                <a:cubicBezTo>
                  <a:pt x="1184414" y="778920"/>
                  <a:pt x="1184414" y="780742"/>
                  <a:pt x="1184414" y="782564"/>
                </a:cubicBezTo>
                <a:cubicBezTo>
                  <a:pt x="1188058" y="784386"/>
                  <a:pt x="1188058" y="778920"/>
                  <a:pt x="1186236" y="777098"/>
                </a:cubicBezTo>
                <a:close/>
                <a:moveTo>
                  <a:pt x="699715" y="777098"/>
                </a:moveTo>
                <a:cubicBezTo>
                  <a:pt x="696071" y="778920"/>
                  <a:pt x="701537" y="780742"/>
                  <a:pt x="703359" y="782564"/>
                </a:cubicBezTo>
                <a:cubicBezTo>
                  <a:pt x="705182" y="780742"/>
                  <a:pt x="701537" y="778920"/>
                  <a:pt x="699715" y="777098"/>
                </a:cubicBezTo>
                <a:close/>
                <a:moveTo>
                  <a:pt x="685138" y="777098"/>
                </a:moveTo>
                <a:cubicBezTo>
                  <a:pt x="685138" y="782564"/>
                  <a:pt x="679671" y="786208"/>
                  <a:pt x="683316" y="788031"/>
                </a:cubicBezTo>
                <a:cubicBezTo>
                  <a:pt x="686960" y="782564"/>
                  <a:pt x="694249" y="789853"/>
                  <a:pt x="697893" y="784386"/>
                </a:cubicBezTo>
                <a:cubicBezTo>
                  <a:pt x="692426" y="782564"/>
                  <a:pt x="688782" y="778920"/>
                  <a:pt x="685138" y="777098"/>
                </a:cubicBezTo>
                <a:close/>
                <a:moveTo>
                  <a:pt x="632296" y="777098"/>
                </a:moveTo>
                <a:cubicBezTo>
                  <a:pt x="634117" y="778920"/>
                  <a:pt x="634572" y="781198"/>
                  <a:pt x="634800" y="783248"/>
                </a:cubicBezTo>
                <a:lnTo>
                  <a:pt x="635780" y="787366"/>
                </a:lnTo>
                <a:lnTo>
                  <a:pt x="634117" y="788031"/>
                </a:lnTo>
                <a:cubicBezTo>
                  <a:pt x="634117" y="788031"/>
                  <a:pt x="634117" y="788031"/>
                  <a:pt x="635939" y="788031"/>
                </a:cubicBezTo>
                <a:lnTo>
                  <a:pt x="635780" y="787366"/>
                </a:lnTo>
                <a:lnTo>
                  <a:pt x="643228" y="784386"/>
                </a:lnTo>
                <a:cubicBezTo>
                  <a:pt x="641407" y="786208"/>
                  <a:pt x="641407" y="788031"/>
                  <a:pt x="643228" y="789853"/>
                </a:cubicBezTo>
                <a:cubicBezTo>
                  <a:pt x="650516" y="791675"/>
                  <a:pt x="645050" y="786208"/>
                  <a:pt x="646872" y="784386"/>
                </a:cubicBezTo>
                <a:cubicBezTo>
                  <a:pt x="645050" y="778920"/>
                  <a:pt x="637761" y="778920"/>
                  <a:pt x="632296" y="777098"/>
                </a:cubicBezTo>
                <a:close/>
                <a:moveTo>
                  <a:pt x="439145" y="777098"/>
                </a:moveTo>
                <a:cubicBezTo>
                  <a:pt x="435500" y="777098"/>
                  <a:pt x="440966" y="778920"/>
                  <a:pt x="440966" y="780742"/>
                </a:cubicBezTo>
                <a:cubicBezTo>
                  <a:pt x="440966" y="778920"/>
                  <a:pt x="439145" y="777098"/>
                  <a:pt x="439145" y="777098"/>
                </a:cubicBezTo>
                <a:close/>
                <a:moveTo>
                  <a:pt x="1465031" y="776414"/>
                </a:moveTo>
                <a:lnTo>
                  <a:pt x="1463149" y="778180"/>
                </a:lnTo>
                <a:cubicBezTo>
                  <a:pt x="1461726" y="780059"/>
                  <a:pt x="1460928" y="782109"/>
                  <a:pt x="1461384" y="784386"/>
                </a:cubicBezTo>
                <a:cubicBezTo>
                  <a:pt x="1459562" y="788031"/>
                  <a:pt x="1459562" y="782564"/>
                  <a:pt x="1457739" y="784386"/>
                </a:cubicBezTo>
                <a:cubicBezTo>
                  <a:pt x="1457739" y="786208"/>
                  <a:pt x="1459562" y="784386"/>
                  <a:pt x="1459562" y="786208"/>
                </a:cubicBezTo>
                <a:cubicBezTo>
                  <a:pt x="1455917" y="788031"/>
                  <a:pt x="1452273" y="791675"/>
                  <a:pt x="1454095" y="793497"/>
                </a:cubicBezTo>
                <a:cubicBezTo>
                  <a:pt x="1457739" y="795319"/>
                  <a:pt x="1461384" y="788031"/>
                  <a:pt x="1463206" y="788031"/>
                </a:cubicBezTo>
                <a:cubicBezTo>
                  <a:pt x="1461384" y="789853"/>
                  <a:pt x="1468673" y="789853"/>
                  <a:pt x="1466850" y="791675"/>
                </a:cubicBezTo>
                <a:cubicBezTo>
                  <a:pt x="1463206" y="790764"/>
                  <a:pt x="1457284" y="791675"/>
                  <a:pt x="1452956" y="793953"/>
                </a:cubicBezTo>
                <a:lnTo>
                  <a:pt x="1449855" y="796779"/>
                </a:lnTo>
                <a:lnTo>
                  <a:pt x="1459562" y="780742"/>
                </a:lnTo>
                <a:cubicBezTo>
                  <a:pt x="1461384" y="780742"/>
                  <a:pt x="1459562" y="782564"/>
                  <a:pt x="1461384" y="782564"/>
                </a:cubicBezTo>
                <a:cubicBezTo>
                  <a:pt x="1463206" y="780742"/>
                  <a:pt x="1461384" y="778920"/>
                  <a:pt x="1463206" y="777098"/>
                </a:cubicBezTo>
                <a:close/>
                <a:moveTo>
                  <a:pt x="2722328" y="775275"/>
                </a:moveTo>
                <a:cubicBezTo>
                  <a:pt x="2716862" y="777098"/>
                  <a:pt x="2709573" y="775275"/>
                  <a:pt x="2707751" y="780742"/>
                </a:cubicBezTo>
                <a:cubicBezTo>
                  <a:pt x="2716862" y="786208"/>
                  <a:pt x="2722328" y="777098"/>
                  <a:pt x="2724150" y="784386"/>
                </a:cubicBezTo>
                <a:cubicBezTo>
                  <a:pt x="2727795" y="782564"/>
                  <a:pt x="2724150" y="777098"/>
                  <a:pt x="2722328" y="775275"/>
                </a:cubicBezTo>
                <a:close/>
                <a:moveTo>
                  <a:pt x="2323272" y="775275"/>
                </a:moveTo>
                <a:cubicBezTo>
                  <a:pt x="2323272" y="778920"/>
                  <a:pt x="2319628" y="780742"/>
                  <a:pt x="2321450" y="782564"/>
                </a:cubicBezTo>
                <a:cubicBezTo>
                  <a:pt x="2326916" y="786208"/>
                  <a:pt x="2325094" y="793497"/>
                  <a:pt x="2326916" y="797141"/>
                </a:cubicBezTo>
                <a:cubicBezTo>
                  <a:pt x="2326916" y="798964"/>
                  <a:pt x="2328739" y="797141"/>
                  <a:pt x="2330561" y="795319"/>
                </a:cubicBezTo>
                <a:close/>
                <a:moveTo>
                  <a:pt x="1362987" y="775275"/>
                </a:moveTo>
                <a:cubicBezTo>
                  <a:pt x="1355698" y="775275"/>
                  <a:pt x="1355698" y="782564"/>
                  <a:pt x="1348410" y="784386"/>
                </a:cubicBezTo>
                <a:cubicBezTo>
                  <a:pt x="1352053" y="788031"/>
                  <a:pt x="1357521" y="775275"/>
                  <a:pt x="1361164" y="780742"/>
                </a:cubicBezTo>
                <a:cubicBezTo>
                  <a:pt x="1364809" y="778920"/>
                  <a:pt x="1364809" y="777098"/>
                  <a:pt x="1362987" y="775275"/>
                </a:cubicBezTo>
                <a:close/>
                <a:moveTo>
                  <a:pt x="1033173" y="775275"/>
                </a:moveTo>
                <a:cubicBezTo>
                  <a:pt x="1027707" y="778920"/>
                  <a:pt x="1027707" y="784386"/>
                  <a:pt x="1022240" y="788031"/>
                </a:cubicBezTo>
                <a:lnTo>
                  <a:pt x="1023843" y="788299"/>
                </a:lnTo>
                <a:lnTo>
                  <a:pt x="1022012" y="790537"/>
                </a:lnTo>
                <a:cubicBezTo>
                  <a:pt x="1021784" y="791220"/>
                  <a:pt x="1022240" y="791675"/>
                  <a:pt x="1024062" y="791675"/>
                </a:cubicBezTo>
                <a:cubicBezTo>
                  <a:pt x="1024973" y="791675"/>
                  <a:pt x="1025884" y="791220"/>
                  <a:pt x="1026113" y="790537"/>
                </a:cubicBezTo>
                <a:lnTo>
                  <a:pt x="1024349" y="788383"/>
                </a:lnTo>
                <a:lnTo>
                  <a:pt x="1033173" y="789853"/>
                </a:lnTo>
                <a:cubicBezTo>
                  <a:pt x="1033173" y="789853"/>
                  <a:pt x="1033173" y="791675"/>
                  <a:pt x="1033173" y="791675"/>
                </a:cubicBezTo>
                <a:cubicBezTo>
                  <a:pt x="1034995" y="789853"/>
                  <a:pt x="1034995" y="788031"/>
                  <a:pt x="1036818" y="786208"/>
                </a:cubicBezTo>
                <a:cubicBezTo>
                  <a:pt x="1038639" y="780742"/>
                  <a:pt x="1038639" y="777098"/>
                  <a:pt x="1033173" y="775275"/>
                </a:cubicBezTo>
                <a:close/>
                <a:moveTo>
                  <a:pt x="741626" y="775275"/>
                </a:moveTo>
                <a:cubicBezTo>
                  <a:pt x="737981" y="777098"/>
                  <a:pt x="737981" y="778920"/>
                  <a:pt x="737981" y="780742"/>
                </a:cubicBezTo>
                <a:cubicBezTo>
                  <a:pt x="739803" y="780742"/>
                  <a:pt x="745269" y="777098"/>
                  <a:pt x="741626" y="775275"/>
                </a:cubicBezTo>
                <a:close/>
                <a:moveTo>
                  <a:pt x="677849" y="775275"/>
                </a:moveTo>
                <a:cubicBezTo>
                  <a:pt x="676027" y="778920"/>
                  <a:pt x="679671" y="780742"/>
                  <a:pt x="677849" y="784386"/>
                </a:cubicBezTo>
                <a:cubicBezTo>
                  <a:pt x="681493" y="784386"/>
                  <a:pt x="679671" y="778920"/>
                  <a:pt x="683316" y="777098"/>
                </a:cubicBezTo>
                <a:cubicBezTo>
                  <a:pt x="681493" y="775275"/>
                  <a:pt x="679671" y="777098"/>
                  <a:pt x="677849" y="775275"/>
                </a:cubicBezTo>
                <a:close/>
                <a:moveTo>
                  <a:pt x="455544" y="775275"/>
                </a:moveTo>
                <a:cubicBezTo>
                  <a:pt x="453722" y="777098"/>
                  <a:pt x="457367" y="778920"/>
                  <a:pt x="455544" y="780742"/>
                </a:cubicBezTo>
                <a:cubicBezTo>
                  <a:pt x="457367" y="780742"/>
                  <a:pt x="461010" y="784386"/>
                  <a:pt x="462832" y="780742"/>
                </a:cubicBezTo>
                <a:cubicBezTo>
                  <a:pt x="461010" y="778920"/>
                  <a:pt x="453722" y="778920"/>
                  <a:pt x="459188" y="777098"/>
                </a:cubicBezTo>
                <a:cubicBezTo>
                  <a:pt x="457367" y="777098"/>
                  <a:pt x="457367" y="775275"/>
                  <a:pt x="455544" y="775275"/>
                </a:cubicBezTo>
                <a:close/>
                <a:moveTo>
                  <a:pt x="395412" y="775275"/>
                </a:moveTo>
                <a:cubicBezTo>
                  <a:pt x="397234" y="778920"/>
                  <a:pt x="397234" y="782564"/>
                  <a:pt x="402701" y="780742"/>
                </a:cubicBezTo>
                <a:cubicBezTo>
                  <a:pt x="400879" y="775275"/>
                  <a:pt x="397234" y="778920"/>
                  <a:pt x="395412" y="775275"/>
                </a:cubicBezTo>
                <a:close/>
                <a:moveTo>
                  <a:pt x="566697" y="774820"/>
                </a:moveTo>
                <a:cubicBezTo>
                  <a:pt x="563052" y="774820"/>
                  <a:pt x="560319" y="777098"/>
                  <a:pt x="561230" y="784386"/>
                </a:cubicBezTo>
                <a:cubicBezTo>
                  <a:pt x="564874" y="782564"/>
                  <a:pt x="568519" y="780742"/>
                  <a:pt x="566697" y="778920"/>
                </a:cubicBezTo>
                <a:cubicBezTo>
                  <a:pt x="566697" y="780742"/>
                  <a:pt x="566697" y="780742"/>
                  <a:pt x="568519" y="782564"/>
                </a:cubicBezTo>
                <a:cubicBezTo>
                  <a:pt x="566697" y="782564"/>
                  <a:pt x="564874" y="782564"/>
                  <a:pt x="563052" y="784386"/>
                </a:cubicBezTo>
                <a:cubicBezTo>
                  <a:pt x="568519" y="788031"/>
                  <a:pt x="566697" y="795319"/>
                  <a:pt x="575808" y="793497"/>
                </a:cubicBezTo>
                <a:cubicBezTo>
                  <a:pt x="570341" y="797141"/>
                  <a:pt x="577630" y="797141"/>
                  <a:pt x="579452" y="798964"/>
                </a:cubicBezTo>
                <a:cubicBezTo>
                  <a:pt x="577630" y="797141"/>
                  <a:pt x="575808" y="795319"/>
                  <a:pt x="575808" y="793497"/>
                </a:cubicBezTo>
                <a:cubicBezTo>
                  <a:pt x="573985" y="791675"/>
                  <a:pt x="572163" y="788031"/>
                  <a:pt x="568519" y="788031"/>
                </a:cubicBezTo>
                <a:cubicBezTo>
                  <a:pt x="572163" y="788031"/>
                  <a:pt x="572163" y="789853"/>
                  <a:pt x="575808" y="789853"/>
                </a:cubicBezTo>
                <a:cubicBezTo>
                  <a:pt x="575808" y="784386"/>
                  <a:pt x="570341" y="784386"/>
                  <a:pt x="570341" y="778920"/>
                </a:cubicBezTo>
                <a:cubicBezTo>
                  <a:pt x="573985" y="780742"/>
                  <a:pt x="575808" y="780742"/>
                  <a:pt x="577630" y="784386"/>
                </a:cubicBezTo>
                <a:cubicBezTo>
                  <a:pt x="577630" y="782564"/>
                  <a:pt x="579452" y="780742"/>
                  <a:pt x="577630" y="778920"/>
                </a:cubicBezTo>
                <a:cubicBezTo>
                  <a:pt x="574896" y="777098"/>
                  <a:pt x="570341" y="774820"/>
                  <a:pt x="566697" y="774820"/>
                </a:cubicBezTo>
                <a:close/>
                <a:moveTo>
                  <a:pt x="1327226" y="773681"/>
                </a:moveTo>
                <a:cubicBezTo>
                  <a:pt x="1324721" y="773909"/>
                  <a:pt x="1321987" y="775276"/>
                  <a:pt x="1319254" y="777098"/>
                </a:cubicBezTo>
                <a:cubicBezTo>
                  <a:pt x="1321077" y="777098"/>
                  <a:pt x="1321077" y="777098"/>
                  <a:pt x="1322899" y="777098"/>
                </a:cubicBezTo>
                <a:cubicBezTo>
                  <a:pt x="1321077" y="780742"/>
                  <a:pt x="1313788" y="784386"/>
                  <a:pt x="1310143" y="788031"/>
                </a:cubicBezTo>
                <a:cubicBezTo>
                  <a:pt x="1317432" y="788031"/>
                  <a:pt x="1330188" y="786208"/>
                  <a:pt x="1333832" y="777098"/>
                </a:cubicBezTo>
                <a:cubicBezTo>
                  <a:pt x="1332009" y="774365"/>
                  <a:pt x="1329732" y="773454"/>
                  <a:pt x="1327226" y="773681"/>
                </a:cubicBezTo>
                <a:close/>
                <a:moveTo>
                  <a:pt x="625917" y="773454"/>
                </a:moveTo>
                <a:cubicBezTo>
                  <a:pt x="625461" y="773909"/>
                  <a:pt x="626828" y="777098"/>
                  <a:pt x="630472" y="782564"/>
                </a:cubicBezTo>
                <a:cubicBezTo>
                  <a:pt x="630472" y="780742"/>
                  <a:pt x="632296" y="780742"/>
                  <a:pt x="632296" y="780742"/>
                </a:cubicBezTo>
                <a:cubicBezTo>
                  <a:pt x="628650" y="775276"/>
                  <a:pt x="626373" y="772998"/>
                  <a:pt x="625917" y="773454"/>
                </a:cubicBezTo>
                <a:close/>
                <a:moveTo>
                  <a:pt x="2729617" y="773453"/>
                </a:moveTo>
                <a:cubicBezTo>
                  <a:pt x="2729617" y="786208"/>
                  <a:pt x="2740550" y="786208"/>
                  <a:pt x="2746016" y="782564"/>
                </a:cubicBezTo>
                <a:cubicBezTo>
                  <a:pt x="2740550" y="782564"/>
                  <a:pt x="2738728" y="777098"/>
                  <a:pt x="2729617" y="773453"/>
                </a:cubicBezTo>
                <a:close/>
                <a:moveTo>
                  <a:pt x="2571088" y="773453"/>
                </a:moveTo>
                <a:cubicBezTo>
                  <a:pt x="2567443" y="775275"/>
                  <a:pt x="2565621" y="775275"/>
                  <a:pt x="2563799" y="777098"/>
                </a:cubicBezTo>
                <a:cubicBezTo>
                  <a:pt x="2561977" y="782564"/>
                  <a:pt x="2560155" y="788031"/>
                  <a:pt x="2560155" y="793497"/>
                </a:cubicBezTo>
                <a:cubicBezTo>
                  <a:pt x="2563799" y="791675"/>
                  <a:pt x="2565621" y="791675"/>
                  <a:pt x="2567443" y="791675"/>
                </a:cubicBezTo>
                <a:cubicBezTo>
                  <a:pt x="2567443" y="789853"/>
                  <a:pt x="2565621" y="788031"/>
                  <a:pt x="2565621" y="786208"/>
                </a:cubicBezTo>
                <a:cubicBezTo>
                  <a:pt x="2572910" y="784386"/>
                  <a:pt x="2571088" y="778920"/>
                  <a:pt x="2571088" y="773453"/>
                </a:cubicBezTo>
                <a:close/>
                <a:moveTo>
                  <a:pt x="2317806" y="773453"/>
                </a:moveTo>
                <a:cubicBezTo>
                  <a:pt x="2317806" y="775275"/>
                  <a:pt x="2317806" y="775275"/>
                  <a:pt x="2317806" y="777098"/>
                </a:cubicBezTo>
                <a:cubicBezTo>
                  <a:pt x="2319628" y="777098"/>
                  <a:pt x="2321450" y="777098"/>
                  <a:pt x="2321450" y="775275"/>
                </a:cubicBezTo>
                <a:lnTo>
                  <a:pt x="2319628" y="773453"/>
                </a:lnTo>
                <a:cubicBezTo>
                  <a:pt x="2319628" y="773453"/>
                  <a:pt x="2317806" y="773453"/>
                  <a:pt x="2317806" y="773453"/>
                </a:cubicBezTo>
                <a:close/>
                <a:moveTo>
                  <a:pt x="1373920" y="773453"/>
                </a:moveTo>
                <a:cubicBezTo>
                  <a:pt x="1370275" y="773453"/>
                  <a:pt x="1368453" y="775275"/>
                  <a:pt x="1366632" y="775275"/>
                </a:cubicBezTo>
                <a:cubicBezTo>
                  <a:pt x="1366632" y="778920"/>
                  <a:pt x="1368453" y="773453"/>
                  <a:pt x="1370275" y="777098"/>
                </a:cubicBezTo>
                <a:cubicBezTo>
                  <a:pt x="1372097" y="775275"/>
                  <a:pt x="1373920" y="775275"/>
                  <a:pt x="1373920" y="773453"/>
                </a:cubicBezTo>
                <a:close/>
                <a:moveTo>
                  <a:pt x="1342942" y="773453"/>
                </a:moveTo>
                <a:cubicBezTo>
                  <a:pt x="1341120" y="775275"/>
                  <a:pt x="1341120" y="777098"/>
                  <a:pt x="1341120" y="778920"/>
                </a:cubicBezTo>
                <a:cubicBezTo>
                  <a:pt x="1342942" y="780742"/>
                  <a:pt x="1346587" y="778920"/>
                  <a:pt x="1348410" y="777098"/>
                </a:cubicBezTo>
                <a:cubicBezTo>
                  <a:pt x="1346587" y="775275"/>
                  <a:pt x="1344765" y="775275"/>
                  <a:pt x="1342942" y="773453"/>
                </a:cubicBezTo>
                <a:close/>
                <a:moveTo>
                  <a:pt x="1018596" y="773453"/>
                </a:moveTo>
                <a:cubicBezTo>
                  <a:pt x="1011307" y="786208"/>
                  <a:pt x="1000374" y="786208"/>
                  <a:pt x="989441" y="797141"/>
                </a:cubicBezTo>
                <a:cubicBezTo>
                  <a:pt x="989441" y="798964"/>
                  <a:pt x="991263" y="797141"/>
                  <a:pt x="993085" y="798964"/>
                </a:cubicBezTo>
                <a:cubicBezTo>
                  <a:pt x="993085" y="800786"/>
                  <a:pt x="991263" y="800786"/>
                  <a:pt x="989441" y="802608"/>
                </a:cubicBezTo>
                <a:cubicBezTo>
                  <a:pt x="991263" y="802608"/>
                  <a:pt x="993085" y="802608"/>
                  <a:pt x="994907" y="800786"/>
                </a:cubicBezTo>
                <a:cubicBezTo>
                  <a:pt x="994907" y="804430"/>
                  <a:pt x="993085" y="811719"/>
                  <a:pt x="994907" y="809897"/>
                </a:cubicBezTo>
                <a:lnTo>
                  <a:pt x="996547" y="810080"/>
                </a:lnTo>
                <a:lnTo>
                  <a:pt x="994679" y="811947"/>
                </a:lnTo>
                <a:cubicBezTo>
                  <a:pt x="994907" y="813086"/>
                  <a:pt x="995818" y="814452"/>
                  <a:pt x="996729" y="815363"/>
                </a:cubicBezTo>
                <a:cubicBezTo>
                  <a:pt x="998552" y="814452"/>
                  <a:pt x="998552" y="813541"/>
                  <a:pt x="998096" y="812630"/>
                </a:cubicBezTo>
                <a:lnTo>
                  <a:pt x="996836" y="810112"/>
                </a:lnTo>
                <a:lnTo>
                  <a:pt x="1010721" y="811654"/>
                </a:lnTo>
                <a:lnTo>
                  <a:pt x="1010544" y="812190"/>
                </a:lnTo>
                <a:lnTo>
                  <a:pt x="1005384" y="815364"/>
                </a:lnTo>
                <a:cubicBezTo>
                  <a:pt x="1003562" y="816730"/>
                  <a:pt x="1002196" y="818097"/>
                  <a:pt x="1002196" y="819008"/>
                </a:cubicBezTo>
                <a:cubicBezTo>
                  <a:pt x="1004018" y="819008"/>
                  <a:pt x="1002196" y="820830"/>
                  <a:pt x="1004018" y="820830"/>
                </a:cubicBezTo>
                <a:lnTo>
                  <a:pt x="1004018" y="819048"/>
                </a:lnTo>
                <a:lnTo>
                  <a:pt x="1007622" y="820850"/>
                </a:lnTo>
                <a:lnTo>
                  <a:pt x="1007663" y="820830"/>
                </a:lnTo>
                <a:cubicBezTo>
                  <a:pt x="1007663" y="819008"/>
                  <a:pt x="1005840" y="819008"/>
                  <a:pt x="1005840" y="819008"/>
                </a:cubicBezTo>
                <a:cubicBezTo>
                  <a:pt x="1005840" y="817185"/>
                  <a:pt x="1007663" y="817185"/>
                  <a:pt x="1007663" y="817185"/>
                </a:cubicBezTo>
                <a:lnTo>
                  <a:pt x="1007663" y="815404"/>
                </a:lnTo>
                <a:lnTo>
                  <a:pt x="1008553" y="816295"/>
                </a:lnTo>
                <a:lnTo>
                  <a:pt x="1009485" y="815363"/>
                </a:lnTo>
                <a:lnTo>
                  <a:pt x="1010544" y="812190"/>
                </a:lnTo>
                <a:lnTo>
                  <a:pt x="1011281" y="811735"/>
                </a:lnTo>
                <a:lnTo>
                  <a:pt x="1011260" y="811714"/>
                </a:lnTo>
                <a:lnTo>
                  <a:pt x="1010721" y="811654"/>
                </a:lnTo>
                <a:lnTo>
                  <a:pt x="1010841" y="811295"/>
                </a:lnTo>
                <a:lnTo>
                  <a:pt x="1009485" y="809938"/>
                </a:lnTo>
                <a:lnTo>
                  <a:pt x="1011035" y="810714"/>
                </a:lnTo>
                <a:lnTo>
                  <a:pt x="1011307" y="809897"/>
                </a:lnTo>
                <a:cubicBezTo>
                  <a:pt x="1013129" y="809897"/>
                  <a:pt x="1014951" y="808074"/>
                  <a:pt x="1014951" y="806252"/>
                </a:cubicBezTo>
                <a:cubicBezTo>
                  <a:pt x="1014951" y="802608"/>
                  <a:pt x="1013129" y="800786"/>
                  <a:pt x="1013129" y="797141"/>
                </a:cubicBezTo>
                <a:cubicBezTo>
                  <a:pt x="1013129" y="798964"/>
                  <a:pt x="1013129" y="798964"/>
                  <a:pt x="1014951" y="800786"/>
                </a:cubicBezTo>
                <a:cubicBezTo>
                  <a:pt x="1009485" y="786208"/>
                  <a:pt x="1022240" y="784386"/>
                  <a:pt x="1025884" y="773453"/>
                </a:cubicBezTo>
                <a:cubicBezTo>
                  <a:pt x="1024062" y="773453"/>
                  <a:pt x="1020418" y="773453"/>
                  <a:pt x="1018596" y="773453"/>
                </a:cubicBezTo>
                <a:close/>
                <a:moveTo>
                  <a:pt x="776246" y="773453"/>
                </a:moveTo>
                <a:cubicBezTo>
                  <a:pt x="774424" y="773453"/>
                  <a:pt x="779892" y="777098"/>
                  <a:pt x="781713" y="775275"/>
                </a:cubicBezTo>
                <a:cubicBezTo>
                  <a:pt x="779892" y="773453"/>
                  <a:pt x="778070" y="773453"/>
                  <a:pt x="776246" y="773453"/>
                </a:cubicBezTo>
                <a:close/>
                <a:moveTo>
                  <a:pt x="512031" y="773453"/>
                </a:moveTo>
                <a:cubicBezTo>
                  <a:pt x="508387" y="778920"/>
                  <a:pt x="517498" y="775275"/>
                  <a:pt x="517498" y="778920"/>
                </a:cubicBezTo>
                <a:cubicBezTo>
                  <a:pt x="515676" y="777098"/>
                  <a:pt x="517498" y="775275"/>
                  <a:pt x="515676" y="773453"/>
                </a:cubicBezTo>
                <a:cubicBezTo>
                  <a:pt x="513853" y="775275"/>
                  <a:pt x="513853" y="775275"/>
                  <a:pt x="512031" y="773453"/>
                </a:cubicBezTo>
                <a:close/>
                <a:moveTo>
                  <a:pt x="282438" y="773453"/>
                </a:moveTo>
                <a:cubicBezTo>
                  <a:pt x="281526" y="775276"/>
                  <a:pt x="282438" y="776187"/>
                  <a:pt x="283804" y="777098"/>
                </a:cubicBezTo>
                <a:lnTo>
                  <a:pt x="285169" y="778312"/>
                </a:lnTo>
                <a:lnTo>
                  <a:pt x="287904" y="780742"/>
                </a:lnTo>
                <a:cubicBezTo>
                  <a:pt x="287904" y="777098"/>
                  <a:pt x="286082" y="777098"/>
                  <a:pt x="282438" y="773453"/>
                </a:cubicBezTo>
                <a:close/>
                <a:moveTo>
                  <a:pt x="244172" y="773453"/>
                </a:moveTo>
                <a:cubicBezTo>
                  <a:pt x="247816" y="777098"/>
                  <a:pt x="251460" y="777098"/>
                  <a:pt x="255105" y="778920"/>
                </a:cubicBezTo>
                <a:cubicBezTo>
                  <a:pt x="253282" y="777098"/>
                  <a:pt x="247816" y="769809"/>
                  <a:pt x="244172" y="773453"/>
                </a:cubicBezTo>
                <a:close/>
                <a:moveTo>
                  <a:pt x="1406901" y="771996"/>
                </a:moveTo>
                <a:lnTo>
                  <a:pt x="1408541" y="775275"/>
                </a:lnTo>
                <a:cubicBezTo>
                  <a:pt x="1406719" y="775275"/>
                  <a:pt x="1404896" y="773453"/>
                  <a:pt x="1403074" y="777098"/>
                </a:cubicBezTo>
                <a:cubicBezTo>
                  <a:pt x="1403074" y="776187"/>
                  <a:pt x="1404442" y="774820"/>
                  <a:pt x="1405807" y="773454"/>
                </a:cubicBezTo>
                <a:close/>
                <a:moveTo>
                  <a:pt x="3480353" y="771631"/>
                </a:moveTo>
                <a:lnTo>
                  <a:pt x="3481437" y="771812"/>
                </a:lnTo>
                <a:lnTo>
                  <a:pt x="3480093" y="772441"/>
                </a:lnTo>
                <a:close/>
                <a:moveTo>
                  <a:pt x="1211747" y="771631"/>
                </a:moveTo>
                <a:lnTo>
                  <a:pt x="1206980" y="773453"/>
                </a:lnTo>
                <a:lnTo>
                  <a:pt x="1206279" y="773453"/>
                </a:lnTo>
                <a:lnTo>
                  <a:pt x="1206152" y="773770"/>
                </a:lnTo>
                <a:lnTo>
                  <a:pt x="1196257" y="777553"/>
                </a:lnTo>
                <a:cubicBezTo>
                  <a:pt x="1191247" y="778464"/>
                  <a:pt x="1187147" y="779831"/>
                  <a:pt x="1186236" y="786208"/>
                </a:cubicBezTo>
                <a:lnTo>
                  <a:pt x="1189880" y="786208"/>
                </a:lnTo>
                <a:lnTo>
                  <a:pt x="1186017" y="790072"/>
                </a:lnTo>
                <a:lnTo>
                  <a:pt x="1181681" y="790536"/>
                </a:lnTo>
                <a:cubicBezTo>
                  <a:pt x="1179858" y="791675"/>
                  <a:pt x="1178947" y="793497"/>
                  <a:pt x="1180769" y="795319"/>
                </a:cubicBezTo>
                <a:lnTo>
                  <a:pt x="1186017" y="790072"/>
                </a:lnTo>
                <a:lnTo>
                  <a:pt x="1188058" y="789853"/>
                </a:lnTo>
                <a:cubicBezTo>
                  <a:pt x="1184414" y="788031"/>
                  <a:pt x="1191703" y="788031"/>
                  <a:pt x="1189880" y="786208"/>
                </a:cubicBezTo>
                <a:lnTo>
                  <a:pt x="1189880" y="786208"/>
                </a:lnTo>
                <a:lnTo>
                  <a:pt x="1193525" y="782564"/>
                </a:lnTo>
                <a:cubicBezTo>
                  <a:pt x="1195346" y="789853"/>
                  <a:pt x="1186236" y="795319"/>
                  <a:pt x="1180769" y="797141"/>
                </a:cubicBezTo>
                <a:lnTo>
                  <a:pt x="1185831" y="802203"/>
                </a:lnTo>
                <a:lnTo>
                  <a:pt x="1184414" y="802608"/>
                </a:lnTo>
                <a:cubicBezTo>
                  <a:pt x="1184414" y="802608"/>
                  <a:pt x="1186236" y="802608"/>
                  <a:pt x="1186236" y="802608"/>
                </a:cubicBezTo>
                <a:lnTo>
                  <a:pt x="1185831" y="802203"/>
                </a:lnTo>
                <a:lnTo>
                  <a:pt x="1190791" y="800786"/>
                </a:lnTo>
                <a:cubicBezTo>
                  <a:pt x="1193069" y="798964"/>
                  <a:pt x="1195346" y="796231"/>
                  <a:pt x="1197169" y="793497"/>
                </a:cubicBezTo>
                <a:cubicBezTo>
                  <a:pt x="1198991" y="791675"/>
                  <a:pt x="1197169" y="788031"/>
                  <a:pt x="1198991" y="786208"/>
                </a:cubicBezTo>
                <a:cubicBezTo>
                  <a:pt x="1199902" y="783475"/>
                  <a:pt x="1202180" y="781198"/>
                  <a:pt x="1204002" y="779148"/>
                </a:cubicBezTo>
                <a:lnTo>
                  <a:pt x="1206152" y="773770"/>
                </a:lnTo>
                <a:lnTo>
                  <a:pt x="1206980" y="773453"/>
                </a:lnTo>
                <a:lnTo>
                  <a:pt x="1208102" y="773453"/>
                </a:lnTo>
                <a:cubicBezTo>
                  <a:pt x="1208102" y="777098"/>
                  <a:pt x="1202636" y="782564"/>
                  <a:pt x="1200814" y="786208"/>
                </a:cubicBezTo>
                <a:cubicBezTo>
                  <a:pt x="1202636" y="788031"/>
                  <a:pt x="1202636" y="784386"/>
                  <a:pt x="1204457" y="784386"/>
                </a:cubicBezTo>
                <a:cubicBezTo>
                  <a:pt x="1206279" y="786208"/>
                  <a:pt x="1200814" y="788031"/>
                  <a:pt x="1202636" y="789853"/>
                </a:cubicBezTo>
                <a:lnTo>
                  <a:pt x="1203960" y="790350"/>
                </a:lnTo>
                <a:lnTo>
                  <a:pt x="1200814" y="793497"/>
                </a:lnTo>
                <a:cubicBezTo>
                  <a:pt x="1200814" y="793497"/>
                  <a:pt x="1202636" y="795319"/>
                  <a:pt x="1202636" y="795319"/>
                </a:cubicBezTo>
                <a:lnTo>
                  <a:pt x="1204254" y="790461"/>
                </a:lnTo>
                <a:lnTo>
                  <a:pt x="1204457" y="790537"/>
                </a:lnTo>
                <a:cubicBezTo>
                  <a:pt x="1204912" y="789853"/>
                  <a:pt x="1205368" y="788942"/>
                  <a:pt x="1206279" y="789853"/>
                </a:cubicBezTo>
                <a:cubicBezTo>
                  <a:pt x="1204457" y="791675"/>
                  <a:pt x="1206279" y="795319"/>
                  <a:pt x="1202636" y="797141"/>
                </a:cubicBezTo>
                <a:cubicBezTo>
                  <a:pt x="1211747" y="797141"/>
                  <a:pt x="1219036" y="786208"/>
                  <a:pt x="1220858" y="778920"/>
                </a:cubicBezTo>
                <a:cubicBezTo>
                  <a:pt x="1220858" y="780742"/>
                  <a:pt x="1219036" y="786208"/>
                  <a:pt x="1217213" y="789853"/>
                </a:cubicBezTo>
                <a:cubicBezTo>
                  <a:pt x="1222679" y="789853"/>
                  <a:pt x="1226323" y="788031"/>
                  <a:pt x="1228146" y="784386"/>
                </a:cubicBezTo>
                <a:cubicBezTo>
                  <a:pt x="1229969" y="789853"/>
                  <a:pt x="1219036" y="789853"/>
                  <a:pt x="1217213" y="795319"/>
                </a:cubicBezTo>
                <a:cubicBezTo>
                  <a:pt x="1222679" y="797141"/>
                  <a:pt x="1226323" y="795319"/>
                  <a:pt x="1231790" y="793497"/>
                </a:cubicBezTo>
                <a:lnTo>
                  <a:pt x="1217212" y="797142"/>
                </a:lnTo>
                <a:lnTo>
                  <a:pt x="1217213" y="797141"/>
                </a:lnTo>
                <a:lnTo>
                  <a:pt x="1217210" y="797142"/>
                </a:lnTo>
                <a:lnTo>
                  <a:pt x="1188058" y="804430"/>
                </a:lnTo>
                <a:cubicBezTo>
                  <a:pt x="1186236" y="806252"/>
                  <a:pt x="1186236" y="806252"/>
                  <a:pt x="1184414" y="808074"/>
                </a:cubicBezTo>
                <a:cubicBezTo>
                  <a:pt x="1182592" y="809897"/>
                  <a:pt x="1182592" y="806252"/>
                  <a:pt x="1184414" y="806252"/>
                </a:cubicBezTo>
                <a:lnTo>
                  <a:pt x="1175804" y="809122"/>
                </a:lnTo>
                <a:lnTo>
                  <a:pt x="1177808" y="806025"/>
                </a:lnTo>
                <a:cubicBezTo>
                  <a:pt x="1177580" y="804430"/>
                  <a:pt x="1177125" y="802608"/>
                  <a:pt x="1178947" y="800786"/>
                </a:cubicBezTo>
                <a:cubicBezTo>
                  <a:pt x="1173481" y="797141"/>
                  <a:pt x="1171658" y="798964"/>
                  <a:pt x="1168014" y="802608"/>
                </a:cubicBezTo>
                <a:cubicBezTo>
                  <a:pt x="1166192" y="802608"/>
                  <a:pt x="1162547" y="798964"/>
                  <a:pt x="1160725" y="798964"/>
                </a:cubicBezTo>
                <a:cubicBezTo>
                  <a:pt x="1160725" y="798964"/>
                  <a:pt x="1162547" y="800786"/>
                  <a:pt x="1162547" y="800786"/>
                </a:cubicBezTo>
                <a:cubicBezTo>
                  <a:pt x="1157081" y="797141"/>
                  <a:pt x="1149792" y="795319"/>
                  <a:pt x="1144326" y="795319"/>
                </a:cubicBezTo>
                <a:cubicBezTo>
                  <a:pt x="1138859" y="797141"/>
                  <a:pt x="1140681" y="806252"/>
                  <a:pt x="1146148" y="806252"/>
                </a:cubicBezTo>
                <a:cubicBezTo>
                  <a:pt x="1147970" y="808074"/>
                  <a:pt x="1147970" y="809897"/>
                  <a:pt x="1147970" y="811719"/>
                </a:cubicBezTo>
                <a:cubicBezTo>
                  <a:pt x="1153436" y="809897"/>
                  <a:pt x="1160725" y="811719"/>
                  <a:pt x="1166192" y="806252"/>
                </a:cubicBezTo>
                <a:cubicBezTo>
                  <a:pt x="1166192" y="806252"/>
                  <a:pt x="1164370" y="808074"/>
                  <a:pt x="1164370" y="811719"/>
                </a:cubicBezTo>
                <a:cubicBezTo>
                  <a:pt x="1168014" y="813541"/>
                  <a:pt x="1171658" y="806252"/>
                  <a:pt x="1175303" y="809897"/>
                </a:cubicBezTo>
                <a:lnTo>
                  <a:pt x="1175523" y="809557"/>
                </a:lnTo>
                <a:lnTo>
                  <a:pt x="1176214" y="809442"/>
                </a:lnTo>
                <a:cubicBezTo>
                  <a:pt x="1177125" y="808986"/>
                  <a:pt x="1178036" y="808986"/>
                  <a:pt x="1178947" y="811719"/>
                </a:cubicBezTo>
                <a:cubicBezTo>
                  <a:pt x="1178947" y="811719"/>
                  <a:pt x="1180769" y="809897"/>
                  <a:pt x="1180769" y="809897"/>
                </a:cubicBezTo>
                <a:cubicBezTo>
                  <a:pt x="1182592" y="811719"/>
                  <a:pt x="1182592" y="811719"/>
                  <a:pt x="1184414" y="813541"/>
                </a:cubicBezTo>
                <a:cubicBezTo>
                  <a:pt x="1175303" y="813541"/>
                  <a:pt x="1166192" y="809897"/>
                  <a:pt x="1158903" y="817185"/>
                </a:cubicBezTo>
                <a:cubicBezTo>
                  <a:pt x="1155259" y="817185"/>
                  <a:pt x="1153436" y="815363"/>
                  <a:pt x="1149792" y="817185"/>
                </a:cubicBezTo>
                <a:cubicBezTo>
                  <a:pt x="1149792" y="820830"/>
                  <a:pt x="1147970" y="822652"/>
                  <a:pt x="1147970" y="826296"/>
                </a:cubicBezTo>
                <a:cubicBezTo>
                  <a:pt x="1155259" y="829941"/>
                  <a:pt x="1164370" y="820830"/>
                  <a:pt x="1175303" y="819008"/>
                </a:cubicBezTo>
                <a:lnTo>
                  <a:pt x="1219034" y="808074"/>
                </a:lnTo>
                <a:lnTo>
                  <a:pt x="1220858" y="809897"/>
                </a:lnTo>
                <a:cubicBezTo>
                  <a:pt x="1224501" y="808074"/>
                  <a:pt x="1231790" y="808074"/>
                  <a:pt x="1228146" y="804430"/>
                </a:cubicBezTo>
                <a:cubicBezTo>
                  <a:pt x="1235434" y="809897"/>
                  <a:pt x="1251834" y="806252"/>
                  <a:pt x="1264589" y="806252"/>
                </a:cubicBezTo>
                <a:cubicBezTo>
                  <a:pt x="1262767" y="804430"/>
                  <a:pt x="1264589" y="804430"/>
                  <a:pt x="1262767" y="802608"/>
                </a:cubicBezTo>
                <a:cubicBezTo>
                  <a:pt x="1264589" y="802608"/>
                  <a:pt x="1266411" y="808074"/>
                  <a:pt x="1270056" y="809897"/>
                </a:cubicBezTo>
                <a:cubicBezTo>
                  <a:pt x="1270056" y="802608"/>
                  <a:pt x="1268233" y="793497"/>
                  <a:pt x="1266411" y="786208"/>
                </a:cubicBezTo>
                <a:cubicBezTo>
                  <a:pt x="1262767" y="784386"/>
                  <a:pt x="1259123" y="782564"/>
                  <a:pt x="1255478" y="784386"/>
                </a:cubicBezTo>
                <a:cubicBezTo>
                  <a:pt x="1248189" y="778920"/>
                  <a:pt x="1240901" y="775275"/>
                  <a:pt x="1233612" y="775275"/>
                </a:cubicBezTo>
                <a:cubicBezTo>
                  <a:pt x="1231790" y="777098"/>
                  <a:pt x="1235434" y="777098"/>
                  <a:pt x="1235434" y="778920"/>
                </a:cubicBezTo>
                <a:cubicBezTo>
                  <a:pt x="1233612" y="780742"/>
                  <a:pt x="1231790" y="777098"/>
                  <a:pt x="1229969" y="775275"/>
                </a:cubicBezTo>
                <a:cubicBezTo>
                  <a:pt x="1228146" y="775275"/>
                  <a:pt x="1226323" y="775275"/>
                  <a:pt x="1224501" y="777098"/>
                </a:cubicBezTo>
                <a:cubicBezTo>
                  <a:pt x="1222679" y="771631"/>
                  <a:pt x="1215390" y="773453"/>
                  <a:pt x="1211747" y="771631"/>
                </a:cubicBezTo>
                <a:close/>
                <a:moveTo>
                  <a:pt x="925666" y="771631"/>
                </a:moveTo>
                <a:cubicBezTo>
                  <a:pt x="920198" y="777098"/>
                  <a:pt x="914732" y="778920"/>
                  <a:pt x="909265" y="786208"/>
                </a:cubicBezTo>
                <a:lnTo>
                  <a:pt x="912909" y="787770"/>
                </a:lnTo>
                <a:lnTo>
                  <a:pt x="922020" y="791675"/>
                </a:lnTo>
                <a:cubicBezTo>
                  <a:pt x="922020" y="789853"/>
                  <a:pt x="923843" y="789853"/>
                  <a:pt x="925666" y="788031"/>
                </a:cubicBezTo>
                <a:cubicBezTo>
                  <a:pt x="925666" y="791675"/>
                  <a:pt x="922020" y="793497"/>
                  <a:pt x="922020" y="797141"/>
                </a:cubicBezTo>
                <a:cubicBezTo>
                  <a:pt x="936598" y="788031"/>
                  <a:pt x="927487" y="778920"/>
                  <a:pt x="925666" y="771631"/>
                </a:cubicBezTo>
                <a:close/>
                <a:moveTo>
                  <a:pt x="823623" y="771631"/>
                </a:moveTo>
                <a:cubicBezTo>
                  <a:pt x="825445" y="773453"/>
                  <a:pt x="821801" y="775275"/>
                  <a:pt x="823623" y="777098"/>
                </a:cubicBezTo>
                <a:cubicBezTo>
                  <a:pt x="825445" y="777098"/>
                  <a:pt x="821801" y="775275"/>
                  <a:pt x="825445" y="773453"/>
                </a:cubicBezTo>
                <a:cubicBezTo>
                  <a:pt x="825445" y="773453"/>
                  <a:pt x="823623" y="771631"/>
                  <a:pt x="823623" y="771631"/>
                </a:cubicBezTo>
                <a:close/>
                <a:moveTo>
                  <a:pt x="810868" y="771631"/>
                </a:moveTo>
                <a:cubicBezTo>
                  <a:pt x="809046" y="775275"/>
                  <a:pt x="816334" y="777098"/>
                  <a:pt x="818156" y="775275"/>
                </a:cubicBezTo>
                <a:cubicBezTo>
                  <a:pt x="816334" y="775275"/>
                  <a:pt x="812690" y="775275"/>
                  <a:pt x="810868" y="771631"/>
                </a:cubicBezTo>
                <a:close/>
                <a:moveTo>
                  <a:pt x="772602" y="771631"/>
                </a:moveTo>
                <a:lnTo>
                  <a:pt x="771623" y="774242"/>
                </a:lnTo>
                <a:lnTo>
                  <a:pt x="768959" y="777098"/>
                </a:lnTo>
                <a:lnTo>
                  <a:pt x="770553" y="777098"/>
                </a:lnTo>
                <a:lnTo>
                  <a:pt x="767136" y="786208"/>
                </a:lnTo>
                <a:cubicBezTo>
                  <a:pt x="770781" y="782564"/>
                  <a:pt x="774424" y="778920"/>
                  <a:pt x="779892" y="777098"/>
                </a:cubicBezTo>
                <a:lnTo>
                  <a:pt x="770553" y="777098"/>
                </a:lnTo>
                <a:lnTo>
                  <a:pt x="771623" y="774242"/>
                </a:lnTo>
                <a:lnTo>
                  <a:pt x="772146" y="773681"/>
                </a:lnTo>
                <a:cubicBezTo>
                  <a:pt x="773057" y="772998"/>
                  <a:pt x="773513" y="772542"/>
                  <a:pt x="772602" y="771631"/>
                </a:cubicBezTo>
                <a:close/>
                <a:moveTo>
                  <a:pt x="748914" y="771631"/>
                </a:moveTo>
                <a:cubicBezTo>
                  <a:pt x="747092" y="771631"/>
                  <a:pt x="745269" y="771631"/>
                  <a:pt x="743447" y="773453"/>
                </a:cubicBezTo>
                <a:cubicBezTo>
                  <a:pt x="747092" y="778920"/>
                  <a:pt x="748914" y="773453"/>
                  <a:pt x="748914" y="771631"/>
                </a:cubicBezTo>
                <a:close/>
                <a:moveTo>
                  <a:pt x="677849" y="771631"/>
                </a:moveTo>
                <a:cubicBezTo>
                  <a:pt x="674205" y="771631"/>
                  <a:pt x="677849" y="775275"/>
                  <a:pt x="679671" y="775275"/>
                </a:cubicBezTo>
                <a:cubicBezTo>
                  <a:pt x="683316" y="773453"/>
                  <a:pt x="677849" y="771631"/>
                  <a:pt x="677849" y="771631"/>
                </a:cubicBezTo>
                <a:close/>
                <a:moveTo>
                  <a:pt x="482876" y="771631"/>
                </a:moveTo>
                <a:cubicBezTo>
                  <a:pt x="484700" y="771631"/>
                  <a:pt x="477410" y="775275"/>
                  <a:pt x="484700" y="777098"/>
                </a:cubicBezTo>
                <a:cubicBezTo>
                  <a:pt x="481054" y="777098"/>
                  <a:pt x="488343" y="771631"/>
                  <a:pt x="482876" y="771631"/>
                </a:cubicBezTo>
                <a:close/>
                <a:moveTo>
                  <a:pt x="411812" y="771631"/>
                </a:moveTo>
                <a:cubicBezTo>
                  <a:pt x="411812" y="773453"/>
                  <a:pt x="411812" y="775275"/>
                  <a:pt x="413634" y="777098"/>
                </a:cubicBezTo>
                <a:cubicBezTo>
                  <a:pt x="417278" y="777098"/>
                  <a:pt x="411812" y="773453"/>
                  <a:pt x="411812" y="771631"/>
                </a:cubicBezTo>
                <a:close/>
                <a:moveTo>
                  <a:pt x="238705" y="771631"/>
                </a:moveTo>
                <a:cubicBezTo>
                  <a:pt x="236883" y="778920"/>
                  <a:pt x="247816" y="778920"/>
                  <a:pt x="251460" y="784386"/>
                </a:cubicBezTo>
                <a:cubicBezTo>
                  <a:pt x="249638" y="778920"/>
                  <a:pt x="242349" y="775275"/>
                  <a:pt x="238705" y="771631"/>
                </a:cubicBezTo>
                <a:close/>
                <a:moveTo>
                  <a:pt x="222306" y="771631"/>
                </a:moveTo>
                <a:cubicBezTo>
                  <a:pt x="220483" y="773453"/>
                  <a:pt x="227772" y="777098"/>
                  <a:pt x="229594" y="778920"/>
                </a:cubicBezTo>
                <a:cubicBezTo>
                  <a:pt x="229594" y="775275"/>
                  <a:pt x="224128" y="773453"/>
                  <a:pt x="222306" y="771631"/>
                </a:cubicBezTo>
                <a:close/>
                <a:moveTo>
                  <a:pt x="1470470" y="771533"/>
                </a:moveTo>
                <a:lnTo>
                  <a:pt x="1470495" y="771631"/>
                </a:lnTo>
                <a:cubicBezTo>
                  <a:pt x="1469584" y="772542"/>
                  <a:pt x="1468217" y="774365"/>
                  <a:pt x="1466850" y="775731"/>
                </a:cubicBezTo>
                <a:lnTo>
                  <a:pt x="1465031" y="776414"/>
                </a:lnTo>
                <a:lnTo>
                  <a:pt x="1468673" y="772998"/>
                </a:lnTo>
                <a:close/>
                <a:moveTo>
                  <a:pt x="1408168" y="770306"/>
                </a:moveTo>
                <a:lnTo>
                  <a:pt x="1406901" y="771996"/>
                </a:lnTo>
                <a:lnTo>
                  <a:pt x="1406719" y="771631"/>
                </a:lnTo>
                <a:close/>
                <a:moveTo>
                  <a:pt x="3644348" y="769809"/>
                </a:moveTo>
                <a:cubicBezTo>
                  <a:pt x="3647993" y="775275"/>
                  <a:pt x="3657103" y="777098"/>
                  <a:pt x="3658926" y="784386"/>
                </a:cubicBezTo>
                <a:cubicBezTo>
                  <a:pt x="3647993" y="784386"/>
                  <a:pt x="3649815" y="788031"/>
                  <a:pt x="3644348" y="778920"/>
                </a:cubicBezTo>
                <a:cubicBezTo>
                  <a:pt x="3644348" y="780742"/>
                  <a:pt x="3642982" y="780742"/>
                  <a:pt x="3641615" y="780515"/>
                </a:cubicBezTo>
                <a:lnTo>
                  <a:pt x="3639591" y="780683"/>
                </a:lnTo>
                <a:close/>
                <a:moveTo>
                  <a:pt x="2656730" y="769809"/>
                </a:moveTo>
                <a:cubicBezTo>
                  <a:pt x="2653086" y="771631"/>
                  <a:pt x="2656730" y="775275"/>
                  <a:pt x="2658552" y="777098"/>
                </a:cubicBezTo>
                <a:cubicBezTo>
                  <a:pt x="2662197" y="775275"/>
                  <a:pt x="2658552" y="769809"/>
                  <a:pt x="2656730" y="769809"/>
                </a:cubicBezTo>
                <a:close/>
                <a:moveTo>
                  <a:pt x="1384854" y="769809"/>
                </a:moveTo>
                <a:cubicBezTo>
                  <a:pt x="1384854" y="767987"/>
                  <a:pt x="1381208" y="771631"/>
                  <a:pt x="1379386" y="773453"/>
                </a:cubicBezTo>
                <a:cubicBezTo>
                  <a:pt x="1379386" y="773453"/>
                  <a:pt x="1379386" y="771631"/>
                  <a:pt x="1379386" y="771631"/>
                </a:cubicBezTo>
                <a:cubicBezTo>
                  <a:pt x="1379386" y="769809"/>
                  <a:pt x="1375743" y="773453"/>
                  <a:pt x="1377564" y="775275"/>
                </a:cubicBezTo>
                <a:cubicBezTo>
                  <a:pt x="1377564" y="775275"/>
                  <a:pt x="1379386" y="773453"/>
                  <a:pt x="1379386" y="773453"/>
                </a:cubicBezTo>
                <a:cubicBezTo>
                  <a:pt x="1379386" y="773453"/>
                  <a:pt x="1381208" y="775275"/>
                  <a:pt x="1381208" y="775275"/>
                </a:cubicBezTo>
                <a:cubicBezTo>
                  <a:pt x="1384854" y="773453"/>
                  <a:pt x="1383030" y="771631"/>
                  <a:pt x="1384854" y="769809"/>
                </a:cubicBezTo>
                <a:close/>
                <a:moveTo>
                  <a:pt x="1259123" y="769809"/>
                </a:moveTo>
                <a:cubicBezTo>
                  <a:pt x="1259123" y="769809"/>
                  <a:pt x="1257300" y="771631"/>
                  <a:pt x="1257300" y="771631"/>
                </a:cubicBezTo>
                <a:cubicBezTo>
                  <a:pt x="1259123" y="773453"/>
                  <a:pt x="1264589" y="771631"/>
                  <a:pt x="1259123" y="769809"/>
                </a:cubicBezTo>
                <a:close/>
                <a:moveTo>
                  <a:pt x="963930" y="769809"/>
                </a:moveTo>
                <a:cubicBezTo>
                  <a:pt x="947531" y="777098"/>
                  <a:pt x="942064" y="793497"/>
                  <a:pt x="929309" y="806252"/>
                </a:cubicBezTo>
                <a:lnTo>
                  <a:pt x="931131" y="806252"/>
                </a:lnTo>
                <a:cubicBezTo>
                  <a:pt x="929309" y="808074"/>
                  <a:pt x="927487" y="809897"/>
                  <a:pt x="925666" y="811719"/>
                </a:cubicBezTo>
                <a:cubicBezTo>
                  <a:pt x="929309" y="811719"/>
                  <a:pt x="932953" y="811719"/>
                  <a:pt x="932953" y="808074"/>
                </a:cubicBezTo>
                <a:cubicBezTo>
                  <a:pt x="932953" y="808074"/>
                  <a:pt x="931131" y="806252"/>
                  <a:pt x="931131" y="804430"/>
                </a:cubicBezTo>
                <a:cubicBezTo>
                  <a:pt x="931131" y="804430"/>
                  <a:pt x="932953" y="802608"/>
                  <a:pt x="932953" y="802608"/>
                </a:cubicBezTo>
                <a:cubicBezTo>
                  <a:pt x="945709" y="800786"/>
                  <a:pt x="967575" y="791675"/>
                  <a:pt x="958464" y="775275"/>
                </a:cubicBezTo>
                <a:cubicBezTo>
                  <a:pt x="960286" y="773453"/>
                  <a:pt x="962108" y="771631"/>
                  <a:pt x="963930" y="769809"/>
                </a:cubicBezTo>
                <a:close/>
                <a:moveTo>
                  <a:pt x="758025" y="769809"/>
                </a:moveTo>
                <a:cubicBezTo>
                  <a:pt x="750737" y="773453"/>
                  <a:pt x="754380" y="780742"/>
                  <a:pt x="758025" y="780742"/>
                </a:cubicBezTo>
                <a:cubicBezTo>
                  <a:pt x="752558" y="778920"/>
                  <a:pt x="763491" y="775275"/>
                  <a:pt x="758025" y="769809"/>
                </a:cubicBezTo>
                <a:close/>
                <a:moveTo>
                  <a:pt x="619539" y="769809"/>
                </a:moveTo>
                <a:cubicBezTo>
                  <a:pt x="614074" y="777098"/>
                  <a:pt x="619539" y="777098"/>
                  <a:pt x="623185" y="784386"/>
                </a:cubicBezTo>
                <a:cubicBezTo>
                  <a:pt x="628650" y="778920"/>
                  <a:pt x="623185" y="775275"/>
                  <a:pt x="619539" y="769809"/>
                </a:cubicBezTo>
                <a:close/>
                <a:moveTo>
                  <a:pt x="572163" y="769809"/>
                </a:moveTo>
                <a:cubicBezTo>
                  <a:pt x="566697" y="771631"/>
                  <a:pt x="566697" y="773453"/>
                  <a:pt x="572163" y="773453"/>
                </a:cubicBezTo>
                <a:cubicBezTo>
                  <a:pt x="575808" y="773453"/>
                  <a:pt x="570341" y="771631"/>
                  <a:pt x="572163" y="769809"/>
                </a:cubicBezTo>
                <a:close/>
                <a:moveTo>
                  <a:pt x="553941" y="769809"/>
                </a:moveTo>
                <a:cubicBezTo>
                  <a:pt x="528431" y="767987"/>
                  <a:pt x="539364" y="780742"/>
                  <a:pt x="553941" y="769809"/>
                </a:cubicBezTo>
                <a:close/>
                <a:moveTo>
                  <a:pt x="404523" y="769809"/>
                </a:moveTo>
                <a:cubicBezTo>
                  <a:pt x="402701" y="775275"/>
                  <a:pt x="408167" y="778920"/>
                  <a:pt x="411812" y="780742"/>
                </a:cubicBezTo>
                <a:cubicBezTo>
                  <a:pt x="413634" y="778920"/>
                  <a:pt x="406345" y="773453"/>
                  <a:pt x="404523" y="769809"/>
                </a:cubicBezTo>
                <a:close/>
                <a:moveTo>
                  <a:pt x="149419" y="769809"/>
                </a:moveTo>
                <a:cubicBezTo>
                  <a:pt x="147596" y="769809"/>
                  <a:pt x="154885" y="775275"/>
                  <a:pt x="156707" y="771631"/>
                </a:cubicBezTo>
                <a:cubicBezTo>
                  <a:pt x="154885" y="769809"/>
                  <a:pt x="151241" y="767987"/>
                  <a:pt x="149419" y="769809"/>
                </a:cubicBezTo>
                <a:close/>
                <a:moveTo>
                  <a:pt x="1144325" y="768670"/>
                </a:moveTo>
                <a:cubicBezTo>
                  <a:pt x="1142503" y="768442"/>
                  <a:pt x="1140681" y="768898"/>
                  <a:pt x="1138859" y="771631"/>
                </a:cubicBezTo>
                <a:cubicBezTo>
                  <a:pt x="1142503" y="773453"/>
                  <a:pt x="1146148" y="771631"/>
                  <a:pt x="1149792" y="769809"/>
                </a:cubicBezTo>
                <a:cubicBezTo>
                  <a:pt x="1147970" y="769809"/>
                  <a:pt x="1146148" y="768898"/>
                  <a:pt x="1144325" y="768670"/>
                </a:cubicBezTo>
                <a:close/>
                <a:moveTo>
                  <a:pt x="1355698" y="767987"/>
                </a:moveTo>
                <a:cubicBezTo>
                  <a:pt x="1353876" y="767987"/>
                  <a:pt x="1353876" y="769809"/>
                  <a:pt x="1353876" y="771631"/>
                </a:cubicBezTo>
                <a:cubicBezTo>
                  <a:pt x="1353876" y="773453"/>
                  <a:pt x="1357521" y="767987"/>
                  <a:pt x="1355698" y="767987"/>
                </a:cubicBezTo>
                <a:close/>
                <a:moveTo>
                  <a:pt x="925666" y="767987"/>
                </a:moveTo>
                <a:cubicBezTo>
                  <a:pt x="920198" y="769809"/>
                  <a:pt x="918376" y="777098"/>
                  <a:pt x="914732" y="777098"/>
                </a:cubicBezTo>
                <a:cubicBezTo>
                  <a:pt x="918376" y="780742"/>
                  <a:pt x="923843" y="771631"/>
                  <a:pt x="925666" y="767987"/>
                </a:cubicBezTo>
                <a:close/>
                <a:moveTo>
                  <a:pt x="799935" y="767987"/>
                </a:moveTo>
                <a:cubicBezTo>
                  <a:pt x="799935" y="767987"/>
                  <a:pt x="798112" y="769809"/>
                  <a:pt x="798112" y="769809"/>
                </a:cubicBezTo>
                <a:cubicBezTo>
                  <a:pt x="801757" y="773453"/>
                  <a:pt x="801757" y="773453"/>
                  <a:pt x="805401" y="775275"/>
                </a:cubicBezTo>
                <a:cubicBezTo>
                  <a:pt x="805401" y="773453"/>
                  <a:pt x="803579" y="769809"/>
                  <a:pt x="799935" y="767987"/>
                </a:cubicBezTo>
                <a:close/>
                <a:moveTo>
                  <a:pt x="739803" y="767987"/>
                </a:moveTo>
                <a:cubicBezTo>
                  <a:pt x="739803" y="767987"/>
                  <a:pt x="741626" y="775275"/>
                  <a:pt x="747092" y="769809"/>
                </a:cubicBezTo>
                <a:cubicBezTo>
                  <a:pt x="745269" y="767987"/>
                  <a:pt x="741626" y="769809"/>
                  <a:pt x="739803" y="767987"/>
                </a:cubicBezTo>
                <a:close/>
                <a:moveTo>
                  <a:pt x="501098" y="767987"/>
                </a:moveTo>
                <a:cubicBezTo>
                  <a:pt x="497454" y="780742"/>
                  <a:pt x="510209" y="780742"/>
                  <a:pt x="510209" y="789853"/>
                </a:cubicBezTo>
                <a:cubicBezTo>
                  <a:pt x="512031" y="788031"/>
                  <a:pt x="512031" y="788031"/>
                  <a:pt x="512031" y="784386"/>
                </a:cubicBezTo>
                <a:lnTo>
                  <a:pt x="517801" y="797369"/>
                </a:lnTo>
                <a:lnTo>
                  <a:pt x="517498" y="797141"/>
                </a:lnTo>
                <a:lnTo>
                  <a:pt x="518314" y="798522"/>
                </a:lnTo>
                <a:lnTo>
                  <a:pt x="526609" y="817185"/>
                </a:lnTo>
                <a:cubicBezTo>
                  <a:pt x="526609" y="813541"/>
                  <a:pt x="525242" y="810353"/>
                  <a:pt x="523420" y="807164"/>
                </a:cubicBezTo>
                <a:lnTo>
                  <a:pt x="518314" y="798522"/>
                </a:lnTo>
                <a:lnTo>
                  <a:pt x="517801" y="797369"/>
                </a:lnTo>
                <a:lnTo>
                  <a:pt x="524786" y="802608"/>
                </a:lnTo>
                <a:cubicBezTo>
                  <a:pt x="528431" y="795319"/>
                  <a:pt x="517498" y="797141"/>
                  <a:pt x="517498" y="791675"/>
                </a:cubicBezTo>
                <a:cubicBezTo>
                  <a:pt x="519320" y="793497"/>
                  <a:pt x="522964" y="793497"/>
                  <a:pt x="524786" y="793497"/>
                </a:cubicBezTo>
                <a:cubicBezTo>
                  <a:pt x="515676" y="784386"/>
                  <a:pt x="510209" y="775275"/>
                  <a:pt x="501098" y="767987"/>
                </a:cubicBezTo>
                <a:close/>
                <a:moveTo>
                  <a:pt x="422745" y="767987"/>
                </a:moveTo>
                <a:cubicBezTo>
                  <a:pt x="419100" y="767987"/>
                  <a:pt x="419100" y="767987"/>
                  <a:pt x="419100" y="769809"/>
                </a:cubicBezTo>
                <a:cubicBezTo>
                  <a:pt x="419100" y="771631"/>
                  <a:pt x="420923" y="771631"/>
                  <a:pt x="422745" y="773453"/>
                </a:cubicBezTo>
                <a:cubicBezTo>
                  <a:pt x="424567" y="771631"/>
                  <a:pt x="422745" y="769809"/>
                  <a:pt x="422745" y="767987"/>
                </a:cubicBezTo>
                <a:close/>
                <a:moveTo>
                  <a:pt x="3205204" y="766164"/>
                </a:moveTo>
                <a:cubicBezTo>
                  <a:pt x="3192449" y="764342"/>
                  <a:pt x="3197916" y="777098"/>
                  <a:pt x="3196093" y="780742"/>
                </a:cubicBezTo>
                <a:cubicBezTo>
                  <a:pt x="3197916" y="777098"/>
                  <a:pt x="3203382" y="777098"/>
                  <a:pt x="3207027" y="775275"/>
                </a:cubicBezTo>
                <a:cubicBezTo>
                  <a:pt x="3208849" y="769809"/>
                  <a:pt x="3203382" y="771631"/>
                  <a:pt x="3205204" y="766164"/>
                </a:cubicBezTo>
                <a:close/>
                <a:moveTo>
                  <a:pt x="1155259" y="766164"/>
                </a:moveTo>
                <a:cubicBezTo>
                  <a:pt x="1155259" y="766164"/>
                  <a:pt x="1155259" y="767987"/>
                  <a:pt x="1153436" y="767987"/>
                </a:cubicBezTo>
                <a:cubicBezTo>
                  <a:pt x="1155259" y="767987"/>
                  <a:pt x="1157081" y="769809"/>
                  <a:pt x="1158903" y="767987"/>
                </a:cubicBezTo>
                <a:cubicBezTo>
                  <a:pt x="1157081" y="766164"/>
                  <a:pt x="1157081" y="767987"/>
                  <a:pt x="1155259" y="766164"/>
                </a:cubicBezTo>
                <a:close/>
                <a:moveTo>
                  <a:pt x="1004018" y="766164"/>
                </a:moveTo>
                <a:cubicBezTo>
                  <a:pt x="996729" y="771631"/>
                  <a:pt x="991263" y="775275"/>
                  <a:pt x="989441" y="782564"/>
                </a:cubicBezTo>
                <a:cubicBezTo>
                  <a:pt x="998552" y="782564"/>
                  <a:pt x="1000374" y="775275"/>
                  <a:pt x="1004018" y="766164"/>
                </a:cubicBezTo>
                <a:close/>
                <a:moveTo>
                  <a:pt x="732515" y="766164"/>
                </a:moveTo>
                <a:cubicBezTo>
                  <a:pt x="730692" y="771631"/>
                  <a:pt x="732515" y="775275"/>
                  <a:pt x="734336" y="780742"/>
                </a:cubicBezTo>
                <a:cubicBezTo>
                  <a:pt x="741626" y="773453"/>
                  <a:pt x="737981" y="769809"/>
                  <a:pt x="732515" y="766164"/>
                </a:cubicBezTo>
                <a:close/>
                <a:moveTo>
                  <a:pt x="723404" y="766164"/>
                </a:moveTo>
                <a:cubicBezTo>
                  <a:pt x="727048" y="771631"/>
                  <a:pt x="725226" y="777098"/>
                  <a:pt x="730692" y="782564"/>
                </a:cubicBezTo>
                <a:cubicBezTo>
                  <a:pt x="730692" y="777098"/>
                  <a:pt x="732515" y="764342"/>
                  <a:pt x="723404" y="766164"/>
                </a:cubicBezTo>
                <a:close/>
                <a:moveTo>
                  <a:pt x="577630" y="766164"/>
                </a:moveTo>
                <a:cubicBezTo>
                  <a:pt x="579452" y="766164"/>
                  <a:pt x="579452" y="766164"/>
                  <a:pt x="581274" y="767987"/>
                </a:cubicBezTo>
                <a:lnTo>
                  <a:pt x="581780" y="771145"/>
                </a:lnTo>
                <a:close/>
                <a:moveTo>
                  <a:pt x="577630" y="766164"/>
                </a:moveTo>
                <a:cubicBezTo>
                  <a:pt x="575808" y="767987"/>
                  <a:pt x="577630" y="769809"/>
                  <a:pt x="577630" y="769809"/>
                </a:cubicBezTo>
                <a:cubicBezTo>
                  <a:pt x="580362" y="772542"/>
                  <a:pt x="581729" y="773909"/>
                  <a:pt x="582185" y="773681"/>
                </a:cubicBezTo>
                <a:lnTo>
                  <a:pt x="581780" y="771145"/>
                </a:lnTo>
                <a:lnTo>
                  <a:pt x="586741" y="777098"/>
                </a:lnTo>
                <a:cubicBezTo>
                  <a:pt x="588562" y="775275"/>
                  <a:pt x="588562" y="775275"/>
                  <a:pt x="588562" y="775275"/>
                </a:cubicBezTo>
                <a:cubicBezTo>
                  <a:pt x="588562" y="784386"/>
                  <a:pt x="595852" y="795319"/>
                  <a:pt x="601318" y="789853"/>
                </a:cubicBezTo>
                <a:cubicBezTo>
                  <a:pt x="606784" y="788031"/>
                  <a:pt x="599496" y="780742"/>
                  <a:pt x="597673" y="775275"/>
                </a:cubicBezTo>
                <a:cubicBezTo>
                  <a:pt x="595852" y="775275"/>
                  <a:pt x="597673" y="777098"/>
                  <a:pt x="595852" y="778920"/>
                </a:cubicBezTo>
                <a:cubicBezTo>
                  <a:pt x="594030" y="769809"/>
                  <a:pt x="586741" y="758876"/>
                  <a:pt x="577630" y="766164"/>
                </a:cubicBezTo>
                <a:close/>
                <a:moveTo>
                  <a:pt x="486521" y="766164"/>
                </a:moveTo>
                <a:cubicBezTo>
                  <a:pt x="486521" y="771631"/>
                  <a:pt x="491987" y="775275"/>
                  <a:pt x="495632" y="778920"/>
                </a:cubicBezTo>
                <a:cubicBezTo>
                  <a:pt x="499276" y="775275"/>
                  <a:pt x="490165" y="767987"/>
                  <a:pt x="486521" y="766164"/>
                </a:cubicBezTo>
                <a:close/>
                <a:moveTo>
                  <a:pt x="326169" y="766164"/>
                </a:moveTo>
                <a:cubicBezTo>
                  <a:pt x="320703" y="764342"/>
                  <a:pt x="320703" y="771631"/>
                  <a:pt x="324347" y="777098"/>
                </a:cubicBezTo>
                <a:cubicBezTo>
                  <a:pt x="326169" y="777098"/>
                  <a:pt x="324347" y="775275"/>
                  <a:pt x="326169" y="775275"/>
                </a:cubicBezTo>
                <a:cubicBezTo>
                  <a:pt x="324347" y="780742"/>
                  <a:pt x="333458" y="782564"/>
                  <a:pt x="333458" y="786208"/>
                </a:cubicBezTo>
                <a:cubicBezTo>
                  <a:pt x="333458" y="778920"/>
                  <a:pt x="337102" y="762520"/>
                  <a:pt x="326169" y="766164"/>
                </a:cubicBezTo>
                <a:close/>
                <a:moveTo>
                  <a:pt x="313414" y="766164"/>
                </a:moveTo>
                <a:cubicBezTo>
                  <a:pt x="309771" y="769809"/>
                  <a:pt x="317059" y="777098"/>
                  <a:pt x="318882" y="778920"/>
                </a:cubicBezTo>
                <a:cubicBezTo>
                  <a:pt x="320703" y="777098"/>
                  <a:pt x="313414" y="769809"/>
                  <a:pt x="313414" y="766164"/>
                </a:cubicBezTo>
                <a:close/>
                <a:moveTo>
                  <a:pt x="300660" y="766164"/>
                </a:moveTo>
                <a:cubicBezTo>
                  <a:pt x="302481" y="769809"/>
                  <a:pt x="309771" y="778920"/>
                  <a:pt x="315236" y="782564"/>
                </a:cubicBezTo>
                <a:cubicBezTo>
                  <a:pt x="313414" y="777098"/>
                  <a:pt x="304303" y="769809"/>
                  <a:pt x="300660" y="766164"/>
                </a:cubicBezTo>
                <a:close/>
                <a:moveTo>
                  <a:pt x="286082" y="766164"/>
                </a:moveTo>
                <a:cubicBezTo>
                  <a:pt x="286082" y="775275"/>
                  <a:pt x="291549" y="788031"/>
                  <a:pt x="302481" y="788031"/>
                </a:cubicBezTo>
                <a:cubicBezTo>
                  <a:pt x="298837" y="780742"/>
                  <a:pt x="291549" y="773453"/>
                  <a:pt x="286082" y="766164"/>
                </a:cubicBezTo>
                <a:close/>
                <a:moveTo>
                  <a:pt x="240527" y="766164"/>
                </a:moveTo>
                <a:cubicBezTo>
                  <a:pt x="240527" y="766164"/>
                  <a:pt x="238705" y="767987"/>
                  <a:pt x="242349" y="771631"/>
                </a:cubicBezTo>
                <a:cubicBezTo>
                  <a:pt x="240527" y="769809"/>
                  <a:pt x="238705" y="767987"/>
                  <a:pt x="236883" y="767987"/>
                </a:cubicBezTo>
                <a:cubicBezTo>
                  <a:pt x="236883" y="766164"/>
                  <a:pt x="240527" y="766164"/>
                  <a:pt x="240527" y="766164"/>
                </a:cubicBezTo>
                <a:close/>
                <a:moveTo>
                  <a:pt x="227772" y="766164"/>
                </a:moveTo>
                <a:cubicBezTo>
                  <a:pt x="229594" y="769809"/>
                  <a:pt x="231416" y="775275"/>
                  <a:pt x="233239" y="771631"/>
                </a:cubicBezTo>
                <a:cubicBezTo>
                  <a:pt x="233239" y="767987"/>
                  <a:pt x="229594" y="767987"/>
                  <a:pt x="227772" y="766164"/>
                </a:cubicBezTo>
                <a:close/>
                <a:moveTo>
                  <a:pt x="342399" y="765738"/>
                </a:moveTo>
                <a:cubicBezTo>
                  <a:pt x="340634" y="765596"/>
                  <a:pt x="339381" y="766165"/>
                  <a:pt x="338926" y="767987"/>
                </a:cubicBezTo>
                <a:cubicBezTo>
                  <a:pt x="336191" y="773454"/>
                  <a:pt x="338470" y="780287"/>
                  <a:pt x="343252" y="786209"/>
                </a:cubicBezTo>
                <a:lnTo>
                  <a:pt x="351537" y="791667"/>
                </a:lnTo>
                <a:lnTo>
                  <a:pt x="353957" y="794181"/>
                </a:lnTo>
                <a:cubicBezTo>
                  <a:pt x="356692" y="795775"/>
                  <a:pt x="359879" y="797142"/>
                  <a:pt x="362613" y="798964"/>
                </a:cubicBezTo>
                <a:lnTo>
                  <a:pt x="351537" y="791667"/>
                </a:lnTo>
                <a:lnTo>
                  <a:pt x="348037" y="788031"/>
                </a:lnTo>
                <a:cubicBezTo>
                  <a:pt x="348037" y="788031"/>
                  <a:pt x="349858" y="786208"/>
                  <a:pt x="351680" y="786208"/>
                </a:cubicBezTo>
                <a:cubicBezTo>
                  <a:pt x="346213" y="784386"/>
                  <a:pt x="342569" y="778920"/>
                  <a:pt x="340747" y="775275"/>
                </a:cubicBezTo>
                <a:cubicBezTo>
                  <a:pt x="346213" y="778009"/>
                  <a:pt x="349858" y="783475"/>
                  <a:pt x="354185" y="788486"/>
                </a:cubicBezTo>
                <a:lnTo>
                  <a:pt x="359184" y="791473"/>
                </a:lnTo>
                <a:lnTo>
                  <a:pt x="359196" y="791675"/>
                </a:lnTo>
                <a:lnTo>
                  <a:pt x="361598" y="792915"/>
                </a:lnTo>
                <a:lnTo>
                  <a:pt x="371724" y="798964"/>
                </a:lnTo>
                <a:cubicBezTo>
                  <a:pt x="369902" y="795319"/>
                  <a:pt x="368079" y="797141"/>
                  <a:pt x="366257" y="795319"/>
                </a:cubicBezTo>
                <a:cubicBezTo>
                  <a:pt x="368079" y="797141"/>
                  <a:pt x="373546" y="798964"/>
                  <a:pt x="377190" y="798964"/>
                </a:cubicBezTo>
                <a:cubicBezTo>
                  <a:pt x="373546" y="795319"/>
                  <a:pt x="371724" y="793497"/>
                  <a:pt x="364435" y="793497"/>
                </a:cubicBezTo>
                <a:lnTo>
                  <a:pt x="366257" y="795319"/>
                </a:lnTo>
                <a:lnTo>
                  <a:pt x="361598" y="792915"/>
                </a:lnTo>
                <a:lnTo>
                  <a:pt x="359184" y="791473"/>
                </a:lnTo>
                <a:lnTo>
                  <a:pt x="358969" y="788031"/>
                </a:lnTo>
                <a:cubicBezTo>
                  <a:pt x="364435" y="782564"/>
                  <a:pt x="371724" y="795319"/>
                  <a:pt x="380835" y="797141"/>
                </a:cubicBezTo>
                <a:cubicBezTo>
                  <a:pt x="380835" y="793497"/>
                  <a:pt x="380835" y="793497"/>
                  <a:pt x="380835" y="791675"/>
                </a:cubicBezTo>
                <a:cubicBezTo>
                  <a:pt x="384479" y="793497"/>
                  <a:pt x="386301" y="800786"/>
                  <a:pt x="395412" y="797141"/>
                </a:cubicBezTo>
                <a:cubicBezTo>
                  <a:pt x="391768" y="795319"/>
                  <a:pt x="386301" y="795319"/>
                  <a:pt x="386301" y="791675"/>
                </a:cubicBezTo>
                <a:cubicBezTo>
                  <a:pt x="388123" y="793497"/>
                  <a:pt x="388123" y="793497"/>
                  <a:pt x="391768" y="793497"/>
                </a:cubicBezTo>
                <a:cubicBezTo>
                  <a:pt x="388123" y="791675"/>
                  <a:pt x="380835" y="789853"/>
                  <a:pt x="382657" y="784386"/>
                </a:cubicBezTo>
                <a:cubicBezTo>
                  <a:pt x="386301" y="786208"/>
                  <a:pt x="388123" y="789853"/>
                  <a:pt x="391768" y="789853"/>
                </a:cubicBezTo>
                <a:cubicBezTo>
                  <a:pt x="388123" y="778920"/>
                  <a:pt x="369902" y="777098"/>
                  <a:pt x="362613" y="767987"/>
                </a:cubicBezTo>
                <a:cubicBezTo>
                  <a:pt x="362613" y="769809"/>
                  <a:pt x="362613" y="769809"/>
                  <a:pt x="364435" y="771631"/>
                </a:cubicBezTo>
                <a:cubicBezTo>
                  <a:pt x="359879" y="772542"/>
                  <a:pt x="353957" y="769809"/>
                  <a:pt x="348946" y="767759"/>
                </a:cubicBezTo>
                <a:cubicBezTo>
                  <a:pt x="346441" y="766734"/>
                  <a:pt x="344164" y="765880"/>
                  <a:pt x="342399" y="765738"/>
                </a:cubicBezTo>
                <a:close/>
                <a:moveTo>
                  <a:pt x="430489" y="765026"/>
                </a:moveTo>
                <a:cubicBezTo>
                  <a:pt x="429350" y="764457"/>
                  <a:pt x="428211" y="764799"/>
                  <a:pt x="427300" y="765710"/>
                </a:cubicBezTo>
                <a:cubicBezTo>
                  <a:pt x="425478" y="767532"/>
                  <a:pt x="424567" y="771631"/>
                  <a:pt x="426389" y="775275"/>
                </a:cubicBezTo>
                <a:cubicBezTo>
                  <a:pt x="430034" y="780742"/>
                  <a:pt x="433678" y="778920"/>
                  <a:pt x="437322" y="782564"/>
                </a:cubicBezTo>
                <a:cubicBezTo>
                  <a:pt x="439145" y="778920"/>
                  <a:pt x="433678" y="778920"/>
                  <a:pt x="430034" y="773453"/>
                </a:cubicBezTo>
                <a:cubicBezTo>
                  <a:pt x="431856" y="773453"/>
                  <a:pt x="433678" y="775275"/>
                  <a:pt x="435500" y="777098"/>
                </a:cubicBezTo>
                <a:cubicBezTo>
                  <a:pt x="437322" y="773453"/>
                  <a:pt x="433678" y="771631"/>
                  <a:pt x="431856" y="769809"/>
                </a:cubicBezTo>
                <a:cubicBezTo>
                  <a:pt x="431856" y="767987"/>
                  <a:pt x="433678" y="769809"/>
                  <a:pt x="433678" y="769809"/>
                </a:cubicBezTo>
                <a:cubicBezTo>
                  <a:pt x="432767" y="767076"/>
                  <a:pt x="431628" y="765596"/>
                  <a:pt x="430489" y="765026"/>
                </a:cubicBezTo>
                <a:close/>
                <a:moveTo>
                  <a:pt x="2744194" y="764342"/>
                </a:moveTo>
                <a:cubicBezTo>
                  <a:pt x="2735084" y="764342"/>
                  <a:pt x="2740550" y="773453"/>
                  <a:pt x="2731439" y="769809"/>
                </a:cubicBezTo>
                <a:cubicBezTo>
                  <a:pt x="2733261" y="777098"/>
                  <a:pt x="2742372" y="775275"/>
                  <a:pt x="2746016" y="778920"/>
                </a:cubicBezTo>
                <a:cubicBezTo>
                  <a:pt x="2746016" y="773453"/>
                  <a:pt x="2747839" y="769809"/>
                  <a:pt x="2744194" y="764342"/>
                </a:cubicBezTo>
                <a:close/>
                <a:moveTo>
                  <a:pt x="1468673" y="764342"/>
                </a:moveTo>
                <a:cubicBezTo>
                  <a:pt x="1472317" y="766164"/>
                  <a:pt x="1470495" y="767987"/>
                  <a:pt x="1474139" y="767987"/>
                </a:cubicBezTo>
                <a:cubicBezTo>
                  <a:pt x="1475961" y="766164"/>
                  <a:pt x="1474139" y="762520"/>
                  <a:pt x="1475961" y="764342"/>
                </a:cubicBezTo>
                <a:cubicBezTo>
                  <a:pt x="1476416" y="765709"/>
                  <a:pt x="1475619" y="767076"/>
                  <a:pt x="1474196" y="768499"/>
                </a:cubicBezTo>
                <a:lnTo>
                  <a:pt x="1470470" y="771533"/>
                </a:lnTo>
                <a:close/>
                <a:moveTo>
                  <a:pt x="1107882" y="764342"/>
                </a:moveTo>
                <a:cubicBezTo>
                  <a:pt x="1106060" y="764342"/>
                  <a:pt x="1106060" y="769809"/>
                  <a:pt x="1102416" y="771631"/>
                </a:cubicBezTo>
                <a:cubicBezTo>
                  <a:pt x="1104238" y="773453"/>
                  <a:pt x="1104238" y="771631"/>
                  <a:pt x="1106060" y="773453"/>
                </a:cubicBezTo>
                <a:cubicBezTo>
                  <a:pt x="1109704" y="771631"/>
                  <a:pt x="1106060" y="767987"/>
                  <a:pt x="1107882" y="764342"/>
                </a:cubicBezTo>
                <a:close/>
                <a:moveTo>
                  <a:pt x="931131" y="764342"/>
                </a:moveTo>
                <a:cubicBezTo>
                  <a:pt x="925666" y="771631"/>
                  <a:pt x="929309" y="777098"/>
                  <a:pt x="932953" y="782564"/>
                </a:cubicBezTo>
                <a:cubicBezTo>
                  <a:pt x="940242" y="777098"/>
                  <a:pt x="936598" y="769809"/>
                  <a:pt x="931131" y="764342"/>
                </a:cubicBezTo>
                <a:close/>
                <a:moveTo>
                  <a:pt x="783535" y="764342"/>
                </a:moveTo>
                <a:cubicBezTo>
                  <a:pt x="779892" y="766164"/>
                  <a:pt x="785357" y="767987"/>
                  <a:pt x="783535" y="767987"/>
                </a:cubicBezTo>
                <a:cubicBezTo>
                  <a:pt x="783535" y="769809"/>
                  <a:pt x="785357" y="766164"/>
                  <a:pt x="787179" y="766164"/>
                </a:cubicBezTo>
                <a:cubicBezTo>
                  <a:pt x="787179" y="764342"/>
                  <a:pt x="785357" y="764342"/>
                  <a:pt x="783535" y="764342"/>
                </a:cubicBezTo>
                <a:close/>
                <a:moveTo>
                  <a:pt x="167640" y="764342"/>
                </a:moveTo>
                <a:lnTo>
                  <a:pt x="170374" y="766530"/>
                </a:lnTo>
                <a:lnTo>
                  <a:pt x="169690" y="766165"/>
                </a:lnTo>
                <a:cubicBezTo>
                  <a:pt x="169006" y="764798"/>
                  <a:pt x="168551" y="763431"/>
                  <a:pt x="167640" y="764342"/>
                </a:cubicBezTo>
                <a:close/>
                <a:moveTo>
                  <a:pt x="1163458" y="763887"/>
                </a:moveTo>
                <a:cubicBezTo>
                  <a:pt x="1161636" y="764343"/>
                  <a:pt x="1159814" y="765253"/>
                  <a:pt x="1158903" y="764342"/>
                </a:cubicBezTo>
                <a:cubicBezTo>
                  <a:pt x="1158903" y="767987"/>
                  <a:pt x="1164370" y="767987"/>
                  <a:pt x="1168014" y="766164"/>
                </a:cubicBezTo>
                <a:cubicBezTo>
                  <a:pt x="1167103" y="763431"/>
                  <a:pt x="1165282" y="763431"/>
                  <a:pt x="1163458" y="763887"/>
                </a:cubicBezTo>
                <a:close/>
                <a:moveTo>
                  <a:pt x="1344372" y="763727"/>
                </a:moveTo>
                <a:lnTo>
                  <a:pt x="1342032" y="765481"/>
                </a:lnTo>
                <a:lnTo>
                  <a:pt x="1341207" y="765570"/>
                </a:lnTo>
                <a:lnTo>
                  <a:pt x="1342487" y="764115"/>
                </a:lnTo>
                <a:close/>
                <a:moveTo>
                  <a:pt x="3234359" y="762520"/>
                </a:moveTo>
                <a:cubicBezTo>
                  <a:pt x="3230715" y="764342"/>
                  <a:pt x="3236181" y="769809"/>
                  <a:pt x="3234359" y="775275"/>
                </a:cubicBezTo>
                <a:cubicBezTo>
                  <a:pt x="3243470" y="773453"/>
                  <a:pt x="3234359" y="766164"/>
                  <a:pt x="3234359" y="762520"/>
                </a:cubicBezTo>
                <a:close/>
                <a:moveTo>
                  <a:pt x="1093305" y="762520"/>
                </a:moveTo>
                <a:cubicBezTo>
                  <a:pt x="1095127" y="764342"/>
                  <a:pt x="1095127" y="764342"/>
                  <a:pt x="1096949" y="766164"/>
                </a:cubicBezTo>
                <a:cubicBezTo>
                  <a:pt x="1098771" y="766164"/>
                  <a:pt x="1098771" y="764342"/>
                  <a:pt x="1100593" y="762520"/>
                </a:cubicBezTo>
                <a:cubicBezTo>
                  <a:pt x="1098771" y="760698"/>
                  <a:pt x="1095127" y="762520"/>
                  <a:pt x="1093305" y="762520"/>
                </a:cubicBezTo>
                <a:close/>
                <a:moveTo>
                  <a:pt x="1091484" y="762520"/>
                </a:moveTo>
                <a:cubicBezTo>
                  <a:pt x="1091484" y="762520"/>
                  <a:pt x="1091484" y="764342"/>
                  <a:pt x="1091484" y="764342"/>
                </a:cubicBezTo>
                <a:lnTo>
                  <a:pt x="1095127" y="769809"/>
                </a:lnTo>
                <a:cubicBezTo>
                  <a:pt x="1095127" y="769809"/>
                  <a:pt x="1096949" y="769809"/>
                  <a:pt x="1096949" y="767987"/>
                </a:cubicBezTo>
                <a:cubicBezTo>
                  <a:pt x="1095127" y="766164"/>
                  <a:pt x="1093305" y="766164"/>
                  <a:pt x="1091484" y="762520"/>
                </a:cubicBezTo>
                <a:close/>
                <a:moveTo>
                  <a:pt x="1009485" y="762520"/>
                </a:moveTo>
                <a:cubicBezTo>
                  <a:pt x="1007663" y="766164"/>
                  <a:pt x="1011307" y="766164"/>
                  <a:pt x="1013129" y="767987"/>
                </a:cubicBezTo>
                <a:cubicBezTo>
                  <a:pt x="1018596" y="764342"/>
                  <a:pt x="1014951" y="760698"/>
                  <a:pt x="1009485" y="762520"/>
                </a:cubicBezTo>
                <a:close/>
                <a:moveTo>
                  <a:pt x="803579" y="762520"/>
                </a:moveTo>
                <a:cubicBezTo>
                  <a:pt x="803579" y="762520"/>
                  <a:pt x="803579" y="764342"/>
                  <a:pt x="805401" y="766164"/>
                </a:cubicBezTo>
                <a:cubicBezTo>
                  <a:pt x="809046" y="764342"/>
                  <a:pt x="810868" y="764342"/>
                  <a:pt x="812690" y="762520"/>
                </a:cubicBezTo>
                <a:cubicBezTo>
                  <a:pt x="809046" y="764342"/>
                  <a:pt x="805401" y="766164"/>
                  <a:pt x="803579" y="762520"/>
                </a:cubicBezTo>
                <a:close/>
                <a:moveTo>
                  <a:pt x="703359" y="762520"/>
                </a:moveTo>
                <a:cubicBezTo>
                  <a:pt x="701537" y="766164"/>
                  <a:pt x="705182" y="769809"/>
                  <a:pt x="708826" y="773453"/>
                </a:cubicBezTo>
                <a:cubicBezTo>
                  <a:pt x="712470" y="771631"/>
                  <a:pt x="710648" y="771631"/>
                  <a:pt x="710648" y="769809"/>
                </a:cubicBezTo>
                <a:cubicBezTo>
                  <a:pt x="716115" y="771631"/>
                  <a:pt x="714293" y="777098"/>
                  <a:pt x="717937" y="778920"/>
                </a:cubicBezTo>
                <a:cubicBezTo>
                  <a:pt x="721581" y="777098"/>
                  <a:pt x="716115" y="773453"/>
                  <a:pt x="719759" y="771631"/>
                </a:cubicBezTo>
                <a:cubicBezTo>
                  <a:pt x="723404" y="771631"/>
                  <a:pt x="717937" y="778920"/>
                  <a:pt x="723404" y="780742"/>
                </a:cubicBezTo>
                <a:cubicBezTo>
                  <a:pt x="723404" y="777098"/>
                  <a:pt x="723404" y="773453"/>
                  <a:pt x="721581" y="769809"/>
                </a:cubicBezTo>
                <a:cubicBezTo>
                  <a:pt x="721581" y="769809"/>
                  <a:pt x="721581" y="771631"/>
                  <a:pt x="719759" y="771631"/>
                </a:cubicBezTo>
                <a:cubicBezTo>
                  <a:pt x="721581" y="764342"/>
                  <a:pt x="708826" y="762520"/>
                  <a:pt x="703359" y="762520"/>
                </a:cubicBezTo>
                <a:close/>
                <a:moveTo>
                  <a:pt x="501098" y="762520"/>
                </a:moveTo>
                <a:cubicBezTo>
                  <a:pt x="501098" y="764342"/>
                  <a:pt x="506565" y="773453"/>
                  <a:pt x="512031" y="771631"/>
                </a:cubicBezTo>
                <a:cubicBezTo>
                  <a:pt x="512031" y="769809"/>
                  <a:pt x="504743" y="764342"/>
                  <a:pt x="501098" y="762520"/>
                </a:cubicBezTo>
                <a:close/>
                <a:moveTo>
                  <a:pt x="233239" y="762520"/>
                </a:moveTo>
                <a:cubicBezTo>
                  <a:pt x="231416" y="766164"/>
                  <a:pt x="236883" y="771631"/>
                  <a:pt x="242349" y="771631"/>
                </a:cubicBezTo>
                <a:cubicBezTo>
                  <a:pt x="244172" y="769809"/>
                  <a:pt x="247816" y="771631"/>
                  <a:pt x="247816" y="769809"/>
                </a:cubicBezTo>
                <a:cubicBezTo>
                  <a:pt x="242349" y="762520"/>
                  <a:pt x="238705" y="764342"/>
                  <a:pt x="233239" y="762520"/>
                </a:cubicBezTo>
                <a:close/>
                <a:moveTo>
                  <a:pt x="215017" y="762520"/>
                </a:moveTo>
                <a:cubicBezTo>
                  <a:pt x="215017" y="764342"/>
                  <a:pt x="218661" y="767987"/>
                  <a:pt x="220483" y="767987"/>
                </a:cubicBezTo>
                <a:cubicBezTo>
                  <a:pt x="222306" y="767987"/>
                  <a:pt x="216839" y="762520"/>
                  <a:pt x="215017" y="762520"/>
                </a:cubicBezTo>
                <a:close/>
                <a:moveTo>
                  <a:pt x="194151" y="760876"/>
                </a:moveTo>
                <a:lnTo>
                  <a:pt x="199245" y="769014"/>
                </a:lnTo>
                <a:lnTo>
                  <a:pt x="196340" y="765254"/>
                </a:lnTo>
                <a:close/>
                <a:moveTo>
                  <a:pt x="3212493" y="760698"/>
                </a:moveTo>
                <a:cubicBezTo>
                  <a:pt x="3208849" y="760698"/>
                  <a:pt x="3208849" y="762520"/>
                  <a:pt x="3207027" y="762520"/>
                </a:cubicBezTo>
                <a:cubicBezTo>
                  <a:pt x="3205204" y="767987"/>
                  <a:pt x="3214315" y="766164"/>
                  <a:pt x="3212493" y="760698"/>
                </a:cubicBezTo>
                <a:close/>
                <a:moveTo>
                  <a:pt x="3106807" y="760698"/>
                </a:moveTo>
                <a:cubicBezTo>
                  <a:pt x="3104985" y="764342"/>
                  <a:pt x="3106807" y="764342"/>
                  <a:pt x="3106807" y="767987"/>
                </a:cubicBezTo>
                <a:cubicBezTo>
                  <a:pt x="3108629" y="767987"/>
                  <a:pt x="3112274" y="767987"/>
                  <a:pt x="3114096" y="767987"/>
                </a:cubicBezTo>
                <a:cubicBezTo>
                  <a:pt x="3114096" y="762520"/>
                  <a:pt x="3112274" y="758876"/>
                  <a:pt x="3106807" y="760698"/>
                </a:cubicBezTo>
                <a:close/>
                <a:moveTo>
                  <a:pt x="1397608" y="760698"/>
                </a:moveTo>
                <a:cubicBezTo>
                  <a:pt x="1399430" y="764342"/>
                  <a:pt x="1392141" y="767987"/>
                  <a:pt x="1393963" y="771631"/>
                </a:cubicBezTo>
                <a:cubicBezTo>
                  <a:pt x="1397608" y="771631"/>
                  <a:pt x="1399430" y="764342"/>
                  <a:pt x="1397608" y="760698"/>
                </a:cubicBezTo>
                <a:close/>
                <a:moveTo>
                  <a:pt x="685138" y="760698"/>
                </a:moveTo>
                <a:cubicBezTo>
                  <a:pt x="686960" y="766164"/>
                  <a:pt x="694249" y="767987"/>
                  <a:pt x="696071" y="771631"/>
                </a:cubicBezTo>
                <a:cubicBezTo>
                  <a:pt x="697893" y="767987"/>
                  <a:pt x="696071" y="766164"/>
                  <a:pt x="696071" y="762520"/>
                </a:cubicBezTo>
                <a:cubicBezTo>
                  <a:pt x="692426" y="762520"/>
                  <a:pt x="688782" y="762520"/>
                  <a:pt x="685138" y="760698"/>
                </a:cubicBezTo>
                <a:close/>
                <a:moveTo>
                  <a:pt x="612251" y="760698"/>
                </a:moveTo>
                <a:cubicBezTo>
                  <a:pt x="612251" y="764342"/>
                  <a:pt x="610429" y="767987"/>
                  <a:pt x="614074" y="771631"/>
                </a:cubicBezTo>
                <a:cubicBezTo>
                  <a:pt x="617717" y="771631"/>
                  <a:pt x="617717" y="769809"/>
                  <a:pt x="617717" y="767987"/>
                </a:cubicBezTo>
                <a:cubicBezTo>
                  <a:pt x="615895" y="766164"/>
                  <a:pt x="615895" y="762520"/>
                  <a:pt x="612251" y="760698"/>
                </a:cubicBezTo>
                <a:close/>
                <a:moveTo>
                  <a:pt x="553941" y="760698"/>
                </a:moveTo>
                <a:cubicBezTo>
                  <a:pt x="552119" y="758876"/>
                  <a:pt x="550297" y="760698"/>
                  <a:pt x="548475" y="762520"/>
                </a:cubicBezTo>
                <a:cubicBezTo>
                  <a:pt x="548475" y="764342"/>
                  <a:pt x="553941" y="760698"/>
                  <a:pt x="553941" y="760698"/>
                </a:cubicBezTo>
                <a:close/>
                <a:moveTo>
                  <a:pt x="333458" y="760698"/>
                </a:moveTo>
                <a:cubicBezTo>
                  <a:pt x="335280" y="764342"/>
                  <a:pt x="337102" y="762520"/>
                  <a:pt x="337102" y="764342"/>
                </a:cubicBezTo>
                <a:cubicBezTo>
                  <a:pt x="338926" y="762520"/>
                  <a:pt x="335280" y="758876"/>
                  <a:pt x="333458" y="760698"/>
                </a:cubicBezTo>
                <a:close/>
                <a:moveTo>
                  <a:pt x="149805" y="759198"/>
                </a:moveTo>
                <a:lnTo>
                  <a:pt x="150603" y="759863"/>
                </a:lnTo>
                <a:lnTo>
                  <a:pt x="150604" y="759864"/>
                </a:lnTo>
                <a:close/>
                <a:moveTo>
                  <a:pt x="1286455" y="758876"/>
                </a:moveTo>
                <a:cubicBezTo>
                  <a:pt x="1277344" y="758876"/>
                  <a:pt x="1270056" y="764342"/>
                  <a:pt x="1260945" y="767987"/>
                </a:cubicBezTo>
                <a:cubicBezTo>
                  <a:pt x="1262767" y="769809"/>
                  <a:pt x="1260945" y="769809"/>
                  <a:pt x="1262767" y="771631"/>
                </a:cubicBezTo>
                <a:cubicBezTo>
                  <a:pt x="1264589" y="771631"/>
                  <a:pt x="1264589" y="769809"/>
                  <a:pt x="1266411" y="771631"/>
                </a:cubicBezTo>
                <a:cubicBezTo>
                  <a:pt x="1268233" y="769809"/>
                  <a:pt x="1266411" y="767987"/>
                  <a:pt x="1266411" y="766164"/>
                </a:cubicBezTo>
                <a:cubicBezTo>
                  <a:pt x="1270056" y="766164"/>
                  <a:pt x="1268233" y="769809"/>
                  <a:pt x="1270056" y="771631"/>
                </a:cubicBezTo>
                <a:cubicBezTo>
                  <a:pt x="1277344" y="771631"/>
                  <a:pt x="1284633" y="766164"/>
                  <a:pt x="1286455" y="758876"/>
                </a:cubicBezTo>
                <a:close/>
                <a:moveTo>
                  <a:pt x="982152" y="758876"/>
                </a:moveTo>
                <a:cubicBezTo>
                  <a:pt x="971219" y="760698"/>
                  <a:pt x="958464" y="773453"/>
                  <a:pt x="963930" y="786208"/>
                </a:cubicBezTo>
                <a:cubicBezTo>
                  <a:pt x="965753" y="788031"/>
                  <a:pt x="965753" y="782564"/>
                  <a:pt x="967575" y="784386"/>
                </a:cubicBezTo>
                <a:cubicBezTo>
                  <a:pt x="969397" y="782564"/>
                  <a:pt x="969397" y="780742"/>
                  <a:pt x="969397" y="777098"/>
                </a:cubicBezTo>
                <a:cubicBezTo>
                  <a:pt x="971219" y="777098"/>
                  <a:pt x="967575" y="782564"/>
                  <a:pt x="971219" y="782564"/>
                </a:cubicBezTo>
                <a:cubicBezTo>
                  <a:pt x="980330" y="775275"/>
                  <a:pt x="996729" y="762520"/>
                  <a:pt x="989441" y="758876"/>
                </a:cubicBezTo>
                <a:lnTo>
                  <a:pt x="985796" y="758876"/>
                </a:lnTo>
                <a:cubicBezTo>
                  <a:pt x="983974" y="758876"/>
                  <a:pt x="983974" y="758876"/>
                  <a:pt x="982152" y="758876"/>
                </a:cubicBezTo>
                <a:close/>
                <a:moveTo>
                  <a:pt x="852778" y="758876"/>
                </a:moveTo>
                <a:cubicBezTo>
                  <a:pt x="852778" y="760698"/>
                  <a:pt x="856422" y="766164"/>
                  <a:pt x="860066" y="764342"/>
                </a:cubicBezTo>
                <a:cubicBezTo>
                  <a:pt x="856422" y="762520"/>
                  <a:pt x="854600" y="760698"/>
                  <a:pt x="852778" y="758876"/>
                </a:cubicBezTo>
                <a:close/>
                <a:moveTo>
                  <a:pt x="564874" y="758876"/>
                </a:moveTo>
                <a:cubicBezTo>
                  <a:pt x="563052" y="760698"/>
                  <a:pt x="563052" y="762520"/>
                  <a:pt x="564874" y="762520"/>
                </a:cubicBezTo>
                <a:cubicBezTo>
                  <a:pt x="564874" y="764342"/>
                  <a:pt x="564874" y="760698"/>
                  <a:pt x="566697" y="760698"/>
                </a:cubicBezTo>
                <a:cubicBezTo>
                  <a:pt x="564874" y="760698"/>
                  <a:pt x="566697" y="760698"/>
                  <a:pt x="564874" y="758876"/>
                </a:cubicBezTo>
                <a:close/>
                <a:moveTo>
                  <a:pt x="451899" y="758876"/>
                </a:moveTo>
                <a:cubicBezTo>
                  <a:pt x="455544" y="764342"/>
                  <a:pt x="450077" y="773453"/>
                  <a:pt x="461010" y="775275"/>
                </a:cubicBezTo>
                <a:cubicBezTo>
                  <a:pt x="457367" y="771631"/>
                  <a:pt x="459188" y="769809"/>
                  <a:pt x="464655" y="769809"/>
                </a:cubicBezTo>
                <a:cubicBezTo>
                  <a:pt x="461010" y="767987"/>
                  <a:pt x="457367" y="760698"/>
                  <a:pt x="451899" y="758876"/>
                </a:cubicBezTo>
                <a:close/>
                <a:moveTo>
                  <a:pt x="311592" y="758876"/>
                </a:moveTo>
                <a:cubicBezTo>
                  <a:pt x="309771" y="762520"/>
                  <a:pt x="315236" y="766164"/>
                  <a:pt x="315236" y="769809"/>
                </a:cubicBezTo>
                <a:cubicBezTo>
                  <a:pt x="318882" y="771631"/>
                  <a:pt x="315236" y="760698"/>
                  <a:pt x="311592" y="758876"/>
                </a:cubicBezTo>
                <a:close/>
                <a:moveTo>
                  <a:pt x="222306" y="758876"/>
                </a:moveTo>
                <a:cubicBezTo>
                  <a:pt x="220483" y="758876"/>
                  <a:pt x="224128" y="764342"/>
                  <a:pt x="225950" y="764342"/>
                </a:cubicBezTo>
                <a:cubicBezTo>
                  <a:pt x="229594" y="762520"/>
                  <a:pt x="224128" y="758876"/>
                  <a:pt x="222306" y="758876"/>
                </a:cubicBezTo>
                <a:close/>
                <a:moveTo>
                  <a:pt x="176751" y="758876"/>
                </a:moveTo>
                <a:cubicBezTo>
                  <a:pt x="180396" y="760698"/>
                  <a:pt x="184040" y="764342"/>
                  <a:pt x="185862" y="766164"/>
                </a:cubicBezTo>
                <a:lnTo>
                  <a:pt x="180248" y="761985"/>
                </a:lnTo>
                <a:close/>
                <a:moveTo>
                  <a:pt x="149419" y="758876"/>
                </a:moveTo>
                <a:lnTo>
                  <a:pt x="149805" y="759198"/>
                </a:lnTo>
                <a:lnTo>
                  <a:pt x="149421" y="758877"/>
                </a:lnTo>
                <a:close/>
                <a:moveTo>
                  <a:pt x="2334205" y="757054"/>
                </a:moveTo>
                <a:cubicBezTo>
                  <a:pt x="2334205" y="758876"/>
                  <a:pt x="2336027" y="760698"/>
                  <a:pt x="2336027" y="764342"/>
                </a:cubicBezTo>
                <a:lnTo>
                  <a:pt x="2337850" y="764342"/>
                </a:lnTo>
                <a:cubicBezTo>
                  <a:pt x="2337850" y="760698"/>
                  <a:pt x="2336027" y="755231"/>
                  <a:pt x="2334205" y="757054"/>
                </a:cubicBezTo>
                <a:close/>
                <a:moveTo>
                  <a:pt x="1421296" y="757054"/>
                </a:moveTo>
                <a:cubicBezTo>
                  <a:pt x="1418562" y="757965"/>
                  <a:pt x="1416740" y="761154"/>
                  <a:pt x="1414690" y="764343"/>
                </a:cubicBezTo>
                <a:lnTo>
                  <a:pt x="1408168" y="770306"/>
                </a:lnTo>
                <a:lnTo>
                  <a:pt x="1408541" y="769809"/>
                </a:lnTo>
                <a:cubicBezTo>
                  <a:pt x="1403074" y="773453"/>
                  <a:pt x="1397608" y="773453"/>
                  <a:pt x="1395787" y="778920"/>
                </a:cubicBezTo>
                <a:cubicBezTo>
                  <a:pt x="1393963" y="778920"/>
                  <a:pt x="1390319" y="778920"/>
                  <a:pt x="1388497" y="782564"/>
                </a:cubicBezTo>
                <a:cubicBezTo>
                  <a:pt x="1390319" y="784386"/>
                  <a:pt x="1392141" y="782564"/>
                  <a:pt x="1393963" y="784386"/>
                </a:cubicBezTo>
                <a:cubicBezTo>
                  <a:pt x="1384854" y="782564"/>
                  <a:pt x="1375743" y="789853"/>
                  <a:pt x="1366632" y="786208"/>
                </a:cubicBezTo>
                <a:cubicBezTo>
                  <a:pt x="1362987" y="789853"/>
                  <a:pt x="1361164" y="791675"/>
                  <a:pt x="1359342" y="795319"/>
                </a:cubicBezTo>
                <a:cubicBezTo>
                  <a:pt x="1362987" y="795319"/>
                  <a:pt x="1366632" y="791675"/>
                  <a:pt x="1370275" y="791675"/>
                </a:cubicBezTo>
                <a:cubicBezTo>
                  <a:pt x="1372097" y="795319"/>
                  <a:pt x="1366632" y="793497"/>
                  <a:pt x="1364809" y="795319"/>
                </a:cubicBezTo>
                <a:cubicBezTo>
                  <a:pt x="1368453" y="797141"/>
                  <a:pt x="1373920" y="797141"/>
                  <a:pt x="1379386" y="793497"/>
                </a:cubicBezTo>
                <a:cubicBezTo>
                  <a:pt x="1379386" y="795319"/>
                  <a:pt x="1377564" y="795319"/>
                  <a:pt x="1377564" y="797141"/>
                </a:cubicBezTo>
                <a:cubicBezTo>
                  <a:pt x="1399430" y="800786"/>
                  <a:pt x="1417652" y="777098"/>
                  <a:pt x="1421296" y="757054"/>
                </a:cubicBezTo>
                <a:close/>
                <a:moveTo>
                  <a:pt x="1357521" y="757054"/>
                </a:moveTo>
                <a:cubicBezTo>
                  <a:pt x="1353876" y="757054"/>
                  <a:pt x="1353876" y="760698"/>
                  <a:pt x="1353876" y="762520"/>
                </a:cubicBezTo>
                <a:cubicBezTo>
                  <a:pt x="1355698" y="764342"/>
                  <a:pt x="1359342" y="760698"/>
                  <a:pt x="1357521" y="757054"/>
                </a:cubicBezTo>
                <a:close/>
                <a:moveTo>
                  <a:pt x="1118815" y="757054"/>
                </a:moveTo>
                <a:cubicBezTo>
                  <a:pt x="1113349" y="758876"/>
                  <a:pt x="1109704" y="762520"/>
                  <a:pt x="1109704" y="766164"/>
                </a:cubicBezTo>
                <a:cubicBezTo>
                  <a:pt x="1113349" y="767987"/>
                  <a:pt x="1115171" y="760698"/>
                  <a:pt x="1118815" y="757054"/>
                </a:cubicBezTo>
                <a:close/>
                <a:moveTo>
                  <a:pt x="1100593" y="757054"/>
                </a:moveTo>
                <a:cubicBezTo>
                  <a:pt x="1098771" y="758876"/>
                  <a:pt x="1102416" y="758876"/>
                  <a:pt x="1104238" y="760698"/>
                </a:cubicBezTo>
                <a:cubicBezTo>
                  <a:pt x="1104238" y="758876"/>
                  <a:pt x="1104238" y="755231"/>
                  <a:pt x="1100593" y="757054"/>
                </a:cubicBezTo>
                <a:close/>
                <a:moveTo>
                  <a:pt x="993085" y="757054"/>
                </a:moveTo>
                <a:cubicBezTo>
                  <a:pt x="994907" y="762520"/>
                  <a:pt x="991263" y="767987"/>
                  <a:pt x="987619" y="771631"/>
                </a:cubicBezTo>
                <a:cubicBezTo>
                  <a:pt x="994907" y="769809"/>
                  <a:pt x="994907" y="762520"/>
                  <a:pt x="1000374" y="758876"/>
                </a:cubicBezTo>
                <a:cubicBezTo>
                  <a:pt x="998552" y="757054"/>
                  <a:pt x="994907" y="758876"/>
                  <a:pt x="993085" y="757054"/>
                </a:cubicBezTo>
                <a:close/>
                <a:moveTo>
                  <a:pt x="963930" y="757054"/>
                </a:moveTo>
                <a:cubicBezTo>
                  <a:pt x="962108" y="758876"/>
                  <a:pt x="958464" y="764342"/>
                  <a:pt x="958464" y="766164"/>
                </a:cubicBezTo>
                <a:cubicBezTo>
                  <a:pt x="960286" y="767987"/>
                  <a:pt x="963930" y="764342"/>
                  <a:pt x="965753" y="762520"/>
                </a:cubicBezTo>
                <a:cubicBezTo>
                  <a:pt x="965753" y="760698"/>
                  <a:pt x="963930" y="758876"/>
                  <a:pt x="963930" y="757054"/>
                </a:cubicBezTo>
                <a:close/>
                <a:moveTo>
                  <a:pt x="945709" y="757054"/>
                </a:moveTo>
                <a:cubicBezTo>
                  <a:pt x="931131" y="757054"/>
                  <a:pt x="936598" y="769809"/>
                  <a:pt x="942064" y="773453"/>
                </a:cubicBezTo>
                <a:cubicBezTo>
                  <a:pt x="951175" y="769809"/>
                  <a:pt x="942064" y="762520"/>
                  <a:pt x="945709" y="757054"/>
                </a:cubicBezTo>
                <a:close/>
                <a:moveTo>
                  <a:pt x="674205" y="757054"/>
                </a:moveTo>
                <a:cubicBezTo>
                  <a:pt x="674205" y="759787"/>
                  <a:pt x="676027" y="762065"/>
                  <a:pt x="678761" y="764343"/>
                </a:cubicBezTo>
                <a:lnTo>
                  <a:pt x="686587" y="770035"/>
                </a:lnTo>
                <a:lnTo>
                  <a:pt x="686504" y="770493"/>
                </a:lnTo>
                <a:cubicBezTo>
                  <a:pt x="687416" y="771176"/>
                  <a:pt x="688782" y="771631"/>
                  <a:pt x="688782" y="771631"/>
                </a:cubicBezTo>
                <a:lnTo>
                  <a:pt x="686587" y="770035"/>
                </a:lnTo>
                <a:lnTo>
                  <a:pt x="686960" y="767987"/>
                </a:lnTo>
                <a:cubicBezTo>
                  <a:pt x="690604" y="767987"/>
                  <a:pt x="690604" y="773453"/>
                  <a:pt x="694249" y="773453"/>
                </a:cubicBezTo>
                <a:cubicBezTo>
                  <a:pt x="690604" y="767987"/>
                  <a:pt x="681493" y="760698"/>
                  <a:pt x="674205" y="757054"/>
                </a:cubicBezTo>
                <a:close/>
                <a:moveTo>
                  <a:pt x="561230" y="757054"/>
                </a:moveTo>
                <a:cubicBezTo>
                  <a:pt x="561230" y="758876"/>
                  <a:pt x="557586" y="760698"/>
                  <a:pt x="555763" y="760698"/>
                </a:cubicBezTo>
                <a:cubicBezTo>
                  <a:pt x="557586" y="762520"/>
                  <a:pt x="557586" y="762520"/>
                  <a:pt x="559408" y="764342"/>
                </a:cubicBezTo>
                <a:cubicBezTo>
                  <a:pt x="557586" y="760698"/>
                  <a:pt x="564874" y="762520"/>
                  <a:pt x="561230" y="757054"/>
                </a:cubicBezTo>
                <a:close/>
                <a:moveTo>
                  <a:pt x="459188" y="757054"/>
                </a:moveTo>
                <a:cubicBezTo>
                  <a:pt x="457367" y="758876"/>
                  <a:pt x="461010" y="762520"/>
                  <a:pt x="464655" y="764342"/>
                </a:cubicBezTo>
                <a:cubicBezTo>
                  <a:pt x="470121" y="760698"/>
                  <a:pt x="464655" y="757054"/>
                  <a:pt x="459188" y="757054"/>
                </a:cubicBezTo>
                <a:close/>
                <a:moveTo>
                  <a:pt x="360791" y="757054"/>
                </a:moveTo>
                <a:cubicBezTo>
                  <a:pt x="368079" y="762520"/>
                  <a:pt x="377190" y="771631"/>
                  <a:pt x="389946" y="775275"/>
                </a:cubicBezTo>
                <a:cubicBezTo>
                  <a:pt x="384479" y="773453"/>
                  <a:pt x="382657" y="771631"/>
                  <a:pt x="382657" y="767987"/>
                </a:cubicBezTo>
                <a:cubicBezTo>
                  <a:pt x="375368" y="762520"/>
                  <a:pt x="368079" y="758876"/>
                  <a:pt x="360791" y="757054"/>
                </a:cubicBezTo>
                <a:close/>
                <a:moveTo>
                  <a:pt x="249638" y="757054"/>
                </a:moveTo>
                <a:cubicBezTo>
                  <a:pt x="249638" y="760698"/>
                  <a:pt x="253282" y="764342"/>
                  <a:pt x="256927" y="769809"/>
                </a:cubicBezTo>
                <a:cubicBezTo>
                  <a:pt x="256927" y="766164"/>
                  <a:pt x="251460" y="764342"/>
                  <a:pt x="255105" y="762520"/>
                </a:cubicBezTo>
                <a:cubicBezTo>
                  <a:pt x="253282" y="758876"/>
                  <a:pt x="251460" y="758876"/>
                  <a:pt x="249638" y="757054"/>
                </a:cubicBezTo>
                <a:close/>
                <a:moveTo>
                  <a:pt x="2653911" y="756428"/>
                </a:moveTo>
                <a:cubicBezTo>
                  <a:pt x="2652288" y="757054"/>
                  <a:pt x="2651263" y="758876"/>
                  <a:pt x="2651263" y="762520"/>
                </a:cubicBezTo>
                <a:cubicBezTo>
                  <a:pt x="2654908" y="755231"/>
                  <a:pt x="2654908" y="766164"/>
                  <a:pt x="2662197" y="764342"/>
                </a:cubicBezTo>
                <a:cubicBezTo>
                  <a:pt x="2662197" y="767987"/>
                  <a:pt x="2660374" y="766164"/>
                  <a:pt x="2662197" y="769809"/>
                </a:cubicBezTo>
                <a:cubicBezTo>
                  <a:pt x="2665841" y="767987"/>
                  <a:pt x="2669485" y="775275"/>
                  <a:pt x="2674952" y="771631"/>
                </a:cubicBezTo>
                <a:cubicBezTo>
                  <a:pt x="2674952" y="767987"/>
                  <a:pt x="2674952" y="764342"/>
                  <a:pt x="2673130" y="762520"/>
                </a:cubicBezTo>
                <a:cubicBezTo>
                  <a:pt x="2671307" y="762520"/>
                  <a:pt x="2673130" y="764342"/>
                  <a:pt x="2673130" y="766164"/>
                </a:cubicBezTo>
                <a:cubicBezTo>
                  <a:pt x="2669030" y="763431"/>
                  <a:pt x="2658780" y="754549"/>
                  <a:pt x="2653911" y="756428"/>
                </a:cubicBezTo>
                <a:close/>
                <a:moveTo>
                  <a:pt x="1127244" y="755915"/>
                </a:moveTo>
                <a:cubicBezTo>
                  <a:pt x="1122004" y="757054"/>
                  <a:pt x="1117905" y="760698"/>
                  <a:pt x="1118815" y="767987"/>
                </a:cubicBezTo>
                <a:cubicBezTo>
                  <a:pt x="1116993" y="762520"/>
                  <a:pt x="1111526" y="769809"/>
                  <a:pt x="1113349" y="773453"/>
                </a:cubicBezTo>
                <a:cubicBezTo>
                  <a:pt x="1116993" y="769809"/>
                  <a:pt x="1120637" y="771631"/>
                  <a:pt x="1124282" y="766164"/>
                </a:cubicBezTo>
                <a:cubicBezTo>
                  <a:pt x="1129748" y="767987"/>
                  <a:pt x="1137037" y="762520"/>
                  <a:pt x="1142503" y="758876"/>
                </a:cubicBezTo>
                <a:cubicBezTo>
                  <a:pt x="1138859" y="756143"/>
                  <a:pt x="1132481" y="754776"/>
                  <a:pt x="1127244" y="755915"/>
                </a:cubicBezTo>
                <a:close/>
                <a:moveTo>
                  <a:pt x="1173481" y="755231"/>
                </a:moveTo>
                <a:cubicBezTo>
                  <a:pt x="1171658" y="755231"/>
                  <a:pt x="1169836" y="755231"/>
                  <a:pt x="1168014" y="757054"/>
                </a:cubicBezTo>
                <a:cubicBezTo>
                  <a:pt x="1169836" y="760698"/>
                  <a:pt x="1173481" y="757054"/>
                  <a:pt x="1173481" y="755231"/>
                </a:cubicBezTo>
                <a:close/>
                <a:moveTo>
                  <a:pt x="1096949" y="755231"/>
                </a:moveTo>
                <a:cubicBezTo>
                  <a:pt x="1095127" y="755231"/>
                  <a:pt x="1098771" y="757054"/>
                  <a:pt x="1098771" y="758876"/>
                </a:cubicBezTo>
                <a:cubicBezTo>
                  <a:pt x="1100593" y="758876"/>
                  <a:pt x="1100593" y="757054"/>
                  <a:pt x="1098771" y="755231"/>
                </a:cubicBezTo>
                <a:cubicBezTo>
                  <a:pt x="1098771" y="755231"/>
                  <a:pt x="1096949" y="755231"/>
                  <a:pt x="1096949" y="755231"/>
                </a:cubicBezTo>
                <a:close/>
                <a:moveTo>
                  <a:pt x="1093305" y="755231"/>
                </a:moveTo>
                <a:cubicBezTo>
                  <a:pt x="1091484" y="755231"/>
                  <a:pt x="1087838" y="755231"/>
                  <a:pt x="1082373" y="757054"/>
                </a:cubicBezTo>
                <a:cubicBezTo>
                  <a:pt x="1084194" y="757054"/>
                  <a:pt x="1084194" y="757054"/>
                  <a:pt x="1084194" y="757054"/>
                </a:cubicBezTo>
                <a:lnTo>
                  <a:pt x="1086016" y="758876"/>
                </a:lnTo>
                <a:cubicBezTo>
                  <a:pt x="1089660" y="760698"/>
                  <a:pt x="1093305" y="764342"/>
                  <a:pt x="1096949" y="760698"/>
                </a:cubicBezTo>
                <a:cubicBezTo>
                  <a:pt x="1093305" y="758876"/>
                  <a:pt x="1095127" y="757054"/>
                  <a:pt x="1093305" y="755231"/>
                </a:cubicBezTo>
                <a:close/>
                <a:moveTo>
                  <a:pt x="952997" y="755231"/>
                </a:moveTo>
                <a:cubicBezTo>
                  <a:pt x="945709" y="760698"/>
                  <a:pt x="949353" y="762520"/>
                  <a:pt x="949353" y="766164"/>
                </a:cubicBezTo>
                <a:cubicBezTo>
                  <a:pt x="952997" y="764342"/>
                  <a:pt x="954819" y="758876"/>
                  <a:pt x="956642" y="755231"/>
                </a:cubicBezTo>
                <a:cubicBezTo>
                  <a:pt x="954819" y="755231"/>
                  <a:pt x="952997" y="755231"/>
                  <a:pt x="952997" y="755231"/>
                </a:cubicBezTo>
                <a:close/>
                <a:moveTo>
                  <a:pt x="679671" y="755231"/>
                </a:moveTo>
                <a:cubicBezTo>
                  <a:pt x="677849" y="760698"/>
                  <a:pt x="686960" y="758876"/>
                  <a:pt x="688782" y="758876"/>
                </a:cubicBezTo>
                <a:cubicBezTo>
                  <a:pt x="690604" y="755231"/>
                  <a:pt x="683316" y="755231"/>
                  <a:pt x="679671" y="755231"/>
                </a:cubicBezTo>
                <a:close/>
                <a:moveTo>
                  <a:pt x="581274" y="755231"/>
                </a:moveTo>
                <a:cubicBezTo>
                  <a:pt x="579452" y="757054"/>
                  <a:pt x="573985" y="762520"/>
                  <a:pt x="577630" y="764342"/>
                </a:cubicBezTo>
                <a:cubicBezTo>
                  <a:pt x="579452" y="760698"/>
                  <a:pt x="584919" y="758876"/>
                  <a:pt x="584919" y="757054"/>
                </a:cubicBezTo>
                <a:cubicBezTo>
                  <a:pt x="583096" y="755231"/>
                  <a:pt x="581274" y="753409"/>
                  <a:pt x="581274" y="755231"/>
                </a:cubicBezTo>
                <a:close/>
                <a:moveTo>
                  <a:pt x="491987" y="755231"/>
                </a:moveTo>
                <a:cubicBezTo>
                  <a:pt x="490165" y="760698"/>
                  <a:pt x="488343" y="764342"/>
                  <a:pt x="495632" y="769809"/>
                </a:cubicBezTo>
                <a:cubicBezTo>
                  <a:pt x="495632" y="766164"/>
                  <a:pt x="497454" y="760698"/>
                  <a:pt x="491987" y="755231"/>
                </a:cubicBezTo>
                <a:close/>
                <a:moveTo>
                  <a:pt x="231416" y="755231"/>
                </a:moveTo>
                <a:cubicBezTo>
                  <a:pt x="229594" y="762520"/>
                  <a:pt x="235061" y="758876"/>
                  <a:pt x="235061" y="760698"/>
                </a:cubicBezTo>
                <a:cubicBezTo>
                  <a:pt x="236883" y="758876"/>
                  <a:pt x="233239" y="757054"/>
                  <a:pt x="231416" y="755231"/>
                </a:cubicBezTo>
                <a:close/>
                <a:moveTo>
                  <a:pt x="1310143" y="753409"/>
                </a:moveTo>
                <a:lnTo>
                  <a:pt x="1309874" y="753563"/>
                </a:lnTo>
                <a:lnTo>
                  <a:pt x="1309959" y="753483"/>
                </a:lnTo>
                <a:close/>
                <a:moveTo>
                  <a:pt x="1051395" y="753409"/>
                </a:moveTo>
                <a:cubicBezTo>
                  <a:pt x="1049573" y="755231"/>
                  <a:pt x="1045929" y="757054"/>
                  <a:pt x="1044106" y="758876"/>
                </a:cubicBezTo>
                <a:cubicBezTo>
                  <a:pt x="1049573" y="755231"/>
                  <a:pt x="1053217" y="760698"/>
                  <a:pt x="1051395" y="753409"/>
                </a:cubicBezTo>
                <a:close/>
                <a:moveTo>
                  <a:pt x="1033173" y="753409"/>
                </a:moveTo>
                <a:cubicBezTo>
                  <a:pt x="1027707" y="751587"/>
                  <a:pt x="1020418" y="755231"/>
                  <a:pt x="1020418" y="760698"/>
                </a:cubicBezTo>
                <a:cubicBezTo>
                  <a:pt x="1024062" y="760698"/>
                  <a:pt x="1033173" y="760698"/>
                  <a:pt x="1033173" y="753409"/>
                </a:cubicBezTo>
                <a:close/>
                <a:moveTo>
                  <a:pt x="814512" y="753409"/>
                </a:moveTo>
                <a:cubicBezTo>
                  <a:pt x="812690" y="755231"/>
                  <a:pt x="812690" y="755231"/>
                  <a:pt x="809046" y="757054"/>
                </a:cubicBezTo>
                <a:cubicBezTo>
                  <a:pt x="810868" y="758876"/>
                  <a:pt x="810868" y="758876"/>
                  <a:pt x="814512" y="760698"/>
                </a:cubicBezTo>
                <a:cubicBezTo>
                  <a:pt x="818156" y="757054"/>
                  <a:pt x="812690" y="755231"/>
                  <a:pt x="814512" y="753409"/>
                </a:cubicBezTo>
                <a:close/>
                <a:moveTo>
                  <a:pt x="634117" y="753409"/>
                </a:moveTo>
                <a:cubicBezTo>
                  <a:pt x="630472" y="758876"/>
                  <a:pt x="621362" y="766164"/>
                  <a:pt x="625006" y="773453"/>
                </a:cubicBezTo>
                <a:cubicBezTo>
                  <a:pt x="628650" y="767987"/>
                  <a:pt x="632296" y="758876"/>
                  <a:pt x="634117" y="753409"/>
                </a:cubicBezTo>
                <a:close/>
                <a:moveTo>
                  <a:pt x="369902" y="753409"/>
                </a:moveTo>
                <a:cubicBezTo>
                  <a:pt x="371724" y="758876"/>
                  <a:pt x="377190" y="758876"/>
                  <a:pt x="379012" y="762520"/>
                </a:cubicBezTo>
                <a:cubicBezTo>
                  <a:pt x="379012" y="757054"/>
                  <a:pt x="373546" y="755231"/>
                  <a:pt x="369902" y="753409"/>
                </a:cubicBezTo>
                <a:close/>
                <a:moveTo>
                  <a:pt x="1327200" y="752020"/>
                </a:moveTo>
                <a:lnTo>
                  <a:pt x="1324721" y="760698"/>
                </a:lnTo>
                <a:lnTo>
                  <a:pt x="1322362" y="768952"/>
                </a:lnTo>
                <a:lnTo>
                  <a:pt x="1321077" y="769809"/>
                </a:lnTo>
                <a:cubicBezTo>
                  <a:pt x="1321987" y="765254"/>
                  <a:pt x="1322899" y="758421"/>
                  <a:pt x="1325176" y="753182"/>
                </a:cubicBezTo>
                <a:close/>
                <a:moveTo>
                  <a:pt x="3329112" y="751587"/>
                </a:moveTo>
                <a:cubicBezTo>
                  <a:pt x="3325468" y="753409"/>
                  <a:pt x="3325468" y="755231"/>
                  <a:pt x="3323646" y="758876"/>
                </a:cubicBezTo>
                <a:cubicBezTo>
                  <a:pt x="3325468" y="758876"/>
                  <a:pt x="3327290" y="757054"/>
                  <a:pt x="3329112" y="757054"/>
                </a:cubicBezTo>
                <a:cubicBezTo>
                  <a:pt x="3329112" y="755231"/>
                  <a:pt x="3329112" y="753409"/>
                  <a:pt x="3329112" y="751587"/>
                </a:cubicBezTo>
                <a:close/>
                <a:moveTo>
                  <a:pt x="3227071" y="751587"/>
                </a:moveTo>
                <a:cubicBezTo>
                  <a:pt x="3221604" y="753409"/>
                  <a:pt x="3227071" y="764342"/>
                  <a:pt x="3223426" y="767987"/>
                </a:cubicBezTo>
                <a:cubicBezTo>
                  <a:pt x="3234359" y="766164"/>
                  <a:pt x="3227071" y="758876"/>
                  <a:pt x="3227071" y="751587"/>
                </a:cubicBezTo>
                <a:close/>
                <a:moveTo>
                  <a:pt x="2328739" y="751587"/>
                </a:moveTo>
                <a:cubicBezTo>
                  <a:pt x="2328739" y="753409"/>
                  <a:pt x="2326916" y="757054"/>
                  <a:pt x="2326916" y="758876"/>
                </a:cubicBezTo>
                <a:lnTo>
                  <a:pt x="2328739" y="760698"/>
                </a:lnTo>
                <a:cubicBezTo>
                  <a:pt x="2328739" y="757054"/>
                  <a:pt x="2328739" y="755231"/>
                  <a:pt x="2328739" y="751587"/>
                </a:cubicBezTo>
                <a:close/>
                <a:moveTo>
                  <a:pt x="1350231" y="751587"/>
                </a:moveTo>
                <a:cubicBezTo>
                  <a:pt x="1352053" y="751587"/>
                  <a:pt x="1352053" y="753409"/>
                  <a:pt x="1353876" y="755231"/>
                </a:cubicBezTo>
                <a:cubicBezTo>
                  <a:pt x="1355698" y="755231"/>
                  <a:pt x="1355698" y="753409"/>
                  <a:pt x="1355698" y="751587"/>
                </a:cubicBezTo>
                <a:cubicBezTo>
                  <a:pt x="1353876" y="749765"/>
                  <a:pt x="1352053" y="749765"/>
                  <a:pt x="1350231" y="751587"/>
                </a:cubicBezTo>
                <a:close/>
                <a:moveTo>
                  <a:pt x="1182592" y="751587"/>
                </a:moveTo>
                <a:cubicBezTo>
                  <a:pt x="1178947" y="749765"/>
                  <a:pt x="1177125" y="751587"/>
                  <a:pt x="1175303" y="753409"/>
                </a:cubicBezTo>
                <a:cubicBezTo>
                  <a:pt x="1178947" y="757054"/>
                  <a:pt x="1180769" y="753409"/>
                  <a:pt x="1182592" y="751587"/>
                </a:cubicBezTo>
                <a:close/>
                <a:moveTo>
                  <a:pt x="1111526" y="751587"/>
                </a:moveTo>
                <a:cubicBezTo>
                  <a:pt x="1109704" y="753409"/>
                  <a:pt x="1109704" y="757054"/>
                  <a:pt x="1109704" y="758876"/>
                </a:cubicBezTo>
                <a:cubicBezTo>
                  <a:pt x="1111526" y="760698"/>
                  <a:pt x="1115171" y="757054"/>
                  <a:pt x="1116993" y="755231"/>
                </a:cubicBezTo>
                <a:cubicBezTo>
                  <a:pt x="1115171" y="751587"/>
                  <a:pt x="1113349" y="753409"/>
                  <a:pt x="1111526" y="751587"/>
                </a:cubicBezTo>
                <a:close/>
                <a:moveTo>
                  <a:pt x="1084194" y="751587"/>
                </a:moveTo>
                <a:cubicBezTo>
                  <a:pt x="1080549" y="749765"/>
                  <a:pt x="1076905" y="753409"/>
                  <a:pt x="1073262" y="757054"/>
                </a:cubicBezTo>
                <a:lnTo>
                  <a:pt x="1070983" y="754777"/>
                </a:lnTo>
                <a:lnTo>
                  <a:pt x="1071439" y="753409"/>
                </a:lnTo>
                <a:cubicBezTo>
                  <a:pt x="1071439" y="753409"/>
                  <a:pt x="1071439" y="753409"/>
                  <a:pt x="1069616" y="753409"/>
                </a:cubicBezTo>
                <a:lnTo>
                  <a:pt x="1070983" y="754777"/>
                </a:lnTo>
                <a:lnTo>
                  <a:pt x="1069616" y="758876"/>
                </a:lnTo>
                <a:cubicBezTo>
                  <a:pt x="1071439" y="758876"/>
                  <a:pt x="1071439" y="758876"/>
                  <a:pt x="1071439" y="758876"/>
                </a:cubicBezTo>
                <a:cubicBezTo>
                  <a:pt x="1071439" y="758876"/>
                  <a:pt x="1073262" y="758876"/>
                  <a:pt x="1073262" y="757054"/>
                </a:cubicBezTo>
                <a:cubicBezTo>
                  <a:pt x="1075083" y="757054"/>
                  <a:pt x="1075083" y="757054"/>
                  <a:pt x="1075083" y="757054"/>
                </a:cubicBezTo>
                <a:cubicBezTo>
                  <a:pt x="1075083" y="757054"/>
                  <a:pt x="1075083" y="758876"/>
                  <a:pt x="1075083" y="758876"/>
                </a:cubicBezTo>
                <a:cubicBezTo>
                  <a:pt x="1075083" y="758876"/>
                  <a:pt x="1076905" y="757054"/>
                  <a:pt x="1076905" y="757054"/>
                </a:cubicBezTo>
                <a:cubicBezTo>
                  <a:pt x="1080549" y="757054"/>
                  <a:pt x="1082373" y="753409"/>
                  <a:pt x="1084194" y="751587"/>
                </a:cubicBezTo>
                <a:close/>
                <a:moveTo>
                  <a:pt x="595852" y="751587"/>
                </a:moveTo>
                <a:cubicBezTo>
                  <a:pt x="592207" y="757054"/>
                  <a:pt x="601318" y="764342"/>
                  <a:pt x="604963" y="769809"/>
                </a:cubicBezTo>
                <a:cubicBezTo>
                  <a:pt x="603140" y="764342"/>
                  <a:pt x="603140" y="755231"/>
                  <a:pt x="595852" y="751587"/>
                </a:cubicBezTo>
                <a:close/>
                <a:moveTo>
                  <a:pt x="532075" y="751587"/>
                </a:moveTo>
                <a:lnTo>
                  <a:pt x="532531" y="752195"/>
                </a:lnTo>
                <a:lnTo>
                  <a:pt x="532103" y="751787"/>
                </a:lnTo>
                <a:close/>
                <a:moveTo>
                  <a:pt x="415456" y="751587"/>
                </a:moveTo>
                <a:cubicBezTo>
                  <a:pt x="413634" y="758876"/>
                  <a:pt x="420923" y="769809"/>
                  <a:pt x="428211" y="762520"/>
                </a:cubicBezTo>
                <a:cubicBezTo>
                  <a:pt x="426389" y="758876"/>
                  <a:pt x="419100" y="757054"/>
                  <a:pt x="415456" y="751587"/>
                </a:cubicBezTo>
                <a:close/>
                <a:moveTo>
                  <a:pt x="273327" y="751587"/>
                </a:moveTo>
                <a:cubicBezTo>
                  <a:pt x="271504" y="755231"/>
                  <a:pt x="278793" y="762520"/>
                  <a:pt x="282438" y="767987"/>
                </a:cubicBezTo>
                <a:cubicBezTo>
                  <a:pt x="284259" y="764342"/>
                  <a:pt x="275149" y="758876"/>
                  <a:pt x="273327" y="751587"/>
                </a:cubicBezTo>
                <a:close/>
                <a:moveTo>
                  <a:pt x="215017" y="751587"/>
                </a:moveTo>
                <a:cubicBezTo>
                  <a:pt x="211372" y="757054"/>
                  <a:pt x="222306" y="769809"/>
                  <a:pt x="225950" y="769809"/>
                </a:cubicBezTo>
                <a:cubicBezTo>
                  <a:pt x="222306" y="762520"/>
                  <a:pt x="218661" y="755231"/>
                  <a:pt x="215017" y="751587"/>
                </a:cubicBezTo>
                <a:close/>
                <a:moveTo>
                  <a:pt x="720153" y="749864"/>
                </a:moveTo>
                <a:lnTo>
                  <a:pt x="723211" y="750628"/>
                </a:lnTo>
                <a:lnTo>
                  <a:pt x="722492" y="751587"/>
                </a:lnTo>
                <a:lnTo>
                  <a:pt x="720172" y="750040"/>
                </a:lnTo>
                <a:close/>
                <a:moveTo>
                  <a:pt x="2605709" y="749765"/>
                </a:moveTo>
                <a:cubicBezTo>
                  <a:pt x="2602065" y="753409"/>
                  <a:pt x="2596598" y="760698"/>
                  <a:pt x="2603887" y="764342"/>
                </a:cubicBezTo>
                <a:cubicBezTo>
                  <a:pt x="2607531" y="766164"/>
                  <a:pt x="2614820" y="766164"/>
                  <a:pt x="2614820" y="771631"/>
                </a:cubicBezTo>
                <a:cubicBezTo>
                  <a:pt x="2614820" y="771631"/>
                  <a:pt x="2612998" y="773453"/>
                  <a:pt x="2611176" y="773453"/>
                </a:cubicBezTo>
                <a:cubicBezTo>
                  <a:pt x="2609353" y="773453"/>
                  <a:pt x="2607531" y="767987"/>
                  <a:pt x="2607531" y="766164"/>
                </a:cubicBezTo>
                <a:cubicBezTo>
                  <a:pt x="2605709" y="775275"/>
                  <a:pt x="2600243" y="788031"/>
                  <a:pt x="2611176" y="795319"/>
                </a:cubicBezTo>
                <a:cubicBezTo>
                  <a:pt x="2612998" y="797141"/>
                  <a:pt x="2611176" y="798964"/>
                  <a:pt x="2611176" y="800786"/>
                </a:cubicBezTo>
                <a:cubicBezTo>
                  <a:pt x="2616642" y="798964"/>
                  <a:pt x="2616642" y="789853"/>
                  <a:pt x="2622109" y="789853"/>
                </a:cubicBezTo>
                <a:cubicBezTo>
                  <a:pt x="2620287" y="795319"/>
                  <a:pt x="2612998" y="797141"/>
                  <a:pt x="2614820" y="804430"/>
                </a:cubicBezTo>
                <a:cubicBezTo>
                  <a:pt x="2629397" y="795319"/>
                  <a:pt x="2623931" y="786208"/>
                  <a:pt x="2622109" y="775275"/>
                </a:cubicBezTo>
                <a:cubicBezTo>
                  <a:pt x="2622109" y="775275"/>
                  <a:pt x="2625753" y="771631"/>
                  <a:pt x="2627575" y="773453"/>
                </a:cubicBezTo>
                <a:cubicBezTo>
                  <a:pt x="2623931" y="775275"/>
                  <a:pt x="2623931" y="780742"/>
                  <a:pt x="2627575" y="780742"/>
                </a:cubicBezTo>
                <a:cubicBezTo>
                  <a:pt x="2633042" y="780742"/>
                  <a:pt x="2636686" y="775275"/>
                  <a:pt x="2638508" y="769809"/>
                </a:cubicBezTo>
                <a:cubicBezTo>
                  <a:pt x="2636686" y="780742"/>
                  <a:pt x="2645797" y="778920"/>
                  <a:pt x="2653086" y="778920"/>
                </a:cubicBezTo>
                <a:cubicBezTo>
                  <a:pt x="2649441" y="773453"/>
                  <a:pt x="2656730" y="764342"/>
                  <a:pt x="2645797" y="760698"/>
                </a:cubicBezTo>
                <a:cubicBezTo>
                  <a:pt x="2631219" y="762520"/>
                  <a:pt x="2616642" y="757054"/>
                  <a:pt x="2605709" y="749765"/>
                </a:cubicBezTo>
                <a:close/>
                <a:moveTo>
                  <a:pt x="1441340" y="749765"/>
                </a:moveTo>
                <a:cubicBezTo>
                  <a:pt x="1437696" y="747943"/>
                  <a:pt x="1439518" y="751587"/>
                  <a:pt x="1435873" y="753409"/>
                </a:cubicBezTo>
                <a:cubicBezTo>
                  <a:pt x="1437696" y="753409"/>
                  <a:pt x="1441340" y="751587"/>
                  <a:pt x="1441340" y="749765"/>
                </a:cubicBezTo>
                <a:close/>
                <a:moveTo>
                  <a:pt x="1102416" y="749765"/>
                </a:moveTo>
                <a:cubicBezTo>
                  <a:pt x="1098771" y="749765"/>
                  <a:pt x="1100593" y="751587"/>
                  <a:pt x="1098771" y="753409"/>
                </a:cubicBezTo>
                <a:cubicBezTo>
                  <a:pt x="1100593" y="753409"/>
                  <a:pt x="1102416" y="753409"/>
                  <a:pt x="1104238" y="755231"/>
                </a:cubicBezTo>
                <a:cubicBezTo>
                  <a:pt x="1104238" y="753409"/>
                  <a:pt x="1104238" y="751587"/>
                  <a:pt x="1102416" y="749765"/>
                </a:cubicBezTo>
                <a:close/>
                <a:moveTo>
                  <a:pt x="1060506" y="749765"/>
                </a:moveTo>
                <a:cubicBezTo>
                  <a:pt x="1053217" y="753409"/>
                  <a:pt x="1055040" y="758876"/>
                  <a:pt x="1049573" y="762520"/>
                </a:cubicBezTo>
                <a:cubicBezTo>
                  <a:pt x="1055040" y="760698"/>
                  <a:pt x="1062328" y="760698"/>
                  <a:pt x="1060506" y="749765"/>
                </a:cubicBezTo>
                <a:close/>
                <a:moveTo>
                  <a:pt x="1020418" y="749765"/>
                </a:moveTo>
                <a:lnTo>
                  <a:pt x="1016166" y="752353"/>
                </a:lnTo>
                <a:lnTo>
                  <a:pt x="1011307" y="753409"/>
                </a:lnTo>
                <a:cubicBezTo>
                  <a:pt x="1012218" y="754320"/>
                  <a:pt x="1013585" y="753865"/>
                  <a:pt x="1015179" y="752954"/>
                </a:cubicBezTo>
                <a:lnTo>
                  <a:pt x="1016166" y="752353"/>
                </a:lnTo>
                <a:lnTo>
                  <a:pt x="1016546" y="752270"/>
                </a:lnTo>
                <a:cubicBezTo>
                  <a:pt x="1018141" y="751132"/>
                  <a:pt x="1019507" y="749765"/>
                  <a:pt x="1020418" y="749765"/>
                </a:cubicBezTo>
                <a:close/>
                <a:moveTo>
                  <a:pt x="998552" y="749765"/>
                </a:moveTo>
                <a:cubicBezTo>
                  <a:pt x="996729" y="751587"/>
                  <a:pt x="994907" y="753409"/>
                  <a:pt x="993085" y="755231"/>
                </a:cubicBezTo>
                <a:cubicBezTo>
                  <a:pt x="994907" y="755231"/>
                  <a:pt x="998552" y="755231"/>
                  <a:pt x="1000374" y="757054"/>
                </a:cubicBezTo>
                <a:cubicBezTo>
                  <a:pt x="1002196" y="753409"/>
                  <a:pt x="1000374" y="751587"/>
                  <a:pt x="998552" y="749765"/>
                </a:cubicBezTo>
                <a:close/>
                <a:moveTo>
                  <a:pt x="918376" y="749765"/>
                </a:moveTo>
                <a:cubicBezTo>
                  <a:pt x="912909" y="751587"/>
                  <a:pt x="912909" y="755231"/>
                  <a:pt x="911087" y="757054"/>
                </a:cubicBezTo>
                <a:cubicBezTo>
                  <a:pt x="916555" y="757054"/>
                  <a:pt x="916555" y="751587"/>
                  <a:pt x="918376" y="749765"/>
                </a:cubicBezTo>
                <a:close/>
                <a:moveTo>
                  <a:pt x="825445" y="749765"/>
                </a:moveTo>
                <a:cubicBezTo>
                  <a:pt x="821801" y="749765"/>
                  <a:pt x="825445" y="753409"/>
                  <a:pt x="819979" y="755231"/>
                </a:cubicBezTo>
                <a:cubicBezTo>
                  <a:pt x="825445" y="755231"/>
                  <a:pt x="825445" y="751587"/>
                  <a:pt x="825445" y="749765"/>
                </a:cubicBezTo>
                <a:close/>
                <a:moveTo>
                  <a:pt x="734336" y="749765"/>
                </a:moveTo>
                <a:lnTo>
                  <a:pt x="734983" y="749883"/>
                </a:lnTo>
                <a:lnTo>
                  <a:pt x="735065" y="750130"/>
                </a:lnTo>
                <a:close/>
                <a:moveTo>
                  <a:pt x="309771" y="749765"/>
                </a:moveTo>
                <a:cubicBezTo>
                  <a:pt x="313414" y="758876"/>
                  <a:pt x="320703" y="758876"/>
                  <a:pt x="329814" y="760698"/>
                </a:cubicBezTo>
                <a:cubicBezTo>
                  <a:pt x="329814" y="757054"/>
                  <a:pt x="327993" y="755231"/>
                  <a:pt x="326169" y="751587"/>
                </a:cubicBezTo>
                <a:cubicBezTo>
                  <a:pt x="327993" y="758876"/>
                  <a:pt x="315236" y="746121"/>
                  <a:pt x="309771" y="749765"/>
                </a:cubicBezTo>
                <a:close/>
                <a:moveTo>
                  <a:pt x="298837" y="749765"/>
                </a:moveTo>
                <a:cubicBezTo>
                  <a:pt x="295193" y="753409"/>
                  <a:pt x="304303" y="758876"/>
                  <a:pt x="309771" y="757054"/>
                </a:cubicBezTo>
                <a:cubicBezTo>
                  <a:pt x="306126" y="753409"/>
                  <a:pt x="302481" y="753409"/>
                  <a:pt x="298837" y="749765"/>
                </a:cubicBezTo>
                <a:close/>
                <a:moveTo>
                  <a:pt x="153063" y="749765"/>
                </a:moveTo>
                <a:cubicBezTo>
                  <a:pt x="160352" y="757054"/>
                  <a:pt x="163996" y="775275"/>
                  <a:pt x="176751" y="773453"/>
                </a:cubicBezTo>
                <a:cubicBezTo>
                  <a:pt x="176751" y="773453"/>
                  <a:pt x="178573" y="775275"/>
                  <a:pt x="180396" y="777098"/>
                </a:cubicBezTo>
                <a:cubicBezTo>
                  <a:pt x="178573" y="778920"/>
                  <a:pt x="184040" y="784386"/>
                  <a:pt x="184040" y="780742"/>
                </a:cubicBezTo>
                <a:cubicBezTo>
                  <a:pt x="184040" y="777098"/>
                  <a:pt x="182218" y="777098"/>
                  <a:pt x="180396" y="777098"/>
                </a:cubicBezTo>
                <a:cubicBezTo>
                  <a:pt x="178573" y="775275"/>
                  <a:pt x="178573" y="773453"/>
                  <a:pt x="176751" y="771631"/>
                </a:cubicBezTo>
                <a:lnTo>
                  <a:pt x="170374" y="766530"/>
                </a:lnTo>
                <a:lnTo>
                  <a:pt x="173107" y="767987"/>
                </a:lnTo>
                <a:cubicBezTo>
                  <a:pt x="167640" y="758876"/>
                  <a:pt x="162174" y="755231"/>
                  <a:pt x="153063" y="749765"/>
                </a:cubicBezTo>
                <a:close/>
                <a:moveTo>
                  <a:pt x="653819" y="749538"/>
                </a:moveTo>
                <a:cubicBezTo>
                  <a:pt x="650061" y="748513"/>
                  <a:pt x="646417" y="748855"/>
                  <a:pt x="643228" y="750221"/>
                </a:cubicBezTo>
                <a:cubicBezTo>
                  <a:pt x="636850" y="752954"/>
                  <a:pt x="632296" y="759787"/>
                  <a:pt x="632296" y="767987"/>
                </a:cubicBezTo>
                <a:cubicBezTo>
                  <a:pt x="632296" y="769809"/>
                  <a:pt x="635939" y="769809"/>
                  <a:pt x="637761" y="771631"/>
                </a:cubicBezTo>
                <a:cubicBezTo>
                  <a:pt x="639583" y="771631"/>
                  <a:pt x="639583" y="769809"/>
                  <a:pt x="639583" y="769809"/>
                </a:cubicBezTo>
                <a:cubicBezTo>
                  <a:pt x="641407" y="775275"/>
                  <a:pt x="645050" y="778920"/>
                  <a:pt x="648694" y="780742"/>
                </a:cubicBezTo>
                <a:cubicBezTo>
                  <a:pt x="643228" y="777098"/>
                  <a:pt x="646872" y="777098"/>
                  <a:pt x="650516" y="777098"/>
                </a:cubicBezTo>
                <a:cubicBezTo>
                  <a:pt x="655983" y="778920"/>
                  <a:pt x="655983" y="788031"/>
                  <a:pt x="659627" y="789853"/>
                </a:cubicBezTo>
                <a:cubicBezTo>
                  <a:pt x="661449" y="789853"/>
                  <a:pt x="661449" y="788031"/>
                  <a:pt x="665094" y="788031"/>
                </a:cubicBezTo>
                <a:cubicBezTo>
                  <a:pt x="666916" y="784386"/>
                  <a:pt x="663272" y="782564"/>
                  <a:pt x="661449" y="780742"/>
                </a:cubicBezTo>
                <a:cubicBezTo>
                  <a:pt x="663272" y="778920"/>
                  <a:pt x="665094" y="777098"/>
                  <a:pt x="668738" y="777098"/>
                </a:cubicBezTo>
                <a:cubicBezTo>
                  <a:pt x="672383" y="780742"/>
                  <a:pt x="665094" y="788031"/>
                  <a:pt x="668738" y="786208"/>
                </a:cubicBezTo>
                <a:cubicBezTo>
                  <a:pt x="668738" y="786208"/>
                  <a:pt x="670560" y="784386"/>
                  <a:pt x="670560" y="784386"/>
                </a:cubicBezTo>
                <a:cubicBezTo>
                  <a:pt x="670560" y="786208"/>
                  <a:pt x="670560" y="789853"/>
                  <a:pt x="670560" y="791675"/>
                </a:cubicBezTo>
                <a:cubicBezTo>
                  <a:pt x="670560" y="798964"/>
                  <a:pt x="674205" y="789853"/>
                  <a:pt x="677849" y="788031"/>
                </a:cubicBezTo>
                <a:cubicBezTo>
                  <a:pt x="677849" y="780742"/>
                  <a:pt x="677849" y="773453"/>
                  <a:pt x="674205" y="766164"/>
                </a:cubicBezTo>
                <a:cubicBezTo>
                  <a:pt x="674205" y="769809"/>
                  <a:pt x="672383" y="771631"/>
                  <a:pt x="672383" y="773453"/>
                </a:cubicBezTo>
                <a:cubicBezTo>
                  <a:pt x="670560" y="767987"/>
                  <a:pt x="668738" y="762520"/>
                  <a:pt x="665094" y="758876"/>
                </a:cubicBezTo>
                <a:cubicBezTo>
                  <a:pt x="663272" y="755231"/>
                  <a:pt x="654161" y="757054"/>
                  <a:pt x="650516" y="753409"/>
                </a:cubicBezTo>
                <a:cubicBezTo>
                  <a:pt x="655983" y="757054"/>
                  <a:pt x="659627" y="757054"/>
                  <a:pt x="665094" y="757054"/>
                </a:cubicBezTo>
                <a:cubicBezTo>
                  <a:pt x="661450" y="752954"/>
                  <a:pt x="657578" y="750563"/>
                  <a:pt x="653819" y="749538"/>
                </a:cubicBezTo>
                <a:close/>
                <a:moveTo>
                  <a:pt x="3340045" y="747943"/>
                </a:moveTo>
                <a:cubicBezTo>
                  <a:pt x="3332756" y="744298"/>
                  <a:pt x="3332756" y="751587"/>
                  <a:pt x="3334579" y="753409"/>
                </a:cubicBezTo>
                <a:cubicBezTo>
                  <a:pt x="3334579" y="755231"/>
                  <a:pt x="3338223" y="751587"/>
                  <a:pt x="3340045" y="749765"/>
                </a:cubicBezTo>
                <a:cubicBezTo>
                  <a:pt x="3341867" y="747943"/>
                  <a:pt x="3334579" y="747943"/>
                  <a:pt x="3340045" y="747943"/>
                </a:cubicBezTo>
                <a:close/>
                <a:moveTo>
                  <a:pt x="2755127" y="747943"/>
                </a:moveTo>
                <a:cubicBezTo>
                  <a:pt x="2753305" y="751587"/>
                  <a:pt x="2751483" y="751587"/>
                  <a:pt x="2749661" y="755231"/>
                </a:cubicBezTo>
                <a:cubicBezTo>
                  <a:pt x="2753305" y="755231"/>
                  <a:pt x="2758772" y="751587"/>
                  <a:pt x="2755127" y="747943"/>
                </a:cubicBezTo>
                <a:close/>
                <a:moveTo>
                  <a:pt x="1403074" y="747943"/>
                </a:moveTo>
                <a:cubicBezTo>
                  <a:pt x="1401252" y="751587"/>
                  <a:pt x="1399430" y="757054"/>
                  <a:pt x="1403074" y="760698"/>
                </a:cubicBezTo>
                <a:cubicBezTo>
                  <a:pt x="1397608" y="762520"/>
                  <a:pt x="1401252" y="766164"/>
                  <a:pt x="1397608" y="767987"/>
                </a:cubicBezTo>
                <a:cubicBezTo>
                  <a:pt x="1401252" y="769809"/>
                  <a:pt x="1403074" y="766164"/>
                  <a:pt x="1406719" y="764342"/>
                </a:cubicBezTo>
                <a:cubicBezTo>
                  <a:pt x="1404896" y="762520"/>
                  <a:pt x="1406719" y="760698"/>
                  <a:pt x="1404896" y="758876"/>
                </a:cubicBezTo>
                <a:cubicBezTo>
                  <a:pt x="1408541" y="758876"/>
                  <a:pt x="1404896" y="764342"/>
                  <a:pt x="1408541" y="764342"/>
                </a:cubicBezTo>
                <a:cubicBezTo>
                  <a:pt x="1414007" y="760698"/>
                  <a:pt x="1412185" y="758876"/>
                  <a:pt x="1417652" y="757054"/>
                </a:cubicBezTo>
                <a:cubicBezTo>
                  <a:pt x="1415829" y="757054"/>
                  <a:pt x="1412185" y="753409"/>
                  <a:pt x="1408541" y="755231"/>
                </a:cubicBezTo>
                <a:cubicBezTo>
                  <a:pt x="1408541" y="751587"/>
                  <a:pt x="1404896" y="751587"/>
                  <a:pt x="1403074" y="747943"/>
                </a:cubicBezTo>
                <a:close/>
                <a:moveTo>
                  <a:pt x="1297388" y="747943"/>
                </a:moveTo>
                <a:cubicBezTo>
                  <a:pt x="1284633" y="746121"/>
                  <a:pt x="1270056" y="751587"/>
                  <a:pt x="1255478" y="753409"/>
                </a:cubicBezTo>
                <a:cubicBezTo>
                  <a:pt x="1251834" y="753409"/>
                  <a:pt x="1250012" y="757054"/>
                  <a:pt x="1250012" y="757054"/>
                </a:cubicBezTo>
                <a:cubicBezTo>
                  <a:pt x="1242723" y="760698"/>
                  <a:pt x="1235434" y="758876"/>
                  <a:pt x="1231790" y="764342"/>
                </a:cubicBezTo>
                <a:cubicBezTo>
                  <a:pt x="1237256" y="767987"/>
                  <a:pt x="1244545" y="767987"/>
                  <a:pt x="1250012" y="769809"/>
                </a:cubicBezTo>
                <a:cubicBezTo>
                  <a:pt x="1251834" y="767987"/>
                  <a:pt x="1251834" y="767987"/>
                  <a:pt x="1251834" y="766164"/>
                </a:cubicBezTo>
                <a:cubicBezTo>
                  <a:pt x="1253656" y="767987"/>
                  <a:pt x="1251834" y="767987"/>
                  <a:pt x="1253656" y="769809"/>
                </a:cubicBezTo>
                <a:cubicBezTo>
                  <a:pt x="1255478" y="767987"/>
                  <a:pt x="1262767" y="766164"/>
                  <a:pt x="1260945" y="762520"/>
                </a:cubicBezTo>
                <a:cubicBezTo>
                  <a:pt x="1260945" y="762520"/>
                  <a:pt x="1262767" y="764342"/>
                  <a:pt x="1262767" y="764342"/>
                </a:cubicBezTo>
                <a:cubicBezTo>
                  <a:pt x="1273700" y="757054"/>
                  <a:pt x="1284633" y="760698"/>
                  <a:pt x="1297388" y="747943"/>
                </a:cubicBezTo>
                <a:close/>
                <a:moveTo>
                  <a:pt x="1147970" y="747943"/>
                </a:moveTo>
                <a:cubicBezTo>
                  <a:pt x="1146148" y="747943"/>
                  <a:pt x="1142503" y="749765"/>
                  <a:pt x="1146148" y="751587"/>
                </a:cubicBezTo>
                <a:cubicBezTo>
                  <a:pt x="1147970" y="749765"/>
                  <a:pt x="1147970" y="751587"/>
                  <a:pt x="1149792" y="749765"/>
                </a:cubicBezTo>
                <a:cubicBezTo>
                  <a:pt x="1149792" y="749765"/>
                  <a:pt x="1147970" y="747943"/>
                  <a:pt x="1147970" y="747943"/>
                </a:cubicBezTo>
                <a:close/>
                <a:moveTo>
                  <a:pt x="1087838" y="747943"/>
                </a:moveTo>
                <a:cubicBezTo>
                  <a:pt x="1086016" y="746121"/>
                  <a:pt x="1082373" y="746121"/>
                  <a:pt x="1078727" y="749765"/>
                </a:cubicBezTo>
                <a:cubicBezTo>
                  <a:pt x="1082373" y="751587"/>
                  <a:pt x="1084194" y="753409"/>
                  <a:pt x="1087838" y="747943"/>
                </a:cubicBezTo>
                <a:close/>
                <a:moveTo>
                  <a:pt x="827267" y="747943"/>
                </a:moveTo>
                <a:cubicBezTo>
                  <a:pt x="829089" y="749765"/>
                  <a:pt x="825445" y="753409"/>
                  <a:pt x="821801" y="758876"/>
                </a:cubicBezTo>
                <a:cubicBezTo>
                  <a:pt x="825445" y="762520"/>
                  <a:pt x="829089" y="760698"/>
                  <a:pt x="832734" y="760698"/>
                </a:cubicBezTo>
                <a:cubicBezTo>
                  <a:pt x="832734" y="762520"/>
                  <a:pt x="825445" y="764342"/>
                  <a:pt x="823623" y="762520"/>
                </a:cubicBezTo>
                <a:cubicBezTo>
                  <a:pt x="819979" y="764342"/>
                  <a:pt x="823623" y="767987"/>
                  <a:pt x="823623" y="769809"/>
                </a:cubicBezTo>
                <a:cubicBezTo>
                  <a:pt x="825445" y="769809"/>
                  <a:pt x="827267" y="767987"/>
                  <a:pt x="829089" y="766164"/>
                </a:cubicBezTo>
                <a:cubicBezTo>
                  <a:pt x="830912" y="766164"/>
                  <a:pt x="827267" y="769809"/>
                  <a:pt x="825445" y="769809"/>
                </a:cubicBezTo>
                <a:cubicBezTo>
                  <a:pt x="827267" y="773453"/>
                  <a:pt x="834556" y="773453"/>
                  <a:pt x="836378" y="777098"/>
                </a:cubicBezTo>
                <a:cubicBezTo>
                  <a:pt x="838200" y="773453"/>
                  <a:pt x="840022" y="767987"/>
                  <a:pt x="834556" y="766164"/>
                </a:cubicBezTo>
                <a:cubicBezTo>
                  <a:pt x="836378" y="766164"/>
                  <a:pt x="838200" y="764342"/>
                  <a:pt x="840022" y="766164"/>
                </a:cubicBezTo>
                <a:cubicBezTo>
                  <a:pt x="836378" y="771631"/>
                  <a:pt x="840022" y="778920"/>
                  <a:pt x="847311" y="778920"/>
                </a:cubicBezTo>
                <a:cubicBezTo>
                  <a:pt x="845489" y="777098"/>
                  <a:pt x="843667" y="775275"/>
                  <a:pt x="841845" y="773453"/>
                </a:cubicBezTo>
                <a:cubicBezTo>
                  <a:pt x="847311" y="773453"/>
                  <a:pt x="847311" y="780742"/>
                  <a:pt x="852778" y="778920"/>
                </a:cubicBezTo>
                <a:cubicBezTo>
                  <a:pt x="850956" y="775275"/>
                  <a:pt x="845489" y="769809"/>
                  <a:pt x="840022" y="766164"/>
                </a:cubicBezTo>
                <a:cubicBezTo>
                  <a:pt x="836378" y="764342"/>
                  <a:pt x="832734" y="753409"/>
                  <a:pt x="827267" y="747943"/>
                </a:cubicBezTo>
                <a:close/>
                <a:moveTo>
                  <a:pt x="803579" y="747943"/>
                </a:moveTo>
                <a:cubicBezTo>
                  <a:pt x="801757" y="749765"/>
                  <a:pt x="807223" y="751587"/>
                  <a:pt x="807223" y="753409"/>
                </a:cubicBezTo>
                <a:cubicBezTo>
                  <a:pt x="810868" y="753409"/>
                  <a:pt x="810868" y="751587"/>
                  <a:pt x="816334" y="747943"/>
                </a:cubicBezTo>
                <a:cubicBezTo>
                  <a:pt x="812690" y="747943"/>
                  <a:pt x="807223" y="747943"/>
                  <a:pt x="803579" y="747943"/>
                </a:cubicBezTo>
                <a:close/>
                <a:moveTo>
                  <a:pt x="759848" y="747943"/>
                </a:moveTo>
                <a:cubicBezTo>
                  <a:pt x="756203" y="753409"/>
                  <a:pt x="765313" y="757054"/>
                  <a:pt x="770781" y="755231"/>
                </a:cubicBezTo>
                <a:cubicBezTo>
                  <a:pt x="767136" y="753409"/>
                  <a:pt x="763491" y="747943"/>
                  <a:pt x="759848" y="747943"/>
                </a:cubicBezTo>
                <a:close/>
                <a:moveTo>
                  <a:pt x="734336" y="747943"/>
                </a:moveTo>
                <a:cubicBezTo>
                  <a:pt x="732515" y="747943"/>
                  <a:pt x="732515" y="749765"/>
                  <a:pt x="730692" y="749765"/>
                </a:cubicBezTo>
                <a:cubicBezTo>
                  <a:pt x="730692" y="749765"/>
                  <a:pt x="732515" y="751587"/>
                  <a:pt x="732515" y="751587"/>
                </a:cubicBezTo>
                <a:cubicBezTo>
                  <a:pt x="732515" y="751587"/>
                  <a:pt x="730692" y="751587"/>
                  <a:pt x="730692" y="751587"/>
                </a:cubicBezTo>
                <a:cubicBezTo>
                  <a:pt x="723404" y="757054"/>
                  <a:pt x="734336" y="764342"/>
                  <a:pt x="743447" y="764342"/>
                </a:cubicBezTo>
                <a:cubicBezTo>
                  <a:pt x="745269" y="762520"/>
                  <a:pt x="739803" y="760698"/>
                  <a:pt x="739803" y="758876"/>
                </a:cubicBezTo>
                <a:cubicBezTo>
                  <a:pt x="743447" y="757054"/>
                  <a:pt x="741626" y="762520"/>
                  <a:pt x="745269" y="762520"/>
                </a:cubicBezTo>
                <a:cubicBezTo>
                  <a:pt x="745269" y="757054"/>
                  <a:pt x="741626" y="755231"/>
                  <a:pt x="736159" y="753409"/>
                </a:cubicBezTo>
                <a:lnTo>
                  <a:pt x="735065" y="750130"/>
                </a:lnTo>
                <a:lnTo>
                  <a:pt x="745269" y="755231"/>
                </a:lnTo>
                <a:cubicBezTo>
                  <a:pt x="745269" y="754320"/>
                  <a:pt x="743902" y="752498"/>
                  <a:pt x="741852" y="751132"/>
                </a:cubicBezTo>
                <a:lnTo>
                  <a:pt x="734983" y="749883"/>
                </a:lnTo>
                <a:close/>
                <a:moveTo>
                  <a:pt x="349858" y="747943"/>
                </a:moveTo>
                <a:cubicBezTo>
                  <a:pt x="355324" y="753409"/>
                  <a:pt x="358969" y="753409"/>
                  <a:pt x="364435" y="755231"/>
                </a:cubicBezTo>
                <a:cubicBezTo>
                  <a:pt x="362613" y="753409"/>
                  <a:pt x="355324" y="747943"/>
                  <a:pt x="349858" y="747943"/>
                </a:cubicBezTo>
                <a:close/>
                <a:moveTo>
                  <a:pt x="273327" y="747943"/>
                </a:moveTo>
                <a:cubicBezTo>
                  <a:pt x="282438" y="755231"/>
                  <a:pt x="293370" y="778920"/>
                  <a:pt x="302481" y="778920"/>
                </a:cubicBezTo>
                <a:cubicBezTo>
                  <a:pt x="298837" y="775275"/>
                  <a:pt x="297015" y="771631"/>
                  <a:pt x="293370" y="769809"/>
                </a:cubicBezTo>
                <a:cubicBezTo>
                  <a:pt x="295193" y="767987"/>
                  <a:pt x="298837" y="775275"/>
                  <a:pt x="300660" y="773453"/>
                </a:cubicBezTo>
                <a:cubicBezTo>
                  <a:pt x="293370" y="758876"/>
                  <a:pt x="284259" y="751587"/>
                  <a:pt x="273327" y="747943"/>
                </a:cubicBezTo>
                <a:close/>
                <a:moveTo>
                  <a:pt x="1395787" y="746121"/>
                </a:moveTo>
                <a:lnTo>
                  <a:pt x="1392141" y="749083"/>
                </a:lnTo>
                <a:lnTo>
                  <a:pt x="1392141" y="747943"/>
                </a:lnTo>
                <a:lnTo>
                  <a:pt x="1391392" y="749691"/>
                </a:lnTo>
                <a:lnTo>
                  <a:pt x="1388497" y="752043"/>
                </a:lnTo>
                <a:cubicBezTo>
                  <a:pt x="1387130" y="754776"/>
                  <a:pt x="1386676" y="757965"/>
                  <a:pt x="1386676" y="760698"/>
                </a:cubicBezTo>
                <a:lnTo>
                  <a:pt x="1391392" y="749691"/>
                </a:lnTo>
                <a:lnTo>
                  <a:pt x="1392141" y="749083"/>
                </a:lnTo>
                <a:lnTo>
                  <a:pt x="1392141" y="751815"/>
                </a:lnTo>
                <a:cubicBezTo>
                  <a:pt x="1391685" y="753410"/>
                  <a:pt x="1391230" y="755232"/>
                  <a:pt x="1392141" y="757054"/>
                </a:cubicBezTo>
                <a:cubicBezTo>
                  <a:pt x="1383030" y="758876"/>
                  <a:pt x="1388497" y="767987"/>
                  <a:pt x="1384854" y="773453"/>
                </a:cubicBezTo>
                <a:cubicBezTo>
                  <a:pt x="1388497" y="773453"/>
                  <a:pt x="1388497" y="769809"/>
                  <a:pt x="1390319" y="771631"/>
                </a:cubicBezTo>
                <a:cubicBezTo>
                  <a:pt x="1395787" y="762520"/>
                  <a:pt x="1401252" y="755231"/>
                  <a:pt x="1395787" y="746121"/>
                </a:cubicBezTo>
                <a:close/>
                <a:moveTo>
                  <a:pt x="1380297" y="746121"/>
                </a:moveTo>
                <a:cubicBezTo>
                  <a:pt x="1377564" y="745665"/>
                  <a:pt x="1374830" y="746121"/>
                  <a:pt x="1372097" y="749765"/>
                </a:cubicBezTo>
                <a:cubicBezTo>
                  <a:pt x="1370275" y="751587"/>
                  <a:pt x="1377564" y="749765"/>
                  <a:pt x="1379386" y="753409"/>
                </a:cubicBezTo>
                <a:cubicBezTo>
                  <a:pt x="1375743" y="755231"/>
                  <a:pt x="1372097" y="753409"/>
                  <a:pt x="1368453" y="753409"/>
                </a:cubicBezTo>
                <a:cubicBezTo>
                  <a:pt x="1366632" y="755231"/>
                  <a:pt x="1362987" y="757054"/>
                  <a:pt x="1364809" y="760698"/>
                </a:cubicBezTo>
                <a:cubicBezTo>
                  <a:pt x="1361164" y="760698"/>
                  <a:pt x="1355698" y="766164"/>
                  <a:pt x="1359342" y="769809"/>
                </a:cubicBezTo>
                <a:cubicBezTo>
                  <a:pt x="1361164" y="767987"/>
                  <a:pt x="1361164" y="767987"/>
                  <a:pt x="1362987" y="766164"/>
                </a:cubicBezTo>
                <a:cubicBezTo>
                  <a:pt x="1366632" y="769809"/>
                  <a:pt x="1357521" y="769809"/>
                  <a:pt x="1357521" y="773453"/>
                </a:cubicBezTo>
                <a:cubicBezTo>
                  <a:pt x="1359342" y="775275"/>
                  <a:pt x="1361164" y="769809"/>
                  <a:pt x="1362987" y="771631"/>
                </a:cubicBezTo>
                <a:cubicBezTo>
                  <a:pt x="1364809" y="773453"/>
                  <a:pt x="1361164" y="773453"/>
                  <a:pt x="1359342" y="775275"/>
                </a:cubicBezTo>
                <a:cubicBezTo>
                  <a:pt x="1361164" y="775275"/>
                  <a:pt x="1362987" y="773453"/>
                  <a:pt x="1364809" y="773453"/>
                </a:cubicBezTo>
                <a:lnTo>
                  <a:pt x="1364809" y="769809"/>
                </a:lnTo>
                <a:cubicBezTo>
                  <a:pt x="1370275" y="773453"/>
                  <a:pt x="1383030" y="767987"/>
                  <a:pt x="1383030" y="760698"/>
                </a:cubicBezTo>
                <a:cubicBezTo>
                  <a:pt x="1383030" y="760698"/>
                  <a:pt x="1384854" y="762520"/>
                  <a:pt x="1384854" y="762520"/>
                </a:cubicBezTo>
                <a:cubicBezTo>
                  <a:pt x="1384854" y="757054"/>
                  <a:pt x="1384854" y="751587"/>
                  <a:pt x="1388497" y="747943"/>
                </a:cubicBezTo>
                <a:cubicBezTo>
                  <a:pt x="1385764" y="747943"/>
                  <a:pt x="1383030" y="746577"/>
                  <a:pt x="1380297" y="746121"/>
                </a:cubicBezTo>
                <a:close/>
                <a:moveTo>
                  <a:pt x="1337476" y="746121"/>
                </a:moveTo>
                <a:lnTo>
                  <a:pt x="1327200" y="752020"/>
                </a:lnTo>
                <a:lnTo>
                  <a:pt x="1328365" y="747943"/>
                </a:lnTo>
                <a:cubicBezTo>
                  <a:pt x="1322899" y="747943"/>
                  <a:pt x="1317432" y="744298"/>
                  <a:pt x="1311966" y="751587"/>
                </a:cubicBezTo>
                <a:lnTo>
                  <a:pt x="1309959" y="753483"/>
                </a:lnTo>
                <a:lnTo>
                  <a:pt x="1295339" y="759332"/>
                </a:lnTo>
                <a:cubicBezTo>
                  <a:pt x="1290555" y="760698"/>
                  <a:pt x="1286455" y="762521"/>
                  <a:pt x="1284633" y="767987"/>
                </a:cubicBezTo>
                <a:lnTo>
                  <a:pt x="1309874" y="753563"/>
                </a:lnTo>
                <a:lnTo>
                  <a:pt x="1299666" y="763203"/>
                </a:lnTo>
                <a:cubicBezTo>
                  <a:pt x="1293289" y="765709"/>
                  <a:pt x="1286455" y="767987"/>
                  <a:pt x="1284633" y="773453"/>
                </a:cubicBezTo>
                <a:cubicBezTo>
                  <a:pt x="1288277" y="777098"/>
                  <a:pt x="1291922" y="773453"/>
                  <a:pt x="1295566" y="771631"/>
                </a:cubicBezTo>
                <a:cubicBezTo>
                  <a:pt x="1295566" y="771631"/>
                  <a:pt x="1293744" y="773453"/>
                  <a:pt x="1293744" y="773453"/>
                </a:cubicBezTo>
                <a:cubicBezTo>
                  <a:pt x="1297388" y="775275"/>
                  <a:pt x="1304677" y="777098"/>
                  <a:pt x="1306499" y="773453"/>
                </a:cubicBezTo>
                <a:cubicBezTo>
                  <a:pt x="1308321" y="775275"/>
                  <a:pt x="1317432" y="775275"/>
                  <a:pt x="1321077" y="773453"/>
                </a:cubicBezTo>
                <a:lnTo>
                  <a:pt x="1322362" y="768952"/>
                </a:lnTo>
                <a:lnTo>
                  <a:pt x="1326543" y="766164"/>
                </a:lnTo>
                <a:cubicBezTo>
                  <a:pt x="1328365" y="764342"/>
                  <a:pt x="1328365" y="767987"/>
                  <a:pt x="1326543" y="767987"/>
                </a:cubicBezTo>
                <a:cubicBezTo>
                  <a:pt x="1328365" y="769809"/>
                  <a:pt x="1330188" y="767987"/>
                  <a:pt x="1332009" y="766164"/>
                </a:cubicBezTo>
                <a:cubicBezTo>
                  <a:pt x="1332009" y="764342"/>
                  <a:pt x="1330188" y="764342"/>
                  <a:pt x="1330188" y="764342"/>
                </a:cubicBezTo>
                <a:cubicBezTo>
                  <a:pt x="1335654" y="760698"/>
                  <a:pt x="1339299" y="757054"/>
                  <a:pt x="1339299" y="753409"/>
                </a:cubicBezTo>
                <a:cubicBezTo>
                  <a:pt x="1337476" y="757054"/>
                  <a:pt x="1337476" y="762520"/>
                  <a:pt x="1335654" y="766164"/>
                </a:cubicBezTo>
                <a:lnTo>
                  <a:pt x="1341207" y="765570"/>
                </a:lnTo>
                <a:lnTo>
                  <a:pt x="1337476" y="769809"/>
                </a:lnTo>
                <a:cubicBezTo>
                  <a:pt x="1339299" y="773453"/>
                  <a:pt x="1346587" y="767987"/>
                  <a:pt x="1350231" y="762520"/>
                </a:cubicBezTo>
                <a:lnTo>
                  <a:pt x="1344372" y="763727"/>
                </a:lnTo>
                <a:lnTo>
                  <a:pt x="1348410" y="760698"/>
                </a:lnTo>
                <a:cubicBezTo>
                  <a:pt x="1348410" y="757054"/>
                  <a:pt x="1342942" y="753409"/>
                  <a:pt x="1346587" y="751587"/>
                </a:cubicBezTo>
                <a:cubicBezTo>
                  <a:pt x="1344765" y="749765"/>
                  <a:pt x="1342942" y="749765"/>
                  <a:pt x="1341120" y="747943"/>
                </a:cubicBezTo>
                <a:cubicBezTo>
                  <a:pt x="1339299" y="747943"/>
                  <a:pt x="1339299" y="749765"/>
                  <a:pt x="1339299" y="749765"/>
                </a:cubicBezTo>
                <a:cubicBezTo>
                  <a:pt x="1335654" y="751587"/>
                  <a:pt x="1339299" y="747943"/>
                  <a:pt x="1337476" y="746121"/>
                </a:cubicBezTo>
                <a:close/>
                <a:moveTo>
                  <a:pt x="1308321" y="746121"/>
                </a:moveTo>
                <a:cubicBezTo>
                  <a:pt x="1302855" y="744298"/>
                  <a:pt x="1295566" y="751587"/>
                  <a:pt x="1290100" y="757054"/>
                </a:cubicBezTo>
                <a:cubicBezTo>
                  <a:pt x="1297388" y="758876"/>
                  <a:pt x="1304677" y="751587"/>
                  <a:pt x="1308321" y="746121"/>
                </a:cubicBezTo>
                <a:close/>
                <a:moveTo>
                  <a:pt x="719759" y="746121"/>
                </a:moveTo>
                <a:lnTo>
                  <a:pt x="720153" y="749864"/>
                </a:lnTo>
                <a:lnTo>
                  <a:pt x="719759" y="749765"/>
                </a:lnTo>
                <a:lnTo>
                  <a:pt x="720172" y="750040"/>
                </a:lnTo>
                <a:lnTo>
                  <a:pt x="720214" y="750449"/>
                </a:lnTo>
                <a:cubicBezTo>
                  <a:pt x="721125" y="751587"/>
                  <a:pt x="722492" y="752498"/>
                  <a:pt x="723404" y="753409"/>
                </a:cubicBezTo>
                <a:cubicBezTo>
                  <a:pt x="723404" y="753409"/>
                  <a:pt x="725226" y="753409"/>
                  <a:pt x="727048" y="751587"/>
                </a:cubicBezTo>
                <a:lnTo>
                  <a:pt x="723211" y="750628"/>
                </a:lnTo>
                <a:lnTo>
                  <a:pt x="725226" y="747943"/>
                </a:lnTo>
                <a:cubicBezTo>
                  <a:pt x="723404" y="747943"/>
                  <a:pt x="721581" y="747943"/>
                  <a:pt x="719759" y="746121"/>
                </a:cubicBezTo>
                <a:close/>
                <a:moveTo>
                  <a:pt x="692426" y="746121"/>
                </a:moveTo>
                <a:lnTo>
                  <a:pt x="692914" y="746300"/>
                </a:lnTo>
                <a:lnTo>
                  <a:pt x="692367" y="747121"/>
                </a:lnTo>
                <a:close/>
                <a:moveTo>
                  <a:pt x="606784" y="746121"/>
                </a:moveTo>
                <a:cubicBezTo>
                  <a:pt x="606784" y="744298"/>
                  <a:pt x="603140" y="746121"/>
                  <a:pt x="601318" y="747943"/>
                </a:cubicBezTo>
                <a:cubicBezTo>
                  <a:pt x="601318" y="749765"/>
                  <a:pt x="606784" y="751587"/>
                  <a:pt x="608606" y="755231"/>
                </a:cubicBezTo>
                <a:cubicBezTo>
                  <a:pt x="608606" y="751587"/>
                  <a:pt x="606784" y="749765"/>
                  <a:pt x="606784" y="746121"/>
                </a:cubicBezTo>
                <a:close/>
                <a:moveTo>
                  <a:pt x="530253" y="746121"/>
                </a:moveTo>
                <a:cubicBezTo>
                  <a:pt x="528431" y="747943"/>
                  <a:pt x="529342" y="749310"/>
                  <a:pt x="530937" y="750676"/>
                </a:cubicBezTo>
                <a:lnTo>
                  <a:pt x="532103" y="751787"/>
                </a:lnTo>
                <a:lnTo>
                  <a:pt x="532758" y="756598"/>
                </a:lnTo>
                <a:cubicBezTo>
                  <a:pt x="533897" y="758421"/>
                  <a:pt x="535719" y="759787"/>
                  <a:pt x="537542" y="758876"/>
                </a:cubicBezTo>
                <a:lnTo>
                  <a:pt x="532531" y="752195"/>
                </a:lnTo>
                <a:lnTo>
                  <a:pt x="535719" y="755231"/>
                </a:lnTo>
                <a:cubicBezTo>
                  <a:pt x="539364" y="751587"/>
                  <a:pt x="532075" y="749765"/>
                  <a:pt x="530253" y="746121"/>
                </a:cubicBezTo>
                <a:close/>
                <a:moveTo>
                  <a:pt x="515676" y="746121"/>
                </a:moveTo>
                <a:cubicBezTo>
                  <a:pt x="513853" y="747943"/>
                  <a:pt x="515676" y="755231"/>
                  <a:pt x="519320" y="757054"/>
                </a:cubicBezTo>
                <a:cubicBezTo>
                  <a:pt x="522964" y="753409"/>
                  <a:pt x="517498" y="749765"/>
                  <a:pt x="515676" y="746121"/>
                </a:cubicBezTo>
                <a:close/>
                <a:moveTo>
                  <a:pt x="271504" y="746121"/>
                </a:moveTo>
                <a:cubicBezTo>
                  <a:pt x="271504" y="747943"/>
                  <a:pt x="276971" y="755231"/>
                  <a:pt x="278793" y="755231"/>
                </a:cubicBezTo>
                <a:cubicBezTo>
                  <a:pt x="276971" y="753409"/>
                  <a:pt x="273327" y="749765"/>
                  <a:pt x="271504" y="746121"/>
                </a:cubicBezTo>
                <a:close/>
                <a:moveTo>
                  <a:pt x="1397608" y="744298"/>
                </a:moveTo>
                <a:cubicBezTo>
                  <a:pt x="1399430" y="746121"/>
                  <a:pt x="1397608" y="749765"/>
                  <a:pt x="1401252" y="749765"/>
                </a:cubicBezTo>
                <a:cubicBezTo>
                  <a:pt x="1401252" y="747943"/>
                  <a:pt x="1401252" y="746121"/>
                  <a:pt x="1401252" y="744298"/>
                </a:cubicBezTo>
                <a:cubicBezTo>
                  <a:pt x="1399430" y="744298"/>
                  <a:pt x="1399430" y="744298"/>
                  <a:pt x="1397608" y="744298"/>
                </a:cubicBezTo>
                <a:close/>
                <a:moveTo>
                  <a:pt x="1352053" y="744298"/>
                </a:moveTo>
                <a:cubicBezTo>
                  <a:pt x="1353876" y="746121"/>
                  <a:pt x="1355698" y="742476"/>
                  <a:pt x="1357521" y="744298"/>
                </a:cubicBezTo>
                <a:cubicBezTo>
                  <a:pt x="1357521" y="747943"/>
                  <a:pt x="1352053" y="747943"/>
                  <a:pt x="1352053" y="744298"/>
                </a:cubicBezTo>
                <a:close/>
                <a:moveTo>
                  <a:pt x="1175303" y="744298"/>
                </a:moveTo>
                <a:cubicBezTo>
                  <a:pt x="1171658" y="746121"/>
                  <a:pt x="1175303" y="747943"/>
                  <a:pt x="1175303" y="749765"/>
                </a:cubicBezTo>
                <a:cubicBezTo>
                  <a:pt x="1177125" y="749765"/>
                  <a:pt x="1178947" y="747943"/>
                  <a:pt x="1180769" y="746121"/>
                </a:cubicBezTo>
                <a:cubicBezTo>
                  <a:pt x="1178947" y="744298"/>
                  <a:pt x="1177125" y="744298"/>
                  <a:pt x="1175303" y="744298"/>
                </a:cubicBezTo>
                <a:close/>
                <a:moveTo>
                  <a:pt x="1137037" y="744298"/>
                </a:moveTo>
                <a:cubicBezTo>
                  <a:pt x="1135215" y="746121"/>
                  <a:pt x="1131570" y="747943"/>
                  <a:pt x="1127926" y="749765"/>
                </a:cubicBezTo>
                <a:cubicBezTo>
                  <a:pt x="1133393" y="749765"/>
                  <a:pt x="1137037" y="751587"/>
                  <a:pt x="1142503" y="749765"/>
                </a:cubicBezTo>
                <a:cubicBezTo>
                  <a:pt x="1140681" y="747943"/>
                  <a:pt x="1138859" y="746121"/>
                  <a:pt x="1137037" y="744298"/>
                </a:cubicBezTo>
                <a:close/>
                <a:moveTo>
                  <a:pt x="916555" y="744298"/>
                </a:moveTo>
                <a:cubicBezTo>
                  <a:pt x="914732" y="746121"/>
                  <a:pt x="914732" y="746121"/>
                  <a:pt x="912909" y="747943"/>
                </a:cubicBezTo>
                <a:cubicBezTo>
                  <a:pt x="914732" y="749765"/>
                  <a:pt x="920198" y="746121"/>
                  <a:pt x="916555" y="744298"/>
                </a:cubicBezTo>
                <a:close/>
                <a:moveTo>
                  <a:pt x="909265" y="744298"/>
                </a:moveTo>
                <a:cubicBezTo>
                  <a:pt x="905621" y="746121"/>
                  <a:pt x="907444" y="746121"/>
                  <a:pt x="905621" y="747943"/>
                </a:cubicBezTo>
                <a:cubicBezTo>
                  <a:pt x="907444" y="749765"/>
                  <a:pt x="909265" y="744298"/>
                  <a:pt x="909265" y="744298"/>
                </a:cubicBezTo>
                <a:close/>
                <a:moveTo>
                  <a:pt x="557586" y="744298"/>
                </a:moveTo>
                <a:cubicBezTo>
                  <a:pt x="552119" y="746121"/>
                  <a:pt x="553941" y="751587"/>
                  <a:pt x="552119" y="755231"/>
                </a:cubicBezTo>
                <a:cubicBezTo>
                  <a:pt x="555763" y="755231"/>
                  <a:pt x="555763" y="747943"/>
                  <a:pt x="557586" y="744298"/>
                </a:cubicBezTo>
                <a:close/>
                <a:moveTo>
                  <a:pt x="362613" y="744298"/>
                </a:moveTo>
                <a:cubicBezTo>
                  <a:pt x="366257" y="746121"/>
                  <a:pt x="368079" y="747943"/>
                  <a:pt x="369902" y="747943"/>
                </a:cubicBezTo>
                <a:cubicBezTo>
                  <a:pt x="371724" y="747943"/>
                  <a:pt x="364435" y="742476"/>
                  <a:pt x="362613" y="744298"/>
                </a:cubicBezTo>
                <a:close/>
                <a:moveTo>
                  <a:pt x="3230715" y="742476"/>
                </a:moveTo>
                <a:cubicBezTo>
                  <a:pt x="3227071" y="742476"/>
                  <a:pt x="3225248" y="742476"/>
                  <a:pt x="3223426" y="744298"/>
                </a:cubicBezTo>
                <a:cubicBezTo>
                  <a:pt x="3223426" y="746121"/>
                  <a:pt x="3225248" y="747943"/>
                  <a:pt x="3225248" y="749765"/>
                </a:cubicBezTo>
                <a:cubicBezTo>
                  <a:pt x="3227071" y="747943"/>
                  <a:pt x="3228893" y="746121"/>
                  <a:pt x="3230715" y="742476"/>
                </a:cubicBezTo>
                <a:close/>
                <a:moveTo>
                  <a:pt x="1434051" y="742476"/>
                </a:moveTo>
                <a:cubicBezTo>
                  <a:pt x="1424940" y="744298"/>
                  <a:pt x="1414007" y="749765"/>
                  <a:pt x="1404896" y="746121"/>
                </a:cubicBezTo>
                <a:cubicBezTo>
                  <a:pt x="1408541" y="751587"/>
                  <a:pt x="1419474" y="757054"/>
                  <a:pt x="1419474" y="747943"/>
                </a:cubicBezTo>
                <a:cubicBezTo>
                  <a:pt x="1419474" y="747943"/>
                  <a:pt x="1421296" y="749765"/>
                  <a:pt x="1421296" y="749765"/>
                </a:cubicBezTo>
                <a:cubicBezTo>
                  <a:pt x="1419474" y="749765"/>
                  <a:pt x="1419474" y="747943"/>
                  <a:pt x="1417652" y="749765"/>
                </a:cubicBezTo>
                <a:cubicBezTo>
                  <a:pt x="1417652" y="751587"/>
                  <a:pt x="1419474" y="755231"/>
                  <a:pt x="1421296" y="755231"/>
                </a:cubicBezTo>
                <a:cubicBezTo>
                  <a:pt x="1421296" y="753409"/>
                  <a:pt x="1421296" y="753409"/>
                  <a:pt x="1421296" y="751587"/>
                </a:cubicBezTo>
                <a:cubicBezTo>
                  <a:pt x="1423118" y="751587"/>
                  <a:pt x="1423118" y="751587"/>
                  <a:pt x="1424940" y="751587"/>
                </a:cubicBezTo>
                <a:cubicBezTo>
                  <a:pt x="1424940" y="753409"/>
                  <a:pt x="1424940" y="755231"/>
                  <a:pt x="1426763" y="755231"/>
                </a:cubicBezTo>
                <a:cubicBezTo>
                  <a:pt x="1430407" y="755231"/>
                  <a:pt x="1426763" y="753409"/>
                  <a:pt x="1428585" y="751587"/>
                </a:cubicBezTo>
                <a:cubicBezTo>
                  <a:pt x="1430407" y="751587"/>
                  <a:pt x="1430407" y="753409"/>
                  <a:pt x="1430407" y="755231"/>
                </a:cubicBezTo>
                <a:cubicBezTo>
                  <a:pt x="1434051" y="753409"/>
                  <a:pt x="1437696" y="751587"/>
                  <a:pt x="1439518" y="747943"/>
                </a:cubicBezTo>
                <a:cubicBezTo>
                  <a:pt x="1437696" y="746121"/>
                  <a:pt x="1435873" y="744298"/>
                  <a:pt x="1434051" y="742476"/>
                </a:cubicBezTo>
                <a:close/>
                <a:moveTo>
                  <a:pt x="1364809" y="742476"/>
                </a:moveTo>
                <a:cubicBezTo>
                  <a:pt x="1361164" y="740654"/>
                  <a:pt x="1355698" y="744298"/>
                  <a:pt x="1359342" y="747943"/>
                </a:cubicBezTo>
                <a:cubicBezTo>
                  <a:pt x="1361164" y="746121"/>
                  <a:pt x="1361164" y="747943"/>
                  <a:pt x="1361164" y="747943"/>
                </a:cubicBezTo>
                <a:cubicBezTo>
                  <a:pt x="1364809" y="746121"/>
                  <a:pt x="1362987" y="744298"/>
                  <a:pt x="1364809" y="742476"/>
                </a:cubicBezTo>
                <a:close/>
                <a:moveTo>
                  <a:pt x="1211747" y="742476"/>
                </a:moveTo>
                <a:cubicBezTo>
                  <a:pt x="1208102" y="740654"/>
                  <a:pt x="1200814" y="746121"/>
                  <a:pt x="1202636" y="749765"/>
                </a:cubicBezTo>
                <a:cubicBezTo>
                  <a:pt x="1206279" y="746121"/>
                  <a:pt x="1208102" y="751587"/>
                  <a:pt x="1211747" y="746121"/>
                </a:cubicBezTo>
                <a:cubicBezTo>
                  <a:pt x="1211747" y="744298"/>
                  <a:pt x="1211747" y="744298"/>
                  <a:pt x="1211747" y="742476"/>
                </a:cubicBezTo>
                <a:close/>
                <a:moveTo>
                  <a:pt x="1142503" y="742476"/>
                </a:moveTo>
                <a:cubicBezTo>
                  <a:pt x="1140681" y="744298"/>
                  <a:pt x="1144326" y="746121"/>
                  <a:pt x="1144326" y="747943"/>
                </a:cubicBezTo>
                <a:cubicBezTo>
                  <a:pt x="1144326" y="747943"/>
                  <a:pt x="1146148" y="746121"/>
                  <a:pt x="1146148" y="746121"/>
                </a:cubicBezTo>
                <a:cubicBezTo>
                  <a:pt x="1144326" y="744298"/>
                  <a:pt x="1144326" y="744298"/>
                  <a:pt x="1142503" y="742476"/>
                </a:cubicBezTo>
                <a:close/>
                <a:moveTo>
                  <a:pt x="506565" y="742476"/>
                </a:moveTo>
                <a:cubicBezTo>
                  <a:pt x="501098" y="746121"/>
                  <a:pt x="508387" y="747943"/>
                  <a:pt x="508387" y="749765"/>
                </a:cubicBezTo>
                <a:cubicBezTo>
                  <a:pt x="510209" y="747943"/>
                  <a:pt x="506565" y="744298"/>
                  <a:pt x="506565" y="742476"/>
                </a:cubicBezTo>
                <a:close/>
                <a:moveTo>
                  <a:pt x="375368" y="742476"/>
                </a:moveTo>
                <a:cubicBezTo>
                  <a:pt x="375368" y="744298"/>
                  <a:pt x="377190" y="749765"/>
                  <a:pt x="380835" y="747943"/>
                </a:cubicBezTo>
                <a:cubicBezTo>
                  <a:pt x="380835" y="744298"/>
                  <a:pt x="377190" y="744298"/>
                  <a:pt x="375368" y="742476"/>
                </a:cubicBezTo>
                <a:close/>
                <a:moveTo>
                  <a:pt x="3522263" y="740654"/>
                </a:moveTo>
                <a:cubicBezTo>
                  <a:pt x="3511330" y="740654"/>
                  <a:pt x="3504041" y="744298"/>
                  <a:pt x="3498574" y="749765"/>
                </a:cubicBezTo>
                <a:cubicBezTo>
                  <a:pt x="3502219" y="747943"/>
                  <a:pt x="3505863" y="749765"/>
                  <a:pt x="3509507" y="749765"/>
                </a:cubicBezTo>
                <a:cubicBezTo>
                  <a:pt x="3505863" y="753409"/>
                  <a:pt x="3500397" y="749765"/>
                  <a:pt x="3494930" y="749765"/>
                </a:cubicBezTo>
                <a:cubicBezTo>
                  <a:pt x="3494930" y="751587"/>
                  <a:pt x="3494930" y="757054"/>
                  <a:pt x="3498574" y="757054"/>
                </a:cubicBezTo>
                <a:cubicBezTo>
                  <a:pt x="3498574" y="758876"/>
                  <a:pt x="3496752" y="758876"/>
                  <a:pt x="3496752" y="760698"/>
                </a:cubicBezTo>
                <a:cubicBezTo>
                  <a:pt x="3494930" y="758876"/>
                  <a:pt x="3494930" y="758876"/>
                  <a:pt x="3493108" y="758876"/>
                </a:cubicBezTo>
                <a:cubicBezTo>
                  <a:pt x="3491286" y="758876"/>
                  <a:pt x="3489463" y="751587"/>
                  <a:pt x="3491286" y="751587"/>
                </a:cubicBezTo>
                <a:cubicBezTo>
                  <a:pt x="3478530" y="755231"/>
                  <a:pt x="3462131" y="766164"/>
                  <a:pt x="3456664" y="778920"/>
                </a:cubicBezTo>
                <a:cubicBezTo>
                  <a:pt x="3454842" y="778920"/>
                  <a:pt x="3454842" y="780742"/>
                  <a:pt x="3453020" y="780742"/>
                </a:cubicBezTo>
                <a:cubicBezTo>
                  <a:pt x="3453020" y="788031"/>
                  <a:pt x="3462131" y="786208"/>
                  <a:pt x="3467597" y="788031"/>
                </a:cubicBezTo>
                <a:cubicBezTo>
                  <a:pt x="3467597" y="791675"/>
                  <a:pt x="3469419" y="793497"/>
                  <a:pt x="3469419" y="797141"/>
                </a:cubicBezTo>
                <a:cubicBezTo>
                  <a:pt x="3478530" y="788031"/>
                  <a:pt x="3463953" y="784386"/>
                  <a:pt x="3456664" y="778920"/>
                </a:cubicBezTo>
                <a:cubicBezTo>
                  <a:pt x="3456664" y="778920"/>
                  <a:pt x="3460309" y="778920"/>
                  <a:pt x="3460309" y="780742"/>
                </a:cubicBezTo>
                <a:cubicBezTo>
                  <a:pt x="3469419" y="777098"/>
                  <a:pt x="3469419" y="778920"/>
                  <a:pt x="3476708" y="780742"/>
                </a:cubicBezTo>
                <a:cubicBezTo>
                  <a:pt x="3475342" y="777554"/>
                  <a:pt x="3475683" y="775390"/>
                  <a:pt x="3477079" y="773852"/>
                </a:cubicBezTo>
                <a:lnTo>
                  <a:pt x="3480093" y="772441"/>
                </a:lnTo>
                <a:lnTo>
                  <a:pt x="3476253" y="784387"/>
                </a:lnTo>
                <a:cubicBezTo>
                  <a:pt x="3474886" y="788487"/>
                  <a:pt x="3473975" y="792586"/>
                  <a:pt x="3474886" y="797141"/>
                </a:cubicBezTo>
                <a:cubicBezTo>
                  <a:pt x="3476708" y="793497"/>
                  <a:pt x="3478530" y="795319"/>
                  <a:pt x="3480353" y="795319"/>
                </a:cubicBezTo>
                <a:cubicBezTo>
                  <a:pt x="3480353" y="800786"/>
                  <a:pt x="3482175" y="804430"/>
                  <a:pt x="3487641" y="802608"/>
                </a:cubicBezTo>
                <a:cubicBezTo>
                  <a:pt x="3485819" y="798964"/>
                  <a:pt x="3485819" y="795319"/>
                  <a:pt x="3487641" y="791675"/>
                </a:cubicBezTo>
                <a:cubicBezTo>
                  <a:pt x="3489463" y="806252"/>
                  <a:pt x="3502219" y="804430"/>
                  <a:pt x="3513152" y="806252"/>
                </a:cubicBezTo>
                <a:cubicBezTo>
                  <a:pt x="3513152" y="798964"/>
                  <a:pt x="3516796" y="802608"/>
                  <a:pt x="3522263" y="800786"/>
                </a:cubicBezTo>
                <a:cubicBezTo>
                  <a:pt x="3520440" y="800786"/>
                  <a:pt x="3520440" y="800786"/>
                  <a:pt x="3518618" y="798964"/>
                </a:cubicBezTo>
                <a:cubicBezTo>
                  <a:pt x="3522263" y="797141"/>
                  <a:pt x="3527729" y="798964"/>
                  <a:pt x="3533196" y="800786"/>
                </a:cubicBezTo>
                <a:cubicBezTo>
                  <a:pt x="3529551" y="793497"/>
                  <a:pt x="3524085" y="793497"/>
                  <a:pt x="3516796" y="795319"/>
                </a:cubicBezTo>
                <a:cubicBezTo>
                  <a:pt x="3516796" y="786208"/>
                  <a:pt x="3511330" y="780742"/>
                  <a:pt x="3505863" y="773453"/>
                </a:cubicBezTo>
                <a:cubicBezTo>
                  <a:pt x="3505863" y="771631"/>
                  <a:pt x="3500397" y="773453"/>
                  <a:pt x="3498574" y="773453"/>
                </a:cubicBezTo>
                <a:cubicBezTo>
                  <a:pt x="3498574" y="775275"/>
                  <a:pt x="3500397" y="775275"/>
                  <a:pt x="3500397" y="777098"/>
                </a:cubicBezTo>
                <a:cubicBezTo>
                  <a:pt x="3500397" y="778920"/>
                  <a:pt x="3496752" y="775275"/>
                  <a:pt x="3496752" y="778920"/>
                </a:cubicBezTo>
                <a:cubicBezTo>
                  <a:pt x="3494019" y="777098"/>
                  <a:pt x="3492197" y="774820"/>
                  <a:pt x="3489919" y="773226"/>
                </a:cubicBezTo>
                <a:lnTo>
                  <a:pt x="3481437" y="771812"/>
                </a:lnTo>
                <a:lnTo>
                  <a:pt x="3483770" y="770720"/>
                </a:lnTo>
                <a:cubicBezTo>
                  <a:pt x="3489464" y="769354"/>
                  <a:pt x="3496753" y="768898"/>
                  <a:pt x="3500397" y="766164"/>
                </a:cubicBezTo>
                <a:cubicBezTo>
                  <a:pt x="3504041" y="767987"/>
                  <a:pt x="3505863" y="771631"/>
                  <a:pt x="3509507" y="775275"/>
                </a:cubicBezTo>
                <a:cubicBezTo>
                  <a:pt x="3513152" y="775275"/>
                  <a:pt x="3513152" y="773453"/>
                  <a:pt x="3514974" y="773453"/>
                </a:cubicBezTo>
                <a:cubicBezTo>
                  <a:pt x="3522263" y="775275"/>
                  <a:pt x="3520440" y="786208"/>
                  <a:pt x="3525907" y="791675"/>
                </a:cubicBezTo>
                <a:cubicBezTo>
                  <a:pt x="3529551" y="791675"/>
                  <a:pt x="3527729" y="789853"/>
                  <a:pt x="3529551" y="788031"/>
                </a:cubicBezTo>
                <a:cubicBezTo>
                  <a:pt x="3533196" y="788031"/>
                  <a:pt x="3533196" y="789853"/>
                  <a:pt x="3535018" y="791675"/>
                </a:cubicBezTo>
                <a:cubicBezTo>
                  <a:pt x="3536840" y="786208"/>
                  <a:pt x="3536840" y="769809"/>
                  <a:pt x="3527729" y="769809"/>
                </a:cubicBezTo>
                <a:cubicBezTo>
                  <a:pt x="3531374" y="766164"/>
                  <a:pt x="3527729" y="758876"/>
                  <a:pt x="3524085" y="757054"/>
                </a:cubicBezTo>
                <a:cubicBezTo>
                  <a:pt x="3520440" y="757054"/>
                  <a:pt x="3522263" y="758876"/>
                  <a:pt x="3522263" y="760698"/>
                </a:cubicBezTo>
                <a:cubicBezTo>
                  <a:pt x="3518618" y="760698"/>
                  <a:pt x="3520440" y="753409"/>
                  <a:pt x="3516796" y="751587"/>
                </a:cubicBezTo>
                <a:cubicBezTo>
                  <a:pt x="3522263" y="749765"/>
                  <a:pt x="3525907" y="746121"/>
                  <a:pt x="3522263" y="740654"/>
                </a:cubicBezTo>
                <a:close/>
                <a:moveTo>
                  <a:pt x="2314161" y="740654"/>
                </a:moveTo>
                <a:cubicBezTo>
                  <a:pt x="2310517" y="742476"/>
                  <a:pt x="2312339" y="753409"/>
                  <a:pt x="2315983" y="751587"/>
                </a:cubicBezTo>
                <a:cubicBezTo>
                  <a:pt x="2315983" y="746121"/>
                  <a:pt x="2315983" y="742476"/>
                  <a:pt x="2314161" y="740654"/>
                </a:cubicBezTo>
                <a:close/>
                <a:moveTo>
                  <a:pt x="1240901" y="740654"/>
                </a:moveTo>
                <a:cubicBezTo>
                  <a:pt x="1237256" y="738832"/>
                  <a:pt x="1233612" y="744298"/>
                  <a:pt x="1229969" y="744298"/>
                </a:cubicBezTo>
                <a:cubicBezTo>
                  <a:pt x="1231790" y="746121"/>
                  <a:pt x="1237256" y="744298"/>
                  <a:pt x="1240901" y="740654"/>
                </a:cubicBezTo>
                <a:close/>
                <a:moveTo>
                  <a:pt x="1024062" y="740654"/>
                </a:moveTo>
                <a:cubicBezTo>
                  <a:pt x="1018596" y="742476"/>
                  <a:pt x="1014951" y="747943"/>
                  <a:pt x="1018596" y="749765"/>
                </a:cubicBezTo>
                <a:cubicBezTo>
                  <a:pt x="1024062" y="749765"/>
                  <a:pt x="1022240" y="742476"/>
                  <a:pt x="1024062" y="740654"/>
                </a:cubicBezTo>
                <a:close/>
                <a:moveTo>
                  <a:pt x="880111" y="740654"/>
                </a:moveTo>
                <a:cubicBezTo>
                  <a:pt x="881933" y="744298"/>
                  <a:pt x="885577" y="747943"/>
                  <a:pt x="889222" y="751587"/>
                </a:cubicBezTo>
                <a:cubicBezTo>
                  <a:pt x="896510" y="747943"/>
                  <a:pt x="887399" y="742476"/>
                  <a:pt x="880111" y="740654"/>
                </a:cubicBezTo>
                <a:close/>
                <a:moveTo>
                  <a:pt x="805401" y="740654"/>
                </a:moveTo>
                <a:cubicBezTo>
                  <a:pt x="801757" y="742476"/>
                  <a:pt x="803579" y="744298"/>
                  <a:pt x="801757" y="746121"/>
                </a:cubicBezTo>
                <a:cubicBezTo>
                  <a:pt x="805401" y="746121"/>
                  <a:pt x="809046" y="747943"/>
                  <a:pt x="812690" y="746121"/>
                </a:cubicBezTo>
                <a:cubicBezTo>
                  <a:pt x="810868" y="744298"/>
                  <a:pt x="809046" y="740654"/>
                  <a:pt x="805401" y="740654"/>
                </a:cubicBezTo>
                <a:close/>
                <a:moveTo>
                  <a:pt x="747092" y="740654"/>
                </a:moveTo>
                <a:cubicBezTo>
                  <a:pt x="745269" y="744298"/>
                  <a:pt x="754380" y="747943"/>
                  <a:pt x="754380" y="751587"/>
                </a:cubicBezTo>
                <a:cubicBezTo>
                  <a:pt x="759848" y="746121"/>
                  <a:pt x="754380" y="740654"/>
                  <a:pt x="747092" y="740654"/>
                </a:cubicBezTo>
                <a:close/>
                <a:moveTo>
                  <a:pt x="561230" y="740654"/>
                </a:moveTo>
                <a:cubicBezTo>
                  <a:pt x="555763" y="742476"/>
                  <a:pt x="561230" y="744298"/>
                  <a:pt x="563052" y="746121"/>
                </a:cubicBezTo>
                <a:cubicBezTo>
                  <a:pt x="564874" y="744298"/>
                  <a:pt x="563052" y="742476"/>
                  <a:pt x="561230" y="740654"/>
                </a:cubicBezTo>
                <a:close/>
                <a:moveTo>
                  <a:pt x="428211" y="740654"/>
                </a:moveTo>
                <a:cubicBezTo>
                  <a:pt x="433678" y="753409"/>
                  <a:pt x="442789" y="766164"/>
                  <a:pt x="450077" y="777098"/>
                </a:cubicBezTo>
                <a:cubicBezTo>
                  <a:pt x="450077" y="767987"/>
                  <a:pt x="444611" y="758876"/>
                  <a:pt x="444611" y="747943"/>
                </a:cubicBezTo>
                <a:cubicBezTo>
                  <a:pt x="439145" y="746121"/>
                  <a:pt x="433678" y="744298"/>
                  <a:pt x="428211" y="740654"/>
                </a:cubicBezTo>
                <a:close/>
                <a:moveTo>
                  <a:pt x="140308" y="740654"/>
                </a:moveTo>
                <a:cubicBezTo>
                  <a:pt x="143952" y="747943"/>
                  <a:pt x="153063" y="755231"/>
                  <a:pt x="160352" y="764342"/>
                </a:cubicBezTo>
                <a:cubicBezTo>
                  <a:pt x="160352" y="758876"/>
                  <a:pt x="151241" y="753409"/>
                  <a:pt x="151241" y="749765"/>
                </a:cubicBezTo>
                <a:cubicBezTo>
                  <a:pt x="156707" y="757054"/>
                  <a:pt x="153063" y="749765"/>
                  <a:pt x="149419" y="746121"/>
                </a:cubicBezTo>
                <a:cubicBezTo>
                  <a:pt x="145774" y="742476"/>
                  <a:pt x="140308" y="742476"/>
                  <a:pt x="140308" y="740654"/>
                </a:cubicBezTo>
                <a:close/>
                <a:moveTo>
                  <a:pt x="1184414" y="739516"/>
                </a:moveTo>
                <a:cubicBezTo>
                  <a:pt x="1182592" y="740199"/>
                  <a:pt x="1180769" y="741565"/>
                  <a:pt x="1178947" y="742476"/>
                </a:cubicBezTo>
                <a:cubicBezTo>
                  <a:pt x="1180769" y="742476"/>
                  <a:pt x="1182592" y="744298"/>
                  <a:pt x="1184414" y="744298"/>
                </a:cubicBezTo>
                <a:cubicBezTo>
                  <a:pt x="1186236" y="742476"/>
                  <a:pt x="1186236" y="740654"/>
                  <a:pt x="1189880" y="740654"/>
                </a:cubicBezTo>
                <a:cubicBezTo>
                  <a:pt x="1188058" y="738832"/>
                  <a:pt x="1186236" y="738832"/>
                  <a:pt x="1184414" y="739516"/>
                </a:cubicBezTo>
                <a:close/>
                <a:moveTo>
                  <a:pt x="3216137" y="738832"/>
                </a:moveTo>
                <a:cubicBezTo>
                  <a:pt x="3210671" y="737010"/>
                  <a:pt x="3212493" y="742476"/>
                  <a:pt x="3210671" y="744298"/>
                </a:cubicBezTo>
                <a:cubicBezTo>
                  <a:pt x="3214315" y="746121"/>
                  <a:pt x="3214315" y="747943"/>
                  <a:pt x="3216137" y="749765"/>
                </a:cubicBezTo>
                <a:cubicBezTo>
                  <a:pt x="3219782" y="749765"/>
                  <a:pt x="3216137" y="744298"/>
                  <a:pt x="3219782" y="744298"/>
                </a:cubicBezTo>
                <a:cubicBezTo>
                  <a:pt x="3216137" y="742476"/>
                  <a:pt x="3212493" y="742476"/>
                  <a:pt x="3216137" y="738832"/>
                </a:cubicBezTo>
                <a:close/>
                <a:moveTo>
                  <a:pt x="2658552" y="738832"/>
                </a:moveTo>
                <a:cubicBezTo>
                  <a:pt x="2660374" y="742476"/>
                  <a:pt x="2665841" y="747943"/>
                  <a:pt x="2667663" y="742476"/>
                </a:cubicBezTo>
                <a:cubicBezTo>
                  <a:pt x="2667663" y="737010"/>
                  <a:pt x="2662197" y="740654"/>
                  <a:pt x="2658552" y="738832"/>
                </a:cubicBezTo>
                <a:close/>
                <a:moveTo>
                  <a:pt x="1461384" y="738832"/>
                </a:moveTo>
                <a:lnTo>
                  <a:pt x="1452273" y="742476"/>
                </a:lnTo>
                <a:lnTo>
                  <a:pt x="1452728" y="742021"/>
                </a:lnTo>
                <a:cubicBezTo>
                  <a:pt x="1455462" y="741110"/>
                  <a:pt x="1458650" y="740654"/>
                  <a:pt x="1461384" y="738832"/>
                </a:cubicBezTo>
                <a:close/>
                <a:moveTo>
                  <a:pt x="1215390" y="738832"/>
                </a:moveTo>
                <a:cubicBezTo>
                  <a:pt x="1217213" y="740654"/>
                  <a:pt x="1215390" y="740654"/>
                  <a:pt x="1217213" y="742476"/>
                </a:cubicBezTo>
                <a:cubicBezTo>
                  <a:pt x="1219036" y="742476"/>
                  <a:pt x="1220858" y="740654"/>
                  <a:pt x="1220858" y="738832"/>
                </a:cubicBezTo>
                <a:cubicBezTo>
                  <a:pt x="1219036" y="738832"/>
                  <a:pt x="1217213" y="737010"/>
                  <a:pt x="1215390" y="738832"/>
                </a:cubicBezTo>
                <a:close/>
                <a:moveTo>
                  <a:pt x="1133393" y="738832"/>
                </a:moveTo>
                <a:cubicBezTo>
                  <a:pt x="1133393" y="740654"/>
                  <a:pt x="1135215" y="740654"/>
                  <a:pt x="1135215" y="740654"/>
                </a:cubicBezTo>
                <a:cubicBezTo>
                  <a:pt x="1135215" y="738832"/>
                  <a:pt x="1135215" y="738832"/>
                  <a:pt x="1138859" y="738832"/>
                </a:cubicBezTo>
                <a:cubicBezTo>
                  <a:pt x="1137037" y="737010"/>
                  <a:pt x="1135215" y="737010"/>
                  <a:pt x="1133393" y="738832"/>
                </a:cubicBezTo>
                <a:close/>
                <a:moveTo>
                  <a:pt x="1109704" y="738832"/>
                </a:moveTo>
                <a:cubicBezTo>
                  <a:pt x="1109704" y="740654"/>
                  <a:pt x="1109704" y="742476"/>
                  <a:pt x="1111526" y="744298"/>
                </a:cubicBezTo>
                <a:cubicBezTo>
                  <a:pt x="1111526" y="744298"/>
                  <a:pt x="1113349" y="742476"/>
                  <a:pt x="1113349" y="742476"/>
                </a:cubicBezTo>
                <a:cubicBezTo>
                  <a:pt x="1113349" y="744298"/>
                  <a:pt x="1109704" y="746121"/>
                  <a:pt x="1111526" y="749765"/>
                </a:cubicBezTo>
                <a:cubicBezTo>
                  <a:pt x="1113349" y="751587"/>
                  <a:pt x="1120637" y="751587"/>
                  <a:pt x="1116993" y="746121"/>
                </a:cubicBezTo>
                <a:cubicBezTo>
                  <a:pt x="1120637" y="746121"/>
                  <a:pt x="1116993" y="749765"/>
                  <a:pt x="1120637" y="751587"/>
                </a:cubicBezTo>
                <a:cubicBezTo>
                  <a:pt x="1122459" y="746121"/>
                  <a:pt x="1122459" y="740654"/>
                  <a:pt x="1120637" y="738832"/>
                </a:cubicBezTo>
                <a:cubicBezTo>
                  <a:pt x="1116993" y="740654"/>
                  <a:pt x="1113349" y="738832"/>
                  <a:pt x="1109704" y="738832"/>
                </a:cubicBezTo>
                <a:close/>
                <a:moveTo>
                  <a:pt x="949353" y="738832"/>
                </a:moveTo>
                <a:cubicBezTo>
                  <a:pt x="945709" y="740654"/>
                  <a:pt x="938420" y="746121"/>
                  <a:pt x="942064" y="747943"/>
                </a:cubicBezTo>
                <a:cubicBezTo>
                  <a:pt x="942064" y="744298"/>
                  <a:pt x="947531" y="740654"/>
                  <a:pt x="949353" y="738832"/>
                </a:cubicBezTo>
                <a:close/>
                <a:moveTo>
                  <a:pt x="818156" y="738832"/>
                </a:moveTo>
                <a:cubicBezTo>
                  <a:pt x="816334" y="740654"/>
                  <a:pt x="816334" y="744298"/>
                  <a:pt x="818156" y="746121"/>
                </a:cubicBezTo>
                <a:cubicBezTo>
                  <a:pt x="821801" y="744298"/>
                  <a:pt x="821801" y="742476"/>
                  <a:pt x="823623" y="740654"/>
                </a:cubicBezTo>
                <a:cubicBezTo>
                  <a:pt x="821801" y="740654"/>
                  <a:pt x="819979" y="740654"/>
                  <a:pt x="818156" y="738832"/>
                </a:cubicBezTo>
                <a:close/>
                <a:moveTo>
                  <a:pt x="739803" y="738832"/>
                </a:moveTo>
                <a:cubicBezTo>
                  <a:pt x="739803" y="740654"/>
                  <a:pt x="743447" y="746121"/>
                  <a:pt x="747092" y="744298"/>
                </a:cubicBezTo>
                <a:cubicBezTo>
                  <a:pt x="743447" y="742476"/>
                  <a:pt x="743447" y="738832"/>
                  <a:pt x="739803" y="738832"/>
                </a:cubicBezTo>
                <a:close/>
                <a:moveTo>
                  <a:pt x="648694" y="738832"/>
                </a:moveTo>
                <a:cubicBezTo>
                  <a:pt x="645050" y="742476"/>
                  <a:pt x="645050" y="744298"/>
                  <a:pt x="645050" y="746121"/>
                </a:cubicBezTo>
                <a:cubicBezTo>
                  <a:pt x="652339" y="749765"/>
                  <a:pt x="657805" y="747943"/>
                  <a:pt x="663272" y="751587"/>
                </a:cubicBezTo>
                <a:cubicBezTo>
                  <a:pt x="665094" y="744298"/>
                  <a:pt x="652339" y="744298"/>
                  <a:pt x="648694" y="738832"/>
                </a:cubicBezTo>
                <a:close/>
                <a:moveTo>
                  <a:pt x="590385" y="738832"/>
                </a:moveTo>
                <a:cubicBezTo>
                  <a:pt x="588562" y="742476"/>
                  <a:pt x="588562" y="746121"/>
                  <a:pt x="592207" y="749765"/>
                </a:cubicBezTo>
                <a:cubicBezTo>
                  <a:pt x="597673" y="746121"/>
                  <a:pt x="592207" y="740654"/>
                  <a:pt x="590385" y="738832"/>
                </a:cubicBezTo>
                <a:close/>
                <a:moveTo>
                  <a:pt x="322525" y="738832"/>
                </a:moveTo>
                <a:cubicBezTo>
                  <a:pt x="326169" y="744298"/>
                  <a:pt x="324347" y="749765"/>
                  <a:pt x="329814" y="753409"/>
                </a:cubicBezTo>
                <a:cubicBezTo>
                  <a:pt x="327993" y="749765"/>
                  <a:pt x="327993" y="747943"/>
                  <a:pt x="331636" y="746121"/>
                </a:cubicBezTo>
                <a:cubicBezTo>
                  <a:pt x="333458" y="757054"/>
                  <a:pt x="346213" y="764342"/>
                  <a:pt x="357146" y="762520"/>
                </a:cubicBezTo>
                <a:cubicBezTo>
                  <a:pt x="353502" y="757054"/>
                  <a:pt x="346213" y="755231"/>
                  <a:pt x="344391" y="751587"/>
                </a:cubicBezTo>
                <a:cubicBezTo>
                  <a:pt x="340747" y="751587"/>
                  <a:pt x="337102" y="749765"/>
                  <a:pt x="335280" y="747943"/>
                </a:cubicBezTo>
                <a:cubicBezTo>
                  <a:pt x="335280" y="747943"/>
                  <a:pt x="338926" y="746121"/>
                  <a:pt x="340747" y="747943"/>
                </a:cubicBezTo>
                <a:cubicBezTo>
                  <a:pt x="335280" y="744298"/>
                  <a:pt x="331636" y="737010"/>
                  <a:pt x="322525" y="738832"/>
                </a:cubicBezTo>
                <a:close/>
                <a:moveTo>
                  <a:pt x="1434232" y="737497"/>
                </a:moveTo>
                <a:lnTo>
                  <a:pt x="1432229" y="738832"/>
                </a:lnTo>
                <a:lnTo>
                  <a:pt x="1434006" y="737529"/>
                </a:lnTo>
                <a:close/>
                <a:moveTo>
                  <a:pt x="1311966" y="737010"/>
                </a:moveTo>
                <a:cubicBezTo>
                  <a:pt x="1311966" y="737010"/>
                  <a:pt x="1313788" y="738832"/>
                  <a:pt x="1313788" y="738832"/>
                </a:cubicBezTo>
                <a:cubicBezTo>
                  <a:pt x="1310143" y="740654"/>
                  <a:pt x="1311966" y="737010"/>
                  <a:pt x="1311966" y="737010"/>
                </a:cubicBezTo>
                <a:close/>
                <a:moveTo>
                  <a:pt x="1197169" y="737010"/>
                </a:moveTo>
                <a:cubicBezTo>
                  <a:pt x="1193525" y="735188"/>
                  <a:pt x="1195346" y="738832"/>
                  <a:pt x="1195346" y="740654"/>
                </a:cubicBezTo>
                <a:cubicBezTo>
                  <a:pt x="1197169" y="742476"/>
                  <a:pt x="1195346" y="738832"/>
                  <a:pt x="1197169" y="737010"/>
                </a:cubicBezTo>
                <a:close/>
                <a:moveTo>
                  <a:pt x="1155259" y="737010"/>
                </a:moveTo>
                <a:cubicBezTo>
                  <a:pt x="1155259" y="740654"/>
                  <a:pt x="1158903" y="738832"/>
                  <a:pt x="1158903" y="742476"/>
                </a:cubicBezTo>
                <a:cubicBezTo>
                  <a:pt x="1160725" y="742476"/>
                  <a:pt x="1160725" y="740654"/>
                  <a:pt x="1160725" y="738832"/>
                </a:cubicBezTo>
                <a:cubicBezTo>
                  <a:pt x="1158903" y="737010"/>
                  <a:pt x="1157081" y="738832"/>
                  <a:pt x="1155259" y="737010"/>
                </a:cubicBezTo>
                <a:close/>
                <a:moveTo>
                  <a:pt x="1149792" y="737010"/>
                </a:moveTo>
                <a:cubicBezTo>
                  <a:pt x="1147970" y="738832"/>
                  <a:pt x="1153436" y="742476"/>
                  <a:pt x="1147970" y="746121"/>
                </a:cubicBezTo>
                <a:cubicBezTo>
                  <a:pt x="1147970" y="747943"/>
                  <a:pt x="1151614" y="746121"/>
                  <a:pt x="1149792" y="747943"/>
                </a:cubicBezTo>
                <a:cubicBezTo>
                  <a:pt x="1151614" y="749765"/>
                  <a:pt x="1151614" y="747943"/>
                  <a:pt x="1153436" y="749765"/>
                </a:cubicBezTo>
                <a:cubicBezTo>
                  <a:pt x="1155259" y="747943"/>
                  <a:pt x="1155259" y="747943"/>
                  <a:pt x="1153436" y="746121"/>
                </a:cubicBezTo>
                <a:cubicBezTo>
                  <a:pt x="1153436" y="746121"/>
                  <a:pt x="1155259" y="747943"/>
                  <a:pt x="1155259" y="747943"/>
                </a:cubicBezTo>
                <a:cubicBezTo>
                  <a:pt x="1157081" y="746121"/>
                  <a:pt x="1155259" y="746121"/>
                  <a:pt x="1157081" y="744298"/>
                </a:cubicBezTo>
                <a:cubicBezTo>
                  <a:pt x="1153436" y="746121"/>
                  <a:pt x="1155259" y="737010"/>
                  <a:pt x="1149792" y="737010"/>
                </a:cubicBezTo>
                <a:close/>
                <a:moveTo>
                  <a:pt x="1144326" y="737010"/>
                </a:moveTo>
                <a:cubicBezTo>
                  <a:pt x="1144326" y="740654"/>
                  <a:pt x="1147970" y="738832"/>
                  <a:pt x="1144326" y="742476"/>
                </a:cubicBezTo>
                <a:cubicBezTo>
                  <a:pt x="1147970" y="746121"/>
                  <a:pt x="1149792" y="738832"/>
                  <a:pt x="1147970" y="737010"/>
                </a:cubicBezTo>
                <a:cubicBezTo>
                  <a:pt x="1146148" y="737010"/>
                  <a:pt x="1146148" y="735188"/>
                  <a:pt x="1144326" y="737010"/>
                </a:cubicBezTo>
                <a:close/>
                <a:moveTo>
                  <a:pt x="1129748" y="737010"/>
                </a:moveTo>
                <a:cubicBezTo>
                  <a:pt x="1127926" y="740654"/>
                  <a:pt x="1122459" y="744298"/>
                  <a:pt x="1124282" y="749765"/>
                </a:cubicBezTo>
                <a:cubicBezTo>
                  <a:pt x="1126104" y="749765"/>
                  <a:pt x="1131570" y="746121"/>
                  <a:pt x="1133393" y="742476"/>
                </a:cubicBezTo>
                <a:cubicBezTo>
                  <a:pt x="1131570" y="740654"/>
                  <a:pt x="1129748" y="737010"/>
                  <a:pt x="1129748" y="737010"/>
                </a:cubicBezTo>
                <a:close/>
                <a:moveTo>
                  <a:pt x="1053217" y="737010"/>
                </a:moveTo>
                <a:cubicBezTo>
                  <a:pt x="1049573" y="740654"/>
                  <a:pt x="1044106" y="742476"/>
                  <a:pt x="1040462" y="746121"/>
                </a:cubicBezTo>
                <a:cubicBezTo>
                  <a:pt x="1045929" y="751587"/>
                  <a:pt x="1053217" y="742476"/>
                  <a:pt x="1053217" y="737010"/>
                </a:cubicBezTo>
                <a:close/>
                <a:moveTo>
                  <a:pt x="801757" y="737010"/>
                </a:moveTo>
                <a:cubicBezTo>
                  <a:pt x="807223" y="740654"/>
                  <a:pt x="810868" y="742476"/>
                  <a:pt x="814512" y="744298"/>
                </a:cubicBezTo>
                <a:cubicBezTo>
                  <a:pt x="816334" y="737010"/>
                  <a:pt x="807223" y="735188"/>
                  <a:pt x="801757" y="737010"/>
                </a:cubicBezTo>
                <a:close/>
                <a:moveTo>
                  <a:pt x="779892" y="737010"/>
                </a:moveTo>
                <a:cubicBezTo>
                  <a:pt x="776246" y="738832"/>
                  <a:pt x="783535" y="738832"/>
                  <a:pt x="785357" y="738832"/>
                </a:cubicBezTo>
                <a:cubicBezTo>
                  <a:pt x="785357" y="737010"/>
                  <a:pt x="781713" y="738832"/>
                  <a:pt x="779892" y="737010"/>
                </a:cubicBezTo>
                <a:close/>
                <a:moveTo>
                  <a:pt x="313414" y="737010"/>
                </a:moveTo>
                <a:cubicBezTo>
                  <a:pt x="313414" y="742476"/>
                  <a:pt x="320703" y="749765"/>
                  <a:pt x="326169" y="749765"/>
                </a:cubicBezTo>
                <a:cubicBezTo>
                  <a:pt x="322525" y="746121"/>
                  <a:pt x="322525" y="744298"/>
                  <a:pt x="322525" y="740654"/>
                </a:cubicBezTo>
                <a:cubicBezTo>
                  <a:pt x="320703" y="735188"/>
                  <a:pt x="317059" y="738832"/>
                  <a:pt x="313414" y="737010"/>
                </a:cubicBezTo>
                <a:close/>
                <a:moveTo>
                  <a:pt x="304303" y="737010"/>
                </a:moveTo>
                <a:cubicBezTo>
                  <a:pt x="304303" y="746121"/>
                  <a:pt x="309771" y="751587"/>
                  <a:pt x="317059" y="749765"/>
                </a:cubicBezTo>
                <a:cubicBezTo>
                  <a:pt x="313414" y="746121"/>
                  <a:pt x="307948" y="738832"/>
                  <a:pt x="304303" y="737010"/>
                </a:cubicBezTo>
                <a:close/>
                <a:moveTo>
                  <a:pt x="242349" y="737010"/>
                </a:moveTo>
                <a:cubicBezTo>
                  <a:pt x="240527" y="738832"/>
                  <a:pt x="251460" y="747943"/>
                  <a:pt x="244172" y="738832"/>
                </a:cubicBezTo>
                <a:cubicBezTo>
                  <a:pt x="242349" y="738832"/>
                  <a:pt x="242349" y="738832"/>
                  <a:pt x="242349" y="737010"/>
                </a:cubicBezTo>
                <a:close/>
                <a:moveTo>
                  <a:pt x="213195" y="737010"/>
                </a:moveTo>
                <a:cubicBezTo>
                  <a:pt x="211372" y="747943"/>
                  <a:pt x="224128" y="757054"/>
                  <a:pt x="231416" y="766164"/>
                </a:cubicBezTo>
                <a:cubicBezTo>
                  <a:pt x="229594" y="755231"/>
                  <a:pt x="222306" y="744298"/>
                  <a:pt x="213195" y="737010"/>
                </a:cubicBezTo>
                <a:close/>
                <a:moveTo>
                  <a:pt x="601630" y="736922"/>
                </a:moveTo>
                <a:lnTo>
                  <a:pt x="601521" y="737112"/>
                </a:lnTo>
                <a:lnTo>
                  <a:pt x="601318" y="737010"/>
                </a:lnTo>
                <a:close/>
                <a:moveTo>
                  <a:pt x="1337476" y="735188"/>
                </a:moveTo>
                <a:cubicBezTo>
                  <a:pt x="1328365" y="733365"/>
                  <a:pt x="1321077" y="735188"/>
                  <a:pt x="1311966" y="737010"/>
                </a:cubicBezTo>
                <a:cubicBezTo>
                  <a:pt x="1306499" y="738832"/>
                  <a:pt x="1304677" y="737010"/>
                  <a:pt x="1301033" y="742476"/>
                </a:cubicBezTo>
                <a:cubicBezTo>
                  <a:pt x="1304677" y="740654"/>
                  <a:pt x="1310143" y="744298"/>
                  <a:pt x="1313788" y="740654"/>
                </a:cubicBezTo>
                <a:cubicBezTo>
                  <a:pt x="1319254" y="740654"/>
                  <a:pt x="1324721" y="742476"/>
                  <a:pt x="1330188" y="740654"/>
                </a:cubicBezTo>
                <a:cubicBezTo>
                  <a:pt x="1330188" y="740654"/>
                  <a:pt x="1326543" y="738832"/>
                  <a:pt x="1332009" y="737010"/>
                </a:cubicBezTo>
                <a:cubicBezTo>
                  <a:pt x="1332009" y="738832"/>
                  <a:pt x="1328365" y="740654"/>
                  <a:pt x="1332009" y="742476"/>
                </a:cubicBezTo>
                <a:cubicBezTo>
                  <a:pt x="1335654" y="740654"/>
                  <a:pt x="1335654" y="737010"/>
                  <a:pt x="1337476" y="735188"/>
                </a:cubicBezTo>
                <a:close/>
                <a:moveTo>
                  <a:pt x="1162547" y="735188"/>
                </a:moveTo>
                <a:cubicBezTo>
                  <a:pt x="1164370" y="738832"/>
                  <a:pt x="1166192" y="737010"/>
                  <a:pt x="1168014" y="738832"/>
                </a:cubicBezTo>
                <a:cubicBezTo>
                  <a:pt x="1168014" y="737010"/>
                  <a:pt x="1168014" y="737010"/>
                  <a:pt x="1169836" y="735188"/>
                </a:cubicBezTo>
                <a:cubicBezTo>
                  <a:pt x="1166192" y="735188"/>
                  <a:pt x="1164370" y="733365"/>
                  <a:pt x="1162547" y="735188"/>
                </a:cubicBezTo>
                <a:close/>
                <a:moveTo>
                  <a:pt x="1104238" y="735188"/>
                </a:moveTo>
                <a:cubicBezTo>
                  <a:pt x="1104238" y="738832"/>
                  <a:pt x="1102416" y="746121"/>
                  <a:pt x="1107882" y="747943"/>
                </a:cubicBezTo>
                <a:cubicBezTo>
                  <a:pt x="1109704" y="744298"/>
                  <a:pt x="1109704" y="738832"/>
                  <a:pt x="1104238" y="735188"/>
                </a:cubicBezTo>
                <a:close/>
                <a:moveTo>
                  <a:pt x="1062328" y="735188"/>
                </a:moveTo>
                <a:cubicBezTo>
                  <a:pt x="1064151" y="733365"/>
                  <a:pt x="1058683" y="737010"/>
                  <a:pt x="1056861" y="737010"/>
                </a:cubicBezTo>
                <a:cubicBezTo>
                  <a:pt x="1058683" y="738832"/>
                  <a:pt x="1060506" y="733365"/>
                  <a:pt x="1062328" y="735188"/>
                </a:cubicBezTo>
                <a:close/>
                <a:moveTo>
                  <a:pt x="1004018" y="735188"/>
                </a:moveTo>
                <a:cubicBezTo>
                  <a:pt x="1002196" y="737010"/>
                  <a:pt x="998552" y="740654"/>
                  <a:pt x="998552" y="742476"/>
                </a:cubicBezTo>
                <a:cubicBezTo>
                  <a:pt x="998552" y="744298"/>
                  <a:pt x="1000374" y="744298"/>
                  <a:pt x="1002196" y="746121"/>
                </a:cubicBezTo>
                <a:cubicBezTo>
                  <a:pt x="1005840" y="740654"/>
                  <a:pt x="1002196" y="738832"/>
                  <a:pt x="1004018" y="735188"/>
                </a:cubicBezTo>
                <a:close/>
                <a:moveTo>
                  <a:pt x="905621" y="735188"/>
                </a:moveTo>
                <a:cubicBezTo>
                  <a:pt x="898333" y="738832"/>
                  <a:pt x="900154" y="746121"/>
                  <a:pt x="903799" y="747943"/>
                </a:cubicBezTo>
                <a:cubicBezTo>
                  <a:pt x="907444" y="744298"/>
                  <a:pt x="905621" y="738832"/>
                  <a:pt x="905621" y="735188"/>
                </a:cubicBezTo>
                <a:close/>
                <a:moveTo>
                  <a:pt x="759848" y="735188"/>
                </a:moveTo>
                <a:cubicBezTo>
                  <a:pt x="758025" y="738832"/>
                  <a:pt x="758025" y="740654"/>
                  <a:pt x="759848" y="744298"/>
                </a:cubicBezTo>
                <a:cubicBezTo>
                  <a:pt x="761670" y="744298"/>
                  <a:pt x="759848" y="742476"/>
                  <a:pt x="761670" y="740654"/>
                </a:cubicBezTo>
                <a:cubicBezTo>
                  <a:pt x="759848" y="747943"/>
                  <a:pt x="772602" y="758876"/>
                  <a:pt x="778070" y="751587"/>
                </a:cubicBezTo>
                <a:cubicBezTo>
                  <a:pt x="781713" y="749765"/>
                  <a:pt x="776246" y="742476"/>
                  <a:pt x="770781" y="742476"/>
                </a:cubicBezTo>
                <a:cubicBezTo>
                  <a:pt x="774424" y="738832"/>
                  <a:pt x="776246" y="747943"/>
                  <a:pt x="781713" y="746121"/>
                </a:cubicBezTo>
                <a:cubicBezTo>
                  <a:pt x="776246" y="737010"/>
                  <a:pt x="767136" y="737010"/>
                  <a:pt x="759848" y="735188"/>
                </a:cubicBezTo>
                <a:close/>
                <a:moveTo>
                  <a:pt x="384479" y="735188"/>
                </a:moveTo>
                <a:cubicBezTo>
                  <a:pt x="384479" y="737010"/>
                  <a:pt x="380835" y="746121"/>
                  <a:pt x="388123" y="746121"/>
                </a:cubicBezTo>
                <a:cubicBezTo>
                  <a:pt x="393590" y="753409"/>
                  <a:pt x="397234" y="760698"/>
                  <a:pt x="404523" y="764342"/>
                </a:cubicBezTo>
                <a:cubicBezTo>
                  <a:pt x="404523" y="760698"/>
                  <a:pt x="402701" y="758876"/>
                  <a:pt x="400879" y="757054"/>
                </a:cubicBezTo>
                <a:cubicBezTo>
                  <a:pt x="404523" y="753409"/>
                  <a:pt x="408167" y="753409"/>
                  <a:pt x="409989" y="757054"/>
                </a:cubicBezTo>
                <a:cubicBezTo>
                  <a:pt x="408167" y="744298"/>
                  <a:pt x="395412" y="740654"/>
                  <a:pt x="384479" y="735188"/>
                </a:cubicBezTo>
                <a:close/>
                <a:moveTo>
                  <a:pt x="360791" y="735188"/>
                </a:moveTo>
                <a:cubicBezTo>
                  <a:pt x="360791" y="738832"/>
                  <a:pt x="364435" y="738832"/>
                  <a:pt x="366257" y="742476"/>
                </a:cubicBezTo>
                <a:cubicBezTo>
                  <a:pt x="369902" y="738832"/>
                  <a:pt x="362613" y="737010"/>
                  <a:pt x="360791" y="735188"/>
                </a:cubicBezTo>
                <a:close/>
                <a:moveTo>
                  <a:pt x="258749" y="735188"/>
                </a:moveTo>
                <a:cubicBezTo>
                  <a:pt x="256927" y="735188"/>
                  <a:pt x="260571" y="740654"/>
                  <a:pt x="262393" y="740654"/>
                </a:cubicBezTo>
                <a:cubicBezTo>
                  <a:pt x="264216" y="738832"/>
                  <a:pt x="258749" y="737010"/>
                  <a:pt x="258749" y="735188"/>
                </a:cubicBezTo>
                <a:close/>
                <a:moveTo>
                  <a:pt x="244172" y="735188"/>
                </a:moveTo>
                <a:cubicBezTo>
                  <a:pt x="242349" y="737010"/>
                  <a:pt x="251460" y="744298"/>
                  <a:pt x="253282" y="747943"/>
                </a:cubicBezTo>
                <a:cubicBezTo>
                  <a:pt x="255105" y="746121"/>
                  <a:pt x="253282" y="744298"/>
                  <a:pt x="255105" y="744298"/>
                </a:cubicBezTo>
                <a:cubicBezTo>
                  <a:pt x="251460" y="738832"/>
                  <a:pt x="247816" y="737010"/>
                  <a:pt x="244172" y="735188"/>
                </a:cubicBezTo>
                <a:close/>
                <a:moveTo>
                  <a:pt x="561914" y="735188"/>
                </a:moveTo>
                <a:cubicBezTo>
                  <a:pt x="561230" y="735643"/>
                  <a:pt x="560319" y="736099"/>
                  <a:pt x="559408" y="735188"/>
                </a:cubicBezTo>
                <a:cubicBezTo>
                  <a:pt x="557586" y="737010"/>
                  <a:pt x="564874" y="738832"/>
                  <a:pt x="566697" y="740654"/>
                </a:cubicBezTo>
                <a:cubicBezTo>
                  <a:pt x="568519" y="738832"/>
                  <a:pt x="566697" y="737010"/>
                  <a:pt x="563052" y="735188"/>
                </a:cubicBezTo>
                <a:cubicBezTo>
                  <a:pt x="563052" y="734277"/>
                  <a:pt x="562597" y="734732"/>
                  <a:pt x="561914" y="735188"/>
                </a:cubicBezTo>
                <a:close/>
                <a:moveTo>
                  <a:pt x="1452273" y="733365"/>
                </a:moveTo>
                <a:lnTo>
                  <a:pt x="1452035" y="733762"/>
                </a:lnTo>
                <a:lnTo>
                  <a:pt x="1447945" y="736099"/>
                </a:lnTo>
                <a:lnTo>
                  <a:pt x="1444588" y="738415"/>
                </a:lnTo>
                <a:lnTo>
                  <a:pt x="1446351" y="735643"/>
                </a:lnTo>
                <a:cubicBezTo>
                  <a:pt x="1448173" y="734277"/>
                  <a:pt x="1450451" y="733365"/>
                  <a:pt x="1452273" y="733365"/>
                </a:cubicBezTo>
                <a:close/>
                <a:moveTo>
                  <a:pt x="1434051" y="733365"/>
                </a:moveTo>
                <a:cubicBezTo>
                  <a:pt x="1430407" y="729721"/>
                  <a:pt x="1428585" y="737010"/>
                  <a:pt x="1424940" y="737010"/>
                </a:cubicBezTo>
                <a:cubicBezTo>
                  <a:pt x="1428585" y="738832"/>
                  <a:pt x="1432229" y="733365"/>
                  <a:pt x="1434051" y="733365"/>
                </a:cubicBezTo>
                <a:close/>
                <a:moveTo>
                  <a:pt x="962108" y="733365"/>
                </a:moveTo>
                <a:cubicBezTo>
                  <a:pt x="960286" y="735188"/>
                  <a:pt x="956642" y="735188"/>
                  <a:pt x="952997" y="738832"/>
                </a:cubicBezTo>
                <a:cubicBezTo>
                  <a:pt x="947531" y="742476"/>
                  <a:pt x="945709" y="747943"/>
                  <a:pt x="942064" y="751587"/>
                </a:cubicBezTo>
                <a:cubicBezTo>
                  <a:pt x="945709" y="751587"/>
                  <a:pt x="947531" y="749765"/>
                  <a:pt x="949353" y="749765"/>
                </a:cubicBezTo>
                <a:cubicBezTo>
                  <a:pt x="952997" y="746121"/>
                  <a:pt x="951175" y="742476"/>
                  <a:pt x="952997" y="738832"/>
                </a:cubicBezTo>
                <a:cubicBezTo>
                  <a:pt x="956642" y="740654"/>
                  <a:pt x="956642" y="744298"/>
                  <a:pt x="951175" y="747943"/>
                </a:cubicBezTo>
                <a:cubicBezTo>
                  <a:pt x="956642" y="742476"/>
                  <a:pt x="967575" y="742476"/>
                  <a:pt x="969397" y="733365"/>
                </a:cubicBezTo>
                <a:cubicBezTo>
                  <a:pt x="965753" y="733365"/>
                  <a:pt x="962108" y="733365"/>
                  <a:pt x="962108" y="738832"/>
                </a:cubicBezTo>
                <a:cubicBezTo>
                  <a:pt x="958464" y="737010"/>
                  <a:pt x="967575" y="735188"/>
                  <a:pt x="962108" y="733365"/>
                </a:cubicBezTo>
                <a:close/>
                <a:moveTo>
                  <a:pt x="898333" y="733365"/>
                </a:moveTo>
                <a:cubicBezTo>
                  <a:pt x="894688" y="733365"/>
                  <a:pt x="894688" y="738832"/>
                  <a:pt x="898333" y="742476"/>
                </a:cubicBezTo>
                <a:cubicBezTo>
                  <a:pt x="901976" y="738832"/>
                  <a:pt x="896510" y="737010"/>
                  <a:pt x="898333" y="733365"/>
                </a:cubicBezTo>
                <a:close/>
                <a:moveTo>
                  <a:pt x="819979" y="733365"/>
                </a:moveTo>
                <a:cubicBezTo>
                  <a:pt x="819979" y="735188"/>
                  <a:pt x="818156" y="735188"/>
                  <a:pt x="818156" y="737010"/>
                </a:cubicBezTo>
                <a:cubicBezTo>
                  <a:pt x="821801" y="737010"/>
                  <a:pt x="823623" y="740654"/>
                  <a:pt x="825445" y="738832"/>
                </a:cubicBezTo>
                <a:cubicBezTo>
                  <a:pt x="821801" y="737010"/>
                  <a:pt x="821801" y="735188"/>
                  <a:pt x="819979" y="733365"/>
                </a:cubicBezTo>
                <a:close/>
                <a:moveTo>
                  <a:pt x="794468" y="733365"/>
                </a:moveTo>
                <a:cubicBezTo>
                  <a:pt x="790824" y="733365"/>
                  <a:pt x="787179" y="738832"/>
                  <a:pt x="792646" y="740654"/>
                </a:cubicBezTo>
                <a:cubicBezTo>
                  <a:pt x="794468" y="738832"/>
                  <a:pt x="792646" y="735188"/>
                  <a:pt x="794468" y="733365"/>
                </a:cubicBezTo>
                <a:close/>
                <a:moveTo>
                  <a:pt x="745269" y="733365"/>
                </a:moveTo>
                <a:cubicBezTo>
                  <a:pt x="741626" y="735188"/>
                  <a:pt x="743447" y="737010"/>
                  <a:pt x="745269" y="738832"/>
                </a:cubicBezTo>
                <a:cubicBezTo>
                  <a:pt x="747092" y="738832"/>
                  <a:pt x="750737" y="738832"/>
                  <a:pt x="752558" y="738832"/>
                </a:cubicBezTo>
                <a:cubicBezTo>
                  <a:pt x="754380" y="735188"/>
                  <a:pt x="747092" y="731543"/>
                  <a:pt x="745269" y="733365"/>
                </a:cubicBezTo>
                <a:close/>
                <a:moveTo>
                  <a:pt x="453722" y="733365"/>
                </a:moveTo>
                <a:cubicBezTo>
                  <a:pt x="453722" y="738832"/>
                  <a:pt x="459188" y="740654"/>
                  <a:pt x="462832" y="746121"/>
                </a:cubicBezTo>
                <a:cubicBezTo>
                  <a:pt x="464655" y="742476"/>
                  <a:pt x="457367" y="738832"/>
                  <a:pt x="453722" y="733365"/>
                </a:cubicBezTo>
                <a:close/>
                <a:moveTo>
                  <a:pt x="448256" y="733365"/>
                </a:moveTo>
                <a:cubicBezTo>
                  <a:pt x="446433" y="738832"/>
                  <a:pt x="446433" y="740654"/>
                  <a:pt x="448256" y="742476"/>
                </a:cubicBezTo>
                <a:cubicBezTo>
                  <a:pt x="450077" y="742476"/>
                  <a:pt x="450077" y="742476"/>
                  <a:pt x="450077" y="742476"/>
                </a:cubicBezTo>
                <a:cubicBezTo>
                  <a:pt x="451899" y="740654"/>
                  <a:pt x="451899" y="738832"/>
                  <a:pt x="453722" y="738832"/>
                </a:cubicBezTo>
                <a:cubicBezTo>
                  <a:pt x="453722" y="738832"/>
                  <a:pt x="450077" y="735188"/>
                  <a:pt x="448256" y="733365"/>
                </a:cubicBezTo>
                <a:close/>
                <a:moveTo>
                  <a:pt x="220483" y="733365"/>
                </a:moveTo>
                <a:cubicBezTo>
                  <a:pt x="222306" y="735188"/>
                  <a:pt x="220483" y="735188"/>
                  <a:pt x="222306" y="737010"/>
                </a:cubicBezTo>
                <a:lnTo>
                  <a:pt x="223882" y="738401"/>
                </a:lnTo>
                <a:lnTo>
                  <a:pt x="232783" y="751587"/>
                </a:lnTo>
                <a:cubicBezTo>
                  <a:pt x="239616" y="756142"/>
                  <a:pt x="247816" y="759787"/>
                  <a:pt x="253282" y="764342"/>
                </a:cubicBezTo>
                <a:lnTo>
                  <a:pt x="223882" y="738401"/>
                </a:lnTo>
                <a:close/>
                <a:moveTo>
                  <a:pt x="171285" y="733365"/>
                </a:moveTo>
                <a:cubicBezTo>
                  <a:pt x="180396" y="751587"/>
                  <a:pt x="194973" y="766164"/>
                  <a:pt x="207728" y="782564"/>
                </a:cubicBezTo>
                <a:lnTo>
                  <a:pt x="199245" y="769014"/>
                </a:lnTo>
                <a:lnTo>
                  <a:pt x="204084" y="775275"/>
                </a:lnTo>
                <a:cubicBezTo>
                  <a:pt x="205906" y="775275"/>
                  <a:pt x="207728" y="777098"/>
                  <a:pt x="209550" y="777098"/>
                </a:cubicBezTo>
                <a:cubicBezTo>
                  <a:pt x="209550" y="777098"/>
                  <a:pt x="207728" y="777098"/>
                  <a:pt x="207728" y="777098"/>
                </a:cubicBezTo>
                <a:cubicBezTo>
                  <a:pt x="213195" y="780742"/>
                  <a:pt x="213195" y="789853"/>
                  <a:pt x="222306" y="791675"/>
                </a:cubicBezTo>
                <a:cubicBezTo>
                  <a:pt x="222306" y="791675"/>
                  <a:pt x="220483" y="786208"/>
                  <a:pt x="213195" y="784386"/>
                </a:cubicBezTo>
                <a:cubicBezTo>
                  <a:pt x="218661" y="786208"/>
                  <a:pt x="224128" y="789853"/>
                  <a:pt x="229594" y="793497"/>
                </a:cubicBezTo>
                <a:cubicBezTo>
                  <a:pt x="225950" y="786208"/>
                  <a:pt x="218661" y="775275"/>
                  <a:pt x="209550" y="775275"/>
                </a:cubicBezTo>
                <a:cubicBezTo>
                  <a:pt x="211372" y="775275"/>
                  <a:pt x="211372" y="775275"/>
                  <a:pt x="211372" y="775275"/>
                </a:cubicBezTo>
                <a:cubicBezTo>
                  <a:pt x="204084" y="769809"/>
                  <a:pt x="196795" y="762520"/>
                  <a:pt x="191329" y="755231"/>
                </a:cubicBezTo>
                <a:lnTo>
                  <a:pt x="194151" y="760876"/>
                </a:lnTo>
                <a:lnTo>
                  <a:pt x="190190" y="754548"/>
                </a:lnTo>
                <a:cubicBezTo>
                  <a:pt x="184495" y="745665"/>
                  <a:pt x="178573" y="737921"/>
                  <a:pt x="171285" y="733365"/>
                </a:cubicBezTo>
                <a:close/>
                <a:moveTo>
                  <a:pt x="1347042" y="731771"/>
                </a:moveTo>
                <a:cubicBezTo>
                  <a:pt x="1342031" y="732455"/>
                  <a:pt x="1337476" y="735188"/>
                  <a:pt x="1335654" y="740654"/>
                </a:cubicBezTo>
                <a:cubicBezTo>
                  <a:pt x="1341120" y="742476"/>
                  <a:pt x="1350231" y="746121"/>
                  <a:pt x="1352053" y="738832"/>
                </a:cubicBezTo>
                <a:cubicBezTo>
                  <a:pt x="1353876" y="737010"/>
                  <a:pt x="1352053" y="740654"/>
                  <a:pt x="1353876" y="740654"/>
                </a:cubicBezTo>
                <a:cubicBezTo>
                  <a:pt x="1357521" y="738832"/>
                  <a:pt x="1361164" y="740654"/>
                  <a:pt x="1361164" y="735188"/>
                </a:cubicBezTo>
                <a:cubicBezTo>
                  <a:pt x="1357521" y="732455"/>
                  <a:pt x="1352053" y="731088"/>
                  <a:pt x="1347042" y="731771"/>
                </a:cubicBezTo>
                <a:close/>
                <a:moveTo>
                  <a:pt x="1408541" y="731543"/>
                </a:moveTo>
                <a:cubicBezTo>
                  <a:pt x="1406719" y="729721"/>
                  <a:pt x="1403074" y="733365"/>
                  <a:pt x="1404896" y="735188"/>
                </a:cubicBezTo>
                <a:cubicBezTo>
                  <a:pt x="1406719" y="733365"/>
                  <a:pt x="1408541" y="731543"/>
                  <a:pt x="1408541" y="731543"/>
                </a:cubicBezTo>
                <a:close/>
                <a:moveTo>
                  <a:pt x="1375743" y="731543"/>
                </a:moveTo>
                <a:cubicBezTo>
                  <a:pt x="1373920" y="731543"/>
                  <a:pt x="1373920" y="733365"/>
                  <a:pt x="1372097" y="735188"/>
                </a:cubicBezTo>
                <a:cubicBezTo>
                  <a:pt x="1373920" y="735188"/>
                  <a:pt x="1375743" y="737010"/>
                  <a:pt x="1377564" y="737010"/>
                </a:cubicBezTo>
                <a:cubicBezTo>
                  <a:pt x="1377564" y="735188"/>
                  <a:pt x="1377564" y="733365"/>
                  <a:pt x="1375743" y="731543"/>
                </a:cubicBezTo>
                <a:close/>
                <a:moveTo>
                  <a:pt x="1277344" y="731543"/>
                </a:moveTo>
                <a:cubicBezTo>
                  <a:pt x="1277344" y="733365"/>
                  <a:pt x="1280989" y="735188"/>
                  <a:pt x="1279166" y="735188"/>
                </a:cubicBezTo>
                <a:cubicBezTo>
                  <a:pt x="1280989" y="733365"/>
                  <a:pt x="1282811" y="733365"/>
                  <a:pt x="1282811" y="731543"/>
                </a:cubicBezTo>
                <a:cubicBezTo>
                  <a:pt x="1280989" y="731543"/>
                  <a:pt x="1279166" y="733365"/>
                  <a:pt x="1277344" y="731543"/>
                </a:cubicBezTo>
                <a:close/>
                <a:moveTo>
                  <a:pt x="1273700" y="731543"/>
                </a:moveTo>
                <a:cubicBezTo>
                  <a:pt x="1268233" y="733365"/>
                  <a:pt x="1260945" y="744298"/>
                  <a:pt x="1253656" y="737010"/>
                </a:cubicBezTo>
                <a:cubicBezTo>
                  <a:pt x="1253656" y="738832"/>
                  <a:pt x="1251834" y="738832"/>
                  <a:pt x="1250012" y="740654"/>
                </a:cubicBezTo>
                <a:cubicBezTo>
                  <a:pt x="1253656" y="747943"/>
                  <a:pt x="1260945" y="744298"/>
                  <a:pt x="1268233" y="738832"/>
                </a:cubicBezTo>
                <a:cubicBezTo>
                  <a:pt x="1268233" y="740654"/>
                  <a:pt x="1266411" y="740654"/>
                  <a:pt x="1266411" y="742476"/>
                </a:cubicBezTo>
                <a:cubicBezTo>
                  <a:pt x="1270056" y="742476"/>
                  <a:pt x="1273700" y="740654"/>
                  <a:pt x="1279166" y="737010"/>
                </a:cubicBezTo>
                <a:cubicBezTo>
                  <a:pt x="1277344" y="735188"/>
                  <a:pt x="1275522" y="735188"/>
                  <a:pt x="1273700" y="731543"/>
                </a:cubicBezTo>
                <a:close/>
                <a:moveTo>
                  <a:pt x="994907" y="731543"/>
                </a:moveTo>
                <a:cubicBezTo>
                  <a:pt x="983974" y="733365"/>
                  <a:pt x="971219" y="740654"/>
                  <a:pt x="965753" y="751587"/>
                </a:cubicBezTo>
                <a:cubicBezTo>
                  <a:pt x="969397" y="751587"/>
                  <a:pt x="973041" y="747943"/>
                  <a:pt x="974863" y="746121"/>
                </a:cubicBezTo>
                <a:cubicBezTo>
                  <a:pt x="974863" y="746121"/>
                  <a:pt x="973041" y="749765"/>
                  <a:pt x="971219" y="749765"/>
                </a:cubicBezTo>
                <a:cubicBezTo>
                  <a:pt x="974863" y="753409"/>
                  <a:pt x="983974" y="753409"/>
                  <a:pt x="989441" y="747943"/>
                </a:cubicBezTo>
                <a:cubicBezTo>
                  <a:pt x="989441" y="744298"/>
                  <a:pt x="987619" y="742476"/>
                  <a:pt x="985796" y="738832"/>
                </a:cubicBezTo>
                <a:cubicBezTo>
                  <a:pt x="989441" y="738832"/>
                  <a:pt x="989441" y="742476"/>
                  <a:pt x="993085" y="742476"/>
                </a:cubicBezTo>
                <a:cubicBezTo>
                  <a:pt x="993085" y="738832"/>
                  <a:pt x="994907" y="735188"/>
                  <a:pt x="994907" y="731543"/>
                </a:cubicBezTo>
                <a:close/>
                <a:moveTo>
                  <a:pt x="907444" y="731543"/>
                </a:moveTo>
                <a:cubicBezTo>
                  <a:pt x="909265" y="733365"/>
                  <a:pt x="909265" y="738832"/>
                  <a:pt x="911087" y="738832"/>
                </a:cubicBezTo>
                <a:cubicBezTo>
                  <a:pt x="912909" y="735188"/>
                  <a:pt x="909265" y="733365"/>
                  <a:pt x="907444" y="731543"/>
                </a:cubicBezTo>
                <a:close/>
                <a:moveTo>
                  <a:pt x="805401" y="731543"/>
                </a:moveTo>
                <a:cubicBezTo>
                  <a:pt x="805401" y="731543"/>
                  <a:pt x="803579" y="733365"/>
                  <a:pt x="803579" y="733365"/>
                </a:cubicBezTo>
                <a:cubicBezTo>
                  <a:pt x="805401" y="735188"/>
                  <a:pt x="807223" y="735188"/>
                  <a:pt x="809046" y="735188"/>
                </a:cubicBezTo>
                <a:cubicBezTo>
                  <a:pt x="810868" y="733365"/>
                  <a:pt x="805401" y="733365"/>
                  <a:pt x="805401" y="731543"/>
                </a:cubicBezTo>
                <a:close/>
                <a:moveTo>
                  <a:pt x="719759" y="731543"/>
                </a:moveTo>
                <a:cubicBezTo>
                  <a:pt x="716115" y="737010"/>
                  <a:pt x="717937" y="749765"/>
                  <a:pt x="727048" y="744298"/>
                </a:cubicBezTo>
                <a:cubicBezTo>
                  <a:pt x="728870" y="738832"/>
                  <a:pt x="725226" y="737010"/>
                  <a:pt x="719759" y="731543"/>
                </a:cubicBezTo>
                <a:close/>
                <a:moveTo>
                  <a:pt x="539364" y="731543"/>
                </a:moveTo>
                <a:cubicBezTo>
                  <a:pt x="537542" y="733365"/>
                  <a:pt x="543008" y="733365"/>
                  <a:pt x="541186" y="735188"/>
                </a:cubicBezTo>
                <a:cubicBezTo>
                  <a:pt x="546653" y="735188"/>
                  <a:pt x="543008" y="731543"/>
                  <a:pt x="539364" y="731543"/>
                </a:cubicBezTo>
                <a:close/>
                <a:moveTo>
                  <a:pt x="344391" y="731543"/>
                </a:moveTo>
                <a:cubicBezTo>
                  <a:pt x="346213" y="737010"/>
                  <a:pt x="353502" y="746121"/>
                  <a:pt x="360791" y="742476"/>
                </a:cubicBezTo>
                <a:cubicBezTo>
                  <a:pt x="355324" y="735188"/>
                  <a:pt x="349858" y="737010"/>
                  <a:pt x="344391" y="731543"/>
                </a:cubicBezTo>
                <a:close/>
                <a:moveTo>
                  <a:pt x="280615" y="731543"/>
                </a:moveTo>
                <a:cubicBezTo>
                  <a:pt x="287904" y="740654"/>
                  <a:pt x="300660" y="747943"/>
                  <a:pt x="311592" y="757054"/>
                </a:cubicBezTo>
                <a:cubicBezTo>
                  <a:pt x="306126" y="749765"/>
                  <a:pt x="304303" y="744298"/>
                  <a:pt x="300660" y="737010"/>
                </a:cubicBezTo>
                <a:cubicBezTo>
                  <a:pt x="295193" y="731543"/>
                  <a:pt x="287904" y="735188"/>
                  <a:pt x="280615" y="731543"/>
                </a:cubicBezTo>
                <a:close/>
                <a:moveTo>
                  <a:pt x="2775171" y="729721"/>
                </a:moveTo>
                <a:cubicBezTo>
                  <a:pt x="2769705" y="729721"/>
                  <a:pt x="2764238" y="729721"/>
                  <a:pt x="2760594" y="733365"/>
                </a:cubicBezTo>
                <a:cubicBezTo>
                  <a:pt x="2753305" y="740654"/>
                  <a:pt x="2758772" y="747943"/>
                  <a:pt x="2762416" y="755231"/>
                </a:cubicBezTo>
                <a:cubicBezTo>
                  <a:pt x="2766060" y="757054"/>
                  <a:pt x="2766060" y="747943"/>
                  <a:pt x="2769705" y="753409"/>
                </a:cubicBezTo>
                <a:cubicBezTo>
                  <a:pt x="2771527" y="747943"/>
                  <a:pt x="2773349" y="738832"/>
                  <a:pt x="2775171" y="729721"/>
                </a:cubicBezTo>
                <a:close/>
                <a:moveTo>
                  <a:pt x="2598421" y="729721"/>
                </a:moveTo>
                <a:cubicBezTo>
                  <a:pt x="2598421" y="731543"/>
                  <a:pt x="2596598" y="733365"/>
                  <a:pt x="2596598" y="735188"/>
                </a:cubicBezTo>
                <a:lnTo>
                  <a:pt x="2600243" y="738832"/>
                </a:lnTo>
                <a:cubicBezTo>
                  <a:pt x="2600243" y="737010"/>
                  <a:pt x="2602065" y="737010"/>
                  <a:pt x="2603887" y="738832"/>
                </a:cubicBezTo>
                <a:cubicBezTo>
                  <a:pt x="2602065" y="731543"/>
                  <a:pt x="2600243" y="738832"/>
                  <a:pt x="2598421" y="729721"/>
                </a:cubicBezTo>
                <a:close/>
                <a:moveTo>
                  <a:pt x="1231790" y="729721"/>
                </a:moveTo>
                <a:cubicBezTo>
                  <a:pt x="1228146" y="727899"/>
                  <a:pt x="1219036" y="733365"/>
                  <a:pt x="1224501" y="737010"/>
                </a:cubicBezTo>
                <a:cubicBezTo>
                  <a:pt x="1226323" y="735188"/>
                  <a:pt x="1229969" y="731543"/>
                  <a:pt x="1231790" y="729721"/>
                </a:cubicBezTo>
                <a:close/>
                <a:moveTo>
                  <a:pt x="1007663" y="729721"/>
                </a:moveTo>
                <a:cubicBezTo>
                  <a:pt x="1002196" y="735188"/>
                  <a:pt x="1004018" y="738832"/>
                  <a:pt x="1005840" y="744298"/>
                </a:cubicBezTo>
                <a:cubicBezTo>
                  <a:pt x="1013129" y="742476"/>
                  <a:pt x="1014951" y="738832"/>
                  <a:pt x="1013129" y="733365"/>
                </a:cubicBezTo>
                <a:cubicBezTo>
                  <a:pt x="1011307" y="731543"/>
                  <a:pt x="1007663" y="731543"/>
                  <a:pt x="1007663" y="729721"/>
                </a:cubicBezTo>
                <a:close/>
                <a:moveTo>
                  <a:pt x="925666" y="729721"/>
                </a:moveTo>
                <a:cubicBezTo>
                  <a:pt x="922020" y="731543"/>
                  <a:pt x="920198" y="737010"/>
                  <a:pt x="918376" y="738832"/>
                </a:cubicBezTo>
                <a:cubicBezTo>
                  <a:pt x="918376" y="740654"/>
                  <a:pt x="920198" y="738832"/>
                  <a:pt x="922020" y="738832"/>
                </a:cubicBezTo>
                <a:cubicBezTo>
                  <a:pt x="920198" y="737010"/>
                  <a:pt x="925666" y="733365"/>
                  <a:pt x="925666" y="729721"/>
                </a:cubicBezTo>
                <a:close/>
                <a:moveTo>
                  <a:pt x="898333" y="729721"/>
                </a:moveTo>
                <a:cubicBezTo>
                  <a:pt x="896510" y="731543"/>
                  <a:pt x="900154" y="733365"/>
                  <a:pt x="900154" y="737010"/>
                </a:cubicBezTo>
                <a:cubicBezTo>
                  <a:pt x="901976" y="737010"/>
                  <a:pt x="903799" y="733365"/>
                  <a:pt x="903799" y="731543"/>
                </a:cubicBezTo>
                <a:cubicBezTo>
                  <a:pt x="901976" y="729721"/>
                  <a:pt x="900154" y="729721"/>
                  <a:pt x="898333" y="729721"/>
                </a:cubicBezTo>
                <a:close/>
                <a:moveTo>
                  <a:pt x="883755" y="729721"/>
                </a:moveTo>
                <a:cubicBezTo>
                  <a:pt x="872822" y="735188"/>
                  <a:pt x="883755" y="738832"/>
                  <a:pt x="891043" y="742476"/>
                </a:cubicBezTo>
                <a:cubicBezTo>
                  <a:pt x="889222" y="738832"/>
                  <a:pt x="885577" y="733365"/>
                  <a:pt x="883755" y="729721"/>
                </a:cubicBezTo>
                <a:close/>
                <a:moveTo>
                  <a:pt x="759848" y="729721"/>
                </a:moveTo>
                <a:cubicBezTo>
                  <a:pt x="758025" y="733365"/>
                  <a:pt x="765313" y="735188"/>
                  <a:pt x="768959" y="733365"/>
                </a:cubicBezTo>
                <a:cubicBezTo>
                  <a:pt x="767136" y="729721"/>
                  <a:pt x="763491" y="733365"/>
                  <a:pt x="759848" y="729721"/>
                </a:cubicBezTo>
                <a:close/>
                <a:moveTo>
                  <a:pt x="727048" y="729721"/>
                </a:moveTo>
                <a:cubicBezTo>
                  <a:pt x="727048" y="733365"/>
                  <a:pt x="725226" y="737010"/>
                  <a:pt x="732515" y="737010"/>
                </a:cubicBezTo>
                <a:cubicBezTo>
                  <a:pt x="734336" y="733365"/>
                  <a:pt x="728870" y="733365"/>
                  <a:pt x="727048" y="729721"/>
                </a:cubicBezTo>
                <a:close/>
                <a:moveTo>
                  <a:pt x="373546" y="729721"/>
                </a:moveTo>
                <a:cubicBezTo>
                  <a:pt x="373546" y="733365"/>
                  <a:pt x="371724" y="742476"/>
                  <a:pt x="380835" y="742476"/>
                </a:cubicBezTo>
                <a:cubicBezTo>
                  <a:pt x="379012" y="738832"/>
                  <a:pt x="377190" y="735188"/>
                  <a:pt x="373546" y="729721"/>
                </a:cubicBezTo>
                <a:close/>
                <a:moveTo>
                  <a:pt x="331636" y="729721"/>
                </a:moveTo>
                <a:cubicBezTo>
                  <a:pt x="329814" y="737010"/>
                  <a:pt x="340747" y="738832"/>
                  <a:pt x="346213" y="740654"/>
                </a:cubicBezTo>
                <a:cubicBezTo>
                  <a:pt x="342569" y="735188"/>
                  <a:pt x="337102" y="733365"/>
                  <a:pt x="331636" y="729721"/>
                </a:cubicBezTo>
                <a:close/>
                <a:moveTo>
                  <a:pt x="267860" y="729721"/>
                </a:moveTo>
                <a:cubicBezTo>
                  <a:pt x="266038" y="744298"/>
                  <a:pt x="282438" y="755231"/>
                  <a:pt x="291549" y="749765"/>
                </a:cubicBezTo>
                <a:cubicBezTo>
                  <a:pt x="297015" y="746121"/>
                  <a:pt x="284259" y="744298"/>
                  <a:pt x="280615" y="738832"/>
                </a:cubicBezTo>
                <a:cubicBezTo>
                  <a:pt x="282438" y="735188"/>
                  <a:pt x="280615" y="735188"/>
                  <a:pt x="275149" y="729721"/>
                </a:cubicBezTo>
                <a:cubicBezTo>
                  <a:pt x="273327" y="729721"/>
                  <a:pt x="269682" y="731543"/>
                  <a:pt x="267860" y="729721"/>
                </a:cubicBezTo>
                <a:close/>
                <a:moveTo>
                  <a:pt x="1251834" y="727899"/>
                </a:moveTo>
                <a:cubicBezTo>
                  <a:pt x="1244545" y="724254"/>
                  <a:pt x="1235434" y="731543"/>
                  <a:pt x="1233612" y="740654"/>
                </a:cubicBezTo>
                <a:cubicBezTo>
                  <a:pt x="1240901" y="735188"/>
                  <a:pt x="1246367" y="733365"/>
                  <a:pt x="1251834" y="727899"/>
                </a:cubicBezTo>
                <a:close/>
                <a:moveTo>
                  <a:pt x="1206279" y="727899"/>
                </a:moveTo>
                <a:cubicBezTo>
                  <a:pt x="1204457" y="729721"/>
                  <a:pt x="1204457" y="731543"/>
                  <a:pt x="1202636" y="733365"/>
                </a:cubicBezTo>
                <a:cubicBezTo>
                  <a:pt x="1206279" y="737010"/>
                  <a:pt x="1213568" y="729721"/>
                  <a:pt x="1206279" y="727899"/>
                </a:cubicBezTo>
                <a:close/>
                <a:moveTo>
                  <a:pt x="1131570" y="727899"/>
                </a:moveTo>
                <a:cubicBezTo>
                  <a:pt x="1133393" y="731543"/>
                  <a:pt x="1137037" y="727899"/>
                  <a:pt x="1138859" y="729721"/>
                </a:cubicBezTo>
                <a:cubicBezTo>
                  <a:pt x="1138859" y="727899"/>
                  <a:pt x="1133393" y="727899"/>
                  <a:pt x="1131570" y="727899"/>
                </a:cubicBezTo>
                <a:close/>
                <a:moveTo>
                  <a:pt x="1045929" y="727899"/>
                </a:moveTo>
                <a:cubicBezTo>
                  <a:pt x="1042284" y="729721"/>
                  <a:pt x="1045929" y="729721"/>
                  <a:pt x="1042284" y="733365"/>
                </a:cubicBezTo>
                <a:cubicBezTo>
                  <a:pt x="1045929" y="735188"/>
                  <a:pt x="1047750" y="731543"/>
                  <a:pt x="1049573" y="731543"/>
                </a:cubicBezTo>
                <a:cubicBezTo>
                  <a:pt x="1051395" y="729721"/>
                  <a:pt x="1047750" y="727899"/>
                  <a:pt x="1045929" y="727899"/>
                </a:cubicBezTo>
                <a:close/>
                <a:moveTo>
                  <a:pt x="998552" y="727899"/>
                </a:moveTo>
                <a:cubicBezTo>
                  <a:pt x="994907" y="733365"/>
                  <a:pt x="998552" y="735188"/>
                  <a:pt x="994907" y="740654"/>
                </a:cubicBezTo>
                <a:cubicBezTo>
                  <a:pt x="998552" y="737010"/>
                  <a:pt x="1000374" y="735188"/>
                  <a:pt x="1002196" y="731543"/>
                </a:cubicBezTo>
                <a:cubicBezTo>
                  <a:pt x="1000374" y="729721"/>
                  <a:pt x="1002196" y="727899"/>
                  <a:pt x="998552" y="727899"/>
                </a:cubicBezTo>
                <a:close/>
                <a:moveTo>
                  <a:pt x="994907" y="727899"/>
                </a:moveTo>
                <a:cubicBezTo>
                  <a:pt x="991263" y="727899"/>
                  <a:pt x="989441" y="729721"/>
                  <a:pt x="985796" y="733365"/>
                </a:cubicBezTo>
                <a:cubicBezTo>
                  <a:pt x="989441" y="731543"/>
                  <a:pt x="996729" y="729721"/>
                  <a:pt x="994907" y="727899"/>
                </a:cubicBezTo>
                <a:close/>
                <a:moveTo>
                  <a:pt x="685138" y="727899"/>
                </a:moveTo>
                <a:lnTo>
                  <a:pt x="686439" y="728550"/>
                </a:lnTo>
                <a:lnTo>
                  <a:pt x="686960" y="729721"/>
                </a:lnTo>
                <a:lnTo>
                  <a:pt x="685465" y="728787"/>
                </a:lnTo>
                <a:close/>
                <a:moveTo>
                  <a:pt x="606784" y="727899"/>
                </a:moveTo>
                <a:cubicBezTo>
                  <a:pt x="599496" y="729721"/>
                  <a:pt x="603140" y="737010"/>
                  <a:pt x="599496" y="740654"/>
                </a:cubicBezTo>
                <a:lnTo>
                  <a:pt x="601521" y="737112"/>
                </a:lnTo>
                <a:lnTo>
                  <a:pt x="608606" y="740654"/>
                </a:lnTo>
                <a:cubicBezTo>
                  <a:pt x="610429" y="744298"/>
                  <a:pt x="610429" y="749765"/>
                  <a:pt x="612251" y="753409"/>
                </a:cubicBezTo>
                <a:cubicBezTo>
                  <a:pt x="610429" y="757054"/>
                  <a:pt x="617717" y="764342"/>
                  <a:pt x="621362" y="767987"/>
                </a:cubicBezTo>
                <a:cubicBezTo>
                  <a:pt x="621362" y="762520"/>
                  <a:pt x="615895" y="758876"/>
                  <a:pt x="612251" y="753409"/>
                </a:cubicBezTo>
                <a:cubicBezTo>
                  <a:pt x="615895" y="757054"/>
                  <a:pt x="619539" y="760698"/>
                  <a:pt x="621362" y="764342"/>
                </a:cubicBezTo>
                <a:cubicBezTo>
                  <a:pt x="628650" y="755231"/>
                  <a:pt x="635939" y="746121"/>
                  <a:pt x="639583" y="735188"/>
                </a:cubicBezTo>
                <a:cubicBezTo>
                  <a:pt x="639583" y="733365"/>
                  <a:pt x="639583" y="737010"/>
                  <a:pt x="637761" y="737010"/>
                </a:cubicBezTo>
                <a:cubicBezTo>
                  <a:pt x="626828" y="735188"/>
                  <a:pt x="617717" y="729721"/>
                  <a:pt x="612251" y="737010"/>
                </a:cubicBezTo>
                <a:cubicBezTo>
                  <a:pt x="612251" y="735188"/>
                  <a:pt x="612251" y="733365"/>
                  <a:pt x="614074" y="733365"/>
                </a:cubicBezTo>
                <a:cubicBezTo>
                  <a:pt x="610429" y="733365"/>
                  <a:pt x="614074" y="727899"/>
                  <a:pt x="608606" y="727899"/>
                </a:cubicBezTo>
                <a:cubicBezTo>
                  <a:pt x="607695" y="730632"/>
                  <a:pt x="608151" y="733366"/>
                  <a:pt x="607695" y="735188"/>
                </a:cubicBezTo>
                <a:lnTo>
                  <a:pt x="601630" y="736922"/>
                </a:lnTo>
                <a:close/>
                <a:moveTo>
                  <a:pt x="264216" y="727899"/>
                </a:moveTo>
                <a:cubicBezTo>
                  <a:pt x="260571" y="729721"/>
                  <a:pt x="256927" y="731543"/>
                  <a:pt x="264216" y="737010"/>
                </a:cubicBezTo>
                <a:cubicBezTo>
                  <a:pt x="266038" y="735188"/>
                  <a:pt x="260571" y="729721"/>
                  <a:pt x="264216" y="727899"/>
                </a:cubicBezTo>
                <a:close/>
                <a:moveTo>
                  <a:pt x="211372" y="727899"/>
                </a:moveTo>
                <a:cubicBezTo>
                  <a:pt x="205906" y="737010"/>
                  <a:pt x="218661" y="735188"/>
                  <a:pt x="218661" y="738832"/>
                </a:cubicBezTo>
                <a:cubicBezTo>
                  <a:pt x="218661" y="735188"/>
                  <a:pt x="215017" y="731543"/>
                  <a:pt x="211372" y="727899"/>
                </a:cubicBezTo>
                <a:close/>
                <a:moveTo>
                  <a:pt x="3586476" y="727811"/>
                </a:moveTo>
                <a:lnTo>
                  <a:pt x="3591505" y="727899"/>
                </a:lnTo>
                <a:lnTo>
                  <a:pt x="3587406" y="728583"/>
                </a:lnTo>
                <a:lnTo>
                  <a:pt x="3586039" y="727899"/>
                </a:lnTo>
                <a:close/>
                <a:moveTo>
                  <a:pt x="3557795" y="727672"/>
                </a:moveTo>
                <a:cubicBezTo>
                  <a:pt x="3555973" y="728355"/>
                  <a:pt x="3555062" y="729721"/>
                  <a:pt x="3556884" y="731543"/>
                </a:cubicBezTo>
                <a:cubicBezTo>
                  <a:pt x="3560528" y="726077"/>
                  <a:pt x="3560528" y="731543"/>
                  <a:pt x="3564173" y="731543"/>
                </a:cubicBezTo>
                <a:cubicBezTo>
                  <a:pt x="3564173" y="729721"/>
                  <a:pt x="3564173" y="729721"/>
                  <a:pt x="3564173" y="727899"/>
                </a:cubicBezTo>
                <a:cubicBezTo>
                  <a:pt x="3562351" y="726988"/>
                  <a:pt x="3559617" y="726988"/>
                  <a:pt x="3557795" y="727672"/>
                </a:cubicBezTo>
                <a:close/>
                <a:moveTo>
                  <a:pt x="185217" y="727038"/>
                </a:moveTo>
                <a:lnTo>
                  <a:pt x="191329" y="739516"/>
                </a:lnTo>
                <a:lnTo>
                  <a:pt x="195035" y="744960"/>
                </a:lnTo>
                <a:lnTo>
                  <a:pt x="192695" y="742476"/>
                </a:lnTo>
                <a:close/>
                <a:moveTo>
                  <a:pt x="324119" y="726988"/>
                </a:moveTo>
                <a:cubicBezTo>
                  <a:pt x="322980" y="725621"/>
                  <a:pt x="322525" y="725166"/>
                  <a:pt x="324347" y="727899"/>
                </a:cubicBezTo>
                <a:lnTo>
                  <a:pt x="325132" y="728180"/>
                </a:lnTo>
                <a:lnTo>
                  <a:pt x="327993" y="731543"/>
                </a:lnTo>
                <a:cubicBezTo>
                  <a:pt x="328903" y="730632"/>
                  <a:pt x="328447" y="729721"/>
                  <a:pt x="327537" y="729038"/>
                </a:cubicBezTo>
                <a:lnTo>
                  <a:pt x="325132" y="728180"/>
                </a:lnTo>
                <a:close/>
                <a:moveTo>
                  <a:pt x="3493108" y="726077"/>
                </a:moveTo>
                <a:cubicBezTo>
                  <a:pt x="3487641" y="726077"/>
                  <a:pt x="3489463" y="737010"/>
                  <a:pt x="3491286" y="737010"/>
                </a:cubicBezTo>
                <a:cubicBezTo>
                  <a:pt x="3496752" y="737010"/>
                  <a:pt x="3493108" y="729721"/>
                  <a:pt x="3493108" y="726077"/>
                </a:cubicBezTo>
                <a:close/>
                <a:moveTo>
                  <a:pt x="1372097" y="726077"/>
                </a:moveTo>
                <a:cubicBezTo>
                  <a:pt x="1368453" y="726077"/>
                  <a:pt x="1366632" y="731543"/>
                  <a:pt x="1366632" y="733365"/>
                </a:cubicBezTo>
                <a:cubicBezTo>
                  <a:pt x="1366632" y="733365"/>
                  <a:pt x="1366632" y="733365"/>
                  <a:pt x="1368453" y="735188"/>
                </a:cubicBezTo>
                <a:cubicBezTo>
                  <a:pt x="1370275" y="735188"/>
                  <a:pt x="1372097" y="731543"/>
                  <a:pt x="1375743" y="729721"/>
                </a:cubicBezTo>
                <a:cubicBezTo>
                  <a:pt x="1373920" y="727899"/>
                  <a:pt x="1373920" y="724254"/>
                  <a:pt x="1372097" y="726077"/>
                </a:cubicBezTo>
                <a:close/>
                <a:moveTo>
                  <a:pt x="1118815" y="726077"/>
                </a:moveTo>
                <a:cubicBezTo>
                  <a:pt x="1115171" y="726077"/>
                  <a:pt x="1113349" y="729721"/>
                  <a:pt x="1109704" y="731543"/>
                </a:cubicBezTo>
                <a:cubicBezTo>
                  <a:pt x="1111526" y="735188"/>
                  <a:pt x="1118815" y="731543"/>
                  <a:pt x="1122459" y="733365"/>
                </a:cubicBezTo>
                <a:cubicBezTo>
                  <a:pt x="1124282" y="731543"/>
                  <a:pt x="1120637" y="727899"/>
                  <a:pt x="1118815" y="726077"/>
                </a:cubicBezTo>
                <a:close/>
                <a:moveTo>
                  <a:pt x="841845" y="726077"/>
                </a:moveTo>
                <a:cubicBezTo>
                  <a:pt x="838200" y="735188"/>
                  <a:pt x="841845" y="740654"/>
                  <a:pt x="850956" y="746121"/>
                </a:cubicBezTo>
                <a:cubicBezTo>
                  <a:pt x="849133" y="740654"/>
                  <a:pt x="845489" y="737010"/>
                  <a:pt x="849133" y="731543"/>
                </a:cubicBezTo>
                <a:cubicBezTo>
                  <a:pt x="845489" y="729721"/>
                  <a:pt x="845489" y="727899"/>
                  <a:pt x="841845" y="726077"/>
                </a:cubicBezTo>
                <a:close/>
                <a:moveTo>
                  <a:pt x="814512" y="726077"/>
                </a:moveTo>
                <a:cubicBezTo>
                  <a:pt x="812690" y="724254"/>
                  <a:pt x="810868" y="726077"/>
                  <a:pt x="809046" y="727899"/>
                </a:cubicBezTo>
                <a:cubicBezTo>
                  <a:pt x="809046" y="733365"/>
                  <a:pt x="816334" y="731543"/>
                  <a:pt x="818156" y="735188"/>
                </a:cubicBezTo>
                <a:cubicBezTo>
                  <a:pt x="819979" y="731543"/>
                  <a:pt x="814512" y="729721"/>
                  <a:pt x="814512" y="726077"/>
                </a:cubicBezTo>
                <a:close/>
                <a:moveTo>
                  <a:pt x="761670" y="726077"/>
                </a:moveTo>
                <a:cubicBezTo>
                  <a:pt x="759848" y="727899"/>
                  <a:pt x="765313" y="731543"/>
                  <a:pt x="765313" y="729721"/>
                </a:cubicBezTo>
                <a:cubicBezTo>
                  <a:pt x="767136" y="727899"/>
                  <a:pt x="763491" y="726077"/>
                  <a:pt x="761670" y="726077"/>
                </a:cubicBezTo>
                <a:close/>
                <a:moveTo>
                  <a:pt x="628650" y="726077"/>
                </a:moveTo>
                <a:cubicBezTo>
                  <a:pt x="626828" y="727899"/>
                  <a:pt x="625006" y="729721"/>
                  <a:pt x="619539" y="729721"/>
                </a:cubicBezTo>
                <a:lnTo>
                  <a:pt x="632207" y="732536"/>
                </a:lnTo>
                <a:lnTo>
                  <a:pt x="632296" y="733365"/>
                </a:lnTo>
                <a:cubicBezTo>
                  <a:pt x="634117" y="733365"/>
                  <a:pt x="635939" y="733365"/>
                  <a:pt x="635939" y="733365"/>
                </a:cubicBezTo>
                <a:lnTo>
                  <a:pt x="632207" y="732536"/>
                </a:lnTo>
                <a:lnTo>
                  <a:pt x="631840" y="729038"/>
                </a:lnTo>
                <a:cubicBezTo>
                  <a:pt x="630017" y="728355"/>
                  <a:pt x="627739" y="727900"/>
                  <a:pt x="628650" y="726077"/>
                </a:cubicBezTo>
                <a:close/>
                <a:moveTo>
                  <a:pt x="519320" y="726077"/>
                </a:moveTo>
                <a:cubicBezTo>
                  <a:pt x="521142" y="727899"/>
                  <a:pt x="521142" y="729721"/>
                  <a:pt x="522964" y="731543"/>
                </a:cubicBezTo>
                <a:cubicBezTo>
                  <a:pt x="521142" y="735188"/>
                  <a:pt x="521142" y="738832"/>
                  <a:pt x="524786" y="740654"/>
                </a:cubicBezTo>
                <a:cubicBezTo>
                  <a:pt x="528431" y="737010"/>
                  <a:pt x="530253" y="733365"/>
                  <a:pt x="532075" y="731543"/>
                </a:cubicBezTo>
                <a:cubicBezTo>
                  <a:pt x="530253" y="729721"/>
                  <a:pt x="528431" y="727899"/>
                  <a:pt x="524786" y="726077"/>
                </a:cubicBezTo>
                <a:cubicBezTo>
                  <a:pt x="524786" y="727899"/>
                  <a:pt x="522964" y="729721"/>
                  <a:pt x="522964" y="731543"/>
                </a:cubicBezTo>
                <a:cubicBezTo>
                  <a:pt x="522964" y="727899"/>
                  <a:pt x="521142" y="726077"/>
                  <a:pt x="521142" y="726077"/>
                </a:cubicBezTo>
                <a:cubicBezTo>
                  <a:pt x="521142" y="726077"/>
                  <a:pt x="519320" y="726077"/>
                  <a:pt x="519320" y="726077"/>
                </a:cubicBezTo>
                <a:close/>
                <a:moveTo>
                  <a:pt x="495632" y="726077"/>
                </a:moveTo>
                <a:cubicBezTo>
                  <a:pt x="493809" y="726077"/>
                  <a:pt x="490165" y="727899"/>
                  <a:pt x="495632" y="731543"/>
                </a:cubicBezTo>
                <a:cubicBezTo>
                  <a:pt x="497454" y="729721"/>
                  <a:pt x="493809" y="727899"/>
                  <a:pt x="495632" y="726077"/>
                </a:cubicBezTo>
                <a:close/>
                <a:moveTo>
                  <a:pt x="307948" y="726077"/>
                </a:moveTo>
                <a:cubicBezTo>
                  <a:pt x="306126" y="729721"/>
                  <a:pt x="313414" y="729721"/>
                  <a:pt x="315236" y="731543"/>
                </a:cubicBezTo>
                <a:cubicBezTo>
                  <a:pt x="315236" y="729721"/>
                  <a:pt x="311592" y="727899"/>
                  <a:pt x="307948" y="726077"/>
                </a:cubicBezTo>
                <a:close/>
                <a:moveTo>
                  <a:pt x="240527" y="726077"/>
                </a:moveTo>
                <a:cubicBezTo>
                  <a:pt x="242349" y="727899"/>
                  <a:pt x="244172" y="731543"/>
                  <a:pt x="244172" y="726077"/>
                </a:cubicBezTo>
                <a:cubicBezTo>
                  <a:pt x="244172" y="726077"/>
                  <a:pt x="242349" y="724254"/>
                  <a:pt x="240527" y="726077"/>
                </a:cubicBezTo>
                <a:close/>
                <a:moveTo>
                  <a:pt x="3536840" y="724254"/>
                </a:moveTo>
                <a:cubicBezTo>
                  <a:pt x="3535018" y="726077"/>
                  <a:pt x="3531374" y="726077"/>
                  <a:pt x="3533196" y="727899"/>
                </a:cubicBezTo>
                <a:cubicBezTo>
                  <a:pt x="3535018" y="731543"/>
                  <a:pt x="3536840" y="731543"/>
                  <a:pt x="3538662" y="729721"/>
                </a:cubicBezTo>
                <a:cubicBezTo>
                  <a:pt x="3538662" y="727899"/>
                  <a:pt x="3538662" y="727899"/>
                  <a:pt x="3538662" y="726077"/>
                </a:cubicBezTo>
                <a:cubicBezTo>
                  <a:pt x="3536840" y="726077"/>
                  <a:pt x="3536840" y="724254"/>
                  <a:pt x="3536840" y="724254"/>
                </a:cubicBezTo>
                <a:close/>
                <a:moveTo>
                  <a:pt x="2660374" y="724254"/>
                </a:moveTo>
                <a:cubicBezTo>
                  <a:pt x="2660374" y="727899"/>
                  <a:pt x="2665841" y="731543"/>
                  <a:pt x="2662197" y="733365"/>
                </a:cubicBezTo>
                <a:cubicBezTo>
                  <a:pt x="2662197" y="729721"/>
                  <a:pt x="2654908" y="722432"/>
                  <a:pt x="2660374" y="724254"/>
                </a:cubicBezTo>
                <a:close/>
                <a:moveTo>
                  <a:pt x="2197542" y="724254"/>
                </a:moveTo>
                <a:cubicBezTo>
                  <a:pt x="2192076" y="722432"/>
                  <a:pt x="2182965" y="731543"/>
                  <a:pt x="2175676" y="735188"/>
                </a:cubicBezTo>
                <a:cubicBezTo>
                  <a:pt x="2203009" y="733365"/>
                  <a:pt x="2188431" y="740654"/>
                  <a:pt x="2197542" y="724254"/>
                </a:cubicBezTo>
                <a:close/>
                <a:moveTo>
                  <a:pt x="1432229" y="724254"/>
                </a:moveTo>
                <a:cubicBezTo>
                  <a:pt x="1428585" y="726077"/>
                  <a:pt x="1424940" y="727899"/>
                  <a:pt x="1423118" y="729721"/>
                </a:cubicBezTo>
                <a:lnTo>
                  <a:pt x="1425853" y="727898"/>
                </a:lnTo>
                <a:close/>
                <a:moveTo>
                  <a:pt x="1164370" y="724254"/>
                </a:moveTo>
                <a:cubicBezTo>
                  <a:pt x="1162547" y="726077"/>
                  <a:pt x="1160725" y="726077"/>
                  <a:pt x="1162547" y="727899"/>
                </a:cubicBezTo>
                <a:cubicBezTo>
                  <a:pt x="1164370" y="729721"/>
                  <a:pt x="1168014" y="726077"/>
                  <a:pt x="1164370" y="724254"/>
                </a:cubicBezTo>
                <a:close/>
                <a:moveTo>
                  <a:pt x="1013129" y="724254"/>
                </a:moveTo>
                <a:cubicBezTo>
                  <a:pt x="1011307" y="722432"/>
                  <a:pt x="1007663" y="727899"/>
                  <a:pt x="1011307" y="729721"/>
                </a:cubicBezTo>
                <a:cubicBezTo>
                  <a:pt x="1013129" y="727899"/>
                  <a:pt x="1009485" y="726077"/>
                  <a:pt x="1013129" y="724254"/>
                </a:cubicBezTo>
                <a:close/>
                <a:moveTo>
                  <a:pt x="976686" y="724254"/>
                </a:moveTo>
                <a:cubicBezTo>
                  <a:pt x="973041" y="726077"/>
                  <a:pt x="976686" y="727899"/>
                  <a:pt x="974863" y="727899"/>
                </a:cubicBezTo>
                <a:cubicBezTo>
                  <a:pt x="978508" y="727899"/>
                  <a:pt x="978508" y="726077"/>
                  <a:pt x="980330" y="724254"/>
                </a:cubicBezTo>
                <a:cubicBezTo>
                  <a:pt x="978508" y="724254"/>
                  <a:pt x="978508" y="724254"/>
                  <a:pt x="976686" y="724254"/>
                </a:cubicBezTo>
                <a:close/>
                <a:moveTo>
                  <a:pt x="674205" y="724254"/>
                </a:moveTo>
                <a:cubicBezTo>
                  <a:pt x="672383" y="726077"/>
                  <a:pt x="679671" y="727899"/>
                  <a:pt x="681493" y="729721"/>
                </a:cubicBezTo>
                <a:cubicBezTo>
                  <a:pt x="683316" y="724254"/>
                  <a:pt x="676027" y="724254"/>
                  <a:pt x="674205" y="724254"/>
                </a:cubicBezTo>
                <a:close/>
                <a:moveTo>
                  <a:pt x="512031" y="724254"/>
                </a:moveTo>
                <a:cubicBezTo>
                  <a:pt x="510209" y="726077"/>
                  <a:pt x="515676" y="729721"/>
                  <a:pt x="515676" y="731543"/>
                </a:cubicBezTo>
                <a:cubicBezTo>
                  <a:pt x="517498" y="729721"/>
                  <a:pt x="515676" y="724254"/>
                  <a:pt x="512031" y="724254"/>
                </a:cubicBezTo>
                <a:close/>
                <a:moveTo>
                  <a:pt x="661592" y="723429"/>
                </a:moveTo>
                <a:cubicBezTo>
                  <a:pt x="658945" y="724482"/>
                  <a:pt x="656439" y="726988"/>
                  <a:pt x="654161" y="731543"/>
                </a:cubicBezTo>
                <a:cubicBezTo>
                  <a:pt x="654161" y="733365"/>
                  <a:pt x="659627" y="729721"/>
                  <a:pt x="657805" y="727899"/>
                </a:cubicBezTo>
                <a:cubicBezTo>
                  <a:pt x="659627" y="729721"/>
                  <a:pt x="660994" y="729266"/>
                  <a:pt x="662360" y="728127"/>
                </a:cubicBezTo>
                <a:lnTo>
                  <a:pt x="666493" y="724614"/>
                </a:lnTo>
                <a:lnTo>
                  <a:pt x="666502" y="724616"/>
                </a:lnTo>
                <a:lnTo>
                  <a:pt x="659627" y="730632"/>
                </a:lnTo>
                <a:cubicBezTo>
                  <a:pt x="656439" y="731999"/>
                  <a:pt x="653250" y="733366"/>
                  <a:pt x="652339" y="737010"/>
                </a:cubicBezTo>
                <a:cubicBezTo>
                  <a:pt x="652339" y="740654"/>
                  <a:pt x="655983" y="742476"/>
                  <a:pt x="659627" y="742476"/>
                </a:cubicBezTo>
                <a:cubicBezTo>
                  <a:pt x="659627" y="740654"/>
                  <a:pt x="659627" y="738832"/>
                  <a:pt x="657805" y="737010"/>
                </a:cubicBezTo>
                <a:cubicBezTo>
                  <a:pt x="661449" y="742476"/>
                  <a:pt x="665094" y="747943"/>
                  <a:pt x="672383" y="751587"/>
                </a:cubicBezTo>
                <a:lnTo>
                  <a:pt x="672383" y="747943"/>
                </a:lnTo>
                <a:cubicBezTo>
                  <a:pt x="679671" y="751587"/>
                  <a:pt x="685138" y="757054"/>
                  <a:pt x="694249" y="755231"/>
                </a:cubicBezTo>
                <a:cubicBezTo>
                  <a:pt x="691515" y="754320"/>
                  <a:pt x="691060" y="751132"/>
                  <a:pt x="691515" y="748398"/>
                </a:cubicBezTo>
                <a:lnTo>
                  <a:pt x="692367" y="747121"/>
                </a:lnTo>
                <a:lnTo>
                  <a:pt x="692198" y="749993"/>
                </a:lnTo>
                <a:cubicBezTo>
                  <a:pt x="692882" y="751132"/>
                  <a:pt x="694248" y="751587"/>
                  <a:pt x="696071" y="749765"/>
                </a:cubicBezTo>
                <a:cubicBezTo>
                  <a:pt x="697893" y="760698"/>
                  <a:pt x="710648" y="757054"/>
                  <a:pt x="717937" y="760698"/>
                </a:cubicBezTo>
                <a:cubicBezTo>
                  <a:pt x="717937" y="754321"/>
                  <a:pt x="713837" y="752954"/>
                  <a:pt x="708598" y="752043"/>
                </a:cubicBezTo>
                <a:lnTo>
                  <a:pt x="692914" y="746300"/>
                </a:lnTo>
                <a:lnTo>
                  <a:pt x="694249" y="744298"/>
                </a:lnTo>
                <a:cubicBezTo>
                  <a:pt x="699715" y="749765"/>
                  <a:pt x="705182" y="751587"/>
                  <a:pt x="710648" y="751587"/>
                </a:cubicBezTo>
                <a:cubicBezTo>
                  <a:pt x="697893" y="740654"/>
                  <a:pt x="686960" y="737010"/>
                  <a:pt x="672383" y="738832"/>
                </a:cubicBezTo>
                <a:cubicBezTo>
                  <a:pt x="677849" y="737010"/>
                  <a:pt x="681493" y="738832"/>
                  <a:pt x="686960" y="737010"/>
                </a:cubicBezTo>
                <a:cubicBezTo>
                  <a:pt x="682860" y="733594"/>
                  <a:pt x="678504" y="729408"/>
                  <a:pt x="674180" y="726472"/>
                </a:cubicBezTo>
                <a:lnTo>
                  <a:pt x="666502" y="724616"/>
                </a:lnTo>
                <a:lnTo>
                  <a:pt x="666916" y="724254"/>
                </a:lnTo>
                <a:lnTo>
                  <a:pt x="666493" y="724614"/>
                </a:lnTo>
                <a:close/>
                <a:moveTo>
                  <a:pt x="1471406" y="723344"/>
                </a:moveTo>
                <a:cubicBezTo>
                  <a:pt x="1469129" y="724255"/>
                  <a:pt x="1466850" y="726077"/>
                  <a:pt x="1465028" y="727899"/>
                </a:cubicBezTo>
                <a:cubicBezTo>
                  <a:pt x="1468673" y="729721"/>
                  <a:pt x="1472317" y="729721"/>
                  <a:pt x="1477784" y="724254"/>
                </a:cubicBezTo>
                <a:cubicBezTo>
                  <a:pt x="1475961" y="722432"/>
                  <a:pt x="1473683" y="722432"/>
                  <a:pt x="1471406" y="723344"/>
                </a:cubicBezTo>
                <a:close/>
                <a:moveTo>
                  <a:pt x="1301887" y="722661"/>
                </a:moveTo>
                <a:cubicBezTo>
                  <a:pt x="1299894" y="722547"/>
                  <a:pt x="1298072" y="723344"/>
                  <a:pt x="1296477" y="724711"/>
                </a:cubicBezTo>
                <a:lnTo>
                  <a:pt x="1290258" y="736705"/>
                </a:lnTo>
                <a:lnTo>
                  <a:pt x="1282811" y="738832"/>
                </a:lnTo>
                <a:cubicBezTo>
                  <a:pt x="1286455" y="737010"/>
                  <a:pt x="1288277" y="737010"/>
                  <a:pt x="1290100" y="737010"/>
                </a:cubicBezTo>
                <a:lnTo>
                  <a:pt x="1290258" y="736705"/>
                </a:lnTo>
                <a:lnTo>
                  <a:pt x="1295566" y="735188"/>
                </a:lnTo>
                <a:cubicBezTo>
                  <a:pt x="1300122" y="731999"/>
                  <a:pt x="1304677" y="727900"/>
                  <a:pt x="1308321" y="726077"/>
                </a:cubicBezTo>
                <a:cubicBezTo>
                  <a:pt x="1306043" y="723800"/>
                  <a:pt x="1303880" y="722775"/>
                  <a:pt x="1301887" y="722661"/>
                </a:cubicBezTo>
                <a:close/>
                <a:moveTo>
                  <a:pt x="391768" y="722432"/>
                </a:moveTo>
                <a:cubicBezTo>
                  <a:pt x="393590" y="729721"/>
                  <a:pt x="402701" y="731543"/>
                  <a:pt x="408167" y="737010"/>
                </a:cubicBezTo>
                <a:cubicBezTo>
                  <a:pt x="404523" y="731543"/>
                  <a:pt x="397234" y="726077"/>
                  <a:pt x="391768" y="722432"/>
                </a:cubicBezTo>
                <a:close/>
                <a:moveTo>
                  <a:pt x="2207337" y="722205"/>
                </a:moveTo>
                <a:cubicBezTo>
                  <a:pt x="2207109" y="721066"/>
                  <a:pt x="2206653" y="720610"/>
                  <a:pt x="2204831" y="722432"/>
                </a:cubicBezTo>
                <a:lnTo>
                  <a:pt x="2208475" y="726077"/>
                </a:lnTo>
                <a:cubicBezTo>
                  <a:pt x="2207564" y="725166"/>
                  <a:pt x="2207564" y="723344"/>
                  <a:pt x="2207337" y="722205"/>
                </a:cubicBezTo>
                <a:close/>
                <a:moveTo>
                  <a:pt x="815313" y="722007"/>
                </a:moveTo>
                <a:lnTo>
                  <a:pt x="816334" y="722432"/>
                </a:lnTo>
                <a:lnTo>
                  <a:pt x="815615" y="722672"/>
                </a:lnTo>
                <a:close/>
                <a:moveTo>
                  <a:pt x="1235434" y="721294"/>
                </a:moveTo>
                <a:cubicBezTo>
                  <a:pt x="1234067" y="721977"/>
                  <a:pt x="1232701" y="723344"/>
                  <a:pt x="1231790" y="724254"/>
                </a:cubicBezTo>
                <a:cubicBezTo>
                  <a:pt x="1233612" y="724254"/>
                  <a:pt x="1237256" y="724254"/>
                  <a:pt x="1239080" y="722432"/>
                </a:cubicBezTo>
                <a:cubicBezTo>
                  <a:pt x="1238168" y="720610"/>
                  <a:pt x="1236801" y="720610"/>
                  <a:pt x="1235434" y="721294"/>
                </a:cubicBezTo>
                <a:close/>
                <a:moveTo>
                  <a:pt x="3500397" y="720610"/>
                </a:moveTo>
                <a:cubicBezTo>
                  <a:pt x="3502219" y="727899"/>
                  <a:pt x="3496752" y="727899"/>
                  <a:pt x="3496752" y="733365"/>
                </a:cubicBezTo>
                <a:cubicBezTo>
                  <a:pt x="3502219" y="735188"/>
                  <a:pt x="3511330" y="729721"/>
                  <a:pt x="3511330" y="722432"/>
                </a:cubicBezTo>
                <a:cubicBezTo>
                  <a:pt x="3505863" y="718788"/>
                  <a:pt x="3505863" y="726077"/>
                  <a:pt x="3500397" y="720610"/>
                </a:cubicBezTo>
                <a:close/>
                <a:moveTo>
                  <a:pt x="2609353" y="720610"/>
                </a:moveTo>
                <a:cubicBezTo>
                  <a:pt x="2605709" y="724254"/>
                  <a:pt x="2609353" y="726077"/>
                  <a:pt x="2612998" y="726077"/>
                </a:cubicBezTo>
                <a:cubicBezTo>
                  <a:pt x="2612998" y="720610"/>
                  <a:pt x="2611176" y="722432"/>
                  <a:pt x="2609353" y="720610"/>
                </a:cubicBezTo>
                <a:close/>
                <a:moveTo>
                  <a:pt x="2558332" y="720610"/>
                </a:moveTo>
                <a:cubicBezTo>
                  <a:pt x="2556510" y="724254"/>
                  <a:pt x="2558332" y="724254"/>
                  <a:pt x="2558332" y="727899"/>
                </a:cubicBezTo>
                <a:lnTo>
                  <a:pt x="2565621" y="724254"/>
                </a:lnTo>
                <a:lnTo>
                  <a:pt x="2571088" y="722432"/>
                </a:lnTo>
                <a:cubicBezTo>
                  <a:pt x="2569266" y="722432"/>
                  <a:pt x="2567443" y="722432"/>
                  <a:pt x="2565621" y="722432"/>
                </a:cubicBezTo>
                <a:cubicBezTo>
                  <a:pt x="2565621" y="722432"/>
                  <a:pt x="2565621" y="724254"/>
                  <a:pt x="2565621" y="724254"/>
                </a:cubicBezTo>
                <a:cubicBezTo>
                  <a:pt x="2563799" y="722432"/>
                  <a:pt x="2561977" y="720610"/>
                  <a:pt x="2558332" y="720610"/>
                </a:cubicBezTo>
                <a:close/>
                <a:moveTo>
                  <a:pt x="1171658" y="720610"/>
                </a:moveTo>
                <a:cubicBezTo>
                  <a:pt x="1169836" y="722432"/>
                  <a:pt x="1166192" y="722432"/>
                  <a:pt x="1168014" y="724254"/>
                </a:cubicBezTo>
                <a:cubicBezTo>
                  <a:pt x="1168014" y="726077"/>
                  <a:pt x="1173481" y="722432"/>
                  <a:pt x="1171658" y="720610"/>
                </a:cubicBezTo>
                <a:close/>
                <a:moveTo>
                  <a:pt x="1158903" y="720610"/>
                </a:moveTo>
                <a:cubicBezTo>
                  <a:pt x="1155259" y="724254"/>
                  <a:pt x="1153436" y="726077"/>
                  <a:pt x="1149792" y="727899"/>
                </a:cubicBezTo>
                <a:cubicBezTo>
                  <a:pt x="1153436" y="727899"/>
                  <a:pt x="1158903" y="722432"/>
                  <a:pt x="1160725" y="722432"/>
                </a:cubicBezTo>
                <a:cubicBezTo>
                  <a:pt x="1160725" y="722432"/>
                  <a:pt x="1158903" y="720610"/>
                  <a:pt x="1158903" y="720610"/>
                </a:cubicBezTo>
                <a:close/>
                <a:moveTo>
                  <a:pt x="1000374" y="720610"/>
                </a:moveTo>
                <a:lnTo>
                  <a:pt x="1000093" y="722713"/>
                </a:lnTo>
                <a:lnTo>
                  <a:pt x="996729" y="726077"/>
                </a:lnTo>
                <a:cubicBezTo>
                  <a:pt x="997640" y="725166"/>
                  <a:pt x="999008" y="724710"/>
                  <a:pt x="999918" y="724027"/>
                </a:cubicBezTo>
                <a:lnTo>
                  <a:pt x="1000093" y="722713"/>
                </a:lnTo>
                <a:lnTo>
                  <a:pt x="1002196" y="720610"/>
                </a:lnTo>
                <a:cubicBezTo>
                  <a:pt x="1002196" y="720610"/>
                  <a:pt x="1000374" y="720610"/>
                  <a:pt x="1000374" y="720610"/>
                </a:cubicBezTo>
                <a:close/>
                <a:moveTo>
                  <a:pt x="942064" y="720610"/>
                </a:moveTo>
                <a:cubicBezTo>
                  <a:pt x="942064" y="724254"/>
                  <a:pt x="938420" y="729721"/>
                  <a:pt x="940242" y="733365"/>
                </a:cubicBezTo>
                <a:cubicBezTo>
                  <a:pt x="947531" y="729721"/>
                  <a:pt x="943886" y="724254"/>
                  <a:pt x="942064" y="720610"/>
                </a:cubicBezTo>
                <a:close/>
                <a:moveTo>
                  <a:pt x="936598" y="720610"/>
                </a:moveTo>
                <a:cubicBezTo>
                  <a:pt x="929309" y="722432"/>
                  <a:pt x="925666" y="735188"/>
                  <a:pt x="931131" y="731543"/>
                </a:cubicBezTo>
                <a:cubicBezTo>
                  <a:pt x="932953" y="733365"/>
                  <a:pt x="927487" y="735188"/>
                  <a:pt x="929309" y="737010"/>
                </a:cubicBezTo>
                <a:cubicBezTo>
                  <a:pt x="940242" y="737010"/>
                  <a:pt x="940242" y="727899"/>
                  <a:pt x="936598" y="720610"/>
                </a:cubicBezTo>
                <a:close/>
                <a:moveTo>
                  <a:pt x="896510" y="720610"/>
                </a:moveTo>
                <a:cubicBezTo>
                  <a:pt x="891043" y="718788"/>
                  <a:pt x="896510" y="724254"/>
                  <a:pt x="898333" y="726077"/>
                </a:cubicBezTo>
                <a:cubicBezTo>
                  <a:pt x="900154" y="724254"/>
                  <a:pt x="896510" y="722432"/>
                  <a:pt x="896510" y="720610"/>
                </a:cubicBezTo>
                <a:close/>
                <a:moveTo>
                  <a:pt x="885577" y="720610"/>
                </a:moveTo>
                <a:cubicBezTo>
                  <a:pt x="881933" y="727899"/>
                  <a:pt x="891043" y="729721"/>
                  <a:pt x="896510" y="727899"/>
                </a:cubicBezTo>
                <a:cubicBezTo>
                  <a:pt x="898333" y="724254"/>
                  <a:pt x="889222" y="722432"/>
                  <a:pt x="885577" y="720610"/>
                </a:cubicBezTo>
                <a:close/>
                <a:moveTo>
                  <a:pt x="818156" y="720610"/>
                </a:moveTo>
                <a:cubicBezTo>
                  <a:pt x="817245" y="720610"/>
                  <a:pt x="815878" y="721066"/>
                  <a:pt x="815196" y="721749"/>
                </a:cubicBezTo>
                <a:lnTo>
                  <a:pt x="815313" y="722007"/>
                </a:lnTo>
                <a:lnTo>
                  <a:pt x="813601" y="721294"/>
                </a:lnTo>
                <a:cubicBezTo>
                  <a:pt x="812234" y="721977"/>
                  <a:pt x="810868" y="723344"/>
                  <a:pt x="810868" y="724254"/>
                </a:cubicBezTo>
                <a:lnTo>
                  <a:pt x="815615" y="722672"/>
                </a:lnTo>
                <a:lnTo>
                  <a:pt x="816334" y="724254"/>
                </a:lnTo>
                <a:cubicBezTo>
                  <a:pt x="819979" y="722432"/>
                  <a:pt x="819979" y="724254"/>
                  <a:pt x="821801" y="726077"/>
                </a:cubicBezTo>
                <a:cubicBezTo>
                  <a:pt x="823623" y="724254"/>
                  <a:pt x="821801" y="722432"/>
                  <a:pt x="818156" y="720610"/>
                </a:cubicBezTo>
                <a:close/>
                <a:moveTo>
                  <a:pt x="807223" y="720610"/>
                </a:moveTo>
                <a:cubicBezTo>
                  <a:pt x="801757" y="720610"/>
                  <a:pt x="792646" y="726077"/>
                  <a:pt x="798112" y="731543"/>
                </a:cubicBezTo>
                <a:cubicBezTo>
                  <a:pt x="805401" y="731543"/>
                  <a:pt x="803579" y="726077"/>
                  <a:pt x="807223" y="720610"/>
                </a:cubicBezTo>
                <a:close/>
                <a:moveTo>
                  <a:pt x="739803" y="720610"/>
                </a:moveTo>
                <a:cubicBezTo>
                  <a:pt x="737981" y="726077"/>
                  <a:pt x="743447" y="733365"/>
                  <a:pt x="750737" y="731543"/>
                </a:cubicBezTo>
                <a:cubicBezTo>
                  <a:pt x="750737" y="727899"/>
                  <a:pt x="743447" y="722432"/>
                  <a:pt x="739803" y="720610"/>
                </a:cubicBezTo>
                <a:close/>
                <a:moveTo>
                  <a:pt x="705182" y="720610"/>
                </a:moveTo>
                <a:cubicBezTo>
                  <a:pt x="705182" y="724254"/>
                  <a:pt x="712470" y="729721"/>
                  <a:pt x="714293" y="731543"/>
                </a:cubicBezTo>
                <a:cubicBezTo>
                  <a:pt x="719759" y="727899"/>
                  <a:pt x="708826" y="724254"/>
                  <a:pt x="705182" y="720610"/>
                </a:cubicBezTo>
                <a:close/>
                <a:moveTo>
                  <a:pt x="439145" y="720610"/>
                </a:moveTo>
                <a:cubicBezTo>
                  <a:pt x="442789" y="726077"/>
                  <a:pt x="435500" y="733365"/>
                  <a:pt x="446433" y="731543"/>
                </a:cubicBezTo>
                <a:cubicBezTo>
                  <a:pt x="444611" y="727899"/>
                  <a:pt x="446433" y="720610"/>
                  <a:pt x="439145" y="720610"/>
                </a:cubicBezTo>
                <a:close/>
                <a:moveTo>
                  <a:pt x="331636" y="720610"/>
                </a:moveTo>
                <a:cubicBezTo>
                  <a:pt x="327993" y="720610"/>
                  <a:pt x="331636" y="729721"/>
                  <a:pt x="335280" y="727899"/>
                </a:cubicBezTo>
                <a:cubicBezTo>
                  <a:pt x="333458" y="724254"/>
                  <a:pt x="333458" y="722432"/>
                  <a:pt x="331636" y="720610"/>
                </a:cubicBezTo>
                <a:close/>
                <a:moveTo>
                  <a:pt x="1224273" y="719244"/>
                </a:moveTo>
                <a:cubicBezTo>
                  <a:pt x="1223134" y="719700"/>
                  <a:pt x="1221768" y="720610"/>
                  <a:pt x="1220858" y="720610"/>
                </a:cubicBezTo>
                <a:cubicBezTo>
                  <a:pt x="1222679" y="722432"/>
                  <a:pt x="1224501" y="720610"/>
                  <a:pt x="1226323" y="720610"/>
                </a:cubicBezTo>
                <a:cubicBezTo>
                  <a:pt x="1226323" y="718788"/>
                  <a:pt x="1225412" y="718788"/>
                  <a:pt x="1224273" y="719244"/>
                </a:cubicBezTo>
                <a:close/>
                <a:moveTo>
                  <a:pt x="3418399" y="718788"/>
                </a:moveTo>
                <a:cubicBezTo>
                  <a:pt x="3423865" y="722432"/>
                  <a:pt x="3420221" y="729721"/>
                  <a:pt x="3423865" y="735188"/>
                </a:cubicBezTo>
                <a:cubicBezTo>
                  <a:pt x="3438443" y="731543"/>
                  <a:pt x="3436621" y="747943"/>
                  <a:pt x="3453020" y="747943"/>
                </a:cubicBezTo>
                <a:cubicBezTo>
                  <a:pt x="3456664" y="738832"/>
                  <a:pt x="3454842" y="727899"/>
                  <a:pt x="3447553" y="724254"/>
                </a:cubicBezTo>
                <a:cubicBezTo>
                  <a:pt x="3445731" y="727899"/>
                  <a:pt x="3438443" y="727899"/>
                  <a:pt x="3434798" y="726077"/>
                </a:cubicBezTo>
                <a:cubicBezTo>
                  <a:pt x="3442087" y="729721"/>
                  <a:pt x="3434798" y="731543"/>
                  <a:pt x="3429332" y="733365"/>
                </a:cubicBezTo>
                <a:cubicBezTo>
                  <a:pt x="3427510" y="731543"/>
                  <a:pt x="3429332" y="726077"/>
                  <a:pt x="3431154" y="726077"/>
                </a:cubicBezTo>
                <a:cubicBezTo>
                  <a:pt x="3429332" y="726077"/>
                  <a:pt x="3427510" y="716966"/>
                  <a:pt x="3418399" y="718788"/>
                </a:cubicBezTo>
                <a:close/>
                <a:moveTo>
                  <a:pt x="2618464" y="718788"/>
                </a:moveTo>
                <a:cubicBezTo>
                  <a:pt x="2614820" y="718788"/>
                  <a:pt x="2618464" y="726077"/>
                  <a:pt x="2614820" y="726077"/>
                </a:cubicBezTo>
                <a:cubicBezTo>
                  <a:pt x="2614820" y="731543"/>
                  <a:pt x="2618464" y="731543"/>
                  <a:pt x="2622109" y="731543"/>
                </a:cubicBezTo>
                <a:cubicBezTo>
                  <a:pt x="2622109" y="727899"/>
                  <a:pt x="2618464" y="726077"/>
                  <a:pt x="2618464" y="718788"/>
                </a:cubicBezTo>
                <a:close/>
                <a:moveTo>
                  <a:pt x="1459562" y="718788"/>
                </a:moveTo>
                <a:lnTo>
                  <a:pt x="1434006" y="737529"/>
                </a:lnTo>
                <a:lnTo>
                  <a:pt x="1423118" y="739060"/>
                </a:lnTo>
                <a:cubicBezTo>
                  <a:pt x="1418107" y="740654"/>
                  <a:pt x="1413097" y="742476"/>
                  <a:pt x="1408541" y="742476"/>
                </a:cubicBezTo>
                <a:cubicBezTo>
                  <a:pt x="1415829" y="747943"/>
                  <a:pt x="1428585" y="740654"/>
                  <a:pt x="1437696" y="737010"/>
                </a:cubicBezTo>
                <a:lnTo>
                  <a:pt x="1434232" y="737497"/>
                </a:lnTo>
                <a:lnTo>
                  <a:pt x="1437696" y="735188"/>
                </a:lnTo>
                <a:cubicBezTo>
                  <a:pt x="1441340" y="738832"/>
                  <a:pt x="1441340" y="737010"/>
                  <a:pt x="1441340" y="740654"/>
                </a:cubicBezTo>
                <a:lnTo>
                  <a:pt x="1444588" y="738415"/>
                </a:lnTo>
                <a:lnTo>
                  <a:pt x="1443162" y="740654"/>
                </a:lnTo>
                <a:cubicBezTo>
                  <a:pt x="1444984" y="742476"/>
                  <a:pt x="1444984" y="740654"/>
                  <a:pt x="1446806" y="742476"/>
                </a:cubicBezTo>
                <a:lnTo>
                  <a:pt x="1452035" y="733762"/>
                </a:lnTo>
                <a:lnTo>
                  <a:pt x="1455917" y="731543"/>
                </a:lnTo>
                <a:cubicBezTo>
                  <a:pt x="1455917" y="729721"/>
                  <a:pt x="1455917" y="729721"/>
                  <a:pt x="1454095" y="727899"/>
                </a:cubicBezTo>
                <a:cubicBezTo>
                  <a:pt x="1454095" y="727899"/>
                  <a:pt x="1455917" y="729721"/>
                  <a:pt x="1457739" y="727899"/>
                </a:cubicBezTo>
                <a:cubicBezTo>
                  <a:pt x="1461384" y="724254"/>
                  <a:pt x="1461384" y="720610"/>
                  <a:pt x="1459562" y="718788"/>
                </a:cubicBezTo>
                <a:close/>
                <a:moveTo>
                  <a:pt x="1198991" y="718788"/>
                </a:moveTo>
                <a:cubicBezTo>
                  <a:pt x="1197169" y="716966"/>
                  <a:pt x="1195346" y="720610"/>
                  <a:pt x="1195346" y="720610"/>
                </a:cubicBezTo>
                <a:cubicBezTo>
                  <a:pt x="1195346" y="720610"/>
                  <a:pt x="1197169" y="720610"/>
                  <a:pt x="1198991" y="720610"/>
                </a:cubicBezTo>
                <a:cubicBezTo>
                  <a:pt x="1198991" y="720610"/>
                  <a:pt x="1198991" y="718788"/>
                  <a:pt x="1198991" y="718788"/>
                </a:cubicBezTo>
                <a:close/>
                <a:moveTo>
                  <a:pt x="1104238" y="718788"/>
                </a:moveTo>
                <a:cubicBezTo>
                  <a:pt x="1100593" y="718788"/>
                  <a:pt x="1098771" y="720610"/>
                  <a:pt x="1096949" y="720610"/>
                </a:cubicBezTo>
                <a:cubicBezTo>
                  <a:pt x="1095127" y="720610"/>
                  <a:pt x="1095127" y="722432"/>
                  <a:pt x="1098771" y="722432"/>
                </a:cubicBezTo>
                <a:cubicBezTo>
                  <a:pt x="1100593" y="722432"/>
                  <a:pt x="1102416" y="720610"/>
                  <a:pt x="1104238" y="718788"/>
                </a:cubicBezTo>
                <a:close/>
                <a:moveTo>
                  <a:pt x="1045929" y="718788"/>
                </a:moveTo>
                <a:cubicBezTo>
                  <a:pt x="1044106" y="720610"/>
                  <a:pt x="1044106" y="722432"/>
                  <a:pt x="1042284" y="726077"/>
                </a:cubicBezTo>
                <a:cubicBezTo>
                  <a:pt x="1047750" y="724254"/>
                  <a:pt x="1042284" y="722432"/>
                  <a:pt x="1047750" y="720610"/>
                </a:cubicBezTo>
                <a:cubicBezTo>
                  <a:pt x="1047750" y="720610"/>
                  <a:pt x="1047750" y="718788"/>
                  <a:pt x="1045929" y="718788"/>
                </a:cubicBezTo>
                <a:close/>
                <a:moveTo>
                  <a:pt x="1014951" y="718788"/>
                </a:moveTo>
                <a:lnTo>
                  <a:pt x="1016774" y="718788"/>
                </a:lnTo>
                <a:lnTo>
                  <a:pt x="1014040" y="719699"/>
                </a:lnTo>
                <a:close/>
                <a:moveTo>
                  <a:pt x="1011307" y="718788"/>
                </a:moveTo>
                <a:cubicBezTo>
                  <a:pt x="1007663" y="716966"/>
                  <a:pt x="1002196" y="720610"/>
                  <a:pt x="1005840" y="722432"/>
                </a:cubicBezTo>
                <a:cubicBezTo>
                  <a:pt x="1007663" y="720610"/>
                  <a:pt x="1009485" y="720610"/>
                  <a:pt x="1011307" y="718788"/>
                </a:cubicBezTo>
                <a:close/>
                <a:moveTo>
                  <a:pt x="911087" y="718788"/>
                </a:moveTo>
                <a:cubicBezTo>
                  <a:pt x="905621" y="722432"/>
                  <a:pt x="909265" y="726077"/>
                  <a:pt x="909265" y="727899"/>
                </a:cubicBezTo>
                <a:cubicBezTo>
                  <a:pt x="912909" y="726077"/>
                  <a:pt x="914732" y="720610"/>
                  <a:pt x="911087" y="718788"/>
                </a:cubicBezTo>
                <a:close/>
                <a:moveTo>
                  <a:pt x="570341" y="718788"/>
                </a:moveTo>
                <a:cubicBezTo>
                  <a:pt x="568519" y="720610"/>
                  <a:pt x="566697" y="724254"/>
                  <a:pt x="566697" y="726077"/>
                </a:cubicBezTo>
                <a:cubicBezTo>
                  <a:pt x="568519" y="726077"/>
                  <a:pt x="570341" y="727899"/>
                  <a:pt x="572163" y="729721"/>
                </a:cubicBezTo>
                <a:cubicBezTo>
                  <a:pt x="572163" y="727899"/>
                  <a:pt x="570341" y="726077"/>
                  <a:pt x="573985" y="726077"/>
                </a:cubicBezTo>
                <a:cubicBezTo>
                  <a:pt x="572163" y="724254"/>
                  <a:pt x="573985" y="720610"/>
                  <a:pt x="570341" y="718788"/>
                </a:cubicBezTo>
                <a:close/>
                <a:moveTo>
                  <a:pt x="526609" y="718788"/>
                </a:moveTo>
                <a:cubicBezTo>
                  <a:pt x="522964" y="720610"/>
                  <a:pt x="528431" y="724254"/>
                  <a:pt x="530253" y="724254"/>
                </a:cubicBezTo>
                <a:cubicBezTo>
                  <a:pt x="532075" y="722432"/>
                  <a:pt x="526609" y="722432"/>
                  <a:pt x="526609" y="718788"/>
                </a:cubicBezTo>
                <a:close/>
                <a:moveTo>
                  <a:pt x="453722" y="718788"/>
                </a:moveTo>
                <a:cubicBezTo>
                  <a:pt x="448256" y="722432"/>
                  <a:pt x="457367" y="726077"/>
                  <a:pt x="461010" y="729721"/>
                </a:cubicBezTo>
                <a:cubicBezTo>
                  <a:pt x="461010" y="726077"/>
                  <a:pt x="453722" y="722432"/>
                  <a:pt x="453722" y="718788"/>
                </a:cubicBezTo>
                <a:close/>
                <a:moveTo>
                  <a:pt x="380835" y="718788"/>
                </a:moveTo>
                <a:cubicBezTo>
                  <a:pt x="379012" y="718788"/>
                  <a:pt x="380835" y="720610"/>
                  <a:pt x="379012" y="720610"/>
                </a:cubicBezTo>
                <a:cubicBezTo>
                  <a:pt x="380835" y="722432"/>
                  <a:pt x="382657" y="726077"/>
                  <a:pt x="386301" y="724254"/>
                </a:cubicBezTo>
                <a:cubicBezTo>
                  <a:pt x="384479" y="722432"/>
                  <a:pt x="382657" y="720610"/>
                  <a:pt x="380835" y="718788"/>
                </a:cubicBezTo>
                <a:close/>
                <a:moveTo>
                  <a:pt x="165818" y="718788"/>
                </a:moveTo>
                <a:cubicBezTo>
                  <a:pt x="163996" y="720610"/>
                  <a:pt x="167640" y="726077"/>
                  <a:pt x="169462" y="726077"/>
                </a:cubicBezTo>
                <a:cubicBezTo>
                  <a:pt x="169462" y="724254"/>
                  <a:pt x="167640" y="720610"/>
                  <a:pt x="165818" y="718788"/>
                </a:cubicBezTo>
                <a:close/>
                <a:moveTo>
                  <a:pt x="1347982" y="717218"/>
                </a:moveTo>
                <a:lnTo>
                  <a:pt x="1356608" y="717650"/>
                </a:lnTo>
                <a:lnTo>
                  <a:pt x="1356928" y="717634"/>
                </a:lnTo>
                <a:lnTo>
                  <a:pt x="1356381" y="717877"/>
                </a:lnTo>
                <a:close/>
                <a:moveTo>
                  <a:pt x="3394710" y="716966"/>
                </a:moveTo>
                <a:cubicBezTo>
                  <a:pt x="3376489" y="720610"/>
                  <a:pt x="3352800" y="727899"/>
                  <a:pt x="3345512" y="744298"/>
                </a:cubicBezTo>
                <a:cubicBezTo>
                  <a:pt x="3361911" y="744298"/>
                  <a:pt x="3383777" y="729721"/>
                  <a:pt x="3394710" y="716966"/>
                </a:cubicBezTo>
                <a:close/>
                <a:moveTo>
                  <a:pt x="2261318" y="716966"/>
                </a:moveTo>
                <a:cubicBezTo>
                  <a:pt x="2259496" y="720610"/>
                  <a:pt x="2261318" y="733365"/>
                  <a:pt x="2263140" y="733365"/>
                </a:cubicBezTo>
                <a:cubicBezTo>
                  <a:pt x="2266785" y="735188"/>
                  <a:pt x="2263140" y="726077"/>
                  <a:pt x="2264963" y="726077"/>
                </a:cubicBezTo>
                <a:cubicBezTo>
                  <a:pt x="2263140" y="724254"/>
                  <a:pt x="2261318" y="720610"/>
                  <a:pt x="2261318" y="716966"/>
                </a:cubicBezTo>
                <a:close/>
                <a:moveTo>
                  <a:pt x="1370275" y="716966"/>
                </a:moveTo>
                <a:lnTo>
                  <a:pt x="1369725" y="718066"/>
                </a:lnTo>
                <a:lnTo>
                  <a:pt x="1368453" y="718788"/>
                </a:lnTo>
                <a:lnTo>
                  <a:pt x="1368803" y="717040"/>
                </a:lnTo>
                <a:close/>
                <a:moveTo>
                  <a:pt x="1184414" y="716966"/>
                </a:moveTo>
                <a:cubicBezTo>
                  <a:pt x="1180769" y="715144"/>
                  <a:pt x="1180769" y="720610"/>
                  <a:pt x="1178947" y="720610"/>
                </a:cubicBezTo>
                <a:cubicBezTo>
                  <a:pt x="1182592" y="722432"/>
                  <a:pt x="1184414" y="720610"/>
                  <a:pt x="1184414" y="720610"/>
                </a:cubicBezTo>
                <a:cubicBezTo>
                  <a:pt x="1186236" y="720610"/>
                  <a:pt x="1182592" y="718788"/>
                  <a:pt x="1184414" y="716966"/>
                </a:cubicBezTo>
                <a:close/>
                <a:moveTo>
                  <a:pt x="871000" y="716966"/>
                </a:moveTo>
                <a:cubicBezTo>
                  <a:pt x="867355" y="731543"/>
                  <a:pt x="861889" y="751587"/>
                  <a:pt x="880111" y="760698"/>
                </a:cubicBezTo>
                <a:cubicBezTo>
                  <a:pt x="881933" y="757054"/>
                  <a:pt x="880111" y="755231"/>
                  <a:pt x="883755" y="753409"/>
                </a:cubicBezTo>
                <a:cubicBezTo>
                  <a:pt x="876466" y="762520"/>
                  <a:pt x="887399" y="767987"/>
                  <a:pt x="896510" y="766164"/>
                </a:cubicBezTo>
                <a:cubicBezTo>
                  <a:pt x="892866" y="751587"/>
                  <a:pt x="876466" y="744298"/>
                  <a:pt x="869177" y="733365"/>
                </a:cubicBezTo>
                <a:cubicBezTo>
                  <a:pt x="872822" y="735188"/>
                  <a:pt x="874644" y="735188"/>
                  <a:pt x="876466" y="733365"/>
                </a:cubicBezTo>
                <a:cubicBezTo>
                  <a:pt x="874644" y="727899"/>
                  <a:pt x="872822" y="720610"/>
                  <a:pt x="871000" y="716966"/>
                </a:cubicBezTo>
                <a:close/>
                <a:moveTo>
                  <a:pt x="719759" y="716966"/>
                </a:moveTo>
                <a:cubicBezTo>
                  <a:pt x="716115" y="722432"/>
                  <a:pt x="721581" y="724254"/>
                  <a:pt x="727048" y="727899"/>
                </a:cubicBezTo>
                <a:cubicBezTo>
                  <a:pt x="728870" y="724254"/>
                  <a:pt x="723404" y="720610"/>
                  <a:pt x="719759" y="716966"/>
                </a:cubicBezTo>
                <a:close/>
                <a:moveTo>
                  <a:pt x="655983" y="716966"/>
                </a:moveTo>
                <a:lnTo>
                  <a:pt x="658433" y="718600"/>
                </a:lnTo>
                <a:lnTo>
                  <a:pt x="655588" y="718151"/>
                </a:lnTo>
                <a:close/>
                <a:moveTo>
                  <a:pt x="599496" y="716966"/>
                </a:moveTo>
                <a:cubicBezTo>
                  <a:pt x="597673" y="716966"/>
                  <a:pt x="597673" y="718788"/>
                  <a:pt x="595852" y="718788"/>
                </a:cubicBezTo>
                <a:cubicBezTo>
                  <a:pt x="597673" y="720610"/>
                  <a:pt x="595852" y="722432"/>
                  <a:pt x="597673" y="724254"/>
                </a:cubicBezTo>
                <a:cubicBezTo>
                  <a:pt x="595852" y="726077"/>
                  <a:pt x="599496" y="729721"/>
                  <a:pt x="601318" y="727899"/>
                </a:cubicBezTo>
                <a:cubicBezTo>
                  <a:pt x="601318" y="726077"/>
                  <a:pt x="599496" y="724254"/>
                  <a:pt x="597673" y="724254"/>
                </a:cubicBezTo>
                <a:cubicBezTo>
                  <a:pt x="603140" y="726077"/>
                  <a:pt x="603140" y="720610"/>
                  <a:pt x="599496" y="716966"/>
                </a:cubicBezTo>
                <a:close/>
                <a:moveTo>
                  <a:pt x="515676" y="716966"/>
                </a:moveTo>
                <a:cubicBezTo>
                  <a:pt x="515676" y="720610"/>
                  <a:pt x="515676" y="726077"/>
                  <a:pt x="522964" y="722432"/>
                </a:cubicBezTo>
                <a:cubicBezTo>
                  <a:pt x="519320" y="720610"/>
                  <a:pt x="517498" y="718788"/>
                  <a:pt x="515676" y="716966"/>
                </a:cubicBezTo>
                <a:close/>
                <a:moveTo>
                  <a:pt x="362613" y="716966"/>
                </a:moveTo>
                <a:cubicBezTo>
                  <a:pt x="362613" y="724254"/>
                  <a:pt x="364435" y="731543"/>
                  <a:pt x="369902" y="737010"/>
                </a:cubicBezTo>
                <a:cubicBezTo>
                  <a:pt x="375368" y="733365"/>
                  <a:pt x="368079" y="724254"/>
                  <a:pt x="362613" y="716966"/>
                </a:cubicBezTo>
                <a:close/>
                <a:moveTo>
                  <a:pt x="297015" y="716966"/>
                </a:moveTo>
                <a:cubicBezTo>
                  <a:pt x="295193" y="724254"/>
                  <a:pt x="304303" y="724254"/>
                  <a:pt x="306126" y="726077"/>
                </a:cubicBezTo>
                <a:cubicBezTo>
                  <a:pt x="304303" y="720610"/>
                  <a:pt x="300660" y="716966"/>
                  <a:pt x="297015" y="716966"/>
                </a:cubicBezTo>
                <a:close/>
                <a:moveTo>
                  <a:pt x="1036818" y="716511"/>
                </a:moveTo>
                <a:cubicBezTo>
                  <a:pt x="1034995" y="716511"/>
                  <a:pt x="1033173" y="716966"/>
                  <a:pt x="1031351" y="718788"/>
                </a:cubicBezTo>
                <a:cubicBezTo>
                  <a:pt x="1033173" y="720610"/>
                  <a:pt x="1029529" y="722432"/>
                  <a:pt x="1033173" y="724254"/>
                </a:cubicBezTo>
                <a:cubicBezTo>
                  <a:pt x="1034995" y="722432"/>
                  <a:pt x="1033173" y="720610"/>
                  <a:pt x="1036818" y="718788"/>
                </a:cubicBezTo>
                <a:cubicBezTo>
                  <a:pt x="1036818" y="720610"/>
                  <a:pt x="1034995" y="724254"/>
                  <a:pt x="1033173" y="726077"/>
                </a:cubicBezTo>
                <a:cubicBezTo>
                  <a:pt x="1034995" y="727899"/>
                  <a:pt x="1038639" y="727899"/>
                  <a:pt x="1036818" y="729721"/>
                </a:cubicBezTo>
                <a:cubicBezTo>
                  <a:pt x="1038639" y="729721"/>
                  <a:pt x="1040462" y="726077"/>
                  <a:pt x="1042284" y="724254"/>
                </a:cubicBezTo>
                <a:cubicBezTo>
                  <a:pt x="1036818" y="724254"/>
                  <a:pt x="1044106" y="718788"/>
                  <a:pt x="1042284" y="716966"/>
                </a:cubicBezTo>
                <a:cubicBezTo>
                  <a:pt x="1040462" y="716966"/>
                  <a:pt x="1038640" y="716511"/>
                  <a:pt x="1036818" y="716511"/>
                </a:cubicBezTo>
                <a:close/>
                <a:moveTo>
                  <a:pt x="2241274" y="715144"/>
                </a:moveTo>
                <a:cubicBezTo>
                  <a:pt x="2230341" y="718788"/>
                  <a:pt x="2206653" y="713321"/>
                  <a:pt x="2208475" y="727899"/>
                </a:cubicBezTo>
                <a:lnTo>
                  <a:pt x="2217586" y="735188"/>
                </a:lnTo>
                <a:lnTo>
                  <a:pt x="2228519" y="729721"/>
                </a:lnTo>
                <a:lnTo>
                  <a:pt x="2230341" y="727899"/>
                </a:lnTo>
                <a:cubicBezTo>
                  <a:pt x="2232163" y="729721"/>
                  <a:pt x="2233986" y="729721"/>
                  <a:pt x="2235808" y="731543"/>
                </a:cubicBezTo>
                <a:cubicBezTo>
                  <a:pt x="2237630" y="727899"/>
                  <a:pt x="2239452" y="726077"/>
                  <a:pt x="2243096" y="726077"/>
                </a:cubicBezTo>
                <a:cubicBezTo>
                  <a:pt x="2244919" y="720610"/>
                  <a:pt x="2241274" y="716966"/>
                  <a:pt x="2241274" y="715144"/>
                </a:cubicBezTo>
                <a:close/>
                <a:moveTo>
                  <a:pt x="1191703" y="715144"/>
                </a:moveTo>
                <a:cubicBezTo>
                  <a:pt x="1191703" y="716966"/>
                  <a:pt x="1186236" y="718788"/>
                  <a:pt x="1189880" y="720610"/>
                </a:cubicBezTo>
                <a:cubicBezTo>
                  <a:pt x="1191703" y="718788"/>
                  <a:pt x="1193525" y="716966"/>
                  <a:pt x="1191703" y="715144"/>
                </a:cubicBezTo>
                <a:close/>
                <a:moveTo>
                  <a:pt x="1164370" y="715144"/>
                </a:moveTo>
                <a:cubicBezTo>
                  <a:pt x="1162547" y="715144"/>
                  <a:pt x="1162547" y="716966"/>
                  <a:pt x="1162547" y="716966"/>
                </a:cubicBezTo>
                <a:cubicBezTo>
                  <a:pt x="1164370" y="720610"/>
                  <a:pt x="1166192" y="718788"/>
                  <a:pt x="1168014" y="716966"/>
                </a:cubicBezTo>
                <a:cubicBezTo>
                  <a:pt x="1166192" y="715144"/>
                  <a:pt x="1166192" y="715144"/>
                  <a:pt x="1164370" y="715144"/>
                </a:cubicBezTo>
                <a:close/>
                <a:moveTo>
                  <a:pt x="1147970" y="715144"/>
                </a:moveTo>
                <a:cubicBezTo>
                  <a:pt x="1146148" y="715144"/>
                  <a:pt x="1138859" y="716966"/>
                  <a:pt x="1140681" y="720610"/>
                </a:cubicBezTo>
                <a:cubicBezTo>
                  <a:pt x="1137037" y="722432"/>
                  <a:pt x="1135215" y="722432"/>
                  <a:pt x="1131570" y="720610"/>
                </a:cubicBezTo>
                <a:cubicBezTo>
                  <a:pt x="1131570" y="726077"/>
                  <a:pt x="1138859" y="724254"/>
                  <a:pt x="1142503" y="726077"/>
                </a:cubicBezTo>
                <a:cubicBezTo>
                  <a:pt x="1144326" y="722432"/>
                  <a:pt x="1138859" y="722432"/>
                  <a:pt x="1140681" y="720610"/>
                </a:cubicBezTo>
                <a:cubicBezTo>
                  <a:pt x="1140681" y="720610"/>
                  <a:pt x="1142503" y="722432"/>
                  <a:pt x="1142503" y="722432"/>
                </a:cubicBezTo>
                <a:cubicBezTo>
                  <a:pt x="1146148" y="720610"/>
                  <a:pt x="1144326" y="716966"/>
                  <a:pt x="1147970" y="715144"/>
                </a:cubicBezTo>
                <a:close/>
                <a:moveTo>
                  <a:pt x="1018596" y="715144"/>
                </a:moveTo>
                <a:lnTo>
                  <a:pt x="1014951" y="718788"/>
                </a:lnTo>
                <a:lnTo>
                  <a:pt x="1013129" y="718788"/>
                </a:lnTo>
                <a:cubicBezTo>
                  <a:pt x="1013129" y="718788"/>
                  <a:pt x="1013129" y="718788"/>
                  <a:pt x="1011307" y="720610"/>
                </a:cubicBezTo>
                <a:lnTo>
                  <a:pt x="1014040" y="719699"/>
                </a:lnTo>
                <a:lnTo>
                  <a:pt x="1013129" y="720610"/>
                </a:lnTo>
                <a:cubicBezTo>
                  <a:pt x="1013129" y="726077"/>
                  <a:pt x="1016774" y="731543"/>
                  <a:pt x="1016774" y="737010"/>
                </a:cubicBezTo>
                <a:cubicBezTo>
                  <a:pt x="1014951" y="737010"/>
                  <a:pt x="1014951" y="737010"/>
                  <a:pt x="1013129" y="738832"/>
                </a:cubicBezTo>
                <a:cubicBezTo>
                  <a:pt x="1025884" y="740654"/>
                  <a:pt x="1033173" y="727899"/>
                  <a:pt x="1027707" y="715144"/>
                </a:cubicBezTo>
                <a:cubicBezTo>
                  <a:pt x="1025884" y="715144"/>
                  <a:pt x="1022240" y="715144"/>
                  <a:pt x="1018596" y="715144"/>
                </a:cubicBezTo>
                <a:close/>
                <a:moveTo>
                  <a:pt x="978508" y="715144"/>
                </a:moveTo>
                <a:cubicBezTo>
                  <a:pt x="974863" y="715144"/>
                  <a:pt x="973041" y="716966"/>
                  <a:pt x="971219" y="716966"/>
                </a:cubicBezTo>
                <a:cubicBezTo>
                  <a:pt x="969397" y="720610"/>
                  <a:pt x="965753" y="722432"/>
                  <a:pt x="960286" y="726077"/>
                </a:cubicBezTo>
                <a:cubicBezTo>
                  <a:pt x="969397" y="726077"/>
                  <a:pt x="976686" y="720610"/>
                  <a:pt x="978508" y="715144"/>
                </a:cubicBezTo>
                <a:close/>
                <a:moveTo>
                  <a:pt x="951175" y="715144"/>
                </a:moveTo>
                <a:cubicBezTo>
                  <a:pt x="942064" y="716966"/>
                  <a:pt x="945709" y="724254"/>
                  <a:pt x="947531" y="727899"/>
                </a:cubicBezTo>
                <a:cubicBezTo>
                  <a:pt x="949353" y="726077"/>
                  <a:pt x="952997" y="726077"/>
                  <a:pt x="954819" y="724254"/>
                </a:cubicBezTo>
                <a:cubicBezTo>
                  <a:pt x="954819" y="720610"/>
                  <a:pt x="952997" y="718788"/>
                  <a:pt x="951175" y="715144"/>
                </a:cubicBezTo>
                <a:close/>
                <a:moveTo>
                  <a:pt x="925666" y="715144"/>
                </a:moveTo>
                <a:cubicBezTo>
                  <a:pt x="923843" y="715144"/>
                  <a:pt x="920198" y="718788"/>
                  <a:pt x="922020" y="720610"/>
                </a:cubicBezTo>
                <a:cubicBezTo>
                  <a:pt x="922020" y="718788"/>
                  <a:pt x="927487" y="720610"/>
                  <a:pt x="925666" y="715144"/>
                </a:cubicBezTo>
                <a:close/>
                <a:moveTo>
                  <a:pt x="654161" y="715144"/>
                </a:moveTo>
                <a:lnTo>
                  <a:pt x="654078" y="716132"/>
                </a:lnTo>
                <a:lnTo>
                  <a:pt x="653718" y="715549"/>
                </a:lnTo>
                <a:close/>
                <a:moveTo>
                  <a:pt x="619539" y="715144"/>
                </a:moveTo>
                <a:lnTo>
                  <a:pt x="621815" y="717420"/>
                </a:lnTo>
                <a:lnTo>
                  <a:pt x="619169" y="715588"/>
                </a:lnTo>
                <a:close/>
                <a:moveTo>
                  <a:pt x="473766" y="715144"/>
                </a:moveTo>
                <a:cubicBezTo>
                  <a:pt x="471943" y="716966"/>
                  <a:pt x="477410" y="720610"/>
                  <a:pt x="479232" y="718788"/>
                </a:cubicBezTo>
                <a:cubicBezTo>
                  <a:pt x="477410" y="716966"/>
                  <a:pt x="475589" y="716966"/>
                  <a:pt x="473766" y="715144"/>
                </a:cubicBezTo>
                <a:close/>
                <a:moveTo>
                  <a:pt x="457367" y="715144"/>
                </a:moveTo>
                <a:cubicBezTo>
                  <a:pt x="461010" y="722432"/>
                  <a:pt x="468299" y="727899"/>
                  <a:pt x="475589" y="733365"/>
                </a:cubicBezTo>
                <a:cubicBezTo>
                  <a:pt x="477410" y="726077"/>
                  <a:pt x="471943" y="724254"/>
                  <a:pt x="466478" y="724254"/>
                </a:cubicBezTo>
                <a:cubicBezTo>
                  <a:pt x="466478" y="720610"/>
                  <a:pt x="459188" y="718788"/>
                  <a:pt x="457367" y="715144"/>
                </a:cubicBezTo>
                <a:close/>
                <a:moveTo>
                  <a:pt x="389946" y="715144"/>
                </a:moveTo>
                <a:cubicBezTo>
                  <a:pt x="389946" y="715144"/>
                  <a:pt x="388123" y="716966"/>
                  <a:pt x="388123" y="716966"/>
                </a:cubicBezTo>
                <a:cubicBezTo>
                  <a:pt x="391768" y="718788"/>
                  <a:pt x="393590" y="720610"/>
                  <a:pt x="397234" y="724254"/>
                </a:cubicBezTo>
                <a:cubicBezTo>
                  <a:pt x="397234" y="722432"/>
                  <a:pt x="393590" y="718788"/>
                  <a:pt x="389946" y="715144"/>
                </a:cubicBezTo>
                <a:close/>
                <a:moveTo>
                  <a:pt x="338926" y="715144"/>
                </a:moveTo>
                <a:cubicBezTo>
                  <a:pt x="335280" y="727899"/>
                  <a:pt x="348037" y="729721"/>
                  <a:pt x="355324" y="737010"/>
                </a:cubicBezTo>
                <a:cubicBezTo>
                  <a:pt x="353502" y="729721"/>
                  <a:pt x="346213" y="720610"/>
                  <a:pt x="338926" y="715144"/>
                </a:cubicBezTo>
                <a:close/>
                <a:moveTo>
                  <a:pt x="1456187" y="713873"/>
                </a:moveTo>
                <a:lnTo>
                  <a:pt x="1452956" y="716739"/>
                </a:lnTo>
                <a:cubicBezTo>
                  <a:pt x="1448173" y="719244"/>
                  <a:pt x="1443162" y="720610"/>
                  <a:pt x="1439518" y="720610"/>
                </a:cubicBezTo>
                <a:lnTo>
                  <a:pt x="1440216" y="719248"/>
                </a:lnTo>
                <a:lnTo>
                  <a:pt x="1447489" y="716966"/>
                </a:lnTo>
                <a:close/>
                <a:moveTo>
                  <a:pt x="2281362" y="713321"/>
                </a:moveTo>
                <a:cubicBezTo>
                  <a:pt x="2274074" y="716966"/>
                  <a:pt x="2263140" y="729721"/>
                  <a:pt x="2268607" y="740654"/>
                </a:cubicBezTo>
                <a:cubicBezTo>
                  <a:pt x="2272251" y="740654"/>
                  <a:pt x="2270429" y="735188"/>
                  <a:pt x="2270429" y="731543"/>
                </a:cubicBezTo>
                <a:cubicBezTo>
                  <a:pt x="2274074" y="737010"/>
                  <a:pt x="2270429" y="747943"/>
                  <a:pt x="2274074" y="749765"/>
                </a:cubicBezTo>
                <a:cubicBezTo>
                  <a:pt x="2277718" y="747943"/>
                  <a:pt x="2275896" y="742476"/>
                  <a:pt x="2275896" y="738832"/>
                </a:cubicBezTo>
                <a:cubicBezTo>
                  <a:pt x="2279540" y="737010"/>
                  <a:pt x="2277718" y="746121"/>
                  <a:pt x="2279540" y="746121"/>
                </a:cubicBezTo>
                <a:cubicBezTo>
                  <a:pt x="2290473" y="738832"/>
                  <a:pt x="2279540" y="726077"/>
                  <a:pt x="2281362" y="713321"/>
                </a:cubicBezTo>
                <a:close/>
                <a:moveTo>
                  <a:pt x="1366632" y="713321"/>
                </a:moveTo>
                <a:lnTo>
                  <a:pt x="1369281" y="714647"/>
                </a:lnTo>
                <a:lnTo>
                  <a:pt x="1368803" y="717040"/>
                </a:lnTo>
                <a:lnTo>
                  <a:pt x="1356928" y="717634"/>
                </a:lnTo>
                <a:close/>
                <a:moveTo>
                  <a:pt x="1188058" y="713321"/>
                </a:moveTo>
                <a:cubicBezTo>
                  <a:pt x="1186236" y="715144"/>
                  <a:pt x="1186236" y="715144"/>
                  <a:pt x="1188058" y="716966"/>
                </a:cubicBezTo>
                <a:cubicBezTo>
                  <a:pt x="1189880" y="715144"/>
                  <a:pt x="1188058" y="715144"/>
                  <a:pt x="1189880" y="713321"/>
                </a:cubicBezTo>
                <a:cubicBezTo>
                  <a:pt x="1188058" y="713321"/>
                  <a:pt x="1186236" y="715144"/>
                  <a:pt x="1188058" y="713321"/>
                </a:cubicBezTo>
                <a:close/>
                <a:moveTo>
                  <a:pt x="1153436" y="713321"/>
                </a:moveTo>
                <a:cubicBezTo>
                  <a:pt x="1149792" y="716966"/>
                  <a:pt x="1144326" y="720610"/>
                  <a:pt x="1146148" y="726077"/>
                </a:cubicBezTo>
                <a:cubicBezTo>
                  <a:pt x="1149792" y="724254"/>
                  <a:pt x="1153436" y="722432"/>
                  <a:pt x="1157081" y="718788"/>
                </a:cubicBezTo>
                <a:cubicBezTo>
                  <a:pt x="1157081" y="716966"/>
                  <a:pt x="1155259" y="715144"/>
                  <a:pt x="1153436" y="713321"/>
                </a:cubicBezTo>
                <a:close/>
                <a:moveTo>
                  <a:pt x="1073262" y="713321"/>
                </a:moveTo>
                <a:cubicBezTo>
                  <a:pt x="1069616" y="716966"/>
                  <a:pt x="1065972" y="718788"/>
                  <a:pt x="1062328" y="724254"/>
                </a:cubicBezTo>
                <a:cubicBezTo>
                  <a:pt x="1065972" y="718788"/>
                  <a:pt x="1075083" y="722432"/>
                  <a:pt x="1073262" y="713321"/>
                </a:cubicBezTo>
                <a:close/>
                <a:moveTo>
                  <a:pt x="679671" y="713321"/>
                </a:moveTo>
                <a:cubicBezTo>
                  <a:pt x="674205" y="713321"/>
                  <a:pt x="670560" y="716966"/>
                  <a:pt x="665094" y="718788"/>
                </a:cubicBezTo>
                <a:cubicBezTo>
                  <a:pt x="667828" y="720610"/>
                  <a:pt x="671927" y="721521"/>
                  <a:pt x="676026" y="722888"/>
                </a:cubicBezTo>
                <a:lnTo>
                  <a:pt x="685465" y="728787"/>
                </a:lnTo>
                <a:lnTo>
                  <a:pt x="686732" y="732227"/>
                </a:lnTo>
                <a:cubicBezTo>
                  <a:pt x="688326" y="733366"/>
                  <a:pt x="690604" y="734277"/>
                  <a:pt x="692426" y="735188"/>
                </a:cubicBezTo>
                <a:cubicBezTo>
                  <a:pt x="692426" y="733365"/>
                  <a:pt x="692426" y="733365"/>
                  <a:pt x="692426" y="731543"/>
                </a:cubicBezTo>
                <a:lnTo>
                  <a:pt x="686439" y="728550"/>
                </a:lnTo>
                <a:lnTo>
                  <a:pt x="683315" y="721521"/>
                </a:lnTo>
                <a:cubicBezTo>
                  <a:pt x="681493" y="718788"/>
                  <a:pt x="679671" y="716055"/>
                  <a:pt x="679671" y="713321"/>
                </a:cubicBezTo>
                <a:close/>
                <a:moveTo>
                  <a:pt x="526609" y="713321"/>
                </a:moveTo>
                <a:cubicBezTo>
                  <a:pt x="522964" y="716966"/>
                  <a:pt x="528431" y="718788"/>
                  <a:pt x="532075" y="720610"/>
                </a:cubicBezTo>
                <a:cubicBezTo>
                  <a:pt x="532075" y="718788"/>
                  <a:pt x="528431" y="715144"/>
                  <a:pt x="526609" y="713321"/>
                </a:cubicBezTo>
                <a:close/>
                <a:moveTo>
                  <a:pt x="211372" y="713321"/>
                </a:moveTo>
                <a:cubicBezTo>
                  <a:pt x="209550" y="716966"/>
                  <a:pt x="213195" y="716966"/>
                  <a:pt x="215017" y="720610"/>
                </a:cubicBezTo>
                <a:cubicBezTo>
                  <a:pt x="215017" y="718788"/>
                  <a:pt x="213195" y="715144"/>
                  <a:pt x="213195" y="713321"/>
                </a:cubicBezTo>
                <a:cubicBezTo>
                  <a:pt x="213195" y="715144"/>
                  <a:pt x="213195" y="715144"/>
                  <a:pt x="211372" y="713321"/>
                </a:cubicBezTo>
                <a:close/>
                <a:moveTo>
                  <a:pt x="2622109" y="711499"/>
                </a:moveTo>
                <a:cubicBezTo>
                  <a:pt x="2618464" y="713321"/>
                  <a:pt x="2622109" y="731543"/>
                  <a:pt x="2627575" y="731543"/>
                </a:cubicBezTo>
                <a:cubicBezTo>
                  <a:pt x="2631219" y="726077"/>
                  <a:pt x="2625753" y="718788"/>
                  <a:pt x="2622109" y="711499"/>
                </a:cubicBezTo>
                <a:close/>
                <a:moveTo>
                  <a:pt x="2268607" y="711499"/>
                </a:moveTo>
                <a:cubicBezTo>
                  <a:pt x="2266785" y="713321"/>
                  <a:pt x="2268607" y="720610"/>
                  <a:pt x="2266785" y="724254"/>
                </a:cubicBezTo>
                <a:cubicBezTo>
                  <a:pt x="2268607" y="720610"/>
                  <a:pt x="2272251" y="713321"/>
                  <a:pt x="2268607" y="711499"/>
                </a:cubicBezTo>
                <a:close/>
                <a:moveTo>
                  <a:pt x="1197169" y="711499"/>
                </a:moveTo>
                <a:cubicBezTo>
                  <a:pt x="1195346" y="713321"/>
                  <a:pt x="1193525" y="713321"/>
                  <a:pt x="1193525" y="715144"/>
                </a:cubicBezTo>
                <a:cubicBezTo>
                  <a:pt x="1195346" y="716966"/>
                  <a:pt x="1198991" y="713321"/>
                  <a:pt x="1197169" y="711499"/>
                </a:cubicBezTo>
                <a:close/>
                <a:moveTo>
                  <a:pt x="1169836" y="711499"/>
                </a:moveTo>
                <a:cubicBezTo>
                  <a:pt x="1168014" y="711499"/>
                  <a:pt x="1168014" y="713321"/>
                  <a:pt x="1166192" y="713321"/>
                </a:cubicBezTo>
                <a:cubicBezTo>
                  <a:pt x="1168014" y="715144"/>
                  <a:pt x="1168014" y="715144"/>
                  <a:pt x="1169836" y="716966"/>
                </a:cubicBezTo>
                <a:cubicBezTo>
                  <a:pt x="1171658" y="715144"/>
                  <a:pt x="1171658" y="713321"/>
                  <a:pt x="1169836" y="711499"/>
                </a:cubicBezTo>
                <a:close/>
                <a:moveTo>
                  <a:pt x="1091484" y="711499"/>
                </a:moveTo>
                <a:cubicBezTo>
                  <a:pt x="1087838" y="713321"/>
                  <a:pt x="1095127" y="711499"/>
                  <a:pt x="1091484" y="713321"/>
                </a:cubicBezTo>
                <a:cubicBezTo>
                  <a:pt x="1089660" y="713321"/>
                  <a:pt x="1089660" y="713321"/>
                  <a:pt x="1091484" y="711499"/>
                </a:cubicBezTo>
                <a:close/>
                <a:moveTo>
                  <a:pt x="1058683" y="711499"/>
                </a:moveTo>
                <a:cubicBezTo>
                  <a:pt x="1055040" y="713321"/>
                  <a:pt x="1053217" y="711499"/>
                  <a:pt x="1051395" y="715144"/>
                </a:cubicBezTo>
                <a:cubicBezTo>
                  <a:pt x="1053217" y="716966"/>
                  <a:pt x="1055040" y="716966"/>
                  <a:pt x="1056861" y="716966"/>
                </a:cubicBezTo>
                <a:cubicBezTo>
                  <a:pt x="1056861" y="716966"/>
                  <a:pt x="1055040" y="716966"/>
                  <a:pt x="1055040" y="716966"/>
                </a:cubicBezTo>
                <a:cubicBezTo>
                  <a:pt x="1055040" y="720610"/>
                  <a:pt x="1058683" y="716966"/>
                  <a:pt x="1058683" y="720610"/>
                </a:cubicBezTo>
                <a:cubicBezTo>
                  <a:pt x="1060506" y="718788"/>
                  <a:pt x="1058683" y="718788"/>
                  <a:pt x="1056861" y="716966"/>
                </a:cubicBezTo>
                <a:cubicBezTo>
                  <a:pt x="1058683" y="716966"/>
                  <a:pt x="1060506" y="716966"/>
                  <a:pt x="1058683" y="711499"/>
                </a:cubicBezTo>
                <a:close/>
                <a:moveTo>
                  <a:pt x="1040462" y="711499"/>
                </a:moveTo>
                <a:cubicBezTo>
                  <a:pt x="1040462" y="711499"/>
                  <a:pt x="1036818" y="715144"/>
                  <a:pt x="1042284" y="715144"/>
                </a:cubicBezTo>
                <a:cubicBezTo>
                  <a:pt x="1044106" y="713321"/>
                  <a:pt x="1044106" y="709677"/>
                  <a:pt x="1040462" y="711499"/>
                </a:cubicBezTo>
                <a:close/>
                <a:moveTo>
                  <a:pt x="985796" y="711499"/>
                </a:moveTo>
                <a:cubicBezTo>
                  <a:pt x="980330" y="715144"/>
                  <a:pt x="980330" y="716966"/>
                  <a:pt x="978508" y="720610"/>
                </a:cubicBezTo>
                <a:cubicBezTo>
                  <a:pt x="982152" y="720610"/>
                  <a:pt x="985796" y="713321"/>
                  <a:pt x="985796" y="711499"/>
                </a:cubicBezTo>
                <a:close/>
                <a:moveTo>
                  <a:pt x="563052" y="711499"/>
                </a:moveTo>
                <a:cubicBezTo>
                  <a:pt x="555763" y="715144"/>
                  <a:pt x="566697" y="716966"/>
                  <a:pt x="563052" y="718788"/>
                </a:cubicBezTo>
                <a:cubicBezTo>
                  <a:pt x="564874" y="718788"/>
                  <a:pt x="566697" y="718788"/>
                  <a:pt x="568519" y="716966"/>
                </a:cubicBezTo>
                <a:cubicBezTo>
                  <a:pt x="568519" y="716966"/>
                  <a:pt x="566697" y="715144"/>
                  <a:pt x="566697" y="715144"/>
                </a:cubicBezTo>
                <a:cubicBezTo>
                  <a:pt x="564874" y="715144"/>
                  <a:pt x="563052" y="715144"/>
                  <a:pt x="563052" y="711499"/>
                </a:cubicBezTo>
                <a:close/>
                <a:moveTo>
                  <a:pt x="457367" y="711499"/>
                </a:moveTo>
                <a:cubicBezTo>
                  <a:pt x="461010" y="716966"/>
                  <a:pt x="464655" y="720610"/>
                  <a:pt x="473766" y="718788"/>
                </a:cubicBezTo>
                <a:cubicBezTo>
                  <a:pt x="470121" y="713321"/>
                  <a:pt x="464655" y="709677"/>
                  <a:pt x="457367" y="711499"/>
                </a:cubicBezTo>
                <a:close/>
                <a:moveTo>
                  <a:pt x="235061" y="711499"/>
                </a:moveTo>
                <a:cubicBezTo>
                  <a:pt x="236883" y="713321"/>
                  <a:pt x="235061" y="718788"/>
                  <a:pt x="240527" y="718788"/>
                </a:cubicBezTo>
                <a:cubicBezTo>
                  <a:pt x="240527" y="713321"/>
                  <a:pt x="235061" y="715144"/>
                  <a:pt x="235061" y="711499"/>
                </a:cubicBezTo>
                <a:close/>
                <a:moveTo>
                  <a:pt x="215017" y="711499"/>
                </a:moveTo>
                <a:cubicBezTo>
                  <a:pt x="216839" y="718788"/>
                  <a:pt x="224128" y="722432"/>
                  <a:pt x="227772" y="729721"/>
                </a:cubicBezTo>
                <a:cubicBezTo>
                  <a:pt x="229594" y="727899"/>
                  <a:pt x="225950" y="726077"/>
                  <a:pt x="225950" y="724254"/>
                </a:cubicBezTo>
                <a:cubicBezTo>
                  <a:pt x="227772" y="724254"/>
                  <a:pt x="227772" y="726077"/>
                  <a:pt x="229594" y="726077"/>
                </a:cubicBezTo>
                <a:cubicBezTo>
                  <a:pt x="227772" y="716966"/>
                  <a:pt x="220483" y="715144"/>
                  <a:pt x="215017" y="711499"/>
                </a:cubicBezTo>
                <a:close/>
                <a:moveTo>
                  <a:pt x="198617" y="711499"/>
                </a:moveTo>
                <a:cubicBezTo>
                  <a:pt x="198617" y="715144"/>
                  <a:pt x="202262" y="720610"/>
                  <a:pt x="205906" y="722432"/>
                </a:cubicBezTo>
                <a:cubicBezTo>
                  <a:pt x="207728" y="720610"/>
                  <a:pt x="202262" y="713321"/>
                  <a:pt x="198617" y="711499"/>
                </a:cubicBezTo>
                <a:close/>
                <a:moveTo>
                  <a:pt x="1206052" y="711044"/>
                </a:moveTo>
                <a:cubicBezTo>
                  <a:pt x="1203091" y="712411"/>
                  <a:pt x="1200814" y="715144"/>
                  <a:pt x="1204457" y="716966"/>
                </a:cubicBezTo>
                <a:cubicBezTo>
                  <a:pt x="1204457" y="713321"/>
                  <a:pt x="1209925" y="716966"/>
                  <a:pt x="1211747" y="713321"/>
                </a:cubicBezTo>
                <a:cubicBezTo>
                  <a:pt x="1212657" y="709677"/>
                  <a:pt x="1209013" y="709677"/>
                  <a:pt x="1206052" y="711044"/>
                </a:cubicBezTo>
                <a:close/>
                <a:moveTo>
                  <a:pt x="960286" y="709677"/>
                </a:moveTo>
                <a:cubicBezTo>
                  <a:pt x="960286" y="713321"/>
                  <a:pt x="956642" y="715144"/>
                  <a:pt x="960286" y="716966"/>
                </a:cubicBezTo>
                <a:cubicBezTo>
                  <a:pt x="960286" y="716966"/>
                  <a:pt x="962108" y="716966"/>
                  <a:pt x="962108" y="716966"/>
                </a:cubicBezTo>
                <a:cubicBezTo>
                  <a:pt x="965753" y="715144"/>
                  <a:pt x="963930" y="711499"/>
                  <a:pt x="960286" y="709677"/>
                </a:cubicBezTo>
                <a:close/>
                <a:moveTo>
                  <a:pt x="911087" y="709677"/>
                </a:moveTo>
                <a:cubicBezTo>
                  <a:pt x="907444" y="711499"/>
                  <a:pt x="909265" y="716966"/>
                  <a:pt x="914732" y="716966"/>
                </a:cubicBezTo>
                <a:cubicBezTo>
                  <a:pt x="916555" y="713321"/>
                  <a:pt x="912909" y="711499"/>
                  <a:pt x="914732" y="711499"/>
                </a:cubicBezTo>
                <a:cubicBezTo>
                  <a:pt x="912909" y="709677"/>
                  <a:pt x="912909" y="711499"/>
                  <a:pt x="911087" y="709677"/>
                </a:cubicBezTo>
                <a:close/>
                <a:moveTo>
                  <a:pt x="770781" y="709677"/>
                </a:moveTo>
                <a:cubicBezTo>
                  <a:pt x="771691" y="710588"/>
                  <a:pt x="771235" y="711955"/>
                  <a:pt x="770325" y="712866"/>
                </a:cubicBezTo>
                <a:lnTo>
                  <a:pt x="769471" y="712988"/>
                </a:lnTo>
                <a:close/>
                <a:moveTo>
                  <a:pt x="770781" y="709677"/>
                </a:moveTo>
                <a:cubicBezTo>
                  <a:pt x="767136" y="709677"/>
                  <a:pt x="767136" y="711499"/>
                  <a:pt x="767136" y="713321"/>
                </a:cubicBezTo>
                <a:lnTo>
                  <a:pt x="769471" y="712988"/>
                </a:lnTo>
                <a:lnTo>
                  <a:pt x="766907" y="719472"/>
                </a:lnTo>
                <a:cubicBezTo>
                  <a:pt x="767135" y="722433"/>
                  <a:pt x="768957" y="725166"/>
                  <a:pt x="772602" y="727899"/>
                </a:cubicBezTo>
                <a:cubicBezTo>
                  <a:pt x="772602" y="724254"/>
                  <a:pt x="770781" y="722432"/>
                  <a:pt x="770781" y="718788"/>
                </a:cubicBezTo>
                <a:cubicBezTo>
                  <a:pt x="774424" y="716966"/>
                  <a:pt x="774424" y="729721"/>
                  <a:pt x="779892" y="724254"/>
                </a:cubicBezTo>
                <a:cubicBezTo>
                  <a:pt x="785357" y="720610"/>
                  <a:pt x="778070" y="711499"/>
                  <a:pt x="770781" y="709677"/>
                </a:cubicBezTo>
                <a:close/>
                <a:moveTo>
                  <a:pt x="437322" y="709677"/>
                </a:moveTo>
                <a:cubicBezTo>
                  <a:pt x="431856" y="713321"/>
                  <a:pt x="440966" y="718788"/>
                  <a:pt x="444611" y="720610"/>
                </a:cubicBezTo>
                <a:cubicBezTo>
                  <a:pt x="442789" y="716966"/>
                  <a:pt x="440966" y="711499"/>
                  <a:pt x="437322" y="709677"/>
                </a:cubicBezTo>
                <a:close/>
                <a:moveTo>
                  <a:pt x="162174" y="709677"/>
                </a:moveTo>
                <a:cubicBezTo>
                  <a:pt x="160352" y="713321"/>
                  <a:pt x="174929" y="727899"/>
                  <a:pt x="165818" y="715144"/>
                </a:cubicBezTo>
                <a:cubicBezTo>
                  <a:pt x="163996" y="713321"/>
                  <a:pt x="163996" y="711499"/>
                  <a:pt x="162174" y="709677"/>
                </a:cubicBezTo>
                <a:close/>
                <a:moveTo>
                  <a:pt x="3432976" y="707855"/>
                </a:moveTo>
                <a:cubicBezTo>
                  <a:pt x="3436621" y="709677"/>
                  <a:pt x="3429332" y="713321"/>
                  <a:pt x="3434798" y="713321"/>
                </a:cubicBezTo>
                <a:cubicBezTo>
                  <a:pt x="3434798" y="713321"/>
                  <a:pt x="3436621" y="713321"/>
                  <a:pt x="3436621" y="713321"/>
                </a:cubicBezTo>
                <a:cubicBezTo>
                  <a:pt x="3436621" y="711499"/>
                  <a:pt x="3436621" y="709677"/>
                  <a:pt x="3436621" y="707855"/>
                </a:cubicBezTo>
                <a:cubicBezTo>
                  <a:pt x="3434798" y="707855"/>
                  <a:pt x="3434798" y="707855"/>
                  <a:pt x="3432976" y="707855"/>
                </a:cubicBezTo>
                <a:close/>
                <a:moveTo>
                  <a:pt x="3431154" y="707855"/>
                </a:moveTo>
                <a:cubicBezTo>
                  <a:pt x="3418399" y="706033"/>
                  <a:pt x="3412932" y="718788"/>
                  <a:pt x="3407466" y="727899"/>
                </a:cubicBezTo>
                <a:cubicBezTo>
                  <a:pt x="3418399" y="727899"/>
                  <a:pt x="3414754" y="720610"/>
                  <a:pt x="3420221" y="713321"/>
                </a:cubicBezTo>
                <a:cubicBezTo>
                  <a:pt x="3423865" y="707855"/>
                  <a:pt x="3422043" y="720610"/>
                  <a:pt x="3425687" y="716966"/>
                </a:cubicBezTo>
                <a:cubicBezTo>
                  <a:pt x="3429332" y="716966"/>
                  <a:pt x="3429332" y="711499"/>
                  <a:pt x="3431154" y="707855"/>
                </a:cubicBezTo>
                <a:close/>
                <a:moveTo>
                  <a:pt x="1302855" y="707855"/>
                </a:moveTo>
                <a:cubicBezTo>
                  <a:pt x="1299210" y="709677"/>
                  <a:pt x="1291922" y="709677"/>
                  <a:pt x="1291922" y="715144"/>
                </a:cubicBezTo>
                <a:cubicBezTo>
                  <a:pt x="1295566" y="715144"/>
                  <a:pt x="1301033" y="713321"/>
                  <a:pt x="1302855" y="707855"/>
                </a:cubicBezTo>
                <a:close/>
                <a:moveTo>
                  <a:pt x="1264589" y="707855"/>
                </a:moveTo>
                <a:cubicBezTo>
                  <a:pt x="1260945" y="706033"/>
                  <a:pt x="1257300" y="713321"/>
                  <a:pt x="1255478" y="715144"/>
                </a:cubicBezTo>
                <a:cubicBezTo>
                  <a:pt x="1259123" y="715144"/>
                  <a:pt x="1260945" y="709677"/>
                  <a:pt x="1264589" y="707855"/>
                </a:cubicBezTo>
                <a:close/>
                <a:moveTo>
                  <a:pt x="1231790" y="707855"/>
                </a:moveTo>
                <a:cubicBezTo>
                  <a:pt x="1229969" y="709677"/>
                  <a:pt x="1228146" y="711499"/>
                  <a:pt x="1224501" y="713321"/>
                </a:cubicBezTo>
                <a:cubicBezTo>
                  <a:pt x="1226323" y="713321"/>
                  <a:pt x="1226323" y="715144"/>
                  <a:pt x="1228146" y="715144"/>
                </a:cubicBezTo>
                <a:cubicBezTo>
                  <a:pt x="1231790" y="711499"/>
                  <a:pt x="1233612" y="709677"/>
                  <a:pt x="1231790" y="707855"/>
                </a:cubicBezTo>
                <a:close/>
                <a:moveTo>
                  <a:pt x="1147970" y="707855"/>
                </a:moveTo>
                <a:cubicBezTo>
                  <a:pt x="1146148" y="709677"/>
                  <a:pt x="1146148" y="711499"/>
                  <a:pt x="1146148" y="713321"/>
                </a:cubicBezTo>
                <a:cubicBezTo>
                  <a:pt x="1147970" y="711499"/>
                  <a:pt x="1149792" y="711499"/>
                  <a:pt x="1151614" y="709677"/>
                </a:cubicBezTo>
                <a:cubicBezTo>
                  <a:pt x="1149792" y="707855"/>
                  <a:pt x="1149792" y="709677"/>
                  <a:pt x="1147970" y="707855"/>
                </a:cubicBezTo>
                <a:close/>
                <a:moveTo>
                  <a:pt x="1146148" y="707855"/>
                </a:moveTo>
                <a:lnTo>
                  <a:pt x="1133392" y="712411"/>
                </a:lnTo>
                <a:lnTo>
                  <a:pt x="1131570" y="711499"/>
                </a:lnTo>
                <a:lnTo>
                  <a:pt x="1128446" y="714178"/>
                </a:lnTo>
                <a:lnTo>
                  <a:pt x="1120637" y="716966"/>
                </a:lnTo>
                <a:cubicBezTo>
                  <a:pt x="1121548" y="716055"/>
                  <a:pt x="1124281" y="716055"/>
                  <a:pt x="1126787" y="715600"/>
                </a:cubicBezTo>
                <a:lnTo>
                  <a:pt x="1128446" y="714178"/>
                </a:lnTo>
                <a:lnTo>
                  <a:pt x="1133392" y="712411"/>
                </a:lnTo>
                <a:lnTo>
                  <a:pt x="1138859" y="715144"/>
                </a:lnTo>
                <a:cubicBezTo>
                  <a:pt x="1142503" y="713321"/>
                  <a:pt x="1144326" y="709677"/>
                  <a:pt x="1146148" y="707855"/>
                </a:cubicBezTo>
                <a:close/>
                <a:moveTo>
                  <a:pt x="1064151" y="707855"/>
                </a:moveTo>
                <a:cubicBezTo>
                  <a:pt x="1064151" y="709677"/>
                  <a:pt x="1062328" y="709677"/>
                  <a:pt x="1062328" y="709677"/>
                </a:cubicBezTo>
                <a:cubicBezTo>
                  <a:pt x="1060506" y="715144"/>
                  <a:pt x="1064151" y="709677"/>
                  <a:pt x="1064151" y="715144"/>
                </a:cubicBezTo>
                <a:cubicBezTo>
                  <a:pt x="1065972" y="711499"/>
                  <a:pt x="1065972" y="709677"/>
                  <a:pt x="1064151" y="707855"/>
                </a:cubicBezTo>
                <a:close/>
                <a:moveTo>
                  <a:pt x="947531" y="707855"/>
                </a:moveTo>
                <a:cubicBezTo>
                  <a:pt x="947531" y="711499"/>
                  <a:pt x="943886" y="713321"/>
                  <a:pt x="945709" y="715144"/>
                </a:cubicBezTo>
                <a:cubicBezTo>
                  <a:pt x="945709" y="711499"/>
                  <a:pt x="951175" y="709677"/>
                  <a:pt x="947531" y="707855"/>
                </a:cubicBezTo>
                <a:close/>
                <a:moveTo>
                  <a:pt x="313414" y="707855"/>
                </a:moveTo>
                <a:cubicBezTo>
                  <a:pt x="311592" y="715144"/>
                  <a:pt x="320703" y="726077"/>
                  <a:pt x="329814" y="726077"/>
                </a:cubicBezTo>
                <a:cubicBezTo>
                  <a:pt x="327993" y="716966"/>
                  <a:pt x="318882" y="715144"/>
                  <a:pt x="313414" y="707855"/>
                </a:cubicBezTo>
                <a:close/>
                <a:moveTo>
                  <a:pt x="271504" y="707855"/>
                </a:moveTo>
                <a:cubicBezTo>
                  <a:pt x="269682" y="711499"/>
                  <a:pt x="271504" y="713321"/>
                  <a:pt x="273327" y="713321"/>
                </a:cubicBezTo>
                <a:cubicBezTo>
                  <a:pt x="266038" y="709677"/>
                  <a:pt x="269682" y="720610"/>
                  <a:pt x="266038" y="720610"/>
                </a:cubicBezTo>
                <a:cubicBezTo>
                  <a:pt x="273327" y="726077"/>
                  <a:pt x="278793" y="724254"/>
                  <a:pt x="284259" y="724254"/>
                </a:cubicBezTo>
                <a:cubicBezTo>
                  <a:pt x="282438" y="718788"/>
                  <a:pt x="271504" y="727899"/>
                  <a:pt x="271504" y="716966"/>
                </a:cubicBezTo>
                <a:cubicBezTo>
                  <a:pt x="275149" y="718788"/>
                  <a:pt x="278793" y="720610"/>
                  <a:pt x="282438" y="720610"/>
                </a:cubicBezTo>
                <a:cubicBezTo>
                  <a:pt x="282438" y="718788"/>
                  <a:pt x="280615" y="718788"/>
                  <a:pt x="276971" y="716966"/>
                </a:cubicBezTo>
                <a:cubicBezTo>
                  <a:pt x="278793" y="713321"/>
                  <a:pt x="275149" y="711499"/>
                  <a:pt x="271504" y="707855"/>
                </a:cubicBezTo>
                <a:close/>
                <a:moveTo>
                  <a:pt x="227772" y="707855"/>
                </a:moveTo>
                <a:cubicBezTo>
                  <a:pt x="225950" y="709677"/>
                  <a:pt x="231416" y="716966"/>
                  <a:pt x="233239" y="716966"/>
                </a:cubicBezTo>
                <a:cubicBezTo>
                  <a:pt x="231416" y="715144"/>
                  <a:pt x="231416" y="709677"/>
                  <a:pt x="227772" y="707855"/>
                </a:cubicBezTo>
                <a:close/>
                <a:moveTo>
                  <a:pt x="3449376" y="706033"/>
                </a:moveTo>
                <a:cubicBezTo>
                  <a:pt x="3445731" y="713321"/>
                  <a:pt x="3451198" y="716966"/>
                  <a:pt x="3456664" y="724254"/>
                </a:cubicBezTo>
                <a:cubicBezTo>
                  <a:pt x="3463953" y="731543"/>
                  <a:pt x="3456664" y="742476"/>
                  <a:pt x="3458487" y="751587"/>
                </a:cubicBezTo>
                <a:cubicBezTo>
                  <a:pt x="3443909" y="753409"/>
                  <a:pt x="3436621" y="737010"/>
                  <a:pt x="3422043" y="737010"/>
                </a:cubicBezTo>
                <a:cubicBezTo>
                  <a:pt x="3423865" y="738832"/>
                  <a:pt x="3420221" y="744298"/>
                  <a:pt x="3422043" y="746121"/>
                </a:cubicBezTo>
                <a:cubicBezTo>
                  <a:pt x="3418399" y="740654"/>
                  <a:pt x="3412932" y="733365"/>
                  <a:pt x="3409288" y="735188"/>
                </a:cubicBezTo>
                <a:cubicBezTo>
                  <a:pt x="3380133" y="746121"/>
                  <a:pt x="3350978" y="757054"/>
                  <a:pt x="3330934" y="780742"/>
                </a:cubicBezTo>
                <a:cubicBezTo>
                  <a:pt x="3330934" y="780742"/>
                  <a:pt x="3327290" y="780742"/>
                  <a:pt x="3325468" y="780742"/>
                </a:cubicBezTo>
                <a:cubicBezTo>
                  <a:pt x="3327290" y="784386"/>
                  <a:pt x="3330934" y="784386"/>
                  <a:pt x="3329112" y="791675"/>
                </a:cubicBezTo>
                <a:cubicBezTo>
                  <a:pt x="3332756" y="793497"/>
                  <a:pt x="3336401" y="791675"/>
                  <a:pt x="3338223" y="789853"/>
                </a:cubicBezTo>
                <a:cubicBezTo>
                  <a:pt x="3338223" y="789853"/>
                  <a:pt x="3338223" y="788031"/>
                  <a:pt x="3336401" y="788031"/>
                </a:cubicBezTo>
                <a:cubicBezTo>
                  <a:pt x="3349156" y="793497"/>
                  <a:pt x="3361911" y="788031"/>
                  <a:pt x="3372844" y="786208"/>
                </a:cubicBezTo>
                <a:cubicBezTo>
                  <a:pt x="3376489" y="784386"/>
                  <a:pt x="3369200" y="782564"/>
                  <a:pt x="3369200" y="778920"/>
                </a:cubicBezTo>
                <a:cubicBezTo>
                  <a:pt x="3372844" y="778920"/>
                  <a:pt x="3374666" y="775275"/>
                  <a:pt x="3378311" y="775275"/>
                </a:cubicBezTo>
                <a:cubicBezTo>
                  <a:pt x="3380133" y="777098"/>
                  <a:pt x="3380133" y="778920"/>
                  <a:pt x="3380133" y="780742"/>
                </a:cubicBezTo>
                <a:cubicBezTo>
                  <a:pt x="3383777" y="778920"/>
                  <a:pt x="3385600" y="771631"/>
                  <a:pt x="3389244" y="775275"/>
                </a:cubicBezTo>
                <a:cubicBezTo>
                  <a:pt x="3392888" y="777098"/>
                  <a:pt x="3383777" y="786208"/>
                  <a:pt x="3389244" y="786208"/>
                </a:cubicBezTo>
                <a:cubicBezTo>
                  <a:pt x="3403821" y="786208"/>
                  <a:pt x="3425687" y="800786"/>
                  <a:pt x="3431154" y="782564"/>
                </a:cubicBezTo>
                <a:cubicBezTo>
                  <a:pt x="3423865" y="782564"/>
                  <a:pt x="3427510" y="777098"/>
                  <a:pt x="3427510" y="771631"/>
                </a:cubicBezTo>
                <a:cubicBezTo>
                  <a:pt x="3432976" y="773453"/>
                  <a:pt x="3427510" y="778920"/>
                  <a:pt x="3429332" y="780742"/>
                </a:cubicBezTo>
                <a:cubicBezTo>
                  <a:pt x="3431154" y="782564"/>
                  <a:pt x="3432976" y="778920"/>
                  <a:pt x="3432976" y="777098"/>
                </a:cubicBezTo>
                <a:cubicBezTo>
                  <a:pt x="3434798" y="777098"/>
                  <a:pt x="3434798" y="778920"/>
                  <a:pt x="3434798" y="782564"/>
                </a:cubicBezTo>
                <a:cubicBezTo>
                  <a:pt x="3445731" y="775275"/>
                  <a:pt x="3458487" y="764342"/>
                  <a:pt x="3462131" y="755231"/>
                </a:cubicBezTo>
                <a:cubicBezTo>
                  <a:pt x="3473064" y="747943"/>
                  <a:pt x="3489463" y="747943"/>
                  <a:pt x="3487641" y="727899"/>
                </a:cubicBezTo>
                <a:cubicBezTo>
                  <a:pt x="3482175" y="726077"/>
                  <a:pt x="3482175" y="720610"/>
                  <a:pt x="3482175" y="715144"/>
                </a:cubicBezTo>
                <a:cubicBezTo>
                  <a:pt x="3474886" y="718788"/>
                  <a:pt x="3480353" y="733365"/>
                  <a:pt x="3474886" y="738832"/>
                </a:cubicBezTo>
                <a:cubicBezTo>
                  <a:pt x="3473064" y="735188"/>
                  <a:pt x="3473064" y="729721"/>
                  <a:pt x="3471242" y="727899"/>
                </a:cubicBezTo>
                <a:cubicBezTo>
                  <a:pt x="3465775" y="726077"/>
                  <a:pt x="3463953" y="729721"/>
                  <a:pt x="3462131" y="724254"/>
                </a:cubicBezTo>
                <a:cubicBezTo>
                  <a:pt x="3463953" y="716966"/>
                  <a:pt x="3462131" y="713321"/>
                  <a:pt x="3465775" y="707855"/>
                </a:cubicBezTo>
                <a:cubicBezTo>
                  <a:pt x="3463953" y="707855"/>
                  <a:pt x="3462131" y="707855"/>
                  <a:pt x="3462131" y="706033"/>
                </a:cubicBezTo>
                <a:cubicBezTo>
                  <a:pt x="3460309" y="707855"/>
                  <a:pt x="3460309" y="709677"/>
                  <a:pt x="3458487" y="711499"/>
                </a:cubicBezTo>
                <a:cubicBezTo>
                  <a:pt x="3456664" y="715144"/>
                  <a:pt x="3460309" y="713321"/>
                  <a:pt x="3460309" y="715144"/>
                </a:cubicBezTo>
                <a:cubicBezTo>
                  <a:pt x="3460309" y="716966"/>
                  <a:pt x="3458487" y="716966"/>
                  <a:pt x="3458487" y="718788"/>
                </a:cubicBezTo>
                <a:cubicBezTo>
                  <a:pt x="3453020" y="716966"/>
                  <a:pt x="3453020" y="706033"/>
                  <a:pt x="3458487" y="707855"/>
                </a:cubicBezTo>
                <a:cubicBezTo>
                  <a:pt x="3454842" y="706033"/>
                  <a:pt x="3451198" y="704211"/>
                  <a:pt x="3449376" y="706033"/>
                </a:cubicBezTo>
                <a:close/>
                <a:moveTo>
                  <a:pt x="2587487" y="706033"/>
                </a:moveTo>
                <a:cubicBezTo>
                  <a:pt x="2591132" y="711499"/>
                  <a:pt x="2587487" y="716966"/>
                  <a:pt x="2592954" y="716966"/>
                </a:cubicBezTo>
                <a:cubicBezTo>
                  <a:pt x="2592954" y="709677"/>
                  <a:pt x="2594776" y="709677"/>
                  <a:pt x="2591132" y="706033"/>
                </a:cubicBezTo>
                <a:cubicBezTo>
                  <a:pt x="2589310" y="706033"/>
                  <a:pt x="2589310" y="706033"/>
                  <a:pt x="2587487" y="706033"/>
                </a:cubicBezTo>
                <a:close/>
                <a:moveTo>
                  <a:pt x="2015325" y="706033"/>
                </a:moveTo>
                <a:lnTo>
                  <a:pt x="2015528" y="706198"/>
                </a:lnTo>
                <a:lnTo>
                  <a:pt x="2015325" y="713321"/>
                </a:lnTo>
                <a:cubicBezTo>
                  <a:pt x="2015325" y="711499"/>
                  <a:pt x="2015325" y="709677"/>
                  <a:pt x="2015325" y="706033"/>
                </a:cubicBezTo>
                <a:close/>
                <a:moveTo>
                  <a:pt x="1372097" y="706033"/>
                </a:moveTo>
                <a:cubicBezTo>
                  <a:pt x="1370275" y="707855"/>
                  <a:pt x="1373920" y="711499"/>
                  <a:pt x="1370275" y="715144"/>
                </a:cubicBezTo>
                <a:lnTo>
                  <a:pt x="1369281" y="714647"/>
                </a:lnTo>
                <a:lnTo>
                  <a:pt x="1370908" y="706509"/>
                </a:lnTo>
                <a:close/>
                <a:moveTo>
                  <a:pt x="1242723" y="706033"/>
                </a:moveTo>
                <a:cubicBezTo>
                  <a:pt x="1244545" y="707855"/>
                  <a:pt x="1244545" y="707855"/>
                  <a:pt x="1246367" y="709677"/>
                </a:cubicBezTo>
                <a:cubicBezTo>
                  <a:pt x="1248189" y="709677"/>
                  <a:pt x="1246367" y="707855"/>
                  <a:pt x="1248189" y="706033"/>
                </a:cubicBezTo>
                <a:cubicBezTo>
                  <a:pt x="1244545" y="706033"/>
                  <a:pt x="1244545" y="706033"/>
                  <a:pt x="1242723" y="706033"/>
                </a:cubicBezTo>
                <a:close/>
                <a:moveTo>
                  <a:pt x="1239080" y="706033"/>
                </a:moveTo>
                <a:cubicBezTo>
                  <a:pt x="1235434" y="709677"/>
                  <a:pt x="1231790" y="711499"/>
                  <a:pt x="1233612" y="715144"/>
                </a:cubicBezTo>
                <a:cubicBezTo>
                  <a:pt x="1237256" y="713321"/>
                  <a:pt x="1239080" y="711499"/>
                  <a:pt x="1242723" y="709677"/>
                </a:cubicBezTo>
                <a:cubicBezTo>
                  <a:pt x="1239080" y="707855"/>
                  <a:pt x="1240901" y="706033"/>
                  <a:pt x="1239080" y="706033"/>
                </a:cubicBezTo>
                <a:close/>
                <a:moveTo>
                  <a:pt x="1166192" y="706033"/>
                </a:moveTo>
                <a:cubicBezTo>
                  <a:pt x="1164370" y="707855"/>
                  <a:pt x="1162547" y="707855"/>
                  <a:pt x="1160725" y="709677"/>
                </a:cubicBezTo>
                <a:cubicBezTo>
                  <a:pt x="1162547" y="711499"/>
                  <a:pt x="1160725" y="711499"/>
                  <a:pt x="1160725" y="713321"/>
                </a:cubicBezTo>
                <a:cubicBezTo>
                  <a:pt x="1158903" y="713321"/>
                  <a:pt x="1160725" y="709677"/>
                  <a:pt x="1158903" y="707855"/>
                </a:cubicBezTo>
                <a:cubicBezTo>
                  <a:pt x="1157081" y="709677"/>
                  <a:pt x="1155259" y="709677"/>
                  <a:pt x="1155259" y="711499"/>
                </a:cubicBezTo>
                <a:cubicBezTo>
                  <a:pt x="1157081" y="711499"/>
                  <a:pt x="1157081" y="713321"/>
                  <a:pt x="1158903" y="715144"/>
                </a:cubicBezTo>
                <a:cubicBezTo>
                  <a:pt x="1158903" y="716966"/>
                  <a:pt x="1160725" y="713321"/>
                  <a:pt x="1160725" y="713321"/>
                </a:cubicBezTo>
                <a:cubicBezTo>
                  <a:pt x="1162547" y="713321"/>
                  <a:pt x="1162547" y="713321"/>
                  <a:pt x="1164370" y="709677"/>
                </a:cubicBezTo>
                <a:cubicBezTo>
                  <a:pt x="1168014" y="707855"/>
                  <a:pt x="1168014" y="711499"/>
                  <a:pt x="1171658" y="707855"/>
                </a:cubicBezTo>
                <a:cubicBezTo>
                  <a:pt x="1169836" y="706033"/>
                  <a:pt x="1168014" y="707855"/>
                  <a:pt x="1166192" y="706033"/>
                </a:cubicBezTo>
                <a:close/>
                <a:moveTo>
                  <a:pt x="1122459" y="706033"/>
                </a:moveTo>
                <a:cubicBezTo>
                  <a:pt x="1120637" y="704211"/>
                  <a:pt x="1113349" y="707855"/>
                  <a:pt x="1115171" y="711499"/>
                </a:cubicBezTo>
                <a:cubicBezTo>
                  <a:pt x="1116993" y="707855"/>
                  <a:pt x="1118815" y="709677"/>
                  <a:pt x="1122459" y="706033"/>
                </a:cubicBezTo>
                <a:close/>
                <a:moveTo>
                  <a:pt x="1056861" y="706033"/>
                </a:moveTo>
                <a:cubicBezTo>
                  <a:pt x="1055040" y="709677"/>
                  <a:pt x="1044106" y="707855"/>
                  <a:pt x="1045929" y="713321"/>
                </a:cubicBezTo>
                <a:cubicBezTo>
                  <a:pt x="1051395" y="713321"/>
                  <a:pt x="1055040" y="711499"/>
                  <a:pt x="1056861" y="706033"/>
                </a:cubicBezTo>
                <a:close/>
                <a:moveTo>
                  <a:pt x="1002196" y="706033"/>
                </a:moveTo>
                <a:cubicBezTo>
                  <a:pt x="998552" y="709677"/>
                  <a:pt x="996729" y="713321"/>
                  <a:pt x="994907" y="715144"/>
                </a:cubicBezTo>
                <a:cubicBezTo>
                  <a:pt x="1000374" y="716966"/>
                  <a:pt x="1005840" y="709677"/>
                  <a:pt x="1002196" y="706033"/>
                </a:cubicBezTo>
                <a:close/>
                <a:moveTo>
                  <a:pt x="861889" y="706033"/>
                </a:moveTo>
                <a:cubicBezTo>
                  <a:pt x="856422" y="706033"/>
                  <a:pt x="856422" y="713321"/>
                  <a:pt x="856422" y="716966"/>
                </a:cubicBezTo>
                <a:cubicBezTo>
                  <a:pt x="858244" y="713321"/>
                  <a:pt x="860066" y="709677"/>
                  <a:pt x="861889" y="706033"/>
                </a:cubicBezTo>
                <a:close/>
                <a:moveTo>
                  <a:pt x="539364" y="706033"/>
                </a:moveTo>
                <a:cubicBezTo>
                  <a:pt x="535719" y="707855"/>
                  <a:pt x="533897" y="711499"/>
                  <a:pt x="535719" y="713321"/>
                </a:cubicBezTo>
                <a:cubicBezTo>
                  <a:pt x="539364" y="716966"/>
                  <a:pt x="543008" y="716966"/>
                  <a:pt x="546653" y="718788"/>
                </a:cubicBezTo>
                <a:cubicBezTo>
                  <a:pt x="550297" y="715144"/>
                  <a:pt x="541186" y="711499"/>
                  <a:pt x="544830" y="709677"/>
                </a:cubicBezTo>
                <a:cubicBezTo>
                  <a:pt x="543008" y="707855"/>
                  <a:pt x="541186" y="707855"/>
                  <a:pt x="539364" y="706033"/>
                </a:cubicBezTo>
                <a:close/>
                <a:moveTo>
                  <a:pt x="442789" y="706033"/>
                </a:moveTo>
                <a:cubicBezTo>
                  <a:pt x="444611" y="707855"/>
                  <a:pt x="444611" y="709677"/>
                  <a:pt x="448256" y="709677"/>
                </a:cubicBezTo>
                <a:cubicBezTo>
                  <a:pt x="448256" y="707855"/>
                  <a:pt x="450077" y="706033"/>
                  <a:pt x="448256" y="706033"/>
                </a:cubicBezTo>
                <a:cubicBezTo>
                  <a:pt x="446433" y="707855"/>
                  <a:pt x="444611" y="704211"/>
                  <a:pt x="442789" y="706033"/>
                </a:cubicBezTo>
                <a:close/>
                <a:moveTo>
                  <a:pt x="399056" y="706033"/>
                </a:moveTo>
                <a:cubicBezTo>
                  <a:pt x="391768" y="713321"/>
                  <a:pt x="397234" y="713321"/>
                  <a:pt x="400879" y="715144"/>
                </a:cubicBezTo>
                <a:cubicBezTo>
                  <a:pt x="400879" y="711499"/>
                  <a:pt x="400879" y="709677"/>
                  <a:pt x="399056" y="706033"/>
                </a:cubicBezTo>
                <a:close/>
                <a:moveTo>
                  <a:pt x="1482662" y="704799"/>
                </a:moveTo>
                <a:lnTo>
                  <a:pt x="1481401" y="707146"/>
                </a:lnTo>
                <a:lnTo>
                  <a:pt x="1481428" y="706033"/>
                </a:lnTo>
                <a:close/>
                <a:moveTo>
                  <a:pt x="3588813" y="704455"/>
                </a:moveTo>
                <a:lnTo>
                  <a:pt x="3591505" y="720610"/>
                </a:lnTo>
                <a:lnTo>
                  <a:pt x="3587646" y="721085"/>
                </a:lnTo>
                <a:lnTo>
                  <a:pt x="3586039" y="711044"/>
                </a:lnTo>
                <a:close/>
                <a:moveTo>
                  <a:pt x="2275896" y="704211"/>
                </a:moveTo>
                <a:cubicBezTo>
                  <a:pt x="2270429" y="706033"/>
                  <a:pt x="2279540" y="707855"/>
                  <a:pt x="2274074" y="713321"/>
                </a:cubicBezTo>
                <a:cubicBezTo>
                  <a:pt x="2275896" y="709677"/>
                  <a:pt x="2277718" y="707855"/>
                  <a:pt x="2275896" y="704211"/>
                </a:cubicBezTo>
                <a:close/>
                <a:moveTo>
                  <a:pt x="1313788" y="704211"/>
                </a:moveTo>
                <a:cubicBezTo>
                  <a:pt x="1308321" y="700566"/>
                  <a:pt x="1302855" y="707855"/>
                  <a:pt x="1302855" y="713321"/>
                </a:cubicBezTo>
                <a:cubicBezTo>
                  <a:pt x="1306499" y="711499"/>
                  <a:pt x="1311966" y="709677"/>
                  <a:pt x="1313788" y="704211"/>
                </a:cubicBezTo>
                <a:close/>
                <a:moveTo>
                  <a:pt x="1051395" y="704211"/>
                </a:moveTo>
                <a:cubicBezTo>
                  <a:pt x="1053217" y="702388"/>
                  <a:pt x="1047750" y="706033"/>
                  <a:pt x="1047750" y="707855"/>
                </a:cubicBezTo>
                <a:cubicBezTo>
                  <a:pt x="1044106" y="706033"/>
                  <a:pt x="1047750" y="704211"/>
                  <a:pt x="1051395" y="704211"/>
                </a:cubicBezTo>
                <a:close/>
                <a:moveTo>
                  <a:pt x="1036818" y="704211"/>
                </a:moveTo>
                <a:cubicBezTo>
                  <a:pt x="1029529" y="707855"/>
                  <a:pt x="1022240" y="709677"/>
                  <a:pt x="1013129" y="713321"/>
                </a:cubicBezTo>
                <a:cubicBezTo>
                  <a:pt x="1018596" y="711499"/>
                  <a:pt x="1036818" y="718788"/>
                  <a:pt x="1036818" y="704211"/>
                </a:cubicBezTo>
                <a:close/>
                <a:moveTo>
                  <a:pt x="991263" y="704211"/>
                </a:moveTo>
                <a:cubicBezTo>
                  <a:pt x="989441" y="704211"/>
                  <a:pt x="983974" y="709677"/>
                  <a:pt x="983974" y="709677"/>
                </a:cubicBezTo>
                <a:cubicBezTo>
                  <a:pt x="985796" y="709677"/>
                  <a:pt x="987619" y="707855"/>
                  <a:pt x="991263" y="704211"/>
                </a:cubicBezTo>
                <a:close/>
                <a:moveTo>
                  <a:pt x="801757" y="704211"/>
                </a:moveTo>
                <a:cubicBezTo>
                  <a:pt x="805401" y="707855"/>
                  <a:pt x="796290" y="713321"/>
                  <a:pt x="803579" y="713321"/>
                </a:cubicBezTo>
                <a:cubicBezTo>
                  <a:pt x="807223" y="715144"/>
                  <a:pt x="803579" y="709677"/>
                  <a:pt x="807223" y="706033"/>
                </a:cubicBezTo>
                <a:cubicBezTo>
                  <a:pt x="803579" y="706033"/>
                  <a:pt x="803579" y="704211"/>
                  <a:pt x="801757" y="704211"/>
                </a:cubicBezTo>
                <a:close/>
                <a:moveTo>
                  <a:pt x="692426" y="704211"/>
                </a:moveTo>
                <a:cubicBezTo>
                  <a:pt x="688782" y="704211"/>
                  <a:pt x="681493" y="707855"/>
                  <a:pt x="681493" y="707855"/>
                </a:cubicBezTo>
                <a:cubicBezTo>
                  <a:pt x="685138" y="724254"/>
                  <a:pt x="699715" y="742476"/>
                  <a:pt x="708826" y="737010"/>
                </a:cubicBezTo>
                <a:cubicBezTo>
                  <a:pt x="721581" y="731543"/>
                  <a:pt x="696071" y="726077"/>
                  <a:pt x="692426" y="715144"/>
                </a:cubicBezTo>
                <a:cubicBezTo>
                  <a:pt x="696071" y="716966"/>
                  <a:pt x="699715" y="722432"/>
                  <a:pt x="705182" y="718788"/>
                </a:cubicBezTo>
                <a:cubicBezTo>
                  <a:pt x="701537" y="716966"/>
                  <a:pt x="697893" y="707855"/>
                  <a:pt x="692426" y="704211"/>
                </a:cubicBezTo>
                <a:close/>
                <a:moveTo>
                  <a:pt x="497454" y="704211"/>
                </a:moveTo>
                <a:cubicBezTo>
                  <a:pt x="499276" y="706033"/>
                  <a:pt x="495632" y="706033"/>
                  <a:pt x="495632" y="709677"/>
                </a:cubicBezTo>
                <a:cubicBezTo>
                  <a:pt x="497454" y="711499"/>
                  <a:pt x="499276" y="706033"/>
                  <a:pt x="497454" y="704211"/>
                </a:cubicBezTo>
                <a:close/>
                <a:moveTo>
                  <a:pt x="415456" y="704211"/>
                </a:moveTo>
                <a:cubicBezTo>
                  <a:pt x="408167" y="722432"/>
                  <a:pt x="420923" y="742476"/>
                  <a:pt x="439145" y="742476"/>
                </a:cubicBezTo>
                <a:cubicBezTo>
                  <a:pt x="439145" y="740654"/>
                  <a:pt x="439145" y="740654"/>
                  <a:pt x="437322" y="738832"/>
                </a:cubicBezTo>
                <a:cubicBezTo>
                  <a:pt x="439145" y="738832"/>
                  <a:pt x="440966" y="742476"/>
                  <a:pt x="444611" y="742476"/>
                </a:cubicBezTo>
                <a:cubicBezTo>
                  <a:pt x="442789" y="742476"/>
                  <a:pt x="440966" y="738832"/>
                  <a:pt x="439145" y="737010"/>
                </a:cubicBezTo>
                <a:cubicBezTo>
                  <a:pt x="440966" y="724254"/>
                  <a:pt x="426389" y="715144"/>
                  <a:pt x="415456" y="704211"/>
                </a:cubicBezTo>
                <a:close/>
                <a:moveTo>
                  <a:pt x="344391" y="704211"/>
                </a:moveTo>
                <a:cubicBezTo>
                  <a:pt x="338926" y="711499"/>
                  <a:pt x="353502" y="729721"/>
                  <a:pt x="362613" y="731543"/>
                </a:cubicBezTo>
                <a:cubicBezTo>
                  <a:pt x="360791" y="722432"/>
                  <a:pt x="357146" y="704211"/>
                  <a:pt x="344391" y="704211"/>
                </a:cubicBezTo>
                <a:close/>
                <a:moveTo>
                  <a:pt x="291549" y="704211"/>
                </a:moveTo>
                <a:cubicBezTo>
                  <a:pt x="289726" y="706033"/>
                  <a:pt x="297015" y="709677"/>
                  <a:pt x="295193" y="711499"/>
                </a:cubicBezTo>
                <a:cubicBezTo>
                  <a:pt x="297015" y="713321"/>
                  <a:pt x="298837" y="711499"/>
                  <a:pt x="300660" y="715144"/>
                </a:cubicBezTo>
                <a:cubicBezTo>
                  <a:pt x="302481" y="709677"/>
                  <a:pt x="293370" y="707855"/>
                  <a:pt x="291549" y="704211"/>
                </a:cubicBezTo>
                <a:close/>
                <a:moveTo>
                  <a:pt x="83820" y="704211"/>
                </a:moveTo>
                <a:lnTo>
                  <a:pt x="149421" y="758877"/>
                </a:lnTo>
                <a:lnTo>
                  <a:pt x="151241" y="760698"/>
                </a:lnTo>
                <a:lnTo>
                  <a:pt x="150604" y="759864"/>
                </a:lnTo>
                <a:lnTo>
                  <a:pt x="160352" y="767987"/>
                </a:lnTo>
                <a:lnTo>
                  <a:pt x="150603" y="759863"/>
                </a:lnTo>
                <a:lnTo>
                  <a:pt x="138030" y="743388"/>
                </a:lnTo>
                <a:cubicBezTo>
                  <a:pt x="133474" y="737921"/>
                  <a:pt x="128463" y="733366"/>
                  <a:pt x="122086" y="731543"/>
                </a:cubicBezTo>
                <a:cubicBezTo>
                  <a:pt x="111153" y="716966"/>
                  <a:pt x="96576" y="713321"/>
                  <a:pt x="83820" y="704211"/>
                </a:cubicBezTo>
                <a:close/>
                <a:moveTo>
                  <a:pt x="1483068" y="704043"/>
                </a:moveTo>
                <a:lnTo>
                  <a:pt x="1483084" y="704377"/>
                </a:lnTo>
                <a:lnTo>
                  <a:pt x="1482662" y="704799"/>
                </a:lnTo>
                <a:close/>
                <a:moveTo>
                  <a:pt x="3502219" y="702388"/>
                </a:moveTo>
                <a:cubicBezTo>
                  <a:pt x="3502219" y="704211"/>
                  <a:pt x="3502219" y="706033"/>
                  <a:pt x="3504041" y="706033"/>
                </a:cubicBezTo>
                <a:cubicBezTo>
                  <a:pt x="3505863" y="707855"/>
                  <a:pt x="3509507" y="702388"/>
                  <a:pt x="3509507" y="706033"/>
                </a:cubicBezTo>
                <a:cubicBezTo>
                  <a:pt x="3513152" y="704211"/>
                  <a:pt x="3505863" y="702388"/>
                  <a:pt x="3502219" y="702388"/>
                </a:cubicBezTo>
                <a:close/>
                <a:moveTo>
                  <a:pt x="2330561" y="702388"/>
                </a:moveTo>
                <a:cubicBezTo>
                  <a:pt x="2328739" y="709677"/>
                  <a:pt x="2328739" y="716966"/>
                  <a:pt x="2326916" y="724254"/>
                </a:cubicBezTo>
                <a:cubicBezTo>
                  <a:pt x="2326916" y="718788"/>
                  <a:pt x="2326916" y="713321"/>
                  <a:pt x="2326916" y="707855"/>
                </a:cubicBezTo>
                <a:cubicBezTo>
                  <a:pt x="2319628" y="713321"/>
                  <a:pt x="2319628" y="724254"/>
                  <a:pt x="2321450" y="731543"/>
                </a:cubicBezTo>
                <a:cubicBezTo>
                  <a:pt x="2321450" y="731543"/>
                  <a:pt x="2321450" y="729721"/>
                  <a:pt x="2323272" y="729721"/>
                </a:cubicBezTo>
                <a:cubicBezTo>
                  <a:pt x="2323272" y="733365"/>
                  <a:pt x="2321450" y="737010"/>
                  <a:pt x="2317806" y="735188"/>
                </a:cubicBezTo>
                <a:cubicBezTo>
                  <a:pt x="2317806" y="737010"/>
                  <a:pt x="2317806" y="740654"/>
                  <a:pt x="2319628" y="742476"/>
                </a:cubicBezTo>
                <a:cubicBezTo>
                  <a:pt x="2323272" y="749765"/>
                  <a:pt x="2330561" y="749765"/>
                  <a:pt x="2337850" y="751587"/>
                </a:cubicBezTo>
                <a:cubicBezTo>
                  <a:pt x="2337850" y="747943"/>
                  <a:pt x="2341494" y="746121"/>
                  <a:pt x="2341494" y="744298"/>
                </a:cubicBezTo>
                <a:cubicBezTo>
                  <a:pt x="2341494" y="742476"/>
                  <a:pt x="2341494" y="742476"/>
                  <a:pt x="2341494" y="742476"/>
                </a:cubicBezTo>
                <a:lnTo>
                  <a:pt x="2341494" y="737010"/>
                </a:lnTo>
                <a:cubicBezTo>
                  <a:pt x="2341494" y="735188"/>
                  <a:pt x="2339672" y="733365"/>
                  <a:pt x="2341494" y="733365"/>
                </a:cubicBezTo>
                <a:lnTo>
                  <a:pt x="2339672" y="715144"/>
                </a:lnTo>
                <a:cubicBezTo>
                  <a:pt x="2337850" y="715144"/>
                  <a:pt x="2336027" y="715144"/>
                  <a:pt x="2334205" y="716966"/>
                </a:cubicBezTo>
                <a:cubicBezTo>
                  <a:pt x="2332383" y="711499"/>
                  <a:pt x="2337850" y="704211"/>
                  <a:pt x="2330561" y="702388"/>
                </a:cubicBezTo>
                <a:close/>
                <a:moveTo>
                  <a:pt x="1277344" y="702388"/>
                </a:moveTo>
                <a:cubicBezTo>
                  <a:pt x="1268233" y="704211"/>
                  <a:pt x="1262767" y="709677"/>
                  <a:pt x="1259123" y="718788"/>
                </a:cubicBezTo>
                <a:cubicBezTo>
                  <a:pt x="1266411" y="718788"/>
                  <a:pt x="1268233" y="709677"/>
                  <a:pt x="1273700" y="706033"/>
                </a:cubicBezTo>
                <a:cubicBezTo>
                  <a:pt x="1273700" y="707855"/>
                  <a:pt x="1270056" y="707855"/>
                  <a:pt x="1271878" y="711499"/>
                </a:cubicBezTo>
                <a:cubicBezTo>
                  <a:pt x="1275522" y="711499"/>
                  <a:pt x="1279166" y="706033"/>
                  <a:pt x="1277344" y="702388"/>
                </a:cubicBezTo>
                <a:close/>
                <a:moveTo>
                  <a:pt x="925666" y="702388"/>
                </a:moveTo>
                <a:cubicBezTo>
                  <a:pt x="922020" y="702388"/>
                  <a:pt x="922020" y="706033"/>
                  <a:pt x="920198" y="707855"/>
                </a:cubicBezTo>
                <a:cubicBezTo>
                  <a:pt x="925666" y="707855"/>
                  <a:pt x="922020" y="704211"/>
                  <a:pt x="925666" y="702388"/>
                </a:cubicBezTo>
                <a:close/>
                <a:moveTo>
                  <a:pt x="903799" y="702388"/>
                </a:moveTo>
                <a:cubicBezTo>
                  <a:pt x="901976" y="704211"/>
                  <a:pt x="900154" y="709677"/>
                  <a:pt x="905621" y="709677"/>
                </a:cubicBezTo>
                <a:cubicBezTo>
                  <a:pt x="905621" y="707855"/>
                  <a:pt x="903799" y="706033"/>
                  <a:pt x="903799" y="702388"/>
                </a:cubicBezTo>
                <a:close/>
                <a:moveTo>
                  <a:pt x="896510" y="702388"/>
                </a:moveTo>
                <a:cubicBezTo>
                  <a:pt x="892866" y="706033"/>
                  <a:pt x="887399" y="711499"/>
                  <a:pt x="885577" y="718788"/>
                </a:cubicBezTo>
                <a:cubicBezTo>
                  <a:pt x="885577" y="720610"/>
                  <a:pt x="891043" y="720610"/>
                  <a:pt x="894688" y="720610"/>
                </a:cubicBezTo>
                <a:cubicBezTo>
                  <a:pt x="892866" y="718788"/>
                  <a:pt x="889222" y="716966"/>
                  <a:pt x="891043" y="713321"/>
                </a:cubicBezTo>
                <a:cubicBezTo>
                  <a:pt x="894688" y="715144"/>
                  <a:pt x="898333" y="720610"/>
                  <a:pt x="901976" y="724254"/>
                </a:cubicBezTo>
                <a:cubicBezTo>
                  <a:pt x="905621" y="715144"/>
                  <a:pt x="898333" y="711499"/>
                  <a:pt x="896510" y="702388"/>
                </a:cubicBezTo>
                <a:close/>
                <a:moveTo>
                  <a:pt x="699715" y="702388"/>
                </a:moveTo>
                <a:cubicBezTo>
                  <a:pt x="701537" y="706033"/>
                  <a:pt x="707004" y="715144"/>
                  <a:pt x="712470" y="716966"/>
                </a:cubicBezTo>
                <a:cubicBezTo>
                  <a:pt x="719759" y="709677"/>
                  <a:pt x="707004" y="706033"/>
                  <a:pt x="699715" y="702388"/>
                </a:cubicBezTo>
                <a:close/>
                <a:moveTo>
                  <a:pt x="244172" y="702388"/>
                </a:moveTo>
                <a:cubicBezTo>
                  <a:pt x="242349" y="702388"/>
                  <a:pt x="240527" y="704211"/>
                  <a:pt x="240527" y="704211"/>
                </a:cubicBezTo>
                <a:cubicBezTo>
                  <a:pt x="242349" y="707855"/>
                  <a:pt x="244172" y="711499"/>
                  <a:pt x="251460" y="713321"/>
                </a:cubicBezTo>
                <a:cubicBezTo>
                  <a:pt x="249638" y="709677"/>
                  <a:pt x="245994" y="706033"/>
                  <a:pt x="244172" y="702388"/>
                </a:cubicBezTo>
                <a:close/>
                <a:moveTo>
                  <a:pt x="178573" y="702388"/>
                </a:moveTo>
                <a:cubicBezTo>
                  <a:pt x="176751" y="709677"/>
                  <a:pt x="185862" y="713321"/>
                  <a:pt x="189506" y="716966"/>
                </a:cubicBezTo>
                <a:cubicBezTo>
                  <a:pt x="187684" y="711499"/>
                  <a:pt x="182218" y="709677"/>
                  <a:pt x="178573" y="702388"/>
                </a:cubicBezTo>
                <a:close/>
                <a:moveTo>
                  <a:pt x="2315983" y="700566"/>
                </a:moveTo>
                <a:cubicBezTo>
                  <a:pt x="2314161" y="704211"/>
                  <a:pt x="2319628" y="704211"/>
                  <a:pt x="2315983" y="709677"/>
                </a:cubicBezTo>
                <a:cubicBezTo>
                  <a:pt x="2319628" y="709677"/>
                  <a:pt x="2317806" y="706033"/>
                  <a:pt x="2319628" y="706033"/>
                </a:cubicBezTo>
                <a:cubicBezTo>
                  <a:pt x="2319628" y="702388"/>
                  <a:pt x="2315983" y="704211"/>
                  <a:pt x="2315983" y="700566"/>
                </a:cubicBezTo>
                <a:close/>
                <a:moveTo>
                  <a:pt x="1062328" y="700566"/>
                </a:moveTo>
                <a:cubicBezTo>
                  <a:pt x="1056861" y="698744"/>
                  <a:pt x="1053217" y="702388"/>
                  <a:pt x="1049573" y="707855"/>
                </a:cubicBezTo>
                <a:cubicBezTo>
                  <a:pt x="1053217" y="704211"/>
                  <a:pt x="1060506" y="706033"/>
                  <a:pt x="1062328" y="700566"/>
                </a:cubicBezTo>
                <a:close/>
                <a:moveTo>
                  <a:pt x="768959" y="700566"/>
                </a:moveTo>
                <a:lnTo>
                  <a:pt x="770325" y="706033"/>
                </a:lnTo>
                <a:lnTo>
                  <a:pt x="772602" y="704211"/>
                </a:lnTo>
                <a:cubicBezTo>
                  <a:pt x="770781" y="702388"/>
                  <a:pt x="770781" y="702388"/>
                  <a:pt x="768959" y="700566"/>
                </a:cubicBezTo>
                <a:close/>
                <a:moveTo>
                  <a:pt x="433678" y="700566"/>
                </a:moveTo>
                <a:cubicBezTo>
                  <a:pt x="431856" y="702388"/>
                  <a:pt x="437322" y="707855"/>
                  <a:pt x="439145" y="706033"/>
                </a:cubicBezTo>
                <a:cubicBezTo>
                  <a:pt x="439145" y="702388"/>
                  <a:pt x="437322" y="702388"/>
                  <a:pt x="433678" y="700566"/>
                </a:cubicBezTo>
                <a:close/>
                <a:moveTo>
                  <a:pt x="397598" y="699473"/>
                </a:moveTo>
                <a:lnTo>
                  <a:pt x="398680" y="699833"/>
                </a:lnTo>
                <a:lnTo>
                  <a:pt x="399056" y="700566"/>
                </a:lnTo>
                <a:close/>
                <a:moveTo>
                  <a:pt x="3587861" y="698745"/>
                </a:moveTo>
                <a:lnTo>
                  <a:pt x="3589683" y="702388"/>
                </a:lnTo>
                <a:lnTo>
                  <a:pt x="3588813" y="704455"/>
                </a:lnTo>
                <a:close/>
                <a:moveTo>
                  <a:pt x="2886324" y="698744"/>
                </a:moveTo>
                <a:cubicBezTo>
                  <a:pt x="2882680" y="711499"/>
                  <a:pt x="2897257" y="715144"/>
                  <a:pt x="2902724" y="722432"/>
                </a:cubicBezTo>
                <a:cubicBezTo>
                  <a:pt x="2906368" y="718788"/>
                  <a:pt x="2899079" y="715144"/>
                  <a:pt x="2899079" y="711499"/>
                </a:cubicBezTo>
                <a:cubicBezTo>
                  <a:pt x="2906368" y="711499"/>
                  <a:pt x="2904546" y="722432"/>
                  <a:pt x="2911834" y="724254"/>
                </a:cubicBezTo>
                <a:cubicBezTo>
                  <a:pt x="2910012" y="722432"/>
                  <a:pt x="2910012" y="720610"/>
                  <a:pt x="2910012" y="716966"/>
                </a:cubicBezTo>
                <a:cubicBezTo>
                  <a:pt x="2913656" y="718788"/>
                  <a:pt x="2917301" y="718788"/>
                  <a:pt x="2920945" y="716966"/>
                </a:cubicBezTo>
                <a:cubicBezTo>
                  <a:pt x="2911834" y="713321"/>
                  <a:pt x="2902724" y="698744"/>
                  <a:pt x="2895435" y="709677"/>
                </a:cubicBezTo>
                <a:cubicBezTo>
                  <a:pt x="2893613" y="706033"/>
                  <a:pt x="2893613" y="702388"/>
                  <a:pt x="2891790" y="698744"/>
                </a:cubicBezTo>
                <a:cubicBezTo>
                  <a:pt x="2889968" y="702388"/>
                  <a:pt x="2889968" y="704211"/>
                  <a:pt x="2891790" y="706033"/>
                </a:cubicBezTo>
                <a:cubicBezTo>
                  <a:pt x="2888146" y="704211"/>
                  <a:pt x="2886324" y="702388"/>
                  <a:pt x="2886324" y="698744"/>
                </a:cubicBezTo>
                <a:close/>
                <a:moveTo>
                  <a:pt x="1157081" y="698744"/>
                </a:moveTo>
                <a:cubicBezTo>
                  <a:pt x="1151614" y="696922"/>
                  <a:pt x="1144326" y="698744"/>
                  <a:pt x="1137037" y="704211"/>
                </a:cubicBezTo>
                <a:cubicBezTo>
                  <a:pt x="1142503" y="702388"/>
                  <a:pt x="1151614" y="704211"/>
                  <a:pt x="1157081" y="698744"/>
                </a:cubicBezTo>
                <a:close/>
                <a:moveTo>
                  <a:pt x="960286" y="698744"/>
                </a:moveTo>
                <a:cubicBezTo>
                  <a:pt x="951175" y="706033"/>
                  <a:pt x="952997" y="707855"/>
                  <a:pt x="962108" y="700566"/>
                </a:cubicBezTo>
                <a:cubicBezTo>
                  <a:pt x="963930" y="700566"/>
                  <a:pt x="962108" y="698744"/>
                  <a:pt x="960286" y="698744"/>
                </a:cubicBezTo>
                <a:close/>
                <a:moveTo>
                  <a:pt x="949353" y="698744"/>
                </a:moveTo>
                <a:cubicBezTo>
                  <a:pt x="942064" y="696922"/>
                  <a:pt x="934777" y="711499"/>
                  <a:pt x="942064" y="713321"/>
                </a:cubicBezTo>
                <a:cubicBezTo>
                  <a:pt x="949353" y="707855"/>
                  <a:pt x="945709" y="702388"/>
                  <a:pt x="949353" y="698744"/>
                </a:cubicBezTo>
                <a:close/>
                <a:moveTo>
                  <a:pt x="799935" y="698744"/>
                </a:moveTo>
                <a:cubicBezTo>
                  <a:pt x="798112" y="700566"/>
                  <a:pt x="801757" y="702388"/>
                  <a:pt x="803579" y="704211"/>
                </a:cubicBezTo>
                <a:cubicBezTo>
                  <a:pt x="807223" y="702388"/>
                  <a:pt x="799935" y="700566"/>
                  <a:pt x="799935" y="698744"/>
                </a:cubicBezTo>
                <a:close/>
                <a:moveTo>
                  <a:pt x="623185" y="698744"/>
                </a:moveTo>
                <a:cubicBezTo>
                  <a:pt x="619539" y="702388"/>
                  <a:pt x="614074" y="706033"/>
                  <a:pt x="610429" y="709677"/>
                </a:cubicBezTo>
                <a:cubicBezTo>
                  <a:pt x="610429" y="711499"/>
                  <a:pt x="608606" y="713321"/>
                  <a:pt x="604963" y="713321"/>
                </a:cubicBezTo>
                <a:cubicBezTo>
                  <a:pt x="606784" y="715144"/>
                  <a:pt x="608606" y="716966"/>
                  <a:pt x="612251" y="715144"/>
                </a:cubicBezTo>
                <a:cubicBezTo>
                  <a:pt x="612251" y="713321"/>
                  <a:pt x="610429" y="713321"/>
                  <a:pt x="610429" y="709677"/>
                </a:cubicBezTo>
                <a:cubicBezTo>
                  <a:pt x="615895" y="711499"/>
                  <a:pt x="619539" y="713321"/>
                  <a:pt x="621362" y="706033"/>
                </a:cubicBezTo>
                <a:cubicBezTo>
                  <a:pt x="619539" y="709677"/>
                  <a:pt x="617717" y="711499"/>
                  <a:pt x="615895" y="713321"/>
                </a:cubicBezTo>
                <a:lnTo>
                  <a:pt x="619169" y="715588"/>
                </a:lnTo>
                <a:lnTo>
                  <a:pt x="610429" y="726077"/>
                </a:lnTo>
                <a:cubicBezTo>
                  <a:pt x="615895" y="727899"/>
                  <a:pt x="621362" y="729721"/>
                  <a:pt x="628650" y="724254"/>
                </a:cubicBezTo>
                <a:lnTo>
                  <a:pt x="621815" y="717420"/>
                </a:lnTo>
                <a:lnTo>
                  <a:pt x="639583" y="729721"/>
                </a:lnTo>
                <a:cubicBezTo>
                  <a:pt x="634117" y="722432"/>
                  <a:pt x="628650" y="720610"/>
                  <a:pt x="626828" y="711499"/>
                </a:cubicBezTo>
                <a:cubicBezTo>
                  <a:pt x="628650" y="713321"/>
                  <a:pt x="630472" y="715144"/>
                  <a:pt x="632296" y="716966"/>
                </a:cubicBezTo>
                <a:cubicBezTo>
                  <a:pt x="635939" y="711499"/>
                  <a:pt x="626828" y="702388"/>
                  <a:pt x="623185" y="698744"/>
                </a:cubicBezTo>
                <a:close/>
                <a:moveTo>
                  <a:pt x="522964" y="698744"/>
                </a:moveTo>
                <a:cubicBezTo>
                  <a:pt x="519320" y="698744"/>
                  <a:pt x="522964" y="704211"/>
                  <a:pt x="524786" y="702388"/>
                </a:cubicBezTo>
                <a:cubicBezTo>
                  <a:pt x="522964" y="702388"/>
                  <a:pt x="522964" y="700566"/>
                  <a:pt x="522964" y="698744"/>
                </a:cubicBezTo>
                <a:close/>
                <a:moveTo>
                  <a:pt x="258749" y="698744"/>
                </a:moveTo>
                <a:cubicBezTo>
                  <a:pt x="258749" y="702388"/>
                  <a:pt x="266038" y="707855"/>
                  <a:pt x="264216" y="715144"/>
                </a:cubicBezTo>
                <a:cubicBezTo>
                  <a:pt x="267860" y="711499"/>
                  <a:pt x="264216" y="702388"/>
                  <a:pt x="258749" y="698744"/>
                </a:cubicBezTo>
                <a:close/>
                <a:moveTo>
                  <a:pt x="202262" y="698744"/>
                </a:moveTo>
                <a:cubicBezTo>
                  <a:pt x="200439" y="702388"/>
                  <a:pt x="207728" y="707855"/>
                  <a:pt x="209550" y="707855"/>
                </a:cubicBezTo>
                <a:cubicBezTo>
                  <a:pt x="207728" y="704211"/>
                  <a:pt x="204084" y="702388"/>
                  <a:pt x="202262" y="698744"/>
                </a:cubicBezTo>
                <a:close/>
                <a:moveTo>
                  <a:pt x="3489463" y="696922"/>
                </a:moveTo>
                <a:cubicBezTo>
                  <a:pt x="3483997" y="696922"/>
                  <a:pt x="3478530" y="698744"/>
                  <a:pt x="3478530" y="704211"/>
                </a:cubicBezTo>
                <a:cubicBezTo>
                  <a:pt x="3478530" y="704211"/>
                  <a:pt x="3480353" y="704211"/>
                  <a:pt x="3480353" y="706033"/>
                </a:cubicBezTo>
                <a:cubicBezTo>
                  <a:pt x="3483997" y="706033"/>
                  <a:pt x="3485819" y="706033"/>
                  <a:pt x="3489463" y="706033"/>
                </a:cubicBezTo>
                <a:cubicBezTo>
                  <a:pt x="3485819" y="702388"/>
                  <a:pt x="3489463" y="700566"/>
                  <a:pt x="3491286" y="700566"/>
                </a:cubicBezTo>
                <a:cubicBezTo>
                  <a:pt x="3491286" y="698744"/>
                  <a:pt x="3489463" y="698744"/>
                  <a:pt x="3489463" y="696922"/>
                </a:cubicBezTo>
                <a:close/>
                <a:moveTo>
                  <a:pt x="2911834" y="696922"/>
                </a:moveTo>
                <a:cubicBezTo>
                  <a:pt x="2908190" y="702388"/>
                  <a:pt x="2911834" y="711499"/>
                  <a:pt x="2919123" y="713321"/>
                </a:cubicBezTo>
                <a:cubicBezTo>
                  <a:pt x="2920945" y="709677"/>
                  <a:pt x="2917301" y="702388"/>
                  <a:pt x="2917301" y="700566"/>
                </a:cubicBezTo>
                <a:cubicBezTo>
                  <a:pt x="2915479" y="700566"/>
                  <a:pt x="2911834" y="700566"/>
                  <a:pt x="2911834" y="696922"/>
                </a:cubicBezTo>
                <a:close/>
                <a:moveTo>
                  <a:pt x="1486895" y="696922"/>
                </a:moveTo>
                <a:lnTo>
                  <a:pt x="1483068" y="704043"/>
                </a:lnTo>
                <a:lnTo>
                  <a:pt x="1483022" y="703072"/>
                </a:lnTo>
                <a:cubicBezTo>
                  <a:pt x="1484161" y="701022"/>
                  <a:pt x="1485983" y="698744"/>
                  <a:pt x="1486895" y="696922"/>
                </a:cubicBezTo>
                <a:close/>
                <a:moveTo>
                  <a:pt x="1335654" y="696922"/>
                </a:moveTo>
                <a:cubicBezTo>
                  <a:pt x="1335654" y="695100"/>
                  <a:pt x="1330188" y="700566"/>
                  <a:pt x="1328365" y="702388"/>
                </a:cubicBezTo>
                <a:cubicBezTo>
                  <a:pt x="1332009" y="704211"/>
                  <a:pt x="1332009" y="698744"/>
                  <a:pt x="1335654" y="696922"/>
                </a:cubicBezTo>
                <a:close/>
                <a:moveTo>
                  <a:pt x="1071439" y="696922"/>
                </a:moveTo>
                <a:cubicBezTo>
                  <a:pt x="1069616" y="698744"/>
                  <a:pt x="1064151" y="698744"/>
                  <a:pt x="1067794" y="702388"/>
                </a:cubicBezTo>
                <a:cubicBezTo>
                  <a:pt x="1071439" y="700566"/>
                  <a:pt x="1067794" y="698744"/>
                  <a:pt x="1071439" y="696922"/>
                </a:cubicBezTo>
                <a:close/>
                <a:moveTo>
                  <a:pt x="993085" y="696922"/>
                </a:moveTo>
                <a:cubicBezTo>
                  <a:pt x="991263" y="696922"/>
                  <a:pt x="987619" y="700566"/>
                  <a:pt x="989441" y="702388"/>
                </a:cubicBezTo>
                <a:cubicBezTo>
                  <a:pt x="991263" y="700566"/>
                  <a:pt x="996729" y="696922"/>
                  <a:pt x="993085" y="696922"/>
                </a:cubicBezTo>
                <a:close/>
                <a:moveTo>
                  <a:pt x="854600" y="696922"/>
                </a:moveTo>
                <a:cubicBezTo>
                  <a:pt x="854600" y="698744"/>
                  <a:pt x="852778" y="698744"/>
                  <a:pt x="852778" y="700566"/>
                </a:cubicBezTo>
                <a:cubicBezTo>
                  <a:pt x="854600" y="700566"/>
                  <a:pt x="854600" y="702388"/>
                  <a:pt x="858244" y="702388"/>
                </a:cubicBezTo>
                <a:cubicBezTo>
                  <a:pt x="861889" y="698744"/>
                  <a:pt x="856422" y="698744"/>
                  <a:pt x="854600" y="696922"/>
                </a:cubicBezTo>
                <a:close/>
                <a:moveTo>
                  <a:pt x="703359" y="696922"/>
                </a:moveTo>
                <a:cubicBezTo>
                  <a:pt x="703359" y="696922"/>
                  <a:pt x="701537" y="698744"/>
                  <a:pt x="701537" y="698744"/>
                </a:cubicBezTo>
                <a:cubicBezTo>
                  <a:pt x="703359" y="700566"/>
                  <a:pt x="705182" y="702388"/>
                  <a:pt x="707004" y="704211"/>
                </a:cubicBezTo>
                <a:cubicBezTo>
                  <a:pt x="707004" y="700566"/>
                  <a:pt x="705182" y="698744"/>
                  <a:pt x="703359" y="696922"/>
                </a:cubicBezTo>
                <a:close/>
                <a:moveTo>
                  <a:pt x="592207" y="696922"/>
                </a:moveTo>
                <a:cubicBezTo>
                  <a:pt x="588562" y="696922"/>
                  <a:pt x="590385" y="704211"/>
                  <a:pt x="590385" y="707855"/>
                </a:cubicBezTo>
                <a:cubicBezTo>
                  <a:pt x="590385" y="707855"/>
                  <a:pt x="592207" y="704211"/>
                  <a:pt x="594030" y="704211"/>
                </a:cubicBezTo>
                <a:cubicBezTo>
                  <a:pt x="590385" y="702388"/>
                  <a:pt x="592207" y="698744"/>
                  <a:pt x="592207" y="696922"/>
                </a:cubicBezTo>
                <a:close/>
                <a:moveTo>
                  <a:pt x="409989" y="696922"/>
                </a:moveTo>
                <a:cubicBezTo>
                  <a:pt x="400879" y="700566"/>
                  <a:pt x="417278" y="704211"/>
                  <a:pt x="409989" y="707855"/>
                </a:cubicBezTo>
                <a:cubicBezTo>
                  <a:pt x="415456" y="707855"/>
                  <a:pt x="413634" y="698744"/>
                  <a:pt x="409989" y="696922"/>
                </a:cubicBezTo>
                <a:close/>
                <a:moveTo>
                  <a:pt x="389946" y="696922"/>
                </a:moveTo>
                <a:lnTo>
                  <a:pt x="393460" y="698094"/>
                </a:lnTo>
                <a:lnTo>
                  <a:pt x="393590" y="698744"/>
                </a:lnTo>
                <a:cubicBezTo>
                  <a:pt x="391768" y="698744"/>
                  <a:pt x="391768" y="696922"/>
                  <a:pt x="389946" y="696922"/>
                </a:cubicBezTo>
                <a:close/>
                <a:moveTo>
                  <a:pt x="344391" y="696922"/>
                </a:moveTo>
                <a:cubicBezTo>
                  <a:pt x="346213" y="700566"/>
                  <a:pt x="351680" y="700566"/>
                  <a:pt x="355324" y="704211"/>
                </a:cubicBezTo>
                <a:cubicBezTo>
                  <a:pt x="353502" y="702388"/>
                  <a:pt x="349858" y="693278"/>
                  <a:pt x="344391" y="696922"/>
                </a:cubicBezTo>
                <a:close/>
                <a:moveTo>
                  <a:pt x="337102" y="696922"/>
                </a:moveTo>
                <a:cubicBezTo>
                  <a:pt x="335280" y="698744"/>
                  <a:pt x="338926" y="702388"/>
                  <a:pt x="340747" y="706033"/>
                </a:cubicBezTo>
                <a:cubicBezTo>
                  <a:pt x="342569" y="704211"/>
                  <a:pt x="340747" y="702388"/>
                  <a:pt x="342569" y="702388"/>
                </a:cubicBezTo>
                <a:cubicBezTo>
                  <a:pt x="340747" y="698744"/>
                  <a:pt x="338926" y="700566"/>
                  <a:pt x="337102" y="696922"/>
                </a:cubicBezTo>
                <a:close/>
                <a:moveTo>
                  <a:pt x="331636" y="696922"/>
                </a:moveTo>
                <a:cubicBezTo>
                  <a:pt x="327993" y="698744"/>
                  <a:pt x="333458" y="706033"/>
                  <a:pt x="338926" y="709677"/>
                </a:cubicBezTo>
                <a:cubicBezTo>
                  <a:pt x="340747" y="706033"/>
                  <a:pt x="333458" y="698744"/>
                  <a:pt x="331636" y="696922"/>
                </a:cubicBezTo>
                <a:close/>
                <a:moveTo>
                  <a:pt x="236883" y="696922"/>
                </a:moveTo>
                <a:cubicBezTo>
                  <a:pt x="235061" y="696922"/>
                  <a:pt x="235061" y="700566"/>
                  <a:pt x="236883" y="702388"/>
                </a:cubicBezTo>
                <a:cubicBezTo>
                  <a:pt x="238705" y="702388"/>
                  <a:pt x="240527" y="700566"/>
                  <a:pt x="240527" y="702388"/>
                </a:cubicBezTo>
                <a:cubicBezTo>
                  <a:pt x="238705" y="700566"/>
                  <a:pt x="238705" y="698744"/>
                  <a:pt x="236883" y="696922"/>
                </a:cubicBezTo>
                <a:close/>
                <a:moveTo>
                  <a:pt x="2861497" y="696695"/>
                </a:moveTo>
                <a:cubicBezTo>
                  <a:pt x="2858992" y="697378"/>
                  <a:pt x="2857169" y="698744"/>
                  <a:pt x="2857169" y="700566"/>
                </a:cubicBezTo>
                <a:cubicBezTo>
                  <a:pt x="2866280" y="698744"/>
                  <a:pt x="2862636" y="707855"/>
                  <a:pt x="2868102" y="709677"/>
                </a:cubicBezTo>
                <a:cubicBezTo>
                  <a:pt x="2868102" y="704211"/>
                  <a:pt x="2871747" y="702388"/>
                  <a:pt x="2869924" y="696922"/>
                </a:cubicBezTo>
                <a:cubicBezTo>
                  <a:pt x="2867191" y="696011"/>
                  <a:pt x="2864003" y="696011"/>
                  <a:pt x="2861497" y="696695"/>
                </a:cubicBezTo>
                <a:close/>
                <a:moveTo>
                  <a:pt x="3545951" y="695100"/>
                </a:moveTo>
                <a:cubicBezTo>
                  <a:pt x="3547773" y="698744"/>
                  <a:pt x="3545951" y="700566"/>
                  <a:pt x="3544129" y="702388"/>
                </a:cubicBezTo>
                <a:cubicBezTo>
                  <a:pt x="3544129" y="704211"/>
                  <a:pt x="3549595" y="702388"/>
                  <a:pt x="3547773" y="707855"/>
                </a:cubicBezTo>
                <a:cubicBezTo>
                  <a:pt x="3547773" y="707855"/>
                  <a:pt x="3551417" y="706033"/>
                  <a:pt x="3551417" y="707855"/>
                </a:cubicBezTo>
                <a:cubicBezTo>
                  <a:pt x="3551417" y="704211"/>
                  <a:pt x="3547773" y="702388"/>
                  <a:pt x="3553240" y="696922"/>
                </a:cubicBezTo>
                <a:cubicBezTo>
                  <a:pt x="3549595" y="696922"/>
                  <a:pt x="3549595" y="693278"/>
                  <a:pt x="3545951" y="695100"/>
                </a:cubicBezTo>
                <a:close/>
                <a:moveTo>
                  <a:pt x="2337850" y="695100"/>
                </a:moveTo>
                <a:cubicBezTo>
                  <a:pt x="2336027" y="698744"/>
                  <a:pt x="2336027" y="704211"/>
                  <a:pt x="2337850" y="706033"/>
                </a:cubicBezTo>
                <a:lnTo>
                  <a:pt x="2339672" y="706033"/>
                </a:lnTo>
                <a:lnTo>
                  <a:pt x="2343316" y="706033"/>
                </a:lnTo>
                <a:cubicBezTo>
                  <a:pt x="2343316" y="704211"/>
                  <a:pt x="2343316" y="702388"/>
                  <a:pt x="2341494" y="700566"/>
                </a:cubicBezTo>
                <a:cubicBezTo>
                  <a:pt x="2341494" y="702388"/>
                  <a:pt x="2341494" y="704211"/>
                  <a:pt x="2339672" y="706033"/>
                </a:cubicBezTo>
                <a:cubicBezTo>
                  <a:pt x="2337850" y="702388"/>
                  <a:pt x="2339672" y="696922"/>
                  <a:pt x="2337850" y="695100"/>
                </a:cubicBezTo>
                <a:close/>
                <a:moveTo>
                  <a:pt x="1311966" y="695100"/>
                </a:moveTo>
                <a:cubicBezTo>
                  <a:pt x="1308321" y="696922"/>
                  <a:pt x="1302855" y="698744"/>
                  <a:pt x="1297388" y="698744"/>
                </a:cubicBezTo>
                <a:cubicBezTo>
                  <a:pt x="1295566" y="700566"/>
                  <a:pt x="1293744" y="702388"/>
                  <a:pt x="1295566" y="704211"/>
                </a:cubicBezTo>
                <a:cubicBezTo>
                  <a:pt x="1301033" y="698744"/>
                  <a:pt x="1306499" y="698744"/>
                  <a:pt x="1311966" y="695100"/>
                </a:cubicBezTo>
                <a:close/>
                <a:moveTo>
                  <a:pt x="1186236" y="695100"/>
                </a:moveTo>
                <a:cubicBezTo>
                  <a:pt x="1180769" y="695100"/>
                  <a:pt x="1173481" y="698744"/>
                  <a:pt x="1169836" y="702388"/>
                </a:cubicBezTo>
                <a:cubicBezTo>
                  <a:pt x="1171658" y="706033"/>
                  <a:pt x="1177125" y="706033"/>
                  <a:pt x="1180769" y="704211"/>
                </a:cubicBezTo>
                <a:cubicBezTo>
                  <a:pt x="1184414" y="702388"/>
                  <a:pt x="1182592" y="696922"/>
                  <a:pt x="1186236" y="695100"/>
                </a:cubicBezTo>
                <a:close/>
                <a:moveTo>
                  <a:pt x="914732" y="695100"/>
                </a:moveTo>
                <a:cubicBezTo>
                  <a:pt x="911087" y="698744"/>
                  <a:pt x="912909" y="700566"/>
                  <a:pt x="911087" y="704211"/>
                </a:cubicBezTo>
                <a:cubicBezTo>
                  <a:pt x="912909" y="702388"/>
                  <a:pt x="914732" y="706033"/>
                  <a:pt x="918376" y="706033"/>
                </a:cubicBezTo>
                <a:cubicBezTo>
                  <a:pt x="918376" y="702388"/>
                  <a:pt x="914732" y="698744"/>
                  <a:pt x="914732" y="695100"/>
                </a:cubicBezTo>
                <a:close/>
                <a:moveTo>
                  <a:pt x="798112" y="695100"/>
                </a:moveTo>
                <a:cubicBezTo>
                  <a:pt x="796290" y="695100"/>
                  <a:pt x="794468" y="700566"/>
                  <a:pt x="798112" y="700566"/>
                </a:cubicBezTo>
                <a:cubicBezTo>
                  <a:pt x="799935" y="698744"/>
                  <a:pt x="796290" y="696922"/>
                  <a:pt x="798112" y="695100"/>
                </a:cubicBezTo>
                <a:close/>
                <a:moveTo>
                  <a:pt x="765313" y="695100"/>
                </a:moveTo>
                <a:cubicBezTo>
                  <a:pt x="763491" y="696922"/>
                  <a:pt x="763491" y="696922"/>
                  <a:pt x="761670" y="698744"/>
                </a:cubicBezTo>
                <a:cubicBezTo>
                  <a:pt x="761670" y="700566"/>
                  <a:pt x="763491" y="702388"/>
                  <a:pt x="767136" y="702388"/>
                </a:cubicBezTo>
                <a:cubicBezTo>
                  <a:pt x="767136" y="700566"/>
                  <a:pt x="765313" y="696922"/>
                  <a:pt x="765313" y="695100"/>
                </a:cubicBezTo>
                <a:close/>
                <a:moveTo>
                  <a:pt x="422745" y="695100"/>
                </a:moveTo>
                <a:cubicBezTo>
                  <a:pt x="420923" y="696922"/>
                  <a:pt x="424567" y="700566"/>
                  <a:pt x="426389" y="704211"/>
                </a:cubicBezTo>
                <a:cubicBezTo>
                  <a:pt x="428211" y="702388"/>
                  <a:pt x="426389" y="695100"/>
                  <a:pt x="422745" y="695100"/>
                </a:cubicBezTo>
                <a:close/>
                <a:moveTo>
                  <a:pt x="391768" y="695100"/>
                </a:moveTo>
                <a:lnTo>
                  <a:pt x="397598" y="699473"/>
                </a:lnTo>
                <a:lnTo>
                  <a:pt x="393460" y="698094"/>
                </a:lnTo>
                <a:lnTo>
                  <a:pt x="393362" y="697606"/>
                </a:lnTo>
                <a:cubicBezTo>
                  <a:pt x="392224" y="697378"/>
                  <a:pt x="390857" y="696922"/>
                  <a:pt x="391768" y="695100"/>
                </a:cubicBezTo>
                <a:close/>
                <a:moveTo>
                  <a:pt x="353502" y="695100"/>
                </a:moveTo>
                <a:cubicBezTo>
                  <a:pt x="358969" y="702388"/>
                  <a:pt x="366257" y="702388"/>
                  <a:pt x="368079" y="709677"/>
                </a:cubicBezTo>
                <a:cubicBezTo>
                  <a:pt x="369902" y="707855"/>
                  <a:pt x="366257" y="704211"/>
                  <a:pt x="362613" y="700566"/>
                </a:cubicBezTo>
                <a:lnTo>
                  <a:pt x="366410" y="701766"/>
                </a:lnTo>
                <a:lnTo>
                  <a:pt x="369902" y="706033"/>
                </a:lnTo>
                <a:cubicBezTo>
                  <a:pt x="368990" y="705122"/>
                  <a:pt x="368079" y="703300"/>
                  <a:pt x="366940" y="701933"/>
                </a:cubicBezTo>
                <a:lnTo>
                  <a:pt x="366410" y="701766"/>
                </a:lnTo>
                <a:lnTo>
                  <a:pt x="363752" y="698517"/>
                </a:lnTo>
                <a:cubicBezTo>
                  <a:pt x="360335" y="696011"/>
                  <a:pt x="356236" y="694189"/>
                  <a:pt x="353502" y="695100"/>
                </a:cubicBezTo>
                <a:close/>
                <a:moveTo>
                  <a:pt x="209550" y="695100"/>
                </a:moveTo>
                <a:cubicBezTo>
                  <a:pt x="211372" y="700566"/>
                  <a:pt x="211372" y="702388"/>
                  <a:pt x="215017" y="700566"/>
                </a:cubicBezTo>
                <a:cubicBezTo>
                  <a:pt x="215017" y="704211"/>
                  <a:pt x="215017" y="704211"/>
                  <a:pt x="211372" y="702388"/>
                </a:cubicBezTo>
                <a:lnTo>
                  <a:pt x="216611" y="707627"/>
                </a:lnTo>
                <a:lnTo>
                  <a:pt x="216611" y="707628"/>
                </a:lnTo>
                <a:cubicBezTo>
                  <a:pt x="218205" y="708766"/>
                  <a:pt x="220483" y="709677"/>
                  <a:pt x="220483" y="711499"/>
                </a:cubicBezTo>
                <a:lnTo>
                  <a:pt x="216611" y="707627"/>
                </a:lnTo>
                <a:lnTo>
                  <a:pt x="216839" y="702388"/>
                </a:lnTo>
                <a:lnTo>
                  <a:pt x="219603" y="703310"/>
                </a:lnTo>
                <a:lnTo>
                  <a:pt x="222306" y="707855"/>
                </a:lnTo>
                <a:cubicBezTo>
                  <a:pt x="222306" y="706944"/>
                  <a:pt x="221850" y="705122"/>
                  <a:pt x="220939" y="703755"/>
                </a:cubicBezTo>
                <a:lnTo>
                  <a:pt x="219603" y="703310"/>
                </a:lnTo>
                <a:lnTo>
                  <a:pt x="217295" y="699428"/>
                </a:lnTo>
                <a:cubicBezTo>
                  <a:pt x="214561" y="697378"/>
                  <a:pt x="211372" y="696011"/>
                  <a:pt x="209550" y="695100"/>
                </a:cubicBezTo>
                <a:close/>
                <a:moveTo>
                  <a:pt x="887855" y="693961"/>
                </a:moveTo>
                <a:cubicBezTo>
                  <a:pt x="885121" y="694645"/>
                  <a:pt x="881932" y="696011"/>
                  <a:pt x="880111" y="695100"/>
                </a:cubicBezTo>
                <a:cubicBezTo>
                  <a:pt x="880111" y="695100"/>
                  <a:pt x="880111" y="696922"/>
                  <a:pt x="880111" y="696922"/>
                </a:cubicBezTo>
                <a:cubicBezTo>
                  <a:pt x="876466" y="698744"/>
                  <a:pt x="880111" y="693278"/>
                  <a:pt x="876466" y="695100"/>
                </a:cubicBezTo>
                <a:cubicBezTo>
                  <a:pt x="880111" y="702388"/>
                  <a:pt x="863711" y="709677"/>
                  <a:pt x="880111" y="716966"/>
                </a:cubicBezTo>
                <a:cubicBezTo>
                  <a:pt x="881933" y="715144"/>
                  <a:pt x="878288" y="713321"/>
                  <a:pt x="881933" y="711499"/>
                </a:cubicBezTo>
                <a:cubicBezTo>
                  <a:pt x="883755" y="709677"/>
                  <a:pt x="883755" y="713321"/>
                  <a:pt x="885577" y="713321"/>
                </a:cubicBezTo>
                <a:cubicBezTo>
                  <a:pt x="889222" y="709677"/>
                  <a:pt x="892866" y="704211"/>
                  <a:pt x="894688" y="700566"/>
                </a:cubicBezTo>
                <a:cubicBezTo>
                  <a:pt x="892866" y="698744"/>
                  <a:pt x="891043" y="698744"/>
                  <a:pt x="889222" y="696922"/>
                </a:cubicBezTo>
                <a:cubicBezTo>
                  <a:pt x="891043" y="696922"/>
                  <a:pt x="891043" y="695100"/>
                  <a:pt x="892866" y="696922"/>
                </a:cubicBezTo>
                <a:cubicBezTo>
                  <a:pt x="892866" y="693278"/>
                  <a:pt x="890588" y="693278"/>
                  <a:pt x="887855" y="693961"/>
                </a:cubicBezTo>
                <a:close/>
                <a:moveTo>
                  <a:pt x="3585432" y="693886"/>
                </a:moveTo>
                <a:lnTo>
                  <a:pt x="3587861" y="698744"/>
                </a:lnTo>
                <a:lnTo>
                  <a:pt x="3585128" y="697833"/>
                </a:lnTo>
                <a:cubicBezTo>
                  <a:pt x="3583761" y="697833"/>
                  <a:pt x="3582394" y="697833"/>
                  <a:pt x="3582394" y="696922"/>
                </a:cubicBezTo>
                <a:close/>
                <a:moveTo>
                  <a:pt x="3525907" y="693278"/>
                </a:moveTo>
                <a:cubicBezTo>
                  <a:pt x="3525907" y="696922"/>
                  <a:pt x="3525907" y="700566"/>
                  <a:pt x="3527729" y="702388"/>
                </a:cubicBezTo>
                <a:cubicBezTo>
                  <a:pt x="3531374" y="700566"/>
                  <a:pt x="3527729" y="698744"/>
                  <a:pt x="3529551" y="695100"/>
                </a:cubicBezTo>
                <a:cubicBezTo>
                  <a:pt x="3533196" y="695100"/>
                  <a:pt x="3529551" y="691455"/>
                  <a:pt x="3525907" y="693278"/>
                </a:cubicBezTo>
                <a:close/>
                <a:moveTo>
                  <a:pt x="1188058" y="693278"/>
                </a:moveTo>
                <a:cubicBezTo>
                  <a:pt x="1184414" y="696922"/>
                  <a:pt x="1184414" y="700566"/>
                  <a:pt x="1182592" y="704211"/>
                </a:cubicBezTo>
                <a:cubicBezTo>
                  <a:pt x="1188058" y="704211"/>
                  <a:pt x="1188058" y="696922"/>
                  <a:pt x="1188058" y="693278"/>
                </a:cubicBezTo>
                <a:close/>
                <a:moveTo>
                  <a:pt x="1080549" y="693278"/>
                </a:moveTo>
                <a:cubicBezTo>
                  <a:pt x="1076905" y="694189"/>
                  <a:pt x="1075083" y="696467"/>
                  <a:pt x="1073262" y="698744"/>
                </a:cubicBezTo>
                <a:lnTo>
                  <a:pt x="1066635" y="703714"/>
                </a:lnTo>
                <a:lnTo>
                  <a:pt x="1065972" y="702388"/>
                </a:lnTo>
                <a:cubicBezTo>
                  <a:pt x="1065972" y="702388"/>
                  <a:pt x="1064151" y="702388"/>
                  <a:pt x="1064151" y="702388"/>
                </a:cubicBezTo>
                <a:lnTo>
                  <a:pt x="1065972" y="704211"/>
                </a:lnTo>
                <a:lnTo>
                  <a:pt x="1066635" y="703714"/>
                </a:lnTo>
                <a:lnTo>
                  <a:pt x="1067065" y="704576"/>
                </a:lnTo>
                <a:lnTo>
                  <a:pt x="1065973" y="704212"/>
                </a:lnTo>
                <a:lnTo>
                  <a:pt x="1067794" y="706033"/>
                </a:lnTo>
                <a:cubicBezTo>
                  <a:pt x="1069616" y="707855"/>
                  <a:pt x="1065972" y="711499"/>
                  <a:pt x="1067794" y="713321"/>
                </a:cubicBezTo>
                <a:cubicBezTo>
                  <a:pt x="1071439" y="711499"/>
                  <a:pt x="1069616" y="709677"/>
                  <a:pt x="1071439" y="707855"/>
                </a:cubicBezTo>
                <a:cubicBezTo>
                  <a:pt x="1069616" y="707855"/>
                  <a:pt x="1069616" y="706033"/>
                  <a:pt x="1067794" y="706033"/>
                </a:cubicBezTo>
                <a:lnTo>
                  <a:pt x="1067065" y="704576"/>
                </a:lnTo>
                <a:lnTo>
                  <a:pt x="1069798" y="705487"/>
                </a:lnTo>
                <a:lnTo>
                  <a:pt x="1069616" y="706033"/>
                </a:lnTo>
                <a:cubicBezTo>
                  <a:pt x="1069616" y="706033"/>
                  <a:pt x="1071439" y="706033"/>
                  <a:pt x="1071439" y="706033"/>
                </a:cubicBezTo>
                <a:lnTo>
                  <a:pt x="1069798" y="705487"/>
                </a:lnTo>
                <a:lnTo>
                  <a:pt x="1071439" y="700566"/>
                </a:lnTo>
                <a:cubicBezTo>
                  <a:pt x="1071439" y="700566"/>
                  <a:pt x="1073262" y="700566"/>
                  <a:pt x="1073262" y="704211"/>
                </a:cubicBezTo>
                <a:cubicBezTo>
                  <a:pt x="1075083" y="700566"/>
                  <a:pt x="1078727" y="696922"/>
                  <a:pt x="1080549" y="693278"/>
                </a:cubicBezTo>
                <a:close/>
                <a:moveTo>
                  <a:pt x="1029529" y="693278"/>
                </a:moveTo>
                <a:cubicBezTo>
                  <a:pt x="1027707" y="691455"/>
                  <a:pt x="1020418" y="696922"/>
                  <a:pt x="1024062" y="698744"/>
                </a:cubicBezTo>
                <a:cubicBezTo>
                  <a:pt x="1025884" y="696922"/>
                  <a:pt x="1027707" y="695100"/>
                  <a:pt x="1029529" y="693278"/>
                </a:cubicBezTo>
                <a:close/>
                <a:moveTo>
                  <a:pt x="942064" y="693278"/>
                </a:moveTo>
                <a:cubicBezTo>
                  <a:pt x="936598" y="696922"/>
                  <a:pt x="932953" y="702388"/>
                  <a:pt x="934777" y="704211"/>
                </a:cubicBezTo>
                <a:cubicBezTo>
                  <a:pt x="938420" y="704211"/>
                  <a:pt x="943886" y="696922"/>
                  <a:pt x="942064" y="693278"/>
                </a:cubicBezTo>
                <a:close/>
                <a:moveTo>
                  <a:pt x="832734" y="693278"/>
                </a:moveTo>
                <a:cubicBezTo>
                  <a:pt x="829089" y="693278"/>
                  <a:pt x="827267" y="695100"/>
                  <a:pt x="827267" y="696922"/>
                </a:cubicBezTo>
                <a:cubicBezTo>
                  <a:pt x="825445" y="700566"/>
                  <a:pt x="829089" y="698744"/>
                  <a:pt x="830912" y="700566"/>
                </a:cubicBezTo>
                <a:cubicBezTo>
                  <a:pt x="832734" y="696922"/>
                  <a:pt x="830912" y="695100"/>
                  <a:pt x="832734" y="693278"/>
                </a:cubicBezTo>
                <a:close/>
                <a:moveTo>
                  <a:pt x="3044853" y="693278"/>
                </a:moveTo>
                <a:cubicBezTo>
                  <a:pt x="3043942" y="693733"/>
                  <a:pt x="3043031" y="694189"/>
                  <a:pt x="3041209" y="693278"/>
                </a:cubicBezTo>
                <a:cubicBezTo>
                  <a:pt x="3044853" y="695100"/>
                  <a:pt x="3050319" y="700566"/>
                  <a:pt x="3053964" y="698744"/>
                </a:cubicBezTo>
                <a:cubicBezTo>
                  <a:pt x="3052142" y="696922"/>
                  <a:pt x="3050319" y="695100"/>
                  <a:pt x="3048497" y="693278"/>
                </a:cubicBezTo>
                <a:cubicBezTo>
                  <a:pt x="3046675" y="692367"/>
                  <a:pt x="3045764" y="692822"/>
                  <a:pt x="3044853" y="693278"/>
                </a:cubicBezTo>
                <a:close/>
                <a:moveTo>
                  <a:pt x="773285" y="692139"/>
                </a:moveTo>
                <a:cubicBezTo>
                  <a:pt x="771691" y="691456"/>
                  <a:pt x="769869" y="691456"/>
                  <a:pt x="768959" y="693278"/>
                </a:cubicBezTo>
                <a:cubicBezTo>
                  <a:pt x="768959" y="695100"/>
                  <a:pt x="770781" y="696922"/>
                  <a:pt x="772602" y="698744"/>
                </a:cubicBezTo>
                <a:cubicBezTo>
                  <a:pt x="779892" y="700566"/>
                  <a:pt x="767136" y="693278"/>
                  <a:pt x="776246" y="695100"/>
                </a:cubicBezTo>
                <a:cubicBezTo>
                  <a:pt x="774424" y="700566"/>
                  <a:pt x="778070" y="704211"/>
                  <a:pt x="781713" y="709677"/>
                </a:cubicBezTo>
                <a:cubicBezTo>
                  <a:pt x="781713" y="709677"/>
                  <a:pt x="781713" y="707855"/>
                  <a:pt x="783535" y="707855"/>
                </a:cubicBezTo>
                <a:cubicBezTo>
                  <a:pt x="787179" y="711499"/>
                  <a:pt x="787179" y="713321"/>
                  <a:pt x="787179" y="716966"/>
                </a:cubicBezTo>
                <a:cubicBezTo>
                  <a:pt x="792646" y="713321"/>
                  <a:pt x="789003" y="707855"/>
                  <a:pt x="781713" y="706033"/>
                </a:cubicBezTo>
                <a:cubicBezTo>
                  <a:pt x="783535" y="704211"/>
                  <a:pt x="785357" y="706033"/>
                  <a:pt x="787179" y="702388"/>
                </a:cubicBezTo>
                <a:cubicBezTo>
                  <a:pt x="783535" y="698744"/>
                  <a:pt x="781713" y="696922"/>
                  <a:pt x="776246" y="695100"/>
                </a:cubicBezTo>
                <a:cubicBezTo>
                  <a:pt x="776246" y="694189"/>
                  <a:pt x="774879" y="692823"/>
                  <a:pt x="773285" y="692139"/>
                </a:cubicBezTo>
                <a:close/>
                <a:moveTo>
                  <a:pt x="3584278" y="691578"/>
                </a:moveTo>
                <a:lnTo>
                  <a:pt x="3586039" y="693278"/>
                </a:lnTo>
                <a:lnTo>
                  <a:pt x="3585432" y="693886"/>
                </a:lnTo>
                <a:close/>
                <a:moveTo>
                  <a:pt x="2817081" y="691455"/>
                </a:moveTo>
                <a:cubicBezTo>
                  <a:pt x="2817081" y="693278"/>
                  <a:pt x="2817081" y="695100"/>
                  <a:pt x="2818903" y="696922"/>
                </a:cubicBezTo>
                <a:cubicBezTo>
                  <a:pt x="2820726" y="698744"/>
                  <a:pt x="2822548" y="695100"/>
                  <a:pt x="2822548" y="693278"/>
                </a:cubicBezTo>
                <a:cubicBezTo>
                  <a:pt x="2820726" y="691455"/>
                  <a:pt x="2820726" y="689633"/>
                  <a:pt x="2817081" y="691455"/>
                </a:cubicBezTo>
                <a:close/>
                <a:moveTo>
                  <a:pt x="2627575" y="691455"/>
                </a:moveTo>
                <a:cubicBezTo>
                  <a:pt x="2623931" y="698744"/>
                  <a:pt x="2634864" y="702388"/>
                  <a:pt x="2638508" y="704211"/>
                </a:cubicBezTo>
                <a:cubicBezTo>
                  <a:pt x="2638508" y="698744"/>
                  <a:pt x="2636686" y="693278"/>
                  <a:pt x="2636686" y="691455"/>
                </a:cubicBezTo>
                <a:cubicBezTo>
                  <a:pt x="2633042" y="693278"/>
                  <a:pt x="2631219" y="691455"/>
                  <a:pt x="2631219" y="696922"/>
                </a:cubicBezTo>
                <a:cubicBezTo>
                  <a:pt x="2629397" y="695100"/>
                  <a:pt x="2629397" y="695100"/>
                  <a:pt x="2627575" y="691455"/>
                </a:cubicBezTo>
                <a:close/>
                <a:moveTo>
                  <a:pt x="1073262" y="691455"/>
                </a:moveTo>
                <a:cubicBezTo>
                  <a:pt x="1071439" y="691455"/>
                  <a:pt x="1067794" y="693278"/>
                  <a:pt x="1065972" y="695100"/>
                </a:cubicBezTo>
                <a:cubicBezTo>
                  <a:pt x="1069616" y="696922"/>
                  <a:pt x="1075083" y="693278"/>
                  <a:pt x="1073262" y="691455"/>
                </a:cubicBezTo>
                <a:close/>
                <a:moveTo>
                  <a:pt x="730692" y="691455"/>
                </a:moveTo>
                <a:lnTo>
                  <a:pt x="734944" y="693886"/>
                </a:lnTo>
                <a:lnTo>
                  <a:pt x="736159" y="695100"/>
                </a:lnTo>
                <a:cubicBezTo>
                  <a:pt x="734336" y="693278"/>
                  <a:pt x="734336" y="691455"/>
                  <a:pt x="730692" y="691455"/>
                </a:cubicBezTo>
                <a:close/>
                <a:moveTo>
                  <a:pt x="2809793" y="689633"/>
                </a:moveTo>
                <a:cubicBezTo>
                  <a:pt x="2809793" y="691455"/>
                  <a:pt x="2811615" y="691455"/>
                  <a:pt x="2813437" y="695100"/>
                </a:cubicBezTo>
                <a:cubicBezTo>
                  <a:pt x="2815259" y="695100"/>
                  <a:pt x="2815259" y="693278"/>
                  <a:pt x="2815259" y="689633"/>
                </a:cubicBezTo>
                <a:cubicBezTo>
                  <a:pt x="2811615" y="687811"/>
                  <a:pt x="2811615" y="689633"/>
                  <a:pt x="2809793" y="689633"/>
                </a:cubicBezTo>
                <a:close/>
                <a:moveTo>
                  <a:pt x="1211747" y="689633"/>
                </a:moveTo>
                <a:cubicBezTo>
                  <a:pt x="1208102" y="689633"/>
                  <a:pt x="1204457" y="695100"/>
                  <a:pt x="1200814" y="698744"/>
                </a:cubicBezTo>
                <a:cubicBezTo>
                  <a:pt x="1204457" y="698744"/>
                  <a:pt x="1206279" y="693278"/>
                  <a:pt x="1209925" y="691455"/>
                </a:cubicBezTo>
                <a:cubicBezTo>
                  <a:pt x="1209925" y="695100"/>
                  <a:pt x="1204457" y="696922"/>
                  <a:pt x="1200814" y="700566"/>
                </a:cubicBezTo>
                <a:cubicBezTo>
                  <a:pt x="1206279" y="700566"/>
                  <a:pt x="1213568" y="691455"/>
                  <a:pt x="1211747" y="689633"/>
                </a:cubicBezTo>
                <a:close/>
                <a:moveTo>
                  <a:pt x="1104238" y="689633"/>
                </a:moveTo>
                <a:cubicBezTo>
                  <a:pt x="1100593" y="693278"/>
                  <a:pt x="1093305" y="698744"/>
                  <a:pt x="1091484" y="702388"/>
                </a:cubicBezTo>
                <a:cubicBezTo>
                  <a:pt x="1095127" y="702388"/>
                  <a:pt x="1100593" y="695100"/>
                  <a:pt x="1104238" y="689633"/>
                </a:cubicBezTo>
                <a:close/>
                <a:moveTo>
                  <a:pt x="1022240" y="689633"/>
                </a:moveTo>
                <a:cubicBezTo>
                  <a:pt x="1020418" y="691455"/>
                  <a:pt x="1020418" y="693278"/>
                  <a:pt x="1018596" y="695100"/>
                </a:cubicBezTo>
                <a:cubicBezTo>
                  <a:pt x="1020418" y="696922"/>
                  <a:pt x="1024062" y="691455"/>
                  <a:pt x="1022240" y="689633"/>
                </a:cubicBezTo>
                <a:close/>
                <a:moveTo>
                  <a:pt x="932953" y="689633"/>
                </a:moveTo>
                <a:cubicBezTo>
                  <a:pt x="929309" y="693278"/>
                  <a:pt x="927487" y="698744"/>
                  <a:pt x="932953" y="700566"/>
                </a:cubicBezTo>
                <a:cubicBezTo>
                  <a:pt x="936598" y="696922"/>
                  <a:pt x="936598" y="695100"/>
                  <a:pt x="938420" y="691455"/>
                </a:cubicBezTo>
                <a:cubicBezTo>
                  <a:pt x="936598" y="691455"/>
                  <a:pt x="934777" y="689633"/>
                  <a:pt x="932953" y="689633"/>
                </a:cubicBezTo>
                <a:close/>
                <a:moveTo>
                  <a:pt x="911087" y="689633"/>
                </a:moveTo>
                <a:lnTo>
                  <a:pt x="911087" y="689634"/>
                </a:lnTo>
                <a:lnTo>
                  <a:pt x="911086" y="689634"/>
                </a:lnTo>
                <a:close/>
                <a:moveTo>
                  <a:pt x="900154" y="689633"/>
                </a:moveTo>
                <a:cubicBezTo>
                  <a:pt x="896510" y="687811"/>
                  <a:pt x="896510" y="691455"/>
                  <a:pt x="896510" y="693278"/>
                </a:cubicBezTo>
                <a:cubicBezTo>
                  <a:pt x="894688" y="691455"/>
                  <a:pt x="894688" y="691455"/>
                  <a:pt x="894688" y="691455"/>
                </a:cubicBezTo>
                <a:cubicBezTo>
                  <a:pt x="894688" y="691455"/>
                  <a:pt x="892866" y="691455"/>
                  <a:pt x="892866" y="691455"/>
                </a:cubicBezTo>
                <a:cubicBezTo>
                  <a:pt x="894688" y="693278"/>
                  <a:pt x="896510" y="695100"/>
                  <a:pt x="898333" y="695100"/>
                </a:cubicBezTo>
                <a:cubicBezTo>
                  <a:pt x="896510" y="698744"/>
                  <a:pt x="896510" y="698744"/>
                  <a:pt x="896510" y="700566"/>
                </a:cubicBezTo>
                <a:cubicBezTo>
                  <a:pt x="898333" y="700566"/>
                  <a:pt x="901976" y="702388"/>
                  <a:pt x="903799" y="700566"/>
                </a:cubicBezTo>
                <a:cubicBezTo>
                  <a:pt x="900154" y="698744"/>
                  <a:pt x="903799" y="695100"/>
                  <a:pt x="900154" y="693278"/>
                </a:cubicBezTo>
                <a:cubicBezTo>
                  <a:pt x="900154" y="693278"/>
                  <a:pt x="898333" y="695100"/>
                  <a:pt x="898333" y="695100"/>
                </a:cubicBezTo>
                <a:cubicBezTo>
                  <a:pt x="898333" y="693278"/>
                  <a:pt x="898333" y="691455"/>
                  <a:pt x="900154" y="689633"/>
                </a:cubicBezTo>
                <a:close/>
                <a:moveTo>
                  <a:pt x="856422" y="689633"/>
                </a:moveTo>
                <a:cubicBezTo>
                  <a:pt x="850956" y="691455"/>
                  <a:pt x="854600" y="696922"/>
                  <a:pt x="860066" y="698744"/>
                </a:cubicBezTo>
                <a:cubicBezTo>
                  <a:pt x="865533" y="695100"/>
                  <a:pt x="854600" y="691455"/>
                  <a:pt x="856422" y="689633"/>
                </a:cubicBezTo>
                <a:close/>
                <a:moveTo>
                  <a:pt x="827267" y="689633"/>
                </a:moveTo>
                <a:cubicBezTo>
                  <a:pt x="823623" y="693278"/>
                  <a:pt x="819979" y="693278"/>
                  <a:pt x="821801" y="696922"/>
                </a:cubicBezTo>
                <a:cubicBezTo>
                  <a:pt x="821801" y="696922"/>
                  <a:pt x="829089" y="691455"/>
                  <a:pt x="827267" y="689633"/>
                </a:cubicBezTo>
                <a:close/>
                <a:moveTo>
                  <a:pt x="437322" y="689633"/>
                </a:moveTo>
                <a:cubicBezTo>
                  <a:pt x="438233" y="690544"/>
                  <a:pt x="439601" y="691456"/>
                  <a:pt x="440283" y="692367"/>
                </a:cubicBezTo>
                <a:lnTo>
                  <a:pt x="440216" y="692528"/>
                </a:lnTo>
                <a:close/>
                <a:moveTo>
                  <a:pt x="282438" y="689633"/>
                </a:moveTo>
                <a:cubicBezTo>
                  <a:pt x="267860" y="696922"/>
                  <a:pt x="280615" y="702388"/>
                  <a:pt x="287904" y="707855"/>
                </a:cubicBezTo>
                <a:cubicBezTo>
                  <a:pt x="287904" y="706033"/>
                  <a:pt x="282438" y="700566"/>
                  <a:pt x="280615" y="700566"/>
                </a:cubicBezTo>
                <a:cubicBezTo>
                  <a:pt x="286082" y="696922"/>
                  <a:pt x="286082" y="707855"/>
                  <a:pt x="289726" y="706033"/>
                </a:cubicBezTo>
                <a:cubicBezTo>
                  <a:pt x="287904" y="700566"/>
                  <a:pt x="282438" y="696922"/>
                  <a:pt x="282438" y="689633"/>
                </a:cubicBezTo>
                <a:close/>
                <a:moveTo>
                  <a:pt x="242349" y="689633"/>
                </a:moveTo>
                <a:cubicBezTo>
                  <a:pt x="242349" y="695100"/>
                  <a:pt x="251460" y="704211"/>
                  <a:pt x="255105" y="709677"/>
                </a:cubicBezTo>
                <a:cubicBezTo>
                  <a:pt x="256927" y="707855"/>
                  <a:pt x="255105" y="704211"/>
                  <a:pt x="253282" y="702388"/>
                </a:cubicBezTo>
                <a:cubicBezTo>
                  <a:pt x="258749" y="706033"/>
                  <a:pt x="258749" y="713321"/>
                  <a:pt x="260571" y="716966"/>
                </a:cubicBezTo>
                <a:cubicBezTo>
                  <a:pt x="260571" y="706033"/>
                  <a:pt x="253282" y="693278"/>
                  <a:pt x="242349" y="689633"/>
                </a:cubicBezTo>
                <a:close/>
                <a:moveTo>
                  <a:pt x="158529" y="689633"/>
                </a:moveTo>
                <a:cubicBezTo>
                  <a:pt x="167640" y="722432"/>
                  <a:pt x="191329" y="747943"/>
                  <a:pt x="213195" y="771631"/>
                </a:cubicBezTo>
                <a:lnTo>
                  <a:pt x="195035" y="744960"/>
                </a:lnTo>
                <a:lnTo>
                  <a:pt x="205082" y="755621"/>
                </a:lnTo>
                <a:lnTo>
                  <a:pt x="206361" y="757737"/>
                </a:lnTo>
                <a:cubicBezTo>
                  <a:pt x="208184" y="761154"/>
                  <a:pt x="210461" y="764343"/>
                  <a:pt x="215017" y="766164"/>
                </a:cubicBezTo>
                <a:lnTo>
                  <a:pt x="205082" y="755621"/>
                </a:lnTo>
                <a:lnTo>
                  <a:pt x="200439" y="747943"/>
                </a:lnTo>
                <a:cubicBezTo>
                  <a:pt x="200439" y="747943"/>
                  <a:pt x="200439" y="744298"/>
                  <a:pt x="202262" y="744298"/>
                </a:cubicBezTo>
                <a:cubicBezTo>
                  <a:pt x="205906" y="747943"/>
                  <a:pt x="207728" y="749765"/>
                  <a:pt x="211372" y="753409"/>
                </a:cubicBezTo>
                <a:cubicBezTo>
                  <a:pt x="213195" y="751587"/>
                  <a:pt x="213195" y="749765"/>
                  <a:pt x="211372" y="747943"/>
                </a:cubicBezTo>
                <a:cubicBezTo>
                  <a:pt x="213195" y="747943"/>
                  <a:pt x="215017" y="747943"/>
                  <a:pt x="215017" y="749765"/>
                </a:cubicBezTo>
                <a:cubicBezTo>
                  <a:pt x="207728" y="733365"/>
                  <a:pt x="194973" y="722432"/>
                  <a:pt x="178573" y="713321"/>
                </a:cubicBezTo>
                <a:lnTo>
                  <a:pt x="185217" y="727038"/>
                </a:lnTo>
                <a:lnTo>
                  <a:pt x="174929" y="706033"/>
                </a:lnTo>
                <a:cubicBezTo>
                  <a:pt x="167640" y="702388"/>
                  <a:pt x="167640" y="691455"/>
                  <a:pt x="158529" y="689633"/>
                </a:cubicBezTo>
                <a:close/>
                <a:moveTo>
                  <a:pt x="1308321" y="689178"/>
                </a:moveTo>
                <a:cubicBezTo>
                  <a:pt x="1306954" y="690089"/>
                  <a:pt x="1305588" y="691455"/>
                  <a:pt x="1304677" y="691455"/>
                </a:cubicBezTo>
                <a:cubicBezTo>
                  <a:pt x="1304677" y="695100"/>
                  <a:pt x="1311966" y="691455"/>
                  <a:pt x="1311966" y="689633"/>
                </a:cubicBezTo>
                <a:cubicBezTo>
                  <a:pt x="1311054" y="687811"/>
                  <a:pt x="1309688" y="688267"/>
                  <a:pt x="1308321" y="689178"/>
                </a:cubicBezTo>
                <a:close/>
                <a:moveTo>
                  <a:pt x="2948876" y="688523"/>
                </a:moveTo>
                <a:cubicBezTo>
                  <a:pt x="2945203" y="688723"/>
                  <a:pt x="2941901" y="690089"/>
                  <a:pt x="2939167" y="693278"/>
                </a:cubicBezTo>
                <a:cubicBezTo>
                  <a:pt x="2937345" y="695100"/>
                  <a:pt x="2946456" y="698744"/>
                  <a:pt x="2948278" y="704211"/>
                </a:cubicBezTo>
                <a:cubicBezTo>
                  <a:pt x="2944634" y="696922"/>
                  <a:pt x="2955566" y="696922"/>
                  <a:pt x="2957389" y="693278"/>
                </a:cubicBezTo>
                <a:cubicBezTo>
                  <a:pt x="2957389" y="695100"/>
                  <a:pt x="2961033" y="696922"/>
                  <a:pt x="2959211" y="696922"/>
                </a:cubicBezTo>
                <a:cubicBezTo>
                  <a:pt x="2951922" y="698744"/>
                  <a:pt x="2948278" y="706033"/>
                  <a:pt x="2950100" y="713321"/>
                </a:cubicBezTo>
                <a:cubicBezTo>
                  <a:pt x="2953744" y="711499"/>
                  <a:pt x="2955566" y="713321"/>
                  <a:pt x="2957389" y="715144"/>
                </a:cubicBezTo>
                <a:cubicBezTo>
                  <a:pt x="2959211" y="722432"/>
                  <a:pt x="2950100" y="718788"/>
                  <a:pt x="2948278" y="720610"/>
                </a:cubicBezTo>
                <a:cubicBezTo>
                  <a:pt x="2944634" y="726077"/>
                  <a:pt x="2957389" y="726077"/>
                  <a:pt x="2955566" y="733365"/>
                </a:cubicBezTo>
                <a:cubicBezTo>
                  <a:pt x="2946456" y="713321"/>
                  <a:pt x="2926412" y="722432"/>
                  <a:pt x="2917301" y="740654"/>
                </a:cubicBezTo>
                <a:cubicBezTo>
                  <a:pt x="2917301" y="742476"/>
                  <a:pt x="2915479" y="737010"/>
                  <a:pt x="2913656" y="735188"/>
                </a:cubicBezTo>
                <a:cubicBezTo>
                  <a:pt x="2910012" y="744298"/>
                  <a:pt x="2906368" y="758876"/>
                  <a:pt x="2917301" y="764342"/>
                </a:cubicBezTo>
                <a:cubicBezTo>
                  <a:pt x="2910012" y="767987"/>
                  <a:pt x="2904546" y="760698"/>
                  <a:pt x="2902724" y="769809"/>
                </a:cubicBezTo>
                <a:cubicBezTo>
                  <a:pt x="2902724" y="771631"/>
                  <a:pt x="2902724" y="775275"/>
                  <a:pt x="2902724" y="777098"/>
                </a:cubicBezTo>
                <a:cubicBezTo>
                  <a:pt x="2897257" y="769809"/>
                  <a:pt x="2902724" y="764342"/>
                  <a:pt x="2904546" y="757054"/>
                </a:cubicBezTo>
                <a:cubicBezTo>
                  <a:pt x="2895435" y="757054"/>
                  <a:pt x="2893613" y="749765"/>
                  <a:pt x="2888146" y="742476"/>
                </a:cubicBezTo>
                <a:cubicBezTo>
                  <a:pt x="2888146" y="740654"/>
                  <a:pt x="2888146" y="738832"/>
                  <a:pt x="2889968" y="738832"/>
                </a:cubicBezTo>
                <a:cubicBezTo>
                  <a:pt x="2893613" y="738832"/>
                  <a:pt x="2897257" y="742476"/>
                  <a:pt x="2900901" y="746121"/>
                </a:cubicBezTo>
                <a:cubicBezTo>
                  <a:pt x="2915479" y="727899"/>
                  <a:pt x="2888146" y="718788"/>
                  <a:pt x="2880857" y="704211"/>
                </a:cubicBezTo>
                <a:cubicBezTo>
                  <a:pt x="2875391" y="713321"/>
                  <a:pt x="2875391" y="722432"/>
                  <a:pt x="2868102" y="731543"/>
                </a:cubicBezTo>
                <a:cubicBezTo>
                  <a:pt x="2868102" y="737010"/>
                  <a:pt x="2860813" y="733365"/>
                  <a:pt x="2858991" y="737010"/>
                </a:cubicBezTo>
                <a:cubicBezTo>
                  <a:pt x="2862636" y="731543"/>
                  <a:pt x="2864458" y="722432"/>
                  <a:pt x="2855347" y="720610"/>
                </a:cubicBezTo>
                <a:cubicBezTo>
                  <a:pt x="2860813" y="716966"/>
                  <a:pt x="2862636" y="729721"/>
                  <a:pt x="2866280" y="724254"/>
                </a:cubicBezTo>
                <a:cubicBezTo>
                  <a:pt x="2869924" y="720610"/>
                  <a:pt x="2864458" y="715144"/>
                  <a:pt x="2862636" y="709677"/>
                </a:cubicBezTo>
                <a:cubicBezTo>
                  <a:pt x="2857169" y="700566"/>
                  <a:pt x="2842592" y="696922"/>
                  <a:pt x="2833481" y="704211"/>
                </a:cubicBezTo>
                <a:cubicBezTo>
                  <a:pt x="2833481" y="706033"/>
                  <a:pt x="2833481" y="706033"/>
                  <a:pt x="2835303" y="707855"/>
                </a:cubicBezTo>
                <a:cubicBezTo>
                  <a:pt x="2831659" y="706033"/>
                  <a:pt x="2826192" y="706033"/>
                  <a:pt x="2824370" y="707855"/>
                </a:cubicBezTo>
                <a:cubicBezTo>
                  <a:pt x="2817081" y="713321"/>
                  <a:pt x="2807971" y="711499"/>
                  <a:pt x="2800682" y="715144"/>
                </a:cubicBezTo>
                <a:cubicBezTo>
                  <a:pt x="2786104" y="722432"/>
                  <a:pt x="2771527" y="742476"/>
                  <a:pt x="2787927" y="751587"/>
                </a:cubicBezTo>
                <a:cubicBezTo>
                  <a:pt x="2797037" y="755231"/>
                  <a:pt x="2809793" y="746121"/>
                  <a:pt x="2820726" y="744298"/>
                </a:cubicBezTo>
                <a:cubicBezTo>
                  <a:pt x="2818903" y="747943"/>
                  <a:pt x="2817081" y="751587"/>
                  <a:pt x="2818903" y="755231"/>
                </a:cubicBezTo>
                <a:cubicBezTo>
                  <a:pt x="2817081" y="755231"/>
                  <a:pt x="2815259" y="753409"/>
                  <a:pt x="2815259" y="753409"/>
                </a:cubicBezTo>
                <a:cubicBezTo>
                  <a:pt x="2800682" y="753409"/>
                  <a:pt x="2782460" y="753409"/>
                  <a:pt x="2775171" y="767987"/>
                </a:cubicBezTo>
                <a:cubicBezTo>
                  <a:pt x="2775171" y="769809"/>
                  <a:pt x="2775171" y="771631"/>
                  <a:pt x="2775171" y="773453"/>
                </a:cubicBezTo>
                <a:cubicBezTo>
                  <a:pt x="2773349" y="773453"/>
                  <a:pt x="2773349" y="771631"/>
                  <a:pt x="2771527" y="771631"/>
                </a:cubicBezTo>
                <a:cubicBezTo>
                  <a:pt x="2771527" y="777098"/>
                  <a:pt x="2776993" y="778920"/>
                  <a:pt x="2778816" y="784386"/>
                </a:cubicBezTo>
                <a:cubicBezTo>
                  <a:pt x="2771527" y="782564"/>
                  <a:pt x="2767882" y="778920"/>
                  <a:pt x="2762416" y="775275"/>
                </a:cubicBezTo>
                <a:cubicBezTo>
                  <a:pt x="2760594" y="782564"/>
                  <a:pt x="2766060" y="791675"/>
                  <a:pt x="2773349" y="789853"/>
                </a:cubicBezTo>
                <a:cubicBezTo>
                  <a:pt x="2775171" y="788031"/>
                  <a:pt x="2778816" y="788031"/>
                  <a:pt x="2780638" y="784386"/>
                </a:cubicBezTo>
                <a:cubicBezTo>
                  <a:pt x="2782460" y="789853"/>
                  <a:pt x="2786104" y="795319"/>
                  <a:pt x="2793393" y="793497"/>
                </a:cubicBezTo>
                <a:cubicBezTo>
                  <a:pt x="2795215" y="793497"/>
                  <a:pt x="2795215" y="795319"/>
                  <a:pt x="2793393" y="797141"/>
                </a:cubicBezTo>
                <a:cubicBezTo>
                  <a:pt x="2791571" y="797141"/>
                  <a:pt x="2789749" y="797141"/>
                  <a:pt x="2787927" y="797141"/>
                </a:cubicBezTo>
                <a:cubicBezTo>
                  <a:pt x="2789749" y="806252"/>
                  <a:pt x="2809793" y="813541"/>
                  <a:pt x="2798860" y="820830"/>
                </a:cubicBezTo>
                <a:cubicBezTo>
                  <a:pt x="2797037" y="822652"/>
                  <a:pt x="2793393" y="813541"/>
                  <a:pt x="2786104" y="815363"/>
                </a:cubicBezTo>
                <a:cubicBezTo>
                  <a:pt x="2787927" y="802608"/>
                  <a:pt x="2775171" y="791675"/>
                  <a:pt x="2764238" y="789853"/>
                </a:cubicBezTo>
                <a:cubicBezTo>
                  <a:pt x="2767882" y="800786"/>
                  <a:pt x="2775171" y="808074"/>
                  <a:pt x="2784282" y="813541"/>
                </a:cubicBezTo>
                <a:cubicBezTo>
                  <a:pt x="2771527" y="815363"/>
                  <a:pt x="2767882" y="798964"/>
                  <a:pt x="2756950" y="795319"/>
                </a:cubicBezTo>
                <a:cubicBezTo>
                  <a:pt x="2755127" y="795319"/>
                  <a:pt x="2755127" y="798964"/>
                  <a:pt x="2755127" y="800786"/>
                </a:cubicBezTo>
                <a:cubicBezTo>
                  <a:pt x="2744194" y="804430"/>
                  <a:pt x="2733261" y="793497"/>
                  <a:pt x="2722328" y="797141"/>
                </a:cubicBezTo>
                <a:cubicBezTo>
                  <a:pt x="2713217" y="798964"/>
                  <a:pt x="2698640" y="793497"/>
                  <a:pt x="2687707" y="791675"/>
                </a:cubicBezTo>
                <a:cubicBezTo>
                  <a:pt x="2689529" y="797141"/>
                  <a:pt x="2693174" y="800786"/>
                  <a:pt x="2691351" y="808074"/>
                </a:cubicBezTo>
                <a:cubicBezTo>
                  <a:pt x="2684063" y="806252"/>
                  <a:pt x="2678596" y="795319"/>
                  <a:pt x="2673130" y="802608"/>
                </a:cubicBezTo>
                <a:cubicBezTo>
                  <a:pt x="2660374" y="813541"/>
                  <a:pt x="2651263" y="828118"/>
                  <a:pt x="2662197" y="839051"/>
                </a:cubicBezTo>
                <a:cubicBezTo>
                  <a:pt x="2667663" y="846340"/>
                  <a:pt x="2680418" y="829941"/>
                  <a:pt x="2691351" y="826296"/>
                </a:cubicBezTo>
                <a:cubicBezTo>
                  <a:pt x="2693174" y="824474"/>
                  <a:pt x="2696818" y="828118"/>
                  <a:pt x="2698640" y="829941"/>
                </a:cubicBezTo>
                <a:cubicBezTo>
                  <a:pt x="2691351" y="833585"/>
                  <a:pt x="2682240" y="835407"/>
                  <a:pt x="2680418" y="844518"/>
                </a:cubicBezTo>
                <a:cubicBezTo>
                  <a:pt x="2674952" y="840874"/>
                  <a:pt x="2669485" y="844518"/>
                  <a:pt x="2665841" y="848162"/>
                </a:cubicBezTo>
                <a:cubicBezTo>
                  <a:pt x="2676774" y="855451"/>
                  <a:pt x="2673130" y="864562"/>
                  <a:pt x="2678596" y="873673"/>
                </a:cubicBezTo>
                <a:cubicBezTo>
                  <a:pt x="2680418" y="877317"/>
                  <a:pt x="2682240" y="877317"/>
                  <a:pt x="2685885" y="879139"/>
                </a:cubicBezTo>
                <a:cubicBezTo>
                  <a:pt x="2682240" y="879139"/>
                  <a:pt x="2685885" y="882784"/>
                  <a:pt x="2685885" y="886428"/>
                </a:cubicBezTo>
                <a:cubicBezTo>
                  <a:pt x="2682240" y="886428"/>
                  <a:pt x="2678596" y="880961"/>
                  <a:pt x="2676774" y="882784"/>
                </a:cubicBezTo>
                <a:cubicBezTo>
                  <a:pt x="2671307" y="888250"/>
                  <a:pt x="2678596" y="891894"/>
                  <a:pt x="2685885" y="893717"/>
                </a:cubicBezTo>
                <a:cubicBezTo>
                  <a:pt x="2685885" y="884606"/>
                  <a:pt x="2691351" y="888250"/>
                  <a:pt x="2696818" y="886428"/>
                </a:cubicBezTo>
                <a:cubicBezTo>
                  <a:pt x="2693174" y="884606"/>
                  <a:pt x="2689529" y="882784"/>
                  <a:pt x="2687707" y="877317"/>
                </a:cubicBezTo>
                <a:cubicBezTo>
                  <a:pt x="2691351" y="877317"/>
                  <a:pt x="2693174" y="879139"/>
                  <a:pt x="2696818" y="880961"/>
                </a:cubicBezTo>
                <a:cubicBezTo>
                  <a:pt x="2700462" y="875495"/>
                  <a:pt x="2705929" y="875495"/>
                  <a:pt x="2711395" y="877317"/>
                </a:cubicBezTo>
                <a:cubicBezTo>
                  <a:pt x="2711395" y="875495"/>
                  <a:pt x="2711395" y="873673"/>
                  <a:pt x="2711395" y="871851"/>
                </a:cubicBezTo>
                <a:cubicBezTo>
                  <a:pt x="2713218" y="872762"/>
                  <a:pt x="2715951" y="874129"/>
                  <a:pt x="2718229" y="875723"/>
                </a:cubicBezTo>
                <a:lnTo>
                  <a:pt x="2720791" y="878997"/>
                </a:lnTo>
                <a:lnTo>
                  <a:pt x="2716862" y="880961"/>
                </a:lnTo>
                <a:cubicBezTo>
                  <a:pt x="2716862" y="884606"/>
                  <a:pt x="2722328" y="884606"/>
                  <a:pt x="2724150" y="886428"/>
                </a:cubicBezTo>
                <a:cubicBezTo>
                  <a:pt x="2720506" y="890072"/>
                  <a:pt x="2713217" y="886428"/>
                  <a:pt x="2715040" y="880961"/>
                </a:cubicBezTo>
                <a:cubicBezTo>
                  <a:pt x="2713217" y="882784"/>
                  <a:pt x="2709573" y="884606"/>
                  <a:pt x="2705929" y="882784"/>
                </a:cubicBezTo>
                <a:cubicBezTo>
                  <a:pt x="2707751" y="891894"/>
                  <a:pt x="2720506" y="899183"/>
                  <a:pt x="2716862" y="906473"/>
                </a:cubicBezTo>
                <a:cubicBezTo>
                  <a:pt x="2713217" y="911939"/>
                  <a:pt x="2711395" y="897361"/>
                  <a:pt x="2707751" y="899183"/>
                </a:cubicBezTo>
                <a:cubicBezTo>
                  <a:pt x="2702284" y="901005"/>
                  <a:pt x="2709573" y="908295"/>
                  <a:pt x="2709573" y="913761"/>
                </a:cubicBezTo>
                <a:cubicBezTo>
                  <a:pt x="2718684" y="911939"/>
                  <a:pt x="2713217" y="919227"/>
                  <a:pt x="2720506" y="921049"/>
                </a:cubicBezTo>
                <a:cubicBezTo>
                  <a:pt x="2725973" y="922872"/>
                  <a:pt x="2729617" y="917405"/>
                  <a:pt x="2727795" y="911939"/>
                </a:cubicBezTo>
                <a:cubicBezTo>
                  <a:pt x="2742372" y="911939"/>
                  <a:pt x="2746016" y="888250"/>
                  <a:pt x="2735084" y="880961"/>
                </a:cubicBezTo>
                <a:cubicBezTo>
                  <a:pt x="2742372" y="882784"/>
                  <a:pt x="2740550" y="893717"/>
                  <a:pt x="2749661" y="893717"/>
                </a:cubicBezTo>
                <a:cubicBezTo>
                  <a:pt x="2747839" y="890072"/>
                  <a:pt x="2746016" y="886428"/>
                  <a:pt x="2742372" y="888250"/>
                </a:cubicBezTo>
                <a:cubicBezTo>
                  <a:pt x="2744194" y="888250"/>
                  <a:pt x="2744194" y="886428"/>
                  <a:pt x="2746016" y="886428"/>
                </a:cubicBezTo>
                <a:lnTo>
                  <a:pt x="2744194" y="884606"/>
                </a:lnTo>
                <a:cubicBezTo>
                  <a:pt x="2749661" y="884606"/>
                  <a:pt x="2747839" y="893717"/>
                  <a:pt x="2755127" y="893717"/>
                </a:cubicBezTo>
                <a:cubicBezTo>
                  <a:pt x="2744194" y="901005"/>
                  <a:pt x="2731439" y="910117"/>
                  <a:pt x="2727795" y="924695"/>
                </a:cubicBezTo>
                <a:cubicBezTo>
                  <a:pt x="2731439" y="922872"/>
                  <a:pt x="2736906" y="921049"/>
                  <a:pt x="2738728" y="926516"/>
                </a:cubicBezTo>
                <a:cubicBezTo>
                  <a:pt x="2736906" y="926516"/>
                  <a:pt x="2736906" y="926516"/>
                  <a:pt x="2735084" y="926516"/>
                </a:cubicBezTo>
                <a:cubicBezTo>
                  <a:pt x="2735084" y="935628"/>
                  <a:pt x="2742372" y="926516"/>
                  <a:pt x="2744194" y="928339"/>
                </a:cubicBezTo>
                <a:cubicBezTo>
                  <a:pt x="2746016" y="930160"/>
                  <a:pt x="2746016" y="933804"/>
                  <a:pt x="2742372" y="931983"/>
                </a:cubicBezTo>
                <a:cubicBezTo>
                  <a:pt x="2744194" y="933804"/>
                  <a:pt x="2747839" y="937450"/>
                  <a:pt x="2751483" y="933804"/>
                </a:cubicBezTo>
                <a:cubicBezTo>
                  <a:pt x="2755127" y="924695"/>
                  <a:pt x="2740550" y="926516"/>
                  <a:pt x="2744194" y="922872"/>
                </a:cubicBezTo>
                <a:cubicBezTo>
                  <a:pt x="2747839" y="917405"/>
                  <a:pt x="2766060" y="922872"/>
                  <a:pt x="2764238" y="931983"/>
                </a:cubicBezTo>
                <a:cubicBezTo>
                  <a:pt x="2762416" y="937450"/>
                  <a:pt x="2767882" y="946560"/>
                  <a:pt x="2764238" y="952026"/>
                </a:cubicBezTo>
                <a:cubicBezTo>
                  <a:pt x="2762416" y="953848"/>
                  <a:pt x="2760594" y="946560"/>
                  <a:pt x="2755127" y="948383"/>
                </a:cubicBezTo>
                <a:cubicBezTo>
                  <a:pt x="2758772" y="955672"/>
                  <a:pt x="2756950" y="964782"/>
                  <a:pt x="2762416" y="968427"/>
                </a:cubicBezTo>
                <a:cubicBezTo>
                  <a:pt x="2775171" y="981182"/>
                  <a:pt x="2778816" y="997582"/>
                  <a:pt x="2795215" y="1008515"/>
                </a:cubicBezTo>
                <a:cubicBezTo>
                  <a:pt x="2795215" y="1006692"/>
                  <a:pt x="2795215" y="1001226"/>
                  <a:pt x="2795215" y="999403"/>
                </a:cubicBezTo>
                <a:cubicBezTo>
                  <a:pt x="2798860" y="1001226"/>
                  <a:pt x="2802504" y="1008515"/>
                  <a:pt x="2806148" y="1010337"/>
                </a:cubicBezTo>
                <a:cubicBezTo>
                  <a:pt x="2804326" y="1008515"/>
                  <a:pt x="2802504" y="1008515"/>
                  <a:pt x="2800682" y="1008515"/>
                </a:cubicBezTo>
                <a:cubicBezTo>
                  <a:pt x="2804326" y="1013981"/>
                  <a:pt x="2809793" y="1013981"/>
                  <a:pt x="2813437" y="1015803"/>
                </a:cubicBezTo>
                <a:cubicBezTo>
                  <a:pt x="2813437" y="1013981"/>
                  <a:pt x="2813437" y="1012159"/>
                  <a:pt x="2813437" y="1010337"/>
                </a:cubicBezTo>
                <a:cubicBezTo>
                  <a:pt x="2815259" y="1010337"/>
                  <a:pt x="2818903" y="1010337"/>
                  <a:pt x="2818903" y="1012159"/>
                </a:cubicBezTo>
                <a:cubicBezTo>
                  <a:pt x="2817081" y="1023092"/>
                  <a:pt x="2828014" y="1026736"/>
                  <a:pt x="2833481" y="1021270"/>
                </a:cubicBezTo>
                <a:cubicBezTo>
                  <a:pt x="2835303" y="1019448"/>
                  <a:pt x="2833481" y="1012159"/>
                  <a:pt x="2835303" y="1006692"/>
                </a:cubicBezTo>
                <a:cubicBezTo>
                  <a:pt x="2835303" y="1015803"/>
                  <a:pt x="2844414" y="1028559"/>
                  <a:pt x="2837125" y="1030381"/>
                </a:cubicBezTo>
                <a:lnTo>
                  <a:pt x="2836045" y="1030150"/>
                </a:lnTo>
                <a:lnTo>
                  <a:pt x="2833481" y="1024914"/>
                </a:lnTo>
                <a:cubicBezTo>
                  <a:pt x="2832570" y="1026737"/>
                  <a:pt x="2833026" y="1028559"/>
                  <a:pt x="2833937" y="1029698"/>
                </a:cubicBezTo>
                <a:lnTo>
                  <a:pt x="2836045" y="1030150"/>
                </a:lnTo>
                <a:lnTo>
                  <a:pt x="2838947" y="1036075"/>
                </a:lnTo>
                <a:cubicBezTo>
                  <a:pt x="2843503" y="1038125"/>
                  <a:pt x="2848969" y="1039492"/>
                  <a:pt x="2849880" y="1043136"/>
                </a:cubicBezTo>
                <a:cubicBezTo>
                  <a:pt x="2848058" y="1039492"/>
                  <a:pt x="2857169" y="1032203"/>
                  <a:pt x="2849880" y="1028559"/>
                </a:cubicBezTo>
                <a:cubicBezTo>
                  <a:pt x="2857169" y="1026736"/>
                  <a:pt x="2858991" y="1017625"/>
                  <a:pt x="2860813" y="1013981"/>
                </a:cubicBezTo>
                <a:cubicBezTo>
                  <a:pt x="2869924" y="1001226"/>
                  <a:pt x="2893613" y="988471"/>
                  <a:pt x="2884502" y="970249"/>
                </a:cubicBezTo>
                <a:cubicBezTo>
                  <a:pt x="2886324" y="970249"/>
                  <a:pt x="2886324" y="972071"/>
                  <a:pt x="2888146" y="972071"/>
                </a:cubicBezTo>
                <a:cubicBezTo>
                  <a:pt x="2893613" y="968427"/>
                  <a:pt x="2882680" y="957494"/>
                  <a:pt x="2891790" y="957494"/>
                </a:cubicBezTo>
                <a:cubicBezTo>
                  <a:pt x="2879035" y="931983"/>
                  <a:pt x="2860813" y="890072"/>
                  <a:pt x="2831659" y="890072"/>
                </a:cubicBezTo>
                <a:cubicBezTo>
                  <a:pt x="2829837" y="890072"/>
                  <a:pt x="2826192" y="890072"/>
                  <a:pt x="2826192" y="888250"/>
                </a:cubicBezTo>
                <a:cubicBezTo>
                  <a:pt x="2826192" y="875495"/>
                  <a:pt x="2824370" y="864562"/>
                  <a:pt x="2822548" y="851807"/>
                </a:cubicBezTo>
                <a:cubicBezTo>
                  <a:pt x="2822548" y="849985"/>
                  <a:pt x="2828014" y="849985"/>
                  <a:pt x="2829837" y="848162"/>
                </a:cubicBezTo>
                <a:cubicBezTo>
                  <a:pt x="2822548" y="860918"/>
                  <a:pt x="2833481" y="871851"/>
                  <a:pt x="2831659" y="884606"/>
                </a:cubicBezTo>
                <a:cubicBezTo>
                  <a:pt x="2851703" y="875495"/>
                  <a:pt x="2868102" y="911939"/>
                  <a:pt x="2886324" y="921049"/>
                </a:cubicBezTo>
                <a:cubicBezTo>
                  <a:pt x="2886324" y="922872"/>
                  <a:pt x="2888146" y="917405"/>
                  <a:pt x="2888146" y="915583"/>
                </a:cubicBezTo>
                <a:cubicBezTo>
                  <a:pt x="2888146" y="915583"/>
                  <a:pt x="2888146" y="915583"/>
                  <a:pt x="2889968" y="917405"/>
                </a:cubicBezTo>
                <a:cubicBezTo>
                  <a:pt x="2880857" y="924695"/>
                  <a:pt x="2895435" y="930160"/>
                  <a:pt x="2897257" y="937450"/>
                </a:cubicBezTo>
                <a:cubicBezTo>
                  <a:pt x="2902724" y="930160"/>
                  <a:pt x="2913656" y="922872"/>
                  <a:pt x="2908190" y="913761"/>
                </a:cubicBezTo>
                <a:cubicBezTo>
                  <a:pt x="2915479" y="913761"/>
                  <a:pt x="2922767" y="906473"/>
                  <a:pt x="2920945" y="899183"/>
                </a:cubicBezTo>
                <a:cubicBezTo>
                  <a:pt x="2920945" y="897361"/>
                  <a:pt x="2915479" y="897361"/>
                  <a:pt x="2913656" y="895539"/>
                </a:cubicBezTo>
                <a:cubicBezTo>
                  <a:pt x="2917301" y="891894"/>
                  <a:pt x="2919123" y="899183"/>
                  <a:pt x="2922767" y="897361"/>
                </a:cubicBezTo>
                <a:cubicBezTo>
                  <a:pt x="2917301" y="891894"/>
                  <a:pt x="2917301" y="891894"/>
                  <a:pt x="2915479" y="884606"/>
                </a:cubicBezTo>
                <a:cubicBezTo>
                  <a:pt x="2919123" y="888250"/>
                  <a:pt x="2922767" y="893717"/>
                  <a:pt x="2930056" y="895539"/>
                </a:cubicBezTo>
                <a:cubicBezTo>
                  <a:pt x="2928234" y="880961"/>
                  <a:pt x="2908190" y="880961"/>
                  <a:pt x="2897257" y="877317"/>
                </a:cubicBezTo>
                <a:cubicBezTo>
                  <a:pt x="2893613" y="877317"/>
                  <a:pt x="2891790" y="871851"/>
                  <a:pt x="2886324" y="870028"/>
                </a:cubicBezTo>
                <a:cubicBezTo>
                  <a:pt x="2884502" y="870028"/>
                  <a:pt x="2882680" y="871851"/>
                  <a:pt x="2880857" y="871851"/>
                </a:cubicBezTo>
                <a:cubicBezTo>
                  <a:pt x="2868102" y="860918"/>
                  <a:pt x="2855347" y="855451"/>
                  <a:pt x="2838947" y="849985"/>
                </a:cubicBezTo>
                <a:cubicBezTo>
                  <a:pt x="2844414" y="849985"/>
                  <a:pt x="2851703" y="851807"/>
                  <a:pt x="2858991" y="853629"/>
                </a:cubicBezTo>
                <a:cubicBezTo>
                  <a:pt x="2882680" y="864562"/>
                  <a:pt x="2904546" y="875495"/>
                  <a:pt x="2930056" y="882784"/>
                </a:cubicBezTo>
                <a:cubicBezTo>
                  <a:pt x="2930056" y="884606"/>
                  <a:pt x="2933700" y="893717"/>
                  <a:pt x="2937345" y="891894"/>
                </a:cubicBezTo>
                <a:cubicBezTo>
                  <a:pt x="2966500" y="875495"/>
                  <a:pt x="2999299" y="873673"/>
                  <a:pt x="3026631" y="855451"/>
                </a:cubicBezTo>
                <a:cubicBezTo>
                  <a:pt x="3024809" y="855451"/>
                  <a:pt x="3021165" y="853629"/>
                  <a:pt x="3017521" y="853629"/>
                </a:cubicBezTo>
                <a:cubicBezTo>
                  <a:pt x="3017521" y="849985"/>
                  <a:pt x="3013876" y="846340"/>
                  <a:pt x="3019343" y="848162"/>
                </a:cubicBezTo>
                <a:cubicBezTo>
                  <a:pt x="3021165" y="849985"/>
                  <a:pt x="3019343" y="853629"/>
                  <a:pt x="3021165" y="853629"/>
                </a:cubicBezTo>
                <a:lnTo>
                  <a:pt x="3030103" y="849777"/>
                </a:lnTo>
                <a:lnTo>
                  <a:pt x="3028453" y="851807"/>
                </a:lnTo>
                <a:cubicBezTo>
                  <a:pt x="3032098" y="851807"/>
                  <a:pt x="3035742" y="851807"/>
                  <a:pt x="3035742" y="849985"/>
                </a:cubicBezTo>
                <a:lnTo>
                  <a:pt x="3032645" y="848681"/>
                </a:lnTo>
                <a:lnTo>
                  <a:pt x="3034376" y="847935"/>
                </a:lnTo>
                <a:cubicBezTo>
                  <a:pt x="3038020" y="844974"/>
                  <a:pt x="3040298" y="840874"/>
                  <a:pt x="3039387" y="835407"/>
                </a:cubicBezTo>
                <a:cubicBezTo>
                  <a:pt x="3033920" y="833585"/>
                  <a:pt x="3035742" y="826296"/>
                  <a:pt x="3032098" y="820830"/>
                </a:cubicBezTo>
                <a:cubicBezTo>
                  <a:pt x="3033920" y="820830"/>
                  <a:pt x="3035742" y="820830"/>
                  <a:pt x="3037564" y="822652"/>
                </a:cubicBezTo>
                <a:cubicBezTo>
                  <a:pt x="3033920" y="819008"/>
                  <a:pt x="3033920" y="811719"/>
                  <a:pt x="3035742" y="811719"/>
                </a:cubicBezTo>
                <a:cubicBezTo>
                  <a:pt x="3050319" y="811719"/>
                  <a:pt x="3057608" y="820830"/>
                  <a:pt x="3050319" y="835407"/>
                </a:cubicBezTo>
                <a:cubicBezTo>
                  <a:pt x="3053964" y="833585"/>
                  <a:pt x="3053964" y="835407"/>
                  <a:pt x="3055786" y="837229"/>
                </a:cubicBezTo>
                <a:cubicBezTo>
                  <a:pt x="3053964" y="839051"/>
                  <a:pt x="3055786" y="842696"/>
                  <a:pt x="3052142" y="840874"/>
                </a:cubicBezTo>
                <a:cubicBezTo>
                  <a:pt x="3053964" y="842696"/>
                  <a:pt x="3057608" y="844518"/>
                  <a:pt x="3059430" y="844518"/>
                </a:cubicBezTo>
                <a:cubicBezTo>
                  <a:pt x="3059430" y="840874"/>
                  <a:pt x="3057608" y="837229"/>
                  <a:pt x="3057608" y="833585"/>
                </a:cubicBezTo>
                <a:cubicBezTo>
                  <a:pt x="3057608" y="829941"/>
                  <a:pt x="3061253" y="831763"/>
                  <a:pt x="3063075" y="831763"/>
                </a:cubicBezTo>
                <a:cubicBezTo>
                  <a:pt x="3061253" y="822652"/>
                  <a:pt x="3050319" y="811719"/>
                  <a:pt x="3059430" y="804430"/>
                </a:cubicBezTo>
                <a:cubicBezTo>
                  <a:pt x="3061253" y="802608"/>
                  <a:pt x="3064897" y="806252"/>
                  <a:pt x="3064897" y="809897"/>
                </a:cubicBezTo>
                <a:cubicBezTo>
                  <a:pt x="3072186" y="804430"/>
                  <a:pt x="3075830" y="808074"/>
                  <a:pt x="3083119" y="809897"/>
                </a:cubicBezTo>
                <a:cubicBezTo>
                  <a:pt x="3084941" y="809897"/>
                  <a:pt x="3088585" y="809897"/>
                  <a:pt x="3088585" y="808074"/>
                </a:cubicBezTo>
                <a:cubicBezTo>
                  <a:pt x="3086763" y="777098"/>
                  <a:pt x="3081297" y="742476"/>
                  <a:pt x="3055786" y="722432"/>
                </a:cubicBezTo>
                <a:cubicBezTo>
                  <a:pt x="3048497" y="716966"/>
                  <a:pt x="3046675" y="729721"/>
                  <a:pt x="3039387" y="724254"/>
                </a:cubicBezTo>
                <a:cubicBezTo>
                  <a:pt x="3043031" y="722432"/>
                  <a:pt x="3043031" y="718788"/>
                  <a:pt x="3046675" y="720610"/>
                </a:cubicBezTo>
                <a:cubicBezTo>
                  <a:pt x="3044853" y="700566"/>
                  <a:pt x="3019343" y="702388"/>
                  <a:pt x="3004765" y="706033"/>
                </a:cubicBezTo>
                <a:cubicBezTo>
                  <a:pt x="3004765" y="696922"/>
                  <a:pt x="2993832" y="700566"/>
                  <a:pt x="2988366" y="698744"/>
                </a:cubicBezTo>
                <a:cubicBezTo>
                  <a:pt x="2988366" y="702388"/>
                  <a:pt x="2992010" y="707855"/>
                  <a:pt x="2990188" y="709677"/>
                </a:cubicBezTo>
                <a:cubicBezTo>
                  <a:pt x="2986543" y="711499"/>
                  <a:pt x="2982899" y="706033"/>
                  <a:pt x="2981077" y="704211"/>
                </a:cubicBezTo>
                <a:cubicBezTo>
                  <a:pt x="2981077" y="702388"/>
                  <a:pt x="2984721" y="700566"/>
                  <a:pt x="2986543" y="700566"/>
                </a:cubicBezTo>
                <a:cubicBezTo>
                  <a:pt x="2974244" y="697833"/>
                  <a:pt x="2959894" y="687925"/>
                  <a:pt x="2948876" y="688523"/>
                </a:cubicBezTo>
                <a:close/>
                <a:moveTo>
                  <a:pt x="3449376" y="687811"/>
                </a:moveTo>
                <a:cubicBezTo>
                  <a:pt x="3449376" y="685989"/>
                  <a:pt x="3442087" y="689633"/>
                  <a:pt x="3442087" y="693278"/>
                </a:cubicBezTo>
                <a:cubicBezTo>
                  <a:pt x="3442087" y="693278"/>
                  <a:pt x="3443909" y="693278"/>
                  <a:pt x="3447553" y="695100"/>
                </a:cubicBezTo>
                <a:cubicBezTo>
                  <a:pt x="3449376" y="693278"/>
                  <a:pt x="3445731" y="687811"/>
                  <a:pt x="3449376" y="687811"/>
                </a:cubicBezTo>
                <a:close/>
                <a:moveTo>
                  <a:pt x="2822548" y="687811"/>
                </a:moveTo>
                <a:cubicBezTo>
                  <a:pt x="2822548" y="691455"/>
                  <a:pt x="2824370" y="693278"/>
                  <a:pt x="2828014" y="693278"/>
                </a:cubicBezTo>
                <a:cubicBezTo>
                  <a:pt x="2828014" y="693278"/>
                  <a:pt x="2828014" y="691455"/>
                  <a:pt x="2828014" y="687811"/>
                </a:cubicBezTo>
                <a:cubicBezTo>
                  <a:pt x="2828014" y="687811"/>
                  <a:pt x="2826192" y="689633"/>
                  <a:pt x="2822548" y="687811"/>
                </a:cubicBezTo>
                <a:close/>
                <a:moveTo>
                  <a:pt x="2554688" y="687811"/>
                </a:moveTo>
                <a:lnTo>
                  <a:pt x="2554688" y="691455"/>
                </a:lnTo>
                <a:cubicBezTo>
                  <a:pt x="2554688" y="693278"/>
                  <a:pt x="2552866" y="695100"/>
                  <a:pt x="2554688" y="696922"/>
                </a:cubicBezTo>
                <a:cubicBezTo>
                  <a:pt x="2556510" y="695100"/>
                  <a:pt x="2558332" y="691455"/>
                  <a:pt x="2558332" y="687811"/>
                </a:cubicBezTo>
                <a:cubicBezTo>
                  <a:pt x="2558332" y="685989"/>
                  <a:pt x="2556510" y="685989"/>
                  <a:pt x="2554688" y="687811"/>
                </a:cubicBezTo>
                <a:close/>
                <a:moveTo>
                  <a:pt x="1202636" y="687811"/>
                </a:moveTo>
                <a:cubicBezTo>
                  <a:pt x="1200814" y="689633"/>
                  <a:pt x="1197169" y="691455"/>
                  <a:pt x="1195346" y="689633"/>
                </a:cubicBezTo>
                <a:lnTo>
                  <a:pt x="1202355" y="688232"/>
                </a:lnTo>
                <a:lnTo>
                  <a:pt x="1199446" y="692595"/>
                </a:lnTo>
                <a:cubicBezTo>
                  <a:pt x="1197168" y="692822"/>
                  <a:pt x="1194435" y="692367"/>
                  <a:pt x="1193525" y="693278"/>
                </a:cubicBezTo>
                <a:cubicBezTo>
                  <a:pt x="1189880" y="695100"/>
                  <a:pt x="1186236" y="700566"/>
                  <a:pt x="1188058" y="704211"/>
                </a:cubicBezTo>
                <a:cubicBezTo>
                  <a:pt x="1189880" y="702388"/>
                  <a:pt x="1191703" y="700566"/>
                  <a:pt x="1195346" y="698744"/>
                </a:cubicBezTo>
                <a:cubicBezTo>
                  <a:pt x="1195346" y="696922"/>
                  <a:pt x="1195346" y="695100"/>
                  <a:pt x="1193525" y="693278"/>
                </a:cubicBezTo>
                <a:cubicBezTo>
                  <a:pt x="1193525" y="695100"/>
                  <a:pt x="1195346" y="693278"/>
                  <a:pt x="1195346" y="693278"/>
                </a:cubicBezTo>
                <a:cubicBezTo>
                  <a:pt x="1195346" y="695100"/>
                  <a:pt x="1195346" y="695100"/>
                  <a:pt x="1195346" y="696922"/>
                </a:cubicBezTo>
                <a:cubicBezTo>
                  <a:pt x="1198991" y="696922"/>
                  <a:pt x="1202636" y="689633"/>
                  <a:pt x="1204457" y="687811"/>
                </a:cubicBezTo>
                <a:lnTo>
                  <a:pt x="1202355" y="688232"/>
                </a:lnTo>
                <a:close/>
                <a:moveTo>
                  <a:pt x="1147970" y="687811"/>
                </a:moveTo>
                <a:cubicBezTo>
                  <a:pt x="1146148" y="685989"/>
                  <a:pt x="1142503" y="689633"/>
                  <a:pt x="1144326" y="691455"/>
                </a:cubicBezTo>
                <a:cubicBezTo>
                  <a:pt x="1146148" y="689633"/>
                  <a:pt x="1147970" y="689633"/>
                  <a:pt x="1147970" y="687811"/>
                </a:cubicBezTo>
                <a:close/>
                <a:moveTo>
                  <a:pt x="1129748" y="687811"/>
                </a:moveTo>
                <a:cubicBezTo>
                  <a:pt x="1127926" y="687811"/>
                  <a:pt x="1124282" y="691455"/>
                  <a:pt x="1120637" y="693278"/>
                </a:cubicBezTo>
                <a:cubicBezTo>
                  <a:pt x="1122459" y="695100"/>
                  <a:pt x="1124282" y="689633"/>
                  <a:pt x="1126104" y="693278"/>
                </a:cubicBezTo>
                <a:cubicBezTo>
                  <a:pt x="1126104" y="691455"/>
                  <a:pt x="1129748" y="689633"/>
                  <a:pt x="1129748" y="687811"/>
                </a:cubicBezTo>
                <a:close/>
                <a:moveTo>
                  <a:pt x="991263" y="687811"/>
                </a:moveTo>
                <a:cubicBezTo>
                  <a:pt x="989441" y="687811"/>
                  <a:pt x="989441" y="689633"/>
                  <a:pt x="987619" y="691455"/>
                </a:cubicBezTo>
                <a:cubicBezTo>
                  <a:pt x="989441" y="693278"/>
                  <a:pt x="994907" y="687811"/>
                  <a:pt x="991263" y="687811"/>
                </a:cubicBezTo>
                <a:close/>
                <a:moveTo>
                  <a:pt x="770781" y="687811"/>
                </a:moveTo>
                <a:lnTo>
                  <a:pt x="777584" y="688783"/>
                </a:lnTo>
                <a:lnTo>
                  <a:pt x="776246" y="691455"/>
                </a:lnTo>
                <a:cubicBezTo>
                  <a:pt x="781713" y="695100"/>
                  <a:pt x="785357" y="696922"/>
                  <a:pt x="790824" y="700566"/>
                </a:cubicBezTo>
                <a:cubicBezTo>
                  <a:pt x="792646" y="696922"/>
                  <a:pt x="789003" y="695100"/>
                  <a:pt x="787179" y="693278"/>
                </a:cubicBezTo>
                <a:cubicBezTo>
                  <a:pt x="789003" y="693278"/>
                  <a:pt x="789003" y="693278"/>
                  <a:pt x="792646" y="693278"/>
                </a:cubicBezTo>
                <a:cubicBezTo>
                  <a:pt x="789003" y="687811"/>
                  <a:pt x="783535" y="689633"/>
                  <a:pt x="779892" y="691455"/>
                </a:cubicBezTo>
                <a:cubicBezTo>
                  <a:pt x="781713" y="691455"/>
                  <a:pt x="781713" y="691455"/>
                  <a:pt x="783535" y="689633"/>
                </a:cubicBezTo>
                <a:lnTo>
                  <a:pt x="777584" y="688783"/>
                </a:lnTo>
                <a:lnTo>
                  <a:pt x="778070" y="687811"/>
                </a:lnTo>
                <a:cubicBezTo>
                  <a:pt x="776246" y="687811"/>
                  <a:pt x="772602" y="687811"/>
                  <a:pt x="770781" y="687811"/>
                </a:cubicBezTo>
                <a:close/>
                <a:moveTo>
                  <a:pt x="564874" y="687811"/>
                </a:moveTo>
                <a:cubicBezTo>
                  <a:pt x="561230" y="691455"/>
                  <a:pt x="568519" y="693278"/>
                  <a:pt x="568519" y="696922"/>
                </a:cubicBezTo>
                <a:cubicBezTo>
                  <a:pt x="570341" y="695100"/>
                  <a:pt x="570341" y="695100"/>
                  <a:pt x="572163" y="695100"/>
                </a:cubicBezTo>
                <a:cubicBezTo>
                  <a:pt x="570341" y="696922"/>
                  <a:pt x="570341" y="696922"/>
                  <a:pt x="568519" y="698744"/>
                </a:cubicBezTo>
                <a:cubicBezTo>
                  <a:pt x="570341" y="700566"/>
                  <a:pt x="572163" y="704211"/>
                  <a:pt x="575808" y="706033"/>
                </a:cubicBezTo>
                <a:cubicBezTo>
                  <a:pt x="577630" y="704211"/>
                  <a:pt x="573985" y="702388"/>
                  <a:pt x="570341" y="700566"/>
                </a:cubicBezTo>
                <a:cubicBezTo>
                  <a:pt x="572163" y="698744"/>
                  <a:pt x="572163" y="702388"/>
                  <a:pt x="573985" y="702388"/>
                </a:cubicBezTo>
                <a:cubicBezTo>
                  <a:pt x="577630" y="700566"/>
                  <a:pt x="573985" y="696922"/>
                  <a:pt x="572163" y="695100"/>
                </a:cubicBezTo>
                <a:cubicBezTo>
                  <a:pt x="568519" y="691455"/>
                  <a:pt x="570341" y="689633"/>
                  <a:pt x="564874" y="687811"/>
                </a:cubicBezTo>
                <a:close/>
                <a:moveTo>
                  <a:pt x="477410" y="687811"/>
                </a:moveTo>
                <a:cubicBezTo>
                  <a:pt x="475589" y="687811"/>
                  <a:pt x="479232" y="693278"/>
                  <a:pt x="479232" y="691455"/>
                </a:cubicBezTo>
                <a:cubicBezTo>
                  <a:pt x="479232" y="689633"/>
                  <a:pt x="477410" y="689633"/>
                  <a:pt x="477410" y="687811"/>
                </a:cubicBezTo>
                <a:close/>
                <a:moveTo>
                  <a:pt x="766892" y="687726"/>
                </a:moveTo>
                <a:lnTo>
                  <a:pt x="767136" y="687811"/>
                </a:lnTo>
                <a:lnTo>
                  <a:pt x="767093" y="687948"/>
                </a:lnTo>
                <a:close/>
                <a:moveTo>
                  <a:pt x="917596" y="687290"/>
                </a:moveTo>
                <a:lnTo>
                  <a:pt x="914276" y="689634"/>
                </a:lnTo>
                <a:lnTo>
                  <a:pt x="912909" y="689634"/>
                </a:lnTo>
                <a:lnTo>
                  <a:pt x="912909" y="689633"/>
                </a:lnTo>
                <a:close/>
                <a:moveTo>
                  <a:pt x="2784282" y="685989"/>
                </a:moveTo>
                <a:cubicBezTo>
                  <a:pt x="2789749" y="695100"/>
                  <a:pt x="2784282" y="711499"/>
                  <a:pt x="2793393" y="704211"/>
                </a:cubicBezTo>
                <a:cubicBezTo>
                  <a:pt x="2797037" y="700566"/>
                  <a:pt x="2806148" y="704211"/>
                  <a:pt x="2811615" y="698744"/>
                </a:cubicBezTo>
                <a:cubicBezTo>
                  <a:pt x="2804326" y="689633"/>
                  <a:pt x="2795215" y="682345"/>
                  <a:pt x="2784282" y="685989"/>
                </a:cubicBezTo>
                <a:close/>
                <a:moveTo>
                  <a:pt x="2612998" y="685989"/>
                </a:moveTo>
                <a:cubicBezTo>
                  <a:pt x="2609353" y="691455"/>
                  <a:pt x="2618464" y="691455"/>
                  <a:pt x="2618464" y="698744"/>
                </a:cubicBezTo>
                <a:cubicBezTo>
                  <a:pt x="2622109" y="696922"/>
                  <a:pt x="2616642" y="687811"/>
                  <a:pt x="2612998" y="685989"/>
                </a:cubicBezTo>
                <a:close/>
                <a:moveTo>
                  <a:pt x="1386676" y="685989"/>
                </a:moveTo>
                <a:cubicBezTo>
                  <a:pt x="1383030" y="684167"/>
                  <a:pt x="1377564" y="687811"/>
                  <a:pt x="1375743" y="691455"/>
                </a:cubicBezTo>
                <a:cubicBezTo>
                  <a:pt x="1364809" y="695100"/>
                  <a:pt x="1352053" y="689633"/>
                  <a:pt x="1341120" y="695100"/>
                </a:cubicBezTo>
                <a:cubicBezTo>
                  <a:pt x="1332009" y="700566"/>
                  <a:pt x="1326543" y="709677"/>
                  <a:pt x="1313788" y="709677"/>
                </a:cubicBezTo>
                <a:cubicBezTo>
                  <a:pt x="1311966" y="711499"/>
                  <a:pt x="1310143" y="713321"/>
                  <a:pt x="1310143" y="715144"/>
                </a:cubicBezTo>
                <a:cubicBezTo>
                  <a:pt x="1308321" y="716966"/>
                  <a:pt x="1310143" y="713321"/>
                  <a:pt x="1308321" y="713321"/>
                </a:cubicBezTo>
                <a:cubicBezTo>
                  <a:pt x="1304677" y="713321"/>
                  <a:pt x="1301033" y="716966"/>
                  <a:pt x="1297388" y="720610"/>
                </a:cubicBezTo>
                <a:cubicBezTo>
                  <a:pt x="1302855" y="724254"/>
                  <a:pt x="1310143" y="722432"/>
                  <a:pt x="1311966" y="720610"/>
                </a:cubicBezTo>
                <a:cubicBezTo>
                  <a:pt x="1317432" y="726077"/>
                  <a:pt x="1332009" y="709677"/>
                  <a:pt x="1339299" y="709677"/>
                </a:cubicBezTo>
                <a:cubicBezTo>
                  <a:pt x="1342942" y="706033"/>
                  <a:pt x="1344765" y="704211"/>
                  <a:pt x="1344765" y="700566"/>
                </a:cubicBezTo>
                <a:cubicBezTo>
                  <a:pt x="1346587" y="698744"/>
                  <a:pt x="1346587" y="700566"/>
                  <a:pt x="1348410" y="700566"/>
                </a:cubicBezTo>
                <a:cubicBezTo>
                  <a:pt x="1346587" y="704211"/>
                  <a:pt x="1346587" y="706033"/>
                  <a:pt x="1344765" y="707855"/>
                </a:cubicBezTo>
                <a:cubicBezTo>
                  <a:pt x="1350231" y="713321"/>
                  <a:pt x="1359342" y="707855"/>
                  <a:pt x="1364809" y="702388"/>
                </a:cubicBezTo>
                <a:cubicBezTo>
                  <a:pt x="1364809" y="700566"/>
                  <a:pt x="1362987" y="700566"/>
                  <a:pt x="1362987" y="698744"/>
                </a:cubicBezTo>
                <a:cubicBezTo>
                  <a:pt x="1366632" y="700566"/>
                  <a:pt x="1370275" y="698744"/>
                  <a:pt x="1368453" y="695100"/>
                </a:cubicBezTo>
                <a:cubicBezTo>
                  <a:pt x="1370275" y="695100"/>
                  <a:pt x="1366632" y="700566"/>
                  <a:pt x="1368453" y="702388"/>
                </a:cubicBezTo>
                <a:cubicBezTo>
                  <a:pt x="1372097" y="700566"/>
                  <a:pt x="1372097" y="698744"/>
                  <a:pt x="1372097" y="696922"/>
                </a:cubicBezTo>
                <a:cubicBezTo>
                  <a:pt x="1373920" y="695100"/>
                  <a:pt x="1372097" y="698744"/>
                  <a:pt x="1373920" y="698744"/>
                </a:cubicBezTo>
                <a:cubicBezTo>
                  <a:pt x="1375743" y="696922"/>
                  <a:pt x="1375743" y="695100"/>
                  <a:pt x="1377564" y="696922"/>
                </a:cubicBezTo>
                <a:cubicBezTo>
                  <a:pt x="1379386" y="693278"/>
                  <a:pt x="1383030" y="689633"/>
                  <a:pt x="1386676" y="685989"/>
                </a:cubicBezTo>
                <a:close/>
                <a:moveTo>
                  <a:pt x="922020" y="685989"/>
                </a:moveTo>
                <a:cubicBezTo>
                  <a:pt x="922020" y="689633"/>
                  <a:pt x="922020" y="695100"/>
                  <a:pt x="920198" y="698744"/>
                </a:cubicBezTo>
                <a:cubicBezTo>
                  <a:pt x="925666" y="696922"/>
                  <a:pt x="922020" y="693278"/>
                  <a:pt x="925666" y="693278"/>
                </a:cubicBezTo>
                <a:cubicBezTo>
                  <a:pt x="927487" y="689633"/>
                  <a:pt x="925666" y="687811"/>
                  <a:pt x="922020" y="685989"/>
                </a:cubicBezTo>
                <a:close/>
                <a:moveTo>
                  <a:pt x="504743" y="685989"/>
                </a:moveTo>
                <a:cubicBezTo>
                  <a:pt x="501098" y="684167"/>
                  <a:pt x="502920" y="689633"/>
                  <a:pt x="504743" y="691455"/>
                </a:cubicBezTo>
                <a:cubicBezTo>
                  <a:pt x="506565" y="689633"/>
                  <a:pt x="504743" y="687811"/>
                  <a:pt x="504743" y="685989"/>
                </a:cubicBezTo>
                <a:close/>
                <a:moveTo>
                  <a:pt x="388123" y="685989"/>
                </a:moveTo>
                <a:cubicBezTo>
                  <a:pt x="384479" y="691455"/>
                  <a:pt x="386301" y="702388"/>
                  <a:pt x="395412" y="706033"/>
                </a:cubicBezTo>
                <a:cubicBezTo>
                  <a:pt x="399056" y="704211"/>
                  <a:pt x="397234" y="702388"/>
                  <a:pt x="400879" y="700566"/>
                </a:cubicBezTo>
                <a:lnTo>
                  <a:pt x="398680" y="699833"/>
                </a:lnTo>
                <a:lnTo>
                  <a:pt x="394956" y="692595"/>
                </a:lnTo>
                <a:cubicBezTo>
                  <a:pt x="392680" y="690089"/>
                  <a:pt x="389945" y="687811"/>
                  <a:pt x="388123" y="685989"/>
                </a:cubicBezTo>
                <a:close/>
                <a:moveTo>
                  <a:pt x="235061" y="685989"/>
                </a:moveTo>
                <a:cubicBezTo>
                  <a:pt x="235061" y="693278"/>
                  <a:pt x="249638" y="704211"/>
                  <a:pt x="253282" y="711499"/>
                </a:cubicBezTo>
                <a:cubicBezTo>
                  <a:pt x="249638" y="704211"/>
                  <a:pt x="242349" y="689633"/>
                  <a:pt x="235061" y="685989"/>
                </a:cubicBezTo>
                <a:close/>
                <a:moveTo>
                  <a:pt x="3177189" y="685534"/>
                </a:moveTo>
                <a:cubicBezTo>
                  <a:pt x="3171950" y="685078"/>
                  <a:pt x="3166939" y="685989"/>
                  <a:pt x="3163294" y="689633"/>
                </a:cubicBezTo>
                <a:cubicBezTo>
                  <a:pt x="3157828" y="691455"/>
                  <a:pt x="3146895" y="687811"/>
                  <a:pt x="3139606" y="689633"/>
                </a:cubicBezTo>
                <a:cubicBezTo>
                  <a:pt x="3145073" y="695100"/>
                  <a:pt x="3145073" y="704211"/>
                  <a:pt x="3154184" y="706033"/>
                </a:cubicBezTo>
                <a:cubicBezTo>
                  <a:pt x="3154184" y="702388"/>
                  <a:pt x="3154184" y="700566"/>
                  <a:pt x="3152361" y="698744"/>
                </a:cubicBezTo>
                <a:cubicBezTo>
                  <a:pt x="3159650" y="700566"/>
                  <a:pt x="3159650" y="707855"/>
                  <a:pt x="3163294" y="713321"/>
                </a:cubicBezTo>
                <a:cubicBezTo>
                  <a:pt x="3163294" y="716966"/>
                  <a:pt x="3154184" y="715144"/>
                  <a:pt x="3156006" y="718788"/>
                </a:cubicBezTo>
                <a:cubicBezTo>
                  <a:pt x="3150539" y="718788"/>
                  <a:pt x="3146895" y="715144"/>
                  <a:pt x="3143250" y="709677"/>
                </a:cubicBezTo>
                <a:cubicBezTo>
                  <a:pt x="3141428" y="709677"/>
                  <a:pt x="3139606" y="709677"/>
                  <a:pt x="3137784" y="709677"/>
                </a:cubicBezTo>
                <a:cubicBezTo>
                  <a:pt x="3141428" y="704211"/>
                  <a:pt x="3141428" y="698744"/>
                  <a:pt x="3139606" y="693278"/>
                </a:cubicBezTo>
                <a:cubicBezTo>
                  <a:pt x="3130495" y="696922"/>
                  <a:pt x="3134140" y="709677"/>
                  <a:pt x="3137784" y="716966"/>
                </a:cubicBezTo>
                <a:cubicBezTo>
                  <a:pt x="3132317" y="709677"/>
                  <a:pt x="3125029" y="695100"/>
                  <a:pt x="3117740" y="709677"/>
                </a:cubicBezTo>
                <a:cubicBezTo>
                  <a:pt x="3115918" y="711499"/>
                  <a:pt x="3117740" y="716966"/>
                  <a:pt x="3117740" y="718788"/>
                </a:cubicBezTo>
                <a:cubicBezTo>
                  <a:pt x="3117740" y="716966"/>
                  <a:pt x="3117740" y="715144"/>
                  <a:pt x="3115918" y="715144"/>
                </a:cubicBezTo>
                <a:cubicBezTo>
                  <a:pt x="3108629" y="713321"/>
                  <a:pt x="3112274" y="722432"/>
                  <a:pt x="3114096" y="726077"/>
                </a:cubicBezTo>
                <a:cubicBezTo>
                  <a:pt x="3110451" y="724254"/>
                  <a:pt x="3106807" y="720610"/>
                  <a:pt x="3101340" y="722432"/>
                </a:cubicBezTo>
                <a:cubicBezTo>
                  <a:pt x="3103163" y="726077"/>
                  <a:pt x="3101340" y="731543"/>
                  <a:pt x="3103163" y="733365"/>
                </a:cubicBezTo>
                <a:cubicBezTo>
                  <a:pt x="3099518" y="735188"/>
                  <a:pt x="3095874" y="733365"/>
                  <a:pt x="3094052" y="731543"/>
                </a:cubicBezTo>
                <a:cubicBezTo>
                  <a:pt x="3094052" y="735188"/>
                  <a:pt x="3094052" y="738832"/>
                  <a:pt x="3094052" y="742476"/>
                </a:cubicBezTo>
                <a:cubicBezTo>
                  <a:pt x="3094052" y="751587"/>
                  <a:pt x="3101340" y="760698"/>
                  <a:pt x="3110451" y="758876"/>
                </a:cubicBezTo>
                <a:cubicBezTo>
                  <a:pt x="3112274" y="758876"/>
                  <a:pt x="3119562" y="762520"/>
                  <a:pt x="3117740" y="755231"/>
                </a:cubicBezTo>
                <a:cubicBezTo>
                  <a:pt x="3123206" y="762520"/>
                  <a:pt x="3126851" y="767987"/>
                  <a:pt x="3134140" y="769809"/>
                </a:cubicBezTo>
                <a:cubicBezTo>
                  <a:pt x="3126851" y="771631"/>
                  <a:pt x="3119562" y="760698"/>
                  <a:pt x="3119562" y="769809"/>
                </a:cubicBezTo>
                <a:cubicBezTo>
                  <a:pt x="3119562" y="771631"/>
                  <a:pt x="3125029" y="771631"/>
                  <a:pt x="3126851" y="771631"/>
                </a:cubicBezTo>
                <a:cubicBezTo>
                  <a:pt x="3123206" y="773453"/>
                  <a:pt x="3117740" y="771631"/>
                  <a:pt x="3121384" y="778920"/>
                </a:cubicBezTo>
                <a:cubicBezTo>
                  <a:pt x="3120473" y="774365"/>
                  <a:pt x="3118196" y="772998"/>
                  <a:pt x="3115463" y="772543"/>
                </a:cubicBezTo>
                <a:lnTo>
                  <a:pt x="3107027" y="771655"/>
                </a:lnTo>
                <a:lnTo>
                  <a:pt x="3108629" y="769809"/>
                </a:lnTo>
                <a:cubicBezTo>
                  <a:pt x="3108629" y="771631"/>
                  <a:pt x="3106807" y="771631"/>
                  <a:pt x="3106807" y="771631"/>
                </a:cubicBezTo>
                <a:lnTo>
                  <a:pt x="3107027" y="771655"/>
                </a:lnTo>
                <a:lnTo>
                  <a:pt x="3105070" y="773909"/>
                </a:lnTo>
                <a:cubicBezTo>
                  <a:pt x="3104301" y="778009"/>
                  <a:pt x="3110451" y="782109"/>
                  <a:pt x="3110451" y="786208"/>
                </a:cubicBezTo>
                <a:cubicBezTo>
                  <a:pt x="3110451" y="788031"/>
                  <a:pt x="3106807" y="791675"/>
                  <a:pt x="3108629" y="793497"/>
                </a:cubicBezTo>
                <a:lnTo>
                  <a:pt x="3118119" y="795079"/>
                </a:lnTo>
                <a:lnTo>
                  <a:pt x="3112274" y="797141"/>
                </a:lnTo>
                <a:cubicBezTo>
                  <a:pt x="3115918" y="808074"/>
                  <a:pt x="3101340" y="828118"/>
                  <a:pt x="3117740" y="826296"/>
                </a:cubicBezTo>
                <a:cubicBezTo>
                  <a:pt x="3117740" y="829941"/>
                  <a:pt x="3114096" y="831763"/>
                  <a:pt x="3115918" y="831763"/>
                </a:cubicBezTo>
                <a:cubicBezTo>
                  <a:pt x="3121384" y="833585"/>
                  <a:pt x="3126851" y="829941"/>
                  <a:pt x="3128673" y="826296"/>
                </a:cubicBezTo>
                <a:cubicBezTo>
                  <a:pt x="3128673" y="824474"/>
                  <a:pt x="3125029" y="824474"/>
                  <a:pt x="3123206" y="824474"/>
                </a:cubicBezTo>
                <a:cubicBezTo>
                  <a:pt x="3128673" y="820830"/>
                  <a:pt x="3130495" y="820830"/>
                  <a:pt x="3130495" y="813541"/>
                </a:cubicBezTo>
                <a:cubicBezTo>
                  <a:pt x="3134140" y="813541"/>
                  <a:pt x="3137784" y="819008"/>
                  <a:pt x="3141428" y="820830"/>
                </a:cubicBezTo>
                <a:cubicBezTo>
                  <a:pt x="3143250" y="811719"/>
                  <a:pt x="3148717" y="802608"/>
                  <a:pt x="3145073" y="793497"/>
                </a:cubicBezTo>
                <a:cubicBezTo>
                  <a:pt x="3148717" y="793497"/>
                  <a:pt x="3148717" y="795319"/>
                  <a:pt x="3150539" y="797141"/>
                </a:cubicBezTo>
                <a:cubicBezTo>
                  <a:pt x="3150539" y="797141"/>
                  <a:pt x="3152361" y="797141"/>
                  <a:pt x="3152361" y="795319"/>
                </a:cubicBezTo>
                <a:cubicBezTo>
                  <a:pt x="3148717" y="802608"/>
                  <a:pt x="3145073" y="809897"/>
                  <a:pt x="3146895" y="819008"/>
                </a:cubicBezTo>
                <a:cubicBezTo>
                  <a:pt x="3152361" y="813541"/>
                  <a:pt x="3166939" y="820830"/>
                  <a:pt x="3165116" y="811719"/>
                </a:cubicBezTo>
                <a:cubicBezTo>
                  <a:pt x="3163294" y="811719"/>
                  <a:pt x="3161472" y="811719"/>
                  <a:pt x="3159650" y="813541"/>
                </a:cubicBezTo>
                <a:cubicBezTo>
                  <a:pt x="3161472" y="811719"/>
                  <a:pt x="3156006" y="806252"/>
                  <a:pt x="3159650" y="804430"/>
                </a:cubicBezTo>
                <a:cubicBezTo>
                  <a:pt x="3161472" y="802608"/>
                  <a:pt x="3166939" y="806252"/>
                  <a:pt x="3168761" y="804430"/>
                </a:cubicBezTo>
                <a:cubicBezTo>
                  <a:pt x="3168761" y="802608"/>
                  <a:pt x="3168761" y="800786"/>
                  <a:pt x="3168761" y="798964"/>
                </a:cubicBezTo>
                <a:cubicBezTo>
                  <a:pt x="3170583" y="798964"/>
                  <a:pt x="3172405" y="798964"/>
                  <a:pt x="3172405" y="798964"/>
                </a:cubicBezTo>
                <a:cubicBezTo>
                  <a:pt x="3174227" y="795319"/>
                  <a:pt x="3170583" y="789853"/>
                  <a:pt x="3172405" y="788031"/>
                </a:cubicBezTo>
                <a:cubicBezTo>
                  <a:pt x="3174227" y="786208"/>
                  <a:pt x="3177872" y="791675"/>
                  <a:pt x="3179694" y="789853"/>
                </a:cubicBezTo>
                <a:cubicBezTo>
                  <a:pt x="3181516" y="788031"/>
                  <a:pt x="3179694" y="784386"/>
                  <a:pt x="3179694" y="782564"/>
                </a:cubicBezTo>
                <a:cubicBezTo>
                  <a:pt x="3183338" y="786208"/>
                  <a:pt x="3185160" y="789853"/>
                  <a:pt x="3186982" y="788031"/>
                </a:cubicBezTo>
                <a:cubicBezTo>
                  <a:pt x="3190627" y="786208"/>
                  <a:pt x="3188805" y="773453"/>
                  <a:pt x="3181516" y="775275"/>
                </a:cubicBezTo>
                <a:cubicBezTo>
                  <a:pt x="3179694" y="775275"/>
                  <a:pt x="3179694" y="784386"/>
                  <a:pt x="3177872" y="782564"/>
                </a:cubicBezTo>
                <a:cubicBezTo>
                  <a:pt x="3165116" y="778920"/>
                  <a:pt x="3172405" y="771631"/>
                  <a:pt x="3176050" y="762520"/>
                </a:cubicBezTo>
                <a:cubicBezTo>
                  <a:pt x="3177872" y="758876"/>
                  <a:pt x="3183338" y="762520"/>
                  <a:pt x="3185160" y="764342"/>
                </a:cubicBezTo>
                <a:cubicBezTo>
                  <a:pt x="3185160" y="758876"/>
                  <a:pt x="3188805" y="758876"/>
                  <a:pt x="3192449" y="757054"/>
                </a:cubicBezTo>
                <a:cubicBezTo>
                  <a:pt x="3192449" y="757054"/>
                  <a:pt x="3192449" y="757054"/>
                  <a:pt x="3190627" y="755231"/>
                </a:cubicBezTo>
                <a:cubicBezTo>
                  <a:pt x="3185160" y="760698"/>
                  <a:pt x="3181516" y="757054"/>
                  <a:pt x="3174227" y="758876"/>
                </a:cubicBezTo>
                <a:cubicBezTo>
                  <a:pt x="3179694" y="757054"/>
                  <a:pt x="3186982" y="753409"/>
                  <a:pt x="3194271" y="751587"/>
                </a:cubicBezTo>
                <a:cubicBezTo>
                  <a:pt x="3194271" y="753409"/>
                  <a:pt x="3192449" y="753409"/>
                  <a:pt x="3192449" y="755231"/>
                </a:cubicBezTo>
                <a:cubicBezTo>
                  <a:pt x="3199738" y="753409"/>
                  <a:pt x="3201560" y="747943"/>
                  <a:pt x="3199738" y="742476"/>
                </a:cubicBezTo>
                <a:cubicBezTo>
                  <a:pt x="3196093" y="746121"/>
                  <a:pt x="3188805" y="753409"/>
                  <a:pt x="3183338" y="747943"/>
                </a:cubicBezTo>
                <a:cubicBezTo>
                  <a:pt x="3183338" y="746121"/>
                  <a:pt x="3185160" y="742476"/>
                  <a:pt x="3185160" y="740654"/>
                </a:cubicBezTo>
                <a:cubicBezTo>
                  <a:pt x="3183338" y="746121"/>
                  <a:pt x="3176050" y="744298"/>
                  <a:pt x="3172405" y="744298"/>
                </a:cubicBezTo>
                <a:cubicBezTo>
                  <a:pt x="3168761" y="746121"/>
                  <a:pt x="3170583" y="740654"/>
                  <a:pt x="3170583" y="738832"/>
                </a:cubicBezTo>
                <a:cubicBezTo>
                  <a:pt x="3172405" y="740654"/>
                  <a:pt x="3174227" y="744298"/>
                  <a:pt x="3177872" y="740654"/>
                </a:cubicBezTo>
                <a:cubicBezTo>
                  <a:pt x="3181516" y="737010"/>
                  <a:pt x="3177872" y="731543"/>
                  <a:pt x="3177872" y="727899"/>
                </a:cubicBezTo>
                <a:cubicBezTo>
                  <a:pt x="3188805" y="731543"/>
                  <a:pt x="3203382" y="740654"/>
                  <a:pt x="3212493" y="729721"/>
                </a:cubicBezTo>
                <a:cubicBezTo>
                  <a:pt x="3216137" y="729721"/>
                  <a:pt x="3214315" y="722432"/>
                  <a:pt x="3214315" y="718788"/>
                </a:cubicBezTo>
                <a:cubicBezTo>
                  <a:pt x="3212493" y="706033"/>
                  <a:pt x="3203382" y="696922"/>
                  <a:pt x="3192449" y="689633"/>
                </a:cubicBezTo>
                <a:cubicBezTo>
                  <a:pt x="3187894" y="687811"/>
                  <a:pt x="3182427" y="685989"/>
                  <a:pt x="3177189" y="685534"/>
                </a:cubicBezTo>
                <a:close/>
                <a:moveTo>
                  <a:pt x="3074008" y="684167"/>
                </a:moveTo>
                <a:lnTo>
                  <a:pt x="3072186" y="689633"/>
                </a:lnTo>
                <a:cubicBezTo>
                  <a:pt x="3075830" y="691455"/>
                  <a:pt x="3079474" y="693278"/>
                  <a:pt x="3081297" y="689633"/>
                </a:cubicBezTo>
                <a:cubicBezTo>
                  <a:pt x="3084941" y="685989"/>
                  <a:pt x="3079474" y="685989"/>
                  <a:pt x="3074008" y="684167"/>
                </a:cubicBezTo>
                <a:close/>
                <a:moveTo>
                  <a:pt x="1322899" y="684167"/>
                </a:moveTo>
                <a:cubicBezTo>
                  <a:pt x="1319254" y="682345"/>
                  <a:pt x="1317432" y="687811"/>
                  <a:pt x="1317432" y="689633"/>
                </a:cubicBezTo>
                <a:cubicBezTo>
                  <a:pt x="1321077" y="693278"/>
                  <a:pt x="1322899" y="685989"/>
                  <a:pt x="1322899" y="684167"/>
                </a:cubicBezTo>
                <a:close/>
                <a:moveTo>
                  <a:pt x="1315610" y="684167"/>
                </a:moveTo>
                <a:cubicBezTo>
                  <a:pt x="1315610" y="685989"/>
                  <a:pt x="1313788" y="684167"/>
                  <a:pt x="1311966" y="685989"/>
                </a:cubicBezTo>
                <a:cubicBezTo>
                  <a:pt x="1313788" y="687811"/>
                  <a:pt x="1311966" y="687811"/>
                  <a:pt x="1313788" y="689633"/>
                </a:cubicBezTo>
                <a:cubicBezTo>
                  <a:pt x="1315610" y="687811"/>
                  <a:pt x="1317432" y="685989"/>
                  <a:pt x="1315610" y="684167"/>
                </a:cubicBezTo>
                <a:close/>
                <a:moveTo>
                  <a:pt x="1264589" y="684167"/>
                </a:moveTo>
                <a:cubicBezTo>
                  <a:pt x="1264589" y="682345"/>
                  <a:pt x="1260945" y="685989"/>
                  <a:pt x="1262767" y="687811"/>
                </a:cubicBezTo>
                <a:cubicBezTo>
                  <a:pt x="1264589" y="685989"/>
                  <a:pt x="1264589" y="684167"/>
                  <a:pt x="1264589" y="684167"/>
                </a:cubicBezTo>
                <a:close/>
                <a:moveTo>
                  <a:pt x="1228146" y="684167"/>
                </a:moveTo>
                <a:cubicBezTo>
                  <a:pt x="1228146" y="685989"/>
                  <a:pt x="1226323" y="685989"/>
                  <a:pt x="1228146" y="687811"/>
                </a:cubicBezTo>
                <a:cubicBezTo>
                  <a:pt x="1228146" y="687811"/>
                  <a:pt x="1229969" y="685989"/>
                  <a:pt x="1229969" y="685989"/>
                </a:cubicBezTo>
                <a:cubicBezTo>
                  <a:pt x="1229969" y="684167"/>
                  <a:pt x="1228146" y="685989"/>
                  <a:pt x="1228146" y="684167"/>
                </a:cubicBezTo>
                <a:close/>
                <a:moveTo>
                  <a:pt x="1211747" y="684167"/>
                </a:moveTo>
                <a:cubicBezTo>
                  <a:pt x="1209925" y="682345"/>
                  <a:pt x="1206279" y="687811"/>
                  <a:pt x="1204457" y="689633"/>
                </a:cubicBezTo>
                <a:cubicBezTo>
                  <a:pt x="1208102" y="691455"/>
                  <a:pt x="1209925" y="685989"/>
                  <a:pt x="1211747" y="684167"/>
                </a:cubicBezTo>
                <a:close/>
                <a:moveTo>
                  <a:pt x="1102416" y="684167"/>
                </a:moveTo>
                <a:cubicBezTo>
                  <a:pt x="1095127" y="684167"/>
                  <a:pt x="1087838" y="691455"/>
                  <a:pt x="1087838" y="696922"/>
                </a:cubicBezTo>
                <a:cubicBezTo>
                  <a:pt x="1093305" y="696922"/>
                  <a:pt x="1100593" y="687811"/>
                  <a:pt x="1102416" y="684167"/>
                </a:cubicBezTo>
                <a:close/>
                <a:moveTo>
                  <a:pt x="1082373" y="684167"/>
                </a:moveTo>
                <a:cubicBezTo>
                  <a:pt x="1080549" y="685989"/>
                  <a:pt x="1076905" y="687811"/>
                  <a:pt x="1075083" y="689633"/>
                </a:cubicBezTo>
                <a:cubicBezTo>
                  <a:pt x="1076905" y="689633"/>
                  <a:pt x="1078727" y="695100"/>
                  <a:pt x="1082373" y="689633"/>
                </a:cubicBezTo>
                <a:cubicBezTo>
                  <a:pt x="1084194" y="689633"/>
                  <a:pt x="1086016" y="687811"/>
                  <a:pt x="1082373" y="684167"/>
                </a:cubicBezTo>
                <a:close/>
                <a:moveTo>
                  <a:pt x="1038639" y="684167"/>
                </a:moveTo>
                <a:cubicBezTo>
                  <a:pt x="1034995" y="682345"/>
                  <a:pt x="1033173" y="687811"/>
                  <a:pt x="1033173" y="691455"/>
                </a:cubicBezTo>
                <a:cubicBezTo>
                  <a:pt x="1034995" y="687811"/>
                  <a:pt x="1036818" y="685989"/>
                  <a:pt x="1038639" y="684167"/>
                </a:cubicBezTo>
                <a:close/>
                <a:moveTo>
                  <a:pt x="799935" y="684167"/>
                </a:moveTo>
                <a:cubicBezTo>
                  <a:pt x="799935" y="689633"/>
                  <a:pt x="805401" y="693278"/>
                  <a:pt x="809046" y="696922"/>
                </a:cubicBezTo>
                <a:cubicBezTo>
                  <a:pt x="810868" y="693278"/>
                  <a:pt x="809046" y="691455"/>
                  <a:pt x="810868" y="687811"/>
                </a:cubicBezTo>
                <a:cubicBezTo>
                  <a:pt x="805401" y="689633"/>
                  <a:pt x="803579" y="685989"/>
                  <a:pt x="799935" y="684167"/>
                </a:cubicBezTo>
                <a:close/>
                <a:moveTo>
                  <a:pt x="535719" y="684167"/>
                </a:moveTo>
                <a:lnTo>
                  <a:pt x="534922" y="688950"/>
                </a:lnTo>
                <a:lnTo>
                  <a:pt x="533897" y="689633"/>
                </a:lnTo>
                <a:cubicBezTo>
                  <a:pt x="535719" y="691455"/>
                  <a:pt x="537542" y="693278"/>
                  <a:pt x="533897" y="695100"/>
                </a:cubicBezTo>
                <a:lnTo>
                  <a:pt x="534922" y="688950"/>
                </a:lnTo>
                <a:lnTo>
                  <a:pt x="539364" y="685989"/>
                </a:lnTo>
                <a:cubicBezTo>
                  <a:pt x="537542" y="685989"/>
                  <a:pt x="535719" y="685989"/>
                  <a:pt x="535719" y="684167"/>
                </a:cubicBezTo>
                <a:close/>
                <a:moveTo>
                  <a:pt x="187684" y="684167"/>
                </a:moveTo>
                <a:cubicBezTo>
                  <a:pt x="185862" y="685989"/>
                  <a:pt x="191329" y="693278"/>
                  <a:pt x="193151" y="691455"/>
                </a:cubicBezTo>
                <a:cubicBezTo>
                  <a:pt x="191329" y="687811"/>
                  <a:pt x="189506" y="687811"/>
                  <a:pt x="187684" y="684167"/>
                </a:cubicBezTo>
                <a:close/>
                <a:moveTo>
                  <a:pt x="1446806" y="682345"/>
                </a:moveTo>
                <a:cubicBezTo>
                  <a:pt x="1432229" y="682345"/>
                  <a:pt x="1417652" y="687811"/>
                  <a:pt x="1403074" y="687811"/>
                </a:cubicBezTo>
                <a:cubicBezTo>
                  <a:pt x="1399430" y="689633"/>
                  <a:pt x="1397608" y="695100"/>
                  <a:pt x="1393963" y="695100"/>
                </a:cubicBezTo>
                <a:cubicBezTo>
                  <a:pt x="1393963" y="695100"/>
                  <a:pt x="1395787" y="695100"/>
                  <a:pt x="1395787" y="695100"/>
                </a:cubicBezTo>
                <a:cubicBezTo>
                  <a:pt x="1390319" y="706033"/>
                  <a:pt x="1381208" y="695100"/>
                  <a:pt x="1372097" y="700566"/>
                </a:cubicBezTo>
                <a:lnTo>
                  <a:pt x="1370908" y="706509"/>
                </a:lnTo>
                <a:lnTo>
                  <a:pt x="1344765" y="716966"/>
                </a:lnTo>
                <a:lnTo>
                  <a:pt x="1347982" y="717218"/>
                </a:lnTo>
                <a:lnTo>
                  <a:pt x="1342942" y="716966"/>
                </a:lnTo>
                <a:lnTo>
                  <a:pt x="1332008" y="719153"/>
                </a:lnTo>
                <a:lnTo>
                  <a:pt x="1324721" y="720610"/>
                </a:lnTo>
                <a:cubicBezTo>
                  <a:pt x="1322899" y="724254"/>
                  <a:pt x="1321077" y="722432"/>
                  <a:pt x="1317432" y="724254"/>
                </a:cubicBezTo>
                <a:cubicBezTo>
                  <a:pt x="1321077" y="726077"/>
                  <a:pt x="1322899" y="724254"/>
                  <a:pt x="1322899" y="727899"/>
                </a:cubicBezTo>
                <a:cubicBezTo>
                  <a:pt x="1328365" y="726077"/>
                  <a:pt x="1339299" y="731543"/>
                  <a:pt x="1341120" y="724254"/>
                </a:cubicBezTo>
                <a:cubicBezTo>
                  <a:pt x="1342942" y="724254"/>
                  <a:pt x="1341120" y="727899"/>
                  <a:pt x="1342942" y="727899"/>
                </a:cubicBezTo>
                <a:cubicBezTo>
                  <a:pt x="1344765" y="727899"/>
                  <a:pt x="1342942" y="726077"/>
                  <a:pt x="1344765" y="726077"/>
                </a:cubicBezTo>
                <a:cubicBezTo>
                  <a:pt x="1346587" y="731543"/>
                  <a:pt x="1357521" y="724254"/>
                  <a:pt x="1362987" y="726077"/>
                </a:cubicBezTo>
                <a:cubicBezTo>
                  <a:pt x="1364809" y="724254"/>
                  <a:pt x="1366632" y="724254"/>
                  <a:pt x="1370275" y="722432"/>
                </a:cubicBezTo>
                <a:cubicBezTo>
                  <a:pt x="1368453" y="721521"/>
                  <a:pt x="1368453" y="720610"/>
                  <a:pt x="1368908" y="719699"/>
                </a:cubicBezTo>
                <a:lnTo>
                  <a:pt x="1369725" y="718066"/>
                </a:lnTo>
                <a:lnTo>
                  <a:pt x="1376881" y="714005"/>
                </a:lnTo>
                <a:cubicBezTo>
                  <a:pt x="1378930" y="711955"/>
                  <a:pt x="1379386" y="709677"/>
                  <a:pt x="1375743" y="707855"/>
                </a:cubicBezTo>
                <a:cubicBezTo>
                  <a:pt x="1377564" y="706033"/>
                  <a:pt x="1381208" y="709677"/>
                  <a:pt x="1381208" y="711499"/>
                </a:cubicBezTo>
                <a:cubicBezTo>
                  <a:pt x="1383030" y="711499"/>
                  <a:pt x="1386676" y="711499"/>
                  <a:pt x="1388497" y="709677"/>
                </a:cubicBezTo>
                <a:cubicBezTo>
                  <a:pt x="1390319" y="711499"/>
                  <a:pt x="1386676" y="713321"/>
                  <a:pt x="1390319" y="713321"/>
                </a:cubicBezTo>
                <a:cubicBezTo>
                  <a:pt x="1379386" y="715144"/>
                  <a:pt x="1373920" y="724254"/>
                  <a:pt x="1377564" y="733365"/>
                </a:cubicBezTo>
                <a:cubicBezTo>
                  <a:pt x="1377564" y="733365"/>
                  <a:pt x="1379386" y="731543"/>
                  <a:pt x="1379386" y="731543"/>
                </a:cubicBezTo>
                <a:cubicBezTo>
                  <a:pt x="1379386" y="733365"/>
                  <a:pt x="1377564" y="733365"/>
                  <a:pt x="1377564" y="735188"/>
                </a:cubicBezTo>
                <a:cubicBezTo>
                  <a:pt x="1383030" y="740654"/>
                  <a:pt x="1386676" y="737010"/>
                  <a:pt x="1392141" y="735188"/>
                </a:cubicBezTo>
                <a:cubicBezTo>
                  <a:pt x="1393963" y="733365"/>
                  <a:pt x="1390319" y="733365"/>
                  <a:pt x="1392141" y="731543"/>
                </a:cubicBezTo>
                <a:cubicBezTo>
                  <a:pt x="1393963" y="731543"/>
                  <a:pt x="1395787" y="733365"/>
                  <a:pt x="1399430" y="731543"/>
                </a:cubicBezTo>
                <a:cubicBezTo>
                  <a:pt x="1406719" y="727899"/>
                  <a:pt x="1412185" y="726077"/>
                  <a:pt x="1417652" y="718788"/>
                </a:cubicBezTo>
                <a:cubicBezTo>
                  <a:pt x="1417652" y="715144"/>
                  <a:pt x="1415829" y="711499"/>
                  <a:pt x="1412185" y="707855"/>
                </a:cubicBezTo>
                <a:cubicBezTo>
                  <a:pt x="1414007" y="706033"/>
                  <a:pt x="1415829" y="711499"/>
                  <a:pt x="1417652" y="711499"/>
                </a:cubicBezTo>
                <a:cubicBezTo>
                  <a:pt x="1421296" y="709677"/>
                  <a:pt x="1419474" y="706033"/>
                  <a:pt x="1419474" y="704211"/>
                </a:cubicBezTo>
                <a:cubicBezTo>
                  <a:pt x="1421296" y="706033"/>
                  <a:pt x="1423118" y="707855"/>
                  <a:pt x="1426763" y="707855"/>
                </a:cubicBezTo>
                <a:cubicBezTo>
                  <a:pt x="1426763" y="709677"/>
                  <a:pt x="1426763" y="709677"/>
                  <a:pt x="1426763" y="711499"/>
                </a:cubicBezTo>
                <a:cubicBezTo>
                  <a:pt x="1426763" y="711499"/>
                  <a:pt x="1426763" y="707855"/>
                  <a:pt x="1424940" y="707855"/>
                </a:cubicBezTo>
                <a:cubicBezTo>
                  <a:pt x="1421296" y="711499"/>
                  <a:pt x="1419474" y="716966"/>
                  <a:pt x="1421296" y="720610"/>
                </a:cubicBezTo>
                <a:cubicBezTo>
                  <a:pt x="1424940" y="716966"/>
                  <a:pt x="1424940" y="716966"/>
                  <a:pt x="1426763" y="713321"/>
                </a:cubicBezTo>
                <a:cubicBezTo>
                  <a:pt x="1428585" y="713321"/>
                  <a:pt x="1430407" y="715144"/>
                  <a:pt x="1432229" y="713321"/>
                </a:cubicBezTo>
                <a:cubicBezTo>
                  <a:pt x="1430407" y="715144"/>
                  <a:pt x="1424940" y="718788"/>
                  <a:pt x="1421296" y="722432"/>
                </a:cubicBezTo>
                <a:cubicBezTo>
                  <a:pt x="1415829" y="726077"/>
                  <a:pt x="1410363" y="731543"/>
                  <a:pt x="1406719" y="737010"/>
                </a:cubicBezTo>
                <a:cubicBezTo>
                  <a:pt x="1412185" y="733365"/>
                  <a:pt x="1421296" y="727899"/>
                  <a:pt x="1421296" y="722432"/>
                </a:cubicBezTo>
                <a:cubicBezTo>
                  <a:pt x="1423118" y="724254"/>
                  <a:pt x="1421296" y="726077"/>
                  <a:pt x="1423118" y="727899"/>
                </a:cubicBezTo>
                <a:cubicBezTo>
                  <a:pt x="1432229" y="724254"/>
                  <a:pt x="1437696" y="715144"/>
                  <a:pt x="1437696" y="707855"/>
                </a:cubicBezTo>
                <a:cubicBezTo>
                  <a:pt x="1444984" y="707855"/>
                  <a:pt x="1441340" y="696922"/>
                  <a:pt x="1439518" y="691455"/>
                </a:cubicBezTo>
                <a:cubicBezTo>
                  <a:pt x="1443162" y="691455"/>
                  <a:pt x="1439518" y="696922"/>
                  <a:pt x="1444984" y="700566"/>
                </a:cubicBezTo>
                <a:cubicBezTo>
                  <a:pt x="1448629" y="695100"/>
                  <a:pt x="1450451" y="689633"/>
                  <a:pt x="1446806" y="682345"/>
                </a:cubicBezTo>
                <a:close/>
                <a:moveTo>
                  <a:pt x="1406719" y="682345"/>
                </a:moveTo>
                <a:cubicBezTo>
                  <a:pt x="1399430" y="684167"/>
                  <a:pt x="1393963" y="691455"/>
                  <a:pt x="1388497" y="695100"/>
                </a:cubicBezTo>
                <a:cubicBezTo>
                  <a:pt x="1393963" y="695100"/>
                  <a:pt x="1403074" y="689633"/>
                  <a:pt x="1406719" y="682345"/>
                </a:cubicBezTo>
                <a:close/>
                <a:moveTo>
                  <a:pt x="1377564" y="682345"/>
                </a:moveTo>
                <a:cubicBezTo>
                  <a:pt x="1375743" y="680522"/>
                  <a:pt x="1373920" y="682345"/>
                  <a:pt x="1370275" y="684167"/>
                </a:cubicBezTo>
                <a:cubicBezTo>
                  <a:pt x="1372097" y="687811"/>
                  <a:pt x="1377564" y="684167"/>
                  <a:pt x="1377564" y="682345"/>
                </a:cubicBezTo>
                <a:close/>
                <a:moveTo>
                  <a:pt x="1293744" y="682345"/>
                </a:moveTo>
                <a:cubicBezTo>
                  <a:pt x="1291922" y="682345"/>
                  <a:pt x="1291922" y="684167"/>
                  <a:pt x="1290100" y="684167"/>
                </a:cubicBezTo>
                <a:cubicBezTo>
                  <a:pt x="1290100" y="685989"/>
                  <a:pt x="1290100" y="687811"/>
                  <a:pt x="1290100" y="689633"/>
                </a:cubicBezTo>
                <a:cubicBezTo>
                  <a:pt x="1293744" y="689633"/>
                  <a:pt x="1295566" y="684167"/>
                  <a:pt x="1293744" y="682345"/>
                </a:cubicBezTo>
                <a:close/>
                <a:moveTo>
                  <a:pt x="1248189" y="682345"/>
                </a:moveTo>
                <a:cubicBezTo>
                  <a:pt x="1248189" y="680522"/>
                  <a:pt x="1242723" y="684167"/>
                  <a:pt x="1244545" y="685989"/>
                </a:cubicBezTo>
                <a:cubicBezTo>
                  <a:pt x="1246367" y="684167"/>
                  <a:pt x="1246367" y="682345"/>
                  <a:pt x="1248189" y="682345"/>
                </a:cubicBezTo>
                <a:close/>
                <a:moveTo>
                  <a:pt x="1106060" y="682345"/>
                </a:moveTo>
                <a:cubicBezTo>
                  <a:pt x="1102416" y="684167"/>
                  <a:pt x="1102416" y="687811"/>
                  <a:pt x="1100593" y="689633"/>
                </a:cubicBezTo>
                <a:cubicBezTo>
                  <a:pt x="1102416" y="689633"/>
                  <a:pt x="1107882" y="684167"/>
                  <a:pt x="1106060" y="682345"/>
                </a:cubicBezTo>
                <a:close/>
                <a:moveTo>
                  <a:pt x="1069616" y="682345"/>
                </a:moveTo>
                <a:cubicBezTo>
                  <a:pt x="1067794" y="682345"/>
                  <a:pt x="1062328" y="687811"/>
                  <a:pt x="1064151" y="687811"/>
                </a:cubicBezTo>
                <a:cubicBezTo>
                  <a:pt x="1065972" y="685989"/>
                  <a:pt x="1069616" y="684167"/>
                  <a:pt x="1069616" y="682345"/>
                </a:cubicBezTo>
                <a:close/>
                <a:moveTo>
                  <a:pt x="1000374" y="682345"/>
                </a:moveTo>
                <a:lnTo>
                  <a:pt x="1000374" y="685989"/>
                </a:lnTo>
                <a:lnTo>
                  <a:pt x="999332" y="683907"/>
                </a:lnTo>
                <a:close/>
                <a:moveTo>
                  <a:pt x="967575" y="682345"/>
                </a:moveTo>
                <a:cubicBezTo>
                  <a:pt x="963020" y="679612"/>
                  <a:pt x="958464" y="680067"/>
                  <a:pt x="955730" y="682573"/>
                </a:cubicBezTo>
                <a:lnTo>
                  <a:pt x="955150" y="690556"/>
                </a:lnTo>
                <a:lnTo>
                  <a:pt x="952997" y="689633"/>
                </a:lnTo>
                <a:lnTo>
                  <a:pt x="955139" y="690705"/>
                </a:lnTo>
                <a:lnTo>
                  <a:pt x="954819" y="695100"/>
                </a:lnTo>
                <a:cubicBezTo>
                  <a:pt x="956642" y="696922"/>
                  <a:pt x="960286" y="696922"/>
                  <a:pt x="963930" y="695100"/>
                </a:cubicBezTo>
                <a:lnTo>
                  <a:pt x="955139" y="690705"/>
                </a:lnTo>
                <a:lnTo>
                  <a:pt x="955150" y="690556"/>
                </a:lnTo>
                <a:lnTo>
                  <a:pt x="965753" y="695100"/>
                </a:lnTo>
                <a:cubicBezTo>
                  <a:pt x="965753" y="693278"/>
                  <a:pt x="967575" y="689633"/>
                  <a:pt x="965753" y="685989"/>
                </a:cubicBezTo>
                <a:cubicBezTo>
                  <a:pt x="965753" y="687811"/>
                  <a:pt x="965753" y="687811"/>
                  <a:pt x="967575" y="689633"/>
                </a:cubicBezTo>
                <a:cubicBezTo>
                  <a:pt x="969397" y="685989"/>
                  <a:pt x="969397" y="684167"/>
                  <a:pt x="967575" y="682345"/>
                </a:cubicBezTo>
                <a:close/>
                <a:moveTo>
                  <a:pt x="892866" y="682345"/>
                </a:moveTo>
                <a:cubicBezTo>
                  <a:pt x="889222" y="684167"/>
                  <a:pt x="889222" y="685989"/>
                  <a:pt x="887399" y="687811"/>
                </a:cubicBezTo>
                <a:cubicBezTo>
                  <a:pt x="889222" y="689633"/>
                  <a:pt x="889222" y="687811"/>
                  <a:pt x="891043" y="689633"/>
                </a:cubicBezTo>
                <a:cubicBezTo>
                  <a:pt x="894688" y="685989"/>
                  <a:pt x="894688" y="684167"/>
                  <a:pt x="892866" y="682345"/>
                </a:cubicBezTo>
                <a:close/>
                <a:moveTo>
                  <a:pt x="863711" y="682345"/>
                </a:moveTo>
                <a:cubicBezTo>
                  <a:pt x="860066" y="682345"/>
                  <a:pt x="860066" y="685989"/>
                  <a:pt x="858244" y="685989"/>
                </a:cubicBezTo>
                <a:cubicBezTo>
                  <a:pt x="860066" y="687811"/>
                  <a:pt x="860066" y="687811"/>
                  <a:pt x="861889" y="689633"/>
                </a:cubicBezTo>
                <a:cubicBezTo>
                  <a:pt x="863711" y="687811"/>
                  <a:pt x="865533" y="687811"/>
                  <a:pt x="865533" y="685989"/>
                </a:cubicBezTo>
                <a:cubicBezTo>
                  <a:pt x="860066" y="684167"/>
                  <a:pt x="861889" y="684167"/>
                  <a:pt x="863711" y="682345"/>
                </a:cubicBezTo>
                <a:close/>
                <a:moveTo>
                  <a:pt x="697893" y="682345"/>
                </a:moveTo>
                <a:cubicBezTo>
                  <a:pt x="694249" y="685989"/>
                  <a:pt x="697893" y="691455"/>
                  <a:pt x="699715" y="695100"/>
                </a:cubicBezTo>
                <a:cubicBezTo>
                  <a:pt x="703359" y="691455"/>
                  <a:pt x="705182" y="687811"/>
                  <a:pt x="710648" y="684167"/>
                </a:cubicBezTo>
                <a:cubicBezTo>
                  <a:pt x="707004" y="682345"/>
                  <a:pt x="701537" y="684167"/>
                  <a:pt x="697893" y="682345"/>
                </a:cubicBezTo>
                <a:close/>
                <a:moveTo>
                  <a:pt x="977633" y="680547"/>
                </a:moveTo>
                <a:lnTo>
                  <a:pt x="982184" y="680667"/>
                </a:lnTo>
                <a:lnTo>
                  <a:pt x="980330" y="682345"/>
                </a:lnTo>
                <a:close/>
                <a:moveTo>
                  <a:pt x="1310143" y="680522"/>
                </a:moveTo>
                <a:cubicBezTo>
                  <a:pt x="1306499" y="680522"/>
                  <a:pt x="1306499" y="684167"/>
                  <a:pt x="1304677" y="685989"/>
                </a:cubicBezTo>
                <a:cubicBezTo>
                  <a:pt x="1308321" y="687811"/>
                  <a:pt x="1308321" y="682345"/>
                  <a:pt x="1310143" y="680522"/>
                </a:cubicBezTo>
                <a:close/>
                <a:moveTo>
                  <a:pt x="1286455" y="680522"/>
                </a:moveTo>
                <a:cubicBezTo>
                  <a:pt x="1282810" y="682345"/>
                  <a:pt x="1279166" y="682801"/>
                  <a:pt x="1275522" y="683712"/>
                </a:cubicBezTo>
                <a:lnTo>
                  <a:pt x="1269931" y="686740"/>
                </a:lnTo>
                <a:lnTo>
                  <a:pt x="1270056" y="685989"/>
                </a:lnTo>
                <a:cubicBezTo>
                  <a:pt x="1268233" y="685989"/>
                  <a:pt x="1266411" y="689633"/>
                  <a:pt x="1264589" y="689633"/>
                </a:cubicBezTo>
                <a:lnTo>
                  <a:pt x="1269931" y="686740"/>
                </a:lnTo>
                <a:lnTo>
                  <a:pt x="1269144" y="691456"/>
                </a:lnTo>
                <a:cubicBezTo>
                  <a:pt x="1268233" y="693278"/>
                  <a:pt x="1267322" y="695100"/>
                  <a:pt x="1268233" y="696922"/>
                </a:cubicBezTo>
                <a:cubicBezTo>
                  <a:pt x="1277344" y="693278"/>
                  <a:pt x="1286455" y="685989"/>
                  <a:pt x="1286455" y="680522"/>
                </a:cubicBezTo>
                <a:close/>
                <a:moveTo>
                  <a:pt x="1186236" y="680522"/>
                </a:moveTo>
                <a:cubicBezTo>
                  <a:pt x="1180769" y="680522"/>
                  <a:pt x="1178947" y="684167"/>
                  <a:pt x="1177125" y="689633"/>
                </a:cubicBezTo>
                <a:cubicBezTo>
                  <a:pt x="1180769" y="689633"/>
                  <a:pt x="1182592" y="684167"/>
                  <a:pt x="1184414" y="682345"/>
                </a:cubicBezTo>
                <a:cubicBezTo>
                  <a:pt x="1186236" y="684167"/>
                  <a:pt x="1182592" y="685989"/>
                  <a:pt x="1180769" y="687811"/>
                </a:cubicBezTo>
                <a:cubicBezTo>
                  <a:pt x="1182592" y="689633"/>
                  <a:pt x="1184414" y="687811"/>
                  <a:pt x="1188058" y="685989"/>
                </a:cubicBezTo>
                <a:cubicBezTo>
                  <a:pt x="1186236" y="684167"/>
                  <a:pt x="1188058" y="682345"/>
                  <a:pt x="1186236" y="680522"/>
                </a:cubicBezTo>
                <a:close/>
                <a:moveTo>
                  <a:pt x="1140681" y="680522"/>
                </a:moveTo>
                <a:cubicBezTo>
                  <a:pt x="1135215" y="678700"/>
                  <a:pt x="1137037" y="684167"/>
                  <a:pt x="1133393" y="684167"/>
                </a:cubicBezTo>
                <a:cubicBezTo>
                  <a:pt x="1133393" y="685989"/>
                  <a:pt x="1133393" y="685989"/>
                  <a:pt x="1135215" y="687811"/>
                </a:cubicBezTo>
                <a:cubicBezTo>
                  <a:pt x="1138859" y="684167"/>
                  <a:pt x="1137037" y="682345"/>
                  <a:pt x="1140681" y="680522"/>
                </a:cubicBezTo>
                <a:close/>
                <a:moveTo>
                  <a:pt x="1018596" y="680522"/>
                </a:moveTo>
                <a:cubicBezTo>
                  <a:pt x="1016774" y="684167"/>
                  <a:pt x="1009485" y="687811"/>
                  <a:pt x="1005840" y="691455"/>
                </a:cubicBezTo>
                <a:cubicBezTo>
                  <a:pt x="1005840" y="691455"/>
                  <a:pt x="1014951" y="684167"/>
                  <a:pt x="1018596" y="680522"/>
                </a:cubicBezTo>
                <a:close/>
                <a:moveTo>
                  <a:pt x="1005840" y="680522"/>
                </a:moveTo>
                <a:lnTo>
                  <a:pt x="1005785" y="680742"/>
                </a:lnTo>
                <a:lnTo>
                  <a:pt x="1005203" y="681307"/>
                </a:lnTo>
                <a:close/>
                <a:moveTo>
                  <a:pt x="993085" y="680522"/>
                </a:moveTo>
                <a:cubicBezTo>
                  <a:pt x="991263" y="682345"/>
                  <a:pt x="993085" y="687811"/>
                  <a:pt x="996729" y="684167"/>
                </a:cubicBezTo>
                <a:cubicBezTo>
                  <a:pt x="996729" y="682345"/>
                  <a:pt x="994907" y="680522"/>
                  <a:pt x="993085" y="680522"/>
                </a:cubicBezTo>
                <a:close/>
                <a:moveTo>
                  <a:pt x="936598" y="680522"/>
                </a:moveTo>
                <a:lnTo>
                  <a:pt x="937509" y="684167"/>
                </a:lnTo>
                <a:lnTo>
                  <a:pt x="937053" y="685078"/>
                </a:lnTo>
                <a:cubicBezTo>
                  <a:pt x="937965" y="685989"/>
                  <a:pt x="939331" y="686900"/>
                  <a:pt x="938420" y="687811"/>
                </a:cubicBezTo>
                <a:lnTo>
                  <a:pt x="937509" y="684167"/>
                </a:lnTo>
                <a:lnTo>
                  <a:pt x="938420" y="682345"/>
                </a:lnTo>
                <a:cubicBezTo>
                  <a:pt x="936598" y="682345"/>
                  <a:pt x="934777" y="682345"/>
                  <a:pt x="936598" y="680522"/>
                </a:cubicBezTo>
                <a:close/>
                <a:moveTo>
                  <a:pt x="615895" y="680522"/>
                </a:moveTo>
                <a:cubicBezTo>
                  <a:pt x="603140" y="684167"/>
                  <a:pt x="604963" y="696922"/>
                  <a:pt x="599496" y="704211"/>
                </a:cubicBezTo>
                <a:cubicBezTo>
                  <a:pt x="604963" y="700566"/>
                  <a:pt x="608606" y="693278"/>
                  <a:pt x="608606" y="687811"/>
                </a:cubicBezTo>
                <a:cubicBezTo>
                  <a:pt x="614074" y="687811"/>
                  <a:pt x="614074" y="684167"/>
                  <a:pt x="615895" y="680522"/>
                </a:cubicBezTo>
                <a:close/>
                <a:moveTo>
                  <a:pt x="499276" y="680522"/>
                </a:moveTo>
                <a:cubicBezTo>
                  <a:pt x="495632" y="678700"/>
                  <a:pt x="495632" y="684167"/>
                  <a:pt x="499276" y="687811"/>
                </a:cubicBezTo>
                <a:cubicBezTo>
                  <a:pt x="502920" y="685989"/>
                  <a:pt x="499276" y="682345"/>
                  <a:pt x="499276" y="680522"/>
                </a:cubicBezTo>
                <a:close/>
                <a:moveTo>
                  <a:pt x="433678" y="680522"/>
                </a:moveTo>
                <a:cubicBezTo>
                  <a:pt x="431856" y="682345"/>
                  <a:pt x="431856" y="685989"/>
                  <a:pt x="428211" y="687811"/>
                </a:cubicBezTo>
                <a:cubicBezTo>
                  <a:pt x="431856" y="693278"/>
                  <a:pt x="435500" y="691455"/>
                  <a:pt x="439145" y="695100"/>
                </a:cubicBezTo>
                <a:lnTo>
                  <a:pt x="440216" y="692528"/>
                </a:lnTo>
                <a:lnTo>
                  <a:pt x="440966" y="693278"/>
                </a:lnTo>
                <a:cubicBezTo>
                  <a:pt x="441877" y="695100"/>
                  <a:pt x="442788" y="696922"/>
                  <a:pt x="444611" y="696922"/>
                </a:cubicBezTo>
                <a:cubicBezTo>
                  <a:pt x="448256" y="691455"/>
                  <a:pt x="435500" y="689633"/>
                  <a:pt x="439145" y="684167"/>
                </a:cubicBezTo>
                <a:cubicBezTo>
                  <a:pt x="437322" y="682345"/>
                  <a:pt x="435500" y="684167"/>
                  <a:pt x="433678" y="680522"/>
                </a:cubicBezTo>
                <a:close/>
                <a:moveTo>
                  <a:pt x="386301" y="680522"/>
                </a:moveTo>
                <a:cubicBezTo>
                  <a:pt x="384479" y="682345"/>
                  <a:pt x="388123" y="684167"/>
                  <a:pt x="389946" y="685989"/>
                </a:cubicBezTo>
                <a:cubicBezTo>
                  <a:pt x="393590" y="684167"/>
                  <a:pt x="388123" y="680522"/>
                  <a:pt x="386301" y="680522"/>
                </a:cubicBezTo>
                <a:close/>
                <a:moveTo>
                  <a:pt x="327993" y="680522"/>
                </a:moveTo>
                <a:cubicBezTo>
                  <a:pt x="326169" y="689633"/>
                  <a:pt x="340747" y="689633"/>
                  <a:pt x="342569" y="693278"/>
                </a:cubicBezTo>
                <a:cubicBezTo>
                  <a:pt x="344391" y="685989"/>
                  <a:pt x="333458" y="684167"/>
                  <a:pt x="327993" y="680522"/>
                </a:cubicBezTo>
                <a:close/>
                <a:moveTo>
                  <a:pt x="218661" y="680522"/>
                </a:moveTo>
                <a:cubicBezTo>
                  <a:pt x="220483" y="684167"/>
                  <a:pt x="225950" y="689633"/>
                  <a:pt x="229594" y="695100"/>
                </a:cubicBezTo>
                <a:lnTo>
                  <a:pt x="227435" y="687541"/>
                </a:lnTo>
                <a:lnTo>
                  <a:pt x="227772" y="687811"/>
                </a:lnTo>
                <a:lnTo>
                  <a:pt x="227100" y="686372"/>
                </a:lnTo>
                <a:lnTo>
                  <a:pt x="225950" y="682345"/>
                </a:lnTo>
                <a:cubicBezTo>
                  <a:pt x="225039" y="683257"/>
                  <a:pt x="225494" y="683712"/>
                  <a:pt x="226178" y="684395"/>
                </a:cubicBezTo>
                <a:lnTo>
                  <a:pt x="227100" y="686372"/>
                </a:lnTo>
                <a:lnTo>
                  <a:pt x="227435" y="687541"/>
                </a:lnTo>
                <a:close/>
                <a:moveTo>
                  <a:pt x="189506" y="680522"/>
                </a:moveTo>
                <a:cubicBezTo>
                  <a:pt x="189506" y="687811"/>
                  <a:pt x="200439" y="696922"/>
                  <a:pt x="205906" y="700566"/>
                </a:cubicBezTo>
                <a:cubicBezTo>
                  <a:pt x="207728" y="698744"/>
                  <a:pt x="205906" y="695100"/>
                  <a:pt x="205906" y="693278"/>
                </a:cubicBezTo>
                <a:cubicBezTo>
                  <a:pt x="202262" y="695100"/>
                  <a:pt x="194973" y="684167"/>
                  <a:pt x="189506" y="680522"/>
                </a:cubicBezTo>
                <a:close/>
                <a:moveTo>
                  <a:pt x="169462" y="680522"/>
                </a:moveTo>
                <a:cubicBezTo>
                  <a:pt x="171285" y="682345"/>
                  <a:pt x="173107" y="685989"/>
                  <a:pt x="173107" y="687811"/>
                </a:cubicBezTo>
                <a:cubicBezTo>
                  <a:pt x="173107" y="687811"/>
                  <a:pt x="173107" y="685989"/>
                  <a:pt x="173107" y="685989"/>
                </a:cubicBezTo>
                <a:cubicBezTo>
                  <a:pt x="174929" y="689633"/>
                  <a:pt x="173107" y="691455"/>
                  <a:pt x="174929" y="693278"/>
                </a:cubicBezTo>
                <a:cubicBezTo>
                  <a:pt x="178573" y="682345"/>
                  <a:pt x="171285" y="682345"/>
                  <a:pt x="169462" y="680522"/>
                </a:cubicBezTo>
                <a:close/>
                <a:moveTo>
                  <a:pt x="976640" y="679886"/>
                </a:moveTo>
                <a:lnTo>
                  <a:pt x="977633" y="680547"/>
                </a:lnTo>
                <a:lnTo>
                  <a:pt x="976686" y="680522"/>
                </a:lnTo>
                <a:close/>
                <a:moveTo>
                  <a:pt x="2920945" y="678700"/>
                </a:moveTo>
                <a:cubicBezTo>
                  <a:pt x="2922767" y="680522"/>
                  <a:pt x="2922767" y="684167"/>
                  <a:pt x="2924590" y="685989"/>
                </a:cubicBezTo>
                <a:cubicBezTo>
                  <a:pt x="2924590" y="682345"/>
                  <a:pt x="2930056" y="684167"/>
                  <a:pt x="2930056" y="680522"/>
                </a:cubicBezTo>
                <a:cubicBezTo>
                  <a:pt x="2926412" y="680522"/>
                  <a:pt x="2924590" y="678700"/>
                  <a:pt x="2920945" y="678700"/>
                </a:cubicBezTo>
                <a:close/>
                <a:moveTo>
                  <a:pt x="2835303" y="678700"/>
                </a:moveTo>
                <a:cubicBezTo>
                  <a:pt x="2829837" y="678700"/>
                  <a:pt x="2835303" y="689633"/>
                  <a:pt x="2835303" y="693278"/>
                </a:cubicBezTo>
                <a:cubicBezTo>
                  <a:pt x="2840769" y="693278"/>
                  <a:pt x="2840769" y="689633"/>
                  <a:pt x="2842592" y="687811"/>
                </a:cubicBezTo>
                <a:cubicBezTo>
                  <a:pt x="2842592" y="682345"/>
                  <a:pt x="2837125" y="682345"/>
                  <a:pt x="2835303" y="678700"/>
                </a:cubicBezTo>
                <a:close/>
                <a:moveTo>
                  <a:pt x="1448629" y="678700"/>
                </a:moveTo>
                <a:cubicBezTo>
                  <a:pt x="1446806" y="680522"/>
                  <a:pt x="1446806" y="678700"/>
                  <a:pt x="1444984" y="680522"/>
                </a:cubicBezTo>
                <a:cubicBezTo>
                  <a:pt x="1446806" y="684167"/>
                  <a:pt x="1450451" y="682345"/>
                  <a:pt x="1450451" y="680522"/>
                </a:cubicBezTo>
                <a:cubicBezTo>
                  <a:pt x="1448629" y="680522"/>
                  <a:pt x="1448629" y="680522"/>
                  <a:pt x="1448629" y="678700"/>
                </a:cubicBezTo>
                <a:close/>
                <a:moveTo>
                  <a:pt x="1403074" y="678700"/>
                </a:moveTo>
                <a:cubicBezTo>
                  <a:pt x="1397608" y="676878"/>
                  <a:pt x="1390319" y="687811"/>
                  <a:pt x="1384854" y="691455"/>
                </a:cubicBezTo>
                <a:cubicBezTo>
                  <a:pt x="1390319" y="689633"/>
                  <a:pt x="1399430" y="682345"/>
                  <a:pt x="1403074" y="678700"/>
                </a:cubicBezTo>
                <a:close/>
                <a:moveTo>
                  <a:pt x="1362987" y="678700"/>
                </a:moveTo>
                <a:cubicBezTo>
                  <a:pt x="1359342" y="676878"/>
                  <a:pt x="1353876" y="680522"/>
                  <a:pt x="1350231" y="685989"/>
                </a:cubicBezTo>
                <a:cubicBezTo>
                  <a:pt x="1355698" y="685989"/>
                  <a:pt x="1362987" y="684167"/>
                  <a:pt x="1362987" y="678700"/>
                </a:cubicBezTo>
                <a:close/>
                <a:moveTo>
                  <a:pt x="1178947" y="678700"/>
                </a:moveTo>
                <a:cubicBezTo>
                  <a:pt x="1177125" y="676878"/>
                  <a:pt x="1175303" y="680522"/>
                  <a:pt x="1171658" y="682345"/>
                </a:cubicBezTo>
                <a:cubicBezTo>
                  <a:pt x="1175303" y="685989"/>
                  <a:pt x="1177125" y="680522"/>
                  <a:pt x="1178947" y="678700"/>
                </a:cubicBezTo>
                <a:close/>
                <a:moveTo>
                  <a:pt x="1038639" y="678700"/>
                </a:moveTo>
                <a:cubicBezTo>
                  <a:pt x="1038639" y="680522"/>
                  <a:pt x="1036818" y="680522"/>
                  <a:pt x="1034995" y="682345"/>
                </a:cubicBezTo>
                <a:cubicBezTo>
                  <a:pt x="1036818" y="684167"/>
                  <a:pt x="1042284" y="678700"/>
                  <a:pt x="1038639" y="678700"/>
                </a:cubicBezTo>
                <a:close/>
                <a:moveTo>
                  <a:pt x="829089" y="678700"/>
                </a:moveTo>
                <a:cubicBezTo>
                  <a:pt x="827267" y="680522"/>
                  <a:pt x="829089" y="682345"/>
                  <a:pt x="830912" y="684167"/>
                </a:cubicBezTo>
                <a:cubicBezTo>
                  <a:pt x="832734" y="682345"/>
                  <a:pt x="832734" y="680522"/>
                  <a:pt x="834556" y="678700"/>
                </a:cubicBezTo>
                <a:cubicBezTo>
                  <a:pt x="832734" y="678700"/>
                  <a:pt x="830912" y="678700"/>
                  <a:pt x="829089" y="678700"/>
                </a:cubicBezTo>
                <a:close/>
                <a:moveTo>
                  <a:pt x="681493" y="678700"/>
                </a:moveTo>
                <a:cubicBezTo>
                  <a:pt x="679671" y="682345"/>
                  <a:pt x="685138" y="687811"/>
                  <a:pt x="688782" y="689633"/>
                </a:cubicBezTo>
                <a:cubicBezTo>
                  <a:pt x="690604" y="687811"/>
                  <a:pt x="688782" y="684167"/>
                  <a:pt x="690604" y="682345"/>
                </a:cubicBezTo>
                <a:cubicBezTo>
                  <a:pt x="688782" y="680522"/>
                  <a:pt x="683316" y="682345"/>
                  <a:pt x="681493" y="678700"/>
                </a:cubicBezTo>
                <a:close/>
                <a:moveTo>
                  <a:pt x="573985" y="678700"/>
                </a:moveTo>
                <a:cubicBezTo>
                  <a:pt x="568519" y="685989"/>
                  <a:pt x="575808" y="687811"/>
                  <a:pt x="579452" y="695100"/>
                </a:cubicBezTo>
                <a:cubicBezTo>
                  <a:pt x="581274" y="689633"/>
                  <a:pt x="572163" y="685989"/>
                  <a:pt x="573985" y="678700"/>
                </a:cubicBezTo>
                <a:close/>
                <a:moveTo>
                  <a:pt x="512031" y="678700"/>
                </a:moveTo>
                <a:cubicBezTo>
                  <a:pt x="513853" y="682345"/>
                  <a:pt x="513853" y="689633"/>
                  <a:pt x="519320" y="693278"/>
                </a:cubicBezTo>
                <a:cubicBezTo>
                  <a:pt x="522964" y="698744"/>
                  <a:pt x="515676" y="687811"/>
                  <a:pt x="521142" y="687811"/>
                </a:cubicBezTo>
                <a:cubicBezTo>
                  <a:pt x="521142" y="685989"/>
                  <a:pt x="515676" y="678700"/>
                  <a:pt x="512031" y="678700"/>
                </a:cubicBezTo>
                <a:close/>
                <a:moveTo>
                  <a:pt x="470121" y="678700"/>
                </a:moveTo>
                <a:cubicBezTo>
                  <a:pt x="468299" y="682345"/>
                  <a:pt x="471943" y="685989"/>
                  <a:pt x="471943" y="687811"/>
                </a:cubicBezTo>
                <a:cubicBezTo>
                  <a:pt x="475589" y="687811"/>
                  <a:pt x="473766" y="685989"/>
                  <a:pt x="475589" y="685989"/>
                </a:cubicBezTo>
                <a:cubicBezTo>
                  <a:pt x="473766" y="682345"/>
                  <a:pt x="471943" y="680522"/>
                  <a:pt x="470121" y="678700"/>
                </a:cubicBezTo>
                <a:close/>
                <a:moveTo>
                  <a:pt x="415456" y="678700"/>
                </a:moveTo>
                <a:cubicBezTo>
                  <a:pt x="417278" y="684167"/>
                  <a:pt x="419100" y="680522"/>
                  <a:pt x="420923" y="678700"/>
                </a:cubicBezTo>
                <a:cubicBezTo>
                  <a:pt x="419100" y="678700"/>
                  <a:pt x="417278" y="678700"/>
                  <a:pt x="415456" y="678700"/>
                </a:cubicBezTo>
                <a:close/>
                <a:moveTo>
                  <a:pt x="355324" y="678700"/>
                </a:moveTo>
                <a:cubicBezTo>
                  <a:pt x="353502" y="680522"/>
                  <a:pt x="360791" y="691455"/>
                  <a:pt x="366257" y="689633"/>
                </a:cubicBezTo>
                <a:cubicBezTo>
                  <a:pt x="362613" y="685989"/>
                  <a:pt x="358969" y="684167"/>
                  <a:pt x="355324" y="678700"/>
                </a:cubicBezTo>
                <a:close/>
                <a:moveTo>
                  <a:pt x="976550" y="678627"/>
                </a:moveTo>
                <a:lnTo>
                  <a:pt x="976640" y="679886"/>
                </a:lnTo>
                <a:lnTo>
                  <a:pt x="974863" y="678700"/>
                </a:lnTo>
                <a:close/>
                <a:moveTo>
                  <a:pt x="3663026" y="678473"/>
                </a:moveTo>
                <a:cubicBezTo>
                  <a:pt x="3668492" y="680067"/>
                  <a:pt x="3673503" y="683256"/>
                  <a:pt x="3677147" y="685989"/>
                </a:cubicBezTo>
                <a:lnTo>
                  <a:pt x="3669775" y="686954"/>
                </a:lnTo>
                <a:lnTo>
                  <a:pt x="3669859" y="684167"/>
                </a:lnTo>
                <a:lnTo>
                  <a:pt x="3655044" y="679443"/>
                </a:lnTo>
                <a:close/>
                <a:moveTo>
                  <a:pt x="739803" y="678245"/>
                </a:moveTo>
                <a:cubicBezTo>
                  <a:pt x="729781" y="677790"/>
                  <a:pt x="720670" y="680523"/>
                  <a:pt x="717937" y="687811"/>
                </a:cubicBezTo>
                <a:cubicBezTo>
                  <a:pt x="716115" y="693278"/>
                  <a:pt x="716115" y="696922"/>
                  <a:pt x="716115" y="700566"/>
                </a:cubicBezTo>
                <a:cubicBezTo>
                  <a:pt x="714293" y="698744"/>
                  <a:pt x="712470" y="695100"/>
                  <a:pt x="710648" y="693278"/>
                </a:cubicBezTo>
                <a:cubicBezTo>
                  <a:pt x="707004" y="693278"/>
                  <a:pt x="708826" y="695100"/>
                  <a:pt x="705182" y="696922"/>
                </a:cubicBezTo>
                <a:cubicBezTo>
                  <a:pt x="710648" y="702388"/>
                  <a:pt x="712470" y="704211"/>
                  <a:pt x="717937" y="709677"/>
                </a:cubicBezTo>
                <a:cubicBezTo>
                  <a:pt x="717937" y="707855"/>
                  <a:pt x="717937" y="707855"/>
                  <a:pt x="717937" y="706033"/>
                </a:cubicBezTo>
                <a:cubicBezTo>
                  <a:pt x="721581" y="716966"/>
                  <a:pt x="732515" y="727899"/>
                  <a:pt x="741626" y="735188"/>
                </a:cubicBezTo>
                <a:cubicBezTo>
                  <a:pt x="737981" y="727899"/>
                  <a:pt x="739803" y="720610"/>
                  <a:pt x="732515" y="715144"/>
                </a:cubicBezTo>
                <a:cubicBezTo>
                  <a:pt x="732515" y="715144"/>
                  <a:pt x="734336" y="715144"/>
                  <a:pt x="736159" y="713321"/>
                </a:cubicBezTo>
                <a:cubicBezTo>
                  <a:pt x="734336" y="713321"/>
                  <a:pt x="732515" y="709677"/>
                  <a:pt x="728870" y="709677"/>
                </a:cubicBezTo>
                <a:cubicBezTo>
                  <a:pt x="737981" y="709677"/>
                  <a:pt x="741626" y="718788"/>
                  <a:pt x="748914" y="722432"/>
                </a:cubicBezTo>
                <a:cubicBezTo>
                  <a:pt x="750737" y="722432"/>
                  <a:pt x="750737" y="720610"/>
                  <a:pt x="750737" y="720610"/>
                </a:cubicBezTo>
                <a:lnTo>
                  <a:pt x="754381" y="727899"/>
                </a:lnTo>
                <a:lnTo>
                  <a:pt x="754380" y="727899"/>
                </a:lnTo>
                <a:cubicBezTo>
                  <a:pt x="756203" y="729721"/>
                  <a:pt x="756203" y="731543"/>
                  <a:pt x="756203" y="731543"/>
                </a:cubicBezTo>
                <a:lnTo>
                  <a:pt x="754381" y="727899"/>
                </a:lnTo>
                <a:lnTo>
                  <a:pt x="759848" y="727899"/>
                </a:lnTo>
                <a:cubicBezTo>
                  <a:pt x="758025" y="726077"/>
                  <a:pt x="756203" y="722432"/>
                  <a:pt x="752558" y="722432"/>
                </a:cubicBezTo>
                <a:cubicBezTo>
                  <a:pt x="754380" y="718788"/>
                  <a:pt x="758025" y="720610"/>
                  <a:pt x="761670" y="720610"/>
                </a:cubicBezTo>
                <a:cubicBezTo>
                  <a:pt x="759848" y="716966"/>
                  <a:pt x="752558" y="715144"/>
                  <a:pt x="750737" y="711499"/>
                </a:cubicBezTo>
                <a:lnTo>
                  <a:pt x="752558" y="709677"/>
                </a:lnTo>
                <a:cubicBezTo>
                  <a:pt x="748914" y="704211"/>
                  <a:pt x="747092" y="702388"/>
                  <a:pt x="741626" y="698744"/>
                </a:cubicBezTo>
                <a:cubicBezTo>
                  <a:pt x="743447" y="696922"/>
                  <a:pt x="743447" y="698744"/>
                  <a:pt x="745269" y="700566"/>
                </a:cubicBezTo>
                <a:cubicBezTo>
                  <a:pt x="744358" y="696922"/>
                  <a:pt x="741626" y="696467"/>
                  <a:pt x="738664" y="696011"/>
                </a:cubicBezTo>
                <a:lnTo>
                  <a:pt x="734944" y="693886"/>
                </a:lnTo>
                <a:lnTo>
                  <a:pt x="730692" y="689633"/>
                </a:lnTo>
                <a:cubicBezTo>
                  <a:pt x="736159" y="691455"/>
                  <a:pt x="741626" y="691455"/>
                  <a:pt x="743447" y="696922"/>
                </a:cubicBezTo>
                <a:cubicBezTo>
                  <a:pt x="745269" y="696922"/>
                  <a:pt x="747092" y="695100"/>
                  <a:pt x="748914" y="689633"/>
                </a:cubicBezTo>
                <a:cubicBezTo>
                  <a:pt x="750737" y="698744"/>
                  <a:pt x="756203" y="702388"/>
                  <a:pt x="761670" y="707855"/>
                </a:cubicBezTo>
                <a:cubicBezTo>
                  <a:pt x="763491" y="700566"/>
                  <a:pt x="758025" y="696922"/>
                  <a:pt x="752558" y="693278"/>
                </a:cubicBezTo>
                <a:cubicBezTo>
                  <a:pt x="756203" y="695100"/>
                  <a:pt x="761670" y="691455"/>
                  <a:pt x="763491" y="695100"/>
                </a:cubicBezTo>
                <a:cubicBezTo>
                  <a:pt x="763491" y="694189"/>
                  <a:pt x="764858" y="692823"/>
                  <a:pt x="765997" y="691456"/>
                </a:cubicBezTo>
                <a:lnTo>
                  <a:pt x="767093" y="687948"/>
                </a:lnTo>
                <a:lnTo>
                  <a:pt x="767591" y="688495"/>
                </a:lnTo>
                <a:cubicBezTo>
                  <a:pt x="769413" y="688722"/>
                  <a:pt x="771691" y="688722"/>
                  <a:pt x="772602" y="689633"/>
                </a:cubicBezTo>
                <a:cubicBezTo>
                  <a:pt x="772602" y="687811"/>
                  <a:pt x="767136" y="685989"/>
                  <a:pt x="765313" y="685989"/>
                </a:cubicBezTo>
                <a:lnTo>
                  <a:pt x="766892" y="687726"/>
                </a:lnTo>
                <a:close/>
                <a:moveTo>
                  <a:pt x="985113" y="678017"/>
                </a:moveTo>
                <a:lnTo>
                  <a:pt x="990123" y="680058"/>
                </a:lnTo>
                <a:lnTo>
                  <a:pt x="989612" y="681486"/>
                </a:lnTo>
                <a:lnTo>
                  <a:pt x="989197" y="681728"/>
                </a:lnTo>
                <a:lnTo>
                  <a:pt x="985341" y="680751"/>
                </a:lnTo>
                <a:lnTo>
                  <a:pt x="982184" y="680667"/>
                </a:lnTo>
                <a:close/>
                <a:moveTo>
                  <a:pt x="974518" y="677051"/>
                </a:moveTo>
                <a:lnTo>
                  <a:pt x="974635" y="677790"/>
                </a:lnTo>
                <a:lnTo>
                  <a:pt x="971197" y="680781"/>
                </a:lnTo>
                <a:lnTo>
                  <a:pt x="971788" y="678843"/>
                </a:lnTo>
                <a:close/>
                <a:moveTo>
                  <a:pt x="2953744" y="676878"/>
                </a:moveTo>
                <a:cubicBezTo>
                  <a:pt x="2962855" y="693278"/>
                  <a:pt x="2986543" y="687811"/>
                  <a:pt x="3002943" y="693278"/>
                </a:cubicBezTo>
                <a:cubicBezTo>
                  <a:pt x="2992010" y="682345"/>
                  <a:pt x="2971966" y="680522"/>
                  <a:pt x="2953744" y="676878"/>
                </a:cubicBezTo>
                <a:close/>
                <a:moveTo>
                  <a:pt x="1423118" y="676878"/>
                </a:moveTo>
                <a:cubicBezTo>
                  <a:pt x="1417652" y="675056"/>
                  <a:pt x="1408541" y="676878"/>
                  <a:pt x="1406719" y="684167"/>
                </a:cubicBezTo>
                <a:cubicBezTo>
                  <a:pt x="1408541" y="687811"/>
                  <a:pt x="1414007" y="682345"/>
                  <a:pt x="1412185" y="680522"/>
                </a:cubicBezTo>
                <a:cubicBezTo>
                  <a:pt x="1414007" y="678700"/>
                  <a:pt x="1414007" y="682345"/>
                  <a:pt x="1414007" y="682345"/>
                </a:cubicBezTo>
                <a:cubicBezTo>
                  <a:pt x="1415829" y="682345"/>
                  <a:pt x="1421296" y="680522"/>
                  <a:pt x="1423118" y="676878"/>
                </a:cubicBezTo>
                <a:close/>
                <a:moveTo>
                  <a:pt x="1390319" y="676878"/>
                </a:moveTo>
                <a:cubicBezTo>
                  <a:pt x="1386676" y="680522"/>
                  <a:pt x="1384854" y="678700"/>
                  <a:pt x="1379386" y="682345"/>
                </a:cubicBezTo>
                <a:cubicBezTo>
                  <a:pt x="1383030" y="682345"/>
                  <a:pt x="1392141" y="680522"/>
                  <a:pt x="1390319" y="676878"/>
                </a:cubicBezTo>
                <a:close/>
                <a:moveTo>
                  <a:pt x="1373920" y="676878"/>
                </a:moveTo>
                <a:cubicBezTo>
                  <a:pt x="1370275" y="676878"/>
                  <a:pt x="1361164" y="676878"/>
                  <a:pt x="1364809" y="682345"/>
                </a:cubicBezTo>
                <a:cubicBezTo>
                  <a:pt x="1366632" y="678700"/>
                  <a:pt x="1372097" y="680522"/>
                  <a:pt x="1373920" y="676878"/>
                </a:cubicBezTo>
                <a:close/>
                <a:moveTo>
                  <a:pt x="907444" y="676878"/>
                </a:moveTo>
                <a:cubicBezTo>
                  <a:pt x="905621" y="680522"/>
                  <a:pt x="903799" y="682345"/>
                  <a:pt x="903799" y="684167"/>
                </a:cubicBezTo>
                <a:cubicBezTo>
                  <a:pt x="903799" y="682345"/>
                  <a:pt x="911087" y="678700"/>
                  <a:pt x="907444" y="676878"/>
                </a:cubicBezTo>
                <a:close/>
                <a:moveTo>
                  <a:pt x="816334" y="676878"/>
                </a:moveTo>
                <a:cubicBezTo>
                  <a:pt x="814512" y="678700"/>
                  <a:pt x="816334" y="680522"/>
                  <a:pt x="816334" y="682345"/>
                </a:cubicBezTo>
                <a:cubicBezTo>
                  <a:pt x="819979" y="680522"/>
                  <a:pt x="818156" y="678700"/>
                  <a:pt x="819979" y="676878"/>
                </a:cubicBezTo>
                <a:cubicBezTo>
                  <a:pt x="818156" y="675056"/>
                  <a:pt x="818156" y="675056"/>
                  <a:pt x="816334" y="676878"/>
                </a:cubicBezTo>
                <a:close/>
                <a:moveTo>
                  <a:pt x="461579" y="676422"/>
                </a:moveTo>
                <a:lnTo>
                  <a:pt x="464655" y="680522"/>
                </a:lnTo>
                <a:cubicBezTo>
                  <a:pt x="464655" y="679611"/>
                  <a:pt x="463288" y="678700"/>
                  <a:pt x="462149" y="677789"/>
                </a:cubicBezTo>
                <a:close/>
                <a:moveTo>
                  <a:pt x="3289024" y="675056"/>
                </a:moveTo>
                <a:cubicBezTo>
                  <a:pt x="3287202" y="676878"/>
                  <a:pt x="3281736" y="678700"/>
                  <a:pt x="3283558" y="682345"/>
                </a:cubicBezTo>
                <a:cubicBezTo>
                  <a:pt x="3285380" y="680522"/>
                  <a:pt x="3287202" y="682345"/>
                  <a:pt x="3287202" y="682345"/>
                </a:cubicBezTo>
                <a:cubicBezTo>
                  <a:pt x="3290847" y="680522"/>
                  <a:pt x="3292669" y="676878"/>
                  <a:pt x="3289024" y="675056"/>
                </a:cubicBezTo>
                <a:close/>
                <a:moveTo>
                  <a:pt x="2607531" y="675056"/>
                </a:moveTo>
                <a:cubicBezTo>
                  <a:pt x="2603887" y="676878"/>
                  <a:pt x="2605709" y="685989"/>
                  <a:pt x="2605709" y="695100"/>
                </a:cubicBezTo>
                <a:cubicBezTo>
                  <a:pt x="2607531" y="695100"/>
                  <a:pt x="2607531" y="687811"/>
                  <a:pt x="2605709" y="685989"/>
                </a:cubicBezTo>
                <a:cubicBezTo>
                  <a:pt x="2605709" y="684167"/>
                  <a:pt x="2609353" y="684167"/>
                  <a:pt x="2609353" y="685989"/>
                </a:cubicBezTo>
                <a:cubicBezTo>
                  <a:pt x="2611176" y="684167"/>
                  <a:pt x="2607531" y="678700"/>
                  <a:pt x="2607531" y="675056"/>
                </a:cubicBezTo>
                <a:close/>
                <a:moveTo>
                  <a:pt x="2589310" y="675056"/>
                </a:moveTo>
                <a:cubicBezTo>
                  <a:pt x="2583843" y="673234"/>
                  <a:pt x="2591132" y="687811"/>
                  <a:pt x="2583843" y="684167"/>
                </a:cubicBezTo>
                <a:cubicBezTo>
                  <a:pt x="2582021" y="684167"/>
                  <a:pt x="2582021" y="680522"/>
                  <a:pt x="2582021" y="678700"/>
                </a:cubicBezTo>
                <a:cubicBezTo>
                  <a:pt x="2578377" y="678700"/>
                  <a:pt x="2580199" y="685989"/>
                  <a:pt x="2582021" y="685989"/>
                </a:cubicBezTo>
                <a:cubicBezTo>
                  <a:pt x="2578377" y="687811"/>
                  <a:pt x="2576554" y="682345"/>
                  <a:pt x="2572910" y="682345"/>
                </a:cubicBezTo>
                <a:cubicBezTo>
                  <a:pt x="2567443" y="685989"/>
                  <a:pt x="2561977" y="691455"/>
                  <a:pt x="2561977" y="700566"/>
                </a:cubicBezTo>
                <a:cubicBezTo>
                  <a:pt x="2569266" y="704211"/>
                  <a:pt x="2576554" y="707855"/>
                  <a:pt x="2585665" y="709677"/>
                </a:cubicBezTo>
                <a:cubicBezTo>
                  <a:pt x="2585665" y="702388"/>
                  <a:pt x="2585665" y="700566"/>
                  <a:pt x="2591132" y="702388"/>
                </a:cubicBezTo>
                <a:cubicBezTo>
                  <a:pt x="2589310" y="685989"/>
                  <a:pt x="2598421" y="691455"/>
                  <a:pt x="2598421" y="676878"/>
                </a:cubicBezTo>
                <a:cubicBezTo>
                  <a:pt x="2596598" y="675056"/>
                  <a:pt x="2594776" y="675056"/>
                  <a:pt x="2592954" y="675056"/>
                </a:cubicBezTo>
                <a:cubicBezTo>
                  <a:pt x="2592954" y="676878"/>
                  <a:pt x="2592954" y="678700"/>
                  <a:pt x="2592954" y="680522"/>
                </a:cubicBezTo>
                <a:cubicBezTo>
                  <a:pt x="2591132" y="682345"/>
                  <a:pt x="2591132" y="675056"/>
                  <a:pt x="2589310" y="675056"/>
                </a:cubicBezTo>
                <a:close/>
                <a:moveTo>
                  <a:pt x="173107" y="675056"/>
                </a:moveTo>
                <a:cubicBezTo>
                  <a:pt x="171285" y="685989"/>
                  <a:pt x="180396" y="689633"/>
                  <a:pt x="187684" y="695100"/>
                </a:cubicBezTo>
                <a:cubicBezTo>
                  <a:pt x="187684" y="691455"/>
                  <a:pt x="184040" y="687811"/>
                  <a:pt x="178573" y="685989"/>
                </a:cubicBezTo>
                <a:cubicBezTo>
                  <a:pt x="182218" y="684167"/>
                  <a:pt x="174929" y="678700"/>
                  <a:pt x="173107" y="675056"/>
                </a:cubicBezTo>
                <a:close/>
                <a:moveTo>
                  <a:pt x="167640" y="675056"/>
                </a:moveTo>
                <a:cubicBezTo>
                  <a:pt x="163996" y="676878"/>
                  <a:pt x="169462" y="680522"/>
                  <a:pt x="171285" y="680522"/>
                </a:cubicBezTo>
                <a:cubicBezTo>
                  <a:pt x="173107" y="678700"/>
                  <a:pt x="169462" y="676878"/>
                  <a:pt x="167640" y="675056"/>
                </a:cubicBezTo>
                <a:close/>
                <a:moveTo>
                  <a:pt x="2858991" y="673234"/>
                </a:moveTo>
                <a:lnTo>
                  <a:pt x="2860063" y="679665"/>
                </a:lnTo>
                <a:lnTo>
                  <a:pt x="2858991" y="680067"/>
                </a:lnTo>
                <a:cubicBezTo>
                  <a:pt x="2859447" y="680978"/>
                  <a:pt x="2860813" y="682345"/>
                  <a:pt x="2860813" y="684167"/>
                </a:cubicBezTo>
                <a:lnTo>
                  <a:pt x="2860063" y="679665"/>
                </a:lnTo>
                <a:lnTo>
                  <a:pt x="2862636" y="678700"/>
                </a:lnTo>
                <a:cubicBezTo>
                  <a:pt x="2862636" y="676878"/>
                  <a:pt x="2858991" y="676878"/>
                  <a:pt x="2858991" y="673234"/>
                </a:cubicBezTo>
                <a:close/>
                <a:moveTo>
                  <a:pt x="1446806" y="673234"/>
                </a:moveTo>
                <a:cubicBezTo>
                  <a:pt x="1444984" y="673234"/>
                  <a:pt x="1441340" y="678700"/>
                  <a:pt x="1437696" y="680522"/>
                </a:cubicBezTo>
                <a:cubicBezTo>
                  <a:pt x="1437696" y="678700"/>
                  <a:pt x="1439518" y="678700"/>
                  <a:pt x="1437696" y="676878"/>
                </a:cubicBezTo>
                <a:cubicBezTo>
                  <a:pt x="1430407" y="678700"/>
                  <a:pt x="1421296" y="684167"/>
                  <a:pt x="1412185" y="685989"/>
                </a:cubicBezTo>
                <a:cubicBezTo>
                  <a:pt x="1415829" y="687811"/>
                  <a:pt x="1419474" y="684167"/>
                  <a:pt x="1424940" y="684167"/>
                </a:cubicBezTo>
                <a:cubicBezTo>
                  <a:pt x="1430407" y="682345"/>
                  <a:pt x="1435873" y="682345"/>
                  <a:pt x="1441340" y="680522"/>
                </a:cubicBezTo>
                <a:cubicBezTo>
                  <a:pt x="1443162" y="678700"/>
                  <a:pt x="1443162" y="676878"/>
                  <a:pt x="1444984" y="675056"/>
                </a:cubicBezTo>
                <a:cubicBezTo>
                  <a:pt x="1444984" y="675056"/>
                  <a:pt x="1446806" y="676878"/>
                  <a:pt x="1444984" y="676878"/>
                </a:cubicBezTo>
                <a:cubicBezTo>
                  <a:pt x="1448629" y="678700"/>
                  <a:pt x="1448629" y="675056"/>
                  <a:pt x="1446806" y="673234"/>
                </a:cubicBezTo>
                <a:close/>
                <a:moveTo>
                  <a:pt x="1222679" y="673234"/>
                </a:moveTo>
                <a:cubicBezTo>
                  <a:pt x="1219036" y="673234"/>
                  <a:pt x="1213568" y="676878"/>
                  <a:pt x="1211747" y="680522"/>
                </a:cubicBezTo>
                <a:cubicBezTo>
                  <a:pt x="1213568" y="680522"/>
                  <a:pt x="1213568" y="678700"/>
                  <a:pt x="1215390" y="682345"/>
                </a:cubicBezTo>
                <a:cubicBezTo>
                  <a:pt x="1219036" y="680522"/>
                  <a:pt x="1220858" y="680522"/>
                  <a:pt x="1219036" y="676878"/>
                </a:cubicBezTo>
                <a:cubicBezTo>
                  <a:pt x="1220858" y="675056"/>
                  <a:pt x="1219036" y="678700"/>
                  <a:pt x="1220858" y="678700"/>
                </a:cubicBezTo>
                <a:cubicBezTo>
                  <a:pt x="1224501" y="676878"/>
                  <a:pt x="1220858" y="675056"/>
                  <a:pt x="1222679" y="673234"/>
                </a:cubicBezTo>
                <a:close/>
                <a:moveTo>
                  <a:pt x="1195346" y="673234"/>
                </a:moveTo>
                <a:lnTo>
                  <a:pt x="1194925" y="673795"/>
                </a:lnTo>
                <a:lnTo>
                  <a:pt x="1193333" y="674193"/>
                </a:lnTo>
                <a:close/>
                <a:moveTo>
                  <a:pt x="1142503" y="673234"/>
                </a:moveTo>
                <a:cubicBezTo>
                  <a:pt x="1138859" y="673234"/>
                  <a:pt x="1137037" y="675056"/>
                  <a:pt x="1133393" y="676878"/>
                </a:cubicBezTo>
                <a:cubicBezTo>
                  <a:pt x="1128838" y="675967"/>
                  <a:pt x="1122915" y="678245"/>
                  <a:pt x="1118133" y="681890"/>
                </a:cubicBezTo>
                <a:lnTo>
                  <a:pt x="1113511" y="689134"/>
                </a:lnTo>
                <a:lnTo>
                  <a:pt x="1111526" y="687811"/>
                </a:lnTo>
                <a:cubicBezTo>
                  <a:pt x="1113349" y="691455"/>
                  <a:pt x="1113349" y="693278"/>
                  <a:pt x="1109704" y="695100"/>
                </a:cubicBezTo>
                <a:lnTo>
                  <a:pt x="1113511" y="689134"/>
                </a:lnTo>
                <a:lnTo>
                  <a:pt x="1116993" y="691455"/>
                </a:lnTo>
                <a:cubicBezTo>
                  <a:pt x="1118815" y="685989"/>
                  <a:pt x="1129748" y="689633"/>
                  <a:pt x="1131570" y="680522"/>
                </a:cubicBezTo>
                <a:cubicBezTo>
                  <a:pt x="1135215" y="684167"/>
                  <a:pt x="1140681" y="676878"/>
                  <a:pt x="1142503" y="673234"/>
                </a:cubicBezTo>
                <a:close/>
                <a:moveTo>
                  <a:pt x="1106060" y="673234"/>
                </a:moveTo>
                <a:cubicBezTo>
                  <a:pt x="1104238" y="675056"/>
                  <a:pt x="1100593" y="675056"/>
                  <a:pt x="1102416" y="680522"/>
                </a:cubicBezTo>
                <a:cubicBezTo>
                  <a:pt x="1106060" y="678700"/>
                  <a:pt x="1107882" y="673234"/>
                  <a:pt x="1106060" y="673234"/>
                </a:cubicBezTo>
                <a:close/>
                <a:moveTo>
                  <a:pt x="1093305" y="673234"/>
                </a:moveTo>
                <a:cubicBezTo>
                  <a:pt x="1091484" y="673234"/>
                  <a:pt x="1086016" y="676878"/>
                  <a:pt x="1089660" y="676878"/>
                </a:cubicBezTo>
                <a:cubicBezTo>
                  <a:pt x="1091484" y="675056"/>
                  <a:pt x="1091484" y="675056"/>
                  <a:pt x="1093305" y="673234"/>
                </a:cubicBezTo>
                <a:close/>
                <a:moveTo>
                  <a:pt x="1022240" y="673234"/>
                </a:moveTo>
                <a:cubicBezTo>
                  <a:pt x="1020418" y="671411"/>
                  <a:pt x="1014951" y="675056"/>
                  <a:pt x="1014951" y="676878"/>
                </a:cubicBezTo>
                <a:cubicBezTo>
                  <a:pt x="1016774" y="676878"/>
                  <a:pt x="1022240" y="675056"/>
                  <a:pt x="1022240" y="673234"/>
                </a:cubicBezTo>
                <a:close/>
                <a:moveTo>
                  <a:pt x="980330" y="673234"/>
                </a:moveTo>
                <a:cubicBezTo>
                  <a:pt x="980330" y="673234"/>
                  <a:pt x="982152" y="676878"/>
                  <a:pt x="983974" y="676878"/>
                </a:cubicBezTo>
                <a:cubicBezTo>
                  <a:pt x="983974" y="679612"/>
                  <a:pt x="982152" y="679157"/>
                  <a:pt x="980102" y="678473"/>
                </a:cubicBezTo>
                <a:lnTo>
                  <a:pt x="976550" y="678627"/>
                </a:lnTo>
                <a:lnTo>
                  <a:pt x="976351" y="675847"/>
                </a:lnTo>
                <a:close/>
                <a:moveTo>
                  <a:pt x="914732" y="673234"/>
                </a:moveTo>
                <a:cubicBezTo>
                  <a:pt x="912909" y="675056"/>
                  <a:pt x="914732" y="676878"/>
                  <a:pt x="911087" y="678700"/>
                </a:cubicBezTo>
                <a:cubicBezTo>
                  <a:pt x="912909" y="678700"/>
                  <a:pt x="912909" y="678700"/>
                  <a:pt x="914732" y="678700"/>
                </a:cubicBezTo>
                <a:cubicBezTo>
                  <a:pt x="912909" y="680522"/>
                  <a:pt x="912909" y="682345"/>
                  <a:pt x="912909" y="685989"/>
                </a:cubicBezTo>
                <a:cubicBezTo>
                  <a:pt x="911087" y="685989"/>
                  <a:pt x="911087" y="685989"/>
                  <a:pt x="909265" y="684167"/>
                </a:cubicBezTo>
                <a:cubicBezTo>
                  <a:pt x="905621" y="684167"/>
                  <a:pt x="905621" y="687811"/>
                  <a:pt x="903799" y="689633"/>
                </a:cubicBezTo>
                <a:lnTo>
                  <a:pt x="911086" y="689634"/>
                </a:lnTo>
                <a:lnTo>
                  <a:pt x="903799" y="693278"/>
                </a:lnTo>
                <a:cubicBezTo>
                  <a:pt x="905621" y="695100"/>
                  <a:pt x="907444" y="695100"/>
                  <a:pt x="909265" y="696922"/>
                </a:cubicBezTo>
                <a:lnTo>
                  <a:pt x="911087" y="689634"/>
                </a:lnTo>
                <a:lnTo>
                  <a:pt x="912909" y="689634"/>
                </a:lnTo>
                <a:lnTo>
                  <a:pt x="916555" y="698744"/>
                </a:lnTo>
                <a:cubicBezTo>
                  <a:pt x="920198" y="695100"/>
                  <a:pt x="916555" y="691455"/>
                  <a:pt x="920198" y="685989"/>
                </a:cubicBezTo>
                <a:lnTo>
                  <a:pt x="917596" y="687290"/>
                </a:lnTo>
                <a:lnTo>
                  <a:pt x="922020" y="684167"/>
                </a:lnTo>
                <a:cubicBezTo>
                  <a:pt x="920198" y="682345"/>
                  <a:pt x="916555" y="680522"/>
                  <a:pt x="914732" y="678700"/>
                </a:cubicBezTo>
                <a:cubicBezTo>
                  <a:pt x="916555" y="676878"/>
                  <a:pt x="916555" y="675056"/>
                  <a:pt x="914732" y="673234"/>
                </a:cubicBezTo>
                <a:close/>
                <a:moveTo>
                  <a:pt x="767136" y="673234"/>
                </a:moveTo>
                <a:cubicBezTo>
                  <a:pt x="765313" y="676878"/>
                  <a:pt x="772602" y="676878"/>
                  <a:pt x="774424" y="678700"/>
                </a:cubicBezTo>
                <a:cubicBezTo>
                  <a:pt x="774424" y="675056"/>
                  <a:pt x="768959" y="675056"/>
                  <a:pt x="767136" y="673234"/>
                </a:cubicBezTo>
                <a:close/>
                <a:moveTo>
                  <a:pt x="524786" y="673234"/>
                </a:moveTo>
                <a:cubicBezTo>
                  <a:pt x="524786" y="675056"/>
                  <a:pt x="524786" y="678700"/>
                  <a:pt x="526609" y="682345"/>
                </a:cubicBezTo>
                <a:cubicBezTo>
                  <a:pt x="528431" y="680522"/>
                  <a:pt x="526609" y="676878"/>
                  <a:pt x="528431" y="676878"/>
                </a:cubicBezTo>
                <a:cubicBezTo>
                  <a:pt x="530253" y="676878"/>
                  <a:pt x="526609" y="673234"/>
                  <a:pt x="524786" y="673234"/>
                </a:cubicBezTo>
                <a:close/>
                <a:moveTo>
                  <a:pt x="459188" y="673234"/>
                </a:moveTo>
                <a:cubicBezTo>
                  <a:pt x="457367" y="675056"/>
                  <a:pt x="461010" y="682345"/>
                  <a:pt x="464655" y="680522"/>
                </a:cubicBezTo>
                <a:cubicBezTo>
                  <a:pt x="466478" y="678700"/>
                  <a:pt x="462832" y="675056"/>
                  <a:pt x="461010" y="675056"/>
                </a:cubicBezTo>
                <a:lnTo>
                  <a:pt x="461579" y="676422"/>
                </a:lnTo>
                <a:close/>
                <a:moveTo>
                  <a:pt x="413634" y="673234"/>
                </a:moveTo>
                <a:cubicBezTo>
                  <a:pt x="409989" y="676878"/>
                  <a:pt x="417278" y="678700"/>
                  <a:pt x="420923" y="676878"/>
                </a:cubicBezTo>
                <a:cubicBezTo>
                  <a:pt x="419100" y="675056"/>
                  <a:pt x="415456" y="675056"/>
                  <a:pt x="413634" y="673234"/>
                </a:cubicBezTo>
                <a:close/>
                <a:moveTo>
                  <a:pt x="256927" y="673234"/>
                </a:moveTo>
                <a:cubicBezTo>
                  <a:pt x="258749" y="676878"/>
                  <a:pt x="258749" y="682345"/>
                  <a:pt x="262393" y="678700"/>
                </a:cubicBezTo>
                <a:cubicBezTo>
                  <a:pt x="260571" y="676878"/>
                  <a:pt x="258749" y="671411"/>
                  <a:pt x="256927" y="673234"/>
                </a:cubicBezTo>
                <a:close/>
                <a:moveTo>
                  <a:pt x="202262" y="673234"/>
                </a:moveTo>
                <a:cubicBezTo>
                  <a:pt x="202262" y="682345"/>
                  <a:pt x="207728" y="695100"/>
                  <a:pt x="216839" y="698744"/>
                </a:cubicBezTo>
                <a:cubicBezTo>
                  <a:pt x="213195" y="687811"/>
                  <a:pt x="207728" y="684167"/>
                  <a:pt x="202262" y="673234"/>
                </a:cubicBezTo>
                <a:close/>
                <a:moveTo>
                  <a:pt x="1439974" y="673006"/>
                </a:moveTo>
                <a:cubicBezTo>
                  <a:pt x="1438607" y="672778"/>
                  <a:pt x="1436784" y="673234"/>
                  <a:pt x="1435873" y="675056"/>
                </a:cubicBezTo>
                <a:cubicBezTo>
                  <a:pt x="1437696" y="676878"/>
                  <a:pt x="1439518" y="675056"/>
                  <a:pt x="1441340" y="675056"/>
                </a:cubicBezTo>
                <a:cubicBezTo>
                  <a:pt x="1442251" y="674145"/>
                  <a:pt x="1441340" y="673234"/>
                  <a:pt x="1439974" y="673006"/>
                </a:cubicBezTo>
                <a:close/>
                <a:moveTo>
                  <a:pt x="962381" y="671798"/>
                </a:moveTo>
                <a:lnTo>
                  <a:pt x="964841" y="675284"/>
                </a:lnTo>
                <a:lnTo>
                  <a:pt x="966769" y="678979"/>
                </a:lnTo>
                <a:lnTo>
                  <a:pt x="962108" y="673007"/>
                </a:lnTo>
                <a:close/>
                <a:moveTo>
                  <a:pt x="3157828" y="671411"/>
                </a:moveTo>
                <a:cubicBezTo>
                  <a:pt x="3156006" y="671411"/>
                  <a:pt x="3154184" y="675056"/>
                  <a:pt x="3154184" y="676878"/>
                </a:cubicBezTo>
                <a:cubicBezTo>
                  <a:pt x="3161472" y="676878"/>
                  <a:pt x="3157828" y="675056"/>
                  <a:pt x="3157828" y="671411"/>
                </a:cubicBezTo>
                <a:close/>
                <a:moveTo>
                  <a:pt x="2558332" y="671411"/>
                </a:moveTo>
                <a:cubicBezTo>
                  <a:pt x="2554688" y="676878"/>
                  <a:pt x="2560155" y="682345"/>
                  <a:pt x="2561977" y="687811"/>
                </a:cubicBezTo>
                <a:cubicBezTo>
                  <a:pt x="2563799" y="685989"/>
                  <a:pt x="2561977" y="680522"/>
                  <a:pt x="2567443" y="682345"/>
                </a:cubicBezTo>
                <a:cubicBezTo>
                  <a:pt x="2565621" y="675056"/>
                  <a:pt x="2558332" y="678700"/>
                  <a:pt x="2558332" y="671411"/>
                </a:cubicBezTo>
                <a:close/>
                <a:moveTo>
                  <a:pt x="1086016" y="671411"/>
                </a:moveTo>
                <a:cubicBezTo>
                  <a:pt x="1082373" y="673234"/>
                  <a:pt x="1078727" y="673234"/>
                  <a:pt x="1073262" y="678700"/>
                </a:cubicBezTo>
                <a:cubicBezTo>
                  <a:pt x="1076905" y="680522"/>
                  <a:pt x="1065972" y="685989"/>
                  <a:pt x="1069616" y="685989"/>
                </a:cubicBezTo>
                <a:cubicBezTo>
                  <a:pt x="1075083" y="682345"/>
                  <a:pt x="1082373" y="678700"/>
                  <a:pt x="1086016" y="671411"/>
                </a:cubicBezTo>
                <a:close/>
                <a:moveTo>
                  <a:pt x="1065972" y="671411"/>
                </a:moveTo>
                <a:cubicBezTo>
                  <a:pt x="1062328" y="671411"/>
                  <a:pt x="1062328" y="675056"/>
                  <a:pt x="1062328" y="675056"/>
                </a:cubicBezTo>
                <a:cubicBezTo>
                  <a:pt x="1065972" y="676878"/>
                  <a:pt x="1064151" y="673234"/>
                  <a:pt x="1065972" y="671411"/>
                </a:cubicBezTo>
                <a:close/>
                <a:moveTo>
                  <a:pt x="923843" y="671411"/>
                </a:moveTo>
                <a:cubicBezTo>
                  <a:pt x="922020" y="673234"/>
                  <a:pt x="914732" y="676878"/>
                  <a:pt x="920198" y="678700"/>
                </a:cubicBezTo>
                <a:lnTo>
                  <a:pt x="925186" y="672051"/>
                </a:lnTo>
                <a:lnTo>
                  <a:pt x="925494" y="672198"/>
                </a:lnTo>
                <a:lnTo>
                  <a:pt x="924526" y="676651"/>
                </a:lnTo>
                <a:cubicBezTo>
                  <a:pt x="923387" y="678245"/>
                  <a:pt x="922020" y="679611"/>
                  <a:pt x="922020" y="680522"/>
                </a:cubicBezTo>
                <a:cubicBezTo>
                  <a:pt x="922020" y="682345"/>
                  <a:pt x="922020" y="682345"/>
                  <a:pt x="922020" y="682345"/>
                </a:cubicBezTo>
                <a:cubicBezTo>
                  <a:pt x="922020" y="682345"/>
                  <a:pt x="923843" y="682345"/>
                  <a:pt x="927487" y="684167"/>
                </a:cubicBezTo>
                <a:cubicBezTo>
                  <a:pt x="929309" y="682345"/>
                  <a:pt x="927487" y="682345"/>
                  <a:pt x="927487" y="680522"/>
                </a:cubicBezTo>
                <a:cubicBezTo>
                  <a:pt x="927487" y="680522"/>
                  <a:pt x="927487" y="680522"/>
                  <a:pt x="925666" y="680522"/>
                </a:cubicBezTo>
                <a:cubicBezTo>
                  <a:pt x="927487" y="680522"/>
                  <a:pt x="927487" y="678700"/>
                  <a:pt x="929309" y="678700"/>
                </a:cubicBezTo>
                <a:cubicBezTo>
                  <a:pt x="929309" y="676878"/>
                  <a:pt x="929309" y="675056"/>
                  <a:pt x="928626" y="673689"/>
                </a:cubicBezTo>
                <a:lnTo>
                  <a:pt x="925494" y="672198"/>
                </a:lnTo>
                <a:lnTo>
                  <a:pt x="925666" y="671411"/>
                </a:lnTo>
                <a:lnTo>
                  <a:pt x="925186" y="672051"/>
                </a:lnTo>
                <a:close/>
                <a:moveTo>
                  <a:pt x="475589" y="671411"/>
                </a:moveTo>
                <a:cubicBezTo>
                  <a:pt x="471943" y="669589"/>
                  <a:pt x="471943" y="675056"/>
                  <a:pt x="475589" y="676878"/>
                </a:cubicBezTo>
                <a:cubicBezTo>
                  <a:pt x="477410" y="675056"/>
                  <a:pt x="473766" y="673234"/>
                  <a:pt x="475589" y="671411"/>
                </a:cubicBezTo>
                <a:close/>
                <a:moveTo>
                  <a:pt x="448256" y="671411"/>
                </a:moveTo>
                <a:lnTo>
                  <a:pt x="451898" y="675055"/>
                </a:lnTo>
                <a:lnTo>
                  <a:pt x="451899" y="675056"/>
                </a:lnTo>
                <a:lnTo>
                  <a:pt x="451899" y="675055"/>
                </a:lnTo>
                <a:lnTo>
                  <a:pt x="453722" y="676878"/>
                </a:lnTo>
                <a:cubicBezTo>
                  <a:pt x="453722" y="675056"/>
                  <a:pt x="453722" y="673234"/>
                  <a:pt x="451899" y="671411"/>
                </a:cubicBezTo>
                <a:cubicBezTo>
                  <a:pt x="450988" y="670501"/>
                  <a:pt x="451444" y="671412"/>
                  <a:pt x="451899" y="672551"/>
                </a:cubicBezTo>
                <a:lnTo>
                  <a:pt x="451899" y="675055"/>
                </a:lnTo>
                <a:lnTo>
                  <a:pt x="451898" y="675055"/>
                </a:lnTo>
                <a:lnTo>
                  <a:pt x="450760" y="672551"/>
                </a:lnTo>
                <a:cubicBezTo>
                  <a:pt x="450532" y="671412"/>
                  <a:pt x="450077" y="670501"/>
                  <a:pt x="448256" y="671411"/>
                </a:cubicBezTo>
                <a:close/>
                <a:moveTo>
                  <a:pt x="420923" y="671411"/>
                </a:moveTo>
                <a:cubicBezTo>
                  <a:pt x="417278" y="669589"/>
                  <a:pt x="417278" y="673234"/>
                  <a:pt x="415456" y="673234"/>
                </a:cubicBezTo>
                <a:cubicBezTo>
                  <a:pt x="417278" y="671411"/>
                  <a:pt x="422745" y="676878"/>
                  <a:pt x="420923" y="671411"/>
                </a:cubicBezTo>
                <a:close/>
                <a:moveTo>
                  <a:pt x="393590" y="671411"/>
                </a:moveTo>
                <a:cubicBezTo>
                  <a:pt x="391768" y="671411"/>
                  <a:pt x="395412" y="676878"/>
                  <a:pt x="397234" y="675056"/>
                </a:cubicBezTo>
                <a:cubicBezTo>
                  <a:pt x="397234" y="673234"/>
                  <a:pt x="395412" y="673234"/>
                  <a:pt x="393590" y="671411"/>
                </a:cubicBezTo>
                <a:close/>
                <a:moveTo>
                  <a:pt x="284259" y="671411"/>
                </a:moveTo>
                <a:cubicBezTo>
                  <a:pt x="273327" y="689633"/>
                  <a:pt x="293370" y="707855"/>
                  <a:pt x="307948" y="716966"/>
                </a:cubicBezTo>
                <a:cubicBezTo>
                  <a:pt x="307948" y="711499"/>
                  <a:pt x="300660" y="707855"/>
                  <a:pt x="300660" y="702388"/>
                </a:cubicBezTo>
                <a:cubicBezTo>
                  <a:pt x="302481" y="706033"/>
                  <a:pt x="306126" y="709677"/>
                  <a:pt x="307948" y="711499"/>
                </a:cubicBezTo>
                <a:cubicBezTo>
                  <a:pt x="306126" y="698744"/>
                  <a:pt x="291549" y="684167"/>
                  <a:pt x="284259" y="671411"/>
                </a:cubicBezTo>
                <a:close/>
                <a:moveTo>
                  <a:pt x="618856" y="670956"/>
                </a:moveTo>
                <a:cubicBezTo>
                  <a:pt x="618628" y="671412"/>
                  <a:pt x="618628" y="672323"/>
                  <a:pt x="617717" y="673234"/>
                </a:cubicBezTo>
                <a:cubicBezTo>
                  <a:pt x="617717" y="675056"/>
                  <a:pt x="619539" y="675056"/>
                  <a:pt x="619539" y="676878"/>
                </a:cubicBezTo>
                <a:cubicBezTo>
                  <a:pt x="621362" y="675056"/>
                  <a:pt x="617717" y="673234"/>
                  <a:pt x="621362" y="671411"/>
                </a:cubicBezTo>
                <a:cubicBezTo>
                  <a:pt x="619539" y="670501"/>
                  <a:pt x="619084" y="670501"/>
                  <a:pt x="618856" y="670956"/>
                </a:cubicBezTo>
                <a:close/>
                <a:moveTo>
                  <a:pt x="1421296" y="669589"/>
                </a:moveTo>
                <a:cubicBezTo>
                  <a:pt x="1419474" y="667767"/>
                  <a:pt x="1415829" y="673234"/>
                  <a:pt x="1412185" y="673234"/>
                </a:cubicBezTo>
                <a:cubicBezTo>
                  <a:pt x="1412185" y="673234"/>
                  <a:pt x="1414007" y="675056"/>
                  <a:pt x="1414007" y="675056"/>
                </a:cubicBezTo>
                <a:cubicBezTo>
                  <a:pt x="1415829" y="675056"/>
                  <a:pt x="1419474" y="671411"/>
                  <a:pt x="1421296" y="669589"/>
                </a:cubicBezTo>
                <a:close/>
                <a:moveTo>
                  <a:pt x="1213568" y="669589"/>
                </a:moveTo>
                <a:cubicBezTo>
                  <a:pt x="1209925" y="667767"/>
                  <a:pt x="1211747" y="673234"/>
                  <a:pt x="1209925" y="673234"/>
                </a:cubicBezTo>
                <a:cubicBezTo>
                  <a:pt x="1211747" y="673234"/>
                  <a:pt x="1211747" y="669589"/>
                  <a:pt x="1213568" y="669589"/>
                </a:cubicBezTo>
                <a:close/>
                <a:moveTo>
                  <a:pt x="1149792" y="669589"/>
                </a:moveTo>
                <a:cubicBezTo>
                  <a:pt x="1146148" y="676878"/>
                  <a:pt x="1138859" y="684167"/>
                  <a:pt x="1138859" y="689633"/>
                </a:cubicBezTo>
                <a:cubicBezTo>
                  <a:pt x="1144326" y="687811"/>
                  <a:pt x="1146148" y="678700"/>
                  <a:pt x="1151614" y="675056"/>
                </a:cubicBezTo>
                <a:cubicBezTo>
                  <a:pt x="1149792" y="673234"/>
                  <a:pt x="1151614" y="669589"/>
                  <a:pt x="1149792" y="669589"/>
                </a:cubicBezTo>
                <a:close/>
                <a:moveTo>
                  <a:pt x="1067794" y="669589"/>
                </a:moveTo>
                <a:cubicBezTo>
                  <a:pt x="1058683" y="669589"/>
                  <a:pt x="1053217" y="675056"/>
                  <a:pt x="1045929" y="675056"/>
                </a:cubicBezTo>
                <a:cubicBezTo>
                  <a:pt x="1045929" y="675056"/>
                  <a:pt x="1045929" y="678700"/>
                  <a:pt x="1042284" y="678700"/>
                </a:cubicBezTo>
                <a:cubicBezTo>
                  <a:pt x="1044106" y="678700"/>
                  <a:pt x="1047750" y="678700"/>
                  <a:pt x="1049573" y="678700"/>
                </a:cubicBezTo>
                <a:cubicBezTo>
                  <a:pt x="1038639" y="684167"/>
                  <a:pt x="1033173" y="698744"/>
                  <a:pt x="1022240" y="704211"/>
                </a:cubicBezTo>
                <a:cubicBezTo>
                  <a:pt x="1029529" y="704211"/>
                  <a:pt x="1033173" y="700566"/>
                  <a:pt x="1040462" y="700566"/>
                </a:cubicBezTo>
                <a:cubicBezTo>
                  <a:pt x="1040462" y="696922"/>
                  <a:pt x="1042284" y="691455"/>
                  <a:pt x="1044106" y="687811"/>
                </a:cubicBezTo>
                <a:cubicBezTo>
                  <a:pt x="1047750" y="691455"/>
                  <a:pt x="1042284" y="695100"/>
                  <a:pt x="1042284" y="698744"/>
                </a:cubicBezTo>
                <a:cubicBezTo>
                  <a:pt x="1044106" y="695100"/>
                  <a:pt x="1047750" y="691455"/>
                  <a:pt x="1049573" y="687811"/>
                </a:cubicBezTo>
                <a:cubicBezTo>
                  <a:pt x="1049573" y="689633"/>
                  <a:pt x="1047750" y="693278"/>
                  <a:pt x="1047750" y="696922"/>
                </a:cubicBezTo>
                <a:lnTo>
                  <a:pt x="1054479" y="691035"/>
                </a:lnTo>
                <a:lnTo>
                  <a:pt x="1055950" y="690545"/>
                </a:lnTo>
                <a:cubicBezTo>
                  <a:pt x="1056861" y="689634"/>
                  <a:pt x="1057772" y="688722"/>
                  <a:pt x="1058683" y="689633"/>
                </a:cubicBezTo>
                <a:lnTo>
                  <a:pt x="1054479" y="691035"/>
                </a:lnTo>
                <a:lnTo>
                  <a:pt x="1062328" y="684167"/>
                </a:lnTo>
                <a:cubicBezTo>
                  <a:pt x="1062328" y="682345"/>
                  <a:pt x="1060506" y="676878"/>
                  <a:pt x="1056861" y="676878"/>
                </a:cubicBezTo>
                <a:cubicBezTo>
                  <a:pt x="1055040" y="678700"/>
                  <a:pt x="1055040" y="678700"/>
                  <a:pt x="1053217" y="678700"/>
                </a:cubicBezTo>
                <a:cubicBezTo>
                  <a:pt x="1056861" y="675056"/>
                  <a:pt x="1062328" y="671411"/>
                  <a:pt x="1067794" y="669589"/>
                </a:cubicBezTo>
                <a:close/>
                <a:moveTo>
                  <a:pt x="931131" y="669589"/>
                </a:moveTo>
                <a:cubicBezTo>
                  <a:pt x="929309" y="669589"/>
                  <a:pt x="931131" y="673234"/>
                  <a:pt x="932953" y="675056"/>
                </a:cubicBezTo>
                <a:cubicBezTo>
                  <a:pt x="936598" y="673234"/>
                  <a:pt x="931131" y="671411"/>
                  <a:pt x="931131" y="669589"/>
                </a:cubicBezTo>
                <a:close/>
                <a:moveTo>
                  <a:pt x="903799" y="669589"/>
                </a:moveTo>
                <a:cubicBezTo>
                  <a:pt x="896510" y="675056"/>
                  <a:pt x="891043" y="682345"/>
                  <a:pt x="894688" y="687811"/>
                </a:cubicBezTo>
                <a:cubicBezTo>
                  <a:pt x="900154" y="684167"/>
                  <a:pt x="907444" y="675056"/>
                  <a:pt x="903799" y="669589"/>
                </a:cubicBezTo>
                <a:close/>
                <a:moveTo>
                  <a:pt x="819979" y="669589"/>
                </a:moveTo>
                <a:cubicBezTo>
                  <a:pt x="819979" y="669589"/>
                  <a:pt x="818156" y="671411"/>
                  <a:pt x="818156" y="671411"/>
                </a:cubicBezTo>
                <a:cubicBezTo>
                  <a:pt x="818156" y="673234"/>
                  <a:pt x="818156" y="673234"/>
                  <a:pt x="819979" y="675056"/>
                </a:cubicBezTo>
                <a:cubicBezTo>
                  <a:pt x="821801" y="673234"/>
                  <a:pt x="819979" y="671411"/>
                  <a:pt x="819979" y="669589"/>
                </a:cubicBezTo>
                <a:close/>
                <a:moveTo>
                  <a:pt x="486521" y="669589"/>
                </a:moveTo>
                <a:cubicBezTo>
                  <a:pt x="484700" y="675056"/>
                  <a:pt x="482876" y="678700"/>
                  <a:pt x="488343" y="682345"/>
                </a:cubicBezTo>
                <a:cubicBezTo>
                  <a:pt x="493809" y="678700"/>
                  <a:pt x="488343" y="675056"/>
                  <a:pt x="486521" y="669589"/>
                </a:cubicBezTo>
                <a:close/>
                <a:moveTo>
                  <a:pt x="369902" y="669589"/>
                </a:moveTo>
                <a:cubicBezTo>
                  <a:pt x="368079" y="680522"/>
                  <a:pt x="379012" y="685989"/>
                  <a:pt x="382657" y="693278"/>
                </a:cubicBezTo>
                <a:cubicBezTo>
                  <a:pt x="379012" y="687811"/>
                  <a:pt x="377190" y="682345"/>
                  <a:pt x="375368" y="676878"/>
                </a:cubicBezTo>
                <a:cubicBezTo>
                  <a:pt x="373546" y="675056"/>
                  <a:pt x="373546" y="671411"/>
                  <a:pt x="369902" y="669589"/>
                </a:cubicBezTo>
                <a:close/>
                <a:moveTo>
                  <a:pt x="349858" y="669589"/>
                </a:moveTo>
                <a:cubicBezTo>
                  <a:pt x="348037" y="673234"/>
                  <a:pt x="349858" y="675056"/>
                  <a:pt x="353502" y="680522"/>
                </a:cubicBezTo>
                <a:cubicBezTo>
                  <a:pt x="355324" y="678700"/>
                  <a:pt x="351680" y="676878"/>
                  <a:pt x="355324" y="676878"/>
                </a:cubicBezTo>
                <a:cubicBezTo>
                  <a:pt x="353502" y="673234"/>
                  <a:pt x="351680" y="673234"/>
                  <a:pt x="349858" y="669589"/>
                </a:cubicBezTo>
                <a:close/>
                <a:moveTo>
                  <a:pt x="3558706" y="667767"/>
                </a:moveTo>
                <a:cubicBezTo>
                  <a:pt x="3558706" y="673234"/>
                  <a:pt x="3555062" y="678700"/>
                  <a:pt x="3556884" y="682345"/>
                </a:cubicBezTo>
                <a:cubicBezTo>
                  <a:pt x="3558706" y="680522"/>
                  <a:pt x="3560528" y="676878"/>
                  <a:pt x="3564173" y="676878"/>
                </a:cubicBezTo>
                <a:cubicBezTo>
                  <a:pt x="3564173" y="673234"/>
                  <a:pt x="3560528" y="671411"/>
                  <a:pt x="3562350" y="667767"/>
                </a:cubicBezTo>
                <a:cubicBezTo>
                  <a:pt x="3560528" y="667767"/>
                  <a:pt x="3560528" y="667767"/>
                  <a:pt x="3558706" y="667767"/>
                </a:cubicBezTo>
                <a:close/>
                <a:moveTo>
                  <a:pt x="3473064" y="667767"/>
                </a:moveTo>
                <a:cubicBezTo>
                  <a:pt x="3467597" y="675056"/>
                  <a:pt x="3474886" y="680522"/>
                  <a:pt x="3474886" y="685989"/>
                </a:cubicBezTo>
                <a:cubicBezTo>
                  <a:pt x="3478530" y="685989"/>
                  <a:pt x="3478530" y="684167"/>
                  <a:pt x="3482175" y="684167"/>
                </a:cubicBezTo>
                <a:cubicBezTo>
                  <a:pt x="3482175" y="680522"/>
                  <a:pt x="3485819" y="669589"/>
                  <a:pt x="3473064" y="667767"/>
                </a:cubicBezTo>
                <a:close/>
                <a:moveTo>
                  <a:pt x="3442087" y="667767"/>
                </a:moveTo>
                <a:cubicBezTo>
                  <a:pt x="3436621" y="667767"/>
                  <a:pt x="3440265" y="671411"/>
                  <a:pt x="3440265" y="675056"/>
                </a:cubicBezTo>
                <a:cubicBezTo>
                  <a:pt x="3436621" y="675056"/>
                  <a:pt x="3432976" y="675056"/>
                  <a:pt x="3431154" y="673234"/>
                </a:cubicBezTo>
                <a:cubicBezTo>
                  <a:pt x="3431154" y="675056"/>
                  <a:pt x="3431154" y="684167"/>
                  <a:pt x="3432976" y="687811"/>
                </a:cubicBezTo>
                <a:cubicBezTo>
                  <a:pt x="3445731" y="689633"/>
                  <a:pt x="3440265" y="675056"/>
                  <a:pt x="3449376" y="678700"/>
                </a:cubicBezTo>
                <a:cubicBezTo>
                  <a:pt x="3449376" y="673234"/>
                  <a:pt x="3454842" y="671411"/>
                  <a:pt x="3451198" y="667767"/>
                </a:cubicBezTo>
                <a:cubicBezTo>
                  <a:pt x="3447553" y="667767"/>
                  <a:pt x="3442087" y="676878"/>
                  <a:pt x="3442087" y="667767"/>
                </a:cubicBezTo>
                <a:close/>
                <a:moveTo>
                  <a:pt x="3301780" y="667767"/>
                </a:moveTo>
                <a:cubicBezTo>
                  <a:pt x="3294491" y="669589"/>
                  <a:pt x="3298135" y="675056"/>
                  <a:pt x="3298135" y="678700"/>
                </a:cubicBezTo>
                <a:cubicBezTo>
                  <a:pt x="3301780" y="676878"/>
                  <a:pt x="3299957" y="671411"/>
                  <a:pt x="3301780" y="667767"/>
                </a:cubicBezTo>
                <a:close/>
                <a:moveTo>
                  <a:pt x="973041" y="667767"/>
                </a:moveTo>
                <a:cubicBezTo>
                  <a:pt x="975774" y="669589"/>
                  <a:pt x="976230" y="671867"/>
                  <a:pt x="976230" y="674145"/>
                </a:cubicBezTo>
                <a:lnTo>
                  <a:pt x="976351" y="675847"/>
                </a:lnTo>
                <a:lnTo>
                  <a:pt x="974518" y="677051"/>
                </a:lnTo>
                <a:close/>
                <a:moveTo>
                  <a:pt x="945709" y="667767"/>
                </a:moveTo>
                <a:cubicBezTo>
                  <a:pt x="940242" y="667767"/>
                  <a:pt x="936598" y="675056"/>
                  <a:pt x="942064" y="676878"/>
                </a:cubicBezTo>
                <a:cubicBezTo>
                  <a:pt x="943886" y="673234"/>
                  <a:pt x="943886" y="669589"/>
                  <a:pt x="945709" y="667767"/>
                </a:cubicBezTo>
                <a:close/>
                <a:moveTo>
                  <a:pt x="843667" y="667767"/>
                </a:moveTo>
                <a:cubicBezTo>
                  <a:pt x="840022" y="664123"/>
                  <a:pt x="841845" y="673234"/>
                  <a:pt x="838200" y="671411"/>
                </a:cubicBezTo>
                <a:cubicBezTo>
                  <a:pt x="840022" y="673234"/>
                  <a:pt x="840022" y="673234"/>
                  <a:pt x="841845" y="673234"/>
                </a:cubicBezTo>
                <a:cubicBezTo>
                  <a:pt x="841845" y="671411"/>
                  <a:pt x="841845" y="669589"/>
                  <a:pt x="843667" y="667767"/>
                </a:cubicBezTo>
                <a:close/>
                <a:moveTo>
                  <a:pt x="829089" y="667767"/>
                </a:moveTo>
                <a:cubicBezTo>
                  <a:pt x="832734" y="671411"/>
                  <a:pt x="832734" y="671411"/>
                  <a:pt x="834556" y="673234"/>
                </a:cubicBezTo>
                <a:cubicBezTo>
                  <a:pt x="834556" y="673234"/>
                  <a:pt x="834556" y="675056"/>
                  <a:pt x="836378" y="675056"/>
                </a:cubicBezTo>
                <a:cubicBezTo>
                  <a:pt x="838200" y="673234"/>
                  <a:pt x="836378" y="673234"/>
                  <a:pt x="834556" y="671411"/>
                </a:cubicBezTo>
                <a:cubicBezTo>
                  <a:pt x="832734" y="669589"/>
                  <a:pt x="830912" y="667767"/>
                  <a:pt x="830912" y="667767"/>
                </a:cubicBezTo>
                <a:cubicBezTo>
                  <a:pt x="829089" y="667767"/>
                  <a:pt x="829089" y="669589"/>
                  <a:pt x="829089" y="667767"/>
                </a:cubicBezTo>
                <a:close/>
                <a:moveTo>
                  <a:pt x="581274" y="667767"/>
                </a:moveTo>
                <a:cubicBezTo>
                  <a:pt x="573985" y="671411"/>
                  <a:pt x="575808" y="678700"/>
                  <a:pt x="581274" y="680522"/>
                </a:cubicBezTo>
                <a:cubicBezTo>
                  <a:pt x="583096" y="676878"/>
                  <a:pt x="586741" y="673234"/>
                  <a:pt x="581274" y="667767"/>
                </a:cubicBezTo>
                <a:close/>
                <a:moveTo>
                  <a:pt x="291549" y="667767"/>
                </a:moveTo>
                <a:cubicBezTo>
                  <a:pt x="293370" y="675056"/>
                  <a:pt x="298837" y="682345"/>
                  <a:pt x="302481" y="687811"/>
                </a:cubicBezTo>
                <a:cubicBezTo>
                  <a:pt x="302481" y="687811"/>
                  <a:pt x="304303" y="685989"/>
                  <a:pt x="304303" y="685989"/>
                </a:cubicBezTo>
                <a:cubicBezTo>
                  <a:pt x="304303" y="696922"/>
                  <a:pt x="313414" y="707855"/>
                  <a:pt x="324347" y="713321"/>
                </a:cubicBezTo>
                <a:cubicBezTo>
                  <a:pt x="324347" y="711499"/>
                  <a:pt x="324347" y="709677"/>
                  <a:pt x="324347" y="706033"/>
                </a:cubicBezTo>
                <a:cubicBezTo>
                  <a:pt x="327993" y="713321"/>
                  <a:pt x="331636" y="720610"/>
                  <a:pt x="337102" y="726077"/>
                </a:cubicBezTo>
                <a:cubicBezTo>
                  <a:pt x="331636" y="720610"/>
                  <a:pt x="340747" y="709677"/>
                  <a:pt x="326169" y="707855"/>
                </a:cubicBezTo>
                <a:cubicBezTo>
                  <a:pt x="327993" y="706033"/>
                  <a:pt x="329814" y="704211"/>
                  <a:pt x="331636" y="707855"/>
                </a:cubicBezTo>
                <a:cubicBezTo>
                  <a:pt x="329814" y="698744"/>
                  <a:pt x="324347" y="696922"/>
                  <a:pt x="317059" y="693278"/>
                </a:cubicBezTo>
                <a:cubicBezTo>
                  <a:pt x="320703" y="691455"/>
                  <a:pt x="324347" y="698744"/>
                  <a:pt x="326169" y="693278"/>
                </a:cubicBezTo>
                <a:cubicBezTo>
                  <a:pt x="326169" y="691455"/>
                  <a:pt x="324347" y="691455"/>
                  <a:pt x="326169" y="689633"/>
                </a:cubicBezTo>
                <a:cubicBezTo>
                  <a:pt x="317059" y="687811"/>
                  <a:pt x="309771" y="676878"/>
                  <a:pt x="306126" y="680522"/>
                </a:cubicBezTo>
                <a:cubicBezTo>
                  <a:pt x="304303" y="680522"/>
                  <a:pt x="304303" y="682345"/>
                  <a:pt x="304303" y="682345"/>
                </a:cubicBezTo>
                <a:cubicBezTo>
                  <a:pt x="304303" y="676878"/>
                  <a:pt x="298837" y="669589"/>
                  <a:pt x="291549" y="667767"/>
                </a:cubicBezTo>
                <a:close/>
                <a:moveTo>
                  <a:pt x="176751" y="667767"/>
                </a:moveTo>
                <a:cubicBezTo>
                  <a:pt x="180396" y="671411"/>
                  <a:pt x="178573" y="678700"/>
                  <a:pt x="184040" y="680522"/>
                </a:cubicBezTo>
                <a:cubicBezTo>
                  <a:pt x="182218" y="676878"/>
                  <a:pt x="180396" y="671411"/>
                  <a:pt x="176751" y="667767"/>
                </a:cubicBezTo>
                <a:close/>
                <a:moveTo>
                  <a:pt x="138486" y="667767"/>
                </a:moveTo>
                <a:cubicBezTo>
                  <a:pt x="138486" y="668678"/>
                  <a:pt x="139852" y="670045"/>
                  <a:pt x="140991" y="671640"/>
                </a:cubicBezTo>
                <a:lnTo>
                  <a:pt x="141095" y="672116"/>
                </a:lnTo>
                <a:close/>
                <a:moveTo>
                  <a:pt x="63776" y="667767"/>
                </a:moveTo>
                <a:lnTo>
                  <a:pt x="83488" y="685617"/>
                </a:lnTo>
                <a:lnTo>
                  <a:pt x="83365" y="685534"/>
                </a:lnTo>
                <a:cubicBezTo>
                  <a:pt x="76987" y="679156"/>
                  <a:pt x="71065" y="672323"/>
                  <a:pt x="63776" y="667767"/>
                </a:cubicBezTo>
                <a:close/>
                <a:moveTo>
                  <a:pt x="375213" y="667535"/>
                </a:moveTo>
                <a:lnTo>
                  <a:pt x="375368" y="667767"/>
                </a:lnTo>
                <a:lnTo>
                  <a:pt x="375205" y="667704"/>
                </a:lnTo>
                <a:close/>
                <a:moveTo>
                  <a:pt x="2104556" y="667325"/>
                </a:moveTo>
                <a:lnTo>
                  <a:pt x="2104803" y="667671"/>
                </a:lnTo>
                <a:lnTo>
                  <a:pt x="2104611" y="667767"/>
                </a:lnTo>
                <a:close/>
                <a:moveTo>
                  <a:pt x="1234523" y="666401"/>
                </a:moveTo>
                <a:cubicBezTo>
                  <a:pt x="1231334" y="668678"/>
                  <a:pt x="1229057" y="673234"/>
                  <a:pt x="1228146" y="678700"/>
                </a:cubicBezTo>
                <a:cubicBezTo>
                  <a:pt x="1228146" y="680522"/>
                  <a:pt x="1233612" y="680522"/>
                  <a:pt x="1231790" y="682345"/>
                </a:cubicBezTo>
                <a:cubicBezTo>
                  <a:pt x="1240901" y="680522"/>
                  <a:pt x="1240901" y="673234"/>
                  <a:pt x="1246367" y="667767"/>
                </a:cubicBezTo>
                <a:cubicBezTo>
                  <a:pt x="1241811" y="664123"/>
                  <a:pt x="1237712" y="664123"/>
                  <a:pt x="1234523" y="666401"/>
                </a:cubicBezTo>
                <a:close/>
                <a:moveTo>
                  <a:pt x="2933700" y="665945"/>
                </a:moveTo>
                <a:cubicBezTo>
                  <a:pt x="2926412" y="667767"/>
                  <a:pt x="2939167" y="676878"/>
                  <a:pt x="2946456" y="675056"/>
                </a:cubicBezTo>
                <a:cubicBezTo>
                  <a:pt x="2948278" y="667767"/>
                  <a:pt x="2935523" y="671411"/>
                  <a:pt x="2933700" y="665945"/>
                </a:cubicBezTo>
                <a:close/>
                <a:moveTo>
                  <a:pt x="2620287" y="665945"/>
                </a:moveTo>
                <a:cubicBezTo>
                  <a:pt x="2620287" y="671411"/>
                  <a:pt x="2616642" y="671411"/>
                  <a:pt x="2618464" y="678700"/>
                </a:cubicBezTo>
                <a:cubicBezTo>
                  <a:pt x="2616642" y="680522"/>
                  <a:pt x="2618464" y="671411"/>
                  <a:pt x="2614820" y="673234"/>
                </a:cubicBezTo>
                <a:cubicBezTo>
                  <a:pt x="2612998" y="678700"/>
                  <a:pt x="2622109" y="682345"/>
                  <a:pt x="2614820" y="684167"/>
                </a:cubicBezTo>
                <a:cubicBezTo>
                  <a:pt x="2620287" y="693278"/>
                  <a:pt x="2623931" y="704211"/>
                  <a:pt x="2622109" y="687811"/>
                </a:cubicBezTo>
                <a:cubicBezTo>
                  <a:pt x="2625753" y="687811"/>
                  <a:pt x="2625753" y="689633"/>
                  <a:pt x="2627575" y="689633"/>
                </a:cubicBezTo>
                <a:cubicBezTo>
                  <a:pt x="2627575" y="684167"/>
                  <a:pt x="2627575" y="684167"/>
                  <a:pt x="2627575" y="680522"/>
                </a:cubicBezTo>
                <a:cubicBezTo>
                  <a:pt x="2629397" y="684167"/>
                  <a:pt x="2634864" y="684167"/>
                  <a:pt x="2634864" y="689633"/>
                </a:cubicBezTo>
                <a:cubicBezTo>
                  <a:pt x="2634864" y="680522"/>
                  <a:pt x="2625753" y="671411"/>
                  <a:pt x="2620287" y="665945"/>
                </a:cubicBezTo>
                <a:close/>
                <a:moveTo>
                  <a:pt x="1355698" y="665945"/>
                </a:moveTo>
                <a:cubicBezTo>
                  <a:pt x="1348410" y="667767"/>
                  <a:pt x="1337476" y="678700"/>
                  <a:pt x="1333832" y="684167"/>
                </a:cubicBezTo>
                <a:cubicBezTo>
                  <a:pt x="1337476" y="685989"/>
                  <a:pt x="1341120" y="682345"/>
                  <a:pt x="1341120" y="680522"/>
                </a:cubicBezTo>
                <a:cubicBezTo>
                  <a:pt x="1342942" y="680522"/>
                  <a:pt x="1342942" y="682345"/>
                  <a:pt x="1344765" y="682345"/>
                </a:cubicBezTo>
                <a:cubicBezTo>
                  <a:pt x="1352053" y="678700"/>
                  <a:pt x="1352053" y="671411"/>
                  <a:pt x="1355698" y="665945"/>
                </a:cubicBezTo>
                <a:close/>
                <a:moveTo>
                  <a:pt x="1268233" y="665945"/>
                </a:moveTo>
                <a:cubicBezTo>
                  <a:pt x="1266411" y="665945"/>
                  <a:pt x="1264589" y="669589"/>
                  <a:pt x="1262767" y="669589"/>
                </a:cubicBezTo>
                <a:cubicBezTo>
                  <a:pt x="1264589" y="673234"/>
                  <a:pt x="1268233" y="667767"/>
                  <a:pt x="1268233" y="665945"/>
                </a:cubicBezTo>
                <a:close/>
                <a:moveTo>
                  <a:pt x="1120637" y="665945"/>
                </a:moveTo>
                <a:cubicBezTo>
                  <a:pt x="1120637" y="667767"/>
                  <a:pt x="1116993" y="671411"/>
                  <a:pt x="1118815" y="671411"/>
                </a:cubicBezTo>
                <a:cubicBezTo>
                  <a:pt x="1118815" y="669589"/>
                  <a:pt x="1124282" y="665945"/>
                  <a:pt x="1120637" y="665945"/>
                </a:cubicBezTo>
                <a:close/>
                <a:moveTo>
                  <a:pt x="1078727" y="665945"/>
                </a:moveTo>
                <a:cubicBezTo>
                  <a:pt x="1076905" y="664123"/>
                  <a:pt x="1073262" y="665945"/>
                  <a:pt x="1069616" y="669589"/>
                </a:cubicBezTo>
                <a:cubicBezTo>
                  <a:pt x="1069616" y="671411"/>
                  <a:pt x="1071439" y="669589"/>
                  <a:pt x="1073262" y="669589"/>
                </a:cubicBezTo>
                <a:cubicBezTo>
                  <a:pt x="1067794" y="675056"/>
                  <a:pt x="1069616" y="678700"/>
                  <a:pt x="1064151" y="684167"/>
                </a:cubicBezTo>
                <a:cubicBezTo>
                  <a:pt x="1073262" y="680522"/>
                  <a:pt x="1076905" y="671411"/>
                  <a:pt x="1078727" y="665945"/>
                </a:cubicBezTo>
                <a:close/>
                <a:moveTo>
                  <a:pt x="696071" y="665945"/>
                </a:moveTo>
                <a:cubicBezTo>
                  <a:pt x="690604" y="665945"/>
                  <a:pt x="696071" y="671411"/>
                  <a:pt x="694249" y="673234"/>
                </a:cubicBezTo>
                <a:cubicBezTo>
                  <a:pt x="699715" y="673234"/>
                  <a:pt x="696071" y="667767"/>
                  <a:pt x="696071" y="665945"/>
                </a:cubicBezTo>
                <a:close/>
                <a:moveTo>
                  <a:pt x="668738" y="665945"/>
                </a:moveTo>
                <a:cubicBezTo>
                  <a:pt x="668738" y="669589"/>
                  <a:pt x="674205" y="675056"/>
                  <a:pt x="679671" y="673234"/>
                </a:cubicBezTo>
                <a:cubicBezTo>
                  <a:pt x="679671" y="673234"/>
                  <a:pt x="677849" y="675056"/>
                  <a:pt x="677849" y="675056"/>
                </a:cubicBezTo>
                <a:cubicBezTo>
                  <a:pt x="681493" y="678700"/>
                  <a:pt x="685138" y="678700"/>
                  <a:pt x="688782" y="678700"/>
                </a:cubicBezTo>
                <a:cubicBezTo>
                  <a:pt x="688782" y="676878"/>
                  <a:pt x="683316" y="673234"/>
                  <a:pt x="679671" y="673234"/>
                </a:cubicBezTo>
                <a:cubicBezTo>
                  <a:pt x="676027" y="671411"/>
                  <a:pt x="672383" y="669589"/>
                  <a:pt x="668738" y="665945"/>
                </a:cubicBezTo>
                <a:close/>
                <a:moveTo>
                  <a:pt x="590385" y="665945"/>
                </a:moveTo>
                <a:cubicBezTo>
                  <a:pt x="586741" y="669589"/>
                  <a:pt x="583096" y="675056"/>
                  <a:pt x="588562" y="680522"/>
                </a:cubicBezTo>
                <a:cubicBezTo>
                  <a:pt x="590385" y="675056"/>
                  <a:pt x="592207" y="671411"/>
                  <a:pt x="590385" y="665945"/>
                </a:cubicBezTo>
                <a:close/>
                <a:moveTo>
                  <a:pt x="581274" y="665945"/>
                </a:moveTo>
                <a:cubicBezTo>
                  <a:pt x="577630" y="664123"/>
                  <a:pt x="570341" y="669589"/>
                  <a:pt x="575808" y="671411"/>
                </a:cubicBezTo>
                <a:cubicBezTo>
                  <a:pt x="579452" y="669589"/>
                  <a:pt x="579452" y="667767"/>
                  <a:pt x="581274" y="665945"/>
                </a:cubicBezTo>
                <a:close/>
                <a:moveTo>
                  <a:pt x="510209" y="665945"/>
                </a:moveTo>
                <a:cubicBezTo>
                  <a:pt x="506565" y="675056"/>
                  <a:pt x="517498" y="676878"/>
                  <a:pt x="519320" y="682345"/>
                </a:cubicBezTo>
                <a:cubicBezTo>
                  <a:pt x="521142" y="678700"/>
                  <a:pt x="510209" y="671411"/>
                  <a:pt x="510209" y="665945"/>
                </a:cubicBezTo>
                <a:close/>
                <a:moveTo>
                  <a:pt x="215017" y="665945"/>
                </a:moveTo>
                <a:cubicBezTo>
                  <a:pt x="213195" y="669589"/>
                  <a:pt x="220483" y="676878"/>
                  <a:pt x="224128" y="678700"/>
                </a:cubicBezTo>
                <a:cubicBezTo>
                  <a:pt x="222306" y="673234"/>
                  <a:pt x="216839" y="671411"/>
                  <a:pt x="215017" y="665945"/>
                </a:cubicBezTo>
                <a:close/>
                <a:moveTo>
                  <a:pt x="1175217" y="664949"/>
                </a:moveTo>
                <a:cubicBezTo>
                  <a:pt x="1167444" y="664693"/>
                  <a:pt x="1158903" y="675968"/>
                  <a:pt x="1153436" y="684167"/>
                </a:cubicBezTo>
                <a:cubicBezTo>
                  <a:pt x="1153436" y="685989"/>
                  <a:pt x="1155259" y="682345"/>
                  <a:pt x="1157081" y="682345"/>
                </a:cubicBezTo>
                <a:cubicBezTo>
                  <a:pt x="1155259" y="684167"/>
                  <a:pt x="1153436" y="687811"/>
                  <a:pt x="1155259" y="689633"/>
                </a:cubicBezTo>
                <a:cubicBezTo>
                  <a:pt x="1157081" y="691455"/>
                  <a:pt x="1157081" y="687811"/>
                  <a:pt x="1160725" y="685989"/>
                </a:cubicBezTo>
                <a:cubicBezTo>
                  <a:pt x="1162547" y="687811"/>
                  <a:pt x="1157081" y="687811"/>
                  <a:pt x="1158903" y="689633"/>
                </a:cubicBezTo>
                <a:cubicBezTo>
                  <a:pt x="1160725" y="691455"/>
                  <a:pt x="1168014" y="689633"/>
                  <a:pt x="1164370" y="685989"/>
                </a:cubicBezTo>
                <a:cubicBezTo>
                  <a:pt x="1166192" y="684167"/>
                  <a:pt x="1166192" y="685989"/>
                  <a:pt x="1168014" y="685989"/>
                </a:cubicBezTo>
                <a:cubicBezTo>
                  <a:pt x="1169836" y="684167"/>
                  <a:pt x="1169836" y="680522"/>
                  <a:pt x="1168014" y="678700"/>
                </a:cubicBezTo>
                <a:cubicBezTo>
                  <a:pt x="1168014" y="678700"/>
                  <a:pt x="1166192" y="680522"/>
                  <a:pt x="1166192" y="680522"/>
                </a:cubicBezTo>
                <a:cubicBezTo>
                  <a:pt x="1164370" y="678700"/>
                  <a:pt x="1168014" y="676878"/>
                  <a:pt x="1166192" y="675056"/>
                </a:cubicBezTo>
                <a:cubicBezTo>
                  <a:pt x="1168014" y="675056"/>
                  <a:pt x="1169836" y="676878"/>
                  <a:pt x="1171658" y="675056"/>
                </a:cubicBezTo>
                <a:cubicBezTo>
                  <a:pt x="1171658" y="673234"/>
                  <a:pt x="1171658" y="673234"/>
                  <a:pt x="1171658" y="671411"/>
                </a:cubicBezTo>
                <a:cubicBezTo>
                  <a:pt x="1173481" y="671411"/>
                  <a:pt x="1175303" y="673234"/>
                  <a:pt x="1175303" y="669589"/>
                </a:cubicBezTo>
                <a:cubicBezTo>
                  <a:pt x="1177125" y="671411"/>
                  <a:pt x="1175303" y="673234"/>
                  <a:pt x="1178947" y="675056"/>
                </a:cubicBezTo>
                <a:cubicBezTo>
                  <a:pt x="1178947" y="671411"/>
                  <a:pt x="1178947" y="671411"/>
                  <a:pt x="1182592" y="669589"/>
                </a:cubicBezTo>
                <a:cubicBezTo>
                  <a:pt x="1180313" y="666401"/>
                  <a:pt x="1177808" y="665034"/>
                  <a:pt x="1175217" y="664949"/>
                </a:cubicBezTo>
                <a:close/>
                <a:moveTo>
                  <a:pt x="725522" y="664632"/>
                </a:moveTo>
                <a:lnTo>
                  <a:pt x="729097" y="665490"/>
                </a:lnTo>
                <a:lnTo>
                  <a:pt x="729941" y="667660"/>
                </a:lnTo>
                <a:lnTo>
                  <a:pt x="727503" y="667312"/>
                </a:lnTo>
                <a:close/>
                <a:moveTo>
                  <a:pt x="3422043" y="664123"/>
                </a:moveTo>
                <a:cubicBezTo>
                  <a:pt x="3416577" y="665945"/>
                  <a:pt x="3425687" y="669589"/>
                  <a:pt x="3420221" y="673234"/>
                </a:cubicBezTo>
                <a:cubicBezTo>
                  <a:pt x="3422043" y="676878"/>
                  <a:pt x="3425687" y="669589"/>
                  <a:pt x="3427510" y="667767"/>
                </a:cubicBezTo>
                <a:cubicBezTo>
                  <a:pt x="3429332" y="665945"/>
                  <a:pt x="3425687" y="665945"/>
                  <a:pt x="3425687" y="667767"/>
                </a:cubicBezTo>
                <a:cubicBezTo>
                  <a:pt x="3423865" y="665945"/>
                  <a:pt x="3422043" y="665945"/>
                  <a:pt x="3422043" y="664123"/>
                </a:cubicBezTo>
                <a:close/>
                <a:moveTo>
                  <a:pt x="3225248" y="664123"/>
                </a:moveTo>
                <a:cubicBezTo>
                  <a:pt x="3221604" y="667767"/>
                  <a:pt x="3216137" y="667767"/>
                  <a:pt x="3214315" y="671411"/>
                </a:cubicBezTo>
                <a:cubicBezTo>
                  <a:pt x="3214315" y="675056"/>
                  <a:pt x="3217960" y="675056"/>
                  <a:pt x="3219782" y="675056"/>
                </a:cubicBezTo>
                <a:cubicBezTo>
                  <a:pt x="3225248" y="673234"/>
                  <a:pt x="3227071" y="665945"/>
                  <a:pt x="3225248" y="664123"/>
                </a:cubicBezTo>
                <a:close/>
                <a:moveTo>
                  <a:pt x="1328365" y="664123"/>
                </a:moveTo>
                <a:cubicBezTo>
                  <a:pt x="1319254" y="662301"/>
                  <a:pt x="1313788" y="673234"/>
                  <a:pt x="1315610" y="680522"/>
                </a:cubicBezTo>
                <a:cubicBezTo>
                  <a:pt x="1319254" y="676878"/>
                  <a:pt x="1321077" y="676878"/>
                  <a:pt x="1321077" y="673234"/>
                </a:cubicBezTo>
                <a:cubicBezTo>
                  <a:pt x="1321077" y="673234"/>
                  <a:pt x="1322899" y="675056"/>
                  <a:pt x="1322899" y="675056"/>
                </a:cubicBezTo>
                <a:cubicBezTo>
                  <a:pt x="1328365" y="673234"/>
                  <a:pt x="1321077" y="665945"/>
                  <a:pt x="1328365" y="664123"/>
                </a:cubicBezTo>
                <a:close/>
                <a:moveTo>
                  <a:pt x="1297388" y="664123"/>
                </a:moveTo>
                <a:cubicBezTo>
                  <a:pt x="1295566" y="665945"/>
                  <a:pt x="1295566" y="667767"/>
                  <a:pt x="1293744" y="669589"/>
                </a:cubicBezTo>
                <a:cubicBezTo>
                  <a:pt x="1295566" y="671411"/>
                  <a:pt x="1299210" y="665945"/>
                  <a:pt x="1297388" y="664123"/>
                </a:cubicBezTo>
                <a:close/>
                <a:moveTo>
                  <a:pt x="1115171" y="664123"/>
                </a:moveTo>
                <a:cubicBezTo>
                  <a:pt x="1113349" y="665945"/>
                  <a:pt x="1113349" y="665945"/>
                  <a:pt x="1111526" y="667767"/>
                </a:cubicBezTo>
                <a:cubicBezTo>
                  <a:pt x="1111526" y="669589"/>
                  <a:pt x="1113349" y="665945"/>
                  <a:pt x="1116993" y="664123"/>
                </a:cubicBezTo>
                <a:cubicBezTo>
                  <a:pt x="1115171" y="664123"/>
                  <a:pt x="1115171" y="664123"/>
                  <a:pt x="1115171" y="664123"/>
                </a:cubicBezTo>
                <a:close/>
                <a:moveTo>
                  <a:pt x="949353" y="664123"/>
                </a:moveTo>
                <a:cubicBezTo>
                  <a:pt x="949353" y="664123"/>
                  <a:pt x="947531" y="665945"/>
                  <a:pt x="949353" y="665945"/>
                </a:cubicBezTo>
                <a:lnTo>
                  <a:pt x="949244" y="664852"/>
                </a:lnTo>
                <a:close/>
                <a:moveTo>
                  <a:pt x="940242" y="664123"/>
                </a:moveTo>
                <a:cubicBezTo>
                  <a:pt x="934777" y="664123"/>
                  <a:pt x="934777" y="669589"/>
                  <a:pt x="938420" y="669589"/>
                </a:cubicBezTo>
                <a:cubicBezTo>
                  <a:pt x="938420" y="667767"/>
                  <a:pt x="940242" y="665945"/>
                  <a:pt x="940242" y="664123"/>
                </a:cubicBezTo>
                <a:close/>
                <a:moveTo>
                  <a:pt x="789003" y="664123"/>
                </a:moveTo>
                <a:cubicBezTo>
                  <a:pt x="790824" y="667767"/>
                  <a:pt x="787179" y="673234"/>
                  <a:pt x="792646" y="676878"/>
                </a:cubicBezTo>
                <a:cubicBezTo>
                  <a:pt x="794468" y="671411"/>
                  <a:pt x="790824" y="667767"/>
                  <a:pt x="789003" y="664123"/>
                </a:cubicBezTo>
                <a:close/>
                <a:moveTo>
                  <a:pt x="759848" y="664123"/>
                </a:moveTo>
                <a:cubicBezTo>
                  <a:pt x="758025" y="667767"/>
                  <a:pt x="765313" y="673234"/>
                  <a:pt x="768959" y="673234"/>
                </a:cubicBezTo>
                <a:cubicBezTo>
                  <a:pt x="768959" y="669589"/>
                  <a:pt x="763491" y="664123"/>
                  <a:pt x="759848" y="664123"/>
                </a:cubicBezTo>
                <a:close/>
                <a:moveTo>
                  <a:pt x="561230" y="664123"/>
                </a:moveTo>
                <a:cubicBezTo>
                  <a:pt x="559408" y="665945"/>
                  <a:pt x="563052" y="665945"/>
                  <a:pt x="563052" y="669589"/>
                </a:cubicBezTo>
                <a:cubicBezTo>
                  <a:pt x="566697" y="669589"/>
                  <a:pt x="564874" y="667767"/>
                  <a:pt x="566697" y="665945"/>
                </a:cubicBezTo>
                <a:cubicBezTo>
                  <a:pt x="564874" y="664123"/>
                  <a:pt x="563052" y="665945"/>
                  <a:pt x="561230" y="664123"/>
                </a:cubicBezTo>
                <a:close/>
                <a:moveTo>
                  <a:pt x="501098" y="664123"/>
                </a:moveTo>
                <a:lnTo>
                  <a:pt x="499320" y="669678"/>
                </a:lnTo>
                <a:lnTo>
                  <a:pt x="499276" y="669817"/>
                </a:lnTo>
                <a:cubicBezTo>
                  <a:pt x="499731" y="671867"/>
                  <a:pt x="501098" y="674145"/>
                  <a:pt x="502920" y="676878"/>
                </a:cubicBezTo>
                <a:cubicBezTo>
                  <a:pt x="506565" y="675056"/>
                  <a:pt x="502920" y="675056"/>
                  <a:pt x="504743" y="673234"/>
                </a:cubicBezTo>
                <a:cubicBezTo>
                  <a:pt x="506565" y="673234"/>
                  <a:pt x="506565" y="675056"/>
                  <a:pt x="506565" y="676878"/>
                </a:cubicBezTo>
                <a:cubicBezTo>
                  <a:pt x="510209" y="673234"/>
                  <a:pt x="508387" y="665945"/>
                  <a:pt x="501098" y="664123"/>
                </a:cubicBezTo>
                <a:close/>
                <a:moveTo>
                  <a:pt x="493809" y="664123"/>
                </a:moveTo>
                <a:cubicBezTo>
                  <a:pt x="495632" y="662301"/>
                  <a:pt x="490165" y="669589"/>
                  <a:pt x="488343" y="665945"/>
                </a:cubicBezTo>
                <a:cubicBezTo>
                  <a:pt x="488343" y="669589"/>
                  <a:pt x="491987" y="673234"/>
                  <a:pt x="493809" y="676878"/>
                </a:cubicBezTo>
                <a:cubicBezTo>
                  <a:pt x="493809" y="673234"/>
                  <a:pt x="493809" y="667767"/>
                  <a:pt x="493809" y="664123"/>
                </a:cubicBezTo>
                <a:close/>
                <a:moveTo>
                  <a:pt x="349858" y="664123"/>
                </a:moveTo>
                <a:cubicBezTo>
                  <a:pt x="353502" y="676878"/>
                  <a:pt x="368079" y="682345"/>
                  <a:pt x="375368" y="693278"/>
                </a:cubicBezTo>
                <a:cubicBezTo>
                  <a:pt x="369902" y="680522"/>
                  <a:pt x="358969" y="667767"/>
                  <a:pt x="349858" y="664123"/>
                </a:cubicBezTo>
                <a:close/>
                <a:moveTo>
                  <a:pt x="344391" y="664123"/>
                </a:moveTo>
                <a:cubicBezTo>
                  <a:pt x="344391" y="665945"/>
                  <a:pt x="346213" y="667767"/>
                  <a:pt x="346213" y="669589"/>
                </a:cubicBezTo>
                <a:cubicBezTo>
                  <a:pt x="348037" y="671411"/>
                  <a:pt x="346213" y="665945"/>
                  <a:pt x="348037" y="665945"/>
                </a:cubicBezTo>
                <a:cubicBezTo>
                  <a:pt x="348037" y="665945"/>
                  <a:pt x="346213" y="662301"/>
                  <a:pt x="344391" y="664123"/>
                </a:cubicBezTo>
                <a:close/>
                <a:moveTo>
                  <a:pt x="284259" y="664123"/>
                </a:moveTo>
                <a:cubicBezTo>
                  <a:pt x="286082" y="669589"/>
                  <a:pt x="289726" y="676878"/>
                  <a:pt x="293370" y="680522"/>
                </a:cubicBezTo>
                <a:cubicBezTo>
                  <a:pt x="295193" y="676878"/>
                  <a:pt x="289726" y="667767"/>
                  <a:pt x="284259" y="664123"/>
                </a:cubicBezTo>
                <a:close/>
                <a:moveTo>
                  <a:pt x="3609307" y="662582"/>
                </a:moveTo>
                <a:lnTo>
                  <a:pt x="3612460" y="663212"/>
                </a:lnTo>
                <a:lnTo>
                  <a:pt x="3611549" y="664123"/>
                </a:lnTo>
                <a:close/>
                <a:moveTo>
                  <a:pt x="1428585" y="662301"/>
                </a:moveTo>
                <a:cubicBezTo>
                  <a:pt x="1424940" y="660478"/>
                  <a:pt x="1423118" y="665945"/>
                  <a:pt x="1419474" y="667767"/>
                </a:cubicBezTo>
                <a:cubicBezTo>
                  <a:pt x="1423118" y="671411"/>
                  <a:pt x="1426763" y="665945"/>
                  <a:pt x="1428585" y="662301"/>
                </a:cubicBezTo>
                <a:close/>
                <a:moveTo>
                  <a:pt x="1086016" y="662301"/>
                </a:moveTo>
                <a:cubicBezTo>
                  <a:pt x="1084194" y="662301"/>
                  <a:pt x="1076905" y="671411"/>
                  <a:pt x="1078727" y="673234"/>
                </a:cubicBezTo>
                <a:cubicBezTo>
                  <a:pt x="1080549" y="673234"/>
                  <a:pt x="1086016" y="662301"/>
                  <a:pt x="1086016" y="662301"/>
                </a:cubicBezTo>
                <a:close/>
                <a:moveTo>
                  <a:pt x="639583" y="662301"/>
                </a:moveTo>
                <a:cubicBezTo>
                  <a:pt x="637761" y="667767"/>
                  <a:pt x="626828" y="673234"/>
                  <a:pt x="626828" y="680522"/>
                </a:cubicBezTo>
                <a:cubicBezTo>
                  <a:pt x="628650" y="678700"/>
                  <a:pt x="630472" y="678700"/>
                  <a:pt x="632296" y="676878"/>
                </a:cubicBezTo>
                <a:cubicBezTo>
                  <a:pt x="625006" y="684167"/>
                  <a:pt x="617717" y="695100"/>
                  <a:pt x="612251" y="702388"/>
                </a:cubicBezTo>
                <a:cubicBezTo>
                  <a:pt x="619539" y="700566"/>
                  <a:pt x="619539" y="691455"/>
                  <a:pt x="628650" y="689633"/>
                </a:cubicBezTo>
                <a:cubicBezTo>
                  <a:pt x="623185" y="702388"/>
                  <a:pt x="635939" y="709677"/>
                  <a:pt x="635939" y="722432"/>
                </a:cubicBezTo>
                <a:lnTo>
                  <a:pt x="641407" y="722432"/>
                </a:lnTo>
                <a:lnTo>
                  <a:pt x="645050" y="722432"/>
                </a:lnTo>
                <a:cubicBezTo>
                  <a:pt x="643228" y="722432"/>
                  <a:pt x="641407" y="720610"/>
                  <a:pt x="641407" y="718788"/>
                </a:cubicBezTo>
                <a:cubicBezTo>
                  <a:pt x="637761" y="722432"/>
                  <a:pt x="641407" y="715144"/>
                  <a:pt x="635939" y="713321"/>
                </a:cubicBezTo>
                <a:cubicBezTo>
                  <a:pt x="637761" y="709677"/>
                  <a:pt x="637761" y="711499"/>
                  <a:pt x="639583" y="713321"/>
                </a:cubicBezTo>
                <a:cubicBezTo>
                  <a:pt x="641407" y="707855"/>
                  <a:pt x="634117" y="706033"/>
                  <a:pt x="632296" y="702388"/>
                </a:cubicBezTo>
                <a:cubicBezTo>
                  <a:pt x="641407" y="702388"/>
                  <a:pt x="639583" y="715144"/>
                  <a:pt x="643228" y="713321"/>
                </a:cubicBezTo>
                <a:cubicBezTo>
                  <a:pt x="648694" y="713321"/>
                  <a:pt x="641407" y="713321"/>
                  <a:pt x="641407" y="709677"/>
                </a:cubicBezTo>
                <a:cubicBezTo>
                  <a:pt x="646872" y="707855"/>
                  <a:pt x="646872" y="706033"/>
                  <a:pt x="650516" y="704211"/>
                </a:cubicBezTo>
                <a:cubicBezTo>
                  <a:pt x="646872" y="707855"/>
                  <a:pt x="646872" y="711499"/>
                  <a:pt x="650516" y="711499"/>
                </a:cubicBezTo>
                <a:cubicBezTo>
                  <a:pt x="652339" y="709677"/>
                  <a:pt x="654161" y="707855"/>
                  <a:pt x="657805" y="707855"/>
                </a:cubicBezTo>
                <a:cubicBezTo>
                  <a:pt x="655983" y="709677"/>
                  <a:pt x="654161" y="711499"/>
                  <a:pt x="652339" y="713321"/>
                </a:cubicBezTo>
                <a:lnTo>
                  <a:pt x="653718" y="715549"/>
                </a:lnTo>
                <a:lnTo>
                  <a:pt x="648922" y="719927"/>
                </a:lnTo>
                <a:cubicBezTo>
                  <a:pt x="647783" y="721977"/>
                  <a:pt x="647783" y="724255"/>
                  <a:pt x="650516" y="726077"/>
                </a:cubicBezTo>
                <a:cubicBezTo>
                  <a:pt x="653249" y="724255"/>
                  <a:pt x="653705" y="722433"/>
                  <a:pt x="653705" y="720611"/>
                </a:cubicBezTo>
                <a:lnTo>
                  <a:pt x="654078" y="716132"/>
                </a:lnTo>
                <a:lnTo>
                  <a:pt x="655300" y="718105"/>
                </a:lnTo>
                <a:lnTo>
                  <a:pt x="655588" y="718151"/>
                </a:lnTo>
                <a:lnTo>
                  <a:pt x="652339" y="727899"/>
                </a:lnTo>
                <a:cubicBezTo>
                  <a:pt x="655983" y="726077"/>
                  <a:pt x="659627" y="720610"/>
                  <a:pt x="661449" y="720610"/>
                </a:cubicBezTo>
                <a:lnTo>
                  <a:pt x="658433" y="718600"/>
                </a:lnTo>
                <a:lnTo>
                  <a:pt x="659627" y="718788"/>
                </a:lnTo>
                <a:cubicBezTo>
                  <a:pt x="665094" y="715144"/>
                  <a:pt x="659627" y="706033"/>
                  <a:pt x="663272" y="700566"/>
                </a:cubicBezTo>
                <a:cubicBezTo>
                  <a:pt x="666916" y="706033"/>
                  <a:pt x="665094" y="709677"/>
                  <a:pt x="663272" y="713321"/>
                </a:cubicBezTo>
                <a:cubicBezTo>
                  <a:pt x="668738" y="709677"/>
                  <a:pt x="677849" y="713321"/>
                  <a:pt x="676027" y="704211"/>
                </a:cubicBezTo>
                <a:cubicBezTo>
                  <a:pt x="677849" y="704211"/>
                  <a:pt x="679671" y="707855"/>
                  <a:pt x="679671" y="707855"/>
                </a:cubicBezTo>
                <a:cubicBezTo>
                  <a:pt x="692426" y="702388"/>
                  <a:pt x="681493" y="687811"/>
                  <a:pt x="672383" y="685989"/>
                </a:cubicBezTo>
                <a:cubicBezTo>
                  <a:pt x="670560" y="685989"/>
                  <a:pt x="670560" y="685989"/>
                  <a:pt x="668738" y="685989"/>
                </a:cubicBezTo>
                <a:lnTo>
                  <a:pt x="666919" y="684809"/>
                </a:lnTo>
                <a:lnTo>
                  <a:pt x="663271" y="686025"/>
                </a:lnTo>
                <a:cubicBezTo>
                  <a:pt x="666915" y="687847"/>
                  <a:pt x="665093" y="691492"/>
                  <a:pt x="665093" y="695136"/>
                </a:cubicBezTo>
                <a:cubicBezTo>
                  <a:pt x="663271" y="687847"/>
                  <a:pt x="661449" y="686025"/>
                  <a:pt x="655982" y="682381"/>
                </a:cubicBezTo>
                <a:cubicBezTo>
                  <a:pt x="658715" y="680559"/>
                  <a:pt x="660539" y="681015"/>
                  <a:pt x="662360" y="681926"/>
                </a:cubicBezTo>
                <a:lnTo>
                  <a:pt x="662623" y="682019"/>
                </a:lnTo>
                <a:lnTo>
                  <a:pt x="655755" y="677562"/>
                </a:lnTo>
                <a:cubicBezTo>
                  <a:pt x="650516" y="676423"/>
                  <a:pt x="645050" y="675967"/>
                  <a:pt x="641407" y="673234"/>
                </a:cubicBezTo>
                <a:cubicBezTo>
                  <a:pt x="646872" y="675056"/>
                  <a:pt x="652339" y="676878"/>
                  <a:pt x="655983" y="675056"/>
                </a:cubicBezTo>
                <a:cubicBezTo>
                  <a:pt x="650516" y="665945"/>
                  <a:pt x="643228" y="667767"/>
                  <a:pt x="635939" y="673234"/>
                </a:cubicBezTo>
                <a:cubicBezTo>
                  <a:pt x="639583" y="671411"/>
                  <a:pt x="641407" y="667767"/>
                  <a:pt x="643228" y="665945"/>
                </a:cubicBezTo>
                <a:cubicBezTo>
                  <a:pt x="639583" y="665945"/>
                  <a:pt x="641407" y="664123"/>
                  <a:pt x="639583" y="662301"/>
                </a:cubicBezTo>
                <a:close/>
                <a:moveTo>
                  <a:pt x="371724" y="662301"/>
                </a:moveTo>
                <a:cubicBezTo>
                  <a:pt x="369901" y="662301"/>
                  <a:pt x="369446" y="664123"/>
                  <a:pt x="370129" y="665718"/>
                </a:cubicBezTo>
                <a:lnTo>
                  <a:pt x="375205" y="667704"/>
                </a:lnTo>
                <a:lnTo>
                  <a:pt x="375140" y="669134"/>
                </a:lnTo>
                <a:cubicBezTo>
                  <a:pt x="375823" y="670957"/>
                  <a:pt x="377190" y="672323"/>
                  <a:pt x="379012" y="671411"/>
                </a:cubicBezTo>
                <a:cubicBezTo>
                  <a:pt x="379012" y="669589"/>
                  <a:pt x="377190" y="667767"/>
                  <a:pt x="375368" y="664123"/>
                </a:cubicBezTo>
                <a:lnTo>
                  <a:pt x="375213" y="667535"/>
                </a:lnTo>
                <a:close/>
                <a:moveTo>
                  <a:pt x="271504" y="662301"/>
                </a:moveTo>
                <a:cubicBezTo>
                  <a:pt x="273327" y="665945"/>
                  <a:pt x="271504" y="673234"/>
                  <a:pt x="276971" y="673234"/>
                </a:cubicBezTo>
                <a:cubicBezTo>
                  <a:pt x="276971" y="671411"/>
                  <a:pt x="273327" y="665945"/>
                  <a:pt x="273327" y="664123"/>
                </a:cubicBezTo>
                <a:cubicBezTo>
                  <a:pt x="276971" y="667767"/>
                  <a:pt x="275149" y="673234"/>
                  <a:pt x="278793" y="676878"/>
                </a:cubicBezTo>
                <a:cubicBezTo>
                  <a:pt x="282438" y="675056"/>
                  <a:pt x="278793" y="669589"/>
                  <a:pt x="282438" y="667767"/>
                </a:cubicBezTo>
                <a:cubicBezTo>
                  <a:pt x="280615" y="662301"/>
                  <a:pt x="275149" y="662301"/>
                  <a:pt x="271504" y="662301"/>
                </a:cubicBezTo>
                <a:close/>
                <a:moveTo>
                  <a:pt x="269682" y="662301"/>
                </a:moveTo>
                <a:lnTo>
                  <a:pt x="270019" y="663365"/>
                </a:lnTo>
                <a:lnTo>
                  <a:pt x="271504" y="675056"/>
                </a:lnTo>
                <a:lnTo>
                  <a:pt x="268941" y="669076"/>
                </a:lnTo>
                <a:close/>
                <a:moveTo>
                  <a:pt x="200439" y="662301"/>
                </a:moveTo>
                <a:cubicBezTo>
                  <a:pt x="205906" y="678700"/>
                  <a:pt x="220483" y="700566"/>
                  <a:pt x="227772" y="700566"/>
                </a:cubicBezTo>
                <a:cubicBezTo>
                  <a:pt x="225950" y="685989"/>
                  <a:pt x="207728" y="675056"/>
                  <a:pt x="200439" y="662301"/>
                </a:cubicBezTo>
                <a:close/>
                <a:moveTo>
                  <a:pt x="794923" y="662073"/>
                </a:moveTo>
                <a:cubicBezTo>
                  <a:pt x="793557" y="660934"/>
                  <a:pt x="791735" y="660479"/>
                  <a:pt x="790824" y="662301"/>
                </a:cubicBezTo>
                <a:cubicBezTo>
                  <a:pt x="792646" y="664123"/>
                  <a:pt x="794468" y="665945"/>
                  <a:pt x="796290" y="665945"/>
                </a:cubicBezTo>
                <a:cubicBezTo>
                  <a:pt x="797202" y="665034"/>
                  <a:pt x="796290" y="663212"/>
                  <a:pt x="794923" y="662073"/>
                </a:cubicBezTo>
                <a:close/>
                <a:moveTo>
                  <a:pt x="2955111" y="660650"/>
                </a:moveTo>
                <a:cubicBezTo>
                  <a:pt x="2953175" y="661162"/>
                  <a:pt x="2951922" y="662757"/>
                  <a:pt x="2951922" y="665945"/>
                </a:cubicBezTo>
                <a:cubicBezTo>
                  <a:pt x="2964677" y="665945"/>
                  <a:pt x="2964677" y="671411"/>
                  <a:pt x="2975610" y="671411"/>
                </a:cubicBezTo>
                <a:cubicBezTo>
                  <a:pt x="2972877" y="667312"/>
                  <a:pt x="2960919" y="659112"/>
                  <a:pt x="2955111" y="660650"/>
                </a:cubicBezTo>
                <a:close/>
                <a:moveTo>
                  <a:pt x="3217960" y="660478"/>
                </a:moveTo>
                <a:cubicBezTo>
                  <a:pt x="3210671" y="662301"/>
                  <a:pt x="3210671" y="662301"/>
                  <a:pt x="3203382" y="662301"/>
                </a:cubicBezTo>
                <a:cubicBezTo>
                  <a:pt x="3201560" y="665945"/>
                  <a:pt x="3205204" y="665945"/>
                  <a:pt x="3205204" y="667767"/>
                </a:cubicBezTo>
                <a:cubicBezTo>
                  <a:pt x="3210671" y="665945"/>
                  <a:pt x="3219782" y="665945"/>
                  <a:pt x="3217960" y="660478"/>
                </a:cubicBezTo>
                <a:close/>
                <a:moveTo>
                  <a:pt x="2880857" y="660478"/>
                </a:moveTo>
                <a:cubicBezTo>
                  <a:pt x="2873569" y="660478"/>
                  <a:pt x="2875391" y="667767"/>
                  <a:pt x="2877213" y="675056"/>
                </a:cubicBezTo>
                <a:cubicBezTo>
                  <a:pt x="2879035" y="671411"/>
                  <a:pt x="2882680" y="667767"/>
                  <a:pt x="2880857" y="660478"/>
                </a:cubicBezTo>
                <a:close/>
                <a:moveTo>
                  <a:pt x="2605709" y="660478"/>
                </a:moveTo>
                <a:cubicBezTo>
                  <a:pt x="2603887" y="662301"/>
                  <a:pt x="2607531" y="667767"/>
                  <a:pt x="2605709" y="671411"/>
                </a:cubicBezTo>
                <a:cubicBezTo>
                  <a:pt x="2607531" y="671411"/>
                  <a:pt x="2605709" y="665945"/>
                  <a:pt x="2609353" y="667767"/>
                </a:cubicBezTo>
                <a:cubicBezTo>
                  <a:pt x="2609353" y="662301"/>
                  <a:pt x="2605709" y="664123"/>
                  <a:pt x="2605709" y="660478"/>
                </a:cubicBezTo>
                <a:close/>
                <a:moveTo>
                  <a:pt x="1414007" y="660478"/>
                </a:moveTo>
                <a:cubicBezTo>
                  <a:pt x="1414007" y="658656"/>
                  <a:pt x="1408541" y="665945"/>
                  <a:pt x="1406719" y="667767"/>
                </a:cubicBezTo>
                <a:cubicBezTo>
                  <a:pt x="1410363" y="669589"/>
                  <a:pt x="1410363" y="664123"/>
                  <a:pt x="1414007" y="660478"/>
                </a:cubicBezTo>
                <a:close/>
                <a:moveTo>
                  <a:pt x="1024062" y="660478"/>
                </a:moveTo>
                <a:cubicBezTo>
                  <a:pt x="1020418" y="656834"/>
                  <a:pt x="1020418" y="664123"/>
                  <a:pt x="1018596" y="669589"/>
                </a:cubicBezTo>
                <a:cubicBezTo>
                  <a:pt x="1024062" y="667767"/>
                  <a:pt x="1029529" y="662301"/>
                  <a:pt x="1024062" y="660478"/>
                </a:cubicBezTo>
                <a:close/>
                <a:moveTo>
                  <a:pt x="816334" y="660478"/>
                </a:moveTo>
                <a:cubicBezTo>
                  <a:pt x="814512" y="660478"/>
                  <a:pt x="807223" y="665945"/>
                  <a:pt x="810868" y="667767"/>
                </a:cubicBezTo>
                <a:cubicBezTo>
                  <a:pt x="814512" y="665945"/>
                  <a:pt x="812690" y="664123"/>
                  <a:pt x="816334" y="660478"/>
                </a:cubicBezTo>
                <a:close/>
                <a:moveTo>
                  <a:pt x="652339" y="660478"/>
                </a:moveTo>
                <a:cubicBezTo>
                  <a:pt x="657805" y="665945"/>
                  <a:pt x="665094" y="678700"/>
                  <a:pt x="676027" y="678700"/>
                </a:cubicBezTo>
                <a:cubicBezTo>
                  <a:pt x="668738" y="675056"/>
                  <a:pt x="663272" y="658656"/>
                  <a:pt x="652339" y="660478"/>
                </a:cubicBezTo>
                <a:close/>
                <a:moveTo>
                  <a:pt x="586741" y="660478"/>
                </a:moveTo>
                <a:cubicBezTo>
                  <a:pt x="586741" y="664123"/>
                  <a:pt x="579452" y="665945"/>
                  <a:pt x="584919" y="669589"/>
                </a:cubicBezTo>
                <a:cubicBezTo>
                  <a:pt x="586741" y="667767"/>
                  <a:pt x="592207" y="662301"/>
                  <a:pt x="586741" y="660478"/>
                </a:cubicBezTo>
                <a:close/>
                <a:moveTo>
                  <a:pt x="488343" y="660478"/>
                </a:moveTo>
                <a:cubicBezTo>
                  <a:pt x="484700" y="662301"/>
                  <a:pt x="486521" y="665945"/>
                  <a:pt x="490165" y="664123"/>
                </a:cubicBezTo>
                <a:cubicBezTo>
                  <a:pt x="488343" y="662301"/>
                  <a:pt x="490165" y="662301"/>
                  <a:pt x="488343" y="660478"/>
                </a:cubicBezTo>
                <a:close/>
                <a:moveTo>
                  <a:pt x="413634" y="660478"/>
                </a:moveTo>
                <a:cubicBezTo>
                  <a:pt x="411812" y="662301"/>
                  <a:pt x="415456" y="665945"/>
                  <a:pt x="419100" y="664123"/>
                </a:cubicBezTo>
                <a:cubicBezTo>
                  <a:pt x="419100" y="662301"/>
                  <a:pt x="415456" y="660478"/>
                  <a:pt x="413634" y="660478"/>
                </a:cubicBezTo>
                <a:close/>
                <a:moveTo>
                  <a:pt x="397234" y="660478"/>
                </a:moveTo>
                <a:cubicBezTo>
                  <a:pt x="395412" y="662301"/>
                  <a:pt x="399056" y="665945"/>
                  <a:pt x="400879" y="665945"/>
                </a:cubicBezTo>
                <a:cubicBezTo>
                  <a:pt x="400879" y="665945"/>
                  <a:pt x="399056" y="660478"/>
                  <a:pt x="397234" y="660478"/>
                </a:cubicBezTo>
                <a:close/>
                <a:moveTo>
                  <a:pt x="385162" y="660023"/>
                </a:moveTo>
                <a:cubicBezTo>
                  <a:pt x="383569" y="659568"/>
                  <a:pt x="381746" y="659568"/>
                  <a:pt x="380835" y="662301"/>
                </a:cubicBezTo>
                <a:cubicBezTo>
                  <a:pt x="382657" y="665945"/>
                  <a:pt x="382657" y="667767"/>
                  <a:pt x="386301" y="665945"/>
                </a:cubicBezTo>
                <a:cubicBezTo>
                  <a:pt x="386301" y="664123"/>
                  <a:pt x="388123" y="662301"/>
                  <a:pt x="388123" y="660478"/>
                </a:cubicBezTo>
                <a:cubicBezTo>
                  <a:pt x="388123" y="661390"/>
                  <a:pt x="386756" y="660479"/>
                  <a:pt x="385162" y="660023"/>
                </a:cubicBezTo>
                <a:close/>
                <a:moveTo>
                  <a:pt x="3529551" y="658656"/>
                </a:moveTo>
                <a:cubicBezTo>
                  <a:pt x="3527729" y="660478"/>
                  <a:pt x="3529551" y="667767"/>
                  <a:pt x="3529551" y="669589"/>
                </a:cubicBezTo>
                <a:cubicBezTo>
                  <a:pt x="3531374" y="669589"/>
                  <a:pt x="3533196" y="667767"/>
                  <a:pt x="3535018" y="667767"/>
                </a:cubicBezTo>
                <a:cubicBezTo>
                  <a:pt x="3535018" y="664123"/>
                  <a:pt x="3533196" y="662301"/>
                  <a:pt x="3533196" y="658656"/>
                </a:cubicBezTo>
                <a:cubicBezTo>
                  <a:pt x="3531374" y="658656"/>
                  <a:pt x="3529551" y="660478"/>
                  <a:pt x="3529551" y="658656"/>
                </a:cubicBezTo>
                <a:close/>
                <a:moveTo>
                  <a:pt x="3489463" y="658656"/>
                </a:moveTo>
                <a:cubicBezTo>
                  <a:pt x="3487641" y="662301"/>
                  <a:pt x="3491286" y="662301"/>
                  <a:pt x="3491286" y="665945"/>
                </a:cubicBezTo>
                <a:cubicBezTo>
                  <a:pt x="3487641" y="669589"/>
                  <a:pt x="3480353" y="660478"/>
                  <a:pt x="3474886" y="660478"/>
                </a:cubicBezTo>
                <a:cubicBezTo>
                  <a:pt x="3476708" y="673234"/>
                  <a:pt x="3489463" y="673234"/>
                  <a:pt x="3500397" y="675056"/>
                </a:cubicBezTo>
                <a:cubicBezTo>
                  <a:pt x="3502219" y="678700"/>
                  <a:pt x="3500397" y="678700"/>
                  <a:pt x="3502219" y="682345"/>
                </a:cubicBezTo>
                <a:cubicBezTo>
                  <a:pt x="3507685" y="680522"/>
                  <a:pt x="3505863" y="682345"/>
                  <a:pt x="3509507" y="680522"/>
                </a:cubicBezTo>
                <a:cubicBezTo>
                  <a:pt x="3509507" y="678700"/>
                  <a:pt x="3505863" y="680522"/>
                  <a:pt x="3505863" y="678700"/>
                </a:cubicBezTo>
                <a:cubicBezTo>
                  <a:pt x="3505863" y="678700"/>
                  <a:pt x="3507685" y="678700"/>
                  <a:pt x="3507685" y="676878"/>
                </a:cubicBezTo>
                <a:cubicBezTo>
                  <a:pt x="3511330" y="675056"/>
                  <a:pt x="3509507" y="680522"/>
                  <a:pt x="3513152" y="678700"/>
                </a:cubicBezTo>
                <a:cubicBezTo>
                  <a:pt x="3513152" y="669589"/>
                  <a:pt x="3504041" y="669589"/>
                  <a:pt x="3502219" y="662301"/>
                </a:cubicBezTo>
                <a:cubicBezTo>
                  <a:pt x="3500397" y="664123"/>
                  <a:pt x="3493108" y="665945"/>
                  <a:pt x="3494930" y="658656"/>
                </a:cubicBezTo>
                <a:cubicBezTo>
                  <a:pt x="3493108" y="658656"/>
                  <a:pt x="3491286" y="658656"/>
                  <a:pt x="3489463" y="658656"/>
                </a:cubicBezTo>
                <a:close/>
                <a:moveTo>
                  <a:pt x="2541933" y="658656"/>
                </a:moveTo>
                <a:cubicBezTo>
                  <a:pt x="2540111" y="662301"/>
                  <a:pt x="2540111" y="671411"/>
                  <a:pt x="2543755" y="675056"/>
                </a:cubicBezTo>
                <a:cubicBezTo>
                  <a:pt x="2551044" y="675056"/>
                  <a:pt x="2549222" y="662301"/>
                  <a:pt x="2552866" y="665945"/>
                </a:cubicBezTo>
                <a:cubicBezTo>
                  <a:pt x="2552866" y="656834"/>
                  <a:pt x="2547400" y="658656"/>
                  <a:pt x="2541933" y="658656"/>
                </a:cubicBezTo>
                <a:close/>
                <a:moveTo>
                  <a:pt x="1364809" y="658656"/>
                </a:moveTo>
                <a:cubicBezTo>
                  <a:pt x="1359342" y="662301"/>
                  <a:pt x="1357521" y="665945"/>
                  <a:pt x="1355698" y="669589"/>
                </a:cubicBezTo>
                <a:cubicBezTo>
                  <a:pt x="1361164" y="671411"/>
                  <a:pt x="1368453" y="664123"/>
                  <a:pt x="1364809" y="658656"/>
                </a:cubicBezTo>
                <a:close/>
                <a:moveTo>
                  <a:pt x="1310143" y="658656"/>
                </a:moveTo>
                <a:cubicBezTo>
                  <a:pt x="1301033" y="662301"/>
                  <a:pt x="1301033" y="667767"/>
                  <a:pt x="1302855" y="673234"/>
                </a:cubicBezTo>
                <a:cubicBezTo>
                  <a:pt x="1304677" y="671411"/>
                  <a:pt x="1306499" y="665945"/>
                  <a:pt x="1304677" y="664123"/>
                </a:cubicBezTo>
                <a:cubicBezTo>
                  <a:pt x="1308321" y="665945"/>
                  <a:pt x="1308321" y="660478"/>
                  <a:pt x="1310143" y="658656"/>
                </a:cubicBezTo>
                <a:close/>
                <a:moveTo>
                  <a:pt x="1275522" y="658656"/>
                </a:moveTo>
                <a:cubicBezTo>
                  <a:pt x="1271878" y="658656"/>
                  <a:pt x="1273700" y="660478"/>
                  <a:pt x="1271878" y="660478"/>
                </a:cubicBezTo>
                <a:cubicBezTo>
                  <a:pt x="1273700" y="662301"/>
                  <a:pt x="1273700" y="660478"/>
                  <a:pt x="1275522" y="660478"/>
                </a:cubicBezTo>
                <a:close/>
                <a:moveTo>
                  <a:pt x="1240901" y="658656"/>
                </a:moveTo>
                <a:cubicBezTo>
                  <a:pt x="1239080" y="656834"/>
                  <a:pt x="1239080" y="662301"/>
                  <a:pt x="1237256" y="662301"/>
                </a:cubicBezTo>
                <a:cubicBezTo>
                  <a:pt x="1239080" y="662301"/>
                  <a:pt x="1242723" y="665945"/>
                  <a:pt x="1248189" y="664123"/>
                </a:cubicBezTo>
                <a:cubicBezTo>
                  <a:pt x="1246367" y="662301"/>
                  <a:pt x="1244545" y="660478"/>
                  <a:pt x="1242723" y="658656"/>
                </a:cubicBezTo>
                <a:cubicBezTo>
                  <a:pt x="1240901" y="658656"/>
                  <a:pt x="1240901" y="660478"/>
                  <a:pt x="1239080" y="662301"/>
                </a:cubicBezTo>
                <a:cubicBezTo>
                  <a:pt x="1237256" y="660478"/>
                  <a:pt x="1240901" y="660478"/>
                  <a:pt x="1240901" y="658656"/>
                </a:cubicBezTo>
                <a:close/>
                <a:moveTo>
                  <a:pt x="1200814" y="658656"/>
                </a:moveTo>
                <a:lnTo>
                  <a:pt x="1186353" y="669902"/>
                </a:lnTo>
                <a:lnTo>
                  <a:pt x="1186236" y="669589"/>
                </a:lnTo>
                <a:lnTo>
                  <a:pt x="1185821" y="670317"/>
                </a:lnTo>
                <a:lnTo>
                  <a:pt x="1184414" y="671411"/>
                </a:lnTo>
                <a:cubicBezTo>
                  <a:pt x="1184414" y="672323"/>
                  <a:pt x="1184869" y="671867"/>
                  <a:pt x="1185325" y="671184"/>
                </a:cubicBezTo>
                <a:lnTo>
                  <a:pt x="1185821" y="670317"/>
                </a:lnTo>
                <a:lnTo>
                  <a:pt x="1186353" y="669902"/>
                </a:lnTo>
                <a:lnTo>
                  <a:pt x="1186919" y="671412"/>
                </a:lnTo>
                <a:cubicBezTo>
                  <a:pt x="1186235" y="671867"/>
                  <a:pt x="1185324" y="672323"/>
                  <a:pt x="1186236" y="673234"/>
                </a:cubicBezTo>
                <a:cubicBezTo>
                  <a:pt x="1188058" y="675967"/>
                  <a:pt x="1189880" y="675512"/>
                  <a:pt x="1191703" y="674601"/>
                </a:cubicBezTo>
                <a:lnTo>
                  <a:pt x="1193333" y="674193"/>
                </a:lnTo>
                <a:lnTo>
                  <a:pt x="1190563" y="675512"/>
                </a:lnTo>
                <a:cubicBezTo>
                  <a:pt x="1189424" y="676878"/>
                  <a:pt x="1188969" y="678701"/>
                  <a:pt x="1189880" y="680522"/>
                </a:cubicBezTo>
                <a:lnTo>
                  <a:pt x="1194925" y="673795"/>
                </a:lnTo>
                <a:lnTo>
                  <a:pt x="1197169" y="673234"/>
                </a:lnTo>
                <a:cubicBezTo>
                  <a:pt x="1198991" y="667767"/>
                  <a:pt x="1202636" y="664123"/>
                  <a:pt x="1200814" y="658656"/>
                </a:cubicBezTo>
                <a:close/>
                <a:moveTo>
                  <a:pt x="929309" y="658656"/>
                </a:moveTo>
                <a:cubicBezTo>
                  <a:pt x="914732" y="671411"/>
                  <a:pt x="922020" y="667767"/>
                  <a:pt x="931131" y="660478"/>
                </a:cubicBezTo>
                <a:cubicBezTo>
                  <a:pt x="931131" y="660478"/>
                  <a:pt x="929309" y="658656"/>
                  <a:pt x="929309" y="658656"/>
                </a:cubicBezTo>
                <a:close/>
                <a:moveTo>
                  <a:pt x="510209" y="658656"/>
                </a:moveTo>
                <a:cubicBezTo>
                  <a:pt x="510209" y="664123"/>
                  <a:pt x="517498" y="667767"/>
                  <a:pt x="519320" y="673234"/>
                </a:cubicBezTo>
                <a:cubicBezTo>
                  <a:pt x="519320" y="669589"/>
                  <a:pt x="519320" y="660478"/>
                  <a:pt x="510209" y="658656"/>
                </a:cubicBezTo>
                <a:close/>
                <a:moveTo>
                  <a:pt x="475589" y="658656"/>
                </a:moveTo>
                <a:cubicBezTo>
                  <a:pt x="473766" y="660478"/>
                  <a:pt x="475589" y="662301"/>
                  <a:pt x="475589" y="664123"/>
                </a:cubicBezTo>
                <a:cubicBezTo>
                  <a:pt x="477410" y="664123"/>
                  <a:pt x="475589" y="662301"/>
                  <a:pt x="477410" y="662301"/>
                </a:cubicBezTo>
                <a:cubicBezTo>
                  <a:pt x="479232" y="665945"/>
                  <a:pt x="475589" y="667767"/>
                  <a:pt x="481054" y="673234"/>
                </a:cubicBezTo>
                <a:cubicBezTo>
                  <a:pt x="486521" y="669589"/>
                  <a:pt x="479232" y="660478"/>
                  <a:pt x="475589" y="658656"/>
                </a:cubicBezTo>
                <a:close/>
                <a:moveTo>
                  <a:pt x="440966" y="658656"/>
                </a:moveTo>
                <a:cubicBezTo>
                  <a:pt x="435500" y="658656"/>
                  <a:pt x="439145" y="660478"/>
                  <a:pt x="442789" y="665945"/>
                </a:cubicBezTo>
                <a:cubicBezTo>
                  <a:pt x="446433" y="664123"/>
                  <a:pt x="442789" y="660478"/>
                  <a:pt x="440966" y="658656"/>
                </a:cubicBezTo>
                <a:close/>
                <a:moveTo>
                  <a:pt x="3591798" y="658480"/>
                </a:moveTo>
                <a:lnTo>
                  <a:pt x="3595150" y="658656"/>
                </a:lnTo>
                <a:lnTo>
                  <a:pt x="3595096" y="659037"/>
                </a:lnTo>
                <a:lnTo>
                  <a:pt x="3594011" y="659112"/>
                </a:lnTo>
                <a:close/>
                <a:moveTo>
                  <a:pt x="2892930" y="657974"/>
                </a:moveTo>
                <a:cubicBezTo>
                  <a:pt x="2891791" y="659112"/>
                  <a:pt x="2890879" y="660479"/>
                  <a:pt x="2889968" y="658656"/>
                </a:cubicBezTo>
                <a:cubicBezTo>
                  <a:pt x="2888146" y="667767"/>
                  <a:pt x="2891790" y="675056"/>
                  <a:pt x="2882680" y="671411"/>
                </a:cubicBezTo>
                <a:cubicBezTo>
                  <a:pt x="2880857" y="680522"/>
                  <a:pt x="2893613" y="680522"/>
                  <a:pt x="2897257" y="675056"/>
                </a:cubicBezTo>
                <a:cubicBezTo>
                  <a:pt x="2893613" y="684167"/>
                  <a:pt x="2904546" y="691455"/>
                  <a:pt x="2910012" y="689633"/>
                </a:cubicBezTo>
                <a:cubicBezTo>
                  <a:pt x="2915479" y="685989"/>
                  <a:pt x="2917301" y="689633"/>
                  <a:pt x="2920945" y="691455"/>
                </a:cubicBezTo>
                <a:cubicBezTo>
                  <a:pt x="2917301" y="684167"/>
                  <a:pt x="2917301" y="669589"/>
                  <a:pt x="2906368" y="671411"/>
                </a:cubicBezTo>
                <a:cubicBezTo>
                  <a:pt x="2900901" y="673234"/>
                  <a:pt x="2908190" y="678700"/>
                  <a:pt x="2908190" y="684167"/>
                </a:cubicBezTo>
                <a:cubicBezTo>
                  <a:pt x="2906368" y="682345"/>
                  <a:pt x="2904546" y="682345"/>
                  <a:pt x="2902724" y="684167"/>
                </a:cubicBezTo>
                <a:cubicBezTo>
                  <a:pt x="2900901" y="682345"/>
                  <a:pt x="2900901" y="676878"/>
                  <a:pt x="2902724" y="675056"/>
                </a:cubicBezTo>
                <a:cubicBezTo>
                  <a:pt x="2900901" y="675056"/>
                  <a:pt x="2900901" y="676878"/>
                  <a:pt x="2899079" y="676878"/>
                </a:cubicBezTo>
                <a:cubicBezTo>
                  <a:pt x="2899079" y="671411"/>
                  <a:pt x="2897257" y="665945"/>
                  <a:pt x="2891790" y="664123"/>
                </a:cubicBezTo>
                <a:cubicBezTo>
                  <a:pt x="2895435" y="665945"/>
                  <a:pt x="2900901" y="662301"/>
                  <a:pt x="2897257" y="658656"/>
                </a:cubicBezTo>
                <a:cubicBezTo>
                  <a:pt x="2895435" y="655923"/>
                  <a:pt x="2894068" y="656835"/>
                  <a:pt x="2892930" y="657974"/>
                </a:cubicBezTo>
                <a:close/>
                <a:moveTo>
                  <a:pt x="3589921" y="657944"/>
                </a:moveTo>
                <a:lnTo>
                  <a:pt x="3591798" y="658480"/>
                </a:lnTo>
                <a:lnTo>
                  <a:pt x="3590822" y="658429"/>
                </a:lnTo>
                <a:close/>
                <a:moveTo>
                  <a:pt x="3587861" y="656834"/>
                </a:moveTo>
                <a:lnTo>
                  <a:pt x="3589921" y="657944"/>
                </a:lnTo>
                <a:lnTo>
                  <a:pt x="3588037" y="657405"/>
                </a:lnTo>
                <a:close/>
                <a:moveTo>
                  <a:pt x="2917301" y="656834"/>
                </a:moveTo>
                <a:cubicBezTo>
                  <a:pt x="2913656" y="655012"/>
                  <a:pt x="2913656" y="660478"/>
                  <a:pt x="2915479" y="662301"/>
                </a:cubicBezTo>
                <a:cubicBezTo>
                  <a:pt x="2917301" y="660478"/>
                  <a:pt x="2917301" y="658656"/>
                  <a:pt x="2920945" y="660478"/>
                </a:cubicBezTo>
                <a:cubicBezTo>
                  <a:pt x="2919123" y="658656"/>
                  <a:pt x="2917301" y="658656"/>
                  <a:pt x="2917301" y="656834"/>
                </a:cubicBezTo>
                <a:close/>
                <a:moveTo>
                  <a:pt x="2585665" y="656834"/>
                </a:moveTo>
                <a:cubicBezTo>
                  <a:pt x="2580199" y="658656"/>
                  <a:pt x="2569266" y="660478"/>
                  <a:pt x="2569266" y="662301"/>
                </a:cubicBezTo>
                <a:cubicBezTo>
                  <a:pt x="2565621" y="682345"/>
                  <a:pt x="2583843" y="667767"/>
                  <a:pt x="2596598" y="671411"/>
                </a:cubicBezTo>
                <a:cubicBezTo>
                  <a:pt x="2594776" y="662301"/>
                  <a:pt x="2589310" y="660478"/>
                  <a:pt x="2585665" y="656834"/>
                </a:cubicBezTo>
                <a:close/>
                <a:moveTo>
                  <a:pt x="1302855" y="656834"/>
                </a:moveTo>
                <a:lnTo>
                  <a:pt x="1303176" y="658764"/>
                </a:lnTo>
                <a:lnTo>
                  <a:pt x="1303083" y="658656"/>
                </a:lnTo>
                <a:cubicBezTo>
                  <a:pt x="1303311" y="657745"/>
                  <a:pt x="1303767" y="656834"/>
                  <a:pt x="1302855" y="656834"/>
                </a:cubicBezTo>
                <a:close/>
                <a:moveTo>
                  <a:pt x="1259123" y="656834"/>
                </a:moveTo>
                <a:cubicBezTo>
                  <a:pt x="1255478" y="656834"/>
                  <a:pt x="1253656" y="660478"/>
                  <a:pt x="1251834" y="662301"/>
                </a:cubicBezTo>
                <a:cubicBezTo>
                  <a:pt x="1251834" y="664123"/>
                  <a:pt x="1251834" y="665945"/>
                  <a:pt x="1253656" y="667767"/>
                </a:cubicBezTo>
                <a:cubicBezTo>
                  <a:pt x="1257300" y="664123"/>
                  <a:pt x="1257300" y="660478"/>
                  <a:pt x="1259123" y="656834"/>
                </a:cubicBezTo>
                <a:close/>
                <a:moveTo>
                  <a:pt x="1213568" y="656834"/>
                </a:moveTo>
                <a:cubicBezTo>
                  <a:pt x="1209925" y="655012"/>
                  <a:pt x="1208102" y="658656"/>
                  <a:pt x="1204457" y="660478"/>
                </a:cubicBezTo>
                <a:cubicBezTo>
                  <a:pt x="1206279" y="662301"/>
                  <a:pt x="1208102" y="664123"/>
                  <a:pt x="1208102" y="665945"/>
                </a:cubicBezTo>
                <a:cubicBezTo>
                  <a:pt x="1209925" y="660478"/>
                  <a:pt x="1213568" y="660478"/>
                  <a:pt x="1213568" y="656834"/>
                </a:cubicBezTo>
                <a:close/>
                <a:moveTo>
                  <a:pt x="1075083" y="656834"/>
                </a:moveTo>
                <a:cubicBezTo>
                  <a:pt x="1067794" y="658656"/>
                  <a:pt x="1060506" y="664123"/>
                  <a:pt x="1053217" y="667767"/>
                </a:cubicBezTo>
                <a:cubicBezTo>
                  <a:pt x="1058683" y="665945"/>
                  <a:pt x="1071439" y="664123"/>
                  <a:pt x="1075083" y="656834"/>
                </a:cubicBezTo>
                <a:close/>
                <a:moveTo>
                  <a:pt x="903799" y="656834"/>
                </a:moveTo>
                <a:cubicBezTo>
                  <a:pt x="900154" y="662301"/>
                  <a:pt x="892866" y="665945"/>
                  <a:pt x="896510" y="675056"/>
                </a:cubicBezTo>
                <a:cubicBezTo>
                  <a:pt x="900154" y="675056"/>
                  <a:pt x="900154" y="669589"/>
                  <a:pt x="901976" y="667767"/>
                </a:cubicBezTo>
                <a:cubicBezTo>
                  <a:pt x="901976" y="665945"/>
                  <a:pt x="901976" y="669589"/>
                  <a:pt x="901976" y="669589"/>
                </a:cubicBezTo>
                <a:cubicBezTo>
                  <a:pt x="907444" y="667767"/>
                  <a:pt x="900154" y="660478"/>
                  <a:pt x="903799" y="656834"/>
                </a:cubicBezTo>
                <a:close/>
                <a:moveTo>
                  <a:pt x="557586" y="656834"/>
                </a:moveTo>
                <a:cubicBezTo>
                  <a:pt x="553941" y="656834"/>
                  <a:pt x="557586" y="660478"/>
                  <a:pt x="557586" y="662301"/>
                </a:cubicBezTo>
                <a:cubicBezTo>
                  <a:pt x="561230" y="662301"/>
                  <a:pt x="559408" y="660478"/>
                  <a:pt x="561230" y="660478"/>
                </a:cubicBezTo>
                <a:cubicBezTo>
                  <a:pt x="559408" y="658656"/>
                  <a:pt x="557586" y="658656"/>
                  <a:pt x="557586" y="656834"/>
                </a:cubicBezTo>
                <a:close/>
                <a:moveTo>
                  <a:pt x="318882" y="656834"/>
                </a:moveTo>
                <a:cubicBezTo>
                  <a:pt x="320703" y="664123"/>
                  <a:pt x="324347" y="678700"/>
                  <a:pt x="333458" y="676878"/>
                </a:cubicBezTo>
                <a:cubicBezTo>
                  <a:pt x="329814" y="669589"/>
                  <a:pt x="324347" y="662301"/>
                  <a:pt x="318882" y="656834"/>
                </a:cubicBezTo>
                <a:close/>
                <a:moveTo>
                  <a:pt x="194973" y="656834"/>
                </a:moveTo>
                <a:cubicBezTo>
                  <a:pt x="193151" y="658656"/>
                  <a:pt x="196795" y="664123"/>
                  <a:pt x="200439" y="669589"/>
                </a:cubicBezTo>
                <a:cubicBezTo>
                  <a:pt x="202262" y="671411"/>
                  <a:pt x="194973" y="658656"/>
                  <a:pt x="194973" y="656834"/>
                </a:cubicBezTo>
                <a:close/>
                <a:moveTo>
                  <a:pt x="3374666" y="655012"/>
                </a:moveTo>
                <a:cubicBezTo>
                  <a:pt x="3374666" y="656834"/>
                  <a:pt x="3374666" y="656834"/>
                  <a:pt x="3374666" y="658656"/>
                </a:cubicBezTo>
                <a:cubicBezTo>
                  <a:pt x="3378311" y="658656"/>
                  <a:pt x="3381955" y="660478"/>
                  <a:pt x="3380133" y="655012"/>
                </a:cubicBezTo>
                <a:cubicBezTo>
                  <a:pt x="3376489" y="655012"/>
                  <a:pt x="3376489" y="653190"/>
                  <a:pt x="3374666" y="655012"/>
                </a:cubicBezTo>
                <a:close/>
                <a:moveTo>
                  <a:pt x="2521889" y="655012"/>
                </a:moveTo>
                <a:lnTo>
                  <a:pt x="2518245" y="660478"/>
                </a:lnTo>
                <a:lnTo>
                  <a:pt x="2525534" y="665945"/>
                </a:lnTo>
                <a:cubicBezTo>
                  <a:pt x="2523711" y="662301"/>
                  <a:pt x="2523711" y="656834"/>
                  <a:pt x="2521889" y="655012"/>
                </a:cubicBezTo>
                <a:close/>
                <a:moveTo>
                  <a:pt x="1403074" y="655012"/>
                </a:moveTo>
                <a:cubicBezTo>
                  <a:pt x="1397608" y="653190"/>
                  <a:pt x="1386676" y="660478"/>
                  <a:pt x="1392141" y="665945"/>
                </a:cubicBezTo>
                <a:cubicBezTo>
                  <a:pt x="1393963" y="664123"/>
                  <a:pt x="1393963" y="664123"/>
                  <a:pt x="1395787" y="664123"/>
                </a:cubicBezTo>
                <a:cubicBezTo>
                  <a:pt x="1399430" y="662301"/>
                  <a:pt x="1399430" y="658656"/>
                  <a:pt x="1403074" y="655012"/>
                </a:cubicBezTo>
                <a:close/>
                <a:moveTo>
                  <a:pt x="743447" y="655012"/>
                </a:moveTo>
                <a:cubicBezTo>
                  <a:pt x="750737" y="656834"/>
                  <a:pt x="748914" y="665945"/>
                  <a:pt x="758025" y="662301"/>
                </a:cubicBezTo>
                <a:cubicBezTo>
                  <a:pt x="758025" y="660478"/>
                  <a:pt x="752558" y="660478"/>
                  <a:pt x="750737" y="658656"/>
                </a:cubicBezTo>
                <a:cubicBezTo>
                  <a:pt x="748914" y="656834"/>
                  <a:pt x="754380" y="658656"/>
                  <a:pt x="754380" y="656834"/>
                </a:cubicBezTo>
                <a:cubicBezTo>
                  <a:pt x="750737" y="655012"/>
                  <a:pt x="747092" y="653190"/>
                  <a:pt x="743447" y="655012"/>
                </a:cubicBezTo>
                <a:close/>
                <a:moveTo>
                  <a:pt x="628650" y="655012"/>
                </a:moveTo>
                <a:cubicBezTo>
                  <a:pt x="625006" y="656834"/>
                  <a:pt x="632296" y="658656"/>
                  <a:pt x="626828" y="660478"/>
                </a:cubicBezTo>
                <a:cubicBezTo>
                  <a:pt x="630472" y="662301"/>
                  <a:pt x="630472" y="658656"/>
                  <a:pt x="632296" y="658656"/>
                </a:cubicBezTo>
                <a:cubicBezTo>
                  <a:pt x="632296" y="656834"/>
                  <a:pt x="630472" y="656834"/>
                  <a:pt x="628650" y="655012"/>
                </a:cubicBezTo>
                <a:close/>
                <a:moveTo>
                  <a:pt x="626828" y="655012"/>
                </a:moveTo>
                <a:cubicBezTo>
                  <a:pt x="621362" y="653190"/>
                  <a:pt x="621362" y="656834"/>
                  <a:pt x="623185" y="662301"/>
                </a:cubicBezTo>
                <a:cubicBezTo>
                  <a:pt x="626828" y="664123"/>
                  <a:pt x="625006" y="656834"/>
                  <a:pt x="626828" y="655012"/>
                </a:cubicBezTo>
                <a:close/>
                <a:moveTo>
                  <a:pt x="610429" y="655012"/>
                </a:moveTo>
                <a:cubicBezTo>
                  <a:pt x="608606" y="655012"/>
                  <a:pt x="608606" y="658656"/>
                  <a:pt x="606784" y="660478"/>
                </a:cubicBezTo>
                <a:cubicBezTo>
                  <a:pt x="610429" y="662301"/>
                  <a:pt x="608606" y="656834"/>
                  <a:pt x="610429" y="655012"/>
                </a:cubicBezTo>
                <a:close/>
                <a:moveTo>
                  <a:pt x="140308" y="655012"/>
                </a:moveTo>
                <a:cubicBezTo>
                  <a:pt x="142130" y="656834"/>
                  <a:pt x="142130" y="658656"/>
                  <a:pt x="143952" y="662301"/>
                </a:cubicBezTo>
                <a:cubicBezTo>
                  <a:pt x="145774" y="667767"/>
                  <a:pt x="147596" y="673234"/>
                  <a:pt x="149419" y="678700"/>
                </a:cubicBezTo>
                <a:cubicBezTo>
                  <a:pt x="149419" y="676878"/>
                  <a:pt x="149419" y="676878"/>
                  <a:pt x="149419" y="676878"/>
                </a:cubicBezTo>
                <a:cubicBezTo>
                  <a:pt x="153063" y="676878"/>
                  <a:pt x="153063" y="676878"/>
                  <a:pt x="154885" y="678700"/>
                </a:cubicBezTo>
                <a:cubicBezTo>
                  <a:pt x="153063" y="673234"/>
                  <a:pt x="147596" y="667767"/>
                  <a:pt x="143952" y="662301"/>
                </a:cubicBezTo>
                <a:cubicBezTo>
                  <a:pt x="145774" y="662301"/>
                  <a:pt x="145774" y="662301"/>
                  <a:pt x="145774" y="664123"/>
                </a:cubicBezTo>
                <a:cubicBezTo>
                  <a:pt x="145774" y="660478"/>
                  <a:pt x="142130" y="656834"/>
                  <a:pt x="140308" y="655012"/>
                </a:cubicBezTo>
                <a:close/>
                <a:moveTo>
                  <a:pt x="685024" y="654030"/>
                </a:moveTo>
                <a:lnTo>
                  <a:pt x="685138" y="654329"/>
                </a:lnTo>
                <a:lnTo>
                  <a:pt x="681974" y="659666"/>
                </a:lnTo>
                <a:lnTo>
                  <a:pt x="681493" y="658885"/>
                </a:lnTo>
                <a:close/>
                <a:moveTo>
                  <a:pt x="3509507" y="653190"/>
                </a:moveTo>
                <a:cubicBezTo>
                  <a:pt x="3505863" y="651368"/>
                  <a:pt x="3507685" y="658656"/>
                  <a:pt x="3507685" y="660478"/>
                </a:cubicBezTo>
                <a:cubicBezTo>
                  <a:pt x="3513152" y="662301"/>
                  <a:pt x="3513152" y="660478"/>
                  <a:pt x="3516796" y="658656"/>
                </a:cubicBezTo>
                <a:cubicBezTo>
                  <a:pt x="3513152" y="656834"/>
                  <a:pt x="3505863" y="660478"/>
                  <a:pt x="3509507" y="653190"/>
                </a:cubicBezTo>
                <a:close/>
                <a:moveTo>
                  <a:pt x="3398355" y="653190"/>
                </a:moveTo>
                <a:cubicBezTo>
                  <a:pt x="3391066" y="660478"/>
                  <a:pt x="3376489" y="658656"/>
                  <a:pt x="3371022" y="667767"/>
                </a:cubicBezTo>
                <a:cubicBezTo>
                  <a:pt x="3363734" y="669589"/>
                  <a:pt x="3354623" y="667767"/>
                  <a:pt x="3347334" y="673234"/>
                </a:cubicBezTo>
                <a:cubicBezTo>
                  <a:pt x="3347334" y="671411"/>
                  <a:pt x="3347334" y="671411"/>
                  <a:pt x="3345512" y="669589"/>
                </a:cubicBezTo>
                <a:cubicBezTo>
                  <a:pt x="3343690" y="673234"/>
                  <a:pt x="3338223" y="675056"/>
                  <a:pt x="3334579" y="673234"/>
                </a:cubicBezTo>
                <a:cubicBezTo>
                  <a:pt x="3332756" y="676878"/>
                  <a:pt x="3325468" y="680522"/>
                  <a:pt x="3327290" y="687811"/>
                </a:cubicBezTo>
                <a:cubicBezTo>
                  <a:pt x="3329112" y="689633"/>
                  <a:pt x="3330934" y="689633"/>
                  <a:pt x="3332756" y="687811"/>
                </a:cubicBezTo>
                <a:cubicBezTo>
                  <a:pt x="3332756" y="685989"/>
                  <a:pt x="3332756" y="682345"/>
                  <a:pt x="3330934" y="680522"/>
                </a:cubicBezTo>
                <a:cubicBezTo>
                  <a:pt x="3338223" y="682345"/>
                  <a:pt x="3330934" y="687811"/>
                  <a:pt x="3332756" y="689633"/>
                </a:cubicBezTo>
                <a:cubicBezTo>
                  <a:pt x="3327290" y="693278"/>
                  <a:pt x="3320001" y="687811"/>
                  <a:pt x="3321824" y="682345"/>
                </a:cubicBezTo>
                <a:cubicBezTo>
                  <a:pt x="3316357" y="691455"/>
                  <a:pt x="3312713" y="687811"/>
                  <a:pt x="3305424" y="680522"/>
                </a:cubicBezTo>
                <a:cubicBezTo>
                  <a:pt x="3303602" y="682345"/>
                  <a:pt x="3303602" y="685989"/>
                  <a:pt x="3303602" y="687811"/>
                </a:cubicBezTo>
                <a:cubicBezTo>
                  <a:pt x="3299957" y="687811"/>
                  <a:pt x="3299957" y="682345"/>
                  <a:pt x="3299957" y="680522"/>
                </a:cubicBezTo>
                <a:cubicBezTo>
                  <a:pt x="3299957" y="678700"/>
                  <a:pt x="3294491" y="685989"/>
                  <a:pt x="3292669" y="680522"/>
                </a:cubicBezTo>
                <a:cubicBezTo>
                  <a:pt x="3290847" y="684167"/>
                  <a:pt x="3290847" y="684167"/>
                  <a:pt x="3289024" y="685989"/>
                </a:cubicBezTo>
                <a:cubicBezTo>
                  <a:pt x="3283558" y="685989"/>
                  <a:pt x="3274447" y="687811"/>
                  <a:pt x="3276269" y="696922"/>
                </a:cubicBezTo>
                <a:cubicBezTo>
                  <a:pt x="3274447" y="696922"/>
                  <a:pt x="3272625" y="695100"/>
                  <a:pt x="3272625" y="695100"/>
                </a:cubicBezTo>
                <a:cubicBezTo>
                  <a:pt x="3272625" y="689633"/>
                  <a:pt x="3276269" y="680522"/>
                  <a:pt x="3268980" y="678700"/>
                </a:cubicBezTo>
                <a:cubicBezTo>
                  <a:pt x="3267158" y="676878"/>
                  <a:pt x="3263514" y="678700"/>
                  <a:pt x="3261692" y="678700"/>
                </a:cubicBezTo>
                <a:cubicBezTo>
                  <a:pt x="3261692" y="678700"/>
                  <a:pt x="3261692" y="676878"/>
                  <a:pt x="3261692" y="676878"/>
                </a:cubicBezTo>
                <a:cubicBezTo>
                  <a:pt x="3259869" y="675056"/>
                  <a:pt x="3259869" y="678700"/>
                  <a:pt x="3258047" y="678700"/>
                </a:cubicBezTo>
                <a:cubicBezTo>
                  <a:pt x="3250759" y="676878"/>
                  <a:pt x="3256225" y="673234"/>
                  <a:pt x="3248937" y="669589"/>
                </a:cubicBezTo>
                <a:cubicBezTo>
                  <a:pt x="3239826" y="669589"/>
                  <a:pt x="3228893" y="667767"/>
                  <a:pt x="3223426" y="675056"/>
                </a:cubicBezTo>
                <a:cubicBezTo>
                  <a:pt x="3214315" y="687811"/>
                  <a:pt x="3234359" y="706033"/>
                  <a:pt x="3247114" y="716966"/>
                </a:cubicBezTo>
                <a:cubicBezTo>
                  <a:pt x="3245292" y="718788"/>
                  <a:pt x="3241648" y="722432"/>
                  <a:pt x="3245292" y="726077"/>
                </a:cubicBezTo>
                <a:cubicBezTo>
                  <a:pt x="3247114" y="726077"/>
                  <a:pt x="3248937" y="726077"/>
                  <a:pt x="3250759" y="727899"/>
                </a:cubicBezTo>
                <a:cubicBezTo>
                  <a:pt x="3250759" y="733365"/>
                  <a:pt x="3254403" y="742476"/>
                  <a:pt x="3258047" y="740654"/>
                </a:cubicBezTo>
                <a:cubicBezTo>
                  <a:pt x="3263514" y="737010"/>
                  <a:pt x="3268980" y="740654"/>
                  <a:pt x="3274447" y="738832"/>
                </a:cubicBezTo>
                <a:cubicBezTo>
                  <a:pt x="3272625" y="744298"/>
                  <a:pt x="3265336" y="746121"/>
                  <a:pt x="3263514" y="749765"/>
                </a:cubicBezTo>
                <a:cubicBezTo>
                  <a:pt x="3259869" y="758876"/>
                  <a:pt x="3270803" y="760698"/>
                  <a:pt x="3278091" y="758876"/>
                </a:cubicBezTo>
                <a:cubicBezTo>
                  <a:pt x="3281736" y="757054"/>
                  <a:pt x="3285380" y="755231"/>
                  <a:pt x="3287202" y="753409"/>
                </a:cubicBezTo>
                <a:cubicBezTo>
                  <a:pt x="3287202" y="755231"/>
                  <a:pt x="3285380" y="760698"/>
                  <a:pt x="3287202" y="762520"/>
                </a:cubicBezTo>
                <a:cubicBezTo>
                  <a:pt x="3289024" y="764342"/>
                  <a:pt x="3290847" y="757054"/>
                  <a:pt x="3296313" y="758876"/>
                </a:cubicBezTo>
                <a:cubicBezTo>
                  <a:pt x="3294491" y="755231"/>
                  <a:pt x="3290847" y="757054"/>
                  <a:pt x="3290847" y="755231"/>
                </a:cubicBezTo>
                <a:cubicBezTo>
                  <a:pt x="3285380" y="744298"/>
                  <a:pt x="3290847" y="729721"/>
                  <a:pt x="3301780" y="737010"/>
                </a:cubicBezTo>
                <a:cubicBezTo>
                  <a:pt x="3320001" y="749765"/>
                  <a:pt x="3332756" y="731543"/>
                  <a:pt x="3345512" y="722432"/>
                </a:cubicBezTo>
                <a:cubicBezTo>
                  <a:pt x="3349156" y="718788"/>
                  <a:pt x="3338223" y="709677"/>
                  <a:pt x="3338223" y="700566"/>
                </a:cubicBezTo>
                <a:cubicBezTo>
                  <a:pt x="3343690" y="706033"/>
                  <a:pt x="3341867" y="709677"/>
                  <a:pt x="3350978" y="707855"/>
                </a:cubicBezTo>
                <a:cubicBezTo>
                  <a:pt x="3350978" y="711499"/>
                  <a:pt x="3345512" y="718788"/>
                  <a:pt x="3349156" y="718788"/>
                </a:cubicBezTo>
                <a:cubicBezTo>
                  <a:pt x="3358267" y="720610"/>
                  <a:pt x="3371022" y="711499"/>
                  <a:pt x="3360089" y="700566"/>
                </a:cubicBezTo>
                <a:cubicBezTo>
                  <a:pt x="3363734" y="704211"/>
                  <a:pt x="3369200" y="698744"/>
                  <a:pt x="3371022" y="698744"/>
                </a:cubicBezTo>
                <a:lnTo>
                  <a:pt x="3371450" y="703870"/>
                </a:lnTo>
                <a:lnTo>
                  <a:pt x="3371022" y="704211"/>
                </a:lnTo>
                <a:lnTo>
                  <a:pt x="3371271" y="704708"/>
                </a:lnTo>
                <a:lnTo>
                  <a:pt x="3369200" y="709677"/>
                </a:lnTo>
                <a:cubicBezTo>
                  <a:pt x="3371022" y="707855"/>
                  <a:pt x="3371022" y="707855"/>
                  <a:pt x="3372844" y="707855"/>
                </a:cubicBezTo>
                <a:lnTo>
                  <a:pt x="3371271" y="704708"/>
                </a:lnTo>
                <a:lnTo>
                  <a:pt x="3371478" y="704211"/>
                </a:lnTo>
                <a:lnTo>
                  <a:pt x="3371450" y="703870"/>
                </a:lnTo>
                <a:lnTo>
                  <a:pt x="3380133" y="696922"/>
                </a:lnTo>
                <a:cubicBezTo>
                  <a:pt x="3372844" y="691455"/>
                  <a:pt x="3371022" y="685989"/>
                  <a:pt x="3378311" y="680522"/>
                </a:cubicBezTo>
                <a:cubicBezTo>
                  <a:pt x="3374666" y="682345"/>
                  <a:pt x="3374666" y="680522"/>
                  <a:pt x="3372844" y="678700"/>
                </a:cubicBezTo>
                <a:cubicBezTo>
                  <a:pt x="3372844" y="675056"/>
                  <a:pt x="3365556" y="673234"/>
                  <a:pt x="3371022" y="667767"/>
                </a:cubicBezTo>
                <a:cubicBezTo>
                  <a:pt x="3376489" y="667767"/>
                  <a:pt x="3380133" y="678700"/>
                  <a:pt x="3383777" y="671411"/>
                </a:cubicBezTo>
                <a:cubicBezTo>
                  <a:pt x="3387422" y="671411"/>
                  <a:pt x="3383777" y="676878"/>
                  <a:pt x="3383777" y="678700"/>
                </a:cubicBezTo>
                <a:cubicBezTo>
                  <a:pt x="3389244" y="675056"/>
                  <a:pt x="3389244" y="676878"/>
                  <a:pt x="3392888" y="680522"/>
                </a:cubicBezTo>
                <a:cubicBezTo>
                  <a:pt x="3403821" y="678700"/>
                  <a:pt x="3392888" y="662301"/>
                  <a:pt x="3400177" y="658656"/>
                </a:cubicBezTo>
                <a:cubicBezTo>
                  <a:pt x="3401999" y="655012"/>
                  <a:pt x="3396532" y="656834"/>
                  <a:pt x="3398355" y="653190"/>
                </a:cubicBezTo>
                <a:close/>
                <a:moveTo>
                  <a:pt x="2822548" y="653190"/>
                </a:moveTo>
                <a:cubicBezTo>
                  <a:pt x="2817081" y="653190"/>
                  <a:pt x="2818903" y="664123"/>
                  <a:pt x="2826192" y="662301"/>
                </a:cubicBezTo>
                <a:cubicBezTo>
                  <a:pt x="2826192" y="656834"/>
                  <a:pt x="2822548" y="656834"/>
                  <a:pt x="2822548" y="653190"/>
                </a:cubicBezTo>
                <a:close/>
                <a:moveTo>
                  <a:pt x="2762416" y="653190"/>
                </a:moveTo>
                <a:lnTo>
                  <a:pt x="2769341" y="656291"/>
                </a:lnTo>
                <a:lnTo>
                  <a:pt x="2771527" y="667767"/>
                </a:lnTo>
                <a:lnTo>
                  <a:pt x="2766789" y="667767"/>
                </a:lnTo>
                <a:close/>
                <a:moveTo>
                  <a:pt x="2332383" y="653190"/>
                </a:moveTo>
                <a:cubicBezTo>
                  <a:pt x="2323272" y="658656"/>
                  <a:pt x="2330561" y="673234"/>
                  <a:pt x="2337850" y="678700"/>
                </a:cubicBezTo>
                <a:cubicBezTo>
                  <a:pt x="2339672" y="664123"/>
                  <a:pt x="2330561" y="669589"/>
                  <a:pt x="2332383" y="653190"/>
                </a:cubicBezTo>
                <a:close/>
                <a:moveTo>
                  <a:pt x="1439518" y="653190"/>
                </a:moveTo>
                <a:cubicBezTo>
                  <a:pt x="1432229" y="651368"/>
                  <a:pt x="1432229" y="660478"/>
                  <a:pt x="1432229" y="665945"/>
                </a:cubicBezTo>
                <a:cubicBezTo>
                  <a:pt x="1435873" y="662301"/>
                  <a:pt x="1439518" y="656834"/>
                  <a:pt x="1439518" y="653190"/>
                </a:cubicBezTo>
                <a:close/>
                <a:moveTo>
                  <a:pt x="1341120" y="653190"/>
                </a:moveTo>
                <a:cubicBezTo>
                  <a:pt x="1337476" y="655012"/>
                  <a:pt x="1333832" y="660478"/>
                  <a:pt x="1332009" y="658656"/>
                </a:cubicBezTo>
                <a:cubicBezTo>
                  <a:pt x="1335654" y="667767"/>
                  <a:pt x="1324721" y="676878"/>
                  <a:pt x="1326543" y="685989"/>
                </a:cubicBezTo>
                <a:cubicBezTo>
                  <a:pt x="1332009" y="684167"/>
                  <a:pt x="1335654" y="678700"/>
                  <a:pt x="1335654" y="673234"/>
                </a:cubicBezTo>
                <a:cubicBezTo>
                  <a:pt x="1335654" y="673234"/>
                  <a:pt x="1335654" y="675056"/>
                  <a:pt x="1335654" y="675056"/>
                </a:cubicBezTo>
                <a:cubicBezTo>
                  <a:pt x="1341120" y="669589"/>
                  <a:pt x="1348410" y="660478"/>
                  <a:pt x="1341120" y="653190"/>
                </a:cubicBezTo>
                <a:close/>
                <a:moveTo>
                  <a:pt x="1297388" y="653190"/>
                </a:moveTo>
                <a:cubicBezTo>
                  <a:pt x="1295566" y="653190"/>
                  <a:pt x="1291922" y="658656"/>
                  <a:pt x="1291922" y="660478"/>
                </a:cubicBezTo>
                <a:cubicBezTo>
                  <a:pt x="1282811" y="664123"/>
                  <a:pt x="1282811" y="673234"/>
                  <a:pt x="1277344" y="680522"/>
                </a:cubicBezTo>
                <a:cubicBezTo>
                  <a:pt x="1280989" y="680522"/>
                  <a:pt x="1282811" y="678700"/>
                  <a:pt x="1288277" y="676878"/>
                </a:cubicBezTo>
                <a:cubicBezTo>
                  <a:pt x="1290100" y="669589"/>
                  <a:pt x="1295566" y="660478"/>
                  <a:pt x="1297388" y="653190"/>
                </a:cubicBezTo>
                <a:close/>
                <a:moveTo>
                  <a:pt x="1246367" y="653190"/>
                </a:moveTo>
                <a:cubicBezTo>
                  <a:pt x="1244545" y="653190"/>
                  <a:pt x="1244545" y="655012"/>
                  <a:pt x="1242723" y="655012"/>
                </a:cubicBezTo>
                <a:cubicBezTo>
                  <a:pt x="1244545" y="656834"/>
                  <a:pt x="1246367" y="664123"/>
                  <a:pt x="1250012" y="662301"/>
                </a:cubicBezTo>
                <a:cubicBezTo>
                  <a:pt x="1248189" y="658656"/>
                  <a:pt x="1248189" y="656834"/>
                  <a:pt x="1246367" y="653190"/>
                </a:cubicBezTo>
                <a:close/>
                <a:moveTo>
                  <a:pt x="1186236" y="653190"/>
                </a:moveTo>
                <a:cubicBezTo>
                  <a:pt x="1186236" y="653190"/>
                  <a:pt x="1178947" y="656834"/>
                  <a:pt x="1182592" y="658656"/>
                </a:cubicBezTo>
                <a:cubicBezTo>
                  <a:pt x="1184414" y="656834"/>
                  <a:pt x="1184414" y="655012"/>
                  <a:pt x="1186236" y="653190"/>
                </a:cubicBezTo>
                <a:close/>
                <a:moveTo>
                  <a:pt x="1115171" y="653190"/>
                </a:moveTo>
                <a:cubicBezTo>
                  <a:pt x="1107882" y="662301"/>
                  <a:pt x="1098771" y="665945"/>
                  <a:pt x="1096949" y="676878"/>
                </a:cubicBezTo>
                <a:cubicBezTo>
                  <a:pt x="1104238" y="675056"/>
                  <a:pt x="1107882" y="664123"/>
                  <a:pt x="1113349" y="658656"/>
                </a:cubicBezTo>
                <a:cubicBezTo>
                  <a:pt x="1116993" y="655012"/>
                  <a:pt x="1115171" y="655012"/>
                  <a:pt x="1115171" y="653190"/>
                </a:cubicBezTo>
                <a:close/>
                <a:moveTo>
                  <a:pt x="1100593" y="653190"/>
                </a:moveTo>
                <a:cubicBezTo>
                  <a:pt x="1096949" y="653190"/>
                  <a:pt x="1091484" y="656834"/>
                  <a:pt x="1095127" y="658656"/>
                </a:cubicBezTo>
                <a:cubicBezTo>
                  <a:pt x="1095127" y="658656"/>
                  <a:pt x="1096949" y="656834"/>
                  <a:pt x="1096949" y="656834"/>
                </a:cubicBezTo>
                <a:cubicBezTo>
                  <a:pt x="1098771" y="658656"/>
                  <a:pt x="1096949" y="660478"/>
                  <a:pt x="1096949" y="662301"/>
                </a:cubicBezTo>
                <a:cubicBezTo>
                  <a:pt x="1100593" y="660478"/>
                  <a:pt x="1098771" y="656834"/>
                  <a:pt x="1100593" y="653190"/>
                </a:cubicBezTo>
                <a:close/>
                <a:moveTo>
                  <a:pt x="444611" y="653190"/>
                </a:moveTo>
                <a:cubicBezTo>
                  <a:pt x="446433" y="660478"/>
                  <a:pt x="453722" y="665945"/>
                  <a:pt x="459188" y="667767"/>
                </a:cubicBezTo>
                <a:cubicBezTo>
                  <a:pt x="459188" y="660478"/>
                  <a:pt x="448256" y="658656"/>
                  <a:pt x="444611" y="653190"/>
                </a:cubicBezTo>
                <a:close/>
                <a:moveTo>
                  <a:pt x="415456" y="653190"/>
                </a:moveTo>
                <a:cubicBezTo>
                  <a:pt x="411812" y="662301"/>
                  <a:pt x="424567" y="660478"/>
                  <a:pt x="424567" y="664123"/>
                </a:cubicBezTo>
                <a:cubicBezTo>
                  <a:pt x="426389" y="658656"/>
                  <a:pt x="417278" y="655012"/>
                  <a:pt x="415456" y="653190"/>
                </a:cubicBezTo>
                <a:close/>
                <a:moveTo>
                  <a:pt x="493582" y="652962"/>
                </a:moveTo>
                <a:cubicBezTo>
                  <a:pt x="492898" y="652735"/>
                  <a:pt x="491987" y="653190"/>
                  <a:pt x="490165" y="655012"/>
                </a:cubicBezTo>
                <a:cubicBezTo>
                  <a:pt x="491987" y="655012"/>
                  <a:pt x="493809" y="656834"/>
                  <a:pt x="493809" y="658656"/>
                </a:cubicBezTo>
                <a:cubicBezTo>
                  <a:pt x="495632" y="660478"/>
                  <a:pt x="493809" y="655012"/>
                  <a:pt x="495632" y="655012"/>
                </a:cubicBezTo>
                <a:cubicBezTo>
                  <a:pt x="494721" y="654101"/>
                  <a:pt x="494265" y="653190"/>
                  <a:pt x="493582" y="652962"/>
                </a:cubicBezTo>
                <a:close/>
                <a:moveTo>
                  <a:pt x="3592645" y="652962"/>
                </a:moveTo>
                <a:cubicBezTo>
                  <a:pt x="3589228" y="651823"/>
                  <a:pt x="3586039" y="652279"/>
                  <a:pt x="3586039" y="656834"/>
                </a:cubicBezTo>
                <a:lnTo>
                  <a:pt x="3588037" y="657405"/>
                </a:lnTo>
                <a:lnTo>
                  <a:pt x="3588772" y="659795"/>
                </a:lnTo>
                <a:cubicBezTo>
                  <a:pt x="3589683" y="660934"/>
                  <a:pt x="3590594" y="662301"/>
                  <a:pt x="3589683" y="664123"/>
                </a:cubicBezTo>
                <a:cubicBezTo>
                  <a:pt x="3591505" y="664123"/>
                  <a:pt x="3593328" y="664123"/>
                  <a:pt x="3594467" y="663440"/>
                </a:cubicBezTo>
                <a:lnTo>
                  <a:pt x="3595096" y="659037"/>
                </a:lnTo>
                <a:lnTo>
                  <a:pt x="3600616" y="658656"/>
                </a:lnTo>
                <a:cubicBezTo>
                  <a:pt x="3599705" y="656834"/>
                  <a:pt x="3596061" y="654101"/>
                  <a:pt x="3592645" y="652962"/>
                </a:cubicBezTo>
                <a:close/>
                <a:moveTo>
                  <a:pt x="1412185" y="651368"/>
                </a:moveTo>
                <a:lnTo>
                  <a:pt x="1404896" y="661572"/>
                </a:lnTo>
                <a:lnTo>
                  <a:pt x="1404896" y="658656"/>
                </a:lnTo>
                <a:cubicBezTo>
                  <a:pt x="1403074" y="660478"/>
                  <a:pt x="1404896" y="662301"/>
                  <a:pt x="1403074" y="664123"/>
                </a:cubicBezTo>
                <a:lnTo>
                  <a:pt x="1404896" y="661572"/>
                </a:lnTo>
                <a:lnTo>
                  <a:pt x="1404896" y="665945"/>
                </a:lnTo>
                <a:cubicBezTo>
                  <a:pt x="1410363" y="664123"/>
                  <a:pt x="1415829" y="656834"/>
                  <a:pt x="1412185" y="651368"/>
                </a:cubicBezTo>
                <a:close/>
                <a:moveTo>
                  <a:pt x="1326543" y="651368"/>
                </a:moveTo>
                <a:cubicBezTo>
                  <a:pt x="1321077" y="655012"/>
                  <a:pt x="1321077" y="658656"/>
                  <a:pt x="1319254" y="662301"/>
                </a:cubicBezTo>
                <a:cubicBezTo>
                  <a:pt x="1322899" y="662301"/>
                  <a:pt x="1326543" y="658656"/>
                  <a:pt x="1330188" y="656834"/>
                </a:cubicBezTo>
                <a:cubicBezTo>
                  <a:pt x="1330188" y="655012"/>
                  <a:pt x="1328365" y="653190"/>
                  <a:pt x="1326543" y="651368"/>
                </a:cubicBezTo>
                <a:close/>
                <a:moveTo>
                  <a:pt x="1107882" y="651368"/>
                </a:moveTo>
                <a:cubicBezTo>
                  <a:pt x="1104238" y="653190"/>
                  <a:pt x="1104238" y="655012"/>
                  <a:pt x="1104238" y="656834"/>
                </a:cubicBezTo>
                <a:cubicBezTo>
                  <a:pt x="1106060" y="658656"/>
                  <a:pt x="1109704" y="653190"/>
                  <a:pt x="1107882" y="651368"/>
                </a:cubicBezTo>
                <a:close/>
                <a:moveTo>
                  <a:pt x="1022240" y="651368"/>
                </a:moveTo>
                <a:lnTo>
                  <a:pt x="1018483" y="662637"/>
                </a:lnTo>
                <a:lnTo>
                  <a:pt x="1018368" y="662757"/>
                </a:lnTo>
                <a:cubicBezTo>
                  <a:pt x="1017230" y="665945"/>
                  <a:pt x="1016774" y="669590"/>
                  <a:pt x="1014951" y="673234"/>
                </a:cubicBezTo>
                <a:lnTo>
                  <a:pt x="1018483" y="662637"/>
                </a:lnTo>
                <a:lnTo>
                  <a:pt x="1025884" y="655012"/>
                </a:lnTo>
                <a:cubicBezTo>
                  <a:pt x="1022240" y="653190"/>
                  <a:pt x="1024062" y="651368"/>
                  <a:pt x="1022240" y="651368"/>
                </a:cubicBezTo>
                <a:close/>
                <a:moveTo>
                  <a:pt x="805401" y="651368"/>
                </a:moveTo>
                <a:cubicBezTo>
                  <a:pt x="805401" y="656834"/>
                  <a:pt x="803579" y="660478"/>
                  <a:pt x="807223" y="665945"/>
                </a:cubicBezTo>
                <a:cubicBezTo>
                  <a:pt x="809046" y="660478"/>
                  <a:pt x="812690" y="655012"/>
                  <a:pt x="805401" y="651368"/>
                </a:cubicBezTo>
                <a:close/>
                <a:moveTo>
                  <a:pt x="652339" y="651368"/>
                </a:moveTo>
                <a:cubicBezTo>
                  <a:pt x="652339" y="653190"/>
                  <a:pt x="650516" y="653190"/>
                  <a:pt x="650516" y="653190"/>
                </a:cubicBezTo>
                <a:cubicBezTo>
                  <a:pt x="652339" y="655012"/>
                  <a:pt x="654161" y="655012"/>
                  <a:pt x="655983" y="656834"/>
                </a:cubicBezTo>
                <a:cubicBezTo>
                  <a:pt x="655983" y="655012"/>
                  <a:pt x="652339" y="653190"/>
                  <a:pt x="652339" y="651368"/>
                </a:cubicBezTo>
                <a:close/>
                <a:moveTo>
                  <a:pt x="337102" y="651368"/>
                </a:moveTo>
                <a:cubicBezTo>
                  <a:pt x="335280" y="653190"/>
                  <a:pt x="342569" y="656834"/>
                  <a:pt x="344391" y="658656"/>
                </a:cubicBezTo>
                <a:cubicBezTo>
                  <a:pt x="346213" y="656834"/>
                  <a:pt x="344391" y="655012"/>
                  <a:pt x="346213" y="655012"/>
                </a:cubicBezTo>
                <a:cubicBezTo>
                  <a:pt x="344391" y="653190"/>
                  <a:pt x="340747" y="655012"/>
                  <a:pt x="337102" y="651368"/>
                </a:cubicBezTo>
                <a:close/>
                <a:moveTo>
                  <a:pt x="333458" y="651368"/>
                </a:moveTo>
                <a:cubicBezTo>
                  <a:pt x="329814" y="655012"/>
                  <a:pt x="337102" y="658656"/>
                  <a:pt x="338926" y="660478"/>
                </a:cubicBezTo>
                <a:cubicBezTo>
                  <a:pt x="340747" y="658656"/>
                  <a:pt x="335280" y="656834"/>
                  <a:pt x="337102" y="655012"/>
                </a:cubicBezTo>
                <a:cubicBezTo>
                  <a:pt x="337102" y="653190"/>
                  <a:pt x="335280" y="655012"/>
                  <a:pt x="333458" y="651368"/>
                </a:cubicBezTo>
                <a:close/>
                <a:moveTo>
                  <a:pt x="1056541" y="650939"/>
                </a:moveTo>
                <a:lnTo>
                  <a:pt x="1055040" y="653190"/>
                </a:lnTo>
                <a:lnTo>
                  <a:pt x="1055195" y="652587"/>
                </a:lnTo>
                <a:close/>
                <a:moveTo>
                  <a:pt x="3381955" y="649545"/>
                </a:moveTo>
                <a:cubicBezTo>
                  <a:pt x="3380133" y="649545"/>
                  <a:pt x="3380133" y="651368"/>
                  <a:pt x="3380133" y="653190"/>
                </a:cubicBezTo>
                <a:cubicBezTo>
                  <a:pt x="3383777" y="653190"/>
                  <a:pt x="3385600" y="658656"/>
                  <a:pt x="3389244" y="655012"/>
                </a:cubicBezTo>
                <a:cubicBezTo>
                  <a:pt x="3389244" y="653190"/>
                  <a:pt x="3385600" y="655012"/>
                  <a:pt x="3387422" y="649545"/>
                </a:cubicBezTo>
                <a:cubicBezTo>
                  <a:pt x="3385600" y="649545"/>
                  <a:pt x="3381955" y="651368"/>
                  <a:pt x="3381955" y="649545"/>
                </a:cubicBezTo>
                <a:close/>
                <a:moveTo>
                  <a:pt x="2616642" y="649545"/>
                </a:moveTo>
                <a:cubicBezTo>
                  <a:pt x="2612998" y="653190"/>
                  <a:pt x="2618464" y="656834"/>
                  <a:pt x="2616642" y="658656"/>
                </a:cubicBezTo>
                <a:cubicBezTo>
                  <a:pt x="2620287" y="660478"/>
                  <a:pt x="2618464" y="655012"/>
                  <a:pt x="2620287" y="655012"/>
                </a:cubicBezTo>
                <a:cubicBezTo>
                  <a:pt x="2620287" y="651368"/>
                  <a:pt x="2616642" y="655012"/>
                  <a:pt x="2616642" y="649545"/>
                </a:cubicBezTo>
                <a:close/>
                <a:moveTo>
                  <a:pt x="2563799" y="649545"/>
                </a:moveTo>
                <a:cubicBezTo>
                  <a:pt x="2560155" y="653190"/>
                  <a:pt x="2561977" y="658656"/>
                  <a:pt x="2560155" y="662301"/>
                </a:cubicBezTo>
                <a:cubicBezTo>
                  <a:pt x="2561977" y="660478"/>
                  <a:pt x="2563799" y="660478"/>
                  <a:pt x="2565621" y="662301"/>
                </a:cubicBezTo>
                <a:cubicBezTo>
                  <a:pt x="2565621" y="655012"/>
                  <a:pt x="2563799" y="655012"/>
                  <a:pt x="2563799" y="649545"/>
                </a:cubicBezTo>
                <a:close/>
                <a:moveTo>
                  <a:pt x="2545577" y="649545"/>
                </a:moveTo>
                <a:lnTo>
                  <a:pt x="2542302" y="651380"/>
                </a:lnTo>
                <a:lnTo>
                  <a:pt x="2541933" y="651368"/>
                </a:lnTo>
                <a:cubicBezTo>
                  <a:pt x="2543755" y="649545"/>
                  <a:pt x="2543755" y="649545"/>
                  <a:pt x="2545577" y="649545"/>
                </a:cubicBezTo>
                <a:close/>
                <a:moveTo>
                  <a:pt x="519320" y="649545"/>
                </a:moveTo>
                <a:cubicBezTo>
                  <a:pt x="517498" y="649545"/>
                  <a:pt x="519320" y="651368"/>
                  <a:pt x="517498" y="651368"/>
                </a:cubicBezTo>
                <a:cubicBezTo>
                  <a:pt x="522964" y="656834"/>
                  <a:pt x="522964" y="655012"/>
                  <a:pt x="519320" y="649545"/>
                </a:cubicBezTo>
                <a:close/>
                <a:moveTo>
                  <a:pt x="360791" y="649545"/>
                </a:moveTo>
                <a:cubicBezTo>
                  <a:pt x="358969" y="651368"/>
                  <a:pt x="360791" y="653190"/>
                  <a:pt x="358969" y="655012"/>
                </a:cubicBezTo>
                <a:cubicBezTo>
                  <a:pt x="360791" y="655012"/>
                  <a:pt x="362613" y="653190"/>
                  <a:pt x="362613" y="655012"/>
                </a:cubicBezTo>
                <a:cubicBezTo>
                  <a:pt x="364435" y="655012"/>
                  <a:pt x="362613" y="651368"/>
                  <a:pt x="360791" y="649545"/>
                </a:cubicBezTo>
                <a:close/>
                <a:moveTo>
                  <a:pt x="198617" y="649545"/>
                </a:moveTo>
                <a:cubicBezTo>
                  <a:pt x="198617" y="658656"/>
                  <a:pt x="204084" y="667767"/>
                  <a:pt x="211372" y="671411"/>
                </a:cubicBezTo>
                <a:cubicBezTo>
                  <a:pt x="209550" y="664123"/>
                  <a:pt x="204084" y="656834"/>
                  <a:pt x="198617" y="649545"/>
                </a:cubicBezTo>
                <a:close/>
                <a:moveTo>
                  <a:pt x="1210379" y="648407"/>
                </a:moveTo>
                <a:cubicBezTo>
                  <a:pt x="1208101" y="649546"/>
                  <a:pt x="1206279" y="652279"/>
                  <a:pt x="1208102" y="655012"/>
                </a:cubicBezTo>
                <a:cubicBezTo>
                  <a:pt x="1209925" y="653190"/>
                  <a:pt x="1211747" y="655012"/>
                  <a:pt x="1215390" y="651368"/>
                </a:cubicBezTo>
                <a:cubicBezTo>
                  <a:pt x="1215390" y="653190"/>
                  <a:pt x="1217213" y="656834"/>
                  <a:pt x="1219036" y="660478"/>
                </a:cubicBezTo>
                <a:cubicBezTo>
                  <a:pt x="1219036" y="660478"/>
                  <a:pt x="1220858" y="658656"/>
                  <a:pt x="1220858" y="658656"/>
                </a:cubicBezTo>
                <a:cubicBezTo>
                  <a:pt x="1220858" y="662301"/>
                  <a:pt x="1215390" y="665945"/>
                  <a:pt x="1217213" y="669589"/>
                </a:cubicBezTo>
                <a:cubicBezTo>
                  <a:pt x="1220858" y="660478"/>
                  <a:pt x="1231790" y="662301"/>
                  <a:pt x="1235434" y="653190"/>
                </a:cubicBezTo>
                <a:cubicBezTo>
                  <a:pt x="1228146" y="655012"/>
                  <a:pt x="1222679" y="647723"/>
                  <a:pt x="1215390" y="651368"/>
                </a:cubicBezTo>
                <a:cubicBezTo>
                  <a:pt x="1215390" y="647724"/>
                  <a:pt x="1212657" y="647268"/>
                  <a:pt x="1210379" y="648407"/>
                </a:cubicBezTo>
                <a:close/>
                <a:moveTo>
                  <a:pt x="3596972" y="647723"/>
                </a:moveTo>
                <a:cubicBezTo>
                  <a:pt x="3596972" y="649545"/>
                  <a:pt x="3604260" y="647723"/>
                  <a:pt x="3602438" y="653190"/>
                </a:cubicBezTo>
                <a:cubicBezTo>
                  <a:pt x="3598794" y="653190"/>
                  <a:pt x="3596972" y="653190"/>
                  <a:pt x="3595150" y="651368"/>
                </a:cubicBezTo>
                <a:cubicBezTo>
                  <a:pt x="3596972" y="649545"/>
                  <a:pt x="3595150" y="647723"/>
                  <a:pt x="3596972" y="647723"/>
                </a:cubicBezTo>
                <a:close/>
                <a:moveTo>
                  <a:pt x="3208849" y="647723"/>
                </a:moveTo>
                <a:cubicBezTo>
                  <a:pt x="3207027" y="644079"/>
                  <a:pt x="3199738" y="651368"/>
                  <a:pt x="3203382" y="655012"/>
                </a:cubicBezTo>
                <a:cubicBezTo>
                  <a:pt x="3205204" y="649545"/>
                  <a:pt x="3212493" y="649545"/>
                  <a:pt x="3208849" y="647723"/>
                </a:cubicBezTo>
                <a:close/>
                <a:moveTo>
                  <a:pt x="2866280" y="647723"/>
                </a:moveTo>
                <a:cubicBezTo>
                  <a:pt x="2860813" y="647723"/>
                  <a:pt x="2855347" y="645901"/>
                  <a:pt x="2857169" y="653190"/>
                </a:cubicBezTo>
                <a:cubicBezTo>
                  <a:pt x="2864458" y="651368"/>
                  <a:pt x="2864458" y="655012"/>
                  <a:pt x="2869924" y="656834"/>
                </a:cubicBezTo>
                <a:cubicBezTo>
                  <a:pt x="2869924" y="653190"/>
                  <a:pt x="2868102" y="651368"/>
                  <a:pt x="2866280" y="647723"/>
                </a:cubicBezTo>
                <a:close/>
                <a:moveTo>
                  <a:pt x="1386676" y="647723"/>
                </a:moveTo>
                <a:cubicBezTo>
                  <a:pt x="1384854" y="655012"/>
                  <a:pt x="1377564" y="655012"/>
                  <a:pt x="1375743" y="662301"/>
                </a:cubicBezTo>
                <a:cubicBezTo>
                  <a:pt x="1383030" y="662301"/>
                  <a:pt x="1381208" y="655012"/>
                  <a:pt x="1388497" y="653190"/>
                </a:cubicBezTo>
                <a:cubicBezTo>
                  <a:pt x="1386676" y="651368"/>
                  <a:pt x="1388497" y="649545"/>
                  <a:pt x="1386676" y="647723"/>
                </a:cubicBezTo>
                <a:close/>
                <a:moveTo>
                  <a:pt x="1353876" y="647723"/>
                </a:moveTo>
                <a:cubicBezTo>
                  <a:pt x="1348410" y="649545"/>
                  <a:pt x="1337476" y="653190"/>
                  <a:pt x="1344765" y="660478"/>
                </a:cubicBezTo>
                <a:cubicBezTo>
                  <a:pt x="1350231" y="658656"/>
                  <a:pt x="1350231" y="651368"/>
                  <a:pt x="1353876" y="647723"/>
                </a:cubicBezTo>
                <a:close/>
                <a:moveTo>
                  <a:pt x="1321077" y="647723"/>
                </a:moveTo>
                <a:cubicBezTo>
                  <a:pt x="1313788" y="653190"/>
                  <a:pt x="1310143" y="662301"/>
                  <a:pt x="1308321" y="669589"/>
                </a:cubicBezTo>
                <a:cubicBezTo>
                  <a:pt x="1310143" y="669589"/>
                  <a:pt x="1313788" y="669589"/>
                  <a:pt x="1310143" y="673234"/>
                </a:cubicBezTo>
                <a:cubicBezTo>
                  <a:pt x="1311966" y="675056"/>
                  <a:pt x="1311966" y="669589"/>
                  <a:pt x="1313788" y="669589"/>
                </a:cubicBezTo>
                <a:cubicBezTo>
                  <a:pt x="1311966" y="667767"/>
                  <a:pt x="1311966" y="669589"/>
                  <a:pt x="1310143" y="667767"/>
                </a:cubicBezTo>
                <a:cubicBezTo>
                  <a:pt x="1310143" y="667767"/>
                  <a:pt x="1313788" y="667767"/>
                  <a:pt x="1311966" y="664123"/>
                </a:cubicBezTo>
                <a:cubicBezTo>
                  <a:pt x="1313788" y="664123"/>
                  <a:pt x="1311966" y="665945"/>
                  <a:pt x="1313788" y="667767"/>
                </a:cubicBezTo>
                <a:cubicBezTo>
                  <a:pt x="1317432" y="660478"/>
                  <a:pt x="1317432" y="655012"/>
                  <a:pt x="1321077" y="647723"/>
                </a:cubicBezTo>
                <a:close/>
                <a:moveTo>
                  <a:pt x="1304677" y="647723"/>
                </a:moveTo>
                <a:cubicBezTo>
                  <a:pt x="1297388" y="651368"/>
                  <a:pt x="1299210" y="656834"/>
                  <a:pt x="1301033" y="662301"/>
                </a:cubicBezTo>
                <a:cubicBezTo>
                  <a:pt x="1302855" y="661390"/>
                  <a:pt x="1303311" y="660479"/>
                  <a:pt x="1303311" y="659568"/>
                </a:cubicBezTo>
                <a:lnTo>
                  <a:pt x="1303176" y="658764"/>
                </a:lnTo>
                <a:lnTo>
                  <a:pt x="1304677" y="660478"/>
                </a:lnTo>
                <a:cubicBezTo>
                  <a:pt x="1304677" y="658656"/>
                  <a:pt x="1308321" y="656834"/>
                  <a:pt x="1310143" y="656834"/>
                </a:cubicBezTo>
                <a:cubicBezTo>
                  <a:pt x="1310143" y="653190"/>
                  <a:pt x="1308321" y="649545"/>
                  <a:pt x="1304677" y="647723"/>
                </a:cubicBezTo>
                <a:close/>
                <a:moveTo>
                  <a:pt x="1193525" y="647723"/>
                </a:moveTo>
                <a:cubicBezTo>
                  <a:pt x="1186236" y="653190"/>
                  <a:pt x="1188058" y="656834"/>
                  <a:pt x="1180769" y="660478"/>
                </a:cubicBezTo>
                <a:cubicBezTo>
                  <a:pt x="1184414" y="660478"/>
                  <a:pt x="1191703" y="660478"/>
                  <a:pt x="1195346" y="656834"/>
                </a:cubicBezTo>
                <a:cubicBezTo>
                  <a:pt x="1197169" y="658656"/>
                  <a:pt x="1198991" y="660478"/>
                  <a:pt x="1202636" y="656834"/>
                </a:cubicBezTo>
                <a:cubicBezTo>
                  <a:pt x="1200814" y="653190"/>
                  <a:pt x="1197169" y="651368"/>
                  <a:pt x="1193525" y="647723"/>
                </a:cubicBezTo>
                <a:close/>
                <a:moveTo>
                  <a:pt x="1169836" y="647723"/>
                </a:moveTo>
                <a:cubicBezTo>
                  <a:pt x="1166192" y="651368"/>
                  <a:pt x="1160725" y="655012"/>
                  <a:pt x="1158903" y="658656"/>
                </a:cubicBezTo>
                <a:cubicBezTo>
                  <a:pt x="1158903" y="664123"/>
                  <a:pt x="1157081" y="667767"/>
                  <a:pt x="1155259" y="671411"/>
                </a:cubicBezTo>
                <a:cubicBezTo>
                  <a:pt x="1162547" y="667767"/>
                  <a:pt x="1168014" y="656834"/>
                  <a:pt x="1169836" y="647723"/>
                </a:cubicBezTo>
                <a:close/>
                <a:moveTo>
                  <a:pt x="1091484" y="647723"/>
                </a:moveTo>
                <a:cubicBezTo>
                  <a:pt x="1093305" y="649545"/>
                  <a:pt x="1082373" y="653190"/>
                  <a:pt x="1093305" y="651368"/>
                </a:cubicBezTo>
                <a:cubicBezTo>
                  <a:pt x="1095127" y="649545"/>
                  <a:pt x="1093305" y="647723"/>
                  <a:pt x="1091484" y="647723"/>
                </a:cubicBezTo>
                <a:close/>
                <a:moveTo>
                  <a:pt x="1025884" y="647723"/>
                </a:moveTo>
                <a:cubicBezTo>
                  <a:pt x="1022240" y="647723"/>
                  <a:pt x="1022240" y="653190"/>
                  <a:pt x="1025884" y="653190"/>
                </a:cubicBezTo>
                <a:cubicBezTo>
                  <a:pt x="1027707" y="651368"/>
                  <a:pt x="1022240" y="649545"/>
                  <a:pt x="1025884" y="647723"/>
                </a:cubicBezTo>
                <a:close/>
                <a:moveTo>
                  <a:pt x="945709" y="647723"/>
                </a:moveTo>
                <a:cubicBezTo>
                  <a:pt x="934777" y="647723"/>
                  <a:pt x="931131" y="656834"/>
                  <a:pt x="932953" y="662301"/>
                </a:cubicBezTo>
                <a:cubicBezTo>
                  <a:pt x="936598" y="660478"/>
                  <a:pt x="938420" y="656834"/>
                  <a:pt x="938420" y="655012"/>
                </a:cubicBezTo>
                <a:cubicBezTo>
                  <a:pt x="940242" y="656834"/>
                  <a:pt x="942064" y="656834"/>
                  <a:pt x="942064" y="660478"/>
                </a:cubicBezTo>
                <a:cubicBezTo>
                  <a:pt x="943886" y="656834"/>
                  <a:pt x="943886" y="651368"/>
                  <a:pt x="945709" y="647723"/>
                </a:cubicBezTo>
                <a:close/>
                <a:moveTo>
                  <a:pt x="659627" y="647723"/>
                </a:moveTo>
                <a:cubicBezTo>
                  <a:pt x="652339" y="653190"/>
                  <a:pt x="659627" y="655012"/>
                  <a:pt x="661449" y="658656"/>
                </a:cubicBezTo>
                <a:cubicBezTo>
                  <a:pt x="665094" y="655012"/>
                  <a:pt x="665094" y="651368"/>
                  <a:pt x="659627" y="647723"/>
                </a:cubicBezTo>
                <a:close/>
                <a:moveTo>
                  <a:pt x="368079" y="647723"/>
                </a:moveTo>
                <a:cubicBezTo>
                  <a:pt x="364435" y="649545"/>
                  <a:pt x="368079" y="656834"/>
                  <a:pt x="373546" y="656834"/>
                </a:cubicBezTo>
                <a:cubicBezTo>
                  <a:pt x="369902" y="653190"/>
                  <a:pt x="369902" y="651368"/>
                  <a:pt x="368079" y="647723"/>
                </a:cubicBezTo>
                <a:close/>
                <a:moveTo>
                  <a:pt x="1266820" y="647246"/>
                </a:moveTo>
                <a:lnTo>
                  <a:pt x="1266836" y="647298"/>
                </a:lnTo>
                <a:lnTo>
                  <a:pt x="1266411" y="647723"/>
                </a:lnTo>
                <a:close/>
                <a:moveTo>
                  <a:pt x="65787" y="646176"/>
                </a:moveTo>
                <a:lnTo>
                  <a:pt x="77721" y="662445"/>
                </a:lnTo>
                <a:lnTo>
                  <a:pt x="70154" y="654101"/>
                </a:lnTo>
                <a:close/>
                <a:moveTo>
                  <a:pt x="2791571" y="645901"/>
                </a:moveTo>
                <a:cubicBezTo>
                  <a:pt x="2797037" y="655012"/>
                  <a:pt x="2802504" y="660478"/>
                  <a:pt x="2813437" y="655012"/>
                </a:cubicBezTo>
                <a:cubicBezTo>
                  <a:pt x="2809793" y="649545"/>
                  <a:pt x="2800682" y="649545"/>
                  <a:pt x="2791571" y="645901"/>
                </a:cubicBezTo>
                <a:close/>
                <a:moveTo>
                  <a:pt x="2780638" y="645901"/>
                </a:moveTo>
                <a:cubicBezTo>
                  <a:pt x="2784282" y="658656"/>
                  <a:pt x="2780638" y="685989"/>
                  <a:pt x="2797037" y="680522"/>
                </a:cubicBezTo>
                <a:cubicBezTo>
                  <a:pt x="2797037" y="678700"/>
                  <a:pt x="2795215" y="675056"/>
                  <a:pt x="2795215" y="671411"/>
                </a:cubicBezTo>
                <a:cubicBezTo>
                  <a:pt x="2798860" y="684167"/>
                  <a:pt x="2809793" y="685989"/>
                  <a:pt x="2820726" y="687811"/>
                </a:cubicBezTo>
                <a:cubicBezTo>
                  <a:pt x="2817081" y="682345"/>
                  <a:pt x="2824370" y="684167"/>
                  <a:pt x="2824370" y="682345"/>
                </a:cubicBezTo>
                <a:cubicBezTo>
                  <a:pt x="2826192" y="676878"/>
                  <a:pt x="2826192" y="667767"/>
                  <a:pt x="2818903" y="665945"/>
                </a:cubicBezTo>
                <a:cubicBezTo>
                  <a:pt x="2822548" y="676878"/>
                  <a:pt x="2811615" y="665945"/>
                  <a:pt x="2807971" y="673234"/>
                </a:cubicBezTo>
                <a:cubicBezTo>
                  <a:pt x="2806148" y="669589"/>
                  <a:pt x="2806148" y="667767"/>
                  <a:pt x="2804326" y="664123"/>
                </a:cubicBezTo>
                <a:cubicBezTo>
                  <a:pt x="2800682" y="660478"/>
                  <a:pt x="2798860" y="667767"/>
                  <a:pt x="2797037" y="665945"/>
                </a:cubicBezTo>
                <a:cubicBezTo>
                  <a:pt x="2789749" y="664123"/>
                  <a:pt x="2787927" y="653190"/>
                  <a:pt x="2787927" y="645901"/>
                </a:cubicBezTo>
                <a:cubicBezTo>
                  <a:pt x="2786104" y="645901"/>
                  <a:pt x="2782460" y="645901"/>
                  <a:pt x="2780638" y="645901"/>
                </a:cubicBezTo>
                <a:close/>
                <a:moveTo>
                  <a:pt x="2591132" y="645901"/>
                </a:moveTo>
                <a:cubicBezTo>
                  <a:pt x="2589310" y="645901"/>
                  <a:pt x="2591132" y="649545"/>
                  <a:pt x="2587487" y="649545"/>
                </a:cubicBezTo>
                <a:cubicBezTo>
                  <a:pt x="2587487" y="656834"/>
                  <a:pt x="2589310" y="660478"/>
                  <a:pt x="2594776" y="662301"/>
                </a:cubicBezTo>
                <a:cubicBezTo>
                  <a:pt x="2594776" y="655012"/>
                  <a:pt x="2592954" y="651368"/>
                  <a:pt x="2591132" y="645901"/>
                </a:cubicBezTo>
                <a:close/>
                <a:moveTo>
                  <a:pt x="1362987" y="645901"/>
                </a:moveTo>
                <a:cubicBezTo>
                  <a:pt x="1352053" y="645901"/>
                  <a:pt x="1348410" y="664123"/>
                  <a:pt x="1342942" y="671411"/>
                </a:cubicBezTo>
                <a:cubicBezTo>
                  <a:pt x="1353876" y="667767"/>
                  <a:pt x="1361164" y="656834"/>
                  <a:pt x="1362987" y="645901"/>
                </a:cubicBezTo>
                <a:close/>
                <a:moveTo>
                  <a:pt x="1266411" y="645901"/>
                </a:moveTo>
                <a:lnTo>
                  <a:pt x="1267697" y="646115"/>
                </a:lnTo>
                <a:lnTo>
                  <a:pt x="1267723" y="646193"/>
                </a:lnTo>
                <a:lnTo>
                  <a:pt x="1266820" y="647246"/>
                </a:lnTo>
                <a:close/>
                <a:moveTo>
                  <a:pt x="1255478" y="645901"/>
                </a:moveTo>
                <a:cubicBezTo>
                  <a:pt x="1250012" y="647723"/>
                  <a:pt x="1251834" y="655012"/>
                  <a:pt x="1251834" y="660478"/>
                </a:cubicBezTo>
                <a:cubicBezTo>
                  <a:pt x="1255478" y="658656"/>
                  <a:pt x="1255478" y="653190"/>
                  <a:pt x="1259123" y="653190"/>
                </a:cubicBezTo>
                <a:cubicBezTo>
                  <a:pt x="1257300" y="649545"/>
                  <a:pt x="1257300" y="647723"/>
                  <a:pt x="1255478" y="645901"/>
                </a:cubicBezTo>
                <a:close/>
                <a:moveTo>
                  <a:pt x="1244545" y="645901"/>
                </a:moveTo>
                <a:cubicBezTo>
                  <a:pt x="1242723" y="644079"/>
                  <a:pt x="1239080" y="647723"/>
                  <a:pt x="1237256" y="649545"/>
                </a:cubicBezTo>
                <a:cubicBezTo>
                  <a:pt x="1239080" y="651368"/>
                  <a:pt x="1239080" y="653190"/>
                  <a:pt x="1240901" y="653190"/>
                </a:cubicBezTo>
                <a:cubicBezTo>
                  <a:pt x="1244545" y="649545"/>
                  <a:pt x="1240901" y="645901"/>
                  <a:pt x="1244545" y="645901"/>
                </a:cubicBezTo>
                <a:close/>
                <a:moveTo>
                  <a:pt x="1071439" y="645901"/>
                </a:moveTo>
                <a:lnTo>
                  <a:pt x="1070463" y="647073"/>
                </a:lnTo>
                <a:lnTo>
                  <a:pt x="1068863" y="646007"/>
                </a:lnTo>
                <a:close/>
                <a:moveTo>
                  <a:pt x="911087" y="645901"/>
                </a:moveTo>
                <a:cubicBezTo>
                  <a:pt x="909265" y="647723"/>
                  <a:pt x="909265" y="651368"/>
                  <a:pt x="909265" y="653190"/>
                </a:cubicBezTo>
                <a:cubicBezTo>
                  <a:pt x="911087" y="653190"/>
                  <a:pt x="914732" y="647723"/>
                  <a:pt x="911087" y="645901"/>
                </a:cubicBezTo>
                <a:close/>
                <a:moveTo>
                  <a:pt x="887399" y="645901"/>
                </a:moveTo>
                <a:cubicBezTo>
                  <a:pt x="883755" y="651368"/>
                  <a:pt x="881933" y="655012"/>
                  <a:pt x="880111" y="660478"/>
                </a:cubicBezTo>
                <a:cubicBezTo>
                  <a:pt x="883755" y="656834"/>
                  <a:pt x="889222" y="653190"/>
                  <a:pt x="891043" y="647723"/>
                </a:cubicBezTo>
                <a:cubicBezTo>
                  <a:pt x="889222" y="645901"/>
                  <a:pt x="887399" y="645901"/>
                  <a:pt x="887399" y="645901"/>
                </a:cubicBezTo>
                <a:close/>
                <a:moveTo>
                  <a:pt x="805401" y="645901"/>
                </a:moveTo>
                <a:cubicBezTo>
                  <a:pt x="801757" y="647723"/>
                  <a:pt x="807223" y="651368"/>
                  <a:pt x="809046" y="653190"/>
                </a:cubicBezTo>
                <a:cubicBezTo>
                  <a:pt x="810868" y="649545"/>
                  <a:pt x="807223" y="649545"/>
                  <a:pt x="807223" y="645901"/>
                </a:cubicBezTo>
                <a:cubicBezTo>
                  <a:pt x="805401" y="645901"/>
                  <a:pt x="805401" y="645901"/>
                  <a:pt x="805401" y="645901"/>
                </a:cubicBezTo>
                <a:close/>
                <a:moveTo>
                  <a:pt x="606784" y="645901"/>
                </a:moveTo>
                <a:cubicBezTo>
                  <a:pt x="599496" y="647723"/>
                  <a:pt x="601318" y="655012"/>
                  <a:pt x="603140" y="658656"/>
                </a:cubicBezTo>
                <a:cubicBezTo>
                  <a:pt x="606784" y="656834"/>
                  <a:pt x="612251" y="649545"/>
                  <a:pt x="606784" y="645901"/>
                </a:cubicBezTo>
                <a:close/>
                <a:moveTo>
                  <a:pt x="561230" y="645901"/>
                </a:moveTo>
                <a:cubicBezTo>
                  <a:pt x="555763" y="645901"/>
                  <a:pt x="559408" y="649545"/>
                  <a:pt x="561230" y="651368"/>
                </a:cubicBezTo>
                <a:cubicBezTo>
                  <a:pt x="561230" y="649545"/>
                  <a:pt x="561230" y="645901"/>
                  <a:pt x="561230" y="645901"/>
                </a:cubicBezTo>
                <a:close/>
                <a:moveTo>
                  <a:pt x="502920" y="645901"/>
                </a:moveTo>
                <a:cubicBezTo>
                  <a:pt x="482876" y="676878"/>
                  <a:pt x="504743" y="651368"/>
                  <a:pt x="506565" y="655012"/>
                </a:cubicBezTo>
                <a:cubicBezTo>
                  <a:pt x="508387" y="653190"/>
                  <a:pt x="502920" y="649545"/>
                  <a:pt x="502920" y="645901"/>
                </a:cubicBezTo>
                <a:close/>
                <a:moveTo>
                  <a:pt x="455544" y="645901"/>
                </a:moveTo>
                <a:cubicBezTo>
                  <a:pt x="453722" y="647723"/>
                  <a:pt x="455544" y="655012"/>
                  <a:pt x="461010" y="655012"/>
                </a:cubicBezTo>
                <a:cubicBezTo>
                  <a:pt x="462832" y="653190"/>
                  <a:pt x="459188" y="647723"/>
                  <a:pt x="455544" y="645901"/>
                </a:cubicBezTo>
                <a:close/>
                <a:moveTo>
                  <a:pt x="444611" y="645901"/>
                </a:moveTo>
                <a:cubicBezTo>
                  <a:pt x="442789" y="647723"/>
                  <a:pt x="446433" y="651368"/>
                  <a:pt x="448256" y="649545"/>
                </a:cubicBezTo>
                <a:cubicBezTo>
                  <a:pt x="448256" y="645901"/>
                  <a:pt x="446433" y="645901"/>
                  <a:pt x="444611" y="645901"/>
                </a:cubicBezTo>
                <a:close/>
                <a:moveTo>
                  <a:pt x="320703" y="645901"/>
                </a:moveTo>
                <a:cubicBezTo>
                  <a:pt x="324347" y="662301"/>
                  <a:pt x="335280" y="676878"/>
                  <a:pt x="348037" y="685989"/>
                </a:cubicBezTo>
                <a:cubicBezTo>
                  <a:pt x="346213" y="673234"/>
                  <a:pt x="340747" y="658656"/>
                  <a:pt x="326169" y="655012"/>
                </a:cubicBezTo>
                <a:cubicBezTo>
                  <a:pt x="327993" y="655012"/>
                  <a:pt x="329814" y="655012"/>
                  <a:pt x="331636" y="653190"/>
                </a:cubicBezTo>
                <a:cubicBezTo>
                  <a:pt x="329814" y="647723"/>
                  <a:pt x="327993" y="644079"/>
                  <a:pt x="320703" y="645901"/>
                </a:cubicBezTo>
                <a:close/>
                <a:moveTo>
                  <a:pt x="2962855" y="644079"/>
                </a:moveTo>
                <a:lnTo>
                  <a:pt x="2962858" y="644083"/>
                </a:lnTo>
                <a:lnTo>
                  <a:pt x="2966500" y="649545"/>
                </a:lnTo>
                <a:cubicBezTo>
                  <a:pt x="2964677" y="647723"/>
                  <a:pt x="2964677" y="645901"/>
                  <a:pt x="2962855" y="644079"/>
                </a:cubicBezTo>
                <a:close/>
                <a:moveTo>
                  <a:pt x="1432229" y="644079"/>
                </a:moveTo>
                <a:cubicBezTo>
                  <a:pt x="1424940" y="645901"/>
                  <a:pt x="1423118" y="653190"/>
                  <a:pt x="1417652" y="658656"/>
                </a:cubicBezTo>
                <a:cubicBezTo>
                  <a:pt x="1423118" y="655012"/>
                  <a:pt x="1430407" y="649545"/>
                  <a:pt x="1432229" y="644079"/>
                </a:cubicBezTo>
                <a:close/>
                <a:moveTo>
                  <a:pt x="1390319" y="644079"/>
                </a:moveTo>
                <a:cubicBezTo>
                  <a:pt x="1388497" y="644079"/>
                  <a:pt x="1388497" y="645901"/>
                  <a:pt x="1388497" y="647723"/>
                </a:cubicBezTo>
                <a:cubicBezTo>
                  <a:pt x="1388497" y="647723"/>
                  <a:pt x="1388497" y="649545"/>
                  <a:pt x="1388497" y="649545"/>
                </a:cubicBezTo>
                <a:cubicBezTo>
                  <a:pt x="1390319" y="649545"/>
                  <a:pt x="1392141" y="645901"/>
                  <a:pt x="1390319" y="644079"/>
                </a:cubicBezTo>
                <a:close/>
                <a:moveTo>
                  <a:pt x="1229969" y="644079"/>
                </a:moveTo>
                <a:cubicBezTo>
                  <a:pt x="1226323" y="645901"/>
                  <a:pt x="1231790" y="645901"/>
                  <a:pt x="1231790" y="647723"/>
                </a:cubicBezTo>
                <a:cubicBezTo>
                  <a:pt x="1231790" y="647723"/>
                  <a:pt x="1233612" y="645901"/>
                  <a:pt x="1233612" y="645901"/>
                </a:cubicBezTo>
                <a:cubicBezTo>
                  <a:pt x="1233612" y="644079"/>
                  <a:pt x="1229969" y="645901"/>
                  <a:pt x="1229969" y="644079"/>
                </a:cubicBezTo>
                <a:close/>
                <a:moveTo>
                  <a:pt x="1197169" y="644079"/>
                </a:moveTo>
                <a:cubicBezTo>
                  <a:pt x="1195346" y="644079"/>
                  <a:pt x="1195346" y="645901"/>
                  <a:pt x="1193525" y="645901"/>
                </a:cubicBezTo>
                <a:cubicBezTo>
                  <a:pt x="1195346" y="649545"/>
                  <a:pt x="1197169" y="649545"/>
                  <a:pt x="1198991" y="651368"/>
                </a:cubicBezTo>
                <a:cubicBezTo>
                  <a:pt x="1198991" y="649545"/>
                  <a:pt x="1198991" y="647723"/>
                  <a:pt x="1198991" y="647723"/>
                </a:cubicBezTo>
                <a:cubicBezTo>
                  <a:pt x="1198991" y="651368"/>
                  <a:pt x="1204457" y="649545"/>
                  <a:pt x="1202636" y="653190"/>
                </a:cubicBezTo>
                <a:cubicBezTo>
                  <a:pt x="1204457" y="653190"/>
                  <a:pt x="1206279" y="647723"/>
                  <a:pt x="1206279" y="645901"/>
                </a:cubicBezTo>
                <a:cubicBezTo>
                  <a:pt x="1204457" y="644079"/>
                  <a:pt x="1204457" y="645901"/>
                  <a:pt x="1202636" y="644079"/>
                </a:cubicBezTo>
                <a:cubicBezTo>
                  <a:pt x="1202636" y="645901"/>
                  <a:pt x="1202636" y="647723"/>
                  <a:pt x="1202636" y="651368"/>
                </a:cubicBezTo>
                <a:cubicBezTo>
                  <a:pt x="1200814" y="651368"/>
                  <a:pt x="1202636" y="644079"/>
                  <a:pt x="1197169" y="644079"/>
                </a:cubicBezTo>
                <a:close/>
                <a:moveTo>
                  <a:pt x="798112" y="644079"/>
                </a:moveTo>
                <a:cubicBezTo>
                  <a:pt x="798112" y="644079"/>
                  <a:pt x="799935" y="645901"/>
                  <a:pt x="799935" y="645901"/>
                </a:cubicBezTo>
                <a:cubicBezTo>
                  <a:pt x="799935" y="645901"/>
                  <a:pt x="798112" y="645901"/>
                  <a:pt x="796290" y="645901"/>
                </a:cubicBezTo>
                <a:cubicBezTo>
                  <a:pt x="798112" y="645901"/>
                  <a:pt x="798112" y="644079"/>
                  <a:pt x="798112" y="644079"/>
                </a:cubicBezTo>
                <a:close/>
                <a:moveTo>
                  <a:pt x="750737" y="644079"/>
                </a:moveTo>
                <a:cubicBezTo>
                  <a:pt x="748914" y="644079"/>
                  <a:pt x="754380" y="647723"/>
                  <a:pt x="754380" y="649545"/>
                </a:cubicBezTo>
                <a:cubicBezTo>
                  <a:pt x="758025" y="649545"/>
                  <a:pt x="752558" y="645901"/>
                  <a:pt x="750737" y="644079"/>
                </a:cubicBezTo>
                <a:close/>
                <a:moveTo>
                  <a:pt x="668738" y="644079"/>
                </a:moveTo>
                <a:cubicBezTo>
                  <a:pt x="666916" y="644079"/>
                  <a:pt x="665094" y="649545"/>
                  <a:pt x="666916" y="651368"/>
                </a:cubicBezTo>
                <a:cubicBezTo>
                  <a:pt x="666916" y="651368"/>
                  <a:pt x="668738" y="649545"/>
                  <a:pt x="670560" y="651368"/>
                </a:cubicBezTo>
                <a:cubicBezTo>
                  <a:pt x="666916" y="653190"/>
                  <a:pt x="666916" y="656834"/>
                  <a:pt x="665094" y="660478"/>
                </a:cubicBezTo>
                <a:cubicBezTo>
                  <a:pt x="672383" y="665945"/>
                  <a:pt x="679671" y="673234"/>
                  <a:pt x="688782" y="673234"/>
                </a:cubicBezTo>
                <a:cubicBezTo>
                  <a:pt x="679671" y="660478"/>
                  <a:pt x="674205" y="656834"/>
                  <a:pt x="670560" y="645901"/>
                </a:cubicBezTo>
                <a:cubicBezTo>
                  <a:pt x="670560" y="645901"/>
                  <a:pt x="670560" y="647723"/>
                  <a:pt x="668738" y="647723"/>
                </a:cubicBezTo>
                <a:cubicBezTo>
                  <a:pt x="668738" y="645901"/>
                  <a:pt x="666916" y="645901"/>
                  <a:pt x="668738" y="644079"/>
                </a:cubicBezTo>
                <a:close/>
                <a:moveTo>
                  <a:pt x="594030" y="644079"/>
                </a:moveTo>
                <a:cubicBezTo>
                  <a:pt x="592207" y="645901"/>
                  <a:pt x="594030" y="647723"/>
                  <a:pt x="595852" y="651368"/>
                </a:cubicBezTo>
                <a:cubicBezTo>
                  <a:pt x="595852" y="651368"/>
                  <a:pt x="595852" y="649545"/>
                  <a:pt x="597673" y="649545"/>
                </a:cubicBezTo>
                <a:cubicBezTo>
                  <a:pt x="594030" y="649545"/>
                  <a:pt x="595852" y="645901"/>
                  <a:pt x="594030" y="644079"/>
                </a:cubicBezTo>
                <a:close/>
                <a:moveTo>
                  <a:pt x="424567" y="644079"/>
                </a:moveTo>
                <a:cubicBezTo>
                  <a:pt x="420923" y="649545"/>
                  <a:pt x="420923" y="656834"/>
                  <a:pt x="430034" y="658656"/>
                </a:cubicBezTo>
                <a:cubicBezTo>
                  <a:pt x="428211" y="655012"/>
                  <a:pt x="428211" y="651368"/>
                  <a:pt x="424567" y="649545"/>
                </a:cubicBezTo>
                <a:cubicBezTo>
                  <a:pt x="426389" y="647723"/>
                  <a:pt x="426389" y="647723"/>
                  <a:pt x="428211" y="649545"/>
                </a:cubicBezTo>
                <a:cubicBezTo>
                  <a:pt x="430034" y="647723"/>
                  <a:pt x="428211" y="644079"/>
                  <a:pt x="424567" y="644079"/>
                </a:cubicBezTo>
                <a:close/>
                <a:moveTo>
                  <a:pt x="411812" y="644079"/>
                </a:moveTo>
                <a:lnTo>
                  <a:pt x="417188" y="651249"/>
                </a:lnTo>
                <a:lnTo>
                  <a:pt x="417191" y="651303"/>
                </a:lnTo>
                <a:lnTo>
                  <a:pt x="413633" y="648635"/>
                </a:lnTo>
                <a:lnTo>
                  <a:pt x="410799" y="645092"/>
                </a:lnTo>
                <a:close/>
                <a:moveTo>
                  <a:pt x="236883" y="644079"/>
                </a:moveTo>
                <a:cubicBezTo>
                  <a:pt x="235061" y="649545"/>
                  <a:pt x="238705" y="656834"/>
                  <a:pt x="242349" y="662301"/>
                </a:cubicBezTo>
                <a:cubicBezTo>
                  <a:pt x="245994" y="658656"/>
                  <a:pt x="238705" y="651368"/>
                  <a:pt x="236883" y="644079"/>
                </a:cubicBezTo>
                <a:close/>
                <a:moveTo>
                  <a:pt x="165818" y="644079"/>
                </a:moveTo>
                <a:lnTo>
                  <a:pt x="169132" y="645736"/>
                </a:lnTo>
                <a:lnTo>
                  <a:pt x="173107" y="655012"/>
                </a:lnTo>
                <a:lnTo>
                  <a:pt x="168325" y="648257"/>
                </a:lnTo>
                <a:close/>
                <a:moveTo>
                  <a:pt x="1220858" y="643168"/>
                </a:moveTo>
                <a:cubicBezTo>
                  <a:pt x="1217669" y="642713"/>
                  <a:pt x="1214480" y="643168"/>
                  <a:pt x="1211747" y="644079"/>
                </a:cubicBezTo>
                <a:cubicBezTo>
                  <a:pt x="1217213" y="645901"/>
                  <a:pt x="1222679" y="651368"/>
                  <a:pt x="1229969" y="647723"/>
                </a:cubicBezTo>
                <a:cubicBezTo>
                  <a:pt x="1227235" y="644990"/>
                  <a:pt x="1224046" y="643624"/>
                  <a:pt x="1220858" y="643168"/>
                </a:cubicBezTo>
                <a:close/>
                <a:moveTo>
                  <a:pt x="3265336" y="642257"/>
                </a:moveTo>
                <a:cubicBezTo>
                  <a:pt x="3259869" y="642257"/>
                  <a:pt x="3261692" y="645901"/>
                  <a:pt x="3261692" y="649545"/>
                </a:cubicBezTo>
                <a:cubicBezTo>
                  <a:pt x="3267158" y="649545"/>
                  <a:pt x="3267158" y="644079"/>
                  <a:pt x="3265336" y="642257"/>
                </a:cubicBezTo>
                <a:close/>
                <a:moveTo>
                  <a:pt x="2880857" y="642257"/>
                </a:moveTo>
                <a:cubicBezTo>
                  <a:pt x="2877213" y="640435"/>
                  <a:pt x="2877213" y="644079"/>
                  <a:pt x="2875391" y="644079"/>
                </a:cubicBezTo>
                <a:cubicBezTo>
                  <a:pt x="2875391" y="647723"/>
                  <a:pt x="2882680" y="647723"/>
                  <a:pt x="2880857" y="642257"/>
                </a:cubicBezTo>
                <a:close/>
                <a:moveTo>
                  <a:pt x="1454095" y="642257"/>
                </a:moveTo>
                <a:cubicBezTo>
                  <a:pt x="1452273" y="644079"/>
                  <a:pt x="1451362" y="646813"/>
                  <a:pt x="1449995" y="649318"/>
                </a:cubicBezTo>
                <a:lnTo>
                  <a:pt x="1448365" y="650676"/>
                </a:lnTo>
                <a:close/>
                <a:moveTo>
                  <a:pt x="1437696" y="642257"/>
                </a:moveTo>
                <a:cubicBezTo>
                  <a:pt x="1435873" y="644079"/>
                  <a:pt x="1435873" y="645901"/>
                  <a:pt x="1434051" y="647723"/>
                </a:cubicBezTo>
                <a:cubicBezTo>
                  <a:pt x="1434051" y="649545"/>
                  <a:pt x="1441340" y="645901"/>
                  <a:pt x="1437696" y="642257"/>
                </a:cubicBezTo>
                <a:close/>
                <a:moveTo>
                  <a:pt x="1366632" y="642257"/>
                </a:moveTo>
                <a:cubicBezTo>
                  <a:pt x="1366632" y="645901"/>
                  <a:pt x="1362987" y="655012"/>
                  <a:pt x="1370275" y="656834"/>
                </a:cubicBezTo>
                <a:cubicBezTo>
                  <a:pt x="1372097" y="653190"/>
                  <a:pt x="1366632" y="647723"/>
                  <a:pt x="1366632" y="642257"/>
                </a:cubicBezTo>
                <a:close/>
                <a:moveTo>
                  <a:pt x="1319254" y="642257"/>
                </a:moveTo>
                <a:cubicBezTo>
                  <a:pt x="1319254" y="645901"/>
                  <a:pt x="1315610" y="647723"/>
                  <a:pt x="1313788" y="649545"/>
                </a:cubicBezTo>
                <a:cubicBezTo>
                  <a:pt x="1315610" y="649545"/>
                  <a:pt x="1321077" y="644079"/>
                  <a:pt x="1319254" y="642257"/>
                </a:cubicBezTo>
                <a:close/>
                <a:moveTo>
                  <a:pt x="1306499" y="642257"/>
                </a:moveTo>
                <a:cubicBezTo>
                  <a:pt x="1306499" y="642257"/>
                  <a:pt x="1304677" y="644079"/>
                  <a:pt x="1304677" y="644079"/>
                </a:cubicBezTo>
                <a:cubicBezTo>
                  <a:pt x="1304677" y="645901"/>
                  <a:pt x="1306499" y="644079"/>
                  <a:pt x="1308321" y="644079"/>
                </a:cubicBezTo>
                <a:cubicBezTo>
                  <a:pt x="1306499" y="644079"/>
                  <a:pt x="1306499" y="644079"/>
                  <a:pt x="1306499" y="642257"/>
                </a:cubicBezTo>
                <a:close/>
                <a:moveTo>
                  <a:pt x="1266411" y="642257"/>
                </a:moveTo>
                <a:cubicBezTo>
                  <a:pt x="1264589" y="645901"/>
                  <a:pt x="1260945" y="647723"/>
                  <a:pt x="1260945" y="651368"/>
                </a:cubicBezTo>
                <a:cubicBezTo>
                  <a:pt x="1262767" y="651368"/>
                  <a:pt x="1264589" y="651368"/>
                  <a:pt x="1266411" y="651368"/>
                </a:cubicBezTo>
                <a:cubicBezTo>
                  <a:pt x="1268233" y="653190"/>
                  <a:pt x="1268233" y="653190"/>
                  <a:pt x="1268233" y="655012"/>
                </a:cubicBezTo>
                <a:cubicBezTo>
                  <a:pt x="1269144" y="655012"/>
                  <a:pt x="1268689" y="653190"/>
                  <a:pt x="1268005" y="651140"/>
                </a:cubicBezTo>
                <a:lnTo>
                  <a:pt x="1266836" y="647298"/>
                </a:lnTo>
                <a:lnTo>
                  <a:pt x="1267777" y="646357"/>
                </a:lnTo>
                <a:lnTo>
                  <a:pt x="1267723" y="646193"/>
                </a:lnTo>
                <a:lnTo>
                  <a:pt x="1267778" y="646129"/>
                </a:lnTo>
                <a:lnTo>
                  <a:pt x="1267697" y="646115"/>
                </a:lnTo>
                <a:close/>
                <a:moveTo>
                  <a:pt x="193151" y="642257"/>
                </a:moveTo>
                <a:cubicBezTo>
                  <a:pt x="189506" y="645901"/>
                  <a:pt x="194973" y="655012"/>
                  <a:pt x="200439" y="658656"/>
                </a:cubicBezTo>
                <a:cubicBezTo>
                  <a:pt x="198617" y="653190"/>
                  <a:pt x="198617" y="645901"/>
                  <a:pt x="193151" y="642257"/>
                </a:cubicBezTo>
                <a:close/>
                <a:moveTo>
                  <a:pt x="3538662" y="640435"/>
                </a:moveTo>
                <a:cubicBezTo>
                  <a:pt x="3535018" y="638612"/>
                  <a:pt x="3536840" y="644079"/>
                  <a:pt x="3536840" y="645901"/>
                </a:cubicBezTo>
                <a:cubicBezTo>
                  <a:pt x="3533196" y="647723"/>
                  <a:pt x="3535018" y="644079"/>
                  <a:pt x="3529551" y="642257"/>
                </a:cubicBezTo>
                <a:cubicBezTo>
                  <a:pt x="3524085" y="644079"/>
                  <a:pt x="3525907" y="649545"/>
                  <a:pt x="3529551" y="653190"/>
                </a:cubicBezTo>
                <a:cubicBezTo>
                  <a:pt x="3533196" y="655012"/>
                  <a:pt x="3531374" y="649545"/>
                  <a:pt x="3535018" y="649545"/>
                </a:cubicBezTo>
                <a:cubicBezTo>
                  <a:pt x="3535018" y="656834"/>
                  <a:pt x="3535018" y="662301"/>
                  <a:pt x="3540484" y="664123"/>
                </a:cubicBezTo>
                <a:cubicBezTo>
                  <a:pt x="3538662" y="667767"/>
                  <a:pt x="3540484" y="673234"/>
                  <a:pt x="3542306" y="678700"/>
                </a:cubicBezTo>
                <a:cubicBezTo>
                  <a:pt x="3536840" y="680522"/>
                  <a:pt x="3538662" y="675056"/>
                  <a:pt x="3535018" y="675056"/>
                </a:cubicBezTo>
                <a:cubicBezTo>
                  <a:pt x="3535018" y="676878"/>
                  <a:pt x="3538662" y="678700"/>
                  <a:pt x="3536840" y="682345"/>
                </a:cubicBezTo>
                <a:cubicBezTo>
                  <a:pt x="3540484" y="684167"/>
                  <a:pt x="3547773" y="687811"/>
                  <a:pt x="3553240" y="684167"/>
                </a:cubicBezTo>
                <a:cubicBezTo>
                  <a:pt x="3553240" y="678700"/>
                  <a:pt x="3547773" y="678700"/>
                  <a:pt x="3545951" y="682345"/>
                </a:cubicBezTo>
                <a:cubicBezTo>
                  <a:pt x="3542306" y="676878"/>
                  <a:pt x="3544129" y="667767"/>
                  <a:pt x="3544129" y="662301"/>
                </a:cubicBezTo>
                <a:cubicBezTo>
                  <a:pt x="3545951" y="662301"/>
                  <a:pt x="3547773" y="664123"/>
                  <a:pt x="3549595" y="664123"/>
                </a:cubicBezTo>
                <a:cubicBezTo>
                  <a:pt x="3549595" y="656834"/>
                  <a:pt x="3555062" y="653190"/>
                  <a:pt x="3551417" y="645901"/>
                </a:cubicBezTo>
                <a:cubicBezTo>
                  <a:pt x="3547773" y="645901"/>
                  <a:pt x="3544129" y="645901"/>
                  <a:pt x="3542306" y="647723"/>
                </a:cubicBezTo>
                <a:cubicBezTo>
                  <a:pt x="3538662" y="647723"/>
                  <a:pt x="3540484" y="642257"/>
                  <a:pt x="3538662" y="640435"/>
                </a:cubicBezTo>
                <a:close/>
                <a:moveTo>
                  <a:pt x="2760594" y="640435"/>
                </a:moveTo>
                <a:lnTo>
                  <a:pt x="2763371" y="644832"/>
                </a:lnTo>
                <a:lnTo>
                  <a:pt x="2764238" y="647723"/>
                </a:lnTo>
                <a:lnTo>
                  <a:pt x="2760594" y="643229"/>
                </a:lnTo>
                <a:close/>
                <a:moveTo>
                  <a:pt x="2627575" y="640435"/>
                </a:moveTo>
                <a:cubicBezTo>
                  <a:pt x="2627575" y="645901"/>
                  <a:pt x="2629397" y="647723"/>
                  <a:pt x="2633042" y="647723"/>
                </a:cubicBezTo>
                <a:cubicBezTo>
                  <a:pt x="2631219" y="644079"/>
                  <a:pt x="2631219" y="638612"/>
                  <a:pt x="2627575" y="640435"/>
                </a:cubicBezTo>
                <a:close/>
                <a:moveTo>
                  <a:pt x="2352427" y="640435"/>
                </a:moveTo>
                <a:cubicBezTo>
                  <a:pt x="2343316" y="644079"/>
                  <a:pt x="2330561" y="653190"/>
                  <a:pt x="2337850" y="665945"/>
                </a:cubicBezTo>
                <a:cubicBezTo>
                  <a:pt x="2341494" y="662301"/>
                  <a:pt x="2339672" y="658656"/>
                  <a:pt x="2339672" y="655012"/>
                </a:cubicBezTo>
                <a:cubicBezTo>
                  <a:pt x="2345138" y="662301"/>
                  <a:pt x="2346960" y="669589"/>
                  <a:pt x="2346960" y="676878"/>
                </a:cubicBezTo>
                <a:cubicBezTo>
                  <a:pt x="2346960" y="675056"/>
                  <a:pt x="2345138" y="671411"/>
                  <a:pt x="2343316" y="669589"/>
                </a:cubicBezTo>
                <a:cubicBezTo>
                  <a:pt x="2339672" y="682345"/>
                  <a:pt x="2346960" y="689633"/>
                  <a:pt x="2356071" y="693278"/>
                </a:cubicBezTo>
                <a:lnTo>
                  <a:pt x="2354249" y="684167"/>
                </a:lnTo>
                <a:lnTo>
                  <a:pt x="2376115" y="658656"/>
                </a:lnTo>
                <a:lnTo>
                  <a:pt x="2368827" y="645901"/>
                </a:lnTo>
                <a:lnTo>
                  <a:pt x="2372471" y="645901"/>
                </a:lnTo>
                <a:cubicBezTo>
                  <a:pt x="2365182" y="642257"/>
                  <a:pt x="2359716" y="638612"/>
                  <a:pt x="2352427" y="640435"/>
                </a:cubicBezTo>
                <a:close/>
                <a:moveTo>
                  <a:pt x="1423118" y="640435"/>
                </a:moveTo>
                <a:cubicBezTo>
                  <a:pt x="1421296" y="644079"/>
                  <a:pt x="1421296" y="645901"/>
                  <a:pt x="1419474" y="647723"/>
                </a:cubicBezTo>
                <a:cubicBezTo>
                  <a:pt x="1423118" y="647723"/>
                  <a:pt x="1426763" y="642257"/>
                  <a:pt x="1423118" y="640435"/>
                </a:cubicBezTo>
                <a:close/>
                <a:moveTo>
                  <a:pt x="1195346" y="640435"/>
                </a:moveTo>
                <a:lnTo>
                  <a:pt x="1186600" y="644808"/>
                </a:lnTo>
                <a:lnTo>
                  <a:pt x="1184414" y="644079"/>
                </a:lnTo>
                <a:lnTo>
                  <a:pt x="1186017" y="645100"/>
                </a:lnTo>
                <a:lnTo>
                  <a:pt x="1173481" y="651368"/>
                </a:lnTo>
                <a:cubicBezTo>
                  <a:pt x="1173481" y="653190"/>
                  <a:pt x="1175303" y="651368"/>
                  <a:pt x="1175303" y="651368"/>
                </a:cubicBezTo>
                <a:cubicBezTo>
                  <a:pt x="1171658" y="655012"/>
                  <a:pt x="1166192" y="658656"/>
                  <a:pt x="1162547" y="664123"/>
                </a:cubicBezTo>
                <a:cubicBezTo>
                  <a:pt x="1173481" y="664123"/>
                  <a:pt x="1178947" y="653190"/>
                  <a:pt x="1188058" y="645901"/>
                </a:cubicBezTo>
                <a:cubicBezTo>
                  <a:pt x="1188058" y="644990"/>
                  <a:pt x="1187602" y="645446"/>
                  <a:pt x="1186919" y="645674"/>
                </a:cubicBezTo>
                <a:lnTo>
                  <a:pt x="1186017" y="645100"/>
                </a:lnTo>
                <a:lnTo>
                  <a:pt x="1186600" y="644808"/>
                </a:lnTo>
                <a:lnTo>
                  <a:pt x="1189880" y="645901"/>
                </a:lnTo>
                <a:cubicBezTo>
                  <a:pt x="1193525" y="642257"/>
                  <a:pt x="1193525" y="642257"/>
                  <a:pt x="1195346" y="640435"/>
                </a:cubicBezTo>
                <a:close/>
                <a:moveTo>
                  <a:pt x="1127926" y="640435"/>
                </a:moveTo>
                <a:cubicBezTo>
                  <a:pt x="1126104" y="642257"/>
                  <a:pt x="1122459" y="644079"/>
                  <a:pt x="1127926" y="644079"/>
                </a:cubicBezTo>
                <a:cubicBezTo>
                  <a:pt x="1129748" y="642257"/>
                  <a:pt x="1129748" y="642257"/>
                  <a:pt x="1127926" y="640435"/>
                </a:cubicBezTo>
                <a:close/>
                <a:moveTo>
                  <a:pt x="841845" y="640435"/>
                </a:moveTo>
                <a:cubicBezTo>
                  <a:pt x="840022" y="640435"/>
                  <a:pt x="834556" y="645901"/>
                  <a:pt x="836378" y="647723"/>
                </a:cubicBezTo>
                <a:cubicBezTo>
                  <a:pt x="841845" y="644079"/>
                  <a:pt x="840022" y="644079"/>
                  <a:pt x="841845" y="640435"/>
                </a:cubicBezTo>
                <a:close/>
                <a:moveTo>
                  <a:pt x="761670" y="640435"/>
                </a:moveTo>
                <a:cubicBezTo>
                  <a:pt x="761670" y="645901"/>
                  <a:pt x="767136" y="649545"/>
                  <a:pt x="767136" y="653190"/>
                </a:cubicBezTo>
                <a:cubicBezTo>
                  <a:pt x="768959" y="651368"/>
                  <a:pt x="765313" y="644079"/>
                  <a:pt x="761670" y="640435"/>
                </a:cubicBezTo>
                <a:close/>
                <a:moveTo>
                  <a:pt x="657805" y="640435"/>
                </a:moveTo>
                <a:cubicBezTo>
                  <a:pt x="654161" y="642257"/>
                  <a:pt x="654161" y="645901"/>
                  <a:pt x="655983" y="647723"/>
                </a:cubicBezTo>
                <a:cubicBezTo>
                  <a:pt x="657805" y="647723"/>
                  <a:pt x="661449" y="645901"/>
                  <a:pt x="661449" y="644079"/>
                </a:cubicBezTo>
                <a:cubicBezTo>
                  <a:pt x="659627" y="642257"/>
                  <a:pt x="657805" y="642257"/>
                  <a:pt x="657805" y="640435"/>
                </a:cubicBezTo>
                <a:close/>
                <a:moveTo>
                  <a:pt x="479232" y="640435"/>
                </a:moveTo>
                <a:cubicBezTo>
                  <a:pt x="479232" y="644079"/>
                  <a:pt x="482876" y="647723"/>
                  <a:pt x="486521" y="653190"/>
                </a:cubicBezTo>
                <a:cubicBezTo>
                  <a:pt x="484700" y="651368"/>
                  <a:pt x="482876" y="642257"/>
                  <a:pt x="479232" y="640435"/>
                </a:cubicBezTo>
                <a:close/>
                <a:moveTo>
                  <a:pt x="455544" y="640435"/>
                </a:moveTo>
                <a:cubicBezTo>
                  <a:pt x="453722" y="644079"/>
                  <a:pt x="461010" y="645901"/>
                  <a:pt x="462832" y="645901"/>
                </a:cubicBezTo>
                <a:cubicBezTo>
                  <a:pt x="461010" y="642257"/>
                  <a:pt x="457367" y="644079"/>
                  <a:pt x="455544" y="640435"/>
                </a:cubicBezTo>
                <a:close/>
                <a:moveTo>
                  <a:pt x="220483" y="640435"/>
                </a:moveTo>
                <a:cubicBezTo>
                  <a:pt x="222306" y="647723"/>
                  <a:pt x="222306" y="653190"/>
                  <a:pt x="224128" y="656834"/>
                </a:cubicBezTo>
                <a:cubicBezTo>
                  <a:pt x="224128" y="673234"/>
                  <a:pt x="236883" y="684167"/>
                  <a:pt x="245994" y="687811"/>
                </a:cubicBezTo>
                <a:cubicBezTo>
                  <a:pt x="236883" y="673234"/>
                  <a:pt x="236883" y="649545"/>
                  <a:pt x="220483" y="640435"/>
                </a:cubicBezTo>
                <a:close/>
                <a:moveTo>
                  <a:pt x="138486" y="640435"/>
                </a:moveTo>
                <a:cubicBezTo>
                  <a:pt x="140308" y="645901"/>
                  <a:pt x="142130" y="651368"/>
                  <a:pt x="147596" y="655012"/>
                </a:cubicBezTo>
                <a:cubicBezTo>
                  <a:pt x="147596" y="655012"/>
                  <a:pt x="145774" y="656834"/>
                  <a:pt x="145774" y="655012"/>
                </a:cubicBezTo>
                <a:cubicBezTo>
                  <a:pt x="145774" y="660478"/>
                  <a:pt x="158529" y="671411"/>
                  <a:pt x="162174" y="678700"/>
                </a:cubicBezTo>
                <a:cubicBezTo>
                  <a:pt x="163996" y="680522"/>
                  <a:pt x="163996" y="680522"/>
                  <a:pt x="167640" y="682345"/>
                </a:cubicBezTo>
                <a:cubicBezTo>
                  <a:pt x="163996" y="676878"/>
                  <a:pt x="165818" y="671411"/>
                  <a:pt x="160352" y="665945"/>
                </a:cubicBezTo>
                <a:cubicBezTo>
                  <a:pt x="167640" y="664123"/>
                  <a:pt x="165818" y="676878"/>
                  <a:pt x="173107" y="678700"/>
                </a:cubicBezTo>
                <a:cubicBezTo>
                  <a:pt x="163996" y="662301"/>
                  <a:pt x="151241" y="653190"/>
                  <a:pt x="138486" y="640435"/>
                </a:cubicBezTo>
                <a:close/>
                <a:moveTo>
                  <a:pt x="125730" y="640435"/>
                </a:moveTo>
                <a:cubicBezTo>
                  <a:pt x="131197" y="653190"/>
                  <a:pt x="134841" y="665945"/>
                  <a:pt x="142130" y="676878"/>
                </a:cubicBezTo>
                <a:lnTo>
                  <a:pt x="149944" y="693216"/>
                </a:lnTo>
                <a:lnTo>
                  <a:pt x="147596" y="691455"/>
                </a:lnTo>
                <a:lnTo>
                  <a:pt x="151505" y="696482"/>
                </a:lnTo>
                <a:lnTo>
                  <a:pt x="162174" y="718788"/>
                </a:lnTo>
                <a:cubicBezTo>
                  <a:pt x="163996" y="715144"/>
                  <a:pt x="158529" y="709677"/>
                  <a:pt x="156707" y="706033"/>
                </a:cubicBezTo>
                <a:cubicBezTo>
                  <a:pt x="158529" y="704211"/>
                  <a:pt x="158529" y="711499"/>
                  <a:pt x="160352" y="707855"/>
                </a:cubicBezTo>
                <a:lnTo>
                  <a:pt x="151505" y="696482"/>
                </a:lnTo>
                <a:lnTo>
                  <a:pt x="149944" y="693216"/>
                </a:lnTo>
                <a:lnTo>
                  <a:pt x="154885" y="696922"/>
                </a:lnTo>
                <a:cubicBezTo>
                  <a:pt x="153063" y="693278"/>
                  <a:pt x="151241" y="685989"/>
                  <a:pt x="149419" y="684167"/>
                </a:cubicBezTo>
                <a:cubicBezTo>
                  <a:pt x="149419" y="685989"/>
                  <a:pt x="147596" y="685989"/>
                  <a:pt x="149419" y="689633"/>
                </a:cubicBezTo>
                <a:cubicBezTo>
                  <a:pt x="147596" y="687811"/>
                  <a:pt x="145774" y="680522"/>
                  <a:pt x="142130" y="676878"/>
                </a:cubicBezTo>
                <a:lnTo>
                  <a:pt x="141095" y="672116"/>
                </a:lnTo>
                <a:lnTo>
                  <a:pt x="143269" y="675739"/>
                </a:lnTo>
                <a:cubicBezTo>
                  <a:pt x="144863" y="678701"/>
                  <a:pt x="146685" y="681434"/>
                  <a:pt x="149419" y="682345"/>
                </a:cubicBezTo>
                <a:cubicBezTo>
                  <a:pt x="143952" y="671411"/>
                  <a:pt x="138486" y="647723"/>
                  <a:pt x="125730" y="640435"/>
                </a:cubicBezTo>
                <a:close/>
                <a:moveTo>
                  <a:pt x="2775784" y="640330"/>
                </a:moveTo>
                <a:lnTo>
                  <a:pt x="2776993" y="640435"/>
                </a:lnTo>
                <a:lnTo>
                  <a:pt x="2777479" y="643350"/>
                </a:lnTo>
                <a:lnTo>
                  <a:pt x="2776993" y="644079"/>
                </a:lnTo>
                <a:close/>
                <a:moveTo>
                  <a:pt x="2385682" y="639751"/>
                </a:moveTo>
                <a:cubicBezTo>
                  <a:pt x="2384315" y="639524"/>
                  <a:pt x="2382493" y="640435"/>
                  <a:pt x="2381582" y="642257"/>
                </a:cubicBezTo>
                <a:cubicBezTo>
                  <a:pt x="2381582" y="645901"/>
                  <a:pt x="2385226" y="645901"/>
                  <a:pt x="2387048" y="644079"/>
                </a:cubicBezTo>
                <a:cubicBezTo>
                  <a:pt x="2387960" y="641346"/>
                  <a:pt x="2387049" y="639979"/>
                  <a:pt x="2385682" y="639751"/>
                </a:cubicBezTo>
                <a:close/>
                <a:moveTo>
                  <a:pt x="941812" y="639144"/>
                </a:moveTo>
                <a:lnTo>
                  <a:pt x="943886" y="642257"/>
                </a:lnTo>
                <a:lnTo>
                  <a:pt x="942018" y="643191"/>
                </a:lnTo>
                <a:close/>
                <a:moveTo>
                  <a:pt x="3254403" y="638612"/>
                </a:moveTo>
                <a:cubicBezTo>
                  <a:pt x="3250759" y="642257"/>
                  <a:pt x="3258047" y="640435"/>
                  <a:pt x="3259869" y="644079"/>
                </a:cubicBezTo>
                <a:cubicBezTo>
                  <a:pt x="3261692" y="644079"/>
                  <a:pt x="3259869" y="636790"/>
                  <a:pt x="3254403" y="638612"/>
                </a:cubicBezTo>
                <a:close/>
                <a:moveTo>
                  <a:pt x="3053964" y="638612"/>
                </a:moveTo>
                <a:cubicBezTo>
                  <a:pt x="3052142" y="642257"/>
                  <a:pt x="3053964" y="644079"/>
                  <a:pt x="3057608" y="644079"/>
                </a:cubicBezTo>
                <a:cubicBezTo>
                  <a:pt x="3057608" y="642257"/>
                  <a:pt x="3057608" y="640435"/>
                  <a:pt x="3057608" y="638612"/>
                </a:cubicBezTo>
                <a:cubicBezTo>
                  <a:pt x="3057608" y="638612"/>
                  <a:pt x="3055786" y="638612"/>
                  <a:pt x="3053964" y="638612"/>
                </a:cubicBezTo>
                <a:close/>
                <a:moveTo>
                  <a:pt x="2510956" y="638612"/>
                </a:moveTo>
                <a:cubicBezTo>
                  <a:pt x="2510956" y="638612"/>
                  <a:pt x="2510956" y="638612"/>
                  <a:pt x="2510956" y="640435"/>
                </a:cubicBezTo>
                <a:lnTo>
                  <a:pt x="2514600" y="642257"/>
                </a:lnTo>
                <a:cubicBezTo>
                  <a:pt x="2512778" y="640435"/>
                  <a:pt x="2512778" y="640435"/>
                  <a:pt x="2510956" y="638612"/>
                </a:cubicBezTo>
                <a:close/>
                <a:moveTo>
                  <a:pt x="1239080" y="638612"/>
                </a:moveTo>
                <a:cubicBezTo>
                  <a:pt x="1237256" y="640435"/>
                  <a:pt x="1239080" y="640435"/>
                  <a:pt x="1237256" y="642257"/>
                </a:cubicBezTo>
                <a:cubicBezTo>
                  <a:pt x="1239080" y="642257"/>
                  <a:pt x="1240901" y="644079"/>
                  <a:pt x="1240901" y="642257"/>
                </a:cubicBezTo>
                <a:cubicBezTo>
                  <a:pt x="1240901" y="640435"/>
                  <a:pt x="1240901" y="640435"/>
                  <a:pt x="1239080" y="638612"/>
                </a:cubicBezTo>
                <a:close/>
                <a:moveTo>
                  <a:pt x="1146148" y="638612"/>
                </a:moveTo>
                <a:cubicBezTo>
                  <a:pt x="1140681" y="636790"/>
                  <a:pt x="1135215" y="645901"/>
                  <a:pt x="1135215" y="649545"/>
                </a:cubicBezTo>
                <a:cubicBezTo>
                  <a:pt x="1138859" y="645901"/>
                  <a:pt x="1142503" y="642257"/>
                  <a:pt x="1146148" y="638612"/>
                </a:cubicBezTo>
                <a:close/>
                <a:moveTo>
                  <a:pt x="1098771" y="638612"/>
                </a:moveTo>
                <a:cubicBezTo>
                  <a:pt x="1098771" y="640435"/>
                  <a:pt x="1087838" y="638612"/>
                  <a:pt x="1095127" y="645901"/>
                </a:cubicBezTo>
                <a:cubicBezTo>
                  <a:pt x="1098771" y="644079"/>
                  <a:pt x="1096949" y="642257"/>
                  <a:pt x="1098771" y="638612"/>
                </a:cubicBezTo>
                <a:close/>
                <a:moveTo>
                  <a:pt x="767136" y="638612"/>
                </a:moveTo>
                <a:cubicBezTo>
                  <a:pt x="763491" y="640435"/>
                  <a:pt x="767136" y="647723"/>
                  <a:pt x="770781" y="649545"/>
                </a:cubicBezTo>
                <a:cubicBezTo>
                  <a:pt x="770781" y="645901"/>
                  <a:pt x="767136" y="642257"/>
                  <a:pt x="767136" y="638612"/>
                </a:cubicBezTo>
                <a:close/>
                <a:moveTo>
                  <a:pt x="655983" y="638612"/>
                </a:moveTo>
                <a:cubicBezTo>
                  <a:pt x="654161" y="638612"/>
                  <a:pt x="652339" y="640435"/>
                  <a:pt x="652339" y="642257"/>
                </a:cubicBezTo>
                <a:cubicBezTo>
                  <a:pt x="648694" y="649545"/>
                  <a:pt x="654161" y="645901"/>
                  <a:pt x="655983" y="638612"/>
                </a:cubicBezTo>
                <a:close/>
                <a:moveTo>
                  <a:pt x="331636" y="638612"/>
                </a:moveTo>
                <a:cubicBezTo>
                  <a:pt x="331636" y="642257"/>
                  <a:pt x="337102" y="644079"/>
                  <a:pt x="338926" y="645901"/>
                </a:cubicBezTo>
                <a:cubicBezTo>
                  <a:pt x="340747" y="642257"/>
                  <a:pt x="333458" y="640435"/>
                  <a:pt x="331636" y="638612"/>
                </a:cubicBezTo>
                <a:close/>
                <a:moveTo>
                  <a:pt x="282438" y="638612"/>
                </a:moveTo>
                <a:lnTo>
                  <a:pt x="283803" y="646813"/>
                </a:lnTo>
                <a:lnTo>
                  <a:pt x="283463" y="646129"/>
                </a:lnTo>
                <a:lnTo>
                  <a:pt x="282666" y="642712"/>
                </a:lnTo>
                <a:cubicBezTo>
                  <a:pt x="282438" y="640435"/>
                  <a:pt x="282438" y="638612"/>
                  <a:pt x="282438" y="638612"/>
                </a:cubicBezTo>
                <a:close/>
                <a:moveTo>
                  <a:pt x="2757726" y="637002"/>
                </a:moveTo>
                <a:lnTo>
                  <a:pt x="2757405" y="639296"/>
                </a:lnTo>
                <a:lnTo>
                  <a:pt x="2760594" y="643229"/>
                </a:lnTo>
                <a:lnTo>
                  <a:pt x="2760594" y="647723"/>
                </a:lnTo>
                <a:cubicBezTo>
                  <a:pt x="2758772" y="645901"/>
                  <a:pt x="2756950" y="642257"/>
                  <a:pt x="2756950" y="640435"/>
                </a:cubicBezTo>
                <a:close/>
                <a:moveTo>
                  <a:pt x="2341494" y="636790"/>
                </a:moveTo>
                <a:cubicBezTo>
                  <a:pt x="2339672" y="634968"/>
                  <a:pt x="2336027" y="636790"/>
                  <a:pt x="2334205" y="640435"/>
                </a:cubicBezTo>
                <a:cubicBezTo>
                  <a:pt x="2332383" y="647723"/>
                  <a:pt x="2341494" y="640435"/>
                  <a:pt x="2341494" y="636790"/>
                </a:cubicBezTo>
                <a:close/>
                <a:moveTo>
                  <a:pt x="1273700" y="636790"/>
                </a:moveTo>
                <a:cubicBezTo>
                  <a:pt x="1273700" y="640435"/>
                  <a:pt x="1273700" y="642257"/>
                  <a:pt x="1271878" y="647723"/>
                </a:cubicBezTo>
                <a:cubicBezTo>
                  <a:pt x="1275522" y="649545"/>
                  <a:pt x="1273700" y="649545"/>
                  <a:pt x="1275522" y="651368"/>
                </a:cubicBezTo>
                <a:cubicBezTo>
                  <a:pt x="1277344" y="649545"/>
                  <a:pt x="1277344" y="651368"/>
                  <a:pt x="1277344" y="649545"/>
                </a:cubicBezTo>
                <a:lnTo>
                  <a:pt x="1278710" y="652279"/>
                </a:lnTo>
                <a:lnTo>
                  <a:pt x="1278255" y="653190"/>
                </a:lnTo>
                <a:lnTo>
                  <a:pt x="1275522" y="653190"/>
                </a:lnTo>
                <a:cubicBezTo>
                  <a:pt x="1275522" y="653190"/>
                  <a:pt x="1277344" y="655012"/>
                  <a:pt x="1277344" y="655012"/>
                </a:cubicBezTo>
                <a:lnTo>
                  <a:pt x="1278255" y="653190"/>
                </a:lnTo>
                <a:lnTo>
                  <a:pt x="1279166" y="653190"/>
                </a:lnTo>
                <a:lnTo>
                  <a:pt x="1278710" y="652279"/>
                </a:lnTo>
                <a:lnTo>
                  <a:pt x="1279166" y="651368"/>
                </a:lnTo>
                <a:cubicBezTo>
                  <a:pt x="1280989" y="647723"/>
                  <a:pt x="1280989" y="642257"/>
                  <a:pt x="1282811" y="636790"/>
                </a:cubicBezTo>
                <a:cubicBezTo>
                  <a:pt x="1279166" y="634968"/>
                  <a:pt x="1277344" y="636790"/>
                  <a:pt x="1273700" y="636790"/>
                </a:cubicBezTo>
                <a:close/>
                <a:moveTo>
                  <a:pt x="1237256" y="636790"/>
                </a:moveTo>
                <a:cubicBezTo>
                  <a:pt x="1231790" y="640435"/>
                  <a:pt x="1220858" y="633146"/>
                  <a:pt x="1215390" y="642257"/>
                </a:cubicBezTo>
                <a:cubicBezTo>
                  <a:pt x="1220858" y="642257"/>
                  <a:pt x="1226323" y="644079"/>
                  <a:pt x="1231790" y="642257"/>
                </a:cubicBezTo>
                <a:cubicBezTo>
                  <a:pt x="1229969" y="640435"/>
                  <a:pt x="1229969" y="638612"/>
                  <a:pt x="1229969" y="638612"/>
                </a:cubicBezTo>
                <a:cubicBezTo>
                  <a:pt x="1231790" y="638612"/>
                  <a:pt x="1231790" y="642257"/>
                  <a:pt x="1233612" y="644079"/>
                </a:cubicBezTo>
                <a:cubicBezTo>
                  <a:pt x="1237256" y="642257"/>
                  <a:pt x="1235434" y="638612"/>
                  <a:pt x="1237256" y="636790"/>
                </a:cubicBezTo>
                <a:close/>
                <a:moveTo>
                  <a:pt x="1215390" y="636790"/>
                </a:moveTo>
                <a:cubicBezTo>
                  <a:pt x="1215390" y="636790"/>
                  <a:pt x="1213568" y="640435"/>
                  <a:pt x="1211747" y="638612"/>
                </a:cubicBezTo>
                <a:cubicBezTo>
                  <a:pt x="1209925" y="638612"/>
                  <a:pt x="1213568" y="640435"/>
                  <a:pt x="1213568" y="640435"/>
                </a:cubicBezTo>
                <a:cubicBezTo>
                  <a:pt x="1213568" y="640435"/>
                  <a:pt x="1217213" y="638612"/>
                  <a:pt x="1215390" y="636790"/>
                </a:cubicBezTo>
                <a:close/>
                <a:moveTo>
                  <a:pt x="1166192" y="636790"/>
                </a:moveTo>
                <a:cubicBezTo>
                  <a:pt x="1164370" y="642257"/>
                  <a:pt x="1162547" y="649545"/>
                  <a:pt x="1158903" y="655012"/>
                </a:cubicBezTo>
                <a:cubicBezTo>
                  <a:pt x="1166192" y="655012"/>
                  <a:pt x="1180769" y="636790"/>
                  <a:pt x="1166192" y="636790"/>
                </a:cubicBezTo>
                <a:close/>
                <a:moveTo>
                  <a:pt x="1164370" y="636790"/>
                </a:moveTo>
                <a:cubicBezTo>
                  <a:pt x="1160725" y="634968"/>
                  <a:pt x="1158903" y="644079"/>
                  <a:pt x="1157081" y="645901"/>
                </a:cubicBezTo>
                <a:cubicBezTo>
                  <a:pt x="1158903" y="647723"/>
                  <a:pt x="1157081" y="647723"/>
                  <a:pt x="1158903" y="649545"/>
                </a:cubicBezTo>
                <a:cubicBezTo>
                  <a:pt x="1162547" y="644079"/>
                  <a:pt x="1160725" y="640435"/>
                  <a:pt x="1164370" y="636790"/>
                </a:cubicBezTo>
                <a:close/>
                <a:moveTo>
                  <a:pt x="1157081" y="636790"/>
                </a:moveTo>
                <a:cubicBezTo>
                  <a:pt x="1157081" y="636790"/>
                  <a:pt x="1157081" y="638612"/>
                  <a:pt x="1158903" y="640435"/>
                </a:cubicBezTo>
                <a:cubicBezTo>
                  <a:pt x="1160725" y="638612"/>
                  <a:pt x="1158903" y="638612"/>
                  <a:pt x="1160725" y="638612"/>
                </a:cubicBezTo>
                <a:cubicBezTo>
                  <a:pt x="1160725" y="634968"/>
                  <a:pt x="1158903" y="638612"/>
                  <a:pt x="1157081" y="636790"/>
                </a:cubicBezTo>
                <a:close/>
                <a:moveTo>
                  <a:pt x="1153436" y="636790"/>
                </a:moveTo>
                <a:cubicBezTo>
                  <a:pt x="1147970" y="636790"/>
                  <a:pt x="1144326" y="642257"/>
                  <a:pt x="1138859" y="647723"/>
                </a:cubicBezTo>
                <a:cubicBezTo>
                  <a:pt x="1138859" y="649545"/>
                  <a:pt x="1140681" y="649545"/>
                  <a:pt x="1140681" y="649545"/>
                </a:cubicBezTo>
                <a:cubicBezTo>
                  <a:pt x="1129748" y="653190"/>
                  <a:pt x="1127926" y="664123"/>
                  <a:pt x="1122459" y="671411"/>
                </a:cubicBezTo>
                <a:cubicBezTo>
                  <a:pt x="1122459" y="669589"/>
                  <a:pt x="1126104" y="667767"/>
                  <a:pt x="1127926" y="667767"/>
                </a:cubicBezTo>
                <a:lnTo>
                  <a:pt x="1126104" y="669589"/>
                </a:lnTo>
                <a:cubicBezTo>
                  <a:pt x="1133393" y="673234"/>
                  <a:pt x="1133393" y="669589"/>
                  <a:pt x="1133393" y="664123"/>
                </a:cubicBezTo>
                <a:cubicBezTo>
                  <a:pt x="1135215" y="665945"/>
                  <a:pt x="1133393" y="665945"/>
                  <a:pt x="1133393" y="667767"/>
                </a:cubicBezTo>
                <a:cubicBezTo>
                  <a:pt x="1138859" y="665945"/>
                  <a:pt x="1144326" y="662301"/>
                  <a:pt x="1142503" y="656834"/>
                </a:cubicBezTo>
                <a:cubicBezTo>
                  <a:pt x="1144326" y="655012"/>
                  <a:pt x="1144326" y="660478"/>
                  <a:pt x="1146148" y="658656"/>
                </a:cubicBezTo>
                <a:cubicBezTo>
                  <a:pt x="1147970" y="656834"/>
                  <a:pt x="1142503" y="653190"/>
                  <a:pt x="1144326" y="649545"/>
                </a:cubicBezTo>
                <a:cubicBezTo>
                  <a:pt x="1146148" y="649545"/>
                  <a:pt x="1147970" y="653190"/>
                  <a:pt x="1149792" y="655012"/>
                </a:cubicBezTo>
                <a:cubicBezTo>
                  <a:pt x="1155259" y="651368"/>
                  <a:pt x="1151614" y="644079"/>
                  <a:pt x="1155259" y="640435"/>
                </a:cubicBezTo>
                <a:cubicBezTo>
                  <a:pt x="1153436" y="638612"/>
                  <a:pt x="1155259" y="638612"/>
                  <a:pt x="1153436" y="636790"/>
                </a:cubicBezTo>
                <a:close/>
                <a:moveTo>
                  <a:pt x="1100593" y="636790"/>
                </a:moveTo>
                <a:cubicBezTo>
                  <a:pt x="1098771" y="638612"/>
                  <a:pt x="1098771" y="642257"/>
                  <a:pt x="1100593" y="642257"/>
                </a:cubicBezTo>
                <a:cubicBezTo>
                  <a:pt x="1098771" y="644079"/>
                  <a:pt x="1098771" y="645901"/>
                  <a:pt x="1096949" y="647723"/>
                </a:cubicBezTo>
                <a:cubicBezTo>
                  <a:pt x="1100593" y="647723"/>
                  <a:pt x="1098771" y="644079"/>
                  <a:pt x="1102416" y="642257"/>
                </a:cubicBezTo>
                <a:cubicBezTo>
                  <a:pt x="1100593" y="640435"/>
                  <a:pt x="1102416" y="638612"/>
                  <a:pt x="1100593" y="636790"/>
                </a:cubicBezTo>
                <a:close/>
                <a:moveTo>
                  <a:pt x="1051395" y="636790"/>
                </a:moveTo>
                <a:cubicBezTo>
                  <a:pt x="1047750" y="636790"/>
                  <a:pt x="1042284" y="644079"/>
                  <a:pt x="1045929" y="645901"/>
                </a:cubicBezTo>
                <a:cubicBezTo>
                  <a:pt x="1049573" y="642257"/>
                  <a:pt x="1047750" y="640435"/>
                  <a:pt x="1051395" y="636790"/>
                </a:cubicBezTo>
                <a:close/>
                <a:moveTo>
                  <a:pt x="597673" y="636790"/>
                </a:moveTo>
                <a:cubicBezTo>
                  <a:pt x="594030" y="634968"/>
                  <a:pt x="595852" y="638612"/>
                  <a:pt x="595852" y="640435"/>
                </a:cubicBezTo>
                <a:cubicBezTo>
                  <a:pt x="599496" y="642257"/>
                  <a:pt x="599496" y="638612"/>
                  <a:pt x="597673" y="636790"/>
                </a:cubicBezTo>
                <a:close/>
                <a:moveTo>
                  <a:pt x="384479" y="636790"/>
                </a:moveTo>
                <a:cubicBezTo>
                  <a:pt x="382657" y="642257"/>
                  <a:pt x="386301" y="644079"/>
                  <a:pt x="389946" y="644079"/>
                </a:cubicBezTo>
                <a:cubicBezTo>
                  <a:pt x="389946" y="644079"/>
                  <a:pt x="389946" y="642257"/>
                  <a:pt x="389946" y="642257"/>
                </a:cubicBezTo>
                <a:cubicBezTo>
                  <a:pt x="388123" y="638612"/>
                  <a:pt x="386301" y="640435"/>
                  <a:pt x="384479" y="636790"/>
                </a:cubicBezTo>
                <a:close/>
                <a:moveTo>
                  <a:pt x="340747" y="636790"/>
                </a:moveTo>
                <a:cubicBezTo>
                  <a:pt x="340747" y="638612"/>
                  <a:pt x="342569" y="640435"/>
                  <a:pt x="342569" y="642257"/>
                </a:cubicBezTo>
                <a:cubicBezTo>
                  <a:pt x="346213" y="642257"/>
                  <a:pt x="340747" y="638612"/>
                  <a:pt x="340747" y="636790"/>
                </a:cubicBezTo>
                <a:close/>
                <a:moveTo>
                  <a:pt x="1043665" y="636515"/>
                </a:moveTo>
                <a:lnTo>
                  <a:pt x="1043821" y="638539"/>
                </a:lnTo>
                <a:lnTo>
                  <a:pt x="1043650" y="640663"/>
                </a:lnTo>
                <a:lnTo>
                  <a:pt x="1043359" y="641309"/>
                </a:lnTo>
                <a:lnTo>
                  <a:pt x="1042578" y="640318"/>
                </a:lnTo>
                <a:close/>
                <a:moveTo>
                  <a:pt x="2586491" y="636392"/>
                </a:moveTo>
                <a:cubicBezTo>
                  <a:pt x="2581451" y="634855"/>
                  <a:pt x="2575643" y="644079"/>
                  <a:pt x="2572910" y="644079"/>
                </a:cubicBezTo>
                <a:cubicBezTo>
                  <a:pt x="2578377" y="655012"/>
                  <a:pt x="2587487" y="649545"/>
                  <a:pt x="2591132" y="642257"/>
                </a:cubicBezTo>
                <a:cubicBezTo>
                  <a:pt x="2589766" y="638613"/>
                  <a:pt x="2588171" y="636905"/>
                  <a:pt x="2586491" y="636392"/>
                </a:cubicBezTo>
                <a:close/>
                <a:moveTo>
                  <a:pt x="3343690" y="634968"/>
                </a:moveTo>
                <a:cubicBezTo>
                  <a:pt x="3343690" y="642257"/>
                  <a:pt x="3350978" y="638612"/>
                  <a:pt x="3354623" y="638612"/>
                </a:cubicBezTo>
                <a:cubicBezTo>
                  <a:pt x="3354623" y="634968"/>
                  <a:pt x="3345512" y="638612"/>
                  <a:pt x="3343690" y="634968"/>
                </a:cubicBezTo>
                <a:close/>
                <a:moveTo>
                  <a:pt x="3258047" y="634968"/>
                </a:moveTo>
                <a:cubicBezTo>
                  <a:pt x="3259869" y="636790"/>
                  <a:pt x="3261692" y="638612"/>
                  <a:pt x="3263514" y="640435"/>
                </a:cubicBezTo>
                <a:cubicBezTo>
                  <a:pt x="3267158" y="638612"/>
                  <a:pt x="3265336" y="636790"/>
                  <a:pt x="3265336" y="636790"/>
                </a:cubicBezTo>
                <a:cubicBezTo>
                  <a:pt x="3265336" y="634968"/>
                  <a:pt x="3261692" y="634968"/>
                  <a:pt x="3258047" y="634968"/>
                </a:cubicBezTo>
                <a:close/>
                <a:moveTo>
                  <a:pt x="635939" y="634968"/>
                </a:moveTo>
                <a:cubicBezTo>
                  <a:pt x="632296" y="636790"/>
                  <a:pt x="634117" y="645901"/>
                  <a:pt x="626828" y="645901"/>
                </a:cubicBezTo>
                <a:cubicBezTo>
                  <a:pt x="632296" y="647723"/>
                  <a:pt x="635939" y="656834"/>
                  <a:pt x="639583" y="651368"/>
                </a:cubicBezTo>
                <a:cubicBezTo>
                  <a:pt x="641407" y="649545"/>
                  <a:pt x="645050" y="644079"/>
                  <a:pt x="645050" y="638612"/>
                </a:cubicBezTo>
                <a:cubicBezTo>
                  <a:pt x="641407" y="634968"/>
                  <a:pt x="639583" y="634968"/>
                  <a:pt x="635939" y="634968"/>
                </a:cubicBezTo>
                <a:close/>
                <a:moveTo>
                  <a:pt x="451899" y="634968"/>
                </a:moveTo>
                <a:cubicBezTo>
                  <a:pt x="446433" y="634968"/>
                  <a:pt x="448256" y="638612"/>
                  <a:pt x="450077" y="640435"/>
                </a:cubicBezTo>
                <a:cubicBezTo>
                  <a:pt x="450077" y="640435"/>
                  <a:pt x="450077" y="640435"/>
                  <a:pt x="451899" y="640435"/>
                </a:cubicBezTo>
                <a:cubicBezTo>
                  <a:pt x="455544" y="638612"/>
                  <a:pt x="450077" y="634968"/>
                  <a:pt x="451899" y="634968"/>
                </a:cubicBezTo>
                <a:close/>
                <a:moveTo>
                  <a:pt x="349858" y="634968"/>
                </a:moveTo>
                <a:cubicBezTo>
                  <a:pt x="346213" y="636790"/>
                  <a:pt x="349858" y="642257"/>
                  <a:pt x="353502" y="647723"/>
                </a:cubicBezTo>
                <a:cubicBezTo>
                  <a:pt x="355324" y="647723"/>
                  <a:pt x="353502" y="642257"/>
                  <a:pt x="357146" y="638612"/>
                </a:cubicBezTo>
                <a:cubicBezTo>
                  <a:pt x="355324" y="636790"/>
                  <a:pt x="351680" y="636790"/>
                  <a:pt x="349858" y="634968"/>
                </a:cubicBezTo>
                <a:close/>
                <a:moveTo>
                  <a:pt x="218661" y="634968"/>
                </a:moveTo>
                <a:lnTo>
                  <a:pt x="218739" y="635202"/>
                </a:lnTo>
                <a:lnTo>
                  <a:pt x="219298" y="639799"/>
                </a:lnTo>
                <a:lnTo>
                  <a:pt x="218661" y="640435"/>
                </a:lnTo>
                <a:cubicBezTo>
                  <a:pt x="218661" y="638612"/>
                  <a:pt x="216839" y="636790"/>
                  <a:pt x="218661" y="634968"/>
                </a:cubicBezTo>
                <a:close/>
                <a:moveTo>
                  <a:pt x="145774" y="634968"/>
                </a:moveTo>
                <a:cubicBezTo>
                  <a:pt x="151241" y="640435"/>
                  <a:pt x="154885" y="658656"/>
                  <a:pt x="163996" y="660478"/>
                </a:cubicBezTo>
                <a:cubicBezTo>
                  <a:pt x="156707" y="649545"/>
                  <a:pt x="153063" y="640435"/>
                  <a:pt x="145774" y="634968"/>
                </a:cubicBezTo>
                <a:close/>
                <a:moveTo>
                  <a:pt x="2951011" y="634513"/>
                </a:moveTo>
                <a:cubicBezTo>
                  <a:pt x="2949189" y="634968"/>
                  <a:pt x="2947367" y="635879"/>
                  <a:pt x="2946456" y="634968"/>
                </a:cubicBezTo>
                <a:cubicBezTo>
                  <a:pt x="2940989" y="651368"/>
                  <a:pt x="2957389" y="656834"/>
                  <a:pt x="2970144" y="662301"/>
                </a:cubicBezTo>
                <a:cubicBezTo>
                  <a:pt x="2970144" y="659568"/>
                  <a:pt x="2970600" y="655468"/>
                  <a:pt x="2969916" y="651824"/>
                </a:cubicBezTo>
                <a:lnTo>
                  <a:pt x="2962858" y="644083"/>
                </a:lnTo>
                <a:lnTo>
                  <a:pt x="2959211" y="638612"/>
                </a:lnTo>
                <a:cubicBezTo>
                  <a:pt x="2957389" y="636790"/>
                  <a:pt x="2951922" y="638612"/>
                  <a:pt x="2955566" y="636790"/>
                </a:cubicBezTo>
                <a:cubicBezTo>
                  <a:pt x="2954655" y="634058"/>
                  <a:pt x="2952833" y="634058"/>
                  <a:pt x="2951011" y="634513"/>
                </a:cubicBezTo>
                <a:close/>
                <a:moveTo>
                  <a:pt x="163997" y="633147"/>
                </a:moveTo>
                <a:lnTo>
                  <a:pt x="164482" y="633593"/>
                </a:lnTo>
                <a:lnTo>
                  <a:pt x="165477" y="635749"/>
                </a:lnTo>
                <a:lnTo>
                  <a:pt x="163997" y="633149"/>
                </a:lnTo>
                <a:close/>
                <a:moveTo>
                  <a:pt x="3006587" y="633146"/>
                </a:moveTo>
                <a:cubicBezTo>
                  <a:pt x="3002943" y="634968"/>
                  <a:pt x="3004765" y="642257"/>
                  <a:pt x="3010232" y="640435"/>
                </a:cubicBezTo>
                <a:cubicBezTo>
                  <a:pt x="3012054" y="636790"/>
                  <a:pt x="3006587" y="636790"/>
                  <a:pt x="3006587" y="633146"/>
                </a:cubicBezTo>
                <a:close/>
                <a:moveTo>
                  <a:pt x="2922767" y="633146"/>
                </a:moveTo>
                <a:cubicBezTo>
                  <a:pt x="2920945" y="633146"/>
                  <a:pt x="2919123" y="642257"/>
                  <a:pt x="2924590" y="640435"/>
                </a:cubicBezTo>
                <a:cubicBezTo>
                  <a:pt x="2924590" y="636790"/>
                  <a:pt x="2922767" y="636790"/>
                  <a:pt x="2922767" y="633146"/>
                </a:cubicBezTo>
                <a:close/>
                <a:moveTo>
                  <a:pt x="2500023" y="633146"/>
                </a:moveTo>
                <a:cubicBezTo>
                  <a:pt x="2501845" y="634968"/>
                  <a:pt x="2501845" y="636790"/>
                  <a:pt x="2503667" y="636790"/>
                </a:cubicBezTo>
                <a:lnTo>
                  <a:pt x="2507312" y="638612"/>
                </a:lnTo>
                <a:cubicBezTo>
                  <a:pt x="2507312" y="636790"/>
                  <a:pt x="2507312" y="634968"/>
                  <a:pt x="2507312" y="633146"/>
                </a:cubicBezTo>
                <a:cubicBezTo>
                  <a:pt x="2503667" y="633146"/>
                  <a:pt x="2501845" y="633146"/>
                  <a:pt x="2500023" y="633146"/>
                </a:cubicBezTo>
                <a:close/>
                <a:moveTo>
                  <a:pt x="1290100" y="633146"/>
                </a:moveTo>
                <a:cubicBezTo>
                  <a:pt x="1288277" y="638612"/>
                  <a:pt x="1286455" y="642257"/>
                  <a:pt x="1284633" y="647723"/>
                </a:cubicBezTo>
                <a:cubicBezTo>
                  <a:pt x="1280989" y="649545"/>
                  <a:pt x="1279166" y="653190"/>
                  <a:pt x="1282811" y="655012"/>
                </a:cubicBezTo>
                <a:cubicBezTo>
                  <a:pt x="1286455" y="649545"/>
                  <a:pt x="1291922" y="640435"/>
                  <a:pt x="1291922" y="633146"/>
                </a:cubicBezTo>
                <a:cubicBezTo>
                  <a:pt x="1291922" y="633146"/>
                  <a:pt x="1290100" y="634968"/>
                  <a:pt x="1290100" y="633146"/>
                </a:cubicBezTo>
                <a:close/>
                <a:moveTo>
                  <a:pt x="1195346" y="633146"/>
                </a:moveTo>
                <a:cubicBezTo>
                  <a:pt x="1195346" y="633146"/>
                  <a:pt x="1195346" y="634968"/>
                  <a:pt x="1197169" y="636790"/>
                </a:cubicBezTo>
                <a:cubicBezTo>
                  <a:pt x="1197169" y="636790"/>
                  <a:pt x="1198991" y="636790"/>
                  <a:pt x="1200814" y="634968"/>
                </a:cubicBezTo>
                <a:cubicBezTo>
                  <a:pt x="1198991" y="634968"/>
                  <a:pt x="1197169" y="634968"/>
                  <a:pt x="1195346" y="633146"/>
                </a:cubicBezTo>
                <a:close/>
                <a:moveTo>
                  <a:pt x="1062328" y="633146"/>
                </a:moveTo>
                <a:cubicBezTo>
                  <a:pt x="1062328" y="631324"/>
                  <a:pt x="1056861" y="636790"/>
                  <a:pt x="1060506" y="636790"/>
                </a:cubicBezTo>
                <a:cubicBezTo>
                  <a:pt x="1062328" y="634968"/>
                  <a:pt x="1060506" y="634968"/>
                  <a:pt x="1062328" y="633146"/>
                </a:cubicBezTo>
                <a:close/>
                <a:moveTo>
                  <a:pt x="1031351" y="633146"/>
                </a:moveTo>
                <a:cubicBezTo>
                  <a:pt x="1027707" y="638612"/>
                  <a:pt x="1024062" y="645901"/>
                  <a:pt x="1033173" y="649545"/>
                </a:cubicBezTo>
                <a:cubicBezTo>
                  <a:pt x="1034995" y="644079"/>
                  <a:pt x="1034995" y="638612"/>
                  <a:pt x="1031351" y="633146"/>
                </a:cubicBezTo>
                <a:close/>
                <a:moveTo>
                  <a:pt x="883755" y="633146"/>
                </a:moveTo>
                <a:cubicBezTo>
                  <a:pt x="880111" y="638612"/>
                  <a:pt x="871000" y="640435"/>
                  <a:pt x="876466" y="649545"/>
                </a:cubicBezTo>
                <a:cubicBezTo>
                  <a:pt x="878288" y="647723"/>
                  <a:pt x="880111" y="644079"/>
                  <a:pt x="878288" y="640435"/>
                </a:cubicBezTo>
                <a:cubicBezTo>
                  <a:pt x="881933" y="640435"/>
                  <a:pt x="880111" y="636790"/>
                  <a:pt x="883755" y="633146"/>
                </a:cubicBezTo>
                <a:close/>
                <a:moveTo>
                  <a:pt x="728870" y="633146"/>
                </a:moveTo>
                <a:cubicBezTo>
                  <a:pt x="730692" y="636790"/>
                  <a:pt x="737981" y="644079"/>
                  <a:pt x="745269" y="642257"/>
                </a:cubicBezTo>
                <a:cubicBezTo>
                  <a:pt x="745269" y="638612"/>
                  <a:pt x="739803" y="638612"/>
                  <a:pt x="736159" y="634968"/>
                </a:cubicBezTo>
                <a:cubicBezTo>
                  <a:pt x="734336" y="636790"/>
                  <a:pt x="736159" y="636790"/>
                  <a:pt x="736159" y="638612"/>
                </a:cubicBezTo>
                <a:cubicBezTo>
                  <a:pt x="732515" y="636790"/>
                  <a:pt x="732515" y="631324"/>
                  <a:pt x="728870" y="633146"/>
                </a:cubicBezTo>
                <a:close/>
                <a:moveTo>
                  <a:pt x="590385" y="633146"/>
                </a:moveTo>
                <a:cubicBezTo>
                  <a:pt x="588562" y="634968"/>
                  <a:pt x="590385" y="638612"/>
                  <a:pt x="590385" y="640435"/>
                </a:cubicBezTo>
                <a:cubicBezTo>
                  <a:pt x="588562" y="642257"/>
                  <a:pt x="588562" y="642257"/>
                  <a:pt x="588562" y="642257"/>
                </a:cubicBezTo>
                <a:cubicBezTo>
                  <a:pt x="586741" y="642257"/>
                  <a:pt x="586741" y="640435"/>
                  <a:pt x="584919" y="638612"/>
                </a:cubicBezTo>
                <a:cubicBezTo>
                  <a:pt x="583096" y="642257"/>
                  <a:pt x="586741" y="644079"/>
                  <a:pt x="586741" y="645901"/>
                </a:cubicBezTo>
                <a:cubicBezTo>
                  <a:pt x="588562" y="644079"/>
                  <a:pt x="590385" y="642257"/>
                  <a:pt x="590385" y="640435"/>
                </a:cubicBezTo>
                <a:cubicBezTo>
                  <a:pt x="590385" y="638612"/>
                  <a:pt x="590385" y="636790"/>
                  <a:pt x="592207" y="636790"/>
                </a:cubicBezTo>
                <a:cubicBezTo>
                  <a:pt x="592207" y="634968"/>
                  <a:pt x="592207" y="634968"/>
                  <a:pt x="590385" y="633146"/>
                </a:cubicBezTo>
                <a:close/>
                <a:moveTo>
                  <a:pt x="424567" y="633146"/>
                </a:moveTo>
                <a:cubicBezTo>
                  <a:pt x="422745" y="634968"/>
                  <a:pt x="422745" y="640435"/>
                  <a:pt x="426389" y="640435"/>
                </a:cubicBezTo>
                <a:cubicBezTo>
                  <a:pt x="428211" y="638612"/>
                  <a:pt x="424567" y="634968"/>
                  <a:pt x="424567" y="633146"/>
                </a:cubicBezTo>
                <a:close/>
                <a:moveTo>
                  <a:pt x="284259" y="633146"/>
                </a:moveTo>
                <a:lnTo>
                  <a:pt x="285385" y="633837"/>
                </a:lnTo>
                <a:lnTo>
                  <a:pt x="284902" y="639801"/>
                </a:lnTo>
                <a:lnTo>
                  <a:pt x="284487" y="637019"/>
                </a:lnTo>
                <a:cubicBezTo>
                  <a:pt x="283348" y="634058"/>
                  <a:pt x="282438" y="632235"/>
                  <a:pt x="284259" y="633146"/>
                </a:cubicBezTo>
                <a:close/>
                <a:moveTo>
                  <a:pt x="163996" y="633146"/>
                </a:moveTo>
                <a:lnTo>
                  <a:pt x="163997" y="633147"/>
                </a:lnTo>
                <a:lnTo>
                  <a:pt x="163996" y="633147"/>
                </a:lnTo>
                <a:close/>
                <a:moveTo>
                  <a:pt x="3332415" y="632235"/>
                </a:moveTo>
                <a:cubicBezTo>
                  <a:pt x="3330821" y="631666"/>
                  <a:pt x="3328657" y="632235"/>
                  <a:pt x="3325468" y="634968"/>
                </a:cubicBezTo>
                <a:cubicBezTo>
                  <a:pt x="3325468" y="638612"/>
                  <a:pt x="3330934" y="640435"/>
                  <a:pt x="3329112" y="640435"/>
                </a:cubicBezTo>
                <a:cubicBezTo>
                  <a:pt x="3320001" y="645901"/>
                  <a:pt x="3316357" y="651368"/>
                  <a:pt x="3309068" y="642257"/>
                </a:cubicBezTo>
                <a:cubicBezTo>
                  <a:pt x="3307246" y="653190"/>
                  <a:pt x="3314535" y="656834"/>
                  <a:pt x="3323646" y="662301"/>
                </a:cubicBezTo>
                <a:cubicBezTo>
                  <a:pt x="3325468" y="664123"/>
                  <a:pt x="3330934" y="665945"/>
                  <a:pt x="3332756" y="664123"/>
                </a:cubicBezTo>
                <a:cubicBezTo>
                  <a:pt x="3334579" y="662301"/>
                  <a:pt x="3329112" y="658656"/>
                  <a:pt x="3330934" y="656834"/>
                </a:cubicBezTo>
                <a:cubicBezTo>
                  <a:pt x="3334579" y="655012"/>
                  <a:pt x="3334579" y="664123"/>
                  <a:pt x="3338223" y="662301"/>
                </a:cubicBezTo>
                <a:cubicBezTo>
                  <a:pt x="3336401" y="656834"/>
                  <a:pt x="3338223" y="653190"/>
                  <a:pt x="3340045" y="647723"/>
                </a:cubicBezTo>
                <a:cubicBezTo>
                  <a:pt x="3341867" y="649545"/>
                  <a:pt x="3338223" y="653190"/>
                  <a:pt x="3340045" y="655012"/>
                </a:cubicBezTo>
                <a:cubicBezTo>
                  <a:pt x="3343690" y="651368"/>
                  <a:pt x="3345512" y="645901"/>
                  <a:pt x="3343690" y="640435"/>
                </a:cubicBezTo>
                <a:cubicBezTo>
                  <a:pt x="3336857" y="645902"/>
                  <a:pt x="3337198" y="633943"/>
                  <a:pt x="3332415" y="632235"/>
                </a:cubicBezTo>
                <a:close/>
                <a:moveTo>
                  <a:pt x="3555062" y="631324"/>
                </a:moveTo>
                <a:cubicBezTo>
                  <a:pt x="3551417" y="629501"/>
                  <a:pt x="3551417" y="633146"/>
                  <a:pt x="3549595" y="633146"/>
                </a:cubicBezTo>
                <a:cubicBezTo>
                  <a:pt x="3551417" y="636790"/>
                  <a:pt x="3555062" y="636790"/>
                  <a:pt x="3556884" y="634968"/>
                </a:cubicBezTo>
                <a:cubicBezTo>
                  <a:pt x="3555062" y="634968"/>
                  <a:pt x="3555062" y="633146"/>
                  <a:pt x="3555062" y="631324"/>
                </a:cubicBezTo>
                <a:close/>
                <a:moveTo>
                  <a:pt x="2598421" y="631324"/>
                </a:moveTo>
                <a:cubicBezTo>
                  <a:pt x="2592954" y="631324"/>
                  <a:pt x="2596598" y="636790"/>
                  <a:pt x="2598421" y="638612"/>
                </a:cubicBezTo>
                <a:cubicBezTo>
                  <a:pt x="2602065" y="638612"/>
                  <a:pt x="2598421" y="634968"/>
                  <a:pt x="2598421" y="631324"/>
                </a:cubicBezTo>
                <a:close/>
                <a:moveTo>
                  <a:pt x="1410363" y="631324"/>
                </a:moveTo>
                <a:cubicBezTo>
                  <a:pt x="1404896" y="638612"/>
                  <a:pt x="1408541" y="645901"/>
                  <a:pt x="1401252" y="653190"/>
                </a:cubicBezTo>
                <a:cubicBezTo>
                  <a:pt x="1414007" y="656834"/>
                  <a:pt x="1417652" y="640435"/>
                  <a:pt x="1410363" y="631324"/>
                </a:cubicBezTo>
                <a:close/>
                <a:moveTo>
                  <a:pt x="1297388" y="631324"/>
                </a:moveTo>
                <a:cubicBezTo>
                  <a:pt x="1293744" y="634968"/>
                  <a:pt x="1293744" y="640435"/>
                  <a:pt x="1291922" y="644079"/>
                </a:cubicBezTo>
                <a:cubicBezTo>
                  <a:pt x="1293744" y="644079"/>
                  <a:pt x="1293744" y="645901"/>
                  <a:pt x="1295566" y="647723"/>
                </a:cubicBezTo>
                <a:cubicBezTo>
                  <a:pt x="1299210" y="642257"/>
                  <a:pt x="1297388" y="636790"/>
                  <a:pt x="1297388" y="631324"/>
                </a:cubicBezTo>
                <a:close/>
                <a:moveTo>
                  <a:pt x="1073262" y="631324"/>
                </a:moveTo>
                <a:cubicBezTo>
                  <a:pt x="1073262" y="629501"/>
                  <a:pt x="1062328" y="636790"/>
                  <a:pt x="1065972" y="638612"/>
                </a:cubicBezTo>
                <a:cubicBezTo>
                  <a:pt x="1069616" y="634968"/>
                  <a:pt x="1071439" y="633146"/>
                  <a:pt x="1073262" y="631324"/>
                </a:cubicBezTo>
                <a:close/>
                <a:moveTo>
                  <a:pt x="663272" y="631324"/>
                </a:moveTo>
                <a:cubicBezTo>
                  <a:pt x="657805" y="634968"/>
                  <a:pt x="663272" y="636790"/>
                  <a:pt x="665094" y="638612"/>
                </a:cubicBezTo>
                <a:cubicBezTo>
                  <a:pt x="668738" y="636790"/>
                  <a:pt x="665094" y="634968"/>
                  <a:pt x="663272" y="631324"/>
                </a:cubicBezTo>
                <a:close/>
                <a:moveTo>
                  <a:pt x="641407" y="631324"/>
                </a:moveTo>
                <a:cubicBezTo>
                  <a:pt x="639583" y="633146"/>
                  <a:pt x="637761" y="633146"/>
                  <a:pt x="637761" y="634968"/>
                </a:cubicBezTo>
                <a:cubicBezTo>
                  <a:pt x="639583" y="633146"/>
                  <a:pt x="641407" y="636790"/>
                  <a:pt x="643228" y="634968"/>
                </a:cubicBezTo>
                <a:cubicBezTo>
                  <a:pt x="641407" y="633146"/>
                  <a:pt x="639583" y="633146"/>
                  <a:pt x="641407" y="631324"/>
                </a:cubicBezTo>
                <a:close/>
                <a:moveTo>
                  <a:pt x="123908" y="631324"/>
                </a:moveTo>
                <a:cubicBezTo>
                  <a:pt x="123908" y="636790"/>
                  <a:pt x="131197" y="642257"/>
                  <a:pt x="134841" y="645901"/>
                </a:cubicBezTo>
                <a:cubicBezTo>
                  <a:pt x="134841" y="638612"/>
                  <a:pt x="127552" y="631324"/>
                  <a:pt x="123908" y="631324"/>
                </a:cubicBezTo>
                <a:close/>
                <a:moveTo>
                  <a:pt x="2374749" y="631324"/>
                </a:moveTo>
                <a:cubicBezTo>
                  <a:pt x="2372016" y="631779"/>
                  <a:pt x="2368827" y="633146"/>
                  <a:pt x="2365182" y="634968"/>
                </a:cubicBezTo>
                <a:cubicBezTo>
                  <a:pt x="2368827" y="638612"/>
                  <a:pt x="2370649" y="647723"/>
                  <a:pt x="2379760" y="642257"/>
                </a:cubicBezTo>
                <a:cubicBezTo>
                  <a:pt x="2379760" y="634968"/>
                  <a:pt x="2377937" y="633146"/>
                  <a:pt x="2381582" y="633146"/>
                </a:cubicBezTo>
                <a:cubicBezTo>
                  <a:pt x="2379760" y="631324"/>
                  <a:pt x="2377482" y="630868"/>
                  <a:pt x="2374749" y="631324"/>
                </a:cubicBezTo>
                <a:close/>
                <a:moveTo>
                  <a:pt x="92569" y="630493"/>
                </a:moveTo>
                <a:lnTo>
                  <a:pt x="116427" y="663855"/>
                </a:lnTo>
                <a:lnTo>
                  <a:pt x="118442" y="669589"/>
                </a:lnTo>
                <a:cubicBezTo>
                  <a:pt x="118442" y="673234"/>
                  <a:pt x="120264" y="675056"/>
                  <a:pt x="122086" y="676878"/>
                </a:cubicBezTo>
                <a:close/>
                <a:moveTo>
                  <a:pt x="3274447" y="629501"/>
                </a:moveTo>
                <a:cubicBezTo>
                  <a:pt x="3276269" y="629501"/>
                  <a:pt x="3276269" y="631324"/>
                  <a:pt x="3276269" y="631324"/>
                </a:cubicBezTo>
                <a:lnTo>
                  <a:pt x="3274447" y="629502"/>
                </a:lnTo>
                <a:close/>
                <a:moveTo>
                  <a:pt x="2758772" y="629501"/>
                </a:moveTo>
                <a:lnTo>
                  <a:pt x="2759141" y="630732"/>
                </a:lnTo>
                <a:lnTo>
                  <a:pt x="2757726" y="637002"/>
                </a:lnTo>
                <a:close/>
                <a:moveTo>
                  <a:pt x="2428958" y="629501"/>
                </a:moveTo>
                <a:cubicBezTo>
                  <a:pt x="2427136" y="631324"/>
                  <a:pt x="2425314" y="634968"/>
                  <a:pt x="2425314" y="636790"/>
                </a:cubicBezTo>
                <a:lnTo>
                  <a:pt x="2427136" y="636790"/>
                </a:lnTo>
                <a:lnTo>
                  <a:pt x="2428958" y="633146"/>
                </a:lnTo>
                <a:cubicBezTo>
                  <a:pt x="2428958" y="631324"/>
                  <a:pt x="2428958" y="631324"/>
                  <a:pt x="2428958" y="629501"/>
                </a:cubicBezTo>
                <a:close/>
                <a:moveTo>
                  <a:pt x="2396159" y="629501"/>
                </a:moveTo>
                <a:cubicBezTo>
                  <a:pt x="2392515" y="633146"/>
                  <a:pt x="2390693" y="638612"/>
                  <a:pt x="2390693" y="642257"/>
                </a:cubicBezTo>
                <a:cubicBezTo>
                  <a:pt x="2392515" y="642257"/>
                  <a:pt x="2392515" y="642257"/>
                  <a:pt x="2394337" y="642257"/>
                </a:cubicBezTo>
                <a:cubicBezTo>
                  <a:pt x="2390693" y="636790"/>
                  <a:pt x="2399803" y="634968"/>
                  <a:pt x="2396159" y="629501"/>
                </a:cubicBezTo>
                <a:close/>
                <a:moveTo>
                  <a:pt x="1439518" y="629501"/>
                </a:moveTo>
                <a:cubicBezTo>
                  <a:pt x="1437696" y="629501"/>
                  <a:pt x="1432229" y="633146"/>
                  <a:pt x="1435873" y="634968"/>
                </a:cubicBezTo>
                <a:cubicBezTo>
                  <a:pt x="1439518" y="633146"/>
                  <a:pt x="1439518" y="631324"/>
                  <a:pt x="1439518" y="629501"/>
                </a:cubicBezTo>
                <a:close/>
                <a:moveTo>
                  <a:pt x="1370275" y="629501"/>
                </a:moveTo>
                <a:cubicBezTo>
                  <a:pt x="1368453" y="633146"/>
                  <a:pt x="1366632" y="631324"/>
                  <a:pt x="1366632" y="634968"/>
                </a:cubicBezTo>
                <a:cubicBezTo>
                  <a:pt x="1368453" y="634968"/>
                  <a:pt x="1368453" y="633146"/>
                  <a:pt x="1368453" y="633146"/>
                </a:cubicBezTo>
                <a:cubicBezTo>
                  <a:pt x="1370275" y="638612"/>
                  <a:pt x="1368453" y="642257"/>
                  <a:pt x="1370275" y="645901"/>
                </a:cubicBezTo>
                <a:cubicBezTo>
                  <a:pt x="1372097" y="642257"/>
                  <a:pt x="1372097" y="634968"/>
                  <a:pt x="1370275" y="629501"/>
                </a:cubicBezTo>
                <a:close/>
                <a:moveTo>
                  <a:pt x="512031" y="629501"/>
                </a:moveTo>
                <a:cubicBezTo>
                  <a:pt x="508387" y="627679"/>
                  <a:pt x="508387" y="633146"/>
                  <a:pt x="508387" y="636790"/>
                </a:cubicBezTo>
                <a:cubicBezTo>
                  <a:pt x="510209" y="636790"/>
                  <a:pt x="512031" y="640435"/>
                  <a:pt x="513853" y="640435"/>
                </a:cubicBezTo>
                <a:cubicBezTo>
                  <a:pt x="517498" y="636790"/>
                  <a:pt x="512031" y="631324"/>
                  <a:pt x="512031" y="629501"/>
                </a:cubicBezTo>
                <a:close/>
                <a:moveTo>
                  <a:pt x="406345" y="629501"/>
                </a:moveTo>
                <a:lnTo>
                  <a:pt x="409050" y="634910"/>
                </a:lnTo>
                <a:lnTo>
                  <a:pt x="406752" y="632141"/>
                </a:lnTo>
                <a:close/>
                <a:moveTo>
                  <a:pt x="313414" y="629501"/>
                </a:moveTo>
                <a:cubicBezTo>
                  <a:pt x="315236" y="636790"/>
                  <a:pt x="320703" y="642257"/>
                  <a:pt x="327993" y="644079"/>
                </a:cubicBezTo>
                <a:cubicBezTo>
                  <a:pt x="333458" y="644079"/>
                  <a:pt x="324347" y="638612"/>
                  <a:pt x="327993" y="638612"/>
                </a:cubicBezTo>
                <a:cubicBezTo>
                  <a:pt x="324347" y="634968"/>
                  <a:pt x="320703" y="627679"/>
                  <a:pt x="313414" y="629501"/>
                </a:cubicBezTo>
                <a:close/>
                <a:moveTo>
                  <a:pt x="1180086" y="629046"/>
                </a:moveTo>
                <a:cubicBezTo>
                  <a:pt x="1178947" y="629046"/>
                  <a:pt x="1177125" y="629501"/>
                  <a:pt x="1175303" y="629501"/>
                </a:cubicBezTo>
                <a:cubicBezTo>
                  <a:pt x="1177125" y="633146"/>
                  <a:pt x="1178947" y="629501"/>
                  <a:pt x="1180769" y="631324"/>
                </a:cubicBezTo>
                <a:cubicBezTo>
                  <a:pt x="1181680" y="629502"/>
                  <a:pt x="1181224" y="629046"/>
                  <a:pt x="1180086" y="629046"/>
                </a:cubicBezTo>
                <a:close/>
                <a:moveTo>
                  <a:pt x="1403074" y="627679"/>
                </a:moveTo>
                <a:cubicBezTo>
                  <a:pt x="1401252" y="629501"/>
                  <a:pt x="1397608" y="631324"/>
                  <a:pt x="1399430" y="634968"/>
                </a:cubicBezTo>
                <a:cubicBezTo>
                  <a:pt x="1399430" y="634968"/>
                  <a:pt x="1397608" y="633146"/>
                  <a:pt x="1397608" y="633146"/>
                </a:cubicBezTo>
                <a:cubicBezTo>
                  <a:pt x="1393963" y="636790"/>
                  <a:pt x="1393963" y="638612"/>
                  <a:pt x="1395787" y="642257"/>
                </a:cubicBezTo>
                <a:cubicBezTo>
                  <a:pt x="1397608" y="640435"/>
                  <a:pt x="1397608" y="636790"/>
                  <a:pt x="1401252" y="640435"/>
                </a:cubicBezTo>
                <a:cubicBezTo>
                  <a:pt x="1404896" y="636790"/>
                  <a:pt x="1404896" y="634968"/>
                  <a:pt x="1406719" y="631324"/>
                </a:cubicBezTo>
                <a:cubicBezTo>
                  <a:pt x="1404896" y="631324"/>
                  <a:pt x="1404896" y="629501"/>
                  <a:pt x="1403074" y="627679"/>
                </a:cubicBezTo>
                <a:close/>
                <a:moveTo>
                  <a:pt x="1191703" y="627679"/>
                </a:moveTo>
                <a:cubicBezTo>
                  <a:pt x="1189880" y="625857"/>
                  <a:pt x="1184414" y="629501"/>
                  <a:pt x="1188058" y="631324"/>
                </a:cubicBezTo>
                <a:cubicBezTo>
                  <a:pt x="1189880" y="629501"/>
                  <a:pt x="1189880" y="629501"/>
                  <a:pt x="1191703" y="627679"/>
                </a:cubicBezTo>
                <a:close/>
                <a:moveTo>
                  <a:pt x="1137037" y="627679"/>
                </a:moveTo>
                <a:cubicBezTo>
                  <a:pt x="1135215" y="625857"/>
                  <a:pt x="1133393" y="633146"/>
                  <a:pt x="1131570" y="634968"/>
                </a:cubicBezTo>
                <a:cubicBezTo>
                  <a:pt x="1135215" y="634968"/>
                  <a:pt x="1137037" y="629501"/>
                  <a:pt x="1137037" y="627679"/>
                </a:cubicBezTo>
                <a:close/>
                <a:moveTo>
                  <a:pt x="936598" y="627679"/>
                </a:moveTo>
                <a:lnTo>
                  <a:pt x="936442" y="636691"/>
                </a:lnTo>
                <a:lnTo>
                  <a:pt x="935231" y="638157"/>
                </a:lnTo>
                <a:cubicBezTo>
                  <a:pt x="932042" y="641802"/>
                  <a:pt x="929309" y="644079"/>
                  <a:pt x="929309" y="640435"/>
                </a:cubicBezTo>
                <a:lnTo>
                  <a:pt x="936504" y="627737"/>
                </a:lnTo>
                <a:close/>
                <a:moveTo>
                  <a:pt x="854600" y="627679"/>
                </a:moveTo>
                <a:cubicBezTo>
                  <a:pt x="850956" y="634968"/>
                  <a:pt x="843667" y="638612"/>
                  <a:pt x="845489" y="642257"/>
                </a:cubicBezTo>
                <a:cubicBezTo>
                  <a:pt x="845489" y="649545"/>
                  <a:pt x="850956" y="645901"/>
                  <a:pt x="854600" y="647723"/>
                </a:cubicBezTo>
                <a:cubicBezTo>
                  <a:pt x="852778" y="640435"/>
                  <a:pt x="860066" y="634968"/>
                  <a:pt x="854600" y="627679"/>
                </a:cubicBezTo>
                <a:close/>
                <a:moveTo>
                  <a:pt x="845489" y="627679"/>
                </a:moveTo>
                <a:cubicBezTo>
                  <a:pt x="841845" y="631324"/>
                  <a:pt x="841845" y="633146"/>
                  <a:pt x="841845" y="636790"/>
                </a:cubicBezTo>
                <a:cubicBezTo>
                  <a:pt x="841845" y="633146"/>
                  <a:pt x="849133" y="629501"/>
                  <a:pt x="845489" y="627679"/>
                </a:cubicBezTo>
                <a:close/>
                <a:moveTo>
                  <a:pt x="756203" y="627679"/>
                </a:moveTo>
                <a:cubicBezTo>
                  <a:pt x="756203" y="631324"/>
                  <a:pt x="756203" y="634968"/>
                  <a:pt x="756203" y="638612"/>
                </a:cubicBezTo>
                <a:cubicBezTo>
                  <a:pt x="759848" y="634968"/>
                  <a:pt x="759848" y="633146"/>
                  <a:pt x="761670" y="631324"/>
                </a:cubicBezTo>
                <a:cubicBezTo>
                  <a:pt x="759848" y="631324"/>
                  <a:pt x="758025" y="629501"/>
                  <a:pt x="756203" y="627679"/>
                </a:cubicBezTo>
                <a:close/>
                <a:moveTo>
                  <a:pt x="697893" y="627679"/>
                </a:moveTo>
                <a:cubicBezTo>
                  <a:pt x="699715" y="633146"/>
                  <a:pt x="697893" y="636790"/>
                  <a:pt x="699715" y="642257"/>
                </a:cubicBezTo>
                <a:cubicBezTo>
                  <a:pt x="707004" y="636790"/>
                  <a:pt x="705182" y="633146"/>
                  <a:pt x="708826" y="627679"/>
                </a:cubicBezTo>
                <a:cubicBezTo>
                  <a:pt x="705182" y="625857"/>
                  <a:pt x="701537" y="625857"/>
                  <a:pt x="697893" y="627679"/>
                </a:cubicBezTo>
                <a:close/>
                <a:moveTo>
                  <a:pt x="158529" y="627679"/>
                </a:moveTo>
                <a:cubicBezTo>
                  <a:pt x="160352" y="629501"/>
                  <a:pt x="162174" y="629501"/>
                  <a:pt x="162174" y="631324"/>
                </a:cubicBezTo>
                <a:cubicBezTo>
                  <a:pt x="160352" y="634968"/>
                  <a:pt x="165818" y="636790"/>
                  <a:pt x="165818" y="640435"/>
                </a:cubicBezTo>
                <a:cubicBezTo>
                  <a:pt x="163996" y="640435"/>
                  <a:pt x="158529" y="633146"/>
                  <a:pt x="158529" y="627679"/>
                </a:cubicBezTo>
                <a:close/>
                <a:moveTo>
                  <a:pt x="2771389" y="627633"/>
                </a:moveTo>
                <a:lnTo>
                  <a:pt x="2771527" y="627679"/>
                </a:lnTo>
                <a:lnTo>
                  <a:pt x="2771414" y="627980"/>
                </a:lnTo>
                <a:close/>
                <a:moveTo>
                  <a:pt x="1225958" y="626587"/>
                </a:moveTo>
                <a:lnTo>
                  <a:pt x="1224501" y="629501"/>
                </a:lnTo>
                <a:lnTo>
                  <a:pt x="1222585" y="629354"/>
                </a:lnTo>
                <a:lnTo>
                  <a:pt x="1224956" y="627680"/>
                </a:lnTo>
                <a:close/>
                <a:moveTo>
                  <a:pt x="2961033" y="625857"/>
                </a:moveTo>
                <a:cubicBezTo>
                  <a:pt x="2959211" y="625857"/>
                  <a:pt x="2968322" y="629501"/>
                  <a:pt x="2961033" y="633146"/>
                </a:cubicBezTo>
                <a:cubicBezTo>
                  <a:pt x="2966500" y="644079"/>
                  <a:pt x="2979255" y="645901"/>
                  <a:pt x="2990188" y="653190"/>
                </a:cubicBezTo>
                <a:cubicBezTo>
                  <a:pt x="2986543" y="655012"/>
                  <a:pt x="2984721" y="653190"/>
                  <a:pt x="2982899" y="653190"/>
                </a:cubicBezTo>
                <a:cubicBezTo>
                  <a:pt x="2982899" y="653190"/>
                  <a:pt x="2984721" y="653190"/>
                  <a:pt x="2984721" y="655012"/>
                </a:cubicBezTo>
                <a:cubicBezTo>
                  <a:pt x="2981077" y="655012"/>
                  <a:pt x="2977432" y="653190"/>
                  <a:pt x="2975610" y="658656"/>
                </a:cubicBezTo>
                <a:cubicBezTo>
                  <a:pt x="2973788" y="665945"/>
                  <a:pt x="2981077" y="665945"/>
                  <a:pt x="2984721" y="664123"/>
                </a:cubicBezTo>
                <a:cubicBezTo>
                  <a:pt x="2984721" y="662301"/>
                  <a:pt x="2984721" y="662301"/>
                  <a:pt x="2986543" y="660478"/>
                </a:cubicBezTo>
                <a:cubicBezTo>
                  <a:pt x="2990188" y="658656"/>
                  <a:pt x="2988366" y="665945"/>
                  <a:pt x="2992010" y="664123"/>
                </a:cubicBezTo>
                <a:cubicBezTo>
                  <a:pt x="2988366" y="664123"/>
                  <a:pt x="2986543" y="667767"/>
                  <a:pt x="2981077" y="665945"/>
                </a:cubicBezTo>
                <a:cubicBezTo>
                  <a:pt x="2982899" y="671411"/>
                  <a:pt x="2988366" y="673234"/>
                  <a:pt x="2992010" y="675056"/>
                </a:cubicBezTo>
                <a:cubicBezTo>
                  <a:pt x="2993832" y="676878"/>
                  <a:pt x="2999299" y="673234"/>
                  <a:pt x="3001121" y="675056"/>
                </a:cubicBezTo>
                <a:cubicBezTo>
                  <a:pt x="3008410" y="682345"/>
                  <a:pt x="3019343" y="685989"/>
                  <a:pt x="3026631" y="680522"/>
                </a:cubicBezTo>
                <a:cubicBezTo>
                  <a:pt x="3026631" y="684167"/>
                  <a:pt x="3028453" y="684167"/>
                  <a:pt x="3030276" y="685989"/>
                </a:cubicBezTo>
                <a:cubicBezTo>
                  <a:pt x="3032098" y="685989"/>
                  <a:pt x="3033920" y="685989"/>
                  <a:pt x="3033920" y="684167"/>
                </a:cubicBezTo>
                <a:cubicBezTo>
                  <a:pt x="3033920" y="682345"/>
                  <a:pt x="3032098" y="682345"/>
                  <a:pt x="3032098" y="680522"/>
                </a:cubicBezTo>
                <a:cubicBezTo>
                  <a:pt x="3035742" y="687811"/>
                  <a:pt x="3044853" y="689633"/>
                  <a:pt x="3052142" y="687811"/>
                </a:cubicBezTo>
                <a:cubicBezTo>
                  <a:pt x="3053964" y="685989"/>
                  <a:pt x="3053964" y="685989"/>
                  <a:pt x="3053964" y="684167"/>
                </a:cubicBezTo>
                <a:lnTo>
                  <a:pt x="3044853" y="675056"/>
                </a:lnTo>
                <a:lnTo>
                  <a:pt x="3077652" y="680522"/>
                </a:lnTo>
                <a:lnTo>
                  <a:pt x="3075830" y="684167"/>
                </a:lnTo>
                <a:cubicBezTo>
                  <a:pt x="3077652" y="682345"/>
                  <a:pt x="3079474" y="680522"/>
                  <a:pt x="3081297" y="680522"/>
                </a:cubicBezTo>
                <a:cubicBezTo>
                  <a:pt x="3081297" y="682345"/>
                  <a:pt x="3081297" y="682345"/>
                  <a:pt x="3081297" y="684167"/>
                </a:cubicBezTo>
                <a:cubicBezTo>
                  <a:pt x="3090407" y="680522"/>
                  <a:pt x="3083119" y="665945"/>
                  <a:pt x="3092230" y="673234"/>
                </a:cubicBezTo>
                <a:cubicBezTo>
                  <a:pt x="3094052" y="675056"/>
                  <a:pt x="3097696" y="675056"/>
                  <a:pt x="3097696" y="678700"/>
                </a:cubicBezTo>
                <a:cubicBezTo>
                  <a:pt x="3103163" y="675056"/>
                  <a:pt x="3106807" y="676878"/>
                  <a:pt x="3112274" y="678700"/>
                </a:cubicBezTo>
                <a:cubicBezTo>
                  <a:pt x="3119562" y="680522"/>
                  <a:pt x="3128673" y="675056"/>
                  <a:pt x="3126851" y="667767"/>
                </a:cubicBezTo>
                <a:cubicBezTo>
                  <a:pt x="3123206" y="660478"/>
                  <a:pt x="3115918" y="658656"/>
                  <a:pt x="3108629" y="653190"/>
                </a:cubicBezTo>
                <a:cubicBezTo>
                  <a:pt x="3108629" y="651368"/>
                  <a:pt x="3110451" y="649545"/>
                  <a:pt x="3112274" y="647723"/>
                </a:cubicBezTo>
                <a:cubicBezTo>
                  <a:pt x="3114096" y="656834"/>
                  <a:pt x="3125029" y="658656"/>
                  <a:pt x="3132317" y="658656"/>
                </a:cubicBezTo>
                <a:cubicBezTo>
                  <a:pt x="3126851" y="655012"/>
                  <a:pt x="3135962" y="647723"/>
                  <a:pt x="3128673" y="649545"/>
                </a:cubicBezTo>
                <a:cubicBezTo>
                  <a:pt x="3128673" y="649545"/>
                  <a:pt x="3128673" y="653190"/>
                  <a:pt x="3130495" y="655012"/>
                </a:cubicBezTo>
                <a:cubicBezTo>
                  <a:pt x="3123206" y="651368"/>
                  <a:pt x="3117740" y="645901"/>
                  <a:pt x="3110451" y="644079"/>
                </a:cubicBezTo>
                <a:cubicBezTo>
                  <a:pt x="3099518" y="644079"/>
                  <a:pt x="3086763" y="636790"/>
                  <a:pt x="3075830" y="644079"/>
                </a:cubicBezTo>
                <a:cubicBezTo>
                  <a:pt x="3075830" y="645901"/>
                  <a:pt x="3070363" y="642257"/>
                  <a:pt x="3068541" y="640435"/>
                </a:cubicBezTo>
                <a:cubicBezTo>
                  <a:pt x="3066719" y="645901"/>
                  <a:pt x="3072186" y="649545"/>
                  <a:pt x="3074008" y="649545"/>
                </a:cubicBezTo>
                <a:cubicBezTo>
                  <a:pt x="3079474" y="651368"/>
                  <a:pt x="3092230" y="640435"/>
                  <a:pt x="3094052" y="651368"/>
                </a:cubicBezTo>
                <a:cubicBezTo>
                  <a:pt x="3095874" y="656834"/>
                  <a:pt x="3086763" y="664123"/>
                  <a:pt x="3095874" y="667767"/>
                </a:cubicBezTo>
                <a:cubicBezTo>
                  <a:pt x="3090407" y="665945"/>
                  <a:pt x="3077652" y="665945"/>
                  <a:pt x="3079474" y="675056"/>
                </a:cubicBezTo>
                <a:cubicBezTo>
                  <a:pt x="3077652" y="671411"/>
                  <a:pt x="3079474" y="665945"/>
                  <a:pt x="3077652" y="660478"/>
                </a:cubicBezTo>
                <a:cubicBezTo>
                  <a:pt x="3079474" y="660478"/>
                  <a:pt x="3081297" y="660478"/>
                  <a:pt x="3083119" y="660478"/>
                </a:cubicBezTo>
                <a:cubicBezTo>
                  <a:pt x="3072186" y="651368"/>
                  <a:pt x="3059430" y="638612"/>
                  <a:pt x="3048497" y="653190"/>
                </a:cubicBezTo>
                <a:cubicBezTo>
                  <a:pt x="3046675" y="640435"/>
                  <a:pt x="3035742" y="636790"/>
                  <a:pt x="3024809" y="638612"/>
                </a:cubicBezTo>
                <a:cubicBezTo>
                  <a:pt x="3024809" y="640435"/>
                  <a:pt x="3026631" y="642257"/>
                  <a:pt x="3026631" y="644079"/>
                </a:cubicBezTo>
                <a:cubicBezTo>
                  <a:pt x="3026631" y="645901"/>
                  <a:pt x="3022987" y="645901"/>
                  <a:pt x="3022987" y="644079"/>
                </a:cubicBezTo>
                <a:cubicBezTo>
                  <a:pt x="3022987" y="634968"/>
                  <a:pt x="3017521" y="636790"/>
                  <a:pt x="3010232" y="636790"/>
                </a:cubicBezTo>
                <a:cubicBezTo>
                  <a:pt x="3015698" y="644079"/>
                  <a:pt x="3015698" y="656834"/>
                  <a:pt x="3026631" y="658656"/>
                </a:cubicBezTo>
                <a:cubicBezTo>
                  <a:pt x="3022987" y="660478"/>
                  <a:pt x="3021165" y="656834"/>
                  <a:pt x="3019343" y="662301"/>
                </a:cubicBezTo>
                <a:cubicBezTo>
                  <a:pt x="3013876" y="656834"/>
                  <a:pt x="3017521" y="642257"/>
                  <a:pt x="3006587" y="644079"/>
                </a:cubicBezTo>
                <a:cubicBezTo>
                  <a:pt x="2995654" y="644079"/>
                  <a:pt x="3013876" y="653190"/>
                  <a:pt x="3006587" y="660478"/>
                </a:cubicBezTo>
                <a:cubicBezTo>
                  <a:pt x="3004765" y="660478"/>
                  <a:pt x="3002943" y="660478"/>
                  <a:pt x="3001121" y="658656"/>
                </a:cubicBezTo>
                <a:cubicBezTo>
                  <a:pt x="3001121" y="662301"/>
                  <a:pt x="3004765" y="667767"/>
                  <a:pt x="3002943" y="671411"/>
                </a:cubicBezTo>
                <a:cubicBezTo>
                  <a:pt x="3001121" y="665945"/>
                  <a:pt x="2995654" y="665945"/>
                  <a:pt x="2992010" y="664123"/>
                </a:cubicBezTo>
                <a:cubicBezTo>
                  <a:pt x="2993832" y="664123"/>
                  <a:pt x="2995654" y="660478"/>
                  <a:pt x="2995654" y="658656"/>
                </a:cubicBezTo>
                <a:cubicBezTo>
                  <a:pt x="2993832" y="656834"/>
                  <a:pt x="2992010" y="656834"/>
                  <a:pt x="2990188" y="655012"/>
                </a:cubicBezTo>
                <a:cubicBezTo>
                  <a:pt x="2995654" y="649545"/>
                  <a:pt x="2986543" y="647723"/>
                  <a:pt x="2986543" y="642257"/>
                </a:cubicBezTo>
                <a:cubicBezTo>
                  <a:pt x="2988366" y="644079"/>
                  <a:pt x="2993832" y="644079"/>
                  <a:pt x="2995654" y="642257"/>
                </a:cubicBezTo>
                <a:cubicBezTo>
                  <a:pt x="2999299" y="634968"/>
                  <a:pt x="2992010" y="627679"/>
                  <a:pt x="2984721" y="627679"/>
                </a:cubicBezTo>
                <a:cubicBezTo>
                  <a:pt x="2975610" y="629501"/>
                  <a:pt x="2971966" y="622213"/>
                  <a:pt x="2961033" y="625857"/>
                </a:cubicBezTo>
                <a:close/>
                <a:moveTo>
                  <a:pt x="2578377" y="625857"/>
                </a:moveTo>
                <a:cubicBezTo>
                  <a:pt x="2561977" y="627679"/>
                  <a:pt x="2576554" y="633146"/>
                  <a:pt x="2572910" y="636790"/>
                </a:cubicBezTo>
                <a:cubicBezTo>
                  <a:pt x="2574732" y="636790"/>
                  <a:pt x="2576554" y="636790"/>
                  <a:pt x="2580199" y="636790"/>
                </a:cubicBezTo>
                <a:cubicBezTo>
                  <a:pt x="2580199" y="631324"/>
                  <a:pt x="2578377" y="631324"/>
                  <a:pt x="2578377" y="625857"/>
                </a:cubicBezTo>
                <a:close/>
                <a:moveTo>
                  <a:pt x="1291922" y="625857"/>
                </a:moveTo>
                <a:cubicBezTo>
                  <a:pt x="1288277" y="627679"/>
                  <a:pt x="1290100" y="629501"/>
                  <a:pt x="1291922" y="631324"/>
                </a:cubicBezTo>
                <a:cubicBezTo>
                  <a:pt x="1293744" y="629501"/>
                  <a:pt x="1293744" y="629501"/>
                  <a:pt x="1293744" y="627679"/>
                </a:cubicBezTo>
                <a:cubicBezTo>
                  <a:pt x="1293744" y="625857"/>
                  <a:pt x="1291922" y="627679"/>
                  <a:pt x="1291922" y="625857"/>
                </a:cubicBezTo>
                <a:close/>
                <a:moveTo>
                  <a:pt x="1200814" y="625857"/>
                </a:moveTo>
                <a:cubicBezTo>
                  <a:pt x="1198991" y="625857"/>
                  <a:pt x="1202636" y="627679"/>
                  <a:pt x="1198991" y="629501"/>
                </a:cubicBezTo>
                <a:cubicBezTo>
                  <a:pt x="1202636" y="631324"/>
                  <a:pt x="1204457" y="625857"/>
                  <a:pt x="1200814" y="625857"/>
                </a:cubicBezTo>
                <a:close/>
                <a:moveTo>
                  <a:pt x="1118815" y="625857"/>
                </a:moveTo>
                <a:cubicBezTo>
                  <a:pt x="1113349" y="631324"/>
                  <a:pt x="1107882" y="640435"/>
                  <a:pt x="1116993" y="642257"/>
                </a:cubicBezTo>
                <a:cubicBezTo>
                  <a:pt x="1120637" y="638612"/>
                  <a:pt x="1118815" y="636790"/>
                  <a:pt x="1122459" y="638612"/>
                </a:cubicBezTo>
                <a:cubicBezTo>
                  <a:pt x="1124282" y="633146"/>
                  <a:pt x="1124282" y="627679"/>
                  <a:pt x="1118815" y="625857"/>
                </a:cubicBezTo>
                <a:close/>
                <a:moveTo>
                  <a:pt x="1040462" y="625857"/>
                </a:moveTo>
                <a:cubicBezTo>
                  <a:pt x="1038639" y="629501"/>
                  <a:pt x="1038639" y="633146"/>
                  <a:pt x="1038639" y="634968"/>
                </a:cubicBezTo>
                <a:lnTo>
                  <a:pt x="1038200" y="634684"/>
                </a:lnTo>
                <a:close/>
                <a:moveTo>
                  <a:pt x="907444" y="625857"/>
                </a:moveTo>
                <a:cubicBezTo>
                  <a:pt x="905621" y="627679"/>
                  <a:pt x="905621" y="631324"/>
                  <a:pt x="905621" y="633146"/>
                </a:cubicBezTo>
                <a:cubicBezTo>
                  <a:pt x="907444" y="633146"/>
                  <a:pt x="911087" y="625857"/>
                  <a:pt x="907444" y="625857"/>
                </a:cubicBezTo>
                <a:close/>
                <a:moveTo>
                  <a:pt x="736159" y="625857"/>
                </a:moveTo>
                <a:cubicBezTo>
                  <a:pt x="734336" y="627679"/>
                  <a:pt x="739803" y="631324"/>
                  <a:pt x="741626" y="633146"/>
                </a:cubicBezTo>
                <a:cubicBezTo>
                  <a:pt x="745269" y="629501"/>
                  <a:pt x="739803" y="627679"/>
                  <a:pt x="736159" y="625857"/>
                </a:cubicBezTo>
                <a:close/>
                <a:moveTo>
                  <a:pt x="717937" y="625857"/>
                </a:moveTo>
                <a:cubicBezTo>
                  <a:pt x="717937" y="627679"/>
                  <a:pt x="717937" y="627679"/>
                  <a:pt x="719759" y="629501"/>
                </a:cubicBezTo>
                <a:cubicBezTo>
                  <a:pt x="716115" y="625857"/>
                  <a:pt x="714293" y="625857"/>
                  <a:pt x="710648" y="627679"/>
                </a:cubicBezTo>
                <a:cubicBezTo>
                  <a:pt x="707004" y="642257"/>
                  <a:pt x="688782" y="653190"/>
                  <a:pt x="699715" y="669589"/>
                </a:cubicBezTo>
                <a:cubicBezTo>
                  <a:pt x="703359" y="667767"/>
                  <a:pt x="703359" y="664123"/>
                  <a:pt x="705182" y="660478"/>
                </a:cubicBezTo>
                <a:cubicBezTo>
                  <a:pt x="705182" y="667767"/>
                  <a:pt x="697893" y="671411"/>
                  <a:pt x="699715" y="675056"/>
                </a:cubicBezTo>
                <a:cubicBezTo>
                  <a:pt x="705182" y="684167"/>
                  <a:pt x="716115" y="678700"/>
                  <a:pt x="717937" y="669589"/>
                </a:cubicBezTo>
                <a:cubicBezTo>
                  <a:pt x="719759" y="665945"/>
                  <a:pt x="714293" y="665945"/>
                  <a:pt x="710648" y="665945"/>
                </a:cubicBezTo>
                <a:cubicBezTo>
                  <a:pt x="712470" y="665945"/>
                  <a:pt x="714293" y="662301"/>
                  <a:pt x="714293" y="658656"/>
                </a:cubicBezTo>
                <a:cubicBezTo>
                  <a:pt x="714293" y="658656"/>
                  <a:pt x="716115" y="658656"/>
                  <a:pt x="716115" y="662301"/>
                </a:cubicBezTo>
                <a:cubicBezTo>
                  <a:pt x="717937" y="660478"/>
                  <a:pt x="719759" y="660478"/>
                  <a:pt x="719759" y="656834"/>
                </a:cubicBezTo>
                <a:lnTo>
                  <a:pt x="725522" y="664632"/>
                </a:lnTo>
                <a:lnTo>
                  <a:pt x="723404" y="664123"/>
                </a:lnTo>
                <a:cubicBezTo>
                  <a:pt x="723404" y="685989"/>
                  <a:pt x="741626" y="675056"/>
                  <a:pt x="750737" y="676878"/>
                </a:cubicBezTo>
                <a:cubicBezTo>
                  <a:pt x="745269" y="671411"/>
                  <a:pt x="736159" y="667767"/>
                  <a:pt x="730692" y="669589"/>
                </a:cubicBezTo>
                <a:lnTo>
                  <a:pt x="729941" y="667660"/>
                </a:lnTo>
                <a:lnTo>
                  <a:pt x="743447" y="669589"/>
                </a:lnTo>
                <a:cubicBezTo>
                  <a:pt x="741626" y="667767"/>
                  <a:pt x="741626" y="665945"/>
                  <a:pt x="737981" y="665945"/>
                </a:cubicBezTo>
                <a:cubicBezTo>
                  <a:pt x="748914" y="667767"/>
                  <a:pt x="756203" y="676878"/>
                  <a:pt x="765313" y="676878"/>
                </a:cubicBezTo>
                <a:cubicBezTo>
                  <a:pt x="752558" y="671411"/>
                  <a:pt x="747092" y="655012"/>
                  <a:pt x="732515" y="655012"/>
                </a:cubicBezTo>
                <a:lnTo>
                  <a:pt x="734336" y="653190"/>
                </a:lnTo>
                <a:cubicBezTo>
                  <a:pt x="732515" y="651368"/>
                  <a:pt x="730692" y="651368"/>
                  <a:pt x="728870" y="649545"/>
                </a:cubicBezTo>
                <a:lnTo>
                  <a:pt x="734336" y="649545"/>
                </a:lnTo>
                <a:lnTo>
                  <a:pt x="737981" y="649545"/>
                </a:lnTo>
                <a:cubicBezTo>
                  <a:pt x="732515" y="642257"/>
                  <a:pt x="723404" y="644079"/>
                  <a:pt x="717937" y="638612"/>
                </a:cubicBezTo>
                <a:cubicBezTo>
                  <a:pt x="727048" y="638612"/>
                  <a:pt x="732515" y="640435"/>
                  <a:pt x="739803" y="645901"/>
                </a:cubicBezTo>
                <a:cubicBezTo>
                  <a:pt x="732515" y="642257"/>
                  <a:pt x="727048" y="633146"/>
                  <a:pt x="717937" y="631324"/>
                </a:cubicBezTo>
                <a:cubicBezTo>
                  <a:pt x="719759" y="629501"/>
                  <a:pt x="721581" y="627679"/>
                  <a:pt x="725226" y="627679"/>
                </a:cubicBezTo>
                <a:cubicBezTo>
                  <a:pt x="723404" y="625857"/>
                  <a:pt x="721581" y="625857"/>
                  <a:pt x="717937" y="625857"/>
                </a:cubicBezTo>
                <a:close/>
                <a:moveTo>
                  <a:pt x="692426" y="625857"/>
                </a:moveTo>
                <a:cubicBezTo>
                  <a:pt x="686960" y="633146"/>
                  <a:pt x="685138" y="642257"/>
                  <a:pt x="686960" y="651368"/>
                </a:cubicBezTo>
                <a:lnTo>
                  <a:pt x="685024" y="654030"/>
                </a:lnTo>
                <a:lnTo>
                  <a:pt x="683316" y="649545"/>
                </a:lnTo>
                <a:cubicBezTo>
                  <a:pt x="690604" y="644079"/>
                  <a:pt x="685138" y="636790"/>
                  <a:pt x="679671" y="633146"/>
                </a:cubicBezTo>
                <a:cubicBezTo>
                  <a:pt x="683316" y="633146"/>
                  <a:pt x="685138" y="636790"/>
                  <a:pt x="686960" y="636790"/>
                </a:cubicBezTo>
                <a:cubicBezTo>
                  <a:pt x="690604" y="633146"/>
                  <a:pt x="692426" y="629501"/>
                  <a:pt x="690604" y="627679"/>
                </a:cubicBezTo>
                <a:cubicBezTo>
                  <a:pt x="688782" y="625857"/>
                  <a:pt x="683316" y="629501"/>
                  <a:pt x="679671" y="627679"/>
                </a:cubicBezTo>
                <a:cubicBezTo>
                  <a:pt x="676027" y="638612"/>
                  <a:pt x="668738" y="647723"/>
                  <a:pt x="681493" y="660478"/>
                </a:cubicBezTo>
                <a:lnTo>
                  <a:pt x="681974" y="659666"/>
                </a:lnTo>
                <a:lnTo>
                  <a:pt x="686960" y="667767"/>
                </a:lnTo>
                <a:cubicBezTo>
                  <a:pt x="692426" y="664123"/>
                  <a:pt x="690604" y="660478"/>
                  <a:pt x="688782" y="656834"/>
                </a:cubicBezTo>
                <a:cubicBezTo>
                  <a:pt x="690604" y="656834"/>
                  <a:pt x="692426" y="658656"/>
                  <a:pt x="692426" y="658656"/>
                </a:cubicBezTo>
                <a:cubicBezTo>
                  <a:pt x="697893" y="649545"/>
                  <a:pt x="699715" y="638612"/>
                  <a:pt x="692426" y="625857"/>
                </a:cubicBezTo>
                <a:close/>
                <a:moveTo>
                  <a:pt x="338926" y="625857"/>
                </a:moveTo>
                <a:cubicBezTo>
                  <a:pt x="340747" y="629501"/>
                  <a:pt x="344391" y="629501"/>
                  <a:pt x="346213" y="631324"/>
                </a:cubicBezTo>
                <a:cubicBezTo>
                  <a:pt x="346213" y="629501"/>
                  <a:pt x="346213" y="627679"/>
                  <a:pt x="344391" y="625857"/>
                </a:cubicBezTo>
                <a:cubicBezTo>
                  <a:pt x="342569" y="627679"/>
                  <a:pt x="340747" y="624035"/>
                  <a:pt x="338926" y="625857"/>
                </a:cubicBezTo>
                <a:close/>
                <a:moveTo>
                  <a:pt x="331636" y="625857"/>
                </a:moveTo>
                <a:cubicBezTo>
                  <a:pt x="327993" y="629501"/>
                  <a:pt x="337102" y="634968"/>
                  <a:pt x="338926" y="638612"/>
                </a:cubicBezTo>
                <a:cubicBezTo>
                  <a:pt x="338926" y="633146"/>
                  <a:pt x="337102" y="627679"/>
                  <a:pt x="331636" y="625857"/>
                </a:cubicBezTo>
                <a:close/>
                <a:moveTo>
                  <a:pt x="2902724" y="624035"/>
                </a:moveTo>
                <a:cubicBezTo>
                  <a:pt x="2904546" y="627679"/>
                  <a:pt x="2902724" y="629501"/>
                  <a:pt x="2900901" y="629501"/>
                </a:cubicBezTo>
                <a:cubicBezTo>
                  <a:pt x="2899079" y="629501"/>
                  <a:pt x="2897257" y="625857"/>
                  <a:pt x="2893613" y="625857"/>
                </a:cubicBezTo>
                <a:cubicBezTo>
                  <a:pt x="2897257" y="629501"/>
                  <a:pt x="2899079" y="633146"/>
                  <a:pt x="2902724" y="636790"/>
                </a:cubicBezTo>
                <a:cubicBezTo>
                  <a:pt x="2902724" y="634968"/>
                  <a:pt x="2906368" y="631324"/>
                  <a:pt x="2908190" y="631324"/>
                </a:cubicBezTo>
                <a:cubicBezTo>
                  <a:pt x="2908190" y="627679"/>
                  <a:pt x="2908190" y="624035"/>
                  <a:pt x="2902724" y="624035"/>
                </a:cubicBezTo>
                <a:close/>
                <a:moveTo>
                  <a:pt x="1434051" y="624035"/>
                </a:moveTo>
                <a:cubicBezTo>
                  <a:pt x="1432229" y="622213"/>
                  <a:pt x="1434051" y="625857"/>
                  <a:pt x="1430407" y="625857"/>
                </a:cubicBezTo>
                <a:cubicBezTo>
                  <a:pt x="1430407" y="627679"/>
                  <a:pt x="1430407" y="629501"/>
                  <a:pt x="1432229" y="631324"/>
                </a:cubicBezTo>
                <a:cubicBezTo>
                  <a:pt x="1430407" y="634968"/>
                  <a:pt x="1426763" y="631324"/>
                  <a:pt x="1428585" y="636790"/>
                </a:cubicBezTo>
                <a:cubicBezTo>
                  <a:pt x="1430407" y="636790"/>
                  <a:pt x="1430407" y="636790"/>
                  <a:pt x="1432229" y="634968"/>
                </a:cubicBezTo>
                <a:cubicBezTo>
                  <a:pt x="1434051" y="633146"/>
                  <a:pt x="1430407" y="633146"/>
                  <a:pt x="1432229" y="631324"/>
                </a:cubicBezTo>
                <a:cubicBezTo>
                  <a:pt x="1435873" y="629501"/>
                  <a:pt x="1434051" y="625857"/>
                  <a:pt x="1434051" y="624035"/>
                </a:cubicBezTo>
                <a:close/>
                <a:moveTo>
                  <a:pt x="643228" y="624035"/>
                </a:moveTo>
                <a:cubicBezTo>
                  <a:pt x="635939" y="627679"/>
                  <a:pt x="645050" y="634968"/>
                  <a:pt x="648694" y="636790"/>
                </a:cubicBezTo>
                <a:cubicBezTo>
                  <a:pt x="650516" y="634968"/>
                  <a:pt x="643228" y="631324"/>
                  <a:pt x="646872" y="629501"/>
                </a:cubicBezTo>
                <a:cubicBezTo>
                  <a:pt x="648694" y="629501"/>
                  <a:pt x="648694" y="631324"/>
                  <a:pt x="650516" y="633146"/>
                </a:cubicBezTo>
                <a:cubicBezTo>
                  <a:pt x="652339" y="629501"/>
                  <a:pt x="645050" y="629501"/>
                  <a:pt x="643228" y="624035"/>
                </a:cubicBezTo>
                <a:close/>
                <a:moveTo>
                  <a:pt x="628650" y="624035"/>
                </a:moveTo>
                <a:cubicBezTo>
                  <a:pt x="628650" y="624035"/>
                  <a:pt x="629105" y="624491"/>
                  <a:pt x="629105" y="624946"/>
                </a:cubicBezTo>
                <a:lnTo>
                  <a:pt x="628315" y="625262"/>
                </a:lnTo>
                <a:close/>
                <a:moveTo>
                  <a:pt x="590385" y="624035"/>
                </a:moveTo>
                <a:cubicBezTo>
                  <a:pt x="590385" y="624035"/>
                  <a:pt x="588562" y="625857"/>
                  <a:pt x="586741" y="627679"/>
                </a:cubicBezTo>
                <a:cubicBezTo>
                  <a:pt x="588562" y="629501"/>
                  <a:pt x="590385" y="633146"/>
                  <a:pt x="594030" y="631324"/>
                </a:cubicBezTo>
                <a:cubicBezTo>
                  <a:pt x="590385" y="627679"/>
                  <a:pt x="594030" y="625857"/>
                  <a:pt x="590385" y="624035"/>
                </a:cubicBezTo>
                <a:close/>
                <a:moveTo>
                  <a:pt x="504743" y="624035"/>
                </a:moveTo>
                <a:cubicBezTo>
                  <a:pt x="504743" y="627679"/>
                  <a:pt x="499276" y="631324"/>
                  <a:pt x="502920" y="634968"/>
                </a:cubicBezTo>
                <a:cubicBezTo>
                  <a:pt x="506565" y="633146"/>
                  <a:pt x="506565" y="629501"/>
                  <a:pt x="504743" y="624035"/>
                </a:cubicBezTo>
                <a:close/>
                <a:moveTo>
                  <a:pt x="475589" y="624035"/>
                </a:moveTo>
                <a:cubicBezTo>
                  <a:pt x="477410" y="627679"/>
                  <a:pt x="481054" y="634968"/>
                  <a:pt x="486521" y="638612"/>
                </a:cubicBezTo>
                <a:cubicBezTo>
                  <a:pt x="490165" y="634968"/>
                  <a:pt x="482876" y="633146"/>
                  <a:pt x="486521" y="631324"/>
                </a:cubicBezTo>
                <a:cubicBezTo>
                  <a:pt x="484700" y="627679"/>
                  <a:pt x="481054" y="624035"/>
                  <a:pt x="475589" y="624035"/>
                </a:cubicBezTo>
                <a:close/>
                <a:moveTo>
                  <a:pt x="455544" y="624035"/>
                </a:moveTo>
                <a:cubicBezTo>
                  <a:pt x="455544" y="625857"/>
                  <a:pt x="451899" y="629501"/>
                  <a:pt x="453722" y="634968"/>
                </a:cubicBezTo>
                <a:cubicBezTo>
                  <a:pt x="457367" y="629501"/>
                  <a:pt x="453722" y="638612"/>
                  <a:pt x="459188" y="636790"/>
                </a:cubicBezTo>
                <a:cubicBezTo>
                  <a:pt x="455544" y="631324"/>
                  <a:pt x="457367" y="627679"/>
                  <a:pt x="455544" y="624035"/>
                </a:cubicBezTo>
                <a:close/>
                <a:moveTo>
                  <a:pt x="349858" y="624035"/>
                </a:moveTo>
                <a:cubicBezTo>
                  <a:pt x="346213" y="629501"/>
                  <a:pt x="355324" y="633146"/>
                  <a:pt x="358969" y="634968"/>
                </a:cubicBezTo>
                <a:cubicBezTo>
                  <a:pt x="358969" y="629501"/>
                  <a:pt x="353502" y="625857"/>
                  <a:pt x="349858" y="624035"/>
                </a:cubicBezTo>
                <a:close/>
                <a:moveTo>
                  <a:pt x="306126" y="624035"/>
                </a:moveTo>
                <a:cubicBezTo>
                  <a:pt x="306126" y="627679"/>
                  <a:pt x="307948" y="634968"/>
                  <a:pt x="313414" y="640435"/>
                </a:cubicBezTo>
                <a:cubicBezTo>
                  <a:pt x="317059" y="636790"/>
                  <a:pt x="311592" y="625857"/>
                  <a:pt x="306126" y="624035"/>
                </a:cubicBezTo>
                <a:close/>
                <a:moveTo>
                  <a:pt x="2565621" y="622213"/>
                </a:moveTo>
                <a:cubicBezTo>
                  <a:pt x="2549222" y="625857"/>
                  <a:pt x="2545577" y="624035"/>
                  <a:pt x="2551044" y="642257"/>
                </a:cubicBezTo>
                <a:cubicBezTo>
                  <a:pt x="2545577" y="638612"/>
                  <a:pt x="2540111" y="636790"/>
                  <a:pt x="2534644" y="636790"/>
                </a:cubicBezTo>
                <a:cubicBezTo>
                  <a:pt x="2532822" y="636790"/>
                  <a:pt x="2536466" y="642257"/>
                  <a:pt x="2534644" y="645901"/>
                </a:cubicBezTo>
                <a:cubicBezTo>
                  <a:pt x="2532822" y="644079"/>
                  <a:pt x="2532822" y="640435"/>
                  <a:pt x="2529178" y="640435"/>
                </a:cubicBezTo>
                <a:cubicBezTo>
                  <a:pt x="2532822" y="645901"/>
                  <a:pt x="2525534" y="665945"/>
                  <a:pt x="2538289" y="658656"/>
                </a:cubicBezTo>
                <a:cubicBezTo>
                  <a:pt x="2539200" y="657745"/>
                  <a:pt x="2539200" y="655012"/>
                  <a:pt x="2539883" y="652734"/>
                </a:cubicBezTo>
                <a:lnTo>
                  <a:pt x="2542302" y="651380"/>
                </a:lnTo>
                <a:lnTo>
                  <a:pt x="2549450" y="651596"/>
                </a:lnTo>
                <a:cubicBezTo>
                  <a:pt x="2551955" y="649546"/>
                  <a:pt x="2554688" y="646812"/>
                  <a:pt x="2558332" y="647723"/>
                </a:cubicBezTo>
                <a:cubicBezTo>
                  <a:pt x="2558332" y="645901"/>
                  <a:pt x="2558332" y="644079"/>
                  <a:pt x="2558332" y="642257"/>
                </a:cubicBezTo>
                <a:cubicBezTo>
                  <a:pt x="2558332" y="642257"/>
                  <a:pt x="2558332" y="642257"/>
                  <a:pt x="2560155" y="644079"/>
                </a:cubicBezTo>
                <a:cubicBezTo>
                  <a:pt x="2558332" y="634968"/>
                  <a:pt x="2567443" y="640435"/>
                  <a:pt x="2571088" y="640435"/>
                </a:cubicBezTo>
                <a:cubicBezTo>
                  <a:pt x="2569266" y="633146"/>
                  <a:pt x="2565621" y="629501"/>
                  <a:pt x="2565621" y="622213"/>
                </a:cubicBezTo>
                <a:close/>
                <a:moveTo>
                  <a:pt x="2337850" y="622213"/>
                </a:moveTo>
                <a:cubicBezTo>
                  <a:pt x="2334205" y="622213"/>
                  <a:pt x="2334205" y="625857"/>
                  <a:pt x="2334205" y="629501"/>
                </a:cubicBezTo>
                <a:cubicBezTo>
                  <a:pt x="2337850" y="631324"/>
                  <a:pt x="2339672" y="625857"/>
                  <a:pt x="2337850" y="622213"/>
                </a:cubicBezTo>
                <a:close/>
                <a:moveTo>
                  <a:pt x="1410363" y="622213"/>
                </a:moveTo>
                <a:cubicBezTo>
                  <a:pt x="1412185" y="624035"/>
                  <a:pt x="1410363" y="624035"/>
                  <a:pt x="1412185" y="624035"/>
                </a:cubicBezTo>
                <a:cubicBezTo>
                  <a:pt x="1415829" y="624035"/>
                  <a:pt x="1412185" y="620391"/>
                  <a:pt x="1410363" y="622213"/>
                </a:cubicBezTo>
                <a:close/>
                <a:moveTo>
                  <a:pt x="1089660" y="622213"/>
                </a:moveTo>
                <a:cubicBezTo>
                  <a:pt x="1091482" y="623124"/>
                  <a:pt x="1093760" y="624491"/>
                  <a:pt x="1095582" y="626313"/>
                </a:cubicBezTo>
                <a:lnTo>
                  <a:pt x="1096221" y="627681"/>
                </a:lnTo>
                <a:close/>
                <a:moveTo>
                  <a:pt x="697893" y="622213"/>
                </a:moveTo>
                <a:cubicBezTo>
                  <a:pt x="696071" y="625857"/>
                  <a:pt x="703359" y="624035"/>
                  <a:pt x="707004" y="625857"/>
                </a:cubicBezTo>
                <a:cubicBezTo>
                  <a:pt x="708826" y="625857"/>
                  <a:pt x="699715" y="624035"/>
                  <a:pt x="697893" y="622213"/>
                </a:cubicBezTo>
                <a:close/>
                <a:moveTo>
                  <a:pt x="641407" y="622213"/>
                </a:moveTo>
                <a:cubicBezTo>
                  <a:pt x="639583" y="624035"/>
                  <a:pt x="639583" y="622213"/>
                  <a:pt x="637761" y="624035"/>
                </a:cubicBezTo>
                <a:cubicBezTo>
                  <a:pt x="643228" y="627679"/>
                  <a:pt x="641407" y="624035"/>
                  <a:pt x="641407" y="622213"/>
                </a:cubicBezTo>
                <a:close/>
                <a:moveTo>
                  <a:pt x="559408" y="622213"/>
                </a:moveTo>
                <a:cubicBezTo>
                  <a:pt x="557586" y="624035"/>
                  <a:pt x="557586" y="627679"/>
                  <a:pt x="555763" y="629501"/>
                </a:cubicBezTo>
                <a:cubicBezTo>
                  <a:pt x="557586" y="631324"/>
                  <a:pt x="557586" y="633146"/>
                  <a:pt x="559408" y="634968"/>
                </a:cubicBezTo>
                <a:cubicBezTo>
                  <a:pt x="561230" y="633146"/>
                  <a:pt x="563052" y="627679"/>
                  <a:pt x="559408" y="627679"/>
                </a:cubicBezTo>
                <a:cubicBezTo>
                  <a:pt x="557586" y="625857"/>
                  <a:pt x="561230" y="624035"/>
                  <a:pt x="559408" y="622213"/>
                </a:cubicBezTo>
                <a:close/>
                <a:moveTo>
                  <a:pt x="535719" y="622213"/>
                </a:moveTo>
                <a:cubicBezTo>
                  <a:pt x="532075" y="625857"/>
                  <a:pt x="539364" y="634968"/>
                  <a:pt x="541186" y="636790"/>
                </a:cubicBezTo>
                <a:cubicBezTo>
                  <a:pt x="546653" y="634968"/>
                  <a:pt x="541186" y="624035"/>
                  <a:pt x="535719" y="622213"/>
                </a:cubicBezTo>
                <a:close/>
                <a:moveTo>
                  <a:pt x="526609" y="622213"/>
                </a:moveTo>
                <a:cubicBezTo>
                  <a:pt x="524786" y="627679"/>
                  <a:pt x="528431" y="627679"/>
                  <a:pt x="532075" y="627679"/>
                </a:cubicBezTo>
                <a:cubicBezTo>
                  <a:pt x="530253" y="625857"/>
                  <a:pt x="528431" y="625857"/>
                  <a:pt x="526609" y="622213"/>
                </a:cubicBezTo>
                <a:close/>
                <a:moveTo>
                  <a:pt x="459188" y="622213"/>
                </a:moveTo>
                <a:cubicBezTo>
                  <a:pt x="461010" y="636790"/>
                  <a:pt x="471943" y="640435"/>
                  <a:pt x="481054" y="649545"/>
                </a:cubicBezTo>
                <a:cubicBezTo>
                  <a:pt x="473766" y="640435"/>
                  <a:pt x="468299" y="624035"/>
                  <a:pt x="459188" y="622213"/>
                </a:cubicBezTo>
                <a:close/>
                <a:moveTo>
                  <a:pt x="101564" y="621555"/>
                </a:moveTo>
                <a:lnTo>
                  <a:pt x="105230" y="629473"/>
                </a:lnTo>
                <a:cubicBezTo>
                  <a:pt x="109900" y="640777"/>
                  <a:pt x="113886" y="652279"/>
                  <a:pt x="116619" y="664123"/>
                </a:cubicBezTo>
                <a:lnTo>
                  <a:pt x="116427" y="663855"/>
                </a:lnTo>
                <a:lnTo>
                  <a:pt x="106597" y="635879"/>
                </a:lnTo>
                <a:close/>
                <a:moveTo>
                  <a:pt x="3232537" y="620391"/>
                </a:moveTo>
                <a:lnTo>
                  <a:pt x="3237812" y="622501"/>
                </a:lnTo>
                <a:lnTo>
                  <a:pt x="3237776" y="622897"/>
                </a:lnTo>
                <a:cubicBezTo>
                  <a:pt x="3238915" y="623124"/>
                  <a:pt x="3240737" y="623124"/>
                  <a:pt x="3241648" y="624035"/>
                </a:cubicBezTo>
                <a:lnTo>
                  <a:pt x="3237812" y="622501"/>
                </a:lnTo>
                <a:lnTo>
                  <a:pt x="3238003" y="620391"/>
                </a:lnTo>
                <a:cubicBezTo>
                  <a:pt x="3236181" y="620391"/>
                  <a:pt x="3234359" y="620391"/>
                  <a:pt x="3232537" y="620391"/>
                </a:cubicBezTo>
                <a:close/>
                <a:moveTo>
                  <a:pt x="3225248" y="620391"/>
                </a:moveTo>
                <a:cubicBezTo>
                  <a:pt x="3219782" y="620391"/>
                  <a:pt x="3221604" y="625857"/>
                  <a:pt x="3227071" y="625857"/>
                </a:cubicBezTo>
                <a:cubicBezTo>
                  <a:pt x="3228893" y="622213"/>
                  <a:pt x="3225248" y="622213"/>
                  <a:pt x="3225248" y="620391"/>
                </a:cubicBezTo>
                <a:close/>
                <a:moveTo>
                  <a:pt x="3055786" y="620391"/>
                </a:moveTo>
                <a:cubicBezTo>
                  <a:pt x="3059430" y="622213"/>
                  <a:pt x="3055786" y="631324"/>
                  <a:pt x="3064897" y="629501"/>
                </a:cubicBezTo>
                <a:cubicBezTo>
                  <a:pt x="3063075" y="625857"/>
                  <a:pt x="3063075" y="620391"/>
                  <a:pt x="3055786" y="620391"/>
                </a:cubicBezTo>
                <a:close/>
                <a:moveTo>
                  <a:pt x="2879035" y="620391"/>
                </a:moveTo>
                <a:cubicBezTo>
                  <a:pt x="2868102" y="622213"/>
                  <a:pt x="2860813" y="633146"/>
                  <a:pt x="2869924" y="644079"/>
                </a:cubicBezTo>
                <a:cubicBezTo>
                  <a:pt x="2873569" y="645901"/>
                  <a:pt x="2880857" y="640435"/>
                  <a:pt x="2882680" y="633146"/>
                </a:cubicBezTo>
                <a:cubicBezTo>
                  <a:pt x="2879035" y="625857"/>
                  <a:pt x="2877213" y="625857"/>
                  <a:pt x="2879035" y="620391"/>
                </a:cubicBezTo>
                <a:close/>
                <a:moveTo>
                  <a:pt x="1055040" y="620391"/>
                </a:moveTo>
                <a:lnTo>
                  <a:pt x="1055950" y="620999"/>
                </a:lnTo>
                <a:lnTo>
                  <a:pt x="1055040" y="622213"/>
                </a:lnTo>
                <a:lnTo>
                  <a:pt x="1054431" y="621606"/>
                </a:lnTo>
                <a:close/>
                <a:moveTo>
                  <a:pt x="712470" y="620391"/>
                </a:moveTo>
                <a:cubicBezTo>
                  <a:pt x="710648" y="624035"/>
                  <a:pt x="708826" y="624035"/>
                  <a:pt x="716115" y="622213"/>
                </a:cubicBezTo>
                <a:cubicBezTo>
                  <a:pt x="714293" y="620391"/>
                  <a:pt x="712470" y="622213"/>
                  <a:pt x="712470" y="620391"/>
                </a:cubicBezTo>
                <a:close/>
                <a:moveTo>
                  <a:pt x="519320" y="620391"/>
                </a:moveTo>
                <a:cubicBezTo>
                  <a:pt x="513853" y="618568"/>
                  <a:pt x="519320" y="624035"/>
                  <a:pt x="515676" y="625857"/>
                </a:cubicBezTo>
                <a:cubicBezTo>
                  <a:pt x="513853" y="625857"/>
                  <a:pt x="515676" y="624035"/>
                  <a:pt x="513853" y="624035"/>
                </a:cubicBezTo>
                <a:cubicBezTo>
                  <a:pt x="513853" y="625857"/>
                  <a:pt x="515676" y="627679"/>
                  <a:pt x="515676" y="629501"/>
                </a:cubicBezTo>
                <a:cubicBezTo>
                  <a:pt x="517498" y="625857"/>
                  <a:pt x="519320" y="624035"/>
                  <a:pt x="519320" y="620391"/>
                </a:cubicBezTo>
                <a:close/>
                <a:moveTo>
                  <a:pt x="399056" y="620391"/>
                </a:moveTo>
                <a:cubicBezTo>
                  <a:pt x="397234" y="624035"/>
                  <a:pt x="397234" y="633146"/>
                  <a:pt x="399056" y="633146"/>
                </a:cubicBezTo>
                <a:cubicBezTo>
                  <a:pt x="397234" y="629501"/>
                  <a:pt x="400879" y="625857"/>
                  <a:pt x="399056" y="620391"/>
                </a:cubicBezTo>
                <a:close/>
                <a:moveTo>
                  <a:pt x="369902" y="620391"/>
                </a:moveTo>
                <a:cubicBezTo>
                  <a:pt x="369902" y="622213"/>
                  <a:pt x="371724" y="622213"/>
                  <a:pt x="369902" y="624035"/>
                </a:cubicBezTo>
                <a:cubicBezTo>
                  <a:pt x="377190" y="631324"/>
                  <a:pt x="366257" y="622213"/>
                  <a:pt x="369902" y="620391"/>
                </a:cubicBezTo>
                <a:close/>
                <a:moveTo>
                  <a:pt x="366257" y="620391"/>
                </a:moveTo>
                <a:cubicBezTo>
                  <a:pt x="364435" y="620391"/>
                  <a:pt x="368079" y="627679"/>
                  <a:pt x="369902" y="627679"/>
                </a:cubicBezTo>
                <a:cubicBezTo>
                  <a:pt x="371724" y="625857"/>
                  <a:pt x="368079" y="624035"/>
                  <a:pt x="366257" y="620391"/>
                </a:cubicBezTo>
                <a:close/>
                <a:moveTo>
                  <a:pt x="3538662" y="618568"/>
                </a:moveTo>
                <a:cubicBezTo>
                  <a:pt x="3535018" y="620391"/>
                  <a:pt x="3540484" y="624035"/>
                  <a:pt x="3538662" y="627679"/>
                </a:cubicBezTo>
                <a:cubicBezTo>
                  <a:pt x="3542306" y="629501"/>
                  <a:pt x="3542306" y="629501"/>
                  <a:pt x="3547773" y="631324"/>
                </a:cubicBezTo>
                <a:cubicBezTo>
                  <a:pt x="3544129" y="627679"/>
                  <a:pt x="3540484" y="624035"/>
                  <a:pt x="3538662" y="618568"/>
                </a:cubicBezTo>
                <a:close/>
                <a:moveTo>
                  <a:pt x="3270803" y="618568"/>
                </a:moveTo>
                <a:cubicBezTo>
                  <a:pt x="3267158" y="620391"/>
                  <a:pt x="3250759" y="620391"/>
                  <a:pt x="3259869" y="627679"/>
                </a:cubicBezTo>
                <a:cubicBezTo>
                  <a:pt x="3261692" y="631324"/>
                  <a:pt x="3267158" y="624035"/>
                  <a:pt x="3272625" y="622213"/>
                </a:cubicBezTo>
                <a:cubicBezTo>
                  <a:pt x="3272625" y="620391"/>
                  <a:pt x="3268980" y="620391"/>
                  <a:pt x="3270803" y="618568"/>
                </a:cubicBezTo>
                <a:close/>
                <a:moveTo>
                  <a:pt x="2767882" y="618568"/>
                </a:moveTo>
                <a:cubicBezTo>
                  <a:pt x="2767882" y="620391"/>
                  <a:pt x="2769704" y="621758"/>
                  <a:pt x="2771071" y="623352"/>
                </a:cubicBezTo>
                <a:lnTo>
                  <a:pt x="2771389" y="627633"/>
                </a:lnTo>
                <a:lnTo>
                  <a:pt x="2766060" y="625857"/>
                </a:lnTo>
                <a:cubicBezTo>
                  <a:pt x="2766060" y="627679"/>
                  <a:pt x="2766060" y="627679"/>
                  <a:pt x="2766060" y="629501"/>
                </a:cubicBezTo>
                <a:cubicBezTo>
                  <a:pt x="2767883" y="630413"/>
                  <a:pt x="2769249" y="631324"/>
                  <a:pt x="2770161" y="631324"/>
                </a:cubicBezTo>
                <a:lnTo>
                  <a:pt x="2771414" y="627980"/>
                </a:lnTo>
                <a:lnTo>
                  <a:pt x="2771527" y="629501"/>
                </a:lnTo>
                <a:cubicBezTo>
                  <a:pt x="2773349" y="629501"/>
                  <a:pt x="2773349" y="629501"/>
                  <a:pt x="2773349" y="627679"/>
                </a:cubicBezTo>
                <a:cubicBezTo>
                  <a:pt x="2775171" y="629501"/>
                  <a:pt x="2775171" y="631324"/>
                  <a:pt x="2776993" y="633146"/>
                </a:cubicBezTo>
                <a:cubicBezTo>
                  <a:pt x="2773349" y="633146"/>
                  <a:pt x="2769705" y="631324"/>
                  <a:pt x="2769705" y="636790"/>
                </a:cubicBezTo>
                <a:cubicBezTo>
                  <a:pt x="2773349" y="634058"/>
                  <a:pt x="2774260" y="634969"/>
                  <a:pt x="2774716" y="637019"/>
                </a:cubicBezTo>
                <a:lnTo>
                  <a:pt x="2775784" y="640330"/>
                </a:lnTo>
                <a:lnTo>
                  <a:pt x="2771755" y="639979"/>
                </a:lnTo>
                <a:cubicBezTo>
                  <a:pt x="2770616" y="639068"/>
                  <a:pt x="2769705" y="637702"/>
                  <a:pt x="2767882" y="636790"/>
                </a:cubicBezTo>
                <a:cubicBezTo>
                  <a:pt x="2767882" y="644079"/>
                  <a:pt x="2767882" y="655012"/>
                  <a:pt x="2778816" y="651368"/>
                </a:cubicBezTo>
                <a:lnTo>
                  <a:pt x="2777479" y="643350"/>
                </a:lnTo>
                <a:lnTo>
                  <a:pt x="2781093" y="637929"/>
                </a:lnTo>
                <a:cubicBezTo>
                  <a:pt x="2783371" y="636790"/>
                  <a:pt x="2786105" y="636790"/>
                  <a:pt x="2787927" y="638612"/>
                </a:cubicBezTo>
                <a:cubicBezTo>
                  <a:pt x="2784282" y="634968"/>
                  <a:pt x="2787927" y="629501"/>
                  <a:pt x="2786104" y="624035"/>
                </a:cubicBezTo>
                <a:cubicBezTo>
                  <a:pt x="2789749" y="627679"/>
                  <a:pt x="2787927" y="634968"/>
                  <a:pt x="2789749" y="638612"/>
                </a:cubicBezTo>
                <a:cubicBezTo>
                  <a:pt x="2793393" y="640435"/>
                  <a:pt x="2795215" y="636790"/>
                  <a:pt x="2795215" y="634968"/>
                </a:cubicBezTo>
                <a:cubicBezTo>
                  <a:pt x="2791571" y="625857"/>
                  <a:pt x="2791571" y="613103"/>
                  <a:pt x="2778816" y="618568"/>
                </a:cubicBezTo>
                <a:cubicBezTo>
                  <a:pt x="2776993" y="618568"/>
                  <a:pt x="2782460" y="624035"/>
                  <a:pt x="2780638" y="625857"/>
                </a:cubicBezTo>
                <a:cubicBezTo>
                  <a:pt x="2778816" y="627679"/>
                  <a:pt x="2778816" y="620391"/>
                  <a:pt x="2775171" y="620391"/>
                </a:cubicBezTo>
                <a:cubicBezTo>
                  <a:pt x="2771527" y="618568"/>
                  <a:pt x="2771527" y="625857"/>
                  <a:pt x="2767882" y="618568"/>
                </a:cubicBezTo>
                <a:close/>
                <a:moveTo>
                  <a:pt x="2430780" y="618568"/>
                </a:moveTo>
                <a:cubicBezTo>
                  <a:pt x="2425314" y="620391"/>
                  <a:pt x="2430780" y="625857"/>
                  <a:pt x="2430780" y="625857"/>
                </a:cubicBezTo>
                <a:cubicBezTo>
                  <a:pt x="2434425" y="624035"/>
                  <a:pt x="2430780" y="622213"/>
                  <a:pt x="2430780" y="618568"/>
                </a:cubicBezTo>
                <a:close/>
                <a:moveTo>
                  <a:pt x="2414381" y="618568"/>
                </a:moveTo>
                <a:cubicBezTo>
                  <a:pt x="2408914" y="622213"/>
                  <a:pt x="2403448" y="625857"/>
                  <a:pt x="2396159" y="625857"/>
                </a:cubicBezTo>
                <a:cubicBezTo>
                  <a:pt x="2397981" y="627679"/>
                  <a:pt x="2397981" y="633146"/>
                  <a:pt x="2397981" y="636790"/>
                </a:cubicBezTo>
                <a:cubicBezTo>
                  <a:pt x="2399803" y="631324"/>
                  <a:pt x="2403448" y="631324"/>
                  <a:pt x="2403448" y="636790"/>
                </a:cubicBezTo>
                <a:cubicBezTo>
                  <a:pt x="2401626" y="629501"/>
                  <a:pt x="2414381" y="625857"/>
                  <a:pt x="2414381" y="618568"/>
                </a:cubicBezTo>
                <a:close/>
                <a:moveTo>
                  <a:pt x="1406719" y="618568"/>
                </a:moveTo>
                <a:cubicBezTo>
                  <a:pt x="1406719" y="620391"/>
                  <a:pt x="1404896" y="622213"/>
                  <a:pt x="1404896" y="624035"/>
                </a:cubicBezTo>
                <a:cubicBezTo>
                  <a:pt x="1408541" y="625857"/>
                  <a:pt x="1410363" y="620391"/>
                  <a:pt x="1406719" y="618568"/>
                </a:cubicBezTo>
                <a:close/>
                <a:moveTo>
                  <a:pt x="630472" y="618568"/>
                </a:moveTo>
                <a:cubicBezTo>
                  <a:pt x="630472" y="622213"/>
                  <a:pt x="625006" y="622213"/>
                  <a:pt x="626828" y="625857"/>
                </a:cubicBezTo>
                <a:lnTo>
                  <a:pt x="628315" y="625262"/>
                </a:lnTo>
                <a:lnTo>
                  <a:pt x="623185" y="644079"/>
                </a:lnTo>
                <a:cubicBezTo>
                  <a:pt x="632296" y="636790"/>
                  <a:pt x="645050" y="627679"/>
                  <a:pt x="630472" y="618568"/>
                </a:cubicBezTo>
                <a:close/>
                <a:moveTo>
                  <a:pt x="594030" y="618568"/>
                </a:moveTo>
                <a:cubicBezTo>
                  <a:pt x="590385" y="620391"/>
                  <a:pt x="595852" y="622213"/>
                  <a:pt x="594030" y="624035"/>
                </a:cubicBezTo>
                <a:cubicBezTo>
                  <a:pt x="597673" y="624035"/>
                  <a:pt x="595852" y="620391"/>
                  <a:pt x="594030" y="618568"/>
                </a:cubicBezTo>
                <a:close/>
                <a:moveTo>
                  <a:pt x="470121" y="618568"/>
                </a:moveTo>
                <a:cubicBezTo>
                  <a:pt x="466478" y="625857"/>
                  <a:pt x="477410" y="638612"/>
                  <a:pt x="486521" y="640435"/>
                </a:cubicBezTo>
                <a:cubicBezTo>
                  <a:pt x="481054" y="633146"/>
                  <a:pt x="475589" y="625857"/>
                  <a:pt x="470121" y="618568"/>
                </a:cubicBezTo>
                <a:close/>
                <a:moveTo>
                  <a:pt x="435500" y="618568"/>
                </a:moveTo>
                <a:cubicBezTo>
                  <a:pt x="436411" y="619480"/>
                  <a:pt x="437322" y="620391"/>
                  <a:pt x="437550" y="621302"/>
                </a:cubicBezTo>
                <a:lnTo>
                  <a:pt x="436981" y="622061"/>
                </a:lnTo>
                <a:lnTo>
                  <a:pt x="435500" y="620708"/>
                </a:lnTo>
                <a:close/>
                <a:moveTo>
                  <a:pt x="664866" y="618113"/>
                </a:moveTo>
                <a:cubicBezTo>
                  <a:pt x="662360" y="617202"/>
                  <a:pt x="658717" y="618569"/>
                  <a:pt x="659627" y="624035"/>
                </a:cubicBezTo>
                <a:cubicBezTo>
                  <a:pt x="661449" y="624035"/>
                  <a:pt x="663272" y="624035"/>
                  <a:pt x="663272" y="625857"/>
                </a:cubicBezTo>
                <a:cubicBezTo>
                  <a:pt x="668738" y="622213"/>
                  <a:pt x="667372" y="619024"/>
                  <a:pt x="664866" y="618113"/>
                </a:cubicBezTo>
                <a:close/>
                <a:moveTo>
                  <a:pt x="1318343" y="617658"/>
                </a:moveTo>
                <a:lnTo>
                  <a:pt x="1319254" y="620391"/>
                </a:lnTo>
                <a:cubicBezTo>
                  <a:pt x="1315610" y="621302"/>
                  <a:pt x="1313332" y="626313"/>
                  <a:pt x="1311282" y="630641"/>
                </a:cubicBezTo>
                <a:lnTo>
                  <a:pt x="1310293" y="631562"/>
                </a:lnTo>
                <a:close/>
                <a:moveTo>
                  <a:pt x="460413" y="617563"/>
                </a:moveTo>
                <a:lnTo>
                  <a:pt x="464536" y="620312"/>
                </a:lnTo>
                <a:lnTo>
                  <a:pt x="464536" y="620316"/>
                </a:lnTo>
                <a:lnTo>
                  <a:pt x="460327" y="617658"/>
                </a:lnTo>
                <a:close/>
                <a:moveTo>
                  <a:pt x="3048497" y="616746"/>
                </a:moveTo>
                <a:cubicBezTo>
                  <a:pt x="3041209" y="618568"/>
                  <a:pt x="3046675" y="629501"/>
                  <a:pt x="3050319" y="631324"/>
                </a:cubicBezTo>
                <a:cubicBezTo>
                  <a:pt x="3061253" y="629501"/>
                  <a:pt x="3050319" y="620391"/>
                  <a:pt x="3048497" y="616746"/>
                </a:cubicBezTo>
                <a:close/>
                <a:moveTo>
                  <a:pt x="1335654" y="616746"/>
                </a:moveTo>
                <a:cubicBezTo>
                  <a:pt x="1330188" y="620391"/>
                  <a:pt x="1328365" y="625857"/>
                  <a:pt x="1330188" y="629501"/>
                </a:cubicBezTo>
                <a:cubicBezTo>
                  <a:pt x="1326543" y="634968"/>
                  <a:pt x="1322899" y="640435"/>
                  <a:pt x="1324721" y="645901"/>
                </a:cubicBezTo>
                <a:cubicBezTo>
                  <a:pt x="1328365" y="640435"/>
                  <a:pt x="1332009" y="634968"/>
                  <a:pt x="1332009" y="627679"/>
                </a:cubicBezTo>
                <a:cubicBezTo>
                  <a:pt x="1337476" y="625857"/>
                  <a:pt x="1339299" y="620391"/>
                  <a:pt x="1335654" y="616746"/>
                </a:cubicBezTo>
                <a:close/>
                <a:moveTo>
                  <a:pt x="1301033" y="616746"/>
                </a:moveTo>
                <a:cubicBezTo>
                  <a:pt x="1297388" y="616746"/>
                  <a:pt x="1295566" y="618568"/>
                  <a:pt x="1293744" y="620391"/>
                </a:cubicBezTo>
                <a:cubicBezTo>
                  <a:pt x="1295566" y="620391"/>
                  <a:pt x="1295566" y="620391"/>
                  <a:pt x="1297388" y="622213"/>
                </a:cubicBezTo>
                <a:cubicBezTo>
                  <a:pt x="1297388" y="620391"/>
                  <a:pt x="1299210" y="618568"/>
                  <a:pt x="1301033" y="616746"/>
                </a:cubicBezTo>
                <a:close/>
                <a:moveTo>
                  <a:pt x="1284633" y="616746"/>
                </a:moveTo>
                <a:cubicBezTo>
                  <a:pt x="1280989" y="622213"/>
                  <a:pt x="1270056" y="625857"/>
                  <a:pt x="1273700" y="633146"/>
                </a:cubicBezTo>
                <a:cubicBezTo>
                  <a:pt x="1275522" y="634968"/>
                  <a:pt x="1280989" y="633146"/>
                  <a:pt x="1282811" y="631324"/>
                </a:cubicBezTo>
                <a:cubicBezTo>
                  <a:pt x="1282811" y="633146"/>
                  <a:pt x="1284633" y="631324"/>
                  <a:pt x="1286455" y="633146"/>
                </a:cubicBezTo>
                <a:cubicBezTo>
                  <a:pt x="1288277" y="631324"/>
                  <a:pt x="1290100" y="629501"/>
                  <a:pt x="1288277" y="625857"/>
                </a:cubicBezTo>
                <a:cubicBezTo>
                  <a:pt x="1282811" y="629501"/>
                  <a:pt x="1279166" y="629501"/>
                  <a:pt x="1273700" y="633146"/>
                </a:cubicBezTo>
                <a:cubicBezTo>
                  <a:pt x="1277344" y="629501"/>
                  <a:pt x="1275522" y="627679"/>
                  <a:pt x="1277344" y="624035"/>
                </a:cubicBezTo>
                <a:cubicBezTo>
                  <a:pt x="1280989" y="625857"/>
                  <a:pt x="1273700" y="627679"/>
                  <a:pt x="1277344" y="629501"/>
                </a:cubicBezTo>
                <a:cubicBezTo>
                  <a:pt x="1279166" y="627679"/>
                  <a:pt x="1280989" y="627679"/>
                  <a:pt x="1282811" y="625857"/>
                </a:cubicBezTo>
                <a:cubicBezTo>
                  <a:pt x="1280989" y="624035"/>
                  <a:pt x="1282811" y="624035"/>
                  <a:pt x="1280989" y="622213"/>
                </a:cubicBezTo>
                <a:cubicBezTo>
                  <a:pt x="1282811" y="620391"/>
                  <a:pt x="1282811" y="622213"/>
                  <a:pt x="1284633" y="620391"/>
                </a:cubicBezTo>
                <a:cubicBezTo>
                  <a:pt x="1284633" y="620391"/>
                  <a:pt x="1284633" y="622213"/>
                  <a:pt x="1284633" y="624035"/>
                </a:cubicBezTo>
                <a:cubicBezTo>
                  <a:pt x="1286455" y="625857"/>
                  <a:pt x="1290100" y="622213"/>
                  <a:pt x="1290100" y="620391"/>
                </a:cubicBezTo>
                <a:cubicBezTo>
                  <a:pt x="1288277" y="618568"/>
                  <a:pt x="1286455" y="618568"/>
                  <a:pt x="1284633" y="616746"/>
                </a:cubicBezTo>
                <a:close/>
                <a:moveTo>
                  <a:pt x="1257300" y="616746"/>
                </a:moveTo>
                <a:cubicBezTo>
                  <a:pt x="1255478" y="618568"/>
                  <a:pt x="1259123" y="620391"/>
                  <a:pt x="1257300" y="622213"/>
                </a:cubicBezTo>
                <a:cubicBezTo>
                  <a:pt x="1259123" y="622213"/>
                  <a:pt x="1257300" y="620391"/>
                  <a:pt x="1259123" y="620391"/>
                </a:cubicBezTo>
                <a:cubicBezTo>
                  <a:pt x="1260945" y="624035"/>
                  <a:pt x="1257300" y="625857"/>
                  <a:pt x="1257300" y="629501"/>
                </a:cubicBezTo>
                <a:cubicBezTo>
                  <a:pt x="1259123" y="629501"/>
                  <a:pt x="1259123" y="627679"/>
                  <a:pt x="1260945" y="627679"/>
                </a:cubicBezTo>
                <a:cubicBezTo>
                  <a:pt x="1262767" y="629501"/>
                  <a:pt x="1259123" y="629501"/>
                  <a:pt x="1260945" y="631324"/>
                </a:cubicBezTo>
                <a:cubicBezTo>
                  <a:pt x="1260945" y="633146"/>
                  <a:pt x="1262767" y="627679"/>
                  <a:pt x="1264589" y="625857"/>
                </a:cubicBezTo>
                <a:cubicBezTo>
                  <a:pt x="1260945" y="622213"/>
                  <a:pt x="1259123" y="616746"/>
                  <a:pt x="1257300" y="616746"/>
                </a:cubicBezTo>
                <a:close/>
                <a:moveTo>
                  <a:pt x="1229969" y="616746"/>
                </a:moveTo>
                <a:cubicBezTo>
                  <a:pt x="1228146" y="618568"/>
                  <a:pt x="1229969" y="620391"/>
                  <a:pt x="1229969" y="622213"/>
                </a:cubicBezTo>
                <a:lnTo>
                  <a:pt x="1225958" y="626587"/>
                </a:lnTo>
                <a:lnTo>
                  <a:pt x="1226323" y="625857"/>
                </a:lnTo>
                <a:cubicBezTo>
                  <a:pt x="1226323" y="625857"/>
                  <a:pt x="1224501" y="624035"/>
                  <a:pt x="1224501" y="624035"/>
                </a:cubicBezTo>
                <a:cubicBezTo>
                  <a:pt x="1219036" y="625857"/>
                  <a:pt x="1215390" y="627679"/>
                  <a:pt x="1215390" y="631324"/>
                </a:cubicBezTo>
                <a:cubicBezTo>
                  <a:pt x="1216301" y="631324"/>
                  <a:pt x="1217213" y="629958"/>
                  <a:pt x="1218579" y="629046"/>
                </a:cubicBezTo>
                <a:lnTo>
                  <a:pt x="1222585" y="629354"/>
                </a:lnTo>
                <a:lnTo>
                  <a:pt x="1217213" y="633146"/>
                </a:lnTo>
                <a:cubicBezTo>
                  <a:pt x="1224501" y="636790"/>
                  <a:pt x="1231790" y="636790"/>
                  <a:pt x="1239080" y="633146"/>
                </a:cubicBezTo>
                <a:cubicBezTo>
                  <a:pt x="1237256" y="627679"/>
                  <a:pt x="1235434" y="620391"/>
                  <a:pt x="1229969" y="616746"/>
                </a:cubicBezTo>
                <a:close/>
                <a:moveTo>
                  <a:pt x="1175303" y="616746"/>
                </a:moveTo>
                <a:cubicBezTo>
                  <a:pt x="1169836" y="622213"/>
                  <a:pt x="1162547" y="625857"/>
                  <a:pt x="1157081" y="631324"/>
                </a:cubicBezTo>
                <a:cubicBezTo>
                  <a:pt x="1162547" y="629501"/>
                  <a:pt x="1168014" y="629501"/>
                  <a:pt x="1173481" y="627679"/>
                </a:cubicBezTo>
                <a:cubicBezTo>
                  <a:pt x="1171658" y="625857"/>
                  <a:pt x="1173481" y="625857"/>
                  <a:pt x="1171658" y="624035"/>
                </a:cubicBezTo>
                <a:cubicBezTo>
                  <a:pt x="1173481" y="622213"/>
                  <a:pt x="1173481" y="627679"/>
                  <a:pt x="1175303" y="625857"/>
                </a:cubicBezTo>
                <a:cubicBezTo>
                  <a:pt x="1175303" y="622213"/>
                  <a:pt x="1175303" y="620391"/>
                  <a:pt x="1175303" y="616746"/>
                </a:cubicBezTo>
                <a:close/>
                <a:moveTo>
                  <a:pt x="1116993" y="616746"/>
                </a:moveTo>
                <a:cubicBezTo>
                  <a:pt x="1113349" y="620391"/>
                  <a:pt x="1106060" y="627679"/>
                  <a:pt x="1109704" y="629501"/>
                </a:cubicBezTo>
                <a:cubicBezTo>
                  <a:pt x="1113349" y="625857"/>
                  <a:pt x="1118815" y="618568"/>
                  <a:pt x="1116993" y="616746"/>
                </a:cubicBezTo>
                <a:close/>
                <a:moveTo>
                  <a:pt x="603140" y="616746"/>
                </a:moveTo>
                <a:cubicBezTo>
                  <a:pt x="601318" y="620391"/>
                  <a:pt x="599496" y="624035"/>
                  <a:pt x="599496" y="627679"/>
                </a:cubicBezTo>
                <a:cubicBezTo>
                  <a:pt x="599496" y="627679"/>
                  <a:pt x="599496" y="625857"/>
                  <a:pt x="599496" y="625857"/>
                </a:cubicBezTo>
                <a:cubicBezTo>
                  <a:pt x="595852" y="627679"/>
                  <a:pt x="601318" y="629501"/>
                  <a:pt x="597673" y="633146"/>
                </a:cubicBezTo>
                <a:cubicBezTo>
                  <a:pt x="599496" y="633146"/>
                  <a:pt x="599496" y="633146"/>
                  <a:pt x="599496" y="631324"/>
                </a:cubicBezTo>
                <a:cubicBezTo>
                  <a:pt x="601318" y="636790"/>
                  <a:pt x="603140" y="640435"/>
                  <a:pt x="610429" y="638612"/>
                </a:cubicBezTo>
                <a:cubicBezTo>
                  <a:pt x="608606" y="631324"/>
                  <a:pt x="606784" y="624035"/>
                  <a:pt x="603140" y="616746"/>
                </a:cubicBezTo>
                <a:close/>
                <a:moveTo>
                  <a:pt x="306126" y="616746"/>
                </a:moveTo>
                <a:cubicBezTo>
                  <a:pt x="304303" y="618568"/>
                  <a:pt x="307948" y="624035"/>
                  <a:pt x="309771" y="622213"/>
                </a:cubicBezTo>
                <a:cubicBezTo>
                  <a:pt x="307948" y="620391"/>
                  <a:pt x="307948" y="616746"/>
                  <a:pt x="306126" y="616746"/>
                </a:cubicBezTo>
                <a:close/>
                <a:moveTo>
                  <a:pt x="297015" y="616746"/>
                </a:moveTo>
                <a:cubicBezTo>
                  <a:pt x="295193" y="620391"/>
                  <a:pt x="300660" y="624035"/>
                  <a:pt x="302481" y="627679"/>
                </a:cubicBezTo>
                <a:cubicBezTo>
                  <a:pt x="307948" y="624035"/>
                  <a:pt x="300660" y="618568"/>
                  <a:pt x="297015" y="616746"/>
                </a:cubicBezTo>
                <a:close/>
                <a:moveTo>
                  <a:pt x="218675" y="616680"/>
                </a:moveTo>
                <a:lnTo>
                  <a:pt x="219572" y="618540"/>
                </a:lnTo>
                <a:lnTo>
                  <a:pt x="217448" y="622810"/>
                </a:lnTo>
                <a:close/>
                <a:moveTo>
                  <a:pt x="400879" y="616201"/>
                </a:moveTo>
                <a:lnTo>
                  <a:pt x="401335" y="617430"/>
                </a:lnTo>
                <a:lnTo>
                  <a:pt x="401052" y="620391"/>
                </a:lnTo>
                <a:lnTo>
                  <a:pt x="400879" y="620391"/>
                </a:lnTo>
                <a:close/>
                <a:moveTo>
                  <a:pt x="2480161" y="615836"/>
                </a:moveTo>
                <a:lnTo>
                  <a:pt x="2480207" y="617430"/>
                </a:lnTo>
                <a:cubicBezTo>
                  <a:pt x="2479979" y="619936"/>
                  <a:pt x="2479979" y="622214"/>
                  <a:pt x="2481801" y="624035"/>
                </a:cubicBezTo>
                <a:cubicBezTo>
                  <a:pt x="2479979" y="621302"/>
                  <a:pt x="2479524" y="619024"/>
                  <a:pt x="2479751" y="616974"/>
                </a:cubicBezTo>
                <a:close/>
                <a:moveTo>
                  <a:pt x="3214315" y="614924"/>
                </a:moveTo>
                <a:cubicBezTo>
                  <a:pt x="3201560" y="614924"/>
                  <a:pt x="3199738" y="618568"/>
                  <a:pt x="3188805" y="616746"/>
                </a:cubicBezTo>
                <a:cubicBezTo>
                  <a:pt x="3183338" y="622213"/>
                  <a:pt x="3177872" y="622213"/>
                  <a:pt x="3181516" y="627679"/>
                </a:cubicBezTo>
                <a:cubicBezTo>
                  <a:pt x="3183338" y="627679"/>
                  <a:pt x="3186982" y="629501"/>
                  <a:pt x="3188805" y="629501"/>
                </a:cubicBezTo>
                <a:cubicBezTo>
                  <a:pt x="3188805" y="627679"/>
                  <a:pt x="3185160" y="625857"/>
                  <a:pt x="3186982" y="624035"/>
                </a:cubicBezTo>
                <a:cubicBezTo>
                  <a:pt x="3190627" y="622213"/>
                  <a:pt x="3188805" y="631324"/>
                  <a:pt x="3194271" y="629501"/>
                </a:cubicBezTo>
                <a:cubicBezTo>
                  <a:pt x="3188805" y="629501"/>
                  <a:pt x="3188805" y="634968"/>
                  <a:pt x="3190627" y="638612"/>
                </a:cubicBezTo>
                <a:cubicBezTo>
                  <a:pt x="3197916" y="634968"/>
                  <a:pt x="3197916" y="634968"/>
                  <a:pt x="3205204" y="634968"/>
                </a:cubicBezTo>
                <a:cubicBezTo>
                  <a:pt x="3210671" y="633146"/>
                  <a:pt x="3199738" y="627679"/>
                  <a:pt x="3203382" y="624035"/>
                </a:cubicBezTo>
                <a:cubicBezTo>
                  <a:pt x="3208849" y="618568"/>
                  <a:pt x="3216137" y="627679"/>
                  <a:pt x="3219782" y="622213"/>
                </a:cubicBezTo>
                <a:cubicBezTo>
                  <a:pt x="3221604" y="620391"/>
                  <a:pt x="3214315" y="618568"/>
                  <a:pt x="3214315" y="614924"/>
                </a:cubicBezTo>
                <a:close/>
                <a:moveTo>
                  <a:pt x="3028453" y="614924"/>
                </a:moveTo>
                <a:lnTo>
                  <a:pt x="3028455" y="614924"/>
                </a:lnTo>
                <a:lnTo>
                  <a:pt x="3028453" y="614926"/>
                </a:lnTo>
                <a:close/>
                <a:moveTo>
                  <a:pt x="2880857" y="614924"/>
                </a:moveTo>
                <a:cubicBezTo>
                  <a:pt x="2877213" y="614924"/>
                  <a:pt x="2880857" y="620391"/>
                  <a:pt x="2882680" y="622213"/>
                </a:cubicBezTo>
                <a:cubicBezTo>
                  <a:pt x="2886324" y="622213"/>
                  <a:pt x="2882680" y="616746"/>
                  <a:pt x="2880857" y="614924"/>
                </a:cubicBezTo>
                <a:close/>
                <a:moveTo>
                  <a:pt x="2376115" y="614924"/>
                </a:moveTo>
                <a:cubicBezTo>
                  <a:pt x="2372471" y="618568"/>
                  <a:pt x="2367004" y="616746"/>
                  <a:pt x="2368827" y="624035"/>
                </a:cubicBezTo>
                <a:cubicBezTo>
                  <a:pt x="2372471" y="622213"/>
                  <a:pt x="2376115" y="620391"/>
                  <a:pt x="2376115" y="614924"/>
                </a:cubicBezTo>
                <a:close/>
                <a:moveTo>
                  <a:pt x="2137410" y="614924"/>
                </a:moveTo>
                <a:cubicBezTo>
                  <a:pt x="2139233" y="616746"/>
                  <a:pt x="2137410" y="618568"/>
                  <a:pt x="2139233" y="620391"/>
                </a:cubicBezTo>
                <a:lnTo>
                  <a:pt x="2137376" y="614963"/>
                </a:lnTo>
                <a:close/>
                <a:moveTo>
                  <a:pt x="1122459" y="614924"/>
                </a:moveTo>
                <a:cubicBezTo>
                  <a:pt x="1120637" y="616746"/>
                  <a:pt x="1118815" y="618568"/>
                  <a:pt x="1116993" y="624035"/>
                </a:cubicBezTo>
                <a:cubicBezTo>
                  <a:pt x="1119727" y="623124"/>
                  <a:pt x="1121092" y="622213"/>
                  <a:pt x="1122231" y="621302"/>
                </a:cubicBezTo>
                <a:lnTo>
                  <a:pt x="1126104" y="618569"/>
                </a:lnTo>
                <a:lnTo>
                  <a:pt x="1127926" y="620391"/>
                </a:lnTo>
                <a:cubicBezTo>
                  <a:pt x="1124282" y="624035"/>
                  <a:pt x="1124282" y="627679"/>
                  <a:pt x="1127926" y="629501"/>
                </a:cubicBezTo>
                <a:cubicBezTo>
                  <a:pt x="1127926" y="631324"/>
                  <a:pt x="1127926" y="625857"/>
                  <a:pt x="1131570" y="625857"/>
                </a:cubicBezTo>
                <a:cubicBezTo>
                  <a:pt x="1131570" y="624035"/>
                  <a:pt x="1131570" y="624035"/>
                  <a:pt x="1131570" y="622213"/>
                </a:cubicBezTo>
                <a:cubicBezTo>
                  <a:pt x="1131570" y="620391"/>
                  <a:pt x="1129748" y="620391"/>
                  <a:pt x="1129748" y="618568"/>
                </a:cubicBezTo>
                <a:cubicBezTo>
                  <a:pt x="1129748" y="618568"/>
                  <a:pt x="1127926" y="620391"/>
                  <a:pt x="1127926" y="620391"/>
                </a:cubicBezTo>
                <a:cubicBezTo>
                  <a:pt x="1126104" y="618568"/>
                  <a:pt x="1126104" y="618568"/>
                  <a:pt x="1126104" y="618568"/>
                </a:cubicBezTo>
                <a:lnTo>
                  <a:pt x="1126104" y="618569"/>
                </a:lnTo>
                <a:lnTo>
                  <a:pt x="1124282" y="616746"/>
                </a:lnTo>
                <a:cubicBezTo>
                  <a:pt x="1126104" y="614924"/>
                  <a:pt x="1122459" y="614924"/>
                  <a:pt x="1122459" y="614924"/>
                </a:cubicBezTo>
                <a:close/>
                <a:moveTo>
                  <a:pt x="1093305" y="614924"/>
                </a:moveTo>
                <a:cubicBezTo>
                  <a:pt x="1091484" y="616746"/>
                  <a:pt x="1091484" y="616746"/>
                  <a:pt x="1091484" y="618568"/>
                </a:cubicBezTo>
                <a:cubicBezTo>
                  <a:pt x="1087838" y="616746"/>
                  <a:pt x="1084194" y="616746"/>
                  <a:pt x="1082373" y="618568"/>
                </a:cubicBezTo>
                <a:cubicBezTo>
                  <a:pt x="1075083" y="622213"/>
                  <a:pt x="1073262" y="636790"/>
                  <a:pt x="1065972" y="644079"/>
                </a:cubicBezTo>
                <a:lnTo>
                  <a:pt x="1068863" y="646007"/>
                </a:lnTo>
                <a:lnTo>
                  <a:pt x="1060278" y="646357"/>
                </a:lnTo>
                <a:lnTo>
                  <a:pt x="1056541" y="650939"/>
                </a:lnTo>
                <a:lnTo>
                  <a:pt x="1062328" y="642257"/>
                </a:lnTo>
                <a:cubicBezTo>
                  <a:pt x="1060505" y="643168"/>
                  <a:pt x="1058228" y="644990"/>
                  <a:pt x="1056633" y="647040"/>
                </a:cubicBezTo>
                <a:lnTo>
                  <a:pt x="1055195" y="652587"/>
                </a:lnTo>
                <a:lnTo>
                  <a:pt x="1053217" y="655012"/>
                </a:lnTo>
                <a:cubicBezTo>
                  <a:pt x="1056861" y="655012"/>
                  <a:pt x="1058683" y="655012"/>
                  <a:pt x="1062328" y="655012"/>
                </a:cubicBezTo>
                <a:cubicBezTo>
                  <a:pt x="1062328" y="660478"/>
                  <a:pt x="1058683" y="662301"/>
                  <a:pt x="1055040" y="664123"/>
                </a:cubicBezTo>
                <a:cubicBezTo>
                  <a:pt x="1062328" y="662301"/>
                  <a:pt x="1069616" y="656834"/>
                  <a:pt x="1078727" y="651368"/>
                </a:cubicBezTo>
                <a:cubicBezTo>
                  <a:pt x="1076905" y="649545"/>
                  <a:pt x="1071439" y="649545"/>
                  <a:pt x="1075083" y="649545"/>
                </a:cubicBezTo>
                <a:cubicBezTo>
                  <a:pt x="1067794" y="649545"/>
                  <a:pt x="1065972" y="655012"/>
                  <a:pt x="1062328" y="656834"/>
                </a:cubicBezTo>
                <a:lnTo>
                  <a:pt x="1070463" y="647073"/>
                </a:lnTo>
                <a:lnTo>
                  <a:pt x="1071439" y="647723"/>
                </a:lnTo>
                <a:cubicBezTo>
                  <a:pt x="1073262" y="644079"/>
                  <a:pt x="1076905" y="640435"/>
                  <a:pt x="1078727" y="636790"/>
                </a:cubicBezTo>
                <a:cubicBezTo>
                  <a:pt x="1076905" y="640435"/>
                  <a:pt x="1073262" y="642257"/>
                  <a:pt x="1073262" y="645901"/>
                </a:cubicBezTo>
                <a:cubicBezTo>
                  <a:pt x="1075083" y="645901"/>
                  <a:pt x="1078727" y="647723"/>
                  <a:pt x="1082373" y="649545"/>
                </a:cubicBezTo>
                <a:cubicBezTo>
                  <a:pt x="1082373" y="647723"/>
                  <a:pt x="1082373" y="645901"/>
                  <a:pt x="1084194" y="644079"/>
                </a:cubicBezTo>
                <a:cubicBezTo>
                  <a:pt x="1087838" y="649545"/>
                  <a:pt x="1089660" y="645901"/>
                  <a:pt x="1087838" y="642257"/>
                </a:cubicBezTo>
                <a:cubicBezTo>
                  <a:pt x="1086016" y="642257"/>
                  <a:pt x="1086016" y="644079"/>
                  <a:pt x="1084194" y="644079"/>
                </a:cubicBezTo>
                <a:cubicBezTo>
                  <a:pt x="1086016" y="642257"/>
                  <a:pt x="1086016" y="640435"/>
                  <a:pt x="1084194" y="638612"/>
                </a:cubicBezTo>
                <a:cubicBezTo>
                  <a:pt x="1089660" y="640435"/>
                  <a:pt x="1095127" y="638612"/>
                  <a:pt x="1098771" y="633146"/>
                </a:cubicBezTo>
                <a:lnTo>
                  <a:pt x="1096221" y="627681"/>
                </a:lnTo>
                <a:lnTo>
                  <a:pt x="1100593" y="631324"/>
                </a:lnTo>
                <a:cubicBezTo>
                  <a:pt x="1102416" y="625857"/>
                  <a:pt x="1100593" y="622213"/>
                  <a:pt x="1096949" y="620391"/>
                </a:cubicBezTo>
                <a:cubicBezTo>
                  <a:pt x="1098771" y="620391"/>
                  <a:pt x="1100593" y="620391"/>
                  <a:pt x="1102416" y="620391"/>
                </a:cubicBezTo>
                <a:cubicBezTo>
                  <a:pt x="1100593" y="618568"/>
                  <a:pt x="1096949" y="614924"/>
                  <a:pt x="1093305" y="614924"/>
                </a:cubicBezTo>
                <a:close/>
                <a:moveTo>
                  <a:pt x="918376" y="614924"/>
                </a:moveTo>
                <a:cubicBezTo>
                  <a:pt x="916555" y="622213"/>
                  <a:pt x="914732" y="625857"/>
                  <a:pt x="912909" y="629501"/>
                </a:cubicBezTo>
                <a:cubicBezTo>
                  <a:pt x="923843" y="631324"/>
                  <a:pt x="914732" y="620391"/>
                  <a:pt x="918376" y="620391"/>
                </a:cubicBezTo>
                <a:cubicBezTo>
                  <a:pt x="920198" y="618568"/>
                  <a:pt x="920198" y="616746"/>
                  <a:pt x="918376" y="614924"/>
                </a:cubicBezTo>
                <a:close/>
                <a:moveTo>
                  <a:pt x="869177" y="614924"/>
                </a:moveTo>
                <a:cubicBezTo>
                  <a:pt x="867355" y="616746"/>
                  <a:pt x="863711" y="620391"/>
                  <a:pt x="860066" y="622213"/>
                </a:cubicBezTo>
                <a:cubicBezTo>
                  <a:pt x="854600" y="629501"/>
                  <a:pt x="861889" y="627679"/>
                  <a:pt x="861889" y="636790"/>
                </a:cubicBezTo>
                <a:cubicBezTo>
                  <a:pt x="865533" y="629501"/>
                  <a:pt x="869177" y="624035"/>
                  <a:pt x="869177" y="614924"/>
                </a:cubicBezTo>
                <a:close/>
                <a:moveTo>
                  <a:pt x="634117" y="614924"/>
                </a:moveTo>
                <a:cubicBezTo>
                  <a:pt x="630472" y="620391"/>
                  <a:pt x="639583" y="620391"/>
                  <a:pt x="639583" y="620391"/>
                </a:cubicBezTo>
                <a:cubicBezTo>
                  <a:pt x="641407" y="618568"/>
                  <a:pt x="635939" y="616746"/>
                  <a:pt x="634117" y="614924"/>
                </a:cubicBezTo>
                <a:close/>
                <a:moveTo>
                  <a:pt x="462832" y="614924"/>
                </a:moveTo>
                <a:lnTo>
                  <a:pt x="460413" y="617563"/>
                </a:lnTo>
                <a:lnTo>
                  <a:pt x="459188" y="616746"/>
                </a:lnTo>
                <a:cubicBezTo>
                  <a:pt x="459188" y="622213"/>
                  <a:pt x="461010" y="624035"/>
                  <a:pt x="464655" y="622213"/>
                </a:cubicBezTo>
                <a:lnTo>
                  <a:pt x="464536" y="620316"/>
                </a:lnTo>
                <a:lnTo>
                  <a:pt x="464655" y="620391"/>
                </a:lnTo>
                <a:lnTo>
                  <a:pt x="464536" y="620312"/>
                </a:lnTo>
                <a:lnTo>
                  <a:pt x="464427" y="618569"/>
                </a:lnTo>
                <a:cubicBezTo>
                  <a:pt x="463743" y="617202"/>
                  <a:pt x="462832" y="615835"/>
                  <a:pt x="462832" y="614924"/>
                </a:cubicBezTo>
                <a:close/>
                <a:moveTo>
                  <a:pt x="313414" y="614924"/>
                </a:moveTo>
                <a:cubicBezTo>
                  <a:pt x="315236" y="625857"/>
                  <a:pt x="324347" y="636790"/>
                  <a:pt x="335280" y="638612"/>
                </a:cubicBezTo>
                <a:cubicBezTo>
                  <a:pt x="329814" y="631324"/>
                  <a:pt x="324347" y="625857"/>
                  <a:pt x="318882" y="618568"/>
                </a:cubicBezTo>
                <a:cubicBezTo>
                  <a:pt x="320703" y="622213"/>
                  <a:pt x="322525" y="625857"/>
                  <a:pt x="322525" y="629501"/>
                </a:cubicBezTo>
                <a:cubicBezTo>
                  <a:pt x="318882" y="625857"/>
                  <a:pt x="317059" y="620391"/>
                  <a:pt x="313414" y="614924"/>
                </a:cubicBezTo>
                <a:close/>
                <a:moveTo>
                  <a:pt x="72887" y="614924"/>
                </a:moveTo>
                <a:lnTo>
                  <a:pt x="74707" y="620385"/>
                </a:lnTo>
                <a:lnTo>
                  <a:pt x="74709" y="620391"/>
                </a:lnTo>
                <a:cubicBezTo>
                  <a:pt x="74709" y="618568"/>
                  <a:pt x="72887" y="616746"/>
                  <a:pt x="72887" y="614924"/>
                </a:cubicBezTo>
                <a:close/>
                <a:moveTo>
                  <a:pt x="903343" y="614697"/>
                </a:moveTo>
                <a:cubicBezTo>
                  <a:pt x="902432" y="614469"/>
                  <a:pt x="901065" y="614924"/>
                  <a:pt x="900154" y="616746"/>
                </a:cubicBezTo>
                <a:cubicBezTo>
                  <a:pt x="894688" y="616746"/>
                  <a:pt x="892866" y="620391"/>
                  <a:pt x="891043" y="625857"/>
                </a:cubicBezTo>
                <a:cubicBezTo>
                  <a:pt x="896510" y="624035"/>
                  <a:pt x="901976" y="629501"/>
                  <a:pt x="905621" y="624035"/>
                </a:cubicBezTo>
                <a:cubicBezTo>
                  <a:pt x="905621" y="624035"/>
                  <a:pt x="905621" y="620391"/>
                  <a:pt x="903799" y="620391"/>
                </a:cubicBezTo>
                <a:cubicBezTo>
                  <a:pt x="901976" y="622213"/>
                  <a:pt x="901976" y="622213"/>
                  <a:pt x="901976" y="622213"/>
                </a:cubicBezTo>
                <a:cubicBezTo>
                  <a:pt x="901976" y="620391"/>
                  <a:pt x="901976" y="618568"/>
                  <a:pt x="900154" y="616746"/>
                </a:cubicBezTo>
                <a:cubicBezTo>
                  <a:pt x="900154" y="616746"/>
                  <a:pt x="901976" y="616746"/>
                  <a:pt x="903799" y="616746"/>
                </a:cubicBezTo>
                <a:cubicBezTo>
                  <a:pt x="904710" y="615835"/>
                  <a:pt x="904254" y="614924"/>
                  <a:pt x="903343" y="614697"/>
                </a:cubicBezTo>
                <a:close/>
                <a:moveTo>
                  <a:pt x="177264" y="613911"/>
                </a:moveTo>
                <a:lnTo>
                  <a:pt x="178288" y="615178"/>
                </a:lnTo>
                <a:lnTo>
                  <a:pt x="178573" y="616746"/>
                </a:lnTo>
                <a:close/>
                <a:moveTo>
                  <a:pt x="2868102" y="613103"/>
                </a:moveTo>
                <a:cubicBezTo>
                  <a:pt x="2864458" y="613103"/>
                  <a:pt x="2864458" y="614924"/>
                  <a:pt x="2864458" y="620391"/>
                </a:cubicBezTo>
                <a:cubicBezTo>
                  <a:pt x="2869924" y="622213"/>
                  <a:pt x="2868102" y="616746"/>
                  <a:pt x="2868102" y="613103"/>
                </a:cubicBezTo>
                <a:close/>
                <a:moveTo>
                  <a:pt x="2315983" y="613103"/>
                </a:moveTo>
                <a:cubicBezTo>
                  <a:pt x="2312339" y="614924"/>
                  <a:pt x="2312339" y="624035"/>
                  <a:pt x="2317806" y="620391"/>
                </a:cubicBezTo>
                <a:cubicBezTo>
                  <a:pt x="2317806" y="616746"/>
                  <a:pt x="2317806" y="614924"/>
                  <a:pt x="2315983" y="613103"/>
                </a:cubicBezTo>
                <a:close/>
                <a:moveTo>
                  <a:pt x="1146148" y="613103"/>
                </a:moveTo>
                <a:cubicBezTo>
                  <a:pt x="1142503" y="618568"/>
                  <a:pt x="1135215" y="624035"/>
                  <a:pt x="1137037" y="629501"/>
                </a:cubicBezTo>
                <a:cubicBezTo>
                  <a:pt x="1142503" y="625857"/>
                  <a:pt x="1146148" y="618568"/>
                  <a:pt x="1146148" y="613103"/>
                </a:cubicBezTo>
                <a:close/>
                <a:moveTo>
                  <a:pt x="1073262" y="613103"/>
                </a:moveTo>
                <a:cubicBezTo>
                  <a:pt x="1073262" y="616746"/>
                  <a:pt x="1073262" y="618568"/>
                  <a:pt x="1075083" y="620391"/>
                </a:cubicBezTo>
                <a:cubicBezTo>
                  <a:pt x="1075083" y="620391"/>
                  <a:pt x="1076905" y="618568"/>
                  <a:pt x="1078727" y="616746"/>
                </a:cubicBezTo>
                <a:cubicBezTo>
                  <a:pt x="1075083" y="618568"/>
                  <a:pt x="1076905" y="614924"/>
                  <a:pt x="1073262" y="613103"/>
                </a:cubicBezTo>
                <a:close/>
                <a:moveTo>
                  <a:pt x="1053217" y="613103"/>
                </a:moveTo>
                <a:lnTo>
                  <a:pt x="1058757" y="617257"/>
                </a:lnTo>
                <a:lnTo>
                  <a:pt x="1056477" y="620295"/>
                </a:lnTo>
                <a:lnTo>
                  <a:pt x="1055040" y="620391"/>
                </a:lnTo>
                <a:lnTo>
                  <a:pt x="1053824" y="620999"/>
                </a:lnTo>
                <a:lnTo>
                  <a:pt x="1053217" y="620391"/>
                </a:lnTo>
                <a:lnTo>
                  <a:pt x="1052611" y="621606"/>
                </a:lnTo>
                <a:lnTo>
                  <a:pt x="1051395" y="622213"/>
                </a:lnTo>
                <a:cubicBezTo>
                  <a:pt x="1051395" y="616746"/>
                  <a:pt x="1051395" y="614924"/>
                  <a:pt x="1053217" y="613103"/>
                </a:cubicBezTo>
                <a:close/>
                <a:moveTo>
                  <a:pt x="677849" y="613103"/>
                </a:moveTo>
                <a:cubicBezTo>
                  <a:pt x="676027" y="614924"/>
                  <a:pt x="676027" y="614924"/>
                  <a:pt x="674205" y="616746"/>
                </a:cubicBezTo>
                <a:cubicBezTo>
                  <a:pt x="676027" y="616746"/>
                  <a:pt x="677849" y="620391"/>
                  <a:pt x="681493" y="618568"/>
                </a:cubicBezTo>
                <a:cubicBezTo>
                  <a:pt x="679671" y="616746"/>
                  <a:pt x="677849" y="614924"/>
                  <a:pt x="677849" y="613103"/>
                </a:cubicBezTo>
                <a:close/>
                <a:moveTo>
                  <a:pt x="623185" y="613103"/>
                </a:moveTo>
                <a:cubicBezTo>
                  <a:pt x="619539" y="614924"/>
                  <a:pt x="621362" y="616746"/>
                  <a:pt x="619539" y="620391"/>
                </a:cubicBezTo>
                <a:cubicBezTo>
                  <a:pt x="621362" y="620391"/>
                  <a:pt x="623185" y="614924"/>
                  <a:pt x="623185" y="613103"/>
                </a:cubicBezTo>
                <a:close/>
                <a:moveTo>
                  <a:pt x="116619" y="613103"/>
                </a:moveTo>
                <a:cubicBezTo>
                  <a:pt x="114797" y="616746"/>
                  <a:pt x="120264" y="629501"/>
                  <a:pt x="125730" y="629501"/>
                </a:cubicBezTo>
                <a:cubicBezTo>
                  <a:pt x="127552" y="625857"/>
                  <a:pt x="116619" y="614924"/>
                  <a:pt x="116619" y="613103"/>
                </a:cubicBezTo>
                <a:close/>
                <a:moveTo>
                  <a:pt x="3306449" y="613074"/>
                </a:moveTo>
                <a:cubicBezTo>
                  <a:pt x="3295175" y="611280"/>
                  <a:pt x="3284925" y="623580"/>
                  <a:pt x="3272625" y="627679"/>
                </a:cubicBezTo>
                <a:lnTo>
                  <a:pt x="3274447" y="629502"/>
                </a:lnTo>
                <a:lnTo>
                  <a:pt x="3272625" y="644079"/>
                </a:lnTo>
                <a:cubicBezTo>
                  <a:pt x="3274447" y="642257"/>
                  <a:pt x="3278091" y="638612"/>
                  <a:pt x="3279913" y="644079"/>
                </a:cubicBezTo>
                <a:cubicBezTo>
                  <a:pt x="3281736" y="636790"/>
                  <a:pt x="3287202" y="634968"/>
                  <a:pt x="3292669" y="633146"/>
                </a:cubicBezTo>
                <a:cubicBezTo>
                  <a:pt x="3296313" y="633146"/>
                  <a:pt x="3296313" y="636790"/>
                  <a:pt x="3296313" y="638612"/>
                </a:cubicBezTo>
                <a:cubicBezTo>
                  <a:pt x="3289024" y="638612"/>
                  <a:pt x="3292669" y="640435"/>
                  <a:pt x="3294491" y="642257"/>
                </a:cubicBezTo>
                <a:cubicBezTo>
                  <a:pt x="3292669" y="644079"/>
                  <a:pt x="3290847" y="640435"/>
                  <a:pt x="3289024" y="640435"/>
                </a:cubicBezTo>
                <a:cubicBezTo>
                  <a:pt x="3289024" y="644079"/>
                  <a:pt x="3287202" y="645901"/>
                  <a:pt x="3289024" y="647723"/>
                </a:cubicBezTo>
                <a:cubicBezTo>
                  <a:pt x="3290847" y="649545"/>
                  <a:pt x="3294491" y="647723"/>
                  <a:pt x="3296313" y="647723"/>
                </a:cubicBezTo>
                <a:cubicBezTo>
                  <a:pt x="3296313" y="644079"/>
                  <a:pt x="3296313" y="642257"/>
                  <a:pt x="3298135" y="640435"/>
                </a:cubicBezTo>
                <a:cubicBezTo>
                  <a:pt x="3299957" y="640435"/>
                  <a:pt x="3299957" y="640435"/>
                  <a:pt x="3301780" y="640435"/>
                </a:cubicBezTo>
                <a:cubicBezTo>
                  <a:pt x="3299957" y="638612"/>
                  <a:pt x="3298135" y="636790"/>
                  <a:pt x="3299957" y="634968"/>
                </a:cubicBezTo>
                <a:cubicBezTo>
                  <a:pt x="3310890" y="629501"/>
                  <a:pt x="3323646" y="634968"/>
                  <a:pt x="3330934" y="627679"/>
                </a:cubicBezTo>
                <a:cubicBezTo>
                  <a:pt x="3332756" y="625857"/>
                  <a:pt x="3327290" y="622213"/>
                  <a:pt x="3325468" y="618568"/>
                </a:cubicBezTo>
                <a:cubicBezTo>
                  <a:pt x="3323646" y="618568"/>
                  <a:pt x="3320001" y="622213"/>
                  <a:pt x="3318179" y="620391"/>
                </a:cubicBezTo>
                <a:cubicBezTo>
                  <a:pt x="3314080" y="615836"/>
                  <a:pt x="3310207" y="613672"/>
                  <a:pt x="3306449" y="613074"/>
                </a:cubicBezTo>
                <a:close/>
                <a:moveTo>
                  <a:pt x="2997477" y="612360"/>
                </a:moveTo>
                <a:lnTo>
                  <a:pt x="2997477" y="613103"/>
                </a:lnTo>
                <a:lnTo>
                  <a:pt x="2996195" y="612740"/>
                </a:lnTo>
                <a:close/>
                <a:moveTo>
                  <a:pt x="330624" y="611281"/>
                </a:moveTo>
                <a:lnTo>
                  <a:pt x="331636" y="613103"/>
                </a:lnTo>
                <a:lnTo>
                  <a:pt x="331275" y="612793"/>
                </a:lnTo>
                <a:close/>
                <a:moveTo>
                  <a:pt x="3457803" y="611280"/>
                </a:moveTo>
                <a:cubicBezTo>
                  <a:pt x="3456209" y="612191"/>
                  <a:pt x="3454842" y="614014"/>
                  <a:pt x="3454842" y="616746"/>
                </a:cubicBezTo>
                <a:cubicBezTo>
                  <a:pt x="3456664" y="618568"/>
                  <a:pt x="3462131" y="616746"/>
                  <a:pt x="3462131" y="611280"/>
                </a:cubicBezTo>
                <a:cubicBezTo>
                  <a:pt x="3461220" y="610370"/>
                  <a:pt x="3459398" y="610370"/>
                  <a:pt x="3457803" y="611280"/>
                </a:cubicBezTo>
                <a:close/>
                <a:moveTo>
                  <a:pt x="3361911" y="611280"/>
                </a:moveTo>
                <a:cubicBezTo>
                  <a:pt x="3354623" y="613103"/>
                  <a:pt x="3360089" y="618568"/>
                  <a:pt x="3358267" y="622213"/>
                </a:cubicBezTo>
                <a:cubicBezTo>
                  <a:pt x="3361911" y="620391"/>
                  <a:pt x="3363734" y="613103"/>
                  <a:pt x="3361911" y="611280"/>
                </a:cubicBezTo>
                <a:close/>
                <a:moveTo>
                  <a:pt x="2933700" y="611280"/>
                </a:moveTo>
                <a:cubicBezTo>
                  <a:pt x="2939167" y="616746"/>
                  <a:pt x="2944634" y="622213"/>
                  <a:pt x="2946456" y="629501"/>
                </a:cubicBezTo>
                <a:cubicBezTo>
                  <a:pt x="2951922" y="622213"/>
                  <a:pt x="2940989" y="620391"/>
                  <a:pt x="2953744" y="620391"/>
                </a:cubicBezTo>
                <a:cubicBezTo>
                  <a:pt x="2950100" y="614924"/>
                  <a:pt x="2939167" y="607635"/>
                  <a:pt x="2933700" y="611280"/>
                </a:cubicBezTo>
                <a:close/>
                <a:moveTo>
                  <a:pt x="2800682" y="611280"/>
                </a:moveTo>
                <a:cubicBezTo>
                  <a:pt x="2797037" y="624035"/>
                  <a:pt x="2807971" y="631324"/>
                  <a:pt x="2817081" y="636790"/>
                </a:cubicBezTo>
                <a:cubicBezTo>
                  <a:pt x="2811615" y="638612"/>
                  <a:pt x="2804326" y="633146"/>
                  <a:pt x="2800682" y="638612"/>
                </a:cubicBezTo>
                <a:cubicBezTo>
                  <a:pt x="2797037" y="644079"/>
                  <a:pt x="2807971" y="645901"/>
                  <a:pt x="2811615" y="651368"/>
                </a:cubicBezTo>
                <a:cubicBezTo>
                  <a:pt x="2811615" y="647723"/>
                  <a:pt x="2815259" y="640435"/>
                  <a:pt x="2817081" y="640435"/>
                </a:cubicBezTo>
                <a:cubicBezTo>
                  <a:pt x="2818903" y="638612"/>
                  <a:pt x="2818903" y="645901"/>
                  <a:pt x="2822548" y="647723"/>
                </a:cubicBezTo>
                <a:cubicBezTo>
                  <a:pt x="2820726" y="644079"/>
                  <a:pt x="2817081" y="631324"/>
                  <a:pt x="2826192" y="634968"/>
                </a:cubicBezTo>
                <a:cubicBezTo>
                  <a:pt x="2826192" y="634968"/>
                  <a:pt x="2826192" y="636790"/>
                  <a:pt x="2826192" y="638612"/>
                </a:cubicBezTo>
                <a:cubicBezTo>
                  <a:pt x="2828014" y="636790"/>
                  <a:pt x="2829837" y="636790"/>
                  <a:pt x="2831659" y="634968"/>
                </a:cubicBezTo>
                <a:cubicBezTo>
                  <a:pt x="2837125" y="642257"/>
                  <a:pt x="2838947" y="647723"/>
                  <a:pt x="2848058" y="645901"/>
                </a:cubicBezTo>
                <a:cubicBezTo>
                  <a:pt x="2846236" y="640435"/>
                  <a:pt x="2831659" y="638612"/>
                  <a:pt x="2838947" y="629501"/>
                </a:cubicBezTo>
                <a:cubicBezTo>
                  <a:pt x="2840769" y="629501"/>
                  <a:pt x="2835303" y="627679"/>
                  <a:pt x="2835303" y="627679"/>
                </a:cubicBezTo>
                <a:cubicBezTo>
                  <a:pt x="2837125" y="625857"/>
                  <a:pt x="2838947" y="616746"/>
                  <a:pt x="2833481" y="614924"/>
                </a:cubicBezTo>
                <a:cubicBezTo>
                  <a:pt x="2835303" y="616746"/>
                  <a:pt x="2833481" y="618568"/>
                  <a:pt x="2833481" y="620391"/>
                </a:cubicBezTo>
                <a:cubicBezTo>
                  <a:pt x="2824370" y="614924"/>
                  <a:pt x="2817081" y="614924"/>
                  <a:pt x="2815259" y="625857"/>
                </a:cubicBezTo>
                <a:cubicBezTo>
                  <a:pt x="2813437" y="620391"/>
                  <a:pt x="2815259" y="613103"/>
                  <a:pt x="2807971" y="614924"/>
                </a:cubicBezTo>
                <a:cubicBezTo>
                  <a:pt x="2806148" y="614924"/>
                  <a:pt x="2806148" y="618568"/>
                  <a:pt x="2807971" y="622213"/>
                </a:cubicBezTo>
                <a:cubicBezTo>
                  <a:pt x="2809793" y="620391"/>
                  <a:pt x="2806148" y="620391"/>
                  <a:pt x="2804326" y="616746"/>
                </a:cubicBezTo>
                <a:cubicBezTo>
                  <a:pt x="2804326" y="616746"/>
                  <a:pt x="2802504" y="616746"/>
                  <a:pt x="2802504" y="618568"/>
                </a:cubicBezTo>
                <a:cubicBezTo>
                  <a:pt x="2800682" y="616746"/>
                  <a:pt x="2798860" y="613103"/>
                  <a:pt x="2800682" y="611280"/>
                </a:cubicBezTo>
                <a:close/>
                <a:moveTo>
                  <a:pt x="1304677" y="611280"/>
                </a:moveTo>
                <a:cubicBezTo>
                  <a:pt x="1304677" y="616746"/>
                  <a:pt x="1299210" y="620391"/>
                  <a:pt x="1299210" y="624035"/>
                </a:cubicBezTo>
                <a:cubicBezTo>
                  <a:pt x="1302855" y="622213"/>
                  <a:pt x="1308321" y="614924"/>
                  <a:pt x="1304677" y="611280"/>
                </a:cubicBezTo>
                <a:close/>
                <a:moveTo>
                  <a:pt x="1122459" y="611280"/>
                </a:moveTo>
                <a:cubicBezTo>
                  <a:pt x="1120637" y="613103"/>
                  <a:pt x="1120637" y="613103"/>
                  <a:pt x="1118815" y="614924"/>
                </a:cubicBezTo>
                <a:cubicBezTo>
                  <a:pt x="1120637" y="616746"/>
                  <a:pt x="1126104" y="611280"/>
                  <a:pt x="1122459" y="611280"/>
                </a:cubicBezTo>
                <a:close/>
                <a:moveTo>
                  <a:pt x="1086016" y="611280"/>
                </a:moveTo>
                <a:cubicBezTo>
                  <a:pt x="1084194" y="611280"/>
                  <a:pt x="1082373" y="614924"/>
                  <a:pt x="1082373" y="614924"/>
                </a:cubicBezTo>
                <a:cubicBezTo>
                  <a:pt x="1084194" y="614924"/>
                  <a:pt x="1086016" y="614924"/>
                  <a:pt x="1087838" y="613103"/>
                </a:cubicBezTo>
                <a:cubicBezTo>
                  <a:pt x="1087838" y="613103"/>
                  <a:pt x="1086016" y="613103"/>
                  <a:pt x="1084194" y="613103"/>
                </a:cubicBezTo>
                <a:cubicBezTo>
                  <a:pt x="1086016" y="611280"/>
                  <a:pt x="1086016" y="611280"/>
                  <a:pt x="1086016" y="611280"/>
                </a:cubicBezTo>
                <a:close/>
                <a:moveTo>
                  <a:pt x="663272" y="611280"/>
                </a:moveTo>
                <a:cubicBezTo>
                  <a:pt x="659627" y="613103"/>
                  <a:pt x="663272" y="618568"/>
                  <a:pt x="666916" y="614924"/>
                </a:cubicBezTo>
                <a:cubicBezTo>
                  <a:pt x="666916" y="613103"/>
                  <a:pt x="665094" y="613103"/>
                  <a:pt x="663272" y="611280"/>
                </a:cubicBezTo>
                <a:close/>
                <a:moveTo>
                  <a:pt x="657805" y="611280"/>
                </a:moveTo>
                <a:cubicBezTo>
                  <a:pt x="655983" y="609459"/>
                  <a:pt x="655983" y="613103"/>
                  <a:pt x="654161" y="613103"/>
                </a:cubicBezTo>
                <a:lnTo>
                  <a:pt x="657385" y="616326"/>
                </a:lnTo>
                <a:lnTo>
                  <a:pt x="657350" y="616746"/>
                </a:lnTo>
                <a:lnTo>
                  <a:pt x="654161" y="616746"/>
                </a:lnTo>
                <a:cubicBezTo>
                  <a:pt x="653250" y="616291"/>
                  <a:pt x="652339" y="615835"/>
                  <a:pt x="650516" y="616746"/>
                </a:cubicBezTo>
                <a:cubicBezTo>
                  <a:pt x="645050" y="622213"/>
                  <a:pt x="650516" y="627679"/>
                  <a:pt x="655983" y="633146"/>
                </a:cubicBezTo>
                <a:lnTo>
                  <a:pt x="657350" y="616746"/>
                </a:lnTo>
                <a:lnTo>
                  <a:pt x="657805" y="616746"/>
                </a:lnTo>
                <a:lnTo>
                  <a:pt x="657385" y="616326"/>
                </a:lnTo>
                <a:close/>
                <a:moveTo>
                  <a:pt x="597673" y="611280"/>
                </a:moveTo>
                <a:cubicBezTo>
                  <a:pt x="590385" y="614924"/>
                  <a:pt x="594030" y="618568"/>
                  <a:pt x="597673" y="620391"/>
                </a:cubicBezTo>
                <a:cubicBezTo>
                  <a:pt x="597673" y="616746"/>
                  <a:pt x="599496" y="613103"/>
                  <a:pt x="597673" y="611280"/>
                </a:cubicBezTo>
                <a:close/>
                <a:moveTo>
                  <a:pt x="524786" y="611280"/>
                </a:moveTo>
                <a:cubicBezTo>
                  <a:pt x="521142" y="613103"/>
                  <a:pt x="519320" y="614924"/>
                  <a:pt x="521142" y="616746"/>
                </a:cubicBezTo>
                <a:cubicBezTo>
                  <a:pt x="524786" y="614924"/>
                  <a:pt x="524786" y="614924"/>
                  <a:pt x="526609" y="613103"/>
                </a:cubicBezTo>
                <a:cubicBezTo>
                  <a:pt x="526609" y="613103"/>
                  <a:pt x="524786" y="611280"/>
                  <a:pt x="524786" y="611280"/>
                </a:cubicBezTo>
                <a:close/>
                <a:moveTo>
                  <a:pt x="479232" y="611280"/>
                </a:moveTo>
                <a:cubicBezTo>
                  <a:pt x="479232" y="613103"/>
                  <a:pt x="482876" y="616746"/>
                  <a:pt x="482876" y="620391"/>
                </a:cubicBezTo>
                <a:cubicBezTo>
                  <a:pt x="484700" y="620391"/>
                  <a:pt x="481054" y="611280"/>
                  <a:pt x="479232" y="611280"/>
                </a:cubicBezTo>
                <a:close/>
                <a:moveTo>
                  <a:pt x="400879" y="611280"/>
                </a:moveTo>
                <a:lnTo>
                  <a:pt x="400879" y="616201"/>
                </a:lnTo>
                <a:lnTo>
                  <a:pt x="399707" y="613038"/>
                </a:lnTo>
                <a:close/>
                <a:moveTo>
                  <a:pt x="2458175" y="610908"/>
                </a:moveTo>
                <a:lnTo>
                  <a:pt x="2458113" y="611280"/>
                </a:lnTo>
                <a:lnTo>
                  <a:pt x="2450841" y="616516"/>
                </a:lnTo>
                <a:lnTo>
                  <a:pt x="2453330" y="613103"/>
                </a:lnTo>
                <a:close/>
                <a:moveTo>
                  <a:pt x="279037" y="610047"/>
                </a:moveTo>
                <a:lnTo>
                  <a:pt x="286082" y="618568"/>
                </a:lnTo>
                <a:lnTo>
                  <a:pt x="282171" y="617591"/>
                </a:lnTo>
                <a:close/>
                <a:moveTo>
                  <a:pt x="880111" y="609459"/>
                </a:moveTo>
                <a:cubicBezTo>
                  <a:pt x="871000" y="618568"/>
                  <a:pt x="872822" y="629501"/>
                  <a:pt x="869177" y="640435"/>
                </a:cubicBezTo>
                <a:cubicBezTo>
                  <a:pt x="872822" y="636790"/>
                  <a:pt x="878288" y="629501"/>
                  <a:pt x="883755" y="624035"/>
                </a:cubicBezTo>
                <a:cubicBezTo>
                  <a:pt x="881933" y="618568"/>
                  <a:pt x="883755" y="613103"/>
                  <a:pt x="880111" y="609459"/>
                </a:cubicBezTo>
                <a:close/>
                <a:moveTo>
                  <a:pt x="841845" y="609459"/>
                </a:moveTo>
                <a:cubicBezTo>
                  <a:pt x="838200" y="611280"/>
                  <a:pt x="838200" y="614924"/>
                  <a:pt x="836378" y="616746"/>
                </a:cubicBezTo>
                <a:cubicBezTo>
                  <a:pt x="836378" y="618568"/>
                  <a:pt x="840022" y="613103"/>
                  <a:pt x="838200" y="616746"/>
                </a:cubicBezTo>
                <a:cubicBezTo>
                  <a:pt x="834556" y="618568"/>
                  <a:pt x="829089" y="622213"/>
                  <a:pt x="836378" y="625857"/>
                </a:cubicBezTo>
                <a:cubicBezTo>
                  <a:pt x="838200" y="625857"/>
                  <a:pt x="840022" y="620391"/>
                  <a:pt x="838200" y="616746"/>
                </a:cubicBezTo>
                <a:cubicBezTo>
                  <a:pt x="840022" y="618568"/>
                  <a:pt x="840022" y="613103"/>
                  <a:pt x="841845" y="614924"/>
                </a:cubicBezTo>
                <a:cubicBezTo>
                  <a:pt x="843667" y="613103"/>
                  <a:pt x="843667" y="611280"/>
                  <a:pt x="841845" y="609459"/>
                </a:cubicBezTo>
                <a:close/>
                <a:moveTo>
                  <a:pt x="488343" y="609459"/>
                </a:moveTo>
                <a:cubicBezTo>
                  <a:pt x="484700" y="611280"/>
                  <a:pt x="491987" y="616746"/>
                  <a:pt x="490165" y="620391"/>
                </a:cubicBezTo>
                <a:cubicBezTo>
                  <a:pt x="493809" y="620391"/>
                  <a:pt x="490165" y="614924"/>
                  <a:pt x="495632" y="614924"/>
                </a:cubicBezTo>
                <a:cubicBezTo>
                  <a:pt x="493809" y="613103"/>
                  <a:pt x="490165" y="613103"/>
                  <a:pt x="488343" y="609459"/>
                </a:cubicBezTo>
                <a:close/>
                <a:moveTo>
                  <a:pt x="379012" y="609459"/>
                </a:moveTo>
                <a:cubicBezTo>
                  <a:pt x="373546" y="609459"/>
                  <a:pt x="375368" y="618568"/>
                  <a:pt x="379012" y="622213"/>
                </a:cubicBezTo>
                <a:cubicBezTo>
                  <a:pt x="380835" y="618568"/>
                  <a:pt x="380835" y="613103"/>
                  <a:pt x="379012" y="609459"/>
                </a:cubicBezTo>
                <a:close/>
                <a:moveTo>
                  <a:pt x="278793" y="609459"/>
                </a:moveTo>
                <a:lnTo>
                  <a:pt x="279037" y="610047"/>
                </a:lnTo>
                <a:lnTo>
                  <a:pt x="278898" y="609878"/>
                </a:lnTo>
                <a:close/>
                <a:moveTo>
                  <a:pt x="1234345" y="609417"/>
                </a:moveTo>
                <a:lnTo>
                  <a:pt x="1234028" y="610221"/>
                </a:lnTo>
                <a:lnTo>
                  <a:pt x="1233612" y="609459"/>
                </a:lnTo>
                <a:close/>
                <a:moveTo>
                  <a:pt x="1243316" y="608166"/>
                </a:moveTo>
                <a:lnTo>
                  <a:pt x="1240901" y="611280"/>
                </a:lnTo>
                <a:lnTo>
                  <a:pt x="1240685" y="609054"/>
                </a:lnTo>
                <a:lnTo>
                  <a:pt x="1241584" y="609003"/>
                </a:lnTo>
                <a:close/>
                <a:moveTo>
                  <a:pt x="78055" y="607686"/>
                </a:moveTo>
                <a:lnTo>
                  <a:pt x="92569" y="630493"/>
                </a:lnTo>
                <a:lnTo>
                  <a:pt x="89742" y="626541"/>
                </a:lnTo>
                <a:close/>
                <a:moveTo>
                  <a:pt x="3482175" y="607635"/>
                </a:moveTo>
                <a:cubicBezTo>
                  <a:pt x="3480353" y="613103"/>
                  <a:pt x="3487641" y="616746"/>
                  <a:pt x="3493108" y="616746"/>
                </a:cubicBezTo>
                <a:cubicBezTo>
                  <a:pt x="3493108" y="614924"/>
                  <a:pt x="3493108" y="613103"/>
                  <a:pt x="3494930" y="613103"/>
                </a:cubicBezTo>
                <a:cubicBezTo>
                  <a:pt x="3496752" y="613103"/>
                  <a:pt x="3493108" y="611280"/>
                  <a:pt x="3493108" y="613103"/>
                </a:cubicBezTo>
                <a:cubicBezTo>
                  <a:pt x="3493108" y="609459"/>
                  <a:pt x="3485819" y="611280"/>
                  <a:pt x="3482175" y="607635"/>
                </a:cubicBezTo>
                <a:close/>
                <a:moveTo>
                  <a:pt x="2540111" y="607635"/>
                </a:moveTo>
                <a:cubicBezTo>
                  <a:pt x="2538289" y="605813"/>
                  <a:pt x="2538289" y="614924"/>
                  <a:pt x="2536466" y="616746"/>
                </a:cubicBezTo>
                <a:cubicBezTo>
                  <a:pt x="2540111" y="616746"/>
                  <a:pt x="2545577" y="618568"/>
                  <a:pt x="2547400" y="614924"/>
                </a:cubicBezTo>
                <a:cubicBezTo>
                  <a:pt x="2547400" y="609459"/>
                  <a:pt x="2540111" y="613103"/>
                  <a:pt x="2540111" y="607635"/>
                </a:cubicBezTo>
                <a:close/>
                <a:moveTo>
                  <a:pt x="2405270" y="607635"/>
                </a:moveTo>
                <a:cubicBezTo>
                  <a:pt x="2403448" y="611280"/>
                  <a:pt x="2407092" y="611280"/>
                  <a:pt x="2407092" y="614924"/>
                </a:cubicBezTo>
                <a:cubicBezTo>
                  <a:pt x="2408914" y="613103"/>
                  <a:pt x="2407092" y="609459"/>
                  <a:pt x="2408914" y="609459"/>
                </a:cubicBezTo>
                <a:cubicBezTo>
                  <a:pt x="2408914" y="607635"/>
                  <a:pt x="2407092" y="607635"/>
                  <a:pt x="2405270" y="607635"/>
                </a:cubicBezTo>
                <a:close/>
                <a:moveTo>
                  <a:pt x="2385226" y="607635"/>
                </a:moveTo>
                <a:cubicBezTo>
                  <a:pt x="2377937" y="611280"/>
                  <a:pt x="2379760" y="616746"/>
                  <a:pt x="2383404" y="620391"/>
                </a:cubicBezTo>
                <a:cubicBezTo>
                  <a:pt x="2385226" y="618568"/>
                  <a:pt x="2385226" y="613103"/>
                  <a:pt x="2385226" y="607635"/>
                </a:cubicBezTo>
                <a:close/>
                <a:moveTo>
                  <a:pt x="1301033" y="607635"/>
                </a:moveTo>
                <a:cubicBezTo>
                  <a:pt x="1299210" y="607635"/>
                  <a:pt x="1297388" y="613103"/>
                  <a:pt x="1299210" y="616746"/>
                </a:cubicBezTo>
                <a:cubicBezTo>
                  <a:pt x="1302855" y="613103"/>
                  <a:pt x="1299210" y="609459"/>
                  <a:pt x="1301033" y="607635"/>
                </a:cubicBezTo>
                <a:close/>
                <a:moveTo>
                  <a:pt x="1293744" y="607635"/>
                </a:moveTo>
                <a:cubicBezTo>
                  <a:pt x="1292834" y="608547"/>
                  <a:pt x="1293288" y="609458"/>
                  <a:pt x="1293516" y="610369"/>
                </a:cubicBezTo>
                <a:lnTo>
                  <a:pt x="1293274" y="610786"/>
                </a:lnTo>
                <a:lnTo>
                  <a:pt x="1293077" y="608302"/>
                </a:lnTo>
                <a:close/>
                <a:moveTo>
                  <a:pt x="927487" y="607635"/>
                </a:moveTo>
                <a:cubicBezTo>
                  <a:pt x="925666" y="607635"/>
                  <a:pt x="923843" y="609459"/>
                  <a:pt x="923843" y="609459"/>
                </a:cubicBezTo>
                <a:cubicBezTo>
                  <a:pt x="927487" y="611280"/>
                  <a:pt x="920198" y="618568"/>
                  <a:pt x="922020" y="622213"/>
                </a:cubicBezTo>
                <a:cubicBezTo>
                  <a:pt x="927487" y="618568"/>
                  <a:pt x="925666" y="613103"/>
                  <a:pt x="927487" y="607635"/>
                </a:cubicBezTo>
                <a:close/>
                <a:moveTo>
                  <a:pt x="869177" y="607635"/>
                </a:moveTo>
                <a:cubicBezTo>
                  <a:pt x="865533" y="611280"/>
                  <a:pt x="863711" y="614924"/>
                  <a:pt x="860066" y="616746"/>
                </a:cubicBezTo>
                <a:cubicBezTo>
                  <a:pt x="865533" y="616746"/>
                  <a:pt x="872822" y="611280"/>
                  <a:pt x="869177" y="607635"/>
                </a:cubicBezTo>
                <a:close/>
                <a:moveTo>
                  <a:pt x="710648" y="607635"/>
                </a:moveTo>
                <a:cubicBezTo>
                  <a:pt x="710648" y="618568"/>
                  <a:pt x="721581" y="629501"/>
                  <a:pt x="732515" y="627679"/>
                </a:cubicBezTo>
                <a:cubicBezTo>
                  <a:pt x="728870" y="625857"/>
                  <a:pt x="725226" y="625857"/>
                  <a:pt x="723404" y="622213"/>
                </a:cubicBezTo>
                <a:cubicBezTo>
                  <a:pt x="725226" y="620391"/>
                  <a:pt x="725226" y="618568"/>
                  <a:pt x="728870" y="622213"/>
                </a:cubicBezTo>
                <a:cubicBezTo>
                  <a:pt x="728870" y="614924"/>
                  <a:pt x="717937" y="609459"/>
                  <a:pt x="710648" y="607635"/>
                </a:cubicBezTo>
                <a:close/>
                <a:moveTo>
                  <a:pt x="3238232" y="605814"/>
                </a:moveTo>
                <a:cubicBezTo>
                  <a:pt x="3235271" y="605358"/>
                  <a:pt x="3231626" y="605814"/>
                  <a:pt x="3228893" y="607635"/>
                </a:cubicBezTo>
                <a:cubicBezTo>
                  <a:pt x="3230715" y="613103"/>
                  <a:pt x="3239826" y="609459"/>
                  <a:pt x="3243470" y="609459"/>
                </a:cubicBezTo>
                <a:cubicBezTo>
                  <a:pt x="3243470" y="607636"/>
                  <a:pt x="3241193" y="606269"/>
                  <a:pt x="3238232" y="605814"/>
                </a:cubicBezTo>
                <a:close/>
                <a:moveTo>
                  <a:pt x="2396159" y="605813"/>
                </a:moveTo>
                <a:cubicBezTo>
                  <a:pt x="2394337" y="609459"/>
                  <a:pt x="2394337" y="613103"/>
                  <a:pt x="2394337" y="618568"/>
                </a:cubicBezTo>
                <a:cubicBezTo>
                  <a:pt x="2397981" y="618568"/>
                  <a:pt x="2399803" y="616746"/>
                  <a:pt x="2403448" y="616746"/>
                </a:cubicBezTo>
                <a:cubicBezTo>
                  <a:pt x="2401626" y="611280"/>
                  <a:pt x="2401626" y="603991"/>
                  <a:pt x="2396159" y="605813"/>
                </a:cubicBezTo>
                <a:close/>
                <a:moveTo>
                  <a:pt x="1419474" y="605813"/>
                </a:moveTo>
                <a:cubicBezTo>
                  <a:pt x="1415829" y="607635"/>
                  <a:pt x="1408541" y="607635"/>
                  <a:pt x="1408541" y="613103"/>
                </a:cubicBezTo>
                <a:cubicBezTo>
                  <a:pt x="1408541" y="613103"/>
                  <a:pt x="1412185" y="614924"/>
                  <a:pt x="1408541" y="616746"/>
                </a:cubicBezTo>
                <a:cubicBezTo>
                  <a:pt x="1410363" y="616746"/>
                  <a:pt x="1408541" y="618568"/>
                  <a:pt x="1410363" y="620391"/>
                </a:cubicBezTo>
                <a:cubicBezTo>
                  <a:pt x="1412185" y="618568"/>
                  <a:pt x="1412185" y="614924"/>
                  <a:pt x="1412185" y="613103"/>
                </a:cubicBezTo>
                <a:cubicBezTo>
                  <a:pt x="1414007" y="613103"/>
                  <a:pt x="1415829" y="613103"/>
                  <a:pt x="1415829" y="613103"/>
                </a:cubicBezTo>
                <a:lnTo>
                  <a:pt x="1416369" y="616881"/>
                </a:lnTo>
                <a:lnTo>
                  <a:pt x="1415829" y="616746"/>
                </a:lnTo>
                <a:lnTo>
                  <a:pt x="1417044" y="621602"/>
                </a:lnTo>
                <a:lnTo>
                  <a:pt x="1417424" y="624263"/>
                </a:lnTo>
                <a:lnTo>
                  <a:pt x="1415829" y="625857"/>
                </a:lnTo>
                <a:lnTo>
                  <a:pt x="1418089" y="628913"/>
                </a:lnTo>
                <a:lnTo>
                  <a:pt x="1419143" y="636294"/>
                </a:lnTo>
                <a:lnTo>
                  <a:pt x="1417652" y="642257"/>
                </a:lnTo>
                <a:cubicBezTo>
                  <a:pt x="1417652" y="640435"/>
                  <a:pt x="1419474" y="640435"/>
                  <a:pt x="1419474" y="638612"/>
                </a:cubicBezTo>
                <a:lnTo>
                  <a:pt x="1419143" y="636294"/>
                </a:lnTo>
                <a:lnTo>
                  <a:pt x="1419474" y="634968"/>
                </a:lnTo>
                <a:cubicBezTo>
                  <a:pt x="1420385" y="634968"/>
                  <a:pt x="1420385" y="633146"/>
                  <a:pt x="1419702" y="631096"/>
                </a:cubicBezTo>
                <a:lnTo>
                  <a:pt x="1418089" y="628913"/>
                </a:lnTo>
                <a:lnTo>
                  <a:pt x="1417424" y="624263"/>
                </a:lnTo>
                <a:lnTo>
                  <a:pt x="1417652" y="624035"/>
                </a:lnTo>
                <a:lnTo>
                  <a:pt x="1417044" y="621602"/>
                </a:lnTo>
                <a:lnTo>
                  <a:pt x="1416369" y="616881"/>
                </a:lnTo>
                <a:lnTo>
                  <a:pt x="1417652" y="617202"/>
                </a:lnTo>
                <a:cubicBezTo>
                  <a:pt x="1418108" y="618113"/>
                  <a:pt x="1418563" y="619480"/>
                  <a:pt x="1419474" y="620391"/>
                </a:cubicBezTo>
                <a:cubicBezTo>
                  <a:pt x="1426763" y="614924"/>
                  <a:pt x="1419474" y="611280"/>
                  <a:pt x="1419474" y="605813"/>
                </a:cubicBezTo>
                <a:close/>
                <a:moveTo>
                  <a:pt x="1404896" y="605813"/>
                </a:moveTo>
                <a:lnTo>
                  <a:pt x="1405807" y="605813"/>
                </a:lnTo>
                <a:lnTo>
                  <a:pt x="1404896" y="607635"/>
                </a:lnTo>
                <a:close/>
                <a:moveTo>
                  <a:pt x="1355698" y="605813"/>
                </a:moveTo>
                <a:cubicBezTo>
                  <a:pt x="1357521" y="607635"/>
                  <a:pt x="1359342" y="609459"/>
                  <a:pt x="1361164" y="611280"/>
                </a:cubicBezTo>
                <a:cubicBezTo>
                  <a:pt x="1359342" y="613103"/>
                  <a:pt x="1361164" y="613103"/>
                  <a:pt x="1359342" y="614924"/>
                </a:cubicBezTo>
                <a:cubicBezTo>
                  <a:pt x="1357521" y="611280"/>
                  <a:pt x="1357521" y="609459"/>
                  <a:pt x="1355698" y="605813"/>
                </a:cubicBezTo>
                <a:close/>
                <a:moveTo>
                  <a:pt x="1275522" y="605813"/>
                </a:moveTo>
                <a:cubicBezTo>
                  <a:pt x="1270056" y="607635"/>
                  <a:pt x="1271878" y="616746"/>
                  <a:pt x="1271878" y="622213"/>
                </a:cubicBezTo>
                <a:cubicBezTo>
                  <a:pt x="1273700" y="624035"/>
                  <a:pt x="1275522" y="620391"/>
                  <a:pt x="1277344" y="618568"/>
                </a:cubicBezTo>
                <a:cubicBezTo>
                  <a:pt x="1275522" y="616746"/>
                  <a:pt x="1277344" y="614924"/>
                  <a:pt x="1273700" y="611280"/>
                </a:cubicBezTo>
                <a:cubicBezTo>
                  <a:pt x="1275522" y="609459"/>
                  <a:pt x="1277344" y="613103"/>
                  <a:pt x="1279166" y="611280"/>
                </a:cubicBezTo>
                <a:cubicBezTo>
                  <a:pt x="1277344" y="609459"/>
                  <a:pt x="1275522" y="609459"/>
                  <a:pt x="1275522" y="605813"/>
                </a:cubicBezTo>
                <a:close/>
                <a:moveTo>
                  <a:pt x="1147970" y="605813"/>
                </a:moveTo>
                <a:cubicBezTo>
                  <a:pt x="1146148" y="603991"/>
                  <a:pt x="1142503" y="609459"/>
                  <a:pt x="1146148" y="609459"/>
                </a:cubicBezTo>
                <a:cubicBezTo>
                  <a:pt x="1147970" y="609459"/>
                  <a:pt x="1146148" y="607635"/>
                  <a:pt x="1147970" y="605813"/>
                </a:cubicBezTo>
                <a:close/>
                <a:moveTo>
                  <a:pt x="1137037" y="605813"/>
                </a:moveTo>
                <a:cubicBezTo>
                  <a:pt x="1133393" y="607635"/>
                  <a:pt x="1129748" y="611280"/>
                  <a:pt x="1127926" y="614924"/>
                </a:cubicBezTo>
                <a:cubicBezTo>
                  <a:pt x="1138859" y="618568"/>
                  <a:pt x="1135215" y="605813"/>
                  <a:pt x="1137037" y="605813"/>
                </a:cubicBezTo>
                <a:close/>
                <a:moveTo>
                  <a:pt x="821801" y="605813"/>
                </a:moveTo>
                <a:cubicBezTo>
                  <a:pt x="818156" y="607635"/>
                  <a:pt x="816334" y="613103"/>
                  <a:pt x="819979" y="614924"/>
                </a:cubicBezTo>
                <a:cubicBezTo>
                  <a:pt x="812690" y="616746"/>
                  <a:pt x="823623" y="618568"/>
                  <a:pt x="823623" y="618568"/>
                </a:cubicBezTo>
                <a:cubicBezTo>
                  <a:pt x="825445" y="616746"/>
                  <a:pt x="823623" y="616746"/>
                  <a:pt x="823623" y="614924"/>
                </a:cubicBezTo>
                <a:cubicBezTo>
                  <a:pt x="821801" y="614924"/>
                  <a:pt x="821801" y="614924"/>
                  <a:pt x="819979" y="614924"/>
                </a:cubicBezTo>
                <a:cubicBezTo>
                  <a:pt x="821801" y="614924"/>
                  <a:pt x="821801" y="613103"/>
                  <a:pt x="823623" y="611280"/>
                </a:cubicBezTo>
                <a:cubicBezTo>
                  <a:pt x="823623" y="609459"/>
                  <a:pt x="821801" y="607635"/>
                  <a:pt x="821801" y="605813"/>
                </a:cubicBezTo>
                <a:close/>
                <a:moveTo>
                  <a:pt x="512031" y="605813"/>
                </a:moveTo>
                <a:cubicBezTo>
                  <a:pt x="510209" y="607635"/>
                  <a:pt x="508387" y="607635"/>
                  <a:pt x="508387" y="609459"/>
                </a:cubicBezTo>
                <a:cubicBezTo>
                  <a:pt x="510209" y="613103"/>
                  <a:pt x="512031" y="613103"/>
                  <a:pt x="513853" y="613103"/>
                </a:cubicBezTo>
                <a:cubicBezTo>
                  <a:pt x="513853" y="611280"/>
                  <a:pt x="513853" y="611280"/>
                  <a:pt x="515676" y="609459"/>
                </a:cubicBezTo>
                <a:cubicBezTo>
                  <a:pt x="513853" y="609459"/>
                  <a:pt x="513853" y="607635"/>
                  <a:pt x="512031" y="605813"/>
                </a:cubicBezTo>
                <a:close/>
                <a:moveTo>
                  <a:pt x="386301" y="605813"/>
                </a:moveTo>
                <a:cubicBezTo>
                  <a:pt x="382657" y="605813"/>
                  <a:pt x="382657" y="611280"/>
                  <a:pt x="388123" y="609459"/>
                </a:cubicBezTo>
                <a:cubicBezTo>
                  <a:pt x="388123" y="609459"/>
                  <a:pt x="384479" y="605813"/>
                  <a:pt x="386301" y="605813"/>
                </a:cubicBezTo>
                <a:close/>
                <a:moveTo>
                  <a:pt x="1080549" y="604904"/>
                </a:moveTo>
                <a:lnTo>
                  <a:pt x="1080549" y="607635"/>
                </a:lnTo>
                <a:lnTo>
                  <a:pt x="1079288" y="606795"/>
                </a:lnTo>
                <a:close/>
                <a:moveTo>
                  <a:pt x="2762416" y="604903"/>
                </a:moveTo>
                <a:lnTo>
                  <a:pt x="2762645" y="605246"/>
                </a:lnTo>
                <a:lnTo>
                  <a:pt x="2762717" y="605981"/>
                </a:lnTo>
                <a:lnTo>
                  <a:pt x="2762416" y="605813"/>
                </a:lnTo>
                <a:close/>
                <a:moveTo>
                  <a:pt x="1191342" y="604724"/>
                </a:moveTo>
                <a:lnTo>
                  <a:pt x="1189504" y="617784"/>
                </a:lnTo>
                <a:lnTo>
                  <a:pt x="1189241" y="618505"/>
                </a:lnTo>
                <a:lnTo>
                  <a:pt x="1188264" y="619375"/>
                </a:lnTo>
                <a:lnTo>
                  <a:pt x="1191019" y="605814"/>
                </a:lnTo>
                <a:close/>
                <a:moveTo>
                  <a:pt x="3471242" y="603991"/>
                </a:moveTo>
                <a:cubicBezTo>
                  <a:pt x="3471242" y="605813"/>
                  <a:pt x="3473064" y="613103"/>
                  <a:pt x="3463953" y="611280"/>
                </a:cubicBezTo>
                <a:cubicBezTo>
                  <a:pt x="3465775" y="613103"/>
                  <a:pt x="3462131" y="618568"/>
                  <a:pt x="3465775" y="618568"/>
                </a:cubicBezTo>
                <a:cubicBezTo>
                  <a:pt x="3471242" y="616746"/>
                  <a:pt x="3467597" y="609459"/>
                  <a:pt x="3474886" y="613103"/>
                </a:cubicBezTo>
                <a:cubicBezTo>
                  <a:pt x="3474886" y="607635"/>
                  <a:pt x="3473064" y="605813"/>
                  <a:pt x="3471242" y="603991"/>
                </a:cubicBezTo>
                <a:close/>
                <a:moveTo>
                  <a:pt x="3369200" y="603991"/>
                </a:moveTo>
                <a:cubicBezTo>
                  <a:pt x="3365556" y="603991"/>
                  <a:pt x="3361911" y="605813"/>
                  <a:pt x="3361911" y="609459"/>
                </a:cubicBezTo>
                <a:cubicBezTo>
                  <a:pt x="3365556" y="613103"/>
                  <a:pt x="3367378" y="605813"/>
                  <a:pt x="3367378" y="609459"/>
                </a:cubicBezTo>
                <a:cubicBezTo>
                  <a:pt x="3369200" y="607635"/>
                  <a:pt x="3369200" y="605813"/>
                  <a:pt x="3369200" y="603991"/>
                </a:cubicBezTo>
                <a:close/>
                <a:moveTo>
                  <a:pt x="2975610" y="603991"/>
                </a:moveTo>
                <a:cubicBezTo>
                  <a:pt x="2964677" y="603991"/>
                  <a:pt x="2968322" y="609459"/>
                  <a:pt x="2964677" y="616746"/>
                </a:cubicBezTo>
                <a:cubicBezTo>
                  <a:pt x="2967411" y="614014"/>
                  <a:pt x="2971966" y="614469"/>
                  <a:pt x="2975383" y="614241"/>
                </a:cubicBezTo>
                <a:lnTo>
                  <a:pt x="2978687" y="608606"/>
                </a:lnTo>
                <a:lnTo>
                  <a:pt x="2979255" y="609459"/>
                </a:lnTo>
                <a:cubicBezTo>
                  <a:pt x="2979255" y="607635"/>
                  <a:pt x="2979255" y="607635"/>
                  <a:pt x="2979255" y="607635"/>
                </a:cubicBezTo>
                <a:lnTo>
                  <a:pt x="2978687" y="608606"/>
                </a:lnTo>
                <a:close/>
                <a:moveTo>
                  <a:pt x="2944634" y="603991"/>
                </a:moveTo>
                <a:cubicBezTo>
                  <a:pt x="2946456" y="611280"/>
                  <a:pt x="2951922" y="603991"/>
                  <a:pt x="2957389" y="609459"/>
                </a:cubicBezTo>
                <a:cubicBezTo>
                  <a:pt x="2959211" y="602169"/>
                  <a:pt x="2950100" y="605813"/>
                  <a:pt x="2944634" y="603991"/>
                </a:cubicBezTo>
                <a:close/>
                <a:moveTo>
                  <a:pt x="668738" y="603991"/>
                </a:moveTo>
                <a:cubicBezTo>
                  <a:pt x="666916" y="607635"/>
                  <a:pt x="666916" y="611280"/>
                  <a:pt x="670560" y="616746"/>
                </a:cubicBezTo>
                <a:cubicBezTo>
                  <a:pt x="670560" y="614924"/>
                  <a:pt x="672383" y="613103"/>
                  <a:pt x="674205" y="613103"/>
                </a:cubicBezTo>
                <a:cubicBezTo>
                  <a:pt x="672383" y="609459"/>
                  <a:pt x="670560" y="607635"/>
                  <a:pt x="668738" y="603991"/>
                </a:cubicBezTo>
                <a:close/>
                <a:moveTo>
                  <a:pt x="461010" y="603991"/>
                </a:moveTo>
                <a:cubicBezTo>
                  <a:pt x="461010" y="609459"/>
                  <a:pt x="462832" y="611280"/>
                  <a:pt x="466478" y="613103"/>
                </a:cubicBezTo>
                <a:cubicBezTo>
                  <a:pt x="473766" y="607635"/>
                  <a:pt x="462832" y="607635"/>
                  <a:pt x="461010" y="603991"/>
                </a:cubicBezTo>
                <a:close/>
                <a:moveTo>
                  <a:pt x="340747" y="603991"/>
                </a:moveTo>
                <a:cubicBezTo>
                  <a:pt x="340747" y="605813"/>
                  <a:pt x="344391" y="609459"/>
                  <a:pt x="346213" y="611280"/>
                </a:cubicBezTo>
                <a:cubicBezTo>
                  <a:pt x="349858" y="611280"/>
                  <a:pt x="344391" y="609459"/>
                  <a:pt x="344391" y="607635"/>
                </a:cubicBezTo>
                <a:cubicBezTo>
                  <a:pt x="346213" y="605813"/>
                  <a:pt x="346213" y="609459"/>
                  <a:pt x="348037" y="611280"/>
                </a:cubicBezTo>
                <a:cubicBezTo>
                  <a:pt x="348037" y="611280"/>
                  <a:pt x="346213" y="607635"/>
                  <a:pt x="346213" y="605813"/>
                </a:cubicBezTo>
                <a:cubicBezTo>
                  <a:pt x="344391" y="605813"/>
                  <a:pt x="342569" y="603991"/>
                  <a:pt x="340747" y="603991"/>
                </a:cubicBezTo>
                <a:close/>
                <a:moveTo>
                  <a:pt x="304303" y="603991"/>
                </a:moveTo>
                <a:cubicBezTo>
                  <a:pt x="302481" y="605813"/>
                  <a:pt x="306126" y="609459"/>
                  <a:pt x="307948" y="611280"/>
                </a:cubicBezTo>
                <a:cubicBezTo>
                  <a:pt x="311592" y="609459"/>
                  <a:pt x="309771" y="607635"/>
                  <a:pt x="309771" y="605813"/>
                </a:cubicBezTo>
                <a:cubicBezTo>
                  <a:pt x="306126" y="607635"/>
                  <a:pt x="306126" y="603991"/>
                  <a:pt x="304303" y="603991"/>
                </a:cubicBezTo>
                <a:close/>
                <a:moveTo>
                  <a:pt x="2997072" y="603876"/>
                </a:moveTo>
                <a:lnTo>
                  <a:pt x="2997477" y="603991"/>
                </a:lnTo>
                <a:lnTo>
                  <a:pt x="2997477" y="604304"/>
                </a:lnTo>
                <a:close/>
                <a:moveTo>
                  <a:pt x="2856942" y="603166"/>
                </a:moveTo>
                <a:cubicBezTo>
                  <a:pt x="2852159" y="603080"/>
                  <a:pt x="2849426" y="614014"/>
                  <a:pt x="2842592" y="616746"/>
                </a:cubicBezTo>
                <a:cubicBezTo>
                  <a:pt x="2842592" y="631324"/>
                  <a:pt x="2851703" y="644079"/>
                  <a:pt x="2866280" y="642257"/>
                </a:cubicBezTo>
                <a:cubicBezTo>
                  <a:pt x="2864458" y="634968"/>
                  <a:pt x="2860813" y="625857"/>
                  <a:pt x="2862636" y="618568"/>
                </a:cubicBezTo>
                <a:cubicBezTo>
                  <a:pt x="2858991" y="620391"/>
                  <a:pt x="2858991" y="622213"/>
                  <a:pt x="2860813" y="624035"/>
                </a:cubicBezTo>
                <a:cubicBezTo>
                  <a:pt x="2855347" y="620391"/>
                  <a:pt x="2857169" y="614924"/>
                  <a:pt x="2860813" y="613103"/>
                </a:cubicBezTo>
                <a:cubicBezTo>
                  <a:pt x="2857169" y="611280"/>
                  <a:pt x="2855347" y="607635"/>
                  <a:pt x="2851703" y="609459"/>
                </a:cubicBezTo>
                <a:cubicBezTo>
                  <a:pt x="2853525" y="603991"/>
                  <a:pt x="2858991" y="607635"/>
                  <a:pt x="2862636" y="607635"/>
                </a:cubicBezTo>
                <a:cubicBezTo>
                  <a:pt x="2860358" y="604447"/>
                  <a:pt x="2858536" y="603194"/>
                  <a:pt x="2856942" y="603166"/>
                </a:cubicBezTo>
                <a:close/>
                <a:moveTo>
                  <a:pt x="3516796" y="602169"/>
                </a:moveTo>
                <a:cubicBezTo>
                  <a:pt x="3514974" y="607635"/>
                  <a:pt x="3516796" y="611280"/>
                  <a:pt x="3518618" y="616746"/>
                </a:cubicBezTo>
                <a:cubicBezTo>
                  <a:pt x="3522263" y="616746"/>
                  <a:pt x="3524085" y="614924"/>
                  <a:pt x="3527729" y="614924"/>
                </a:cubicBezTo>
                <a:cubicBezTo>
                  <a:pt x="3529551" y="605813"/>
                  <a:pt x="3524085" y="603991"/>
                  <a:pt x="3516796" y="602169"/>
                </a:cubicBezTo>
                <a:close/>
                <a:moveTo>
                  <a:pt x="3283558" y="602169"/>
                </a:moveTo>
                <a:cubicBezTo>
                  <a:pt x="3276269" y="602169"/>
                  <a:pt x="3276269" y="613103"/>
                  <a:pt x="3283558" y="611280"/>
                </a:cubicBezTo>
                <a:cubicBezTo>
                  <a:pt x="3279913" y="605813"/>
                  <a:pt x="3281736" y="605813"/>
                  <a:pt x="3283558" y="602169"/>
                </a:cubicBezTo>
                <a:close/>
                <a:moveTo>
                  <a:pt x="2961033" y="602169"/>
                </a:moveTo>
                <a:cubicBezTo>
                  <a:pt x="2955566" y="600347"/>
                  <a:pt x="2959211" y="607635"/>
                  <a:pt x="2961033" y="609459"/>
                </a:cubicBezTo>
                <a:cubicBezTo>
                  <a:pt x="2966500" y="609459"/>
                  <a:pt x="2959211" y="605813"/>
                  <a:pt x="2961033" y="602169"/>
                </a:cubicBezTo>
                <a:close/>
                <a:moveTo>
                  <a:pt x="1415829" y="602169"/>
                </a:moveTo>
                <a:cubicBezTo>
                  <a:pt x="1415829" y="602169"/>
                  <a:pt x="1414007" y="603991"/>
                  <a:pt x="1412185" y="605813"/>
                </a:cubicBezTo>
                <a:cubicBezTo>
                  <a:pt x="1414007" y="605813"/>
                  <a:pt x="1419474" y="605813"/>
                  <a:pt x="1415829" y="602169"/>
                </a:cubicBezTo>
                <a:close/>
                <a:moveTo>
                  <a:pt x="1299210" y="602169"/>
                </a:moveTo>
                <a:cubicBezTo>
                  <a:pt x="1295566" y="602169"/>
                  <a:pt x="1293744" y="604903"/>
                  <a:pt x="1293062" y="608091"/>
                </a:cubicBezTo>
                <a:lnTo>
                  <a:pt x="1293077" y="608302"/>
                </a:lnTo>
                <a:lnTo>
                  <a:pt x="1288277" y="613103"/>
                </a:lnTo>
                <a:cubicBezTo>
                  <a:pt x="1290100" y="613103"/>
                  <a:pt x="1291922" y="613103"/>
                  <a:pt x="1291922" y="613103"/>
                </a:cubicBezTo>
                <a:lnTo>
                  <a:pt x="1293274" y="610786"/>
                </a:lnTo>
                <a:lnTo>
                  <a:pt x="1293744" y="616746"/>
                </a:lnTo>
                <a:cubicBezTo>
                  <a:pt x="1299210" y="613103"/>
                  <a:pt x="1297388" y="607635"/>
                  <a:pt x="1299210" y="602169"/>
                </a:cubicBezTo>
                <a:close/>
                <a:moveTo>
                  <a:pt x="1275522" y="602169"/>
                </a:moveTo>
                <a:cubicBezTo>
                  <a:pt x="1277344" y="603991"/>
                  <a:pt x="1280989" y="603991"/>
                  <a:pt x="1277344" y="607635"/>
                </a:cubicBezTo>
                <a:cubicBezTo>
                  <a:pt x="1280989" y="609459"/>
                  <a:pt x="1284633" y="614924"/>
                  <a:pt x="1280989" y="614924"/>
                </a:cubicBezTo>
                <a:cubicBezTo>
                  <a:pt x="1282811" y="616746"/>
                  <a:pt x="1284633" y="613103"/>
                  <a:pt x="1286455" y="611280"/>
                </a:cubicBezTo>
                <a:cubicBezTo>
                  <a:pt x="1284633" y="607635"/>
                  <a:pt x="1282811" y="609459"/>
                  <a:pt x="1280989" y="605813"/>
                </a:cubicBezTo>
                <a:cubicBezTo>
                  <a:pt x="1282811" y="605813"/>
                  <a:pt x="1284633" y="605813"/>
                  <a:pt x="1286455" y="605813"/>
                </a:cubicBezTo>
                <a:cubicBezTo>
                  <a:pt x="1282811" y="603991"/>
                  <a:pt x="1279166" y="602169"/>
                  <a:pt x="1275522" y="602169"/>
                </a:cubicBezTo>
                <a:close/>
                <a:moveTo>
                  <a:pt x="1080549" y="602169"/>
                </a:moveTo>
                <a:cubicBezTo>
                  <a:pt x="1080549" y="602169"/>
                  <a:pt x="1082373" y="602169"/>
                  <a:pt x="1082373" y="602169"/>
                </a:cubicBezTo>
                <a:lnTo>
                  <a:pt x="1080549" y="604904"/>
                </a:lnTo>
                <a:close/>
                <a:moveTo>
                  <a:pt x="916555" y="602169"/>
                </a:moveTo>
                <a:cubicBezTo>
                  <a:pt x="905621" y="609459"/>
                  <a:pt x="909265" y="611280"/>
                  <a:pt x="905621" y="620391"/>
                </a:cubicBezTo>
                <a:cubicBezTo>
                  <a:pt x="914732" y="616746"/>
                  <a:pt x="922020" y="607635"/>
                  <a:pt x="916555" y="602169"/>
                </a:cubicBezTo>
                <a:close/>
                <a:moveTo>
                  <a:pt x="530253" y="602169"/>
                </a:moveTo>
                <a:cubicBezTo>
                  <a:pt x="528431" y="603991"/>
                  <a:pt x="526609" y="609459"/>
                  <a:pt x="528431" y="613103"/>
                </a:cubicBezTo>
                <a:cubicBezTo>
                  <a:pt x="530253" y="613103"/>
                  <a:pt x="532075" y="624035"/>
                  <a:pt x="535719" y="616746"/>
                </a:cubicBezTo>
                <a:cubicBezTo>
                  <a:pt x="532075" y="613103"/>
                  <a:pt x="535719" y="611280"/>
                  <a:pt x="533897" y="609459"/>
                </a:cubicBezTo>
                <a:cubicBezTo>
                  <a:pt x="532075" y="611280"/>
                  <a:pt x="530253" y="611280"/>
                  <a:pt x="528431" y="613103"/>
                </a:cubicBezTo>
                <a:cubicBezTo>
                  <a:pt x="530253" y="613103"/>
                  <a:pt x="532075" y="609459"/>
                  <a:pt x="530253" y="605813"/>
                </a:cubicBezTo>
                <a:cubicBezTo>
                  <a:pt x="532075" y="607635"/>
                  <a:pt x="532075" y="607635"/>
                  <a:pt x="532075" y="609459"/>
                </a:cubicBezTo>
                <a:cubicBezTo>
                  <a:pt x="533897" y="609459"/>
                  <a:pt x="533897" y="602169"/>
                  <a:pt x="530253" y="602169"/>
                </a:cubicBezTo>
                <a:close/>
                <a:moveTo>
                  <a:pt x="457367" y="602169"/>
                </a:moveTo>
                <a:cubicBezTo>
                  <a:pt x="453722" y="603991"/>
                  <a:pt x="459188" y="605813"/>
                  <a:pt x="459188" y="607635"/>
                </a:cubicBezTo>
                <a:cubicBezTo>
                  <a:pt x="459188" y="605813"/>
                  <a:pt x="459188" y="603991"/>
                  <a:pt x="457367" y="602169"/>
                </a:cubicBezTo>
                <a:close/>
                <a:moveTo>
                  <a:pt x="400879" y="602169"/>
                </a:moveTo>
                <a:cubicBezTo>
                  <a:pt x="400879" y="605813"/>
                  <a:pt x="400879" y="609459"/>
                  <a:pt x="399056" y="611280"/>
                </a:cubicBezTo>
                <a:lnTo>
                  <a:pt x="399707" y="613038"/>
                </a:lnTo>
                <a:lnTo>
                  <a:pt x="398061" y="615506"/>
                </a:lnTo>
                <a:lnTo>
                  <a:pt x="396893" y="612724"/>
                </a:lnTo>
                <a:lnTo>
                  <a:pt x="396647" y="609826"/>
                </a:lnTo>
                <a:close/>
                <a:moveTo>
                  <a:pt x="272054" y="601598"/>
                </a:moveTo>
                <a:lnTo>
                  <a:pt x="278898" y="609878"/>
                </a:lnTo>
                <a:lnTo>
                  <a:pt x="280615" y="616746"/>
                </a:lnTo>
                <a:close/>
                <a:moveTo>
                  <a:pt x="3303602" y="600347"/>
                </a:moveTo>
                <a:cubicBezTo>
                  <a:pt x="3299957" y="602169"/>
                  <a:pt x="3296313" y="602169"/>
                  <a:pt x="3296313" y="605813"/>
                </a:cubicBezTo>
                <a:cubicBezTo>
                  <a:pt x="3299957" y="605813"/>
                  <a:pt x="3301780" y="605813"/>
                  <a:pt x="3303602" y="603991"/>
                </a:cubicBezTo>
                <a:cubicBezTo>
                  <a:pt x="3310890" y="607635"/>
                  <a:pt x="3320001" y="607635"/>
                  <a:pt x="3329112" y="607635"/>
                </a:cubicBezTo>
                <a:cubicBezTo>
                  <a:pt x="3329112" y="607635"/>
                  <a:pt x="3329112" y="605813"/>
                  <a:pt x="3329112" y="603991"/>
                </a:cubicBezTo>
                <a:cubicBezTo>
                  <a:pt x="3318179" y="605813"/>
                  <a:pt x="3312713" y="602169"/>
                  <a:pt x="3303602" y="603991"/>
                </a:cubicBezTo>
                <a:cubicBezTo>
                  <a:pt x="3303602" y="603991"/>
                  <a:pt x="3303602" y="602169"/>
                  <a:pt x="3303602" y="600347"/>
                </a:cubicBezTo>
                <a:close/>
                <a:moveTo>
                  <a:pt x="2534644" y="600347"/>
                </a:moveTo>
                <a:cubicBezTo>
                  <a:pt x="2529178" y="602169"/>
                  <a:pt x="2531000" y="613103"/>
                  <a:pt x="2529178" y="618568"/>
                </a:cubicBezTo>
                <a:cubicBezTo>
                  <a:pt x="2532822" y="618568"/>
                  <a:pt x="2529178" y="607635"/>
                  <a:pt x="2534644" y="607635"/>
                </a:cubicBezTo>
                <a:cubicBezTo>
                  <a:pt x="2534644" y="605813"/>
                  <a:pt x="2532822" y="602169"/>
                  <a:pt x="2534644" y="600347"/>
                </a:cubicBezTo>
                <a:close/>
                <a:moveTo>
                  <a:pt x="1173481" y="600347"/>
                </a:moveTo>
                <a:cubicBezTo>
                  <a:pt x="1169836" y="603991"/>
                  <a:pt x="1171658" y="605813"/>
                  <a:pt x="1168014" y="607635"/>
                </a:cubicBezTo>
                <a:cubicBezTo>
                  <a:pt x="1173481" y="609459"/>
                  <a:pt x="1175303" y="603991"/>
                  <a:pt x="1173481" y="600347"/>
                </a:cubicBezTo>
                <a:close/>
                <a:moveTo>
                  <a:pt x="714293" y="600347"/>
                </a:moveTo>
                <a:cubicBezTo>
                  <a:pt x="723404" y="605813"/>
                  <a:pt x="728870" y="618568"/>
                  <a:pt x="739803" y="622213"/>
                </a:cubicBezTo>
                <a:cubicBezTo>
                  <a:pt x="734336" y="613103"/>
                  <a:pt x="728870" y="600347"/>
                  <a:pt x="714293" y="600347"/>
                </a:cubicBezTo>
                <a:close/>
                <a:moveTo>
                  <a:pt x="686960" y="600347"/>
                </a:moveTo>
                <a:cubicBezTo>
                  <a:pt x="683316" y="607635"/>
                  <a:pt x="672383" y="613103"/>
                  <a:pt x="683316" y="613103"/>
                </a:cubicBezTo>
                <a:cubicBezTo>
                  <a:pt x="686960" y="613103"/>
                  <a:pt x="679671" y="603991"/>
                  <a:pt x="688782" y="603991"/>
                </a:cubicBezTo>
                <a:cubicBezTo>
                  <a:pt x="681493" y="611280"/>
                  <a:pt x="686960" y="625857"/>
                  <a:pt x="696071" y="622213"/>
                </a:cubicBezTo>
                <a:cubicBezTo>
                  <a:pt x="693337" y="618569"/>
                  <a:pt x="692882" y="614924"/>
                  <a:pt x="692654" y="611280"/>
                </a:cubicBezTo>
                <a:lnTo>
                  <a:pt x="690827" y="601537"/>
                </a:lnTo>
                <a:lnTo>
                  <a:pt x="691255" y="601669"/>
                </a:lnTo>
                <a:lnTo>
                  <a:pt x="698348" y="616063"/>
                </a:lnTo>
                <a:cubicBezTo>
                  <a:pt x="701537" y="620846"/>
                  <a:pt x="705182" y="623124"/>
                  <a:pt x="708826" y="616746"/>
                </a:cubicBezTo>
                <a:cubicBezTo>
                  <a:pt x="708826" y="614924"/>
                  <a:pt x="694249" y="614924"/>
                  <a:pt x="694249" y="605813"/>
                </a:cubicBezTo>
                <a:cubicBezTo>
                  <a:pt x="699715" y="609459"/>
                  <a:pt x="701537" y="613103"/>
                  <a:pt x="707004" y="614924"/>
                </a:cubicBezTo>
                <a:cubicBezTo>
                  <a:pt x="708826" y="609458"/>
                  <a:pt x="706094" y="606725"/>
                  <a:pt x="701765" y="604903"/>
                </a:cubicBezTo>
                <a:lnTo>
                  <a:pt x="691255" y="601669"/>
                </a:lnTo>
                <a:lnTo>
                  <a:pt x="690604" y="600347"/>
                </a:lnTo>
                <a:lnTo>
                  <a:pt x="690827" y="601537"/>
                </a:lnTo>
                <a:close/>
                <a:moveTo>
                  <a:pt x="683316" y="600347"/>
                </a:moveTo>
                <a:cubicBezTo>
                  <a:pt x="679671" y="598524"/>
                  <a:pt x="679671" y="605813"/>
                  <a:pt x="677849" y="607635"/>
                </a:cubicBezTo>
                <a:cubicBezTo>
                  <a:pt x="681493" y="605813"/>
                  <a:pt x="679671" y="602169"/>
                  <a:pt x="683316" y="600347"/>
                </a:cubicBezTo>
                <a:close/>
                <a:moveTo>
                  <a:pt x="466478" y="600347"/>
                </a:moveTo>
                <a:cubicBezTo>
                  <a:pt x="464655" y="603991"/>
                  <a:pt x="471943" y="609459"/>
                  <a:pt x="475589" y="609459"/>
                </a:cubicBezTo>
                <a:cubicBezTo>
                  <a:pt x="482876" y="605813"/>
                  <a:pt x="470121" y="603991"/>
                  <a:pt x="473766" y="602169"/>
                </a:cubicBezTo>
                <a:cubicBezTo>
                  <a:pt x="471943" y="600347"/>
                  <a:pt x="468299" y="600347"/>
                  <a:pt x="466478" y="600347"/>
                </a:cubicBezTo>
                <a:close/>
                <a:moveTo>
                  <a:pt x="211372" y="600347"/>
                </a:moveTo>
                <a:lnTo>
                  <a:pt x="219379" y="613158"/>
                </a:lnTo>
                <a:lnTo>
                  <a:pt x="218675" y="616680"/>
                </a:lnTo>
                <a:lnTo>
                  <a:pt x="216839" y="612875"/>
                </a:lnTo>
                <a:cubicBezTo>
                  <a:pt x="214105" y="609003"/>
                  <a:pt x="210461" y="604903"/>
                  <a:pt x="211372" y="600347"/>
                </a:cubicBezTo>
                <a:close/>
                <a:moveTo>
                  <a:pt x="173107" y="600347"/>
                </a:moveTo>
                <a:cubicBezTo>
                  <a:pt x="174018" y="603080"/>
                  <a:pt x="175840" y="606269"/>
                  <a:pt x="177207" y="609230"/>
                </a:cubicBezTo>
                <a:lnTo>
                  <a:pt x="177340" y="609961"/>
                </a:lnTo>
                <a:lnTo>
                  <a:pt x="174254" y="606659"/>
                </a:lnTo>
                <a:close/>
                <a:moveTo>
                  <a:pt x="3355306" y="599664"/>
                </a:moveTo>
                <a:cubicBezTo>
                  <a:pt x="3353256" y="600803"/>
                  <a:pt x="3351889" y="603080"/>
                  <a:pt x="3352800" y="605813"/>
                </a:cubicBezTo>
                <a:cubicBezTo>
                  <a:pt x="3356445" y="607635"/>
                  <a:pt x="3363734" y="602169"/>
                  <a:pt x="3361911" y="600347"/>
                </a:cubicBezTo>
                <a:cubicBezTo>
                  <a:pt x="3360089" y="598525"/>
                  <a:pt x="3357356" y="598525"/>
                  <a:pt x="3355306" y="599664"/>
                </a:cubicBezTo>
                <a:close/>
                <a:moveTo>
                  <a:pt x="1251834" y="598524"/>
                </a:moveTo>
                <a:lnTo>
                  <a:pt x="1253656" y="602169"/>
                </a:lnTo>
                <a:cubicBezTo>
                  <a:pt x="1251834" y="603991"/>
                  <a:pt x="1253656" y="600347"/>
                  <a:pt x="1251834" y="600347"/>
                </a:cubicBezTo>
                <a:cubicBezTo>
                  <a:pt x="1250012" y="602169"/>
                  <a:pt x="1246367" y="603991"/>
                  <a:pt x="1248189" y="605813"/>
                </a:cubicBezTo>
                <a:lnTo>
                  <a:pt x="1243316" y="608166"/>
                </a:lnTo>
                <a:lnTo>
                  <a:pt x="1248357" y="601665"/>
                </a:lnTo>
                <a:lnTo>
                  <a:pt x="1248189" y="602169"/>
                </a:lnTo>
                <a:close/>
                <a:moveTo>
                  <a:pt x="3165116" y="598524"/>
                </a:moveTo>
                <a:cubicBezTo>
                  <a:pt x="3161472" y="598524"/>
                  <a:pt x="3159650" y="609459"/>
                  <a:pt x="3165116" y="607635"/>
                </a:cubicBezTo>
                <a:cubicBezTo>
                  <a:pt x="3163294" y="603991"/>
                  <a:pt x="3165116" y="602169"/>
                  <a:pt x="3165116" y="598524"/>
                </a:cubicBezTo>
                <a:close/>
                <a:moveTo>
                  <a:pt x="2421669" y="598524"/>
                </a:moveTo>
                <a:cubicBezTo>
                  <a:pt x="2418025" y="603991"/>
                  <a:pt x="2418025" y="596702"/>
                  <a:pt x="2412559" y="600347"/>
                </a:cubicBezTo>
                <a:cubicBezTo>
                  <a:pt x="2412559" y="602169"/>
                  <a:pt x="2410737" y="605813"/>
                  <a:pt x="2410737" y="609459"/>
                </a:cubicBezTo>
                <a:cubicBezTo>
                  <a:pt x="2416203" y="605813"/>
                  <a:pt x="2419847" y="607635"/>
                  <a:pt x="2421669" y="598524"/>
                </a:cubicBezTo>
                <a:close/>
                <a:moveTo>
                  <a:pt x="2374293" y="598524"/>
                </a:moveTo>
                <a:cubicBezTo>
                  <a:pt x="2370649" y="598524"/>
                  <a:pt x="2372471" y="602169"/>
                  <a:pt x="2372471" y="605813"/>
                </a:cubicBezTo>
                <a:cubicBezTo>
                  <a:pt x="2374293" y="603991"/>
                  <a:pt x="2374293" y="603991"/>
                  <a:pt x="2376115" y="603991"/>
                </a:cubicBezTo>
                <a:cubicBezTo>
                  <a:pt x="2376115" y="602169"/>
                  <a:pt x="2374293" y="600347"/>
                  <a:pt x="2374293" y="598524"/>
                </a:cubicBezTo>
                <a:close/>
                <a:moveTo>
                  <a:pt x="1240901" y="598524"/>
                </a:moveTo>
                <a:cubicBezTo>
                  <a:pt x="1241812" y="600347"/>
                  <a:pt x="1240901" y="602169"/>
                  <a:pt x="1240217" y="604219"/>
                </a:cubicBezTo>
                <a:lnTo>
                  <a:pt x="1240685" y="609054"/>
                </a:lnTo>
                <a:lnTo>
                  <a:pt x="1234345" y="609417"/>
                </a:lnTo>
                <a:lnTo>
                  <a:pt x="1236117" y="604903"/>
                </a:lnTo>
                <a:cubicBezTo>
                  <a:pt x="1236800" y="602625"/>
                  <a:pt x="1237256" y="601258"/>
                  <a:pt x="1237256" y="603991"/>
                </a:cubicBezTo>
                <a:cubicBezTo>
                  <a:pt x="1240901" y="603991"/>
                  <a:pt x="1239080" y="600347"/>
                  <a:pt x="1240901" y="598524"/>
                </a:cubicBezTo>
                <a:close/>
                <a:moveTo>
                  <a:pt x="734336" y="598524"/>
                </a:moveTo>
                <a:cubicBezTo>
                  <a:pt x="730692" y="600347"/>
                  <a:pt x="734336" y="603991"/>
                  <a:pt x="737981" y="602169"/>
                </a:cubicBezTo>
                <a:cubicBezTo>
                  <a:pt x="736159" y="600347"/>
                  <a:pt x="736159" y="600347"/>
                  <a:pt x="734336" y="598524"/>
                </a:cubicBezTo>
                <a:close/>
                <a:moveTo>
                  <a:pt x="493809" y="598524"/>
                </a:moveTo>
                <a:cubicBezTo>
                  <a:pt x="493809" y="603991"/>
                  <a:pt x="495632" y="603991"/>
                  <a:pt x="499276" y="603991"/>
                </a:cubicBezTo>
                <a:cubicBezTo>
                  <a:pt x="501098" y="600347"/>
                  <a:pt x="495632" y="602169"/>
                  <a:pt x="493809" y="598524"/>
                </a:cubicBezTo>
                <a:close/>
                <a:moveTo>
                  <a:pt x="315236" y="598524"/>
                </a:moveTo>
                <a:cubicBezTo>
                  <a:pt x="306126" y="607635"/>
                  <a:pt x="317059" y="618568"/>
                  <a:pt x="327993" y="622213"/>
                </a:cubicBezTo>
                <a:cubicBezTo>
                  <a:pt x="329814" y="624035"/>
                  <a:pt x="327993" y="620391"/>
                  <a:pt x="326169" y="620391"/>
                </a:cubicBezTo>
                <a:cubicBezTo>
                  <a:pt x="326169" y="618568"/>
                  <a:pt x="329814" y="618568"/>
                  <a:pt x="329814" y="616746"/>
                </a:cubicBezTo>
                <a:cubicBezTo>
                  <a:pt x="326169" y="609459"/>
                  <a:pt x="320703" y="603991"/>
                  <a:pt x="315236" y="598524"/>
                </a:cubicBezTo>
                <a:close/>
                <a:moveTo>
                  <a:pt x="222306" y="598524"/>
                </a:moveTo>
                <a:lnTo>
                  <a:pt x="223350" y="603459"/>
                </a:lnTo>
                <a:lnTo>
                  <a:pt x="220483" y="614924"/>
                </a:lnTo>
                <a:lnTo>
                  <a:pt x="219379" y="613158"/>
                </a:lnTo>
                <a:close/>
                <a:moveTo>
                  <a:pt x="1251834" y="598524"/>
                </a:moveTo>
                <a:lnTo>
                  <a:pt x="1251834" y="598524"/>
                </a:lnTo>
                <a:lnTo>
                  <a:pt x="1251834" y="598524"/>
                </a:lnTo>
                <a:close/>
                <a:moveTo>
                  <a:pt x="1249631" y="598044"/>
                </a:moveTo>
                <a:lnTo>
                  <a:pt x="1249556" y="600119"/>
                </a:lnTo>
                <a:lnTo>
                  <a:pt x="1248357" y="601665"/>
                </a:lnTo>
                <a:lnTo>
                  <a:pt x="1249556" y="598069"/>
                </a:lnTo>
                <a:close/>
                <a:moveTo>
                  <a:pt x="2092252" y="597574"/>
                </a:moveTo>
                <a:lnTo>
                  <a:pt x="2094851" y="599306"/>
                </a:lnTo>
                <a:lnTo>
                  <a:pt x="2093679" y="603991"/>
                </a:lnTo>
                <a:cubicBezTo>
                  <a:pt x="2092767" y="603080"/>
                  <a:pt x="2091856" y="600803"/>
                  <a:pt x="2091629" y="598753"/>
                </a:cubicBezTo>
                <a:close/>
                <a:moveTo>
                  <a:pt x="2363360" y="596702"/>
                </a:moveTo>
                <a:cubicBezTo>
                  <a:pt x="2350605" y="602169"/>
                  <a:pt x="2365182" y="603991"/>
                  <a:pt x="2361538" y="609459"/>
                </a:cubicBezTo>
                <a:cubicBezTo>
                  <a:pt x="2363360" y="609459"/>
                  <a:pt x="2365182" y="609459"/>
                  <a:pt x="2367004" y="609459"/>
                </a:cubicBezTo>
                <a:cubicBezTo>
                  <a:pt x="2368827" y="603991"/>
                  <a:pt x="2361538" y="605813"/>
                  <a:pt x="2363360" y="596702"/>
                </a:cubicBezTo>
                <a:close/>
                <a:moveTo>
                  <a:pt x="1424940" y="596702"/>
                </a:moveTo>
                <a:cubicBezTo>
                  <a:pt x="1426763" y="594880"/>
                  <a:pt x="1428585" y="600347"/>
                  <a:pt x="1430407" y="600347"/>
                </a:cubicBezTo>
                <a:cubicBezTo>
                  <a:pt x="1432229" y="598524"/>
                  <a:pt x="1428585" y="596702"/>
                  <a:pt x="1424940" y="596702"/>
                </a:cubicBezTo>
                <a:close/>
                <a:moveTo>
                  <a:pt x="1158903" y="596702"/>
                </a:moveTo>
                <a:cubicBezTo>
                  <a:pt x="1157081" y="598524"/>
                  <a:pt x="1149792" y="603991"/>
                  <a:pt x="1151614" y="607635"/>
                </a:cubicBezTo>
                <a:cubicBezTo>
                  <a:pt x="1155259" y="603991"/>
                  <a:pt x="1157081" y="600347"/>
                  <a:pt x="1158903" y="596702"/>
                </a:cubicBezTo>
                <a:close/>
                <a:moveTo>
                  <a:pt x="654161" y="596702"/>
                </a:moveTo>
                <a:cubicBezTo>
                  <a:pt x="650516" y="598524"/>
                  <a:pt x="655983" y="600347"/>
                  <a:pt x="655983" y="603991"/>
                </a:cubicBezTo>
                <a:cubicBezTo>
                  <a:pt x="655983" y="600347"/>
                  <a:pt x="655983" y="598524"/>
                  <a:pt x="654161" y="596702"/>
                </a:cubicBezTo>
                <a:close/>
                <a:moveTo>
                  <a:pt x="650516" y="596702"/>
                </a:moveTo>
                <a:cubicBezTo>
                  <a:pt x="643228" y="602169"/>
                  <a:pt x="646872" y="607635"/>
                  <a:pt x="646872" y="613103"/>
                </a:cubicBezTo>
                <a:cubicBezTo>
                  <a:pt x="652339" y="620391"/>
                  <a:pt x="648694" y="607635"/>
                  <a:pt x="652339" y="611280"/>
                </a:cubicBezTo>
                <a:cubicBezTo>
                  <a:pt x="657805" y="605813"/>
                  <a:pt x="652339" y="603991"/>
                  <a:pt x="650516" y="596702"/>
                </a:cubicBezTo>
                <a:close/>
                <a:moveTo>
                  <a:pt x="324347" y="596702"/>
                </a:moveTo>
                <a:lnTo>
                  <a:pt x="330624" y="611281"/>
                </a:lnTo>
                <a:lnTo>
                  <a:pt x="330497" y="611053"/>
                </a:lnTo>
                <a:cubicBezTo>
                  <a:pt x="329359" y="610369"/>
                  <a:pt x="327993" y="609458"/>
                  <a:pt x="327993" y="607635"/>
                </a:cubicBezTo>
                <a:cubicBezTo>
                  <a:pt x="327080" y="608547"/>
                  <a:pt x="327537" y="609458"/>
                  <a:pt x="328447" y="610369"/>
                </a:cubicBezTo>
                <a:lnTo>
                  <a:pt x="331275" y="612793"/>
                </a:lnTo>
                <a:lnTo>
                  <a:pt x="331408" y="613102"/>
                </a:lnTo>
                <a:cubicBezTo>
                  <a:pt x="334369" y="618569"/>
                  <a:pt x="338014" y="623124"/>
                  <a:pt x="342569" y="624035"/>
                </a:cubicBezTo>
                <a:cubicBezTo>
                  <a:pt x="338926" y="620391"/>
                  <a:pt x="335280" y="616746"/>
                  <a:pt x="333458" y="613103"/>
                </a:cubicBezTo>
                <a:cubicBezTo>
                  <a:pt x="335280" y="614924"/>
                  <a:pt x="338926" y="616746"/>
                  <a:pt x="340747" y="616746"/>
                </a:cubicBezTo>
                <a:cubicBezTo>
                  <a:pt x="340747" y="605813"/>
                  <a:pt x="329814" y="600347"/>
                  <a:pt x="324347" y="596702"/>
                </a:cubicBezTo>
                <a:close/>
                <a:moveTo>
                  <a:pt x="2758336" y="595164"/>
                </a:moveTo>
                <a:lnTo>
                  <a:pt x="2762075" y="599436"/>
                </a:lnTo>
                <a:lnTo>
                  <a:pt x="2762416" y="602914"/>
                </a:lnTo>
                <a:lnTo>
                  <a:pt x="2762416" y="604903"/>
                </a:lnTo>
                <a:lnTo>
                  <a:pt x="2761050" y="602853"/>
                </a:lnTo>
                <a:close/>
                <a:moveTo>
                  <a:pt x="3083119" y="594880"/>
                </a:moveTo>
                <a:cubicBezTo>
                  <a:pt x="3079474" y="594880"/>
                  <a:pt x="3081297" y="602169"/>
                  <a:pt x="3083119" y="602169"/>
                </a:cubicBezTo>
                <a:cubicBezTo>
                  <a:pt x="3086763" y="602169"/>
                  <a:pt x="3084941" y="594880"/>
                  <a:pt x="3083119" y="594880"/>
                </a:cubicBezTo>
                <a:close/>
                <a:moveTo>
                  <a:pt x="2512778" y="594880"/>
                </a:moveTo>
                <a:cubicBezTo>
                  <a:pt x="2512778" y="603991"/>
                  <a:pt x="2503667" y="609459"/>
                  <a:pt x="2509134" y="616746"/>
                </a:cubicBezTo>
                <a:cubicBezTo>
                  <a:pt x="2509134" y="614924"/>
                  <a:pt x="2510956" y="613103"/>
                  <a:pt x="2512778" y="614924"/>
                </a:cubicBezTo>
                <a:cubicBezTo>
                  <a:pt x="2512778" y="616746"/>
                  <a:pt x="2514600" y="618568"/>
                  <a:pt x="2514600" y="620391"/>
                </a:cubicBezTo>
                <a:cubicBezTo>
                  <a:pt x="2521889" y="618568"/>
                  <a:pt x="2523711" y="609459"/>
                  <a:pt x="2523711" y="602169"/>
                </a:cubicBezTo>
                <a:cubicBezTo>
                  <a:pt x="2521889" y="603991"/>
                  <a:pt x="2521889" y="602169"/>
                  <a:pt x="2520067" y="602169"/>
                </a:cubicBezTo>
                <a:cubicBezTo>
                  <a:pt x="2518245" y="603991"/>
                  <a:pt x="2521889" y="609459"/>
                  <a:pt x="2520067" y="611280"/>
                </a:cubicBezTo>
                <a:cubicBezTo>
                  <a:pt x="2521889" y="605813"/>
                  <a:pt x="2512778" y="603991"/>
                  <a:pt x="2514600" y="596702"/>
                </a:cubicBezTo>
                <a:cubicBezTo>
                  <a:pt x="2514600" y="596702"/>
                  <a:pt x="2512778" y="596702"/>
                  <a:pt x="2512778" y="594880"/>
                </a:cubicBezTo>
                <a:close/>
                <a:moveTo>
                  <a:pt x="2354249" y="594880"/>
                </a:moveTo>
                <a:cubicBezTo>
                  <a:pt x="2350605" y="594880"/>
                  <a:pt x="2350605" y="602169"/>
                  <a:pt x="2352427" y="603991"/>
                </a:cubicBezTo>
                <a:cubicBezTo>
                  <a:pt x="2354249" y="602169"/>
                  <a:pt x="2354249" y="598524"/>
                  <a:pt x="2354249" y="594880"/>
                </a:cubicBezTo>
                <a:close/>
                <a:moveTo>
                  <a:pt x="1969770" y="594880"/>
                </a:moveTo>
                <a:lnTo>
                  <a:pt x="1960732" y="607442"/>
                </a:lnTo>
                <a:lnTo>
                  <a:pt x="1963849" y="599208"/>
                </a:lnTo>
                <a:cubicBezTo>
                  <a:pt x="1965671" y="597614"/>
                  <a:pt x="1967948" y="596703"/>
                  <a:pt x="1969770" y="594880"/>
                </a:cubicBezTo>
                <a:close/>
                <a:moveTo>
                  <a:pt x="1255478" y="594880"/>
                </a:moveTo>
                <a:lnTo>
                  <a:pt x="1255604" y="595039"/>
                </a:lnTo>
                <a:lnTo>
                  <a:pt x="1255478" y="596702"/>
                </a:lnTo>
                <a:lnTo>
                  <a:pt x="1255170" y="596112"/>
                </a:lnTo>
                <a:close/>
                <a:moveTo>
                  <a:pt x="1124282" y="594880"/>
                </a:moveTo>
                <a:cubicBezTo>
                  <a:pt x="1118815" y="594880"/>
                  <a:pt x="1118815" y="602169"/>
                  <a:pt x="1116993" y="605813"/>
                </a:cubicBezTo>
                <a:cubicBezTo>
                  <a:pt x="1120637" y="603991"/>
                  <a:pt x="1122459" y="598524"/>
                  <a:pt x="1124282" y="594880"/>
                </a:cubicBezTo>
                <a:close/>
                <a:moveTo>
                  <a:pt x="767136" y="594880"/>
                </a:moveTo>
                <a:cubicBezTo>
                  <a:pt x="765313" y="596702"/>
                  <a:pt x="767136" y="598524"/>
                  <a:pt x="765313" y="598524"/>
                </a:cubicBezTo>
                <a:cubicBezTo>
                  <a:pt x="770781" y="600347"/>
                  <a:pt x="774424" y="602169"/>
                  <a:pt x="779892" y="603991"/>
                </a:cubicBezTo>
                <a:cubicBezTo>
                  <a:pt x="776246" y="600347"/>
                  <a:pt x="770781" y="600347"/>
                  <a:pt x="767136" y="594880"/>
                </a:cubicBezTo>
                <a:close/>
                <a:moveTo>
                  <a:pt x="743447" y="594880"/>
                </a:moveTo>
                <a:cubicBezTo>
                  <a:pt x="741626" y="600347"/>
                  <a:pt x="737981" y="605813"/>
                  <a:pt x="745269" y="611280"/>
                </a:cubicBezTo>
                <a:cubicBezTo>
                  <a:pt x="750737" y="605813"/>
                  <a:pt x="752558" y="596702"/>
                  <a:pt x="743447" y="594880"/>
                </a:cubicBezTo>
                <a:close/>
                <a:moveTo>
                  <a:pt x="668738" y="594880"/>
                </a:moveTo>
                <a:lnTo>
                  <a:pt x="670300" y="599566"/>
                </a:lnTo>
                <a:lnTo>
                  <a:pt x="668738" y="598524"/>
                </a:lnTo>
                <a:cubicBezTo>
                  <a:pt x="670560" y="600347"/>
                  <a:pt x="672383" y="602169"/>
                  <a:pt x="672383" y="605813"/>
                </a:cubicBezTo>
                <a:lnTo>
                  <a:pt x="670300" y="599566"/>
                </a:lnTo>
                <a:lnTo>
                  <a:pt x="674205" y="602169"/>
                </a:lnTo>
                <a:cubicBezTo>
                  <a:pt x="676027" y="600347"/>
                  <a:pt x="674205" y="598524"/>
                  <a:pt x="676027" y="598524"/>
                </a:cubicBezTo>
                <a:cubicBezTo>
                  <a:pt x="674205" y="596702"/>
                  <a:pt x="670560" y="596702"/>
                  <a:pt x="668738" y="594880"/>
                </a:cubicBezTo>
                <a:close/>
                <a:moveTo>
                  <a:pt x="444611" y="594880"/>
                </a:moveTo>
                <a:cubicBezTo>
                  <a:pt x="444611" y="602169"/>
                  <a:pt x="439145" y="613103"/>
                  <a:pt x="453722" y="614924"/>
                </a:cubicBezTo>
                <a:cubicBezTo>
                  <a:pt x="451899" y="611280"/>
                  <a:pt x="448256" y="603991"/>
                  <a:pt x="446433" y="600347"/>
                </a:cubicBezTo>
                <a:cubicBezTo>
                  <a:pt x="448256" y="602169"/>
                  <a:pt x="451899" y="602169"/>
                  <a:pt x="451899" y="603991"/>
                </a:cubicBezTo>
                <a:cubicBezTo>
                  <a:pt x="453722" y="600347"/>
                  <a:pt x="448256" y="594880"/>
                  <a:pt x="444611" y="594880"/>
                </a:cubicBezTo>
                <a:close/>
                <a:moveTo>
                  <a:pt x="364435" y="594880"/>
                </a:moveTo>
                <a:cubicBezTo>
                  <a:pt x="360791" y="594880"/>
                  <a:pt x="364435" y="600347"/>
                  <a:pt x="366257" y="598524"/>
                </a:cubicBezTo>
                <a:cubicBezTo>
                  <a:pt x="366257" y="596702"/>
                  <a:pt x="364435" y="596702"/>
                  <a:pt x="364435" y="594880"/>
                </a:cubicBezTo>
                <a:close/>
                <a:moveTo>
                  <a:pt x="307948" y="594880"/>
                </a:moveTo>
                <a:cubicBezTo>
                  <a:pt x="298837" y="603991"/>
                  <a:pt x="306126" y="603991"/>
                  <a:pt x="307948" y="603991"/>
                </a:cubicBezTo>
                <a:cubicBezTo>
                  <a:pt x="309771" y="602169"/>
                  <a:pt x="307948" y="598524"/>
                  <a:pt x="307948" y="594880"/>
                </a:cubicBezTo>
                <a:close/>
                <a:moveTo>
                  <a:pt x="1426104" y="594625"/>
                </a:moveTo>
                <a:lnTo>
                  <a:pt x="1426080" y="594880"/>
                </a:lnTo>
                <a:lnTo>
                  <a:pt x="1425269" y="596116"/>
                </a:lnTo>
                <a:close/>
                <a:moveTo>
                  <a:pt x="1404896" y="594197"/>
                </a:moveTo>
                <a:lnTo>
                  <a:pt x="1404896" y="605813"/>
                </a:lnTo>
                <a:lnTo>
                  <a:pt x="1403074" y="605813"/>
                </a:lnTo>
                <a:cubicBezTo>
                  <a:pt x="1406719" y="602169"/>
                  <a:pt x="1403074" y="600347"/>
                  <a:pt x="1403074" y="594880"/>
                </a:cubicBezTo>
                <a:close/>
                <a:moveTo>
                  <a:pt x="2343316" y="593058"/>
                </a:moveTo>
                <a:cubicBezTo>
                  <a:pt x="2341494" y="598524"/>
                  <a:pt x="2343316" y="603991"/>
                  <a:pt x="2345138" y="609459"/>
                </a:cubicBezTo>
                <a:cubicBezTo>
                  <a:pt x="2346960" y="607635"/>
                  <a:pt x="2348782" y="605813"/>
                  <a:pt x="2348782" y="600347"/>
                </a:cubicBezTo>
                <a:cubicBezTo>
                  <a:pt x="2343316" y="600347"/>
                  <a:pt x="2348782" y="594880"/>
                  <a:pt x="2343316" y="593058"/>
                </a:cubicBezTo>
                <a:close/>
                <a:moveTo>
                  <a:pt x="1306499" y="593058"/>
                </a:moveTo>
                <a:cubicBezTo>
                  <a:pt x="1304677" y="593058"/>
                  <a:pt x="1304677" y="598524"/>
                  <a:pt x="1304677" y="602169"/>
                </a:cubicBezTo>
                <a:cubicBezTo>
                  <a:pt x="1308321" y="600347"/>
                  <a:pt x="1304677" y="596702"/>
                  <a:pt x="1306499" y="593058"/>
                </a:cubicBezTo>
                <a:close/>
                <a:moveTo>
                  <a:pt x="758025" y="593058"/>
                </a:moveTo>
                <a:cubicBezTo>
                  <a:pt x="759848" y="593058"/>
                  <a:pt x="761670" y="594880"/>
                  <a:pt x="761670" y="596702"/>
                </a:cubicBezTo>
                <a:lnTo>
                  <a:pt x="757249" y="595772"/>
                </a:lnTo>
                <a:close/>
                <a:moveTo>
                  <a:pt x="614074" y="593058"/>
                </a:moveTo>
                <a:lnTo>
                  <a:pt x="608169" y="609459"/>
                </a:lnTo>
                <a:lnTo>
                  <a:pt x="606784" y="609459"/>
                </a:lnTo>
                <a:lnTo>
                  <a:pt x="607819" y="610430"/>
                </a:lnTo>
                <a:lnTo>
                  <a:pt x="605873" y="615835"/>
                </a:lnTo>
                <a:cubicBezTo>
                  <a:pt x="606329" y="624035"/>
                  <a:pt x="609517" y="632235"/>
                  <a:pt x="614074" y="638612"/>
                </a:cubicBezTo>
                <a:cubicBezTo>
                  <a:pt x="616806" y="633146"/>
                  <a:pt x="618628" y="625858"/>
                  <a:pt x="617945" y="619936"/>
                </a:cubicBezTo>
                <a:lnTo>
                  <a:pt x="607819" y="610430"/>
                </a:lnTo>
                <a:lnTo>
                  <a:pt x="608169" y="609459"/>
                </a:lnTo>
                <a:lnTo>
                  <a:pt x="617717" y="609459"/>
                </a:lnTo>
                <a:cubicBezTo>
                  <a:pt x="623185" y="603991"/>
                  <a:pt x="614074" y="598524"/>
                  <a:pt x="614074" y="593058"/>
                </a:cubicBezTo>
                <a:close/>
                <a:moveTo>
                  <a:pt x="3391066" y="591236"/>
                </a:moveTo>
                <a:cubicBezTo>
                  <a:pt x="3385600" y="589414"/>
                  <a:pt x="3387422" y="596702"/>
                  <a:pt x="3385600" y="598524"/>
                </a:cubicBezTo>
                <a:cubicBezTo>
                  <a:pt x="3383777" y="593058"/>
                  <a:pt x="3374666" y="594880"/>
                  <a:pt x="3372844" y="600347"/>
                </a:cubicBezTo>
                <a:cubicBezTo>
                  <a:pt x="3372844" y="603991"/>
                  <a:pt x="3374666" y="607635"/>
                  <a:pt x="3376489" y="611280"/>
                </a:cubicBezTo>
                <a:cubicBezTo>
                  <a:pt x="3385600" y="607635"/>
                  <a:pt x="3380133" y="620391"/>
                  <a:pt x="3387422" y="618568"/>
                </a:cubicBezTo>
                <a:cubicBezTo>
                  <a:pt x="3391066" y="616746"/>
                  <a:pt x="3391066" y="609459"/>
                  <a:pt x="3391066" y="603991"/>
                </a:cubicBezTo>
                <a:cubicBezTo>
                  <a:pt x="3392888" y="614924"/>
                  <a:pt x="3409288" y="634968"/>
                  <a:pt x="3398355" y="636790"/>
                </a:cubicBezTo>
                <a:cubicBezTo>
                  <a:pt x="3392888" y="636790"/>
                  <a:pt x="3400177" y="627679"/>
                  <a:pt x="3398355" y="625857"/>
                </a:cubicBezTo>
                <a:cubicBezTo>
                  <a:pt x="3394711" y="623124"/>
                  <a:pt x="3389244" y="619480"/>
                  <a:pt x="3384461" y="618569"/>
                </a:cubicBezTo>
                <a:lnTo>
                  <a:pt x="3378376" y="624229"/>
                </a:lnTo>
                <a:lnTo>
                  <a:pt x="3378311" y="624035"/>
                </a:lnTo>
                <a:cubicBezTo>
                  <a:pt x="3378311" y="625857"/>
                  <a:pt x="3376489" y="627679"/>
                  <a:pt x="3374666" y="627679"/>
                </a:cubicBezTo>
                <a:lnTo>
                  <a:pt x="3378376" y="624229"/>
                </a:lnTo>
                <a:lnTo>
                  <a:pt x="3380133" y="629501"/>
                </a:lnTo>
                <a:cubicBezTo>
                  <a:pt x="3381955" y="629501"/>
                  <a:pt x="3381955" y="629501"/>
                  <a:pt x="3383777" y="627679"/>
                </a:cubicBezTo>
                <a:cubicBezTo>
                  <a:pt x="3385600" y="634968"/>
                  <a:pt x="3376489" y="634968"/>
                  <a:pt x="3374666" y="642257"/>
                </a:cubicBezTo>
                <a:cubicBezTo>
                  <a:pt x="3376489" y="642257"/>
                  <a:pt x="3378311" y="640435"/>
                  <a:pt x="3378311" y="640435"/>
                </a:cubicBezTo>
                <a:cubicBezTo>
                  <a:pt x="3381955" y="647723"/>
                  <a:pt x="3392888" y="653190"/>
                  <a:pt x="3396532" y="649545"/>
                </a:cubicBezTo>
                <a:cubicBezTo>
                  <a:pt x="3403821" y="640435"/>
                  <a:pt x="3414754" y="647723"/>
                  <a:pt x="3416577" y="640435"/>
                </a:cubicBezTo>
                <a:cubicBezTo>
                  <a:pt x="3418399" y="636790"/>
                  <a:pt x="3414754" y="631324"/>
                  <a:pt x="3407466" y="634968"/>
                </a:cubicBezTo>
                <a:cubicBezTo>
                  <a:pt x="3409288" y="629501"/>
                  <a:pt x="3407466" y="622213"/>
                  <a:pt x="3411110" y="620391"/>
                </a:cubicBezTo>
                <a:cubicBezTo>
                  <a:pt x="3414754" y="618568"/>
                  <a:pt x="3416577" y="629501"/>
                  <a:pt x="3423865" y="627679"/>
                </a:cubicBezTo>
                <a:cubicBezTo>
                  <a:pt x="3412932" y="624035"/>
                  <a:pt x="3422043" y="613103"/>
                  <a:pt x="3429332" y="613103"/>
                </a:cubicBezTo>
                <a:cubicBezTo>
                  <a:pt x="3427510" y="609459"/>
                  <a:pt x="3425687" y="607635"/>
                  <a:pt x="3427510" y="603991"/>
                </a:cubicBezTo>
                <a:cubicBezTo>
                  <a:pt x="3422043" y="603991"/>
                  <a:pt x="3422043" y="603991"/>
                  <a:pt x="3423865" y="600347"/>
                </a:cubicBezTo>
                <a:cubicBezTo>
                  <a:pt x="3416577" y="603991"/>
                  <a:pt x="3423865" y="609459"/>
                  <a:pt x="3422043" y="611280"/>
                </a:cubicBezTo>
                <a:cubicBezTo>
                  <a:pt x="3416577" y="613103"/>
                  <a:pt x="3407466" y="620391"/>
                  <a:pt x="3405643" y="613103"/>
                </a:cubicBezTo>
                <a:cubicBezTo>
                  <a:pt x="3403821" y="611280"/>
                  <a:pt x="3407466" y="605813"/>
                  <a:pt x="3405643" y="602169"/>
                </a:cubicBezTo>
                <a:cubicBezTo>
                  <a:pt x="3409288" y="602169"/>
                  <a:pt x="3411110" y="602169"/>
                  <a:pt x="3412932" y="600347"/>
                </a:cubicBezTo>
                <a:cubicBezTo>
                  <a:pt x="3412932" y="596702"/>
                  <a:pt x="3412932" y="594880"/>
                  <a:pt x="3411110" y="593058"/>
                </a:cubicBezTo>
                <a:cubicBezTo>
                  <a:pt x="3403821" y="598524"/>
                  <a:pt x="3403821" y="589414"/>
                  <a:pt x="3396532" y="591236"/>
                </a:cubicBezTo>
                <a:cubicBezTo>
                  <a:pt x="3394710" y="591236"/>
                  <a:pt x="3398355" y="598524"/>
                  <a:pt x="3394710" y="598524"/>
                </a:cubicBezTo>
                <a:cubicBezTo>
                  <a:pt x="3391066" y="600347"/>
                  <a:pt x="3394710" y="594880"/>
                  <a:pt x="3392888" y="593058"/>
                </a:cubicBezTo>
                <a:cubicBezTo>
                  <a:pt x="3391066" y="594880"/>
                  <a:pt x="3391066" y="596702"/>
                  <a:pt x="3389244" y="596702"/>
                </a:cubicBezTo>
                <a:cubicBezTo>
                  <a:pt x="3385600" y="593058"/>
                  <a:pt x="3396532" y="591236"/>
                  <a:pt x="3391066" y="591236"/>
                </a:cubicBezTo>
                <a:close/>
                <a:moveTo>
                  <a:pt x="3192449" y="591236"/>
                </a:moveTo>
                <a:cubicBezTo>
                  <a:pt x="3186982" y="594880"/>
                  <a:pt x="3192449" y="602169"/>
                  <a:pt x="3186982" y="607635"/>
                </a:cubicBezTo>
                <a:cubicBezTo>
                  <a:pt x="3190627" y="607635"/>
                  <a:pt x="3190627" y="600347"/>
                  <a:pt x="3196093" y="602169"/>
                </a:cubicBezTo>
                <a:cubicBezTo>
                  <a:pt x="3197916" y="596702"/>
                  <a:pt x="3192449" y="594880"/>
                  <a:pt x="3192449" y="591236"/>
                </a:cubicBezTo>
                <a:close/>
                <a:moveTo>
                  <a:pt x="2915479" y="591236"/>
                </a:moveTo>
                <a:cubicBezTo>
                  <a:pt x="2913656" y="596702"/>
                  <a:pt x="2906368" y="594880"/>
                  <a:pt x="2908190" y="600347"/>
                </a:cubicBezTo>
                <a:cubicBezTo>
                  <a:pt x="2913656" y="602169"/>
                  <a:pt x="2915479" y="602169"/>
                  <a:pt x="2919123" y="602169"/>
                </a:cubicBezTo>
                <a:cubicBezTo>
                  <a:pt x="2920945" y="598524"/>
                  <a:pt x="2917301" y="596702"/>
                  <a:pt x="2915479" y="594880"/>
                </a:cubicBezTo>
                <a:cubicBezTo>
                  <a:pt x="2915479" y="593058"/>
                  <a:pt x="2919123" y="596702"/>
                  <a:pt x="2922767" y="596702"/>
                </a:cubicBezTo>
                <a:cubicBezTo>
                  <a:pt x="2920945" y="594880"/>
                  <a:pt x="2919123" y="593058"/>
                  <a:pt x="2915479" y="591236"/>
                </a:cubicBezTo>
                <a:close/>
                <a:moveTo>
                  <a:pt x="1404896" y="591236"/>
                </a:moveTo>
                <a:lnTo>
                  <a:pt x="1406117" y="594655"/>
                </a:lnTo>
                <a:lnTo>
                  <a:pt x="1404896" y="594197"/>
                </a:lnTo>
                <a:close/>
                <a:moveTo>
                  <a:pt x="1111526" y="591236"/>
                </a:moveTo>
                <a:cubicBezTo>
                  <a:pt x="1104238" y="596702"/>
                  <a:pt x="1095127" y="602169"/>
                  <a:pt x="1091484" y="609459"/>
                </a:cubicBezTo>
                <a:cubicBezTo>
                  <a:pt x="1089660" y="609459"/>
                  <a:pt x="1095127" y="611280"/>
                  <a:pt x="1100593" y="611280"/>
                </a:cubicBezTo>
                <a:cubicBezTo>
                  <a:pt x="1100593" y="614924"/>
                  <a:pt x="1098771" y="614924"/>
                  <a:pt x="1096949" y="616746"/>
                </a:cubicBezTo>
                <a:cubicBezTo>
                  <a:pt x="1098771" y="620391"/>
                  <a:pt x="1106060" y="618568"/>
                  <a:pt x="1107882" y="624035"/>
                </a:cubicBezTo>
                <a:cubicBezTo>
                  <a:pt x="1115171" y="618568"/>
                  <a:pt x="1115171" y="613103"/>
                  <a:pt x="1113349" y="609459"/>
                </a:cubicBezTo>
                <a:cubicBezTo>
                  <a:pt x="1111526" y="613103"/>
                  <a:pt x="1107882" y="613103"/>
                  <a:pt x="1106060" y="609459"/>
                </a:cubicBezTo>
                <a:cubicBezTo>
                  <a:pt x="1116993" y="607635"/>
                  <a:pt x="1115171" y="598524"/>
                  <a:pt x="1111526" y="591236"/>
                </a:cubicBezTo>
                <a:close/>
                <a:moveTo>
                  <a:pt x="838200" y="591236"/>
                </a:moveTo>
                <a:cubicBezTo>
                  <a:pt x="836378" y="594880"/>
                  <a:pt x="836378" y="600347"/>
                  <a:pt x="836378" y="603991"/>
                </a:cubicBezTo>
                <a:cubicBezTo>
                  <a:pt x="840022" y="602169"/>
                  <a:pt x="840022" y="598524"/>
                  <a:pt x="841845" y="596702"/>
                </a:cubicBezTo>
                <a:cubicBezTo>
                  <a:pt x="838200" y="594880"/>
                  <a:pt x="838200" y="593058"/>
                  <a:pt x="838200" y="591236"/>
                </a:cubicBezTo>
                <a:close/>
                <a:moveTo>
                  <a:pt x="834556" y="591236"/>
                </a:moveTo>
                <a:cubicBezTo>
                  <a:pt x="832734" y="594880"/>
                  <a:pt x="830912" y="600347"/>
                  <a:pt x="829089" y="605813"/>
                </a:cubicBezTo>
                <a:cubicBezTo>
                  <a:pt x="836378" y="603991"/>
                  <a:pt x="834556" y="594880"/>
                  <a:pt x="834556" y="591236"/>
                </a:cubicBezTo>
                <a:close/>
                <a:moveTo>
                  <a:pt x="779892" y="591236"/>
                </a:moveTo>
                <a:cubicBezTo>
                  <a:pt x="779892" y="593058"/>
                  <a:pt x="779892" y="598524"/>
                  <a:pt x="783535" y="598524"/>
                </a:cubicBezTo>
                <a:cubicBezTo>
                  <a:pt x="783535" y="596702"/>
                  <a:pt x="783535" y="596702"/>
                  <a:pt x="785357" y="594880"/>
                </a:cubicBezTo>
                <a:cubicBezTo>
                  <a:pt x="783535" y="593058"/>
                  <a:pt x="781713" y="593058"/>
                  <a:pt x="779892" y="591236"/>
                </a:cubicBezTo>
                <a:close/>
                <a:moveTo>
                  <a:pt x="522964" y="591236"/>
                </a:moveTo>
                <a:cubicBezTo>
                  <a:pt x="519320" y="594880"/>
                  <a:pt x="519320" y="600347"/>
                  <a:pt x="519320" y="603991"/>
                </a:cubicBezTo>
                <a:cubicBezTo>
                  <a:pt x="521142" y="600347"/>
                  <a:pt x="526609" y="596702"/>
                  <a:pt x="522964" y="591236"/>
                </a:cubicBezTo>
                <a:close/>
                <a:moveTo>
                  <a:pt x="391768" y="591236"/>
                </a:moveTo>
                <a:cubicBezTo>
                  <a:pt x="390857" y="592147"/>
                  <a:pt x="390857" y="593514"/>
                  <a:pt x="390629" y="594653"/>
                </a:cubicBezTo>
                <a:lnTo>
                  <a:pt x="389670" y="595437"/>
                </a:lnTo>
                <a:lnTo>
                  <a:pt x="389300" y="593929"/>
                </a:lnTo>
                <a:close/>
                <a:moveTo>
                  <a:pt x="331636" y="591236"/>
                </a:moveTo>
                <a:cubicBezTo>
                  <a:pt x="331636" y="598524"/>
                  <a:pt x="340747" y="600347"/>
                  <a:pt x="342569" y="603991"/>
                </a:cubicBezTo>
                <a:cubicBezTo>
                  <a:pt x="348037" y="600347"/>
                  <a:pt x="337102" y="589414"/>
                  <a:pt x="331636" y="591236"/>
                </a:cubicBezTo>
                <a:close/>
                <a:moveTo>
                  <a:pt x="2161099" y="589435"/>
                </a:moveTo>
                <a:cubicBezTo>
                  <a:pt x="2162921" y="593080"/>
                  <a:pt x="2164743" y="596724"/>
                  <a:pt x="2166565" y="600368"/>
                </a:cubicBezTo>
                <a:cubicBezTo>
                  <a:pt x="2159277" y="598546"/>
                  <a:pt x="2161099" y="593080"/>
                  <a:pt x="2161099" y="589435"/>
                </a:cubicBezTo>
                <a:close/>
                <a:moveTo>
                  <a:pt x="3364645" y="589414"/>
                </a:moveTo>
                <a:cubicBezTo>
                  <a:pt x="3363279" y="589414"/>
                  <a:pt x="3361912" y="590325"/>
                  <a:pt x="3360089" y="593058"/>
                </a:cubicBezTo>
                <a:cubicBezTo>
                  <a:pt x="3360089" y="593058"/>
                  <a:pt x="3361911" y="594880"/>
                  <a:pt x="3361911" y="596702"/>
                </a:cubicBezTo>
                <a:cubicBezTo>
                  <a:pt x="3363734" y="593058"/>
                  <a:pt x="3367378" y="593058"/>
                  <a:pt x="3369200" y="591236"/>
                </a:cubicBezTo>
                <a:cubicBezTo>
                  <a:pt x="3367378" y="590325"/>
                  <a:pt x="3366012" y="589414"/>
                  <a:pt x="3364645" y="589414"/>
                </a:cubicBezTo>
                <a:close/>
                <a:moveTo>
                  <a:pt x="1113349" y="589414"/>
                </a:moveTo>
                <a:cubicBezTo>
                  <a:pt x="1111526" y="593058"/>
                  <a:pt x="1115171" y="596702"/>
                  <a:pt x="1115171" y="600347"/>
                </a:cubicBezTo>
                <a:cubicBezTo>
                  <a:pt x="1120637" y="596702"/>
                  <a:pt x="1115171" y="593058"/>
                  <a:pt x="1113349" y="589414"/>
                </a:cubicBezTo>
                <a:close/>
                <a:moveTo>
                  <a:pt x="1096949" y="589414"/>
                </a:moveTo>
                <a:cubicBezTo>
                  <a:pt x="1091484" y="593058"/>
                  <a:pt x="1091484" y="598524"/>
                  <a:pt x="1089660" y="602169"/>
                </a:cubicBezTo>
                <a:cubicBezTo>
                  <a:pt x="1095127" y="600347"/>
                  <a:pt x="1098771" y="596702"/>
                  <a:pt x="1102416" y="591236"/>
                </a:cubicBezTo>
                <a:cubicBezTo>
                  <a:pt x="1100593" y="591236"/>
                  <a:pt x="1098771" y="591236"/>
                  <a:pt x="1096949" y="589414"/>
                </a:cubicBezTo>
                <a:close/>
                <a:moveTo>
                  <a:pt x="943886" y="589414"/>
                </a:moveTo>
                <a:cubicBezTo>
                  <a:pt x="934777" y="596702"/>
                  <a:pt x="923843" y="605813"/>
                  <a:pt x="927487" y="618568"/>
                </a:cubicBezTo>
                <a:cubicBezTo>
                  <a:pt x="931131" y="614924"/>
                  <a:pt x="932953" y="609459"/>
                  <a:pt x="934777" y="605813"/>
                </a:cubicBezTo>
                <a:cubicBezTo>
                  <a:pt x="934777" y="607635"/>
                  <a:pt x="934777" y="609459"/>
                  <a:pt x="934777" y="611280"/>
                </a:cubicBezTo>
                <a:cubicBezTo>
                  <a:pt x="942064" y="603991"/>
                  <a:pt x="940242" y="596702"/>
                  <a:pt x="943886" y="589414"/>
                </a:cubicBezTo>
                <a:close/>
                <a:moveTo>
                  <a:pt x="927487" y="589414"/>
                </a:moveTo>
                <a:cubicBezTo>
                  <a:pt x="927487" y="591236"/>
                  <a:pt x="925666" y="591236"/>
                  <a:pt x="923843" y="593058"/>
                </a:cubicBezTo>
                <a:cubicBezTo>
                  <a:pt x="925666" y="594880"/>
                  <a:pt x="931131" y="591236"/>
                  <a:pt x="927487" y="589414"/>
                </a:cubicBezTo>
                <a:close/>
                <a:moveTo>
                  <a:pt x="911087" y="589414"/>
                </a:moveTo>
                <a:cubicBezTo>
                  <a:pt x="907444" y="589414"/>
                  <a:pt x="907444" y="593058"/>
                  <a:pt x="903799" y="594880"/>
                </a:cubicBezTo>
                <a:lnTo>
                  <a:pt x="905818" y="596002"/>
                </a:lnTo>
                <a:lnTo>
                  <a:pt x="903799" y="598524"/>
                </a:lnTo>
                <a:cubicBezTo>
                  <a:pt x="904710" y="596703"/>
                  <a:pt x="905621" y="596247"/>
                  <a:pt x="905849" y="596019"/>
                </a:cubicBezTo>
                <a:lnTo>
                  <a:pt x="905818" y="596002"/>
                </a:lnTo>
                <a:close/>
                <a:moveTo>
                  <a:pt x="905621" y="589414"/>
                </a:moveTo>
                <a:cubicBezTo>
                  <a:pt x="903799" y="587591"/>
                  <a:pt x="898333" y="591236"/>
                  <a:pt x="901976" y="593058"/>
                </a:cubicBezTo>
                <a:cubicBezTo>
                  <a:pt x="903799" y="591236"/>
                  <a:pt x="903799" y="589414"/>
                  <a:pt x="905621" y="589414"/>
                </a:cubicBezTo>
                <a:close/>
                <a:moveTo>
                  <a:pt x="348037" y="589414"/>
                </a:moveTo>
                <a:cubicBezTo>
                  <a:pt x="344391" y="596702"/>
                  <a:pt x="349858" y="602169"/>
                  <a:pt x="353502" y="600347"/>
                </a:cubicBezTo>
                <a:cubicBezTo>
                  <a:pt x="357146" y="600347"/>
                  <a:pt x="348037" y="596702"/>
                  <a:pt x="349858" y="593058"/>
                </a:cubicBezTo>
                <a:cubicBezTo>
                  <a:pt x="349858" y="591236"/>
                  <a:pt x="348037" y="591236"/>
                  <a:pt x="348037" y="589414"/>
                </a:cubicBezTo>
                <a:close/>
                <a:moveTo>
                  <a:pt x="317059" y="589414"/>
                </a:moveTo>
                <a:cubicBezTo>
                  <a:pt x="315236" y="598524"/>
                  <a:pt x="324347" y="600347"/>
                  <a:pt x="326169" y="605813"/>
                </a:cubicBezTo>
                <a:cubicBezTo>
                  <a:pt x="322525" y="598524"/>
                  <a:pt x="322525" y="596702"/>
                  <a:pt x="317059" y="589414"/>
                </a:cubicBezTo>
                <a:close/>
                <a:moveTo>
                  <a:pt x="1090086" y="589206"/>
                </a:moveTo>
                <a:lnTo>
                  <a:pt x="1090397" y="590991"/>
                </a:lnTo>
                <a:lnTo>
                  <a:pt x="1087838" y="593058"/>
                </a:lnTo>
                <a:close/>
                <a:moveTo>
                  <a:pt x="664951" y="588521"/>
                </a:moveTo>
                <a:lnTo>
                  <a:pt x="665094" y="589414"/>
                </a:lnTo>
                <a:lnTo>
                  <a:pt x="664998" y="589414"/>
                </a:lnTo>
                <a:close/>
                <a:moveTo>
                  <a:pt x="2491595" y="588048"/>
                </a:moveTo>
                <a:cubicBezTo>
                  <a:pt x="2490457" y="588503"/>
                  <a:pt x="2489090" y="589414"/>
                  <a:pt x="2487268" y="589414"/>
                </a:cubicBezTo>
                <a:cubicBezTo>
                  <a:pt x="2483624" y="591236"/>
                  <a:pt x="2489090" y="593058"/>
                  <a:pt x="2489090" y="600347"/>
                </a:cubicBezTo>
                <a:cubicBezTo>
                  <a:pt x="2492734" y="598524"/>
                  <a:pt x="2492734" y="593058"/>
                  <a:pt x="2494556" y="589414"/>
                </a:cubicBezTo>
                <a:cubicBezTo>
                  <a:pt x="2493645" y="587592"/>
                  <a:pt x="2492734" y="587592"/>
                  <a:pt x="2491595" y="588048"/>
                </a:cubicBezTo>
                <a:close/>
                <a:moveTo>
                  <a:pt x="3493108" y="587591"/>
                </a:moveTo>
                <a:cubicBezTo>
                  <a:pt x="3489463" y="585769"/>
                  <a:pt x="3487641" y="589414"/>
                  <a:pt x="3485819" y="594880"/>
                </a:cubicBezTo>
                <a:cubicBezTo>
                  <a:pt x="3487641" y="594880"/>
                  <a:pt x="3493108" y="593058"/>
                  <a:pt x="3491286" y="596702"/>
                </a:cubicBezTo>
                <a:cubicBezTo>
                  <a:pt x="3491286" y="598524"/>
                  <a:pt x="3483997" y="594880"/>
                  <a:pt x="3485819" y="600347"/>
                </a:cubicBezTo>
                <a:cubicBezTo>
                  <a:pt x="3491286" y="598524"/>
                  <a:pt x="3489463" y="603991"/>
                  <a:pt x="3493108" y="602169"/>
                </a:cubicBezTo>
                <a:cubicBezTo>
                  <a:pt x="3498574" y="596702"/>
                  <a:pt x="3493108" y="594880"/>
                  <a:pt x="3493108" y="587591"/>
                </a:cubicBezTo>
                <a:close/>
                <a:moveTo>
                  <a:pt x="2585665" y="587591"/>
                </a:moveTo>
                <a:cubicBezTo>
                  <a:pt x="2580199" y="589414"/>
                  <a:pt x="2583843" y="607635"/>
                  <a:pt x="2585665" y="613103"/>
                </a:cubicBezTo>
                <a:cubicBezTo>
                  <a:pt x="2589310" y="616746"/>
                  <a:pt x="2585665" y="607635"/>
                  <a:pt x="2583843" y="602169"/>
                </a:cubicBezTo>
                <a:cubicBezTo>
                  <a:pt x="2585665" y="603991"/>
                  <a:pt x="2585665" y="605813"/>
                  <a:pt x="2587487" y="605813"/>
                </a:cubicBezTo>
                <a:cubicBezTo>
                  <a:pt x="2587487" y="602169"/>
                  <a:pt x="2591132" y="602169"/>
                  <a:pt x="2589310" y="598524"/>
                </a:cubicBezTo>
                <a:cubicBezTo>
                  <a:pt x="2585665" y="598524"/>
                  <a:pt x="2587487" y="602169"/>
                  <a:pt x="2585665" y="602169"/>
                </a:cubicBezTo>
                <a:cubicBezTo>
                  <a:pt x="2582021" y="598524"/>
                  <a:pt x="2585665" y="591236"/>
                  <a:pt x="2585665" y="587591"/>
                </a:cubicBezTo>
                <a:close/>
                <a:moveTo>
                  <a:pt x="1253656" y="587591"/>
                </a:moveTo>
                <a:cubicBezTo>
                  <a:pt x="1255478" y="589414"/>
                  <a:pt x="1255478" y="593058"/>
                  <a:pt x="1255478" y="594880"/>
                </a:cubicBezTo>
                <a:lnTo>
                  <a:pt x="1253890" y="593659"/>
                </a:lnTo>
                <a:lnTo>
                  <a:pt x="1252766" y="591505"/>
                </a:lnTo>
                <a:close/>
                <a:moveTo>
                  <a:pt x="1250012" y="587591"/>
                </a:moveTo>
                <a:cubicBezTo>
                  <a:pt x="1251834" y="588503"/>
                  <a:pt x="1252289" y="589870"/>
                  <a:pt x="1252745" y="591464"/>
                </a:cubicBezTo>
                <a:lnTo>
                  <a:pt x="1252766" y="591505"/>
                </a:lnTo>
                <a:lnTo>
                  <a:pt x="1252517" y="592603"/>
                </a:lnTo>
                <a:lnTo>
                  <a:pt x="1253890" y="593659"/>
                </a:lnTo>
                <a:lnTo>
                  <a:pt x="1255170" y="596112"/>
                </a:lnTo>
                <a:lnTo>
                  <a:pt x="1255022" y="596702"/>
                </a:lnTo>
                <a:lnTo>
                  <a:pt x="1251834" y="598524"/>
                </a:lnTo>
                <a:lnTo>
                  <a:pt x="1253656" y="596702"/>
                </a:lnTo>
                <a:lnTo>
                  <a:pt x="1249631" y="598044"/>
                </a:lnTo>
                <a:close/>
                <a:moveTo>
                  <a:pt x="878288" y="587591"/>
                </a:moveTo>
                <a:cubicBezTo>
                  <a:pt x="878288" y="587591"/>
                  <a:pt x="876466" y="596702"/>
                  <a:pt x="871000" y="600347"/>
                </a:cubicBezTo>
                <a:cubicBezTo>
                  <a:pt x="874644" y="600347"/>
                  <a:pt x="874644" y="594880"/>
                  <a:pt x="880111" y="591236"/>
                </a:cubicBezTo>
                <a:cubicBezTo>
                  <a:pt x="876466" y="591236"/>
                  <a:pt x="878288" y="589414"/>
                  <a:pt x="878288" y="587591"/>
                </a:cubicBezTo>
                <a:close/>
                <a:moveTo>
                  <a:pt x="860066" y="587591"/>
                </a:moveTo>
                <a:cubicBezTo>
                  <a:pt x="852778" y="591236"/>
                  <a:pt x="838200" y="596702"/>
                  <a:pt x="845489" y="602169"/>
                </a:cubicBezTo>
                <a:cubicBezTo>
                  <a:pt x="847311" y="600347"/>
                  <a:pt x="849133" y="600347"/>
                  <a:pt x="849133" y="596702"/>
                </a:cubicBezTo>
                <a:cubicBezTo>
                  <a:pt x="850956" y="603991"/>
                  <a:pt x="841845" y="611280"/>
                  <a:pt x="849133" y="614924"/>
                </a:cubicBezTo>
                <a:cubicBezTo>
                  <a:pt x="850956" y="618568"/>
                  <a:pt x="852778" y="607635"/>
                  <a:pt x="856422" y="605813"/>
                </a:cubicBezTo>
                <a:cubicBezTo>
                  <a:pt x="856422" y="611280"/>
                  <a:pt x="850956" y="616746"/>
                  <a:pt x="852778" y="622213"/>
                </a:cubicBezTo>
                <a:cubicBezTo>
                  <a:pt x="865533" y="613103"/>
                  <a:pt x="871000" y="600347"/>
                  <a:pt x="860066" y="587591"/>
                </a:cubicBezTo>
                <a:close/>
                <a:moveTo>
                  <a:pt x="548475" y="587591"/>
                </a:moveTo>
                <a:cubicBezTo>
                  <a:pt x="552119" y="591236"/>
                  <a:pt x="548475" y="596702"/>
                  <a:pt x="550297" y="602169"/>
                </a:cubicBezTo>
                <a:cubicBezTo>
                  <a:pt x="552119" y="602169"/>
                  <a:pt x="553941" y="596702"/>
                  <a:pt x="555763" y="600347"/>
                </a:cubicBezTo>
                <a:cubicBezTo>
                  <a:pt x="555763" y="594880"/>
                  <a:pt x="552119" y="593058"/>
                  <a:pt x="548475" y="587591"/>
                </a:cubicBezTo>
                <a:close/>
                <a:moveTo>
                  <a:pt x="3292669" y="585769"/>
                </a:moveTo>
                <a:cubicBezTo>
                  <a:pt x="3290847" y="587591"/>
                  <a:pt x="3289024" y="591236"/>
                  <a:pt x="3287202" y="591236"/>
                </a:cubicBezTo>
                <a:cubicBezTo>
                  <a:pt x="3283558" y="591236"/>
                  <a:pt x="3283558" y="589414"/>
                  <a:pt x="3283558" y="587591"/>
                </a:cubicBezTo>
                <a:cubicBezTo>
                  <a:pt x="3274447" y="589414"/>
                  <a:pt x="3278091" y="593058"/>
                  <a:pt x="3276269" y="594880"/>
                </a:cubicBezTo>
                <a:cubicBezTo>
                  <a:pt x="3287202" y="593058"/>
                  <a:pt x="3303602" y="607635"/>
                  <a:pt x="3299957" y="591236"/>
                </a:cubicBezTo>
                <a:cubicBezTo>
                  <a:pt x="3299957" y="591236"/>
                  <a:pt x="3294491" y="587591"/>
                  <a:pt x="3292669" y="585769"/>
                </a:cubicBezTo>
                <a:close/>
                <a:moveTo>
                  <a:pt x="3064897" y="585769"/>
                </a:moveTo>
                <a:cubicBezTo>
                  <a:pt x="3061253" y="585769"/>
                  <a:pt x="3066719" y="591236"/>
                  <a:pt x="3059430" y="589414"/>
                </a:cubicBezTo>
                <a:cubicBezTo>
                  <a:pt x="3057608" y="593058"/>
                  <a:pt x="3061253" y="600347"/>
                  <a:pt x="3053964" y="598524"/>
                </a:cubicBezTo>
                <a:cubicBezTo>
                  <a:pt x="3053964" y="602169"/>
                  <a:pt x="3063075" y="614924"/>
                  <a:pt x="3053964" y="611280"/>
                </a:cubicBezTo>
                <a:cubicBezTo>
                  <a:pt x="3055786" y="616746"/>
                  <a:pt x="3061253" y="611280"/>
                  <a:pt x="3066719" y="611280"/>
                </a:cubicBezTo>
                <a:cubicBezTo>
                  <a:pt x="3066719" y="609459"/>
                  <a:pt x="3066719" y="607635"/>
                  <a:pt x="3066719" y="605813"/>
                </a:cubicBezTo>
                <a:cubicBezTo>
                  <a:pt x="3052142" y="603991"/>
                  <a:pt x="3068541" y="596702"/>
                  <a:pt x="3070363" y="589414"/>
                </a:cubicBezTo>
                <a:cubicBezTo>
                  <a:pt x="3070363" y="587591"/>
                  <a:pt x="3064897" y="587591"/>
                  <a:pt x="3064897" y="585769"/>
                </a:cubicBezTo>
                <a:close/>
                <a:moveTo>
                  <a:pt x="2875391" y="585769"/>
                </a:moveTo>
                <a:cubicBezTo>
                  <a:pt x="2880857" y="591236"/>
                  <a:pt x="2879035" y="600347"/>
                  <a:pt x="2869924" y="600347"/>
                </a:cubicBezTo>
                <a:cubicBezTo>
                  <a:pt x="2875391" y="605813"/>
                  <a:pt x="2879035" y="596702"/>
                  <a:pt x="2884502" y="596702"/>
                </a:cubicBezTo>
                <a:cubicBezTo>
                  <a:pt x="2886324" y="596702"/>
                  <a:pt x="2886324" y="598524"/>
                  <a:pt x="2886324" y="600347"/>
                </a:cubicBezTo>
                <a:cubicBezTo>
                  <a:pt x="2889968" y="600347"/>
                  <a:pt x="2891790" y="598524"/>
                  <a:pt x="2891790" y="594880"/>
                </a:cubicBezTo>
                <a:cubicBezTo>
                  <a:pt x="2884502" y="596702"/>
                  <a:pt x="2880857" y="589414"/>
                  <a:pt x="2875391" y="585769"/>
                </a:cubicBezTo>
                <a:close/>
                <a:moveTo>
                  <a:pt x="2121011" y="585769"/>
                </a:moveTo>
                <a:cubicBezTo>
                  <a:pt x="2115544" y="587591"/>
                  <a:pt x="2117366" y="593058"/>
                  <a:pt x="2115544" y="596702"/>
                </a:cubicBezTo>
                <a:cubicBezTo>
                  <a:pt x="2113722" y="598524"/>
                  <a:pt x="2111900" y="596702"/>
                  <a:pt x="2111900" y="594880"/>
                </a:cubicBezTo>
                <a:cubicBezTo>
                  <a:pt x="2111900" y="600347"/>
                  <a:pt x="2108256" y="607635"/>
                  <a:pt x="2115544" y="607635"/>
                </a:cubicBezTo>
                <a:cubicBezTo>
                  <a:pt x="2119189" y="607635"/>
                  <a:pt x="2119189" y="600347"/>
                  <a:pt x="2121011" y="596702"/>
                </a:cubicBezTo>
                <a:cubicBezTo>
                  <a:pt x="2122833" y="600347"/>
                  <a:pt x="2122833" y="603991"/>
                  <a:pt x="2128300" y="602169"/>
                </a:cubicBezTo>
                <a:cubicBezTo>
                  <a:pt x="2128300" y="593058"/>
                  <a:pt x="2121011" y="593058"/>
                  <a:pt x="2121011" y="585769"/>
                </a:cubicBezTo>
                <a:close/>
                <a:moveTo>
                  <a:pt x="909265" y="585769"/>
                </a:moveTo>
                <a:cubicBezTo>
                  <a:pt x="907444" y="587591"/>
                  <a:pt x="907444" y="589414"/>
                  <a:pt x="905621" y="591236"/>
                </a:cubicBezTo>
                <a:cubicBezTo>
                  <a:pt x="907444" y="591236"/>
                  <a:pt x="909265" y="589414"/>
                  <a:pt x="911087" y="587591"/>
                </a:cubicBezTo>
                <a:cubicBezTo>
                  <a:pt x="909265" y="585769"/>
                  <a:pt x="911087" y="585769"/>
                  <a:pt x="909265" y="585769"/>
                </a:cubicBezTo>
                <a:close/>
                <a:moveTo>
                  <a:pt x="696071" y="585769"/>
                </a:moveTo>
                <a:cubicBezTo>
                  <a:pt x="692426" y="587591"/>
                  <a:pt x="692426" y="591236"/>
                  <a:pt x="690604" y="593058"/>
                </a:cubicBezTo>
                <a:cubicBezTo>
                  <a:pt x="697893" y="603991"/>
                  <a:pt x="707004" y="602169"/>
                  <a:pt x="716115" y="605813"/>
                </a:cubicBezTo>
                <a:cubicBezTo>
                  <a:pt x="712470" y="602169"/>
                  <a:pt x="703359" y="603991"/>
                  <a:pt x="697893" y="598524"/>
                </a:cubicBezTo>
                <a:cubicBezTo>
                  <a:pt x="701537" y="598524"/>
                  <a:pt x="705182" y="600347"/>
                  <a:pt x="708826" y="600347"/>
                </a:cubicBezTo>
                <a:cubicBezTo>
                  <a:pt x="710648" y="596702"/>
                  <a:pt x="699715" y="591236"/>
                  <a:pt x="696071" y="585769"/>
                </a:cubicBezTo>
                <a:close/>
                <a:moveTo>
                  <a:pt x="654161" y="585769"/>
                </a:moveTo>
                <a:cubicBezTo>
                  <a:pt x="654161" y="587591"/>
                  <a:pt x="650516" y="591236"/>
                  <a:pt x="650516" y="593058"/>
                </a:cubicBezTo>
                <a:cubicBezTo>
                  <a:pt x="652339" y="594880"/>
                  <a:pt x="654161" y="594880"/>
                  <a:pt x="657805" y="593058"/>
                </a:cubicBezTo>
                <a:cubicBezTo>
                  <a:pt x="657805" y="589414"/>
                  <a:pt x="654161" y="589414"/>
                  <a:pt x="654161" y="585769"/>
                </a:cubicBezTo>
                <a:close/>
                <a:moveTo>
                  <a:pt x="588562" y="585769"/>
                </a:moveTo>
                <a:cubicBezTo>
                  <a:pt x="588562" y="583947"/>
                  <a:pt x="583096" y="587591"/>
                  <a:pt x="584919" y="589414"/>
                </a:cubicBezTo>
                <a:cubicBezTo>
                  <a:pt x="586741" y="587591"/>
                  <a:pt x="586741" y="585769"/>
                  <a:pt x="588562" y="585769"/>
                </a:cubicBezTo>
                <a:close/>
                <a:moveTo>
                  <a:pt x="255105" y="585769"/>
                </a:moveTo>
                <a:lnTo>
                  <a:pt x="270442" y="598746"/>
                </a:lnTo>
                <a:lnTo>
                  <a:pt x="272054" y="601598"/>
                </a:lnTo>
                <a:lnTo>
                  <a:pt x="271960" y="601486"/>
                </a:lnTo>
                <a:cubicBezTo>
                  <a:pt x="266038" y="596703"/>
                  <a:pt x="259660" y="592147"/>
                  <a:pt x="255105" y="585769"/>
                </a:cubicBezTo>
                <a:close/>
                <a:moveTo>
                  <a:pt x="3529551" y="583947"/>
                </a:moveTo>
                <a:cubicBezTo>
                  <a:pt x="3525907" y="585769"/>
                  <a:pt x="3527729" y="593058"/>
                  <a:pt x="3529551" y="594880"/>
                </a:cubicBezTo>
                <a:cubicBezTo>
                  <a:pt x="3533196" y="593058"/>
                  <a:pt x="3527729" y="587591"/>
                  <a:pt x="3529551" y="583947"/>
                </a:cubicBezTo>
                <a:close/>
                <a:moveTo>
                  <a:pt x="2866280" y="583947"/>
                </a:moveTo>
                <a:cubicBezTo>
                  <a:pt x="2860813" y="582125"/>
                  <a:pt x="2855347" y="583947"/>
                  <a:pt x="2857169" y="591236"/>
                </a:cubicBezTo>
                <a:cubicBezTo>
                  <a:pt x="2860813" y="591236"/>
                  <a:pt x="2857169" y="594880"/>
                  <a:pt x="2862636" y="594880"/>
                </a:cubicBezTo>
                <a:cubicBezTo>
                  <a:pt x="2860813" y="589414"/>
                  <a:pt x="2862636" y="585769"/>
                  <a:pt x="2866280" y="589414"/>
                </a:cubicBezTo>
                <a:cubicBezTo>
                  <a:pt x="2868102" y="591236"/>
                  <a:pt x="2866280" y="585769"/>
                  <a:pt x="2866280" y="583947"/>
                </a:cubicBezTo>
                <a:close/>
                <a:moveTo>
                  <a:pt x="1109704" y="583947"/>
                </a:moveTo>
                <a:cubicBezTo>
                  <a:pt x="1107882" y="582125"/>
                  <a:pt x="1104238" y="587591"/>
                  <a:pt x="1102416" y="587591"/>
                </a:cubicBezTo>
                <a:cubicBezTo>
                  <a:pt x="1100593" y="587591"/>
                  <a:pt x="1100593" y="589414"/>
                  <a:pt x="1102416" y="589414"/>
                </a:cubicBezTo>
                <a:cubicBezTo>
                  <a:pt x="1106060" y="589414"/>
                  <a:pt x="1107882" y="585769"/>
                  <a:pt x="1109704" y="583947"/>
                </a:cubicBezTo>
                <a:close/>
                <a:moveTo>
                  <a:pt x="798112" y="583947"/>
                </a:moveTo>
                <a:cubicBezTo>
                  <a:pt x="794468" y="587591"/>
                  <a:pt x="794468" y="594880"/>
                  <a:pt x="799935" y="593058"/>
                </a:cubicBezTo>
                <a:cubicBezTo>
                  <a:pt x="794468" y="591236"/>
                  <a:pt x="799935" y="587591"/>
                  <a:pt x="798112" y="583947"/>
                </a:cubicBezTo>
                <a:close/>
                <a:moveTo>
                  <a:pt x="770781" y="583947"/>
                </a:moveTo>
                <a:cubicBezTo>
                  <a:pt x="765313" y="589414"/>
                  <a:pt x="765313" y="589414"/>
                  <a:pt x="770781" y="591236"/>
                </a:cubicBezTo>
                <a:cubicBezTo>
                  <a:pt x="772602" y="589414"/>
                  <a:pt x="767136" y="585769"/>
                  <a:pt x="770781" y="583947"/>
                </a:cubicBezTo>
                <a:cubicBezTo>
                  <a:pt x="768959" y="589414"/>
                  <a:pt x="772602" y="594880"/>
                  <a:pt x="776246" y="594880"/>
                </a:cubicBezTo>
                <a:cubicBezTo>
                  <a:pt x="778070" y="591236"/>
                  <a:pt x="776246" y="587591"/>
                  <a:pt x="770781" y="583947"/>
                </a:cubicBezTo>
                <a:close/>
                <a:moveTo>
                  <a:pt x="701537" y="583947"/>
                </a:moveTo>
                <a:cubicBezTo>
                  <a:pt x="707004" y="596702"/>
                  <a:pt x="716115" y="598524"/>
                  <a:pt x="725226" y="600347"/>
                </a:cubicBezTo>
                <a:cubicBezTo>
                  <a:pt x="719759" y="594880"/>
                  <a:pt x="708826" y="587591"/>
                  <a:pt x="701537" y="583947"/>
                </a:cubicBezTo>
                <a:close/>
                <a:moveTo>
                  <a:pt x="546653" y="583947"/>
                </a:moveTo>
                <a:cubicBezTo>
                  <a:pt x="544830" y="583947"/>
                  <a:pt x="543008" y="587591"/>
                  <a:pt x="544830" y="589414"/>
                </a:cubicBezTo>
                <a:cubicBezTo>
                  <a:pt x="548475" y="589414"/>
                  <a:pt x="544830" y="585769"/>
                  <a:pt x="548475" y="585769"/>
                </a:cubicBezTo>
                <a:cubicBezTo>
                  <a:pt x="548475" y="583947"/>
                  <a:pt x="544830" y="585769"/>
                  <a:pt x="546653" y="583947"/>
                </a:cubicBezTo>
                <a:close/>
                <a:moveTo>
                  <a:pt x="501098" y="583947"/>
                </a:moveTo>
                <a:cubicBezTo>
                  <a:pt x="502920" y="587591"/>
                  <a:pt x="502920" y="589414"/>
                  <a:pt x="504743" y="593058"/>
                </a:cubicBezTo>
                <a:cubicBezTo>
                  <a:pt x="504743" y="591236"/>
                  <a:pt x="504743" y="587591"/>
                  <a:pt x="502920" y="583947"/>
                </a:cubicBezTo>
                <a:cubicBezTo>
                  <a:pt x="501098" y="583947"/>
                  <a:pt x="501098" y="583947"/>
                  <a:pt x="501098" y="583947"/>
                </a:cubicBezTo>
                <a:close/>
                <a:moveTo>
                  <a:pt x="439145" y="583947"/>
                </a:moveTo>
                <a:cubicBezTo>
                  <a:pt x="439145" y="585769"/>
                  <a:pt x="444611" y="587591"/>
                  <a:pt x="446433" y="589414"/>
                </a:cubicBezTo>
                <a:cubicBezTo>
                  <a:pt x="450077" y="587591"/>
                  <a:pt x="442789" y="583947"/>
                  <a:pt x="439145" y="583947"/>
                </a:cubicBezTo>
                <a:close/>
                <a:moveTo>
                  <a:pt x="153063" y="583947"/>
                </a:moveTo>
                <a:lnTo>
                  <a:pt x="160303" y="592911"/>
                </a:lnTo>
                <a:lnTo>
                  <a:pt x="160352" y="593058"/>
                </a:lnTo>
                <a:cubicBezTo>
                  <a:pt x="158529" y="589414"/>
                  <a:pt x="154885" y="587591"/>
                  <a:pt x="153063" y="583947"/>
                </a:cubicBezTo>
                <a:close/>
                <a:moveTo>
                  <a:pt x="664110" y="583266"/>
                </a:moveTo>
                <a:lnTo>
                  <a:pt x="664687" y="583513"/>
                </a:lnTo>
                <a:lnTo>
                  <a:pt x="664951" y="588521"/>
                </a:lnTo>
                <a:close/>
                <a:moveTo>
                  <a:pt x="3044853" y="582125"/>
                </a:moveTo>
                <a:cubicBezTo>
                  <a:pt x="3044853" y="585769"/>
                  <a:pt x="3039387" y="585769"/>
                  <a:pt x="3039387" y="591236"/>
                </a:cubicBezTo>
                <a:cubicBezTo>
                  <a:pt x="3046675" y="594880"/>
                  <a:pt x="3053964" y="593058"/>
                  <a:pt x="3052142" y="585769"/>
                </a:cubicBezTo>
                <a:cubicBezTo>
                  <a:pt x="3052142" y="583947"/>
                  <a:pt x="3048497" y="583947"/>
                  <a:pt x="3044853" y="582125"/>
                </a:cubicBezTo>
                <a:close/>
                <a:moveTo>
                  <a:pt x="2414381" y="582125"/>
                </a:moveTo>
                <a:cubicBezTo>
                  <a:pt x="2408914" y="578481"/>
                  <a:pt x="2410737" y="591236"/>
                  <a:pt x="2412559" y="593058"/>
                </a:cubicBezTo>
                <a:cubicBezTo>
                  <a:pt x="2416203" y="593058"/>
                  <a:pt x="2412559" y="583947"/>
                  <a:pt x="2414381" y="582125"/>
                </a:cubicBezTo>
                <a:close/>
                <a:moveTo>
                  <a:pt x="1118815" y="582125"/>
                </a:moveTo>
                <a:cubicBezTo>
                  <a:pt x="1116993" y="583947"/>
                  <a:pt x="1115171" y="585769"/>
                  <a:pt x="1113349" y="587591"/>
                </a:cubicBezTo>
                <a:cubicBezTo>
                  <a:pt x="1118815" y="589414"/>
                  <a:pt x="1115171" y="593058"/>
                  <a:pt x="1118815" y="594880"/>
                </a:cubicBezTo>
                <a:cubicBezTo>
                  <a:pt x="1118815" y="593058"/>
                  <a:pt x="1120637" y="589414"/>
                  <a:pt x="1120637" y="591236"/>
                </a:cubicBezTo>
                <a:cubicBezTo>
                  <a:pt x="1122459" y="591236"/>
                  <a:pt x="1118815" y="585769"/>
                  <a:pt x="1118815" y="582125"/>
                </a:cubicBezTo>
                <a:close/>
                <a:moveTo>
                  <a:pt x="1096949" y="582125"/>
                </a:moveTo>
                <a:lnTo>
                  <a:pt x="1095935" y="584080"/>
                </a:lnTo>
                <a:lnTo>
                  <a:pt x="1095542" y="583424"/>
                </a:lnTo>
                <a:close/>
                <a:moveTo>
                  <a:pt x="942064" y="582125"/>
                </a:moveTo>
                <a:cubicBezTo>
                  <a:pt x="932953" y="589414"/>
                  <a:pt x="922020" y="598524"/>
                  <a:pt x="920198" y="607635"/>
                </a:cubicBezTo>
                <a:cubicBezTo>
                  <a:pt x="925666" y="600347"/>
                  <a:pt x="938420" y="591236"/>
                  <a:pt x="942064" y="582125"/>
                </a:cubicBezTo>
                <a:close/>
                <a:moveTo>
                  <a:pt x="920198" y="582125"/>
                </a:moveTo>
                <a:cubicBezTo>
                  <a:pt x="912909" y="585769"/>
                  <a:pt x="914732" y="591236"/>
                  <a:pt x="911087" y="596702"/>
                </a:cubicBezTo>
                <a:cubicBezTo>
                  <a:pt x="914732" y="596702"/>
                  <a:pt x="916555" y="593058"/>
                  <a:pt x="920198" y="591236"/>
                </a:cubicBezTo>
                <a:cubicBezTo>
                  <a:pt x="918376" y="587591"/>
                  <a:pt x="918376" y="585769"/>
                  <a:pt x="920198" y="582125"/>
                </a:cubicBezTo>
                <a:close/>
                <a:moveTo>
                  <a:pt x="710648" y="582125"/>
                </a:moveTo>
                <a:cubicBezTo>
                  <a:pt x="707004" y="593058"/>
                  <a:pt x="721581" y="591236"/>
                  <a:pt x="723404" y="596702"/>
                </a:cubicBezTo>
                <a:cubicBezTo>
                  <a:pt x="725226" y="591236"/>
                  <a:pt x="716115" y="585769"/>
                  <a:pt x="710648" y="582125"/>
                </a:cubicBezTo>
                <a:close/>
                <a:moveTo>
                  <a:pt x="690604" y="582125"/>
                </a:moveTo>
                <a:cubicBezTo>
                  <a:pt x="688782" y="583947"/>
                  <a:pt x="685138" y="587591"/>
                  <a:pt x="688782" y="591236"/>
                </a:cubicBezTo>
                <a:cubicBezTo>
                  <a:pt x="692426" y="589414"/>
                  <a:pt x="690604" y="585769"/>
                  <a:pt x="694249" y="583947"/>
                </a:cubicBezTo>
                <a:cubicBezTo>
                  <a:pt x="692426" y="582125"/>
                  <a:pt x="690604" y="583947"/>
                  <a:pt x="690604" y="582125"/>
                </a:cubicBezTo>
                <a:close/>
                <a:moveTo>
                  <a:pt x="599496" y="582125"/>
                </a:moveTo>
                <a:cubicBezTo>
                  <a:pt x="597673" y="587591"/>
                  <a:pt x="595852" y="594880"/>
                  <a:pt x="597673" y="600347"/>
                </a:cubicBezTo>
                <a:cubicBezTo>
                  <a:pt x="601318" y="596702"/>
                  <a:pt x="597673" y="593058"/>
                  <a:pt x="599496" y="589414"/>
                </a:cubicBezTo>
                <a:cubicBezTo>
                  <a:pt x="603140" y="589414"/>
                  <a:pt x="601318" y="593058"/>
                  <a:pt x="601318" y="594880"/>
                </a:cubicBezTo>
                <a:cubicBezTo>
                  <a:pt x="604963" y="593058"/>
                  <a:pt x="603140" y="587591"/>
                  <a:pt x="599496" y="582125"/>
                </a:cubicBezTo>
                <a:close/>
                <a:moveTo>
                  <a:pt x="320703" y="582125"/>
                </a:moveTo>
                <a:cubicBezTo>
                  <a:pt x="315236" y="587591"/>
                  <a:pt x="326169" y="594880"/>
                  <a:pt x="329814" y="598524"/>
                </a:cubicBezTo>
                <a:cubicBezTo>
                  <a:pt x="331636" y="593058"/>
                  <a:pt x="322525" y="589414"/>
                  <a:pt x="320703" y="582125"/>
                </a:cubicBezTo>
                <a:close/>
                <a:moveTo>
                  <a:pt x="156707" y="582125"/>
                </a:moveTo>
                <a:cubicBezTo>
                  <a:pt x="159440" y="586681"/>
                  <a:pt x="162174" y="592147"/>
                  <a:pt x="165590" y="597386"/>
                </a:cubicBezTo>
                <a:lnTo>
                  <a:pt x="174254" y="606659"/>
                </a:lnTo>
                <a:lnTo>
                  <a:pt x="174473" y="607864"/>
                </a:lnTo>
                <a:lnTo>
                  <a:pt x="177264" y="613911"/>
                </a:lnTo>
                <a:lnTo>
                  <a:pt x="160303" y="592911"/>
                </a:lnTo>
                <a:close/>
                <a:moveTo>
                  <a:pt x="1208170" y="582057"/>
                </a:moveTo>
                <a:lnTo>
                  <a:pt x="1216757" y="590325"/>
                </a:lnTo>
                <a:lnTo>
                  <a:pt x="1218533" y="592525"/>
                </a:lnTo>
                <a:lnTo>
                  <a:pt x="1216529" y="591919"/>
                </a:lnTo>
                <a:cubicBezTo>
                  <a:pt x="1213568" y="588958"/>
                  <a:pt x="1210835" y="584859"/>
                  <a:pt x="1208102" y="582125"/>
                </a:cubicBezTo>
                <a:close/>
                <a:moveTo>
                  <a:pt x="663744" y="580978"/>
                </a:moveTo>
                <a:lnTo>
                  <a:pt x="664110" y="583266"/>
                </a:lnTo>
                <a:lnTo>
                  <a:pt x="661449" y="582125"/>
                </a:lnTo>
                <a:close/>
                <a:moveTo>
                  <a:pt x="394409" y="580524"/>
                </a:moveTo>
                <a:lnTo>
                  <a:pt x="394956" y="581670"/>
                </a:lnTo>
                <a:cubicBezTo>
                  <a:pt x="394956" y="584859"/>
                  <a:pt x="393590" y="587592"/>
                  <a:pt x="391768" y="589414"/>
                </a:cubicBezTo>
                <a:lnTo>
                  <a:pt x="391185" y="587082"/>
                </a:lnTo>
                <a:close/>
                <a:moveTo>
                  <a:pt x="3498574" y="580303"/>
                </a:moveTo>
                <a:cubicBezTo>
                  <a:pt x="3498574" y="582125"/>
                  <a:pt x="3498574" y="583947"/>
                  <a:pt x="3498574" y="587591"/>
                </a:cubicBezTo>
                <a:cubicBezTo>
                  <a:pt x="3504041" y="587591"/>
                  <a:pt x="3504041" y="589414"/>
                  <a:pt x="3505863" y="593058"/>
                </a:cubicBezTo>
                <a:cubicBezTo>
                  <a:pt x="3509507" y="593058"/>
                  <a:pt x="3507685" y="587591"/>
                  <a:pt x="3511330" y="589414"/>
                </a:cubicBezTo>
                <a:cubicBezTo>
                  <a:pt x="3509507" y="585769"/>
                  <a:pt x="3509507" y="587591"/>
                  <a:pt x="3505863" y="587591"/>
                </a:cubicBezTo>
                <a:cubicBezTo>
                  <a:pt x="3505863" y="583947"/>
                  <a:pt x="3509507" y="585769"/>
                  <a:pt x="3507685" y="582125"/>
                </a:cubicBezTo>
                <a:cubicBezTo>
                  <a:pt x="3505863" y="580303"/>
                  <a:pt x="3502219" y="580303"/>
                  <a:pt x="3498574" y="580303"/>
                </a:cubicBezTo>
                <a:close/>
                <a:moveTo>
                  <a:pt x="2359716" y="580303"/>
                </a:moveTo>
                <a:cubicBezTo>
                  <a:pt x="2356071" y="585769"/>
                  <a:pt x="2357893" y="582125"/>
                  <a:pt x="2354249" y="582125"/>
                </a:cubicBezTo>
                <a:cubicBezTo>
                  <a:pt x="2354249" y="585769"/>
                  <a:pt x="2354249" y="593058"/>
                  <a:pt x="2356071" y="594880"/>
                </a:cubicBezTo>
                <a:cubicBezTo>
                  <a:pt x="2357893" y="593058"/>
                  <a:pt x="2357893" y="593058"/>
                  <a:pt x="2359716" y="593058"/>
                </a:cubicBezTo>
                <a:cubicBezTo>
                  <a:pt x="2361538" y="591236"/>
                  <a:pt x="2361538" y="582125"/>
                  <a:pt x="2359716" y="580303"/>
                </a:cubicBezTo>
                <a:close/>
                <a:moveTo>
                  <a:pt x="1158903" y="580303"/>
                </a:moveTo>
                <a:cubicBezTo>
                  <a:pt x="1155259" y="582125"/>
                  <a:pt x="1158903" y="587591"/>
                  <a:pt x="1157081" y="585769"/>
                </a:cubicBezTo>
                <a:cubicBezTo>
                  <a:pt x="1160725" y="585769"/>
                  <a:pt x="1160725" y="582125"/>
                  <a:pt x="1158903" y="580303"/>
                </a:cubicBezTo>
                <a:close/>
                <a:moveTo>
                  <a:pt x="592207" y="580303"/>
                </a:moveTo>
                <a:lnTo>
                  <a:pt x="592374" y="580805"/>
                </a:lnTo>
                <a:lnTo>
                  <a:pt x="591959" y="581462"/>
                </a:lnTo>
                <a:close/>
                <a:moveTo>
                  <a:pt x="506565" y="580303"/>
                </a:moveTo>
                <a:cubicBezTo>
                  <a:pt x="502920" y="583947"/>
                  <a:pt x="508387" y="596702"/>
                  <a:pt x="515676" y="603991"/>
                </a:cubicBezTo>
                <a:cubicBezTo>
                  <a:pt x="519320" y="598524"/>
                  <a:pt x="517498" y="593058"/>
                  <a:pt x="517498" y="587591"/>
                </a:cubicBezTo>
                <a:cubicBezTo>
                  <a:pt x="513853" y="585769"/>
                  <a:pt x="508387" y="583947"/>
                  <a:pt x="506565" y="580303"/>
                </a:cubicBezTo>
                <a:close/>
                <a:moveTo>
                  <a:pt x="3545951" y="578481"/>
                </a:moveTo>
                <a:cubicBezTo>
                  <a:pt x="3546862" y="580303"/>
                  <a:pt x="3546862" y="581214"/>
                  <a:pt x="3546634" y="582581"/>
                </a:cubicBezTo>
                <a:lnTo>
                  <a:pt x="3546047" y="588455"/>
                </a:lnTo>
                <a:lnTo>
                  <a:pt x="3545496" y="588731"/>
                </a:lnTo>
                <a:lnTo>
                  <a:pt x="3543750" y="586113"/>
                </a:lnTo>
                <a:lnTo>
                  <a:pt x="3543238" y="581647"/>
                </a:lnTo>
                <a:close/>
                <a:moveTo>
                  <a:pt x="2966500" y="578481"/>
                </a:moveTo>
                <a:cubicBezTo>
                  <a:pt x="2962855" y="578481"/>
                  <a:pt x="2959211" y="578481"/>
                  <a:pt x="2959211" y="583947"/>
                </a:cubicBezTo>
                <a:cubicBezTo>
                  <a:pt x="2961033" y="583947"/>
                  <a:pt x="2962855" y="585769"/>
                  <a:pt x="2966500" y="585769"/>
                </a:cubicBezTo>
                <a:cubicBezTo>
                  <a:pt x="2966500" y="582125"/>
                  <a:pt x="2970144" y="582125"/>
                  <a:pt x="2966500" y="578481"/>
                </a:cubicBezTo>
                <a:close/>
                <a:moveTo>
                  <a:pt x="2487268" y="578481"/>
                </a:moveTo>
                <a:cubicBezTo>
                  <a:pt x="2485446" y="578481"/>
                  <a:pt x="2485446" y="580303"/>
                  <a:pt x="2485446" y="583947"/>
                </a:cubicBezTo>
                <a:cubicBezTo>
                  <a:pt x="2487268" y="583947"/>
                  <a:pt x="2489090" y="583947"/>
                  <a:pt x="2490912" y="583947"/>
                </a:cubicBezTo>
                <a:cubicBezTo>
                  <a:pt x="2492734" y="578481"/>
                  <a:pt x="2485446" y="583947"/>
                  <a:pt x="2487268" y="578481"/>
                </a:cubicBezTo>
                <a:close/>
                <a:moveTo>
                  <a:pt x="2450824" y="578481"/>
                </a:moveTo>
                <a:cubicBezTo>
                  <a:pt x="2447180" y="591236"/>
                  <a:pt x="2427136" y="596702"/>
                  <a:pt x="2434425" y="611280"/>
                </a:cubicBezTo>
                <a:cubicBezTo>
                  <a:pt x="2432603" y="611280"/>
                  <a:pt x="2430780" y="611280"/>
                  <a:pt x="2428958" y="614924"/>
                </a:cubicBezTo>
                <a:cubicBezTo>
                  <a:pt x="2432603" y="614924"/>
                  <a:pt x="2432603" y="618568"/>
                  <a:pt x="2434425" y="622213"/>
                </a:cubicBezTo>
                <a:cubicBezTo>
                  <a:pt x="2438069" y="616746"/>
                  <a:pt x="2439891" y="611280"/>
                  <a:pt x="2438069" y="603991"/>
                </a:cubicBezTo>
                <a:cubicBezTo>
                  <a:pt x="2441713" y="607635"/>
                  <a:pt x="2438069" y="614924"/>
                  <a:pt x="2441713" y="614924"/>
                </a:cubicBezTo>
                <a:cubicBezTo>
                  <a:pt x="2441713" y="618568"/>
                  <a:pt x="2439891" y="616746"/>
                  <a:pt x="2438069" y="616746"/>
                </a:cubicBezTo>
                <a:cubicBezTo>
                  <a:pt x="2439891" y="623124"/>
                  <a:pt x="2443080" y="622213"/>
                  <a:pt x="2446724" y="619480"/>
                </a:cubicBezTo>
                <a:lnTo>
                  <a:pt x="2450841" y="616516"/>
                </a:lnTo>
                <a:lnTo>
                  <a:pt x="2445358" y="624035"/>
                </a:lnTo>
                <a:lnTo>
                  <a:pt x="2461757" y="629501"/>
                </a:lnTo>
                <a:cubicBezTo>
                  <a:pt x="2463580" y="622213"/>
                  <a:pt x="2461757" y="614924"/>
                  <a:pt x="2469046" y="614924"/>
                </a:cubicBezTo>
                <a:cubicBezTo>
                  <a:pt x="2470868" y="614924"/>
                  <a:pt x="2472690" y="620391"/>
                  <a:pt x="2472690" y="622213"/>
                </a:cubicBezTo>
                <a:cubicBezTo>
                  <a:pt x="2465402" y="622213"/>
                  <a:pt x="2469046" y="627679"/>
                  <a:pt x="2467224" y="631324"/>
                </a:cubicBezTo>
                <a:cubicBezTo>
                  <a:pt x="2469046" y="631324"/>
                  <a:pt x="2469046" y="631324"/>
                  <a:pt x="2470868" y="631324"/>
                </a:cubicBezTo>
                <a:lnTo>
                  <a:pt x="2481801" y="627679"/>
                </a:lnTo>
                <a:lnTo>
                  <a:pt x="2483624" y="633146"/>
                </a:lnTo>
                <a:cubicBezTo>
                  <a:pt x="2483624" y="633146"/>
                  <a:pt x="2483624" y="631324"/>
                  <a:pt x="2483624" y="631324"/>
                </a:cubicBezTo>
                <a:cubicBezTo>
                  <a:pt x="2492734" y="629501"/>
                  <a:pt x="2492734" y="618568"/>
                  <a:pt x="2489090" y="611280"/>
                </a:cubicBezTo>
                <a:cubicBezTo>
                  <a:pt x="2490912" y="611280"/>
                  <a:pt x="2494556" y="613103"/>
                  <a:pt x="2496379" y="611280"/>
                </a:cubicBezTo>
                <a:cubicBezTo>
                  <a:pt x="2498201" y="609459"/>
                  <a:pt x="2492734" y="605813"/>
                  <a:pt x="2494556" y="602169"/>
                </a:cubicBezTo>
                <a:cubicBezTo>
                  <a:pt x="2490912" y="602169"/>
                  <a:pt x="2489090" y="609459"/>
                  <a:pt x="2483624" y="605813"/>
                </a:cubicBezTo>
                <a:cubicBezTo>
                  <a:pt x="2483624" y="614924"/>
                  <a:pt x="2483624" y="618568"/>
                  <a:pt x="2483624" y="624035"/>
                </a:cubicBezTo>
                <a:cubicBezTo>
                  <a:pt x="2483624" y="620391"/>
                  <a:pt x="2483624" y="614924"/>
                  <a:pt x="2481801" y="611280"/>
                </a:cubicBezTo>
                <a:lnTo>
                  <a:pt x="2480161" y="615836"/>
                </a:lnTo>
                <a:lnTo>
                  <a:pt x="2479979" y="609459"/>
                </a:lnTo>
                <a:cubicBezTo>
                  <a:pt x="2476335" y="614924"/>
                  <a:pt x="2472690" y="607635"/>
                  <a:pt x="2469046" y="607635"/>
                </a:cubicBezTo>
                <a:cubicBezTo>
                  <a:pt x="2469046" y="609459"/>
                  <a:pt x="2467224" y="613103"/>
                  <a:pt x="2467224" y="614924"/>
                </a:cubicBezTo>
                <a:cubicBezTo>
                  <a:pt x="2459935" y="613103"/>
                  <a:pt x="2467224" y="605813"/>
                  <a:pt x="2465402" y="607635"/>
                </a:cubicBezTo>
                <a:lnTo>
                  <a:pt x="2458175" y="610908"/>
                </a:lnTo>
                <a:lnTo>
                  <a:pt x="2461757" y="589414"/>
                </a:lnTo>
                <a:cubicBezTo>
                  <a:pt x="2458113" y="593058"/>
                  <a:pt x="2456291" y="593058"/>
                  <a:pt x="2452647" y="593058"/>
                </a:cubicBezTo>
                <a:cubicBezTo>
                  <a:pt x="2450824" y="589414"/>
                  <a:pt x="2452647" y="589414"/>
                  <a:pt x="2452647" y="585769"/>
                </a:cubicBezTo>
                <a:cubicBezTo>
                  <a:pt x="2450824" y="585769"/>
                  <a:pt x="2450824" y="587591"/>
                  <a:pt x="2450824" y="589414"/>
                </a:cubicBezTo>
                <a:cubicBezTo>
                  <a:pt x="2447180" y="589414"/>
                  <a:pt x="2452647" y="583947"/>
                  <a:pt x="2450824" y="578481"/>
                </a:cubicBezTo>
                <a:close/>
                <a:moveTo>
                  <a:pt x="2077279" y="578481"/>
                </a:moveTo>
                <a:cubicBezTo>
                  <a:pt x="2075457" y="578481"/>
                  <a:pt x="2079101" y="583947"/>
                  <a:pt x="2079101" y="585769"/>
                </a:cubicBezTo>
                <a:cubicBezTo>
                  <a:pt x="2079101" y="585769"/>
                  <a:pt x="2079101" y="582125"/>
                  <a:pt x="2082745" y="583947"/>
                </a:cubicBezTo>
                <a:cubicBezTo>
                  <a:pt x="2082745" y="578481"/>
                  <a:pt x="2077279" y="582125"/>
                  <a:pt x="2077279" y="578481"/>
                </a:cubicBezTo>
                <a:close/>
                <a:moveTo>
                  <a:pt x="852778" y="578481"/>
                </a:moveTo>
                <a:lnTo>
                  <a:pt x="853142" y="578845"/>
                </a:lnTo>
                <a:lnTo>
                  <a:pt x="851749" y="580935"/>
                </a:lnTo>
                <a:close/>
                <a:moveTo>
                  <a:pt x="588562" y="578481"/>
                </a:moveTo>
                <a:cubicBezTo>
                  <a:pt x="586741" y="578481"/>
                  <a:pt x="583096" y="582125"/>
                  <a:pt x="583096" y="582125"/>
                </a:cubicBezTo>
                <a:cubicBezTo>
                  <a:pt x="584919" y="583947"/>
                  <a:pt x="586741" y="578481"/>
                  <a:pt x="588562" y="580303"/>
                </a:cubicBezTo>
                <a:cubicBezTo>
                  <a:pt x="588562" y="580303"/>
                  <a:pt x="586741" y="578481"/>
                  <a:pt x="588562" y="578481"/>
                </a:cubicBezTo>
                <a:close/>
                <a:moveTo>
                  <a:pt x="395412" y="578481"/>
                </a:moveTo>
                <a:lnTo>
                  <a:pt x="394409" y="580524"/>
                </a:lnTo>
                <a:lnTo>
                  <a:pt x="393643" y="578924"/>
                </a:lnTo>
                <a:close/>
                <a:moveTo>
                  <a:pt x="2072040" y="577342"/>
                </a:moveTo>
                <a:cubicBezTo>
                  <a:pt x="2070446" y="577114"/>
                  <a:pt x="2069079" y="578481"/>
                  <a:pt x="2069990" y="582125"/>
                </a:cubicBezTo>
                <a:cubicBezTo>
                  <a:pt x="2071812" y="582125"/>
                  <a:pt x="2073634" y="582125"/>
                  <a:pt x="2075457" y="582125"/>
                </a:cubicBezTo>
                <a:cubicBezTo>
                  <a:pt x="2075457" y="579392"/>
                  <a:pt x="2073634" y="577570"/>
                  <a:pt x="2072040" y="577342"/>
                </a:cubicBezTo>
                <a:close/>
                <a:moveTo>
                  <a:pt x="2538289" y="576658"/>
                </a:moveTo>
                <a:cubicBezTo>
                  <a:pt x="2540111" y="578481"/>
                  <a:pt x="2540111" y="582125"/>
                  <a:pt x="2540111" y="582125"/>
                </a:cubicBezTo>
                <a:cubicBezTo>
                  <a:pt x="2543755" y="582125"/>
                  <a:pt x="2543755" y="578481"/>
                  <a:pt x="2545577" y="576658"/>
                </a:cubicBezTo>
                <a:cubicBezTo>
                  <a:pt x="2543755" y="578481"/>
                  <a:pt x="2540111" y="578481"/>
                  <a:pt x="2538289" y="576658"/>
                </a:cubicBezTo>
                <a:close/>
                <a:moveTo>
                  <a:pt x="2421669" y="576658"/>
                </a:moveTo>
                <a:cubicBezTo>
                  <a:pt x="2419847" y="576658"/>
                  <a:pt x="2421669" y="580303"/>
                  <a:pt x="2419847" y="580303"/>
                </a:cubicBezTo>
                <a:cubicBezTo>
                  <a:pt x="2418025" y="580303"/>
                  <a:pt x="2418025" y="580303"/>
                  <a:pt x="2418025" y="578481"/>
                </a:cubicBezTo>
                <a:cubicBezTo>
                  <a:pt x="2416203" y="580303"/>
                  <a:pt x="2421669" y="578481"/>
                  <a:pt x="2419847" y="583947"/>
                </a:cubicBezTo>
                <a:cubicBezTo>
                  <a:pt x="2423492" y="583947"/>
                  <a:pt x="2423492" y="576658"/>
                  <a:pt x="2421669" y="576658"/>
                </a:cubicBezTo>
                <a:close/>
                <a:moveTo>
                  <a:pt x="2343316" y="576658"/>
                </a:moveTo>
                <a:cubicBezTo>
                  <a:pt x="2343316" y="576658"/>
                  <a:pt x="2343316" y="576658"/>
                  <a:pt x="2343316" y="578481"/>
                </a:cubicBezTo>
                <a:lnTo>
                  <a:pt x="2343468" y="578679"/>
                </a:lnTo>
                <a:lnTo>
                  <a:pt x="2344000" y="585770"/>
                </a:lnTo>
                <a:cubicBezTo>
                  <a:pt x="2345594" y="589414"/>
                  <a:pt x="2347871" y="593059"/>
                  <a:pt x="2348782" y="594880"/>
                </a:cubicBezTo>
                <a:cubicBezTo>
                  <a:pt x="2352427" y="591236"/>
                  <a:pt x="2354249" y="589414"/>
                  <a:pt x="2352427" y="583947"/>
                </a:cubicBezTo>
                <a:cubicBezTo>
                  <a:pt x="2350605" y="590325"/>
                  <a:pt x="2349694" y="588503"/>
                  <a:pt x="2348555" y="585314"/>
                </a:cubicBezTo>
                <a:lnTo>
                  <a:pt x="2343468" y="578679"/>
                </a:lnTo>
                <a:close/>
                <a:moveTo>
                  <a:pt x="2321450" y="576658"/>
                </a:moveTo>
                <a:cubicBezTo>
                  <a:pt x="2319628" y="582125"/>
                  <a:pt x="2323272" y="585769"/>
                  <a:pt x="2325094" y="589414"/>
                </a:cubicBezTo>
                <a:cubicBezTo>
                  <a:pt x="2326916" y="587591"/>
                  <a:pt x="2321450" y="583947"/>
                  <a:pt x="2328739" y="582125"/>
                </a:cubicBezTo>
                <a:cubicBezTo>
                  <a:pt x="2328739" y="574836"/>
                  <a:pt x="2321450" y="582125"/>
                  <a:pt x="2321450" y="576658"/>
                </a:cubicBezTo>
                <a:close/>
                <a:moveTo>
                  <a:pt x="1375743" y="576658"/>
                </a:moveTo>
                <a:cubicBezTo>
                  <a:pt x="1375743" y="576658"/>
                  <a:pt x="1376653" y="577570"/>
                  <a:pt x="1377337" y="578709"/>
                </a:cubicBezTo>
                <a:lnTo>
                  <a:pt x="1377341" y="578776"/>
                </a:lnTo>
                <a:close/>
                <a:moveTo>
                  <a:pt x="1149792" y="576658"/>
                </a:moveTo>
                <a:cubicBezTo>
                  <a:pt x="1147970" y="578481"/>
                  <a:pt x="1151614" y="582125"/>
                  <a:pt x="1153436" y="582125"/>
                </a:cubicBezTo>
                <a:cubicBezTo>
                  <a:pt x="1157081" y="580303"/>
                  <a:pt x="1151614" y="580303"/>
                  <a:pt x="1149792" y="576658"/>
                </a:cubicBezTo>
                <a:close/>
                <a:moveTo>
                  <a:pt x="648694" y="576658"/>
                </a:moveTo>
                <a:cubicBezTo>
                  <a:pt x="641407" y="583947"/>
                  <a:pt x="637761" y="593058"/>
                  <a:pt x="645050" y="598524"/>
                </a:cubicBezTo>
                <a:cubicBezTo>
                  <a:pt x="647783" y="600347"/>
                  <a:pt x="647783" y="597614"/>
                  <a:pt x="648011" y="594425"/>
                </a:cubicBezTo>
                <a:lnTo>
                  <a:pt x="650833" y="589969"/>
                </a:lnTo>
                <a:lnTo>
                  <a:pt x="650516" y="591236"/>
                </a:lnTo>
                <a:cubicBezTo>
                  <a:pt x="650516" y="589414"/>
                  <a:pt x="650516" y="587591"/>
                  <a:pt x="652339" y="587591"/>
                </a:cubicBezTo>
                <a:lnTo>
                  <a:pt x="650833" y="589969"/>
                </a:lnTo>
                <a:lnTo>
                  <a:pt x="652339" y="583947"/>
                </a:lnTo>
                <a:cubicBezTo>
                  <a:pt x="651883" y="581214"/>
                  <a:pt x="650516" y="578481"/>
                  <a:pt x="648694" y="576658"/>
                </a:cubicBezTo>
                <a:close/>
                <a:moveTo>
                  <a:pt x="573985" y="576658"/>
                </a:moveTo>
                <a:cubicBezTo>
                  <a:pt x="572163" y="580303"/>
                  <a:pt x="575808" y="580303"/>
                  <a:pt x="573985" y="583947"/>
                </a:cubicBezTo>
                <a:cubicBezTo>
                  <a:pt x="573985" y="585769"/>
                  <a:pt x="577630" y="580303"/>
                  <a:pt x="573985" y="576658"/>
                </a:cubicBezTo>
                <a:close/>
                <a:moveTo>
                  <a:pt x="552119" y="576658"/>
                </a:moveTo>
                <a:cubicBezTo>
                  <a:pt x="548475" y="583947"/>
                  <a:pt x="559408" y="583947"/>
                  <a:pt x="561230" y="593058"/>
                </a:cubicBezTo>
                <a:cubicBezTo>
                  <a:pt x="561230" y="591236"/>
                  <a:pt x="557586" y="589414"/>
                  <a:pt x="561230" y="585769"/>
                </a:cubicBezTo>
                <a:cubicBezTo>
                  <a:pt x="557586" y="582125"/>
                  <a:pt x="555763" y="578481"/>
                  <a:pt x="552119" y="576658"/>
                </a:cubicBezTo>
                <a:close/>
                <a:moveTo>
                  <a:pt x="278793" y="576658"/>
                </a:moveTo>
                <a:cubicBezTo>
                  <a:pt x="276971" y="591236"/>
                  <a:pt x="287904" y="611280"/>
                  <a:pt x="302481" y="618568"/>
                </a:cubicBezTo>
                <a:cubicBezTo>
                  <a:pt x="302481" y="603991"/>
                  <a:pt x="289726" y="587591"/>
                  <a:pt x="278793" y="576658"/>
                </a:cubicBezTo>
                <a:close/>
                <a:moveTo>
                  <a:pt x="3010232" y="574836"/>
                </a:moveTo>
                <a:cubicBezTo>
                  <a:pt x="3012054" y="576658"/>
                  <a:pt x="3012054" y="578481"/>
                  <a:pt x="3010232" y="582125"/>
                </a:cubicBezTo>
                <a:cubicBezTo>
                  <a:pt x="2997477" y="574836"/>
                  <a:pt x="2979255" y="578481"/>
                  <a:pt x="2971966" y="589414"/>
                </a:cubicBezTo>
                <a:cubicBezTo>
                  <a:pt x="2977432" y="593058"/>
                  <a:pt x="2984721" y="598524"/>
                  <a:pt x="2992010" y="593058"/>
                </a:cubicBezTo>
                <a:cubicBezTo>
                  <a:pt x="2993832" y="591236"/>
                  <a:pt x="2993832" y="589414"/>
                  <a:pt x="2993832" y="587591"/>
                </a:cubicBezTo>
                <a:cubicBezTo>
                  <a:pt x="3001121" y="587591"/>
                  <a:pt x="2995654" y="596702"/>
                  <a:pt x="2992010" y="598524"/>
                </a:cubicBezTo>
                <a:lnTo>
                  <a:pt x="2997072" y="603876"/>
                </a:lnTo>
                <a:lnTo>
                  <a:pt x="2991099" y="602169"/>
                </a:lnTo>
                <a:cubicBezTo>
                  <a:pt x="2988822" y="602170"/>
                  <a:pt x="2986544" y="602170"/>
                  <a:pt x="2984721" y="600347"/>
                </a:cubicBezTo>
                <a:cubicBezTo>
                  <a:pt x="2983810" y="603991"/>
                  <a:pt x="2984722" y="607636"/>
                  <a:pt x="2986999" y="610141"/>
                </a:cubicBezTo>
                <a:lnTo>
                  <a:pt x="2996195" y="612740"/>
                </a:lnTo>
                <a:lnTo>
                  <a:pt x="2994971" y="613103"/>
                </a:lnTo>
                <a:cubicBezTo>
                  <a:pt x="2993832" y="614469"/>
                  <a:pt x="2993832" y="616747"/>
                  <a:pt x="2995654" y="620391"/>
                </a:cubicBezTo>
                <a:cubicBezTo>
                  <a:pt x="2990188" y="614924"/>
                  <a:pt x="2984721" y="614924"/>
                  <a:pt x="2977432" y="618568"/>
                </a:cubicBezTo>
                <a:cubicBezTo>
                  <a:pt x="2982899" y="627679"/>
                  <a:pt x="2995654" y="620391"/>
                  <a:pt x="3002943" y="624035"/>
                </a:cubicBezTo>
                <a:cubicBezTo>
                  <a:pt x="3002943" y="618568"/>
                  <a:pt x="2999299" y="616746"/>
                  <a:pt x="3001121" y="611280"/>
                </a:cubicBezTo>
                <a:lnTo>
                  <a:pt x="2997477" y="612360"/>
                </a:lnTo>
                <a:lnTo>
                  <a:pt x="2997477" y="604304"/>
                </a:lnTo>
                <a:lnTo>
                  <a:pt x="2999982" y="606952"/>
                </a:lnTo>
                <a:cubicBezTo>
                  <a:pt x="3003855" y="609002"/>
                  <a:pt x="3007499" y="611280"/>
                  <a:pt x="3006587" y="616746"/>
                </a:cubicBezTo>
                <a:cubicBezTo>
                  <a:pt x="3019343" y="611280"/>
                  <a:pt x="3021165" y="634968"/>
                  <a:pt x="3037564" y="629501"/>
                </a:cubicBezTo>
                <a:cubicBezTo>
                  <a:pt x="3033920" y="622213"/>
                  <a:pt x="3022987" y="627679"/>
                  <a:pt x="3022987" y="620391"/>
                </a:cubicBezTo>
                <a:lnTo>
                  <a:pt x="3028453" y="614926"/>
                </a:lnTo>
                <a:lnTo>
                  <a:pt x="3028453" y="622213"/>
                </a:lnTo>
                <a:cubicBezTo>
                  <a:pt x="3032098" y="622213"/>
                  <a:pt x="3037564" y="622213"/>
                  <a:pt x="3035742" y="616746"/>
                </a:cubicBezTo>
                <a:cubicBezTo>
                  <a:pt x="3034831" y="616746"/>
                  <a:pt x="3034376" y="615835"/>
                  <a:pt x="3033465" y="615152"/>
                </a:cubicBezTo>
                <a:lnTo>
                  <a:pt x="3028455" y="614924"/>
                </a:lnTo>
                <a:lnTo>
                  <a:pt x="3033920" y="609459"/>
                </a:lnTo>
                <a:cubicBezTo>
                  <a:pt x="3035742" y="609459"/>
                  <a:pt x="3035742" y="613103"/>
                  <a:pt x="3035742" y="614924"/>
                </a:cubicBezTo>
                <a:cubicBezTo>
                  <a:pt x="3043031" y="611280"/>
                  <a:pt x="3041209" y="603991"/>
                  <a:pt x="3037564" y="600347"/>
                </a:cubicBezTo>
                <a:cubicBezTo>
                  <a:pt x="3033920" y="596702"/>
                  <a:pt x="3028453" y="594880"/>
                  <a:pt x="3026631" y="593058"/>
                </a:cubicBezTo>
                <a:cubicBezTo>
                  <a:pt x="3026631" y="592147"/>
                  <a:pt x="3027998" y="591692"/>
                  <a:pt x="3029137" y="591009"/>
                </a:cubicBezTo>
                <a:lnTo>
                  <a:pt x="3030219" y="587763"/>
                </a:lnTo>
                <a:lnTo>
                  <a:pt x="3030825" y="588140"/>
                </a:lnTo>
                <a:lnTo>
                  <a:pt x="3041209" y="598524"/>
                </a:lnTo>
                <a:cubicBezTo>
                  <a:pt x="3041209" y="593969"/>
                  <a:pt x="3037565" y="591692"/>
                  <a:pt x="3033237" y="589642"/>
                </a:cubicBezTo>
                <a:lnTo>
                  <a:pt x="3030825" y="588140"/>
                </a:lnTo>
                <a:lnTo>
                  <a:pt x="3030276" y="587591"/>
                </a:lnTo>
                <a:lnTo>
                  <a:pt x="3030219" y="587763"/>
                </a:lnTo>
                <a:lnTo>
                  <a:pt x="3021165" y="582125"/>
                </a:lnTo>
                <a:cubicBezTo>
                  <a:pt x="3021165" y="582125"/>
                  <a:pt x="3022987" y="580303"/>
                  <a:pt x="3024809" y="580303"/>
                </a:cubicBezTo>
                <a:cubicBezTo>
                  <a:pt x="3019343" y="578481"/>
                  <a:pt x="3017521" y="571192"/>
                  <a:pt x="3010232" y="574836"/>
                </a:cubicBezTo>
                <a:close/>
                <a:moveTo>
                  <a:pt x="912909" y="574836"/>
                </a:moveTo>
                <a:cubicBezTo>
                  <a:pt x="911087" y="576658"/>
                  <a:pt x="912909" y="578481"/>
                  <a:pt x="911087" y="582125"/>
                </a:cubicBezTo>
                <a:cubicBezTo>
                  <a:pt x="911087" y="583947"/>
                  <a:pt x="914732" y="580303"/>
                  <a:pt x="916555" y="578481"/>
                </a:cubicBezTo>
                <a:cubicBezTo>
                  <a:pt x="914732" y="576658"/>
                  <a:pt x="914732" y="576658"/>
                  <a:pt x="912909" y="574836"/>
                </a:cubicBezTo>
                <a:close/>
                <a:moveTo>
                  <a:pt x="635939" y="574836"/>
                </a:moveTo>
                <a:cubicBezTo>
                  <a:pt x="634117" y="576658"/>
                  <a:pt x="634117" y="578481"/>
                  <a:pt x="634117" y="580303"/>
                </a:cubicBezTo>
                <a:cubicBezTo>
                  <a:pt x="637761" y="582125"/>
                  <a:pt x="637761" y="576658"/>
                  <a:pt x="635939" y="574836"/>
                </a:cubicBezTo>
                <a:close/>
                <a:moveTo>
                  <a:pt x="477410" y="574836"/>
                </a:moveTo>
                <a:cubicBezTo>
                  <a:pt x="470121" y="582125"/>
                  <a:pt x="481054" y="583947"/>
                  <a:pt x="482876" y="589414"/>
                </a:cubicBezTo>
                <a:cubicBezTo>
                  <a:pt x="482876" y="585769"/>
                  <a:pt x="479232" y="580303"/>
                  <a:pt x="477410" y="574836"/>
                </a:cubicBezTo>
                <a:close/>
                <a:moveTo>
                  <a:pt x="256927" y="574836"/>
                </a:moveTo>
                <a:lnTo>
                  <a:pt x="263958" y="580696"/>
                </a:lnTo>
                <a:lnTo>
                  <a:pt x="278793" y="605813"/>
                </a:lnTo>
                <a:lnTo>
                  <a:pt x="270442" y="598746"/>
                </a:lnTo>
                <a:close/>
                <a:moveTo>
                  <a:pt x="308999" y="574276"/>
                </a:moveTo>
                <a:lnTo>
                  <a:pt x="309771" y="578481"/>
                </a:lnTo>
                <a:lnTo>
                  <a:pt x="308421" y="576587"/>
                </a:lnTo>
                <a:close/>
                <a:moveTo>
                  <a:pt x="2065505" y="573295"/>
                </a:moveTo>
                <a:lnTo>
                  <a:pt x="2066346" y="573925"/>
                </a:lnTo>
                <a:lnTo>
                  <a:pt x="2066346" y="575984"/>
                </a:lnTo>
                <a:lnTo>
                  <a:pt x="2063840" y="575520"/>
                </a:lnTo>
                <a:lnTo>
                  <a:pt x="2060879" y="577353"/>
                </a:lnTo>
                <a:lnTo>
                  <a:pt x="2060879" y="574836"/>
                </a:lnTo>
                <a:close/>
                <a:moveTo>
                  <a:pt x="3316357" y="573014"/>
                </a:moveTo>
                <a:cubicBezTo>
                  <a:pt x="3316357" y="574836"/>
                  <a:pt x="3309068" y="573014"/>
                  <a:pt x="3310890" y="578481"/>
                </a:cubicBezTo>
                <a:cubicBezTo>
                  <a:pt x="3310890" y="580303"/>
                  <a:pt x="3314535" y="582125"/>
                  <a:pt x="3316357" y="583947"/>
                </a:cubicBezTo>
                <a:cubicBezTo>
                  <a:pt x="3321824" y="582125"/>
                  <a:pt x="3318179" y="574836"/>
                  <a:pt x="3316357" y="573014"/>
                </a:cubicBezTo>
                <a:close/>
                <a:moveTo>
                  <a:pt x="3172405" y="573014"/>
                </a:moveTo>
                <a:cubicBezTo>
                  <a:pt x="3163294" y="578481"/>
                  <a:pt x="3156006" y="587591"/>
                  <a:pt x="3150539" y="596702"/>
                </a:cubicBezTo>
                <a:cubicBezTo>
                  <a:pt x="3152361" y="598524"/>
                  <a:pt x="3154184" y="598524"/>
                  <a:pt x="3157828" y="598524"/>
                </a:cubicBezTo>
                <a:cubicBezTo>
                  <a:pt x="3157828" y="593058"/>
                  <a:pt x="3156006" y="589414"/>
                  <a:pt x="3159650" y="587591"/>
                </a:cubicBezTo>
                <a:cubicBezTo>
                  <a:pt x="3165116" y="587591"/>
                  <a:pt x="3157828" y="593058"/>
                  <a:pt x="3161472" y="594880"/>
                </a:cubicBezTo>
                <a:cubicBezTo>
                  <a:pt x="3163294" y="594880"/>
                  <a:pt x="3163294" y="593058"/>
                  <a:pt x="3163294" y="591236"/>
                </a:cubicBezTo>
                <a:cubicBezTo>
                  <a:pt x="3168761" y="591236"/>
                  <a:pt x="3165116" y="593058"/>
                  <a:pt x="3165116" y="596702"/>
                </a:cubicBezTo>
                <a:cubicBezTo>
                  <a:pt x="3170583" y="591236"/>
                  <a:pt x="3168761" y="578481"/>
                  <a:pt x="3172405" y="573014"/>
                </a:cubicBezTo>
                <a:close/>
                <a:moveTo>
                  <a:pt x="2884502" y="573014"/>
                </a:moveTo>
                <a:cubicBezTo>
                  <a:pt x="2884502" y="576658"/>
                  <a:pt x="2880857" y="583947"/>
                  <a:pt x="2882680" y="585769"/>
                </a:cubicBezTo>
                <a:cubicBezTo>
                  <a:pt x="2888146" y="587591"/>
                  <a:pt x="2882680" y="583947"/>
                  <a:pt x="2884502" y="582125"/>
                </a:cubicBezTo>
                <a:cubicBezTo>
                  <a:pt x="2888146" y="583947"/>
                  <a:pt x="2886324" y="587591"/>
                  <a:pt x="2889968" y="587591"/>
                </a:cubicBezTo>
                <a:cubicBezTo>
                  <a:pt x="2889968" y="585769"/>
                  <a:pt x="2889968" y="583947"/>
                  <a:pt x="2889968" y="582125"/>
                </a:cubicBezTo>
                <a:cubicBezTo>
                  <a:pt x="2891790" y="583947"/>
                  <a:pt x="2891790" y="585769"/>
                  <a:pt x="2895435" y="585769"/>
                </a:cubicBezTo>
                <a:cubicBezTo>
                  <a:pt x="2893613" y="582125"/>
                  <a:pt x="2897257" y="580303"/>
                  <a:pt x="2897257" y="576658"/>
                </a:cubicBezTo>
                <a:cubicBezTo>
                  <a:pt x="2893613" y="573014"/>
                  <a:pt x="2891790" y="573014"/>
                  <a:pt x="2884502" y="573014"/>
                </a:cubicBezTo>
                <a:close/>
                <a:moveTo>
                  <a:pt x="2390693" y="573014"/>
                </a:moveTo>
                <a:cubicBezTo>
                  <a:pt x="2387048" y="576658"/>
                  <a:pt x="2387048" y="582125"/>
                  <a:pt x="2385226" y="582125"/>
                </a:cubicBezTo>
                <a:cubicBezTo>
                  <a:pt x="2383404" y="582125"/>
                  <a:pt x="2383404" y="576658"/>
                  <a:pt x="2381582" y="574836"/>
                </a:cubicBezTo>
                <a:cubicBezTo>
                  <a:pt x="2379760" y="578481"/>
                  <a:pt x="2381582" y="583947"/>
                  <a:pt x="2379760" y="585769"/>
                </a:cubicBezTo>
                <a:cubicBezTo>
                  <a:pt x="2376115" y="587591"/>
                  <a:pt x="2379760" y="580303"/>
                  <a:pt x="2377937" y="578481"/>
                </a:cubicBezTo>
                <a:cubicBezTo>
                  <a:pt x="2370649" y="583947"/>
                  <a:pt x="2374293" y="594880"/>
                  <a:pt x="2377937" y="602169"/>
                </a:cubicBezTo>
                <a:cubicBezTo>
                  <a:pt x="2385226" y="594880"/>
                  <a:pt x="2385226" y="589414"/>
                  <a:pt x="2394337" y="587591"/>
                </a:cubicBezTo>
                <a:cubicBezTo>
                  <a:pt x="2399803" y="587591"/>
                  <a:pt x="2388871" y="591236"/>
                  <a:pt x="2396159" y="593058"/>
                </a:cubicBezTo>
                <a:cubicBezTo>
                  <a:pt x="2397981" y="583947"/>
                  <a:pt x="2394337" y="580303"/>
                  <a:pt x="2390693" y="573014"/>
                </a:cubicBezTo>
                <a:close/>
                <a:moveTo>
                  <a:pt x="1106060" y="573014"/>
                </a:moveTo>
                <a:cubicBezTo>
                  <a:pt x="1104238" y="576658"/>
                  <a:pt x="1096949" y="583947"/>
                  <a:pt x="1100593" y="587591"/>
                </a:cubicBezTo>
                <a:cubicBezTo>
                  <a:pt x="1109704" y="583947"/>
                  <a:pt x="1113349" y="573014"/>
                  <a:pt x="1106060" y="573014"/>
                </a:cubicBezTo>
                <a:close/>
                <a:moveTo>
                  <a:pt x="945709" y="573014"/>
                </a:moveTo>
                <a:cubicBezTo>
                  <a:pt x="940242" y="578481"/>
                  <a:pt x="932953" y="583947"/>
                  <a:pt x="932953" y="587591"/>
                </a:cubicBezTo>
                <a:cubicBezTo>
                  <a:pt x="936598" y="583947"/>
                  <a:pt x="947531" y="576658"/>
                  <a:pt x="945709" y="573014"/>
                </a:cubicBezTo>
                <a:close/>
                <a:moveTo>
                  <a:pt x="843667" y="573014"/>
                </a:moveTo>
                <a:cubicBezTo>
                  <a:pt x="841845" y="576658"/>
                  <a:pt x="838200" y="580303"/>
                  <a:pt x="841845" y="583947"/>
                </a:cubicBezTo>
                <a:cubicBezTo>
                  <a:pt x="841845" y="583947"/>
                  <a:pt x="843667" y="582125"/>
                  <a:pt x="843667" y="580303"/>
                </a:cubicBezTo>
                <a:cubicBezTo>
                  <a:pt x="845489" y="583947"/>
                  <a:pt x="843667" y="585769"/>
                  <a:pt x="847311" y="587591"/>
                </a:cubicBezTo>
                <a:lnTo>
                  <a:pt x="851749" y="580935"/>
                </a:lnTo>
                <a:lnTo>
                  <a:pt x="849817" y="585542"/>
                </a:lnTo>
                <a:cubicBezTo>
                  <a:pt x="849133" y="587592"/>
                  <a:pt x="848222" y="589414"/>
                  <a:pt x="845489" y="591236"/>
                </a:cubicBezTo>
                <a:cubicBezTo>
                  <a:pt x="852778" y="591236"/>
                  <a:pt x="854600" y="583947"/>
                  <a:pt x="854600" y="580303"/>
                </a:cubicBezTo>
                <a:lnTo>
                  <a:pt x="853142" y="578845"/>
                </a:lnTo>
                <a:lnTo>
                  <a:pt x="854600" y="576658"/>
                </a:lnTo>
                <a:cubicBezTo>
                  <a:pt x="850956" y="576658"/>
                  <a:pt x="847311" y="573014"/>
                  <a:pt x="843667" y="573014"/>
                </a:cubicBezTo>
                <a:close/>
                <a:moveTo>
                  <a:pt x="821801" y="573014"/>
                </a:moveTo>
                <a:cubicBezTo>
                  <a:pt x="821801" y="574836"/>
                  <a:pt x="819979" y="576658"/>
                  <a:pt x="821801" y="578481"/>
                </a:cubicBezTo>
                <a:cubicBezTo>
                  <a:pt x="823623" y="578481"/>
                  <a:pt x="823623" y="576658"/>
                  <a:pt x="825445" y="574836"/>
                </a:cubicBezTo>
                <a:cubicBezTo>
                  <a:pt x="825445" y="573014"/>
                  <a:pt x="823623" y="573014"/>
                  <a:pt x="821801" y="573014"/>
                </a:cubicBezTo>
                <a:close/>
                <a:moveTo>
                  <a:pt x="809046" y="573014"/>
                </a:moveTo>
                <a:cubicBezTo>
                  <a:pt x="805401" y="574836"/>
                  <a:pt x="810868" y="576658"/>
                  <a:pt x="812690" y="576658"/>
                </a:cubicBezTo>
                <a:cubicBezTo>
                  <a:pt x="814512" y="576658"/>
                  <a:pt x="810868" y="573014"/>
                  <a:pt x="809046" y="573014"/>
                </a:cubicBezTo>
                <a:close/>
                <a:moveTo>
                  <a:pt x="736159" y="573014"/>
                </a:moveTo>
                <a:lnTo>
                  <a:pt x="734154" y="583038"/>
                </a:lnTo>
                <a:lnTo>
                  <a:pt x="734108" y="580531"/>
                </a:lnTo>
                <a:cubicBezTo>
                  <a:pt x="733881" y="580303"/>
                  <a:pt x="733425" y="583947"/>
                  <a:pt x="732515" y="591236"/>
                </a:cubicBezTo>
                <a:lnTo>
                  <a:pt x="734154" y="583038"/>
                </a:lnTo>
                <a:lnTo>
                  <a:pt x="734336" y="593058"/>
                </a:lnTo>
                <a:cubicBezTo>
                  <a:pt x="739803" y="589414"/>
                  <a:pt x="736159" y="582125"/>
                  <a:pt x="743447" y="578481"/>
                </a:cubicBezTo>
                <a:cubicBezTo>
                  <a:pt x="741626" y="578481"/>
                  <a:pt x="737981" y="574836"/>
                  <a:pt x="736159" y="573014"/>
                </a:cubicBezTo>
                <a:close/>
                <a:moveTo>
                  <a:pt x="477410" y="573014"/>
                </a:moveTo>
                <a:cubicBezTo>
                  <a:pt x="479232" y="578481"/>
                  <a:pt x="481054" y="585769"/>
                  <a:pt x="488343" y="587591"/>
                </a:cubicBezTo>
                <a:cubicBezTo>
                  <a:pt x="484700" y="580303"/>
                  <a:pt x="486521" y="578481"/>
                  <a:pt x="486521" y="573014"/>
                </a:cubicBezTo>
                <a:cubicBezTo>
                  <a:pt x="482876" y="573014"/>
                  <a:pt x="481054" y="573014"/>
                  <a:pt x="477410" y="573014"/>
                </a:cubicBezTo>
                <a:close/>
                <a:moveTo>
                  <a:pt x="1164048" y="572909"/>
                </a:moveTo>
                <a:lnTo>
                  <a:pt x="1163962" y="573365"/>
                </a:lnTo>
                <a:lnTo>
                  <a:pt x="1163914" y="573214"/>
                </a:lnTo>
                <a:close/>
                <a:moveTo>
                  <a:pt x="2680802" y="571672"/>
                </a:moveTo>
                <a:lnTo>
                  <a:pt x="2687707" y="580303"/>
                </a:lnTo>
                <a:cubicBezTo>
                  <a:pt x="2687707" y="578481"/>
                  <a:pt x="2687707" y="576658"/>
                  <a:pt x="2689529" y="574836"/>
                </a:cubicBezTo>
                <a:cubicBezTo>
                  <a:pt x="2691351" y="585769"/>
                  <a:pt x="2691351" y="594880"/>
                  <a:pt x="2685885" y="603991"/>
                </a:cubicBezTo>
                <a:cubicBezTo>
                  <a:pt x="2684063" y="596702"/>
                  <a:pt x="2685885" y="585769"/>
                  <a:pt x="2678596" y="583947"/>
                </a:cubicBezTo>
                <a:cubicBezTo>
                  <a:pt x="2669485" y="580303"/>
                  <a:pt x="2674952" y="596702"/>
                  <a:pt x="2665841" y="596702"/>
                </a:cubicBezTo>
                <a:cubicBezTo>
                  <a:pt x="2665841" y="593058"/>
                  <a:pt x="2669485" y="587591"/>
                  <a:pt x="2664019" y="583947"/>
                </a:cubicBezTo>
                <a:cubicBezTo>
                  <a:pt x="2662197" y="587591"/>
                  <a:pt x="2664019" y="593058"/>
                  <a:pt x="2662197" y="594880"/>
                </a:cubicBezTo>
                <a:cubicBezTo>
                  <a:pt x="2654908" y="589414"/>
                  <a:pt x="2664019" y="582125"/>
                  <a:pt x="2665841" y="574836"/>
                </a:cubicBezTo>
                <a:cubicBezTo>
                  <a:pt x="2671307" y="578481"/>
                  <a:pt x="2676774" y="587591"/>
                  <a:pt x="2682240" y="580303"/>
                </a:cubicBezTo>
                <a:close/>
                <a:moveTo>
                  <a:pt x="580819" y="571647"/>
                </a:moveTo>
                <a:lnTo>
                  <a:pt x="579623" y="574438"/>
                </a:lnTo>
                <a:lnTo>
                  <a:pt x="579460" y="574470"/>
                </a:lnTo>
                <a:lnTo>
                  <a:pt x="579492" y="572974"/>
                </a:lnTo>
                <a:close/>
                <a:moveTo>
                  <a:pt x="2937345" y="571192"/>
                </a:moveTo>
                <a:lnTo>
                  <a:pt x="2944223" y="579481"/>
                </a:lnTo>
                <a:lnTo>
                  <a:pt x="2944634" y="580303"/>
                </a:lnTo>
                <a:cubicBezTo>
                  <a:pt x="2942811" y="582125"/>
                  <a:pt x="2935523" y="580303"/>
                  <a:pt x="2931878" y="580303"/>
                </a:cubicBezTo>
                <a:cubicBezTo>
                  <a:pt x="2935523" y="587591"/>
                  <a:pt x="2931878" y="596702"/>
                  <a:pt x="2942811" y="596702"/>
                </a:cubicBezTo>
                <a:cubicBezTo>
                  <a:pt x="2943723" y="593058"/>
                  <a:pt x="2946000" y="587136"/>
                  <a:pt x="2946228" y="581897"/>
                </a:cubicBezTo>
                <a:lnTo>
                  <a:pt x="2944223" y="579481"/>
                </a:lnTo>
                <a:lnTo>
                  <a:pt x="2942356" y="575747"/>
                </a:lnTo>
                <a:cubicBezTo>
                  <a:pt x="2940534" y="574381"/>
                  <a:pt x="2938256" y="573014"/>
                  <a:pt x="2937345" y="571192"/>
                </a:cubicBezTo>
                <a:close/>
                <a:moveTo>
                  <a:pt x="2549222" y="571192"/>
                </a:moveTo>
                <a:cubicBezTo>
                  <a:pt x="2549222" y="580303"/>
                  <a:pt x="2552866" y="585769"/>
                  <a:pt x="2551044" y="591236"/>
                </a:cubicBezTo>
                <a:cubicBezTo>
                  <a:pt x="2551044" y="594880"/>
                  <a:pt x="2549222" y="587591"/>
                  <a:pt x="2545577" y="587591"/>
                </a:cubicBezTo>
                <a:cubicBezTo>
                  <a:pt x="2540111" y="600347"/>
                  <a:pt x="2549222" y="603991"/>
                  <a:pt x="2551044" y="613103"/>
                </a:cubicBezTo>
                <a:cubicBezTo>
                  <a:pt x="2554688" y="611280"/>
                  <a:pt x="2556510" y="616746"/>
                  <a:pt x="2563799" y="614924"/>
                </a:cubicBezTo>
                <a:cubicBezTo>
                  <a:pt x="2565621" y="611280"/>
                  <a:pt x="2569266" y="603991"/>
                  <a:pt x="2572910" y="607635"/>
                </a:cubicBezTo>
                <a:cubicBezTo>
                  <a:pt x="2572910" y="594880"/>
                  <a:pt x="2563799" y="593058"/>
                  <a:pt x="2560155" y="587591"/>
                </a:cubicBezTo>
                <a:cubicBezTo>
                  <a:pt x="2565621" y="578481"/>
                  <a:pt x="2556510" y="565725"/>
                  <a:pt x="2549222" y="571192"/>
                </a:cubicBezTo>
                <a:close/>
                <a:moveTo>
                  <a:pt x="703359" y="571192"/>
                </a:moveTo>
                <a:cubicBezTo>
                  <a:pt x="701537" y="574836"/>
                  <a:pt x="697893" y="578481"/>
                  <a:pt x="697893" y="582125"/>
                </a:cubicBezTo>
                <a:cubicBezTo>
                  <a:pt x="701537" y="580303"/>
                  <a:pt x="705182" y="582125"/>
                  <a:pt x="707004" y="583947"/>
                </a:cubicBezTo>
                <a:cubicBezTo>
                  <a:pt x="705182" y="582125"/>
                  <a:pt x="708826" y="576658"/>
                  <a:pt x="703359" y="571192"/>
                </a:cubicBezTo>
                <a:close/>
                <a:moveTo>
                  <a:pt x="491987" y="571192"/>
                </a:moveTo>
                <a:cubicBezTo>
                  <a:pt x="495632" y="578481"/>
                  <a:pt x="493809" y="574836"/>
                  <a:pt x="491987" y="583947"/>
                </a:cubicBezTo>
                <a:cubicBezTo>
                  <a:pt x="497454" y="585769"/>
                  <a:pt x="495632" y="594880"/>
                  <a:pt x="501098" y="598524"/>
                </a:cubicBezTo>
                <a:cubicBezTo>
                  <a:pt x="501098" y="591236"/>
                  <a:pt x="501098" y="585769"/>
                  <a:pt x="493809" y="580303"/>
                </a:cubicBezTo>
                <a:cubicBezTo>
                  <a:pt x="497454" y="578481"/>
                  <a:pt x="499276" y="585769"/>
                  <a:pt x="501098" y="582125"/>
                </a:cubicBezTo>
                <a:cubicBezTo>
                  <a:pt x="499276" y="578481"/>
                  <a:pt x="493809" y="574836"/>
                  <a:pt x="491987" y="571192"/>
                </a:cubicBezTo>
                <a:close/>
                <a:moveTo>
                  <a:pt x="468299" y="571192"/>
                </a:moveTo>
                <a:cubicBezTo>
                  <a:pt x="464655" y="571192"/>
                  <a:pt x="468299" y="576658"/>
                  <a:pt x="470121" y="576658"/>
                </a:cubicBezTo>
                <a:cubicBezTo>
                  <a:pt x="471943" y="574836"/>
                  <a:pt x="470121" y="571192"/>
                  <a:pt x="468299" y="571192"/>
                </a:cubicBezTo>
                <a:close/>
                <a:moveTo>
                  <a:pt x="389946" y="571192"/>
                </a:moveTo>
                <a:lnTo>
                  <a:pt x="393643" y="578924"/>
                </a:lnTo>
                <a:lnTo>
                  <a:pt x="389507" y="579957"/>
                </a:lnTo>
                <a:close/>
                <a:moveTo>
                  <a:pt x="322525" y="571192"/>
                </a:moveTo>
                <a:cubicBezTo>
                  <a:pt x="320703" y="576658"/>
                  <a:pt x="320703" y="583947"/>
                  <a:pt x="327993" y="585769"/>
                </a:cubicBezTo>
                <a:cubicBezTo>
                  <a:pt x="326169" y="583947"/>
                  <a:pt x="327993" y="583947"/>
                  <a:pt x="329814" y="582125"/>
                </a:cubicBezTo>
                <a:cubicBezTo>
                  <a:pt x="327993" y="578481"/>
                  <a:pt x="324347" y="574836"/>
                  <a:pt x="322525" y="571192"/>
                </a:cubicBezTo>
                <a:close/>
                <a:moveTo>
                  <a:pt x="2680558" y="570211"/>
                </a:moveTo>
                <a:lnTo>
                  <a:pt x="2680802" y="571672"/>
                </a:lnTo>
                <a:lnTo>
                  <a:pt x="2680418" y="571192"/>
                </a:lnTo>
                <a:close/>
                <a:moveTo>
                  <a:pt x="3482175" y="569370"/>
                </a:moveTo>
                <a:cubicBezTo>
                  <a:pt x="3483997" y="571192"/>
                  <a:pt x="3483997" y="574836"/>
                  <a:pt x="3483997" y="574836"/>
                </a:cubicBezTo>
                <a:lnTo>
                  <a:pt x="3484838" y="572403"/>
                </a:lnTo>
                <a:lnTo>
                  <a:pt x="3484470" y="575864"/>
                </a:lnTo>
                <a:lnTo>
                  <a:pt x="3482175" y="576658"/>
                </a:lnTo>
                <a:lnTo>
                  <a:pt x="3482663" y="581045"/>
                </a:lnTo>
                <a:lnTo>
                  <a:pt x="3478917" y="583126"/>
                </a:lnTo>
                <a:close/>
                <a:moveTo>
                  <a:pt x="832734" y="569370"/>
                </a:moveTo>
                <a:cubicBezTo>
                  <a:pt x="827267" y="571192"/>
                  <a:pt x="829089" y="576658"/>
                  <a:pt x="830912" y="582125"/>
                </a:cubicBezTo>
                <a:cubicBezTo>
                  <a:pt x="832734" y="578481"/>
                  <a:pt x="834556" y="574836"/>
                  <a:pt x="838200" y="571192"/>
                </a:cubicBezTo>
                <a:cubicBezTo>
                  <a:pt x="836378" y="571192"/>
                  <a:pt x="834556" y="571192"/>
                  <a:pt x="832734" y="569370"/>
                </a:cubicBezTo>
                <a:close/>
                <a:moveTo>
                  <a:pt x="776246" y="569370"/>
                </a:moveTo>
                <a:cubicBezTo>
                  <a:pt x="774424" y="574836"/>
                  <a:pt x="778070" y="582125"/>
                  <a:pt x="781713" y="587591"/>
                </a:cubicBezTo>
                <a:cubicBezTo>
                  <a:pt x="783535" y="587591"/>
                  <a:pt x="783535" y="587591"/>
                  <a:pt x="783535" y="587591"/>
                </a:cubicBezTo>
                <a:cubicBezTo>
                  <a:pt x="783535" y="591236"/>
                  <a:pt x="787179" y="594880"/>
                  <a:pt x="789003" y="594880"/>
                </a:cubicBezTo>
                <a:cubicBezTo>
                  <a:pt x="794468" y="596702"/>
                  <a:pt x="783535" y="587591"/>
                  <a:pt x="790824" y="587591"/>
                </a:cubicBezTo>
                <a:cubicBezTo>
                  <a:pt x="790824" y="589414"/>
                  <a:pt x="787179" y="593058"/>
                  <a:pt x="792646" y="593058"/>
                </a:cubicBezTo>
                <a:cubicBezTo>
                  <a:pt x="792646" y="591236"/>
                  <a:pt x="792646" y="589414"/>
                  <a:pt x="790824" y="587591"/>
                </a:cubicBezTo>
                <a:cubicBezTo>
                  <a:pt x="789003" y="578481"/>
                  <a:pt x="785357" y="571192"/>
                  <a:pt x="776246" y="569370"/>
                </a:cubicBezTo>
                <a:close/>
                <a:moveTo>
                  <a:pt x="701537" y="569370"/>
                </a:moveTo>
                <a:cubicBezTo>
                  <a:pt x="696071" y="571192"/>
                  <a:pt x="690604" y="576658"/>
                  <a:pt x="694249" y="582125"/>
                </a:cubicBezTo>
                <a:cubicBezTo>
                  <a:pt x="696071" y="578481"/>
                  <a:pt x="697893" y="573014"/>
                  <a:pt x="701537" y="569370"/>
                </a:cubicBezTo>
                <a:close/>
                <a:moveTo>
                  <a:pt x="632296" y="569370"/>
                </a:moveTo>
                <a:cubicBezTo>
                  <a:pt x="628650" y="574836"/>
                  <a:pt x="635939" y="574836"/>
                  <a:pt x="632296" y="580303"/>
                </a:cubicBezTo>
                <a:cubicBezTo>
                  <a:pt x="635939" y="576658"/>
                  <a:pt x="632296" y="573014"/>
                  <a:pt x="632296" y="569370"/>
                </a:cubicBezTo>
                <a:close/>
                <a:moveTo>
                  <a:pt x="544830" y="569370"/>
                </a:moveTo>
                <a:cubicBezTo>
                  <a:pt x="544830" y="571192"/>
                  <a:pt x="544830" y="574836"/>
                  <a:pt x="544830" y="580303"/>
                </a:cubicBezTo>
                <a:cubicBezTo>
                  <a:pt x="544830" y="578481"/>
                  <a:pt x="546653" y="576658"/>
                  <a:pt x="548475" y="574836"/>
                </a:cubicBezTo>
                <a:cubicBezTo>
                  <a:pt x="548475" y="571192"/>
                  <a:pt x="546653" y="571192"/>
                  <a:pt x="544830" y="569370"/>
                </a:cubicBezTo>
                <a:close/>
                <a:moveTo>
                  <a:pt x="2871767" y="569311"/>
                </a:moveTo>
                <a:lnTo>
                  <a:pt x="2871809" y="569340"/>
                </a:lnTo>
                <a:lnTo>
                  <a:pt x="2871747" y="569370"/>
                </a:lnTo>
                <a:close/>
                <a:moveTo>
                  <a:pt x="2613909" y="568004"/>
                </a:moveTo>
                <a:lnTo>
                  <a:pt x="2615428" y="568763"/>
                </a:lnTo>
                <a:lnTo>
                  <a:pt x="2616642" y="574836"/>
                </a:lnTo>
                <a:lnTo>
                  <a:pt x="2613298" y="570655"/>
                </a:lnTo>
                <a:lnTo>
                  <a:pt x="2613210" y="569750"/>
                </a:lnTo>
                <a:close/>
                <a:moveTo>
                  <a:pt x="436761" y="567827"/>
                </a:moveTo>
                <a:lnTo>
                  <a:pt x="437309" y="568740"/>
                </a:lnTo>
                <a:lnTo>
                  <a:pt x="437322" y="569370"/>
                </a:lnTo>
                <a:close/>
                <a:moveTo>
                  <a:pt x="648580" y="567777"/>
                </a:moveTo>
                <a:lnTo>
                  <a:pt x="648466" y="569826"/>
                </a:lnTo>
                <a:cubicBezTo>
                  <a:pt x="647783" y="571192"/>
                  <a:pt x="646872" y="572103"/>
                  <a:pt x="646872" y="571192"/>
                </a:cubicBezTo>
                <a:close/>
                <a:moveTo>
                  <a:pt x="2875391" y="567548"/>
                </a:moveTo>
                <a:lnTo>
                  <a:pt x="2877578" y="571921"/>
                </a:lnTo>
                <a:lnTo>
                  <a:pt x="2877213" y="573014"/>
                </a:lnTo>
                <a:lnTo>
                  <a:pt x="2871809" y="569340"/>
                </a:lnTo>
                <a:close/>
                <a:moveTo>
                  <a:pt x="2430780" y="567548"/>
                </a:moveTo>
                <a:cubicBezTo>
                  <a:pt x="2428958" y="571192"/>
                  <a:pt x="2428958" y="582125"/>
                  <a:pt x="2432603" y="580303"/>
                </a:cubicBezTo>
                <a:cubicBezTo>
                  <a:pt x="2436247" y="578481"/>
                  <a:pt x="2436247" y="571192"/>
                  <a:pt x="2438069" y="567548"/>
                </a:cubicBezTo>
                <a:cubicBezTo>
                  <a:pt x="2437158" y="566637"/>
                  <a:pt x="2436703" y="567092"/>
                  <a:pt x="2435792" y="567548"/>
                </a:cubicBezTo>
                <a:cubicBezTo>
                  <a:pt x="2434880" y="568004"/>
                  <a:pt x="2433514" y="568459"/>
                  <a:pt x="2430780" y="567548"/>
                </a:cubicBezTo>
                <a:close/>
                <a:moveTo>
                  <a:pt x="2401626" y="567548"/>
                </a:moveTo>
                <a:cubicBezTo>
                  <a:pt x="2396159" y="569370"/>
                  <a:pt x="2401626" y="574836"/>
                  <a:pt x="2399803" y="580303"/>
                </a:cubicBezTo>
                <a:cubicBezTo>
                  <a:pt x="2403448" y="578481"/>
                  <a:pt x="2401626" y="573014"/>
                  <a:pt x="2401626" y="567548"/>
                </a:cubicBezTo>
                <a:close/>
                <a:moveTo>
                  <a:pt x="1989814" y="567548"/>
                </a:moveTo>
                <a:cubicBezTo>
                  <a:pt x="1984348" y="576658"/>
                  <a:pt x="1975237" y="578481"/>
                  <a:pt x="1973416" y="589414"/>
                </a:cubicBezTo>
                <a:cubicBezTo>
                  <a:pt x="1982527" y="585769"/>
                  <a:pt x="1989814" y="582125"/>
                  <a:pt x="1995281" y="576658"/>
                </a:cubicBezTo>
                <a:cubicBezTo>
                  <a:pt x="1987992" y="580303"/>
                  <a:pt x="1991638" y="569370"/>
                  <a:pt x="1989814" y="567548"/>
                </a:cubicBezTo>
                <a:close/>
                <a:moveTo>
                  <a:pt x="843667" y="567548"/>
                </a:moveTo>
                <a:cubicBezTo>
                  <a:pt x="841845" y="567548"/>
                  <a:pt x="843667" y="569370"/>
                  <a:pt x="841845" y="569370"/>
                </a:cubicBezTo>
                <a:cubicBezTo>
                  <a:pt x="843667" y="573014"/>
                  <a:pt x="845489" y="571192"/>
                  <a:pt x="847311" y="573014"/>
                </a:cubicBezTo>
                <a:cubicBezTo>
                  <a:pt x="849133" y="571192"/>
                  <a:pt x="841845" y="569370"/>
                  <a:pt x="843667" y="567548"/>
                </a:cubicBezTo>
                <a:close/>
                <a:moveTo>
                  <a:pt x="756203" y="567548"/>
                </a:moveTo>
                <a:cubicBezTo>
                  <a:pt x="758025" y="571192"/>
                  <a:pt x="759848" y="578481"/>
                  <a:pt x="758025" y="582125"/>
                </a:cubicBezTo>
                <a:lnTo>
                  <a:pt x="752345" y="572129"/>
                </a:lnTo>
                <a:close/>
                <a:moveTo>
                  <a:pt x="313414" y="567548"/>
                </a:moveTo>
                <a:cubicBezTo>
                  <a:pt x="311592" y="571192"/>
                  <a:pt x="313414" y="576658"/>
                  <a:pt x="317059" y="582125"/>
                </a:cubicBezTo>
                <a:cubicBezTo>
                  <a:pt x="320703" y="576658"/>
                  <a:pt x="313414" y="574836"/>
                  <a:pt x="313414" y="567548"/>
                </a:cubicBezTo>
                <a:close/>
                <a:moveTo>
                  <a:pt x="666202" y="566252"/>
                </a:moveTo>
                <a:lnTo>
                  <a:pt x="666688" y="566865"/>
                </a:lnTo>
                <a:cubicBezTo>
                  <a:pt x="666916" y="569370"/>
                  <a:pt x="666005" y="572103"/>
                  <a:pt x="665094" y="574836"/>
                </a:cubicBezTo>
                <a:lnTo>
                  <a:pt x="664321" y="573401"/>
                </a:lnTo>
                <a:close/>
                <a:moveTo>
                  <a:pt x="2622109" y="565725"/>
                </a:moveTo>
                <a:cubicBezTo>
                  <a:pt x="2622109" y="574836"/>
                  <a:pt x="2625753" y="574836"/>
                  <a:pt x="2629397" y="574836"/>
                </a:cubicBezTo>
                <a:cubicBezTo>
                  <a:pt x="2627575" y="571192"/>
                  <a:pt x="2625753" y="567548"/>
                  <a:pt x="2622109" y="565725"/>
                </a:cubicBezTo>
                <a:close/>
                <a:moveTo>
                  <a:pt x="2592954" y="565725"/>
                </a:moveTo>
                <a:cubicBezTo>
                  <a:pt x="2591132" y="571192"/>
                  <a:pt x="2589310" y="576658"/>
                  <a:pt x="2589310" y="580303"/>
                </a:cubicBezTo>
                <a:cubicBezTo>
                  <a:pt x="2590221" y="583947"/>
                  <a:pt x="2589310" y="586681"/>
                  <a:pt x="2588854" y="589414"/>
                </a:cubicBezTo>
                <a:lnTo>
                  <a:pt x="2590043" y="594169"/>
                </a:lnTo>
                <a:lnTo>
                  <a:pt x="2589310" y="593058"/>
                </a:lnTo>
                <a:cubicBezTo>
                  <a:pt x="2589310" y="596702"/>
                  <a:pt x="2591132" y="596702"/>
                  <a:pt x="2591132" y="598524"/>
                </a:cubicBezTo>
                <a:lnTo>
                  <a:pt x="2590043" y="594169"/>
                </a:lnTo>
                <a:lnTo>
                  <a:pt x="2596826" y="604447"/>
                </a:lnTo>
                <a:cubicBezTo>
                  <a:pt x="2598876" y="608092"/>
                  <a:pt x="2601154" y="611280"/>
                  <a:pt x="2605709" y="613103"/>
                </a:cubicBezTo>
                <a:cubicBezTo>
                  <a:pt x="2607531" y="609459"/>
                  <a:pt x="2603887" y="603991"/>
                  <a:pt x="2607531" y="600347"/>
                </a:cubicBezTo>
                <a:cubicBezTo>
                  <a:pt x="2607531" y="600347"/>
                  <a:pt x="2607531" y="602169"/>
                  <a:pt x="2609353" y="602169"/>
                </a:cubicBezTo>
                <a:cubicBezTo>
                  <a:pt x="2607531" y="607635"/>
                  <a:pt x="2611176" y="614924"/>
                  <a:pt x="2614820" y="614924"/>
                </a:cubicBezTo>
                <a:cubicBezTo>
                  <a:pt x="2612998" y="613103"/>
                  <a:pt x="2612998" y="605813"/>
                  <a:pt x="2609353" y="602169"/>
                </a:cubicBezTo>
                <a:cubicBezTo>
                  <a:pt x="2611176" y="594880"/>
                  <a:pt x="2605709" y="593058"/>
                  <a:pt x="2600243" y="589414"/>
                </a:cubicBezTo>
                <a:cubicBezTo>
                  <a:pt x="2592954" y="585769"/>
                  <a:pt x="2600243" y="573014"/>
                  <a:pt x="2592954" y="565725"/>
                </a:cubicBezTo>
                <a:close/>
                <a:moveTo>
                  <a:pt x="922020" y="565725"/>
                </a:moveTo>
                <a:cubicBezTo>
                  <a:pt x="920198" y="563904"/>
                  <a:pt x="914732" y="571192"/>
                  <a:pt x="914732" y="573014"/>
                </a:cubicBezTo>
                <a:cubicBezTo>
                  <a:pt x="916555" y="574836"/>
                  <a:pt x="918376" y="576658"/>
                  <a:pt x="920198" y="576658"/>
                </a:cubicBezTo>
                <a:cubicBezTo>
                  <a:pt x="923843" y="571192"/>
                  <a:pt x="918376" y="569370"/>
                  <a:pt x="922020" y="565725"/>
                </a:cubicBezTo>
                <a:close/>
                <a:moveTo>
                  <a:pt x="712470" y="565725"/>
                </a:moveTo>
                <a:cubicBezTo>
                  <a:pt x="713381" y="567548"/>
                  <a:pt x="715205" y="568915"/>
                  <a:pt x="716570" y="570281"/>
                </a:cubicBezTo>
                <a:lnTo>
                  <a:pt x="717198" y="572376"/>
                </a:lnTo>
                <a:lnTo>
                  <a:pt x="716798" y="571420"/>
                </a:lnTo>
                <a:cubicBezTo>
                  <a:pt x="716115" y="568915"/>
                  <a:pt x="715203" y="566637"/>
                  <a:pt x="712470" y="565725"/>
                </a:cubicBezTo>
                <a:close/>
                <a:moveTo>
                  <a:pt x="561230" y="565725"/>
                </a:moveTo>
                <a:cubicBezTo>
                  <a:pt x="559408" y="565725"/>
                  <a:pt x="559408" y="569370"/>
                  <a:pt x="557586" y="569370"/>
                </a:cubicBezTo>
                <a:cubicBezTo>
                  <a:pt x="557586" y="571192"/>
                  <a:pt x="559408" y="571192"/>
                  <a:pt x="561230" y="573014"/>
                </a:cubicBezTo>
                <a:cubicBezTo>
                  <a:pt x="563052" y="571192"/>
                  <a:pt x="559408" y="569370"/>
                  <a:pt x="561230" y="565725"/>
                </a:cubicBezTo>
                <a:close/>
                <a:moveTo>
                  <a:pt x="435500" y="565725"/>
                </a:moveTo>
                <a:cubicBezTo>
                  <a:pt x="436411" y="563903"/>
                  <a:pt x="436411" y="565270"/>
                  <a:pt x="436411" y="566864"/>
                </a:cubicBezTo>
                <a:lnTo>
                  <a:pt x="436761" y="567827"/>
                </a:lnTo>
                <a:close/>
                <a:moveTo>
                  <a:pt x="1121293" y="564672"/>
                </a:moveTo>
                <a:lnTo>
                  <a:pt x="1122388" y="565726"/>
                </a:lnTo>
                <a:lnTo>
                  <a:pt x="1120638" y="565726"/>
                </a:lnTo>
                <a:lnTo>
                  <a:pt x="1120220" y="565726"/>
                </a:lnTo>
                <a:close/>
                <a:moveTo>
                  <a:pt x="2870625" y="564184"/>
                </a:moveTo>
                <a:lnTo>
                  <a:pt x="2873140" y="565190"/>
                </a:lnTo>
                <a:lnTo>
                  <a:pt x="2871767" y="569311"/>
                </a:lnTo>
                <a:lnTo>
                  <a:pt x="2871519" y="569143"/>
                </a:lnTo>
                <a:lnTo>
                  <a:pt x="2870661" y="566323"/>
                </a:lnTo>
                <a:lnTo>
                  <a:pt x="2871747" y="567548"/>
                </a:lnTo>
                <a:close/>
                <a:moveTo>
                  <a:pt x="3261692" y="563904"/>
                </a:moveTo>
                <a:cubicBezTo>
                  <a:pt x="3258047" y="563904"/>
                  <a:pt x="3259869" y="567548"/>
                  <a:pt x="3254403" y="567548"/>
                </a:cubicBezTo>
                <a:cubicBezTo>
                  <a:pt x="3256225" y="569370"/>
                  <a:pt x="3256225" y="573014"/>
                  <a:pt x="3261692" y="571192"/>
                </a:cubicBezTo>
                <a:cubicBezTo>
                  <a:pt x="3263514" y="569370"/>
                  <a:pt x="3263514" y="565725"/>
                  <a:pt x="3261692" y="563904"/>
                </a:cubicBezTo>
                <a:close/>
                <a:moveTo>
                  <a:pt x="2587487" y="563904"/>
                </a:moveTo>
                <a:cubicBezTo>
                  <a:pt x="2583843" y="563904"/>
                  <a:pt x="2585665" y="571192"/>
                  <a:pt x="2583843" y="576658"/>
                </a:cubicBezTo>
                <a:cubicBezTo>
                  <a:pt x="2589310" y="576658"/>
                  <a:pt x="2589310" y="567548"/>
                  <a:pt x="2587487" y="563904"/>
                </a:cubicBezTo>
                <a:close/>
                <a:moveTo>
                  <a:pt x="2139233" y="563904"/>
                </a:moveTo>
                <a:cubicBezTo>
                  <a:pt x="2137410" y="567548"/>
                  <a:pt x="2142877" y="573014"/>
                  <a:pt x="2144699" y="576658"/>
                </a:cubicBezTo>
                <a:cubicBezTo>
                  <a:pt x="2146521" y="574836"/>
                  <a:pt x="2142877" y="565725"/>
                  <a:pt x="2139233" y="563904"/>
                </a:cubicBezTo>
                <a:close/>
                <a:moveTo>
                  <a:pt x="1131570" y="563904"/>
                </a:moveTo>
                <a:cubicBezTo>
                  <a:pt x="1126104" y="569370"/>
                  <a:pt x="1127926" y="574836"/>
                  <a:pt x="1126104" y="580303"/>
                </a:cubicBezTo>
                <a:cubicBezTo>
                  <a:pt x="1129748" y="583947"/>
                  <a:pt x="1133393" y="583947"/>
                  <a:pt x="1137037" y="583947"/>
                </a:cubicBezTo>
                <a:cubicBezTo>
                  <a:pt x="1133393" y="583947"/>
                  <a:pt x="1129748" y="583947"/>
                  <a:pt x="1126104" y="585769"/>
                </a:cubicBezTo>
                <a:cubicBezTo>
                  <a:pt x="1127926" y="587591"/>
                  <a:pt x="1127926" y="589414"/>
                  <a:pt x="1131570" y="589414"/>
                </a:cubicBezTo>
                <a:cubicBezTo>
                  <a:pt x="1124282" y="593058"/>
                  <a:pt x="1122459" y="602169"/>
                  <a:pt x="1116993" y="609459"/>
                </a:cubicBezTo>
                <a:cubicBezTo>
                  <a:pt x="1124282" y="607635"/>
                  <a:pt x="1124282" y="600347"/>
                  <a:pt x="1127926" y="596702"/>
                </a:cubicBezTo>
                <a:cubicBezTo>
                  <a:pt x="1129748" y="600347"/>
                  <a:pt x="1127926" y="600347"/>
                  <a:pt x="1126104" y="602169"/>
                </a:cubicBezTo>
                <a:cubicBezTo>
                  <a:pt x="1127926" y="603991"/>
                  <a:pt x="1131570" y="602169"/>
                  <a:pt x="1131570" y="605813"/>
                </a:cubicBezTo>
                <a:cubicBezTo>
                  <a:pt x="1133393" y="603991"/>
                  <a:pt x="1135215" y="602169"/>
                  <a:pt x="1137037" y="598524"/>
                </a:cubicBezTo>
                <a:cubicBezTo>
                  <a:pt x="1137037" y="596702"/>
                  <a:pt x="1135215" y="598524"/>
                  <a:pt x="1133393" y="596702"/>
                </a:cubicBezTo>
                <a:cubicBezTo>
                  <a:pt x="1137037" y="594880"/>
                  <a:pt x="1138859" y="600347"/>
                  <a:pt x="1142503" y="598524"/>
                </a:cubicBezTo>
                <a:cubicBezTo>
                  <a:pt x="1142503" y="602169"/>
                  <a:pt x="1140681" y="602169"/>
                  <a:pt x="1138859" y="603991"/>
                </a:cubicBezTo>
                <a:cubicBezTo>
                  <a:pt x="1149792" y="603991"/>
                  <a:pt x="1149792" y="594880"/>
                  <a:pt x="1146148" y="591236"/>
                </a:cubicBezTo>
                <a:cubicBezTo>
                  <a:pt x="1146148" y="589414"/>
                  <a:pt x="1142503" y="585769"/>
                  <a:pt x="1138859" y="585769"/>
                </a:cubicBezTo>
                <a:cubicBezTo>
                  <a:pt x="1140681" y="585769"/>
                  <a:pt x="1144326" y="587591"/>
                  <a:pt x="1146148" y="587591"/>
                </a:cubicBezTo>
                <a:cubicBezTo>
                  <a:pt x="1144326" y="580303"/>
                  <a:pt x="1144326" y="569370"/>
                  <a:pt x="1131570" y="563904"/>
                </a:cubicBezTo>
                <a:close/>
                <a:moveTo>
                  <a:pt x="907444" y="563904"/>
                </a:moveTo>
                <a:cubicBezTo>
                  <a:pt x="901976" y="567548"/>
                  <a:pt x="894688" y="571192"/>
                  <a:pt x="898333" y="578481"/>
                </a:cubicBezTo>
                <a:cubicBezTo>
                  <a:pt x="900154" y="576658"/>
                  <a:pt x="903799" y="571192"/>
                  <a:pt x="901976" y="569370"/>
                </a:cubicBezTo>
                <a:cubicBezTo>
                  <a:pt x="909265" y="571192"/>
                  <a:pt x="896510" y="578481"/>
                  <a:pt x="901976" y="576658"/>
                </a:cubicBezTo>
                <a:cubicBezTo>
                  <a:pt x="905621" y="576658"/>
                  <a:pt x="905621" y="569370"/>
                  <a:pt x="907444" y="563904"/>
                </a:cubicBezTo>
                <a:close/>
                <a:moveTo>
                  <a:pt x="887399" y="563904"/>
                </a:moveTo>
                <a:cubicBezTo>
                  <a:pt x="885577" y="565725"/>
                  <a:pt x="885577" y="567548"/>
                  <a:pt x="885577" y="571192"/>
                </a:cubicBezTo>
                <a:cubicBezTo>
                  <a:pt x="881933" y="578481"/>
                  <a:pt x="880111" y="583947"/>
                  <a:pt x="881933" y="591236"/>
                </a:cubicBezTo>
                <a:cubicBezTo>
                  <a:pt x="885577" y="585769"/>
                  <a:pt x="887399" y="583947"/>
                  <a:pt x="891043" y="578481"/>
                </a:cubicBezTo>
                <a:cubicBezTo>
                  <a:pt x="885577" y="576658"/>
                  <a:pt x="889222" y="583947"/>
                  <a:pt x="885577" y="585769"/>
                </a:cubicBezTo>
                <a:cubicBezTo>
                  <a:pt x="889222" y="580303"/>
                  <a:pt x="885577" y="576658"/>
                  <a:pt x="885577" y="571192"/>
                </a:cubicBezTo>
                <a:cubicBezTo>
                  <a:pt x="885577" y="573014"/>
                  <a:pt x="885577" y="574836"/>
                  <a:pt x="887399" y="576658"/>
                </a:cubicBezTo>
                <a:cubicBezTo>
                  <a:pt x="891043" y="571192"/>
                  <a:pt x="887399" y="567548"/>
                  <a:pt x="887399" y="563904"/>
                </a:cubicBezTo>
                <a:close/>
                <a:moveTo>
                  <a:pt x="537542" y="563904"/>
                </a:moveTo>
                <a:cubicBezTo>
                  <a:pt x="535719" y="569370"/>
                  <a:pt x="539364" y="573014"/>
                  <a:pt x="543008" y="576658"/>
                </a:cubicBezTo>
                <a:cubicBezTo>
                  <a:pt x="543008" y="573014"/>
                  <a:pt x="541186" y="569370"/>
                  <a:pt x="543008" y="565725"/>
                </a:cubicBezTo>
                <a:cubicBezTo>
                  <a:pt x="539364" y="563904"/>
                  <a:pt x="537542" y="563904"/>
                  <a:pt x="537542" y="563904"/>
                </a:cubicBezTo>
                <a:close/>
                <a:moveTo>
                  <a:pt x="2574049" y="563448"/>
                </a:moveTo>
                <a:cubicBezTo>
                  <a:pt x="2572455" y="563904"/>
                  <a:pt x="2571088" y="564815"/>
                  <a:pt x="2571088" y="565725"/>
                </a:cubicBezTo>
                <a:cubicBezTo>
                  <a:pt x="2569266" y="571192"/>
                  <a:pt x="2574732" y="573014"/>
                  <a:pt x="2572910" y="578481"/>
                </a:cubicBezTo>
                <a:cubicBezTo>
                  <a:pt x="2572910" y="578481"/>
                  <a:pt x="2572910" y="576658"/>
                  <a:pt x="2571088" y="576658"/>
                </a:cubicBezTo>
                <a:cubicBezTo>
                  <a:pt x="2571088" y="582125"/>
                  <a:pt x="2574732" y="587591"/>
                  <a:pt x="2576554" y="593058"/>
                </a:cubicBezTo>
                <a:cubicBezTo>
                  <a:pt x="2576554" y="587591"/>
                  <a:pt x="2580199" y="580303"/>
                  <a:pt x="2576554" y="574836"/>
                </a:cubicBezTo>
                <a:cubicBezTo>
                  <a:pt x="2582021" y="573014"/>
                  <a:pt x="2580199" y="567548"/>
                  <a:pt x="2578377" y="563904"/>
                </a:cubicBezTo>
                <a:cubicBezTo>
                  <a:pt x="2577466" y="562992"/>
                  <a:pt x="2575643" y="562992"/>
                  <a:pt x="2574049" y="563448"/>
                </a:cubicBezTo>
                <a:close/>
                <a:moveTo>
                  <a:pt x="602576" y="562819"/>
                </a:moveTo>
                <a:lnTo>
                  <a:pt x="602371" y="565014"/>
                </a:lnTo>
                <a:lnTo>
                  <a:pt x="595267" y="576236"/>
                </a:lnTo>
                <a:lnTo>
                  <a:pt x="597218" y="569826"/>
                </a:lnTo>
                <a:close/>
                <a:moveTo>
                  <a:pt x="2866923" y="562105"/>
                </a:moveTo>
                <a:lnTo>
                  <a:pt x="2869970" y="562218"/>
                </a:lnTo>
                <a:lnTo>
                  <a:pt x="2870625" y="564184"/>
                </a:lnTo>
                <a:lnTo>
                  <a:pt x="2869924" y="563904"/>
                </a:lnTo>
                <a:lnTo>
                  <a:pt x="2870661" y="566323"/>
                </a:lnTo>
                <a:close/>
                <a:moveTo>
                  <a:pt x="3320001" y="562081"/>
                </a:moveTo>
                <a:cubicBezTo>
                  <a:pt x="3320001" y="567548"/>
                  <a:pt x="3325468" y="569370"/>
                  <a:pt x="3329112" y="565725"/>
                </a:cubicBezTo>
                <a:cubicBezTo>
                  <a:pt x="3329112" y="567548"/>
                  <a:pt x="3325468" y="569370"/>
                  <a:pt x="3323646" y="571192"/>
                </a:cubicBezTo>
                <a:cubicBezTo>
                  <a:pt x="3320001" y="573014"/>
                  <a:pt x="3327290" y="565725"/>
                  <a:pt x="3320001" y="567548"/>
                </a:cubicBezTo>
                <a:cubicBezTo>
                  <a:pt x="3321824" y="571192"/>
                  <a:pt x="3329112" y="583947"/>
                  <a:pt x="3321824" y="591236"/>
                </a:cubicBezTo>
                <a:cubicBezTo>
                  <a:pt x="3320001" y="591236"/>
                  <a:pt x="3320001" y="589414"/>
                  <a:pt x="3320001" y="589414"/>
                </a:cubicBezTo>
                <a:cubicBezTo>
                  <a:pt x="3314535" y="591236"/>
                  <a:pt x="3318179" y="598524"/>
                  <a:pt x="3325468" y="589414"/>
                </a:cubicBezTo>
                <a:cubicBezTo>
                  <a:pt x="3327290" y="593058"/>
                  <a:pt x="3323646" y="593058"/>
                  <a:pt x="3321824" y="593058"/>
                </a:cubicBezTo>
                <a:cubicBezTo>
                  <a:pt x="3327290" y="594880"/>
                  <a:pt x="3329112" y="598524"/>
                  <a:pt x="3340045" y="596702"/>
                </a:cubicBezTo>
                <a:cubicBezTo>
                  <a:pt x="3343690" y="594880"/>
                  <a:pt x="3341867" y="591236"/>
                  <a:pt x="3345512" y="589414"/>
                </a:cubicBezTo>
                <a:cubicBezTo>
                  <a:pt x="3343690" y="585769"/>
                  <a:pt x="3340045" y="585769"/>
                  <a:pt x="3334579" y="585769"/>
                </a:cubicBezTo>
                <a:cubicBezTo>
                  <a:pt x="3334579" y="582125"/>
                  <a:pt x="3338223" y="578481"/>
                  <a:pt x="3336401" y="573014"/>
                </a:cubicBezTo>
                <a:cubicBezTo>
                  <a:pt x="3340045" y="573014"/>
                  <a:pt x="3340045" y="574836"/>
                  <a:pt x="3343690" y="573014"/>
                </a:cubicBezTo>
                <a:cubicBezTo>
                  <a:pt x="3343690" y="574836"/>
                  <a:pt x="3338223" y="578481"/>
                  <a:pt x="3341867" y="580303"/>
                </a:cubicBezTo>
                <a:cubicBezTo>
                  <a:pt x="3347334" y="576658"/>
                  <a:pt x="3349156" y="578481"/>
                  <a:pt x="3352800" y="580303"/>
                </a:cubicBezTo>
                <a:cubicBezTo>
                  <a:pt x="3354623" y="585769"/>
                  <a:pt x="3347334" y="593058"/>
                  <a:pt x="3356445" y="593058"/>
                </a:cubicBezTo>
                <a:cubicBezTo>
                  <a:pt x="3354623" y="585769"/>
                  <a:pt x="3358267" y="580303"/>
                  <a:pt x="3363734" y="576658"/>
                </a:cubicBezTo>
                <a:cubicBezTo>
                  <a:pt x="3363734" y="569370"/>
                  <a:pt x="3352800" y="573014"/>
                  <a:pt x="3350978" y="565725"/>
                </a:cubicBezTo>
                <a:cubicBezTo>
                  <a:pt x="3338223" y="565725"/>
                  <a:pt x="3332756" y="563904"/>
                  <a:pt x="3320001" y="562081"/>
                </a:cubicBezTo>
                <a:close/>
                <a:moveTo>
                  <a:pt x="2869924" y="562081"/>
                </a:moveTo>
                <a:lnTo>
                  <a:pt x="2870216" y="562227"/>
                </a:lnTo>
                <a:lnTo>
                  <a:pt x="2869970" y="562218"/>
                </a:lnTo>
                <a:close/>
                <a:moveTo>
                  <a:pt x="2463580" y="562081"/>
                </a:moveTo>
                <a:cubicBezTo>
                  <a:pt x="2459935" y="567548"/>
                  <a:pt x="2458113" y="565725"/>
                  <a:pt x="2454469" y="571192"/>
                </a:cubicBezTo>
                <a:cubicBezTo>
                  <a:pt x="2458113" y="574836"/>
                  <a:pt x="2469046" y="573014"/>
                  <a:pt x="2467224" y="563904"/>
                </a:cubicBezTo>
                <a:cubicBezTo>
                  <a:pt x="2465402" y="563904"/>
                  <a:pt x="2463580" y="563904"/>
                  <a:pt x="2463580" y="562081"/>
                </a:cubicBezTo>
                <a:close/>
                <a:moveTo>
                  <a:pt x="2370649" y="562081"/>
                </a:moveTo>
                <a:cubicBezTo>
                  <a:pt x="2368827" y="565725"/>
                  <a:pt x="2370649" y="574836"/>
                  <a:pt x="2368827" y="580303"/>
                </a:cubicBezTo>
                <a:cubicBezTo>
                  <a:pt x="2372471" y="580303"/>
                  <a:pt x="2374293" y="563904"/>
                  <a:pt x="2370649" y="562081"/>
                </a:cubicBezTo>
                <a:close/>
                <a:moveTo>
                  <a:pt x="2352427" y="562081"/>
                </a:moveTo>
                <a:cubicBezTo>
                  <a:pt x="2348782" y="563904"/>
                  <a:pt x="2348782" y="569370"/>
                  <a:pt x="2346960" y="573014"/>
                </a:cubicBezTo>
                <a:cubicBezTo>
                  <a:pt x="2352427" y="571192"/>
                  <a:pt x="2352427" y="574836"/>
                  <a:pt x="2357893" y="573014"/>
                </a:cubicBezTo>
                <a:cubicBezTo>
                  <a:pt x="2357893" y="565725"/>
                  <a:pt x="2352427" y="571192"/>
                  <a:pt x="2352427" y="562081"/>
                </a:cubicBezTo>
                <a:close/>
                <a:moveTo>
                  <a:pt x="739803" y="562081"/>
                </a:moveTo>
                <a:lnTo>
                  <a:pt x="740002" y="562456"/>
                </a:lnTo>
                <a:lnTo>
                  <a:pt x="739739" y="562306"/>
                </a:lnTo>
                <a:close/>
                <a:moveTo>
                  <a:pt x="2866311" y="561415"/>
                </a:moveTo>
                <a:lnTo>
                  <a:pt x="2866923" y="562105"/>
                </a:lnTo>
                <a:lnTo>
                  <a:pt x="2866280" y="562081"/>
                </a:lnTo>
                <a:close/>
                <a:moveTo>
                  <a:pt x="972050" y="561344"/>
                </a:moveTo>
                <a:lnTo>
                  <a:pt x="970536" y="563220"/>
                </a:lnTo>
                <a:lnTo>
                  <a:pt x="964088" y="568420"/>
                </a:lnTo>
                <a:close/>
                <a:moveTo>
                  <a:pt x="3239826" y="560260"/>
                </a:moveTo>
                <a:cubicBezTo>
                  <a:pt x="3239826" y="562081"/>
                  <a:pt x="3236181" y="562081"/>
                  <a:pt x="3234359" y="562081"/>
                </a:cubicBezTo>
                <a:cubicBezTo>
                  <a:pt x="3234359" y="565725"/>
                  <a:pt x="3238003" y="565725"/>
                  <a:pt x="3238003" y="567548"/>
                </a:cubicBezTo>
                <a:cubicBezTo>
                  <a:pt x="3241648" y="567548"/>
                  <a:pt x="3241648" y="563904"/>
                  <a:pt x="3239826" y="560260"/>
                </a:cubicBezTo>
                <a:close/>
                <a:moveTo>
                  <a:pt x="1188058" y="560260"/>
                </a:moveTo>
                <a:cubicBezTo>
                  <a:pt x="1178947" y="571192"/>
                  <a:pt x="1171658" y="580303"/>
                  <a:pt x="1173481" y="587591"/>
                </a:cubicBezTo>
                <a:cubicBezTo>
                  <a:pt x="1175303" y="587591"/>
                  <a:pt x="1175303" y="585769"/>
                  <a:pt x="1177125" y="585769"/>
                </a:cubicBezTo>
                <a:cubicBezTo>
                  <a:pt x="1178947" y="589414"/>
                  <a:pt x="1171658" y="589414"/>
                  <a:pt x="1171658" y="593058"/>
                </a:cubicBezTo>
                <a:cubicBezTo>
                  <a:pt x="1175303" y="593058"/>
                  <a:pt x="1180769" y="589414"/>
                  <a:pt x="1180769" y="585769"/>
                </a:cubicBezTo>
                <a:cubicBezTo>
                  <a:pt x="1184414" y="591236"/>
                  <a:pt x="1177125" y="594880"/>
                  <a:pt x="1173481" y="596702"/>
                </a:cubicBezTo>
                <a:cubicBezTo>
                  <a:pt x="1173481" y="598524"/>
                  <a:pt x="1173481" y="600347"/>
                  <a:pt x="1175303" y="602169"/>
                </a:cubicBezTo>
                <a:cubicBezTo>
                  <a:pt x="1177125" y="598524"/>
                  <a:pt x="1177125" y="602169"/>
                  <a:pt x="1177125" y="603991"/>
                </a:cubicBezTo>
                <a:cubicBezTo>
                  <a:pt x="1180769" y="600347"/>
                  <a:pt x="1184414" y="593058"/>
                  <a:pt x="1186236" y="587591"/>
                </a:cubicBezTo>
                <a:cubicBezTo>
                  <a:pt x="1188058" y="578481"/>
                  <a:pt x="1191703" y="567548"/>
                  <a:pt x="1188058" y="560260"/>
                </a:cubicBezTo>
                <a:close/>
                <a:moveTo>
                  <a:pt x="1180769" y="560260"/>
                </a:moveTo>
                <a:cubicBezTo>
                  <a:pt x="1173481" y="563904"/>
                  <a:pt x="1173481" y="573014"/>
                  <a:pt x="1171658" y="578481"/>
                </a:cubicBezTo>
                <a:cubicBezTo>
                  <a:pt x="1177125" y="574836"/>
                  <a:pt x="1180769" y="567548"/>
                  <a:pt x="1180769" y="560260"/>
                </a:cubicBezTo>
                <a:close/>
                <a:moveTo>
                  <a:pt x="1164370" y="560260"/>
                </a:moveTo>
                <a:cubicBezTo>
                  <a:pt x="1164370" y="562081"/>
                  <a:pt x="1166192" y="563904"/>
                  <a:pt x="1164370" y="565725"/>
                </a:cubicBezTo>
                <a:lnTo>
                  <a:pt x="1163993" y="564971"/>
                </a:lnTo>
                <a:lnTo>
                  <a:pt x="1163545" y="561910"/>
                </a:lnTo>
                <a:close/>
                <a:moveTo>
                  <a:pt x="1120637" y="560260"/>
                </a:moveTo>
                <a:cubicBezTo>
                  <a:pt x="1118815" y="563904"/>
                  <a:pt x="1115171" y="563904"/>
                  <a:pt x="1115171" y="565725"/>
                </a:cubicBezTo>
                <a:cubicBezTo>
                  <a:pt x="1115171" y="567548"/>
                  <a:pt x="1113349" y="567548"/>
                  <a:pt x="1113349" y="567548"/>
                </a:cubicBezTo>
                <a:cubicBezTo>
                  <a:pt x="1111526" y="569370"/>
                  <a:pt x="1111526" y="571192"/>
                  <a:pt x="1113349" y="573014"/>
                </a:cubicBezTo>
                <a:cubicBezTo>
                  <a:pt x="1115171" y="569370"/>
                  <a:pt x="1116993" y="567548"/>
                  <a:pt x="1115171" y="565725"/>
                </a:cubicBezTo>
                <a:lnTo>
                  <a:pt x="1120220" y="565726"/>
                </a:lnTo>
                <a:lnTo>
                  <a:pt x="1118132" y="567776"/>
                </a:lnTo>
                <a:cubicBezTo>
                  <a:pt x="1116082" y="571192"/>
                  <a:pt x="1114260" y="576659"/>
                  <a:pt x="1113349" y="580303"/>
                </a:cubicBezTo>
                <a:cubicBezTo>
                  <a:pt x="1111526" y="580303"/>
                  <a:pt x="1113349" y="580303"/>
                  <a:pt x="1111526" y="582125"/>
                </a:cubicBezTo>
                <a:cubicBezTo>
                  <a:pt x="1113349" y="580303"/>
                  <a:pt x="1116993" y="578481"/>
                  <a:pt x="1118815" y="576658"/>
                </a:cubicBezTo>
                <a:cubicBezTo>
                  <a:pt x="1116993" y="578481"/>
                  <a:pt x="1116993" y="580303"/>
                  <a:pt x="1120637" y="582125"/>
                </a:cubicBezTo>
                <a:cubicBezTo>
                  <a:pt x="1124282" y="580303"/>
                  <a:pt x="1126104" y="574836"/>
                  <a:pt x="1124282" y="573014"/>
                </a:cubicBezTo>
                <a:cubicBezTo>
                  <a:pt x="1124282" y="573014"/>
                  <a:pt x="1122459" y="574836"/>
                  <a:pt x="1122459" y="574836"/>
                </a:cubicBezTo>
                <a:cubicBezTo>
                  <a:pt x="1124282" y="573014"/>
                  <a:pt x="1126104" y="569370"/>
                  <a:pt x="1124282" y="567548"/>
                </a:cubicBezTo>
                <a:lnTo>
                  <a:pt x="1122388" y="565726"/>
                </a:lnTo>
                <a:lnTo>
                  <a:pt x="1126104" y="565725"/>
                </a:lnTo>
                <a:cubicBezTo>
                  <a:pt x="1127926" y="562081"/>
                  <a:pt x="1122459" y="560260"/>
                  <a:pt x="1120637" y="560260"/>
                </a:cubicBezTo>
                <a:close/>
                <a:moveTo>
                  <a:pt x="559408" y="560260"/>
                </a:moveTo>
                <a:cubicBezTo>
                  <a:pt x="557586" y="562081"/>
                  <a:pt x="555763" y="563904"/>
                  <a:pt x="557586" y="565725"/>
                </a:cubicBezTo>
                <a:cubicBezTo>
                  <a:pt x="559408" y="565725"/>
                  <a:pt x="561230" y="563904"/>
                  <a:pt x="561230" y="562081"/>
                </a:cubicBezTo>
                <a:cubicBezTo>
                  <a:pt x="561230" y="562081"/>
                  <a:pt x="559408" y="562081"/>
                  <a:pt x="559408" y="560260"/>
                </a:cubicBezTo>
                <a:close/>
                <a:moveTo>
                  <a:pt x="2663651" y="560175"/>
                </a:moveTo>
                <a:lnTo>
                  <a:pt x="2664019" y="560260"/>
                </a:lnTo>
                <a:lnTo>
                  <a:pt x="2662828" y="566217"/>
                </a:lnTo>
                <a:lnTo>
                  <a:pt x="2662425" y="565954"/>
                </a:lnTo>
                <a:close/>
                <a:moveTo>
                  <a:pt x="1998925" y="558437"/>
                </a:moveTo>
                <a:cubicBezTo>
                  <a:pt x="1997103" y="558437"/>
                  <a:pt x="1998925" y="567548"/>
                  <a:pt x="2000747" y="567548"/>
                </a:cubicBezTo>
                <a:cubicBezTo>
                  <a:pt x="2006214" y="569370"/>
                  <a:pt x="1998925" y="562081"/>
                  <a:pt x="1998925" y="558437"/>
                </a:cubicBezTo>
                <a:close/>
                <a:moveTo>
                  <a:pt x="1344765" y="558437"/>
                </a:moveTo>
                <a:lnTo>
                  <a:pt x="1344765" y="568277"/>
                </a:lnTo>
                <a:lnTo>
                  <a:pt x="1344309" y="566637"/>
                </a:lnTo>
                <a:cubicBezTo>
                  <a:pt x="1344309" y="563904"/>
                  <a:pt x="1344765" y="561171"/>
                  <a:pt x="1344765" y="558437"/>
                </a:cubicBezTo>
                <a:close/>
                <a:moveTo>
                  <a:pt x="1080549" y="558437"/>
                </a:moveTo>
                <a:lnTo>
                  <a:pt x="1095542" y="583424"/>
                </a:lnTo>
                <a:lnTo>
                  <a:pt x="1091028" y="587592"/>
                </a:lnTo>
                <a:lnTo>
                  <a:pt x="1090086" y="589206"/>
                </a:lnTo>
                <a:lnTo>
                  <a:pt x="1089205" y="584175"/>
                </a:lnTo>
                <a:cubicBezTo>
                  <a:pt x="1085561" y="577570"/>
                  <a:pt x="1077816" y="571192"/>
                  <a:pt x="1071439" y="567548"/>
                </a:cubicBezTo>
                <a:cubicBezTo>
                  <a:pt x="1078727" y="565725"/>
                  <a:pt x="1078727" y="573014"/>
                  <a:pt x="1084194" y="573014"/>
                </a:cubicBezTo>
                <a:cubicBezTo>
                  <a:pt x="1084194" y="569370"/>
                  <a:pt x="1082373" y="563904"/>
                  <a:pt x="1080549" y="558437"/>
                </a:cubicBezTo>
                <a:close/>
                <a:moveTo>
                  <a:pt x="903799" y="558437"/>
                </a:moveTo>
                <a:cubicBezTo>
                  <a:pt x="903799" y="560260"/>
                  <a:pt x="901976" y="563904"/>
                  <a:pt x="901976" y="565725"/>
                </a:cubicBezTo>
                <a:cubicBezTo>
                  <a:pt x="903799" y="563904"/>
                  <a:pt x="903799" y="562081"/>
                  <a:pt x="907444" y="560260"/>
                </a:cubicBezTo>
                <a:cubicBezTo>
                  <a:pt x="907444" y="558437"/>
                  <a:pt x="905621" y="560260"/>
                  <a:pt x="905621" y="560260"/>
                </a:cubicBezTo>
                <a:cubicBezTo>
                  <a:pt x="903799" y="560260"/>
                  <a:pt x="905621" y="558437"/>
                  <a:pt x="903799" y="558437"/>
                </a:cubicBezTo>
                <a:close/>
                <a:moveTo>
                  <a:pt x="741626" y="558437"/>
                </a:moveTo>
                <a:cubicBezTo>
                  <a:pt x="744358" y="559348"/>
                  <a:pt x="745725" y="561171"/>
                  <a:pt x="747092" y="562765"/>
                </a:cubicBezTo>
                <a:lnTo>
                  <a:pt x="747370" y="562915"/>
                </a:lnTo>
                <a:lnTo>
                  <a:pt x="748914" y="567548"/>
                </a:lnTo>
                <a:lnTo>
                  <a:pt x="743581" y="564501"/>
                </a:lnTo>
                <a:close/>
                <a:moveTo>
                  <a:pt x="710648" y="558437"/>
                </a:moveTo>
                <a:cubicBezTo>
                  <a:pt x="707004" y="563904"/>
                  <a:pt x="701537" y="573014"/>
                  <a:pt x="712470" y="576658"/>
                </a:cubicBezTo>
                <a:cubicBezTo>
                  <a:pt x="712470" y="571192"/>
                  <a:pt x="716115" y="576658"/>
                  <a:pt x="717937" y="574836"/>
                </a:cubicBezTo>
                <a:lnTo>
                  <a:pt x="717198" y="572376"/>
                </a:lnTo>
                <a:lnTo>
                  <a:pt x="719759" y="578481"/>
                </a:lnTo>
                <a:cubicBezTo>
                  <a:pt x="723404" y="573014"/>
                  <a:pt x="714293" y="563904"/>
                  <a:pt x="710648" y="558437"/>
                </a:cubicBezTo>
                <a:close/>
                <a:moveTo>
                  <a:pt x="544830" y="558437"/>
                </a:moveTo>
                <a:cubicBezTo>
                  <a:pt x="543008" y="560260"/>
                  <a:pt x="544830" y="562081"/>
                  <a:pt x="544830" y="565725"/>
                </a:cubicBezTo>
                <a:cubicBezTo>
                  <a:pt x="546653" y="567548"/>
                  <a:pt x="548475" y="567548"/>
                  <a:pt x="550297" y="567548"/>
                </a:cubicBezTo>
                <a:cubicBezTo>
                  <a:pt x="550297" y="563904"/>
                  <a:pt x="546653" y="562081"/>
                  <a:pt x="544830" y="558437"/>
                </a:cubicBezTo>
                <a:close/>
                <a:moveTo>
                  <a:pt x="508387" y="558437"/>
                </a:moveTo>
                <a:lnTo>
                  <a:pt x="514427" y="562320"/>
                </a:lnTo>
                <a:lnTo>
                  <a:pt x="514992" y="562992"/>
                </a:lnTo>
                <a:cubicBezTo>
                  <a:pt x="517953" y="565270"/>
                  <a:pt x="520231" y="567548"/>
                  <a:pt x="519320" y="573014"/>
                </a:cubicBezTo>
                <a:lnTo>
                  <a:pt x="512802" y="567758"/>
                </a:lnTo>
                <a:close/>
                <a:moveTo>
                  <a:pt x="1114602" y="557980"/>
                </a:moveTo>
                <a:lnTo>
                  <a:pt x="1114032" y="559348"/>
                </a:lnTo>
                <a:cubicBezTo>
                  <a:pt x="1113804" y="560260"/>
                  <a:pt x="1113348" y="561171"/>
                  <a:pt x="1111526" y="562081"/>
                </a:cubicBezTo>
                <a:close/>
                <a:moveTo>
                  <a:pt x="653522" y="557896"/>
                </a:moveTo>
                <a:lnTo>
                  <a:pt x="654161" y="559576"/>
                </a:lnTo>
                <a:cubicBezTo>
                  <a:pt x="653250" y="561626"/>
                  <a:pt x="651427" y="563903"/>
                  <a:pt x="650516" y="565725"/>
                </a:cubicBezTo>
                <a:lnTo>
                  <a:pt x="650972" y="562994"/>
                </a:lnTo>
                <a:close/>
                <a:moveTo>
                  <a:pt x="1147242" y="557709"/>
                </a:moveTo>
                <a:lnTo>
                  <a:pt x="1147742" y="558210"/>
                </a:lnTo>
                <a:cubicBezTo>
                  <a:pt x="1148425" y="558437"/>
                  <a:pt x="1148881" y="558437"/>
                  <a:pt x="1147970" y="558437"/>
                </a:cubicBezTo>
                <a:close/>
                <a:moveTo>
                  <a:pt x="1142503" y="556616"/>
                </a:moveTo>
                <a:cubicBezTo>
                  <a:pt x="1140681" y="554792"/>
                  <a:pt x="1138859" y="560260"/>
                  <a:pt x="1137037" y="560260"/>
                </a:cubicBezTo>
                <a:cubicBezTo>
                  <a:pt x="1138859" y="562081"/>
                  <a:pt x="1140681" y="562081"/>
                  <a:pt x="1142503" y="563904"/>
                </a:cubicBezTo>
                <a:cubicBezTo>
                  <a:pt x="1144326" y="560260"/>
                  <a:pt x="1142503" y="558437"/>
                  <a:pt x="1142503" y="556616"/>
                </a:cubicBezTo>
                <a:close/>
                <a:moveTo>
                  <a:pt x="470121" y="556616"/>
                </a:moveTo>
                <a:cubicBezTo>
                  <a:pt x="462832" y="571192"/>
                  <a:pt x="479232" y="567548"/>
                  <a:pt x="486521" y="569370"/>
                </a:cubicBezTo>
                <a:cubicBezTo>
                  <a:pt x="482876" y="567548"/>
                  <a:pt x="482876" y="562081"/>
                  <a:pt x="477410" y="563904"/>
                </a:cubicBezTo>
                <a:cubicBezTo>
                  <a:pt x="475589" y="560260"/>
                  <a:pt x="479232" y="560260"/>
                  <a:pt x="477410" y="558437"/>
                </a:cubicBezTo>
                <a:cubicBezTo>
                  <a:pt x="479232" y="558437"/>
                  <a:pt x="475589" y="558437"/>
                  <a:pt x="475589" y="558437"/>
                </a:cubicBezTo>
                <a:cubicBezTo>
                  <a:pt x="473766" y="560260"/>
                  <a:pt x="473766" y="563904"/>
                  <a:pt x="475589" y="565725"/>
                </a:cubicBezTo>
                <a:cubicBezTo>
                  <a:pt x="471943" y="562081"/>
                  <a:pt x="471943" y="560260"/>
                  <a:pt x="470121" y="556616"/>
                </a:cubicBezTo>
                <a:close/>
                <a:moveTo>
                  <a:pt x="464655" y="556616"/>
                </a:moveTo>
                <a:cubicBezTo>
                  <a:pt x="462832" y="560260"/>
                  <a:pt x="462832" y="565725"/>
                  <a:pt x="468299" y="565725"/>
                </a:cubicBezTo>
                <a:cubicBezTo>
                  <a:pt x="468299" y="562081"/>
                  <a:pt x="466478" y="558437"/>
                  <a:pt x="464655" y="556616"/>
                </a:cubicBezTo>
                <a:close/>
                <a:moveTo>
                  <a:pt x="442789" y="556616"/>
                </a:moveTo>
                <a:lnTo>
                  <a:pt x="444594" y="558381"/>
                </a:lnTo>
                <a:lnTo>
                  <a:pt x="444611" y="558437"/>
                </a:lnTo>
                <a:close/>
                <a:moveTo>
                  <a:pt x="2419354" y="555156"/>
                </a:moveTo>
                <a:lnTo>
                  <a:pt x="2419303" y="556864"/>
                </a:lnTo>
                <a:lnTo>
                  <a:pt x="2417342" y="557071"/>
                </a:lnTo>
                <a:lnTo>
                  <a:pt x="2415616" y="555742"/>
                </a:lnTo>
                <a:close/>
                <a:moveTo>
                  <a:pt x="2930056" y="554792"/>
                </a:moveTo>
                <a:cubicBezTo>
                  <a:pt x="2930056" y="556616"/>
                  <a:pt x="2930056" y="558437"/>
                  <a:pt x="2930056" y="560260"/>
                </a:cubicBezTo>
                <a:cubicBezTo>
                  <a:pt x="2933700" y="562081"/>
                  <a:pt x="2937345" y="562081"/>
                  <a:pt x="2933700" y="567548"/>
                </a:cubicBezTo>
                <a:cubicBezTo>
                  <a:pt x="2935523" y="565725"/>
                  <a:pt x="2942811" y="569370"/>
                  <a:pt x="2942811" y="563904"/>
                </a:cubicBezTo>
                <a:cubicBezTo>
                  <a:pt x="2935523" y="563904"/>
                  <a:pt x="2939167" y="554792"/>
                  <a:pt x="2930056" y="554792"/>
                </a:cubicBezTo>
                <a:close/>
                <a:moveTo>
                  <a:pt x="2640330" y="554792"/>
                </a:moveTo>
                <a:cubicBezTo>
                  <a:pt x="2634864" y="556616"/>
                  <a:pt x="2640330" y="562081"/>
                  <a:pt x="2645797" y="563904"/>
                </a:cubicBezTo>
                <a:cubicBezTo>
                  <a:pt x="2645797" y="560260"/>
                  <a:pt x="2645797" y="558437"/>
                  <a:pt x="2645797" y="554792"/>
                </a:cubicBezTo>
                <a:cubicBezTo>
                  <a:pt x="2642153" y="552970"/>
                  <a:pt x="2640330" y="565725"/>
                  <a:pt x="2640330" y="554792"/>
                </a:cubicBezTo>
                <a:close/>
                <a:moveTo>
                  <a:pt x="2314161" y="554792"/>
                </a:moveTo>
                <a:cubicBezTo>
                  <a:pt x="2310517" y="556616"/>
                  <a:pt x="2315983" y="562081"/>
                  <a:pt x="2315983" y="565725"/>
                </a:cubicBezTo>
                <a:cubicBezTo>
                  <a:pt x="2319628" y="565725"/>
                  <a:pt x="2319628" y="562081"/>
                  <a:pt x="2321450" y="560260"/>
                </a:cubicBezTo>
                <a:cubicBezTo>
                  <a:pt x="2315983" y="562081"/>
                  <a:pt x="2317806" y="551148"/>
                  <a:pt x="2314161" y="554792"/>
                </a:cubicBezTo>
                <a:close/>
                <a:moveTo>
                  <a:pt x="1198991" y="554792"/>
                </a:moveTo>
                <a:cubicBezTo>
                  <a:pt x="1197169" y="556616"/>
                  <a:pt x="1195346" y="560260"/>
                  <a:pt x="1195346" y="562081"/>
                </a:cubicBezTo>
                <a:cubicBezTo>
                  <a:pt x="1197169" y="562081"/>
                  <a:pt x="1197169" y="562081"/>
                  <a:pt x="1198991" y="560260"/>
                </a:cubicBezTo>
                <a:cubicBezTo>
                  <a:pt x="1193525" y="565725"/>
                  <a:pt x="1189880" y="574836"/>
                  <a:pt x="1195346" y="583947"/>
                </a:cubicBezTo>
                <a:cubicBezTo>
                  <a:pt x="1197169" y="583947"/>
                  <a:pt x="1197169" y="582125"/>
                  <a:pt x="1197169" y="580303"/>
                </a:cubicBezTo>
                <a:cubicBezTo>
                  <a:pt x="1197169" y="582125"/>
                  <a:pt x="1197169" y="583947"/>
                  <a:pt x="1195346" y="585769"/>
                </a:cubicBezTo>
                <a:cubicBezTo>
                  <a:pt x="1198991" y="585769"/>
                  <a:pt x="1198991" y="580303"/>
                  <a:pt x="1200814" y="578481"/>
                </a:cubicBezTo>
                <a:cubicBezTo>
                  <a:pt x="1197169" y="576658"/>
                  <a:pt x="1195346" y="573014"/>
                  <a:pt x="1193525" y="571192"/>
                </a:cubicBezTo>
                <a:cubicBezTo>
                  <a:pt x="1195346" y="573014"/>
                  <a:pt x="1198991" y="574836"/>
                  <a:pt x="1200814" y="576658"/>
                </a:cubicBezTo>
                <a:cubicBezTo>
                  <a:pt x="1202636" y="574836"/>
                  <a:pt x="1202636" y="571192"/>
                  <a:pt x="1206279" y="571192"/>
                </a:cubicBezTo>
                <a:cubicBezTo>
                  <a:pt x="1200814" y="567548"/>
                  <a:pt x="1202636" y="560260"/>
                  <a:pt x="1198991" y="554792"/>
                </a:cubicBezTo>
                <a:close/>
                <a:moveTo>
                  <a:pt x="1182592" y="554792"/>
                </a:moveTo>
                <a:cubicBezTo>
                  <a:pt x="1180769" y="556616"/>
                  <a:pt x="1180769" y="560260"/>
                  <a:pt x="1182592" y="565725"/>
                </a:cubicBezTo>
                <a:cubicBezTo>
                  <a:pt x="1184414" y="563904"/>
                  <a:pt x="1186236" y="562081"/>
                  <a:pt x="1186236" y="560260"/>
                </a:cubicBezTo>
                <a:cubicBezTo>
                  <a:pt x="1184414" y="558437"/>
                  <a:pt x="1184414" y="556616"/>
                  <a:pt x="1182592" y="554792"/>
                </a:cubicBezTo>
                <a:close/>
                <a:moveTo>
                  <a:pt x="1124282" y="554792"/>
                </a:moveTo>
                <a:cubicBezTo>
                  <a:pt x="1122459" y="558437"/>
                  <a:pt x="1127926" y="562081"/>
                  <a:pt x="1129748" y="560260"/>
                </a:cubicBezTo>
                <a:cubicBezTo>
                  <a:pt x="1133393" y="556616"/>
                  <a:pt x="1126104" y="554792"/>
                  <a:pt x="1124282" y="554792"/>
                </a:cubicBezTo>
                <a:close/>
                <a:moveTo>
                  <a:pt x="1116993" y="554792"/>
                </a:moveTo>
                <a:lnTo>
                  <a:pt x="1114602" y="557980"/>
                </a:lnTo>
                <a:lnTo>
                  <a:pt x="1115171" y="556616"/>
                </a:lnTo>
                <a:cubicBezTo>
                  <a:pt x="1113349" y="554792"/>
                  <a:pt x="1109704" y="560260"/>
                  <a:pt x="1111526" y="562081"/>
                </a:cubicBezTo>
                <a:cubicBezTo>
                  <a:pt x="1109704" y="565725"/>
                  <a:pt x="1120637" y="556616"/>
                  <a:pt x="1116993" y="554792"/>
                </a:cubicBezTo>
                <a:close/>
                <a:moveTo>
                  <a:pt x="829089" y="554792"/>
                </a:moveTo>
                <a:lnTo>
                  <a:pt x="829187" y="554923"/>
                </a:lnTo>
                <a:lnTo>
                  <a:pt x="829089" y="558437"/>
                </a:lnTo>
                <a:lnTo>
                  <a:pt x="828144" y="558437"/>
                </a:lnTo>
                <a:close/>
                <a:moveTo>
                  <a:pt x="3436621" y="554565"/>
                </a:moveTo>
                <a:cubicBezTo>
                  <a:pt x="3435710" y="554793"/>
                  <a:pt x="3434799" y="555704"/>
                  <a:pt x="3432976" y="554792"/>
                </a:cubicBezTo>
                <a:cubicBezTo>
                  <a:pt x="3432976" y="558437"/>
                  <a:pt x="3434798" y="558437"/>
                  <a:pt x="3434798" y="560260"/>
                </a:cubicBezTo>
                <a:cubicBezTo>
                  <a:pt x="3436621" y="560260"/>
                  <a:pt x="3438443" y="558437"/>
                  <a:pt x="3440265" y="558437"/>
                </a:cubicBezTo>
                <a:cubicBezTo>
                  <a:pt x="3438443" y="554793"/>
                  <a:pt x="3437532" y="554337"/>
                  <a:pt x="3436621" y="554565"/>
                </a:cubicBezTo>
                <a:close/>
                <a:moveTo>
                  <a:pt x="778791" y="554174"/>
                </a:moveTo>
                <a:lnTo>
                  <a:pt x="780056" y="556284"/>
                </a:lnTo>
                <a:lnTo>
                  <a:pt x="778659" y="555236"/>
                </a:lnTo>
                <a:lnTo>
                  <a:pt x="778457" y="554460"/>
                </a:lnTo>
                <a:close/>
                <a:moveTo>
                  <a:pt x="2374293" y="552970"/>
                </a:moveTo>
                <a:cubicBezTo>
                  <a:pt x="2377937" y="562081"/>
                  <a:pt x="2377937" y="560260"/>
                  <a:pt x="2377937" y="573014"/>
                </a:cubicBezTo>
                <a:cubicBezTo>
                  <a:pt x="2379760" y="574836"/>
                  <a:pt x="2377937" y="562081"/>
                  <a:pt x="2381582" y="562081"/>
                </a:cubicBezTo>
                <a:cubicBezTo>
                  <a:pt x="2379760" y="558437"/>
                  <a:pt x="2379760" y="552970"/>
                  <a:pt x="2374293" y="552970"/>
                </a:cubicBezTo>
                <a:close/>
                <a:moveTo>
                  <a:pt x="1893239" y="552970"/>
                </a:moveTo>
                <a:cubicBezTo>
                  <a:pt x="1895061" y="556616"/>
                  <a:pt x="1891417" y="556616"/>
                  <a:pt x="1893239" y="560260"/>
                </a:cubicBezTo>
                <a:cubicBezTo>
                  <a:pt x="1898706" y="560260"/>
                  <a:pt x="1904172" y="562081"/>
                  <a:pt x="1904172" y="554792"/>
                </a:cubicBezTo>
                <a:cubicBezTo>
                  <a:pt x="1900528" y="552970"/>
                  <a:pt x="1896883" y="552970"/>
                  <a:pt x="1893239" y="552970"/>
                </a:cubicBezTo>
                <a:close/>
                <a:moveTo>
                  <a:pt x="1127926" y="552970"/>
                </a:moveTo>
                <a:cubicBezTo>
                  <a:pt x="1124282" y="556616"/>
                  <a:pt x="1129748" y="554792"/>
                  <a:pt x="1131570" y="556616"/>
                </a:cubicBezTo>
                <a:cubicBezTo>
                  <a:pt x="1133393" y="554792"/>
                  <a:pt x="1129748" y="551148"/>
                  <a:pt x="1127926" y="552970"/>
                </a:cubicBezTo>
                <a:close/>
                <a:moveTo>
                  <a:pt x="916555" y="552970"/>
                </a:moveTo>
                <a:cubicBezTo>
                  <a:pt x="911087" y="560260"/>
                  <a:pt x="911087" y="567548"/>
                  <a:pt x="905621" y="574836"/>
                </a:cubicBezTo>
                <a:cubicBezTo>
                  <a:pt x="911087" y="574836"/>
                  <a:pt x="912909" y="567548"/>
                  <a:pt x="916555" y="565725"/>
                </a:cubicBezTo>
                <a:cubicBezTo>
                  <a:pt x="914732" y="565725"/>
                  <a:pt x="914732" y="563904"/>
                  <a:pt x="912909" y="562081"/>
                </a:cubicBezTo>
                <a:cubicBezTo>
                  <a:pt x="918376" y="563904"/>
                  <a:pt x="914732" y="552970"/>
                  <a:pt x="918376" y="556616"/>
                </a:cubicBezTo>
                <a:cubicBezTo>
                  <a:pt x="918376" y="558437"/>
                  <a:pt x="916555" y="563904"/>
                  <a:pt x="920198" y="563904"/>
                </a:cubicBezTo>
                <a:cubicBezTo>
                  <a:pt x="922020" y="560260"/>
                  <a:pt x="920198" y="558437"/>
                  <a:pt x="918376" y="556616"/>
                </a:cubicBezTo>
                <a:cubicBezTo>
                  <a:pt x="918376" y="554792"/>
                  <a:pt x="918376" y="551148"/>
                  <a:pt x="916555" y="552970"/>
                </a:cubicBezTo>
                <a:close/>
                <a:moveTo>
                  <a:pt x="2566504" y="551746"/>
                </a:moveTo>
                <a:cubicBezTo>
                  <a:pt x="2565963" y="552401"/>
                  <a:pt x="2565621" y="553882"/>
                  <a:pt x="2565621" y="556616"/>
                </a:cubicBezTo>
                <a:cubicBezTo>
                  <a:pt x="2569266" y="556616"/>
                  <a:pt x="2571088" y="560260"/>
                  <a:pt x="2572910" y="556616"/>
                </a:cubicBezTo>
                <a:cubicBezTo>
                  <a:pt x="2571999" y="555704"/>
                  <a:pt x="2570177" y="552971"/>
                  <a:pt x="2568583" y="551832"/>
                </a:cubicBezTo>
                <a:cubicBezTo>
                  <a:pt x="2567786" y="551263"/>
                  <a:pt x="2567045" y="551092"/>
                  <a:pt x="2566504" y="551746"/>
                </a:cubicBezTo>
                <a:close/>
                <a:moveTo>
                  <a:pt x="2924590" y="551148"/>
                </a:moveTo>
                <a:cubicBezTo>
                  <a:pt x="2913656" y="552970"/>
                  <a:pt x="2917301" y="558437"/>
                  <a:pt x="2910012" y="567548"/>
                </a:cubicBezTo>
                <a:cubicBezTo>
                  <a:pt x="2913656" y="567548"/>
                  <a:pt x="2917301" y="569370"/>
                  <a:pt x="2922767" y="567548"/>
                </a:cubicBezTo>
                <a:cubicBezTo>
                  <a:pt x="2922767" y="560260"/>
                  <a:pt x="2924590" y="556616"/>
                  <a:pt x="2924590" y="551148"/>
                </a:cubicBezTo>
                <a:close/>
                <a:moveTo>
                  <a:pt x="2667663" y="551148"/>
                </a:moveTo>
                <a:cubicBezTo>
                  <a:pt x="2662197" y="551148"/>
                  <a:pt x="2665841" y="558437"/>
                  <a:pt x="2665841" y="560260"/>
                </a:cubicBezTo>
                <a:cubicBezTo>
                  <a:pt x="2671307" y="560260"/>
                  <a:pt x="2667663" y="558437"/>
                  <a:pt x="2667663" y="551148"/>
                </a:cubicBezTo>
                <a:close/>
                <a:moveTo>
                  <a:pt x="2478157" y="551148"/>
                </a:moveTo>
                <a:cubicBezTo>
                  <a:pt x="2474513" y="551148"/>
                  <a:pt x="2472690" y="551148"/>
                  <a:pt x="2472690" y="556616"/>
                </a:cubicBezTo>
                <a:cubicBezTo>
                  <a:pt x="2478157" y="558437"/>
                  <a:pt x="2479979" y="562081"/>
                  <a:pt x="2478157" y="551148"/>
                </a:cubicBezTo>
                <a:close/>
                <a:moveTo>
                  <a:pt x="2088212" y="551148"/>
                </a:moveTo>
                <a:cubicBezTo>
                  <a:pt x="2088212" y="552970"/>
                  <a:pt x="2086390" y="558437"/>
                  <a:pt x="2084568" y="552970"/>
                </a:cubicBezTo>
                <a:cubicBezTo>
                  <a:pt x="2082745" y="554792"/>
                  <a:pt x="2088212" y="563904"/>
                  <a:pt x="2091856" y="565725"/>
                </a:cubicBezTo>
                <a:cubicBezTo>
                  <a:pt x="2090034" y="558437"/>
                  <a:pt x="2090034" y="558437"/>
                  <a:pt x="2088212" y="551148"/>
                </a:cubicBezTo>
                <a:close/>
                <a:moveTo>
                  <a:pt x="1876839" y="551148"/>
                </a:moveTo>
                <a:cubicBezTo>
                  <a:pt x="1876839" y="552970"/>
                  <a:pt x="1875017" y="552970"/>
                  <a:pt x="1875017" y="552970"/>
                </a:cubicBezTo>
                <a:lnTo>
                  <a:pt x="1875017" y="558437"/>
                </a:lnTo>
                <a:cubicBezTo>
                  <a:pt x="1875017" y="558437"/>
                  <a:pt x="1876839" y="560260"/>
                  <a:pt x="1878662" y="560260"/>
                </a:cubicBezTo>
                <a:cubicBezTo>
                  <a:pt x="1880484" y="558437"/>
                  <a:pt x="1876839" y="552970"/>
                  <a:pt x="1876839" y="551148"/>
                </a:cubicBezTo>
                <a:close/>
                <a:moveTo>
                  <a:pt x="1111526" y="551148"/>
                </a:moveTo>
                <a:cubicBezTo>
                  <a:pt x="1109704" y="552970"/>
                  <a:pt x="1107882" y="556616"/>
                  <a:pt x="1106060" y="558437"/>
                </a:cubicBezTo>
                <a:cubicBezTo>
                  <a:pt x="1109704" y="558437"/>
                  <a:pt x="1113349" y="552970"/>
                  <a:pt x="1111526" y="551148"/>
                </a:cubicBezTo>
                <a:close/>
                <a:moveTo>
                  <a:pt x="491039" y="551105"/>
                </a:moveTo>
                <a:lnTo>
                  <a:pt x="496707" y="557668"/>
                </a:lnTo>
                <a:lnTo>
                  <a:pt x="501098" y="567548"/>
                </a:lnTo>
                <a:close/>
                <a:moveTo>
                  <a:pt x="734686" y="549954"/>
                </a:moveTo>
                <a:lnTo>
                  <a:pt x="735475" y="551148"/>
                </a:lnTo>
                <a:lnTo>
                  <a:pt x="735237" y="553813"/>
                </a:lnTo>
                <a:close/>
                <a:moveTo>
                  <a:pt x="263953" y="549819"/>
                </a:moveTo>
                <a:lnTo>
                  <a:pt x="266721" y="553654"/>
                </a:lnTo>
                <a:lnTo>
                  <a:pt x="271889" y="566622"/>
                </a:lnTo>
                <a:lnTo>
                  <a:pt x="271049" y="565726"/>
                </a:lnTo>
                <a:cubicBezTo>
                  <a:pt x="267860" y="561854"/>
                  <a:pt x="265241" y="557754"/>
                  <a:pt x="263875" y="553255"/>
                </a:cubicBezTo>
                <a:close/>
                <a:moveTo>
                  <a:pt x="3392888" y="549326"/>
                </a:moveTo>
                <a:cubicBezTo>
                  <a:pt x="3387422" y="545681"/>
                  <a:pt x="3391066" y="567548"/>
                  <a:pt x="3378311" y="562081"/>
                </a:cubicBezTo>
                <a:cubicBezTo>
                  <a:pt x="3381955" y="565725"/>
                  <a:pt x="3381955" y="574836"/>
                  <a:pt x="3385600" y="576658"/>
                </a:cubicBezTo>
                <a:cubicBezTo>
                  <a:pt x="3385600" y="580303"/>
                  <a:pt x="3391066" y="573014"/>
                  <a:pt x="3392888" y="573014"/>
                </a:cubicBezTo>
                <a:cubicBezTo>
                  <a:pt x="3396532" y="571192"/>
                  <a:pt x="3391066" y="578481"/>
                  <a:pt x="3392888" y="576658"/>
                </a:cubicBezTo>
                <a:cubicBezTo>
                  <a:pt x="3398355" y="574836"/>
                  <a:pt x="3398355" y="569370"/>
                  <a:pt x="3400177" y="563904"/>
                </a:cubicBezTo>
                <a:cubicBezTo>
                  <a:pt x="3407466" y="567548"/>
                  <a:pt x="3403821" y="569370"/>
                  <a:pt x="3400177" y="574836"/>
                </a:cubicBezTo>
                <a:cubicBezTo>
                  <a:pt x="3405643" y="578481"/>
                  <a:pt x="3411110" y="582125"/>
                  <a:pt x="3416577" y="585769"/>
                </a:cubicBezTo>
                <a:cubicBezTo>
                  <a:pt x="3418399" y="576658"/>
                  <a:pt x="3422043" y="582125"/>
                  <a:pt x="3427510" y="583947"/>
                </a:cubicBezTo>
                <a:cubicBezTo>
                  <a:pt x="3431154" y="585769"/>
                  <a:pt x="3425687" y="585769"/>
                  <a:pt x="3425687" y="587591"/>
                </a:cubicBezTo>
                <a:cubicBezTo>
                  <a:pt x="3443909" y="589414"/>
                  <a:pt x="3467597" y="574836"/>
                  <a:pt x="3463953" y="554792"/>
                </a:cubicBezTo>
                <a:cubicBezTo>
                  <a:pt x="3454842" y="556616"/>
                  <a:pt x="3460309" y="573014"/>
                  <a:pt x="3453020" y="567548"/>
                </a:cubicBezTo>
                <a:cubicBezTo>
                  <a:pt x="3451198" y="567548"/>
                  <a:pt x="3449376" y="563904"/>
                  <a:pt x="3447553" y="562081"/>
                </a:cubicBezTo>
                <a:cubicBezTo>
                  <a:pt x="3447553" y="571192"/>
                  <a:pt x="3432976" y="580303"/>
                  <a:pt x="3427510" y="573014"/>
                </a:cubicBezTo>
                <a:cubicBezTo>
                  <a:pt x="3425687" y="569370"/>
                  <a:pt x="3431154" y="573014"/>
                  <a:pt x="3432976" y="571192"/>
                </a:cubicBezTo>
                <a:cubicBezTo>
                  <a:pt x="3432976" y="567548"/>
                  <a:pt x="3434798" y="560260"/>
                  <a:pt x="3429332" y="560260"/>
                </a:cubicBezTo>
                <a:cubicBezTo>
                  <a:pt x="3427510" y="560260"/>
                  <a:pt x="3427510" y="567548"/>
                  <a:pt x="3422043" y="567548"/>
                </a:cubicBezTo>
                <a:cubicBezTo>
                  <a:pt x="3414754" y="565725"/>
                  <a:pt x="3418399" y="556616"/>
                  <a:pt x="3418399" y="551148"/>
                </a:cubicBezTo>
                <a:cubicBezTo>
                  <a:pt x="3409288" y="545681"/>
                  <a:pt x="3401999" y="558437"/>
                  <a:pt x="3396532" y="556616"/>
                </a:cubicBezTo>
                <a:cubicBezTo>
                  <a:pt x="3396532" y="560260"/>
                  <a:pt x="3398355" y="567548"/>
                  <a:pt x="3394710" y="565725"/>
                </a:cubicBezTo>
                <a:cubicBezTo>
                  <a:pt x="3385600" y="563904"/>
                  <a:pt x="3400177" y="554792"/>
                  <a:pt x="3392888" y="549326"/>
                </a:cubicBezTo>
                <a:close/>
                <a:moveTo>
                  <a:pt x="3208849" y="549326"/>
                </a:moveTo>
                <a:cubicBezTo>
                  <a:pt x="3194271" y="554792"/>
                  <a:pt x="3185160" y="573014"/>
                  <a:pt x="3196093" y="587591"/>
                </a:cubicBezTo>
                <a:cubicBezTo>
                  <a:pt x="3196093" y="589414"/>
                  <a:pt x="3201560" y="582125"/>
                  <a:pt x="3207027" y="585769"/>
                </a:cubicBezTo>
                <a:cubicBezTo>
                  <a:pt x="3207027" y="587591"/>
                  <a:pt x="3207027" y="589414"/>
                  <a:pt x="3205204" y="589414"/>
                </a:cubicBezTo>
                <a:cubicBezTo>
                  <a:pt x="3201560" y="589414"/>
                  <a:pt x="3199738" y="587591"/>
                  <a:pt x="3197916" y="589414"/>
                </a:cubicBezTo>
                <a:lnTo>
                  <a:pt x="3199738" y="593058"/>
                </a:lnTo>
                <a:cubicBezTo>
                  <a:pt x="3201560" y="593058"/>
                  <a:pt x="3201560" y="593058"/>
                  <a:pt x="3203382" y="593058"/>
                </a:cubicBezTo>
                <a:cubicBezTo>
                  <a:pt x="3205204" y="594880"/>
                  <a:pt x="3203382" y="598524"/>
                  <a:pt x="3203382" y="600347"/>
                </a:cubicBezTo>
                <a:cubicBezTo>
                  <a:pt x="3212493" y="594880"/>
                  <a:pt x="3203382" y="593058"/>
                  <a:pt x="3205204" y="591236"/>
                </a:cubicBezTo>
                <a:cubicBezTo>
                  <a:pt x="3210671" y="585769"/>
                  <a:pt x="3212493" y="594880"/>
                  <a:pt x="3217960" y="593058"/>
                </a:cubicBezTo>
                <a:cubicBezTo>
                  <a:pt x="3214315" y="596702"/>
                  <a:pt x="3205204" y="598524"/>
                  <a:pt x="3207027" y="603991"/>
                </a:cubicBezTo>
                <a:cubicBezTo>
                  <a:pt x="3208849" y="609459"/>
                  <a:pt x="3214315" y="602169"/>
                  <a:pt x="3217960" y="602169"/>
                </a:cubicBezTo>
                <a:cubicBezTo>
                  <a:pt x="3217960" y="602169"/>
                  <a:pt x="3217960" y="605813"/>
                  <a:pt x="3219782" y="605813"/>
                </a:cubicBezTo>
                <a:cubicBezTo>
                  <a:pt x="3232537" y="605813"/>
                  <a:pt x="3241648" y="589414"/>
                  <a:pt x="3243470" y="578481"/>
                </a:cubicBezTo>
                <a:cubicBezTo>
                  <a:pt x="3239826" y="580303"/>
                  <a:pt x="3236181" y="576658"/>
                  <a:pt x="3234359" y="576658"/>
                </a:cubicBezTo>
                <a:cubicBezTo>
                  <a:pt x="3232537" y="578481"/>
                  <a:pt x="3232537" y="580303"/>
                  <a:pt x="3234359" y="582125"/>
                </a:cubicBezTo>
                <a:cubicBezTo>
                  <a:pt x="3228893" y="571192"/>
                  <a:pt x="3230715" y="565725"/>
                  <a:pt x="3214315" y="563904"/>
                </a:cubicBezTo>
                <a:cubicBezTo>
                  <a:pt x="3205204" y="563904"/>
                  <a:pt x="3216137" y="560260"/>
                  <a:pt x="3219782" y="554792"/>
                </a:cubicBezTo>
                <a:cubicBezTo>
                  <a:pt x="3210671" y="558437"/>
                  <a:pt x="3210671" y="552970"/>
                  <a:pt x="3208849" y="549326"/>
                </a:cubicBezTo>
                <a:close/>
                <a:moveTo>
                  <a:pt x="2868102" y="549326"/>
                </a:moveTo>
                <a:lnTo>
                  <a:pt x="2868649" y="550055"/>
                </a:lnTo>
                <a:lnTo>
                  <a:pt x="2868102" y="556616"/>
                </a:lnTo>
                <a:lnTo>
                  <a:pt x="2866764" y="555828"/>
                </a:lnTo>
                <a:close/>
                <a:moveTo>
                  <a:pt x="2527356" y="549326"/>
                </a:moveTo>
                <a:cubicBezTo>
                  <a:pt x="2523711" y="549326"/>
                  <a:pt x="2520067" y="549326"/>
                  <a:pt x="2521889" y="554792"/>
                </a:cubicBezTo>
                <a:cubicBezTo>
                  <a:pt x="2523711" y="554792"/>
                  <a:pt x="2525534" y="554792"/>
                  <a:pt x="2527356" y="549326"/>
                </a:cubicBezTo>
                <a:close/>
                <a:moveTo>
                  <a:pt x="2441713" y="549326"/>
                </a:moveTo>
                <a:cubicBezTo>
                  <a:pt x="2439891" y="547504"/>
                  <a:pt x="2436247" y="549326"/>
                  <a:pt x="2432603" y="551148"/>
                </a:cubicBezTo>
                <a:cubicBezTo>
                  <a:pt x="2432603" y="556616"/>
                  <a:pt x="2434425" y="562081"/>
                  <a:pt x="2438069" y="560260"/>
                </a:cubicBezTo>
                <a:cubicBezTo>
                  <a:pt x="2439891" y="558437"/>
                  <a:pt x="2441713" y="554792"/>
                  <a:pt x="2441713" y="549326"/>
                </a:cubicBezTo>
                <a:close/>
                <a:moveTo>
                  <a:pt x="2381582" y="549326"/>
                </a:moveTo>
                <a:cubicBezTo>
                  <a:pt x="2379760" y="552970"/>
                  <a:pt x="2383404" y="556616"/>
                  <a:pt x="2383404" y="558437"/>
                </a:cubicBezTo>
                <a:cubicBezTo>
                  <a:pt x="2385226" y="558437"/>
                  <a:pt x="2383404" y="552970"/>
                  <a:pt x="2383404" y="549326"/>
                </a:cubicBezTo>
                <a:cubicBezTo>
                  <a:pt x="2383404" y="551148"/>
                  <a:pt x="2381582" y="551148"/>
                  <a:pt x="2381582" y="549326"/>
                </a:cubicBezTo>
                <a:close/>
                <a:moveTo>
                  <a:pt x="2365182" y="549326"/>
                </a:moveTo>
                <a:cubicBezTo>
                  <a:pt x="2365182" y="547504"/>
                  <a:pt x="2359716" y="551148"/>
                  <a:pt x="2357893" y="554792"/>
                </a:cubicBezTo>
                <a:cubicBezTo>
                  <a:pt x="2356071" y="563904"/>
                  <a:pt x="2368827" y="569370"/>
                  <a:pt x="2361538" y="578481"/>
                </a:cubicBezTo>
                <a:cubicBezTo>
                  <a:pt x="2359716" y="578481"/>
                  <a:pt x="2363360" y="580303"/>
                  <a:pt x="2367004" y="580303"/>
                </a:cubicBezTo>
                <a:cubicBezTo>
                  <a:pt x="2365182" y="573014"/>
                  <a:pt x="2367004" y="567548"/>
                  <a:pt x="2367004" y="558437"/>
                </a:cubicBezTo>
                <a:cubicBezTo>
                  <a:pt x="2363360" y="556616"/>
                  <a:pt x="2365182" y="554792"/>
                  <a:pt x="2365182" y="549326"/>
                </a:cubicBezTo>
                <a:close/>
                <a:moveTo>
                  <a:pt x="987143" y="549239"/>
                </a:moveTo>
                <a:lnTo>
                  <a:pt x="986333" y="552194"/>
                </a:lnTo>
                <a:lnTo>
                  <a:pt x="985796" y="552970"/>
                </a:lnTo>
                <a:close/>
                <a:moveTo>
                  <a:pt x="2937345" y="547504"/>
                </a:moveTo>
                <a:cubicBezTo>
                  <a:pt x="2939167" y="554792"/>
                  <a:pt x="2942811" y="562081"/>
                  <a:pt x="2951922" y="563904"/>
                </a:cubicBezTo>
                <a:cubicBezTo>
                  <a:pt x="2951922" y="560260"/>
                  <a:pt x="2948278" y="558437"/>
                  <a:pt x="2950100" y="552970"/>
                </a:cubicBezTo>
                <a:cubicBezTo>
                  <a:pt x="2944634" y="552970"/>
                  <a:pt x="2942811" y="552970"/>
                  <a:pt x="2937345" y="547504"/>
                </a:cubicBezTo>
                <a:close/>
                <a:moveTo>
                  <a:pt x="2512778" y="547504"/>
                </a:moveTo>
                <a:cubicBezTo>
                  <a:pt x="2510956" y="549326"/>
                  <a:pt x="2510956" y="551148"/>
                  <a:pt x="2510956" y="554792"/>
                </a:cubicBezTo>
                <a:cubicBezTo>
                  <a:pt x="2514600" y="554792"/>
                  <a:pt x="2516423" y="556616"/>
                  <a:pt x="2520067" y="556616"/>
                </a:cubicBezTo>
                <a:cubicBezTo>
                  <a:pt x="2520067" y="549326"/>
                  <a:pt x="2514600" y="549326"/>
                  <a:pt x="2512778" y="547504"/>
                </a:cubicBezTo>
                <a:close/>
                <a:moveTo>
                  <a:pt x="1233612" y="547504"/>
                </a:moveTo>
                <a:cubicBezTo>
                  <a:pt x="1231790" y="549326"/>
                  <a:pt x="1231790" y="549326"/>
                  <a:pt x="1229969" y="551148"/>
                </a:cubicBezTo>
                <a:cubicBezTo>
                  <a:pt x="1231790" y="552970"/>
                  <a:pt x="1237256" y="549326"/>
                  <a:pt x="1233612" y="547504"/>
                </a:cubicBezTo>
                <a:close/>
                <a:moveTo>
                  <a:pt x="1213568" y="547504"/>
                </a:moveTo>
                <a:cubicBezTo>
                  <a:pt x="1211747" y="547504"/>
                  <a:pt x="1211747" y="551148"/>
                  <a:pt x="1211747" y="554792"/>
                </a:cubicBezTo>
                <a:cubicBezTo>
                  <a:pt x="1215390" y="554792"/>
                  <a:pt x="1211747" y="549326"/>
                  <a:pt x="1213568" y="547504"/>
                </a:cubicBezTo>
                <a:close/>
                <a:moveTo>
                  <a:pt x="1102416" y="547504"/>
                </a:moveTo>
                <a:cubicBezTo>
                  <a:pt x="1104238" y="547504"/>
                  <a:pt x="1104238" y="563904"/>
                  <a:pt x="1106060" y="549326"/>
                </a:cubicBezTo>
                <a:cubicBezTo>
                  <a:pt x="1104238" y="547504"/>
                  <a:pt x="1104238" y="549326"/>
                  <a:pt x="1102416" y="547504"/>
                </a:cubicBezTo>
                <a:close/>
                <a:moveTo>
                  <a:pt x="982152" y="547504"/>
                </a:moveTo>
                <a:cubicBezTo>
                  <a:pt x="980330" y="549326"/>
                  <a:pt x="978508" y="551604"/>
                  <a:pt x="976230" y="553427"/>
                </a:cubicBezTo>
                <a:lnTo>
                  <a:pt x="971636" y="555120"/>
                </a:lnTo>
                <a:close/>
                <a:moveTo>
                  <a:pt x="936598" y="547504"/>
                </a:moveTo>
                <a:cubicBezTo>
                  <a:pt x="931131" y="562081"/>
                  <a:pt x="920198" y="571192"/>
                  <a:pt x="922020" y="587591"/>
                </a:cubicBezTo>
                <a:cubicBezTo>
                  <a:pt x="927487" y="574836"/>
                  <a:pt x="951175" y="556616"/>
                  <a:pt x="936598" y="547504"/>
                </a:cubicBezTo>
                <a:close/>
                <a:moveTo>
                  <a:pt x="816334" y="547504"/>
                </a:moveTo>
                <a:cubicBezTo>
                  <a:pt x="812690" y="551148"/>
                  <a:pt x="814512" y="558437"/>
                  <a:pt x="816334" y="562081"/>
                </a:cubicBezTo>
                <a:cubicBezTo>
                  <a:pt x="816334" y="560260"/>
                  <a:pt x="818156" y="560260"/>
                  <a:pt x="819979" y="558437"/>
                </a:cubicBezTo>
                <a:cubicBezTo>
                  <a:pt x="818156" y="554792"/>
                  <a:pt x="818156" y="551148"/>
                  <a:pt x="816334" y="547504"/>
                </a:cubicBezTo>
                <a:close/>
                <a:moveTo>
                  <a:pt x="734336" y="547504"/>
                </a:moveTo>
                <a:lnTo>
                  <a:pt x="734686" y="549954"/>
                </a:lnTo>
                <a:lnTo>
                  <a:pt x="733383" y="547981"/>
                </a:lnTo>
                <a:close/>
                <a:moveTo>
                  <a:pt x="317059" y="547504"/>
                </a:moveTo>
                <a:cubicBezTo>
                  <a:pt x="315236" y="554792"/>
                  <a:pt x="309771" y="562081"/>
                  <a:pt x="317059" y="573014"/>
                </a:cubicBezTo>
                <a:cubicBezTo>
                  <a:pt x="320703" y="569370"/>
                  <a:pt x="317059" y="562081"/>
                  <a:pt x="318882" y="558437"/>
                </a:cubicBezTo>
                <a:cubicBezTo>
                  <a:pt x="318882" y="567548"/>
                  <a:pt x="327993" y="576658"/>
                  <a:pt x="335280" y="587591"/>
                </a:cubicBezTo>
                <a:cubicBezTo>
                  <a:pt x="329814" y="573014"/>
                  <a:pt x="326169" y="565725"/>
                  <a:pt x="320703" y="552970"/>
                </a:cubicBezTo>
                <a:cubicBezTo>
                  <a:pt x="318882" y="558437"/>
                  <a:pt x="317059" y="549326"/>
                  <a:pt x="317059" y="547504"/>
                </a:cubicBezTo>
                <a:close/>
                <a:moveTo>
                  <a:pt x="2334661" y="547276"/>
                </a:moveTo>
                <a:cubicBezTo>
                  <a:pt x="2332839" y="548415"/>
                  <a:pt x="2331472" y="551148"/>
                  <a:pt x="2332383" y="554792"/>
                </a:cubicBezTo>
                <a:cubicBezTo>
                  <a:pt x="2336027" y="552970"/>
                  <a:pt x="2336027" y="547504"/>
                  <a:pt x="2339672" y="549326"/>
                </a:cubicBezTo>
                <a:cubicBezTo>
                  <a:pt x="2338761" y="546593"/>
                  <a:pt x="2336483" y="546137"/>
                  <a:pt x="2334661" y="547276"/>
                </a:cubicBezTo>
                <a:close/>
                <a:moveTo>
                  <a:pt x="820202" y="546426"/>
                </a:moveTo>
                <a:lnTo>
                  <a:pt x="821345" y="550237"/>
                </a:lnTo>
                <a:lnTo>
                  <a:pt x="820340" y="553589"/>
                </a:lnTo>
                <a:lnTo>
                  <a:pt x="819751" y="550237"/>
                </a:lnTo>
                <a:close/>
                <a:moveTo>
                  <a:pt x="731950" y="545812"/>
                </a:moveTo>
                <a:lnTo>
                  <a:pt x="733383" y="547981"/>
                </a:lnTo>
                <a:lnTo>
                  <a:pt x="730692" y="549326"/>
                </a:lnTo>
                <a:cubicBezTo>
                  <a:pt x="731603" y="548416"/>
                  <a:pt x="731603" y="547049"/>
                  <a:pt x="731831" y="545910"/>
                </a:cubicBezTo>
                <a:close/>
                <a:moveTo>
                  <a:pt x="2421669" y="545681"/>
                </a:moveTo>
                <a:lnTo>
                  <a:pt x="2421846" y="547446"/>
                </a:lnTo>
                <a:lnTo>
                  <a:pt x="2421669" y="547504"/>
                </a:lnTo>
                <a:lnTo>
                  <a:pt x="2422167" y="550658"/>
                </a:lnTo>
                <a:lnTo>
                  <a:pt x="2422305" y="552037"/>
                </a:lnTo>
                <a:lnTo>
                  <a:pt x="2421669" y="554792"/>
                </a:lnTo>
                <a:lnTo>
                  <a:pt x="2419354" y="555156"/>
                </a:lnTo>
                <a:lnTo>
                  <a:pt x="2419392" y="553882"/>
                </a:lnTo>
                <a:lnTo>
                  <a:pt x="2418352" y="550613"/>
                </a:lnTo>
                <a:lnTo>
                  <a:pt x="2418708" y="550237"/>
                </a:lnTo>
                <a:cubicBezTo>
                  <a:pt x="2419392" y="548871"/>
                  <a:pt x="2419847" y="547504"/>
                  <a:pt x="2421669" y="545681"/>
                </a:cubicBezTo>
                <a:close/>
                <a:moveTo>
                  <a:pt x="2172032" y="545681"/>
                </a:moveTo>
                <a:cubicBezTo>
                  <a:pt x="2170210" y="549326"/>
                  <a:pt x="2170210" y="554792"/>
                  <a:pt x="2170210" y="558437"/>
                </a:cubicBezTo>
                <a:cubicBezTo>
                  <a:pt x="2175676" y="560260"/>
                  <a:pt x="2168387" y="549326"/>
                  <a:pt x="2173854" y="551148"/>
                </a:cubicBezTo>
                <a:cubicBezTo>
                  <a:pt x="2173854" y="549326"/>
                  <a:pt x="2172032" y="549326"/>
                  <a:pt x="2172032" y="545681"/>
                </a:cubicBezTo>
                <a:close/>
                <a:moveTo>
                  <a:pt x="1987992" y="545681"/>
                </a:moveTo>
                <a:lnTo>
                  <a:pt x="1988199" y="546927"/>
                </a:lnTo>
                <a:lnTo>
                  <a:pt x="1986788" y="547806"/>
                </a:lnTo>
                <a:close/>
                <a:moveTo>
                  <a:pt x="716115" y="545681"/>
                </a:moveTo>
                <a:cubicBezTo>
                  <a:pt x="708826" y="552970"/>
                  <a:pt x="712470" y="560260"/>
                  <a:pt x="719759" y="565725"/>
                </a:cubicBezTo>
                <a:cubicBezTo>
                  <a:pt x="725226" y="560260"/>
                  <a:pt x="721581" y="551148"/>
                  <a:pt x="716115" y="545681"/>
                </a:cubicBezTo>
                <a:close/>
                <a:moveTo>
                  <a:pt x="258749" y="545681"/>
                </a:moveTo>
                <a:cubicBezTo>
                  <a:pt x="260571" y="545681"/>
                  <a:pt x="262393" y="552970"/>
                  <a:pt x="260571" y="552970"/>
                </a:cubicBezTo>
                <a:cubicBezTo>
                  <a:pt x="260571" y="549326"/>
                  <a:pt x="255105" y="547504"/>
                  <a:pt x="258749" y="545681"/>
                </a:cubicBezTo>
                <a:close/>
                <a:moveTo>
                  <a:pt x="1139107" y="544301"/>
                </a:moveTo>
                <a:lnTo>
                  <a:pt x="1137529" y="546421"/>
                </a:lnTo>
                <a:lnTo>
                  <a:pt x="1137037" y="545681"/>
                </a:lnTo>
                <a:close/>
                <a:moveTo>
                  <a:pt x="3323646" y="543860"/>
                </a:moveTo>
                <a:cubicBezTo>
                  <a:pt x="3323646" y="547504"/>
                  <a:pt x="3323646" y="552970"/>
                  <a:pt x="3320001" y="549326"/>
                </a:cubicBezTo>
                <a:cubicBezTo>
                  <a:pt x="3320001" y="563904"/>
                  <a:pt x="3341867" y="562081"/>
                  <a:pt x="3354623" y="554792"/>
                </a:cubicBezTo>
                <a:cubicBezTo>
                  <a:pt x="3352800" y="554792"/>
                  <a:pt x="3347334" y="554792"/>
                  <a:pt x="3349156" y="551148"/>
                </a:cubicBezTo>
                <a:cubicBezTo>
                  <a:pt x="3347334" y="552970"/>
                  <a:pt x="3347334" y="552970"/>
                  <a:pt x="3347334" y="554792"/>
                </a:cubicBezTo>
                <a:cubicBezTo>
                  <a:pt x="3338223" y="552970"/>
                  <a:pt x="3336401" y="542037"/>
                  <a:pt x="3327290" y="551148"/>
                </a:cubicBezTo>
                <a:cubicBezTo>
                  <a:pt x="3329112" y="549326"/>
                  <a:pt x="3329112" y="547504"/>
                  <a:pt x="3329112" y="547504"/>
                </a:cubicBezTo>
                <a:cubicBezTo>
                  <a:pt x="3325468" y="549326"/>
                  <a:pt x="3327290" y="543860"/>
                  <a:pt x="3323646" y="543860"/>
                </a:cubicBezTo>
                <a:close/>
                <a:moveTo>
                  <a:pt x="3261692" y="543860"/>
                </a:moveTo>
                <a:cubicBezTo>
                  <a:pt x="3258047" y="545681"/>
                  <a:pt x="3254403" y="547504"/>
                  <a:pt x="3252581" y="549326"/>
                </a:cubicBezTo>
                <a:cubicBezTo>
                  <a:pt x="3248937" y="554792"/>
                  <a:pt x="3258047" y="549326"/>
                  <a:pt x="3258047" y="552970"/>
                </a:cubicBezTo>
                <a:cubicBezTo>
                  <a:pt x="3261692" y="549326"/>
                  <a:pt x="3261692" y="547504"/>
                  <a:pt x="3261692" y="543860"/>
                </a:cubicBezTo>
                <a:close/>
                <a:moveTo>
                  <a:pt x="3232537" y="543860"/>
                </a:moveTo>
                <a:cubicBezTo>
                  <a:pt x="3228893" y="547504"/>
                  <a:pt x="3227071" y="556616"/>
                  <a:pt x="3232537" y="558437"/>
                </a:cubicBezTo>
                <a:cubicBezTo>
                  <a:pt x="3238003" y="554792"/>
                  <a:pt x="3239826" y="547504"/>
                  <a:pt x="3243470" y="543860"/>
                </a:cubicBezTo>
                <a:cubicBezTo>
                  <a:pt x="3241648" y="542037"/>
                  <a:pt x="3236181" y="543860"/>
                  <a:pt x="3232537" y="543860"/>
                </a:cubicBezTo>
                <a:close/>
                <a:moveTo>
                  <a:pt x="3201560" y="543860"/>
                </a:moveTo>
                <a:cubicBezTo>
                  <a:pt x="3199738" y="543860"/>
                  <a:pt x="3196093" y="549326"/>
                  <a:pt x="3201560" y="549326"/>
                </a:cubicBezTo>
                <a:cubicBezTo>
                  <a:pt x="3203382" y="545681"/>
                  <a:pt x="3201560" y="547504"/>
                  <a:pt x="3201560" y="543860"/>
                </a:cubicBezTo>
                <a:close/>
                <a:moveTo>
                  <a:pt x="2864458" y="543860"/>
                </a:moveTo>
                <a:cubicBezTo>
                  <a:pt x="2862636" y="545682"/>
                  <a:pt x="2863091" y="550693"/>
                  <a:pt x="2864230" y="554337"/>
                </a:cubicBezTo>
                <a:lnTo>
                  <a:pt x="2866764" y="555828"/>
                </a:lnTo>
                <a:lnTo>
                  <a:pt x="2866508" y="557070"/>
                </a:lnTo>
                <a:lnTo>
                  <a:pt x="2866311" y="561415"/>
                </a:lnTo>
                <a:lnTo>
                  <a:pt x="2862864" y="557526"/>
                </a:lnTo>
                <a:cubicBezTo>
                  <a:pt x="2860814" y="552970"/>
                  <a:pt x="2858992" y="549326"/>
                  <a:pt x="2855347" y="552970"/>
                </a:cubicBezTo>
                <a:cubicBezTo>
                  <a:pt x="2853525" y="545681"/>
                  <a:pt x="2860813" y="545681"/>
                  <a:pt x="2864458" y="543860"/>
                </a:cubicBezTo>
                <a:close/>
                <a:moveTo>
                  <a:pt x="2642153" y="543860"/>
                </a:moveTo>
                <a:cubicBezTo>
                  <a:pt x="2642153" y="545681"/>
                  <a:pt x="2642153" y="547504"/>
                  <a:pt x="2640330" y="547504"/>
                </a:cubicBezTo>
                <a:cubicBezTo>
                  <a:pt x="2643975" y="549326"/>
                  <a:pt x="2643975" y="547504"/>
                  <a:pt x="2645797" y="547504"/>
                </a:cubicBezTo>
                <a:cubicBezTo>
                  <a:pt x="2645797" y="545681"/>
                  <a:pt x="2643975" y="543860"/>
                  <a:pt x="2642153" y="543860"/>
                </a:cubicBezTo>
                <a:close/>
                <a:moveTo>
                  <a:pt x="2494556" y="543860"/>
                </a:moveTo>
                <a:cubicBezTo>
                  <a:pt x="2494556" y="552970"/>
                  <a:pt x="2489090" y="542037"/>
                  <a:pt x="2483624" y="549326"/>
                </a:cubicBezTo>
                <a:cubicBezTo>
                  <a:pt x="2490912" y="552970"/>
                  <a:pt x="2483624" y="562081"/>
                  <a:pt x="2490912" y="563904"/>
                </a:cubicBezTo>
                <a:cubicBezTo>
                  <a:pt x="2494556" y="563904"/>
                  <a:pt x="2494556" y="558437"/>
                  <a:pt x="2492734" y="556616"/>
                </a:cubicBezTo>
                <a:cubicBezTo>
                  <a:pt x="2496379" y="562081"/>
                  <a:pt x="2503667" y="562081"/>
                  <a:pt x="2505490" y="554792"/>
                </a:cubicBezTo>
                <a:cubicBezTo>
                  <a:pt x="2505490" y="552970"/>
                  <a:pt x="2505490" y="551148"/>
                  <a:pt x="2505490" y="547504"/>
                </a:cubicBezTo>
                <a:cubicBezTo>
                  <a:pt x="2501845" y="545681"/>
                  <a:pt x="2500023" y="543860"/>
                  <a:pt x="2494556" y="543860"/>
                </a:cubicBezTo>
                <a:close/>
                <a:moveTo>
                  <a:pt x="1142897" y="542875"/>
                </a:moveTo>
                <a:lnTo>
                  <a:pt x="1144326" y="545910"/>
                </a:lnTo>
                <a:lnTo>
                  <a:pt x="1142503" y="548530"/>
                </a:lnTo>
                <a:lnTo>
                  <a:pt x="1142503" y="543860"/>
                </a:lnTo>
                <a:cubicBezTo>
                  <a:pt x="1142503" y="545681"/>
                  <a:pt x="1140681" y="545681"/>
                  <a:pt x="1140681" y="545681"/>
                </a:cubicBezTo>
                <a:close/>
                <a:moveTo>
                  <a:pt x="2891790" y="542037"/>
                </a:moveTo>
                <a:cubicBezTo>
                  <a:pt x="2880857" y="549326"/>
                  <a:pt x="2889968" y="558437"/>
                  <a:pt x="2888146" y="567548"/>
                </a:cubicBezTo>
                <a:cubicBezTo>
                  <a:pt x="2893613" y="571192"/>
                  <a:pt x="2889968" y="560260"/>
                  <a:pt x="2895435" y="562081"/>
                </a:cubicBezTo>
                <a:cubicBezTo>
                  <a:pt x="2895435" y="554792"/>
                  <a:pt x="2882680" y="551148"/>
                  <a:pt x="2891790" y="542037"/>
                </a:cubicBezTo>
                <a:close/>
                <a:moveTo>
                  <a:pt x="2583843" y="542037"/>
                </a:moveTo>
                <a:cubicBezTo>
                  <a:pt x="2580199" y="543860"/>
                  <a:pt x="2582021" y="551148"/>
                  <a:pt x="2580199" y="554792"/>
                </a:cubicBezTo>
                <a:cubicBezTo>
                  <a:pt x="2583843" y="554792"/>
                  <a:pt x="2580199" y="547504"/>
                  <a:pt x="2583843" y="549326"/>
                </a:cubicBezTo>
                <a:cubicBezTo>
                  <a:pt x="2585665" y="545681"/>
                  <a:pt x="2582021" y="545681"/>
                  <a:pt x="2583843" y="542037"/>
                </a:cubicBezTo>
                <a:close/>
                <a:moveTo>
                  <a:pt x="1229969" y="542037"/>
                </a:moveTo>
                <a:cubicBezTo>
                  <a:pt x="1226323" y="542037"/>
                  <a:pt x="1220858" y="549326"/>
                  <a:pt x="1222679" y="552970"/>
                </a:cubicBezTo>
                <a:cubicBezTo>
                  <a:pt x="1224501" y="549326"/>
                  <a:pt x="1229969" y="545681"/>
                  <a:pt x="1229969" y="542037"/>
                </a:cubicBezTo>
                <a:close/>
                <a:moveTo>
                  <a:pt x="1124282" y="542037"/>
                </a:moveTo>
                <a:cubicBezTo>
                  <a:pt x="1116993" y="543860"/>
                  <a:pt x="1120637" y="549326"/>
                  <a:pt x="1122459" y="552970"/>
                </a:cubicBezTo>
                <a:cubicBezTo>
                  <a:pt x="1124282" y="551148"/>
                  <a:pt x="1126104" y="549326"/>
                  <a:pt x="1127926" y="547504"/>
                </a:cubicBezTo>
                <a:cubicBezTo>
                  <a:pt x="1126104" y="545681"/>
                  <a:pt x="1127926" y="542037"/>
                  <a:pt x="1124282" y="542037"/>
                </a:cubicBezTo>
                <a:close/>
                <a:moveTo>
                  <a:pt x="987619" y="542037"/>
                </a:moveTo>
                <a:lnTo>
                  <a:pt x="988854" y="544505"/>
                </a:lnTo>
                <a:lnTo>
                  <a:pt x="987143" y="549239"/>
                </a:lnTo>
                <a:lnTo>
                  <a:pt x="987619" y="547504"/>
                </a:lnTo>
                <a:lnTo>
                  <a:pt x="972050" y="561344"/>
                </a:lnTo>
                <a:close/>
                <a:moveTo>
                  <a:pt x="909265" y="542037"/>
                </a:moveTo>
                <a:lnTo>
                  <a:pt x="910635" y="543065"/>
                </a:lnTo>
                <a:lnTo>
                  <a:pt x="909845" y="546676"/>
                </a:lnTo>
                <a:close/>
                <a:moveTo>
                  <a:pt x="871000" y="542037"/>
                </a:moveTo>
                <a:cubicBezTo>
                  <a:pt x="863711" y="554792"/>
                  <a:pt x="863711" y="571192"/>
                  <a:pt x="869177" y="583947"/>
                </a:cubicBezTo>
                <a:cubicBezTo>
                  <a:pt x="871000" y="583947"/>
                  <a:pt x="871000" y="583947"/>
                  <a:pt x="872822" y="582125"/>
                </a:cubicBezTo>
                <a:cubicBezTo>
                  <a:pt x="872822" y="583947"/>
                  <a:pt x="872822" y="583947"/>
                  <a:pt x="872822" y="587591"/>
                </a:cubicBezTo>
                <a:cubicBezTo>
                  <a:pt x="878288" y="578481"/>
                  <a:pt x="880111" y="567548"/>
                  <a:pt x="885577" y="556616"/>
                </a:cubicBezTo>
                <a:cubicBezTo>
                  <a:pt x="880111" y="551148"/>
                  <a:pt x="881933" y="542037"/>
                  <a:pt x="871000" y="542037"/>
                </a:cubicBezTo>
                <a:close/>
                <a:moveTo>
                  <a:pt x="548475" y="542037"/>
                </a:moveTo>
                <a:cubicBezTo>
                  <a:pt x="543008" y="545681"/>
                  <a:pt x="550297" y="558437"/>
                  <a:pt x="553941" y="563904"/>
                </a:cubicBezTo>
                <a:cubicBezTo>
                  <a:pt x="555763" y="558437"/>
                  <a:pt x="548475" y="551148"/>
                  <a:pt x="555763" y="547504"/>
                </a:cubicBezTo>
                <a:cubicBezTo>
                  <a:pt x="553941" y="545681"/>
                  <a:pt x="548475" y="543860"/>
                  <a:pt x="548475" y="542037"/>
                </a:cubicBezTo>
                <a:close/>
                <a:moveTo>
                  <a:pt x="3383777" y="540215"/>
                </a:moveTo>
                <a:cubicBezTo>
                  <a:pt x="3380133" y="543860"/>
                  <a:pt x="3380133" y="552970"/>
                  <a:pt x="3383777" y="558437"/>
                </a:cubicBezTo>
                <a:cubicBezTo>
                  <a:pt x="3389244" y="554792"/>
                  <a:pt x="3385600" y="543860"/>
                  <a:pt x="3383777" y="540215"/>
                </a:cubicBezTo>
                <a:close/>
                <a:moveTo>
                  <a:pt x="2988366" y="540215"/>
                </a:moveTo>
                <a:cubicBezTo>
                  <a:pt x="2984721" y="542037"/>
                  <a:pt x="2988366" y="547504"/>
                  <a:pt x="2992010" y="549326"/>
                </a:cubicBezTo>
                <a:cubicBezTo>
                  <a:pt x="2986543" y="552970"/>
                  <a:pt x="2984721" y="552970"/>
                  <a:pt x="2984721" y="560260"/>
                </a:cubicBezTo>
                <a:cubicBezTo>
                  <a:pt x="2981077" y="556616"/>
                  <a:pt x="2979255" y="551148"/>
                  <a:pt x="2975610" y="552970"/>
                </a:cubicBezTo>
                <a:cubicBezTo>
                  <a:pt x="2968322" y="558437"/>
                  <a:pt x="2981077" y="558437"/>
                  <a:pt x="2982899" y="562081"/>
                </a:cubicBezTo>
                <a:cubicBezTo>
                  <a:pt x="2984721" y="565725"/>
                  <a:pt x="2982899" y="567548"/>
                  <a:pt x="2984721" y="569370"/>
                </a:cubicBezTo>
                <a:cubicBezTo>
                  <a:pt x="2981077" y="571192"/>
                  <a:pt x="2981077" y="565725"/>
                  <a:pt x="2979255" y="563904"/>
                </a:cubicBezTo>
                <a:cubicBezTo>
                  <a:pt x="2973788" y="574836"/>
                  <a:pt x="2971966" y="569370"/>
                  <a:pt x="2961033" y="562081"/>
                </a:cubicBezTo>
                <a:cubicBezTo>
                  <a:pt x="2964677" y="576658"/>
                  <a:pt x="2979255" y="578481"/>
                  <a:pt x="2990188" y="571192"/>
                </a:cubicBezTo>
                <a:cubicBezTo>
                  <a:pt x="2992010" y="569370"/>
                  <a:pt x="2990188" y="567548"/>
                  <a:pt x="2988366" y="563904"/>
                </a:cubicBezTo>
                <a:cubicBezTo>
                  <a:pt x="2992010" y="569370"/>
                  <a:pt x="2999299" y="567548"/>
                  <a:pt x="3004765" y="567548"/>
                </a:cubicBezTo>
                <a:cubicBezTo>
                  <a:pt x="3004765" y="560260"/>
                  <a:pt x="2999299" y="562081"/>
                  <a:pt x="3004765" y="554792"/>
                </a:cubicBezTo>
                <a:cubicBezTo>
                  <a:pt x="3004765" y="552970"/>
                  <a:pt x="3002943" y="545681"/>
                  <a:pt x="2999299" y="549326"/>
                </a:cubicBezTo>
                <a:cubicBezTo>
                  <a:pt x="3001121" y="551148"/>
                  <a:pt x="3002943" y="552970"/>
                  <a:pt x="3001121" y="554792"/>
                </a:cubicBezTo>
                <a:cubicBezTo>
                  <a:pt x="3001121" y="554792"/>
                  <a:pt x="2997477" y="554792"/>
                  <a:pt x="2995654" y="556616"/>
                </a:cubicBezTo>
                <a:cubicBezTo>
                  <a:pt x="2992010" y="551148"/>
                  <a:pt x="2992010" y="543860"/>
                  <a:pt x="2988366" y="540215"/>
                </a:cubicBezTo>
                <a:close/>
                <a:moveTo>
                  <a:pt x="2671307" y="540215"/>
                </a:moveTo>
                <a:cubicBezTo>
                  <a:pt x="2667663" y="540215"/>
                  <a:pt x="2669485" y="547504"/>
                  <a:pt x="2669485" y="551148"/>
                </a:cubicBezTo>
                <a:cubicBezTo>
                  <a:pt x="2676774" y="549326"/>
                  <a:pt x="2676774" y="549326"/>
                  <a:pt x="2684063" y="554792"/>
                </a:cubicBezTo>
                <a:cubicBezTo>
                  <a:pt x="2685885" y="547504"/>
                  <a:pt x="2678596" y="549326"/>
                  <a:pt x="2680418" y="543860"/>
                </a:cubicBezTo>
                <a:cubicBezTo>
                  <a:pt x="2676774" y="545681"/>
                  <a:pt x="2671307" y="545681"/>
                  <a:pt x="2671307" y="540215"/>
                </a:cubicBezTo>
                <a:close/>
                <a:moveTo>
                  <a:pt x="2540111" y="540215"/>
                </a:moveTo>
                <a:cubicBezTo>
                  <a:pt x="2534644" y="540215"/>
                  <a:pt x="2538289" y="545681"/>
                  <a:pt x="2540111" y="549326"/>
                </a:cubicBezTo>
                <a:cubicBezTo>
                  <a:pt x="2543755" y="547504"/>
                  <a:pt x="2540111" y="542037"/>
                  <a:pt x="2540111" y="540215"/>
                </a:cubicBezTo>
                <a:close/>
                <a:moveTo>
                  <a:pt x="2312339" y="540215"/>
                </a:moveTo>
                <a:lnTo>
                  <a:pt x="2312881" y="540937"/>
                </a:lnTo>
                <a:lnTo>
                  <a:pt x="2312629" y="541662"/>
                </a:lnTo>
                <a:close/>
                <a:moveTo>
                  <a:pt x="1102416" y="540215"/>
                </a:moveTo>
                <a:cubicBezTo>
                  <a:pt x="1100593" y="545681"/>
                  <a:pt x="1104238" y="545681"/>
                  <a:pt x="1107882" y="547504"/>
                </a:cubicBezTo>
                <a:cubicBezTo>
                  <a:pt x="1109704" y="545681"/>
                  <a:pt x="1109704" y="543860"/>
                  <a:pt x="1111526" y="542037"/>
                </a:cubicBezTo>
                <a:cubicBezTo>
                  <a:pt x="1107882" y="542037"/>
                  <a:pt x="1106060" y="540215"/>
                  <a:pt x="1102416" y="540215"/>
                </a:cubicBezTo>
                <a:close/>
                <a:moveTo>
                  <a:pt x="940242" y="540215"/>
                </a:moveTo>
                <a:lnTo>
                  <a:pt x="939513" y="542766"/>
                </a:lnTo>
                <a:lnTo>
                  <a:pt x="938420" y="543860"/>
                </a:lnTo>
                <a:lnTo>
                  <a:pt x="938875" y="544998"/>
                </a:lnTo>
                <a:lnTo>
                  <a:pt x="938420" y="546593"/>
                </a:lnTo>
                <a:cubicBezTo>
                  <a:pt x="938875" y="548415"/>
                  <a:pt x="940242" y="550237"/>
                  <a:pt x="942064" y="552970"/>
                </a:cubicBezTo>
                <a:lnTo>
                  <a:pt x="938875" y="544998"/>
                </a:lnTo>
                <a:lnTo>
                  <a:pt x="939513" y="542766"/>
                </a:lnTo>
                <a:lnTo>
                  <a:pt x="940242" y="542037"/>
                </a:lnTo>
                <a:cubicBezTo>
                  <a:pt x="940242" y="543860"/>
                  <a:pt x="940242" y="540215"/>
                  <a:pt x="940242" y="540215"/>
                </a:cubicBezTo>
                <a:close/>
                <a:moveTo>
                  <a:pt x="575808" y="540215"/>
                </a:moveTo>
                <a:cubicBezTo>
                  <a:pt x="572163" y="543860"/>
                  <a:pt x="572163" y="547504"/>
                  <a:pt x="568519" y="551148"/>
                </a:cubicBezTo>
                <a:cubicBezTo>
                  <a:pt x="572163" y="556616"/>
                  <a:pt x="570341" y="562081"/>
                  <a:pt x="575808" y="569370"/>
                </a:cubicBezTo>
                <a:cubicBezTo>
                  <a:pt x="579452" y="562081"/>
                  <a:pt x="577630" y="552970"/>
                  <a:pt x="575808" y="540215"/>
                </a:cubicBezTo>
                <a:close/>
                <a:moveTo>
                  <a:pt x="2532822" y="538393"/>
                </a:moveTo>
                <a:cubicBezTo>
                  <a:pt x="2525534" y="540215"/>
                  <a:pt x="2529178" y="543860"/>
                  <a:pt x="2531000" y="549326"/>
                </a:cubicBezTo>
                <a:cubicBezTo>
                  <a:pt x="2534644" y="549326"/>
                  <a:pt x="2536466" y="549326"/>
                  <a:pt x="2536466" y="549326"/>
                </a:cubicBezTo>
                <a:cubicBezTo>
                  <a:pt x="2534644" y="545681"/>
                  <a:pt x="2532822" y="543860"/>
                  <a:pt x="2532822" y="538393"/>
                </a:cubicBezTo>
                <a:close/>
                <a:moveTo>
                  <a:pt x="2215764" y="538393"/>
                </a:moveTo>
                <a:cubicBezTo>
                  <a:pt x="2217586" y="543860"/>
                  <a:pt x="2223053" y="542037"/>
                  <a:pt x="2226697" y="542037"/>
                </a:cubicBezTo>
                <a:cubicBezTo>
                  <a:pt x="2226697" y="538393"/>
                  <a:pt x="2221230" y="538393"/>
                  <a:pt x="2215764" y="538393"/>
                </a:cubicBezTo>
                <a:close/>
                <a:moveTo>
                  <a:pt x="2168387" y="538393"/>
                </a:moveTo>
                <a:cubicBezTo>
                  <a:pt x="2161099" y="540215"/>
                  <a:pt x="2159277" y="545681"/>
                  <a:pt x="2164743" y="551148"/>
                </a:cubicBezTo>
                <a:cubicBezTo>
                  <a:pt x="2164743" y="545681"/>
                  <a:pt x="2170210" y="545681"/>
                  <a:pt x="2168387" y="538393"/>
                </a:cubicBezTo>
                <a:close/>
                <a:moveTo>
                  <a:pt x="865533" y="538393"/>
                </a:moveTo>
                <a:lnTo>
                  <a:pt x="865533" y="547504"/>
                </a:lnTo>
                <a:cubicBezTo>
                  <a:pt x="871000" y="547504"/>
                  <a:pt x="871000" y="540215"/>
                  <a:pt x="865533" y="538393"/>
                </a:cubicBezTo>
                <a:close/>
                <a:moveTo>
                  <a:pt x="860066" y="538393"/>
                </a:moveTo>
                <a:cubicBezTo>
                  <a:pt x="860066" y="542037"/>
                  <a:pt x="858244" y="551148"/>
                  <a:pt x="860066" y="554792"/>
                </a:cubicBezTo>
                <a:cubicBezTo>
                  <a:pt x="860066" y="549326"/>
                  <a:pt x="863711" y="542037"/>
                  <a:pt x="860066" y="538393"/>
                </a:cubicBezTo>
                <a:close/>
                <a:moveTo>
                  <a:pt x="727048" y="538393"/>
                </a:moveTo>
                <a:lnTo>
                  <a:pt x="730328" y="540580"/>
                </a:lnTo>
                <a:lnTo>
                  <a:pt x="730692" y="542037"/>
                </a:lnTo>
                <a:lnTo>
                  <a:pt x="730335" y="540585"/>
                </a:lnTo>
                <a:lnTo>
                  <a:pt x="732515" y="542037"/>
                </a:lnTo>
                <a:lnTo>
                  <a:pt x="732679" y="540133"/>
                </a:lnTo>
                <a:lnTo>
                  <a:pt x="736159" y="538393"/>
                </a:lnTo>
                <a:cubicBezTo>
                  <a:pt x="736159" y="542037"/>
                  <a:pt x="734336" y="543860"/>
                  <a:pt x="734336" y="545681"/>
                </a:cubicBezTo>
                <a:cubicBezTo>
                  <a:pt x="734336" y="545681"/>
                  <a:pt x="734336" y="543860"/>
                  <a:pt x="734336" y="543860"/>
                </a:cubicBezTo>
                <a:lnTo>
                  <a:pt x="731950" y="545812"/>
                </a:lnTo>
                <a:close/>
                <a:moveTo>
                  <a:pt x="639583" y="538393"/>
                </a:moveTo>
                <a:cubicBezTo>
                  <a:pt x="634117" y="540215"/>
                  <a:pt x="635939" y="547504"/>
                  <a:pt x="639583" y="551148"/>
                </a:cubicBezTo>
                <a:cubicBezTo>
                  <a:pt x="641407" y="547504"/>
                  <a:pt x="637761" y="542037"/>
                  <a:pt x="639583" y="538393"/>
                </a:cubicBezTo>
                <a:close/>
                <a:moveTo>
                  <a:pt x="528431" y="538393"/>
                </a:moveTo>
                <a:cubicBezTo>
                  <a:pt x="528431" y="543860"/>
                  <a:pt x="530253" y="551148"/>
                  <a:pt x="533897" y="558437"/>
                </a:cubicBezTo>
                <a:cubicBezTo>
                  <a:pt x="537542" y="552970"/>
                  <a:pt x="528431" y="542037"/>
                  <a:pt x="528431" y="538393"/>
                </a:cubicBezTo>
                <a:close/>
                <a:moveTo>
                  <a:pt x="524786" y="538393"/>
                </a:moveTo>
                <a:cubicBezTo>
                  <a:pt x="524786" y="547504"/>
                  <a:pt x="528431" y="556616"/>
                  <a:pt x="530253" y="567548"/>
                </a:cubicBezTo>
                <a:cubicBezTo>
                  <a:pt x="533897" y="565725"/>
                  <a:pt x="532075" y="560260"/>
                  <a:pt x="530253" y="554792"/>
                </a:cubicBezTo>
                <a:cubicBezTo>
                  <a:pt x="528431" y="549326"/>
                  <a:pt x="528431" y="543860"/>
                  <a:pt x="524786" y="538393"/>
                </a:cubicBezTo>
                <a:close/>
                <a:moveTo>
                  <a:pt x="3427510" y="536571"/>
                </a:moveTo>
                <a:cubicBezTo>
                  <a:pt x="3423865" y="542037"/>
                  <a:pt x="3429332" y="545681"/>
                  <a:pt x="3429332" y="547504"/>
                </a:cubicBezTo>
                <a:cubicBezTo>
                  <a:pt x="3432976" y="545681"/>
                  <a:pt x="3427510" y="540215"/>
                  <a:pt x="3427510" y="536571"/>
                </a:cubicBezTo>
                <a:close/>
                <a:moveTo>
                  <a:pt x="3332756" y="536571"/>
                </a:moveTo>
                <a:cubicBezTo>
                  <a:pt x="3332756" y="540215"/>
                  <a:pt x="3338223" y="538393"/>
                  <a:pt x="3340045" y="536571"/>
                </a:cubicBezTo>
                <a:cubicBezTo>
                  <a:pt x="3340045" y="534749"/>
                  <a:pt x="3336401" y="534749"/>
                  <a:pt x="3332756" y="536571"/>
                </a:cubicBezTo>
                <a:close/>
                <a:moveTo>
                  <a:pt x="3032098" y="536571"/>
                </a:moveTo>
                <a:lnTo>
                  <a:pt x="3032638" y="537921"/>
                </a:lnTo>
                <a:lnTo>
                  <a:pt x="3030237" y="537037"/>
                </a:lnTo>
                <a:close/>
                <a:moveTo>
                  <a:pt x="2656730" y="536571"/>
                </a:moveTo>
                <a:cubicBezTo>
                  <a:pt x="2654908" y="536571"/>
                  <a:pt x="2656730" y="543860"/>
                  <a:pt x="2656730" y="545681"/>
                </a:cubicBezTo>
                <a:cubicBezTo>
                  <a:pt x="2660374" y="545681"/>
                  <a:pt x="2658552" y="538393"/>
                  <a:pt x="2656730" y="536571"/>
                </a:cubicBezTo>
                <a:close/>
                <a:moveTo>
                  <a:pt x="2594776" y="536571"/>
                </a:moveTo>
                <a:cubicBezTo>
                  <a:pt x="2587487" y="540215"/>
                  <a:pt x="2600243" y="551148"/>
                  <a:pt x="2589310" y="552970"/>
                </a:cubicBezTo>
                <a:cubicBezTo>
                  <a:pt x="2591132" y="556616"/>
                  <a:pt x="2592954" y="560260"/>
                  <a:pt x="2594776" y="558437"/>
                </a:cubicBezTo>
                <a:cubicBezTo>
                  <a:pt x="2602065" y="554792"/>
                  <a:pt x="2594776" y="547504"/>
                  <a:pt x="2594776" y="540215"/>
                </a:cubicBezTo>
                <a:cubicBezTo>
                  <a:pt x="2596598" y="542037"/>
                  <a:pt x="2598421" y="542037"/>
                  <a:pt x="2600243" y="542037"/>
                </a:cubicBezTo>
                <a:cubicBezTo>
                  <a:pt x="2602065" y="536571"/>
                  <a:pt x="2592954" y="542037"/>
                  <a:pt x="2594776" y="536571"/>
                </a:cubicBezTo>
                <a:close/>
                <a:moveTo>
                  <a:pt x="2503667" y="536571"/>
                </a:moveTo>
                <a:cubicBezTo>
                  <a:pt x="2500023" y="536571"/>
                  <a:pt x="2500023" y="538393"/>
                  <a:pt x="2498201" y="538393"/>
                </a:cubicBezTo>
                <a:cubicBezTo>
                  <a:pt x="2498201" y="540215"/>
                  <a:pt x="2500023" y="543860"/>
                  <a:pt x="2503667" y="542037"/>
                </a:cubicBezTo>
                <a:cubicBezTo>
                  <a:pt x="2505490" y="538393"/>
                  <a:pt x="2503667" y="536571"/>
                  <a:pt x="2503667" y="536571"/>
                </a:cubicBezTo>
                <a:close/>
                <a:moveTo>
                  <a:pt x="1240901" y="536571"/>
                </a:moveTo>
                <a:cubicBezTo>
                  <a:pt x="1239080" y="536571"/>
                  <a:pt x="1235434" y="542037"/>
                  <a:pt x="1239080" y="545681"/>
                </a:cubicBezTo>
                <a:cubicBezTo>
                  <a:pt x="1240901" y="542037"/>
                  <a:pt x="1239080" y="538393"/>
                  <a:pt x="1240901" y="536571"/>
                </a:cubicBezTo>
                <a:close/>
                <a:moveTo>
                  <a:pt x="858244" y="536571"/>
                </a:moveTo>
                <a:cubicBezTo>
                  <a:pt x="856422" y="538393"/>
                  <a:pt x="854600" y="540215"/>
                  <a:pt x="852778" y="542037"/>
                </a:cubicBezTo>
                <a:cubicBezTo>
                  <a:pt x="852778" y="540215"/>
                  <a:pt x="854600" y="538393"/>
                  <a:pt x="856422" y="540215"/>
                </a:cubicBezTo>
                <a:cubicBezTo>
                  <a:pt x="852778" y="543860"/>
                  <a:pt x="847311" y="547504"/>
                  <a:pt x="850956" y="556616"/>
                </a:cubicBezTo>
                <a:cubicBezTo>
                  <a:pt x="852778" y="556616"/>
                  <a:pt x="858244" y="560260"/>
                  <a:pt x="858244" y="554792"/>
                </a:cubicBezTo>
                <a:cubicBezTo>
                  <a:pt x="858244" y="549326"/>
                  <a:pt x="858244" y="542037"/>
                  <a:pt x="858244" y="536571"/>
                </a:cubicBezTo>
                <a:close/>
                <a:moveTo>
                  <a:pt x="719759" y="536571"/>
                </a:moveTo>
                <a:cubicBezTo>
                  <a:pt x="717937" y="538393"/>
                  <a:pt x="717937" y="540215"/>
                  <a:pt x="717937" y="542037"/>
                </a:cubicBezTo>
                <a:lnTo>
                  <a:pt x="720852" y="542037"/>
                </a:lnTo>
                <a:lnTo>
                  <a:pt x="721389" y="544723"/>
                </a:lnTo>
                <a:lnTo>
                  <a:pt x="721126" y="548415"/>
                </a:lnTo>
                <a:cubicBezTo>
                  <a:pt x="722492" y="550693"/>
                  <a:pt x="724314" y="552971"/>
                  <a:pt x="723404" y="554792"/>
                </a:cubicBezTo>
                <a:lnTo>
                  <a:pt x="721389" y="544723"/>
                </a:lnTo>
                <a:lnTo>
                  <a:pt x="721581" y="542037"/>
                </a:lnTo>
                <a:lnTo>
                  <a:pt x="720852" y="542037"/>
                </a:lnTo>
                <a:close/>
                <a:moveTo>
                  <a:pt x="485579" y="536245"/>
                </a:moveTo>
                <a:lnTo>
                  <a:pt x="487887" y="537937"/>
                </a:lnTo>
                <a:lnTo>
                  <a:pt x="488204" y="538536"/>
                </a:lnTo>
                <a:lnTo>
                  <a:pt x="491071" y="544988"/>
                </a:lnTo>
                <a:lnTo>
                  <a:pt x="487418" y="542220"/>
                </a:lnTo>
                <a:close/>
                <a:moveTo>
                  <a:pt x="729057" y="535380"/>
                </a:moveTo>
                <a:lnTo>
                  <a:pt x="730335" y="540585"/>
                </a:lnTo>
                <a:lnTo>
                  <a:pt x="730328" y="540580"/>
                </a:lnTo>
                <a:lnTo>
                  <a:pt x="729035" y="535412"/>
                </a:lnTo>
                <a:close/>
                <a:moveTo>
                  <a:pt x="3460309" y="534749"/>
                </a:moveTo>
                <a:cubicBezTo>
                  <a:pt x="3454842" y="534749"/>
                  <a:pt x="3458487" y="540215"/>
                  <a:pt x="3454842" y="542037"/>
                </a:cubicBezTo>
                <a:cubicBezTo>
                  <a:pt x="3456664" y="543860"/>
                  <a:pt x="3460309" y="543860"/>
                  <a:pt x="3463953" y="543860"/>
                </a:cubicBezTo>
                <a:cubicBezTo>
                  <a:pt x="3465775" y="538393"/>
                  <a:pt x="3460309" y="540215"/>
                  <a:pt x="3460309" y="534749"/>
                </a:cubicBezTo>
                <a:close/>
                <a:moveTo>
                  <a:pt x="2336027" y="534749"/>
                </a:moveTo>
                <a:cubicBezTo>
                  <a:pt x="2334205" y="534749"/>
                  <a:pt x="2334205" y="536571"/>
                  <a:pt x="2332383" y="536571"/>
                </a:cubicBezTo>
                <a:cubicBezTo>
                  <a:pt x="2332383" y="540215"/>
                  <a:pt x="2334205" y="540215"/>
                  <a:pt x="2337850" y="540215"/>
                </a:cubicBezTo>
                <a:cubicBezTo>
                  <a:pt x="2337850" y="536571"/>
                  <a:pt x="2336027" y="536571"/>
                  <a:pt x="2336027" y="534749"/>
                </a:cubicBezTo>
                <a:close/>
                <a:moveTo>
                  <a:pt x="2144699" y="534749"/>
                </a:moveTo>
                <a:cubicBezTo>
                  <a:pt x="2146521" y="538393"/>
                  <a:pt x="2144699" y="542037"/>
                  <a:pt x="2144699" y="545681"/>
                </a:cubicBezTo>
                <a:cubicBezTo>
                  <a:pt x="2142877" y="542037"/>
                  <a:pt x="2139233" y="542037"/>
                  <a:pt x="2135588" y="543860"/>
                </a:cubicBezTo>
                <a:cubicBezTo>
                  <a:pt x="2131944" y="545681"/>
                  <a:pt x="2137410" y="552970"/>
                  <a:pt x="2130122" y="554792"/>
                </a:cubicBezTo>
                <a:cubicBezTo>
                  <a:pt x="2133766" y="552970"/>
                  <a:pt x="2128300" y="560260"/>
                  <a:pt x="2131944" y="558437"/>
                </a:cubicBezTo>
                <a:cubicBezTo>
                  <a:pt x="2139233" y="552970"/>
                  <a:pt x="2144699" y="549326"/>
                  <a:pt x="2148344" y="542037"/>
                </a:cubicBezTo>
                <a:cubicBezTo>
                  <a:pt x="2151988" y="538393"/>
                  <a:pt x="2146521" y="536571"/>
                  <a:pt x="2144699" y="534749"/>
                </a:cubicBezTo>
                <a:close/>
                <a:moveTo>
                  <a:pt x="1122459" y="534749"/>
                </a:moveTo>
                <a:cubicBezTo>
                  <a:pt x="1118815" y="534749"/>
                  <a:pt x="1118815" y="542037"/>
                  <a:pt x="1116993" y="545681"/>
                </a:cubicBezTo>
                <a:cubicBezTo>
                  <a:pt x="1120637" y="545681"/>
                  <a:pt x="1122459" y="536571"/>
                  <a:pt x="1122459" y="534749"/>
                </a:cubicBezTo>
                <a:close/>
                <a:moveTo>
                  <a:pt x="1113349" y="534749"/>
                </a:moveTo>
                <a:lnTo>
                  <a:pt x="1113515" y="535660"/>
                </a:lnTo>
                <a:lnTo>
                  <a:pt x="1113450" y="537431"/>
                </a:lnTo>
                <a:lnTo>
                  <a:pt x="1111774" y="538270"/>
                </a:lnTo>
                <a:lnTo>
                  <a:pt x="1111659" y="538128"/>
                </a:lnTo>
                <a:close/>
                <a:moveTo>
                  <a:pt x="573985" y="534749"/>
                </a:moveTo>
                <a:cubicBezTo>
                  <a:pt x="569429" y="532927"/>
                  <a:pt x="568519" y="535204"/>
                  <a:pt x="568519" y="538393"/>
                </a:cubicBezTo>
                <a:lnTo>
                  <a:pt x="568519" y="546523"/>
                </a:lnTo>
                <a:lnTo>
                  <a:pt x="568218" y="546904"/>
                </a:lnTo>
                <a:lnTo>
                  <a:pt x="566697" y="543860"/>
                </a:lnTo>
                <a:cubicBezTo>
                  <a:pt x="568519" y="547504"/>
                  <a:pt x="566697" y="547504"/>
                  <a:pt x="564874" y="551148"/>
                </a:cubicBezTo>
                <a:lnTo>
                  <a:pt x="568218" y="546904"/>
                </a:lnTo>
                <a:lnTo>
                  <a:pt x="568519" y="547504"/>
                </a:lnTo>
                <a:lnTo>
                  <a:pt x="568519" y="546523"/>
                </a:lnTo>
                <a:lnTo>
                  <a:pt x="570796" y="543632"/>
                </a:lnTo>
                <a:cubicBezTo>
                  <a:pt x="571707" y="540671"/>
                  <a:pt x="572163" y="537482"/>
                  <a:pt x="573985" y="534749"/>
                </a:cubicBezTo>
                <a:close/>
                <a:moveTo>
                  <a:pt x="457367" y="534749"/>
                </a:moveTo>
                <a:cubicBezTo>
                  <a:pt x="457367" y="540215"/>
                  <a:pt x="457367" y="552970"/>
                  <a:pt x="464655" y="554792"/>
                </a:cubicBezTo>
                <a:cubicBezTo>
                  <a:pt x="461010" y="547504"/>
                  <a:pt x="461010" y="542037"/>
                  <a:pt x="457367" y="534749"/>
                </a:cubicBezTo>
                <a:close/>
                <a:moveTo>
                  <a:pt x="1147677" y="533577"/>
                </a:moveTo>
                <a:lnTo>
                  <a:pt x="1147714" y="533638"/>
                </a:lnTo>
                <a:lnTo>
                  <a:pt x="1147697" y="533659"/>
                </a:lnTo>
                <a:close/>
                <a:moveTo>
                  <a:pt x="1147899" y="533412"/>
                </a:moveTo>
                <a:lnTo>
                  <a:pt x="1147930" y="533986"/>
                </a:lnTo>
                <a:lnTo>
                  <a:pt x="1147714" y="533638"/>
                </a:lnTo>
                <a:close/>
                <a:moveTo>
                  <a:pt x="3252581" y="532926"/>
                </a:moveTo>
                <a:cubicBezTo>
                  <a:pt x="3250759" y="540215"/>
                  <a:pt x="3245292" y="534749"/>
                  <a:pt x="3241648" y="536571"/>
                </a:cubicBezTo>
                <a:cubicBezTo>
                  <a:pt x="3243470" y="542037"/>
                  <a:pt x="3248937" y="538393"/>
                  <a:pt x="3252581" y="540215"/>
                </a:cubicBezTo>
                <a:cubicBezTo>
                  <a:pt x="3252581" y="536571"/>
                  <a:pt x="3248937" y="536571"/>
                  <a:pt x="3252581" y="532926"/>
                </a:cubicBezTo>
                <a:close/>
                <a:moveTo>
                  <a:pt x="3219782" y="532926"/>
                </a:moveTo>
                <a:cubicBezTo>
                  <a:pt x="3214315" y="536571"/>
                  <a:pt x="3207027" y="538393"/>
                  <a:pt x="3208849" y="545681"/>
                </a:cubicBezTo>
                <a:cubicBezTo>
                  <a:pt x="3214315" y="540215"/>
                  <a:pt x="3217960" y="543860"/>
                  <a:pt x="3223426" y="538393"/>
                </a:cubicBezTo>
                <a:cubicBezTo>
                  <a:pt x="3225248" y="534749"/>
                  <a:pt x="3216137" y="540215"/>
                  <a:pt x="3219782" y="532926"/>
                </a:cubicBezTo>
                <a:close/>
                <a:moveTo>
                  <a:pt x="3205204" y="532926"/>
                </a:moveTo>
                <a:cubicBezTo>
                  <a:pt x="3201560" y="531105"/>
                  <a:pt x="3199738" y="542037"/>
                  <a:pt x="3205204" y="540215"/>
                </a:cubicBezTo>
                <a:cubicBezTo>
                  <a:pt x="3205204" y="538393"/>
                  <a:pt x="3205204" y="534749"/>
                  <a:pt x="3205204" y="532926"/>
                </a:cubicBezTo>
                <a:close/>
                <a:moveTo>
                  <a:pt x="2565621" y="532926"/>
                </a:moveTo>
                <a:cubicBezTo>
                  <a:pt x="2565621" y="543860"/>
                  <a:pt x="2572910" y="549326"/>
                  <a:pt x="2578377" y="554792"/>
                </a:cubicBezTo>
                <a:cubicBezTo>
                  <a:pt x="2578377" y="552970"/>
                  <a:pt x="2578377" y="549326"/>
                  <a:pt x="2578377" y="547504"/>
                </a:cubicBezTo>
                <a:cubicBezTo>
                  <a:pt x="2572910" y="545681"/>
                  <a:pt x="2569266" y="540215"/>
                  <a:pt x="2565621" y="532926"/>
                </a:cubicBezTo>
                <a:close/>
                <a:moveTo>
                  <a:pt x="2372471" y="532926"/>
                </a:moveTo>
                <a:cubicBezTo>
                  <a:pt x="2368827" y="534749"/>
                  <a:pt x="2370649" y="545681"/>
                  <a:pt x="2374293" y="540215"/>
                </a:cubicBezTo>
                <a:cubicBezTo>
                  <a:pt x="2372471" y="538393"/>
                  <a:pt x="2372471" y="536571"/>
                  <a:pt x="2372471" y="532926"/>
                </a:cubicBezTo>
                <a:close/>
                <a:moveTo>
                  <a:pt x="1140681" y="532926"/>
                </a:moveTo>
                <a:cubicBezTo>
                  <a:pt x="1142503" y="534749"/>
                  <a:pt x="1144326" y="536571"/>
                  <a:pt x="1140681" y="538393"/>
                </a:cubicBezTo>
                <a:cubicBezTo>
                  <a:pt x="1138859" y="536571"/>
                  <a:pt x="1138859" y="538393"/>
                  <a:pt x="1137037" y="536571"/>
                </a:cubicBezTo>
                <a:cubicBezTo>
                  <a:pt x="1140681" y="536571"/>
                  <a:pt x="1140681" y="534749"/>
                  <a:pt x="1140681" y="532926"/>
                </a:cubicBezTo>
                <a:close/>
                <a:moveTo>
                  <a:pt x="945709" y="532926"/>
                </a:moveTo>
                <a:cubicBezTo>
                  <a:pt x="936598" y="538393"/>
                  <a:pt x="945709" y="542037"/>
                  <a:pt x="945709" y="545681"/>
                </a:cubicBezTo>
                <a:cubicBezTo>
                  <a:pt x="949353" y="543860"/>
                  <a:pt x="947531" y="536571"/>
                  <a:pt x="945709" y="532926"/>
                </a:cubicBezTo>
                <a:close/>
                <a:moveTo>
                  <a:pt x="730692" y="532926"/>
                </a:moveTo>
                <a:cubicBezTo>
                  <a:pt x="732515" y="533837"/>
                  <a:pt x="732969" y="535204"/>
                  <a:pt x="732969" y="536799"/>
                </a:cubicBezTo>
                <a:lnTo>
                  <a:pt x="732679" y="540133"/>
                </a:lnTo>
                <a:lnTo>
                  <a:pt x="732515" y="540215"/>
                </a:lnTo>
                <a:lnTo>
                  <a:pt x="730340" y="533454"/>
                </a:lnTo>
                <a:close/>
                <a:moveTo>
                  <a:pt x="3029282" y="531934"/>
                </a:moveTo>
                <a:lnTo>
                  <a:pt x="3029592" y="532927"/>
                </a:lnTo>
                <a:lnTo>
                  <a:pt x="3028840" y="532464"/>
                </a:lnTo>
                <a:close/>
                <a:moveTo>
                  <a:pt x="2948762" y="531247"/>
                </a:moveTo>
                <a:cubicBezTo>
                  <a:pt x="2946456" y="531674"/>
                  <a:pt x="2950556" y="537482"/>
                  <a:pt x="2946456" y="540215"/>
                </a:cubicBezTo>
                <a:cubicBezTo>
                  <a:pt x="2944634" y="542037"/>
                  <a:pt x="2940989" y="534749"/>
                  <a:pt x="2939167" y="538393"/>
                </a:cubicBezTo>
                <a:cubicBezTo>
                  <a:pt x="2935523" y="545681"/>
                  <a:pt x="2942811" y="543860"/>
                  <a:pt x="2946456" y="549326"/>
                </a:cubicBezTo>
                <a:cubicBezTo>
                  <a:pt x="2946456" y="542037"/>
                  <a:pt x="2955566" y="543860"/>
                  <a:pt x="2953744" y="532926"/>
                </a:cubicBezTo>
                <a:cubicBezTo>
                  <a:pt x="2951011" y="531560"/>
                  <a:pt x="2949530" y="531105"/>
                  <a:pt x="2948762" y="531247"/>
                </a:cubicBezTo>
                <a:close/>
                <a:moveTo>
                  <a:pt x="3352800" y="531105"/>
                </a:moveTo>
                <a:cubicBezTo>
                  <a:pt x="3349156" y="540215"/>
                  <a:pt x="3340045" y="531105"/>
                  <a:pt x="3341867" y="540215"/>
                </a:cubicBezTo>
                <a:cubicBezTo>
                  <a:pt x="3336401" y="540215"/>
                  <a:pt x="3334579" y="538393"/>
                  <a:pt x="3329112" y="540215"/>
                </a:cubicBezTo>
                <a:cubicBezTo>
                  <a:pt x="3336401" y="545681"/>
                  <a:pt x="3345512" y="543860"/>
                  <a:pt x="3352800" y="551148"/>
                </a:cubicBezTo>
                <a:cubicBezTo>
                  <a:pt x="3356445" y="547504"/>
                  <a:pt x="3352800" y="538393"/>
                  <a:pt x="3345512" y="540215"/>
                </a:cubicBezTo>
                <a:cubicBezTo>
                  <a:pt x="3350978" y="538393"/>
                  <a:pt x="3354623" y="536571"/>
                  <a:pt x="3352800" y="531105"/>
                </a:cubicBezTo>
                <a:close/>
                <a:moveTo>
                  <a:pt x="3026631" y="531105"/>
                </a:moveTo>
                <a:lnTo>
                  <a:pt x="3028840" y="532464"/>
                </a:lnTo>
                <a:lnTo>
                  <a:pt x="3028453" y="532926"/>
                </a:lnTo>
                <a:lnTo>
                  <a:pt x="3027448" y="532675"/>
                </a:lnTo>
                <a:close/>
                <a:moveTo>
                  <a:pt x="2685885" y="531105"/>
                </a:moveTo>
                <a:cubicBezTo>
                  <a:pt x="2682240" y="538393"/>
                  <a:pt x="2678596" y="547504"/>
                  <a:pt x="2689529" y="549326"/>
                </a:cubicBezTo>
                <a:cubicBezTo>
                  <a:pt x="2689529" y="545681"/>
                  <a:pt x="2689529" y="540215"/>
                  <a:pt x="2691351" y="536571"/>
                </a:cubicBezTo>
                <a:cubicBezTo>
                  <a:pt x="2687707" y="540215"/>
                  <a:pt x="2685885" y="536571"/>
                  <a:pt x="2685885" y="531105"/>
                </a:cubicBezTo>
                <a:close/>
                <a:moveTo>
                  <a:pt x="2153810" y="531105"/>
                </a:moveTo>
                <a:cubicBezTo>
                  <a:pt x="2155632" y="534749"/>
                  <a:pt x="2155632" y="536571"/>
                  <a:pt x="2157454" y="540215"/>
                </a:cubicBezTo>
                <a:cubicBezTo>
                  <a:pt x="2161099" y="542037"/>
                  <a:pt x="2161099" y="538393"/>
                  <a:pt x="2161099" y="532926"/>
                </a:cubicBezTo>
                <a:cubicBezTo>
                  <a:pt x="2157454" y="536571"/>
                  <a:pt x="2159277" y="531105"/>
                  <a:pt x="2153810" y="531105"/>
                </a:cubicBezTo>
                <a:close/>
                <a:moveTo>
                  <a:pt x="2113722" y="531105"/>
                </a:moveTo>
                <a:cubicBezTo>
                  <a:pt x="2115544" y="536571"/>
                  <a:pt x="2117366" y="536571"/>
                  <a:pt x="2119189" y="540215"/>
                </a:cubicBezTo>
                <a:cubicBezTo>
                  <a:pt x="2121011" y="536571"/>
                  <a:pt x="2121011" y="534749"/>
                  <a:pt x="2119189" y="531105"/>
                </a:cubicBezTo>
                <a:cubicBezTo>
                  <a:pt x="2117366" y="531105"/>
                  <a:pt x="2115544" y="531105"/>
                  <a:pt x="2113722" y="531105"/>
                </a:cubicBezTo>
                <a:close/>
                <a:moveTo>
                  <a:pt x="2104611" y="531105"/>
                </a:moveTo>
                <a:cubicBezTo>
                  <a:pt x="2100967" y="538393"/>
                  <a:pt x="2110078" y="540215"/>
                  <a:pt x="2108256" y="543860"/>
                </a:cubicBezTo>
                <a:cubicBezTo>
                  <a:pt x="2117366" y="542037"/>
                  <a:pt x="2104611" y="536571"/>
                  <a:pt x="2104611" y="531105"/>
                </a:cubicBezTo>
                <a:close/>
                <a:moveTo>
                  <a:pt x="1443162" y="531105"/>
                </a:moveTo>
                <a:lnTo>
                  <a:pt x="1442001" y="541554"/>
                </a:lnTo>
                <a:lnTo>
                  <a:pt x="1441112" y="538393"/>
                </a:lnTo>
                <a:cubicBezTo>
                  <a:pt x="1441796" y="535660"/>
                  <a:pt x="1443162" y="532927"/>
                  <a:pt x="1443162" y="531105"/>
                </a:cubicBezTo>
                <a:close/>
                <a:moveTo>
                  <a:pt x="1428585" y="531105"/>
                </a:moveTo>
                <a:cubicBezTo>
                  <a:pt x="1428585" y="535660"/>
                  <a:pt x="1429041" y="541582"/>
                  <a:pt x="1428130" y="547048"/>
                </a:cubicBezTo>
                <a:lnTo>
                  <a:pt x="1426886" y="548947"/>
                </a:lnTo>
                <a:close/>
                <a:moveTo>
                  <a:pt x="1237256" y="531105"/>
                </a:moveTo>
                <a:cubicBezTo>
                  <a:pt x="1233612" y="532926"/>
                  <a:pt x="1228146" y="538393"/>
                  <a:pt x="1231790" y="543860"/>
                </a:cubicBezTo>
                <a:cubicBezTo>
                  <a:pt x="1233612" y="538393"/>
                  <a:pt x="1237256" y="534749"/>
                  <a:pt x="1237256" y="531105"/>
                </a:cubicBezTo>
                <a:close/>
                <a:moveTo>
                  <a:pt x="1146637" y="529416"/>
                </a:moveTo>
                <a:lnTo>
                  <a:pt x="1147677" y="533577"/>
                </a:lnTo>
                <a:lnTo>
                  <a:pt x="1146148" y="531105"/>
                </a:lnTo>
                <a:close/>
                <a:moveTo>
                  <a:pt x="3028453" y="529282"/>
                </a:moveTo>
                <a:lnTo>
                  <a:pt x="3030408" y="530586"/>
                </a:lnTo>
                <a:lnTo>
                  <a:pt x="3029282" y="531934"/>
                </a:lnTo>
                <a:close/>
                <a:moveTo>
                  <a:pt x="2676774" y="529282"/>
                </a:moveTo>
                <a:cubicBezTo>
                  <a:pt x="2671307" y="527461"/>
                  <a:pt x="2669485" y="529282"/>
                  <a:pt x="2667663" y="531105"/>
                </a:cubicBezTo>
                <a:cubicBezTo>
                  <a:pt x="2669485" y="538393"/>
                  <a:pt x="2673130" y="536571"/>
                  <a:pt x="2678596" y="538393"/>
                </a:cubicBezTo>
                <a:cubicBezTo>
                  <a:pt x="2678596" y="534749"/>
                  <a:pt x="2676774" y="532926"/>
                  <a:pt x="2676774" y="529282"/>
                </a:cubicBezTo>
                <a:close/>
                <a:moveTo>
                  <a:pt x="2458113" y="529282"/>
                </a:moveTo>
                <a:cubicBezTo>
                  <a:pt x="2458113" y="532926"/>
                  <a:pt x="2458113" y="536571"/>
                  <a:pt x="2456291" y="540215"/>
                </a:cubicBezTo>
                <a:cubicBezTo>
                  <a:pt x="2458113" y="538393"/>
                  <a:pt x="2459935" y="538393"/>
                  <a:pt x="2461757" y="536571"/>
                </a:cubicBezTo>
                <a:cubicBezTo>
                  <a:pt x="2461757" y="534749"/>
                  <a:pt x="2459935" y="532926"/>
                  <a:pt x="2459935" y="531105"/>
                </a:cubicBezTo>
                <a:cubicBezTo>
                  <a:pt x="2467224" y="534749"/>
                  <a:pt x="2463580" y="543860"/>
                  <a:pt x="2467224" y="545681"/>
                </a:cubicBezTo>
                <a:cubicBezTo>
                  <a:pt x="2469046" y="547504"/>
                  <a:pt x="2474513" y="545681"/>
                  <a:pt x="2474513" y="540215"/>
                </a:cubicBezTo>
                <a:cubicBezTo>
                  <a:pt x="2467224" y="540215"/>
                  <a:pt x="2467224" y="534749"/>
                  <a:pt x="2465402" y="531105"/>
                </a:cubicBezTo>
                <a:cubicBezTo>
                  <a:pt x="2463580" y="531105"/>
                  <a:pt x="2461757" y="527461"/>
                  <a:pt x="2458113" y="529282"/>
                </a:cubicBezTo>
                <a:close/>
                <a:moveTo>
                  <a:pt x="2441713" y="529282"/>
                </a:moveTo>
                <a:cubicBezTo>
                  <a:pt x="2441713" y="540215"/>
                  <a:pt x="2438069" y="551148"/>
                  <a:pt x="2449002" y="556616"/>
                </a:cubicBezTo>
                <a:cubicBezTo>
                  <a:pt x="2445358" y="560260"/>
                  <a:pt x="2439891" y="556616"/>
                  <a:pt x="2443536" y="563904"/>
                </a:cubicBezTo>
                <a:cubicBezTo>
                  <a:pt x="2443536" y="563904"/>
                  <a:pt x="2443536" y="563904"/>
                  <a:pt x="2441713" y="562081"/>
                </a:cubicBezTo>
                <a:cubicBezTo>
                  <a:pt x="2443536" y="565725"/>
                  <a:pt x="2438069" y="578481"/>
                  <a:pt x="2445358" y="574836"/>
                </a:cubicBezTo>
                <a:cubicBezTo>
                  <a:pt x="2445358" y="573014"/>
                  <a:pt x="2445358" y="571192"/>
                  <a:pt x="2445358" y="569370"/>
                </a:cubicBezTo>
                <a:cubicBezTo>
                  <a:pt x="2454469" y="560260"/>
                  <a:pt x="2463580" y="552970"/>
                  <a:pt x="2461757" y="540215"/>
                </a:cubicBezTo>
                <a:cubicBezTo>
                  <a:pt x="2456291" y="542037"/>
                  <a:pt x="2458113" y="547504"/>
                  <a:pt x="2456291" y="549326"/>
                </a:cubicBezTo>
                <a:cubicBezTo>
                  <a:pt x="2454469" y="543860"/>
                  <a:pt x="2447180" y="540215"/>
                  <a:pt x="2452647" y="534749"/>
                </a:cubicBezTo>
                <a:cubicBezTo>
                  <a:pt x="2449002" y="534749"/>
                  <a:pt x="2447180" y="534749"/>
                  <a:pt x="2445358" y="534749"/>
                </a:cubicBezTo>
                <a:cubicBezTo>
                  <a:pt x="2445358" y="532926"/>
                  <a:pt x="2447180" y="532926"/>
                  <a:pt x="2447180" y="532926"/>
                </a:cubicBezTo>
                <a:cubicBezTo>
                  <a:pt x="2445358" y="531105"/>
                  <a:pt x="2441713" y="527461"/>
                  <a:pt x="2441713" y="529282"/>
                </a:cubicBezTo>
                <a:close/>
                <a:moveTo>
                  <a:pt x="2091856" y="529282"/>
                </a:moveTo>
                <a:cubicBezTo>
                  <a:pt x="2091856" y="534749"/>
                  <a:pt x="2095500" y="532926"/>
                  <a:pt x="2097323" y="536571"/>
                </a:cubicBezTo>
                <a:cubicBezTo>
                  <a:pt x="2100967" y="534749"/>
                  <a:pt x="2095500" y="529282"/>
                  <a:pt x="2091856" y="529282"/>
                </a:cubicBezTo>
                <a:close/>
                <a:moveTo>
                  <a:pt x="1100593" y="529282"/>
                </a:moveTo>
                <a:cubicBezTo>
                  <a:pt x="1098771" y="534749"/>
                  <a:pt x="1102416" y="542037"/>
                  <a:pt x="1107882" y="536571"/>
                </a:cubicBezTo>
                <a:cubicBezTo>
                  <a:pt x="1106060" y="534749"/>
                  <a:pt x="1104238" y="531105"/>
                  <a:pt x="1100593" y="529282"/>
                </a:cubicBezTo>
                <a:close/>
                <a:moveTo>
                  <a:pt x="863711" y="529282"/>
                </a:moveTo>
                <a:cubicBezTo>
                  <a:pt x="861889" y="529282"/>
                  <a:pt x="858244" y="536571"/>
                  <a:pt x="861889" y="536571"/>
                </a:cubicBezTo>
                <a:cubicBezTo>
                  <a:pt x="863711" y="532926"/>
                  <a:pt x="861889" y="531105"/>
                  <a:pt x="863711" y="529282"/>
                </a:cubicBezTo>
                <a:close/>
                <a:moveTo>
                  <a:pt x="847311" y="529282"/>
                </a:moveTo>
                <a:cubicBezTo>
                  <a:pt x="849133" y="531105"/>
                  <a:pt x="845489" y="534749"/>
                  <a:pt x="845489" y="536571"/>
                </a:cubicBezTo>
                <a:cubicBezTo>
                  <a:pt x="841845" y="532926"/>
                  <a:pt x="847311" y="531105"/>
                  <a:pt x="847311" y="529282"/>
                </a:cubicBezTo>
                <a:close/>
                <a:moveTo>
                  <a:pt x="484373" y="528632"/>
                </a:moveTo>
                <a:lnTo>
                  <a:pt x="488115" y="531560"/>
                </a:lnTo>
                <a:cubicBezTo>
                  <a:pt x="490165" y="533382"/>
                  <a:pt x="491987" y="535660"/>
                  <a:pt x="491987" y="538393"/>
                </a:cubicBezTo>
                <a:cubicBezTo>
                  <a:pt x="487431" y="538393"/>
                  <a:pt x="486520" y="535205"/>
                  <a:pt x="486065" y="532016"/>
                </a:cubicBezTo>
                <a:close/>
                <a:moveTo>
                  <a:pt x="2578377" y="527461"/>
                </a:moveTo>
                <a:cubicBezTo>
                  <a:pt x="2571088" y="529282"/>
                  <a:pt x="2578377" y="536571"/>
                  <a:pt x="2578377" y="540215"/>
                </a:cubicBezTo>
                <a:cubicBezTo>
                  <a:pt x="2585665" y="536571"/>
                  <a:pt x="2574732" y="534749"/>
                  <a:pt x="2578377" y="527461"/>
                </a:cubicBezTo>
                <a:close/>
                <a:moveTo>
                  <a:pt x="2520067" y="527461"/>
                </a:moveTo>
                <a:cubicBezTo>
                  <a:pt x="2514600" y="532926"/>
                  <a:pt x="2516423" y="538393"/>
                  <a:pt x="2512778" y="545681"/>
                </a:cubicBezTo>
                <a:cubicBezTo>
                  <a:pt x="2521889" y="547504"/>
                  <a:pt x="2529178" y="543860"/>
                  <a:pt x="2527356" y="532926"/>
                </a:cubicBezTo>
                <a:cubicBezTo>
                  <a:pt x="2525534" y="531105"/>
                  <a:pt x="2521889" y="529282"/>
                  <a:pt x="2520067" y="527461"/>
                </a:cubicBezTo>
                <a:close/>
                <a:moveTo>
                  <a:pt x="2006214" y="527461"/>
                </a:moveTo>
                <a:cubicBezTo>
                  <a:pt x="2006214" y="532926"/>
                  <a:pt x="1998925" y="540215"/>
                  <a:pt x="2002570" y="542037"/>
                </a:cubicBezTo>
                <a:cubicBezTo>
                  <a:pt x="2002570" y="536571"/>
                  <a:pt x="2009858" y="538393"/>
                  <a:pt x="2006214" y="527461"/>
                </a:cubicBezTo>
                <a:close/>
                <a:moveTo>
                  <a:pt x="1146148" y="527461"/>
                </a:moveTo>
                <a:lnTo>
                  <a:pt x="1146834" y="528735"/>
                </a:lnTo>
                <a:lnTo>
                  <a:pt x="1146637" y="529416"/>
                </a:lnTo>
                <a:close/>
                <a:moveTo>
                  <a:pt x="952997" y="527461"/>
                </a:moveTo>
                <a:cubicBezTo>
                  <a:pt x="952997" y="525638"/>
                  <a:pt x="947531" y="531105"/>
                  <a:pt x="947531" y="529282"/>
                </a:cubicBezTo>
                <a:cubicBezTo>
                  <a:pt x="949353" y="531105"/>
                  <a:pt x="947531" y="534749"/>
                  <a:pt x="949353" y="536571"/>
                </a:cubicBezTo>
                <a:cubicBezTo>
                  <a:pt x="951175" y="532926"/>
                  <a:pt x="949353" y="531105"/>
                  <a:pt x="952997" y="527461"/>
                </a:cubicBezTo>
                <a:close/>
                <a:moveTo>
                  <a:pt x="1147484" y="526488"/>
                </a:moveTo>
                <a:lnTo>
                  <a:pt x="1149792" y="531105"/>
                </a:lnTo>
                <a:lnTo>
                  <a:pt x="1147899" y="533412"/>
                </a:lnTo>
                <a:lnTo>
                  <a:pt x="1147742" y="530421"/>
                </a:lnTo>
                <a:lnTo>
                  <a:pt x="1146834" y="528735"/>
                </a:lnTo>
                <a:close/>
                <a:moveTo>
                  <a:pt x="932624" y="526204"/>
                </a:moveTo>
                <a:lnTo>
                  <a:pt x="934549" y="529282"/>
                </a:lnTo>
                <a:cubicBezTo>
                  <a:pt x="936143" y="531105"/>
                  <a:pt x="937509" y="532927"/>
                  <a:pt x="936598" y="534749"/>
                </a:cubicBezTo>
                <a:lnTo>
                  <a:pt x="937371" y="534749"/>
                </a:lnTo>
                <a:lnTo>
                  <a:pt x="936598" y="538393"/>
                </a:lnTo>
                <a:cubicBezTo>
                  <a:pt x="932042" y="538393"/>
                  <a:pt x="929765" y="535660"/>
                  <a:pt x="929537" y="532244"/>
                </a:cubicBezTo>
                <a:close/>
                <a:moveTo>
                  <a:pt x="2308695" y="525638"/>
                </a:moveTo>
                <a:lnTo>
                  <a:pt x="2311633" y="531882"/>
                </a:lnTo>
                <a:lnTo>
                  <a:pt x="2307120" y="527213"/>
                </a:lnTo>
                <a:close/>
                <a:moveTo>
                  <a:pt x="996729" y="525638"/>
                </a:moveTo>
                <a:cubicBezTo>
                  <a:pt x="994907" y="532926"/>
                  <a:pt x="996729" y="538393"/>
                  <a:pt x="989441" y="545681"/>
                </a:cubicBezTo>
                <a:lnTo>
                  <a:pt x="988854" y="544505"/>
                </a:lnTo>
                <a:lnTo>
                  <a:pt x="995004" y="527471"/>
                </a:lnTo>
                <a:close/>
                <a:moveTo>
                  <a:pt x="971219" y="525638"/>
                </a:moveTo>
                <a:lnTo>
                  <a:pt x="971015" y="526659"/>
                </a:lnTo>
                <a:lnTo>
                  <a:pt x="970694" y="527081"/>
                </a:lnTo>
                <a:close/>
                <a:moveTo>
                  <a:pt x="482876" y="525638"/>
                </a:moveTo>
                <a:lnTo>
                  <a:pt x="484373" y="528632"/>
                </a:lnTo>
                <a:lnTo>
                  <a:pt x="482876" y="527461"/>
                </a:lnTo>
                <a:close/>
                <a:moveTo>
                  <a:pt x="2332383" y="523815"/>
                </a:moveTo>
                <a:cubicBezTo>
                  <a:pt x="2326916" y="525638"/>
                  <a:pt x="2330561" y="532926"/>
                  <a:pt x="2332383" y="532926"/>
                </a:cubicBezTo>
                <a:cubicBezTo>
                  <a:pt x="2336027" y="531105"/>
                  <a:pt x="2332383" y="527461"/>
                  <a:pt x="2332383" y="523815"/>
                </a:cubicBezTo>
                <a:close/>
                <a:moveTo>
                  <a:pt x="1215390" y="523815"/>
                </a:moveTo>
                <a:cubicBezTo>
                  <a:pt x="1209925" y="532926"/>
                  <a:pt x="1217213" y="545681"/>
                  <a:pt x="1215390" y="554792"/>
                </a:cubicBezTo>
                <a:cubicBezTo>
                  <a:pt x="1226323" y="549326"/>
                  <a:pt x="1217213" y="534749"/>
                  <a:pt x="1215390" y="523815"/>
                </a:cubicBezTo>
                <a:close/>
                <a:moveTo>
                  <a:pt x="1146148" y="523815"/>
                </a:moveTo>
                <a:lnTo>
                  <a:pt x="1147916" y="524995"/>
                </a:lnTo>
                <a:lnTo>
                  <a:pt x="1147484" y="526488"/>
                </a:lnTo>
                <a:close/>
                <a:moveTo>
                  <a:pt x="1016774" y="523815"/>
                </a:moveTo>
                <a:cubicBezTo>
                  <a:pt x="1013129" y="525638"/>
                  <a:pt x="1013129" y="527461"/>
                  <a:pt x="1011307" y="531105"/>
                </a:cubicBezTo>
                <a:cubicBezTo>
                  <a:pt x="1013129" y="531105"/>
                  <a:pt x="1018596" y="525638"/>
                  <a:pt x="1016774" y="523815"/>
                </a:cubicBezTo>
                <a:close/>
                <a:moveTo>
                  <a:pt x="867355" y="523815"/>
                </a:moveTo>
                <a:cubicBezTo>
                  <a:pt x="863711" y="529282"/>
                  <a:pt x="860066" y="540215"/>
                  <a:pt x="871000" y="540215"/>
                </a:cubicBezTo>
                <a:cubicBezTo>
                  <a:pt x="872822" y="534749"/>
                  <a:pt x="872822" y="529282"/>
                  <a:pt x="867355" y="523815"/>
                </a:cubicBezTo>
                <a:close/>
                <a:moveTo>
                  <a:pt x="256927" y="523815"/>
                </a:moveTo>
                <a:cubicBezTo>
                  <a:pt x="258749" y="526549"/>
                  <a:pt x="260571" y="529738"/>
                  <a:pt x="261482" y="532927"/>
                </a:cubicBezTo>
                <a:lnTo>
                  <a:pt x="261420" y="533544"/>
                </a:lnTo>
                <a:lnTo>
                  <a:pt x="258033" y="529346"/>
                </a:lnTo>
                <a:close/>
                <a:moveTo>
                  <a:pt x="1116993" y="522803"/>
                </a:moveTo>
                <a:lnTo>
                  <a:pt x="1117221" y="523132"/>
                </a:lnTo>
                <a:lnTo>
                  <a:pt x="1116993" y="523613"/>
                </a:lnTo>
                <a:close/>
                <a:moveTo>
                  <a:pt x="468804" y="522708"/>
                </a:moveTo>
                <a:lnTo>
                  <a:pt x="482876" y="532926"/>
                </a:lnTo>
                <a:cubicBezTo>
                  <a:pt x="483788" y="532016"/>
                  <a:pt x="483332" y="530649"/>
                  <a:pt x="482876" y="529282"/>
                </a:cubicBezTo>
                <a:lnTo>
                  <a:pt x="482876" y="527461"/>
                </a:lnTo>
                <a:lnTo>
                  <a:pt x="485579" y="536245"/>
                </a:lnTo>
                <a:lnTo>
                  <a:pt x="481054" y="532926"/>
                </a:lnTo>
                <a:cubicBezTo>
                  <a:pt x="480143" y="534749"/>
                  <a:pt x="481965" y="537482"/>
                  <a:pt x="484472" y="539988"/>
                </a:cubicBezTo>
                <a:lnTo>
                  <a:pt x="487418" y="542220"/>
                </a:lnTo>
                <a:lnTo>
                  <a:pt x="489254" y="548187"/>
                </a:lnTo>
                <a:lnTo>
                  <a:pt x="491039" y="551105"/>
                </a:lnTo>
                <a:lnTo>
                  <a:pt x="478093" y="536116"/>
                </a:lnTo>
                <a:close/>
                <a:moveTo>
                  <a:pt x="2192076" y="521993"/>
                </a:moveTo>
                <a:cubicBezTo>
                  <a:pt x="2188431" y="520171"/>
                  <a:pt x="2190253" y="523815"/>
                  <a:pt x="2186609" y="523815"/>
                </a:cubicBezTo>
                <a:cubicBezTo>
                  <a:pt x="2186609" y="527461"/>
                  <a:pt x="2188431" y="527461"/>
                  <a:pt x="2192076" y="527461"/>
                </a:cubicBezTo>
                <a:cubicBezTo>
                  <a:pt x="2192076" y="525638"/>
                  <a:pt x="2192076" y="523815"/>
                  <a:pt x="2192076" y="521993"/>
                </a:cubicBezTo>
                <a:close/>
                <a:moveTo>
                  <a:pt x="962108" y="521993"/>
                </a:moveTo>
                <a:cubicBezTo>
                  <a:pt x="956642" y="529282"/>
                  <a:pt x="952997" y="538393"/>
                  <a:pt x="952997" y="547504"/>
                </a:cubicBezTo>
                <a:cubicBezTo>
                  <a:pt x="951175" y="549326"/>
                  <a:pt x="951175" y="543860"/>
                  <a:pt x="949353" y="545681"/>
                </a:cubicBezTo>
                <a:cubicBezTo>
                  <a:pt x="947531" y="545681"/>
                  <a:pt x="947531" y="549326"/>
                  <a:pt x="947531" y="551148"/>
                </a:cubicBezTo>
                <a:cubicBezTo>
                  <a:pt x="949353" y="552970"/>
                  <a:pt x="951175" y="549326"/>
                  <a:pt x="952997" y="547504"/>
                </a:cubicBezTo>
                <a:cubicBezTo>
                  <a:pt x="954819" y="545681"/>
                  <a:pt x="956642" y="543860"/>
                  <a:pt x="958464" y="542037"/>
                </a:cubicBezTo>
                <a:cubicBezTo>
                  <a:pt x="960286" y="538393"/>
                  <a:pt x="962108" y="532926"/>
                  <a:pt x="960286" y="529282"/>
                </a:cubicBezTo>
                <a:lnTo>
                  <a:pt x="962108" y="531105"/>
                </a:lnTo>
                <a:cubicBezTo>
                  <a:pt x="962108" y="527461"/>
                  <a:pt x="962108" y="525638"/>
                  <a:pt x="962108" y="521993"/>
                </a:cubicBezTo>
                <a:close/>
                <a:moveTo>
                  <a:pt x="925666" y="521993"/>
                </a:moveTo>
                <a:cubicBezTo>
                  <a:pt x="923843" y="523815"/>
                  <a:pt x="927487" y="525638"/>
                  <a:pt x="925666" y="525638"/>
                </a:cubicBezTo>
                <a:cubicBezTo>
                  <a:pt x="927487" y="527461"/>
                  <a:pt x="927487" y="521993"/>
                  <a:pt x="925666" y="521993"/>
                </a:cubicBezTo>
                <a:close/>
                <a:moveTo>
                  <a:pt x="621362" y="521993"/>
                </a:moveTo>
                <a:lnTo>
                  <a:pt x="621590" y="522358"/>
                </a:lnTo>
                <a:lnTo>
                  <a:pt x="620922" y="523634"/>
                </a:lnTo>
                <a:close/>
                <a:moveTo>
                  <a:pt x="3442087" y="520171"/>
                </a:moveTo>
                <a:cubicBezTo>
                  <a:pt x="3440265" y="521993"/>
                  <a:pt x="3449376" y="527461"/>
                  <a:pt x="3442087" y="532926"/>
                </a:cubicBezTo>
                <a:cubicBezTo>
                  <a:pt x="3440265" y="532926"/>
                  <a:pt x="3438443" y="531105"/>
                  <a:pt x="3438443" y="529282"/>
                </a:cubicBezTo>
                <a:cubicBezTo>
                  <a:pt x="3434798" y="538393"/>
                  <a:pt x="3440265" y="549326"/>
                  <a:pt x="3445731" y="558437"/>
                </a:cubicBezTo>
                <a:cubicBezTo>
                  <a:pt x="3445731" y="558437"/>
                  <a:pt x="3447553" y="545681"/>
                  <a:pt x="3453020" y="554792"/>
                </a:cubicBezTo>
                <a:cubicBezTo>
                  <a:pt x="3453020" y="543860"/>
                  <a:pt x="3458487" y="520171"/>
                  <a:pt x="3442087" y="520171"/>
                </a:cubicBezTo>
                <a:close/>
                <a:moveTo>
                  <a:pt x="3239826" y="520171"/>
                </a:moveTo>
                <a:cubicBezTo>
                  <a:pt x="3230715" y="518349"/>
                  <a:pt x="3238003" y="527461"/>
                  <a:pt x="3234359" y="532926"/>
                </a:cubicBezTo>
                <a:cubicBezTo>
                  <a:pt x="3236181" y="534749"/>
                  <a:pt x="3239826" y="529282"/>
                  <a:pt x="3241648" y="531105"/>
                </a:cubicBezTo>
                <a:cubicBezTo>
                  <a:pt x="3241648" y="527461"/>
                  <a:pt x="3238003" y="525638"/>
                  <a:pt x="3239826" y="520171"/>
                </a:cubicBezTo>
                <a:close/>
                <a:moveTo>
                  <a:pt x="2993832" y="520171"/>
                </a:moveTo>
                <a:cubicBezTo>
                  <a:pt x="2990188" y="521993"/>
                  <a:pt x="2986543" y="527461"/>
                  <a:pt x="2992010" y="529282"/>
                </a:cubicBezTo>
                <a:cubicBezTo>
                  <a:pt x="2993832" y="525638"/>
                  <a:pt x="2993832" y="523815"/>
                  <a:pt x="2993832" y="520171"/>
                </a:cubicBezTo>
                <a:close/>
                <a:moveTo>
                  <a:pt x="2986543" y="520171"/>
                </a:moveTo>
                <a:cubicBezTo>
                  <a:pt x="2977432" y="523815"/>
                  <a:pt x="2977432" y="531105"/>
                  <a:pt x="2981077" y="540215"/>
                </a:cubicBezTo>
                <a:cubicBezTo>
                  <a:pt x="2982899" y="536571"/>
                  <a:pt x="2984721" y="536571"/>
                  <a:pt x="2988366" y="534749"/>
                </a:cubicBezTo>
                <a:cubicBezTo>
                  <a:pt x="2982899" y="527461"/>
                  <a:pt x="2986543" y="527461"/>
                  <a:pt x="2986543" y="520171"/>
                </a:cubicBezTo>
                <a:close/>
                <a:moveTo>
                  <a:pt x="2879035" y="520171"/>
                </a:moveTo>
                <a:cubicBezTo>
                  <a:pt x="2880857" y="521993"/>
                  <a:pt x="2880857" y="525638"/>
                  <a:pt x="2884502" y="527461"/>
                </a:cubicBezTo>
                <a:cubicBezTo>
                  <a:pt x="2884502" y="525638"/>
                  <a:pt x="2886324" y="521993"/>
                  <a:pt x="2884502" y="520171"/>
                </a:cubicBezTo>
                <a:cubicBezTo>
                  <a:pt x="2882680" y="520171"/>
                  <a:pt x="2880857" y="520171"/>
                  <a:pt x="2879035" y="520171"/>
                </a:cubicBezTo>
                <a:close/>
                <a:moveTo>
                  <a:pt x="2671307" y="520171"/>
                </a:moveTo>
                <a:cubicBezTo>
                  <a:pt x="2667663" y="518349"/>
                  <a:pt x="2667663" y="527461"/>
                  <a:pt x="2671307" y="525638"/>
                </a:cubicBezTo>
                <a:cubicBezTo>
                  <a:pt x="2673130" y="523815"/>
                  <a:pt x="2671307" y="523815"/>
                  <a:pt x="2671307" y="520171"/>
                </a:cubicBezTo>
                <a:close/>
                <a:moveTo>
                  <a:pt x="2501845" y="520171"/>
                </a:moveTo>
                <a:cubicBezTo>
                  <a:pt x="2500023" y="523815"/>
                  <a:pt x="2500023" y="527461"/>
                  <a:pt x="2496379" y="527461"/>
                </a:cubicBezTo>
                <a:cubicBezTo>
                  <a:pt x="2500023" y="532926"/>
                  <a:pt x="2505490" y="534749"/>
                  <a:pt x="2509134" y="540215"/>
                </a:cubicBezTo>
                <a:cubicBezTo>
                  <a:pt x="2514600" y="531105"/>
                  <a:pt x="2509134" y="521993"/>
                  <a:pt x="2501845" y="520171"/>
                </a:cubicBezTo>
                <a:close/>
                <a:moveTo>
                  <a:pt x="2489090" y="520171"/>
                </a:moveTo>
                <a:cubicBezTo>
                  <a:pt x="2487268" y="521993"/>
                  <a:pt x="2487268" y="521993"/>
                  <a:pt x="2485446" y="521993"/>
                </a:cubicBezTo>
                <a:cubicBezTo>
                  <a:pt x="2483624" y="523815"/>
                  <a:pt x="2487268" y="525638"/>
                  <a:pt x="2487268" y="527461"/>
                </a:cubicBezTo>
                <a:cubicBezTo>
                  <a:pt x="2489090" y="525638"/>
                  <a:pt x="2489090" y="521993"/>
                  <a:pt x="2489090" y="520171"/>
                </a:cubicBezTo>
                <a:close/>
                <a:moveTo>
                  <a:pt x="1248189" y="520171"/>
                </a:moveTo>
                <a:cubicBezTo>
                  <a:pt x="1240901" y="527461"/>
                  <a:pt x="1239080" y="536571"/>
                  <a:pt x="1246367" y="545681"/>
                </a:cubicBezTo>
                <a:cubicBezTo>
                  <a:pt x="1248189" y="545681"/>
                  <a:pt x="1248189" y="543860"/>
                  <a:pt x="1250012" y="543860"/>
                </a:cubicBezTo>
                <a:cubicBezTo>
                  <a:pt x="1240901" y="551148"/>
                  <a:pt x="1228146" y="560260"/>
                  <a:pt x="1217213" y="569370"/>
                </a:cubicBezTo>
                <a:cubicBezTo>
                  <a:pt x="1220858" y="571192"/>
                  <a:pt x="1224501" y="567548"/>
                  <a:pt x="1229969" y="563904"/>
                </a:cubicBezTo>
                <a:cubicBezTo>
                  <a:pt x="1231790" y="565725"/>
                  <a:pt x="1228146" y="567548"/>
                  <a:pt x="1226323" y="569370"/>
                </a:cubicBezTo>
                <a:cubicBezTo>
                  <a:pt x="1228146" y="569370"/>
                  <a:pt x="1229969" y="569370"/>
                  <a:pt x="1229969" y="569370"/>
                </a:cubicBezTo>
                <a:cubicBezTo>
                  <a:pt x="1226323" y="574836"/>
                  <a:pt x="1222679" y="569370"/>
                  <a:pt x="1219036" y="573014"/>
                </a:cubicBezTo>
                <a:cubicBezTo>
                  <a:pt x="1220858" y="574836"/>
                  <a:pt x="1220858" y="576658"/>
                  <a:pt x="1222679" y="578481"/>
                </a:cubicBezTo>
                <a:cubicBezTo>
                  <a:pt x="1219036" y="578481"/>
                  <a:pt x="1219036" y="574836"/>
                  <a:pt x="1217213" y="573014"/>
                </a:cubicBezTo>
                <a:lnTo>
                  <a:pt x="1208170" y="582057"/>
                </a:lnTo>
                <a:lnTo>
                  <a:pt x="1204457" y="578481"/>
                </a:lnTo>
                <a:cubicBezTo>
                  <a:pt x="1197169" y="583947"/>
                  <a:pt x="1197169" y="591236"/>
                  <a:pt x="1197169" y="598524"/>
                </a:cubicBezTo>
                <a:cubicBezTo>
                  <a:pt x="1197169" y="596702"/>
                  <a:pt x="1197169" y="594880"/>
                  <a:pt x="1195346" y="591236"/>
                </a:cubicBezTo>
                <a:cubicBezTo>
                  <a:pt x="1191703" y="591236"/>
                  <a:pt x="1195346" y="585769"/>
                  <a:pt x="1191703" y="583947"/>
                </a:cubicBezTo>
                <a:cubicBezTo>
                  <a:pt x="1189880" y="585769"/>
                  <a:pt x="1189880" y="589414"/>
                  <a:pt x="1189880" y="593058"/>
                </a:cubicBezTo>
                <a:cubicBezTo>
                  <a:pt x="1191703" y="593058"/>
                  <a:pt x="1193525" y="591236"/>
                  <a:pt x="1195346" y="591236"/>
                </a:cubicBezTo>
                <a:lnTo>
                  <a:pt x="1191342" y="604724"/>
                </a:lnTo>
                <a:lnTo>
                  <a:pt x="1191703" y="602169"/>
                </a:lnTo>
                <a:cubicBezTo>
                  <a:pt x="1184414" y="607635"/>
                  <a:pt x="1175303" y="614924"/>
                  <a:pt x="1178947" y="622213"/>
                </a:cubicBezTo>
                <a:cubicBezTo>
                  <a:pt x="1178947" y="620391"/>
                  <a:pt x="1180769" y="620391"/>
                  <a:pt x="1180769" y="618568"/>
                </a:cubicBezTo>
                <a:cubicBezTo>
                  <a:pt x="1182592" y="622213"/>
                  <a:pt x="1177125" y="624035"/>
                  <a:pt x="1178947" y="627679"/>
                </a:cubicBezTo>
                <a:lnTo>
                  <a:pt x="1188264" y="619375"/>
                </a:lnTo>
                <a:lnTo>
                  <a:pt x="1188058" y="620391"/>
                </a:lnTo>
                <a:cubicBezTo>
                  <a:pt x="1188969" y="621302"/>
                  <a:pt x="1188969" y="620391"/>
                  <a:pt x="1188969" y="619252"/>
                </a:cubicBezTo>
                <a:lnTo>
                  <a:pt x="1189241" y="618505"/>
                </a:lnTo>
                <a:lnTo>
                  <a:pt x="1189424" y="618341"/>
                </a:lnTo>
                <a:lnTo>
                  <a:pt x="1189504" y="617784"/>
                </a:lnTo>
                <a:lnTo>
                  <a:pt x="1189880" y="616746"/>
                </a:lnTo>
                <a:cubicBezTo>
                  <a:pt x="1191703" y="618568"/>
                  <a:pt x="1189880" y="620391"/>
                  <a:pt x="1189880" y="622213"/>
                </a:cubicBezTo>
                <a:cubicBezTo>
                  <a:pt x="1195346" y="620391"/>
                  <a:pt x="1191703" y="611280"/>
                  <a:pt x="1195346" y="607635"/>
                </a:cubicBezTo>
                <a:cubicBezTo>
                  <a:pt x="1193525" y="605813"/>
                  <a:pt x="1193525" y="605813"/>
                  <a:pt x="1191703" y="603991"/>
                </a:cubicBezTo>
                <a:cubicBezTo>
                  <a:pt x="1195346" y="605813"/>
                  <a:pt x="1195346" y="602169"/>
                  <a:pt x="1197169" y="603991"/>
                </a:cubicBezTo>
                <a:cubicBezTo>
                  <a:pt x="1200814" y="600347"/>
                  <a:pt x="1200814" y="598524"/>
                  <a:pt x="1200814" y="596702"/>
                </a:cubicBezTo>
                <a:cubicBezTo>
                  <a:pt x="1200814" y="602169"/>
                  <a:pt x="1195346" y="613103"/>
                  <a:pt x="1193525" y="620391"/>
                </a:cubicBezTo>
                <a:cubicBezTo>
                  <a:pt x="1197169" y="620391"/>
                  <a:pt x="1195346" y="614924"/>
                  <a:pt x="1198991" y="613103"/>
                </a:cubicBezTo>
                <a:cubicBezTo>
                  <a:pt x="1200814" y="618568"/>
                  <a:pt x="1197169" y="622213"/>
                  <a:pt x="1193525" y="625857"/>
                </a:cubicBezTo>
                <a:cubicBezTo>
                  <a:pt x="1198991" y="629501"/>
                  <a:pt x="1200814" y="620391"/>
                  <a:pt x="1204457" y="620391"/>
                </a:cubicBezTo>
                <a:cubicBezTo>
                  <a:pt x="1204457" y="622213"/>
                  <a:pt x="1204457" y="625857"/>
                  <a:pt x="1204457" y="627679"/>
                </a:cubicBezTo>
                <a:cubicBezTo>
                  <a:pt x="1206279" y="627679"/>
                  <a:pt x="1209925" y="625857"/>
                  <a:pt x="1209925" y="624035"/>
                </a:cubicBezTo>
                <a:cubicBezTo>
                  <a:pt x="1208102" y="622213"/>
                  <a:pt x="1208102" y="622213"/>
                  <a:pt x="1206279" y="620391"/>
                </a:cubicBezTo>
                <a:cubicBezTo>
                  <a:pt x="1208102" y="618568"/>
                  <a:pt x="1211747" y="622213"/>
                  <a:pt x="1211747" y="624035"/>
                </a:cubicBezTo>
                <a:cubicBezTo>
                  <a:pt x="1215390" y="622213"/>
                  <a:pt x="1213568" y="616746"/>
                  <a:pt x="1217213" y="613103"/>
                </a:cubicBezTo>
                <a:cubicBezTo>
                  <a:pt x="1215390" y="614924"/>
                  <a:pt x="1219036" y="616746"/>
                  <a:pt x="1220858" y="618568"/>
                </a:cubicBezTo>
                <a:cubicBezTo>
                  <a:pt x="1222679" y="618568"/>
                  <a:pt x="1220858" y="616746"/>
                  <a:pt x="1222679" y="618568"/>
                </a:cubicBezTo>
                <a:cubicBezTo>
                  <a:pt x="1224501" y="616746"/>
                  <a:pt x="1222679" y="614924"/>
                  <a:pt x="1226323" y="613103"/>
                </a:cubicBezTo>
                <a:cubicBezTo>
                  <a:pt x="1224501" y="609459"/>
                  <a:pt x="1224501" y="607635"/>
                  <a:pt x="1226323" y="602169"/>
                </a:cubicBezTo>
                <a:lnTo>
                  <a:pt x="1218533" y="592525"/>
                </a:lnTo>
                <a:lnTo>
                  <a:pt x="1226323" y="594880"/>
                </a:lnTo>
                <a:cubicBezTo>
                  <a:pt x="1226323" y="600347"/>
                  <a:pt x="1231790" y="605813"/>
                  <a:pt x="1233612" y="611280"/>
                </a:cubicBezTo>
                <a:lnTo>
                  <a:pt x="1234028" y="610221"/>
                </a:lnTo>
                <a:lnTo>
                  <a:pt x="1244545" y="629501"/>
                </a:lnTo>
                <a:cubicBezTo>
                  <a:pt x="1244545" y="629501"/>
                  <a:pt x="1246367" y="629501"/>
                  <a:pt x="1248189" y="627679"/>
                </a:cubicBezTo>
                <a:cubicBezTo>
                  <a:pt x="1248189" y="625857"/>
                  <a:pt x="1246367" y="627679"/>
                  <a:pt x="1244545" y="625857"/>
                </a:cubicBezTo>
                <a:cubicBezTo>
                  <a:pt x="1246367" y="624035"/>
                  <a:pt x="1246367" y="627679"/>
                  <a:pt x="1248189" y="625857"/>
                </a:cubicBezTo>
                <a:cubicBezTo>
                  <a:pt x="1248189" y="622213"/>
                  <a:pt x="1242723" y="620391"/>
                  <a:pt x="1240901" y="618568"/>
                </a:cubicBezTo>
                <a:cubicBezTo>
                  <a:pt x="1242723" y="616746"/>
                  <a:pt x="1242723" y="620391"/>
                  <a:pt x="1244545" y="620391"/>
                </a:cubicBezTo>
                <a:cubicBezTo>
                  <a:pt x="1244545" y="620391"/>
                  <a:pt x="1244545" y="618568"/>
                  <a:pt x="1242723" y="616746"/>
                </a:cubicBezTo>
                <a:cubicBezTo>
                  <a:pt x="1248189" y="616746"/>
                  <a:pt x="1246367" y="620391"/>
                  <a:pt x="1250012" y="620391"/>
                </a:cubicBezTo>
                <a:cubicBezTo>
                  <a:pt x="1250012" y="620391"/>
                  <a:pt x="1248189" y="622213"/>
                  <a:pt x="1248189" y="622213"/>
                </a:cubicBezTo>
                <a:cubicBezTo>
                  <a:pt x="1248189" y="624035"/>
                  <a:pt x="1250012" y="624035"/>
                  <a:pt x="1251834" y="625857"/>
                </a:cubicBezTo>
                <a:cubicBezTo>
                  <a:pt x="1253656" y="624035"/>
                  <a:pt x="1253656" y="622213"/>
                  <a:pt x="1251834" y="618568"/>
                </a:cubicBezTo>
                <a:cubicBezTo>
                  <a:pt x="1251834" y="616746"/>
                  <a:pt x="1255478" y="616746"/>
                  <a:pt x="1255478" y="614924"/>
                </a:cubicBezTo>
                <a:cubicBezTo>
                  <a:pt x="1251834" y="611280"/>
                  <a:pt x="1255478" y="609459"/>
                  <a:pt x="1255478" y="605813"/>
                </a:cubicBezTo>
                <a:cubicBezTo>
                  <a:pt x="1257300" y="611280"/>
                  <a:pt x="1257300" y="616746"/>
                  <a:pt x="1260945" y="620391"/>
                </a:cubicBezTo>
                <a:cubicBezTo>
                  <a:pt x="1262767" y="613103"/>
                  <a:pt x="1259123" y="607635"/>
                  <a:pt x="1259123" y="600347"/>
                </a:cubicBezTo>
                <a:cubicBezTo>
                  <a:pt x="1260945" y="603991"/>
                  <a:pt x="1260945" y="611280"/>
                  <a:pt x="1262767" y="616746"/>
                </a:cubicBezTo>
                <a:cubicBezTo>
                  <a:pt x="1267322" y="616746"/>
                  <a:pt x="1267322" y="612191"/>
                  <a:pt x="1265273" y="607180"/>
                </a:cubicBezTo>
                <a:lnTo>
                  <a:pt x="1255604" y="595039"/>
                </a:lnTo>
                <a:lnTo>
                  <a:pt x="1256247" y="586538"/>
                </a:lnTo>
                <a:cubicBezTo>
                  <a:pt x="1254111" y="575862"/>
                  <a:pt x="1244545" y="563904"/>
                  <a:pt x="1239080" y="552970"/>
                </a:cubicBezTo>
                <a:cubicBezTo>
                  <a:pt x="1240901" y="551148"/>
                  <a:pt x="1240901" y="554792"/>
                  <a:pt x="1242723" y="552970"/>
                </a:cubicBezTo>
                <a:cubicBezTo>
                  <a:pt x="1244545" y="554792"/>
                  <a:pt x="1242723" y="554792"/>
                  <a:pt x="1242723" y="556616"/>
                </a:cubicBezTo>
                <a:cubicBezTo>
                  <a:pt x="1253656" y="574836"/>
                  <a:pt x="1257300" y="591236"/>
                  <a:pt x="1271878" y="609459"/>
                </a:cubicBezTo>
                <a:cubicBezTo>
                  <a:pt x="1275522" y="598524"/>
                  <a:pt x="1271878" y="587591"/>
                  <a:pt x="1270056" y="574836"/>
                </a:cubicBezTo>
                <a:cubicBezTo>
                  <a:pt x="1266411" y="558437"/>
                  <a:pt x="1266411" y="542037"/>
                  <a:pt x="1250012" y="527461"/>
                </a:cubicBezTo>
                <a:cubicBezTo>
                  <a:pt x="1250012" y="523815"/>
                  <a:pt x="1251834" y="523815"/>
                  <a:pt x="1248189" y="520171"/>
                </a:cubicBezTo>
                <a:close/>
                <a:moveTo>
                  <a:pt x="1115171" y="520171"/>
                </a:moveTo>
                <a:lnTo>
                  <a:pt x="1115724" y="520969"/>
                </a:lnTo>
                <a:lnTo>
                  <a:pt x="1115171" y="522904"/>
                </a:lnTo>
                <a:close/>
                <a:moveTo>
                  <a:pt x="641407" y="520171"/>
                </a:moveTo>
                <a:cubicBezTo>
                  <a:pt x="635939" y="518349"/>
                  <a:pt x="637761" y="523815"/>
                  <a:pt x="637761" y="525638"/>
                </a:cubicBezTo>
                <a:cubicBezTo>
                  <a:pt x="641407" y="527461"/>
                  <a:pt x="639583" y="521993"/>
                  <a:pt x="641407" y="520171"/>
                </a:cubicBezTo>
                <a:close/>
                <a:moveTo>
                  <a:pt x="660350" y="518504"/>
                </a:moveTo>
                <a:lnTo>
                  <a:pt x="660994" y="521766"/>
                </a:lnTo>
                <a:cubicBezTo>
                  <a:pt x="660994" y="527005"/>
                  <a:pt x="659627" y="532016"/>
                  <a:pt x="655983" y="536571"/>
                </a:cubicBezTo>
                <a:lnTo>
                  <a:pt x="655830" y="536263"/>
                </a:lnTo>
                <a:lnTo>
                  <a:pt x="658033" y="523816"/>
                </a:lnTo>
                <a:close/>
                <a:moveTo>
                  <a:pt x="3216137" y="518349"/>
                </a:moveTo>
                <a:cubicBezTo>
                  <a:pt x="3208849" y="521993"/>
                  <a:pt x="3205204" y="531105"/>
                  <a:pt x="3208849" y="534749"/>
                </a:cubicBezTo>
                <a:cubicBezTo>
                  <a:pt x="3210671" y="529282"/>
                  <a:pt x="3216137" y="525638"/>
                  <a:pt x="3216137" y="518349"/>
                </a:cubicBezTo>
                <a:close/>
                <a:moveTo>
                  <a:pt x="1000374" y="518349"/>
                </a:moveTo>
                <a:cubicBezTo>
                  <a:pt x="1000374" y="521993"/>
                  <a:pt x="998552" y="529282"/>
                  <a:pt x="996729" y="531105"/>
                </a:cubicBezTo>
                <a:cubicBezTo>
                  <a:pt x="998552" y="527461"/>
                  <a:pt x="994907" y="523815"/>
                  <a:pt x="1000374" y="518349"/>
                </a:cubicBezTo>
                <a:close/>
                <a:moveTo>
                  <a:pt x="632296" y="518349"/>
                </a:moveTo>
                <a:cubicBezTo>
                  <a:pt x="632296" y="521993"/>
                  <a:pt x="635939" y="527461"/>
                  <a:pt x="635939" y="531105"/>
                </a:cubicBezTo>
                <a:cubicBezTo>
                  <a:pt x="637761" y="527461"/>
                  <a:pt x="637761" y="520171"/>
                  <a:pt x="632296" y="518349"/>
                </a:cubicBezTo>
                <a:close/>
                <a:moveTo>
                  <a:pt x="2968384" y="517738"/>
                </a:moveTo>
                <a:lnTo>
                  <a:pt x="2968322" y="520171"/>
                </a:lnTo>
                <a:lnTo>
                  <a:pt x="2966851" y="519719"/>
                </a:lnTo>
                <a:close/>
                <a:moveTo>
                  <a:pt x="3261692" y="516527"/>
                </a:moveTo>
                <a:cubicBezTo>
                  <a:pt x="3254403" y="520171"/>
                  <a:pt x="3258047" y="525638"/>
                  <a:pt x="3261692" y="527461"/>
                </a:cubicBezTo>
                <a:cubicBezTo>
                  <a:pt x="3265336" y="523815"/>
                  <a:pt x="3256225" y="521993"/>
                  <a:pt x="3261692" y="516527"/>
                </a:cubicBezTo>
                <a:close/>
                <a:moveTo>
                  <a:pt x="2585665" y="516527"/>
                </a:moveTo>
                <a:cubicBezTo>
                  <a:pt x="2583843" y="518349"/>
                  <a:pt x="2585665" y="525638"/>
                  <a:pt x="2589310" y="523815"/>
                </a:cubicBezTo>
                <a:cubicBezTo>
                  <a:pt x="2587487" y="520171"/>
                  <a:pt x="2585665" y="518349"/>
                  <a:pt x="2585665" y="516527"/>
                </a:cubicBezTo>
                <a:close/>
                <a:moveTo>
                  <a:pt x="2115544" y="516527"/>
                </a:moveTo>
                <a:cubicBezTo>
                  <a:pt x="2115544" y="517438"/>
                  <a:pt x="2117367" y="518805"/>
                  <a:pt x="2118733" y="520399"/>
                </a:cubicBezTo>
                <a:lnTo>
                  <a:pt x="2118788" y="521032"/>
                </a:lnTo>
                <a:close/>
                <a:moveTo>
                  <a:pt x="1155259" y="516527"/>
                </a:moveTo>
                <a:lnTo>
                  <a:pt x="1155935" y="519901"/>
                </a:lnTo>
                <a:lnTo>
                  <a:pt x="1151614" y="527461"/>
                </a:lnTo>
                <a:lnTo>
                  <a:pt x="1147916" y="524995"/>
                </a:lnTo>
                <a:lnTo>
                  <a:pt x="1148653" y="522449"/>
                </a:lnTo>
                <a:cubicBezTo>
                  <a:pt x="1150703" y="520171"/>
                  <a:pt x="1153436" y="518349"/>
                  <a:pt x="1155259" y="516527"/>
                </a:cubicBezTo>
                <a:close/>
                <a:moveTo>
                  <a:pt x="1116993" y="516527"/>
                </a:moveTo>
                <a:lnTo>
                  <a:pt x="1116993" y="522803"/>
                </a:lnTo>
                <a:lnTo>
                  <a:pt x="1115724" y="520969"/>
                </a:lnTo>
                <a:close/>
                <a:moveTo>
                  <a:pt x="2678369" y="514933"/>
                </a:moveTo>
                <a:cubicBezTo>
                  <a:pt x="2676774" y="515160"/>
                  <a:pt x="2675863" y="516527"/>
                  <a:pt x="2676774" y="520171"/>
                </a:cubicBezTo>
                <a:cubicBezTo>
                  <a:pt x="2678596" y="520171"/>
                  <a:pt x="2680418" y="520171"/>
                  <a:pt x="2680418" y="521993"/>
                </a:cubicBezTo>
                <a:cubicBezTo>
                  <a:pt x="2682240" y="521993"/>
                  <a:pt x="2680418" y="520171"/>
                  <a:pt x="2680418" y="520171"/>
                </a:cubicBezTo>
                <a:cubicBezTo>
                  <a:pt x="2680418" y="516527"/>
                  <a:pt x="2685885" y="521993"/>
                  <a:pt x="2684063" y="516527"/>
                </a:cubicBezTo>
                <a:cubicBezTo>
                  <a:pt x="2682241" y="515616"/>
                  <a:pt x="2679963" y="514705"/>
                  <a:pt x="2678369" y="514933"/>
                </a:cubicBezTo>
                <a:close/>
                <a:moveTo>
                  <a:pt x="1177125" y="514706"/>
                </a:moveTo>
                <a:lnTo>
                  <a:pt x="1177125" y="514933"/>
                </a:lnTo>
                <a:lnTo>
                  <a:pt x="1176977" y="514927"/>
                </a:lnTo>
                <a:close/>
                <a:moveTo>
                  <a:pt x="3352800" y="514705"/>
                </a:moveTo>
                <a:cubicBezTo>
                  <a:pt x="3349156" y="512882"/>
                  <a:pt x="3350978" y="516527"/>
                  <a:pt x="3345512" y="516527"/>
                </a:cubicBezTo>
                <a:cubicBezTo>
                  <a:pt x="3350978" y="521993"/>
                  <a:pt x="3350978" y="518349"/>
                  <a:pt x="3352800" y="514705"/>
                </a:cubicBezTo>
                <a:close/>
                <a:moveTo>
                  <a:pt x="2982899" y="514705"/>
                </a:moveTo>
                <a:cubicBezTo>
                  <a:pt x="2977432" y="514705"/>
                  <a:pt x="2979255" y="520171"/>
                  <a:pt x="2982899" y="520171"/>
                </a:cubicBezTo>
                <a:cubicBezTo>
                  <a:pt x="2984721" y="518349"/>
                  <a:pt x="2984721" y="518349"/>
                  <a:pt x="2982899" y="514705"/>
                </a:cubicBezTo>
                <a:close/>
                <a:moveTo>
                  <a:pt x="2203009" y="514705"/>
                </a:moveTo>
                <a:cubicBezTo>
                  <a:pt x="2199364" y="516527"/>
                  <a:pt x="2195720" y="518349"/>
                  <a:pt x="2192076" y="520171"/>
                </a:cubicBezTo>
                <a:cubicBezTo>
                  <a:pt x="2192076" y="525638"/>
                  <a:pt x="2193898" y="527461"/>
                  <a:pt x="2195720" y="531105"/>
                </a:cubicBezTo>
                <a:cubicBezTo>
                  <a:pt x="2208475" y="540215"/>
                  <a:pt x="2213942" y="521993"/>
                  <a:pt x="2208475" y="516527"/>
                </a:cubicBezTo>
                <a:cubicBezTo>
                  <a:pt x="2206653" y="516527"/>
                  <a:pt x="2204831" y="523815"/>
                  <a:pt x="2203009" y="514705"/>
                </a:cubicBezTo>
                <a:close/>
                <a:moveTo>
                  <a:pt x="2108256" y="514705"/>
                </a:moveTo>
                <a:cubicBezTo>
                  <a:pt x="2102790" y="520171"/>
                  <a:pt x="2108256" y="521993"/>
                  <a:pt x="2111900" y="525638"/>
                </a:cubicBezTo>
                <a:cubicBezTo>
                  <a:pt x="2115544" y="520171"/>
                  <a:pt x="2108256" y="518349"/>
                  <a:pt x="2108256" y="514705"/>
                </a:cubicBezTo>
                <a:close/>
                <a:moveTo>
                  <a:pt x="1202636" y="514705"/>
                </a:moveTo>
                <a:cubicBezTo>
                  <a:pt x="1198991" y="516527"/>
                  <a:pt x="1204457" y="518349"/>
                  <a:pt x="1204457" y="520171"/>
                </a:cubicBezTo>
                <a:cubicBezTo>
                  <a:pt x="1204457" y="518349"/>
                  <a:pt x="1204457" y="516527"/>
                  <a:pt x="1202636" y="514705"/>
                </a:cubicBezTo>
                <a:close/>
                <a:moveTo>
                  <a:pt x="843667" y="514705"/>
                </a:moveTo>
                <a:cubicBezTo>
                  <a:pt x="842757" y="516528"/>
                  <a:pt x="843667" y="519261"/>
                  <a:pt x="844123" y="521766"/>
                </a:cubicBezTo>
                <a:lnTo>
                  <a:pt x="843170" y="524148"/>
                </a:lnTo>
                <a:close/>
                <a:moveTo>
                  <a:pt x="727048" y="514705"/>
                </a:moveTo>
                <a:cubicBezTo>
                  <a:pt x="725225" y="519260"/>
                  <a:pt x="726592" y="523360"/>
                  <a:pt x="728414" y="527460"/>
                </a:cubicBezTo>
                <a:lnTo>
                  <a:pt x="730340" y="533454"/>
                </a:lnTo>
                <a:lnTo>
                  <a:pt x="729057" y="535380"/>
                </a:lnTo>
                <a:lnTo>
                  <a:pt x="727503" y="529055"/>
                </a:lnTo>
                <a:lnTo>
                  <a:pt x="727322" y="528553"/>
                </a:lnTo>
                <a:lnTo>
                  <a:pt x="727048" y="527461"/>
                </a:lnTo>
                <a:lnTo>
                  <a:pt x="726953" y="527539"/>
                </a:lnTo>
                <a:lnTo>
                  <a:pt x="725055" y="522307"/>
                </a:lnTo>
                <a:cubicBezTo>
                  <a:pt x="724770" y="519944"/>
                  <a:pt x="725226" y="517439"/>
                  <a:pt x="727048" y="514705"/>
                </a:cubicBezTo>
                <a:close/>
                <a:moveTo>
                  <a:pt x="625006" y="514705"/>
                </a:moveTo>
                <a:cubicBezTo>
                  <a:pt x="619539" y="518349"/>
                  <a:pt x="625006" y="520171"/>
                  <a:pt x="626828" y="523815"/>
                </a:cubicBezTo>
                <a:cubicBezTo>
                  <a:pt x="628650" y="520171"/>
                  <a:pt x="626828" y="518349"/>
                  <a:pt x="625006" y="514705"/>
                </a:cubicBezTo>
                <a:close/>
                <a:moveTo>
                  <a:pt x="599496" y="514705"/>
                </a:moveTo>
                <a:cubicBezTo>
                  <a:pt x="599496" y="521993"/>
                  <a:pt x="601318" y="529282"/>
                  <a:pt x="606784" y="536571"/>
                </a:cubicBezTo>
                <a:cubicBezTo>
                  <a:pt x="604963" y="529282"/>
                  <a:pt x="608606" y="518349"/>
                  <a:pt x="599496" y="514705"/>
                </a:cubicBezTo>
                <a:close/>
                <a:moveTo>
                  <a:pt x="528431" y="514705"/>
                </a:moveTo>
                <a:cubicBezTo>
                  <a:pt x="528431" y="518349"/>
                  <a:pt x="533897" y="523815"/>
                  <a:pt x="535719" y="529282"/>
                </a:cubicBezTo>
                <a:cubicBezTo>
                  <a:pt x="539364" y="523815"/>
                  <a:pt x="535719" y="516527"/>
                  <a:pt x="528431" y="514705"/>
                </a:cubicBezTo>
                <a:close/>
                <a:moveTo>
                  <a:pt x="2095291" y="513654"/>
                </a:moveTo>
                <a:lnTo>
                  <a:pt x="2096640" y="515388"/>
                </a:lnTo>
                <a:lnTo>
                  <a:pt x="2096959" y="517621"/>
                </a:lnTo>
                <a:lnTo>
                  <a:pt x="2095956" y="516983"/>
                </a:lnTo>
                <a:close/>
                <a:moveTo>
                  <a:pt x="2020791" y="512882"/>
                </a:moveTo>
                <a:cubicBezTo>
                  <a:pt x="2013503" y="518349"/>
                  <a:pt x="2015325" y="518349"/>
                  <a:pt x="2015325" y="527461"/>
                </a:cubicBezTo>
                <a:cubicBezTo>
                  <a:pt x="2020791" y="525638"/>
                  <a:pt x="2020791" y="520171"/>
                  <a:pt x="2020791" y="512882"/>
                </a:cubicBezTo>
                <a:close/>
                <a:moveTo>
                  <a:pt x="461671" y="512410"/>
                </a:moveTo>
                <a:lnTo>
                  <a:pt x="468804" y="522708"/>
                </a:lnTo>
                <a:lnTo>
                  <a:pt x="463743" y="519032"/>
                </a:lnTo>
                <a:close/>
                <a:moveTo>
                  <a:pt x="217427" y="511706"/>
                </a:moveTo>
                <a:lnTo>
                  <a:pt x="227690" y="528667"/>
                </a:lnTo>
                <a:lnTo>
                  <a:pt x="223416" y="524186"/>
                </a:lnTo>
                <a:close/>
                <a:moveTo>
                  <a:pt x="3378311" y="511061"/>
                </a:moveTo>
                <a:cubicBezTo>
                  <a:pt x="3374666" y="509238"/>
                  <a:pt x="3374666" y="514705"/>
                  <a:pt x="3369200" y="514705"/>
                </a:cubicBezTo>
                <a:cubicBezTo>
                  <a:pt x="3372844" y="516527"/>
                  <a:pt x="3380133" y="516527"/>
                  <a:pt x="3378311" y="511061"/>
                </a:cubicBezTo>
                <a:close/>
                <a:moveTo>
                  <a:pt x="2172032" y="511061"/>
                </a:moveTo>
                <a:cubicBezTo>
                  <a:pt x="2170210" y="514705"/>
                  <a:pt x="2166565" y="512882"/>
                  <a:pt x="2166565" y="514705"/>
                </a:cubicBezTo>
                <a:cubicBezTo>
                  <a:pt x="2166565" y="518349"/>
                  <a:pt x="2170210" y="516527"/>
                  <a:pt x="2172032" y="514705"/>
                </a:cubicBezTo>
                <a:cubicBezTo>
                  <a:pt x="2172032" y="514705"/>
                  <a:pt x="2172032" y="512882"/>
                  <a:pt x="2172032" y="511061"/>
                </a:cubicBezTo>
                <a:close/>
                <a:moveTo>
                  <a:pt x="931131" y="511061"/>
                </a:moveTo>
                <a:cubicBezTo>
                  <a:pt x="929309" y="512882"/>
                  <a:pt x="932953" y="514705"/>
                  <a:pt x="929309" y="518349"/>
                </a:cubicBezTo>
                <a:cubicBezTo>
                  <a:pt x="929309" y="516527"/>
                  <a:pt x="927487" y="511061"/>
                  <a:pt x="931131" y="511061"/>
                </a:cubicBezTo>
                <a:close/>
                <a:moveTo>
                  <a:pt x="2866608" y="509479"/>
                </a:moveTo>
                <a:lnTo>
                  <a:pt x="2866280" y="511061"/>
                </a:lnTo>
                <a:lnTo>
                  <a:pt x="2865715" y="510244"/>
                </a:lnTo>
                <a:close/>
                <a:moveTo>
                  <a:pt x="3629771" y="509238"/>
                </a:moveTo>
                <a:cubicBezTo>
                  <a:pt x="3632504" y="509238"/>
                  <a:pt x="3634326" y="511516"/>
                  <a:pt x="3634782" y="514022"/>
                </a:cubicBezTo>
                <a:lnTo>
                  <a:pt x="3633735" y="516042"/>
                </a:lnTo>
                <a:lnTo>
                  <a:pt x="3631246" y="514926"/>
                </a:lnTo>
                <a:close/>
                <a:moveTo>
                  <a:pt x="3287202" y="509238"/>
                </a:moveTo>
                <a:cubicBezTo>
                  <a:pt x="3283558" y="511061"/>
                  <a:pt x="3281736" y="512882"/>
                  <a:pt x="3281736" y="516527"/>
                </a:cubicBezTo>
                <a:cubicBezTo>
                  <a:pt x="3283558" y="516527"/>
                  <a:pt x="3285380" y="516527"/>
                  <a:pt x="3287202" y="516527"/>
                </a:cubicBezTo>
                <a:cubicBezTo>
                  <a:pt x="3285380" y="512882"/>
                  <a:pt x="3289024" y="511061"/>
                  <a:pt x="3287202" y="509238"/>
                </a:cubicBezTo>
                <a:close/>
                <a:moveTo>
                  <a:pt x="1193525" y="509238"/>
                </a:moveTo>
                <a:lnTo>
                  <a:pt x="1193815" y="516527"/>
                </a:lnTo>
                <a:lnTo>
                  <a:pt x="1191703" y="516527"/>
                </a:lnTo>
                <a:cubicBezTo>
                  <a:pt x="1193525" y="518349"/>
                  <a:pt x="1191703" y="520171"/>
                  <a:pt x="1193525" y="521993"/>
                </a:cubicBezTo>
                <a:cubicBezTo>
                  <a:pt x="1194435" y="521082"/>
                  <a:pt x="1193979" y="520171"/>
                  <a:pt x="1193752" y="519488"/>
                </a:cubicBezTo>
                <a:lnTo>
                  <a:pt x="1193929" y="519362"/>
                </a:lnTo>
                <a:lnTo>
                  <a:pt x="1195346" y="554792"/>
                </a:lnTo>
                <a:cubicBezTo>
                  <a:pt x="1197169" y="545681"/>
                  <a:pt x="1198991" y="538393"/>
                  <a:pt x="1198991" y="529282"/>
                </a:cubicBezTo>
                <a:cubicBezTo>
                  <a:pt x="1197169" y="531105"/>
                  <a:pt x="1198991" y="531105"/>
                  <a:pt x="1197169" y="531105"/>
                </a:cubicBezTo>
                <a:cubicBezTo>
                  <a:pt x="1195346" y="527461"/>
                  <a:pt x="1198991" y="525638"/>
                  <a:pt x="1195346" y="521993"/>
                </a:cubicBezTo>
                <a:cubicBezTo>
                  <a:pt x="1198079" y="521993"/>
                  <a:pt x="1198535" y="524727"/>
                  <a:pt x="1198991" y="526777"/>
                </a:cubicBezTo>
                <a:lnTo>
                  <a:pt x="1202511" y="527437"/>
                </a:lnTo>
                <a:lnTo>
                  <a:pt x="1202590" y="527640"/>
                </a:lnTo>
                <a:lnTo>
                  <a:pt x="1195346" y="556616"/>
                </a:lnTo>
                <a:cubicBezTo>
                  <a:pt x="1197169" y="556616"/>
                  <a:pt x="1197169" y="552970"/>
                  <a:pt x="1198991" y="551148"/>
                </a:cubicBezTo>
                <a:cubicBezTo>
                  <a:pt x="1200814" y="551148"/>
                  <a:pt x="1202636" y="562081"/>
                  <a:pt x="1204457" y="556616"/>
                </a:cubicBezTo>
                <a:cubicBezTo>
                  <a:pt x="1204457" y="560260"/>
                  <a:pt x="1200814" y="563904"/>
                  <a:pt x="1206279" y="567548"/>
                </a:cubicBezTo>
                <a:cubicBezTo>
                  <a:pt x="1208101" y="559348"/>
                  <a:pt x="1209468" y="551604"/>
                  <a:pt x="1208785" y="543632"/>
                </a:cubicBezTo>
                <a:lnTo>
                  <a:pt x="1202590" y="527640"/>
                </a:lnTo>
                <a:lnTo>
                  <a:pt x="1202636" y="527461"/>
                </a:lnTo>
                <a:lnTo>
                  <a:pt x="1202511" y="527437"/>
                </a:lnTo>
                <a:lnTo>
                  <a:pt x="1198991" y="518349"/>
                </a:lnTo>
                <a:cubicBezTo>
                  <a:pt x="1197169" y="518349"/>
                  <a:pt x="1197169" y="518349"/>
                  <a:pt x="1195346" y="518349"/>
                </a:cubicBezTo>
                <a:lnTo>
                  <a:pt x="1193929" y="519362"/>
                </a:lnTo>
                <a:lnTo>
                  <a:pt x="1193815" y="516527"/>
                </a:lnTo>
                <a:lnTo>
                  <a:pt x="1197169" y="516527"/>
                </a:lnTo>
                <a:cubicBezTo>
                  <a:pt x="1197169" y="512882"/>
                  <a:pt x="1193525" y="514705"/>
                  <a:pt x="1193525" y="509238"/>
                </a:cubicBezTo>
                <a:close/>
                <a:moveTo>
                  <a:pt x="521142" y="509238"/>
                </a:moveTo>
                <a:cubicBezTo>
                  <a:pt x="519320" y="511061"/>
                  <a:pt x="519320" y="511061"/>
                  <a:pt x="517498" y="511061"/>
                </a:cubicBezTo>
                <a:cubicBezTo>
                  <a:pt x="519320" y="520171"/>
                  <a:pt x="519320" y="527461"/>
                  <a:pt x="522964" y="536571"/>
                </a:cubicBezTo>
                <a:cubicBezTo>
                  <a:pt x="524786" y="527461"/>
                  <a:pt x="521142" y="518349"/>
                  <a:pt x="521142" y="509238"/>
                </a:cubicBezTo>
                <a:close/>
                <a:moveTo>
                  <a:pt x="1002082" y="507872"/>
                </a:moveTo>
                <a:lnTo>
                  <a:pt x="1000374" y="514705"/>
                </a:lnTo>
                <a:lnTo>
                  <a:pt x="999986" y="513676"/>
                </a:lnTo>
                <a:close/>
                <a:moveTo>
                  <a:pt x="1184414" y="507417"/>
                </a:moveTo>
                <a:cubicBezTo>
                  <a:pt x="1180769" y="512882"/>
                  <a:pt x="1177125" y="516527"/>
                  <a:pt x="1178947" y="518349"/>
                </a:cubicBezTo>
                <a:cubicBezTo>
                  <a:pt x="1175303" y="520171"/>
                  <a:pt x="1178947" y="516527"/>
                  <a:pt x="1177125" y="514705"/>
                </a:cubicBezTo>
                <a:lnTo>
                  <a:pt x="1177125" y="511061"/>
                </a:lnTo>
                <a:cubicBezTo>
                  <a:pt x="1175303" y="511061"/>
                  <a:pt x="1173481" y="512882"/>
                  <a:pt x="1171658" y="514705"/>
                </a:cubicBezTo>
                <a:lnTo>
                  <a:pt x="1176977" y="514927"/>
                </a:lnTo>
                <a:lnTo>
                  <a:pt x="1173481" y="520171"/>
                </a:lnTo>
                <a:cubicBezTo>
                  <a:pt x="1171658" y="518349"/>
                  <a:pt x="1171658" y="516527"/>
                  <a:pt x="1168014" y="516527"/>
                </a:cubicBezTo>
                <a:cubicBezTo>
                  <a:pt x="1168014" y="520171"/>
                  <a:pt x="1171658" y="525638"/>
                  <a:pt x="1173481" y="529282"/>
                </a:cubicBezTo>
                <a:cubicBezTo>
                  <a:pt x="1175303" y="527461"/>
                  <a:pt x="1175303" y="525638"/>
                  <a:pt x="1175303" y="523815"/>
                </a:cubicBezTo>
                <a:cubicBezTo>
                  <a:pt x="1175303" y="534749"/>
                  <a:pt x="1178947" y="549326"/>
                  <a:pt x="1189880" y="556616"/>
                </a:cubicBezTo>
                <a:cubicBezTo>
                  <a:pt x="1186236" y="540215"/>
                  <a:pt x="1191703" y="523815"/>
                  <a:pt x="1184414" y="507417"/>
                </a:cubicBezTo>
                <a:close/>
                <a:moveTo>
                  <a:pt x="1002196" y="507417"/>
                </a:moveTo>
                <a:lnTo>
                  <a:pt x="1002196" y="507557"/>
                </a:lnTo>
                <a:lnTo>
                  <a:pt x="1002082" y="507872"/>
                </a:lnTo>
                <a:close/>
                <a:moveTo>
                  <a:pt x="956642" y="507417"/>
                </a:moveTo>
                <a:cubicBezTo>
                  <a:pt x="951175" y="512882"/>
                  <a:pt x="949353" y="520171"/>
                  <a:pt x="949353" y="527461"/>
                </a:cubicBezTo>
                <a:cubicBezTo>
                  <a:pt x="951175" y="523815"/>
                  <a:pt x="960286" y="518349"/>
                  <a:pt x="962108" y="514705"/>
                </a:cubicBezTo>
                <a:cubicBezTo>
                  <a:pt x="958464" y="511061"/>
                  <a:pt x="956642" y="511061"/>
                  <a:pt x="956642" y="507417"/>
                </a:cubicBezTo>
                <a:close/>
                <a:moveTo>
                  <a:pt x="641407" y="507417"/>
                </a:moveTo>
                <a:cubicBezTo>
                  <a:pt x="637761" y="509238"/>
                  <a:pt x="637761" y="514705"/>
                  <a:pt x="639583" y="518349"/>
                </a:cubicBezTo>
                <a:cubicBezTo>
                  <a:pt x="641407" y="516527"/>
                  <a:pt x="641407" y="512882"/>
                  <a:pt x="645050" y="512882"/>
                </a:cubicBezTo>
                <a:cubicBezTo>
                  <a:pt x="643228" y="511061"/>
                  <a:pt x="643228" y="509238"/>
                  <a:pt x="641407" y="507417"/>
                </a:cubicBezTo>
                <a:close/>
                <a:moveTo>
                  <a:pt x="900154" y="506080"/>
                </a:moveTo>
                <a:lnTo>
                  <a:pt x="900154" y="507417"/>
                </a:lnTo>
                <a:lnTo>
                  <a:pt x="899904" y="506896"/>
                </a:lnTo>
                <a:close/>
                <a:moveTo>
                  <a:pt x="3394710" y="505594"/>
                </a:moveTo>
                <a:cubicBezTo>
                  <a:pt x="3396532" y="511061"/>
                  <a:pt x="3391066" y="512882"/>
                  <a:pt x="3389244" y="516527"/>
                </a:cubicBezTo>
                <a:cubicBezTo>
                  <a:pt x="3392888" y="518349"/>
                  <a:pt x="3396532" y="516527"/>
                  <a:pt x="3400177" y="516527"/>
                </a:cubicBezTo>
                <a:cubicBezTo>
                  <a:pt x="3400177" y="518349"/>
                  <a:pt x="3396532" y="520171"/>
                  <a:pt x="3394710" y="520171"/>
                </a:cubicBezTo>
                <a:cubicBezTo>
                  <a:pt x="3394710" y="525638"/>
                  <a:pt x="3407466" y="518349"/>
                  <a:pt x="3401999" y="516527"/>
                </a:cubicBezTo>
                <a:cubicBezTo>
                  <a:pt x="3403821" y="516527"/>
                  <a:pt x="3407466" y="514705"/>
                  <a:pt x="3411110" y="514705"/>
                </a:cubicBezTo>
                <a:cubicBezTo>
                  <a:pt x="3407466" y="509238"/>
                  <a:pt x="3405643" y="501949"/>
                  <a:pt x="3394710" y="505594"/>
                </a:cubicBezTo>
                <a:close/>
                <a:moveTo>
                  <a:pt x="1969528" y="504738"/>
                </a:moveTo>
                <a:lnTo>
                  <a:pt x="1967037" y="514705"/>
                </a:lnTo>
                <a:lnTo>
                  <a:pt x="1961372" y="518482"/>
                </a:lnTo>
                <a:lnTo>
                  <a:pt x="1964759" y="510377"/>
                </a:lnTo>
                <a:close/>
                <a:moveTo>
                  <a:pt x="1226115" y="504119"/>
                </a:moveTo>
                <a:lnTo>
                  <a:pt x="1226096" y="504227"/>
                </a:lnTo>
                <a:lnTo>
                  <a:pt x="1225986" y="504334"/>
                </a:lnTo>
                <a:close/>
                <a:moveTo>
                  <a:pt x="2662197" y="503771"/>
                </a:moveTo>
                <a:cubicBezTo>
                  <a:pt x="2662197" y="507417"/>
                  <a:pt x="2664019" y="507417"/>
                  <a:pt x="2664019" y="511061"/>
                </a:cubicBezTo>
                <a:cubicBezTo>
                  <a:pt x="2667663" y="511061"/>
                  <a:pt x="2665841" y="501949"/>
                  <a:pt x="2662197" y="503771"/>
                </a:cubicBezTo>
                <a:close/>
                <a:moveTo>
                  <a:pt x="2474513" y="503771"/>
                </a:moveTo>
                <a:cubicBezTo>
                  <a:pt x="2470868" y="507417"/>
                  <a:pt x="2465402" y="503771"/>
                  <a:pt x="2459935" y="507417"/>
                </a:cubicBezTo>
                <a:cubicBezTo>
                  <a:pt x="2465402" y="512882"/>
                  <a:pt x="2470868" y="518349"/>
                  <a:pt x="2476335" y="523815"/>
                </a:cubicBezTo>
                <a:cubicBezTo>
                  <a:pt x="2470868" y="525638"/>
                  <a:pt x="2467224" y="523815"/>
                  <a:pt x="2465402" y="521993"/>
                </a:cubicBezTo>
                <a:cubicBezTo>
                  <a:pt x="2469046" y="527461"/>
                  <a:pt x="2472690" y="531105"/>
                  <a:pt x="2478157" y="532926"/>
                </a:cubicBezTo>
                <a:cubicBezTo>
                  <a:pt x="2479979" y="523815"/>
                  <a:pt x="2481801" y="516527"/>
                  <a:pt x="2479979" y="507417"/>
                </a:cubicBezTo>
                <a:cubicBezTo>
                  <a:pt x="2476335" y="505594"/>
                  <a:pt x="2472690" y="511061"/>
                  <a:pt x="2474513" y="503771"/>
                </a:cubicBezTo>
                <a:close/>
                <a:moveTo>
                  <a:pt x="994907" y="503771"/>
                </a:moveTo>
                <a:cubicBezTo>
                  <a:pt x="987619" y="520171"/>
                  <a:pt x="973041" y="529282"/>
                  <a:pt x="973041" y="547504"/>
                </a:cubicBezTo>
                <a:cubicBezTo>
                  <a:pt x="982152" y="540215"/>
                  <a:pt x="989441" y="529282"/>
                  <a:pt x="987619" y="521993"/>
                </a:cubicBezTo>
                <a:cubicBezTo>
                  <a:pt x="989441" y="523815"/>
                  <a:pt x="987619" y="527461"/>
                  <a:pt x="987619" y="531105"/>
                </a:cubicBezTo>
                <a:cubicBezTo>
                  <a:pt x="993085" y="523815"/>
                  <a:pt x="998552" y="514705"/>
                  <a:pt x="994907" y="503771"/>
                </a:cubicBezTo>
                <a:close/>
                <a:moveTo>
                  <a:pt x="987619" y="503771"/>
                </a:moveTo>
                <a:cubicBezTo>
                  <a:pt x="983974" y="511061"/>
                  <a:pt x="973041" y="514705"/>
                  <a:pt x="974863" y="523815"/>
                </a:cubicBezTo>
                <a:cubicBezTo>
                  <a:pt x="978508" y="520171"/>
                  <a:pt x="974863" y="525638"/>
                  <a:pt x="976686" y="527461"/>
                </a:cubicBezTo>
                <a:cubicBezTo>
                  <a:pt x="983974" y="521993"/>
                  <a:pt x="987619" y="512882"/>
                  <a:pt x="987619" y="503771"/>
                </a:cubicBezTo>
                <a:close/>
                <a:moveTo>
                  <a:pt x="548475" y="503771"/>
                </a:moveTo>
                <a:cubicBezTo>
                  <a:pt x="550297" y="511971"/>
                  <a:pt x="553941" y="519716"/>
                  <a:pt x="556902" y="527688"/>
                </a:cubicBezTo>
                <a:lnTo>
                  <a:pt x="559303" y="541706"/>
                </a:lnTo>
                <a:lnTo>
                  <a:pt x="547948" y="506228"/>
                </a:lnTo>
                <a:close/>
                <a:moveTo>
                  <a:pt x="3507685" y="501949"/>
                </a:moveTo>
                <a:cubicBezTo>
                  <a:pt x="3504041" y="501949"/>
                  <a:pt x="3504041" y="505594"/>
                  <a:pt x="3504041" y="509238"/>
                </a:cubicBezTo>
                <a:cubicBezTo>
                  <a:pt x="3509507" y="511061"/>
                  <a:pt x="3507685" y="505594"/>
                  <a:pt x="3507685" y="501949"/>
                </a:cubicBezTo>
                <a:close/>
                <a:moveTo>
                  <a:pt x="3434798" y="501949"/>
                </a:moveTo>
                <a:cubicBezTo>
                  <a:pt x="3431154" y="503771"/>
                  <a:pt x="3432976" y="512882"/>
                  <a:pt x="3434798" y="512882"/>
                </a:cubicBezTo>
                <a:cubicBezTo>
                  <a:pt x="3442087" y="511061"/>
                  <a:pt x="3434798" y="505594"/>
                  <a:pt x="3434798" y="501949"/>
                </a:cubicBezTo>
                <a:close/>
                <a:moveTo>
                  <a:pt x="3414754" y="501949"/>
                </a:moveTo>
                <a:cubicBezTo>
                  <a:pt x="3412932" y="503771"/>
                  <a:pt x="3411110" y="503771"/>
                  <a:pt x="3409288" y="503771"/>
                </a:cubicBezTo>
                <a:cubicBezTo>
                  <a:pt x="3407466" y="512882"/>
                  <a:pt x="3412932" y="509238"/>
                  <a:pt x="3418399" y="507417"/>
                </a:cubicBezTo>
                <a:cubicBezTo>
                  <a:pt x="3416577" y="505594"/>
                  <a:pt x="3412932" y="507417"/>
                  <a:pt x="3414754" y="501949"/>
                </a:cubicBezTo>
                <a:close/>
                <a:moveTo>
                  <a:pt x="2731439" y="501949"/>
                </a:moveTo>
                <a:cubicBezTo>
                  <a:pt x="2731439" y="505594"/>
                  <a:pt x="2731439" y="512882"/>
                  <a:pt x="2731439" y="516527"/>
                </a:cubicBezTo>
                <a:cubicBezTo>
                  <a:pt x="2735084" y="514705"/>
                  <a:pt x="2735084" y="507417"/>
                  <a:pt x="2736906" y="505594"/>
                </a:cubicBezTo>
                <a:cubicBezTo>
                  <a:pt x="2735084" y="500127"/>
                  <a:pt x="2731439" y="509238"/>
                  <a:pt x="2731439" y="501949"/>
                </a:cubicBezTo>
                <a:close/>
                <a:moveTo>
                  <a:pt x="1198991" y="501949"/>
                </a:moveTo>
                <a:cubicBezTo>
                  <a:pt x="1197169" y="509238"/>
                  <a:pt x="1208102" y="520171"/>
                  <a:pt x="1209925" y="529282"/>
                </a:cubicBezTo>
                <a:cubicBezTo>
                  <a:pt x="1213568" y="525638"/>
                  <a:pt x="1211747" y="520171"/>
                  <a:pt x="1211747" y="516527"/>
                </a:cubicBezTo>
                <a:cubicBezTo>
                  <a:pt x="1208102" y="512882"/>
                  <a:pt x="1206279" y="509238"/>
                  <a:pt x="1202636" y="505594"/>
                </a:cubicBezTo>
                <a:cubicBezTo>
                  <a:pt x="1200814" y="505594"/>
                  <a:pt x="1200814" y="507417"/>
                  <a:pt x="1200814" y="507417"/>
                </a:cubicBezTo>
                <a:cubicBezTo>
                  <a:pt x="1200814" y="503771"/>
                  <a:pt x="1198991" y="503771"/>
                  <a:pt x="1198991" y="501949"/>
                </a:cubicBezTo>
                <a:close/>
                <a:moveTo>
                  <a:pt x="389946" y="501949"/>
                </a:moveTo>
                <a:cubicBezTo>
                  <a:pt x="384479" y="512882"/>
                  <a:pt x="404523" y="536571"/>
                  <a:pt x="413634" y="549326"/>
                </a:cubicBezTo>
                <a:cubicBezTo>
                  <a:pt x="415456" y="549326"/>
                  <a:pt x="413634" y="547504"/>
                  <a:pt x="413634" y="547504"/>
                </a:cubicBezTo>
                <a:cubicBezTo>
                  <a:pt x="417278" y="551148"/>
                  <a:pt x="419100" y="554792"/>
                  <a:pt x="424567" y="556616"/>
                </a:cubicBezTo>
                <a:cubicBezTo>
                  <a:pt x="413634" y="538393"/>
                  <a:pt x="402701" y="520171"/>
                  <a:pt x="389946" y="501949"/>
                </a:cubicBezTo>
                <a:close/>
                <a:moveTo>
                  <a:pt x="711840" y="500992"/>
                </a:moveTo>
                <a:lnTo>
                  <a:pt x="717937" y="524044"/>
                </a:lnTo>
                <a:lnTo>
                  <a:pt x="715139" y="532928"/>
                </a:lnTo>
                <a:lnTo>
                  <a:pt x="713076" y="525230"/>
                </a:lnTo>
                <a:lnTo>
                  <a:pt x="713153" y="524727"/>
                </a:lnTo>
                <a:lnTo>
                  <a:pt x="711739" y="508768"/>
                </a:lnTo>
                <a:lnTo>
                  <a:pt x="711787" y="502861"/>
                </a:lnTo>
                <a:close/>
                <a:moveTo>
                  <a:pt x="1162746" y="500916"/>
                </a:moveTo>
                <a:lnTo>
                  <a:pt x="1166192" y="501949"/>
                </a:lnTo>
                <a:lnTo>
                  <a:pt x="1164066" y="505670"/>
                </a:lnTo>
                <a:lnTo>
                  <a:pt x="1162547" y="503771"/>
                </a:lnTo>
                <a:lnTo>
                  <a:pt x="1163969" y="505840"/>
                </a:lnTo>
                <a:lnTo>
                  <a:pt x="1157288" y="517531"/>
                </a:lnTo>
                <a:lnTo>
                  <a:pt x="1157992" y="508555"/>
                </a:lnTo>
                <a:close/>
                <a:moveTo>
                  <a:pt x="3657103" y="500127"/>
                </a:moveTo>
                <a:cubicBezTo>
                  <a:pt x="3657103" y="503771"/>
                  <a:pt x="3662570" y="509238"/>
                  <a:pt x="3657103" y="511061"/>
                </a:cubicBezTo>
                <a:lnTo>
                  <a:pt x="3652336" y="507246"/>
                </a:lnTo>
                <a:lnTo>
                  <a:pt x="3652940" y="500477"/>
                </a:lnTo>
                <a:lnTo>
                  <a:pt x="3653004" y="500583"/>
                </a:lnTo>
                <a:cubicBezTo>
                  <a:pt x="3654370" y="500583"/>
                  <a:pt x="3656192" y="500127"/>
                  <a:pt x="3657103" y="500127"/>
                </a:cubicBezTo>
                <a:close/>
                <a:moveTo>
                  <a:pt x="2487268" y="500127"/>
                </a:moveTo>
                <a:cubicBezTo>
                  <a:pt x="2481801" y="503771"/>
                  <a:pt x="2489090" y="511061"/>
                  <a:pt x="2489090" y="516527"/>
                </a:cubicBezTo>
                <a:cubicBezTo>
                  <a:pt x="2494556" y="511061"/>
                  <a:pt x="2489090" y="505594"/>
                  <a:pt x="2487268" y="500127"/>
                </a:cubicBezTo>
                <a:close/>
                <a:moveTo>
                  <a:pt x="1195346" y="500127"/>
                </a:moveTo>
                <a:cubicBezTo>
                  <a:pt x="1195346" y="501949"/>
                  <a:pt x="1193525" y="503771"/>
                  <a:pt x="1193525" y="505594"/>
                </a:cubicBezTo>
                <a:cubicBezTo>
                  <a:pt x="1195346" y="507417"/>
                  <a:pt x="1197169" y="509238"/>
                  <a:pt x="1198991" y="505594"/>
                </a:cubicBezTo>
                <a:cubicBezTo>
                  <a:pt x="1197169" y="503771"/>
                  <a:pt x="1197169" y="500127"/>
                  <a:pt x="1195346" y="500127"/>
                </a:cubicBezTo>
                <a:close/>
                <a:moveTo>
                  <a:pt x="901976" y="500127"/>
                </a:moveTo>
                <a:lnTo>
                  <a:pt x="900154" y="506080"/>
                </a:lnTo>
                <a:lnTo>
                  <a:pt x="900154" y="503772"/>
                </a:lnTo>
                <a:close/>
                <a:moveTo>
                  <a:pt x="863711" y="500127"/>
                </a:moveTo>
                <a:cubicBezTo>
                  <a:pt x="867355" y="507417"/>
                  <a:pt x="860066" y="520171"/>
                  <a:pt x="871000" y="525638"/>
                </a:cubicBezTo>
                <a:cubicBezTo>
                  <a:pt x="872822" y="523815"/>
                  <a:pt x="871000" y="521993"/>
                  <a:pt x="872822" y="518349"/>
                </a:cubicBezTo>
                <a:cubicBezTo>
                  <a:pt x="867355" y="518349"/>
                  <a:pt x="871000" y="516527"/>
                  <a:pt x="872822" y="512882"/>
                </a:cubicBezTo>
                <a:cubicBezTo>
                  <a:pt x="878288" y="523815"/>
                  <a:pt x="867355" y="534749"/>
                  <a:pt x="876466" y="543860"/>
                </a:cubicBezTo>
                <a:cubicBezTo>
                  <a:pt x="876466" y="538393"/>
                  <a:pt x="878288" y="534749"/>
                  <a:pt x="876466" y="529282"/>
                </a:cubicBezTo>
                <a:cubicBezTo>
                  <a:pt x="883755" y="534749"/>
                  <a:pt x="874644" y="545681"/>
                  <a:pt x="881933" y="545681"/>
                </a:cubicBezTo>
                <a:cubicBezTo>
                  <a:pt x="889222" y="545681"/>
                  <a:pt x="887399" y="536571"/>
                  <a:pt x="885577" y="531105"/>
                </a:cubicBezTo>
                <a:cubicBezTo>
                  <a:pt x="887399" y="532926"/>
                  <a:pt x="889222" y="534749"/>
                  <a:pt x="889222" y="538393"/>
                </a:cubicBezTo>
                <a:cubicBezTo>
                  <a:pt x="892866" y="523815"/>
                  <a:pt x="880111" y="518349"/>
                  <a:pt x="876466" y="507417"/>
                </a:cubicBezTo>
                <a:cubicBezTo>
                  <a:pt x="883755" y="512882"/>
                  <a:pt x="889222" y="516527"/>
                  <a:pt x="891043" y="527461"/>
                </a:cubicBezTo>
                <a:cubicBezTo>
                  <a:pt x="896510" y="507417"/>
                  <a:pt x="876466" y="503771"/>
                  <a:pt x="863711" y="500127"/>
                </a:cubicBezTo>
                <a:close/>
                <a:moveTo>
                  <a:pt x="2950100" y="498306"/>
                </a:moveTo>
                <a:lnTo>
                  <a:pt x="2950853" y="498306"/>
                </a:lnTo>
                <a:lnTo>
                  <a:pt x="2961067" y="505534"/>
                </a:lnTo>
                <a:lnTo>
                  <a:pt x="2961033" y="505594"/>
                </a:lnTo>
                <a:cubicBezTo>
                  <a:pt x="2955566" y="503771"/>
                  <a:pt x="2950100" y="505594"/>
                  <a:pt x="2950100" y="498306"/>
                </a:cubicBezTo>
                <a:close/>
                <a:moveTo>
                  <a:pt x="2232163" y="498306"/>
                </a:moveTo>
                <a:cubicBezTo>
                  <a:pt x="2223053" y="500127"/>
                  <a:pt x="2219408" y="507417"/>
                  <a:pt x="2212120" y="507417"/>
                </a:cubicBezTo>
                <a:cubicBezTo>
                  <a:pt x="2213942" y="511061"/>
                  <a:pt x="2213942" y="514705"/>
                  <a:pt x="2212120" y="520171"/>
                </a:cubicBezTo>
                <a:cubicBezTo>
                  <a:pt x="2217586" y="514705"/>
                  <a:pt x="2219408" y="527461"/>
                  <a:pt x="2221230" y="520171"/>
                </a:cubicBezTo>
                <a:cubicBezTo>
                  <a:pt x="2224875" y="520171"/>
                  <a:pt x="2221230" y="534749"/>
                  <a:pt x="2228519" y="531105"/>
                </a:cubicBezTo>
                <a:cubicBezTo>
                  <a:pt x="2228519" y="527461"/>
                  <a:pt x="2224875" y="525638"/>
                  <a:pt x="2224875" y="523815"/>
                </a:cubicBezTo>
                <a:cubicBezTo>
                  <a:pt x="2230341" y="523815"/>
                  <a:pt x="2230341" y="534749"/>
                  <a:pt x="2237630" y="531105"/>
                </a:cubicBezTo>
                <a:cubicBezTo>
                  <a:pt x="2237630" y="527461"/>
                  <a:pt x="2233986" y="523815"/>
                  <a:pt x="2237630" y="523815"/>
                </a:cubicBezTo>
                <a:cubicBezTo>
                  <a:pt x="2232163" y="518349"/>
                  <a:pt x="2232163" y="511061"/>
                  <a:pt x="2232163" y="498306"/>
                </a:cubicBezTo>
                <a:close/>
                <a:moveTo>
                  <a:pt x="1005577" y="498193"/>
                </a:moveTo>
                <a:lnTo>
                  <a:pt x="1005612" y="498305"/>
                </a:lnTo>
                <a:cubicBezTo>
                  <a:pt x="1005384" y="502405"/>
                  <a:pt x="1004018" y="506505"/>
                  <a:pt x="1002196" y="509238"/>
                </a:cubicBezTo>
                <a:lnTo>
                  <a:pt x="1002196" y="507557"/>
                </a:lnTo>
                <a:close/>
                <a:moveTo>
                  <a:pt x="887058" y="497964"/>
                </a:moveTo>
                <a:lnTo>
                  <a:pt x="888538" y="499444"/>
                </a:lnTo>
                <a:lnTo>
                  <a:pt x="888712" y="501012"/>
                </a:lnTo>
                <a:close/>
                <a:moveTo>
                  <a:pt x="608008" y="497784"/>
                </a:moveTo>
                <a:lnTo>
                  <a:pt x="611340" y="504911"/>
                </a:lnTo>
                <a:lnTo>
                  <a:pt x="609584" y="513543"/>
                </a:lnTo>
                <a:close/>
                <a:moveTo>
                  <a:pt x="1147970" y="496483"/>
                </a:moveTo>
                <a:lnTo>
                  <a:pt x="1158903" y="499763"/>
                </a:lnTo>
                <a:lnTo>
                  <a:pt x="1157992" y="499672"/>
                </a:lnTo>
                <a:cubicBezTo>
                  <a:pt x="1155259" y="498306"/>
                  <a:pt x="1151614" y="496483"/>
                  <a:pt x="1147970" y="496483"/>
                </a:cubicBezTo>
                <a:close/>
                <a:moveTo>
                  <a:pt x="980330" y="496483"/>
                </a:moveTo>
                <a:cubicBezTo>
                  <a:pt x="978508" y="498306"/>
                  <a:pt x="978508" y="501949"/>
                  <a:pt x="982152" y="503771"/>
                </a:cubicBezTo>
                <a:cubicBezTo>
                  <a:pt x="983974" y="501949"/>
                  <a:pt x="982152" y="500127"/>
                  <a:pt x="983974" y="498306"/>
                </a:cubicBezTo>
                <a:cubicBezTo>
                  <a:pt x="982152" y="498306"/>
                  <a:pt x="982152" y="498306"/>
                  <a:pt x="980330" y="496483"/>
                </a:cubicBezTo>
                <a:close/>
                <a:moveTo>
                  <a:pt x="945709" y="496483"/>
                </a:moveTo>
                <a:cubicBezTo>
                  <a:pt x="942064" y="500127"/>
                  <a:pt x="945709" y="501949"/>
                  <a:pt x="945709" y="503771"/>
                </a:cubicBezTo>
                <a:cubicBezTo>
                  <a:pt x="949353" y="505594"/>
                  <a:pt x="947531" y="500127"/>
                  <a:pt x="949353" y="503771"/>
                </a:cubicBezTo>
                <a:cubicBezTo>
                  <a:pt x="951175" y="500127"/>
                  <a:pt x="947531" y="498306"/>
                  <a:pt x="945709" y="496483"/>
                </a:cubicBezTo>
                <a:close/>
                <a:moveTo>
                  <a:pt x="2193901" y="494663"/>
                </a:moveTo>
                <a:lnTo>
                  <a:pt x="2195948" y="496028"/>
                </a:lnTo>
                <a:cubicBezTo>
                  <a:pt x="2196631" y="497394"/>
                  <a:pt x="2197542" y="499216"/>
                  <a:pt x="2199364" y="500127"/>
                </a:cubicBezTo>
                <a:close/>
                <a:moveTo>
                  <a:pt x="3181516" y="494662"/>
                </a:moveTo>
                <a:cubicBezTo>
                  <a:pt x="3185160" y="500127"/>
                  <a:pt x="3192449" y="503771"/>
                  <a:pt x="3196093" y="511061"/>
                </a:cubicBezTo>
                <a:cubicBezTo>
                  <a:pt x="3203382" y="505594"/>
                  <a:pt x="3197916" y="501949"/>
                  <a:pt x="3194271" y="494662"/>
                </a:cubicBezTo>
                <a:cubicBezTo>
                  <a:pt x="3190627" y="494662"/>
                  <a:pt x="3185160" y="494662"/>
                  <a:pt x="3181516" y="494662"/>
                </a:cubicBezTo>
                <a:close/>
                <a:moveTo>
                  <a:pt x="900154" y="494662"/>
                </a:moveTo>
                <a:lnTo>
                  <a:pt x="900154" y="503772"/>
                </a:lnTo>
                <a:lnTo>
                  <a:pt x="899261" y="505557"/>
                </a:lnTo>
                <a:lnTo>
                  <a:pt x="897560" y="502011"/>
                </a:lnTo>
                <a:lnTo>
                  <a:pt x="897492" y="501538"/>
                </a:lnTo>
                <a:close/>
                <a:moveTo>
                  <a:pt x="513853" y="494662"/>
                </a:moveTo>
                <a:cubicBezTo>
                  <a:pt x="515676" y="500127"/>
                  <a:pt x="517498" y="503771"/>
                  <a:pt x="517498" y="509238"/>
                </a:cubicBezTo>
                <a:cubicBezTo>
                  <a:pt x="521142" y="503771"/>
                  <a:pt x="517498" y="501949"/>
                  <a:pt x="513853" y="494662"/>
                </a:cubicBezTo>
                <a:close/>
                <a:moveTo>
                  <a:pt x="3350978" y="493750"/>
                </a:moveTo>
                <a:cubicBezTo>
                  <a:pt x="3342323" y="492383"/>
                  <a:pt x="3333668" y="492839"/>
                  <a:pt x="3325468" y="494662"/>
                </a:cubicBezTo>
                <a:cubicBezTo>
                  <a:pt x="3327290" y="496483"/>
                  <a:pt x="3327290" y="498306"/>
                  <a:pt x="3330934" y="498306"/>
                </a:cubicBezTo>
                <a:cubicBezTo>
                  <a:pt x="3325468" y="498306"/>
                  <a:pt x="3316357" y="496483"/>
                  <a:pt x="3312713" y="501949"/>
                </a:cubicBezTo>
                <a:cubicBezTo>
                  <a:pt x="3318179" y="505594"/>
                  <a:pt x="3323646" y="505594"/>
                  <a:pt x="3327290" y="507417"/>
                </a:cubicBezTo>
                <a:cubicBezTo>
                  <a:pt x="3323646" y="512882"/>
                  <a:pt x="3320001" y="516527"/>
                  <a:pt x="3312713" y="514705"/>
                </a:cubicBezTo>
                <a:cubicBezTo>
                  <a:pt x="3321824" y="521993"/>
                  <a:pt x="3334579" y="521993"/>
                  <a:pt x="3343690" y="516527"/>
                </a:cubicBezTo>
                <a:cubicBezTo>
                  <a:pt x="3343690" y="516527"/>
                  <a:pt x="3338223" y="516527"/>
                  <a:pt x="3338223" y="514705"/>
                </a:cubicBezTo>
                <a:cubicBezTo>
                  <a:pt x="3336401" y="507417"/>
                  <a:pt x="3343690" y="514705"/>
                  <a:pt x="3345512" y="512882"/>
                </a:cubicBezTo>
                <a:cubicBezTo>
                  <a:pt x="3345512" y="511061"/>
                  <a:pt x="3343690" y="509238"/>
                  <a:pt x="3341867" y="511061"/>
                </a:cubicBezTo>
                <a:cubicBezTo>
                  <a:pt x="3345512" y="507417"/>
                  <a:pt x="3350978" y="507417"/>
                  <a:pt x="3352800" y="501949"/>
                </a:cubicBezTo>
                <a:cubicBezTo>
                  <a:pt x="3352800" y="512882"/>
                  <a:pt x="3367378" y="511061"/>
                  <a:pt x="3374666" y="511061"/>
                </a:cubicBezTo>
                <a:cubicBezTo>
                  <a:pt x="3371022" y="503771"/>
                  <a:pt x="3360089" y="512882"/>
                  <a:pt x="3361911" y="501949"/>
                </a:cubicBezTo>
                <a:cubicBezTo>
                  <a:pt x="3361911" y="500127"/>
                  <a:pt x="3358267" y="500127"/>
                  <a:pt x="3356445" y="500127"/>
                </a:cubicBezTo>
                <a:cubicBezTo>
                  <a:pt x="3367378" y="496483"/>
                  <a:pt x="3374666" y="507417"/>
                  <a:pt x="3383777" y="511061"/>
                </a:cubicBezTo>
                <a:cubicBezTo>
                  <a:pt x="3380133" y="507417"/>
                  <a:pt x="3387422" y="503771"/>
                  <a:pt x="3381955" y="501949"/>
                </a:cubicBezTo>
                <a:cubicBezTo>
                  <a:pt x="3380133" y="498306"/>
                  <a:pt x="3376489" y="500127"/>
                  <a:pt x="3376489" y="503771"/>
                </a:cubicBezTo>
                <a:cubicBezTo>
                  <a:pt x="3368289" y="498305"/>
                  <a:pt x="3359634" y="495116"/>
                  <a:pt x="3350978" y="493750"/>
                </a:cubicBezTo>
                <a:close/>
                <a:moveTo>
                  <a:pt x="3225248" y="492838"/>
                </a:moveTo>
                <a:cubicBezTo>
                  <a:pt x="3228893" y="494662"/>
                  <a:pt x="3228893" y="500127"/>
                  <a:pt x="3234359" y="500127"/>
                </a:cubicBezTo>
                <a:cubicBezTo>
                  <a:pt x="3234359" y="498306"/>
                  <a:pt x="3236181" y="494662"/>
                  <a:pt x="3234359" y="492838"/>
                </a:cubicBezTo>
                <a:cubicBezTo>
                  <a:pt x="3232537" y="491017"/>
                  <a:pt x="3228893" y="491017"/>
                  <a:pt x="3225248" y="492838"/>
                </a:cubicBezTo>
                <a:close/>
                <a:moveTo>
                  <a:pt x="2479979" y="492838"/>
                </a:moveTo>
                <a:cubicBezTo>
                  <a:pt x="2469046" y="496483"/>
                  <a:pt x="2481801" y="505594"/>
                  <a:pt x="2485446" y="511061"/>
                </a:cubicBezTo>
                <a:cubicBezTo>
                  <a:pt x="2483624" y="503771"/>
                  <a:pt x="2479979" y="500127"/>
                  <a:pt x="2479979" y="492838"/>
                </a:cubicBezTo>
                <a:close/>
                <a:moveTo>
                  <a:pt x="865533" y="492838"/>
                </a:moveTo>
                <a:lnTo>
                  <a:pt x="868635" y="495054"/>
                </a:lnTo>
                <a:lnTo>
                  <a:pt x="869177" y="498306"/>
                </a:lnTo>
                <a:lnTo>
                  <a:pt x="867611" y="497384"/>
                </a:lnTo>
                <a:close/>
                <a:moveTo>
                  <a:pt x="3646171" y="491017"/>
                </a:moveTo>
                <a:cubicBezTo>
                  <a:pt x="3649815" y="489194"/>
                  <a:pt x="3649815" y="494662"/>
                  <a:pt x="3653459" y="494662"/>
                </a:cubicBezTo>
                <a:lnTo>
                  <a:pt x="3652940" y="500477"/>
                </a:lnTo>
                <a:lnTo>
                  <a:pt x="3651637" y="498306"/>
                </a:lnTo>
                <a:cubicBezTo>
                  <a:pt x="3651637" y="500127"/>
                  <a:pt x="3649815" y="500127"/>
                  <a:pt x="3647993" y="500127"/>
                </a:cubicBezTo>
                <a:lnTo>
                  <a:pt x="3647993" y="501949"/>
                </a:lnTo>
                <a:cubicBezTo>
                  <a:pt x="3646171" y="500127"/>
                  <a:pt x="3646171" y="496483"/>
                  <a:pt x="3646171" y="491017"/>
                </a:cubicBezTo>
                <a:close/>
                <a:moveTo>
                  <a:pt x="2254030" y="491017"/>
                </a:moveTo>
                <a:cubicBezTo>
                  <a:pt x="2250385" y="507417"/>
                  <a:pt x="2252207" y="532926"/>
                  <a:pt x="2261318" y="540215"/>
                </a:cubicBezTo>
                <a:cubicBezTo>
                  <a:pt x="2263140" y="529282"/>
                  <a:pt x="2263140" y="516527"/>
                  <a:pt x="2264963" y="503771"/>
                </a:cubicBezTo>
                <a:cubicBezTo>
                  <a:pt x="2261318" y="501949"/>
                  <a:pt x="2255852" y="498306"/>
                  <a:pt x="2254030" y="491017"/>
                </a:cubicBezTo>
                <a:close/>
                <a:moveTo>
                  <a:pt x="519320" y="491017"/>
                </a:moveTo>
                <a:lnTo>
                  <a:pt x="523571" y="495268"/>
                </a:lnTo>
                <a:lnTo>
                  <a:pt x="524786" y="501949"/>
                </a:lnTo>
                <a:lnTo>
                  <a:pt x="520811" y="496484"/>
                </a:lnTo>
                <a:close/>
                <a:moveTo>
                  <a:pt x="2576554" y="489194"/>
                </a:moveTo>
                <a:cubicBezTo>
                  <a:pt x="2576554" y="492838"/>
                  <a:pt x="2576554" y="494662"/>
                  <a:pt x="2580199" y="494662"/>
                </a:cubicBezTo>
                <a:cubicBezTo>
                  <a:pt x="2580199" y="492838"/>
                  <a:pt x="2580199" y="491017"/>
                  <a:pt x="2580199" y="489194"/>
                </a:cubicBezTo>
                <a:cubicBezTo>
                  <a:pt x="2578377" y="489194"/>
                  <a:pt x="2578377" y="489194"/>
                  <a:pt x="2576554" y="489194"/>
                </a:cubicBezTo>
                <a:close/>
                <a:moveTo>
                  <a:pt x="2100967" y="489194"/>
                </a:moveTo>
                <a:cubicBezTo>
                  <a:pt x="2100967" y="496483"/>
                  <a:pt x="2104611" y="501949"/>
                  <a:pt x="2106433" y="507417"/>
                </a:cubicBezTo>
                <a:cubicBezTo>
                  <a:pt x="2115544" y="507417"/>
                  <a:pt x="2113722" y="521993"/>
                  <a:pt x="2119189" y="525638"/>
                </a:cubicBezTo>
                <a:lnTo>
                  <a:pt x="2118788" y="521032"/>
                </a:lnTo>
                <a:lnTo>
                  <a:pt x="2119645" y="522222"/>
                </a:lnTo>
                <a:cubicBezTo>
                  <a:pt x="2121011" y="523816"/>
                  <a:pt x="2122833" y="524727"/>
                  <a:pt x="2126477" y="523815"/>
                </a:cubicBezTo>
                <a:cubicBezTo>
                  <a:pt x="2119189" y="511061"/>
                  <a:pt x="2106433" y="501949"/>
                  <a:pt x="2100967" y="489194"/>
                </a:cubicBezTo>
                <a:close/>
                <a:moveTo>
                  <a:pt x="878288" y="489194"/>
                </a:moveTo>
                <a:lnTo>
                  <a:pt x="880040" y="490947"/>
                </a:lnTo>
                <a:lnTo>
                  <a:pt x="879883" y="491244"/>
                </a:lnTo>
                <a:lnTo>
                  <a:pt x="881132" y="494438"/>
                </a:lnTo>
                <a:lnTo>
                  <a:pt x="880460" y="495782"/>
                </a:lnTo>
                <a:lnTo>
                  <a:pt x="879863" y="495498"/>
                </a:lnTo>
                <a:close/>
                <a:moveTo>
                  <a:pt x="650516" y="489194"/>
                </a:moveTo>
                <a:cubicBezTo>
                  <a:pt x="650516" y="491017"/>
                  <a:pt x="650516" y="491017"/>
                  <a:pt x="652339" y="492838"/>
                </a:cubicBezTo>
                <a:lnTo>
                  <a:pt x="652339" y="503771"/>
                </a:lnTo>
                <a:cubicBezTo>
                  <a:pt x="650516" y="498306"/>
                  <a:pt x="652339" y="492838"/>
                  <a:pt x="650516" y="489194"/>
                </a:cubicBezTo>
                <a:close/>
                <a:moveTo>
                  <a:pt x="663854" y="488313"/>
                </a:moveTo>
                <a:lnTo>
                  <a:pt x="665094" y="494433"/>
                </a:lnTo>
                <a:lnTo>
                  <a:pt x="664720" y="497841"/>
                </a:lnTo>
                <a:close/>
                <a:moveTo>
                  <a:pt x="2931878" y="487392"/>
                </a:moveTo>
                <a:cubicBezTo>
                  <a:pt x="2931878" y="489214"/>
                  <a:pt x="2931878" y="489214"/>
                  <a:pt x="2931878" y="491037"/>
                </a:cubicBezTo>
                <a:cubicBezTo>
                  <a:pt x="2931878" y="491037"/>
                  <a:pt x="2930056" y="491037"/>
                  <a:pt x="2928233" y="489214"/>
                </a:cubicBezTo>
                <a:cubicBezTo>
                  <a:pt x="2928233" y="489214"/>
                  <a:pt x="2930056" y="487392"/>
                  <a:pt x="2931878" y="487392"/>
                </a:cubicBezTo>
                <a:close/>
                <a:moveTo>
                  <a:pt x="2685885" y="487373"/>
                </a:moveTo>
                <a:cubicBezTo>
                  <a:pt x="2680418" y="485550"/>
                  <a:pt x="2680418" y="492838"/>
                  <a:pt x="2678596" y="496483"/>
                </a:cubicBezTo>
                <a:cubicBezTo>
                  <a:pt x="2684063" y="498306"/>
                  <a:pt x="2684063" y="492838"/>
                  <a:pt x="2685885" y="491017"/>
                </a:cubicBezTo>
                <a:cubicBezTo>
                  <a:pt x="2687707" y="496483"/>
                  <a:pt x="2693174" y="496483"/>
                  <a:pt x="2694996" y="491017"/>
                </a:cubicBezTo>
                <a:cubicBezTo>
                  <a:pt x="2693174" y="485550"/>
                  <a:pt x="2687707" y="494662"/>
                  <a:pt x="2685885" y="487373"/>
                </a:cubicBezTo>
                <a:close/>
                <a:moveTo>
                  <a:pt x="371724" y="487373"/>
                </a:moveTo>
                <a:cubicBezTo>
                  <a:pt x="373546" y="514705"/>
                  <a:pt x="389946" y="540215"/>
                  <a:pt x="384479" y="571192"/>
                </a:cubicBezTo>
                <a:cubicBezTo>
                  <a:pt x="386301" y="571192"/>
                  <a:pt x="386301" y="571192"/>
                  <a:pt x="388123" y="569370"/>
                </a:cubicBezTo>
                <a:cubicBezTo>
                  <a:pt x="387212" y="574837"/>
                  <a:pt x="387668" y="578481"/>
                  <a:pt x="389034" y="580076"/>
                </a:cubicBezTo>
                <a:lnTo>
                  <a:pt x="389507" y="579957"/>
                </a:lnTo>
                <a:lnTo>
                  <a:pt x="389490" y="580303"/>
                </a:lnTo>
                <a:lnTo>
                  <a:pt x="391185" y="587082"/>
                </a:lnTo>
                <a:lnTo>
                  <a:pt x="388807" y="591919"/>
                </a:lnTo>
                <a:lnTo>
                  <a:pt x="389300" y="593929"/>
                </a:lnTo>
                <a:lnTo>
                  <a:pt x="389262" y="593969"/>
                </a:lnTo>
                <a:cubicBezTo>
                  <a:pt x="389034" y="595336"/>
                  <a:pt x="389034" y="596702"/>
                  <a:pt x="388123" y="596702"/>
                </a:cubicBezTo>
                <a:lnTo>
                  <a:pt x="389670" y="595437"/>
                </a:lnTo>
                <a:lnTo>
                  <a:pt x="391768" y="603991"/>
                </a:lnTo>
                <a:cubicBezTo>
                  <a:pt x="399056" y="607635"/>
                  <a:pt x="393590" y="596702"/>
                  <a:pt x="393590" y="591236"/>
                </a:cubicBezTo>
                <a:cubicBezTo>
                  <a:pt x="395412" y="594880"/>
                  <a:pt x="395867" y="598980"/>
                  <a:pt x="396095" y="603308"/>
                </a:cubicBezTo>
                <a:lnTo>
                  <a:pt x="396647" y="609826"/>
                </a:lnTo>
                <a:lnTo>
                  <a:pt x="396095" y="610825"/>
                </a:lnTo>
                <a:lnTo>
                  <a:pt x="396893" y="612724"/>
                </a:lnTo>
                <a:lnTo>
                  <a:pt x="397234" y="616746"/>
                </a:lnTo>
                <a:lnTo>
                  <a:pt x="398061" y="615506"/>
                </a:lnTo>
                <a:lnTo>
                  <a:pt x="400879" y="622213"/>
                </a:lnTo>
                <a:lnTo>
                  <a:pt x="401052" y="620391"/>
                </a:lnTo>
                <a:lnTo>
                  <a:pt x="402701" y="620391"/>
                </a:lnTo>
                <a:cubicBezTo>
                  <a:pt x="400878" y="624035"/>
                  <a:pt x="402245" y="626769"/>
                  <a:pt x="404750" y="629730"/>
                </a:cubicBezTo>
                <a:lnTo>
                  <a:pt x="406752" y="632141"/>
                </a:lnTo>
                <a:lnTo>
                  <a:pt x="406800" y="632463"/>
                </a:lnTo>
                <a:cubicBezTo>
                  <a:pt x="407711" y="633602"/>
                  <a:pt x="409078" y="634968"/>
                  <a:pt x="409989" y="636790"/>
                </a:cubicBezTo>
                <a:lnTo>
                  <a:pt x="409050" y="634910"/>
                </a:lnTo>
                <a:lnTo>
                  <a:pt x="413634" y="640435"/>
                </a:lnTo>
                <a:cubicBezTo>
                  <a:pt x="413634" y="640435"/>
                  <a:pt x="408167" y="640435"/>
                  <a:pt x="409989" y="644079"/>
                </a:cubicBezTo>
                <a:lnTo>
                  <a:pt x="410799" y="645092"/>
                </a:lnTo>
                <a:lnTo>
                  <a:pt x="409989" y="645901"/>
                </a:lnTo>
                <a:lnTo>
                  <a:pt x="413633" y="648635"/>
                </a:lnTo>
                <a:lnTo>
                  <a:pt x="417278" y="653190"/>
                </a:lnTo>
                <a:lnTo>
                  <a:pt x="417191" y="651303"/>
                </a:lnTo>
                <a:lnTo>
                  <a:pt x="417278" y="651368"/>
                </a:lnTo>
                <a:lnTo>
                  <a:pt x="417188" y="651249"/>
                </a:lnTo>
                <a:lnTo>
                  <a:pt x="415911" y="623580"/>
                </a:lnTo>
                <a:cubicBezTo>
                  <a:pt x="413634" y="614469"/>
                  <a:pt x="409078" y="606725"/>
                  <a:pt x="400879" y="602169"/>
                </a:cubicBezTo>
                <a:cubicBezTo>
                  <a:pt x="408167" y="603991"/>
                  <a:pt x="409989" y="613103"/>
                  <a:pt x="417278" y="614924"/>
                </a:cubicBezTo>
                <a:cubicBezTo>
                  <a:pt x="420923" y="605813"/>
                  <a:pt x="411812" y="602169"/>
                  <a:pt x="409989" y="596702"/>
                </a:cubicBezTo>
                <a:cubicBezTo>
                  <a:pt x="415456" y="603991"/>
                  <a:pt x="422745" y="609459"/>
                  <a:pt x="426389" y="616746"/>
                </a:cubicBezTo>
                <a:cubicBezTo>
                  <a:pt x="426389" y="614924"/>
                  <a:pt x="430034" y="616746"/>
                  <a:pt x="430034" y="613103"/>
                </a:cubicBezTo>
                <a:cubicBezTo>
                  <a:pt x="431855" y="614014"/>
                  <a:pt x="432767" y="616747"/>
                  <a:pt x="433905" y="619252"/>
                </a:cubicBezTo>
                <a:lnTo>
                  <a:pt x="435500" y="620708"/>
                </a:lnTo>
                <a:lnTo>
                  <a:pt x="435500" y="624035"/>
                </a:lnTo>
                <a:lnTo>
                  <a:pt x="436981" y="622061"/>
                </a:lnTo>
                <a:lnTo>
                  <a:pt x="439145" y="624035"/>
                </a:lnTo>
                <a:cubicBezTo>
                  <a:pt x="440966" y="607635"/>
                  <a:pt x="426389" y="596702"/>
                  <a:pt x="419100" y="582125"/>
                </a:cubicBezTo>
                <a:cubicBezTo>
                  <a:pt x="428211" y="585769"/>
                  <a:pt x="430034" y="594880"/>
                  <a:pt x="435500" y="603991"/>
                </a:cubicBezTo>
                <a:cubicBezTo>
                  <a:pt x="439145" y="589414"/>
                  <a:pt x="422745" y="582125"/>
                  <a:pt x="413634" y="576658"/>
                </a:cubicBezTo>
                <a:cubicBezTo>
                  <a:pt x="417278" y="573014"/>
                  <a:pt x="419100" y="578481"/>
                  <a:pt x="422745" y="576658"/>
                </a:cubicBezTo>
                <a:cubicBezTo>
                  <a:pt x="424567" y="573014"/>
                  <a:pt x="417278" y="574836"/>
                  <a:pt x="420923" y="573014"/>
                </a:cubicBezTo>
                <a:cubicBezTo>
                  <a:pt x="422745" y="571192"/>
                  <a:pt x="426389" y="574836"/>
                  <a:pt x="428211" y="578481"/>
                </a:cubicBezTo>
                <a:cubicBezTo>
                  <a:pt x="428211" y="573014"/>
                  <a:pt x="422745" y="569370"/>
                  <a:pt x="419100" y="565725"/>
                </a:cubicBezTo>
                <a:cubicBezTo>
                  <a:pt x="428211" y="567548"/>
                  <a:pt x="431856" y="578481"/>
                  <a:pt x="439145" y="580303"/>
                </a:cubicBezTo>
                <a:cubicBezTo>
                  <a:pt x="437322" y="574836"/>
                  <a:pt x="426389" y="563904"/>
                  <a:pt x="422745" y="560260"/>
                </a:cubicBezTo>
                <a:cubicBezTo>
                  <a:pt x="399056" y="542037"/>
                  <a:pt x="388123" y="512882"/>
                  <a:pt x="371724" y="487373"/>
                </a:cubicBezTo>
                <a:close/>
                <a:moveTo>
                  <a:pt x="3057316" y="487238"/>
                </a:moveTo>
                <a:lnTo>
                  <a:pt x="3058114" y="487775"/>
                </a:lnTo>
                <a:lnTo>
                  <a:pt x="3059430" y="498306"/>
                </a:lnTo>
                <a:cubicBezTo>
                  <a:pt x="3052142" y="509238"/>
                  <a:pt x="3050319" y="520171"/>
                  <a:pt x="3048497" y="531105"/>
                </a:cubicBezTo>
                <a:cubicBezTo>
                  <a:pt x="3053964" y="531105"/>
                  <a:pt x="3053964" y="525638"/>
                  <a:pt x="3055786" y="523815"/>
                </a:cubicBezTo>
                <a:cubicBezTo>
                  <a:pt x="3063075" y="536571"/>
                  <a:pt x="3048497" y="542037"/>
                  <a:pt x="3039387" y="547504"/>
                </a:cubicBezTo>
                <a:cubicBezTo>
                  <a:pt x="3037564" y="547504"/>
                  <a:pt x="3037564" y="552970"/>
                  <a:pt x="3035742" y="556616"/>
                </a:cubicBezTo>
                <a:cubicBezTo>
                  <a:pt x="3044853" y="556616"/>
                  <a:pt x="3053964" y="538393"/>
                  <a:pt x="3061253" y="549326"/>
                </a:cubicBezTo>
                <a:cubicBezTo>
                  <a:pt x="3063075" y="551148"/>
                  <a:pt x="3057608" y="558437"/>
                  <a:pt x="3053964" y="563904"/>
                </a:cubicBezTo>
                <a:cubicBezTo>
                  <a:pt x="3050319" y="558437"/>
                  <a:pt x="3041209" y="562081"/>
                  <a:pt x="3035742" y="560260"/>
                </a:cubicBezTo>
                <a:cubicBezTo>
                  <a:pt x="3032098" y="560260"/>
                  <a:pt x="3035742" y="554792"/>
                  <a:pt x="3035742" y="552970"/>
                </a:cubicBezTo>
                <a:cubicBezTo>
                  <a:pt x="3033920" y="552970"/>
                  <a:pt x="3033920" y="552970"/>
                  <a:pt x="3032098" y="552970"/>
                </a:cubicBezTo>
                <a:cubicBezTo>
                  <a:pt x="3032098" y="554792"/>
                  <a:pt x="3032098" y="556616"/>
                  <a:pt x="3032098" y="558437"/>
                </a:cubicBezTo>
                <a:cubicBezTo>
                  <a:pt x="3032098" y="554792"/>
                  <a:pt x="3028453" y="551148"/>
                  <a:pt x="3030276" y="551148"/>
                </a:cubicBezTo>
                <a:cubicBezTo>
                  <a:pt x="3033009" y="549327"/>
                  <a:pt x="3034831" y="547049"/>
                  <a:pt x="3035287" y="544543"/>
                </a:cubicBezTo>
                <a:lnTo>
                  <a:pt x="3032638" y="537921"/>
                </a:lnTo>
                <a:lnTo>
                  <a:pt x="3033920" y="538393"/>
                </a:lnTo>
                <a:cubicBezTo>
                  <a:pt x="3034831" y="536571"/>
                  <a:pt x="3034376" y="534293"/>
                  <a:pt x="3033237" y="532471"/>
                </a:cubicBezTo>
                <a:lnTo>
                  <a:pt x="3030408" y="530586"/>
                </a:lnTo>
                <a:lnTo>
                  <a:pt x="3034660" y="525495"/>
                </a:lnTo>
                <a:cubicBezTo>
                  <a:pt x="3036881" y="517552"/>
                  <a:pt x="3029365" y="508327"/>
                  <a:pt x="3032098" y="500127"/>
                </a:cubicBezTo>
                <a:cubicBezTo>
                  <a:pt x="3033920" y="500127"/>
                  <a:pt x="3035742" y="500127"/>
                  <a:pt x="3035742" y="501949"/>
                </a:cubicBezTo>
                <a:cubicBezTo>
                  <a:pt x="3035742" y="503771"/>
                  <a:pt x="3032098" y="507417"/>
                  <a:pt x="3033920" y="509238"/>
                </a:cubicBezTo>
                <a:cubicBezTo>
                  <a:pt x="3035742" y="518349"/>
                  <a:pt x="3041209" y="512882"/>
                  <a:pt x="3046675" y="511061"/>
                </a:cubicBezTo>
                <a:cubicBezTo>
                  <a:pt x="3048497" y="509238"/>
                  <a:pt x="3050319" y="505594"/>
                  <a:pt x="3048497" y="503771"/>
                </a:cubicBezTo>
                <a:cubicBezTo>
                  <a:pt x="3048497" y="501949"/>
                  <a:pt x="3043031" y="501949"/>
                  <a:pt x="3041209" y="501949"/>
                </a:cubicBezTo>
                <a:cubicBezTo>
                  <a:pt x="3043031" y="500127"/>
                  <a:pt x="3046675" y="498306"/>
                  <a:pt x="3048497" y="496483"/>
                </a:cubicBezTo>
                <a:cubicBezTo>
                  <a:pt x="3048497" y="498306"/>
                  <a:pt x="3048497" y="500127"/>
                  <a:pt x="3050319" y="500127"/>
                </a:cubicBezTo>
                <a:cubicBezTo>
                  <a:pt x="3053964" y="500127"/>
                  <a:pt x="3055786" y="497850"/>
                  <a:pt x="3056697" y="494661"/>
                </a:cubicBezTo>
                <a:close/>
                <a:moveTo>
                  <a:pt x="3352800" y="485550"/>
                </a:moveTo>
                <a:cubicBezTo>
                  <a:pt x="3350978" y="485550"/>
                  <a:pt x="3350978" y="487373"/>
                  <a:pt x="3350978" y="489194"/>
                </a:cubicBezTo>
                <a:cubicBezTo>
                  <a:pt x="3354623" y="487373"/>
                  <a:pt x="3356445" y="489194"/>
                  <a:pt x="3360089" y="489194"/>
                </a:cubicBezTo>
                <a:cubicBezTo>
                  <a:pt x="3360089" y="483728"/>
                  <a:pt x="3352800" y="491017"/>
                  <a:pt x="3352800" y="485550"/>
                </a:cubicBezTo>
                <a:close/>
                <a:moveTo>
                  <a:pt x="2020791" y="485550"/>
                </a:moveTo>
                <a:cubicBezTo>
                  <a:pt x="2018969" y="491017"/>
                  <a:pt x="2024436" y="492838"/>
                  <a:pt x="2022613" y="498306"/>
                </a:cubicBezTo>
                <a:cubicBezTo>
                  <a:pt x="2020791" y="494662"/>
                  <a:pt x="2017147" y="492838"/>
                  <a:pt x="2017147" y="489194"/>
                </a:cubicBezTo>
                <a:cubicBezTo>
                  <a:pt x="2011680" y="494662"/>
                  <a:pt x="2015325" y="501949"/>
                  <a:pt x="2018969" y="509238"/>
                </a:cubicBezTo>
                <a:cubicBezTo>
                  <a:pt x="2020791" y="507417"/>
                  <a:pt x="2020791" y="503771"/>
                  <a:pt x="2020791" y="501949"/>
                </a:cubicBezTo>
                <a:cubicBezTo>
                  <a:pt x="2026258" y="503771"/>
                  <a:pt x="2029902" y="507417"/>
                  <a:pt x="2029902" y="514705"/>
                </a:cubicBezTo>
                <a:cubicBezTo>
                  <a:pt x="2029902" y="516527"/>
                  <a:pt x="2028080" y="521993"/>
                  <a:pt x="2022613" y="518349"/>
                </a:cubicBezTo>
                <a:cubicBezTo>
                  <a:pt x="2022613" y="521993"/>
                  <a:pt x="2022613" y="523815"/>
                  <a:pt x="2024436" y="525638"/>
                </a:cubicBezTo>
                <a:cubicBezTo>
                  <a:pt x="2022613" y="525638"/>
                  <a:pt x="2022613" y="525638"/>
                  <a:pt x="2020791" y="523815"/>
                </a:cubicBezTo>
                <a:cubicBezTo>
                  <a:pt x="2017147" y="529282"/>
                  <a:pt x="2026258" y="532926"/>
                  <a:pt x="2024436" y="538393"/>
                </a:cubicBezTo>
                <a:cubicBezTo>
                  <a:pt x="2024436" y="538393"/>
                  <a:pt x="2020791" y="534749"/>
                  <a:pt x="2018969" y="536571"/>
                </a:cubicBezTo>
                <a:cubicBezTo>
                  <a:pt x="2018969" y="536571"/>
                  <a:pt x="2018969" y="538393"/>
                  <a:pt x="2018969" y="540215"/>
                </a:cubicBezTo>
                <a:cubicBezTo>
                  <a:pt x="2015325" y="536571"/>
                  <a:pt x="2008036" y="532926"/>
                  <a:pt x="2006214" y="536571"/>
                </a:cubicBezTo>
                <a:cubicBezTo>
                  <a:pt x="2004392" y="543860"/>
                  <a:pt x="2000747" y="560260"/>
                  <a:pt x="2011680" y="558437"/>
                </a:cubicBezTo>
                <a:cubicBezTo>
                  <a:pt x="2009858" y="558437"/>
                  <a:pt x="2013503" y="552970"/>
                  <a:pt x="2008036" y="551148"/>
                </a:cubicBezTo>
                <a:cubicBezTo>
                  <a:pt x="2011680" y="549326"/>
                  <a:pt x="2015325" y="552970"/>
                  <a:pt x="2017147" y="551148"/>
                </a:cubicBezTo>
                <a:cubicBezTo>
                  <a:pt x="2017147" y="552970"/>
                  <a:pt x="2013503" y="554792"/>
                  <a:pt x="2015325" y="556616"/>
                </a:cubicBezTo>
                <a:cubicBezTo>
                  <a:pt x="2020791" y="554792"/>
                  <a:pt x="2022613" y="552970"/>
                  <a:pt x="2028080" y="554792"/>
                </a:cubicBezTo>
                <a:cubicBezTo>
                  <a:pt x="2028080" y="554792"/>
                  <a:pt x="2028080" y="552970"/>
                  <a:pt x="2028080" y="551148"/>
                </a:cubicBezTo>
                <a:cubicBezTo>
                  <a:pt x="2037191" y="554792"/>
                  <a:pt x="2048124" y="551148"/>
                  <a:pt x="2057235" y="547504"/>
                </a:cubicBezTo>
                <a:cubicBezTo>
                  <a:pt x="2053590" y="545681"/>
                  <a:pt x="2055413" y="542037"/>
                  <a:pt x="2055413" y="540215"/>
                </a:cubicBezTo>
                <a:cubicBezTo>
                  <a:pt x="2057235" y="542037"/>
                  <a:pt x="2059057" y="545681"/>
                  <a:pt x="2059057" y="543860"/>
                </a:cubicBezTo>
                <a:cubicBezTo>
                  <a:pt x="2060879" y="538393"/>
                  <a:pt x="2060879" y="534749"/>
                  <a:pt x="2062701" y="536571"/>
                </a:cubicBezTo>
                <a:cubicBezTo>
                  <a:pt x="2064524" y="538393"/>
                  <a:pt x="2069990" y="536571"/>
                  <a:pt x="2071812" y="540215"/>
                </a:cubicBezTo>
                <a:cubicBezTo>
                  <a:pt x="2073634" y="543860"/>
                  <a:pt x="2073634" y="549326"/>
                  <a:pt x="2075457" y="551148"/>
                </a:cubicBezTo>
                <a:cubicBezTo>
                  <a:pt x="2080923" y="547504"/>
                  <a:pt x="2075457" y="542037"/>
                  <a:pt x="2077279" y="538393"/>
                </a:cubicBezTo>
                <a:cubicBezTo>
                  <a:pt x="2080923" y="547504"/>
                  <a:pt x="2088212" y="549326"/>
                  <a:pt x="2093679" y="549326"/>
                </a:cubicBezTo>
                <a:cubicBezTo>
                  <a:pt x="2100967" y="547504"/>
                  <a:pt x="2095500" y="536571"/>
                  <a:pt x="2086390" y="529282"/>
                </a:cubicBezTo>
                <a:cubicBezTo>
                  <a:pt x="2084568" y="527461"/>
                  <a:pt x="2079101" y="529282"/>
                  <a:pt x="2073634" y="531105"/>
                </a:cubicBezTo>
                <a:cubicBezTo>
                  <a:pt x="2073634" y="523815"/>
                  <a:pt x="2077279" y="523815"/>
                  <a:pt x="2079101" y="523815"/>
                </a:cubicBezTo>
                <a:cubicBezTo>
                  <a:pt x="2071812" y="507417"/>
                  <a:pt x="2057235" y="500127"/>
                  <a:pt x="2046302" y="487373"/>
                </a:cubicBezTo>
                <a:cubicBezTo>
                  <a:pt x="2046302" y="492838"/>
                  <a:pt x="2046302" y="500127"/>
                  <a:pt x="2048124" y="507417"/>
                </a:cubicBezTo>
                <a:cubicBezTo>
                  <a:pt x="2040835" y="503771"/>
                  <a:pt x="2035369" y="494662"/>
                  <a:pt x="2031724" y="487373"/>
                </a:cubicBezTo>
                <a:cubicBezTo>
                  <a:pt x="2031724" y="489194"/>
                  <a:pt x="2031724" y="491017"/>
                  <a:pt x="2029902" y="492838"/>
                </a:cubicBezTo>
                <a:cubicBezTo>
                  <a:pt x="2028080" y="492838"/>
                  <a:pt x="2028080" y="491017"/>
                  <a:pt x="2026258" y="491017"/>
                </a:cubicBezTo>
                <a:cubicBezTo>
                  <a:pt x="2028080" y="496483"/>
                  <a:pt x="2029902" y="501949"/>
                  <a:pt x="2031724" y="507417"/>
                </a:cubicBezTo>
                <a:cubicBezTo>
                  <a:pt x="2026258" y="507417"/>
                  <a:pt x="2022613" y="487373"/>
                  <a:pt x="2026258" y="489194"/>
                </a:cubicBezTo>
                <a:cubicBezTo>
                  <a:pt x="2026258" y="485550"/>
                  <a:pt x="2022613" y="487373"/>
                  <a:pt x="2020791" y="485550"/>
                </a:cubicBezTo>
                <a:close/>
                <a:moveTo>
                  <a:pt x="2731439" y="484184"/>
                </a:moveTo>
                <a:cubicBezTo>
                  <a:pt x="2727795" y="484184"/>
                  <a:pt x="2725062" y="485550"/>
                  <a:pt x="2725973" y="491017"/>
                </a:cubicBezTo>
                <a:cubicBezTo>
                  <a:pt x="2731439" y="487373"/>
                  <a:pt x="2733261" y="492838"/>
                  <a:pt x="2735084" y="496483"/>
                </a:cubicBezTo>
                <a:cubicBezTo>
                  <a:pt x="2742372" y="496483"/>
                  <a:pt x="2742372" y="492838"/>
                  <a:pt x="2742372" y="485550"/>
                </a:cubicBezTo>
                <a:cubicBezTo>
                  <a:pt x="2739639" y="485550"/>
                  <a:pt x="2735084" y="484184"/>
                  <a:pt x="2731439" y="484184"/>
                </a:cubicBezTo>
                <a:close/>
                <a:moveTo>
                  <a:pt x="3272625" y="483728"/>
                </a:moveTo>
                <a:cubicBezTo>
                  <a:pt x="3276269" y="485550"/>
                  <a:pt x="3278091" y="489194"/>
                  <a:pt x="3283558" y="489194"/>
                </a:cubicBezTo>
                <a:cubicBezTo>
                  <a:pt x="3279913" y="487373"/>
                  <a:pt x="3278091" y="481906"/>
                  <a:pt x="3272625" y="483728"/>
                </a:cubicBezTo>
                <a:close/>
                <a:moveTo>
                  <a:pt x="3268980" y="483728"/>
                </a:moveTo>
                <a:cubicBezTo>
                  <a:pt x="3263514" y="483728"/>
                  <a:pt x="3259869" y="487373"/>
                  <a:pt x="3261692" y="492838"/>
                </a:cubicBezTo>
                <a:cubicBezTo>
                  <a:pt x="3263514" y="492838"/>
                  <a:pt x="3267158" y="492838"/>
                  <a:pt x="3270803" y="492838"/>
                </a:cubicBezTo>
                <a:cubicBezTo>
                  <a:pt x="3270803" y="489194"/>
                  <a:pt x="3268980" y="487373"/>
                  <a:pt x="3268980" y="483728"/>
                </a:cubicBezTo>
                <a:close/>
                <a:moveTo>
                  <a:pt x="2955566" y="483728"/>
                </a:moveTo>
                <a:cubicBezTo>
                  <a:pt x="2958300" y="483728"/>
                  <a:pt x="2958755" y="485095"/>
                  <a:pt x="2959211" y="486461"/>
                </a:cubicBezTo>
                <a:lnTo>
                  <a:pt x="2961814" y="488414"/>
                </a:lnTo>
                <a:lnTo>
                  <a:pt x="2962280" y="489578"/>
                </a:lnTo>
                <a:lnTo>
                  <a:pt x="2961293" y="490236"/>
                </a:lnTo>
                <a:lnTo>
                  <a:pt x="2957113" y="488146"/>
                </a:lnTo>
                <a:close/>
                <a:moveTo>
                  <a:pt x="2055413" y="483728"/>
                </a:moveTo>
                <a:cubicBezTo>
                  <a:pt x="2053590" y="483728"/>
                  <a:pt x="2057235" y="492838"/>
                  <a:pt x="2059057" y="492838"/>
                </a:cubicBezTo>
                <a:cubicBezTo>
                  <a:pt x="2064524" y="492838"/>
                  <a:pt x="2055413" y="487373"/>
                  <a:pt x="2055413" y="483728"/>
                </a:cubicBezTo>
                <a:close/>
                <a:moveTo>
                  <a:pt x="1253656" y="483728"/>
                </a:moveTo>
                <a:cubicBezTo>
                  <a:pt x="1246367" y="489194"/>
                  <a:pt x="1237256" y="501949"/>
                  <a:pt x="1244545" y="512882"/>
                </a:cubicBezTo>
                <a:cubicBezTo>
                  <a:pt x="1251834" y="503771"/>
                  <a:pt x="1253656" y="492838"/>
                  <a:pt x="1253656" y="483728"/>
                </a:cubicBezTo>
                <a:close/>
                <a:moveTo>
                  <a:pt x="1202636" y="483728"/>
                </a:moveTo>
                <a:cubicBezTo>
                  <a:pt x="1200814" y="485550"/>
                  <a:pt x="1202636" y="489194"/>
                  <a:pt x="1198991" y="491017"/>
                </a:cubicBezTo>
                <a:cubicBezTo>
                  <a:pt x="1202636" y="494662"/>
                  <a:pt x="1204457" y="500127"/>
                  <a:pt x="1208102" y="503771"/>
                </a:cubicBezTo>
                <a:cubicBezTo>
                  <a:pt x="1208102" y="496483"/>
                  <a:pt x="1206279" y="491017"/>
                  <a:pt x="1202636" y="483728"/>
                </a:cubicBezTo>
                <a:close/>
                <a:moveTo>
                  <a:pt x="1189880" y="483728"/>
                </a:moveTo>
                <a:cubicBezTo>
                  <a:pt x="1188058" y="483728"/>
                  <a:pt x="1186236" y="489194"/>
                  <a:pt x="1188058" y="491017"/>
                </a:cubicBezTo>
                <a:cubicBezTo>
                  <a:pt x="1191703" y="487373"/>
                  <a:pt x="1189880" y="485550"/>
                  <a:pt x="1189880" y="483728"/>
                </a:cubicBezTo>
                <a:close/>
                <a:moveTo>
                  <a:pt x="2122833" y="481906"/>
                </a:moveTo>
                <a:cubicBezTo>
                  <a:pt x="2124655" y="500127"/>
                  <a:pt x="2135588" y="520171"/>
                  <a:pt x="2157454" y="511061"/>
                </a:cubicBezTo>
                <a:cubicBezTo>
                  <a:pt x="2148344" y="500127"/>
                  <a:pt x="2142877" y="485550"/>
                  <a:pt x="2130122" y="481906"/>
                </a:cubicBezTo>
                <a:cubicBezTo>
                  <a:pt x="2130122" y="481906"/>
                  <a:pt x="2126477" y="483728"/>
                  <a:pt x="2126477" y="485550"/>
                </a:cubicBezTo>
                <a:cubicBezTo>
                  <a:pt x="2124655" y="487373"/>
                  <a:pt x="2122833" y="485550"/>
                  <a:pt x="2122833" y="481906"/>
                </a:cubicBezTo>
                <a:close/>
                <a:moveTo>
                  <a:pt x="1962482" y="481906"/>
                </a:moveTo>
                <a:lnTo>
                  <a:pt x="1965215" y="481906"/>
                </a:lnTo>
                <a:lnTo>
                  <a:pt x="1964305" y="489194"/>
                </a:lnTo>
                <a:cubicBezTo>
                  <a:pt x="1962482" y="487373"/>
                  <a:pt x="1960659" y="485550"/>
                  <a:pt x="1962482" y="481906"/>
                </a:cubicBezTo>
                <a:close/>
                <a:moveTo>
                  <a:pt x="1965303" y="481204"/>
                </a:moveTo>
                <a:lnTo>
                  <a:pt x="1966126" y="481906"/>
                </a:lnTo>
                <a:lnTo>
                  <a:pt x="1965215" y="481906"/>
                </a:lnTo>
                <a:close/>
                <a:moveTo>
                  <a:pt x="1939462" y="481191"/>
                </a:moveTo>
                <a:lnTo>
                  <a:pt x="1945399" y="491017"/>
                </a:lnTo>
                <a:cubicBezTo>
                  <a:pt x="1946993" y="495117"/>
                  <a:pt x="1948815" y="499216"/>
                  <a:pt x="1953371" y="501949"/>
                </a:cubicBezTo>
                <a:cubicBezTo>
                  <a:pt x="1947904" y="501038"/>
                  <a:pt x="1943804" y="495572"/>
                  <a:pt x="1941071" y="488967"/>
                </a:cubicBezTo>
                <a:close/>
                <a:moveTo>
                  <a:pt x="3044853" y="480083"/>
                </a:moveTo>
                <a:lnTo>
                  <a:pt x="3046675" y="480083"/>
                </a:lnTo>
                <a:cubicBezTo>
                  <a:pt x="3046675" y="483728"/>
                  <a:pt x="3043031" y="487373"/>
                  <a:pt x="3044853" y="491017"/>
                </a:cubicBezTo>
                <a:cubicBezTo>
                  <a:pt x="3039387" y="489194"/>
                  <a:pt x="3043031" y="481906"/>
                  <a:pt x="3044853" y="480083"/>
                </a:cubicBezTo>
                <a:close/>
                <a:moveTo>
                  <a:pt x="2075457" y="480083"/>
                </a:moveTo>
                <a:cubicBezTo>
                  <a:pt x="2071812" y="480083"/>
                  <a:pt x="2071812" y="481906"/>
                  <a:pt x="2069990" y="481906"/>
                </a:cubicBezTo>
                <a:cubicBezTo>
                  <a:pt x="2068168" y="489194"/>
                  <a:pt x="2077279" y="496483"/>
                  <a:pt x="2075457" y="505594"/>
                </a:cubicBezTo>
                <a:cubicBezTo>
                  <a:pt x="2073634" y="509238"/>
                  <a:pt x="2079101" y="512882"/>
                  <a:pt x="2080923" y="516527"/>
                </a:cubicBezTo>
                <a:cubicBezTo>
                  <a:pt x="2086390" y="523815"/>
                  <a:pt x="2091856" y="527461"/>
                  <a:pt x="2097323" y="520171"/>
                </a:cubicBezTo>
                <a:lnTo>
                  <a:pt x="2096959" y="517621"/>
                </a:lnTo>
                <a:lnTo>
                  <a:pt x="2100967" y="520171"/>
                </a:lnTo>
                <a:cubicBezTo>
                  <a:pt x="2104611" y="518349"/>
                  <a:pt x="2100967" y="511061"/>
                  <a:pt x="2099145" y="507417"/>
                </a:cubicBezTo>
                <a:lnTo>
                  <a:pt x="2094363" y="509011"/>
                </a:lnTo>
                <a:lnTo>
                  <a:pt x="2093679" y="505594"/>
                </a:lnTo>
                <a:cubicBezTo>
                  <a:pt x="2093679" y="507417"/>
                  <a:pt x="2093679" y="509238"/>
                  <a:pt x="2093679" y="509238"/>
                </a:cubicBezTo>
                <a:lnTo>
                  <a:pt x="2094363" y="509011"/>
                </a:lnTo>
                <a:lnTo>
                  <a:pt x="2095291" y="513654"/>
                </a:lnTo>
                <a:lnTo>
                  <a:pt x="2091856" y="509238"/>
                </a:lnTo>
                <a:cubicBezTo>
                  <a:pt x="2090034" y="509238"/>
                  <a:pt x="2088212" y="509238"/>
                  <a:pt x="2086390" y="511061"/>
                </a:cubicBezTo>
                <a:cubicBezTo>
                  <a:pt x="2088212" y="512882"/>
                  <a:pt x="2086390" y="518349"/>
                  <a:pt x="2088212" y="520171"/>
                </a:cubicBezTo>
                <a:cubicBezTo>
                  <a:pt x="2079101" y="516527"/>
                  <a:pt x="2079101" y="509238"/>
                  <a:pt x="2080923" y="501949"/>
                </a:cubicBezTo>
                <a:cubicBezTo>
                  <a:pt x="2082745" y="498306"/>
                  <a:pt x="2084568" y="507417"/>
                  <a:pt x="2084568" y="503771"/>
                </a:cubicBezTo>
                <a:cubicBezTo>
                  <a:pt x="2084568" y="500127"/>
                  <a:pt x="2082745" y="496483"/>
                  <a:pt x="2082745" y="492838"/>
                </a:cubicBezTo>
                <a:cubicBezTo>
                  <a:pt x="2077279" y="494662"/>
                  <a:pt x="2071812" y="485550"/>
                  <a:pt x="2073634" y="481906"/>
                </a:cubicBezTo>
                <a:cubicBezTo>
                  <a:pt x="2075457" y="481906"/>
                  <a:pt x="2077279" y="483728"/>
                  <a:pt x="2077279" y="485550"/>
                </a:cubicBezTo>
                <a:cubicBezTo>
                  <a:pt x="2080923" y="485550"/>
                  <a:pt x="2075457" y="481906"/>
                  <a:pt x="2075457" y="480083"/>
                </a:cubicBezTo>
                <a:close/>
                <a:moveTo>
                  <a:pt x="951073" y="479880"/>
                </a:moveTo>
                <a:lnTo>
                  <a:pt x="951175" y="480083"/>
                </a:lnTo>
                <a:lnTo>
                  <a:pt x="951133" y="480059"/>
                </a:lnTo>
                <a:close/>
                <a:moveTo>
                  <a:pt x="1939186" y="479857"/>
                </a:moveTo>
                <a:lnTo>
                  <a:pt x="1939462" y="481191"/>
                </a:lnTo>
                <a:lnTo>
                  <a:pt x="1938793" y="480083"/>
                </a:lnTo>
                <a:close/>
                <a:moveTo>
                  <a:pt x="3250759" y="478262"/>
                </a:moveTo>
                <a:cubicBezTo>
                  <a:pt x="3248937" y="481906"/>
                  <a:pt x="3241648" y="480083"/>
                  <a:pt x="3245292" y="485550"/>
                </a:cubicBezTo>
                <a:cubicBezTo>
                  <a:pt x="3247114" y="487373"/>
                  <a:pt x="3247114" y="483728"/>
                  <a:pt x="3247114" y="483728"/>
                </a:cubicBezTo>
                <a:cubicBezTo>
                  <a:pt x="3250759" y="485550"/>
                  <a:pt x="3252581" y="485550"/>
                  <a:pt x="3250759" y="478262"/>
                </a:cubicBezTo>
                <a:close/>
                <a:moveTo>
                  <a:pt x="2263140" y="476439"/>
                </a:moveTo>
                <a:cubicBezTo>
                  <a:pt x="2259496" y="480083"/>
                  <a:pt x="2255852" y="487373"/>
                  <a:pt x="2259496" y="492838"/>
                </a:cubicBezTo>
                <a:cubicBezTo>
                  <a:pt x="2263140" y="491017"/>
                  <a:pt x="2263140" y="481906"/>
                  <a:pt x="2263140" y="476439"/>
                </a:cubicBezTo>
                <a:close/>
                <a:moveTo>
                  <a:pt x="980330" y="476439"/>
                </a:moveTo>
                <a:cubicBezTo>
                  <a:pt x="981242" y="479173"/>
                  <a:pt x="983519" y="481450"/>
                  <a:pt x="984885" y="484184"/>
                </a:cubicBezTo>
                <a:lnTo>
                  <a:pt x="984637" y="487035"/>
                </a:lnTo>
                <a:lnTo>
                  <a:pt x="980330" y="481830"/>
                </a:lnTo>
                <a:close/>
                <a:moveTo>
                  <a:pt x="2414355" y="475330"/>
                </a:moveTo>
                <a:lnTo>
                  <a:pt x="2414381" y="475528"/>
                </a:lnTo>
                <a:lnTo>
                  <a:pt x="2412877" y="481168"/>
                </a:lnTo>
                <a:lnTo>
                  <a:pt x="2413015" y="478489"/>
                </a:lnTo>
                <a:close/>
                <a:moveTo>
                  <a:pt x="534199" y="475260"/>
                </a:moveTo>
                <a:lnTo>
                  <a:pt x="536785" y="478259"/>
                </a:lnTo>
                <a:lnTo>
                  <a:pt x="535719" y="483728"/>
                </a:lnTo>
                <a:close/>
                <a:moveTo>
                  <a:pt x="2915478" y="474637"/>
                </a:moveTo>
                <a:cubicBezTo>
                  <a:pt x="2911834" y="487392"/>
                  <a:pt x="2917300" y="489215"/>
                  <a:pt x="2930056" y="491037"/>
                </a:cubicBezTo>
                <a:cubicBezTo>
                  <a:pt x="2920945" y="496503"/>
                  <a:pt x="2911834" y="498326"/>
                  <a:pt x="2911834" y="481926"/>
                </a:cubicBezTo>
                <a:cubicBezTo>
                  <a:pt x="2910012" y="480104"/>
                  <a:pt x="2913656" y="476459"/>
                  <a:pt x="2915478" y="474637"/>
                </a:cubicBezTo>
                <a:close/>
                <a:moveTo>
                  <a:pt x="2055413" y="474618"/>
                </a:moveTo>
                <a:cubicBezTo>
                  <a:pt x="2057235" y="483728"/>
                  <a:pt x="2060879" y="489194"/>
                  <a:pt x="2064524" y="494662"/>
                </a:cubicBezTo>
                <a:cubicBezTo>
                  <a:pt x="2068168" y="494662"/>
                  <a:pt x="2060879" y="487373"/>
                  <a:pt x="2064524" y="485550"/>
                </a:cubicBezTo>
                <a:lnTo>
                  <a:pt x="2066263" y="485985"/>
                </a:lnTo>
                <a:lnTo>
                  <a:pt x="2068168" y="489194"/>
                </a:lnTo>
                <a:cubicBezTo>
                  <a:pt x="2067257" y="488284"/>
                  <a:pt x="2066802" y="486917"/>
                  <a:pt x="2066346" y="486006"/>
                </a:cubicBezTo>
                <a:lnTo>
                  <a:pt x="2066263" y="485985"/>
                </a:lnTo>
                <a:lnTo>
                  <a:pt x="2063841" y="481906"/>
                </a:lnTo>
                <a:cubicBezTo>
                  <a:pt x="2060880" y="479628"/>
                  <a:pt x="2057235" y="477351"/>
                  <a:pt x="2055413" y="474618"/>
                </a:cubicBezTo>
                <a:close/>
                <a:moveTo>
                  <a:pt x="1171658" y="474618"/>
                </a:moveTo>
                <a:cubicBezTo>
                  <a:pt x="1173481" y="476439"/>
                  <a:pt x="1168014" y="480083"/>
                  <a:pt x="1171658" y="485550"/>
                </a:cubicBezTo>
                <a:cubicBezTo>
                  <a:pt x="1157081" y="500127"/>
                  <a:pt x="1175303" y="503771"/>
                  <a:pt x="1182592" y="505594"/>
                </a:cubicBezTo>
                <a:cubicBezTo>
                  <a:pt x="1180769" y="501949"/>
                  <a:pt x="1177125" y="501949"/>
                  <a:pt x="1175303" y="500127"/>
                </a:cubicBezTo>
                <a:cubicBezTo>
                  <a:pt x="1173481" y="498306"/>
                  <a:pt x="1173481" y="498306"/>
                  <a:pt x="1175303" y="496483"/>
                </a:cubicBezTo>
                <a:cubicBezTo>
                  <a:pt x="1178947" y="496483"/>
                  <a:pt x="1178947" y="496483"/>
                  <a:pt x="1180769" y="500127"/>
                </a:cubicBezTo>
                <a:cubicBezTo>
                  <a:pt x="1180769" y="491017"/>
                  <a:pt x="1175303" y="481906"/>
                  <a:pt x="1171658" y="474618"/>
                </a:cubicBezTo>
                <a:close/>
                <a:moveTo>
                  <a:pt x="949353" y="474618"/>
                </a:moveTo>
                <a:lnTo>
                  <a:pt x="951073" y="479880"/>
                </a:lnTo>
                <a:lnTo>
                  <a:pt x="949353" y="476439"/>
                </a:lnTo>
                <a:lnTo>
                  <a:pt x="948779" y="478736"/>
                </a:lnTo>
                <a:lnTo>
                  <a:pt x="947531" y="478034"/>
                </a:lnTo>
                <a:cubicBezTo>
                  <a:pt x="947075" y="476895"/>
                  <a:pt x="947531" y="475529"/>
                  <a:pt x="949353" y="474618"/>
                </a:cubicBezTo>
                <a:close/>
                <a:moveTo>
                  <a:pt x="2120100" y="474389"/>
                </a:moveTo>
                <a:cubicBezTo>
                  <a:pt x="2119189" y="475984"/>
                  <a:pt x="2119189" y="479173"/>
                  <a:pt x="2121011" y="481906"/>
                </a:cubicBezTo>
                <a:cubicBezTo>
                  <a:pt x="2122833" y="481906"/>
                  <a:pt x="2121011" y="474618"/>
                  <a:pt x="2124655" y="476439"/>
                </a:cubicBezTo>
                <a:cubicBezTo>
                  <a:pt x="2122833" y="472795"/>
                  <a:pt x="2121011" y="472795"/>
                  <a:pt x="2120100" y="474389"/>
                </a:cubicBezTo>
                <a:close/>
                <a:moveTo>
                  <a:pt x="3124574" y="473706"/>
                </a:moveTo>
                <a:cubicBezTo>
                  <a:pt x="3115007" y="471428"/>
                  <a:pt x="3106807" y="471884"/>
                  <a:pt x="3103163" y="476439"/>
                </a:cubicBezTo>
                <a:cubicBezTo>
                  <a:pt x="3086763" y="492838"/>
                  <a:pt x="3097696" y="531105"/>
                  <a:pt x="3115918" y="552970"/>
                </a:cubicBezTo>
                <a:cubicBezTo>
                  <a:pt x="3115918" y="552970"/>
                  <a:pt x="3115918" y="552970"/>
                  <a:pt x="3119562" y="551148"/>
                </a:cubicBezTo>
                <a:cubicBezTo>
                  <a:pt x="3115918" y="571192"/>
                  <a:pt x="3134140" y="585769"/>
                  <a:pt x="3148717" y="587591"/>
                </a:cubicBezTo>
                <a:cubicBezTo>
                  <a:pt x="3161472" y="589414"/>
                  <a:pt x="3168761" y="569370"/>
                  <a:pt x="3177872" y="562081"/>
                </a:cubicBezTo>
                <a:cubicBezTo>
                  <a:pt x="3183338" y="554792"/>
                  <a:pt x="3188805" y="538393"/>
                  <a:pt x="3181516" y="531105"/>
                </a:cubicBezTo>
                <a:cubicBezTo>
                  <a:pt x="3176050" y="523815"/>
                  <a:pt x="3170583" y="514705"/>
                  <a:pt x="3166939" y="505594"/>
                </a:cubicBezTo>
                <a:cubicBezTo>
                  <a:pt x="3163294" y="507417"/>
                  <a:pt x="3159650" y="507417"/>
                  <a:pt x="3156006" y="511061"/>
                </a:cubicBezTo>
                <a:cubicBezTo>
                  <a:pt x="3154184" y="509238"/>
                  <a:pt x="3150539" y="496483"/>
                  <a:pt x="3146895" y="503771"/>
                </a:cubicBezTo>
                <a:cubicBezTo>
                  <a:pt x="3145073" y="501949"/>
                  <a:pt x="3143250" y="498306"/>
                  <a:pt x="3145073" y="496483"/>
                </a:cubicBezTo>
                <a:cubicBezTo>
                  <a:pt x="3148717" y="498306"/>
                  <a:pt x="3150539" y="498306"/>
                  <a:pt x="3152361" y="501949"/>
                </a:cubicBezTo>
                <a:cubicBezTo>
                  <a:pt x="3152361" y="496483"/>
                  <a:pt x="3159650" y="498306"/>
                  <a:pt x="3159650" y="494662"/>
                </a:cubicBezTo>
                <a:cubicBezTo>
                  <a:pt x="3157828" y="491017"/>
                  <a:pt x="3156006" y="489194"/>
                  <a:pt x="3154184" y="487373"/>
                </a:cubicBezTo>
                <a:cubicBezTo>
                  <a:pt x="3145073" y="480995"/>
                  <a:pt x="3134140" y="475984"/>
                  <a:pt x="3124574" y="473706"/>
                </a:cubicBezTo>
                <a:close/>
                <a:moveTo>
                  <a:pt x="3378311" y="472795"/>
                </a:moveTo>
                <a:cubicBezTo>
                  <a:pt x="3372844" y="472795"/>
                  <a:pt x="3376489" y="481906"/>
                  <a:pt x="3380133" y="478262"/>
                </a:cubicBezTo>
                <a:cubicBezTo>
                  <a:pt x="3378311" y="476439"/>
                  <a:pt x="3378311" y="474618"/>
                  <a:pt x="3378311" y="472795"/>
                </a:cubicBezTo>
                <a:close/>
                <a:moveTo>
                  <a:pt x="2091856" y="472795"/>
                </a:moveTo>
                <a:cubicBezTo>
                  <a:pt x="2093679" y="478262"/>
                  <a:pt x="2095500" y="481906"/>
                  <a:pt x="2099145" y="483728"/>
                </a:cubicBezTo>
                <a:cubicBezTo>
                  <a:pt x="2097323" y="478262"/>
                  <a:pt x="2100967" y="476439"/>
                  <a:pt x="2100967" y="481906"/>
                </a:cubicBezTo>
                <a:cubicBezTo>
                  <a:pt x="2104611" y="476439"/>
                  <a:pt x="2097323" y="470972"/>
                  <a:pt x="2091856" y="472795"/>
                </a:cubicBezTo>
                <a:close/>
                <a:moveTo>
                  <a:pt x="2028080" y="472795"/>
                </a:moveTo>
                <a:cubicBezTo>
                  <a:pt x="2029902" y="480083"/>
                  <a:pt x="2035369" y="472795"/>
                  <a:pt x="2035369" y="481906"/>
                </a:cubicBezTo>
                <a:cubicBezTo>
                  <a:pt x="2037191" y="480083"/>
                  <a:pt x="2039013" y="478262"/>
                  <a:pt x="2040835" y="483728"/>
                </a:cubicBezTo>
                <a:cubicBezTo>
                  <a:pt x="2042657" y="483728"/>
                  <a:pt x="2044479" y="481906"/>
                  <a:pt x="2042657" y="478262"/>
                </a:cubicBezTo>
                <a:cubicBezTo>
                  <a:pt x="2037191" y="478262"/>
                  <a:pt x="2035369" y="472795"/>
                  <a:pt x="2028080" y="472795"/>
                </a:cubicBezTo>
                <a:close/>
                <a:moveTo>
                  <a:pt x="2022613" y="472795"/>
                </a:moveTo>
                <a:cubicBezTo>
                  <a:pt x="2022613" y="476439"/>
                  <a:pt x="2026258" y="478262"/>
                  <a:pt x="2028080" y="481906"/>
                </a:cubicBezTo>
                <a:cubicBezTo>
                  <a:pt x="2031724" y="480083"/>
                  <a:pt x="2026258" y="470972"/>
                  <a:pt x="2022613" y="472795"/>
                </a:cubicBezTo>
                <a:close/>
                <a:moveTo>
                  <a:pt x="1198991" y="472795"/>
                </a:moveTo>
                <a:cubicBezTo>
                  <a:pt x="1195346" y="476439"/>
                  <a:pt x="1195346" y="478262"/>
                  <a:pt x="1193525" y="481906"/>
                </a:cubicBezTo>
                <a:cubicBezTo>
                  <a:pt x="1195346" y="481906"/>
                  <a:pt x="1193525" y="483728"/>
                  <a:pt x="1195346" y="485550"/>
                </a:cubicBezTo>
                <a:cubicBezTo>
                  <a:pt x="1198991" y="481906"/>
                  <a:pt x="1202636" y="478262"/>
                  <a:pt x="1198991" y="472795"/>
                </a:cubicBezTo>
                <a:close/>
                <a:moveTo>
                  <a:pt x="974863" y="472795"/>
                </a:moveTo>
                <a:cubicBezTo>
                  <a:pt x="963930" y="481906"/>
                  <a:pt x="956642" y="496483"/>
                  <a:pt x="965753" y="509238"/>
                </a:cubicBezTo>
                <a:cubicBezTo>
                  <a:pt x="967575" y="509238"/>
                  <a:pt x="967575" y="509238"/>
                  <a:pt x="969397" y="507417"/>
                </a:cubicBezTo>
                <a:cubicBezTo>
                  <a:pt x="969397" y="509238"/>
                  <a:pt x="969397" y="511061"/>
                  <a:pt x="971219" y="512882"/>
                </a:cubicBezTo>
                <a:cubicBezTo>
                  <a:pt x="969397" y="512882"/>
                  <a:pt x="967575" y="511061"/>
                  <a:pt x="965753" y="512882"/>
                </a:cubicBezTo>
                <a:cubicBezTo>
                  <a:pt x="963930" y="515616"/>
                  <a:pt x="962564" y="519716"/>
                  <a:pt x="962792" y="523133"/>
                </a:cubicBezTo>
                <a:lnTo>
                  <a:pt x="969178" y="529079"/>
                </a:lnTo>
                <a:lnTo>
                  <a:pt x="969024" y="529282"/>
                </a:lnTo>
                <a:lnTo>
                  <a:pt x="963930" y="529282"/>
                </a:lnTo>
                <a:cubicBezTo>
                  <a:pt x="963930" y="532926"/>
                  <a:pt x="963930" y="536571"/>
                  <a:pt x="962108" y="538393"/>
                </a:cubicBezTo>
                <a:lnTo>
                  <a:pt x="969024" y="529282"/>
                </a:lnTo>
                <a:lnTo>
                  <a:pt x="969397" y="529282"/>
                </a:lnTo>
                <a:lnTo>
                  <a:pt x="969178" y="529079"/>
                </a:lnTo>
                <a:lnTo>
                  <a:pt x="970694" y="527081"/>
                </a:lnTo>
                <a:lnTo>
                  <a:pt x="963930" y="545681"/>
                </a:lnTo>
                <a:cubicBezTo>
                  <a:pt x="969397" y="543860"/>
                  <a:pt x="969397" y="538393"/>
                  <a:pt x="969397" y="534749"/>
                </a:cubicBezTo>
                <a:lnTo>
                  <a:pt x="971015" y="526659"/>
                </a:lnTo>
                <a:lnTo>
                  <a:pt x="976457" y="519488"/>
                </a:lnTo>
                <a:cubicBezTo>
                  <a:pt x="979874" y="512427"/>
                  <a:pt x="981242" y="504683"/>
                  <a:pt x="978508" y="496483"/>
                </a:cubicBezTo>
                <a:cubicBezTo>
                  <a:pt x="976686" y="494662"/>
                  <a:pt x="971219" y="494662"/>
                  <a:pt x="969397" y="491017"/>
                </a:cubicBezTo>
                <a:cubicBezTo>
                  <a:pt x="971219" y="491017"/>
                  <a:pt x="973041" y="494662"/>
                  <a:pt x="976686" y="494662"/>
                </a:cubicBezTo>
                <a:cubicBezTo>
                  <a:pt x="982152" y="489194"/>
                  <a:pt x="973041" y="483728"/>
                  <a:pt x="973041" y="478262"/>
                </a:cubicBezTo>
                <a:cubicBezTo>
                  <a:pt x="974863" y="478262"/>
                  <a:pt x="976686" y="478262"/>
                  <a:pt x="976686" y="480083"/>
                </a:cubicBezTo>
                <a:cubicBezTo>
                  <a:pt x="978508" y="476439"/>
                  <a:pt x="973041" y="474618"/>
                  <a:pt x="974863" y="472795"/>
                </a:cubicBezTo>
                <a:close/>
                <a:moveTo>
                  <a:pt x="972542" y="471298"/>
                </a:moveTo>
                <a:lnTo>
                  <a:pt x="972642" y="471599"/>
                </a:lnTo>
                <a:lnTo>
                  <a:pt x="972004" y="472601"/>
                </a:lnTo>
                <a:lnTo>
                  <a:pt x="970872" y="472389"/>
                </a:lnTo>
                <a:close/>
                <a:moveTo>
                  <a:pt x="3323099" y="471155"/>
                </a:moveTo>
                <a:lnTo>
                  <a:pt x="3323646" y="472795"/>
                </a:lnTo>
                <a:lnTo>
                  <a:pt x="3319905" y="471767"/>
                </a:lnTo>
                <a:close/>
                <a:moveTo>
                  <a:pt x="3259869" y="470972"/>
                </a:moveTo>
                <a:cubicBezTo>
                  <a:pt x="3258047" y="470972"/>
                  <a:pt x="3258047" y="472795"/>
                  <a:pt x="3256225" y="472795"/>
                </a:cubicBezTo>
                <a:cubicBezTo>
                  <a:pt x="3258047" y="480083"/>
                  <a:pt x="3265336" y="478262"/>
                  <a:pt x="3270803" y="478262"/>
                </a:cubicBezTo>
                <a:cubicBezTo>
                  <a:pt x="3270803" y="476439"/>
                  <a:pt x="3268980" y="472795"/>
                  <a:pt x="3268980" y="470972"/>
                </a:cubicBezTo>
                <a:cubicBezTo>
                  <a:pt x="3267158" y="474618"/>
                  <a:pt x="3263514" y="476439"/>
                  <a:pt x="3259869" y="470972"/>
                </a:cubicBezTo>
                <a:close/>
                <a:moveTo>
                  <a:pt x="1186236" y="470972"/>
                </a:moveTo>
                <a:cubicBezTo>
                  <a:pt x="1184414" y="472795"/>
                  <a:pt x="1189880" y="476439"/>
                  <a:pt x="1186236" y="476439"/>
                </a:cubicBezTo>
                <a:cubicBezTo>
                  <a:pt x="1186236" y="478262"/>
                  <a:pt x="1188058" y="478262"/>
                  <a:pt x="1188058" y="480083"/>
                </a:cubicBezTo>
                <a:cubicBezTo>
                  <a:pt x="1188058" y="476439"/>
                  <a:pt x="1189880" y="472795"/>
                  <a:pt x="1186236" y="470972"/>
                </a:cubicBezTo>
                <a:close/>
                <a:moveTo>
                  <a:pt x="1002196" y="470972"/>
                </a:moveTo>
                <a:cubicBezTo>
                  <a:pt x="1000374" y="474618"/>
                  <a:pt x="1000374" y="478262"/>
                  <a:pt x="1000374" y="481906"/>
                </a:cubicBezTo>
                <a:cubicBezTo>
                  <a:pt x="1007663" y="480083"/>
                  <a:pt x="1004018" y="474618"/>
                  <a:pt x="1002196" y="470972"/>
                </a:cubicBezTo>
                <a:close/>
                <a:moveTo>
                  <a:pt x="3197916" y="469150"/>
                </a:moveTo>
                <a:cubicBezTo>
                  <a:pt x="3194271" y="469150"/>
                  <a:pt x="3196093" y="480083"/>
                  <a:pt x="3201560" y="478262"/>
                </a:cubicBezTo>
                <a:cubicBezTo>
                  <a:pt x="3203382" y="474618"/>
                  <a:pt x="3199738" y="472795"/>
                  <a:pt x="3197916" y="469150"/>
                </a:cubicBezTo>
                <a:close/>
                <a:moveTo>
                  <a:pt x="3186982" y="469150"/>
                </a:moveTo>
                <a:cubicBezTo>
                  <a:pt x="3188805" y="470972"/>
                  <a:pt x="3188805" y="472795"/>
                  <a:pt x="3190627" y="474618"/>
                </a:cubicBezTo>
                <a:lnTo>
                  <a:pt x="3188836" y="476409"/>
                </a:lnTo>
                <a:close/>
                <a:moveTo>
                  <a:pt x="2959211" y="469150"/>
                </a:moveTo>
                <a:cubicBezTo>
                  <a:pt x="2964677" y="474618"/>
                  <a:pt x="2962855" y="481906"/>
                  <a:pt x="2962855" y="489194"/>
                </a:cubicBezTo>
                <a:lnTo>
                  <a:pt x="2961814" y="488414"/>
                </a:lnTo>
                <a:lnTo>
                  <a:pt x="2960122" y="484183"/>
                </a:lnTo>
                <a:cubicBezTo>
                  <a:pt x="2959667" y="481906"/>
                  <a:pt x="2959211" y="480083"/>
                  <a:pt x="2957389" y="480083"/>
                </a:cubicBezTo>
                <a:cubicBezTo>
                  <a:pt x="2951922" y="480083"/>
                  <a:pt x="2946456" y="483728"/>
                  <a:pt x="2940989" y="487373"/>
                </a:cubicBezTo>
                <a:cubicBezTo>
                  <a:pt x="2940989" y="487373"/>
                  <a:pt x="2942811" y="485550"/>
                  <a:pt x="2942811" y="485550"/>
                </a:cubicBezTo>
                <a:cubicBezTo>
                  <a:pt x="2937345" y="483728"/>
                  <a:pt x="2933700" y="483728"/>
                  <a:pt x="2928234" y="483728"/>
                </a:cubicBezTo>
                <a:cubicBezTo>
                  <a:pt x="2934612" y="483728"/>
                  <a:pt x="2942356" y="481451"/>
                  <a:pt x="2947595" y="477351"/>
                </a:cubicBezTo>
                <a:lnTo>
                  <a:pt x="2951568" y="471957"/>
                </a:lnTo>
                <a:lnTo>
                  <a:pt x="2950100" y="478262"/>
                </a:lnTo>
                <a:cubicBezTo>
                  <a:pt x="2951922" y="480083"/>
                  <a:pt x="2951922" y="481906"/>
                  <a:pt x="2951922" y="481906"/>
                </a:cubicBezTo>
                <a:cubicBezTo>
                  <a:pt x="2951922" y="476439"/>
                  <a:pt x="2951922" y="467328"/>
                  <a:pt x="2959211" y="469150"/>
                </a:cubicBezTo>
                <a:close/>
                <a:moveTo>
                  <a:pt x="2645797" y="469150"/>
                </a:moveTo>
                <a:cubicBezTo>
                  <a:pt x="2642153" y="469150"/>
                  <a:pt x="2643975" y="478262"/>
                  <a:pt x="2642153" y="485550"/>
                </a:cubicBezTo>
                <a:cubicBezTo>
                  <a:pt x="2645797" y="487373"/>
                  <a:pt x="2647619" y="483728"/>
                  <a:pt x="2649441" y="483728"/>
                </a:cubicBezTo>
                <a:cubicBezTo>
                  <a:pt x="2651263" y="476439"/>
                  <a:pt x="2645797" y="474618"/>
                  <a:pt x="2645797" y="469150"/>
                </a:cubicBezTo>
                <a:close/>
                <a:moveTo>
                  <a:pt x="998552" y="469150"/>
                </a:moveTo>
                <a:cubicBezTo>
                  <a:pt x="996729" y="472795"/>
                  <a:pt x="991263" y="487373"/>
                  <a:pt x="991263" y="487373"/>
                </a:cubicBezTo>
                <a:cubicBezTo>
                  <a:pt x="994907" y="481906"/>
                  <a:pt x="994907" y="478262"/>
                  <a:pt x="998552" y="472795"/>
                </a:cubicBezTo>
                <a:cubicBezTo>
                  <a:pt x="998552" y="470972"/>
                  <a:pt x="996729" y="470972"/>
                  <a:pt x="998552" y="469150"/>
                </a:cubicBezTo>
                <a:close/>
                <a:moveTo>
                  <a:pt x="1283118" y="468186"/>
                </a:moveTo>
                <a:lnTo>
                  <a:pt x="1282583" y="469378"/>
                </a:lnTo>
                <a:lnTo>
                  <a:pt x="1281232" y="470729"/>
                </a:lnTo>
                <a:close/>
                <a:moveTo>
                  <a:pt x="3371022" y="467328"/>
                </a:moveTo>
                <a:lnTo>
                  <a:pt x="3372275" y="470112"/>
                </a:lnTo>
                <a:lnTo>
                  <a:pt x="3371022" y="470972"/>
                </a:lnTo>
                <a:lnTo>
                  <a:pt x="3369585" y="467667"/>
                </a:lnTo>
                <a:close/>
                <a:moveTo>
                  <a:pt x="3055786" y="467328"/>
                </a:moveTo>
                <a:cubicBezTo>
                  <a:pt x="3061253" y="483728"/>
                  <a:pt x="3068541" y="500127"/>
                  <a:pt x="3081297" y="509238"/>
                </a:cubicBezTo>
                <a:cubicBezTo>
                  <a:pt x="3079474" y="498306"/>
                  <a:pt x="3079474" y="485550"/>
                  <a:pt x="3074008" y="472795"/>
                </a:cubicBezTo>
                <a:cubicBezTo>
                  <a:pt x="3064897" y="472795"/>
                  <a:pt x="3059430" y="469150"/>
                  <a:pt x="3055786" y="467328"/>
                </a:cubicBezTo>
                <a:close/>
                <a:moveTo>
                  <a:pt x="2592954" y="467328"/>
                </a:moveTo>
                <a:cubicBezTo>
                  <a:pt x="2589310" y="470972"/>
                  <a:pt x="2580199" y="472795"/>
                  <a:pt x="2583843" y="478262"/>
                </a:cubicBezTo>
                <a:cubicBezTo>
                  <a:pt x="2587487" y="481906"/>
                  <a:pt x="2592954" y="474618"/>
                  <a:pt x="2594776" y="476439"/>
                </a:cubicBezTo>
                <a:cubicBezTo>
                  <a:pt x="2596598" y="470972"/>
                  <a:pt x="2592954" y="470972"/>
                  <a:pt x="2592954" y="467328"/>
                </a:cubicBezTo>
                <a:close/>
                <a:moveTo>
                  <a:pt x="2576554" y="467328"/>
                </a:moveTo>
                <a:cubicBezTo>
                  <a:pt x="2567443" y="469150"/>
                  <a:pt x="2567443" y="476439"/>
                  <a:pt x="2572910" y="481906"/>
                </a:cubicBezTo>
                <a:cubicBezTo>
                  <a:pt x="2572910" y="478262"/>
                  <a:pt x="2576554" y="478262"/>
                  <a:pt x="2578377" y="474618"/>
                </a:cubicBezTo>
                <a:cubicBezTo>
                  <a:pt x="2580199" y="470972"/>
                  <a:pt x="2576554" y="470972"/>
                  <a:pt x="2576554" y="467328"/>
                </a:cubicBezTo>
                <a:close/>
                <a:moveTo>
                  <a:pt x="2084568" y="467328"/>
                </a:moveTo>
                <a:cubicBezTo>
                  <a:pt x="2086390" y="470972"/>
                  <a:pt x="2088212" y="476439"/>
                  <a:pt x="2088212" y="480083"/>
                </a:cubicBezTo>
                <a:cubicBezTo>
                  <a:pt x="2088212" y="478262"/>
                  <a:pt x="2088212" y="472795"/>
                  <a:pt x="2088212" y="469150"/>
                </a:cubicBezTo>
                <a:cubicBezTo>
                  <a:pt x="2086390" y="469150"/>
                  <a:pt x="2084568" y="467328"/>
                  <a:pt x="2084568" y="467328"/>
                </a:cubicBezTo>
                <a:close/>
                <a:moveTo>
                  <a:pt x="1260945" y="467328"/>
                </a:moveTo>
                <a:lnTo>
                  <a:pt x="1261085" y="467750"/>
                </a:lnTo>
                <a:lnTo>
                  <a:pt x="1260945" y="468208"/>
                </a:lnTo>
                <a:close/>
                <a:moveTo>
                  <a:pt x="1164370" y="467328"/>
                </a:moveTo>
                <a:cubicBezTo>
                  <a:pt x="1164370" y="470972"/>
                  <a:pt x="1166192" y="472795"/>
                  <a:pt x="1164370" y="474618"/>
                </a:cubicBezTo>
                <a:cubicBezTo>
                  <a:pt x="1168014" y="474618"/>
                  <a:pt x="1166192" y="469150"/>
                  <a:pt x="1164370" y="467328"/>
                </a:cubicBezTo>
                <a:close/>
                <a:moveTo>
                  <a:pt x="2952739" y="466928"/>
                </a:moveTo>
                <a:lnTo>
                  <a:pt x="2953090" y="469891"/>
                </a:lnTo>
                <a:lnTo>
                  <a:pt x="2951568" y="471957"/>
                </a:lnTo>
                <a:close/>
                <a:moveTo>
                  <a:pt x="406345" y="465530"/>
                </a:moveTo>
                <a:cubicBezTo>
                  <a:pt x="411812" y="476463"/>
                  <a:pt x="420923" y="485574"/>
                  <a:pt x="428211" y="494685"/>
                </a:cubicBezTo>
                <a:cubicBezTo>
                  <a:pt x="430034" y="496507"/>
                  <a:pt x="430034" y="498329"/>
                  <a:pt x="430034" y="500152"/>
                </a:cubicBezTo>
                <a:cubicBezTo>
                  <a:pt x="420923" y="489219"/>
                  <a:pt x="409990" y="480108"/>
                  <a:pt x="406345" y="465530"/>
                </a:cubicBezTo>
                <a:close/>
                <a:moveTo>
                  <a:pt x="901976" y="465506"/>
                </a:moveTo>
                <a:cubicBezTo>
                  <a:pt x="903799" y="469150"/>
                  <a:pt x="905621" y="472795"/>
                  <a:pt x="901976" y="476439"/>
                </a:cubicBezTo>
                <a:cubicBezTo>
                  <a:pt x="901976" y="474618"/>
                  <a:pt x="898333" y="467328"/>
                  <a:pt x="901976" y="465506"/>
                </a:cubicBezTo>
                <a:close/>
                <a:moveTo>
                  <a:pt x="194973" y="465506"/>
                </a:moveTo>
                <a:cubicBezTo>
                  <a:pt x="201123" y="474389"/>
                  <a:pt x="205223" y="484554"/>
                  <a:pt x="209290" y="494750"/>
                </a:cubicBezTo>
                <a:lnTo>
                  <a:pt x="217427" y="511706"/>
                </a:lnTo>
                <a:lnTo>
                  <a:pt x="215245" y="508100"/>
                </a:lnTo>
                <a:cubicBezTo>
                  <a:pt x="208184" y="494205"/>
                  <a:pt x="201350" y="479173"/>
                  <a:pt x="194973" y="465506"/>
                </a:cubicBezTo>
                <a:close/>
                <a:moveTo>
                  <a:pt x="2163224" y="464393"/>
                </a:moveTo>
                <a:lnTo>
                  <a:pt x="2166565" y="465506"/>
                </a:lnTo>
                <a:cubicBezTo>
                  <a:pt x="2167476" y="468239"/>
                  <a:pt x="2169754" y="473250"/>
                  <a:pt x="2170437" y="477578"/>
                </a:cubicBezTo>
                <a:lnTo>
                  <a:pt x="2168083" y="480874"/>
                </a:lnTo>
                <a:close/>
                <a:moveTo>
                  <a:pt x="3163067" y="463912"/>
                </a:moveTo>
                <a:cubicBezTo>
                  <a:pt x="3156461" y="463228"/>
                  <a:pt x="3150539" y="463684"/>
                  <a:pt x="3148717" y="467328"/>
                </a:cubicBezTo>
                <a:cubicBezTo>
                  <a:pt x="3159650" y="478262"/>
                  <a:pt x="3170583" y="489194"/>
                  <a:pt x="3185160" y="491017"/>
                </a:cubicBezTo>
                <a:cubicBezTo>
                  <a:pt x="3183338" y="483728"/>
                  <a:pt x="3181516" y="474618"/>
                  <a:pt x="3181516" y="467328"/>
                </a:cubicBezTo>
                <a:cubicBezTo>
                  <a:pt x="3176961" y="466417"/>
                  <a:pt x="3169672" y="464595"/>
                  <a:pt x="3163067" y="463912"/>
                </a:cubicBezTo>
                <a:close/>
                <a:moveTo>
                  <a:pt x="3186982" y="463684"/>
                </a:moveTo>
                <a:lnTo>
                  <a:pt x="3186982" y="469150"/>
                </a:lnTo>
                <a:lnTo>
                  <a:pt x="3186982" y="478262"/>
                </a:lnTo>
                <a:cubicBezTo>
                  <a:pt x="3189716" y="479173"/>
                  <a:pt x="3189260" y="477806"/>
                  <a:pt x="3188805" y="476439"/>
                </a:cubicBezTo>
                <a:lnTo>
                  <a:pt x="3188836" y="476409"/>
                </a:lnTo>
                <a:lnTo>
                  <a:pt x="3189716" y="479856"/>
                </a:lnTo>
                <a:lnTo>
                  <a:pt x="3190941" y="484042"/>
                </a:lnTo>
                <a:lnTo>
                  <a:pt x="3190627" y="483728"/>
                </a:lnTo>
                <a:cubicBezTo>
                  <a:pt x="3190627" y="485550"/>
                  <a:pt x="3190627" y="487373"/>
                  <a:pt x="3192449" y="489194"/>
                </a:cubicBezTo>
                <a:lnTo>
                  <a:pt x="3190941" y="484042"/>
                </a:lnTo>
                <a:lnTo>
                  <a:pt x="3196093" y="489194"/>
                </a:lnTo>
                <a:cubicBezTo>
                  <a:pt x="3199738" y="485550"/>
                  <a:pt x="3192449" y="476439"/>
                  <a:pt x="3192449" y="463684"/>
                </a:cubicBezTo>
                <a:cubicBezTo>
                  <a:pt x="3190627" y="463684"/>
                  <a:pt x="3188805" y="463684"/>
                  <a:pt x="3186982" y="463684"/>
                </a:cubicBezTo>
                <a:close/>
                <a:moveTo>
                  <a:pt x="1211747" y="463684"/>
                </a:moveTo>
                <a:cubicBezTo>
                  <a:pt x="1211747" y="463684"/>
                  <a:pt x="1212202" y="464595"/>
                  <a:pt x="1212202" y="465278"/>
                </a:cubicBezTo>
                <a:lnTo>
                  <a:pt x="1212146" y="465284"/>
                </a:lnTo>
                <a:close/>
                <a:moveTo>
                  <a:pt x="1160725" y="463684"/>
                </a:moveTo>
                <a:cubicBezTo>
                  <a:pt x="1160725" y="465506"/>
                  <a:pt x="1164370" y="467328"/>
                  <a:pt x="1162547" y="469150"/>
                </a:cubicBezTo>
                <a:cubicBezTo>
                  <a:pt x="1164370" y="469150"/>
                  <a:pt x="1164370" y="463684"/>
                  <a:pt x="1160725" y="463684"/>
                </a:cubicBezTo>
                <a:close/>
                <a:moveTo>
                  <a:pt x="3509507" y="461862"/>
                </a:moveTo>
                <a:cubicBezTo>
                  <a:pt x="3504041" y="461862"/>
                  <a:pt x="3507685" y="470972"/>
                  <a:pt x="3511330" y="467328"/>
                </a:cubicBezTo>
                <a:cubicBezTo>
                  <a:pt x="3511330" y="465506"/>
                  <a:pt x="3511330" y="463684"/>
                  <a:pt x="3509507" y="461862"/>
                </a:cubicBezTo>
                <a:close/>
                <a:moveTo>
                  <a:pt x="2374293" y="461862"/>
                </a:moveTo>
                <a:cubicBezTo>
                  <a:pt x="2372471" y="465506"/>
                  <a:pt x="2374293" y="467328"/>
                  <a:pt x="2372471" y="474618"/>
                </a:cubicBezTo>
                <a:cubicBezTo>
                  <a:pt x="2377937" y="472795"/>
                  <a:pt x="2374293" y="467328"/>
                  <a:pt x="2374293" y="461862"/>
                </a:cubicBezTo>
                <a:close/>
                <a:moveTo>
                  <a:pt x="1186236" y="460039"/>
                </a:moveTo>
                <a:cubicBezTo>
                  <a:pt x="1184414" y="463684"/>
                  <a:pt x="1188058" y="467328"/>
                  <a:pt x="1188058" y="469150"/>
                </a:cubicBezTo>
                <a:cubicBezTo>
                  <a:pt x="1191703" y="469150"/>
                  <a:pt x="1186236" y="461862"/>
                  <a:pt x="1186236" y="460039"/>
                </a:cubicBezTo>
                <a:close/>
                <a:moveTo>
                  <a:pt x="1263453" y="460036"/>
                </a:moveTo>
                <a:lnTo>
                  <a:pt x="1263451" y="460043"/>
                </a:lnTo>
                <a:lnTo>
                  <a:pt x="1263450" y="460040"/>
                </a:lnTo>
                <a:close/>
                <a:moveTo>
                  <a:pt x="2099145" y="458218"/>
                </a:moveTo>
                <a:lnTo>
                  <a:pt x="2095500" y="461862"/>
                </a:lnTo>
                <a:cubicBezTo>
                  <a:pt x="2097323" y="465506"/>
                  <a:pt x="2100967" y="467328"/>
                  <a:pt x="2104611" y="469150"/>
                </a:cubicBezTo>
                <a:cubicBezTo>
                  <a:pt x="2104611" y="465506"/>
                  <a:pt x="2102790" y="461862"/>
                  <a:pt x="2099145" y="458218"/>
                </a:cubicBezTo>
                <a:close/>
                <a:moveTo>
                  <a:pt x="2560155" y="456395"/>
                </a:moveTo>
                <a:cubicBezTo>
                  <a:pt x="2563799" y="460039"/>
                  <a:pt x="2561977" y="467328"/>
                  <a:pt x="2558332" y="472795"/>
                </a:cubicBezTo>
                <a:cubicBezTo>
                  <a:pt x="2560155" y="476439"/>
                  <a:pt x="2561977" y="469150"/>
                  <a:pt x="2565621" y="470972"/>
                </a:cubicBezTo>
                <a:cubicBezTo>
                  <a:pt x="2567443" y="461862"/>
                  <a:pt x="2565621" y="458218"/>
                  <a:pt x="2560155" y="456395"/>
                </a:cubicBezTo>
                <a:close/>
                <a:moveTo>
                  <a:pt x="3239826" y="454574"/>
                </a:moveTo>
                <a:cubicBezTo>
                  <a:pt x="3234359" y="456395"/>
                  <a:pt x="3241648" y="463684"/>
                  <a:pt x="3241648" y="469150"/>
                </a:cubicBezTo>
                <a:cubicBezTo>
                  <a:pt x="3245292" y="467328"/>
                  <a:pt x="3247114" y="463684"/>
                  <a:pt x="3245292" y="458218"/>
                </a:cubicBezTo>
                <a:cubicBezTo>
                  <a:pt x="3243470" y="456395"/>
                  <a:pt x="3239826" y="458218"/>
                  <a:pt x="3239826" y="454574"/>
                </a:cubicBezTo>
                <a:close/>
                <a:moveTo>
                  <a:pt x="2383404" y="454574"/>
                </a:moveTo>
                <a:cubicBezTo>
                  <a:pt x="2383404" y="458218"/>
                  <a:pt x="2377937" y="460039"/>
                  <a:pt x="2379760" y="463684"/>
                </a:cubicBezTo>
                <a:cubicBezTo>
                  <a:pt x="2379760" y="463684"/>
                  <a:pt x="2383404" y="463684"/>
                  <a:pt x="2383404" y="463684"/>
                </a:cubicBezTo>
                <a:cubicBezTo>
                  <a:pt x="2383404" y="458218"/>
                  <a:pt x="2383404" y="460039"/>
                  <a:pt x="2383404" y="454574"/>
                </a:cubicBezTo>
                <a:close/>
                <a:moveTo>
                  <a:pt x="2121011" y="454574"/>
                </a:moveTo>
                <a:cubicBezTo>
                  <a:pt x="2122833" y="460039"/>
                  <a:pt x="2126477" y="463684"/>
                  <a:pt x="2126477" y="470972"/>
                </a:cubicBezTo>
                <a:cubicBezTo>
                  <a:pt x="2130122" y="465506"/>
                  <a:pt x="2124655" y="456395"/>
                  <a:pt x="2121011" y="454574"/>
                </a:cubicBezTo>
                <a:close/>
                <a:moveTo>
                  <a:pt x="2040835" y="454574"/>
                </a:moveTo>
                <a:cubicBezTo>
                  <a:pt x="2037191" y="465506"/>
                  <a:pt x="2037191" y="474618"/>
                  <a:pt x="2048124" y="480083"/>
                </a:cubicBezTo>
                <a:cubicBezTo>
                  <a:pt x="2046302" y="474618"/>
                  <a:pt x="2046302" y="460039"/>
                  <a:pt x="2040835" y="454574"/>
                </a:cubicBezTo>
                <a:close/>
                <a:moveTo>
                  <a:pt x="2203009" y="452751"/>
                </a:moveTo>
                <a:cubicBezTo>
                  <a:pt x="2195720" y="456395"/>
                  <a:pt x="2193898" y="461862"/>
                  <a:pt x="2188431" y="467328"/>
                </a:cubicBezTo>
                <a:cubicBezTo>
                  <a:pt x="2184787" y="471884"/>
                  <a:pt x="2181598" y="478261"/>
                  <a:pt x="2181143" y="483955"/>
                </a:cubicBezTo>
                <a:lnTo>
                  <a:pt x="2183451" y="487130"/>
                </a:lnTo>
                <a:lnTo>
                  <a:pt x="2182965" y="487373"/>
                </a:lnTo>
                <a:lnTo>
                  <a:pt x="2183867" y="487701"/>
                </a:lnTo>
                <a:lnTo>
                  <a:pt x="2190253" y="496483"/>
                </a:lnTo>
                <a:cubicBezTo>
                  <a:pt x="2191165" y="491017"/>
                  <a:pt x="2189798" y="489650"/>
                  <a:pt x="2187976" y="489195"/>
                </a:cubicBezTo>
                <a:lnTo>
                  <a:pt x="2183867" y="487701"/>
                </a:lnTo>
                <a:lnTo>
                  <a:pt x="2183451" y="487130"/>
                </a:lnTo>
                <a:lnTo>
                  <a:pt x="2186609" y="485550"/>
                </a:lnTo>
                <a:cubicBezTo>
                  <a:pt x="2188431" y="481906"/>
                  <a:pt x="2186609" y="481906"/>
                  <a:pt x="2184787" y="480083"/>
                </a:cubicBezTo>
                <a:cubicBezTo>
                  <a:pt x="2190253" y="481906"/>
                  <a:pt x="2192076" y="483728"/>
                  <a:pt x="2197542" y="485550"/>
                </a:cubicBezTo>
                <a:cubicBezTo>
                  <a:pt x="2193898" y="487373"/>
                  <a:pt x="2192076" y="489194"/>
                  <a:pt x="2192076" y="492838"/>
                </a:cubicBezTo>
                <a:lnTo>
                  <a:pt x="2193901" y="494663"/>
                </a:lnTo>
                <a:lnTo>
                  <a:pt x="2193898" y="494662"/>
                </a:lnTo>
                <a:cubicBezTo>
                  <a:pt x="2188431" y="496483"/>
                  <a:pt x="2192076" y="501949"/>
                  <a:pt x="2195720" y="505594"/>
                </a:cubicBezTo>
                <a:cubicBezTo>
                  <a:pt x="2193898" y="505594"/>
                  <a:pt x="2192532" y="503772"/>
                  <a:pt x="2190937" y="502178"/>
                </a:cubicBezTo>
                <a:lnTo>
                  <a:pt x="2188957" y="501518"/>
                </a:lnTo>
                <a:lnTo>
                  <a:pt x="2188431" y="500127"/>
                </a:lnTo>
                <a:lnTo>
                  <a:pt x="2188151" y="501249"/>
                </a:lnTo>
                <a:lnTo>
                  <a:pt x="2184787" y="500127"/>
                </a:lnTo>
                <a:cubicBezTo>
                  <a:pt x="2182965" y="500127"/>
                  <a:pt x="2181143" y="505594"/>
                  <a:pt x="2186609" y="507417"/>
                </a:cubicBezTo>
                <a:lnTo>
                  <a:pt x="2188151" y="501249"/>
                </a:lnTo>
                <a:lnTo>
                  <a:pt x="2188957" y="501518"/>
                </a:lnTo>
                <a:lnTo>
                  <a:pt x="2191620" y="508555"/>
                </a:lnTo>
                <a:cubicBezTo>
                  <a:pt x="2192531" y="511060"/>
                  <a:pt x="2193898" y="512882"/>
                  <a:pt x="2197542" y="512882"/>
                </a:cubicBezTo>
                <a:cubicBezTo>
                  <a:pt x="2195720" y="511061"/>
                  <a:pt x="2195720" y="507417"/>
                  <a:pt x="2195720" y="505594"/>
                </a:cubicBezTo>
                <a:cubicBezTo>
                  <a:pt x="2197542" y="507417"/>
                  <a:pt x="2199364" y="507417"/>
                  <a:pt x="2199364" y="507417"/>
                </a:cubicBezTo>
                <a:cubicBezTo>
                  <a:pt x="2210297" y="501949"/>
                  <a:pt x="2221230" y="500127"/>
                  <a:pt x="2233986" y="492838"/>
                </a:cubicBezTo>
                <a:cubicBezTo>
                  <a:pt x="2235808" y="492838"/>
                  <a:pt x="2228519" y="487373"/>
                  <a:pt x="2232163" y="485550"/>
                </a:cubicBezTo>
                <a:cubicBezTo>
                  <a:pt x="2237630" y="483728"/>
                  <a:pt x="2235808" y="491017"/>
                  <a:pt x="2239452" y="491017"/>
                </a:cubicBezTo>
                <a:cubicBezTo>
                  <a:pt x="2237630" y="483728"/>
                  <a:pt x="2239452" y="476439"/>
                  <a:pt x="2235808" y="470972"/>
                </a:cubicBezTo>
                <a:cubicBezTo>
                  <a:pt x="2233986" y="469150"/>
                  <a:pt x="2232163" y="476439"/>
                  <a:pt x="2232163" y="474618"/>
                </a:cubicBezTo>
                <a:cubicBezTo>
                  <a:pt x="2226697" y="467328"/>
                  <a:pt x="2237630" y="460039"/>
                  <a:pt x="2224875" y="460039"/>
                </a:cubicBezTo>
                <a:cubicBezTo>
                  <a:pt x="2226697" y="461862"/>
                  <a:pt x="2228519" y="465506"/>
                  <a:pt x="2226697" y="467328"/>
                </a:cubicBezTo>
                <a:cubicBezTo>
                  <a:pt x="2223053" y="458218"/>
                  <a:pt x="2215764" y="447284"/>
                  <a:pt x="2206653" y="452751"/>
                </a:cubicBezTo>
                <a:cubicBezTo>
                  <a:pt x="2206653" y="452751"/>
                  <a:pt x="2206653" y="456395"/>
                  <a:pt x="2204831" y="458218"/>
                </a:cubicBezTo>
                <a:cubicBezTo>
                  <a:pt x="2201187" y="460039"/>
                  <a:pt x="2203009" y="454574"/>
                  <a:pt x="2203009" y="452751"/>
                </a:cubicBezTo>
                <a:close/>
                <a:moveTo>
                  <a:pt x="495632" y="452751"/>
                </a:moveTo>
                <a:cubicBezTo>
                  <a:pt x="499276" y="460039"/>
                  <a:pt x="502920" y="463684"/>
                  <a:pt x="506565" y="472795"/>
                </a:cubicBezTo>
                <a:cubicBezTo>
                  <a:pt x="502920" y="474618"/>
                  <a:pt x="504743" y="467328"/>
                  <a:pt x="501098" y="469150"/>
                </a:cubicBezTo>
                <a:lnTo>
                  <a:pt x="501520" y="469958"/>
                </a:lnTo>
                <a:lnTo>
                  <a:pt x="500985" y="469222"/>
                </a:lnTo>
                <a:close/>
                <a:moveTo>
                  <a:pt x="3606747" y="451012"/>
                </a:moveTo>
                <a:lnTo>
                  <a:pt x="3607905" y="458218"/>
                </a:lnTo>
                <a:lnTo>
                  <a:pt x="3606315" y="459755"/>
                </a:lnTo>
                <a:lnTo>
                  <a:pt x="3605400" y="454345"/>
                </a:lnTo>
                <a:close/>
                <a:moveTo>
                  <a:pt x="3010033" y="450616"/>
                </a:moveTo>
                <a:cubicBezTo>
                  <a:pt x="3007613" y="450702"/>
                  <a:pt x="3005221" y="451841"/>
                  <a:pt x="3002943" y="454574"/>
                </a:cubicBezTo>
                <a:cubicBezTo>
                  <a:pt x="2993832" y="465506"/>
                  <a:pt x="2990188" y="480083"/>
                  <a:pt x="3010232" y="489194"/>
                </a:cubicBezTo>
                <a:cubicBezTo>
                  <a:pt x="3006587" y="483728"/>
                  <a:pt x="3015698" y="481906"/>
                  <a:pt x="3013876" y="474618"/>
                </a:cubicBezTo>
                <a:cubicBezTo>
                  <a:pt x="3019343" y="472795"/>
                  <a:pt x="3022987" y="481906"/>
                  <a:pt x="3028453" y="480083"/>
                </a:cubicBezTo>
                <a:cubicBezTo>
                  <a:pt x="3030276" y="478262"/>
                  <a:pt x="3024809" y="474618"/>
                  <a:pt x="3028453" y="474618"/>
                </a:cubicBezTo>
                <a:cubicBezTo>
                  <a:pt x="3030276" y="474618"/>
                  <a:pt x="3032098" y="480083"/>
                  <a:pt x="3030276" y="481906"/>
                </a:cubicBezTo>
                <a:cubicBezTo>
                  <a:pt x="3021165" y="487373"/>
                  <a:pt x="3017521" y="498306"/>
                  <a:pt x="3028453" y="501949"/>
                </a:cubicBezTo>
                <a:cubicBezTo>
                  <a:pt x="3022987" y="500127"/>
                  <a:pt x="3017521" y="500127"/>
                  <a:pt x="3012054" y="500127"/>
                </a:cubicBezTo>
                <a:cubicBezTo>
                  <a:pt x="3015698" y="516527"/>
                  <a:pt x="3006587" y="527461"/>
                  <a:pt x="2995654" y="536571"/>
                </a:cubicBezTo>
                <a:cubicBezTo>
                  <a:pt x="3002943" y="542037"/>
                  <a:pt x="3013876" y="542037"/>
                  <a:pt x="3021165" y="538393"/>
                </a:cubicBezTo>
                <a:cubicBezTo>
                  <a:pt x="3022987" y="536571"/>
                  <a:pt x="3022987" y="532926"/>
                  <a:pt x="3021165" y="531105"/>
                </a:cubicBezTo>
                <a:lnTo>
                  <a:pt x="3027448" y="532675"/>
                </a:lnTo>
                <a:lnTo>
                  <a:pt x="3029593" y="536799"/>
                </a:lnTo>
                <a:lnTo>
                  <a:pt x="3030237" y="537037"/>
                </a:lnTo>
                <a:lnTo>
                  <a:pt x="3024809" y="538393"/>
                </a:lnTo>
                <a:cubicBezTo>
                  <a:pt x="3021165" y="542037"/>
                  <a:pt x="3017521" y="543860"/>
                  <a:pt x="3017521" y="549326"/>
                </a:cubicBezTo>
                <a:cubicBezTo>
                  <a:pt x="3017521" y="554792"/>
                  <a:pt x="3017521" y="563904"/>
                  <a:pt x="3019343" y="565725"/>
                </a:cubicBezTo>
                <a:cubicBezTo>
                  <a:pt x="3032098" y="578481"/>
                  <a:pt x="3053964" y="587591"/>
                  <a:pt x="3064897" y="567548"/>
                </a:cubicBezTo>
                <a:cubicBezTo>
                  <a:pt x="3068541" y="569370"/>
                  <a:pt x="3072186" y="573014"/>
                  <a:pt x="3066719" y="578481"/>
                </a:cubicBezTo>
                <a:cubicBezTo>
                  <a:pt x="3070363" y="578481"/>
                  <a:pt x="3072186" y="576658"/>
                  <a:pt x="3074008" y="573014"/>
                </a:cubicBezTo>
                <a:cubicBezTo>
                  <a:pt x="3075830" y="574836"/>
                  <a:pt x="3075830" y="578481"/>
                  <a:pt x="3077652" y="580303"/>
                </a:cubicBezTo>
                <a:cubicBezTo>
                  <a:pt x="3079474" y="582125"/>
                  <a:pt x="3079474" y="576658"/>
                  <a:pt x="3081297" y="576658"/>
                </a:cubicBezTo>
                <a:cubicBezTo>
                  <a:pt x="3084941" y="576658"/>
                  <a:pt x="3081297" y="582125"/>
                  <a:pt x="3083119" y="583947"/>
                </a:cubicBezTo>
                <a:cubicBezTo>
                  <a:pt x="3084941" y="580303"/>
                  <a:pt x="3090407" y="578481"/>
                  <a:pt x="3092230" y="582125"/>
                </a:cubicBezTo>
                <a:cubicBezTo>
                  <a:pt x="3094052" y="585769"/>
                  <a:pt x="3095874" y="589414"/>
                  <a:pt x="3097696" y="591236"/>
                </a:cubicBezTo>
                <a:cubicBezTo>
                  <a:pt x="3099518" y="591236"/>
                  <a:pt x="3099518" y="591236"/>
                  <a:pt x="3101340" y="591236"/>
                </a:cubicBezTo>
                <a:cubicBezTo>
                  <a:pt x="3099518" y="587591"/>
                  <a:pt x="3099518" y="582125"/>
                  <a:pt x="3094052" y="580303"/>
                </a:cubicBezTo>
                <a:cubicBezTo>
                  <a:pt x="3104985" y="582125"/>
                  <a:pt x="3108629" y="593058"/>
                  <a:pt x="3106807" y="600347"/>
                </a:cubicBezTo>
                <a:cubicBezTo>
                  <a:pt x="3106807" y="600347"/>
                  <a:pt x="3099518" y="596702"/>
                  <a:pt x="3099518" y="598524"/>
                </a:cubicBezTo>
                <a:cubicBezTo>
                  <a:pt x="3097696" y="603991"/>
                  <a:pt x="3108629" y="602169"/>
                  <a:pt x="3108629" y="609459"/>
                </a:cubicBezTo>
                <a:cubicBezTo>
                  <a:pt x="3106807" y="609459"/>
                  <a:pt x="3106807" y="607635"/>
                  <a:pt x="3106807" y="607635"/>
                </a:cubicBezTo>
                <a:cubicBezTo>
                  <a:pt x="3101340" y="613103"/>
                  <a:pt x="3090407" y="613103"/>
                  <a:pt x="3088585" y="622213"/>
                </a:cubicBezTo>
                <a:cubicBezTo>
                  <a:pt x="3086763" y="618568"/>
                  <a:pt x="3088585" y="613103"/>
                  <a:pt x="3090407" y="609459"/>
                </a:cubicBezTo>
                <a:cubicBezTo>
                  <a:pt x="3092230" y="609459"/>
                  <a:pt x="3092230" y="611280"/>
                  <a:pt x="3094052" y="611280"/>
                </a:cubicBezTo>
                <a:cubicBezTo>
                  <a:pt x="3095874" y="607635"/>
                  <a:pt x="3090407" y="605813"/>
                  <a:pt x="3092230" y="603991"/>
                </a:cubicBezTo>
                <a:cubicBezTo>
                  <a:pt x="3086763" y="603991"/>
                  <a:pt x="3081297" y="605813"/>
                  <a:pt x="3079474" y="609459"/>
                </a:cubicBezTo>
                <a:cubicBezTo>
                  <a:pt x="3077652" y="613103"/>
                  <a:pt x="3077652" y="616746"/>
                  <a:pt x="3079474" y="620391"/>
                </a:cubicBezTo>
                <a:cubicBezTo>
                  <a:pt x="3084941" y="629501"/>
                  <a:pt x="3099518" y="636790"/>
                  <a:pt x="3106807" y="627679"/>
                </a:cubicBezTo>
                <a:cubicBezTo>
                  <a:pt x="3106807" y="627679"/>
                  <a:pt x="3103163" y="620391"/>
                  <a:pt x="3104985" y="616746"/>
                </a:cubicBezTo>
                <a:cubicBezTo>
                  <a:pt x="3106807" y="614924"/>
                  <a:pt x="3106807" y="622213"/>
                  <a:pt x="3108629" y="622213"/>
                </a:cubicBezTo>
                <a:cubicBezTo>
                  <a:pt x="3110451" y="622213"/>
                  <a:pt x="3110451" y="620391"/>
                  <a:pt x="3110451" y="618568"/>
                </a:cubicBezTo>
                <a:cubicBezTo>
                  <a:pt x="3115918" y="613103"/>
                  <a:pt x="3115918" y="624035"/>
                  <a:pt x="3117740" y="622213"/>
                </a:cubicBezTo>
                <a:cubicBezTo>
                  <a:pt x="3117740" y="620391"/>
                  <a:pt x="3112274" y="613103"/>
                  <a:pt x="3119562" y="613103"/>
                </a:cubicBezTo>
                <a:cubicBezTo>
                  <a:pt x="3121384" y="613103"/>
                  <a:pt x="3121384" y="618568"/>
                  <a:pt x="3121384" y="620391"/>
                </a:cubicBezTo>
                <a:cubicBezTo>
                  <a:pt x="3132317" y="620391"/>
                  <a:pt x="3125029" y="609459"/>
                  <a:pt x="3123206" y="605813"/>
                </a:cubicBezTo>
                <a:cubicBezTo>
                  <a:pt x="3121384" y="605813"/>
                  <a:pt x="3119562" y="607635"/>
                  <a:pt x="3119562" y="609459"/>
                </a:cubicBezTo>
                <a:cubicBezTo>
                  <a:pt x="3117740" y="582125"/>
                  <a:pt x="3090407" y="567548"/>
                  <a:pt x="3079474" y="543860"/>
                </a:cubicBezTo>
                <a:cubicBezTo>
                  <a:pt x="3081297" y="543860"/>
                  <a:pt x="3081297" y="543860"/>
                  <a:pt x="3083119" y="545681"/>
                </a:cubicBezTo>
                <a:cubicBezTo>
                  <a:pt x="3088585" y="529282"/>
                  <a:pt x="3083119" y="509238"/>
                  <a:pt x="3066719" y="501949"/>
                </a:cubicBezTo>
                <a:cubicBezTo>
                  <a:pt x="3064897" y="501949"/>
                  <a:pt x="3064897" y="505594"/>
                  <a:pt x="3064897" y="507417"/>
                </a:cubicBezTo>
                <a:cubicBezTo>
                  <a:pt x="3063075" y="501950"/>
                  <a:pt x="3062164" y="494661"/>
                  <a:pt x="3059886" y="488967"/>
                </a:cubicBezTo>
                <a:lnTo>
                  <a:pt x="3058114" y="487775"/>
                </a:lnTo>
                <a:lnTo>
                  <a:pt x="3057608" y="483728"/>
                </a:lnTo>
                <a:lnTo>
                  <a:pt x="3057316" y="487238"/>
                </a:lnTo>
                <a:lnTo>
                  <a:pt x="3046675" y="480083"/>
                </a:lnTo>
                <a:lnTo>
                  <a:pt x="3052142" y="480083"/>
                </a:lnTo>
                <a:cubicBezTo>
                  <a:pt x="3057608" y="469150"/>
                  <a:pt x="3044853" y="469150"/>
                  <a:pt x="3037564" y="467328"/>
                </a:cubicBezTo>
                <a:cubicBezTo>
                  <a:pt x="3039387" y="474618"/>
                  <a:pt x="3028453" y="469150"/>
                  <a:pt x="3030276" y="476439"/>
                </a:cubicBezTo>
                <a:cubicBezTo>
                  <a:pt x="3026631" y="470972"/>
                  <a:pt x="3032098" y="467328"/>
                  <a:pt x="3030276" y="463684"/>
                </a:cubicBezTo>
                <a:cubicBezTo>
                  <a:pt x="3026632" y="460951"/>
                  <a:pt x="3022076" y="455940"/>
                  <a:pt x="3017293" y="452979"/>
                </a:cubicBezTo>
                <a:cubicBezTo>
                  <a:pt x="3014902" y="451499"/>
                  <a:pt x="3012453" y="450531"/>
                  <a:pt x="3010033" y="450616"/>
                </a:cubicBezTo>
                <a:close/>
                <a:moveTo>
                  <a:pt x="2283184" y="449107"/>
                </a:moveTo>
                <a:cubicBezTo>
                  <a:pt x="2277718" y="450928"/>
                  <a:pt x="2283184" y="461862"/>
                  <a:pt x="2286829" y="458218"/>
                </a:cubicBezTo>
                <a:cubicBezTo>
                  <a:pt x="2285007" y="452751"/>
                  <a:pt x="2286829" y="458218"/>
                  <a:pt x="2288651" y="452751"/>
                </a:cubicBezTo>
                <a:cubicBezTo>
                  <a:pt x="2290473" y="447284"/>
                  <a:pt x="2283184" y="452751"/>
                  <a:pt x="2283184" y="449107"/>
                </a:cubicBezTo>
                <a:close/>
                <a:moveTo>
                  <a:pt x="3256225" y="447284"/>
                </a:moveTo>
                <a:cubicBezTo>
                  <a:pt x="3254403" y="452751"/>
                  <a:pt x="3250759" y="456395"/>
                  <a:pt x="3254403" y="467328"/>
                </a:cubicBezTo>
                <a:cubicBezTo>
                  <a:pt x="3256225" y="460039"/>
                  <a:pt x="3258047" y="458218"/>
                  <a:pt x="3256225" y="447284"/>
                </a:cubicBezTo>
                <a:close/>
                <a:moveTo>
                  <a:pt x="3232537" y="447284"/>
                </a:moveTo>
                <a:cubicBezTo>
                  <a:pt x="3230715" y="449107"/>
                  <a:pt x="3232537" y="456395"/>
                  <a:pt x="3236181" y="452751"/>
                </a:cubicBezTo>
                <a:cubicBezTo>
                  <a:pt x="3236181" y="449107"/>
                  <a:pt x="3234359" y="449107"/>
                  <a:pt x="3232537" y="447284"/>
                </a:cubicBezTo>
                <a:close/>
                <a:moveTo>
                  <a:pt x="3079474" y="447284"/>
                </a:moveTo>
                <a:cubicBezTo>
                  <a:pt x="3075830" y="447284"/>
                  <a:pt x="3077652" y="456395"/>
                  <a:pt x="3081297" y="456395"/>
                </a:cubicBezTo>
                <a:cubicBezTo>
                  <a:pt x="3081297" y="452751"/>
                  <a:pt x="3081297" y="449107"/>
                  <a:pt x="3079474" y="447284"/>
                </a:cubicBezTo>
                <a:close/>
                <a:moveTo>
                  <a:pt x="3053964" y="447284"/>
                </a:moveTo>
                <a:cubicBezTo>
                  <a:pt x="3055786" y="452751"/>
                  <a:pt x="3052142" y="450928"/>
                  <a:pt x="3052142" y="456395"/>
                </a:cubicBezTo>
                <a:cubicBezTo>
                  <a:pt x="3055786" y="452751"/>
                  <a:pt x="3055786" y="454574"/>
                  <a:pt x="3063075" y="456395"/>
                </a:cubicBezTo>
                <a:cubicBezTo>
                  <a:pt x="3061253" y="452751"/>
                  <a:pt x="3059430" y="449107"/>
                  <a:pt x="3053964" y="447284"/>
                </a:cubicBezTo>
                <a:close/>
                <a:moveTo>
                  <a:pt x="1075083" y="446744"/>
                </a:moveTo>
                <a:lnTo>
                  <a:pt x="1075083" y="450928"/>
                </a:lnTo>
                <a:lnTo>
                  <a:pt x="1074368" y="449498"/>
                </a:lnTo>
                <a:close/>
                <a:moveTo>
                  <a:pt x="3415723" y="446601"/>
                </a:moveTo>
                <a:cubicBezTo>
                  <a:pt x="3414413" y="446260"/>
                  <a:pt x="3412933" y="446829"/>
                  <a:pt x="3411110" y="449107"/>
                </a:cubicBezTo>
                <a:cubicBezTo>
                  <a:pt x="3411110" y="452751"/>
                  <a:pt x="3411110" y="456395"/>
                  <a:pt x="3412932" y="460039"/>
                </a:cubicBezTo>
                <a:cubicBezTo>
                  <a:pt x="3414754" y="452751"/>
                  <a:pt x="3422043" y="458218"/>
                  <a:pt x="3425687" y="458218"/>
                </a:cubicBezTo>
                <a:cubicBezTo>
                  <a:pt x="3420221" y="461862"/>
                  <a:pt x="3416577" y="476439"/>
                  <a:pt x="3409288" y="469150"/>
                </a:cubicBezTo>
                <a:cubicBezTo>
                  <a:pt x="3409288" y="467328"/>
                  <a:pt x="3401999" y="463684"/>
                  <a:pt x="3407466" y="461862"/>
                </a:cubicBezTo>
                <a:cubicBezTo>
                  <a:pt x="3409288" y="461862"/>
                  <a:pt x="3409288" y="463684"/>
                  <a:pt x="3411110" y="465506"/>
                </a:cubicBezTo>
                <a:cubicBezTo>
                  <a:pt x="3412932" y="458218"/>
                  <a:pt x="3403821" y="456395"/>
                  <a:pt x="3400177" y="454574"/>
                </a:cubicBezTo>
                <a:cubicBezTo>
                  <a:pt x="3400177" y="460039"/>
                  <a:pt x="3405643" y="463684"/>
                  <a:pt x="3407466" y="470972"/>
                </a:cubicBezTo>
                <a:cubicBezTo>
                  <a:pt x="3398355" y="470972"/>
                  <a:pt x="3389244" y="454574"/>
                  <a:pt x="3383777" y="463684"/>
                </a:cubicBezTo>
                <a:cubicBezTo>
                  <a:pt x="3380133" y="470972"/>
                  <a:pt x="3392888" y="478262"/>
                  <a:pt x="3383777" y="481906"/>
                </a:cubicBezTo>
                <a:cubicBezTo>
                  <a:pt x="3378311" y="483728"/>
                  <a:pt x="3369200" y="481906"/>
                  <a:pt x="3367378" y="485550"/>
                </a:cubicBezTo>
                <a:cubicBezTo>
                  <a:pt x="3361911" y="491017"/>
                  <a:pt x="3372844" y="496483"/>
                  <a:pt x="3378311" y="496483"/>
                </a:cubicBezTo>
                <a:cubicBezTo>
                  <a:pt x="3381955" y="496483"/>
                  <a:pt x="3385600" y="494662"/>
                  <a:pt x="3389244" y="492838"/>
                </a:cubicBezTo>
                <a:cubicBezTo>
                  <a:pt x="3391066" y="492838"/>
                  <a:pt x="3391066" y="496483"/>
                  <a:pt x="3389244" y="498306"/>
                </a:cubicBezTo>
                <a:cubicBezTo>
                  <a:pt x="3409288" y="496483"/>
                  <a:pt x="3422043" y="481906"/>
                  <a:pt x="3436621" y="470972"/>
                </a:cubicBezTo>
                <a:cubicBezTo>
                  <a:pt x="3429332" y="480083"/>
                  <a:pt x="3422043" y="491017"/>
                  <a:pt x="3411110" y="492838"/>
                </a:cubicBezTo>
                <a:cubicBezTo>
                  <a:pt x="3411110" y="494662"/>
                  <a:pt x="3409288" y="496483"/>
                  <a:pt x="3409288" y="498306"/>
                </a:cubicBezTo>
                <a:cubicBezTo>
                  <a:pt x="3409288" y="500127"/>
                  <a:pt x="3414754" y="501949"/>
                  <a:pt x="3416577" y="501949"/>
                </a:cubicBezTo>
                <a:cubicBezTo>
                  <a:pt x="3429332" y="501949"/>
                  <a:pt x="3429332" y="487373"/>
                  <a:pt x="3436621" y="500127"/>
                </a:cubicBezTo>
                <a:cubicBezTo>
                  <a:pt x="3438443" y="500127"/>
                  <a:pt x="3440265" y="498306"/>
                  <a:pt x="3442087" y="498306"/>
                </a:cubicBezTo>
                <a:cubicBezTo>
                  <a:pt x="3438443" y="514705"/>
                  <a:pt x="3451198" y="514705"/>
                  <a:pt x="3462131" y="512882"/>
                </a:cubicBezTo>
                <a:cubicBezTo>
                  <a:pt x="3465775" y="511061"/>
                  <a:pt x="3469419" y="511061"/>
                  <a:pt x="3473064" y="509238"/>
                </a:cubicBezTo>
                <a:cubicBezTo>
                  <a:pt x="3471242" y="512882"/>
                  <a:pt x="3471242" y="514705"/>
                  <a:pt x="3471242" y="516527"/>
                </a:cubicBezTo>
                <a:cubicBezTo>
                  <a:pt x="3465775" y="520171"/>
                  <a:pt x="3462131" y="520171"/>
                  <a:pt x="3463953" y="527461"/>
                </a:cubicBezTo>
                <a:cubicBezTo>
                  <a:pt x="3462131" y="523815"/>
                  <a:pt x="3458487" y="514705"/>
                  <a:pt x="3451198" y="516527"/>
                </a:cubicBezTo>
                <a:cubicBezTo>
                  <a:pt x="3456664" y="521993"/>
                  <a:pt x="3453020" y="534749"/>
                  <a:pt x="3463953" y="536571"/>
                </a:cubicBezTo>
                <a:cubicBezTo>
                  <a:pt x="3463953" y="536571"/>
                  <a:pt x="3465775" y="534749"/>
                  <a:pt x="3465775" y="532926"/>
                </a:cubicBezTo>
                <a:cubicBezTo>
                  <a:pt x="3473064" y="538393"/>
                  <a:pt x="3465775" y="542037"/>
                  <a:pt x="3467597" y="549326"/>
                </a:cubicBezTo>
                <a:cubicBezTo>
                  <a:pt x="3467597" y="551148"/>
                  <a:pt x="3471242" y="551148"/>
                  <a:pt x="3469419" y="554792"/>
                </a:cubicBezTo>
                <a:cubicBezTo>
                  <a:pt x="3480353" y="542037"/>
                  <a:pt x="3502219" y="529282"/>
                  <a:pt x="3496752" y="512882"/>
                </a:cubicBezTo>
                <a:cubicBezTo>
                  <a:pt x="3507685" y="503771"/>
                  <a:pt x="3514974" y="472795"/>
                  <a:pt x="3487641" y="480083"/>
                </a:cubicBezTo>
                <a:cubicBezTo>
                  <a:pt x="3491286" y="467328"/>
                  <a:pt x="3476708" y="463684"/>
                  <a:pt x="3463953" y="461862"/>
                </a:cubicBezTo>
                <a:cubicBezTo>
                  <a:pt x="3463953" y="461862"/>
                  <a:pt x="3462131" y="463684"/>
                  <a:pt x="3458487" y="463684"/>
                </a:cubicBezTo>
                <a:cubicBezTo>
                  <a:pt x="3460309" y="458218"/>
                  <a:pt x="3451198" y="452751"/>
                  <a:pt x="3447553" y="456395"/>
                </a:cubicBezTo>
                <a:cubicBezTo>
                  <a:pt x="3445731" y="456395"/>
                  <a:pt x="3447553" y="460039"/>
                  <a:pt x="3449376" y="461862"/>
                </a:cubicBezTo>
                <a:cubicBezTo>
                  <a:pt x="3442087" y="458218"/>
                  <a:pt x="3438443" y="450928"/>
                  <a:pt x="3440265" y="447284"/>
                </a:cubicBezTo>
                <a:cubicBezTo>
                  <a:pt x="3427510" y="449107"/>
                  <a:pt x="3431154" y="447284"/>
                  <a:pt x="3438443" y="450928"/>
                </a:cubicBezTo>
                <a:cubicBezTo>
                  <a:pt x="3434798" y="456395"/>
                  <a:pt x="3440265" y="461862"/>
                  <a:pt x="3438443" y="463684"/>
                </a:cubicBezTo>
                <a:cubicBezTo>
                  <a:pt x="3434798" y="467328"/>
                  <a:pt x="3429332" y="460039"/>
                  <a:pt x="3427510" y="452751"/>
                </a:cubicBezTo>
                <a:cubicBezTo>
                  <a:pt x="3422044" y="456851"/>
                  <a:pt x="3419652" y="447626"/>
                  <a:pt x="3415723" y="446601"/>
                </a:cubicBezTo>
                <a:close/>
                <a:moveTo>
                  <a:pt x="3039387" y="445463"/>
                </a:moveTo>
                <a:cubicBezTo>
                  <a:pt x="3033920" y="445463"/>
                  <a:pt x="3030276" y="447284"/>
                  <a:pt x="3030276" y="450928"/>
                </a:cubicBezTo>
                <a:cubicBezTo>
                  <a:pt x="3033920" y="450928"/>
                  <a:pt x="3035742" y="452751"/>
                  <a:pt x="3039387" y="452751"/>
                </a:cubicBezTo>
                <a:cubicBezTo>
                  <a:pt x="3039387" y="449107"/>
                  <a:pt x="3039387" y="447284"/>
                  <a:pt x="3039387" y="445463"/>
                </a:cubicBezTo>
                <a:close/>
                <a:moveTo>
                  <a:pt x="2658552" y="445463"/>
                </a:moveTo>
                <a:cubicBezTo>
                  <a:pt x="2653086" y="447284"/>
                  <a:pt x="2654908" y="461862"/>
                  <a:pt x="2662197" y="461862"/>
                </a:cubicBezTo>
                <a:cubicBezTo>
                  <a:pt x="2662197" y="456395"/>
                  <a:pt x="2662197" y="452751"/>
                  <a:pt x="2662197" y="449107"/>
                </a:cubicBezTo>
                <a:cubicBezTo>
                  <a:pt x="2660374" y="449107"/>
                  <a:pt x="2658552" y="447284"/>
                  <a:pt x="2658552" y="445463"/>
                </a:cubicBezTo>
                <a:close/>
                <a:moveTo>
                  <a:pt x="2354249" y="445463"/>
                </a:moveTo>
                <a:cubicBezTo>
                  <a:pt x="2350605" y="449107"/>
                  <a:pt x="2343316" y="452751"/>
                  <a:pt x="2345138" y="460039"/>
                </a:cubicBezTo>
                <a:cubicBezTo>
                  <a:pt x="2343316" y="460039"/>
                  <a:pt x="2343316" y="458218"/>
                  <a:pt x="2341494" y="458218"/>
                </a:cubicBezTo>
                <a:cubicBezTo>
                  <a:pt x="2343316" y="461862"/>
                  <a:pt x="2343316" y="467328"/>
                  <a:pt x="2345138" y="469150"/>
                </a:cubicBezTo>
                <a:cubicBezTo>
                  <a:pt x="2345138" y="469150"/>
                  <a:pt x="2346960" y="469150"/>
                  <a:pt x="2346960" y="467328"/>
                </a:cubicBezTo>
                <a:cubicBezTo>
                  <a:pt x="2346960" y="469150"/>
                  <a:pt x="2346960" y="472795"/>
                  <a:pt x="2346960" y="474618"/>
                </a:cubicBezTo>
                <a:cubicBezTo>
                  <a:pt x="2337850" y="472795"/>
                  <a:pt x="2334205" y="481906"/>
                  <a:pt x="2332383" y="489194"/>
                </a:cubicBezTo>
                <a:cubicBezTo>
                  <a:pt x="2330561" y="481906"/>
                  <a:pt x="2330561" y="476439"/>
                  <a:pt x="2330561" y="469150"/>
                </a:cubicBezTo>
                <a:cubicBezTo>
                  <a:pt x="2330561" y="476439"/>
                  <a:pt x="2330561" y="483728"/>
                  <a:pt x="2326916" y="491017"/>
                </a:cubicBezTo>
                <a:cubicBezTo>
                  <a:pt x="2321450" y="489194"/>
                  <a:pt x="2325094" y="467328"/>
                  <a:pt x="2317806" y="465506"/>
                </a:cubicBezTo>
                <a:cubicBezTo>
                  <a:pt x="2317806" y="467328"/>
                  <a:pt x="2319628" y="470972"/>
                  <a:pt x="2319628" y="474618"/>
                </a:cubicBezTo>
                <a:cubicBezTo>
                  <a:pt x="2312339" y="469150"/>
                  <a:pt x="2317806" y="461862"/>
                  <a:pt x="2315983" y="454574"/>
                </a:cubicBezTo>
                <a:cubicBezTo>
                  <a:pt x="2310517" y="461862"/>
                  <a:pt x="2301406" y="469150"/>
                  <a:pt x="2306873" y="480083"/>
                </a:cubicBezTo>
                <a:cubicBezTo>
                  <a:pt x="2303228" y="478262"/>
                  <a:pt x="2303228" y="474618"/>
                  <a:pt x="2303228" y="472795"/>
                </a:cubicBezTo>
                <a:cubicBezTo>
                  <a:pt x="2301406" y="474618"/>
                  <a:pt x="2297762" y="478262"/>
                  <a:pt x="2295940" y="481906"/>
                </a:cubicBezTo>
                <a:cubicBezTo>
                  <a:pt x="2285918" y="495572"/>
                  <a:pt x="2288196" y="505594"/>
                  <a:pt x="2295029" y="514705"/>
                </a:cubicBezTo>
                <a:lnTo>
                  <a:pt x="2307120" y="527213"/>
                </a:lnTo>
                <a:lnTo>
                  <a:pt x="2303228" y="531105"/>
                </a:lnTo>
                <a:cubicBezTo>
                  <a:pt x="2303228" y="521993"/>
                  <a:pt x="2295940" y="516527"/>
                  <a:pt x="2286829" y="518349"/>
                </a:cubicBezTo>
                <a:cubicBezTo>
                  <a:pt x="2283184" y="538393"/>
                  <a:pt x="2283184" y="560260"/>
                  <a:pt x="2292295" y="569370"/>
                </a:cubicBezTo>
                <a:cubicBezTo>
                  <a:pt x="2299584" y="573014"/>
                  <a:pt x="2292295" y="580303"/>
                  <a:pt x="2297762" y="574836"/>
                </a:cubicBezTo>
                <a:lnTo>
                  <a:pt x="2302909" y="567116"/>
                </a:lnTo>
                <a:lnTo>
                  <a:pt x="2303228" y="567548"/>
                </a:lnTo>
                <a:cubicBezTo>
                  <a:pt x="2305050" y="567548"/>
                  <a:pt x="2305050" y="563904"/>
                  <a:pt x="2305050" y="563904"/>
                </a:cubicBezTo>
                <a:lnTo>
                  <a:pt x="2302909" y="567116"/>
                </a:lnTo>
                <a:lnTo>
                  <a:pt x="2299356" y="562309"/>
                </a:lnTo>
                <a:cubicBezTo>
                  <a:pt x="2298217" y="560259"/>
                  <a:pt x="2296851" y="558437"/>
                  <a:pt x="2294117" y="558437"/>
                </a:cubicBezTo>
                <a:cubicBezTo>
                  <a:pt x="2295940" y="556616"/>
                  <a:pt x="2297762" y="551148"/>
                  <a:pt x="2299584" y="552970"/>
                </a:cubicBezTo>
                <a:cubicBezTo>
                  <a:pt x="2303228" y="558437"/>
                  <a:pt x="2303228" y="556616"/>
                  <a:pt x="2305050" y="562081"/>
                </a:cubicBezTo>
                <a:cubicBezTo>
                  <a:pt x="2308695" y="556616"/>
                  <a:pt x="2303228" y="552970"/>
                  <a:pt x="2306873" y="549326"/>
                </a:cubicBezTo>
                <a:cubicBezTo>
                  <a:pt x="2308695" y="551148"/>
                  <a:pt x="2306873" y="556616"/>
                  <a:pt x="2308695" y="552970"/>
                </a:cubicBezTo>
                <a:lnTo>
                  <a:pt x="2312629" y="541662"/>
                </a:lnTo>
                <a:lnTo>
                  <a:pt x="2313250" y="544771"/>
                </a:lnTo>
                <a:cubicBezTo>
                  <a:pt x="2313706" y="545682"/>
                  <a:pt x="2314161" y="546593"/>
                  <a:pt x="2314161" y="549326"/>
                </a:cubicBezTo>
                <a:cubicBezTo>
                  <a:pt x="2315983" y="549326"/>
                  <a:pt x="2315983" y="547504"/>
                  <a:pt x="2317806" y="547504"/>
                </a:cubicBezTo>
                <a:lnTo>
                  <a:pt x="2312881" y="540937"/>
                </a:lnTo>
                <a:lnTo>
                  <a:pt x="2314162" y="537254"/>
                </a:lnTo>
                <a:lnTo>
                  <a:pt x="2311633" y="531882"/>
                </a:lnTo>
                <a:lnTo>
                  <a:pt x="2321450" y="542037"/>
                </a:lnTo>
                <a:cubicBezTo>
                  <a:pt x="2321450" y="534749"/>
                  <a:pt x="2315983" y="536571"/>
                  <a:pt x="2319628" y="531105"/>
                </a:cubicBezTo>
                <a:cubicBezTo>
                  <a:pt x="2319628" y="531105"/>
                  <a:pt x="2319628" y="531105"/>
                  <a:pt x="2317806" y="529282"/>
                </a:cubicBezTo>
                <a:cubicBezTo>
                  <a:pt x="2317806" y="531105"/>
                  <a:pt x="2317806" y="531105"/>
                  <a:pt x="2315983" y="532926"/>
                </a:cubicBezTo>
                <a:cubicBezTo>
                  <a:pt x="2310517" y="523815"/>
                  <a:pt x="2319628" y="516527"/>
                  <a:pt x="2315983" y="509238"/>
                </a:cubicBezTo>
                <a:cubicBezTo>
                  <a:pt x="2317806" y="514705"/>
                  <a:pt x="2319628" y="520171"/>
                  <a:pt x="2325094" y="523815"/>
                </a:cubicBezTo>
                <a:cubicBezTo>
                  <a:pt x="2325094" y="520171"/>
                  <a:pt x="2325094" y="518349"/>
                  <a:pt x="2326916" y="516527"/>
                </a:cubicBezTo>
                <a:cubicBezTo>
                  <a:pt x="2330561" y="520171"/>
                  <a:pt x="2328739" y="523815"/>
                  <a:pt x="2328739" y="527461"/>
                </a:cubicBezTo>
                <a:cubicBezTo>
                  <a:pt x="2328739" y="525638"/>
                  <a:pt x="2330561" y="525638"/>
                  <a:pt x="2330561" y="523815"/>
                </a:cubicBezTo>
                <a:cubicBezTo>
                  <a:pt x="2339672" y="527461"/>
                  <a:pt x="2339672" y="520171"/>
                  <a:pt x="2341494" y="512882"/>
                </a:cubicBezTo>
                <a:cubicBezTo>
                  <a:pt x="2343316" y="516527"/>
                  <a:pt x="2346960" y="518349"/>
                  <a:pt x="2348782" y="520171"/>
                </a:cubicBezTo>
                <a:cubicBezTo>
                  <a:pt x="2350605" y="511061"/>
                  <a:pt x="2350605" y="503771"/>
                  <a:pt x="2352427" y="496483"/>
                </a:cubicBezTo>
                <a:cubicBezTo>
                  <a:pt x="2352427" y="500127"/>
                  <a:pt x="2352427" y="505594"/>
                  <a:pt x="2354249" y="507417"/>
                </a:cubicBezTo>
                <a:cubicBezTo>
                  <a:pt x="2359716" y="496483"/>
                  <a:pt x="2377937" y="474618"/>
                  <a:pt x="2361538" y="472795"/>
                </a:cubicBezTo>
                <a:cubicBezTo>
                  <a:pt x="2357893" y="470972"/>
                  <a:pt x="2361538" y="481906"/>
                  <a:pt x="2363360" y="487373"/>
                </a:cubicBezTo>
                <a:cubicBezTo>
                  <a:pt x="2354249" y="483728"/>
                  <a:pt x="2352427" y="470972"/>
                  <a:pt x="2352427" y="461862"/>
                </a:cubicBezTo>
                <a:cubicBezTo>
                  <a:pt x="2352427" y="461862"/>
                  <a:pt x="2352427" y="461862"/>
                  <a:pt x="2354249" y="463684"/>
                </a:cubicBezTo>
                <a:cubicBezTo>
                  <a:pt x="2350605" y="456395"/>
                  <a:pt x="2356071" y="452751"/>
                  <a:pt x="2354249" y="445463"/>
                </a:cubicBezTo>
                <a:close/>
                <a:moveTo>
                  <a:pt x="2294117" y="445463"/>
                </a:moveTo>
                <a:cubicBezTo>
                  <a:pt x="2290473" y="445463"/>
                  <a:pt x="2292295" y="452751"/>
                  <a:pt x="2292295" y="456395"/>
                </a:cubicBezTo>
                <a:cubicBezTo>
                  <a:pt x="2294117" y="454574"/>
                  <a:pt x="2294117" y="449107"/>
                  <a:pt x="2294117" y="445463"/>
                </a:cubicBezTo>
                <a:close/>
                <a:moveTo>
                  <a:pt x="1290100" y="445463"/>
                </a:moveTo>
                <a:cubicBezTo>
                  <a:pt x="1291922" y="450928"/>
                  <a:pt x="1284633" y="454574"/>
                  <a:pt x="1290100" y="460039"/>
                </a:cubicBezTo>
                <a:cubicBezTo>
                  <a:pt x="1291922" y="461862"/>
                  <a:pt x="1295566" y="456395"/>
                  <a:pt x="1299210" y="456395"/>
                </a:cubicBezTo>
                <a:cubicBezTo>
                  <a:pt x="1297388" y="461862"/>
                  <a:pt x="1290100" y="461862"/>
                  <a:pt x="1286455" y="463684"/>
                </a:cubicBezTo>
                <a:lnTo>
                  <a:pt x="1283118" y="468186"/>
                </a:lnTo>
                <a:lnTo>
                  <a:pt x="1287167" y="459157"/>
                </a:lnTo>
                <a:cubicBezTo>
                  <a:pt x="1287936" y="455712"/>
                  <a:pt x="1287822" y="452295"/>
                  <a:pt x="1286455" y="449107"/>
                </a:cubicBezTo>
                <a:cubicBezTo>
                  <a:pt x="1288277" y="449107"/>
                  <a:pt x="1290100" y="447284"/>
                  <a:pt x="1290100" y="445463"/>
                </a:cubicBezTo>
                <a:close/>
                <a:moveTo>
                  <a:pt x="2325003" y="444583"/>
                </a:moveTo>
                <a:lnTo>
                  <a:pt x="2326916" y="447284"/>
                </a:lnTo>
                <a:lnTo>
                  <a:pt x="2323914" y="448576"/>
                </a:lnTo>
                <a:close/>
                <a:moveTo>
                  <a:pt x="3349156" y="443640"/>
                </a:moveTo>
                <a:cubicBezTo>
                  <a:pt x="3336401" y="445463"/>
                  <a:pt x="3314535" y="445463"/>
                  <a:pt x="3329112" y="467328"/>
                </a:cubicBezTo>
                <a:cubicBezTo>
                  <a:pt x="3330934" y="469150"/>
                  <a:pt x="3328656" y="470061"/>
                  <a:pt x="3325240" y="470745"/>
                </a:cubicBezTo>
                <a:lnTo>
                  <a:pt x="3323099" y="471155"/>
                </a:lnTo>
                <a:lnTo>
                  <a:pt x="3321824" y="467329"/>
                </a:lnTo>
                <a:cubicBezTo>
                  <a:pt x="3321824" y="465506"/>
                  <a:pt x="3321824" y="463684"/>
                  <a:pt x="3320001" y="461862"/>
                </a:cubicBezTo>
                <a:cubicBezTo>
                  <a:pt x="3318179" y="461862"/>
                  <a:pt x="3316357" y="460039"/>
                  <a:pt x="3310890" y="463684"/>
                </a:cubicBezTo>
                <a:cubicBezTo>
                  <a:pt x="3310890" y="466417"/>
                  <a:pt x="3312257" y="468695"/>
                  <a:pt x="3314535" y="470290"/>
                </a:cubicBezTo>
                <a:lnTo>
                  <a:pt x="3319905" y="471767"/>
                </a:lnTo>
                <a:lnTo>
                  <a:pt x="3314535" y="472795"/>
                </a:lnTo>
                <a:cubicBezTo>
                  <a:pt x="3320001" y="476439"/>
                  <a:pt x="3321824" y="480083"/>
                  <a:pt x="3323646" y="483728"/>
                </a:cubicBezTo>
                <a:cubicBezTo>
                  <a:pt x="3323646" y="483728"/>
                  <a:pt x="3325468" y="481906"/>
                  <a:pt x="3327290" y="481906"/>
                </a:cubicBezTo>
                <a:cubicBezTo>
                  <a:pt x="3329112" y="483728"/>
                  <a:pt x="3330934" y="485550"/>
                  <a:pt x="3329112" y="487373"/>
                </a:cubicBezTo>
                <a:cubicBezTo>
                  <a:pt x="3332756" y="481906"/>
                  <a:pt x="3330934" y="465506"/>
                  <a:pt x="3343690" y="476439"/>
                </a:cubicBezTo>
                <a:cubicBezTo>
                  <a:pt x="3345512" y="476439"/>
                  <a:pt x="3336401" y="480083"/>
                  <a:pt x="3341867" y="487373"/>
                </a:cubicBezTo>
                <a:cubicBezTo>
                  <a:pt x="3350978" y="487373"/>
                  <a:pt x="3347334" y="480083"/>
                  <a:pt x="3356445" y="480083"/>
                </a:cubicBezTo>
                <a:cubicBezTo>
                  <a:pt x="3356445" y="478262"/>
                  <a:pt x="3356445" y="476439"/>
                  <a:pt x="3354623" y="474618"/>
                </a:cubicBezTo>
                <a:cubicBezTo>
                  <a:pt x="3360089" y="478262"/>
                  <a:pt x="3356445" y="487373"/>
                  <a:pt x="3363734" y="483728"/>
                </a:cubicBezTo>
                <a:cubicBezTo>
                  <a:pt x="3365556" y="483728"/>
                  <a:pt x="3365556" y="480083"/>
                  <a:pt x="3369200" y="474618"/>
                </a:cubicBezTo>
                <a:lnTo>
                  <a:pt x="3371022" y="476439"/>
                </a:lnTo>
                <a:cubicBezTo>
                  <a:pt x="3371933" y="474617"/>
                  <a:pt x="3372844" y="473251"/>
                  <a:pt x="3373072" y="471884"/>
                </a:cubicBezTo>
                <a:lnTo>
                  <a:pt x="3372275" y="470112"/>
                </a:lnTo>
                <a:lnTo>
                  <a:pt x="3374667" y="468467"/>
                </a:lnTo>
                <a:cubicBezTo>
                  <a:pt x="3375122" y="467784"/>
                  <a:pt x="3375578" y="467328"/>
                  <a:pt x="3378311" y="467328"/>
                </a:cubicBezTo>
                <a:cubicBezTo>
                  <a:pt x="3376489" y="463684"/>
                  <a:pt x="3372844" y="463684"/>
                  <a:pt x="3369200" y="461862"/>
                </a:cubicBezTo>
                <a:cubicBezTo>
                  <a:pt x="3367378" y="462773"/>
                  <a:pt x="3367834" y="464140"/>
                  <a:pt x="3368745" y="465734"/>
                </a:cubicBezTo>
                <a:lnTo>
                  <a:pt x="3369585" y="467667"/>
                </a:lnTo>
                <a:lnTo>
                  <a:pt x="3367150" y="468239"/>
                </a:lnTo>
                <a:cubicBezTo>
                  <a:pt x="3365101" y="467784"/>
                  <a:pt x="3362823" y="467329"/>
                  <a:pt x="3361911" y="469150"/>
                </a:cubicBezTo>
                <a:cubicBezTo>
                  <a:pt x="3361911" y="460039"/>
                  <a:pt x="3356445" y="443640"/>
                  <a:pt x="3349156" y="443640"/>
                </a:cubicBezTo>
                <a:close/>
                <a:moveTo>
                  <a:pt x="3196093" y="443640"/>
                </a:moveTo>
                <a:cubicBezTo>
                  <a:pt x="3197916" y="447284"/>
                  <a:pt x="3199738" y="447284"/>
                  <a:pt x="3199738" y="450928"/>
                </a:cubicBezTo>
                <a:cubicBezTo>
                  <a:pt x="3205204" y="450928"/>
                  <a:pt x="3199738" y="443640"/>
                  <a:pt x="3196093" y="443640"/>
                </a:cubicBezTo>
                <a:close/>
                <a:moveTo>
                  <a:pt x="2527356" y="443640"/>
                </a:moveTo>
                <a:cubicBezTo>
                  <a:pt x="2527356" y="447284"/>
                  <a:pt x="2525534" y="449107"/>
                  <a:pt x="2523711" y="450928"/>
                </a:cubicBezTo>
                <a:cubicBezTo>
                  <a:pt x="2523711" y="454574"/>
                  <a:pt x="2529178" y="454574"/>
                  <a:pt x="2529178" y="460039"/>
                </a:cubicBezTo>
                <a:cubicBezTo>
                  <a:pt x="2531000" y="456395"/>
                  <a:pt x="2531000" y="450928"/>
                  <a:pt x="2532822" y="445463"/>
                </a:cubicBezTo>
                <a:cubicBezTo>
                  <a:pt x="2534644" y="447284"/>
                  <a:pt x="2532822" y="452751"/>
                  <a:pt x="2534644" y="454574"/>
                </a:cubicBezTo>
                <a:cubicBezTo>
                  <a:pt x="2540111" y="452751"/>
                  <a:pt x="2536466" y="445463"/>
                  <a:pt x="2538289" y="443640"/>
                </a:cubicBezTo>
                <a:cubicBezTo>
                  <a:pt x="2531000" y="443640"/>
                  <a:pt x="2534644" y="443640"/>
                  <a:pt x="2527356" y="443640"/>
                </a:cubicBezTo>
                <a:close/>
                <a:moveTo>
                  <a:pt x="1075895" y="443618"/>
                </a:moveTo>
                <a:lnTo>
                  <a:pt x="1075083" y="446744"/>
                </a:lnTo>
                <a:lnTo>
                  <a:pt x="1075083" y="445463"/>
                </a:lnTo>
                <a:close/>
                <a:moveTo>
                  <a:pt x="3360089" y="441819"/>
                </a:moveTo>
                <a:cubicBezTo>
                  <a:pt x="3358267" y="445463"/>
                  <a:pt x="3361911" y="449107"/>
                  <a:pt x="3363734" y="450928"/>
                </a:cubicBezTo>
                <a:cubicBezTo>
                  <a:pt x="3365556" y="447284"/>
                  <a:pt x="3374666" y="449107"/>
                  <a:pt x="3367378" y="441819"/>
                </a:cubicBezTo>
                <a:cubicBezTo>
                  <a:pt x="3363734" y="443640"/>
                  <a:pt x="3361911" y="445463"/>
                  <a:pt x="3360089" y="441819"/>
                </a:cubicBezTo>
                <a:close/>
                <a:moveTo>
                  <a:pt x="2518245" y="441819"/>
                </a:moveTo>
                <a:cubicBezTo>
                  <a:pt x="2518245" y="447284"/>
                  <a:pt x="2516423" y="449107"/>
                  <a:pt x="2516423" y="454574"/>
                </a:cubicBezTo>
                <a:cubicBezTo>
                  <a:pt x="2521889" y="452751"/>
                  <a:pt x="2525534" y="441819"/>
                  <a:pt x="2518245" y="441819"/>
                </a:cubicBezTo>
                <a:close/>
                <a:moveTo>
                  <a:pt x="2470868" y="441819"/>
                </a:moveTo>
                <a:cubicBezTo>
                  <a:pt x="2469046" y="449107"/>
                  <a:pt x="2470868" y="467328"/>
                  <a:pt x="2472690" y="474618"/>
                </a:cubicBezTo>
                <a:cubicBezTo>
                  <a:pt x="2478157" y="460039"/>
                  <a:pt x="2472690" y="452751"/>
                  <a:pt x="2470868" y="441819"/>
                </a:cubicBezTo>
                <a:close/>
                <a:moveTo>
                  <a:pt x="2139233" y="441819"/>
                </a:moveTo>
                <a:cubicBezTo>
                  <a:pt x="2121011" y="436351"/>
                  <a:pt x="2133766" y="467328"/>
                  <a:pt x="2137410" y="478262"/>
                </a:cubicBezTo>
                <a:cubicBezTo>
                  <a:pt x="2139233" y="476439"/>
                  <a:pt x="2137410" y="474618"/>
                  <a:pt x="2139233" y="472795"/>
                </a:cubicBezTo>
                <a:cubicBezTo>
                  <a:pt x="2139233" y="474618"/>
                  <a:pt x="2142877" y="478262"/>
                  <a:pt x="2139233" y="480083"/>
                </a:cubicBezTo>
                <a:cubicBezTo>
                  <a:pt x="2139233" y="485550"/>
                  <a:pt x="2142877" y="487373"/>
                  <a:pt x="2142877" y="491017"/>
                </a:cubicBezTo>
                <a:cubicBezTo>
                  <a:pt x="2144699" y="492838"/>
                  <a:pt x="2148344" y="492838"/>
                  <a:pt x="2150166" y="494662"/>
                </a:cubicBezTo>
                <a:cubicBezTo>
                  <a:pt x="2153810" y="491017"/>
                  <a:pt x="2146521" y="487373"/>
                  <a:pt x="2148344" y="483728"/>
                </a:cubicBezTo>
                <a:cubicBezTo>
                  <a:pt x="2153810" y="489194"/>
                  <a:pt x="2157454" y="501949"/>
                  <a:pt x="2166565" y="500127"/>
                </a:cubicBezTo>
                <a:cubicBezTo>
                  <a:pt x="2175676" y="494662"/>
                  <a:pt x="2162921" y="483728"/>
                  <a:pt x="2151988" y="485550"/>
                </a:cubicBezTo>
                <a:cubicBezTo>
                  <a:pt x="2155632" y="478262"/>
                  <a:pt x="2161099" y="485550"/>
                  <a:pt x="2164743" y="485550"/>
                </a:cubicBezTo>
                <a:lnTo>
                  <a:pt x="2168083" y="480874"/>
                </a:lnTo>
                <a:lnTo>
                  <a:pt x="2168387" y="481906"/>
                </a:lnTo>
                <a:cubicBezTo>
                  <a:pt x="2181143" y="472795"/>
                  <a:pt x="2193898" y="461862"/>
                  <a:pt x="2186609" y="447284"/>
                </a:cubicBezTo>
                <a:cubicBezTo>
                  <a:pt x="2184787" y="449107"/>
                  <a:pt x="2181143" y="447284"/>
                  <a:pt x="2182965" y="452751"/>
                </a:cubicBezTo>
                <a:cubicBezTo>
                  <a:pt x="2179320" y="449107"/>
                  <a:pt x="2186609" y="443640"/>
                  <a:pt x="2179320" y="441819"/>
                </a:cubicBezTo>
                <a:cubicBezTo>
                  <a:pt x="2173854" y="439995"/>
                  <a:pt x="2179320" y="450928"/>
                  <a:pt x="2172032" y="450928"/>
                </a:cubicBezTo>
                <a:cubicBezTo>
                  <a:pt x="2172032" y="449107"/>
                  <a:pt x="2173854" y="445463"/>
                  <a:pt x="2170210" y="445463"/>
                </a:cubicBezTo>
                <a:cubicBezTo>
                  <a:pt x="2173854" y="452751"/>
                  <a:pt x="2172032" y="456395"/>
                  <a:pt x="2172032" y="463684"/>
                </a:cubicBezTo>
                <a:cubicBezTo>
                  <a:pt x="2164743" y="461862"/>
                  <a:pt x="2168387" y="454574"/>
                  <a:pt x="2164743" y="449107"/>
                </a:cubicBezTo>
                <a:cubicBezTo>
                  <a:pt x="2159277" y="453662"/>
                  <a:pt x="2160644" y="458673"/>
                  <a:pt x="2163149" y="464139"/>
                </a:cubicBezTo>
                <a:lnTo>
                  <a:pt x="2163224" y="464393"/>
                </a:lnTo>
                <a:lnTo>
                  <a:pt x="2161099" y="463684"/>
                </a:lnTo>
                <a:cubicBezTo>
                  <a:pt x="2157454" y="454574"/>
                  <a:pt x="2164743" y="439995"/>
                  <a:pt x="2153810" y="443640"/>
                </a:cubicBezTo>
                <a:cubicBezTo>
                  <a:pt x="2150166" y="443640"/>
                  <a:pt x="2155632" y="456395"/>
                  <a:pt x="2151988" y="458218"/>
                </a:cubicBezTo>
                <a:cubicBezTo>
                  <a:pt x="2144699" y="461862"/>
                  <a:pt x="2142877" y="441819"/>
                  <a:pt x="2139233" y="441819"/>
                </a:cubicBezTo>
                <a:close/>
                <a:moveTo>
                  <a:pt x="3604712" y="441197"/>
                </a:moveTo>
                <a:lnTo>
                  <a:pt x="3609727" y="443640"/>
                </a:lnTo>
                <a:lnTo>
                  <a:pt x="3606747" y="451012"/>
                </a:lnTo>
                <a:lnTo>
                  <a:pt x="3605855" y="445463"/>
                </a:lnTo>
                <a:close/>
                <a:moveTo>
                  <a:pt x="3400177" y="439995"/>
                </a:moveTo>
                <a:cubicBezTo>
                  <a:pt x="3392888" y="443640"/>
                  <a:pt x="3387422" y="450928"/>
                  <a:pt x="3394710" y="458218"/>
                </a:cubicBezTo>
                <a:cubicBezTo>
                  <a:pt x="3394710" y="454574"/>
                  <a:pt x="3398355" y="449107"/>
                  <a:pt x="3401999" y="447284"/>
                </a:cubicBezTo>
                <a:cubicBezTo>
                  <a:pt x="3403821" y="447284"/>
                  <a:pt x="3401999" y="452751"/>
                  <a:pt x="3407466" y="450928"/>
                </a:cubicBezTo>
                <a:cubicBezTo>
                  <a:pt x="3405643" y="445463"/>
                  <a:pt x="3401999" y="445463"/>
                  <a:pt x="3400177" y="439995"/>
                </a:cubicBezTo>
                <a:close/>
                <a:moveTo>
                  <a:pt x="2465402" y="439995"/>
                </a:moveTo>
                <a:cubicBezTo>
                  <a:pt x="2459935" y="439995"/>
                  <a:pt x="2465402" y="447284"/>
                  <a:pt x="2465402" y="449107"/>
                </a:cubicBezTo>
                <a:cubicBezTo>
                  <a:pt x="2469046" y="447284"/>
                  <a:pt x="2463580" y="443640"/>
                  <a:pt x="2465402" y="439995"/>
                </a:cubicBezTo>
                <a:close/>
                <a:moveTo>
                  <a:pt x="1017766" y="439484"/>
                </a:moveTo>
                <a:lnTo>
                  <a:pt x="1021556" y="442046"/>
                </a:lnTo>
                <a:lnTo>
                  <a:pt x="1024625" y="447053"/>
                </a:lnTo>
                <a:lnTo>
                  <a:pt x="1018140" y="442729"/>
                </a:lnTo>
                <a:close/>
                <a:moveTo>
                  <a:pt x="3248937" y="438174"/>
                </a:moveTo>
                <a:cubicBezTo>
                  <a:pt x="3243470" y="438174"/>
                  <a:pt x="3243470" y="439995"/>
                  <a:pt x="3243470" y="443640"/>
                </a:cubicBezTo>
                <a:cubicBezTo>
                  <a:pt x="3247114" y="443640"/>
                  <a:pt x="3248937" y="443640"/>
                  <a:pt x="3250759" y="443640"/>
                </a:cubicBezTo>
                <a:cubicBezTo>
                  <a:pt x="3248937" y="441819"/>
                  <a:pt x="3248937" y="439995"/>
                  <a:pt x="3248937" y="438174"/>
                </a:cubicBezTo>
                <a:close/>
                <a:moveTo>
                  <a:pt x="2199364" y="438174"/>
                </a:moveTo>
                <a:cubicBezTo>
                  <a:pt x="2199364" y="443640"/>
                  <a:pt x="2204831" y="445463"/>
                  <a:pt x="2206653" y="443640"/>
                </a:cubicBezTo>
                <a:cubicBezTo>
                  <a:pt x="2206653" y="441819"/>
                  <a:pt x="2206653" y="441819"/>
                  <a:pt x="2206653" y="439995"/>
                </a:cubicBezTo>
                <a:cubicBezTo>
                  <a:pt x="2203009" y="441819"/>
                  <a:pt x="2203009" y="438174"/>
                  <a:pt x="2199364" y="438174"/>
                </a:cubicBezTo>
                <a:close/>
                <a:moveTo>
                  <a:pt x="1051894" y="436873"/>
                </a:moveTo>
                <a:lnTo>
                  <a:pt x="1054098" y="439173"/>
                </a:lnTo>
                <a:lnTo>
                  <a:pt x="1051395" y="447284"/>
                </a:lnTo>
                <a:cubicBezTo>
                  <a:pt x="1051395" y="443640"/>
                  <a:pt x="1049573" y="441819"/>
                  <a:pt x="1047750" y="438174"/>
                </a:cubicBezTo>
                <a:lnTo>
                  <a:pt x="1049937" y="439267"/>
                </a:lnTo>
                <a:lnTo>
                  <a:pt x="1051395" y="439995"/>
                </a:lnTo>
                <a:close/>
                <a:moveTo>
                  <a:pt x="3165116" y="436351"/>
                </a:moveTo>
                <a:cubicBezTo>
                  <a:pt x="3161472" y="439995"/>
                  <a:pt x="3170583" y="445463"/>
                  <a:pt x="3166939" y="449107"/>
                </a:cubicBezTo>
                <a:cubicBezTo>
                  <a:pt x="3165116" y="449107"/>
                  <a:pt x="3165116" y="445463"/>
                  <a:pt x="3165116" y="443640"/>
                </a:cubicBezTo>
                <a:cubicBezTo>
                  <a:pt x="3159650" y="447284"/>
                  <a:pt x="3154184" y="450928"/>
                  <a:pt x="3156006" y="460039"/>
                </a:cubicBezTo>
                <a:cubicBezTo>
                  <a:pt x="3165116" y="460039"/>
                  <a:pt x="3172405" y="463684"/>
                  <a:pt x="3179694" y="460039"/>
                </a:cubicBezTo>
                <a:cubicBezTo>
                  <a:pt x="3177872" y="449107"/>
                  <a:pt x="3170583" y="445463"/>
                  <a:pt x="3165116" y="436351"/>
                </a:cubicBezTo>
                <a:close/>
                <a:moveTo>
                  <a:pt x="2512778" y="436351"/>
                </a:moveTo>
                <a:cubicBezTo>
                  <a:pt x="2509134" y="447284"/>
                  <a:pt x="2505490" y="445463"/>
                  <a:pt x="2492734" y="441819"/>
                </a:cubicBezTo>
                <a:cubicBezTo>
                  <a:pt x="2494556" y="445463"/>
                  <a:pt x="2489090" y="450928"/>
                  <a:pt x="2490912" y="454574"/>
                </a:cubicBezTo>
                <a:cubicBezTo>
                  <a:pt x="2489090" y="450928"/>
                  <a:pt x="2492734" y="445463"/>
                  <a:pt x="2490912" y="441819"/>
                </a:cubicBezTo>
                <a:cubicBezTo>
                  <a:pt x="2485446" y="443640"/>
                  <a:pt x="2479979" y="447284"/>
                  <a:pt x="2479979" y="454574"/>
                </a:cubicBezTo>
                <a:cubicBezTo>
                  <a:pt x="2476335" y="452751"/>
                  <a:pt x="2479979" y="447284"/>
                  <a:pt x="2474513" y="447284"/>
                </a:cubicBezTo>
                <a:cubicBezTo>
                  <a:pt x="2478157" y="458218"/>
                  <a:pt x="2472690" y="478262"/>
                  <a:pt x="2481801" y="480083"/>
                </a:cubicBezTo>
                <a:cubicBezTo>
                  <a:pt x="2481801" y="472795"/>
                  <a:pt x="2476335" y="465506"/>
                  <a:pt x="2485446" y="458218"/>
                </a:cubicBezTo>
                <a:cubicBezTo>
                  <a:pt x="2487268" y="458218"/>
                  <a:pt x="2490912" y="460039"/>
                  <a:pt x="2490912" y="461862"/>
                </a:cubicBezTo>
                <a:cubicBezTo>
                  <a:pt x="2483624" y="469150"/>
                  <a:pt x="2485446" y="480083"/>
                  <a:pt x="2485446" y="489194"/>
                </a:cubicBezTo>
                <a:cubicBezTo>
                  <a:pt x="2490912" y="489194"/>
                  <a:pt x="2492734" y="485550"/>
                  <a:pt x="2494556" y="492838"/>
                </a:cubicBezTo>
                <a:cubicBezTo>
                  <a:pt x="2498201" y="481906"/>
                  <a:pt x="2479979" y="470972"/>
                  <a:pt x="2496379" y="467328"/>
                </a:cubicBezTo>
                <a:cubicBezTo>
                  <a:pt x="2496379" y="465506"/>
                  <a:pt x="2496379" y="470972"/>
                  <a:pt x="2496379" y="472795"/>
                </a:cubicBezTo>
                <a:cubicBezTo>
                  <a:pt x="2501845" y="465506"/>
                  <a:pt x="2503667" y="456395"/>
                  <a:pt x="2501845" y="449107"/>
                </a:cubicBezTo>
                <a:cubicBezTo>
                  <a:pt x="2509134" y="452751"/>
                  <a:pt x="2507312" y="460039"/>
                  <a:pt x="2510956" y="467328"/>
                </a:cubicBezTo>
                <a:cubicBezTo>
                  <a:pt x="2514600" y="461862"/>
                  <a:pt x="2512778" y="456395"/>
                  <a:pt x="2509134" y="454574"/>
                </a:cubicBezTo>
                <a:cubicBezTo>
                  <a:pt x="2518245" y="450928"/>
                  <a:pt x="2516423" y="443640"/>
                  <a:pt x="2516423" y="438174"/>
                </a:cubicBezTo>
                <a:cubicBezTo>
                  <a:pt x="2514600" y="438174"/>
                  <a:pt x="2514600" y="438174"/>
                  <a:pt x="2512778" y="436351"/>
                </a:cubicBezTo>
                <a:close/>
                <a:moveTo>
                  <a:pt x="2381582" y="436351"/>
                </a:moveTo>
                <a:cubicBezTo>
                  <a:pt x="2374293" y="438174"/>
                  <a:pt x="2381582" y="452751"/>
                  <a:pt x="2383404" y="445463"/>
                </a:cubicBezTo>
                <a:cubicBezTo>
                  <a:pt x="2383404" y="441819"/>
                  <a:pt x="2381582" y="441819"/>
                  <a:pt x="2381582" y="436351"/>
                </a:cubicBezTo>
                <a:close/>
                <a:moveTo>
                  <a:pt x="1122459" y="436351"/>
                </a:moveTo>
                <a:cubicBezTo>
                  <a:pt x="1127926" y="441819"/>
                  <a:pt x="1137037" y="441819"/>
                  <a:pt x="1142503" y="447284"/>
                </a:cubicBezTo>
                <a:lnTo>
                  <a:pt x="1140759" y="446897"/>
                </a:lnTo>
                <a:close/>
                <a:moveTo>
                  <a:pt x="1055040" y="436351"/>
                </a:moveTo>
                <a:lnTo>
                  <a:pt x="1055561" y="440699"/>
                </a:lnTo>
                <a:lnTo>
                  <a:pt x="1054098" y="439173"/>
                </a:lnTo>
                <a:close/>
                <a:moveTo>
                  <a:pt x="431856" y="436351"/>
                </a:moveTo>
                <a:cubicBezTo>
                  <a:pt x="433678" y="458218"/>
                  <a:pt x="444611" y="476439"/>
                  <a:pt x="451899" y="494662"/>
                </a:cubicBezTo>
                <a:cubicBezTo>
                  <a:pt x="451899" y="492838"/>
                  <a:pt x="455544" y="489194"/>
                  <a:pt x="455544" y="492838"/>
                </a:cubicBezTo>
                <a:lnTo>
                  <a:pt x="461671" y="512410"/>
                </a:lnTo>
                <a:lnTo>
                  <a:pt x="451899" y="498306"/>
                </a:lnTo>
                <a:cubicBezTo>
                  <a:pt x="448256" y="492838"/>
                  <a:pt x="437322" y="491017"/>
                  <a:pt x="437322" y="481906"/>
                </a:cubicBezTo>
                <a:cubicBezTo>
                  <a:pt x="440966" y="487373"/>
                  <a:pt x="442789" y="489194"/>
                  <a:pt x="448256" y="492838"/>
                </a:cubicBezTo>
                <a:cubicBezTo>
                  <a:pt x="446433" y="483728"/>
                  <a:pt x="437322" y="478262"/>
                  <a:pt x="437322" y="469150"/>
                </a:cubicBezTo>
                <a:cubicBezTo>
                  <a:pt x="437322" y="474618"/>
                  <a:pt x="440966" y="476439"/>
                  <a:pt x="442789" y="480083"/>
                </a:cubicBezTo>
                <a:cubicBezTo>
                  <a:pt x="439145" y="465506"/>
                  <a:pt x="431856" y="450928"/>
                  <a:pt x="431856" y="436351"/>
                </a:cubicBezTo>
                <a:close/>
                <a:moveTo>
                  <a:pt x="544553" y="435318"/>
                </a:moveTo>
                <a:lnTo>
                  <a:pt x="544830" y="438174"/>
                </a:lnTo>
                <a:lnTo>
                  <a:pt x="544319" y="437663"/>
                </a:lnTo>
                <a:close/>
                <a:moveTo>
                  <a:pt x="3341867" y="434530"/>
                </a:moveTo>
                <a:cubicBezTo>
                  <a:pt x="3341867" y="436351"/>
                  <a:pt x="3343690" y="436351"/>
                  <a:pt x="3343690" y="439995"/>
                </a:cubicBezTo>
                <a:cubicBezTo>
                  <a:pt x="3349156" y="438174"/>
                  <a:pt x="3347334" y="432707"/>
                  <a:pt x="3341867" y="434530"/>
                </a:cubicBezTo>
                <a:close/>
                <a:moveTo>
                  <a:pt x="3019343" y="434530"/>
                </a:moveTo>
                <a:cubicBezTo>
                  <a:pt x="3013876" y="432707"/>
                  <a:pt x="3013876" y="439995"/>
                  <a:pt x="3013876" y="445463"/>
                </a:cubicBezTo>
                <a:cubicBezTo>
                  <a:pt x="3021165" y="447284"/>
                  <a:pt x="3021165" y="438174"/>
                  <a:pt x="3019343" y="434530"/>
                </a:cubicBezTo>
                <a:close/>
                <a:moveTo>
                  <a:pt x="2190253" y="434530"/>
                </a:moveTo>
                <a:cubicBezTo>
                  <a:pt x="2190253" y="438174"/>
                  <a:pt x="2192076" y="441819"/>
                  <a:pt x="2195720" y="441819"/>
                </a:cubicBezTo>
                <a:cubicBezTo>
                  <a:pt x="2195720" y="438174"/>
                  <a:pt x="2193898" y="438174"/>
                  <a:pt x="2193898" y="434530"/>
                </a:cubicBezTo>
                <a:cubicBezTo>
                  <a:pt x="2192076" y="434530"/>
                  <a:pt x="2190253" y="434530"/>
                  <a:pt x="2190253" y="434530"/>
                </a:cubicBezTo>
                <a:close/>
                <a:moveTo>
                  <a:pt x="2186609" y="434530"/>
                </a:moveTo>
                <a:cubicBezTo>
                  <a:pt x="2182965" y="434530"/>
                  <a:pt x="2181143" y="443640"/>
                  <a:pt x="2186609" y="441819"/>
                </a:cubicBezTo>
                <a:cubicBezTo>
                  <a:pt x="2186609" y="438174"/>
                  <a:pt x="2186609" y="436351"/>
                  <a:pt x="2186609" y="434530"/>
                </a:cubicBezTo>
                <a:close/>
                <a:moveTo>
                  <a:pt x="2179320" y="434530"/>
                </a:moveTo>
                <a:cubicBezTo>
                  <a:pt x="2175676" y="434530"/>
                  <a:pt x="2175676" y="441819"/>
                  <a:pt x="2177498" y="441819"/>
                </a:cubicBezTo>
                <a:cubicBezTo>
                  <a:pt x="2179320" y="441819"/>
                  <a:pt x="2179320" y="438174"/>
                  <a:pt x="2179320" y="434530"/>
                </a:cubicBezTo>
                <a:close/>
                <a:moveTo>
                  <a:pt x="692426" y="434530"/>
                </a:moveTo>
                <a:cubicBezTo>
                  <a:pt x="697893" y="447284"/>
                  <a:pt x="703359" y="460039"/>
                  <a:pt x="708826" y="472795"/>
                </a:cubicBezTo>
                <a:lnTo>
                  <a:pt x="708826" y="469150"/>
                </a:lnTo>
                <a:cubicBezTo>
                  <a:pt x="711104" y="474617"/>
                  <a:pt x="712015" y="480197"/>
                  <a:pt x="712271" y="485835"/>
                </a:cubicBezTo>
                <a:lnTo>
                  <a:pt x="711840" y="500992"/>
                </a:lnTo>
                <a:lnTo>
                  <a:pt x="710648" y="496483"/>
                </a:lnTo>
                <a:cubicBezTo>
                  <a:pt x="708826" y="485550"/>
                  <a:pt x="710648" y="474618"/>
                  <a:pt x="701537" y="467328"/>
                </a:cubicBezTo>
                <a:lnTo>
                  <a:pt x="705182" y="467328"/>
                </a:lnTo>
                <a:cubicBezTo>
                  <a:pt x="697893" y="458218"/>
                  <a:pt x="696071" y="445463"/>
                  <a:pt x="692426" y="434530"/>
                </a:cubicBezTo>
                <a:close/>
                <a:moveTo>
                  <a:pt x="1050501" y="433670"/>
                </a:moveTo>
                <a:lnTo>
                  <a:pt x="1052306" y="434302"/>
                </a:lnTo>
                <a:lnTo>
                  <a:pt x="1051894" y="436873"/>
                </a:lnTo>
                <a:lnTo>
                  <a:pt x="1051395" y="436351"/>
                </a:lnTo>
                <a:close/>
                <a:moveTo>
                  <a:pt x="2447807" y="433590"/>
                </a:moveTo>
                <a:cubicBezTo>
                  <a:pt x="2445700" y="432594"/>
                  <a:pt x="2443080" y="432708"/>
                  <a:pt x="2439891" y="434530"/>
                </a:cubicBezTo>
                <a:cubicBezTo>
                  <a:pt x="2438069" y="436351"/>
                  <a:pt x="2443536" y="439995"/>
                  <a:pt x="2439891" y="441819"/>
                </a:cubicBezTo>
                <a:cubicBezTo>
                  <a:pt x="2438069" y="441819"/>
                  <a:pt x="2436247" y="441819"/>
                  <a:pt x="2434425" y="441819"/>
                </a:cubicBezTo>
                <a:cubicBezTo>
                  <a:pt x="2434425" y="443640"/>
                  <a:pt x="2434425" y="445463"/>
                  <a:pt x="2434425" y="447284"/>
                </a:cubicBezTo>
                <a:cubicBezTo>
                  <a:pt x="2434425" y="445463"/>
                  <a:pt x="2434425" y="445463"/>
                  <a:pt x="2432603" y="443640"/>
                </a:cubicBezTo>
                <a:cubicBezTo>
                  <a:pt x="2430780" y="449107"/>
                  <a:pt x="2434425" y="456395"/>
                  <a:pt x="2432603" y="458218"/>
                </a:cubicBezTo>
                <a:cubicBezTo>
                  <a:pt x="2428958" y="460039"/>
                  <a:pt x="2428958" y="447284"/>
                  <a:pt x="2421669" y="449107"/>
                </a:cubicBezTo>
                <a:cubicBezTo>
                  <a:pt x="2418025" y="450928"/>
                  <a:pt x="2418025" y="458218"/>
                  <a:pt x="2419847" y="461862"/>
                </a:cubicBezTo>
                <a:cubicBezTo>
                  <a:pt x="2421669" y="460039"/>
                  <a:pt x="2421669" y="460039"/>
                  <a:pt x="2423492" y="458218"/>
                </a:cubicBezTo>
                <a:cubicBezTo>
                  <a:pt x="2428958" y="465506"/>
                  <a:pt x="2428958" y="474618"/>
                  <a:pt x="2430780" y="481906"/>
                </a:cubicBezTo>
                <a:cubicBezTo>
                  <a:pt x="2430780" y="480083"/>
                  <a:pt x="2432603" y="480083"/>
                  <a:pt x="2432603" y="478262"/>
                </a:cubicBezTo>
                <a:cubicBezTo>
                  <a:pt x="2436247" y="481906"/>
                  <a:pt x="2436247" y="492838"/>
                  <a:pt x="2428958" y="489194"/>
                </a:cubicBezTo>
                <a:cubicBezTo>
                  <a:pt x="2428958" y="487373"/>
                  <a:pt x="2428958" y="487373"/>
                  <a:pt x="2428958" y="485550"/>
                </a:cubicBezTo>
                <a:cubicBezTo>
                  <a:pt x="2427136" y="487373"/>
                  <a:pt x="2425314" y="491017"/>
                  <a:pt x="2427136" y="492838"/>
                </a:cubicBezTo>
                <a:cubicBezTo>
                  <a:pt x="2429870" y="496483"/>
                  <a:pt x="2431236" y="500127"/>
                  <a:pt x="2431009" y="503544"/>
                </a:cubicBezTo>
                <a:lnTo>
                  <a:pt x="2430805" y="503878"/>
                </a:lnTo>
                <a:lnTo>
                  <a:pt x="2430780" y="503771"/>
                </a:lnTo>
                <a:lnTo>
                  <a:pt x="2430746" y="503974"/>
                </a:lnTo>
                <a:lnTo>
                  <a:pt x="2425314" y="512882"/>
                </a:lnTo>
                <a:cubicBezTo>
                  <a:pt x="2425314" y="509238"/>
                  <a:pt x="2425314" y="507417"/>
                  <a:pt x="2423492" y="505594"/>
                </a:cubicBezTo>
                <a:cubicBezTo>
                  <a:pt x="2418025" y="503771"/>
                  <a:pt x="2412559" y="509238"/>
                  <a:pt x="2407092" y="511061"/>
                </a:cubicBezTo>
                <a:cubicBezTo>
                  <a:pt x="2410737" y="507417"/>
                  <a:pt x="2401626" y="500127"/>
                  <a:pt x="2408914" y="496483"/>
                </a:cubicBezTo>
                <a:cubicBezTo>
                  <a:pt x="2408914" y="498306"/>
                  <a:pt x="2408914" y="500127"/>
                  <a:pt x="2408914" y="501949"/>
                </a:cubicBezTo>
                <a:cubicBezTo>
                  <a:pt x="2412559" y="498306"/>
                  <a:pt x="2410737" y="494662"/>
                  <a:pt x="2410737" y="491017"/>
                </a:cubicBezTo>
                <a:cubicBezTo>
                  <a:pt x="2405270" y="498306"/>
                  <a:pt x="2403448" y="511061"/>
                  <a:pt x="2408914" y="521993"/>
                </a:cubicBezTo>
                <a:cubicBezTo>
                  <a:pt x="2410737" y="520171"/>
                  <a:pt x="2412559" y="518349"/>
                  <a:pt x="2414381" y="518349"/>
                </a:cubicBezTo>
                <a:cubicBezTo>
                  <a:pt x="2421669" y="521993"/>
                  <a:pt x="2419847" y="529282"/>
                  <a:pt x="2419847" y="536571"/>
                </a:cubicBezTo>
                <a:cubicBezTo>
                  <a:pt x="2421669" y="532926"/>
                  <a:pt x="2421669" y="527461"/>
                  <a:pt x="2421669" y="523815"/>
                </a:cubicBezTo>
                <a:cubicBezTo>
                  <a:pt x="2425314" y="531105"/>
                  <a:pt x="2423492" y="536571"/>
                  <a:pt x="2425314" y="543860"/>
                </a:cubicBezTo>
                <a:cubicBezTo>
                  <a:pt x="2423492" y="542037"/>
                  <a:pt x="2414381" y="536571"/>
                  <a:pt x="2416203" y="543860"/>
                </a:cubicBezTo>
                <a:lnTo>
                  <a:pt x="2418352" y="550613"/>
                </a:lnTo>
                <a:lnTo>
                  <a:pt x="2414381" y="554792"/>
                </a:lnTo>
                <a:lnTo>
                  <a:pt x="2415616" y="555742"/>
                </a:lnTo>
                <a:lnTo>
                  <a:pt x="2413222" y="556118"/>
                </a:lnTo>
                <a:lnTo>
                  <a:pt x="2410737" y="551148"/>
                </a:lnTo>
                <a:cubicBezTo>
                  <a:pt x="2410737" y="542037"/>
                  <a:pt x="2416203" y="532926"/>
                  <a:pt x="2408914" y="525638"/>
                </a:cubicBezTo>
                <a:cubicBezTo>
                  <a:pt x="2407092" y="527461"/>
                  <a:pt x="2403448" y="531105"/>
                  <a:pt x="2401626" y="534749"/>
                </a:cubicBezTo>
                <a:cubicBezTo>
                  <a:pt x="2403448" y="525638"/>
                  <a:pt x="2401626" y="514705"/>
                  <a:pt x="2397981" y="507417"/>
                </a:cubicBezTo>
                <a:lnTo>
                  <a:pt x="2401420" y="510091"/>
                </a:lnTo>
                <a:lnTo>
                  <a:pt x="2403448" y="516527"/>
                </a:lnTo>
                <a:cubicBezTo>
                  <a:pt x="2402537" y="514705"/>
                  <a:pt x="2402537" y="512427"/>
                  <a:pt x="2402082" y="510605"/>
                </a:cubicBezTo>
                <a:lnTo>
                  <a:pt x="2401420" y="510091"/>
                </a:lnTo>
                <a:lnTo>
                  <a:pt x="2398209" y="499900"/>
                </a:lnTo>
                <a:cubicBezTo>
                  <a:pt x="2396160" y="494206"/>
                  <a:pt x="2395248" y="488284"/>
                  <a:pt x="2399803" y="481906"/>
                </a:cubicBezTo>
                <a:cubicBezTo>
                  <a:pt x="2401626" y="481906"/>
                  <a:pt x="2403448" y="485550"/>
                  <a:pt x="2403448" y="487373"/>
                </a:cubicBezTo>
                <a:cubicBezTo>
                  <a:pt x="2410737" y="485550"/>
                  <a:pt x="2405270" y="474618"/>
                  <a:pt x="2408914" y="474618"/>
                </a:cubicBezTo>
                <a:cubicBezTo>
                  <a:pt x="2416203" y="474618"/>
                  <a:pt x="2408914" y="483728"/>
                  <a:pt x="2410737" y="489194"/>
                </a:cubicBezTo>
                <a:lnTo>
                  <a:pt x="2412877" y="481168"/>
                </a:lnTo>
                <a:lnTo>
                  <a:pt x="2412559" y="487373"/>
                </a:lnTo>
                <a:cubicBezTo>
                  <a:pt x="2414381" y="483728"/>
                  <a:pt x="2419847" y="481906"/>
                  <a:pt x="2418025" y="489194"/>
                </a:cubicBezTo>
                <a:cubicBezTo>
                  <a:pt x="2421669" y="487373"/>
                  <a:pt x="2419847" y="480083"/>
                  <a:pt x="2419847" y="476439"/>
                </a:cubicBezTo>
                <a:cubicBezTo>
                  <a:pt x="2419847" y="474618"/>
                  <a:pt x="2416203" y="476439"/>
                  <a:pt x="2416203" y="470972"/>
                </a:cubicBezTo>
                <a:lnTo>
                  <a:pt x="2414355" y="475330"/>
                </a:lnTo>
                <a:lnTo>
                  <a:pt x="2412559" y="461862"/>
                </a:lnTo>
                <a:cubicBezTo>
                  <a:pt x="2408914" y="463684"/>
                  <a:pt x="2403448" y="465506"/>
                  <a:pt x="2405270" y="470972"/>
                </a:cubicBezTo>
                <a:cubicBezTo>
                  <a:pt x="2403448" y="469150"/>
                  <a:pt x="2401626" y="465506"/>
                  <a:pt x="2399803" y="467328"/>
                </a:cubicBezTo>
                <a:cubicBezTo>
                  <a:pt x="2390693" y="476439"/>
                  <a:pt x="2394337" y="483728"/>
                  <a:pt x="2392515" y="494662"/>
                </a:cubicBezTo>
                <a:cubicBezTo>
                  <a:pt x="2388871" y="492838"/>
                  <a:pt x="2383404" y="492838"/>
                  <a:pt x="2385226" y="485550"/>
                </a:cubicBezTo>
                <a:cubicBezTo>
                  <a:pt x="2381582" y="494662"/>
                  <a:pt x="2367004" y="509238"/>
                  <a:pt x="2372471" y="518349"/>
                </a:cubicBezTo>
                <a:cubicBezTo>
                  <a:pt x="2374293" y="516527"/>
                  <a:pt x="2374293" y="514705"/>
                  <a:pt x="2374293" y="512882"/>
                </a:cubicBezTo>
                <a:cubicBezTo>
                  <a:pt x="2377937" y="516527"/>
                  <a:pt x="2376115" y="520171"/>
                  <a:pt x="2374293" y="523815"/>
                </a:cubicBezTo>
                <a:cubicBezTo>
                  <a:pt x="2374293" y="523815"/>
                  <a:pt x="2374293" y="521993"/>
                  <a:pt x="2370649" y="521993"/>
                </a:cubicBezTo>
                <a:cubicBezTo>
                  <a:pt x="2374293" y="521993"/>
                  <a:pt x="2374293" y="531105"/>
                  <a:pt x="2377937" y="531105"/>
                </a:cubicBezTo>
                <a:cubicBezTo>
                  <a:pt x="2377937" y="529282"/>
                  <a:pt x="2377937" y="523815"/>
                  <a:pt x="2377937" y="521993"/>
                </a:cubicBezTo>
                <a:cubicBezTo>
                  <a:pt x="2374293" y="532926"/>
                  <a:pt x="2383404" y="536571"/>
                  <a:pt x="2387048" y="545681"/>
                </a:cubicBezTo>
                <a:cubicBezTo>
                  <a:pt x="2388871" y="542037"/>
                  <a:pt x="2387048" y="538393"/>
                  <a:pt x="2385226" y="536571"/>
                </a:cubicBezTo>
                <a:cubicBezTo>
                  <a:pt x="2390693" y="538393"/>
                  <a:pt x="2387048" y="547504"/>
                  <a:pt x="2388871" y="547504"/>
                </a:cubicBezTo>
                <a:cubicBezTo>
                  <a:pt x="2392515" y="545681"/>
                  <a:pt x="2394337" y="543860"/>
                  <a:pt x="2396159" y="540215"/>
                </a:cubicBezTo>
                <a:cubicBezTo>
                  <a:pt x="2396159" y="545681"/>
                  <a:pt x="2394337" y="549326"/>
                  <a:pt x="2396159" y="554792"/>
                </a:cubicBezTo>
                <a:cubicBezTo>
                  <a:pt x="2388871" y="558437"/>
                  <a:pt x="2396159" y="562081"/>
                  <a:pt x="2396159" y="565725"/>
                </a:cubicBezTo>
                <a:cubicBezTo>
                  <a:pt x="2399803" y="562081"/>
                  <a:pt x="2397981" y="562081"/>
                  <a:pt x="2396159" y="554792"/>
                </a:cubicBezTo>
                <a:cubicBezTo>
                  <a:pt x="2397981" y="554792"/>
                  <a:pt x="2399803" y="554792"/>
                  <a:pt x="2401626" y="556616"/>
                </a:cubicBezTo>
                <a:cubicBezTo>
                  <a:pt x="2399803" y="554792"/>
                  <a:pt x="2399803" y="549326"/>
                  <a:pt x="2399803" y="547504"/>
                </a:cubicBezTo>
                <a:cubicBezTo>
                  <a:pt x="2402537" y="550237"/>
                  <a:pt x="2406181" y="554337"/>
                  <a:pt x="2410053" y="556615"/>
                </a:cubicBezTo>
                <a:lnTo>
                  <a:pt x="2413222" y="556118"/>
                </a:lnTo>
                <a:lnTo>
                  <a:pt x="2414381" y="558437"/>
                </a:lnTo>
                <a:cubicBezTo>
                  <a:pt x="2417115" y="558893"/>
                  <a:pt x="2418595" y="558551"/>
                  <a:pt x="2419278" y="557697"/>
                </a:cubicBezTo>
                <a:lnTo>
                  <a:pt x="2419303" y="556864"/>
                </a:lnTo>
                <a:lnTo>
                  <a:pt x="2421669" y="556616"/>
                </a:lnTo>
                <a:cubicBezTo>
                  <a:pt x="2421669" y="554793"/>
                  <a:pt x="2422125" y="553882"/>
                  <a:pt x="2422353" y="552515"/>
                </a:cubicBezTo>
                <a:lnTo>
                  <a:pt x="2422305" y="552037"/>
                </a:lnTo>
                <a:lnTo>
                  <a:pt x="2422353" y="551831"/>
                </a:lnTo>
                <a:lnTo>
                  <a:pt x="2422167" y="550658"/>
                </a:lnTo>
                <a:lnTo>
                  <a:pt x="2421846" y="547446"/>
                </a:lnTo>
                <a:lnTo>
                  <a:pt x="2427136" y="545681"/>
                </a:lnTo>
                <a:cubicBezTo>
                  <a:pt x="2427136" y="534749"/>
                  <a:pt x="2427136" y="523815"/>
                  <a:pt x="2427136" y="512882"/>
                </a:cubicBezTo>
                <a:cubicBezTo>
                  <a:pt x="2427136" y="512882"/>
                  <a:pt x="2427136" y="512882"/>
                  <a:pt x="2428958" y="514705"/>
                </a:cubicBezTo>
                <a:lnTo>
                  <a:pt x="2430746" y="503974"/>
                </a:lnTo>
                <a:lnTo>
                  <a:pt x="2430805" y="503878"/>
                </a:lnTo>
                <a:lnTo>
                  <a:pt x="2436247" y="527461"/>
                </a:lnTo>
                <a:lnTo>
                  <a:pt x="2432603" y="527461"/>
                </a:lnTo>
                <a:cubicBezTo>
                  <a:pt x="2432603" y="532926"/>
                  <a:pt x="2441713" y="534749"/>
                  <a:pt x="2439891" y="527461"/>
                </a:cubicBezTo>
                <a:lnTo>
                  <a:pt x="2436247" y="527461"/>
                </a:lnTo>
                <a:cubicBezTo>
                  <a:pt x="2438069" y="523815"/>
                  <a:pt x="2436247" y="518349"/>
                  <a:pt x="2438069" y="514705"/>
                </a:cubicBezTo>
                <a:cubicBezTo>
                  <a:pt x="2443536" y="518349"/>
                  <a:pt x="2439891" y="527461"/>
                  <a:pt x="2447180" y="529282"/>
                </a:cubicBezTo>
                <a:cubicBezTo>
                  <a:pt x="2449002" y="529282"/>
                  <a:pt x="2449002" y="523815"/>
                  <a:pt x="2450824" y="523815"/>
                </a:cubicBezTo>
                <a:cubicBezTo>
                  <a:pt x="2452647" y="525638"/>
                  <a:pt x="2449002" y="527461"/>
                  <a:pt x="2450824" y="529282"/>
                </a:cubicBezTo>
                <a:cubicBezTo>
                  <a:pt x="2452647" y="527461"/>
                  <a:pt x="2454469" y="523815"/>
                  <a:pt x="2452647" y="521993"/>
                </a:cubicBezTo>
                <a:cubicBezTo>
                  <a:pt x="2449002" y="514705"/>
                  <a:pt x="2450824" y="507417"/>
                  <a:pt x="2452647" y="500127"/>
                </a:cubicBezTo>
                <a:cubicBezTo>
                  <a:pt x="2456291" y="500127"/>
                  <a:pt x="2456291" y="496483"/>
                  <a:pt x="2458113" y="494662"/>
                </a:cubicBezTo>
                <a:cubicBezTo>
                  <a:pt x="2456291" y="498306"/>
                  <a:pt x="2458113" y="503771"/>
                  <a:pt x="2463580" y="505594"/>
                </a:cubicBezTo>
                <a:cubicBezTo>
                  <a:pt x="2465402" y="505594"/>
                  <a:pt x="2467224" y="505594"/>
                  <a:pt x="2469046" y="503771"/>
                </a:cubicBezTo>
                <a:cubicBezTo>
                  <a:pt x="2469046" y="500127"/>
                  <a:pt x="2469046" y="498306"/>
                  <a:pt x="2467224" y="496483"/>
                </a:cubicBezTo>
                <a:cubicBezTo>
                  <a:pt x="2465402" y="496483"/>
                  <a:pt x="2465402" y="496483"/>
                  <a:pt x="2463580" y="496483"/>
                </a:cubicBezTo>
                <a:cubicBezTo>
                  <a:pt x="2465402" y="492838"/>
                  <a:pt x="2469046" y="491017"/>
                  <a:pt x="2467224" y="485550"/>
                </a:cubicBezTo>
                <a:cubicBezTo>
                  <a:pt x="2465402" y="478262"/>
                  <a:pt x="2461757" y="489194"/>
                  <a:pt x="2459935" y="485550"/>
                </a:cubicBezTo>
                <a:cubicBezTo>
                  <a:pt x="2456291" y="481906"/>
                  <a:pt x="2461757" y="478262"/>
                  <a:pt x="2461757" y="474618"/>
                </a:cubicBezTo>
                <a:cubicBezTo>
                  <a:pt x="2463580" y="474618"/>
                  <a:pt x="2467224" y="474618"/>
                  <a:pt x="2469046" y="476439"/>
                </a:cubicBezTo>
                <a:cubicBezTo>
                  <a:pt x="2463580" y="472795"/>
                  <a:pt x="2467224" y="467328"/>
                  <a:pt x="2469046" y="465506"/>
                </a:cubicBezTo>
                <a:cubicBezTo>
                  <a:pt x="2467224" y="465506"/>
                  <a:pt x="2465402" y="469150"/>
                  <a:pt x="2465402" y="470972"/>
                </a:cubicBezTo>
                <a:cubicBezTo>
                  <a:pt x="2463580" y="467328"/>
                  <a:pt x="2463580" y="465506"/>
                  <a:pt x="2463580" y="463684"/>
                </a:cubicBezTo>
                <a:cubicBezTo>
                  <a:pt x="2458113" y="461862"/>
                  <a:pt x="2450824" y="467328"/>
                  <a:pt x="2452647" y="456395"/>
                </a:cubicBezTo>
                <a:lnTo>
                  <a:pt x="2454377" y="455531"/>
                </a:lnTo>
                <a:lnTo>
                  <a:pt x="2454469" y="456395"/>
                </a:lnTo>
                <a:lnTo>
                  <a:pt x="2454730" y="455354"/>
                </a:lnTo>
                <a:lnTo>
                  <a:pt x="2456291" y="454574"/>
                </a:lnTo>
                <a:cubicBezTo>
                  <a:pt x="2459935" y="456395"/>
                  <a:pt x="2461757" y="461862"/>
                  <a:pt x="2465402" y="461862"/>
                </a:cubicBezTo>
                <a:cubicBezTo>
                  <a:pt x="2467224" y="452751"/>
                  <a:pt x="2459935" y="449107"/>
                  <a:pt x="2456291" y="443640"/>
                </a:cubicBezTo>
                <a:cubicBezTo>
                  <a:pt x="2457202" y="444551"/>
                  <a:pt x="2457202" y="445463"/>
                  <a:pt x="2456747" y="447285"/>
                </a:cubicBezTo>
                <a:lnTo>
                  <a:pt x="2454730" y="455354"/>
                </a:lnTo>
                <a:lnTo>
                  <a:pt x="2454377" y="455531"/>
                </a:lnTo>
                <a:lnTo>
                  <a:pt x="2452647" y="439313"/>
                </a:lnTo>
                <a:cubicBezTo>
                  <a:pt x="2451508" y="436694"/>
                  <a:pt x="2449914" y="434587"/>
                  <a:pt x="2447807" y="433590"/>
                </a:cubicBezTo>
                <a:close/>
                <a:moveTo>
                  <a:pt x="3602438" y="432707"/>
                </a:moveTo>
                <a:lnTo>
                  <a:pt x="3604712" y="441197"/>
                </a:lnTo>
                <a:lnTo>
                  <a:pt x="3600844" y="439312"/>
                </a:lnTo>
                <a:lnTo>
                  <a:pt x="3599421" y="433462"/>
                </a:lnTo>
                <a:close/>
                <a:moveTo>
                  <a:pt x="3578750" y="432707"/>
                </a:moveTo>
                <a:cubicBezTo>
                  <a:pt x="3573284" y="432707"/>
                  <a:pt x="3576928" y="438174"/>
                  <a:pt x="3576928" y="439995"/>
                </a:cubicBezTo>
                <a:cubicBezTo>
                  <a:pt x="3582394" y="438174"/>
                  <a:pt x="3580572" y="434530"/>
                  <a:pt x="3578750" y="432707"/>
                </a:cubicBezTo>
                <a:close/>
                <a:moveTo>
                  <a:pt x="3092230" y="432707"/>
                </a:moveTo>
                <a:cubicBezTo>
                  <a:pt x="3094052" y="438174"/>
                  <a:pt x="3094052" y="443640"/>
                  <a:pt x="3097696" y="447284"/>
                </a:cubicBezTo>
                <a:cubicBezTo>
                  <a:pt x="3097696" y="447284"/>
                  <a:pt x="3095874" y="447284"/>
                  <a:pt x="3094052" y="447284"/>
                </a:cubicBezTo>
                <a:cubicBezTo>
                  <a:pt x="3095874" y="449107"/>
                  <a:pt x="3097696" y="454574"/>
                  <a:pt x="3099518" y="454574"/>
                </a:cubicBezTo>
                <a:cubicBezTo>
                  <a:pt x="3108629" y="456395"/>
                  <a:pt x="3112274" y="441819"/>
                  <a:pt x="3103163" y="434530"/>
                </a:cubicBezTo>
                <a:cubicBezTo>
                  <a:pt x="3101340" y="430886"/>
                  <a:pt x="3095874" y="430886"/>
                  <a:pt x="3092230" y="432707"/>
                </a:cubicBezTo>
                <a:close/>
                <a:moveTo>
                  <a:pt x="2106433" y="432707"/>
                </a:moveTo>
                <a:cubicBezTo>
                  <a:pt x="2100967" y="430886"/>
                  <a:pt x="2106433" y="438174"/>
                  <a:pt x="2100967" y="436351"/>
                </a:cubicBezTo>
                <a:cubicBezTo>
                  <a:pt x="2100967" y="439995"/>
                  <a:pt x="2106433" y="434530"/>
                  <a:pt x="2104611" y="439995"/>
                </a:cubicBezTo>
                <a:cubicBezTo>
                  <a:pt x="2108256" y="438174"/>
                  <a:pt x="2104611" y="436351"/>
                  <a:pt x="2106433" y="432707"/>
                </a:cubicBezTo>
                <a:close/>
                <a:moveTo>
                  <a:pt x="1078727" y="432707"/>
                </a:moveTo>
                <a:cubicBezTo>
                  <a:pt x="1076905" y="434529"/>
                  <a:pt x="1077361" y="437262"/>
                  <a:pt x="1077589" y="439768"/>
                </a:cubicBezTo>
                <a:lnTo>
                  <a:pt x="1075895" y="443618"/>
                </a:lnTo>
                <a:close/>
                <a:moveTo>
                  <a:pt x="1047750" y="432707"/>
                </a:moveTo>
                <a:lnTo>
                  <a:pt x="1048243" y="432880"/>
                </a:lnTo>
                <a:lnTo>
                  <a:pt x="1045929" y="436351"/>
                </a:lnTo>
                <a:lnTo>
                  <a:pt x="1046811" y="433333"/>
                </a:lnTo>
                <a:close/>
                <a:moveTo>
                  <a:pt x="2276807" y="432480"/>
                </a:moveTo>
                <a:cubicBezTo>
                  <a:pt x="2276352" y="431797"/>
                  <a:pt x="2274985" y="431797"/>
                  <a:pt x="2272251" y="432707"/>
                </a:cubicBezTo>
                <a:cubicBezTo>
                  <a:pt x="2272251" y="436351"/>
                  <a:pt x="2272251" y="438174"/>
                  <a:pt x="2275896" y="436351"/>
                </a:cubicBezTo>
                <a:cubicBezTo>
                  <a:pt x="2276807" y="434530"/>
                  <a:pt x="2277263" y="433163"/>
                  <a:pt x="2276807" y="432480"/>
                </a:cubicBezTo>
                <a:close/>
                <a:moveTo>
                  <a:pt x="2124655" y="430886"/>
                </a:moveTo>
                <a:cubicBezTo>
                  <a:pt x="2122833" y="436351"/>
                  <a:pt x="2124655" y="438174"/>
                  <a:pt x="2126477" y="441819"/>
                </a:cubicBezTo>
                <a:cubicBezTo>
                  <a:pt x="2128300" y="438174"/>
                  <a:pt x="2128300" y="434530"/>
                  <a:pt x="2128300" y="430886"/>
                </a:cubicBezTo>
                <a:cubicBezTo>
                  <a:pt x="2126477" y="430886"/>
                  <a:pt x="2124655" y="430886"/>
                  <a:pt x="2124655" y="430886"/>
                </a:cubicBezTo>
                <a:close/>
                <a:moveTo>
                  <a:pt x="1049573" y="430886"/>
                </a:moveTo>
                <a:lnTo>
                  <a:pt x="1050501" y="433670"/>
                </a:lnTo>
                <a:lnTo>
                  <a:pt x="1048243" y="432880"/>
                </a:lnTo>
                <a:close/>
                <a:moveTo>
                  <a:pt x="3498574" y="429063"/>
                </a:moveTo>
                <a:cubicBezTo>
                  <a:pt x="3491286" y="432707"/>
                  <a:pt x="3493108" y="441819"/>
                  <a:pt x="3493108" y="449107"/>
                </a:cubicBezTo>
                <a:cubicBezTo>
                  <a:pt x="3504041" y="449107"/>
                  <a:pt x="3509507" y="454574"/>
                  <a:pt x="3511330" y="463684"/>
                </a:cubicBezTo>
                <a:cubicBezTo>
                  <a:pt x="3513152" y="463684"/>
                  <a:pt x="3516796" y="465506"/>
                  <a:pt x="3518618" y="465506"/>
                </a:cubicBezTo>
                <a:cubicBezTo>
                  <a:pt x="3509507" y="474618"/>
                  <a:pt x="3518618" y="489194"/>
                  <a:pt x="3520440" y="500127"/>
                </a:cubicBezTo>
                <a:cubicBezTo>
                  <a:pt x="3547773" y="487373"/>
                  <a:pt x="3516796" y="452751"/>
                  <a:pt x="3514974" y="432707"/>
                </a:cubicBezTo>
                <a:cubicBezTo>
                  <a:pt x="3509507" y="436351"/>
                  <a:pt x="3511330" y="441819"/>
                  <a:pt x="3509507" y="445463"/>
                </a:cubicBezTo>
                <a:cubicBezTo>
                  <a:pt x="3505863" y="438174"/>
                  <a:pt x="3504041" y="436351"/>
                  <a:pt x="3498574" y="429063"/>
                </a:cubicBezTo>
                <a:close/>
                <a:moveTo>
                  <a:pt x="3391066" y="429063"/>
                </a:moveTo>
                <a:cubicBezTo>
                  <a:pt x="3385600" y="432707"/>
                  <a:pt x="3396532" y="436351"/>
                  <a:pt x="3400177" y="434530"/>
                </a:cubicBezTo>
                <a:cubicBezTo>
                  <a:pt x="3398355" y="425419"/>
                  <a:pt x="3392888" y="436351"/>
                  <a:pt x="3391066" y="429063"/>
                </a:cubicBezTo>
                <a:close/>
                <a:moveTo>
                  <a:pt x="3112274" y="429063"/>
                </a:moveTo>
                <a:cubicBezTo>
                  <a:pt x="3110451" y="429063"/>
                  <a:pt x="3106807" y="429063"/>
                  <a:pt x="3104985" y="430886"/>
                </a:cubicBezTo>
                <a:cubicBezTo>
                  <a:pt x="3104985" y="436351"/>
                  <a:pt x="3106807" y="439995"/>
                  <a:pt x="3112274" y="441819"/>
                </a:cubicBezTo>
                <a:cubicBezTo>
                  <a:pt x="3112274" y="438174"/>
                  <a:pt x="3114096" y="434530"/>
                  <a:pt x="3112274" y="429063"/>
                </a:cubicBezTo>
                <a:close/>
                <a:moveTo>
                  <a:pt x="3330934" y="427240"/>
                </a:moveTo>
                <a:cubicBezTo>
                  <a:pt x="3316357" y="427240"/>
                  <a:pt x="3323646" y="443640"/>
                  <a:pt x="3314535" y="443640"/>
                </a:cubicBezTo>
                <a:cubicBezTo>
                  <a:pt x="3320001" y="450928"/>
                  <a:pt x="3345512" y="443640"/>
                  <a:pt x="3336401" y="432707"/>
                </a:cubicBezTo>
                <a:cubicBezTo>
                  <a:pt x="3336401" y="432707"/>
                  <a:pt x="3329112" y="432707"/>
                  <a:pt x="3330934" y="427240"/>
                </a:cubicBezTo>
                <a:close/>
                <a:moveTo>
                  <a:pt x="3152361" y="427240"/>
                </a:moveTo>
                <a:cubicBezTo>
                  <a:pt x="3130495" y="434530"/>
                  <a:pt x="3119562" y="441819"/>
                  <a:pt x="3112274" y="463684"/>
                </a:cubicBezTo>
                <a:cubicBezTo>
                  <a:pt x="3139606" y="463684"/>
                  <a:pt x="3152361" y="452751"/>
                  <a:pt x="3152361" y="427240"/>
                </a:cubicBezTo>
                <a:close/>
                <a:moveTo>
                  <a:pt x="2177498" y="427240"/>
                </a:moveTo>
                <a:cubicBezTo>
                  <a:pt x="2177498" y="430886"/>
                  <a:pt x="2177498" y="434530"/>
                  <a:pt x="2181143" y="434530"/>
                </a:cubicBezTo>
                <a:cubicBezTo>
                  <a:pt x="2181143" y="432707"/>
                  <a:pt x="2181143" y="429063"/>
                  <a:pt x="2182965" y="429063"/>
                </a:cubicBezTo>
                <a:cubicBezTo>
                  <a:pt x="2181143" y="427240"/>
                  <a:pt x="2181143" y="429063"/>
                  <a:pt x="2177498" y="427240"/>
                </a:cubicBezTo>
                <a:close/>
                <a:moveTo>
                  <a:pt x="1488944" y="426885"/>
                </a:moveTo>
                <a:cubicBezTo>
                  <a:pt x="1489628" y="428707"/>
                  <a:pt x="1491450" y="432807"/>
                  <a:pt x="1506938" y="427341"/>
                </a:cubicBezTo>
                <a:lnTo>
                  <a:pt x="1521516" y="449207"/>
                </a:lnTo>
                <a:lnTo>
                  <a:pt x="1506938" y="449207"/>
                </a:lnTo>
                <a:lnTo>
                  <a:pt x="1477784" y="440096"/>
                </a:lnTo>
                <a:cubicBezTo>
                  <a:pt x="1488716" y="425518"/>
                  <a:pt x="1488261" y="425063"/>
                  <a:pt x="1488944" y="426885"/>
                </a:cubicBezTo>
                <a:close/>
                <a:moveTo>
                  <a:pt x="3332756" y="425419"/>
                </a:moveTo>
                <a:cubicBezTo>
                  <a:pt x="3336401" y="432707"/>
                  <a:pt x="3343690" y="430886"/>
                  <a:pt x="3349156" y="434530"/>
                </a:cubicBezTo>
                <a:cubicBezTo>
                  <a:pt x="3347334" y="432707"/>
                  <a:pt x="3341867" y="423596"/>
                  <a:pt x="3332756" y="425419"/>
                </a:cubicBezTo>
                <a:close/>
                <a:moveTo>
                  <a:pt x="2521889" y="425419"/>
                </a:moveTo>
                <a:cubicBezTo>
                  <a:pt x="2521889" y="427240"/>
                  <a:pt x="2518245" y="434530"/>
                  <a:pt x="2521889" y="438174"/>
                </a:cubicBezTo>
                <a:cubicBezTo>
                  <a:pt x="2525534" y="439995"/>
                  <a:pt x="2525534" y="434530"/>
                  <a:pt x="2525534" y="432707"/>
                </a:cubicBezTo>
                <a:cubicBezTo>
                  <a:pt x="2523711" y="439995"/>
                  <a:pt x="2531000" y="441819"/>
                  <a:pt x="2536466" y="438174"/>
                </a:cubicBezTo>
                <a:cubicBezTo>
                  <a:pt x="2540111" y="436351"/>
                  <a:pt x="2534644" y="430886"/>
                  <a:pt x="2536466" y="427240"/>
                </a:cubicBezTo>
                <a:cubicBezTo>
                  <a:pt x="2532822" y="429063"/>
                  <a:pt x="2527356" y="425419"/>
                  <a:pt x="2521889" y="425419"/>
                </a:cubicBezTo>
                <a:close/>
                <a:moveTo>
                  <a:pt x="2516423" y="425419"/>
                </a:moveTo>
                <a:cubicBezTo>
                  <a:pt x="2514600" y="425419"/>
                  <a:pt x="2512778" y="427240"/>
                  <a:pt x="2512778" y="432707"/>
                </a:cubicBezTo>
                <a:cubicBezTo>
                  <a:pt x="2516423" y="432707"/>
                  <a:pt x="2516423" y="434530"/>
                  <a:pt x="2518245" y="432707"/>
                </a:cubicBezTo>
                <a:cubicBezTo>
                  <a:pt x="2520067" y="427240"/>
                  <a:pt x="2516423" y="427240"/>
                  <a:pt x="2516423" y="425419"/>
                </a:cubicBezTo>
                <a:close/>
                <a:moveTo>
                  <a:pt x="2463580" y="425419"/>
                </a:moveTo>
                <a:cubicBezTo>
                  <a:pt x="2459935" y="425419"/>
                  <a:pt x="2459935" y="429063"/>
                  <a:pt x="2459935" y="432707"/>
                </a:cubicBezTo>
                <a:cubicBezTo>
                  <a:pt x="2467224" y="423596"/>
                  <a:pt x="2459935" y="438174"/>
                  <a:pt x="2467224" y="434530"/>
                </a:cubicBezTo>
                <a:cubicBezTo>
                  <a:pt x="2465402" y="432707"/>
                  <a:pt x="2465402" y="430886"/>
                  <a:pt x="2467224" y="427240"/>
                </a:cubicBezTo>
                <a:cubicBezTo>
                  <a:pt x="2465402" y="429063"/>
                  <a:pt x="2463580" y="427240"/>
                  <a:pt x="2463580" y="425419"/>
                </a:cubicBezTo>
                <a:close/>
                <a:moveTo>
                  <a:pt x="3595150" y="423596"/>
                </a:moveTo>
                <a:cubicBezTo>
                  <a:pt x="3595150" y="423596"/>
                  <a:pt x="3596972" y="423596"/>
                  <a:pt x="3598794" y="423596"/>
                </a:cubicBezTo>
                <a:cubicBezTo>
                  <a:pt x="3600616" y="425419"/>
                  <a:pt x="3600616" y="427240"/>
                  <a:pt x="3600616" y="429063"/>
                </a:cubicBezTo>
                <a:cubicBezTo>
                  <a:pt x="3596972" y="429063"/>
                  <a:pt x="3595150" y="427240"/>
                  <a:pt x="3595150" y="423596"/>
                </a:cubicBezTo>
                <a:close/>
                <a:moveTo>
                  <a:pt x="3170583" y="423596"/>
                </a:moveTo>
                <a:lnTo>
                  <a:pt x="3166939" y="430886"/>
                </a:lnTo>
                <a:cubicBezTo>
                  <a:pt x="3168761" y="434530"/>
                  <a:pt x="3172405" y="434530"/>
                  <a:pt x="3174227" y="434530"/>
                </a:cubicBezTo>
                <a:cubicBezTo>
                  <a:pt x="3170583" y="441819"/>
                  <a:pt x="3183338" y="452751"/>
                  <a:pt x="3185160" y="449107"/>
                </a:cubicBezTo>
                <a:cubicBezTo>
                  <a:pt x="3190627" y="443640"/>
                  <a:pt x="3190627" y="436351"/>
                  <a:pt x="3196093" y="430886"/>
                </a:cubicBezTo>
                <a:cubicBezTo>
                  <a:pt x="3185160" y="429063"/>
                  <a:pt x="3181516" y="423596"/>
                  <a:pt x="3170583" y="423596"/>
                </a:cubicBezTo>
                <a:close/>
                <a:moveTo>
                  <a:pt x="2157910" y="422457"/>
                </a:moveTo>
                <a:cubicBezTo>
                  <a:pt x="2155177" y="422685"/>
                  <a:pt x="2151988" y="423596"/>
                  <a:pt x="2148344" y="423596"/>
                </a:cubicBezTo>
                <a:cubicBezTo>
                  <a:pt x="2150166" y="429063"/>
                  <a:pt x="2161099" y="425419"/>
                  <a:pt x="2164743" y="425419"/>
                </a:cubicBezTo>
                <a:cubicBezTo>
                  <a:pt x="2162921" y="422685"/>
                  <a:pt x="2160644" y="422230"/>
                  <a:pt x="2157910" y="422457"/>
                </a:cubicBezTo>
                <a:close/>
                <a:moveTo>
                  <a:pt x="2240819" y="422002"/>
                </a:moveTo>
                <a:cubicBezTo>
                  <a:pt x="2239452" y="421319"/>
                  <a:pt x="2237630" y="421774"/>
                  <a:pt x="2235808" y="423596"/>
                </a:cubicBezTo>
                <a:cubicBezTo>
                  <a:pt x="2239452" y="425419"/>
                  <a:pt x="2237630" y="430886"/>
                  <a:pt x="2243096" y="427240"/>
                </a:cubicBezTo>
                <a:cubicBezTo>
                  <a:pt x="2243096" y="424508"/>
                  <a:pt x="2242185" y="422686"/>
                  <a:pt x="2240819" y="422002"/>
                </a:cubicBezTo>
                <a:close/>
                <a:moveTo>
                  <a:pt x="3591505" y="421775"/>
                </a:moveTo>
                <a:cubicBezTo>
                  <a:pt x="3591505" y="421775"/>
                  <a:pt x="3593327" y="423596"/>
                  <a:pt x="3593327" y="427240"/>
                </a:cubicBezTo>
                <a:lnTo>
                  <a:pt x="3589430" y="427240"/>
                </a:lnTo>
                <a:lnTo>
                  <a:pt x="3588889" y="423344"/>
                </a:lnTo>
                <a:close/>
                <a:moveTo>
                  <a:pt x="3571461" y="421775"/>
                </a:moveTo>
                <a:cubicBezTo>
                  <a:pt x="3571461" y="430886"/>
                  <a:pt x="3576928" y="425419"/>
                  <a:pt x="3576928" y="427240"/>
                </a:cubicBezTo>
                <a:cubicBezTo>
                  <a:pt x="3580572" y="427240"/>
                  <a:pt x="3580572" y="423596"/>
                  <a:pt x="3580572" y="421775"/>
                </a:cubicBezTo>
                <a:cubicBezTo>
                  <a:pt x="3578750" y="421775"/>
                  <a:pt x="3573284" y="421775"/>
                  <a:pt x="3571461" y="421775"/>
                </a:cubicBezTo>
                <a:close/>
                <a:moveTo>
                  <a:pt x="2383404" y="421775"/>
                </a:moveTo>
                <a:cubicBezTo>
                  <a:pt x="2381582" y="423596"/>
                  <a:pt x="2381582" y="432707"/>
                  <a:pt x="2387048" y="430886"/>
                </a:cubicBezTo>
                <a:cubicBezTo>
                  <a:pt x="2387048" y="425419"/>
                  <a:pt x="2383404" y="425419"/>
                  <a:pt x="2383404" y="421775"/>
                </a:cubicBezTo>
                <a:close/>
                <a:moveTo>
                  <a:pt x="3371022" y="419952"/>
                </a:moveTo>
                <a:cubicBezTo>
                  <a:pt x="3365556" y="421775"/>
                  <a:pt x="3369200" y="425419"/>
                  <a:pt x="3365556" y="427240"/>
                </a:cubicBezTo>
                <a:cubicBezTo>
                  <a:pt x="3369200" y="429063"/>
                  <a:pt x="3374666" y="427240"/>
                  <a:pt x="3376489" y="429063"/>
                </a:cubicBezTo>
                <a:cubicBezTo>
                  <a:pt x="3380133" y="423596"/>
                  <a:pt x="3371022" y="423596"/>
                  <a:pt x="3371022" y="419952"/>
                </a:cubicBezTo>
                <a:close/>
                <a:moveTo>
                  <a:pt x="2397981" y="419952"/>
                </a:moveTo>
                <a:cubicBezTo>
                  <a:pt x="2396159" y="427240"/>
                  <a:pt x="2401626" y="434530"/>
                  <a:pt x="2401626" y="439995"/>
                </a:cubicBezTo>
                <a:cubicBezTo>
                  <a:pt x="2407092" y="430886"/>
                  <a:pt x="2419847" y="430886"/>
                  <a:pt x="2418025" y="423596"/>
                </a:cubicBezTo>
                <a:cubicBezTo>
                  <a:pt x="2408914" y="425419"/>
                  <a:pt x="2407092" y="418129"/>
                  <a:pt x="2397981" y="419952"/>
                </a:cubicBezTo>
                <a:close/>
                <a:moveTo>
                  <a:pt x="2108256" y="419952"/>
                </a:moveTo>
                <a:cubicBezTo>
                  <a:pt x="2106433" y="419952"/>
                  <a:pt x="2104611" y="421775"/>
                  <a:pt x="2102790" y="421775"/>
                </a:cubicBezTo>
                <a:cubicBezTo>
                  <a:pt x="2100967" y="423596"/>
                  <a:pt x="2100967" y="423596"/>
                  <a:pt x="2100967" y="425419"/>
                </a:cubicBezTo>
                <a:cubicBezTo>
                  <a:pt x="2102790" y="425419"/>
                  <a:pt x="2102790" y="425419"/>
                  <a:pt x="2102790" y="425419"/>
                </a:cubicBezTo>
                <a:cubicBezTo>
                  <a:pt x="2106433" y="425419"/>
                  <a:pt x="2108256" y="423596"/>
                  <a:pt x="2108256" y="419952"/>
                </a:cubicBezTo>
                <a:close/>
                <a:moveTo>
                  <a:pt x="1271878" y="419952"/>
                </a:moveTo>
                <a:cubicBezTo>
                  <a:pt x="1273700" y="430886"/>
                  <a:pt x="1264589" y="441819"/>
                  <a:pt x="1266411" y="452751"/>
                </a:cubicBezTo>
                <a:cubicBezTo>
                  <a:pt x="1266411" y="452751"/>
                  <a:pt x="1268233" y="449107"/>
                  <a:pt x="1270056" y="450928"/>
                </a:cubicBezTo>
                <a:lnTo>
                  <a:pt x="1263453" y="460036"/>
                </a:lnTo>
                <a:lnTo>
                  <a:pt x="1264361" y="457079"/>
                </a:lnTo>
                <a:cubicBezTo>
                  <a:pt x="1265955" y="449107"/>
                  <a:pt x="1266411" y="440907"/>
                  <a:pt x="1264589" y="432707"/>
                </a:cubicBezTo>
                <a:cubicBezTo>
                  <a:pt x="1264589" y="434530"/>
                  <a:pt x="1266411" y="438174"/>
                  <a:pt x="1268233" y="436351"/>
                </a:cubicBezTo>
                <a:cubicBezTo>
                  <a:pt x="1271878" y="430886"/>
                  <a:pt x="1268233" y="423596"/>
                  <a:pt x="1271878" y="419952"/>
                </a:cubicBezTo>
                <a:close/>
                <a:moveTo>
                  <a:pt x="532075" y="419952"/>
                </a:moveTo>
                <a:cubicBezTo>
                  <a:pt x="532986" y="424508"/>
                  <a:pt x="534809" y="427696"/>
                  <a:pt x="537086" y="430430"/>
                </a:cubicBezTo>
                <a:lnTo>
                  <a:pt x="544319" y="437663"/>
                </a:lnTo>
                <a:lnTo>
                  <a:pt x="539364" y="487373"/>
                </a:lnTo>
                <a:cubicBezTo>
                  <a:pt x="540276" y="484639"/>
                  <a:pt x="539364" y="481906"/>
                  <a:pt x="537769" y="479400"/>
                </a:cubicBezTo>
                <a:lnTo>
                  <a:pt x="536785" y="478259"/>
                </a:lnTo>
                <a:lnTo>
                  <a:pt x="540958" y="456851"/>
                </a:lnTo>
                <a:cubicBezTo>
                  <a:pt x="542097" y="447740"/>
                  <a:pt x="541186" y="439085"/>
                  <a:pt x="533897" y="432707"/>
                </a:cubicBezTo>
                <a:cubicBezTo>
                  <a:pt x="533897" y="434530"/>
                  <a:pt x="533897" y="436351"/>
                  <a:pt x="533897" y="438174"/>
                </a:cubicBezTo>
                <a:cubicBezTo>
                  <a:pt x="533897" y="430886"/>
                  <a:pt x="530253" y="425419"/>
                  <a:pt x="532075" y="419952"/>
                </a:cubicBezTo>
                <a:close/>
                <a:moveTo>
                  <a:pt x="2797038" y="418221"/>
                </a:moveTo>
                <a:cubicBezTo>
                  <a:pt x="2795216" y="449198"/>
                  <a:pt x="2802505" y="441909"/>
                  <a:pt x="2775172" y="449198"/>
                </a:cubicBezTo>
                <a:cubicBezTo>
                  <a:pt x="2780639" y="423688"/>
                  <a:pt x="2778817" y="430976"/>
                  <a:pt x="2797038" y="418221"/>
                </a:cubicBezTo>
                <a:close/>
                <a:moveTo>
                  <a:pt x="3360089" y="418129"/>
                </a:moveTo>
                <a:cubicBezTo>
                  <a:pt x="3356445" y="418129"/>
                  <a:pt x="3352800" y="419952"/>
                  <a:pt x="3350978" y="421775"/>
                </a:cubicBezTo>
                <a:cubicBezTo>
                  <a:pt x="3350978" y="421775"/>
                  <a:pt x="3349156" y="419952"/>
                  <a:pt x="3347334" y="419952"/>
                </a:cubicBezTo>
                <a:cubicBezTo>
                  <a:pt x="3350978" y="423596"/>
                  <a:pt x="3349156" y="430886"/>
                  <a:pt x="3352800" y="430886"/>
                </a:cubicBezTo>
                <a:cubicBezTo>
                  <a:pt x="3356445" y="430886"/>
                  <a:pt x="3360089" y="423596"/>
                  <a:pt x="3360089" y="418129"/>
                </a:cubicBezTo>
                <a:close/>
                <a:moveTo>
                  <a:pt x="3279913" y="418129"/>
                </a:moveTo>
                <a:cubicBezTo>
                  <a:pt x="3279913" y="421775"/>
                  <a:pt x="3279913" y="425419"/>
                  <a:pt x="3276269" y="425419"/>
                </a:cubicBezTo>
                <a:cubicBezTo>
                  <a:pt x="3281736" y="430886"/>
                  <a:pt x="3290847" y="429063"/>
                  <a:pt x="3298135" y="432707"/>
                </a:cubicBezTo>
                <a:cubicBezTo>
                  <a:pt x="3298135" y="425419"/>
                  <a:pt x="3290847" y="416308"/>
                  <a:pt x="3279913" y="418129"/>
                </a:cubicBezTo>
                <a:close/>
                <a:moveTo>
                  <a:pt x="3232537" y="418129"/>
                </a:moveTo>
                <a:cubicBezTo>
                  <a:pt x="3230715" y="418129"/>
                  <a:pt x="3232537" y="421775"/>
                  <a:pt x="3232537" y="423596"/>
                </a:cubicBezTo>
                <a:cubicBezTo>
                  <a:pt x="3236181" y="423596"/>
                  <a:pt x="3238003" y="425419"/>
                  <a:pt x="3239826" y="423596"/>
                </a:cubicBezTo>
                <a:cubicBezTo>
                  <a:pt x="3239826" y="418129"/>
                  <a:pt x="3234359" y="419952"/>
                  <a:pt x="3232537" y="418129"/>
                </a:cubicBezTo>
                <a:close/>
                <a:moveTo>
                  <a:pt x="2385226" y="418129"/>
                </a:moveTo>
                <a:cubicBezTo>
                  <a:pt x="2385226" y="421775"/>
                  <a:pt x="2387048" y="423596"/>
                  <a:pt x="2387048" y="427240"/>
                </a:cubicBezTo>
                <a:cubicBezTo>
                  <a:pt x="2392515" y="419952"/>
                  <a:pt x="2392515" y="434530"/>
                  <a:pt x="2394337" y="438174"/>
                </a:cubicBezTo>
                <a:cubicBezTo>
                  <a:pt x="2397981" y="430886"/>
                  <a:pt x="2394337" y="414485"/>
                  <a:pt x="2385226" y="418129"/>
                </a:cubicBezTo>
                <a:close/>
                <a:moveTo>
                  <a:pt x="1971592" y="418129"/>
                </a:moveTo>
                <a:lnTo>
                  <a:pt x="1971447" y="418711"/>
                </a:lnTo>
                <a:lnTo>
                  <a:pt x="1975237" y="419974"/>
                </a:lnTo>
                <a:lnTo>
                  <a:pt x="1975638" y="419478"/>
                </a:lnTo>
                <a:close/>
                <a:moveTo>
                  <a:pt x="3587218" y="416522"/>
                </a:moveTo>
                <a:lnTo>
                  <a:pt x="3591505" y="419952"/>
                </a:lnTo>
                <a:lnTo>
                  <a:pt x="3588055" y="419262"/>
                </a:lnTo>
                <a:close/>
                <a:moveTo>
                  <a:pt x="3329112" y="416308"/>
                </a:moveTo>
                <a:cubicBezTo>
                  <a:pt x="3325468" y="418129"/>
                  <a:pt x="3329112" y="423596"/>
                  <a:pt x="3330934" y="423596"/>
                </a:cubicBezTo>
                <a:cubicBezTo>
                  <a:pt x="3332756" y="423596"/>
                  <a:pt x="3334579" y="423596"/>
                  <a:pt x="3336401" y="421775"/>
                </a:cubicBezTo>
                <a:cubicBezTo>
                  <a:pt x="3336401" y="416308"/>
                  <a:pt x="3329112" y="421775"/>
                  <a:pt x="3329112" y="416308"/>
                </a:cubicBezTo>
                <a:close/>
                <a:moveTo>
                  <a:pt x="3064897" y="416308"/>
                </a:moveTo>
                <a:cubicBezTo>
                  <a:pt x="3063075" y="418129"/>
                  <a:pt x="3063075" y="418129"/>
                  <a:pt x="3061253" y="418129"/>
                </a:cubicBezTo>
                <a:cubicBezTo>
                  <a:pt x="3057608" y="429063"/>
                  <a:pt x="3064897" y="425419"/>
                  <a:pt x="3070363" y="430886"/>
                </a:cubicBezTo>
                <a:cubicBezTo>
                  <a:pt x="3077652" y="423596"/>
                  <a:pt x="3061253" y="423596"/>
                  <a:pt x="3064897" y="416308"/>
                </a:cubicBezTo>
                <a:close/>
                <a:moveTo>
                  <a:pt x="2246741" y="416308"/>
                </a:moveTo>
                <a:cubicBezTo>
                  <a:pt x="2248563" y="421775"/>
                  <a:pt x="2250385" y="425419"/>
                  <a:pt x="2254030" y="427240"/>
                </a:cubicBezTo>
                <a:cubicBezTo>
                  <a:pt x="2252207" y="423596"/>
                  <a:pt x="2250385" y="423596"/>
                  <a:pt x="2252207" y="418129"/>
                </a:cubicBezTo>
                <a:cubicBezTo>
                  <a:pt x="2250385" y="418129"/>
                  <a:pt x="2250385" y="416308"/>
                  <a:pt x="2246741" y="416308"/>
                </a:cubicBezTo>
                <a:close/>
                <a:moveTo>
                  <a:pt x="3220921" y="415624"/>
                </a:moveTo>
                <a:cubicBezTo>
                  <a:pt x="3217960" y="414941"/>
                  <a:pt x="3215227" y="415396"/>
                  <a:pt x="3212493" y="418129"/>
                </a:cubicBezTo>
                <a:cubicBezTo>
                  <a:pt x="3212493" y="421775"/>
                  <a:pt x="3216137" y="421775"/>
                  <a:pt x="3216137" y="418129"/>
                </a:cubicBezTo>
                <a:cubicBezTo>
                  <a:pt x="3219782" y="419952"/>
                  <a:pt x="3219782" y="425419"/>
                  <a:pt x="3219782" y="429063"/>
                </a:cubicBezTo>
                <a:cubicBezTo>
                  <a:pt x="3216137" y="432707"/>
                  <a:pt x="3216137" y="421775"/>
                  <a:pt x="3214315" y="423596"/>
                </a:cubicBezTo>
                <a:cubicBezTo>
                  <a:pt x="3210671" y="423596"/>
                  <a:pt x="3208849" y="429063"/>
                  <a:pt x="3212493" y="432707"/>
                </a:cubicBezTo>
                <a:cubicBezTo>
                  <a:pt x="3214315" y="434530"/>
                  <a:pt x="3219782" y="434530"/>
                  <a:pt x="3223426" y="436351"/>
                </a:cubicBezTo>
                <a:cubicBezTo>
                  <a:pt x="3219782" y="438174"/>
                  <a:pt x="3214315" y="434530"/>
                  <a:pt x="3210671" y="436351"/>
                </a:cubicBezTo>
                <a:cubicBezTo>
                  <a:pt x="3225248" y="447284"/>
                  <a:pt x="3245292" y="452751"/>
                  <a:pt x="3239826" y="430886"/>
                </a:cubicBezTo>
                <a:cubicBezTo>
                  <a:pt x="3236181" y="430886"/>
                  <a:pt x="3234359" y="434530"/>
                  <a:pt x="3230715" y="436351"/>
                </a:cubicBezTo>
                <a:cubicBezTo>
                  <a:pt x="3234359" y="432707"/>
                  <a:pt x="3228893" y="425419"/>
                  <a:pt x="3230715" y="419952"/>
                </a:cubicBezTo>
                <a:cubicBezTo>
                  <a:pt x="3227071" y="418130"/>
                  <a:pt x="3223882" y="416308"/>
                  <a:pt x="3220921" y="415624"/>
                </a:cubicBezTo>
                <a:close/>
                <a:moveTo>
                  <a:pt x="2208020" y="413347"/>
                </a:moveTo>
                <a:cubicBezTo>
                  <a:pt x="2206198" y="412664"/>
                  <a:pt x="2203920" y="412664"/>
                  <a:pt x="2201187" y="414485"/>
                </a:cubicBezTo>
                <a:cubicBezTo>
                  <a:pt x="2204831" y="414485"/>
                  <a:pt x="2208475" y="419952"/>
                  <a:pt x="2212120" y="416308"/>
                </a:cubicBezTo>
                <a:cubicBezTo>
                  <a:pt x="2211209" y="415396"/>
                  <a:pt x="2209842" y="414030"/>
                  <a:pt x="2208020" y="413347"/>
                </a:cubicBezTo>
                <a:close/>
                <a:moveTo>
                  <a:pt x="3494930" y="412664"/>
                </a:moveTo>
                <a:cubicBezTo>
                  <a:pt x="3489463" y="414485"/>
                  <a:pt x="3487641" y="410841"/>
                  <a:pt x="3487641" y="418129"/>
                </a:cubicBezTo>
                <a:cubicBezTo>
                  <a:pt x="3487641" y="421775"/>
                  <a:pt x="3493108" y="418129"/>
                  <a:pt x="3494930" y="419952"/>
                </a:cubicBezTo>
                <a:cubicBezTo>
                  <a:pt x="3498574" y="419952"/>
                  <a:pt x="3494930" y="416308"/>
                  <a:pt x="3494930" y="412664"/>
                </a:cubicBezTo>
                <a:close/>
                <a:moveTo>
                  <a:pt x="2374293" y="412664"/>
                </a:moveTo>
                <a:cubicBezTo>
                  <a:pt x="2363360" y="410841"/>
                  <a:pt x="2359716" y="432707"/>
                  <a:pt x="2365182" y="441819"/>
                </a:cubicBezTo>
                <a:cubicBezTo>
                  <a:pt x="2365182" y="438174"/>
                  <a:pt x="2365182" y="436351"/>
                  <a:pt x="2365182" y="432707"/>
                </a:cubicBezTo>
                <a:cubicBezTo>
                  <a:pt x="2368827" y="434530"/>
                  <a:pt x="2370649" y="434530"/>
                  <a:pt x="2367004" y="429063"/>
                </a:cubicBezTo>
                <a:cubicBezTo>
                  <a:pt x="2377937" y="427240"/>
                  <a:pt x="2381582" y="414485"/>
                  <a:pt x="2374293" y="412664"/>
                </a:cubicBezTo>
                <a:close/>
                <a:moveTo>
                  <a:pt x="2361538" y="412664"/>
                </a:moveTo>
                <a:cubicBezTo>
                  <a:pt x="2357893" y="414485"/>
                  <a:pt x="2356071" y="414485"/>
                  <a:pt x="2356071" y="421775"/>
                </a:cubicBezTo>
                <a:cubicBezTo>
                  <a:pt x="2354249" y="419952"/>
                  <a:pt x="2354249" y="418129"/>
                  <a:pt x="2354249" y="416308"/>
                </a:cubicBezTo>
                <a:cubicBezTo>
                  <a:pt x="2343316" y="418129"/>
                  <a:pt x="2334205" y="429063"/>
                  <a:pt x="2323272" y="434530"/>
                </a:cubicBezTo>
                <a:cubicBezTo>
                  <a:pt x="2322361" y="438174"/>
                  <a:pt x="2324184" y="440907"/>
                  <a:pt x="2325322" y="443413"/>
                </a:cubicBezTo>
                <a:lnTo>
                  <a:pt x="2325003" y="444583"/>
                </a:lnTo>
                <a:lnTo>
                  <a:pt x="2323044" y="441818"/>
                </a:lnTo>
                <a:cubicBezTo>
                  <a:pt x="2321450" y="442274"/>
                  <a:pt x="2319628" y="444551"/>
                  <a:pt x="2317806" y="447284"/>
                </a:cubicBezTo>
                <a:cubicBezTo>
                  <a:pt x="2315983" y="452751"/>
                  <a:pt x="2319628" y="458218"/>
                  <a:pt x="2321450" y="461862"/>
                </a:cubicBezTo>
                <a:cubicBezTo>
                  <a:pt x="2325550" y="456395"/>
                  <a:pt x="2320425" y="451954"/>
                  <a:pt x="2322218" y="449306"/>
                </a:cubicBezTo>
                <a:lnTo>
                  <a:pt x="2323914" y="448576"/>
                </a:lnTo>
                <a:lnTo>
                  <a:pt x="2323272" y="450928"/>
                </a:lnTo>
                <a:cubicBezTo>
                  <a:pt x="2326916" y="454574"/>
                  <a:pt x="2325094" y="458218"/>
                  <a:pt x="2325094" y="461862"/>
                </a:cubicBezTo>
                <a:cubicBezTo>
                  <a:pt x="2326916" y="460039"/>
                  <a:pt x="2326916" y="458218"/>
                  <a:pt x="2328739" y="454574"/>
                </a:cubicBezTo>
                <a:cubicBezTo>
                  <a:pt x="2332383" y="458218"/>
                  <a:pt x="2337850" y="458218"/>
                  <a:pt x="2337850" y="465506"/>
                </a:cubicBezTo>
                <a:cubicBezTo>
                  <a:pt x="2346960" y="452751"/>
                  <a:pt x="2334205" y="450928"/>
                  <a:pt x="2328739" y="449107"/>
                </a:cubicBezTo>
                <a:cubicBezTo>
                  <a:pt x="2336027" y="445463"/>
                  <a:pt x="2339672" y="450928"/>
                  <a:pt x="2339672" y="438174"/>
                </a:cubicBezTo>
                <a:cubicBezTo>
                  <a:pt x="2343316" y="439995"/>
                  <a:pt x="2343316" y="443640"/>
                  <a:pt x="2345138" y="441819"/>
                </a:cubicBezTo>
                <a:cubicBezTo>
                  <a:pt x="2346960" y="438174"/>
                  <a:pt x="2343316" y="434530"/>
                  <a:pt x="2345138" y="429063"/>
                </a:cubicBezTo>
                <a:cubicBezTo>
                  <a:pt x="2348782" y="430886"/>
                  <a:pt x="2354249" y="429063"/>
                  <a:pt x="2357893" y="423596"/>
                </a:cubicBezTo>
                <a:cubicBezTo>
                  <a:pt x="2359716" y="423596"/>
                  <a:pt x="2359716" y="425419"/>
                  <a:pt x="2359716" y="427240"/>
                </a:cubicBezTo>
                <a:cubicBezTo>
                  <a:pt x="2363360" y="421775"/>
                  <a:pt x="2367004" y="410841"/>
                  <a:pt x="2361538" y="412664"/>
                </a:cubicBezTo>
                <a:close/>
                <a:moveTo>
                  <a:pt x="2259496" y="412664"/>
                </a:moveTo>
                <a:cubicBezTo>
                  <a:pt x="2255852" y="416308"/>
                  <a:pt x="2261318" y="421775"/>
                  <a:pt x="2266785" y="419952"/>
                </a:cubicBezTo>
                <a:cubicBezTo>
                  <a:pt x="2266785" y="414485"/>
                  <a:pt x="2259496" y="418129"/>
                  <a:pt x="2259496" y="412664"/>
                </a:cubicBezTo>
                <a:close/>
                <a:moveTo>
                  <a:pt x="2611176" y="410841"/>
                </a:moveTo>
                <a:cubicBezTo>
                  <a:pt x="2605709" y="412664"/>
                  <a:pt x="2607531" y="416308"/>
                  <a:pt x="2609353" y="418129"/>
                </a:cubicBezTo>
                <a:cubicBezTo>
                  <a:pt x="2611176" y="418129"/>
                  <a:pt x="2609353" y="410841"/>
                  <a:pt x="2611176" y="410841"/>
                </a:cubicBezTo>
                <a:close/>
                <a:moveTo>
                  <a:pt x="2162921" y="410841"/>
                </a:moveTo>
                <a:cubicBezTo>
                  <a:pt x="2161099" y="412664"/>
                  <a:pt x="2157454" y="409019"/>
                  <a:pt x="2157454" y="414485"/>
                </a:cubicBezTo>
                <a:cubicBezTo>
                  <a:pt x="2159277" y="414485"/>
                  <a:pt x="2162921" y="414485"/>
                  <a:pt x="2162921" y="412664"/>
                </a:cubicBezTo>
                <a:cubicBezTo>
                  <a:pt x="2162921" y="412664"/>
                  <a:pt x="2162921" y="410841"/>
                  <a:pt x="2162921" y="410841"/>
                </a:cubicBezTo>
                <a:close/>
                <a:moveTo>
                  <a:pt x="2119189" y="410841"/>
                </a:moveTo>
                <a:cubicBezTo>
                  <a:pt x="2111900" y="412664"/>
                  <a:pt x="2117366" y="421775"/>
                  <a:pt x="2122833" y="421775"/>
                </a:cubicBezTo>
                <a:cubicBezTo>
                  <a:pt x="2122833" y="418129"/>
                  <a:pt x="2126477" y="418129"/>
                  <a:pt x="2128300" y="414485"/>
                </a:cubicBezTo>
                <a:cubicBezTo>
                  <a:pt x="2126477" y="414485"/>
                  <a:pt x="2126477" y="414485"/>
                  <a:pt x="2126477" y="412664"/>
                </a:cubicBezTo>
                <a:cubicBezTo>
                  <a:pt x="2122833" y="414485"/>
                  <a:pt x="2121011" y="416308"/>
                  <a:pt x="2119189" y="410841"/>
                </a:cubicBezTo>
                <a:close/>
                <a:moveTo>
                  <a:pt x="475589" y="410841"/>
                </a:moveTo>
                <a:lnTo>
                  <a:pt x="487454" y="425455"/>
                </a:lnTo>
                <a:lnTo>
                  <a:pt x="485154" y="423368"/>
                </a:lnTo>
                <a:cubicBezTo>
                  <a:pt x="481965" y="419496"/>
                  <a:pt x="479232" y="415396"/>
                  <a:pt x="475589" y="410841"/>
                </a:cubicBezTo>
                <a:close/>
                <a:moveTo>
                  <a:pt x="2171577" y="410158"/>
                </a:moveTo>
                <a:cubicBezTo>
                  <a:pt x="2170210" y="409019"/>
                  <a:pt x="2168388" y="409019"/>
                  <a:pt x="2166565" y="410841"/>
                </a:cubicBezTo>
                <a:cubicBezTo>
                  <a:pt x="2168387" y="414485"/>
                  <a:pt x="2170210" y="416308"/>
                  <a:pt x="2173854" y="416308"/>
                </a:cubicBezTo>
                <a:cubicBezTo>
                  <a:pt x="2173854" y="413574"/>
                  <a:pt x="2172943" y="411297"/>
                  <a:pt x="2171577" y="410158"/>
                </a:cubicBezTo>
                <a:close/>
                <a:moveTo>
                  <a:pt x="1887772" y="409037"/>
                </a:moveTo>
                <a:cubicBezTo>
                  <a:pt x="1893239" y="410859"/>
                  <a:pt x="1889594" y="416325"/>
                  <a:pt x="1891417" y="416325"/>
                </a:cubicBezTo>
                <a:cubicBezTo>
                  <a:pt x="1885950" y="418147"/>
                  <a:pt x="1885950" y="410859"/>
                  <a:pt x="1887772" y="409037"/>
                </a:cubicBezTo>
                <a:close/>
                <a:moveTo>
                  <a:pt x="2139233" y="409019"/>
                </a:moveTo>
                <a:cubicBezTo>
                  <a:pt x="2135588" y="409019"/>
                  <a:pt x="2137410" y="419952"/>
                  <a:pt x="2141055" y="418129"/>
                </a:cubicBezTo>
                <a:cubicBezTo>
                  <a:pt x="2139233" y="414485"/>
                  <a:pt x="2139233" y="412664"/>
                  <a:pt x="2139233" y="409019"/>
                </a:cubicBezTo>
                <a:close/>
                <a:moveTo>
                  <a:pt x="3050319" y="407196"/>
                </a:moveTo>
                <a:cubicBezTo>
                  <a:pt x="3046675" y="407196"/>
                  <a:pt x="3044853" y="414485"/>
                  <a:pt x="3048497" y="418129"/>
                </a:cubicBezTo>
                <a:cubicBezTo>
                  <a:pt x="3048497" y="414485"/>
                  <a:pt x="3052142" y="412664"/>
                  <a:pt x="3050319" y="407196"/>
                </a:cubicBezTo>
                <a:close/>
                <a:moveTo>
                  <a:pt x="2097323" y="407196"/>
                </a:moveTo>
                <a:cubicBezTo>
                  <a:pt x="2099145" y="412664"/>
                  <a:pt x="2099145" y="416308"/>
                  <a:pt x="2099145" y="418129"/>
                </a:cubicBezTo>
                <a:lnTo>
                  <a:pt x="2102790" y="419952"/>
                </a:lnTo>
                <a:cubicBezTo>
                  <a:pt x="2102790" y="418129"/>
                  <a:pt x="2104611" y="416308"/>
                  <a:pt x="2104611" y="412664"/>
                </a:cubicBezTo>
                <a:cubicBezTo>
                  <a:pt x="2099145" y="412664"/>
                  <a:pt x="2099145" y="410841"/>
                  <a:pt x="2100967" y="407196"/>
                </a:cubicBezTo>
                <a:cubicBezTo>
                  <a:pt x="2099145" y="407196"/>
                  <a:pt x="2099145" y="407196"/>
                  <a:pt x="2097323" y="407196"/>
                </a:cubicBezTo>
                <a:close/>
                <a:moveTo>
                  <a:pt x="2080923" y="407196"/>
                </a:moveTo>
                <a:lnTo>
                  <a:pt x="2081290" y="407930"/>
                </a:lnTo>
                <a:lnTo>
                  <a:pt x="2081033" y="409128"/>
                </a:lnTo>
                <a:lnTo>
                  <a:pt x="2080923" y="409019"/>
                </a:lnTo>
                <a:lnTo>
                  <a:pt x="2079101" y="410841"/>
                </a:lnTo>
                <a:cubicBezTo>
                  <a:pt x="2079101" y="409019"/>
                  <a:pt x="2079101" y="407196"/>
                  <a:pt x="2080923" y="407196"/>
                </a:cubicBezTo>
                <a:close/>
                <a:moveTo>
                  <a:pt x="3349156" y="405375"/>
                </a:moveTo>
                <a:cubicBezTo>
                  <a:pt x="3341867" y="405375"/>
                  <a:pt x="3347334" y="414485"/>
                  <a:pt x="3350978" y="414485"/>
                </a:cubicBezTo>
                <a:cubicBezTo>
                  <a:pt x="3350978" y="410841"/>
                  <a:pt x="3349156" y="409019"/>
                  <a:pt x="3349156" y="405375"/>
                </a:cubicBezTo>
                <a:close/>
                <a:moveTo>
                  <a:pt x="2592954" y="405375"/>
                </a:moveTo>
                <a:cubicBezTo>
                  <a:pt x="2587487" y="405375"/>
                  <a:pt x="2592954" y="419952"/>
                  <a:pt x="2589310" y="410841"/>
                </a:cubicBezTo>
                <a:cubicBezTo>
                  <a:pt x="2583843" y="414485"/>
                  <a:pt x="2592954" y="418129"/>
                  <a:pt x="2589310" y="421775"/>
                </a:cubicBezTo>
                <a:cubicBezTo>
                  <a:pt x="2587487" y="421775"/>
                  <a:pt x="2589310" y="418129"/>
                  <a:pt x="2585665" y="418129"/>
                </a:cubicBezTo>
                <a:cubicBezTo>
                  <a:pt x="2583843" y="423596"/>
                  <a:pt x="2585665" y="427240"/>
                  <a:pt x="2585665" y="429063"/>
                </a:cubicBezTo>
                <a:cubicBezTo>
                  <a:pt x="2592954" y="432707"/>
                  <a:pt x="2589310" y="419952"/>
                  <a:pt x="2594776" y="419952"/>
                </a:cubicBezTo>
                <a:cubicBezTo>
                  <a:pt x="2592954" y="416308"/>
                  <a:pt x="2592954" y="410841"/>
                  <a:pt x="2592954" y="405375"/>
                </a:cubicBezTo>
                <a:close/>
                <a:moveTo>
                  <a:pt x="2582021" y="403552"/>
                </a:moveTo>
                <a:cubicBezTo>
                  <a:pt x="2582021" y="407196"/>
                  <a:pt x="2580199" y="412664"/>
                  <a:pt x="2583843" y="412664"/>
                </a:cubicBezTo>
                <a:cubicBezTo>
                  <a:pt x="2583843" y="409019"/>
                  <a:pt x="2583843" y="407196"/>
                  <a:pt x="2585665" y="403552"/>
                </a:cubicBezTo>
                <a:cubicBezTo>
                  <a:pt x="2583843" y="403552"/>
                  <a:pt x="2583843" y="403552"/>
                  <a:pt x="2582021" y="403552"/>
                </a:cubicBezTo>
                <a:close/>
                <a:moveTo>
                  <a:pt x="2104611" y="403552"/>
                </a:moveTo>
                <a:cubicBezTo>
                  <a:pt x="2102790" y="410841"/>
                  <a:pt x="2104611" y="416308"/>
                  <a:pt x="2108256" y="418129"/>
                </a:cubicBezTo>
                <a:cubicBezTo>
                  <a:pt x="2113722" y="418129"/>
                  <a:pt x="2106433" y="407196"/>
                  <a:pt x="2111900" y="407196"/>
                </a:cubicBezTo>
                <a:cubicBezTo>
                  <a:pt x="2111900" y="405375"/>
                  <a:pt x="2110078" y="403552"/>
                  <a:pt x="2104611" y="403552"/>
                </a:cubicBezTo>
                <a:close/>
                <a:moveTo>
                  <a:pt x="3035742" y="401731"/>
                </a:moveTo>
                <a:cubicBezTo>
                  <a:pt x="3033920" y="403552"/>
                  <a:pt x="3030276" y="403552"/>
                  <a:pt x="3032098" y="409019"/>
                </a:cubicBezTo>
                <a:cubicBezTo>
                  <a:pt x="3035742" y="409019"/>
                  <a:pt x="3037564" y="407196"/>
                  <a:pt x="3035742" y="401731"/>
                </a:cubicBezTo>
                <a:close/>
                <a:moveTo>
                  <a:pt x="2232163" y="401731"/>
                </a:moveTo>
                <a:cubicBezTo>
                  <a:pt x="2228519" y="403552"/>
                  <a:pt x="2230341" y="405375"/>
                  <a:pt x="2232163" y="409019"/>
                </a:cubicBezTo>
                <a:cubicBezTo>
                  <a:pt x="2230341" y="407196"/>
                  <a:pt x="2230341" y="407196"/>
                  <a:pt x="2230341" y="405375"/>
                </a:cubicBezTo>
                <a:cubicBezTo>
                  <a:pt x="2226697" y="405375"/>
                  <a:pt x="2226697" y="410841"/>
                  <a:pt x="2224875" y="409019"/>
                </a:cubicBezTo>
                <a:cubicBezTo>
                  <a:pt x="2217586" y="403552"/>
                  <a:pt x="2213942" y="409019"/>
                  <a:pt x="2208475" y="410841"/>
                </a:cubicBezTo>
                <a:cubicBezTo>
                  <a:pt x="2212120" y="416308"/>
                  <a:pt x="2224875" y="409019"/>
                  <a:pt x="2226697" y="418129"/>
                </a:cubicBezTo>
                <a:cubicBezTo>
                  <a:pt x="2226697" y="414485"/>
                  <a:pt x="2221230" y="409019"/>
                  <a:pt x="2228519" y="409019"/>
                </a:cubicBezTo>
                <a:cubicBezTo>
                  <a:pt x="2232163" y="409019"/>
                  <a:pt x="2230341" y="414485"/>
                  <a:pt x="2233986" y="412664"/>
                </a:cubicBezTo>
                <a:cubicBezTo>
                  <a:pt x="2233986" y="409019"/>
                  <a:pt x="2233986" y="405375"/>
                  <a:pt x="2232163" y="401731"/>
                </a:cubicBezTo>
                <a:close/>
                <a:moveTo>
                  <a:pt x="3290391" y="401275"/>
                </a:moveTo>
                <a:cubicBezTo>
                  <a:pt x="3288569" y="403552"/>
                  <a:pt x="3288114" y="407197"/>
                  <a:pt x="3290847" y="409019"/>
                </a:cubicBezTo>
                <a:cubicBezTo>
                  <a:pt x="3292669" y="405375"/>
                  <a:pt x="3298135" y="405375"/>
                  <a:pt x="3298135" y="401731"/>
                </a:cubicBezTo>
                <a:cubicBezTo>
                  <a:pt x="3295402" y="398086"/>
                  <a:pt x="3292214" y="398997"/>
                  <a:pt x="3290391" y="401275"/>
                </a:cubicBezTo>
                <a:close/>
                <a:moveTo>
                  <a:pt x="2561977" y="399908"/>
                </a:moveTo>
                <a:cubicBezTo>
                  <a:pt x="2560155" y="405375"/>
                  <a:pt x="2554688" y="409019"/>
                  <a:pt x="2554688" y="416308"/>
                </a:cubicBezTo>
                <a:cubicBezTo>
                  <a:pt x="2558332" y="418129"/>
                  <a:pt x="2556510" y="410841"/>
                  <a:pt x="2560155" y="410841"/>
                </a:cubicBezTo>
                <a:cubicBezTo>
                  <a:pt x="2565621" y="409019"/>
                  <a:pt x="2558332" y="418129"/>
                  <a:pt x="2563799" y="416308"/>
                </a:cubicBezTo>
                <a:cubicBezTo>
                  <a:pt x="2563799" y="412664"/>
                  <a:pt x="2563799" y="409019"/>
                  <a:pt x="2567443" y="410841"/>
                </a:cubicBezTo>
                <a:cubicBezTo>
                  <a:pt x="2567443" y="405375"/>
                  <a:pt x="2558332" y="407196"/>
                  <a:pt x="2561977" y="399908"/>
                </a:cubicBezTo>
                <a:close/>
                <a:moveTo>
                  <a:pt x="2128644" y="398241"/>
                </a:moveTo>
                <a:lnTo>
                  <a:pt x="2128374" y="405272"/>
                </a:lnTo>
                <a:lnTo>
                  <a:pt x="2128300" y="405375"/>
                </a:lnTo>
                <a:cubicBezTo>
                  <a:pt x="2129211" y="403552"/>
                  <a:pt x="2128756" y="400819"/>
                  <a:pt x="2128528" y="398541"/>
                </a:cubicBezTo>
                <a:close/>
                <a:moveTo>
                  <a:pt x="3279913" y="398085"/>
                </a:moveTo>
                <a:lnTo>
                  <a:pt x="3280856" y="398400"/>
                </a:lnTo>
                <a:lnTo>
                  <a:pt x="3281736" y="399908"/>
                </a:lnTo>
                <a:cubicBezTo>
                  <a:pt x="3281736" y="398085"/>
                  <a:pt x="3279913" y="398085"/>
                  <a:pt x="3279913" y="398085"/>
                </a:cubicBezTo>
                <a:close/>
                <a:moveTo>
                  <a:pt x="1968512" y="397522"/>
                </a:moveTo>
                <a:lnTo>
                  <a:pt x="1970909" y="402869"/>
                </a:lnTo>
                <a:cubicBezTo>
                  <a:pt x="1972048" y="405375"/>
                  <a:pt x="1972503" y="408108"/>
                  <a:pt x="1969770" y="410841"/>
                </a:cubicBezTo>
                <a:cubicBezTo>
                  <a:pt x="1968859" y="408108"/>
                  <a:pt x="1968859" y="405375"/>
                  <a:pt x="1968631" y="402869"/>
                </a:cubicBezTo>
                <a:lnTo>
                  <a:pt x="1967128" y="398906"/>
                </a:lnTo>
                <a:close/>
                <a:moveTo>
                  <a:pt x="3563945" y="397175"/>
                </a:moveTo>
                <a:cubicBezTo>
                  <a:pt x="3563262" y="397631"/>
                  <a:pt x="3563262" y="398998"/>
                  <a:pt x="3564173" y="401731"/>
                </a:cubicBezTo>
                <a:cubicBezTo>
                  <a:pt x="3565995" y="399908"/>
                  <a:pt x="3569639" y="403552"/>
                  <a:pt x="3567817" y="398085"/>
                </a:cubicBezTo>
                <a:cubicBezTo>
                  <a:pt x="3565995" y="397175"/>
                  <a:pt x="3564629" y="396719"/>
                  <a:pt x="3563945" y="397175"/>
                </a:cubicBezTo>
                <a:close/>
                <a:moveTo>
                  <a:pt x="1904171" y="396281"/>
                </a:moveTo>
                <a:cubicBezTo>
                  <a:pt x="1904171" y="396281"/>
                  <a:pt x="1905993" y="396281"/>
                  <a:pt x="1905993" y="398103"/>
                </a:cubicBezTo>
                <a:cubicBezTo>
                  <a:pt x="1905993" y="398103"/>
                  <a:pt x="1907816" y="396281"/>
                  <a:pt x="1907816" y="396281"/>
                </a:cubicBezTo>
                <a:cubicBezTo>
                  <a:pt x="1909639" y="403570"/>
                  <a:pt x="1915104" y="409036"/>
                  <a:pt x="1918750" y="410859"/>
                </a:cubicBezTo>
                <a:cubicBezTo>
                  <a:pt x="1927861" y="410859"/>
                  <a:pt x="1938793" y="405392"/>
                  <a:pt x="1946081" y="398103"/>
                </a:cubicBezTo>
                <a:cubicBezTo>
                  <a:pt x="1946081" y="399926"/>
                  <a:pt x="1946081" y="401748"/>
                  <a:pt x="1949726" y="401748"/>
                </a:cubicBezTo>
                <a:cubicBezTo>
                  <a:pt x="1942437" y="403570"/>
                  <a:pt x="1935148" y="407214"/>
                  <a:pt x="1940615" y="416325"/>
                </a:cubicBezTo>
                <a:cubicBezTo>
                  <a:pt x="1936970" y="418147"/>
                  <a:pt x="1938793" y="409036"/>
                  <a:pt x="1935148" y="410859"/>
                </a:cubicBezTo>
                <a:cubicBezTo>
                  <a:pt x="1922393" y="414503"/>
                  <a:pt x="1913282" y="425436"/>
                  <a:pt x="1915104" y="440013"/>
                </a:cubicBezTo>
                <a:cubicBezTo>
                  <a:pt x="1922393" y="436369"/>
                  <a:pt x="1927861" y="434547"/>
                  <a:pt x="1935148" y="432725"/>
                </a:cubicBezTo>
                <a:cubicBezTo>
                  <a:pt x="1931504" y="438191"/>
                  <a:pt x="1920571" y="438191"/>
                  <a:pt x="1924215" y="445480"/>
                </a:cubicBezTo>
                <a:cubicBezTo>
                  <a:pt x="1924215" y="441836"/>
                  <a:pt x="1920571" y="443658"/>
                  <a:pt x="1918750" y="441836"/>
                </a:cubicBezTo>
                <a:cubicBezTo>
                  <a:pt x="1915104" y="452769"/>
                  <a:pt x="1927861" y="456413"/>
                  <a:pt x="1926037" y="465524"/>
                </a:cubicBezTo>
                <a:cubicBezTo>
                  <a:pt x="1922393" y="458235"/>
                  <a:pt x="1918750" y="450946"/>
                  <a:pt x="1913282" y="445480"/>
                </a:cubicBezTo>
                <a:cubicBezTo>
                  <a:pt x="1909639" y="443658"/>
                  <a:pt x="1915104" y="454591"/>
                  <a:pt x="1909639" y="452769"/>
                </a:cubicBezTo>
                <a:cubicBezTo>
                  <a:pt x="1907816" y="452769"/>
                  <a:pt x="1905993" y="443658"/>
                  <a:pt x="1904171" y="449124"/>
                </a:cubicBezTo>
                <a:cubicBezTo>
                  <a:pt x="1902349" y="450946"/>
                  <a:pt x="1905993" y="458235"/>
                  <a:pt x="1902349" y="463702"/>
                </a:cubicBezTo>
                <a:cubicBezTo>
                  <a:pt x="1898705" y="452769"/>
                  <a:pt x="1893238" y="440013"/>
                  <a:pt x="1882306" y="438191"/>
                </a:cubicBezTo>
                <a:cubicBezTo>
                  <a:pt x="1885950" y="440013"/>
                  <a:pt x="1884127" y="430903"/>
                  <a:pt x="1885950" y="432725"/>
                </a:cubicBezTo>
                <a:cubicBezTo>
                  <a:pt x="1895060" y="438191"/>
                  <a:pt x="1902349" y="445480"/>
                  <a:pt x="1911460" y="443658"/>
                </a:cubicBezTo>
                <a:cubicBezTo>
                  <a:pt x="1909639" y="440013"/>
                  <a:pt x="1911460" y="440013"/>
                  <a:pt x="1911460" y="436369"/>
                </a:cubicBezTo>
                <a:cubicBezTo>
                  <a:pt x="1909639" y="438191"/>
                  <a:pt x="1907816" y="438191"/>
                  <a:pt x="1905993" y="440013"/>
                </a:cubicBezTo>
                <a:cubicBezTo>
                  <a:pt x="1905993" y="438191"/>
                  <a:pt x="1905993" y="436369"/>
                  <a:pt x="1904171" y="434547"/>
                </a:cubicBezTo>
                <a:cubicBezTo>
                  <a:pt x="1905993" y="434547"/>
                  <a:pt x="1907816" y="430903"/>
                  <a:pt x="1909639" y="434547"/>
                </a:cubicBezTo>
                <a:cubicBezTo>
                  <a:pt x="1911460" y="429080"/>
                  <a:pt x="1915104" y="423614"/>
                  <a:pt x="1913282" y="416325"/>
                </a:cubicBezTo>
                <a:cubicBezTo>
                  <a:pt x="1911460" y="416325"/>
                  <a:pt x="1911460" y="418147"/>
                  <a:pt x="1909639" y="418147"/>
                </a:cubicBezTo>
                <a:cubicBezTo>
                  <a:pt x="1909639" y="409036"/>
                  <a:pt x="1911460" y="403570"/>
                  <a:pt x="1904171" y="398103"/>
                </a:cubicBezTo>
                <a:cubicBezTo>
                  <a:pt x="1904171" y="399926"/>
                  <a:pt x="1904171" y="401748"/>
                  <a:pt x="1902349" y="403570"/>
                </a:cubicBezTo>
                <a:cubicBezTo>
                  <a:pt x="1902349" y="401748"/>
                  <a:pt x="1902349" y="398103"/>
                  <a:pt x="1904171" y="396281"/>
                </a:cubicBezTo>
                <a:close/>
                <a:moveTo>
                  <a:pt x="1967948" y="396264"/>
                </a:moveTo>
                <a:lnTo>
                  <a:pt x="1968859" y="397175"/>
                </a:lnTo>
                <a:lnTo>
                  <a:pt x="1968512" y="397522"/>
                </a:lnTo>
                <a:close/>
                <a:moveTo>
                  <a:pt x="1966126" y="396264"/>
                </a:moveTo>
                <a:lnTo>
                  <a:pt x="1967128" y="398906"/>
                </a:lnTo>
                <a:lnTo>
                  <a:pt x="1966126" y="399908"/>
                </a:lnTo>
                <a:lnTo>
                  <a:pt x="1965397" y="396992"/>
                </a:lnTo>
                <a:close/>
                <a:moveTo>
                  <a:pt x="3305424" y="394441"/>
                </a:moveTo>
                <a:lnTo>
                  <a:pt x="3306010" y="394637"/>
                </a:lnTo>
                <a:lnTo>
                  <a:pt x="3302918" y="395125"/>
                </a:lnTo>
                <a:lnTo>
                  <a:pt x="3301679" y="394839"/>
                </a:lnTo>
                <a:close/>
                <a:moveTo>
                  <a:pt x="3299957" y="394441"/>
                </a:moveTo>
                <a:lnTo>
                  <a:pt x="3301679" y="394839"/>
                </a:lnTo>
                <a:lnTo>
                  <a:pt x="3299828" y="395035"/>
                </a:lnTo>
                <a:close/>
                <a:moveTo>
                  <a:pt x="2572910" y="394441"/>
                </a:moveTo>
                <a:cubicBezTo>
                  <a:pt x="2569266" y="394441"/>
                  <a:pt x="2561977" y="394441"/>
                  <a:pt x="2565621" y="398085"/>
                </a:cubicBezTo>
                <a:cubicBezTo>
                  <a:pt x="2569266" y="399908"/>
                  <a:pt x="2571088" y="405375"/>
                  <a:pt x="2574732" y="405375"/>
                </a:cubicBezTo>
                <a:cubicBezTo>
                  <a:pt x="2576554" y="403552"/>
                  <a:pt x="2576554" y="401731"/>
                  <a:pt x="2576554" y="399908"/>
                </a:cubicBezTo>
                <a:cubicBezTo>
                  <a:pt x="2574732" y="399908"/>
                  <a:pt x="2572910" y="401731"/>
                  <a:pt x="2571088" y="401731"/>
                </a:cubicBezTo>
                <a:cubicBezTo>
                  <a:pt x="2576554" y="401731"/>
                  <a:pt x="2572910" y="396264"/>
                  <a:pt x="2572910" y="394441"/>
                </a:cubicBezTo>
                <a:close/>
                <a:moveTo>
                  <a:pt x="2541933" y="394441"/>
                </a:moveTo>
                <a:cubicBezTo>
                  <a:pt x="2532822" y="394441"/>
                  <a:pt x="2523711" y="398085"/>
                  <a:pt x="2523711" y="405375"/>
                </a:cubicBezTo>
                <a:cubicBezTo>
                  <a:pt x="2532822" y="396264"/>
                  <a:pt x="2534644" y="403552"/>
                  <a:pt x="2541933" y="409019"/>
                </a:cubicBezTo>
                <a:cubicBezTo>
                  <a:pt x="2545577" y="405375"/>
                  <a:pt x="2538289" y="401731"/>
                  <a:pt x="2541933" y="394441"/>
                </a:cubicBezTo>
                <a:close/>
                <a:moveTo>
                  <a:pt x="3520941" y="394262"/>
                </a:moveTo>
                <a:lnTo>
                  <a:pt x="3520440" y="396264"/>
                </a:lnTo>
                <a:lnTo>
                  <a:pt x="3520340" y="395005"/>
                </a:lnTo>
                <a:lnTo>
                  <a:pt x="3520440" y="394441"/>
                </a:lnTo>
                <a:close/>
                <a:moveTo>
                  <a:pt x="3338223" y="392620"/>
                </a:moveTo>
                <a:cubicBezTo>
                  <a:pt x="3332756" y="396264"/>
                  <a:pt x="3332756" y="403552"/>
                  <a:pt x="3325468" y="407196"/>
                </a:cubicBezTo>
                <a:cubicBezTo>
                  <a:pt x="3329112" y="412664"/>
                  <a:pt x="3336401" y="412664"/>
                  <a:pt x="3341867" y="414485"/>
                </a:cubicBezTo>
                <a:cubicBezTo>
                  <a:pt x="3338223" y="409019"/>
                  <a:pt x="3340045" y="403552"/>
                  <a:pt x="3338223" y="392620"/>
                </a:cubicBezTo>
                <a:close/>
                <a:moveTo>
                  <a:pt x="3203382" y="392620"/>
                </a:moveTo>
                <a:cubicBezTo>
                  <a:pt x="3197916" y="394441"/>
                  <a:pt x="3201560" y="396264"/>
                  <a:pt x="3201560" y="399908"/>
                </a:cubicBezTo>
                <a:cubicBezTo>
                  <a:pt x="3203382" y="398085"/>
                  <a:pt x="3205204" y="396264"/>
                  <a:pt x="3203382" y="392620"/>
                </a:cubicBezTo>
                <a:close/>
                <a:moveTo>
                  <a:pt x="2348782" y="392620"/>
                </a:moveTo>
                <a:cubicBezTo>
                  <a:pt x="2345138" y="394441"/>
                  <a:pt x="2343316" y="398085"/>
                  <a:pt x="2343316" y="403552"/>
                </a:cubicBezTo>
                <a:cubicBezTo>
                  <a:pt x="2345138" y="405375"/>
                  <a:pt x="2346960" y="405375"/>
                  <a:pt x="2350605" y="403552"/>
                </a:cubicBezTo>
                <a:cubicBezTo>
                  <a:pt x="2348782" y="401731"/>
                  <a:pt x="2348782" y="398085"/>
                  <a:pt x="2348782" y="392620"/>
                </a:cubicBezTo>
                <a:close/>
                <a:moveTo>
                  <a:pt x="1964305" y="392620"/>
                </a:moveTo>
                <a:lnTo>
                  <a:pt x="1965397" y="396992"/>
                </a:lnTo>
                <a:lnTo>
                  <a:pt x="1960659" y="401731"/>
                </a:lnTo>
                <a:cubicBezTo>
                  <a:pt x="1962482" y="399908"/>
                  <a:pt x="1960659" y="398085"/>
                  <a:pt x="1960659" y="396264"/>
                </a:cubicBezTo>
                <a:cubicBezTo>
                  <a:pt x="1962482" y="394441"/>
                  <a:pt x="1962482" y="394441"/>
                  <a:pt x="1962482" y="394441"/>
                </a:cubicBezTo>
                <a:cubicBezTo>
                  <a:pt x="1964305" y="394441"/>
                  <a:pt x="1964305" y="394441"/>
                  <a:pt x="1964305" y="392620"/>
                </a:cubicBezTo>
                <a:close/>
                <a:moveTo>
                  <a:pt x="2361994" y="392392"/>
                </a:moveTo>
                <a:cubicBezTo>
                  <a:pt x="2360172" y="392620"/>
                  <a:pt x="2357894" y="393530"/>
                  <a:pt x="2356071" y="392620"/>
                </a:cubicBezTo>
                <a:cubicBezTo>
                  <a:pt x="2356071" y="396264"/>
                  <a:pt x="2354249" y="398085"/>
                  <a:pt x="2354249" y="399908"/>
                </a:cubicBezTo>
                <a:cubicBezTo>
                  <a:pt x="2357893" y="398085"/>
                  <a:pt x="2361538" y="394441"/>
                  <a:pt x="2365182" y="396264"/>
                </a:cubicBezTo>
                <a:cubicBezTo>
                  <a:pt x="2365182" y="392620"/>
                  <a:pt x="2363816" y="392164"/>
                  <a:pt x="2361994" y="392392"/>
                </a:cubicBezTo>
                <a:close/>
                <a:moveTo>
                  <a:pt x="3522263" y="388976"/>
                </a:moveTo>
                <a:cubicBezTo>
                  <a:pt x="3519530" y="388064"/>
                  <a:pt x="3519530" y="388975"/>
                  <a:pt x="3519985" y="390569"/>
                </a:cubicBezTo>
                <a:lnTo>
                  <a:pt x="3520340" y="395005"/>
                </a:lnTo>
                <a:lnTo>
                  <a:pt x="3519302" y="400819"/>
                </a:lnTo>
                <a:cubicBezTo>
                  <a:pt x="3519074" y="403097"/>
                  <a:pt x="3519530" y="405374"/>
                  <a:pt x="3522263" y="407196"/>
                </a:cubicBezTo>
                <a:cubicBezTo>
                  <a:pt x="3525907" y="407196"/>
                  <a:pt x="3538662" y="410841"/>
                  <a:pt x="3531374" y="414485"/>
                </a:cubicBezTo>
                <a:cubicBezTo>
                  <a:pt x="3529551" y="412664"/>
                  <a:pt x="3525907" y="409019"/>
                  <a:pt x="3524085" y="410841"/>
                </a:cubicBezTo>
                <a:cubicBezTo>
                  <a:pt x="3520440" y="414485"/>
                  <a:pt x="3525907" y="421775"/>
                  <a:pt x="3531374" y="423596"/>
                </a:cubicBezTo>
                <a:cubicBezTo>
                  <a:pt x="3536840" y="423596"/>
                  <a:pt x="3544129" y="425419"/>
                  <a:pt x="3547773" y="421775"/>
                </a:cubicBezTo>
                <a:cubicBezTo>
                  <a:pt x="3556884" y="416308"/>
                  <a:pt x="3555062" y="412664"/>
                  <a:pt x="3564173" y="414485"/>
                </a:cubicBezTo>
                <a:cubicBezTo>
                  <a:pt x="3560528" y="399908"/>
                  <a:pt x="3547773" y="407196"/>
                  <a:pt x="3536840" y="407196"/>
                </a:cubicBezTo>
                <a:cubicBezTo>
                  <a:pt x="3544129" y="401731"/>
                  <a:pt x="3536840" y="396264"/>
                  <a:pt x="3536840" y="390797"/>
                </a:cubicBezTo>
                <a:cubicBezTo>
                  <a:pt x="3535018" y="393530"/>
                  <a:pt x="3532285" y="392164"/>
                  <a:pt x="3529324" y="391253"/>
                </a:cubicBezTo>
                <a:lnTo>
                  <a:pt x="3520941" y="394262"/>
                </a:lnTo>
                <a:close/>
                <a:moveTo>
                  <a:pt x="2556226" y="387922"/>
                </a:moveTo>
                <a:cubicBezTo>
                  <a:pt x="2555030" y="387381"/>
                  <a:pt x="2553322" y="388064"/>
                  <a:pt x="2551044" y="390797"/>
                </a:cubicBezTo>
                <a:cubicBezTo>
                  <a:pt x="2552866" y="394441"/>
                  <a:pt x="2554688" y="398085"/>
                  <a:pt x="2554688" y="403552"/>
                </a:cubicBezTo>
                <a:cubicBezTo>
                  <a:pt x="2558788" y="402186"/>
                  <a:pt x="2559814" y="389545"/>
                  <a:pt x="2556226" y="387922"/>
                </a:cubicBezTo>
                <a:close/>
                <a:moveTo>
                  <a:pt x="3196093" y="387152"/>
                </a:moveTo>
                <a:cubicBezTo>
                  <a:pt x="3190627" y="387152"/>
                  <a:pt x="3188805" y="392620"/>
                  <a:pt x="3192449" y="394441"/>
                </a:cubicBezTo>
                <a:cubicBezTo>
                  <a:pt x="3194271" y="394441"/>
                  <a:pt x="3196093" y="392620"/>
                  <a:pt x="3196093" y="387152"/>
                </a:cubicBezTo>
                <a:close/>
                <a:moveTo>
                  <a:pt x="3013876" y="387152"/>
                </a:moveTo>
                <a:cubicBezTo>
                  <a:pt x="3010232" y="394441"/>
                  <a:pt x="3021165" y="399908"/>
                  <a:pt x="3028453" y="401731"/>
                </a:cubicBezTo>
                <a:cubicBezTo>
                  <a:pt x="3028453" y="399908"/>
                  <a:pt x="3032098" y="399908"/>
                  <a:pt x="3032098" y="396264"/>
                </a:cubicBezTo>
                <a:cubicBezTo>
                  <a:pt x="3032098" y="392620"/>
                  <a:pt x="3026631" y="392620"/>
                  <a:pt x="3028453" y="387152"/>
                </a:cubicBezTo>
                <a:cubicBezTo>
                  <a:pt x="3022987" y="387152"/>
                  <a:pt x="3021165" y="390797"/>
                  <a:pt x="3013876" y="387152"/>
                </a:cubicBezTo>
                <a:close/>
                <a:moveTo>
                  <a:pt x="2627575" y="387152"/>
                </a:moveTo>
                <a:cubicBezTo>
                  <a:pt x="2622109" y="387152"/>
                  <a:pt x="2625753" y="394441"/>
                  <a:pt x="2618464" y="390797"/>
                </a:cubicBezTo>
                <a:cubicBezTo>
                  <a:pt x="2620287" y="392620"/>
                  <a:pt x="2618464" y="398085"/>
                  <a:pt x="2620287" y="399908"/>
                </a:cubicBezTo>
                <a:cubicBezTo>
                  <a:pt x="2622109" y="398085"/>
                  <a:pt x="2622109" y="390797"/>
                  <a:pt x="2627575" y="396264"/>
                </a:cubicBezTo>
                <a:cubicBezTo>
                  <a:pt x="2629397" y="392620"/>
                  <a:pt x="2627575" y="390797"/>
                  <a:pt x="2627575" y="387152"/>
                </a:cubicBezTo>
                <a:close/>
                <a:moveTo>
                  <a:pt x="2481801" y="387152"/>
                </a:moveTo>
                <a:cubicBezTo>
                  <a:pt x="2478157" y="390797"/>
                  <a:pt x="2474513" y="390797"/>
                  <a:pt x="2474513" y="398085"/>
                </a:cubicBezTo>
                <a:cubicBezTo>
                  <a:pt x="2479979" y="399908"/>
                  <a:pt x="2481801" y="394441"/>
                  <a:pt x="2485446" y="392620"/>
                </a:cubicBezTo>
                <a:cubicBezTo>
                  <a:pt x="2487268" y="387152"/>
                  <a:pt x="2481801" y="388976"/>
                  <a:pt x="2481801" y="387152"/>
                </a:cubicBezTo>
                <a:close/>
                <a:moveTo>
                  <a:pt x="2454469" y="387152"/>
                </a:moveTo>
                <a:cubicBezTo>
                  <a:pt x="2450824" y="388976"/>
                  <a:pt x="2449002" y="388976"/>
                  <a:pt x="2447180" y="388976"/>
                </a:cubicBezTo>
                <a:cubicBezTo>
                  <a:pt x="2443536" y="396264"/>
                  <a:pt x="2454469" y="388976"/>
                  <a:pt x="2452647" y="394441"/>
                </a:cubicBezTo>
                <a:cubicBezTo>
                  <a:pt x="2447180" y="407196"/>
                  <a:pt x="2458113" y="392620"/>
                  <a:pt x="2456291" y="399908"/>
                </a:cubicBezTo>
                <a:cubicBezTo>
                  <a:pt x="2459935" y="396264"/>
                  <a:pt x="2450824" y="394441"/>
                  <a:pt x="2454469" y="387152"/>
                </a:cubicBezTo>
                <a:close/>
                <a:moveTo>
                  <a:pt x="2536467" y="384875"/>
                </a:moveTo>
                <a:cubicBezTo>
                  <a:pt x="2533733" y="385331"/>
                  <a:pt x="2531000" y="388064"/>
                  <a:pt x="2531000" y="392620"/>
                </a:cubicBezTo>
                <a:cubicBezTo>
                  <a:pt x="2536466" y="392620"/>
                  <a:pt x="2536466" y="392620"/>
                  <a:pt x="2541933" y="390797"/>
                </a:cubicBezTo>
                <a:cubicBezTo>
                  <a:pt x="2541933" y="386242"/>
                  <a:pt x="2539200" y="384420"/>
                  <a:pt x="2536467" y="384875"/>
                </a:cubicBezTo>
                <a:close/>
                <a:moveTo>
                  <a:pt x="3317496" y="384192"/>
                </a:moveTo>
                <a:cubicBezTo>
                  <a:pt x="3314535" y="384420"/>
                  <a:pt x="3311802" y="386242"/>
                  <a:pt x="3310890" y="388976"/>
                </a:cubicBezTo>
                <a:cubicBezTo>
                  <a:pt x="3312713" y="396264"/>
                  <a:pt x="3314535" y="398085"/>
                  <a:pt x="3320001" y="401731"/>
                </a:cubicBezTo>
                <a:cubicBezTo>
                  <a:pt x="3330934" y="399908"/>
                  <a:pt x="3334579" y="398085"/>
                  <a:pt x="3329112" y="385331"/>
                </a:cubicBezTo>
                <a:cubicBezTo>
                  <a:pt x="3325468" y="385331"/>
                  <a:pt x="3325468" y="387152"/>
                  <a:pt x="3325468" y="388976"/>
                </a:cubicBezTo>
                <a:cubicBezTo>
                  <a:pt x="3323646" y="385331"/>
                  <a:pt x="3320458" y="383964"/>
                  <a:pt x="3317496" y="384192"/>
                </a:cubicBezTo>
                <a:close/>
                <a:moveTo>
                  <a:pt x="3050319" y="383509"/>
                </a:moveTo>
                <a:cubicBezTo>
                  <a:pt x="3050319" y="383509"/>
                  <a:pt x="3049864" y="386242"/>
                  <a:pt x="3050092" y="389203"/>
                </a:cubicBezTo>
                <a:lnTo>
                  <a:pt x="3051453" y="391684"/>
                </a:lnTo>
                <a:lnTo>
                  <a:pt x="3050319" y="390797"/>
                </a:lnTo>
                <a:cubicBezTo>
                  <a:pt x="3052142" y="390797"/>
                  <a:pt x="3052142" y="394441"/>
                  <a:pt x="3053964" y="396264"/>
                </a:cubicBezTo>
                <a:lnTo>
                  <a:pt x="3051453" y="391684"/>
                </a:lnTo>
                <a:lnTo>
                  <a:pt x="3055558" y="394897"/>
                </a:lnTo>
                <a:cubicBezTo>
                  <a:pt x="3056697" y="397175"/>
                  <a:pt x="3057608" y="399908"/>
                  <a:pt x="3059430" y="401731"/>
                </a:cubicBezTo>
                <a:cubicBezTo>
                  <a:pt x="3057608" y="392620"/>
                  <a:pt x="3059430" y="379865"/>
                  <a:pt x="3050319" y="383509"/>
                </a:cubicBezTo>
                <a:close/>
                <a:moveTo>
                  <a:pt x="3469419" y="379865"/>
                </a:moveTo>
                <a:cubicBezTo>
                  <a:pt x="3471242" y="383509"/>
                  <a:pt x="3476708" y="385331"/>
                  <a:pt x="3478530" y="388976"/>
                </a:cubicBezTo>
                <a:cubicBezTo>
                  <a:pt x="3473064" y="390797"/>
                  <a:pt x="3474886" y="398085"/>
                  <a:pt x="3463953" y="396264"/>
                </a:cubicBezTo>
                <a:cubicBezTo>
                  <a:pt x="3463953" y="390797"/>
                  <a:pt x="3456664" y="394441"/>
                  <a:pt x="3456664" y="390797"/>
                </a:cubicBezTo>
                <a:cubicBezTo>
                  <a:pt x="3454842" y="392620"/>
                  <a:pt x="3458487" y="399908"/>
                  <a:pt x="3463953" y="398085"/>
                </a:cubicBezTo>
                <a:cubicBezTo>
                  <a:pt x="3462131" y="398085"/>
                  <a:pt x="3462131" y="396264"/>
                  <a:pt x="3463953" y="396264"/>
                </a:cubicBezTo>
                <a:cubicBezTo>
                  <a:pt x="3463953" y="405375"/>
                  <a:pt x="3473064" y="405375"/>
                  <a:pt x="3480353" y="405375"/>
                </a:cubicBezTo>
                <a:cubicBezTo>
                  <a:pt x="3482175" y="405375"/>
                  <a:pt x="3482175" y="409019"/>
                  <a:pt x="3483997" y="409019"/>
                </a:cubicBezTo>
                <a:cubicBezTo>
                  <a:pt x="3489463" y="409019"/>
                  <a:pt x="3487641" y="403552"/>
                  <a:pt x="3485819" y="401731"/>
                </a:cubicBezTo>
                <a:cubicBezTo>
                  <a:pt x="3489463" y="403552"/>
                  <a:pt x="3491286" y="403552"/>
                  <a:pt x="3493108" y="407196"/>
                </a:cubicBezTo>
                <a:cubicBezTo>
                  <a:pt x="3494930" y="407196"/>
                  <a:pt x="3496752" y="405375"/>
                  <a:pt x="3494930" y="403552"/>
                </a:cubicBezTo>
                <a:cubicBezTo>
                  <a:pt x="3500397" y="407196"/>
                  <a:pt x="3500397" y="412664"/>
                  <a:pt x="3507685" y="410841"/>
                </a:cubicBezTo>
                <a:cubicBezTo>
                  <a:pt x="3502219" y="407196"/>
                  <a:pt x="3502219" y="396264"/>
                  <a:pt x="3493108" y="398085"/>
                </a:cubicBezTo>
                <a:cubicBezTo>
                  <a:pt x="3491286" y="399908"/>
                  <a:pt x="3493108" y="401731"/>
                  <a:pt x="3491286" y="403552"/>
                </a:cubicBezTo>
                <a:cubicBezTo>
                  <a:pt x="3489463" y="392620"/>
                  <a:pt x="3485819" y="376220"/>
                  <a:pt x="3469419" y="379865"/>
                </a:cubicBezTo>
                <a:close/>
                <a:moveTo>
                  <a:pt x="3358267" y="379865"/>
                </a:moveTo>
                <a:cubicBezTo>
                  <a:pt x="3354623" y="383509"/>
                  <a:pt x="3349156" y="390797"/>
                  <a:pt x="3361911" y="394441"/>
                </a:cubicBezTo>
                <a:cubicBezTo>
                  <a:pt x="3358267" y="388976"/>
                  <a:pt x="3363734" y="383509"/>
                  <a:pt x="3358267" y="379865"/>
                </a:cubicBezTo>
                <a:close/>
                <a:moveTo>
                  <a:pt x="3239826" y="379865"/>
                </a:moveTo>
                <a:cubicBezTo>
                  <a:pt x="3236181" y="381687"/>
                  <a:pt x="3241648" y="388976"/>
                  <a:pt x="3247114" y="387152"/>
                </a:cubicBezTo>
                <a:cubicBezTo>
                  <a:pt x="3247114" y="381687"/>
                  <a:pt x="3239826" y="385331"/>
                  <a:pt x="3239826" y="379865"/>
                </a:cubicBezTo>
                <a:close/>
                <a:moveTo>
                  <a:pt x="2438069" y="379865"/>
                </a:moveTo>
                <a:cubicBezTo>
                  <a:pt x="2428958" y="378041"/>
                  <a:pt x="2419847" y="390797"/>
                  <a:pt x="2425314" y="396264"/>
                </a:cubicBezTo>
                <a:cubicBezTo>
                  <a:pt x="2427136" y="398085"/>
                  <a:pt x="2427136" y="390797"/>
                  <a:pt x="2430780" y="390797"/>
                </a:cubicBezTo>
                <a:cubicBezTo>
                  <a:pt x="2428958" y="396264"/>
                  <a:pt x="2427136" y="399908"/>
                  <a:pt x="2428958" y="407196"/>
                </a:cubicBezTo>
                <a:cubicBezTo>
                  <a:pt x="2443536" y="409019"/>
                  <a:pt x="2441713" y="399908"/>
                  <a:pt x="2449002" y="403552"/>
                </a:cubicBezTo>
                <a:cubicBezTo>
                  <a:pt x="2449002" y="394441"/>
                  <a:pt x="2445358" y="387152"/>
                  <a:pt x="2434425" y="390797"/>
                </a:cubicBezTo>
                <a:cubicBezTo>
                  <a:pt x="2438069" y="385331"/>
                  <a:pt x="2441713" y="381687"/>
                  <a:pt x="2438069" y="379865"/>
                </a:cubicBezTo>
                <a:close/>
                <a:moveTo>
                  <a:pt x="2352427" y="379865"/>
                </a:moveTo>
                <a:cubicBezTo>
                  <a:pt x="2348782" y="381687"/>
                  <a:pt x="2350605" y="390797"/>
                  <a:pt x="2354249" y="388976"/>
                </a:cubicBezTo>
                <a:cubicBezTo>
                  <a:pt x="2356071" y="383509"/>
                  <a:pt x="2354249" y="381687"/>
                  <a:pt x="2352427" y="379865"/>
                </a:cubicBezTo>
                <a:close/>
                <a:moveTo>
                  <a:pt x="1009485" y="379865"/>
                </a:moveTo>
                <a:cubicBezTo>
                  <a:pt x="1008573" y="381686"/>
                  <a:pt x="1009940" y="383509"/>
                  <a:pt x="1010851" y="385103"/>
                </a:cubicBezTo>
                <a:lnTo>
                  <a:pt x="1010516" y="386052"/>
                </a:lnTo>
                <a:close/>
                <a:moveTo>
                  <a:pt x="3489463" y="378041"/>
                </a:moveTo>
                <a:cubicBezTo>
                  <a:pt x="3483997" y="376220"/>
                  <a:pt x="3485819" y="383509"/>
                  <a:pt x="3491286" y="381687"/>
                </a:cubicBezTo>
                <a:cubicBezTo>
                  <a:pt x="3489463" y="381687"/>
                  <a:pt x="3489463" y="379865"/>
                  <a:pt x="3489463" y="378041"/>
                </a:cubicBezTo>
                <a:close/>
                <a:moveTo>
                  <a:pt x="1940616" y="378041"/>
                </a:moveTo>
                <a:cubicBezTo>
                  <a:pt x="1942438" y="378041"/>
                  <a:pt x="1944260" y="379865"/>
                  <a:pt x="1944260" y="381687"/>
                </a:cubicBezTo>
                <a:cubicBezTo>
                  <a:pt x="1944260" y="383509"/>
                  <a:pt x="1942438" y="383509"/>
                  <a:pt x="1942438" y="383509"/>
                </a:cubicBezTo>
                <a:cubicBezTo>
                  <a:pt x="1942438" y="381687"/>
                  <a:pt x="1942438" y="379865"/>
                  <a:pt x="1940616" y="378041"/>
                </a:cubicBezTo>
                <a:close/>
                <a:moveTo>
                  <a:pt x="3518618" y="376220"/>
                </a:moveTo>
                <a:cubicBezTo>
                  <a:pt x="3516796" y="379865"/>
                  <a:pt x="3516796" y="383509"/>
                  <a:pt x="3509507" y="381687"/>
                </a:cubicBezTo>
                <a:cubicBezTo>
                  <a:pt x="3511330" y="388976"/>
                  <a:pt x="3518618" y="385331"/>
                  <a:pt x="3524085" y="385331"/>
                </a:cubicBezTo>
                <a:cubicBezTo>
                  <a:pt x="3522263" y="381687"/>
                  <a:pt x="3520440" y="378041"/>
                  <a:pt x="3518618" y="376220"/>
                </a:cubicBezTo>
                <a:close/>
                <a:moveTo>
                  <a:pt x="3449376" y="376220"/>
                </a:moveTo>
                <a:cubicBezTo>
                  <a:pt x="3449376" y="378041"/>
                  <a:pt x="3451198" y="379865"/>
                  <a:pt x="3453020" y="381687"/>
                </a:cubicBezTo>
                <a:cubicBezTo>
                  <a:pt x="3458487" y="381687"/>
                  <a:pt x="3465775" y="381687"/>
                  <a:pt x="3463953" y="376220"/>
                </a:cubicBezTo>
                <a:cubicBezTo>
                  <a:pt x="3460309" y="379865"/>
                  <a:pt x="3460309" y="374397"/>
                  <a:pt x="3449376" y="376220"/>
                </a:cubicBezTo>
                <a:close/>
                <a:moveTo>
                  <a:pt x="3212493" y="376220"/>
                </a:moveTo>
                <a:cubicBezTo>
                  <a:pt x="3216137" y="379865"/>
                  <a:pt x="3223426" y="387152"/>
                  <a:pt x="3227071" y="385331"/>
                </a:cubicBezTo>
                <a:cubicBezTo>
                  <a:pt x="3227071" y="378041"/>
                  <a:pt x="3217960" y="385331"/>
                  <a:pt x="3219782" y="376220"/>
                </a:cubicBezTo>
                <a:cubicBezTo>
                  <a:pt x="3216137" y="378041"/>
                  <a:pt x="3214315" y="376220"/>
                  <a:pt x="3212493" y="376220"/>
                </a:cubicBezTo>
                <a:close/>
                <a:moveTo>
                  <a:pt x="2583843" y="376220"/>
                </a:moveTo>
                <a:cubicBezTo>
                  <a:pt x="2580199" y="376220"/>
                  <a:pt x="2578377" y="376220"/>
                  <a:pt x="2578377" y="379865"/>
                </a:cubicBezTo>
                <a:cubicBezTo>
                  <a:pt x="2580199" y="381687"/>
                  <a:pt x="2582021" y="381687"/>
                  <a:pt x="2583843" y="381687"/>
                </a:cubicBezTo>
                <a:cubicBezTo>
                  <a:pt x="2583843" y="379865"/>
                  <a:pt x="2583843" y="378041"/>
                  <a:pt x="2583843" y="376220"/>
                </a:cubicBezTo>
                <a:close/>
                <a:moveTo>
                  <a:pt x="2337850" y="376220"/>
                </a:moveTo>
                <a:cubicBezTo>
                  <a:pt x="2332383" y="374397"/>
                  <a:pt x="2326916" y="379865"/>
                  <a:pt x="2325094" y="387152"/>
                </a:cubicBezTo>
                <a:cubicBezTo>
                  <a:pt x="2332383" y="392620"/>
                  <a:pt x="2337850" y="381687"/>
                  <a:pt x="2337850" y="376220"/>
                </a:cubicBezTo>
                <a:close/>
                <a:moveTo>
                  <a:pt x="2210297" y="376220"/>
                </a:moveTo>
                <a:cubicBezTo>
                  <a:pt x="2212120" y="387152"/>
                  <a:pt x="2206653" y="398085"/>
                  <a:pt x="2195720" y="399908"/>
                </a:cubicBezTo>
                <a:cubicBezTo>
                  <a:pt x="2197542" y="399908"/>
                  <a:pt x="2197542" y="399908"/>
                  <a:pt x="2199364" y="399908"/>
                </a:cubicBezTo>
                <a:cubicBezTo>
                  <a:pt x="2197542" y="405375"/>
                  <a:pt x="2190253" y="409019"/>
                  <a:pt x="2197542" y="410841"/>
                </a:cubicBezTo>
                <a:cubicBezTo>
                  <a:pt x="2204831" y="410841"/>
                  <a:pt x="2208475" y="403552"/>
                  <a:pt x="2215764" y="403552"/>
                </a:cubicBezTo>
                <a:cubicBezTo>
                  <a:pt x="2217586" y="396264"/>
                  <a:pt x="2213942" y="394441"/>
                  <a:pt x="2212120" y="388976"/>
                </a:cubicBezTo>
                <a:cubicBezTo>
                  <a:pt x="2213942" y="392620"/>
                  <a:pt x="2221230" y="390797"/>
                  <a:pt x="2217586" y="398085"/>
                </a:cubicBezTo>
                <a:cubicBezTo>
                  <a:pt x="2217586" y="399908"/>
                  <a:pt x="2219408" y="399908"/>
                  <a:pt x="2221230" y="399908"/>
                </a:cubicBezTo>
                <a:cubicBezTo>
                  <a:pt x="2219408" y="396264"/>
                  <a:pt x="2215764" y="392620"/>
                  <a:pt x="2221230" y="388976"/>
                </a:cubicBezTo>
                <a:cubicBezTo>
                  <a:pt x="2223053" y="394441"/>
                  <a:pt x="2228519" y="388976"/>
                  <a:pt x="2230341" y="390797"/>
                </a:cubicBezTo>
                <a:cubicBezTo>
                  <a:pt x="2228519" y="385331"/>
                  <a:pt x="2228519" y="381687"/>
                  <a:pt x="2230341" y="376220"/>
                </a:cubicBezTo>
                <a:cubicBezTo>
                  <a:pt x="2224875" y="376220"/>
                  <a:pt x="2217586" y="376220"/>
                  <a:pt x="2210297" y="376220"/>
                </a:cubicBezTo>
                <a:close/>
                <a:moveTo>
                  <a:pt x="3374666" y="374397"/>
                </a:moveTo>
                <a:cubicBezTo>
                  <a:pt x="3374666" y="376220"/>
                  <a:pt x="3372844" y="378041"/>
                  <a:pt x="3371022" y="381687"/>
                </a:cubicBezTo>
                <a:cubicBezTo>
                  <a:pt x="3369200" y="379865"/>
                  <a:pt x="3367378" y="378041"/>
                  <a:pt x="3367378" y="376220"/>
                </a:cubicBezTo>
                <a:cubicBezTo>
                  <a:pt x="3365556" y="376220"/>
                  <a:pt x="3363734" y="378041"/>
                  <a:pt x="3363734" y="376220"/>
                </a:cubicBezTo>
                <a:cubicBezTo>
                  <a:pt x="3361911" y="378041"/>
                  <a:pt x="3360089" y="378041"/>
                  <a:pt x="3361911" y="379865"/>
                </a:cubicBezTo>
                <a:cubicBezTo>
                  <a:pt x="3367378" y="385331"/>
                  <a:pt x="3374666" y="383509"/>
                  <a:pt x="3371022" y="387152"/>
                </a:cubicBezTo>
                <a:cubicBezTo>
                  <a:pt x="3370111" y="389886"/>
                  <a:pt x="3370567" y="393075"/>
                  <a:pt x="3370567" y="395808"/>
                </a:cubicBezTo>
                <a:lnTo>
                  <a:pt x="3367527" y="401455"/>
                </a:lnTo>
                <a:lnTo>
                  <a:pt x="3366996" y="401136"/>
                </a:lnTo>
                <a:lnTo>
                  <a:pt x="3365328" y="398542"/>
                </a:lnTo>
                <a:cubicBezTo>
                  <a:pt x="3364189" y="397630"/>
                  <a:pt x="3362823" y="397175"/>
                  <a:pt x="3361911" y="398085"/>
                </a:cubicBezTo>
                <a:lnTo>
                  <a:pt x="3366996" y="401136"/>
                </a:lnTo>
                <a:lnTo>
                  <a:pt x="3367378" y="401731"/>
                </a:lnTo>
                <a:lnTo>
                  <a:pt x="3367527" y="401455"/>
                </a:lnTo>
                <a:lnTo>
                  <a:pt x="3371022" y="403552"/>
                </a:lnTo>
                <a:cubicBezTo>
                  <a:pt x="3367378" y="403552"/>
                  <a:pt x="3361911" y="405375"/>
                  <a:pt x="3361911" y="407196"/>
                </a:cubicBezTo>
                <a:cubicBezTo>
                  <a:pt x="3361911" y="409019"/>
                  <a:pt x="3363734" y="409019"/>
                  <a:pt x="3363734" y="410841"/>
                </a:cubicBezTo>
                <a:cubicBezTo>
                  <a:pt x="3389244" y="409019"/>
                  <a:pt x="3380133" y="390797"/>
                  <a:pt x="3374666" y="374397"/>
                </a:cubicBezTo>
                <a:close/>
                <a:moveTo>
                  <a:pt x="3314535" y="374397"/>
                </a:moveTo>
                <a:cubicBezTo>
                  <a:pt x="3310890" y="376220"/>
                  <a:pt x="3314535" y="379865"/>
                  <a:pt x="3314535" y="381687"/>
                </a:cubicBezTo>
                <a:cubicBezTo>
                  <a:pt x="3321824" y="381687"/>
                  <a:pt x="3316357" y="376220"/>
                  <a:pt x="3314535" y="374397"/>
                </a:cubicBezTo>
                <a:close/>
                <a:moveTo>
                  <a:pt x="3139606" y="374397"/>
                </a:moveTo>
                <a:cubicBezTo>
                  <a:pt x="3135962" y="376220"/>
                  <a:pt x="3130495" y="378041"/>
                  <a:pt x="3135962" y="385331"/>
                </a:cubicBezTo>
                <a:cubicBezTo>
                  <a:pt x="3139606" y="381687"/>
                  <a:pt x="3139606" y="379865"/>
                  <a:pt x="3139606" y="374397"/>
                </a:cubicBezTo>
                <a:close/>
                <a:moveTo>
                  <a:pt x="3010232" y="374397"/>
                </a:moveTo>
                <a:cubicBezTo>
                  <a:pt x="3006587" y="372576"/>
                  <a:pt x="3006587" y="379865"/>
                  <a:pt x="3002943" y="378041"/>
                </a:cubicBezTo>
                <a:cubicBezTo>
                  <a:pt x="3004765" y="379865"/>
                  <a:pt x="3006587" y="381687"/>
                  <a:pt x="3008410" y="385331"/>
                </a:cubicBezTo>
                <a:cubicBezTo>
                  <a:pt x="3010232" y="383509"/>
                  <a:pt x="3008410" y="379865"/>
                  <a:pt x="3010232" y="381687"/>
                </a:cubicBezTo>
                <a:cubicBezTo>
                  <a:pt x="3010232" y="379865"/>
                  <a:pt x="3010232" y="376220"/>
                  <a:pt x="3010232" y="374397"/>
                </a:cubicBezTo>
                <a:close/>
                <a:moveTo>
                  <a:pt x="2199364" y="374397"/>
                </a:moveTo>
                <a:cubicBezTo>
                  <a:pt x="2197542" y="379865"/>
                  <a:pt x="2204831" y="385331"/>
                  <a:pt x="2201187" y="387152"/>
                </a:cubicBezTo>
                <a:cubicBezTo>
                  <a:pt x="2206653" y="383509"/>
                  <a:pt x="2203009" y="376220"/>
                  <a:pt x="2199364" y="374397"/>
                </a:cubicBezTo>
                <a:close/>
                <a:moveTo>
                  <a:pt x="2075574" y="374376"/>
                </a:moveTo>
                <a:lnTo>
                  <a:pt x="2079785" y="378725"/>
                </a:lnTo>
                <a:cubicBezTo>
                  <a:pt x="2082404" y="384306"/>
                  <a:pt x="2083600" y="390968"/>
                  <a:pt x="2083457" y="397829"/>
                </a:cubicBezTo>
                <a:lnTo>
                  <a:pt x="2083145" y="399285"/>
                </a:lnTo>
                <a:lnTo>
                  <a:pt x="2082745" y="398085"/>
                </a:lnTo>
                <a:close/>
                <a:moveTo>
                  <a:pt x="3289024" y="372576"/>
                </a:moveTo>
                <a:cubicBezTo>
                  <a:pt x="3281736" y="378041"/>
                  <a:pt x="3274447" y="376220"/>
                  <a:pt x="3265336" y="376220"/>
                </a:cubicBezTo>
                <a:cubicBezTo>
                  <a:pt x="3268980" y="381687"/>
                  <a:pt x="3278091" y="390797"/>
                  <a:pt x="3267158" y="392620"/>
                </a:cubicBezTo>
                <a:cubicBezTo>
                  <a:pt x="3265336" y="392620"/>
                  <a:pt x="3263514" y="387152"/>
                  <a:pt x="3259869" y="388976"/>
                </a:cubicBezTo>
                <a:cubicBezTo>
                  <a:pt x="3261692" y="403552"/>
                  <a:pt x="3272625" y="412664"/>
                  <a:pt x="3285380" y="399908"/>
                </a:cubicBezTo>
                <a:lnTo>
                  <a:pt x="3280856" y="398400"/>
                </a:lnTo>
                <a:lnTo>
                  <a:pt x="3280141" y="397175"/>
                </a:lnTo>
                <a:cubicBezTo>
                  <a:pt x="3279458" y="396264"/>
                  <a:pt x="3279002" y="395352"/>
                  <a:pt x="3279913" y="394441"/>
                </a:cubicBezTo>
                <a:cubicBezTo>
                  <a:pt x="3281736" y="394441"/>
                  <a:pt x="3281736" y="394441"/>
                  <a:pt x="3283558" y="394441"/>
                </a:cubicBezTo>
                <a:cubicBezTo>
                  <a:pt x="3283558" y="394441"/>
                  <a:pt x="3283558" y="392620"/>
                  <a:pt x="3283558" y="390797"/>
                </a:cubicBezTo>
                <a:cubicBezTo>
                  <a:pt x="3285380" y="394441"/>
                  <a:pt x="3287203" y="395808"/>
                  <a:pt x="3290391" y="396036"/>
                </a:cubicBezTo>
                <a:lnTo>
                  <a:pt x="3299828" y="395035"/>
                </a:lnTo>
                <a:lnTo>
                  <a:pt x="3298819" y="399680"/>
                </a:lnTo>
                <a:cubicBezTo>
                  <a:pt x="3299502" y="401730"/>
                  <a:pt x="3300869" y="403552"/>
                  <a:pt x="3301780" y="403552"/>
                </a:cubicBezTo>
                <a:cubicBezTo>
                  <a:pt x="3302691" y="402642"/>
                  <a:pt x="3304513" y="402186"/>
                  <a:pt x="3305880" y="401047"/>
                </a:cubicBezTo>
                <a:lnTo>
                  <a:pt x="3307129" y="395010"/>
                </a:lnTo>
                <a:lnTo>
                  <a:pt x="3310890" y="396264"/>
                </a:lnTo>
                <a:lnTo>
                  <a:pt x="3307246" y="394442"/>
                </a:lnTo>
                <a:lnTo>
                  <a:pt x="3307129" y="395010"/>
                </a:lnTo>
                <a:lnTo>
                  <a:pt x="3306010" y="394637"/>
                </a:lnTo>
                <a:lnTo>
                  <a:pt x="3307246" y="394441"/>
                </a:lnTo>
                <a:lnTo>
                  <a:pt x="3303602" y="392620"/>
                </a:lnTo>
                <a:cubicBezTo>
                  <a:pt x="3312713" y="387152"/>
                  <a:pt x="3307246" y="376220"/>
                  <a:pt x="3298135" y="374397"/>
                </a:cubicBezTo>
                <a:cubicBezTo>
                  <a:pt x="3298135" y="376220"/>
                  <a:pt x="3298135" y="378041"/>
                  <a:pt x="3298135" y="378041"/>
                </a:cubicBezTo>
                <a:cubicBezTo>
                  <a:pt x="3294491" y="378041"/>
                  <a:pt x="3290847" y="374397"/>
                  <a:pt x="3289024" y="372576"/>
                </a:cubicBezTo>
                <a:close/>
                <a:moveTo>
                  <a:pt x="3037564" y="372576"/>
                </a:moveTo>
                <a:cubicBezTo>
                  <a:pt x="3033920" y="374397"/>
                  <a:pt x="3039387" y="381687"/>
                  <a:pt x="3039387" y="383509"/>
                </a:cubicBezTo>
                <a:cubicBezTo>
                  <a:pt x="3044853" y="381687"/>
                  <a:pt x="3037564" y="376220"/>
                  <a:pt x="3037564" y="372576"/>
                </a:cubicBezTo>
                <a:close/>
                <a:moveTo>
                  <a:pt x="2600243" y="370754"/>
                </a:moveTo>
                <a:cubicBezTo>
                  <a:pt x="2594776" y="374397"/>
                  <a:pt x="2598421" y="387152"/>
                  <a:pt x="2591132" y="379865"/>
                </a:cubicBezTo>
                <a:cubicBezTo>
                  <a:pt x="2592954" y="387152"/>
                  <a:pt x="2598421" y="379865"/>
                  <a:pt x="2598421" y="381687"/>
                </a:cubicBezTo>
                <a:cubicBezTo>
                  <a:pt x="2598421" y="388976"/>
                  <a:pt x="2603887" y="388976"/>
                  <a:pt x="2609353" y="390797"/>
                </a:cubicBezTo>
                <a:cubicBezTo>
                  <a:pt x="2607531" y="387152"/>
                  <a:pt x="2603887" y="383509"/>
                  <a:pt x="2605709" y="378041"/>
                </a:cubicBezTo>
                <a:cubicBezTo>
                  <a:pt x="2603887" y="379865"/>
                  <a:pt x="2603887" y="379865"/>
                  <a:pt x="2602065" y="381687"/>
                </a:cubicBezTo>
                <a:cubicBezTo>
                  <a:pt x="2600243" y="379865"/>
                  <a:pt x="2598421" y="370754"/>
                  <a:pt x="2600243" y="370754"/>
                </a:cubicBezTo>
                <a:close/>
                <a:moveTo>
                  <a:pt x="3243470" y="368932"/>
                </a:moveTo>
                <a:cubicBezTo>
                  <a:pt x="3239826" y="370754"/>
                  <a:pt x="3243470" y="370754"/>
                  <a:pt x="3243470" y="376220"/>
                </a:cubicBezTo>
                <a:cubicBezTo>
                  <a:pt x="3247114" y="378041"/>
                  <a:pt x="3250759" y="376220"/>
                  <a:pt x="3248937" y="374397"/>
                </a:cubicBezTo>
                <a:cubicBezTo>
                  <a:pt x="3248937" y="372576"/>
                  <a:pt x="3245292" y="372576"/>
                  <a:pt x="3243470" y="368932"/>
                </a:cubicBezTo>
                <a:close/>
                <a:moveTo>
                  <a:pt x="2399803" y="368932"/>
                </a:moveTo>
                <a:lnTo>
                  <a:pt x="2399600" y="369898"/>
                </a:lnTo>
                <a:lnTo>
                  <a:pt x="2392970" y="370753"/>
                </a:lnTo>
                <a:cubicBezTo>
                  <a:pt x="2388871" y="373031"/>
                  <a:pt x="2386137" y="376219"/>
                  <a:pt x="2387048" y="378041"/>
                </a:cubicBezTo>
                <a:cubicBezTo>
                  <a:pt x="2381582" y="374397"/>
                  <a:pt x="2376115" y="378041"/>
                  <a:pt x="2374293" y="381687"/>
                </a:cubicBezTo>
                <a:cubicBezTo>
                  <a:pt x="2374293" y="383509"/>
                  <a:pt x="2376115" y="387152"/>
                  <a:pt x="2377937" y="387152"/>
                </a:cubicBezTo>
                <a:cubicBezTo>
                  <a:pt x="2379760" y="387152"/>
                  <a:pt x="2376115" y="381687"/>
                  <a:pt x="2379760" y="379865"/>
                </a:cubicBezTo>
                <a:cubicBezTo>
                  <a:pt x="2385226" y="381687"/>
                  <a:pt x="2379760" y="392620"/>
                  <a:pt x="2387048" y="390797"/>
                </a:cubicBezTo>
                <a:cubicBezTo>
                  <a:pt x="2392515" y="388976"/>
                  <a:pt x="2388871" y="381687"/>
                  <a:pt x="2388871" y="376220"/>
                </a:cubicBezTo>
                <a:cubicBezTo>
                  <a:pt x="2390693" y="376220"/>
                  <a:pt x="2390693" y="376220"/>
                  <a:pt x="2392515" y="376220"/>
                </a:cubicBezTo>
                <a:cubicBezTo>
                  <a:pt x="2392515" y="378041"/>
                  <a:pt x="2392515" y="381687"/>
                  <a:pt x="2390693" y="383509"/>
                </a:cubicBezTo>
                <a:cubicBezTo>
                  <a:pt x="2393426" y="381686"/>
                  <a:pt x="2396160" y="379864"/>
                  <a:pt x="2397982" y="377587"/>
                </a:cubicBezTo>
                <a:lnTo>
                  <a:pt x="2399600" y="369898"/>
                </a:lnTo>
                <a:lnTo>
                  <a:pt x="2402284" y="369552"/>
                </a:lnTo>
                <a:lnTo>
                  <a:pt x="2407092" y="370754"/>
                </a:lnTo>
                <a:cubicBezTo>
                  <a:pt x="2403448" y="379865"/>
                  <a:pt x="2390693" y="392620"/>
                  <a:pt x="2397981" y="399908"/>
                </a:cubicBezTo>
                <a:cubicBezTo>
                  <a:pt x="2401626" y="403552"/>
                  <a:pt x="2403448" y="396264"/>
                  <a:pt x="2408914" y="390797"/>
                </a:cubicBezTo>
                <a:cubicBezTo>
                  <a:pt x="2410737" y="394441"/>
                  <a:pt x="2410737" y="403552"/>
                  <a:pt x="2418025" y="405375"/>
                </a:cubicBezTo>
                <a:cubicBezTo>
                  <a:pt x="2421669" y="405375"/>
                  <a:pt x="2423492" y="405375"/>
                  <a:pt x="2425314" y="403552"/>
                </a:cubicBezTo>
                <a:cubicBezTo>
                  <a:pt x="2427136" y="401731"/>
                  <a:pt x="2421669" y="396264"/>
                  <a:pt x="2423492" y="394441"/>
                </a:cubicBezTo>
                <a:cubicBezTo>
                  <a:pt x="2418025" y="396264"/>
                  <a:pt x="2419847" y="399908"/>
                  <a:pt x="2421669" y="401731"/>
                </a:cubicBezTo>
                <a:cubicBezTo>
                  <a:pt x="2419847" y="399908"/>
                  <a:pt x="2418025" y="398085"/>
                  <a:pt x="2418025" y="396264"/>
                </a:cubicBezTo>
                <a:cubicBezTo>
                  <a:pt x="2419847" y="390797"/>
                  <a:pt x="2428958" y="379865"/>
                  <a:pt x="2418025" y="376220"/>
                </a:cubicBezTo>
                <a:cubicBezTo>
                  <a:pt x="2418025" y="378041"/>
                  <a:pt x="2418025" y="383509"/>
                  <a:pt x="2418025" y="385331"/>
                </a:cubicBezTo>
                <a:cubicBezTo>
                  <a:pt x="2414381" y="385331"/>
                  <a:pt x="2412559" y="381687"/>
                  <a:pt x="2410737" y="383509"/>
                </a:cubicBezTo>
                <a:cubicBezTo>
                  <a:pt x="2410737" y="379865"/>
                  <a:pt x="2412559" y="370754"/>
                  <a:pt x="2407092" y="368932"/>
                </a:cubicBezTo>
                <a:lnTo>
                  <a:pt x="2402284" y="369552"/>
                </a:lnTo>
                <a:close/>
                <a:moveTo>
                  <a:pt x="2257674" y="368932"/>
                </a:moveTo>
                <a:cubicBezTo>
                  <a:pt x="2248563" y="374397"/>
                  <a:pt x="2248563" y="378041"/>
                  <a:pt x="2248563" y="385331"/>
                </a:cubicBezTo>
                <a:cubicBezTo>
                  <a:pt x="2243096" y="383509"/>
                  <a:pt x="2246741" y="376220"/>
                  <a:pt x="2244919" y="378041"/>
                </a:cubicBezTo>
                <a:cubicBezTo>
                  <a:pt x="2239452" y="379865"/>
                  <a:pt x="2232163" y="385331"/>
                  <a:pt x="2237630" y="390797"/>
                </a:cubicBezTo>
                <a:cubicBezTo>
                  <a:pt x="2239452" y="394441"/>
                  <a:pt x="2244919" y="392620"/>
                  <a:pt x="2246741" y="394441"/>
                </a:cubicBezTo>
                <a:cubicBezTo>
                  <a:pt x="2248563" y="399908"/>
                  <a:pt x="2248563" y="398085"/>
                  <a:pt x="2254030" y="399908"/>
                </a:cubicBezTo>
                <a:cubicBezTo>
                  <a:pt x="2254030" y="399908"/>
                  <a:pt x="2252207" y="399908"/>
                  <a:pt x="2252207" y="401731"/>
                </a:cubicBezTo>
                <a:cubicBezTo>
                  <a:pt x="2254030" y="401731"/>
                  <a:pt x="2254030" y="401731"/>
                  <a:pt x="2254030" y="401731"/>
                </a:cubicBezTo>
                <a:cubicBezTo>
                  <a:pt x="2261318" y="383509"/>
                  <a:pt x="2263140" y="399908"/>
                  <a:pt x="2254030" y="379865"/>
                </a:cubicBezTo>
                <a:cubicBezTo>
                  <a:pt x="2255852" y="379865"/>
                  <a:pt x="2257674" y="378041"/>
                  <a:pt x="2259496" y="376220"/>
                </a:cubicBezTo>
                <a:cubicBezTo>
                  <a:pt x="2257674" y="374397"/>
                  <a:pt x="2255852" y="372576"/>
                  <a:pt x="2257674" y="368932"/>
                </a:cubicBezTo>
                <a:close/>
                <a:moveTo>
                  <a:pt x="3469419" y="367109"/>
                </a:moveTo>
                <a:cubicBezTo>
                  <a:pt x="3469419" y="370754"/>
                  <a:pt x="3473064" y="372576"/>
                  <a:pt x="3476708" y="372576"/>
                </a:cubicBezTo>
                <a:cubicBezTo>
                  <a:pt x="3476708" y="370754"/>
                  <a:pt x="3473064" y="370754"/>
                  <a:pt x="3473064" y="367109"/>
                </a:cubicBezTo>
                <a:cubicBezTo>
                  <a:pt x="3471242" y="367109"/>
                  <a:pt x="3471242" y="367109"/>
                  <a:pt x="3469419" y="367109"/>
                </a:cubicBezTo>
                <a:close/>
                <a:moveTo>
                  <a:pt x="3423865" y="367109"/>
                </a:moveTo>
                <a:cubicBezTo>
                  <a:pt x="3418399" y="368932"/>
                  <a:pt x="3416577" y="374397"/>
                  <a:pt x="3414754" y="381687"/>
                </a:cubicBezTo>
                <a:cubicBezTo>
                  <a:pt x="3412932" y="379865"/>
                  <a:pt x="3411110" y="378041"/>
                  <a:pt x="3411110" y="376220"/>
                </a:cubicBezTo>
                <a:cubicBezTo>
                  <a:pt x="3409288" y="383509"/>
                  <a:pt x="3400177" y="385331"/>
                  <a:pt x="3391066" y="385331"/>
                </a:cubicBezTo>
                <a:cubicBezTo>
                  <a:pt x="3385600" y="385331"/>
                  <a:pt x="3381955" y="383509"/>
                  <a:pt x="3380133" y="378041"/>
                </a:cubicBezTo>
                <a:cubicBezTo>
                  <a:pt x="3380133" y="383509"/>
                  <a:pt x="3378311" y="392620"/>
                  <a:pt x="3385600" y="396264"/>
                </a:cubicBezTo>
                <a:cubicBezTo>
                  <a:pt x="3391066" y="396264"/>
                  <a:pt x="3394710" y="394441"/>
                  <a:pt x="3396532" y="392620"/>
                </a:cubicBezTo>
                <a:cubicBezTo>
                  <a:pt x="3396532" y="390797"/>
                  <a:pt x="3394710" y="388976"/>
                  <a:pt x="3396532" y="387152"/>
                </a:cubicBezTo>
                <a:cubicBezTo>
                  <a:pt x="3405643" y="383509"/>
                  <a:pt x="3418399" y="392620"/>
                  <a:pt x="3412932" y="399908"/>
                </a:cubicBezTo>
                <a:cubicBezTo>
                  <a:pt x="3416577" y="399908"/>
                  <a:pt x="3422043" y="396264"/>
                  <a:pt x="3416577" y="392620"/>
                </a:cubicBezTo>
                <a:cubicBezTo>
                  <a:pt x="3425687" y="396264"/>
                  <a:pt x="3434798" y="388976"/>
                  <a:pt x="3438443" y="390797"/>
                </a:cubicBezTo>
                <a:cubicBezTo>
                  <a:pt x="3434798" y="394441"/>
                  <a:pt x="3431154" y="399908"/>
                  <a:pt x="3438443" y="403552"/>
                </a:cubicBezTo>
                <a:cubicBezTo>
                  <a:pt x="3443909" y="403552"/>
                  <a:pt x="3447553" y="403552"/>
                  <a:pt x="3449376" y="399908"/>
                </a:cubicBezTo>
                <a:cubicBezTo>
                  <a:pt x="3453020" y="407196"/>
                  <a:pt x="3442087" y="407196"/>
                  <a:pt x="3442087" y="412664"/>
                </a:cubicBezTo>
                <a:cubicBezTo>
                  <a:pt x="3438443" y="412664"/>
                  <a:pt x="3440265" y="409019"/>
                  <a:pt x="3438443" y="407196"/>
                </a:cubicBezTo>
                <a:cubicBezTo>
                  <a:pt x="3432976" y="405375"/>
                  <a:pt x="3438443" y="410841"/>
                  <a:pt x="3434798" y="410841"/>
                </a:cubicBezTo>
                <a:cubicBezTo>
                  <a:pt x="3425687" y="409019"/>
                  <a:pt x="3432976" y="403552"/>
                  <a:pt x="3431154" y="401731"/>
                </a:cubicBezTo>
                <a:cubicBezTo>
                  <a:pt x="3423865" y="396264"/>
                  <a:pt x="3416577" y="399908"/>
                  <a:pt x="3412932" y="403552"/>
                </a:cubicBezTo>
                <a:cubicBezTo>
                  <a:pt x="3411110" y="405375"/>
                  <a:pt x="3412932" y="409019"/>
                  <a:pt x="3416577" y="410841"/>
                </a:cubicBezTo>
                <a:cubicBezTo>
                  <a:pt x="3420221" y="410841"/>
                  <a:pt x="3423865" y="409019"/>
                  <a:pt x="3425687" y="407196"/>
                </a:cubicBezTo>
                <a:cubicBezTo>
                  <a:pt x="3414754" y="416308"/>
                  <a:pt x="3412932" y="425419"/>
                  <a:pt x="3432976" y="434530"/>
                </a:cubicBezTo>
                <a:cubicBezTo>
                  <a:pt x="3427510" y="432707"/>
                  <a:pt x="3422043" y="432707"/>
                  <a:pt x="3423865" y="439995"/>
                </a:cubicBezTo>
                <a:cubicBezTo>
                  <a:pt x="3431154" y="438174"/>
                  <a:pt x="3445731" y="436351"/>
                  <a:pt x="3434798" y="427240"/>
                </a:cubicBezTo>
                <a:cubicBezTo>
                  <a:pt x="3443909" y="427240"/>
                  <a:pt x="3460309" y="427240"/>
                  <a:pt x="3460309" y="438174"/>
                </a:cubicBezTo>
                <a:cubicBezTo>
                  <a:pt x="3462131" y="441819"/>
                  <a:pt x="3460309" y="441819"/>
                  <a:pt x="3458487" y="443640"/>
                </a:cubicBezTo>
                <a:cubicBezTo>
                  <a:pt x="3456664" y="443640"/>
                  <a:pt x="3451198" y="439995"/>
                  <a:pt x="3449376" y="441819"/>
                </a:cubicBezTo>
                <a:cubicBezTo>
                  <a:pt x="3453020" y="445463"/>
                  <a:pt x="3454842" y="447284"/>
                  <a:pt x="3462131" y="449107"/>
                </a:cubicBezTo>
                <a:cubicBezTo>
                  <a:pt x="3456664" y="449107"/>
                  <a:pt x="3454842" y="452751"/>
                  <a:pt x="3460309" y="454574"/>
                </a:cubicBezTo>
                <a:cubicBezTo>
                  <a:pt x="3465775" y="458218"/>
                  <a:pt x="3474886" y="458218"/>
                  <a:pt x="3480353" y="460039"/>
                </a:cubicBezTo>
                <a:cubicBezTo>
                  <a:pt x="3480353" y="456395"/>
                  <a:pt x="3480353" y="454574"/>
                  <a:pt x="3485819" y="456395"/>
                </a:cubicBezTo>
                <a:cubicBezTo>
                  <a:pt x="3474886" y="439995"/>
                  <a:pt x="3483997" y="438174"/>
                  <a:pt x="3480353" y="423596"/>
                </a:cubicBezTo>
                <a:cubicBezTo>
                  <a:pt x="3478530" y="423596"/>
                  <a:pt x="3467597" y="419952"/>
                  <a:pt x="3471242" y="425419"/>
                </a:cubicBezTo>
                <a:cubicBezTo>
                  <a:pt x="3465775" y="423596"/>
                  <a:pt x="3469419" y="418129"/>
                  <a:pt x="3471242" y="418129"/>
                </a:cubicBezTo>
                <a:cubicBezTo>
                  <a:pt x="3462131" y="409019"/>
                  <a:pt x="3451198" y="399908"/>
                  <a:pt x="3440265" y="390797"/>
                </a:cubicBezTo>
                <a:cubicBezTo>
                  <a:pt x="3440265" y="388976"/>
                  <a:pt x="3442087" y="385331"/>
                  <a:pt x="3442087" y="383509"/>
                </a:cubicBezTo>
                <a:cubicBezTo>
                  <a:pt x="3442087" y="374397"/>
                  <a:pt x="3434798" y="365287"/>
                  <a:pt x="3423865" y="367109"/>
                </a:cubicBezTo>
                <a:close/>
                <a:moveTo>
                  <a:pt x="3232537" y="367109"/>
                </a:moveTo>
                <a:cubicBezTo>
                  <a:pt x="3238003" y="372576"/>
                  <a:pt x="3236181" y="379865"/>
                  <a:pt x="3245292" y="379865"/>
                </a:cubicBezTo>
                <a:cubicBezTo>
                  <a:pt x="3245292" y="374397"/>
                  <a:pt x="3236181" y="374397"/>
                  <a:pt x="3239826" y="367109"/>
                </a:cubicBezTo>
                <a:cubicBezTo>
                  <a:pt x="3238003" y="367109"/>
                  <a:pt x="3234359" y="367109"/>
                  <a:pt x="3232537" y="367109"/>
                </a:cubicBezTo>
                <a:close/>
                <a:moveTo>
                  <a:pt x="2321222" y="366882"/>
                </a:moveTo>
                <a:cubicBezTo>
                  <a:pt x="2320084" y="366654"/>
                  <a:pt x="2318717" y="367110"/>
                  <a:pt x="2317806" y="368932"/>
                </a:cubicBezTo>
                <a:cubicBezTo>
                  <a:pt x="2317806" y="368932"/>
                  <a:pt x="2317806" y="370754"/>
                  <a:pt x="2317806" y="370754"/>
                </a:cubicBezTo>
                <a:cubicBezTo>
                  <a:pt x="2319628" y="368932"/>
                  <a:pt x="2321450" y="368932"/>
                  <a:pt x="2323272" y="368932"/>
                </a:cubicBezTo>
                <a:cubicBezTo>
                  <a:pt x="2323272" y="368021"/>
                  <a:pt x="2322361" y="367109"/>
                  <a:pt x="2321222" y="366882"/>
                </a:cubicBezTo>
                <a:close/>
                <a:moveTo>
                  <a:pt x="2441031" y="366653"/>
                </a:moveTo>
                <a:cubicBezTo>
                  <a:pt x="2438981" y="366198"/>
                  <a:pt x="2436247" y="367109"/>
                  <a:pt x="2434425" y="368932"/>
                </a:cubicBezTo>
                <a:cubicBezTo>
                  <a:pt x="2436247" y="372576"/>
                  <a:pt x="2439891" y="374397"/>
                  <a:pt x="2443536" y="372576"/>
                </a:cubicBezTo>
                <a:cubicBezTo>
                  <a:pt x="2444447" y="368931"/>
                  <a:pt x="2443081" y="367109"/>
                  <a:pt x="2441031" y="366653"/>
                </a:cubicBezTo>
                <a:close/>
                <a:moveTo>
                  <a:pt x="3176050" y="365287"/>
                </a:moveTo>
                <a:cubicBezTo>
                  <a:pt x="3174227" y="367109"/>
                  <a:pt x="3177872" y="372576"/>
                  <a:pt x="3181516" y="372576"/>
                </a:cubicBezTo>
                <a:cubicBezTo>
                  <a:pt x="3183338" y="367109"/>
                  <a:pt x="3176050" y="368932"/>
                  <a:pt x="3176050" y="365287"/>
                </a:cubicBezTo>
                <a:close/>
                <a:moveTo>
                  <a:pt x="2977432" y="365287"/>
                </a:moveTo>
                <a:cubicBezTo>
                  <a:pt x="2977432" y="367109"/>
                  <a:pt x="2971966" y="365287"/>
                  <a:pt x="2973788" y="370754"/>
                </a:cubicBezTo>
                <a:cubicBezTo>
                  <a:pt x="2975610" y="368932"/>
                  <a:pt x="2975610" y="372576"/>
                  <a:pt x="2979255" y="370754"/>
                </a:cubicBezTo>
                <a:cubicBezTo>
                  <a:pt x="2979255" y="368932"/>
                  <a:pt x="2977432" y="367109"/>
                  <a:pt x="2977432" y="365287"/>
                </a:cubicBezTo>
                <a:close/>
                <a:moveTo>
                  <a:pt x="3387422" y="363465"/>
                </a:moveTo>
                <a:cubicBezTo>
                  <a:pt x="3385600" y="368932"/>
                  <a:pt x="3372844" y="365287"/>
                  <a:pt x="3376489" y="372576"/>
                </a:cubicBezTo>
                <a:cubicBezTo>
                  <a:pt x="3380133" y="378041"/>
                  <a:pt x="3383777" y="370754"/>
                  <a:pt x="3387422" y="374397"/>
                </a:cubicBezTo>
                <a:cubicBezTo>
                  <a:pt x="3391066" y="370754"/>
                  <a:pt x="3391066" y="367109"/>
                  <a:pt x="3387422" y="363465"/>
                </a:cubicBezTo>
                <a:close/>
                <a:moveTo>
                  <a:pt x="2509134" y="363465"/>
                </a:moveTo>
                <a:cubicBezTo>
                  <a:pt x="2496379" y="367109"/>
                  <a:pt x="2507312" y="368932"/>
                  <a:pt x="2507312" y="372576"/>
                </a:cubicBezTo>
                <a:cubicBezTo>
                  <a:pt x="2510956" y="372576"/>
                  <a:pt x="2510956" y="365287"/>
                  <a:pt x="2509134" y="363465"/>
                </a:cubicBezTo>
                <a:close/>
                <a:moveTo>
                  <a:pt x="2385226" y="363465"/>
                </a:moveTo>
                <a:cubicBezTo>
                  <a:pt x="2383404" y="370754"/>
                  <a:pt x="2392515" y="372576"/>
                  <a:pt x="2394337" y="363465"/>
                </a:cubicBezTo>
                <a:cubicBezTo>
                  <a:pt x="2388871" y="367109"/>
                  <a:pt x="2390693" y="361642"/>
                  <a:pt x="2385226" y="363465"/>
                </a:cubicBezTo>
                <a:close/>
                <a:moveTo>
                  <a:pt x="2161099" y="363465"/>
                </a:moveTo>
                <a:cubicBezTo>
                  <a:pt x="2155632" y="365287"/>
                  <a:pt x="2162921" y="372576"/>
                  <a:pt x="2159277" y="374397"/>
                </a:cubicBezTo>
                <a:cubicBezTo>
                  <a:pt x="2162921" y="376220"/>
                  <a:pt x="2164743" y="379865"/>
                  <a:pt x="2170210" y="381687"/>
                </a:cubicBezTo>
                <a:cubicBezTo>
                  <a:pt x="2168387" y="378041"/>
                  <a:pt x="2170210" y="376220"/>
                  <a:pt x="2172032" y="376220"/>
                </a:cubicBezTo>
                <a:cubicBezTo>
                  <a:pt x="2172032" y="376220"/>
                  <a:pt x="2172032" y="378041"/>
                  <a:pt x="2173854" y="378041"/>
                </a:cubicBezTo>
                <a:cubicBezTo>
                  <a:pt x="2170210" y="383509"/>
                  <a:pt x="2166565" y="387152"/>
                  <a:pt x="2170210" y="396264"/>
                </a:cubicBezTo>
                <a:cubicBezTo>
                  <a:pt x="2168387" y="398085"/>
                  <a:pt x="2168387" y="396264"/>
                  <a:pt x="2168387" y="394441"/>
                </a:cubicBezTo>
                <a:cubicBezTo>
                  <a:pt x="2166565" y="394441"/>
                  <a:pt x="2166565" y="398085"/>
                  <a:pt x="2166565" y="399908"/>
                </a:cubicBezTo>
                <a:cubicBezTo>
                  <a:pt x="2168387" y="396264"/>
                  <a:pt x="2168387" y="401731"/>
                  <a:pt x="2168387" y="405375"/>
                </a:cubicBezTo>
                <a:cubicBezTo>
                  <a:pt x="2168387" y="405375"/>
                  <a:pt x="2170210" y="403552"/>
                  <a:pt x="2170210" y="405375"/>
                </a:cubicBezTo>
                <a:cubicBezTo>
                  <a:pt x="2168387" y="399908"/>
                  <a:pt x="2173854" y="401731"/>
                  <a:pt x="2173854" y="394441"/>
                </a:cubicBezTo>
                <a:cubicBezTo>
                  <a:pt x="2175676" y="396264"/>
                  <a:pt x="2177498" y="396264"/>
                  <a:pt x="2179320" y="396264"/>
                </a:cubicBezTo>
                <a:cubicBezTo>
                  <a:pt x="2182965" y="388976"/>
                  <a:pt x="2182965" y="374397"/>
                  <a:pt x="2179320" y="367109"/>
                </a:cubicBezTo>
                <a:cubicBezTo>
                  <a:pt x="2177498" y="370754"/>
                  <a:pt x="2175676" y="370754"/>
                  <a:pt x="2175676" y="365287"/>
                </a:cubicBezTo>
                <a:cubicBezTo>
                  <a:pt x="2172032" y="367109"/>
                  <a:pt x="2177498" y="372576"/>
                  <a:pt x="2177498" y="374397"/>
                </a:cubicBezTo>
                <a:cubicBezTo>
                  <a:pt x="2172032" y="374397"/>
                  <a:pt x="2172032" y="368932"/>
                  <a:pt x="2170210" y="365287"/>
                </a:cubicBezTo>
                <a:cubicBezTo>
                  <a:pt x="2166565" y="365287"/>
                  <a:pt x="2170210" y="370754"/>
                  <a:pt x="2168387" y="370754"/>
                </a:cubicBezTo>
                <a:cubicBezTo>
                  <a:pt x="2162921" y="370754"/>
                  <a:pt x="2164743" y="365287"/>
                  <a:pt x="2161099" y="363465"/>
                </a:cubicBezTo>
                <a:close/>
                <a:moveTo>
                  <a:pt x="2379760" y="361642"/>
                </a:moveTo>
                <a:cubicBezTo>
                  <a:pt x="2367004" y="359821"/>
                  <a:pt x="2361538" y="374397"/>
                  <a:pt x="2368827" y="383509"/>
                </a:cubicBezTo>
                <a:cubicBezTo>
                  <a:pt x="2372471" y="381687"/>
                  <a:pt x="2374293" y="379865"/>
                  <a:pt x="2374293" y="376220"/>
                </a:cubicBezTo>
                <a:cubicBezTo>
                  <a:pt x="2376115" y="378041"/>
                  <a:pt x="2372471" y="383509"/>
                  <a:pt x="2376115" y="379865"/>
                </a:cubicBezTo>
                <a:cubicBezTo>
                  <a:pt x="2383404" y="374397"/>
                  <a:pt x="2388871" y="363465"/>
                  <a:pt x="2379760" y="361642"/>
                </a:cubicBezTo>
                <a:close/>
                <a:moveTo>
                  <a:pt x="3436621" y="359821"/>
                </a:moveTo>
                <a:cubicBezTo>
                  <a:pt x="3429332" y="363465"/>
                  <a:pt x="3436621" y="370754"/>
                  <a:pt x="3440265" y="370754"/>
                </a:cubicBezTo>
                <a:cubicBezTo>
                  <a:pt x="3445731" y="368932"/>
                  <a:pt x="3436621" y="363465"/>
                  <a:pt x="3436621" y="359821"/>
                </a:cubicBezTo>
                <a:close/>
                <a:moveTo>
                  <a:pt x="3405643" y="359821"/>
                </a:moveTo>
                <a:cubicBezTo>
                  <a:pt x="3398355" y="363465"/>
                  <a:pt x="3394710" y="372576"/>
                  <a:pt x="3405643" y="378041"/>
                </a:cubicBezTo>
                <a:cubicBezTo>
                  <a:pt x="3398355" y="370754"/>
                  <a:pt x="3407466" y="367109"/>
                  <a:pt x="3405643" y="359821"/>
                </a:cubicBezTo>
                <a:close/>
                <a:moveTo>
                  <a:pt x="3139606" y="359821"/>
                </a:moveTo>
                <a:cubicBezTo>
                  <a:pt x="3135962" y="359821"/>
                  <a:pt x="3135962" y="361642"/>
                  <a:pt x="3134140" y="361642"/>
                </a:cubicBezTo>
                <a:cubicBezTo>
                  <a:pt x="3134140" y="367109"/>
                  <a:pt x="3139606" y="365287"/>
                  <a:pt x="3139606" y="368932"/>
                </a:cubicBezTo>
                <a:cubicBezTo>
                  <a:pt x="3141428" y="368932"/>
                  <a:pt x="3137784" y="363465"/>
                  <a:pt x="3139606" y="359821"/>
                </a:cubicBezTo>
                <a:close/>
                <a:moveTo>
                  <a:pt x="2443536" y="359821"/>
                </a:moveTo>
                <a:cubicBezTo>
                  <a:pt x="2443536" y="365287"/>
                  <a:pt x="2449002" y="368932"/>
                  <a:pt x="2450824" y="367109"/>
                </a:cubicBezTo>
                <a:cubicBezTo>
                  <a:pt x="2450824" y="361642"/>
                  <a:pt x="2447180" y="359821"/>
                  <a:pt x="2443536" y="359821"/>
                </a:cubicBezTo>
                <a:close/>
                <a:moveTo>
                  <a:pt x="2157454" y="357998"/>
                </a:moveTo>
                <a:cubicBezTo>
                  <a:pt x="2155632" y="363465"/>
                  <a:pt x="2164743" y="363465"/>
                  <a:pt x="2162921" y="357998"/>
                </a:cubicBezTo>
                <a:cubicBezTo>
                  <a:pt x="2161099" y="357998"/>
                  <a:pt x="2159277" y="357998"/>
                  <a:pt x="2157454" y="357998"/>
                </a:cubicBezTo>
                <a:close/>
                <a:moveTo>
                  <a:pt x="3050319" y="356176"/>
                </a:moveTo>
                <a:cubicBezTo>
                  <a:pt x="3048497" y="361642"/>
                  <a:pt x="3052142" y="363465"/>
                  <a:pt x="3055786" y="365287"/>
                </a:cubicBezTo>
                <a:cubicBezTo>
                  <a:pt x="3053964" y="361642"/>
                  <a:pt x="3055786" y="356176"/>
                  <a:pt x="3050319" y="356176"/>
                </a:cubicBezTo>
                <a:close/>
                <a:moveTo>
                  <a:pt x="2458683" y="355891"/>
                </a:moveTo>
                <a:lnTo>
                  <a:pt x="2460136" y="355976"/>
                </a:lnTo>
                <a:lnTo>
                  <a:pt x="2458113" y="357998"/>
                </a:lnTo>
                <a:lnTo>
                  <a:pt x="2458023" y="356864"/>
                </a:lnTo>
                <a:close/>
                <a:moveTo>
                  <a:pt x="3008097" y="355465"/>
                </a:moveTo>
                <a:cubicBezTo>
                  <a:pt x="3008523" y="357429"/>
                  <a:pt x="3010232" y="365287"/>
                  <a:pt x="3004765" y="359821"/>
                </a:cubicBezTo>
                <a:cubicBezTo>
                  <a:pt x="3002943" y="363465"/>
                  <a:pt x="3008410" y="361642"/>
                  <a:pt x="3010232" y="363465"/>
                </a:cubicBezTo>
                <a:cubicBezTo>
                  <a:pt x="3012054" y="359821"/>
                  <a:pt x="3008410" y="359821"/>
                  <a:pt x="3008410" y="356176"/>
                </a:cubicBezTo>
                <a:cubicBezTo>
                  <a:pt x="3007955" y="354810"/>
                  <a:pt x="3007954" y="354810"/>
                  <a:pt x="3008097" y="355465"/>
                </a:cubicBezTo>
                <a:close/>
                <a:moveTo>
                  <a:pt x="1069616" y="354379"/>
                </a:moveTo>
                <a:cubicBezTo>
                  <a:pt x="1071439" y="358023"/>
                  <a:pt x="1069616" y="363490"/>
                  <a:pt x="1069616" y="367134"/>
                </a:cubicBezTo>
                <a:cubicBezTo>
                  <a:pt x="1069616" y="368956"/>
                  <a:pt x="1069616" y="372601"/>
                  <a:pt x="1067794" y="374422"/>
                </a:cubicBezTo>
                <a:cubicBezTo>
                  <a:pt x="1069616" y="368956"/>
                  <a:pt x="1069616" y="359846"/>
                  <a:pt x="1069616" y="354379"/>
                </a:cubicBezTo>
                <a:close/>
                <a:moveTo>
                  <a:pt x="2611176" y="354354"/>
                </a:moveTo>
                <a:cubicBezTo>
                  <a:pt x="2611176" y="361642"/>
                  <a:pt x="2605709" y="361642"/>
                  <a:pt x="2609353" y="367109"/>
                </a:cubicBezTo>
                <a:cubicBezTo>
                  <a:pt x="2609353" y="367109"/>
                  <a:pt x="2605709" y="363465"/>
                  <a:pt x="2603887" y="367109"/>
                </a:cubicBezTo>
                <a:cubicBezTo>
                  <a:pt x="2603887" y="372576"/>
                  <a:pt x="2612998" y="372576"/>
                  <a:pt x="2618464" y="370754"/>
                </a:cubicBezTo>
                <a:cubicBezTo>
                  <a:pt x="2616642" y="365287"/>
                  <a:pt x="2614820" y="357998"/>
                  <a:pt x="2611176" y="354354"/>
                </a:cubicBezTo>
                <a:close/>
                <a:moveTo>
                  <a:pt x="2274074" y="354354"/>
                </a:moveTo>
                <a:cubicBezTo>
                  <a:pt x="2272251" y="356176"/>
                  <a:pt x="2272251" y="357998"/>
                  <a:pt x="2268607" y="359821"/>
                </a:cubicBezTo>
                <a:cubicBezTo>
                  <a:pt x="2268607" y="363465"/>
                  <a:pt x="2270429" y="365287"/>
                  <a:pt x="2272251" y="365287"/>
                </a:cubicBezTo>
                <a:cubicBezTo>
                  <a:pt x="2272251" y="363465"/>
                  <a:pt x="2274074" y="363465"/>
                  <a:pt x="2274074" y="363465"/>
                </a:cubicBezTo>
                <a:cubicBezTo>
                  <a:pt x="2275896" y="359821"/>
                  <a:pt x="2274074" y="357998"/>
                  <a:pt x="2274074" y="354354"/>
                </a:cubicBezTo>
                <a:close/>
                <a:moveTo>
                  <a:pt x="3183338" y="352532"/>
                </a:moveTo>
                <a:cubicBezTo>
                  <a:pt x="3181516" y="356176"/>
                  <a:pt x="3185160" y="363465"/>
                  <a:pt x="3188805" y="363465"/>
                </a:cubicBezTo>
                <a:cubicBezTo>
                  <a:pt x="3185160" y="359821"/>
                  <a:pt x="3185160" y="356176"/>
                  <a:pt x="3183338" y="352532"/>
                </a:cubicBezTo>
                <a:close/>
                <a:moveTo>
                  <a:pt x="1909639" y="350728"/>
                </a:moveTo>
                <a:lnTo>
                  <a:pt x="1914378" y="360204"/>
                </a:lnTo>
                <a:lnTo>
                  <a:pt x="1918750" y="354374"/>
                </a:lnTo>
                <a:cubicBezTo>
                  <a:pt x="1918750" y="354374"/>
                  <a:pt x="1918750" y="356196"/>
                  <a:pt x="1920571" y="356196"/>
                </a:cubicBezTo>
                <a:lnTo>
                  <a:pt x="1915716" y="359837"/>
                </a:lnTo>
                <a:lnTo>
                  <a:pt x="1914610" y="360668"/>
                </a:lnTo>
                <a:lnTo>
                  <a:pt x="1915105" y="361661"/>
                </a:lnTo>
                <a:cubicBezTo>
                  <a:pt x="1919660" y="362572"/>
                  <a:pt x="1922849" y="364849"/>
                  <a:pt x="1925127" y="367811"/>
                </a:cubicBezTo>
                <a:lnTo>
                  <a:pt x="1929682" y="378060"/>
                </a:lnTo>
                <a:lnTo>
                  <a:pt x="1929682" y="378059"/>
                </a:lnTo>
                <a:cubicBezTo>
                  <a:pt x="1931504" y="378059"/>
                  <a:pt x="1933327" y="378059"/>
                  <a:pt x="1935149" y="376237"/>
                </a:cubicBezTo>
                <a:cubicBezTo>
                  <a:pt x="1935149" y="376237"/>
                  <a:pt x="1935149" y="378059"/>
                  <a:pt x="1935149" y="378059"/>
                </a:cubicBezTo>
                <a:cubicBezTo>
                  <a:pt x="1933327" y="378059"/>
                  <a:pt x="1931504" y="378059"/>
                  <a:pt x="1929682" y="379882"/>
                </a:cubicBezTo>
                <a:lnTo>
                  <a:pt x="1929682" y="378061"/>
                </a:lnTo>
                <a:lnTo>
                  <a:pt x="1916927" y="370772"/>
                </a:lnTo>
                <a:cubicBezTo>
                  <a:pt x="1916927" y="363483"/>
                  <a:pt x="1904172" y="359839"/>
                  <a:pt x="1909639" y="350728"/>
                </a:cubicBezTo>
                <a:close/>
                <a:moveTo>
                  <a:pt x="2550890" y="348651"/>
                </a:moveTo>
                <a:lnTo>
                  <a:pt x="2551011" y="348678"/>
                </a:lnTo>
                <a:lnTo>
                  <a:pt x="2551044" y="348888"/>
                </a:lnTo>
                <a:close/>
                <a:moveTo>
                  <a:pt x="1918750" y="347085"/>
                </a:moveTo>
                <a:cubicBezTo>
                  <a:pt x="1920571" y="348907"/>
                  <a:pt x="1920571" y="348907"/>
                  <a:pt x="1920571" y="348907"/>
                </a:cubicBezTo>
                <a:cubicBezTo>
                  <a:pt x="1918750" y="354374"/>
                  <a:pt x="1911460" y="352552"/>
                  <a:pt x="1909639" y="348907"/>
                </a:cubicBezTo>
                <a:cubicBezTo>
                  <a:pt x="1913283" y="347085"/>
                  <a:pt x="1915105" y="348907"/>
                  <a:pt x="1918750" y="347085"/>
                </a:cubicBezTo>
                <a:close/>
                <a:moveTo>
                  <a:pt x="530253" y="347066"/>
                </a:moveTo>
                <a:cubicBezTo>
                  <a:pt x="538453" y="369843"/>
                  <a:pt x="544375" y="393075"/>
                  <a:pt x="546425" y="416536"/>
                </a:cubicBezTo>
                <a:lnTo>
                  <a:pt x="544553" y="435318"/>
                </a:lnTo>
                <a:lnTo>
                  <a:pt x="540275" y="391253"/>
                </a:lnTo>
                <a:cubicBezTo>
                  <a:pt x="536631" y="376220"/>
                  <a:pt x="532075" y="361643"/>
                  <a:pt x="530253" y="347066"/>
                </a:cubicBezTo>
                <a:close/>
                <a:moveTo>
                  <a:pt x="3197916" y="345242"/>
                </a:moveTo>
                <a:cubicBezTo>
                  <a:pt x="3196093" y="345242"/>
                  <a:pt x="3197916" y="350710"/>
                  <a:pt x="3197916" y="352532"/>
                </a:cubicBezTo>
                <a:cubicBezTo>
                  <a:pt x="3199738" y="352532"/>
                  <a:pt x="3201560" y="352532"/>
                  <a:pt x="3201560" y="354354"/>
                </a:cubicBezTo>
                <a:cubicBezTo>
                  <a:pt x="3205204" y="352532"/>
                  <a:pt x="3199738" y="348888"/>
                  <a:pt x="3197916" y="345242"/>
                </a:cubicBezTo>
                <a:close/>
                <a:moveTo>
                  <a:pt x="2405270" y="345242"/>
                </a:moveTo>
                <a:cubicBezTo>
                  <a:pt x="2401626" y="347066"/>
                  <a:pt x="2397981" y="348888"/>
                  <a:pt x="2397981" y="354354"/>
                </a:cubicBezTo>
                <a:cubicBezTo>
                  <a:pt x="2401626" y="352532"/>
                  <a:pt x="2399803" y="361642"/>
                  <a:pt x="2403448" y="361642"/>
                </a:cubicBezTo>
                <a:cubicBezTo>
                  <a:pt x="2405270" y="356176"/>
                  <a:pt x="2405270" y="350710"/>
                  <a:pt x="2405270" y="345242"/>
                </a:cubicBezTo>
                <a:close/>
                <a:moveTo>
                  <a:pt x="2996793" y="344787"/>
                </a:moveTo>
                <a:cubicBezTo>
                  <a:pt x="2995654" y="345699"/>
                  <a:pt x="2994743" y="347066"/>
                  <a:pt x="2993832" y="347066"/>
                </a:cubicBezTo>
                <a:cubicBezTo>
                  <a:pt x="2995654" y="350710"/>
                  <a:pt x="3002943" y="352532"/>
                  <a:pt x="3001121" y="345242"/>
                </a:cubicBezTo>
                <a:cubicBezTo>
                  <a:pt x="2999299" y="343421"/>
                  <a:pt x="2997932" y="343876"/>
                  <a:pt x="2996793" y="344787"/>
                </a:cubicBezTo>
                <a:close/>
                <a:moveTo>
                  <a:pt x="3389244" y="343421"/>
                </a:moveTo>
                <a:cubicBezTo>
                  <a:pt x="3391066" y="350710"/>
                  <a:pt x="3378311" y="350710"/>
                  <a:pt x="3381955" y="359821"/>
                </a:cubicBezTo>
                <a:cubicBezTo>
                  <a:pt x="3385600" y="357998"/>
                  <a:pt x="3391066" y="352532"/>
                  <a:pt x="3392888" y="359821"/>
                </a:cubicBezTo>
                <a:cubicBezTo>
                  <a:pt x="3394710" y="356176"/>
                  <a:pt x="3398355" y="350710"/>
                  <a:pt x="3398355" y="345242"/>
                </a:cubicBezTo>
                <a:cubicBezTo>
                  <a:pt x="3394710" y="343421"/>
                  <a:pt x="3391066" y="347066"/>
                  <a:pt x="3389244" y="343421"/>
                </a:cubicBezTo>
                <a:close/>
                <a:moveTo>
                  <a:pt x="3097696" y="343421"/>
                </a:moveTo>
                <a:cubicBezTo>
                  <a:pt x="3097696" y="347066"/>
                  <a:pt x="3097696" y="347066"/>
                  <a:pt x="3097696" y="348888"/>
                </a:cubicBezTo>
                <a:cubicBezTo>
                  <a:pt x="3101340" y="345242"/>
                  <a:pt x="3099518" y="347066"/>
                  <a:pt x="3103163" y="348888"/>
                </a:cubicBezTo>
                <a:cubicBezTo>
                  <a:pt x="3104985" y="343421"/>
                  <a:pt x="3099518" y="345242"/>
                  <a:pt x="3097696" y="343421"/>
                </a:cubicBezTo>
                <a:close/>
                <a:moveTo>
                  <a:pt x="2425314" y="343421"/>
                </a:moveTo>
                <a:cubicBezTo>
                  <a:pt x="2425314" y="350710"/>
                  <a:pt x="2421669" y="361642"/>
                  <a:pt x="2425314" y="365287"/>
                </a:cubicBezTo>
                <a:cubicBezTo>
                  <a:pt x="2430780" y="363465"/>
                  <a:pt x="2425314" y="359821"/>
                  <a:pt x="2427136" y="356176"/>
                </a:cubicBezTo>
                <a:cubicBezTo>
                  <a:pt x="2432603" y="354354"/>
                  <a:pt x="2428958" y="359821"/>
                  <a:pt x="2432603" y="357998"/>
                </a:cubicBezTo>
                <a:cubicBezTo>
                  <a:pt x="2432603" y="352532"/>
                  <a:pt x="2434425" y="348888"/>
                  <a:pt x="2434425" y="345242"/>
                </a:cubicBezTo>
                <a:cubicBezTo>
                  <a:pt x="2430780" y="345242"/>
                  <a:pt x="2430780" y="341598"/>
                  <a:pt x="2425314" y="343421"/>
                </a:cubicBezTo>
                <a:close/>
                <a:moveTo>
                  <a:pt x="2008036" y="343421"/>
                </a:moveTo>
                <a:lnTo>
                  <a:pt x="2020680" y="356064"/>
                </a:lnTo>
                <a:lnTo>
                  <a:pt x="2018969" y="356176"/>
                </a:lnTo>
                <a:lnTo>
                  <a:pt x="2007445" y="345932"/>
                </a:lnTo>
                <a:close/>
                <a:moveTo>
                  <a:pt x="3068541" y="341598"/>
                </a:moveTo>
                <a:cubicBezTo>
                  <a:pt x="3066719" y="343421"/>
                  <a:pt x="3068541" y="352532"/>
                  <a:pt x="3074008" y="352532"/>
                </a:cubicBezTo>
                <a:cubicBezTo>
                  <a:pt x="3072186" y="348888"/>
                  <a:pt x="3075830" y="348888"/>
                  <a:pt x="3074008" y="345242"/>
                </a:cubicBezTo>
                <a:cubicBezTo>
                  <a:pt x="3070363" y="345242"/>
                  <a:pt x="3068541" y="343421"/>
                  <a:pt x="3068541" y="341598"/>
                </a:cubicBezTo>
                <a:close/>
                <a:moveTo>
                  <a:pt x="1745643" y="341598"/>
                </a:moveTo>
                <a:lnTo>
                  <a:pt x="1762043" y="356176"/>
                </a:lnTo>
                <a:lnTo>
                  <a:pt x="1783909" y="361642"/>
                </a:lnTo>
                <a:lnTo>
                  <a:pt x="1798487" y="357998"/>
                </a:lnTo>
                <a:cubicBezTo>
                  <a:pt x="1813063" y="379865"/>
                  <a:pt x="1827642" y="388976"/>
                  <a:pt x="1845864" y="409019"/>
                </a:cubicBezTo>
                <a:cubicBezTo>
                  <a:pt x="1860440" y="425419"/>
                  <a:pt x="1856796" y="427240"/>
                  <a:pt x="1865906" y="441819"/>
                </a:cubicBezTo>
                <a:cubicBezTo>
                  <a:pt x="1867729" y="445463"/>
                  <a:pt x="1882306" y="458218"/>
                  <a:pt x="1887773" y="463684"/>
                </a:cubicBezTo>
                <a:lnTo>
                  <a:pt x="1884128" y="547504"/>
                </a:lnTo>
                <a:cubicBezTo>
                  <a:pt x="1885950" y="549326"/>
                  <a:pt x="1885950" y="547504"/>
                  <a:pt x="1887773" y="545681"/>
                </a:cubicBezTo>
                <a:cubicBezTo>
                  <a:pt x="1891417" y="545681"/>
                  <a:pt x="1893239" y="549326"/>
                  <a:pt x="1895061" y="551148"/>
                </a:cubicBezTo>
                <a:cubicBezTo>
                  <a:pt x="1902350" y="552970"/>
                  <a:pt x="1920572" y="554792"/>
                  <a:pt x="1922394" y="543860"/>
                </a:cubicBezTo>
                <a:cubicBezTo>
                  <a:pt x="1940616" y="549326"/>
                  <a:pt x="1955194" y="529282"/>
                  <a:pt x="1957015" y="514705"/>
                </a:cubicBezTo>
                <a:cubicBezTo>
                  <a:pt x="1957015" y="516527"/>
                  <a:pt x="1957015" y="520171"/>
                  <a:pt x="1958837" y="520171"/>
                </a:cubicBezTo>
                <a:lnTo>
                  <a:pt x="1961372" y="518482"/>
                </a:lnTo>
                <a:lnTo>
                  <a:pt x="1956559" y="529994"/>
                </a:lnTo>
                <a:cubicBezTo>
                  <a:pt x="1955535" y="536799"/>
                  <a:pt x="1956559" y="543860"/>
                  <a:pt x="1960659" y="551148"/>
                </a:cubicBezTo>
                <a:cubicBezTo>
                  <a:pt x="1951549" y="551148"/>
                  <a:pt x="1955194" y="540215"/>
                  <a:pt x="1947904" y="536571"/>
                </a:cubicBezTo>
                <a:cubicBezTo>
                  <a:pt x="1944260" y="545681"/>
                  <a:pt x="1942438" y="552970"/>
                  <a:pt x="1949726" y="560260"/>
                </a:cubicBezTo>
                <a:cubicBezTo>
                  <a:pt x="1951549" y="556616"/>
                  <a:pt x="1951549" y="554792"/>
                  <a:pt x="1951549" y="552970"/>
                </a:cubicBezTo>
                <a:cubicBezTo>
                  <a:pt x="1964305" y="556616"/>
                  <a:pt x="1953371" y="567548"/>
                  <a:pt x="1949726" y="574836"/>
                </a:cubicBezTo>
                <a:cubicBezTo>
                  <a:pt x="1949726" y="571192"/>
                  <a:pt x="1947904" y="567548"/>
                  <a:pt x="1942438" y="567548"/>
                </a:cubicBezTo>
                <a:cubicBezTo>
                  <a:pt x="1947904" y="560260"/>
                  <a:pt x="1942438" y="552970"/>
                  <a:pt x="1940616" y="545681"/>
                </a:cubicBezTo>
                <a:cubicBezTo>
                  <a:pt x="1938793" y="551148"/>
                  <a:pt x="1942438" y="556616"/>
                  <a:pt x="1940616" y="558437"/>
                </a:cubicBezTo>
                <a:cubicBezTo>
                  <a:pt x="1935149" y="562081"/>
                  <a:pt x="1936972" y="551148"/>
                  <a:pt x="1933327" y="552970"/>
                </a:cubicBezTo>
                <a:cubicBezTo>
                  <a:pt x="1918750" y="558437"/>
                  <a:pt x="1893239" y="560260"/>
                  <a:pt x="1895061" y="582125"/>
                </a:cubicBezTo>
                <a:cubicBezTo>
                  <a:pt x="1891417" y="578481"/>
                  <a:pt x="1885950" y="578481"/>
                  <a:pt x="1882306" y="576658"/>
                </a:cubicBezTo>
                <a:cubicBezTo>
                  <a:pt x="1882306" y="578481"/>
                  <a:pt x="1882306" y="582125"/>
                  <a:pt x="1884128" y="583947"/>
                </a:cubicBezTo>
                <a:cubicBezTo>
                  <a:pt x="1880484" y="583947"/>
                  <a:pt x="1876839" y="576658"/>
                  <a:pt x="1875017" y="582125"/>
                </a:cubicBezTo>
                <a:cubicBezTo>
                  <a:pt x="1875017" y="585769"/>
                  <a:pt x="1878662" y="594880"/>
                  <a:pt x="1873195" y="593058"/>
                </a:cubicBezTo>
                <a:cubicBezTo>
                  <a:pt x="1864084" y="589414"/>
                  <a:pt x="1871373" y="576658"/>
                  <a:pt x="1880484" y="569370"/>
                </a:cubicBezTo>
                <a:cubicBezTo>
                  <a:pt x="1884128" y="569370"/>
                  <a:pt x="1885950" y="569370"/>
                  <a:pt x="1887773" y="571192"/>
                </a:cubicBezTo>
                <a:cubicBezTo>
                  <a:pt x="1887773" y="569370"/>
                  <a:pt x="1887773" y="563904"/>
                  <a:pt x="1885950" y="563904"/>
                </a:cubicBezTo>
                <a:cubicBezTo>
                  <a:pt x="1882306" y="563904"/>
                  <a:pt x="1876839" y="562081"/>
                  <a:pt x="1871373" y="563904"/>
                </a:cubicBezTo>
                <a:lnTo>
                  <a:pt x="1871373" y="565725"/>
                </a:lnTo>
                <a:lnTo>
                  <a:pt x="1862262" y="573014"/>
                </a:lnTo>
                <a:cubicBezTo>
                  <a:pt x="1862262" y="574836"/>
                  <a:pt x="1862262" y="574836"/>
                  <a:pt x="1862262" y="576658"/>
                </a:cubicBezTo>
                <a:cubicBezTo>
                  <a:pt x="1862262" y="576658"/>
                  <a:pt x="1860440" y="574836"/>
                  <a:pt x="1860440" y="574836"/>
                </a:cubicBezTo>
                <a:lnTo>
                  <a:pt x="1860440" y="596702"/>
                </a:lnTo>
                <a:lnTo>
                  <a:pt x="1838574" y="613103"/>
                </a:lnTo>
                <a:lnTo>
                  <a:pt x="1845864" y="625857"/>
                </a:lnTo>
                <a:lnTo>
                  <a:pt x="1822174" y="625857"/>
                </a:lnTo>
                <a:lnTo>
                  <a:pt x="1829463" y="640435"/>
                </a:lnTo>
                <a:lnTo>
                  <a:pt x="1796664" y="669589"/>
                </a:lnTo>
                <a:lnTo>
                  <a:pt x="1783909" y="662301"/>
                </a:lnTo>
                <a:lnTo>
                  <a:pt x="1774798" y="676878"/>
                </a:lnTo>
                <a:cubicBezTo>
                  <a:pt x="1756576" y="669589"/>
                  <a:pt x="1772976" y="667767"/>
                  <a:pt x="1752932" y="676878"/>
                </a:cubicBezTo>
                <a:cubicBezTo>
                  <a:pt x="1741999" y="667767"/>
                  <a:pt x="1769331" y="669589"/>
                  <a:pt x="1738354" y="669589"/>
                </a:cubicBezTo>
                <a:lnTo>
                  <a:pt x="1723777" y="669589"/>
                </a:lnTo>
                <a:lnTo>
                  <a:pt x="1709200" y="676878"/>
                </a:lnTo>
                <a:lnTo>
                  <a:pt x="1694622" y="667767"/>
                </a:lnTo>
                <a:lnTo>
                  <a:pt x="1680046" y="667767"/>
                </a:lnTo>
                <a:lnTo>
                  <a:pt x="1658179" y="667767"/>
                </a:lnTo>
                <a:cubicBezTo>
                  <a:pt x="1632669" y="667767"/>
                  <a:pt x="1588936" y="607635"/>
                  <a:pt x="1567070" y="593058"/>
                </a:cubicBezTo>
                <a:lnTo>
                  <a:pt x="1574359" y="576658"/>
                </a:lnTo>
                <a:lnTo>
                  <a:pt x="1554315" y="529282"/>
                </a:lnTo>
                <a:cubicBezTo>
                  <a:pt x="1557959" y="511061"/>
                  <a:pt x="1559781" y="527461"/>
                  <a:pt x="1550670" y="507417"/>
                </a:cubicBezTo>
                <a:cubicBezTo>
                  <a:pt x="1559781" y="496483"/>
                  <a:pt x="1557959" y="523815"/>
                  <a:pt x="1557959" y="492838"/>
                </a:cubicBezTo>
                <a:lnTo>
                  <a:pt x="1557959" y="485550"/>
                </a:lnTo>
                <a:cubicBezTo>
                  <a:pt x="1557959" y="467328"/>
                  <a:pt x="1552492" y="467328"/>
                  <a:pt x="1543382" y="454574"/>
                </a:cubicBezTo>
                <a:lnTo>
                  <a:pt x="1521516" y="447284"/>
                </a:lnTo>
                <a:cubicBezTo>
                  <a:pt x="1548848" y="447284"/>
                  <a:pt x="1567070" y="452751"/>
                  <a:pt x="1567070" y="425419"/>
                </a:cubicBezTo>
                <a:lnTo>
                  <a:pt x="1567070" y="418129"/>
                </a:lnTo>
                <a:lnTo>
                  <a:pt x="1567070" y="403552"/>
                </a:lnTo>
                <a:lnTo>
                  <a:pt x="1585292" y="390797"/>
                </a:lnTo>
                <a:lnTo>
                  <a:pt x="1605336" y="405375"/>
                </a:lnTo>
                <a:lnTo>
                  <a:pt x="1645423" y="359821"/>
                </a:lnTo>
                <a:lnTo>
                  <a:pt x="1658179" y="367109"/>
                </a:lnTo>
                <a:lnTo>
                  <a:pt x="1705555" y="345242"/>
                </a:lnTo>
                <a:lnTo>
                  <a:pt x="1718310" y="350710"/>
                </a:lnTo>
                <a:close/>
                <a:moveTo>
                  <a:pt x="3043031" y="339777"/>
                </a:moveTo>
                <a:cubicBezTo>
                  <a:pt x="3039387" y="339777"/>
                  <a:pt x="3039387" y="345242"/>
                  <a:pt x="3039387" y="348888"/>
                </a:cubicBezTo>
                <a:cubicBezTo>
                  <a:pt x="3043031" y="350710"/>
                  <a:pt x="3043031" y="345242"/>
                  <a:pt x="3043031" y="339777"/>
                </a:cubicBezTo>
                <a:close/>
                <a:moveTo>
                  <a:pt x="3084941" y="337954"/>
                </a:moveTo>
                <a:cubicBezTo>
                  <a:pt x="3079474" y="345242"/>
                  <a:pt x="3088585" y="337954"/>
                  <a:pt x="3088585" y="343421"/>
                </a:cubicBezTo>
                <a:cubicBezTo>
                  <a:pt x="3090407" y="343421"/>
                  <a:pt x="3086763" y="337954"/>
                  <a:pt x="3084941" y="337954"/>
                </a:cubicBezTo>
                <a:close/>
                <a:moveTo>
                  <a:pt x="2979255" y="337954"/>
                </a:moveTo>
                <a:cubicBezTo>
                  <a:pt x="2975610" y="339777"/>
                  <a:pt x="2979255" y="347066"/>
                  <a:pt x="2982899" y="347066"/>
                </a:cubicBezTo>
                <a:cubicBezTo>
                  <a:pt x="2982899" y="343421"/>
                  <a:pt x="2979255" y="343421"/>
                  <a:pt x="2979255" y="337954"/>
                </a:cubicBezTo>
                <a:close/>
                <a:moveTo>
                  <a:pt x="3435659" y="337070"/>
                </a:moveTo>
                <a:lnTo>
                  <a:pt x="3435938" y="337271"/>
                </a:lnTo>
                <a:lnTo>
                  <a:pt x="3436621" y="338949"/>
                </a:lnTo>
                <a:lnTo>
                  <a:pt x="3436621" y="339777"/>
                </a:lnTo>
                <a:close/>
                <a:moveTo>
                  <a:pt x="3383777" y="336133"/>
                </a:moveTo>
                <a:cubicBezTo>
                  <a:pt x="3380133" y="337954"/>
                  <a:pt x="3380133" y="339777"/>
                  <a:pt x="3381955" y="343421"/>
                </a:cubicBezTo>
                <a:cubicBezTo>
                  <a:pt x="3383777" y="341598"/>
                  <a:pt x="3383777" y="341598"/>
                  <a:pt x="3385600" y="341598"/>
                </a:cubicBezTo>
                <a:cubicBezTo>
                  <a:pt x="3383777" y="339777"/>
                  <a:pt x="3383777" y="337954"/>
                  <a:pt x="3383777" y="336133"/>
                </a:cubicBezTo>
                <a:close/>
                <a:moveTo>
                  <a:pt x="3168761" y="336133"/>
                </a:moveTo>
                <a:cubicBezTo>
                  <a:pt x="3166939" y="343421"/>
                  <a:pt x="3176050" y="341598"/>
                  <a:pt x="3177872" y="339777"/>
                </a:cubicBezTo>
                <a:cubicBezTo>
                  <a:pt x="3176050" y="336133"/>
                  <a:pt x="3172405" y="336133"/>
                  <a:pt x="3168761" y="336133"/>
                </a:cubicBezTo>
                <a:close/>
                <a:moveTo>
                  <a:pt x="2361538" y="334310"/>
                </a:moveTo>
                <a:cubicBezTo>
                  <a:pt x="2359716" y="336133"/>
                  <a:pt x="2354249" y="336133"/>
                  <a:pt x="2356071" y="339777"/>
                </a:cubicBezTo>
                <a:cubicBezTo>
                  <a:pt x="2357893" y="339777"/>
                  <a:pt x="2357893" y="337954"/>
                  <a:pt x="2359716" y="337954"/>
                </a:cubicBezTo>
                <a:cubicBezTo>
                  <a:pt x="2359716" y="343421"/>
                  <a:pt x="2359716" y="341598"/>
                  <a:pt x="2359716" y="345242"/>
                </a:cubicBezTo>
                <a:cubicBezTo>
                  <a:pt x="2361538" y="343421"/>
                  <a:pt x="2359716" y="337954"/>
                  <a:pt x="2361538" y="334310"/>
                </a:cubicBezTo>
                <a:close/>
                <a:moveTo>
                  <a:pt x="3330934" y="332488"/>
                </a:moveTo>
                <a:cubicBezTo>
                  <a:pt x="3329112" y="341598"/>
                  <a:pt x="3321824" y="350710"/>
                  <a:pt x="3332756" y="352532"/>
                </a:cubicBezTo>
                <a:cubicBezTo>
                  <a:pt x="3338223" y="352532"/>
                  <a:pt x="3334579" y="347066"/>
                  <a:pt x="3336401" y="343421"/>
                </a:cubicBezTo>
                <a:cubicBezTo>
                  <a:pt x="3332756" y="341598"/>
                  <a:pt x="3330934" y="337954"/>
                  <a:pt x="3330934" y="332488"/>
                </a:cubicBezTo>
                <a:close/>
                <a:moveTo>
                  <a:pt x="2544122" y="330784"/>
                </a:moveTo>
                <a:lnTo>
                  <a:pt x="2544666" y="339093"/>
                </a:lnTo>
                <a:lnTo>
                  <a:pt x="2550890" y="348651"/>
                </a:lnTo>
                <a:lnTo>
                  <a:pt x="2543755" y="347066"/>
                </a:lnTo>
                <a:close/>
                <a:moveTo>
                  <a:pt x="3349156" y="330666"/>
                </a:moveTo>
                <a:cubicBezTo>
                  <a:pt x="3341867" y="337954"/>
                  <a:pt x="3338223" y="347066"/>
                  <a:pt x="3338223" y="356176"/>
                </a:cubicBezTo>
                <a:cubicBezTo>
                  <a:pt x="3343690" y="352532"/>
                  <a:pt x="3343690" y="365287"/>
                  <a:pt x="3347334" y="361642"/>
                </a:cubicBezTo>
                <a:cubicBezTo>
                  <a:pt x="3347334" y="359821"/>
                  <a:pt x="3345512" y="357998"/>
                  <a:pt x="3347334" y="356176"/>
                </a:cubicBezTo>
                <a:cubicBezTo>
                  <a:pt x="3350978" y="363465"/>
                  <a:pt x="3361911" y="363465"/>
                  <a:pt x="3365556" y="370754"/>
                </a:cubicBezTo>
                <a:cubicBezTo>
                  <a:pt x="3374666" y="361642"/>
                  <a:pt x="3371022" y="339777"/>
                  <a:pt x="3360089" y="332488"/>
                </a:cubicBezTo>
                <a:cubicBezTo>
                  <a:pt x="3358267" y="337954"/>
                  <a:pt x="3363734" y="345242"/>
                  <a:pt x="3365556" y="352532"/>
                </a:cubicBezTo>
                <a:cubicBezTo>
                  <a:pt x="3360089" y="350710"/>
                  <a:pt x="3358267" y="348888"/>
                  <a:pt x="3356445" y="343421"/>
                </a:cubicBezTo>
                <a:cubicBezTo>
                  <a:pt x="3354623" y="347066"/>
                  <a:pt x="3349156" y="345242"/>
                  <a:pt x="3347334" y="347066"/>
                </a:cubicBezTo>
                <a:cubicBezTo>
                  <a:pt x="3347334" y="339777"/>
                  <a:pt x="3354623" y="337954"/>
                  <a:pt x="3349156" y="330666"/>
                </a:cubicBezTo>
                <a:close/>
                <a:moveTo>
                  <a:pt x="1987992" y="330666"/>
                </a:moveTo>
                <a:cubicBezTo>
                  <a:pt x="1993459" y="330666"/>
                  <a:pt x="1991638" y="336133"/>
                  <a:pt x="1997103" y="336133"/>
                </a:cubicBezTo>
                <a:cubicBezTo>
                  <a:pt x="1997103" y="336133"/>
                  <a:pt x="1997103" y="332488"/>
                  <a:pt x="1995281" y="332488"/>
                </a:cubicBezTo>
                <a:cubicBezTo>
                  <a:pt x="1997103" y="330666"/>
                  <a:pt x="2000747" y="330666"/>
                  <a:pt x="2002570" y="332488"/>
                </a:cubicBezTo>
                <a:cubicBezTo>
                  <a:pt x="2002570" y="337954"/>
                  <a:pt x="2002570" y="336133"/>
                  <a:pt x="2002570" y="341598"/>
                </a:cubicBezTo>
                <a:lnTo>
                  <a:pt x="2007445" y="345932"/>
                </a:lnTo>
                <a:lnTo>
                  <a:pt x="2007125" y="347293"/>
                </a:lnTo>
                <a:cubicBezTo>
                  <a:pt x="2006214" y="347976"/>
                  <a:pt x="2005303" y="348887"/>
                  <a:pt x="2006214" y="352532"/>
                </a:cubicBezTo>
                <a:cubicBezTo>
                  <a:pt x="2004392" y="347066"/>
                  <a:pt x="1998925" y="343421"/>
                  <a:pt x="1998925" y="337954"/>
                </a:cubicBezTo>
                <a:cubicBezTo>
                  <a:pt x="1993459" y="337954"/>
                  <a:pt x="1991638" y="334310"/>
                  <a:pt x="1989814" y="332488"/>
                </a:cubicBezTo>
                <a:cubicBezTo>
                  <a:pt x="1987992" y="332488"/>
                  <a:pt x="1993459" y="339777"/>
                  <a:pt x="1989814" y="343421"/>
                </a:cubicBezTo>
                <a:cubicBezTo>
                  <a:pt x="1986170" y="341598"/>
                  <a:pt x="1986170" y="336133"/>
                  <a:pt x="1987992" y="330666"/>
                </a:cubicBezTo>
                <a:close/>
                <a:moveTo>
                  <a:pt x="3301780" y="328844"/>
                </a:moveTo>
                <a:cubicBezTo>
                  <a:pt x="3299957" y="332488"/>
                  <a:pt x="3299957" y="339777"/>
                  <a:pt x="3305424" y="336133"/>
                </a:cubicBezTo>
                <a:cubicBezTo>
                  <a:pt x="3305424" y="330666"/>
                  <a:pt x="3303602" y="330666"/>
                  <a:pt x="3301780" y="328844"/>
                </a:cubicBezTo>
                <a:close/>
                <a:moveTo>
                  <a:pt x="2365182" y="328844"/>
                </a:moveTo>
                <a:lnTo>
                  <a:pt x="2366631" y="333190"/>
                </a:lnTo>
                <a:lnTo>
                  <a:pt x="2363198" y="333630"/>
                </a:lnTo>
                <a:close/>
                <a:moveTo>
                  <a:pt x="3265336" y="327022"/>
                </a:moveTo>
                <a:cubicBezTo>
                  <a:pt x="3258047" y="327022"/>
                  <a:pt x="3263514" y="336133"/>
                  <a:pt x="3261692" y="343421"/>
                </a:cubicBezTo>
                <a:cubicBezTo>
                  <a:pt x="3268980" y="345242"/>
                  <a:pt x="3263514" y="332488"/>
                  <a:pt x="3270803" y="330666"/>
                </a:cubicBezTo>
                <a:cubicBezTo>
                  <a:pt x="3270803" y="327022"/>
                  <a:pt x="3265336" y="328844"/>
                  <a:pt x="3265336" y="327022"/>
                </a:cubicBezTo>
                <a:close/>
                <a:moveTo>
                  <a:pt x="3106807" y="327022"/>
                </a:moveTo>
                <a:cubicBezTo>
                  <a:pt x="3104985" y="327022"/>
                  <a:pt x="3104985" y="330666"/>
                  <a:pt x="3104985" y="332488"/>
                </a:cubicBezTo>
                <a:cubicBezTo>
                  <a:pt x="3106807" y="334310"/>
                  <a:pt x="3108629" y="334310"/>
                  <a:pt x="3110451" y="334310"/>
                </a:cubicBezTo>
                <a:cubicBezTo>
                  <a:pt x="3112274" y="328844"/>
                  <a:pt x="3108629" y="328844"/>
                  <a:pt x="3106807" y="327022"/>
                </a:cubicBezTo>
                <a:close/>
                <a:moveTo>
                  <a:pt x="2321450" y="327022"/>
                </a:moveTo>
                <a:cubicBezTo>
                  <a:pt x="2312339" y="330666"/>
                  <a:pt x="2303228" y="336133"/>
                  <a:pt x="2301406" y="347066"/>
                </a:cubicBezTo>
                <a:cubicBezTo>
                  <a:pt x="2299584" y="343421"/>
                  <a:pt x="2299584" y="341598"/>
                  <a:pt x="2301406" y="339777"/>
                </a:cubicBezTo>
                <a:cubicBezTo>
                  <a:pt x="2295940" y="339777"/>
                  <a:pt x="2297762" y="347066"/>
                  <a:pt x="2292295" y="347066"/>
                </a:cubicBezTo>
                <a:cubicBezTo>
                  <a:pt x="2288651" y="348888"/>
                  <a:pt x="2290473" y="341598"/>
                  <a:pt x="2290473" y="339777"/>
                </a:cubicBezTo>
                <a:cubicBezTo>
                  <a:pt x="2283184" y="345242"/>
                  <a:pt x="2285007" y="354354"/>
                  <a:pt x="2283184" y="359821"/>
                </a:cubicBezTo>
                <a:cubicBezTo>
                  <a:pt x="2285007" y="359821"/>
                  <a:pt x="2288651" y="359821"/>
                  <a:pt x="2290473" y="359821"/>
                </a:cubicBezTo>
                <a:lnTo>
                  <a:pt x="2297762" y="359821"/>
                </a:lnTo>
                <a:cubicBezTo>
                  <a:pt x="2301406" y="356176"/>
                  <a:pt x="2303228" y="350710"/>
                  <a:pt x="2303228" y="345242"/>
                </a:cubicBezTo>
                <a:cubicBezTo>
                  <a:pt x="2306873" y="345242"/>
                  <a:pt x="2305050" y="352532"/>
                  <a:pt x="2306873" y="352532"/>
                </a:cubicBezTo>
                <a:cubicBezTo>
                  <a:pt x="2314161" y="350710"/>
                  <a:pt x="2305050" y="345242"/>
                  <a:pt x="2306873" y="343421"/>
                </a:cubicBezTo>
                <a:cubicBezTo>
                  <a:pt x="2308695" y="343421"/>
                  <a:pt x="2312339" y="341598"/>
                  <a:pt x="2312339" y="345242"/>
                </a:cubicBezTo>
                <a:cubicBezTo>
                  <a:pt x="2310517" y="350710"/>
                  <a:pt x="2306873" y="354354"/>
                  <a:pt x="2305050" y="359821"/>
                </a:cubicBezTo>
                <a:lnTo>
                  <a:pt x="2310517" y="359821"/>
                </a:lnTo>
                <a:cubicBezTo>
                  <a:pt x="2310517" y="356176"/>
                  <a:pt x="2312339" y="352532"/>
                  <a:pt x="2315983" y="352532"/>
                </a:cubicBezTo>
                <a:cubicBezTo>
                  <a:pt x="2319628" y="350710"/>
                  <a:pt x="2317806" y="361642"/>
                  <a:pt x="2323272" y="357998"/>
                </a:cubicBezTo>
                <a:cubicBezTo>
                  <a:pt x="2323272" y="356176"/>
                  <a:pt x="2323272" y="356176"/>
                  <a:pt x="2325094" y="354354"/>
                </a:cubicBezTo>
                <a:cubicBezTo>
                  <a:pt x="2328739" y="356176"/>
                  <a:pt x="2325094" y="361642"/>
                  <a:pt x="2326916" y="363465"/>
                </a:cubicBezTo>
                <a:cubicBezTo>
                  <a:pt x="2332383" y="359821"/>
                  <a:pt x="2330561" y="354354"/>
                  <a:pt x="2330561" y="348888"/>
                </a:cubicBezTo>
                <a:cubicBezTo>
                  <a:pt x="2328739" y="350710"/>
                  <a:pt x="2330561" y="352532"/>
                  <a:pt x="2328739" y="354354"/>
                </a:cubicBezTo>
                <a:cubicBezTo>
                  <a:pt x="2325094" y="350710"/>
                  <a:pt x="2319628" y="347066"/>
                  <a:pt x="2314161" y="343421"/>
                </a:cubicBezTo>
                <a:cubicBezTo>
                  <a:pt x="2315983" y="339777"/>
                  <a:pt x="2323272" y="341598"/>
                  <a:pt x="2323272" y="334310"/>
                </a:cubicBezTo>
                <a:cubicBezTo>
                  <a:pt x="2323272" y="343421"/>
                  <a:pt x="2337850" y="339777"/>
                  <a:pt x="2343316" y="336133"/>
                </a:cubicBezTo>
                <a:cubicBezTo>
                  <a:pt x="2343316" y="334310"/>
                  <a:pt x="2341494" y="332488"/>
                  <a:pt x="2341494" y="330666"/>
                </a:cubicBezTo>
                <a:cubicBezTo>
                  <a:pt x="2339672" y="332488"/>
                  <a:pt x="2339672" y="332488"/>
                  <a:pt x="2337850" y="334310"/>
                </a:cubicBezTo>
                <a:cubicBezTo>
                  <a:pt x="2336027" y="330666"/>
                  <a:pt x="2336027" y="328844"/>
                  <a:pt x="2336027" y="327022"/>
                </a:cubicBezTo>
                <a:cubicBezTo>
                  <a:pt x="2330561" y="332488"/>
                  <a:pt x="2326916" y="325199"/>
                  <a:pt x="2321450" y="327022"/>
                </a:cubicBezTo>
                <a:close/>
                <a:moveTo>
                  <a:pt x="3363734" y="325199"/>
                </a:moveTo>
                <a:cubicBezTo>
                  <a:pt x="3363734" y="325199"/>
                  <a:pt x="3360089" y="330666"/>
                  <a:pt x="3363734" y="330666"/>
                </a:cubicBezTo>
                <a:cubicBezTo>
                  <a:pt x="3363734" y="330666"/>
                  <a:pt x="3365556" y="330666"/>
                  <a:pt x="3365556" y="330666"/>
                </a:cubicBezTo>
                <a:cubicBezTo>
                  <a:pt x="3367378" y="327022"/>
                  <a:pt x="3363734" y="328844"/>
                  <a:pt x="3363734" y="325199"/>
                </a:cubicBezTo>
                <a:close/>
                <a:moveTo>
                  <a:pt x="3238003" y="325199"/>
                </a:moveTo>
                <a:cubicBezTo>
                  <a:pt x="3230715" y="323377"/>
                  <a:pt x="3227071" y="332488"/>
                  <a:pt x="3232537" y="339777"/>
                </a:cubicBezTo>
                <a:cubicBezTo>
                  <a:pt x="3234359" y="336133"/>
                  <a:pt x="3239826" y="334310"/>
                  <a:pt x="3238003" y="325199"/>
                </a:cubicBezTo>
                <a:close/>
                <a:moveTo>
                  <a:pt x="2543755" y="325199"/>
                </a:moveTo>
                <a:lnTo>
                  <a:pt x="2544392" y="325570"/>
                </a:lnTo>
                <a:lnTo>
                  <a:pt x="2544211" y="326793"/>
                </a:lnTo>
                <a:lnTo>
                  <a:pt x="2544122" y="330784"/>
                </a:lnTo>
                <a:close/>
                <a:moveTo>
                  <a:pt x="3356771" y="323606"/>
                </a:moveTo>
                <a:lnTo>
                  <a:pt x="3357513" y="324131"/>
                </a:lnTo>
                <a:lnTo>
                  <a:pt x="3356445" y="325199"/>
                </a:lnTo>
                <a:close/>
                <a:moveTo>
                  <a:pt x="3414754" y="323377"/>
                </a:moveTo>
                <a:cubicBezTo>
                  <a:pt x="3409288" y="330666"/>
                  <a:pt x="3391066" y="328844"/>
                  <a:pt x="3398355" y="337954"/>
                </a:cubicBezTo>
                <a:cubicBezTo>
                  <a:pt x="3400177" y="339777"/>
                  <a:pt x="3418399" y="343421"/>
                  <a:pt x="3412932" y="334310"/>
                </a:cubicBezTo>
                <a:cubicBezTo>
                  <a:pt x="3411110" y="332488"/>
                  <a:pt x="3409288" y="332488"/>
                  <a:pt x="3409288" y="330666"/>
                </a:cubicBezTo>
                <a:cubicBezTo>
                  <a:pt x="3412932" y="330666"/>
                  <a:pt x="3414754" y="330666"/>
                  <a:pt x="3416577" y="332488"/>
                </a:cubicBezTo>
                <a:close/>
                <a:moveTo>
                  <a:pt x="3325468" y="323377"/>
                </a:moveTo>
                <a:cubicBezTo>
                  <a:pt x="3321824" y="323377"/>
                  <a:pt x="3318179" y="330666"/>
                  <a:pt x="3321824" y="332488"/>
                </a:cubicBezTo>
                <a:cubicBezTo>
                  <a:pt x="3321824" y="332488"/>
                  <a:pt x="3323646" y="330666"/>
                  <a:pt x="3325468" y="330666"/>
                </a:cubicBezTo>
                <a:cubicBezTo>
                  <a:pt x="3323646" y="327022"/>
                  <a:pt x="3325468" y="327022"/>
                  <a:pt x="3325468" y="323377"/>
                </a:cubicBezTo>
                <a:close/>
                <a:moveTo>
                  <a:pt x="3450637" y="322536"/>
                </a:moveTo>
                <a:lnTo>
                  <a:pt x="3453476" y="326793"/>
                </a:lnTo>
                <a:lnTo>
                  <a:pt x="3456671" y="329568"/>
                </a:lnTo>
                <a:lnTo>
                  <a:pt x="3454842" y="330666"/>
                </a:lnTo>
                <a:cubicBezTo>
                  <a:pt x="3453020" y="328844"/>
                  <a:pt x="3453020" y="325199"/>
                  <a:pt x="3449376" y="323377"/>
                </a:cubicBezTo>
                <a:close/>
                <a:moveTo>
                  <a:pt x="3010232" y="321555"/>
                </a:moveTo>
                <a:cubicBezTo>
                  <a:pt x="3001121" y="323377"/>
                  <a:pt x="3008410" y="336133"/>
                  <a:pt x="3012054" y="341598"/>
                </a:cubicBezTo>
                <a:cubicBezTo>
                  <a:pt x="3013876" y="336133"/>
                  <a:pt x="3012054" y="327022"/>
                  <a:pt x="3010232" y="321555"/>
                </a:cubicBezTo>
                <a:close/>
                <a:moveTo>
                  <a:pt x="2314161" y="321555"/>
                </a:moveTo>
                <a:cubicBezTo>
                  <a:pt x="2312339" y="319733"/>
                  <a:pt x="2305050" y="325199"/>
                  <a:pt x="2305050" y="323377"/>
                </a:cubicBezTo>
                <a:cubicBezTo>
                  <a:pt x="2303228" y="323377"/>
                  <a:pt x="2306873" y="327022"/>
                  <a:pt x="2306873" y="328844"/>
                </a:cubicBezTo>
                <a:cubicBezTo>
                  <a:pt x="2310517" y="327022"/>
                  <a:pt x="2314161" y="325199"/>
                  <a:pt x="2314161" y="321555"/>
                </a:cubicBezTo>
                <a:close/>
                <a:moveTo>
                  <a:pt x="2521889" y="319733"/>
                </a:moveTo>
                <a:cubicBezTo>
                  <a:pt x="2518245" y="319733"/>
                  <a:pt x="2510956" y="319733"/>
                  <a:pt x="2512778" y="325199"/>
                </a:cubicBezTo>
                <a:cubicBezTo>
                  <a:pt x="2516423" y="323377"/>
                  <a:pt x="2518245" y="327022"/>
                  <a:pt x="2521889" y="327022"/>
                </a:cubicBezTo>
                <a:cubicBezTo>
                  <a:pt x="2521889" y="325199"/>
                  <a:pt x="2521889" y="323377"/>
                  <a:pt x="2521889" y="319733"/>
                </a:cubicBezTo>
                <a:close/>
                <a:moveTo>
                  <a:pt x="1973416" y="319733"/>
                </a:moveTo>
                <a:cubicBezTo>
                  <a:pt x="1975237" y="323377"/>
                  <a:pt x="1975237" y="327022"/>
                  <a:pt x="1982527" y="327022"/>
                </a:cubicBezTo>
                <a:cubicBezTo>
                  <a:pt x="1984348" y="321555"/>
                  <a:pt x="1977059" y="317911"/>
                  <a:pt x="1973416" y="319733"/>
                </a:cubicBezTo>
                <a:close/>
                <a:moveTo>
                  <a:pt x="1929682" y="317928"/>
                </a:moveTo>
                <a:cubicBezTo>
                  <a:pt x="1931505" y="317928"/>
                  <a:pt x="1931505" y="319750"/>
                  <a:pt x="1933327" y="319750"/>
                </a:cubicBezTo>
                <a:cubicBezTo>
                  <a:pt x="1931505" y="323395"/>
                  <a:pt x="1933327" y="327039"/>
                  <a:pt x="1935149" y="330683"/>
                </a:cubicBezTo>
                <a:cubicBezTo>
                  <a:pt x="1938793" y="336150"/>
                  <a:pt x="1931505" y="337972"/>
                  <a:pt x="1927861" y="334328"/>
                </a:cubicBezTo>
                <a:cubicBezTo>
                  <a:pt x="1927861" y="328861"/>
                  <a:pt x="1929682" y="323395"/>
                  <a:pt x="1929682" y="317928"/>
                </a:cubicBezTo>
                <a:close/>
                <a:moveTo>
                  <a:pt x="2664019" y="316089"/>
                </a:moveTo>
                <a:cubicBezTo>
                  <a:pt x="2665841" y="316089"/>
                  <a:pt x="2667663" y="314266"/>
                  <a:pt x="2669485" y="316089"/>
                </a:cubicBezTo>
                <a:cubicBezTo>
                  <a:pt x="2669485" y="316089"/>
                  <a:pt x="2669485" y="317911"/>
                  <a:pt x="2669485" y="321555"/>
                </a:cubicBezTo>
                <a:cubicBezTo>
                  <a:pt x="2664019" y="321555"/>
                  <a:pt x="2664019" y="319733"/>
                  <a:pt x="2664019" y="316089"/>
                </a:cubicBezTo>
                <a:close/>
                <a:moveTo>
                  <a:pt x="2108256" y="316089"/>
                </a:moveTo>
                <a:cubicBezTo>
                  <a:pt x="2102790" y="317911"/>
                  <a:pt x="2097323" y="323377"/>
                  <a:pt x="2099145" y="327022"/>
                </a:cubicBezTo>
                <a:cubicBezTo>
                  <a:pt x="2100967" y="327022"/>
                  <a:pt x="2102790" y="323377"/>
                  <a:pt x="2106433" y="325199"/>
                </a:cubicBezTo>
                <a:cubicBezTo>
                  <a:pt x="2102790" y="328844"/>
                  <a:pt x="2099145" y="330666"/>
                  <a:pt x="2097323" y="336133"/>
                </a:cubicBezTo>
                <a:cubicBezTo>
                  <a:pt x="2099145" y="337954"/>
                  <a:pt x="2100967" y="334310"/>
                  <a:pt x="2100967" y="341598"/>
                </a:cubicBezTo>
                <a:cubicBezTo>
                  <a:pt x="2126477" y="341598"/>
                  <a:pt x="2146521" y="343421"/>
                  <a:pt x="2168387" y="350710"/>
                </a:cubicBezTo>
                <a:cubicBezTo>
                  <a:pt x="2162921" y="337954"/>
                  <a:pt x="2148344" y="334310"/>
                  <a:pt x="2142877" y="321555"/>
                </a:cubicBezTo>
                <a:cubicBezTo>
                  <a:pt x="2135588" y="325199"/>
                  <a:pt x="2131944" y="319733"/>
                  <a:pt x="2128300" y="317911"/>
                </a:cubicBezTo>
                <a:cubicBezTo>
                  <a:pt x="2122833" y="317911"/>
                  <a:pt x="2124655" y="323377"/>
                  <a:pt x="2121011" y="323377"/>
                </a:cubicBezTo>
                <a:cubicBezTo>
                  <a:pt x="2119189" y="327022"/>
                  <a:pt x="2122833" y="327022"/>
                  <a:pt x="2122833" y="330666"/>
                </a:cubicBezTo>
                <a:cubicBezTo>
                  <a:pt x="2117366" y="328844"/>
                  <a:pt x="2117366" y="323377"/>
                  <a:pt x="2115544" y="319733"/>
                </a:cubicBezTo>
                <a:cubicBezTo>
                  <a:pt x="2111900" y="319733"/>
                  <a:pt x="2110078" y="321555"/>
                  <a:pt x="2108256" y="323377"/>
                </a:cubicBezTo>
                <a:cubicBezTo>
                  <a:pt x="2108256" y="319733"/>
                  <a:pt x="2110078" y="317911"/>
                  <a:pt x="2108256" y="316089"/>
                </a:cubicBezTo>
                <a:close/>
                <a:moveTo>
                  <a:pt x="3245292" y="312444"/>
                </a:moveTo>
                <a:cubicBezTo>
                  <a:pt x="3239826" y="312444"/>
                  <a:pt x="3243470" y="327022"/>
                  <a:pt x="3250759" y="325199"/>
                </a:cubicBezTo>
                <a:cubicBezTo>
                  <a:pt x="3247114" y="319733"/>
                  <a:pt x="3250759" y="325199"/>
                  <a:pt x="3254403" y="325199"/>
                </a:cubicBezTo>
                <a:cubicBezTo>
                  <a:pt x="3258047" y="319733"/>
                  <a:pt x="3252581" y="310622"/>
                  <a:pt x="3245292" y="312444"/>
                </a:cubicBezTo>
                <a:close/>
                <a:moveTo>
                  <a:pt x="2674952" y="312444"/>
                </a:moveTo>
                <a:cubicBezTo>
                  <a:pt x="2673130" y="316089"/>
                  <a:pt x="2680418" y="319733"/>
                  <a:pt x="2680418" y="314266"/>
                </a:cubicBezTo>
                <a:cubicBezTo>
                  <a:pt x="2678596" y="312444"/>
                  <a:pt x="2676774" y="312444"/>
                  <a:pt x="2674952" y="312444"/>
                </a:cubicBezTo>
                <a:close/>
                <a:moveTo>
                  <a:pt x="2150166" y="312444"/>
                </a:moveTo>
                <a:cubicBezTo>
                  <a:pt x="2146521" y="310622"/>
                  <a:pt x="2144699" y="312444"/>
                  <a:pt x="2144699" y="314266"/>
                </a:cubicBezTo>
                <a:cubicBezTo>
                  <a:pt x="2146521" y="317911"/>
                  <a:pt x="2146521" y="319733"/>
                  <a:pt x="2151988" y="319733"/>
                </a:cubicBezTo>
                <a:cubicBezTo>
                  <a:pt x="2150166" y="317911"/>
                  <a:pt x="2150166" y="316089"/>
                  <a:pt x="2150166" y="312444"/>
                </a:cubicBezTo>
                <a:close/>
                <a:moveTo>
                  <a:pt x="2294573" y="310394"/>
                </a:moveTo>
                <a:cubicBezTo>
                  <a:pt x="2292296" y="310622"/>
                  <a:pt x="2289562" y="311533"/>
                  <a:pt x="2288651" y="312444"/>
                </a:cubicBezTo>
                <a:cubicBezTo>
                  <a:pt x="2288651" y="314266"/>
                  <a:pt x="2288651" y="314266"/>
                  <a:pt x="2288651" y="316089"/>
                </a:cubicBezTo>
                <a:cubicBezTo>
                  <a:pt x="2283184" y="317911"/>
                  <a:pt x="2283184" y="314266"/>
                  <a:pt x="2281362" y="312444"/>
                </a:cubicBezTo>
                <a:cubicBezTo>
                  <a:pt x="2279540" y="314266"/>
                  <a:pt x="2277718" y="314266"/>
                  <a:pt x="2275896" y="316089"/>
                </a:cubicBezTo>
                <a:cubicBezTo>
                  <a:pt x="2270429" y="321555"/>
                  <a:pt x="2275896" y="330666"/>
                  <a:pt x="2285007" y="327022"/>
                </a:cubicBezTo>
                <a:cubicBezTo>
                  <a:pt x="2288651" y="325199"/>
                  <a:pt x="2292295" y="325199"/>
                  <a:pt x="2295940" y="323377"/>
                </a:cubicBezTo>
                <a:cubicBezTo>
                  <a:pt x="2297762" y="321555"/>
                  <a:pt x="2297762" y="317911"/>
                  <a:pt x="2297762" y="316089"/>
                </a:cubicBezTo>
                <a:cubicBezTo>
                  <a:pt x="2294117" y="316089"/>
                  <a:pt x="2297762" y="321555"/>
                  <a:pt x="2294117" y="321555"/>
                </a:cubicBezTo>
                <a:cubicBezTo>
                  <a:pt x="2290473" y="316089"/>
                  <a:pt x="2295940" y="314266"/>
                  <a:pt x="2297762" y="312444"/>
                </a:cubicBezTo>
                <a:cubicBezTo>
                  <a:pt x="2298673" y="310622"/>
                  <a:pt x="2296851" y="310166"/>
                  <a:pt x="2294573" y="310394"/>
                </a:cubicBezTo>
                <a:close/>
                <a:moveTo>
                  <a:pt x="3453020" y="308800"/>
                </a:moveTo>
                <a:cubicBezTo>
                  <a:pt x="3456664" y="306978"/>
                  <a:pt x="3458487" y="314266"/>
                  <a:pt x="3460309" y="316089"/>
                </a:cubicBezTo>
                <a:lnTo>
                  <a:pt x="3450637" y="322536"/>
                </a:lnTo>
                <a:lnTo>
                  <a:pt x="3447553" y="317911"/>
                </a:lnTo>
                <a:cubicBezTo>
                  <a:pt x="3449376" y="317911"/>
                  <a:pt x="3449376" y="319733"/>
                  <a:pt x="3451198" y="319733"/>
                </a:cubicBezTo>
                <a:cubicBezTo>
                  <a:pt x="3451198" y="316089"/>
                  <a:pt x="3447553" y="308800"/>
                  <a:pt x="3453020" y="308800"/>
                </a:cubicBezTo>
                <a:close/>
                <a:moveTo>
                  <a:pt x="2964677" y="308800"/>
                </a:moveTo>
                <a:cubicBezTo>
                  <a:pt x="2959211" y="305155"/>
                  <a:pt x="2961033" y="317911"/>
                  <a:pt x="2962855" y="319733"/>
                </a:cubicBezTo>
                <a:cubicBezTo>
                  <a:pt x="2966500" y="319733"/>
                  <a:pt x="2962855" y="312444"/>
                  <a:pt x="2964677" y="308800"/>
                </a:cubicBezTo>
                <a:close/>
                <a:moveTo>
                  <a:pt x="3336401" y="306978"/>
                </a:moveTo>
                <a:cubicBezTo>
                  <a:pt x="3327290" y="308800"/>
                  <a:pt x="3325468" y="316089"/>
                  <a:pt x="3329112" y="323377"/>
                </a:cubicBezTo>
                <a:cubicBezTo>
                  <a:pt x="3332756" y="319733"/>
                  <a:pt x="3332756" y="316089"/>
                  <a:pt x="3332756" y="310622"/>
                </a:cubicBezTo>
                <a:cubicBezTo>
                  <a:pt x="3338223" y="312444"/>
                  <a:pt x="3332756" y="321555"/>
                  <a:pt x="3340045" y="319733"/>
                </a:cubicBezTo>
                <a:cubicBezTo>
                  <a:pt x="3340045" y="314266"/>
                  <a:pt x="3336401" y="312444"/>
                  <a:pt x="3336401" y="306978"/>
                </a:cubicBezTo>
                <a:close/>
                <a:moveTo>
                  <a:pt x="2968322" y="306978"/>
                </a:moveTo>
                <a:cubicBezTo>
                  <a:pt x="2962855" y="312444"/>
                  <a:pt x="2968322" y="314266"/>
                  <a:pt x="2970144" y="323377"/>
                </a:cubicBezTo>
                <a:cubicBezTo>
                  <a:pt x="2971966" y="323377"/>
                  <a:pt x="2973788" y="323377"/>
                  <a:pt x="2975610" y="323377"/>
                </a:cubicBezTo>
                <a:cubicBezTo>
                  <a:pt x="2973788" y="316089"/>
                  <a:pt x="2970144" y="314266"/>
                  <a:pt x="2968322" y="306978"/>
                </a:cubicBezTo>
                <a:close/>
                <a:moveTo>
                  <a:pt x="2951922" y="306978"/>
                </a:moveTo>
                <a:cubicBezTo>
                  <a:pt x="2946456" y="305155"/>
                  <a:pt x="2948278" y="319733"/>
                  <a:pt x="2950100" y="323377"/>
                </a:cubicBezTo>
                <a:cubicBezTo>
                  <a:pt x="2950100" y="319733"/>
                  <a:pt x="2950100" y="314266"/>
                  <a:pt x="2951922" y="306978"/>
                </a:cubicBezTo>
                <a:close/>
                <a:moveTo>
                  <a:pt x="3361911" y="305155"/>
                </a:moveTo>
                <a:lnTo>
                  <a:pt x="3363594" y="310201"/>
                </a:lnTo>
                <a:lnTo>
                  <a:pt x="3362376" y="310066"/>
                </a:lnTo>
                <a:lnTo>
                  <a:pt x="3358723" y="308571"/>
                </a:lnTo>
                <a:cubicBezTo>
                  <a:pt x="3358267" y="306522"/>
                  <a:pt x="3359178" y="304244"/>
                  <a:pt x="3361911" y="305155"/>
                </a:cubicBezTo>
                <a:close/>
                <a:moveTo>
                  <a:pt x="3185160" y="305155"/>
                </a:moveTo>
                <a:cubicBezTo>
                  <a:pt x="3181516" y="308800"/>
                  <a:pt x="3177872" y="310622"/>
                  <a:pt x="3177872" y="317911"/>
                </a:cubicBezTo>
                <a:cubicBezTo>
                  <a:pt x="3183338" y="316089"/>
                  <a:pt x="3186982" y="310622"/>
                  <a:pt x="3185160" y="305155"/>
                </a:cubicBezTo>
                <a:close/>
                <a:moveTo>
                  <a:pt x="2328511" y="304472"/>
                </a:moveTo>
                <a:lnTo>
                  <a:pt x="2321874" y="305799"/>
                </a:lnTo>
                <a:lnTo>
                  <a:pt x="2321450" y="305155"/>
                </a:lnTo>
                <a:lnTo>
                  <a:pt x="2321259" y="305922"/>
                </a:lnTo>
                <a:lnTo>
                  <a:pt x="2315983" y="306978"/>
                </a:lnTo>
                <a:cubicBezTo>
                  <a:pt x="2314161" y="312444"/>
                  <a:pt x="2314161" y="321555"/>
                  <a:pt x="2323272" y="321555"/>
                </a:cubicBezTo>
                <a:cubicBezTo>
                  <a:pt x="2321450" y="319733"/>
                  <a:pt x="2323272" y="314266"/>
                  <a:pt x="2319628" y="312444"/>
                </a:cubicBezTo>
                <a:lnTo>
                  <a:pt x="2321259" y="305922"/>
                </a:lnTo>
                <a:lnTo>
                  <a:pt x="2321874" y="305799"/>
                </a:lnTo>
                <a:lnTo>
                  <a:pt x="2327144" y="313810"/>
                </a:lnTo>
                <a:cubicBezTo>
                  <a:pt x="2328738" y="316544"/>
                  <a:pt x="2330561" y="317910"/>
                  <a:pt x="2334205" y="314266"/>
                </a:cubicBezTo>
                <a:cubicBezTo>
                  <a:pt x="2336028" y="311533"/>
                  <a:pt x="2332839" y="306977"/>
                  <a:pt x="2328511" y="304472"/>
                </a:cubicBezTo>
                <a:close/>
                <a:moveTo>
                  <a:pt x="1911641" y="304433"/>
                </a:moveTo>
                <a:lnTo>
                  <a:pt x="1911786" y="304614"/>
                </a:lnTo>
                <a:lnTo>
                  <a:pt x="1911461" y="305155"/>
                </a:lnTo>
                <a:close/>
                <a:moveTo>
                  <a:pt x="2503668" y="304244"/>
                </a:moveTo>
                <a:cubicBezTo>
                  <a:pt x="2500479" y="304700"/>
                  <a:pt x="2497290" y="306067"/>
                  <a:pt x="2494556" y="306978"/>
                </a:cubicBezTo>
                <a:lnTo>
                  <a:pt x="2492714" y="309346"/>
                </a:lnTo>
                <a:lnTo>
                  <a:pt x="2490912" y="308800"/>
                </a:lnTo>
                <a:lnTo>
                  <a:pt x="2490511" y="312178"/>
                </a:lnTo>
                <a:lnTo>
                  <a:pt x="2481801" y="323377"/>
                </a:lnTo>
                <a:lnTo>
                  <a:pt x="2472690" y="316089"/>
                </a:lnTo>
                <a:cubicBezTo>
                  <a:pt x="2456291" y="325199"/>
                  <a:pt x="2443536" y="341598"/>
                  <a:pt x="2436247" y="357998"/>
                </a:cubicBezTo>
                <a:cubicBezTo>
                  <a:pt x="2439891" y="357998"/>
                  <a:pt x="2439891" y="350710"/>
                  <a:pt x="2443536" y="350710"/>
                </a:cubicBezTo>
                <a:cubicBezTo>
                  <a:pt x="2449002" y="350710"/>
                  <a:pt x="2445358" y="361642"/>
                  <a:pt x="2450824" y="361642"/>
                </a:cubicBezTo>
                <a:cubicBezTo>
                  <a:pt x="2456291" y="361642"/>
                  <a:pt x="2450824" y="350710"/>
                  <a:pt x="2454469" y="350710"/>
                </a:cubicBezTo>
                <a:cubicBezTo>
                  <a:pt x="2455380" y="349798"/>
                  <a:pt x="2456747" y="350710"/>
                  <a:pt x="2457658" y="352304"/>
                </a:cubicBezTo>
                <a:lnTo>
                  <a:pt x="2458023" y="356864"/>
                </a:lnTo>
                <a:lnTo>
                  <a:pt x="2454469" y="362098"/>
                </a:lnTo>
                <a:cubicBezTo>
                  <a:pt x="2451736" y="367109"/>
                  <a:pt x="2449003" y="372575"/>
                  <a:pt x="2445358" y="370754"/>
                </a:cubicBezTo>
                <a:cubicBezTo>
                  <a:pt x="2445358" y="376220"/>
                  <a:pt x="2447180" y="379865"/>
                  <a:pt x="2452647" y="379865"/>
                </a:cubicBezTo>
                <a:cubicBezTo>
                  <a:pt x="2452647" y="378041"/>
                  <a:pt x="2454469" y="374397"/>
                  <a:pt x="2452647" y="374397"/>
                </a:cubicBezTo>
                <a:cubicBezTo>
                  <a:pt x="2454469" y="370754"/>
                  <a:pt x="2458113" y="379865"/>
                  <a:pt x="2458113" y="370754"/>
                </a:cubicBezTo>
                <a:cubicBezTo>
                  <a:pt x="2459935" y="370754"/>
                  <a:pt x="2459935" y="374397"/>
                  <a:pt x="2463580" y="372576"/>
                </a:cubicBezTo>
                <a:cubicBezTo>
                  <a:pt x="2463580" y="370754"/>
                  <a:pt x="2463580" y="368932"/>
                  <a:pt x="2463580" y="367109"/>
                </a:cubicBezTo>
                <a:cubicBezTo>
                  <a:pt x="2467224" y="367109"/>
                  <a:pt x="2469046" y="367109"/>
                  <a:pt x="2469046" y="368932"/>
                </a:cubicBezTo>
                <a:cubicBezTo>
                  <a:pt x="2472690" y="365287"/>
                  <a:pt x="2465402" y="363465"/>
                  <a:pt x="2467224" y="357998"/>
                </a:cubicBezTo>
                <a:cubicBezTo>
                  <a:pt x="2474513" y="357998"/>
                  <a:pt x="2478157" y="367109"/>
                  <a:pt x="2474513" y="374397"/>
                </a:cubicBezTo>
                <a:cubicBezTo>
                  <a:pt x="2476335" y="374397"/>
                  <a:pt x="2478157" y="374397"/>
                  <a:pt x="2478157" y="376220"/>
                </a:cubicBezTo>
                <a:cubicBezTo>
                  <a:pt x="2481801" y="374397"/>
                  <a:pt x="2485446" y="363465"/>
                  <a:pt x="2487268" y="370754"/>
                </a:cubicBezTo>
                <a:cubicBezTo>
                  <a:pt x="2490912" y="368932"/>
                  <a:pt x="2489090" y="363465"/>
                  <a:pt x="2492734" y="361642"/>
                </a:cubicBezTo>
                <a:cubicBezTo>
                  <a:pt x="2492734" y="356176"/>
                  <a:pt x="2485446" y="359821"/>
                  <a:pt x="2487268" y="352532"/>
                </a:cubicBezTo>
                <a:cubicBezTo>
                  <a:pt x="2485446" y="352532"/>
                  <a:pt x="2485446" y="356176"/>
                  <a:pt x="2483624" y="356176"/>
                </a:cubicBezTo>
                <a:cubicBezTo>
                  <a:pt x="2481801" y="354354"/>
                  <a:pt x="2481801" y="348888"/>
                  <a:pt x="2479979" y="354354"/>
                </a:cubicBezTo>
                <a:cubicBezTo>
                  <a:pt x="2478157" y="354354"/>
                  <a:pt x="2485446" y="347066"/>
                  <a:pt x="2481801" y="345242"/>
                </a:cubicBezTo>
                <a:cubicBezTo>
                  <a:pt x="2476335" y="348888"/>
                  <a:pt x="2476335" y="348888"/>
                  <a:pt x="2472690" y="345242"/>
                </a:cubicBezTo>
                <a:cubicBezTo>
                  <a:pt x="2470868" y="347066"/>
                  <a:pt x="2474513" y="348888"/>
                  <a:pt x="2463580" y="356176"/>
                </a:cubicBezTo>
                <a:lnTo>
                  <a:pt x="2460136" y="355976"/>
                </a:lnTo>
                <a:lnTo>
                  <a:pt x="2461985" y="354126"/>
                </a:lnTo>
                <a:cubicBezTo>
                  <a:pt x="2463124" y="352532"/>
                  <a:pt x="2463580" y="350710"/>
                  <a:pt x="2461757" y="348888"/>
                </a:cubicBezTo>
                <a:cubicBezTo>
                  <a:pt x="2467224" y="350710"/>
                  <a:pt x="2469046" y="341598"/>
                  <a:pt x="2472690" y="339777"/>
                </a:cubicBezTo>
                <a:cubicBezTo>
                  <a:pt x="2472690" y="341598"/>
                  <a:pt x="2472690" y="341598"/>
                  <a:pt x="2472690" y="343421"/>
                </a:cubicBezTo>
                <a:cubicBezTo>
                  <a:pt x="2478157" y="339777"/>
                  <a:pt x="2485446" y="341598"/>
                  <a:pt x="2489090" y="336133"/>
                </a:cubicBezTo>
                <a:cubicBezTo>
                  <a:pt x="2489090" y="337954"/>
                  <a:pt x="2490912" y="339777"/>
                  <a:pt x="2490912" y="339777"/>
                </a:cubicBezTo>
                <a:cubicBezTo>
                  <a:pt x="2500023" y="341598"/>
                  <a:pt x="2496379" y="330666"/>
                  <a:pt x="2498201" y="327022"/>
                </a:cubicBezTo>
                <a:cubicBezTo>
                  <a:pt x="2494556" y="327022"/>
                  <a:pt x="2494556" y="332488"/>
                  <a:pt x="2494556" y="334310"/>
                </a:cubicBezTo>
                <a:cubicBezTo>
                  <a:pt x="2492734" y="330666"/>
                  <a:pt x="2490457" y="326566"/>
                  <a:pt x="2489318" y="322238"/>
                </a:cubicBezTo>
                <a:lnTo>
                  <a:pt x="2490511" y="312178"/>
                </a:lnTo>
                <a:lnTo>
                  <a:pt x="2492714" y="309346"/>
                </a:lnTo>
                <a:lnTo>
                  <a:pt x="2498429" y="311077"/>
                </a:lnTo>
                <a:lnTo>
                  <a:pt x="2507124" y="305281"/>
                </a:lnTo>
                <a:lnTo>
                  <a:pt x="2507312" y="305338"/>
                </a:lnTo>
                <a:lnTo>
                  <a:pt x="2507312" y="310622"/>
                </a:lnTo>
                <a:cubicBezTo>
                  <a:pt x="2510956" y="312444"/>
                  <a:pt x="2512778" y="306978"/>
                  <a:pt x="2512778" y="306978"/>
                </a:cubicBezTo>
                <a:lnTo>
                  <a:pt x="2507312" y="305338"/>
                </a:lnTo>
                <a:lnTo>
                  <a:pt x="2507312" y="305155"/>
                </a:lnTo>
                <a:lnTo>
                  <a:pt x="2507124" y="305281"/>
                </a:lnTo>
                <a:close/>
                <a:moveTo>
                  <a:pt x="1919163" y="303996"/>
                </a:moveTo>
                <a:lnTo>
                  <a:pt x="1920364" y="305329"/>
                </a:lnTo>
                <a:lnTo>
                  <a:pt x="1920344" y="305383"/>
                </a:lnTo>
                <a:cubicBezTo>
                  <a:pt x="1919206" y="306977"/>
                  <a:pt x="1917838" y="307889"/>
                  <a:pt x="1916927" y="306978"/>
                </a:cubicBezTo>
                <a:close/>
                <a:moveTo>
                  <a:pt x="2264963" y="301511"/>
                </a:moveTo>
                <a:cubicBezTo>
                  <a:pt x="2263140" y="301511"/>
                  <a:pt x="2263140" y="312444"/>
                  <a:pt x="2266785" y="308800"/>
                </a:cubicBezTo>
                <a:cubicBezTo>
                  <a:pt x="2266785" y="305155"/>
                  <a:pt x="2266785" y="301511"/>
                  <a:pt x="2264963" y="301511"/>
                </a:cubicBezTo>
                <a:close/>
                <a:moveTo>
                  <a:pt x="3163294" y="299689"/>
                </a:moveTo>
                <a:cubicBezTo>
                  <a:pt x="3159650" y="297867"/>
                  <a:pt x="3163294" y="303333"/>
                  <a:pt x="3159650" y="303333"/>
                </a:cubicBezTo>
                <a:cubicBezTo>
                  <a:pt x="3159650" y="306978"/>
                  <a:pt x="3165116" y="305155"/>
                  <a:pt x="3165116" y="308800"/>
                </a:cubicBezTo>
                <a:cubicBezTo>
                  <a:pt x="3170583" y="305155"/>
                  <a:pt x="3163294" y="301511"/>
                  <a:pt x="3163294" y="299689"/>
                </a:cubicBezTo>
                <a:close/>
                <a:moveTo>
                  <a:pt x="3006587" y="299689"/>
                </a:moveTo>
                <a:cubicBezTo>
                  <a:pt x="3006587" y="306978"/>
                  <a:pt x="3013876" y="310622"/>
                  <a:pt x="3013876" y="316089"/>
                </a:cubicBezTo>
                <a:cubicBezTo>
                  <a:pt x="3017521" y="310622"/>
                  <a:pt x="3010232" y="303333"/>
                  <a:pt x="3006587" y="299689"/>
                </a:cubicBezTo>
                <a:close/>
                <a:moveTo>
                  <a:pt x="2997477" y="299689"/>
                </a:moveTo>
                <a:cubicBezTo>
                  <a:pt x="2997477" y="306978"/>
                  <a:pt x="2993832" y="310622"/>
                  <a:pt x="2993832" y="316089"/>
                </a:cubicBezTo>
                <a:cubicBezTo>
                  <a:pt x="2997477" y="316089"/>
                  <a:pt x="3002943" y="321555"/>
                  <a:pt x="3004765" y="312444"/>
                </a:cubicBezTo>
                <a:cubicBezTo>
                  <a:pt x="2995654" y="314266"/>
                  <a:pt x="3002943" y="301511"/>
                  <a:pt x="2997477" y="299689"/>
                </a:cubicBezTo>
                <a:close/>
                <a:moveTo>
                  <a:pt x="3146895" y="297867"/>
                </a:moveTo>
                <a:cubicBezTo>
                  <a:pt x="3143250" y="297867"/>
                  <a:pt x="3143250" y="306978"/>
                  <a:pt x="3148717" y="305155"/>
                </a:cubicBezTo>
                <a:cubicBezTo>
                  <a:pt x="3148717" y="301511"/>
                  <a:pt x="3148717" y="299689"/>
                  <a:pt x="3146895" y="297867"/>
                </a:cubicBezTo>
                <a:close/>
                <a:moveTo>
                  <a:pt x="3121384" y="297867"/>
                </a:moveTo>
                <a:cubicBezTo>
                  <a:pt x="3126851" y="308800"/>
                  <a:pt x="3112274" y="310622"/>
                  <a:pt x="3110451" y="317911"/>
                </a:cubicBezTo>
                <a:cubicBezTo>
                  <a:pt x="3110451" y="319733"/>
                  <a:pt x="3112274" y="321555"/>
                  <a:pt x="3114096" y="323377"/>
                </a:cubicBezTo>
                <a:cubicBezTo>
                  <a:pt x="3110451" y="319733"/>
                  <a:pt x="3117740" y="317911"/>
                  <a:pt x="3115918" y="314266"/>
                </a:cubicBezTo>
                <a:cubicBezTo>
                  <a:pt x="3115918" y="316089"/>
                  <a:pt x="3119562" y="319733"/>
                  <a:pt x="3117740" y="321555"/>
                </a:cubicBezTo>
                <a:cubicBezTo>
                  <a:pt x="3103163" y="334310"/>
                  <a:pt x="3125029" y="337954"/>
                  <a:pt x="3126851" y="350710"/>
                </a:cubicBezTo>
                <a:cubicBezTo>
                  <a:pt x="3134140" y="343421"/>
                  <a:pt x="3126851" y="334310"/>
                  <a:pt x="3128673" y="327022"/>
                </a:cubicBezTo>
                <a:cubicBezTo>
                  <a:pt x="3126851" y="327022"/>
                  <a:pt x="3125029" y="328844"/>
                  <a:pt x="3125029" y="330666"/>
                </a:cubicBezTo>
                <a:cubicBezTo>
                  <a:pt x="3119562" y="325199"/>
                  <a:pt x="3128673" y="323377"/>
                  <a:pt x="3126851" y="317911"/>
                </a:cubicBezTo>
                <a:cubicBezTo>
                  <a:pt x="3130495" y="321555"/>
                  <a:pt x="3134140" y="327022"/>
                  <a:pt x="3137784" y="332488"/>
                </a:cubicBezTo>
                <a:cubicBezTo>
                  <a:pt x="3137784" y="323377"/>
                  <a:pt x="3143250" y="316089"/>
                  <a:pt x="3141428" y="308800"/>
                </a:cubicBezTo>
                <a:cubicBezTo>
                  <a:pt x="3141428" y="305155"/>
                  <a:pt x="3137784" y="312444"/>
                  <a:pt x="3134140" y="312444"/>
                </a:cubicBezTo>
                <a:cubicBezTo>
                  <a:pt x="3134140" y="312444"/>
                  <a:pt x="3132317" y="310622"/>
                  <a:pt x="3132317" y="308800"/>
                </a:cubicBezTo>
                <a:cubicBezTo>
                  <a:pt x="3132317" y="310622"/>
                  <a:pt x="3130495" y="310622"/>
                  <a:pt x="3130495" y="312444"/>
                </a:cubicBezTo>
                <a:cubicBezTo>
                  <a:pt x="3126851" y="306978"/>
                  <a:pt x="3132317" y="297867"/>
                  <a:pt x="3121384" y="297867"/>
                </a:cubicBezTo>
                <a:close/>
                <a:moveTo>
                  <a:pt x="1960659" y="297867"/>
                </a:moveTo>
                <a:cubicBezTo>
                  <a:pt x="1960659" y="299689"/>
                  <a:pt x="1960659" y="301511"/>
                  <a:pt x="1960659" y="303333"/>
                </a:cubicBezTo>
                <a:cubicBezTo>
                  <a:pt x="1964305" y="305155"/>
                  <a:pt x="1967948" y="303333"/>
                  <a:pt x="1967948" y="299689"/>
                </a:cubicBezTo>
                <a:cubicBezTo>
                  <a:pt x="1966126" y="297867"/>
                  <a:pt x="1964305" y="297867"/>
                  <a:pt x="1960659" y="297867"/>
                </a:cubicBezTo>
                <a:close/>
                <a:moveTo>
                  <a:pt x="2421669" y="296045"/>
                </a:moveTo>
                <a:cubicBezTo>
                  <a:pt x="2425314" y="294223"/>
                  <a:pt x="2428958" y="297867"/>
                  <a:pt x="2430780" y="299689"/>
                </a:cubicBezTo>
                <a:lnTo>
                  <a:pt x="2430643" y="300376"/>
                </a:lnTo>
                <a:lnTo>
                  <a:pt x="2423349" y="299261"/>
                </a:lnTo>
                <a:cubicBezTo>
                  <a:pt x="2418538" y="300201"/>
                  <a:pt x="2413811" y="302536"/>
                  <a:pt x="2409142" y="305383"/>
                </a:cubicBezTo>
                <a:lnTo>
                  <a:pt x="2391848" y="315531"/>
                </a:lnTo>
                <a:lnTo>
                  <a:pt x="2399120" y="307205"/>
                </a:lnTo>
                <a:cubicBezTo>
                  <a:pt x="2406637" y="302422"/>
                  <a:pt x="2415292" y="298778"/>
                  <a:pt x="2421669" y="296045"/>
                </a:cubicBezTo>
                <a:close/>
                <a:moveTo>
                  <a:pt x="2281362" y="296045"/>
                </a:moveTo>
                <a:cubicBezTo>
                  <a:pt x="2272251" y="297867"/>
                  <a:pt x="2272251" y="303333"/>
                  <a:pt x="2275896" y="310622"/>
                </a:cubicBezTo>
                <a:cubicBezTo>
                  <a:pt x="2277718" y="305155"/>
                  <a:pt x="2285007" y="301511"/>
                  <a:pt x="2281362" y="296045"/>
                </a:cubicBezTo>
                <a:close/>
                <a:moveTo>
                  <a:pt x="1977059" y="296045"/>
                </a:moveTo>
                <a:cubicBezTo>
                  <a:pt x="1977059" y="297867"/>
                  <a:pt x="1977059" y="297867"/>
                  <a:pt x="1977059" y="297867"/>
                </a:cubicBezTo>
                <a:cubicBezTo>
                  <a:pt x="1977059" y="299689"/>
                  <a:pt x="1975237" y="299689"/>
                  <a:pt x="1973416" y="299689"/>
                </a:cubicBezTo>
                <a:cubicBezTo>
                  <a:pt x="1973416" y="303333"/>
                  <a:pt x="1975237" y="305155"/>
                  <a:pt x="1978881" y="305155"/>
                </a:cubicBezTo>
                <a:cubicBezTo>
                  <a:pt x="1975237" y="301511"/>
                  <a:pt x="1980703" y="299689"/>
                  <a:pt x="1980703" y="296045"/>
                </a:cubicBezTo>
                <a:cubicBezTo>
                  <a:pt x="1978881" y="296045"/>
                  <a:pt x="1978881" y="296045"/>
                  <a:pt x="1977059" y="296045"/>
                </a:cubicBezTo>
                <a:close/>
                <a:moveTo>
                  <a:pt x="2659552" y="295888"/>
                </a:moveTo>
                <a:lnTo>
                  <a:pt x="2660795" y="297960"/>
                </a:lnTo>
                <a:lnTo>
                  <a:pt x="2658552" y="301511"/>
                </a:lnTo>
                <a:close/>
                <a:moveTo>
                  <a:pt x="2951922" y="295640"/>
                </a:moveTo>
                <a:lnTo>
                  <a:pt x="2953744" y="296045"/>
                </a:lnTo>
                <a:lnTo>
                  <a:pt x="2951922" y="299992"/>
                </a:lnTo>
                <a:close/>
                <a:moveTo>
                  <a:pt x="3346962" y="293256"/>
                </a:moveTo>
                <a:lnTo>
                  <a:pt x="3345512" y="296045"/>
                </a:lnTo>
                <a:lnTo>
                  <a:pt x="3345301" y="295563"/>
                </a:lnTo>
                <a:lnTo>
                  <a:pt x="3345512" y="294223"/>
                </a:lnTo>
                <a:close/>
                <a:moveTo>
                  <a:pt x="1997103" y="292400"/>
                </a:moveTo>
                <a:cubicBezTo>
                  <a:pt x="1995281" y="294223"/>
                  <a:pt x="2000747" y="301511"/>
                  <a:pt x="1993459" y="299689"/>
                </a:cubicBezTo>
                <a:cubicBezTo>
                  <a:pt x="1993459" y="303333"/>
                  <a:pt x="1995281" y="303333"/>
                  <a:pt x="1997103" y="305155"/>
                </a:cubicBezTo>
                <a:cubicBezTo>
                  <a:pt x="2002570" y="305155"/>
                  <a:pt x="2002570" y="299689"/>
                  <a:pt x="2002570" y="294223"/>
                </a:cubicBezTo>
                <a:cubicBezTo>
                  <a:pt x="2000747" y="292400"/>
                  <a:pt x="1997103" y="294223"/>
                  <a:pt x="1997103" y="292400"/>
                </a:cubicBezTo>
                <a:close/>
                <a:moveTo>
                  <a:pt x="973041" y="290688"/>
                </a:moveTo>
                <a:cubicBezTo>
                  <a:pt x="991263" y="297977"/>
                  <a:pt x="974863" y="299799"/>
                  <a:pt x="994907" y="290688"/>
                </a:cubicBezTo>
                <a:lnTo>
                  <a:pt x="1009485" y="299799"/>
                </a:lnTo>
                <a:cubicBezTo>
                  <a:pt x="1009485" y="316199"/>
                  <a:pt x="1004018" y="336243"/>
                  <a:pt x="987618" y="336243"/>
                </a:cubicBezTo>
                <a:cubicBezTo>
                  <a:pt x="976685" y="336243"/>
                  <a:pt x="971219" y="325310"/>
                  <a:pt x="973041" y="312554"/>
                </a:cubicBezTo>
                <a:close/>
                <a:moveTo>
                  <a:pt x="2676774" y="290578"/>
                </a:moveTo>
                <a:cubicBezTo>
                  <a:pt x="2676774" y="296045"/>
                  <a:pt x="2674952" y="303333"/>
                  <a:pt x="2682240" y="303333"/>
                </a:cubicBezTo>
                <a:cubicBezTo>
                  <a:pt x="2684063" y="299689"/>
                  <a:pt x="2682240" y="294223"/>
                  <a:pt x="2680418" y="290578"/>
                </a:cubicBezTo>
                <a:cubicBezTo>
                  <a:pt x="2678596" y="288756"/>
                  <a:pt x="2678596" y="290578"/>
                  <a:pt x="2676774" y="290578"/>
                </a:cubicBezTo>
                <a:close/>
                <a:moveTo>
                  <a:pt x="1909639" y="288773"/>
                </a:moveTo>
                <a:lnTo>
                  <a:pt x="1913273" y="292409"/>
                </a:lnTo>
                <a:lnTo>
                  <a:pt x="1913283" y="292400"/>
                </a:lnTo>
                <a:lnTo>
                  <a:pt x="1913283" y="292418"/>
                </a:lnTo>
                <a:cubicBezTo>
                  <a:pt x="1913283" y="292418"/>
                  <a:pt x="1913283" y="294240"/>
                  <a:pt x="1913283" y="294240"/>
                </a:cubicBezTo>
                <a:lnTo>
                  <a:pt x="1913283" y="297867"/>
                </a:lnTo>
                <a:lnTo>
                  <a:pt x="1911641" y="304433"/>
                </a:lnTo>
                <a:lnTo>
                  <a:pt x="1909867" y="302194"/>
                </a:lnTo>
                <a:cubicBezTo>
                  <a:pt x="1907816" y="300144"/>
                  <a:pt x="1905994" y="297867"/>
                  <a:pt x="1905994" y="294223"/>
                </a:cubicBezTo>
                <a:lnTo>
                  <a:pt x="1909639" y="295181"/>
                </a:lnTo>
                <a:close/>
                <a:moveTo>
                  <a:pt x="3228893" y="288756"/>
                </a:moveTo>
                <a:lnTo>
                  <a:pt x="3228893" y="290578"/>
                </a:lnTo>
                <a:lnTo>
                  <a:pt x="3228268" y="289416"/>
                </a:lnTo>
                <a:close/>
                <a:moveTo>
                  <a:pt x="3348035" y="287634"/>
                </a:moveTo>
                <a:lnTo>
                  <a:pt x="3350978" y="290578"/>
                </a:lnTo>
                <a:lnTo>
                  <a:pt x="3346962" y="293256"/>
                </a:lnTo>
                <a:lnTo>
                  <a:pt x="3348473" y="290350"/>
                </a:lnTo>
                <a:close/>
                <a:moveTo>
                  <a:pt x="2319628" y="286934"/>
                </a:moveTo>
                <a:lnTo>
                  <a:pt x="2320381" y="287626"/>
                </a:lnTo>
                <a:lnTo>
                  <a:pt x="2319628" y="288756"/>
                </a:lnTo>
                <a:lnTo>
                  <a:pt x="2319535" y="286996"/>
                </a:lnTo>
                <a:close/>
                <a:moveTo>
                  <a:pt x="3347855" y="286517"/>
                </a:moveTo>
                <a:lnTo>
                  <a:pt x="3348035" y="287634"/>
                </a:lnTo>
                <a:lnTo>
                  <a:pt x="3347334" y="286934"/>
                </a:lnTo>
                <a:close/>
                <a:moveTo>
                  <a:pt x="3083119" y="285112"/>
                </a:moveTo>
                <a:cubicBezTo>
                  <a:pt x="3077652" y="283289"/>
                  <a:pt x="3079474" y="292400"/>
                  <a:pt x="3081297" y="294223"/>
                </a:cubicBezTo>
                <a:cubicBezTo>
                  <a:pt x="3086763" y="294223"/>
                  <a:pt x="3083119" y="288756"/>
                  <a:pt x="3083119" y="285112"/>
                </a:cubicBezTo>
                <a:close/>
                <a:moveTo>
                  <a:pt x="3043031" y="285112"/>
                </a:moveTo>
                <a:cubicBezTo>
                  <a:pt x="3043031" y="288756"/>
                  <a:pt x="3044853" y="294223"/>
                  <a:pt x="3041209" y="292400"/>
                </a:cubicBezTo>
                <a:cubicBezTo>
                  <a:pt x="3044853" y="297867"/>
                  <a:pt x="3043031" y="288756"/>
                  <a:pt x="3046675" y="286934"/>
                </a:cubicBezTo>
                <a:cubicBezTo>
                  <a:pt x="3046675" y="286934"/>
                  <a:pt x="3044853" y="285112"/>
                  <a:pt x="3043031" y="285112"/>
                </a:cubicBezTo>
                <a:close/>
                <a:moveTo>
                  <a:pt x="2977432" y="285112"/>
                </a:moveTo>
                <a:cubicBezTo>
                  <a:pt x="2975610" y="292400"/>
                  <a:pt x="2971966" y="281467"/>
                  <a:pt x="2971966" y="286934"/>
                </a:cubicBezTo>
                <a:cubicBezTo>
                  <a:pt x="2971966" y="290578"/>
                  <a:pt x="2973788" y="292400"/>
                  <a:pt x="2977432" y="292400"/>
                </a:cubicBezTo>
                <a:cubicBezTo>
                  <a:pt x="2977432" y="288756"/>
                  <a:pt x="2979255" y="288756"/>
                  <a:pt x="2977432" y="285112"/>
                </a:cubicBezTo>
                <a:close/>
                <a:moveTo>
                  <a:pt x="2946456" y="285112"/>
                </a:moveTo>
                <a:cubicBezTo>
                  <a:pt x="2946456" y="290578"/>
                  <a:pt x="2951922" y="290578"/>
                  <a:pt x="2955566" y="290578"/>
                </a:cubicBezTo>
                <a:cubicBezTo>
                  <a:pt x="2953744" y="281467"/>
                  <a:pt x="2950100" y="288756"/>
                  <a:pt x="2946456" y="285112"/>
                </a:cubicBezTo>
                <a:close/>
                <a:moveTo>
                  <a:pt x="3055786" y="283289"/>
                </a:moveTo>
                <a:cubicBezTo>
                  <a:pt x="3053964" y="283289"/>
                  <a:pt x="3050319" y="288756"/>
                  <a:pt x="3052142" y="292400"/>
                </a:cubicBezTo>
                <a:cubicBezTo>
                  <a:pt x="3057608" y="294223"/>
                  <a:pt x="3057608" y="288756"/>
                  <a:pt x="3055786" y="283289"/>
                </a:cubicBezTo>
                <a:close/>
                <a:moveTo>
                  <a:pt x="3032098" y="283289"/>
                </a:moveTo>
                <a:cubicBezTo>
                  <a:pt x="3032098" y="290578"/>
                  <a:pt x="3030276" y="288756"/>
                  <a:pt x="3028453" y="299689"/>
                </a:cubicBezTo>
                <a:cubicBezTo>
                  <a:pt x="3033920" y="299689"/>
                  <a:pt x="3033920" y="288756"/>
                  <a:pt x="3032098" y="283289"/>
                </a:cubicBezTo>
                <a:close/>
                <a:moveTo>
                  <a:pt x="2986543" y="283289"/>
                </a:moveTo>
                <a:cubicBezTo>
                  <a:pt x="2977432" y="283289"/>
                  <a:pt x="2981077" y="290578"/>
                  <a:pt x="2981077" y="296045"/>
                </a:cubicBezTo>
                <a:cubicBezTo>
                  <a:pt x="2982899" y="296045"/>
                  <a:pt x="2984721" y="296045"/>
                  <a:pt x="2986543" y="294223"/>
                </a:cubicBezTo>
                <a:cubicBezTo>
                  <a:pt x="2986543" y="288756"/>
                  <a:pt x="2984721" y="286934"/>
                  <a:pt x="2986543" y="283289"/>
                </a:cubicBezTo>
                <a:close/>
                <a:moveTo>
                  <a:pt x="2552866" y="283289"/>
                </a:moveTo>
                <a:cubicBezTo>
                  <a:pt x="2545577" y="286934"/>
                  <a:pt x="2536466" y="286934"/>
                  <a:pt x="2531000" y="294223"/>
                </a:cubicBezTo>
                <a:cubicBezTo>
                  <a:pt x="2540111" y="296045"/>
                  <a:pt x="2549222" y="297867"/>
                  <a:pt x="2561977" y="297867"/>
                </a:cubicBezTo>
                <a:cubicBezTo>
                  <a:pt x="2563799" y="290578"/>
                  <a:pt x="2560155" y="288756"/>
                  <a:pt x="2558332" y="285112"/>
                </a:cubicBezTo>
                <a:cubicBezTo>
                  <a:pt x="2558332" y="288756"/>
                  <a:pt x="2558332" y="292400"/>
                  <a:pt x="2554688" y="294223"/>
                </a:cubicBezTo>
                <a:cubicBezTo>
                  <a:pt x="2552866" y="290578"/>
                  <a:pt x="2552866" y="286934"/>
                  <a:pt x="2552866" y="283289"/>
                </a:cubicBezTo>
                <a:close/>
                <a:moveTo>
                  <a:pt x="1926038" y="283289"/>
                </a:moveTo>
                <a:cubicBezTo>
                  <a:pt x="1924216" y="286934"/>
                  <a:pt x="1922394" y="290578"/>
                  <a:pt x="1922394" y="296045"/>
                </a:cubicBezTo>
                <a:cubicBezTo>
                  <a:pt x="1927861" y="297867"/>
                  <a:pt x="1924216" y="286934"/>
                  <a:pt x="1929683" y="286934"/>
                </a:cubicBezTo>
                <a:cubicBezTo>
                  <a:pt x="1929683" y="290578"/>
                  <a:pt x="1929683" y="292400"/>
                  <a:pt x="1929683" y="294223"/>
                </a:cubicBezTo>
                <a:cubicBezTo>
                  <a:pt x="1931505" y="292400"/>
                  <a:pt x="1933327" y="294223"/>
                  <a:pt x="1936972" y="294223"/>
                </a:cubicBezTo>
                <a:cubicBezTo>
                  <a:pt x="1936972" y="288756"/>
                  <a:pt x="1933327" y="288756"/>
                  <a:pt x="1929683" y="286934"/>
                </a:cubicBezTo>
                <a:cubicBezTo>
                  <a:pt x="1929683" y="286934"/>
                  <a:pt x="1927861" y="286934"/>
                  <a:pt x="1927861" y="285112"/>
                </a:cubicBezTo>
                <a:cubicBezTo>
                  <a:pt x="1926038" y="285112"/>
                  <a:pt x="1926038" y="283289"/>
                  <a:pt x="1926038" y="283289"/>
                </a:cubicBezTo>
                <a:close/>
                <a:moveTo>
                  <a:pt x="3329112" y="281467"/>
                </a:moveTo>
                <a:cubicBezTo>
                  <a:pt x="3325468" y="281467"/>
                  <a:pt x="3323646" y="283289"/>
                  <a:pt x="3323646" y="285112"/>
                </a:cubicBezTo>
                <a:cubicBezTo>
                  <a:pt x="3323646" y="292400"/>
                  <a:pt x="3329112" y="301511"/>
                  <a:pt x="3332756" y="303333"/>
                </a:cubicBezTo>
                <a:cubicBezTo>
                  <a:pt x="3343690" y="305155"/>
                  <a:pt x="3343690" y="292400"/>
                  <a:pt x="3338223" y="281467"/>
                </a:cubicBezTo>
                <a:cubicBezTo>
                  <a:pt x="3336401" y="279645"/>
                  <a:pt x="3336401" y="286934"/>
                  <a:pt x="3332756" y="286934"/>
                </a:cubicBezTo>
                <a:cubicBezTo>
                  <a:pt x="3329112" y="286934"/>
                  <a:pt x="3329112" y="285112"/>
                  <a:pt x="3329112" y="281467"/>
                </a:cubicBezTo>
                <a:close/>
                <a:moveTo>
                  <a:pt x="1980703" y="281467"/>
                </a:moveTo>
                <a:cubicBezTo>
                  <a:pt x="1982527" y="285112"/>
                  <a:pt x="1986170" y="288756"/>
                  <a:pt x="1987992" y="292400"/>
                </a:cubicBezTo>
                <a:cubicBezTo>
                  <a:pt x="1989814" y="286934"/>
                  <a:pt x="1986170" y="285112"/>
                  <a:pt x="1986170" y="281467"/>
                </a:cubicBezTo>
                <a:cubicBezTo>
                  <a:pt x="1984348" y="281467"/>
                  <a:pt x="1982527" y="281467"/>
                  <a:pt x="1980703" y="281467"/>
                </a:cubicBezTo>
                <a:close/>
                <a:moveTo>
                  <a:pt x="1960659" y="281467"/>
                </a:moveTo>
                <a:cubicBezTo>
                  <a:pt x="1955194" y="281467"/>
                  <a:pt x="1960659" y="286934"/>
                  <a:pt x="1962482" y="288756"/>
                </a:cubicBezTo>
                <a:cubicBezTo>
                  <a:pt x="1966126" y="286934"/>
                  <a:pt x="1960659" y="283289"/>
                  <a:pt x="1960659" y="281467"/>
                </a:cubicBezTo>
                <a:close/>
                <a:moveTo>
                  <a:pt x="2626721" y="279474"/>
                </a:moveTo>
                <a:lnTo>
                  <a:pt x="2628320" y="280350"/>
                </a:lnTo>
                <a:lnTo>
                  <a:pt x="2627575" y="281467"/>
                </a:lnTo>
                <a:lnTo>
                  <a:pt x="2622898" y="280114"/>
                </a:lnTo>
                <a:close/>
                <a:moveTo>
                  <a:pt x="3125029" y="277823"/>
                </a:moveTo>
                <a:cubicBezTo>
                  <a:pt x="3123206" y="281467"/>
                  <a:pt x="3123206" y="290578"/>
                  <a:pt x="3125029" y="294223"/>
                </a:cubicBezTo>
                <a:cubicBezTo>
                  <a:pt x="3128673" y="292400"/>
                  <a:pt x="3132317" y="290578"/>
                  <a:pt x="3135962" y="288756"/>
                </a:cubicBezTo>
                <a:cubicBezTo>
                  <a:pt x="3132317" y="283289"/>
                  <a:pt x="3132317" y="279645"/>
                  <a:pt x="3125029" y="277823"/>
                </a:cubicBezTo>
                <a:close/>
                <a:moveTo>
                  <a:pt x="2694996" y="277823"/>
                </a:moveTo>
                <a:lnTo>
                  <a:pt x="2696500" y="278972"/>
                </a:lnTo>
                <a:lnTo>
                  <a:pt x="2695033" y="280073"/>
                </a:lnTo>
                <a:close/>
                <a:moveTo>
                  <a:pt x="1936972" y="277823"/>
                </a:moveTo>
                <a:cubicBezTo>
                  <a:pt x="1936972" y="279645"/>
                  <a:pt x="1938793" y="279645"/>
                  <a:pt x="1940616" y="279645"/>
                </a:cubicBezTo>
                <a:cubicBezTo>
                  <a:pt x="1940616" y="281467"/>
                  <a:pt x="1937884" y="281011"/>
                  <a:pt x="1935377" y="280783"/>
                </a:cubicBezTo>
                <a:lnTo>
                  <a:pt x="1933570" y="281953"/>
                </a:lnTo>
                <a:lnTo>
                  <a:pt x="1933327" y="281467"/>
                </a:lnTo>
                <a:cubicBezTo>
                  <a:pt x="1933327" y="283289"/>
                  <a:pt x="1931505" y="283289"/>
                  <a:pt x="1931505" y="283289"/>
                </a:cubicBezTo>
                <a:lnTo>
                  <a:pt x="1933570" y="281953"/>
                </a:lnTo>
                <a:lnTo>
                  <a:pt x="1935149" y="285112"/>
                </a:lnTo>
                <a:cubicBezTo>
                  <a:pt x="1936972" y="283289"/>
                  <a:pt x="1936972" y="279645"/>
                  <a:pt x="1944260" y="279645"/>
                </a:cubicBezTo>
                <a:cubicBezTo>
                  <a:pt x="1942438" y="277823"/>
                  <a:pt x="1940616" y="277823"/>
                  <a:pt x="1936972" y="277823"/>
                </a:cubicBezTo>
                <a:close/>
                <a:moveTo>
                  <a:pt x="3006587" y="276001"/>
                </a:moveTo>
                <a:cubicBezTo>
                  <a:pt x="3002943" y="274179"/>
                  <a:pt x="3002943" y="285112"/>
                  <a:pt x="3006587" y="283289"/>
                </a:cubicBezTo>
                <a:cubicBezTo>
                  <a:pt x="3006587" y="279645"/>
                  <a:pt x="3006587" y="281467"/>
                  <a:pt x="3006587" y="276001"/>
                </a:cubicBezTo>
                <a:close/>
                <a:moveTo>
                  <a:pt x="3015698" y="274179"/>
                </a:moveTo>
                <a:cubicBezTo>
                  <a:pt x="3012054" y="270534"/>
                  <a:pt x="3013876" y="283289"/>
                  <a:pt x="3017521" y="283289"/>
                </a:cubicBezTo>
                <a:cubicBezTo>
                  <a:pt x="3019343" y="277823"/>
                  <a:pt x="3013876" y="279645"/>
                  <a:pt x="3015698" y="274179"/>
                </a:cubicBezTo>
                <a:close/>
                <a:moveTo>
                  <a:pt x="3152361" y="272356"/>
                </a:moveTo>
                <a:cubicBezTo>
                  <a:pt x="3152361" y="276001"/>
                  <a:pt x="3152361" y="277823"/>
                  <a:pt x="3154184" y="281467"/>
                </a:cubicBezTo>
                <a:cubicBezTo>
                  <a:pt x="3157828" y="281467"/>
                  <a:pt x="3157828" y="274179"/>
                  <a:pt x="3156006" y="272356"/>
                </a:cubicBezTo>
                <a:cubicBezTo>
                  <a:pt x="3156006" y="272356"/>
                  <a:pt x="3154184" y="272356"/>
                  <a:pt x="3152361" y="272356"/>
                </a:cubicBezTo>
                <a:close/>
                <a:moveTo>
                  <a:pt x="3033920" y="272356"/>
                </a:moveTo>
                <a:cubicBezTo>
                  <a:pt x="3030276" y="272356"/>
                  <a:pt x="3033920" y="281467"/>
                  <a:pt x="3037564" y="283289"/>
                </a:cubicBezTo>
                <a:cubicBezTo>
                  <a:pt x="3039387" y="281467"/>
                  <a:pt x="3039387" y="279645"/>
                  <a:pt x="3039387" y="277823"/>
                </a:cubicBezTo>
                <a:cubicBezTo>
                  <a:pt x="3037564" y="277823"/>
                  <a:pt x="3037564" y="277823"/>
                  <a:pt x="3035742" y="277823"/>
                </a:cubicBezTo>
                <a:cubicBezTo>
                  <a:pt x="3033920" y="277823"/>
                  <a:pt x="3035742" y="274179"/>
                  <a:pt x="3033920" y="272356"/>
                </a:cubicBezTo>
                <a:close/>
                <a:moveTo>
                  <a:pt x="3057608" y="268712"/>
                </a:moveTo>
                <a:cubicBezTo>
                  <a:pt x="3053964" y="268712"/>
                  <a:pt x="3055786" y="279645"/>
                  <a:pt x="3061253" y="279645"/>
                </a:cubicBezTo>
                <a:cubicBezTo>
                  <a:pt x="3061253" y="274179"/>
                  <a:pt x="3057608" y="274179"/>
                  <a:pt x="3057608" y="268712"/>
                </a:cubicBezTo>
                <a:close/>
                <a:moveTo>
                  <a:pt x="2691253" y="268023"/>
                </a:moveTo>
                <a:lnTo>
                  <a:pt x="2691351" y="268712"/>
                </a:lnTo>
                <a:lnTo>
                  <a:pt x="2691013" y="268562"/>
                </a:lnTo>
                <a:close/>
                <a:moveTo>
                  <a:pt x="3021165" y="266890"/>
                </a:moveTo>
                <a:cubicBezTo>
                  <a:pt x="3017521" y="276001"/>
                  <a:pt x="3028453" y="277823"/>
                  <a:pt x="3032098" y="279645"/>
                </a:cubicBezTo>
                <a:cubicBezTo>
                  <a:pt x="3032098" y="274179"/>
                  <a:pt x="3026631" y="272356"/>
                  <a:pt x="3026631" y="266890"/>
                </a:cubicBezTo>
                <a:cubicBezTo>
                  <a:pt x="3024809" y="268712"/>
                  <a:pt x="3022987" y="274179"/>
                  <a:pt x="3021165" y="266890"/>
                </a:cubicBezTo>
                <a:close/>
                <a:moveTo>
                  <a:pt x="2751483" y="266890"/>
                </a:moveTo>
                <a:cubicBezTo>
                  <a:pt x="2751483" y="270534"/>
                  <a:pt x="2756950" y="270534"/>
                  <a:pt x="2753305" y="274179"/>
                </a:cubicBezTo>
                <a:cubicBezTo>
                  <a:pt x="2749661" y="276001"/>
                  <a:pt x="2749661" y="268712"/>
                  <a:pt x="2751483" y="266890"/>
                </a:cubicBezTo>
                <a:close/>
                <a:moveTo>
                  <a:pt x="2301406" y="266890"/>
                </a:moveTo>
                <a:cubicBezTo>
                  <a:pt x="2290473" y="276001"/>
                  <a:pt x="2305050" y="281467"/>
                  <a:pt x="2303228" y="290578"/>
                </a:cubicBezTo>
                <a:cubicBezTo>
                  <a:pt x="2308695" y="288756"/>
                  <a:pt x="2306873" y="281467"/>
                  <a:pt x="2306873" y="276001"/>
                </a:cubicBezTo>
                <a:cubicBezTo>
                  <a:pt x="2303228" y="277823"/>
                  <a:pt x="2303228" y="277823"/>
                  <a:pt x="2299584" y="279645"/>
                </a:cubicBezTo>
                <a:cubicBezTo>
                  <a:pt x="2303228" y="276001"/>
                  <a:pt x="2303228" y="270534"/>
                  <a:pt x="2301406" y="266890"/>
                </a:cubicBezTo>
                <a:close/>
                <a:moveTo>
                  <a:pt x="2658299" y="264185"/>
                </a:moveTo>
                <a:lnTo>
                  <a:pt x="2650928" y="276113"/>
                </a:lnTo>
                <a:lnTo>
                  <a:pt x="2650723" y="275744"/>
                </a:lnTo>
                <a:cubicBezTo>
                  <a:pt x="2650865" y="272755"/>
                  <a:pt x="2652289" y="269509"/>
                  <a:pt x="2654225" y="266662"/>
                </a:cubicBezTo>
                <a:close/>
                <a:moveTo>
                  <a:pt x="2334205" y="263246"/>
                </a:moveTo>
                <a:cubicBezTo>
                  <a:pt x="2328739" y="266890"/>
                  <a:pt x="2330561" y="272356"/>
                  <a:pt x="2332383" y="272356"/>
                </a:cubicBezTo>
                <a:lnTo>
                  <a:pt x="2335846" y="277625"/>
                </a:lnTo>
                <a:lnTo>
                  <a:pt x="2335800" y="278961"/>
                </a:lnTo>
                <a:lnTo>
                  <a:pt x="2337407" y="280001"/>
                </a:lnTo>
                <a:lnTo>
                  <a:pt x="2337622" y="280328"/>
                </a:lnTo>
                <a:cubicBezTo>
                  <a:pt x="2336483" y="282378"/>
                  <a:pt x="2333294" y="284200"/>
                  <a:pt x="2330561" y="286934"/>
                </a:cubicBezTo>
                <a:cubicBezTo>
                  <a:pt x="2330561" y="279645"/>
                  <a:pt x="2325094" y="277823"/>
                  <a:pt x="2319628" y="277823"/>
                </a:cubicBezTo>
                <a:cubicBezTo>
                  <a:pt x="2314161" y="276001"/>
                  <a:pt x="2319628" y="285112"/>
                  <a:pt x="2312339" y="281467"/>
                </a:cubicBezTo>
                <a:cubicBezTo>
                  <a:pt x="2314161" y="284200"/>
                  <a:pt x="2317350" y="284200"/>
                  <a:pt x="2319400" y="284428"/>
                </a:cubicBezTo>
                <a:lnTo>
                  <a:pt x="2319535" y="286996"/>
                </a:lnTo>
                <a:lnTo>
                  <a:pt x="2314161" y="290578"/>
                </a:lnTo>
                <a:cubicBezTo>
                  <a:pt x="2312795" y="291944"/>
                  <a:pt x="2311428" y="293311"/>
                  <a:pt x="2308695" y="294223"/>
                </a:cubicBezTo>
                <a:cubicBezTo>
                  <a:pt x="2308695" y="297867"/>
                  <a:pt x="2310517" y="297867"/>
                  <a:pt x="2312339" y="299689"/>
                </a:cubicBezTo>
                <a:cubicBezTo>
                  <a:pt x="2314161" y="288756"/>
                  <a:pt x="2317806" y="305155"/>
                  <a:pt x="2326916" y="301511"/>
                </a:cubicBezTo>
                <a:cubicBezTo>
                  <a:pt x="2328739" y="296044"/>
                  <a:pt x="2327372" y="293766"/>
                  <a:pt x="2325322" y="292172"/>
                </a:cubicBezTo>
                <a:lnTo>
                  <a:pt x="2320381" y="287626"/>
                </a:lnTo>
                <a:lnTo>
                  <a:pt x="2323272" y="283289"/>
                </a:lnTo>
                <a:cubicBezTo>
                  <a:pt x="2334205" y="286934"/>
                  <a:pt x="2334205" y="294223"/>
                  <a:pt x="2330561" y="305155"/>
                </a:cubicBezTo>
                <a:cubicBezTo>
                  <a:pt x="2332383" y="305155"/>
                  <a:pt x="2336027" y="308800"/>
                  <a:pt x="2337850" y="305155"/>
                </a:cubicBezTo>
                <a:cubicBezTo>
                  <a:pt x="2341494" y="297867"/>
                  <a:pt x="2339672" y="288756"/>
                  <a:pt x="2339672" y="281467"/>
                </a:cubicBezTo>
                <a:lnTo>
                  <a:pt x="2337407" y="280001"/>
                </a:lnTo>
                <a:lnTo>
                  <a:pt x="2335846" y="277625"/>
                </a:lnTo>
                <a:lnTo>
                  <a:pt x="2336027" y="272356"/>
                </a:lnTo>
                <a:cubicBezTo>
                  <a:pt x="2343316" y="274179"/>
                  <a:pt x="2336027" y="283289"/>
                  <a:pt x="2345138" y="277823"/>
                </a:cubicBezTo>
                <a:cubicBezTo>
                  <a:pt x="2346960" y="276001"/>
                  <a:pt x="2348782" y="274179"/>
                  <a:pt x="2348782" y="272356"/>
                </a:cubicBezTo>
                <a:cubicBezTo>
                  <a:pt x="2348782" y="270534"/>
                  <a:pt x="2348782" y="268712"/>
                  <a:pt x="2346960" y="266890"/>
                </a:cubicBezTo>
                <a:cubicBezTo>
                  <a:pt x="2343316" y="272356"/>
                  <a:pt x="2339672" y="270534"/>
                  <a:pt x="2332383" y="272356"/>
                </a:cubicBezTo>
                <a:cubicBezTo>
                  <a:pt x="2334205" y="270534"/>
                  <a:pt x="2334205" y="266890"/>
                  <a:pt x="2334205" y="263246"/>
                </a:cubicBezTo>
                <a:close/>
                <a:moveTo>
                  <a:pt x="2287541" y="262776"/>
                </a:moveTo>
                <a:lnTo>
                  <a:pt x="2285636" y="271351"/>
                </a:lnTo>
                <a:lnTo>
                  <a:pt x="2284551" y="270989"/>
                </a:lnTo>
                <a:cubicBezTo>
                  <a:pt x="2284096" y="269623"/>
                  <a:pt x="2284096" y="267801"/>
                  <a:pt x="2283184" y="266890"/>
                </a:cubicBezTo>
                <a:cubicBezTo>
                  <a:pt x="2285007" y="265979"/>
                  <a:pt x="2286374" y="264156"/>
                  <a:pt x="2287512" y="262790"/>
                </a:cubicBezTo>
                <a:close/>
                <a:moveTo>
                  <a:pt x="3044853" y="261423"/>
                </a:moveTo>
                <a:cubicBezTo>
                  <a:pt x="3041209" y="265068"/>
                  <a:pt x="3044853" y="272356"/>
                  <a:pt x="3048497" y="272356"/>
                </a:cubicBezTo>
                <a:cubicBezTo>
                  <a:pt x="3048497" y="266890"/>
                  <a:pt x="3044853" y="266890"/>
                  <a:pt x="3044853" y="261423"/>
                </a:cubicBezTo>
                <a:close/>
                <a:moveTo>
                  <a:pt x="2665182" y="260001"/>
                </a:moveTo>
                <a:lnTo>
                  <a:pt x="2658299" y="264185"/>
                </a:lnTo>
                <a:lnTo>
                  <a:pt x="2660147" y="261195"/>
                </a:lnTo>
                <a:close/>
                <a:moveTo>
                  <a:pt x="3028453" y="259601"/>
                </a:moveTo>
                <a:cubicBezTo>
                  <a:pt x="3028453" y="261423"/>
                  <a:pt x="3028453" y="263246"/>
                  <a:pt x="3028453" y="265068"/>
                </a:cubicBezTo>
                <a:cubicBezTo>
                  <a:pt x="3030276" y="265068"/>
                  <a:pt x="3033920" y="268712"/>
                  <a:pt x="3033920" y="265068"/>
                </a:cubicBezTo>
                <a:cubicBezTo>
                  <a:pt x="3035742" y="259601"/>
                  <a:pt x="3030276" y="259601"/>
                  <a:pt x="3028453" y="259601"/>
                </a:cubicBezTo>
                <a:close/>
                <a:moveTo>
                  <a:pt x="2665841" y="259601"/>
                </a:moveTo>
                <a:lnTo>
                  <a:pt x="2665725" y="259873"/>
                </a:lnTo>
                <a:lnTo>
                  <a:pt x="2665182" y="260001"/>
                </a:lnTo>
                <a:close/>
                <a:moveTo>
                  <a:pt x="2571088" y="259601"/>
                </a:moveTo>
                <a:cubicBezTo>
                  <a:pt x="2572910" y="261423"/>
                  <a:pt x="2571088" y="263246"/>
                  <a:pt x="2569266" y="265068"/>
                </a:cubicBezTo>
                <a:lnTo>
                  <a:pt x="2567760" y="264692"/>
                </a:lnTo>
                <a:close/>
                <a:moveTo>
                  <a:pt x="2350605" y="259601"/>
                </a:moveTo>
                <a:cubicBezTo>
                  <a:pt x="2350605" y="263246"/>
                  <a:pt x="2350605" y="266890"/>
                  <a:pt x="2350605" y="270534"/>
                </a:cubicBezTo>
                <a:cubicBezTo>
                  <a:pt x="2356071" y="268712"/>
                  <a:pt x="2356071" y="257779"/>
                  <a:pt x="2350605" y="259601"/>
                </a:cubicBezTo>
                <a:close/>
                <a:moveTo>
                  <a:pt x="2681529" y="256125"/>
                </a:moveTo>
                <a:lnTo>
                  <a:pt x="2681102" y="257323"/>
                </a:lnTo>
                <a:cubicBezTo>
                  <a:pt x="2680874" y="258234"/>
                  <a:pt x="2680418" y="258690"/>
                  <a:pt x="2678596" y="257779"/>
                </a:cubicBezTo>
                <a:cubicBezTo>
                  <a:pt x="2679507" y="263245"/>
                  <a:pt x="2681330" y="264612"/>
                  <a:pt x="2683607" y="265295"/>
                </a:cubicBezTo>
                <a:lnTo>
                  <a:pt x="2691013" y="268562"/>
                </a:lnTo>
                <a:lnTo>
                  <a:pt x="2687707" y="276001"/>
                </a:lnTo>
                <a:cubicBezTo>
                  <a:pt x="2693174" y="276001"/>
                  <a:pt x="2691351" y="274179"/>
                  <a:pt x="2693174" y="281467"/>
                </a:cubicBezTo>
                <a:lnTo>
                  <a:pt x="2695033" y="280073"/>
                </a:lnTo>
                <a:lnTo>
                  <a:pt x="2695224" y="291944"/>
                </a:lnTo>
                <a:cubicBezTo>
                  <a:pt x="2695451" y="296955"/>
                  <a:pt x="2696818" y="301511"/>
                  <a:pt x="2702284" y="303333"/>
                </a:cubicBezTo>
                <a:cubicBezTo>
                  <a:pt x="2698640" y="306978"/>
                  <a:pt x="2698640" y="314266"/>
                  <a:pt x="2691351" y="316089"/>
                </a:cubicBezTo>
                <a:cubicBezTo>
                  <a:pt x="2693174" y="316089"/>
                  <a:pt x="2694996" y="316089"/>
                  <a:pt x="2694996" y="317911"/>
                </a:cubicBezTo>
                <a:cubicBezTo>
                  <a:pt x="2694996" y="321555"/>
                  <a:pt x="2689529" y="325199"/>
                  <a:pt x="2687707" y="327022"/>
                </a:cubicBezTo>
                <a:cubicBezTo>
                  <a:pt x="2687707" y="323377"/>
                  <a:pt x="2687707" y="321555"/>
                  <a:pt x="2685885" y="319733"/>
                </a:cubicBezTo>
                <a:cubicBezTo>
                  <a:pt x="2685885" y="323377"/>
                  <a:pt x="2684063" y="323377"/>
                  <a:pt x="2682240" y="325199"/>
                </a:cubicBezTo>
                <a:cubicBezTo>
                  <a:pt x="2682240" y="323377"/>
                  <a:pt x="2682240" y="321555"/>
                  <a:pt x="2682240" y="319733"/>
                </a:cubicBezTo>
                <a:cubicBezTo>
                  <a:pt x="2678596" y="319733"/>
                  <a:pt x="2678596" y="325199"/>
                  <a:pt x="2676774" y="323377"/>
                </a:cubicBezTo>
                <a:cubicBezTo>
                  <a:pt x="2671307" y="321555"/>
                  <a:pt x="2673130" y="310622"/>
                  <a:pt x="2669485" y="308800"/>
                </a:cubicBezTo>
                <a:cubicBezTo>
                  <a:pt x="2665841" y="306066"/>
                  <a:pt x="2664475" y="304244"/>
                  <a:pt x="2663336" y="302194"/>
                </a:cubicBezTo>
                <a:lnTo>
                  <a:pt x="2660795" y="297960"/>
                </a:lnTo>
                <a:lnTo>
                  <a:pt x="2661286" y="297183"/>
                </a:lnTo>
                <a:cubicBezTo>
                  <a:pt x="2662197" y="296044"/>
                  <a:pt x="2663108" y="296044"/>
                  <a:pt x="2664019" y="299689"/>
                </a:cubicBezTo>
                <a:cubicBezTo>
                  <a:pt x="2669485" y="297867"/>
                  <a:pt x="2667663" y="290578"/>
                  <a:pt x="2667663" y="285112"/>
                </a:cubicBezTo>
                <a:cubicBezTo>
                  <a:pt x="2664930" y="286023"/>
                  <a:pt x="2662197" y="288300"/>
                  <a:pt x="2660375" y="291261"/>
                </a:cubicBezTo>
                <a:lnTo>
                  <a:pt x="2659552" y="295888"/>
                </a:lnTo>
                <a:lnTo>
                  <a:pt x="2658552" y="294223"/>
                </a:lnTo>
                <a:cubicBezTo>
                  <a:pt x="2656730" y="294223"/>
                  <a:pt x="2656730" y="299689"/>
                  <a:pt x="2653086" y="296045"/>
                </a:cubicBezTo>
                <a:cubicBezTo>
                  <a:pt x="2653086" y="294223"/>
                  <a:pt x="2654908" y="288756"/>
                  <a:pt x="2651263" y="286934"/>
                </a:cubicBezTo>
                <a:cubicBezTo>
                  <a:pt x="2651263" y="288756"/>
                  <a:pt x="2651263" y="292400"/>
                  <a:pt x="2649441" y="292400"/>
                </a:cubicBezTo>
                <a:cubicBezTo>
                  <a:pt x="2645797" y="292400"/>
                  <a:pt x="2645797" y="286934"/>
                  <a:pt x="2643975" y="285112"/>
                </a:cubicBezTo>
                <a:cubicBezTo>
                  <a:pt x="2642153" y="285112"/>
                  <a:pt x="2640330" y="286934"/>
                  <a:pt x="2640330" y="286934"/>
                </a:cubicBezTo>
                <a:lnTo>
                  <a:pt x="2628320" y="280350"/>
                </a:lnTo>
                <a:lnTo>
                  <a:pt x="2631219" y="276001"/>
                </a:lnTo>
                <a:cubicBezTo>
                  <a:pt x="2634864" y="283289"/>
                  <a:pt x="2643975" y="290578"/>
                  <a:pt x="2647619" y="281467"/>
                </a:cubicBezTo>
                <a:lnTo>
                  <a:pt x="2650928" y="276113"/>
                </a:lnTo>
                <a:lnTo>
                  <a:pt x="2654908" y="283289"/>
                </a:lnTo>
                <a:cubicBezTo>
                  <a:pt x="2658552" y="285112"/>
                  <a:pt x="2658552" y="281467"/>
                  <a:pt x="2662197" y="283289"/>
                </a:cubicBezTo>
                <a:cubicBezTo>
                  <a:pt x="2664019" y="279645"/>
                  <a:pt x="2664019" y="277823"/>
                  <a:pt x="2664019" y="276001"/>
                </a:cubicBezTo>
                <a:cubicBezTo>
                  <a:pt x="2667663" y="277823"/>
                  <a:pt x="2664019" y="281467"/>
                  <a:pt x="2669485" y="281467"/>
                </a:cubicBezTo>
                <a:cubicBezTo>
                  <a:pt x="2667663" y="285112"/>
                  <a:pt x="2669485" y="290578"/>
                  <a:pt x="2673130" y="290578"/>
                </a:cubicBezTo>
                <a:cubicBezTo>
                  <a:pt x="2674952" y="279645"/>
                  <a:pt x="2682240" y="281467"/>
                  <a:pt x="2678596" y="272356"/>
                </a:cubicBezTo>
                <a:cubicBezTo>
                  <a:pt x="2673130" y="266890"/>
                  <a:pt x="2671307" y="266890"/>
                  <a:pt x="2665841" y="263246"/>
                </a:cubicBezTo>
                <a:cubicBezTo>
                  <a:pt x="2664019" y="265068"/>
                  <a:pt x="2664019" y="270534"/>
                  <a:pt x="2660374" y="272356"/>
                </a:cubicBezTo>
                <a:lnTo>
                  <a:pt x="2665725" y="259873"/>
                </a:lnTo>
                <a:close/>
                <a:moveTo>
                  <a:pt x="2323272" y="255957"/>
                </a:moveTo>
                <a:cubicBezTo>
                  <a:pt x="2321450" y="255957"/>
                  <a:pt x="2321450" y="257779"/>
                  <a:pt x="2319628" y="257779"/>
                </a:cubicBezTo>
                <a:cubicBezTo>
                  <a:pt x="2321450" y="254135"/>
                  <a:pt x="2312339" y="257779"/>
                  <a:pt x="2314161" y="261423"/>
                </a:cubicBezTo>
                <a:cubicBezTo>
                  <a:pt x="2319628" y="261423"/>
                  <a:pt x="2319628" y="261423"/>
                  <a:pt x="2323272" y="263246"/>
                </a:cubicBezTo>
                <a:cubicBezTo>
                  <a:pt x="2323272" y="261423"/>
                  <a:pt x="2323272" y="259601"/>
                  <a:pt x="2323272" y="255957"/>
                </a:cubicBezTo>
                <a:close/>
                <a:moveTo>
                  <a:pt x="2681764" y="255469"/>
                </a:moveTo>
                <a:lnTo>
                  <a:pt x="2682240" y="255957"/>
                </a:lnTo>
                <a:lnTo>
                  <a:pt x="2681529" y="256125"/>
                </a:lnTo>
                <a:close/>
                <a:moveTo>
                  <a:pt x="1951549" y="254135"/>
                </a:moveTo>
                <a:lnTo>
                  <a:pt x="1954586" y="257171"/>
                </a:lnTo>
                <a:lnTo>
                  <a:pt x="1954972" y="259877"/>
                </a:lnTo>
                <a:lnTo>
                  <a:pt x="1949726" y="259601"/>
                </a:lnTo>
                <a:cubicBezTo>
                  <a:pt x="1947904" y="257779"/>
                  <a:pt x="1949726" y="255957"/>
                  <a:pt x="1951549" y="254135"/>
                </a:cubicBezTo>
                <a:close/>
                <a:moveTo>
                  <a:pt x="3239826" y="252313"/>
                </a:moveTo>
                <a:lnTo>
                  <a:pt x="3240964" y="255209"/>
                </a:lnTo>
                <a:lnTo>
                  <a:pt x="3238744" y="258698"/>
                </a:lnTo>
                <a:lnTo>
                  <a:pt x="3238232" y="258007"/>
                </a:lnTo>
                <a:cubicBezTo>
                  <a:pt x="3237093" y="255046"/>
                  <a:pt x="3237093" y="252313"/>
                  <a:pt x="3239826" y="252313"/>
                </a:cubicBezTo>
                <a:close/>
                <a:moveTo>
                  <a:pt x="3094052" y="252313"/>
                </a:moveTo>
                <a:cubicBezTo>
                  <a:pt x="3088585" y="261423"/>
                  <a:pt x="3094052" y="270534"/>
                  <a:pt x="3095874" y="279645"/>
                </a:cubicBezTo>
                <a:cubicBezTo>
                  <a:pt x="3097696" y="290578"/>
                  <a:pt x="3086763" y="297867"/>
                  <a:pt x="3090407" y="308800"/>
                </a:cubicBezTo>
                <a:cubicBezTo>
                  <a:pt x="3090407" y="308800"/>
                  <a:pt x="3092230" y="308800"/>
                  <a:pt x="3094052" y="310622"/>
                </a:cubicBezTo>
                <a:cubicBezTo>
                  <a:pt x="3095874" y="308800"/>
                  <a:pt x="3095874" y="306978"/>
                  <a:pt x="3094052" y="306978"/>
                </a:cubicBezTo>
                <a:cubicBezTo>
                  <a:pt x="3097696" y="310622"/>
                  <a:pt x="3101340" y="314266"/>
                  <a:pt x="3103163" y="319733"/>
                </a:cubicBezTo>
                <a:cubicBezTo>
                  <a:pt x="3115918" y="310622"/>
                  <a:pt x="3119562" y="292400"/>
                  <a:pt x="3115918" y="277823"/>
                </a:cubicBezTo>
                <a:cubicBezTo>
                  <a:pt x="3119562" y="281467"/>
                  <a:pt x="3117740" y="286934"/>
                  <a:pt x="3121384" y="288756"/>
                </a:cubicBezTo>
                <a:cubicBezTo>
                  <a:pt x="3119562" y="279645"/>
                  <a:pt x="3123206" y="272356"/>
                  <a:pt x="3123206" y="265068"/>
                </a:cubicBezTo>
                <a:cubicBezTo>
                  <a:pt x="3125029" y="257779"/>
                  <a:pt x="3114096" y="257779"/>
                  <a:pt x="3106807" y="263246"/>
                </a:cubicBezTo>
                <a:cubicBezTo>
                  <a:pt x="3108629" y="255957"/>
                  <a:pt x="3099518" y="257779"/>
                  <a:pt x="3095874" y="252313"/>
                </a:cubicBezTo>
                <a:cubicBezTo>
                  <a:pt x="3095874" y="255957"/>
                  <a:pt x="3095874" y="257779"/>
                  <a:pt x="3094052" y="259601"/>
                </a:cubicBezTo>
                <a:cubicBezTo>
                  <a:pt x="3094052" y="257779"/>
                  <a:pt x="3094052" y="254135"/>
                  <a:pt x="3094052" y="252313"/>
                </a:cubicBezTo>
                <a:close/>
                <a:moveTo>
                  <a:pt x="3068541" y="252313"/>
                </a:moveTo>
                <a:cubicBezTo>
                  <a:pt x="3061253" y="257779"/>
                  <a:pt x="3068541" y="270534"/>
                  <a:pt x="3068541" y="277823"/>
                </a:cubicBezTo>
                <a:cubicBezTo>
                  <a:pt x="3066719" y="276001"/>
                  <a:pt x="3066719" y="274179"/>
                  <a:pt x="3064897" y="274179"/>
                </a:cubicBezTo>
                <a:cubicBezTo>
                  <a:pt x="3064897" y="279645"/>
                  <a:pt x="3057608" y="285112"/>
                  <a:pt x="3063075" y="286934"/>
                </a:cubicBezTo>
                <a:cubicBezTo>
                  <a:pt x="3064897" y="288756"/>
                  <a:pt x="3070363" y="292400"/>
                  <a:pt x="3074008" y="288756"/>
                </a:cubicBezTo>
                <a:cubicBezTo>
                  <a:pt x="3079474" y="281467"/>
                  <a:pt x="3083119" y="270534"/>
                  <a:pt x="3077652" y="259601"/>
                </a:cubicBezTo>
                <a:cubicBezTo>
                  <a:pt x="3075830" y="266890"/>
                  <a:pt x="3070363" y="257779"/>
                  <a:pt x="3068541" y="259601"/>
                </a:cubicBezTo>
                <a:cubicBezTo>
                  <a:pt x="3070363" y="255957"/>
                  <a:pt x="3068541" y="254135"/>
                  <a:pt x="3068541" y="252313"/>
                </a:cubicBezTo>
                <a:close/>
                <a:moveTo>
                  <a:pt x="2288196" y="252084"/>
                </a:moveTo>
                <a:cubicBezTo>
                  <a:pt x="2286829" y="251857"/>
                  <a:pt x="2285007" y="252313"/>
                  <a:pt x="2283184" y="252313"/>
                </a:cubicBezTo>
                <a:cubicBezTo>
                  <a:pt x="2283184" y="255957"/>
                  <a:pt x="2286829" y="255957"/>
                  <a:pt x="2290473" y="255957"/>
                </a:cubicBezTo>
                <a:cubicBezTo>
                  <a:pt x="2290473" y="253223"/>
                  <a:pt x="2289562" y="252312"/>
                  <a:pt x="2288196" y="252084"/>
                </a:cubicBezTo>
                <a:close/>
                <a:moveTo>
                  <a:pt x="2282274" y="251857"/>
                </a:moveTo>
                <a:cubicBezTo>
                  <a:pt x="2279996" y="251857"/>
                  <a:pt x="2276807" y="253224"/>
                  <a:pt x="2274074" y="254135"/>
                </a:cubicBezTo>
                <a:cubicBezTo>
                  <a:pt x="2272251" y="254135"/>
                  <a:pt x="2275896" y="259601"/>
                  <a:pt x="2274074" y="261423"/>
                </a:cubicBezTo>
                <a:cubicBezTo>
                  <a:pt x="2275896" y="261423"/>
                  <a:pt x="2283184" y="259601"/>
                  <a:pt x="2281362" y="263246"/>
                </a:cubicBezTo>
                <a:cubicBezTo>
                  <a:pt x="2281362" y="266890"/>
                  <a:pt x="2275896" y="266890"/>
                  <a:pt x="2272251" y="268712"/>
                </a:cubicBezTo>
                <a:cubicBezTo>
                  <a:pt x="2270429" y="268712"/>
                  <a:pt x="2268607" y="265068"/>
                  <a:pt x="2270429" y="263246"/>
                </a:cubicBezTo>
                <a:cubicBezTo>
                  <a:pt x="2274074" y="259601"/>
                  <a:pt x="2270429" y="255957"/>
                  <a:pt x="2272251" y="252313"/>
                </a:cubicBezTo>
                <a:cubicBezTo>
                  <a:pt x="2261318" y="257779"/>
                  <a:pt x="2241274" y="248668"/>
                  <a:pt x="2237630" y="261423"/>
                </a:cubicBezTo>
                <a:cubicBezTo>
                  <a:pt x="2233986" y="254135"/>
                  <a:pt x="2223053" y="254135"/>
                  <a:pt x="2215764" y="257779"/>
                </a:cubicBezTo>
                <a:cubicBezTo>
                  <a:pt x="2215764" y="274179"/>
                  <a:pt x="2206653" y="290578"/>
                  <a:pt x="2210297" y="308800"/>
                </a:cubicBezTo>
                <a:cubicBezTo>
                  <a:pt x="2212120" y="306978"/>
                  <a:pt x="2213942" y="305155"/>
                  <a:pt x="2213942" y="301511"/>
                </a:cubicBezTo>
                <a:cubicBezTo>
                  <a:pt x="2221230" y="303333"/>
                  <a:pt x="2212120" y="308800"/>
                  <a:pt x="2215764" y="310622"/>
                </a:cubicBezTo>
                <a:cubicBezTo>
                  <a:pt x="2224875" y="297867"/>
                  <a:pt x="2223053" y="317911"/>
                  <a:pt x="2233986" y="316089"/>
                </a:cubicBezTo>
                <a:cubicBezTo>
                  <a:pt x="2235808" y="314266"/>
                  <a:pt x="2235808" y="312444"/>
                  <a:pt x="2235808" y="310622"/>
                </a:cubicBezTo>
                <a:cubicBezTo>
                  <a:pt x="2239452" y="312444"/>
                  <a:pt x="2246741" y="308800"/>
                  <a:pt x="2246741" y="314266"/>
                </a:cubicBezTo>
                <a:cubicBezTo>
                  <a:pt x="2241274" y="312444"/>
                  <a:pt x="2246741" y="317911"/>
                  <a:pt x="2248563" y="323377"/>
                </a:cubicBezTo>
                <a:cubicBezTo>
                  <a:pt x="2243096" y="317911"/>
                  <a:pt x="2237630" y="319733"/>
                  <a:pt x="2232163" y="319733"/>
                </a:cubicBezTo>
                <a:cubicBezTo>
                  <a:pt x="2233986" y="321555"/>
                  <a:pt x="2230341" y="325199"/>
                  <a:pt x="2232163" y="327022"/>
                </a:cubicBezTo>
                <a:cubicBezTo>
                  <a:pt x="2226697" y="321555"/>
                  <a:pt x="2223053" y="316089"/>
                  <a:pt x="2213942" y="314266"/>
                </a:cubicBezTo>
                <a:cubicBezTo>
                  <a:pt x="2215764" y="316089"/>
                  <a:pt x="2215764" y="316089"/>
                  <a:pt x="2215764" y="317911"/>
                </a:cubicBezTo>
                <a:cubicBezTo>
                  <a:pt x="2212120" y="316089"/>
                  <a:pt x="2210297" y="310622"/>
                  <a:pt x="2208475" y="312444"/>
                </a:cubicBezTo>
                <a:cubicBezTo>
                  <a:pt x="2203009" y="317911"/>
                  <a:pt x="2204831" y="327022"/>
                  <a:pt x="2210297" y="332488"/>
                </a:cubicBezTo>
                <a:cubicBezTo>
                  <a:pt x="2212120" y="327022"/>
                  <a:pt x="2215764" y="325199"/>
                  <a:pt x="2213942" y="319733"/>
                </a:cubicBezTo>
                <a:cubicBezTo>
                  <a:pt x="2221230" y="321555"/>
                  <a:pt x="2221230" y="325199"/>
                  <a:pt x="2221230" y="332488"/>
                </a:cubicBezTo>
                <a:cubicBezTo>
                  <a:pt x="2219408" y="332488"/>
                  <a:pt x="2213942" y="330666"/>
                  <a:pt x="2213942" y="332488"/>
                </a:cubicBezTo>
                <a:cubicBezTo>
                  <a:pt x="2210297" y="337954"/>
                  <a:pt x="2206653" y="334310"/>
                  <a:pt x="2203009" y="336133"/>
                </a:cubicBezTo>
                <a:cubicBezTo>
                  <a:pt x="2206653" y="332488"/>
                  <a:pt x="2204831" y="328844"/>
                  <a:pt x="2204831" y="325199"/>
                </a:cubicBezTo>
                <a:cubicBezTo>
                  <a:pt x="2201187" y="343421"/>
                  <a:pt x="2190253" y="359821"/>
                  <a:pt x="2208475" y="370754"/>
                </a:cubicBezTo>
                <a:cubicBezTo>
                  <a:pt x="2210297" y="370754"/>
                  <a:pt x="2210297" y="368932"/>
                  <a:pt x="2210297" y="367109"/>
                </a:cubicBezTo>
                <a:cubicBezTo>
                  <a:pt x="2219408" y="370754"/>
                  <a:pt x="2228519" y="372576"/>
                  <a:pt x="2230341" y="359821"/>
                </a:cubicBezTo>
                <a:cubicBezTo>
                  <a:pt x="2232163" y="363465"/>
                  <a:pt x="2228519" y="368932"/>
                  <a:pt x="2230341" y="368932"/>
                </a:cubicBezTo>
                <a:cubicBezTo>
                  <a:pt x="2239452" y="367109"/>
                  <a:pt x="2241274" y="359821"/>
                  <a:pt x="2243096" y="350710"/>
                </a:cubicBezTo>
                <a:cubicBezTo>
                  <a:pt x="2246741" y="352532"/>
                  <a:pt x="2243096" y="359821"/>
                  <a:pt x="2248563" y="359821"/>
                </a:cubicBezTo>
                <a:cubicBezTo>
                  <a:pt x="2252207" y="359821"/>
                  <a:pt x="2252207" y="354354"/>
                  <a:pt x="2254030" y="352532"/>
                </a:cubicBezTo>
                <a:cubicBezTo>
                  <a:pt x="2254030" y="356176"/>
                  <a:pt x="2255852" y="357998"/>
                  <a:pt x="2257674" y="359821"/>
                </a:cubicBezTo>
                <a:cubicBezTo>
                  <a:pt x="2263140" y="359821"/>
                  <a:pt x="2263140" y="356176"/>
                  <a:pt x="2264963" y="352532"/>
                </a:cubicBezTo>
                <a:cubicBezTo>
                  <a:pt x="2254030" y="359821"/>
                  <a:pt x="2259496" y="347066"/>
                  <a:pt x="2252207" y="348888"/>
                </a:cubicBezTo>
                <a:cubicBezTo>
                  <a:pt x="2252207" y="343421"/>
                  <a:pt x="2257674" y="339777"/>
                  <a:pt x="2259496" y="336133"/>
                </a:cubicBezTo>
                <a:cubicBezTo>
                  <a:pt x="2259496" y="336133"/>
                  <a:pt x="2259496" y="341598"/>
                  <a:pt x="2261318" y="341598"/>
                </a:cubicBezTo>
                <a:lnTo>
                  <a:pt x="2263140" y="339777"/>
                </a:lnTo>
                <a:cubicBezTo>
                  <a:pt x="2263140" y="341598"/>
                  <a:pt x="2261318" y="345242"/>
                  <a:pt x="2261318" y="347066"/>
                </a:cubicBezTo>
                <a:cubicBezTo>
                  <a:pt x="2261318" y="350710"/>
                  <a:pt x="2266785" y="348888"/>
                  <a:pt x="2268607" y="348888"/>
                </a:cubicBezTo>
                <a:cubicBezTo>
                  <a:pt x="2272251" y="348888"/>
                  <a:pt x="2274074" y="345242"/>
                  <a:pt x="2275896" y="341598"/>
                </a:cubicBezTo>
                <a:cubicBezTo>
                  <a:pt x="2277718" y="337954"/>
                  <a:pt x="2275896" y="334310"/>
                  <a:pt x="2274074" y="334310"/>
                </a:cubicBezTo>
                <a:cubicBezTo>
                  <a:pt x="2270429" y="334310"/>
                  <a:pt x="2268607" y="337954"/>
                  <a:pt x="2266785" y="341598"/>
                </a:cubicBezTo>
                <a:cubicBezTo>
                  <a:pt x="2264963" y="337954"/>
                  <a:pt x="2263140" y="336133"/>
                  <a:pt x="2264963" y="334310"/>
                </a:cubicBezTo>
                <a:cubicBezTo>
                  <a:pt x="2277718" y="328844"/>
                  <a:pt x="2274074" y="314266"/>
                  <a:pt x="2270429" y="305155"/>
                </a:cubicBezTo>
                <a:cubicBezTo>
                  <a:pt x="2268607" y="308800"/>
                  <a:pt x="2266785" y="310622"/>
                  <a:pt x="2264963" y="312444"/>
                </a:cubicBezTo>
                <a:cubicBezTo>
                  <a:pt x="2263140" y="319733"/>
                  <a:pt x="2274074" y="330666"/>
                  <a:pt x="2263140" y="332488"/>
                </a:cubicBezTo>
                <a:cubicBezTo>
                  <a:pt x="2257674" y="334310"/>
                  <a:pt x="2263140" y="325199"/>
                  <a:pt x="2261318" y="325199"/>
                </a:cubicBezTo>
                <a:cubicBezTo>
                  <a:pt x="2255852" y="325199"/>
                  <a:pt x="2259496" y="334310"/>
                  <a:pt x="2254030" y="332488"/>
                </a:cubicBezTo>
                <a:cubicBezTo>
                  <a:pt x="2250385" y="330666"/>
                  <a:pt x="2254030" y="323377"/>
                  <a:pt x="2255852" y="321555"/>
                </a:cubicBezTo>
                <a:cubicBezTo>
                  <a:pt x="2259496" y="319733"/>
                  <a:pt x="2263140" y="317911"/>
                  <a:pt x="2261318" y="314266"/>
                </a:cubicBezTo>
                <a:cubicBezTo>
                  <a:pt x="2259496" y="316089"/>
                  <a:pt x="2257674" y="314266"/>
                  <a:pt x="2257674" y="312444"/>
                </a:cubicBezTo>
                <a:cubicBezTo>
                  <a:pt x="2257674" y="314266"/>
                  <a:pt x="2257674" y="314266"/>
                  <a:pt x="2255852" y="316089"/>
                </a:cubicBezTo>
                <a:cubicBezTo>
                  <a:pt x="2255852" y="310622"/>
                  <a:pt x="2261318" y="306978"/>
                  <a:pt x="2255852" y="301511"/>
                </a:cubicBezTo>
                <a:cubicBezTo>
                  <a:pt x="2254030" y="301511"/>
                  <a:pt x="2250385" y="297867"/>
                  <a:pt x="2246741" y="299689"/>
                </a:cubicBezTo>
                <a:cubicBezTo>
                  <a:pt x="2248563" y="297867"/>
                  <a:pt x="2250385" y="294223"/>
                  <a:pt x="2250385" y="292400"/>
                </a:cubicBezTo>
                <a:cubicBezTo>
                  <a:pt x="2250385" y="285112"/>
                  <a:pt x="2250385" y="279645"/>
                  <a:pt x="2254030" y="274179"/>
                </a:cubicBezTo>
                <a:cubicBezTo>
                  <a:pt x="2259496" y="283289"/>
                  <a:pt x="2266785" y="281467"/>
                  <a:pt x="2266785" y="292400"/>
                </a:cubicBezTo>
                <a:cubicBezTo>
                  <a:pt x="2268607" y="288756"/>
                  <a:pt x="2270429" y="286934"/>
                  <a:pt x="2274074" y="286934"/>
                </a:cubicBezTo>
                <a:cubicBezTo>
                  <a:pt x="2279540" y="286934"/>
                  <a:pt x="2275896" y="292400"/>
                  <a:pt x="2277718" y="294223"/>
                </a:cubicBezTo>
                <a:cubicBezTo>
                  <a:pt x="2281362" y="286934"/>
                  <a:pt x="2285007" y="276001"/>
                  <a:pt x="2275896" y="272356"/>
                </a:cubicBezTo>
                <a:cubicBezTo>
                  <a:pt x="2277718" y="270534"/>
                  <a:pt x="2281362" y="272356"/>
                  <a:pt x="2283184" y="270534"/>
                </a:cubicBezTo>
                <a:cubicBezTo>
                  <a:pt x="2285007" y="270534"/>
                  <a:pt x="2285007" y="272356"/>
                  <a:pt x="2285007" y="274179"/>
                </a:cubicBezTo>
                <a:lnTo>
                  <a:pt x="2285636" y="271351"/>
                </a:lnTo>
                <a:lnTo>
                  <a:pt x="2288651" y="272356"/>
                </a:lnTo>
                <a:cubicBezTo>
                  <a:pt x="2288651" y="266890"/>
                  <a:pt x="2290473" y="265068"/>
                  <a:pt x="2290473" y="261423"/>
                </a:cubicBezTo>
                <a:lnTo>
                  <a:pt x="2287541" y="262776"/>
                </a:lnTo>
                <a:lnTo>
                  <a:pt x="2288651" y="257779"/>
                </a:lnTo>
                <a:cubicBezTo>
                  <a:pt x="2286829" y="257779"/>
                  <a:pt x="2286829" y="257779"/>
                  <a:pt x="2285007" y="257779"/>
                </a:cubicBezTo>
                <a:cubicBezTo>
                  <a:pt x="2285918" y="253223"/>
                  <a:pt x="2284552" y="251857"/>
                  <a:pt x="2282274" y="251857"/>
                </a:cubicBezTo>
                <a:close/>
                <a:moveTo>
                  <a:pt x="1953632" y="250494"/>
                </a:moveTo>
                <a:lnTo>
                  <a:pt x="1955194" y="257779"/>
                </a:lnTo>
                <a:lnTo>
                  <a:pt x="1954586" y="257171"/>
                </a:lnTo>
                <a:close/>
                <a:moveTo>
                  <a:pt x="3296313" y="250490"/>
                </a:moveTo>
                <a:cubicBezTo>
                  <a:pt x="3297224" y="252312"/>
                  <a:pt x="3298135" y="251857"/>
                  <a:pt x="3299046" y="251173"/>
                </a:cubicBezTo>
                <a:lnTo>
                  <a:pt x="3299958" y="250945"/>
                </a:lnTo>
                <a:lnTo>
                  <a:pt x="3299957" y="252312"/>
                </a:lnTo>
                <a:lnTo>
                  <a:pt x="3296886" y="255384"/>
                </a:lnTo>
                <a:lnTo>
                  <a:pt x="3295383" y="254212"/>
                </a:lnTo>
                <a:close/>
                <a:moveTo>
                  <a:pt x="3004765" y="246846"/>
                </a:moveTo>
                <a:cubicBezTo>
                  <a:pt x="3002943" y="245024"/>
                  <a:pt x="3004765" y="252313"/>
                  <a:pt x="3004765" y="255957"/>
                </a:cubicBezTo>
                <a:cubicBezTo>
                  <a:pt x="3002943" y="255957"/>
                  <a:pt x="3002943" y="255957"/>
                  <a:pt x="3002943" y="254135"/>
                </a:cubicBezTo>
                <a:cubicBezTo>
                  <a:pt x="2999299" y="254135"/>
                  <a:pt x="3004765" y="257779"/>
                  <a:pt x="3006587" y="257779"/>
                </a:cubicBezTo>
                <a:cubicBezTo>
                  <a:pt x="3006587" y="255957"/>
                  <a:pt x="3006587" y="252313"/>
                  <a:pt x="3008410" y="252313"/>
                </a:cubicBezTo>
                <a:cubicBezTo>
                  <a:pt x="3008410" y="248668"/>
                  <a:pt x="3004765" y="250490"/>
                  <a:pt x="3004765" y="246846"/>
                </a:cubicBezTo>
                <a:close/>
                <a:moveTo>
                  <a:pt x="2308695" y="246846"/>
                </a:moveTo>
                <a:cubicBezTo>
                  <a:pt x="2310517" y="250490"/>
                  <a:pt x="2308695" y="254135"/>
                  <a:pt x="2310517" y="255957"/>
                </a:cubicBezTo>
                <a:cubicBezTo>
                  <a:pt x="2314161" y="254135"/>
                  <a:pt x="2312339" y="248668"/>
                  <a:pt x="2314161" y="246846"/>
                </a:cubicBezTo>
                <a:cubicBezTo>
                  <a:pt x="2314161" y="245024"/>
                  <a:pt x="2312339" y="245024"/>
                  <a:pt x="2308695" y="246846"/>
                </a:cubicBezTo>
                <a:close/>
                <a:moveTo>
                  <a:pt x="3423562" y="246238"/>
                </a:moveTo>
                <a:lnTo>
                  <a:pt x="3423826" y="246767"/>
                </a:lnTo>
                <a:lnTo>
                  <a:pt x="3423638" y="255046"/>
                </a:lnTo>
                <a:cubicBezTo>
                  <a:pt x="3422499" y="257779"/>
                  <a:pt x="3421132" y="260512"/>
                  <a:pt x="3422043" y="265068"/>
                </a:cubicBezTo>
                <a:cubicBezTo>
                  <a:pt x="3419310" y="266890"/>
                  <a:pt x="3417488" y="266890"/>
                  <a:pt x="3415894" y="265978"/>
                </a:cubicBezTo>
                <a:lnTo>
                  <a:pt x="3412465" y="262713"/>
                </a:lnTo>
                <a:lnTo>
                  <a:pt x="3418695" y="250022"/>
                </a:lnTo>
                <a:lnTo>
                  <a:pt x="3422043" y="252313"/>
                </a:lnTo>
                <a:close/>
                <a:moveTo>
                  <a:pt x="3400177" y="243202"/>
                </a:moveTo>
                <a:cubicBezTo>
                  <a:pt x="3398355" y="245024"/>
                  <a:pt x="3400177" y="252313"/>
                  <a:pt x="3401999" y="252313"/>
                </a:cubicBezTo>
                <a:cubicBezTo>
                  <a:pt x="3405643" y="250490"/>
                  <a:pt x="3400177" y="246846"/>
                  <a:pt x="3400177" y="243202"/>
                </a:cubicBezTo>
                <a:close/>
                <a:moveTo>
                  <a:pt x="2006214" y="241379"/>
                </a:moveTo>
                <a:cubicBezTo>
                  <a:pt x="2002570" y="246846"/>
                  <a:pt x="2008036" y="257779"/>
                  <a:pt x="2004392" y="255957"/>
                </a:cubicBezTo>
                <a:cubicBezTo>
                  <a:pt x="1995281" y="250490"/>
                  <a:pt x="1998925" y="241379"/>
                  <a:pt x="1987992" y="246846"/>
                </a:cubicBezTo>
                <a:cubicBezTo>
                  <a:pt x="1987992" y="246846"/>
                  <a:pt x="1987992" y="248668"/>
                  <a:pt x="1987992" y="250490"/>
                </a:cubicBezTo>
                <a:cubicBezTo>
                  <a:pt x="1986170" y="250490"/>
                  <a:pt x="1986170" y="250490"/>
                  <a:pt x="1984348" y="250490"/>
                </a:cubicBezTo>
                <a:cubicBezTo>
                  <a:pt x="1984348" y="250490"/>
                  <a:pt x="1986170" y="254135"/>
                  <a:pt x="1987992" y="255957"/>
                </a:cubicBezTo>
                <a:cubicBezTo>
                  <a:pt x="1986170" y="257779"/>
                  <a:pt x="1982527" y="257779"/>
                  <a:pt x="1980703" y="255957"/>
                </a:cubicBezTo>
                <a:cubicBezTo>
                  <a:pt x="1980703" y="270534"/>
                  <a:pt x="2002570" y="257779"/>
                  <a:pt x="2013503" y="259601"/>
                </a:cubicBezTo>
                <a:cubicBezTo>
                  <a:pt x="2015325" y="254135"/>
                  <a:pt x="2008036" y="235913"/>
                  <a:pt x="2011680" y="254135"/>
                </a:cubicBezTo>
                <a:cubicBezTo>
                  <a:pt x="2004392" y="252313"/>
                  <a:pt x="2008036" y="245024"/>
                  <a:pt x="2006214" y="241379"/>
                </a:cubicBezTo>
                <a:close/>
                <a:moveTo>
                  <a:pt x="3141428" y="237735"/>
                </a:moveTo>
                <a:cubicBezTo>
                  <a:pt x="3132317" y="241379"/>
                  <a:pt x="3130495" y="259601"/>
                  <a:pt x="3137784" y="268712"/>
                </a:cubicBezTo>
                <a:cubicBezTo>
                  <a:pt x="3137784" y="259601"/>
                  <a:pt x="3137784" y="248668"/>
                  <a:pt x="3141428" y="237735"/>
                </a:cubicBezTo>
                <a:close/>
                <a:moveTo>
                  <a:pt x="3077652" y="237735"/>
                </a:moveTo>
                <a:lnTo>
                  <a:pt x="3078369" y="238212"/>
                </a:lnTo>
                <a:lnTo>
                  <a:pt x="3078305" y="238822"/>
                </a:lnTo>
                <a:close/>
                <a:moveTo>
                  <a:pt x="1951549" y="237735"/>
                </a:moveTo>
                <a:cubicBezTo>
                  <a:pt x="1957015" y="241379"/>
                  <a:pt x="1953371" y="245024"/>
                  <a:pt x="1953371" y="248668"/>
                </a:cubicBezTo>
                <a:lnTo>
                  <a:pt x="1953632" y="250494"/>
                </a:lnTo>
                <a:lnTo>
                  <a:pt x="1951153" y="238924"/>
                </a:lnTo>
                <a:close/>
                <a:moveTo>
                  <a:pt x="1950872" y="237616"/>
                </a:moveTo>
                <a:lnTo>
                  <a:pt x="1951153" y="238924"/>
                </a:lnTo>
                <a:lnTo>
                  <a:pt x="1949726" y="243202"/>
                </a:lnTo>
                <a:close/>
                <a:moveTo>
                  <a:pt x="1980703" y="234091"/>
                </a:moveTo>
                <a:cubicBezTo>
                  <a:pt x="1975237" y="235913"/>
                  <a:pt x="1973416" y="246846"/>
                  <a:pt x="1982527" y="246846"/>
                </a:cubicBezTo>
                <a:cubicBezTo>
                  <a:pt x="1980703" y="241379"/>
                  <a:pt x="1980703" y="239557"/>
                  <a:pt x="1980703" y="234091"/>
                </a:cubicBezTo>
                <a:close/>
                <a:moveTo>
                  <a:pt x="1964305" y="234091"/>
                </a:moveTo>
                <a:cubicBezTo>
                  <a:pt x="1955194" y="237735"/>
                  <a:pt x="1973416" y="248668"/>
                  <a:pt x="1977059" y="254135"/>
                </a:cubicBezTo>
                <a:cubicBezTo>
                  <a:pt x="1977059" y="250490"/>
                  <a:pt x="1973416" y="246846"/>
                  <a:pt x="1975237" y="243202"/>
                </a:cubicBezTo>
                <a:cubicBezTo>
                  <a:pt x="1967948" y="243202"/>
                  <a:pt x="1967948" y="239557"/>
                  <a:pt x="1964305" y="234091"/>
                </a:cubicBezTo>
                <a:close/>
                <a:moveTo>
                  <a:pt x="1949726" y="232269"/>
                </a:moveTo>
                <a:lnTo>
                  <a:pt x="1951435" y="234084"/>
                </a:lnTo>
                <a:lnTo>
                  <a:pt x="1951548" y="234318"/>
                </a:lnTo>
                <a:lnTo>
                  <a:pt x="1950872" y="237616"/>
                </a:lnTo>
                <a:close/>
                <a:moveTo>
                  <a:pt x="2971768" y="232085"/>
                </a:moveTo>
                <a:lnTo>
                  <a:pt x="2974853" y="236815"/>
                </a:lnTo>
                <a:lnTo>
                  <a:pt x="2973788" y="243202"/>
                </a:lnTo>
                <a:cubicBezTo>
                  <a:pt x="2973788" y="243202"/>
                  <a:pt x="2975610" y="241379"/>
                  <a:pt x="2973788" y="241379"/>
                </a:cubicBezTo>
                <a:cubicBezTo>
                  <a:pt x="2973788" y="245024"/>
                  <a:pt x="2973788" y="245024"/>
                  <a:pt x="2971966" y="245024"/>
                </a:cubicBezTo>
                <a:cubicBezTo>
                  <a:pt x="2970144" y="241379"/>
                  <a:pt x="2970144" y="237735"/>
                  <a:pt x="2970828" y="234546"/>
                </a:cubicBezTo>
                <a:close/>
                <a:moveTo>
                  <a:pt x="3445731" y="230446"/>
                </a:moveTo>
                <a:cubicBezTo>
                  <a:pt x="3442087" y="230446"/>
                  <a:pt x="3443909" y="241379"/>
                  <a:pt x="3449376" y="239557"/>
                </a:cubicBezTo>
                <a:cubicBezTo>
                  <a:pt x="3449376" y="235913"/>
                  <a:pt x="3445731" y="234091"/>
                  <a:pt x="3445731" y="230446"/>
                </a:cubicBezTo>
                <a:close/>
                <a:moveTo>
                  <a:pt x="3019343" y="228624"/>
                </a:moveTo>
                <a:cubicBezTo>
                  <a:pt x="3015698" y="226802"/>
                  <a:pt x="3017521" y="235913"/>
                  <a:pt x="3021165" y="235913"/>
                </a:cubicBezTo>
                <a:cubicBezTo>
                  <a:pt x="3021165" y="232269"/>
                  <a:pt x="3017521" y="232269"/>
                  <a:pt x="3019343" y="228624"/>
                </a:cubicBezTo>
                <a:close/>
                <a:moveTo>
                  <a:pt x="3143250" y="224980"/>
                </a:moveTo>
                <a:cubicBezTo>
                  <a:pt x="3143250" y="232269"/>
                  <a:pt x="3146895" y="234091"/>
                  <a:pt x="3150539" y="234091"/>
                </a:cubicBezTo>
                <a:cubicBezTo>
                  <a:pt x="3150539" y="232269"/>
                  <a:pt x="3150539" y="228624"/>
                  <a:pt x="3150539" y="226802"/>
                </a:cubicBezTo>
                <a:cubicBezTo>
                  <a:pt x="3146895" y="230446"/>
                  <a:pt x="3146895" y="223158"/>
                  <a:pt x="3143250" y="224980"/>
                </a:cubicBezTo>
                <a:close/>
                <a:moveTo>
                  <a:pt x="3114096" y="224980"/>
                </a:moveTo>
                <a:cubicBezTo>
                  <a:pt x="3112274" y="224980"/>
                  <a:pt x="3114096" y="232269"/>
                  <a:pt x="3112274" y="235913"/>
                </a:cubicBezTo>
                <a:cubicBezTo>
                  <a:pt x="3115918" y="234091"/>
                  <a:pt x="3114096" y="228624"/>
                  <a:pt x="3114096" y="224980"/>
                </a:cubicBezTo>
                <a:close/>
                <a:moveTo>
                  <a:pt x="3035742" y="224980"/>
                </a:moveTo>
                <a:cubicBezTo>
                  <a:pt x="3030276" y="224980"/>
                  <a:pt x="3035742" y="232269"/>
                  <a:pt x="3033920" y="235913"/>
                </a:cubicBezTo>
                <a:cubicBezTo>
                  <a:pt x="3037564" y="235913"/>
                  <a:pt x="3039387" y="234091"/>
                  <a:pt x="3039387" y="230446"/>
                </a:cubicBezTo>
                <a:cubicBezTo>
                  <a:pt x="3037564" y="226802"/>
                  <a:pt x="3033920" y="228624"/>
                  <a:pt x="3035742" y="224980"/>
                </a:cubicBezTo>
                <a:close/>
                <a:moveTo>
                  <a:pt x="2345821" y="224980"/>
                </a:moveTo>
                <a:cubicBezTo>
                  <a:pt x="2344227" y="224980"/>
                  <a:pt x="2342405" y="225891"/>
                  <a:pt x="2341494" y="226802"/>
                </a:cubicBezTo>
                <a:cubicBezTo>
                  <a:pt x="2339672" y="232269"/>
                  <a:pt x="2343316" y="230446"/>
                  <a:pt x="2348782" y="228624"/>
                </a:cubicBezTo>
                <a:cubicBezTo>
                  <a:pt x="2348782" y="225891"/>
                  <a:pt x="2347416" y="224980"/>
                  <a:pt x="2345821" y="224980"/>
                </a:cubicBezTo>
                <a:close/>
                <a:moveTo>
                  <a:pt x="3192256" y="223889"/>
                </a:moveTo>
                <a:lnTo>
                  <a:pt x="3194271" y="229307"/>
                </a:lnTo>
                <a:cubicBezTo>
                  <a:pt x="3194727" y="232724"/>
                  <a:pt x="3195183" y="235913"/>
                  <a:pt x="3197916" y="237735"/>
                </a:cubicBezTo>
                <a:lnTo>
                  <a:pt x="3197592" y="238221"/>
                </a:lnTo>
                <a:lnTo>
                  <a:pt x="3192449" y="235913"/>
                </a:lnTo>
                <a:cubicBezTo>
                  <a:pt x="3190627" y="237735"/>
                  <a:pt x="3190627" y="237735"/>
                  <a:pt x="3190627" y="239557"/>
                </a:cubicBezTo>
                <a:cubicBezTo>
                  <a:pt x="3190627" y="241379"/>
                  <a:pt x="3192449" y="241379"/>
                  <a:pt x="3194271" y="241379"/>
                </a:cubicBezTo>
                <a:cubicBezTo>
                  <a:pt x="3192449" y="245024"/>
                  <a:pt x="3196093" y="250490"/>
                  <a:pt x="3192449" y="254135"/>
                </a:cubicBezTo>
                <a:cubicBezTo>
                  <a:pt x="3189716" y="249579"/>
                  <a:pt x="3188349" y="244113"/>
                  <a:pt x="3188349" y="238646"/>
                </a:cubicBezTo>
                <a:close/>
                <a:moveTo>
                  <a:pt x="3191917" y="222980"/>
                </a:moveTo>
                <a:lnTo>
                  <a:pt x="3192449" y="223158"/>
                </a:lnTo>
                <a:lnTo>
                  <a:pt x="3192256" y="223889"/>
                </a:lnTo>
                <a:close/>
                <a:moveTo>
                  <a:pt x="3170583" y="221336"/>
                </a:moveTo>
                <a:cubicBezTo>
                  <a:pt x="3163294" y="223158"/>
                  <a:pt x="3166939" y="235913"/>
                  <a:pt x="3159650" y="232269"/>
                </a:cubicBezTo>
                <a:cubicBezTo>
                  <a:pt x="3152361" y="230446"/>
                  <a:pt x="3157828" y="243202"/>
                  <a:pt x="3159650" y="245024"/>
                </a:cubicBezTo>
                <a:cubicBezTo>
                  <a:pt x="3163294" y="243202"/>
                  <a:pt x="3163294" y="235913"/>
                  <a:pt x="3168761" y="235913"/>
                </a:cubicBezTo>
                <a:cubicBezTo>
                  <a:pt x="3168761" y="241379"/>
                  <a:pt x="3165116" y="245024"/>
                  <a:pt x="3168761" y="246846"/>
                </a:cubicBezTo>
                <a:cubicBezTo>
                  <a:pt x="3172405" y="250490"/>
                  <a:pt x="3168761" y="234091"/>
                  <a:pt x="3174227" y="239557"/>
                </a:cubicBezTo>
                <a:cubicBezTo>
                  <a:pt x="3177872" y="241379"/>
                  <a:pt x="3170583" y="248668"/>
                  <a:pt x="3176050" y="252313"/>
                </a:cubicBezTo>
                <a:cubicBezTo>
                  <a:pt x="3183338" y="245024"/>
                  <a:pt x="3172405" y="234091"/>
                  <a:pt x="3170583" y="221336"/>
                </a:cubicBezTo>
                <a:close/>
                <a:moveTo>
                  <a:pt x="2658552" y="221336"/>
                </a:moveTo>
                <a:cubicBezTo>
                  <a:pt x="2658552" y="224980"/>
                  <a:pt x="2658552" y="226802"/>
                  <a:pt x="2662197" y="226802"/>
                </a:cubicBezTo>
                <a:cubicBezTo>
                  <a:pt x="2664019" y="224980"/>
                  <a:pt x="2662197" y="224980"/>
                  <a:pt x="2662197" y="221336"/>
                </a:cubicBezTo>
                <a:cubicBezTo>
                  <a:pt x="2660374" y="221336"/>
                  <a:pt x="2660374" y="221336"/>
                  <a:pt x="2658552" y="221336"/>
                </a:cubicBezTo>
                <a:close/>
                <a:moveTo>
                  <a:pt x="3086864" y="221313"/>
                </a:moveTo>
                <a:lnTo>
                  <a:pt x="3086829" y="221477"/>
                </a:lnTo>
                <a:lnTo>
                  <a:pt x="3086763" y="221336"/>
                </a:lnTo>
                <a:close/>
                <a:moveTo>
                  <a:pt x="3125029" y="215869"/>
                </a:moveTo>
                <a:cubicBezTo>
                  <a:pt x="3123206" y="223158"/>
                  <a:pt x="3125029" y="235913"/>
                  <a:pt x="3117740" y="241379"/>
                </a:cubicBezTo>
                <a:cubicBezTo>
                  <a:pt x="3112274" y="246846"/>
                  <a:pt x="3125029" y="254135"/>
                  <a:pt x="3128673" y="248668"/>
                </a:cubicBezTo>
                <a:cubicBezTo>
                  <a:pt x="3128673" y="234091"/>
                  <a:pt x="3137784" y="235913"/>
                  <a:pt x="3137784" y="223158"/>
                </a:cubicBezTo>
                <a:cubicBezTo>
                  <a:pt x="3132317" y="228624"/>
                  <a:pt x="3130495" y="221336"/>
                  <a:pt x="3125029" y="215869"/>
                </a:cubicBezTo>
                <a:close/>
                <a:moveTo>
                  <a:pt x="2288651" y="215869"/>
                </a:moveTo>
                <a:lnTo>
                  <a:pt x="2291284" y="217623"/>
                </a:lnTo>
                <a:lnTo>
                  <a:pt x="2289488" y="219120"/>
                </a:lnTo>
                <a:close/>
                <a:moveTo>
                  <a:pt x="2979255" y="214047"/>
                </a:moveTo>
                <a:cubicBezTo>
                  <a:pt x="2975610" y="212225"/>
                  <a:pt x="2973788" y="214047"/>
                  <a:pt x="2973788" y="219513"/>
                </a:cubicBezTo>
                <a:cubicBezTo>
                  <a:pt x="2975610" y="219513"/>
                  <a:pt x="2977432" y="221336"/>
                  <a:pt x="2979255" y="221336"/>
                </a:cubicBezTo>
                <a:cubicBezTo>
                  <a:pt x="2979255" y="219513"/>
                  <a:pt x="2979255" y="215869"/>
                  <a:pt x="2979255" y="214047"/>
                </a:cubicBezTo>
                <a:close/>
                <a:moveTo>
                  <a:pt x="2966884" y="212971"/>
                </a:moveTo>
                <a:lnTo>
                  <a:pt x="2967717" y="213825"/>
                </a:lnTo>
                <a:lnTo>
                  <a:pt x="2966500" y="214047"/>
                </a:lnTo>
                <a:close/>
                <a:moveTo>
                  <a:pt x="2654908" y="212225"/>
                </a:moveTo>
                <a:cubicBezTo>
                  <a:pt x="2653086" y="215869"/>
                  <a:pt x="2656730" y="217691"/>
                  <a:pt x="2660374" y="217691"/>
                </a:cubicBezTo>
                <a:cubicBezTo>
                  <a:pt x="2662197" y="215869"/>
                  <a:pt x="2662197" y="214047"/>
                  <a:pt x="2662197" y="212225"/>
                </a:cubicBezTo>
                <a:cubicBezTo>
                  <a:pt x="2658552" y="210403"/>
                  <a:pt x="2656730" y="212225"/>
                  <a:pt x="2654908" y="212225"/>
                </a:cubicBezTo>
                <a:close/>
                <a:moveTo>
                  <a:pt x="2297762" y="212225"/>
                </a:moveTo>
                <a:cubicBezTo>
                  <a:pt x="2299584" y="212225"/>
                  <a:pt x="2301406" y="217691"/>
                  <a:pt x="2299584" y="219513"/>
                </a:cubicBezTo>
                <a:cubicBezTo>
                  <a:pt x="2297762" y="218602"/>
                  <a:pt x="2295485" y="219057"/>
                  <a:pt x="2293435" y="219057"/>
                </a:cubicBezTo>
                <a:lnTo>
                  <a:pt x="2291284" y="217623"/>
                </a:lnTo>
                <a:close/>
                <a:moveTo>
                  <a:pt x="2532822" y="210403"/>
                </a:moveTo>
                <a:cubicBezTo>
                  <a:pt x="2527356" y="214047"/>
                  <a:pt x="2536466" y="215869"/>
                  <a:pt x="2536466" y="217691"/>
                </a:cubicBezTo>
                <a:cubicBezTo>
                  <a:pt x="2540111" y="217691"/>
                  <a:pt x="2538289" y="214047"/>
                  <a:pt x="2538289" y="210403"/>
                </a:cubicBezTo>
                <a:cubicBezTo>
                  <a:pt x="2536466" y="208580"/>
                  <a:pt x="2532822" y="214047"/>
                  <a:pt x="2532822" y="210403"/>
                </a:cubicBezTo>
                <a:close/>
                <a:moveTo>
                  <a:pt x="2463580" y="210403"/>
                </a:moveTo>
                <a:cubicBezTo>
                  <a:pt x="2463580" y="214047"/>
                  <a:pt x="2467224" y="217691"/>
                  <a:pt x="2461757" y="217691"/>
                </a:cubicBezTo>
                <a:cubicBezTo>
                  <a:pt x="2461757" y="217691"/>
                  <a:pt x="2463580" y="212225"/>
                  <a:pt x="2459935" y="214047"/>
                </a:cubicBezTo>
                <a:cubicBezTo>
                  <a:pt x="2458113" y="219513"/>
                  <a:pt x="2456291" y="224980"/>
                  <a:pt x="2456291" y="232269"/>
                </a:cubicBezTo>
                <a:cubicBezTo>
                  <a:pt x="2461757" y="234091"/>
                  <a:pt x="2465402" y="226802"/>
                  <a:pt x="2469046" y="230446"/>
                </a:cubicBezTo>
                <a:cubicBezTo>
                  <a:pt x="2465402" y="224980"/>
                  <a:pt x="2474513" y="215869"/>
                  <a:pt x="2463580" y="210403"/>
                </a:cubicBezTo>
                <a:close/>
                <a:moveTo>
                  <a:pt x="3166939" y="208580"/>
                </a:moveTo>
                <a:cubicBezTo>
                  <a:pt x="3163294" y="210403"/>
                  <a:pt x="3161472" y="217691"/>
                  <a:pt x="3163294" y="223158"/>
                </a:cubicBezTo>
                <a:cubicBezTo>
                  <a:pt x="3168761" y="221336"/>
                  <a:pt x="3165116" y="212225"/>
                  <a:pt x="3166939" y="208580"/>
                </a:cubicBezTo>
                <a:close/>
                <a:moveTo>
                  <a:pt x="3695369" y="206869"/>
                </a:moveTo>
                <a:lnTo>
                  <a:pt x="3719058" y="228734"/>
                </a:lnTo>
                <a:lnTo>
                  <a:pt x="3702658" y="243312"/>
                </a:lnTo>
                <a:lnTo>
                  <a:pt x="3673503" y="252423"/>
                </a:lnTo>
                <a:cubicBezTo>
                  <a:pt x="3675325" y="217801"/>
                  <a:pt x="3678970" y="232379"/>
                  <a:pt x="3695369" y="206869"/>
                </a:cubicBezTo>
                <a:close/>
                <a:moveTo>
                  <a:pt x="3125029" y="206758"/>
                </a:moveTo>
                <a:cubicBezTo>
                  <a:pt x="3123206" y="210403"/>
                  <a:pt x="3119562" y="210403"/>
                  <a:pt x="3119562" y="214047"/>
                </a:cubicBezTo>
                <a:cubicBezTo>
                  <a:pt x="3123206" y="214047"/>
                  <a:pt x="3128673" y="212225"/>
                  <a:pt x="3125029" y="206758"/>
                </a:cubicBezTo>
                <a:close/>
                <a:moveTo>
                  <a:pt x="2973788" y="206758"/>
                </a:moveTo>
                <a:lnTo>
                  <a:pt x="2973685" y="207047"/>
                </a:lnTo>
                <a:lnTo>
                  <a:pt x="2973408" y="206827"/>
                </a:lnTo>
                <a:close/>
                <a:moveTo>
                  <a:pt x="2662197" y="206758"/>
                </a:moveTo>
                <a:cubicBezTo>
                  <a:pt x="2664019" y="210403"/>
                  <a:pt x="2662197" y="215869"/>
                  <a:pt x="2664019" y="219513"/>
                </a:cubicBezTo>
                <a:cubicBezTo>
                  <a:pt x="2669485" y="215869"/>
                  <a:pt x="2669485" y="223158"/>
                  <a:pt x="2671307" y="223158"/>
                </a:cubicBezTo>
                <a:cubicBezTo>
                  <a:pt x="2676774" y="215869"/>
                  <a:pt x="2671307" y="208580"/>
                  <a:pt x="2662197" y="206758"/>
                </a:cubicBezTo>
                <a:close/>
                <a:moveTo>
                  <a:pt x="3106807" y="204936"/>
                </a:moveTo>
                <a:cubicBezTo>
                  <a:pt x="3106807" y="206758"/>
                  <a:pt x="3106807" y="212225"/>
                  <a:pt x="3104985" y="212225"/>
                </a:cubicBezTo>
                <a:cubicBezTo>
                  <a:pt x="3104985" y="215869"/>
                  <a:pt x="3108629" y="212225"/>
                  <a:pt x="3110451" y="210403"/>
                </a:cubicBezTo>
                <a:cubicBezTo>
                  <a:pt x="3112274" y="206758"/>
                  <a:pt x="3108629" y="206758"/>
                  <a:pt x="3106807" y="204936"/>
                </a:cubicBezTo>
                <a:close/>
                <a:moveTo>
                  <a:pt x="3197916" y="203114"/>
                </a:moveTo>
                <a:cubicBezTo>
                  <a:pt x="3210671" y="201292"/>
                  <a:pt x="3199738" y="226802"/>
                  <a:pt x="3208849" y="219513"/>
                </a:cubicBezTo>
                <a:cubicBezTo>
                  <a:pt x="3207027" y="226802"/>
                  <a:pt x="3208849" y="235913"/>
                  <a:pt x="3205204" y="235913"/>
                </a:cubicBezTo>
                <a:cubicBezTo>
                  <a:pt x="3205204" y="224980"/>
                  <a:pt x="3199738" y="217691"/>
                  <a:pt x="3196093" y="210403"/>
                </a:cubicBezTo>
                <a:cubicBezTo>
                  <a:pt x="3194271" y="214047"/>
                  <a:pt x="3192449" y="215869"/>
                  <a:pt x="3190627" y="219513"/>
                </a:cubicBezTo>
                <a:lnTo>
                  <a:pt x="3191917" y="222980"/>
                </a:lnTo>
                <a:lnTo>
                  <a:pt x="3187520" y="221515"/>
                </a:lnTo>
                <a:lnTo>
                  <a:pt x="3187182" y="220675"/>
                </a:lnTo>
                <a:lnTo>
                  <a:pt x="3189944" y="211541"/>
                </a:lnTo>
                <a:cubicBezTo>
                  <a:pt x="3192449" y="209035"/>
                  <a:pt x="3196094" y="207669"/>
                  <a:pt x="3199738" y="208580"/>
                </a:cubicBezTo>
                <a:lnTo>
                  <a:pt x="3197916" y="206751"/>
                </a:lnTo>
                <a:close/>
                <a:moveTo>
                  <a:pt x="2520067" y="203114"/>
                </a:moveTo>
                <a:cubicBezTo>
                  <a:pt x="2518245" y="208580"/>
                  <a:pt x="2523711" y="206758"/>
                  <a:pt x="2527356" y="208580"/>
                </a:cubicBezTo>
                <a:cubicBezTo>
                  <a:pt x="2529178" y="204936"/>
                  <a:pt x="2523711" y="201292"/>
                  <a:pt x="2520067" y="203114"/>
                </a:cubicBezTo>
                <a:close/>
                <a:moveTo>
                  <a:pt x="2449002" y="203114"/>
                </a:moveTo>
                <a:lnTo>
                  <a:pt x="2449894" y="206680"/>
                </a:lnTo>
                <a:lnTo>
                  <a:pt x="2449458" y="206302"/>
                </a:lnTo>
                <a:lnTo>
                  <a:pt x="2444751" y="207423"/>
                </a:lnTo>
                <a:lnTo>
                  <a:pt x="2444675" y="207213"/>
                </a:lnTo>
                <a:cubicBezTo>
                  <a:pt x="2443991" y="205391"/>
                  <a:pt x="2444447" y="204025"/>
                  <a:pt x="2449002" y="203114"/>
                </a:cubicBezTo>
                <a:close/>
                <a:moveTo>
                  <a:pt x="2106434" y="201292"/>
                </a:moveTo>
                <a:lnTo>
                  <a:pt x="2109395" y="203341"/>
                </a:lnTo>
                <a:cubicBezTo>
                  <a:pt x="2108711" y="204480"/>
                  <a:pt x="2107345" y="205847"/>
                  <a:pt x="2108256" y="206758"/>
                </a:cubicBezTo>
                <a:close/>
                <a:moveTo>
                  <a:pt x="3301780" y="197732"/>
                </a:moveTo>
                <a:lnTo>
                  <a:pt x="3309069" y="208665"/>
                </a:lnTo>
                <a:lnTo>
                  <a:pt x="3301780" y="223243"/>
                </a:lnTo>
                <a:lnTo>
                  <a:pt x="3287202" y="214132"/>
                </a:lnTo>
                <a:close/>
                <a:moveTo>
                  <a:pt x="2540111" y="197647"/>
                </a:moveTo>
                <a:cubicBezTo>
                  <a:pt x="2536466" y="203114"/>
                  <a:pt x="2534644" y="204936"/>
                  <a:pt x="2540111" y="208580"/>
                </a:cubicBezTo>
                <a:cubicBezTo>
                  <a:pt x="2545577" y="206758"/>
                  <a:pt x="2541933" y="201292"/>
                  <a:pt x="2540111" y="197647"/>
                </a:cubicBezTo>
                <a:close/>
                <a:moveTo>
                  <a:pt x="2518245" y="194003"/>
                </a:moveTo>
                <a:cubicBezTo>
                  <a:pt x="2516423" y="195825"/>
                  <a:pt x="2514600" y="195825"/>
                  <a:pt x="2510956" y="195825"/>
                </a:cubicBezTo>
                <a:cubicBezTo>
                  <a:pt x="2510956" y="201292"/>
                  <a:pt x="2510956" y="204936"/>
                  <a:pt x="2516423" y="203114"/>
                </a:cubicBezTo>
                <a:cubicBezTo>
                  <a:pt x="2520067" y="201292"/>
                  <a:pt x="2518245" y="197647"/>
                  <a:pt x="2518245" y="194003"/>
                </a:cubicBezTo>
                <a:close/>
                <a:moveTo>
                  <a:pt x="2369952" y="193743"/>
                </a:moveTo>
                <a:lnTo>
                  <a:pt x="2374293" y="199469"/>
                </a:lnTo>
                <a:lnTo>
                  <a:pt x="2374320" y="199849"/>
                </a:lnTo>
                <a:lnTo>
                  <a:pt x="2370649" y="197647"/>
                </a:lnTo>
                <a:close/>
                <a:moveTo>
                  <a:pt x="2871748" y="190465"/>
                </a:moveTo>
                <a:lnTo>
                  <a:pt x="2889969" y="214153"/>
                </a:lnTo>
                <a:lnTo>
                  <a:pt x="2871748" y="228731"/>
                </a:lnTo>
                <a:lnTo>
                  <a:pt x="2848059" y="214153"/>
                </a:lnTo>
                <a:close/>
                <a:moveTo>
                  <a:pt x="2971966" y="190359"/>
                </a:moveTo>
                <a:lnTo>
                  <a:pt x="2975272" y="192011"/>
                </a:lnTo>
                <a:lnTo>
                  <a:pt x="2971966" y="199469"/>
                </a:lnTo>
                <a:cubicBezTo>
                  <a:pt x="2973788" y="195825"/>
                  <a:pt x="2971966" y="194003"/>
                  <a:pt x="2971966" y="190359"/>
                </a:cubicBezTo>
                <a:close/>
                <a:moveTo>
                  <a:pt x="3004253" y="187255"/>
                </a:moveTo>
                <a:cubicBezTo>
                  <a:pt x="3002374" y="187169"/>
                  <a:pt x="3000666" y="188536"/>
                  <a:pt x="2999299" y="192181"/>
                </a:cubicBezTo>
                <a:cubicBezTo>
                  <a:pt x="2997477" y="192181"/>
                  <a:pt x="2995654" y="192181"/>
                  <a:pt x="2995654" y="188536"/>
                </a:cubicBezTo>
                <a:cubicBezTo>
                  <a:pt x="2988366" y="194003"/>
                  <a:pt x="2986543" y="206758"/>
                  <a:pt x="2997477" y="210403"/>
                </a:cubicBezTo>
                <a:cubicBezTo>
                  <a:pt x="2995654" y="210403"/>
                  <a:pt x="2995654" y="208580"/>
                  <a:pt x="2997477" y="206758"/>
                </a:cubicBezTo>
                <a:cubicBezTo>
                  <a:pt x="2999299" y="208580"/>
                  <a:pt x="3001121" y="212225"/>
                  <a:pt x="3004765" y="214047"/>
                </a:cubicBezTo>
                <a:cubicBezTo>
                  <a:pt x="3002943" y="201292"/>
                  <a:pt x="3013876" y="201292"/>
                  <a:pt x="3021165" y="204936"/>
                </a:cubicBezTo>
                <a:cubicBezTo>
                  <a:pt x="3017065" y="200835"/>
                  <a:pt x="3009890" y="187511"/>
                  <a:pt x="3004253" y="187255"/>
                </a:cubicBezTo>
                <a:close/>
                <a:moveTo>
                  <a:pt x="2363841" y="185684"/>
                </a:moveTo>
                <a:lnTo>
                  <a:pt x="2365778" y="188238"/>
                </a:lnTo>
                <a:lnTo>
                  <a:pt x="2365182" y="188536"/>
                </a:lnTo>
                <a:close/>
                <a:moveTo>
                  <a:pt x="2372471" y="184892"/>
                </a:moveTo>
                <a:cubicBezTo>
                  <a:pt x="2371560" y="187625"/>
                  <a:pt x="2370194" y="189447"/>
                  <a:pt x="2369510" y="191269"/>
                </a:cubicBezTo>
                <a:lnTo>
                  <a:pt x="2369952" y="193743"/>
                </a:lnTo>
                <a:lnTo>
                  <a:pt x="2365778" y="188238"/>
                </a:lnTo>
                <a:close/>
                <a:moveTo>
                  <a:pt x="2745853" y="183723"/>
                </a:moveTo>
                <a:lnTo>
                  <a:pt x="2744194" y="190359"/>
                </a:lnTo>
                <a:lnTo>
                  <a:pt x="2743562" y="185211"/>
                </a:lnTo>
                <a:close/>
                <a:moveTo>
                  <a:pt x="2746016" y="183070"/>
                </a:moveTo>
                <a:lnTo>
                  <a:pt x="2746624" y="183222"/>
                </a:lnTo>
                <a:lnTo>
                  <a:pt x="2745853" y="183723"/>
                </a:lnTo>
                <a:close/>
                <a:moveTo>
                  <a:pt x="2099145" y="183070"/>
                </a:moveTo>
                <a:cubicBezTo>
                  <a:pt x="2099145" y="186714"/>
                  <a:pt x="2099145" y="190359"/>
                  <a:pt x="2102790" y="192181"/>
                </a:cubicBezTo>
                <a:cubicBezTo>
                  <a:pt x="2108256" y="190359"/>
                  <a:pt x="2106433" y="190359"/>
                  <a:pt x="2106433" y="194003"/>
                </a:cubicBezTo>
                <a:cubicBezTo>
                  <a:pt x="2111900" y="195825"/>
                  <a:pt x="2110078" y="190359"/>
                  <a:pt x="2111900" y="188536"/>
                </a:cubicBezTo>
                <a:cubicBezTo>
                  <a:pt x="2106433" y="188536"/>
                  <a:pt x="2104611" y="184892"/>
                  <a:pt x="2099145" y="183070"/>
                </a:cubicBezTo>
                <a:close/>
                <a:moveTo>
                  <a:pt x="2138550" y="181703"/>
                </a:moveTo>
                <a:cubicBezTo>
                  <a:pt x="2136955" y="181248"/>
                  <a:pt x="2135588" y="181248"/>
                  <a:pt x="2135588" y="183070"/>
                </a:cubicBezTo>
                <a:cubicBezTo>
                  <a:pt x="2133766" y="186714"/>
                  <a:pt x="2144699" y="186714"/>
                  <a:pt x="2142877" y="183070"/>
                </a:cubicBezTo>
                <a:cubicBezTo>
                  <a:pt x="2141966" y="183070"/>
                  <a:pt x="2140144" y="182159"/>
                  <a:pt x="2138550" y="181703"/>
                </a:cubicBezTo>
                <a:close/>
                <a:moveTo>
                  <a:pt x="2749661" y="181248"/>
                </a:moveTo>
                <a:lnTo>
                  <a:pt x="2749914" y="183082"/>
                </a:lnTo>
                <a:lnTo>
                  <a:pt x="2749433" y="183924"/>
                </a:lnTo>
                <a:lnTo>
                  <a:pt x="2746624" y="183222"/>
                </a:lnTo>
                <a:close/>
                <a:moveTo>
                  <a:pt x="2662197" y="179426"/>
                </a:moveTo>
                <a:lnTo>
                  <a:pt x="2666134" y="184347"/>
                </a:lnTo>
                <a:lnTo>
                  <a:pt x="2665841" y="184892"/>
                </a:lnTo>
                <a:lnTo>
                  <a:pt x="2664077" y="184040"/>
                </a:lnTo>
                <a:close/>
                <a:moveTo>
                  <a:pt x="2093679" y="179426"/>
                </a:moveTo>
                <a:cubicBezTo>
                  <a:pt x="2090034" y="179426"/>
                  <a:pt x="2091856" y="183070"/>
                  <a:pt x="2091856" y="184892"/>
                </a:cubicBezTo>
                <a:cubicBezTo>
                  <a:pt x="2093679" y="184892"/>
                  <a:pt x="2097323" y="184892"/>
                  <a:pt x="2097323" y="186714"/>
                </a:cubicBezTo>
                <a:cubicBezTo>
                  <a:pt x="2102790" y="184892"/>
                  <a:pt x="2093679" y="184892"/>
                  <a:pt x="2093679" y="179426"/>
                </a:cubicBezTo>
                <a:close/>
                <a:moveTo>
                  <a:pt x="3041209" y="177603"/>
                </a:moveTo>
                <a:cubicBezTo>
                  <a:pt x="3039387" y="186714"/>
                  <a:pt x="3030276" y="192181"/>
                  <a:pt x="3032098" y="199469"/>
                </a:cubicBezTo>
                <a:cubicBezTo>
                  <a:pt x="3033920" y="204936"/>
                  <a:pt x="3044853" y="206758"/>
                  <a:pt x="3044853" y="195825"/>
                </a:cubicBezTo>
                <a:cubicBezTo>
                  <a:pt x="3037564" y="197647"/>
                  <a:pt x="3043031" y="183070"/>
                  <a:pt x="3041209" y="177603"/>
                </a:cubicBezTo>
                <a:close/>
                <a:moveTo>
                  <a:pt x="2959211" y="177603"/>
                </a:moveTo>
                <a:cubicBezTo>
                  <a:pt x="2959211" y="183070"/>
                  <a:pt x="2951922" y="186714"/>
                  <a:pt x="2953744" y="194003"/>
                </a:cubicBezTo>
                <a:cubicBezTo>
                  <a:pt x="2955566" y="195825"/>
                  <a:pt x="2957389" y="197647"/>
                  <a:pt x="2959211" y="195825"/>
                </a:cubicBezTo>
                <a:cubicBezTo>
                  <a:pt x="2959211" y="194003"/>
                  <a:pt x="2959211" y="188536"/>
                  <a:pt x="2957389" y="186714"/>
                </a:cubicBezTo>
                <a:cubicBezTo>
                  <a:pt x="2961033" y="190358"/>
                  <a:pt x="2962400" y="195369"/>
                  <a:pt x="2964450" y="199697"/>
                </a:cubicBezTo>
                <a:lnTo>
                  <a:pt x="2973408" y="206827"/>
                </a:lnTo>
                <a:lnTo>
                  <a:pt x="2968778" y="207669"/>
                </a:lnTo>
                <a:lnTo>
                  <a:pt x="2966884" y="212971"/>
                </a:lnTo>
                <a:lnTo>
                  <a:pt x="2961716" y="207669"/>
                </a:lnTo>
                <a:cubicBezTo>
                  <a:pt x="2954655" y="203113"/>
                  <a:pt x="2944634" y="199469"/>
                  <a:pt x="2937345" y="194003"/>
                </a:cubicBezTo>
                <a:cubicBezTo>
                  <a:pt x="2933700" y="190359"/>
                  <a:pt x="2935523" y="184892"/>
                  <a:pt x="2933700" y="179426"/>
                </a:cubicBezTo>
                <a:cubicBezTo>
                  <a:pt x="2939167" y="183070"/>
                  <a:pt x="2942811" y="192181"/>
                  <a:pt x="2944634" y="195825"/>
                </a:cubicBezTo>
                <a:cubicBezTo>
                  <a:pt x="2951922" y="204936"/>
                  <a:pt x="2951922" y="183070"/>
                  <a:pt x="2959211" y="177603"/>
                </a:cubicBezTo>
                <a:close/>
                <a:moveTo>
                  <a:pt x="2438069" y="177603"/>
                </a:moveTo>
                <a:cubicBezTo>
                  <a:pt x="2427136" y="177603"/>
                  <a:pt x="2418025" y="183070"/>
                  <a:pt x="2408914" y="188536"/>
                </a:cubicBezTo>
                <a:cubicBezTo>
                  <a:pt x="2408914" y="192181"/>
                  <a:pt x="2410737" y="192181"/>
                  <a:pt x="2410737" y="194003"/>
                </a:cubicBezTo>
                <a:cubicBezTo>
                  <a:pt x="2408914" y="192181"/>
                  <a:pt x="2408914" y="190359"/>
                  <a:pt x="2407092" y="190359"/>
                </a:cubicBezTo>
                <a:cubicBezTo>
                  <a:pt x="2405270" y="192181"/>
                  <a:pt x="2399803" y="192181"/>
                  <a:pt x="2397981" y="194003"/>
                </a:cubicBezTo>
                <a:cubicBezTo>
                  <a:pt x="2377937" y="212225"/>
                  <a:pt x="2357893" y="241379"/>
                  <a:pt x="2376115" y="266890"/>
                </a:cubicBezTo>
                <a:cubicBezTo>
                  <a:pt x="2376115" y="268712"/>
                  <a:pt x="2376115" y="268712"/>
                  <a:pt x="2374293" y="270534"/>
                </a:cubicBezTo>
                <a:cubicBezTo>
                  <a:pt x="2372471" y="266890"/>
                  <a:pt x="2368827" y="261423"/>
                  <a:pt x="2367004" y="259601"/>
                </a:cubicBezTo>
                <a:cubicBezTo>
                  <a:pt x="2367004" y="263246"/>
                  <a:pt x="2374293" y="268712"/>
                  <a:pt x="2368827" y="274179"/>
                </a:cubicBezTo>
                <a:cubicBezTo>
                  <a:pt x="2367004" y="274179"/>
                  <a:pt x="2368827" y="266890"/>
                  <a:pt x="2363360" y="268712"/>
                </a:cubicBezTo>
                <a:cubicBezTo>
                  <a:pt x="2367004" y="270534"/>
                  <a:pt x="2365182" y="276001"/>
                  <a:pt x="2365182" y="277823"/>
                </a:cubicBezTo>
                <a:cubicBezTo>
                  <a:pt x="2363360" y="276001"/>
                  <a:pt x="2361538" y="274179"/>
                  <a:pt x="2365182" y="279645"/>
                </a:cubicBezTo>
                <a:cubicBezTo>
                  <a:pt x="2352427" y="297867"/>
                  <a:pt x="2356071" y="316089"/>
                  <a:pt x="2357893" y="334310"/>
                </a:cubicBezTo>
                <a:lnTo>
                  <a:pt x="2363198" y="333630"/>
                </a:lnTo>
                <a:lnTo>
                  <a:pt x="2361310" y="338182"/>
                </a:lnTo>
                <a:cubicBezTo>
                  <a:pt x="2360627" y="342054"/>
                  <a:pt x="2360627" y="346154"/>
                  <a:pt x="2361538" y="348888"/>
                </a:cubicBezTo>
                <a:cubicBezTo>
                  <a:pt x="2367004" y="348888"/>
                  <a:pt x="2365182" y="343421"/>
                  <a:pt x="2368827" y="339777"/>
                </a:cubicBezTo>
                <a:lnTo>
                  <a:pt x="2366631" y="333190"/>
                </a:lnTo>
                <a:lnTo>
                  <a:pt x="2366777" y="333171"/>
                </a:lnTo>
                <a:cubicBezTo>
                  <a:pt x="2369738" y="333399"/>
                  <a:pt x="2372471" y="333399"/>
                  <a:pt x="2374293" y="330666"/>
                </a:cubicBezTo>
                <a:cubicBezTo>
                  <a:pt x="2376115" y="327022"/>
                  <a:pt x="2376115" y="321555"/>
                  <a:pt x="2372471" y="319733"/>
                </a:cubicBezTo>
                <a:cubicBezTo>
                  <a:pt x="2377937" y="321555"/>
                  <a:pt x="2376115" y="327022"/>
                  <a:pt x="2379760" y="328844"/>
                </a:cubicBezTo>
                <a:cubicBezTo>
                  <a:pt x="2379760" y="325199"/>
                  <a:pt x="2379760" y="323377"/>
                  <a:pt x="2381582" y="321555"/>
                </a:cubicBezTo>
                <a:lnTo>
                  <a:pt x="2391848" y="315531"/>
                </a:lnTo>
                <a:lnTo>
                  <a:pt x="2383404" y="325199"/>
                </a:lnTo>
                <a:cubicBezTo>
                  <a:pt x="2381582" y="330666"/>
                  <a:pt x="2381582" y="336133"/>
                  <a:pt x="2385226" y="339777"/>
                </a:cubicBezTo>
                <a:cubicBezTo>
                  <a:pt x="2387048" y="334310"/>
                  <a:pt x="2390693" y="328844"/>
                  <a:pt x="2387048" y="325199"/>
                </a:cubicBezTo>
                <a:cubicBezTo>
                  <a:pt x="2394337" y="330666"/>
                  <a:pt x="2403448" y="332488"/>
                  <a:pt x="2410737" y="325199"/>
                </a:cubicBezTo>
                <a:cubicBezTo>
                  <a:pt x="2412559" y="321555"/>
                  <a:pt x="2408914" y="316089"/>
                  <a:pt x="2408914" y="312444"/>
                </a:cubicBezTo>
                <a:cubicBezTo>
                  <a:pt x="2410737" y="305155"/>
                  <a:pt x="2416203" y="316089"/>
                  <a:pt x="2416203" y="308800"/>
                </a:cubicBezTo>
                <a:cubicBezTo>
                  <a:pt x="2425314" y="316089"/>
                  <a:pt x="2408914" y="321555"/>
                  <a:pt x="2414381" y="323377"/>
                </a:cubicBezTo>
                <a:cubicBezTo>
                  <a:pt x="2425314" y="328844"/>
                  <a:pt x="2430780" y="314266"/>
                  <a:pt x="2423492" y="303333"/>
                </a:cubicBezTo>
                <a:cubicBezTo>
                  <a:pt x="2427136" y="303333"/>
                  <a:pt x="2427136" y="306978"/>
                  <a:pt x="2428958" y="308800"/>
                </a:cubicBezTo>
                <a:lnTo>
                  <a:pt x="2430643" y="300376"/>
                </a:lnTo>
                <a:lnTo>
                  <a:pt x="2438069" y="301511"/>
                </a:lnTo>
                <a:cubicBezTo>
                  <a:pt x="2438069" y="299689"/>
                  <a:pt x="2439891" y="299689"/>
                  <a:pt x="2439891" y="297867"/>
                </a:cubicBezTo>
                <a:cubicBezTo>
                  <a:pt x="2447180" y="303333"/>
                  <a:pt x="2459935" y="314266"/>
                  <a:pt x="2447180" y="321555"/>
                </a:cubicBezTo>
                <a:cubicBezTo>
                  <a:pt x="2452647" y="327022"/>
                  <a:pt x="2456291" y="321555"/>
                  <a:pt x="2459935" y="319733"/>
                </a:cubicBezTo>
                <a:cubicBezTo>
                  <a:pt x="2463580" y="317911"/>
                  <a:pt x="2465402" y="314266"/>
                  <a:pt x="2469046" y="312444"/>
                </a:cubicBezTo>
                <a:lnTo>
                  <a:pt x="2461757" y="305155"/>
                </a:lnTo>
                <a:lnTo>
                  <a:pt x="2470868" y="288756"/>
                </a:lnTo>
                <a:lnTo>
                  <a:pt x="2461757" y="274179"/>
                </a:lnTo>
                <a:lnTo>
                  <a:pt x="2487268" y="274179"/>
                </a:lnTo>
                <a:cubicBezTo>
                  <a:pt x="2487268" y="268712"/>
                  <a:pt x="2483624" y="263246"/>
                  <a:pt x="2479979" y="257779"/>
                </a:cubicBezTo>
                <a:cubicBezTo>
                  <a:pt x="2478157" y="257779"/>
                  <a:pt x="2476335" y="257779"/>
                  <a:pt x="2474513" y="255957"/>
                </a:cubicBezTo>
                <a:cubicBezTo>
                  <a:pt x="2470868" y="250490"/>
                  <a:pt x="2474513" y="243202"/>
                  <a:pt x="2469046" y="241379"/>
                </a:cubicBezTo>
                <a:cubicBezTo>
                  <a:pt x="2465402" y="239557"/>
                  <a:pt x="2461757" y="241379"/>
                  <a:pt x="2459935" y="243202"/>
                </a:cubicBezTo>
                <a:cubicBezTo>
                  <a:pt x="2459935" y="239557"/>
                  <a:pt x="2459935" y="237735"/>
                  <a:pt x="2459935" y="235913"/>
                </a:cubicBezTo>
                <a:cubicBezTo>
                  <a:pt x="2458113" y="235913"/>
                  <a:pt x="2456291" y="235913"/>
                  <a:pt x="2454469" y="235913"/>
                </a:cubicBezTo>
                <a:cubicBezTo>
                  <a:pt x="2458113" y="232269"/>
                  <a:pt x="2458113" y="226802"/>
                  <a:pt x="2458113" y="221336"/>
                </a:cubicBezTo>
                <a:cubicBezTo>
                  <a:pt x="2450824" y="223158"/>
                  <a:pt x="2439891" y="219513"/>
                  <a:pt x="2438069" y="228624"/>
                </a:cubicBezTo>
                <a:cubicBezTo>
                  <a:pt x="2438069" y="228624"/>
                  <a:pt x="2436247" y="226802"/>
                  <a:pt x="2436247" y="226802"/>
                </a:cubicBezTo>
                <a:cubicBezTo>
                  <a:pt x="2434425" y="226802"/>
                  <a:pt x="2434425" y="226802"/>
                  <a:pt x="2432603" y="228624"/>
                </a:cubicBezTo>
                <a:cubicBezTo>
                  <a:pt x="2432603" y="224980"/>
                  <a:pt x="2439891" y="224980"/>
                  <a:pt x="2438069" y="221336"/>
                </a:cubicBezTo>
                <a:cubicBezTo>
                  <a:pt x="2436247" y="215869"/>
                  <a:pt x="2428958" y="223158"/>
                  <a:pt x="2430780" y="228624"/>
                </a:cubicBezTo>
                <a:cubicBezTo>
                  <a:pt x="2427136" y="226802"/>
                  <a:pt x="2427136" y="223158"/>
                  <a:pt x="2428958" y="221336"/>
                </a:cubicBezTo>
                <a:cubicBezTo>
                  <a:pt x="2425314" y="214047"/>
                  <a:pt x="2423492" y="217691"/>
                  <a:pt x="2414381" y="215869"/>
                </a:cubicBezTo>
                <a:cubicBezTo>
                  <a:pt x="2414381" y="214047"/>
                  <a:pt x="2412559" y="212225"/>
                  <a:pt x="2412559" y="210403"/>
                </a:cubicBezTo>
                <a:cubicBezTo>
                  <a:pt x="2419847" y="203114"/>
                  <a:pt x="2428958" y="215869"/>
                  <a:pt x="2438069" y="210403"/>
                </a:cubicBezTo>
                <a:cubicBezTo>
                  <a:pt x="2434425" y="208580"/>
                  <a:pt x="2438069" y="204936"/>
                  <a:pt x="2436247" y="203114"/>
                </a:cubicBezTo>
                <a:cubicBezTo>
                  <a:pt x="2438069" y="204936"/>
                  <a:pt x="2438069" y="206758"/>
                  <a:pt x="2439891" y="208580"/>
                </a:cubicBezTo>
                <a:lnTo>
                  <a:pt x="2444751" y="207423"/>
                </a:lnTo>
                <a:lnTo>
                  <a:pt x="2447180" y="214047"/>
                </a:lnTo>
                <a:cubicBezTo>
                  <a:pt x="2449002" y="214047"/>
                  <a:pt x="2452647" y="212225"/>
                  <a:pt x="2452647" y="212225"/>
                </a:cubicBezTo>
                <a:cubicBezTo>
                  <a:pt x="2452647" y="209491"/>
                  <a:pt x="2451281" y="208580"/>
                  <a:pt x="2450142" y="207669"/>
                </a:cubicBezTo>
                <a:lnTo>
                  <a:pt x="2449894" y="206680"/>
                </a:lnTo>
                <a:lnTo>
                  <a:pt x="2456291" y="212225"/>
                </a:lnTo>
                <a:cubicBezTo>
                  <a:pt x="2456291" y="206758"/>
                  <a:pt x="2459935" y="203114"/>
                  <a:pt x="2458113" y="197647"/>
                </a:cubicBezTo>
                <a:cubicBezTo>
                  <a:pt x="2454469" y="188536"/>
                  <a:pt x="2447180" y="179426"/>
                  <a:pt x="2438069" y="177603"/>
                </a:cubicBezTo>
                <a:close/>
                <a:moveTo>
                  <a:pt x="2193898" y="177603"/>
                </a:moveTo>
                <a:cubicBezTo>
                  <a:pt x="2186609" y="175781"/>
                  <a:pt x="2184787" y="179426"/>
                  <a:pt x="2181143" y="181248"/>
                </a:cubicBezTo>
                <a:cubicBezTo>
                  <a:pt x="2182965" y="190359"/>
                  <a:pt x="2190253" y="194003"/>
                  <a:pt x="2199364" y="195825"/>
                </a:cubicBezTo>
                <a:cubicBezTo>
                  <a:pt x="2199364" y="192181"/>
                  <a:pt x="2203009" y="190359"/>
                  <a:pt x="2204831" y="184892"/>
                </a:cubicBezTo>
                <a:cubicBezTo>
                  <a:pt x="2197542" y="186714"/>
                  <a:pt x="2195720" y="183070"/>
                  <a:pt x="2193898" y="177603"/>
                </a:cubicBezTo>
                <a:close/>
                <a:moveTo>
                  <a:pt x="2292295" y="175781"/>
                </a:moveTo>
                <a:cubicBezTo>
                  <a:pt x="2294117" y="179426"/>
                  <a:pt x="2295940" y="181248"/>
                  <a:pt x="2301406" y="181248"/>
                </a:cubicBezTo>
                <a:cubicBezTo>
                  <a:pt x="2301406" y="175781"/>
                  <a:pt x="2294117" y="177603"/>
                  <a:pt x="2292295" y="175781"/>
                </a:cubicBezTo>
                <a:close/>
                <a:moveTo>
                  <a:pt x="2170210" y="175781"/>
                </a:moveTo>
                <a:cubicBezTo>
                  <a:pt x="2164743" y="177603"/>
                  <a:pt x="2155632" y="177603"/>
                  <a:pt x="2153810" y="183070"/>
                </a:cubicBezTo>
                <a:cubicBezTo>
                  <a:pt x="2157454" y="179426"/>
                  <a:pt x="2162921" y="183070"/>
                  <a:pt x="2168387" y="183070"/>
                </a:cubicBezTo>
                <a:cubicBezTo>
                  <a:pt x="2166565" y="177603"/>
                  <a:pt x="2173854" y="179426"/>
                  <a:pt x="2170210" y="175781"/>
                </a:cubicBezTo>
                <a:close/>
                <a:moveTo>
                  <a:pt x="2645342" y="175667"/>
                </a:moveTo>
                <a:cubicBezTo>
                  <a:pt x="2647278" y="176009"/>
                  <a:pt x="2649897" y="177147"/>
                  <a:pt x="2652631" y="178514"/>
                </a:cubicBezTo>
                <a:lnTo>
                  <a:pt x="2664077" y="184040"/>
                </a:lnTo>
                <a:lnTo>
                  <a:pt x="2664702" y="185575"/>
                </a:lnTo>
                <a:cubicBezTo>
                  <a:pt x="2664475" y="187625"/>
                  <a:pt x="2663108" y="189447"/>
                  <a:pt x="2660374" y="190359"/>
                </a:cubicBezTo>
                <a:cubicBezTo>
                  <a:pt x="2660374" y="188536"/>
                  <a:pt x="2660374" y="188536"/>
                  <a:pt x="2660374" y="186714"/>
                </a:cubicBezTo>
                <a:cubicBezTo>
                  <a:pt x="2658552" y="184892"/>
                  <a:pt x="2656730" y="186714"/>
                  <a:pt x="2658552" y="188536"/>
                </a:cubicBezTo>
                <a:cubicBezTo>
                  <a:pt x="2656730" y="188536"/>
                  <a:pt x="2656730" y="186714"/>
                  <a:pt x="2656730" y="184892"/>
                </a:cubicBezTo>
                <a:cubicBezTo>
                  <a:pt x="2651263" y="186714"/>
                  <a:pt x="2653086" y="192181"/>
                  <a:pt x="2653086" y="197647"/>
                </a:cubicBezTo>
                <a:cubicBezTo>
                  <a:pt x="2651263" y="197647"/>
                  <a:pt x="2651263" y="197647"/>
                  <a:pt x="2649441" y="197647"/>
                </a:cubicBezTo>
                <a:cubicBezTo>
                  <a:pt x="2651263" y="195825"/>
                  <a:pt x="2649441" y="192181"/>
                  <a:pt x="2651263" y="190359"/>
                </a:cubicBezTo>
                <a:cubicBezTo>
                  <a:pt x="2647619" y="188536"/>
                  <a:pt x="2645797" y="188536"/>
                  <a:pt x="2643975" y="190359"/>
                </a:cubicBezTo>
                <a:cubicBezTo>
                  <a:pt x="2642153" y="197647"/>
                  <a:pt x="2643975" y="204936"/>
                  <a:pt x="2638508" y="208580"/>
                </a:cubicBezTo>
                <a:cubicBezTo>
                  <a:pt x="2640330" y="201292"/>
                  <a:pt x="2640330" y="192181"/>
                  <a:pt x="2638508" y="183070"/>
                </a:cubicBezTo>
                <a:cubicBezTo>
                  <a:pt x="2643975" y="181248"/>
                  <a:pt x="2645797" y="183070"/>
                  <a:pt x="2647619" y="188536"/>
                </a:cubicBezTo>
                <a:cubicBezTo>
                  <a:pt x="2649441" y="183070"/>
                  <a:pt x="2640330" y="179426"/>
                  <a:pt x="2642153" y="177603"/>
                </a:cubicBezTo>
                <a:cubicBezTo>
                  <a:pt x="2642153" y="175781"/>
                  <a:pt x="2643406" y="175325"/>
                  <a:pt x="2645342" y="175667"/>
                </a:cubicBezTo>
                <a:close/>
                <a:moveTo>
                  <a:pt x="3129748" y="175624"/>
                </a:moveTo>
                <a:lnTo>
                  <a:pt x="3131635" y="176464"/>
                </a:lnTo>
                <a:lnTo>
                  <a:pt x="3133135" y="179328"/>
                </a:lnTo>
                <a:lnTo>
                  <a:pt x="3132510" y="179617"/>
                </a:lnTo>
                <a:lnTo>
                  <a:pt x="3130495" y="177603"/>
                </a:lnTo>
                <a:lnTo>
                  <a:pt x="3129663" y="180931"/>
                </a:lnTo>
                <a:lnTo>
                  <a:pt x="3127888" y="181750"/>
                </a:lnTo>
                <a:lnTo>
                  <a:pt x="3126951" y="178002"/>
                </a:lnTo>
                <a:lnTo>
                  <a:pt x="3127534" y="176464"/>
                </a:lnTo>
                <a:close/>
                <a:moveTo>
                  <a:pt x="3012054" y="173959"/>
                </a:moveTo>
                <a:cubicBezTo>
                  <a:pt x="3008410" y="172137"/>
                  <a:pt x="3008410" y="183070"/>
                  <a:pt x="3012054" y="181248"/>
                </a:cubicBezTo>
                <a:cubicBezTo>
                  <a:pt x="3013876" y="177603"/>
                  <a:pt x="3010232" y="177603"/>
                  <a:pt x="3012054" y="173959"/>
                </a:cubicBezTo>
                <a:close/>
                <a:moveTo>
                  <a:pt x="2305050" y="173959"/>
                </a:moveTo>
                <a:cubicBezTo>
                  <a:pt x="2301406" y="172137"/>
                  <a:pt x="2303228" y="183070"/>
                  <a:pt x="2306873" y="181248"/>
                </a:cubicBezTo>
                <a:cubicBezTo>
                  <a:pt x="2306873" y="179426"/>
                  <a:pt x="2305050" y="177603"/>
                  <a:pt x="2305050" y="173959"/>
                </a:cubicBezTo>
                <a:close/>
                <a:moveTo>
                  <a:pt x="2348412" y="173076"/>
                </a:moveTo>
                <a:lnTo>
                  <a:pt x="2355355" y="176946"/>
                </a:lnTo>
                <a:lnTo>
                  <a:pt x="2354249" y="177603"/>
                </a:lnTo>
                <a:cubicBezTo>
                  <a:pt x="2350605" y="176692"/>
                  <a:pt x="2349238" y="175781"/>
                  <a:pt x="2347644" y="175097"/>
                </a:cubicBezTo>
                <a:lnTo>
                  <a:pt x="2342512" y="174364"/>
                </a:lnTo>
                <a:close/>
                <a:moveTo>
                  <a:pt x="2733261" y="172137"/>
                </a:moveTo>
                <a:cubicBezTo>
                  <a:pt x="2731439" y="177603"/>
                  <a:pt x="2725973" y="177603"/>
                  <a:pt x="2725973" y="183070"/>
                </a:cubicBezTo>
                <a:cubicBezTo>
                  <a:pt x="2729617" y="184892"/>
                  <a:pt x="2733261" y="175781"/>
                  <a:pt x="2733261" y="172137"/>
                </a:cubicBezTo>
                <a:close/>
                <a:moveTo>
                  <a:pt x="3114096" y="170315"/>
                </a:moveTo>
                <a:cubicBezTo>
                  <a:pt x="3123206" y="164848"/>
                  <a:pt x="3126851" y="175781"/>
                  <a:pt x="3134140" y="173959"/>
                </a:cubicBezTo>
                <a:lnTo>
                  <a:pt x="3129748" y="175624"/>
                </a:lnTo>
                <a:lnTo>
                  <a:pt x="3125684" y="173816"/>
                </a:lnTo>
                <a:cubicBezTo>
                  <a:pt x="3122866" y="172820"/>
                  <a:pt x="3119107" y="171681"/>
                  <a:pt x="3114096" y="170315"/>
                </a:cubicBezTo>
                <a:close/>
                <a:moveTo>
                  <a:pt x="3041209" y="170315"/>
                </a:moveTo>
                <a:cubicBezTo>
                  <a:pt x="3037564" y="170315"/>
                  <a:pt x="3035742" y="173959"/>
                  <a:pt x="3035742" y="179426"/>
                </a:cubicBezTo>
                <a:cubicBezTo>
                  <a:pt x="3037564" y="179426"/>
                  <a:pt x="3041209" y="172137"/>
                  <a:pt x="3043031" y="177603"/>
                </a:cubicBezTo>
                <a:cubicBezTo>
                  <a:pt x="3046675" y="175781"/>
                  <a:pt x="3039387" y="173959"/>
                  <a:pt x="3041209" y="170315"/>
                </a:cubicBezTo>
                <a:close/>
                <a:moveTo>
                  <a:pt x="2154949" y="169859"/>
                </a:moveTo>
                <a:cubicBezTo>
                  <a:pt x="2151988" y="170770"/>
                  <a:pt x="2149255" y="172137"/>
                  <a:pt x="2144699" y="172137"/>
                </a:cubicBezTo>
                <a:cubicBezTo>
                  <a:pt x="2144699" y="175781"/>
                  <a:pt x="2144699" y="179426"/>
                  <a:pt x="2148344" y="179426"/>
                </a:cubicBezTo>
                <a:cubicBezTo>
                  <a:pt x="2153810" y="175781"/>
                  <a:pt x="2162921" y="175781"/>
                  <a:pt x="2166565" y="170315"/>
                </a:cubicBezTo>
                <a:cubicBezTo>
                  <a:pt x="2161099" y="168492"/>
                  <a:pt x="2157910" y="168948"/>
                  <a:pt x="2154949" y="169859"/>
                </a:cubicBezTo>
                <a:close/>
                <a:moveTo>
                  <a:pt x="2266557" y="168948"/>
                </a:moveTo>
                <a:lnTo>
                  <a:pt x="2268078" y="170060"/>
                </a:lnTo>
                <a:lnTo>
                  <a:pt x="2264963" y="170315"/>
                </a:lnTo>
                <a:lnTo>
                  <a:pt x="2265368" y="169100"/>
                </a:lnTo>
                <a:close/>
                <a:moveTo>
                  <a:pt x="2102023" y="167189"/>
                </a:moveTo>
                <a:lnTo>
                  <a:pt x="2102790" y="167416"/>
                </a:lnTo>
                <a:lnTo>
                  <a:pt x="2102790" y="168493"/>
                </a:lnTo>
                <a:close/>
                <a:moveTo>
                  <a:pt x="2392515" y="164848"/>
                </a:moveTo>
                <a:cubicBezTo>
                  <a:pt x="2391604" y="165759"/>
                  <a:pt x="2392060" y="167581"/>
                  <a:pt x="2392060" y="169176"/>
                </a:cubicBezTo>
                <a:lnTo>
                  <a:pt x="2390974" y="170184"/>
                </a:lnTo>
                <a:lnTo>
                  <a:pt x="2391435" y="165865"/>
                </a:lnTo>
                <a:close/>
                <a:moveTo>
                  <a:pt x="2729617" y="163026"/>
                </a:moveTo>
                <a:cubicBezTo>
                  <a:pt x="2724150" y="163026"/>
                  <a:pt x="2727795" y="168493"/>
                  <a:pt x="2724150" y="175781"/>
                </a:cubicBezTo>
                <a:cubicBezTo>
                  <a:pt x="2727795" y="173959"/>
                  <a:pt x="2729617" y="172137"/>
                  <a:pt x="2731439" y="172137"/>
                </a:cubicBezTo>
                <a:cubicBezTo>
                  <a:pt x="2731439" y="168493"/>
                  <a:pt x="2727795" y="168493"/>
                  <a:pt x="2729617" y="163026"/>
                </a:cubicBezTo>
                <a:close/>
                <a:moveTo>
                  <a:pt x="2582021" y="163026"/>
                </a:moveTo>
                <a:cubicBezTo>
                  <a:pt x="2576554" y="168493"/>
                  <a:pt x="2578377" y="177603"/>
                  <a:pt x="2587487" y="179426"/>
                </a:cubicBezTo>
                <a:cubicBezTo>
                  <a:pt x="2585665" y="175781"/>
                  <a:pt x="2582021" y="172137"/>
                  <a:pt x="2585665" y="168493"/>
                </a:cubicBezTo>
                <a:cubicBezTo>
                  <a:pt x="2582021" y="172137"/>
                  <a:pt x="2585665" y="163026"/>
                  <a:pt x="2582021" y="163026"/>
                </a:cubicBezTo>
                <a:close/>
                <a:moveTo>
                  <a:pt x="2102790" y="163026"/>
                </a:moveTo>
                <a:cubicBezTo>
                  <a:pt x="2104611" y="163026"/>
                  <a:pt x="2106433" y="164848"/>
                  <a:pt x="2106433" y="168493"/>
                </a:cubicBezTo>
                <a:lnTo>
                  <a:pt x="2102790" y="167416"/>
                </a:lnTo>
                <a:close/>
                <a:moveTo>
                  <a:pt x="2705929" y="161646"/>
                </a:moveTo>
                <a:lnTo>
                  <a:pt x="2705929" y="172137"/>
                </a:lnTo>
                <a:cubicBezTo>
                  <a:pt x="2704106" y="164848"/>
                  <a:pt x="2704106" y="170315"/>
                  <a:pt x="2698640" y="168493"/>
                </a:cubicBezTo>
                <a:cubicBezTo>
                  <a:pt x="2704106" y="177603"/>
                  <a:pt x="2694996" y="186714"/>
                  <a:pt x="2687707" y="190359"/>
                </a:cubicBezTo>
                <a:lnTo>
                  <a:pt x="2684776" y="185278"/>
                </a:lnTo>
                <a:lnTo>
                  <a:pt x="2693401" y="172820"/>
                </a:lnTo>
                <a:close/>
                <a:moveTo>
                  <a:pt x="3039387" y="161204"/>
                </a:moveTo>
                <a:cubicBezTo>
                  <a:pt x="3033920" y="164848"/>
                  <a:pt x="3028453" y="159382"/>
                  <a:pt x="3030276" y="172137"/>
                </a:cubicBezTo>
                <a:cubicBezTo>
                  <a:pt x="3033920" y="168493"/>
                  <a:pt x="3039387" y="168493"/>
                  <a:pt x="3039387" y="161204"/>
                </a:cubicBezTo>
                <a:close/>
                <a:moveTo>
                  <a:pt x="2186609" y="159382"/>
                </a:moveTo>
                <a:cubicBezTo>
                  <a:pt x="2190253" y="164848"/>
                  <a:pt x="2190253" y="166670"/>
                  <a:pt x="2190253" y="172137"/>
                </a:cubicBezTo>
                <a:cubicBezTo>
                  <a:pt x="2199364" y="172137"/>
                  <a:pt x="2204831" y="170315"/>
                  <a:pt x="2203009" y="163026"/>
                </a:cubicBezTo>
                <a:cubicBezTo>
                  <a:pt x="2197542" y="163026"/>
                  <a:pt x="2193898" y="161204"/>
                  <a:pt x="2186609" y="159382"/>
                </a:cubicBezTo>
                <a:close/>
                <a:moveTo>
                  <a:pt x="2962856" y="157559"/>
                </a:moveTo>
                <a:lnTo>
                  <a:pt x="2965816" y="163026"/>
                </a:lnTo>
                <a:cubicBezTo>
                  <a:pt x="2966500" y="164848"/>
                  <a:pt x="2966500" y="166670"/>
                  <a:pt x="2964677" y="168493"/>
                </a:cubicBezTo>
                <a:cubicBezTo>
                  <a:pt x="2961944" y="165759"/>
                  <a:pt x="2961033" y="162570"/>
                  <a:pt x="2961489" y="159609"/>
                </a:cubicBezTo>
                <a:close/>
                <a:moveTo>
                  <a:pt x="2705929" y="157559"/>
                </a:moveTo>
                <a:lnTo>
                  <a:pt x="2708090" y="159720"/>
                </a:lnTo>
                <a:lnTo>
                  <a:pt x="2705929" y="161646"/>
                </a:lnTo>
                <a:close/>
                <a:moveTo>
                  <a:pt x="2244919" y="157559"/>
                </a:moveTo>
                <a:cubicBezTo>
                  <a:pt x="2232163" y="159382"/>
                  <a:pt x="2246741" y="164848"/>
                  <a:pt x="2239452" y="164848"/>
                </a:cubicBezTo>
                <a:cubicBezTo>
                  <a:pt x="2241274" y="166670"/>
                  <a:pt x="2243096" y="166670"/>
                  <a:pt x="2244919" y="164848"/>
                </a:cubicBezTo>
                <a:cubicBezTo>
                  <a:pt x="2243096" y="161204"/>
                  <a:pt x="2246741" y="161204"/>
                  <a:pt x="2244919" y="157559"/>
                </a:cubicBezTo>
                <a:close/>
                <a:moveTo>
                  <a:pt x="2710961" y="157159"/>
                </a:moveTo>
                <a:lnTo>
                  <a:pt x="2711395" y="163026"/>
                </a:lnTo>
                <a:lnTo>
                  <a:pt x="2708090" y="159720"/>
                </a:lnTo>
                <a:close/>
                <a:moveTo>
                  <a:pt x="3024809" y="155737"/>
                </a:moveTo>
                <a:cubicBezTo>
                  <a:pt x="3022987" y="164848"/>
                  <a:pt x="3013876" y="177603"/>
                  <a:pt x="3019343" y="190359"/>
                </a:cubicBezTo>
                <a:cubicBezTo>
                  <a:pt x="3032098" y="188536"/>
                  <a:pt x="3028453" y="163026"/>
                  <a:pt x="3024809" y="155737"/>
                </a:cubicBezTo>
                <a:close/>
                <a:moveTo>
                  <a:pt x="3004765" y="155737"/>
                </a:moveTo>
                <a:cubicBezTo>
                  <a:pt x="3001121" y="157559"/>
                  <a:pt x="3001121" y="161204"/>
                  <a:pt x="3001121" y="168493"/>
                </a:cubicBezTo>
                <a:cubicBezTo>
                  <a:pt x="3004765" y="168493"/>
                  <a:pt x="3006587" y="166670"/>
                  <a:pt x="3008410" y="166670"/>
                </a:cubicBezTo>
                <a:cubicBezTo>
                  <a:pt x="3006587" y="161204"/>
                  <a:pt x="3002943" y="161204"/>
                  <a:pt x="3004765" y="155737"/>
                </a:cubicBezTo>
                <a:close/>
                <a:moveTo>
                  <a:pt x="2567443" y="153915"/>
                </a:moveTo>
                <a:cubicBezTo>
                  <a:pt x="2561977" y="157559"/>
                  <a:pt x="2565621" y="164848"/>
                  <a:pt x="2571088" y="164848"/>
                </a:cubicBezTo>
                <a:cubicBezTo>
                  <a:pt x="2572910" y="157559"/>
                  <a:pt x="2567443" y="157559"/>
                  <a:pt x="2567443" y="153915"/>
                </a:cubicBezTo>
                <a:close/>
                <a:moveTo>
                  <a:pt x="2552866" y="153915"/>
                </a:moveTo>
                <a:cubicBezTo>
                  <a:pt x="2552866" y="159382"/>
                  <a:pt x="2556510" y="161204"/>
                  <a:pt x="2561977" y="163026"/>
                </a:cubicBezTo>
                <a:cubicBezTo>
                  <a:pt x="2558332" y="161204"/>
                  <a:pt x="2561977" y="153915"/>
                  <a:pt x="2552866" y="153915"/>
                </a:cubicBezTo>
                <a:close/>
                <a:moveTo>
                  <a:pt x="2294117" y="153915"/>
                </a:moveTo>
                <a:cubicBezTo>
                  <a:pt x="2286829" y="155737"/>
                  <a:pt x="2288651" y="161204"/>
                  <a:pt x="2288651" y="166670"/>
                </a:cubicBezTo>
                <a:cubicBezTo>
                  <a:pt x="2294117" y="164848"/>
                  <a:pt x="2292295" y="157559"/>
                  <a:pt x="2294117" y="153915"/>
                </a:cubicBezTo>
                <a:close/>
                <a:moveTo>
                  <a:pt x="2175676" y="153915"/>
                </a:moveTo>
                <a:cubicBezTo>
                  <a:pt x="2168387" y="155737"/>
                  <a:pt x="2177498" y="161204"/>
                  <a:pt x="2177498" y="163026"/>
                </a:cubicBezTo>
                <a:cubicBezTo>
                  <a:pt x="2175676" y="166670"/>
                  <a:pt x="2173854" y="163026"/>
                  <a:pt x="2172032" y="164848"/>
                </a:cubicBezTo>
                <a:cubicBezTo>
                  <a:pt x="2177498" y="168493"/>
                  <a:pt x="2181143" y="170315"/>
                  <a:pt x="2188431" y="170315"/>
                </a:cubicBezTo>
                <a:cubicBezTo>
                  <a:pt x="2188431" y="163026"/>
                  <a:pt x="2182965" y="157559"/>
                  <a:pt x="2175676" y="153915"/>
                </a:cubicBezTo>
                <a:close/>
                <a:moveTo>
                  <a:pt x="2086390" y="153915"/>
                </a:moveTo>
                <a:cubicBezTo>
                  <a:pt x="2084568" y="153915"/>
                  <a:pt x="2084568" y="163026"/>
                  <a:pt x="2086390" y="164848"/>
                </a:cubicBezTo>
                <a:cubicBezTo>
                  <a:pt x="2090034" y="164848"/>
                  <a:pt x="2086390" y="159382"/>
                  <a:pt x="2090034" y="159382"/>
                </a:cubicBezTo>
                <a:cubicBezTo>
                  <a:pt x="2088212" y="157559"/>
                  <a:pt x="2086390" y="157559"/>
                  <a:pt x="2086390" y="153915"/>
                </a:cubicBezTo>
                <a:close/>
                <a:moveTo>
                  <a:pt x="3062415" y="152753"/>
                </a:moveTo>
                <a:lnTo>
                  <a:pt x="3061936" y="153345"/>
                </a:lnTo>
                <a:lnTo>
                  <a:pt x="3061816" y="153352"/>
                </a:lnTo>
                <a:close/>
                <a:moveTo>
                  <a:pt x="2308695" y="152548"/>
                </a:moveTo>
                <a:lnTo>
                  <a:pt x="2309689" y="152921"/>
                </a:lnTo>
                <a:lnTo>
                  <a:pt x="2302621" y="159989"/>
                </a:lnTo>
                <a:lnTo>
                  <a:pt x="2305050" y="153915"/>
                </a:lnTo>
                <a:cubicBezTo>
                  <a:pt x="2307784" y="152093"/>
                  <a:pt x="2308240" y="152093"/>
                  <a:pt x="2308695" y="152548"/>
                </a:cubicBezTo>
                <a:close/>
                <a:moveTo>
                  <a:pt x="2713217" y="152093"/>
                </a:moveTo>
                <a:lnTo>
                  <a:pt x="2715066" y="153498"/>
                </a:lnTo>
                <a:lnTo>
                  <a:pt x="2710961" y="157159"/>
                </a:lnTo>
                <a:lnTo>
                  <a:pt x="2710940" y="156876"/>
                </a:lnTo>
                <a:cubicBezTo>
                  <a:pt x="2710940" y="154826"/>
                  <a:pt x="2711395" y="153004"/>
                  <a:pt x="2713217" y="152093"/>
                </a:cubicBezTo>
                <a:close/>
                <a:moveTo>
                  <a:pt x="2277718" y="152093"/>
                </a:moveTo>
                <a:cubicBezTo>
                  <a:pt x="2272251" y="152093"/>
                  <a:pt x="2274074" y="163026"/>
                  <a:pt x="2279540" y="159382"/>
                </a:cubicBezTo>
                <a:cubicBezTo>
                  <a:pt x="2281362" y="155737"/>
                  <a:pt x="2277718" y="155737"/>
                  <a:pt x="2277718" y="152093"/>
                </a:cubicBezTo>
                <a:close/>
                <a:moveTo>
                  <a:pt x="2099145" y="152093"/>
                </a:moveTo>
                <a:cubicBezTo>
                  <a:pt x="2100967" y="155737"/>
                  <a:pt x="2102790" y="155737"/>
                  <a:pt x="2104611" y="157559"/>
                </a:cubicBezTo>
                <a:cubicBezTo>
                  <a:pt x="2108256" y="155737"/>
                  <a:pt x="2104611" y="150271"/>
                  <a:pt x="2099145" y="152093"/>
                </a:cubicBezTo>
                <a:close/>
                <a:moveTo>
                  <a:pt x="2718684" y="150271"/>
                </a:moveTo>
                <a:lnTo>
                  <a:pt x="2719531" y="156200"/>
                </a:lnTo>
                <a:lnTo>
                  <a:pt x="2718912" y="156420"/>
                </a:lnTo>
                <a:lnTo>
                  <a:pt x="2715066" y="153498"/>
                </a:lnTo>
                <a:close/>
                <a:moveTo>
                  <a:pt x="2463580" y="150271"/>
                </a:moveTo>
                <a:cubicBezTo>
                  <a:pt x="2454469" y="153915"/>
                  <a:pt x="2452647" y="164848"/>
                  <a:pt x="2445358" y="170315"/>
                </a:cubicBezTo>
                <a:cubicBezTo>
                  <a:pt x="2447180" y="175781"/>
                  <a:pt x="2449002" y="179426"/>
                  <a:pt x="2456291" y="179426"/>
                </a:cubicBezTo>
                <a:cubicBezTo>
                  <a:pt x="2459935" y="172137"/>
                  <a:pt x="2465402" y="159382"/>
                  <a:pt x="2463580" y="150271"/>
                </a:cubicBezTo>
                <a:close/>
                <a:moveTo>
                  <a:pt x="2084568" y="150271"/>
                </a:moveTo>
                <a:cubicBezTo>
                  <a:pt x="2090034" y="153915"/>
                  <a:pt x="2097323" y="164848"/>
                  <a:pt x="2086390" y="166670"/>
                </a:cubicBezTo>
                <a:cubicBezTo>
                  <a:pt x="2086390" y="173959"/>
                  <a:pt x="2095500" y="173959"/>
                  <a:pt x="2099145" y="177603"/>
                </a:cubicBezTo>
                <a:cubicBezTo>
                  <a:pt x="2102790" y="177603"/>
                  <a:pt x="2104611" y="177603"/>
                  <a:pt x="2104611" y="175781"/>
                </a:cubicBezTo>
                <a:cubicBezTo>
                  <a:pt x="2108256" y="181248"/>
                  <a:pt x="2115544" y="181248"/>
                  <a:pt x="2117366" y="184892"/>
                </a:cubicBezTo>
                <a:cubicBezTo>
                  <a:pt x="2122833" y="183070"/>
                  <a:pt x="2122833" y="183070"/>
                  <a:pt x="2131944" y="183070"/>
                </a:cubicBezTo>
                <a:cubicBezTo>
                  <a:pt x="2131944" y="179426"/>
                  <a:pt x="2133766" y="179426"/>
                  <a:pt x="2135588" y="179426"/>
                </a:cubicBezTo>
                <a:cubicBezTo>
                  <a:pt x="2131944" y="173959"/>
                  <a:pt x="2119189" y="177603"/>
                  <a:pt x="2115544" y="181248"/>
                </a:cubicBezTo>
                <a:cubicBezTo>
                  <a:pt x="2115544" y="179426"/>
                  <a:pt x="2113722" y="179426"/>
                  <a:pt x="2111900" y="179426"/>
                </a:cubicBezTo>
                <a:cubicBezTo>
                  <a:pt x="2111900" y="175781"/>
                  <a:pt x="2117366" y="177603"/>
                  <a:pt x="2117366" y="175781"/>
                </a:cubicBezTo>
                <a:cubicBezTo>
                  <a:pt x="2119189" y="170315"/>
                  <a:pt x="2113722" y="172137"/>
                  <a:pt x="2111900" y="170315"/>
                </a:cubicBezTo>
                <a:cubicBezTo>
                  <a:pt x="2113722" y="166670"/>
                  <a:pt x="2119189" y="170315"/>
                  <a:pt x="2117366" y="164848"/>
                </a:cubicBezTo>
                <a:cubicBezTo>
                  <a:pt x="2110078" y="163026"/>
                  <a:pt x="2108256" y="159382"/>
                  <a:pt x="2100967" y="159382"/>
                </a:cubicBezTo>
                <a:cubicBezTo>
                  <a:pt x="2100967" y="162115"/>
                  <a:pt x="2100512" y="163481"/>
                  <a:pt x="2100512" y="164620"/>
                </a:cubicBezTo>
                <a:lnTo>
                  <a:pt x="2102023" y="167189"/>
                </a:lnTo>
                <a:lnTo>
                  <a:pt x="2096412" y="165531"/>
                </a:lnTo>
                <a:cubicBezTo>
                  <a:pt x="2094135" y="161204"/>
                  <a:pt x="2092767" y="154826"/>
                  <a:pt x="2091856" y="150271"/>
                </a:cubicBezTo>
                <a:cubicBezTo>
                  <a:pt x="2088212" y="148449"/>
                  <a:pt x="2088212" y="150271"/>
                  <a:pt x="2084568" y="150271"/>
                </a:cubicBezTo>
                <a:close/>
                <a:moveTo>
                  <a:pt x="2747839" y="148449"/>
                </a:moveTo>
                <a:cubicBezTo>
                  <a:pt x="2749661" y="148449"/>
                  <a:pt x="2746016" y="157559"/>
                  <a:pt x="2749661" y="155737"/>
                </a:cubicBezTo>
                <a:cubicBezTo>
                  <a:pt x="2751483" y="152093"/>
                  <a:pt x="2751483" y="146626"/>
                  <a:pt x="2747839" y="148449"/>
                </a:cubicBezTo>
                <a:close/>
                <a:moveTo>
                  <a:pt x="2390693" y="148449"/>
                </a:moveTo>
                <a:cubicBezTo>
                  <a:pt x="2385226" y="152093"/>
                  <a:pt x="2377937" y="157559"/>
                  <a:pt x="2381582" y="164848"/>
                </a:cubicBezTo>
                <a:cubicBezTo>
                  <a:pt x="2385226" y="163026"/>
                  <a:pt x="2385226" y="157559"/>
                  <a:pt x="2387048" y="153915"/>
                </a:cubicBezTo>
                <a:cubicBezTo>
                  <a:pt x="2388871" y="155737"/>
                  <a:pt x="2390693" y="153915"/>
                  <a:pt x="2392515" y="155737"/>
                </a:cubicBezTo>
                <a:lnTo>
                  <a:pt x="2391435" y="165865"/>
                </a:lnTo>
                <a:lnTo>
                  <a:pt x="2388643" y="168493"/>
                </a:lnTo>
                <a:cubicBezTo>
                  <a:pt x="2387960" y="170315"/>
                  <a:pt x="2387960" y="172137"/>
                  <a:pt x="2388871" y="172137"/>
                </a:cubicBezTo>
                <a:lnTo>
                  <a:pt x="2390974" y="170184"/>
                </a:lnTo>
                <a:lnTo>
                  <a:pt x="2390693" y="172820"/>
                </a:lnTo>
                <a:cubicBezTo>
                  <a:pt x="2386593" y="177148"/>
                  <a:pt x="2379760" y="180337"/>
                  <a:pt x="2372471" y="183070"/>
                </a:cubicBezTo>
                <a:cubicBezTo>
                  <a:pt x="2374293" y="177603"/>
                  <a:pt x="2383404" y="173959"/>
                  <a:pt x="2379760" y="172137"/>
                </a:cubicBezTo>
                <a:cubicBezTo>
                  <a:pt x="2372927" y="169404"/>
                  <a:pt x="2361994" y="173845"/>
                  <a:pt x="2361566" y="180848"/>
                </a:cubicBezTo>
                <a:lnTo>
                  <a:pt x="2363841" y="185684"/>
                </a:lnTo>
                <a:lnTo>
                  <a:pt x="2358577" y="178742"/>
                </a:lnTo>
                <a:lnTo>
                  <a:pt x="2355355" y="176946"/>
                </a:lnTo>
                <a:lnTo>
                  <a:pt x="2361538" y="173276"/>
                </a:lnTo>
                <a:cubicBezTo>
                  <a:pt x="2363816" y="170315"/>
                  <a:pt x="2366094" y="166670"/>
                  <a:pt x="2368827" y="164848"/>
                </a:cubicBezTo>
                <a:cubicBezTo>
                  <a:pt x="2370649" y="168493"/>
                  <a:pt x="2374293" y="172137"/>
                  <a:pt x="2377937" y="170315"/>
                </a:cubicBezTo>
                <a:cubicBezTo>
                  <a:pt x="2379760" y="166670"/>
                  <a:pt x="2374293" y="163026"/>
                  <a:pt x="2376115" y="159382"/>
                </a:cubicBezTo>
                <a:cubicBezTo>
                  <a:pt x="2372471" y="159382"/>
                  <a:pt x="2372471" y="161204"/>
                  <a:pt x="2370649" y="163026"/>
                </a:cubicBezTo>
                <a:cubicBezTo>
                  <a:pt x="2370649" y="153915"/>
                  <a:pt x="2379760" y="148449"/>
                  <a:pt x="2390693" y="148449"/>
                </a:cubicBezTo>
                <a:close/>
                <a:moveTo>
                  <a:pt x="2722328" y="146626"/>
                </a:moveTo>
                <a:cubicBezTo>
                  <a:pt x="2724151" y="145715"/>
                  <a:pt x="2724606" y="146626"/>
                  <a:pt x="2724606" y="148448"/>
                </a:cubicBezTo>
                <a:lnTo>
                  <a:pt x="2724225" y="154535"/>
                </a:lnTo>
                <a:lnTo>
                  <a:pt x="2723481" y="154799"/>
                </a:lnTo>
                <a:lnTo>
                  <a:pt x="2721873" y="152548"/>
                </a:lnTo>
                <a:cubicBezTo>
                  <a:pt x="2721873" y="150726"/>
                  <a:pt x="2722328" y="148448"/>
                  <a:pt x="2722328" y="146626"/>
                </a:cubicBezTo>
                <a:close/>
                <a:moveTo>
                  <a:pt x="2541933" y="144804"/>
                </a:moveTo>
                <a:cubicBezTo>
                  <a:pt x="2540111" y="155737"/>
                  <a:pt x="2551044" y="144804"/>
                  <a:pt x="2549222" y="153915"/>
                </a:cubicBezTo>
                <a:cubicBezTo>
                  <a:pt x="2554688" y="150271"/>
                  <a:pt x="2554688" y="144804"/>
                  <a:pt x="2541933" y="144804"/>
                </a:cubicBezTo>
                <a:close/>
                <a:moveTo>
                  <a:pt x="2261318" y="144804"/>
                </a:moveTo>
                <a:cubicBezTo>
                  <a:pt x="2263140" y="146626"/>
                  <a:pt x="2264963" y="146626"/>
                  <a:pt x="2264963" y="150271"/>
                </a:cubicBezTo>
                <a:cubicBezTo>
                  <a:pt x="2270429" y="150271"/>
                  <a:pt x="2266785" y="144804"/>
                  <a:pt x="2270429" y="144804"/>
                </a:cubicBezTo>
                <a:cubicBezTo>
                  <a:pt x="2268607" y="142982"/>
                  <a:pt x="2264963" y="144804"/>
                  <a:pt x="2261318" y="144804"/>
                </a:cubicBezTo>
                <a:close/>
                <a:moveTo>
                  <a:pt x="2113722" y="144804"/>
                </a:moveTo>
                <a:cubicBezTo>
                  <a:pt x="2111900" y="150271"/>
                  <a:pt x="2117366" y="155737"/>
                  <a:pt x="2119189" y="159382"/>
                </a:cubicBezTo>
                <a:cubicBezTo>
                  <a:pt x="2117366" y="153915"/>
                  <a:pt x="2124655" y="146626"/>
                  <a:pt x="2113722" y="144804"/>
                </a:cubicBezTo>
                <a:close/>
                <a:moveTo>
                  <a:pt x="2146521" y="142982"/>
                </a:moveTo>
                <a:cubicBezTo>
                  <a:pt x="2146521" y="146626"/>
                  <a:pt x="2146521" y="148449"/>
                  <a:pt x="2148344" y="150271"/>
                </a:cubicBezTo>
                <a:cubicBezTo>
                  <a:pt x="2155632" y="146626"/>
                  <a:pt x="2159277" y="150271"/>
                  <a:pt x="2166565" y="153915"/>
                </a:cubicBezTo>
                <a:cubicBezTo>
                  <a:pt x="2162921" y="148449"/>
                  <a:pt x="2153810" y="146626"/>
                  <a:pt x="2146521" y="142982"/>
                </a:cubicBezTo>
                <a:close/>
                <a:moveTo>
                  <a:pt x="3008410" y="141160"/>
                </a:moveTo>
                <a:lnTo>
                  <a:pt x="3008858" y="143250"/>
                </a:lnTo>
                <a:lnTo>
                  <a:pt x="3008410" y="143818"/>
                </a:lnTo>
                <a:close/>
                <a:moveTo>
                  <a:pt x="2470868" y="139338"/>
                </a:moveTo>
                <a:cubicBezTo>
                  <a:pt x="2467224" y="141160"/>
                  <a:pt x="2469046" y="142982"/>
                  <a:pt x="2469046" y="146626"/>
                </a:cubicBezTo>
                <a:cubicBezTo>
                  <a:pt x="2472690" y="142982"/>
                  <a:pt x="2472690" y="148449"/>
                  <a:pt x="2476335" y="146626"/>
                </a:cubicBezTo>
                <a:cubicBezTo>
                  <a:pt x="2478157" y="142982"/>
                  <a:pt x="2474513" y="141160"/>
                  <a:pt x="2470868" y="139338"/>
                </a:cubicBezTo>
                <a:close/>
                <a:moveTo>
                  <a:pt x="2121011" y="139338"/>
                </a:moveTo>
                <a:cubicBezTo>
                  <a:pt x="2121011" y="150271"/>
                  <a:pt x="2121011" y="164848"/>
                  <a:pt x="2133766" y="163026"/>
                </a:cubicBezTo>
                <a:cubicBezTo>
                  <a:pt x="2131944" y="159382"/>
                  <a:pt x="2130122" y="153915"/>
                  <a:pt x="2124655" y="155737"/>
                </a:cubicBezTo>
                <a:cubicBezTo>
                  <a:pt x="2126477" y="148449"/>
                  <a:pt x="2124655" y="144804"/>
                  <a:pt x="2121011" y="139338"/>
                </a:cubicBezTo>
                <a:close/>
                <a:moveTo>
                  <a:pt x="2174764" y="137878"/>
                </a:moveTo>
                <a:lnTo>
                  <a:pt x="2177726" y="140248"/>
                </a:lnTo>
                <a:lnTo>
                  <a:pt x="2175990" y="142290"/>
                </a:lnTo>
                <a:lnTo>
                  <a:pt x="2173855" y="139338"/>
                </a:lnTo>
                <a:lnTo>
                  <a:pt x="2173854" y="139337"/>
                </a:lnTo>
                <a:close/>
                <a:moveTo>
                  <a:pt x="2170210" y="137516"/>
                </a:moveTo>
                <a:lnTo>
                  <a:pt x="2169352" y="140945"/>
                </a:lnTo>
                <a:lnTo>
                  <a:pt x="2162921" y="139338"/>
                </a:lnTo>
                <a:cubicBezTo>
                  <a:pt x="2161099" y="146626"/>
                  <a:pt x="2166565" y="146626"/>
                  <a:pt x="2173854" y="150271"/>
                </a:cubicBezTo>
                <a:cubicBezTo>
                  <a:pt x="2175676" y="144804"/>
                  <a:pt x="2172032" y="144804"/>
                  <a:pt x="2168387" y="144804"/>
                </a:cubicBezTo>
                <a:lnTo>
                  <a:pt x="2169352" y="140945"/>
                </a:lnTo>
                <a:lnTo>
                  <a:pt x="2170210" y="141160"/>
                </a:lnTo>
                <a:cubicBezTo>
                  <a:pt x="2168387" y="141160"/>
                  <a:pt x="2168387" y="139338"/>
                  <a:pt x="2170210" y="137516"/>
                </a:cubicBezTo>
                <a:close/>
                <a:moveTo>
                  <a:pt x="2133766" y="137516"/>
                </a:moveTo>
                <a:cubicBezTo>
                  <a:pt x="2133766" y="142982"/>
                  <a:pt x="2139233" y="142982"/>
                  <a:pt x="2141055" y="146626"/>
                </a:cubicBezTo>
                <a:cubicBezTo>
                  <a:pt x="2144699" y="142982"/>
                  <a:pt x="2141055" y="135693"/>
                  <a:pt x="2133766" y="137516"/>
                </a:cubicBezTo>
                <a:close/>
                <a:moveTo>
                  <a:pt x="2066346" y="137516"/>
                </a:moveTo>
                <a:cubicBezTo>
                  <a:pt x="2066346" y="144804"/>
                  <a:pt x="2075457" y="141160"/>
                  <a:pt x="2075457" y="146626"/>
                </a:cubicBezTo>
                <a:cubicBezTo>
                  <a:pt x="2075457" y="144804"/>
                  <a:pt x="2075457" y="144804"/>
                  <a:pt x="2073634" y="142982"/>
                </a:cubicBezTo>
                <a:cubicBezTo>
                  <a:pt x="2077279" y="141160"/>
                  <a:pt x="2077279" y="152093"/>
                  <a:pt x="2082745" y="146626"/>
                </a:cubicBezTo>
                <a:cubicBezTo>
                  <a:pt x="2080923" y="139338"/>
                  <a:pt x="2073634" y="135693"/>
                  <a:pt x="2066346" y="137516"/>
                </a:cubicBezTo>
                <a:close/>
                <a:moveTo>
                  <a:pt x="2520347" y="136917"/>
                </a:moveTo>
                <a:lnTo>
                  <a:pt x="2524395" y="137828"/>
                </a:lnTo>
                <a:lnTo>
                  <a:pt x="2525051" y="138513"/>
                </a:lnTo>
                <a:lnTo>
                  <a:pt x="2520067" y="137516"/>
                </a:lnTo>
                <a:close/>
                <a:moveTo>
                  <a:pt x="2310517" y="135693"/>
                </a:moveTo>
                <a:cubicBezTo>
                  <a:pt x="2310517" y="141160"/>
                  <a:pt x="2306873" y="139338"/>
                  <a:pt x="2299584" y="141160"/>
                </a:cubicBezTo>
                <a:cubicBezTo>
                  <a:pt x="2303228" y="142982"/>
                  <a:pt x="2306873" y="144804"/>
                  <a:pt x="2312339" y="141160"/>
                </a:cubicBezTo>
                <a:cubicBezTo>
                  <a:pt x="2314161" y="137516"/>
                  <a:pt x="2310517" y="139338"/>
                  <a:pt x="2310517" y="135693"/>
                </a:cubicBezTo>
                <a:close/>
                <a:moveTo>
                  <a:pt x="2128300" y="135693"/>
                </a:moveTo>
                <a:cubicBezTo>
                  <a:pt x="2131944" y="137516"/>
                  <a:pt x="2130122" y="139338"/>
                  <a:pt x="2126477" y="137516"/>
                </a:cubicBezTo>
                <a:cubicBezTo>
                  <a:pt x="2126477" y="142982"/>
                  <a:pt x="2128300" y="146626"/>
                  <a:pt x="2130122" y="150271"/>
                </a:cubicBezTo>
                <a:cubicBezTo>
                  <a:pt x="2141055" y="146626"/>
                  <a:pt x="2139233" y="161204"/>
                  <a:pt x="2141055" y="166670"/>
                </a:cubicBezTo>
                <a:cubicBezTo>
                  <a:pt x="2148344" y="164848"/>
                  <a:pt x="2159277" y="168493"/>
                  <a:pt x="2159277" y="161204"/>
                </a:cubicBezTo>
                <a:cubicBezTo>
                  <a:pt x="2155632" y="161204"/>
                  <a:pt x="2155632" y="163026"/>
                  <a:pt x="2151988" y="161204"/>
                </a:cubicBezTo>
                <a:cubicBezTo>
                  <a:pt x="2150166" y="157559"/>
                  <a:pt x="2159277" y="161204"/>
                  <a:pt x="2155632" y="157559"/>
                </a:cubicBezTo>
                <a:cubicBezTo>
                  <a:pt x="2161099" y="159382"/>
                  <a:pt x="2161099" y="164848"/>
                  <a:pt x="2166565" y="164848"/>
                </a:cubicBezTo>
                <a:cubicBezTo>
                  <a:pt x="2168387" y="161204"/>
                  <a:pt x="2164743" y="161204"/>
                  <a:pt x="2166565" y="155737"/>
                </a:cubicBezTo>
                <a:cubicBezTo>
                  <a:pt x="2162921" y="161204"/>
                  <a:pt x="2153810" y="148449"/>
                  <a:pt x="2150166" y="157559"/>
                </a:cubicBezTo>
                <a:cubicBezTo>
                  <a:pt x="2144699" y="155737"/>
                  <a:pt x="2151988" y="155737"/>
                  <a:pt x="2150166" y="152093"/>
                </a:cubicBezTo>
                <a:cubicBezTo>
                  <a:pt x="2137410" y="150271"/>
                  <a:pt x="2137410" y="141160"/>
                  <a:pt x="2128300" y="135693"/>
                </a:cubicBezTo>
                <a:close/>
                <a:moveTo>
                  <a:pt x="2793272" y="135086"/>
                </a:moveTo>
                <a:lnTo>
                  <a:pt x="2797949" y="138427"/>
                </a:lnTo>
                <a:cubicBezTo>
                  <a:pt x="2798860" y="141616"/>
                  <a:pt x="2798860" y="145716"/>
                  <a:pt x="2798860" y="148449"/>
                </a:cubicBezTo>
                <a:close/>
                <a:moveTo>
                  <a:pt x="2970752" y="135085"/>
                </a:moveTo>
                <a:lnTo>
                  <a:pt x="2970144" y="137516"/>
                </a:lnTo>
                <a:lnTo>
                  <a:pt x="2969476" y="136361"/>
                </a:lnTo>
                <a:close/>
                <a:moveTo>
                  <a:pt x="2302090" y="132732"/>
                </a:moveTo>
                <a:cubicBezTo>
                  <a:pt x="2300040" y="132049"/>
                  <a:pt x="2297762" y="132049"/>
                  <a:pt x="2295940" y="133871"/>
                </a:cubicBezTo>
                <a:cubicBezTo>
                  <a:pt x="2299584" y="141160"/>
                  <a:pt x="2301406" y="132049"/>
                  <a:pt x="2306873" y="135693"/>
                </a:cubicBezTo>
                <a:cubicBezTo>
                  <a:pt x="2305962" y="134782"/>
                  <a:pt x="2304140" y="133415"/>
                  <a:pt x="2302090" y="132732"/>
                </a:cubicBezTo>
                <a:close/>
                <a:moveTo>
                  <a:pt x="2792143" y="132385"/>
                </a:moveTo>
                <a:lnTo>
                  <a:pt x="2793272" y="135086"/>
                </a:lnTo>
                <a:lnTo>
                  <a:pt x="2791571" y="133871"/>
                </a:lnTo>
                <a:close/>
                <a:moveTo>
                  <a:pt x="3081297" y="132049"/>
                </a:moveTo>
                <a:cubicBezTo>
                  <a:pt x="3084941" y="135693"/>
                  <a:pt x="3081297" y="144804"/>
                  <a:pt x="3088585" y="146626"/>
                </a:cubicBezTo>
                <a:cubicBezTo>
                  <a:pt x="3088585" y="142982"/>
                  <a:pt x="3088585" y="141160"/>
                  <a:pt x="3086763" y="139338"/>
                </a:cubicBezTo>
                <a:cubicBezTo>
                  <a:pt x="3088585" y="139338"/>
                  <a:pt x="3090407" y="139338"/>
                  <a:pt x="3090407" y="141160"/>
                </a:cubicBezTo>
                <a:cubicBezTo>
                  <a:pt x="3092230" y="152093"/>
                  <a:pt x="3084941" y="159382"/>
                  <a:pt x="3083119" y="168493"/>
                </a:cubicBezTo>
                <a:cubicBezTo>
                  <a:pt x="3079474" y="159382"/>
                  <a:pt x="3074008" y="144804"/>
                  <a:pt x="3063075" y="152093"/>
                </a:cubicBezTo>
                <a:lnTo>
                  <a:pt x="3062415" y="152753"/>
                </a:lnTo>
                <a:lnTo>
                  <a:pt x="3066264" y="147992"/>
                </a:lnTo>
                <a:cubicBezTo>
                  <a:pt x="3068086" y="143437"/>
                  <a:pt x="3068542" y="137515"/>
                  <a:pt x="3072186" y="133871"/>
                </a:cubicBezTo>
                <a:cubicBezTo>
                  <a:pt x="3075830" y="130227"/>
                  <a:pt x="3081297" y="133871"/>
                  <a:pt x="3081297" y="139338"/>
                </a:cubicBezTo>
                <a:cubicBezTo>
                  <a:pt x="3081297" y="135693"/>
                  <a:pt x="3081297" y="133871"/>
                  <a:pt x="3081297" y="132049"/>
                </a:cubicBezTo>
                <a:close/>
                <a:moveTo>
                  <a:pt x="2549222" y="132049"/>
                </a:moveTo>
                <a:cubicBezTo>
                  <a:pt x="2545577" y="132049"/>
                  <a:pt x="2543755" y="137516"/>
                  <a:pt x="2541933" y="141160"/>
                </a:cubicBezTo>
                <a:cubicBezTo>
                  <a:pt x="2545577" y="141160"/>
                  <a:pt x="2547400" y="141160"/>
                  <a:pt x="2551044" y="139338"/>
                </a:cubicBezTo>
                <a:cubicBezTo>
                  <a:pt x="2552866" y="133871"/>
                  <a:pt x="2549222" y="135693"/>
                  <a:pt x="2549222" y="132049"/>
                </a:cubicBezTo>
                <a:close/>
                <a:moveTo>
                  <a:pt x="2315983" y="132049"/>
                </a:moveTo>
                <a:cubicBezTo>
                  <a:pt x="2315983" y="132049"/>
                  <a:pt x="2315983" y="135693"/>
                  <a:pt x="2315983" y="139338"/>
                </a:cubicBezTo>
                <a:cubicBezTo>
                  <a:pt x="2321450" y="135693"/>
                  <a:pt x="2317806" y="132049"/>
                  <a:pt x="2315983" y="132049"/>
                </a:cubicBezTo>
                <a:close/>
                <a:moveTo>
                  <a:pt x="2971966" y="130227"/>
                </a:moveTo>
                <a:lnTo>
                  <a:pt x="2971530" y="131971"/>
                </a:lnTo>
                <a:lnTo>
                  <a:pt x="2969852" y="131673"/>
                </a:lnTo>
                <a:close/>
                <a:moveTo>
                  <a:pt x="2961717" y="130226"/>
                </a:moveTo>
                <a:lnTo>
                  <a:pt x="2969852" y="131673"/>
                </a:lnTo>
                <a:lnTo>
                  <a:pt x="2967639" y="133187"/>
                </a:lnTo>
                <a:lnTo>
                  <a:pt x="2969476" y="136361"/>
                </a:lnTo>
                <a:lnTo>
                  <a:pt x="2966727" y="139110"/>
                </a:lnTo>
                <a:cubicBezTo>
                  <a:pt x="2963311" y="139793"/>
                  <a:pt x="2959211" y="139338"/>
                  <a:pt x="2955566" y="139338"/>
                </a:cubicBezTo>
                <a:cubicBezTo>
                  <a:pt x="2956478" y="137515"/>
                  <a:pt x="2958756" y="132960"/>
                  <a:pt x="2961717" y="130226"/>
                </a:cubicBezTo>
                <a:close/>
                <a:moveTo>
                  <a:pt x="2536466" y="126583"/>
                </a:moveTo>
                <a:cubicBezTo>
                  <a:pt x="2531911" y="124761"/>
                  <a:pt x="2527811" y="125216"/>
                  <a:pt x="2524850" y="127266"/>
                </a:cubicBezTo>
                <a:lnTo>
                  <a:pt x="2520347" y="136917"/>
                </a:lnTo>
                <a:lnTo>
                  <a:pt x="2511868" y="135010"/>
                </a:lnTo>
                <a:cubicBezTo>
                  <a:pt x="2502757" y="134782"/>
                  <a:pt x="2492735" y="137515"/>
                  <a:pt x="2485446" y="141160"/>
                </a:cubicBezTo>
                <a:cubicBezTo>
                  <a:pt x="2485446" y="139338"/>
                  <a:pt x="2485446" y="139338"/>
                  <a:pt x="2485446" y="137516"/>
                </a:cubicBezTo>
                <a:cubicBezTo>
                  <a:pt x="2478157" y="139338"/>
                  <a:pt x="2487268" y="144804"/>
                  <a:pt x="2485446" y="146626"/>
                </a:cubicBezTo>
                <a:cubicBezTo>
                  <a:pt x="2481801" y="148449"/>
                  <a:pt x="2481801" y="152093"/>
                  <a:pt x="2479979" y="153915"/>
                </a:cubicBezTo>
                <a:cubicBezTo>
                  <a:pt x="2478157" y="152093"/>
                  <a:pt x="2478157" y="150271"/>
                  <a:pt x="2478157" y="148449"/>
                </a:cubicBezTo>
                <a:cubicBezTo>
                  <a:pt x="2463580" y="155737"/>
                  <a:pt x="2452647" y="179426"/>
                  <a:pt x="2469046" y="190359"/>
                </a:cubicBezTo>
                <a:cubicBezTo>
                  <a:pt x="2469046" y="188536"/>
                  <a:pt x="2469046" y="184892"/>
                  <a:pt x="2470868" y="183070"/>
                </a:cubicBezTo>
                <a:cubicBezTo>
                  <a:pt x="2479979" y="179426"/>
                  <a:pt x="2479979" y="192181"/>
                  <a:pt x="2487268" y="190359"/>
                </a:cubicBezTo>
                <a:cubicBezTo>
                  <a:pt x="2485446" y="183070"/>
                  <a:pt x="2478157" y="175781"/>
                  <a:pt x="2485446" y="168493"/>
                </a:cubicBezTo>
                <a:cubicBezTo>
                  <a:pt x="2490912" y="175781"/>
                  <a:pt x="2500023" y="175781"/>
                  <a:pt x="2501845" y="183070"/>
                </a:cubicBezTo>
                <a:cubicBezTo>
                  <a:pt x="2503667" y="188536"/>
                  <a:pt x="2507312" y="194003"/>
                  <a:pt x="2510956" y="192181"/>
                </a:cubicBezTo>
                <a:cubicBezTo>
                  <a:pt x="2514600" y="190359"/>
                  <a:pt x="2509134" y="179426"/>
                  <a:pt x="2510956" y="173959"/>
                </a:cubicBezTo>
                <a:cubicBezTo>
                  <a:pt x="2492734" y="168493"/>
                  <a:pt x="2512778" y="172137"/>
                  <a:pt x="2501845" y="146626"/>
                </a:cubicBezTo>
                <a:lnTo>
                  <a:pt x="2523711" y="146626"/>
                </a:lnTo>
                <a:lnTo>
                  <a:pt x="2523711" y="164848"/>
                </a:lnTo>
                <a:cubicBezTo>
                  <a:pt x="2529178" y="170315"/>
                  <a:pt x="2534644" y="175781"/>
                  <a:pt x="2538289" y="183070"/>
                </a:cubicBezTo>
                <a:cubicBezTo>
                  <a:pt x="2540111" y="184892"/>
                  <a:pt x="2543755" y="184892"/>
                  <a:pt x="2545577" y="184892"/>
                </a:cubicBezTo>
                <a:cubicBezTo>
                  <a:pt x="2536466" y="177603"/>
                  <a:pt x="2541933" y="170315"/>
                  <a:pt x="2543755" y="163026"/>
                </a:cubicBezTo>
                <a:lnTo>
                  <a:pt x="2552945" y="167060"/>
                </a:lnTo>
                <a:lnTo>
                  <a:pt x="2553112" y="167148"/>
                </a:lnTo>
                <a:lnTo>
                  <a:pt x="2558332" y="173959"/>
                </a:lnTo>
                <a:cubicBezTo>
                  <a:pt x="2556510" y="177603"/>
                  <a:pt x="2552866" y="177603"/>
                  <a:pt x="2551044" y="179426"/>
                </a:cubicBezTo>
                <a:cubicBezTo>
                  <a:pt x="2551044" y="177603"/>
                  <a:pt x="2551044" y="175781"/>
                  <a:pt x="2549222" y="173959"/>
                </a:cubicBezTo>
                <a:cubicBezTo>
                  <a:pt x="2545577" y="184892"/>
                  <a:pt x="2558332" y="197647"/>
                  <a:pt x="2547400" y="208580"/>
                </a:cubicBezTo>
                <a:cubicBezTo>
                  <a:pt x="2545577" y="210403"/>
                  <a:pt x="2547400" y="203114"/>
                  <a:pt x="2545577" y="204936"/>
                </a:cubicBezTo>
                <a:cubicBezTo>
                  <a:pt x="2543755" y="206758"/>
                  <a:pt x="2543755" y="212225"/>
                  <a:pt x="2541933" y="214047"/>
                </a:cubicBezTo>
                <a:cubicBezTo>
                  <a:pt x="2543755" y="215869"/>
                  <a:pt x="2547400" y="214047"/>
                  <a:pt x="2549222" y="215869"/>
                </a:cubicBezTo>
                <a:cubicBezTo>
                  <a:pt x="2549222" y="219513"/>
                  <a:pt x="2543755" y="217691"/>
                  <a:pt x="2540111" y="219513"/>
                </a:cubicBezTo>
                <a:lnTo>
                  <a:pt x="2545577" y="221336"/>
                </a:lnTo>
                <a:lnTo>
                  <a:pt x="2536466" y="241379"/>
                </a:lnTo>
                <a:lnTo>
                  <a:pt x="2507312" y="234091"/>
                </a:lnTo>
                <a:lnTo>
                  <a:pt x="2523711" y="214047"/>
                </a:lnTo>
                <a:lnTo>
                  <a:pt x="2532822" y="217691"/>
                </a:lnTo>
                <a:cubicBezTo>
                  <a:pt x="2529178" y="212225"/>
                  <a:pt x="2520067" y="208580"/>
                  <a:pt x="2512778" y="210403"/>
                </a:cubicBezTo>
                <a:cubicBezTo>
                  <a:pt x="2509134" y="212225"/>
                  <a:pt x="2512778" y="217691"/>
                  <a:pt x="2507312" y="219513"/>
                </a:cubicBezTo>
                <a:cubicBezTo>
                  <a:pt x="2509134" y="217691"/>
                  <a:pt x="2509134" y="215869"/>
                  <a:pt x="2509134" y="212225"/>
                </a:cubicBezTo>
                <a:cubicBezTo>
                  <a:pt x="2507312" y="208580"/>
                  <a:pt x="2503667" y="214047"/>
                  <a:pt x="2503667" y="210403"/>
                </a:cubicBezTo>
                <a:lnTo>
                  <a:pt x="2500023" y="214046"/>
                </a:lnTo>
                <a:lnTo>
                  <a:pt x="2503667" y="206758"/>
                </a:lnTo>
                <a:cubicBezTo>
                  <a:pt x="2500934" y="205847"/>
                  <a:pt x="2500479" y="207213"/>
                  <a:pt x="2500479" y="209036"/>
                </a:cubicBezTo>
                <a:lnTo>
                  <a:pt x="2500023" y="214046"/>
                </a:lnTo>
                <a:lnTo>
                  <a:pt x="2500023" y="214047"/>
                </a:lnTo>
                <a:lnTo>
                  <a:pt x="2492507" y="221563"/>
                </a:lnTo>
                <a:cubicBezTo>
                  <a:pt x="2491368" y="227257"/>
                  <a:pt x="2491823" y="234090"/>
                  <a:pt x="2490912" y="239557"/>
                </a:cubicBezTo>
                <a:cubicBezTo>
                  <a:pt x="2489090" y="239557"/>
                  <a:pt x="2487268" y="235913"/>
                  <a:pt x="2485446" y="237735"/>
                </a:cubicBezTo>
                <a:cubicBezTo>
                  <a:pt x="2490912" y="232269"/>
                  <a:pt x="2479979" y="228624"/>
                  <a:pt x="2478157" y="226802"/>
                </a:cubicBezTo>
                <a:cubicBezTo>
                  <a:pt x="2478157" y="228624"/>
                  <a:pt x="2474513" y="232269"/>
                  <a:pt x="2476335" y="234091"/>
                </a:cubicBezTo>
                <a:cubicBezTo>
                  <a:pt x="2478157" y="237735"/>
                  <a:pt x="2481801" y="239557"/>
                  <a:pt x="2485446" y="239557"/>
                </a:cubicBezTo>
                <a:cubicBezTo>
                  <a:pt x="2481801" y="243202"/>
                  <a:pt x="2483624" y="248668"/>
                  <a:pt x="2483624" y="254135"/>
                </a:cubicBezTo>
                <a:cubicBezTo>
                  <a:pt x="2483624" y="259601"/>
                  <a:pt x="2487268" y="263246"/>
                  <a:pt x="2489090" y="268712"/>
                </a:cubicBezTo>
                <a:lnTo>
                  <a:pt x="2494556" y="268712"/>
                </a:lnTo>
                <a:lnTo>
                  <a:pt x="2494556" y="290578"/>
                </a:lnTo>
                <a:cubicBezTo>
                  <a:pt x="2520067" y="296045"/>
                  <a:pt x="2547400" y="286934"/>
                  <a:pt x="2561977" y="263246"/>
                </a:cubicBezTo>
                <a:lnTo>
                  <a:pt x="2567760" y="264692"/>
                </a:lnTo>
                <a:lnTo>
                  <a:pt x="2563344" y="271445"/>
                </a:lnTo>
                <a:cubicBezTo>
                  <a:pt x="2558788" y="274178"/>
                  <a:pt x="2554688" y="276912"/>
                  <a:pt x="2558332" y="283289"/>
                </a:cubicBezTo>
                <a:cubicBezTo>
                  <a:pt x="2560155" y="285112"/>
                  <a:pt x="2565621" y="281467"/>
                  <a:pt x="2569266" y="283289"/>
                </a:cubicBezTo>
                <a:cubicBezTo>
                  <a:pt x="2571088" y="285112"/>
                  <a:pt x="2571088" y="285112"/>
                  <a:pt x="2571088" y="286934"/>
                </a:cubicBezTo>
                <a:cubicBezTo>
                  <a:pt x="2569266" y="286934"/>
                  <a:pt x="2569266" y="283289"/>
                  <a:pt x="2567443" y="285112"/>
                </a:cubicBezTo>
                <a:cubicBezTo>
                  <a:pt x="2565621" y="288756"/>
                  <a:pt x="2567443" y="292400"/>
                  <a:pt x="2565621" y="296045"/>
                </a:cubicBezTo>
                <a:cubicBezTo>
                  <a:pt x="2583843" y="290578"/>
                  <a:pt x="2603887" y="279645"/>
                  <a:pt x="2607531" y="259601"/>
                </a:cubicBezTo>
                <a:cubicBezTo>
                  <a:pt x="2605709" y="259601"/>
                  <a:pt x="2605709" y="259601"/>
                  <a:pt x="2603887" y="259601"/>
                </a:cubicBezTo>
                <a:cubicBezTo>
                  <a:pt x="2607531" y="255957"/>
                  <a:pt x="2611176" y="250490"/>
                  <a:pt x="2611176" y="245024"/>
                </a:cubicBezTo>
                <a:cubicBezTo>
                  <a:pt x="2605709" y="243202"/>
                  <a:pt x="2600243" y="243202"/>
                  <a:pt x="2596598" y="239557"/>
                </a:cubicBezTo>
                <a:cubicBezTo>
                  <a:pt x="2589310" y="239557"/>
                  <a:pt x="2582021" y="239557"/>
                  <a:pt x="2578377" y="245024"/>
                </a:cubicBezTo>
                <a:cubicBezTo>
                  <a:pt x="2574732" y="239557"/>
                  <a:pt x="2574732" y="232269"/>
                  <a:pt x="2582021" y="232269"/>
                </a:cubicBezTo>
                <a:cubicBezTo>
                  <a:pt x="2582021" y="232269"/>
                  <a:pt x="2582021" y="234091"/>
                  <a:pt x="2580199" y="234091"/>
                </a:cubicBezTo>
                <a:cubicBezTo>
                  <a:pt x="2585665" y="234091"/>
                  <a:pt x="2589310" y="232269"/>
                  <a:pt x="2594776" y="232269"/>
                </a:cubicBezTo>
                <a:cubicBezTo>
                  <a:pt x="2592954" y="232269"/>
                  <a:pt x="2591132" y="234091"/>
                  <a:pt x="2591132" y="235913"/>
                </a:cubicBezTo>
                <a:cubicBezTo>
                  <a:pt x="2592954" y="234091"/>
                  <a:pt x="2594776" y="234091"/>
                  <a:pt x="2594776" y="234091"/>
                </a:cubicBezTo>
                <a:cubicBezTo>
                  <a:pt x="2594776" y="234091"/>
                  <a:pt x="2594776" y="234091"/>
                  <a:pt x="2594776" y="232269"/>
                </a:cubicBezTo>
                <a:cubicBezTo>
                  <a:pt x="2594776" y="230446"/>
                  <a:pt x="2594776" y="230446"/>
                  <a:pt x="2594776" y="230446"/>
                </a:cubicBezTo>
                <a:cubicBezTo>
                  <a:pt x="2594776" y="223158"/>
                  <a:pt x="2600243" y="217691"/>
                  <a:pt x="2605709" y="214047"/>
                </a:cubicBezTo>
                <a:cubicBezTo>
                  <a:pt x="2600243" y="202203"/>
                  <a:pt x="2592043" y="191270"/>
                  <a:pt x="2581338" y="182159"/>
                </a:cubicBezTo>
                <a:lnTo>
                  <a:pt x="2553112" y="167148"/>
                </a:lnTo>
                <a:lnTo>
                  <a:pt x="2553094" y="167125"/>
                </a:lnTo>
                <a:lnTo>
                  <a:pt x="2552945" y="167060"/>
                </a:lnTo>
                <a:lnTo>
                  <a:pt x="2541933" y="161204"/>
                </a:lnTo>
                <a:cubicBezTo>
                  <a:pt x="2541933" y="161204"/>
                  <a:pt x="2541933" y="155737"/>
                  <a:pt x="2540111" y="153915"/>
                </a:cubicBezTo>
                <a:cubicBezTo>
                  <a:pt x="2529178" y="148449"/>
                  <a:pt x="2534644" y="163026"/>
                  <a:pt x="2527356" y="164848"/>
                </a:cubicBezTo>
                <a:cubicBezTo>
                  <a:pt x="2525534" y="157559"/>
                  <a:pt x="2534644" y="152093"/>
                  <a:pt x="2532822" y="146626"/>
                </a:cubicBezTo>
                <a:lnTo>
                  <a:pt x="2525051" y="138513"/>
                </a:lnTo>
                <a:lnTo>
                  <a:pt x="2538289" y="141160"/>
                </a:lnTo>
                <a:cubicBezTo>
                  <a:pt x="2538289" y="133871"/>
                  <a:pt x="2545577" y="133871"/>
                  <a:pt x="2541933" y="128405"/>
                </a:cubicBezTo>
                <a:cubicBezTo>
                  <a:pt x="2538289" y="128405"/>
                  <a:pt x="2540111" y="133871"/>
                  <a:pt x="2536466" y="133871"/>
                </a:cubicBezTo>
                <a:cubicBezTo>
                  <a:pt x="2532822" y="132049"/>
                  <a:pt x="2538289" y="130227"/>
                  <a:pt x="2536466" y="126583"/>
                </a:cubicBezTo>
                <a:close/>
                <a:moveTo>
                  <a:pt x="2334205" y="126583"/>
                </a:moveTo>
                <a:cubicBezTo>
                  <a:pt x="2337850" y="137516"/>
                  <a:pt x="2328739" y="133871"/>
                  <a:pt x="2321450" y="141160"/>
                </a:cubicBezTo>
                <a:cubicBezTo>
                  <a:pt x="2328739" y="139338"/>
                  <a:pt x="2336027" y="142982"/>
                  <a:pt x="2343316" y="141160"/>
                </a:cubicBezTo>
                <a:cubicBezTo>
                  <a:pt x="2346960" y="133871"/>
                  <a:pt x="2334205" y="133871"/>
                  <a:pt x="2334205" y="126583"/>
                </a:cubicBezTo>
                <a:close/>
                <a:moveTo>
                  <a:pt x="2277718" y="126583"/>
                </a:moveTo>
                <a:cubicBezTo>
                  <a:pt x="2270429" y="126583"/>
                  <a:pt x="2275896" y="132049"/>
                  <a:pt x="2277718" y="135693"/>
                </a:cubicBezTo>
                <a:cubicBezTo>
                  <a:pt x="2279540" y="133871"/>
                  <a:pt x="2281362" y="128405"/>
                  <a:pt x="2277718" y="126583"/>
                </a:cubicBezTo>
                <a:close/>
                <a:moveTo>
                  <a:pt x="2753860" y="125315"/>
                </a:moveTo>
                <a:lnTo>
                  <a:pt x="2756950" y="128405"/>
                </a:lnTo>
                <a:cubicBezTo>
                  <a:pt x="2755128" y="126582"/>
                  <a:pt x="2754217" y="127493"/>
                  <a:pt x="2753078" y="128632"/>
                </a:cubicBezTo>
                <a:lnTo>
                  <a:pt x="2752250" y="128884"/>
                </a:lnTo>
                <a:lnTo>
                  <a:pt x="2751483" y="126583"/>
                </a:lnTo>
                <a:close/>
                <a:moveTo>
                  <a:pt x="2356071" y="124760"/>
                </a:moveTo>
                <a:cubicBezTo>
                  <a:pt x="2356071" y="130227"/>
                  <a:pt x="2357893" y="132049"/>
                  <a:pt x="2359716" y="133871"/>
                </a:cubicBezTo>
                <a:cubicBezTo>
                  <a:pt x="2363360" y="132049"/>
                  <a:pt x="2363360" y="130227"/>
                  <a:pt x="2368827" y="130227"/>
                </a:cubicBezTo>
                <a:cubicBezTo>
                  <a:pt x="2368827" y="124760"/>
                  <a:pt x="2365182" y="122938"/>
                  <a:pt x="2356071" y="124760"/>
                </a:cubicBezTo>
                <a:close/>
                <a:moveTo>
                  <a:pt x="2285007" y="124760"/>
                </a:moveTo>
                <a:cubicBezTo>
                  <a:pt x="2279540" y="128405"/>
                  <a:pt x="2285007" y="133871"/>
                  <a:pt x="2286829" y="135693"/>
                </a:cubicBezTo>
                <a:cubicBezTo>
                  <a:pt x="2290473" y="132049"/>
                  <a:pt x="2283184" y="130227"/>
                  <a:pt x="2285007" y="124760"/>
                </a:cubicBezTo>
                <a:close/>
                <a:moveTo>
                  <a:pt x="2423492" y="122938"/>
                </a:moveTo>
                <a:cubicBezTo>
                  <a:pt x="2416203" y="121116"/>
                  <a:pt x="2414381" y="126583"/>
                  <a:pt x="2416203" y="132049"/>
                </a:cubicBezTo>
                <a:cubicBezTo>
                  <a:pt x="2423492" y="128405"/>
                  <a:pt x="2423492" y="135693"/>
                  <a:pt x="2427136" y="133871"/>
                </a:cubicBezTo>
                <a:cubicBezTo>
                  <a:pt x="2418025" y="139338"/>
                  <a:pt x="2408914" y="128405"/>
                  <a:pt x="2399803" y="126583"/>
                </a:cubicBezTo>
                <a:cubicBezTo>
                  <a:pt x="2401626" y="132049"/>
                  <a:pt x="2392515" y="135693"/>
                  <a:pt x="2394337" y="141160"/>
                </a:cubicBezTo>
                <a:cubicBezTo>
                  <a:pt x="2388871" y="139338"/>
                  <a:pt x="2394337" y="130227"/>
                  <a:pt x="2390693" y="130227"/>
                </a:cubicBezTo>
                <a:cubicBezTo>
                  <a:pt x="2377937" y="126583"/>
                  <a:pt x="2367004" y="128405"/>
                  <a:pt x="2365182" y="141160"/>
                </a:cubicBezTo>
                <a:cubicBezTo>
                  <a:pt x="2365182" y="139338"/>
                  <a:pt x="2367004" y="133871"/>
                  <a:pt x="2363360" y="135693"/>
                </a:cubicBezTo>
                <a:cubicBezTo>
                  <a:pt x="2356071" y="137516"/>
                  <a:pt x="2365182" y="144804"/>
                  <a:pt x="2361538" y="148449"/>
                </a:cubicBezTo>
                <a:cubicBezTo>
                  <a:pt x="2359716" y="144804"/>
                  <a:pt x="2357893" y="142982"/>
                  <a:pt x="2357893" y="139338"/>
                </a:cubicBezTo>
                <a:cubicBezTo>
                  <a:pt x="2352427" y="142982"/>
                  <a:pt x="2345138" y="148449"/>
                  <a:pt x="2341494" y="153915"/>
                </a:cubicBezTo>
                <a:cubicBezTo>
                  <a:pt x="2341494" y="150271"/>
                  <a:pt x="2343316" y="144804"/>
                  <a:pt x="2339672" y="142982"/>
                </a:cubicBezTo>
                <a:cubicBezTo>
                  <a:pt x="2332383" y="142982"/>
                  <a:pt x="2328739" y="146626"/>
                  <a:pt x="2321450" y="144804"/>
                </a:cubicBezTo>
                <a:cubicBezTo>
                  <a:pt x="2321450" y="144804"/>
                  <a:pt x="2312339" y="144804"/>
                  <a:pt x="2312339" y="153915"/>
                </a:cubicBezTo>
                <a:lnTo>
                  <a:pt x="2309689" y="152921"/>
                </a:lnTo>
                <a:lnTo>
                  <a:pt x="2314161" y="148449"/>
                </a:lnTo>
                <a:cubicBezTo>
                  <a:pt x="2301406" y="144804"/>
                  <a:pt x="2301406" y="157559"/>
                  <a:pt x="2297762" y="164848"/>
                </a:cubicBezTo>
                <a:lnTo>
                  <a:pt x="2302621" y="159989"/>
                </a:lnTo>
                <a:lnTo>
                  <a:pt x="2301406" y="163026"/>
                </a:lnTo>
                <a:cubicBezTo>
                  <a:pt x="2303228" y="170315"/>
                  <a:pt x="2310517" y="177603"/>
                  <a:pt x="2314161" y="177603"/>
                </a:cubicBezTo>
                <a:cubicBezTo>
                  <a:pt x="2325094" y="177603"/>
                  <a:pt x="2339672" y="175781"/>
                  <a:pt x="2345138" y="163026"/>
                </a:cubicBezTo>
                <a:cubicBezTo>
                  <a:pt x="2348782" y="168493"/>
                  <a:pt x="2336027" y="173959"/>
                  <a:pt x="2339672" y="173959"/>
                </a:cubicBezTo>
                <a:lnTo>
                  <a:pt x="2342512" y="174364"/>
                </a:lnTo>
                <a:lnTo>
                  <a:pt x="2336027" y="175781"/>
                </a:lnTo>
                <a:cubicBezTo>
                  <a:pt x="2334205" y="177603"/>
                  <a:pt x="2334205" y="181248"/>
                  <a:pt x="2332383" y="183070"/>
                </a:cubicBezTo>
                <a:cubicBezTo>
                  <a:pt x="2330561" y="181248"/>
                  <a:pt x="2332383" y="177603"/>
                  <a:pt x="2334205" y="175781"/>
                </a:cubicBezTo>
                <a:cubicBezTo>
                  <a:pt x="2328739" y="179426"/>
                  <a:pt x="2319628" y="179426"/>
                  <a:pt x="2314161" y="186714"/>
                </a:cubicBezTo>
                <a:cubicBezTo>
                  <a:pt x="2314161" y="186714"/>
                  <a:pt x="2315983" y="186714"/>
                  <a:pt x="2315983" y="184892"/>
                </a:cubicBezTo>
                <a:cubicBezTo>
                  <a:pt x="2306873" y="181248"/>
                  <a:pt x="2290473" y="188536"/>
                  <a:pt x="2285007" y="173959"/>
                </a:cubicBezTo>
                <a:cubicBezTo>
                  <a:pt x="2283184" y="173959"/>
                  <a:pt x="2283184" y="179426"/>
                  <a:pt x="2281362" y="177603"/>
                </a:cubicBezTo>
                <a:cubicBezTo>
                  <a:pt x="2277718" y="173959"/>
                  <a:pt x="2277718" y="170315"/>
                  <a:pt x="2274074" y="172137"/>
                </a:cubicBezTo>
                <a:cubicBezTo>
                  <a:pt x="2274074" y="173959"/>
                  <a:pt x="2275896" y="173959"/>
                  <a:pt x="2275896" y="175781"/>
                </a:cubicBezTo>
                <a:lnTo>
                  <a:pt x="2268078" y="170060"/>
                </a:lnTo>
                <a:lnTo>
                  <a:pt x="2276124" y="169403"/>
                </a:lnTo>
                <a:cubicBezTo>
                  <a:pt x="2279085" y="168948"/>
                  <a:pt x="2280451" y="167581"/>
                  <a:pt x="2277718" y="163026"/>
                </a:cubicBezTo>
                <a:cubicBezTo>
                  <a:pt x="2272251" y="166670"/>
                  <a:pt x="2270429" y="161204"/>
                  <a:pt x="2268607" y="159382"/>
                </a:cubicBezTo>
                <a:lnTo>
                  <a:pt x="2265368" y="169100"/>
                </a:lnTo>
                <a:lnTo>
                  <a:pt x="2255852" y="170315"/>
                </a:lnTo>
                <a:cubicBezTo>
                  <a:pt x="2254030" y="172137"/>
                  <a:pt x="2255852" y="175781"/>
                  <a:pt x="2257674" y="177603"/>
                </a:cubicBezTo>
                <a:cubicBezTo>
                  <a:pt x="2256763" y="176692"/>
                  <a:pt x="2254941" y="174870"/>
                  <a:pt x="2253574" y="172820"/>
                </a:cubicBezTo>
                <a:lnTo>
                  <a:pt x="2252223" y="166738"/>
                </a:lnTo>
                <a:lnTo>
                  <a:pt x="2252301" y="166679"/>
                </a:lnTo>
                <a:lnTo>
                  <a:pt x="2259269" y="167353"/>
                </a:lnTo>
                <a:cubicBezTo>
                  <a:pt x="2261774" y="167581"/>
                  <a:pt x="2264052" y="167581"/>
                  <a:pt x="2264963" y="166670"/>
                </a:cubicBezTo>
                <a:cubicBezTo>
                  <a:pt x="2264963" y="164848"/>
                  <a:pt x="2261318" y="161204"/>
                  <a:pt x="2259496" y="161204"/>
                </a:cubicBezTo>
                <a:lnTo>
                  <a:pt x="2252301" y="166679"/>
                </a:lnTo>
                <a:lnTo>
                  <a:pt x="2252207" y="166670"/>
                </a:lnTo>
                <a:lnTo>
                  <a:pt x="2252223" y="166738"/>
                </a:lnTo>
                <a:lnTo>
                  <a:pt x="2249019" y="169175"/>
                </a:lnTo>
                <a:cubicBezTo>
                  <a:pt x="2248108" y="173048"/>
                  <a:pt x="2249474" y="177603"/>
                  <a:pt x="2252207" y="181248"/>
                </a:cubicBezTo>
                <a:cubicBezTo>
                  <a:pt x="2243096" y="177603"/>
                  <a:pt x="2235808" y="186714"/>
                  <a:pt x="2230341" y="181248"/>
                </a:cubicBezTo>
                <a:cubicBezTo>
                  <a:pt x="2228519" y="179426"/>
                  <a:pt x="2230341" y="173959"/>
                  <a:pt x="2228519" y="172137"/>
                </a:cubicBezTo>
                <a:cubicBezTo>
                  <a:pt x="2226697" y="172137"/>
                  <a:pt x="2224875" y="172137"/>
                  <a:pt x="2223053" y="172137"/>
                </a:cubicBezTo>
                <a:cubicBezTo>
                  <a:pt x="2224875" y="177603"/>
                  <a:pt x="2232163" y="183070"/>
                  <a:pt x="2228519" y="188536"/>
                </a:cubicBezTo>
                <a:cubicBezTo>
                  <a:pt x="2226697" y="184892"/>
                  <a:pt x="2219408" y="186714"/>
                  <a:pt x="2219408" y="181248"/>
                </a:cubicBezTo>
                <a:cubicBezTo>
                  <a:pt x="2213942" y="184892"/>
                  <a:pt x="2213942" y="190359"/>
                  <a:pt x="2217586" y="194003"/>
                </a:cubicBezTo>
                <a:cubicBezTo>
                  <a:pt x="2221230" y="197647"/>
                  <a:pt x="2239452" y="201292"/>
                  <a:pt x="2237630" y="192181"/>
                </a:cubicBezTo>
                <a:cubicBezTo>
                  <a:pt x="2241274" y="192181"/>
                  <a:pt x="2243096" y="194003"/>
                  <a:pt x="2243096" y="195825"/>
                </a:cubicBezTo>
                <a:cubicBezTo>
                  <a:pt x="2244919" y="194003"/>
                  <a:pt x="2244919" y="192181"/>
                  <a:pt x="2244919" y="190359"/>
                </a:cubicBezTo>
                <a:cubicBezTo>
                  <a:pt x="2254030" y="195825"/>
                  <a:pt x="2255852" y="183070"/>
                  <a:pt x="2261318" y="179426"/>
                </a:cubicBezTo>
                <a:cubicBezTo>
                  <a:pt x="2261318" y="179426"/>
                  <a:pt x="2257674" y="183070"/>
                  <a:pt x="2263140" y="183070"/>
                </a:cubicBezTo>
                <a:cubicBezTo>
                  <a:pt x="2259496" y="188536"/>
                  <a:pt x="2246741" y="194003"/>
                  <a:pt x="2250385" y="201292"/>
                </a:cubicBezTo>
                <a:cubicBezTo>
                  <a:pt x="2250385" y="201292"/>
                  <a:pt x="2252207" y="201292"/>
                  <a:pt x="2252207" y="199469"/>
                </a:cubicBezTo>
                <a:cubicBezTo>
                  <a:pt x="2255852" y="204936"/>
                  <a:pt x="2246741" y="208580"/>
                  <a:pt x="2248563" y="214047"/>
                </a:cubicBezTo>
                <a:cubicBezTo>
                  <a:pt x="2244919" y="212225"/>
                  <a:pt x="2250385" y="204936"/>
                  <a:pt x="2243096" y="206758"/>
                </a:cubicBezTo>
                <a:cubicBezTo>
                  <a:pt x="2243096" y="208580"/>
                  <a:pt x="2244919" y="208580"/>
                  <a:pt x="2244919" y="210403"/>
                </a:cubicBezTo>
                <a:cubicBezTo>
                  <a:pt x="2235808" y="206758"/>
                  <a:pt x="2219408" y="192181"/>
                  <a:pt x="2215764" y="206758"/>
                </a:cubicBezTo>
                <a:cubicBezTo>
                  <a:pt x="2213942" y="208580"/>
                  <a:pt x="2215764" y="212225"/>
                  <a:pt x="2219408" y="214047"/>
                </a:cubicBezTo>
                <a:cubicBezTo>
                  <a:pt x="2210297" y="223158"/>
                  <a:pt x="2221230" y="235913"/>
                  <a:pt x="2217586" y="243202"/>
                </a:cubicBezTo>
                <a:cubicBezTo>
                  <a:pt x="2215764" y="246846"/>
                  <a:pt x="2219408" y="234091"/>
                  <a:pt x="2219408" y="230446"/>
                </a:cubicBezTo>
                <a:cubicBezTo>
                  <a:pt x="2215764" y="234091"/>
                  <a:pt x="2221230" y="239557"/>
                  <a:pt x="2219408" y="245024"/>
                </a:cubicBezTo>
                <a:cubicBezTo>
                  <a:pt x="2233986" y="246846"/>
                  <a:pt x="2235808" y="228624"/>
                  <a:pt x="2250385" y="224980"/>
                </a:cubicBezTo>
                <a:cubicBezTo>
                  <a:pt x="2243096" y="228624"/>
                  <a:pt x="2237630" y="235913"/>
                  <a:pt x="2241274" y="243202"/>
                </a:cubicBezTo>
                <a:cubicBezTo>
                  <a:pt x="2241274" y="241379"/>
                  <a:pt x="2241274" y="237735"/>
                  <a:pt x="2243096" y="237735"/>
                </a:cubicBezTo>
                <a:cubicBezTo>
                  <a:pt x="2246741" y="237735"/>
                  <a:pt x="2250385" y="243202"/>
                  <a:pt x="2252207" y="245024"/>
                </a:cubicBezTo>
                <a:cubicBezTo>
                  <a:pt x="2252207" y="241379"/>
                  <a:pt x="2250385" y="237735"/>
                  <a:pt x="2254030" y="235913"/>
                </a:cubicBezTo>
                <a:cubicBezTo>
                  <a:pt x="2259496" y="248668"/>
                  <a:pt x="2277718" y="239557"/>
                  <a:pt x="2288651" y="239557"/>
                </a:cubicBezTo>
                <a:cubicBezTo>
                  <a:pt x="2288651" y="237735"/>
                  <a:pt x="2288651" y="234091"/>
                  <a:pt x="2286829" y="232269"/>
                </a:cubicBezTo>
                <a:cubicBezTo>
                  <a:pt x="2283184" y="237735"/>
                  <a:pt x="2279540" y="235913"/>
                  <a:pt x="2275896" y="239557"/>
                </a:cubicBezTo>
                <a:cubicBezTo>
                  <a:pt x="2281363" y="235913"/>
                  <a:pt x="2283185" y="228624"/>
                  <a:pt x="2285462" y="222474"/>
                </a:cubicBezTo>
                <a:lnTo>
                  <a:pt x="2289488" y="219120"/>
                </a:lnTo>
                <a:lnTo>
                  <a:pt x="2292751" y="231813"/>
                </a:lnTo>
                <a:cubicBezTo>
                  <a:pt x="2295940" y="236824"/>
                  <a:pt x="2300495" y="241379"/>
                  <a:pt x="2305050" y="245024"/>
                </a:cubicBezTo>
                <a:cubicBezTo>
                  <a:pt x="2305050" y="241379"/>
                  <a:pt x="2303228" y="232269"/>
                  <a:pt x="2310517" y="230446"/>
                </a:cubicBezTo>
                <a:cubicBezTo>
                  <a:pt x="2319628" y="230446"/>
                  <a:pt x="2328739" y="239557"/>
                  <a:pt x="2336027" y="232269"/>
                </a:cubicBezTo>
                <a:cubicBezTo>
                  <a:pt x="2336027" y="235913"/>
                  <a:pt x="2334205" y="237735"/>
                  <a:pt x="2337850" y="237735"/>
                </a:cubicBezTo>
                <a:cubicBezTo>
                  <a:pt x="2332383" y="228624"/>
                  <a:pt x="2343316" y="223158"/>
                  <a:pt x="2343316" y="214047"/>
                </a:cubicBezTo>
                <a:cubicBezTo>
                  <a:pt x="2345138" y="215869"/>
                  <a:pt x="2346960" y="215869"/>
                  <a:pt x="2350605" y="215869"/>
                </a:cubicBezTo>
                <a:cubicBezTo>
                  <a:pt x="2356071" y="215869"/>
                  <a:pt x="2352427" y="223158"/>
                  <a:pt x="2350605" y="226802"/>
                </a:cubicBezTo>
                <a:cubicBezTo>
                  <a:pt x="2356071" y="226802"/>
                  <a:pt x="2361538" y="223158"/>
                  <a:pt x="2357893" y="217691"/>
                </a:cubicBezTo>
                <a:cubicBezTo>
                  <a:pt x="2363360" y="217691"/>
                  <a:pt x="2365182" y="206758"/>
                  <a:pt x="2368827" y="215869"/>
                </a:cubicBezTo>
                <a:cubicBezTo>
                  <a:pt x="2371560" y="214047"/>
                  <a:pt x="2373838" y="211769"/>
                  <a:pt x="2374976" y="209035"/>
                </a:cubicBezTo>
                <a:lnTo>
                  <a:pt x="2374320" y="199849"/>
                </a:lnTo>
                <a:lnTo>
                  <a:pt x="2379760" y="203114"/>
                </a:lnTo>
                <a:cubicBezTo>
                  <a:pt x="2379760" y="194003"/>
                  <a:pt x="2387048" y="190359"/>
                  <a:pt x="2392515" y="183070"/>
                </a:cubicBezTo>
                <a:cubicBezTo>
                  <a:pt x="2394337" y="190359"/>
                  <a:pt x="2381582" y="192181"/>
                  <a:pt x="2385226" y="199469"/>
                </a:cubicBezTo>
                <a:cubicBezTo>
                  <a:pt x="2396159" y="192181"/>
                  <a:pt x="2405270" y="183070"/>
                  <a:pt x="2416203" y="175781"/>
                </a:cubicBezTo>
                <a:cubicBezTo>
                  <a:pt x="2412559" y="175781"/>
                  <a:pt x="2408914" y="175781"/>
                  <a:pt x="2405270" y="177603"/>
                </a:cubicBezTo>
                <a:cubicBezTo>
                  <a:pt x="2405270" y="175781"/>
                  <a:pt x="2407092" y="173959"/>
                  <a:pt x="2407092" y="172137"/>
                </a:cubicBezTo>
                <a:cubicBezTo>
                  <a:pt x="2427136" y="173959"/>
                  <a:pt x="2456291" y="164848"/>
                  <a:pt x="2450824" y="150271"/>
                </a:cubicBezTo>
                <a:cubicBezTo>
                  <a:pt x="2447180" y="142982"/>
                  <a:pt x="2432603" y="159382"/>
                  <a:pt x="2418025" y="159382"/>
                </a:cubicBezTo>
                <a:cubicBezTo>
                  <a:pt x="2428958" y="150271"/>
                  <a:pt x="2445358" y="150271"/>
                  <a:pt x="2452647" y="141160"/>
                </a:cubicBezTo>
                <a:cubicBezTo>
                  <a:pt x="2456291" y="137516"/>
                  <a:pt x="2458113" y="128405"/>
                  <a:pt x="2450824" y="124760"/>
                </a:cubicBezTo>
                <a:cubicBezTo>
                  <a:pt x="2449002" y="130227"/>
                  <a:pt x="2443536" y="135693"/>
                  <a:pt x="2445358" y="141160"/>
                </a:cubicBezTo>
                <a:cubicBezTo>
                  <a:pt x="2441713" y="141160"/>
                  <a:pt x="2443536" y="133871"/>
                  <a:pt x="2438069" y="135693"/>
                </a:cubicBezTo>
                <a:cubicBezTo>
                  <a:pt x="2439891" y="137516"/>
                  <a:pt x="2439891" y="139338"/>
                  <a:pt x="2438069" y="141160"/>
                </a:cubicBezTo>
                <a:cubicBezTo>
                  <a:pt x="2434425" y="137516"/>
                  <a:pt x="2439891" y="130227"/>
                  <a:pt x="2436247" y="128405"/>
                </a:cubicBezTo>
                <a:cubicBezTo>
                  <a:pt x="2434425" y="126583"/>
                  <a:pt x="2428958" y="132049"/>
                  <a:pt x="2425314" y="130227"/>
                </a:cubicBezTo>
                <a:cubicBezTo>
                  <a:pt x="2423492" y="128405"/>
                  <a:pt x="2427136" y="124760"/>
                  <a:pt x="2423492" y="122938"/>
                </a:cubicBezTo>
                <a:close/>
                <a:moveTo>
                  <a:pt x="2233986" y="122938"/>
                </a:moveTo>
                <a:cubicBezTo>
                  <a:pt x="2232163" y="126583"/>
                  <a:pt x="2233986" y="130227"/>
                  <a:pt x="2226697" y="130227"/>
                </a:cubicBezTo>
                <a:cubicBezTo>
                  <a:pt x="2226697" y="133871"/>
                  <a:pt x="2228519" y="135693"/>
                  <a:pt x="2228519" y="141160"/>
                </a:cubicBezTo>
                <a:cubicBezTo>
                  <a:pt x="2223053" y="142982"/>
                  <a:pt x="2226697" y="137516"/>
                  <a:pt x="2223053" y="137516"/>
                </a:cubicBezTo>
                <a:cubicBezTo>
                  <a:pt x="2223053" y="141160"/>
                  <a:pt x="2226697" y="141160"/>
                  <a:pt x="2224875" y="144804"/>
                </a:cubicBezTo>
                <a:cubicBezTo>
                  <a:pt x="2224875" y="146626"/>
                  <a:pt x="2228519" y="139338"/>
                  <a:pt x="2232163" y="139338"/>
                </a:cubicBezTo>
                <a:cubicBezTo>
                  <a:pt x="2226697" y="135693"/>
                  <a:pt x="2230341" y="132049"/>
                  <a:pt x="2235808" y="130227"/>
                </a:cubicBezTo>
                <a:cubicBezTo>
                  <a:pt x="2237630" y="126583"/>
                  <a:pt x="2233986" y="126583"/>
                  <a:pt x="2233986" y="122938"/>
                </a:cubicBezTo>
                <a:close/>
                <a:moveTo>
                  <a:pt x="2130122" y="122938"/>
                </a:moveTo>
                <a:cubicBezTo>
                  <a:pt x="2126477" y="122938"/>
                  <a:pt x="2128300" y="124760"/>
                  <a:pt x="2128300" y="128405"/>
                </a:cubicBezTo>
                <a:cubicBezTo>
                  <a:pt x="2131944" y="130227"/>
                  <a:pt x="2131944" y="124760"/>
                  <a:pt x="2130122" y="122938"/>
                </a:cubicBezTo>
                <a:close/>
                <a:moveTo>
                  <a:pt x="2072935" y="122798"/>
                </a:moveTo>
                <a:lnTo>
                  <a:pt x="2073114" y="124239"/>
                </a:lnTo>
                <a:lnTo>
                  <a:pt x="2072723" y="123849"/>
                </a:lnTo>
                <a:close/>
                <a:moveTo>
                  <a:pt x="2089123" y="120661"/>
                </a:moveTo>
                <a:cubicBezTo>
                  <a:pt x="2088212" y="120661"/>
                  <a:pt x="2087301" y="121116"/>
                  <a:pt x="2086390" y="122938"/>
                </a:cubicBezTo>
                <a:cubicBezTo>
                  <a:pt x="2093679" y="124760"/>
                  <a:pt x="2093679" y="132049"/>
                  <a:pt x="2099145" y="135693"/>
                </a:cubicBezTo>
                <a:cubicBezTo>
                  <a:pt x="2100967" y="132049"/>
                  <a:pt x="2091856" y="126583"/>
                  <a:pt x="2091856" y="121116"/>
                </a:cubicBezTo>
                <a:cubicBezTo>
                  <a:pt x="2090945" y="121116"/>
                  <a:pt x="2090034" y="120661"/>
                  <a:pt x="2089123" y="120661"/>
                </a:cubicBezTo>
                <a:close/>
                <a:moveTo>
                  <a:pt x="2173854" y="119294"/>
                </a:moveTo>
                <a:cubicBezTo>
                  <a:pt x="2173854" y="124760"/>
                  <a:pt x="2177498" y="126583"/>
                  <a:pt x="2179320" y="130227"/>
                </a:cubicBezTo>
                <a:cubicBezTo>
                  <a:pt x="2182965" y="128405"/>
                  <a:pt x="2173854" y="121116"/>
                  <a:pt x="2179320" y="119294"/>
                </a:cubicBezTo>
                <a:cubicBezTo>
                  <a:pt x="2177498" y="119294"/>
                  <a:pt x="2175676" y="119294"/>
                  <a:pt x="2173854" y="119294"/>
                </a:cubicBezTo>
                <a:close/>
                <a:moveTo>
                  <a:pt x="2285007" y="117472"/>
                </a:moveTo>
                <a:cubicBezTo>
                  <a:pt x="2281362" y="117472"/>
                  <a:pt x="2283184" y="121116"/>
                  <a:pt x="2279540" y="121116"/>
                </a:cubicBezTo>
                <a:cubicBezTo>
                  <a:pt x="2279540" y="124760"/>
                  <a:pt x="2283184" y="124760"/>
                  <a:pt x="2286829" y="122938"/>
                </a:cubicBezTo>
                <a:cubicBezTo>
                  <a:pt x="2286829" y="119294"/>
                  <a:pt x="2286829" y="119294"/>
                  <a:pt x="2285007" y="117472"/>
                </a:cubicBezTo>
                <a:close/>
                <a:moveTo>
                  <a:pt x="2270429" y="117472"/>
                </a:moveTo>
                <a:cubicBezTo>
                  <a:pt x="2263140" y="117472"/>
                  <a:pt x="2266785" y="124760"/>
                  <a:pt x="2264963" y="126583"/>
                </a:cubicBezTo>
                <a:cubicBezTo>
                  <a:pt x="2268607" y="128405"/>
                  <a:pt x="2270429" y="122938"/>
                  <a:pt x="2274074" y="124760"/>
                </a:cubicBezTo>
                <a:cubicBezTo>
                  <a:pt x="2275896" y="121116"/>
                  <a:pt x="2272251" y="121116"/>
                  <a:pt x="2270429" y="117472"/>
                </a:cubicBezTo>
                <a:close/>
                <a:moveTo>
                  <a:pt x="2550860" y="116154"/>
                </a:moveTo>
                <a:lnTo>
                  <a:pt x="2550361" y="122482"/>
                </a:lnTo>
                <a:lnTo>
                  <a:pt x="2548002" y="125403"/>
                </a:lnTo>
                <a:lnTo>
                  <a:pt x="2547713" y="124817"/>
                </a:lnTo>
                <a:close/>
                <a:moveTo>
                  <a:pt x="2186609" y="115649"/>
                </a:moveTo>
                <a:cubicBezTo>
                  <a:pt x="2179320" y="115649"/>
                  <a:pt x="2184787" y="122938"/>
                  <a:pt x="2188431" y="124760"/>
                </a:cubicBezTo>
                <a:cubicBezTo>
                  <a:pt x="2190253" y="119294"/>
                  <a:pt x="2186609" y="119294"/>
                  <a:pt x="2186609" y="115649"/>
                </a:cubicBezTo>
                <a:close/>
                <a:moveTo>
                  <a:pt x="2294117" y="113827"/>
                </a:moveTo>
                <a:cubicBezTo>
                  <a:pt x="2295940" y="117472"/>
                  <a:pt x="2295940" y="121116"/>
                  <a:pt x="2299584" y="121116"/>
                </a:cubicBezTo>
                <a:cubicBezTo>
                  <a:pt x="2306873" y="117472"/>
                  <a:pt x="2297762" y="110183"/>
                  <a:pt x="2294117" y="113827"/>
                </a:cubicBezTo>
                <a:close/>
                <a:moveTo>
                  <a:pt x="2259496" y="110183"/>
                </a:moveTo>
                <a:cubicBezTo>
                  <a:pt x="2255852" y="110183"/>
                  <a:pt x="2255852" y="113827"/>
                  <a:pt x="2255852" y="115649"/>
                </a:cubicBezTo>
                <a:cubicBezTo>
                  <a:pt x="2257674" y="115649"/>
                  <a:pt x="2259496" y="115649"/>
                  <a:pt x="2261318" y="115649"/>
                </a:cubicBezTo>
                <a:cubicBezTo>
                  <a:pt x="2261318" y="112005"/>
                  <a:pt x="2259496" y="112005"/>
                  <a:pt x="2259496" y="110183"/>
                </a:cubicBezTo>
                <a:close/>
                <a:moveTo>
                  <a:pt x="2150166" y="110183"/>
                </a:moveTo>
                <a:cubicBezTo>
                  <a:pt x="2148344" y="110183"/>
                  <a:pt x="2146521" y="112005"/>
                  <a:pt x="2146521" y="113827"/>
                </a:cubicBezTo>
                <a:cubicBezTo>
                  <a:pt x="2148344" y="115649"/>
                  <a:pt x="2155632" y="117472"/>
                  <a:pt x="2153810" y="112005"/>
                </a:cubicBezTo>
                <a:cubicBezTo>
                  <a:pt x="2151988" y="112005"/>
                  <a:pt x="2150166" y="112005"/>
                  <a:pt x="2150166" y="110183"/>
                </a:cubicBezTo>
                <a:close/>
                <a:moveTo>
                  <a:pt x="2095500" y="110183"/>
                </a:moveTo>
                <a:cubicBezTo>
                  <a:pt x="2093679" y="113827"/>
                  <a:pt x="2090034" y="115649"/>
                  <a:pt x="2093679" y="117472"/>
                </a:cubicBezTo>
                <a:cubicBezTo>
                  <a:pt x="2095500" y="117472"/>
                  <a:pt x="2099145" y="117472"/>
                  <a:pt x="2099145" y="119294"/>
                </a:cubicBezTo>
                <a:cubicBezTo>
                  <a:pt x="2097323" y="126583"/>
                  <a:pt x="2106433" y="130227"/>
                  <a:pt x="2108256" y="137516"/>
                </a:cubicBezTo>
                <a:cubicBezTo>
                  <a:pt x="2110078" y="135693"/>
                  <a:pt x="2108256" y="133871"/>
                  <a:pt x="2108256" y="128405"/>
                </a:cubicBezTo>
                <a:cubicBezTo>
                  <a:pt x="2111900" y="128405"/>
                  <a:pt x="2111900" y="135693"/>
                  <a:pt x="2117366" y="133871"/>
                </a:cubicBezTo>
                <a:cubicBezTo>
                  <a:pt x="2111900" y="122938"/>
                  <a:pt x="2111900" y="121116"/>
                  <a:pt x="2102790" y="113827"/>
                </a:cubicBezTo>
                <a:cubicBezTo>
                  <a:pt x="2104611" y="113827"/>
                  <a:pt x="2104611" y="117472"/>
                  <a:pt x="2106433" y="115649"/>
                </a:cubicBezTo>
                <a:cubicBezTo>
                  <a:pt x="2106433" y="104716"/>
                  <a:pt x="2097323" y="117472"/>
                  <a:pt x="2095500" y="110183"/>
                </a:cubicBezTo>
                <a:close/>
                <a:moveTo>
                  <a:pt x="2263140" y="108361"/>
                </a:moveTo>
                <a:cubicBezTo>
                  <a:pt x="2261318" y="112005"/>
                  <a:pt x="2263140" y="113827"/>
                  <a:pt x="2264963" y="115649"/>
                </a:cubicBezTo>
                <a:cubicBezTo>
                  <a:pt x="2268607" y="112005"/>
                  <a:pt x="2263140" y="110183"/>
                  <a:pt x="2263140" y="108361"/>
                </a:cubicBezTo>
                <a:close/>
                <a:moveTo>
                  <a:pt x="2496379" y="106539"/>
                </a:moveTo>
                <a:cubicBezTo>
                  <a:pt x="2498201" y="106539"/>
                  <a:pt x="2501845" y="108361"/>
                  <a:pt x="2503667" y="108361"/>
                </a:cubicBezTo>
                <a:cubicBezTo>
                  <a:pt x="2501845" y="108361"/>
                  <a:pt x="2498201" y="108361"/>
                  <a:pt x="2496379" y="110183"/>
                </a:cubicBezTo>
                <a:cubicBezTo>
                  <a:pt x="2496379" y="106539"/>
                  <a:pt x="2496379" y="104716"/>
                  <a:pt x="2496379" y="106539"/>
                </a:cubicBezTo>
                <a:close/>
                <a:moveTo>
                  <a:pt x="2394337" y="106539"/>
                </a:moveTo>
                <a:cubicBezTo>
                  <a:pt x="2388871" y="108361"/>
                  <a:pt x="2390693" y="108361"/>
                  <a:pt x="2385226" y="110183"/>
                </a:cubicBezTo>
                <a:cubicBezTo>
                  <a:pt x="2387048" y="112005"/>
                  <a:pt x="2387048" y="115649"/>
                  <a:pt x="2387048" y="117472"/>
                </a:cubicBezTo>
                <a:cubicBezTo>
                  <a:pt x="2388871" y="117472"/>
                  <a:pt x="2390693" y="117472"/>
                  <a:pt x="2392515" y="115649"/>
                </a:cubicBezTo>
                <a:cubicBezTo>
                  <a:pt x="2392515" y="121116"/>
                  <a:pt x="2397981" y="128405"/>
                  <a:pt x="2403448" y="122938"/>
                </a:cubicBezTo>
                <a:cubicBezTo>
                  <a:pt x="2410737" y="115649"/>
                  <a:pt x="2401626" y="112005"/>
                  <a:pt x="2394337" y="106539"/>
                </a:cubicBezTo>
                <a:close/>
                <a:moveTo>
                  <a:pt x="2478157" y="102894"/>
                </a:moveTo>
                <a:cubicBezTo>
                  <a:pt x="2474513" y="104716"/>
                  <a:pt x="2479979" y="108361"/>
                  <a:pt x="2478157" y="112005"/>
                </a:cubicBezTo>
                <a:cubicBezTo>
                  <a:pt x="2481801" y="110183"/>
                  <a:pt x="2479979" y="104716"/>
                  <a:pt x="2478157" y="102894"/>
                </a:cubicBezTo>
                <a:close/>
                <a:moveTo>
                  <a:pt x="2385226" y="102894"/>
                </a:moveTo>
                <a:cubicBezTo>
                  <a:pt x="2372471" y="106539"/>
                  <a:pt x="2368827" y="112005"/>
                  <a:pt x="2377937" y="121116"/>
                </a:cubicBezTo>
                <a:cubicBezTo>
                  <a:pt x="2385226" y="117472"/>
                  <a:pt x="2387048" y="106539"/>
                  <a:pt x="2385226" y="102894"/>
                </a:cubicBezTo>
                <a:close/>
                <a:moveTo>
                  <a:pt x="2263140" y="102894"/>
                </a:moveTo>
                <a:cubicBezTo>
                  <a:pt x="2261318" y="108361"/>
                  <a:pt x="2266785" y="110183"/>
                  <a:pt x="2270429" y="110183"/>
                </a:cubicBezTo>
                <a:cubicBezTo>
                  <a:pt x="2272251" y="106539"/>
                  <a:pt x="2266785" y="106539"/>
                  <a:pt x="2270429" y="104716"/>
                </a:cubicBezTo>
                <a:cubicBezTo>
                  <a:pt x="2268607" y="102894"/>
                  <a:pt x="2266785" y="102894"/>
                  <a:pt x="2263140" y="102894"/>
                </a:cubicBezTo>
                <a:close/>
                <a:moveTo>
                  <a:pt x="2128300" y="102894"/>
                </a:moveTo>
                <a:lnTo>
                  <a:pt x="2129758" y="107267"/>
                </a:lnTo>
                <a:lnTo>
                  <a:pt x="2129149" y="108485"/>
                </a:lnTo>
                <a:lnTo>
                  <a:pt x="2127659" y="108676"/>
                </a:lnTo>
                <a:lnTo>
                  <a:pt x="2125461" y="103511"/>
                </a:lnTo>
                <a:close/>
                <a:moveTo>
                  <a:pt x="2458113" y="101072"/>
                </a:moveTo>
                <a:cubicBezTo>
                  <a:pt x="2458113" y="101072"/>
                  <a:pt x="2454469" y="101072"/>
                  <a:pt x="2454469" y="102894"/>
                </a:cubicBezTo>
                <a:cubicBezTo>
                  <a:pt x="2454469" y="106539"/>
                  <a:pt x="2450824" y="112005"/>
                  <a:pt x="2445358" y="113827"/>
                </a:cubicBezTo>
                <a:cubicBezTo>
                  <a:pt x="2443536" y="117472"/>
                  <a:pt x="2445358" y="117472"/>
                  <a:pt x="2449002" y="117472"/>
                </a:cubicBezTo>
                <a:cubicBezTo>
                  <a:pt x="2449002" y="108361"/>
                  <a:pt x="2454469" y="110183"/>
                  <a:pt x="2458113" y="112005"/>
                </a:cubicBezTo>
                <a:cubicBezTo>
                  <a:pt x="2458113" y="112005"/>
                  <a:pt x="2459935" y="115649"/>
                  <a:pt x="2461757" y="117472"/>
                </a:cubicBezTo>
                <a:cubicBezTo>
                  <a:pt x="2467224" y="115649"/>
                  <a:pt x="2476335" y="110183"/>
                  <a:pt x="2467224" y="104716"/>
                </a:cubicBezTo>
                <a:cubicBezTo>
                  <a:pt x="2467224" y="106539"/>
                  <a:pt x="2467224" y="110183"/>
                  <a:pt x="2465402" y="110183"/>
                </a:cubicBezTo>
                <a:cubicBezTo>
                  <a:pt x="2461757" y="108361"/>
                  <a:pt x="2459935" y="102894"/>
                  <a:pt x="2458113" y="106539"/>
                </a:cubicBezTo>
                <a:cubicBezTo>
                  <a:pt x="2456291" y="106539"/>
                  <a:pt x="2456291" y="101072"/>
                  <a:pt x="2458113" y="101072"/>
                </a:cubicBezTo>
                <a:close/>
                <a:moveTo>
                  <a:pt x="2560155" y="99250"/>
                </a:moveTo>
                <a:cubicBezTo>
                  <a:pt x="2554688" y="99250"/>
                  <a:pt x="2554688" y="104716"/>
                  <a:pt x="2554688" y="108361"/>
                </a:cubicBezTo>
                <a:cubicBezTo>
                  <a:pt x="2558332" y="106539"/>
                  <a:pt x="2561977" y="101072"/>
                  <a:pt x="2560155" y="99250"/>
                </a:cubicBezTo>
                <a:close/>
                <a:moveTo>
                  <a:pt x="2370649" y="99250"/>
                </a:moveTo>
                <a:cubicBezTo>
                  <a:pt x="2363360" y="95606"/>
                  <a:pt x="2361538" y="112005"/>
                  <a:pt x="2352427" y="110183"/>
                </a:cubicBezTo>
                <a:cubicBezTo>
                  <a:pt x="2352427" y="117472"/>
                  <a:pt x="2359716" y="117472"/>
                  <a:pt x="2363360" y="112005"/>
                </a:cubicBezTo>
                <a:cubicBezTo>
                  <a:pt x="2359716" y="119294"/>
                  <a:pt x="2370649" y="122938"/>
                  <a:pt x="2376115" y="121116"/>
                </a:cubicBezTo>
                <a:cubicBezTo>
                  <a:pt x="2370649" y="117472"/>
                  <a:pt x="2372471" y="104716"/>
                  <a:pt x="2363360" y="106539"/>
                </a:cubicBezTo>
                <a:cubicBezTo>
                  <a:pt x="2368827" y="106539"/>
                  <a:pt x="2367004" y="99250"/>
                  <a:pt x="2370649" y="99250"/>
                </a:cubicBezTo>
                <a:close/>
                <a:moveTo>
                  <a:pt x="2098689" y="98794"/>
                </a:moveTo>
                <a:lnTo>
                  <a:pt x="2099116" y="98958"/>
                </a:lnTo>
                <a:lnTo>
                  <a:pt x="2099145" y="99250"/>
                </a:lnTo>
                <a:lnTo>
                  <a:pt x="2098523" y="98818"/>
                </a:lnTo>
                <a:close/>
                <a:moveTo>
                  <a:pt x="2159277" y="97428"/>
                </a:moveTo>
                <a:cubicBezTo>
                  <a:pt x="2151988" y="97428"/>
                  <a:pt x="2157454" y="108361"/>
                  <a:pt x="2161099" y="112005"/>
                </a:cubicBezTo>
                <a:cubicBezTo>
                  <a:pt x="2162921" y="112005"/>
                  <a:pt x="2161099" y="110183"/>
                  <a:pt x="2161099" y="110183"/>
                </a:cubicBezTo>
                <a:cubicBezTo>
                  <a:pt x="2162921" y="106539"/>
                  <a:pt x="2162921" y="108361"/>
                  <a:pt x="2164743" y="108361"/>
                </a:cubicBezTo>
                <a:cubicBezTo>
                  <a:pt x="2159277" y="108361"/>
                  <a:pt x="2159277" y="102894"/>
                  <a:pt x="2159277" y="97428"/>
                </a:cubicBezTo>
                <a:close/>
                <a:moveTo>
                  <a:pt x="2363360" y="95606"/>
                </a:moveTo>
                <a:cubicBezTo>
                  <a:pt x="2356071" y="99250"/>
                  <a:pt x="2352427" y="97428"/>
                  <a:pt x="2343316" y="97428"/>
                </a:cubicBezTo>
                <a:cubicBezTo>
                  <a:pt x="2343316" y="101072"/>
                  <a:pt x="2345138" y="104716"/>
                  <a:pt x="2343316" y="106539"/>
                </a:cubicBezTo>
                <a:cubicBezTo>
                  <a:pt x="2357893" y="101072"/>
                  <a:pt x="2343316" y="101072"/>
                  <a:pt x="2346960" y="99250"/>
                </a:cubicBezTo>
                <a:cubicBezTo>
                  <a:pt x="2348782" y="99250"/>
                  <a:pt x="2352427" y="99250"/>
                  <a:pt x="2356071" y="99250"/>
                </a:cubicBezTo>
                <a:cubicBezTo>
                  <a:pt x="2357893" y="99250"/>
                  <a:pt x="2352427" y="104716"/>
                  <a:pt x="2357893" y="102894"/>
                </a:cubicBezTo>
                <a:cubicBezTo>
                  <a:pt x="2361538" y="102894"/>
                  <a:pt x="2365182" y="99250"/>
                  <a:pt x="2363360" y="95606"/>
                </a:cubicBezTo>
                <a:close/>
                <a:moveTo>
                  <a:pt x="2213942" y="95606"/>
                </a:moveTo>
                <a:cubicBezTo>
                  <a:pt x="2217586" y="97428"/>
                  <a:pt x="2217586" y="101072"/>
                  <a:pt x="2215764" y="102894"/>
                </a:cubicBezTo>
                <a:cubicBezTo>
                  <a:pt x="2217586" y="102894"/>
                  <a:pt x="2221230" y="102894"/>
                  <a:pt x="2223053" y="101072"/>
                </a:cubicBezTo>
                <a:cubicBezTo>
                  <a:pt x="2223053" y="102894"/>
                  <a:pt x="2223053" y="102894"/>
                  <a:pt x="2223053" y="104716"/>
                </a:cubicBezTo>
                <a:cubicBezTo>
                  <a:pt x="2215764" y="104716"/>
                  <a:pt x="2210297" y="106539"/>
                  <a:pt x="2206653" y="112005"/>
                </a:cubicBezTo>
                <a:cubicBezTo>
                  <a:pt x="2206653" y="106539"/>
                  <a:pt x="2215764" y="102894"/>
                  <a:pt x="2213942" y="95606"/>
                </a:cubicBezTo>
                <a:close/>
                <a:moveTo>
                  <a:pt x="2567443" y="93783"/>
                </a:moveTo>
                <a:cubicBezTo>
                  <a:pt x="2565621" y="93783"/>
                  <a:pt x="2561977" y="93783"/>
                  <a:pt x="2561977" y="95606"/>
                </a:cubicBezTo>
                <a:cubicBezTo>
                  <a:pt x="2565621" y="108361"/>
                  <a:pt x="2563799" y="90139"/>
                  <a:pt x="2569266" y="97428"/>
                </a:cubicBezTo>
                <a:cubicBezTo>
                  <a:pt x="2567443" y="95606"/>
                  <a:pt x="2567443" y="95606"/>
                  <a:pt x="2567443" y="93783"/>
                </a:cubicBezTo>
                <a:close/>
                <a:moveTo>
                  <a:pt x="2111605" y="93561"/>
                </a:moveTo>
                <a:lnTo>
                  <a:pt x="2111900" y="93783"/>
                </a:lnTo>
                <a:lnTo>
                  <a:pt x="2111918" y="93863"/>
                </a:lnTo>
                <a:close/>
                <a:moveTo>
                  <a:pt x="2616642" y="91961"/>
                </a:moveTo>
                <a:cubicBezTo>
                  <a:pt x="2618464" y="93783"/>
                  <a:pt x="2620287" y="95606"/>
                  <a:pt x="2620287" y="97428"/>
                </a:cubicBezTo>
                <a:cubicBezTo>
                  <a:pt x="2620287" y="97428"/>
                  <a:pt x="2620287" y="95606"/>
                  <a:pt x="2620287" y="93783"/>
                </a:cubicBezTo>
                <a:cubicBezTo>
                  <a:pt x="2618464" y="93783"/>
                  <a:pt x="2616642" y="93783"/>
                  <a:pt x="2616642" y="91961"/>
                </a:cubicBezTo>
                <a:close/>
                <a:moveTo>
                  <a:pt x="2308695" y="91961"/>
                </a:moveTo>
                <a:cubicBezTo>
                  <a:pt x="2305050" y="93783"/>
                  <a:pt x="2306873" y="97428"/>
                  <a:pt x="2303228" y="97428"/>
                </a:cubicBezTo>
                <a:cubicBezTo>
                  <a:pt x="2303228" y="101072"/>
                  <a:pt x="2308695" y="106539"/>
                  <a:pt x="2312339" y="102894"/>
                </a:cubicBezTo>
                <a:cubicBezTo>
                  <a:pt x="2310517" y="99250"/>
                  <a:pt x="2305050" y="101072"/>
                  <a:pt x="2305050" y="97428"/>
                </a:cubicBezTo>
                <a:cubicBezTo>
                  <a:pt x="2306873" y="95606"/>
                  <a:pt x="2308695" y="95606"/>
                  <a:pt x="2308695" y="97428"/>
                </a:cubicBezTo>
                <a:cubicBezTo>
                  <a:pt x="2312339" y="95606"/>
                  <a:pt x="2310517" y="91961"/>
                  <a:pt x="2308695" y="91961"/>
                </a:cubicBezTo>
                <a:close/>
                <a:moveTo>
                  <a:pt x="2279540" y="91961"/>
                </a:moveTo>
                <a:cubicBezTo>
                  <a:pt x="2272251" y="93783"/>
                  <a:pt x="2275896" y="99250"/>
                  <a:pt x="2275896" y="102894"/>
                </a:cubicBezTo>
                <a:cubicBezTo>
                  <a:pt x="2279540" y="101072"/>
                  <a:pt x="2277718" y="97428"/>
                  <a:pt x="2281362" y="95606"/>
                </a:cubicBezTo>
                <a:cubicBezTo>
                  <a:pt x="2281362" y="93783"/>
                  <a:pt x="2279540" y="93783"/>
                  <a:pt x="2279540" y="91961"/>
                </a:cubicBezTo>
                <a:close/>
                <a:moveTo>
                  <a:pt x="2403448" y="90139"/>
                </a:moveTo>
                <a:cubicBezTo>
                  <a:pt x="2399803" y="93783"/>
                  <a:pt x="2399803" y="97428"/>
                  <a:pt x="2399803" y="101072"/>
                </a:cubicBezTo>
                <a:cubicBezTo>
                  <a:pt x="2407092" y="99250"/>
                  <a:pt x="2403448" y="91961"/>
                  <a:pt x="2403448" y="90139"/>
                </a:cubicBezTo>
                <a:close/>
                <a:moveTo>
                  <a:pt x="2263140" y="90139"/>
                </a:moveTo>
                <a:cubicBezTo>
                  <a:pt x="2257674" y="90139"/>
                  <a:pt x="2257674" y="93783"/>
                  <a:pt x="2257674" y="97428"/>
                </a:cubicBezTo>
                <a:cubicBezTo>
                  <a:pt x="2259496" y="97428"/>
                  <a:pt x="2261318" y="95606"/>
                  <a:pt x="2264963" y="95606"/>
                </a:cubicBezTo>
                <a:cubicBezTo>
                  <a:pt x="2264963" y="93783"/>
                  <a:pt x="2264963" y="91961"/>
                  <a:pt x="2263140" y="90139"/>
                </a:cubicBezTo>
                <a:close/>
                <a:moveTo>
                  <a:pt x="2105594" y="89054"/>
                </a:moveTo>
                <a:lnTo>
                  <a:pt x="2107117" y="89228"/>
                </a:lnTo>
                <a:lnTo>
                  <a:pt x="2111605" y="93561"/>
                </a:lnTo>
                <a:close/>
                <a:moveTo>
                  <a:pt x="2598421" y="88317"/>
                </a:moveTo>
                <a:cubicBezTo>
                  <a:pt x="2592954" y="86495"/>
                  <a:pt x="2592954" y="95606"/>
                  <a:pt x="2598421" y="93783"/>
                </a:cubicBezTo>
                <a:cubicBezTo>
                  <a:pt x="2598421" y="91961"/>
                  <a:pt x="2598421" y="90139"/>
                  <a:pt x="2598421" y="88317"/>
                </a:cubicBezTo>
                <a:close/>
                <a:moveTo>
                  <a:pt x="2248563" y="88317"/>
                </a:moveTo>
                <a:cubicBezTo>
                  <a:pt x="2246741" y="90139"/>
                  <a:pt x="2246741" y="91961"/>
                  <a:pt x="2246741" y="93783"/>
                </a:cubicBezTo>
                <a:cubicBezTo>
                  <a:pt x="2252207" y="91961"/>
                  <a:pt x="2252207" y="95606"/>
                  <a:pt x="2255852" y="93783"/>
                </a:cubicBezTo>
                <a:cubicBezTo>
                  <a:pt x="2257674" y="90139"/>
                  <a:pt x="2254030" y="88317"/>
                  <a:pt x="2248563" y="88317"/>
                </a:cubicBezTo>
                <a:close/>
                <a:moveTo>
                  <a:pt x="2113722" y="88317"/>
                </a:moveTo>
                <a:cubicBezTo>
                  <a:pt x="2119189" y="93783"/>
                  <a:pt x="2126477" y="84673"/>
                  <a:pt x="2130122" y="90139"/>
                </a:cubicBezTo>
                <a:cubicBezTo>
                  <a:pt x="2126478" y="92872"/>
                  <a:pt x="2124200" y="96061"/>
                  <a:pt x="2123745" y="99477"/>
                </a:cubicBezTo>
                <a:lnTo>
                  <a:pt x="2125461" y="103511"/>
                </a:lnTo>
                <a:lnTo>
                  <a:pt x="2123061" y="104033"/>
                </a:lnTo>
                <a:cubicBezTo>
                  <a:pt x="2121467" y="102894"/>
                  <a:pt x="2120100" y="101072"/>
                  <a:pt x="2119189" y="101072"/>
                </a:cubicBezTo>
                <a:cubicBezTo>
                  <a:pt x="2119189" y="102894"/>
                  <a:pt x="2119189" y="104716"/>
                  <a:pt x="2121011" y="106539"/>
                </a:cubicBezTo>
                <a:cubicBezTo>
                  <a:pt x="2118278" y="104716"/>
                  <a:pt x="2115545" y="103805"/>
                  <a:pt x="2113722" y="102210"/>
                </a:cubicBezTo>
                <a:lnTo>
                  <a:pt x="2111918" y="93863"/>
                </a:lnTo>
                <a:lnTo>
                  <a:pt x="2113722" y="95606"/>
                </a:lnTo>
                <a:cubicBezTo>
                  <a:pt x="2115544" y="97428"/>
                  <a:pt x="2121011" y="95606"/>
                  <a:pt x="2113722" y="88317"/>
                </a:cubicBezTo>
                <a:close/>
                <a:moveTo>
                  <a:pt x="2104611" y="88317"/>
                </a:moveTo>
                <a:lnTo>
                  <a:pt x="2105594" y="89054"/>
                </a:lnTo>
                <a:lnTo>
                  <a:pt x="2104312" y="88907"/>
                </a:lnTo>
                <a:close/>
                <a:moveTo>
                  <a:pt x="2099145" y="88317"/>
                </a:moveTo>
                <a:lnTo>
                  <a:pt x="2104312" y="88907"/>
                </a:lnTo>
                <a:lnTo>
                  <a:pt x="2102562" y="92359"/>
                </a:lnTo>
                <a:cubicBezTo>
                  <a:pt x="2103246" y="96288"/>
                  <a:pt x="2110078" y="99705"/>
                  <a:pt x="2104611" y="101072"/>
                </a:cubicBezTo>
                <a:lnTo>
                  <a:pt x="2099116" y="98958"/>
                </a:lnTo>
                <a:lnTo>
                  <a:pt x="2098462" y="92417"/>
                </a:lnTo>
                <a:cubicBezTo>
                  <a:pt x="2097778" y="90139"/>
                  <a:pt x="2097323" y="88317"/>
                  <a:pt x="2099145" y="88317"/>
                </a:cubicBezTo>
                <a:close/>
                <a:moveTo>
                  <a:pt x="2787927" y="86495"/>
                </a:moveTo>
                <a:lnTo>
                  <a:pt x="2787927" y="94663"/>
                </a:lnTo>
                <a:lnTo>
                  <a:pt x="2784282" y="97428"/>
                </a:lnTo>
                <a:cubicBezTo>
                  <a:pt x="2784282" y="95606"/>
                  <a:pt x="2782460" y="95606"/>
                  <a:pt x="2782460" y="93783"/>
                </a:cubicBezTo>
                <a:lnTo>
                  <a:pt x="2781640" y="94837"/>
                </a:lnTo>
                <a:lnTo>
                  <a:pt x="2780638" y="93783"/>
                </a:lnTo>
                <a:cubicBezTo>
                  <a:pt x="2782460" y="88317"/>
                  <a:pt x="2784282" y="86495"/>
                  <a:pt x="2787927" y="86495"/>
                </a:cubicBezTo>
                <a:close/>
                <a:moveTo>
                  <a:pt x="2600243" y="86495"/>
                </a:moveTo>
                <a:cubicBezTo>
                  <a:pt x="2598421" y="88317"/>
                  <a:pt x="2603887" y="93783"/>
                  <a:pt x="2607531" y="91961"/>
                </a:cubicBezTo>
                <a:cubicBezTo>
                  <a:pt x="2607531" y="90139"/>
                  <a:pt x="2605709" y="90139"/>
                  <a:pt x="2603887" y="88317"/>
                </a:cubicBezTo>
                <a:cubicBezTo>
                  <a:pt x="2603887" y="88317"/>
                  <a:pt x="2602065" y="86495"/>
                  <a:pt x="2600243" y="86495"/>
                </a:cubicBezTo>
                <a:close/>
                <a:moveTo>
                  <a:pt x="2461757" y="86495"/>
                </a:moveTo>
                <a:cubicBezTo>
                  <a:pt x="2459935" y="91961"/>
                  <a:pt x="2465402" y="97428"/>
                  <a:pt x="2465402" y="102894"/>
                </a:cubicBezTo>
                <a:cubicBezTo>
                  <a:pt x="2469046" y="101072"/>
                  <a:pt x="2470868" y="93783"/>
                  <a:pt x="2476335" y="99250"/>
                </a:cubicBezTo>
                <a:cubicBezTo>
                  <a:pt x="2478157" y="90139"/>
                  <a:pt x="2463580" y="95606"/>
                  <a:pt x="2465402" y="86495"/>
                </a:cubicBezTo>
                <a:cubicBezTo>
                  <a:pt x="2463580" y="86495"/>
                  <a:pt x="2461757" y="86495"/>
                  <a:pt x="2461757" y="86495"/>
                </a:cubicBezTo>
                <a:close/>
                <a:moveTo>
                  <a:pt x="2793393" y="84673"/>
                </a:moveTo>
                <a:lnTo>
                  <a:pt x="2794789" y="89457"/>
                </a:lnTo>
                <a:lnTo>
                  <a:pt x="2791738" y="91772"/>
                </a:lnTo>
                <a:lnTo>
                  <a:pt x="2791799" y="89683"/>
                </a:lnTo>
                <a:cubicBezTo>
                  <a:pt x="2791571" y="87406"/>
                  <a:pt x="2791571" y="85584"/>
                  <a:pt x="2793393" y="84673"/>
                </a:cubicBezTo>
                <a:close/>
                <a:moveTo>
                  <a:pt x="2330561" y="84673"/>
                </a:moveTo>
                <a:cubicBezTo>
                  <a:pt x="2323272" y="86495"/>
                  <a:pt x="2326916" y="88317"/>
                  <a:pt x="2326916" y="90139"/>
                </a:cubicBezTo>
                <a:cubicBezTo>
                  <a:pt x="2332383" y="90139"/>
                  <a:pt x="2330561" y="86495"/>
                  <a:pt x="2330561" y="84673"/>
                </a:cubicBezTo>
                <a:close/>
                <a:moveTo>
                  <a:pt x="2561977" y="82850"/>
                </a:moveTo>
                <a:cubicBezTo>
                  <a:pt x="2545577" y="84673"/>
                  <a:pt x="2541933" y="99250"/>
                  <a:pt x="2536466" y="110183"/>
                </a:cubicBezTo>
                <a:cubicBezTo>
                  <a:pt x="2541933" y="108361"/>
                  <a:pt x="2547400" y="113827"/>
                  <a:pt x="2552866" y="113827"/>
                </a:cubicBezTo>
                <a:cubicBezTo>
                  <a:pt x="2547400" y="108361"/>
                  <a:pt x="2549222" y="97428"/>
                  <a:pt x="2560155" y="95606"/>
                </a:cubicBezTo>
                <a:cubicBezTo>
                  <a:pt x="2556510" y="91961"/>
                  <a:pt x="2558332" y="84673"/>
                  <a:pt x="2561977" y="82850"/>
                </a:cubicBezTo>
                <a:close/>
                <a:moveTo>
                  <a:pt x="2503667" y="82850"/>
                </a:moveTo>
                <a:cubicBezTo>
                  <a:pt x="2503667" y="84673"/>
                  <a:pt x="2505490" y="86495"/>
                  <a:pt x="2505490" y="90139"/>
                </a:cubicBezTo>
                <a:cubicBezTo>
                  <a:pt x="2510956" y="88317"/>
                  <a:pt x="2509134" y="82850"/>
                  <a:pt x="2503667" y="82850"/>
                </a:cubicBezTo>
                <a:close/>
                <a:moveTo>
                  <a:pt x="2524623" y="81939"/>
                </a:moveTo>
                <a:cubicBezTo>
                  <a:pt x="2522800" y="81939"/>
                  <a:pt x="2520978" y="82850"/>
                  <a:pt x="2521889" y="84673"/>
                </a:cubicBezTo>
                <a:cubicBezTo>
                  <a:pt x="2525534" y="84673"/>
                  <a:pt x="2523711" y="86495"/>
                  <a:pt x="2527356" y="84673"/>
                </a:cubicBezTo>
                <a:cubicBezTo>
                  <a:pt x="2528267" y="82850"/>
                  <a:pt x="2526445" y="81939"/>
                  <a:pt x="2524623" y="81939"/>
                </a:cubicBezTo>
                <a:close/>
                <a:moveTo>
                  <a:pt x="2576554" y="81028"/>
                </a:moveTo>
                <a:cubicBezTo>
                  <a:pt x="2569266" y="84673"/>
                  <a:pt x="2565621" y="82850"/>
                  <a:pt x="2563799" y="90139"/>
                </a:cubicBezTo>
                <a:cubicBezTo>
                  <a:pt x="2565621" y="93783"/>
                  <a:pt x="2571088" y="88317"/>
                  <a:pt x="2571088" y="95606"/>
                </a:cubicBezTo>
                <a:cubicBezTo>
                  <a:pt x="2574732" y="91961"/>
                  <a:pt x="2576554" y="86495"/>
                  <a:pt x="2576554" y="81028"/>
                </a:cubicBezTo>
                <a:close/>
                <a:moveTo>
                  <a:pt x="2339444" y="80800"/>
                </a:moveTo>
                <a:cubicBezTo>
                  <a:pt x="2337850" y="80117"/>
                  <a:pt x="2335117" y="80117"/>
                  <a:pt x="2332383" y="81028"/>
                </a:cubicBezTo>
                <a:cubicBezTo>
                  <a:pt x="2332383" y="84673"/>
                  <a:pt x="2336027" y="86495"/>
                  <a:pt x="2339672" y="84673"/>
                </a:cubicBezTo>
                <a:cubicBezTo>
                  <a:pt x="2341494" y="86495"/>
                  <a:pt x="2345138" y="88317"/>
                  <a:pt x="2343316" y="91961"/>
                </a:cubicBezTo>
                <a:cubicBezTo>
                  <a:pt x="2346960" y="90139"/>
                  <a:pt x="2346960" y="81028"/>
                  <a:pt x="2341494" y="81028"/>
                </a:cubicBezTo>
                <a:cubicBezTo>
                  <a:pt x="2343316" y="82850"/>
                  <a:pt x="2341494" y="84673"/>
                  <a:pt x="2339672" y="84673"/>
                </a:cubicBezTo>
                <a:cubicBezTo>
                  <a:pt x="2341494" y="82850"/>
                  <a:pt x="2341039" y="81483"/>
                  <a:pt x="2339444" y="80800"/>
                </a:cubicBezTo>
                <a:close/>
                <a:moveTo>
                  <a:pt x="2326006" y="78751"/>
                </a:moveTo>
                <a:cubicBezTo>
                  <a:pt x="2323728" y="78751"/>
                  <a:pt x="2321450" y="79206"/>
                  <a:pt x="2319628" y="81028"/>
                </a:cubicBezTo>
                <a:cubicBezTo>
                  <a:pt x="2319628" y="86495"/>
                  <a:pt x="2330561" y="81028"/>
                  <a:pt x="2332383" y="79206"/>
                </a:cubicBezTo>
                <a:cubicBezTo>
                  <a:pt x="2330561" y="79206"/>
                  <a:pt x="2328283" y="78751"/>
                  <a:pt x="2326006" y="78751"/>
                </a:cubicBezTo>
                <a:close/>
                <a:moveTo>
                  <a:pt x="2449002" y="77384"/>
                </a:moveTo>
                <a:cubicBezTo>
                  <a:pt x="2450824" y="81028"/>
                  <a:pt x="2443536" y="82850"/>
                  <a:pt x="2447180" y="86495"/>
                </a:cubicBezTo>
                <a:cubicBezTo>
                  <a:pt x="2450824" y="81028"/>
                  <a:pt x="2461757" y="90139"/>
                  <a:pt x="2458113" y="79206"/>
                </a:cubicBezTo>
                <a:cubicBezTo>
                  <a:pt x="2454469" y="77384"/>
                  <a:pt x="2452647" y="77384"/>
                  <a:pt x="2449002" y="77384"/>
                </a:cubicBezTo>
                <a:close/>
                <a:moveTo>
                  <a:pt x="2470868" y="75562"/>
                </a:moveTo>
                <a:cubicBezTo>
                  <a:pt x="2467224" y="75562"/>
                  <a:pt x="2467224" y="75562"/>
                  <a:pt x="2463580" y="77384"/>
                </a:cubicBezTo>
                <a:cubicBezTo>
                  <a:pt x="2463580" y="88317"/>
                  <a:pt x="2476335" y="86495"/>
                  <a:pt x="2476335" y="93783"/>
                </a:cubicBezTo>
                <a:cubicBezTo>
                  <a:pt x="2479979" y="91961"/>
                  <a:pt x="2476335" y="86495"/>
                  <a:pt x="2478157" y="84673"/>
                </a:cubicBezTo>
                <a:cubicBezTo>
                  <a:pt x="2472690" y="84673"/>
                  <a:pt x="2474513" y="77384"/>
                  <a:pt x="2470868" y="75562"/>
                </a:cubicBezTo>
                <a:close/>
                <a:moveTo>
                  <a:pt x="2551044" y="73739"/>
                </a:moveTo>
                <a:cubicBezTo>
                  <a:pt x="2549222" y="79206"/>
                  <a:pt x="2554688" y="75562"/>
                  <a:pt x="2558332" y="77384"/>
                </a:cubicBezTo>
                <a:cubicBezTo>
                  <a:pt x="2556510" y="73739"/>
                  <a:pt x="2554688" y="75562"/>
                  <a:pt x="2551044" y="73739"/>
                </a:cubicBezTo>
                <a:close/>
                <a:moveTo>
                  <a:pt x="2540111" y="73739"/>
                </a:moveTo>
                <a:cubicBezTo>
                  <a:pt x="2531000" y="75562"/>
                  <a:pt x="2538289" y="90139"/>
                  <a:pt x="2529178" y="88317"/>
                </a:cubicBezTo>
                <a:cubicBezTo>
                  <a:pt x="2529178" y="93783"/>
                  <a:pt x="2531000" y="99250"/>
                  <a:pt x="2525534" y="101072"/>
                </a:cubicBezTo>
                <a:cubicBezTo>
                  <a:pt x="2520067" y="97428"/>
                  <a:pt x="2527356" y="93783"/>
                  <a:pt x="2527356" y="90139"/>
                </a:cubicBezTo>
                <a:cubicBezTo>
                  <a:pt x="2523711" y="93783"/>
                  <a:pt x="2521889" y="101072"/>
                  <a:pt x="2516423" y="95606"/>
                </a:cubicBezTo>
                <a:cubicBezTo>
                  <a:pt x="2514600" y="93783"/>
                  <a:pt x="2516423" y="90139"/>
                  <a:pt x="2516423" y="88317"/>
                </a:cubicBezTo>
                <a:cubicBezTo>
                  <a:pt x="2503667" y="90139"/>
                  <a:pt x="2516423" y="102894"/>
                  <a:pt x="2509134" y="110183"/>
                </a:cubicBezTo>
                <a:cubicBezTo>
                  <a:pt x="2512778" y="110183"/>
                  <a:pt x="2514600" y="108361"/>
                  <a:pt x="2514600" y="106539"/>
                </a:cubicBezTo>
                <a:cubicBezTo>
                  <a:pt x="2521889" y="112005"/>
                  <a:pt x="2516423" y="121116"/>
                  <a:pt x="2510956" y="122938"/>
                </a:cubicBezTo>
                <a:cubicBezTo>
                  <a:pt x="2501845" y="128405"/>
                  <a:pt x="2510956" y="112005"/>
                  <a:pt x="2503667" y="108361"/>
                </a:cubicBezTo>
                <a:cubicBezTo>
                  <a:pt x="2505490" y="104716"/>
                  <a:pt x="2503667" y="99250"/>
                  <a:pt x="2505490" y="97428"/>
                </a:cubicBezTo>
                <a:cubicBezTo>
                  <a:pt x="2498201" y="101072"/>
                  <a:pt x="2487268" y="101072"/>
                  <a:pt x="2485446" y="110183"/>
                </a:cubicBezTo>
                <a:cubicBezTo>
                  <a:pt x="2485446" y="110183"/>
                  <a:pt x="2485446" y="110183"/>
                  <a:pt x="2485446" y="112005"/>
                </a:cubicBezTo>
                <a:lnTo>
                  <a:pt x="2487268" y="110183"/>
                </a:lnTo>
                <a:lnTo>
                  <a:pt x="2489090" y="113827"/>
                </a:lnTo>
                <a:cubicBezTo>
                  <a:pt x="2494556" y="112005"/>
                  <a:pt x="2498201" y="115649"/>
                  <a:pt x="2503667" y="117472"/>
                </a:cubicBezTo>
                <a:cubicBezTo>
                  <a:pt x="2500023" y="119294"/>
                  <a:pt x="2487268" y="122938"/>
                  <a:pt x="2494556" y="128405"/>
                </a:cubicBezTo>
                <a:cubicBezTo>
                  <a:pt x="2498201" y="130227"/>
                  <a:pt x="2503667" y="130227"/>
                  <a:pt x="2505490" y="126583"/>
                </a:cubicBezTo>
                <a:cubicBezTo>
                  <a:pt x="2505490" y="128405"/>
                  <a:pt x="2505490" y="128405"/>
                  <a:pt x="2505490" y="130227"/>
                </a:cubicBezTo>
                <a:cubicBezTo>
                  <a:pt x="2507312" y="130227"/>
                  <a:pt x="2507312" y="128405"/>
                  <a:pt x="2509134" y="128405"/>
                </a:cubicBezTo>
                <a:cubicBezTo>
                  <a:pt x="2507312" y="133871"/>
                  <a:pt x="2501845" y="132049"/>
                  <a:pt x="2498201" y="133871"/>
                </a:cubicBezTo>
                <a:cubicBezTo>
                  <a:pt x="2531000" y="137516"/>
                  <a:pt x="2540111" y="97428"/>
                  <a:pt x="2540111" y="73739"/>
                </a:cubicBezTo>
                <a:close/>
                <a:moveTo>
                  <a:pt x="2500023" y="73739"/>
                </a:moveTo>
                <a:cubicBezTo>
                  <a:pt x="2494556" y="73739"/>
                  <a:pt x="2501845" y="77384"/>
                  <a:pt x="2498201" y="79206"/>
                </a:cubicBezTo>
                <a:cubicBezTo>
                  <a:pt x="2498201" y="79206"/>
                  <a:pt x="2496379" y="79206"/>
                  <a:pt x="2496379" y="77384"/>
                </a:cubicBezTo>
                <a:cubicBezTo>
                  <a:pt x="2492734" y="81028"/>
                  <a:pt x="2494556" y="82850"/>
                  <a:pt x="2498201" y="84673"/>
                </a:cubicBezTo>
                <a:cubicBezTo>
                  <a:pt x="2500023" y="84673"/>
                  <a:pt x="2496379" y="79206"/>
                  <a:pt x="2501845" y="81028"/>
                </a:cubicBezTo>
                <a:cubicBezTo>
                  <a:pt x="2501845" y="77384"/>
                  <a:pt x="2498201" y="77384"/>
                  <a:pt x="2500023" y="73739"/>
                </a:cubicBezTo>
                <a:close/>
                <a:moveTo>
                  <a:pt x="2738728" y="71937"/>
                </a:moveTo>
                <a:cubicBezTo>
                  <a:pt x="2736906" y="71937"/>
                  <a:pt x="2733261" y="75582"/>
                  <a:pt x="2735084" y="79226"/>
                </a:cubicBezTo>
                <a:cubicBezTo>
                  <a:pt x="2735084" y="77404"/>
                  <a:pt x="2738728" y="77404"/>
                  <a:pt x="2738728" y="71937"/>
                </a:cubicBezTo>
                <a:close/>
                <a:moveTo>
                  <a:pt x="2582021" y="71917"/>
                </a:moveTo>
                <a:cubicBezTo>
                  <a:pt x="2585665" y="77384"/>
                  <a:pt x="2576554" y="81028"/>
                  <a:pt x="2582021" y="82850"/>
                </a:cubicBezTo>
                <a:cubicBezTo>
                  <a:pt x="2583843" y="84673"/>
                  <a:pt x="2580199" y="79206"/>
                  <a:pt x="2583843" y="77384"/>
                </a:cubicBezTo>
                <a:cubicBezTo>
                  <a:pt x="2585665" y="77384"/>
                  <a:pt x="2585665" y="79206"/>
                  <a:pt x="2587487" y="79206"/>
                </a:cubicBezTo>
                <a:cubicBezTo>
                  <a:pt x="2585665" y="75562"/>
                  <a:pt x="2587487" y="71917"/>
                  <a:pt x="2582021" y="71917"/>
                </a:cubicBezTo>
                <a:close/>
                <a:moveTo>
                  <a:pt x="2436247" y="70095"/>
                </a:moveTo>
                <a:cubicBezTo>
                  <a:pt x="2430780" y="75562"/>
                  <a:pt x="2427136" y="79206"/>
                  <a:pt x="2418025" y="79206"/>
                </a:cubicBezTo>
                <a:cubicBezTo>
                  <a:pt x="2419847" y="84673"/>
                  <a:pt x="2418025" y="90139"/>
                  <a:pt x="2425314" y="90139"/>
                </a:cubicBezTo>
                <a:cubicBezTo>
                  <a:pt x="2421669" y="95606"/>
                  <a:pt x="2412559" y="88317"/>
                  <a:pt x="2418025" y="97428"/>
                </a:cubicBezTo>
                <a:cubicBezTo>
                  <a:pt x="2419847" y="97428"/>
                  <a:pt x="2421669" y="97428"/>
                  <a:pt x="2425314" y="95606"/>
                </a:cubicBezTo>
                <a:cubicBezTo>
                  <a:pt x="2425314" y="101072"/>
                  <a:pt x="2425314" y="104716"/>
                  <a:pt x="2421669" y="108361"/>
                </a:cubicBezTo>
                <a:cubicBezTo>
                  <a:pt x="2421669" y="99250"/>
                  <a:pt x="2421669" y="101072"/>
                  <a:pt x="2414381" y="99250"/>
                </a:cubicBezTo>
                <a:cubicBezTo>
                  <a:pt x="2407092" y="99250"/>
                  <a:pt x="2416203" y="110183"/>
                  <a:pt x="2408914" y="113827"/>
                </a:cubicBezTo>
                <a:cubicBezTo>
                  <a:pt x="2412559" y="113827"/>
                  <a:pt x="2412559" y="110183"/>
                  <a:pt x="2414381" y="110183"/>
                </a:cubicBezTo>
                <a:cubicBezTo>
                  <a:pt x="2418025" y="112005"/>
                  <a:pt x="2414381" y="117472"/>
                  <a:pt x="2416203" y="117472"/>
                </a:cubicBezTo>
                <a:cubicBezTo>
                  <a:pt x="2428958" y="121116"/>
                  <a:pt x="2439891" y="110183"/>
                  <a:pt x="2439891" y="99250"/>
                </a:cubicBezTo>
                <a:cubicBezTo>
                  <a:pt x="2441713" y="99250"/>
                  <a:pt x="2443536" y="99250"/>
                  <a:pt x="2445358" y="99250"/>
                </a:cubicBezTo>
                <a:cubicBezTo>
                  <a:pt x="2450824" y="91961"/>
                  <a:pt x="2438069" y="82850"/>
                  <a:pt x="2445358" y="79206"/>
                </a:cubicBezTo>
                <a:cubicBezTo>
                  <a:pt x="2441713" y="77384"/>
                  <a:pt x="2439891" y="81028"/>
                  <a:pt x="2436247" y="81028"/>
                </a:cubicBezTo>
                <a:cubicBezTo>
                  <a:pt x="2428958" y="77384"/>
                  <a:pt x="2438069" y="73739"/>
                  <a:pt x="2436247" y="70095"/>
                </a:cubicBezTo>
                <a:close/>
                <a:moveTo>
                  <a:pt x="2254030" y="70095"/>
                </a:moveTo>
                <a:cubicBezTo>
                  <a:pt x="2250385" y="71917"/>
                  <a:pt x="2252207" y="75562"/>
                  <a:pt x="2252207" y="79206"/>
                </a:cubicBezTo>
                <a:cubicBezTo>
                  <a:pt x="2257674" y="82850"/>
                  <a:pt x="2255852" y="77384"/>
                  <a:pt x="2259496" y="73739"/>
                </a:cubicBezTo>
                <a:cubicBezTo>
                  <a:pt x="2261318" y="68273"/>
                  <a:pt x="2255852" y="71917"/>
                  <a:pt x="2254030" y="70095"/>
                </a:cubicBezTo>
                <a:close/>
                <a:moveTo>
                  <a:pt x="2556510" y="68273"/>
                </a:moveTo>
                <a:cubicBezTo>
                  <a:pt x="2552866" y="68273"/>
                  <a:pt x="2551044" y="73739"/>
                  <a:pt x="2558332" y="73739"/>
                </a:cubicBezTo>
                <a:cubicBezTo>
                  <a:pt x="2558332" y="71917"/>
                  <a:pt x="2558332" y="70095"/>
                  <a:pt x="2556510" y="68273"/>
                </a:cubicBezTo>
                <a:close/>
                <a:moveTo>
                  <a:pt x="2585665" y="66451"/>
                </a:moveTo>
                <a:cubicBezTo>
                  <a:pt x="2585665" y="70095"/>
                  <a:pt x="2587487" y="71917"/>
                  <a:pt x="2591132" y="71917"/>
                </a:cubicBezTo>
                <a:cubicBezTo>
                  <a:pt x="2589310" y="70095"/>
                  <a:pt x="2589310" y="68273"/>
                  <a:pt x="2589310" y="66451"/>
                </a:cubicBezTo>
                <a:cubicBezTo>
                  <a:pt x="2587487" y="66451"/>
                  <a:pt x="2585665" y="66451"/>
                  <a:pt x="2585665" y="66451"/>
                </a:cubicBezTo>
                <a:close/>
                <a:moveTo>
                  <a:pt x="2394337" y="64629"/>
                </a:moveTo>
                <a:cubicBezTo>
                  <a:pt x="2390693" y="66451"/>
                  <a:pt x="2397981" y="68273"/>
                  <a:pt x="2394337" y="70095"/>
                </a:cubicBezTo>
                <a:cubicBezTo>
                  <a:pt x="2403448" y="66451"/>
                  <a:pt x="2397981" y="66451"/>
                  <a:pt x="2397981" y="64629"/>
                </a:cubicBezTo>
                <a:cubicBezTo>
                  <a:pt x="2396159" y="64629"/>
                  <a:pt x="2394337" y="64629"/>
                  <a:pt x="2394337" y="64629"/>
                </a:cubicBezTo>
                <a:close/>
                <a:moveTo>
                  <a:pt x="2377937" y="64629"/>
                </a:moveTo>
                <a:cubicBezTo>
                  <a:pt x="2374293" y="66451"/>
                  <a:pt x="2370649" y="71917"/>
                  <a:pt x="2368827" y="66451"/>
                </a:cubicBezTo>
                <a:cubicBezTo>
                  <a:pt x="2367004" y="68273"/>
                  <a:pt x="2368827" y="75562"/>
                  <a:pt x="2365182" y="70095"/>
                </a:cubicBezTo>
                <a:cubicBezTo>
                  <a:pt x="2361538" y="71917"/>
                  <a:pt x="2359716" y="75562"/>
                  <a:pt x="2361538" y="79206"/>
                </a:cubicBezTo>
                <a:cubicBezTo>
                  <a:pt x="2365182" y="71917"/>
                  <a:pt x="2370649" y="79206"/>
                  <a:pt x="2379760" y="75562"/>
                </a:cubicBezTo>
                <a:cubicBezTo>
                  <a:pt x="2377937" y="71917"/>
                  <a:pt x="2377937" y="68273"/>
                  <a:pt x="2377937" y="64629"/>
                </a:cubicBezTo>
                <a:close/>
                <a:moveTo>
                  <a:pt x="2154473" y="64131"/>
                </a:moveTo>
                <a:lnTo>
                  <a:pt x="2157454" y="64629"/>
                </a:lnTo>
                <a:cubicBezTo>
                  <a:pt x="2159277" y="64629"/>
                  <a:pt x="2157454" y="66451"/>
                  <a:pt x="2155632" y="66451"/>
                </a:cubicBezTo>
                <a:close/>
                <a:moveTo>
                  <a:pt x="2505490" y="62806"/>
                </a:moveTo>
                <a:cubicBezTo>
                  <a:pt x="2503667" y="66451"/>
                  <a:pt x="2500023" y="66451"/>
                  <a:pt x="2501845" y="71917"/>
                </a:cubicBezTo>
                <a:cubicBezTo>
                  <a:pt x="2505490" y="70095"/>
                  <a:pt x="2503667" y="66451"/>
                  <a:pt x="2507312" y="66451"/>
                </a:cubicBezTo>
                <a:cubicBezTo>
                  <a:pt x="2512778" y="68273"/>
                  <a:pt x="2505490" y="73739"/>
                  <a:pt x="2507312" y="77384"/>
                </a:cubicBezTo>
                <a:cubicBezTo>
                  <a:pt x="2510956" y="75562"/>
                  <a:pt x="2510956" y="70095"/>
                  <a:pt x="2512778" y="64629"/>
                </a:cubicBezTo>
                <a:cubicBezTo>
                  <a:pt x="2510956" y="64629"/>
                  <a:pt x="2510956" y="64629"/>
                  <a:pt x="2510956" y="66451"/>
                </a:cubicBezTo>
                <a:cubicBezTo>
                  <a:pt x="2509134" y="66451"/>
                  <a:pt x="2509134" y="64629"/>
                  <a:pt x="2505490" y="62806"/>
                </a:cubicBezTo>
                <a:close/>
                <a:moveTo>
                  <a:pt x="2153810" y="62806"/>
                </a:moveTo>
                <a:lnTo>
                  <a:pt x="2154473" y="64131"/>
                </a:lnTo>
                <a:lnTo>
                  <a:pt x="2153427" y="63957"/>
                </a:lnTo>
                <a:close/>
                <a:moveTo>
                  <a:pt x="2439891" y="60984"/>
                </a:moveTo>
                <a:cubicBezTo>
                  <a:pt x="2439891" y="64629"/>
                  <a:pt x="2436247" y="64629"/>
                  <a:pt x="2432603" y="62806"/>
                </a:cubicBezTo>
                <a:cubicBezTo>
                  <a:pt x="2428958" y="66451"/>
                  <a:pt x="2434425" y="68273"/>
                  <a:pt x="2436247" y="68273"/>
                </a:cubicBezTo>
                <a:cubicBezTo>
                  <a:pt x="2439891" y="66451"/>
                  <a:pt x="2441713" y="62806"/>
                  <a:pt x="2439891" y="60984"/>
                </a:cubicBezTo>
                <a:close/>
                <a:moveTo>
                  <a:pt x="2405270" y="60984"/>
                </a:moveTo>
                <a:cubicBezTo>
                  <a:pt x="2403448" y="66451"/>
                  <a:pt x="2408914" y="62806"/>
                  <a:pt x="2408914" y="66451"/>
                </a:cubicBezTo>
                <a:cubicBezTo>
                  <a:pt x="2410737" y="68273"/>
                  <a:pt x="2408914" y="60984"/>
                  <a:pt x="2414381" y="60984"/>
                </a:cubicBezTo>
                <a:cubicBezTo>
                  <a:pt x="2408914" y="62806"/>
                  <a:pt x="2410737" y="62806"/>
                  <a:pt x="2405270" y="60984"/>
                </a:cubicBezTo>
                <a:close/>
                <a:moveTo>
                  <a:pt x="2281362" y="59162"/>
                </a:moveTo>
                <a:lnTo>
                  <a:pt x="2281806" y="59309"/>
                </a:lnTo>
                <a:lnTo>
                  <a:pt x="2281923" y="59451"/>
                </a:lnTo>
                <a:close/>
                <a:moveTo>
                  <a:pt x="2259496" y="59162"/>
                </a:moveTo>
                <a:cubicBezTo>
                  <a:pt x="2257674" y="60984"/>
                  <a:pt x="2261318" y="68273"/>
                  <a:pt x="2254030" y="68273"/>
                </a:cubicBezTo>
                <a:cubicBezTo>
                  <a:pt x="2261318" y="71917"/>
                  <a:pt x="2264963" y="66451"/>
                  <a:pt x="2268607" y="64629"/>
                </a:cubicBezTo>
                <a:cubicBezTo>
                  <a:pt x="2268607" y="59162"/>
                  <a:pt x="2266785" y="57340"/>
                  <a:pt x="2259496" y="59162"/>
                </a:cubicBezTo>
                <a:close/>
                <a:moveTo>
                  <a:pt x="2736906" y="57360"/>
                </a:moveTo>
                <a:cubicBezTo>
                  <a:pt x="2736906" y="61004"/>
                  <a:pt x="2738728" y="64649"/>
                  <a:pt x="2738728" y="68293"/>
                </a:cubicBezTo>
                <a:cubicBezTo>
                  <a:pt x="2740550" y="64649"/>
                  <a:pt x="2742372" y="53716"/>
                  <a:pt x="2736906" y="57360"/>
                </a:cubicBezTo>
                <a:close/>
                <a:moveTo>
                  <a:pt x="2691351" y="55538"/>
                </a:moveTo>
                <a:cubicBezTo>
                  <a:pt x="2691351" y="61004"/>
                  <a:pt x="2685885" y="61004"/>
                  <a:pt x="2687707" y="61004"/>
                </a:cubicBezTo>
                <a:cubicBezTo>
                  <a:pt x="2685885" y="64649"/>
                  <a:pt x="2689529" y="57360"/>
                  <a:pt x="2691351" y="61004"/>
                </a:cubicBezTo>
                <a:cubicBezTo>
                  <a:pt x="2691351" y="59182"/>
                  <a:pt x="2691351" y="57360"/>
                  <a:pt x="2691351" y="55538"/>
                </a:cubicBezTo>
                <a:close/>
                <a:moveTo>
                  <a:pt x="2495240" y="55517"/>
                </a:moveTo>
                <a:cubicBezTo>
                  <a:pt x="2493646" y="56884"/>
                  <a:pt x="2491823" y="58251"/>
                  <a:pt x="2489090" y="55518"/>
                </a:cubicBezTo>
                <a:cubicBezTo>
                  <a:pt x="2487268" y="59162"/>
                  <a:pt x="2489090" y="59162"/>
                  <a:pt x="2490912" y="60984"/>
                </a:cubicBezTo>
                <a:cubicBezTo>
                  <a:pt x="2485446" y="62806"/>
                  <a:pt x="2483624" y="53696"/>
                  <a:pt x="2481801" y="60984"/>
                </a:cubicBezTo>
                <a:cubicBezTo>
                  <a:pt x="2479979" y="66451"/>
                  <a:pt x="2487268" y="70095"/>
                  <a:pt x="2485446" y="75562"/>
                </a:cubicBezTo>
                <a:cubicBezTo>
                  <a:pt x="2483624" y="79206"/>
                  <a:pt x="2483624" y="71917"/>
                  <a:pt x="2481801" y="71917"/>
                </a:cubicBezTo>
                <a:cubicBezTo>
                  <a:pt x="2472690" y="79206"/>
                  <a:pt x="2487268" y="77384"/>
                  <a:pt x="2489090" y="81028"/>
                </a:cubicBezTo>
                <a:cubicBezTo>
                  <a:pt x="2496379" y="75562"/>
                  <a:pt x="2492734" y="64629"/>
                  <a:pt x="2501845" y="59162"/>
                </a:cubicBezTo>
                <a:cubicBezTo>
                  <a:pt x="2500023" y="59162"/>
                  <a:pt x="2498201" y="60984"/>
                  <a:pt x="2496379" y="60984"/>
                </a:cubicBezTo>
                <a:cubicBezTo>
                  <a:pt x="2500023" y="60984"/>
                  <a:pt x="2492734" y="55518"/>
                  <a:pt x="2500023" y="55518"/>
                </a:cubicBezTo>
                <a:cubicBezTo>
                  <a:pt x="2498201" y="52784"/>
                  <a:pt x="2496834" y="54151"/>
                  <a:pt x="2495240" y="55517"/>
                </a:cubicBezTo>
                <a:close/>
                <a:moveTo>
                  <a:pt x="2747839" y="53716"/>
                </a:moveTo>
                <a:cubicBezTo>
                  <a:pt x="2746017" y="55538"/>
                  <a:pt x="2744195" y="57360"/>
                  <a:pt x="2742372" y="55538"/>
                </a:cubicBezTo>
                <a:cubicBezTo>
                  <a:pt x="2742372" y="57360"/>
                  <a:pt x="2744195" y="55538"/>
                  <a:pt x="2744195" y="55538"/>
                </a:cubicBezTo>
                <a:cubicBezTo>
                  <a:pt x="2747839" y="59182"/>
                  <a:pt x="2738728" y="70115"/>
                  <a:pt x="2747839" y="68293"/>
                </a:cubicBezTo>
                <a:cubicBezTo>
                  <a:pt x="2751483" y="61004"/>
                  <a:pt x="2749661" y="59182"/>
                  <a:pt x="2747839" y="53716"/>
                </a:cubicBezTo>
                <a:close/>
                <a:moveTo>
                  <a:pt x="2199364" y="50051"/>
                </a:moveTo>
                <a:cubicBezTo>
                  <a:pt x="2199364" y="51873"/>
                  <a:pt x="2199364" y="51873"/>
                  <a:pt x="2199364" y="53696"/>
                </a:cubicBezTo>
                <a:cubicBezTo>
                  <a:pt x="2201187" y="53696"/>
                  <a:pt x="2204831" y="53696"/>
                  <a:pt x="2206653" y="53696"/>
                </a:cubicBezTo>
                <a:cubicBezTo>
                  <a:pt x="2204831" y="51873"/>
                  <a:pt x="2203009" y="50051"/>
                  <a:pt x="2199364" y="50051"/>
                </a:cubicBezTo>
                <a:close/>
                <a:moveTo>
                  <a:pt x="2432603" y="48229"/>
                </a:moveTo>
                <a:cubicBezTo>
                  <a:pt x="2425314" y="50051"/>
                  <a:pt x="2430780" y="59162"/>
                  <a:pt x="2436247" y="55518"/>
                </a:cubicBezTo>
                <a:cubicBezTo>
                  <a:pt x="2434425" y="51873"/>
                  <a:pt x="2430780" y="53696"/>
                  <a:pt x="2432603" y="48229"/>
                </a:cubicBezTo>
                <a:close/>
                <a:moveTo>
                  <a:pt x="2448547" y="45951"/>
                </a:moveTo>
                <a:lnTo>
                  <a:pt x="2449002" y="46030"/>
                </a:lnTo>
                <a:lnTo>
                  <a:pt x="2449002" y="55518"/>
                </a:lnTo>
                <a:cubicBezTo>
                  <a:pt x="2448091" y="53695"/>
                  <a:pt x="2447636" y="51417"/>
                  <a:pt x="2446725" y="49368"/>
                </a:cubicBezTo>
                <a:lnTo>
                  <a:pt x="2443380" y="46176"/>
                </a:lnTo>
                <a:close/>
                <a:moveTo>
                  <a:pt x="2507768" y="45723"/>
                </a:moveTo>
                <a:cubicBezTo>
                  <a:pt x="2505945" y="44585"/>
                  <a:pt x="2502757" y="44585"/>
                  <a:pt x="2500023" y="46407"/>
                </a:cubicBezTo>
                <a:cubicBezTo>
                  <a:pt x="2500023" y="48229"/>
                  <a:pt x="2498201" y="50051"/>
                  <a:pt x="2500023" y="51873"/>
                </a:cubicBezTo>
                <a:cubicBezTo>
                  <a:pt x="2501845" y="51873"/>
                  <a:pt x="2505490" y="51873"/>
                  <a:pt x="2507312" y="51873"/>
                </a:cubicBezTo>
                <a:cubicBezTo>
                  <a:pt x="2510045" y="49140"/>
                  <a:pt x="2509590" y="46862"/>
                  <a:pt x="2507768" y="45723"/>
                </a:cubicBezTo>
                <a:close/>
                <a:moveTo>
                  <a:pt x="2449002" y="44585"/>
                </a:moveTo>
                <a:lnTo>
                  <a:pt x="2453414" y="46790"/>
                </a:lnTo>
                <a:lnTo>
                  <a:pt x="2449002" y="46030"/>
                </a:lnTo>
                <a:close/>
                <a:moveTo>
                  <a:pt x="2441713" y="44585"/>
                </a:moveTo>
                <a:lnTo>
                  <a:pt x="2443380" y="46176"/>
                </a:lnTo>
                <a:lnTo>
                  <a:pt x="2438938" y="46369"/>
                </a:lnTo>
                <a:close/>
                <a:moveTo>
                  <a:pt x="2270429" y="44585"/>
                </a:moveTo>
                <a:lnTo>
                  <a:pt x="2270429" y="47269"/>
                </a:lnTo>
                <a:lnTo>
                  <a:pt x="2269083" y="50671"/>
                </a:lnTo>
                <a:lnTo>
                  <a:pt x="2268894" y="50727"/>
                </a:lnTo>
                <a:close/>
                <a:moveTo>
                  <a:pt x="2546033" y="43218"/>
                </a:moveTo>
                <a:cubicBezTo>
                  <a:pt x="2544666" y="43673"/>
                  <a:pt x="2542844" y="44585"/>
                  <a:pt x="2540111" y="44585"/>
                </a:cubicBezTo>
                <a:cubicBezTo>
                  <a:pt x="2538289" y="48229"/>
                  <a:pt x="2541933" y="50051"/>
                  <a:pt x="2541933" y="50051"/>
                </a:cubicBezTo>
                <a:cubicBezTo>
                  <a:pt x="2547400" y="51873"/>
                  <a:pt x="2545577" y="46407"/>
                  <a:pt x="2549222" y="44585"/>
                </a:cubicBezTo>
                <a:cubicBezTo>
                  <a:pt x="2548311" y="42762"/>
                  <a:pt x="2547400" y="42762"/>
                  <a:pt x="2546033" y="43218"/>
                </a:cubicBezTo>
                <a:close/>
                <a:moveTo>
                  <a:pt x="2707751" y="42783"/>
                </a:moveTo>
                <a:cubicBezTo>
                  <a:pt x="2709573" y="46427"/>
                  <a:pt x="2711395" y="48249"/>
                  <a:pt x="2711395" y="51894"/>
                </a:cubicBezTo>
                <a:cubicBezTo>
                  <a:pt x="2715040" y="50071"/>
                  <a:pt x="2711395" y="42783"/>
                  <a:pt x="2707751" y="42783"/>
                </a:cubicBezTo>
                <a:close/>
                <a:moveTo>
                  <a:pt x="2427136" y="42763"/>
                </a:moveTo>
                <a:cubicBezTo>
                  <a:pt x="2423492" y="46407"/>
                  <a:pt x="2418025" y="48229"/>
                  <a:pt x="2425314" y="53696"/>
                </a:cubicBezTo>
                <a:cubicBezTo>
                  <a:pt x="2428958" y="53696"/>
                  <a:pt x="2423492" y="48229"/>
                  <a:pt x="2428958" y="48229"/>
                </a:cubicBezTo>
                <a:cubicBezTo>
                  <a:pt x="2430780" y="44585"/>
                  <a:pt x="2427136" y="44585"/>
                  <a:pt x="2427136" y="42763"/>
                </a:cubicBezTo>
                <a:close/>
                <a:moveTo>
                  <a:pt x="2410312" y="33782"/>
                </a:moveTo>
                <a:lnTo>
                  <a:pt x="2410053" y="34107"/>
                </a:lnTo>
                <a:lnTo>
                  <a:pt x="2409351" y="34076"/>
                </a:lnTo>
                <a:close/>
                <a:moveTo>
                  <a:pt x="2694996" y="31850"/>
                </a:moveTo>
                <a:cubicBezTo>
                  <a:pt x="2702284" y="30027"/>
                  <a:pt x="2702284" y="37316"/>
                  <a:pt x="2704106" y="42783"/>
                </a:cubicBezTo>
                <a:cubicBezTo>
                  <a:pt x="2705929" y="40960"/>
                  <a:pt x="2705929" y="35494"/>
                  <a:pt x="2705929" y="33672"/>
                </a:cubicBezTo>
                <a:cubicBezTo>
                  <a:pt x="2718684" y="33672"/>
                  <a:pt x="2715040" y="50071"/>
                  <a:pt x="2716862" y="57360"/>
                </a:cubicBezTo>
                <a:cubicBezTo>
                  <a:pt x="2720506" y="53716"/>
                  <a:pt x="2733261" y="44605"/>
                  <a:pt x="2735084" y="55538"/>
                </a:cubicBezTo>
                <a:cubicBezTo>
                  <a:pt x="2729617" y="55538"/>
                  <a:pt x="2727795" y="59182"/>
                  <a:pt x="2731439" y="62827"/>
                </a:cubicBezTo>
                <a:cubicBezTo>
                  <a:pt x="2733261" y="62827"/>
                  <a:pt x="2735084" y="62827"/>
                  <a:pt x="2736906" y="64649"/>
                </a:cubicBezTo>
                <a:cubicBezTo>
                  <a:pt x="2735084" y="59182"/>
                  <a:pt x="2735084" y="50071"/>
                  <a:pt x="2742372" y="50071"/>
                </a:cubicBezTo>
                <a:cubicBezTo>
                  <a:pt x="2755127" y="50071"/>
                  <a:pt x="2755127" y="62827"/>
                  <a:pt x="2756950" y="71937"/>
                </a:cubicBezTo>
                <a:cubicBezTo>
                  <a:pt x="2753305" y="70115"/>
                  <a:pt x="2751483" y="68293"/>
                  <a:pt x="2749661" y="70115"/>
                </a:cubicBezTo>
                <a:cubicBezTo>
                  <a:pt x="2747839" y="71937"/>
                  <a:pt x="2749661" y="77404"/>
                  <a:pt x="2749661" y="77404"/>
                </a:cubicBezTo>
                <a:cubicBezTo>
                  <a:pt x="2736906" y="81048"/>
                  <a:pt x="2727795" y="90159"/>
                  <a:pt x="2725973" y="101092"/>
                </a:cubicBezTo>
                <a:cubicBezTo>
                  <a:pt x="2725973" y="93804"/>
                  <a:pt x="2725973" y="88337"/>
                  <a:pt x="2729617" y="81048"/>
                </a:cubicBezTo>
                <a:cubicBezTo>
                  <a:pt x="2720506" y="77404"/>
                  <a:pt x="2720506" y="70115"/>
                  <a:pt x="2718684" y="62827"/>
                </a:cubicBezTo>
                <a:cubicBezTo>
                  <a:pt x="2725973" y="62827"/>
                  <a:pt x="2725973" y="71937"/>
                  <a:pt x="2727795" y="75582"/>
                </a:cubicBezTo>
                <a:cubicBezTo>
                  <a:pt x="2725973" y="71937"/>
                  <a:pt x="2731439" y="68293"/>
                  <a:pt x="2727795" y="64649"/>
                </a:cubicBezTo>
                <a:cubicBezTo>
                  <a:pt x="2724150" y="61004"/>
                  <a:pt x="2720506" y="61004"/>
                  <a:pt x="2718684" y="62827"/>
                </a:cubicBezTo>
                <a:cubicBezTo>
                  <a:pt x="2713217" y="64649"/>
                  <a:pt x="2709573" y="70115"/>
                  <a:pt x="2704106" y="68293"/>
                </a:cubicBezTo>
                <a:cubicBezTo>
                  <a:pt x="2702284" y="66471"/>
                  <a:pt x="2700462" y="66471"/>
                  <a:pt x="2702284" y="64649"/>
                </a:cubicBezTo>
                <a:cubicBezTo>
                  <a:pt x="2715040" y="51894"/>
                  <a:pt x="2705929" y="48249"/>
                  <a:pt x="2698640" y="37316"/>
                </a:cubicBezTo>
                <a:cubicBezTo>
                  <a:pt x="2696818" y="40960"/>
                  <a:pt x="2694996" y="42783"/>
                  <a:pt x="2693174" y="42783"/>
                </a:cubicBezTo>
                <a:cubicBezTo>
                  <a:pt x="2691351" y="42783"/>
                  <a:pt x="2691351" y="40960"/>
                  <a:pt x="2689529" y="39138"/>
                </a:cubicBezTo>
                <a:cubicBezTo>
                  <a:pt x="2685885" y="42783"/>
                  <a:pt x="2687707" y="48249"/>
                  <a:pt x="2685885" y="53716"/>
                </a:cubicBezTo>
                <a:cubicBezTo>
                  <a:pt x="2689529" y="50071"/>
                  <a:pt x="2694996" y="53716"/>
                  <a:pt x="2700462" y="51894"/>
                </a:cubicBezTo>
                <a:cubicBezTo>
                  <a:pt x="2704106" y="66471"/>
                  <a:pt x="2687707" y="75582"/>
                  <a:pt x="2678596" y="66471"/>
                </a:cubicBezTo>
                <a:cubicBezTo>
                  <a:pt x="2676774" y="64649"/>
                  <a:pt x="2678596" y="59182"/>
                  <a:pt x="2682240" y="57360"/>
                </a:cubicBezTo>
                <a:cubicBezTo>
                  <a:pt x="2684063" y="48249"/>
                  <a:pt x="2684063" y="33672"/>
                  <a:pt x="2694996" y="31850"/>
                </a:cubicBezTo>
                <a:close/>
                <a:moveTo>
                  <a:pt x="2399348" y="23174"/>
                </a:moveTo>
                <a:cubicBezTo>
                  <a:pt x="2402992" y="22263"/>
                  <a:pt x="2407092" y="22718"/>
                  <a:pt x="2408914" y="26363"/>
                </a:cubicBezTo>
                <a:cubicBezTo>
                  <a:pt x="2405270" y="28185"/>
                  <a:pt x="2397981" y="31829"/>
                  <a:pt x="2399803" y="33652"/>
                </a:cubicBezTo>
                <a:lnTo>
                  <a:pt x="2409351" y="34076"/>
                </a:lnTo>
                <a:lnTo>
                  <a:pt x="2399576" y="37068"/>
                </a:lnTo>
                <a:cubicBezTo>
                  <a:pt x="2396159" y="35929"/>
                  <a:pt x="2393426" y="32740"/>
                  <a:pt x="2392515" y="28185"/>
                </a:cubicBezTo>
                <a:cubicBezTo>
                  <a:pt x="2392515" y="26363"/>
                  <a:pt x="2395704" y="24085"/>
                  <a:pt x="2399348" y="23174"/>
                </a:cubicBezTo>
                <a:close/>
                <a:moveTo>
                  <a:pt x="2565621" y="19074"/>
                </a:moveTo>
                <a:cubicBezTo>
                  <a:pt x="2563799" y="19074"/>
                  <a:pt x="2563799" y="28185"/>
                  <a:pt x="2565621" y="30007"/>
                </a:cubicBezTo>
                <a:cubicBezTo>
                  <a:pt x="2571088" y="30007"/>
                  <a:pt x="2567443" y="20896"/>
                  <a:pt x="2565621" y="19074"/>
                </a:cubicBezTo>
                <a:close/>
                <a:moveTo>
                  <a:pt x="2560155" y="11786"/>
                </a:moveTo>
                <a:cubicBezTo>
                  <a:pt x="2554688" y="11786"/>
                  <a:pt x="2558332" y="17252"/>
                  <a:pt x="2556510" y="19074"/>
                </a:cubicBezTo>
                <a:cubicBezTo>
                  <a:pt x="2561977" y="17252"/>
                  <a:pt x="2560155" y="13608"/>
                  <a:pt x="2560155" y="11786"/>
                </a:cubicBezTo>
                <a:close/>
                <a:moveTo>
                  <a:pt x="2540111" y="853"/>
                </a:moveTo>
                <a:cubicBezTo>
                  <a:pt x="2549222" y="-2792"/>
                  <a:pt x="2554688" y="6319"/>
                  <a:pt x="2561977" y="8141"/>
                </a:cubicBezTo>
                <a:cubicBezTo>
                  <a:pt x="2563799" y="8141"/>
                  <a:pt x="2565621" y="8141"/>
                  <a:pt x="2567443" y="6319"/>
                </a:cubicBezTo>
                <a:cubicBezTo>
                  <a:pt x="2561977" y="15430"/>
                  <a:pt x="2572910" y="28185"/>
                  <a:pt x="2583843" y="24541"/>
                </a:cubicBezTo>
                <a:cubicBezTo>
                  <a:pt x="2583843" y="22719"/>
                  <a:pt x="2582021" y="20896"/>
                  <a:pt x="2582021" y="19074"/>
                </a:cubicBezTo>
                <a:cubicBezTo>
                  <a:pt x="2582021" y="15430"/>
                  <a:pt x="2587487" y="19074"/>
                  <a:pt x="2589310" y="19074"/>
                </a:cubicBezTo>
                <a:cubicBezTo>
                  <a:pt x="2587487" y="20896"/>
                  <a:pt x="2587487" y="22719"/>
                  <a:pt x="2587487" y="24541"/>
                </a:cubicBezTo>
                <a:cubicBezTo>
                  <a:pt x="2594776" y="20896"/>
                  <a:pt x="2600243" y="8141"/>
                  <a:pt x="2607531" y="15430"/>
                </a:cubicBezTo>
                <a:cubicBezTo>
                  <a:pt x="2603887" y="15430"/>
                  <a:pt x="2600243" y="15430"/>
                  <a:pt x="2602065" y="17252"/>
                </a:cubicBezTo>
                <a:cubicBezTo>
                  <a:pt x="2602065" y="20896"/>
                  <a:pt x="2612998" y="24541"/>
                  <a:pt x="2609353" y="28185"/>
                </a:cubicBezTo>
                <a:cubicBezTo>
                  <a:pt x="2605709" y="31829"/>
                  <a:pt x="2589310" y="19074"/>
                  <a:pt x="2589310" y="30007"/>
                </a:cubicBezTo>
                <a:cubicBezTo>
                  <a:pt x="2589310" y="39118"/>
                  <a:pt x="2605709" y="30007"/>
                  <a:pt x="2607531" y="37296"/>
                </a:cubicBezTo>
                <a:cubicBezTo>
                  <a:pt x="2609353" y="42763"/>
                  <a:pt x="2600243" y="39118"/>
                  <a:pt x="2598421" y="44585"/>
                </a:cubicBezTo>
                <a:cubicBezTo>
                  <a:pt x="2602065" y="42763"/>
                  <a:pt x="2607531" y="46407"/>
                  <a:pt x="2609353" y="50051"/>
                </a:cubicBezTo>
                <a:cubicBezTo>
                  <a:pt x="2611176" y="53696"/>
                  <a:pt x="2607531" y="53696"/>
                  <a:pt x="2607531" y="55518"/>
                </a:cubicBezTo>
                <a:cubicBezTo>
                  <a:pt x="2609353" y="57340"/>
                  <a:pt x="2611176" y="59162"/>
                  <a:pt x="2614820" y="60984"/>
                </a:cubicBezTo>
                <a:lnTo>
                  <a:pt x="2620287" y="55518"/>
                </a:lnTo>
                <a:lnTo>
                  <a:pt x="2640330" y="70095"/>
                </a:lnTo>
                <a:cubicBezTo>
                  <a:pt x="2634864" y="88317"/>
                  <a:pt x="2633042" y="71917"/>
                  <a:pt x="2642153" y="91961"/>
                </a:cubicBezTo>
                <a:lnTo>
                  <a:pt x="2620287" y="91961"/>
                </a:lnTo>
                <a:cubicBezTo>
                  <a:pt x="2623931" y="99250"/>
                  <a:pt x="2625753" y="108361"/>
                  <a:pt x="2614820" y="110183"/>
                </a:cubicBezTo>
                <a:cubicBezTo>
                  <a:pt x="2614820" y="104716"/>
                  <a:pt x="2616642" y="99250"/>
                  <a:pt x="2611176" y="97428"/>
                </a:cubicBezTo>
                <a:cubicBezTo>
                  <a:pt x="2603887" y="95606"/>
                  <a:pt x="2592954" y="97428"/>
                  <a:pt x="2587487" y="88317"/>
                </a:cubicBezTo>
                <a:cubicBezTo>
                  <a:pt x="2585665" y="91961"/>
                  <a:pt x="2585665" y="97428"/>
                  <a:pt x="2583843" y="95606"/>
                </a:cubicBezTo>
                <a:cubicBezTo>
                  <a:pt x="2571088" y="91961"/>
                  <a:pt x="2558332" y="101072"/>
                  <a:pt x="2554688" y="112005"/>
                </a:cubicBezTo>
                <a:cubicBezTo>
                  <a:pt x="2560155" y="112005"/>
                  <a:pt x="2560155" y="101072"/>
                  <a:pt x="2567443" y="101072"/>
                </a:cubicBezTo>
                <a:cubicBezTo>
                  <a:pt x="2561977" y="106539"/>
                  <a:pt x="2560155" y="113827"/>
                  <a:pt x="2558332" y="121116"/>
                </a:cubicBezTo>
                <a:cubicBezTo>
                  <a:pt x="2554688" y="119294"/>
                  <a:pt x="2552866" y="113827"/>
                  <a:pt x="2551044" y="115649"/>
                </a:cubicBezTo>
                <a:lnTo>
                  <a:pt x="2550860" y="116154"/>
                </a:lnTo>
                <a:lnTo>
                  <a:pt x="2551044" y="113827"/>
                </a:lnTo>
                <a:cubicBezTo>
                  <a:pt x="2545577" y="115649"/>
                  <a:pt x="2540111" y="115649"/>
                  <a:pt x="2538289" y="112005"/>
                </a:cubicBezTo>
                <a:cubicBezTo>
                  <a:pt x="2532822" y="113827"/>
                  <a:pt x="2536466" y="119294"/>
                  <a:pt x="2536466" y="122938"/>
                </a:cubicBezTo>
                <a:cubicBezTo>
                  <a:pt x="2540111" y="122938"/>
                  <a:pt x="2540111" y="121116"/>
                  <a:pt x="2540111" y="119294"/>
                </a:cubicBezTo>
                <a:cubicBezTo>
                  <a:pt x="2545577" y="119294"/>
                  <a:pt x="2543755" y="124760"/>
                  <a:pt x="2545577" y="128405"/>
                </a:cubicBezTo>
                <a:lnTo>
                  <a:pt x="2548002" y="125403"/>
                </a:lnTo>
                <a:lnTo>
                  <a:pt x="2551727" y="132960"/>
                </a:lnTo>
                <a:cubicBezTo>
                  <a:pt x="2556055" y="137971"/>
                  <a:pt x="2562888" y="142071"/>
                  <a:pt x="2567443" y="144804"/>
                </a:cubicBezTo>
                <a:cubicBezTo>
                  <a:pt x="2567443" y="142982"/>
                  <a:pt x="2569266" y="142982"/>
                  <a:pt x="2569266" y="141160"/>
                </a:cubicBezTo>
                <a:cubicBezTo>
                  <a:pt x="2574732" y="146626"/>
                  <a:pt x="2585665" y="142982"/>
                  <a:pt x="2587487" y="153915"/>
                </a:cubicBezTo>
                <a:cubicBezTo>
                  <a:pt x="2582021" y="152093"/>
                  <a:pt x="2576554" y="152093"/>
                  <a:pt x="2569266" y="150271"/>
                </a:cubicBezTo>
                <a:cubicBezTo>
                  <a:pt x="2571088" y="152093"/>
                  <a:pt x="2572910" y="155737"/>
                  <a:pt x="2571088" y="159382"/>
                </a:cubicBezTo>
                <a:cubicBezTo>
                  <a:pt x="2578377" y="159382"/>
                  <a:pt x="2582021" y="152093"/>
                  <a:pt x="2587487" y="159382"/>
                </a:cubicBezTo>
                <a:cubicBezTo>
                  <a:pt x="2594776" y="168493"/>
                  <a:pt x="2585665" y="188536"/>
                  <a:pt x="2602065" y="186714"/>
                </a:cubicBezTo>
                <a:cubicBezTo>
                  <a:pt x="2600243" y="186714"/>
                  <a:pt x="2598421" y="186714"/>
                  <a:pt x="2596598" y="188536"/>
                </a:cubicBezTo>
                <a:cubicBezTo>
                  <a:pt x="2596598" y="195825"/>
                  <a:pt x="2605709" y="203114"/>
                  <a:pt x="2612998" y="201292"/>
                </a:cubicBezTo>
                <a:cubicBezTo>
                  <a:pt x="2609353" y="203114"/>
                  <a:pt x="2607531" y="204936"/>
                  <a:pt x="2607531" y="206758"/>
                </a:cubicBezTo>
                <a:cubicBezTo>
                  <a:pt x="2607531" y="206758"/>
                  <a:pt x="2609353" y="208580"/>
                  <a:pt x="2609353" y="210403"/>
                </a:cubicBezTo>
                <a:cubicBezTo>
                  <a:pt x="2612998" y="208580"/>
                  <a:pt x="2614820" y="208580"/>
                  <a:pt x="2616642" y="206758"/>
                </a:cubicBezTo>
                <a:lnTo>
                  <a:pt x="2616642" y="219513"/>
                </a:lnTo>
                <a:cubicBezTo>
                  <a:pt x="2620287" y="223158"/>
                  <a:pt x="2623931" y="223158"/>
                  <a:pt x="2627575" y="221336"/>
                </a:cubicBezTo>
                <a:cubicBezTo>
                  <a:pt x="2633042" y="219513"/>
                  <a:pt x="2631219" y="212225"/>
                  <a:pt x="2633042" y="208580"/>
                </a:cubicBezTo>
                <a:cubicBezTo>
                  <a:pt x="2634864" y="210403"/>
                  <a:pt x="2634864" y="214047"/>
                  <a:pt x="2633042" y="215869"/>
                </a:cubicBezTo>
                <a:cubicBezTo>
                  <a:pt x="2642153" y="215869"/>
                  <a:pt x="2654908" y="212225"/>
                  <a:pt x="2651263" y="201292"/>
                </a:cubicBezTo>
                <a:cubicBezTo>
                  <a:pt x="2654908" y="203114"/>
                  <a:pt x="2656730" y="206758"/>
                  <a:pt x="2658552" y="204936"/>
                </a:cubicBezTo>
                <a:cubicBezTo>
                  <a:pt x="2664019" y="203114"/>
                  <a:pt x="2669485" y="195825"/>
                  <a:pt x="2669485" y="188536"/>
                </a:cubicBezTo>
                <a:lnTo>
                  <a:pt x="2666134" y="184347"/>
                </a:lnTo>
                <a:lnTo>
                  <a:pt x="2667436" y="181931"/>
                </a:lnTo>
                <a:cubicBezTo>
                  <a:pt x="2667208" y="180336"/>
                  <a:pt x="2666752" y="178514"/>
                  <a:pt x="2667663" y="177603"/>
                </a:cubicBezTo>
                <a:cubicBezTo>
                  <a:pt x="2673130" y="172137"/>
                  <a:pt x="2673130" y="177603"/>
                  <a:pt x="2674952" y="179426"/>
                </a:cubicBezTo>
                <a:cubicBezTo>
                  <a:pt x="2678596" y="175781"/>
                  <a:pt x="2669485" y="168493"/>
                  <a:pt x="2676774" y="166670"/>
                </a:cubicBezTo>
                <a:cubicBezTo>
                  <a:pt x="2675863" y="171225"/>
                  <a:pt x="2678141" y="174870"/>
                  <a:pt x="2680874" y="178514"/>
                </a:cubicBezTo>
                <a:lnTo>
                  <a:pt x="2684776" y="185278"/>
                </a:lnTo>
                <a:lnTo>
                  <a:pt x="2674952" y="199469"/>
                </a:lnTo>
                <a:cubicBezTo>
                  <a:pt x="2673130" y="199469"/>
                  <a:pt x="2673130" y="197647"/>
                  <a:pt x="2673130" y="195825"/>
                </a:cubicBezTo>
                <a:cubicBezTo>
                  <a:pt x="2669485" y="199469"/>
                  <a:pt x="2674952" y="208580"/>
                  <a:pt x="2676774" y="210403"/>
                </a:cubicBezTo>
                <a:cubicBezTo>
                  <a:pt x="2684063" y="208580"/>
                  <a:pt x="2693174" y="210403"/>
                  <a:pt x="2696818" y="203114"/>
                </a:cubicBezTo>
                <a:cubicBezTo>
                  <a:pt x="2704106" y="208580"/>
                  <a:pt x="2715040" y="197647"/>
                  <a:pt x="2720506" y="190359"/>
                </a:cubicBezTo>
                <a:cubicBezTo>
                  <a:pt x="2720506" y="183070"/>
                  <a:pt x="2716862" y="172137"/>
                  <a:pt x="2724150" y="166670"/>
                </a:cubicBezTo>
                <a:cubicBezTo>
                  <a:pt x="2721417" y="164848"/>
                  <a:pt x="2720506" y="162570"/>
                  <a:pt x="2720051" y="159837"/>
                </a:cubicBezTo>
                <a:lnTo>
                  <a:pt x="2719531" y="156200"/>
                </a:lnTo>
                <a:lnTo>
                  <a:pt x="2723481" y="154799"/>
                </a:lnTo>
                <a:lnTo>
                  <a:pt x="2724150" y="155737"/>
                </a:lnTo>
                <a:lnTo>
                  <a:pt x="2724225" y="154535"/>
                </a:lnTo>
                <a:lnTo>
                  <a:pt x="2725973" y="153915"/>
                </a:lnTo>
                <a:cubicBezTo>
                  <a:pt x="2725973" y="144804"/>
                  <a:pt x="2725973" y="135693"/>
                  <a:pt x="2733261" y="128405"/>
                </a:cubicBezTo>
                <a:cubicBezTo>
                  <a:pt x="2735084" y="128405"/>
                  <a:pt x="2735084" y="128405"/>
                  <a:pt x="2736906" y="130227"/>
                </a:cubicBezTo>
                <a:cubicBezTo>
                  <a:pt x="2736906" y="126583"/>
                  <a:pt x="2736906" y="122938"/>
                  <a:pt x="2736906" y="119294"/>
                </a:cubicBezTo>
                <a:cubicBezTo>
                  <a:pt x="2738728" y="121116"/>
                  <a:pt x="2740550" y="122938"/>
                  <a:pt x="2742372" y="124760"/>
                </a:cubicBezTo>
                <a:cubicBezTo>
                  <a:pt x="2744194" y="126583"/>
                  <a:pt x="2747839" y="126583"/>
                  <a:pt x="2749661" y="126583"/>
                </a:cubicBezTo>
                <a:cubicBezTo>
                  <a:pt x="2747839" y="126583"/>
                  <a:pt x="2747839" y="128405"/>
                  <a:pt x="2747839" y="130227"/>
                </a:cubicBezTo>
                <a:lnTo>
                  <a:pt x="2752250" y="128884"/>
                </a:lnTo>
                <a:lnTo>
                  <a:pt x="2753305" y="132049"/>
                </a:lnTo>
                <a:cubicBezTo>
                  <a:pt x="2755127" y="128405"/>
                  <a:pt x="2760594" y="124760"/>
                  <a:pt x="2762416" y="130227"/>
                </a:cubicBezTo>
                <a:cubicBezTo>
                  <a:pt x="2762416" y="122938"/>
                  <a:pt x="2766060" y="117472"/>
                  <a:pt x="2762416" y="113827"/>
                </a:cubicBezTo>
                <a:cubicBezTo>
                  <a:pt x="2762416" y="119293"/>
                  <a:pt x="2760594" y="121571"/>
                  <a:pt x="2758316" y="122938"/>
                </a:cubicBezTo>
                <a:lnTo>
                  <a:pt x="2753860" y="125315"/>
                </a:lnTo>
                <a:lnTo>
                  <a:pt x="2753305" y="124760"/>
                </a:lnTo>
                <a:cubicBezTo>
                  <a:pt x="2760594" y="121116"/>
                  <a:pt x="2766060" y="108361"/>
                  <a:pt x="2764238" y="97428"/>
                </a:cubicBezTo>
                <a:cubicBezTo>
                  <a:pt x="2769705" y="97428"/>
                  <a:pt x="2769705" y="97428"/>
                  <a:pt x="2771527" y="99250"/>
                </a:cubicBezTo>
                <a:cubicBezTo>
                  <a:pt x="2773349" y="101072"/>
                  <a:pt x="2775627" y="101072"/>
                  <a:pt x="2777677" y="99933"/>
                </a:cubicBezTo>
                <a:lnTo>
                  <a:pt x="2781640" y="94837"/>
                </a:lnTo>
                <a:lnTo>
                  <a:pt x="2784966" y="98338"/>
                </a:lnTo>
                <a:cubicBezTo>
                  <a:pt x="2785649" y="100160"/>
                  <a:pt x="2786105" y="101072"/>
                  <a:pt x="2787927" y="97428"/>
                </a:cubicBezTo>
                <a:lnTo>
                  <a:pt x="2787927" y="94663"/>
                </a:lnTo>
                <a:lnTo>
                  <a:pt x="2791738" y="91772"/>
                </a:lnTo>
                <a:lnTo>
                  <a:pt x="2791571" y="97428"/>
                </a:lnTo>
                <a:cubicBezTo>
                  <a:pt x="2795215" y="99250"/>
                  <a:pt x="2791571" y="90139"/>
                  <a:pt x="2795215" y="95606"/>
                </a:cubicBezTo>
                <a:cubicBezTo>
                  <a:pt x="2797038" y="93783"/>
                  <a:pt x="2796127" y="91961"/>
                  <a:pt x="2794988" y="90139"/>
                </a:cubicBezTo>
                <a:lnTo>
                  <a:pt x="2794789" y="89457"/>
                </a:lnTo>
                <a:lnTo>
                  <a:pt x="2797493" y="87405"/>
                </a:lnTo>
                <a:cubicBezTo>
                  <a:pt x="2802504" y="85128"/>
                  <a:pt x="2807971" y="84672"/>
                  <a:pt x="2813437" y="88317"/>
                </a:cubicBezTo>
                <a:cubicBezTo>
                  <a:pt x="2822548" y="93783"/>
                  <a:pt x="2818903" y="106539"/>
                  <a:pt x="2815259" y="115649"/>
                </a:cubicBezTo>
                <a:cubicBezTo>
                  <a:pt x="2815259" y="115649"/>
                  <a:pt x="2813437" y="115649"/>
                  <a:pt x="2811615" y="115649"/>
                </a:cubicBezTo>
                <a:cubicBezTo>
                  <a:pt x="2809793" y="112005"/>
                  <a:pt x="2817081" y="106539"/>
                  <a:pt x="2809793" y="108361"/>
                </a:cubicBezTo>
                <a:cubicBezTo>
                  <a:pt x="2807971" y="108361"/>
                  <a:pt x="2807971" y="113827"/>
                  <a:pt x="2806148" y="115649"/>
                </a:cubicBezTo>
                <a:cubicBezTo>
                  <a:pt x="2806148" y="113827"/>
                  <a:pt x="2806148" y="113827"/>
                  <a:pt x="2806148" y="112005"/>
                </a:cubicBezTo>
                <a:cubicBezTo>
                  <a:pt x="2804326" y="113827"/>
                  <a:pt x="2802504" y="115649"/>
                  <a:pt x="2804326" y="117472"/>
                </a:cubicBezTo>
                <a:cubicBezTo>
                  <a:pt x="2811615" y="121116"/>
                  <a:pt x="2809793" y="128405"/>
                  <a:pt x="2807971" y="135693"/>
                </a:cubicBezTo>
                <a:cubicBezTo>
                  <a:pt x="2807971" y="126583"/>
                  <a:pt x="2802504" y="119294"/>
                  <a:pt x="2800682" y="110183"/>
                </a:cubicBezTo>
                <a:lnTo>
                  <a:pt x="2792143" y="132385"/>
                </a:lnTo>
                <a:lnTo>
                  <a:pt x="2788382" y="123394"/>
                </a:lnTo>
                <a:cubicBezTo>
                  <a:pt x="2788838" y="113827"/>
                  <a:pt x="2791571" y="103806"/>
                  <a:pt x="2791571" y="95606"/>
                </a:cubicBezTo>
                <a:cubicBezTo>
                  <a:pt x="2787927" y="97428"/>
                  <a:pt x="2782460" y="101072"/>
                  <a:pt x="2784282" y="102894"/>
                </a:cubicBezTo>
                <a:cubicBezTo>
                  <a:pt x="2787927" y="121116"/>
                  <a:pt x="2780638" y="139338"/>
                  <a:pt x="2773349" y="153915"/>
                </a:cubicBezTo>
                <a:cubicBezTo>
                  <a:pt x="2775171" y="148449"/>
                  <a:pt x="2773349" y="141160"/>
                  <a:pt x="2767882" y="141160"/>
                </a:cubicBezTo>
                <a:cubicBezTo>
                  <a:pt x="2766060" y="139338"/>
                  <a:pt x="2769705" y="146626"/>
                  <a:pt x="2764238" y="148449"/>
                </a:cubicBezTo>
                <a:cubicBezTo>
                  <a:pt x="2764238" y="146626"/>
                  <a:pt x="2764238" y="144804"/>
                  <a:pt x="2764238" y="142982"/>
                </a:cubicBezTo>
                <a:cubicBezTo>
                  <a:pt x="2762416" y="142982"/>
                  <a:pt x="2762416" y="142982"/>
                  <a:pt x="2760594" y="144804"/>
                </a:cubicBezTo>
                <a:cubicBezTo>
                  <a:pt x="2758772" y="152093"/>
                  <a:pt x="2767882" y="153915"/>
                  <a:pt x="2767882" y="159382"/>
                </a:cubicBezTo>
                <a:cubicBezTo>
                  <a:pt x="2767882" y="157559"/>
                  <a:pt x="2769705" y="155737"/>
                  <a:pt x="2769705" y="153915"/>
                </a:cubicBezTo>
                <a:cubicBezTo>
                  <a:pt x="2773349" y="161204"/>
                  <a:pt x="2780638" y="168493"/>
                  <a:pt x="2776993" y="177603"/>
                </a:cubicBezTo>
                <a:cubicBezTo>
                  <a:pt x="2776993" y="177603"/>
                  <a:pt x="2775171" y="177603"/>
                  <a:pt x="2775171" y="175781"/>
                </a:cubicBezTo>
                <a:cubicBezTo>
                  <a:pt x="2771527" y="177603"/>
                  <a:pt x="2769705" y="177603"/>
                  <a:pt x="2767882" y="179426"/>
                </a:cubicBezTo>
                <a:cubicBezTo>
                  <a:pt x="2764238" y="186714"/>
                  <a:pt x="2775171" y="183070"/>
                  <a:pt x="2775171" y="188536"/>
                </a:cubicBezTo>
                <a:cubicBezTo>
                  <a:pt x="2767882" y="183070"/>
                  <a:pt x="2771527" y="194003"/>
                  <a:pt x="2769705" y="195825"/>
                </a:cubicBezTo>
                <a:cubicBezTo>
                  <a:pt x="2773349" y="203114"/>
                  <a:pt x="2778816" y="208580"/>
                  <a:pt x="2776993" y="217691"/>
                </a:cubicBezTo>
                <a:lnTo>
                  <a:pt x="2770367" y="210256"/>
                </a:lnTo>
                <a:lnTo>
                  <a:pt x="2767882" y="214066"/>
                </a:lnTo>
                <a:cubicBezTo>
                  <a:pt x="2767882" y="214066"/>
                  <a:pt x="2766060" y="214066"/>
                  <a:pt x="2766060" y="214066"/>
                </a:cubicBezTo>
                <a:cubicBezTo>
                  <a:pt x="2766060" y="212243"/>
                  <a:pt x="2766971" y="209965"/>
                  <a:pt x="2767655" y="207460"/>
                </a:cubicBezTo>
                <a:lnTo>
                  <a:pt x="2767662" y="207221"/>
                </a:lnTo>
                <a:lnTo>
                  <a:pt x="2767655" y="207213"/>
                </a:lnTo>
                <a:cubicBezTo>
                  <a:pt x="2765149" y="202202"/>
                  <a:pt x="2762416" y="196736"/>
                  <a:pt x="2756950" y="194003"/>
                </a:cubicBezTo>
                <a:cubicBezTo>
                  <a:pt x="2753305" y="192181"/>
                  <a:pt x="2749661" y="194003"/>
                  <a:pt x="2747839" y="195825"/>
                </a:cubicBezTo>
                <a:cubicBezTo>
                  <a:pt x="2746016" y="195825"/>
                  <a:pt x="2746016" y="192181"/>
                  <a:pt x="2746016" y="190359"/>
                </a:cubicBezTo>
                <a:cubicBezTo>
                  <a:pt x="2748750" y="192181"/>
                  <a:pt x="2750116" y="190359"/>
                  <a:pt x="2750572" y="187853"/>
                </a:cubicBezTo>
                <a:lnTo>
                  <a:pt x="2749914" y="183082"/>
                </a:lnTo>
                <a:lnTo>
                  <a:pt x="2751483" y="180337"/>
                </a:lnTo>
                <a:cubicBezTo>
                  <a:pt x="2752394" y="177148"/>
                  <a:pt x="2752394" y="173048"/>
                  <a:pt x="2751483" y="172137"/>
                </a:cubicBezTo>
                <a:cubicBezTo>
                  <a:pt x="2749661" y="170315"/>
                  <a:pt x="2749661" y="177603"/>
                  <a:pt x="2747839" y="179426"/>
                </a:cubicBezTo>
                <a:cubicBezTo>
                  <a:pt x="2744194" y="177603"/>
                  <a:pt x="2747839" y="172137"/>
                  <a:pt x="2747839" y="168493"/>
                </a:cubicBezTo>
                <a:cubicBezTo>
                  <a:pt x="2745106" y="170315"/>
                  <a:pt x="2743283" y="173503"/>
                  <a:pt x="2742600" y="177375"/>
                </a:cubicBezTo>
                <a:lnTo>
                  <a:pt x="2743562" y="185211"/>
                </a:lnTo>
                <a:lnTo>
                  <a:pt x="2740550" y="187169"/>
                </a:lnTo>
                <a:cubicBezTo>
                  <a:pt x="2737361" y="188536"/>
                  <a:pt x="2735084" y="190358"/>
                  <a:pt x="2736906" y="195825"/>
                </a:cubicBezTo>
                <a:cubicBezTo>
                  <a:pt x="2736906" y="197647"/>
                  <a:pt x="2740550" y="194003"/>
                  <a:pt x="2742372" y="195825"/>
                </a:cubicBezTo>
                <a:cubicBezTo>
                  <a:pt x="2735084" y="194003"/>
                  <a:pt x="2740550" y="206758"/>
                  <a:pt x="2733261" y="204936"/>
                </a:cubicBezTo>
                <a:cubicBezTo>
                  <a:pt x="2731439" y="203114"/>
                  <a:pt x="2733261" y="201292"/>
                  <a:pt x="2735084" y="199469"/>
                </a:cubicBezTo>
                <a:cubicBezTo>
                  <a:pt x="2725973" y="197647"/>
                  <a:pt x="2718684" y="206758"/>
                  <a:pt x="2715040" y="214047"/>
                </a:cubicBezTo>
                <a:cubicBezTo>
                  <a:pt x="2715040" y="212225"/>
                  <a:pt x="2715040" y="212225"/>
                  <a:pt x="2713217" y="210403"/>
                </a:cubicBezTo>
                <a:cubicBezTo>
                  <a:pt x="2707751" y="208580"/>
                  <a:pt x="2704106" y="212225"/>
                  <a:pt x="2700462" y="212225"/>
                </a:cubicBezTo>
                <a:cubicBezTo>
                  <a:pt x="2696818" y="212225"/>
                  <a:pt x="2691351" y="217691"/>
                  <a:pt x="2689529" y="219513"/>
                </a:cubicBezTo>
                <a:cubicBezTo>
                  <a:pt x="2671307" y="248668"/>
                  <a:pt x="2713217" y="254135"/>
                  <a:pt x="2731439" y="265068"/>
                </a:cubicBezTo>
                <a:cubicBezTo>
                  <a:pt x="2733261" y="266890"/>
                  <a:pt x="2733261" y="270534"/>
                  <a:pt x="2731439" y="272356"/>
                </a:cubicBezTo>
                <a:cubicBezTo>
                  <a:pt x="2731439" y="274179"/>
                  <a:pt x="2725973" y="272356"/>
                  <a:pt x="2724150" y="272356"/>
                </a:cubicBezTo>
                <a:cubicBezTo>
                  <a:pt x="2722328" y="270534"/>
                  <a:pt x="2722328" y="268712"/>
                  <a:pt x="2722328" y="266890"/>
                </a:cubicBezTo>
                <a:cubicBezTo>
                  <a:pt x="2722328" y="270534"/>
                  <a:pt x="2722328" y="276001"/>
                  <a:pt x="2724150" y="279645"/>
                </a:cubicBezTo>
                <a:cubicBezTo>
                  <a:pt x="2727795" y="277823"/>
                  <a:pt x="2725973" y="276001"/>
                  <a:pt x="2725973" y="274179"/>
                </a:cubicBezTo>
                <a:cubicBezTo>
                  <a:pt x="2731439" y="274179"/>
                  <a:pt x="2727795" y="279645"/>
                  <a:pt x="2729617" y="281467"/>
                </a:cubicBezTo>
                <a:cubicBezTo>
                  <a:pt x="2736906" y="290578"/>
                  <a:pt x="2749661" y="281467"/>
                  <a:pt x="2756950" y="276001"/>
                </a:cubicBezTo>
                <a:cubicBezTo>
                  <a:pt x="2758772" y="274179"/>
                  <a:pt x="2756950" y="270534"/>
                  <a:pt x="2756950" y="268712"/>
                </a:cubicBezTo>
                <a:cubicBezTo>
                  <a:pt x="2758772" y="268712"/>
                  <a:pt x="2758772" y="268712"/>
                  <a:pt x="2760594" y="270534"/>
                </a:cubicBezTo>
                <a:cubicBezTo>
                  <a:pt x="2760594" y="268712"/>
                  <a:pt x="2767882" y="265068"/>
                  <a:pt x="2760594" y="263246"/>
                </a:cubicBezTo>
                <a:cubicBezTo>
                  <a:pt x="2755127" y="261423"/>
                  <a:pt x="2749661" y="266890"/>
                  <a:pt x="2744194" y="263246"/>
                </a:cubicBezTo>
                <a:cubicBezTo>
                  <a:pt x="2755127" y="259601"/>
                  <a:pt x="2771527" y="259601"/>
                  <a:pt x="2778816" y="261423"/>
                </a:cubicBezTo>
                <a:cubicBezTo>
                  <a:pt x="2780638" y="261423"/>
                  <a:pt x="2780638" y="259601"/>
                  <a:pt x="2782460" y="259601"/>
                </a:cubicBezTo>
                <a:cubicBezTo>
                  <a:pt x="2778816" y="263246"/>
                  <a:pt x="2782460" y="270534"/>
                  <a:pt x="2776993" y="270534"/>
                </a:cubicBezTo>
                <a:cubicBezTo>
                  <a:pt x="2773349" y="272356"/>
                  <a:pt x="2778816" y="266890"/>
                  <a:pt x="2775171" y="265068"/>
                </a:cubicBezTo>
                <a:cubicBezTo>
                  <a:pt x="2773349" y="265068"/>
                  <a:pt x="2771527" y="265068"/>
                  <a:pt x="2771527" y="266890"/>
                </a:cubicBezTo>
                <a:cubicBezTo>
                  <a:pt x="2771527" y="270534"/>
                  <a:pt x="2775171" y="276001"/>
                  <a:pt x="2771527" y="277823"/>
                </a:cubicBezTo>
                <a:cubicBezTo>
                  <a:pt x="2767882" y="277823"/>
                  <a:pt x="2766060" y="276001"/>
                  <a:pt x="2766060" y="274179"/>
                </a:cubicBezTo>
                <a:cubicBezTo>
                  <a:pt x="2762416" y="277823"/>
                  <a:pt x="2764238" y="283289"/>
                  <a:pt x="2767882" y="285112"/>
                </a:cubicBezTo>
                <a:cubicBezTo>
                  <a:pt x="2764238" y="288756"/>
                  <a:pt x="2767882" y="294223"/>
                  <a:pt x="2762416" y="296045"/>
                </a:cubicBezTo>
                <a:cubicBezTo>
                  <a:pt x="2762416" y="294223"/>
                  <a:pt x="2762416" y="294223"/>
                  <a:pt x="2762416" y="292400"/>
                </a:cubicBezTo>
                <a:cubicBezTo>
                  <a:pt x="2760594" y="292400"/>
                  <a:pt x="2758772" y="292400"/>
                  <a:pt x="2758772" y="292400"/>
                </a:cubicBezTo>
                <a:cubicBezTo>
                  <a:pt x="2756950" y="286934"/>
                  <a:pt x="2762416" y="281467"/>
                  <a:pt x="2758772" y="276001"/>
                </a:cubicBezTo>
                <a:cubicBezTo>
                  <a:pt x="2755127" y="281467"/>
                  <a:pt x="2758772" y="288756"/>
                  <a:pt x="2753305" y="294223"/>
                </a:cubicBezTo>
                <a:cubicBezTo>
                  <a:pt x="2753305" y="294223"/>
                  <a:pt x="2753305" y="294223"/>
                  <a:pt x="2755127" y="294223"/>
                </a:cubicBezTo>
                <a:cubicBezTo>
                  <a:pt x="2755127" y="297867"/>
                  <a:pt x="2756950" y="301511"/>
                  <a:pt x="2751483" y="303333"/>
                </a:cubicBezTo>
                <a:cubicBezTo>
                  <a:pt x="2751483" y="301511"/>
                  <a:pt x="2751483" y="299689"/>
                  <a:pt x="2749661" y="297867"/>
                </a:cubicBezTo>
                <a:cubicBezTo>
                  <a:pt x="2747839" y="297867"/>
                  <a:pt x="2747839" y="297867"/>
                  <a:pt x="2746016" y="299689"/>
                </a:cubicBezTo>
                <a:cubicBezTo>
                  <a:pt x="2746016" y="294223"/>
                  <a:pt x="2746016" y="288756"/>
                  <a:pt x="2746016" y="283289"/>
                </a:cubicBezTo>
                <a:cubicBezTo>
                  <a:pt x="2742372" y="285112"/>
                  <a:pt x="2742372" y="286934"/>
                  <a:pt x="2740550" y="288756"/>
                </a:cubicBezTo>
                <a:cubicBezTo>
                  <a:pt x="2727795" y="276001"/>
                  <a:pt x="2718684" y="290578"/>
                  <a:pt x="2711395" y="299689"/>
                </a:cubicBezTo>
                <a:cubicBezTo>
                  <a:pt x="2712306" y="294222"/>
                  <a:pt x="2710028" y="290122"/>
                  <a:pt x="2706612" y="286705"/>
                </a:cubicBezTo>
                <a:lnTo>
                  <a:pt x="2696500" y="278972"/>
                </a:lnTo>
                <a:lnTo>
                  <a:pt x="2700462" y="276001"/>
                </a:lnTo>
                <a:cubicBezTo>
                  <a:pt x="2696818" y="276001"/>
                  <a:pt x="2696818" y="279645"/>
                  <a:pt x="2693174" y="277823"/>
                </a:cubicBezTo>
                <a:cubicBezTo>
                  <a:pt x="2694996" y="270534"/>
                  <a:pt x="2694996" y="270534"/>
                  <a:pt x="2698640" y="265068"/>
                </a:cubicBezTo>
                <a:cubicBezTo>
                  <a:pt x="2702284" y="266890"/>
                  <a:pt x="2698640" y="272356"/>
                  <a:pt x="2704106" y="272356"/>
                </a:cubicBezTo>
                <a:cubicBezTo>
                  <a:pt x="2705929" y="268712"/>
                  <a:pt x="2705929" y="265068"/>
                  <a:pt x="2705929" y="261423"/>
                </a:cubicBezTo>
                <a:cubicBezTo>
                  <a:pt x="2702284" y="261423"/>
                  <a:pt x="2698640" y="261423"/>
                  <a:pt x="2694996" y="259601"/>
                </a:cubicBezTo>
                <a:lnTo>
                  <a:pt x="2691253" y="268023"/>
                </a:lnTo>
                <a:lnTo>
                  <a:pt x="2690213" y="260740"/>
                </a:lnTo>
                <a:cubicBezTo>
                  <a:pt x="2688618" y="258234"/>
                  <a:pt x="2685885" y="255957"/>
                  <a:pt x="2682240" y="254135"/>
                </a:cubicBezTo>
                <a:lnTo>
                  <a:pt x="2681764" y="255469"/>
                </a:lnTo>
                <a:lnTo>
                  <a:pt x="2661741" y="235001"/>
                </a:lnTo>
                <a:lnTo>
                  <a:pt x="2641705" y="231821"/>
                </a:lnTo>
                <a:lnTo>
                  <a:pt x="2640330" y="230446"/>
                </a:lnTo>
                <a:lnTo>
                  <a:pt x="2640330" y="231603"/>
                </a:lnTo>
                <a:lnTo>
                  <a:pt x="2633042" y="230446"/>
                </a:lnTo>
                <a:cubicBezTo>
                  <a:pt x="2634864" y="235913"/>
                  <a:pt x="2640330" y="230446"/>
                  <a:pt x="2640330" y="235913"/>
                </a:cubicBezTo>
                <a:cubicBezTo>
                  <a:pt x="2642153" y="235002"/>
                  <a:pt x="2641242" y="234091"/>
                  <a:pt x="2640331" y="233179"/>
                </a:cubicBezTo>
                <a:lnTo>
                  <a:pt x="2640330" y="231603"/>
                </a:lnTo>
                <a:lnTo>
                  <a:pt x="2641705" y="231821"/>
                </a:lnTo>
                <a:lnTo>
                  <a:pt x="2643975" y="234091"/>
                </a:lnTo>
                <a:cubicBezTo>
                  <a:pt x="2636686" y="235913"/>
                  <a:pt x="2634864" y="239557"/>
                  <a:pt x="2636686" y="245024"/>
                </a:cubicBezTo>
                <a:cubicBezTo>
                  <a:pt x="2638508" y="243202"/>
                  <a:pt x="2638508" y="243202"/>
                  <a:pt x="2640330" y="243202"/>
                </a:cubicBezTo>
                <a:cubicBezTo>
                  <a:pt x="2638508" y="248668"/>
                  <a:pt x="2643975" y="252313"/>
                  <a:pt x="2634864" y="252313"/>
                </a:cubicBezTo>
                <a:cubicBezTo>
                  <a:pt x="2633042" y="250490"/>
                  <a:pt x="2631219" y="250490"/>
                  <a:pt x="2629397" y="248668"/>
                </a:cubicBezTo>
                <a:cubicBezTo>
                  <a:pt x="2629397" y="252313"/>
                  <a:pt x="2627575" y="255957"/>
                  <a:pt x="2623931" y="257779"/>
                </a:cubicBezTo>
                <a:cubicBezTo>
                  <a:pt x="2623931" y="254135"/>
                  <a:pt x="2620287" y="252313"/>
                  <a:pt x="2623931" y="248668"/>
                </a:cubicBezTo>
                <a:cubicBezTo>
                  <a:pt x="2622109" y="248668"/>
                  <a:pt x="2620287" y="248668"/>
                  <a:pt x="2618464" y="250490"/>
                </a:cubicBezTo>
                <a:cubicBezTo>
                  <a:pt x="2614365" y="258689"/>
                  <a:pt x="2609240" y="272014"/>
                  <a:pt x="2616158" y="278164"/>
                </a:cubicBezTo>
                <a:lnTo>
                  <a:pt x="2622898" y="280114"/>
                </a:lnTo>
                <a:lnTo>
                  <a:pt x="2612087" y="281922"/>
                </a:lnTo>
                <a:cubicBezTo>
                  <a:pt x="2602521" y="286022"/>
                  <a:pt x="2593866" y="294222"/>
                  <a:pt x="2589310" y="301511"/>
                </a:cubicBezTo>
                <a:cubicBezTo>
                  <a:pt x="2585665" y="297867"/>
                  <a:pt x="2583843" y="303333"/>
                  <a:pt x="2582021" y="301511"/>
                </a:cubicBezTo>
                <a:cubicBezTo>
                  <a:pt x="2580199" y="310622"/>
                  <a:pt x="2587487" y="319733"/>
                  <a:pt x="2585665" y="328844"/>
                </a:cubicBezTo>
                <a:cubicBezTo>
                  <a:pt x="2589310" y="328844"/>
                  <a:pt x="2591132" y="319733"/>
                  <a:pt x="2592954" y="327022"/>
                </a:cubicBezTo>
                <a:cubicBezTo>
                  <a:pt x="2592954" y="330666"/>
                  <a:pt x="2589310" y="337954"/>
                  <a:pt x="2585665" y="336133"/>
                </a:cubicBezTo>
                <a:cubicBezTo>
                  <a:pt x="2581110" y="334310"/>
                  <a:pt x="2580199" y="328843"/>
                  <a:pt x="2578832" y="323604"/>
                </a:cubicBezTo>
                <a:lnTo>
                  <a:pt x="2572341" y="316031"/>
                </a:lnTo>
                <a:lnTo>
                  <a:pt x="2572910" y="315177"/>
                </a:lnTo>
                <a:cubicBezTo>
                  <a:pt x="2572455" y="314266"/>
                  <a:pt x="2571088" y="313355"/>
                  <a:pt x="2569266" y="312444"/>
                </a:cubicBezTo>
                <a:lnTo>
                  <a:pt x="2572341" y="316031"/>
                </a:lnTo>
                <a:lnTo>
                  <a:pt x="2571088" y="317911"/>
                </a:lnTo>
                <a:cubicBezTo>
                  <a:pt x="2569266" y="317911"/>
                  <a:pt x="2569266" y="317911"/>
                  <a:pt x="2567443" y="316089"/>
                </a:cubicBezTo>
                <a:cubicBezTo>
                  <a:pt x="2567443" y="319733"/>
                  <a:pt x="2567443" y="321555"/>
                  <a:pt x="2569266" y="323377"/>
                </a:cubicBezTo>
                <a:cubicBezTo>
                  <a:pt x="2569266" y="323377"/>
                  <a:pt x="2569266" y="321555"/>
                  <a:pt x="2571088" y="321555"/>
                </a:cubicBezTo>
                <a:cubicBezTo>
                  <a:pt x="2571088" y="332488"/>
                  <a:pt x="2565621" y="343421"/>
                  <a:pt x="2565621" y="354354"/>
                </a:cubicBezTo>
                <a:cubicBezTo>
                  <a:pt x="2565621" y="354354"/>
                  <a:pt x="2563799" y="352532"/>
                  <a:pt x="2563799" y="352532"/>
                </a:cubicBezTo>
                <a:cubicBezTo>
                  <a:pt x="2563799" y="361642"/>
                  <a:pt x="2556510" y="365287"/>
                  <a:pt x="2554688" y="372576"/>
                </a:cubicBezTo>
                <a:cubicBezTo>
                  <a:pt x="2554688" y="372576"/>
                  <a:pt x="2554688" y="368932"/>
                  <a:pt x="2552866" y="370754"/>
                </a:cubicBezTo>
                <a:cubicBezTo>
                  <a:pt x="2551044" y="370754"/>
                  <a:pt x="2551044" y="372576"/>
                  <a:pt x="2549222" y="372576"/>
                </a:cubicBezTo>
                <a:cubicBezTo>
                  <a:pt x="2549222" y="365287"/>
                  <a:pt x="2549222" y="361642"/>
                  <a:pt x="2551044" y="354354"/>
                </a:cubicBezTo>
                <a:cubicBezTo>
                  <a:pt x="2552866" y="354354"/>
                  <a:pt x="2552866" y="354354"/>
                  <a:pt x="2554688" y="356176"/>
                </a:cubicBezTo>
                <a:cubicBezTo>
                  <a:pt x="2557422" y="351621"/>
                  <a:pt x="2555144" y="349798"/>
                  <a:pt x="2551955" y="348888"/>
                </a:cubicBezTo>
                <a:lnTo>
                  <a:pt x="2551011" y="348678"/>
                </a:lnTo>
                <a:lnTo>
                  <a:pt x="2549678" y="340232"/>
                </a:lnTo>
                <a:cubicBezTo>
                  <a:pt x="2550133" y="337499"/>
                  <a:pt x="2551044" y="334310"/>
                  <a:pt x="2551044" y="328844"/>
                </a:cubicBezTo>
                <a:cubicBezTo>
                  <a:pt x="2549222" y="330666"/>
                  <a:pt x="2547400" y="330666"/>
                  <a:pt x="2545577" y="330666"/>
                </a:cubicBezTo>
                <a:cubicBezTo>
                  <a:pt x="2547400" y="330666"/>
                  <a:pt x="2547400" y="327022"/>
                  <a:pt x="2549222" y="327022"/>
                </a:cubicBezTo>
                <a:cubicBezTo>
                  <a:pt x="2549222" y="325199"/>
                  <a:pt x="2547855" y="326110"/>
                  <a:pt x="2546489" y="326793"/>
                </a:cubicBezTo>
                <a:lnTo>
                  <a:pt x="2544392" y="325570"/>
                </a:lnTo>
                <a:lnTo>
                  <a:pt x="2547400" y="305155"/>
                </a:lnTo>
                <a:cubicBezTo>
                  <a:pt x="2543755" y="305155"/>
                  <a:pt x="2540111" y="305155"/>
                  <a:pt x="2536466" y="303333"/>
                </a:cubicBezTo>
                <a:cubicBezTo>
                  <a:pt x="2538289" y="306978"/>
                  <a:pt x="2538289" y="310622"/>
                  <a:pt x="2534644" y="312444"/>
                </a:cubicBezTo>
                <a:cubicBezTo>
                  <a:pt x="2534644" y="308800"/>
                  <a:pt x="2538289" y="301511"/>
                  <a:pt x="2531000" y="301511"/>
                </a:cubicBezTo>
                <a:cubicBezTo>
                  <a:pt x="2531000" y="306978"/>
                  <a:pt x="2525534" y="306978"/>
                  <a:pt x="2523711" y="308800"/>
                </a:cubicBezTo>
                <a:cubicBezTo>
                  <a:pt x="2531000" y="308800"/>
                  <a:pt x="2534644" y="316089"/>
                  <a:pt x="2532822" y="323377"/>
                </a:cubicBezTo>
                <a:cubicBezTo>
                  <a:pt x="2534644" y="321555"/>
                  <a:pt x="2536466" y="317911"/>
                  <a:pt x="2534644" y="314266"/>
                </a:cubicBezTo>
                <a:cubicBezTo>
                  <a:pt x="2547400" y="323377"/>
                  <a:pt x="2525534" y="330666"/>
                  <a:pt x="2523711" y="337954"/>
                </a:cubicBezTo>
                <a:cubicBezTo>
                  <a:pt x="2527356" y="337954"/>
                  <a:pt x="2534644" y="334310"/>
                  <a:pt x="2534644" y="341598"/>
                </a:cubicBezTo>
                <a:cubicBezTo>
                  <a:pt x="2534644" y="343421"/>
                  <a:pt x="2531000" y="347066"/>
                  <a:pt x="2532822" y="348888"/>
                </a:cubicBezTo>
                <a:cubicBezTo>
                  <a:pt x="2534644" y="348888"/>
                  <a:pt x="2536466" y="348888"/>
                  <a:pt x="2538289" y="350710"/>
                </a:cubicBezTo>
                <a:cubicBezTo>
                  <a:pt x="2529178" y="347066"/>
                  <a:pt x="2529178" y="356176"/>
                  <a:pt x="2531000" y="361642"/>
                </a:cubicBezTo>
                <a:cubicBezTo>
                  <a:pt x="2525534" y="357998"/>
                  <a:pt x="2531000" y="350710"/>
                  <a:pt x="2525534" y="350710"/>
                </a:cubicBezTo>
                <a:cubicBezTo>
                  <a:pt x="2521889" y="348888"/>
                  <a:pt x="2525534" y="359821"/>
                  <a:pt x="2518245" y="354354"/>
                </a:cubicBezTo>
                <a:cubicBezTo>
                  <a:pt x="2520067" y="358909"/>
                  <a:pt x="2518245" y="362098"/>
                  <a:pt x="2516423" y="365059"/>
                </a:cubicBezTo>
                <a:lnTo>
                  <a:pt x="2515227" y="371185"/>
                </a:lnTo>
                <a:lnTo>
                  <a:pt x="2515056" y="371209"/>
                </a:lnTo>
                <a:cubicBezTo>
                  <a:pt x="2514145" y="371665"/>
                  <a:pt x="2513689" y="372575"/>
                  <a:pt x="2514600" y="374397"/>
                </a:cubicBezTo>
                <a:lnTo>
                  <a:pt x="2515227" y="371185"/>
                </a:lnTo>
                <a:lnTo>
                  <a:pt x="2518245" y="370754"/>
                </a:lnTo>
                <a:cubicBezTo>
                  <a:pt x="2516423" y="379865"/>
                  <a:pt x="2520067" y="388976"/>
                  <a:pt x="2523711" y="396264"/>
                </a:cubicBezTo>
                <a:cubicBezTo>
                  <a:pt x="2523711" y="394441"/>
                  <a:pt x="2529178" y="390797"/>
                  <a:pt x="2525534" y="387152"/>
                </a:cubicBezTo>
                <a:cubicBezTo>
                  <a:pt x="2525534" y="388976"/>
                  <a:pt x="2525534" y="388976"/>
                  <a:pt x="2523711" y="390797"/>
                </a:cubicBezTo>
                <a:cubicBezTo>
                  <a:pt x="2521889" y="385331"/>
                  <a:pt x="2521889" y="378041"/>
                  <a:pt x="2523711" y="370754"/>
                </a:cubicBezTo>
                <a:cubicBezTo>
                  <a:pt x="2523711" y="378041"/>
                  <a:pt x="2529178" y="381687"/>
                  <a:pt x="2531000" y="388976"/>
                </a:cubicBezTo>
                <a:cubicBezTo>
                  <a:pt x="2538289" y="379865"/>
                  <a:pt x="2523711" y="376220"/>
                  <a:pt x="2529178" y="368932"/>
                </a:cubicBezTo>
                <a:cubicBezTo>
                  <a:pt x="2531000" y="368932"/>
                  <a:pt x="2529178" y="376220"/>
                  <a:pt x="2534644" y="374397"/>
                </a:cubicBezTo>
                <a:cubicBezTo>
                  <a:pt x="2531000" y="368932"/>
                  <a:pt x="2531000" y="361642"/>
                  <a:pt x="2538289" y="359821"/>
                </a:cubicBezTo>
                <a:cubicBezTo>
                  <a:pt x="2540111" y="359821"/>
                  <a:pt x="2543755" y="359821"/>
                  <a:pt x="2543755" y="361642"/>
                </a:cubicBezTo>
                <a:cubicBezTo>
                  <a:pt x="2543755" y="365287"/>
                  <a:pt x="2538289" y="367109"/>
                  <a:pt x="2536466" y="368932"/>
                </a:cubicBezTo>
                <a:cubicBezTo>
                  <a:pt x="2538289" y="367109"/>
                  <a:pt x="2536466" y="365287"/>
                  <a:pt x="2534644" y="365287"/>
                </a:cubicBezTo>
                <a:cubicBezTo>
                  <a:pt x="2536466" y="368932"/>
                  <a:pt x="2536466" y="374397"/>
                  <a:pt x="2538289" y="376220"/>
                </a:cubicBezTo>
                <a:cubicBezTo>
                  <a:pt x="2545577" y="387152"/>
                  <a:pt x="2563799" y="383509"/>
                  <a:pt x="2565621" y="372576"/>
                </a:cubicBezTo>
                <a:cubicBezTo>
                  <a:pt x="2567443" y="365287"/>
                  <a:pt x="2561977" y="379865"/>
                  <a:pt x="2560155" y="372576"/>
                </a:cubicBezTo>
                <a:cubicBezTo>
                  <a:pt x="2560155" y="370754"/>
                  <a:pt x="2563799" y="367109"/>
                  <a:pt x="2561977" y="363465"/>
                </a:cubicBezTo>
                <a:cubicBezTo>
                  <a:pt x="2567443" y="363465"/>
                  <a:pt x="2567443" y="372576"/>
                  <a:pt x="2572910" y="376220"/>
                </a:cubicBezTo>
                <a:cubicBezTo>
                  <a:pt x="2571088" y="379865"/>
                  <a:pt x="2569266" y="383509"/>
                  <a:pt x="2574732" y="385331"/>
                </a:cubicBezTo>
                <a:cubicBezTo>
                  <a:pt x="2576554" y="378041"/>
                  <a:pt x="2578377" y="374397"/>
                  <a:pt x="2580199" y="367109"/>
                </a:cubicBezTo>
                <a:cubicBezTo>
                  <a:pt x="2578377" y="365287"/>
                  <a:pt x="2576554" y="367109"/>
                  <a:pt x="2576554" y="368932"/>
                </a:cubicBezTo>
                <a:cubicBezTo>
                  <a:pt x="2576554" y="365287"/>
                  <a:pt x="2576554" y="361642"/>
                  <a:pt x="2578377" y="357998"/>
                </a:cubicBezTo>
                <a:cubicBezTo>
                  <a:pt x="2589310" y="367109"/>
                  <a:pt x="2594776" y="350710"/>
                  <a:pt x="2600243" y="343421"/>
                </a:cubicBezTo>
                <a:cubicBezTo>
                  <a:pt x="2596598" y="347066"/>
                  <a:pt x="2596598" y="352532"/>
                  <a:pt x="2594776" y="356176"/>
                </a:cubicBezTo>
                <a:cubicBezTo>
                  <a:pt x="2594776" y="357998"/>
                  <a:pt x="2598421" y="357998"/>
                  <a:pt x="2600243" y="356176"/>
                </a:cubicBezTo>
                <a:cubicBezTo>
                  <a:pt x="2603887" y="352532"/>
                  <a:pt x="2600243" y="343421"/>
                  <a:pt x="2607531" y="341598"/>
                </a:cubicBezTo>
                <a:cubicBezTo>
                  <a:pt x="2625753" y="337954"/>
                  <a:pt x="2625753" y="357998"/>
                  <a:pt x="2623931" y="370754"/>
                </a:cubicBezTo>
                <a:cubicBezTo>
                  <a:pt x="2627575" y="367109"/>
                  <a:pt x="2629397" y="361642"/>
                  <a:pt x="2633042" y="357998"/>
                </a:cubicBezTo>
                <a:cubicBezTo>
                  <a:pt x="2633042" y="367109"/>
                  <a:pt x="2623931" y="379865"/>
                  <a:pt x="2634864" y="385331"/>
                </a:cubicBezTo>
                <a:cubicBezTo>
                  <a:pt x="2634864" y="381687"/>
                  <a:pt x="2631219" y="374397"/>
                  <a:pt x="2636686" y="372576"/>
                </a:cubicBezTo>
                <a:cubicBezTo>
                  <a:pt x="2643975" y="370754"/>
                  <a:pt x="2642153" y="379865"/>
                  <a:pt x="2643975" y="385331"/>
                </a:cubicBezTo>
                <a:cubicBezTo>
                  <a:pt x="2647619" y="383509"/>
                  <a:pt x="2645797" y="378041"/>
                  <a:pt x="2645797" y="374397"/>
                </a:cubicBezTo>
                <a:cubicBezTo>
                  <a:pt x="2649441" y="378041"/>
                  <a:pt x="2651263" y="383509"/>
                  <a:pt x="2653086" y="385331"/>
                </a:cubicBezTo>
                <a:cubicBezTo>
                  <a:pt x="2656730" y="376220"/>
                  <a:pt x="2647619" y="365287"/>
                  <a:pt x="2654908" y="356176"/>
                </a:cubicBezTo>
                <a:cubicBezTo>
                  <a:pt x="2664019" y="368932"/>
                  <a:pt x="2654908" y="387152"/>
                  <a:pt x="2665841" y="399908"/>
                </a:cubicBezTo>
                <a:cubicBezTo>
                  <a:pt x="2658552" y="399908"/>
                  <a:pt x="2654908" y="394441"/>
                  <a:pt x="2651263" y="388976"/>
                </a:cubicBezTo>
                <a:cubicBezTo>
                  <a:pt x="2651263" y="390797"/>
                  <a:pt x="2651263" y="396264"/>
                  <a:pt x="2649441" y="398085"/>
                </a:cubicBezTo>
                <a:cubicBezTo>
                  <a:pt x="2649441" y="396264"/>
                  <a:pt x="2647619" y="394441"/>
                  <a:pt x="2645797" y="396264"/>
                </a:cubicBezTo>
                <a:cubicBezTo>
                  <a:pt x="2643975" y="398085"/>
                  <a:pt x="2645797" y="401731"/>
                  <a:pt x="2645797" y="403552"/>
                </a:cubicBezTo>
                <a:cubicBezTo>
                  <a:pt x="2640330" y="401731"/>
                  <a:pt x="2642153" y="396264"/>
                  <a:pt x="2642153" y="392620"/>
                </a:cubicBezTo>
                <a:cubicBezTo>
                  <a:pt x="2640330" y="392620"/>
                  <a:pt x="2638508" y="392620"/>
                  <a:pt x="2638508" y="394441"/>
                </a:cubicBezTo>
                <a:cubicBezTo>
                  <a:pt x="2640330" y="403552"/>
                  <a:pt x="2647619" y="414485"/>
                  <a:pt x="2656730" y="409019"/>
                </a:cubicBezTo>
                <a:cubicBezTo>
                  <a:pt x="2660374" y="412664"/>
                  <a:pt x="2658552" y="418129"/>
                  <a:pt x="2658552" y="423596"/>
                </a:cubicBezTo>
                <a:cubicBezTo>
                  <a:pt x="2654908" y="423596"/>
                  <a:pt x="2653086" y="419952"/>
                  <a:pt x="2651263" y="423596"/>
                </a:cubicBezTo>
                <a:cubicBezTo>
                  <a:pt x="2651263" y="427240"/>
                  <a:pt x="2656730" y="427240"/>
                  <a:pt x="2654908" y="429063"/>
                </a:cubicBezTo>
                <a:cubicBezTo>
                  <a:pt x="2653086" y="432707"/>
                  <a:pt x="2643975" y="425419"/>
                  <a:pt x="2642153" y="432707"/>
                </a:cubicBezTo>
                <a:cubicBezTo>
                  <a:pt x="2645797" y="432707"/>
                  <a:pt x="2649441" y="436351"/>
                  <a:pt x="2653086" y="434530"/>
                </a:cubicBezTo>
                <a:cubicBezTo>
                  <a:pt x="2654908" y="438174"/>
                  <a:pt x="2653086" y="439995"/>
                  <a:pt x="2651263" y="441819"/>
                </a:cubicBezTo>
                <a:cubicBezTo>
                  <a:pt x="2658552" y="443640"/>
                  <a:pt x="2656730" y="432707"/>
                  <a:pt x="2660374" y="434530"/>
                </a:cubicBezTo>
                <a:cubicBezTo>
                  <a:pt x="2662197" y="434530"/>
                  <a:pt x="2664019" y="439995"/>
                  <a:pt x="2665841" y="441819"/>
                </a:cubicBezTo>
                <a:cubicBezTo>
                  <a:pt x="2665841" y="436351"/>
                  <a:pt x="2664019" y="432707"/>
                  <a:pt x="2662197" y="427240"/>
                </a:cubicBezTo>
                <a:cubicBezTo>
                  <a:pt x="2674952" y="430886"/>
                  <a:pt x="2662197" y="452751"/>
                  <a:pt x="2673130" y="450928"/>
                </a:cubicBezTo>
                <a:cubicBezTo>
                  <a:pt x="2671307" y="454574"/>
                  <a:pt x="2667663" y="456395"/>
                  <a:pt x="2665841" y="458218"/>
                </a:cubicBezTo>
                <a:cubicBezTo>
                  <a:pt x="2667663" y="460039"/>
                  <a:pt x="2669485" y="460039"/>
                  <a:pt x="2671307" y="460039"/>
                </a:cubicBezTo>
                <a:cubicBezTo>
                  <a:pt x="2685885" y="452751"/>
                  <a:pt x="2673130" y="438174"/>
                  <a:pt x="2676774" y="427240"/>
                </a:cubicBezTo>
                <a:cubicBezTo>
                  <a:pt x="2682240" y="434530"/>
                  <a:pt x="2680418" y="443640"/>
                  <a:pt x="2680418" y="452751"/>
                </a:cubicBezTo>
                <a:cubicBezTo>
                  <a:pt x="2684063" y="452751"/>
                  <a:pt x="2689529" y="449107"/>
                  <a:pt x="2691351" y="445463"/>
                </a:cubicBezTo>
                <a:cubicBezTo>
                  <a:pt x="2691351" y="450928"/>
                  <a:pt x="2684063" y="452751"/>
                  <a:pt x="2682240" y="456395"/>
                </a:cubicBezTo>
                <a:cubicBezTo>
                  <a:pt x="2687707" y="456395"/>
                  <a:pt x="2693174" y="460039"/>
                  <a:pt x="2689529" y="467328"/>
                </a:cubicBezTo>
                <a:cubicBezTo>
                  <a:pt x="2687707" y="465506"/>
                  <a:pt x="2687707" y="463684"/>
                  <a:pt x="2687707" y="461862"/>
                </a:cubicBezTo>
                <a:cubicBezTo>
                  <a:pt x="2685885" y="460039"/>
                  <a:pt x="2684063" y="460039"/>
                  <a:pt x="2682240" y="461862"/>
                </a:cubicBezTo>
                <a:cubicBezTo>
                  <a:pt x="2682240" y="467328"/>
                  <a:pt x="2685885" y="469150"/>
                  <a:pt x="2689529" y="476439"/>
                </a:cubicBezTo>
                <a:cubicBezTo>
                  <a:pt x="2693174" y="481906"/>
                  <a:pt x="2700462" y="476439"/>
                  <a:pt x="2700462" y="469150"/>
                </a:cubicBezTo>
                <a:cubicBezTo>
                  <a:pt x="2700462" y="463684"/>
                  <a:pt x="2696818" y="456395"/>
                  <a:pt x="2702284" y="452751"/>
                </a:cubicBezTo>
                <a:cubicBezTo>
                  <a:pt x="2705929" y="449107"/>
                  <a:pt x="2711395" y="450928"/>
                  <a:pt x="2713217" y="456395"/>
                </a:cubicBezTo>
                <a:lnTo>
                  <a:pt x="2713217" y="466144"/>
                </a:lnTo>
                <a:lnTo>
                  <a:pt x="2711395" y="467328"/>
                </a:lnTo>
                <a:lnTo>
                  <a:pt x="2713217" y="468191"/>
                </a:lnTo>
                <a:lnTo>
                  <a:pt x="2713217" y="474618"/>
                </a:lnTo>
                <a:cubicBezTo>
                  <a:pt x="2713217" y="474618"/>
                  <a:pt x="2716862" y="476439"/>
                  <a:pt x="2716862" y="476439"/>
                </a:cubicBezTo>
                <a:cubicBezTo>
                  <a:pt x="2716862" y="476439"/>
                  <a:pt x="2718684" y="474618"/>
                  <a:pt x="2718684" y="472795"/>
                </a:cubicBezTo>
                <a:cubicBezTo>
                  <a:pt x="2718684" y="470973"/>
                  <a:pt x="2717318" y="470062"/>
                  <a:pt x="2715723" y="469378"/>
                </a:cubicBezTo>
                <a:lnTo>
                  <a:pt x="2713217" y="468191"/>
                </a:lnTo>
                <a:lnTo>
                  <a:pt x="2713217" y="467328"/>
                </a:lnTo>
                <a:lnTo>
                  <a:pt x="2713217" y="466144"/>
                </a:lnTo>
                <a:lnTo>
                  <a:pt x="2715951" y="464368"/>
                </a:lnTo>
                <a:cubicBezTo>
                  <a:pt x="2717773" y="463684"/>
                  <a:pt x="2719595" y="462773"/>
                  <a:pt x="2720506" y="460039"/>
                </a:cubicBezTo>
                <a:cubicBezTo>
                  <a:pt x="2722328" y="465506"/>
                  <a:pt x="2716862" y="472795"/>
                  <a:pt x="2724150" y="474618"/>
                </a:cubicBezTo>
                <a:cubicBezTo>
                  <a:pt x="2725973" y="474618"/>
                  <a:pt x="2727795" y="474618"/>
                  <a:pt x="2729617" y="472795"/>
                </a:cubicBezTo>
                <a:cubicBezTo>
                  <a:pt x="2733261" y="467328"/>
                  <a:pt x="2733261" y="461862"/>
                  <a:pt x="2735084" y="458218"/>
                </a:cubicBezTo>
                <a:cubicBezTo>
                  <a:pt x="2736906" y="460039"/>
                  <a:pt x="2740550" y="463684"/>
                  <a:pt x="2738728" y="467328"/>
                </a:cubicBezTo>
                <a:cubicBezTo>
                  <a:pt x="2736906" y="467328"/>
                  <a:pt x="2736906" y="463684"/>
                  <a:pt x="2735084" y="465506"/>
                </a:cubicBezTo>
                <a:cubicBezTo>
                  <a:pt x="2727795" y="474618"/>
                  <a:pt x="2740550" y="476439"/>
                  <a:pt x="2746016" y="476439"/>
                </a:cubicBezTo>
                <a:cubicBezTo>
                  <a:pt x="2747839" y="476439"/>
                  <a:pt x="2749661" y="474618"/>
                  <a:pt x="2751483" y="472795"/>
                </a:cubicBezTo>
                <a:cubicBezTo>
                  <a:pt x="2753305" y="481906"/>
                  <a:pt x="2764238" y="476439"/>
                  <a:pt x="2766060" y="483728"/>
                </a:cubicBezTo>
                <a:cubicBezTo>
                  <a:pt x="2760594" y="480083"/>
                  <a:pt x="2749661" y="478262"/>
                  <a:pt x="2751483" y="487373"/>
                </a:cubicBezTo>
                <a:cubicBezTo>
                  <a:pt x="2749661" y="485550"/>
                  <a:pt x="2746016" y="481906"/>
                  <a:pt x="2747839" y="478262"/>
                </a:cubicBezTo>
                <a:cubicBezTo>
                  <a:pt x="2740550" y="489194"/>
                  <a:pt x="2749661" y="500127"/>
                  <a:pt x="2746016" y="511061"/>
                </a:cubicBezTo>
                <a:cubicBezTo>
                  <a:pt x="2747839" y="505594"/>
                  <a:pt x="2742372" y="501949"/>
                  <a:pt x="2740550" y="500127"/>
                </a:cubicBezTo>
                <a:cubicBezTo>
                  <a:pt x="2742372" y="509238"/>
                  <a:pt x="2735084" y="512882"/>
                  <a:pt x="2733261" y="520171"/>
                </a:cubicBezTo>
                <a:cubicBezTo>
                  <a:pt x="2731439" y="520171"/>
                  <a:pt x="2731439" y="520171"/>
                  <a:pt x="2729617" y="518349"/>
                </a:cubicBezTo>
                <a:cubicBezTo>
                  <a:pt x="2725973" y="512882"/>
                  <a:pt x="2735084" y="505594"/>
                  <a:pt x="2727795" y="503771"/>
                </a:cubicBezTo>
                <a:cubicBezTo>
                  <a:pt x="2724150" y="503771"/>
                  <a:pt x="2727795" y="509238"/>
                  <a:pt x="2725973" y="511061"/>
                </a:cubicBezTo>
                <a:cubicBezTo>
                  <a:pt x="2724150" y="509238"/>
                  <a:pt x="2720506" y="507417"/>
                  <a:pt x="2718684" y="509238"/>
                </a:cubicBezTo>
                <a:cubicBezTo>
                  <a:pt x="2711395" y="512882"/>
                  <a:pt x="2724150" y="516527"/>
                  <a:pt x="2722328" y="523815"/>
                </a:cubicBezTo>
                <a:cubicBezTo>
                  <a:pt x="2720506" y="525638"/>
                  <a:pt x="2720506" y="525638"/>
                  <a:pt x="2718684" y="525638"/>
                </a:cubicBezTo>
                <a:cubicBezTo>
                  <a:pt x="2716862" y="525638"/>
                  <a:pt x="2715040" y="520171"/>
                  <a:pt x="2715040" y="518349"/>
                </a:cubicBezTo>
                <a:cubicBezTo>
                  <a:pt x="2715040" y="521993"/>
                  <a:pt x="2715040" y="523815"/>
                  <a:pt x="2713217" y="525638"/>
                </a:cubicBezTo>
                <a:lnTo>
                  <a:pt x="2711395" y="523815"/>
                </a:lnTo>
                <a:cubicBezTo>
                  <a:pt x="2707751" y="527461"/>
                  <a:pt x="2709573" y="532926"/>
                  <a:pt x="2709573" y="536571"/>
                </a:cubicBezTo>
                <a:cubicBezTo>
                  <a:pt x="2705929" y="534749"/>
                  <a:pt x="2709573" y="529282"/>
                  <a:pt x="2707751" y="525638"/>
                </a:cubicBezTo>
                <a:cubicBezTo>
                  <a:pt x="2689529" y="536571"/>
                  <a:pt x="2696818" y="556616"/>
                  <a:pt x="2698640" y="573014"/>
                </a:cubicBezTo>
                <a:lnTo>
                  <a:pt x="2696818" y="571192"/>
                </a:lnTo>
                <a:cubicBezTo>
                  <a:pt x="2696818" y="574836"/>
                  <a:pt x="2696818" y="576658"/>
                  <a:pt x="2696818" y="578481"/>
                </a:cubicBezTo>
                <a:cubicBezTo>
                  <a:pt x="2696818" y="576658"/>
                  <a:pt x="2696818" y="574836"/>
                  <a:pt x="2694996" y="573014"/>
                </a:cubicBezTo>
                <a:cubicBezTo>
                  <a:pt x="2694996" y="574836"/>
                  <a:pt x="2694996" y="574836"/>
                  <a:pt x="2693174" y="576658"/>
                </a:cubicBezTo>
                <a:cubicBezTo>
                  <a:pt x="2689529" y="573014"/>
                  <a:pt x="2693174" y="565725"/>
                  <a:pt x="2691351" y="563904"/>
                </a:cubicBezTo>
                <a:cubicBezTo>
                  <a:pt x="2684063" y="558437"/>
                  <a:pt x="2685885" y="571192"/>
                  <a:pt x="2684063" y="573014"/>
                </a:cubicBezTo>
                <a:cubicBezTo>
                  <a:pt x="2684063" y="571192"/>
                  <a:pt x="2682240" y="569370"/>
                  <a:pt x="2682240" y="569370"/>
                </a:cubicBezTo>
                <a:cubicBezTo>
                  <a:pt x="2682240" y="569370"/>
                  <a:pt x="2681329" y="569370"/>
                  <a:pt x="2680646" y="569598"/>
                </a:cubicBezTo>
                <a:lnTo>
                  <a:pt x="2680558" y="570211"/>
                </a:lnTo>
                <a:lnTo>
                  <a:pt x="2680418" y="569370"/>
                </a:lnTo>
                <a:cubicBezTo>
                  <a:pt x="2680418" y="574836"/>
                  <a:pt x="2671307" y="573014"/>
                  <a:pt x="2673130" y="578481"/>
                </a:cubicBezTo>
                <a:cubicBezTo>
                  <a:pt x="2671307" y="573014"/>
                  <a:pt x="2667663" y="567548"/>
                  <a:pt x="2662197" y="569370"/>
                </a:cubicBezTo>
                <a:lnTo>
                  <a:pt x="2662828" y="566217"/>
                </a:lnTo>
                <a:lnTo>
                  <a:pt x="2667663" y="569370"/>
                </a:lnTo>
                <a:cubicBezTo>
                  <a:pt x="2667663" y="563904"/>
                  <a:pt x="2664019" y="563904"/>
                  <a:pt x="2664019" y="558437"/>
                </a:cubicBezTo>
                <a:lnTo>
                  <a:pt x="2663651" y="560175"/>
                </a:lnTo>
                <a:lnTo>
                  <a:pt x="2658097" y="558893"/>
                </a:lnTo>
                <a:cubicBezTo>
                  <a:pt x="2656275" y="558893"/>
                  <a:pt x="2654908" y="558437"/>
                  <a:pt x="2654908" y="554792"/>
                </a:cubicBezTo>
                <a:cubicBezTo>
                  <a:pt x="2651263" y="558437"/>
                  <a:pt x="2656730" y="563904"/>
                  <a:pt x="2654908" y="569370"/>
                </a:cubicBezTo>
                <a:cubicBezTo>
                  <a:pt x="2658552" y="571192"/>
                  <a:pt x="2660374" y="573014"/>
                  <a:pt x="2662197" y="571192"/>
                </a:cubicBezTo>
                <a:cubicBezTo>
                  <a:pt x="2662197" y="574836"/>
                  <a:pt x="2665841" y="578481"/>
                  <a:pt x="2660374" y="576658"/>
                </a:cubicBezTo>
                <a:cubicBezTo>
                  <a:pt x="2656730" y="574836"/>
                  <a:pt x="2651263" y="571192"/>
                  <a:pt x="2649441" y="576658"/>
                </a:cubicBezTo>
                <a:cubicBezTo>
                  <a:pt x="2649441" y="574836"/>
                  <a:pt x="2649441" y="571192"/>
                  <a:pt x="2647619" y="571192"/>
                </a:cubicBezTo>
                <a:cubicBezTo>
                  <a:pt x="2638508" y="571192"/>
                  <a:pt x="2645797" y="583947"/>
                  <a:pt x="2636686" y="582125"/>
                </a:cubicBezTo>
                <a:cubicBezTo>
                  <a:pt x="2633042" y="582125"/>
                  <a:pt x="2633042" y="580303"/>
                  <a:pt x="2631219" y="578481"/>
                </a:cubicBezTo>
                <a:cubicBezTo>
                  <a:pt x="2633042" y="583947"/>
                  <a:pt x="2629397" y="583947"/>
                  <a:pt x="2627575" y="585769"/>
                </a:cubicBezTo>
                <a:cubicBezTo>
                  <a:pt x="2627575" y="583947"/>
                  <a:pt x="2627575" y="582125"/>
                  <a:pt x="2625753" y="580303"/>
                </a:cubicBezTo>
                <a:cubicBezTo>
                  <a:pt x="2618464" y="580303"/>
                  <a:pt x="2614820" y="576658"/>
                  <a:pt x="2616642" y="569370"/>
                </a:cubicBezTo>
                <a:lnTo>
                  <a:pt x="2615428" y="568763"/>
                </a:lnTo>
                <a:lnTo>
                  <a:pt x="2614820" y="565725"/>
                </a:lnTo>
                <a:lnTo>
                  <a:pt x="2613909" y="568004"/>
                </a:lnTo>
                <a:lnTo>
                  <a:pt x="2612998" y="567548"/>
                </a:lnTo>
                <a:lnTo>
                  <a:pt x="2613210" y="569750"/>
                </a:lnTo>
                <a:lnTo>
                  <a:pt x="2612998" y="570281"/>
                </a:lnTo>
                <a:lnTo>
                  <a:pt x="2613298" y="570655"/>
                </a:lnTo>
                <a:lnTo>
                  <a:pt x="2614820" y="586453"/>
                </a:lnTo>
                <a:cubicBezTo>
                  <a:pt x="2617553" y="592147"/>
                  <a:pt x="2622109" y="597614"/>
                  <a:pt x="2627575" y="603991"/>
                </a:cubicBezTo>
                <a:cubicBezTo>
                  <a:pt x="2629397" y="603991"/>
                  <a:pt x="2627575" y="611280"/>
                  <a:pt x="2627575" y="614924"/>
                </a:cubicBezTo>
                <a:cubicBezTo>
                  <a:pt x="2629397" y="614924"/>
                  <a:pt x="2629397" y="614924"/>
                  <a:pt x="2631219" y="613103"/>
                </a:cubicBezTo>
                <a:cubicBezTo>
                  <a:pt x="2629397" y="616746"/>
                  <a:pt x="2629397" y="620391"/>
                  <a:pt x="2627575" y="624035"/>
                </a:cubicBezTo>
                <a:cubicBezTo>
                  <a:pt x="2627575" y="616746"/>
                  <a:pt x="2620287" y="620391"/>
                  <a:pt x="2616642" y="614924"/>
                </a:cubicBezTo>
                <a:cubicBezTo>
                  <a:pt x="2618464" y="620391"/>
                  <a:pt x="2620287" y="624035"/>
                  <a:pt x="2620287" y="629501"/>
                </a:cubicBezTo>
                <a:cubicBezTo>
                  <a:pt x="2620287" y="627679"/>
                  <a:pt x="2618464" y="627679"/>
                  <a:pt x="2618464" y="625857"/>
                </a:cubicBezTo>
                <a:cubicBezTo>
                  <a:pt x="2618464" y="625857"/>
                  <a:pt x="2616642" y="627679"/>
                  <a:pt x="2616642" y="627679"/>
                </a:cubicBezTo>
                <a:cubicBezTo>
                  <a:pt x="2618464" y="634968"/>
                  <a:pt x="2627575" y="638612"/>
                  <a:pt x="2634864" y="634968"/>
                </a:cubicBezTo>
                <a:cubicBezTo>
                  <a:pt x="2634864" y="634968"/>
                  <a:pt x="2634864" y="629501"/>
                  <a:pt x="2636686" y="627679"/>
                </a:cubicBezTo>
                <a:cubicBezTo>
                  <a:pt x="2643975" y="634968"/>
                  <a:pt x="2654908" y="636790"/>
                  <a:pt x="2660374" y="629501"/>
                </a:cubicBezTo>
                <a:cubicBezTo>
                  <a:pt x="2662197" y="627679"/>
                  <a:pt x="2664019" y="622213"/>
                  <a:pt x="2667663" y="624035"/>
                </a:cubicBezTo>
                <a:cubicBezTo>
                  <a:pt x="2669485" y="625857"/>
                  <a:pt x="2667663" y="631324"/>
                  <a:pt x="2671307" y="631324"/>
                </a:cubicBezTo>
                <a:cubicBezTo>
                  <a:pt x="2665841" y="631324"/>
                  <a:pt x="2658552" y="631324"/>
                  <a:pt x="2660374" y="638612"/>
                </a:cubicBezTo>
                <a:cubicBezTo>
                  <a:pt x="2656730" y="629501"/>
                  <a:pt x="2654908" y="636790"/>
                  <a:pt x="2653086" y="634968"/>
                </a:cubicBezTo>
                <a:cubicBezTo>
                  <a:pt x="2649441" y="640435"/>
                  <a:pt x="2654908" y="644079"/>
                  <a:pt x="2654908" y="647723"/>
                </a:cubicBezTo>
                <a:cubicBezTo>
                  <a:pt x="2651263" y="644079"/>
                  <a:pt x="2651263" y="634968"/>
                  <a:pt x="2645797" y="636790"/>
                </a:cubicBezTo>
                <a:cubicBezTo>
                  <a:pt x="2638964" y="638157"/>
                  <a:pt x="2646481" y="641574"/>
                  <a:pt x="2648360" y="645503"/>
                </a:cubicBezTo>
                <a:lnTo>
                  <a:pt x="2647798" y="648569"/>
                </a:lnTo>
                <a:lnTo>
                  <a:pt x="2645797" y="645901"/>
                </a:lnTo>
                <a:cubicBezTo>
                  <a:pt x="2647619" y="647723"/>
                  <a:pt x="2647619" y="647723"/>
                  <a:pt x="2647619" y="649545"/>
                </a:cubicBezTo>
                <a:lnTo>
                  <a:pt x="2647798" y="648569"/>
                </a:lnTo>
                <a:lnTo>
                  <a:pt x="2656730" y="660478"/>
                </a:lnTo>
                <a:cubicBezTo>
                  <a:pt x="2656730" y="656834"/>
                  <a:pt x="2656730" y="655012"/>
                  <a:pt x="2658552" y="653190"/>
                </a:cubicBezTo>
                <a:cubicBezTo>
                  <a:pt x="2658552" y="656834"/>
                  <a:pt x="2658552" y="662301"/>
                  <a:pt x="2660374" y="665945"/>
                </a:cubicBezTo>
                <a:cubicBezTo>
                  <a:pt x="2656730" y="658656"/>
                  <a:pt x="2643975" y="665945"/>
                  <a:pt x="2642153" y="656834"/>
                </a:cubicBezTo>
                <a:cubicBezTo>
                  <a:pt x="2634864" y="658656"/>
                  <a:pt x="2645797" y="665945"/>
                  <a:pt x="2640330" y="667767"/>
                </a:cubicBezTo>
                <a:cubicBezTo>
                  <a:pt x="2640330" y="667767"/>
                  <a:pt x="2638508" y="667767"/>
                  <a:pt x="2638508" y="665945"/>
                </a:cubicBezTo>
                <a:cubicBezTo>
                  <a:pt x="2640330" y="680522"/>
                  <a:pt x="2645797" y="693278"/>
                  <a:pt x="2656730" y="702388"/>
                </a:cubicBezTo>
                <a:cubicBezTo>
                  <a:pt x="2656730" y="698744"/>
                  <a:pt x="2656730" y="696922"/>
                  <a:pt x="2656730" y="695100"/>
                </a:cubicBezTo>
                <a:cubicBezTo>
                  <a:pt x="2665841" y="696922"/>
                  <a:pt x="2669030" y="703755"/>
                  <a:pt x="2670624" y="711727"/>
                </a:cubicBezTo>
                <a:lnTo>
                  <a:pt x="2673283" y="726139"/>
                </a:lnTo>
                <a:lnTo>
                  <a:pt x="2673130" y="726077"/>
                </a:lnTo>
                <a:lnTo>
                  <a:pt x="2673294" y="726200"/>
                </a:lnTo>
                <a:lnTo>
                  <a:pt x="2674952" y="735188"/>
                </a:lnTo>
                <a:cubicBezTo>
                  <a:pt x="2671307" y="737010"/>
                  <a:pt x="2667663" y="733365"/>
                  <a:pt x="2665841" y="731543"/>
                </a:cubicBezTo>
                <a:cubicBezTo>
                  <a:pt x="2660374" y="722432"/>
                  <a:pt x="2658552" y="713321"/>
                  <a:pt x="2649441" y="707855"/>
                </a:cubicBezTo>
                <a:cubicBezTo>
                  <a:pt x="2649441" y="711499"/>
                  <a:pt x="2654908" y="713321"/>
                  <a:pt x="2656730" y="718788"/>
                </a:cubicBezTo>
                <a:cubicBezTo>
                  <a:pt x="2654908" y="718788"/>
                  <a:pt x="2653086" y="718788"/>
                  <a:pt x="2651263" y="716966"/>
                </a:cubicBezTo>
                <a:cubicBezTo>
                  <a:pt x="2654908" y="720610"/>
                  <a:pt x="2653086" y="726077"/>
                  <a:pt x="2653086" y="729721"/>
                </a:cubicBezTo>
                <a:cubicBezTo>
                  <a:pt x="2649441" y="724254"/>
                  <a:pt x="2647619" y="716966"/>
                  <a:pt x="2642153" y="715144"/>
                </a:cubicBezTo>
                <a:cubicBezTo>
                  <a:pt x="2636686" y="713321"/>
                  <a:pt x="2638508" y="722432"/>
                  <a:pt x="2638508" y="726077"/>
                </a:cubicBezTo>
                <a:cubicBezTo>
                  <a:pt x="2643975" y="740654"/>
                  <a:pt x="2662197" y="738832"/>
                  <a:pt x="2674952" y="735188"/>
                </a:cubicBezTo>
                <a:cubicBezTo>
                  <a:pt x="2676774" y="735188"/>
                  <a:pt x="2678596" y="738832"/>
                  <a:pt x="2678596" y="740654"/>
                </a:cubicBezTo>
                <a:cubicBezTo>
                  <a:pt x="2678596" y="742476"/>
                  <a:pt x="2678596" y="742476"/>
                  <a:pt x="2676774" y="742476"/>
                </a:cubicBezTo>
                <a:cubicBezTo>
                  <a:pt x="2680418" y="746121"/>
                  <a:pt x="2689529" y="753409"/>
                  <a:pt x="2691351" y="746121"/>
                </a:cubicBezTo>
                <a:cubicBezTo>
                  <a:pt x="2691351" y="742476"/>
                  <a:pt x="2682240" y="746121"/>
                  <a:pt x="2684063" y="738832"/>
                </a:cubicBezTo>
                <a:cubicBezTo>
                  <a:pt x="2685885" y="740654"/>
                  <a:pt x="2685885" y="740654"/>
                  <a:pt x="2687707" y="742476"/>
                </a:cubicBezTo>
                <a:cubicBezTo>
                  <a:pt x="2690441" y="737010"/>
                  <a:pt x="2687252" y="735188"/>
                  <a:pt x="2683152" y="733594"/>
                </a:cubicBezTo>
                <a:lnTo>
                  <a:pt x="2673294" y="726200"/>
                </a:lnTo>
                <a:lnTo>
                  <a:pt x="2673283" y="726139"/>
                </a:lnTo>
                <a:lnTo>
                  <a:pt x="2691124" y="733366"/>
                </a:lnTo>
                <a:cubicBezTo>
                  <a:pt x="2696818" y="736099"/>
                  <a:pt x="2701373" y="739743"/>
                  <a:pt x="2702284" y="746121"/>
                </a:cubicBezTo>
                <a:cubicBezTo>
                  <a:pt x="2700462" y="746121"/>
                  <a:pt x="2694996" y="746121"/>
                  <a:pt x="2693174" y="744298"/>
                </a:cubicBezTo>
                <a:cubicBezTo>
                  <a:pt x="2693174" y="746121"/>
                  <a:pt x="2693174" y="746121"/>
                  <a:pt x="2693174" y="747943"/>
                </a:cubicBezTo>
                <a:cubicBezTo>
                  <a:pt x="2698640" y="747943"/>
                  <a:pt x="2704106" y="747943"/>
                  <a:pt x="2707751" y="746121"/>
                </a:cubicBezTo>
                <a:cubicBezTo>
                  <a:pt x="2707751" y="744298"/>
                  <a:pt x="2707751" y="744298"/>
                  <a:pt x="2707751" y="742476"/>
                </a:cubicBezTo>
                <a:cubicBezTo>
                  <a:pt x="2711395" y="744298"/>
                  <a:pt x="2711395" y="744298"/>
                  <a:pt x="2713217" y="746121"/>
                </a:cubicBezTo>
                <a:cubicBezTo>
                  <a:pt x="2711395" y="746121"/>
                  <a:pt x="2707751" y="746121"/>
                  <a:pt x="2707751" y="747943"/>
                </a:cubicBezTo>
                <a:cubicBezTo>
                  <a:pt x="2711395" y="757054"/>
                  <a:pt x="2722328" y="751587"/>
                  <a:pt x="2727795" y="758876"/>
                </a:cubicBezTo>
                <a:cubicBezTo>
                  <a:pt x="2727795" y="755231"/>
                  <a:pt x="2727795" y="753409"/>
                  <a:pt x="2725973" y="751587"/>
                </a:cubicBezTo>
                <a:cubicBezTo>
                  <a:pt x="2727795" y="753409"/>
                  <a:pt x="2731439" y="755231"/>
                  <a:pt x="2733261" y="753409"/>
                </a:cubicBezTo>
                <a:cubicBezTo>
                  <a:pt x="2736906" y="751587"/>
                  <a:pt x="2744194" y="749765"/>
                  <a:pt x="2744194" y="746121"/>
                </a:cubicBezTo>
                <a:cubicBezTo>
                  <a:pt x="2742372" y="724254"/>
                  <a:pt x="2722328" y="711499"/>
                  <a:pt x="2711395" y="691455"/>
                </a:cubicBezTo>
                <a:cubicBezTo>
                  <a:pt x="2709573" y="687811"/>
                  <a:pt x="2709573" y="682345"/>
                  <a:pt x="2707751" y="678700"/>
                </a:cubicBezTo>
                <a:cubicBezTo>
                  <a:pt x="2709573" y="680522"/>
                  <a:pt x="2711395" y="682345"/>
                  <a:pt x="2715040" y="680522"/>
                </a:cubicBezTo>
                <a:cubicBezTo>
                  <a:pt x="2718684" y="680522"/>
                  <a:pt x="2720506" y="671411"/>
                  <a:pt x="2724150" y="669589"/>
                </a:cubicBezTo>
                <a:cubicBezTo>
                  <a:pt x="2705929" y="693278"/>
                  <a:pt x="2735084" y="720610"/>
                  <a:pt x="2751483" y="735188"/>
                </a:cubicBezTo>
                <a:cubicBezTo>
                  <a:pt x="2756950" y="720610"/>
                  <a:pt x="2775171" y="716966"/>
                  <a:pt x="2782460" y="706033"/>
                </a:cubicBezTo>
                <a:cubicBezTo>
                  <a:pt x="2784282" y="702388"/>
                  <a:pt x="2784282" y="696922"/>
                  <a:pt x="2776993" y="695100"/>
                </a:cubicBezTo>
                <a:cubicBezTo>
                  <a:pt x="2776993" y="696922"/>
                  <a:pt x="2776993" y="698744"/>
                  <a:pt x="2775171" y="698744"/>
                </a:cubicBezTo>
                <a:cubicBezTo>
                  <a:pt x="2771527" y="698744"/>
                  <a:pt x="2767882" y="695100"/>
                  <a:pt x="2764238" y="695100"/>
                </a:cubicBezTo>
                <a:cubicBezTo>
                  <a:pt x="2767882" y="693278"/>
                  <a:pt x="2773349" y="691455"/>
                  <a:pt x="2775171" y="685989"/>
                </a:cubicBezTo>
                <a:cubicBezTo>
                  <a:pt x="2776993" y="678700"/>
                  <a:pt x="2769705" y="675056"/>
                  <a:pt x="2766060" y="667767"/>
                </a:cubicBezTo>
                <a:lnTo>
                  <a:pt x="2766789" y="667767"/>
                </a:lnTo>
                <a:lnTo>
                  <a:pt x="2767199" y="669134"/>
                </a:lnTo>
                <a:cubicBezTo>
                  <a:pt x="2769705" y="674145"/>
                  <a:pt x="2773349" y="678701"/>
                  <a:pt x="2778816" y="682345"/>
                </a:cubicBezTo>
                <a:cubicBezTo>
                  <a:pt x="2778816" y="678700"/>
                  <a:pt x="2776993" y="673234"/>
                  <a:pt x="2775171" y="669589"/>
                </a:cubicBezTo>
                <a:cubicBezTo>
                  <a:pt x="2781549" y="669589"/>
                  <a:pt x="2781094" y="664578"/>
                  <a:pt x="2777677" y="660023"/>
                </a:cubicBezTo>
                <a:lnTo>
                  <a:pt x="2769341" y="656291"/>
                </a:lnTo>
                <a:lnTo>
                  <a:pt x="2768794" y="653418"/>
                </a:lnTo>
                <a:lnTo>
                  <a:pt x="2763371" y="644832"/>
                </a:lnTo>
                <a:lnTo>
                  <a:pt x="2759141" y="630732"/>
                </a:lnTo>
                <a:lnTo>
                  <a:pt x="2763328" y="612192"/>
                </a:lnTo>
                <a:lnTo>
                  <a:pt x="2762717" y="605981"/>
                </a:lnTo>
                <a:lnTo>
                  <a:pt x="2763381" y="606349"/>
                </a:lnTo>
                <a:lnTo>
                  <a:pt x="2767882" y="613103"/>
                </a:lnTo>
                <a:cubicBezTo>
                  <a:pt x="2766060" y="612191"/>
                  <a:pt x="2766516" y="609914"/>
                  <a:pt x="2766516" y="608091"/>
                </a:cubicBezTo>
                <a:lnTo>
                  <a:pt x="2763381" y="606349"/>
                </a:lnTo>
                <a:lnTo>
                  <a:pt x="2762645" y="605246"/>
                </a:lnTo>
                <a:lnTo>
                  <a:pt x="2762416" y="602914"/>
                </a:lnTo>
                <a:lnTo>
                  <a:pt x="2762416" y="589414"/>
                </a:lnTo>
                <a:cubicBezTo>
                  <a:pt x="2760594" y="589414"/>
                  <a:pt x="2758772" y="589414"/>
                  <a:pt x="2756950" y="591236"/>
                </a:cubicBezTo>
                <a:lnTo>
                  <a:pt x="2758336" y="595164"/>
                </a:lnTo>
                <a:lnTo>
                  <a:pt x="2753305" y="589414"/>
                </a:lnTo>
                <a:cubicBezTo>
                  <a:pt x="2756950" y="589414"/>
                  <a:pt x="2746016" y="582125"/>
                  <a:pt x="2755127" y="582125"/>
                </a:cubicBezTo>
                <a:cubicBezTo>
                  <a:pt x="2758772" y="582125"/>
                  <a:pt x="2760594" y="585769"/>
                  <a:pt x="2762416" y="583947"/>
                </a:cubicBezTo>
                <a:cubicBezTo>
                  <a:pt x="2764238" y="582125"/>
                  <a:pt x="2764238" y="578481"/>
                  <a:pt x="2764238" y="576658"/>
                </a:cubicBezTo>
                <a:cubicBezTo>
                  <a:pt x="2762416" y="576658"/>
                  <a:pt x="2760594" y="576658"/>
                  <a:pt x="2758772" y="576658"/>
                </a:cubicBezTo>
                <a:cubicBezTo>
                  <a:pt x="2758772" y="574836"/>
                  <a:pt x="2758772" y="573014"/>
                  <a:pt x="2760594" y="571192"/>
                </a:cubicBezTo>
                <a:cubicBezTo>
                  <a:pt x="2764238" y="576658"/>
                  <a:pt x="2773349" y="574836"/>
                  <a:pt x="2771527" y="583947"/>
                </a:cubicBezTo>
                <a:cubicBezTo>
                  <a:pt x="2773349" y="582125"/>
                  <a:pt x="2775171" y="578481"/>
                  <a:pt x="2776993" y="580303"/>
                </a:cubicBezTo>
                <a:cubicBezTo>
                  <a:pt x="2778816" y="582125"/>
                  <a:pt x="2778816" y="585769"/>
                  <a:pt x="2780638" y="587591"/>
                </a:cubicBezTo>
                <a:cubicBezTo>
                  <a:pt x="2782460" y="587591"/>
                  <a:pt x="2786104" y="583947"/>
                  <a:pt x="2784282" y="582125"/>
                </a:cubicBezTo>
                <a:cubicBezTo>
                  <a:pt x="2782460" y="578481"/>
                  <a:pt x="2766060" y="574836"/>
                  <a:pt x="2776993" y="567548"/>
                </a:cubicBezTo>
                <a:cubicBezTo>
                  <a:pt x="2778816" y="567548"/>
                  <a:pt x="2778816" y="567548"/>
                  <a:pt x="2780638" y="569370"/>
                </a:cubicBezTo>
                <a:cubicBezTo>
                  <a:pt x="2784282" y="573014"/>
                  <a:pt x="2776993" y="573014"/>
                  <a:pt x="2778816" y="574836"/>
                </a:cubicBezTo>
                <a:cubicBezTo>
                  <a:pt x="2780638" y="574836"/>
                  <a:pt x="2782460" y="574836"/>
                  <a:pt x="2784282" y="574836"/>
                </a:cubicBezTo>
                <a:cubicBezTo>
                  <a:pt x="2782460" y="573014"/>
                  <a:pt x="2782460" y="569370"/>
                  <a:pt x="2784282" y="565725"/>
                </a:cubicBezTo>
                <a:cubicBezTo>
                  <a:pt x="2784282" y="576658"/>
                  <a:pt x="2793393" y="585769"/>
                  <a:pt x="2804326" y="587591"/>
                </a:cubicBezTo>
                <a:cubicBezTo>
                  <a:pt x="2804326" y="585769"/>
                  <a:pt x="2804326" y="583947"/>
                  <a:pt x="2806148" y="582125"/>
                </a:cubicBezTo>
                <a:lnTo>
                  <a:pt x="2807326" y="584480"/>
                </a:lnTo>
                <a:lnTo>
                  <a:pt x="2806148" y="585769"/>
                </a:lnTo>
                <a:lnTo>
                  <a:pt x="2807401" y="586161"/>
                </a:lnTo>
                <a:lnTo>
                  <a:pt x="2796355" y="593742"/>
                </a:lnTo>
                <a:cubicBezTo>
                  <a:pt x="2793849" y="597158"/>
                  <a:pt x="2793393" y="601258"/>
                  <a:pt x="2797037" y="605813"/>
                </a:cubicBezTo>
                <a:cubicBezTo>
                  <a:pt x="2789749" y="607635"/>
                  <a:pt x="2789749" y="589414"/>
                  <a:pt x="2782460" y="596702"/>
                </a:cubicBezTo>
                <a:cubicBezTo>
                  <a:pt x="2776993" y="600347"/>
                  <a:pt x="2787927" y="600347"/>
                  <a:pt x="2789749" y="605813"/>
                </a:cubicBezTo>
                <a:cubicBezTo>
                  <a:pt x="2787927" y="605813"/>
                  <a:pt x="2787927" y="607635"/>
                  <a:pt x="2787927" y="609459"/>
                </a:cubicBezTo>
                <a:cubicBezTo>
                  <a:pt x="2789749" y="609459"/>
                  <a:pt x="2789749" y="609459"/>
                  <a:pt x="2791571" y="611280"/>
                </a:cubicBezTo>
                <a:cubicBezTo>
                  <a:pt x="2791571" y="609459"/>
                  <a:pt x="2791571" y="607635"/>
                  <a:pt x="2793393" y="607635"/>
                </a:cubicBezTo>
                <a:cubicBezTo>
                  <a:pt x="2797037" y="609459"/>
                  <a:pt x="2798860" y="611280"/>
                  <a:pt x="2800682" y="613103"/>
                </a:cubicBezTo>
                <a:cubicBezTo>
                  <a:pt x="2798860" y="607635"/>
                  <a:pt x="2798860" y="603991"/>
                  <a:pt x="2798860" y="598524"/>
                </a:cubicBezTo>
                <a:cubicBezTo>
                  <a:pt x="2806148" y="603991"/>
                  <a:pt x="2807971" y="607635"/>
                  <a:pt x="2815259" y="600347"/>
                </a:cubicBezTo>
                <a:cubicBezTo>
                  <a:pt x="2815259" y="603991"/>
                  <a:pt x="2820726" y="607635"/>
                  <a:pt x="2822548" y="609459"/>
                </a:cubicBezTo>
                <a:cubicBezTo>
                  <a:pt x="2822548" y="605813"/>
                  <a:pt x="2818903" y="602169"/>
                  <a:pt x="2824370" y="600347"/>
                </a:cubicBezTo>
                <a:cubicBezTo>
                  <a:pt x="2822548" y="603991"/>
                  <a:pt x="2822548" y="605813"/>
                  <a:pt x="2824370" y="607635"/>
                </a:cubicBezTo>
                <a:cubicBezTo>
                  <a:pt x="2826192" y="607635"/>
                  <a:pt x="2826192" y="607635"/>
                  <a:pt x="2828014" y="607635"/>
                </a:cubicBezTo>
                <a:cubicBezTo>
                  <a:pt x="2828014" y="605813"/>
                  <a:pt x="2828014" y="602169"/>
                  <a:pt x="2829837" y="602169"/>
                </a:cubicBezTo>
                <a:cubicBezTo>
                  <a:pt x="2837125" y="602169"/>
                  <a:pt x="2849880" y="605813"/>
                  <a:pt x="2851703" y="594880"/>
                </a:cubicBezTo>
                <a:cubicBezTo>
                  <a:pt x="2855347" y="596702"/>
                  <a:pt x="2860813" y="596702"/>
                  <a:pt x="2858991" y="594880"/>
                </a:cubicBezTo>
                <a:cubicBezTo>
                  <a:pt x="2853525" y="576658"/>
                  <a:pt x="2835303" y="576658"/>
                  <a:pt x="2820726" y="574836"/>
                </a:cubicBezTo>
                <a:cubicBezTo>
                  <a:pt x="2820726" y="578481"/>
                  <a:pt x="2826192" y="580303"/>
                  <a:pt x="2822548" y="585769"/>
                </a:cubicBezTo>
                <a:cubicBezTo>
                  <a:pt x="2820726" y="583947"/>
                  <a:pt x="2815259" y="582125"/>
                  <a:pt x="2813437" y="583947"/>
                </a:cubicBezTo>
                <a:cubicBezTo>
                  <a:pt x="2813437" y="585769"/>
                  <a:pt x="2813437" y="587591"/>
                  <a:pt x="2813437" y="589414"/>
                </a:cubicBezTo>
                <a:cubicBezTo>
                  <a:pt x="2813437" y="587592"/>
                  <a:pt x="2811615" y="587136"/>
                  <a:pt x="2809793" y="586908"/>
                </a:cubicBezTo>
                <a:lnTo>
                  <a:pt x="2807401" y="586161"/>
                </a:lnTo>
                <a:lnTo>
                  <a:pt x="2807971" y="585769"/>
                </a:lnTo>
                <a:lnTo>
                  <a:pt x="2807326" y="584480"/>
                </a:lnTo>
                <a:lnTo>
                  <a:pt x="2810931" y="580531"/>
                </a:lnTo>
                <a:cubicBezTo>
                  <a:pt x="2813437" y="579392"/>
                  <a:pt x="2816170" y="578481"/>
                  <a:pt x="2817081" y="576658"/>
                </a:cubicBezTo>
                <a:cubicBezTo>
                  <a:pt x="2800682" y="573014"/>
                  <a:pt x="2793393" y="556616"/>
                  <a:pt x="2784282" y="543860"/>
                </a:cubicBezTo>
                <a:cubicBezTo>
                  <a:pt x="2786104" y="543860"/>
                  <a:pt x="2786104" y="543860"/>
                  <a:pt x="2787927" y="542037"/>
                </a:cubicBezTo>
                <a:cubicBezTo>
                  <a:pt x="2789749" y="547504"/>
                  <a:pt x="2789749" y="552970"/>
                  <a:pt x="2795215" y="554792"/>
                </a:cubicBezTo>
                <a:cubicBezTo>
                  <a:pt x="2798860" y="556616"/>
                  <a:pt x="2800682" y="554792"/>
                  <a:pt x="2802504" y="552970"/>
                </a:cubicBezTo>
                <a:cubicBezTo>
                  <a:pt x="2798860" y="560260"/>
                  <a:pt x="2804326" y="571192"/>
                  <a:pt x="2813437" y="569370"/>
                </a:cubicBezTo>
                <a:cubicBezTo>
                  <a:pt x="2818903" y="567548"/>
                  <a:pt x="2813437" y="558437"/>
                  <a:pt x="2820726" y="554792"/>
                </a:cubicBezTo>
                <a:cubicBezTo>
                  <a:pt x="2817081" y="551148"/>
                  <a:pt x="2818903" y="547504"/>
                  <a:pt x="2818903" y="543860"/>
                </a:cubicBezTo>
                <a:cubicBezTo>
                  <a:pt x="2818903" y="543860"/>
                  <a:pt x="2820726" y="543860"/>
                  <a:pt x="2820726" y="543860"/>
                </a:cubicBezTo>
                <a:cubicBezTo>
                  <a:pt x="2818903" y="536571"/>
                  <a:pt x="2817081" y="531105"/>
                  <a:pt x="2818903" y="525638"/>
                </a:cubicBezTo>
                <a:cubicBezTo>
                  <a:pt x="2820726" y="527461"/>
                  <a:pt x="2822548" y="527461"/>
                  <a:pt x="2824370" y="527461"/>
                </a:cubicBezTo>
                <a:cubicBezTo>
                  <a:pt x="2820726" y="534749"/>
                  <a:pt x="2820726" y="549326"/>
                  <a:pt x="2829837" y="554792"/>
                </a:cubicBezTo>
                <a:cubicBezTo>
                  <a:pt x="2831659" y="554792"/>
                  <a:pt x="2826192" y="554792"/>
                  <a:pt x="2824370" y="556616"/>
                </a:cubicBezTo>
                <a:cubicBezTo>
                  <a:pt x="2820726" y="563904"/>
                  <a:pt x="2829837" y="562081"/>
                  <a:pt x="2831659" y="565725"/>
                </a:cubicBezTo>
                <a:cubicBezTo>
                  <a:pt x="2828014" y="563904"/>
                  <a:pt x="2824370" y="565725"/>
                  <a:pt x="2820726" y="567548"/>
                </a:cubicBezTo>
                <a:cubicBezTo>
                  <a:pt x="2831659" y="574836"/>
                  <a:pt x="2846236" y="573014"/>
                  <a:pt x="2855347" y="583947"/>
                </a:cubicBezTo>
                <a:cubicBezTo>
                  <a:pt x="2855347" y="578481"/>
                  <a:pt x="2860813" y="578481"/>
                  <a:pt x="2862636" y="576658"/>
                </a:cubicBezTo>
                <a:cubicBezTo>
                  <a:pt x="2864458" y="573014"/>
                  <a:pt x="2862636" y="573014"/>
                  <a:pt x="2860813" y="571192"/>
                </a:cubicBezTo>
                <a:cubicBezTo>
                  <a:pt x="2868102" y="576658"/>
                  <a:pt x="2873569" y="576658"/>
                  <a:pt x="2880857" y="578481"/>
                </a:cubicBezTo>
                <a:cubicBezTo>
                  <a:pt x="2875391" y="578481"/>
                  <a:pt x="2875391" y="585769"/>
                  <a:pt x="2880857" y="585769"/>
                </a:cubicBezTo>
                <a:cubicBezTo>
                  <a:pt x="2880857" y="583947"/>
                  <a:pt x="2880857" y="580303"/>
                  <a:pt x="2880857" y="578481"/>
                </a:cubicBezTo>
                <a:lnTo>
                  <a:pt x="2877578" y="571921"/>
                </a:lnTo>
                <a:lnTo>
                  <a:pt x="2879035" y="567548"/>
                </a:lnTo>
                <a:lnTo>
                  <a:pt x="2873140" y="565190"/>
                </a:lnTo>
                <a:lnTo>
                  <a:pt x="2873569" y="563904"/>
                </a:lnTo>
                <a:lnTo>
                  <a:pt x="2870216" y="562227"/>
                </a:lnTo>
                <a:lnTo>
                  <a:pt x="2872430" y="562310"/>
                </a:lnTo>
                <a:cubicBezTo>
                  <a:pt x="2874025" y="560260"/>
                  <a:pt x="2875391" y="556615"/>
                  <a:pt x="2877213" y="552970"/>
                </a:cubicBezTo>
                <a:cubicBezTo>
                  <a:pt x="2873569" y="551148"/>
                  <a:pt x="2873569" y="554792"/>
                  <a:pt x="2873569" y="556616"/>
                </a:cubicBezTo>
                <a:lnTo>
                  <a:pt x="2868649" y="550055"/>
                </a:lnTo>
                <a:lnTo>
                  <a:pt x="2869924" y="534749"/>
                </a:lnTo>
                <a:cubicBezTo>
                  <a:pt x="2873569" y="536571"/>
                  <a:pt x="2873569" y="532926"/>
                  <a:pt x="2877213" y="532926"/>
                </a:cubicBezTo>
                <a:cubicBezTo>
                  <a:pt x="2875391" y="531105"/>
                  <a:pt x="2871747" y="529282"/>
                  <a:pt x="2873569" y="523815"/>
                </a:cubicBezTo>
                <a:cubicBezTo>
                  <a:pt x="2871747" y="525638"/>
                  <a:pt x="2868102" y="527461"/>
                  <a:pt x="2869924" y="532926"/>
                </a:cubicBezTo>
                <a:cubicBezTo>
                  <a:pt x="2868102" y="529282"/>
                  <a:pt x="2866280" y="525638"/>
                  <a:pt x="2862636" y="521993"/>
                </a:cubicBezTo>
                <a:cubicBezTo>
                  <a:pt x="2860813" y="520171"/>
                  <a:pt x="2857169" y="525638"/>
                  <a:pt x="2855347" y="531105"/>
                </a:cubicBezTo>
                <a:cubicBezTo>
                  <a:pt x="2851703" y="525638"/>
                  <a:pt x="2849880" y="520171"/>
                  <a:pt x="2846236" y="514705"/>
                </a:cubicBezTo>
                <a:cubicBezTo>
                  <a:pt x="2851703" y="516527"/>
                  <a:pt x="2851703" y="507417"/>
                  <a:pt x="2857169" y="514705"/>
                </a:cubicBezTo>
                <a:cubicBezTo>
                  <a:pt x="2857169" y="518349"/>
                  <a:pt x="2857169" y="520171"/>
                  <a:pt x="2858991" y="521993"/>
                </a:cubicBezTo>
                <a:cubicBezTo>
                  <a:pt x="2864458" y="518349"/>
                  <a:pt x="2858991" y="514705"/>
                  <a:pt x="2855347" y="512882"/>
                </a:cubicBezTo>
                <a:cubicBezTo>
                  <a:pt x="2857169" y="509238"/>
                  <a:pt x="2857169" y="505594"/>
                  <a:pt x="2860813" y="503771"/>
                </a:cubicBezTo>
                <a:cubicBezTo>
                  <a:pt x="2862636" y="503771"/>
                  <a:pt x="2863547" y="506049"/>
                  <a:pt x="2864230" y="508099"/>
                </a:cubicBezTo>
                <a:lnTo>
                  <a:pt x="2865715" y="510244"/>
                </a:lnTo>
                <a:lnTo>
                  <a:pt x="2862636" y="512882"/>
                </a:lnTo>
                <a:cubicBezTo>
                  <a:pt x="2868102" y="512882"/>
                  <a:pt x="2868102" y="514705"/>
                  <a:pt x="2871747" y="521993"/>
                </a:cubicBezTo>
                <a:cubicBezTo>
                  <a:pt x="2871747" y="516527"/>
                  <a:pt x="2875391" y="512882"/>
                  <a:pt x="2873569" y="507417"/>
                </a:cubicBezTo>
                <a:cubicBezTo>
                  <a:pt x="2870836" y="506505"/>
                  <a:pt x="2869013" y="507417"/>
                  <a:pt x="2867419" y="508783"/>
                </a:cubicBezTo>
                <a:lnTo>
                  <a:pt x="2866608" y="509479"/>
                </a:lnTo>
                <a:lnTo>
                  <a:pt x="2867647" y="504455"/>
                </a:lnTo>
                <a:cubicBezTo>
                  <a:pt x="2867647" y="501494"/>
                  <a:pt x="2868103" y="498306"/>
                  <a:pt x="2871747" y="496483"/>
                </a:cubicBezTo>
                <a:cubicBezTo>
                  <a:pt x="2877213" y="492838"/>
                  <a:pt x="2880857" y="503771"/>
                  <a:pt x="2884502" y="496483"/>
                </a:cubicBezTo>
                <a:cubicBezTo>
                  <a:pt x="2884502" y="492838"/>
                  <a:pt x="2884502" y="487373"/>
                  <a:pt x="2882680" y="483728"/>
                </a:cubicBezTo>
                <a:cubicBezTo>
                  <a:pt x="2897257" y="483728"/>
                  <a:pt x="2891790" y="498306"/>
                  <a:pt x="2897257" y="507417"/>
                </a:cubicBezTo>
                <a:cubicBezTo>
                  <a:pt x="2899079" y="503771"/>
                  <a:pt x="2897257" y="498306"/>
                  <a:pt x="2899079" y="500127"/>
                </a:cubicBezTo>
                <a:cubicBezTo>
                  <a:pt x="2904546" y="500127"/>
                  <a:pt x="2913656" y="500127"/>
                  <a:pt x="2911834" y="507417"/>
                </a:cubicBezTo>
                <a:cubicBezTo>
                  <a:pt x="2911834" y="514705"/>
                  <a:pt x="2906368" y="505594"/>
                  <a:pt x="2904546" y="503771"/>
                </a:cubicBezTo>
                <a:cubicBezTo>
                  <a:pt x="2902724" y="503771"/>
                  <a:pt x="2900901" y="503771"/>
                  <a:pt x="2900901" y="505594"/>
                </a:cubicBezTo>
                <a:cubicBezTo>
                  <a:pt x="2900901" y="507417"/>
                  <a:pt x="2899079" y="511061"/>
                  <a:pt x="2900901" y="512882"/>
                </a:cubicBezTo>
                <a:cubicBezTo>
                  <a:pt x="2908190" y="523815"/>
                  <a:pt x="2926412" y="520171"/>
                  <a:pt x="2928234" y="534749"/>
                </a:cubicBezTo>
                <a:cubicBezTo>
                  <a:pt x="2931878" y="529282"/>
                  <a:pt x="2937345" y="534749"/>
                  <a:pt x="2939167" y="532926"/>
                </a:cubicBezTo>
                <a:cubicBezTo>
                  <a:pt x="2940989" y="525638"/>
                  <a:pt x="2939167" y="525638"/>
                  <a:pt x="2946456" y="523815"/>
                </a:cubicBezTo>
                <a:cubicBezTo>
                  <a:pt x="2944634" y="523815"/>
                  <a:pt x="2942811" y="521993"/>
                  <a:pt x="2942811" y="520171"/>
                </a:cubicBezTo>
                <a:cubicBezTo>
                  <a:pt x="2942811" y="520171"/>
                  <a:pt x="2942811" y="521993"/>
                  <a:pt x="2944634" y="521993"/>
                </a:cubicBezTo>
                <a:cubicBezTo>
                  <a:pt x="2946456" y="520171"/>
                  <a:pt x="2946456" y="520171"/>
                  <a:pt x="2948278" y="518349"/>
                </a:cubicBezTo>
                <a:cubicBezTo>
                  <a:pt x="2950100" y="518349"/>
                  <a:pt x="2950100" y="518349"/>
                  <a:pt x="2951922" y="520171"/>
                </a:cubicBezTo>
                <a:cubicBezTo>
                  <a:pt x="2951922" y="523815"/>
                  <a:pt x="2948278" y="527461"/>
                  <a:pt x="2950100" y="527461"/>
                </a:cubicBezTo>
                <a:cubicBezTo>
                  <a:pt x="2959211" y="532926"/>
                  <a:pt x="2957389" y="518349"/>
                  <a:pt x="2961033" y="512882"/>
                </a:cubicBezTo>
                <a:cubicBezTo>
                  <a:pt x="2961944" y="515616"/>
                  <a:pt x="2963766" y="517894"/>
                  <a:pt x="2965361" y="519260"/>
                </a:cubicBezTo>
                <a:lnTo>
                  <a:pt x="2966851" y="519719"/>
                </a:lnTo>
                <a:lnTo>
                  <a:pt x="2966500" y="520171"/>
                </a:lnTo>
                <a:cubicBezTo>
                  <a:pt x="2968322" y="523815"/>
                  <a:pt x="2971966" y="520171"/>
                  <a:pt x="2977432" y="521993"/>
                </a:cubicBezTo>
                <a:cubicBezTo>
                  <a:pt x="2979255" y="516527"/>
                  <a:pt x="2979255" y="511061"/>
                  <a:pt x="2977432" y="507417"/>
                </a:cubicBezTo>
                <a:cubicBezTo>
                  <a:pt x="2976521" y="511061"/>
                  <a:pt x="2974244" y="511972"/>
                  <a:pt x="2971966" y="513111"/>
                </a:cubicBezTo>
                <a:lnTo>
                  <a:pt x="2968384" y="517738"/>
                </a:lnTo>
                <a:lnTo>
                  <a:pt x="2968521" y="512370"/>
                </a:lnTo>
                <a:cubicBezTo>
                  <a:pt x="2967468" y="510264"/>
                  <a:pt x="2965475" y="508555"/>
                  <a:pt x="2963083" y="506961"/>
                </a:cubicBezTo>
                <a:lnTo>
                  <a:pt x="2961067" y="505534"/>
                </a:lnTo>
                <a:lnTo>
                  <a:pt x="2963083" y="501950"/>
                </a:lnTo>
                <a:cubicBezTo>
                  <a:pt x="2962400" y="500583"/>
                  <a:pt x="2961033" y="499216"/>
                  <a:pt x="2961033" y="498306"/>
                </a:cubicBezTo>
                <a:lnTo>
                  <a:pt x="2950853" y="498306"/>
                </a:lnTo>
                <a:lnTo>
                  <a:pt x="2948278" y="496483"/>
                </a:lnTo>
                <a:cubicBezTo>
                  <a:pt x="2944634" y="491017"/>
                  <a:pt x="2951922" y="489194"/>
                  <a:pt x="2955566" y="487373"/>
                </a:cubicBezTo>
                <a:lnTo>
                  <a:pt x="2957113" y="488146"/>
                </a:lnTo>
                <a:lnTo>
                  <a:pt x="2957161" y="488283"/>
                </a:lnTo>
                <a:cubicBezTo>
                  <a:pt x="2957845" y="489650"/>
                  <a:pt x="2958300" y="491017"/>
                  <a:pt x="2957389" y="492838"/>
                </a:cubicBezTo>
                <a:lnTo>
                  <a:pt x="2961293" y="490236"/>
                </a:lnTo>
                <a:lnTo>
                  <a:pt x="2962855" y="491017"/>
                </a:lnTo>
                <a:lnTo>
                  <a:pt x="2962280" y="489578"/>
                </a:lnTo>
                <a:lnTo>
                  <a:pt x="2962855" y="489194"/>
                </a:lnTo>
                <a:cubicBezTo>
                  <a:pt x="2970144" y="494662"/>
                  <a:pt x="2973788" y="485550"/>
                  <a:pt x="2979255" y="489194"/>
                </a:cubicBezTo>
                <a:cubicBezTo>
                  <a:pt x="2973788" y="481906"/>
                  <a:pt x="2979255" y="480083"/>
                  <a:pt x="2971966" y="474618"/>
                </a:cubicBezTo>
                <a:cubicBezTo>
                  <a:pt x="2971966" y="472795"/>
                  <a:pt x="2975610" y="472795"/>
                  <a:pt x="2975610" y="470972"/>
                </a:cubicBezTo>
                <a:cubicBezTo>
                  <a:pt x="2977432" y="470972"/>
                  <a:pt x="2979255" y="472795"/>
                  <a:pt x="2977432" y="474618"/>
                </a:cubicBezTo>
                <a:cubicBezTo>
                  <a:pt x="2979255" y="470972"/>
                  <a:pt x="2984721" y="472795"/>
                  <a:pt x="2982899" y="467328"/>
                </a:cubicBezTo>
                <a:cubicBezTo>
                  <a:pt x="2986543" y="469150"/>
                  <a:pt x="2986543" y="472795"/>
                  <a:pt x="2986543" y="474618"/>
                </a:cubicBezTo>
                <a:cubicBezTo>
                  <a:pt x="2990188" y="467328"/>
                  <a:pt x="2999299" y="461862"/>
                  <a:pt x="2999299" y="452751"/>
                </a:cubicBezTo>
                <a:cubicBezTo>
                  <a:pt x="2986999" y="456851"/>
                  <a:pt x="2962400" y="455826"/>
                  <a:pt x="2953175" y="465051"/>
                </a:cubicBezTo>
                <a:lnTo>
                  <a:pt x="2952739" y="466928"/>
                </a:lnTo>
                <a:lnTo>
                  <a:pt x="2951922" y="460039"/>
                </a:lnTo>
                <a:cubicBezTo>
                  <a:pt x="2971966" y="454574"/>
                  <a:pt x="3002943" y="458218"/>
                  <a:pt x="3008410" y="434530"/>
                </a:cubicBezTo>
                <a:cubicBezTo>
                  <a:pt x="3006587" y="434530"/>
                  <a:pt x="3002943" y="434530"/>
                  <a:pt x="3002943" y="432707"/>
                </a:cubicBezTo>
                <a:cubicBezTo>
                  <a:pt x="3002943" y="425419"/>
                  <a:pt x="3008410" y="434530"/>
                  <a:pt x="3010232" y="432707"/>
                </a:cubicBezTo>
                <a:cubicBezTo>
                  <a:pt x="3019343" y="423596"/>
                  <a:pt x="3015698" y="410841"/>
                  <a:pt x="3013876" y="399908"/>
                </a:cubicBezTo>
                <a:cubicBezTo>
                  <a:pt x="3013876" y="399908"/>
                  <a:pt x="3013876" y="399908"/>
                  <a:pt x="3015698" y="399908"/>
                </a:cubicBezTo>
                <a:cubicBezTo>
                  <a:pt x="3012054" y="392620"/>
                  <a:pt x="3002943" y="383509"/>
                  <a:pt x="2995654" y="390797"/>
                </a:cubicBezTo>
                <a:cubicBezTo>
                  <a:pt x="2999299" y="387152"/>
                  <a:pt x="2993832" y="383509"/>
                  <a:pt x="2992010" y="383509"/>
                </a:cubicBezTo>
                <a:cubicBezTo>
                  <a:pt x="2988366" y="383509"/>
                  <a:pt x="2986543" y="388976"/>
                  <a:pt x="2981077" y="390797"/>
                </a:cubicBezTo>
                <a:cubicBezTo>
                  <a:pt x="2984721" y="376220"/>
                  <a:pt x="2971966" y="368932"/>
                  <a:pt x="2959211" y="367109"/>
                </a:cubicBezTo>
                <a:cubicBezTo>
                  <a:pt x="2959211" y="365287"/>
                  <a:pt x="2955566" y="361642"/>
                  <a:pt x="2957389" y="359821"/>
                </a:cubicBezTo>
                <a:cubicBezTo>
                  <a:pt x="2957389" y="359821"/>
                  <a:pt x="2957389" y="359821"/>
                  <a:pt x="2959211" y="359821"/>
                </a:cubicBezTo>
                <a:cubicBezTo>
                  <a:pt x="2955566" y="356176"/>
                  <a:pt x="2957389" y="348888"/>
                  <a:pt x="2953744" y="345242"/>
                </a:cubicBezTo>
                <a:cubicBezTo>
                  <a:pt x="2953744" y="347066"/>
                  <a:pt x="2951922" y="348888"/>
                  <a:pt x="2950100" y="348888"/>
                </a:cubicBezTo>
                <a:cubicBezTo>
                  <a:pt x="2953744" y="348888"/>
                  <a:pt x="2953744" y="354354"/>
                  <a:pt x="2951922" y="356176"/>
                </a:cubicBezTo>
                <a:cubicBezTo>
                  <a:pt x="2951922" y="363465"/>
                  <a:pt x="2940989" y="361642"/>
                  <a:pt x="2939167" y="354354"/>
                </a:cubicBezTo>
                <a:cubicBezTo>
                  <a:pt x="2937345" y="348888"/>
                  <a:pt x="2933700" y="345242"/>
                  <a:pt x="2933700" y="337954"/>
                </a:cubicBezTo>
                <a:cubicBezTo>
                  <a:pt x="2933700" y="337954"/>
                  <a:pt x="2931878" y="337954"/>
                  <a:pt x="2931878" y="339777"/>
                </a:cubicBezTo>
                <a:cubicBezTo>
                  <a:pt x="2930056" y="334310"/>
                  <a:pt x="2931878" y="327022"/>
                  <a:pt x="2930056" y="321555"/>
                </a:cubicBezTo>
                <a:cubicBezTo>
                  <a:pt x="2930056" y="325199"/>
                  <a:pt x="2930056" y="327022"/>
                  <a:pt x="2928234" y="328844"/>
                </a:cubicBezTo>
                <a:cubicBezTo>
                  <a:pt x="2928234" y="321555"/>
                  <a:pt x="2922767" y="312444"/>
                  <a:pt x="2930056" y="308800"/>
                </a:cubicBezTo>
                <a:cubicBezTo>
                  <a:pt x="2935523" y="305155"/>
                  <a:pt x="2937345" y="316089"/>
                  <a:pt x="2942811" y="319733"/>
                </a:cubicBezTo>
                <a:lnTo>
                  <a:pt x="2951922" y="299992"/>
                </a:lnTo>
                <a:lnTo>
                  <a:pt x="2951922" y="305155"/>
                </a:lnTo>
                <a:cubicBezTo>
                  <a:pt x="2953744" y="306978"/>
                  <a:pt x="2953744" y="303333"/>
                  <a:pt x="2955566" y="303333"/>
                </a:cubicBezTo>
                <a:cubicBezTo>
                  <a:pt x="2957389" y="305155"/>
                  <a:pt x="2955566" y="308800"/>
                  <a:pt x="2953744" y="308800"/>
                </a:cubicBezTo>
                <a:cubicBezTo>
                  <a:pt x="2957389" y="314266"/>
                  <a:pt x="2962855" y="306978"/>
                  <a:pt x="2959211" y="301511"/>
                </a:cubicBezTo>
                <a:cubicBezTo>
                  <a:pt x="2953744" y="303333"/>
                  <a:pt x="2959211" y="301511"/>
                  <a:pt x="2959211" y="297867"/>
                </a:cubicBezTo>
                <a:cubicBezTo>
                  <a:pt x="2955566" y="297867"/>
                  <a:pt x="2953744" y="296045"/>
                  <a:pt x="2951922" y="294223"/>
                </a:cubicBezTo>
                <a:lnTo>
                  <a:pt x="2951922" y="295640"/>
                </a:lnTo>
                <a:lnTo>
                  <a:pt x="2937345" y="292400"/>
                </a:lnTo>
                <a:cubicBezTo>
                  <a:pt x="2931878" y="291034"/>
                  <a:pt x="2926412" y="290578"/>
                  <a:pt x="2920945" y="294223"/>
                </a:cubicBezTo>
                <a:cubicBezTo>
                  <a:pt x="2920945" y="286934"/>
                  <a:pt x="2917301" y="286934"/>
                  <a:pt x="2913656" y="286934"/>
                </a:cubicBezTo>
                <a:cubicBezTo>
                  <a:pt x="2913656" y="288756"/>
                  <a:pt x="2913656" y="292400"/>
                  <a:pt x="2913656" y="294223"/>
                </a:cubicBezTo>
                <a:cubicBezTo>
                  <a:pt x="2910012" y="292400"/>
                  <a:pt x="2906368" y="290578"/>
                  <a:pt x="2906368" y="285112"/>
                </a:cubicBezTo>
                <a:cubicBezTo>
                  <a:pt x="2897257" y="288756"/>
                  <a:pt x="2902724" y="301511"/>
                  <a:pt x="2897257" y="305155"/>
                </a:cubicBezTo>
                <a:cubicBezTo>
                  <a:pt x="2891790" y="308800"/>
                  <a:pt x="2891790" y="301511"/>
                  <a:pt x="2893613" y="299689"/>
                </a:cubicBezTo>
                <a:cubicBezTo>
                  <a:pt x="2893613" y="296045"/>
                  <a:pt x="2899079" y="288756"/>
                  <a:pt x="2893613" y="285112"/>
                </a:cubicBezTo>
                <a:cubicBezTo>
                  <a:pt x="2891790" y="286934"/>
                  <a:pt x="2891790" y="292400"/>
                  <a:pt x="2893613" y="294223"/>
                </a:cubicBezTo>
                <a:cubicBezTo>
                  <a:pt x="2888146" y="290578"/>
                  <a:pt x="2891790" y="283289"/>
                  <a:pt x="2886324" y="279645"/>
                </a:cubicBezTo>
                <a:cubicBezTo>
                  <a:pt x="2884502" y="277823"/>
                  <a:pt x="2884502" y="279645"/>
                  <a:pt x="2882680" y="281467"/>
                </a:cubicBezTo>
                <a:cubicBezTo>
                  <a:pt x="2882680" y="279645"/>
                  <a:pt x="2884502" y="277823"/>
                  <a:pt x="2884502" y="276001"/>
                </a:cubicBezTo>
                <a:cubicBezTo>
                  <a:pt x="2889968" y="276001"/>
                  <a:pt x="2893613" y="270534"/>
                  <a:pt x="2893613" y="265068"/>
                </a:cubicBezTo>
                <a:cubicBezTo>
                  <a:pt x="2897257" y="270534"/>
                  <a:pt x="2889968" y="283289"/>
                  <a:pt x="2900901" y="281467"/>
                </a:cubicBezTo>
                <a:cubicBezTo>
                  <a:pt x="2908190" y="281467"/>
                  <a:pt x="2911834" y="274179"/>
                  <a:pt x="2919123" y="272356"/>
                </a:cubicBezTo>
                <a:cubicBezTo>
                  <a:pt x="2919123" y="276001"/>
                  <a:pt x="2924590" y="279645"/>
                  <a:pt x="2926412" y="283289"/>
                </a:cubicBezTo>
                <a:cubicBezTo>
                  <a:pt x="2924590" y="279645"/>
                  <a:pt x="2924590" y="277823"/>
                  <a:pt x="2924590" y="276001"/>
                </a:cubicBezTo>
                <a:cubicBezTo>
                  <a:pt x="2926412" y="277823"/>
                  <a:pt x="2931878" y="277823"/>
                  <a:pt x="2933700" y="276001"/>
                </a:cubicBezTo>
                <a:cubicBezTo>
                  <a:pt x="2931878" y="277823"/>
                  <a:pt x="2931878" y="277823"/>
                  <a:pt x="2930056" y="279645"/>
                </a:cubicBezTo>
                <a:cubicBezTo>
                  <a:pt x="2930056" y="285112"/>
                  <a:pt x="2933700" y="286934"/>
                  <a:pt x="2937345" y="286934"/>
                </a:cubicBezTo>
                <a:cubicBezTo>
                  <a:pt x="2940989" y="286934"/>
                  <a:pt x="2942811" y="285112"/>
                  <a:pt x="2942811" y="283289"/>
                </a:cubicBezTo>
                <a:cubicBezTo>
                  <a:pt x="2940989" y="279645"/>
                  <a:pt x="2937345" y="277823"/>
                  <a:pt x="2939167" y="276001"/>
                </a:cubicBezTo>
                <a:cubicBezTo>
                  <a:pt x="2948278" y="270534"/>
                  <a:pt x="2942811" y="283289"/>
                  <a:pt x="2948278" y="285112"/>
                </a:cubicBezTo>
                <a:cubicBezTo>
                  <a:pt x="2961033" y="286934"/>
                  <a:pt x="2953744" y="277823"/>
                  <a:pt x="2953744" y="274179"/>
                </a:cubicBezTo>
                <a:cubicBezTo>
                  <a:pt x="2957389" y="276001"/>
                  <a:pt x="2957389" y="276001"/>
                  <a:pt x="2959211" y="277823"/>
                </a:cubicBezTo>
                <a:cubicBezTo>
                  <a:pt x="2959211" y="268712"/>
                  <a:pt x="2968322" y="268712"/>
                  <a:pt x="2975610" y="270534"/>
                </a:cubicBezTo>
                <a:cubicBezTo>
                  <a:pt x="2973788" y="266890"/>
                  <a:pt x="2973788" y="265068"/>
                  <a:pt x="2975610" y="263246"/>
                </a:cubicBezTo>
                <a:cubicBezTo>
                  <a:pt x="2977432" y="265068"/>
                  <a:pt x="2977432" y="266890"/>
                  <a:pt x="2977432" y="268712"/>
                </a:cubicBezTo>
                <a:cubicBezTo>
                  <a:pt x="2981077" y="265068"/>
                  <a:pt x="2982899" y="261423"/>
                  <a:pt x="2984721" y="255957"/>
                </a:cubicBezTo>
                <a:cubicBezTo>
                  <a:pt x="2981077" y="255957"/>
                  <a:pt x="2973788" y="254135"/>
                  <a:pt x="2973788" y="250490"/>
                </a:cubicBezTo>
                <a:cubicBezTo>
                  <a:pt x="2975610" y="250490"/>
                  <a:pt x="2979255" y="250490"/>
                  <a:pt x="2979255" y="246846"/>
                </a:cubicBezTo>
                <a:cubicBezTo>
                  <a:pt x="2977432" y="246846"/>
                  <a:pt x="2973788" y="243202"/>
                  <a:pt x="2973788" y="250490"/>
                </a:cubicBezTo>
                <a:cubicBezTo>
                  <a:pt x="2973788" y="246846"/>
                  <a:pt x="2975155" y="241835"/>
                  <a:pt x="2975155" y="237279"/>
                </a:cubicBezTo>
                <a:lnTo>
                  <a:pt x="2974853" y="236815"/>
                </a:lnTo>
                <a:lnTo>
                  <a:pt x="2975155" y="235001"/>
                </a:lnTo>
                <a:cubicBezTo>
                  <a:pt x="2974699" y="231812"/>
                  <a:pt x="2973788" y="228624"/>
                  <a:pt x="2973788" y="226802"/>
                </a:cubicBezTo>
                <a:lnTo>
                  <a:pt x="2971768" y="232085"/>
                </a:lnTo>
                <a:lnTo>
                  <a:pt x="2968322" y="226802"/>
                </a:lnTo>
                <a:cubicBezTo>
                  <a:pt x="2970600" y="222246"/>
                  <a:pt x="2970713" y="218602"/>
                  <a:pt x="2969375" y="215527"/>
                </a:cubicBezTo>
                <a:lnTo>
                  <a:pt x="2967717" y="213825"/>
                </a:lnTo>
                <a:lnTo>
                  <a:pt x="2971511" y="213135"/>
                </a:lnTo>
                <a:lnTo>
                  <a:pt x="2973685" y="207047"/>
                </a:lnTo>
                <a:lnTo>
                  <a:pt x="2975610" y="208580"/>
                </a:lnTo>
                <a:cubicBezTo>
                  <a:pt x="2975610" y="204936"/>
                  <a:pt x="2977432" y="201292"/>
                  <a:pt x="2971966" y="199469"/>
                </a:cubicBezTo>
                <a:cubicBezTo>
                  <a:pt x="2975610" y="199469"/>
                  <a:pt x="2973788" y="195825"/>
                  <a:pt x="2975610" y="192181"/>
                </a:cubicBezTo>
                <a:lnTo>
                  <a:pt x="2975272" y="192011"/>
                </a:lnTo>
                <a:lnTo>
                  <a:pt x="2981760" y="177375"/>
                </a:lnTo>
                <a:cubicBezTo>
                  <a:pt x="2983355" y="169403"/>
                  <a:pt x="2982899" y="161204"/>
                  <a:pt x="2979255" y="153915"/>
                </a:cubicBezTo>
                <a:cubicBezTo>
                  <a:pt x="2979255" y="157559"/>
                  <a:pt x="2979255" y="161204"/>
                  <a:pt x="2979255" y="164848"/>
                </a:cubicBezTo>
                <a:lnTo>
                  <a:pt x="2962856" y="157559"/>
                </a:lnTo>
                <a:lnTo>
                  <a:pt x="2966500" y="152093"/>
                </a:lnTo>
                <a:cubicBezTo>
                  <a:pt x="2966500" y="155737"/>
                  <a:pt x="2966500" y="157559"/>
                  <a:pt x="2968322" y="157559"/>
                </a:cubicBezTo>
                <a:cubicBezTo>
                  <a:pt x="2964677" y="152093"/>
                  <a:pt x="2968322" y="148449"/>
                  <a:pt x="2970144" y="144804"/>
                </a:cubicBezTo>
                <a:cubicBezTo>
                  <a:pt x="2973788" y="146626"/>
                  <a:pt x="2973788" y="150271"/>
                  <a:pt x="2975610" y="152093"/>
                </a:cubicBezTo>
                <a:cubicBezTo>
                  <a:pt x="2982899" y="146626"/>
                  <a:pt x="2975610" y="139338"/>
                  <a:pt x="2973788" y="132049"/>
                </a:cubicBezTo>
                <a:lnTo>
                  <a:pt x="2970752" y="135085"/>
                </a:lnTo>
                <a:lnTo>
                  <a:pt x="2971530" y="131971"/>
                </a:lnTo>
                <a:lnTo>
                  <a:pt x="2971966" y="132049"/>
                </a:lnTo>
                <a:cubicBezTo>
                  <a:pt x="2970144" y="121116"/>
                  <a:pt x="2979255" y="113827"/>
                  <a:pt x="2986543" y="106539"/>
                </a:cubicBezTo>
                <a:cubicBezTo>
                  <a:pt x="2990188" y="115649"/>
                  <a:pt x="2982899" y="122938"/>
                  <a:pt x="2992010" y="130227"/>
                </a:cubicBezTo>
                <a:cubicBezTo>
                  <a:pt x="2984721" y="139338"/>
                  <a:pt x="2979255" y="150271"/>
                  <a:pt x="2986543" y="159382"/>
                </a:cubicBezTo>
                <a:cubicBezTo>
                  <a:pt x="2986543" y="155737"/>
                  <a:pt x="2986543" y="150271"/>
                  <a:pt x="2986543" y="146626"/>
                </a:cubicBezTo>
                <a:cubicBezTo>
                  <a:pt x="2988366" y="152093"/>
                  <a:pt x="2995654" y="157559"/>
                  <a:pt x="2997477" y="152093"/>
                </a:cubicBezTo>
                <a:cubicBezTo>
                  <a:pt x="3001121" y="146626"/>
                  <a:pt x="2993832" y="142982"/>
                  <a:pt x="2992010" y="137516"/>
                </a:cubicBezTo>
                <a:cubicBezTo>
                  <a:pt x="2993832" y="137516"/>
                  <a:pt x="2993832" y="137516"/>
                  <a:pt x="2995654" y="139338"/>
                </a:cubicBezTo>
                <a:cubicBezTo>
                  <a:pt x="2997477" y="135693"/>
                  <a:pt x="2997477" y="133871"/>
                  <a:pt x="2997477" y="132049"/>
                </a:cubicBezTo>
                <a:cubicBezTo>
                  <a:pt x="3006587" y="133871"/>
                  <a:pt x="2995654" y="144804"/>
                  <a:pt x="3004765" y="142982"/>
                </a:cubicBezTo>
                <a:cubicBezTo>
                  <a:pt x="3004765" y="142982"/>
                  <a:pt x="3004765" y="139338"/>
                  <a:pt x="3006587" y="137516"/>
                </a:cubicBezTo>
                <a:cubicBezTo>
                  <a:pt x="3006587" y="141160"/>
                  <a:pt x="3006587" y="144804"/>
                  <a:pt x="3004765" y="148449"/>
                </a:cubicBezTo>
                <a:lnTo>
                  <a:pt x="3008410" y="143818"/>
                </a:lnTo>
                <a:lnTo>
                  <a:pt x="3008410" y="153915"/>
                </a:lnTo>
                <a:cubicBezTo>
                  <a:pt x="3008410" y="153915"/>
                  <a:pt x="3009321" y="150726"/>
                  <a:pt x="3009777" y="147537"/>
                </a:cubicBezTo>
                <a:lnTo>
                  <a:pt x="3008858" y="143250"/>
                </a:lnTo>
                <a:lnTo>
                  <a:pt x="3013193" y="137743"/>
                </a:lnTo>
                <a:cubicBezTo>
                  <a:pt x="3012965" y="132504"/>
                  <a:pt x="3010232" y="126582"/>
                  <a:pt x="3006587" y="122938"/>
                </a:cubicBezTo>
                <a:cubicBezTo>
                  <a:pt x="3012054" y="126583"/>
                  <a:pt x="3021165" y="126583"/>
                  <a:pt x="3022987" y="119294"/>
                </a:cubicBezTo>
                <a:cubicBezTo>
                  <a:pt x="3022987" y="122938"/>
                  <a:pt x="3019343" y="126583"/>
                  <a:pt x="3021165" y="130227"/>
                </a:cubicBezTo>
                <a:cubicBezTo>
                  <a:pt x="3022987" y="141160"/>
                  <a:pt x="3026631" y="150271"/>
                  <a:pt x="3037564" y="152093"/>
                </a:cubicBezTo>
                <a:cubicBezTo>
                  <a:pt x="3043031" y="152093"/>
                  <a:pt x="3046675" y="146626"/>
                  <a:pt x="3050319" y="144804"/>
                </a:cubicBezTo>
                <a:cubicBezTo>
                  <a:pt x="3046675" y="148449"/>
                  <a:pt x="3050319" y="152093"/>
                  <a:pt x="3052142" y="153915"/>
                </a:cubicBezTo>
                <a:lnTo>
                  <a:pt x="3061816" y="153352"/>
                </a:lnTo>
                <a:lnTo>
                  <a:pt x="3055786" y="159382"/>
                </a:lnTo>
                <a:cubicBezTo>
                  <a:pt x="3057608" y="157559"/>
                  <a:pt x="3061253" y="155737"/>
                  <a:pt x="3063075" y="155737"/>
                </a:cubicBezTo>
                <a:cubicBezTo>
                  <a:pt x="3063075" y="155737"/>
                  <a:pt x="3063075" y="155737"/>
                  <a:pt x="3063075" y="157559"/>
                </a:cubicBezTo>
                <a:cubicBezTo>
                  <a:pt x="3063075" y="155737"/>
                  <a:pt x="3064897" y="153915"/>
                  <a:pt x="3066719" y="155737"/>
                </a:cubicBezTo>
                <a:cubicBezTo>
                  <a:pt x="3068541" y="157559"/>
                  <a:pt x="3066719" y="163026"/>
                  <a:pt x="3068541" y="164848"/>
                </a:cubicBezTo>
                <a:cubicBezTo>
                  <a:pt x="3070363" y="161204"/>
                  <a:pt x="3074008" y="161204"/>
                  <a:pt x="3075830" y="161204"/>
                </a:cubicBezTo>
                <a:cubicBezTo>
                  <a:pt x="3068541" y="168493"/>
                  <a:pt x="3072186" y="179426"/>
                  <a:pt x="3075830" y="186714"/>
                </a:cubicBezTo>
                <a:cubicBezTo>
                  <a:pt x="3074008" y="186714"/>
                  <a:pt x="3072186" y="183070"/>
                  <a:pt x="3070363" y="184892"/>
                </a:cubicBezTo>
                <a:cubicBezTo>
                  <a:pt x="3070363" y="186714"/>
                  <a:pt x="3070363" y="188536"/>
                  <a:pt x="3070363" y="190359"/>
                </a:cubicBezTo>
                <a:cubicBezTo>
                  <a:pt x="3066719" y="195825"/>
                  <a:pt x="3066719" y="190359"/>
                  <a:pt x="3064897" y="188536"/>
                </a:cubicBezTo>
                <a:cubicBezTo>
                  <a:pt x="3061253" y="194003"/>
                  <a:pt x="3055786" y="203114"/>
                  <a:pt x="3063075" y="204936"/>
                </a:cubicBezTo>
                <a:cubicBezTo>
                  <a:pt x="3068541" y="206758"/>
                  <a:pt x="3075830" y="206758"/>
                  <a:pt x="3079474" y="208580"/>
                </a:cubicBezTo>
                <a:cubicBezTo>
                  <a:pt x="3084941" y="212225"/>
                  <a:pt x="3083119" y="219513"/>
                  <a:pt x="3077652" y="223158"/>
                </a:cubicBezTo>
                <a:cubicBezTo>
                  <a:pt x="3072186" y="214047"/>
                  <a:pt x="3063075" y="206758"/>
                  <a:pt x="3053964" y="212225"/>
                </a:cubicBezTo>
                <a:cubicBezTo>
                  <a:pt x="3050319" y="214047"/>
                  <a:pt x="3048497" y="217691"/>
                  <a:pt x="3048497" y="219513"/>
                </a:cubicBezTo>
                <a:cubicBezTo>
                  <a:pt x="3050319" y="226802"/>
                  <a:pt x="3052142" y="234091"/>
                  <a:pt x="3055786" y="239557"/>
                </a:cubicBezTo>
                <a:lnTo>
                  <a:pt x="3061253" y="230446"/>
                </a:lnTo>
                <a:lnTo>
                  <a:pt x="3063075" y="232269"/>
                </a:lnTo>
                <a:cubicBezTo>
                  <a:pt x="3063075" y="232269"/>
                  <a:pt x="3063075" y="230446"/>
                  <a:pt x="3064897" y="230446"/>
                </a:cubicBezTo>
                <a:cubicBezTo>
                  <a:pt x="3063075" y="232269"/>
                  <a:pt x="3063075" y="234091"/>
                  <a:pt x="3063075" y="234091"/>
                </a:cubicBezTo>
                <a:lnTo>
                  <a:pt x="3064897" y="235913"/>
                </a:lnTo>
                <a:cubicBezTo>
                  <a:pt x="3066719" y="235913"/>
                  <a:pt x="3070363" y="235913"/>
                  <a:pt x="3072186" y="230446"/>
                </a:cubicBezTo>
                <a:cubicBezTo>
                  <a:pt x="3070363" y="235913"/>
                  <a:pt x="3074008" y="239557"/>
                  <a:pt x="3077652" y="245024"/>
                </a:cubicBezTo>
                <a:lnTo>
                  <a:pt x="3078305" y="238822"/>
                </a:lnTo>
                <a:lnTo>
                  <a:pt x="3083119" y="246846"/>
                </a:lnTo>
                <a:cubicBezTo>
                  <a:pt x="3083119" y="245024"/>
                  <a:pt x="3083119" y="243202"/>
                  <a:pt x="3083119" y="241379"/>
                </a:cubicBezTo>
                <a:lnTo>
                  <a:pt x="3078369" y="238212"/>
                </a:lnTo>
                <a:lnTo>
                  <a:pt x="3078563" y="236368"/>
                </a:lnTo>
                <a:cubicBezTo>
                  <a:pt x="3079930" y="234090"/>
                  <a:pt x="3082208" y="232268"/>
                  <a:pt x="3084941" y="230446"/>
                </a:cubicBezTo>
                <a:lnTo>
                  <a:pt x="3086829" y="221477"/>
                </a:lnTo>
                <a:lnTo>
                  <a:pt x="3091091" y="230674"/>
                </a:lnTo>
                <a:cubicBezTo>
                  <a:pt x="3093596" y="232724"/>
                  <a:pt x="3096785" y="233179"/>
                  <a:pt x="3099518" y="230446"/>
                </a:cubicBezTo>
                <a:cubicBezTo>
                  <a:pt x="3095874" y="224980"/>
                  <a:pt x="3092230" y="232269"/>
                  <a:pt x="3090407" y="228624"/>
                </a:cubicBezTo>
                <a:cubicBezTo>
                  <a:pt x="3092230" y="226802"/>
                  <a:pt x="3094052" y="226802"/>
                  <a:pt x="3095874" y="226802"/>
                </a:cubicBezTo>
                <a:cubicBezTo>
                  <a:pt x="3099518" y="195825"/>
                  <a:pt x="3092230" y="234091"/>
                  <a:pt x="3092230" y="217691"/>
                </a:cubicBezTo>
                <a:cubicBezTo>
                  <a:pt x="3088585" y="219513"/>
                  <a:pt x="3094052" y="223158"/>
                  <a:pt x="3092230" y="223158"/>
                </a:cubicBezTo>
                <a:cubicBezTo>
                  <a:pt x="3091319" y="223158"/>
                  <a:pt x="3089952" y="221791"/>
                  <a:pt x="3088813" y="220880"/>
                </a:cubicBezTo>
                <a:lnTo>
                  <a:pt x="3086864" y="221313"/>
                </a:lnTo>
                <a:lnTo>
                  <a:pt x="3087674" y="217463"/>
                </a:lnTo>
                <a:cubicBezTo>
                  <a:pt x="3087218" y="212680"/>
                  <a:pt x="3084941" y="208580"/>
                  <a:pt x="3079474" y="208580"/>
                </a:cubicBezTo>
                <a:cubicBezTo>
                  <a:pt x="3084941" y="199469"/>
                  <a:pt x="3094052" y="204936"/>
                  <a:pt x="3095874" y="195825"/>
                </a:cubicBezTo>
                <a:cubicBezTo>
                  <a:pt x="3097696" y="197647"/>
                  <a:pt x="3097696" y="203114"/>
                  <a:pt x="3099518" y="203114"/>
                </a:cubicBezTo>
                <a:cubicBezTo>
                  <a:pt x="3103163" y="201292"/>
                  <a:pt x="3101340" y="195825"/>
                  <a:pt x="3101340" y="194003"/>
                </a:cubicBezTo>
                <a:cubicBezTo>
                  <a:pt x="3104985" y="195825"/>
                  <a:pt x="3104985" y="204936"/>
                  <a:pt x="3108629" y="203114"/>
                </a:cubicBezTo>
                <a:cubicBezTo>
                  <a:pt x="3117740" y="199469"/>
                  <a:pt x="3112274" y="186714"/>
                  <a:pt x="3106807" y="179426"/>
                </a:cubicBezTo>
                <a:cubicBezTo>
                  <a:pt x="3106807" y="183070"/>
                  <a:pt x="3108629" y="188536"/>
                  <a:pt x="3104985" y="190359"/>
                </a:cubicBezTo>
                <a:cubicBezTo>
                  <a:pt x="3103163" y="190359"/>
                  <a:pt x="3101340" y="190359"/>
                  <a:pt x="3099518" y="188536"/>
                </a:cubicBezTo>
                <a:cubicBezTo>
                  <a:pt x="3095874" y="183070"/>
                  <a:pt x="3099518" y="179426"/>
                  <a:pt x="3101340" y="173959"/>
                </a:cubicBezTo>
                <a:cubicBezTo>
                  <a:pt x="3101340" y="173959"/>
                  <a:pt x="3099518" y="173959"/>
                  <a:pt x="3099518" y="175781"/>
                </a:cubicBezTo>
                <a:cubicBezTo>
                  <a:pt x="3097696" y="166670"/>
                  <a:pt x="3108629" y="170315"/>
                  <a:pt x="3110451" y="173959"/>
                </a:cubicBezTo>
                <a:cubicBezTo>
                  <a:pt x="3112274" y="177603"/>
                  <a:pt x="3114096" y="183070"/>
                  <a:pt x="3114096" y="188536"/>
                </a:cubicBezTo>
                <a:cubicBezTo>
                  <a:pt x="3115918" y="184892"/>
                  <a:pt x="3119562" y="172137"/>
                  <a:pt x="3126851" y="177603"/>
                </a:cubicBezTo>
                <a:lnTo>
                  <a:pt x="3126951" y="178002"/>
                </a:lnTo>
                <a:lnTo>
                  <a:pt x="3125029" y="183070"/>
                </a:lnTo>
                <a:lnTo>
                  <a:pt x="3127888" y="181750"/>
                </a:lnTo>
                <a:lnTo>
                  <a:pt x="3128673" y="184892"/>
                </a:lnTo>
                <a:lnTo>
                  <a:pt x="3129663" y="180931"/>
                </a:lnTo>
                <a:lnTo>
                  <a:pt x="3132510" y="179617"/>
                </a:lnTo>
                <a:lnTo>
                  <a:pt x="3134140" y="181248"/>
                </a:lnTo>
                <a:lnTo>
                  <a:pt x="3133135" y="179328"/>
                </a:lnTo>
                <a:lnTo>
                  <a:pt x="3136873" y="177603"/>
                </a:lnTo>
                <a:cubicBezTo>
                  <a:pt x="3140062" y="174870"/>
                  <a:pt x="3142339" y="171225"/>
                  <a:pt x="3143250" y="166670"/>
                </a:cubicBezTo>
                <a:cubicBezTo>
                  <a:pt x="3146895" y="170315"/>
                  <a:pt x="3141428" y="175781"/>
                  <a:pt x="3143250" y="181248"/>
                </a:cubicBezTo>
                <a:cubicBezTo>
                  <a:pt x="3146895" y="177603"/>
                  <a:pt x="3148717" y="168493"/>
                  <a:pt x="3156006" y="170315"/>
                </a:cubicBezTo>
                <a:cubicBezTo>
                  <a:pt x="3157828" y="172137"/>
                  <a:pt x="3159650" y="173959"/>
                  <a:pt x="3159650" y="175781"/>
                </a:cubicBezTo>
                <a:cubicBezTo>
                  <a:pt x="3159650" y="179426"/>
                  <a:pt x="3163294" y="184892"/>
                  <a:pt x="3157828" y="184892"/>
                </a:cubicBezTo>
                <a:cubicBezTo>
                  <a:pt x="3156006" y="186714"/>
                  <a:pt x="3154184" y="183070"/>
                  <a:pt x="3152361" y="181248"/>
                </a:cubicBezTo>
                <a:cubicBezTo>
                  <a:pt x="3150539" y="190359"/>
                  <a:pt x="3154184" y="199469"/>
                  <a:pt x="3161472" y="201292"/>
                </a:cubicBezTo>
                <a:cubicBezTo>
                  <a:pt x="3171039" y="205391"/>
                  <a:pt x="3183680" y="198216"/>
                  <a:pt x="3192478" y="201291"/>
                </a:cubicBezTo>
                <a:lnTo>
                  <a:pt x="3197916" y="206751"/>
                </a:lnTo>
                <a:lnTo>
                  <a:pt x="3197916" y="208580"/>
                </a:lnTo>
                <a:cubicBezTo>
                  <a:pt x="3194271" y="210403"/>
                  <a:pt x="3196093" y="203114"/>
                  <a:pt x="3192449" y="204936"/>
                </a:cubicBezTo>
                <a:cubicBezTo>
                  <a:pt x="3192449" y="206758"/>
                  <a:pt x="3192449" y="208580"/>
                  <a:pt x="3192449" y="210403"/>
                </a:cubicBezTo>
                <a:cubicBezTo>
                  <a:pt x="3188805" y="212225"/>
                  <a:pt x="3188805" y="210403"/>
                  <a:pt x="3188805" y="206758"/>
                </a:cubicBezTo>
                <a:cubicBezTo>
                  <a:pt x="3182428" y="209491"/>
                  <a:pt x="3183794" y="213136"/>
                  <a:pt x="3186072" y="217919"/>
                </a:cubicBezTo>
                <a:lnTo>
                  <a:pt x="3187182" y="220675"/>
                </a:lnTo>
                <a:lnTo>
                  <a:pt x="3186982" y="221336"/>
                </a:lnTo>
                <a:lnTo>
                  <a:pt x="3187520" y="221515"/>
                </a:lnTo>
                <a:lnTo>
                  <a:pt x="3189318" y="225976"/>
                </a:lnTo>
                <a:cubicBezTo>
                  <a:pt x="3190058" y="228966"/>
                  <a:pt x="3190172" y="232268"/>
                  <a:pt x="3188805" y="235913"/>
                </a:cubicBezTo>
                <a:cubicBezTo>
                  <a:pt x="3185160" y="235913"/>
                  <a:pt x="3185160" y="230446"/>
                  <a:pt x="3181516" y="232269"/>
                </a:cubicBezTo>
                <a:cubicBezTo>
                  <a:pt x="3181516" y="228624"/>
                  <a:pt x="3181516" y="226802"/>
                  <a:pt x="3179694" y="224980"/>
                </a:cubicBezTo>
                <a:cubicBezTo>
                  <a:pt x="3168761" y="246846"/>
                  <a:pt x="3194271" y="250490"/>
                  <a:pt x="3201560" y="261423"/>
                </a:cubicBezTo>
                <a:cubicBezTo>
                  <a:pt x="3203382" y="261423"/>
                  <a:pt x="3208849" y="257779"/>
                  <a:pt x="3210671" y="261423"/>
                </a:cubicBezTo>
                <a:cubicBezTo>
                  <a:pt x="3214315" y="257779"/>
                  <a:pt x="3208849" y="252313"/>
                  <a:pt x="3210671" y="245024"/>
                </a:cubicBezTo>
                <a:cubicBezTo>
                  <a:pt x="3205204" y="246846"/>
                  <a:pt x="3203382" y="248668"/>
                  <a:pt x="3201560" y="241379"/>
                </a:cubicBezTo>
                <a:cubicBezTo>
                  <a:pt x="3199738" y="243202"/>
                  <a:pt x="3196093" y="245024"/>
                  <a:pt x="3196093" y="248668"/>
                </a:cubicBezTo>
                <a:cubicBezTo>
                  <a:pt x="3193360" y="247757"/>
                  <a:pt x="3193360" y="245479"/>
                  <a:pt x="3194271" y="243201"/>
                </a:cubicBezTo>
                <a:lnTo>
                  <a:pt x="3197592" y="238221"/>
                </a:lnTo>
                <a:lnTo>
                  <a:pt x="3203610" y="240924"/>
                </a:lnTo>
                <a:cubicBezTo>
                  <a:pt x="3207027" y="244112"/>
                  <a:pt x="3210671" y="246846"/>
                  <a:pt x="3216137" y="243202"/>
                </a:cubicBezTo>
                <a:cubicBezTo>
                  <a:pt x="3217960" y="243202"/>
                  <a:pt x="3210671" y="237735"/>
                  <a:pt x="3212493" y="237735"/>
                </a:cubicBezTo>
                <a:lnTo>
                  <a:pt x="3223223" y="247724"/>
                </a:lnTo>
                <a:lnTo>
                  <a:pt x="3225704" y="250034"/>
                </a:lnTo>
                <a:cubicBezTo>
                  <a:pt x="3228893" y="257323"/>
                  <a:pt x="3231626" y="265978"/>
                  <a:pt x="3236181" y="270534"/>
                </a:cubicBezTo>
                <a:cubicBezTo>
                  <a:pt x="3232537" y="277823"/>
                  <a:pt x="3225248" y="276001"/>
                  <a:pt x="3219782" y="281467"/>
                </a:cubicBezTo>
                <a:cubicBezTo>
                  <a:pt x="3221604" y="282378"/>
                  <a:pt x="3223882" y="283289"/>
                  <a:pt x="3225704" y="284656"/>
                </a:cubicBezTo>
                <a:lnTo>
                  <a:pt x="3228268" y="289416"/>
                </a:lnTo>
                <a:lnTo>
                  <a:pt x="3224793" y="293083"/>
                </a:lnTo>
                <a:cubicBezTo>
                  <a:pt x="3224793" y="295133"/>
                  <a:pt x="3226160" y="296956"/>
                  <a:pt x="3228893" y="296045"/>
                </a:cubicBezTo>
                <a:lnTo>
                  <a:pt x="3228893" y="290578"/>
                </a:lnTo>
                <a:cubicBezTo>
                  <a:pt x="3230715" y="283289"/>
                  <a:pt x="3238003" y="276001"/>
                  <a:pt x="3236181" y="270534"/>
                </a:cubicBezTo>
                <a:cubicBezTo>
                  <a:pt x="3237092" y="267801"/>
                  <a:pt x="3236637" y="264612"/>
                  <a:pt x="3236865" y="261651"/>
                </a:cubicBezTo>
                <a:lnTo>
                  <a:pt x="3238744" y="258698"/>
                </a:lnTo>
                <a:lnTo>
                  <a:pt x="3243470" y="265068"/>
                </a:lnTo>
                <a:cubicBezTo>
                  <a:pt x="3244381" y="262334"/>
                  <a:pt x="3243470" y="260512"/>
                  <a:pt x="3242331" y="258690"/>
                </a:cubicBezTo>
                <a:lnTo>
                  <a:pt x="3240964" y="255209"/>
                </a:lnTo>
                <a:lnTo>
                  <a:pt x="3241648" y="254135"/>
                </a:lnTo>
                <a:cubicBezTo>
                  <a:pt x="3248937" y="250490"/>
                  <a:pt x="3245292" y="261423"/>
                  <a:pt x="3250759" y="261423"/>
                </a:cubicBezTo>
                <a:cubicBezTo>
                  <a:pt x="3250759" y="255957"/>
                  <a:pt x="3256225" y="252313"/>
                  <a:pt x="3258047" y="254135"/>
                </a:cubicBezTo>
                <a:cubicBezTo>
                  <a:pt x="3259869" y="263246"/>
                  <a:pt x="3270803" y="265068"/>
                  <a:pt x="3278091" y="268712"/>
                </a:cubicBezTo>
                <a:cubicBezTo>
                  <a:pt x="3272625" y="257779"/>
                  <a:pt x="3267158" y="243202"/>
                  <a:pt x="3274447" y="232269"/>
                </a:cubicBezTo>
                <a:cubicBezTo>
                  <a:pt x="3276269" y="237735"/>
                  <a:pt x="3276269" y="241379"/>
                  <a:pt x="3276269" y="246846"/>
                </a:cubicBezTo>
                <a:cubicBezTo>
                  <a:pt x="3278091" y="243202"/>
                  <a:pt x="3278091" y="237735"/>
                  <a:pt x="3279913" y="234091"/>
                </a:cubicBezTo>
                <a:cubicBezTo>
                  <a:pt x="3279913" y="239557"/>
                  <a:pt x="3282647" y="243657"/>
                  <a:pt x="3286519" y="247301"/>
                </a:cubicBezTo>
                <a:lnTo>
                  <a:pt x="3295383" y="254212"/>
                </a:lnTo>
                <a:lnTo>
                  <a:pt x="3294491" y="257779"/>
                </a:lnTo>
                <a:lnTo>
                  <a:pt x="3296886" y="255384"/>
                </a:lnTo>
                <a:lnTo>
                  <a:pt x="3299957" y="257779"/>
                </a:lnTo>
                <a:lnTo>
                  <a:pt x="3299957" y="252312"/>
                </a:lnTo>
                <a:lnTo>
                  <a:pt x="3301780" y="250490"/>
                </a:lnTo>
                <a:lnTo>
                  <a:pt x="3299958" y="250945"/>
                </a:lnTo>
                <a:lnTo>
                  <a:pt x="3299958" y="248668"/>
                </a:lnTo>
                <a:cubicBezTo>
                  <a:pt x="3300869" y="245934"/>
                  <a:pt x="3301780" y="243201"/>
                  <a:pt x="3299957" y="239557"/>
                </a:cubicBezTo>
                <a:cubicBezTo>
                  <a:pt x="3303602" y="239557"/>
                  <a:pt x="3303602" y="245024"/>
                  <a:pt x="3307246" y="246846"/>
                </a:cubicBezTo>
                <a:cubicBezTo>
                  <a:pt x="3309068" y="246846"/>
                  <a:pt x="3307246" y="245024"/>
                  <a:pt x="3309068" y="243202"/>
                </a:cubicBezTo>
                <a:cubicBezTo>
                  <a:pt x="3303602" y="254135"/>
                  <a:pt x="3299957" y="266890"/>
                  <a:pt x="3314535" y="268712"/>
                </a:cubicBezTo>
                <a:cubicBezTo>
                  <a:pt x="3316357" y="268712"/>
                  <a:pt x="3318179" y="268712"/>
                  <a:pt x="3320001" y="265068"/>
                </a:cubicBezTo>
                <a:cubicBezTo>
                  <a:pt x="3320001" y="268712"/>
                  <a:pt x="3316357" y="274179"/>
                  <a:pt x="3318179" y="276001"/>
                </a:cubicBezTo>
                <a:cubicBezTo>
                  <a:pt x="3323646" y="279645"/>
                  <a:pt x="3325468" y="268712"/>
                  <a:pt x="3330934" y="272356"/>
                </a:cubicBezTo>
                <a:cubicBezTo>
                  <a:pt x="3329112" y="270534"/>
                  <a:pt x="3327290" y="266890"/>
                  <a:pt x="3325468" y="265068"/>
                </a:cubicBezTo>
                <a:cubicBezTo>
                  <a:pt x="3325468" y="266890"/>
                  <a:pt x="3323646" y="266890"/>
                  <a:pt x="3323646" y="268712"/>
                </a:cubicBezTo>
                <a:cubicBezTo>
                  <a:pt x="3321824" y="265068"/>
                  <a:pt x="3323646" y="250490"/>
                  <a:pt x="3330934" y="257779"/>
                </a:cubicBezTo>
                <a:cubicBezTo>
                  <a:pt x="3338223" y="265068"/>
                  <a:pt x="3330934" y="279645"/>
                  <a:pt x="3341867" y="286934"/>
                </a:cubicBezTo>
                <a:cubicBezTo>
                  <a:pt x="3336401" y="279645"/>
                  <a:pt x="3347334" y="274179"/>
                  <a:pt x="3345512" y="266890"/>
                </a:cubicBezTo>
                <a:cubicBezTo>
                  <a:pt x="3345512" y="272356"/>
                  <a:pt x="3349156" y="279645"/>
                  <a:pt x="3356445" y="279645"/>
                </a:cubicBezTo>
                <a:lnTo>
                  <a:pt x="3347855" y="286517"/>
                </a:lnTo>
                <a:lnTo>
                  <a:pt x="3347334" y="283289"/>
                </a:lnTo>
                <a:cubicBezTo>
                  <a:pt x="3342779" y="286022"/>
                  <a:pt x="3342323" y="288300"/>
                  <a:pt x="3343007" y="290350"/>
                </a:cubicBezTo>
                <a:lnTo>
                  <a:pt x="3345301" y="295563"/>
                </a:lnTo>
                <a:lnTo>
                  <a:pt x="3344145" y="302878"/>
                </a:lnTo>
                <a:cubicBezTo>
                  <a:pt x="3345056" y="305611"/>
                  <a:pt x="3347334" y="307889"/>
                  <a:pt x="3350978" y="308800"/>
                </a:cubicBezTo>
                <a:lnTo>
                  <a:pt x="3362376" y="310066"/>
                </a:lnTo>
                <a:lnTo>
                  <a:pt x="3363734" y="310622"/>
                </a:lnTo>
                <a:lnTo>
                  <a:pt x="3363594" y="310201"/>
                </a:lnTo>
                <a:lnTo>
                  <a:pt x="3367378" y="310622"/>
                </a:lnTo>
                <a:cubicBezTo>
                  <a:pt x="3363734" y="310622"/>
                  <a:pt x="3360545" y="312444"/>
                  <a:pt x="3358495" y="315177"/>
                </a:cubicBezTo>
                <a:lnTo>
                  <a:pt x="3356771" y="323606"/>
                </a:lnTo>
                <a:lnTo>
                  <a:pt x="3356445" y="323377"/>
                </a:lnTo>
                <a:cubicBezTo>
                  <a:pt x="3354623" y="323377"/>
                  <a:pt x="3352800" y="323377"/>
                  <a:pt x="3354623" y="327022"/>
                </a:cubicBezTo>
                <a:cubicBezTo>
                  <a:pt x="3356445" y="325199"/>
                  <a:pt x="3358267" y="327022"/>
                  <a:pt x="3360089" y="328844"/>
                </a:cubicBezTo>
                <a:cubicBezTo>
                  <a:pt x="3361912" y="327933"/>
                  <a:pt x="3361456" y="327021"/>
                  <a:pt x="3360317" y="326110"/>
                </a:cubicBezTo>
                <a:lnTo>
                  <a:pt x="3357513" y="324131"/>
                </a:lnTo>
                <a:lnTo>
                  <a:pt x="3363734" y="317911"/>
                </a:lnTo>
                <a:cubicBezTo>
                  <a:pt x="3367378" y="325199"/>
                  <a:pt x="3376489" y="323377"/>
                  <a:pt x="3383777" y="319733"/>
                </a:cubicBezTo>
                <a:cubicBezTo>
                  <a:pt x="3396532" y="308800"/>
                  <a:pt x="3381955" y="296045"/>
                  <a:pt x="3381955" y="285112"/>
                </a:cubicBezTo>
                <a:cubicBezTo>
                  <a:pt x="3381955" y="283289"/>
                  <a:pt x="3381955" y="281467"/>
                  <a:pt x="3383777" y="279645"/>
                </a:cubicBezTo>
                <a:cubicBezTo>
                  <a:pt x="3387422" y="285112"/>
                  <a:pt x="3380133" y="296045"/>
                  <a:pt x="3389244" y="294223"/>
                </a:cubicBezTo>
                <a:cubicBezTo>
                  <a:pt x="3394710" y="290578"/>
                  <a:pt x="3394710" y="285112"/>
                  <a:pt x="3394710" y="279645"/>
                </a:cubicBezTo>
                <a:cubicBezTo>
                  <a:pt x="3394710" y="276001"/>
                  <a:pt x="3391066" y="274179"/>
                  <a:pt x="3387422" y="274179"/>
                </a:cubicBezTo>
                <a:cubicBezTo>
                  <a:pt x="3387422" y="274179"/>
                  <a:pt x="3387422" y="276001"/>
                  <a:pt x="3385600" y="277823"/>
                </a:cubicBezTo>
                <a:cubicBezTo>
                  <a:pt x="3385600" y="272356"/>
                  <a:pt x="3381955" y="266890"/>
                  <a:pt x="3374666" y="268712"/>
                </a:cubicBezTo>
                <a:cubicBezTo>
                  <a:pt x="3374666" y="265068"/>
                  <a:pt x="3374666" y="261423"/>
                  <a:pt x="3374666" y="257779"/>
                </a:cubicBezTo>
                <a:cubicBezTo>
                  <a:pt x="3378311" y="259601"/>
                  <a:pt x="3378311" y="263246"/>
                  <a:pt x="3381955" y="261423"/>
                </a:cubicBezTo>
                <a:cubicBezTo>
                  <a:pt x="3378311" y="254135"/>
                  <a:pt x="3367378" y="254135"/>
                  <a:pt x="3369200" y="245024"/>
                </a:cubicBezTo>
                <a:cubicBezTo>
                  <a:pt x="3371022" y="241379"/>
                  <a:pt x="3374666" y="239557"/>
                  <a:pt x="3378311" y="237735"/>
                </a:cubicBezTo>
                <a:cubicBezTo>
                  <a:pt x="3380133" y="237735"/>
                  <a:pt x="3385600" y="237735"/>
                  <a:pt x="3387422" y="239557"/>
                </a:cubicBezTo>
                <a:cubicBezTo>
                  <a:pt x="3383777" y="235913"/>
                  <a:pt x="3383777" y="223158"/>
                  <a:pt x="3391066" y="224980"/>
                </a:cubicBezTo>
                <a:cubicBezTo>
                  <a:pt x="3396532" y="224980"/>
                  <a:pt x="3394710" y="234091"/>
                  <a:pt x="3400177" y="235913"/>
                </a:cubicBezTo>
                <a:cubicBezTo>
                  <a:pt x="3401999" y="230446"/>
                  <a:pt x="3396532" y="226802"/>
                  <a:pt x="3394710" y="223158"/>
                </a:cubicBezTo>
                <a:cubicBezTo>
                  <a:pt x="3400177" y="221336"/>
                  <a:pt x="3405643" y="219513"/>
                  <a:pt x="3407466" y="212225"/>
                </a:cubicBezTo>
                <a:cubicBezTo>
                  <a:pt x="3411110" y="219513"/>
                  <a:pt x="3416577" y="212225"/>
                  <a:pt x="3418399" y="208580"/>
                </a:cubicBezTo>
                <a:cubicBezTo>
                  <a:pt x="3422043" y="204936"/>
                  <a:pt x="3420221" y="199469"/>
                  <a:pt x="3420221" y="195825"/>
                </a:cubicBezTo>
                <a:cubicBezTo>
                  <a:pt x="3418399" y="195825"/>
                  <a:pt x="3416577" y="195825"/>
                  <a:pt x="3414754" y="197647"/>
                </a:cubicBezTo>
                <a:cubicBezTo>
                  <a:pt x="3416577" y="192181"/>
                  <a:pt x="3412932" y="188536"/>
                  <a:pt x="3414754" y="183070"/>
                </a:cubicBezTo>
                <a:cubicBezTo>
                  <a:pt x="3414754" y="186714"/>
                  <a:pt x="3416577" y="188536"/>
                  <a:pt x="3418399" y="188536"/>
                </a:cubicBezTo>
                <a:cubicBezTo>
                  <a:pt x="3422043" y="183070"/>
                  <a:pt x="3420221" y="179426"/>
                  <a:pt x="3420221" y="172137"/>
                </a:cubicBezTo>
                <a:cubicBezTo>
                  <a:pt x="3420221" y="168493"/>
                  <a:pt x="3431154" y="168493"/>
                  <a:pt x="3431154" y="175781"/>
                </a:cubicBezTo>
                <a:cubicBezTo>
                  <a:pt x="3429332" y="173959"/>
                  <a:pt x="3427510" y="173959"/>
                  <a:pt x="3425687" y="175781"/>
                </a:cubicBezTo>
                <a:cubicBezTo>
                  <a:pt x="3425687" y="177603"/>
                  <a:pt x="3425687" y="179426"/>
                  <a:pt x="3425687" y="181248"/>
                </a:cubicBezTo>
                <a:cubicBezTo>
                  <a:pt x="3434798" y="177603"/>
                  <a:pt x="3442087" y="184892"/>
                  <a:pt x="3442087" y="192181"/>
                </a:cubicBezTo>
                <a:cubicBezTo>
                  <a:pt x="3442087" y="192181"/>
                  <a:pt x="3440265" y="192181"/>
                  <a:pt x="3438443" y="194003"/>
                </a:cubicBezTo>
                <a:cubicBezTo>
                  <a:pt x="3432976" y="190359"/>
                  <a:pt x="3434798" y="186714"/>
                  <a:pt x="3431154" y="183070"/>
                </a:cubicBezTo>
                <a:cubicBezTo>
                  <a:pt x="3432976" y="188536"/>
                  <a:pt x="3431154" y="197647"/>
                  <a:pt x="3438443" y="199469"/>
                </a:cubicBezTo>
                <a:cubicBezTo>
                  <a:pt x="3440265" y="199469"/>
                  <a:pt x="3443909" y="194003"/>
                  <a:pt x="3447553" y="197647"/>
                </a:cubicBezTo>
                <a:cubicBezTo>
                  <a:pt x="3445731" y="195825"/>
                  <a:pt x="3443909" y="190359"/>
                  <a:pt x="3443909" y="188536"/>
                </a:cubicBezTo>
                <a:cubicBezTo>
                  <a:pt x="3442087" y="186714"/>
                  <a:pt x="3447553" y="184892"/>
                  <a:pt x="3449376" y="186714"/>
                </a:cubicBezTo>
                <a:cubicBezTo>
                  <a:pt x="3451198" y="190359"/>
                  <a:pt x="3449376" y="195825"/>
                  <a:pt x="3451198" y="197647"/>
                </a:cubicBezTo>
                <a:cubicBezTo>
                  <a:pt x="3454842" y="199469"/>
                  <a:pt x="3454842" y="197647"/>
                  <a:pt x="3456664" y="195825"/>
                </a:cubicBezTo>
                <a:cubicBezTo>
                  <a:pt x="3456664" y="197647"/>
                  <a:pt x="3458487" y="203114"/>
                  <a:pt x="3456664" y="204936"/>
                </a:cubicBezTo>
                <a:cubicBezTo>
                  <a:pt x="3451198" y="214047"/>
                  <a:pt x="3445731" y="230446"/>
                  <a:pt x="3458487" y="234091"/>
                </a:cubicBezTo>
                <a:cubicBezTo>
                  <a:pt x="3458487" y="228624"/>
                  <a:pt x="3458487" y="221336"/>
                  <a:pt x="3460309" y="219513"/>
                </a:cubicBezTo>
                <a:cubicBezTo>
                  <a:pt x="3473064" y="210403"/>
                  <a:pt x="3469419" y="239557"/>
                  <a:pt x="3471242" y="250490"/>
                </a:cubicBezTo>
                <a:cubicBezTo>
                  <a:pt x="3465775" y="246846"/>
                  <a:pt x="3463953" y="254135"/>
                  <a:pt x="3462131" y="254135"/>
                </a:cubicBezTo>
                <a:cubicBezTo>
                  <a:pt x="3456664" y="255957"/>
                  <a:pt x="3453020" y="248668"/>
                  <a:pt x="3449376" y="243202"/>
                </a:cubicBezTo>
                <a:cubicBezTo>
                  <a:pt x="3449376" y="245024"/>
                  <a:pt x="3449376" y="248668"/>
                  <a:pt x="3447553" y="250490"/>
                </a:cubicBezTo>
                <a:cubicBezTo>
                  <a:pt x="3443909" y="246846"/>
                  <a:pt x="3440265" y="245024"/>
                  <a:pt x="3436621" y="248668"/>
                </a:cubicBezTo>
                <a:cubicBezTo>
                  <a:pt x="3432976" y="254135"/>
                  <a:pt x="3429332" y="261423"/>
                  <a:pt x="3425687" y="268712"/>
                </a:cubicBezTo>
                <a:cubicBezTo>
                  <a:pt x="3429332" y="257779"/>
                  <a:pt x="3432976" y="245024"/>
                  <a:pt x="3427510" y="234091"/>
                </a:cubicBezTo>
                <a:cubicBezTo>
                  <a:pt x="3425687" y="235913"/>
                  <a:pt x="3423865" y="235913"/>
                  <a:pt x="3422043" y="235913"/>
                </a:cubicBezTo>
                <a:cubicBezTo>
                  <a:pt x="3423865" y="239557"/>
                  <a:pt x="3423865" y="245024"/>
                  <a:pt x="3425687" y="250490"/>
                </a:cubicBezTo>
                <a:lnTo>
                  <a:pt x="3423826" y="246767"/>
                </a:lnTo>
                <a:lnTo>
                  <a:pt x="3423865" y="245024"/>
                </a:lnTo>
                <a:lnTo>
                  <a:pt x="3423562" y="246238"/>
                </a:lnTo>
                <a:lnTo>
                  <a:pt x="3422043" y="243202"/>
                </a:lnTo>
                <a:lnTo>
                  <a:pt x="3418695" y="250022"/>
                </a:lnTo>
                <a:lnTo>
                  <a:pt x="3417716" y="249351"/>
                </a:lnTo>
                <a:cubicBezTo>
                  <a:pt x="3417032" y="247301"/>
                  <a:pt x="3417488" y="245024"/>
                  <a:pt x="3420221" y="245024"/>
                </a:cubicBezTo>
                <a:cubicBezTo>
                  <a:pt x="3416577" y="243202"/>
                  <a:pt x="3414754" y="259601"/>
                  <a:pt x="3411110" y="261423"/>
                </a:cubicBezTo>
                <a:lnTo>
                  <a:pt x="3412465" y="262713"/>
                </a:lnTo>
                <a:lnTo>
                  <a:pt x="3409744" y="268256"/>
                </a:lnTo>
                <a:lnTo>
                  <a:pt x="3410483" y="283289"/>
                </a:lnTo>
                <a:lnTo>
                  <a:pt x="3409288" y="283289"/>
                </a:lnTo>
                <a:lnTo>
                  <a:pt x="3410606" y="285793"/>
                </a:lnTo>
                <a:lnTo>
                  <a:pt x="3411110" y="296045"/>
                </a:lnTo>
                <a:cubicBezTo>
                  <a:pt x="3407466" y="294223"/>
                  <a:pt x="3405643" y="292400"/>
                  <a:pt x="3405643" y="294223"/>
                </a:cubicBezTo>
                <a:cubicBezTo>
                  <a:pt x="3403821" y="299689"/>
                  <a:pt x="3403821" y="306978"/>
                  <a:pt x="3403821" y="312444"/>
                </a:cubicBezTo>
                <a:cubicBezTo>
                  <a:pt x="3420221" y="316089"/>
                  <a:pt x="3412932" y="312444"/>
                  <a:pt x="3422043" y="325199"/>
                </a:cubicBezTo>
                <a:cubicBezTo>
                  <a:pt x="3422043" y="319733"/>
                  <a:pt x="3411110" y="308800"/>
                  <a:pt x="3412932" y="299689"/>
                </a:cubicBezTo>
                <a:cubicBezTo>
                  <a:pt x="3414754" y="301511"/>
                  <a:pt x="3414754" y="305155"/>
                  <a:pt x="3416577" y="305155"/>
                </a:cubicBezTo>
                <a:cubicBezTo>
                  <a:pt x="3425687" y="306978"/>
                  <a:pt x="3422043" y="292400"/>
                  <a:pt x="3416577" y="290578"/>
                </a:cubicBezTo>
                <a:cubicBezTo>
                  <a:pt x="3413844" y="290578"/>
                  <a:pt x="3412477" y="289211"/>
                  <a:pt x="3411566" y="287617"/>
                </a:cubicBezTo>
                <a:lnTo>
                  <a:pt x="3410606" y="285793"/>
                </a:lnTo>
                <a:lnTo>
                  <a:pt x="3410483" y="283289"/>
                </a:lnTo>
                <a:lnTo>
                  <a:pt x="3423865" y="283289"/>
                </a:lnTo>
                <a:cubicBezTo>
                  <a:pt x="3423865" y="292400"/>
                  <a:pt x="3424776" y="302422"/>
                  <a:pt x="3426827" y="312216"/>
                </a:cubicBezTo>
                <a:lnTo>
                  <a:pt x="3435659" y="337070"/>
                </a:lnTo>
                <a:lnTo>
                  <a:pt x="3429332" y="332488"/>
                </a:lnTo>
                <a:cubicBezTo>
                  <a:pt x="3425687" y="337954"/>
                  <a:pt x="3431154" y="343421"/>
                  <a:pt x="3438443" y="343421"/>
                </a:cubicBezTo>
                <a:lnTo>
                  <a:pt x="3436621" y="338949"/>
                </a:lnTo>
                <a:lnTo>
                  <a:pt x="3436621" y="337954"/>
                </a:lnTo>
                <a:cubicBezTo>
                  <a:pt x="3438443" y="336133"/>
                  <a:pt x="3442087" y="336133"/>
                  <a:pt x="3443909" y="337954"/>
                </a:cubicBezTo>
                <a:cubicBezTo>
                  <a:pt x="3447553" y="341598"/>
                  <a:pt x="3451198" y="348888"/>
                  <a:pt x="3453020" y="345242"/>
                </a:cubicBezTo>
                <a:cubicBezTo>
                  <a:pt x="3454842" y="341598"/>
                  <a:pt x="3449376" y="339777"/>
                  <a:pt x="3451198" y="334310"/>
                </a:cubicBezTo>
                <a:cubicBezTo>
                  <a:pt x="3453020" y="341598"/>
                  <a:pt x="3460309" y="334310"/>
                  <a:pt x="3462131" y="334310"/>
                </a:cubicBezTo>
                <a:lnTo>
                  <a:pt x="3456671" y="329568"/>
                </a:lnTo>
                <a:lnTo>
                  <a:pt x="3457120" y="329299"/>
                </a:lnTo>
                <a:cubicBezTo>
                  <a:pt x="3457120" y="327932"/>
                  <a:pt x="3456664" y="326110"/>
                  <a:pt x="3456664" y="325199"/>
                </a:cubicBezTo>
                <a:cubicBezTo>
                  <a:pt x="3463953" y="330666"/>
                  <a:pt x="3474886" y="334310"/>
                  <a:pt x="3483997" y="339777"/>
                </a:cubicBezTo>
                <a:cubicBezTo>
                  <a:pt x="3482175" y="336133"/>
                  <a:pt x="3480353" y="332488"/>
                  <a:pt x="3482175" y="328844"/>
                </a:cubicBezTo>
                <a:cubicBezTo>
                  <a:pt x="3485819" y="334310"/>
                  <a:pt x="3485819" y="339777"/>
                  <a:pt x="3485819" y="347066"/>
                </a:cubicBezTo>
                <a:cubicBezTo>
                  <a:pt x="3485819" y="341598"/>
                  <a:pt x="3480353" y="343421"/>
                  <a:pt x="3478530" y="345242"/>
                </a:cubicBezTo>
                <a:cubicBezTo>
                  <a:pt x="3478530" y="347066"/>
                  <a:pt x="3476708" y="348888"/>
                  <a:pt x="3476708" y="350710"/>
                </a:cubicBezTo>
                <a:cubicBezTo>
                  <a:pt x="3478530" y="347066"/>
                  <a:pt x="3476708" y="343421"/>
                  <a:pt x="3474886" y="339777"/>
                </a:cubicBezTo>
                <a:cubicBezTo>
                  <a:pt x="3471242" y="343421"/>
                  <a:pt x="3465775" y="343421"/>
                  <a:pt x="3463953" y="332488"/>
                </a:cubicBezTo>
                <a:cubicBezTo>
                  <a:pt x="3463953" y="336133"/>
                  <a:pt x="3462131" y="343421"/>
                  <a:pt x="3456664" y="341598"/>
                </a:cubicBezTo>
                <a:cubicBezTo>
                  <a:pt x="3462131" y="356176"/>
                  <a:pt x="3463953" y="350710"/>
                  <a:pt x="3474886" y="357998"/>
                </a:cubicBezTo>
                <a:cubicBezTo>
                  <a:pt x="3476708" y="356176"/>
                  <a:pt x="3478530" y="354354"/>
                  <a:pt x="3478530" y="350710"/>
                </a:cubicBezTo>
                <a:cubicBezTo>
                  <a:pt x="3476708" y="363465"/>
                  <a:pt x="3485819" y="368932"/>
                  <a:pt x="3500397" y="367109"/>
                </a:cubicBezTo>
                <a:cubicBezTo>
                  <a:pt x="3500397" y="365287"/>
                  <a:pt x="3498574" y="365287"/>
                  <a:pt x="3498574" y="363465"/>
                </a:cubicBezTo>
                <a:cubicBezTo>
                  <a:pt x="3504041" y="361642"/>
                  <a:pt x="3507685" y="367109"/>
                  <a:pt x="3509507" y="372576"/>
                </a:cubicBezTo>
                <a:cubicBezTo>
                  <a:pt x="3516796" y="363465"/>
                  <a:pt x="3509507" y="359821"/>
                  <a:pt x="3507685" y="352532"/>
                </a:cubicBezTo>
                <a:cubicBezTo>
                  <a:pt x="3520440" y="356176"/>
                  <a:pt x="3514974" y="368932"/>
                  <a:pt x="3522263" y="376220"/>
                </a:cubicBezTo>
                <a:cubicBezTo>
                  <a:pt x="3524085" y="378041"/>
                  <a:pt x="3531374" y="376220"/>
                  <a:pt x="3533196" y="374397"/>
                </a:cubicBezTo>
                <a:cubicBezTo>
                  <a:pt x="3535018" y="370754"/>
                  <a:pt x="3531374" y="368932"/>
                  <a:pt x="3529551" y="368932"/>
                </a:cubicBezTo>
                <a:cubicBezTo>
                  <a:pt x="3527729" y="370754"/>
                  <a:pt x="3529551" y="372576"/>
                  <a:pt x="3531374" y="372576"/>
                </a:cubicBezTo>
                <a:cubicBezTo>
                  <a:pt x="3524085" y="374397"/>
                  <a:pt x="3524085" y="367109"/>
                  <a:pt x="3522263" y="363465"/>
                </a:cubicBezTo>
                <a:cubicBezTo>
                  <a:pt x="3524085" y="363465"/>
                  <a:pt x="3525907" y="361642"/>
                  <a:pt x="3525907" y="361642"/>
                </a:cubicBezTo>
                <a:cubicBezTo>
                  <a:pt x="3518618" y="354354"/>
                  <a:pt x="3513152" y="347066"/>
                  <a:pt x="3505863" y="339777"/>
                </a:cubicBezTo>
                <a:cubicBezTo>
                  <a:pt x="3507685" y="347066"/>
                  <a:pt x="3505863" y="352532"/>
                  <a:pt x="3504041" y="357998"/>
                </a:cubicBezTo>
                <a:cubicBezTo>
                  <a:pt x="3500397" y="348888"/>
                  <a:pt x="3498574" y="347066"/>
                  <a:pt x="3498574" y="337954"/>
                </a:cubicBezTo>
                <a:cubicBezTo>
                  <a:pt x="3498574" y="332488"/>
                  <a:pt x="3483997" y="328844"/>
                  <a:pt x="3491286" y="321555"/>
                </a:cubicBezTo>
                <a:cubicBezTo>
                  <a:pt x="3493108" y="321555"/>
                  <a:pt x="3496752" y="319733"/>
                  <a:pt x="3498574" y="319733"/>
                </a:cubicBezTo>
                <a:cubicBezTo>
                  <a:pt x="3498574" y="325199"/>
                  <a:pt x="3502219" y="337954"/>
                  <a:pt x="3509507" y="332488"/>
                </a:cubicBezTo>
                <a:cubicBezTo>
                  <a:pt x="3511330" y="332488"/>
                  <a:pt x="3509507" y="327022"/>
                  <a:pt x="3511330" y="325199"/>
                </a:cubicBezTo>
                <a:cubicBezTo>
                  <a:pt x="3511330" y="328844"/>
                  <a:pt x="3511330" y="330666"/>
                  <a:pt x="3513152" y="332488"/>
                </a:cubicBezTo>
                <a:cubicBezTo>
                  <a:pt x="3513152" y="323377"/>
                  <a:pt x="3524085" y="325199"/>
                  <a:pt x="3529551" y="330666"/>
                </a:cubicBezTo>
                <a:cubicBezTo>
                  <a:pt x="3524085" y="332488"/>
                  <a:pt x="3529551" y="337954"/>
                  <a:pt x="3527729" y="339777"/>
                </a:cubicBezTo>
                <a:cubicBezTo>
                  <a:pt x="3535018" y="343421"/>
                  <a:pt x="3544129" y="339777"/>
                  <a:pt x="3545951" y="347066"/>
                </a:cubicBezTo>
                <a:cubicBezTo>
                  <a:pt x="3545951" y="348888"/>
                  <a:pt x="3544129" y="354354"/>
                  <a:pt x="3540484" y="356176"/>
                </a:cubicBezTo>
                <a:cubicBezTo>
                  <a:pt x="3535018" y="356176"/>
                  <a:pt x="3533196" y="348888"/>
                  <a:pt x="3529551" y="345242"/>
                </a:cubicBezTo>
                <a:cubicBezTo>
                  <a:pt x="3533196" y="354354"/>
                  <a:pt x="3536840" y="365287"/>
                  <a:pt x="3544129" y="365287"/>
                </a:cubicBezTo>
                <a:cubicBezTo>
                  <a:pt x="3555062" y="365287"/>
                  <a:pt x="3565995" y="367109"/>
                  <a:pt x="3573284" y="376220"/>
                </a:cubicBezTo>
                <a:cubicBezTo>
                  <a:pt x="3573284" y="376220"/>
                  <a:pt x="3571461" y="376220"/>
                  <a:pt x="3571461" y="374397"/>
                </a:cubicBezTo>
                <a:cubicBezTo>
                  <a:pt x="3580572" y="379865"/>
                  <a:pt x="3596972" y="379865"/>
                  <a:pt x="3596972" y="394441"/>
                </a:cubicBezTo>
                <a:cubicBezTo>
                  <a:pt x="3598794" y="394441"/>
                  <a:pt x="3600616" y="394441"/>
                  <a:pt x="3602438" y="396264"/>
                </a:cubicBezTo>
                <a:cubicBezTo>
                  <a:pt x="3593327" y="405375"/>
                  <a:pt x="3611549" y="414485"/>
                  <a:pt x="3600616" y="416308"/>
                </a:cubicBezTo>
                <a:cubicBezTo>
                  <a:pt x="3595150" y="418129"/>
                  <a:pt x="3602438" y="407196"/>
                  <a:pt x="3595150" y="409019"/>
                </a:cubicBezTo>
                <a:cubicBezTo>
                  <a:pt x="3595150" y="410841"/>
                  <a:pt x="3596972" y="410841"/>
                  <a:pt x="3596972" y="412664"/>
                </a:cubicBezTo>
                <a:lnTo>
                  <a:pt x="3587861" y="412664"/>
                </a:lnTo>
                <a:cubicBezTo>
                  <a:pt x="3593327" y="409019"/>
                  <a:pt x="3584216" y="407196"/>
                  <a:pt x="3582394" y="403552"/>
                </a:cubicBezTo>
                <a:cubicBezTo>
                  <a:pt x="3580572" y="403552"/>
                  <a:pt x="3580572" y="405375"/>
                  <a:pt x="3578750" y="405375"/>
                </a:cubicBezTo>
                <a:cubicBezTo>
                  <a:pt x="3580572" y="409019"/>
                  <a:pt x="3586039" y="409019"/>
                  <a:pt x="3587861" y="412664"/>
                </a:cubicBezTo>
                <a:lnTo>
                  <a:pt x="3586039" y="412664"/>
                </a:lnTo>
                <a:lnTo>
                  <a:pt x="3587218" y="416522"/>
                </a:lnTo>
                <a:lnTo>
                  <a:pt x="3582394" y="412664"/>
                </a:lnTo>
                <a:cubicBezTo>
                  <a:pt x="3582394" y="414486"/>
                  <a:pt x="3582394" y="416763"/>
                  <a:pt x="3583533" y="418358"/>
                </a:cubicBezTo>
                <a:lnTo>
                  <a:pt x="3588055" y="419262"/>
                </a:lnTo>
                <a:lnTo>
                  <a:pt x="3588544" y="420863"/>
                </a:lnTo>
                <a:lnTo>
                  <a:pt x="3588889" y="423344"/>
                </a:lnTo>
                <a:lnTo>
                  <a:pt x="3582394" y="427240"/>
                </a:lnTo>
                <a:lnTo>
                  <a:pt x="3589430" y="427240"/>
                </a:lnTo>
                <a:lnTo>
                  <a:pt x="3589683" y="429063"/>
                </a:lnTo>
                <a:cubicBezTo>
                  <a:pt x="3591505" y="430886"/>
                  <a:pt x="3596972" y="432707"/>
                  <a:pt x="3598794" y="430886"/>
                </a:cubicBezTo>
                <a:lnTo>
                  <a:pt x="3599421" y="433462"/>
                </a:lnTo>
                <a:lnTo>
                  <a:pt x="3595150" y="434530"/>
                </a:lnTo>
                <a:cubicBezTo>
                  <a:pt x="3593327" y="436351"/>
                  <a:pt x="3591505" y="438174"/>
                  <a:pt x="3591505" y="441819"/>
                </a:cubicBezTo>
                <a:cubicBezTo>
                  <a:pt x="3589683" y="438174"/>
                  <a:pt x="3586039" y="430886"/>
                  <a:pt x="3584216" y="434530"/>
                </a:cubicBezTo>
                <a:cubicBezTo>
                  <a:pt x="3580572" y="438174"/>
                  <a:pt x="3582394" y="445463"/>
                  <a:pt x="3587861" y="449107"/>
                </a:cubicBezTo>
                <a:cubicBezTo>
                  <a:pt x="3586039" y="450928"/>
                  <a:pt x="3586039" y="450928"/>
                  <a:pt x="3584216" y="450928"/>
                </a:cubicBezTo>
                <a:cubicBezTo>
                  <a:pt x="3580572" y="449107"/>
                  <a:pt x="3580572" y="439995"/>
                  <a:pt x="3573284" y="441819"/>
                </a:cubicBezTo>
                <a:cubicBezTo>
                  <a:pt x="3570551" y="442729"/>
                  <a:pt x="3570551" y="439996"/>
                  <a:pt x="3570323" y="436580"/>
                </a:cubicBezTo>
                <a:lnTo>
                  <a:pt x="3567684" y="430886"/>
                </a:lnTo>
                <a:lnTo>
                  <a:pt x="3567817" y="430886"/>
                </a:lnTo>
                <a:cubicBezTo>
                  <a:pt x="3565995" y="429063"/>
                  <a:pt x="3565995" y="429063"/>
                  <a:pt x="3565995" y="427240"/>
                </a:cubicBezTo>
                <a:lnTo>
                  <a:pt x="3567684" y="430886"/>
                </a:lnTo>
                <a:lnTo>
                  <a:pt x="3564173" y="430886"/>
                </a:lnTo>
                <a:cubicBezTo>
                  <a:pt x="3564173" y="421775"/>
                  <a:pt x="3553240" y="425419"/>
                  <a:pt x="3547773" y="423596"/>
                </a:cubicBezTo>
                <a:cubicBezTo>
                  <a:pt x="3547773" y="425419"/>
                  <a:pt x="3547773" y="427240"/>
                  <a:pt x="3549595" y="429063"/>
                </a:cubicBezTo>
                <a:cubicBezTo>
                  <a:pt x="3542306" y="425419"/>
                  <a:pt x="3536840" y="423596"/>
                  <a:pt x="3529551" y="429063"/>
                </a:cubicBezTo>
                <a:cubicBezTo>
                  <a:pt x="3531374" y="434530"/>
                  <a:pt x="3535018" y="434530"/>
                  <a:pt x="3538662" y="436351"/>
                </a:cubicBezTo>
                <a:cubicBezTo>
                  <a:pt x="3536840" y="438174"/>
                  <a:pt x="3536840" y="443640"/>
                  <a:pt x="3536840" y="445463"/>
                </a:cubicBezTo>
                <a:cubicBezTo>
                  <a:pt x="3531374" y="439995"/>
                  <a:pt x="3529551" y="429063"/>
                  <a:pt x="3527729" y="436351"/>
                </a:cubicBezTo>
                <a:cubicBezTo>
                  <a:pt x="3522263" y="449107"/>
                  <a:pt x="3535018" y="467328"/>
                  <a:pt x="3540484" y="481906"/>
                </a:cubicBezTo>
                <a:cubicBezTo>
                  <a:pt x="3555062" y="469150"/>
                  <a:pt x="3571461" y="472795"/>
                  <a:pt x="3591505" y="467328"/>
                </a:cubicBezTo>
                <a:cubicBezTo>
                  <a:pt x="3594239" y="466417"/>
                  <a:pt x="3597883" y="465962"/>
                  <a:pt x="3601072" y="464823"/>
                </a:cubicBezTo>
                <a:lnTo>
                  <a:pt x="3606315" y="459755"/>
                </a:lnTo>
                <a:lnTo>
                  <a:pt x="3607905" y="469150"/>
                </a:lnTo>
                <a:cubicBezTo>
                  <a:pt x="3609727" y="469150"/>
                  <a:pt x="3618838" y="469150"/>
                  <a:pt x="3615193" y="470972"/>
                </a:cubicBezTo>
                <a:cubicBezTo>
                  <a:pt x="3611549" y="470972"/>
                  <a:pt x="3609727" y="470972"/>
                  <a:pt x="3607905" y="470972"/>
                </a:cubicBezTo>
                <a:cubicBezTo>
                  <a:pt x="3604260" y="485550"/>
                  <a:pt x="3576928" y="474618"/>
                  <a:pt x="3569639" y="485550"/>
                </a:cubicBezTo>
                <a:cubicBezTo>
                  <a:pt x="3573284" y="489194"/>
                  <a:pt x="3582394" y="494662"/>
                  <a:pt x="3586039" y="489194"/>
                </a:cubicBezTo>
                <a:cubicBezTo>
                  <a:pt x="3586039" y="491017"/>
                  <a:pt x="3586039" y="492838"/>
                  <a:pt x="3587861" y="492838"/>
                </a:cubicBezTo>
                <a:cubicBezTo>
                  <a:pt x="3591505" y="492838"/>
                  <a:pt x="3586039" y="487373"/>
                  <a:pt x="3591505" y="489194"/>
                </a:cubicBezTo>
                <a:cubicBezTo>
                  <a:pt x="3595150" y="498306"/>
                  <a:pt x="3603349" y="502861"/>
                  <a:pt x="3612460" y="506505"/>
                </a:cubicBezTo>
                <a:lnTo>
                  <a:pt x="3631246" y="514926"/>
                </a:lnTo>
                <a:lnTo>
                  <a:pt x="3631365" y="515389"/>
                </a:lnTo>
                <a:cubicBezTo>
                  <a:pt x="3632504" y="516527"/>
                  <a:pt x="3633415" y="517438"/>
                  <a:pt x="3631593" y="520171"/>
                </a:cubicBezTo>
                <a:lnTo>
                  <a:pt x="3633735" y="516042"/>
                </a:lnTo>
                <a:lnTo>
                  <a:pt x="3638882" y="518349"/>
                </a:lnTo>
                <a:cubicBezTo>
                  <a:pt x="3642526" y="514705"/>
                  <a:pt x="3637060" y="509238"/>
                  <a:pt x="3638882" y="507417"/>
                </a:cubicBezTo>
                <a:cubicBezTo>
                  <a:pt x="3644348" y="509238"/>
                  <a:pt x="3646171" y="505594"/>
                  <a:pt x="3647993" y="501949"/>
                </a:cubicBezTo>
                <a:lnTo>
                  <a:pt x="3647993" y="503771"/>
                </a:lnTo>
                <a:lnTo>
                  <a:pt x="3652336" y="507246"/>
                </a:lnTo>
                <a:lnTo>
                  <a:pt x="3652321" y="507417"/>
                </a:lnTo>
                <a:cubicBezTo>
                  <a:pt x="3653459" y="511517"/>
                  <a:pt x="3656193" y="514705"/>
                  <a:pt x="3660748" y="514705"/>
                </a:cubicBezTo>
                <a:cubicBezTo>
                  <a:pt x="3660748" y="509238"/>
                  <a:pt x="3664392" y="505594"/>
                  <a:pt x="3664392" y="500127"/>
                </a:cubicBezTo>
                <a:cubicBezTo>
                  <a:pt x="3660748" y="500127"/>
                  <a:pt x="3662570" y="505594"/>
                  <a:pt x="3658926" y="503771"/>
                </a:cubicBezTo>
                <a:cubicBezTo>
                  <a:pt x="3660748" y="496483"/>
                  <a:pt x="3657103" y="494662"/>
                  <a:pt x="3655281" y="489194"/>
                </a:cubicBezTo>
                <a:cubicBezTo>
                  <a:pt x="3660748" y="492838"/>
                  <a:pt x="3662570" y="487373"/>
                  <a:pt x="3658926" y="483728"/>
                </a:cubicBezTo>
                <a:cubicBezTo>
                  <a:pt x="3664392" y="485550"/>
                  <a:pt x="3664392" y="492838"/>
                  <a:pt x="3669859" y="494662"/>
                </a:cubicBezTo>
                <a:cubicBezTo>
                  <a:pt x="3680792" y="489194"/>
                  <a:pt x="3682614" y="498306"/>
                  <a:pt x="3682614" y="507417"/>
                </a:cubicBezTo>
                <a:cubicBezTo>
                  <a:pt x="3669859" y="507417"/>
                  <a:pt x="3671681" y="503771"/>
                  <a:pt x="3666214" y="498306"/>
                </a:cubicBezTo>
                <a:cubicBezTo>
                  <a:pt x="3668037" y="505594"/>
                  <a:pt x="3664392" y="507417"/>
                  <a:pt x="3662570" y="511061"/>
                </a:cubicBezTo>
                <a:cubicBezTo>
                  <a:pt x="3666214" y="509238"/>
                  <a:pt x="3664392" y="514705"/>
                  <a:pt x="3668037" y="512882"/>
                </a:cubicBezTo>
                <a:cubicBezTo>
                  <a:pt x="3668037" y="511061"/>
                  <a:pt x="3666214" y="509238"/>
                  <a:pt x="3669859" y="509238"/>
                </a:cubicBezTo>
                <a:cubicBezTo>
                  <a:pt x="3675325" y="511061"/>
                  <a:pt x="3671681" y="520171"/>
                  <a:pt x="3668037" y="520171"/>
                </a:cubicBezTo>
                <a:cubicBezTo>
                  <a:pt x="3669859" y="516527"/>
                  <a:pt x="3668037" y="516527"/>
                  <a:pt x="3664392" y="516527"/>
                </a:cubicBezTo>
                <a:cubicBezTo>
                  <a:pt x="3666214" y="523815"/>
                  <a:pt x="3662570" y="523815"/>
                  <a:pt x="3662570" y="529282"/>
                </a:cubicBezTo>
                <a:cubicBezTo>
                  <a:pt x="3666214" y="527461"/>
                  <a:pt x="3675325" y="536571"/>
                  <a:pt x="3669859" y="536571"/>
                </a:cubicBezTo>
                <a:cubicBezTo>
                  <a:pt x="3666214" y="529282"/>
                  <a:pt x="3655281" y="529282"/>
                  <a:pt x="3646171" y="527461"/>
                </a:cubicBezTo>
                <a:cubicBezTo>
                  <a:pt x="3644348" y="531105"/>
                  <a:pt x="3644348" y="534749"/>
                  <a:pt x="3638882" y="534749"/>
                </a:cubicBezTo>
                <a:cubicBezTo>
                  <a:pt x="3637060" y="531105"/>
                  <a:pt x="3642526" y="527461"/>
                  <a:pt x="3638882" y="525638"/>
                </a:cubicBezTo>
                <a:cubicBezTo>
                  <a:pt x="3637060" y="532926"/>
                  <a:pt x="3631593" y="527461"/>
                  <a:pt x="3627949" y="531105"/>
                </a:cubicBezTo>
                <a:cubicBezTo>
                  <a:pt x="3629771" y="536571"/>
                  <a:pt x="3627949" y="536571"/>
                  <a:pt x="3629771" y="543860"/>
                </a:cubicBezTo>
                <a:cubicBezTo>
                  <a:pt x="3624304" y="543860"/>
                  <a:pt x="3626127" y="536571"/>
                  <a:pt x="3622482" y="534749"/>
                </a:cubicBezTo>
                <a:cubicBezTo>
                  <a:pt x="3622482" y="540215"/>
                  <a:pt x="3631593" y="545681"/>
                  <a:pt x="3624304" y="549326"/>
                </a:cubicBezTo>
                <a:cubicBezTo>
                  <a:pt x="3615193" y="540215"/>
                  <a:pt x="3626127" y="523815"/>
                  <a:pt x="3613371" y="520171"/>
                </a:cubicBezTo>
                <a:cubicBezTo>
                  <a:pt x="3613371" y="516527"/>
                  <a:pt x="3613371" y="514705"/>
                  <a:pt x="3615193" y="512882"/>
                </a:cubicBezTo>
                <a:cubicBezTo>
                  <a:pt x="3606082" y="509238"/>
                  <a:pt x="3595150" y="500127"/>
                  <a:pt x="3587861" y="505594"/>
                </a:cubicBezTo>
                <a:cubicBezTo>
                  <a:pt x="3578750" y="483728"/>
                  <a:pt x="3538662" y="481906"/>
                  <a:pt x="3533196" y="507417"/>
                </a:cubicBezTo>
                <a:cubicBezTo>
                  <a:pt x="3536840" y="505594"/>
                  <a:pt x="3540484" y="509238"/>
                  <a:pt x="3536840" y="511061"/>
                </a:cubicBezTo>
                <a:cubicBezTo>
                  <a:pt x="3535018" y="507417"/>
                  <a:pt x="3531374" y="507417"/>
                  <a:pt x="3527729" y="505594"/>
                </a:cubicBezTo>
                <a:cubicBezTo>
                  <a:pt x="3525907" y="507417"/>
                  <a:pt x="3527729" y="512882"/>
                  <a:pt x="3525907" y="512882"/>
                </a:cubicBezTo>
                <a:cubicBezTo>
                  <a:pt x="3516796" y="509238"/>
                  <a:pt x="3516796" y="518349"/>
                  <a:pt x="3509507" y="527461"/>
                </a:cubicBezTo>
                <a:cubicBezTo>
                  <a:pt x="3502219" y="534749"/>
                  <a:pt x="3493108" y="536571"/>
                  <a:pt x="3493108" y="547504"/>
                </a:cubicBezTo>
                <a:cubicBezTo>
                  <a:pt x="3482175" y="548871"/>
                  <a:pt x="3486617" y="559463"/>
                  <a:pt x="3486446" y="567747"/>
                </a:cubicBezTo>
                <a:lnTo>
                  <a:pt x="3484838" y="572403"/>
                </a:lnTo>
                <a:lnTo>
                  <a:pt x="3485136" y="569598"/>
                </a:lnTo>
                <a:cubicBezTo>
                  <a:pt x="3486275" y="566637"/>
                  <a:pt x="3486731" y="564815"/>
                  <a:pt x="3482175" y="565725"/>
                </a:cubicBezTo>
                <a:cubicBezTo>
                  <a:pt x="3483997" y="578481"/>
                  <a:pt x="3467597" y="574836"/>
                  <a:pt x="3467597" y="589414"/>
                </a:cubicBezTo>
                <a:lnTo>
                  <a:pt x="3478917" y="583126"/>
                </a:lnTo>
                <a:lnTo>
                  <a:pt x="3478075" y="586681"/>
                </a:lnTo>
                <a:cubicBezTo>
                  <a:pt x="3475342" y="591692"/>
                  <a:pt x="3471242" y="595791"/>
                  <a:pt x="3465775" y="598524"/>
                </a:cubicBezTo>
                <a:cubicBezTo>
                  <a:pt x="3473064" y="603991"/>
                  <a:pt x="3474886" y="591236"/>
                  <a:pt x="3482175" y="587591"/>
                </a:cubicBezTo>
                <a:cubicBezTo>
                  <a:pt x="3483997" y="586680"/>
                  <a:pt x="3483542" y="584859"/>
                  <a:pt x="3482859" y="582809"/>
                </a:cubicBezTo>
                <a:lnTo>
                  <a:pt x="3482663" y="581045"/>
                </a:lnTo>
                <a:lnTo>
                  <a:pt x="3483997" y="580303"/>
                </a:lnTo>
                <a:lnTo>
                  <a:pt x="3484470" y="575864"/>
                </a:lnTo>
                <a:lnTo>
                  <a:pt x="3488097" y="574609"/>
                </a:lnTo>
                <a:cubicBezTo>
                  <a:pt x="3489464" y="572559"/>
                  <a:pt x="3490375" y="570281"/>
                  <a:pt x="3491286" y="571192"/>
                </a:cubicBezTo>
                <a:cubicBezTo>
                  <a:pt x="3489463" y="576658"/>
                  <a:pt x="3493108" y="578481"/>
                  <a:pt x="3494930" y="580303"/>
                </a:cubicBezTo>
                <a:cubicBezTo>
                  <a:pt x="3496752" y="576658"/>
                  <a:pt x="3498574" y="573014"/>
                  <a:pt x="3502219" y="573014"/>
                </a:cubicBezTo>
                <a:cubicBezTo>
                  <a:pt x="3505863" y="574836"/>
                  <a:pt x="3504041" y="578481"/>
                  <a:pt x="3509507" y="576658"/>
                </a:cubicBezTo>
                <a:cubicBezTo>
                  <a:pt x="3509507" y="571192"/>
                  <a:pt x="3504041" y="569370"/>
                  <a:pt x="3509507" y="565725"/>
                </a:cubicBezTo>
                <a:cubicBezTo>
                  <a:pt x="3511330" y="567548"/>
                  <a:pt x="3507685" y="573014"/>
                  <a:pt x="3511330" y="573014"/>
                </a:cubicBezTo>
                <a:cubicBezTo>
                  <a:pt x="3513152" y="573014"/>
                  <a:pt x="3513152" y="573014"/>
                  <a:pt x="3514974" y="573014"/>
                </a:cubicBezTo>
                <a:cubicBezTo>
                  <a:pt x="3511330" y="569370"/>
                  <a:pt x="3514974" y="565725"/>
                  <a:pt x="3516796" y="563904"/>
                </a:cubicBezTo>
                <a:cubicBezTo>
                  <a:pt x="3520440" y="563904"/>
                  <a:pt x="3518618" y="573014"/>
                  <a:pt x="3522263" y="573014"/>
                </a:cubicBezTo>
                <a:cubicBezTo>
                  <a:pt x="3525907" y="571192"/>
                  <a:pt x="3527729" y="574836"/>
                  <a:pt x="3531374" y="571192"/>
                </a:cubicBezTo>
                <a:cubicBezTo>
                  <a:pt x="3533196" y="578481"/>
                  <a:pt x="3520440" y="571192"/>
                  <a:pt x="3522263" y="578481"/>
                </a:cubicBezTo>
                <a:cubicBezTo>
                  <a:pt x="3525907" y="582125"/>
                  <a:pt x="3529551" y="578481"/>
                  <a:pt x="3535018" y="580303"/>
                </a:cubicBezTo>
                <a:cubicBezTo>
                  <a:pt x="3535018" y="573014"/>
                  <a:pt x="3538662" y="573014"/>
                  <a:pt x="3536840" y="565725"/>
                </a:cubicBezTo>
                <a:cubicBezTo>
                  <a:pt x="3541396" y="567548"/>
                  <a:pt x="3542307" y="571192"/>
                  <a:pt x="3542535" y="575520"/>
                </a:cubicBezTo>
                <a:lnTo>
                  <a:pt x="3543238" y="581647"/>
                </a:lnTo>
                <a:lnTo>
                  <a:pt x="3541851" y="583264"/>
                </a:lnTo>
                <a:lnTo>
                  <a:pt x="3543750" y="586113"/>
                </a:lnTo>
                <a:lnTo>
                  <a:pt x="3544129" y="589414"/>
                </a:lnTo>
                <a:lnTo>
                  <a:pt x="3545496" y="588731"/>
                </a:lnTo>
                <a:lnTo>
                  <a:pt x="3545951" y="589414"/>
                </a:lnTo>
                <a:lnTo>
                  <a:pt x="3546047" y="588455"/>
                </a:lnTo>
                <a:lnTo>
                  <a:pt x="3547773" y="587591"/>
                </a:lnTo>
                <a:cubicBezTo>
                  <a:pt x="3545951" y="593058"/>
                  <a:pt x="3549595" y="594880"/>
                  <a:pt x="3549595" y="598524"/>
                </a:cubicBezTo>
                <a:cubicBezTo>
                  <a:pt x="3545951" y="598524"/>
                  <a:pt x="3542306" y="594880"/>
                  <a:pt x="3540484" y="596702"/>
                </a:cubicBezTo>
                <a:cubicBezTo>
                  <a:pt x="3544129" y="600347"/>
                  <a:pt x="3544129" y="605813"/>
                  <a:pt x="3549595" y="607635"/>
                </a:cubicBezTo>
                <a:cubicBezTo>
                  <a:pt x="3547773" y="603991"/>
                  <a:pt x="3549595" y="600347"/>
                  <a:pt x="3551417" y="598524"/>
                </a:cubicBezTo>
                <a:cubicBezTo>
                  <a:pt x="3549595" y="603991"/>
                  <a:pt x="3553240" y="607635"/>
                  <a:pt x="3558706" y="605813"/>
                </a:cubicBezTo>
                <a:cubicBezTo>
                  <a:pt x="3558706" y="611280"/>
                  <a:pt x="3564173" y="614924"/>
                  <a:pt x="3567817" y="616746"/>
                </a:cubicBezTo>
                <a:cubicBezTo>
                  <a:pt x="3564173" y="616746"/>
                  <a:pt x="3565995" y="618568"/>
                  <a:pt x="3565995" y="624035"/>
                </a:cubicBezTo>
                <a:cubicBezTo>
                  <a:pt x="3560528" y="625857"/>
                  <a:pt x="3565995" y="618568"/>
                  <a:pt x="3560528" y="620391"/>
                </a:cubicBezTo>
                <a:cubicBezTo>
                  <a:pt x="3556884" y="622213"/>
                  <a:pt x="3562350" y="625857"/>
                  <a:pt x="3560528" y="631324"/>
                </a:cubicBezTo>
                <a:cubicBezTo>
                  <a:pt x="3556884" y="633146"/>
                  <a:pt x="3555062" y="636790"/>
                  <a:pt x="3553240" y="640435"/>
                </a:cubicBezTo>
                <a:cubicBezTo>
                  <a:pt x="3560528" y="644079"/>
                  <a:pt x="3569639" y="647723"/>
                  <a:pt x="3578750" y="649545"/>
                </a:cubicBezTo>
                <a:cubicBezTo>
                  <a:pt x="3573284" y="645901"/>
                  <a:pt x="3564173" y="644079"/>
                  <a:pt x="3553240" y="642257"/>
                </a:cubicBezTo>
                <a:cubicBezTo>
                  <a:pt x="3555062" y="649545"/>
                  <a:pt x="3565995" y="651368"/>
                  <a:pt x="3565995" y="660478"/>
                </a:cubicBezTo>
                <a:cubicBezTo>
                  <a:pt x="3567817" y="660478"/>
                  <a:pt x="3567817" y="658656"/>
                  <a:pt x="3569639" y="658656"/>
                </a:cubicBezTo>
                <a:cubicBezTo>
                  <a:pt x="3571461" y="653190"/>
                  <a:pt x="3565995" y="655012"/>
                  <a:pt x="3567817" y="651368"/>
                </a:cubicBezTo>
                <a:cubicBezTo>
                  <a:pt x="3573284" y="649545"/>
                  <a:pt x="3573284" y="653190"/>
                  <a:pt x="3573284" y="658656"/>
                </a:cubicBezTo>
                <a:cubicBezTo>
                  <a:pt x="3580572" y="658656"/>
                  <a:pt x="3576928" y="655012"/>
                  <a:pt x="3578750" y="649545"/>
                </a:cubicBezTo>
                <a:cubicBezTo>
                  <a:pt x="3580572" y="647723"/>
                  <a:pt x="3576928" y="642257"/>
                  <a:pt x="3580572" y="642257"/>
                </a:cubicBezTo>
                <a:cubicBezTo>
                  <a:pt x="3580572" y="645901"/>
                  <a:pt x="3580572" y="647723"/>
                  <a:pt x="3582394" y="649545"/>
                </a:cubicBezTo>
                <a:cubicBezTo>
                  <a:pt x="3587861" y="646812"/>
                  <a:pt x="3592416" y="650001"/>
                  <a:pt x="3596972" y="654101"/>
                </a:cubicBezTo>
                <a:lnTo>
                  <a:pt x="3609307" y="662582"/>
                </a:lnTo>
                <a:lnTo>
                  <a:pt x="3607905" y="662301"/>
                </a:lnTo>
                <a:cubicBezTo>
                  <a:pt x="3609727" y="667767"/>
                  <a:pt x="3611549" y="669589"/>
                  <a:pt x="3615193" y="669589"/>
                </a:cubicBezTo>
                <a:cubicBezTo>
                  <a:pt x="3615193" y="665945"/>
                  <a:pt x="3618838" y="667767"/>
                  <a:pt x="3617016" y="664123"/>
                </a:cubicBezTo>
                <a:lnTo>
                  <a:pt x="3612460" y="663212"/>
                </a:lnTo>
                <a:lnTo>
                  <a:pt x="3613371" y="662301"/>
                </a:lnTo>
                <a:cubicBezTo>
                  <a:pt x="3613371" y="656834"/>
                  <a:pt x="3609727" y="653190"/>
                  <a:pt x="3615193" y="651368"/>
                </a:cubicBezTo>
                <a:cubicBezTo>
                  <a:pt x="3615193" y="649545"/>
                  <a:pt x="3615193" y="645901"/>
                  <a:pt x="3613371" y="645901"/>
                </a:cubicBezTo>
                <a:cubicBezTo>
                  <a:pt x="3604260" y="645901"/>
                  <a:pt x="3602438" y="644079"/>
                  <a:pt x="3596972" y="647723"/>
                </a:cubicBezTo>
                <a:cubicBezTo>
                  <a:pt x="3593327" y="640435"/>
                  <a:pt x="3593327" y="644079"/>
                  <a:pt x="3593327" y="636790"/>
                </a:cubicBezTo>
                <a:cubicBezTo>
                  <a:pt x="3598794" y="636790"/>
                  <a:pt x="3598794" y="642257"/>
                  <a:pt x="3602438" y="638612"/>
                </a:cubicBezTo>
                <a:cubicBezTo>
                  <a:pt x="3600616" y="636790"/>
                  <a:pt x="3598794" y="633146"/>
                  <a:pt x="3602438" y="633146"/>
                </a:cubicBezTo>
                <a:cubicBezTo>
                  <a:pt x="3604260" y="636790"/>
                  <a:pt x="3602438" y="644079"/>
                  <a:pt x="3606082" y="644079"/>
                </a:cubicBezTo>
                <a:cubicBezTo>
                  <a:pt x="3609727" y="642257"/>
                  <a:pt x="3622482" y="644079"/>
                  <a:pt x="3626127" y="651368"/>
                </a:cubicBezTo>
                <a:cubicBezTo>
                  <a:pt x="3624304" y="653190"/>
                  <a:pt x="3617016" y="649545"/>
                  <a:pt x="3617016" y="653190"/>
                </a:cubicBezTo>
                <a:cubicBezTo>
                  <a:pt x="3615193" y="658656"/>
                  <a:pt x="3622482" y="664123"/>
                  <a:pt x="3629771" y="665945"/>
                </a:cubicBezTo>
                <a:cubicBezTo>
                  <a:pt x="3631593" y="662301"/>
                  <a:pt x="3627949" y="658656"/>
                  <a:pt x="3627949" y="653190"/>
                </a:cubicBezTo>
                <a:cubicBezTo>
                  <a:pt x="3627949" y="653190"/>
                  <a:pt x="3629771" y="653190"/>
                  <a:pt x="3629771" y="651368"/>
                </a:cubicBezTo>
                <a:cubicBezTo>
                  <a:pt x="3635237" y="653190"/>
                  <a:pt x="3638882" y="656834"/>
                  <a:pt x="3642526" y="660478"/>
                </a:cubicBezTo>
                <a:cubicBezTo>
                  <a:pt x="3640704" y="660478"/>
                  <a:pt x="3640704" y="658656"/>
                  <a:pt x="3638882" y="658656"/>
                </a:cubicBezTo>
                <a:cubicBezTo>
                  <a:pt x="3635237" y="662301"/>
                  <a:pt x="3638882" y="664123"/>
                  <a:pt x="3640704" y="665945"/>
                </a:cubicBezTo>
                <a:cubicBezTo>
                  <a:pt x="3638882" y="667767"/>
                  <a:pt x="3633415" y="665945"/>
                  <a:pt x="3633415" y="667767"/>
                </a:cubicBezTo>
                <a:cubicBezTo>
                  <a:pt x="3631593" y="669589"/>
                  <a:pt x="3635237" y="675056"/>
                  <a:pt x="3637060" y="676878"/>
                </a:cubicBezTo>
                <a:cubicBezTo>
                  <a:pt x="3642527" y="678701"/>
                  <a:pt x="3648449" y="678701"/>
                  <a:pt x="3654143" y="679156"/>
                </a:cubicBezTo>
                <a:lnTo>
                  <a:pt x="3655044" y="679443"/>
                </a:lnTo>
                <a:lnTo>
                  <a:pt x="3646171" y="680522"/>
                </a:lnTo>
                <a:cubicBezTo>
                  <a:pt x="3638882" y="684167"/>
                  <a:pt x="3629771" y="667767"/>
                  <a:pt x="3620660" y="671411"/>
                </a:cubicBezTo>
                <a:cubicBezTo>
                  <a:pt x="3615193" y="673234"/>
                  <a:pt x="3627949" y="675056"/>
                  <a:pt x="3624304" y="684167"/>
                </a:cubicBezTo>
                <a:cubicBezTo>
                  <a:pt x="3632504" y="685078"/>
                  <a:pt x="3642982" y="687812"/>
                  <a:pt x="3652776" y="689178"/>
                </a:cubicBezTo>
                <a:lnTo>
                  <a:pt x="3669775" y="686954"/>
                </a:lnTo>
                <a:lnTo>
                  <a:pt x="3669631" y="691684"/>
                </a:lnTo>
                <a:cubicBezTo>
                  <a:pt x="3668492" y="694189"/>
                  <a:pt x="3667126" y="696922"/>
                  <a:pt x="3668037" y="700566"/>
                </a:cubicBezTo>
                <a:cubicBezTo>
                  <a:pt x="3655281" y="698744"/>
                  <a:pt x="3644348" y="696922"/>
                  <a:pt x="3631593" y="693278"/>
                </a:cubicBezTo>
                <a:cubicBezTo>
                  <a:pt x="3626127" y="691455"/>
                  <a:pt x="3618838" y="693278"/>
                  <a:pt x="3611549" y="695100"/>
                </a:cubicBezTo>
                <a:cubicBezTo>
                  <a:pt x="3611549" y="689633"/>
                  <a:pt x="3604260" y="691455"/>
                  <a:pt x="3600616" y="691455"/>
                </a:cubicBezTo>
                <a:cubicBezTo>
                  <a:pt x="3602438" y="698744"/>
                  <a:pt x="3604260" y="702388"/>
                  <a:pt x="3602438" y="709677"/>
                </a:cubicBezTo>
                <a:cubicBezTo>
                  <a:pt x="3598794" y="707855"/>
                  <a:pt x="3595150" y="704211"/>
                  <a:pt x="3593327" y="702388"/>
                </a:cubicBezTo>
                <a:cubicBezTo>
                  <a:pt x="3596972" y="700566"/>
                  <a:pt x="3600616" y="696922"/>
                  <a:pt x="3598794" y="695100"/>
                </a:cubicBezTo>
                <a:cubicBezTo>
                  <a:pt x="3591505" y="689633"/>
                  <a:pt x="3589683" y="695100"/>
                  <a:pt x="3582394" y="687811"/>
                </a:cubicBezTo>
                <a:lnTo>
                  <a:pt x="3584278" y="691578"/>
                </a:lnTo>
                <a:lnTo>
                  <a:pt x="3579491" y="686958"/>
                </a:lnTo>
                <a:cubicBezTo>
                  <a:pt x="3570095" y="682687"/>
                  <a:pt x="3555062" y="685078"/>
                  <a:pt x="3560528" y="698744"/>
                </a:cubicBezTo>
                <a:cubicBezTo>
                  <a:pt x="3560528" y="700566"/>
                  <a:pt x="3556884" y="698744"/>
                  <a:pt x="3556884" y="700566"/>
                </a:cubicBezTo>
                <a:cubicBezTo>
                  <a:pt x="3558706" y="711499"/>
                  <a:pt x="3555062" y="716966"/>
                  <a:pt x="3560528" y="724254"/>
                </a:cubicBezTo>
                <a:cubicBezTo>
                  <a:pt x="3565084" y="723344"/>
                  <a:pt x="3571006" y="722888"/>
                  <a:pt x="3576700" y="722432"/>
                </a:cubicBezTo>
                <a:lnTo>
                  <a:pt x="3587646" y="721085"/>
                </a:lnTo>
                <a:lnTo>
                  <a:pt x="3587861" y="722432"/>
                </a:lnTo>
                <a:cubicBezTo>
                  <a:pt x="3598794" y="722432"/>
                  <a:pt x="3609727" y="718788"/>
                  <a:pt x="3620660" y="718788"/>
                </a:cubicBezTo>
                <a:cubicBezTo>
                  <a:pt x="3618838" y="720610"/>
                  <a:pt x="3615193" y="720610"/>
                  <a:pt x="3613371" y="722432"/>
                </a:cubicBezTo>
                <a:cubicBezTo>
                  <a:pt x="3617016" y="722432"/>
                  <a:pt x="3620660" y="722432"/>
                  <a:pt x="3624304" y="724254"/>
                </a:cubicBezTo>
                <a:cubicBezTo>
                  <a:pt x="3617927" y="725166"/>
                  <a:pt x="3611549" y="724255"/>
                  <a:pt x="3605172" y="724027"/>
                </a:cubicBezTo>
                <a:lnTo>
                  <a:pt x="3586476" y="727811"/>
                </a:lnTo>
                <a:lnTo>
                  <a:pt x="3578522" y="727671"/>
                </a:lnTo>
                <a:cubicBezTo>
                  <a:pt x="3574194" y="726988"/>
                  <a:pt x="3570550" y="726988"/>
                  <a:pt x="3569639" y="731543"/>
                </a:cubicBezTo>
                <a:lnTo>
                  <a:pt x="3587406" y="728583"/>
                </a:lnTo>
                <a:lnTo>
                  <a:pt x="3593327" y="731543"/>
                </a:lnTo>
                <a:cubicBezTo>
                  <a:pt x="3578750" y="735188"/>
                  <a:pt x="3564173" y="742476"/>
                  <a:pt x="3549595" y="737010"/>
                </a:cubicBezTo>
                <a:cubicBezTo>
                  <a:pt x="3549595" y="738832"/>
                  <a:pt x="3549595" y="740654"/>
                  <a:pt x="3551417" y="742476"/>
                </a:cubicBezTo>
                <a:cubicBezTo>
                  <a:pt x="3547773" y="740654"/>
                  <a:pt x="3542306" y="737010"/>
                  <a:pt x="3538662" y="738832"/>
                </a:cubicBezTo>
                <a:cubicBezTo>
                  <a:pt x="3536840" y="740654"/>
                  <a:pt x="3538662" y="744298"/>
                  <a:pt x="3535018" y="746121"/>
                </a:cubicBezTo>
                <a:cubicBezTo>
                  <a:pt x="3535018" y="737010"/>
                  <a:pt x="3529551" y="735188"/>
                  <a:pt x="3522263" y="735188"/>
                </a:cubicBezTo>
                <a:cubicBezTo>
                  <a:pt x="3524085" y="749765"/>
                  <a:pt x="3531374" y="775275"/>
                  <a:pt x="3545951" y="780742"/>
                </a:cubicBezTo>
                <a:cubicBezTo>
                  <a:pt x="3545951" y="778920"/>
                  <a:pt x="3540484" y="777098"/>
                  <a:pt x="3544129" y="773453"/>
                </a:cubicBezTo>
                <a:cubicBezTo>
                  <a:pt x="3545951" y="773453"/>
                  <a:pt x="3547773" y="775275"/>
                  <a:pt x="3549595" y="775275"/>
                </a:cubicBezTo>
                <a:cubicBezTo>
                  <a:pt x="3553240" y="773453"/>
                  <a:pt x="3547773" y="769809"/>
                  <a:pt x="3545951" y="769809"/>
                </a:cubicBezTo>
                <a:cubicBezTo>
                  <a:pt x="3545951" y="769809"/>
                  <a:pt x="3545951" y="769809"/>
                  <a:pt x="3547773" y="771631"/>
                </a:cubicBezTo>
                <a:cubicBezTo>
                  <a:pt x="3542306" y="775275"/>
                  <a:pt x="3540484" y="767987"/>
                  <a:pt x="3536840" y="767987"/>
                </a:cubicBezTo>
                <a:cubicBezTo>
                  <a:pt x="3542306" y="760698"/>
                  <a:pt x="3553240" y="766164"/>
                  <a:pt x="3562350" y="762520"/>
                </a:cubicBezTo>
                <a:cubicBezTo>
                  <a:pt x="3562350" y="762520"/>
                  <a:pt x="3562350" y="758876"/>
                  <a:pt x="3562350" y="757054"/>
                </a:cubicBezTo>
                <a:cubicBezTo>
                  <a:pt x="3565995" y="757054"/>
                  <a:pt x="3567817" y="760698"/>
                  <a:pt x="3569639" y="764342"/>
                </a:cubicBezTo>
                <a:cubicBezTo>
                  <a:pt x="3565995" y="766164"/>
                  <a:pt x="3562350" y="769809"/>
                  <a:pt x="3556884" y="767987"/>
                </a:cubicBezTo>
                <a:cubicBezTo>
                  <a:pt x="3562350" y="769809"/>
                  <a:pt x="3567817" y="771631"/>
                  <a:pt x="3567817" y="778920"/>
                </a:cubicBezTo>
                <a:cubicBezTo>
                  <a:pt x="3565995" y="775275"/>
                  <a:pt x="3565995" y="780742"/>
                  <a:pt x="3564173" y="780742"/>
                </a:cubicBezTo>
                <a:cubicBezTo>
                  <a:pt x="3567817" y="784386"/>
                  <a:pt x="3567817" y="789853"/>
                  <a:pt x="3575106" y="789853"/>
                </a:cubicBezTo>
                <a:cubicBezTo>
                  <a:pt x="3575106" y="788031"/>
                  <a:pt x="3575106" y="784386"/>
                  <a:pt x="3576928" y="784386"/>
                </a:cubicBezTo>
                <a:cubicBezTo>
                  <a:pt x="3586039" y="784386"/>
                  <a:pt x="3582394" y="795319"/>
                  <a:pt x="3587861" y="798964"/>
                </a:cubicBezTo>
                <a:cubicBezTo>
                  <a:pt x="3580572" y="802608"/>
                  <a:pt x="3576928" y="791675"/>
                  <a:pt x="3569639" y="793497"/>
                </a:cubicBezTo>
                <a:cubicBezTo>
                  <a:pt x="3571461" y="795319"/>
                  <a:pt x="3573284" y="798964"/>
                  <a:pt x="3571461" y="800786"/>
                </a:cubicBezTo>
                <a:cubicBezTo>
                  <a:pt x="3567817" y="795319"/>
                  <a:pt x="3562350" y="797141"/>
                  <a:pt x="3555062" y="798964"/>
                </a:cubicBezTo>
                <a:cubicBezTo>
                  <a:pt x="3553240" y="798964"/>
                  <a:pt x="3553240" y="804430"/>
                  <a:pt x="3555062" y="808074"/>
                </a:cubicBezTo>
                <a:cubicBezTo>
                  <a:pt x="3556884" y="804430"/>
                  <a:pt x="3562350" y="804430"/>
                  <a:pt x="3564173" y="802608"/>
                </a:cubicBezTo>
                <a:cubicBezTo>
                  <a:pt x="3565995" y="808074"/>
                  <a:pt x="3556884" y="806252"/>
                  <a:pt x="3558706" y="811719"/>
                </a:cubicBezTo>
                <a:cubicBezTo>
                  <a:pt x="3571461" y="804430"/>
                  <a:pt x="3586039" y="811719"/>
                  <a:pt x="3600616" y="809897"/>
                </a:cubicBezTo>
                <a:cubicBezTo>
                  <a:pt x="3602438" y="809897"/>
                  <a:pt x="3606082" y="808074"/>
                  <a:pt x="3607905" y="806252"/>
                </a:cubicBezTo>
                <a:cubicBezTo>
                  <a:pt x="3607905" y="804430"/>
                  <a:pt x="3602438" y="804430"/>
                  <a:pt x="3602438" y="802608"/>
                </a:cubicBezTo>
                <a:cubicBezTo>
                  <a:pt x="3606082" y="797141"/>
                  <a:pt x="3607905" y="809897"/>
                  <a:pt x="3609727" y="804430"/>
                </a:cubicBezTo>
                <a:cubicBezTo>
                  <a:pt x="3611549" y="797141"/>
                  <a:pt x="3609727" y="798964"/>
                  <a:pt x="3602438" y="795319"/>
                </a:cubicBezTo>
                <a:cubicBezTo>
                  <a:pt x="3606082" y="795319"/>
                  <a:pt x="3607905" y="797141"/>
                  <a:pt x="3609727" y="795319"/>
                </a:cubicBezTo>
                <a:cubicBezTo>
                  <a:pt x="3609727" y="793497"/>
                  <a:pt x="3609727" y="791675"/>
                  <a:pt x="3609727" y="789853"/>
                </a:cubicBezTo>
                <a:cubicBezTo>
                  <a:pt x="3615193" y="791675"/>
                  <a:pt x="3620660" y="793497"/>
                  <a:pt x="3626127" y="791675"/>
                </a:cubicBezTo>
                <a:cubicBezTo>
                  <a:pt x="3627949" y="791675"/>
                  <a:pt x="3622482" y="786208"/>
                  <a:pt x="3626127" y="784386"/>
                </a:cubicBezTo>
                <a:cubicBezTo>
                  <a:pt x="3626127" y="786208"/>
                  <a:pt x="3627949" y="788031"/>
                  <a:pt x="3629771" y="786208"/>
                </a:cubicBezTo>
                <a:cubicBezTo>
                  <a:pt x="3629771" y="784386"/>
                  <a:pt x="3629771" y="782564"/>
                  <a:pt x="3627949" y="780742"/>
                </a:cubicBezTo>
                <a:lnTo>
                  <a:pt x="3638882" y="780742"/>
                </a:lnTo>
                <a:cubicBezTo>
                  <a:pt x="3638882" y="791675"/>
                  <a:pt x="3651637" y="793497"/>
                  <a:pt x="3658926" y="793497"/>
                </a:cubicBezTo>
                <a:cubicBezTo>
                  <a:pt x="3654371" y="794408"/>
                  <a:pt x="3649360" y="795319"/>
                  <a:pt x="3645715" y="797142"/>
                </a:cubicBezTo>
                <a:lnTo>
                  <a:pt x="3645375" y="797761"/>
                </a:lnTo>
                <a:lnTo>
                  <a:pt x="3645032" y="796458"/>
                </a:lnTo>
                <a:cubicBezTo>
                  <a:pt x="3643893" y="795775"/>
                  <a:pt x="3642526" y="795319"/>
                  <a:pt x="3642526" y="793497"/>
                </a:cubicBezTo>
                <a:cubicBezTo>
                  <a:pt x="3638882" y="795319"/>
                  <a:pt x="3640704" y="798964"/>
                  <a:pt x="3640704" y="802608"/>
                </a:cubicBezTo>
                <a:lnTo>
                  <a:pt x="3643158" y="801791"/>
                </a:lnTo>
                <a:lnTo>
                  <a:pt x="3640704" y="806252"/>
                </a:lnTo>
                <a:lnTo>
                  <a:pt x="3636600" y="801977"/>
                </a:lnTo>
                <a:lnTo>
                  <a:pt x="3638882" y="800786"/>
                </a:lnTo>
                <a:lnTo>
                  <a:pt x="3635456" y="800786"/>
                </a:lnTo>
                <a:lnTo>
                  <a:pt x="3635238" y="800559"/>
                </a:lnTo>
                <a:lnTo>
                  <a:pt x="3634916" y="800786"/>
                </a:lnTo>
                <a:lnTo>
                  <a:pt x="3629771" y="800786"/>
                </a:lnTo>
                <a:lnTo>
                  <a:pt x="3632348" y="802605"/>
                </a:lnTo>
                <a:lnTo>
                  <a:pt x="3629771" y="804430"/>
                </a:lnTo>
                <a:cubicBezTo>
                  <a:pt x="3633415" y="819008"/>
                  <a:pt x="3622482" y="822652"/>
                  <a:pt x="3609727" y="820830"/>
                </a:cubicBezTo>
                <a:cubicBezTo>
                  <a:pt x="3607905" y="819008"/>
                  <a:pt x="3604260" y="815363"/>
                  <a:pt x="3606082" y="813541"/>
                </a:cubicBezTo>
                <a:cubicBezTo>
                  <a:pt x="3607905" y="811719"/>
                  <a:pt x="3611549" y="817185"/>
                  <a:pt x="3613371" y="813541"/>
                </a:cubicBezTo>
                <a:cubicBezTo>
                  <a:pt x="3609727" y="811719"/>
                  <a:pt x="3604260" y="808074"/>
                  <a:pt x="3602438" y="813541"/>
                </a:cubicBezTo>
                <a:cubicBezTo>
                  <a:pt x="3600616" y="819008"/>
                  <a:pt x="3609727" y="822652"/>
                  <a:pt x="3607905" y="829941"/>
                </a:cubicBezTo>
                <a:lnTo>
                  <a:pt x="3589609" y="821239"/>
                </a:lnTo>
                <a:lnTo>
                  <a:pt x="3598794" y="822652"/>
                </a:lnTo>
                <a:cubicBezTo>
                  <a:pt x="3593327" y="817185"/>
                  <a:pt x="3578750" y="811719"/>
                  <a:pt x="3575106" y="819008"/>
                </a:cubicBezTo>
                <a:lnTo>
                  <a:pt x="3587118" y="820856"/>
                </a:lnTo>
                <a:lnTo>
                  <a:pt x="3567817" y="819008"/>
                </a:lnTo>
                <a:cubicBezTo>
                  <a:pt x="3580572" y="824474"/>
                  <a:pt x="3591505" y="831763"/>
                  <a:pt x="3602438" y="839051"/>
                </a:cubicBezTo>
                <a:cubicBezTo>
                  <a:pt x="3586039" y="837229"/>
                  <a:pt x="3576928" y="824474"/>
                  <a:pt x="3560528" y="822652"/>
                </a:cubicBezTo>
                <a:cubicBezTo>
                  <a:pt x="3562350" y="826296"/>
                  <a:pt x="3558706" y="826296"/>
                  <a:pt x="3556884" y="826296"/>
                </a:cubicBezTo>
                <a:cubicBezTo>
                  <a:pt x="3550507" y="823563"/>
                  <a:pt x="3544129" y="821285"/>
                  <a:pt x="3537752" y="819919"/>
                </a:cubicBezTo>
                <a:lnTo>
                  <a:pt x="3534115" y="819746"/>
                </a:lnTo>
                <a:lnTo>
                  <a:pt x="3535018" y="817185"/>
                </a:lnTo>
                <a:cubicBezTo>
                  <a:pt x="3533196" y="819008"/>
                  <a:pt x="3533196" y="817185"/>
                  <a:pt x="3529551" y="817185"/>
                </a:cubicBezTo>
                <a:lnTo>
                  <a:pt x="3529551" y="819528"/>
                </a:lnTo>
                <a:lnTo>
                  <a:pt x="3518618" y="819008"/>
                </a:lnTo>
                <a:cubicBezTo>
                  <a:pt x="3520440" y="824474"/>
                  <a:pt x="3514974" y="824474"/>
                  <a:pt x="3509507" y="826296"/>
                </a:cubicBezTo>
                <a:cubicBezTo>
                  <a:pt x="3507685" y="815363"/>
                  <a:pt x="3498574" y="813541"/>
                  <a:pt x="3489463" y="811719"/>
                </a:cubicBezTo>
                <a:cubicBezTo>
                  <a:pt x="3489463" y="811719"/>
                  <a:pt x="3487641" y="813541"/>
                  <a:pt x="3487641" y="815363"/>
                </a:cubicBezTo>
                <a:lnTo>
                  <a:pt x="3488330" y="818118"/>
                </a:lnTo>
                <a:lnTo>
                  <a:pt x="3487870" y="819236"/>
                </a:lnTo>
                <a:lnTo>
                  <a:pt x="3488601" y="819204"/>
                </a:lnTo>
                <a:lnTo>
                  <a:pt x="3489463" y="822652"/>
                </a:lnTo>
                <a:cubicBezTo>
                  <a:pt x="3482175" y="824474"/>
                  <a:pt x="3471242" y="824474"/>
                  <a:pt x="3467597" y="815363"/>
                </a:cubicBezTo>
                <a:cubicBezTo>
                  <a:pt x="3474886" y="815363"/>
                  <a:pt x="3476708" y="822652"/>
                  <a:pt x="3482175" y="815363"/>
                </a:cubicBezTo>
                <a:cubicBezTo>
                  <a:pt x="3476708" y="815363"/>
                  <a:pt x="3471242" y="811719"/>
                  <a:pt x="3474886" y="804430"/>
                </a:cubicBezTo>
                <a:cubicBezTo>
                  <a:pt x="3467597" y="804430"/>
                  <a:pt x="3463953" y="806252"/>
                  <a:pt x="3456664" y="808074"/>
                </a:cubicBezTo>
                <a:cubicBezTo>
                  <a:pt x="3458487" y="811719"/>
                  <a:pt x="3465775" y="813541"/>
                  <a:pt x="3467597" y="819008"/>
                </a:cubicBezTo>
                <a:cubicBezTo>
                  <a:pt x="3456664" y="819008"/>
                  <a:pt x="3453020" y="809897"/>
                  <a:pt x="3443909" y="804430"/>
                </a:cubicBezTo>
                <a:cubicBezTo>
                  <a:pt x="3440265" y="802608"/>
                  <a:pt x="3437988" y="803975"/>
                  <a:pt x="3437076" y="806025"/>
                </a:cubicBezTo>
                <a:lnTo>
                  <a:pt x="3437568" y="808074"/>
                </a:lnTo>
                <a:lnTo>
                  <a:pt x="3432976" y="808074"/>
                </a:lnTo>
                <a:cubicBezTo>
                  <a:pt x="3432976" y="809897"/>
                  <a:pt x="3435254" y="810808"/>
                  <a:pt x="3437304" y="810808"/>
                </a:cubicBezTo>
                <a:lnTo>
                  <a:pt x="3438058" y="810113"/>
                </a:lnTo>
                <a:lnTo>
                  <a:pt x="3438443" y="811719"/>
                </a:lnTo>
                <a:cubicBezTo>
                  <a:pt x="3442087" y="815363"/>
                  <a:pt x="3449376" y="815363"/>
                  <a:pt x="3454842" y="819008"/>
                </a:cubicBezTo>
                <a:cubicBezTo>
                  <a:pt x="3458487" y="822652"/>
                  <a:pt x="3458487" y="826296"/>
                  <a:pt x="3460309" y="826296"/>
                </a:cubicBezTo>
                <a:cubicBezTo>
                  <a:pt x="3473064" y="829941"/>
                  <a:pt x="3487641" y="840874"/>
                  <a:pt x="3489463" y="851807"/>
                </a:cubicBezTo>
                <a:lnTo>
                  <a:pt x="3486732" y="858531"/>
                </a:lnTo>
                <a:lnTo>
                  <a:pt x="3480353" y="851807"/>
                </a:lnTo>
                <a:cubicBezTo>
                  <a:pt x="3474886" y="853629"/>
                  <a:pt x="3471242" y="849985"/>
                  <a:pt x="3465775" y="848162"/>
                </a:cubicBezTo>
                <a:cubicBezTo>
                  <a:pt x="3465775" y="848162"/>
                  <a:pt x="3467597" y="853629"/>
                  <a:pt x="3463953" y="853629"/>
                </a:cubicBezTo>
                <a:cubicBezTo>
                  <a:pt x="3462131" y="853629"/>
                  <a:pt x="3460309" y="848162"/>
                  <a:pt x="3460309" y="849985"/>
                </a:cubicBezTo>
                <a:cubicBezTo>
                  <a:pt x="3460309" y="855451"/>
                  <a:pt x="3458487" y="855451"/>
                  <a:pt x="3453020" y="857273"/>
                </a:cubicBezTo>
                <a:cubicBezTo>
                  <a:pt x="3451198" y="857273"/>
                  <a:pt x="3449376" y="855451"/>
                  <a:pt x="3449376" y="853629"/>
                </a:cubicBezTo>
                <a:cubicBezTo>
                  <a:pt x="3447553" y="855451"/>
                  <a:pt x="3443909" y="855451"/>
                  <a:pt x="3445731" y="857273"/>
                </a:cubicBezTo>
                <a:cubicBezTo>
                  <a:pt x="3445731" y="859095"/>
                  <a:pt x="3447553" y="859095"/>
                  <a:pt x="3447553" y="860918"/>
                </a:cubicBezTo>
                <a:cubicBezTo>
                  <a:pt x="3443909" y="864562"/>
                  <a:pt x="3440265" y="862740"/>
                  <a:pt x="3436621" y="862740"/>
                </a:cubicBezTo>
                <a:cubicBezTo>
                  <a:pt x="3442087" y="851807"/>
                  <a:pt x="3425687" y="849985"/>
                  <a:pt x="3416577" y="844518"/>
                </a:cubicBezTo>
                <a:cubicBezTo>
                  <a:pt x="3416577" y="842696"/>
                  <a:pt x="3418399" y="839051"/>
                  <a:pt x="3420221" y="839051"/>
                </a:cubicBezTo>
                <a:cubicBezTo>
                  <a:pt x="3425687" y="840874"/>
                  <a:pt x="3425687" y="848162"/>
                  <a:pt x="3432976" y="849985"/>
                </a:cubicBezTo>
                <a:cubicBezTo>
                  <a:pt x="3432976" y="846340"/>
                  <a:pt x="3432976" y="842696"/>
                  <a:pt x="3432976" y="839051"/>
                </a:cubicBezTo>
                <a:cubicBezTo>
                  <a:pt x="3431154" y="839051"/>
                  <a:pt x="3429332" y="840874"/>
                  <a:pt x="3427510" y="840874"/>
                </a:cubicBezTo>
                <a:cubicBezTo>
                  <a:pt x="3427510" y="839051"/>
                  <a:pt x="3431154" y="837229"/>
                  <a:pt x="3429332" y="835407"/>
                </a:cubicBezTo>
                <a:cubicBezTo>
                  <a:pt x="3416577" y="831763"/>
                  <a:pt x="3403821" y="824474"/>
                  <a:pt x="3394710" y="831763"/>
                </a:cubicBezTo>
                <a:cubicBezTo>
                  <a:pt x="3389244" y="835407"/>
                  <a:pt x="3391066" y="844518"/>
                  <a:pt x="3401999" y="846340"/>
                </a:cubicBezTo>
                <a:cubicBezTo>
                  <a:pt x="3403821" y="846340"/>
                  <a:pt x="3409288" y="846340"/>
                  <a:pt x="3411110" y="846340"/>
                </a:cubicBezTo>
                <a:cubicBezTo>
                  <a:pt x="3409288" y="851807"/>
                  <a:pt x="3400177" y="846340"/>
                  <a:pt x="3403821" y="853629"/>
                </a:cubicBezTo>
                <a:cubicBezTo>
                  <a:pt x="3404732" y="855451"/>
                  <a:pt x="3407010" y="855907"/>
                  <a:pt x="3409516" y="855907"/>
                </a:cubicBezTo>
                <a:lnTo>
                  <a:pt x="3411054" y="855808"/>
                </a:lnTo>
                <a:lnTo>
                  <a:pt x="3410427" y="859779"/>
                </a:lnTo>
                <a:cubicBezTo>
                  <a:pt x="3409288" y="860918"/>
                  <a:pt x="3407466" y="861829"/>
                  <a:pt x="3405643" y="862740"/>
                </a:cubicBezTo>
                <a:cubicBezTo>
                  <a:pt x="3405643" y="871851"/>
                  <a:pt x="3411110" y="871851"/>
                  <a:pt x="3407466" y="879139"/>
                </a:cubicBezTo>
                <a:cubicBezTo>
                  <a:pt x="3401999" y="880961"/>
                  <a:pt x="3405643" y="875495"/>
                  <a:pt x="3400177" y="877317"/>
                </a:cubicBezTo>
                <a:cubicBezTo>
                  <a:pt x="3400177" y="875495"/>
                  <a:pt x="3401999" y="873673"/>
                  <a:pt x="3405643" y="873673"/>
                </a:cubicBezTo>
                <a:cubicBezTo>
                  <a:pt x="3398355" y="868206"/>
                  <a:pt x="3401999" y="862740"/>
                  <a:pt x="3401999" y="853629"/>
                </a:cubicBezTo>
                <a:cubicBezTo>
                  <a:pt x="3394710" y="853629"/>
                  <a:pt x="3392888" y="857273"/>
                  <a:pt x="3389244" y="859095"/>
                </a:cubicBezTo>
                <a:cubicBezTo>
                  <a:pt x="3385600" y="853629"/>
                  <a:pt x="3381955" y="842696"/>
                  <a:pt x="3374666" y="849985"/>
                </a:cubicBezTo>
                <a:cubicBezTo>
                  <a:pt x="3374666" y="851807"/>
                  <a:pt x="3374666" y="851807"/>
                  <a:pt x="3374666" y="853629"/>
                </a:cubicBezTo>
                <a:cubicBezTo>
                  <a:pt x="3371022" y="849985"/>
                  <a:pt x="3367378" y="855451"/>
                  <a:pt x="3363734" y="855451"/>
                </a:cubicBezTo>
                <a:cubicBezTo>
                  <a:pt x="3363734" y="860918"/>
                  <a:pt x="3367378" y="864562"/>
                  <a:pt x="3365556" y="871851"/>
                </a:cubicBezTo>
                <a:cubicBezTo>
                  <a:pt x="3369200" y="871851"/>
                  <a:pt x="3372844" y="860918"/>
                  <a:pt x="3376489" y="868206"/>
                </a:cubicBezTo>
                <a:cubicBezTo>
                  <a:pt x="3374666" y="879139"/>
                  <a:pt x="3381955" y="877317"/>
                  <a:pt x="3391066" y="880961"/>
                </a:cubicBezTo>
                <a:cubicBezTo>
                  <a:pt x="3391066" y="880961"/>
                  <a:pt x="3394710" y="884606"/>
                  <a:pt x="3392888" y="888250"/>
                </a:cubicBezTo>
                <a:cubicBezTo>
                  <a:pt x="3394710" y="886428"/>
                  <a:pt x="3396532" y="882784"/>
                  <a:pt x="3396532" y="880961"/>
                </a:cubicBezTo>
                <a:cubicBezTo>
                  <a:pt x="3403821" y="884606"/>
                  <a:pt x="3411110" y="890072"/>
                  <a:pt x="3416577" y="888250"/>
                </a:cubicBezTo>
                <a:lnTo>
                  <a:pt x="3471998" y="875935"/>
                </a:lnTo>
                <a:lnTo>
                  <a:pt x="3489464" y="878912"/>
                </a:lnTo>
                <a:cubicBezTo>
                  <a:pt x="3495386" y="881873"/>
                  <a:pt x="3500397" y="886428"/>
                  <a:pt x="3504041" y="891894"/>
                </a:cubicBezTo>
                <a:cubicBezTo>
                  <a:pt x="3499486" y="893717"/>
                  <a:pt x="3496752" y="896450"/>
                  <a:pt x="3494702" y="899639"/>
                </a:cubicBezTo>
                <a:lnTo>
                  <a:pt x="3493014" y="903015"/>
                </a:lnTo>
                <a:lnTo>
                  <a:pt x="3489463" y="902827"/>
                </a:lnTo>
                <a:cubicBezTo>
                  <a:pt x="3487641" y="901005"/>
                  <a:pt x="3489463" y="899183"/>
                  <a:pt x="3491286" y="899183"/>
                </a:cubicBezTo>
                <a:cubicBezTo>
                  <a:pt x="3489463" y="895539"/>
                  <a:pt x="3485819" y="897361"/>
                  <a:pt x="3485819" y="893717"/>
                </a:cubicBezTo>
                <a:cubicBezTo>
                  <a:pt x="3480353" y="893717"/>
                  <a:pt x="3482175" y="897361"/>
                  <a:pt x="3482175" y="901005"/>
                </a:cubicBezTo>
                <a:cubicBezTo>
                  <a:pt x="3485819" y="901005"/>
                  <a:pt x="3487641" y="903283"/>
                  <a:pt x="3489463" y="904878"/>
                </a:cubicBezTo>
                <a:lnTo>
                  <a:pt x="3492124" y="904795"/>
                </a:lnTo>
                <a:lnTo>
                  <a:pt x="3489463" y="910117"/>
                </a:lnTo>
                <a:cubicBezTo>
                  <a:pt x="3493108" y="911939"/>
                  <a:pt x="3494930" y="915583"/>
                  <a:pt x="3498574" y="917405"/>
                </a:cubicBezTo>
                <a:cubicBezTo>
                  <a:pt x="3500397" y="919227"/>
                  <a:pt x="3502219" y="922872"/>
                  <a:pt x="3500397" y="924695"/>
                </a:cubicBezTo>
                <a:cubicBezTo>
                  <a:pt x="3496752" y="928339"/>
                  <a:pt x="3491286" y="926516"/>
                  <a:pt x="3487641" y="926516"/>
                </a:cubicBezTo>
                <a:cubicBezTo>
                  <a:pt x="3483997" y="926516"/>
                  <a:pt x="3487641" y="919227"/>
                  <a:pt x="3480353" y="921049"/>
                </a:cubicBezTo>
                <a:cubicBezTo>
                  <a:pt x="3483997" y="928339"/>
                  <a:pt x="3480353" y="930160"/>
                  <a:pt x="3478530" y="928339"/>
                </a:cubicBezTo>
                <a:cubicBezTo>
                  <a:pt x="3474886" y="926516"/>
                  <a:pt x="3478530" y="919227"/>
                  <a:pt x="3476708" y="915583"/>
                </a:cubicBezTo>
                <a:cubicBezTo>
                  <a:pt x="3485819" y="911939"/>
                  <a:pt x="3485819" y="913761"/>
                  <a:pt x="3483997" y="908295"/>
                </a:cubicBezTo>
                <a:cubicBezTo>
                  <a:pt x="3482175" y="902827"/>
                  <a:pt x="3465775" y="901005"/>
                  <a:pt x="3467597" y="911939"/>
                </a:cubicBezTo>
                <a:cubicBezTo>
                  <a:pt x="3467597" y="917405"/>
                  <a:pt x="3469419" y="921049"/>
                  <a:pt x="3469419" y="926516"/>
                </a:cubicBezTo>
                <a:cubicBezTo>
                  <a:pt x="3460309" y="919227"/>
                  <a:pt x="3447553" y="915583"/>
                  <a:pt x="3443909" y="930160"/>
                </a:cubicBezTo>
                <a:cubicBezTo>
                  <a:pt x="3443909" y="933804"/>
                  <a:pt x="3438443" y="926516"/>
                  <a:pt x="3436621" y="928339"/>
                </a:cubicBezTo>
                <a:lnTo>
                  <a:pt x="3426197" y="935843"/>
                </a:lnTo>
                <a:lnTo>
                  <a:pt x="3424776" y="930160"/>
                </a:lnTo>
                <a:cubicBezTo>
                  <a:pt x="3424321" y="926516"/>
                  <a:pt x="3423865" y="922872"/>
                  <a:pt x="3422043" y="919227"/>
                </a:cubicBezTo>
                <a:cubicBezTo>
                  <a:pt x="3416577" y="921049"/>
                  <a:pt x="3425687" y="928339"/>
                  <a:pt x="3418399" y="930160"/>
                </a:cubicBezTo>
                <a:cubicBezTo>
                  <a:pt x="3422043" y="930160"/>
                  <a:pt x="3422043" y="932438"/>
                  <a:pt x="3422271" y="934944"/>
                </a:cubicBezTo>
                <a:lnTo>
                  <a:pt x="3423856" y="936805"/>
                </a:lnTo>
                <a:lnTo>
                  <a:pt x="3411110" y="939272"/>
                </a:lnTo>
                <a:cubicBezTo>
                  <a:pt x="3409288" y="933804"/>
                  <a:pt x="3409288" y="928339"/>
                  <a:pt x="3401999" y="928339"/>
                </a:cubicBezTo>
                <a:cubicBezTo>
                  <a:pt x="3398355" y="928339"/>
                  <a:pt x="3405643" y="933804"/>
                  <a:pt x="3400177" y="933804"/>
                </a:cubicBezTo>
                <a:cubicBezTo>
                  <a:pt x="3400177" y="919227"/>
                  <a:pt x="3391066" y="919227"/>
                  <a:pt x="3380133" y="917405"/>
                </a:cubicBezTo>
                <a:cubicBezTo>
                  <a:pt x="3381955" y="915583"/>
                  <a:pt x="3387422" y="917405"/>
                  <a:pt x="3385600" y="913761"/>
                </a:cubicBezTo>
                <a:lnTo>
                  <a:pt x="3380319" y="911958"/>
                </a:lnTo>
                <a:lnTo>
                  <a:pt x="3382667" y="908978"/>
                </a:lnTo>
                <a:cubicBezTo>
                  <a:pt x="3383094" y="906814"/>
                  <a:pt x="3382411" y="904195"/>
                  <a:pt x="3380133" y="901005"/>
                </a:cubicBezTo>
                <a:lnTo>
                  <a:pt x="3375247" y="901450"/>
                </a:lnTo>
                <a:lnTo>
                  <a:pt x="3380817" y="899183"/>
                </a:lnTo>
                <a:cubicBezTo>
                  <a:pt x="3386055" y="898728"/>
                  <a:pt x="3391066" y="898272"/>
                  <a:pt x="3392888" y="893717"/>
                </a:cubicBezTo>
                <a:cubicBezTo>
                  <a:pt x="3396532" y="886428"/>
                  <a:pt x="3385600" y="890072"/>
                  <a:pt x="3380133" y="886428"/>
                </a:cubicBezTo>
                <a:cubicBezTo>
                  <a:pt x="3380133" y="886428"/>
                  <a:pt x="3378311" y="888250"/>
                  <a:pt x="3378311" y="890072"/>
                </a:cubicBezTo>
                <a:cubicBezTo>
                  <a:pt x="3377400" y="889161"/>
                  <a:pt x="3375122" y="889617"/>
                  <a:pt x="3372845" y="890072"/>
                </a:cubicBezTo>
                <a:lnTo>
                  <a:pt x="3371022" y="890072"/>
                </a:lnTo>
                <a:cubicBezTo>
                  <a:pt x="3369200" y="886428"/>
                  <a:pt x="3360089" y="888250"/>
                  <a:pt x="3358267" y="890072"/>
                </a:cubicBezTo>
                <a:cubicBezTo>
                  <a:pt x="3350978" y="888250"/>
                  <a:pt x="3360089" y="884606"/>
                  <a:pt x="3358267" y="879139"/>
                </a:cubicBezTo>
                <a:cubicBezTo>
                  <a:pt x="3352800" y="879139"/>
                  <a:pt x="3343690" y="882784"/>
                  <a:pt x="3340045" y="875495"/>
                </a:cubicBezTo>
                <a:cubicBezTo>
                  <a:pt x="3336401" y="880961"/>
                  <a:pt x="3332756" y="875495"/>
                  <a:pt x="3327290" y="879139"/>
                </a:cubicBezTo>
                <a:cubicBezTo>
                  <a:pt x="3327290" y="882784"/>
                  <a:pt x="3329112" y="880961"/>
                  <a:pt x="3329112" y="884606"/>
                </a:cubicBezTo>
                <a:cubicBezTo>
                  <a:pt x="3332756" y="888250"/>
                  <a:pt x="3332756" y="880961"/>
                  <a:pt x="3336401" y="884606"/>
                </a:cubicBezTo>
                <a:cubicBezTo>
                  <a:pt x="3332756" y="888250"/>
                  <a:pt x="3329112" y="891894"/>
                  <a:pt x="3329112" y="899183"/>
                </a:cubicBezTo>
                <a:cubicBezTo>
                  <a:pt x="3325468" y="901005"/>
                  <a:pt x="3327290" y="895539"/>
                  <a:pt x="3321824" y="897361"/>
                </a:cubicBezTo>
                <a:cubicBezTo>
                  <a:pt x="3312713" y="904651"/>
                  <a:pt x="3298135" y="911939"/>
                  <a:pt x="3301780" y="924695"/>
                </a:cubicBezTo>
                <a:cubicBezTo>
                  <a:pt x="3299957" y="926516"/>
                  <a:pt x="3298135" y="928339"/>
                  <a:pt x="3294491" y="928339"/>
                </a:cubicBezTo>
                <a:cubicBezTo>
                  <a:pt x="3299957" y="941094"/>
                  <a:pt x="3320001" y="941094"/>
                  <a:pt x="3332756" y="933804"/>
                </a:cubicBezTo>
                <a:cubicBezTo>
                  <a:pt x="3330934" y="926516"/>
                  <a:pt x="3336401" y="924695"/>
                  <a:pt x="3338223" y="922872"/>
                </a:cubicBezTo>
                <a:cubicBezTo>
                  <a:pt x="3334579" y="917405"/>
                  <a:pt x="3325468" y="928339"/>
                  <a:pt x="3316357" y="926516"/>
                </a:cubicBezTo>
                <a:cubicBezTo>
                  <a:pt x="3318179" y="919227"/>
                  <a:pt x="3330934" y="926516"/>
                  <a:pt x="3330934" y="917405"/>
                </a:cubicBezTo>
                <a:cubicBezTo>
                  <a:pt x="3334579" y="919227"/>
                  <a:pt x="3349156" y="922872"/>
                  <a:pt x="3352800" y="915583"/>
                </a:cubicBezTo>
                <a:cubicBezTo>
                  <a:pt x="3350978" y="917405"/>
                  <a:pt x="3349156" y="917405"/>
                  <a:pt x="3349156" y="915583"/>
                </a:cubicBezTo>
                <a:cubicBezTo>
                  <a:pt x="3349156" y="911939"/>
                  <a:pt x="3350978" y="906473"/>
                  <a:pt x="3350978" y="902827"/>
                </a:cubicBezTo>
                <a:cubicBezTo>
                  <a:pt x="3340045" y="904651"/>
                  <a:pt x="3338223" y="895539"/>
                  <a:pt x="3341867" y="890072"/>
                </a:cubicBezTo>
                <a:cubicBezTo>
                  <a:pt x="3346423" y="892806"/>
                  <a:pt x="3351434" y="896906"/>
                  <a:pt x="3355306" y="901917"/>
                </a:cubicBezTo>
                <a:lnTo>
                  <a:pt x="3360670" y="915974"/>
                </a:lnTo>
                <a:lnTo>
                  <a:pt x="3359634" y="916722"/>
                </a:lnTo>
                <a:lnTo>
                  <a:pt x="3359449" y="917307"/>
                </a:lnTo>
                <a:lnTo>
                  <a:pt x="3358267" y="913761"/>
                </a:lnTo>
                <a:cubicBezTo>
                  <a:pt x="3355534" y="913761"/>
                  <a:pt x="3355078" y="915583"/>
                  <a:pt x="3355762" y="917178"/>
                </a:cubicBezTo>
                <a:lnTo>
                  <a:pt x="3359005" y="918714"/>
                </a:lnTo>
                <a:lnTo>
                  <a:pt x="3358267" y="921049"/>
                </a:lnTo>
                <a:cubicBezTo>
                  <a:pt x="3358267" y="922872"/>
                  <a:pt x="3363734" y="921049"/>
                  <a:pt x="3365556" y="922872"/>
                </a:cubicBezTo>
                <a:cubicBezTo>
                  <a:pt x="3361912" y="922872"/>
                  <a:pt x="3358723" y="922416"/>
                  <a:pt x="3355762" y="922872"/>
                </a:cubicBezTo>
                <a:lnTo>
                  <a:pt x="3351684" y="925517"/>
                </a:lnTo>
                <a:lnTo>
                  <a:pt x="3352800" y="921049"/>
                </a:lnTo>
                <a:cubicBezTo>
                  <a:pt x="3352800" y="921049"/>
                  <a:pt x="3350978" y="922872"/>
                  <a:pt x="3349156" y="922872"/>
                </a:cubicBezTo>
                <a:lnTo>
                  <a:pt x="3350330" y="926395"/>
                </a:lnTo>
                <a:lnTo>
                  <a:pt x="3347334" y="928339"/>
                </a:lnTo>
                <a:cubicBezTo>
                  <a:pt x="3345512" y="931983"/>
                  <a:pt x="3347334" y="931983"/>
                  <a:pt x="3349156" y="933804"/>
                </a:cubicBezTo>
                <a:cubicBezTo>
                  <a:pt x="3345512" y="935628"/>
                  <a:pt x="3343690" y="935628"/>
                  <a:pt x="3341867" y="935628"/>
                </a:cubicBezTo>
                <a:cubicBezTo>
                  <a:pt x="3334579" y="941094"/>
                  <a:pt x="3349156" y="946560"/>
                  <a:pt x="3345512" y="948383"/>
                </a:cubicBezTo>
                <a:cubicBezTo>
                  <a:pt x="3341867" y="950204"/>
                  <a:pt x="3332756" y="942916"/>
                  <a:pt x="3330934" y="944738"/>
                </a:cubicBezTo>
                <a:lnTo>
                  <a:pt x="3331979" y="947292"/>
                </a:lnTo>
                <a:lnTo>
                  <a:pt x="3327290" y="948610"/>
                </a:lnTo>
                <a:cubicBezTo>
                  <a:pt x="3325923" y="948383"/>
                  <a:pt x="3324557" y="947472"/>
                  <a:pt x="3320001" y="946560"/>
                </a:cubicBezTo>
                <a:cubicBezTo>
                  <a:pt x="3314535" y="953848"/>
                  <a:pt x="3323646" y="957494"/>
                  <a:pt x="3321824" y="964782"/>
                </a:cubicBezTo>
                <a:cubicBezTo>
                  <a:pt x="3322735" y="962048"/>
                  <a:pt x="3325013" y="959315"/>
                  <a:pt x="3327518" y="956354"/>
                </a:cubicBezTo>
                <a:lnTo>
                  <a:pt x="3332730" y="949126"/>
                </a:lnTo>
                <a:lnTo>
                  <a:pt x="3332985" y="949749"/>
                </a:lnTo>
                <a:cubicBezTo>
                  <a:pt x="3335490" y="949749"/>
                  <a:pt x="3339134" y="949294"/>
                  <a:pt x="3341867" y="952026"/>
                </a:cubicBezTo>
                <a:cubicBezTo>
                  <a:pt x="3341867" y="952026"/>
                  <a:pt x="3347334" y="950204"/>
                  <a:pt x="3349156" y="950204"/>
                </a:cubicBezTo>
                <a:cubicBezTo>
                  <a:pt x="3363734" y="948383"/>
                  <a:pt x="3372844" y="961138"/>
                  <a:pt x="3387422" y="959316"/>
                </a:cubicBezTo>
                <a:cubicBezTo>
                  <a:pt x="3381955" y="948383"/>
                  <a:pt x="3374666" y="942916"/>
                  <a:pt x="3367378" y="935628"/>
                </a:cubicBezTo>
                <a:cubicBezTo>
                  <a:pt x="3369200" y="933804"/>
                  <a:pt x="3374666" y="937450"/>
                  <a:pt x="3376489" y="935628"/>
                </a:cubicBezTo>
                <a:cubicBezTo>
                  <a:pt x="3378311" y="935628"/>
                  <a:pt x="3378311" y="930160"/>
                  <a:pt x="3378311" y="928339"/>
                </a:cubicBezTo>
                <a:cubicBezTo>
                  <a:pt x="3381955" y="930160"/>
                  <a:pt x="3387422" y="931983"/>
                  <a:pt x="3387422" y="939272"/>
                </a:cubicBezTo>
                <a:cubicBezTo>
                  <a:pt x="3392888" y="939272"/>
                  <a:pt x="3394710" y="942916"/>
                  <a:pt x="3394710" y="946560"/>
                </a:cubicBezTo>
                <a:cubicBezTo>
                  <a:pt x="3389244" y="941094"/>
                  <a:pt x="3387422" y="946560"/>
                  <a:pt x="3387422" y="948383"/>
                </a:cubicBezTo>
                <a:cubicBezTo>
                  <a:pt x="3389244" y="957494"/>
                  <a:pt x="3394710" y="961138"/>
                  <a:pt x="3400177" y="968427"/>
                </a:cubicBezTo>
                <a:cubicBezTo>
                  <a:pt x="3401999" y="970249"/>
                  <a:pt x="3391066" y="968427"/>
                  <a:pt x="3394710" y="972071"/>
                </a:cubicBezTo>
                <a:cubicBezTo>
                  <a:pt x="3394710" y="972982"/>
                  <a:pt x="3396532" y="973893"/>
                  <a:pt x="3398810" y="974348"/>
                </a:cubicBezTo>
                <a:lnTo>
                  <a:pt x="3404012" y="974001"/>
                </a:lnTo>
                <a:lnTo>
                  <a:pt x="3405416" y="974804"/>
                </a:lnTo>
                <a:lnTo>
                  <a:pt x="3405694" y="974848"/>
                </a:lnTo>
                <a:lnTo>
                  <a:pt x="3406099" y="982549"/>
                </a:lnTo>
                <a:cubicBezTo>
                  <a:pt x="3406099" y="985282"/>
                  <a:pt x="3405644" y="987560"/>
                  <a:pt x="3403821" y="988471"/>
                </a:cubicBezTo>
                <a:cubicBezTo>
                  <a:pt x="3394710" y="990293"/>
                  <a:pt x="3401999" y="977538"/>
                  <a:pt x="3394710" y="975715"/>
                </a:cubicBezTo>
                <a:cubicBezTo>
                  <a:pt x="3396532" y="983004"/>
                  <a:pt x="3383777" y="977538"/>
                  <a:pt x="3385600" y="984826"/>
                </a:cubicBezTo>
                <a:cubicBezTo>
                  <a:pt x="3385600" y="988471"/>
                  <a:pt x="3391066" y="988471"/>
                  <a:pt x="3392888" y="986649"/>
                </a:cubicBezTo>
                <a:cubicBezTo>
                  <a:pt x="3391066" y="992115"/>
                  <a:pt x="3381955" y="993937"/>
                  <a:pt x="3389244" y="999403"/>
                </a:cubicBezTo>
                <a:cubicBezTo>
                  <a:pt x="3392888" y="1001226"/>
                  <a:pt x="3394710" y="999403"/>
                  <a:pt x="3394710" y="997582"/>
                </a:cubicBezTo>
                <a:cubicBezTo>
                  <a:pt x="3394710" y="995759"/>
                  <a:pt x="3392888" y="995759"/>
                  <a:pt x="3391066" y="995759"/>
                </a:cubicBezTo>
                <a:cubicBezTo>
                  <a:pt x="3391066" y="992115"/>
                  <a:pt x="3396532" y="995759"/>
                  <a:pt x="3398355" y="993937"/>
                </a:cubicBezTo>
                <a:cubicBezTo>
                  <a:pt x="3396532" y="997582"/>
                  <a:pt x="3396532" y="999403"/>
                  <a:pt x="3398355" y="1001226"/>
                </a:cubicBezTo>
                <a:cubicBezTo>
                  <a:pt x="3401999" y="1003047"/>
                  <a:pt x="3405643" y="1003047"/>
                  <a:pt x="3409288" y="1003047"/>
                </a:cubicBezTo>
                <a:cubicBezTo>
                  <a:pt x="3418399" y="1001226"/>
                  <a:pt x="3414754" y="993937"/>
                  <a:pt x="3420221" y="988471"/>
                </a:cubicBezTo>
                <a:cubicBezTo>
                  <a:pt x="3416577" y="988471"/>
                  <a:pt x="3412932" y="983004"/>
                  <a:pt x="3409288" y="981182"/>
                </a:cubicBezTo>
                <a:cubicBezTo>
                  <a:pt x="3412932" y="979360"/>
                  <a:pt x="3412932" y="977538"/>
                  <a:pt x="3411110" y="975715"/>
                </a:cubicBezTo>
                <a:lnTo>
                  <a:pt x="3405694" y="974848"/>
                </a:lnTo>
                <a:lnTo>
                  <a:pt x="3405643" y="973893"/>
                </a:lnTo>
                <a:lnTo>
                  <a:pt x="3404012" y="974001"/>
                </a:lnTo>
                <a:lnTo>
                  <a:pt x="3403821" y="973893"/>
                </a:lnTo>
                <a:cubicBezTo>
                  <a:pt x="3407466" y="968427"/>
                  <a:pt x="3414754" y="970249"/>
                  <a:pt x="3414754" y="962960"/>
                </a:cubicBezTo>
                <a:cubicBezTo>
                  <a:pt x="3416577" y="964782"/>
                  <a:pt x="3420221" y="968427"/>
                  <a:pt x="3418399" y="970249"/>
                </a:cubicBezTo>
                <a:cubicBezTo>
                  <a:pt x="3416577" y="972071"/>
                  <a:pt x="3414754" y="972071"/>
                  <a:pt x="3412932" y="972071"/>
                </a:cubicBezTo>
                <a:cubicBezTo>
                  <a:pt x="3416577" y="975715"/>
                  <a:pt x="3422043" y="975715"/>
                  <a:pt x="3425687" y="972071"/>
                </a:cubicBezTo>
                <a:cubicBezTo>
                  <a:pt x="3425687" y="975715"/>
                  <a:pt x="3425687" y="977538"/>
                  <a:pt x="3427510" y="979360"/>
                </a:cubicBezTo>
                <a:cubicBezTo>
                  <a:pt x="3423865" y="979360"/>
                  <a:pt x="3420221" y="977538"/>
                  <a:pt x="3418399" y="977538"/>
                </a:cubicBezTo>
                <a:cubicBezTo>
                  <a:pt x="3420221" y="981182"/>
                  <a:pt x="3422043" y="984826"/>
                  <a:pt x="3423865" y="983004"/>
                </a:cubicBezTo>
                <a:cubicBezTo>
                  <a:pt x="3438443" y="968427"/>
                  <a:pt x="3456664" y="977538"/>
                  <a:pt x="3471242" y="970249"/>
                </a:cubicBezTo>
                <a:cubicBezTo>
                  <a:pt x="3465775" y="977538"/>
                  <a:pt x="3458487" y="972071"/>
                  <a:pt x="3454842" y="975715"/>
                </a:cubicBezTo>
                <a:cubicBezTo>
                  <a:pt x="3463953" y="979360"/>
                  <a:pt x="3471242" y="977538"/>
                  <a:pt x="3478530" y="981182"/>
                </a:cubicBezTo>
                <a:cubicBezTo>
                  <a:pt x="3480353" y="983004"/>
                  <a:pt x="3480353" y="979360"/>
                  <a:pt x="3478530" y="977538"/>
                </a:cubicBezTo>
                <a:cubicBezTo>
                  <a:pt x="3489463" y="981182"/>
                  <a:pt x="3500397" y="962960"/>
                  <a:pt x="3509507" y="973893"/>
                </a:cubicBezTo>
                <a:cubicBezTo>
                  <a:pt x="3507685" y="973893"/>
                  <a:pt x="3505863" y="973893"/>
                  <a:pt x="3505863" y="975715"/>
                </a:cubicBezTo>
                <a:cubicBezTo>
                  <a:pt x="3509507" y="986649"/>
                  <a:pt x="3536840" y="999403"/>
                  <a:pt x="3525907" y="1008515"/>
                </a:cubicBezTo>
                <a:cubicBezTo>
                  <a:pt x="3525907" y="1004870"/>
                  <a:pt x="3524085" y="1004870"/>
                  <a:pt x="3522263" y="1006692"/>
                </a:cubicBezTo>
                <a:cubicBezTo>
                  <a:pt x="3520440" y="1006692"/>
                  <a:pt x="3522263" y="1012159"/>
                  <a:pt x="3520440" y="1013981"/>
                </a:cubicBezTo>
                <a:cubicBezTo>
                  <a:pt x="3520440" y="1010337"/>
                  <a:pt x="3511330" y="1010337"/>
                  <a:pt x="3509507" y="1012159"/>
                </a:cubicBezTo>
                <a:cubicBezTo>
                  <a:pt x="3509507" y="1008515"/>
                  <a:pt x="3513152" y="1010337"/>
                  <a:pt x="3516796" y="1010337"/>
                </a:cubicBezTo>
                <a:cubicBezTo>
                  <a:pt x="3514974" y="1006692"/>
                  <a:pt x="3518618" y="1004870"/>
                  <a:pt x="3520440" y="1003047"/>
                </a:cubicBezTo>
                <a:cubicBezTo>
                  <a:pt x="3513152" y="999403"/>
                  <a:pt x="3507685" y="992115"/>
                  <a:pt x="3502219" y="995759"/>
                </a:cubicBezTo>
                <a:cubicBezTo>
                  <a:pt x="3493108" y="999403"/>
                  <a:pt x="3502219" y="1004870"/>
                  <a:pt x="3509507" y="1008515"/>
                </a:cubicBezTo>
                <a:cubicBezTo>
                  <a:pt x="3504041" y="1012159"/>
                  <a:pt x="3496752" y="1013981"/>
                  <a:pt x="3493108" y="1019448"/>
                </a:cubicBezTo>
                <a:cubicBezTo>
                  <a:pt x="3493108" y="1021270"/>
                  <a:pt x="3496752" y="1023092"/>
                  <a:pt x="3498574" y="1023092"/>
                </a:cubicBezTo>
                <a:cubicBezTo>
                  <a:pt x="3511330" y="1021270"/>
                  <a:pt x="3531374" y="1026736"/>
                  <a:pt x="3531374" y="1013981"/>
                </a:cubicBezTo>
                <a:cubicBezTo>
                  <a:pt x="3535018" y="1015803"/>
                  <a:pt x="3535018" y="1021270"/>
                  <a:pt x="3538662" y="1021270"/>
                </a:cubicBezTo>
                <a:cubicBezTo>
                  <a:pt x="3536840" y="1017625"/>
                  <a:pt x="3535018" y="1012159"/>
                  <a:pt x="3533196" y="1010337"/>
                </a:cubicBezTo>
                <a:cubicBezTo>
                  <a:pt x="3538662" y="1012159"/>
                  <a:pt x="3547773" y="1015803"/>
                  <a:pt x="3545951" y="1008515"/>
                </a:cubicBezTo>
                <a:cubicBezTo>
                  <a:pt x="3545951" y="1004870"/>
                  <a:pt x="3538662" y="1006692"/>
                  <a:pt x="3540484" y="1001226"/>
                </a:cubicBezTo>
                <a:cubicBezTo>
                  <a:pt x="3542306" y="999403"/>
                  <a:pt x="3549595" y="999403"/>
                  <a:pt x="3553240" y="999403"/>
                </a:cubicBezTo>
                <a:cubicBezTo>
                  <a:pt x="3555062" y="997582"/>
                  <a:pt x="3558706" y="1003047"/>
                  <a:pt x="3555062" y="1004870"/>
                </a:cubicBezTo>
                <a:cubicBezTo>
                  <a:pt x="3553240" y="1004870"/>
                  <a:pt x="3553240" y="1003047"/>
                  <a:pt x="3551417" y="1003047"/>
                </a:cubicBezTo>
                <a:cubicBezTo>
                  <a:pt x="3555062" y="1008515"/>
                  <a:pt x="3556884" y="1017625"/>
                  <a:pt x="3565995" y="1019448"/>
                </a:cubicBezTo>
                <a:cubicBezTo>
                  <a:pt x="3564173" y="1017625"/>
                  <a:pt x="3562350" y="1012159"/>
                  <a:pt x="3564173" y="1010337"/>
                </a:cubicBezTo>
                <a:cubicBezTo>
                  <a:pt x="3567817" y="1006692"/>
                  <a:pt x="3571461" y="1015803"/>
                  <a:pt x="3575106" y="1013981"/>
                </a:cubicBezTo>
                <a:cubicBezTo>
                  <a:pt x="3578750" y="1012159"/>
                  <a:pt x="3575106" y="1006692"/>
                  <a:pt x="3576928" y="1008515"/>
                </a:cubicBezTo>
                <a:cubicBezTo>
                  <a:pt x="3580572" y="1008515"/>
                  <a:pt x="3580572" y="1015803"/>
                  <a:pt x="3578750" y="1019448"/>
                </a:cubicBezTo>
                <a:cubicBezTo>
                  <a:pt x="3576928" y="1021270"/>
                  <a:pt x="3571461" y="1015803"/>
                  <a:pt x="3569639" y="1019448"/>
                </a:cubicBezTo>
                <a:cubicBezTo>
                  <a:pt x="3575106" y="1019448"/>
                  <a:pt x="3580572" y="1023092"/>
                  <a:pt x="3578750" y="1030381"/>
                </a:cubicBezTo>
                <a:cubicBezTo>
                  <a:pt x="3586039" y="1028559"/>
                  <a:pt x="3593327" y="1035847"/>
                  <a:pt x="3600616" y="1028559"/>
                </a:cubicBezTo>
                <a:cubicBezTo>
                  <a:pt x="3600616" y="1032203"/>
                  <a:pt x="3604260" y="1034025"/>
                  <a:pt x="3602438" y="1035847"/>
                </a:cubicBezTo>
                <a:cubicBezTo>
                  <a:pt x="3615193" y="1030381"/>
                  <a:pt x="3620660" y="1043136"/>
                  <a:pt x="3629771" y="1044958"/>
                </a:cubicBezTo>
                <a:cubicBezTo>
                  <a:pt x="3620660" y="1048602"/>
                  <a:pt x="3631593" y="1055891"/>
                  <a:pt x="3627949" y="1061358"/>
                </a:cubicBezTo>
                <a:cubicBezTo>
                  <a:pt x="3627949" y="1061358"/>
                  <a:pt x="3626127" y="1063180"/>
                  <a:pt x="3626127" y="1063180"/>
                </a:cubicBezTo>
                <a:cubicBezTo>
                  <a:pt x="3622482" y="1059535"/>
                  <a:pt x="3622482" y="1054069"/>
                  <a:pt x="3618838" y="1052247"/>
                </a:cubicBezTo>
                <a:cubicBezTo>
                  <a:pt x="3617016" y="1065002"/>
                  <a:pt x="3626127" y="1072291"/>
                  <a:pt x="3638882" y="1072291"/>
                </a:cubicBezTo>
                <a:cubicBezTo>
                  <a:pt x="3633415" y="1075935"/>
                  <a:pt x="3644348" y="1077757"/>
                  <a:pt x="3642526" y="1083224"/>
                </a:cubicBezTo>
                <a:cubicBezTo>
                  <a:pt x="3642526" y="1085046"/>
                  <a:pt x="3633415" y="1083224"/>
                  <a:pt x="3635237" y="1085046"/>
                </a:cubicBezTo>
                <a:cubicBezTo>
                  <a:pt x="3637060" y="1090512"/>
                  <a:pt x="3644348" y="1094157"/>
                  <a:pt x="3646171" y="1095979"/>
                </a:cubicBezTo>
                <a:cubicBezTo>
                  <a:pt x="3655281" y="1108734"/>
                  <a:pt x="3638882" y="1108734"/>
                  <a:pt x="3631593" y="1116023"/>
                </a:cubicBezTo>
                <a:cubicBezTo>
                  <a:pt x="3629771" y="1119667"/>
                  <a:pt x="3637060" y="1123312"/>
                  <a:pt x="3638882" y="1121489"/>
                </a:cubicBezTo>
                <a:cubicBezTo>
                  <a:pt x="3638882" y="1123312"/>
                  <a:pt x="3638882" y="1123312"/>
                  <a:pt x="3638882" y="1125134"/>
                </a:cubicBezTo>
                <a:cubicBezTo>
                  <a:pt x="3633415" y="1125134"/>
                  <a:pt x="3633415" y="1126956"/>
                  <a:pt x="3635237" y="1123312"/>
                </a:cubicBezTo>
                <a:cubicBezTo>
                  <a:pt x="3629771" y="1121489"/>
                  <a:pt x="3627949" y="1125134"/>
                  <a:pt x="3622482" y="1123312"/>
                </a:cubicBezTo>
                <a:cubicBezTo>
                  <a:pt x="3622482" y="1125134"/>
                  <a:pt x="3622482" y="1126956"/>
                  <a:pt x="3622482" y="1128778"/>
                </a:cubicBezTo>
                <a:cubicBezTo>
                  <a:pt x="3631593" y="1132422"/>
                  <a:pt x="3633415" y="1132422"/>
                  <a:pt x="3637060" y="1137889"/>
                </a:cubicBezTo>
                <a:cubicBezTo>
                  <a:pt x="3637060" y="1136067"/>
                  <a:pt x="3637060" y="1134245"/>
                  <a:pt x="3635237" y="1134245"/>
                </a:cubicBezTo>
                <a:cubicBezTo>
                  <a:pt x="3637060" y="1134245"/>
                  <a:pt x="3638882" y="1132422"/>
                  <a:pt x="3638882" y="1128778"/>
                </a:cubicBezTo>
                <a:cubicBezTo>
                  <a:pt x="3640704" y="1137889"/>
                  <a:pt x="3647993" y="1136067"/>
                  <a:pt x="3658926" y="1139711"/>
                </a:cubicBezTo>
                <a:cubicBezTo>
                  <a:pt x="3660748" y="1139711"/>
                  <a:pt x="3653459" y="1143355"/>
                  <a:pt x="3655281" y="1145178"/>
                </a:cubicBezTo>
                <a:cubicBezTo>
                  <a:pt x="3658926" y="1152466"/>
                  <a:pt x="3675325" y="1148822"/>
                  <a:pt x="3666214" y="1156111"/>
                </a:cubicBezTo>
                <a:cubicBezTo>
                  <a:pt x="3664392" y="1159755"/>
                  <a:pt x="3664392" y="1154288"/>
                  <a:pt x="3664392" y="1152466"/>
                </a:cubicBezTo>
                <a:cubicBezTo>
                  <a:pt x="3658926" y="1159755"/>
                  <a:pt x="3655281" y="1165222"/>
                  <a:pt x="3657103" y="1174332"/>
                </a:cubicBezTo>
                <a:cubicBezTo>
                  <a:pt x="3651637" y="1172510"/>
                  <a:pt x="3651637" y="1165222"/>
                  <a:pt x="3646171" y="1163399"/>
                </a:cubicBezTo>
                <a:cubicBezTo>
                  <a:pt x="3649815" y="1159755"/>
                  <a:pt x="3655281" y="1163399"/>
                  <a:pt x="3653459" y="1161577"/>
                </a:cubicBezTo>
                <a:cubicBezTo>
                  <a:pt x="3653459" y="1157933"/>
                  <a:pt x="3653459" y="1154288"/>
                  <a:pt x="3651637" y="1150644"/>
                </a:cubicBezTo>
                <a:cubicBezTo>
                  <a:pt x="3653459" y="1150644"/>
                  <a:pt x="3655281" y="1150644"/>
                  <a:pt x="3655281" y="1148822"/>
                </a:cubicBezTo>
                <a:cubicBezTo>
                  <a:pt x="3653459" y="1141533"/>
                  <a:pt x="3640704" y="1136067"/>
                  <a:pt x="3638882" y="1143355"/>
                </a:cubicBezTo>
                <a:cubicBezTo>
                  <a:pt x="3638882" y="1147000"/>
                  <a:pt x="3642526" y="1148822"/>
                  <a:pt x="3646171" y="1150644"/>
                </a:cubicBezTo>
                <a:cubicBezTo>
                  <a:pt x="3640704" y="1152466"/>
                  <a:pt x="3635237" y="1152466"/>
                  <a:pt x="3633415" y="1150644"/>
                </a:cubicBezTo>
                <a:cubicBezTo>
                  <a:pt x="3626127" y="1145178"/>
                  <a:pt x="3620660" y="1141533"/>
                  <a:pt x="3613371" y="1134245"/>
                </a:cubicBezTo>
                <a:cubicBezTo>
                  <a:pt x="3613371" y="1137889"/>
                  <a:pt x="3609727" y="1141533"/>
                  <a:pt x="3606082" y="1139711"/>
                </a:cubicBezTo>
                <a:cubicBezTo>
                  <a:pt x="3600616" y="1136067"/>
                  <a:pt x="3598794" y="1136067"/>
                  <a:pt x="3596972" y="1137889"/>
                </a:cubicBezTo>
                <a:cubicBezTo>
                  <a:pt x="3595150" y="1134245"/>
                  <a:pt x="3589683" y="1128778"/>
                  <a:pt x="3596972" y="1126956"/>
                </a:cubicBezTo>
                <a:cubicBezTo>
                  <a:pt x="3589683" y="1119667"/>
                  <a:pt x="3587861" y="1106912"/>
                  <a:pt x="3576928" y="1108734"/>
                </a:cubicBezTo>
                <a:cubicBezTo>
                  <a:pt x="3584216" y="1114201"/>
                  <a:pt x="3589683" y="1126956"/>
                  <a:pt x="3578750" y="1132422"/>
                </a:cubicBezTo>
                <a:cubicBezTo>
                  <a:pt x="3575106" y="1132422"/>
                  <a:pt x="3569639" y="1132422"/>
                  <a:pt x="3567817" y="1134245"/>
                </a:cubicBezTo>
                <a:cubicBezTo>
                  <a:pt x="3567817" y="1128778"/>
                  <a:pt x="3576928" y="1130600"/>
                  <a:pt x="3575106" y="1126956"/>
                </a:cubicBezTo>
                <a:cubicBezTo>
                  <a:pt x="3573284" y="1125134"/>
                  <a:pt x="3567817" y="1125134"/>
                  <a:pt x="3565995" y="1126956"/>
                </a:cubicBezTo>
                <a:cubicBezTo>
                  <a:pt x="3565995" y="1123312"/>
                  <a:pt x="3567817" y="1121489"/>
                  <a:pt x="3567817" y="1119667"/>
                </a:cubicBezTo>
                <a:cubicBezTo>
                  <a:pt x="3558706" y="1116023"/>
                  <a:pt x="3560528" y="1114201"/>
                  <a:pt x="3556884" y="1105090"/>
                </a:cubicBezTo>
                <a:cubicBezTo>
                  <a:pt x="3551417" y="1108734"/>
                  <a:pt x="3544129" y="1112378"/>
                  <a:pt x="3542306" y="1108734"/>
                </a:cubicBezTo>
                <a:cubicBezTo>
                  <a:pt x="3536840" y="1103268"/>
                  <a:pt x="3540484" y="1099623"/>
                  <a:pt x="3547773" y="1097801"/>
                </a:cubicBezTo>
                <a:cubicBezTo>
                  <a:pt x="3545951" y="1097801"/>
                  <a:pt x="3545951" y="1097801"/>
                  <a:pt x="3544129" y="1095979"/>
                </a:cubicBezTo>
                <a:cubicBezTo>
                  <a:pt x="3542306" y="1092335"/>
                  <a:pt x="3547773" y="1088690"/>
                  <a:pt x="3544129" y="1086868"/>
                </a:cubicBezTo>
                <a:cubicBezTo>
                  <a:pt x="3542306" y="1085046"/>
                  <a:pt x="3538662" y="1088690"/>
                  <a:pt x="3536840" y="1086868"/>
                </a:cubicBezTo>
                <a:cubicBezTo>
                  <a:pt x="3533196" y="1085046"/>
                  <a:pt x="3527729" y="1083224"/>
                  <a:pt x="3522263" y="1085046"/>
                </a:cubicBezTo>
                <a:cubicBezTo>
                  <a:pt x="3529551" y="1081402"/>
                  <a:pt x="3531374" y="1079579"/>
                  <a:pt x="3531374" y="1072291"/>
                </a:cubicBezTo>
                <a:cubicBezTo>
                  <a:pt x="3529551" y="1072291"/>
                  <a:pt x="3525907" y="1072291"/>
                  <a:pt x="3525907" y="1070469"/>
                </a:cubicBezTo>
                <a:cubicBezTo>
                  <a:pt x="3525907" y="1066824"/>
                  <a:pt x="3522263" y="1065002"/>
                  <a:pt x="3518618" y="1063180"/>
                </a:cubicBezTo>
                <a:cubicBezTo>
                  <a:pt x="3516796" y="1066824"/>
                  <a:pt x="3522263" y="1072291"/>
                  <a:pt x="3514974" y="1072291"/>
                </a:cubicBezTo>
                <a:cubicBezTo>
                  <a:pt x="3516796" y="1075935"/>
                  <a:pt x="3522263" y="1075935"/>
                  <a:pt x="3520440" y="1079579"/>
                </a:cubicBezTo>
                <a:cubicBezTo>
                  <a:pt x="3514974" y="1074113"/>
                  <a:pt x="3509507" y="1075935"/>
                  <a:pt x="3504041" y="1079579"/>
                </a:cubicBezTo>
                <a:cubicBezTo>
                  <a:pt x="3502219" y="1079579"/>
                  <a:pt x="3504041" y="1085046"/>
                  <a:pt x="3504041" y="1086868"/>
                </a:cubicBezTo>
                <a:cubicBezTo>
                  <a:pt x="3505863" y="1085046"/>
                  <a:pt x="3507685" y="1085046"/>
                  <a:pt x="3509507" y="1086868"/>
                </a:cubicBezTo>
                <a:cubicBezTo>
                  <a:pt x="3500397" y="1088690"/>
                  <a:pt x="3500397" y="1092335"/>
                  <a:pt x="3502219" y="1099623"/>
                </a:cubicBezTo>
                <a:cubicBezTo>
                  <a:pt x="3496752" y="1094157"/>
                  <a:pt x="3496752" y="1099623"/>
                  <a:pt x="3494930" y="1092335"/>
                </a:cubicBezTo>
                <a:cubicBezTo>
                  <a:pt x="3491286" y="1095979"/>
                  <a:pt x="3483997" y="1090512"/>
                  <a:pt x="3480353" y="1094157"/>
                </a:cubicBezTo>
                <a:cubicBezTo>
                  <a:pt x="3482175" y="1094157"/>
                  <a:pt x="3482175" y="1094157"/>
                  <a:pt x="3483997" y="1095979"/>
                </a:cubicBezTo>
                <a:cubicBezTo>
                  <a:pt x="3476708" y="1099623"/>
                  <a:pt x="3473064" y="1095979"/>
                  <a:pt x="3465775" y="1094157"/>
                </a:cubicBezTo>
                <a:cubicBezTo>
                  <a:pt x="3463953" y="1092335"/>
                  <a:pt x="3456664" y="1092335"/>
                  <a:pt x="3458487" y="1095979"/>
                </a:cubicBezTo>
                <a:cubicBezTo>
                  <a:pt x="3462131" y="1106912"/>
                  <a:pt x="3476708" y="1103268"/>
                  <a:pt x="3487641" y="1110556"/>
                </a:cubicBezTo>
                <a:cubicBezTo>
                  <a:pt x="3483997" y="1110556"/>
                  <a:pt x="3480353" y="1106912"/>
                  <a:pt x="3476708" y="1108734"/>
                </a:cubicBezTo>
                <a:cubicBezTo>
                  <a:pt x="3478530" y="1110556"/>
                  <a:pt x="3478530" y="1114201"/>
                  <a:pt x="3476708" y="1114201"/>
                </a:cubicBezTo>
                <a:cubicBezTo>
                  <a:pt x="3474886" y="1112378"/>
                  <a:pt x="3474886" y="1106912"/>
                  <a:pt x="3469419" y="1108734"/>
                </a:cubicBezTo>
                <a:cubicBezTo>
                  <a:pt x="3474886" y="1116023"/>
                  <a:pt x="3480353" y="1125134"/>
                  <a:pt x="3491286" y="1123312"/>
                </a:cubicBezTo>
                <a:cubicBezTo>
                  <a:pt x="3489463" y="1125134"/>
                  <a:pt x="3487641" y="1125134"/>
                  <a:pt x="3489463" y="1126956"/>
                </a:cubicBezTo>
                <a:lnTo>
                  <a:pt x="3503177" y="1133285"/>
                </a:lnTo>
                <a:lnTo>
                  <a:pt x="3493108" y="1130600"/>
                </a:lnTo>
                <a:cubicBezTo>
                  <a:pt x="3491286" y="1128778"/>
                  <a:pt x="3487641" y="1132422"/>
                  <a:pt x="3485819" y="1130600"/>
                </a:cubicBezTo>
                <a:cubicBezTo>
                  <a:pt x="3467597" y="1121489"/>
                  <a:pt x="3463953" y="1095979"/>
                  <a:pt x="3443909" y="1088690"/>
                </a:cubicBezTo>
                <a:cubicBezTo>
                  <a:pt x="3442087" y="1088690"/>
                  <a:pt x="3445731" y="1092335"/>
                  <a:pt x="3443909" y="1090512"/>
                </a:cubicBezTo>
                <a:cubicBezTo>
                  <a:pt x="3436621" y="1085046"/>
                  <a:pt x="3431154" y="1074113"/>
                  <a:pt x="3420221" y="1070469"/>
                </a:cubicBezTo>
                <a:cubicBezTo>
                  <a:pt x="3407466" y="1066824"/>
                  <a:pt x="3392888" y="1048602"/>
                  <a:pt x="3385600" y="1063180"/>
                </a:cubicBezTo>
                <a:cubicBezTo>
                  <a:pt x="3383777" y="1061358"/>
                  <a:pt x="3383777" y="1059535"/>
                  <a:pt x="3381955" y="1059535"/>
                </a:cubicBezTo>
                <a:cubicBezTo>
                  <a:pt x="3378311" y="1063180"/>
                  <a:pt x="3376489" y="1072291"/>
                  <a:pt x="3371022" y="1070469"/>
                </a:cubicBezTo>
                <a:cubicBezTo>
                  <a:pt x="3365556" y="1070469"/>
                  <a:pt x="3361911" y="1063180"/>
                  <a:pt x="3363734" y="1057713"/>
                </a:cubicBezTo>
                <a:cubicBezTo>
                  <a:pt x="3358267" y="1057713"/>
                  <a:pt x="3358267" y="1063180"/>
                  <a:pt x="3356445" y="1065002"/>
                </a:cubicBezTo>
                <a:cubicBezTo>
                  <a:pt x="3356445" y="1059535"/>
                  <a:pt x="3358267" y="1050425"/>
                  <a:pt x="3354623" y="1052247"/>
                </a:cubicBezTo>
                <a:cubicBezTo>
                  <a:pt x="3347334" y="1055891"/>
                  <a:pt x="3360089" y="1068646"/>
                  <a:pt x="3352800" y="1075935"/>
                </a:cubicBezTo>
                <a:cubicBezTo>
                  <a:pt x="3352800" y="1063180"/>
                  <a:pt x="3350978" y="1050425"/>
                  <a:pt x="3340045" y="1043136"/>
                </a:cubicBezTo>
                <a:cubicBezTo>
                  <a:pt x="3343690" y="1043136"/>
                  <a:pt x="3345512" y="1041314"/>
                  <a:pt x="3347334" y="1039492"/>
                </a:cubicBezTo>
                <a:lnTo>
                  <a:pt x="3297233" y="1045564"/>
                </a:lnTo>
                <a:lnTo>
                  <a:pt x="3327290" y="1035847"/>
                </a:lnTo>
                <a:cubicBezTo>
                  <a:pt x="3329112" y="1035847"/>
                  <a:pt x="3325468" y="1028559"/>
                  <a:pt x="3330934" y="1030381"/>
                </a:cubicBezTo>
                <a:cubicBezTo>
                  <a:pt x="3334579" y="1024914"/>
                  <a:pt x="3320001" y="1024914"/>
                  <a:pt x="3320001" y="1019448"/>
                </a:cubicBezTo>
                <a:cubicBezTo>
                  <a:pt x="3316357" y="1024914"/>
                  <a:pt x="3307246" y="1017625"/>
                  <a:pt x="3305424" y="1026736"/>
                </a:cubicBezTo>
                <a:cubicBezTo>
                  <a:pt x="3299957" y="1023092"/>
                  <a:pt x="3298135" y="1021270"/>
                  <a:pt x="3296313" y="1026736"/>
                </a:cubicBezTo>
                <a:cubicBezTo>
                  <a:pt x="3290847" y="1032203"/>
                  <a:pt x="3303602" y="1030381"/>
                  <a:pt x="3305424" y="1034025"/>
                </a:cubicBezTo>
                <a:cubicBezTo>
                  <a:pt x="3307246" y="1028559"/>
                  <a:pt x="3312713" y="1030381"/>
                  <a:pt x="3318179" y="1030381"/>
                </a:cubicBezTo>
                <a:cubicBezTo>
                  <a:pt x="3314535" y="1032203"/>
                  <a:pt x="3305424" y="1030381"/>
                  <a:pt x="3307246" y="1037669"/>
                </a:cubicBezTo>
                <a:cubicBezTo>
                  <a:pt x="3298135" y="1035847"/>
                  <a:pt x="3290847" y="1034025"/>
                  <a:pt x="3287202" y="1026736"/>
                </a:cubicBezTo>
                <a:cubicBezTo>
                  <a:pt x="3285380" y="1028559"/>
                  <a:pt x="3281736" y="1030381"/>
                  <a:pt x="3279913" y="1034025"/>
                </a:cubicBezTo>
                <a:cubicBezTo>
                  <a:pt x="3259869" y="1028559"/>
                  <a:pt x="3239826" y="1046780"/>
                  <a:pt x="3238003" y="1066824"/>
                </a:cubicBezTo>
                <a:cubicBezTo>
                  <a:pt x="3241648" y="1074113"/>
                  <a:pt x="3248937" y="1068646"/>
                  <a:pt x="3254403" y="1074113"/>
                </a:cubicBezTo>
                <a:cubicBezTo>
                  <a:pt x="3258047" y="1070469"/>
                  <a:pt x="3268980" y="1066824"/>
                  <a:pt x="3265336" y="1059535"/>
                </a:cubicBezTo>
                <a:lnTo>
                  <a:pt x="3289969" y="1048725"/>
                </a:lnTo>
                <a:lnTo>
                  <a:pt x="3271230" y="1059991"/>
                </a:lnTo>
                <a:cubicBezTo>
                  <a:pt x="3264312" y="1065685"/>
                  <a:pt x="3258503" y="1072290"/>
                  <a:pt x="3254403" y="1079579"/>
                </a:cubicBezTo>
                <a:cubicBezTo>
                  <a:pt x="3261692" y="1081402"/>
                  <a:pt x="3267158" y="1074113"/>
                  <a:pt x="3270803" y="1068646"/>
                </a:cubicBezTo>
                <a:cubicBezTo>
                  <a:pt x="3276269" y="1074113"/>
                  <a:pt x="3265336" y="1077757"/>
                  <a:pt x="3268980" y="1079579"/>
                </a:cubicBezTo>
                <a:cubicBezTo>
                  <a:pt x="3270803" y="1079579"/>
                  <a:pt x="3276269" y="1075935"/>
                  <a:pt x="3276269" y="1077757"/>
                </a:cubicBezTo>
                <a:cubicBezTo>
                  <a:pt x="3292669" y="1099623"/>
                  <a:pt x="3314535" y="1074113"/>
                  <a:pt x="3330934" y="1070469"/>
                </a:cubicBezTo>
                <a:cubicBezTo>
                  <a:pt x="3332756" y="1068646"/>
                  <a:pt x="3336401" y="1074113"/>
                  <a:pt x="3338223" y="1070469"/>
                </a:cubicBezTo>
                <a:cubicBezTo>
                  <a:pt x="3338223" y="1070469"/>
                  <a:pt x="3338223" y="1070469"/>
                  <a:pt x="3336401" y="1068646"/>
                </a:cubicBezTo>
                <a:cubicBezTo>
                  <a:pt x="3338223" y="1068646"/>
                  <a:pt x="3338223" y="1068646"/>
                  <a:pt x="3340045" y="1068646"/>
                </a:cubicBezTo>
                <a:cubicBezTo>
                  <a:pt x="3341867" y="1072291"/>
                  <a:pt x="3343690" y="1077757"/>
                  <a:pt x="3349156" y="1079579"/>
                </a:cubicBezTo>
                <a:cubicBezTo>
                  <a:pt x="3345512" y="1086868"/>
                  <a:pt x="3347334" y="1094157"/>
                  <a:pt x="3354623" y="1099623"/>
                </a:cubicBezTo>
                <a:cubicBezTo>
                  <a:pt x="3345512" y="1103268"/>
                  <a:pt x="3338223" y="1088690"/>
                  <a:pt x="3329112" y="1094157"/>
                </a:cubicBezTo>
                <a:cubicBezTo>
                  <a:pt x="3325468" y="1095979"/>
                  <a:pt x="3327290" y="1086868"/>
                  <a:pt x="3323646" y="1086868"/>
                </a:cubicBezTo>
                <a:cubicBezTo>
                  <a:pt x="3312713" y="1088690"/>
                  <a:pt x="3303602" y="1092335"/>
                  <a:pt x="3294491" y="1095979"/>
                </a:cubicBezTo>
                <a:cubicBezTo>
                  <a:pt x="3299957" y="1099623"/>
                  <a:pt x="3296313" y="1110556"/>
                  <a:pt x="3305424" y="1110556"/>
                </a:cubicBezTo>
                <a:cubicBezTo>
                  <a:pt x="3307246" y="1110556"/>
                  <a:pt x="3307246" y="1106912"/>
                  <a:pt x="3309068" y="1105090"/>
                </a:cubicBezTo>
                <a:cubicBezTo>
                  <a:pt x="3311802" y="1114656"/>
                  <a:pt x="3322735" y="1116023"/>
                  <a:pt x="3327262" y="1121489"/>
                </a:cubicBezTo>
                <a:lnTo>
                  <a:pt x="3328239" y="1125341"/>
                </a:lnTo>
                <a:lnTo>
                  <a:pt x="3328201" y="1125589"/>
                </a:lnTo>
                <a:lnTo>
                  <a:pt x="3328325" y="1125675"/>
                </a:lnTo>
                <a:lnTo>
                  <a:pt x="3329112" y="1128778"/>
                </a:lnTo>
                <a:lnTo>
                  <a:pt x="3331797" y="1128107"/>
                </a:lnTo>
                <a:lnTo>
                  <a:pt x="3332756" y="1128778"/>
                </a:lnTo>
                <a:lnTo>
                  <a:pt x="3332425" y="1127950"/>
                </a:lnTo>
                <a:lnTo>
                  <a:pt x="3336401" y="1126956"/>
                </a:lnTo>
                <a:lnTo>
                  <a:pt x="3331542" y="1125741"/>
                </a:lnTo>
                <a:lnTo>
                  <a:pt x="3331299" y="1125134"/>
                </a:lnTo>
                <a:lnTo>
                  <a:pt x="3347562" y="1125134"/>
                </a:lnTo>
                <a:cubicBezTo>
                  <a:pt x="3353256" y="1123311"/>
                  <a:pt x="3358267" y="1119667"/>
                  <a:pt x="3361911" y="1114201"/>
                </a:cubicBezTo>
                <a:cubicBezTo>
                  <a:pt x="3361911" y="1112378"/>
                  <a:pt x="3360089" y="1112378"/>
                  <a:pt x="3360089" y="1110556"/>
                </a:cubicBezTo>
                <a:cubicBezTo>
                  <a:pt x="3363734" y="1105090"/>
                  <a:pt x="3371022" y="1108734"/>
                  <a:pt x="3374666" y="1103268"/>
                </a:cubicBezTo>
                <a:cubicBezTo>
                  <a:pt x="3367378" y="1114201"/>
                  <a:pt x="3381955" y="1116023"/>
                  <a:pt x="3383777" y="1126956"/>
                </a:cubicBezTo>
                <a:cubicBezTo>
                  <a:pt x="3381955" y="1123312"/>
                  <a:pt x="3376489" y="1125134"/>
                  <a:pt x="3374666" y="1125134"/>
                </a:cubicBezTo>
                <a:cubicBezTo>
                  <a:pt x="3376489" y="1126956"/>
                  <a:pt x="3381955" y="1128778"/>
                  <a:pt x="3383777" y="1132422"/>
                </a:cubicBezTo>
                <a:cubicBezTo>
                  <a:pt x="3378311" y="1136067"/>
                  <a:pt x="3378311" y="1130600"/>
                  <a:pt x="3376489" y="1130600"/>
                </a:cubicBezTo>
                <a:cubicBezTo>
                  <a:pt x="3371934" y="1132422"/>
                  <a:pt x="3371478" y="1136067"/>
                  <a:pt x="3372617" y="1139256"/>
                </a:cubicBezTo>
                <a:lnTo>
                  <a:pt x="3377304" y="1144130"/>
                </a:lnTo>
                <a:lnTo>
                  <a:pt x="3371022" y="1145178"/>
                </a:lnTo>
                <a:cubicBezTo>
                  <a:pt x="3371022" y="1148822"/>
                  <a:pt x="3367378" y="1154288"/>
                  <a:pt x="3369200" y="1159755"/>
                </a:cubicBezTo>
                <a:cubicBezTo>
                  <a:pt x="3367378" y="1159755"/>
                  <a:pt x="3365556" y="1159755"/>
                  <a:pt x="3363734" y="1157933"/>
                </a:cubicBezTo>
                <a:cubicBezTo>
                  <a:pt x="3362823" y="1155199"/>
                  <a:pt x="3362823" y="1151555"/>
                  <a:pt x="3362139" y="1148821"/>
                </a:cubicBezTo>
                <a:lnTo>
                  <a:pt x="3360374" y="1147692"/>
                </a:lnTo>
                <a:lnTo>
                  <a:pt x="3367378" y="1145178"/>
                </a:lnTo>
                <a:cubicBezTo>
                  <a:pt x="3367378" y="1139711"/>
                  <a:pt x="3360089" y="1143355"/>
                  <a:pt x="3361911" y="1136067"/>
                </a:cubicBezTo>
                <a:cubicBezTo>
                  <a:pt x="3354623" y="1137889"/>
                  <a:pt x="3356445" y="1147000"/>
                  <a:pt x="3350978" y="1148822"/>
                </a:cubicBezTo>
                <a:lnTo>
                  <a:pt x="3356142" y="1148509"/>
                </a:lnTo>
                <a:lnTo>
                  <a:pt x="3355990" y="1150188"/>
                </a:lnTo>
                <a:cubicBezTo>
                  <a:pt x="3355079" y="1151099"/>
                  <a:pt x="3353712" y="1151555"/>
                  <a:pt x="3352800" y="1152466"/>
                </a:cubicBezTo>
                <a:cubicBezTo>
                  <a:pt x="3352800" y="1152466"/>
                  <a:pt x="3354623" y="1152466"/>
                  <a:pt x="3354623" y="1150644"/>
                </a:cubicBezTo>
                <a:cubicBezTo>
                  <a:pt x="3352800" y="1148822"/>
                  <a:pt x="3349156" y="1148822"/>
                  <a:pt x="3349156" y="1150644"/>
                </a:cubicBezTo>
                <a:cubicBezTo>
                  <a:pt x="3349156" y="1161577"/>
                  <a:pt x="3340045" y="1157933"/>
                  <a:pt x="3332756" y="1165222"/>
                </a:cubicBezTo>
                <a:cubicBezTo>
                  <a:pt x="3336401" y="1165222"/>
                  <a:pt x="3338223" y="1165222"/>
                  <a:pt x="3340045" y="1167044"/>
                </a:cubicBezTo>
                <a:cubicBezTo>
                  <a:pt x="3340045" y="1168866"/>
                  <a:pt x="3341867" y="1168866"/>
                  <a:pt x="3340045" y="1170688"/>
                </a:cubicBezTo>
                <a:cubicBezTo>
                  <a:pt x="3336401" y="1172510"/>
                  <a:pt x="3334579" y="1170688"/>
                  <a:pt x="3332756" y="1172510"/>
                </a:cubicBezTo>
                <a:cubicBezTo>
                  <a:pt x="3338223" y="1172510"/>
                  <a:pt x="3338223" y="1177977"/>
                  <a:pt x="3336401" y="1181621"/>
                </a:cubicBezTo>
                <a:cubicBezTo>
                  <a:pt x="3341867" y="1181621"/>
                  <a:pt x="3347334" y="1181621"/>
                  <a:pt x="3352800" y="1179799"/>
                </a:cubicBezTo>
                <a:cubicBezTo>
                  <a:pt x="3352800" y="1179799"/>
                  <a:pt x="3352800" y="1177977"/>
                  <a:pt x="3350978" y="1176155"/>
                </a:cubicBezTo>
                <a:cubicBezTo>
                  <a:pt x="3356445" y="1170688"/>
                  <a:pt x="3365556" y="1172510"/>
                  <a:pt x="3367378" y="1177977"/>
                </a:cubicBezTo>
                <a:lnTo>
                  <a:pt x="3367112" y="1179977"/>
                </a:lnTo>
                <a:lnTo>
                  <a:pt x="3361911" y="1183443"/>
                </a:lnTo>
                <a:lnTo>
                  <a:pt x="3364257" y="1184526"/>
                </a:lnTo>
                <a:lnTo>
                  <a:pt x="3369318" y="1195011"/>
                </a:lnTo>
                <a:lnTo>
                  <a:pt x="3365556" y="1198021"/>
                </a:lnTo>
                <a:lnTo>
                  <a:pt x="3366446" y="1198614"/>
                </a:lnTo>
                <a:lnTo>
                  <a:pt x="3359862" y="1202804"/>
                </a:lnTo>
                <a:cubicBezTo>
                  <a:pt x="3357357" y="1205765"/>
                  <a:pt x="3355534" y="1209865"/>
                  <a:pt x="3356445" y="1214420"/>
                </a:cubicBezTo>
                <a:cubicBezTo>
                  <a:pt x="3356445" y="1218065"/>
                  <a:pt x="3350978" y="1210776"/>
                  <a:pt x="3350978" y="1216242"/>
                </a:cubicBezTo>
                <a:cubicBezTo>
                  <a:pt x="3352800" y="1223531"/>
                  <a:pt x="3352800" y="1227175"/>
                  <a:pt x="3347334" y="1230820"/>
                </a:cubicBezTo>
                <a:cubicBezTo>
                  <a:pt x="3352800" y="1232642"/>
                  <a:pt x="3358267" y="1230820"/>
                  <a:pt x="3361911" y="1228998"/>
                </a:cubicBezTo>
                <a:cubicBezTo>
                  <a:pt x="3361911" y="1227175"/>
                  <a:pt x="3361911" y="1227175"/>
                  <a:pt x="3360089" y="1225353"/>
                </a:cubicBezTo>
                <a:cubicBezTo>
                  <a:pt x="3361911" y="1225353"/>
                  <a:pt x="3365556" y="1223531"/>
                  <a:pt x="3367378" y="1225353"/>
                </a:cubicBezTo>
                <a:cubicBezTo>
                  <a:pt x="3372844" y="1234464"/>
                  <a:pt x="3374666" y="1230820"/>
                  <a:pt x="3383777" y="1232642"/>
                </a:cubicBezTo>
                <a:cubicBezTo>
                  <a:pt x="3380133" y="1228998"/>
                  <a:pt x="3387422" y="1228998"/>
                  <a:pt x="3385600" y="1225353"/>
                </a:cubicBezTo>
                <a:cubicBezTo>
                  <a:pt x="3390155" y="1222620"/>
                  <a:pt x="3396533" y="1220798"/>
                  <a:pt x="3401316" y="1221709"/>
                </a:cubicBezTo>
                <a:lnTo>
                  <a:pt x="3405028" y="1229408"/>
                </a:lnTo>
                <a:lnTo>
                  <a:pt x="3400177" y="1232642"/>
                </a:lnTo>
                <a:cubicBezTo>
                  <a:pt x="3400177" y="1233553"/>
                  <a:pt x="3400177" y="1234920"/>
                  <a:pt x="3400861" y="1235830"/>
                </a:cubicBezTo>
                <a:lnTo>
                  <a:pt x="3400934" y="1235837"/>
                </a:lnTo>
                <a:lnTo>
                  <a:pt x="3398355" y="1236286"/>
                </a:lnTo>
                <a:cubicBezTo>
                  <a:pt x="3407466" y="1241753"/>
                  <a:pt x="3418399" y="1239931"/>
                  <a:pt x="3427510" y="1238108"/>
                </a:cubicBezTo>
                <a:cubicBezTo>
                  <a:pt x="3431154" y="1238108"/>
                  <a:pt x="3422043" y="1239931"/>
                  <a:pt x="3423865" y="1243575"/>
                </a:cubicBezTo>
                <a:cubicBezTo>
                  <a:pt x="3427510" y="1254508"/>
                  <a:pt x="3425687" y="1263619"/>
                  <a:pt x="3434798" y="1270908"/>
                </a:cubicBezTo>
                <a:cubicBezTo>
                  <a:pt x="3438443" y="1272730"/>
                  <a:pt x="3440265" y="1270908"/>
                  <a:pt x="3440265" y="1269085"/>
                </a:cubicBezTo>
                <a:cubicBezTo>
                  <a:pt x="3440265" y="1261797"/>
                  <a:pt x="3434798" y="1256330"/>
                  <a:pt x="3432976" y="1249042"/>
                </a:cubicBezTo>
                <a:cubicBezTo>
                  <a:pt x="3436621" y="1250864"/>
                  <a:pt x="3440265" y="1245397"/>
                  <a:pt x="3443909" y="1247219"/>
                </a:cubicBezTo>
                <a:cubicBezTo>
                  <a:pt x="3445731" y="1249042"/>
                  <a:pt x="3443909" y="1250864"/>
                  <a:pt x="3445731" y="1252686"/>
                </a:cubicBezTo>
                <a:cubicBezTo>
                  <a:pt x="3447553" y="1258152"/>
                  <a:pt x="3449376" y="1252686"/>
                  <a:pt x="3451198" y="1250864"/>
                </a:cubicBezTo>
                <a:cubicBezTo>
                  <a:pt x="3449376" y="1258152"/>
                  <a:pt x="3451198" y="1259975"/>
                  <a:pt x="3454842" y="1265441"/>
                </a:cubicBezTo>
                <a:cubicBezTo>
                  <a:pt x="3445731" y="1267263"/>
                  <a:pt x="3456664" y="1272730"/>
                  <a:pt x="3453020" y="1278196"/>
                </a:cubicBezTo>
                <a:cubicBezTo>
                  <a:pt x="3451198" y="1270908"/>
                  <a:pt x="3445731" y="1276374"/>
                  <a:pt x="3443909" y="1276374"/>
                </a:cubicBezTo>
                <a:cubicBezTo>
                  <a:pt x="3445731" y="1278196"/>
                  <a:pt x="3443909" y="1280018"/>
                  <a:pt x="3445731" y="1281841"/>
                </a:cubicBezTo>
                <a:cubicBezTo>
                  <a:pt x="3449376" y="1283663"/>
                  <a:pt x="3453020" y="1276374"/>
                  <a:pt x="3456664" y="1278196"/>
                </a:cubicBezTo>
                <a:cubicBezTo>
                  <a:pt x="3458487" y="1278196"/>
                  <a:pt x="3459853" y="1280474"/>
                  <a:pt x="3459626" y="1283207"/>
                </a:cubicBezTo>
                <a:lnTo>
                  <a:pt x="3453113" y="1290842"/>
                </a:lnTo>
                <a:lnTo>
                  <a:pt x="3452890" y="1290430"/>
                </a:lnTo>
                <a:lnTo>
                  <a:pt x="3451198" y="1283663"/>
                </a:lnTo>
                <a:cubicBezTo>
                  <a:pt x="3447553" y="1281841"/>
                  <a:pt x="3445731" y="1285485"/>
                  <a:pt x="3443909" y="1287307"/>
                </a:cubicBezTo>
                <a:cubicBezTo>
                  <a:pt x="3445731" y="1289129"/>
                  <a:pt x="3445731" y="1290951"/>
                  <a:pt x="3447553" y="1292774"/>
                </a:cubicBezTo>
                <a:lnTo>
                  <a:pt x="3450098" y="1291925"/>
                </a:lnTo>
                <a:lnTo>
                  <a:pt x="3450059" y="1292090"/>
                </a:lnTo>
                <a:lnTo>
                  <a:pt x="3451261" y="1294586"/>
                </a:lnTo>
                <a:lnTo>
                  <a:pt x="3451198" y="1294596"/>
                </a:lnTo>
                <a:cubicBezTo>
                  <a:pt x="3447553" y="1300062"/>
                  <a:pt x="3453020" y="1303707"/>
                  <a:pt x="3458487" y="1305529"/>
                </a:cubicBezTo>
                <a:cubicBezTo>
                  <a:pt x="3456664" y="1301885"/>
                  <a:pt x="3458487" y="1296418"/>
                  <a:pt x="3460309" y="1294596"/>
                </a:cubicBezTo>
                <a:cubicBezTo>
                  <a:pt x="3462131" y="1294596"/>
                  <a:pt x="3465775" y="1294596"/>
                  <a:pt x="3467597" y="1296418"/>
                </a:cubicBezTo>
                <a:cubicBezTo>
                  <a:pt x="3473064" y="1303707"/>
                  <a:pt x="3462131" y="1307351"/>
                  <a:pt x="3465775" y="1310995"/>
                </a:cubicBezTo>
                <a:cubicBezTo>
                  <a:pt x="3467597" y="1312818"/>
                  <a:pt x="3471242" y="1309173"/>
                  <a:pt x="3474886" y="1307351"/>
                </a:cubicBezTo>
                <a:cubicBezTo>
                  <a:pt x="3473064" y="1305529"/>
                  <a:pt x="3471242" y="1305529"/>
                  <a:pt x="3471242" y="1303707"/>
                </a:cubicBezTo>
                <a:cubicBezTo>
                  <a:pt x="3473064" y="1300062"/>
                  <a:pt x="3480353" y="1300062"/>
                  <a:pt x="3480353" y="1301885"/>
                </a:cubicBezTo>
                <a:cubicBezTo>
                  <a:pt x="3487641" y="1310995"/>
                  <a:pt x="3469419" y="1310995"/>
                  <a:pt x="3463953" y="1316462"/>
                </a:cubicBezTo>
                <a:cubicBezTo>
                  <a:pt x="3473064" y="1321929"/>
                  <a:pt x="3480353" y="1316462"/>
                  <a:pt x="3487641" y="1310995"/>
                </a:cubicBezTo>
                <a:cubicBezTo>
                  <a:pt x="3494930" y="1307351"/>
                  <a:pt x="3504041" y="1316462"/>
                  <a:pt x="3514974" y="1318284"/>
                </a:cubicBezTo>
                <a:cubicBezTo>
                  <a:pt x="3511330" y="1320106"/>
                  <a:pt x="3504041" y="1316462"/>
                  <a:pt x="3502219" y="1320106"/>
                </a:cubicBezTo>
                <a:cubicBezTo>
                  <a:pt x="3502219" y="1321929"/>
                  <a:pt x="3504041" y="1325573"/>
                  <a:pt x="3505863" y="1327395"/>
                </a:cubicBezTo>
                <a:cubicBezTo>
                  <a:pt x="3500397" y="1327395"/>
                  <a:pt x="3500397" y="1320106"/>
                  <a:pt x="3494930" y="1318284"/>
                </a:cubicBezTo>
                <a:cubicBezTo>
                  <a:pt x="3482175" y="1318284"/>
                  <a:pt x="3476708" y="1329217"/>
                  <a:pt x="3478530" y="1338328"/>
                </a:cubicBezTo>
                <a:cubicBezTo>
                  <a:pt x="3478530" y="1340150"/>
                  <a:pt x="3478530" y="1343795"/>
                  <a:pt x="3480353" y="1345617"/>
                </a:cubicBezTo>
                <a:cubicBezTo>
                  <a:pt x="3473520" y="1338784"/>
                  <a:pt x="3473861" y="1327850"/>
                  <a:pt x="3467541" y="1327423"/>
                </a:cubicBezTo>
                <a:lnTo>
                  <a:pt x="3464015" y="1328831"/>
                </a:lnTo>
                <a:lnTo>
                  <a:pt x="3464864" y="1323523"/>
                </a:lnTo>
                <a:cubicBezTo>
                  <a:pt x="3463498" y="1322385"/>
                  <a:pt x="3461220" y="1321929"/>
                  <a:pt x="3460309" y="1321929"/>
                </a:cubicBezTo>
                <a:cubicBezTo>
                  <a:pt x="3457576" y="1324662"/>
                  <a:pt x="3458031" y="1326028"/>
                  <a:pt x="3459398" y="1326940"/>
                </a:cubicBezTo>
                <a:lnTo>
                  <a:pt x="3463552" y="1329016"/>
                </a:lnTo>
                <a:lnTo>
                  <a:pt x="3458487" y="1331039"/>
                </a:lnTo>
                <a:lnTo>
                  <a:pt x="3465673" y="1332941"/>
                </a:lnTo>
                <a:lnTo>
                  <a:pt x="3459626" y="1337645"/>
                </a:lnTo>
                <a:lnTo>
                  <a:pt x="3460107" y="1341972"/>
                </a:lnTo>
                <a:lnTo>
                  <a:pt x="3456664" y="1341972"/>
                </a:lnTo>
                <a:cubicBezTo>
                  <a:pt x="3454842" y="1343795"/>
                  <a:pt x="3454842" y="1349261"/>
                  <a:pt x="3456664" y="1351083"/>
                </a:cubicBezTo>
                <a:cubicBezTo>
                  <a:pt x="3460309" y="1352905"/>
                  <a:pt x="3463953" y="1352905"/>
                  <a:pt x="3469419" y="1352905"/>
                </a:cubicBezTo>
                <a:cubicBezTo>
                  <a:pt x="3469419" y="1349261"/>
                  <a:pt x="3469419" y="1347439"/>
                  <a:pt x="3471242" y="1345617"/>
                </a:cubicBezTo>
                <a:cubicBezTo>
                  <a:pt x="3474886" y="1349261"/>
                  <a:pt x="3478530" y="1354728"/>
                  <a:pt x="3482175" y="1358372"/>
                </a:cubicBezTo>
                <a:cubicBezTo>
                  <a:pt x="3469419" y="1352905"/>
                  <a:pt x="3460309" y="1358372"/>
                  <a:pt x="3449376" y="1365661"/>
                </a:cubicBezTo>
                <a:cubicBezTo>
                  <a:pt x="3447553" y="1362016"/>
                  <a:pt x="3453020" y="1354728"/>
                  <a:pt x="3445731" y="1351083"/>
                </a:cubicBezTo>
                <a:cubicBezTo>
                  <a:pt x="3445731" y="1354728"/>
                  <a:pt x="3445731" y="1360194"/>
                  <a:pt x="3447553" y="1365661"/>
                </a:cubicBezTo>
                <a:cubicBezTo>
                  <a:pt x="3440265" y="1363838"/>
                  <a:pt x="3438443" y="1356550"/>
                  <a:pt x="3442087" y="1351083"/>
                </a:cubicBezTo>
                <a:cubicBezTo>
                  <a:pt x="3434798" y="1358372"/>
                  <a:pt x="3429332" y="1356550"/>
                  <a:pt x="3422043" y="1360194"/>
                </a:cubicBezTo>
                <a:cubicBezTo>
                  <a:pt x="3418399" y="1360194"/>
                  <a:pt x="3422043" y="1369305"/>
                  <a:pt x="3420221" y="1374771"/>
                </a:cubicBezTo>
                <a:cubicBezTo>
                  <a:pt x="3420221" y="1374771"/>
                  <a:pt x="3418399" y="1372949"/>
                  <a:pt x="3418399" y="1372949"/>
                </a:cubicBezTo>
                <a:cubicBezTo>
                  <a:pt x="3416577" y="1371127"/>
                  <a:pt x="3414754" y="1372949"/>
                  <a:pt x="3414754" y="1374771"/>
                </a:cubicBezTo>
                <a:cubicBezTo>
                  <a:pt x="3423865" y="1380238"/>
                  <a:pt x="3429332" y="1385705"/>
                  <a:pt x="3436621" y="1374771"/>
                </a:cubicBezTo>
                <a:cubicBezTo>
                  <a:pt x="3436621" y="1376594"/>
                  <a:pt x="3436621" y="1380238"/>
                  <a:pt x="3438443" y="1380238"/>
                </a:cubicBezTo>
                <a:cubicBezTo>
                  <a:pt x="3445731" y="1380238"/>
                  <a:pt x="3451198" y="1374771"/>
                  <a:pt x="3454842" y="1369305"/>
                </a:cubicBezTo>
                <a:cubicBezTo>
                  <a:pt x="3453020" y="1380238"/>
                  <a:pt x="3463953" y="1376594"/>
                  <a:pt x="3471242" y="1374771"/>
                </a:cubicBezTo>
                <a:cubicBezTo>
                  <a:pt x="3469419" y="1372949"/>
                  <a:pt x="3467597" y="1369305"/>
                  <a:pt x="3469419" y="1369305"/>
                </a:cubicBezTo>
                <a:cubicBezTo>
                  <a:pt x="3487641" y="1369305"/>
                  <a:pt x="3504041" y="1372949"/>
                  <a:pt x="3520440" y="1362016"/>
                </a:cubicBezTo>
                <a:lnTo>
                  <a:pt x="3515849" y="1376708"/>
                </a:lnTo>
                <a:lnTo>
                  <a:pt x="3511330" y="1374771"/>
                </a:lnTo>
                <a:cubicBezTo>
                  <a:pt x="3509507" y="1380238"/>
                  <a:pt x="3513152" y="1380238"/>
                  <a:pt x="3513152" y="1383882"/>
                </a:cubicBezTo>
                <a:lnTo>
                  <a:pt x="3513815" y="1383220"/>
                </a:lnTo>
                <a:lnTo>
                  <a:pt x="3511330" y="1391171"/>
                </a:lnTo>
                <a:cubicBezTo>
                  <a:pt x="3507685" y="1389349"/>
                  <a:pt x="3509507" y="1385705"/>
                  <a:pt x="3509507" y="1383882"/>
                </a:cubicBezTo>
                <a:lnTo>
                  <a:pt x="3504998" y="1390015"/>
                </a:lnTo>
                <a:lnTo>
                  <a:pt x="3506091" y="1386615"/>
                </a:lnTo>
                <a:cubicBezTo>
                  <a:pt x="3505408" y="1384338"/>
                  <a:pt x="3504041" y="1382060"/>
                  <a:pt x="3504041" y="1380238"/>
                </a:cubicBezTo>
                <a:cubicBezTo>
                  <a:pt x="3503130" y="1380238"/>
                  <a:pt x="3502675" y="1382516"/>
                  <a:pt x="3502675" y="1385249"/>
                </a:cubicBezTo>
                <a:lnTo>
                  <a:pt x="3503807" y="1391667"/>
                </a:lnTo>
                <a:lnTo>
                  <a:pt x="3502219" y="1402104"/>
                </a:lnTo>
                <a:lnTo>
                  <a:pt x="3493480" y="1398609"/>
                </a:lnTo>
                <a:lnTo>
                  <a:pt x="3494475" y="1394132"/>
                </a:lnTo>
                <a:cubicBezTo>
                  <a:pt x="3494019" y="1392082"/>
                  <a:pt x="3493108" y="1390260"/>
                  <a:pt x="3493108" y="1389349"/>
                </a:cubicBezTo>
                <a:cubicBezTo>
                  <a:pt x="3494930" y="1385705"/>
                  <a:pt x="3498574" y="1382060"/>
                  <a:pt x="3502219" y="1380238"/>
                </a:cubicBezTo>
                <a:cubicBezTo>
                  <a:pt x="3500397" y="1378416"/>
                  <a:pt x="3491286" y="1382060"/>
                  <a:pt x="3489463" y="1382060"/>
                </a:cubicBezTo>
                <a:cubicBezTo>
                  <a:pt x="3488552" y="1385705"/>
                  <a:pt x="3489008" y="1388893"/>
                  <a:pt x="3489919" y="1391854"/>
                </a:cubicBezTo>
                <a:lnTo>
                  <a:pt x="3492844" y="1399583"/>
                </a:lnTo>
                <a:lnTo>
                  <a:pt x="3491391" y="1405759"/>
                </a:lnTo>
                <a:lnTo>
                  <a:pt x="3491286" y="1402104"/>
                </a:lnTo>
                <a:cubicBezTo>
                  <a:pt x="3482175" y="1403926"/>
                  <a:pt x="3476708" y="1413037"/>
                  <a:pt x="3476708" y="1420326"/>
                </a:cubicBezTo>
                <a:cubicBezTo>
                  <a:pt x="3482175" y="1411215"/>
                  <a:pt x="3485819" y="1423970"/>
                  <a:pt x="3493108" y="1416681"/>
                </a:cubicBezTo>
                <a:cubicBezTo>
                  <a:pt x="3493108" y="1413948"/>
                  <a:pt x="3492197" y="1412126"/>
                  <a:pt x="3491514" y="1410076"/>
                </a:cubicBezTo>
                <a:lnTo>
                  <a:pt x="3491414" y="1406571"/>
                </a:lnTo>
                <a:lnTo>
                  <a:pt x="3494930" y="1416681"/>
                </a:lnTo>
                <a:cubicBezTo>
                  <a:pt x="3496752" y="1411215"/>
                  <a:pt x="3496752" y="1407571"/>
                  <a:pt x="3502219" y="1409393"/>
                </a:cubicBezTo>
                <a:cubicBezTo>
                  <a:pt x="3502219" y="1411215"/>
                  <a:pt x="3504041" y="1413037"/>
                  <a:pt x="3504041" y="1414859"/>
                </a:cubicBezTo>
                <a:cubicBezTo>
                  <a:pt x="3505863" y="1418504"/>
                  <a:pt x="3504041" y="1422148"/>
                  <a:pt x="3502219" y="1425792"/>
                </a:cubicBezTo>
                <a:cubicBezTo>
                  <a:pt x="3502219" y="1422148"/>
                  <a:pt x="3504041" y="1416681"/>
                  <a:pt x="3500397" y="1413037"/>
                </a:cubicBezTo>
                <a:cubicBezTo>
                  <a:pt x="3497663" y="1425337"/>
                  <a:pt x="3503130" y="1439687"/>
                  <a:pt x="3496041" y="1447630"/>
                </a:cubicBezTo>
                <a:lnTo>
                  <a:pt x="3495477" y="1447887"/>
                </a:lnTo>
                <a:lnTo>
                  <a:pt x="3495841" y="1445608"/>
                </a:lnTo>
                <a:cubicBezTo>
                  <a:pt x="3494930" y="1444014"/>
                  <a:pt x="3493108" y="1443103"/>
                  <a:pt x="3491286" y="1444014"/>
                </a:cubicBezTo>
                <a:cubicBezTo>
                  <a:pt x="3490375" y="1446747"/>
                  <a:pt x="3490830" y="1448114"/>
                  <a:pt x="3491741" y="1449025"/>
                </a:cubicBezTo>
                <a:lnTo>
                  <a:pt x="3492225" y="1449371"/>
                </a:lnTo>
                <a:lnTo>
                  <a:pt x="3483997" y="1453125"/>
                </a:lnTo>
                <a:cubicBezTo>
                  <a:pt x="3483997" y="1451303"/>
                  <a:pt x="3483997" y="1449481"/>
                  <a:pt x="3482175" y="1449481"/>
                </a:cubicBezTo>
                <a:cubicBezTo>
                  <a:pt x="3473064" y="1449481"/>
                  <a:pt x="3467597" y="1454947"/>
                  <a:pt x="3460309" y="1460414"/>
                </a:cubicBezTo>
                <a:cubicBezTo>
                  <a:pt x="3458487" y="1454947"/>
                  <a:pt x="3460309" y="1445836"/>
                  <a:pt x="3454842" y="1444014"/>
                </a:cubicBezTo>
                <a:cubicBezTo>
                  <a:pt x="3445731" y="1442192"/>
                  <a:pt x="3445731" y="1456769"/>
                  <a:pt x="3442087" y="1462236"/>
                </a:cubicBezTo>
                <a:cubicBezTo>
                  <a:pt x="3438443" y="1467702"/>
                  <a:pt x="3438443" y="1462236"/>
                  <a:pt x="3434798" y="1458592"/>
                </a:cubicBezTo>
                <a:cubicBezTo>
                  <a:pt x="3440265" y="1456769"/>
                  <a:pt x="3440265" y="1449481"/>
                  <a:pt x="3442087" y="1444014"/>
                </a:cubicBezTo>
                <a:cubicBezTo>
                  <a:pt x="3443909" y="1442192"/>
                  <a:pt x="3447553" y="1442192"/>
                  <a:pt x="3449376" y="1442192"/>
                </a:cubicBezTo>
                <a:cubicBezTo>
                  <a:pt x="3438443" y="1433081"/>
                  <a:pt x="3434798" y="1451303"/>
                  <a:pt x="3429332" y="1456769"/>
                </a:cubicBezTo>
                <a:cubicBezTo>
                  <a:pt x="3423865" y="1462236"/>
                  <a:pt x="3418399" y="1454947"/>
                  <a:pt x="3416577" y="1449481"/>
                </a:cubicBezTo>
                <a:cubicBezTo>
                  <a:pt x="3412933" y="1452214"/>
                  <a:pt x="3408833" y="1454492"/>
                  <a:pt x="3405416" y="1457225"/>
                </a:cubicBezTo>
                <a:lnTo>
                  <a:pt x="3399332" y="1466253"/>
                </a:lnTo>
                <a:lnTo>
                  <a:pt x="3398583" y="1464969"/>
                </a:lnTo>
                <a:cubicBezTo>
                  <a:pt x="3397899" y="1464513"/>
                  <a:pt x="3397444" y="1464058"/>
                  <a:pt x="3398355" y="1462236"/>
                </a:cubicBezTo>
                <a:cubicBezTo>
                  <a:pt x="3395622" y="1462236"/>
                  <a:pt x="3395166" y="1464514"/>
                  <a:pt x="3395849" y="1466336"/>
                </a:cubicBezTo>
                <a:lnTo>
                  <a:pt x="3398675" y="1467228"/>
                </a:lnTo>
                <a:lnTo>
                  <a:pt x="3398355" y="1467702"/>
                </a:lnTo>
                <a:cubicBezTo>
                  <a:pt x="3398355" y="1471347"/>
                  <a:pt x="3400177" y="1471347"/>
                  <a:pt x="3401999" y="1473169"/>
                </a:cubicBezTo>
                <a:cubicBezTo>
                  <a:pt x="3396532" y="1465880"/>
                  <a:pt x="3405643" y="1465880"/>
                  <a:pt x="3405643" y="1460414"/>
                </a:cubicBezTo>
                <a:cubicBezTo>
                  <a:pt x="3412932" y="1465880"/>
                  <a:pt x="3398355" y="1478635"/>
                  <a:pt x="3409288" y="1480458"/>
                </a:cubicBezTo>
                <a:cubicBezTo>
                  <a:pt x="3412932" y="1480458"/>
                  <a:pt x="3416577" y="1478635"/>
                  <a:pt x="3418399" y="1474991"/>
                </a:cubicBezTo>
                <a:cubicBezTo>
                  <a:pt x="3416577" y="1482280"/>
                  <a:pt x="3425687" y="1485924"/>
                  <a:pt x="3431154" y="1480458"/>
                </a:cubicBezTo>
                <a:cubicBezTo>
                  <a:pt x="3434798" y="1478635"/>
                  <a:pt x="3434798" y="1471347"/>
                  <a:pt x="3436621" y="1467702"/>
                </a:cubicBezTo>
                <a:cubicBezTo>
                  <a:pt x="3442087" y="1473169"/>
                  <a:pt x="3436621" y="1476813"/>
                  <a:pt x="3431154" y="1482280"/>
                </a:cubicBezTo>
                <a:cubicBezTo>
                  <a:pt x="3436621" y="1485924"/>
                  <a:pt x="3445731" y="1485924"/>
                  <a:pt x="3453020" y="1478635"/>
                </a:cubicBezTo>
                <a:cubicBezTo>
                  <a:pt x="3455754" y="1482279"/>
                  <a:pt x="3459854" y="1485013"/>
                  <a:pt x="3463270" y="1488201"/>
                </a:cubicBezTo>
                <a:lnTo>
                  <a:pt x="3464156" y="1489973"/>
                </a:lnTo>
                <a:lnTo>
                  <a:pt x="3463498" y="1489340"/>
                </a:lnTo>
                <a:cubicBezTo>
                  <a:pt x="3460764" y="1488657"/>
                  <a:pt x="3457576" y="1489568"/>
                  <a:pt x="3454842" y="1493213"/>
                </a:cubicBezTo>
                <a:lnTo>
                  <a:pt x="3459775" y="1495424"/>
                </a:lnTo>
                <a:lnTo>
                  <a:pt x="3453020" y="1496857"/>
                </a:lnTo>
                <a:cubicBezTo>
                  <a:pt x="3445731" y="1507790"/>
                  <a:pt x="3460309" y="1507790"/>
                  <a:pt x="3458487" y="1516901"/>
                </a:cubicBezTo>
                <a:cubicBezTo>
                  <a:pt x="3451198" y="1509612"/>
                  <a:pt x="3445731" y="1496857"/>
                  <a:pt x="3431154" y="1498679"/>
                </a:cubicBezTo>
                <a:cubicBezTo>
                  <a:pt x="3431154" y="1493213"/>
                  <a:pt x="3425687" y="1491391"/>
                  <a:pt x="3423865" y="1491391"/>
                </a:cubicBezTo>
                <a:cubicBezTo>
                  <a:pt x="3420221" y="1491391"/>
                  <a:pt x="3416577" y="1495035"/>
                  <a:pt x="3414754" y="1496857"/>
                </a:cubicBezTo>
                <a:cubicBezTo>
                  <a:pt x="3414754" y="1495035"/>
                  <a:pt x="3414754" y="1491391"/>
                  <a:pt x="3412932" y="1491391"/>
                </a:cubicBezTo>
                <a:cubicBezTo>
                  <a:pt x="3409288" y="1489568"/>
                  <a:pt x="3407466" y="1491391"/>
                  <a:pt x="3405643" y="1495035"/>
                </a:cubicBezTo>
                <a:cubicBezTo>
                  <a:pt x="3405643" y="1498679"/>
                  <a:pt x="3405643" y="1500501"/>
                  <a:pt x="3407466" y="1502324"/>
                </a:cubicBezTo>
                <a:lnTo>
                  <a:pt x="3406859" y="1503134"/>
                </a:lnTo>
                <a:lnTo>
                  <a:pt x="3403821" y="1496857"/>
                </a:lnTo>
                <a:cubicBezTo>
                  <a:pt x="3407466" y="1487746"/>
                  <a:pt x="3403821" y="1484102"/>
                  <a:pt x="3396532" y="1482280"/>
                </a:cubicBezTo>
                <a:cubicBezTo>
                  <a:pt x="3392888" y="1482280"/>
                  <a:pt x="3398355" y="1487746"/>
                  <a:pt x="3396532" y="1489568"/>
                </a:cubicBezTo>
                <a:cubicBezTo>
                  <a:pt x="3394710" y="1489568"/>
                  <a:pt x="3394710" y="1480458"/>
                  <a:pt x="3392888" y="1484102"/>
                </a:cubicBezTo>
                <a:cubicBezTo>
                  <a:pt x="3389244" y="1489568"/>
                  <a:pt x="3400177" y="1491391"/>
                  <a:pt x="3400177" y="1498679"/>
                </a:cubicBezTo>
                <a:lnTo>
                  <a:pt x="3394755" y="1500486"/>
                </a:lnTo>
                <a:lnTo>
                  <a:pt x="3394710" y="1498679"/>
                </a:lnTo>
                <a:cubicBezTo>
                  <a:pt x="3394710" y="1500501"/>
                  <a:pt x="3394710" y="1500501"/>
                  <a:pt x="3394710" y="1500501"/>
                </a:cubicBezTo>
                <a:lnTo>
                  <a:pt x="3394755" y="1500486"/>
                </a:lnTo>
                <a:lnTo>
                  <a:pt x="3394938" y="1507790"/>
                </a:lnTo>
                <a:cubicBezTo>
                  <a:pt x="3396533" y="1510067"/>
                  <a:pt x="3399266" y="1511434"/>
                  <a:pt x="3401999" y="1511434"/>
                </a:cubicBezTo>
                <a:lnTo>
                  <a:pt x="3403725" y="1508845"/>
                </a:lnTo>
                <a:lnTo>
                  <a:pt x="3406099" y="1507790"/>
                </a:lnTo>
                <a:cubicBezTo>
                  <a:pt x="3407010" y="1507790"/>
                  <a:pt x="3407466" y="1508701"/>
                  <a:pt x="3407466" y="1511434"/>
                </a:cubicBezTo>
                <a:lnTo>
                  <a:pt x="3408417" y="1508741"/>
                </a:lnTo>
                <a:lnTo>
                  <a:pt x="3409288" y="1509612"/>
                </a:lnTo>
                <a:lnTo>
                  <a:pt x="3408693" y="1507958"/>
                </a:lnTo>
                <a:lnTo>
                  <a:pt x="3408833" y="1507562"/>
                </a:lnTo>
                <a:cubicBezTo>
                  <a:pt x="3408377" y="1506423"/>
                  <a:pt x="3407466" y="1505057"/>
                  <a:pt x="3407466" y="1502324"/>
                </a:cubicBezTo>
                <a:cubicBezTo>
                  <a:pt x="3409288" y="1505968"/>
                  <a:pt x="3411110" y="1507790"/>
                  <a:pt x="3412932" y="1509612"/>
                </a:cubicBezTo>
                <a:cubicBezTo>
                  <a:pt x="3414754" y="1505968"/>
                  <a:pt x="3412932" y="1502324"/>
                  <a:pt x="3416577" y="1498679"/>
                </a:cubicBezTo>
                <a:cubicBezTo>
                  <a:pt x="3416577" y="1500501"/>
                  <a:pt x="3418399" y="1502324"/>
                  <a:pt x="3420221" y="1502324"/>
                </a:cubicBezTo>
                <a:cubicBezTo>
                  <a:pt x="3420221" y="1498679"/>
                  <a:pt x="3420221" y="1498679"/>
                  <a:pt x="3422043" y="1495035"/>
                </a:cubicBezTo>
                <a:cubicBezTo>
                  <a:pt x="3426599" y="1497768"/>
                  <a:pt x="3428876" y="1501868"/>
                  <a:pt x="3430243" y="1506651"/>
                </a:cubicBezTo>
                <a:lnTo>
                  <a:pt x="3430935" y="1510632"/>
                </a:lnTo>
                <a:lnTo>
                  <a:pt x="3429332" y="1511434"/>
                </a:lnTo>
                <a:lnTo>
                  <a:pt x="3431313" y="1512806"/>
                </a:lnTo>
                <a:lnTo>
                  <a:pt x="3432976" y="1522368"/>
                </a:lnTo>
                <a:cubicBezTo>
                  <a:pt x="3434798" y="1522368"/>
                  <a:pt x="3440265" y="1522368"/>
                  <a:pt x="3440265" y="1524190"/>
                </a:cubicBezTo>
                <a:cubicBezTo>
                  <a:pt x="3440265" y="1529656"/>
                  <a:pt x="3447553" y="1535123"/>
                  <a:pt x="3442087" y="1538767"/>
                </a:cubicBezTo>
                <a:cubicBezTo>
                  <a:pt x="3434798" y="1544234"/>
                  <a:pt x="3425687" y="1542412"/>
                  <a:pt x="3423865" y="1533301"/>
                </a:cubicBezTo>
                <a:cubicBezTo>
                  <a:pt x="3422043" y="1533301"/>
                  <a:pt x="3420221" y="1535123"/>
                  <a:pt x="3420221" y="1536945"/>
                </a:cubicBezTo>
                <a:cubicBezTo>
                  <a:pt x="3420221" y="1542412"/>
                  <a:pt x="3423865" y="1546056"/>
                  <a:pt x="3423865" y="1549700"/>
                </a:cubicBezTo>
                <a:cubicBezTo>
                  <a:pt x="3418399" y="1542412"/>
                  <a:pt x="3412932" y="1536945"/>
                  <a:pt x="3407466" y="1529656"/>
                </a:cubicBezTo>
                <a:cubicBezTo>
                  <a:pt x="3409288" y="1526012"/>
                  <a:pt x="3409288" y="1522368"/>
                  <a:pt x="3409288" y="1518723"/>
                </a:cubicBezTo>
                <a:cubicBezTo>
                  <a:pt x="3403821" y="1522368"/>
                  <a:pt x="3403821" y="1524190"/>
                  <a:pt x="3405643" y="1526012"/>
                </a:cubicBezTo>
                <a:cubicBezTo>
                  <a:pt x="3403821" y="1524190"/>
                  <a:pt x="3400177" y="1520545"/>
                  <a:pt x="3398355" y="1518723"/>
                </a:cubicBezTo>
                <a:cubicBezTo>
                  <a:pt x="3398355" y="1515079"/>
                  <a:pt x="3396532" y="1513257"/>
                  <a:pt x="3396532" y="1511434"/>
                </a:cubicBezTo>
                <a:cubicBezTo>
                  <a:pt x="3396532" y="1511434"/>
                  <a:pt x="3394710" y="1511434"/>
                  <a:pt x="3394710" y="1513257"/>
                </a:cubicBezTo>
                <a:cubicBezTo>
                  <a:pt x="3378311" y="1496857"/>
                  <a:pt x="3361911" y="1482280"/>
                  <a:pt x="3345512" y="1469525"/>
                </a:cubicBezTo>
                <a:cubicBezTo>
                  <a:pt x="3341867" y="1467702"/>
                  <a:pt x="3336401" y="1469525"/>
                  <a:pt x="3334579" y="1473169"/>
                </a:cubicBezTo>
                <a:cubicBezTo>
                  <a:pt x="3334579" y="1473169"/>
                  <a:pt x="3334579" y="1471347"/>
                  <a:pt x="3334579" y="1471347"/>
                </a:cubicBezTo>
                <a:lnTo>
                  <a:pt x="3330376" y="1474578"/>
                </a:lnTo>
                <a:lnTo>
                  <a:pt x="3329112" y="1471347"/>
                </a:lnTo>
                <a:cubicBezTo>
                  <a:pt x="3327290" y="1474991"/>
                  <a:pt x="3327290" y="1474991"/>
                  <a:pt x="3323646" y="1474991"/>
                </a:cubicBezTo>
                <a:cubicBezTo>
                  <a:pt x="3325468" y="1476813"/>
                  <a:pt x="3327290" y="1476813"/>
                  <a:pt x="3329112" y="1480458"/>
                </a:cubicBezTo>
                <a:lnTo>
                  <a:pt x="3329637" y="1479467"/>
                </a:lnTo>
                <a:lnTo>
                  <a:pt x="3330934" y="1484102"/>
                </a:lnTo>
                <a:cubicBezTo>
                  <a:pt x="3332756" y="1484102"/>
                  <a:pt x="3332756" y="1484102"/>
                  <a:pt x="3332756" y="1484102"/>
                </a:cubicBezTo>
                <a:cubicBezTo>
                  <a:pt x="3330934" y="1489568"/>
                  <a:pt x="3330934" y="1493213"/>
                  <a:pt x="3329112" y="1498679"/>
                </a:cubicBezTo>
                <a:cubicBezTo>
                  <a:pt x="3326379" y="1498679"/>
                  <a:pt x="3325013" y="1500046"/>
                  <a:pt x="3323646" y="1501868"/>
                </a:cubicBezTo>
                <a:lnTo>
                  <a:pt x="3320619" y="1505147"/>
                </a:lnTo>
                <a:lnTo>
                  <a:pt x="3316813" y="1502551"/>
                </a:lnTo>
                <a:cubicBezTo>
                  <a:pt x="3313624" y="1503235"/>
                  <a:pt x="3309979" y="1505057"/>
                  <a:pt x="3309068" y="1505968"/>
                </a:cubicBezTo>
                <a:cubicBezTo>
                  <a:pt x="3310890" y="1513257"/>
                  <a:pt x="3307246" y="1524190"/>
                  <a:pt x="3314535" y="1524190"/>
                </a:cubicBezTo>
                <a:cubicBezTo>
                  <a:pt x="3314535" y="1521456"/>
                  <a:pt x="3316357" y="1517812"/>
                  <a:pt x="3318180" y="1514395"/>
                </a:cubicBezTo>
                <a:lnTo>
                  <a:pt x="3320034" y="1510108"/>
                </a:lnTo>
                <a:lnTo>
                  <a:pt x="3325468" y="1516901"/>
                </a:lnTo>
                <a:cubicBezTo>
                  <a:pt x="3325468" y="1516901"/>
                  <a:pt x="3325468" y="1518723"/>
                  <a:pt x="3325468" y="1520545"/>
                </a:cubicBezTo>
                <a:lnTo>
                  <a:pt x="3323646" y="1521326"/>
                </a:lnTo>
                <a:lnTo>
                  <a:pt x="3323646" y="1516901"/>
                </a:lnTo>
                <a:lnTo>
                  <a:pt x="3322407" y="1521857"/>
                </a:lnTo>
                <a:lnTo>
                  <a:pt x="3312713" y="1526012"/>
                </a:lnTo>
                <a:cubicBezTo>
                  <a:pt x="3316357" y="1529656"/>
                  <a:pt x="3320001" y="1531478"/>
                  <a:pt x="3323646" y="1531478"/>
                </a:cubicBezTo>
                <a:cubicBezTo>
                  <a:pt x="3320001" y="1555167"/>
                  <a:pt x="3318179" y="1580677"/>
                  <a:pt x="3318179" y="1606188"/>
                </a:cubicBezTo>
                <a:cubicBezTo>
                  <a:pt x="3316357" y="1604365"/>
                  <a:pt x="3312713" y="1602543"/>
                  <a:pt x="3310890" y="1602543"/>
                </a:cubicBezTo>
                <a:cubicBezTo>
                  <a:pt x="3309068" y="1602543"/>
                  <a:pt x="3309068" y="1606188"/>
                  <a:pt x="3307246" y="1606188"/>
                </a:cubicBezTo>
                <a:cubicBezTo>
                  <a:pt x="3307246" y="1606188"/>
                  <a:pt x="3305424" y="1602543"/>
                  <a:pt x="3305424" y="1600721"/>
                </a:cubicBezTo>
                <a:cubicBezTo>
                  <a:pt x="3305424" y="1611654"/>
                  <a:pt x="3296313" y="1615298"/>
                  <a:pt x="3294491" y="1608010"/>
                </a:cubicBezTo>
                <a:cubicBezTo>
                  <a:pt x="3287202" y="1591610"/>
                  <a:pt x="3276269" y="1567922"/>
                  <a:pt x="3259869" y="1567922"/>
                </a:cubicBezTo>
                <a:lnTo>
                  <a:pt x="3245086" y="1568142"/>
                </a:lnTo>
                <a:lnTo>
                  <a:pt x="3245292" y="1567922"/>
                </a:lnTo>
                <a:cubicBezTo>
                  <a:pt x="3241648" y="1567922"/>
                  <a:pt x="3236181" y="1567922"/>
                  <a:pt x="3232537" y="1567922"/>
                </a:cubicBezTo>
                <a:lnTo>
                  <a:pt x="3236565" y="1572238"/>
                </a:lnTo>
                <a:lnTo>
                  <a:pt x="3230715" y="1575211"/>
                </a:lnTo>
                <a:cubicBezTo>
                  <a:pt x="3227071" y="1567922"/>
                  <a:pt x="3221604" y="1567922"/>
                  <a:pt x="3214315" y="1567922"/>
                </a:cubicBezTo>
                <a:lnTo>
                  <a:pt x="3207027" y="1575211"/>
                </a:lnTo>
                <a:lnTo>
                  <a:pt x="3196093" y="1571566"/>
                </a:lnTo>
                <a:cubicBezTo>
                  <a:pt x="3196093" y="1577033"/>
                  <a:pt x="3192449" y="1578855"/>
                  <a:pt x="3188805" y="1577033"/>
                </a:cubicBezTo>
                <a:cubicBezTo>
                  <a:pt x="3185160" y="1575211"/>
                  <a:pt x="3183338" y="1575211"/>
                  <a:pt x="3181516" y="1575211"/>
                </a:cubicBezTo>
                <a:cubicBezTo>
                  <a:pt x="3166939" y="1577033"/>
                  <a:pt x="3166939" y="1589788"/>
                  <a:pt x="3168761" y="1602543"/>
                </a:cubicBezTo>
                <a:lnTo>
                  <a:pt x="3170583" y="1600721"/>
                </a:lnTo>
                <a:cubicBezTo>
                  <a:pt x="3185160" y="1608010"/>
                  <a:pt x="3192449" y="1608010"/>
                  <a:pt x="3196093" y="1608010"/>
                </a:cubicBezTo>
                <a:cubicBezTo>
                  <a:pt x="3196093" y="1609832"/>
                  <a:pt x="3196093" y="1611654"/>
                  <a:pt x="3196093" y="1613476"/>
                </a:cubicBezTo>
                <a:cubicBezTo>
                  <a:pt x="3197916" y="1615298"/>
                  <a:pt x="3197916" y="1615298"/>
                  <a:pt x="3197916" y="1617121"/>
                </a:cubicBezTo>
                <a:cubicBezTo>
                  <a:pt x="3196093" y="1617121"/>
                  <a:pt x="3192449" y="1617121"/>
                  <a:pt x="3185160" y="1617121"/>
                </a:cubicBezTo>
                <a:cubicBezTo>
                  <a:pt x="3185160" y="1617121"/>
                  <a:pt x="3170583" y="1624409"/>
                  <a:pt x="3170583" y="1624409"/>
                </a:cubicBezTo>
                <a:lnTo>
                  <a:pt x="3163294" y="1617121"/>
                </a:lnTo>
                <a:lnTo>
                  <a:pt x="3166939" y="1609832"/>
                </a:lnTo>
                <a:cubicBezTo>
                  <a:pt x="3159650" y="1606188"/>
                  <a:pt x="3166939" y="1591610"/>
                  <a:pt x="3163294" y="1584321"/>
                </a:cubicBezTo>
                <a:cubicBezTo>
                  <a:pt x="3161472" y="1589788"/>
                  <a:pt x="3156006" y="1589788"/>
                  <a:pt x="3152361" y="1589788"/>
                </a:cubicBezTo>
                <a:cubicBezTo>
                  <a:pt x="3152361" y="1591610"/>
                  <a:pt x="3148717" y="1593432"/>
                  <a:pt x="3150539" y="1595255"/>
                </a:cubicBezTo>
                <a:cubicBezTo>
                  <a:pt x="3146895" y="1595255"/>
                  <a:pt x="3143250" y="1595255"/>
                  <a:pt x="3139606" y="1597077"/>
                </a:cubicBezTo>
                <a:cubicBezTo>
                  <a:pt x="3134140" y="1600721"/>
                  <a:pt x="3130495" y="1606188"/>
                  <a:pt x="3125029" y="1609832"/>
                </a:cubicBezTo>
                <a:cubicBezTo>
                  <a:pt x="3123206" y="1611654"/>
                  <a:pt x="3121384" y="1611654"/>
                  <a:pt x="3117740" y="1613476"/>
                </a:cubicBezTo>
                <a:lnTo>
                  <a:pt x="3117740" y="1626231"/>
                </a:lnTo>
                <a:lnTo>
                  <a:pt x="3106807" y="1620765"/>
                </a:lnTo>
                <a:cubicBezTo>
                  <a:pt x="3103163" y="1622587"/>
                  <a:pt x="3101340" y="1626231"/>
                  <a:pt x="3103163" y="1631698"/>
                </a:cubicBezTo>
                <a:cubicBezTo>
                  <a:pt x="3101340" y="1628054"/>
                  <a:pt x="3103163" y="1622587"/>
                  <a:pt x="3101340" y="1624409"/>
                </a:cubicBezTo>
                <a:cubicBezTo>
                  <a:pt x="3097696" y="1624409"/>
                  <a:pt x="3094052" y="1626231"/>
                  <a:pt x="3092230" y="1629876"/>
                </a:cubicBezTo>
                <a:lnTo>
                  <a:pt x="3095874" y="1628054"/>
                </a:lnTo>
                <a:lnTo>
                  <a:pt x="3095874" y="1638987"/>
                </a:lnTo>
                <a:lnTo>
                  <a:pt x="3099518" y="1639122"/>
                </a:lnTo>
                <a:lnTo>
                  <a:pt x="3102024" y="1639214"/>
                </a:lnTo>
                <a:cubicBezTo>
                  <a:pt x="3104074" y="1639442"/>
                  <a:pt x="3105896" y="1638986"/>
                  <a:pt x="3106807" y="1635342"/>
                </a:cubicBezTo>
                <a:cubicBezTo>
                  <a:pt x="3106807" y="1638987"/>
                  <a:pt x="3112274" y="1640809"/>
                  <a:pt x="3114096" y="1638987"/>
                </a:cubicBezTo>
                <a:cubicBezTo>
                  <a:pt x="3130495" y="1631698"/>
                  <a:pt x="3150539" y="1640809"/>
                  <a:pt x="3168761" y="1642631"/>
                </a:cubicBezTo>
                <a:lnTo>
                  <a:pt x="3177872" y="1642631"/>
                </a:lnTo>
                <a:cubicBezTo>
                  <a:pt x="3177872" y="1642631"/>
                  <a:pt x="3179694" y="1642631"/>
                  <a:pt x="3179694" y="1642631"/>
                </a:cubicBezTo>
                <a:cubicBezTo>
                  <a:pt x="3179694" y="1642631"/>
                  <a:pt x="3177872" y="1644453"/>
                  <a:pt x="3177872" y="1644453"/>
                </a:cubicBezTo>
                <a:lnTo>
                  <a:pt x="3179694" y="1648097"/>
                </a:lnTo>
                <a:lnTo>
                  <a:pt x="3188155" y="1651742"/>
                </a:lnTo>
                <a:lnTo>
                  <a:pt x="3185160" y="1651742"/>
                </a:lnTo>
                <a:lnTo>
                  <a:pt x="3190627" y="1664497"/>
                </a:lnTo>
                <a:lnTo>
                  <a:pt x="3188805" y="1668142"/>
                </a:lnTo>
                <a:cubicBezTo>
                  <a:pt x="3192449" y="1668142"/>
                  <a:pt x="3194271" y="1666319"/>
                  <a:pt x="3196093" y="1664497"/>
                </a:cubicBezTo>
                <a:cubicBezTo>
                  <a:pt x="3198827" y="1661764"/>
                  <a:pt x="3198371" y="1659942"/>
                  <a:pt x="3196549" y="1658120"/>
                </a:cubicBezTo>
                <a:lnTo>
                  <a:pt x="3189518" y="1652329"/>
                </a:lnTo>
                <a:lnTo>
                  <a:pt x="3194499" y="1654475"/>
                </a:lnTo>
                <a:cubicBezTo>
                  <a:pt x="3199738" y="1655842"/>
                  <a:pt x="3205205" y="1656297"/>
                  <a:pt x="3210671" y="1655386"/>
                </a:cubicBezTo>
                <a:cubicBezTo>
                  <a:pt x="3210671" y="1655386"/>
                  <a:pt x="3210671" y="1657208"/>
                  <a:pt x="3210671" y="1657208"/>
                </a:cubicBezTo>
                <a:cubicBezTo>
                  <a:pt x="3210671" y="1657208"/>
                  <a:pt x="3212493" y="1657208"/>
                  <a:pt x="3212493" y="1657208"/>
                </a:cubicBezTo>
                <a:cubicBezTo>
                  <a:pt x="3214315" y="1660853"/>
                  <a:pt x="3216137" y="1664497"/>
                  <a:pt x="3217960" y="1668142"/>
                </a:cubicBezTo>
                <a:cubicBezTo>
                  <a:pt x="3217960" y="1668142"/>
                  <a:pt x="3216137" y="1668142"/>
                  <a:pt x="3216137" y="1668142"/>
                </a:cubicBezTo>
                <a:lnTo>
                  <a:pt x="3214315" y="1671786"/>
                </a:lnTo>
                <a:lnTo>
                  <a:pt x="3218416" y="1671786"/>
                </a:lnTo>
                <a:lnTo>
                  <a:pt x="3219782" y="1677252"/>
                </a:lnTo>
                <a:lnTo>
                  <a:pt x="3221225" y="1675153"/>
                </a:lnTo>
                <a:lnTo>
                  <a:pt x="3225248" y="1684541"/>
                </a:lnTo>
                <a:cubicBezTo>
                  <a:pt x="3223426" y="1684541"/>
                  <a:pt x="3219782" y="1682719"/>
                  <a:pt x="3216137" y="1684541"/>
                </a:cubicBezTo>
                <a:cubicBezTo>
                  <a:pt x="3214315" y="1682719"/>
                  <a:pt x="3214315" y="1679075"/>
                  <a:pt x="3210671" y="1679075"/>
                </a:cubicBezTo>
                <a:lnTo>
                  <a:pt x="3208849" y="1682719"/>
                </a:lnTo>
                <a:lnTo>
                  <a:pt x="3208849" y="1682719"/>
                </a:lnTo>
                <a:lnTo>
                  <a:pt x="3207027" y="1680897"/>
                </a:lnTo>
                <a:cubicBezTo>
                  <a:pt x="3203382" y="1684541"/>
                  <a:pt x="3201560" y="1680897"/>
                  <a:pt x="3196093" y="1680897"/>
                </a:cubicBezTo>
                <a:cubicBezTo>
                  <a:pt x="3194271" y="1686363"/>
                  <a:pt x="3194271" y="1686363"/>
                  <a:pt x="3194271" y="1690008"/>
                </a:cubicBezTo>
                <a:cubicBezTo>
                  <a:pt x="3199738" y="1688185"/>
                  <a:pt x="3201560" y="1686363"/>
                  <a:pt x="3208849" y="1688185"/>
                </a:cubicBezTo>
                <a:lnTo>
                  <a:pt x="3209262" y="1683644"/>
                </a:lnTo>
                <a:lnTo>
                  <a:pt x="3214487" y="1695347"/>
                </a:lnTo>
                <a:lnTo>
                  <a:pt x="3201560" y="1693652"/>
                </a:lnTo>
                <a:cubicBezTo>
                  <a:pt x="3205204" y="1699118"/>
                  <a:pt x="3199738" y="1697296"/>
                  <a:pt x="3197916" y="1699118"/>
                </a:cubicBezTo>
                <a:cubicBezTo>
                  <a:pt x="3205204" y="1708229"/>
                  <a:pt x="3201560" y="1722807"/>
                  <a:pt x="3207027" y="1735562"/>
                </a:cubicBezTo>
                <a:cubicBezTo>
                  <a:pt x="3217960" y="1730095"/>
                  <a:pt x="3216137" y="1713696"/>
                  <a:pt x="3225248" y="1706407"/>
                </a:cubicBezTo>
                <a:cubicBezTo>
                  <a:pt x="3219782" y="1706407"/>
                  <a:pt x="3217960" y="1711874"/>
                  <a:pt x="3214315" y="1704585"/>
                </a:cubicBezTo>
                <a:cubicBezTo>
                  <a:pt x="3216137" y="1702763"/>
                  <a:pt x="3223426" y="1704585"/>
                  <a:pt x="3225248" y="1702763"/>
                </a:cubicBezTo>
                <a:lnTo>
                  <a:pt x="3216542" y="1696284"/>
                </a:lnTo>
                <a:lnTo>
                  <a:pt x="3232537" y="1702763"/>
                </a:lnTo>
                <a:cubicBezTo>
                  <a:pt x="3230715" y="1697296"/>
                  <a:pt x="3225248" y="1693652"/>
                  <a:pt x="3225248" y="1688185"/>
                </a:cubicBezTo>
                <a:cubicBezTo>
                  <a:pt x="3225248" y="1686363"/>
                  <a:pt x="3227071" y="1688185"/>
                  <a:pt x="3227071" y="1688185"/>
                </a:cubicBezTo>
                <a:lnTo>
                  <a:pt x="3237761" y="1710536"/>
                </a:lnTo>
                <a:lnTo>
                  <a:pt x="3236181" y="1713696"/>
                </a:lnTo>
                <a:lnTo>
                  <a:pt x="3239691" y="1714573"/>
                </a:lnTo>
                <a:lnTo>
                  <a:pt x="3247114" y="1730095"/>
                </a:lnTo>
                <a:cubicBezTo>
                  <a:pt x="3247114" y="1731918"/>
                  <a:pt x="3247114" y="1733740"/>
                  <a:pt x="3245292" y="1735562"/>
                </a:cubicBezTo>
                <a:lnTo>
                  <a:pt x="3243470" y="1739206"/>
                </a:lnTo>
                <a:cubicBezTo>
                  <a:pt x="3245292" y="1741028"/>
                  <a:pt x="3243470" y="1744673"/>
                  <a:pt x="3247114" y="1744673"/>
                </a:cubicBezTo>
                <a:cubicBezTo>
                  <a:pt x="3247114" y="1741028"/>
                  <a:pt x="3245292" y="1737384"/>
                  <a:pt x="3245292" y="1737384"/>
                </a:cubicBezTo>
                <a:cubicBezTo>
                  <a:pt x="3247114" y="1735562"/>
                  <a:pt x="3248937" y="1735562"/>
                  <a:pt x="3250759" y="1735562"/>
                </a:cubicBezTo>
                <a:cubicBezTo>
                  <a:pt x="3250759" y="1737384"/>
                  <a:pt x="3252581" y="1739206"/>
                  <a:pt x="3252581" y="1741028"/>
                </a:cubicBezTo>
                <a:cubicBezTo>
                  <a:pt x="3256225" y="1746495"/>
                  <a:pt x="3258047" y="1750139"/>
                  <a:pt x="3259869" y="1753784"/>
                </a:cubicBezTo>
                <a:cubicBezTo>
                  <a:pt x="3259869" y="1755606"/>
                  <a:pt x="3259869" y="1755606"/>
                  <a:pt x="3261692" y="1757428"/>
                </a:cubicBezTo>
                <a:cubicBezTo>
                  <a:pt x="3263514" y="1761072"/>
                  <a:pt x="3267158" y="1766539"/>
                  <a:pt x="3268980" y="1770183"/>
                </a:cubicBezTo>
                <a:cubicBezTo>
                  <a:pt x="3265336" y="1768361"/>
                  <a:pt x="3263514" y="1762894"/>
                  <a:pt x="3256225" y="1762894"/>
                </a:cubicBezTo>
                <a:cubicBezTo>
                  <a:pt x="3258047" y="1764717"/>
                  <a:pt x="3259869" y="1766539"/>
                  <a:pt x="3258047" y="1768361"/>
                </a:cubicBezTo>
                <a:cubicBezTo>
                  <a:pt x="3256225" y="1764717"/>
                  <a:pt x="3254403" y="1759250"/>
                  <a:pt x="3250759" y="1761072"/>
                </a:cubicBezTo>
                <a:cubicBezTo>
                  <a:pt x="3248937" y="1761072"/>
                  <a:pt x="3247114" y="1761072"/>
                  <a:pt x="3245292" y="1761072"/>
                </a:cubicBezTo>
                <a:lnTo>
                  <a:pt x="3247114" y="1770183"/>
                </a:lnTo>
                <a:cubicBezTo>
                  <a:pt x="3268980" y="1786583"/>
                  <a:pt x="3256225" y="1775650"/>
                  <a:pt x="3268980" y="1801160"/>
                </a:cubicBezTo>
                <a:cubicBezTo>
                  <a:pt x="3267158" y="1804805"/>
                  <a:pt x="3267158" y="1806627"/>
                  <a:pt x="3265336" y="1808449"/>
                </a:cubicBezTo>
                <a:cubicBezTo>
                  <a:pt x="3279913" y="1823026"/>
                  <a:pt x="3298135" y="1837604"/>
                  <a:pt x="3309068" y="1855825"/>
                </a:cubicBezTo>
                <a:lnTo>
                  <a:pt x="3284718" y="1838432"/>
                </a:lnTo>
                <a:lnTo>
                  <a:pt x="3287202" y="1837604"/>
                </a:lnTo>
                <a:cubicBezTo>
                  <a:pt x="3281736" y="1833959"/>
                  <a:pt x="3278091" y="1828493"/>
                  <a:pt x="3272625" y="1823026"/>
                </a:cubicBezTo>
                <a:lnTo>
                  <a:pt x="3265336" y="1844892"/>
                </a:lnTo>
                <a:lnTo>
                  <a:pt x="3283987" y="1838675"/>
                </a:lnTo>
                <a:lnTo>
                  <a:pt x="3290847" y="1855825"/>
                </a:lnTo>
                <a:cubicBezTo>
                  <a:pt x="3292669" y="1859470"/>
                  <a:pt x="3294491" y="1861292"/>
                  <a:pt x="3296313" y="1863114"/>
                </a:cubicBezTo>
                <a:cubicBezTo>
                  <a:pt x="3292669" y="1861292"/>
                  <a:pt x="3290847" y="1861292"/>
                  <a:pt x="3287202" y="1861292"/>
                </a:cubicBezTo>
                <a:lnTo>
                  <a:pt x="3276269" y="1866758"/>
                </a:lnTo>
                <a:lnTo>
                  <a:pt x="3278091" y="1872225"/>
                </a:lnTo>
                <a:cubicBezTo>
                  <a:pt x="3254403" y="1866758"/>
                  <a:pt x="3230715" y="1857647"/>
                  <a:pt x="3217960" y="1841248"/>
                </a:cubicBezTo>
                <a:cubicBezTo>
                  <a:pt x="3214315" y="1835781"/>
                  <a:pt x="3205204" y="1839426"/>
                  <a:pt x="3207027" y="1846714"/>
                </a:cubicBezTo>
                <a:cubicBezTo>
                  <a:pt x="3216137" y="1879514"/>
                  <a:pt x="3230715" y="1908668"/>
                  <a:pt x="3245292" y="1937823"/>
                </a:cubicBezTo>
                <a:cubicBezTo>
                  <a:pt x="3186982" y="1903202"/>
                  <a:pt x="3121384" y="1877691"/>
                  <a:pt x="3055786" y="1863114"/>
                </a:cubicBezTo>
                <a:cubicBezTo>
                  <a:pt x="3050319" y="1861292"/>
                  <a:pt x="3044853" y="1864936"/>
                  <a:pt x="3046675" y="1870403"/>
                </a:cubicBezTo>
                <a:cubicBezTo>
                  <a:pt x="3057608" y="1914135"/>
                  <a:pt x="3088585" y="1954222"/>
                  <a:pt x="3123206" y="1983376"/>
                </a:cubicBezTo>
                <a:cubicBezTo>
                  <a:pt x="3106807" y="1979733"/>
                  <a:pt x="3092230" y="1976089"/>
                  <a:pt x="3075830" y="1972444"/>
                </a:cubicBezTo>
                <a:cubicBezTo>
                  <a:pt x="3013876" y="1959688"/>
                  <a:pt x="2951922" y="1957866"/>
                  <a:pt x="2889968" y="1950578"/>
                </a:cubicBezTo>
                <a:cubicBezTo>
                  <a:pt x="2846236" y="1946934"/>
                  <a:pt x="2795215" y="1945111"/>
                  <a:pt x="2753305" y="1928712"/>
                </a:cubicBezTo>
                <a:cubicBezTo>
                  <a:pt x="2746016" y="1925068"/>
                  <a:pt x="2742372" y="1937823"/>
                  <a:pt x="2749661" y="1941468"/>
                </a:cubicBezTo>
                <a:cubicBezTo>
                  <a:pt x="2809793" y="1968799"/>
                  <a:pt x="2873569" y="1997955"/>
                  <a:pt x="2928234" y="2036220"/>
                </a:cubicBezTo>
                <a:cubicBezTo>
                  <a:pt x="2857169" y="2007065"/>
                  <a:pt x="2776993" y="1994309"/>
                  <a:pt x="2704106" y="2008887"/>
                </a:cubicBezTo>
                <a:cubicBezTo>
                  <a:pt x="2700462" y="2008887"/>
                  <a:pt x="2696818" y="2012531"/>
                  <a:pt x="2698640" y="2016176"/>
                </a:cubicBezTo>
                <a:cubicBezTo>
                  <a:pt x="2715040" y="2061729"/>
                  <a:pt x="2767882" y="2090885"/>
                  <a:pt x="2813437" y="2110928"/>
                </a:cubicBezTo>
                <a:cubicBezTo>
                  <a:pt x="2806148" y="2112751"/>
                  <a:pt x="2798860" y="2112751"/>
                  <a:pt x="2791571" y="2114572"/>
                </a:cubicBezTo>
                <a:cubicBezTo>
                  <a:pt x="2786104" y="2116394"/>
                  <a:pt x="2786104" y="2125505"/>
                  <a:pt x="2791571" y="2127328"/>
                </a:cubicBezTo>
                <a:cubicBezTo>
                  <a:pt x="2820726" y="2138261"/>
                  <a:pt x="2849880" y="2151017"/>
                  <a:pt x="2873569" y="2169238"/>
                </a:cubicBezTo>
                <a:cubicBezTo>
                  <a:pt x="2858991" y="2160127"/>
                  <a:pt x="2842592" y="2152839"/>
                  <a:pt x="2826192" y="2147372"/>
                </a:cubicBezTo>
                <a:cubicBezTo>
                  <a:pt x="2778816" y="2130973"/>
                  <a:pt x="2729617" y="2134617"/>
                  <a:pt x="2680418" y="2138261"/>
                </a:cubicBezTo>
                <a:cubicBezTo>
                  <a:pt x="2634864" y="2141906"/>
                  <a:pt x="2582021" y="2143728"/>
                  <a:pt x="2541933" y="2120040"/>
                </a:cubicBezTo>
                <a:cubicBezTo>
                  <a:pt x="2534644" y="2116394"/>
                  <a:pt x="2529178" y="2125505"/>
                  <a:pt x="2532822" y="2130973"/>
                </a:cubicBezTo>
                <a:cubicBezTo>
                  <a:pt x="2569266" y="2180171"/>
                  <a:pt x="2603887" y="2231192"/>
                  <a:pt x="2647619" y="2274925"/>
                </a:cubicBezTo>
                <a:cubicBezTo>
                  <a:pt x="2707751" y="2333234"/>
                  <a:pt x="2784282" y="2364211"/>
                  <a:pt x="2868102" y="2364211"/>
                </a:cubicBezTo>
                <a:cubicBezTo>
                  <a:pt x="2899079" y="2364211"/>
                  <a:pt x="2931878" y="2362390"/>
                  <a:pt x="2964677" y="2360567"/>
                </a:cubicBezTo>
                <a:lnTo>
                  <a:pt x="2941335" y="2366565"/>
                </a:lnTo>
                <a:lnTo>
                  <a:pt x="2948277" y="2373513"/>
                </a:lnTo>
                <a:lnTo>
                  <a:pt x="2944633" y="2377147"/>
                </a:lnTo>
                <a:lnTo>
                  <a:pt x="2937344" y="2369872"/>
                </a:lnTo>
                <a:lnTo>
                  <a:pt x="2940405" y="2366805"/>
                </a:lnTo>
                <a:lnTo>
                  <a:pt x="2923906" y="2371045"/>
                </a:lnTo>
                <a:cubicBezTo>
                  <a:pt x="2910468" y="2373323"/>
                  <a:pt x="2897257" y="2374233"/>
                  <a:pt x="2884502" y="2373323"/>
                </a:cubicBezTo>
                <a:cubicBezTo>
                  <a:pt x="2879035" y="2373323"/>
                  <a:pt x="2875391" y="2382433"/>
                  <a:pt x="2880857" y="2386077"/>
                </a:cubicBezTo>
                <a:cubicBezTo>
                  <a:pt x="2902724" y="2395189"/>
                  <a:pt x="2926412" y="2406122"/>
                  <a:pt x="2948278" y="2415233"/>
                </a:cubicBezTo>
                <a:lnTo>
                  <a:pt x="2928572" y="2412755"/>
                </a:lnTo>
                <a:lnTo>
                  <a:pt x="2930057" y="2417208"/>
                </a:lnTo>
                <a:lnTo>
                  <a:pt x="2928235" y="2420848"/>
                </a:lnTo>
                <a:lnTo>
                  <a:pt x="2922768" y="2415389"/>
                </a:lnTo>
                <a:lnTo>
                  <a:pt x="2927015" y="2412560"/>
                </a:lnTo>
                <a:lnTo>
                  <a:pt x="2868558" y="2405210"/>
                </a:lnTo>
                <a:lnTo>
                  <a:pt x="2811698" y="2389734"/>
                </a:lnTo>
                <a:lnTo>
                  <a:pt x="2809792" y="2393545"/>
                </a:lnTo>
                <a:lnTo>
                  <a:pt x="2808204" y="2388783"/>
                </a:lnTo>
                <a:lnTo>
                  <a:pt x="2807339" y="2388548"/>
                </a:lnTo>
                <a:lnTo>
                  <a:pt x="2803642" y="2391269"/>
                </a:lnTo>
                <a:lnTo>
                  <a:pt x="2801016" y="2386827"/>
                </a:lnTo>
                <a:lnTo>
                  <a:pt x="2791571" y="2384256"/>
                </a:lnTo>
                <a:cubicBezTo>
                  <a:pt x="2787927" y="2382433"/>
                  <a:pt x="2780638" y="2387900"/>
                  <a:pt x="2784282" y="2393367"/>
                </a:cubicBezTo>
                <a:lnTo>
                  <a:pt x="2788976" y="2399775"/>
                </a:lnTo>
                <a:lnTo>
                  <a:pt x="2791571" y="2397183"/>
                </a:lnTo>
                <a:lnTo>
                  <a:pt x="2806148" y="2408106"/>
                </a:lnTo>
                <a:lnTo>
                  <a:pt x="2813437" y="2404465"/>
                </a:lnTo>
                <a:cubicBezTo>
                  <a:pt x="2813437" y="2404465"/>
                  <a:pt x="2815259" y="2409926"/>
                  <a:pt x="2815259" y="2409926"/>
                </a:cubicBezTo>
                <a:cubicBezTo>
                  <a:pt x="2815259" y="2419030"/>
                  <a:pt x="2815259" y="2409926"/>
                  <a:pt x="2811615" y="2417208"/>
                </a:cubicBezTo>
                <a:lnTo>
                  <a:pt x="2800681" y="2409926"/>
                </a:lnTo>
                <a:lnTo>
                  <a:pt x="2799889" y="2414675"/>
                </a:lnTo>
                <a:lnTo>
                  <a:pt x="2818853" y="2440566"/>
                </a:lnTo>
                <a:lnTo>
                  <a:pt x="2820725" y="2440877"/>
                </a:lnTo>
                <a:lnTo>
                  <a:pt x="2820211" y="2442420"/>
                </a:lnTo>
                <a:lnTo>
                  <a:pt x="2824022" y="2447623"/>
                </a:lnTo>
                <a:lnTo>
                  <a:pt x="2826192" y="2448166"/>
                </a:lnTo>
                <a:lnTo>
                  <a:pt x="2828219" y="2453353"/>
                </a:lnTo>
                <a:lnTo>
                  <a:pt x="2828362" y="2453549"/>
                </a:lnTo>
                <a:lnTo>
                  <a:pt x="2831658" y="2457287"/>
                </a:lnTo>
                <a:lnTo>
                  <a:pt x="2831209" y="2457436"/>
                </a:lnTo>
                <a:lnTo>
                  <a:pt x="2834165" y="2461470"/>
                </a:lnTo>
                <a:lnTo>
                  <a:pt x="2846235" y="2473911"/>
                </a:lnTo>
                <a:lnTo>
                  <a:pt x="2846235" y="2471884"/>
                </a:lnTo>
                <a:lnTo>
                  <a:pt x="2858990" y="2471884"/>
                </a:lnTo>
                <a:cubicBezTo>
                  <a:pt x="2860813" y="2479193"/>
                  <a:pt x="2862635" y="2477370"/>
                  <a:pt x="2869924" y="2481005"/>
                </a:cubicBezTo>
                <a:cubicBezTo>
                  <a:pt x="2868102" y="2484659"/>
                  <a:pt x="2866735" y="2487400"/>
                  <a:pt x="2864913" y="2489455"/>
                </a:cubicBezTo>
                <a:lnTo>
                  <a:pt x="2862583" y="2490760"/>
                </a:lnTo>
                <a:lnTo>
                  <a:pt x="2893613" y="2522741"/>
                </a:lnTo>
                <a:cubicBezTo>
                  <a:pt x="2891790" y="2522741"/>
                  <a:pt x="2889968" y="2522741"/>
                  <a:pt x="2888146" y="2522741"/>
                </a:cubicBezTo>
                <a:cubicBezTo>
                  <a:pt x="2829837" y="2524564"/>
                  <a:pt x="2773349" y="2548251"/>
                  <a:pt x="2722328" y="2570118"/>
                </a:cubicBezTo>
                <a:cubicBezTo>
                  <a:pt x="2718684" y="2571940"/>
                  <a:pt x="2718684" y="2577407"/>
                  <a:pt x="2720506" y="2581050"/>
                </a:cubicBezTo>
                <a:cubicBezTo>
                  <a:pt x="2782460" y="2653937"/>
                  <a:pt x="2879035" y="2732292"/>
                  <a:pt x="2979255" y="2732292"/>
                </a:cubicBezTo>
                <a:cubicBezTo>
                  <a:pt x="2975610" y="2734114"/>
                  <a:pt x="2971966" y="2734114"/>
                  <a:pt x="2968322" y="2735937"/>
                </a:cubicBezTo>
                <a:cubicBezTo>
                  <a:pt x="2919123" y="2752336"/>
                  <a:pt x="2873569" y="2783314"/>
                  <a:pt x="2831659" y="2814291"/>
                </a:cubicBezTo>
                <a:cubicBezTo>
                  <a:pt x="2829837" y="2816113"/>
                  <a:pt x="2829837" y="2821579"/>
                  <a:pt x="2831659" y="2823401"/>
                </a:cubicBezTo>
                <a:cubicBezTo>
                  <a:pt x="2886324" y="2870778"/>
                  <a:pt x="2964677" y="2887177"/>
                  <a:pt x="3035742" y="2890821"/>
                </a:cubicBezTo>
                <a:cubicBezTo>
                  <a:pt x="2997477" y="2898111"/>
                  <a:pt x="2959211" y="2899931"/>
                  <a:pt x="2920945" y="2892643"/>
                </a:cubicBezTo>
                <a:cubicBezTo>
                  <a:pt x="2913656" y="2890821"/>
                  <a:pt x="2911834" y="2901755"/>
                  <a:pt x="2919123" y="2905399"/>
                </a:cubicBezTo>
                <a:cubicBezTo>
                  <a:pt x="2957389" y="2921798"/>
                  <a:pt x="2995654" y="2941842"/>
                  <a:pt x="3030276" y="2963707"/>
                </a:cubicBezTo>
                <a:cubicBezTo>
                  <a:pt x="3059430" y="2983751"/>
                  <a:pt x="3088585" y="3001972"/>
                  <a:pt x="3125029" y="3009260"/>
                </a:cubicBezTo>
                <a:cubicBezTo>
                  <a:pt x="3156006" y="3014728"/>
                  <a:pt x="3186982" y="3011084"/>
                  <a:pt x="3216137" y="3005616"/>
                </a:cubicBezTo>
                <a:lnTo>
                  <a:pt x="3212493" y="3014728"/>
                </a:lnTo>
                <a:lnTo>
                  <a:pt x="3234359" y="3014728"/>
                </a:lnTo>
                <a:cubicBezTo>
                  <a:pt x="3232537" y="3009260"/>
                  <a:pt x="3230715" y="3005616"/>
                  <a:pt x="3230715" y="3001972"/>
                </a:cubicBezTo>
                <a:cubicBezTo>
                  <a:pt x="3234359" y="3000150"/>
                  <a:pt x="3239826" y="3000150"/>
                  <a:pt x="3243470" y="2998328"/>
                </a:cubicBezTo>
                <a:cubicBezTo>
                  <a:pt x="3243470" y="3001972"/>
                  <a:pt x="3243470" y="3003796"/>
                  <a:pt x="3245292" y="3005616"/>
                </a:cubicBezTo>
                <a:cubicBezTo>
                  <a:pt x="3258047" y="3016550"/>
                  <a:pt x="3270803" y="3029306"/>
                  <a:pt x="3285380" y="3040237"/>
                </a:cubicBezTo>
                <a:cubicBezTo>
                  <a:pt x="3243470" y="3049349"/>
                  <a:pt x="3205204" y="3083970"/>
                  <a:pt x="3177872" y="3113123"/>
                </a:cubicBezTo>
                <a:cubicBezTo>
                  <a:pt x="3174227" y="3116769"/>
                  <a:pt x="3174227" y="3122235"/>
                  <a:pt x="3177872" y="3124057"/>
                </a:cubicBezTo>
                <a:cubicBezTo>
                  <a:pt x="3185160" y="3127701"/>
                  <a:pt x="3190627" y="3131347"/>
                  <a:pt x="3197916" y="3133169"/>
                </a:cubicBezTo>
                <a:lnTo>
                  <a:pt x="3203382" y="3144100"/>
                </a:lnTo>
                <a:lnTo>
                  <a:pt x="3212493" y="3138635"/>
                </a:lnTo>
                <a:cubicBezTo>
                  <a:pt x="3217960" y="3140456"/>
                  <a:pt x="3221604" y="3140456"/>
                  <a:pt x="3225248" y="3142278"/>
                </a:cubicBezTo>
                <a:lnTo>
                  <a:pt x="3232537" y="3151390"/>
                </a:lnTo>
                <a:lnTo>
                  <a:pt x="3232537" y="3145922"/>
                </a:lnTo>
                <a:cubicBezTo>
                  <a:pt x="3241648" y="3147744"/>
                  <a:pt x="3250759" y="3149568"/>
                  <a:pt x="3259869" y="3151390"/>
                </a:cubicBezTo>
                <a:cubicBezTo>
                  <a:pt x="3261692" y="3153212"/>
                  <a:pt x="3263514" y="3155034"/>
                  <a:pt x="3265336" y="3156856"/>
                </a:cubicBezTo>
                <a:cubicBezTo>
                  <a:pt x="3259869" y="3158678"/>
                  <a:pt x="3252581" y="3162322"/>
                  <a:pt x="3247114" y="3164144"/>
                </a:cubicBezTo>
                <a:lnTo>
                  <a:pt x="3239826" y="3158678"/>
                </a:lnTo>
                <a:cubicBezTo>
                  <a:pt x="3236181" y="3165966"/>
                  <a:pt x="3234359" y="3167790"/>
                  <a:pt x="3234359" y="3169612"/>
                </a:cubicBezTo>
                <a:cubicBezTo>
                  <a:pt x="3196093" y="3186011"/>
                  <a:pt x="3157828" y="3195121"/>
                  <a:pt x="3114096" y="3186011"/>
                </a:cubicBezTo>
                <a:cubicBezTo>
                  <a:pt x="3106807" y="3184189"/>
                  <a:pt x="3103163" y="3195121"/>
                  <a:pt x="3110451" y="3198765"/>
                </a:cubicBezTo>
                <a:cubicBezTo>
                  <a:pt x="3123206" y="3204233"/>
                  <a:pt x="3135962" y="3209699"/>
                  <a:pt x="3150539" y="3213343"/>
                </a:cubicBezTo>
                <a:lnTo>
                  <a:pt x="3150539" y="3220631"/>
                </a:lnTo>
                <a:lnTo>
                  <a:pt x="3166939" y="3218810"/>
                </a:lnTo>
                <a:lnTo>
                  <a:pt x="3165116" y="3216987"/>
                </a:lnTo>
                <a:cubicBezTo>
                  <a:pt x="3170583" y="3218810"/>
                  <a:pt x="3174227" y="3218810"/>
                  <a:pt x="3179694" y="3220631"/>
                </a:cubicBezTo>
                <a:lnTo>
                  <a:pt x="3194271" y="3240676"/>
                </a:lnTo>
                <a:lnTo>
                  <a:pt x="3172405" y="3264364"/>
                </a:lnTo>
                <a:lnTo>
                  <a:pt x="3150539" y="3264364"/>
                </a:lnTo>
                <a:lnTo>
                  <a:pt x="3150539" y="3278941"/>
                </a:lnTo>
                <a:lnTo>
                  <a:pt x="3166939" y="3278941"/>
                </a:lnTo>
                <a:lnTo>
                  <a:pt x="3157828" y="3308096"/>
                </a:lnTo>
                <a:lnTo>
                  <a:pt x="3134140" y="3317207"/>
                </a:lnTo>
                <a:lnTo>
                  <a:pt x="3119562" y="3309918"/>
                </a:lnTo>
                <a:lnTo>
                  <a:pt x="3119562" y="3331784"/>
                </a:lnTo>
                <a:cubicBezTo>
                  <a:pt x="3119562" y="3359117"/>
                  <a:pt x="3117740" y="3333606"/>
                  <a:pt x="3126851" y="3353650"/>
                </a:cubicBezTo>
                <a:cubicBezTo>
                  <a:pt x="3146895" y="3339073"/>
                  <a:pt x="3143250" y="3351828"/>
                  <a:pt x="3135962" y="3331784"/>
                </a:cubicBezTo>
                <a:lnTo>
                  <a:pt x="3148717" y="3315384"/>
                </a:lnTo>
                <a:lnTo>
                  <a:pt x="3172405" y="3315384"/>
                </a:lnTo>
                <a:lnTo>
                  <a:pt x="3165116" y="3300807"/>
                </a:lnTo>
                <a:cubicBezTo>
                  <a:pt x="3174227" y="3284408"/>
                  <a:pt x="3172405" y="3300807"/>
                  <a:pt x="3172405" y="3269831"/>
                </a:cubicBezTo>
                <a:cubicBezTo>
                  <a:pt x="3196093" y="3262542"/>
                  <a:pt x="3192449" y="3247964"/>
                  <a:pt x="3217960" y="3247964"/>
                </a:cubicBezTo>
                <a:cubicBezTo>
                  <a:pt x="3223426" y="3247964"/>
                  <a:pt x="3234359" y="3258898"/>
                  <a:pt x="3239826" y="3262542"/>
                </a:cubicBezTo>
                <a:lnTo>
                  <a:pt x="3248937" y="3255254"/>
                </a:lnTo>
                <a:lnTo>
                  <a:pt x="3241648" y="3240676"/>
                </a:lnTo>
                <a:lnTo>
                  <a:pt x="3241648" y="3227920"/>
                </a:lnTo>
                <a:cubicBezTo>
                  <a:pt x="3247114" y="3227920"/>
                  <a:pt x="3252581" y="3227920"/>
                  <a:pt x="3258047" y="3227920"/>
                </a:cubicBezTo>
                <a:lnTo>
                  <a:pt x="3265336" y="3240676"/>
                </a:lnTo>
                <a:lnTo>
                  <a:pt x="3259869" y="3253432"/>
                </a:lnTo>
                <a:lnTo>
                  <a:pt x="3272625" y="3284408"/>
                </a:lnTo>
                <a:cubicBezTo>
                  <a:pt x="3310890" y="3257076"/>
                  <a:pt x="3247114" y="3280763"/>
                  <a:pt x="3316357" y="3247964"/>
                </a:cubicBezTo>
                <a:lnTo>
                  <a:pt x="3332756" y="3260720"/>
                </a:lnTo>
                <a:lnTo>
                  <a:pt x="3349156" y="3246142"/>
                </a:lnTo>
                <a:lnTo>
                  <a:pt x="3341867" y="3231566"/>
                </a:lnTo>
                <a:cubicBezTo>
                  <a:pt x="3350978" y="3226098"/>
                  <a:pt x="3354623" y="3222455"/>
                  <a:pt x="3358267" y="3218810"/>
                </a:cubicBezTo>
                <a:cubicBezTo>
                  <a:pt x="3367378" y="3216987"/>
                  <a:pt x="3378311" y="3215165"/>
                  <a:pt x="3387422" y="3211521"/>
                </a:cubicBezTo>
                <a:lnTo>
                  <a:pt x="3387422" y="3237032"/>
                </a:lnTo>
                <a:cubicBezTo>
                  <a:pt x="3367378" y="3227920"/>
                  <a:pt x="3380133" y="3224276"/>
                  <a:pt x="3365556" y="3244320"/>
                </a:cubicBezTo>
                <a:lnTo>
                  <a:pt x="3387422" y="3246142"/>
                </a:lnTo>
                <a:lnTo>
                  <a:pt x="3418399" y="3282585"/>
                </a:lnTo>
                <a:lnTo>
                  <a:pt x="3387422" y="3282585"/>
                </a:lnTo>
                <a:lnTo>
                  <a:pt x="3387422" y="3297163"/>
                </a:lnTo>
                <a:lnTo>
                  <a:pt x="3418399" y="3291696"/>
                </a:lnTo>
                <a:lnTo>
                  <a:pt x="3411110" y="3306274"/>
                </a:lnTo>
                <a:cubicBezTo>
                  <a:pt x="3442087" y="3302629"/>
                  <a:pt x="3449376" y="3288052"/>
                  <a:pt x="3463953" y="3268009"/>
                </a:cubicBezTo>
                <a:lnTo>
                  <a:pt x="3485819" y="3275297"/>
                </a:lnTo>
                <a:cubicBezTo>
                  <a:pt x="3480353" y="3297163"/>
                  <a:pt x="3483997" y="3286230"/>
                  <a:pt x="3471242" y="3304452"/>
                </a:cubicBezTo>
                <a:lnTo>
                  <a:pt x="3449376" y="3297163"/>
                </a:lnTo>
                <a:lnTo>
                  <a:pt x="3449376" y="3311740"/>
                </a:lnTo>
                <a:lnTo>
                  <a:pt x="3425687" y="3311740"/>
                </a:lnTo>
                <a:lnTo>
                  <a:pt x="3432976" y="3326318"/>
                </a:lnTo>
                <a:lnTo>
                  <a:pt x="3416577" y="3329962"/>
                </a:lnTo>
                <a:lnTo>
                  <a:pt x="3431154" y="3333606"/>
                </a:lnTo>
                <a:lnTo>
                  <a:pt x="3425687" y="3364583"/>
                </a:lnTo>
                <a:lnTo>
                  <a:pt x="3440265" y="3357294"/>
                </a:lnTo>
                <a:lnTo>
                  <a:pt x="3447157" y="3371080"/>
                </a:lnTo>
                <a:lnTo>
                  <a:pt x="3445731" y="3371872"/>
                </a:lnTo>
                <a:lnTo>
                  <a:pt x="3423865" y="3371872"/>
                </a:lnTo>
                <a:lnTo>
                  <a:pt x="3440265" y="3393738"/>
                </a:lnTo>
                <a:lnTo>
                  <a:pt x="3438443" y="3393738"/>
                </a:lnTo>
                <a:lnTo>
                  <a:pt x="3438443" y="3395560"/>
                </a:lnTo>
                <a:lnTo>
                  <a:pt x="3432976" y="3401027"/>
                </a:lnTo>
                <a:cubicBezTo>
                  <a:pt x="3411110" y="3391916"/>
                  <a:pt x="3423865" y="3388271"/>
                  <a:pt x="3411110" y="3406493"/>
                </a:cubicBezTo>
                <a:lnTo>
                  <a:pt x="3416577" y="3415604"/>
                </a:lnTo>
                <a:lnTo>
                  <a:pt x="3438443" y="3408315"/>
                </a:lnTo>
                <a:lnTo>
                  <a:pt x="3438443" y="3395560"/>
                </a:lnTo>
                <a:lnTo>
                  <a:pt x="3440265" y="3393738"/>
                </a:lnTo>
                <a:lnTo>
                  <a:pt x="3462131" y="3393738"/>
                </a:lnTo>
                <a:lnTo>
                  <a:pt x="3445731" y="3371872"/>
                </a:lnTo>
                <a:lnTo>
                  <a:pt x="3447553" y="3371872"/>
                </a:lnTo>
                <a:lnTo>
                  <a:pt x="3447157" y="3371080"/>
                </a:lnTo>
                <a:lnTo>
                  <a:pt x="3462131" y="3362761"/>
                </a:lnTo>
                <a:lnTo>
                  <a:pt x="3438443" y="3342717"/>
                </a:lnTo>
                <a:lnTo>
                  <a:pt x="3445731" y="3320851"/>
                </a:lnTo>
                <a:lnTo>
                  <a:pt x="3467597" y="3311740"/>
                </a:lnTo>
                <a:cubicBezTo>
                  <a:pt x="3476708" y="3331784"/>
                  <a:pt x="3463953" y="3315384"/>
                  <a:pt x="3474886" y="3333606"/>
                </a:cubicBezTo>
                <a:cubicBezTo>
                  <a:pt x="3485819" y="3339073"/>
                  <a:pt x="3483997" y="3340895"/>
                  <a:pt x="3505863" y="3333606"/>
                </a:cubicBezTo>
                <a:lnTo>
                  <a:pt x="3498574" y="3360939"/>
                </a:lnTo>
                <a:lnTo>
                  <a:pt x="3511330" y="3375516"/>
                </a:lnTo>
                <a:lnTo>
                  <a:pt x="3504041" y="3384627"/>
                </a:lnTo>
                <a:lnTo>
                  <a:pt x="3483997" y="3370050"/>
                </a:lnTo>
                <a:lnTo>
                  <a:pt x="3469419" y="3390094"/>
                </a:lnTo>
                <a:lnTo>
                  <a:pt x="3505863" y="3421071"/>
                </a:lnTo>
                <a:lnTo>
                  <a:pt x="3505863" y="3391916"/>
                </a:lnTo>
                <a:lnTo>
                  <a:pt x="3529551" y="3399205"/>
                </a:lnTo>
                <a:lnTo>
                  <a:pt x="3558706" y="3428359"/>
                </a:lnTo>
                <a:lnTo>
                  <a:pt x="3565995" y="3413783"/>
                </a:lnTo>
                <a:lnTo>
                  <a:pt x="3573284" y="3435648"/>
                </a:lnTo>
                <a:lnTo>
                  <a:pt x="3565995" y="3457514"/>
                </a:lnTo>
                <a:cubicBezTo>
                  <a:pt x="3545951" y="3450225"/>
                  <a:pt x="3562350" y="3450225"/>
                  <a:pt x="3542306" y="3459336"/>
                </a:cubicBezTo>
                <a:lnTo>
                  <a:pt x="3565995" y="3488491"/>
                </a:lnTo>
                <a:lnTo>
                  <a:pt x="3578750" y="3481202"/>
                </a:lnTo>
                <a:lnTo>
                  <a:pt x="3587861" y="3503068"/>
                </a:lnTo>
                <a:lnTo>
                  <a:pt x="3587861" y="3514001"/>
                </a:lnTo>
                <a:lnTo>
                  <a:pt x="3549595" y="3530401"/>
                </a:lnTo>
                <a:lnTo>
                  <a:pt x="3558706" y="3546800"/>
                </a:lnTo>
                <a:lnTo>
                  <a:pt x="3573284" y="3530401"/>
                </a:lnTo>
                <a:lnTo>
                  <a:pt x="3587861" y="3537690"/>
                </a:lnTo>
                <a:lnTo>
                  <a:pt x="3604260" y="3548623"/>
                </a:lnTo>
                <a:lnTo>
                  <a:pt x="3587861" y="3554089"/>
                </a:lnTo>
                <a:lnTo>
                  <a:pt x="3595150" y="3566844"/>
                </a:lnTo>
                <a:lnTo>
                  <a:pt x="3624304" y="3559556"/>
                </a:lnTo>
                <a:lnTo>
                  <a:pt x="3631593" y="3544978"/>
                </a:lnTo>
                <a:cubicBezTo>
                  <a:pt x="3649815" y="3554089"/>
                  <a:pt x="3633415" y="3552267"/>
                  <a:pt x="3653459" y="3544978"/>
                </a:cubicBezTo>
                <a:lnTo>
                  <a:pt x="3653459" y="3559556"/>
                </a:lnTo>
                <a:lnTo>
                  <a:pt x="3669859" y="3559556"/>
                </a:lnTo>
                <a:lnTo>
                  <a:pt x="3664392" y="3572311"/>
                </a:lnTo>
                <a:lnTo>
                  <a:pt x="3668037" y="3588710"/>
                </a:lnTo>
                <a:cubicBezTo>
                  <a:pt x="3678969" y="3577778"/>
                  <a:pt x="3675325" y="3575955"/>
                  <a:pt x="3699013" y="3574133"/>
                </a:cubicBezTo>
                <a:lnTo>
                  <a:pt x="3691725" y="3586888"/>
                </a:lnTo>
                <a:lnTo>
                  <a:pt x="3713591" y="3603288"/>
                </a:lnTo>
                <a:lnTo>
                  <a:pt x="3704480" y="3626976"/>
                </a:lnTo>
                <a:lnTo>
                  <a:pt x="3720880" y="3648842"/>
                </a:lnTo>
                <a:lnTo>
                  <a:pt x="3742746" y="3648842"/>
                </a:lnTo>
                <a:cubicBezTo>
                  <a:pt x="3760967" y="3670708"/>
                  <a:pt x="3739101" y="3659775"/>
                  <a:pt x="3773723" y="3663420"/>
                </a:cubicBezTo>
                <a:lnTo>
                  <a:pt x="3773723" y="3641554"/>
                </a:lnTo>
                <a:lnTo>
                  <a:pt x="3795589" y="3648842"/>
                </a:lnTo>
                <a:lnTo>
                  <a:pt x="3804700" y="3634265"/>
                </a:lnTo>
                <a:lnTo>
                  <a:pt x="3797411" y="3619687"/>
                </a:lnTo>
                <a:cubicBezTo>
                  <a:pt x="3835677" y="3616043"/>
                  <a:pt x="3824743" y="3601466"/>
                  <a:pt x="3819277" y="3574133"/>
                </a:cubicBezTo>
                <a:lnTo>
                  <a:pt x="3841143" y="3574133"/>
                </a:lnTo>
                <a:lnTo>
                  <a:pt x="3841143" y="3559556"/>
                </a:lnTo>
                <a:lnTo>
                  <a:pt x="3855721" y="3559556"/>
                </a:lnTo>
                <a:lnTo>
                  <a:pt x="3855721" y="3544978"/>
                </a:lnTo>
                <a:cubicBezTo>
                  <a:pt x="3873942" y="3554089"/>
                  <a:pt x="3857543" y="3552267"/>
                  <a:pt x="3877587" y="3544978"/>
                </a:cubicBezTo>
                <a:lnTo>
                  <a:pt x="3877587" y="3559556"/>
                </a:lnTo>
                <a:lnTo>
                  <a:pt x="3893986" y="3559556"/>
                </a:lnTo>
                <a:lnTo>
                  <a:pt x="3886697" y="3574133"/>
                </a:lnTo>
                <a:lnTo>
                  <a:pt x="3901275" y="3574133"/>
                </a:lnTo>
                <a:cubicBezTo>
                  <a:pt x="3893986" y="3599644"/>
                  <a:pt x="3890342" y="3599644"/>
                  <a:pt x="3870298" y="3612399"/>
                </a:cubicBezTo>
                <a:lnTo>
                  <a:pt x="3877587" y="3628798"/>
                </a:lnTo>
                <a:lnTo>
                  <a:pt x="3848432" y="3619687"/>
                </a:lnTo>
                <a:cubicBezTo>
                  <a:pt x="3833854" y="3628798"/>
                  <a:pt x="3850254" y="3625154"/>
                  <a:pt x="3819277" y="3626976"/>
                </a:cubicBezTo>
                <a:lnTo>
                  <a:pt x="3810166" y="3641554"/>
                </a:lnTo>
                <a:lnTo>
                  <a:pt x="3815632" y="3654309"/>
                </a:lnTo>
                <a:lnTo>
                  <a:pt x="3811988" y="3670708"/>
                </a:lnTo>
                <a:lnTo>
                  <a:pt x="3819277" y="3692574"/>
                </a:lnTo>
                <a:lnTo>
                  <a:pt x="3835677" y="3692574"/>
                </a:lnTo>
                <a:lnTo>
                  <a:pt x="3826566" y="3663420"/>
                </a:lnTo>
                <a:lnTo>
                  <a:pt x="3841143" y="3656131"/>
                </a:lnTo>
                <a:cubicBezTo>
                  <a:pt x="3855721" y="3665242"/>
                  <a:pt x="3841143" y="3663420"/>
                  <a:pt x="3872120" y="3663420"/>
                </a:cubicBezTo>
                <a:cubicBezTo>
                  <a:pt x="3859365" y="3705330"/>
                  <a:pt x="3877587" y="3647020"/>
                  <a:pt x="3850254" y="3685286"/>
                </a:cubicBezTo>
                <a:cubicBezTo>
                  <a:pt x="3868476" y="3694397"/>
                  <a:pt x="3852076" y="3692574"/>
                  <a:pt x="3872120" y="3685286"/>
                </a:cubicBezTo>
                <a:lnTo>
                  <a:pt x="3872120" y="3710796"/>
                </a:lnTo>
                <a:cubicBezTo>
                  <a:pt x="3855721" y="3703507"/>
                  <a:pt x="3848432" y="3699863"/>
                  <a:pt x="3835677" y="3716263"/>
                </a:cubicBezTo>
                <a:lnTo>
                  <a:pt x="3866653" y="3727196"/>
                </a:lnTo>
                <a:lnTo>
                  <a:pt x="3841143" y="3749062"/>
                </a:lnTo>
                <a:lnTo>
                  <a:pt x="3857543" y="3770928"/>
                </a:lnTo>
                <a:cubicBezTo>
                  <a:pt x="3877587" y="3763639"/>
                  <a:pt x="3861187" y="3763639"/>
                  <a:pt x="3879409" y="3770928"/>
                </a:cubicBezTo>
                <a:lnTo>
                  <a:pt x="3873942" y="3801905"/>
                </a:lnTo>
                <a:lnTo>
                  <a:pt x="3895808" y="3801905"/>
                </a:lnTo>
                <a:lnTo>
                  <a:pt x="3895808" y="3809194"/>
                </a:lnTo>
                <a:lnTo>
                  <a:pt x="3873942" y="3809194"/>
                </a:lnTo>
                <a:cubicBezTo>
                  <a:pt x="3883053" y="3827415"/>
                  <a:pt x="3881231" y="3811016"/>
                  <a:pt x="3873942" y="3831060"/>
                </a:cubicBezTo>
                <a:lnTo>
                  <a:pt x="3888519" y="3831060"/>
                </a:lnTo>
                <a:lnTo>
                  <a:pt x="3888519" y="3845637"/>
                </a:lnTo>
                <a:lnTo>
                  <a:pt x="3873942" y="3852926"/>
                </a:lnTo>
                <a:lnTo>
                  <a:pt x="3841143" y="3816482"/>
                </a:lnTo>
                <a:lnTo>
                  <a:pt x="3850254" y="3792794"/>
                </a:lnTo>
                <a:cubicBezTo>
                  <a:pt x="3835677" y="3783683"/>
                  <a:pt x="3832032" y="3770928"/>
                  <a:pt x="3813810" y="3770928"/>
                </a:cubicBezTo>
                <a:cubicBezTo>
                  <a:pt x="3804700" y="3770928"/>
                  <a:pt x="3797411" y="3785505"/>
                  <a:pt x="3791944" y="3792794"/>
                </a:cubicBezTo>
                <a:cubicBezTo>
                  <a:pt x="3770078" y="3774572"/>
                  <a:pt x="3781011" y="3796438"/>
                  <a:pt x="3777367" y="3761817"/>
                </a:cubicBezTo>
                <a:lnTo>
                  <a:pt x="3755501" y="3761817"/>
                </a:lnTo>
                <a:lnTo>
                  <a:pt x="3764612" y="3790972"/>
                </a:lnTo>
                <a:lnTo>
                  <a:pt x="3784656" y="3807371"/>
                </a:lnTo>
                <a:lnTo>
                  <a:pt x="3793766" y="3790972"/>
                </a:lnTo>
                <a:cubicBezTo>
                  <a:pt x="3811988" y="3800083"/>
                  <a:pt x="3786478" y="3798260"/>
                  <a:pt x="3815632" y="3798260"/>
                </a:cubicBezTo>
                <a:lnTo>
                  <a:pt x="3837499" y="3798260"/>
                </a:lnTo>
                <a:cubicBezTo>
                  <a:pt x="3830210" y="3816482"/>
                  <a:pt x="3828388" y="3800083"/>
                  <a:pt x="3837499" y="3820126"/>
                </a:cubicBezTo>
                <a:lnTo>
                  <a:pt x="3821099" y="3832882"/>
                </a:lnTo>
                <a:cubicBezTo>
                  <a:pt x="3848432" y="3847459"/>
                  <a:pt x="3864831" y="3834704"/>
                  <a:pt x="3852076" y="3863859"/>
                </a:cubicBezTo>
                <a:lnTo>
                  <a:pt x="3897630" y="3872970"/>
                </a:lnTo>
                <a:cubicBezTo>
                  <a:pt x="3890342" y="3852926"/>
                  <a:pt x="3888519" y="3869325"/>
                  <a:pt x="3897630" y="3849281"/>
                </a:cubicBezTo>
                <a:lnTo>
                  <a:pt x="3890342" y="3841993"/>
                </a:lnTo>
                <a:lnTo>
                  <a:pt x="3904919" y="3841993"/>
                </a:lnTo>
                <a:cubicBezTo>
                  <a:pt x="3917674" y="3825593"/>
                  <a:pt x="3906741" y="3832882"/>
                  <a:pt x="3928607" y="3827415"/>
                </a:cubicBezTo>
                <a:lnTo>
                  <a:pt x="3921319" y="3841993"/>
                </a:lnTo>
                <a:cubicBezTo>
                  <a:pt x="3955940" y="3845637"/>
                  <a:pt x="3934074" y="3834704"/>
                  <a:pt x="3945007" y="3862036"/>
                </a:cubicBezTo>
                <a:lnTo>
                  <a:pt x="3928607" y="3869325"/>
                </a:lnTo>
                <a:lnTo>
                  <a:pt x="3935896" y="3882081"/>
                </a:lnTo>
                <a:lnTo>
                  <a:pt x="3908985" y="3903946"/>
                </a:lnTo>
                <a:lnTo>
                  <a:pt x="3914030" y="3903946"/>
                </a:lnTo>
                <a:lnTo>
                  <a:pt x="3908563" y="3918524"/>
                </a:lnTo>
                <a:lnTo>
                  <a:pt x="3914030" y="3925812"/>
                </a:lnTo>
                <a:lnTo>
                  <a:pt x="3952295" y="3920346"/>
                </a:lnTo>
                <a:lnTo>
                  <a:pt x="3952295" y="3934013"/>
                </a:lnTo>
                <a:lnTo>
                  <a:pt x="3965052" y="3940391"/>
                </a:lnTo>
                <a:lnTo>
                  <a:pt x="3981451" y="3918524"/>
                </a:lnTo>
                <a:cubicBezTo>
                  <a:pt x="3981451" y="3951324"/>
                  <a:pt x="3985095" y="3953146"/>
                  <a:pt x="3950474" y="3954969"/>
                </a:cubicBezTo>
                <a:lnTo>
                  <a:pt x="3950474" y="3935935"/>
                </a:lnTo>
                <a:lnTo>
                  <a:pt x="3935896" y="3944034"/>
                </a:lnTo>
                <a:lnTo>
                  <a:pt x="3914030" y="3934923"/>
                </a:lnTo>
                <a:cubicBezTo>
                  <a:pt x="3908563" y="3940390"/>
                  <a:pt x="3904919" y="3942212"/>
                  <a:pt x="3903096" y="3944034"/>
                </a:cubicBezTo>
                <a:cubicBezTo>
                  <a:pt x="3903096" y="3945856"/>
                  <a:pt x="3901274" y="3949500"/>
                  <a:pt x="3899452" y="3956789"/>
                </a:cubicBezTo>
                <a:lnTo>
                  <a:pt x="3886697" y="3956789"/>
                </a:lnTo>
                <a:lnTo>
                  <a:pt x="3877586" y="3934923"/>
                </a:lnTo>
                <a:lnTo>
                  <a:pt x="3892164" y="3927634"/>
                </a:lnTo>
                <a:lnTo>
                  <a:pt x="3870297" y="3918524"/>
                </a:lnTo>
                <a:lnTo>
                  <a:pt x="3884875" y="3894835"/>
                </a:lnTo>
                <a:lnTo>
                  <a:pt x="3899452" y="3903946"/>
                </a:lnTo>
                <a:lnTo>
                  <a:pt x="3905360" y="3903946"/>
                </a:lnTo>
                <a:lnTo>
                  <a:pt x="3895353" y="3890736"/>
                </a:lnTo>
                <a:cubicBezTo>
                  <a:pt x="3891253" y="3886636"/>
                  <a:pt x="3885786" y="3883903"/>
                  <a:pt x="3875764" y="3883903"/>
                </a:cubicBezTo>
                <a:cubicBezTo>
                  <a:pt x="3863009" y="3883903"/>
                  <a:pt x="3837499" y="3922168"/>
                  <a:pt x="3861187" y="3922168"/>
                </a:cubicBezTo>
                <a:lnTo>
                  <a:pt x="3839321" y="3953145"/>
                </a:lnTo>
                <a:lnTo>
                  <a:pt x="3861187" y="3953145"/>
                </a:lnTo>
                <a:cubicBezTo>
                  <a:pt x="3857543" y="3958612"/>
                  <a:pt x="3857543" y="3967723"/>
                  <a:pt x="3846610" y="3967723"/>
                </a:cubicBezTo>
                <a:cubicBezTo>
                  <a:pt x="3821099" y="3967723"/>
                  <a:pt x="3826566" y="3956789"/>
                  <a:pt x="3830210" y="3945857"/>
                </a:cubicBezTo>
                <a:lnTo>
                  <a:pt x="3824743" y="3936746"/>
                </a:lnTo>
                <a:lnTo>
                  <a:pt x="3841143" y="3923991"/>
                </a:lnTo>
                <a:cubicBezTo>
                  <a:pt x="3833854" y="3922168"/>
                  <a:pt x="3828388" y="3920346"/>
                  <a:pt x="3826566" y="3920346"/>
                </a:cubicBezTo>
                <a:cubicBezTo>
                  <a:pt x="3826566" y="3918524"/>
                  <a:pt x="3822921" y="3914880"/>
                  <a:pt x="3817455" y="3907591"/>
                </a:cubicBezTo>
                <a:lnTo>
                  <a:pt x="3824743" y="3938568"/>
                </a:lnTo>
                <a:lnTo>
                  <a:pt x="3808344" y="3945857"/>
                </a:lnTo>
                <a:lnTo>
                  <a:pt x="3815632" y="3960434"/>
                </a:lnTo>
                <a:lnTo>
                  <a:pt x="3791944" y="3960434"/>
                </a:lnTo>
                <a:lnTo>
                  <a:pt x="3799233" y="3975011"/>
                </a:lnTo>
                <a:lnTo>
                  <a:pt x="3775545" y="3978656"/>
                </a:lnTo>
                <a:lnTo>
                  <a:pt x="3791944" y="3982300"/>
                </a:lnTo>
                <a:cubicBezTo>
                  <a:pt x="3786478" y="4005988"/>
                  <a:pt x="3784656" y="3995055"/>
                  <a:pt x="3791944" y="4013277"/>
                </a:cubicBezTo>
                <a:lnTo>
                  <a:pt x="3775545" y="4035143"/>
                </a:lnTo>
                <a:cubicBezTo>
                  <a:pt x="3784656" y="4055187"/>
                  <a:pt x="3788300" y="4042432"/>
                  <a:pt x="3768256" y="4049720"/>
                </a:cubicBezTo>
                <a:cubicBezTo>
                  <a:pt x="3760967" y="4024210"/>
                  <a:pt x="3757323" y="4024210"/>
                  <a:pt x="3737279" y="4011455"/>
                </a:cubicBezTo>
                <a:lnTo>
                  <a:pt x="3728168" y="3996878"/>
                </a:lnTo>
                <a:lnTo>
                  <a:pt x="3711769" y="4009633"/>
                </a:lnTo>
                <a:lnTo>
                  <a:pt x="3735457" y="4011455"/>
                </a:lnTo>
                <a:lnTo>
                  <a:pt x="3728168" y="4026032"/>
                </a:lnTo>
                <a:lnTo>
                  <a:pt x="3759145" y="4051543"/>
                </a:lnTo>
                <a:lnTo>
                  <a:pt x="3748430" y="4067021"/>
                </a:lnTo>
                <a:lnTo>
                  <a:pt x="3750034" y="4062476"/>
                </a:lnTo>
                <a:cubicBezTo>
                  <a:pt x="3742746" y="4067942"/>
                  <a:pt x="3740924" y="4071586"/>
                  <a:pt x="3739101" y="4073409"/>
                </a:cubicBezTo>
                <a:cubicBezTo>
                  <a:pt x="3737279" y="4073409"/>
                  <a:pt x="3733635" y="4075231"/>
                  <a:pt x="3724524" y="4078875"/>
                </a:cubicBezTo>
                <a:lnTo>
                  <a:pt x="3739101" y="4093452"/>
                </a:lnTo>
                <a:lnTo>
                  <a:pt x="3745878" y="4074253"/>
                </a:lnTo>
                <a:lnTo>
                  <a:pt x="3771900" y="4066120"/>
                </a:lnTo>
                <a:cubicBezTo>
                  <a:pt x="3777367" y="4080697"/>
                  <a:pt x="3777367" y="4087986"/>
                  <a:pt x="3770078" y="4104386"/>
                </a:cubicBezTo>
                <a:lnTo>
                  <a:pt x="3748212" y="4087986"/>
                </a:lnTo>
                <a:cubicBezTo>
                  <a:pt x="3750034" y="4129896"/>
                  <a:pt x="3759145" y="4097097"/>
                  <a:pt x="3762790" y="4140829"/>
                </a:cubicBezTo>
                <a:lnTo>
                  <a:pt x="3777367" y="4131718"/>
                </a:lnTo>
                <a:lnTo>
                  <a:pt x="3777367" y="4153584"/>
                </a:lnTo>
                <a:cubicBezTo>
                  <a:pt x="3757323" y="4146296"/>
                  <a:pt x="3770078" y="4148118"/>
                  <a:pt x="3746390" y="4153584"/>
                </a:cubicBezTo>
                <a:lnTo>
                  <a:pt x="3746390" y="4122607"/>
                </a:lnTo>
                <a:cubicBezTo>
                  <a:pt x="3722702" y="4140829"/>
                  <a:pt x="3735457" y="4118963"/>
                  <a:pt x="3740924" y="4159051"/>
                </a:cubicBezTo>
                <a:lnTo>
                  <a:pt x="3753679" y="4175450"/>
                </a:lnTo>
                <a:lnTo>
                  <a:pt x="3775545" y="4175450"/>
                </a:lnTo>
                <a:lnTo>
                  <a:pt x="3775545" y="4197317"/>
                </a:lnTo>
                <a:lnTo>
                  <a:pt x="3795589" y="4199139"/>
                </a:lnTo>
                <a:lnTo>
                  <a:pt x="3837499" y="4237404"/>
                </a:lnTo>
                <a:lnTo>
                  <a:pt x="3821019" y="4251530"/>
                </a:lnTo>
                <a:lnTo>
                  <a:pt x="3815632" y="4221005"/>
                </a:lnTo>
                <a:cubicBezTo>
                  <a:pt x="3795589" y="4230116"/>
                  <a:pt x="3821099" y="4228294"/>
                  <a:pt x="3791944" y="4228294"/>
                </a:cubicBezTo>
                <a:lnTo>
                  <a:pt x="3770078" y="4228294"/>
                </a:lnTo>
                <a:lnTo>
                  <a:pt x="3770078" y="4206428"/>
                </a:lnTo>
                <a:lnTo>
                  <a:pt x="3762790" y="4206428"/>
                </a:lnTo>
                <a:lnTo>
                  <a:pt x="3762790" y="4228294"/>
                </a:lnTo>
                <a:cubicBezTo>
                  <a:pt x="3762790" y="4242871"/>
                  <a:pt x="3760967" y="4241049"/>
                  <a:pt x="3753679" y="4253804"/>
                </a:cubicBezTo>
                <a:lnTo>
                  <a:pt x="3770078" y="4266559"/>
                </a:lnTo>
                <a:lnTo>
                  <a:pt x="3782834" y="4259271"/>
                </a:lnTo>
                <a:lnTo>
                  <a:pt x="3782834" y="4275670"/>
                </a:lnTo>
                <a:lnTo>
                  <a:pt x="3768256" y="4275670"/>
                </a:lnTo>
                <a:lnTo>
                  <a:pt x="3775545" y="4290247"/>
                </a:lnTo>
                <a:lnTo>
                  <a:pt x="3797411" y="4275670"/>
                </a:lnTo>
                <a:lnTo>
                  <a:pt x="3782834" y="4237404"/>
                </a:lnTo>
                <a:cubicBezTo>
                  <a:pt x="3807433" y="4238771"/>
                  <a:pt x="3803333" y="4237063"/>
                  <a:pt x="3809739" y="4243042"/>
                </a:cubicBezTo>
                <a:lnTo>
                  <a:pt x="3820783" y="4251733"/>
                </a:lnTo>
                <a:lnTo>
                  <a:pt x="3811988" y="4259271"/>
                </a:lnTo>
                <a:lnTo>
                  <a:pt x="3818105" y="4267682"/>
                </a:lnTo>
                <a:lnTo>
                  <a:pt x="3808344" y="4288425"/>
                </a:lnTo>
                <a:cubicBezTo>
                  <a:pt x="3809711" y="4285692"/>
                  <a:pt x="3816202" y="4292184"/>
                  <a:pt x="3820131" y="4278688"/>
                </a:cubicBezTo>
                <a:lnTo>
                  <a:pt x="3821046" y="4271725"/>
                </a:lnTo>
                <a:lnTo>
                  <a:pt x="3826566" y="4279315"/>
                </a:lnTo>
                <a:lnTo>
                  <a:pt x="3797411" y="4310291"/>
                </a:lnTo>
                <a:cubicBezTo>
                  <a:pt x="3821099" y="4310291"/>
                  <a:pt x="3824743" y="4304825"/>
                  <a:pt x="3835677" y="4317580"/>
                </a:cubicBezTo>
                <a:lnTo>
                  <a:pt x="3821099" y="4332157"/>
                </a:lnTo>
                <a:cubicBezTo>
                  <a:pt x="3795589" y="4315758"/>
                  <a:pt x="3815632" y="4319402"/>
                  <a:pt x="3782834" y="4317580"/>
                </a:cubicBezTo>
                <a:lnTo>
                  <a:pt x="3782834" y="4301181"/>
                </a:lnTo>
                <a:lnTo>
                  <a:pt x="3759145" y="4312113"/>
                </a:lnTo>
                <a:lnTo>
                  <a:pt x="3775545" y="4324869"/>
                </a:lnTo>
                <a:cubicBezTo>
                  <a:pt x="3762790" y="4357668"/>
                  <a:pt x="3781011" y="4324869"/>
                  <a:pt x="3768256" y="4355846"/>
                </a:cubicBezTo>
                <a:lnTo>
                  <a:pt x="3806522" y="4355846"/>
                </a:lnTo>
                <a:lnTo>
                  <a:pt x="3799233" y="4370423"/>
                </a:lnTo>
                <a:lnTo>
                  <a:pt x="3777367" y="4370423"/>
                </a:lnTo>
                <a:cubicBezTo>
                  <a:pt x="3788300" y="4386823"/>
                  <a:pt x="3777367" y="4379534"/>
                  <a:pt x="3799233" y="4385000"/>
                </a:cubicBezTo>
                <a:lnTo>
                  <a:pt x="3799233" y="4370423"/>
                </a:lnTo>
                <a:lnTo>
                  <a:pt x="3813810" y="4370423"/>
                </a:lnTo>
                <a:cubicBezTo>
                  <a:pt x="3808344" y="4392289"/>
                  <a:pt x="3811988" y="4383178"/>
                  <a:pt x="3799233" y="4401400"/>
                </a:cubicBezTo>
                <a:lnTo>
                  <a:pt x="3784656" y="4394111"/>
                </a:lnTo>
                <a:lnTo>
                  <a:pt x="3781011" y="4410511"/>
                </a:lnTo>
                <a:lnTo>
                  <a:pt x="3775545" y="4394111"/>
                </a:lnTo>
                <a:lnTo>
                  <a:pt x="3753679" y="4410511"/>
                </a:lnTo>
                <a:lnTo>
                  <a:pt x="3753679" y="4388645"/>
                </a:lnTo>
                <a:cubicBezTo>
                  <a:pt x="3748212" y="4392289"/>
                  <a:pt x="3735457" y="4403222"/>
                  <a:pt x="3731813" y="4403222"/>
                </a:cubicBezTo>
                <a:cubicBezTo>
                  <a:pt x="3704480" y="4403222"/>
                  <a:pt x="3729990" y="4405044"/>
                  <a:pt x="3709947" y="4395934"/>
                </a:cubicBezTo>
                <a:lnTo>
                  <a:pt x="3723478" y="4370424"/>
                </a:lnTo>
                <a:lnTo>
                  <a:pt x="3709947" y="4370424"/>
                </a:lnTo>
                <a:lnTo>
                  <a:pt x="3709947" y="4386823"/>
                </a:lnTo>
                <a:lnTo>
                  <a:pt x="3693547" y="4377712"/>
                </a:lnTo>
                <a:lnTo>
                  <a:pt x="3709946" y="4355847"/>
                </a:lnTo>
                <a:lnTo>
                  <a:pt x="3695370" y="4348558"/>
                </a:lnTo>
                <a:lnTo>
                  <a:pt x="3717235" y="4328375"/>
                </a:lnTo>
                <a:lnTo>
                  <a:pt x="3717235" y="4304825"/>
                </a:lnTo>
                <a:lnTo>
                  <a:pt x="3697191" y="4319402"/>
                </a:lnTo>
                <a:lnTo>
                  <a:pt x="3680792" y="4306647"/>
                </a:lnTo>
                <a:cubicBezTo>
                  <a:pt x="3671681" y="4324869"/>
                  <a:pt x="3673503" y="4308469"/>
                  <a:pt x="3680792" y="4328513"/>
                </a:cubicBezTo>
                <a:lnTo>
                  <a:pt x="3658926" y="4328513"/>
                </a:lnTo>
                <a:cubicBezTo>
                  <a:pt x="3629771" y="4328513"/>
                  <a:pt x="3655281" y="4324869"/>
                  <a:pt x="3637060" y="4333980"/>
                </a:cubicBezTo>
                <a:lnTo>
                  <a:pt x="3613371" y="4312113"/>
                </a:lnTo>
                <a:cubicBezTo>
                  <a:pt x="3600616" y="4344913"/>
                  <a:pt x="3618838" y="4312113"/>
                  <a:pt x="3606082" y="4343091"/>
                </a:cubicBezTo>
                <a:lnTo>
                  <a:pt x="3627949" y="4343091"/>
                </a:lnTo>
                <a:cubicBezTo>
                  <a:pt x="3618382" y="4366324"/>
                  <a:pt x="3632390" y="4359832"/>
                  <a:pt x="3626924" y="4364359"/>
                </a:cubicBezTo>
                <a:lnTo>
                  <a:pt x="3617162" y="4371352"/>
                </a:lnTo>
                <a:lnTo>
                  <a:pt x="3620660" y="4370423"/>
                </a:lnTo>
                <a:lnTo>
                  <a:pt x="3627949" y="4395934"/>
                </a:lnTo>
                <a:lnTo>
                  <a:pt x="3618838" y="4410511"/>
                </a:lnTo>
                <a:lnTo>
                  <a:pt x="3626127" y="4425088"/>
                </a:lnTo>
                <a:cubicBezTo>
                  <a:pt x="3620660" y="4423266"/>
                  <a:pt x="3615194" y="4421444"/>
                  <a:pt x="3613372" y="4421444"/>
                </a:cubicBezTo>
                <a:lnTo>
                  <a:pt x="3613021" y="4421023"/>
                </a:lnTo>
                <a:lnTo>
                  <a:pt x="3612688" y="4422355"/>
                </a:lnTo>
                <a:cubicBezTo>
                  <a:pt x="3611890" y="4421899"/>
                  <a:pt x="3611150" y="4421216"/>
                  <a:pt x="3611065" y="4420646"/>
                </a:cubicBezTo>
                <a:lnTo>
                  <a:pt x="3612263" y="4420114"/>
                </a:lnTo>
                <a:lnTo>
                  <a:pt x="3604261" y="4410511"/>
                </a:lnTo>
                <a:lnTo>
                  <a:pt x="3604261" y="4432377"/>
                </a:lnTo>
                <a:cubicBezTo>
                  <a:pt x="3575105" y="4410511"/>
                  <a:pt x="3602438" y="4432377"/>
                  <a:pt x="3589683" y="4401400"/>
                </a:cubicBezTo>
                <a:lnTo>
                  <a:pt x="3613372" y="4401400"/>
                </a:lnTo>
                <a:cubicBezTo>
                  <a:pt x="3605172" y="4381356"/>
                  <a:pt x="3603805" y="4375890"/>
                  <a:pt x="3606083" y="4374295"/>
                </a:cubicBezTo>
                <a:lnTo>
                  <a:pt x="3612503" y="4372590"/>
                </a:lnTo>
                <a:lnTo>
                  <a:pt x="3608503" y="4365783"/>
                </a:lnTo>
                <a:cubicBezTo>
                  <a:pt x="3605513" y="4361768"/>
                  <a:pt x="3607904" y="4367234"/>
                  <a:pt x="3613371" y="4352201"/>
                </a:cubicBezTo>
                <a:lnTo>
                  <a:pt x="3591505" y="4352201"/>
                </a:lnTo>
                <a:cubicBezTo>
                  <a:pt x="3600616" y="4332157"/>
                  <a:pt x="3604260" y="4344913"/>
                  <a:pt x="3584216" y="4330335"/>
                </a:cubicBezTo>
                <a:lnTo>
                  <a:pt x="3582394" y="4354023"/>
                </a:lnTo>
                <a:lnTo>
                  <a:pt x="3560528" y="4337624"/>
                </a:lnTo>
                <a:cubicBezTo>
                  <a:pt x="3547773" y="4357668"/>
                  <a:pt x="3547773" y="4361312"/>
                  <a:pt x="3522263" y="4368601"/>
                </a:cubicBezTo>
                <a:lnTo>
                  <a:pt x="3522263" y="4354023"/>
                </a:lnTo>
                <a:cubicBezTo>
                  <a:pt x="3498574" y="4370423"/>
                  <a:pt x="3518618" y="4366779"/>
                  <a:pt x="3485819" y="4368601"/>
                </a:cubicBezTo>
                <a:lnTo>
                  <a:pt x="3493108" y="4390467"/>
                </a:lnTo>
                <a:cubicBezTo>
                  <a:pt x="3538662" y="4388645"/>
                  <a:pt x="3522263" y="4374068"/>
                  <a:pt x="3538662" y="4397756"/>
                </a:cubicBezTo>
                <a:lnTo>
                  <a:pt x="3516796" y="4397756"/>
                </a:lnTo>
                <a:cubicBezTo>
                  <a:pt x="3523174" y="4413245"/>
                  <a:pt x="3521807" y="4412789"/>
                  <a:pt x="3519985" y="4412334"/>
                </a:cubicBezTo>
                <a:lnTo>
                  <a:pt x="3518429" y="4413275"/>
                </a:lnTo>
                <a:lnTo>
                  <a:pt x="3513152" y="4401400"/>
                </a:lnTo>
                <a:lnTo>
                  <a:pt x="3498574" y="4406867"/>
                </a:lnTo>
                <a:lnTo>
                  <a:pt x="3498574" y="4392289"/>
                </a:lnTo>
                <a:lnTo>
                  <a:pt x="3476708" y="4392289"/>
                </a:lnTo>
                <a:lnTo>
                  <a:pt x="3476708" y="4377712"/>
                </a:lnTo>
                <a:lnTo>
                  <a:pt x="3462131" y="4386823"/>
                </a:lnTo>
                <a:lnTo>
                  <a:pt x="3447553" y="4370423"/>
                </a:lnTo>
                <a:cubicBezTo>
                  <a:pt x="3449376" y="4401400"/>
                  <a:pt x="3449376" y="4403222"/>
                  <a:pt x="3469419" y="4394111"/>
                </a:cubicBezTo>
                <a:lnTo>
                  <a:pt x="3473064" y="4417800"/>
                </a:lnTo>
                <a:cubicBezTo>
                  <a:pt x="3467597" y="4437844"/>
                  <a:pt x="3463953" y="4425088"/>
                  <a:pt x="3483997" y="4439666"/>
                </a:cubicBezTo>
                <a:cubicBezTo>
                  <a:pt x="3485819" y="4403222"/>
                  <a:pt x="3474886" y="4425088"/>
                  <a:pt x="3498574" y="4408689"/>
                </a:cubicBezTo>
                <a:lnTo>
                  <a:pt x="3518481" y="4416984"/>
                </a:lnTo>
                <a:lnTo>
                  <a:pt x="3520440" y="4426910"/>
                </a:lnTo>
                <a:lnTo>
                  <a:pt x="3514974" y="4445132"/>
                </a:lnTo>
                <a:lnTo>
                  <a:pt x="3493108" y="4436021"/>
                </a:lnTo>
                <a:cubicBezTo>
                  <a:pt x="3486731" y="4451510"/>
                  <a:pt x="3488097" y="4451510"/>
                  <a:pt x="3489691" y="4451282"/>
                </a:cubicBezTo>
                <a:lnTo>
                  <a:pt x="3491017" y="4452421"/>
                </a:lnTo>
                <a:lnTo>
                  <a:pt x="3469419" y="4452421"/>
                </a:lnTo>
                <a:cubicBezTo>
                  <a:pt x="3474886" y="4465176"/>
                  <a:pt x="3474886" y="4470643"/>
                  <a:pt x="3473064" y="4472465"/>
                </a:cubicBezTo>
                <a:cubicBezTo>
                  <a:pt x="3474886" y="4474287"/>
                  <a:pt x="3478530" y="4474287"/>
                  <a:pt x="3483997" y="4476109"/>
                </a:cubicBezTo>
                <a:lnTo>
                  <a:pt x="3491230" y="4452605"/>
                </a:lnTo>
                <a:lnTo>
                  <a:pt x="3491314" y="4452677"/>
                </a:lnTo>
                <a:cubicBezTo>
                  <a:pt x="3491286" y="4454357"/>
                  <a:pt x="3490374" y="4457888"/>
                  <a:pt x="3487641" y="4465176"/>
                </a:cubicBezTo>
                <a:lnTo>
                  <a:pt x="3500397" y="4479754"/>
                </a:lnTo>
                <a:lnTo>
                  <a:pt x="3485819" y="4496153"/>
                </a:lnTo>
                <a:lnTo>
                  <a:pt x="3476465" y="4490808"/>
                </a:lnTo>
                <a:lnTo>
                  <a:pt x="3447554" y="4505264"/>
                </a:lnTo>
                <a:lnTo>
                  <a:pt x="3438443" y="4490687"/>
                </a:lnTo>
                <a:lnTo>
                  <a:pt x="3423865" y="4476109"/>
                </a:lnTo>
                <a:lnTo>
                  <a:pt x="3434596" y="4476109"/>
                </a:lnTo>
                <a:lnTo>
                  <a:pt x="3440265" y="4463354"/>
                </a:lnTo>
                <a:lnTo>
                  <a:pt x="3409288" y="4448776"/>
                </a:lnTo>
                <a:lnTo>
                  <a:pt x="3431154" y="4432377"/>
                </a:lnTo>
                <a:lnTo>
                  <a:pt x="3431154" y="4448776"/>
                </a:lnTo>
                <a:lnTo>
                  <a:pt x="3445731" y="4448776"/>
                </a:lnTo>
                <a:lnTo>
                  <a:pt x="3436621" y="4426910"/>
                </a:lnTo>
                <a:lnTo>
                  <a:pt x="3414754" y="4419622"/>
                </a:lnTo>
                <a:lnTo>
                  <a:pt x="3407466" y="4448776"/>
                </a:lnTo>
                <a:lnTo>
                  <a:pt x="3391066" y="4446954"/>
                </a:lnTo>
                <a:lnTo>
                  <a:pt x="3378311" y="4461532"/>
                </a:lnTo>
                <a:lnTo>
                  <a:pt x="3347334" y="4456065"/>
                </a:lnTo>
                <a:cubicBezTo>
                  <a:pt x="3356445" y="4437844"/>
                  <a:pt x="3354623" y="4454243"/>
                  <a:pt x="3347334" y="4434199"/>
                </a:cubicBezTo>
                <a:cubicBezTo>
                  <a:pt x="3340045" y="4439666"/>
                  <a:pt x="3336401" y="4443310"/>
                  <a:pt x="3334579" y="4443310"/>
                </a:cubicBezTo>
                <a:cubicBezTo>
                  <a:pt x="3336401" y="4443310"/>
                  <a:pt x="3341867" y="4443310"/>
                  <a:pt x="3332756" y="4457887"/>
                </a:cubicBezTo>
                <a:cubicBezTo>
                  <a:pt x="3329112" y="4459710"/>
                  <a:pt x="3327290" y="4461532"/>
                  <a:pt x="3327290" y="4463354"/>
                </a:cubicBezTo>
                <a:cubicBezTo>
                  <a:pt x="3325468" y="4463354"/>
                  <a:pt x="3323646" y="4461532"/>
                  <a:pt x="3320001" y="4459710"/>
                </a:cubicBezTo>
                <a:lnTo>
                  <a:pt x="3303602" y="4472465"/>
                </a:lnTo>
                <a:lnTo>
                  <a:pt x="3296313" y="4457887"/>
                </a:lnTo>
                <a:lnTo>
                  <a:pt x="3320001" y="4436021"/>
                </a:lnTo>
                <a:lnTo>
                  <a:pt x="3296313" y="4426910"/>
                </a:lnTo>
                <a:lnTo>
                  <a:pt x="3310890" y="4426910"/>
                </a:lnTo>
                <a:lnTo>
                  <a:pt x="3318179" y="4403222"/>
                </a:lnTo>
                <a:lnTo>
                  <a:pt x="3309068" y="4397756"/>
                </a:lnTo>
                <a:cubicBezTo>
                  <a:pt x="3290847" y="4410511"/>
                  <a:pt x="3294491" y="4397756"/>
                  <a:pt x="3303602" y="4419622"/>
                </a:cubicBezTo>
                <a:lnTo>
                  <a:pt x="3296313" y="4426910"/>
                </a:lnTo>
                <a:lnTo>
                  <a:pt x="3274447" y="4434199"/>
                </a:lnTo>
                <a:lnTo>
                  <a:pt x="3259869" y="4426910"/>
                </a:lnTo>
                <a:lnTo>
                  <a:pt x="3245292" y="4426910"/>
                </a:lnTo>
                <a:cubicBezTo>
                  <a:pt x="3217960" y="4426910"/>
                  <a:pt x="3238003" y="4425088"/>
                  <a:pt x="3230715" y="4434199"/>
                </a:cubicBezTo>
                <a:lnTo>
                  <a:pt x="3216137" y="4426910"/>
                </a:lnTo>
                <a:lnTo>
                  <a:pt x="3208849" y="4434199"/>
                </a:lnTo>
                <a:lnTo>
                  <a:pt x="3199738" y="4419622"/>
                </a:lnTo>
                <a:lnTo>
                  <a:pt x="3183338" y="4432377"/>
                </a:lnTo>
                <a:lnTo>
                  <a:pt x="3194271" y="4439666"/>
                </a:lnTo>
                <a:lnTo>
                  <a:pt x="3208849" y="4434199"/>
                </a:lnTo>
                <a:cubicBezTo>
                  <a:pt x="3210671" y="4463354"/>
                  <a:pt x="3210671" y="4465176"/>
                  <a:pt x="3230715" y="4456065"/>
                </a:cubicBezTo>
                <a:lnTo>
                  <a:pt x="3252581" y="4465176"/>
                </a:lnTo>
                <a:lnTo>
                  <a:pt x="3236181" y="4443310"/>
                </a:lnTo>
                <a:lnTo>
                  <a:pt x="3245292" y="4436021"/>
                </a:lnTo>
                <a:lnTo>
                  <a:pt x="3259869" y="4448776"/>
                </a:lnTo>
                <a:cubicBezTo>
                  <a:pt x="3290847" y="4437844"/>
                  <a:pt x="3258047" y="4456065"/>
                  <a:pt x="3289024" y="4443310"/>
                </a:cubicBezTo>
                <a:lnTo>
                  <a:pt x="3296313" y="4457887"/>
                </a:lnTo>
                <a:lnTo>
                  <a:pt x="3281736" y="4457887"/>
                </a:lnTo>
                <a:cubicBezTo>
                  <a:pt x="3270803" y="4474287"/>
                  <a:pt x="3281736" y="4466998"/>
                  <a:pt x="3259869" y="4472465"/>
                </a:cubicBezTo>
                <a:lnTo>
                  <a:pt x="3259869" y="4496153"/>
                </a:lnTo>
                <a:lnTo>
                  <a:pt x="3239826" y="4481576"/>
                </a:lnTo>
                <a:lnTo>
                  <a:pt x="3228893" y="4488865"/>
                </a:lnTo>
                <a:lnTo>
                  <a:pt x="3245292" y="4503442"/>
                </a:lnTo>
                <a:lnTo>
                  <a:pt x="3238003" y="4516197"/>
                </a:lnTo>
                <a:lnTo>
                  <a:pt x="3250759" y="4530774"/>
                </a:lnTo>
                <a:lnTo>
                  <a:pt x="3243470" y="4541707"/>
                </a:lnTo>
                <a:lnTo>
                  <a:pt x="3228893" y="4525308"/>
                </a:lnTo>
                <a:lnTo>
                  <a:pt x="3214315" y="4532597"/>
                </a:lnTo>
                <a:cubicBezTo>
                  <a:pt x="3197916" y="4508908"/>
                  <a:pt x="3201560" y="4527130"/>
                  <a:pt x="3199738" y="4494331"/>
                </a:cubicBezTo>
                <a:lnTo>
                  <a:pt x="3214315" y="4501620"/>
                </a:lnTo>
                <a:cubicBezTo>
                  <a:pt x="3214315" y="4483398"/>
                  <a:pt x="3208849" y="4463354"/>
                  <a:pt x="3192449" y="4463354"/>
                </a:cubicBezTo>
                <a:cubicBezTo>
                  <a:pt x="3163294" y="4463354"/>
                  <a:pt x="3190627" y="4461532"/>
                  <a:pt x="3168761" y="4472465"/>
                </a:cubicBezTo>
                <a:lnTo>
                  <a:pt x="3190627" y="4499797"/>
                </a:lnTo>
                <a:lnTo>
                  <a:pt x="3185160" y="4508908"/>
                </a:lnTo>
                <a:cubicBezTo>
                  <a:pt x="3174227" y="4499797"/>
                  <a:pt x="3163294" y="4497975"/>
                  <a:pt x="3163294" y="4477931"/>
                </a:cubicBezTo>
                <a:lnTo>
                  <a:pt x="3163294" y="4461532"/>
                </a:lnTo>
                <a:lnTo>
                  <a:pt x="3170583" y="4446954"/>
                </a:lnTo>
                <a:lnTo>
                  <a:pt x="3170583" y="4415978"/>
                </a:lnTo>
                <a:cubicBezTo>
                  <a:pt x="3150539" y="4430555"/>
                  <a:pt x="3154184" y="4417800"/>
                  <a:pt x="3163294" y="4437844"/>
                </a:cubicBezTo>
                <a:lnTo>
                  <a:pt x="3148717" y="4445132"/>
                </a:lnTo>
                <a:cubicBezTo>
                  <a:pt x="3157828" y="4463354"/>
                  <a:pt x="3156006" y="4448776"/>
                  <a:pt x="3146895" y="4468820"/>
                </a:cubicBezTo>
                <a:lnTo>
                  <a:pt x="3125029" y="4445132"/>
                </a:lnTo>
                <a:lnTo>
                  <a:pt x="3139606" y="4445132"/>
                </a:lnTo>
                <a:lnTo>
                  <a:pt x="3132317" y="4423266"/>
                </a:lnTo>
                <a:lnTo>
                  <a:pt x="3117740" y="4432377"/>
                </a:lnTo>
                <a:lnTo>
                  <a:pt x="3125029" y="4446954"/>
                </a:lnTo>
                <a:lnTo>
                  <a:pt x="3110451" y="4454243"/>
                </a:lnTo>
                <a:cubicBezTo>
                  <a:pt x="3119562" y="4474287"/>
                  <a:pt x="3119562" y="4457887"/>
                  <a:pt x="3112274" y="4476109"/>
                </a:cubicBezTo>
                <a:lnTo>
                  <a:pt x="3125029" y="4492509"/>
                </a:lnTo>
                <a:cubicBezTo>
                  <a:pt x="3110451" y="4499797"/>
                  <a:pt x="3103163" y="4499797"/>
                  <a:pt x="3086763" y="4492509"/>
                </a:cubicBezTo>
                <a:lnTo>
                  <a:pt x="3103163" y="4470643"/>
                </a:lnTo>
                <a:lnTo>
                  <a:pt x="3079474" y="4468820"/>
                </a:lnTo>
                <a:lnTo>
                  <a:pt x="3095874" y="4446954"/>
                </a:lnTo>
                <a:cubicBezTo>
                  <a:pt x="3086763" y="4441488"/>
                  <a:pt x="3088585" y="4439666"/>
                  <a:pt x="3074008" y="4439666"/>
                </a:cubicBezTo>
                <a:lnTo>
                  <a:pt x="3066719" y="4439666"/>
                </a:lnTo>
                <a:cubicBezTo>
                  <a:pt x="3035742" y="4439666"/>
                  <a:pt x="3063075" y="4437844"/>
                  <a:pt x="3052142" y="4446954"/>
                </a:cubicBezTo>
                <a:lnTo>
                  <a:pt x="3030276" y="4439666"/>
                </a:lnTo>
                <a:lnTo>
                  <a:pt x="3030276" y="4454243"/>
                </a:lnTo>
                <a:lnTo>
                  <a:pt x="3015698" y="4454243"/>
                </a:lnTo>
                <a:cubicBezTo>
                  <a:pt x="3021165" y="4432377"/>
                  <a:pt x="3015698" y="4443310"/>
                  <a:pt x="3032098" y="4430555"/>
                </a:cubicBezTo>
                <a:lnTo>
                  <a:pt x="3024809" y="4415978"/>
                </a:lnTo>
                <a:lnTo>
                  <a:pt x="3046675" y="4415978"/>
                </a:lnTo>
                <a:cubicBezTo>
                  <a:pt x="3075830" y="4415978"/>
                  <a:pt x="3048497" y="4414155"/>
                  <a:pt x="3072186" y="4423266"/>
                </a:cubicBezTo>
                <a:lnTo>
                  <a:pt x="3068541" y="4355846"/>
                </a:lnTo>
                <a:cubicBezTo>
                  <a:pt x="3048497" y="4370423"/>
                  <a:pt x="3052142" y="4355846"/>
                  <a:pt x="3061253" y="4377712"/>
                </a:cubicBezTo>
                <a:lnTo>
                  <a:pt x="3044853" y="4377712"/>
                </a:lnTo>
                <a:lnTo>
                  <a:pt x="3053964" y="4403222"/>
                </a:lnTo>
                <a:lnTo>
                  <a:pt x="3015698" y="4399578"/>
                </a:lnTo>
                <a:lnTo>
                  <a:pt x="3015698" y="4421444"/>
                </a:lnTo>
                <a:cubicBezTo>
                  <a:pt x="2993832" y="4415978"/>
                  <a:pt x="3001121" y="4425088"/>
                  <a:pt x="3008410" y="4406867"/>
                </a:cubicBezTo>
                <a:lnTo>
                  <a:pt x="2992010" y="4406867"/>
                </a:lnTo>
                <a:lnTo>
                  <a:pt x="2999299" y="4390467"/>
                </a:lnTo>
                <a:lnTo>
                  <a:pt x="2968322" y="4399578"/>
                </a:lnTo>
                <a:lnTo>
                  <a:pt x="2986543" y="4370423"/>
                </a:lnTo>
                <a:lnTo>
                  <a:pt x="2979255" y="4355846"/>
                </a:lnTo>
                <a:lnTo>
                  <a:pt x="3002943" y="4354023"/>
                </a:lnTo>
                <a:lnTo>
                  <a:pt x="2988610" y="4342875"/>
                </a:lnTo>
                <a:lnTo>
                  <a:pt x="2970144" y="4348557"/>
                </a:lnTo>
                <a:lnTo>
                  <a:pt x="2979255" y="4332157"/>
                </a:lnTo>
                <a:lnTo>
                  <a:pt x="2986543" y="4336712"/>
                </a:lnTo>
                <a:lnTo>
                  <a:pt x="2986543" y="4317580"/>
                </a:lnTo>
                <a:lnTo>
                  <a:pt x="2971966" y="4324869"/>
                </a:lnTo>
                <a:lnTo>
                  <a:pt x="2962855" y="4310291"/>
                </a:lnTo>
                <a:lnTo>
                  <a:pt x="2948278" y="4317580"/>
                </a:lnTo>
                <a:lnTo>
                  <a:pt x="2948278" y="4295714"/>
                </a:lnTo>
                <a:cubicBezTo>
                  <a:pt x="2928234" y="4310291"/>
                  <a:pt x="2931878" y="4295714"/>
                  <a:pt x="2940989" y="4317580"/>
                </a:cubicBezTo>
                <a:lnTo>
                  <a:pt x="2926412" y="4317580"/>
                </a:lnTo>
                <a:lnTo>
                  <a:pt x="2924590" y="4333980"/>
                </a:lnTo>
                <a:lnTo>
                  <a:pt x="2902724" y="4310291"/>
                </a:lnTo>
                <a:cubicBezTo>
                  <a:pt x="2879035" y="4326691"/>
                  <a:pt x="2886324" y="4333980"/>
                  <a:pt x="2857169" y="4341268"/>
                </a:cubicBezTo>
                <a:lnTo>
                  <a:pt x="2857169" y="4350379"/>
                </a:lnTo>
                <a:lnTo>
                  <a:pt x="2840769" y="4343091"/>
                </a:lnTo>
                <a:lnTo>
                  <a:pt x="2848058" y="4328513"/>
                </a:lnTo>
                <a:lnTo>
                  <a:pt x="2864458" y="4315758"/>
                </a:lnTo>
                <a:lnTo>
                  <a:pt x="2848058" y="4313936"/>
                </a:lnTo>
                <a:lnTo>
                  <a:pt x="2848058" y="4328513"/>
                </a:lnTo>
                <a:lnTo>
                  <a:pt x="2826192" y="4328513"/>
                </a:lnTo>
                <a:lnTo>
                  <a:pt x="2809793" y="4304825"/>
                </a:lnTo>
                <a:lnTo>
                  <a:pt x="2838947" y="4310291"/>
                </a:lnTo>
                <a:lnTo>
                  <a:pt x="2855347" y="4306647"/>
                </a:lnTo>
                <a:lnTo>
                  <a:pt x="2855347" y="4298288"/>
                </a:lnTo>
                <a:lnTo>
                  <a:pt x="2835304" y="4303004"/>
                </a:lnTo>
                <a:lnTo>
                  <a:pt x="2842592" y="4288427"/>
                </a:lnTo>
                <a:lnTo>
                  <a:pt x="2820726" y="4288427"/>
                </a:lnTo>
                <a:cubicBezTo>
                  <a:pt x="2828926" y="4276582"/>
                  <a:pt x="2827559" y="4273393"/>
                  <a:pt x="2828698" y="4272937"/>
                </a:cubicBezTo>
                <a:cubicBezTo>
                  <a:pt x="2829837" y="4272482"/>
                  <a:pt x="2833481" y="4274760"/>
                  <a:pt x="2851703" y="4273849"/>
                </a:cubicBezTo>
                <a:lnTo>
                  <a:pt x="2860947" y="4287715"/>
                </a:lnTo>
                <a:lnTo>
                  <a:pt x="2871747" y="4279315"/>
                </a:lnTo>
                <a:lnTo>
                  <a:pt x="2840769" y="4270204"/>
                </a:lnTo>
                <a:lnTo>
                  <a:pt x="2862636" y="4239226"/>
                </a:lnTo>
                <a:lnTo>
                  <a:pt x="2824370" y="4239226"/>
                </a:lnTo>
                <a:cubicBezTo>
                  <a:pt x="2840769" y="4213716"/>
                  <a:pt x="2842592" y="4228294"/>
                  <a:pt x="2846236" y="4193672"/>
                </a:cubicBezTo>
                <a:cubicBezTo>
                  <a:pt x="2826192" y="4202783"/>
                  <a:pt x="2826192" y="4202783"/>
                  <a:pt x="2824370" y="4171806"/>
                </a:cubicBezTo>
                <a:cubicBezTo>
                  <a:pt x="2795215" y="4193672"/>
                  <a:pt x="2822548" y="4171806"/>
                  <a:pt x="2813437" y="4200961"/>
                </a:cubicBezTo>
                <a:lnTo>
                  <a:pt x="2818903" y="4217360"/>
                </a:lnTo>
                <a:lnTo>
                  <a:pt x="2800682" y="4241049"/>
                </a:lnTo>
                <a:lnTo>
                  <a:pt x="2778816" y="4217360"/>
                </a:lnTo>
                <a:lnTo>
                  <a:pt x="2800682" y="4217360"/>
                </a:lnTo>
                <a:cubicBezTo>
                  <a:pt x="2787927" y="4197317"/>
                  <a:pt x="2800682" y="4200961"/>
                  <a:pt x="2778816" y="4210072"/>
                </a:cubicBezTo>
                <a:cubicBezTo>
                  <a:pt x="2776082" y="4185473"/>
                  <a:pt x="2777449" y="4190598"/>
                  <a:pt x="2772154" y="4184704"/>
                </a:cubicBezTo>
                <a:lnTo>
                  <a:pt x="2766464" y="4176743"/>
                </a:lnTo>
                <a:lnTo>
                  <a:pt x="2775171" y="4204606"/>
                </a:lnTo>
                <a:lnTo>
                  <a:pt x="2767882" y="4226472"/>
                </a:lnTo>
                <a:lnTo>
                  <a:pt x="2738728" y="4219184"/>
                </a:lnTo>
                <a:lnTo>
                  <a:pt x="2713217" y="4191851"/>
                </a:lnTo>
                <a:lnTo>
                  <a:pt x="2736906" y="4190029"/>
                </a:lnTo>
                <a:cubicBezTo>
                  <a:pt x="2745106" y="4190029"/>
                  <a:pt x="2749206" y="4188662"/>
                  <a:pt x="2752850" y="4186156"/>
                </a:cubicBezTo>
                <a:lnTo>
                  <a:pt x="2765731" y="4175717"/>
                </a:lnTo>
                <a:lnTo>
                  <a:pt x="2764238" y="4173628"/>
                </a:lnTo>
                <a:lnTo>
                  <a:pt x="2771527" y="4164517"/>
                </a:lnTo>
                <a:lnTo>
                  <a:pt x="2793393" y="4180917"/>
                </a:lnTo>
                <a:lnTo>
                  <a:pt x="2802504" y="4166339"/>
                </a:lnTo>
                <a:lnTo>
                  <a:pt x="2727795" y="4151762"/>
                </a:lnTo>
                <a:cubicBezTo>
                  <a:pt x="2723695" y="4135363"/>
                  <a:pt x="2726770" y="4137413"/>
                  <a:pt x="2721645" y="4134850"/>
                </a:cubicBezTo>
                <a:lnTo>
                  <a:pt x="2713630" y="4130139"/>
                </a:lnTo>
                <a:lnTo>
                  <a:pt x="2713290" y="4129781"/>
                </a:lnTo>
                <a:lnTo>
                  <a:pt x="2722328" y="4115319"/>
                </a:lnTo>
                <a:lnTo>
                  <a:pt x="2736906" y="4122607"/>
                </a:lnTo>
                <a:lnTo>
                  <a:pt x="2736906" y="4142651"/>
                </a:lnTo>
                <a:lnTo>
                  <a:pt x="2758772" y="4142651"/>
                </a:lnTo>
                <a:lnTo>
                  <a:pt x="2736906" y="4120785"/>
                </a:lnTo>
                <a:lnTo>
                  <a:pt x="2760594" y="4091630"/>
                </a:lnTo>
                <a:lnTo>
                  <a:pt x="2739962" y="4083696"/>
                </a:lnTo>
                <a:lnTo>
                  <a:pt x="2740550" y="4082520"/>
                </a:lnTo>
                <a:lnTo>
                  <a:pt x="2751483" y="4082520"/>
                </a:lnTo>
                <a:lnTo>
                  <a:pt x="2766060" y="4075231"/>
                </a:lnTo>
                <a:lnTo>
                  <a:pt x="2773349" y="4082520"/>
                </a:lnTo>
                <a:lnTo>
                  <a:pt x="2767882" y="4091630"/>
                </a:lnTo>
                <a:lnTo>
                  <a:pt x="2775171" y="4104386"/>
                </a:lnTo>
                <a:cubicBezTo>
                  <a:pt x="2764238" y="4124430"/>
                  <a:pt x="2764238" y="4111674"/>
                  <a:pt x="2775171" y="4135363"/>
                </a:cubicBezTo>
                <a:cubicBezTo>
                  <a:pt x="2795215" y="4122607"/>
                  <a:pt x="2791571" y="4135363"/>
                  <a:pt x="2782460" y="4113497"/>
                </a:cubicBezTo>
                <a:lnTo>
                  <a:pt x="2791571" y="4091630"/>
                </a:lnTo>
                <a:lnTo>
                  <a:pt x="2775171" y="4084342"/>
                </a:lnTo>
                <a:lnTo>
                  <a:pt x="2791571" y="4062476"/>
                </a:lnTo>
                <a:cubicBezTo>
                  <a:pt x="2749661" y="4064298"/>
                  <a:pt x="2771527" y="4077053"/>
                  <a:pt x="2753305" y="4053365"/>
                </a:cubicBezTo>
                <a:lnTo>
                  <a:pt x="2775171" y="4053365"/>
                </a:lnTo>
                <a:cubicBezTo>
                  <a:pt x="2767882" y="4035143"/>
                  <a:pt x="2766060" y="4051543"/>
                  <a:pt x="2775171" y="4031499"/>
                </a:cubicBezTo>
                <a:lnTo>
                  <a:pt x="2753305" y="4031499"/>
                </a:lnTo>
                <a:lnTo>
                  <a:pt x="2740550" y="4015099"/>
                </a:lnTo>
                <a:cubicBezTo>
                  <a:pt x="2746016" y="3998700"/>
                  <a:pt x="2753305" y="4009633"/>
                  <a:pt x="2731439" y="4002344"/>
                </a:cubicBezTo>
                <a:lnTo>
                  <a:pt x="2727795" y="4018744"/>
                </a:lnTo>
                <a:cubicBezTo>
                  <a:pt x="2733261" y="4036965"/>
                  <a:pt x="2731439" y="4011455"/>
                  <a:pt x="2731439" y="4040610"/>
                </a:cubicBezTo>
                <a:cubicBezTo>
                  <a:pt x="2731439" y="4040610"/>
                  <a:pt x="2724150" y="4055187"/>
                  <a:pt x="2724150" y="4055187"/>
                </a:cubicBezTo>
                <a:lnTo>
                  <a:pt x="2746016" y="4071586"/>
                </a:lnTo>
                <a:lnTo>
                  <a:pt x="2740550" y="4082520"/>
                </a:lnTo>
                <a:lnTo>
                  <a:pt x="2736906" y="4082520"/>
                </a:lnTo>
                <a:lnTo>
                  <a:pt x="2739962" y="4083696"/>
                </a:lnTo>
                <a:lnTo>
                  <a:pt x="2738728" y="4086164"/>
                </a:lnTo>
                <a:lnTo>
                  <a:pt x="2729617" y="4080697"/>
                </a:lnTo>
                <a:lnTo>
                  <a:pt x="2716862" y="4087986"/>
                </a:lnTo>
                <a:lnTo>
                  <a:pt x="2702284" y="4071586"/>
                </a:lnTo>
                <a:lnTo>
                  <a:pt x="2707751" y="4104386"/>
                </a:lnTo>
                <a:cubicBezTo>
                  <a:pt x="2708662" y="4111675"/>
                  <a:pt x="2707751" y="4118964"/>
                  <a:pt x="2708206" y="4124430"/>
                </a:cubicBezTo>
                <a:lnTo>
                  <a:pt x="2713290" y="4129781"/>
                </a:lnTo>
                <a:lnTo>
                  <a:pt x="2713217" y="4129896"/>
                </a:lnTo>
                <a:lnTo>
                  <a:pt x="2713630" y="4130139"/>
                </a:lnTo>
                <a:lnTo>
                  <a:pt x="2716862" y="4133541"/>
                </a:lnTo>
                <a:lnTo>
                  <a:pt x="2709573" y="4140829"/>
                </a:lnTo>
                <a:lnTo>
                  <a:pt x="2716862" y="4155407"/>
                </a:lnTo>
                <a:cubicBezTo>
                  <a:pt x="2707751" y="4155407"/>
                  <a:pt x="2709573" y="4151762"/>
                  <a:pt x="2709573" y="4162695"/>
                </a:cubicBezTo>
                <a:cubicBezTo>
                  <a:pt x="2709573" y="4190028"/>
                  <a:pt x="2707751" y="4164517"/>
                  <a:pt x="2716862" y="4184561"/>
                </a:cubicBezTo>
                <a:lnTo>
                  <a:pt x="2694996" y="4184561"/>
                </a:lnTo>
                <a:cubicBezTo>
                  <a:pt x="2707751" y="4153584"/>
                  <a:pt x="2689529" y="4186384"/>
                  <a:pt x="2702284" y="4153584"/>
                </a:cubicBezTo>
                <a:lnTo>
                  <a:pt x="2673130" y="4162695"/>
                </a:lnTo>
                <a:lnTo>
                  <a:pt x="2673130" y="4148118"/>
                </a:lnTo>
                <a:lnTo>
                  <a:pt x="2689529" y="4146296"/>
                </a:lnTo>
                <a:lnTo>
                  <a:pt x="2664019" y="4124430"/>
                </a:lnTo>
                <a:lnTo>
                  <a:pt x="2680418" y="4100741"/>
                </a:lnTo>
                <a:lnTo>
                  <a:pt x="2649441" y="4093452"/>
                </a:lnTo>
                <a:lnTo>
                  <a:pt x="2656730" y="4080697"/>
                </a:lnTo>
                <a:lnTo>
                  <a:pt x="2634864" y="4055187"/>
                </a:lnTo>
                <a:lnTo>
                  <a:pt x="2620287" y="4062476"/>
                </a:lnTo>
                <a:lnTo>
                  <a:pt x="2620287" y="4040610"/>
                </a:lnTo>
                <a:lnTo>
                  <a:pt x="2643975" y="4040610"/>
                </a:lnTo>
                <a:lnTo>
                  <a:pt x="2636686" y="4026032"/>
                </a:lnTo>
                <a:lnTo>
                  <a:pt x="2658552" y="4024210"/>
                </a:lnTo>
                <a:lnTo>
                  <a:pt x="2674952" y="4009633"/>
                </a:lnTo>
                <a:lnTo>
                  <a:pt x="2671307" y="3995055"/>
                </a:lnTo>
                <a:lnTo>
                  <a:pt x="2676774" y="3969545"/>
                </a:lnTo>
                <a:lnTo>
                  <a:pt x="2705929" y="3993233"/>
                </a:lnTo>
                <a:lnTo>
                  <a:pt x="2698640" y="4007810"/>
                </a:lnTo>
                <a:lnTo>
                  <a:pt x="2722328" y="4007810"/>
                </a:lnTo>
                <a:lnTo>
                  <a:pt x="2715040" y="3993233"/>
                </a:lnTo>
                <a:lnTo>
                  <a:pt x="2740550" y="3993233"/>
                </a:lnTo>
                <a:cubicBezTo>
                  <a:pt x="2742372" y="3956789"/>
                  <a:pt x="2731439" y="3978656"/>
                  <a:pt x="2755127" y="3962256"/>
                </a:cubicBezTo>
                <a:cubicBezTo>
                  <a:pt x="2742372" y="3942212"/>
                  <a:pt x="2751483" y="3954967"/>
                  <a:pt x="2755127" y="3947679"/>
                </a:cubicBezTo>
                <a:cubicBezTo>
                  <a:pt x="2758772" y="3945857"/>
                  <a:pt x="2760594" y="3944034"/>
                  <a:pt x="2760594" y="3942212"/>
                </a:cubicBezTo>
                <a:cubicBezTo>
                  <a:pt x="2762416" y="3944034"/>
                  <a:pt x="2764238" y="3945857"/>
                  <a:pt x="2769705" y="3947679"/>
                </a:cubicBezTo>
                <a:cubicBezTo>
                  <a:pt x="2786104" y="3925813"/>
                  <a:pt x="2764238" y="3936746"/>
                  <a:pt x="2800682" y="3933101"/>
                </a:cubicBezTo>
                <a:lnTo>
                  <a:pt x="2793393" y="3918524"/>
                </a:lnTo>
                <a:lnTo>
                  <a:pt x="2824370" y="3887547"/>
                </a:lnTo>
                <a:lnTo>
                  <a:pt x="2838947" y="3887547"/>
                </a:lnTo>
                <a:lnTo>
                  <a:pt x="2860813" y="3896658"/>
                </a:lnTo>
                <a:cubicBezTo>
                  <a:pt x="2855347" y="3871147"/>
                  <a:pt x="2853525" y="3883903"/>
                  <a:pt x="2860813" y="3865681"/>
                </a:cubicBezTo>
                <a:cubicBezTo>
                  <a:pt x="2829837" y="3867503"/>
                  <a:pt x="2835303" y="3867503"/>
                  <a:pt x="2822548" y="3887547"/>
                </a:cubicBezTo>
                <a:lnTo>
                  <a:pt x="2807971" y="3880258"/>
                </a:lnTo>
                <a:lnTo>
                  <a:pt x="2786104" y="3905769"/>
                </a:lnTo>
                <a:lnTo>
                  <a:pt x="2791571" y="3918524"/>
                </a:lnTo>
                <a:lnTo>
                  <a:pt x="2769705" y="3925813"/>
                </a:lnTo>
                <a:cubicBezTo>
                  <a:pt x="2744194" y="3909413"/>
                  <a:pt x="2764238" y="3913057"/>
                  <a:pt x="2731439" y="3911235"/>
                </a:cubicBezTo>
                <a:cubicBezTo>
                  <a:pt x="2740550" y="3891191"/>
                  <a:pt x="2740550" y="3907591"/>
                  <a:pt x="2733261" y="3889369"/>
                </a:cubicBezTo>
                <a:lnTo>
                  <a:pt x="2738728" y="3880258"/>
                </a:lnTo>
                <a:lnTo>
                  <a:pt x="2751483" y="3874792"/>
                </a:lnTo>
                <a:lnTo>
                  <a:pt x="2767882" y="3887547"/>
                </a:lnTo>
                <a:cubicBezTo>
                  <a:pt x="2758772" y="3907591"/>
                  <a:pt x="2755127" y="3894836"/>
                  <a:pt x="2775171" y="3902124"/>
                </a:cubicBezTo>
                <a:cubicBezTo>
                  <a:pt x="2780638" y="3878436"/>
                  <a:pt x="2776993" y="3889369"/>
                  <a:pt x="2789749" y="3871147"/>
                </a:cubicBezTo>
                <a:lnTo>
                  <a:pt x="2767882" y="3871147"/>
                </a:lnTo>
                <a:lnTo>
                  <a:pt x="2751483" y="3849281"/>
                </a:lnTo>
                <a:lnTo>
                  <a:pt x="2776993" y="3840170"/>
                </a:lnTo>
                <a:lnTo>
                  <a:pt x="2776993" y="3854748"/>
                </a:lnTo>
                <a:cubicBezTo>
                  <a:pt x="2797037" y="3845637"/>
                  <a:pt x="2780638" y="3845637"/>
                  <a:pt x="2798860" y="3852926"/>
                </a:cubicBezTo>
                <a:lnTo>
                  <a:pt x="2807971" y="3847459"/>
                </a:lnTo>
                <a:lnTo>
                  <a:pt x="2807971" y="3869325"/>
                </a:lnTo>
                <a:lnTo>
                  <a:pt x="2822548" y="3854748"/>
                </a:lnTo>
                <a:lnTo>
                  <a:pt x="2837125" y="3854748"/>
                </a:lnTo>
                <a:cubicBezTo>
                  <a:pt x="2842592" y="3827415"/>
                  <a:pt x="2838947" y="3836526"/>
                  <a:pt x="2858991" y="3823771"/>
                </a:cubicBezTo>
                <a:lnTo>
                  <a:pt x="2853525" y="3854748"/>
                </a:lnTo>
                <a:lnTo>
                  <a:pt x="2882680" y="3847459"/>
                </a:lnTo>
                <a:lnTo>
                  <a:pt x="2858991" y="3823771"/>
                </a:lnTo>
                <a:lnTo>
                  <a:pt x="2875391" y="3801905"/>
                </a:lnTo>
                <a:lnTo>
                  <a:pt x="2844414" y="3794616"/>
                </a:lnTo>
                <a:cubicBezTo>
                  <a:pt x="2837125" y="3812838"/>
                  <a:pt x="2835303" y="3796438"/>
                  <a:pt x="2844414" y="3816482"/>
                </a:cubicBezTo>
                <a:lnTo>
                  <a:pt x="2822548" y="3832882"/>
                </a:lnTo>
                <a:lnTo>
                  <a:pt x="2829837" y="3845637"/>
                </a:lnTo>
                <a:lnTo>
                  <a:pt x="2822548" y="3852926"/>
                </a:lnTo>
                <a:lnTo>
                  <a:pt x="2807971" y="3845637"/>
                </a:lnTo>
                <a:lnTo>
                  <a:pt x="2815259" y="3831060"/>
                </a:lnTo>
                <a:lnTo>
                  <a:pt x="2793393" y="3831060"/>
                </a:lnTo>
                <a:cubicBezTo>
                  <a:pt x="2815259" y="3800083"/>
                  <a:pt x="2791571" y="3829237"/>
                  <a:pt x="2824370" y="3814660"/>
                </a:cubicBezTo>
                <a:lnTo>
                  <a:pt x="2807971" y="3792794"/>
                </a:lnTo>
                <a:cubicBezTo>
                  <a:pt x="2787927" y="3801905"/>
                  <a:pt x="2804326" y="3800083"/>
                  <a:pt x="2786104" y="3794616"/>
                </a:cubicBezTo>
                <a:lnTo>
                  <a:pt x="2760594" y="3816482"/>
                </a:lnTo>
                <a:lnTo>
                  <a:pt x="2767882" y="3832882"/>
                </a:lnTo>
                <a:lnTo>
                  <a:pt x="2738728" y="3823771"/>
                </a:lnTo>
                <a:lnTo>
                  <a:pt x="2746016" y="3809194"/>
                </a:lnTo>
                <a:cubicBezTo>
                  <a:pt x="2715040" y="3796438"/>
                  <a:pt x="2736906" y="3825593"/>
                  <a:pt x="2715040" y="3794616"/>
                </a:cubicBezTo>
                <a:lnTo>
                  <a:pt x="2736906" y="3794616"/>
                </a:lnTo>
                <a:cubicBezTo>
                  <a:pt x="2718684" y="3770928"/>
                  <a:pt x="2740550" y="3783683"/>
                  <a:pt x="2700462" y="3789150"/>
                </a:cubicBezTo>
                <a:lnTo>
                  <a:pt x="2684063" y="3803727"/>
                </a:lnTo>
                <a:lnTo>
                  <a:pt x="2691351" y="3818304"/>
                </a:lnTo>
                <a:lnTo>
                  <a:pt x="2684063" y="3840170"/>
                </a:lnTo>
                <a:lnTo>
                  <a:pt x="2705929" y="3840170"/>
                </a:lnTo>
                <a:cubicBezTo>
                  <a:pt x="2700462" y="3856570"/>
                  <a:pt x="2700462" y="3863859"/>
                  <a:pt x="2705929" y="3880258"/>
                </a:cubicBezTo>
                <a:lnTo>
                  <a:pt x="2678596" y="3872970"/>
                </a:lnTo>
                <a:lnTo>
                  <a:pt x="2658552" y="3885725"/>
                </a:lnTo>
                <a:lnTo>
                  <a:pt x="2662197" y="3847459"/>
                </a:lnTo>
                <a:cubicBezTo>
                  <a:pt x="2643975" y="3838348"/>
                  <a:pt x="2660374" y="3840170"/>
                  <a:pt x="2640330" y="3847459"/>
                </a:cubicBezTo>
                <a:cubicBezTo>
                  <a:pt x="2643975" y="3818304"/>
                  <a:pt x="2643975" y="3816482"/>
                  <a:pt x="2662197" y="3823771"/>
                </a:cubicBezTo>
                <a:lnTo>
                  <a:pt x="2678596" y="3811016"/>
                </a:lnTo>
                <a:cubicBezTo>
                  <a:pt x="2671307" y="3790972"/>
                  <a:pt x="2671307" y="3807371"/>
                  <a:pt x="2678596" y="3787328"/>
                </a:cubicBezTo>
                <a:lnTo>
                  <a:pt x="2656730" y="3792794"/>
                </a:lnTo>
                <a:lnTo>
                  <a:pt x="2640330" y="3789150"/>
                </a:lnTo>
                <a:cubicBezTo>
                  <a:pt x="2651263" y="3763639"/>
                  <a:pt x="2636686" y="3769106"/>
                  <a:pt x="2647619" y="3743595"/>
                </a:cubicBezTo>
                <a:lnTo>
                  <a:pt x="2684063" y="3758173"/>
                </a:lnTo>
                <a:lnTo>
                  <a:pt x="2691351" y="3743595"/>
                </a:lnTo>
                <a:lnTo>
                  <a:pt x="2713217" y="3734484"/>
                </a:lnTo>
                <a:lnTo>
                  <a:pt x="2707751" y="3767284"/>
                </a:lnTo>
                <a:lnTo>
                  <a:pt x="2744194" y="3772750"/>
                </a:lnTo>
                <a:lnTo>
                  <a:pt x="2744194" y="3759995"/>
                </a:lnTo>
                <a:lnTo>
                  <a:pt x="2729617" y="3759995"/>
                </a:lnTo>
                <a:cubicBezTo>
                  <a:pt x="2727795" y="3727196"/>
                  <a:pt x="2731439" y="3745417"/>
                  <a:pt x="2715040" y="3721729"/>
                </a:cubicBezTo>
                <a:lnTo>
                  <a:pt x="2731439" y="3696219"/>
                </a:lnTo>
                <a:cubicBezTo>
                  <a:pt x="2709573" y="3687108"/>
                  <a:pt x="2694996" y="3665242"/>
                  <a:pt x="2684063" y="3648842"/>
                </a:cubicBezTo>
                <a:lnTo>
                  <a:pt x="2705929" y="3639731"/>
                </a:lnTo>
                <a:cubicBezTo>
                  <a:pt x="2698640" y="3621510"/>
                  <a:pt x="2713217" y="3625154"/>
                  <a:pt x="2691351" y="3634265"/>
                </a:cubicBezTo>
                <a:lnTo>
                  <a:pt x="2674952" y="3612399"/>
                </a:lnTo>
                <a:lnTo>
                  <a:pt x="2698640" y="3595999"/>
                </a:lnTo>
                <a:lnTo>
                  <a:pt x="2674952" y="3568667"/>
                </a:lnTo>
                <a:lnTo>
                  <a:pt x="2662197" y="3575955"/>
                </a:lnTo>
                <a:lnTo>
                  <a:pt x="2638508" y="3546800"/>
                </a:lnTo>
                <a:cubicBezTo>
                  <a:pt x="2664019" y="3537690"/>
                  <a:pt x="2645797" y="3555911"/>
                  <a:pt x="2662197" y="3523112"/>
                </a:cubicBezTo>
                <a:lnTo>
                  <a:pt x="2640330" y="3523112"/>
                </a:lnTo>
                <a:lnTo>
                  <a:pt x="2647619" y="3537690"/>
                </a:lnTo>
                <a:lnTo>
                  <a:pt x="2623931" y="3537690"/>
                </a:lnTo>
                <a:lnTo>
                  <a:pt x="2631219" y="3523112"/>
                </a:lnTo>
                <a:lnTo>
                  <a:pt x="2614820" y="3515824"/>
                </a:lnTo>
                <a:lnTo>
                  <a:pt x="2623931" y="3537690"/>
                </a:lnTo>
                <a:lnTo>
                  <a:pt x="2631219" y="3552267"/>
                </a:lnTo>
                <a:cubicBezTo>
                  <a:pt x="2600243" y="3555911"/>
                  <a:pt x="2607531" y="3548623"/>
                  <a:pt x="2600243" y="3575955"/>
                </a:cubicBezTo>
                <a:cubicBezTo>
                  <a:pt x="2629397" y="3568667"/>
                  <a:pt x="2611176" y="3568667"/>
                  <a:pt x="2638508" y="3561378"/>
                </a:cubicBezTo>
                <a:lnTo>
                  <a:pt x="2642153" y="3577778"/>
                </a:lnTo>
                <a:cubicBezTo>
                  <a:pt x="2638508" y="3595999"/>
                  <a:pt x="2636686" y="3579600"/>
                  <a:pt x="2645797" y="3599644"/>
                </a:cubicBezTo>
                <a:lnTo>
                  <a:pt x="2631219" y="3606932"/>
                </a:lnTo>
                <a:lnTo>
                  <a:pt x="2622109" y="3590533"/>
                </a:lnTo>
                <a:lnTo>
                  <a:pt x="2592954" y="3614221"/>
                </a:lnTo>
                <a:lnTo>
                  <a:pt x="2578377" y="3614221"/>
                </a:lnTo>
                <a:lnTo>
                  <a:pt x="2592954" y="3599644"/>
                </a:lnTo>
                <a:cubicBezTo>
                  <a:pt x="2567443" y="3594177"/>
                  <a:pt x="2561977" y="3579600"/>
                  <a:pt x="2549222" y="3563200"/>
                </a:cubicBezTo>
                <a:lnTo>
                  <a:pt x="2540111" y="3585066"/>
                </a:lnTo>
                <a:lnTo>
                  <a:pt x="2563799" y="3594177"/>
                </a:lnTo>
                <a:lnTo>
                  <a:pt x="2547400" y="3605110"/>
                </a:lnTo>
                <a:lnTo>
                  <a:pt x="2576554" y="3614221"/>
                </a:lnTo>
                <a:lnTo>
                  <a:pt x="2583843" y="3628798"/>
                </a:lnTo>
                <a:lnTo>
                  <a:pt x="2614820" y="3623332"/>
                </a:lnTo>
                <a:lnTo>
                  <a:pt x="2614820" y="3608754"/>
                </a:lnTo>
                <a:lnTo>
                  <a:pt x="2629397" y="3608754"/>
                </a:lnTo>
                <a:lnTo>
                  <a:pt x="2622109" y="3623332"/>
                </a:lnTo>
                <a:cubicBezTo>
                  <a:pt x="2642153" y="3637909"/>
                  <a:pt x="2645797" y="3634265"/>
                  <a:pt x="2653086" y="3654309"/>
                </a:cubicBezTo>
                <a:cubicBezTo>
                  <a:pt x="2671307" y="3647020"/>
                  <a:pt x="2654908" y="3645198"/>
                  <a:pt x="2674952" y="3654309"/>
                </a:cubicBezTo>
                <a:lnTo>
                  <a:pt x="2645797" y="3685286"/>
                </a:lnTo>
                <a:lnTo>
                  <a:pt x="2653086" y="3698041"/>
                </a:lnTo>
                <a:lnTo>
                  <a:pt x="2653086" y="3714441"/>
                </a:lnTo>
                <a:lnTo>
                  <a:pt x="2631219" y="3729018"/>
                </a:lnTo>
                <a:lnTo>
                  <a:pt x="2623931" y="3714441"/>
                </a:lnTo>
                <a:lnTo>
                  <a:pt x="2614820" y="3714441"/>
                </a:lnTo>
                <a:cubicBezTo>
                  <a:pt x="2607531" y="3692574"/>
                  <a:pt x="2611176" y="3701685"/>
                  <a:pt x="2600243" y="3685286"/>
                </a:cubicBezTo>
                <a:lnTo>
                  <a:pt x="2622109" y="3668886"/>
                </a:lnTo>
                <a:cubicBezTo>
                  <a:pt x="2612998" y="3650665"/>
                  <a:pt x="2614820" y="3667064"/>
                  <a:pt x="2622109" y="3647020"/>
                </a:cubicBezTo>
                <a:lnTo>
                  <a:pt x="2569266" y="3647020"/>
                </a:lnTo>
                <a:lnTo>
                  <a:pt x="2569266" y="3654309"/>
                </a:lnTo>
                <a:lnTo>
                  <a:pt x="2592954" y="3654309"/>
                </a:lnTo>
                <a:lnTo>
                  <a:pt x="2576554" y="3677997"/>
                </a:lnTo>
                <a:lnTo>
                  <a:pt x="2554688" y="3661597"/>
                </a:lnTo>
                <a:lnTo>
                  <a:pt x="2561977" y="3647020"/>
                </a:lnTo>
                <a:cubicBezTo>
                  <a:pt x="2525534" y="3648842"/>
                  <a:pt x="2547400" y="3637909"/>
                  <a:pt x="2531000" y="3661597"/>
                </a:cubicBezTo>
                <a:lnTo>
                  <a:pt x="2516423" y="3654309"/>
                </a:lnTo>
                <a:cubicBezTo>
                  <a:pt x="2523711" y="3637909"/>
                  <a:pt x="2525534" y="3630620"/>
                  <a:pt x="2509134" y="3617865"/>
                </a:cubicBezTo>
                <a:lnTo>
                  <a:pt x="2500023" y="3632443"/>
                </a:lnTo>
                <a:lnTo>
                  <a:pt x="2509134" y="3648842"/>
                </a:lnTo>
                <a:lnTo>
                  <a:pt x="2500023" y="3654309"/>
                </a:lnTo>
                <a:lnTo>
                  <a:pt x="2485446" y="3632443"/>
                </a:lnTo>
                <a:lnTo>
                  <a:pt x="2447180" y="3647020"/>
                </a:lnTo>
                <a:lnTo>
                  <a:pt x="2447180" y="3632443"/>
                </a:lnTo>
                <a:lnTo>
                  <a:pt x="2441713" y="3632443"/>
                </a:lnTo>
                <a:lnTo>
                  <a:pt x="2432603" y="3632443"/>
                </a:lnTo>
                <a:lnTo>
                  <a:pt x="2435990" y="3626006"/>
                </a:lnTo>
                <a:lnTo>
                  <a:pt x="2428823" y="3617942"/>
                </a:lnTo>
                <a:lnTo>
                  <a:pt x="2412559" y="3626976"/>
                </a:lnTo>
                <a:lnTo>
                  <a:pt x="2452647" y="3670709"/>
                </a:lnTo>
                <a:lnTo>
                  <a:pt x="2443536" y="3692575"/>
                </a:lnTo>
                <a:lnTo>
                  <a:pt x="2465402" y="3692575"/>
                </a:lnTo>
                <a:cubicBezTo>
                  <a:pt x="2458113" y="3698042"/>
                  <a:pt x="2454469" y="3699864"/>
                  <a:pt x="2452647" y="3701686"/>
                </a:cubicBezTo>
                <a:cubicBezTo>
                  <a:pt x="2452647" y="3703509"/>
                  <a:pt x="2452647" y="3708975"/>
                  <a:pt x="2449003" y="3716264"/>
                </a:cubicBezTo>
                <a:lnTo>
                  <a:pt x="2427137" y="3699864"/>
                </a:lnTo>
                <a:cubicBezTo>
                  <a:pt x="2416204" y="3716264"/>
                  <a:pt x="2427137" y="3708975"/>
                  <a:pt x="2405271" y="3714442"/>
                </a:cubicBezTo>
                <a:lnTo>
                  <a:pt x="2405271" y="3699864"/>
                </a:lnTo>
                <a:cubicBezTo>
                  <a:pt x="2385227" y="3708975"/>
                  <a:pt x="2401626" y="3708975"/>
                  <a:pt x="2383405" y="3701686"/>
                </a:cubicBezTo>
                <a:lnTo>
                  <a:pt x="2367005" y="3714442"/>
                </a:lnTo>
                <a:lnTo>
                  <a:pt x="2367005" y="3745419"/>
                </a:lnTo>
                <a:lnTo>
                  <a:pt x="2350605" y="3745419"/>
                </a:lnTo>
                <a:lnTo>
                  <a:pt x="2357894" y="3758174"/>
                </a:lnTo>
                <a:lnTo>
                  <a:pt x="2328739" y="3765462"/>
                </a:lnTo>
                <a:lnTo>
                  <a:pt x="2297761" y="3729019"/>
                </a:lnTo>
                <a:lnTo>
                  <a:pt x="2275895" y="3729019"/>
                </a:lnTo>
                <a:cubicBezTo>
                  <a:pt x="2294117" y="3705331"/>
                  <a:pt x="2274073" y="3714442"/>
                  <a:pt x="2306872" y="3721730"/>
                </a:cubicBezTo>
                <a:cubicBezTo>
                  <a:pt x="2312340" y="3703509"/>
                  <a:pt x="2314162" y="3690753"/>
                  <a:pt x="2337850" y="3690753"/>
                </a:cubicBezTo>
                <a:lnTo>
                  <a:pt x="2345139" y="3690753"/>
                </a:lnTo>
                <a:cubicBezTo>
                  <a:pt x="2372471" y="3690753"/>
                  <a:pt x="2346961" y="3688931"/>
                  <a:pt x="2367005" y="3698042"/>
                </a:cubicBezTo>
                <a:cubicBezTo>
                  <a:pt x="2368827" y="3663421"/>
                  <a:pt x="2357894" y="3685287"/>
                  <a:pt x="2381582" y="3668887"/>
                </a:cubicBezTo>
                <a:lnTo>
                  <a:pt x="2367005" y="3630621"/>
                </a:lnTo>
                <a:lnTo>
                  <a:pt x="2388871" y="3628798"/>
                </a:lnTo>
                <a:lnTo>
                  <a:pt x="2405271" y="3616043"/>
                </a:lnTo>
                <a:lnTo>
                  <a:pt x="2407093" y="3594177"/>
                </a:lnTo>
                <a:lnTo>
                  <a:pt x="2427236" y="3615999"/>
                </a:lnTo>
                <a:lnTo>
                  <a:pt x="2443535" y="3608754"/>
                </a:lnTo>
                <a:lnTo>
                  <a:pt x="2442733" y="3619183"/>
                </a:lnTo>
                <a:lnTo>
                  <a:pt x="2443622" y="3619631"/>
                </a:lnTo>
                <a:cubicBezTo>
                  <a:pt x="2445700" y="3620940"/>
                  <a:pt x="2449003" y="3622876"/>
                  <a:pt x="2454469" y="3625154"/>
                </a:cubicBezTo>
                <a:lnTo>
                  <a:pt x="2454469" y="3601466"/>
                </a:lnTo>
                <a:lnTo>
                  <a:pt x="2425314" y="3608754"/>
                </a:lnTo>
                <a:lnTo>
                  <a:pt x="2416203" y="3603288"/>
                </a:lnTo>
                <a:lnTo>
                  <a:pt x="2423492" y="3588710"/>
                </a:lnTo>
                <a:cubicBezTo>
                  <a:pt x="2441713" y="3595999"/>
                  <a:pt x="2427136" y="3595999"/>
                  <a:pt x="2447180" y="3586888"/>
                </a:cubicBezTo>
                <a:lnTo>
                  <a:pt x="2423492" y="3565022"/>
                </a:lnTo>
                <a:cubicBezTo>
                  <a:pt x="2432603" y="3546800"/>
                  <a:pt x="2430780" y="3561378"/>
                  <a:pt x="2421669" y="3541334"/>
                </a:cubicBezTo>
                <a:lnTo>
                  <a:pt x="2399803" y="3566844"/>
                </a:lnTo>
                <a:lnTo>
                  <a:pt x="2385226" y="3550445"/>
                </a:lnTo>
                <a:lnTo>
                  <a:pt x="2372471" y="3557734"/>
                </a:lnTo>
                <a:lnTo>
                  <a:pt x="2357005" y="3537113"/>
                </a:lnTo>
                <a:lnTo>
                  <a:pt x="2356413" y="3539770"/>
                </a:lnTo>
                <a:cubicBezTo>
                  <a:pt x="2357780" y="3547713"/>
                  <a:pt x="2368372" y="3539513"/>
                  <a:pt x="2345139" y="3555913"/>
                </a:cubicBezTo>
                <a:cubicBezTo>
                  <a:pt x="2338761" y="3540424"/>
                  <a:pt x="2340128" y="3540880"/>
                  <a:pt x="2341494" y="3541108"/>
                </a:cubicBezTo>
                <a:lnTo>
                  <a:pt x="2341494" y="3535979"/>
                </a:lnTo>
                <a:lnTo>
                  <a:pt x="2337850" y="3524936"/>
                </a:lnTo>
                <a:lnTo>
                  <a:pt x="2341494" y="3523113"/>
                </a:lnTo>
                <a:lnTo>
                  <a:pt x="2341494" y="3514001"/>
                </a:lnTo>
                <a:lnTo>
                  <a:pt x="2326916" y="3514001"/>
                </a:lnTo>
                <a:lnTo>
                  <a:pt x="2334205" y="3499424"/>
                </a:lnTo>
                <a:lnTo>
                  <a:pt x="2312339" y="3499424"/>
                </a:lnTo>
                <a:lnTo>
                  <a:pt x="2312339" y="3514001"/>
                </a:lnTo>
                <a:lnTo>
                  <a:pt x="2274074" y="3506713"/>
                </a:lnTo>
                <a:cubicBezTo>
                  <a:pt x="2276352" y="3511724"/>
                  <a:pt x="2277946" y="3514457"/>
                  <a:pt x="2278971" y="3516023"/>
                </a:cubicBezTo>
                <a:lnTo>
                  <a:pt x="2280013" y="3517646"/>
                </a:lnTo>
                <a:lnTo>
                  <a:pt x="2263140" y="3517646"/>
                </a:lnTo>
                <a:lnTo>
                  <a:pt x="2285007" y="3488491"/>
                </a:lnTo>
                <a:lnTo>
                  <a:pt x="2270429" y="3479380"/>
                </a:lnTo>
                <a:lnTo>
                  <a:pt x="2263140" y="3503068"/>
                </a:lnTo>
                <a:lnTo>
                  <a:pt x="2232163" y="3503068"/>
                </a:lnTo>
                <a:cubicBezTo>
                  <a:pt x="2237630" y="3508535"/>
                  <a:pt x="2241274" y="3510357"/>
                  <a:pt x="2243096" y="3512179"/>
                </a:cubicBezTo>
                <a:cubicBezTo>
                  <a:pt x="2243096" y="3515824"/>
                  <a:pt x="2243096" y="3519468"/>
                  <a:pt x="2246741" y="3526757"/>
                </a:cubicBezTo>
                <a:lnTo>
                  <a:pt x="2261318" y="3519468"/>
                </a:lnTo>
                <a:lnTo>
                  <a:pt x="2263140" y="3543156"/>
                </a:lnTo>
                <a:lnTo>
                  <a:pt x="2276123" y="3528011"/>
                </a:lnTo>
                <a:lnTo>
                  <a:pt x="2275896" y="3528579"/>
                </a:lnTo>
                <a:lnTo>
                  <a:pt x="2305050" y="3559556"/>
                </a:lnTo>
                <a:lnTo>
                  <a:pt x="2283184" y="3559556"/>
                </a:lnTo>
                <a:cubicBezTo>
                  <a:pt x="2272251" y="3590533"/>
                  <a:pt x="2281362" y="3561378"/>
                  <a:pt x="2259496" y="3588710"/>
                </a:cubicBezTo>
                <a:lnTo>
                  <a:pt x="2230341" y="3597821"/>
                </a:lnTo>
                <a:lnTo>
                  <a:pt x="2223053" y="3583244"/>
                </a:lnTo>
                <a:cubicBezTo>
                  <a:pt x="2248563" y="3566844"/>
                  <a:pt x="2228519" y="3570489"/>
                  <a:pt x="2261318" y="3568667"/>
                </a:cubicBezTo>
                <a:cubicBezTo>
                  <a:pt x="2243096" y="3544978"/>
                  <a:pt x="2264963" y="3557734"/>
                  <a:pt x="2223053" y="3561378"/>
                </a:cubicBezTo>
                <a:lnTo>
                  <a:pt x="2223053" y="3583244"/>
                </a:lnTo>
                <a:lnTo>
                  <a:pt x="2208475" y="3575955"/>
                </a:lnTo>
                <a:cubicBezTo>
                  <a:pt x="2204831" y="3581422"/>
                  <a:pt x="2204831" y="3590533"/>
                  <a:pt x="2193898" y="3590533"/>
                </a:cubicBezTo>
                <a:cubicBezTo>
                  <a:pt x="2177498" y="3590533"/>
                  <a:pt x="2177498" y="3585066"/>
                  <a:pt x="2162921" y="3574133"/>
                </a:cubicBezTo>
                <a:lnTo>
                  <a:pt x="2175393" y="3563443"/>
                </a:lnTo>
                <a:lnTo>
                  <a:pt x="2155633" y="3548623"/>
                </a:lnTo>
                <a:lnTo>
                  <a:pt x="2155633" y="3526756"/>
                </a:lnTo>
                <a:lnTo>
                  <a:pt x="2165421" y="3532658"/>
                </a:lnTo>
                <a:lnTo>
                  <a:pt x="2163775" y="3525419"/>
                </a:lnTo>
                <a:cubicBezTo>
                  <a:pt x="2162523" y="3520237"/>
                  <a:pt x="2161953" y="3519724"/>
                  <a:pt x="2158878" y="3515909"/>
                </a:cubicBezTo>
                <a:lnTo>
                  <a:pt x="2154719" y="3510357"/>
                </a:lnTo>
                <a:lnTo>
                  <a:pt x="2155632" y="3510357"/>
                </a:lnTo>
                <a:lnTo>
                  <a:pt x="2155632" y="3506433"/>
                </a:lnTo>
                <a:lnTo>
                  <a:pt x="2175676" y="3504891"/>
                </a:lnTo>
                <a:lnTo>
                  <a:pt x="2159277" y="3492135"/>
                </a:lnTo>
                <a:lnTo>
                  <a:pt x="2155632" y="3499425"/>
                </a:lnTo>
                <a:lnTo>
                  <a:pt x="2155632" y="3495780"/>
                </a:lnTo>
                <a:lnTo>
                  <a:pt x="2199364" y="3448403"/>
                </a:lnTo>
                <a:lnTo>
                  <a:pt x="2170210" y="3457514"/>
                </a:lnTo>
                <a:lnTo>
                  <a:pt x="2139233" y="3459336"/>
                </a:lnTo>
                <a:lnTo>
                  <a:pt x="2155632" y="3481202"/>
                </a:lnTo>
                <a:lnTo>
                  <a:pt x="2155632" y="3495780"/>
                </a:lnTo>
                <a:cubicBezTo>
                  <a:pt x="2144699" y="3483024"/>
                  <a:pt x="2142877" y="3481202"/>
                  <a:pt x="2128300" y="3472091"/>
                </a:cubicBezTo>
                <a:lnTo>
                  <a:pt x="2135588" y="3457514"/>
                </a:lnTo>
                <a:lnTo>
                  <a:pt x="2113722" y="3457514"/>
                </a:lnTo>
                <a:lnTo>
                  <a:pt x="2119189" y="3488491"/>
                </a:lnTo>
                <a:cubicBezTo>
                  <a:pt x="2150166" y="3504891"/>
                  <a:pt x="2131944" y="3484847"/>
                  <a:pt x="2141055" y="3510357"/>
                </a:cubicBezTo>
                <a:lnTo>
                  <a:pt x="2145914" y="3510357"/>
                </a:lnTo>
                <a:lnTo>
                  <a:pt x="2142877" y="3512179"/>
                </a:lnTo>
                <a:lnTo>
                  <a:pt x="2137410" y="3521290"/>
                </a:lnTo>
                <a:lnTo>
                  <a:pt x="2122273" y="3514562"/>
                </a:lnTo>
                <a:lnTo>
                  <a:pt x="2133766" y="3503068"/>
                </a:lnTo>
                <a:lnTo>
                  <a:pt x="2119189" y="3503068"/>
                </a:lnTo>
                <a:lnTo>
                  <a:pt x="2119189" y="3517646"/>
                </a:lnTo>
                <a:lnTo>
                  <a:pt x="2121315" y="3515520"/>
                </a:lnTo>
                <a:lnTo>
                  <a:pt x="2130122" y="3559556"/>
                </a:lnTo>
                <a:cubicBezTo>
                  <a:pt x="2111900" y="3548623"/>
                  <a:pt x="2121011" y="3550445"/>
                  <a:pt x="2099145" y="3544978"/>
                </a:cubicBezTo>
                <a:lnTo>
                  <a:pt x="2097323" y="3561378"/>
                </a:lnTo>
                <a:lnTo>
                  <a:pt x="2060879" y="3530401"/>
                </a:lnTo>
                <a:lnTo>
                  <a:pt x="2060879" y="3506713"/>
                </a:lnTo>
                <a:lnTo>
                  <a:pt x="2031724" y="3515824"/>
                </a:lnTo>
                <a:cubicBezTo>
                  <a:pt x="2040835" y="3495780"/>
                  <a:pt x="2039013" y="3512179"/>
                  <a:pt x="2031724" y="3493957"/>
                </a:cubicBezTo>
                <a:lnTo>
                  <a:pt x="1993459" y="3508535"/>
                </a:lnTo>
                <a:lnTo>
                  <a:pt x="1977059" y="3499424"/>
                </a:lnTo>
                <a:lnTo>
                  <a:pt x="1957015" y="3514001"/>
                </a:lnTo>
                <a:lnTo>
                  <a:pt x="1947904" y="3508535"/>
                </a:lnTo>
                <a:lnTo>
                  <a:pt x="1955194" y="3484847"/>
                </a:lnTo>
                <a:cubicBezTo>
                  <a:pt x="1977059" y="3479380"/>
                  <a:pt x="1966126" y="3486669"/>
                  <a:pt x="1977059" y="3470269"/>
                </a:cubicBezTo>
                <a:lnTo>
                  <a:pt x="1953371" y="3470269"/>
                </a:lnTo>
                <a:lnTo>
                  <a:pt x="1960659" y="3453870"/>
                </a:lnTo>
                <a:lnTo>
                  <a:pt x="1933327" y="3461158"/>
                </a:lnTo>
                <a:lnTo>
                  <a:pt x="1918750" y="3448403"/>
                </a:lnTo>
                <a:lnTo>
                  <a:pt x="1907816" y="3455692"/>
                </a:lnTo>
                <a:lnTo>
                  <a:pt x="1931505" y="3483024"/>
                </a:lnTo>
                <a:lnTo>
                  <a:pt x="1902350" y="3492135"/>
                </a:lnTo>
                <a:cubicBezTo>
                  <a:pt x="1900528" y="3461158"/>
                  <a:pt x="1895061" y="3466625"/>
                  <a:pt x="1887773" y="3439292"/>
                </a:cubicBezTo>
                <a:lnTo>
                  <a:pt x="1847685" y="3441115"/>
                </a:lnTo>
                <a:lnTo>
                  <a:pt x="1887773" y="3477558"/>
                </a:lnTo>
                <a:cubicBezTo>
                  <a:pt x="1878662" y="3495780"/>
                  <a:pt x="1880484" y="3479380"/>
                  <a:pt x="1887773" y="3499424"/>
                </a:cubicBezTo>
                <a:lnTo>
                  <a:pt x="1865906" y="3499424"/>
                </a:lnTo>
                <a:cubicBezTo>
                  <a:pt x="1836753" y="3499424"/>
                  <a:pt x="1864084" y="3497602"/>
                  <a:pt x="1844040" y="3506713"/>
                </a:cubicBezTo>
                <a:lnTo>
                  <a:pt x="1836753" y="3492135"/>
                </a:lnTo>
                <a:lnTo>
                  <a:pt x="1814886" y="3499424"/>
                </a:lnTo>
                <a:cubicBezTo>
                  <a:pt x="1822174" y="3472091"/>
                  <a:pt x="1816709" y="3479380"/>
                  <a:pt x="1845864" y="3477558"/>
                </a:cubicBezTo>
                <a:cubicBezTo>
                  <a:pt x="1833107" y="3446581"/>
                  <a:pt x="1862262" y="3468447"/>
                  <a:pt x="1831285" y="3446581"/>
                </a:cubicBezTo>
                <a:lnTo>
                  <a:pt x="1831285" y="3450225"/>
                </a:lnTo>
                <a:lnTo>
                  <a:pt x="1822174" y="3433826"/>
                </a:lnTo>
                <a:lnTo>
                  <a:pt x="1807598" y="3448403"/>
                </a:lnTo>
                <a:lnTo>
                  <a:pt x="1831285" y="3450225"/>
                </a:lnTo>
                <a:lnTo>
                  <a:pt x="1831285" y="3470269"/>
                </a:lnTo>
                <a:lnTo>
                  <a:pt x="1802130" y="3461158"/>
                </a:lnTo>
                <a:cubicBezTo>
                  <a:pt x="1798487" y="3459336"/>
                  <a:pt x="1765687" y="3439292"/>
                  <a:pt x="1763865" y="3439292"/>
                </a:cubicBezTo>
                <a:cubicBezTo>
                  <a:pt x="1762043" y="3439292"/>
                  <a:pt x="1731066" y="3459336"/>
                  <a:pt x="1727421" y="3461158"/>
                </a:cubicBezTo>
                <a:lnTo>
                  <a:pt x="1720133" y="3433826"/>
                </a:lnTo>
                <a:lnTo>
                  <a:pt x="1732888" y="3419248"/>
                </a:lnTo>
                <a:lnTo>
                  <a:pt x="1725599" y="3410137"/>
                </a:lnTo>
                <a:lnTo>
                  <a:pt x="1703733" y="3426537"/>
                </a:lnTo>
                <a:cubicBezTo>
                  <a:pt x="1716488" y="3457514"/>
                  <a:pt x="1698266" y="3424715"/>
                  <a:pt x="1711022" y="3457514"/>
                </a:cubicBezTo>
                <a:lnTo>
                  <a:pt x="1681867" y="3448403"/>
                </a:lnTo>
                <a:cubicBezTo>
                  <a:pt x="1689157" y="3428359"/>
                  <a:pt x="1689157" y="3444759"/>
                  <a:pt x="1680046" y="3424715"/>
                </a:cubicBezTo>
                <a:lnTo>
                  <a:pt x="1658179" y="3442937"/>
                </a:lnTo>
                <a:lnTo>
                  <a:pt x="1636313" y="3433826"/>
                </a:lnTo>
                <a:lnTo>
                  <a:pt x="1636313" y="3455692"/>
                </a:lnTo>
                <a:cubicBezTo>
                  <a:pt x="1607158" y="3435648"/>
                  <a:pt x="1638135" y="3462981"/>
                  <a:pt x="1621735" y="3430181"/>
                </a:cubicBezTo>
                <a:lnTo>
                  <a:pt x="1607158" y="3426537"/>
                </a:lnTo>
                <a:cubicBezTo>
                  <a:pt x="1605336" y="3422893"/>
                  <a:pt x="1603513" y="3421071"/>
                  <a:pt x="1601691" y="3421071"/>
                </a:cubicBezTo>
                <a:cubicBezTo>
                  <a:pt x="1603513" y="3419248"/>
                  <a:pt x="1603513" y="3417426"/>
                  <a:pt x="1605336" y="3413782"/>
                </a:cubicBezTo>
                <a:lnTo>
                  <a:pt x="1583470" y="3390094"/>
                </a:lnTo>
                <a:cubicBezTo>
                  <a:pt x="1601691" y="3379160"/>
                  <a:pt x="1592580" y="3380983"/>
                  <a:pt x="1614447" y="3375516"/>
                </a:cubicBezTo>
                <a:cubicBezTo>
                  <a:pt x="1607158" y="3346361"/>
                  <a:pt x="1612624" y="3353650"/>
                  <a:pt x="1576181" y="3353650"/>
                </a:cubicBezTo>
                <a:lnTo>
                  <a:pt x="1583470" y="3368228"/>
                </a:lnTo>
                <a:lnTo>
                  <a:pt x="1568892" y="3406493"/>
                </a:lnTo>
                <a:lnTo>
                  <a:pt x="1561603" y="3399205"/>
                </a:lnTo>
                <a:cubicBezTo>
                  <a:pt x="1541559" y="3411960"/>
                  <a:pt x="1554315" y="3402849"/>
                  <a:pt x="1547026" y="3399205"/>
                </a:cubicBezTo>
                <a:cubicBezTo>
                  <a:pt x="1539737" y="3384627"/>
                  <a:pt x="1543382" y="3384627"/>
                  <a:pt x="1545204" y="3384627"/>
                </a:cubicBezTo>
                <a:cubicBezTo>
                  <a:pt x="1543382" y="3382805"/>
                  <a:pt x="1539737" y="3380983"/>
                  <a:pt x="1532450" y="3375516"/>
                </a:cubicBezTo>
                <a:lnTo>
                  <a:pt x="1532450" y="3408315"/>
                </a:lnTo>
                <a:lnTo>
                  <a:pt x="1510583" y="3408315"/>
                </a:lnTo>
                <a:cubicBezTo>
                  <a:pt x="1519693" y="3390094"/>
                  <a:pt x="1517871" y="3406493"/>
                  <a:pt x="1510583" y="3386449"/>
                </a:cubicBezTo>
                <a:cubicBezTo>
                  <a:pt x="1472317" y="3413782"/>
                  <a:pt x="1528804" y="3395560"/>
                  <a:pt x="1488716" y="3408315"/>
                </a:cubicBezTo>
                <a:lnTo>
                  <a:pt x="1479606" y="3386449"/>
                </a:lnTo>
                <a:lnTo>
                  <a:pt x="1465028" y="3393738"/>
                </a:lnTo>
                <a:lnTo>
                  <a:pt x="1455917" y="3379160"/>
                </a:lnTo>
                <a:lnTo>
                  <a:pt x="1443162" y="3386449"/>
                </a:lnTo>
                <a:lnTo>
                  <a:pt x="1426763" y="3364583"/>
                </a:lnTo>
                <a:cubicBezTo>
                  <a:pt x="1428585" y="3362761"/>
                  <a:pt x="1428585" y="3362761"/>
                  <a:pt x="1430407" y="3362761"/>
                </a:cubicBezTo>
                <a:cubicBezTo>
                  <a:pt x="1432229" y="3360939"/>
                  <a:pt x="1432229" y="3360939"/>
                  <a:pt x="1434051" y="3360939"/>
                </a:cubicBezTo>
                <a:cubicBezTo>
                  <a:pt x="1446806" y="3359117"/>
                  <a:pt x="1461384" y="3351828"/>
                  <a:pt x="1468673" y="3364583"/>
                </a:cubicBezTo>
                <a:cubicBezTo>
                  <a:pt x="1475961" y="3364583"/>
                  <a:pt x="1477784" y="3370050"/>
                  <a:pt x="1483250" y="3371872"/>
                </a:cubicBezTo>
                <a:cubicBezTo>
                  <a:pt x="1485072" y="3370050"/>
                  <a:pt x="1485072" y="3370050"/>
                  <a:pt x="1485072" y="3368228"/>
                </a:cubicBezTo>
                <a:cubicBezTo>
                  <a:pt x="1485072" y="3366405"/>
                  <a:pt x="1483250" y="3366405"/>
                  <a:pt x="1483250" y="3364583"/>
                </a:cubicBezTo>
                <a:cubicBezTo>
                  <a:pt x="1485072" y="3364583"/>
                  <a:pt x="1488716" y="3364583"/>
                  <a:pt x="1488716" y="3362761"/>
                </a:cubicBezTo>
                <a:cubicBezTo>
                  <a:pt x="1488716" y="3359117"/>
                  <a:pt x="1486895" y="3359117"/>
                  <a:pt x="1485072" y="3357294"/>
                </a:cubicBezTo>
                <a:cubicBezTo>
                  <a:pt x="1485072" y="3351828"/>
                  <a:pt x="1477784" y="3355472"/>
                  <a:pt x="1475961" y="3357294"/>
                </a:cubicBezTo>
                <a:cubicBezTo>
                  <a:pt x="1474139" y="3357294"/>
                  <a:pt x="1474139" y="3357294"/>
                  <a:pt x="1472317" y="3355472"/>
                </a:cubicBezTo>
                <a:cubicBezTo>
                  <a:pt x="1472317" y="3353650"/>
                  <a:pt x="1472317" y="3353650"/>
                  <a:pt x="1472317" y="3351828"/>
                </a:cubicBezTo>
                <a:cubicBezTo>
                  <a:pt x="1470495" y="3351828"/>
                  <a:pt x="1468673" y="3351828"/>
                  <a:pt x="1466850" y="3351828"/>
                </a:cubicBezTo>
                <a:cubicBezTo>
                  <a:pt x="1477784" y="3340895"/>
                  <a:pt x="1490539" y="3346361"/>
                  <a:pt x="1505117" y="3342717"/>
                </a:cubicBezTo>
                <a:cubicBezTo>
                  <a:pt x="1505117" y="3342717"/>
                  <a:pt x="1506938" y="3344539"/>
                  <a:pt x="1508760" y="3344539"/>
                </a:cubicBezTo>
                <a:cubicBezTo>
                  <a:pt x="1514228" y="3340895"/>
                  <a:pt x="1525160" y="3337250"/>
                  <a:pt x="1534271" y="3335428"/>
                </a:cubicBezTo>
                <a:cubicBezTo>
                  <a:pt x="1537915" y="3329962"/>
                  <a:pt x="1547026" y="3329962"/>
                  <a:pt x="1552492" y="3326318"/>
                </a:cubicBezTo>
                <a:cubicBezTo>
                  <a:pt x="1554315" y="3326318"/>
                  <a:pt x="1556137" y="3328140"/>
                  <a:pt x="1557959" y="3326318"/>
                </a:cubicBezTo>
                <a:cubicBezTo>
                  <a:pt x="1557959" y="3324495"/>
                  <a:pt x="1557959" y="3324495"/>
                  <a:pt x="1557959" y="3322673"/>
                </a:cubicBezTo>
                <a:cubicBezTo>
                  <a:pt x="1565248" y="3317207"/>
                  <a:pt x="1572537" y="3311740"/>
                  <a:pt x="1581647" y="3306274"/>
                </a:cubicBezTo>
                <a:cubicBezTo>
                  <a:pt x="1585292" y="3304452"/>
                  <a:pt x="1590758" y="3302629"/>
                  <a:pt x="1594403" y="3300807"/>
                </a:cubicBezTo>
                <a:cubicBezTo>
                  <a:pt x="1605336" y="3293518"/>
                  <a:pt x="1616269" y="3282585"/>
                  <a:pt x="1630846" y="3278941"/>
                </a:cubicBezTo>
                <a:cubicBezTo>
                  <a:pt x="1630846" y="3277119"/>
                  <a:pt x="1630846" y="3277119"/>
                  <a:pt x="1630846" y="3275297"/>
                </a:cubicBezTo>
                <a:cubicBezTo>
                  <a:pt x="1645423" y="3266186"/>
                  <a:pt x="1660001" y="3258898"/>
                  <a:pt x="1672756" y="3249786"/>
                </a:cubicBezTo>
                <a:cubicBezTo>
                  <a:pt x="1672756" y="3257076"/>
                  <a:pt x="1670935" y="3269831"/>
                  <a:pt x="1678223" y="3278941"/>
                </a:cubicBezTo>
                <a:cubicBezTo>
                  <a:pt x="1689157" y="3273475"/>
                  <a:pt x="1687333" y="3262542"/>
                  <a:pt x="1692800" y="3255254"/>
                </a:cubicBezTo>
                <a:cubicBezTo>
                  <a:pt x="1692800" y="3253432"/>
                  <a:pt x="1692800" y="3253432"/>
                  <a:pt x="1692800" y="3251608"/>
                </a:cubicBezTo>
                <a:cubicBezTo>
                  <a:pt x="1692800" y="3251608"/>
                  <a:pt x="1694622" y="3251608"/>
                  <a:pt x="1694622" y="3251608"/>
                </a:cubicBezTo>
                <a:cubicBezTo>
                  <a:pt x="1696444" y="3260720"/>
                  <a:pt x="1700089" y="3271653"/>
                  <a:pt x="1705555" y="3284408"/>
                </a:cubicBezTo>
                <a:cubicBezTo>
                  <a:pt x="1709200" y="3284408"/>
                  <a:pt x="1707377" y="3282585"/>
                  <a:pt x="1709200" y="3282585"/>
                </a:cubicBezTo>
                <a:cubicBezTo>
                  <a:pt x="1712844" y="3286230"/>
                  <a:pt x="1716488" y="3291696"/>
                  <a:pt x="1720133" y="3289874"/>
                </a:cubicBezTo>
                <a:cubicBezTo>
                  <a:pt x="1725599" y="3288052"/>
                  <a:pt x="1721955" y="3275297"/>
                  <a:pt x="1718310" y="3268009"/>
                </a:cubicBezTo>
                <a:cubicBezTo>
                  <a:pt x="1720133" y="3269831"/>
                  <a:pt x="1721955" y="3269831"/>
                  <a:pt x="1723777" y="3269831"/>
                </a:cubicBezTo>
                <a:cubicBezTo>
                  <a:pt x="1723777" y="3260720"/>
                  <a:pt x="1716488" y="3255254"/>
                  <a:pt x="1709200" y="3253432"/>
                </a:cubicBezTo>
                <a:cubicBezTo>
                  <a:pt x="1709200" y="3253432"/>
                  <a:pt x="1711022" y="3251608"/>
                  <a:pt x="1711022" y="3251608"/>
                </a:cubicBezTo>
                <a:cubicBezTo>
                  <a:pt x="1716488" y="3257076"/>
                  <a:pt x="1734710" y="3260720"/>
                  <a:pt x="1738354" y="3251608"/>
                </a:cubicBezTo>
                <a:cubicBezTo>
                  <a:pt x="1732888" y="3246142"/>
                  <a:pt x="1723777" y="3244320"/>
                  <a:pt x="1714666" y="3246142"/>
                </a:cubicBezTo>
                <a:cubicBezTo>
                  <a:pt x="1709200" y="3246142"/>
                  <a:pt x="1707377" y="3247964"/>
                  <a:pt x="1705555" y="3246142"/>
                </a:cubicBezTo>
                <a:cubicBezTo>
                  <a:pt x="1707377" y="3242498"/>
                  <a:pt x="1703733" y="3237032"/>
                  <a:pt x="1703733" y="3235210"/>
                </a:cubicBezTo>
                <a:cubicBezTo>
                  <a:pt x="1707377" y="3238854"/>
                  <a:pt x="1712844" y="3238854"/>
                  <a:pt x="1718310" y="3237032"/>
                </a:cubicBezTo>
                <a:cubicBezTo>
                  <a:pt x="1718310" y="3235210"/>
                  <a:pt x="1716488" y="3235210"/>
                  <a:pt x="1716488" y="3233388"/>
                </a:cubicBezTo>
                <a:cubicBezTo>
                  <a:pt x="1716488" y="3231566"/>
                  <a:pt x="1718310" y="3231566"/>
                  <a:pt x="1718310" y="3229742"/>
                </a:cubicBezTo>
                <a:cubicBezTo>
                  <a:pt x="1718310" y="3227920"/>
                  <a:pt x="1714666" y="3229742"/>
                  <a:pt x="1714666" y="3227920"/>
                </a:cubicBezTo>
                <a:cubicBezTo>
                  <a:pt x="1729243" y="3220631"/>
                  <a:pt x="1740176" y="3213343"/>
                  <a:pt x="1754754" y="3207877"/>
                </a:cubicBezTo>
                <a:cubicBezTo>
                  <a:pt x="1765687" y="3207877"/>
                  <a:pt x="1774798" y="3204233"/>
                  <a:pt x="1785731" y="3207877"/>
                </a:cubicBezTo>
                <a:cubicBezTo>
                  <a:pt x="1785731" y="3211521"/>
                  <a:pt x="1782087" y="3215165"/>
                  <a:pt x="1782087" y="3218810"/>
                </a:cubicBezTo>
                <a:cubicBezTo>
                  <a:pt x="1787553" y="3216987"/>
                  <a:pt x="1787553" y="3209699"/>
                  <a:pt x="1793020" y="3206055"/>
                </a:cubicBezTo>
                <a:cubicBezTo>
                  <a:pt x="1800308" y="3204233"/>
                  <a:pt x="1809420" y="3206055"/>
                  <a:pt x="1816709" y="3206055"/>
                </a:cubicBezTo>
                <a:cubicBezTo>
                  <a:pt x="1816709" y="3206055"/>
                  <a:pt x="1814886" y="3206055"/>
                  <a:pt x="1816709" y="3207877"/>
                </a:cubicBezTo>
                <a:cubicBezTo>
                  <a:pt x="1823996" y="3207877"/>
                  <a:pt x="1833107" y="3207877"/>
                  <a:pt x="1840396" y="3209699"/>
                </a:cubicBezTo>
                <a:cubicBezTo>
                  <a:pt x="1840396" y="3211521"/>
                  <a:pt x="1838574" y="3211521"/>
                  <a:pt x="1838574" y="3213343"/>
                </a:cubicBezTo>
                <a:cubicBezTo>
                  <a:pt x="1844040" y="3218810"/>
                  <a:pt x="1851329" y="3213343"/>
                  <a:pt x="1858618" y="3213343"/>
                </a:cubicBezTo>
                <a:cubicBezTo>
                  <a:pt x="1862262" y="3213343"/>
                  <a:pt x="1867729" y="3215165"/>
                  <a:pt x="1871373" y="3216987"/>
                </a:cubicBezTo>
                <a:cubicBezTo>
                  <a:pt x="1875017" y="3216987"/>
                  <a:pt x="1880484" y="3216987"/>
                  <a:pt x="1884128" y="3218810"/>
                </a:cubicBezTo>
                <a:cubicBezTo>
                  <a:pt x="1891417" y="3222455"/>
                  <a:pt x="1898706" y="3227920"/>
                  <a:pt x="1907816" y="3226098"/>
                </a:cubicBezTo>
                <a:cubicBezTo>
                  <a:pt x="1909639" y="3226098"/>
                  <a:pt x="1909639" y="3226098"/>
                  <a:pt x="1911461" y="3227920"/>
                </a:cubicBezTo>
                <a:cubicBezTo>
                  <a:pt x="1913283" y="3231566"/>
                  <a:pt x="1918750" y="3235210"/>
                  <a:pt x="1920572" y="3229742"/>
                </a:cubicBezTo>
                <a:cubicBezTo>
                  <a:pt x="1920572" y="3227920"/>
                  <a:pt x="1918750" y="3227920"/>
                  <a:pt x="1920572" y="3226098"/>
                </a:cubicBezTo>
                <a:cubicBezTo>
                  <a:pt x="1933327" y="3227920"/>
                  <a:pt x="1946083" y="3229742"/>
                  <a:pt x="1957015" y="3235210"/>
                </a:cubicBezTo>
                <a:cubicBezTo>
                  <a:pt x="1958837" y="3237032"/>
                  <a:pt x="1960659" y="3238854"/>
                  <a:pt x="1964305" y="3238854"/>
                </a:cubicBezTo>
                <a:cubicBezTo>
                  <a:pt x="1966126" y="3237032"/>
                  <a:pt x="1966126" y="3237032"/>
                  <a:pt x="1966126" y="3235210"/>
                </a:cubicBezTo>
                <a:cubicBezTo>
                  <a:pt x="1967948" y="3235210"/>
                  <a:pt x="1967948" y="3235210"/>
                  <a:pt x="1969770" y="3235210"/>
                </a:cubicBezTo>
                <a:lnTo>
                  <a:pt x="1967948" y="3227920"/>
                </a:lnTo>
                <a:cubicBezTo>
                  <a:pt x="1960659" y="3226098"/>
                  <a:pt x="1955194" y="3226098"/>
                  <a:pt x="1949726" y="3222455"/>
                </a:cubicBezTo>
                <a:cubicBezTo>
                  <a:pt x="1951549" y="3222455"/>
                  <a:pt x="1951549" y="3220631"/>
                  <a:pt x="1951549" y="3218810"/>
                </a:cubicBezTo>
                <a:cubicBezTo>
                  <a:pt x="1949726" y="3213343"/>
                  <a:pt x="1946083" y="3216987"/>
                  <a:pt x="1942438" y="3218810"/>
                </a:cubicBezTo>
                <a:cubicBezTo>
                  <a:pt x="1936972" y="3220631"/>
                  <a:pt x="1927861" y="3216987"/>
                  <a:pt x="1922394" y="3216987"/>
                </a:cubicBezTo>
                <a:cubicBezTo>
                  <a:pt x="1916927" y="3216987"/>
                  <a:pt x="1909639" y="3215165"/>
                  <a:pt x="1904172" y="3213343"/>
                </a:cubicBezTo>
                <a:cubicBezTo>
                  <a:pt x="1900528" y="3211521"/>
                  <a:pt x="1896883" y="3209699"/>
                  <a:pt x="1893239" y="3207877"/>
                </a:cubicBezTo>
                <a:cubicBezTo>
                  <a:pt x="1887773" y="3207877"/>
                  <a:pt x="1884128" y="3207877"/>
                  <a:pt x="1880484" y="3204233"/>
                </a:cubicBezTo>
                <a:cubicBezTo>
                  <a:pt x="1884128" y="3200587"/>
                  <a:pt x="1891417" y="3206055"/>
                  <a:pt x="1895061" y="3202411"/>
                </a:cubicBezTo>
                <a:cubicBezTo>
                  <a:pt x="1900528" y="3198765"/>
                  <a:pt x="1893239" y="3189655"/>
                  <a:pt x="1887773" y="3189655"/>
                </a:cubicBezTo>
                <a:cubicBezTo>
                  <a:pt x="1891417" y="3187833"/>
                  <a:pt x="1896883" y="3189655"/>
                  <a:pt x="1904172" y="3186011"/>
                </a:cubicBezTo>
                <a:cubicBezTo>
                  <a:pt x="1909639" y="3184189"/>
                  <a:pt x="1918750" y="3173256"/>
                  <a:pt x="1916927" y="3167790"/>
                </a:cubicBezTo>
                <a:cubicBezTo>
                  <a:pt x="1915105" y="3162322"/>
                  <a:pt x="1905994" y="3165966"/>
                  <a:pt x="1898706" y="3167790"/>
                </a:cubicBezTo>
                <a:cubicBezTo>
                  <a:pt x="1893239" y="3169612"/>
                  <a:pt x="1887773" y="3167790"/>
                  <a:pt x="1882306" y="3171434"/>
                </a:cubicBezTo>
                <a:cubicBezTo>
                  <a:pt x="1882306" y="3173256"/>
                  <a:pt x="1882306" y="3175078"/>
                  <a:pt x="1880484" y="3175078"/>
                </a:cubicBezTo>
                <a:cubicBezTo>
                  <a:pt x="1880484" y="3173256"/>
                  <a:pt x="1880484" y="3171434"/>
                  <a:pt x="1878662" y="3171434"/>
                </a:cubicBezTo>
                <a:cubicBezTo>
                  <a:pt x="1880484" y="3162322"/>
                  <a:pt x="1878662" y="3144100"/>
                  <a:pt x="1869551" y="3136813"/>
                </a:cubicBezTo>
                <a:cubicBezTo>
                  <a:pt x="1853151" y="3145922"/>
                  <a:pt x="1860440" y="3167790"/>
                  <a:pt x="1869551" y="3180544"/>
                </a:cubicBezTo>
                <a:cubicBezTo>
                  <a:pt x="1867729" y="3182367"/>
                  <a:pt x="1867729" y="3182367"/>
                  <a:pt x="1865906" y="3182367"/>
                </a:cubicBezTo>
                <a:lnTo>
                  <a:pt x="1867729" y="3186011"/>
                </a:lnTo>
                <a:cubicBezTo>
                  <a:pt x="1864084" y="3186011"/>
                  <a:pt x="1865906" y="3182367"/>
                  <a:pt x="1864084" y="3180544"/>
                </a:cubicBezTo>
                <a:cubicBezTo>
                  <a:pt x="1860440" y="3173256"/>
                  <a:pt x="1851329" y="3169612"/>
                  <a:pt x="1844040" y="3171434"/>
                </a:cubicBezTo>
                <a:cubicBezTo>
                  <a:pt x="1844040" y="3178721"/>
                  <a:pt x="1856796" y="3193299"/>
                  <a:pt x="1864084" y="3187833"/>
                </a:cubicBezTo>
                <a:cubicBezTo>
                  <a:pt x="1865906" y="3187833"/>
                  <a:pt x="1867729" y="3187833"/>
                  <a:pt x="1867729" y="3189655"/>
                </a:cubicBezTo>
                <a:cubicBezTo>
                  <a:pt x="1866817" y="3189655"/>
                  <a:pt x="1865451" y="3190111"/>
                  <a:pt x="1864540" y="3190795"/>
                </a:cubicBezTo>
                <a:lnTo>
                  <a:pt x="1864084" y="3193297"/>
                </a:lnTo>
                <a:lnTo>
                  <a:pt x="1864084" y="3195121"/>
                </a:lnTo>
                <a:cubicBezTo>
                  <a:pt x="1854975" y="3196945"/>
                  <a:pt x="1849507" y="3195121"/>
                  <a:pt x="1842218" y="3195121"/>
                </a:cubicBezTo>
                <a:lnTo>
                  <a:pt x="1850877" y="3191727"/>
                </a:lnTo>
                <a:lnTo>
                  <a:pt x="1844952" y="3191021"/>
                </a:lnTo>
                <a:cubicBezTo>
                  <a:pt x="1838118" y="3191021"/>
                  <a:pt x="1831285" y="3192388"/>
                  <a:pt x="1825820" y="3196943"/>
                </a:cubicBezTo>
                <a:cubicBezTo>
                  <a:pt x="1798487" y="3191477"/>
                  <a:pt x="1762043" y="3198765"/>
                  <a:pt x="1734710" y="3191477"/>
                </a:cubicBezTo>
                <a:cubicBezTo>
                  <a:pt x="1738354" y="3189655"/>
                  <a:pt x="1732888" y="3186011"/>
                  <a:pt x="1734710" y="3182367"/>
                </a:cubicBezTo>
                <a:cubicBezTo>
                  <a:pt x="1738354" y="3182367"/>
                  <a:pt x="1743821" y="3182367"/>
                  <a:pt x="1747465" y="3182367"/>
                </a:cubicBezTo>
                <a:cubicBezTo>
                  <a:pt x="1747465" y="3175078"/>
                  <a:pt x="1738354" y="3180544"/>
                  <a:pt x="1736532" y="3175078"/>
                </a:cubicBezTo>
                <a:cubicBezTo>
                  <a:pt x="1736532" y="3171434"/>
                  <a:pt x="1741999" y="3167790"/>
                  <a:pt x="1738354" y="3162322"/>
                </a:cubicBezTo>
                <a:cubicBezTo>
                  <a:pt x="1743821" y="3158678"/>
                  <a:pt x="1751109" y="3160500"/>
                  <a:pt x="1756576" y="3158678"/>
                </a:cubicBezTo>
                <a:cubicBezTo>
                  <a:pt x="1767509" y="3155034"/>
                  <a:pt x="1772976" y="3147744"/>
                  <a:pt x="1774798" y="3138635"/>
                </a:cubicBezTo>
                <a:cubicBezTo>
                  <a:pt x="1769331" y="3133169"/>
                  <a:pt x="1752932" y="3140456"/>
                  <a:pt x="1747465" y="3145922"/>
                </a:cubicBezTo>
                <a:cubicBezTo>
                  <a:pt x="1741999" y="3144100"/>
                  <a:pt x="1734710" y="3147744"/>
                  <a:pt x="1729243" y="3145922"/>
                </a:cubicBezTo>
                <a:cubicBezTo>
                  <a:pt x="1731066" y="3144100"/>
                  <a:pt x="1734710" y="3142278"/>
                  <a:pt x="1731066" y="3140456"/>
                </a:cubicBezTo>
                <a:cubicBezTo>
                  <a:pt x="1734710" y="3136813"/>
                  <a:pt x="1740176" y="3136813"/>
                  <a:pt x="1743821" y="3136813"/>
                </a:cubicBezTo>
                <a:cubicBezTo>
                  <a:pt x="1745643" y="3134991"/>
                  <a:pt x="1745643" y="3134991"/>
                  <a:pt x="1745643" y="3133169"/>
                </a:cubicBezTo>
                <a:cubicBezTo>
                  <a:pt x="1752932" y="3131347"/>
                  <a:pt x="1763865" y="3127701"/>
                  <a:pt x="1765687" y="3120413"/>
                </a:cubicBezTo>
                <a:cubicBezTo>
                  <a:pt x="1760220" y="3116769"/>
                  <a:pt x="1745643" y="3120413"/>
                  <a:pt x="1740176" y="3125879"/>
                </a:cubicBezTo>
                <a:cubicBezTo>
                  <a:pt x="1736532" y="3127701"/>
                  <a:pt x="1738354" y="3131347"/>
                  <a:pt x="1734710" y="3133169"/>
                </a:cubicBezTo>
                <a:cubicBezTo>
                  <a:pt x="1732888" y="3129525"/>
                  <a:pt x="1734710" y="3127701"/>
                  <a:pt x="1736532" y="3125879"/>
                </a:cubicBezTo>
                <a:cubicBezTo>
                  <a:pt x="1741999" y="3114945"/>
                  <a:pt x="1740176" y="3094904"/>
                  <a:pt x="1729243" y="3087614"/>
                </a:cubicBezTo>
                <a:cubicBezTo>
                  <a:pt x="1723777" y="3091258"/>
                  <a:pt x="1720133" y="3102192"/>
                  <a:pt x="1720133" y="3109479"/>
                </a:cubicBezTo>
                <a:cubicBezTo>
                  <a:pt x="1720133" y="3114945"/>
                  <a:pt x="1720133" y="3120413"/>
                  <a:pt x="1723777" y="3125879"/>
                </a:cubicBezTo>
                <a:cubicBezTo>
                  <a:pt x="1721955" y="3129525"/>
                  <a:pt x="1723777" y="3133169"/>
                  <a:pt x="1727421" y="3134991"/>
                </a:cubicBezTo>
                <a:cubicBezTo>
                  <a:pt x="1725599" y="3134991"/>
                  <a:pt x="1725599" y="3133169"/>
                  <a:pt x="1723777" y="3133169"/>
                </a:cubicBezTo>
                <a:cubicBezTo>
                  <a:pt x="1721955" y="3133169"/>
                  <a:pt x="1723777" y="3134991"/>
                  <a:pt x="1721955" y="3134991"/>
                </a:cubicBezTo>
                <a:cubicBezTo>
                  <a:pt x="1720133" y="3118591"/>
                  <a:pt x="1707377" y="3107657"/>
                  <a:pt x="1696444" y="3104013"/>
                </a:cubicBezTo>
                <a:cubicBezTo>
                  <a:pt x="1694622" y="3114945"/>
                  <a:pt x="1707377" y="3133169"/>
                  <a:pt x="1716488" y="3134991"/>
                </a:cubicBezTo>
                <a:cubicBezTo>
                  <a:pt x="1712844" y="3133169"/>
                  <a:pt x="1705555" y="3136813"/>
                  <a:pt x="1705555" y="3140456"/>
                </a:cubicBezTo>
                <a:cubicBezTo>
                  <a:pt x="1709200" y="3142278"/>
                  <a:pt x="1716488" y="3142278"/>
                  <a:pt x="1721955" y="3142278"/>
                </a:cubicBezTo>
                <a:cubicBezTo>
                  <a:pt x="1721955" y="3145922"/>
                  <a:pt x="1727421" y="3147744"/>
                  <a:pt x="1727421" y="3151390"/>
                </a:cubicBezTo>
                <a:cubicBezTo>
                  <a:pt x="1725599" y="3151390"/>
                  <a:pt x="1721955" y="3149568"/>
                  <a:pt x="1720133" y="3149568"/>
                </a:cubicBezTo>
                <a:cubicBezTo>
                  <a:pt x="1720133" y="3149568"/>
                  <a:pt x="1721955" y="3151390"/>
                  <a:pt x="1721955" y="3153212"/>
                </a:cubicBezTo>
                <a:cubicBezTo>
                  <a:pt x="1716488" y="3155034"/>
                  <a:pt x="1712844" y="3149568"/>
                  <a:pt x="1707377" y="3145922"/>
                </a:cubicBezTo>
                <a:cubicBezTo>
                  <a:pt x="1700089" y="3142278"/>
                  <a:pt x="1685511" y="3140456"/>
                  <a:pt x="1678223" y="3147744"/>
                </a:cubicBezTo>
                <a:cubicBezTo>
                  <a:pt x="1683689" y="3153212"/>
                  <a:pt x="1690978" y="3155034"/>
                  <a:pt x="1698266" y="3156856"/>
                </a:cubicBezTo>
                <a:cubicBezTo>
                  <a:pt x="1694622" y="3158678"/>
                  <a:pt x="1692800" y="3164144"/>
                  <a:pt x="1694622" y="3167790"/>
                </a:cubicBezTo>
                <a:cubicBezTo>
                  <a:pt x="1701911" y="3167790"/>
                  <a:pt x="1712844" y="3164144"/>
                  <a:pt x="1720133" y="3160500"/>
                </a:cubicBezTo>
                <a:cubicBezTo>
                  <a:pt x="1721955" y="3162322"/>
                  <a:pt x="1725599" y="3162322"/>
                  <a:pt x="1725599" y="3167790"/>
                </a:cubicBezTo>
                <a:cubicBezTo>
                  <a:pt x="1731066" y="3169612"/>
                  <a:pt x="1731066" y="3175078"/>
                  <a:pt x="1732888" y="3180544"/>
                </a:cubicBezTo>
                <a:cubicBezTo>
                  <a:pt x="1729243" y="3180544"/>
                  <a:pt x="1732888" y="3184189"/>
                  <a:pt x="1731066" y="3186011"/>
                </a:cubicBezTo>
                <a:cubicBezTo>
                  <a:pt x="1714666" y="3193299"/>
                  <a:pt x="1694622" y="3191477"/>
                  <a:pt x="1676400" y="3195121"/>
                </a:cubicBezTo>
                <a:cubicBezTo>
                  <a:pt x="1661824" y="3196943"/>
                  <a:pt x="1647246" y="3198765"/>
                  <a:pt x="1634491" y="3200587"/>
                </a:cubicBezTo>
                <a:cubicBezTo>
                  <a:pt x="1630846" y="3196943"/>
                  <a:pt x="1627202" y="3195121"/>
                  <a:pt x="1623558" y="3191477"/>
                </a:cubicBezTo>
                <a:cubicBezTo>
                  <a:pt x="1625380" y="3184189"/>
                  <a:pt x="1614447" y="3184189"/>
                  <a:pt x="1610802" y="3180544"/>
                </a:cubicBezTo>
                <a:cubicBezTo>
                  <a:pt x="1623558" y="3186011"/>
                  <a:pt x="1645423" y="3186011"/>
                  <a:pt x="1661824" y="3176899"/>
                </a:cubicBezTo>
                <a:cubicBezTo>
                  <a:pt x="1652713" y="3167790"/>
                  <a:pt x="1639957" y="3165966"/>
                  <a:pt x="1625380" y="3167790"/>
                </a:cubicBezTo>
                <a:cubicBezTo>
                  <a:pt x="1625380" y="3164144"/>
                  <a:pt x="1629024" y="3164144"/>
                  <a:pt x="1629024" y="3160500"/>
                </a:cubicBezTo>
                <a:cubicBezTo>
                  <a:pt x="1634491" y="3158678"/>
                  <a:pt x="1641780" y="3158678"/>
                  <a:pt x="1645423" y="3156856"/>
                </a:cubicBezTo>
                <a:cubicBezTo>
                  <a:pt x="1641780" y="3153212"/>
                  <a:pt x="1636313" y="3153212"/>
                  <a:pt x="1630846" y="3153212"/>
                </a:cubicBezTo>
                <a:cubicBezTo>
                  <a:pt x="1632669" y="3149568"/>
                  <a:pt x="1630846" y="3145922"/>
                  <a:pt x="1632669" y="3144100"/>
                </a:cubicBezTo>
                <a:cubicBezTo>
                  <a:pt x="1630846" y="3142278"/>
                  <a:pt x="1630846" y="3140456"/>
                  <a:pt x="1629024" y="3138635"/>
                </a:cubicBezTo>
                <a:cubicBezTo>
                  <a:pt x="1632669" y="3134991"/>
                  <a:pt x="1632669" y="3131347"/>
                  <a:pt x="1632669" y="3127701"/>
                </a:cubicBezTo>
                <a:cubicBezTo>
                  <a:pt x="1621735" y="3125879"/>
                  <a:pt x="1614447" y="3136813"/>
                  <a:pt x="1610802" y="3142278"/>
                </a:cubicBezTo>
                <a:cubicBezTo>
                  <a:pt x="1608980" y="3136813"/>
                  <a:pt x="1607158" y="3129525"/>
                  <a:pt x="1605336" y="3122235"/>
                </a:cubicBezTo>
                <a:cubicBezTo>
                  <a:pt x="1599869" y="3129525"/>
                  <a:pt x="1607158" y="3144100"/>
                  <a:pt x="1603513" y="3153212"/>
                </a:cubicBezTo>
                <a:cubicBezTo>
                  <a:pt x="1599869" y="3153212"/>
                  <a:pt x="1598047" y="3151390"/>
                  <a:pt x="1594403" y="3151390"/>
                </a:cubicBezTo>
                <a:cubicBezTo>
                  <a:pt x="1594403" y="3153212"/>
                  <a:pt x="1596225" y="3155034"/>
                  <a:pt x="1596225" y="3155034"/>
                </a:cubicBezTo>
                <a:cubicBezTo>
                  <a:pt x="1592580" y="3156856"/>
                  <a:pt x="1594403" y="3160500"/>
                  <a:pt x="1590758" y="3162322"/>
                </a:cubicBezTo>
                <a:cubicBezTo>
                  <a:pt x="1592580" y="3153212"/>
                  <a:pt x="1594403" y="3142278"/>
                  <a:pt x="1587114" y="3125879"/>
                </a:cubicBezTo>
                <a:cubicBezTo>
                  <a:pt x="1583470" y="3116769"/>
                  <a:pt x="1578003" y="3105835"/>
                  <a:pt x="1572537" y="3104013"/>
                </a:cubicBezTo>
                <a:cubicBezTo>
                  <a:pt x="1568892" y="3105835"/>
                  <a:pt x="1570714" y="3111301"/>
                  <a:pt x="1567070" y="3109479"/>
                </a:cubicBezTo>
                <a:cubicBezTo>
                  <a:pt x="1561603" y="3118591"/>
                  <a:pt x="1567070" y="3129525"/>
                  <a:pt x="1568892" y="3140456"/>
                </a:cubicBezTo>
                <a:cubicBezTo>
                  <a:pt x="1572537" y="3151390"/>
                  <a:pt x="1581647" y="3158678"/>
                  <a:pt x="1583470" y="3169612"/>
                </a:cubicBezTo>
                <a:cubicBezTo>
                  <a:pt x="1581647" y="3169612"/>
                  <a:pt x="1579825" y="3167790"/>
                  <a:pt x="1576181" y="3169612"/>
                </a:cubicBezTo>
                <a:cubicBezTo>
                  <a:pt x="1572537" y="3165966"/>
                  <a:pt x="1561603" y="3164144"/>
                  <a:pt x="1554315" y="3165966"/>
                </a:cubicBezTo>
                <a:cubicBezTo>
                  <a:pt x="1550670" y="3165966"/>
                  <a:pt x="1543382" y="3167790"/>
                  <a:pt x="1543382" y="3171434"/>
                </a:cubicBezTo>
                <a:cubicBezTo>
                  <a:pt x="1547026" y="3180544"/>
                  <a:pt x="1557959" y="3176899"/>
                  <a:pt x="1565248" y="3180544"/>
                </a:cubicBezTo>
                <a:cubicBezTo>
                  <a:pt x="1572537" y="3180544"/>
                  <a:pt x="1579825" y="3176899"/>
                  <a:pt x="1585292" y="3176899"/>
                </a:cubicBezTo>
                <a:cubicBezTo>
                  <a:pt x="1583470" y="3178721"/>
                  <a:pt x="1581647" y="3182367"/>
                  <a:pt x="1579825" y="3184189"/>
                </a:cubicBezTo>
                <a:lnTo>
                  <a:pt x="1578003" y="3180544"/>
                </a:lnTo>
                <a:cubicBezTo>
                  <a:pt x="1576181" y="3180544"/>
                  <a:pt x="1574359" y="3182367"/>
                  <a:pt x="1572537" y="3180544"/>
                </a:cubicBezTo>
                <a:cubicBezTo>
                  <a:pt x="1572537" y="3184189"/>
                  <a:pt x="1570714" y="3186011"/>
                  <a:pt x="1570714" y="3187833"/>
                </a:cubicBezTo>
                <a:cubicBezTo>
                  <a:pt x="1565248" y="3187833"/>
                  <a:pt x="1557959" y="3191477"/>
                  <a:pt x="1554315" y="3195121"/>
                </a:cubicBezTo>
                <a:cubicBezTo>
                  <a:pt x="1552492" y="3196943"/>
                  <a:pt x="1550670" y="3200587"/>
                  <a:pt x="1548848" y="3200587"/>
                </a:cubicBezTo>
                <a:cubicBezTo>
                  <a:pt x="1545204" y="3202411"/>
                  <a:pt x="1536093" y="3202411"/>
                  <a:pt x="1530626" y="3202411"/>
                </a:cubicBezTo>
                <a:cubicBezTo>
                  <a:pt x="1525160" y="3204233"/>
                  <a:pt x="1517871" y="3204233"/>
                  <a:pt x="1512405" y="3204233"/>
                </a:cubicBezTo>
                <a:cubicBezTo>
                  <a:pt x="1508760" y="3195121"/>
                  <a:pt x="1503294" y="3193299"/>
                  <a:pt x="1496006" y="3191477"/>
                </a:cubicBezTo>
                <a:cubicBezTo>
                  <a:pt x="1494183" y="3196943"/>
                  <a:pt x="1492361" y="3200587"/>
                  <a:pt x="1494183" y="3206055"/>
                </a:cubicBezTo>
                <a:cubicBezTo>
                  <a:pt x="1481428" y="3206055"/>
                  <a:pt x="1468673" y="3204233"/>
                  <a:pt x="1457739" y="3200587"/>
                </a:cubicBezTo>
                <a:cubicBezTo>
                  <a:pt x="1461384" y="3198765"/>
                  <a:pt x="1461384" y="3193299"/>
                  <a:pt x="1457739" y="3191477"/>
                </a:cubicBezTo>
                <a:cubicBezTo>
                  <a:pt x="1465028" y="3182367"/>
                  <a:pt x="1463206" y="3165966"/>
                  <a:pt x="1479606" y="3165966"/>
                </a:cubicBezTo>
                <a:cubicBezTo>
                  <a:pt x="1481428" y="3164144"/>
                  <a:pt x="1479606" y="3164144"/>
                  <a:pt x="1479606" y="3162322"/>
                </a:cubicBezTo>
                <a:cubicBezTo>
                  <a:pt x="1486895" y="3156856"/>
                  <a:pt x="1494183" y="3149568"/>
                  <a:pt x="1499650" y="3156856"/>
                </a:cubicBezTo>
                <a:cubicBezTo>
                  <a:pt x="1501472" y="3160500"/>
                  <a:pt x="1499650" y="3164144"/>
                  <a:pt x="1503294" y="3164144"/>
                </a:cubicBezTo>
                <a:cubicBezTo>
                  <a:pt x="1506938" y="3162322"/>
                  <a:pt x="1503294" y="3158678"/>
                  <a:pt x="1503294" y="3156856"/>
                </a:cubicBezTo>
                <a:cubicBezTo>
                  <a:pt x="1505117" y="3156856"/>
                  <a:pt x="1506938" y="3162322"/>
                  <a:pt x="1510583" y="3162322"/>
                </a:cubicBezTo>
                <a:cubicBezTo>
                  <a:pt x="1510583" y="3162322"/>
                  <a:pt x="1508760" y="3160500"/>
                  <a:pt x="1508760" y="3158678"/>
                </a:cubicBezTo>
                <a:cubicBezTo>
                  <a:pt x="1510583" y="3158678"/>
                  <a:pt x="1512405" y="3160500"/>
                  <a:pt x="1516049" y="3158678"/>
                </a:cubicBezTo>
                <a:cubicBezTo>
                  <a:pt x="1514228" y="3155034"/>
                  <a:pt x="1510583" y="3155034"/>
                  <a:pt x="1506938" y="3153212"/>
                </a:cubicBezTo>
                <a:cubicBezTo>
                  <a:pt x="1508760" y="3151390"/>
                  <a:pt x="1510583" y="3151390"/>
                  <a:pt x="1512405" y="3149568"/>
                </a:cubicBezTo>
                <a:cubicBezTo>
                  <a:pt x="1508760" y="3147744"/>
                  <a:pt x="1503294" y="3151390"/>
                  <a:pt x="1497827" y="3151390"/>
                </a:cubicBezTo>
                <a:cubicBezTo>
                  <a:pt x="1503294" y="3149568"/>
                  <a:pt x="1510583" y="3140456"/>
                  <a:pt x="1519693" y="3140456"/>
                </a:cubicBezTo>
                <a:cubicBezTo>
                  <a:pt x="1521516" y="3138635"/>
                  <a:pt x="1521516" y="3138635"/>
                  <a:pt x="1521516" y="3136813"/>
                </a:cubicBezTo>
                <a:cubicBezTo>
                  <a:pt x="1528804" y="3134991"/>
                  <a:pt x="1536093" y="3127701"/>
                  <a:pt x="1541559" y="3125879"/>
                </a:cubicBezTo>
                <a:cubicBezTo>
                  <a:pt x="1541559" y="3122235"/>
                  <a:pt x="1547026" y="3120413"/>
                  <a:pt x="1550670" y="3118591"/>
                </a:cubicBezTo>
                <a:cubicBezTo>
                  <a:pt x="1554315" y="3111301"/>
                  <a:pt x="1561603" y="3105835"/>
                  <a:pt x="1567070" y="3098548"/>
                </a:cubicBezTo>
                <a:cubicBezTo>
                  <a:pt x="1568892" y="3098548"/>
                  <a:pt x="1570714" y="3098548"/>
                  <a:pt x="1570714" y="3096726"/>
                </a:cubicBezTo>
                <a:cubicBezTo>
                  <a:pt x="1570714" y="3094904"/>
                  <a:pt x="1570714" y="3094904"/>
                  <a:pt x="1568892" y="3094904"/>
                </a:cubicBezTo>
                <a:cubicBezTo>
                  <a:pt x="1570714" y="3091258"/>
                  <a:pt x="1570714" y="3089436"/>
                  <a:pt x="1574359" y="3087614"/>
                </a:cubicBezTo>
                <a:cubicBezTo>
                  <a:pt x="1574359" y="3089436"/>
                  <a:pt x="1576181" y="3091258"/>
                  <a:pt x="1578003" y="3091258"/>
                </a:cubicBezTo>
                <a:lnTo>
                  <a:pt x="1580733" y="3085798"/>
                </a:lnTo>
                <a:lnTo>
                  <a:pt x="1579824" y="3085798"/>
                </a:lnTo>
                <a:lnTo>
                  <a:pt x="1581036" y="3085193"/>
                </a:lnTo>
                <a:lnTo>
                  <a:pt x="1583470" y="3080326"/>
                </a:lnTo>
                <a:cubicBezTo>
                  <a:pt x="1588936" y="3080326"/>
                  <a:pt x="1588936" y="3085792"/>
                  <a:pt x="1590758" y="3089436"/>
                </a:cubicBezTo>
                <a:cubicBezTo>
                  <a:pt x="1592580" y="3087614"/>
                  <a:pt x="1590758" y="3085792"/>
                  <a:pt x="1590758" y="3083970"/>
                </a:cubicBezTo>
                <a:cubicBezTo>
                  <a:pt x="1592580" y="3083970"/>
                  <a:pt x="1594403" y="3085792"/>
                  <a:pt x="1594403" y="3083970"/>
                </a:cubicBezTo>
                <a:cubicBezTo>
                  <a:pt x="1594403" y="3082148"/>
                  <a:pt x="1590758" y="3082148"/>
                  <a:pt x="1590758" y="3078504"/>
                </a:cubicBezTo>
                <a:cubicBezTo>
                  <a:pt x="1596225" y="3082148"/>
                  <a:pt x="1599869" y="3089436"/>
                  <a:pt x="1605336" y="3089436"/>
                </a:cubicBezTo>
                <a:cubicBezTo>
                  <a:pt x="1603513" y="3083970"/>
                  <a:pt x="1596225" y="3080326"/>
                  <a:pt x="1592580" y="3076682"/>
                </a:cubicBezTo>
                <a:cubicBezTo>
                  <a:pt x="1596225" y="3071214"/>
                  <a:pt x="1608980" y="3069392"/>
                  <a:pt x="1608980" y="3060283"/>
                </a:cubicBezTo>
                <a:cubicBezTo>
                  <a:pt x="1599869" y="3058459"/>
                  <a:pt x="1596225" y="3069392"/>
                  <a:pt x="1590758" y="3071214"/>
                </a:cubicBezTo>
                <a:cubicBezTo>
                  <a:pt x="1587114" y="3062102"/>
                  <a:pt x="1590758" y="3058459"/>
                  <a:pt x="1587114" y="3051171"/>
                </a:cubicBezTo>
                <a:cubicBezTo>
                  <a:pt x="1579825" y="3054815"/>
                  <a:pt x="1585292" y="3065749"/>
                  <a:pt x="1585292" y="3073036"/>
                </a:cubicBezTo>
                <a:cubicBezTo>
                  <a:pt x="1581647" y="3073036"/>
                  <a:pt x="1583470" y="3069392"/>
                  <a:pt x="1581647" y="3069392"/>
                </a:cubicBezTo>
                <a:cubicBezTo>
                  <a:pt x="1579825" y="3069392"/>
                  <a:pt x="1581647" y="3073036"/>
                  <a:pt x="1579825" y="3073036"/>
                </a:cubicBezTo>
                <a:cubicBezTo>
                  <a:pt x="1578003" y="3073036"/>
                  <a:pt x="1574359" y="3073036"/>
                  <a:pt x="1572537" y="3073036"/>
                </a:cubicBezTo>
                <a:cubicBezTo>
                  <a:pt x="1567070" y="3078504"/>
                  <a:pt x="1576181" y="3082148"/>
                  <a:pt x="1579825" y="3078504"/>
                </a:cubicBezTo>
                <a:cubicBezTo>
                  <a:pt x="1578003" y="3082148"/>
                  <a:pt x="1574359" y="3087614"/>
                  <a:pt x="1570714" y="3089436"/>
                </a:cubicBezTo>
                <a:cubicBezTo>
                  <a:pt x="1567070" y="3100370"/>
                  <a:pt x="1556137" y="3107657"/>
                  <a:pt x="1548848" y="3116769"/>
                </a:cubicBezTo>
                <a:cubicBezTo>
                  <a:pt x="1545204" y="3116769"/>
                  <a:pt x="1545204" y="3116769"/>
                  <a:pt x="1543382" y="3118591"/>
                </a:cubicBezTo>
                <a:cubicBezTo>
                  <a:pt x="1539737" y="3124057"/>
                  <a:pt x="1534271" y="3129525"/>
                  <a:pt x="1525160" y="3131347"/>
                </a:cubicBezTo>
                <a:cubicBezTo>
                  <a:pt x="1519693" y="3134991"/>
                  <a:pt x="1514228" y="3136813"/>
                  <a:pt x="1508760" y="3138635"/>
                </a:cubicBezTo>
                <a:cubicBezTo>
                  <a:pt x="1499650" y="3142278"/>
                  <a:pt x="1492361" y="3153212"/>
                  <a:pt x="1481428" y="3155034"/>
                </a:cubicBezTo>
                <a:cubicBezTo>
                  <a:pt x="1479606" y="3158678"/>
                  <a:pt x="1475961" y="3160500"/>
                  <a:pt x="1472317" y="3162322"/>
                </a:cubicBezTo>
                <a:cubicBezTo>
                  <a:pt x="1490539" y="3134991"/>
                  <a:pt x="1506938" y="3104013"/>
                  <a:pt x="1523339" y="3074858"/>
                </a:cubicBezTo>
                <a:cubicBezTo>
                  <a:pt x="1525160" y="3073036"/>
                  <a:pt x="1528804" y="3071214"/>
                  <a:pt x="1528804" y="3069392"/>
                </a:cubicBezTo>
                <a:cubicBezTo>
                  <a:pt x="1526982" y="3067570"/>
                  <a:pt x="1526982" y="3067570"/>
                  <a:pt x="1525160" y="3067570"/>
                </a:cubicBezTo>
                <a:cubicBezTo>
                  <a:pt x="1528804" y="3051171"/>
                  <a:pt x="1539737" y="3038415"/>
                  <a:pt x="1547026" y="3023840"/>
                </a:cubicBezTo>
                <a:cubicBezTo>
                  <a:pt x="1548848" y="3023840"/>
                  <a:pt x="1550670" y="3023840"/>
                  <a:pt x="1550670" y="3022018"/>
                </a:cubicBezTo>
                <a:cubicBezTo>
                  <a:pt x="1552492" y="3020194"/>
                  <a:pt x="1550670" y="3018372"/>
                  <a:pt x="1550670" y="3016550"/>
                </a:cubicBezTo>
                <a:cubicBezTo>
                  <a:pt x="1554315" y="3009260"/>
                  <a:pt x="1556137" y="3001972"/>
                  <a:pt x="1563426" y="2996506"/>
                </a:cubicBezTo>
                <a:cubicBezTo>
                  <a:pt x="1563426" y="2996506"/>
                  <a:pt x="1561603" y="2994684"/>
                  <a:pt x="1561603" y="2992863"/>
                </a:cubicBezTo>
                <a:cubicBezTo>
                  <a:pt x="1565248" y="2983751"/>
                  <a:pt x="1570714" y="2970997"/>
                  <a:pt x="1578003" y="2961885"/>
                </a:cubicBezTo>
                <a:cubicBezTo>
                  <a:pt x="1581647" y="2954597"/>
                  <a:pt x="1583470" y="2949129"/>
                  <a:pt x="1592580" y="2947308"/>
                </a:cubicBezTo>
                <a:cubicBezTo>
                  <a:pt x="1592580" y="2947308"/>
                  <a:pt x="1592580" y="2945486"/>
                  <a:pt x="1592580" y="2943664"/>
                </a:cubicBezTo>
                <a:cubicBezTo>
                  <a:pt x="1592580" y="2941842"/>
                  <a:pt x="1590758" y="2941842"/>
                  <a:pt x="1588936" y="2941842"/>
                </a:cubicBezTo>
                <a:cubicBezTo>
                  <a:pt x="1592580" y="2936374"/>
                  <a:pt x="1594403" y="2927264"/>
                  <a:pt x="1601691" y="2921798"/>
                </a:cubicBezTo>
                <a:cubicBezTo>
                  <a:pt x="1603513" y="2919977"/>
                  <a:pt x="1603513" y="2918154"/>
                  <a:pt x="1605336" y="2916330"/>
                </a:cubicBezTo>
                <a:cubicBezTo>
                  <a:pt x="1607158" y="2912686"/>
                  <a:pt x="1610802" y="2910865"/>
                  <a:pt x="1614447" y="2907221"/>
                </a:cubicBezTo>
                <a:cubicBezTo>
                  <a:pt x="1619913" y="2901755"/>
                  <a:pt x="1621735" y="2899931"/>
                  <a:pt x="1629024" y="2896287"/>
                </a:cubicBezTo>
                <a:cubicBezTo>
                  <a:pt x="1629024" y="2894465"/>
                  <a:pt x="1629024" y="2892643"/>
                  <a:pt x="1629024" y="2890821"/>
                </a:cubicBezTo>
                <a:cubicBezTo>
                  <a:pt x="1632669" y="2887177"/>
                  <a:pt x="1634491" y="2881709"/>
                  <a:pt x="1641780" y="2879887"/>
                </a:cubicBezTo>
                <a:cubicBezTo>
                  <a:pt x="1641780" y="2878066"/>
                  <a:pt x="1639957" y="2878066"/>
                  <a:pt x="1639957" y="2876243"/>
                </a:cubicBezTo>
                <a:cubicBezTo>
                  <a:pt x="1647246" y="2865312"/>
                  <a:pt x="1654534" y="2856200"/>
                  <a:pt x="1667289" y="2848912"/>
                </a:cubicBezTo>
                <a:cubicBezTo>
                  <a:pt x="1669112" y="2848912"/>
                  <a:pt x="1672756" y="2848912"/>
                  <a:pt x="1672756" y="2845266"/>
                </a:cubicBezTo>
                <a:cubicBezTo>
                  <a:pt x="1670935" y="2843444"/>
                  <a:pt x="1669112" y="2845266"/>
                  <a:pt x="1669112" y="2843444"/>
                </a:cubicBezTo>
                <a:cubicBezTo>
                  <a:pt x="1676400" y="2836156"/>
                  <a:pt x="1687333" y="2830688"/>
                  <a:pt x="1696444" y="2823401"/>
                </a:cubicBezTo>
                <a:cubicBezTo>
                  <a:pt x="1698266" y="2819757"/>
                  <a:pt x="1701911" y="2816113"/>
                  <a:pt x="1700089" y="2812469"/>
                </a:cubicBezTo>
                <a:cubicBezTo>
                  <a:pt x="1696444" y="2819757"/>
                  <a:pt x="1687333" y="2830688"/>
                  <a:pt x="1676400" y="2832512"/>
                </a:cubicBezTo>
                <a:cubicBezTo>
                  <a:pt x="1669112" y="2839800"/>
                  <a:pt x="1661824" y="2847090"/>
                  <a:pt x="1652713" y="2854378"/>
                </a:cubicBezTo>
                <a:cubicBezTo>
                  <a:pt x="1650890" y="2852556"/>
                  <a:pt x="1650890" y="2850734"/>
                  <a:pt x="1647246" y="2852556"/>
                </a:cubicBezTo>
                <a:cubicBezTo>
                  <a:pt x="1645423" y="2854378"/>
                  <a:pt x="1647246" y="2856200"/>
                  <a:pt x="1647246" y="2858022"/>
                </a:cubicBezTo>
                <a:cubicBezTo>
                  <a:pt x="1638135" y="2874422"/>
                  <a:pt x="1625380" y="2888999"/>
                  <a:pt x="1612624" y="2903577"/>
                </a:cubicBezTo>
                <a:cubicBezTo>
                  <a:pt x="1612624" y="2899931"/>
                  <a:pt x="1610802" y="2899931"/>
                  <a:pt x="1608980" y="2899931"/>
                </a:cubicBezTo>
                <a:cubicBezTo>
                  <a:pt x="1607158" y="2899931"/>
                  <a:pt x="1605336" y="2901755"/>
                  <a:pt x="1603513" y="2901755"/>
                </a:cubicBezTo>
                <a:cubicBezTo>
                  <a:pt x="1601691" y="2901755"/>
                  <a:pt x="1605336" y="2898111"/>
                  <a:pt x="1603513" y="2896287"/>
                </a:cubicBezTo>
                <a:cubicBezTo>
                  <a:pt x="1608980" y="2890821"/>
                  <a:pt x="1619913" y="2887177"/>
                  <a:pt x="1619913" y="2879887"/>
                </a:cubicBezTo>
                <a:cubicBezTo>
                  <a:pt x="1612624" y="2879887"/>
                  <a:pt x="1603513" y="2885355"/>
                  <a:pt x="1603513" y="2890821"/>
                </a:cubicBezTo>
                <a:cubicBezTo>
                  <a:pt x="1605336" y="2881709"/>
                  <a:pt x="1610802" y="2868956"/>
                  <a:pt x="1601691" y="2858022"/>
                </a:cubicBezTo>
                <a:cubicBezTo>
                  <a:pt x="1594403" y="2861666"/>
                  <a:pt x="1592580" y="2867134"/>
                  <a:pt x="1594403" y="2874422"/>
                </a:cubicBezTo>
                <a:cubicBezTo>
                  <a:pt x="1592580" y="2872599"/>
                  <a:pt x="1590758" y="2867134"/>
                  <a:pt x="1587114" y="2867134"/>
                </a:cubicBezTo>
                <a:cubicBezTo>
                  <a:pt x="1583470" y="2868956"/>
                  <a:pt x="1587114" y="2876243"/>
                  <a:pt x="1587114" y="2878066"/>
                </a:cubicBezTo>
                <a:cubicBezTo>
                  <a:pt x="1585292" y="2876243"/>
                  <a:pt x="1583470" y="2874422"/>
                  <a:pt x="1579825" y="2874422"/>
                </a:cubicBezTo>
                <a:cubicBezTo>
                  <a:pt x="1578003" y="2883531"/>
                  <a:pt x="1590758" y="2898111"/>
                  <a:pt x="1594403" y="2903577"/>
                </a:cubicBezTo>
                <a:lnTo>
                  <a:pt x="1592887" y="2904333"/>
                </a:lnTo>
                <a:lnTo>
                  <a:pt x="1594402" y="2907235"/>
                </a:lnTo>
                <a:lnTo>
                  <a:pt x="1593515" y="2907235"/>
                </a:lnTo>
                <a:lnTo>
                  <a:pt x="1596225" y="2909043"/>
                </a:lnTo>
                <a:cubicBezTo>
                  <a:pt x="1596225" y="2912686"/>
                  <a:pt x="1594403" y="2916330"/>
                  <a:pt x="1598047" y="2919977"/>
                </a:cubicBezTo>
                <a:cubicBezTo>
                  <a:pt x="1588936" y="2932730"/>
                  <a:pt x="1581647" y="2949129"/>
                  <a:pt x="1572537" y="2961885"/>
                </a:cubicBezTo>
                <a:cubicBezTo>
                  <a:pt x="1570714" y="2963707"/>
                  <a:pt x="1570714" y="2961885"/>
                  <a:pt x="1568892" y="2961885"/>
                </a:cubicBezTo>
                <a:cubicBezTo>
                  <a:pt x="1567070" y="2961885"/>
                  <a:pt x="1567070" y="2965529"/>
                  <a:pt x="1568892" y="2967351"/>
                </a:cubicBezTo>
                <a:cubicBezTo>
                  <a:pt x="1557959" y="2992863"/>
                  <a:pt x="1545204" y="3016550"/>
                  <a:pt x="1530626" y="3040237"/>
                </a:cubicBezTo>
                <a:cubicBezTo>
                  <a:pt x="1530626" y="3038415"/>
                  <a:pt x="1530626" y="3038415"/>
                  <a:pt x="1528804" y="3038415"/>
                </a:cubicBezTo>
                <a:cubicBezTo>
                  <a:pt x="1526982" y="3040237"/>
                  <a:pt x="1528804" y="3043883"/>
                  <a:pt x="1528804" y="3045705"/>
                </a:cubicBezTo>
                <a:cubicBezTo>
                  <a:pt x="1523339" y="3060283"/>
                  <a:pt x="1517871" y="3074858"/>
                  <a:pt x="1508760" y="3087614"/>
                </a:cubicBezTo>
                <a:cubicBezTo>
                  <a:pt x="1506938" y="3087614"/>
                  <a:pt x="1506938" y="3085792"/>
                  <a:pt x="1505117" y="3087614"/>
                </a:cubicBezTo>
                <a:cubicBezTo>
                  <a:pt x="1497827" y="3111301"/>
                  <a:pt x="1483250" y="3133169"/>
                  <a:pt x="1468673" y="3155034"/>
                </a:cubicBezTo>
                <a:lnTo>
                  <a:pt x="1466850" y="3155034"/>
                </a:lnTo>
                <a:cubicBezTo>
                  <a:pt x="1466850" y="3162322"/>
                  <a:pt x="1457739" y="3165966"/>
                  <a:pt x="1452273" y="3169612"/>
                </a:cubicBezTo>
                <a:cubicBezTo>
                  <a:pt x="1452273" y="3165966"/>
                  <a:pt x="1452273" y="3158678"/>
                  <a:pt x="1446806" y="3165966"/>
                </a:cubicBezTo>
                <a:cubicBezTo>
                  <a:pt x="1444984" y="3165966"/>
                  <a:pt x="1444984" y="3164144"/>
                  <a:pt x="1443162" y="3164144"/>
                </a:cubicBezTo>
                <a:cubicBezTo>
                  <a:pt x="1441340" y="3167790"/>
                  <a:pt x="1446806" y="3171434"/>
                  <a:pt x="1444984" y="3175078"/>
                </a:cubicBezTo>
                <a:cubicBezTo>
                  <a:pt x="1430407" y="3178721"/>
                  <a:pt x="1417652" y="3189655"/>
                  <a:pt x="1403074" y="3191477"/>
                </a:cubicBezTo>
                <a:cubicBezTo>
                  <a:pt x="1401252" y="3187833"/>
                  <a:pt x="1404896" y="3186011"/>
                  <a:pt x="1406719" y="3182367"/>
                </a:cubicBezTo>
                <a:cubicBezTo>
                  <a:pt x="1404896" y="3180544"/>
                  <a:pt x="1403074" y="3178721"/>
                  <a:pt x="1399430" y="3178721"/>
                </a:cubicBezTo>
                <a:cubicBezTo>
                  <a:pt x="1397608" y="3180544"/>
                  <a:pt x="1399430" y="3182367"/>
                  <a:pt x="1399430" y="3184189"/>
                </a:cubicBezTo>
                <a:cubicBezTo>
                  <a:pt x="1397608" y="3187833"/>
                  <a:pt x="1399430" y="3189655"/>
                  <a:pt x="1397608" y="3193299"/>
                </a:cubicBezTo>
                <a:cubicBezTo>
                  <a:pt x="1390319" y="3198765"/>
                  <a:pt x="1383030" y="3195121"/>
                  <a:pt x="1375743" y="3195121"/>
                </a:cubicBezTo>
                <a:cubicBezTo>
                  <a:pt x="1359342" y="3193299"/>
                  <a:pt x="1342942" y="3189655"/>
                  <a:pt x="1328365" y="3187833"/>
                </a:cubicBezTo>
                <a:cubicBezTo>
                  <a:pt x="1333832" y="3178721"/>
                  <a:pt x="1339299" y="3169612"/>
                  <a:pt x="1344765" y="3162322"/>
                </a:cubicBezTo>
                <a:cubicBezTo>
                  <a:pt x="1348410" y="3162322"/>
                  <a:pt x="1352053" y="3162322"/>
                  <a:pt x="1355698" y="3160500"/>
                </a:cubicBezTo>
                <a:cubicBezTo>
                  <a:pt x="1355698" y="3158678"/>
                  <a:pt x="1355698" y="3156856"/>
                  <a:pt x="1353876" y="3156856"/>
                </a:cubicBezTo>
                <a:cubicBezTo>
                  <a:pt x="1355698" y="3155034"/>
                  <a:pt x="1359342" y="3158678"/>
                  <a:pt x="1361164" y="3155034"/>
                </a:cubicBezTo>
                <a:cubicBezTo>
                  <a:pt x="1359342" y="3151390"/>
                  <a:pt x="1353876" y="3153212"/>
                  <a:pt x="1352053" y="3149568"/>
                </a:cubicBezTo>
                <a:cubicBezTo>
                  <a:pt x="1355698" y="3147744"/>
                  <a:pt x="1355698" y="3142278"/>
                  <a:pt x="1359342" y="3140456"/>
                </a:cubicBezTo>
                <a:cubicBezTo>
                  <a:pt x="1359342" y="3138635"/>
                  <a:pt x="1359342" y="3138635"/>
                  <a:pt x="1359342" y="3138635"/>
                </a:cubicBezTo>
                <a:lnTo>
                  <a:pt x="1364809" y="3140456"/>
                </a:lnTo>
                <a:cubicBezTo>
                  <a:pt x="1430407" y="3107657"/>
                  <a:pt x="1384854" y="3134991"/>
                  <a:pt x="1399430" y="3093080"/>
                </a:cubicBezTo>
                <a:cubicBezTo>
                  <a:pt x="1397608" y="3091258"/>
                  <a:pt x="1393963" y="3089436"/>
                  <a:pt x="1390319" y="3085792"/>
                </a:cubicBezTo>
                <a:cubicBezTo>
                  <a:pt x="1388497" y="3085792"/>
                  <a:pt x="1388497" y="3083970"/>
                  <a:pt x="1388497" y="3083970"/>
                </a:cubicBezTo>
                <a:cubicBezTo>
                  <a:pt x="1388497" y="3083970"/>
                  <a:pt x="1390319" y="3083970"/>
                  <a:pt x="1390319" y="3083970"/>
                </a:cubicBezTo>
                <a:cubicBezTo>
                  <a:pt x="1390319" y="3085792"/>
                  <a:pt x="1392141" y="3085792"/>
                  <a:pt x="1392141" y="3085792"/>
                </a:cubicBezTo>
                <a:cubicBezTo>
                  <a:pt x="1395787" y="3089436"/>
                  <a:pt x="1395787" y="3089436"/>
                  <a:pt x="1399430" y="3091258"/>
                </a:cubicBezTo>
                <a:cubicBezTo>
                  <a:pt x="1395787" y="3085792"/>
                  <a:pt x="1393963" y="3083970"/>
                  <a:pt x="1392141" y="3080326"/>
                </a:cubicBezTo>
                <a:cubicBezTo>
                  <a:pt x="1395787" y="3080326"/>
                  <a:pt x="1399430" y="3080326"/>
                  <a:pt x="1401252" y="3076682"/>
                </a:cubicBezTo>
                <a:cubicBezTo>
                  <a:pt x="1401252" y="3074858"/>
                  <a:pt x="1397608" y="3074858"/>
                  <a:pt x="1399430" y="3073036"/>
                </a:cubicBezTo>
                <a:cubicBezTo>
                  <a:pt x="1401252" y="3073036"/>
                  <a:pt x="1404896" y="3073036"/>
                  <a:pt x="1406719" y="3073036"/>
                </a:cubicBezTo>
                <a:cubicBezTo>
                  <a:pt x="1404896" y="3069392"/>
                  <a:pt x="1406719" y="3069392"/>
                  <a:pt x="1406719" y="3065749"/>
                </a:cubicBezTo>
                <a:cubicBezTo>
                  <a:pt x="1404896" y="3063926"/>
                  <a:pt x="1403074" y="3065749"/>
                  <a:pt x="1399430" y="3067570"/>
                </a:cubicBezTo>
                <a:cubicBezTo>
                  <a:pt x="1401252" y="3060283"/>
                  <a:pt x="1404896" y="3052993"/>
                  <a:pt x="1410363" y="3047527"/>
                </a:cubicBezTo>
                <a:cubicBezTo>
                  <a:pt x="1410363" y="3040237"/>
                  <a:pt x="1415829" y="3036593"/>
                  <a:pt x="1419474" y="3031127"/>
                </a:cubicBezTo>
                <a:cubicBezTo>
                  <a:pt x="1419474" y="3029306"/>
                  <a:pt x="1417652" y="3029306"/>
                  <a:pt x="1417652" y="3029306"/>
                </a:cubicBezTo>
                <a:cubicBezTo>
                  <a:pt x="1419474" y="3020194"/>
                  <a:pt x="1426763" y="3012906"/>
                  <a:pt x="1430407" y="3003796"/>
                </a:cubicBezTo>
                <a:cubicBezTo>
                  <a:pt x="1432229" y="3001972"/>
                  <a:pt x="1434051" y="3005616"/>
                  <a:pt x="1437696" y="3005616"/>
                </a:cubicBezTo>
                <a:cubicBezTo>
                  <a:pt x="1437696" y="3001972"/>
                  <a:pt x="1434051" y="3001972"/>
                  <a:pt x="1434051" y="3000150"/>
                </a:cubicBezTo>
                <a:cubicBezTo>
                  <a:pt x="1435873" y="3000150"/>
                  <a:pt x="1437696" y="2998328"/>
                  <a:pt x="1437696" y="2998328"/>
                </a:cubicBezTo>
                <a:cubicBezTo>
                  <a:pt x="1435873" y="2996506"/>
                  <a:pt x="1434051" y="2996506"/>
                  <a:pt x="1434051" y="2996506"/>
                </a:cubicBezTo>
                <a:cubicBezTo>
                  <a:pt x="1432229" y="2994684"/>
                  <a:pt x="1435873" y="2994684"/>
                  <a:pt x="1434051" y="2992863"/>
                </a:cubicBezTo>
                <a:cubicBezTo>
                  <a:pt x="1432229" y="2992863"/>
                  <a:pt x="1430407" y="2996506"/>
                  <a:pt x="1428585" y="2994684"/>
                </a:cubicBezTo>
                <a:cubicBezTo>
                  <a:pt x="1426763" y="2996506"/>
                  <a:pt x="1426763" y="2998328"/>
                  <a:pt x="1426763" y="3000150"/>
                </a:cubicBezTo>
                <a:lnTo>
                  <a:pt x="1423118" y="3001972"/>
                </a:lnTo>
                <a:cubicBezTo>
                  <a:pt x="1423118" y="3003796"/>
                  <a:pt x="1423118" y="3003796"/>
                  <a:pt x="1424940" y="3003796"/>
                </a:cubicBezTo>
                <a:cubicBezTo>
                  <a:pt x="1419474" y="3009260"/>
                  <a:pt x="1419474" y="3016550"/>
                  <a:pt x="1414007" y="3020194"/>
                </a:cubicBezTo>
                <a:cubicBezTo>
                  <a:pt x="1414007" y="3029306"/>
                  <a:pt x="1408541" y="3034771"/>
                  <a:pt x="1404896" y="3040237"/>
                </a:cubicBezTo>
                <a:cubicBezTo>
                  <a:pt x="1397608" y="3051171"/>
                  <a:pt x="1395787" y="3063926"/>
                  <a:pt x="1386676" y="3071214"/>
                </a:cubicBezTo>
                <a:cubicBezTo>
                  <a:pt x="1386676" y="3069392"/>
                  <a:pt x="1384854" y="3069392"/>
                  <a:pt x="1384854" y="3069392"/>
                </a:cubicBezTo>
                <a:cubicBezTo>
                  <a:pt x="1383030" y="3071214"/>
                  <a:pt x="1383030" y="3073036"/>
                  <a:pt x="1381208" y="3074858"/>
                </a:cubicBezTo>
                <a:cubicBezTo>
                  <a:pt x="1379386" y="3073036"/>
                  <a:pt x="1379386" y="3073036"/>
                  <a:pt x="1377564" y="3069392"/>
                </a:cubicBezTo>
                <a:cubicBezTo>
                  <a:pt x="1377564" y="3069392"/>
                  <a:pt x="1375743" y="3069392"/>
                  <a:pt x="1375743" y="3069392"/>
                </a:cubicBezTo>
                <a:lnTo>
                  <a:pt x="1355698" y="3083970"/>
                </a:lnTo>
                <a:lnTo>
                  <a:pt x="1377206" y="3085624"/>
                </a:lnTo>
                <a:lnTo>
                  <a:pt x="1373919" y="3083981"/>
                </a:lnTo>
                <a:cubicBezTo>
                  <a:pt x="1372097" y="3080337"/>
                  <a:pt x="1372097" y="3080337"/>
                  <a:pt x="1370274" y="3078515"/>
                </a:cubicBezTo>
                <a:cubicBezTo>
                  <a:pt x="1372097" y="3080337"/>
                  <a:pt x="1373919" y="3080337"/>
                  <a:pt x="1375741" y="3082161"/>
                </a:cubicBezTo>
                <a:lnTo>
                  <a:pt x="1377484" y="3085647"/>
                </a:lnTo>
                <a:lnTo>
                  <a:pt x="1379386" y="3085792"/>
                </a:lnTo>
                <a:lnTo>
                  <a:pt x="1362987" y="3098548"/>
                </a:lnTo>
                <a:lnTo>
                  <a:pt x="1348410" y="3091258"/>
                </a:lnTo>
                <a:lnTo>
                  <a:pt x="1333832" y="3091258"/>
                </a:lnTo>
                <a:lnTo>
                  <a:pt x="1319254" y="3069392"/>
                </a:lnTo>
                <a:lnTo>
                  <a:pt x="1326543" y="3060283"/>
                </a:lnTo>
                <a:lnTo>
                  <a:pt x="1346587" y="3074858"/>
                </a:lnTo>
                <a:lnTo>
                  <a:pt x="1362987" y="3062102"/>
                </a:lnTo>
                <a:cubicBezTo>
                  <a:pt x="1361164" y="3058459"/>
                  <a:pt x="1359342" y="3054815"/>
                  <a:pt x="1359342" y="3052993"/>
                </a:cubicBezTo>
                <a:cubicBezTo>
                  <a:pt x="1357521" y="3051171"/>
                  <a:pt x="1355698" y="3047527"/>
                  <a:pt x="1353876" y="3045705"/>
                </a:cubicBezTo>
                <a:cubicBezTo>
                  <a:pt x="1352053" y="3042059"/>
                  <a:pt x="1350231" y="3038415"/>
                  <a:pt x="1348410" y="3036593"/>
                </a:cubicBezTo>
                <a:lnTo>
                  <a:pt x="1333832" y="3047527"/>
                </a:lnTo>
                <a:lnTo>
                  <a:pt x="1324721" y="3031127"/>
                </a:lnTo>
                <a:lnTo>
                  <a:pt x="1302855" y="3047527"/>
                </a:lnTo>
                <a:lnTo>
                  <a:pt x="1302855" y="3023840"/>
                </a:lnTo>
                <a:lnTo>
                  <a:pt x="1280989" y="3040237"/>
                </a:lnTo>
                <a:cubicBezTo>
                  <a:pt x="1271878" y="3020194"/>
                  <a:pt x="1271878" y="3036593"/>
                  <a:pt x="1277344" y="3018372"/>
                </a:cubicBezTo>
                <a:lnTo>
                  <a:pt x="1271878" y="3003796"/>
                </a:lnTo>
                <a:lnTo>
                  <a:pt x="1250012" y="2994684"/>
                </a:lnTo>
                <a:lnTo>
                  <a:pt x="1250012" y="2980107"/>
                </a:lnTo>
                <a:lnTo>
                  <a:pt x="1233612" y="2981929"/>
                </a:lnTo>
                <a:lnTo>
                  <a:pt x="1250012" y="2994684"/>
                </a:lnTo>
                <a:lnTo>
                  <a:pt x="1182592" y="3016550"/>
                </a:lnTo>
                <a:cubicBezTo>
                  <a:pt x="1186236" y="2987395"/>
                  <a:pt x="1186236" y="2987395"/>
                  <a:pt x="1213568" y="2985572"/>
                </a:cubicBezTo>
                <a:lnTo>
                  <a:pt x="1213568" y="2970997"/>
                </a:lnTo>
                <a:lnTo>
                  <a:pt x="1198991" y="2970997"/>
                </a:lnTo>
                <a:cubicBezTo>
                  <a:pt x="1211747" y="2950954"/>
                  <a:pt x="1202636" y="2963707"/>
                  <a:pt x="1198991" y="2956417"/>
                </a:cubicBezTo>
                <a:cubicBezTo>
                  <a:pt x="1182592" y="2947308"/>
                  <a:pt x="1171658" y="2940020"/>
                  <a:pt x="1168014" y="2978285"/>
                </a:cubicBezTo>
                <a:cubicBezTo>
                  <a:pt x="1135215" y="2954597"/>
                  <a:pt x="1184414" y="2952773"/>
                  <a:pt x="1129748" y="2947308"/>
                </a:cubicBezTo>
                <a:lnTo>
                  <a:pt x="1129748" y="2925442"/>
                </a:lnTo>
                <a:cubicBezTo>
                  <a:pt x="1129748" y="2903577"/>
                  <a:pt x="1133393" y="2910865"/>
                  <a:pt x="1146148" y="2901755"/>
                </a:cubicBezTo>
                <a:lnTo>
                  <a:pt x="1142503" y="2896287"/>
                </a:lnTo>
                <a:cubicBezTo>
                  <a:pt x="1142503" y="2896287"/>
                  <a:pt x="1144326" y="2894465"/>
                  <a:pt x="1144326" y="2894465"/>
                </a:cubicBezTo>
                <a:cubicBezTo>
                  <a:pt x="1146148" y="2892643"/>
                  <a:pt x="1147970" y="2888999"/>
                  <a:pt x="1149792" y="2887177"/>
                </a:cubicBezTo>
                <a:lnTo>
                  <a:pt x="1151614" y="2887177"/>
                </a:lnTo>
                <a:lnTo>
                  <a:pt x="1153436" y="2885355"/>
                </a:lnTo>
                <a:cubicBezTo>
                  <a:pt x="1160725" y="2878066"/>
                  <a:pt x="1166192" y="2868956"/>
                  <a:pt x="1175303" y="2865312"/>
                </a:cubicBezTo>
                <a:cubicBezTo>
                  <a:pt x="1182592" y="2854378"/>
                  <a:pt x="1202636" y="2837979"/>
                  <a:pt x="1215390" y="2828868"/>
                </a:cubicBezTo>
                <a:cubicBezTo>
                  <a:pt x="1220858" y="2825223"/>
                  <a:pt x="1224501" y="2823401"/>
                  <a:pt x="1231790" y="2819757"/>
                </a:cubicBezTo>
                <a:cubicBezTo>
                  <a:pt x="1239080" y="2807001"/>
                  <a:pt x="1255478" y="2805179"/>
                  <a:pt x="1270056" y="2797891"/>
                </a:cubicBezTo>
                <a:cubicBezTo>
                  <a:pt x="1270056" y="2797891"/>
                  <a:pt x="1270056" y="2796068"/>
                  <a:pt x="1271878" y="2796068"/>
                </a:cubicBezTo>
                <a:cubicBezTo>
                  <a:pt x="1277344" y="2790601"/>
                  <a:pt x="1284633" y="2788780"/>
                  <a:pt x="1290100" y="2785136"/>
                </a:cubicBezTo>
                <a:cubicBezTo>
                  <a:pt x="1302855" y="2777846"/>
                  <a:pt x="1317432" y="2770558"/>
                  <a:pt x="1332009" y="2768736"/>
                </a:cubicBezTo>
                <a:cubicBezTo>
                  <a:pt x="1304677" y="2765092"/>
                  <a:pt x="1277344" y="2796068"/>
                  <a:pt x="1248189" y="2799711"/>
                </a:cubicBezTo>
                <a:cubicBezTo>
                  <a:pt x="1235434" y="2808823"/>
                  <a:pt x="1224501" y="2819757"/>
                  <a:pt x="1209925" y="2827045"/>
                </a:cubicBezTo>
                <a:cubicBezTo>
                  <a:pt x="1202636" y="2830688"/>
                  <a:pt x="1195346" y="2837979"/>
                  <a:pt x="1188058" y="2843444"/>
                </a:cubicBezTo>
                <a:cubicBezTo>
                  <a:pt x="1177125" y="2852556"/>
                  <a:pt x="1169836" y="2863488"/>
                  <a:pt x="1157081" y="2870778"/>
                </a:cubicBezTo>
                <a:lnTo>
                  <a:pt x="1158903" y="2865312"/>
                </a:lnTo>
                <a:lnTo>
                  <a:pt x="1153436" y="2856200"/>
                </a:lnTo>
                <a:cubicBezTo>
                  <a:pt x="1155259" y="2856200"/>
                  <a:pt x="1155259" y="2856200"/>
                  <a:pt x="1155259" y="2856200"/>
                </a:cubicBezTo>
                <a:cubicBezTo>
                  <a:pt x="1158903" y="2848912"/>
                  <a:pt x="1149792" y="2841622"/>
                  <a:pt x="1146148" y="2836156"/>
                </a:cubicBezTo>
                <a:cubicBezTo>
                  <a:pt x="1149792" y="2837979"/>
                  <a:pt x="1158903" y="2836156"/>
                  <a:pt x="1160725" y="2830688"/>
                </a:cubicBezTo>
                <a:cubicBezTo>
                  <a:pt x="1158903" y="2825223"/>
                  <a:pt x="1153436" y="2825223"/>
                  <a:pt x="1147970" y="2823401"/>
                </a:cubicBezTo>
                <a:cubicBezTo>
                  <a:pt x="1149792" y="2819757"/>
                  <a:pt x="1155259" y="2814291"/>
                  <a:pt x="1149792" y="2810645"/>
                </a:cubicBezTo>
                <a:cubicBezTo>
                  <a:pt x="1142503" y="2814291"/>
                  <a:pt x="1138859" y="2819757"/>
                  <a:pt x="1135215" y="2825223"/>
                </a:cubicBezTo>
                <a:cubicBezTo>
                  <a:pt x="1133393" y="2823401"/>
                  <a:pt x="1137037" y="2821579"/>
                  <a:pt x="1135215" y="2819757"/>
                </a:cubicBezTo>
                <a:cubicBezTo>
                  <a:pt x="1133393" y="2823401"/>
                  <a:pt x="1126104" y="2821579"/>
                  <a:pt x="1127926" y="2827045"/>
                </a:cubicBezTo>
                <a:cubicBezTo>
                  <a:pt x="1126104" y="2827045"/>
                  <a:pt x="1126104" y="2827045"/>
                  <a:pt x="1124282" y="2827045"/>
                </a:cubicBezTo>
                <a:cubicBezTo>
                  <a:pt x="1124282" y="2827045"/>
                  <a:pt x="1126104" y="2827045"/>
                  <a:pt x="1126104" y="2825223"/>
                </a:cubicBezTo>
                <a:cubicBezTo>
                  <a:pt x="1126104" y="2823401"/>
                  <a:pt x="1124282" y="2825223"/>
                  <a:pt x="1124282" y="2823401"/>
                </a:cubicBezTo>
                <a:cubicBezTo>
                  <a:pt x="1133393" y="2821579"/>
                  <a:pt x="1140681" y="2810645"/>
                  <a:pt x="1131570" y="2805179"/>
                </a:cubicBezTo>
                <a:cubicBezTo>
                  <a:pt x="1137037" y="2801535"/>
                  <a:pt x="1146148" y="2796068"/>
                  <a:pt x="1151614" y="2796068"/>
                </a:cubicBezTo>
                <a:cubicBezTo>
                  <a:pt x="1153436" y="2790601"/>
                  <a:pt x="1160725" y="2786957"/>
                  <a:pt x="1166192" y="2786957"/>
                </a:cubicBezTo>
                <a:cubicBezTo>
                  <a:pt x="1168014" y="2785136"/>
                  <a:pt x="1166192" y="2785136"/>
                  <a:pt x="1166192" y="2783314"/>
                </a:cubicBezTo>
                <a:cubicBezTo>
                  <a:pt x="1175303" y="2777846"/>
                  <a:pt x="1188058" y="2770558"/>
                  <a:pt x="1200814" y="2770558"/>
                </a:cubicBezTo>
                <a:cubicBezTo>
                  <a:pt x="1206279" y="2765092"/>
                  <a:pt x="1215390" y="2765092"/>
                  <a:pt x="1220858" y="2763270"/>
                </a:cubicBezTo>
                <a:cubicBezTo>
                  <a:pt x="1220858" y="2757802"/>
                  <a:pt x="1213568" y="2763270"/>
                  <a:pt x="1211747" y="2759624"/>
                </a:cubicBezTo>
                <a:cubicBezTo>
                  <a:pt x="1204457" y="2763270"/>
                  <a:pt x="1195346" y="2766914"/>
                  <a:pt x="1188058" y="2768736"/>
                </a:cubicBezTo>
                <a:cubicBezTo>
                  <a:pt x="1188058" y="2766914"/>
                  <a:pt x="1189880" y="2766914"/>
                  <a:pt x="1189880" y="2763270"/>
                </a:cubicBezTo>
                <a:cubicBezTo>
                  <a:pt x="1188058" y="2761448"/>
                  <a:pt x="1182592" y="2765092"/>
                  <a:pt x="1184414" y="2768736"/>
                </a:cubicBezTo>
                <a:cubicBezTo>
                  <a:pt x="1173481" y="2776024"/>
                  <a:pt x="1162547" y="2783314"/>
                  <a:pt x="1151614" y="2790601"/>
                </a:cubicBezTo>
                <a:cubicBezTo>
                  <a:pt x="1149792" y="2790601"/>
                  <a:pt x="1149792" y="2790601"/>
                  <a:pt x="1147970" y="2790601"/>
                </a:cubicBezTo>
                <a:cubicBezTo>
                  <a:pt x="1144326" y="2794247"/>
                  <a:pt x="1138859" y="2796068"/>
                  <a:pt x="1133393" y="2799711"/>
                </a:cubicBezTo>
                <a:cubicBezTo>
                  <a:pt x="1131570" y="2799711"/>
                  <a:pt x="1133393" y="2799711"/>
                  <a:pt x="1133393" y="2797891"/>
                </a:cubicBezTo>
                <a:cubicBezTo>
                  <a:pt x="1131570" y="2792424"/>
                  <a:pt x="1127926" y="2786957"/>
                  <a:pt x="1124282" y="2785136"/>
                </a:cubicBezTo>
                <a:cubicBezTo>
                  <a:pt x="1120637" y="2783314"/>
                  <a:pt x="1115171" y="2785136"/>
                  <a:pt x="1113349" y="2779669"/>
                </a:cubicBezTo>
                <a:cubicBezTo>
                  <a:pt x="1116993" y="2783314"/>
                  <a:pt x="1120637" y="2779669"/>
                  <a:pt x="1126104" y="2777846"/>
                </a:cubicBezTo>
                <a:cubicBezTo>
                  <a:pt x="1131570" y="2776024"/>
                  <a:pt x="1137037" y="2776024"/>
                  <a:pt x="1138859" y="2770558"/>
                </a:cubicBezTo>
                <a:cubicBezTo>
                  <a:pt x="1131570" y="2768736"/>
                  <a:pt x="1118815" y="2777846"/>
                  <a:pt x="1113349" y="2770558"/>
                </a:cubicBezTo>
                <a:cubicBezTo>
                  <a:pt x="1124282" y="2770558"/>
                  <a:pt x="1133393" y="2765092"/>
                  <a:pt x="1137037" y="2757802"/>
                </a:cubicBezTo>
                <a:cubicBezTo>
                  <a:pt x="1138859" y="2757802"/>
                  <a:pt x="1142503" y="2757802"/>
                  <a:pt x="1144326" y="2755980"/>
                </a:cubicBezTo>
                <a:cubicBezTo>
                  <a:pt x="1142503" y="2754158"/>
                  <a:pt x="1138859" y="2755980"/>
                  <a:pt x="1137037" y="2755980"/>
                </a:cubicBezTo>
                <a:cubicBezTo>
                  <a:pt x="1137037" y="2754158"/>
                  <a:pt x="1133393" y="2752336"/>
                  <a:pt x="1133393" y="2750514"/>
                </a:cubicBezTo>
                <a:cubicBezTo>
                  <a:pt x="1135215" y="2748693"/>
                  <a:pt x="1140681" y="2746869"/>
                  <a:pt x="1144326" y="2746869"/>
                </a:cubicBezTo>
                <a:cubicBezTo>
                  <a:pt x="1151614" y="2746869"/>
                  <a:pt x="1157081" y="2743225"/>
                  <a:pt x="1162547" y="2746869"/>
                </a:cubicBezTo>
                <a:cubicBezTo>
                  <a:pt x="1164370" y="2746869"/>
                  <a:pt x="1164370" y="2745047"/>
                  <a:pt x="1164370" y="2743225"/>
                </a:cubicBezTo>
                <a:cubicBezTo>
                  <a:pt x="1184414" y="2739581"/>
                  <a:pt x="1204457" y="2735937"/>
                  <a:pt x="1222679" y="2734114"/>
                </a:cubicBezTo>
                <a:cubicBezTo>
                  <a:pt x="1224501" y="2737758"/>
                  <a:pt x="1226323" y="2741403"/>
                  <a:pt x="1229969" y="2743225"/>
                </a:cubicBezTo>
                <a:cubicBezTo>
                  <a:pt x="1231790" y="2741403"/>
                  <a:pt x="1233612" y="2739581"/>
                  <a:pt x="1233612" y="2737758"/>
                </a:cubicBezTo>
                <a:cubicBezTo>
                  <a:pt x="1235434" y="2737758"/>
                  <a:pt x="1237256" y="2739581"/>
                  <a:pt x="1239080" y="2737758"/>
                </a:cubicBezTo>
                <a:cubicBezTo>
                  <a:pt x="1240901" y="2741403"/>
                  <a:pt x="1244545" y="2741403"/>
                  <a:pt x="1246367" y="2743225"/>
                </a:cubicBezTo>
                <a:cubicBezTo>
                  <a:pt x="1250012" y="2752336"/>
                  <a:pt x="1255478" y="2755980"/>
                  <a:pt x="1260945" y="2759624"/>
                </a:cubicBezTo>
                <a:cubicBezTo>
                  <a:pt x="1262767" y="2754158"/>
                  <a:pt x="1260945" y="2748693"/>
                  <a:pt x="1257300" y="2745047"/>
                </a:cubicBezTo>
                <a:cubicBezTo>
                  <a:pt x="1262767" y="2745047"/>
                  <a:pt x="1264589" y="2750514"/>
                  <a:pt x="1266411" y="2754158"/>
                </a:cubicBezTo>
                <a:cubicBezTo>
                  <a:pt x="1268233" y="2752336"/>
                  <a:pt x="1268233" y="2752336"/>
                  <a:pt x="1268233" y="2750514"/>
                </a:cubicBezTo>
                <a:cubicBezTo>
                  <a:pt x="1273700" y="2752336"/>
                  <a:pt x="1279166" y="2755980"/>
                  <a:pt x="1284633" y="2757802"/>
                </a:cubicBezTo>
                <a:cubicBezTo>
                  <a:pt x="1286455" y="2754158"/>
                  <a:pt x="1291922" y="2757802"/>
                  <a:pt x="1295566" y="2754158"/>
                </a:cubicBezTo>
                <a:cubicBezTo>
                  <a:pt x="1291922" y="2745047"/>
                  <a:pt x="1288277" y="2743225"/>
                  <a:pt x="1282811" y="2741403"/>
                </a:cubicBezTo>
                <a:cubicBezTo>
                  <a:pt x="1282811" y="2739581"/>
                  <a:pt x="1290100" y="2739581"/>
                  <a:pt x="1290100" y="2735937"/>
                </a:cubicBezTo>
                <a:cubicBezTo>
                  <a:pt x="1290100" y="2732292"/>
                  <a:pt x="1288277" y="2734114"/>
                  <a:pt x="1286455" y="2732292"/>
                </a:cubicBezTo>
                <a:cubicBezTo>
                  <a:pt x="1288277" y="2730469"/>
                  <a:pt x="1291922" y="2728648"/>
                  <a:pt x="1291922" y="2726824"/>
                </a:cubicBezTo>
                <a:cubicBezTo>
                  <a:pt x="1288277" y="2721359"/>
                  <a:pt x="1280989" y="2723181"/>
                  <a:pt x="1275522" y="2725003"/>
                </a:cubicBezTo>
                <a:cubicBezTo>
                  <a:pt x="1275522" y="2721359"/>
                  <a:pt x="1280989" y="2721359"/>
                  <a:pt x="1280989" y="2719537"/>
                </a:cubicBezTo>
                <a:cubicBezTo>
                  <a:pt x="1286455" y="2719537"/>
                  <a:pt x="1288277" y="2725003"/>
                  <a:pt x="1293744" y="2723181"/>
                </a:cubicBezTo>
                <a:cubicBezTo>
                  <a:pt x="1295566" y="2721359"/>
                  <a:pt x="1293744" y="2719537"/>
                  <a:pt x="1293744" y="2717714"/>
                </a:cubicBezTo>
                <a:cubicBezTo>
                  <a:pt x="1295566" y="2717714"/>
                  <a:pt x="1297388" y="2717714"/>
                  <a:pt x="1299210" y="2717714"/>
                </a:cubicBezTo>
                <a:cubicBezTo>
                  <a:pt x="1297388" y="2719537"/>
                  <a:pt x="1297388" y="2721359"/>
                  <a:pt x="1297388" y="2723181"/>
                </a:cubicBezTo>
                <a:cubicBezTo>
                  <a:pt x="1299210" y="2723181"/>
                  <a:pt x="1299210" y="2725003"/>
                  <a:pt x="1301033" y="2725003"/>
                </a:cubicBezTo>
                <a:cubicBezTo>
                  <a:pt x="1302855" y="2723181"/>
                  <a:pt x="1301033" y="2721359"/>
                  <a:pt x="1302855" y="2721359"/>
                </a:cubicBezTo>
                <a:cubicBezTo>
                  <a:pt x="1302855" y="2723181"/>
                  <a:pt x="1304677" y="2723181"/>
                  <a:pt x="1306499" y="2723181"/>
                </a:cubicBezTo>
                <a:cubicBezTo>
                  <a:pt x="1308321" y="2721359"/>
                  <a:pt x="1308321" y="2714070"/>
                  <a:pt x="1302855" y="2715891"/>
                </a:cubicBezTo>
                <a:cubicBezTo>
                  <a:pt x="1306499" y="2714070"/>
                  <a:pt x="1311966" y="2714070"/>
                  <a:pt x="1315610" y="2712249"/>
                </a:cubicBezTo>
                <a:cubicBezTo>
                  <a:pt x="1317432" y="2714070"/>
                  <a:pt x="1315610" y="2714070"/>
                  <a:pt x="1315610" y="2715891"/>
                </a:cubicBezTo>
                <a:cubicBezTo>
                  <a:pt x="1317432" y="2715891"/>
                  <a:pt x="1315610" y="2712249"/>
                  <a:pt x="1317432" y="2712249"/>
                </a:cubicBezTo>
                <a:cubicBezTo>
                  <a:pt x="1324721" y="2710426"/>
                  <a:pt x="1335654" y="2710426"/>
                  <a:pt x="1342942" y="2708604"/>
                </a:cubicBezTo>
                <a:cubicBezTo>
                  <a:pt x="1344765" y="2708604"/>
                  <a:pt x="1344765" y="2706782"/>
                  <a:pt x="1346587" y="2706782"/>
                </a:cubicBezTo>
                <a:cubicBezTo>
                  <a:pt x="1353876" y="2703136"/>
                  <a:pt x="1364809" y="2704959"/>
                  <a:pt x="1372097" y="2703136"/>
                </a:cubicBezTo>
                <a:cubicBezTo>
                  <a:pt x="1373920" y="2703136"/>
                  <a:pt x="1377564" y="2701315"/>
                  <a:pt x="1379386" y="2701315"/>
                </a:cubicBezTo>
                <a:cubicBezTo>
                  <a:pt x="1381208" y="2701315"/>
                  <a:pt x="1384854" y="2701315"/>
                  <a:pt x="1386676" y="2699492"/>
                </a:cubicBezTo>
                <a:cubicBezTo>
                  <a:pt x="1384854" y="2697671"/>
                  <a:pt x="1381208" y="2699492"/>
                  <a:pt x="1379386" y="2697671"/>
                </a:cubicBezTo>
                <a:cubicBezTo>
                  <a:pt x="1372097" y="2701315"/>
                  <a:pt x="1364809" y="2703136"/>
                  <a:pt x="1357521" y="2701315"/>
                </a:cubicBezTo>
                <a:cubicBezTo>
                  <a:pt x="1351142" y="2702226"/>
                  <a:pt x="1344309" y="2704048"/>
                  <a:pt x="1337704" y="2705415"/>
                </a:cubicBezTo>
                <a:lnTo>
                  <a:pt x="1326728" y="2706228"/>
                </a:lnTo>
                <a:lnTo>
                  <a:pt x="1328365" y="2701315"/>
                </a:lnTo>
                <a:cubicBezTo>
                  <a:pt x="1326543" y="2697671"/>
                  <a:pt x="1322899" y="2697671"/>
                  <a:pt x="1319254" y="2697671"/>
                </a:cubicBezTo>
                <a:cubicBezTo>
                  <a:pt x="1321077" y="2695848"/>
                  <a:pt x="1324721" y="2694026"/>
                  <a:pt x="1322899" y="2690381"/>
                </a:cubicBezTo>
                <a:cubicBezTo>
                  <a:pt x="1317432" y="2690381"/>
                  <a:pt x="1315610" y="2697671"/>
                  <a:pt x="1313788" y="2701315"/>
                </a:cubicBezTo>
                <a:cubicBezTo>
                  <a:pt x="1311966" y="2703136"/>
                  <a:pt x="1311966" y="2699492"/>
                  <a:pt x="1310143" y="2699492"/>
                </a:cubicBezTo>
                <a:cubicBezTo>
                  <a:pt x="1310143" y="2708604"/>
                  <a:pt x="1301033" y="2712249"/>
                  <a:pt x="1290100" y="2714070"/>
                </a:cubicBezTo>
                <a:cubicBezTo>
                  <a:pt x="1288277" y="2710426"/>
                  <a:pt x="1286455" y="2710426"/>
                  <a:pt x="1282811" y="2710426"/>
                </a:cubicBezTo>
                <a:cubicBezTo>
                  <a:pt x="1286455" y="2706782"/>
                  <a:pt x="1293744" y="2704959"/>
                  <a:pt x="1295566" y="2701315"/>
                </a:cubicBezTo>
                <a:cubicBezTo>
                  <a:pt x="1290100" y="2701315"/>
                  <a:pt x="1284633" y="2694026"/>
                  <a:pt x="1277344" y="2699492"/>
                </a:cubicBezTo>
                <a:cubicBezTo>
                  <a:pt x="1275522" y="2697671"/>
                  <a:pt x="1279166" y="2697671"/>
                  <a:pt x="1277344" y="2695848"/>
                </a:cubicBezTo>
                <a:cubicBezTo>
                  <a:pt x="1264589" y="2699492"/>
                  <a:pt x="1268233" y="2715891"/>
                  <a:pt x="1255478" y="2719537"/>
                </a:cubicBezTo>
                <a:cubicBezTo>
                  <a:pt x="1259123" y="2715891"/>
                  <a:pt x="1260945" y="2710426"/>
                  <a:pt x="1260945" y="2703136"/>
                </a:cubicBezTo>
                <a:cubicBezTo>
                  <a:pt x="1250012" y="2703136"/>
                  <a:pt x="1244545" y="2714070"/>
                  <a:pt x="1240901" y="2721359"/>
                </a:cubicBezTo>
                <a:cubicBezTo>
                  <a:pt x="1239080" y="2714070"/>
                  <a:pt x="1233612" y="2712249"/>
                  <a:pt x="1228146" y="2715891"/>
                </a:cubicBezTo>
                <a:cubicBezTo>
                  <a:pt x="1228146" y="2710426"/>
                  <a:pt x="1233612" y="2710426"/>
                  <a:pt x="1237256" y="2708604"/>
                </a:cubicBezTo>
                <a:cubicBezTo>
                  <a:pt x="1244545" y="2704959"/>
                  <a:pt x="1248189" y="2692204"/>
                  <a:pt x="1240901" y="2688560"/>
                </a:cubicBezTo>
                <a:cubicBezTo>
                  <a:pt x="1237256" y="2692204"/>
                  <a:pt x="1231790" y="2694026"/>
                  <a:pt x="1229969" y="2699492"/>
                </a:cubicBezTo>
                <a:cubicBezTo>
                  <a:pt x="1228146" y="2703136"/>
                  <a:pt x="1231790" y="2712249"/>
                  <a:pt x="1224501" y="2708604"/>
                </a:cubicBezTo>
                <a:cubicBezTo>
                  <a:pt x="1229969" y="2704959"/>
                  <a:pt x="1226323" y="2688560"/>
                  <a:pt x="1219036" y="2690381"/>
                </a:cubicBezTo>
                <a:cubicBezTo>
                  <a:pt x="1211747" y="2692204"/>
                  <a:pt x="1215390" y="2708604"/>
                  <a:pt x="1222679" y="2710426"/>
                </a:cubicBezTo>
                <a:cubicBezTo>
                  <a:pt x="1222679" y="2712249"/>
                  <a:pt x="1222679" y="2712249"/>
                  <a:pt x="1220858" y="2714070"/>
                </a:cubicBezTo>
                <a:cubicBezTo>
                  <a:pt x="1219036" y="2708604"/>
                  <a:pt x="1209925" y="2708604"/>
                  <a:pt x="1206279" y="2712249"/>
                </a:cubicBezTo>
                <a:cubicBezTo>
                  <a:pt x="1206279" y="2715891"/>
                  <a:pt x="1208102" y="2714070"/>
                  <a:pt x="1209925" y="2715891"/>
                </a:cubicBezTo>
                <a:cubicBezTo>
                  <a:pt x="1202636" y="2714070"/>
                  <a:pt x="1198991" y="2719537"/>
                  <a:pt x="1198991" y="2725003"/>
                </a:cubicBezTo>
                <a:cubicBezTo>
                  <a:pt x="1202636" y="2728648"/>
                  <a:pt x="1206279" y="2728648"/>
                  <a:pt x="1209925" y="2726824"/>
                </a:cubicBezTo>
                <a:cubicBezTo>
                  <a:pt x="1213568" y="2725003"/>
                  <a:pt x="1215390" y="2719537"/>
                  <a:pt x="1219036" y="2721359"/>
                </a:cubicBezTo>
                <a:cubicBezTo>
                  <a:pt x="1219036" y="2723181"/>
                  <a:pt x="1219036" y="2725003"/>
                  <a:pt x="1217213" y="2726824"/>
                </a:cubicBezTo>
                <a:cubicBezTo>
                  <a:pt x="1208102" y="2728648"/>
                  <a:pt x="1198991" y="2732292"/>
                  <a:pt x="1191703" y="2730469"/>
                </a:cubicBezTo>
                <a:cubicBezTo>
                  <a:pt x="1186236" y="2734114"/>
                  <a:pt x="1178947" y="2732292"/>
                  <a:pt x="1173481" y="2734114"/>
                </a:cubicBezTo>
                <a:cubicBezTo>
                  <a:pt x="1171658" y="2732292"/>
                  <a:pt x="1175303" y="2732292"/>
                  <a:pt x="1173481" y="2730469"/>
                </a:cubicBezTo>
                <a:cubicBezTo>
                  <a:pt x="1168014" y="2730469"/>
                  <a:pt x="1164370" y="2739581"/>
                  <a:pt x="1157081" y="2737758"/>
                </a:cubicBezTo>
                <a:cubicBezTo>
                  <a:pt x="1144326" y="2743225"/>
                  <a:pt x="1133393" y="2741403"/>
                  <a:pt x="1122459" y="2745047"/>
                </a:cubicBezTo>
                <a:cubicBezTo>
                  <a:pt x="1118815" y="2735937"/>
                  <a:pt x="1109704" y="2737758"/>
                  <a:pt x="1104238" y="2732292"/>
                </a:cubicBezTo>
                <a:cubicBezTo>
                  <a:pt x="1111526" y="2734114"/>
                  <a:pt x="1129748" y="2735937"/>
                  <a:pt x="1142503" y="2730469"/>
                </a:cubicBezTo>
                <a:cubicBezTo>
                  <a:pt x="1149792" y="2726824"/>
                  <a:pt x="1158903" y="2719537"/>
                  <a:pt x="1147970" y="2715891"/>
                </a:cubicBezTo>
                <a:cubicBezTo>
                  <a:pt x="1142503" y="2712249"/>
                  <a:pt x="1131570" y="2712249"/>
                  <a:pt x="1124282" y="2712249"/>
                </a:cubicBezTo>
                <a:cubicBezTo>
                  <a:pt x="1120637" y="2714070"/>
                  <a:pt x="1116993" y="2715891"/>
                  <a:pt x="1115171" y="2712249"/>
                </a:cubicBezTo>
                <a:cubicBezTo>
                  <a:pt x="1116993" y="2710426"/>
                  <a:pt x="1118815" y="2710426"/>
                  <a:pt x="1118815" y="2708604"/>
                </a:cubicBezTo>
                <a:cubicBezTo>
                  <a:pt x="1116993" y="2706782"/>
                  <a:pt x="1115171" y="2710426"/>
                  <a:pt x="1113349" y="2708604"/>
                </a:cubicBezTo>
                <a:cubicBezTo>
                  <a:pt x="1113349" y="2704959"/>
                  <a:pt x="1113349" y="2701315"/>
                  <a:pt x="1111526" y="2697671"/>
                </a:cubicBezTo>
                <a:cubicBezTo>
                  <a:pt x="1115170" y="2693115"/>
                  <a:pt x="1118359" y="2688560"/>
                  <a:pt x="1120637" y="2683549"/>
                </a:cubicBezTo>
                <a:lnTo>
                  <a:pt x="1124277" y="2666714"/>
                </a:lnTo>
                <a:lnTo>
                  <a:pt x="1120637" y="2666714"/>
                </a:lnTo>
                <a:cubicBezTo>
                  <a:pt x="1122459" y="2665801"/>
                  <a:pt x="1125193" y="2664436"/>
                  <a:pt x="1127698" y="2663980"/>
                </a:cubicBezTo>
                <a:cubicBezTo>
                  <a:pt x="1130203" y="2663525"/>
                  <a:pt x="1132481" y="2663980"/>
                  <a:pt x="1133392" y="2666714"/>
                </a:cubicBezTo>
                <a:lnTo>
                  <a:pt x="1124311" y="2666714"/>
                </a:lnTo>
                <a:lnTo>
                  <a:pt x="1144326" y="2681270"/>
                </a:lnTo>
                <a:cubicBezTo>
                  <a:pt x="1147970" y="2683093"/>
                  <a:pt x="1168014" y="2688560"/>
                  <a:pt x="1175303" y="2679448"/>
                </a:cubicBezTo>
                <a:cubicBezTo>
                  <a:pt x="1166192" y="2668515"/>
                  <a:pt x="1155259" y="2663048"/>
                  <a:pt x="1140681" y="2661227"/>
                </a:cubicBezTo>
                <a:cubicBezTo>
                  <a:pt x="1140681" y="2659404"/>
                  <a:pt x="1140681" y="2659404"/>
                  <a:pt x="1140681" y="2657583"/>
                </a:cubicBezTo>
                <a:cubicBezTo>
                  <a:pt x="1138859" y="2655761"/>
                  <a:pt x="1135215" y="2655761"/>
                  <a:pt x="1135215" y="2653937"/>
                </a:cubicBezTo>
                <a:cubicBezTo>
                  <a:pt x="1140681" y="2648471"/>
                  <a:pt x="1144326" y="2661227"/>
                  <a:pt x="1149792" y="2663048"/>
                </a:cubicBezTo>
                <a:cubicBezTo>
                  <a:pt x="1151614" y="2663048"/>
                  <a:pt x="1149792" y="2661227"/>
                  <a:pt x="1149792" y="2659404"/>
                </a:cubicBezTo>
                <a:cubicBezTo>
                  <a:pt x="1157081" y="2661227"/>
                  <a:pt x="1162547" y="2664871"/>
                  <a:pt x="1169836" y="2663048"/>
                </a:cubicBezTo>
                <a:cubicBezTo>
                  <a:pt x="1164370" y="2652116"/>
                  <a:pt x="1151614" y="2648471"/>
                  <a:pt x="1140681" y="2646649"/>
                </a:cubicBezTo>
                <a:cubicBezTo>
                  <a:pt x="1151614" y="2639360"/>
                  <a:pt x="1166192" y="2635716"/>
                  <a:pt x="1177125" y="2633895"/>
                </a:cubicBezTo>
                <a:cubicBezTo>
                  <a:pt x="1178947" y="2633895"/>
                  <a:pt x="1178947" y="2635716"/>
                  <a:pt x="1180769" y="2635716"/>
                </a:cubicBezTo>
                <a:cubicBezTo>
                  <a:pt x="1182592" y="2633895"/>
                  <a:pt x="1180769" y="2632071"/>
                  <a:pt x="1182592" y="2632071"/>
                </a:cubicBezTo>
                <a:cubicBezTo>
                  <a:pt x="1191703" y="2628427"/>
                  <a:pt x="1200814" y="2624783"/>
                  <a:pt x="1209925" y="2624783"/>
                </a:cubicBezTo>
                <a:cubicBezTo>
                  <a:pt x="1211747" y="2624783"/>
                  <a:pt x="1211747" y="2622960"/>
                  <a:pt x="1211747" y="2621137"/>
                </a:cubicBezTo>
                <a:cubicBezTo>
                  <a:pt x="1228146" y="2613850"/>
                  <a:pt x="1244545" y="2612028"/>
                  <a:pt x="1259123" y="2610206"/>
                </a:cubicBezTo>
                <a:cubicBezTo>
                  <a:pt x="1259123" y="2612028"/>
                  <a:pt x="1260945" y="2612028"/>
                  <a:pt x="1262767" y="2612028"/>
                </a:cubicBezTo>
                <a:cubicBezTo>
                  <a:pt x="1262767" y="2612028"/>
                  <a:pt x="1260945" y="2610206"/>
                  <a:pt x="1260945" y="2608383"/>
                </a:cubicBezTo>
                <a:cubicBezTo>
                  <a:pt x="1264589" y="2608383"/>
                  <a:pt x="1268233" y="2606562"/>
                  <a:pt x="1271878" y="2604739"/>
                </a:cubicBezTo>
                <a:cubicBezTo>
                  <a:pt x="1277344" y="2602917"/>
                  <a:pt x="1282811" y="2599273"/>
                  <a:pt x="1288277" y="2601095"/>
                </a:cubicBezTo>
                <a:cubicBezTo>
                  <a:pt x="1288277" y="2602917"/>
                  <a:pt x="1284633" y="2601095"/>
                  <a:pt x="1282811" y="2602917"/>
                </a:cubicBezTo>
                <a:cubicBezTo>
                  <a:pt x="1282811" y="2606562"/>
                  <a:pt x="1286455" y="2608383"/>
                  <a:pt x="1288277" y="2608383"/>
                </a:cubicBezTo>
                <a:cubicBezTo>
                  <a:pt x="1282811" y="2613850"/>
                  <a:pt x="1279166" y="2621137"/>
                  <a:pt x="1282811" y="2632071"/>
                </a:cubicBezTo>
                <a:cubicBezTo>
                  <a:pt x="1284633" y="2632071"/>
                  <a:pt x="1286455" y="2630250"/>
                  <a:pt x="1288277" y="2630250"/>
                </a:cubicBezTo>
                <a:cubicBezTo>
                  <a:pt x="1286455" y="2632071"/>
                  <a:pt x="1288277" y="2633895"/>
                  <a:pt x="1290100" y="2633895"/>
                </a:cubicBezTo>
                <a:cubicBezTo>
                  <a:pt x="1295566" y="2632071"/>
                  <a:pt x="1295566" y="2628427"/>
                  <a:pt x="1299210" y="2624783"/>
                </a:cubicBezTo>
                <a:cubicBezTo>
                  <a:pt x="1299210" y="2630250"/>
                  <a:pt x="1299210" y="2643005"/>
                  <a:pt x="1306499" y="2643005"/>
                </a:cubicBezTo>
                <a:cubicBezTo>
                  <a:pt x="1311966" y="2643005"/>
                  <a:pt x="1313788" y="2635716"/>
                  <a:pt x="1313788" y="2630250"/>
                </a:cubicBezTo>
                <a:cubicBezTo>
                  <a:pt x="1315610" y="2628427"/>
                  <a:pt x="1317432" y="2633895"/>
                  <a:pt x="1319254" y="2632071"/>
                </a:cubicBezTo>
                <a:cubicBezTo>
                  <a:pt x="1321077" y="2626605"/>
                  <a:pt x="1315610" y="2613850"/>
                  <a:pt x="1310143" y="2612028"/>
                </a:cubicBezTo>
                <a:cubicBezTo>
                  <a:pt x="1310143" y="2608383"/>
                  <a:pt x="1311966" y="2606562"/>
                  <a:pt x="1308321" y="2604739"/>
                </a:cubicBezTo>
                <a:cubicBezTo>
                  <a:pt x="1310143" y="2602917"/>
                  <a:pt x="1313788" y="2606562"/>
                  <a:pt x="1313788" y="2608383"/>
                </a:cubicBezTo>
                <a:cubicBezTo>
                  <a:pt x="1315610" y="2612028"/>
                  <a:pt x="1333832" y="2617494"/>
                  <a:pt x="1335654" y="2610206"/>
                </a:cubicBezTo>
                <a:cubicBezTo>
                  <a:pt x="1332009" y="2604739"/>
                  <a:pt x="1324721" y="2599273"/>
                  <a:pt x="1317432" y="2601095"/>
                </a:cubicBezTo>
                <a:lnTo>
                  <a:pt x="1313788" y="2601095"/>
                </a:lnTo>
                <a:cubicBezTo>
                  <a:pt x="1317432" y="2601095"/>
                  <a:pt x="1319254" y="2599273"/>
                  <a:pt x="1322899" y="2597450"/>
                </a:cubicBezTo>
                <a:cubicBezTo>
                  <a:pt x="1322899" y="2595628"/>
                  <a:pt x="1322899" y="2595628"/>
                  <a:pt x="1322899" y="2593806"/>
                </a:cubicBezTo>
                <a:cubicBezTo>
                  <a:pt x="1330188" y="2595628"/>
                  <a:pt x="1335654" y="2593806"/>
                  <a:pt x="1341120" y="2595628"/>
                </a:cubicBezTo>
                <a:cubicBezTo>
                  <a:pt x="1344765" y="2599273"/>
                  <a:pt x="1346587" y="2604739"/>
                  <a:pt x="1352053" y="2602917"/>
                </a:cubicBezTo>
                <a:cubicBezTo>
                  <a:pt x="1350231" y="2597450"/>
                  <a:pt x="1344765" y="2593806"/>
                  <a:pt x="1341120" y="2591985"/>
                </a:cubicBezTo>
                <a:lnTo>
                  <a:pt x="1344804" y="2591985"/>
                </a:lnTo>
                <a:lnTo>
                  <a:pt x="1349092" y="2589727"/>
                </a:lnTo>
                <a:cubicBezTo>
                  <a:pt x="1350687" y="2589271"/>
                  <a:pt x="1352053" y="2589271"/>
                  <a:pt x="1352053" y="2590182"/>
                </a:cubicBezTo>
                <a:cubicBezTo>
                  <a:pt x="1355697" y="2586536"/>
                  <a:pt x="1362986" y="2586536"/>
                  <a:pt x="1366630" y="2584715"/>
                </a:cubicBezTo>
                <a:cubicBezTo>
                  <a:pt x="1364808" y="2588360"/>
                  <a:pt x="1361164" y="2591092"/>
                  <a:pt x="1357065" y="2592460"/>
                </a:cubicBezTo>
                <a:lnTo>
                  <a:pt x="1352514" y="2592292"/>
                </a:lnTo>
                <a:lnTo>
                  <a:pt x="1357521" y="2595628"/>
                </a:lnTo>
                <a:cubicBezTo>
                  <a:pt x="1357521" y="2595628"/>
                  <a:pt x="1359342" y="2593806"/>
                  <a:pt x="1357521" y="2593806"/>
                </a:cubicBezTo>
                <a:cubicBezTo>
                  <a:pt x="1359342" y="2591985"/>
                  <a:pt x="1361164" y="2595628"/>
                  <a:pt x="1362987" y="2595628"/>
                </a:cubicBezTo>
                <a:cubicBezTo>
                  <a:pt x="1366632" y="2606562"/>
                  <a:pt x="1373920" y="2612028"/>
                  <a:pt x="1381208" y="2617494"/>
                </a:cubicBezTo>
                <a:cubicBezTo>
                  <a:pt x="1383030" y="2615673"/>
                  <a:pt x="1379386" y="2612028"/>
                  <a:pt x="1379386" y="2610206"/>
                </a:cubicBezTo>
                <a:cubicBezTo>
                  <a:pt x="1375743" y="2602917"/>
                  <a:pt x="1364809" y="2599273"/>
                  <a:pt x="1362987" y="2591985"/>
                </a:cubicBezTo>
                <a:cubicBezTo>
                  <a:pt x="1379386" y="2593806"/>
                  <a:pt x="1384854" y="2621137"/>
                  <a:pt x="1404896" y="2619317"/>
                </a:cubicBezTo>
                <a:cubicBezTo>
                  <a:pt x="1403074" y="2608383"/>
                  <a:pt x="1388497" y="2604739"/>
                  <a:pt x="1386676" y="2591985"/>
                </a:cubicBezTo>
                <a:cubicBezTo>
                  <a:pt x="1395787" y="2593806"/>
                  <a:pt x="1403074" y="2601095"/>
                  <a:pt x="1410363" y="2604739"/>
                </a:cubicBezTo>
                <a:cubicBezTo>
                  <a:pt x="1408541" y="2599273"/>
                  <a:pt x="1403074" y="2597450"/>
                  <a:pt x="1399430" y="2593806"/>
                </a:cubicBezTo>
                <a:cubicBezTo>
                  <a:pt x="1404896" y="2593806"/>
                  <a:pt x="1412185" y="2593806"/>
                  <a:pt x="1419474" y="2590161"/>
                </a:cubicBezTo>
                <a:cubicBezTo>
                  <a:pt x="1410363" y="2584695"/>
                  <a:pt x="1399430" y="2584695"/>
                  <a:pt x="1388497" y="2584695"/>
                </a:cubicBezTo>
                <a:cubicBezTo>
                  <a:pt x="1395787" y="2581050"/>
                  <a:pt x="1397608" y="2577407"/>
                  <a:pt x="1401252" y="2571940"/>
                </a:cubicBezTo>
                <a:cubicBezTo>
                  <a:pt x="1408541" y="2573763"/>
                  <a:pt x="1415829" y="2571940"/>
                  <a:pt x="1419474" y="2579229"/>
                </a:cubicBezTo>
                <a:cubicBezTo>
                  <a:pt x="1419474" y="2581050"/>
                  <a:pt x="1419474" y="2584695"/>
                  <a:pt x="1421296" y="2586518"/>
                </a:cubicBezTo>
                <a:cubicBezTo>
                  <a:pt x="1424940" y="2584695"/>
                  <a:pt x="1421296" y="2582874"/>
                  <a:pt x="1421296" y="2579229"/>
                </a:cubicBezTo>
                <a:cubicBezTo>
                  <a:pt x="1426763" y="2581050"/>
                  <a:pt x="1430407" y="2586518"/>
                  <a:pt x="1437696" y="2582874"/>
                </a:cubicBezTo>
                <a:cubicBezTo>
                  <a:pt x="1439518" y="2581050"/>
                  <a:pt x="1435873" y="2579229"/>
                  <a:pt x="1435873" y="2575584"/>
                </a:cubicBezTo>
                <a:cubicBezTo>
                  <a:pt x="1439518" y="2573763"/>
                  <a:pt x="1441340" y="2573763"/>
                  <a:pt x="1443162" y="2571940"/>
                </a:cubicBezTo>
                <a:cubicBezTo>
                  <a:pt x="1437696" y="2566474"/>
                  <a:pt x="1430407" y="2570118"/>
                  <a:pt x="1423118" y="2571940"/>
                </a:cubicBezTo>
                <a:cubicBezTo>
                  <a:pt x="1421296" y="2571940"/>
                  <a:pt x="1423118" y="2570118"/>
                  <a:pt x="1423118" y="2570118"/>
                </a:cubicBezTo>
                <a:cubicBezTo>
                  <a:pt x="1421296" y="2568295"/>
                  <a:pt x="1419474" y="2570118"/>
                  <a:pt x="1419474" y="2568295"/>
                </a:cubicBezTo>
                <a:cubicBezTo>
                  <a:pt x="1432229" y="2564651"/>
                  <a:pt x="1448629" y="2561006"/>
                  <a:pt x="1454095" y="2551897"/>
                </a:cubicBezTo>
                <a:cubicBezTo>
                  <a:pt x="1443162" y="2559185"/>
                  <a:pt x="1419474" y="2566474"/>
                  <a:pt x="1404896" y="2564651"/>
                </a:cubicBezTo>
                <a:cubicBezTo>
                  <a:pt x="1406719" y="2562830"/>
                  <a:pt x="1406719" y="2561006"/>
                  <a:pt x="1406719" y="2559185"/>
                </a:cubicBezTo>
                <a:cubicBezTo>
                  <a:pt x="1403074" y="2559185"/>
                  <a:pt x="1403074" y="2564651"/>
                  <a:pt x="1397608" y="2564651"/>
                </a:cubicBezTo>
                <a:cubicBezTo>
                  <a:pt x="1395787" y="2562830"/>
                  <a:pt x="1397608" y="2561006"/>
                  <a:pt x="1397608" y="2559185"/>
                </a:cubicBezTo>
                <a:cubicBezTo>
                  <a:pt x="1393963" y="2557362"/>
                  <a:pt x="1393963" y="2559185"/>
                  <a:pt x="1390319" y="2561006"/>
                </a:cubicBezTo>
                <a:cubicBezTo>
                  <a:pt x="1390319" y="2559185"/>
                  <a:pt x="1392141" y="2559185"/>
                  <a:pt x="1392141" y="2557362"/>
                </a:cubicBezTo>
                <a:cubicBezTo>
                  <a:pt x="1386676" y="2561006"/>
                  <a:pt x="1383030" y="2568295"/>
                  <a:pt x="1375743" y="2568295"/>
                </a:cubicBezTo>
                <a:cubicBezTo>
                  <a:pt x="1377564" y="2561006"/>
                  <a:pt x="1381208" y="2557362"/>
                  <a:pt x="1383030" y="2550074"/>
                </a:cubicBezTo>
                <a:cubicBezTo>
                  <a:pt x="1384854" y="2544608"/>
                  <a:pt x="1384854" y="2537319"/>
                  <a:pt x="1384854" y="2530031"/>
                </a:cubicBezTo>
                <a:cubicBezTo>
                  <a:pt x="1379386" y="2533675"/>
                  <a:pt x="1379386" y="2544608"/>
                  <a:pt x="1375743" y="2551897"/>
                </a:cubicBezTo>
                <a:cubicBezTo>
                  <a:pt x="1373920" y="2557362"/>
                  <a:pt x="1372097" y="2564651"/>
                  <a:pt x="1370275" y="2570118"/>
                </a:cubicBezTo>
                <a:cubicBezTo>
                  <a:pt x="1362987" y="2568295"/>
                  <a:pt x="1352053" y="2573763"/>
                  <a:pt x="1342942" y="2575584"/>
                </a:cubicBezTo>
                <a:cubicBezTo>
                  <a:pt x="1342942" y="2573763"/>
                  <a:pt x="1342942" y="2573763"/>
                  <a:pt x="1342942" y="2571940"/>
                </a:cubicBezTo>
                <a:cubicBezTo>
                  <a:pt x="1339299" y="2570118"/>
                  <a:pt x="1339299" y="2573763"/>
                  <a:pt x="1337476" y="2575584"/>
                </a:cubicBezTo>
                <a:cubicBezTo>
                  <a:pt x="1332009" y="2579229"/>
                  <a:pt x="1321077" y="2581050"/>
                  <a:pt x="1313788" y="2582874"/>
                </a:cubicBezTo>
                <a:cubicBezTo>
                  <a:pt x="1315610" y="2579229"/>
                  <a:pt x="1321077" y="2577407"/>
                  <a:pt x="1319254" y="2571940"/>
                </a:cubicBezTo>
                <a:cubicBezTo>
                  <a:pt x="1326543" y="2571940"/>
                  <a:pt x="1337476" y="2566474"/>
                  <a:pt x="1339299" y="2561006"/>
                </a:cubicBezTo>
                <a:cubicBezTo>
                  <a:pt x="1332009" y="2555541"/>
                  <a:pt x="1319254" y="2561006"/>
                  <a:pt x="1310143" y="2559185"/>
                </a:cubicBezTo>
                <a:cubicBezTo>
                  <a:pt x="1315610" y="2555541"/>
                  <a:pt x="1330188" y="2559185"/>
                  <a:pt x="1341120" y="2551897"/>
                </a:cubicBezTo>
                <a:cubicBezTo>
                  <a:pt x="1337476" y="2548251"/>
                  <a:pt x="1330188" y="2550074"/>
                  <a:pt x="1324721" y="2550074"/>
                </a:cubicBezTo>
                <a:cubicBezTo>
                  <a:pt x="1326543" y="2544608"/>
                  <a:pt x="1333832" y="2539141"/>
                  <a:pt x="1333832" y="2531852"/>
                </a:cubicBezTo>
                <a:cubicBezTo>
                  <a:pt x="1326543" y="2526385"/>
                  <a:pt x="1310143" y="2542786"/>
                  <a:pt x="1308321" y="2550074"/>
                </a:cubicBezTo>
                <a:cubicBezTo>
                  <a:pt x="1306499" y="2550074"/>
                  <a:pt x="1306499" y="2548251"/>
                  <a:pt x="1304677" y="2550074"/>
                </a:cubicBezTo>
                <a:cubicBezTo>
                  <a:pt x="1308321" y="2542786"/>
                  <a:pt x="1306499" y="2533675"/>
                  <a:pt x="1304677" y="2522741"/>
                </a:cubicBezTo>
                <a:cubicBezTo>
                  <a:pt x="1299210" y="2528208"/>
                  <a:pt x="1301033" y="2537319"/>
                  <a:pt x="1301033" y="2544608"/>
                </a:cubicBezTo>
                <a:cubicBezTo>
                  <a:pt x="1299210" y="2546430"/>
                  <a:pt x="1297388" y="2544608"/>
                  <a:pt x="1297388" y="2546430"/>
                </a:cubicBezTo>
                <a:cubicBezTo>
                  <a:pt x="1297388" y="2550074"/>
                  <a:pt x="1299210" y="2550074"/>
                  <a:pt x="1301033" y="2551897"/>
                </a:cubicBezTo>
                <a:cubicBezTo>
                  <a:pt x="1301033" y="2555541"/>
                  <a:pt x="1299210" y="2555541"/>
                  <a:pt x="1301033" y="2559185"/>
                </a:cubicBezTo>
                <a:cubicBezTo>
                  <a:pt x="1297388" y="2557362"/>
                  <a:pt x="1299210" y="2562830"/>
                  <a:pt x="1295566" y="2562830"/>
                </a:cubicBezTo>
                <a:cubicBezTo>
                  <a:pt x="1293744" y="2557362"/>
                  <a:pt x="1286455" y="2551897"/>
                  <a:pt x="1279166" y="2555541"/>
                </a:cubicBezTo>
                <a:cubicBezTo>
                  <a:pt x="1275522" y="2555541"/>
                  <a:pt x="1270056" y="2557362"/>
                  <a:pt x="1270056" y="2561006"/>
                </a:cubicBezTo>
                <a:cubicBezTo>
                  <a:pt x="1273700" y="2568295"/>
                  <a:pt x="1279166" y="2570118"/>
                  <a:pt x="1286455" y="2570118"/>
                </a:cubicBezTo>
                <a:cubicBezTo>
                  <a:pt x="1290100" y="2579229"/>
                  <a:pt x="1280989" y="2582874"/>
                  <a:pt x="1280989" y="2590161"/>
                </a:cubicBezTo>
                <a:cubicBezTo>
                  <a:pt x="1264589" y="2599273"/>
                  <a:pt x="1242723" y="2604739"/>
                  <a:pt x="1226323" y="2606562"/>
                </a:cubicBezTo>
                <a:cubicBezTo>
                  <a:pt x="1224501" y="2604739"/>
                  <a:pt x="1226323" y="2604739"/>
                  <a:pt x="1224501" y="2602917"/>
                </a:cubicBezTo>
                <a:cubicBezTo>
                  <a:pt x="1208102" y="2615673"/>
                  <a:pt x="1178947" y="2622960"/>
                  <a:pt x="1157081" y="2628427"/>
                </a:cubicBezTo>
                <a:cubicBezTo>
                  <a:pt x="1160725" y="2622960"/>
                  <a:pt x="1168014" y="2621137"/>
                  <a:pt x="1168014" y="2613850"/>
                </a:cubicBezTo>
                <a:lnTo>
                  <a:pt x="1164384" y="2613850"/>
                </a:lnTo>
                <a:lnTo>
                  <a:pt x="1164370" y="2613868"/>
                </a:lnTo>
                <a:lnTo>
                  <a:pt x="1164352" y="2613850"/>
                </a:lnTo>
                <a:lnTo>
                  <a:pt x="1158903" y="2613850"/>
                </a:lnTo>
                <a:cubicBezTo>
                  <a:pt x="1158903" y="2612028"/>
                  <a:pt x="1160725" y="2610206"/>
                  <a:pt x="1162547" y="2608383"/>
                </a:cubicBezTo>
                <a:cubicBezTo>
                  <a:pt x="1166192" y="2606562"/>
                  <a:pt x="1168014" y="2610206"/>
                  <a:pt x="1173481" y="2608383"/>
                </a:cubicBezTo>
                <a:cubicBezTo>
                  <a:pt x="1173481" y="2604739"/>
                  <a:pt x="1169836" y="2602917"/>
                  <a:pt x="1168014" y="2601095"/>
                </a:cubicBezTo>
                <a:cubicBezTo>
                  <a:pt x="1168014" y="2599273"/>
                  <a:pt x="1169836" y="2599273"/>
                  <a:pt x="1169836" y="2597450"/>
                </a:cubicBezTo>
                <a:cubicBezTo>
                  <a:pt x="1177125" y="2595628"/>
                  <a:pt x="1186236" y="2591985"/>
                  <a:pt x="1193525" y="2595628"/>
                </a:cubicBezTo>
                <a:cubicBezTo>
                  <a:pt x="1193525" y="2593806"/>
                  <a:pt x="1191703" y="2591985"/>
                  <a:pt x="1191703" y="2591985"/>
                </a:cubicBezTo>
                <a:cubicBezTo>
                  <a:pt x="1200814" y="2590161"/>
                  <a:pt x="1208102" y="2586518"/>
                  <a:pt x="1215390" y="2586518"/>
                </a:cubicBezTo>
                <a:cubicBezTo>
                  <a:pt x="1219036" y="2584695"/>
                  <a:pt x="1224501" y="2582874"/>
                  <a:pt x="1228146" y="2582874"/>
                </a:cubicBezTo>
                <a:cubicBezTo>
                  <a:pt x="1229969" y="2579229"/>
                  <a:pt x="1240901" y="2575584"/>
                  <a:pt x="1244545" y="2575584"/>
                </a:cubicBezTo>
                <a:cubicBezTo>
                  <a:pt x="1244545" y="2571940"/>
                  <a:pt x="1248189" y="2571940"/>
                  <a:pt x="1250012" y="2570118"/>
                </a:cubicBezTo>
                <a:cubicBezTo>
                  <a:pt x="1251834" y="2570118"/>
                  <a:pt x="1251834" y="2573763"/>
                  <a:pt x="1253656" y="2573763"/>
                </a:cubicBezTo>
                <a:cubicBezTo>
                  <a:pt x="1255478" y="2571940"/>
                  <a:pt x="1251834" y="2570118"/>
                  <a:pt x="1251834" y="2568295"/>
                </a:cubicBezTo>
                <a:cubicBezTo>
                  <a:pt x="1255478" y="2568295"/>
                  <a:pt x="1255478" y="2570118"/>
                  <a:pt x="1259123" y="2568295"/>
                </a:cubicBezTo>
                <a:cubicBezTo>
                  <a:pt x="1260945" y="2566474"/>
                  <a:pt x="1259123" y="2564651"/>
                  <a:pt x="1260945" y="2562830"/>
                </a:cubicBezTo>
                <a:cubicBezTo>
                  <a:pt x="1260945" y="2561006"/>
                  <a:pt x="1257300" y="2564651"/>
                  <a:pt x="1257300" y="2561006"/>
                </a:cubicBezTo>
                <a:cubicBezTo>
                  <a:pt x="1255478" y="2562830"/>
                  <a:pt x="1255478" y="2564651"/>
                  <a:pt x="1253656" y="2566474"/>
                </a:cubicBezTo>
                <a:cubicBezTo>
                  <a:pt x="1251834" y="2568295"/>
                  <a:pt x="1253656" y="2562830"/>
                  <a:pt x="1250012" y="2564651"/>
                </a:cubicBezTo>
                <a:cubicBezTo>
                  <a:pt x="1250012" y="2566474"/>
                  <a:pt x="1253656" y="2566474"/>
                  <a:pt x="1251834" y="2568295"/>
                </a:cubicBezTo>
                <a:cubicBezTo>
                  <a:pt x="1246367" y="2568295"/>
                  <a:pt x="1242723" y="2575584"/>
                  <a:pt x="1237256" y="2573763"/>
                </a:cubicBezTo>
                <a:cubicBezTo>
                  <a:pt x="1229969" y="2581050"/>
                  <a:pt x="1219036" y="2582874"/>
                  <a:pt x="1208102" y="2586518"/>
                </a:cubicBezTo>
                <a:cubicBezTo>
                  <a:pt x="1206279" y="2586518"/>
                  <a:pt x="1208102" y="2584695"/>
                  <a:pt x="1206279" y="2584695"/>
                </a:cubicBezTo>
                <a:cubicBezTo>
                  <a:pt x="1202636" y="2588340"/>
                  <a:pt x="1195346" y="2590161"/>
                  <a:pt x="1189880" y="2591985"/>
                </a:cubicBezTo>
                <a:cubicBezTo>
                  <a:pt x="1186236" y="2591985"/>
                  <a:pt x="1182592" y="2590161"/>
                  <a:pt x="1178947" y="2590161"/>
                </a:cubicBezTo>
                <a:cubicBezTo>
                  <a:pt x="1177125" y="2590161"/>
                  <a:pt x="1178947" y="2593806"/>
                  <a:pt x="1177125" y="2593806"/>
                </a:cubicBezTo>
                <a:cubicBezTo>
                  <a:pt x="1173481" y="2595628"/>
                  <a:pt x="1173481" y="2591985"/>
                  <a:pt x="1169836" y="2593806"/>
                </a:cubicBezTo>
                <a:cubicBezTo>
                  <a:pt x="1171658" y="2588340"/>
                  <a:pt x="1180769" y="2584695"/>
                  <a:pt x="1180769" y="2577407"/>
                </a:cubicBezTo>
                <a:cubicBezTo>
                  <a:pt x="1178947" y="2575584"/>
                  <a:pt x="1177125" y="2575584"/>
                  <a:pt x="1175303" y="2577407"/>
                </a:cubicBezTo>
                <a:cubicBezTo>
                  <a:pt x="1173481" y="2571940"/>
                  <a:pt x="1178947" y="2571940"/>
                  <a:pt x="1177125" y="2568295"/>
                </a:cubicBezTo>
                <a:cubicBezTo>
                  <a:pt x="1173481" y="2559185"/>
                  <a:pt x="1162547" y="2571940"/>
                  <a:pt x="1160725" y="2577407"/>
                </a:cubicBezTo>
                <a:cubicBezTo>
                  <a:pt x="1158903" y="2579229"/>
                  <a:pt x="1160725" y="2581050"/>
                  <a:pt x="1158903" y="2582874"/>
                </a:cubicBezTo>
                <a:cubicBezTo>
                  <a:pt x="1157081" y="2577407"/>
                  <a:pt x="1158903" y="2571940"/>
                  <a:pt x="1157081" y="2566474"/>
                </a:cubicBezTo>
                <a:cubicBezTo>
                  <a:pt x="1157081" y="2566474"/>
                  <a:pt x="1155259" y="2566474"/>
                  <a:pt x="1155259" y="2566474"/>
                </a:cubicBezTo>
                <a:cubicBezTo>
                  <a:pt x="1149792" y="2568295"/>
                  <a:pt x="1153436" y="2575584"/>
                  <a:pt x="1149792" y="2579229"/>
                </a:cubicBezTo>
                <a:cubicBezTo>
                  <a:pt x="1146148" y="2575584"/>
                  <a:pt x="1144326" y="2570118"/>
                  <a:pt x="1138859" y="2568295"/>
                </a:cubicBezTo>
                <a:cubicBezTo>
                  <a:pt x="1135215" y="2575584"/>
                  <a:pt x="1144326" y="2586518"/>
                  <a:pt x="1149792" y="2591985"/>
                </a:cubicBezTo>
                <a:cubicBezTo>
                  <a:pt x="1149792" y="2591985"/>
                  <a:pt x="1144326" y="2590161"/>
                  <a:pt x="1142503" y="2593806"/>
                </a:cubicBezTo>
                <a:cubicBezTo>
                  <a:pt x="1142503" y="2595628"/>
                  <a:pt x="1144326" y="2595628"/>
                  <a:pt x="1144326" y="2597450"/>
                </a:cubicBezTo>
                <a:cubicBezTo>
                  <a:pt x="1140681" y="2597450"/>
                  <a:pt x="1135215" y="2591985"/>
                  <a:pt x="1129748" y="2597450"/>
                </a:cubicBezTo>
                <a:cubicBezTo>
                  <a:pt x="1129748" y="2599273"/>
                  <a:pt x="1129748" y="2597450"/>
                  <a:pt x="1127926" y="2597450"/>
                </a:cubicBezTo>
                <a:cubicBezTo>
                  <a:pt x="1122459" y="2602917"/>
                  <a:pt x="1107882" y="2604739"/>
                  <a:pt x="1100593" y="2602917"/>
                </a:cubicBezTo>
                <a:cubicBezTo>
                  <a:pt x="1098771" y="2601095"/>
                  <a:pt x="1102416" y="2601095"/>
                  <a:pt x="1100593" y="2599273"/>
                </a:cubicBezTo>
                <a:cubicBezTo>
                  <a:pt x="1098771" y="2599273"/>
                  <a:pt x="1096949" y="2601095"/>
                  <a:pt x="1095127" y="2601095"/>
                </a:cubicBezTo>
                <a:cubicBezTo>
                  <a:pt x="1098771" y="2597450"/>
                  <a:pt x="1106060" y="2595628"/>
                  <a:pt x="1104238" y="2590161"/>
                </a:cubicBezTo>
                <a:cubicBezTo>
                  <a:pt x="1098771" y="2586518"/>
                  <a:pt x="1095127" y="2593806"/>
                  <a:pt x="1093305" y="2599273"/>
                </a:cubicBezTo>
                <a:cubicBezTo>
                  <a:pt x="1093305" y="2599273"/>
                  <a:pt x="1093305" y="2597450"/>
                  <a:pt x="1093305" y="2595628"/>
                </a:cubicBezTo>
                <a:cubicBezTo>
                  <a:pt x="1091484" y="2595628"/>
                  <a:pt x="1089660" y="2591985"/>
                  <a:pt x="1087838" y="2591985"/>
                </a:cubicBezTo>
                <a:cubicBezTo>
                  <a:pt x="1086016" y="2593806"/>
                  <a:pt x="1086016" y="2597450"/>
                  <a:pt x="1087838" y="2599273"/>
                </a:cubicBezTo>
                <a:cubicBezTo>
                  <a:pt x="1084194" y="2597450"/>
                  <a:pt x="1082373" y="2593806"/>
                  <a:pt x="1078727" y="2591985"/>
                </a:cubicBezTo>
                <a:cubicBezTo>
                  <a:pt x="1076905" y="2595628"/>
                  <a:pt x="1082373" y="2597450"/>
                  <a:pt x="1084194" y="2601095"/>
                </a:cubicBezTo>
                <a:cubicBezTo>
                  <a:pt x="1078727" y="2601095"/>
                  <a:pt x="1075083" y="2602917"/>
                  <a:pt x="1071439" y="2601095"/>
                </a:cubicBezTo>
                <a:cubicBezTo>
                  <a:pt x="1069616" y="2601095"/>
                  <a:pt x="1069616" y="2601095"/>
                  <a:pt x="1069616" y="2602917"/>
                </a:cubicBezTo>
                <a:cubicBezTo>
                  <a:pt x="1058683" y="2604739"/>
                  <a:pt x="1049573" y="2604739"/>
                  <a:pt x="1040462" y="2604739"/>
                </a:cubicBezTo>
                <a:cubicBezTo>
                  <a:pt x="1055040" y="2593806"/>
                  <a:pt x="1053217" y="2604739"/>
                  <a:pt x="1044106" y="2584695"/>
                </a:cubicBezTo>
                <a:cubicBezTo>
                  <a:pt x="1080549" y="2582874"/>
                  <a:pt x="1058683" y="2593806"/>
                  <a:pt x="1075083" y="2570118"/>
                </a:cubicBezTo>
                <a:lnTo>
                  <a:pt x="1053217" y="2570118"/>
                </a:lnTo>
                <a:lnTo>
                  <a:pt x="1055040" y="2553718"/>
                </a:lnTo>
                <a:lnTo>
                  <a:pt x="1038639" y="2555541"/>
                </a:lnTo>
                <a:lnTo>
                  <a:pt x="1053217" y="2570118"/>
                </a:lnTo>
                <a:lnTo>
                  <a:pt x="1036818" y="2570118"/>
                </a:lnTo>
                <a:lnTo>
                  <a:pt x="1036818" y="2601095"/>
                </a:lnTo>
                <a:cubicBezTo>
                  <a:pt x="1034995" y="2602917"/>
                  <a:pt x="1034995" y="2604739"/>
                  <a:pt x="1033173" y="2604739"/>
                </a:cubicBezTo>
                <a:cubicBezTo>
                  <a:pt x="1025884" y="2606562"/>
                  <a:pt x="1018596" y="2606562"/>
                  <a:pt x="1013129" y="2608383"/>
                </a:cubicBezTo>
                <a:cubicBezTo>
                  <a:pt x="1013129" y="2597450"/>
                  <a:pt x="1022240" y="2597450"/>
                  <a:pt x="1027707" y="2593806"/>
                </a:cubicBezTo>
                <a:cubicBezTo>
                  <a:pt x="1018596" y="2573763"/>
                  <a:pt x="1018596" y="2590161"/>
                  <a:pt x="1025884" y="2571940"/>
                </a:cubicBezTo>
                <a:lnTo>
                  <a:pt x="1013129" y="2555541"/>
                </a:lnTo>
                <a:cubicBezTo>
                  <a:pt x="993085" y="2564651"/>
                  <a:pt x="1005840" y="2568295"/>
                  <a:pt x="991263" y="2548251"/>
                </a:cubicBezTo>
                <a:lnTo>
                  <a:pt x="1005840" y="2540964"/>
                </a:lnTo>
                <a:lnTo>
                  <a:pt x="1020418" y="2548251"/>
                </a:lnTo>
                <a:lnTo>
                  <a:pt x="1020418" y="2531852"/>
                </a:lnTo>
                <a:lnTo>
                  <a:pt x="1005840" y="2539141"/>
                </a:lnTo>
                <a:lnTo>
                  <a:pt x="1005840" y="2524564"/>
                </a:lnTo>
                <a:cubicBezTo>
                  <a:pt x="1007663" y="2524564"/>
                  <a:pt x="1007663" y="2522741"/>
                  <a:pt x="1009485" y="2522741"/>
                </a:cubicBezTo>
                <a:cubicBezTo>
                  <a:pt x="1013129" y="2524564"/>
                  <a:pt x="1014951" y="2528208"/>
                  <a:pt x="1018596" y="2528208"/>
                </a:cubicBezTo>
                <a:cubicBezTo>
                  <a:pt x="1020418" y="2526385"/>
                  <a:pt x="1018596" y="2524564"/>
                  <a:pt x="1022240" y="2524564"/>
                </a:cubicBezTo>
                <a:cubicBezTo>
                  <a:pt x="1022240" y="2522741"/>
                  <a:pt x="1020418" y="2522741"/>
                  <a:pt x="1020418" y="2522741"/>
                </a:cubicBezTo>
                <a:cubicBezTo>
                  <a:pt x="1020418" y="2520919"/>
                  <a:pt x="1022240" y="2522741"/>
                  <a:pt x="1024062" y="2520919"/>
                </a:cubicBezTo>
                <a:cubicBezTo>
                  <a:pt x="1024062" y="2517275"/>
                  <a:pt x="1020418" y="2519097"/>
                  <a:pt x="1020418" y="2517275"/>
                </a:cubicBezTo>
                <a:cubicBezTo>
                  <a:pt x="1020418" y="2515452"/>
                  <a:pt x="1022240" y="2515452"/>
                  <a:pt x="1022240" y="2513631"/>
                </a:cubicBezTo>
                <a:cubicBezTo>
                  <a:pt x="1018596" y="2513631"/>
                  <a:pt x="1014951" y="2517275"/>
                  <a:pt x="1013129" y="2519097"/>
                </a:cubicBezTo>
                <a:cubicBezTo>
                  <a:pt x="1011307" y="2520919"/>
                  <a:pt x="1005840" y="2520919"/>
                  <a:pt x="1002196" y="2522741"/>
                </a:cubicBezTo>
                <a:cubicBezTo>
                  <a:pt x="994907" y="2520919"/>
                  <a:pt x="991263" y="2520919"/>
                  <a:pt x="989441" y="2519097"/>
                </a:cubicBezTo>
                <a:cubicBezTo>
                  <a:pt x="991263" y="2519097"/>
                  <a:pt x="991263" y="2519097"/>
                  <a:pt x="991263" y="2519097"/>
                </a:cubicBezTo>
                <a:cubicBezTo>
                  <a:pt x="989441" y="2517275"/>
                  <a:pt x="991263" y="2515452"/>
                  <a:pt x="993085" y="2513631"/>
                </a:cubicBezTo>
                <a:cubicBezTo>
                  <a:pt x="991263" y="2511808"/>
                  <a:pt x="989441" y="2511808"/>
                  <a:pt x="985796" y="2513631"/>
                </a:cubicBezTo>
                <a:cubicBezTo>
                  <a:pt x="983974" y="2513631"/>
                  <a:pt x="987619" y="2509987"/>
                  <a:pt x="987619" y="2508163"/>
                </a:cubicBezTo>
                <a:cubicBezTo>
                  <a:pt x="985796" y="2508163"/>
                  <a:pt x="985796" y="2508163"/>
                  <a:pt x="983974" y="2509987"/>
                </a:cubicBezTo>
                <a:cubicBezTo>
                  <a:pt x="983974" y="2508163"/>
                  <a:pt x="982152" y="2506341"/>
                  <a:pt x="980330" y="2502697"/>
                </a:cubicBezTo>
                <a:lnTo>
                  <a:pt x="1011307" y="2491764"/>
                </a:lnTo>
                <a:lnTo>
                  <a:pt x="994907" y="2469898"/>
                </a:lnTo>
                <a:lnTo>
                  <a:pt x="1018596" y="2469898"/>
                </a:lnTo>
                <a:lnTo>
                  <a:pt x="1002196" y="2448032"/>
                </a:lnTo>
                <a:lnTo>
                  <a:pt x="980330" y="2448032"/>
                </a:lnTo>
                <a:cubicBezTo>
                  <a:pt x="996729" y="2422521"/>
                  <a:pt x="998552" y="2437099"/>
                  <a:pt x="1002196" y="2402478"/>
                </a:cubicBezTo>
                <a:lnTo>
                  <a:pt x="983974" y="2402478"/>
                </a:lnTo>
                <a:lnTo>
                  <a:pt x="983974" y="2378789"/>
                </a:lnTo>
                <a:lnTo>
                  <a:pt x="1005840" y="2395189"/>
                </a:lnTo>
                <a:cubicBezTo>
                  <a:pt x="1007663" y="2362390"/>
                  <a:pt x="1004018" y="2382433"/>
                  <a:pt x="1020418" y="2356923"/>
                </a:cubicBezTo>
                <a:lnTo>
                  <a:pt x="998552" y="2364211"/>
                </a:lnTo>
                <a:lnTo>
                  <a:pt x="985796" y="2360567"/>
                </a:lnTo>
                <a:cubicBezTo>
                  <a:pt x="985796" y="2358745"/>
                  <a:pt x="985796" y="2358745"/>
                  <a:pt x="985796" y="2358745"/>
                </a:cubicBezTo>
                <a:cubicBezTo>
                  <a:pt x="989441" y="2358745"/>
                  <a:pt x="989441" y="2360567"/>
                  <a:pt x="993085" y="2360567"/>
                </a:cubicBezTo>
                <a:cubicBezTo>
                  <a:pt x="993085" y="2358745"/>
                  <a:pt x="993085" y="2356923"/>
                  <a:pt x="991263" y="2355101"/>
                </a:cubicBezTo>
                <a:cubicBezTo>
                  <a:pt x="993085" y="2355101"/>
                  <a:pt x="993085" y="2358745"/>
                  <a:pt x="994907" y="2358745"/>
                </a:cubicBezTo>
                <a:cubicBezTo>
                  <a:pt x="996729" y="2356923"/>
                  <a:pt x="993085" y="2353279"/>
                  <a:pt x="993085" y="2351457"/>
                </a:cubicBezTo>
                <a:cubicBezTo>
                  <a:pt x="994907" y="2351457"/>
                  <a:pt x="996729" y="2353279"/>
                  <a:pt x="998552" y="2353279"/>
                </a:cubicBezTo>
                <a:lnTo>
                  <a:pt x="993754" y="2348480"/>
                </a:lnTo>
                <a:lnTo>
                  <a:pt x="980330" y="2351465"/>
                </a:lnTo>
                <a:cubicBezTo>
                  <a:pt x="978508" y="2351465"/>
                  <a:pt x="976685" y="2349642"/>
                  <a:pt x="974863" y="2351465"/>
                </a:cubicBezTo>
                <a:cubicBezTo>
                  <a:pt x="978508" y="2349642"/>
                  <a:pt x="980330" y="2347820"/>
                  <a:pt x="983974" y="2345997"/>
                </a:cubicBezTo>
                <a:lnTo>
                  <a:pt x="994907" y="2340531"/>
                </a:lnTo>
                <a:cubicBezTo>
                  <a:pt x="994907" y="2340531"/>
                  <a:pt x="996729" y="2340531"/>
                  <a:pt x="996729" y="2340531"/>
                </a:cubicBezTo>
                <a:cubicBezTo>
                  <a:pt x="996729" y="2340531"/>
                  <a:pt x="998552" y="2340531"/>
                  <a:pt x="1000374" y="2340531"/>
                </a:cubicBezTo>
                <a:cubicBezTo>
                  <a:pt x="1005840" y="2338708"/>
                  <a:pt x="1007663" y="2333242"/>
                  <a:pt x="1013129" y="2331420"/>
                </a:cubicBezTo>
                <a:cubicBezTo>
                  <a:pt x="1014951" y="2333242"/>
                  <a:pt x="1014951" y="2336886"/>
                  <a:pt x="1016774" y="2336886"/>
                </a:cubicBezTo>
                <a:cubicBezTo>
                  <a:pt x="1016774" y="2336886"/>
                  <a:pt x="1016774" y="2335064"/>
                  <a:pt x="1014951" y="2333242"/>
                </a:cubicBezTo>
                <a:cubicBezTo>
                  <a:pt x="1016774" y="2333242"/>
                  <a:pt x="1018140" y="2335064"/>
                  <a:pt x="1019506" y="2336431"/>
                </a:cubicBezTo>
                <a:lnTo>
                  <a:pt x="1022045" y="2336684"/>
                </a:lnTo>
                <a:lnTo>
                  <a:pt x="1018619" y="2333257"/>
                </a:lnTo>
                <a:lnTo>
                  <a:pt x="1018596" y="2333242"/>
                </a:lnTo>
                <a:cubicBezTo>
                  <a:pt x="1018596" y="2331420"/>
                  <a:pt x="1018596" y="2329597"/>
                  <a:pt x="1016774" y="2327774"/>
                </a:cubicBezTo>
                <a:lnTo>
                  <a:pt x="1040462" y="2324987"/>
                </a:lnTo>
                <a:lnTo>
                  <a:pt x="1040462" y="2322302"/>
                </a:lnTo>
                <a:lnTo>
                  <a:pt x="1050071" y="2317497"/>
                </a:lnTo>
                <a:lnTo>
                  <a:pt x="1034995" y="2318671"/>
                </a:lnTo>
                <a:cubicBezTo>
                  <a:pt x="1038640" y="2315027"/>
                  <a:pt x="1042284" y="2313205"/>
                  <a:pt x="1045929" y="2311381"/>
                </a:cubicBezTo>
                <a:cubicBezTo>
                  <a:pt x="1049573" y="2309561"/>
                  <a:pt x="1053217" y="2307738"/>
                  <a:pt x="1056861" y="2305914"/>
                </a:cubicBezTo>
                <a:cubicBezTo>
                  <a:pt x="1060506" y="2302270"/>
                  <a:pt x="1067795" y="2298625"/>
                  <a:pt x="1073262" y="2294981"/>
                </a:cubicBezTo>
                <a:cubicBezTo>
                  <a:pt x="1073262" y="2297715"/>
                  <a:pt x="1073718" y="2301360"/>
                  <a:pt x="1073718" y="2304777"/>
                </a:cubicBezTo>
                <a:lnTo>
                  <a:pt x="1072515" y="2309226"/>
                </a:lnTo>
                <a:lnTo>
                  <a:pt x="1074644" y="2308387"/>
                </a:lnTo>
                <a:lnTo>
                  <a:pt x="1073260" y="2293159"/>
                </a:lnTo>
                <a:lnTo>
                  <a:pt x="1114692" y="2277620"/>
                </a:lnTo>
                <a:lnTo>
                  <a:pt x="1113349" y="2274935"/>
                </a:lnTo>
                <a:cubicBezTo>
                  <a:pt x="1116993" y="2274935"/>
                  <a:pt x="1116993" y="2271290"/>
                  <a:pt x="1116993" y="2267646"/>
                </a:cubicBezTo>
                <a:cubicBezTo>
                  <a:pt x="1115171" y="2265823"/>
                  <a:pt x="1111526" y="2267646"/>
                  <a:pt x="1109704" y="2269468"/>
                </a:cubicBezTo>
                <a:cubicBezTo>
                  <a:pt x="1109704" y="2267646"/>
                  <a:pt x="1111526" y="2265823"/>
                  <a:pt x="1109704" y="2262179"/>
                </a:cubicBezTo>
                <a:cubicBezTo>
                  <a:pt x="1106060" y="2262179"/>
                  <a:pt x="1106060" y="2265823"/>
                  <a:pt x="1106060" y="2267646"/>
                </a:cubicBezTo>
                <a:cubicBezTo>
                  <a:pt x="1104238" y="2267646"/>
                  <a:pt x="1104238" y="2265823"/>
                  <a:pt x="1102416" y="2265823"/>
                </a:cubicBezTo>
                <a:cubicBezTo>
                  <a:pt x="1100593" y="2267646"/>
                  <a:pt x="1104238" y="2274935"/>
                  <a:pt x="1102416" y="2278579"/>
                </a:cubicBezTo>
                <a:cubicBezTo>
                  <a:pt x="1091484" y="2284046"/>
                  <a:pt x="1082373" y="2287691"/>
                  <a:pt x="1069616" y="2293157"/>
                </a:cubicBezTo>
                <a:cubicBezTo>
                  <a:pt x="1060506" y="2298624"/>
                  <a:pt x="1053217" y="2305913"/>
                  <a:pt x="1044106" y="2309559"/>
                </a:cubicBezTo>
                <a:cubicBezTo>
                  <a:pt x="1034995" y="2313202"/>
                  <a:pt x="1027707" y="2320492"/>
                  <a:pt x="1018596" y="2324137"/>
                </a:cubicBezTo>
                <a:cubicBezTo>
                  <a:pt x="1020418" y="2318669"/>
                  <a:pt x="1022240" y="2315025"/>
                  <a:pt x="1025884" y="2311381"/>
                </a:cubicBezTo>
                <a:cubicBezTo>
                  <a:pt x="1020418" y="2307735"/>
                  <a:pt x="1020418" y="2318669"/>
                  <a:pt x="1018596" y="2320492"/>
                </a:cubicBezTo>
                <a:cubicBezTo>
                  <a:pt x="1014951" y="2324137"/>
                  <a:pt x="1005840" y="2327780"/>
                  <a:pt x="998552" y="2329602"/>
                </a:cubicBezTo>
                <a:cubicBezTo>
                  <a:pt x="998552" y="2327780"/>
                  <a:pt x="998552" y="2327780"/>
                  <a:pt x="998552" y="2325958"/>
                </a:cubicBezTo>
                <a:cubicBezTo>
                  <a:pt x="998552" y="2324137"/>
                  <a:pt x="996729" y="2324137"/>
                  <a:pt x="996729" y="2322314"/>
                </a:cubicBezTo>
                <a:cubicBezTo>
                  <a:pt x="993085" y="2322314"/>
                  <a:pt x="993085" y="2324137"/>
                  <a:pt x="991263" y="2325958"/>
                </a:cubicBezTo>
                <a:cubicBezTo>
                  <a:pt x="989441" y="2325958"/>
                  <a:pt x="989441" y="2324137"/>
                  <a:pt x="987619" y="2324137"/>
                </a:cubicBezTo>
                <a:cubicBezTo>
                  <a:pt x="983974" y="2324137"/>
                  <a:pt x="985796" y="2327780"/>
                  <a:pt x="985796" y="2331426"/>
                </a:cubicBezTo>
                <a:cubicBezTo>
                  <a:pt x="985796" y="2331426"/>
                  <a:pt x="983974" y="2331426"/>
                  <a:pt x="983974" y="2331426"/>
                </a:cubicBezTo>
                <a:lnTo>
                  <a:pt x="978508" y="2325958"/>
                </a:lnTo>
                <a:lnTo>
                  <a:pt x="978508" y="2333248"/>
                </a:lnTo>
                <a:cubicBezTo>
                  <a:pt x="971219" y="2335070"/>
                  <a:pt x="962108" y="2340536"/>
                  <a:pt x="954819" y="2342359"/>
                </a:cubicBezTo>
                <a:cubicBezTo>
                  <a:pt x="951175" y="2342359"/>
                  <a:pt x="945709" y="2342359"/>
                  <a:pt x="942064" y="2342359"/>
                </a:cubicBezTo>
                <a:cubicBezTo>
                  <a:pt x="947531" y="2340536"/>
                  <a:pt x="945709" y="2342359"/>
                  <a:pt x="949353" y="2325958"/>
                </a:cubicBezTo>
                <a:cubicBezTo>
                  <a:pt x="971219" y="2320492"/>
                  <a:pt x="962108" y="2324137"/>
                  <a:pt x="978508" y="2311381"/>
                </a:cubicBezTo>
                <a:lnTo>
                  <a:pt x="987619" y="2289513"/>
                </a:lnTo>
                <a:cubicBezTo>
                  <a:pt x="978508" y="2269468"/>
                  <a:pt x="978508" y="2285868"/>
                  <a:pt x="987619" y="2265823"/>
                </a:cubicBezTo>
                <a:lnTo>
                  <a:pt x="1009485" y="2282224"/>
                </a:lnTo>
                <a:lnTo>
                  <a:pt x="1011307" y="2322314"/>
                </a:lnTo>
                <a:lnTo>
                  <a:pt x="1031351" y="2298624"/>
                </a:lnTo>
                <a:lnTo>
                  <a:pt x="1009485" y="2282224"/>
                </a:lnTo>
                <a:lnTo>
                  <a:pt x="1009485" y="2264001"/>
                </a:lnTo>
                <a:cubicBezTo>
                  <a:pt x="1009485" y="2262179"/>
                  <a:pt x="1011307" y="2262179"/>
                  <a:pt x="1011307" y="2262179"/>
                </a:cubicBezTo>
                <a:cubicBezTo>
                  <a:pt x="1016774" y="2271290"/>
                  <a:pt x="1024062" y="2271290"/>
                  <a:pt x="1033173" y="2273113"/>
                </a:cubicBezTo>
                <a:cubicBezTo>
                  <a:pt x="1036818" y="2269468"/>
                  <a:pt x="1031351" y="2264001"/>
                  <a:pt x="1027707" y="2262179"/>
                </a:cubicBezTo>
                <a:cubicBezTo>
                  <a:pt x="1029529" y="2260358"/>
                  <a:pt x="1029529" y="2258535"/>
                  <a:pt x="1027707" y="2256712"/>
                </a:cubicBezTo>
                <a:cubicBezTo>
                  <a:pt x="1033173" y="2254890"/>
                  <a:pt x="1031351" y="2247601"/>
                  <a:pt x="1025884" y="2247601"/>
                </a:cubicBezTo>
                <a:cubicBezTo>
                  <a:pt x="1025884" y="2245778"/>
                  <a:pt x="1027707" y="2247601"/>
                  <a:pt x="1027707" y="2245778"/>
                </a:cubicBezTo>
                <a:cubicBezTo>
                  <a:pt x="1025884" y="2242134"/>
                  <a:pt x="1024062" y="2242134"/>
                  <a:pt x="1020418" y="2242134"/>
                </a:cubicBezTo>
                <a:cubicBezTo>
                  <a:pt x="1020418" y="2240312"/>
                  <a:pt x="1022240" y="2238489"/>
                  <a:pt x="1022240" y="2236668"/>
                </a:cubicBezTo>
                <a:lnTo>
                  <a:pt x="1025884" y="2234844"/>
                </a:lnTo>
                <a:lnTo>
                  <a:pt x="1022240" y="2233022"/>
                </a:lnTo>
                <a:cubicBezTo>
                  <a:pt x="1036818" y="2225734"/>
                  <a:pt x="1053217" y="2222089"/>
                  <a:pt x="1064151" y="2218444"/>
                </a:cubicBezTo>
                <a:cubicBezTo>
                  <a:pt x="1067794" y="2222089"/>
                  <a:pt x="1071439" y="2222089"/>
                  <a:pt x="1073262" y="2234844"/>
                </a:cubicBezTo>
                <a:cubicBezTo>
                  <a:pt x="1075083" y="2238489"/>
                  <a:pt x="1069616" y="2242134"/>
                  <a:pt x="1071439" y="2245778"/>
                </a:cubicBezTo>
                <a:cubicBezTo>
                  <a:pt x="1071439" y="2247601"/>
                  <a:pt x="1073262" y="2247601"/>
                  <a:pt x="1073262" y="2247601"/>
                </a:cubicBezTo>
                <a:cubicBezTo>
                  <a:pt x="1076905" y="2243956"/>
                  <a:pt x="1073262" y="2238489"/>
                  <a:pt x="1076905" y="2234844"/>
                </a:cubicBezTo>
                <a:cubicBezTo>
                  <a:pt x="1076905" y="2242134"/>
                  <a:pt x="1080549" y="2242134"/>
                  <a:pt x="1086016" y="2245778"/>
                </a:cubicBezTo>
                <a:cubicBezTo>
                  <a:pt x="1091484" y="2247601"/>
                  <a:pt x="1095127" y="2253067"/>
                  <a:pt x="1102416" y="2251245"/>
                </a:cubicBezTo>
                <a:cubicBezTo>
                  <a:pt x="1106060" y="2249423"/>
                  <a:pt x="1100593" y="2243956"/>
                  <a:pt x="1104238" y="2243956"/>
                </a:cubicBezTo>
                <a:cubicBezTo>
                  <a:pt x="1098771" y="2231200"/>
                  <a:pt x="1086016" y="2233022"/>
                  <a:pt x="1076905" y="2223910"/>
                </a:cubicBezTo>
                <a:cubicBezTo>
                  <a:pt x="1080549" y="2222089"/>
                  <a:pt x="1093305" y="2222089"/>
                  <a:pt x="1093305" y="2216623"/>
                </a:cubicBezTo>
                <a:cubicBezTo>
                  <a:pt x="1120637" y="2214800"/>
                  <a:pt x="1151614" y="2205689"/>
                  <a:pt x="1175302" y="2214800"/>
                </a:cubicBezTo>
                <a:cubicBezTo>
                  <a:pt x="1177125" y="2212978"/>
                  <a:pt x="1178947" y="2211155"/>
                  <a:pt x="1177125" y="2209334"/>
                </a:cubicBezTo>
                <a:cubicBezTo>
                  <a:pt x="1188059" y="2207510"/>
                  <a:pt x="1198536" y="2206600"/>
                  <a:pt x="1208558" y="2207055"/>
                </a:cubicBezTo>
                <a:cubicBezTo>
                  <a:pt x="1218580" y="2207510"/>
                  <a:pt x="1228146" y="2209334"/>
                  <a:pt x="1237257" y="2212978"/>
                </a:cubicBezTo>
                <a:cubicBezTo>
                  <a:pt x="1239080" y="2214800"/>
                  <a:pt x="1240902" y="2218444"/>
                  <a:pt x="1244546" y="2218444"/>
                </a:cubicBezTo>
                <a:cubicBezTo>
                  <a:pt x="1248191" y="2218444"/>
                  <a:pt x="1246368" y="2212978"/>
                  <a:pt x="1244546" y="2211155"/>
                </a:cubicBezTo>
                <a:cubicBezTo>
                  <a:pt x="1250013" y="2211155"/>
                  <a:pt x="1253657" y="2211155"/>
                  <a:pt x="1259123" y="2211155"/>
                </a:cubicBezTo>
                <a:cubicBezTo>
                  <a:pt x="1260946" y="2212978"/>
                  <a:pt x="1264590" y="2216623"/>
                  <a:pt x="1268234" y="2214800"/>
                </a:cubicBezTo>
                <a:lnTo>
                  <a:pt x="1269326" y="2223540"/>
                </a:lnTo>
                <a:lnTo>
                  <a:pt x="1277344" y="2218437"/>
                </a:lnTo>
                <a:cubicBezTo>
                  <a:pt x="1277344" y="2223904"/>
                  <a:pt x="1282811" y="2227548"/>
                  <a:pt x="1286455" y="2229370"/>
                </a:cubicBezTo>
                <a:cubicBezTo>
                  <a:pt x="1290099" y="2228459"/>
                  <a:pt x="1291466" y="2226181"/>
                  <a:pt x="1291466" y="2223220"/>
                </a:cubicBezTo>
                <a:lnTo>
                  <a:pt x="1288906" y="2214991"/>
                </a:lnTo>
                <a:lnTo>
                  <a:pt x="1286455" y="2216624"/>
                </a:lnTo>
                <a:lnTo>
                  <a:pt x="1282811" y="2212980"/>
                </a:lnTo>
                <a:lnTo>
                  <a:pt x="1284633" y="2211156"/>
                </a:lnTo>
                <a:cubicBezTo>
                  <a:pt x="1286455" y="2211156"/>
                  <a:pt x="1288277" y="2212980"/>
                  <a:pt x="1291922" y="2212980"/>
                </a:cubicBezTo>
                <a:lnTo>
                  <a:pt x="1291359" y="2213356"/>
                </a:lnTo>
                <a:lnTo>
                  <a:pt x="1302855" y="2214793"/>
                </a:lnTo>
                <a:cubicBezTo>
                  <a:pt x="1306499" y="2214793"/>
                  <a:pt x="1302855" y="2211148"/>
                  <a:pt x="1304677" y="2211148"/>
                </a:cubicBezTo>
                <a:cubicBezTo>
                  <a:pt x="1315610" y="2214793"/>
                  <a:pt x="1310143" y="2231192"/>
                  <a:pt x="1321077" y="2233014"/>
                </a:cubicBezTo>
                <a:cubicBezTo>
                  <a:pt x="1324721" y="2227548"/>
                  <a:pt x="1315610" y="2220259"/>
                  <a:pt x="1315610" y="2214793"/>
                </a:cubicBezTo>
                <a:cubicBezTo>
                  <a:pt x="1321077" y="2216615"/>
                  <a:pt x="1322899" y="2223904"/>
                  <a:pt x="1326543" y="2227548"/>
                </a:cubicBezTo>
                <a:cubicBezTo>
                  <a:pt x="1328365" y="2223904"/>
                  <a:pt x="1324721" y="2220259"/>
                  <a:pt x="1322899" y="2216615"/>
                </a:cubicBezTo>
                <a:cubicBezTo>
                  <a:pt x="1326543" y="2218437"/>
                  <a:pt x="1332009" y="2220259"/>
                  <a:pt x="1335654" y="2218437"/>
                </a:cubicBezTo>
                <a:cubicBezTo>
                  <a:pt x="1333832" y="2212970"/>
                  <a:pt x="1326543" y="2216615"/>
                  <a:pt x="1326543" y="2211148"/>
                </a:cubicBezTo>
                <a:cubicBezTo>
                  <a:pt x="1322899" y="2209326"/>
                  <a:pt x="1317432" y="2211148"/>
                  <a:pt x="1315610" y="2209326"/>
                </a:cubicBezTo>
                <a:cubicBezTo>
                  <a:pt x="1317432" y="2203860"/>
                  <a:pt x="1322899" y="2205682"/>
                  <a:pt x="1328365" y="2205682"/>
                </a:cubicBezTo>
                <a:cubicBezTo>
                  <a:pt x="1335654" y="2205682"/>
                  <a:pt x="1341120" y="2203860"/>
                  <a:pt x="1346587" y="2205682"/>
                </a:cubicBezTo>
                <a:cubicBezTo>
                  <a:pt x="1342942" y="2198393"/>
                  <a:pt x="1332009" y="2203860"/>
                  <a:pt x="1324721" y="2202037"/>
                </a:cubicBezTo>
                <a:cubicBezTo>
                  <a:pt x="1324721" y="2202037"/>
                  <a:pt x="1328365" y="2200215"/>
                  <a:pt x="1330188" y="2200215"/>
                </a:cubicBezTo>
                <a:cubicBezTo>
                  <a:pt x="1322899" y="2200215"/>
                  <a:pt x="1313788" y="2202037"/>
                  <a:pt x="1308321" y="2200215"/>
                </a:cubicBezTo>
                <a:cubicBezTo>
                  <a:pt x="1311966" y="2196571"/>
                  <a:pt x="1317432" y="2194749"/>
                  <a:pt x="1321077" y="2192926"/>
                </a:cubicBezTo>
                <a:cubicBezTo>
                  <a:pt x="1322899" y="2191104"/>
                  <a:pt x="1324721" y="2189282"/>
                  <a:pt x="1328365" y="2187460"/>
                </a:cubicBezTo>
                <a:cubicBezTo>
                  <a:pt x="1332009" y="2185638"/>
                  <a:pt x="1335654" y="2183816"/>
                  <a:pt x="1341120" y="2181993"/>
                </a:cubicBezTo>
                <a:cubicBezTo>
                  <a:pt x="1352053" y="2176527"/>
                  <a:pt x="1364809" y="2167416"/>
                  <a:pt x="1373920" y="2169238"/>
                </a:cubicBezTo>
                <a:cubicBezTo>
                  <a:pt x="1375743" y="2167416"/>
                  <a:pt x="1373920" y="2167416"/>
                  <a:pt x="1373920" y="2165594"/>
                </a:cubicBezTo>
                <a:cubicBezTo>
                  <a:pt x="1381208" y="2163772"/>
                  <a:pt x="1384854" y="2158304"/>
                  <a:pt x="1392141" y="2156483"/>
                </a:cubicBezTo>
                <a:cubicBezTo>
                  <a:pt x="1393963" y="2160127"/>
                  <a:pt x="1393963" y="2165594"/>
                  <a:pt x="1397608" y="2165594"/>
                </a:cubicBezTo>
                <a:cubicBezTo>
                  <a:pt x="1399430" y="2161950"/>
                  <a:pt x="1397608" y="2158304"/>
                  <a:pt x="1393963" y="2156483"/>
                </a:cubicBezTo>
                <a:cubicBezTo>
                  <a:pt x="1397608" y="2156483"/>
                  <a:pt x="1401252" y="2161950"/>
                  <a:pt x="1406719" y="2160127"/>
                </a:cubicBezTo>
                <a:cubicBezTo>
                  <a:pt x="1404896" y="2156483"/>
                  <a:pt x="1399430" y="2156483"/>
                  <a:pt x="1399430" y="2154660"/>
                </a:cubicBezTo>
                <a:cubicBezTo>
                  <a:pt x="1401252" y="2152839"/>
                  <a:pt x="1406719" y="2151017"/>
                  <a:pt x="1406719" y="2147372"/>
                </a:cubicBezTo>
                <a:cubicBezTo>
                  <a:pt x="1403074" y="2145550"/>
                  <a:pt x="1401252" y="2151017"/>
                  <a:pt x="1395787" y="2151017"/>
                </a:cubicBezTo>
                <a:cubicBezTo>
                  <a:pt x="1395787" y="2149194"/>
                  <a:pt x="1399430" y="2147372"/>
                  <a:pt x="1397608" y="2145550"/>
                </a:cubicBezTo>
                <a:cubicBezTo>
                  <a:pt x="1397608" y="2143728"/>
                  <a:pt x="1395787" y="2143728"/>
                  <a:pt x="1395787" y="2143728"/>
                </a:cubicBezTo>
                <a:cubicBezTo>
                  <a:pt x="1393963" y="2143728"/>
                  <a:pt x="1392141" y="2145550"/>
                  <a:pt x="1393963" y="2149194"/>
                </a:cubicBezTo>
                <a:cubicBezTo>
                  <a:pt x="1390319" y="2149194"/>
                  <a:pt x="1390319" y="2151017"/>
                  <a:pt x="1386676" y="2151017"/>
                </a:cubicBezTo>
                <a:cubicBezTo>
                  <a:pt x="1383030" y="2158304"/>
                  <a:pt x="1373920" y="2161950"/>
                  <a:pt x="1366632" y="2165594"/>
                </a:cubicBezTo>
                <a:cubicBezTo>
                  <a:pt x="1362987" y="2165594"/>
                  <a:pt x="1366632" y="2163772"/>
                  <a:pt x="1364809" y="2161950"/>
                </a:cubicBezTo>
                <a:cubicBezTo>
                  <a:pt x="1361164" y="2161950"/>
                  <a:pt x="1361164" y="2165594"/>
                  <a:pt x="1359342" y="2167416"/>
                </a:cubicBezTo>
                <a:cubicBezTo>
                  <a:pt x="1350231" y="2174705"/>
                  <a:pt x="1337476" y="2178349"/>
                  <a:pt x="1326543" y="2183816"/>
                </a:cubicBezTo>
                <a:cubicBezTo>
                  <a:pt x="1322899" y="2185638"/>
                  <a:pt x="1319254" y="2189282"/>
                  <a:pt x="1315610" y="2191104"/>
                </a:cubicBezTo>
                <a:cubicBezTo>
                  <a:pt x="1313788" y="2191104"/>
                  <a:pt x="1311966" y="2189282"/>
                  <a:pt x="1308321" y="2189282"/>
                </a:cubicBezTo>
                <a:cubicBezTo>
                  <a:pt x="1304677" y="2189282"/>
                  <a:pt x="1302855" y="2191104"/>
                  <a:pt x="1301033" y="2189282"/>
                </a:cubicBezTo>
                <a:cubicBezTo>
                  <a:pt x="1299210" y="2187460"/>
                  <a:pt x="1301033" y="2183816"/>
                  <a:pt x="1301033" y="2181993"/>
                </a:cubicBezTo>
                <a:cubicBezTo>
                  <a:pt x="1299210" y="2176527"/>
                  <a:pt x="1291922" y="2172883"/>
                  <a:pt x="1286455" y="2172883"/>
                </a:cubicBezTo>
                <a:cubicBezTo>
                  <a:pt x="1286455" y="2171060"/>
                  <a:pt x="1286455" y="2171060"/>
                  <a:pt x="1286455" y="2169238"/>
                </a:cubicBezTo>
                <a:cubicBezTo>
                  <a:pt x="1280989" y="2165594"/>
                  <a:pt x="1279166" y="2176527"/>
                  <a:pt x="1273700" y="2176527"/>
                </a:cubicBezTo>
                <a:cubicBezTo>
                  <a:pt x="1273700" y="2176527"/>
                  <a:pt x="1271878" y="2178349"/>
                  <a:pt x="1271878" y="2180171"/>
                </a:cubicBezTo>
                <a:cubicBezTo>
                  <a:pt x="1270056" y="2180171"/>
                  <a:pt x="1270056" y="2180171"/>
                  <a:pt x="1268233" y="2180171"/>
                </a:cubicBezTo>
                <a:cubicBezTo>
                  <a:pt x="1273700" y="2171060"/>
                  <a:pt x="1275522" y="2149194"/>
                  <a:pt x="1260945" y="2145550"/>
                </a:cubicBezTo>
                <a:cubicBezTo>
                  <a:pt x="1253656" y="2152839"/>
                  <a:pt x="1259123" y="2172883"/>
                  <a:pt x="1266411" y="2180171"/>
                </a:cubicBezTo>
                <a:cubicBezTo>
                  <a:pt x="1264589" y="2180171"/>
                  <a:pt x="1264589" y="2178349"/>
                  <a:pt x="1262767" y="2178349"/>
                </a:cubicBezTo>
                <a:cubicBezTo>
                  <a:pt x="1259123" y="2180171"/>
                  <a:pt x="1260945" y="2183816"/>
                  <a:pt x="1260945" y="2185638"/>
                </a:cubicBezTo>
                <a:cubicBezTo>
                  <a:pt x="1242723" y="2189282"/>
                  <a:pt x="1228146" y="2185638"/>
                  <a:pt x="1211747" y="2183816"/>
                </a:cubicBezTo>
                <a:cubicBezTo>
                  <a:pt x="1209925" y="2181993"/>
                  <a:pt x="1213568" y="2181993"/>
                  <a:pt x="1211747" y="2180171"/>
                </a:cubicBezTo>
                <a:cubicBezTo>
                  <a:pt x="1211747" y="2178349"/>
                  <a:pt x="1209925" y="2180171"/>
                  <a:pt x="1209925" y="2178349"/>
                </a:cubicBezTo>
                <a:cubicBezTo>
                  <a:pt x="1208102" y="2180171"/>
                  <a:pt x="1206279" y="2180171"/>
                  <a:pt x="1206279" y="2181993"/>
                </a:cubicBezTo>
                <a:cubicBezTo>
                  <a:pt x="1182592" y="2185638"/>
                  <a:pt x="1162547" y="2187460"/>
                  <a:pt x="1142503" y="2187460"/>
                </a:cubicBezTo>
                <a:cubicBezTo>
                  <a:pt x="1142503" y="2187460"/>
                  <a:pt x="1140681" y="2185638"/>
                  <a:pt x="1138859" y="2185638"/>
                </a:cubicBezTo>
                <a:cubicBezTo>
                  <a:pt x="1126104" y="2189282"/>
                  <a:pt x="1109704" y="2191104"/>
                  <a:pt x="1096949" y="2191104"/>
                </a:cubicBezTo>
                <a:cubicBezTo>
                  <a:pt x="1095127" y="2189282"/>
                  <a:pt x="1096949" y="2189282"/>
                  <a:pt x="1096949" y="2187460"/>
                </a:cubicBezTo>
                <a:cubicBezTo>
                  <a:pt x="1093305" y="2187460"/>
                  <a:pt x="1091484" y="2192926"/>
                  <a:pt x="1087838" y="2192926"/>
                </a:cubicBezTo>
                <a:cubicBezTo>
                  <a:pt x="1080549" y="2183816"/>
                  <a:pt x="1069616" y="2181993"/>
                  <a:pt x="1058683" y="2181993"/>
                </a:cubicBezTo>
                <a:cubicBezTo>
                  <a:pt x="1058683" y="2178349"/>
                  <a:pt x="1055040" y="2176527"/>
                  <a:pt x="1053217" y="2174705"/>
                </a:cubicBezTo>
                <a:cubicBezTo>
                  <a:pt x="1053217" y="2174705"/>
                  <a:pt x="1053217" y="2172883"/>
                  <a:pt x="1053217" y="2172883"/>
                </a:cubicBezTo>
                <a:cubicBezTo>
                  <a:pt x="1051395" y="2171060"/>
                  <a:pt x="1047750" y="2171060"/>
                  <a:pt x="1051395" y="2167416"/>
                </a:cubicBezTo>
                <a:cubicBezTo>
                  <a:pt x="1053217" y="2167416"/>
                  <a:pt x="1053217" y="2169238"/>
                  <a:pt x="1055040" y="2169238"/>
                </a:cubicBezTo>
                <a:cubicBezTo>
                  <a:pt x="1056861" y="2167416"/>
                  <a:pt x="1058683" y="2167416"/>
                  <a:pt x="1058683" y="2165594"/>
                </a:cubicBezTo>
                <a:cubicBezTo>
                  <a:pt x="1069616" y="2169238"/>
                  <a:pt x="1082373" y="2181993"/>
                  <a:pt x="1095127" y="2176527"/>
                </a:cubicBezTo>
                <a:cubicBezTo>
                  <a:pt x="1091484" y="2169238"/>
                  <a:pt x="1082373" y="2167416"/>
                  <a:pt x="1078727" y="2163772"/>
                </a:cubicBezTo>
                <a:cubicBezTo>
                  <a:pt x="1087838" y="2163772"/>
                  <a:pt x="1111526" y="2152839"/>
                  <a:pt x="1107882" y="2143728"/>
                </a:cubicBezTo>
                <a:cubicBezTo>
                  <a:pt x="1104238" y="2138261"/>
                  <a:pt x="1084194" y="2143728"/>
                  <a:pt x="1075083" y="2147372"/>
                </a:cubicBezTo>
                <a:cubicBezTo>
                  <a:pt x="1076905" y="2143728"/>
                  <a:pt x="1080549" y="2141906"/>
                  <a:pt x="1078727" y="2136438"/>
                </a:cubicBezTo>
                <a:cubicBezTo>
                  <a:pt x="1076905" y="2134617"/>
                  <a:pt x="1073262" y="2136438"/>
                  <a:pt x="1071439" y="2138261"/>
                </a:cubicBezTo>
                <a:cubicBezTo>
                  <a:pt x="1073262" y="2130973"/>
                  <a:pt x="1076905" y="2123684"/>
                  <a:pt x="1075083" y="2114572"/>
                </a:cubicBezTo>
                <a:cubicBezTo>
                  <a:pt x="1075083" y="2112751"/>
                  <a:pt x="1073262" y="2112751"/>
                  <a:pt x="1073262" y="2112751"/>
                </a:cubicBezTo>
                <a:cubicBezTo>
                  <a:pt x="1062328" y="2121861"/>
                  <a:pt x="1062328" y="2138261"/>
                  <a:pt x="1056861" y="2151017"/>
                </a:cubicBezTo>
                <a:cubicBezTo>
                  <a:pt x="1055040" y="2152839"/>
                  <a:pt x="1053217" y="2151017"/>
                  <a:pt x="1053217" y="2152839"/>
                </a:cubicBezTo>
                <a:cubicBezTo>
                  <a:pt x="1051395" y="2154660"/>
                  <a:pt x="1053217" y="2156483"/>
                  <a:pt x="1053217" y="2158304"/>
                </a:cubicBezTo>
                <a:cubicBezTo>
                  <a:pt x="1053217" y="2158304"/>
                  <a:pt x="1051395" y="2156483"/>
                  <a:pt x="1051395" y="2154660"/>
                </a:cubicBezTo>
                <a:cubicBezTo>
                  <a:pt x="1049573" y="2154660"/>
                  <a:pt x="1049573" y="2156483"/>
                  <a:pt x="1049573" y="2156483"/>
                </a:cubicBezTo>
                <a:cubicBezTo>
                  <a:pt x="1049573" y="2151017"/>
                  <a:pt x="1055040" y="2145550"/>
                  <a:pt x="1056861" y="2140082"/>
                </a:cubicBezTo>
                <a:cubicBezTo>
                  <a:pt x="1058683" y="2130973"/>
                  <a:pt x="1062328" y="2121861"/>
                  <a:pt x="1060506" y="2110928"/>
                </a:cubicBezTo>
                <a:lnTo>
                  <a:pt x="1062328" y="2109107"/>
                </a:lnTo>
                <a:lnTo>
                  <a:pt x="1058683" y="2105461"/>
                </a:lnTo>
                <a:cubicBezTo>
                  <a:pt x="1058683" y="2103640"/>
                  <a:pt x="1056861" y="2103640"/>
                  <a:pt x="1056861" y="2101817"/>
                </a:cubicBezTo>
                <a:cubicBezTo>
                  <a:pt x="1055040" y="2101817"/>
                  <a:pt x="1055040" y="2101817"/>
                  <a:pt x="1055040" y="2101817"/>
                </a:cubicBezTo>
                <a:lnTo>
                  <a:pt x="1053217" y="2098174"/>
                </a:lnTo>
                <a:lnTo>
                  <a:pt x="1031351" y="2120040"/>
                </a:lnTo>
                <a:lnTo>
                  <a:pt x="1040462" y="2129150"/>
                </a:lnTo>
                <a:cubicBezTo>
                  <a:pt x="1038639" y="2129150"/>
                  <a:pt x="1038639" y="2130973"/>
                  <a:pt x="1038639" y="2130973"/>
                </a:cubicBezTo>
                <a:cubicBezTo>
                  <a:pt x="1036818" y="2132794"/>
                  <a:pt x="1038639" y="2134617"/>
                  <a:pt x="1038639" y="2136438"/>
                </a:cubicBezTo>
                <a:lnTo>
                  <a:pt x="1007663" y="2136438"/>
                </a:lnTo>
                <a:lnTo>
                  <a:pt x="1007663" y="2143728"/>
                </a:lnTo>
                <a:lnTo>
                  <a:pt x="1036818" y="2151017"/>
                </a:lnTo>
                <a:cubicBezTo>
                  <a:pt x="1036818" y="2156483"/>
                  <a:pt x="1036818" y="2161950"/>
                  <a:pt x="1036818" y="2165594"/>
                </a:cubicBezTo>
                <a:cubicBezTo>
                  <a:pt x="1034995" y="2165594"/>
                  <a:pt x="1034995" y="2165594"/>
                  <a:pt x="1033173" y="2167416"/>
                </a:cubicBezTo>
                <a:cubicBezTo>
                  <a:pt x="1033173" y="2169238"/>
                  <a:pt x="1034995" y="2171060"/>
                  <a:pt x="1034995" y="2172883"/>
                </a:cubicBezTo>
                <a:cubicBezTo>
                  <a:pt x="1034995" y="2176527"/>
                  <a:pt x="1033173" y="2178349"/>
                  <a:pt x="1031351" y="2180171"/>
                </a:cubicBezTo>
                <a:cubicBezTo>
                  <a:pt x="1033173" y="2178349"/>
                  <a:pt x="1031351" y="2174705"/>
                  <a:pt x="1029529" y="2174705"/>
                </a:cubicBezTo>
                <a:cubicBezTo>
                  <a:pt x="1025884" y="2176527"/>
                  <a:pt x="1025884" y="2178349"/>
                  <a:pt x="1027707" y="2181993"/>
                </a:cubicBezTo>
                <a:cubicBezTo>
                  <a:pt x="1025884" y="2180171"/>
                  <a:pt x="1024062" y="2176527"/>
                  <a:pt x="1022240" y="2171060"/>
                </a:cubicBezTo>
                <a:cubicBezTo>
                  <a:pt x="1022240" y="2169238"/>
                  <a:pt x="1022240" y="2165594"/>
                  <a:pt x="1022240" y="2163772"/>
                </a:cubicBezTo>
                <a:cubicBezTo>
                  <a:pt x="1020418" y="2152839"/>
                  <a:pt x="1011307" y="2143728"/>
                  <a:pt x="1002196" y="2149194"/>
                </a:cubicBezTo>
                <a:cubicBezTo>
                  <a:pt x="1002196" y="2151017"/>
                  <a:pt x="1002196" y="2152839"/>
                  <a:pt x="1002196" y="2154660"/>
                </a:cubicBezTo>
                <a:lnTo>
                  <a:pt x="993085" y="2154660"/>
                </a:lnTo>
                <a:lnTo>
                  <a:pt x="1007663" y="2169238"/>
                </a:lnTo>
                <a:lnTo>
                  <a:pt x="1007663" y="2165594"/>
                </a:lnTo>
                <a:cubicBezTo>
                  <a:pt x="1007663" y="2165594"/>
                  <a:pt x="1009485" y="2167416"/>
                  <a:pt x="1009485" y="2167416"/>
                </a:cubicBezTo>
                <a:cubicBezTo>
                  <a:pt x="1013129" y="2171060"/>
                  <a:pt x="1014951" y="2176527"/>
                  <a:pt x="1020418" y="2176527"/>
                </a:cubicBezTo>
                <a:cubicBezTo>
                  <a:pt x="1020418" y="2180171"/>
                  <a:pt x="1022240" y="2181993"/>
                  <a:pt x="1024062" y="2183816"/>
                </a:cubicBezTo>
                <a:lnTo>
                  <a:pt x="1013129" y="2183816"/>
                </a:lnTo>
                <a:cubicBezTo>
                  <a:pt x="1013129" y="2181993"/>
                  <a:pt x="1013129" y="2181993"/>
                  <a:pt x="1011307" y="2180171"/>
                </a:cubicBezTo>
                <a:cubicBezTo>
                  <a:pt x="1009485" y="2181993"/>
                  <a:pt x="1009485" y="2181993"/>
                  <a:pt x="1009485" y="2183816"/>
                </a:cubicBezTo>
                <a:lnTo>
                  <a:pt x="1007663" y="2183816"/>
                </a:lnTo>
                <a:cubicBezTo>
                  <a:pt x="1005840" y="2181993"/>
                  <a:pt x="1004018" y="2181993"/>
                  <a:pt x="1004018" y="2183816"/>
                </a:cubicBezTo>
                <a:lnTo>
                  <a:pt x="993085" y="2183816"/>
                </a:lnTo>
                <a:lnTo>
                  <a:pt x="971219" y="2161950"/>
                </a:lnTo>
                <a:cubicBezTo>
                  <a:pt x="974863" y="2154660"/>
                  <a:pt x="974863" y="2152839"/>
                  <a:pt x="974863" y="2151017"/>
                </a:cubicBezTo>
                <a:cubicBezTo>
                  <a:pt x="982152" y="2149194"/>
                  <a:pt x="989441" y="2147372"/>
                  <a:pt x="996729" y="2141906"/>
                </a:cubicBezTo>
                <a:lnTo>
                  <a:pt x="998552" y="2145550"/>
                </a:lnTo>
                <a:cubicBezTo>
                  <a:pt x="998552" y="2145550"/>
                  <a:pt x="1000374" y="2145550"/>
                  <a:pt x="1000374" y="2143728"/>
                </a:cubicBezTo>
                <a:cubicBezTo>
                  <a:pt x="1002196" y="2143728"/>
                  <a:pt x="1002196" y="2145550"/>
                  <a:pt x="1004018" y="2145550"/>
                </a:cubicBezTo>
                <a:cubicBezTo>
                  <a:pt x="1005840" y="2143728"/>
                  <a:pt x="1002196" y="2143728"/>
                  <a:pt x="1005840" y="2141906"/>
                </a:cubicBezTo>
                <a:cubicBezTo>
                  <a:pt x="1005840" y="2140082"/>
                  <a:pt x="1004018" y="2140082"/>
                  <a:pt x="1002196" y="2140082"/>
                </a:cubicBezTo>
                <a:cubicBezTo>
                  <a:pt x="1000374" y="2138261"/>
                  <a:pt x="1004018" y="2138261"/>
                  <a:pt x="1002196" y="2136438"/>
                </a:cubicBezTo>
                <a:cubicBezTo>
                  <a:pt x="998552" y="2138261"/>
                  <a:pt x="998552" y="2140082"/>
                  <a:pt x="994907" y="2138261"/>
                </a:cubicBezTo>
                <a:cubicBezTo>
                  <a:pt x="993085" y="2140082"/>
                  <a:pt x="994907" y="2141906"/>
                  <a:pt x="993085" y="2141906"/>
                </a:cubicBezTo>
                <a:cubicBezTo>
                  <a:pt x="991263" y="2143728"/>
                  <a:pt x="987619" y="2143728"/>
                  <a:pt x="987619" y="2145550"/>
                </a:cubicBezTo>
                <a:cubicBezTo>
                  <a:pt x="983974" y="2145550"/>
                  <a:pt x="978508" y="2147372"/>
                  <a:pt x="974863" y="2149194"/>
                </a:cubicBezTo>
                <a:cubicBezTo>
                  <a:pt x="974863" y="2147372"/>
                  <a:pt x="976686" y="2145550"/>
                  <a:pt x="978508" y="2140082"/>
                </a:cubicBezTo>
                <a:cubicBezTo>
                  <a:pt x="982152" y="2138261"/>
                  <a:pt x="983974" y="2136438"/>
                  <a:pt x="983974" y="2134617"/>
                </a:cubicBezTo>
                <a:cubicBezTo>
                  <a:pt x="985796" y="2136438"/>
                  <a:pt x="987619" y="2136438"/>
                  <a:pt x="991263" y="2138261"/>
                </a:cubicBezTo>
                <a:lnTo>
                  <a:pt x="1014951" y="2116394"/>
                </a:lnTo>
                <a:cubicBezTo>
                  <a:pt x="1004018" y="2098628"/>
                  <a:pt x="1002310" y="2102386"/>
                  <a:pt x="1001370" y="2095383"/>
                </a:cubicBezTo>
                <a:lnTo>
                  <a:pt x="1000374" y="2083598"/>
                </a:lnTo>
                <a:lnTo>
                  <a:pt x="998552" y="2083598"/>
                </a:lnTo>
                <a:cubicBezTo>
                  <a:pt x="998552" y="2083598"/>
                  <a:pt x="996729" y="2083598"/>
                  <a:pt x="996729" y="2085419"/>
                </a:cubicBezTo>
                <a:lnTo>
                  <a:pt x="980330" y="2085419"/>
                </a:lnTo>
                <a:lnTo>
                  <a:pt x="980330" y="2079953"/>
                </a:lnTo>
                <a:lnTo>
                  <a:pt x="1009485" y="2070847"/>
                </a:lnTo>
                <a:cubicBezTo>
                  <a:pt x="1011307" y="2076311"/>
                  <a:pt x="1013129" y="2079953"/>
                  <a:pt x="1013129" y="2081775"/>
                </a:cubicBezTo>
                <a:lnTo>
                  <a:pt x="1008228" y="2083409"/>
                </a:lnTo>
                <a:lnTo>
                  <a:pt x="1008119" y="2083598"/>
                </a:lnTo>
                <a:cubicBezTo>
                  <a:pt x="1008575" y="2084507"/>
                  <a:pt x="1012218" y="2086329"/>
                  <a:pt x="1024062" y="2094529"/>
                </a:cubicBezTo>
                <a:lnTo>
                  <a:pt x="1031351" y="2069020"/>
                </a:lnTo>
                <a:cubicBezTo>
                  <a:pt x="1034995" y="2067195"/>
                  <a:pt x="1040462" y="2065373"/>
                  <a:pt x="1044106" y="2065373"/>
                </a:cubicBezTo>
                <a:cubicBezTo>
                  <a:pt x="1051395" y="2059908"/>
                  <a:pt x="1064151" y="2058086"/>
                  <a:pt x="1075083" y="2054441"/>
                </a:cubicBezTo>
                <a:cubicBezTo>
                  <a:pt x="1076905" y="2052619"/>
                  <a:pt x="1076905" y="2054441"/>
                  <a:pt x="1078727" y="2054441"/>
                </a:cubicBezTo>
                <a:lnTo>
                  <a:pt x="1078727" y="2052047"/>
                </a:lnTo>
                <a:lnTo>
                  <a:pt x="1093305" y="2043509"/>
                </a:lnTo>
                <a:cubicBezTo>
                  <a:pt x="1089660" y="2045330"/>
                  <a:pt x="1089660" y="2050796"/>
                  <a:pt x="1093305" y="2052619"/>
                </a:cubicBezTo>
                <a:cubicBezTo>
                  <a:pt x="1096949" y="2050796"/>
                  <a:pt x="1096949" y="2047153"/>
                  <a:pt x="1095127" y="2043509"/>
                </a:cubicBezTo>
                <a:cubicBezTo>
                  <a:pt x="1096949" y="2043509"/>
                  <a:pt x="1098771" y="2043509"/>
                  <a:pt x="1098771" y="2047153"/>
                </a:cubicBezTo>
                <a:cubicBezTo>
                  <a:pt x="1102416" y="2048975"/>
                  <a:pt x="1102416" y="2052619"/>
                  <a:pt x="1106060" y="2054441"/>
                </a:cubicBezTo>
                <a:cubicBezTo>
                  <a:pt x="1109704" y="2052619"/>
                  <a:pt x="1104238" y="2050796"/>
                  <a:pt x="1104238" y="2047153"/>
                </a:cubicBezTo>
                <a:cubicBezTo>
                  <a:pt x="1107882" y="2045330"/>
                  <a:pt x="1113349" y="2048975"/>
                  <a:pt x="1116993" y="2045330"/>
                </a:cubicBezTo>
                <a:cubicBezTo>
                  <a:pt x="1115171" y="2039864"/>
                  <a:pt x="1109704" y="2041686"/>
                  <a:pt x="1106060" y="2041686"/>
                </a:cubicBezTo>
                <a:cubicBezTo>
                  <a:pt x="1107882" y="2039864"/>
                  <a:pt x="1111526" y="2039864"/>
                  <a:pt x="1111526" y="2038042"/>
                </a:cubicBezTo>
                <a:cubicBezTo>
                  <a:pt x="1109704" y="2036220"/>
                  <a:pt x="1106060" y="2038042"/>
                  <a:pt x="1104238" y="2039864"/>
                </a:cubicBezTo>
                <a:cubicBezTo>
                  <a:pt x="1100593" y="2039864"/>
                  <a:pt x="1098771" y="2043509"/>
                  <a:pt x="1095127" y="2043509"/>
                </a:cubicBezTo>
                <a:cubicBezTo>
                  <a:pt x="1095127" y="2041686"/>
                  <a:pt x="1098771" y="2039864"/>
                  <a:pt x="1095127" y="2038042"/>
                </a:cubicBezTo>
                <a:cubicBezTo>
                  <a:pt x="1091484" y="2039864"/>
                  <a:pt x="1093305" y="2041686"/>
                  <a:pt x="1093305" y="2043509"/>
                </a:cubicBezTo>
                <a:cubicBezTo>
                  <a:pt x="1087838" y="2043509"/>
                  <a:pt x="1086016" y="2048975"/>
                  <a:pt x="1078727" y="2050796"/>
                </a:cubicBezTo>
                <a:lnTo>
                  <a:pt x="1078727" y="2052047"/>
                </a:lnTo>
                <a:lnTo>
                  <a:pt x="1077361" y="2052847"/>
                </a:lnTo>
                <a:cubicBezTo>
                  <a:pt x="1071894" y="2056263"/>
                  <a:pt x="1065972" y="2058997"/>
                  <a:pt x="1058683" y="2058086"/>
                </a:cubicBezTo>
                <a:cubicBezTo>
                  <a:pt x="1053217" y="2061729"/>
                  <a:pt x="1044106" y="2063552"/>
                  <a:pt x="1036818" y="2067195"/>
                </a:cubicBezTo>
                <a:cubicBezTo>
                  <a:pt x="1038639" y="2065373"/>
                  <a:pt x="1044106" y="2065373"/>
                  <a:pt x="1042284" y="2061729"/>
                </a:cubicBezTo>
                <a:lnTo>
                  <a:pt x="1062328" y="2045330"/>
                </a:lnTo>
                <a:lnTo>
                  <a:pt x="1058683" y="2030752"/>
                </a:lnTo>
                <a:lnTo>
                  <a:pt x="1062328" y="2007065"/>
                </a:lnTo>
                <a:cubicBezTo>
                  <a:pt x="1034995" y="2005243"/>
                  <a:pt x="1033173" y="2005243"/>
                  <a:pt x="1031351" y="1976089"/>
                </a:cubicBezTo>
                <a:lnTo>
                  <a:pt x="1016774" y="1983376"/>
                </a:lnTo>
                <a:lnTo>
                  <a:pt x="1009485" y="1968799"/>
                </a:lnTo>
                <a:lnTo>
                  <a:pt x="1025884" y="1959688"/>
                </a:lnTo>
                <a:lnTo>
                  <a:pt x="1009485" y="1937823"/>
                </a:lnTo>
                <a:cubicBezTo>
                  <a:pt x="1045929" y="1936001"/>
                  <a:pt x="1065972" y="1910491"/>
                  <a:pt x="1076905" y="1886802"/>
                </a:cubicBezTo>
                <a:lnTo>
                  <a:pt x="1069616" y="1877691"/>
                </a:lnTo>
                <a:lnTo>
                  <a:pt x="1047750" y="1894091"/>
                </a:lnTo>
                <a:cubicBezTo>
                  <a:pt x="1040462" y="1874047"/>
                  <a:pt x="1040462" y="1890447"/>
                  <a:pt x="1047750" y="1872225"/>
                </a:cubicBezTo>
                <a:lnTo>
                  <a:pt x="1033173" y="1864936"/>
                </a:lnTo>
                <a:lnTo>
                  <a:pt x="1040462" y="1848537"/>
                </a:lnTo>
                <a:lnTo>
                  <a:pt x="1053217" y="1855825"/>
                </a:lnTo>
                <a:lnTo>
                  <a:pt x="1078727" y="1833959"/>
                </a:lnTo>
                <a:lnTo>
                  <a:pt x="1060506" y="1819382"/>
                </a:lnTo>
                <a:lnTo>
                  <a:pt x="1076905" y="1797516"/>
                </a:lnTo>
                <a:lnTo>
                  <a:pt x="1062328" y="1797516"/>
                </a:lnTo>
                <a:lnTo>
                  <a:pt x="1062328" y="1781116"/>
                </a:lnTo>
                <a:lnTo>
                  <a:pt x="1091484" y="1790227"/>
                </a:lnTo>
                <a:lnTo>
                  <a:pt x="1118815" y="1759250"/>
                </a:lnTo>
                <a:lnTo>
                  <a:pt x="1147970" y="1750139"/>
                </a:lnTo>
                <a:cubicBezTo>
                  <a:pt x="1147970" y="1750139"/>
                  <a:pt x="1140681" y="1737384"/>
                  <a:pt x="1140681" y="1735562"/>
                </a:cubicBezTo>
                <a:cubicBezTo>
                  <a:pt x="1140681" y="1706407"/>
                  <a:pt x="1137037" y="1731918"/>
                  <a:pt x="1146148" y="1713696"/>
                </a:cubicBezTo>
                <a:lnTo>
                  <a:pt x="1141045" y="1707955"/>
                </a:lnTo>
                <a:lnTo>
                  <a:pt x="1147970" y="1702763"/>
                </a:lnTo>
                <a:cubicBezTo>
                  <a:pt x="1146148" y="1702763"/>
                  <a:pt x="1146148" y="1700941"/>
                  <a:pt x="1144326" y="1700941"/>
                </a:cubicBezTo>
                <a:cubicBezTo>
                  <a:pt x="1142503" y="1702763"/>
                  <a:pt x="1140681" y="1702763"/>
                  <a:pt x="1138859" y="1704585"/>
                </a:cubicBezTo>
                <a:lnTo>
                  <a:pt x="1138859" y="1705496"/>
                </a:lnTo>
                <a:lnTo>
                  <a:pt x="1131570" y="1697296"/>
                </a:lnTo>
                <a:lnTo>
                  <a:pt x="1130659" y="1697296"/>
                </a:lnTo>
                <a:lnTo>
                  <a:pt x="1131570" y="1695474"/>
                </a:lnTo>
                <a:lnTo>
                  <a:pt x="1123370" y="1695474"/>
                </a:lnTo>
                <a:lnTo>
                  <a:pt x="1118815" y="1693652"/>
                </a:lnTo>
                <a:lnTo>
                  <a:pt x="1102416" y="1700941"/>
                </a:lnTo>
                <a:lnTo>
                  <a:pt x="1102416" y="1697296"/>
                </a:lnTo>
                <a:lnTo>
                  <a:pt x="1093305" y="1699899"/>
                </a:lnTo>
                <a:lnTo>
                  <a:pt x="1093305" y="1697296"/>
                </a:lnTo>
                <a:cubicBezTo>
                  <a:pt x="1089660" y="1697296"/>
                  <a:pt x="1087838" y="1697296"/>
                  <a:pt x="1084194" y="1697296"/>
                </a:cubicBezTo>
                <a:lnTo>
                  <a:pt x="1082373" y="1700941"/>
                </a:lnTo>
                <a:lnTo>
                  <a:pt x="1080549" y="1706407"/>
                </a:lnTo>
                <a:lnTo>
                  <a:pt x="1088893" y="1703626"/>
                </a:lnTo>
                <a:lnTo>
                  <a:pt x="1086016" y="1713696"/>
                </a:lnTo>
                <a:lnTo>
                  <a:pt x="1075083" y="1704585"/>
                </a:lnTo>
                <a:cubicBezTo>
                  <a:pt x="1069616" y="1706407"/>
                  <a:pt x="1065972" y="1708229"/>
                  <a:pt x="1062328" y="1710051"/>
                </a:cubicBezTo>
                <a:cubicBezTo>
                  <a:pt x="1065972" y="1706407"/>
                  <a:pt x="1069616" y="1704585"/>
                  <a:pt x="1073262" y="1702763"/>
                </a:cubicBezTo>
                <a:lnTo>
                  <a:pt x="1064151" y="1693652"/>
                </a:lnTo>
                <a:cubicBezTo>
                  <a:pt x="1062328" y="1693652"/>
                  <a:pt x="1062328" y="1695474"/>
                  <a:pt x="1060506" y="1695474"/>
                </a:cubicBezTo>
                <a:cubicBezTo>
                  <a:pt x="1060506" y="1695474"/>
                  <a:pt x="1060506" y="1695474"/>
                  <a:pt x="1058683" y="1695474"/>
                </a:cubicBezTo>
                <a:lnTo>
                  <a:pt x="1048598" y="1699118"/>
                </a:lnTo>
                <a:lnTo>
                  <a:pt x="1044106" y="1699118"/>
                </a:lnTo>
                <a:lnTo>
                  <a:pt x="1046761" y="1699782"/>
                </a:lnTo>
                <a:lnTo>
                  <a:pt x="1031578" y="1705268"/>
                </a:lnTo>
                <a:lnTo>
                  <a:pt x="1019618" y="1709184"/>
                </a:lnTo>
                <a:lnTo>
                  <a:pt x="1024062" y="1706407"/>
                </a:lnTo>
                <a:cubicBezTo>
                  <a:pt x="1018596" y="1704585"/>
                  <a:pt x="1014951" y="1704585"/>
                  <a:pt x="1009485" y="1704585"/>
                </a:cubicBezTo>
                <a:cubicBezTo>
                  <a:pt x="1017684" y="1705496"/>
                  <a:pt x="1025429" y="1705040"/>
                  <a:pt x="1032717" y="1702763"/>
                </a:cubicBezTo>
                <a:lnTo>
                  <a:pt x="1052770" y="1690285"/>
                </a:lnTo>
                <a:lnTo>
                  <a:pt x="1055040" y="1690008"/>
                </a:lnTo>
                <a:lnTo>
                  <a:pt x="1053217" y="1690008"/>
                </a:lnTo>
                <a:lnTo>
                  <a:pt x="1052770" y="1690285"/>
                </a:lnTo>
                <a:lnTo>
                  <a:pt x="1046256" y="1691083"/>
                </a:lnTo>
                <a:lnTo>
                  <a:pt x="1045249" y="1690579"/>
                </a:lnTo>
                <a:lnTo>
                  <a:pt x="1048021" y="1690008"/>
                </a:lnTo>
                <a:lnTo>
                  <a:pt x="1051395" y="1690008"/>
                </a:lnTo>
                <a:lnTo>
                  <a:pt x="1053130" y="1688954"/>
                </a:lnTo>
                <a:lnTo>
                  <a:pt x="1056861" y="1688185"/>
                </a:lnTo>
                <a:lnTo>
                  <a:pt x="1055087" y="1687766"/>
                </a:lnTo>
                <a:lnTo>
                  <a:pt x="1057772" y="1686135"/>
                </a:lnTo>
                <a:cubicBezTo>
                  <a:pt x="1060506" y="1684996"/>
                  <a:pt x="1063239" y="1683630"/>
                  <a:pt x="1064151" y="1680897"/>
                </a:cubicBezTo>
                <a:cubicBezTo>
                  <a:pt x="1058683" y="1679074"/>
                  <a:pt x="1053672" y="1680441"/>
                  <a:pt x="1048434" y="1682718"/>
                </a:cubicBezTo>
                <a:lnTo>
                  <a:pt x="1043188" y="1684957"/>
                </a:lnTo>
                <a:lnTo>
                  <a:pt x="1040461" y="1684313"/>
                </a:lnTo>
                <a:cubicBezTo>
                  <a:pt x="1034995" y="1684541"/>
                  <a:pt x="1029528" y="1686363"/>
                  <a:pt x="1024062" y="1690008"/>
                </a:cubicBezTo>
                <a:cubicBezTo>
                  <a:pt x="1022240" y="1684541"/>
                  <a:pt x="1029529" y="1688185"/>
                  <a:pt x="1029529" y="1684541"/>
                </a:cubicBezTo>
                <a:cubicBezTo>
                  <a:pt x="1029529" y="1680897"/>
                  <a:pt x="1024062" y="1684541"/>
                  <a:pt x="1024062" y="1680897"/>
                </a:cubicBezTo>
                <a:cubicBezTo>
                  <a:pt x="1030439" y="1680897"/>
                  <a:pt x="1036818" y="1679075"/>
                  <a:pt x="1042967" y="1676797"/>
                </a:cubicBezTo>
                <a:lnTo>
                  <a:pt x="1055278" y="1672001"/>
                </a:lnTo>
                <a:lnTo>
                  <a:pt x="1064151" y="1679986"/>
                </a:lnTo>
                <a:cubicBezTo>
                  <a:pt x="1066428" y="1682719"/>
                  <a:pt x="1068705" y="1683630"/>
                  <a:pt x="1073262" y="1677252"/>
                </a:cubicBezTo>
                <a:cubicBezTo>
                  <a:pt x="1071439" y="1675430"/>
                  <a:pt x="1071439" y="1675430"/>
                  <a:pt x="1067794" y="1677252"/>
                </a:cubicBezTo>
                <a:cubicBezTo>
                  <a:pt x="1069616" y="1671786"/>
                  <a:pt x="1078727" y="1675430"/>
                  <a:pt x="1082373" y="1669964"/>
                </a:cubicBezTo>
                <a:lnTo>
                  <a:pt x="1076905" y="1664497"/>
                </a:lnTo>
                <a:cubicBezTo>
                  <a:pt x="1075083" y="1664497"/>
                  <a:pt x="1073262" y="1662675"/>
                  <a:pt x="1071439" y="1662675"/>
                </a:cubicBezTo>
                <a:lnTo>
                  <a:pt x="1062067" y="1667881"/>
                </a:lnTo>
                <a:lnTo>
                  <a:pt x="1057497" y="1663311"/>
                </a:lnTo>
                <a:lnTo>
                  <a:pt x="1067794" y="1659031"/>
                </a:lnTo>
                <a:lnTo>
                  <a:pt x="1066061" y="1657298"/>
                </a:lnTo>
                <a:lnTo>
                  <a:pt x="1071439" y="1657208"/>
                </a:lnTo>
                <a:cubicBezTo>
                  <a:pt x="1069616" y="1657208"/>
                  <a:pt x="1067794" y="1657208"/>
                  <a:pt x="1065972" y="1657208"/>
                </a:cubicBezTo>
                <a:lnTo>
                  <a:pt x="1066061" y="1657298"/>
                </a:lnTo>
                <a:lnTo>
                  <a:pt x="1044106" y="1657663"/>
                </a:lnTo>
                <a:cubicBezTo>
                  <a:pt x="1034995" y="1659030"/>
                  <a:pt x="1026795" y="1662675"/>
                  <a:pt x="1022240" y="1671786"/>
                </a:cubicBezTo>
                <a:cubicBezTo>
                  <a:pt x="1027707" y="1671786"/>
                  <a:pt x="1031351" y="1668142"/>
                  <a:pt x="1036818" y="1668142"/>
                </a:cubicBezTo>
                <a:cubicBezTo>
                  <a:pt x="1034995" y="1668142"/>
                  <a:pt x="1033173" y="1669964"/>
                  <a:pt x="1031351" y="1668142"/>
                </a:cubicBezTo>
                <a:lnTo>
                  <a:pt x="1043278" y="1666992"/>
                </a:lnTo>
                <a:lnTo>
                  <a:pt x="1027479" y="1672014"/>
                </a:lnTo>
                <a:cubicBezTo>
                  <a:pt x="1018140" y="1675430"/>
                  <a:pt x="1009485" y="1679986"/>
                  <a:pt x="1002196" y="1688185"/>
                </a:cubicBezTo>
                <a:cubicBezTo>
                  <a:pt x="1005840" y="1680897"/>
                  <a:pt x="1013129" y="1680897"/>
                  <a:pt x="1016774" y="1673608"/>
                </a:cubicBezTo>
                <a:cubicBezTo>
                  <a:pt x="1020418" y="1671786"/>
                  <a:pt x="1018596" y="1668142"/>
                  <a:pt x="1020418" y="1666319"/>
                </a:cubicBezTo>
                <a:cubicBezTo>
                  <a:pt x="1016774" y="1666319"/>
                  <a:pt x="1011307" y="1669964"/>
                  <a:pt x="1007663" y="1671786"/>
                </a:cubicBezTo>
                <a:cubicBezTo>
                  <a:pt x="1011307" y="1671786"/>
                  <a:pt x="1013129" y="1673608"/>
                  <a:pt x="1016774" y="1673608"/>
                </a:cubicBezTo>
                <a:lnTo>
                  <a:pt x="1011898" y="1675370"/>
                </a:lnTo>
                <a:lnTo>
                  <a:pt x="1003790" y="1674975"/>
                </a:lnTo>
                <a:cubicBezTo>
                  <a:pt x="1000374" y="1676797"/>
                  <a:pt x="996729" y="1679985"/>
                  <a:pt x="993085" y="1682719"/>
                </a:cubicBezTo>
                <a:lnTo>
                  <a:pt x="994907" y="1682056"/>
                </a:lnTo>
                <a:lnTo>
                  <a:pt x="982441" y="1688856"/>
                </a:lnTo>
                <a:lnTo>
                  <a:pt x="981688" y="1689007"/>
                </a:lnTo>
                <a:lnTo>
                  <a:pt x="984658" y="1686818"/>
                </a:lnTo>
                <a:cubicBezTo>
                  <a:pt x="986252" y="1685452"/>
                  <a:pt x="987619" y="1683630"/>
                  <a:pt x="987619" y="1680897"/>
                </a:cubicBezTo>
                <a:lnTo>
                  <a:pt x="984944" y="1681726"/>
                </a:lnTo>
                <a:lnTo>
                  <a:pt x="985796" y="1677252"/>
                </a:lnTo>
                <a:cubicBezTo>
                  <a:pt x="983974" y="1675430"/>
                  <a:pt x="983974" y="1675430"/>
                  <a:pt x="982152" y="1673608"/>
                </a:cubicBezTo>
                <a:cubicBezTo>
                  <a:pt x="991263" y="1677252"/>
                  <a:pt x="994907" y="1671786"/>
                  <a:pt x="998552" y="1668142"/>
                </a:cubicBezTo>
                <a:cubicBezTo>
                  <a:pt x="994907" y="1666319"/>
                  <a:pt x="989441" y="1666319"/>
                  <a:pt x="985796" y="1664497"/>
                </a:cubicBezTo>
                <a:cubicBezTo>
                  <a:pt x="991263" y="1660853"/>
                  <a:pt x="996729" y="1668142"/>
                  <a:pt x="1000374" y="1666319"/>
                </a:cubicBezTo>
                <a:cubicBezTo>
                  <a:pt x="998552" y="1666319"/>
                  <a:pt x="998552" y="1664497"/>
                  <a:pt x="996729" y="1662675"/>
                </a:cubicBezTo>
                <a:cubicBezTo>
                  <a:pt x="1014951" y="1668142"/>
                  <a:pt x="1034995" y="1651742"/>
                  <a:pt x="1055040" y="1651742"/>
                </a:cubicBezTo>
                <a:cubicBezTo>
                  <a:pt x="1036818" y="1644453"/>
                  <a:pt x="1018596" y="1640809"/>
                  <a:pt x="998552" y="1640809"/>
                </a:cubicBezTo>
                <a:cubicBezTo>
                  <a:pt x="1009485" y="1635342"/>
                  <a:pt x="1018596" y="1642631"/>
                  <a:pt x="1027707" y="1642631"/>
                </a:cubicBezTo>
                <a:cubicBezTo>
                  <a:pt x="1020418" y="1637164"/>
                  <a:pt x="1011307" y="1638987"/>
                  <a:pt x="1004018" y="1635342"/>
                </a:cubicBezTo>
                <a:cubicBezTo>
                  <a:pt x="973041" y="1628054"/>
                  <a:pt x="932953" y="1655386"/>
                  <a:pt x="909265" y="1679075"/>
                </a:cubicBezTo>
                <a:cubicBezTo>
                  <a:pt x="909265" y="1673608"/>
                  <a:pt x="916555" y="1673608"/>
                  <a:pt x="916555" y="1668142"/>
                </a:cubicBezTo>
                <a:cubicBezTo>
                  <a:pt x="901976" y="1668142"/>
                  <a:pt x="891043" y="1679075"/>
                  <a:pt x="876466" y="1682719"/>
                </a:cubicBezTo>
                <a:lnTo>
                  <a:pt x="880099" y="1683099"/>
                </a:lnTo>
                <a:lnTo>
                  <a:pt x="852778" y="1686363"/>
                </a:lnTo>
                <a:cubicBezTo>
                  <a:pt x="834556" y="1686363"/>
                  <a:pt x="816334" y="1688185"/>
                  <a:pt x="798112" y="1693652"/>
                </a:cubicBezTo>
                <a:cubicBezTo>
                  <a:pt x="816334" y="1688185"/>
                  <a:pt x="836378" y="1682719"/>
                  <a:pt x="856422" y="1682719"/>
                </a:cubicBezTo>
                <a:cubicBezTo>
                  <a:pt x="856422" y="1680897"/>
                  <a:pt x="854600" y="1680897"/>
                  <a:pt x="854600" y="1680897"/>
                </a:cubicBezTo>
                <a:cubicBezTo>
                  <a:pt x="860066" y="1682719"/>
                  <a:pt x="863711" y="1680897"/>
                  <a:pt x="869177" y="1677252"/>
                </a:cubicBezTo>
                <a:cubicBezTo>
                  <a:pt x="865533" y="1677252"/>
                  <a:pt x="861889" y="1675430"/>
                  <a:pt x="860066" y="1675430"/>
                </a:cubicBezTo>
                <a:cubicBezTo>
                  <a:pt x="887399" y="1677252"/>
                  <a:pt x="912909" y="1657208"/>
                  <a:pt x="940242" y="1646275"/>
                </a:cubicBezTo>
                <a:cubicBezTo>
                  <a:pt x="927487" y="1649920"/>
                  <a:pt x="914732" y="1651742"/>
                  <a:pt x="901976" y="1648097"/>
                </a:cubicBezTo>
                <a:cubicBezTo>
                  <a:pt x="915643" y="1650830"/>
                  <a:pt x="928853" y="1648553"/>
                  <a:pt x="941608" y="1644225"/>
                </a:cubicBezTo>
                <a:lnTo>
                  <a:pt x="966679" y="1633238"/>
                </a:lnTo>
                <a:lnTo>
                  <a:pt x="985796" y="1628054"/>
                </a:lnTo>
                <a:lnTo>
                  <a:pt x="976714" y="1628840"/>
                </a:lnTo>
                <a:lnTo>
                  <a:pt x="978508" y="1628054"/>
                </a:lnTo>
                <a:lnTo>
                  <a:pt x="974481" y="1629033"/>
                </a:lnTo>
                <a:lnTo>
                  <a:pt x="909493" y="1634659"/>
                </a:lnTo>
                <a:cubicBezTo>
                  <a:pt x="884210" y="1638986"/>
                  <a:pt x="859155" y="1645364"/>
                  <a:pt x="834556" y="1653564"/>
                </a:cubicBezTo>
                <a:lnTo>
                  <a:pt x="850630" y="1654904"/>
                </a:lnTo>
                <a:lnTo>
                  <a:pt x="832270" y="1656898"/>
                </a:lnTo>
                <a:lnTo>
                  <a:pt x="828634" y="1654475"/>
                </a:lnTo>
                <a:cubicBezTo>
                  <a:pt x="826356" y="1654475"/>
                  <a:pt x="823623" y="1655386"/>
                  <a:pt x="821801" y="1657208"/>
                </a:cubicBezTo>
                <a:lnTo>
                  <a:pt x="829416" y="1657208"/>
                </a:lnTo>
                <a:lnTo>
                  <a:pt x="825217" y="1657664"/>
                </a:lnTo>
                <a:lnTo>
                  <a:pt x="794200" y="1664470"/>
                </a:lnTo>
                <a:lnTo>
                  <a:pt x="762580" y="1661308"/>
                </a:lnTo>
                <a:cubicBezTo>
                  <a:pt x="752103" y="1662675"/>
                  <a:pt x="741626" y="1665408"/>
                  <a:pt x="730692" y="1666319"/>
                </a:cubicBezTo>
                <a:cubicBezTo>
                  <a:pt x="721581" y="1664497"/>
                  <a:pt x="712470" y="1668142"/>
                  <a:pt x="703359" y="1669964"/>
                </a:cubicBezTo>
                <a:lnTo>
                  <a:pt x="719344" y="1677222"/>
                </a:lnTo>
                <a:lnTo>
                  <a:pt x="706172" y="1675325"/>
                </a:lnTo>
                <a:lnTo>
                  <a:pt x="702220" y="1672014"/>
                </a:lnTo>
                <a:cubicBezTo>
                  <a:pt x="699259" y="1670419"/>
                  <a:pt x="696071" y="1669964"/>
                  <a:pt x="692426" y="1671786"/>
                </a:cubicBezTo>
                <a:lnTo>
                  <a:pt x="698517" y="1674223"/>
                </a:lnTo>
                <a:lnTo>
                  <a:pt x="694249" y="1673608"/>
                </a:lnTo>
                <a:cubicBezTo>
                  <a:pt x="719759" y="1700941"/>
                  <a:pt x="703359" y="1741028"/>
                  <a:pt x="694249" y="1773827"/>
                </a:cubicBezTo>
                <a:cubicBezTo>
                  <a:pt x="692426" y="1773827"/>
                  <a:pt x="694249" y="1772005"/>
                  <a:pt x="692426" y="1770183"/>
                </a:cubicBezTo>
                <a:cubicBezTo>
                  <a:pt x="688782" y="1772005"/>
                  <a:pt x="685138" y="1773827"/>
                  <a:pt x="681493" y="1775650"/>
                </a:cubicBezTo>
                <a:cubicBezTo>
                  <a:pt x="703359" y="1766539"/>
                  <a:pt x="699715" y="1741028"/>
                  <a:pt x="699715" y="1722807"/>
                </a:cubicBezTo>
                <a:cubicBezTo>
                  <a:pt x="696071" y="1722807"/>
                  <a:pt x="694249" y="1724629"/>
                  <a:pt x="692426" y="1726451"/>
                </a:cubicBezTo>
                <a:cubicBezTo>
                  <a:pt x="703359" y="1715518"/>
                  <a:pt x="708826" y="1691830"/>
                  <a:pt x="690604" y="1684541"/>
                </a:cubicBezTo>
                <a:cubicBezTo>
                  <a:pt x="694249" y="1682719"/>
                  <a:pt x="694249" y="1680897"/>
                  <a:pt x="692426" y="1677252"/>
                </a:cubicBezTo>
                <a:cubicBezTo>
                  <a:pt x="688782" y="1675430"/>
                  <a:pt x="685138" y="1664497"/>
                  <a:pt x="683316" y="1671786"/>
                </a:cubicBezTo>
                <a:lnTo>
                  <a:pt x="680240" y="1688233"/>
                </a:lnTo>
                <a:lnTo>
                  <a:pt x="679671" y="1668142"/>
                </a:lnTo>
                <a:cubicBezTo>
                  <a:pt x="652339" y="1693652"/>
                  <a:pt x="657805" y="1735562"/>
                  <a:pt x="659627" y="1768361"/>
                </a:cubicBezTo>
                <a:cubicBezTo>
                  <a:pt x="659627" y="1764717"/>
                  <a:pt x="657805" y="1759250"/>
                  <a:pt x="654161" y="1755606"/>
                </a:cubicBezTo>
                <a:cubicBezTo>
                  <a:pt x="648694" y="1788405"/>
                  <a:pt x="646872" y="1815738"/>
                  <a:pt x="646872" y="1846714"/>
                </a:cubicBezTo>
                <a:cubicBezTo>
                  <a:pt x="646872" y="1846714"/>
                  <a:pt x="646872" y="1844892"/>
                  <a:pt x="646872" y="1844892"/>
                </a:cubicBezTo>
                <a:cubicBezTo>
                  <a:pt x="637761" y="1848537"/>
                  <a:pt x="637761" y="1857647"/>
                  <a:pt x="637761" y="1866758"/>
                </a:cubicBezTo>
                <a:cubicBezTo>
                  <a:pt x="635939" y="1861292"/>
                  <a:pt x="632296" y="1863114"/>
                  <a:pt x="628650" y="1864936"/>
                </a:cubicBezTo>
                <a:cubicBezTo>
                  <a:pt x="635939" y="1855825"/>
                  <a:pt x="645050" y="1846714"/>
                  <a:pt x="643228" y="1832137"/>
                </a:cubicBezTo>
                <a:cubicBezTo>
                  <a:pt x="641407" y="1833959"/>
                  <a:pt x="639583" y="1835781"/>
                  <a:pt x="635939" y="1835781"/>
                </a:cubicBezTo>
                <a:cubicBezTo>
                  <a:pt x="641407" y="1832137"/>
                  <a:pt x="641407" y="1826671"/>
                  <a:pt x="639583" y="1817560"/>
                </a:cubicBezTo>
                <a:cubicBezTo>
                  <a:pt x="635939" y="1821204"/>
                  <a:pt x="632296" y="1826671"/>
                  <a:pt x="630472" y="1830315"/>
                </a:cubicBezTo>
                <a:lnTo>
                  <a:pt x="628650" y="1828493"/>
                </a:lnTo>
                <a:cubicBezTo>
                  <a:pt x="623185" y="1830315"/>
                  <a:pt x="621362" y="1839426"/>
                  <a:pt x="615895" y="1841248"/>
                </a:cubicBezTo>
                <a:cubicBezTo>
                  <a:pt x="635028" y="1822115"/>
                  <a:pt x="642772" y="1797515"/>
                  <a:pt x="647100" y="1771322"/>
                </a:cubicBezTo>
                <a:lnTo>
                  <a:pt x="657611" y="1693268"/>
                </a:lnTo>
                <a:lnTo>
                  <a:pt x="665577" y="1683801"/>
                </a:lnTo>
                <a:cubicBezTo>
                  <a:pt x="667941" y="1679871"/>
                  <a:pt x="669194" y="1675886"/>
                  <a:pt x="668738" y="1671786"/>
                </a:cubicBezTo>
                <a:cubicBezTo>
                  <a:pt x="663272" y="1657208"/>
                  <a:pt x="641407" y="1679075"/>
                  <a:pt x="639583" y="1695474"/>
                </a:cubicBezTo>
                <a:cubicBezTo>
                  <a:pt x="635939" y="1704585"/>
                  <a:pt x="632296" y="1713696"/>
                  <a:pt x="630472" y="1719162"/>
                </a:cubicBezTo>
                <a:lnTo>
                  <a:pt x="650425" y="1700467"/>
                </a:lnTo>
                <a:lnTo>
                  <a:pt x="637761" y="1715290"/>
                </a:lnTo>
                <a:cubicBezTo>
                  <a:pt x="631840" y="1723717"/>
                  <a:pt x="626828" y="1731917"/>
                  <a:pt x="623185" y="1737384"/>
                </a:cubicBezTo>
                <a:cubicBezTo>
                  <a:pt x="623185" y="1737384"/>
                  <a:pt x="621362" y="1735562"/>
                  <a:pt x="621362" y="1735562"/>
                </a:cubicBezTo>
                <a:cubicBezTo>
                  <a:pt x="617717" y="1741028"/>
                  <a:pt x="614074" y="1744673"/>
                  <a:pt x="612251" y="1750139"/>
                </a:cubicBezTo>
                <a:cubicBezTo>
                  <a:pt x="615895" y="1750139"/>
                  <a:pt x="617717" y="1746495"/>
                  <a:pt x="621362" y="1742851"/>
                </a:cubicBezTo>
                <a:cubicBezTo>
                  <a:pt x="608606" y="1762894"/>
                  <a:pt x="599496" y="1790227"/>
                  <a:pt x="614074" y="1810271"/>
                </a:cubicBezTo>
                <a:cubicBezTo>
                  <a:pt x="612251" y="1806627"/>
                  <a:pt x="608606" y="1804805"/>
                  <a:pt x="606784" y="1801160"/>
                </a:cubicBezTo>
                <a:cubicBezTo>
                  <a:pt x="595852" y="1815738"/>
                  <a:pt x="604963" y="1835781"/>
                  <a:pt x="586741" y="1848537"/>
                </a:cubicBezTo>
                <a:cubicBezTo>
                  <a:pt x="592207" y="1841248"/>
                  <a:pt x="595852" y="1832137"/>
                  <a:pt x="595852" y="1823026"/>
                </a:cubicBezTo>
                <a:cubicBezTo>
                  <a:pt x="579452" y="1833959"/>
                  <a:pt x="570341" y="1852181"/>
                  <a:pt x="557586" y="1866758"/>
                </a:cubicBezTo>
                <a:cubicBezTo>
                  <a:pt x="557586" y="1864936"/>
                  <a:pt x="559408" y="1863114"/>
                  <a:pt x="559408" y="1861292"/>
                </a:cubicBezTo>
                <a:cubicBezTo>
                  <a:pt x="552119" y="1866758"/>
                  <a:pt x="546653" y="1868581"/>
                  <a:pt x="541186" y="1870403"/>
                </a:cubicBezTo>
                <a:cubicBezTo>
                  <a:pt x="541186" y="1866758"/>
                  <a:pt x="548475" y="1868581"/>
                  <a:pt x="546653" y="1864936"/>
                </a:cubicBezTo>
                <a:cubicBezTo>
                  <a:pt x="535719" y="1868581"/>
                  <a:pt x="526609" y="1872225"/>
                  <a:pt x="517498" y="1879514"/>
                </a:cubicBezTo>
                <a:cubicBezTo>
                  <a:pt x="526609" y="1863114"/>
                  <a:pt x="552119" y="1868581"/>
                  <a:pt x="564874" y="1854003"/>
                </a:cubicBezTo>
                <a:cubicBezTo>
                  <a:pt x="564874" y="1852181"/>
                  <a:pt x="563052" y="1854003"/>
                  <a:pt x="561230" y="1852181"/>
                </a:cubicBezTo>
                <a:cubicBezTo>
                  <a:pt x="564874" y="1846714"/>
                  <a:pt x="573985" y="1843070"/>
                  <a:pt x="573985" y="1833959"/>
                </a:cubicBezTo>
                <a:cubicBezTo>
                  <a:pt x="573985" y="1833959"/>
                  <a:pt x="572163" y="1835781"/>
                  <a:pt x="572163" y="1835781"/>
                </a:cubicBezTo>
                <a:cubicBezTo>
                  <a:pt x="572163" y="1813915"/>
                  <a:pt x="588562" y="1802982"/>
                  <a:pt x="594030" y="1782938"/>
                </a:cubicBezTo>
                <a:cubicBezTo>
                  <a:pt x="584919" y="1781116"/>
                  <a:pt x="588562" y="1793871"/>
                  <a:pt x="581274" y="1793871"/>
                </a:cubicBezTo>
                <a:cubicBezTo>
                  <a:pt x="583096" y="1790227"/>
                  <a:pt x="583096" y="1786583"/>
                  <a:pt x="568519" y="1773827"/>
                </a:cubicBezTo>
                <a:lnTo>
                  <a:pt x="559180" y="1781255"/>
                </a:lnTo>
                <a:lnTo>
                  <a:pt x="568519" y="1764717"/>
                </a:lnTo>
                <a:cubicBezTo>
                  <a:pt x="570341" y="1762894"/>
                  <a:pt x="563052" y="1768361"/>
                  <a:pt x="559408" y="1764717"/>
                </a:cubicBezTo>
                <a:cubicBezTo>
                  <a:pt x="564874" y="1759250"/>
                  <a:pt x="572163" y="1766539"/>
                  <a:pt x="577630" y="1759250"/>
                </a:cubicBezTo>
                <a:cubicBezTo>
                  <a:pt x="577630" y="1759250"/>
                  <a:pt x="575808" y="1757428"/>
                  <a:pt x="573985" y="1755606"/>
                </a:cubicBezTo>
                <a:cubicBezTo>
                  <a:pt x="575808" y="1755606"/>
                  <a:pt x="577630" y="1759250"/>
                  <a:pt x="581274" y="1759250"/>
                </a:cubicBezTo>
                <a:cubicBezTo>
                  <a:pt x="583096" y="1751961"/>
                  <a:pt x="595852" y="1748317"/>
                  <a:pt x="588562" y="1742851"/>
                </a:cubicBezTo>
                <a:cubicBezTo>
                  <a:pt x="586741" y="1741028"/>
                  <a:pt x="584919" y="1741028"/>
                  <a:pt x="583096" y="1741028"/>
                </a:cubicBezTo>
                <a:cubicBezTo>
                  <a:pt x="608606" y="1724629"/>
                  <a:pt x="619539" y="1691830"/>
                  <a:pt x="628650" y="1657208"/>
                </a:cubicBezTo>
                <a:cubicBezTo>
                  <a:pt x="628650" y="1653564"/>
                  <a:pt x="625006" y="1651742"/>
                  <a:pt x="621362" y="1651742"/>
                </a:cubicBezTo>
                <a:lnTo>
                  <a:pt x="602679" y="1663598"/>
                </a:lnTo>
                <a:lnTo>
                  <a:pt x="610429" y="1657208"/>
                </a:lnTo>
                <a:cubicBezTo>
                  <a:pt x="608606" y="1655386"/>
                  <a:pt x="606784" y="1655386"/>
                  <a:pt x="604963" y="1655386"/>
                </a:cubicBezTo>
                <a:cubicBezTo>
                  <a:pt x="612251" y="1649920"/>
                  <a:pt x="608606" y="1649920"/>
                  <a:pt x="614074" y="1648097"/>
                </a:cubicBezTo>
                <a:cubicBezTo>
                  <a:pt x="623185" y="1644453"/>
                  <a:pt x="634117" y="1633520"/>
                  <a:pt x="632296" y="1624409"/>
                </a:cubicBezTo>
                <a:cubicBezTo>
                  <a:pt x="632296" y="1615298"/>
                  <a:pt x="617717" y="1624409"/>
                  <a:pt x="612251" y="1633520"/>
                </a:cubicBezTo>
                <a:cubicBezTo>
                  <a:pt x="614074" y="1622587"/>
                  <a:pt x="625006" y="1617121"/>
                  <a:pt x="623185" y="1606188"/>
                </a:cubicBezTo>
                <a:cubicBezTo>
                  <a:pt x="621361" y="1596166"/>
                  <a:pt x="622273" y="1587510"/>
                  <a:pt x="623411" y="1578627"/>
                </a:cubicBezTo>
                <a:lnTo>
                  <a:pt x="624686" y="1555508"/>
                </a:lnTo>
                <a:lnTo>
                  <a:pt x="635939" y="1546056"/>
                </a:lnTo>
                <a:cubicBezTo>
                  <a:pt x="641407" y="1542412"/>
                  <a:pt x="637761" y="1538767"/>
                  <a:pt x="639583" y="1535123"/>
                </a:cubicBezTo>
                <a:cubicBezTo>
                  <a:pt x="635939" y="1536945"/>
                  <a:pt x="630472" y="1538767"/>
                  <a:pt x="635939" y="1546056"/>
                </a:cubicBezTo>
                <a:cubicBezTo>
                  <a:pt x="634117" y="1540589"/>
                  <a:pt x="629561" y="1541956"/>
                  <a:pt x="625234" y="1545372"/>
                </a:cubicBezTo>
                <a:lnTo>
                  <a:pt x="620096" y="1551762"/>
                </a:lnTo>
                <a:lnTo>
                  <a:pt x="623185" y="1540589"/>
                </a:lnTo>
                <a:cubicBezTo>
                  <a:pt x="621362" y="1544234"/>
                  <a:pt x="621362" y="1547878"/>
                  <a:pt x="617717" y="1549700"/>
                </a:cubicBezTo>
                <a:lnTo>
                  <a:pt x="619344" y="1541565"/>
                </a:lnTo>
                <a:lnTo>
                  <a:pt x="625006" y="1533301"/>
                </a:lnTo>
                <a:cubicBezTo>
                  <a:pt x="621361" y="1533301"/>
                  <a:pt x="619539" y="1534667"/>
                  <a:pt x="618628" y="1536489"/>
                </a:cubicBezTo>
                <a:lnTo>
                  <a:pt x="617785" y="1541967"/>
                </a:lnTo>
                <a:lnTo>
                  <a:pt x="617635" y="1542085"/>
                </a:lnTo>
                <a:lnTo>
                  <a:pt x="615895" y="1535123"/>
                </a:lnTo>
                <a:cubicBezTo>
                  <a:pt x="614074" y="1536945"/>
                  <a:pt x="612251" y="1536945"/>
                  <a:pt x="610429" y="1536945"/>
                </a:cubicBezTo>
                <a:cubicBezTo>
                  <a:pt x="610429" y="1535123"/>
                  <a:pt x="614074" y="1533301"/>
                  <a:pt x="615895" y="1533301"/>
                </a:cubicBezTo>
                <a:cubicBezTo>
                  <a:pt x="617717" y="1526012"/>
                  <a:pt x="621362" y="1515079"/>
                  <a:pt x="615895" y="1511434"/>
                </a:cubicBezTo>
                <a:cubicBezTo>
                  <a:pt x="611339" y="1518723"/>
                  <a:pt x="607240" y="1525556"/>
                  <a:pt x="604507" y="1532617"/>
                </a:cubicBezTo>
                <a:lnTo>
                  <a:pt x="602026" y="1550161"/>
                </a:lnTo>
                <a:lnTo>
                  <a:pt x="597970" y="1551839"/>
                </a:lnTo>
                <a:lnTo>
                  <a:pt x="599496" y="1540589"/>
                </a:lnTo>
                <a:cubicBezTo>
                  <a:pt x="595852" y="1547878"/>
                  <a:pt x="584919" y="1555167"/>
                  <a:pt x="590385" y="1560633"/>
                </a:cubicBezTo>
                <a:cubicBezTo>
                  <a:pt x="588562" y="1560633"/>
                  <a:pt x="588562" y="1560633"/>
                  <a:pt x="586741" y="1558811"/>
                </a:cubicBezTo>
                <a:cubicBezTo>
                  <a:pt x="584919" y="1560633"/>
                  <a:pt x="583096" y="1564278"/>
                  <a:pt x="584919" y="1566100"/>
                </a:cubicBezTo>
                <a:lnTo>
                  <a:pt x="595386" y="1556193"/>
                </a:lnTo>
                <a:lnTo>
                  <a:pt x="594030" y="1560633"/>
                </a:lnTo>
                <a:cubicBezTo>
                  <a:pt x="583096" y="1569744"/>
                  <a:pt x="577630" y="1578855"/>
                  <a:pt x="581274" y="1589788"/>
                </a:cubicBezTo>
                <a:cubicBezTo>
                  <a:pt x="575808" y="1589788"/>
                  <a:pt x="577630" y="1595255"/>
                  <a:pt x="572163" y="1597077"/>
                </a:cubicBezTo>
                <a:cubicBezTo>
                  <a:pt x="573985" y="1598899"/>
                  <a:pt x="575808" y="1597077"/>
                  <a:pt x="577630" y="1595255"/>
                </a:cubicBezTo>
                <a:cubicBezTo>
                  <a:pt x="575808" y="1593432"/>
                  <a:pt x="581274" y="1593432"/>
                  <a:pt x="581274" y="1589788"/>
                </a:cubicBezTo>
                <a:lnTo>
                  <a:pt x="586925" y="1593607"/>
                </a:lnTo>
                <a:lnTo>
                  <a:pt x="583734" y="1601054"/>
                </a:lnTo>
                <a:lnTo>
                  <a:pt x="581274" y="1595255"/>
                </a:lnTo>
                <a:lnTo>
                  <a:pt x="573076" y="1607216"/>
                </a:lnTo>
                <a:lnTo>
                  <a:pt x="572391" y="1607326"/>
                </a:lnTo>
                <a:cubicBezTo>
                  <a:pt x="570341" y="1609832"/>
                  <a:pt x="568519" y="1613476"/>
                  <a:pt x="566697" y="1615298"/>
                </a:cubicBezTo>
                <a:lnTo>
                  <a:pt x="567101" y="1616919"/>
                </a:lnTo>
                <a:lnTo>
                  <a:pt x="566697" y="1618944"/>
                </a:lnTo>
                <a:lnTo>
                  <a:pt x="566697" y="1618943"/>
                </a:lnTo>
                <a:cubicBezTo>
                  <a:pt x="563052" y="1624409"/>
                  <a:pt x="563052" y="1629876"/>
                  <a:pt x="563052" y="1635342"/>
                </a:cubicBezTo>
                <a:lnTo>
                  <a:pt x="563621" y="1634317"/>
                </a:lnTo>
                <a:lnTo>
                  <a:pt x="563052" y="1637164"/>
                </a:lnTo>
                <a:cubicBezTo>
                  <a:pt x="561230" y="1635342"/>
                  <a:pt x="559408" y="1633520"/>
                  <a:pt x="557586" y="1631698"/>
                </a:cubicBezTo>
                <a:lnTo>
                  <a:pt x="556004" y="1663329"/>
                </a:lnTo>
                <a:lnTo>
                  <a:pt x="554654" y="1666478"/>
                </a:lnTo>
                <a:lnTo>
                  <a:pt x="553240" y="1664357"/>
                </a:lnTo>
                <a:lnTo>
                  <a:pt x="553941" y="1660853"/>
                </a:lnTo>
                <a:lnTo>
                  <a:pt x="552639" y="1663456"/>
                </a:lnTo>
                <a:lnTo>
                  <a:pt x="552119" y="1662675"/>
                </a:lnTo>
                <a:cubicBezTo>
                  <a:pt x="552119" y="1660853"/>
                  <a:pt x="552119" y="1657208"/>
                  <a:pt x="550297" y="1657208"/>
                </a:cubicBezTo>
                <a:cubicBezTo>
                  <a:pt x="546652" y="1662675"/>
                  <a:pt x="543919" y="1668142"/>
                  <a:pt x="542552" y="1673608"/>
                </a:cubicBezTo>
                <a:lnTo>
                  <a:pt x="542639" y="1676708"/>
                </a:lnTo>
                <a:lnTo>
                  <a:pt x="538993" y="1681865"/>
                </a:lnTo>
                <a:cubicBezTo>
                  <a:pt x="536175" y="1691260"/>
                  <a:pt x="540276" y="1703218"/>
                  <a:pt x="532075" y="1710051"/>
                </a:cubicBezTo>
                <a:cubicBezTo>
                  <a:pt x="532075" y="1704585"/>
                  <a:pt x="539364" y="1697296"/>
                  <a:pt x="533897" y="1690008"/>
                </a:cubicBezTo>
                <a:cubicBezTo>
                  <a:pt x="532075" y="1690008"/>
                  <a:pt x="532075" y="1691830"/>
                  <a:pt x="528431" y="1691830"/>
                </a:cubicBezTo>
                <a:cubicBezTo>
                  <a:pt x="541186" y="1688185"/>
                  <a:pt x="537542" y="1668142"/>
                  <a:pt x="537542" y="1659031"/>
                </a:cubicBezTo>
                <a:cubicBezTo>
                  <a:pt x="537542" y="1660853"/>
                  <a:pt x="537542" y="1664497"/>
                  <a:pt x="533897" y="1662675"/>
                </a:cubicBezTo>
                <a:cubicBezTo>
                  <a:pt x="537542" y="1659031"/>
                  <a:pt x="541186" y="1653564"/>
                  <a:pt x="543008" y="1646275"/>
                </a:cubicBezTo>
                <a:lnTo>
                  <a:pt x="532075" y="1650648"/>
                </a:lnTo>
                <a:lnTo>
                  <a:pt x="532075" y="1649257"/>
                </a:lnTo>
                <a:lnTo>
                  <a:pt x="534808" y="1647642"/>
                </a:lnTo>
                <a:cubicBezTo>
                  <a:pt x="538908" y="1646275"/>
                  <a:pt x="543008" y="1644454"/>
                  <a:pt x="544830" y="1638987"/>
                </a:cubicBezTo>
                <a:cubicBezTo>
                  <a:pt x="544830" y="1640809"/>
                  <a:pt x="543008" y="1638987"/>
                  <a:pt x="541186" y="1640809"/>
                </a:cubicBezTo>
                <a:lnTo>
                  <a:pt x="544968" y="1635066"/>
                </a:lnTo>
                <a:lnTo>
                  <a:pt x="544830" y="1635342"/>
                </a:lnTo>
                <a:cubicBezTo>
                  <a:pt x="545741" y="1636253"/>
                  <a:pt x="547108" y="1635798"/>
                  <a:pt x="547791" y="1634886"/>
                </a:cubicBezTo>
                <a:lnTo>
                  <a:pt x="546841" y="1632223"/>
                </a:lnTo>
                <a:lnTo>
                  <a:pt x="547336" y="1631470"/>
                </a:lnTo>
                <a:cubicBezTo>
                  <a:pt x="548475" y="1628054"/>
                  <a:pt x="548475" y="1624409"/>
                  <a:pt x="546653" y="1620765"/>
                </a:cubicBezTo>
                <a:cubicBezTo>
                  <a:pt x="541186" y="1628054"/>
                  <a:pt x="539364" y="1638987"/>
                  <a:pt x="533897" y="1644453"/>
                </a:cubicBezTo>
                <a:lnTo>
                  <a:pt x="532075" y="1646535"/>
                </a:lnTo>
                <a:lnTo>
                  <a:pt x="532075" y="1644453"/>
                </a:lnTo>
                <a:lnTo>
                  <a:pt x="529646" y="1649312"/>
                </a:lnTo>
                <a:lnTo>
                  <a:pt x="527146" y="1652170"/>
                </a:lnTo>
                <a:lnTo>
                  <a:pt x="524786" y="1653564"/>
                </a:lnTo>
                <a:lnTo>
                  <a:pt x="526539" y="1652863"/>
                </a:lnTo>
                <a:lnTo>
                  <a:pt x="521142" y="1659031"/>
                </a:lnTo>
                <a:cubicBezTo>
                  <a:pt x="521142" y="1657208"/>
                  <a:pt x="522964" y="1657208"/>
                  <a:pt x="524786" y="1655386"/>
                </a:cubicBezTo>
                <a:lnTo>
                  <a:pt x="518687" y="1663010"/>
                </a:lnTo>
                <a:lnTo>
                  <a:pt x="517853" y="1663123"/>
                </a:lnTo>
                <a:lnTo>
                  <a:pt x="519829" y="1655483"/>
                </a:lnTo>
                <a:lnTo>
                  <a:pt x="520003" y="1655386"/>
                </a:lnTo>
                <a:cubicBezTo>
                  <a:pt x="523420" y="1653108"/>
                  <a:pt x="526608" y="1649919"/>
                  <a:pt x="528431" y="1644453"/>
                </a:cubicBezTo>
                <a:lnTo>
                  <a:pt x="524995" y="1645598"/>
                </a:lnTo>
                <a:lnTo>
                  <a:pt x="526761" y="1643136"/>
                </a:lnTo>
                <a:lnTo>
                  <a:pt x="530253" y="1640809"/>
                </a:lnTo>
                <a:cubicBezTo>
                  <a:pt x="528431" y="1638987"/>
                  <a:pt x="528431" y="1638987"/>
                  <a:pt x="526609" y="1638987"/>
                </a:cubicBezTo>
                <a:cubicBezTo>
                  <a:pt x="524786" y="1640809"/>
                  <a:pt x="524786" y="1642631"/>
                  <a:pt x="524786" y="1644453"/>
                </a:cubicBezTo>
                <a:lnTo>
                  <a:pt x="525040" y="1644283"/>
                </a:lnTo>
                <a:lnTo>
                  <a:pt x="523160" y="1646209"/>
                </a:lnTo>
                <a:lnTo>
                  <a:pt x="522964" y="1646275"/>
                </a:lnTo>
                <a:lnTo>
                  <a:pt x="522054" y="1643542"/>
                </a:lnTo>
                <a:lnTo>
                  <a:pt x="522964" y="1644453"/>
                </a:lnTo>
                <a:cubicBezTo>
                  <a:pt x="522964" y="1642631"/>
                  <a:pt x="524786" y="1642631"/>
                  <a:pt x="524786" y="1640809"/>
                </a:cubicBezTo>
                <a:lnTo>
                  <a:pt x="521662" y="1642371"/>
                </a:lnTo>
                <a:lnTo>
                  <a:pt x="521142" y="1640809"/>
                </a:lnTo>
                <a:cubicBezTo>
                  <a:pt x="521142" y="1640809"/>
                  <a:pt x="519320" y="1642631"/>
                  <a:pt x="519320" y="1642631"/>
                </a:cubicBezTo>
                <a:cubicBezTo>
                  <a:pt x="517498" y="1642631"/>
                  <a:pt x="515676" y="1642631"/>
                  <a:pt x="513853" y="1642631"/>
                </a:cubicBezTo>
                <a:cubicBezTo>
                  <a:pt x="515676" y="1642631"/>
                  <a:pt x="517498" y="1640809"/>
                  <a:pt x="519320" y="1640809"/>
                </a:cubicBezTo>
                <a:cubicBezTo>
                  <a:pt x="517498" y="1638987"/>
                  <a:pt x="515676" y="1638987"/>
                  <a:pt x="513853" y="1640809"/>
                </a:cubicBezTo>
                <a:cubicBezTo>
                  <a:pt x="513853" y="1640809"/>
                  <a:pt x="513853" y="1638987"/>
                  <a:pt x="513853" y="1637164"/>
                </a:cubicBezTo>
                <a:lnTo>
                  <a:pt x="519443" y="1633502"/>
                </a:lnTo>
                <a:lnTo>
                  <a:pt x="522508" y="1633064"/>
                </a:lnTo>
                <a:cubicBezTo>
                  <a:pt x="523419" y="1632153"/>
                  <a:pt x="523875" y="1630787"/>
                  <a:pt x="522964" y="1629876"/>
                </a:cubicBezTo>
                <a:lnTo>
                  <a:pt x="520651" y="1632188"/>
                </a:lnTo>
                <a:lnTo>
                  <a:pt x="522964" y="1624409"/>
                </a:lnTo>
                <a:cubicBezTo>
                  <a:pt x="521142" y="1631698"/>
                  <a:pt x="508387" y="1631698"/>
                  <a:pt x="508387" y="1640809"/>
                </a:cubicBezTo>
                <a:lnTo>
                  <a:pt x="510209" y="1640809"/>
                </a:lnTo>
                <a:cubicBezTo>
                  <a:pt x="506564" y="1645364"/>
                  <a:pt x="507475" y="1650831"/>
                  <a:pt x="508159" y="1656525"/>
                </a:cubicBezTo>
                <a:lnTo>
                  <a:pt x="508333" y="1662358"/>
                </a:lnTo>
                <a:lnTo>
                  <a:pt x="506604" y="1665128"/>
                </a:lnTo>
                <a:lnTo>
                  <a:pt x="506793" y="1664269"/>
                </a:lnTo>
                <a:cubicBezTo>
                  <a:pt x="507020" y="1660853"/>
                  <a:pt x="506565" y="1657208"/>
                  <a:pt x="504743" y="1653564"/>
                </a:cubicBezTo>
                <a:lnTo>
                  <a:pt x="493678" y="1677274"/>
                </a:lnTo>
                <a:lnTo>
                  <a:pt x="492443" y="1677480"/>
                </a:lnTo>
                <a:lnTo>
                  <a:pt x="489473" y="1678635"/>
                </a:lnTo>
                <a:lnTo>
                  <a:pt x="488343" y="1679075"/>
                </a:lnTo>
                <a:lnTo>
                  <a:pt x="488343" y="1680897"/>
                </a:lnTo>
                <a:lnTo>
                  <a:pt x="488343" y="1682719"/>
                </a:lnTo>
                <a:cubicBezTo>
                  <a:pt x="488343" y="1682719"/>
                  <a:pt x="490165" y="1682719"/>
                  <a:pt x="490165" y="1680897"/>
                </a:cubicBezTo>
                <a:lnTo>
                  <a:pt x="490165" y="1684541"/>
                </a:lnTo>
                <a:lnTo>
                  <a:pt x="485511" y="1686757"/>
                </a:lnTo>
                <a:lnTo>
                  <a:pt x="486521" y="1682719"/>
                </a:lnTo>
                <a:lnTo>
                  <a:pt x="478730" y="1689189"/>
                </a:lnTo>
                <a:lnTo>
                  <a:pt x="482876" y="1680897"/>
                </a:lnTo>
                <a:lnTo>
                  <a:pt x="479051" y="1684085"/>
                </a:lnTo>
                <a:lnTo>
                  <a:pt x="490036" y="1671075"/>
                </a:lnTo>
                <a:lnTo>
                  <a:pt x="488343" y="1675430"/>
                </a:lnTo>
                <a:cubicBezTo>
                  <a:pt x="499276" y="1668142"/>
                  <a:pt x="499276" y="1653564"/>
                  <a:pt x="504743" y="1644453"/>
                </a:cubicBezTo>
                <a:cubicBezTo>
                  <a:pt x="502920" y="1642631"/>
                  <a:pt x="502920" y="1644453"/>
                  <a:pt x="501098" y="1642631"/>
                </a:cubicBezTo>
                <a:lnTo>
                  <a:pt x="494957" y="1658422"/>
                </a:lnTo>
                <a:lnTo>
                  <a:pt x="499276" y="1638987"/>
                </a:lnTo>
                <a:cubicBezTo>
                  <a:pt x="495632" y="1640809"/>
                  <a:pt x="491987" y="1642631"/>
                  <a:pt x="491987" y="1649920"/>
                </a:cubicBezTo>
                <a:cubicBezTo>
                  <a:pt x="487431" y="1655386"/>
                  <a:pt x="482876" y="1661308"/>
                  <a:pt x="479687" y="1667686"/>
                </a:cubicBezTo>
                <a:lnTo>
                  <a:pt x="475879" y="1686727"/>
                </a:lnTo>
                <a:lnTo>
                  <a:pt x="471943" y="1690008"/>
                </a:lnTo>
                <a:lnTo>
                  <a:pt x="475564" y="1691818"/>
                </a:lnTo>
                <a:lnTo>
                  <a:pt x="473082" y="1693880"/>
                </a:lnTo>
                <a:lnTo>
                  <a:pt x="461751" y="1705638"/>
                </a:lnTo>
                <a:lnTo>
                  <a:pt x="459364" y="1705249"/>
                </a:lnTo>
                <a:lnTo>
                  <a:pt x="463516" y="1700029"/>
                </a:lnTo>
                <a:cubicBezTo>
                  <a:pt x="467388" y="1697752"/>
                  <a:pt x="471032" y="1695474"/>
                  <a:pt x="470121" y="1690008"/>
                </a:cubicBezTo>
                <a:cubicBezTo>
                  <a:pt x="466477" y="1692741"/>
                  <a:pt x="462833" y="1695019"/>
                  <a:pt x="459416" y="1697752"/>
                </a:cubicBezTo>
                <a:lnTo>
                  <a:pt x="455162" y="1702524"/>
                </a:lnTo>
                <a:lnTo>
                  <a:pt x="451900" y="1700485"/>
                </a:lnTo>
                <a:cubicBezTo>
                  <a:pt x="450533" y="1700485"/>
                  <a:pt x="449166" y="1700941"/>
                  <a:pt x="448256" y="1700941"/>
                </a:cubicBezTo>
                <a:cubicBezTo>
                  <a:pt x="448256" y="1700941"/>
                  <a:pt x="448256" y="1699118"/>
                  <a:pt x="450077" y="1699118"/>
                </a:cubicBezTo>
                <a:lnTo>
                  <a:pt x="445768" y="1701106"/>
                </a:lnTo>
                <a:lnTo>
                  <a:pt x="445237" y="1700228"/>
                </a:lnTo>
                <a:lnTo>
                  <a:pt x="443551" y="1702130"/>
                </a:lnTo>
                <a:lnTo>
                  <a:pt x="441194" y="1703218"/>
                </a:lnTo>
                <a:lnTo>
                  <a:pt x="440551" y="1707075"/>
                </a:lnTo>
                <a:lnTo>
                  <a:pt x="440340" y="1707460"/>
                </a:lnTo>
                <a:cubicBezTo>
                  <a:pt x="439258" y="1708229"/>
                  <a:pt x="437778" y="1707774"/>
                  <a:pt x="435500" y="1704585"/>
                </a:cubicBezTo>
                <a:cubicBezTo>
                  <a:pt x="439145" y="1704585"/>
                  <a:pt x="440966" y="1702763"/>
                  <a:pt x="442789" y="1700941"/>
                </a:cubicBezTo>
                <a:cubicBezTo>
                  <a:pt x="430034" y="1699118"/>
                  <a:pt x="424567" y="1713696"/>
                  <a:pt x="411812" y="1713696"/>
                </a:cubicBezTo>
                <a:cubicBezTo>
                  <a:pt x="420923" y="1710051"/>
                  <a:pt x="430034" y="1702763"/>
                  <a:pt x="428211" y="1693652"/>
                </a:cubicBezTo>
                <a:cubicBezTo>
                  <a:pt x="426389" y="1688185"/>
                  <a:pt x="419100" y="1691830"/>
                  <a:pt x="415456" y="1693652"/>
                </a:cubicBezTo>
                <a:cubicBezTo>
                  <a:pt x="426389" y="1690008"/>
                  <a:pt x="435500" y="1688185"/>
                  <a:pt x="442789" y="1682719"/>
                </a:cubicBezTo>
                <a:cubicBezTo>
                  <a:pt x="440966" y="1684541"/>
                  <a:pt x="439145" y="1684541"/>
                  <a:pt x="439145" y="1686363"/>
                </a:cubicBezTo>
                <a:cubicBezTo>
                  <a:pt x="440966" y="1686363"/>
                  <a:pt x="442789" y="1688185"/>
                  <a:pt x="444611" y="1686363"/>
                </a:cubicBezTo>
                <a:cubicBezTo>
                  <a:pt x="439145" y="1688185"/>
                  <a:pt x="446433" y="1688185"/>
                  <a:pt x="446433" y="1690008"/>
                </a:cubicBezTo>
                <a:cubicBezTo>
                  <a:pt x="448256" y="1686363"/>
                  <a:pt x="448256" y="1682719"/>
                  <a:pt x="444611" y="1680897"/>
                </a:cubicBezTo>
                <a:cubicBezTo>
                  <a:pt x="446433" y="1679075"/>
                  <a:pt x="448256" y="1677252"/>
                  <a:pt x="450077" y="1673608"/>
                </a:cubicBezTo>
                <a:cubicBezTo>
                  <a:pt x="450077" y="1675430"/>
                  <a:pt x="450077" y="1677252"/>
                  <a:pt x="450077" y="1679075"/>
                </a:cubicBezTo>
                <a:cubicBezTo>
                  <a:pt x="448256" y="1688185"/>
                  <a:pt x="457367" y="1680897"/>
                  <a:pt x="464655" y="1677252"/>
                </a:cubicBezTo>
                <a:cubicBezTo>
                  <a:pt x="464655" y="1677252"/>
                  <a:pt x="461010" y="1677252"/>
                  <a:pt x="461010" y="1677252"/>
                </a:cubicBezTo>
                <a:cubicBezTo>
                  <a:pt x="461010" y="1675430"/>
                  <a:pt x="462832" y="1677252"/>
                  <a:pt x="464655" y="1675430"/>
                </a:cubicBezTo>
                <a:cubicBezTo>
                  <a:pt x="457367" y="1669964"/>
                  <a:pt x="468299" y="1666319"/>
                  <a:pt x="464655" y="1664497"/>
                </a:cubicBezTo>
                <a:cubicBezTo>
                  <a:pt x="462832" y="1662675"/>
                  <a:pt x="462832" y="1662675"/>
                  <a:pt x="461010" y="1662675"/>
                </a:cubicBezTo>
                <a:cubicBezTo>
                  <a:pt x="468299" y="1659031"/>
                  <a:pt x="473766" y="1651742"/>
                  <a:pt x="473766" y="1644453"/>
                </a:cubicBezTo>
                <a:cubicBezTo>
                  <a:pt x="471943" y="1646275"/>
                  <a:pt x="470121" y="1646275"/>
                  <a:pt x="470121" y="1646275"/>
                </a:cubicBezTo>
                <a:cubicBezTo>
                  <a:pt x="471943" y="1644453"/>
                  <a:pt x="475589" y="1642631"/>
                  <a:pt x="475589" y="1638987"/>
                </a:cubicBezTo>
                <a:cubicBezTo>
                  <a:pt x="462832" y="1640809"/>
                  <a:pt x="461010" y="1653564"/>
                  <a:pt x="457367" y="1662675"/>
                </a:cubicBezTo>
                <a:cubicBezTo>
                  <a:pt x="453722" y="1662675"/>
                  <a:pt x="450077" y="1666319"/>
                  <a:pt x="448256" y="1669964"/>
                </a:cubicBezTo>
                <a:cubicBezTo>
                  <a:pt x="450077" y="1666319"/>
                  <a:pt x="450077" y="1664497"/>
                  <a:pt x="451899" y="1660853"/>
                </a:cubicBezTo>
                <a:cubicBezTo>
                  <a:pt x="455544" y="1662675"/>
                  <a:pt x="459188" y="1655386"/>
                  <a:pt x="459188" y="1651742"/>
                </a:cubicBezTo>
                <a:cubicBezTo>
                  <a:pt x="457367" y="1655386"/>
                  <a:pt x="453722" y="1657208"/>
                  <a:pt x="451899" y="1660853"/>
                </a:cubicBezTo>
                <a:cubicBezTo>
                  <a:pt x="453722" y="1655386"/>
                  <a:pt x="455544" y="1649920"/>
                  <a:pt x="461010" y="1642631"/>
                </a:cubicBezTo>
                <a:cubicBezTo>
                  <a:pt x="458277" y="1644453"/>
                  <a:pt x="456455" y="1646275"/>
                  <a:pt x="454405" y="1647414"/>
                </a:cubicBezTo>
                <a:lnTo>
                  <a:pt x="449583" y="1647827"/>
                </a:lnTo>
                <a:lnTo>
                  <a:pt x="452396" y="1646772"/>
                </a:lnTo>
                <a:lnTo>
                  <a:pt x="452583" y="1646731"/>
                </a:lnTo>
                <a:lnTo>
                  <a:pt x="452642" y="1646680"/>
                </a:lnTo>
                <a:lnTo>
                  <a:pt x="453722" y="1646275"/>
                </a:lnTo>
                <a:lnTo>
                  <a:pt x="453441" y="1645994"/>
                </a:lnTo>
                <a:lnTo>
                  <a:pt x="457367" y="1642631"/>
                </a:lnTo>
                <a:lnTo>
                  <a:pt x="452507" y="1645060"/>
                </a:lnTo>
                <a:lnTo>
                  <a:pt x="450760" y="1643314"/>
                </a:lnTo>
                <a:cubicBezTo>
                  <a:pt x="447800" y="1644453"/>
                  <a:pt x="443699" y="1646275"/>
                  <a:pt x="440966" y="1644453"/>
                </a:cubicBezTo>
                <a:cubicBezTo>
                  <a:pt x="440966" y="1646275"/>
                  <a:pt x="440966" y="1646275"/>
                  <a:pt x="442789" y="1648097"/>
                </a:cubicBezTo>
                <a:cubicBezTo>
                  <a:pt x="424567" y="1644453"/>
                  <a:pt x="397234" y="1646275"/>
                  <a:pt x="395412" y="1660853"/>
                </a:cubicBezTo>
                <a:cubicBezTo>
                  <a:pt x="395412" y="1666319"/>
                  <a:pt x="401335" y="1669964"/>
                  <a:pt x="408850" y="1671102"/>
                </a:cubicBezTo>
                <a:lnTo>
                  <a:pt x="421464" y="1668480"/>
                </a:lnTo>
                <a:lnTo>
                  <a:pt x="395412" y="1686363"/>
                </a:lnTo>
                <a:cubicBezTo>
                  <a:pt x="397234" y="1684541"/>
                  <a:pt x="397234" y="1684541"/>
                  <a:pt x="397234" y="1682719"/>
                </a:cubicBezTo>
                <a:cubicBezTo>
                  <a:pt x="393590" y="1686363"/>
                  <a:pt x="384479" y="1686363"/>
                  <a:pt x="380835" y="1684541"/>
                </a:cubicBezTo>
                <a:cubicBezTo>
                  <a:pt x="379012" y="1684541"/>
                  <a:pt x="382657" y="1679075"/>
                  <a:pt x="384479" y="1677252"/>
                </a:cubicBezTo>
                <a:cubicBezTo>
                  <a:pt x="384479" y="1675430"/>
                  <a:pt x="373546" y="1677252"/>
                  <a:pt x="377190" y="1675430"/>
                </a:cubicBezTo>
                <a:cubicBezTo>
                  <a:pt x="379012" y="1671786"/>
                  <a:pt x="386301" y="1679075"/>
                  <a:pt x="391768" y="1673608"/>
                </a:cubicBezTo>
                <a:cubicBezTo>
                  <a:pt x="389946" y="1671786"/>
                  <a:pt x="389946" y="1671786"/>
                  <a:pt x="389946" y="1671786"/>
                </a:cubicBezTo>
                <a:cubicBezTo>
                  <a:pt x="391768" y="1671786"/>
                  <a:pt x="393590" y="1671786"/>
                  <a:pt x="393590" y="1669964"/>
                </a:cubicBezTo>
                <a:cubicBezTo>
                  <a:pt x="391768" y="1668142"/>
                  <a:pt x="389946" y="1666319"/>
                  <a:pt x="388123" y="1668142"/>
                </a:cubicBezTo>
                <a:cubicBezTo>
                  <a:pt x="388123" y="1669964"/>
                  <a:pt x="388123" y="1669964"/>
                  <a:pt x="388123" y="1669964"/>
                </a:cubicBezTo>
                <a:cubicBezTo>
                  <a:pt x="382657" y="1666319"/>
                  <a:pt x="377190" y="1664497"/>
                  <a:pt x="368079" y="1666319"/>
                </a:cubicBezTo>
                <a:cubicBezTo>
                  <a:pt x="368079" y="1662675"/>
                  <a:pt x="375368" y="1664497"/>
                  <a:pt x="377190" y="1662675"/>
                </a:cubicBezTo>
                <a:cubicBezTo>
                  <a:pt x="377190" y="1659031"/>
                  <a:pt x="375368" y="1657208"/>
                  <a:pt x="373546" y="1657208"/>
                </a:cubicBezTo>
                <a:cubicBezTo>
                  <a:pt x="373546" y="1657208"/>
                  <a:pt x="373546" y="1655386"/>
                  <a:pt x="373546" y="1655386"/>
                </a:cubicBezTo>
                <a:cubicBezTo>
                  <a:pt x="375368" y="1655386"/>
                  <a:pt x="379012" y="1660853"/>
                  <a:pt x="382657" y="1657208"/>
                </a:cubicBezTo>
                <a:cubicBezTo>
                  <a:pt x="377190" y="1649920"/>
                  <a:pt x="368079" y="1649920"/>
                  <a:pt x="362613" y="1657208"/>
                </a:cubicBezTo>
                <a:cubicBezTo>
                  <a:pt x="364435" y="1657208"/>
                  <a:pt x="368079" y="1655386"/>
                  <a:pt x="369902" y="1657208"/>
                </a:cubicBezTo>
                <a:cubicBezTo>
                  <a:pt x="366257" y="1657208"/>
                  <a:pt x="360791" y="1660853"/>
                  <a:pt x="357146" y="1660853"/>
                </a:cubicBezTo>
                <a:cubicBezTo>
                  <a:pt x="360791" y="1649920"/>
                  <a:pt x="362613" y="1655386"/>
                  <a:pt x="371724" y="1651742"/>
                </a:cubicBezTo>
                <a:cubicBezTo>
                  <a:pt x="369902" y="1648097"/>
                  <a:pt x="371724" y="1646275"/>
                  <a:pt x="368079" y="1644453"/>
                </a:cubicBezTo>
                <a:cubicBezTo>
                  <a:pt x="369902" y="1644453"/>
                  <a:pt x="371724" y="1644453"/>
                  <a:pt x="375368" y="1644453"/>
                </a:cubicBezTo>
                <a:cubicBezTo>
                  <a:pt x="375368" y="1646275"/>
                  <a:pt x="373546" y="1644453"/>
                  <a:pt x="371724" y="1646275"/>
                </a:cubicBezTo>
                <a:cubicBezTo>
                  <a:pt x="373546" y="1648097"/>
                  <a:pt x="375368" y="1649920"/>
                  <a:pt x="377190" y="1651742"/>
                </a:cubicBezTo>
                <a:cubicBezTo>
                  <a:pt x="382657" y="1649920"/>
                  <a:pt x="384479" y="1644453"/>
                  <a:pt x="388123" y="1642631"/>
                </a:cubicBezTo>
                <a:cubicBezTo>
                  <a:pt x="384479" y="1644453"/>
                  <a:pt x="379012" y="1642631"/>
                  <a:pt x="375368" y="1638987"/>
                </a:cubicBezTo>
                <a:cubicBezTo>
                  <a:pt x="379012" y="1640809"/>
                  <a:pt x="382657" y="1642631"/>
                  <a:pt x="386301" y="1640809"/>
                </a:cubicBezTo>
                <a:cubicBezTo>
                  <a:pt x="384479" y="1637164"/>
                  <a:pt x="380835" y="1635342"/>
                  <a:pt x="379012" y="1631698"/>
                </a:cubicBezTo>
                <a:cubicBezTo>
                  <a:pt x="379012" y="1631698"/>
                  <a:pt x="380835" y="1629876"/>
                  <a:pt x="382657" y="1631698"/>
                </a:cubicBezTo>
                <a:cubicBezTo>
                  <a:pt x="380835" y="1629876"/>
                  <a:pt x="377190" y="1626231"/>
                  <a:pt x="373546" y="1624409"/>
                </a:cubicBezTo>
                <a:cubicBezTo>
                  <a:pt x="382657" y="1631698"/>
                  <a:pt x="393590" y="1624409"/>
                  <a:pt x="395412" y="1635342"/>
                </a:cubicBezTo>
                <a:cubicBezTo>
                  <a:pt x="395412" y="1635342"/>
                  <a:pt x="397234" y="1633520"/>
                  <a:pt x="397234" y="1633520"/>
                </a:cubicBezTo>
                <a:cubicBezTo>
                  <a:pt x="399056" y="1635342"/>
                  <a:pt x="400879" y="1637164"/>
                  <a:pt x="404523" y="1635342"/>
                </a:cubicBezTo>
                <a:cubicBezTo>
                  <a:pt x="402701" y="1635342"/>
                  <a:pt x="400879" y="1629876"/>
                  <a:pt x="399056" y="1629876"/>
                </a:cubicBezTo>
                <a:cubicBezTo>
                  <a:pt x="399056" y="1631698"/>
                  <a:pt x="397234" y="1631698"/>
                  <a:pt x="397234" y="1631698"/>
                </a:cubicBezTo>
                <a:cubicBezTo>
                  <a:pt x="398145" y="1629876"/>
                  <a:pt x="396323" y="1627143"/>
                  <a:pt x="395184" y="1624637"/>
                </a:cubicBezTo>
                <a:lnTo>
                  <a:pt x="396752" y="1620282"/>
                </a:lnTo>
                <a:lnTo>
                  <a:pt x="397234" y="1620764"/>
                </a:lnTo>
                <a:lnTo>
                  <a:pt x="397234" y="1623270"/>
                </a:lnTo>
                <a:cubicBezTo>
                  <a:pt x="396779" y="1625776"/>
                  <a:pt x="397234" y="1628053"/>
                  <a:pt x="402701" y="1626231"/>
                </a:cubicBezTo>
                <a:lnTo>
                  <a:pt x="397234" y="1620764"/>
                </a:lnTo>
                <a:lnTo>
                  <a:pt x="397234" y="1618943"/>
                </a:lnTo>
                <a:lnTo>
                  <a:pt x="396752" y="1620282"/>
                </a:lnTo>
                <a:lnTo>
                  <a:pt x="387759" y="1611290"/>
                </a:lnTo>
                <a:lnTo>
                  <a:pt x="388998" y="1610980"/>
                </a:lnTo>
                <a:lnTo>
                  <a:pt x="397006" y="1614387"/>
                </a:lnTo>
                <a:cubicBezTo>
                  <a:pt x="399967" y="1616210"/>
                  <a:pt x="402701" y="1618032"/>
                  <a:pt x="406345" y="1618943"/>
                </a:cubicBezTo>
                <a:lnTo>
                  <a:pt x="391207" y="1610427"/>
                </a:lnTo>
                <a:lnTo>
                  <a:pt x="393590" y="1609832"/>
                </a:lnTo>
                <a:cubicBezTo>
                  <a:pt x="393590" y="1604365"/>
                  <a:pt x="388123" y="1609832"/>
                  <a:pt x="389946" y="1606188"/>
                </a:cubicBezTo>
                <a:cubicBezTo>
                  <a:pt x="388123" y="1608010"/>
                  <a:pt x="384479" y="1611654"/>
                  <a:pt x="379012" y="1613476"/>
                </a:cubicBezTo>
                <a:lnTo>
                  <a:pt x="380107" y="1613202"/>
                </a:lnTo>
                <a:lnTo>
                  <a:pt x="369902" y="1618943"/>
                </a:lnTo>
                <a:cubicBezTo>
                  <a:pt x="371724" y="1617121"/>
                  <a:pt x="371724" y="1615298"/>
                  <a:pt x="373546" y="1613476"/>
                </a:cubicBezTo>
                <a:cubicBezTo>
                  <a:pt x="369902" y="1615298"/>
                  <a:pt x="369902" y="1617121"/>
                  <a:pt x="366257" y="1618943"/>
                </a:cubicBezTo>
                <a:cubicBezTo>
                  <a:pt x="371724" y="1618943"/>
                  <a:pt x="373546" y="1618943"/>
                  <a:pt x="373546" y="1624409"/>
                </a:cubicBezTo>
                <a:cubicBezTo>
                  <a:pt x="369902" y="1622587"/>
                  <a:pt x="368079" y="1618943"/>
                  <a:pt x="364435" y="1624409"/>
                </a:cubicBezTo>
                <a:cubicBezTo>
                  <a:pt x="362613" y="1620765"/>
                  <a:pt x="368079" y="1620765"/>
                  <a:pt x="366257" y="1617121"/>
                </a:cubicBezTo>
                <a:cubicBezTo>
                  <a:pt x="366257" y="1620765"/>
                  <a:pt x="360791" y="1622587"/>
                  <a:pt x="357146" y="1620765"/>
                </a:cubicBezTo>
                <a:cubicBezTo>
                  <a:pt x="358969" y="1618943"/>
                  <a:pt x="358969" y="1618943"/>
                  <a:pt x="358969" y="1617121"/>
                </a:cubicBezTo>
                <a:cubicBezTo>
                  <a:pt x="362613" y="1618943"/>
                  <a:pt x="366257" y="1617121"/>
                  <a:pt x="369902" y="1615298"/>
                </a:cubicBezTo>
                <a:cubicBezTo>
                  <a:pt x="371724" y="1613476"/>
                  <a:pt x="368079" y="1613476"/>
                  <a:pt x="369902" y="1611654"/>
                </a:cubicBezTo>
                <a:cubicBezTo>
                  <a:pt x="366257" y="1613476"/>
                  <a:pt x="362613" y="1615298"/>
                  <a:pt x="358969" y="1617121"/>
                </a:cubicBezTo>
                <a:cubicBezTo>
                  <a:pt x="358969" y="1613476"/>
                  <a:pt x="357146" y="1611654"/>
                  <a:pt x="364435" y="1609832"/>
                </a:cubicBezTo>
                <a:cubicBezTo>
                  <a:pt x="353502" y="1598899"/>
                  <a:pt x="346213" y="1617121"/>
                  <a:pt x="335280" y="1618943"/>
                </a:cubicBezTo>
                <a:cubicBezTo>
                  <a:pt x="337102" y="1618943"/>
                  <a:pt x="337102" y="1618943"/>
                  <a:pt x="338926" y="1617121"/>
                </a:cubicBezTo>
                <a:cubicBezTo>
                  <a:pt x="333458" y="1618943"/>
                  <a:pt x="329814" y="1624409"/>
                  <a:pt x="324347" y="1618943"/>
                </a:cubicBezTo>
                <a:cubicBezTo>
                  <a:pt x="329814" y="1617121"/>
                  <a:pt x="337102" y="1615298"/>
                  <a:pt x="340747" y="1611654"/>
                </a:cubicBezTo>
                <a:cubicBezTo>
                  <a:pt x="333458" y="1611654"/>
                  <a:pt x="327080" y="1615754"/>
                  <a:pt x="320702" y="1619398"/>
                </a:cubicBezTo>
                <a:lnTo>
                  <a:pt x="309771" y="1622131"/>
                </a:lnTo>
                <a:lnTo>
                  <a:pt x="318882" y="1617121"/>
                </a:lnTo>
                <a:lnTo>
                  <a:pt x="315236" y="1617121"/>
                </a:lnTo>
                <a:cubicBezTo>
                  <a:pt x="319792" y="1618032"/>
                  <a:pt x="323436" y="1617121"/>
                  <a:pt x="326852" y="1615526"/>
                </a:cubicBezTo>
                <a:lnTo>
                  <a:pt x="334830" y="1611094"/>
                </a:lnTo>
                <a:lnTo>
                  <a:pt x="324347" y="1613278"/>
                </a:lnTo>
                <a:cubicBezTo>
                  <a:pt x="318880" y="1614872"/>
                  <a:pt x="313414" y="1616239"/>
                  <a:pt x="307947" y="1615328"/>
                </a:cubicBezTo>
                <a:cubicBezTo>
                  <a:pt x="309769" y="1613506"/>
                  <a:pt x="311592" y="1613506"/>
                  <a:pt x="315236" y="1613506"/>
                </a:cubicBezTo>
                <a:cubicBezTo>
                  <a:pt x="313414" y="1611683"/>
                  <a:pt x="311592" y="1611683"/>
                  <a:pt x="307947" y="1611683"/>
                </a:cubicBezTo>
                <a:cubicBezTo>
                  <a:pt x="315236" y="1609862"/>
                  <a:pt x="324347" y="1615328"/>
                  <a:pt x="329813" y="1609862"/>
                </a:cubicBezTo>
                <a:cubicBezTo>
                  <a:pt x="329813" y="1606218"/>
                  <a:pt x="327991" y="1604396"/>
                  <a:pt x="327991" y="1600751"/>
                </a:cubicBezTo>
                <a:lnTo>
                  <a:pt x="337032" y="1607208"/>
                </a:lnTo>
                <a:lnTo>
                  <a:pt x="346213" y="1606188"/>
                </a:lnTo>
                <a:cubicBezTo>
                  <a:pt x="337102" y="1600721"/>
                  <a:pt x="329814" y="1591610"/>
                  <a:pt x="317059" y="1591610"/>
                </a:cubicBezTo>
                <a:cubicBezTo>
                  <a:pt x="318882" y="1586144"/>
                  <a:pt x="326169" y="1595255"/>
                  <a:pt x="327993" y="1587966"/>
                </a:cubicBezTo>
                <a:cubicBezTo>
                  <a:pt x="322525" y="1589788"/>
                  <a:pt x="318882" y="1587966"/>
                  <a:pt x="313414" y="1587966"/>
                </a:cubicBezTo>
                <a:cubicBezTo>
                  <a:pt x="313414" y="1589788"/>
                  <a:pt x="313414" y="1589788"/>
                  <a:pt x="315236" y="1591610"/>
                </a:cubicBezTo>
                <a:cubicBezTo>
                  <a:pt x="307948" y="1584321"/>
                  <a:pt x="295193" y="1584321"/>
                  <a:pt x="286082" y="1580677"/>
                </a:cubicBezTo>
                <a:cubicBezTo>
                  <a:pt x="289726" y="1580677"/>
                  <a:pt x="293370" y="1578855"/>
                  <a:pt x="295193" y="1580677"/>
                </a:cubicBezTo>
                <a:cubicBezTo>
                  <a:pt x="295193" y="1578855"/>
                  <a:pt x="295193" y="1578855"/>
                  <a:pt x="293370" y="1577033"/>
                </a:cubicBezTo>
                <a:cubicBezTo>
                  <a:pt x="306126" y="1587966"/>
                  <a:pt x="318882" y="1586144"/>
                  <a:pt x="333458" y="1587966"/>
                </a:cubicBezTo>
                <a:cubicBezTo>
                  <a:pt x="329814" y="1577033"/>
                  <a:pt x="313414" y="1578855"/>
                  <a:pt x="315236" y="1566100"/>
                </a:cubicBezTo>
                <a:cubicBezTo>
                  <a:pt x="326169" y="1571566"/>
                  <a:pt x="333458" y="1584321"/>
                  <a:pt x="346213" y="1587966"/>
                </a:cubicBezTo>
                <a:cubicBezTo>
                  <a:pt x="346213" y="1587966"/>
                  <a:pt x="346213" y="1586144"/>
                  <a:pt x="348037" y="1584321"/>
                </a:cubicBezTo>
                <a:cubicBezTo>
                  <a:pt x="346213" y="1584321"/>
                  <a:pt x="346213" y="1584321"/>
                  <a:pt x="342569" y="1584321"/>
                </a:cubicBezTo>
                <a:cubicBezTo>
                  <a:pt x="344391" y="1584321"/>
                  <a:pt x="344391" y="1584321"/>
                  <a:pt x="346213" y="1582499"/>
                </a:cubicBezTo>
                <a:cubicBezTo>
                  <a:pt x="338926" y="1582499"/>
                  <a:pt x="337102" y="1575211"/>
                  <a:pt x="335280" y="1569744"/>
                </a:cubicBezTo>
                <a:cubicBezTo>
                  <a:pt x="331636" y="1564278"/>
                  <a:pt x="337102" y="1569744"/>
                  <a:pt x="338926" y="1567922"/>
                </a:cubicBezTo>
                <a:cubicBezTo>
                  <a:pt x="338926" y="1558811"/>
                  <a:pt x="327993" y="1558811"/>
                  <a:pt x="326169" y="1549700"/>
                </a:cubicBezTo>
                <a:cubicBezTo>
                  <a:pt x="327993" y="1551522"/>
                  <a:pt x="329814" y="1555167"/>
                  <a:pt x="331636" y="1553345"/>
                </a:cubicBezTo>
                <a:cubicBezTo>
                  <a:pt x="333458" y="1551522"/>
                  <a:pt x="333458" y="1551522"/>
                  <a:pt x="333458" y="1549700"/>
                </a:cubicBezTo>
                <a:lnTo>
                  <a:pt x="350970" y="1563126"/>
                </a:lnTo>
                <a:lnTo>
                  <a:pt x="355979" y="1574356"/>
                </a:lnTo>
                <a:cubicBezTo>
                  <a:pt x="365119" y="1585460"/>
                  <a:pt x="382201" y="1588877"/>
                  <a:pt x="397234" y="1586144"/>
                </a:cubicBezTo>
                <a:cubicBezTo>
                  <a:pt x="394501" y="1582499"/>
                  <a:pt x="390401" y="1580222"/>
                  <a:pt x="386073" y="1578399"/>
                </a:cubicBezTo>
                <a:lnTo>
                  <a:pt x="385871" y="1578318"/>
                </a:lnTo>
                <a:lnTo>
                  <a:pt x="393590" y="1580677"/>
                </a:lnTo>
                <a:cubicBezTo>
                  <a:pt x="394501" y="1580677"/>
                  <a:pt x="393590" y="1577944"/>
                  <a:pt x="392452" y="1574527"/>
                </a:cubicBezTo>
                <a:lnTo>
                  <a:pt x="389958" y="1564327"/>
                </a:lnTo>
                <a:lnTo>
                  <a:pt x="389976" y="1564328"/>
                </a:lnTo>
                <a:lnTo>
                  <a:pt x="395412" y="1573388"/>
                </a:lnTo>
                <a:cubicBezTo>
                  <a:pt x="397234" y="1573388"/>
                  <a:pt x="398145" y="1574754"/>
                  <a:pt x="399056" y="1575894"/>
                </a:cubicBezTo>
                <a:lnTo>
                  <a:pt x="399271" y="1575961"/>
                </a:lnTo>
                <a:lnTo>
                  <a:pt x="402701" y="1577033"/>
                </a:lnTo>
                <a:cubicBezTo>
                  <a:pt x="404523" y="1575211"/>
                  <a:pt x="402701" y="1575211"/>
                  <a:pt x="402701" y="1571566"/>
                </a:cubicBezTo>
                <a:cubicBezTo>
                  <a:pt x="402701" y="1573388"/>
                  <a:pt x="399056" y="1573388"/>
                  <a:pt x="399056" y="1573388"/>
                </a:cubicBezTo>
                <a:cubicBezTo>
                  <a:pt x="397234" y="1571566"/>
                  <a:pt x="399056" y="1567922"/>
                  <a:pt x="399056" y="1566100"/>
                </a:cubicBezTo>
                <a:cubicBezTo>
                  <a:pt x="406345" y="1577033"/>
                  <a:pt x="415456" y="1562455"/>
                  <a:pt x="428211" y="1558811"/>
                </a:cubicBezTo>
                <a:cubicBezTo>
                  <a:pt x="419100" y="1560633"/>
                  <a:pt x="408167" y="1560633"/>
                  <a:pt x="399056" y="1558811"/>
                </a:cubicBezTo>
                <a:cubicBezTo>
                  <a:pt x="390856" y="1564278"/>
                  <a:pt x="397006" y="1564619"/>
                  <a:pt x="394444" y="1564449"/>
                </a:cubicBezTo>
                <a:lnTo>
                  <a:pt x="389976" y="1564328"/>
                </a:lnTo>
                <a:lnTo>
                  <a:pt x="389946" y="1564278"/>
                </a:lnTo>
                <a:lnTo>
                  <a:pt x="389958" y="1564327"/>
                </a:lnTo>
                <a:lnTo>
                  <a:pt x="388123" y="1564278"/>
                </a:lnTo>
                <a:cubicBezTo>
                  <a:pt x="377190" y="1564278"/>
                  <a:pt x="377190" y="1562455"/>
                  <a:pt x="369902" y="1560633"/>
                </a:cubicBezTo>
                <a:cubicBezTo>
                  <a:pt x="369902" y="1560633"/>
                  <a:pt x="368079" y="1560633"/>
                  <a:pt x="366257" y="1562455"/>
                </a:cubicBezTo>
                <a:cubicBezTo>
                  <a:pt x="366257" y="1560633"/>
                  <a:pt x="366257" y="1558811"/>
                  <a:pt x="366257" y="1558811"/>
                </a:cubicBezTo>
                <a:cubicBezTo>
                  <a:pt x="364435" y="1558811"/>
                  <a:pt x="362613" y="1556989"/>
                  <a:pt x="358969" y="1556989"/>
                </a:cubicBezTo>
                <a:cubicBezTo>
                  <a:pt x="358969" y="1555167"/>
                  <a:pt x="360791" y="1553345"/>
                  <a:pt x="360791" y="1551522"/>
                </a:cubicBezTo>
                <a:lnTo>
                  <a:pt x="357544" y="1546884"/>
                </a:lnTo>
                <a:lnTo>
                  <a:pt x="362613" y="1549700"/>
                </a:lnTo>
                <a:cubicBezTo>
                  <a:pt x="362613" y="1547878"/>
                  <a:pt x="362613" y="1547878"/>
                  <a:pt x="362613" y="1547878"/>
                </a:cubicBezTo>
                <a:cubicBezTo>
                  <a:pt x="362613" y="1546056"/>
                  <a:pt x="364435" y="1544234"/>
                  <a:pt x="364435" y="1542412"/>
                </a:cubicBezTo>
                <a:cubicBezTo>
                  <a:pt x="362613" y="1540589"/>
                  <a:pt x="358969" y="1540589"/>
                  <a:pt x="357146" y="1538767"/>
                </a:cubicBezTo>
                <a:cubicBezTo>
                  <a:pt x="358969" y="1538767"/>
                  <a:pt x="362613" y="1540589"/>
                  <a:pt x="364435" y="1540589"/>
                </a:cubicBezTo>
                <a:cubicBezTo>
                  <a:pt x="366257" y="1540589"/>
                  <a:pt x="366257" y="1538767"/>
                  <a:pt x="366257" y="1538767"/>
                </a:cubicBezTo>
                <a:cubicBezTo>
                  <a:pt x="364435" y="1535123"/>
                  <a:pt x="362613" y="1529656"/>
                  <a:pt x="362613" y="1526012"/>
                </a:cubicBezTo>
                <a:cubicBezTo>
                  <a:pt x="364435" y="1529656"/>
                  <a:pt x="366257" y="1533301"/>
                  <a:pt x="368079" y="1536945"/>
                </a:cubicBezTo>
                <a:cubicBezTo>
                  <a:pt x="369902" y="1535123"/>
                  <a:pt x="371724" y="1533301"/>
                  <a:pt x="373546" y="1529656"/>
                </a:cubicBezTo>
                <a:cubicBezTo>
                  <a:pt x="371724" y="1529656"/>
                  <a:pt x="371724" y="1527834"/>
                  <a:pt x="369902" y="1526012"/>
                </a:cubicBezTo>
                <a:cubicBezTo>
                  <a:pt x="379012" y="1526012"/>
                  <a:pt x="386301" y="1527834"/>
                  <a:pt x="391768" y="1520545"/>
                </a:cubicBezTo>
                <a:cubicBezTo>
                  <a:pt x="397234" y="1509612"/>
                  <a:pt x="382657" y="1507790"/>
                  <a:pt x="375368" y="1511434"/>
                </a:cubicBezTo>
                <a:cubicBezTo>
                  <a:pt x="375368" y="1505968"/>
                  <a:pt x="379012" y="1505968"/>
                  <a:pt x="380835" y="1504146"/>
                </a:cubicBezTo>
                <a:cubicBezTo>
                  <a:pt x="379012" y="1504146"/>
                  <a:pt x="379012" y="1504146"/>
                  <a:pt x="375368" y="1504146"/>
                </a:cubicBezTo>
                <a:cubicBezTo>
                  <a:pt x="380835" y="1502324"/>
                  <a:pt x="380835" y="1500501"/>
                  <a:pt x="384479" y="1498679"/>
                </a:cubicBezTo>
                <a:lnTo>
                  <a:pt x="348797" y="1504710"/>
                </a:lnTo>
                <a:lnTo>
                  <a:pt x="340519" y="1503463"/>
                </a:lnTo>
                <a:cubicBezTo>
                  <a:pt x="334369" y="1503690"/>
                  <a:pt x="327991" y="1505057"/>
                  <a:pt x="322525" y="1507790"/>
                </a:cubicBezTo>
                <a:lnTo>
                  <a:pt x="331475" y="1508813"/>
                </a:lnTo>
                <a:lnTo>
                  <a:pt x="291549" y="1526012"/>
                </a:lnTo>
                <a:cubicBezTo>
                  <a:pt x="297015" y="1516901"/>
                  <a:pt x="307948" y="1518723"/>
                  <a:pt x="313414" y="1509612"/>
                </a:cubicBezTo>
                <a:cubicBezTo>
                  <a:pt x="309771" y="1511434"/>
                  <a:pt x="306126" y="1511434"/>
                  <a:pt x="302481" y="1511434"/>
                </a:cubicBezTo>
                <a:cubicBezTo>
                  <a:pt x="307948" y="1511434"/>
                  <a:pt x="313414" y="1509612"/>
                  <a:pt x="317059" y="1507790"/>
                </a:cubicBezTo>
                <a:cubicBezTo>
                  <a:pt x="311592" y="1505968"/>
                  <a:pt x="306126" y="1504146"/>
                  <a:pt x="298837" y="1502324"/>
                </a:cubicBezTo>
                <a:lnTo>
                  <a:pt x="300640" y="1502324"/>
                </a:lnTo>
                <a:lnTo>
                  <a:pt x="297014" y="1496886"/>
                </a:lnTo>
                <a:lnTo>
                  <a:pt x="303811" y="1502324"/>
                </a:lnTo>
                <a:lnTo>
                  <a:pt x="309771" y="1502324"/>
                </a:lnTo>
                <a:cubicBezTo>
                  <a:pt x="307948" y="1500501"/>
                  <a:pt x="306126" y="1498679"/>
                  <a:pt x="304303" y="1496857"/>
                </a:cubicBezTo>
                <a:cubicBezTo>
                  <a:pt x="307948" y="1498679"/>
                  <a:pt x="311592" y="1498679"/>
                  <a:pt x="315236" y="1500501"/>
                </a:cubicBezTo>
                <a:cubicBezTo>
                  <a:pt x="320703" y="1502324"/>
                  <a:pt x="324347" y="1498679"/>
                  <a:pt x="329814" y="1498679"/>
                </a:cubicBezTo>
                <a:cubicBezTo>
                  <a:pt x="346213" y="1498679"/>
                  <a:pt x="366257" y="1504146"/>
                  <a:pt x="384479" y="1495035"/>
                </a:cubicBezTo>
                <a:cubicBezTo>
                  <a:pt x="380835" y="1495035"/>
                  <a:pt x="379012" y="1496857"/>
                  <a:pt x="377190" y="1493213"/>
                </a:cubicBezTo>
                <a:cubicBezTo>
                  <a:pt x="377190" y="1491391"/>
                  <a:pt x="380835" y="1491391"/>
                  <a:pt x="380835" y="1491391"/>
                </a:cubicBezTo>
                <a:cubicBezTo>
                  <a:pt x="380835" y="1487746"/>
                  <a:pt x="379012" y="1485924"/>
                  <a:pt x="377190" y="1484102"/>
                </a:cubicBezTo>
                <a:cubicBezTo>
                  <a:pt x="382657" y="1482280"/>
                  <a:pt x="386301" y="1489568"/>
                  <a:pt x="389946" y="1485924"/>
                </a:cubicBezTo>
                <a:cubicBezTo>
                  <a:pt x="388123" y="1485924"/>
                  <a:pt x="388123" y="1484102"/>
                  <a:pt x="386301" y="1482280"/>
                </a:cubicBezTo>
                <a:cubicBezTo>
                  <a:pt x="393590" y="1484102"/>
                  <a:pt x="397234" y="1491391"/>
                  <a:pt x="404523" y="1485924"/>
                </a:cubicBezTo>
                <a:cubicBezTo>
                  <a:pt x="399056" y="1485924"/>
                  <a:pt x="397234" y="1482280"/>
                  <a:pt x="395412" y="1478635"/>
                </a:cubicBezTo>
                <a:cubicBezTo>
                  <a:pt x="399056" y="1480458"/>
                  <a:pt x="400879" y="1480458"/>
                  <a:pt x="404523" y="1478635"/>
                </a:cubicBezTo>
                <a:lnTo>
                  <a:pt x="382667" y="1476251"/>
                </a:lnTo>
                <a:lnTo>
                  <a:pt x="393590" y="1471347"/>
                </a:lnTo>
                <a:cubicBezTo>
                  <a:pt x="386301" y="1473169"/>
                  <a:pt x="371724" y="1469525"/>
                  <a:pt x="369902" y="1478635"/>
                </a:cubicBezTo>
                <a:lnTo>
                  <a:pt x="370697" y="1478491"/>
                </a:lnTo>
                <a:lnTo>
                  <a:pt x="351680" y="1484102"/>
                </a:lnTo>
                <a:cubicBezTo>
                  <a:pt x="353502" y="1484102"/>
                  <a:pt x="353502" y="1484102"/>
                  <a:pt x="355324" y="1482280"/>
                </a:cubicBezTo>
                <a:cubicBezTo>
                  <a:pt x="338926" y="1474991"/>
                  <a:pt x="326169" y="1491391"/>
                  <a:pt x="309771" y="1489568"/>
                </a:cubicBezTo>
                <a:cubicBezTo>
                  <a:pt x="313414" y="1489568"/>
                  <a:pt x="318882" y="1489568"/>
                  <a:pt x="320703" y="1485924"/>
                </a:cubicBezTo>
                <a:cubicBezTo>
                  <a:pt x="317059" y="1485924"/>
                  <a:pt x="317059" y="1484102"/>
                  <a:pt x="315236" y="1482280"/>
                </a:cubicBezTo>
                <a:cubicBezTo>
                  <a:pt x="327993" y="1487746"/>
                  <a:pt x="338926" y="1480458"/>
                  <a:pt x="349858" y="1476813"/>
                </a:cubicBezTo>
                <a:cubicBezTo>
                  <a:pt x="346213" y="1473169"/>
                  <a:pt x="340747" y="1474991"/>
                  <a:pt x="337102" y="1473169"/>
                </a:cubicBezTo>
                <a:cubicBezTo>
                  <a:pt x="338926" y="1473169"/>
                  <a:pt x="342569" y="1474991"/>
                  <a:pt x="342569" y="1471347"/>
                </a:cubicBezTo>
                <a:cubicBezTo>
                  <a:pt x="342569" y="1471347"/>
                  <a:pt x="340747" y="1469525"/>
                  <a:pt x="340747" y="1469525"/>
                </a:cubicBezTo>
                <a:cubicBezTo>
                  <a:pt x="342569" y="1471347"/>
                  <a:pt x="344391" y="1471347"/>
                  <a:pt x="346213" y="1471347"/>
                </a:cubicBezTo>
                <a:cubicBezTo>
                  <a:pt x="349858" y="1467702"/>
                  <a:pt x="342569" y="1465880"/>
                  <a:pt x="344391" y="1462236"/>
                </a:cubicBezTo>
                <a:cubicBezTo>
                  <a:pt x="346213" y="1469525"/>
                  <a:pt x="355324" y="1478635"/>
                  <a:pt x="364435" y="1473169"/>
                </a:cubicBezTo>
                <a:cubicBezTo>
                  <a:pt x="362613" y="1474991"/>
                  <a:pt x="360791" y="1476813"/>
                  <a:pt x="357146" y="1476813"/>
                </a:cubicBezTo>
                <a:cubicBezTo>
                  <a:pt x="364435" y="1480458"/>
                  <a:pt x="364435" y="1471347"/>
                  <a:pt x="368079" y="1469525"/>
                </a:cubicBezTo>
                <a:cubicBezTo>
                  <a:pt x="364435" y="1469525"/>
                  <a:pt x="364435" y="1467702"/>
                  <a:pt x="360791" y="1467702"/>
                </a:cubicBezTo>
                <a:cubicBezTo>
                  <a:pt x="369902" y="1469525"/>
                  <a:pt x="382657" y="1471347"/>
                  <a:pt x="380835" y="1462236"/>
                </a:cubicBezTo>
                <a:cubicBezTo>
                  <a:pt x="379012" y="1453125"/>
                  <a:pt x="362613" y="1458592"/>
                  <a:pt x="351680" y="1460414"/>
                </a:cubicBezTo>
                <a:cubicBezTo>
                  <a:pt x="357146" y="1460414"/>
                  <a:pt x="360791" y="1453125"/>
                  <a:pt x="368079" y="1454947"/>
                </a:cubicBezTo>
                <a:cubicBezTo>
                  <a:pt x="366257" y="1445836"/>
                  <a:pt x="353502" y="1447658"/>
                  <a:pt x="353502" y="1438548"/>
                </a:cubicBezTo>
                <a:cubicBezTo>
                  <a:pt x="369902" y="1447658"/>
                  <a:pt x="384479" y="1462236"/>
                  <a:pt x="404523" y="1462236"/>
                </a:cubicBezTo>
                <a:cubicBezTo>
                  <a:pt x="400879" y="1460414"/>
                  <a:pt x="399056" y="1456769"/>
                  <a:pt x="397234" y="1453125"/>
                </a:cubicBezTo>
                <a:cubicBezTo>
                  <a:pt x="399056" y="1453125"/>
                  <a:pt x="402701" y="1453125"/>
                  <a:pt x="406345" y="1453125"/>
                </a:cubicBezTo>
                <a:cubicBezTo>
                  <a:pt x="404523" y="1453125"/>
                  <a:pt x="402701" y="1449481"/>
                  <a:pt x="399056" y="1449481"/>
                </a:cubicBezTo>
                <a:cubicBezTo>
                  <a:pt x="404523" y="1449481"/>
                  <a:pt x="409989" y="1451303"/>
                  <a:pt x="413634" y="1447658"/>
                </a:cubicBezTo>
                <a:cubicBezTo>
                  <a:pt x="409989" y="1444014"/>
                  <a:pt x="400879" y="1445836"/>
                  <a:pt x="397234" y="1438548"/>
                </a:cubicBezTo>
                <a:cubicBezTo>
                  <a:pt x="404523" y="1440370"/>
                  <a:pt x="408167" y="1436725"/>
                  <a:pt x="413634" y="1436725"/>
                </a:cubicBezTo>
                <a:cubicBezTo>
                  <a:pt x="411812" y="1436725"/>
                  <a:pt x="411812" y="1434903"/>
                  <a:pt x="409989" y="1433081"/>
                </a:cubicBezTo>
                <a:cubicBezTo>
                  <a:pt x="409989" y="1434903"/>
                  <a:pt x="411812" y="1433081"/>
                  <a:pt x="413634" y="1434903"/>
                </a:cubicBezTo>
                <a:cubicBezTo>
                  <a:pt x="408167" y="1429437"/>
                  <a:pt x="402701" y="1425792"/>
                  <a:pt x="395412" y="1423970"/>
                </a:cubicBezTo>
                <a:cubicBezTo>
                  <a:pt x="397234" y="1423970"/>
                  <a:pt x="399056" y="1423970"/>
                  <a:pt x="400879" y="1423970"/>
                </a:cubicBezTo>
                <a:cubicBezTo>
                  <a:pt x="391768" y="1416681"/>
                  <a:pt x="380835" y="1414859"/>
                  <a:pt x="368079" y="1414859"/>
                </a:cubicBezTo>
                <a:cubicBezTo>
                  <a:pt x="375368" y="1418504"/>
                  <a:pt x="382657" y="1422148"/>
                  <a:pt x="389946" y="1423970"/>
                </a:cubicBezTo>
                <a:cubicBezTo>
                  <a:pt x="380835" y="1423970"/>
                  <a:pt x="371724" y="1425792"/>
                  <a:pt x="364435" y="1431259"/>
                </a:cubicBezTo>
                <a:cubicBezTo>
                  <a:pt x="360791" y="1431259"/>
                  <a:pt x="357146" y="1429437"/>
                  <a:pt x="353502" y="1429437"/>
                </a:cubicBezTo>
                <a:cubicBezTo>
                  <a:pt x="362613" y="1429437"/>
                  <a:pt x="369902" y="1425792"/>
                  <a:pt x="377190" y="1422148"/>
                </a:cubicBezTo>
                <a:cubicBezTo>
                  <a:pt x="360791" y="1409393"/>
                  <a:pt x="340747" y="1405748"/>
                  <a:pt x="329814" y="1389349"/>
                </a:cubicBezTo>
                <a:cubicBezTo>
                  <a:pt x="335280" y="1391171"/>
                  <a:pt x="340747" y="1396638"/>
                  <a:pt x="346213" y="1400282"/>
                </a:cubicBezTo>
                <a:cubicBezTo>
                  <a:pt x="342569" y="1392993"/>
                  <a:pt x="333458" y="1391171"/>
                  <a:pt x="329814" y="1383882"/>
                </a:cubicBezTo>
                <a:cubicBezTo>
                  <a:pt x="342569" y="1391171"/>
                  <a:pt x="351680" y="1413037"/>
                  <a:pt x="368079" y="1409393"/>
                </a:cubicBezTo>
                <a:lnTo>
                  <a:pt x="366257" y="1407571"/>
                </a:lnTo>
                <a:cubicBezTo>
                  <a:pt x="369902" y="1413037"/>
                  <a:pt x="379012" y="1411215"/>
                  <a:pt x="384479" y="1414859"/>
                </a:cubicBezTo>
                <a:cubicBezTo>
                  <a:pt x="382657" y="1411215"/>
                  <a:pt x="384479" y="1407571"/>
                  <a:pt x="382657" y="1403926"/>
                </a:cubicBezTo>
                <a:cubicBezTo>
                  <a:pt x="388123" y="1420326"/>
                  <a:pt x="408167" y="1429437"/>
                  <a:pt x="420923" y="1425792"/>
                </a:cubicBezTo>
                <a:cubicBezTo>
                  <a:pt x="426389" y="1423970"/>
                  <a:pt x="413634" y="1422148"/>
                  <a:pt x="415456" y="1414859"/>
                </a:cubicBezTo>
                <a:cubicBezTo>
                  <a:pt x="417278" y="1414859"/>
                  <a:pt x="417278" y="1416681"/>
                  <a:pt x="419100" y="1418504"/>
                </a:cubicBezTo>
                <a:cubicBezTo>
                  <a:pt x="413634" y="1407571"/>
                  <a:pt x="406345" y="1394815"/>
                  <a:pt x="393590" y="1391171"/>
                </a:cubicBezTo>
                <a:cubicBezTo>
                  <a:pt x="397234" y="1392993"/>
                  <a:pt x="399056" y="1391171"/>
                  <a:pt x="397234" y="1389349"/>
                </a:cubicBezTo>
                <a:cubicBezTo>
                  <a:pt x="395412" y="1387527"/>
                  <a:pt x="393590" y="1387527"/>
                  <a:pt x="391768" y="1385705"/>
                </a:cubicBezTo>
                <a:cubicBezTo>
                  <a:pt x="393590" y="1385705"/>
                  <a:pt x="393590" y="1385705"/>
                  <a:pt x="395412" y="1385705"/>
                </a:cubicBezTo>
                <a:lnTo>
                  <a:pt x="390122" y="1378651"/>
                </a:lnTo>
                <a:lnTo>
                  <a:pt x="391768" y="1378416"/>
                </a:lnTo>
                <a:cubicBezTo>
                  <a:pt x="389946" y="1376594"/>
                  <a:pt x="388123" y="1376594"/>
                  <a:pt x="386301" y="1372949"/>
                </a:cubicBezTo>
                <a:cubicBezTo>
                  <a:pt x="384479" y="1372949"/>
                  <a:pt x="382657" y="1372949"/>
                  <a:pt x="379012" y="1374771"/>
                </a:cubicBezTo>
                <a:cubicBezTo>
                  <a:pt x="380834" y="1375683"/>
                  <a:pt x="383113" y="1377960"/>
                  <a:pt x="385390" y="1379327"/>
                </a:cubicBezTo>
                <a:lnTo>
                  <a:pt x="389218" y="1378780"/>
                </a:lnTo>
                <a:lnTo>
                  <a:pt x="386301" y="1380238"/>
                </a:lnTo>
                <a:cubicBezTo>
                  <a:pt x="386301" y="1382060"/>
                  <a:pt x="386301" y="1382060"/>
                  <a:pt x="388123" y="1383882"/>
                </a:cubicBezTo>
                <a:cubicBezTo>
                  <a:pt x="375368" y="1376594"/>
                  <a:pt x="362613" y="1380238"/>
                  <a:pt x="349858" y="1378416"/>
                </a:cubicBezTo>
                <a:cubicBezTo>
                  <a:pt x="355324" y="1378416"/>
                  <a:pt x="364435" y="1374771"/>
                  <a:pt x="369902" y="1372949"/>
                </a:cubicBezTo>
                <a:cubicBezTo>
                  <a:pt x="362613" y="1367483"/>
                  <a:pt x="349858" y="1356550"/>
                  <a:pt x="346213" y="1369305"/>
                </a:cubicBezTo>
                <a:cubicBezTo>
                  <a:pt x="348037" y="1369305"/>
                  <a:pt x="348037" y="1367483"/>
                  <a:pt x="346213" y="1365661"/>
                </a:cubicBezTo>
                <a:cubicBezTo>
                  <a:pt x="340747" y="1365661"/>
                  <a:pt x="338926" y="1371127"/>
                  <a:pt x="337102" y="1374771"/>
                </a:cubicBezTo>
                <a:cubicBezTo>
                  <a:pt x="338926" y="1376594"/>
                  <a:pt x="342569" y="1378416"/>
                  <a:pt x="344391" y="1378416"/>
                </a:cubicBezTo>
                <a:cubicBezTo>
                  <a:pt x="338926" y="1378416"/>
                  <a:pt x="333458" y="1378416"/>
                  <a:pt x="327993" y="1380238"/>
                </a:cubicBezTo>
                <a:cubicBezTo>
                  <a:pt x="329814" y="1378416"/>
                  <a:pt x="331636" y="1376594"/>
                  <a:pt x="333458" y="1374771"/>
                </a:cubicBezTo>
                <a:cubicBezTo>
                  <a:pt x="331636" y="1374771"/>
                  <a:pt x="331636" y="1372949"/>
                  <a:pt x="329814" y="1371127"/>
                </a:cubicBezTo>
                <a:cubicBezTo>
                  <a:pt x="338926" y="1378416"/>
                  <a:pt x="340747" y="1362016"/>
                  <a:pt x="348037" y="1362016"/>
                </a:cubicBezTo>
                <a:cubicBezTo>
                  <a:pt x="340747" y="1358372"/>
                  <a:pt x="331636" y="1351083"/>
                  <a:pt x="320703" y="1356550"/>
                </a:cubicBezTo>
                <a:cubicBezTo>
                  <a:pt x="322525" y="1354728"/>
                  <a:pt x="324347" y="1351083"/>
                  <a:pt x="324347" y="1351083"/>
                </a:cubicBezTo>
                <a:cubicBezTo>
                  <a:pt x="322525" y="1347439"/>
                  <a:pt x="317059" y="1343795"/>
                  <a:pt x="315236" y="1345617"/>
                </a:cubicBezTo>
                <a:lnTo>
                  <a:pt x="306605" y="1347055"/>
                </a:lnTo>
                <a:lnTo>
                  <a:pt x="293370" y="1349261"/>
                </a:lnTo>
                <a:cubicBezTo>
                  <a:pt x="286537" y="1349261"/>
                  <a:pt x="279704" y="1349261"/>
                  <a:pt x="271504" y="1352905"/>
                </a:cubicBezTo>
                <a:cubicBezTo>
                  <a:pt x="275149" y="1345617"/>
                  <a:pt x="267860" y="1343795"/>
                  <a:pt x="266038" y="1345617"/>
                </a:cubicBezTo>
                <a:cubicBezTo>
                  <a:pt x="256927" y="1352906"/>
                  <a:pt x="245994" y="1357461"/>
                  <a:pt x="234605" y="1358600"/>
                </a:cubicBezTo>
                <a:lnTo>
                  <a:pt x="233947" y="1358455"/>
                </a:lnTo>
                <a:lnTo>
                  <a:pt x="262393" y="1343795"/>
                </a:lnTo>
                <a:cubicBezTo>
                  <a:pt x="256927" y="1336506"/>
                  <a:pt x="245994" y="1334684"/>
                  <a:pt x="236883" y="1329217"/>
                </a:cubicBezTo>
                <a:cubicBezTo>
                  <a:pt x="238705" y="1329217"/>
                  <a:pt x="240527" y="1329217"/>
                  <a:pt x="240527" y="1329217"/>
                </a:cubicBezTo>
                <a:lnTo>
                  <a:pt x="240527" y="1325573"/>
                </a:lnTo>
                <a:cubicBezTo>
                  <a:pt x="253282" y="1334684"/>
                  <a:pt x="273327" y="1351083"/>
                  <a:pt x="286082" y="1332862"/>
                </a:cubicBezTo>
                <a:lnTo>
                  <a:pt x="282438" y="1332862"/>
                </a:lnTo>
                <a:cubicBezTo>
                  <a:pt x="284259" y="1331039"/>
                  <a:pt x="286082" y="1331039"/>
                  <a:pt x="286082" y="1327395"/>
                </a:cubicBezTo>
                <a:cubicBezTo>
                  <a:pt x="280615" y="1336506"/>
                  <a:pt x="271504" y="1331039"/>
                  <a:pt x="262393" y="1331039"/>
                </a:cubicBezTo>
                <a:cubicBezTo>
                  <a:pt x="264216" y="1320106"/>
                  <a:pt x="275149" y="1331039"/>
                  <a:pt x="275149" y="1327395"/>
                </a:cubicBezTo>
                <a:cubicBezTo>
                  <a:pt x="275149" y="1316462"/>
                  <a:pt x="262393" y="1320106"/>
                  <a:pt x="256927" y="1321929"/>
                </a:cubicBezTo>
                <a:cubicBezTo>
                  <a:pt x="253282" y="1321929"/>
                  <a:pt x="251460" y="1321929"/>
                  <a:pt x="249638" y="1318284"/>
                </a:cubicBezTo>
                <a:cubicBezTo>
                  <a:pt x="253282" y="1320106"/>
                  <a:pt x="258749" y="1323751"/>
                  <a:pt x="262393" y="1318284"/>
                </a:cubicBezTo>
                <a:cubicBezTo>
                  <a:pt x="220483" y="1303707"/>
                  <a:pt x="171285" y="1312818"/>
                  <a:pt x="131197" y="1287307"/>
                </a:cubicBezTo>
                <a:cubicBezTo>
                  <a:pt x="151241" y="1292774"/>
                  <a:pt x="169462" y="1305529"/>
                  <a:pt x="189506" y="1305529"/>
                </a:cubicBezTo>
                <a:cubicBezTo>
                  <a:pt x="182218" y="1300062"/>
                  <a:pt x="173107" y="1301885"/>
                  <a:pt x="165818" y="1298240"/>
                </a:cubicBezTo>
                <a:cubicBezTo>
                  <a:pt x="167640" y="1298240"/>
                  <a:pt x="167640" y="1298240"/>
                  <a:pt x="171285" y="1298240"/>
                </a:cubicBezTo>
                <a:cubicBezTo>
                  <a:pt x="169462" y="1292774"/>
                  <a:pt x="162174" y="1290951"/>
                  <a:pt x="156707" y="1287307"/>
                </a:cubicBezTo>
                <a:cubicBezTo>
                  <a:pt x="167640" y="1290951"/>
                  <a:pt x="180396" y="1298240"/>
                  <a:pt x="194973" y="1300062"/>
                </a:cubicBezTo>
                <a:cubicBezTo>
                  <a:pt x="193151" y="1298240"/>
                  <a:pt x="191329" y="1298240"/>
                  <a:pt x="189506" y="1296418"/>
                </a:cubicBezTo>
                <a:cubicBezTo>
                  <a:pt x="194973" y="1298240"/>
                  <a:pt x="202262" y="1305529"/>
                  <a:pt x="209550" y="1300062"/>
                </a:cubicBezTo>
                <a:cubicBezTo>
                  <a:pt x="202262" y="1300062"/>
                  <a:pt x="198617" y="1296418"/>
                  <a:pt x="191329" y="1296418"/>
                </a:cubicBezTo>
                <a:lnTo>
                  <a:pt x="210204" y="1298134"/>
                </a:lnTo>
                <a:lnTo>
                  <a:pt x="213878" y="1300746"/>
                </a:lnTo>
                <a:cubicBezTo>
                  <a:pt x="220939" y="1304162"/>
                  <a:pt x="227772" y="1305529"/>
                  <a:pt x="231416" y="1301885"/>
                </a:cubicBezTo>
                <a:cubicBezTo>
                  <a:pt x="218661" y="1294596"/>
                  <a:pt x="205906" y="1289129"/>
                  <a:pt x="194973" y="1287307"/>
                </a:cubicBezTo>
                <a:lnTo>
                  <a:pt x="207006" y="1295860"/>
                </a:lnTo>
                <a:lnTo>
                  <a:pt x="165818" y="1273413"/>
                </a:lnTo>
                <a:lnTo>
                  <a:pt x="162174" y="1270535"/>
                </a:lnTo>
                <a:lnTo>
                  <a:pt x="180396" y="1278196"/>
                </a:lnTo>
                <a:cubicBezTo>
                  <a:pt x="174929" y="1276374"/>
                  <a:pt x="173107" y="1274552"/>
                  <a:pt x="171285" y="1270908"/>
                </a:cubicBezTo>
                <a:cubicBezTo>
                  <a:pt x="185862" y="1280018"/>
                  <a:pt x="202262" y="1287307"/>
                  <a:pt x="218661" y="1290951"/>
                </a:cubicBezTo>
                <a:lnTo>
                  <a:pt x="199991" y="1280060"/>
                </a:lnTo>
                <a:lnTo>
                  <a:pt x="198617" y="1280060"/>
                </a:lnTo>
                <a:cubicBezTo>
                  <a:pt x="193150" y="1276416"/>
                  <a:pt x="187684" y="1272772"/>
                  <a:pt x="182217" y="1267305"/>
                </a:cubicBezTo>
                <a:lnTo>
                  <a:pt x="197775" y="1278196"/>
                </a:lnTo>
                <a:lnTo>
                  <a:pt x="198617" y="1278196"/>
                </a:lnTo>
                <a:cubicBezTo>
                  <a:pt x="207728" y="1283663"/>
                  <a:pt x="215017" y="1285485"/>
                  <a:pt x="225950" y="1285485"/>
                </a:cubicBezTo>
                <a:cubicBezTo>
                  <a:pt x="222306" y="1283663"/>
                  <a:pt x="220483" y="1281841"/>
                  <a:pt x="218661" y="1280018"/>
                </a:cubicBezTo>
                <a:cubicBezTo>
                  <a:pt x="225950" y="1283663"/>
                  <a:pt x="233239" y="1287307"/>
                  <a:pt x="242349" y="1287307"/>
                </a:cubicBezTo>
                <a:cubicBezTo>
                  <a:pt x="231416" y="1279107"/>
                  <a:pt x="219117" y="1275008"/>
                  <a:pt x="207045" y="1270680"/>
                </a:cubicBezTo>
                <a:lnTo>
                  <a:pt x="196187" y="1264923"/>
                </a:lnTo>
                <a:lnTo>
                  <a:pt x="215017" y="1269085"/>
                </a:lnTo>
                <a:cubicBezTo>
                  <a:pt x="211372" y="1265441"/>
                  <a:pt x="207728" y="1261797"/>
                  <a:pt x="202262" y="1259975"/>
                </a:cubicBezTo>
                <a:cubicBezTo>
                  <a:pt x="216839" y="1265441"/>
                  <a:pt x="231416" y="1272730"/>
                  <a:pt x="245994" y="1280018"/>
                </a:cubicBezTo>
                <a:cubicBezTo>
                  <a:pt x="245994" y="1278196"/>
                  <a:pt x="245994" y="1276374"/>
                  <a:pt x="244172" y="1274552"/>
                </a:cubicBezTo>
                <a:cubicBezTo>
                  <a:pt x="245994" y="1281841"/>
                  <a:pt x="253282" y="1283663"/>
                  <a:pt x="260571" y="1283663"/>
                </a:cubicBezTo>
                <a:cubicBezTo>
                  <a:pt x="255105" y="1281841"/>
                  <a:pt x="253282" y="1276374"/>
                  <a:pt x="251460" y="1270908"/>
                </a:cubicBezTo>
                <a:cubicBezTo>
                  <a:pt x="253282" y="1274552"/>
                  <a:pt x="258749" y="1278196"/>
                  <a:pt x="262393" y="1280018"/>
                </a:cubicBezTo>
                <a:cubicBezTo>
                  <a:pt x="262393" y="1280018"/>
                  <a:pt x="260571" y="1280018"/>
                  <a:pt x="260571" y="1280018"/>
                </a:cubicBezTo>
                <a:cubicBezTo>
                  <a:pt x="264216" y="1287307"/>
                  <a:pt x="271504" y="1285485"/>
                  <a:pt x="275149" y="1287307"/>
                </a:cubicBezTo>
                <a:cubicBezTo>
                  <a:pt x="273327" y="1285485"/>
                  <a:pt x="271504" y="1283663"/>
                  <a:pt x="269682" y="1281841"/>
                </a:cubicBezTo>
                <a:cubicBezTo>
                  <a:pt x="275149" y="1283663"/>
                  <a:pt x="280615" y="1283663"/>
                  <a:pt x="286082" y="1283663"/>
                </a:cubicBezTo>
                <a:cubicBezTo>
                  <a:pt x="284259" y="1280018"/>
                  <a:pt x="280615" y="1278196"/>
                  <a:pt x="278793" y="1276374"/>
                </a:cubicBezTo>
                <a:lnTo>
                  <a:pt x="266762" y="1270532"/>
                </a:lnTo>
                <a:lnTo>
                  <a:pt x="266038" y="1269085"/>
                </a:lnTo>
                <a:cubicBezTo>
                  <a:pt x="269682" y="1269085"/>
                  <a:pt x="273327" y="1269085"/>
                  <a:pt x="276971" y="1267263"/>
                </a:cubicBezTo>
                <a:cubicBezTo>
                  <a:pt x="286082" y="1261797"/>
                  <a:pt x="262393" y="1263619"/>
                  <a:pt x="275149" y="1258152"/>
                </a:cubicBezTo>
                <a:cubicBezTo>
                  <a:pt x="269682" y="1259975"/>
                  <a:pt x="264216" y="1261797"/>
                  <a:pt x="258749" y="1259975"/>
                </a:cubicBezTo>
                <a:cubicBezTo>
                  <a:pt x="257838" y="1261797"/>
                  <a:pt x="256017" y="1261797"/>
                  <a:pt x="254421" y="1261797"/>
                </a:cubicBezTo>
                <a:lnTo>
                  <a:pt x="251929" y="1263330"/>
                </a:lnTo>
                <a:lnTo>
                  <a:pt x="239388" y="1257241"/>
                </a:lnTo>
                <a:lnTo>
                  <a:pt x="234684" y="1255664"/>
                </a:lnTo>
                <a:lnTo>
                  <a:pt x="233239" y="1254508"/>
                </a:lnTo>
                <a:lnTo>
                  <a:pt x="231236" y="1254508"/>
                </a:lnTo>
                <a:lnTo>
                  <a:pt x="198617" y="1243575"/>
                </a:lnTo>
                <a:cubicBezTo>
                  <a:pt x="202262" y="1245397"/>
                  <a:pt x="207728" y="1243575"/>
                  <a:pt x="211372" y="1245397"/>
                </a:cubicBezTo>
                <a:cubicBezTo>
                  <a:pt x="205906" y="1243575"/>
                  <a:pt x="204084" y="1241753"/>
                  <a:pt x="202262" y="1238108"/>
                </a:cubicBezTo>
                <a:cubicBezTo>
                  <a:pt x="207728" y="1241753"/>
                  <a:pt x="211372" y="1243575"/>
                  <a:pt x="216839" y="1245397"/>
                </a:cubicBezTo>
                <a:cubicBezTo>
                  <a:pt x="215017" y="1241753"/>
                  <a:pt x="211372" y="1239931"/>
                  <a:pt x="209550" y="1236286"/>
                </a:cubicBezTo>
                <a:cubicBezTo>
                  <a:pt x="215017" y="1239931"/>
                  <a:pt x="218661" y="1249042"/>
                  <a:pt x="227772" y="1243575"/>
                </a:cubicBezTo>
                <a:cubicBezTo>
                  <a:pt x="216839" y="1238108"/>
                  <a:pt x="200439" y="1236286"/>
                  <a:pt x="196795" y="1221709"/>
                </a:cubicBezTo>
                <a:cubicBezTo>
                  <a:pt x="202262" y="1227175"/>
                  <a:pt x="209550" y="1230820"/>
                  <a:pt x="216839" y="1236286"/>
                </a:cubicBezTo>
                <a:cubicBezTo>
                  <a:pt x="215017" y="1232642"/>
                  <a:pt x="213195" y="1232642"/>
                  <a:pt x="211372" y="1228998"/>
                </a:cubicBezTo>
                <a:cubicBezTo>
                  <a:pt x="218661" y="1234464"/>
                  <a:pt x="224128" y="1236286"/>
                  <a:pt x="231416" y="1238108"/>
                </a:cubicBezTo>
                <a:cubicBezTo>
                  <a:pt x="231416" y="1239931"/>
                  <a:pt x="229594" y="1238108"/>
                  <a:pt x="227772" y="1239931"/>
                </a:cubicBezTo>
                <a:cubicBezTo>
                  <a:pt x="229594" y="1241753"/>
                  <a:pt x="231416" y="1243575"/>
                  <a:pt x="235061" y="1245397"/>
                </a:cubicBezTo>
                <a:cubicBezTo>
                  <a:pt x="235061" y="1241753"/>
                  <a:pt x="233239" y="1239931"/>
                  <a:pt x="231416" y="1238108"/>
                </a:cubicBezTo>
                <a:cubicBezTo>
                  <a:pt x="235061" y="1239931"/>
                  <a:pt x="238705" y="1239931"/>
                  <a:pt x="240527" y="1243575"/>
                </a:cubicBezTo>
                <a:lnTo>
                  <a:pt x="239589" y="1242261"/>
                </a:lnTo>
                <a:lnTo>
                  <a:pt x="251460" y="1245397"/>
                </a:lnTo>
                <a:cubicBezTo>
                  <a:pt x="247816" y="1243575"/>
                  <a:pt x="242349" y="1239931"/>
                  <a:pt x="238705" y="1238108"/>
                </a:cubicBezTo>
                <a:cubicBezTo>
                  <a:pt x="247816" y="1238108"/>
                  <a:pt x="255105" y="1245397"/>
                  <a:pt x="264216" y="1245397"/>
                </a:cubicBezTo>
                <a:cubicBezTo>
                  <a:pt x="258749" y="1241753"/>
                  <a:pt x="255105" y="1239931"/>
                  <a:pt x="251460" y="1236286"/>
                </a:cubicBezTo>
                <a:cubicBezTo>
                  <a:pt x="256927" y="1239931"/>
                  <a:pt x="260571" y="1241753"/>
                  <a:pt x="266038" y="1241753"/>
                </a:cubicBezTo>
                <a:cubicBezTo>
                  <a:pt x="262393" y="1239931"/>
                  <a:pt x="258749" y="1238108"/>
                  <a:pt x="256927" y="1234464"/>
                </a:cubicBezTo>
                <a:cubicBezTo>
                  <a:pt x="260571" y="1236286"/>
                  <a:pt x="264216" y="1239931"/>
                  <a:pt x="267860" y="1241753"/>
                </a:cubicBezTo>
                <a:cubicBezTo>
                  <a:pt x="269682" y="1241753"/>
                  <a:pt x="273327" y="1241753"/>
                  <a:pt x="271504" y="1238108"/>
                </a:cubicBezTo>
                <a:cubicBezTo>
                  <a:pt x="269682" y="1236286"/>
                  <a:pt x="269682" y="1236286"/>
                  <a:pt x="267860" y="1234464"/>
                </a:cubicBezTo>
                <a:cubicBezTo>
                  <a:pt x="273327" y="1238108"/>
                  <a:pt x="280615" y="1241753"/>
                  <a:pt x="289726" y="1239931"/>
                </a:cubicBezTo>
                <a:cubicBezTo>
                  <a:pt x="286082" y="1238108"/>
                  <a:pt x="276971" y="1232642"/>
                  <a:pt x="284259" y="1227175"/>
                </a:cubicBezTo>
                <a:cubicBezTo>
                  <a:pt x="289726" y="1241753"/>
                  <a:pt x="297015" y="1232642"/>
                  <a:pt x="307948" y="1234464"/>
                </a:cubicBezTo>
                <a:cubicBezTo>
                  <a:pt x="301571" y="1229909"/>
                  <a:pt x="294738" y="1226720"/>
                  <a:pt x="287677" y="1224442"/>
                </a:cubicBezTo>
                <a:lnTo>
                  <a:pt x="280877" y="1223011"/>
                </a:lnTo>
                <a:lnTo>
                  <a:pt x="266038" y="1219887"/>
                </a:lnTo>
                <a:cubicBezTo>
                  <a:pt x="267860" y="1219887"/>
                  <a:pt x="269682" y="1218065"/>
                  <a:pt x="267860" y="1214420"/>
                </a:cubicBezTo>
                <a:cubicBezTo>
                  <a:pt x="267860" y="1212598"/>
                  <a:pt x="266038" y="1212598"/>
                  <a:pt x="266038" y="1212598"/>
                </a:cubicBezTo>
                <a:cubicBezTo>
                  <a:pt x="264216" y="1212598"/>
                  <a:pt x="264216" y="1210776"/>
                  <a:pt x="262393" y="1208954"/>
                </a:cubicBezTo>
                <a:cubicBezTo>
                  <a:pt x="266038" y="1212598"/>
                  <a:pt x="271504" y="1216242"/>
                  <a:pt x="275149" y="1214420"/>
                </a:cubicBezTo>
                <a:cubicBezTo>
                  <a:pt x="273327" y="1212598"/>
                  <a:pt x="269682" y="1210776"/>
                  <a:pt x="271504" y="1208954"/>
                </a:cubicBezTo>
                <a:cubicBezTo>
                  <a:pt x="273327" y="1208954"/>
                  <a:pt x="275149" y="1210776"/>
                  <a:pt x="276971" y="1210776"/>
                </a:cubicBezTo>
                <a:cubicBezTo>
                  <a:pt x="273327" y="1210776"/>
                  <a:pt x="273327" y="1208954"/>
                  <a:pt x="271504" y="1207132"/>
                </a:cubicBezTo>
                <a:cubicBezTo>
                  <a:pt x="271504" y="1208954"/>
                  <a:pt x="271504" y="1208954"/>
                  <a:pt x="271504" y="1208954"/>
                </a:cubicBezTo>
                <a:cubicBezTo>
                  <a:pt x="260571" y="1205309"/>
                  <a:pt x="251460" y="1199843"/>
                  <a:pt x="240527" y="1207132"/>
                </a:cubicBezTo>
                <a:cubicBezTo>
                  <a:pt x="245994" y="1210776"/>
                  <a:pt x="249638" y="1208954"/>
                  <a:pt x="255105" y="1212598"/>
                </a:cubicBezTo>
                <a:cubicBezTo>
                  <a:pt x="251460" y="1214420"/>
                  <a:pt x="249638" y="1212598"/>
                  <a:pt x="247816" y="1210776"/>
                </a:cubicBezTo>
                <a:cubicBezTo>
                  <a:pt x="249638" y="1214420"/>
                  <a:pt x="251460" y="1219887"/>
                  <a:pt x="255105" y="1223531"/>
                </a:cubicBezTo>
                <a:cubicBezTo>
                  <a:pt x="247816" y="1218065"/>
                  <a:pt x="238705" y="1212598"/>
                  <a:pt x="229594" y="1208954"/>
                </a:cubicBezTo>
                <a:cubicBezTo>
                  <a:pt x="229594" y="1207132"/>
                  <a:pt x="225950" y="1205309"/>
                  <a:pt x="229594" y="1205309"/>
                </a:cubicBezTo>
                <a:cubicBezTo>
                  <a:pt x="225950" y="1203487"/>
                  <a:pt x="220483" y="1203487"/>
                  <a:pt x="215017" y="1199843"/>
                </a:cubicBezTo>
                <a:cubicBezTo>
                  <a:pt x="225950" y="1192554"/>
                  <a:pt x="224128" y="1208954"/>
                  <a:pt x="238705" y="1205309"/>
                </a:cubicBezTo>
                <a:cubicBezTo>
                  <a:pt x="235061" y="1201665"/>
                  <a:pt x="231416" y="1196199"/>
                  <a:pt x="225950" y="1196199"/>
                </a:cubicBezTo>
                <a:cubicBezTo>
                  <a:pt x="207728" y="1188910"/>
                  <a:pt x="194973" y="1196199"/>
                  <a:pt x="185862" y="1210776"/>
                </a:cubicBezTo>
                <a:cubicBezTo>
                  <a:pt x="185862" y="1208954"/>
                  <a:pt x="185862" y="1208954"/>
                  <a:pt x="185862" y="1205309"/>
                </a:cubicBezTo>
                <a:cubicBezTo>
                  <a:pt x="184040" y="1208954"/>
                  <a:pt x="180396" y="1207132"/>
                  <a:pt x="176751" y="1207132"/>
                </a:cubicBezTo>
                <a:cubicBezTo>
                  <a:pt x="180396" y="1199843"/>
                  <a:pt x="185862" y="1205309"/>
                  <a:pt x="191329" y="1198021"/>
                </a:cubicBezTo>
                <a:cubicBezTo>
                  <a:pt x="191329" y="1196199"/>
                  <a:pt x="189506" y="1198021"/>
                  <a:pt x="187684" y="1196199"/>
                </a:cubicBezTo>
                <a:cubicBezTo>
                  <a:pt x="189506" y="1196199"/>
                  <a:pt x="191329" y="1196199"/>
                  <a:pt x="193151" y="1194376"/>
                </a:cubicBezTo>
                <a:cubicBezTo>
                  <a:pt x="185862" y="1188910"/>
                  <a:pt x="176751" y="1185266"/>
                  <a:pt x="167640" y="1190732"/>
                </a:cubicBezTo>
                <a:cubicBezTo>
                  <a:pt x="173107" y="1190732"/>
                  <a:pt x="176751" y="1196199"/>
                  <a:pt x="184040" y="1198021"/>
                </a:cubicBezTo>
                <a:cubicBezTo>
                  <a:pt x="178573" y="1201665"/>
                  <a:pt x="171285" y="1198021"/>
                  <a:pt x="165818" y="1199843"/>
                </a:cubicBezTo>
                <a:cubicBezTo>
                  <a:pt x="169462" y="1199843"/>
                  <a:pt x="171285" y="1198021"/>
                  <a:pt x="174929" y="1198021"/>
                </a:cubicBezTo>
                <a:lnTo>
                  <a:pt x="170857" y="1197378"/>
                </a:lnTo>
                <a:lnTo>
                  <a:pt x="176751" y="1196199"/>
                </a:lnTo>
                <a:lnTo>
                  <a:pt x="164710" y="1189318"/>
                </a:lnTo>
                <a:lnTo>
                  <a:pt x="176751" y="1188910"/>
                </a:lnTo>
                <a:cubicBezTo>
                  <a:pt x="151241" y="1176155"/>
                  <a:pt x="122086" y="1168866"/>
                  <a:pt x="94753" y="1168866"/>
                </a:cubicBezTo>
                <a:cubicBezTo>
                  <a:pt x="96576" y="1167044"/>
                  <a:pt x="102042" y="1168866"/>
                  <a:pt x="105686" y="1167044"/>
                </a:cubicBezTo>
                <a:cubicBezTo>
                  <a:pt x="102042" y="1163399"/>
                  <a:pt x="100220" y="1161577"/>
                  <a:pt x="96576" y="1159755"/>
                </a:cubicBezTo>
                <a:cubicBezTo>
                  <a:pt x="100220" y="1159755"/>
                  <a:pt x="103864" y="1161577"/>
                  <a:pt x="107509" y="1161577"/>
                </a:cubicBezTo>
                <a:lnTo>
                  <a:pt x="99627" y="1156158"/>
                </a:lnTo>
                <a:lnTo>
                  <a:pt x="96576" y="1156158"/>
                </a:lnTo>
                <a:cubicBezTo>
                  <a:pt x="96576" y="1156158"/>
                  <a:pt x="94753" y="1156158"/>
                  <a:pt x="94753" y="1156158"/>
                </a:cubicBezTo>
                <a:lnTo>
                  <a:pt x="93304" y="1151811"/>
                </a:lnTo>
                <a:lnTo>
                  <a:pt x="78354" y="1141533"/>
                </a:lnTo>
                <a:cubicBezTo>
                  <a:pt x="80176" y="1141533"/>
                  <a:pt x="80176" y="1143355"/>
                  <a:pt x="81998" y="1145178"/>
                </a:cubicBezTo>
                <a:cubicBezTo>
                  <a:pt x="80176" y="1143355"/>
                  <a:pt x="78354" y="1143355"/>
                  <a:pt x="76532" y="1141533"/>
                </a:cubicBezTo>
                <a:cubicBezTo>
                  <a:pt x="72887" y="1128778"/>
                  <a:pt x="60132" y="1126956"/>
                  <a:pt x="56488" y="1114201"/>
                </a:cubicBezTo>
                <a:cubicBezTo>
                  <a:pt x="60132" y="1117845"/>
                  <a:pt x="63776" y="1121489"/>
                  <a:pt x="65599" y="1125134"/>
                </a:cubicBezTo>
                <a:cubicBezTo>
                  <a:pt x="63776" y="1121489"/>
                  <a:pt x="61954" y="1117845"/>
                  <a:pt x="60132" y="1114201"/>
                </a:cubicBezTo>
                <a:cubicBezTo>
                  <a:pt x="78354" y="1137889"/>
                  <a:pt x="103864" y="1156111"/>
                  <a:pt x="131197" y="1165222"/>
                </a:cubicBezTo>
                <a:cubicBezTo>
                  <a:pt x="127552" y="1163399"/>
                  <a:pt x="123908" y="1161577"/>
                  <a:pt x="120264" y="1157933"/>
                </a:cubicBezTo>
                <a:cubicBezTo>
                  <a:pt x="122086" y="1159755"/>
                  <a:pt x="125730" y="1161577"/>
                  <a:pt x="129375" y="1159755"/>
                </a:cubicBezTo>
                <a:cubicBezTo>
                  <a:pt x="112975" y="1145178"/>
                  <a:pt x="98398" y="1132422"/>
                  <a:pt x="83820" y="1117845"/>
                </a:cubicBezTo>
                <a:cubicBezTo>
                  <a:pt x="87465" y="1117845"/>
                  <a:pt x="89287" y="1119667"/>
                  <a:pt x="91109" y="1121489"/>
                </a:cubicBezTo>
                <a:cubicBezTo>
                  <a:pt x="91109" y="1119667"/>
                  <a:pt x="91109" y="1117845"/>
                  <a:pt x="89287" y="1116023"/>
                </a:cubicBezTo>
                <a:cubicBezTo>
                  <a:pt x="92931" y="1120578"/>
                  <a:pt x="96120" y="1125134"/>
                  <a:pt x="99992" y="1129917"/>
                </a:cubicBezTo>
                <a:lnTo>
                  <a:pt x="100794" y="1130743"/>
                </a:lnTo>
                <a:lnTo>
                  <a:pt x="100220" y="1130600"/>
                </a:lnTo>
                <a:lnTo>
                  <a:pt x="101656" y="1131632"/>
                </a:lnTo>
                <a:lnTo>
                  <a:pt x="114797" y="1145178"/>
                </a:lnTo>
                <a:cubicBezTo>
                  <a:pt x="113886" y="1139711"/>
                  <a:pt x="110697" y="1137434"/>
                  <a:pt x="107508" y="1135839"/>
                </a:cubicBezTo>
                <a:lnTo>
                  <a:pt x="101656" y="1131632"/>
                </a:lnTo>
                <a:lnTo>
                  <a:pt x="100794" y="1130743"/>
                </a:lnTo>
                <a:lnTo>
                  <a:pt x="107509" y="1132422"/>
                </a:lnTo>
                <a:cubicBezTo>
                  <a:pt x="105686" y="1128778"/>
                  <a:pt x="103864" y="1125134"/>
                  <a:pt x="102042" y="1121489"/>
                </a:cubicBezTo>
                <a:cubicBezTo>
                  <a:pt x="111153" y="1137889"/>
                  <a:pt x="123908" y="1152466"/>
                  <a:pt x="138486" y="1163399"/>
                </a:cubicBezTo>
                <a:lnTo>
                  <a:pt x="138486" y="1159755"/>
                </a:lnTo>
                <a:cubicBezTo>
                  <a:pt x="142130" y="1161577"/>
                  <a:pt x="145774" y="1165222"/>
                  <a:pt x="149419" y="1167044"/>
                </a:cubicBezTo>
                <a:cubicBezTo>
                  <a:pt x="134841" y="1147000"/>
                  <a:pt x="118442" y="1130600"/>
                  <a:pt x="105686" y="1110556"/>
                </a:cubicBezTo>
                <a:cubicBezTo>
                  <a:pt x="112975" y="1119667"/>
                  <a:pt x="120264" y="1130600"/>
                  <a:pt x="129375" y="1139711"/>
                </a:cubicBezTo>
                <a:cubicBezTo>
                  <a:pt x="129375" y="1139711"/>
                  <a:pt x="129375" y="1137889"/>
                  <a:pt x="129375" y="1137889"/>
                </a:cubicBezTo>
                <a:cubicBezTo>
                  <a:pt x="131197" y="1134245"/>
                  <a:pt x="133019" y="1143355"/>
                  <a:pt x="136663" y="1141533"/>
                </a:cubicBezTo>
                <a:cubicBezTo>
                  <a:pt x="134841" y="1141533"/>
                  <a:pt x="134841" y="1139711"/>
                  <a:pt x="133019" y="1137889"/>
                </a:cubicBezTo>
                <a:cubicBezTo>
                  <a:pt x="142130" y="1147000"/>
                  <a:pt x="153063" y="1157933"/>
                  <a:pt x="163996" y="1165222"/>
                </a:cubicBezTo>
                <a:cubicBezTo>
                  <a:pt x="162174" y="1156111"/>
                  <a:pt x="154885" y="1150644"/>
                  <a:pt x="153063" y="1141533"/>
                </a:cubicBezTo>
                <a:cubicBezTo>
                  <a:pt x="165818" y="1156111"/>
                  <a:pt x="176751" y="1190732"/>
                  <a:pt x="204084" y="1183443"/>
                </a:cubicBezTo>
                <a:cubicBezTo>
                  <a:pt x="194973" y="1176155"/>
                  <a:pt x="185862" y="1170688"/>
                  <a:pt x="176751" y="1163399"/>
                </a:cubicBezTo>
                <a:cubicBezTo>
                  <a:pt x="178573" y="1163399"/>
                  <a:pt x="178573" y="1163399"/>
                  <a:pt x="182218" y="1163399"/>
                </a:cubicBezTo>
                <a:lnTo>
                  <a:pt x="146768" y="1134410"/>
                </a:lnTo>
                <a:lnTo>
                  <a:pt x="184040" y="1159755"/>
                </a:lnTo>
                <a:lnTo>
                  <a:pt x="187684" y="1163399"/>
                </a:lnTo>
                <a:cubicBezTo>
                  <a:pt x="189962" y="1164310"/>
                  <a:pt x="192240" y="1164310"/>
                  <a:pt x="193151" y="1163399"/>
                </a:cubicBezTo>
                <a:lnTo>
                  <a:pt x="183259" y="1158453"/>
                </a:lnTo>
                <a:lnTo>
                  <a:pt x="178573" y="1150644"/>
                </a:lnTo>
                <a:cubicBezTo>
                  <a:pt x="185862" y="1157933"/>
                  <a:pt x="191329" y="1161577"/>
                  <a:pt x="200439" y="1163399"/>
                </a:cubicBezTo>
                <a:cubicBezTo>
                  <a:pt x="194973" y="1159755"/>
                  <a:pt x="193151" y="1157933"/>
                  <a:pt x="187684" y="1154288"/>
                </a:cubicBezTo>
                <a:cubicBezTo>
                  <a:pt x="187684" y="1154288"/>
                  <a:pt x="191329" y="1152466"/>
                  <a:pt x="191329" y="1152466"/>
                </a:cubicBezTo>
                <a:cubicBezTo>
                  <a:pt x="185862" y="1145178"/>
                  <a:pt x="176751" y="1145178"/>
                  <a:pt x="169462" y="1141533"/>
                </a:cubicBezTo>
                <a:cubicBezTo>
                  <a:pt x="173107" y="1141533"/>
                  <a:pt x="174929" y="1141533"/>
                  <a:pt x="178573" y="1141533"/>
                </a:cubicBezTo>
                <a:cubicBezTo>
                  <a:pt x="169462" y="1134245"/>
                  <a:pt x="158529" y="1126956"/>
                  <a:pt x="151241" y="1117845"/>
                </a:cubicBezTo>
                <a:cubicBezTo>
                  <a:pt x="167640" y="1126956"/>
                  <a:pt x="180396" y="1141533"/>
                  <a:pt x="200439" y="1143355"/>
                </a:cubicBezTo>
                <a:cubicBezTo>
                  <a:pt x="193151" y="1137889"/>
                  <a:pt x="187684" y="1130600"/>
                  <a:pt x="180396" y="1125134"/>
                </a:cubicBezTo>
                <a:cubicBezTo>
                  <a:pt x="184040" y="1123312"/>
                  <a:pt x="185862" y="1128778"/>
                  <a:pt x="189506" y="1126956"/>
                </a:cubicBezTo>
                <a:cubicBezTo>
                  <a:pt x="183129" y="1121490"/>
                  <a:pt x="174929" y="1118301"/>
                  <a:pt x="166729" y="1114884"/>
                </a:cubicBezTo>
                <a:lnTo>
                  <a:pt x="160113" y="1110981"/>
                </a:lnTo>
                <a:lnTo>
                  <a:pt x="173107" y="1116023"/>
                </a:lnTo>
                <a:cubicBezTo>
                  <a:pt x="174929" y="1114201"/>
                  <a:pt x="169462" y="1110556"/>
                  <a:pt x="173107" y="1108734"/>
                </a:cubicBezTo>
                <a:cubicBezTo>
                  <a:pt x="167640" y="1105090"/>
                  <a:pt x="160352" y="1099623"/>
                  <a:pt x="154885" y="1095979"/>
                </a:cubicBezTo>
                <a:cubicBezTo>
                  <a:pt x="156707" y="1095979"/>
                  <a:pt x="158529" y="1097801"/>
                  <a:pt x="158529" y="1097801"/>
                </a:cubicBezTo>
                <a:cubicBezTo>
                  <a:pt x="156707" y="1095979"/>
                  <a:pt x="151241" y="1094157"/>
                  <a:pt x="149419" y="1092335"/>
                </a:cubicBezTo>
                <a:cubicBezTo>
                  <a:pt x="151241" y="1092335"/>
                  <a:pt x="151241" y="1094157"/>
                  <a:pt x="151241" y="1094157"/>
                </a:cubicBezTo>
                <a:cubicBezTo>
                  <a:pt x="127552" y="1075935"/>
                  <a:pt x="103864" y="1057713"/>
                  <a:pt x="87465" y="1032203"/>
                </a:cubicBezTo>
                <a:cubicBezTo>
                  <a:pt x="107509" y="1061358"/>
                  <a:pt x="134841" y="1081402"/>
                  <a:pt x="163996" y="1101445"/>
                </a:cubicBezTo>
                <a:cubicBezTo>
                  <a:pt x="163996" y="1099623"/>
                  <a:pt x="163996" y="1097801"/>
                  <a:pt x="160352" y="1095979"/>
                </a:cubicBezTo>
                <a:cubicBezTo>
                  <a:pt x="171285" y="1101445"/>
                  <a:pt x="176751" y="1112378"/>
                  <a:pt x="187684" y="1110556"/>
                </a:cubicBezTo>
                <a:cubicBezTo>
                  <a:pt x="178573" y="1103268"/>
                  <a:pt x="167640" y="1097801"/>
                  <a:pt x="156707" y="1090512"/>
                </a:cubicBezTo>
                <a:cubicBezTo>
                  <a:pt x="158529" y="1092335"/>
                  <a:pt x="160352" y="1094157"/>
                  <a:pt x="162174" y="1095979"/>
                </a:cubicBezTo>
                <a:cubicBezTo>
                  <a:pt x="145774" y="1079579"/>
                  <a:pt x="127552" y="1068646"/>
                  <a:pt x="109331" y="1052247"/>
                </a:cubicBezTo>
                <a:cubicBezTo>
                  <a:pt x="118442" y="1061358"/>
                  <a:pt x="129375" y="1068646"/>
                  <a:pt x="140308" y="1075935"/>
                </a:cubicBezTo>
                <a:cubicBezTo>
                  <a:pt x="138486" y="1072291"/>
                  <a:pt x="134841" y="1070469"/>
                  <a:pt x="133019" y="1066824"/>
                </a:cubicBezTo>
                <a:cubicBezTo>
                  <a:pt x="138486" y="1066824"/>
                  <a:pt x="138486" y="1074113"/>
                  <a:pt x="143952" y="1074113"/>
                </a:cubicBezTo>
                <a:cubicBezTo>
                  <a:pt x="140308" y="1070469"/>
                  <a:pt x="138486" y="1068646"/>
                  <a:pt x="136663" y="1066824"/>
                </a:cubicBezTo>
                <a:cubicBezTo>
                  <a:pt x="138486" y="1066824"/>
                  <a:pt x="140308" y="1068646"/>
                  <a:pt x="142130" y="1066824"/>
                </a:cubicBezTo>
                <a:cubicBezTo>
                  <a:pt x="140308" y="1059535"/>
                  <a:pt x="133019" y="1057713"/>
                  <a:pt x="127552" y="1054069"/>
                </a:cubicBezTo>
                <a:lnTo>
                  <a:pt x="129375" y="1052247"/>
                </a:lnTo>
                <a:lnTo>
                  <a:pt x="94756" y="1028561"/>
                </a:lnTo>
                <a:lnTo>
                  <a:pt x="87465" y="1021270"/>
                </a:lnTo>
                <a:cubicBezTo>
                  <a:pt x="92931" y="1023092"/>
                  <a:pt x="98398" y="1026736"/>
                  <a:pt x="103864" y="1030381"/>
                </a:cubicBezTo>
                <a:cubicBezTo>
                  <a:pt x="100220" y="1024914"/>
                  <a:pt x="96576" y="1021270"/>
                  <a:pt x="89287" y="1015803"/>
                </a:cubicBezTo>
                <a:cubicBezTo>
                  <a:pt x="89287" y="1015803"/>
                  <a:pt x="89287" y="1013981"/>
                  <a:pt x="91109" y="1013981"/>
                </a:cubicBezTo>
                <a:cubicBezTo>
                  <a:pt x="95664" y="1019447"/>
                  <a:pt x="100220" y="1024003"/>
                  <a:pt x="105231" y="1027192"/>
                </a:cubicBezTo>
                <a:lnTo>
                  <a:pt x="119520" y="1031440"/>
                </a:lnTo>
                <a:lnTo>
                  <a:pt x="120264" y="1032203"/>
                </a:lnTo>
                <a:lnTo>
                  <a:pt x="120135" y="1031623"/>
                </a:lnTo>
                <a:lnTo>
                  <a:pt x="120875" y="1031842"/>
                </a:lnTo>
                <a:lnTo>
                  <a:pt x="125730" y="1037669"/>
                </a:lnTo>
                <a:cubicBezTo>
                  <a:pt x="133019" y="1039492"/>
                  <a:pt x="136663" y="1037669"/>
                  <a:pt x="142130" y="1039492"/>
                </a:cubicBezTo>
                <a:cubicBezTo>
                  <a:pt x="142130" y="1035847"/>
                  <a:pt x="138486" y="1035847"/>
                  <a:pt x="136663" y="1034025"/>
                </a:cubicBezTo>
                <a:cubicBezTo>
                  <a:pt x="134841" y="1035847"/>
                  <a:pt x="138486" y="1035847"/>
                  <a:pt x="138486" y="1037669"/>
                </a:cubicBezTo>
                <a:cubicBezTo>
                  <a:pt x="129375" y="1029469"/>
                  <a:pt x="120719" y="1023092"/>
                  <a:pt x="112064" y="1016486"/>
                </a:cubicBezTo>
                <a:lnTo>
                  <a:pt x="95368" y="1002238"/>
                </a:lnTo>
                <a:lnTo>
                  <a:pt x="78581" y="981865"/>
                </a:lnTo>
                <a:cubicBezTo>
                  <a:pt x="71976" y="971615"/>
                  <a:pt x="65598" y="961138"/>
                  <a:pt x="56488" y="952026"/>
                </a:cubicBezTo>
                <a:cubicBezTo>
                  <a:pt x="58310" y="953848"/>
                  <a:pt x="61954" y="955672"/>
                  <a:pt x="63776" y="957494"/>
                </a:cubicBezTo>
                <a:cubicBezTo>
                  <a:pt x="52843" y="941094"/>
                  <a:pt x="38266" y="926516"/>
                  <a:pt x="29155" y="908295"/>
                </a:cubicBezTo>
                <a:cubicBezTo>
                  <a:pt x="47377" y="933804"/>
                  <a:pt x="67421" y="964782"/>
                  <a:pt x="96576" y="981182"/>
                </a:cubicBezTo>
                <a:cubicBezTo>
                  <a:pt x="92931" y="970249"/>
                  <a:pt x="85642" y="962960"/>
                  <a:pt x="78354" y="953848"/>
                </a:cubicBezTo>
                <a:cubicBezTo>
                  <a:pt x="80176" y="955672"/>
                  <a:pt x="83820" y="959316"/>
                  <a:pt x="87465" y="961138"/>
                </a:cubicBezTo>
                <a:cubicBezTo>
                  <a:pt x="81998" y="953848"/>
                  <a:pt x="80176" y="948383"/>
                  <a:pt x="78354" y="942916"/>
                </a:cubicBezTo>
                <a:cubicBezTo>
                  <a:pt x="88376" y="960227"/>
                  <a:pt x="98853" y="977082"/>
                  <a:pt x="110698" y="992798"/>
                </a:cubicBezTo>
                <a:lnTo>
                  <a:pt x="149131" y="1033606"/>
                </a:lnTo>
                <a:lnTo>
                  <a:pt x="151696" y="1037897"/>
                </a:lnTo>
                <a:cubicBezTo>
                  <a:pt x="158074" y="1044958"/>
                  <a:pt x="165818" y="1051335"/>
                  <a:pt x="173107" y="1055891"/>
                </a:cubicBezTo>
                <a:cubicBezTo>
                  <a:pt x="163996" y="1043136"/>
                  <a:pt x="147596" y="1028559"/>
                  <a:pt x="138486" y="1015803"/>
                </a:cubicBezTo>
                <a:lnTo>
                  <a:pt x="143772" y="1024644"/>
                </a:lnTo>
                <a:lnTo>
                  <a:pt x="133019" y="1008515"/>
                </a:lnTo>
                <a:cubicBezTo>
                  <a:pt x="133019" y="1010337"/>
                  <a:pt x="134841" y="1008515"/>
                  <a:pt x="136663" y="1010337"/>
                </a:cubicBezTo>
                <a:cubicBezTo>
                  <a:pt x="134841" y="1006692"/>
                  <a:pt x="133019" y="1006692"/>
                  <a:pt x="131197" y="1003047"/>
                </a:cubicBezTo>
                <a:cubicBezTo>
                  <a:pt x="139396" y="1012159"/>
                  <a:pt x="146685" y="1020814"/>
                  <a:pt x="154202" y="1029241"/>
                </a:cubicBezTo>
                <a:lnTo>
                  <a:pt x="175081" y="1050512"/>
                </a:lnTo>
                <a:lnTo>
                  <a:pt x="174929" y="1050425"/>
                </a:lnTo>
                <a:cubicBezTo>
                  <a:pt x="176751" y="1052247"/>
                  <a:pt x="176751" y="1054069"/>
                  <a:pt x="178573" y="1054069"/>
                </a:cubicBezTo>
                <a:lnTo>
                  <a:pt x="175081" y="1050512"/>
                </a:lnTo>
                <a:lnTo>
                  <a:pt x="182901" y="1054980"/>
                </a:lnTo>
                <a:cubicBezTo>
                  <a:pt x="184951" y="1057257"/>
                  <a:pt x="186773" y="1059535"/>
                  <a:pt x="189506" y="1059535"/>
                </a:cubicBezTo>
                <a:cubicBezTo>
                  <a:pt x="185862" y="1059535"/>
                  <a:pt x="187684" y="1052247"/>
                  <a:pt x="182218" y="1048602"/>
                </a:cubicBezTo>
                <a:cubicBezTo>
                  <a:pt x="184040" y="1048602"/>
                  <a:pt x="184040" y="1048602"/>
                  <a:pt x="187684" y="1048602"/>
                </a:cubicBezTo>
                <a:lnTo>
                  <a:pt x="177777" y="1040346"/>
                </a:lnTo>
                <a:lnTo>
                  <a:pt x="170373" y="1032658"/>
                </a:lnTo>
                <a:lnTo>
                  <a:pt x="158534" y="1023096"/>
                </a:lnTo>
                <a:lnTo>
                  <a:pt x="149418" y="1013981"/>
                </a:lnTo>
                <a:cubicBezTo>
                  <a:pt x="144407" y="1010336"/>
                  <a:pt x="139396" y="1006692"/>
                  <a:pt x="136663" y="1001226"/>
                </a:cubicBezTo>
                <a:cubicBezTo>
                  <a:pt x="149419" y="1008515"/>
                  <a:pt x="156707" y="1019448"/>
                  <a:pt x="169462" y="1024914"/>
                </a:cubicBezTo>
                <a:cubicBezTo>
                  <a:pt x="169462" y="1019448"/>
                  <a:pt x="163996" y="1017625"/>
                  <a:pt x="163996" y="1012159"/>
                </a:cubicBezTo>
                <a:cubicBezTo>
                  <a:pt x="168551" y="1017625"/>
                  <a:pt x="174018" y="1023092"/>
                  <a:pt x="179257" y="1028558"/>
                </a:cubicBezTo>
                <a:lnTo>
                  <a:pt x="190242" y="1041524"/>
                </a:lnTo>
                <a:lnTo>
                  <a:pt x="189506" y="1041314"/>
                </a:lnTo>
                <a:cubicBezTo>
                  <a:pt x="191329" y="1044958"/>
                  <a:pt x="194973" y="1044958"/>
                  <a:pt x="194973" y="1046780"/>
                </a:cubicBezTo>
                <a:cubicBezTo>
                  <a:pt x="196795" y="1046780"/>
                  <a:pt x="195884" y="1044502"/>
                  <a:pt x="194290" y="1042680"/>
                </a:cubicBezTo>
                <a:lnTo>
                  <a:pt x="191007" y="1041742"/>
                </a:lnTo>
                <a:lnTo>
                  <a:pt x="171285" y="1012159"/>
                </a:lnTo>
                <a:cubicBezTo>
                  <a:pt x="178573" y="1021270"/>
                  <a:pt x="184040" y="1030381"/>
                  <a:pt x="193151" y="1035847"/>
                </a:cubicBezTo>
                <a:lnTo>
                  <a:pt x="185866" y="1026740"/>
                </a:lnTo>
                <a:lnTo>
                  <a:pt x="196795" y="1037669"/>
                </a:lnTo>
                <a:lnTo>
                  <a:pt x="185865" y="1026739"/>
                </a:lnTo>
                <a:lnTo>
                  <a:pt x="178573" y="1019448"/>
                </a:lnTo>
                <a:cubicBezTo>
                  <a:pt x="182218" y="1021270"/>
                  <a:pt x="184040" y="1021270"/>
                  <a:pt x="185862" y="1019448"/>
                </a:cubicBezTo>
                <a:cubicBezTo>
                  <a:pt x="174929" y="1015803"/>
                  <a:pt x="173107" y="999403"/>
                  <a:pt x="158529" y="999403"/>
                </a:cubicBezTo>
                <a:cubicBezTo>
                  <a:pt x="163996" y="1003047"/>
                  <a:pt x="163996" y="1008515"/>
                  <a:pt x="160352" y="1013981"/>
                </a:cubicBezTo>
                <a:cubicBezTo>
                  <a:pt x="156707" y="1008515"/>
                  <a:pt x="153063" y="1006692"/>
                  <a:pt x="147596" y="1004870"/>
                </a:cubicBezTo>
                <a:cubicBezTo>
                  <a:pt x="149419" y="1006692"/>
                  <a:pt x="151241" y="1006692"/>
                  <a:pt x="153063" y="1006692"/>
                </a:cubicBezTo>
                <a:cubicBezTo>
                  <a:pt x="154885" y="1004870"/>
                  <a:pt x="158529" y="1003047"/>
                  <a:pt x="156707" y="1001226"/>
                </a:cubicBezTo>
                <a:cubicBezTo>
                  <a:pt x="151241" y="997582"/>
                  <a:pt x="145774" y="1004870"/>
                  <a:pt x="142130" y="997582"/>
                </a:cubicBezTo>
                <a:cubicBezTo>
                  <a:pt x="145774" y="999403"/>
                  <a:pt x="149419" y="997582"/>
                  <a:pt x="153063" y="995759"/>
                </a:cubicBezTo>
                <a:lnTo>
                  <a:pt x="106930" y="962352"/>
                </a:lnTo>
                <a:lnTo>
                  <a:pt x="93387" y="948155"/>
                </a:lnTo>
                <a:cubicBezTo>
                  <a:pt x="88375" y="943827"/>
                  <a:pt x="83820" y="939272"/>
                  <a:pt x="81998" y="931983"/>
                </a:cubicBezTo>
                <a:cubicBezTo>
                  <a:pt x="94753" y="946560"/>
                  <a:pt x="105686" y="962960"/>
                  <a:pt x="122086" y="972071"/>
                </a:cubicBezTo>
                <a:cubicBezTo>
                  <a:pt x="120264" y="970249"/>
                  <a:pt x="120264" y="970249"/>
                  <a:pt x="120264" y="966604"/>
                </a:cubicBezTo>
                <a:cubicBezTo>
                  <a:pt x="127552" y="975715"/>
                  <a:pt x="136663" y="983004"/>
                  <a:pt x="147596" y="986649"/>
                </a:cubicBezTo>
                <a:cubicBezTo>
                  <a:pt x="133019" y="973893"/>
                  <a:pt x="123908" y="962960"/>
                  <a:pt x="114797" y="946560"/>
                </a:cubicBezTo>
                <a:cubicBezTo>
                  <a:pt x="129830" y="961593"/>
                  <a:pt x="142814" y="981751"/>
                  <a:pt x="161434" y="993197"/>
                </a:cubicBezTo>
                <a:lnTo>
                  <a:pt x="181771" y="1001053"/>
                </a:lnTo>
                <a:lnTo>
                  <a:pt x="189506" y="1010337"/>
                </a:lnTo>
                <a:lnTo>
                  <a:pt x="186364" y="1002874"/>
                </a:lnTo>
                <a:lnTo>
                  <a:pt x="188140" y="1005326"/>
                </a:lnTo>
                <a:cubicBezTo>
                  <a:pt x="191784" y="1008514"/>
                  <a:pt x="195884" y="1010337"/>
                  <a:pt x="200439" y="1010337"/>
                </a:cubicBezTo>
                <a:cubicBezTo>
                  <a:pt x="193151" y="999403"/>
                  <a:pt x="185862" y="997582"/>
                  <a:pt x="178573" y="992115"/>
                </a:cubicBezTo>
                <a:lnTo>
                  <a:pt x="182050" y="996916"/>
                </a:lnTo>
                <a:lnTo>
                  <a:pt x="176751" y="990293"/>
                </a:lnTo>
                <a:cubicBezTo>
                  <a:pt x="174929" y="992115"/>
                  <a:pt x="174929" y="993937"/>
                  <a:pt x="176751" y="995759"/>
                </a:cubicBezTo>
                <a:cubicBezTo>
                  <a:pt x="171285" y="992115"/>
                  <a:pt x="165818" y="992115"/>
                  <a:pt x="162174" y="988471"/>
                </a:cubicBezTo>
                <a:cubicBezTo>
                  <a:pt x="165818" y="990293"/>
                  <a:pt x="169462" y="992115"/>
                  <a:pt x="173107" y="990293"/>
                </a:cubicBezTo>
                <a:cubicBezTo>
                  <a:pt x="169462" y="986649"/>
                  <a:pt x="163996" y="983004"/>
                  <a:pt x="156707" y="981182"/>
                </a:cubicBezTo>
                <a:cubicBezTo>
                  <a:pt x="160352" y="983004"/>
                  <a:pt x="165818" y="984826"/>
                  <a:pt x="169462" y="983004"/>
                </a:cubicBezTo>
                <a:lnTo>
                  <a:pt x="165589" y="980237"/>
                </a:lnTo>
                <a:lnTo>
                  <a:pt x="171285" y="983004"/>
                </a:lnTo>
                <a:cubicBezTo>
                  <a:pt x="169462" y="977538"/>
                  <a:pt x="162174" y="977538"/>
                  <a:pt x="160352" y="972071"/>
                </a:cubicBezTo>
                <a:cubicBezTo>
                  <a:pt x="173107" y="973893"/>
                  <a:pt x="178573" y="992115"/>
                  <a:pt x="193151" y="990293"/>
                </a:cubicBezTo>
                <a:cubicBezTo>
                  <a:pt x="184951" y="983916"/>
                  <a:pt x="175840" y="978905"/>
                  <a:pt x="166957" y="973438"/>
                </a:cubicBezTo>
                <a:lnTo>
                  <a:pt x="146696" y="957451"/>
                </a:lnTo>
                <a:lnTo>
                  <a:pt x="154885" y="962960"/>
                </a:lnTo>
                <a:cubicBezTo>
                  <a:pt x="151241" y="961138"/>
                  <a:pt x="145774" y="957494"/>
                  <a:pt x="142130" y="953848"/>
                </a:cubicBezTo>
                <a:lnTo>
                  <a:pt x="146696" y="957451"/>
                </a:lnTo>
                <a:lnTo>
                  <a:pt x="142358" y="954532"/>
                </a:lnTo>
                <a:cubicBezTo>
                  <a:pt x="138486" y="951116"/>
                  <a:pt x="134842" y="947471"/>
                  <a:pt x="131197" y="944738"/>
                </a:cubicBezTo>
                <a:cubicBezTo>
                  <a:pt x="134841" y="942916"/>
                  <a:pt x="140308" y="944738"/>
                  <a:pt x="142130" y="948383"/>
                </a:cubicBezTo>
                <a:cubicBezTo>
                  <a:pt x="140308" y="942916"/>
                  <a:pt x="134841" y="941094"/>
                  <a:pt x="131197" y="937450"/>
                </a:cubicBezTo>
                <a:cubicBezTo>
                  <a:pt x="134841" y="939272"/>
                  <a:pt x="140308" y="937450"/>
                  <a:pt x="143952" y="939272"/>
                </a:cubicBezTo>
                <a:cubicBezTo>
                  <a:pt x="143952" y="941094"/>
                  <a:pt x="145774" y="941094"/>
                  <a:pt x="145774" y="942916"/>
                </a:cubicBezTo>
                <a:cubicBezTo>
                  <a:pt x="145774" y="942916"/>
                  <a:pt x="145774" y="941094"/>
                  <a:pt x="145774" y="941094"/>
                </a:cubicBezTo>
                <a:cubicBezTo>
                  <a:pt x="142130" y="937450"/>
                  <a:pt x="140308" y="935628"/>
                  <a:pt x="140308" y="931983"/>
                </a:cubicBezTo>
                <a:cubicBezTo>
                  <a:pt x="145774" y="944738"/>
                  <a:pt x="158529" y="950204"/>
                  <a:pt x="167640" y="957494"/>
                </a:cubicBezTo>
                <a:cubicBezTo>
                  <a:pt x="167640" y="962960"/>
                  <a:pt x="178573" y="972071"/>
                  <a:pt x="182218" y="968427"/>
                </a:cubicBezTo>
                <a:cubicBezTo>
                  <a:pt x="176751" y="964782"/>
                  <a:pt x="171285" y="959316"/>
                  <a:pt x="167640" y="957494"/>
                </a:cubicBezTo>
                <a:cubicBezTo>
                  <a:pt x="165818" y="952026"/>
                  <a:pt x="160352" y="946560"/>
                  <a:pt x="154885" y="942916"/>
                </a:cubicBezTo>
                <a:cubicBezTo>
                  <a:pt x="156707" y="942916"/>
                  <a:pt x="156707" y="942916"/>
                  <a:pt x="160352" y="942916"/>
                </a:cubicBezTo>
                <a:cubicBezTo>
                  <a:pt x="156707" y="937450"/>
                  <a:pt x="153063" y="933804"/>
                  <a:pt x="149419" y="930160"/>
                </a:cubicBezTo>
                <a:cubicBezTo>
                  <a:pt x="153063" y="931983"/>
                  <a:pt x="154885" y="933804"/>
                  <a:pt x="158529" y="935628"/>
                </a:cubicBezTo>
                <a:cubicBezTo>
                  <a:pt x="160352" y="933804"/>
                  <a:pt x="160352" y="931983"/>
                  <a:pt x="158529" y="928339"/>
                </a:cubicBezTo>
                <a:cubicBezTo>
                  <a:pt x="160352" y="928339"/>
                  <a:pt x="160352" y="931983"/>
                  <a:pt x="162174" y="933804"/>
                </a:cubicBezTo>
                <a:cubicBezTo>
                  <a:pt x="163996" y="931983"/>
                  <a:pt x="160352" y="928339"/>
                  <a:pt x="160352" y="926516"/>
                </a:cubicBezTo>
                <a:cubicBezTo>
                  <a:pt x="149419" y="919227"/>
                  <a:pt x="138486" y="915583"/>
                  <a:pt x="127552" y="910117"/>
                </a:cubicBezTo>
                <a:cubicBezTo>
                  <a:pt x="127552" y="913761"/>
                  <a:pt x="129375" y="913761"/>
                  <a:pt x="131197" y="915583"/>
                </a:cubicBezTo>
                <a:cubicBezTo>
                  <a:pt x="120264" y="906473"/>
                  <a:pt x="107509" y="901005"/>
                  <a:pt x="96576" y="893717"/>
                </a:cubicBezTo>
                <a:cubicBezTo>
                  <a:pt x="100220" y="895539"/>
                  <a:pt x="102042" y="895539"/>
                  <a:pt x="105686" y="897361"/>
                </a:cubicBezTo>
                <a:cubicBezTo>
                  <a:pt x="89287" y="888250"/>
                  <a:pt x="74709" y="877317"/>
                  <a:pt x="61954" y="864562"/>
                </a:cubicBezTo>
                <a:cubicBezTo>
                  <a:pt x="74709" y="877317"/>
                  <a:pt x="89287" y="886428"/>
                  <a:pt x="105686" y="893717"/>
                </a:cubicBezTo>
                <a:cubicBezTo>
                  <a:pt x="100220" y="888250"/>
                  <a:pt x="92931" y="884606"/>
                  <a:pt x="89287" y="877317"/>
                </a:cubicBezTo>
                <a:cubicBezTo>
                  <a:pt x="94753" y="877317"/>
                  <a:pt x="94753" y="884606"/>
                  <a:pt x="100220" y="884606"/>
                </a:cubicBezTo>
                <a:cubicBezTo>
                  <a:pt x="100220" y="882784"/>
                  <a:pt x="100220" y="880961"/>
                  <a:pt x="98398" y="879139"/>
                </a:cubicBezTo>
                <a:cubicBezTo>
                  <a:pt x="100220" y="884606"/>
                  <a:pt x="102953" y="890072"/>
                  <a:pt x="107053" y="894628"/>
                </a:cubicBezTo>
                <a:lnTo>
                  <a:pt x="123826" y="904602"/>
                </a:lnTo>
                <a:lnTo>
                  <a:pt x="124136" y="905333"/>
                </a:lnTo>
                <a:cubicBezTo>
                  <a:pt x="127097" y="908750"/>
                  <a:pt x="131196" y="911027"/>
                  <a:pt x="136663" y="911939"/>
                </a:cubicBezTo>
                <a:cubicBezTo>
                  <a:pt x="133019" y="908295"/>
                  <a:pt x="127552" y="904651"/>
                  <a:pt x="127552" y="899183"/>
                </a:cubicBezTo>
                <a:cubicBezTo>
                  <a:pt x="134841" y="910117"/>
                  <a:pt x="143952" y="919227"/>
                  <a:pt x="156707" y="922872"/>
                </a:cubicBezTo>
                <a:cubicBezTo>
                  <a:pt x="145774" y="906473"/>
                  <a:pt x="127552" y="901005"/>
                  <a:pt x="116619" y="884606"/>
                </a:cubicBezTo>
                <a:cubicBezTo>
                  <a:pt x="120264" y="884606"/>
                  <a:pt x="120264" y="886428"/>
                  <a:pt x="123908" y="886428"/>
                </a:cubicBezTo>
                <a:cubicBezTo>
                  <a:pt x="123908" y="884606"/>
                  <a:pt x="122086" y="884606"/>
                  <a:pt x="122086" y="882784"/>
                </a:cubicBezTo>
                <a:cubicBezTo>
                  <a:pt x="123908" y="884606"/>
                  <a:pt x="127552" y="886428"/>
                  <a:pt x="129375" y="888250"/>
                </a:cubicBezTo>
                <a:cubicBezTo>
                  <a:pt x="114797" y="868206"/>
                  <a:pt x="94753" y="851807"/>
                  <a:pt x="80176" y="833585"/>
                </a:cubicBezTo>
                <a:cubicBezTo>
                  <a:pt x="87465" y="835407"/>
                  <a:pt x="87465" y="842696"/>
                  <a:pt x="94753" y="844518"/>
                </a:cubicBezTo>
                <a:cubicBezTo>
                  <a:pt x="85642" y="837229"/>
                  <a:pt x="78354" y="826296"/>
                  <a:pt x="74709" y="815363"/>
                </a:cubicBezTo>
                <a:lnTo>
                  <a:pt x="102799" y="850845"/>
                </a:lnTo>
                <a:lnTo>
                  <a:pt x="100220" y="849985"/>
                </a:lnTo>
                <a:lnTo>
                  <a:pt x="105913" y="856818"/>
                </a:lnTo>
                <a:lnTo>
                  <a:pt x="103864" y="855451"/>
                </a:lnTo>
                <a:cubicBezTo>
                  <a:pt x="105686" y="862740"/>
                  <a:pt x="114797" y="871851"/>
                  <a:pt x="120264" y="870028"/>
                </a:cubicBezTo>
                <a:cubicBezTo>
                  <a:pt x="116619" y="866384"/>
                  <a:pt x="112975" y="862740"/>
                  <a:pt x="109331" y="860918"/>
                </a:cubicBezTo>
                <a:lnTo>
                  <a:pt x="105913" y="856818"/>
                </a:lnTo>
                <a:lnTo>
                  <a:pt x="109331" y="859095"/>
                </a:lnTo>
                <a:lnTo>
                  <a:pt x="102799" y="850845"/>
                </a:lnTo>
                <a:lnTo>
                  <a:pt x="105686" y="851807"/>
                </a:lnTo>
                <a:cubicBezTo>
                  <a:pt x="92931" y="835407"/>
                  <a:pt x="80176" y="820830"/>
                  <a:pt x="67421" y="802608"/>
                </a:cubicBezTo>
                <a:cubicBezTo>
                  <a:pt x="80176" y="815363"/>
                  <a:pt x="91109" y="833585"/>
                  <a:pt x="105686" y="846340"/>
                </a:cubicBezTo>
                <a:cubicBezTo>
                  <a:pt x="98398" y="837229"/>
                  <a:pt x="92931" y="831763"/>
                  <a:pt x="87465" y="824474"/>
                </a:cubicBezTo>
                <a:cubicBezTo>
                  <a:pt x="105686" y="839051"/>
                  <a:pt x="116619" y="860918"/>
                  <a:pt x="138486" y="871851"/>
                </a:cubicBezTo>
                <a:cubicBezTo>
                  <a:pt x="131197" y="859095"/>
                  <a:pt x="127552" y="844518"/>
                  <a:pt x="116619" y="833585"/>
                </a:cubicBezTo>
                <a:cubicBezTo>
                  <a:pt x="118442" y="835407"/>
                  <a:pt x="120264" y="835407"/>
                  <a:pt x="122086" y="837229"/>
                </a:cubicBezTo>
                <a:cubicBezTo>
                  <a:pt x="120264" y="835407"/>
                  <a:pt x="118442" y="829941"/>
                  <a:pt x="120264" y="826296"/>
                </a:cubicBezTo>
                <a:cubicBezTo>
                  <a:pt x="123908" y="839052"/>
                  <a:pt x="128008" y="850896"/>
                  <a:pt x="133702" y="861601"/>
                </a:cubicBezTo>
                <a:lnTo>
                  <a:pt x="154570" y="887427"/>
                </a:lnTo>
                <a:lnTo>
                  <a:pt x="156707" y="899183"/>
                </a:lnTo>
                <a:cubicBezTo>
                  <a:pt x="158529" y="901005"/>
                  <a:pt x="158529" y="901005"/>
                  <a:pt x="160352" y="902827"/>
                </a:cubicBezTo>
                <a:cubicBezTo>
                  <a:pt x="160352" y="899183"/>
                  <a:pt x="160352" y="899183"/>
                  <a:pt x="160352" y="897361"/>
                </a:cubicBezTo>
                <a:cubicBezTo>
                  <a:pt x="163996" y="908295"/>
                  <a:pt x="173107" y="917405"/>
                  <a:pt x="180396" y="926516"/>
                </a:cubicBezTo>
                <a:lnTo>
                  <a:pt x="177297" y="916532"/>
                </a:lnTo>
                <a:lnTo>
                  <a:pt x="184040" y="929933"/>
                </a:lnTo>
                <a:cubicBezTo>
                  <a:pt x="190873" y="941549"/>
                  <a:pt x="199528" y="952026"/>
                  <a:pt x="213195" y="959316"/>
                </a:cubicBezTo>
                <a:cubicBezTo>
                  <a:pt x="213195" y="962960"/>
                  <a:pt x="218661" y="962960"/>
                  <a:pt x="220483" y="966604"/>
                </a:cubicBezTo>
                <a:lnTo>
                  <a:pt x="218562" y="963797"/>
                </a:lnTo>
                <a:lnTo>
                  <a:pt x="217523" y="962277"/>
                </a:lnTo>
                <a:cubicBezTo>
                  <a:pt x="215928" y="960682"/>
                  <a:pt x="214106" y="959316"/>
                  <a:pt x="213195" y="959316"/>
                </a:cubicBezTo>
                <a:cubicBezTo>
                  <a:pt x="211372" y="950204"/>
                  <a:pt x="205906" y="944738"/>
                  <a:pt x="200439" y="939272"/>
                </a:cubicBezTo>
                <a:cubicBezTo>
                  <a:pt x="209550" y="946560"/>
                  <a:pt x="216839" y="955672"/>
                  <a:pt x="222306" y="966604"/>
                </a:cubicBezTo>
                <a:cubicBezTo>
                  <a:pt x="225950" y="966604"/>
                  <a:pt x="229594" y="968427"/>
                  <a:pt x="231416" y="970249"/>
                </a:cubicBezTo>
                <a:cubicBezTo>
                  <a:pt x="218661" y="950204"/>
                  <a:pt x="204084" y="931983"/>
                  <a:pt x="189506" y="911939"/>
                </a:cubicBezTo>
                <a:cubicBezTo>
                  <a:pt x="189506" y="913761"/>
                  <a:pt x="191329" y="913761"/>
                  <a:pt x="194973" y="913761"/>
                </a:cubicBezTo>
                <a:cubicBezTo>
                  <a:pt x="191329" y="906473"/>
                  <a:pt x="184040" y="902827"/>
                  <a:pt x="182218" y="893717"/>
                </a:cubicBezTo>
                <a:lnTo>
                  <a:pt x="203886" y="915385"/>
                </a:lnTo>
                <a:lnTo>
                  <a:pt x="194972" y="904689"/>
                </a:lnTo>
                <a:cubicBezTo>
                  <a:pt x="198617" y="910156"/>
                  <a:pt x="204083" y="913800"/>
                  <a:pt x="207727" y="917444"/>
                </a:cubicBezTo>
                <a:lnTo>
                  <a:pt x="204526" y="915843"/>
                </a:lnTo>
                <a:lnTo>
                  <a:pt x="235061" y="933804"/>
                </a:lnTo>
                <a:cubicBezTo>
                  <a:pt x="231416" y="931983"/>
                  <a:pt x="231416" y="928339"/>
                  <a:pt x="231416" y="922872"/>
                </a:cubicBezTo>
                <a:cubicBezTo>
                  <a:pt x="235061" y="928339"/>
                  <a:pt x="236883" y="931983"/>
                  <a:pt x="240527" y="935628"/>
                </a:cubicBezTo>
                <a:cubicBezTo>
                  <a:pt x="242349" y="926516"/>
                  <a:pt x="233239" y="919227"/>
                  <a:pt x="224128" y="919227"/>
                </a:cubicBezTo>
                <a:cubicBezTo>
                  <a:pt x="227772" y="919227"/>
                  <a:pt x="229594" y="919227"/>
                  <a:pt x="233239" y="919227"/>
                </a:cubicBezTo>
                <a:cubicBezTo>
                  <a:pt x="224128" y="902827"/>
                  <a:pt x="205906" y="910117"/>
                  <a:pt x="194973" y="899183"/>
                </a:cubicBezTo>
                <a:cubicBezTo>
                  <a:pt x="202262" y="897361"/>
                  <a:pt x="205906" y="904651"/>
                  <a:pt x="213195" y="904651"/>
                </a:cubicBezTo>
                <a:cubicBezTo>
                  <a:pt x="211372" y="902827"/>
                  <a:pt x="211372" y="902827"/>
                  <a:pt x="209550" y="901005"/>
                </a:cubicBezTo>
                <a:cubicBezTo>
                  <a:pt x="213195" y="902827"/>
                  <a:pt x="218661" y="904651"/>
                  <a:pt x="222306" y="906473"/>
                </a:cubicBezTo>
                <a:cubicBezTo>
                  <a:pt x="220483" y="904651"/>
                  <a:pt x="220483" y="901005"/>
                  <a:pt x="218661" y="899183"/>
                </a:cubicBezTo>
                <a:cubicBezTo>
                  <a:pt x="222306" y="902827"/>
                  <a:pt x="224128" y="908295"/>
                  <a:pt x="225950" y="904651"/>
                </a:cubicBezTo>
                <a:cubicBezTo>
                  <a:pt x="225950" y="901005"/>
                  <a:pt x="225950" y="901005"/>
                  <a:pt x="225950" y="899183"/>
                </a:cubicBezTo>
                <a:cubicBezTo>
                  <a:pt x="231416" y="902827"/>
                  <a:pt x="236883" y="906473"/>
                  <a:pt x="244172" y="906473"/>
                </a:cubicBezTo>
                <a:cubicBezTo>
                  <a:pt x="240527" y="901005"/>
                  <a:pt x="235061" y="897361"/>
                  <a:pt x="229594" y="897361"/>
                </a:cubicBezTo>
                <a:cubicBezTo>
                  <a:pt x="231416" y="897361"/>
                  <a:pt x="231416" y="897361"/>
                  <a:pt x="235061" y="897361"/>
                </a:cubicBezTo>
                <a:cubicBezTo>
                  <a:pt x="216839" y="884606"/>
                  <a:pt x="198617" y="877317"/>
                  <a:pt x="180396" y="866384"/>
                </a:cubicBezTo>
                <a:cubicBezTo>
                  <a:pt x="185862" y="866384"/>
                  <a:pt x="193151" y="866384"/>
                  <a:pt x="196795" y="870028"/>
                </a:cubicBezTo>
                <a:lnTo>
                  <a:pt x="180605" y="850146"/>
                </a:lnTo>
                <a:lnTo>
                  <a:pt x="204084" y="868206"/>
                </a:lnTo>
                <a:cubicBezTo>
                  <a:pt x="205906" y="866384"/>
                  <a:pt x="204084" y="866384"/>
                  <a:pt x="204084" y="864562"/>
                </a:cubicBezTo>
                <a:cubicBezTo>
                  <a:pt x="205906" y="866384"/>
                  <a:pt x="209550" y="870028"/>
                  <a:pt x="215017" y="871851"/>
                </a:cubicBezTo>
                <a:cubicBezTo>
                  <a:pt x="213195" y="870028"/>
                  <a:pt x="213195" y="868206"/>
                  <a:pt x="211372" y="866384"/>
                </a:cubicBezTo>
                <a:cubicBezTo>
                  <a:pt x="215017" y="868206"/>
                  <a:pt x="218661" y="870028"/>
                  <a:pt x="222306" y="871851"/>
                </a:cubicBezTo>
                <a:cubicBezTo>
                  <a:pt x="216839" y="865473"/>
                  <a:pt x="210006" y="860007"/>
                  <a:pt x="202717" y="856135"/>
                </a:cubicBezTo>
                <a:lnTo>
                  <a:pt x="180497" y="850013"/>
                </a:lnTo>
                <a:lnTo>
                  <a:pt x="157846" y="822197"/>
                </a:lnTo>
                <a:cubicBezTo>
                  <a:pt x="144863" y="806253"/>
                  <a:pt x="131196" y="790764"/>
                  <a:pt x="114797" y="777098"/>
                </a:cubicBezTo>
                <a:cubicBezTo>
                  <a:pt x="127552" y="782564"/>
                  <a:pt x="131197" y="793497"/>
                  <a:pt x="142130" y="800786"/>
                </a:cubicBezTo>
                <a:cubicBezTo>
                  <a:pt x="138486" y="797141"/>
                  <a:pt x="134841" y="791675"/>
                  <a:pt x="131197" y="788031"/>
                </a:cubicBezTo>
                <a:cubicBezTo>
                  <a:pt x="151241" y="806252"/>
                  <a:pt x="163996" y="835407"/>
                  <a:pt x="194973" y="840874"/>
                </a:cubicBezTo>
                <a:cubicBezTo>
                  <a:pt x="180396" y="829941"/>
                  <a:pt x="169462" y="813541"/>
                  <a:pt x="153063" y="804430"/>
                </a:cubicBezTo>
                <a:cubicBezTo>
                  <a:pt x="153063" y="802608"/>
                  <a:pt x="154885" y="804430"/>
                  <a:pt x="156707" y="802608"/>
                </a:cubicBezTo>
                <a:cubicBezTo>
                  <a:pt x="153063" y="798964"/>
                  <a:pt x="151241" y="797141"/>
                  <a:pt x="149419" y="793497"/>
                </a:cubicBezTo>
                <a:cubicBezTo>
                  <a:pt x="162174" y="809897"/>
                  <a:pt x="178573" y="822652"/>
                  <a:pt x="196795" y="831763"/>
                </a:cubicBezTo>
                <a:cubicBezTo>
                  <a:pt x="194973" y="826296"/>
                  <a:pt x="185862" y="824474"/>
                  <a:pt x="184040" y="819008"/>
                </a:cubicBezTo>
                <a:cubicBezTo>
                  <a:pt x="187684" y="820830"/>
                  <a:pt x="191329" y="824474"/>
                  <a:pt x="194973" y="826296"/>
                </a:cubicBezTo>
                <a:cubicBezTo>
                  <a:pt x="194973" y="824474"/>
                  <a:pt x="194973" y="822652"/>
                  <a:pt x="193151" y="820830"/>
                </a:cubicBezTo>
                <a:cubicBezTo>
                  <a:pt x="200439" y="828118"/>
                  <a:pt x="205906" y="835407"/>
                  <a:pt x="215017" y="840874"/>
                </a:cubicBezTo>
                <a:cubicBezTo>
                  <a:pt x="211372" y="829941"/>
                  <a:pt x="196795" y="824474"/>
                  <a:pt x="193151" y="811719"/>
                </a:cubicBezTo>
                <a:cubicBezTo>
                  <a:pt x="196795" y="817185"/>
                  <a:pt x="200439" y="824474"/>
                  <a:pt x="207728" y="828118"/>
                </a:cubicBezTo>
                <a:cubicBezTo>
                  <a:pt x="209550" y="829941"/>
                  <a:pt x="213195" y="831763"/>
                  <a:pt x="215017" y="829941"/>
                </a:cubicBezTo>
                <a:cubicBezTo>
                  <a:pt x="202262" y="809897"/>
                  <a:pt x="182218" y="800786"/>
                  <a:pt x="162174" y="789853"/>
                </a:cubicBezTo>
                <a:cubicBezTo>
                  <a:pt x="173107" y="791675"/>
                  <a:pt x="178573" y="800786"/>
                  <a:pt x="189506" y="802608"/>
                </a:cubicBezTo>
                <a:cubicBezTo>
                  <a:pt x="187684" y="800786"/>
                  <a:pt x="185862" y="798964"/>
                  <a:pt x="184040" y="797141"/>
                </a:cubicBezTo>
                <a:cubicBezTo>
                  <a:pt x="187684" y="798964"/>
                  <a:pt x="191329" y="798964"/>
                  <a:pt x="193151" y="802608"/>
                </a:cubicBezTo>
                <a:cubicBezTo>
                  <a:pt x="182218" y="788031"/>
                  <a:pt x="167640" y="778920"/>
                  <a:pt x="149419" y="775275"/>
                </a:cubicBezTo>
                <a:lnTo>
                  <a:pt x="153063" y="775275"/>
                </a:lnTo>
                <a:cubicBezTo>
                  <a:pt x="149419" y="769809"/>
                  <a:pt x="145774" y="767987"/>
                  <a:pt x="140308" y="767987"/>
                </a:cubicBezTo>
                <a:cubicBezTo>
                  <a:pt x="138486" y="769809"/>
                  <a:pt x="142130" y="771631"/>
                  <a:pt x="143952" y="771631"/>
                </a:cubicBezTo>
                <a:cubicBezTo>
                  <a:pt x="142130" y="771631"/>
                  <a:pt x="140308" y="771631"/>
                  <a:pt x="138486" y="773453"/>
                </a:cubicBezTo>
                <a:cubicBezTo>
                  <a:pt x="138486" y="771631"/>
                  <a:pt x="136663" y="771631"/>
                  <a:pt x="136663" y="769809"/>
                </a:cubicBezTo>
                <a:cubicBezTo>
                  <a:pt x="134841" y="769809"/>
                  <a:pt x="131197" y="769809"/>
                  <a:pt x="129375" y="771631"/>
                </a:cubicBezTo>
                <a:cubicBezTo>
                  <a:pt x="131197" y="769809"/>
                  <a:pt x="133019" y="769809"/>
                  <a:pt x="136663" y="764342"/>
                </a:cubicBezTo>
                <a:cubicBezTo>
                  <a:pt x="129375" y="757054"/>
                  <a:pt x="118442" y="762520"/>
                  <a:pt x="109331" y="764342"/>
                </a:cubicBezTo>
                <a:cubicBezTo>
                  <a:pt x="111153" y="762520"/>
                  <a:pt x="114797" y="760698"/>
                  <a:pt x="116619" y="758876"/>
                </a:cubicBezTo>
                <a:cubicBezTo>
                  <a:pt x="114797" y="758876"/>
                  <a:pt x="114797" y="758876"/>
                  <a:pt x="112975" y="758876"/>
                </a:cubicBezTo>
                <a:cubicBezTo>
                  <a:pt x="83820" y="747943"/>
                  <a:pt x="45555" y="757054"/>
                  <a:pt x="23689" y="729721"/>
                </a:cubicBezTo>
                <a:cubicBezTo>
                  <a:pt x="45555" y="747943"/>
                  <a:pt x="74709" y="746121"/>
                  <a:pt x="100220" y="753409"/>
                </a:cubicBezTo>
                <a:lnTo>
                  <a:pt x="98398" y="751587"/>
                </a:lnTo>
                <a:cubicBezTo>
                  <a:pt x="107509" y="755231"/>
                  <a:pt x="118442" y="758876"/>
                  <a:pt x="127552" y="760698"/>
                </a:cubicBezTo>
                <a:cubicBezTo>
                  <a:pt x="127552" y="758876"/>
                  <a:pt x="127552" y="755231"/>
                  <a:pt x="125730" y="753409"/>
                </a:cubicBezTo>
                <a:cubicBezTo>
                  <a:pt x="129375" y="762520"/>
                  <a:pt x="138486" y="764342"/>
                  <a:pt x="147596" y="766164"/>
                </a:cubicBezTo>
                <a:cubicBezTo>
                  <a:pt x="102042" y="716966"/>
                  <a:pt x="32799" y="693278"/>
                  <a:pt x="1822" y="631324"/>
                </a:cubicBezTo>
                <a:cubicBezTo>
                  <a:pt x="21866" y="662301"/>
                  <a:pt x="45555" y="689633"/>
                  <a:pt x="78354" y="706033"/>
                </a:cubicBezTo>
                <a:cubicBezTo>
                  <a:pt x="63776" y="691455"/>
                  <a:pt x="41910" y="682345"/>
                  <a:pt x="30977" y="664123"/>
                </a:cubicBezTo>
                <a:cubicBezTo>
                  <a:pt x="40088" y="675056"/>
                  <a:pt x="52843" y="685989"/>
                  <a:pt x="65599" y="689633"/>
                </a:cubicBezTo>
                <a:cubicBezTo>
                  <a:pt x="47377" y="673234"/>
                  <a:pt x="34622" y="651368"/>
                  <a:pt x="21866" y="631324"/>
                </a:cubicBezTo>
                <a:cubicBezTo>
                  <a:pt x="36444" y="655012"/>
                  <a:pt x="54666" y="676878"/>
                  <a:pt x="72887" y="696922"/>
                </a:cubicBezTo>
                <a:cubicBezTo>
                  <a:pt x="43732" y="656834"/>
                  <a:pt x="18222" y="616746"/>
                  <a:pt x="0" y="571192"/>
                </a:cubicBezTo>
                <a:cubicBezTo>
                  <a:pt x="27333" y="633146"/>
                  <a:pt x="63776" y="698744"/>
                  <a:pt x="127552" y="729721"/>
                </a:cubicBezTo>
                <a:cubicBezTo>
                  <a:pt x="127552" y="727899"/>
                  <a:pt x="125730" y="724254"/>
                  <a:pt x="123908" y="724254"/>
                </a:cubicBezTo>
                <a:cubicBezTo>
                  <a:pt x="129375" y="731543"/>
                  <a:pt x="134841" y="738832"/>
                  <a:pt x="140308" y="738832"/>
                </a:cubicBezTo>
                <a:cubicBezTo>
                  <a:pt x="133019" y="726077"/>
                  <a:pt x="123908" y="713321"/>
                  <a:pt x="114797" y="707855"/>
                </a:cubicBezTo>
                <a:cubicBezTo>
                  <a:pt x="114797" y="711499"/>
                  <a:pt x="118442" y="715144"/>
                  <a:pt x="120264" y="718788"/>
                </a:cubicBezTo>
                <a:cubicBezTo>
                  <a:pt x="112975" y="708766"/>
                  <a:pt x="102953" y="701478"/>
                  <a:pt x="92703" y="693961"/>
                </a:cubicBezTo>
                <a:lnTo>
                  <a:pt x="83488" y="685617"/>
                </a:lnTo>
                <a:lnTo>
                  <a:pt x="105686" y="700566"/>
                </a:lnTo>
                <a:lnTo>
                  <a:pt x="77721" y="662445"/>
                </a:lnTo>
                <a:lnTo>
                  <a:pt x="105686" y="693278"/>
                </a:lnTo>
                <a:cubicBezTo>
                  <a:pt x="107509" y="696922"/>
                  <a:pt x="105686" y="706033"/>
                  <a:pt x="112975" y="702388"/>
                </a:cubicBezTo>
                <a:cubicBezTo>
                  <a:pt x="111153" y="700566"/>
                  <a:pt x="107509" y="696922"/>
                  <a:pt x="105686" y="693278"/>
                </a:cubicBezTo>
                <a:cubicBezTo>
                  <a:pt x="98398" y="682345"/>
                  <a:pt x="91109" y="669589"/>
                  <a:pt x="80176" y="662301"/>
                </a:cubicBezTo>
                <a:cubicBezTo>
                  <a:pt x="67421" y="647723"/>
                  <a:pt x="58310" y="629501"/>
                  <a:pt x="45555" y="609459"/>
                </a:cubicBezTo>
                <a:lnTo>
                  <a:pt x="65787" y="646176"/>
                </a:lnTo>
                <a:lnTo>
                  <a:pt x="57399" y="634741"/>
                </a:lnTo>
                <a:cubicBezTo>
                  <a:pt x="43732" y="611280"/>
                  <a:pt x="31888" y="586681"/>
                  <a:pt x="20044" y="562081"/>
                </a:cubicBezTo>
                <a:lnTo>
                  <a:pt x="68723" y="639157"/>
                </a:lnTo>
                <a:lnTo>
                  <a:pt x="61954" y="631324"/>
                </a:lnTo>
                <a:cubicBezTo>
                  <a:pt x="71065" y="642257"/>
                  <a:pt x="80176" y="653190"/>
                  <a:pt x="85642" y="665945"/>
                </a:cubicBezTo>
                <a:lnTo>
                  <a:pt x="68723" y="639157"/>
                </a:lnTo>
                <a:lnTo>
                  <a:pt x="77898" y="649774"/>
                </a:lnTo>
                <a:cubicBezTo>
                  <a:pt x="82453" y="656379"/>
                  <a:pt x="86553" y="663212"/>
                  <a:pt x="91109" y="669589"/>
                </a:cubicBezTo>
                <a:lnTo>
                  <a:pt x="74707" y="620385"/>
                </a:lnTo>
                <a:lnTo>
                  <a:pt x="65599" y="587591"/>
                </a:lnTo>
                <a:lnTo>
                  <a:pt x="78055" y="607686"/>
                </a:lnTo>
                <a:lnTo>
                  <a:pt x="71065" y="596702"/>
                </a:lnTo>
                <a:cubicBezTo>
                  <a:pt x="83820" y="642257"/>
                  <a:pt x="98398" y="693278"/>
                  <a:pt x="138486" y="724254"/>
                </a:cubicBezTo>
                <a:cubicBezTo>
                  <a:pt x="136663" y="718788"/>
                  <a:pt x="134841" y="715144"/>
                  <a:pt x="133019" y="711499"/>
                </a:cubicBezTo>
                <a:cubicBezTo>
                  <a:pt x="139396" y="722432"/>
                  <a:pt x="146230" y="733365"/>
                  <a:pt x="154657" y="742932"/>
                </a:cubicBezTo>
                <a:lnTo>
                  <a:pt x="180248" y="761985"/>
                </a:lnTo>
                <a:lnTo>
                  <a:pt x="184951" y="766165"/>
                </a:lnTo>
                <a:cubicBezTo>
                  <a:pt x="187229" y="769354"/>
                  <a:pt x="189506" y="772542"/>
                  <a:pt x="193151" y="773453"/>
                </a:cubicBezTo>
                <a:cubicBezTo>
                  <a:pt x="182218" y="758876"/>
                  <a:pt x="173107" y="746121"/>
                  <a:pt x="158529" y="737010"/>
                </a:cubicBezTo>
                <a:cubicBezTo>
                  <a:pt x="156707" y="733365"/>
                  <a:pt x="154885" y="729721"/>
                  <a:pt x="153063" y="727899"/>
                </a:cubicBezTo>
                <a:cubicBezTo>
                  <a:pt x="160352" y="729721"/>
                  <a:pt x="165818" y="742476"/>
                  <a:pt x="173107" y="742476"/>
                </a:cubicBezTo>
                <a:cubicBezTo>
                  <a:pt x="160352" y="724254"/>
                  <a:pt x="145774" y="706033"/>
                  <a:pt x="133019" y="689633"/>
                </a:cubicBezTo>
                <a:cubicBezTo>
                  <a:pt x="138486" y="695100"/>
                  <a:pt x="143952" y="700566"/>
                  <a:pt x="149419" y="704211"/>
                </a:cubicBezTo>
                <a:cubicBezTo>
                  <a:pt x="136663" y="667767"/>
                  <a:pt x="122086" y="631324"/>
                  <a:pt x="94753" y="602169"/>
                </a:cubicBezTo>
                <a:lnTo>
                  <a:pt x="101564" y="621555"/>
                </a:lnTo>
                <a:lnTo>
                  <a:pt x="89742" y="596019"/>
                </a:lnTo>
                <a:cubicBezTo>
                  <a:pt x="78809" y="573925"/>
                  <a:pt x="67420" y="552060"/>
                  <a:pt x="60132" y="529282"/>
                </a:cubicBezTo>
                <a:cubicBezTo>
                  <a:pt x="69243" y="543860"/>
                  <a:pt x="72887" y="562081"/>
                  <a:pt x="85642" y="576658"/>
                </a:cubicBezTo>
                <a:cubicBezTo>
                  <a:pt x="83820" y="571192"/>
                  <a:pt x="81998" y="565725"/>
                  <a:pt x="81998" y="560260"/>
                </a:cubicBezTo>
                <a:cubicBezTo>
                  <a:pt x="83820" y="585769"/>
                  <a:pt x="102042" y="603991"/>
                  <a:pt x="118442" y="624035"/>
                </a:cubicBezTo>
                <a:cubicBezTo>
                  <a:pt x="107509" y="596702"/>
                  <a:pt x="92931" y="567548"/>
                  <a:pt x="89287" y="538393"/>
                </a:cubicBezTo>
                <a:cubicBezTo>
                  <a:pt x="91109" y="551148"/>
                  <a:pt x="96576" y="565725"/>
                  <a:pt x="112975" y="576658"/>
                </a:cubicBezTo>
                <a:cubicBezTo>
                  <a:pt x="112975" y="565725"/>
                  <a:pt x="107509" y="556616"/>
                  <a:pt x="107509" y="547504"/>
                </a:cubicBezTo>
                <a:cubicBezTo>
                  <a:pt x="116619" y="573014"/>
                  <a:pt x="118442" y="602169"/>
                  <a:pt x="138486" y="624035"/>
                </a:cubicBezTo>
                <a:cubicBezTo>
                  <a:pt x="136663" y="618568"/>
                  <a:pt x="134841" y="613103"/>
                  <a:pt x="134841" y="607635"/>
                </a:cubicBezTo>
                <a:cubicBezTo>
                  <a:pt x="136663" y="625857"/>
                  <a:pt x="153063" y="636790"/>
                  <a:pt x="162174" y="651368"/>
                </a:cubicBezTo>
                <a:cubicBezTo>
                  <a:pt x="147596" y="620391"/>
                  <a:pt x="123908" y="593058"/>
                  <a:pt x="114797" y="560260"/>
                </a:cubicBezTo>
                <a:cubicBezTo>
                  <a:pt x="120263" y="578481"/>
                  <a:pt x="129830" y="593969"/>
                  <a:pt x="140535" y="609002"/>
                </a:cubicBezTo>
                <a:lnTo>
                  <a:pt x="168325" y="648257"/>
                </a:lnTo>
                <a:lnTo>
                  <a:pt x="182218" y="671411"/>
                </a:lnTo>
                <a:cubicBezTo>
                  <a:pt x="180396" y="662301"/>
                  <a:pt x="174929" y="653190"/>
                  <a:pt x="169462" y="645901"/>
                </a:cubicBezTo>
                <a:lnTo>
                  <a:pt x="169132" y="645736"/>
                </a:lnTo>
                <a:lnTo>
                  <a:pt x="162174" y="629501"/>
                </a:lnTo>
                <a:lnTo>
                  <a:pt x="163996" y="633147"/>
                </a:lnTo>
                <a:lnTo>
                  <a:pt x="163997" y="633149"/>
                </a:lnTo>
                <a:lnTo>
                  <a:pt x="167640" y="640435"/>
                </a:lnTo>
                <a:lnTo>
                  <a:pt x="165477" y="635749"/>
                </a:lnTo>
                <a:lnTo>
                  <a:pt x="179940" y="661162"/>
                </a:lnTo>
                <a:cubicBezTo>
                  <a:pt x="185406" y="671867"/>
                  <a:pt x="191328" y="682345"/>
                  <a:pt x="198617" y="687811"/>
                </a:cubicBezTo>
                <a:cubicBezTo>
                  <a:pt x="198617" y="685989"/>
                  <a:pt x="196795" y="684167"/>
                  <a:pt x="196795" y="682345"/>
                </a:cubicBezTo>
                <a:cubicBezTo>
                  <a:pt x="198617" y="684167"/>
                  <a:pt x="200439" y="685989"/>
                  <a:pt x="202262" y="687811"/>
                </a:cubicBezTo>
                <a:cubicBezTo>
                  <a:pt x="200439" y="675967"/>
                  <a:pt x="195884" y="665490"/>
                  <a:pt x="189279" y="656379"/>
                </a:cubicBezTo>
                <a:lnTo>
                  <a:pt x="164482" y="633593"/>
                </a:lnTo>
                <a:lnTo>
                  <a:pt x="156707" y="616746"/>
                </a:lnTo>
                <a:cubicBezTo>
                  <a:pt x="158529" y="616746"/>
                  <a:pt x="158529" y="616746"/>
                  <a:pt x="162174" y="616746"/>
                </a:cubicBezTo>
                <a:cubicBezTo>
                  <a:pt x="160352" y="609459"/>
                  <a:pt x="154885" y="602169"/>
                  <a:pt x="154885" y="593058"/>
                </a:cubicBezTo>
                <a:cubicBezTo>
                  <a:pt x="158529" y="613103"/>
                  <a:pt x="169462" y="633146"/>
                  <a:pt x="191329" y="640435"/>
                </a:cubicBezTo>
                <a:cubicBezTo>
                  <a:pt x="185862" y="634968"/>
                  <a:pt x="182218" y="629501"/>
                  <a:pt x="176751" y="624035"/>
                </a:cubicBezTo>
                <a:cubicBezTo>
                  <a:pt x="180396" y="624035"/>
                  <a:pt x="180396" y="629501"/>
                  <a:pt x="184040" y="629501"/>
                </a:cubicBezTo>
                <a:cubicBezTo>
                  <a:pt x="184040" y="633146"/>
                  <a:pt x="185862" y="636790"/>
                  <a:pt x="191329" y="631324"/>
                </a:cubicBezTo>
                <a:lnTo>
                  <a:pt x="178288" y="615178"/>
                </a:lnTo>
                <a:lnTo>
                  <a:pt x="177340" y="609961"/>
                </a:lnTo>
                <a:lnTo>
                  <a:pt x="178573" y="611280"/>
                </a:lnTo>
                <a:cubicBezTo>
                  <a:pt x="180396" y="603991"/>
                  <a:pt x="167640" y="602169"/>
                  <a:pt x="173107" y="594880"/>
                </a:cubicBezTo>
                <a:cubicBezTo>
                  <a:pt x="173107" y="600347"/>
                  <a:pt x="176751" y="602169"/>
                  <a:pt x="178573" y="605813"/>
                </a:cubicBezTo>
                <a:cubicBezTo>
                  <a:pt x="171285" y="589414"/>
                  <a:pt x="165818" y="573014"/>
                  <a:pt x="160352" y="554792"/>
                </a:cubicBezTo>
                <a:cubicBezTo>
                  <a:pt x="167640" y="571192"/>
                  <a:pt x="174929" y="587591"/>
                  <a:pt x="184040" y="603991"/>
                </a:cubicBezTo>
                <a:cubicBezTo>
                  <a:pt x="180396" y="598524"/>
                  <a:pt x="180396" y="591236"/>
                  <a:pt x="182218" y="583947"/>
                </a:cubicBezTo>
                <a:cubicBezTo>
                  <a:pt x="187684" y="602169"/>
                  <a:pt x="185862" y="631324"/>
                  <a:pt x="205906" y="640435"/>
                </a:cubicBezTo>
                <a:cubicBezTo>
                  <a:pt x="205906" y="624035"/>
                  <a:pt x="205906" y="607635"/>
                  <a:pt x="204084" y="591236"/>
                </a:cubicBezTo>
                <a:cubicBezTo>
                  <a:pt x="205906" y="603991"/>
                  <a:pt x="207728" y="614924"/>
                  <a:pt x="209550" y="627679"/>
                </a:cubicBezTo>
                <a:cubicBezTo>
                  <a:pt x="209550" y="625857"/>
                  <a:pt x="207728" y="624035"/>
                  <a:pt x="207728" y="633146"/>
                </a:cubicBezTo>
                <a:cubicBezTo>
                  <a:pt x="207728" y="638613"/>
                  <a:pt x="210006" y="642257"/>
                  <a:pt x="212511" y="645674"/>
                </a:cubicBezTo>
                <a:lnTo>
                  <a:pt x="218587" y="656700"/>
                </a:lnTo>
                <a:lnTo>
                  <a:pt x="218588" y="656762"/>
                </a:lnTo>
                <a:lnTo>
                  <a:pt x="215017" y="653190"/>
                </a:lnTo>
                <a:cubicBezTo>
                  <a:pt x="216839" y="655012"/>
                  <a:pt x="216839" y="658656"/>
                  <a:pt x="218661" y="660478"/>
                </a:cubicBezTo>
                <a:lnTo>
                  <a:pt x="218588" y="656762"/>
                </a:lnTo>
                <a:lnTo>
                  <a:pt x="218661" y="656834"/>
                </a:lnTo>
                <a:lnTo>
                  <a:pt x="218587" y="656700"/>
                </a:lnTo>
                <a:lnTo>
                  <a:pt x="218433" y="648863"/>
                </a:lnTo>
                <a:cubicBezTo>
                  <a:pt x="216383" y="645446"/>
                  <a:pt x="213194" y="642257"/>
                  <a:pt x="211372" y="638612"/>
                </a:cubicBezTo>
                <a:cubicBezTo>
                  <a:pt x="215017" y="640435"/>
                  <a:pt x="218661" y="645901"/>
                  <a:pt x="220483" y="649545"/>
                </a:cubicBezTo>
                <a:lnTo>
                  <a:pt x="219298" y="639799"/>
                </a:lnTo>
                <a:lnTo>
                  <a:pt x="220028" y="639068"/>
                </a:lnTo>
                <a:lnTo>
                  <a:pt x="218739" y="635202"/>
                </a:lnTo>
                <a:lnTo>
                  <a:pt x="218433" y="632690"/>
                </a:lnTo>
                <a:cubicBezTo>
                  <a:pt x="215472" y="628135"/>
                  <a:pt x="211372" y="624035"/>
                  <a:pt x="209550" y="618568"/>
                </a:cubicBezTo>
                <a:cubicBezTo>
                  <a:pt x="213195" y="620391"/>
                  <a:pt x="215017" y="627679"/>
                  <a:pt x="216839" y="624035"/>
                </a:cubicBezTo>
                <a:lnTo>
                  <a:pt x="217448" y="622810"/>
                </a:lnTo>
                <a:lnTo>
                  <a:pt x="216839" y="625857"/>
                </a:lnTo>
                <a:cubicBezTo>
                  <a:pt x="224128" y="631324"/>
                  <a:pt x="220483" y="645901"/>
                  <a:pt x="235061" y="645901"/>
                </a:cubicBezTo>
                <a:cubicBezTo>
                  <a:pt x="229594" y="638613"/>
                  <a:pt x="228228" y="630413"/>
                  <a:pt x="227316" y="622213"/>
                </a:cubicBezTo>
                <a:lnTo>
                  <a:pt x="223350" y="603459"/>
                </a:lnTo>
                <a:lnTo>
                  <a:pt x="224128" y="600347"/>
                </a:lnTo>
                <a:cubicBezTo>
                  <a:pt x="211372" y="525638"/>
                  <a:pt x="162174" y="461862"/>
                  <a:pt x="162174" y="385331"/>
                </a:cubicBezTo>
                <a:cubicBezTo>
                  <a:pt x="163996" y="425419"/>
                  <a:pt x="176751" y="467328"/>
                  <a:pt x="194973" y="505594"/>
                </a:cubicBezTo>
                <a:cubicBezTo>
                  <a:pt x="202262" y="500127"/>
                  <a:pt x="196795" y="494662"/>
                  <a:pt x="198617" y="487373"/>
                </a:cubicBezTo>
                <a:cubicBezTo>
                  <a:pt x="202262" y="542037"/>
                  <a:pt x="229594" y="593058"/>
                  <a:pt x="245994" y="645901"/>
                </a:cubicBezTo>
                <a:cubicBezTo>
                  <a:pt x="244172" y="640435"/>
                  <a:pt x="242349" y="634968"/>
                  <a:pt x="244172" y="631324"/>
                </a:cubicBezTo>
                <a:cubicBezTo>
                  <a:pt x="247816" y="638612"/>
                  <a:pt x="249638" y="649545"/>
                  <a:pt x="255105" y="656834"/>
                </a:cubicBezTo>
                <a:cubicBezTo>
                  <a:pt x="255105" y="647723"/>
                  <a:pt x="245994" y="638612"/>
                  <a:pt x="247816" y="629501"/>
                </a:cubicBezTo>
                <a:cubicBezTo>
                  <a:pt x="256927" y="642257"/>
                  <a:pt x="255105" y="658656"/>
                  <a:pt x="266038" y="669589"/>
                </a:cubicBezTo>
                <a:cubicBezTo>
                  <a:pt x="266038" y="667767"/>
                  <a:pt x="266038" y="665945"/>
                  <a:pt x="266038" y="662301"/>
                </a:cubicBezTo>
                <a:cubicBezTo>
                  <a:pt x="266038" y="665034"/>
                  <a:pt x="267404" y="666857"/>
                  <a:pt x="268771" y="668679"/>
                </a:cubicBezTo>
                <a:lnTo>
                  <a:pt x="268941" y="669076"/>
                </a:lnTo>
                <a:lnTo>
                  <a:pt x="268088" y="676878"/>
                </a:lnTo>
                <a:lnTo>
                  <a:pt x="270998" y="684978"/>
                </a:lnTo>
                <a:lnTo>
                  <a:pt x="269682" y="682345"/>
                </a:lnTo>
                <a:cubicBezTo>
                  <a:pt x="269682" y="685989"/>
                  <a:pt x="273327" y="689633"/>
                  <a:pt x="273327" y="691455"/>
                </a:cubicBezTo>
                <a:lnTo>
                  <a:pt x="270998" y="684978"/>
                </a:lnTo>
                <a:lnTo>
                  <a:pt x="273327" y="689633"/>
                </a:lnTo>
                <a:cubicBezTo>
                  <a:pt x="275148" y="685989"/>
                  <a:pt x="275148" y="681434"/>
                  <a:pt x="274237" y="676651"/>
                </a:cubicBezTo>
                <a:lnTo>
                  <a:pt x="270019" y="663365"/>
                </a:lnTo>
                <a:lnTo>
                  <a:pt x="269682" y="660707"/>
                </a:lnTo>
                <a:cubicBezTo>
                  <a:pt x="270138" y="655924"/>
                  <a:pt x="272415" y="652279"/>
                  <a:pt x="278793" y="653190"/>
                </a:cubicBezTo>
                <a:cubicBezTo>
                  <a:pt x="269682" y="642257"/>
                  <a:pt x="258749" y="636790"/>
                  <a:pt x="249638" y="625857"/>
                </a:cubicBezTo>
                <a:cubicBezTo>
                  <a:pt x="253282" y="625857"/>
                  <a:pt x="253282" y="627679"/>
                  <a:pt x="255105" y="629501"/>
                </a:cubicBezTo>
                <a:cubicBezTo>
                  <a:pt x="255105" y="625857"/>
                  <a:pt x="260571" y="625857"/>
                  <a:pt x="258749" y="622213"/>
                </a:cubicBezTo>
                <a:cubicBezTo>
                  <a:pt x="258749" y="636790"/>
                  <a:pt x="273327" y="645901"/>
                  <a:pt x="284259" y="653190"/>
                </a:cubicBezTo>
                <a:cubicBezTo>
                  <a:pt x="280615" y="649545"/>
                  <a:pt x="278793" y="645901"/>
                  <a:pt x="276971" y="644079"/>
                </a:cubicBezTo>
                <a:cubicBezTo>
                  <a:pt x="278793" y="645901"/>
                  <a:pt x="278793" y="645901"/>
                  <a:pt x="280615" y="645901"/>
                </a:cubicBezTo>
                <a:cubicBezTo>
                  <a:pt x="278793" y="644079"/>
                  <a:pt x="276971" y="642257"/>
                  <a:pt x="280615" y="640435"/>
                </a:cubicBezTo>
                <a:lnTo>
                  <a:pt x="283463" y="646129"/>
                </a:lnTo>
                <a:lnTo>
                  <a:pt x="284259" y="649545"/>
                </a:lnTo>
                <a:lnTo>
                  <a:pt x="283803" y="646813"/>
                </a:lnTo>
                <a:lnTo>
                  <a:pt x="284259" y="647723"/>
                </a:lnTo>
                <a:lnTo>
                  <a:pt x="284902" y="639801"/>
                </a:lnTo>
                <a:lnTo>
                  <a:pt x="286082" y="647723"/>
                </a:lnTo>
                <a:cubicBezTo>
                  <a:pt x="287904" y="658656"/>
                  <a:pt x="286082" y="664123"/>
                  <a:pt x="297015" y="669589"/>
                </a:cubicBezTo>
                <a:cubicBezTo>
                  <a:pt x="295193" y="665945"/>
                  <a:pt x="291549" y="664123"/>
                  <a:pt x="293370" y="660478"/>
                </a:cubicBezTo>
                <a:cubicBezTo>
                  <a:pt x="298837" y="667767"/>
                  <a:pt x="306126" y="673234"/>
                  <a:pt x="313414" y="678700"/>
                </a:cubicBezTo>
                <a:cubicBezTo>
                  <a:pt x="311592" y="678700"/>
                  <a:pt x="309771" y="676878"/>
                  <a:pt x="311592" y="675056"/>
                </a:cubicBezTo>
                <a:cubicBezTo>
                  <a:pt x="317059" y="676878"/>
                  <a:pt x="320703" y="678700"/>
                  <a:pt x="324347" y="680522"/>
                </a:cubicBezTo>
                <a:cubicBezTo>
                  <a:pt x="324347" y="676878"/>
                  <a:pt x="324347" y="675056"/>
                  <a:pt x="322525" y="675056"/>
                </a:cubicBezTo>
                <a:cubicBezTo>
                  <a:pt x="320703" y="665034"/>
                  <a:pt x="316147" y="655923"/>
                  <a:pt x="309543" y="648635"/>
                </a:cubicBezTo>
                <a:lnTo>
                  <a:pt x="285385" y="633837"/>
                </a:lnTo>
                <a:lnTo>
                  <a:pt x="285626" y="630868"/>
                </a:lnTo>
                <a:cubicBezTo>
                  <a:pt x="285171" y="625402"/>
                  <a:pt x="283348" y="620391"/>
                  <a:pt x="278793" y="616746"/>
                </a:cubicBezTo>
                <a:lnTo>
                  <a:pt x="282171" y="617591"/>
                </a:lnTo>
                <a:lnTo>
                  <a:pt x="284942" y="624263"/>
                </a:lnTo>
                <a:cubicBezTo>
                  <a:pt x="286992" y="629046"/>
                  <a:pt x="289726" y="633146"/>
                  <a:pt x="295193" y="634968"/>
                </a:cubicBezTo>
                <a:cubicBezTo>
                  <a:pt x="297015" y="633146"/>
                  <a:pt x="291549" y="629501"/>
                  <a:pt x="295193" y="627679"/>
                </a:cubicBezTo>
                <a:cubicBezTo>
                  <a:pt x="298837" y="636790"/>
                  <a:pt x="306126" y="644079"/>
                  <a:pt x="313414" y="649545"/>
                </a:cubicBezTo>
                <a:cubicBezTo>
                  <a:pt x="304303" y="629501"/>
                  <a:pt x="289726" y="613103"/>
                  <a:pt x="278793" y="593058"/>
                </a:cubicBezTo>
                <a:cubicBezTo>
                  <a:pt x="276059" y="589414"/>
                  <a:pt x="271959" y="586681"/>
                  <a:pt x="267859" y="583947"/>
                </a:cubicBezTo>
                <a:lnTo>
                  <a:pt x="263958" y="580696"/>
                </a:lnTo>
                <a:lnTo>
                  <a:pt x="258749" y="571876"/>
                </a:lnTo>
                <a:cubicBezTo>
                  <a:pt x="251460" y="560715"/>
                  <a:pt x="243260" y="550237"/>
                  <a:pt x="233239" y="542037"/>
                </a:cubicBezTo>
                <a:cubicBezTo>
                  <a:pt x="235061" y="543860"/>
                  <a:pt x="236883" y="542037"/>
                  <a:pt x="236883" y="543860"/>
                </a:cubicBezTo>
                <a:lnTo>
                  <a:pt x="227690" y="528667"/>
                </a:lnTo>
                <a:lnTo>
                  <a:pt x="238705" y="540215"/>
                </a:lnTo>
                <a:cubicBezTo>
                  <a:pt x="236883" y="521993"/>
                  <a:pt x="225950" y="503771"/>
                  <a:pt x="224128" y="485550"/>
                </a:cubicBezTo>
                <a:cubicBezTo>
                  <a:pt x="236883" y="507417"/>
                  <a:pt x="231416" y="534749"/>
                  <a:pt x="247816" y="554792"/>
                </a:cubicBezTo>
                <a:cubicBezTo>
                  <a:pt x="245994" y="547504"/>
                  <a:pt x="240527" y="543860"/>
                  <a:pt x="242349" y="536571"/>
                </a:cubicBezTo>
                <a:cubicBezTo>
                  <a:pt x="245994" y="556616"/>
                  <a:pt x="262393" y="573014"/>
                  <a:pt x="278793" y="583947"/>
                </a:cubicBezTo>
                <a:lnTo>
                  <a:pt x="271889" y="566622"/>
                </a:lnTo>
                <a:lnTo>
                  <a:pt x="291549" y="587591"/>
                </a:lnTo>
                <a:cubicBezTo>
                  <a:pt x="289726" y="580303"/>
                  <a:pt x="284259" y="573014"/>
                  <a:pt x="280615" y="565725"/>
                </a:cubicBezTo>
                <a:cubicBezTo>
                  <a:pt x="280615" y="565725"/>
                  <a:pt x="278793" y="565725"/>
                  <a:pt x="278793" y="567548"/>
                </a:cubicBezTo>
                <a:cubicBezTo>
                  <a:pt x="276971" y="560260"/>
                  <a:pt x="266038" y="547504"/>
                  <a:pt x="264216" y="538393"/>
                </a:cubicBezTo>
                <a:lnTo>
                  <a:pt x="263953" y="549819"/>
                </a:lnTo>
                <a:lnTo>
                  <a:pt x="247816" y="527461"/>
                </a:lnTo>
                <a:cubicBezTo>
                  <a:pt x="249638" y="529282"/>
                  <a:pt x="251460" y="532926"/>
                  <a:pt x="255105" y="532926"/>
                </a:cubicBezTo>
                <a:cubicBezTo>
                  <a:pt x="251460" y="525638"/>
                  <a:pt x="247816" y="518349"/>
                  <a:pt x="244172" y="507417"/>
                </a:cubicBezTo>
                <a:cubicBezTo>
                  <a:pt x="246906" y="511972"/>
                  <a:pt x="249182" y="516983"/>
                  <a:pt x="251915" y="521766"/>
                </a:cubicBezTo>
                <a:lnTo>
                  <a:pt x="258033" y="529346"/>
                </a:lnTo>
                <a:lnTo>
                  <a:pt x="260571" y="542037"/>
                </a:lnTo>
                <a:lnTo>
                  <a:pt x="261420" y="533544"/>
                </a:lnTo>
                <a:lnTo>
                  <a:pt x="262393" y="534749"/>
                </a:lnTo>
                <a:cubicBezTo>
                  <a:pt x="256927" y="505594"/>
                  <a:pt x="256927" y="474618"/>
                  <a:pt x="240527" y="447284"/>
                </a:cubicBezTo>
                <a:cubicBezTo>
                  <a:pt x="213195" y="403552"/>
                  <a:pt x="194973" y="356176"/>
                  <a:pt x="185862" y="308800"/>
                </a:cubicBezTo>
                <a:cubicBezTo>
                  <a:pt x="198617" y="354354"/>
                  <a:pt x="216839" y="398085"/>
                  <a:pt x="238705" y="439995"/>
                </a:cubicBezTo>
                <a:cubicBezTo>
                  <a:pt x="236883" y="434530"/>
                  <a:pt x="231416" y="425419"/>
                  <a:pt x="233239" y="418129"/>
                </a:cubicBezTo>
                <a:cubicBezTo>
                  <a:pt x="251460" y="478262"/>
                  <a:pt x="267860" y="540215"/>
                  <a:pt x="304303" y="593058"/>
                </a:cubicBezTo>
                <a:cubicBezTo>
                  <a:pt x="306126" y="578481"/>
                  <a:pt x="297015" y="563904"/>
                  <a:pt x="287904" y="552970"/>
                </a:cubicBezTo>
                <a:cubicBezTo>
                  <a:pt x="294281" y="555704"/>
                  <a:pt x="297470" y="560259"/>
                  <a:pt x="300204" y="565043"/>
                </a:cubicBezTo>
                <a:lnTo>
                  <a:pt x="308421" y="576587"/>
                </a:lnTo>
                <a:lnTo>
                  <a:pt x="307948" y="578481"/>
                </a:lnTo>
                <a:cubicBezTo>
                  <a:pt x="308403" y="581214"/>
                  <a:pt x="309771" y="583947"/>
                  <a:pt x="311592" y="585769"/>
                </a:cubicBezTo>
                <a:cubicBezTo>
                  <a:pt x="309771" y="582125"/>
                  <a:pt x="311592" y="576658"/>
                  <a:pt x="309771" y="571192"/>
                </a:cubicBezTo>
                <a:lnTo>
                  <a:pt x="308999" y="574276"/>
                </a:lnTo>
                <a:lnTo>
                  <a:pt x="307265" y="564815"/>
                </a:lnTo>
                <a:cubicBezTo>
                  <a:pt x="307037" y="560260"/>
                  <a:pt x="307037" y="555704"/>
                  <a:pt x="306126" y="551148"/>
                </a:cubicBezTo>
                <a:cubicBezTo>
                  <a:pt x="306126" y="554792"/>
                  <a:pt x="309771" y="560260"/>
                  <a:pt x="309771" y="565725"/>
                </a:cubicBezTo>
                <a:cubicBezTo>
                  <a:pt x="313414" y="543860"/>
                  <a:pt x="297015" y="527461"/>
                  <a:pt x="295193" y="505594"/>
                </a:cubicBezTo>
                <a:cubicBezTo>
                  <a:pt x="302481" y="520171"/>
                  <a:pt x="304303" y="536571"/>
                  <a:pt x="311592" y="551148"/>
                </a:cubicBezTo>
                <a:cubicBezTo>
                  <a:pt x="324347" y="542037"/>
                  <a:pt x="307948" y="529282"/>
                  <a:pt x="307948" y="520171"/>
                </a:cubicBezTo>
                <a:cubicBezTo>
                  <a:pt x="315236" y="534749"/>
                  <a:pt x="326169" y="547504"/>
                  <a:pt x="331636" y="563904"/>
                </a:cubicBezTo>
                <a:cubicBezTo>
                  <a:pt x="327993" y="551148"/>
                  <a:pt x="318882" y="540215"/>
                  <a:pt x="318882" y="527461"/>
                </a:cubicBezTo>
                <a:cubicBezTo>
                  <a:pt x="326169" y="549326"/>
                  <a:pt x="335280" y="573014"/>
                  <a:pt x="353502" y="585769"/>
                </a:cubicBezTo>
                <a:cubicBezTo>
                  <a:pt x="348037" y="569370"/>
                  <a:pt x="327993" y="558437"/>
                  <a:pt x="326169" y="540215"/>
                </a:cubicBezTo>
                <a:cubicBezTo>
                  <a:pt x="333458" y="560260"/>
                  <a:pt x="346213" y="565725"/>
                  <a:pt x="353502" y="583947"/>
                </a:cubicBezTo>
                <a:cubicBezTo>
                  <a:pt x="353502" y="574836"/>
                  <a:pt x="351680" y="567548"/>
                  <a:pt x="348037" y="562081"/>
                </a:cubicBezTo>
                <a:cubicBezTo>
                  <a:pt x="349858" y="563904"/>
                  <a:pt x="349858" y="563904"/>
                  <a:pt x="351680" y="563904"/>
                </a:cubicBezTo>
                <a:cubicBezTo>
                  <a:pt x="351680" y="560260"/>
                  <a:pt x="351680" y="558437"/>
                  <a:pt x="351680" y="554792"/>
                </a:cubicBezTo>
                <a:cubicBezTo>
                  <a:pt x="355324" y="569370"/>
                  <a:pt x="353502" y="585769"/>
                  <a:pt x="368079" y="594880"/>
                </a:cubicBezTo>
                <a:cubicBezTo>
                  <a:pt x="366257" y="591236"/>
                  <a:pt x="366257" y="587591"/>
                  <a:pt x="369902" y="587591"/>
                </a:cubicBezTo>
                <a:cubicBezTo>
                  <a:pt x="373546" y="591236"/>
                  <a:pt x="366257" y="598524"/>
                  <a:pt x="373546" y="603991"/>
                </a:cubicBezTo>
                <a:cubicBezTo>
                  <a:pt x="379012" y="596702"/>
                  <a:pt x="371724" y="589414"/>
                  <a:pt x="371724" y="582125"/>
                </a:cubicBezTo>
                <a:cubicBezTo>
                  <a:pt x="371724" y="583947"/>
                  <a:pt x="373546" y="582125"/>
                  <a:pt x="375368" y="583947"/>
                </a:cubicBezTo>
                <a:cubicBezTo>
                  <a:pt x="371724" y="574836"/>
                  <a:pt x="375368" y="569370"/>
                  <a:pt x="375368" y="560260"/>
                </a:cubicBezTo>
                <a:cubicBezTo>
                  <a:pt x="377190" y="571192"/>
                  <a:pt x="373546" y="583947"/>
                  <a:pt x="386301" y="591236"/>
                </a:cubicBezTo>
                <a:cubicBezTo>
                  <a:pt x="384479" y="549326"/>
                  <a:pt x="379012" y="507417"/>
                  <a:pt x="358969" y="470972"/>
                </a:cubicBezTo>
                <a:cubicBezTo>
                  <a:pt x="340747" y="443640"/>
                  <a:pt x="322525" y="418129"/>
                  <a:pt x="309771" y="387152"/>
                </a:cubicBezTo>
                <a:cubicBezTo>
                  <a:pt x="326169" y="414485"/>
                  <a:pt x="340747" y="443640"/>
                  <a:pt x="360791" y="467328"/>
                </a:cubicBezTo>
                <a:cubicBezTo>
                  <a:pt x="360791" y="465506"/>
                  <a:pt x="360791" y="463684"/>
                  <a:pt x="360791" y="461862"/>
                </a:cubicBezTo>
                <a:cubicBezTo>
                  <a:pt x="366257" y="476439"/>
                  <a:pt x="373546" y="491017"/>
                  <a:pt x="384479" y="501949"/>
                </a:cubicBezTo>
                <a:cubicBezTo>
                  <a:pt x="386301" y="480083"/>
                  <a:pt x="366257" y="469150"/>
                  <a:pt x="362613" y="449107"/>
                </a:cubicBezTo>
                <a:cubicBezTo>
                  <a:pt x="382657" y="483728"/>
                  <a:pt x="399056" y="521993"/>
                  <a:pt x="424567" y="552970"/>
                </a:cubicBezTo>
                <a:cubicBezTo>
                  <a:pt x="419100" y="534749"/>
                  <a:pt x="406345" y="523815"/>
                  <a:pt x="399056" y="505594"/>
                </a:cubicBezTo>
                <a:cubicBezTo>
                  <a:pt x="409989" y="520171"/>
                  <a:pt x="415456" y="536571"/>
                  <a:pt x="426389" y="549326"/>
                </a:cubicBezTo>
                <a:cubicBezTo>
                  <a:pt x="389946" y="480083"/>
                  <a:pt x="355324" y="409019"/>
                  <a:pt x="337102" y="332488"/>
                </a:cubicBezTo>
                <a:cubicBezTo>
                  <a:pt x="362613" y="407196"/>
                  <a:pt x="389946" y="481906"/>
                  <a:pt x="431856" y="549326"/>
                </a:cubicBezTo>
                <a:cubicBezTo>
                  <a:pt x="430034" y="547504"/>
                  <a:pt x="428211" y="543860"/>
                  <a:pt x="426389" y="545681"/>
                </a:cubicBezTo>
                <a:cubicBezTo>
                  <a:pt x="426389" y="556616"/>
                  <a:pt x="428211" y="569370"/>
                  <a:pt x="440966" y="574836"/>
                </a:cubicBezTo>
                <a:lnTo>
                  <a:pt x="437309" y="568740"/>
                </a:lnTo>
                <a:lnTo>
                  <a:pt x="437095" y="558437"/>
                </a:lnTo>
                <a:cubicBezTo>
                  <a:pt x="435501" y="554792"/>
                  <a:pt x="433678" y="551148"/>
                  <a:pt x="435500" y="547504"/>
                </a:cubicBezTo>
                <a:cubicBezTo>
                  <a:pt x="440966" y="565725"/>
                  <a:pt x="440966" y="594880"/>
                  <a:pt x="466478" y="596702"/>
                </a:cubicBezTo>
                <a:cubicBezTo>
                  <a:pt x="464655" y="585769"/>
                  <a:pt x="453722" y="580303"/>
                  <a:pt x="446433" y="574836"/>
                </a:cubicBezTo>
                <a:cubicBezTo>
                  <a:pt x="448256" y="574836"/>
                  <a:pt x="450077" y="578481"/>
                  <a:pt x="453722" y="578481"/>
                </a:cubicBezTo>
                <a:cubicBezTo>
                  <a:pt x="450077" y="573014"/>
                  <a:pt x="448256" y="569370"/>
                  <a:pt x="444611" y="565725"/>
                </a:cubicBezTo>
                <a:cubicBezTo>
                  <a:pt x="455544" y="563904"/>
                  <a:pt x="450077" y="576658"/>
                  <a:pt x="461010" y="580303"/>
                </a:cubicBezTo>
                <a:lnTo>
                  <a:pt x="459796" y="576660"/>
                </a:lnTo>
                <a:lnTo>
                  <a:pt x="461010" y="578481"/>
                </a:lnTo>
                <a:cubicBezTo>
                  <a:pt x="459188" y="576658"/>
                  <a:pt x="459188" y="576658"/>
                  <a:pt x="459188" y="574836"/>
                </a:cubicBezTo>
                <a:lnTo>
                  <a:pt x="459796" y="576660"/>
                </a:lnTo>
                <a:lnTo>
                  <a:pt x="453266" y="566865"/>
                </a:lnTo>
                <a:lnTo>
                  <a:pt x="444594" y="558381"/>
                </a:lnTo>
                <a:lnTo>
                  <a:pt x="441650" y="548643"/>
                </a:lnTo>
                <a:cubicBezTo>
                  <a:pt x="440055" y="545682"/>
                  <a:pt x="438233" y="542948"/>
                  <a:pt x="437322" y="540215"/>
                </a:cubicBezTo>
                <a:cubicBezTo>
                  <a:pt x="440966" y="545681"/>
                  <a:pt x="442789" y="551148"/>
                  <a:pt x="450077" y="552970"/>
                </a:cubicBezTo>
                <a:cubicBezTo>
                  <a:pt x="450077" y="551148"/>
                  <a:pt x="448256" y="551148"/>
                  <a:pt x="448256" y="547504"/>
                </a:cubicBezTo>
                <a:cubicBezTo>
                  <a:pt x="453722" y="556616"/>
                  <a:pt x="459188" y="565725"/>
                  <a:pt x="462832" y="576658"/>
                </a:cubicBezTo>
                <a:cubicBezTo>
                  <a:pt x="462832" y="567548"/>
                  <a:pt x="459188" y="560260"/>
                  <a:pt x="455544" y="552970"/>
                </a:cubicBezTo>
                <a:lnTo>
                  <a:pt x="455544" y="556616"/>
                </a:lnTo>
                <a:cubicBezTo>
                  <a:pt x="455544" y="554792"/>
                  <a:pt x="455544" y="552970"/>
                  <a:pt x="453722" y="551148"/>
                </a:cubicBezTo>
                <a:lnTo>
                  <a:pt x="457367" y="551148"/>
                </a:lnTo>
                <a:cubicBezTo>
                  <a:pt x="453722" y="536571"/>
                  <a:pt x="446433" y="516527"/>
                  <a:pt x="431856" y="511061"/>
                </a:cubicBezTo>
                <a:cubicBezTo>
                  <a:pt x="435500" y="511061"/>
                  <a:pt x="437322" y="511061"/>
                  <a:pt x="439145" y="512882"/>
                </a:cubicBezTo>
                <a:cubicBezTo>
                  <a:pt x="435500" y="509238"/>
                  <a:pt x="433678" y="503771"/>
                  <a:pt x="431856" y="500127"/>
                </a:cubicBezTo>
                <a:cubicBezTo>
                  <a:pt x="440966" y="509238"/>
                  <a:pt x="450077" y="518349"/>
                  <a:pt x="455544" y="529282"/>
                </a:cubicBezTo>
                <a:cubicBezTo>
                  <a:pt x="453722" y="527461"/>
                  <a:pt x="453722" y="523815"/>
                  <a:pt x="453722" y="520171"/>
                </a:cubicBezTo>
                <a:cubicBezTo>
                  <a:pt x="461010" y="543860"/>
                  <a:pt x="477410" y="567548"/>
                  <a:pt x="501098" y="574836"/>
                </a:cubicBezTo>
                <a:cubicBezTo>
                  <a:pt x="490165" y="571192"/>
                  <a:pt x="488343" y="560260"/>
                  <a:pt x="482876" y="552970"/>
                </a:cubicBezTo>
                <a:cubicBezTo>
                  <a:pt x="491987" y="558437"/>
                  <a:pt x="493809" y="569370"/>
                  <a:pt x="502920" y="571192"/>
                </a:cubicBezTo>
                <a:cubicBezTo>
                  <a:pt x="501098" y="569370"/>
                  <a:pt x="499276" y="567548"/>
                  <a:pt x="502920" y="567548"/>
                </a:cubicBezTo>
                <a:cubicBezTo>
                  <a:pt x="504743" y="569370"/>
                  <a:pt x="504743" y="571192"/>
                  <a:pt x="508387" y="571192"/>
                </a:cubicBezTo>
                <a:lnTo>
                  <a:pt x="496707" y="557668"/>
                </a:lnTo>
                <a:lnTo>
                  <a:pt x="491071" y="544988"/>
                </a:lnTo>
                <a:lnTo>
                  <a:pt x="491987" y="545681"/>
                </a:lnTo>
                <a:lnTo>
                  <a:pt x="488204" y="538536"/>
                </a:lnTo>
                <a:lnTo>
                  <a:pt x="486521" y="534749"/>
                </a:lnTo>
                <a:cubicBezTo>
                  <a:pt x="491987" y="536571"/>
                  <a:pt x="493809" y="543860"/>
                  <a:pt x="497454" y="542037"/>
                </a:cubicBezTo>
                <a:cubicBezTo>
                  <a:pt x="499276" y="542037"/>
                  <a:pt x="497454" y="536571"/>
                  <a:pt x="497454" y="532926"/>
                </a:cubicBezTo>
                <a:cubicBezTo>
                  <a:pt x="502920" y="538393"/>
                  <a:pt x="501098" y="545681"/>
                  <a:pt x="506565" y="551148"/>
                </a:cubicBezTo>
                <a:cubicBezTo>
                  <a:pt x="504743" y="549326"/>
                  <a:pt x="501098" y="547504"/>
                  <a:pt x="499276" y="545681"/>
                </a:cubicBezTo>
                <a:cubicBezTo>
                  <a:pt x="495632" y="552970"/>
                  <a:pt x="499276" y="562081"/>
                  <a:pt x="506565" y="563904"/>
                </a:cubicBezTo>
                <a:cubicBezTo>
                  <a:pt x="504743" y="562081"/>
                  <a:pt x="506565" y="560260"/>
                  <a:pt x="506565" y="560260"/>
                </a:cubicBezTo>
                <a:cubicBezTo>
                  <a:pt x="509298" y="562081"/>
                  <a:pt x="510664" y="564815"/>
                  <a:pt x="512259" y="567320"/>
                </a:cubicBezTo>
                <a:lnTo>
                  <a:pt x="512802" y="567758"/>
                </a:lnTo>
                <a:lnTo>
                  <a:pt x="516587" y="575748"/>
                </a:lnTo>
                <a:cubicBezTo>
                  <a:pt x="518864" y="581215"/>
                  <a:pt x="521142" y="586681"/>
                  <a:pt x="524786" y="593058"/>
                </a:cubicBezTo>
                <a:cubicBezTo>
                  <a:pt x="528431" y="587591"/>
                  <a:pt x="519320" y="585769"/>
                  <a:pt x="519320" y="580303"/>
                </a:cubicBezTo>
                <a:cubicBezTo>
                  <a:pt x="519320" y="582125"/>
                  <a:pt x="522964" y="574836"/>
                  <a:pt x="519320" y="573014"/>
                </a:cubicBezTo>
                <a:cubicBezTo>
                  <a:pt x="524786" y="574836"/>
                  <a:pt x="521142" y="582125"/>
                  <a:pt x="526609" y="585769"/>
                </a:cubicBezTo>
                <a:cubicBezTo>
                  <a:pt x="528431" y="580303"/>
                  <a:pt x="527520" y="573925"/>
                  <a:pt x="524331" y="568687"/>
                </a:cubicBezTo>
                <a:lnTo>
                  <a:pt x="514427" y="562320"/>
                </a:lnTo>
                <a:lnTo>
                  <a:pt x="506565" y="552970"/>
                </a:lnTo>
                <a:cubicBezTo>
                  <a:pt x="508387" y="554792"/>
                  <a:pt x="510209" y="554792"/>
                  <a:pt x="512031" y="556616"/>
                </a:cubicBezTo>
                <a:cubicBezTo>
                  <a:pt x="512031" y="551148"/>
                  <a:pt x="510209" y="545681"/>
                  <a:pt x="508387" y="540215"/>
                </a:cubicBezTo>
                <a:lnTo>
                  <a:pt x="512031" y="540215"/>
                </a:lnTo>
                <a:cubicBezTo>
                  <a:pt x="512031" y="531105"/>
                  <a:pt x="506565" y="523815"/>
                  <a:pt x="501098" y="514705"/>
                </a:cubicBezTo>
                <a:cubicBezTo>
                  <a:pt x="502920" y="516527"/>
                  <a:pt x="504743" y="518349"/>
                  <a:pt x="508387" y="520171"/>
                </a:cubicBezTo>
                <a:cubicBezTo>
                  <a:pt x="506565" y="512882"/>
                  <a:pt x="504743" y="501949"/>
                  <a:pt x="497454" y="496483"/>
                </a:cubicBezTo>
                <a:cubicBezTo>
                  <a:pt x="501098" y="498306"/>
                  <a:pt x="502920" y="500127"/>
                  <a:pt x="504743" y="501949"/>
                </a:cubicBezTo>
                <a:cubicBezTo>
                  <a:pt x="491987" y="481906"/>
                  <a:pt x="488343" y="460039"/>
                  <a:pt x="475589" y="439995"/>
                </a:cubicBezTo>
                <a:cubicBezTo>
                  <a:pt x="482876" y="447284"/>
                  <a:pt x="486521" y="456395"/>
                  <a:pt x="495632" y="461862"/>
                </a:cubicBezTo>
                <a:lnTo>
                  <a:pt x="500985" y="469222"/>
                </a:lnTo>
                <a:lnTo>
                  <a:pt x="501554" y="470973"/>
                </a:lnTo>
                <a:cubicBezTo>
                  <a:pt x="504288" y="477350"/>
                  <a:pt x="507476" y="483728"/>
                  <a:pt x="510209" y="489194"/>
                </a:cubicBezTo>
                <a:cubicBezTo>
                  <a:pt x="511120" y="486461"/>
                  <a:pt x="508842" y="482817"/>
                  <a:pt x="506337" y="479173"/>
                </a:cubicBezTo>
                <a:lnTo>
                  <a:pt x="501520" y="469958"/>
                </a:lnTo>
                <a:lnTo>
                  <a:pt x="512452" y="484990"/>
                </a:lnTo>
                <a:lnTo>
                  <a:pt x="520811" y="496484"/>
                </a:lnTo>
                <a:lnTo>
                  <a:pt x="524786" y="511061"/>
                </a:lnTo>
                <a:cubicBezTo>
                  <a:pt x="522964" y="518349"/>
                  <a:pt x="522964" y="525638"/>
                  <a:pt x="526609" y="532926"/>
                </a:cubicBezTo>
                <a:lnTo>
                  <a:pt x="528431" y="531105"/>
                </a:lnTo>
                <a:cubicBezTo>
                  <a:pt x="532075" y="538393"/>
                  <a:pt x="532075" y="545681"/>
                  <a:pt x="537542" y="551148"/>
                </a:cubicBezTo>
                <a:cubicBezTo>
                  <a:pt x="546653" y="542037"/>
                  <a:pt x="530253" y="520171"/>
                  <a:pt x="524786" y="511061"/>
                </a:cubicBezTo>
                <a:cubicBezTo>
                  <a:pt x="526609" y="509238"/>
                  <a:pt x="524786" y="507417"/>
                  <a:pt x="526609" y="507417"/>
                </a:cubicBezTo>
                <a:cubicBezTo>
                  <a:pt x="528431" y="507417"/>
                  <a:pt x="526609" y="509238"/>
                  <a:pt x="528431" y="511061"/>
                </a:cubicBezTo>
                <a:cubicBezTo>
                  <a:pt x="531165" y="507416"/>
                  <a:pt x="530253" y="503316"/>
                  <a:pt x="527975" y="499672"/>
                </a:cubicBezTo>
                <a:lnTo>
                  <a:pt x="523571" y="495268"/>
                </a:lnTo>
                <a:lnTo>
                  <a:pt x="521142" y="481906"/>
                </a:lnTo>
                <a:cubicBezTo>
                  <a:pt x="521142" y="481906"/>
                  <a:pt x="522964" y="481906"/>
                  <a:pt x="524786" y="480083"/>
                </a:cubicBezTo>
                <a:cubicBezTo>
                  <a:pt x="515676" y="465506"/>
                  <a:pt x="501098" y="458218"/>
                  <a:pt x="495632" y="441819"/>
                </a:cubicBezTo>
                <a:cubicBezTo>
                  <a:pt x="502920" y="450928"/>
                  <a:pt x="506565" y="458218"/>
                  <a:pt x="517498" y="465506"/>
                </a:cubicBezTo>
                <a:cubicBezTo>
                  <a:pt x="512943" y="453663"/>
                  <a:pt x="505198" y="445463"/>
                  <a:pt x="497226" y="437491"/>
                </a:cubicBezTo>
                <a:lnTo>
                  <a:pt x="487454" y="425455"/>
                </a:lnTo>
                <a:lnTo>
                  <a:pt x="497454" y="434530"/>
                </a:lnTo>
                <a:cubicBezTo>
                  <a:pt x="490165" y="423596"/>
                  <a:pt x="484700" y="410841"/>
                  <a:pt x="475589" y="399908"/>
                </a:cubicBezTo>
                <a:cubicBezTo>
                  <a:pt x="490165" y="414485"/>
                  <a:pt x="491987" y="434530"/>
                  <a:pt x="510209" y="445463"/>
                </a:cubicBezTo>
                <a:cubicBezTo>
                  <a:pt x="508387" y="432707"/>
                  <a:pt x="501098" y="419952"/>
                  <a:pt x="497454" y="407196"/>
                </a:cubicBezTo>
                <a:cubicBezTo>
                  <a:pt x="499276" y="416308"/>
                  <a:pt x="506565" y="421775"/>
                  <a:pt x="508387" y="430886"/>
                </a:cubicBezTo>
                <a:lnTo>
                  <a:pt x="510209" y="429063"/>
                </a:lnTo>
                <a:cubicBezTo>
                  <a:pt x="512031" y="432707"/>
                  <a:pt x="513853" y="438174"/>
                  <a:pt x="517498" y="441819"/>
                </a:cubicBezTo>
                <a:cubicBezTo>
                  <a:pt x="519320" y="449107"/>
                  <a:pt x="521142" y="454574"/>
                  <a:pt x="522964" y="460039"/>
                </a:cubicBezTo>
                <a:cubicBezTo>
                  <a:pt x="515676" y="454574"/>
                  <a:pt x="517498" y="439995"/>
                  <a:pt x="512031" y="434530"/>
                </a:cubicBezTo>
                <a:cubicBezTo>
                  <a:pt x="508387" y="450928"/>
                  <a:pt x="521142" y="465506"/>
                  <a:pt x="530253" y="478262"/>
                </a:cubicBezTo>
                <a:cubicBezTo>
                  <a:pt x="532075" y="465506"/>
                  <a:pt x="526609" y="456395"/>
                  <a:pt x="519320" y="445463"/>
                </a:cubicBezTo>
                <a:cubicBezTo>
                  <a:pt x="522964" y="449107"/>
                  <a:pt x="524786" y="452751"/>
                  <a:pt x="528431" y="454574"/>
                </a:cubicBezTo>
                <a:cubicBezTo>
                  <a:pt x="528431" y="452751"/>
                  <a:pt x="528431" y="450928"/>
                  <a:pt x="528431" y="447284"/>
                </a:cubicBezTo>
                <a:cubicBezTo>
                  <a:pt x="535719" y="452751"/>
                  <a:pt x="533897" y="458218"/>
                  <a:pt x="533897" y="465506"/>
                </a:cubicBezTo>
                <a:lnTo>
                  <a:pt x="533897" y="467328"/>
                </a:lnTo>
                <a:cubicBezTo>
                  <a:pt x="535719" y="469150"/>
                  <a:pt x="534808" y="471884"/>
                  <a:pt x="534125" y="474845"/>
                </a:cubicBezTo>
                <a:lnTo>
                  <a:pt x="534199" y="475260"/>
                </a:lnTo>
                <a:lnTo>
                  <a:pt x="532075" y="472795"/>
                </a:lnTo>
                <a:cubicBezTo>
                  <a:pt x="528431" y="480083"/>
                  <a:pt x="532075" y="487373"/>
                  <a:pt x="539364" y="487373"/>
                </a:cubicBezTo>
                <a:cubicBezTo>
                  <a:pt x="546653" y="483728"/>
                  <a:pt x="543008" y="472795"/>
                  <a:pt x="552119" y="474618"/>
                </a:cubicBezTo>
                <a:cubicBezTo>
                  <a:pt x="544830" y="480083"/>
                  <a:pt x="539364" y="489194"/>
                  <a:pt x="543008" y="500127"/>
                </a:cubicBezTo>
                <a:cubicBezTo>
                  <a:pt x="544830" y="500127"/>
                  <a:pt x="543008" y="498306"/>
                  <a:pt x="544830" y="496483"/>
                </a:cubicBezTo>
                <a:lnTo>
                  <a:pt x="547948" y="506228"/>
                </a:lnTo>
                <a:lnTo>
                  <a:pt x="543691" y="526094"/>
                </a:lnTo>
                <a:cubicBezTo>
                  <a:pt x="544375" y="533838"/>
                  <a:pt x="547563" y="541126"/>
                  <a:pt x="553941" y="545681"/>
                </a:cubicBezTo>
                <a:cubicBezTo>
                  <a:pt x="555763" y="540215"/>
                  <a:pt x="552119" y="534749"/>
                  <a:pt x="550297" y="529282"/>
                </a:cubicBezTo>
                <a:cubicBezTo>
                  <a:pt x="559408" y="531105"/>
                  <a:pt x="555763" y="542037"/>
                  <a:pt x="557586" y="547504"/>
                </a:cubicBezTo>
                <a:cubicBezTo>
                  <a:pt x="559408" y="551148"/>
                  <a:pt x="559408" y="547504"/>
                  <a:pt x="557586" y="545681"/>
                </a:cubicBezTo>
                <a:cubicBezTo>
                  <a:pt x="559408" y="547504"/>
                  <a:pt x="561230" y="549326"/>
                  <a:pt x="561230" y="552970"/>
                </a:cubicBezTo>
                <a:lnTo>
                  <a:pt x="559303" y="541706"/>
                </a:lnTo>
                <a:lnTo>
                  <a:pt x="559408" y="542037"/>
                </a:lnTo>
                <a:cubicBezTo>
                  <a:pt x="564874" y="540215"/>
                  <a:pt x="561230" y="536571"/>
                  <a:pt x="559408" y="532926"/>
                </a:cubicBezTo>
                <a:lnTo>
                  <a:pt x="563052" y="532926"/>
                </a:lnTo>
                <a:cubicBezTo>
                  <a:pt x="564874" y="532926"/>
                  <a:pt x="564874" y="531105"/>
                  <a:pt x="564874" y="531105"/>
                </a:cubicBezTo>
                <a:cubicBezTo>
                  <a:pt x="564874" y="531105"/>
                  <a:pt x="566697" y="529282"/>
                  <a:pt x="566697" y="527461"/>
                </a:cubicBezTo>
                <a:cubicBezTo>
                  <a:pt x="566697" y="527461"/>
                  <a:pt x="566697" y="525638"/>
                  <a:pt x="566697" y="525638"/>
                </a:cubicBezTo>
                <a:cubicBezTo>
                  <a:pt x="570341" y="527461"/>
                  <a:pt x="572163" y="531105"/>
                  <a:pt x="575808" y="532926"/>
                </a:cubicBezTo>
                <a:cubicBezTo>
                  <a:pt x="575808" y="525638"/>
                  <a:pt x="573985" y="518349"/>
                  <a:pt x="573985" y="511061"/>
                </a:cubicBezTo>
                <a:cubicBezTo>
                  <a:pt x="575808" y="521993"/>
                  <a:pt x="578540" y="532471"/>
                  <a:pt x="580135" y="542948"/>
                </a:cubicBezTo>
                <a:lnTo>
                  <a:pt x="579492" y="572974"/>
                </a:lnTo>
                <a:lnTo>
                  <a:pt x="577630" y="574836"/>
                </a:lnTo>
                <a:lnTo>
                  <a:pt x="579460" y="574470"/>
                </a:lnTo>
                <a:lnTo>
                  <a:pt x="579452" y="574836"/>
                </a:lnTo>
                <a:lnTo>
                  <a:pt x="579623" y="574438"/>
                </a:lnTo>
                <a:lnTo>
                  <a:pt x="581046" y="574153"/>
                </a:lnTo>
                <a:cubicBezTo>
                  <a:pt x="582185" y="573470"/>
                  <a:pt x="583096" y="573015"/>
                  <a:pt x="583096" y="574836"/>
                </a:cubicBezTo>
                <a:cubicBezTo>
                  <a:pt x="584919" y="574836"/>
                  <a:pt x="588562" y="569370"/>
                  <a:pt x="584919" y="567548"/>
                </a:cubicBezTo>
                <a:lnTo>
                  <a:pt x="580819" y="571647"/>
                </a:lnTo>
                <a:lnTo>
                  <a:pt x="584919" y="562081"/>
                </a:lnTo>
                <a:cubicBezTo>
                  <a:pt x="583096" y="567548"/>
                  <a:pt x="584919" y="571192"/>
                  <a:pt x="588562" y="573014"/>
                </a:cubicBezTo>
                <a:cubicBezTo>
                  <a:pt x="588562" y="571192"/>
                  <a:pt x="590385" y="569370"/>
                  <a:pt x="592207" y="571192"/>
                </a:cubicBezTo>
                <a:cubicBezTo>
                  <a:pt x="594030" y="576658"/>
                  <a:pt x="588562" y="578481"/>
                  <a:pt x="590385" y="583947"/>
                </a:cubicBezTo>
                <a:lnTo>
                  <a:pt x="591959" y="581462"/>
                </a:lnTo>
                <a:lnTo>
                  <a:pt x="590840" y="586681"/>
                </a:lnTo>
                <a:cubicBezTo>
                  <a:pt x="591296" y="588959"/>
                  <a:pt x="592207" y="591236"/>
                  <a:pt x="592207" y="593058"/>
                </a:cubicBezTo>
                <a:cubicBezTo>
                  <a:pt x="594030" y="591236"/>
                  <a:pt x="594030" y="593058"/>
                  <a:pt x="595852" y="591236"/>
                </a:cubicBezTo>
                <a:lnTo>
                  <a:pt x="592374" y="580805"/>
                </a:lnTo>
                <a:lnTo>
                  <a:pt x="595267" y="576236"/>
                </a:lnTo>
                <a:lnTo>
                  <a:pt x="594030" y="580303"/>
                </a:lnTo>
                <a:cubicBezTo>
                  <a:pt x="595852" y="580303"/>
                  <a:pt x="597673" y="580303"/>
                  <a:pt x="595852" y="576658"/>
                </a:cubicBezTo>
                <a:cubicBezTo>
                  <a:pt x="601318" y="583947"/>
                  <a:pt x="604963" y="587591"/>
                  <a:pt x="608606" y="594880"/>
                </a:cubicBezTo>
                <a:cubicBezTo>
                  <a:pt x="608606" y="596702"/>
                  <a:pt x="608606" y="598524"/>
                  <a:pt x="608606" y="600347"/>
                </a:cubicBezTo>
                <a:cubicBezTo>
                  <a:pt x="617717" y="594880"/>
                  <a:pt x="608606" y="587591"/>
                  <a:pt x="603140" y="582125"/>
                </a:cubicBezTo>
                <a:cubicBezTo>
                  <a:pt x="608606" y="582125"/>
                  <a:pt x="608606" y="585769"/>
                  <a:pt x="610429" y="587591"/>
                </a:cubicBezTo>
                <a:cubicBezTo>
                  <a:pt x="610429" y="583947"/>
                  <a:pt x="608606" y="582125"/>
                  <a:pt x="608606" y="578481"/>
                </a:cubicBezTo>
                <a:cubicBezTo>
                  <a:pt x="612251" y="580303"/>
                  <a:pt x="612251" y="582125"/>
                  <a:pt x="614074" y="585769"/>
                </a:cubicBezTo>
                <a:lnTo>
                  <a:pt x="614074" y="582125"/>
                </a:lnTo>
                <a:cubicBezTo>
                  <a:pt x="617717" y="585769"/>
                  <a:pt x="614074" y="594880"/>
                  <a:pt x="621362" y="598524"/>
                </a:cubicBezTo>
                <a:cubicBezTo>
                  <a:pt x="623185" y="585769"/>
                  <a:pt x="612251" y="573014"/>
                  <a:pt x="603140" y="562081"/>
                </a:cubicBezTo>
                <a:lnTo>
                  <a:pt x="602576" y="562819"/>
                </a:lnTo>
                <a:lnTo>
                  <a:pt x="604279" y="544543"/>
                </a:lnTo>
                <a:cubicBezTo>
                  <a:pt x="602684" y="530649"/>
                  <a:pt x="595852" y="516527"/>
                  <a:pt x="586741" y="503771"/>
                </a:cubicBezTo>
                <a:cubicBezTo>
                  <a:pt x="592207" y="503771"/>
                  <a:pt x="594030" y="507417"/>
                  <a:pt x="595852" y="511061"/>
                </a:cubicBezTo>
                <a:cubicBezTo>
                  <a:pt x="595852" y="507417"/>
                  <a:pt x="594030" y="505594"/>
                  <a:pt x="594030" y="501949"/>
                </a:cubicBezTo>
                <a:cubicBezTo>
                  <a:pt x="601318" y="507417"/>
                  <a:pt x="601318" y="523815"/>
                  <a:pt x="608606" y="518349"/>
                </a:cubicBezTo>
                <a:cubicBezTo>
                  <a:pt x="604963" y="520171"/>
                  <a:pt x="608606" y="529282"/>
                  <a:pt x="608606" y="534749"/>
                </a:cubicBezTo>
                <a:cubicBezTo>
                  <a:pt x="610429" y="531105"/>
                  <a:pt x="608606" y="523815"/>
                  <a:pt x="608606" y="518349"/>
                </a:cubicBezTo>
                <a:lnTo>
                  <a:pt x="609584" y="513543"/>
                </a:lnTo>
                <a:lnTo>
                  <a:pt x="612251" y="540215"/>
                </a:lnTo>
                <a:lnTo>
                  <a:pt x="620922" y="523634"/>
                </a:lnTo>
                <a:lnTo>
                  <a:pt x="618144" y="534009"/>
                </a:lnTo>
                <a:cubicBezTo>
                  <a:pt x="611567" y="545796"/>
                  <a:pt x="598584" y="557070"/>
                  <a:pt x="612251" y="569370"/>
                </a:cubicBezTo>
                <a:cubicBezTo>
                  <a:pt x="612251" y="565725"/>
                  <a:pt x="614074" y="565725"/>
                  <a:pt x="615895" y="563904"/>
                </a:cubicBezTo>
                <a:cubicBezTo>
                  <a:pt x="614074" y="573014"/>
                  <a:pt x="621362" y="573014"/>
                  <a:pt x="625006" y="580303"/>
                </a:cubicBezTo>
                <a:cubicBezTo>
                  <a:pt x="630472" y="571192"/>
                  <a:pt x="619539" y="563904"/>
                  <a:pt x="621362" y="554792"/>
                </a:cubicBezTo>
                <a:cubicBezTo>
                  <a:pt x="623185" y="558437"/>
                  <a:pt x="623185" y="560260"/>
                  <a:pt x="626828" y="562081"/>
                </a:cubicBezTo>
                <a:cubicBezTo>
                  <a:pt x="626828" y="560260"/>
                  <a:pt x="621362" y="552970"/>
                  <a:pt x="628650" y="552970"/>
                </a:cubicBezTo>
                <a:cubicBezTo>
                  <a:pt x="626828" y="554792"/>
                  <a:pt x="626828" y="556616"/>
                  <a:pt x="628650" y="558437"/>
                </a:cubicBezTo>
                <a:cubicBezTo>
                  <a:pt x="635939" y="549326"/>
                  <a:pt x="625006" y="543860"/>
                  <a:pt x="623185" y="534749"/>
                </a:cubicBezTo>
                <a:cubicBezTo>
                  <a:pt x="625006" y="538393"/>
                  <a:pt x="628650" y="540215"/>
                  <a:pt x="630472" y="543860"/>
                </a:cubicBezTo>
                <a:lnTo>
                  <a:pt x="630028" y="535861"/>
                </a:lnTo>
                <a:lnTo>
                  <a:pt x="630472" y="536571"/>
                </a:lnTo>
                <a:cubicBezTo>
                  <a:pt x="628650" y="534749"/>
                  <a:pt x="628650" y="531105"/>
                  <a:pt x="626828" y="527461"/>
                </a:cubicBezTo>
                <a:cubicBezTo>
                  <a:pt x="627739" y="530193"/>
                  <a:pt x="629106" y="532927"/>
                  <a:pt x="630017" y="535660"/>
                </a:cubicBezTo>
                <a:lnTo>
                  <a:pt x="630028" y="535861"/>
                </a:lnTo>
                <a:lnTo>
                  <a:pt x="621590" y="522358"/>
                </a:lnTo>
                <a:lnTo>
                  <a:pt x="621732" y="522087"/>
                </a:lnTo>
                <a:cubicBezTo>
                  <a:pt x="624125" y="515659"/>
                  <a:pt x="625234" y="509039"/>
                  <a:pt x="623526" y="502804"/>
                </a:cubicBezTo>
                <a:lnTo>
                  <a:pt x="620803" y="498599"/>
                </a:lnTo>
                <a:lnTo>
                  <a:pt x="615895" y="491017"/>
                </a:lnTo>
                <a:cubicBezTo>
                  <a:pt x="612251" y="483728"/>
                  <a:pt x="612251" y="474618"/>
                  <a:pt x="604963" y="467328"/>
                </a:cubicBezTo>
                <a:lnTo>
                  <a:pt x="608008" y="497784"/>
                </a:lnTo>
                <a:lnTo>
                  <a:pt x="603140" y="487373"/>
                </a:lnTo>
                <a:lnTo>
                  <a:pt x="606784" y="487373"/>
                </a:lnTo>
                <a:cubicBezTo>
                  <a:pt x="606784" y="470972"/>
                  <a:pt x="601318" y="458218"/>
                  <a:pt x="594030" y="443640"/>
                </a:cubicBezTo>
                <a:cubicBezTo>
                  <a:pt x="595852" y="447284"/>
                  <a:pt x="599496" y="449107"/>
                  <a:pt x="601318" y="452751"/>
                </a:cubicBezTo>
                <a:cubicBezTo>
                  <a:pt x="597673" y="443640"/>
                  <a:pt x="594030" y="432707"/>
                  <a:pt x="595852" y="421775"/>
                </a:cubicBezTo>
                <a:cubicBezTo>
                  <a:pt x="597673" y="447284"/>
                  <a:pt x="610429" y="470972"/>
                  <a:pt x="621362" y="494662"/>
                </a:cubicBezTo>
                <a:cubicBezTo>
                  <a:pt x="626828" y="489194"/>
                  <a:pt x="614074" y="485550"/>
                  <a:pt x="619539" y="478262"/>
                </a:cubicBezTo>
                <a:cubicBezTo>
                  <a:pt x="617717" y="483728"/>
                  <a:pt x="619539" y="487373"/>
                  <a:pt x="623185" y="489194"/>
                </a:cubicBezTo>
                <a:cubicBezTo>
                  <a:pt x="623185" y="485550"/>
                  <a:pt x="623185" y="483728"/>
                  <a:pt x="625006" y="481906"/>
                </a:cubicBezTo>
                <a:cubicBezTo>
                  <a:pt x="625006" y="494662"/>
                  <a:pt x="625006" y="509238"/>
                  <a:pt x="635939" y="520171"/>
                </a:cubicBezTo>
                <a:cubicBezTo>
                  <a:pt x="639583" y="514705"/>
                  <a:pt x="635939" y="507417"/>
                  <a:pt x="639583" y="501949"/>
                </a:cubicBezTo>
                <a:cubicBezTo>
                  <a:pt x="641407" y="505594"/>
                  <a:pt x="643228" y="505594"/>
                  <a:pt x="645050" y="509238"/>
                </a:cubicBezTo>
                <a:lnTo>
                  <a:pt x="645050" y="505594"/>
                </a:lnTo>
                <a:lnTo>
                  <a:pt x="646302" y="508096"/>
                </a:lnTo>
                <a:lnTo>
                  <a:pt x="647778" y="515353"/>
                </a:lnTo>
                <a:lnTo>
                  <a:pt x="641178" y="533154"/>
                </a:lnTo>
                <a:cubicBezTo>
                  <a:pt x="640495" y="540215"/>
                  <a:pt x="641406" y="547504"/>
                  <a:pt x="643228" y="554792"/>
                </a:cubicBezTo>
                <a:cubicBezTo>
                  <a:pt x="644139" y="546593"/>
                  <a:pt x="648239" y="537026"/>
                  <a:pt x="650289" y="527688"/>
                </a:cubicBezTo>
                <a:lnTo>
                  <a:pt x="647778" y="515353"/>
                </a:lnTo>
                <a:lnTo>
                  <a:pt x="648694" y="512882"/>
                </a:lnTo>
                <a:lnTo>
                  <a:pt x="646302" y="508096"/>
                </a:lnTo>
                <a:lnTo>
                  <a:pt x="645050" y="501949"/>
                </a:lnTo>
                <a:lnTo>
                  <a:pt x="646872" y="503771"/>
                </a:lnTo>
                <a:cubicBezTo>
                  <a:pt x="646872" y="501949"/>
                  <a:pt x="646872" y="500127"/>
                  <a:pt x="645050" y="498306"/>
                </a:cubicBezTo>
                <a:cubicBezTo>
                  <a:pt x="646872" y="500127"/>
                  <a:pt x="648694" y="501949"/>
                  <a:pt x="652339" y="503771"/>
                </a:cubicBezTo>
                <a:lnTo>
                  <a:pt x="652339" y="507417"/>
                </a:lnTo>
                <a:cubicBezTo>
                  <a:pt x="659627" y="503771"/>
                  <a:pt x="654161" y="496483"/>
                  <a:pt x="655983" y="492838"/>
                </a:cubicBezTo>
                <a:cubicBezTo>
                  <a:pt x="655983" y="494662"/>
                  <a:pt x="655983" y="494662"/>
                  <a:pt x="655983" y="494662"/>
                </a:cubicBezTo>
                <a:cubicBezTo>
                  <a:pt x="657805" y="478262"/>
                  <a:pt x="657805" y="461862"/>
                  <a:pt x="654161" y="445463"/>
                </a:cubicBezTo>
                <a:cubicBezTo>
                  <a:pt x="657805" y="452751"/>
                  <a:pt x="655983" y="460039"/>
                  <a:pt x="661449" y="465506"/>
                </a:cubicBezTo>
                <a:cubicBezTo>
                  <a:pt x="661449" y="463684"/>
                  <a:pt x="661449" y="463684"/>
                  <a:pt x="661449" y="461862"/>
                </a:cubicBezTo>
                <a:lnTo>
                  <a:pt x="663854" y="488313"/>
                </a:lnTo>
                <a:lnTo>
                  <a:pt x="661449" y="476439"/>
                </a:lnTo>
                <a:cubicBezTo>
                  <a:pt x="661449" y="487373"/>
                  <a:pt x="657805" y="498306"/>
                  <a:pt x="663272" y="511061"/>
                </a:cubicBezTo>
                <a:lnTo>
                  <a:pt x="664720" y="497841"/>
                </a:lnTo>
                <a:lnTo>
                  <a:pt x="665094" y="501949"/>
                </a:lnTo>
                <a:cubicBezTo>
                  <a:pt x="672383" y="489194"/>
                  <a:pt x="672383" y="472795"/>
                  <a:pt x="683316" y="461862"/>
                </a:cubicBezTo>
                <a:cubicBezTo>
                  <a:pt x="685138" y="470972"/>
                  <a:pt x="676027" y="474618"/>
                  <a:pt x="676027" y="483728"/>
                </a:cubicBezTo>
                <a:lnTo>
                  <a:pt x="674205" y="481906"/>
                </a:lnTo>
                <a:cubicBezTo>
                  <a:pt x="673294" y="488283"/>
                  <a:pt x="670560" y="495230"/>
                  <a:pt x="667400" y="502348"/>
                </a:cubicBezTo>
                <a:lnTo>
                  <a:pt x="660350" y="518504"/>
                </a:lnTo>
                <a:lnTo>
                  <a:pt x="657805" y="505594"/>
                </a:lnTo>
                <a:cubicBezTo>
                  <a:pt x="657805" y="507417"/>
                  <a:pt x="657805" y="511061"/>
                  <a:pt x="654161" y="512882"/>
                </a:cubicBezTo>
                <a:cubicBezTo>
                  <a:pt x="654161" y="521993"/>
                  <a:pt x="646872" y="532926"/>
                  <a:pt x="652339" y="542037"/>
                </a:cubicBezTo>
                <a:cubicBezTo>
                  <a:pt x="654161" y="538393"/>
                  <a:pt x="654161" y="536571"/>
                  <a:pt x="654161" y="532926"/>
                </a:cubicBezTo>
                <a:lnTo>
                  <a:pt x="655830" y="536263"/>
                </a:lnTo>
                <a:lnTo>
                  <a:pt x="654474" y="543917"/>
                </a:lnTo>
                <a:lnTo>
                  <a:pt x="654567" y="544059"/>
                </a:lnTo>
                <a:lnTo>
                  <a:pt x="665094" y="560260"/>
                </a:lnTo>
                <a:cubicBezTo>
                  <a:pt x="665094" y="556616"/>
                  <a:pt x="661449" y="554792"/>
                  <a:pt x="659627" y="551148"/>
                </a:cubicBezTo>
                <a:cubicBezTo>
                  <a:pt x="661449" y="552970"/>
                  <a:pt x="663272" y="552970"/>
                  <a:pt x="665094" y="554792"/>
                </a:cubicBezTo>
                <a:cubicBezTo>
                  <a:pt x="663272" y="552970"/>
                  <a:pt x="665094" y="552970"/>
                  <a:pt x="666916" y="551148"/>
                </a:cubicBezTo>
                <a:cubicBezTo>
                  <a:pt x="666916" y="552970"/>
                  <a:pt x="666916" y="554792"/>
                  <a:pt x="668738" y="556616"/>
                </a:cubicBezTo>
                <a:lnTo>
                  <a:pt x="666202" y="566252"/>
                </a:lnTo>
                <a:lnTo>
                  <a:pt x="661449" y="560260"/>
                </a:lnTo>
                <a:cubicBezTo>
                  <a:pt x="660539" y="562992"/>
                  <a:pt x="660994" y="566181"/>
                  <a:pt x="661905" y="568914"/>
                </a:cubicBezTo>
                <a:lnTo>
                  <a:pt x="664321" y="573401"/>
                </a:lnTo>
                <a:lnTo>
                  <a:pt x="664183" y="573926"/>
                </a:lnTo>
                <a:lnTo>
                  <a:pt x="664289" y="575946"/>
                </a:lnTo>
                <a:lnTo>
                  <a:pt x="663272" y="574836"/>
                </a:lnTo>
                <a:lnTo>
                  <a:pt x="664411" y="578253"/>
                </a:lnTo>
                <a:lnTo>
                  <a:pt x="664533" y="580584"/>
                </a:lnTo>
                <a:lnTo>
                  <a:pt x="663744" y="580978"/>
                </a:lnTo>
                <a:lnTo>
                  <a:pt x="662360" y="572331"/>
                </a:lnTo>
                <a:cubicBezTo>
                  <a:pt x="660083" y="567093"/>
                  <a:pt x="656894" y="562082"/>
                  <a:pt x="654161" y="556616"/>
                </a:cubicBezTo>
                <a:lnTo>
                  <a:pt x="653522" y="557896"/>
                </a:lnTo>
                <a:lnTo>
                  <a:pt x="652339" y="554792"/>
                </a:lnTo>
                <a:lnTo>
                  <a:pt x="650972" y="562994"/>
                </a:lnTo>
                <a:lnTo>
                  <a:pt x="648580" y="567777"/>
                </a:lnTo>
                <a:lnTo>
                  <a:pt x="648694" y="565725"/>
                </a:lnTo>
                <a:cubicBezTo>
                  <a:pt x="646872" y="567548"/>
                  <a:pt x="648694" y="569370"/>
                  <a:pt x="646872" y="571192"/>
                </a:cubicBezTo>
                <a:cubicBezTo>
                  <a:pt x="655983" y="580303"/>
                  <a:pt x="657805" y="587591"/>
                  <a:pt x="661449" y="598524"/>
                </a:cubicBezTo>
                <a:cubicBezTo>
                  <a:pt x="663272" y="593058"/>
                  <a:pt x="668738" y="594880"/>
                  <a:pt x="661449" y="589414"/>
                </a:cubicBezTo>
                <a:lnTo>
                  <a:pt x="664998" y="589414"/>
                </a:lnTo>
                <a:lnTo>
                  <a:pt x="665094" y="591236"/>
                </a:lnTo>
                <a:cubicBezTo>
                  <a:pt x="665094" y="594880"/>
                  <a:pt x="668738" y="594880"/>
                  <a:pt x="672383" y="594880"/>
                </a:cubicBezTo>
                <a:cubicBezTo>
                  <a:pt x="670560" y="591236"/>
                  <a:pt x="665094" y="587591"/>
                  <a:pt x="668738" y="587591"/>
                </a:cubicBezTo>
                <a:cubicBezTo>
                  <a:pt x="672383" y="582125"/>
                  <a:pt x="670560" y="594880"/>
                  <a:pt x="676027" y="593058"/>
                </a:cubicBezTo>
                <a:cubicBezTo>
                  <a:pt x="676027" y="593058"/>
                  <a:pt x="676027" y="594880"/>
                  <a:pt x="677849" y="596702"/>
                </a:cubicBezTo>
                <a:cubicBezTo>
                  <a:pt x="679671" y="594880"/>
                  <a:pt x="677849" y="594880"/>
                  <a:pt x="679671" y="593058"/>
                </a:cubicBezTo>
                <a:cubicBezTo>
                  <a:pt x="679671" y="593058"/>
                  <a:pt x="677849" y="591236"/>
                  <a:pt x="676027" y="591236"/>
                </a:cubicBezTo>
                <a:cubicBezTo>
                  <a:pt x="676027" y="591236"/>
                  <a:pt x="676027" y="589414"/>
                  <a:pt x="674205" y="587591"/>
                </a:cubicBezTo>
                <a:lnTo>
                  <a:pt x="664687" y="583513"/>
                </a:lnTo>
                <a:lnTo>
                  <a:pt x="664533" y="580584"/>
                </a:lnTo>
                <a:lnTo>
                  <a:pt x="665094" y="580303"/>
                </a:lnTo>
                <a:lnTo>
                  <a:pt x="664411" y="578253"/>
                </a:lnTo>
                <a:lnTo>
                  <a:pt x="664289" y="575946"/>
                </a:lnTo>
                <a:lnTo>
                  <a:pt x="668282" y="580303"/>
                </a:lnTo>
                <a:cubicBezTo>
                  <a:pt x="669650" y="581670"/>
                  <a:pt x="670560" y="582126"/>
                  <a:pt x="670560" y="580303"/>
                </a:cubicBezTo>
                <a:cubicBezTo>
                  <a:pt x="674205" y="578481"/>
                  <a:pt x="665094" y="574836"/>
                  <a:pt x="674205" y="573014"/>
                </a:cubicBezTo>
                <a:cubicBezTo>
                  <a:pt x="670560" y="578481"/>
                  <a:pt x="670560" y="585769"/>
                  <a:pt x="674205" y="585769"/>
                </a:cubicBezTo>
                <a:cubicBezTo>
                  <a:pt x="688782" y="583947"/>
                  <a:pt x="677849" y="563904"/>
                  <a:pt x="679671" y="552970"/>
                </a:cubicBezTo>
                <a:cubicBezTo>
                  <a:pt x="679671" y="554792"/>
                  <a:pt x="679671" y="556616"/>
                  <a:pt x="681493" y="558437"/>
                </a:cubicBezTo>
                <a:cubicBezTo>
                  <a:pt x="686960" y="562081"/>
                  <a:pt x="688782" y="558437"/>
                  <a:pt x="688782" y="552970"/>
                </a:cubicBezTo>
                <a:cubicBezTo>
                  <a:pt x="688782" y="558437"/>
                  <a:pt x="686960" y="562081"/>
                  <a:pt x="688782" y="567548"/>
                </a:cubicBezTo>
                <a:cubicBezTo>
                  <a:pt x="701537" y="560260"/>
                  <a:pt x="699715" y="551148"/>
                  <a:pt x="694249" y="545681"/>
                </a:cubicBezTo>
                <a:cubicBezTo>
                  <a:pt x="694249" y="542037"/>
                  <a:pt x="688782" y="536571"/>
                  <a:pt x="681493" y="536571"/>
                </a:cubicBezTo>
                <a:cubicBezTo>
                  <a:pt x="683316" y="538393"/>
                  <a:pt x="686960" y="543860"/>
                  <a:pt x="688782" y="547504"/>
                </a:cubicBezTo>
                <a:cubicBezTo>
                  <a:pt x="681493" y="538393"/>
                  <a:pt x="674205" y="527461"/>
                  <a:pt x="666916" y="518349"/>
                </a:cubicBezTo>
                <a:cubicBezTo>
                  <a:pt x="677849" y="529282"/>
                  <a:pt x="690604" y="536571"/>
                  <a:pt x="701537" y="547504"/>
                </a:cubicBezTo>
                <a:cubicBezTo>
                  <a:pt x="703359" y="542037"/>
                  <a:pt x="697893" y="542037"/>
                  <a:pt x="699715" y="538393"/>
                </a:cubicBezTo>
                <a:cubicBezTo>
                  <a:pt x="701537" y="540215"/>
                  <a:pt x="703359" y="540215"/>
                  <a:pt x="705182" y="542037"/>
                </a:cubicBezTo>
                <a:cubicBezTo>
                  <a:pt x="705182" y="520171"/>
                  <a:pt x="703359" y="498306"/>
                  <a:pt x="697893" y="474618"/>
                </a:cubicBezTo>
                <a:cubicBezTo>
                  <a:pt x="701537" y="481906"/>
                  <a:pt x="701537" y="491017"/>
                  <a:pt x="710648" y="496483"/>
                </a:cubicBezTo>
                <a:lnTo>
                  <a:pt x="711739" y="508768"/>
                </a:lnTo>
                <a:lnTo>
                  <a:pt x="711646" y="519887"/>
                </a:lnTo>
                <a:lnTo>
                  <a:pt x="713076" y="525230"/>
                </a:lnTo>
                <a:lnTo>
                  <a:pt x="708826" y="552970"/>
                </a:lnTo>
                <a:lnTo>
                  <a:pt x="715139" y="532928"/>
                </a:lnTo>
                <a:lnTo>
                  <a:pt x="716115" y="536571"/>
                </a:lnTo>
                <a:lnTo>
                  <a:pt x="726953" y="527539"/>
                </a:lnTo>
                <a:lnTo>
                  <a:pt x="727322" y="528553"/>
                </a:lnTo>
                <a:lnTo>
                  <a:pt x="729035" y="535412"/>
                </a:lnTo>
                <a:lnTo>
                  <a:pt x="727048" y="538393"/>
                </a:lnTo>
                <a:cubicBezTo>
                  <a:pt x="723404" y="549326"/>
                  <a:pt x="725226" y="556616"/>
                  <a:pt x="725226" y="567548"/>
                </a:cubicBezTo>
                <a:cubicBezTo>
                  <a:pt x="723404" y="574836"/>
                  <a:pt x="723404" y="583947"/>
                  <a:pt x="730692" y="589414"/>
                </a:cubicBezTo>
                <a:cubicBezTo>
                  <a:pt x="734336" y="578481"/>
                  <a:pt x="736159" y="565725"/>
                  <a:pt x="728870" y="556616"/>
                </a:cubicBezTo>
                <a:cubicBezTo>
                  <a:pt x="730692" y="558437"/>
                  <a:pt x="732515" y="562081"/>
                  <a:pt x="734336" y="563904"/>
                </a:cubicBezTo>
                <a:lnTo>
                  <a:pt x="735237" y="553813"/>
                </a:lnTo>
                <a:lnTo>
                  <a:pt x="736158" y="560260"/>
                </a:lnTo>
                <a:lnTo>
                  <a:pt x="739739" y="562306"/>
                </a:lnTo>
                <a:lnTo>
                  <a:pt x="737525" y="570054"/>
                </a:lnTo>
                <a:cubicBezTo>
                  <a:pt x="737981" y="572103"/>
                  <a:pt x="739803" y="573925"/>
                  <a:pt x="743447" y="576658"/>
                </a:cubicBezTo>
                <a:cubicBezTo>
                  <a:pt x="745269" y="573925"/>
                  <a:pt x="744814" y="571648"/>
                  <a:pt x="743675" y="569370"/>
                </a:cubicBezTo>
                <a:lnTo>
                  <a:pt x="740002" y="562456"/>
                </a:lnTo>
                <a:lnTo>
                  <a:pt x="743581" y="564501"/>
                </a:lnTo>
                <a:lnTo>
                  <a:pt x="743903" y="565498"/>
                </a:lnTo>
                <a:cubicBezTo>
                  <a:pt x="746181" y="567548"/>
                  <a:pt x="748914" y="569371"/>
                  <a:pt x="748914" y="571192"/>
                </a:cubicBezTo>
                <a:cubicBezTo>
                  <a:pt x="748914" y="569370"/>
                  <a:pt x="750737" y="567548"/>
                  <a:pt x="752558" y="565725"/>
                </a:cubicBezTo>
                <a:lnTo>
                  <a:pt x="747370" y="562915"/>
                </a:lnTo>
                <a:lnTo>
                  <a:pt x="747092" y="562081"/>
                </a:lnTo>
                <a:cubicBezTo>
                  <a:pt x="750737" y="563904"/>
                  <a:pt x="752558" y="567548"/>
                  <a:pt x="756203" y="562081"/>
                </a:cubicBezTo>
                <a:cubicBezTo>
                  <a:pt x="753469" y="566637"/>
                  <a:pt x="752103" y="569370"/>
                  <a:pt x="752331" y="572104"/>
                </a:cubicBezTo>
                <a:lnTo>
                  <a:pt x="752345" y="572129"/>
                </a:lnTo>
                <a:lnTo>
                  <a:pt x="748914" y="576204"/>
                </a:lnTo>
                <a:cubicBezTo>
                  <a:pt x="747547" y="579848"/>
                  <a:pt x="747092" y="583947"/>
                  <a:pt x="747092" y="587591"/>
                </a:cubicBezTo>
                <a:cubicBezTo>
                  <a:pt x="748003" y="591236"/>
                  <a:pt x="750281" y="593514"/>
                  <a:pt x="753014" y="594880"/>
                </a:cubicBezTo>
                <a:lnTo>
                  <a:pt x="757249" y="595772"/>
                </a:lnTo>
                <a:lnTo>
                  <a:pt x="754380" y="605813"/>
                </a:lnTo>
                <a:cubicBezTo>
                  <a:pt x="756203" y="603991"/>
                  <a:pt x="756203" y="603991"/>
                  <a:pt x="758025" y="602169"/>
                </a:cubicBezTo>
                <a:cubicBezTo>
                  <a:pt x="756203" y="603991"/>
                  <a:pt x="756203" y="605813"/>
                  <a:pt x="754380" y="607635"/>
                </a:cubicBezTo>
                <a:cubicBezTo>
                  <a:pt x="758025" y="609459"/>
                  <a:pt x="761670" y="605813"/>
                  <a:pt x="765313" y="603991"/>
                </a:cubicBezTo>
                <a:cubicBezTo>
                  <a:pt x="758025" y="609459"/>
                  <a:pt x="745269" y="618568"/>
                  <a:pt x="758025" y="627679"/>
                </a:cubicBezTo>
                <a:cubicBezTo>
                  <a:pt x="758025" y="624035"/>
                  <a:pt x="756203" y="620391"/>
                  <a:pt x="758025" y="618568"/>
                </a:cubicBezTo>
                <a:lnTo>
                  <a:pt x="759900" y="618193"/>
                </a:lnTo>
                <a:lnTo>
                  <a:pt x="765183" y="620261"/>
                </a:lnTo>
                <a:lnTo>
                  <a:pt x="767136" y="622213"/>
                </a:lnTo>
                <a:lnTo>
                  <a:pt x="767524" y="621177"/>
                </a:lnTo>
                <a:lnTo>
                  <a:pt x="768046" y="621381"/>
                </a:lnTo>
                <a:lnTo>
                  <a:pt x="769641" y="626313"/>
                </a:lnTo>
                <a:cubicBezTo>
                  <a:pt x="770325" y="629047"/>
                  <a:pt x="771691" y="631324"/>
                  <a:pt x="776246" y="631324"/>
                </a:cubicBezTo>
                <a:cubicBezTo>
                  <a:pt x="776246" y="633146"/>
                  <a:pt x="774424" y="634968"/>
                  <a:pt x="772602" y="633146"/>
                </a:cubicBezTo>
                <a:cubicBezTo>
                  <a:pt x="778070" y="642257"/>
                  <a:pt x="778070" y="655012"/>
                  <a:pt x="787179" y="656834"/>
                </a:cubicBezTo>
                <a:cubicBezTo>
                  <a:pt x="789003" y="658656"/>
                  <a:pt x="787179" y="653190"/>
                  <a:pt x="785357" y="651368"/>
                </a:cubicBezTo>
                <a:cubicBezTo>
                  <a:pt x="785357" y="653190"/>
                  <a:pt x="787179" y="655012"/>
                  <a:pt x="789003" y="653190"/>
                </a:cubicBezTo>
                <a:cubicBezTo>
                  <a:pt x="787179" y="647723"/>
                  <a:pt x="785357" y="647723"/>
                  <a:pt x="783535" y="644079"/>
                </a:cubicBezTo>
                <a:cubicBezTo>
                  <a:pt x="789003" y="644079"/>
                  <a:pt x="794468" y="645901"/>
                  <a:pt x="796290" y="645901"/>
                </a:cubicBezTo>
                <a:cubicBezTo>
                  <a:pt x="796290" y="647723"/>
                  <a:pt x="796290" y="647723"/>
                  <a:pt x="794468" y="649545"/>
                </a:cubicBezTo>
                <a:lnTo>
                  <a:pt x="798372" y="652149"/>
                </a:lnTo>
                <a:lnTo>
                  <a:pt x="799935" y="653190"/>
                </a:lnTo>
                <a:cubicBezTo>
                  <a:pt x="799935" y="651368"/>
                  <a:pt x="799935" y="647723"/>
                  <a:pt x="799935" y="645901"/>
                </a:cubicBezTo>
                <a:cubicBezTo>
                  <a:pt x="799935" y="644079"/>
                  <a:pt x="799935" y="642257"/>
                  <a:pt x="799935" y="640435"/>
                </a:cubicBezTo>
                <a:cubicBezTo>
                  <a:pt x="798112" y="640435"/>
                  <a:pt x="796290" y="642257"/>
                  <a:pt x="796290" y="644079"/>
                </a:cubicBezTo>
                <a:cubicBezTo>
                  <a:pt x="792646" y="642257"/>
                  <a:pt x="787179" y="640435"/>
                  <a:pt x="792646" y="640435"/>
                </a:cubicBezTo>
                <a:cubicBezTo>
                  <a:pt x="790824" y="638612"/>
                  <a:pt x="790824" y="638612"/>
                  <a:pt x="789003" y="638612"/>
                </a:cubicBezTo>
                <a:cubicBezTo>
                  <a:pt x="790824" y="638612"/>
                  <a:pt x="792646" y="638612"/>
                  <a:pt x="794468" y="636790"/>
                </a:cubicBezTo>
                <a:cubicBezTo>
                  <a:pt x="790824" y="634968"/>
                  <a:pt x="789003" y="634968"/>
                  <a:pt x="787179" y="631324"/>
                </a:cubicBezTo>
                <a:cubicBezTo>
                  <a:pt x="790824" y="631324"/>
                  <a:pt x="794468" y="636790"/>
                  <a:pt x="798112" y="633146"/>
                </a:cubicBezTo>
                <a:lnTo>
                  <a:pt x="768046" y="621381"/>
                </a:lnTo>
                <a:lnTo>
                  <a:pt x="767769" y="620525"/>
                </a:lnTo>
                <a:lnTo>
                  <a:pt x="767819" y="620391"/>
                </a:lnTo>
                <a:cubicBezTo>
                  <a:pt x="767135" y="619936"/>
                  <a:pt x="766224" y="619480"/>
                  <a:pt x="767136" y="618568"/>
                </a:cubicBezTo>
                <a:lnTo>
                  <a:pt x="767769" y="620525"/>
                </a:lnTo>
                <a:lnTo>
                  <a:pt x="767524" y="621177"/>
                </a:lnTo>
                <a:lnTo>
                  <a:pt x="765183" y="620261"/>
                </a:lnTo>
                <a:lnTo>
                  <a:pt x="762580" y="617658"/>
                </a:lnTo>
                <a:lnTo>
                  <a:pt x="759900" y="618193"/>
                </a:lnTo>
                <a:lnTo>
                  <a:pt x="756203" y="616746"/>
                </a:lnTo>
                <a:cubicBezTo>
                  <a:pt x="763491" y="616746"/>
                  <a:pt x="770781" y="614924"/>
                  <a:pt x="776246" y="618568"/>
                </a:cubicBezTo>
                <a:cubicBezTo>
                  <a:pt x="772602" y="614924"/>
                  <a:pt x="774424" y="609459"/>
                  <a:pt x="772602" y="605813"/>
                </a:cubicBezTo>
                <a:cubicBezTo>
                  <a:pt x="778070" y="611280"/>
                  <a:pt x="778070" y="622213"/>
                  <a:pt x="787179" y="624035"/>
                </a:cubicBezTo>
                <a:cubicBezTo>
                  <a:pt x="787179" y="624035"/>
                  <a:pt x="787179" y="622213"/>
                  <a:pt x="785357" y="620391"/>
                </a:cubicBezTo>
                <a:cubicBezTo>
                  <a:pt x="789003" y="622213"/>
                  <a:pt x="792646" y="618568"/>
                  <a:pt x="796290" y="622213"/>
                </a:cubicBezTo>
                <a:cubicBezTo>
                  <a:pt x="796290" y="616746"/>
                  <a:pt x="790824" y="614924"/>
                  <a:pt x="789003" y="611280"/>
                </a:cubicBezTo>
                <a:cubicBezTo>
                  <a:pt x="776246" y="603991"/>
                  <a:pt x="763491" y="596702"/>
                  <a:pt x="758025" y="602169"/>
                </a:cubicBezTo>
                <a:cubicBezTo>
                  <a:pt x="758025" y="600347"/>
                  <a:pt x="759848" y="598524"/>
                  <a:pt x="761670" y="596702"/>
                </a:cubicBezTo>
                <a:cubicBezTo>
                  <a:pt x="754380" y="593058"/>
                  <a:pt x="761670" y="587591"/>
                  <a:pt x="761670" y="578481"/>
                </a:cubicBezTo>
                <a:cubicBezTo>
                  <a:pt x="758025" y="574836"/>
                  <a:pt x="759848" y="571192"/>
                  <a:pt x="756203" y="567548"/>
                </a:cubicBezTo>
                <a:cubicBezTo>
                  <a:pt x="758025" y="569370"/>
                  <a:pt x="759848" y="573014"/>
                  <a:pt x="761670" y="571192"/>
                </a:cubicBezTo>
                <a:cubicBezTo>
                  <a:pt x="761670" y="571192"/>
                  <a:pt x="761670" y="569370"/>
                  <a:pt x="761670" y="569370"/>
                </a:cubicBezTo>
                <a:cubicBezTo>
                  <a:pt x="761670" y="574836"/>
                  <a:pt x="763491" y="578481"/>
                  <a:pt x="767136" y="580303"/>
                </a:cubicBezTo>
                <a:cubicBezTo>
                  <a:pt x="768959" y="574836"/>
                  <a:pt x="767136" y="565725"/>
                  <a:pt x="765313" y="562081"/>
                </a:cubicBezTo>
                <a:cubicBezTo>
                  <a:pt x="765313" y="562081"/>
                  <a:pt x="765313" y="563904"/>
                  <a:pt x="765313" y="563904"/>
                </a:cubicBezTo>
                <a:cubicBezTo>
                  <a:pt x="768959" y="542037"/>
                  <a:pt x="737981" y="529282"/>
                  <a:pt x="728870" y="507417"/>
                </a:cubicBezTo>
                <a:cubicBezTo>
                  <a:pt x="739803" y="518349"/>
                  <a:pt x="747092" y="531105"/>
                  <a:pt x="759848" y="540215"/>
                </a:cubicBezTo>
                <a:cubicBezTo>
                  <a:pt x="759848" y="531105"/>
                  <a:pt x="748914" y="523815"/>
                  <a:pt x="750737" y="512882"/>
                </a:cubicBezTo>
                <a:cubicBezTo>
                  <a:pt x="756202" y="521082"/>
                  <a:pt x="759848" y="530649"/>
                  <a:pt x="764630" y="539304"/>
                </a:cubicBezTo>
                <a:lnTo>
                  <a:pt x="779087" y="553920"/>
                </a:lnTo>
                <a:lnTo>
                  <a:pt x="778791" y="554174"/>
                </a:lnTo>
                <a:lnTo>
                  <a:pt x="778070" y="552970"/>
                </a:lnTo>
                <a:lnTo>
                  <a:pt x="778457" y="554460"/>
                </a:lnTo>
                <a:lnTo>
                  <a:pt x="778070" y="554792"/>
                </a:lnTo>
                <a:lnTo>
                  <a:pt x="778659" y="555236"/>
                </a:lnTo>
                <a:lnTo>
                  <a:pt x="779436" y="558210"/>
                </a:lnTo>
                <a:cubicBezTo>
                  <a:pt x="780802" y="559804"/>
                  <a:pt x="782624" y="561171"/>
                  <a:pt x="783535" y="562081"/>
                </a:cubicBezTo>
                <a:lnTo>
                  <a:pt x="780056" y="556284"/>
                </a:lnTo>
                <a:lnTo>
                  <a:pt x="785357" y="560260"/>
                </a:lnTo>
                <a:lnTo>
                  <a:pt x="779087" y="553920"/>
                </a:lnTo>
                <a:lnTo>
                  <a:pt x="781257" y="552059"/>
                </a:lnTo>
                <a:cubicBezTo>
                  <a:pt x="782168" y="551148"/>
                  <a:pt x="782624" y="550237"/>
                  <a:pt x="781713" y="549326"/>
                </a:cubicBezTo>
                <a:cubicBezTo>
                  <a:pt x="779892" y="547504"/>
                  <a:pt x="779892" y="547504"/>
                  <a:pt x="779892" y="547504"/>
                </a:cubicBezTo>
                <a:cubicBezTo>
                  <a:pt x="779892" y="547504"/>
                  <a:pt x="779892" y="549326"/>
                  <a:pt x="781713" y="547504"/>
                </a:cubicBezTo>
                <a:cubicBezTo>
                  <a:pt x="784446" y="545682"/>
                  <a:pt x="783079" y="543404"/>
                  <a:pt x="781257" y="540671"/>
                </a:cubicBezTo>
                <a:lnTo>
                  <a:pt x="779906" y="536615"/>
                </a:lnTo>
                <a:lnTo>
                  <a:pt x="779890" y="536596"/>
                </a:lnTo>
                <a:lnTo>
                  <a:pt x="779902" y="536603"/>
                </a:lnTo>
                <a:lnTo>
                  <a:pt x="778070" y="531105"/>
                </a:lnTo>
                <a:lnTo>
                  <a:pt x="781830" y="537831"/>
                </a:lnTo>
                <a:lnTo>
                  <a:pt x="784901" y="539785"/>
                </a:lnTo>
                <a:cubicBezTo>
                  <a:pt x="785812" y="542062"/>
                  <a:pt x="786268" y="544796"/>
                  <a:pt x="787179" y="545707"/>
                </a:cubicBezTo>
                <a:lnTo>
                  <a:pt x="784044" y="541788"/>
                </a:lnTo>
                <a:lnTo>
                  <a:pt x="785585" y="544543"/>
                </a:lnTo>
                <a:cubicBezTo>
                  <a:pt x="787635" y="549327"/>
                  <a:pt x="789912" y="553882"/>
                  <a:pt x="794468" y="556616"/>
                </a:cubicBezTo>
                <a:cubicBezTo>
                  <a:pt x="794468" y="554792"/>
                  <a:pt x="794468" y="552970"/>
                  <a:pt x="798112" y="552970"/>
                </a:cubicBezTo>
                <a:cubicBezTo>
                  <a:pt x="792646" y="562081"/>
                  <a:pt x="796290" y="569370"/>
                  <a:pt x="798112" y="578481"/>
                </a:cubicBezTo>
                <a:cubicBezTo>
                  <a:pt x="798112" y="574836"/>
                  <a:pt x="799935" y="574836"/>
                  <a:pt x="801757" y="573014"/>
                </a:cubicBezTo>
                <a:cubicBezTo>
                  <a:pt x="803579" y="574836"/>
                  <a:pt x="803579" y="576658"/>
                  <a:pt x="807223" y="576658"/>
                </a:cubicBezTo>
                <a:cubicBezTo>
                  <a:pt x="805401" y="580303"/>
                  <a:pt x="809046" y="583947"/>
                  <a:pt x="810868" y="583947"/>
                </a:cubicBezTo>
                <a:cubicBezTo>
                  <a:pt x="816334" y="580303"/>
                  <a:pt x="810868" y="576658"/>
                  <a:pt x="807223" y="576658"/>
                </a:cubicBezTo>
                <a:cubicBezTo>
                  <a:pt x="807223" y="574836"/>
                  <a:pt x="807223" y="573014"/>
                  <a:pt x="805401" y="571192"/>
                </a:cubicBezTo>
                <a:cubicBezTo>
                  <a:pt x="803579" y="571192"/>
                  <a:pt x="803579" y="571192"/>
                  <a:pt x="801757" y="573014"/>
                </a:cubicBezTo>
                <a:cubicBezTo>
                  <a:pt x="810868" y="558437"/>
                  <a:pt x="807223" y="540215"/>
                  <a:pt x="794468" y="531105"/>
                </a:cubicBezTo>
                <a:cubicBezTo>
                  <a:pt x="798112" y="531105"/>
                  <a:pt x="799935" y="538393"/>
                  <a:pt x="803579" y="536571"/>
                </a:cubicBezTo>
                <a:cubicBezTo>
                  <a:pt x="794468" y="525638"/>
                  <a:pt x="805401" y="512882"/>
                  <a:pt x="796290" y="500127"/>
                </a:cubicBezTo>
                <a:cubicBezTo>
                  <a:pt x="812690" y="509238"/>
                  <a:pt x="807223" y="532926"/>
                  <a:pt x="818156" y="545681"/>
                </a:cubicBezTo>
                <a:cubicBezTo>
                  <a:pt x="819979" y="542037"/>
                  <a:pt x="819979" y="536571"/>
                  <a:pt x="821801" y="532926"/>
                </a:cubicBezTo>
                <a:lnTo>
                  <a:pt x="820202" y="546426"/>
                </a:lnTo>
                <a:lnTo>
                  <a:pt x="819979" y="545681"/>
                </a:lnTo>
                <a:cubicBezTo>
                  <a:pt x="816334" y="545681"/>
                  <a:pt x="821801" y="551148"/>
                  <a:pt x="819979" y="554792"/>
                </a:cubicBezTo>
                <a:lnTo>
                  <a:pt x="820340" y="553589"/>
                </a:lnTo>
                <a:lnTo>
                  <a:pt x="821032" y="557526"/>
                </a:lnTo>
                <a:cubicBezTo>
                  <a:pt x="822142" y="559576"/>
                  <a:pt x="824079" y="561170"/>
                  <a:pt x="827267" y="562081"/>
                </a:cubicBezTo>
                <a:cubicBezTo>
                  <a:pt x="827267" y="560260"/>
                  <a:pt x="827267" y="558437"/>
                  <a:pt x="823623" y="558437"/>
                </a:cubicBezTo>
                <a:lnTo>
                  <a:pt x="828144" y="558437"/>
                </a:lnTo>
                <a:lnTo>
                  <a:pt x="827495" y="560943"/>
                </a:lnTo>
                <a:cubicBezTo>
                  <a:pt x="827723" y="562992"/>
                  <a:pt x="829089" y="564815"/>
                  <a:pt x="832734" y="565725"/>
                </a:cubicBezTo>
                <a:cubicBezTo>
                  <a:pt x="834556" y="563904"/>
                  <a:pt x="832734" y="563904"/>
                  <a:pt x="834556" y="562081"/>
                </a:cubicBezTo>
                <a:cubicBezTo>
                  <a:pt x="834556" y="565725"/>
                  <a:pt x="836378" y="571192"/>
                  <a:pt x="840022" y="565725"/>
                </a:cubicBezTo>
                <a:cubicBezTo>
                  <a:pt x="838200" y="565725"/>
                  <a:pt x="836378" y="562081"/>
                  <a:pt x="834556" y="562081"/>
                </a:cubicBezTo>
                <a:lnTo>
                  <a:pt x="829187" y="554923"/>
                </a:lnTo>
                <a:lnTo>
                  <a:pt x="829317" y="550237"/>
                </a:lnTo>
                <a:cubicBezTo>
                  <a:pt x="827723" y="547504"/>
                  <a:pt x="825445" y="544771"/>
                  <a:pt x="825445" y="542037"/>
                </a:cubicBezTo>
                <a:cubicBezTo>
                  <a:pt x="827267" y="543860"/>
                  <a:pt x="830912" y="549326"/>
                  <a:pt x="832734" y="547504"/>
                </a:cubicBezTo>
                <a:cubicBezTo>
                  <a:pt x="836378" y="540215"/>
                  <a:pt x="823623" y="536571"/>
                  <a:pt x="825445" y="529282"/>
                </a:cubicBezTo>
                <a:cubicBezTo>
                  <a:pt x="827267" y="531105"/>
                  <a:pt x="830912" y="534749"/>
                  <a:pt x="834556" y="536571"/>
                </a:cubicBezTo>
                <a:cubicBezTo>
                  <a:pt x="834556" y="534749"/>
                  <a:pt x="832734" y="531105"/>
                  <a:pt x="830912" y="529282"/>
                </a:cubicBezTo>
                <a:cubicBezTo>
                  <a:pt x="832734" y="529282"/>
                  <a:pt x="832734" y="529282"/>
                  <a:pt x="834556" y="529282"/>
                </a:cubicBezTo>
                <a:cubicBezTo>
                  <a:pt x="834556" y="527461"/>
                  <a:pt x="834556" y="525638"/>
                  <a:pt x="834556" y="521993"/>
                </a:cubicBezTo>
                <a:cubicBezTo>
                  <a:pt x="838200" y="523815"/>
                  <a:pt x="840022" y="525638"/>
                  <a:pt x="841845" y="527461"/>
                </a:cubicBezTo>
                <a:lnTo>
                  <a:pt x="843170" y="524148"/>
                </a:lnTo>
                <a:lnTo>
                  <a:pt x="842755" y="532016"/>
                </a:lnTo>
                <a:cubicBezTo>
                  <a:pt x="841389" y="537938"/>
                  <a:pt x="840022" y="543860"/>
                  <a:pt x="841845" y="549326"/>
                </a:cubicBezTo>
                <a:cubicBezTo>
                  <a:pt x="847311" y="542037"/>
                  <a:pt x="849133" y="536571"/>
                  <a:pt x="849133" y="527461"/>
                </a:cubicBezTo>
                <a:cubicBezTo>
                  <a:pt x="849133" y="531105"/>
                  <a:pt x="850956" y="532926"/>
                  <a:pt x="850956" y="536571"/>
                </a:cubicBezTo>
                <a:cubicBezTo>
                  <a:pt x="852778" y="532926"/>
                  <a:pt x="858244" y="525638"/>
                  <a:pt x="850956" y="523815"/>
                </a:cubicBezTo>
                <a:cubicBezTo>
                  <a:pt x="850956" y="521993"/>
                  <a:pt x="854600" y="521993"/>
                  <a:pt x="854600" y="521993"/>
                </a:cubicBezTo>
                <a:cubicBezTo>
                  <a:pt x="856422" y="516527"/>
                  <a:pt x="849133" y="514705"/>
                  <a:pt x="850956" y="507417"/>
                </a:cubicBezTo>
                <a:cubicBezTo>
                  <a:pt x="852778" y="507417"/>
                  <a:pt x="852778" y="509238"/>
                  <a:pt x="854600" y="511061"/>
                </a:cubicBezTo>
                <a:cubicBezTo>
                  <a:pt x="856422" y="503771"/>
                  <a:pt x="850956" y="500127"/>
                  <a:pt x="845489" y="496483"/>
                </a:cubicBezTo>
                <a:cubicBezTo>
                  <a:pt x="847311" y="498306"/>
                  <a:pt x="845489" y="498306"/>
                  <a:pt x="843667" y="500127"/>
                </a:cubicBezTo>
                <a:cubicBezTo>
                  <a:pt x="843667" y="496483"/>
                  <a:pt x="843667" y="494662"/>
                  <a:pt x="843667" y="491017"/>
                </a:cubicBezTo>
                <a:cubicBezTo>
                  <a:pt x="849133" y="494662"/>
                  <a:pt x="854600" y="503771"/>
                  <a:pt x="858244" y="496483"/>
                </a:cubicBezTo>
                <a:cubicBezTo>
                  <a:pt x="856422" y="492838"/>
                  <a:pt x="850956" y="491017"/>
                  <a:pt x="850956" y="485550"/>
                </a:cubicBezTo>
                <a:cubicBezTo>
                  <a:pt x="854600" y="489194"/>
                  <a:pt x="856422" y="494662"/>
                  <a:pt x="860066" y="496483"/>
                </a:cubicBezTo>
                <a:cubicBezTo>
                  <a:pt x="861889" y="497394"/>
                  <a:pt x="863711" y="496483"/>
                  <a:pt x="865305" y="496028"/>
                </a:cubicBezTo>
                <a:lnTo>
                  <a:pt x="867611" y="497384"/>
                </a:lnTo>
                <a:lnTo>
                  <a:pt x="869177" y="500811"/>
                </a:lnTo>
                <a:cubicBezTo>
                  <a:pt x="871456" y="502861"/>
                  <a:pt x="874643" y="503772"/>
                  <a:pt x="878288" y="501949"/>
                </a:cubicBezTo>
                <a:lnTo>
                  <a:pt x="868635" y="495054"/>
                </a:lnTo>
                <a:lnTo>
                  <a:pt x="867355" y="487373"/>
                </a:lnTo>
                <a:cubicBezTo>
                  <a:pt x="869177" y="489194"/>
                  <a:pt x="871000" y="492838"/>
                  <a:pt x="874644" y="492838"/>
                </a:cubicBezTo>
                <a:cubicBezTo>
                  <a:pt x="872822" y="491017"/>
                  <a:pt x="874644" y="491017"/>
                  <a:pt x="876466" y="489194"/>
                </a:cubicBezTo>
                <a:cubicBezTo>
                  <a:pt x="876466" y="491017"/>
                  <a:pt x="876466" y="492839"/>
                  <a:pt x="877149" y="494206"/>
                </a:cubicBezTo>
                <a:lnTo>
                  <a:pt x="879863" y="495498"/>
                </a:lnTo>
                <a:lnTo>
                  <a:pt x="880111" y="496483"/>
                </a:lnTo>
                <a:lnTo>
                  <a:pt x="880460" y="495782"/>
                </a:lnTo>
                <a:lnTo>
                  <a:pt x="881933" y="496483"/>
                </a:lnTo>
                <a:lnTo>
                  <a:pt x="881132" y="494438"/>
                </a:lnTo>
                <a:lnTo>
                  <a:pt x="881932" y="492839"/>
                </a:lnTo>
                <a:lnTo>
                  <a:pt x="880040" y="490947"/>
                </a:lnTo>
                <a:lnTo>
                  <a:pt x="881933" y="487373"/>
                </a:lnTo>
                <a:cubicBezTo>
                  <a:pt x="883755" y="488284"/>
                  <a:pt x="884210" y="491017"/>
                  <a:pt x="884894" y="493978"/>
                </a:cubicBezTo>
                <a:lnTo>
                  <a:pt x="887058" y="497964"/>
                </a:lnTo>
                <a:lnTo>
                  <a:pt x="883755" y="494662"/>
                </a:lnTo>
                <a:cubicBezTo>
                  <a:pt x="883755" y="498306"/>
                  <a:pt x="885577" y="503771"/>
                  <a:pt x="889222" y="505594"/>
                </a:cubicBezTo>
                <a:lnTo>
                  <a:pt x="888712" y="501012"/>
                </a:lnTo>
                <a:lnTo>
                  <a:pt x="889222" y="501949"/>
                </a:lnTo>
                <a:cubicBezTo>
                  <a:pt x="889222" y="500127"/>
                  <a:pt x="889222" y="500127"/>
                  <a:pt x="889222" y="496483"/>
                </a:cubicBezTo>
                <a:cubicBezTo>
                  <a:pt x="889222" y="498306"/>
                  <a:pt x="889222" y="498306"/>
                  <a:pt x="891043" y="500127"/>
                </a:cubicBezTo>
                <a:lnTo>
                  <a:pt x="891043" y="496483"/>
                </a:lnTo>
                <a:lnTo>
                  <a:pt x="891043" y="492838"/>
                </a:lnTo>
                <a:cubicBezTo>
                  <a:pt x="889222" y="492838"/>
                  <a:pt x="889222" y="492838"/>
                  <a:pt x="887399" y="494662"/>
                </a:cubicBezTo>
                <a:cubicBezTo>
                  <a:pt x="889222" y="492838"/>
                  <a:pt x="889222" y="487373"/>
                  <a:pt x="889222" y="483728"/>
                </a:cubicBezTo>
                <a:cubicBezTo>
                  <a:pt x="891043" y="489194"/>
                  <a:pt x="892866" y="489194"/>
                  <a:pt x="894688" y="492838"/>
                </a:cubicBezTo>
                <a:cubicBezTo>
                  <a:pt x="892866" y="483728"/>
                  <a:pt x="892866" y="472795"/>
                  <a:pt x="887399" y="465506"/>
                </a:cubicBezTo>
                <a:cubicBezTo>
                  <a:pt x="889222" y="465506"/>
                  <a:pt x="891043" y="465506"/>
                  <a:pt x="892866" y="463684"/>
                </a:cubicBezTo>
                <a:cubicBezTo>
                  <a:pt x="898333" y="458218"/>
                  <a:pt x="885577" y="452751"/>
                  <a:pt x="891043" y="447284"/>
                </a:cubicBezTo>
                <a:cubicBezTo>
                  <a:pt x="892866" y="452751"/>
                  <a:pt x="892866" y="460039"/>
                  <a:pt x="894688" y="465506"/>
                </a:cubicBezTo>
                <a:cubicBezTo>
                  <a:pt x="896510" y="467328"/>
                  <a:pt x="896510" y="467328"/>
                  <a:pt x="898333" y="469150"/>
                </a:cubicBezTo>
                <a:cubicBezTo>
                  <a:pt x="897421" y="475528"/>
                  <a:pt x="896054" y="481906"/>
                  <a:pt x="895599" y="488283"/>
                </a:cubicBezTo>
                <a:lnTo>
                  <a:pt x="897492" y="501538"/>
                </a:lnTo>
                <a:lnTo>
                  <a:pt x="897421" y="501722"/>
                </a:lnTo>
                <a:lnTo>
                  <a:pt x="897560" y="502011"/>
                </a:lnTo>
                <a:lnTo>
                  <a:pt x="898333" y="507417"/>
                </a:lnTo>
                <a:lnTo>
                  <a:pt x="899261" y="505557"/>
                </a:lnTo>
                <a:lnTo>
                  <a:pt x="899904" y="506896"/>
                </a:lnTo>
                <a:lnTo>
                  <a:pt x="898561" y="511288"/>
                </a:lnTo>
                <a:cubicBezTo>
                  <a:pt x="896054" y="514705"/>
                  <a:pt x="893776" y="518349"/>
                  <a:pt x="896510" y="523815"/>
                </a:cubicBezTo>
                <a:cubicBezTo>
                  <a:pt x="896510" y="520171"/>
                  <a:pt x="896510" y="518349"/>
                  <a:pt x="898333" y="516527"/>
                </a:cubicBezTo>
                <a:cubicBezTo>
                  <a:pt x="901976" y="522905"/>
                  <a:pt x="902887" y="526549"/>
                  <a:pt x="902659" y="530193"/>
                </a:cubicBezTo>
                <a:lnTo>
                  <a:pt x="902251" y="532426"/>
                </a:lnTo>
                <a:lnTo>
                  <a:pt x="900154" y="543860"/>
                </a:lnTo>
                <a:cubicBezTo>
                  <a:pt x="900154" y="547504"/>
                  <a:pt x="905621" y="551148"/>
                  <a:pt x="909265" y="549326"/>
                </a:cubicBezTo>
                <a:lnTo>
                  <a:pt x="909845" y="546676"/>
                </a:lnTo>
                <a:lnTo>
                  <a:pt x="911087" y="556616"/>
                </a:lnTo>
                <a:cubicBezTo>
                  <a:pt x="912909" y="552970"/>
                  <a:pt x="912909" y="551148"/>
                  <a:pt x="916555" y="547504"/>
                </a:cubicBezTo>
                <a:lnTo>
                  <a:pt x="910635" y="543065"/>
                </a:lnTo>
                <a:lnTo>
                  <a:pt x="910859" y="542037"/>
                </a:lnTo>
                <a:cubicBezTo>
                  <a:pt x="909721" y="539304"/>
                  <a:pt x="907444" y="536571"/>
                  <a:pt x="905621" y="534749"/>
                </a:cubicBezTo>
                <a:cubicBezTo>
                  <a:pt x="912909" y="532926"/>
                  <a:pt x="911087" y="542037"/>
                  <a:pt x="912909" y="540215"/>
                </a:cubicBezTo>
                <a:cubicBezTo>
                  <a:pt x="920198" y="536571"/>
                  <a:pt x="909265" y="525638"/>
                  <a:pt x="916555" y="520171"/>
                </a:cubicBezTo>
                <a:lnTo>
                  <a:pt x="918376" y="521993"/>
                </a:lnTo>
                <a:cubicBezTo>
                  <a:pt x="920198" y="520171"/>
                  <a:pt x="922020" y="520171"/>
                  <a:pt x="922020" y="516527"/>
                </a:cubicBezTo>
                <a:lnTo>
                  <a:pt x="927487" y="518870"/>
                </a:lnTo>
                <a:lnTo>
                  <a:pt x="934777" y="521993"/>
                </a:lnTo>
                <a:lnTo>
                  <a:pt x="932624" y="526204"/>
                </a:lnTo>
                <a:lnTo>
                  <a:pt x="931131" y="523815"/>
                </a:lnTo>
                <a:cubicBezTo>
                  <a:pt x="927487" y="532926"/>
                  <a:pt x="920198" y="532926"/>
                  <a:pt x="925666" y="542037"/>
                </a:cubicBezTo>
                <a:cubicBezTo>
                  <a:pt x="922020" y="542037"/>
                  <a:pt x="920198" y="543860"/>
                  <a:pt x="918376" y="545681"/>
                </a:cubicBezTo>
                <a:cubicBezTo>
                  <a:pt x="916555" y="549326"/>
                  <a:pt x="918376" y="554792"/>
                  <a:pt x="922020" y="556616"/>
                </a:cubicBezTo>
                <a:cubicBezTo>
                  <a:pt x="925666" y="554792"/>
                  <a:pt x="927487" y="549326"/>
                  <a:pt x="925666" y="545681"/>
                </a:cubicBezTo>
                <a:cubicBezTo>
                  <a:pt x="931131" y="551148"/>
                  <a:pt x="920198" y="558437"/>
                  <a:pt x="925666" y="565725"/>
                </a:cubicBezTo>
                <a:cubicBezTo>
                  <a:pt x="929309" y="556616"/>
                  <a:pt x="936598" y="545681"/>
                  <a:pt x="940242" y="534749"/>
                </a:cubicBezTo>
                <a:lnTo>
                  <a:pt x="937371" y="534749"/>
                </a:lnTo>
                <a:lnTo>
                  <a:pt x="938192" y="530877"/>
                </a:lnTo>
                <a:cubicBezTo>
                  <a:pt x="937964" y="527004"/>
                  <a:pt x="938419" y="522904"/>
                  <a:pt x="943886" y="521993"/>
                </a:cubicBezTo>
                <a:cubicBezTo>
                  <a:pt x="936598" y="514705"/>
                  <a:pt x="940242" y="518349"/>
                  <a:pt x="940242" y="509238"/>
                </a:cubicBezTo>
                <a:cubicBezTo>
                  <a:pt x="938420" y="503771"/>
                  <a:pt x="934777" y="498306"/>
                  <a:pt x="927487" y="496483"/>
                </a:cubicBezTo>
                <a:cubicBezTo>
                  <a:pt x="929309" y="496483"/>
                  <a:pt x="932953" y="498306"/>
                  <a:pt x="932953" y="494662"/>
                </a:cubicBezTo>
                <a:cubicBezTo>
                  <a:pt x="931131" y="485550"/>
                  <a:pt x="925666" y="480083"/>
                  <a:pt x="923843" y="470972"/>
                </a:cubicBezTo>
                <a:cubicBezTo>
                  <a:pt x="932953" y="478262"/>
                  <a:pt x="927487" y="492838"/>
                  <a:pt x="940242" y="498306"/>
                </a:cubicBezTo>
                <a:cubicBezTo>
                  <a:pt x="942064" y="491017"/>
                  <a:pt x="942064" y="483728"/>
                  <a:pt x="938420" y="476439"/>
                </a:cubicBezTo>
                <a:cubicBezTo>
                  <a:pt x="940242" y="478262"/>
                  <a:pt x="947531" y="474618"/>
                  <a:pt x="947531" y="483728"/>
                </a:cubicBezTo>
                <a:lnTo>
                  <a:pt x="948779" y="478736"/>
                </a:lnTo>
                <a:lnTo>
                  <a:pt x="951133" y="480059"/>
                </a:lnTo>
                <a:lnTo>
                  <a:pt x="951160" y="480146"/>
                </a:lnTo>
                <a:lnTo>
                  <a:pt x="948669" y="490561"/>
                </a:lnTo>
                <a:cubicBezTo>
                  <a:pt x="947986" y="493294"/>
                  <a:pt x="948441" y="495572"/>
                  <a:pt x="952997" y="498306"/>
                </a:cubicBezTo>
                <a:cubicBezTo>
                  <a:pt x="952997" y="494661"/>
                  <a:pt x="953453" y="490561"/>
                  <a:pt x="953225" y="486461"/>
                </a:cubicBezTo>
                <a:lnTo>
                  <a:pt x="951160" y="480146"/>
                </a:lnTo>
                <a:lnTo>
                  <a:pt x="951175" y="480083"/>
                </a:lnTo>
                <a:cubicBezTo>
                  <a:pt x="956642" y="472795"/>
                  <a:pt x="947531" y="469150"/>
                  <a:pt x="949353" y="461862"/>
                </a:cubicBezTo>
                <a:cubicBezTo>
                  <a:pt x="952997" y="467328"/>
                  <a:pt x="954819" y="461862"/>
                  <a:pt x="958464" y="461862"/>
                </a:cubicBezTo>
                <a:cubicBezTo>
                  <a:pt x="951175" y="467328"/>
                  <a:pt x="954819" y="478262"/>
                  <a:pt x="958464" y="485550"/>
                </a:cubicBezTo>
                <a:cubicBezTo>
                  <a:pt x="958464" y="478262"/>
                  <a:pt x="965753" y="476439"/>
                  <a:pt x="965753" y="467328"/>
                </a:cubicBezTo>
                <a:cubicBezTo>
                  <a:pt x="965753" y="469150"/>
                  <a:pt x="965753" y="469150"/>
                  <a:pt x="965753" y="472795"/>
                </a:cubicBezTo>
                <a:cubicBezTo>
                  <a:pt x="966664" y="470973"/>
                  <a:pt x="968030" y="471429"/>
                  <a:pt x="969397" y="472112"/>
                </a:cubicBezTo>
                <a:lnTo>
                  <a:pt x="970872" y="472389"/>
                </a:lnTo>
                <a:lnTo>
                  <a:pt x="961880" y="478262"/>
                </a:lnTo>
                <a:cubicBezTo>
                  <a:pt x="959375" y="482817"/>
                  <a:pt x="958464" y="488284"/>
                  <a:pt x="960286" y="491017"/>
                </a:cubicBezTo>
                <a:lnTo>
                  <a:pt x="972004" y="472601"/>
                </a:lnTo>
                <a:lnTo>
                  <a:pt x="973041" y="472795"/>
                </a:lnTo>
                <a:lnTo>
                  <a:pt x="972642" y="471599"/>
                </a:lnTo>
                <a:lnTo>
                  <a:pt x="973041" y="470972"/>
                </a:lnTo>
                <a:lnTo>
                  <a:pt x="972542" y="471298"/>
                </a:lnTo>
                <a:lnTo>
                  <a:pt x="970308" y="464595"/>
                </a:lnTo>
                <a:cubicBezTo>
                  <a:pt x="968941" y="461862"/>
                  <a:pt x="967575" y="459129"/>
                  <a:pt x="967575" y="456395"/>
                </a:cubicBezTo>
                <a:cubicBezTo>
                  <a:pt x="971219" y="460039"/>
                  <a:pt x="971219" y="460039"/>
                  <a:pt x="973041" y="458218"/>
                </a:cubicBezTo>
                <a:lnTo>
                  <a:pt x="973952" y="459129"/>
                </a:lnTo>
                <a:lnTo>
                  <a:pt x="978508" y="463684"/>
                </a:lnTo>
                <a:cubicBezTo>
                  <a:pt x="976685" y="469151"/>
                  <a:pt x="976685" y="474618"/>
                  <a:pt x="978508" y="479628"/>
                </a:cubicBezTo>
                <a:lnTo>
                  <a:pt x="980330" y="481830"/>
                </a:lnTo>
                <a:lnTo>
                  <a:pt x="980330" y="489194"/>
                </a:lnTo>
                <a:lnTo>
                  <a:pt x="980330" y="492838"/>
                </a:lnTo>
                <a:cubicBezTo>
                  <a:pt x="983974" y="491017"/>
                  <a:pt x="978508" y="491017"/>
                  <a:pt x="980330" y="489194"/>
                </a:cubicBezTo>
                <a:cubicBezTo>
                  <a:pt x="983974" y="489194"/>
                  <a:pt x="982152" y="492838"/>
                  <a:pt x="983974" y="494662"/>
                </a:cubicBezTo>
                <a:lnTo>
                  <a:pt x="984637" y="487035"/>
                </a:lnTo>
                <a:lnTo>
                  <a:pt x="989441" y="492838"/>
                </a:lnTo>
                <a:cubicBezTo>
                  <a:pt x="989441" y="491017"/>
                  <a:pt x="987619" y="487373"/>
                  <a:pt x="987619" y="487373"/>
                </a:cubicBezTo>
                <a:cubicBezTo>
                  <a:pt x="989441" y="487373"/>
                  <a:pt x="991263" y="485550"/>
                  <a:pt x="991263" y="485550"/>
                </a:cubicBezTo>
                <a:cubicBezTo>
                  <a:pt x="991263" y="487373"/>
                  <a:pt x="989441" y="487373"/>
                  <a:pt x="989441" y="489194"/>
                </a:cubicBezTo>
                <a:cubicBezTo>
                  <a:pt x="989441" y="489194"/>
                  <a:pt x="993085" y="483728"/>
                  <a:pt x="991263" y="485550"/>
                </a:cubicBezTo>
                <a:cubicBezTo>
                  <a:pt x="998552" y="470972"/>
                  <a:pt x="1002196" y="456395"/>
                  <a:pt x="1002196" y="441819"/>
                </a:cubicBezTo>
                <a:cubicBezTo>
                  <a:pt x="1002196" y="436351"/>
                  <a:pt x="991263" y="443640"/>
                  <a:pt x="994907" y="432707"/>
                </a:cubicBezTo>
                <a:lnTo>
                  <a:pt x="998916" y="434044"/>
                </a:lnTo>
                <a:lnTo>
                  <a:pt x="998552" y="434530"/>
                </a:lnTo>
                <a:cubicBezTo>
                  <a:pt x="1000374" y="436351"/>
                  <a:pt x="1002196" y="436351"/>
                  <a:pt x="1005840" y="436351"/>
                </a:cubicBezTo>
                <a:lnTo>
                  <a:pt x="998916" y="434044"/>
                </a:lnTo>
                <a:lnTo>
                  <a:pt x="1004018" y="427240"/>
                </a:lnTo>
                <a:lnTo>
                  <a:pt x="1005840" y="429063"/>
                </a:lnTo>
                <a:cubicBezTo>
                  <a:pt x="998552" y="414485"/>
                  <a:pt x="993085" y="387152"/>
                  <a:pt x="971219" y="388976"/>
                </a:cubicBezTo>
                <a:cubicBezTo>
                  <a:pt x="974863" y="388976"/>
                  <a:pt x="976686" y="387152"/>
                  <a:pt x="980330" y="387152"/>
                </a:cubicBezTo>
                <a:cubicBezTo>
                  <a:pt x="976686" y="387152"/>
                  <a:pt x="976686" y="385331"/>
                  <a:pt x="974863" y="383509"/>
                </a:cubicBezTo>
                <a:cubicBezTo>
                  <a:pt x="983974" y="381687"/>
                  <a:pt x="985796" y="394441"/>
                  <a:pt x="989441" y="388976"/>
                </a:cubicBezTo>
                <a:cubicBezTo>
                  <a:pt x="991263" y="385331"/>
                  <a:pt x="985796" y="381687"/>
                  <a:pt x="980330" y="378041"/>
                </a:cubicBezTo>
                <a:cubicBezTo>
                  <a:pt x="983974" y="378041"/>
                  <a:pt x="987619" y="379865"/>
                  <a:pt x="989441" y="376220"/>
                </a:cubicBezTo>
                <a:cubicBezTo>
                  <a:pt x="991263" y="390797"/>
                  <a:pt x="996729" y="405375"/>
                  <a:pt x="1007663" y="416308"/>
                </a:cubicBezTo>
                <a:cubicBezTo>
                  <a:pt x="1005840" y="409019"/>
                  <a:pt x="1007663" y="401731"/>
                  <a:pt x="1007663" y="394441"/>
                </a:cubicBezTo>
                <a:cubicBezTo>
                  <a:pt x="1004018" y="392620"/>
                  <a:pt x="1000374" y="392620"/>
                  <a:pt x="1000374" y="388976"/>
                </a:cubicBezTo>
                <a:cubicBezTo>
                  <a:pt x="1004018" y="388976"/>
                  <a:pt x="1005840" y="388976"/>
                  <a:pt x="1009485" y="388976"/>
                </a:cubicBezTo>
                <a:lnTo>
                  <a:pt x="1010516" y="386052"/>
                </a:lnTo>
                <a:lnTo>
                  <a:pt x="1012673" y="398997"/>
                </a:lnTo>
                <a:cubicBezTo>
                  <a:pt x="1012218" y="405375"/>
                  <a:pt x="1011307" y="411752"/>
                  <a:pt x="1013129" y="418129"/>
                </a:cubicBezTo>
                <a:cubicBezTo>
                  <a:pt x="1022240" y="398085"/>
                  <a:pt x="1024062" y="378041"/>
                  <a:pt x="1024062" y="357998"/>
                </a:cubicBezTo>
                <a:cubicBezTo>
                  <a:pt x="1024062" y="357998"/>
                  <a:pt x="1025884" y="357998"/>
                  <a:pt x="1025884" y="361642"/>
                </a:cubicBezTo>
                <a:cubicBezTo>
                  <a:pt x="1025884" y="357998"/>
                  <a:pt x="1025884" y="356176"/>
                  <a:pt x="1027707" y="354354"/>
                </a:cubicBezTo>
                <a:cubicBezTo>
                  <a:pt x="1031351" y="383509"/>
                  <a:pt x="1011307" y="410841"/>
                  <a:pt x="1018596" y="434530"/>
                </a:cubicBezTo>
                <a:cubicBezTo>
                  <a:pt x="1018596" y="432707"/>
                  <a:pt x="1018596" y="429063"/>
                  <a:pt x="1022240" y="430886"/>
                </a:cubicBezTo>
                <a:cubicBezTo>
                  <a:pt x="1019507" y="432707"/>
                  <a:pt x="1018027" y="434757"/>
                  <a:pt x="1017458" y="436807"/>
                </a:cubicBezTo>
                <a:lnTo>
                  <a:pt x="1017766" y="439484"/>
                </a:lnTo>
                <a:lnTo>
                  <a:pt x="1013129" y="436351"/>
                </a:lnTo>
                <a:cubicBezTo>
                  <a:pt x="1004018" y="449107"/>
                  <a:pt x="1000374" y="465506"/>
                  <a:pt x="1005840" y="476439"/>
                </a:cubicBezTo>
                <a:cubicBezTo>
                  <a:pt x="1014951" y="467328"/>
                  <a:pt x="1022240" y="458218"/>
                  <a:pt x="1025884" y="449107"/>
                </a:cubicBezTo>
                <a:lnTo>
                  <a:pt x="1024625" y="447053"/>
                </a:lnTo>
                <a:lnTo>
                  <a:pt x="1027707" y="449107"/>
                </a:lnTo>
                <a:cubicBezTo>
                  <a:pt x="1033173" y="449107"/>
                  <a:pt x="1024062" y="441819"/>
                  <a:pt x="1024062" y="436351"/>
                </a:cubicBezTo>
                <a:cubicBezTo>
                  <a:pt x="1025884" y="439995"/>
                  <a:pt x="1025884" y="443640"/>
                  <a:pt x="1029529" y="443640"/>
                </a:cubicBezTo>
                <a:cubicBezTo>
                  <a:pt x="1031351" y="443640"/>
                  <a:pt x="1031351" y="443640"/>
                  <a:pt x="1033173" y="441819"/>
                </a:cubicBezTo>
                <a:cubicBezTo>
                  <a:pt x="1029529" y="445463"/>
                  <a:pt x="1027707" y="450928"/>
                  <a:pt x="1027707" y="454574"/>
                </a:cubicBezTo>
                <a:cubicBezTo>
                  <a:pt x="1034995" y="445463"/>
                  <a:pt x="1038639" y="438174"/>
                  <a:pt x="1042284" y="430886"/>
                </a:cubicBezTo>
                <a:cubicBezTo>
                  <a:pt x="1038639" y="430886"/>
                  <a:pt x="1036818" y="436351"/>
                  <a:pt x="1033173" y="439995"/>
                </a:cubicBezTo>
                <a:cubicBezTo>
                  <a:pt x="1034995" y="436351"/>
                  <a:pt x="1036818" y="430886"/>
                  <a:pt x="1038639" y="427240"/>
                </a:cubicBezTo>
                <a:lnTo>
                  <a:pt x="1038639" y="430886"/>
                </a:lnTo>
                <a:cubicBezTo>
                  <a:pt x="1044106" y="425419"/>
                  <a:pt x="1049573" y="416308"/>
                  <a:pt x="1044106" y="407196"/>
                </a:cubicBezTo>
                <a:cubicBezTo>
                  <a:pt x="1053217" y="412664"/>
                  <a:pt x="1040462" y="394441"/>
                  <a:pt x="1051395" y="401731"/>
                </a:cubicBezTo>
                <a:cubicBezTo>
                  <a:pt x="1047750" y="399908"/>
                  <a:pt x="1047750" y="396264"/>
                  <a:pt x="1047750" y="390797"/>
                </a:cubicBezTo>
                <a:cubicBezTo>
                  <a:pt x="1047750" y="394441"/>
                  <a:pt x="1049573" y="396264"/>
                  <a:pt x="1051395" y="398085"/>
                </a:cubicBezTo>
                <a:cubicBezTo>
                  <a:pt x="1056861" y="392620"/>
                  <a:pt x="1055040" y="385331"/>
                  <a:pt x="1053217" y="379865"/>
                </a:cubicBezTo>
                <a:cubicBezTo>
                  <a:pt x="1053217" y="379865"/>
                  <a:pt x="1053217" y="379865"/>
                  <a:pt x="1055040" y="379865"/>
                </a:cubicBezTo>
                <a:cubicBezTo>
                  <a:pt x="1060506" y="379865"/>
                  <a:pt x="1053217" y="368932"/>
                  <a:pt x="1058683" y="374397"/>
                </a:cubicBezTo>
                <a:cubicBezTo>
                  <a:pt x="1060506" y="378041"/>
                  <a:pt x="1055040" y="388976"/>
                  <a:pt x="1058683" y="387152"/>
                </a:cubicBezTo>
                <a:cubicBezTo>
                  <a:pt x="1064151" y="387152"/>
                  <a:pt x="1065972" y="385331"/>
                  <a:pt x="1067794" y="381687"/>
                </a:cubicBezTo>
                <a:cubicBezTo>
                  <a:pt x="1064151" y="390798"/>
                  <a:pt x="1058683" y="399453"/>
                  <a:pt x="1054128" y="408336"/>
                </a:cubicBezTo>
                <a:lnTo>
                  <a:pt x="1046811" y="433333"/>
                </a:lnTo>
                <a:lnTo>
                  <a:pt x="1042284" y="436351"/>
                </a:lnTo>
                <a:cubicBezTo>
                  <a:pt x="1044106" y="434530"/>
                  <a:pt x="1045929" y="432707"/>
                  <a:pt x="1044106" y="432707"/>
                </a:cubicBezTo>
                <a:cubicBezTo>
                  <a:pt x="1040462" y="436351"/>
                  <a:pt x="1042284" y="438174"/>
                  <a:pt x="1040462" y="439995"/>
                </a:cubicBezTo>
                <a:cubicBezTo>
                  <a:pt x="1040462" y="439995"/>
                  <a:pt x="1042284" y="439995"/>
                  <a:pt x="1042284" y="439995"/>
                </a:cubicBezTo>
                <a:cubicBezTo>
                  <a:pt x="1038639" y="443640"/>
                  <a:pt x="1038639" y="449107"/>
                  <a:pt x="1038639" y="456395"/>
                </a:cubicBezTo>
                <a:cubicBezTo>
                  <a:pt x="1036818" y="454574"/>
                  <a:pt x="1034995" y="450928"/>
                  <a:pt x="1034995" y="449107"/>
                </a:cubicBezTo>
                <a:cubicBezTo>
                  <a:pt x="1024062" y="460039"/>
                  <a:pt x="1005840" y="470972"/>
                  <a:pt x="1005840" y="485550"/>
                </a:cubicBezTo>
                <a:cubicBezTo>
                  <a:pt x="1007663" y="483728"/>
                  <a:pt x="1009485" y="481906"/>
                  <a:pt x="1009485" y="480083"/>
                </a:cubicBezTo>
                <a:cubicBezTo>
                  <a:pt x="1009485" y="481906"/>
                  <a:pt x="1007663" y="485550"/>
                  <a:pt x="1007663" y="489194"/>
                </a:cubicBezTo>
                <a:lnTo>
                  <a:pt x="1009485" y="487373"/>
                </a:lnTo>
                <a:lnTo>
                  <a:pt x="1005577" y="498193"/>
                </a:lnTo>
                <a:lnTo>
                  <a:pt x="1002196" y="487373"/>
                </a:lnTo>
                <a:cubicBezTo>
                  <a:pt x="994907" y="490106"/>
                  <a:pt x="993541" y="494205"/>
                  <a:pt x="994452" y="498988"/>
                </a:cubicBezTo>
                <a:lnTo>
                  <a:pt x="999986" y="513676"/>
                </a:lnTo>
                <a:lnTo>
                  <a:pt x="995004" y="527471"/>
                </a:lnTo>
                <a:lnTo>
                  <a:pt x="967575" y="556616"/>
                </a:lnTo>
                <a:lnTo>
                  <a:pt x="971636" y="555120"/>
                </a:lnTo>
                <a:lnTo>
                  <a:pt x="962336" y="561854"/>
                </a:lnTo>
                <a:cubicBezTo>
                  <a:pt x="955731" y="566181"/>
                  <a:pt x="950264" y="571192"/>
                  <a:pt x="949353" y="580303"/>
                </a:cubicBezTo>
                <a:lnTo>
                  <a:pt x="964088" y="568420"/>
                </a:lnTo>
                <a:lnTo>
                  <a:pt x="958920" y="573014"/>
                </a:lnTo>
                <a:cubicBezTo>
                  <a:pt x="948442" y="582125"/>
                  <a:pt x="940242" y="591236"/>
                  <a:pt x="943886" y="598524"/>
                </a:cubicBezTo>
                <a:cubicBezTo>
                  <a:pt x="945709" y="593058"/>
                  <a:pt x="949353" y="589414"/>
                  <a:pt x="954819" y="587591"/>
                </a:cubicBezTo>
                <a:cubicBezTo>
                  <a:pt x="954819" y="587591"/>
                  <a:pt x="954819" y="589414"/>
                  <a:pt x="956642" y="591236"/>
                </a:cubicBezTo>
                <a:cubicBezTo>
                  <a:pt x="963476" y="578936"/>
                  <a:pt x="977483" y="571762"/>
                  <a:pt x="984060" y="560487"/>
                </a:cubicBezTo>
                <a:lnTo>
                  <a:pt x="986333" y="552194"/>
                </a:lnTo>
                <a:lnTo>
                  <a:pt x="1018596" y="505594"/>
                </a:lnTo>
                <a:cubicBezTo>
                  <a:pt x="1020418" y="500127"/>
                  <a:pt x="1024062" y="494662"/>
                  <a:pt x="1025884" y="489194"/>
                </a:cubicBezTo>
                <a:lnTo>
                  <a:pt x="1032551" y="480774"/>
                </a:lnTo>
                <a:lnTo>
                  <a:pt x="1038639" y="463726"/>
                </a:lnTo>
                <a:cubicBezTo>
                  <a:pt x="1038639" y="468281"/>
                  <a:pt x="1037272" y="472381"/>
                  <a:pt x="1035450" y="476482"/>
                </a:cubicBezTo>
                <a:lnTo>
                  <a:pt x="1035130" y="477171"/>
                </a:lnTo>
                <a:lnTo>
                  <a:pt x="1040462" y="467328"/>
                </a:lnTo>
                <a:cubicBezTo>
                  <a:pt x="1040462" y="470972"/>
                  <a:pt x="1040462" y="472795"/>
                  <a:pt x="1040462" y="476439"/>
                </a:cubicBezTo>
                <a:cubicBezTo>
                  <a:pt x="1044106" y="470972"/>
                  <a:pt x="1047750" y="465506"/>
                  <a:pt x="1049573" y="458218"/>
                </a:cubicBezTo>
                <a:cubicBezTo>
                  <a:pt x="1049573" y="458218"/>
                  <a:pt x="1049573" y="460039"/>
                  <a:pt x="1049573" y="461862"/>
                </a:cubicBezTo>
                <a:cubicBezTo>
                  <a:pt x="1052306" y="458218"/>
                  <a:pt x="1055040" y="452751"/>
                  <a:pt x="1056406" y="447740"/>
                </a:cubicBezTo>
                <a:lnTo>
                  <a:pt x="1055561" y="440699"/>
                </a:lnTo>
                <a:lnTo>
                  <a:pt x="1056634" y="441818"/>
                </a:lnTo>
                <a:cubicBezTo>
                  <a:pt x="1058684" y="443185"/>
                  <a:pt x="1060506" y="444551"/>
                  <a:pt x="1060506" y="447284"/>
                </a:cubicBezTo>
                <a:cubicBezTo>
                  <a:pt x="1062328" y="445463"/>
                  <a:pt x="1065972" y="443640"/>
                  <a:pt x="1065972" y="439995"/>
                </a:cubicBezTo>
                <a:cubicBezTo>
                  <a:pt x="1060506" y="460039"/>
                  <a:pt x="1053217" y="480083"/>
                  <a:pt x="1042284" y="496483"/>
                </a:cubicBezTo>
                <a:cubicBezTo>
                  <a:pt x="1056861" y="481906"/>
                  <a:pt x="1067794" y="469150"/>
                  <a:pt x="1069616" y="449107"/>
                </a:cubicBezTo>
                <a:lnTo>
                  <a:pt x="1069616" y="452751"/>
                </a:lnTo>
                <a:cubicBezTo>
                  <a:pt x="1076905" y="452751"/>
                  <a:pt x="1067794" y="445463"/>
                  <a:pt x="1071439" y="443640"/>
                </a:cubicBezTo>
                <a:lnTo>
                  <a:pt x="1074368" y="449498"/>
                </a:lnTo>
                <a:lnTo>
                  <a:pt x="1072578" y="456395"/>
                </a:lnTo>
                <a:cubicBezTo>
                  <a:pt x="1067795" y="463684"/>
                  <a:pt x="1062328" y="470973"/>
                  <a:pt x="1062328" y="480083"/>
                </a:cubicBezTo>
                <a:cubicBezTo>
                  <a:pt x="1067794" y="476439"/>
                  <a:pt x="1073262" y="472795"/>
                  <a:pt x="1078727" y="467328"/>
                </a:cubicBezTo>
                <a:lnTo>
                  <a:pt x="1078727" y="469150"/>
                </a:lnTo>
                <a:cubicBezTo>
                  <a:pt x="1065972" y="478262"/>
                  <a:pt x="1047750" y="487373"/>
                  <a:pt x="1049573" y="498306"/>
                </a:cubicBezTo>
                <a:cubicBezTo>
                  <a:pt x="1051395" y="507417"/>
                  <a:pt x="1056861" y="514705"/>
                  <a:pt x="1062328" y="521993"/>
                </a:cubicBezTo>
                <a:cubicBezTo>
                  <a:pt x="1055040" y="516527"/>
                  <a:pt x="1049573" y="509238"/>
                  <a:pt x="1044106" y="501949"/>
                </a:cubicBezTo>
                <a:cubicBezTo>
                  <a:pt x="1038639" y="507417"/>
                  <a:pt x="1034995" y="514705"/>
                  <a:pt x="1031351" y="520171"/>
                </a:cubicBezTo>
                <a:cubicBezTo>
                  <a:pt x="1033173" y="516527"/>
                  <a:pt x="1034995" y="512882"/>
                  <a:pt x="1036818" y="511061"/>
                </a:cubicBezTo>
                <a:cubicBezTo>
                  <a:pt x="1025884" y="518349"/>
                  <a:pt x="1024062" y="527461"/>
                  <a:pt x="1018596" y="534749"/>
                </a:cubicBezTo>
                <a:cubicBezTo>
                  <a:pt x="1022240" y="532926"/>
                  <a:pt x="1024062" y="531105"/>
                  <a:pt x="1025884" y="529282"/>
                </a:cubicBezTo>
                <a:cubicBezTo>
                  <a:pt x="1022240" y="536571"/>
                  <a:pt x="1018596" y="543860"/>
                  <a:pt x="1014951" y="549326"/>
                </a:cubicBezTo>
                <a:cubicBezTo>
                  <a:pt x="1014951" y="547504"/>
                  <a:pt x="1016774" y="547504"/>
                  <a:pt x="1018596" y="545681"/>
                </a:cubicBezTo>
                <a:cubicBezTo>
                  <a:pt x="998552" y="565725"/>
                  <a:pt x="976686" y="585769"/>
                  <a:pt x="958464" y="607635"/>
                </a:cubicBezTo>
                <a:cubicBezTo>
                  <a:pt x="962108" y="616746"/>
                  <a:pt x="949353" y="614924"/>
                  <a:pt x="949353" y="620391"/>
                </a:cubicBezTo>
                <a:cubicBezTo>
                  <a:pt x="951175" y="618568"/>
                  <a:pt x="951175" y="618568"/>
                  <a:pt x="952997" y="618568"/>
                </a:cubicBezTo>
                <a:cubicBezTo>
                  <a:pt x="947530" y="621302"/>
                  <a:pt x="941608" y="623580"/>
                  <a:pt x="937053" y="626769"/>
                </a:cubicBezTo>
                <a:lnTo>
                  <a:pt x="936504" y="627737"/>
                </a:lnTo>
                <a:lnTo>
                  <a:pt x="926576" y="633830"/>
                </a:lnTo>
                <a:cubicBezTo>
                  <a:pt x="922931" y="634513"/>
                  <a:pt x="919287" y="634968"/>
                  <a:pt x="916555" y="638612"/>
                </a:cubicBezTo>
                <a:cubicBezTo>
                  <a:pt x="914732" y="644079"/>
                  <a:pt x="912909" y="647723"/>
                  <a:pt x="914732" y="653190"/>
                </a:cubicBezTo>
                <a:cubicBezTo>
                  <a:pt x="916555" y="653190"/>
                  <a:pt x="918376" y="651368"/>
                  <a:pt x="918376" y="651368"/>
                </a:cubicBezTo>
                <a:cubicBezTo>
                  <a:pt x="918376" y="651368"/>
                  <a:pt x="918376" y="653190"/>
                  <a:pt x="918376" y="653190"/>
                </a:cubicBezTo>
                <a:cubicBezTo>
                  <a:pt x="922020" y="649545"/>
                  <a:pt x="922020" y="642257"/>
                  <a:pt x="927487" y="640435"/>
                </a:cubicBezTo>
                <a:cubicBezTo>
                  <a:pt x="927487" y="642257"/>
                  <a:pt x="923843" y="644079"/>
                  <a:pt x="923843" y="647723"/>
                </a:cubicBezTo>
                <a:cubicBezTo>
                  <a:pt x="927487" y="647723"/>
                  <a:pt x="927487" y="649545"/>
                  <a:pt x="929309" y="651368"/>
                </a:cubicBezTo>
                <a:cubicBezTo>
                  <a:pt x="931131" y="647724"/>
                  <a:pt x="934321" y="644535"/>
                  <a:pt x="936370" y="640890"/>
                </a:cubicBezTo>
                <a:lnTo>
                  <a:pt x="936442" y="636691"/>
                </a:lnTo>
                <a:lnTo>
                  <a:pt x="943886" y="627679"/>
                </a:lnTo>
                <a:cubicBezTo>
                  <a:pt x="941153" y="630413"/>
                  <a:pt x="941153" y="632691"/>
                  <a:pt x="941608" y="635196"/>
                </a:cubicBezTo>
                <a:lnTo>
                  <a:pt x="941812" y="639144"/>
                </a:lnTo>
                <a:lnTo>
                  <a:pt x="940242" y="636790"/>
                </a:lnTo>
                <a:cubicBezTo>
                  <a:pt x="936598" y="642257"/>
                  <a:pt x="934777" y="644079"/>
                  <a:pt x="934777" y="649545"/>
                </a:cubicBezTo>
                <a:cubicBezTo>
                  <a:pt x="938420" y="647723"/>
                  <a:pt x="938875" y="645901"/>
                  <a:pt x="939331" y="644535"/>
                </a:cubicBezTo>
                <a:lnTo>
                  <a:pt x="942018" y="643191"/>
                </a:lnTo>
                <a:lnTo>
                  <a:pt x="942064" y="644079"/>
                </a:lnTo>
                <a:cubicBezTo>
                  <a:pt x="942064" y="647723"/>
                  <a:pt x="945709" y="647723"/>
                  <a:pt x="947531" y="647723"/>
                </a:cubicBezTo>
                <a:lnTo>
                  <a:pt x="949244" y="664852"/>
                </a:lnTo>
                <a:lnTo>
                  <a:pt x="948670" y="668679"/>
                </a:lnTo>
                <a:cubicBezTo>
                  <a:pt x="947986" y="670501"/>
                  <a:pt x="947531" y="672323"/>
                  <a:pt x="949353" y="673234"/>
                </a:cubicBezTo>
                <a:cubicBezTo>
                  <a:pt x="951175" y="676878"/>
                  <a:pt x="949353" y="678700"/>
                  <a:pt x="947531" y="682345"/>
                </a:cubicBezTo>
                <a:cubicBezTo>
                  <a:pt x="945709" y="678700"/>
                  <a:pt x="947531" y="684167"/>
                  <a:pt x="947531" y="685989"/>
                </a:cubicBezTo>
                <a:cubicBezTo>
                  <a:pt x="947531" y="684167"/>
                  <a:pt x="947531" y="684167"/>
                  <a:pt x="947531" y="682345"/>
                </a:cubicBezTo>
                <a:cubicBezTo>
                  <a:pt x="947531" y="682345"/>
                  <a:pt x="949353" y="682345"/>
                  <a:pt x="949353" y="684167"/>
                </a:cubicBezTo>
                <a:cubicBezTo>
                  <a:pt x="949353" y="685989"/>
                  <a:pt x="947531" y="687811"/>
                  <a:pt x="945709" y="689633"/>
                </a:cubicBezTo>
                <a:cubicBezTo>
                  <a:pt x="958464" y="687811"/>
                  <a:pt x="963930" y="673234"/>
                  <a:pt x="954819" y="664123"/>
                </a:cubicBezTo>
                <a:cubicBezTo>
                  <a:pt x="954819" y="665945"/>
                  <a:pt x="954819" y="667767"/>
                  <a:pt x="952997" y="669589"/>
                </a:cubicBezTo>
                <a:cubicBezTo>
                  <a:pt x="954819" y="665945"/>
                  <a:pt x="952997" y="660478"/>
                  <a:pt x="949353" y="658656"/>
                </a:cubicBezTo>
                <a:cubicBezTo>
                  <a:pt x="952997" y="658656"/>
                  <a:pt x="952997" y="660478"/>
                  <a:pt x="954819" y="662301"/>
                </a:cubicBezTo>
                <a:cubicBezTo>
                  <a:pt x="956642" y="655012"/>
                  <a:pt x="951175" y="647723"/>
                  <a:pt x="947531" y="644079"/>
                </a:cubicBezTo>
                <a:cubicBezTo>
                  <a:pt x="951175" y="645901"/>
                  <a:pt x="954819" y="649545"/>
                  <a:pt x="954819" y="653190"/>
                </a:cubicBezTo>
                <a:cubicBezTo>
                  <a:pt x="954819" y="651368"/>
                  <a:pt x="954819" y="651368"/>
                  <a:pt x="954819" y="651368"/>
                </a:cubicBezTo>
                <a:cubicBezTo>
                  <a:pt x="962108" y="644079"/>
                  <a:pt x="960286" y="658656"/>
                  <a:pt x="965753" y="656834"/>
                </a:cubicBezTo>
                <a:lnTo>
                  <a:pt x="962381" y="671798"/>
                </a:lnTo>
                <a:lnTo>
                  <a:pt x="962108" y="671411"/>
                </a:lnTo>
                <a:cubicBezTo>
                  <a:pt x="956642" y="675056"/>
                  <a:pt x="960286" y="684167"/>
                  <a:pt x="967575" y="680522"/>
                </a:cubicBezTo>
                <a:lnTo>
                  <a:pt x="966769" y="678979"/>
                </a:lnTo>
                <a:lnTo>
                  <a:pt x="969397" y="682345"/>
                </a:lnTo>
                <a:lnTo>
                  <a:pt x="971197" y="680781"/>
                </a:lnTo>
                <a:lnTo>
                  <a:pt x="969397" y="686673"/>
                </a:lnTo>
                <a:cubicBezTo>
                  <a:pt x="969397" y="692367"/>
                  <a:pt x="972131" y="698745"/>
                  <a:pt x="974863" y="704211"/>
                </a:cubicBezTo>
                <a:cubicBezTo>
                  <a:pt x="974863" y="706033"/>
                  <a:pt x="976686" y="698744"/>
                  <a:pt x="980330" y="696922"/>
                </a:cubicBezTo>
                <a:lnTo>
                  <a:pt x="976686" y="696922"/>
                </a:lnTo>
                <a:cubicBezTo>
                  <a:pt x="978508" y="695100"/>
                  <a:pt x="978508" y="693278"/>
                  <a:pt x="982152" y="693278"/>
                </a:cubicBezTo>
                <a:cubicBezTo>
                  <a:pt x="982152" y="693278"/>
                  <a:pt x="980330" y="693278"/>
                  <a:pt x="982152" y="689633"/>
                </a:cubicBezTo>
                <a:cubicBezTo>
                  <a:pt x="982152" y="689633"/>
                  <a:pt x="983974" y="691455"/>
                  <a:pt x="983974" y="691455"/>
                </a:cubicBezTo>
                <a:cubicBezTo>
                  <a:pt x="985796" y="689633"/>
                  <a:pt x="991263" y="687811"/>
                  <a:pt x="989441" y="684167"/>
                </a:cubicBezTo>
                <a:cubicBezTo>
                  <a:pt x="989441" y="685989"/>
                  <a:pt x="987619" y="685989"/>
                  <a:pt x="985796" y="687811"/>
                </a:cubicBezTo>
                <a:cubicBezTo>
                  <a:pt x="985796" y="685078"/>
                  <a:pt x="987163" y="683256"/>
                  <a:pt x="988529" y="682117"/>
                </a:cubicBezTo>
                <a:lnTo>
                  <a:pt x="989197" y="681728"/>
                </a:lnTo>
                <a:lnTo>
                  <a:pt x="989498" y="681804"/>
                </a:lnTo>
                <a:lnTo>
                  <a:pt x="989612" y="681486"/>
                </a:lnTo>
                <a:lnTo>
                  <a:pt x="991263" y="680522"/>
                </a:lnTo>
                <a:lnTo>
                  <a:pt x="990123" y="680058"/>
                </a:lnTo>
                <a:lnTo>
                  <a:pt x="991263" y="676878"/>
                </a:lnTo>
                <a:cubicBezTo>
                  <a:pt x="991263" y="675056"/>
                  <a:pt x="987619" y="673234"/>
                  <a:pt x="983974" y="671411"/>
                </a:cubicBezTo>
                <a:cubicBezTo>
                  <a:pt x="991263" y="669589"/>
                  <a:pt x="994907" y="678700"/>
                  <a:pt x="1002196" y="678700"/>
                </a:cubicBezTo>
                <a:cubicBezTo>
                  <a:pt x="1000374" y="680522"/>
                  <a:pt x="998552" y="682345"/>
                  <a:pt x="996729" y="678700"/>
                </a:cubicBezTo>
                <a:lnTo>
                  <a:pt x="999332" y="683907"/>
                </a:lnTo>
                <a:lnTo>
                  <a:pt x="996729" y="687811"/>
                </a:lnTo>
                <a:cubicBezTo>
                  <a:pt x="998552" y="687811"/>
                  <a:pt x="998552" y="685989"/>
                  <a:pt x="1000374" y="687811"/>
                </a:cubicBezTo>
                <a:lnTo>
                  <a:pt x="1000374" y="685989"/>
                </a:lnTo>
                <a:lnTo>
                  <a:pt x="1005203" y="681307"/>
                </a:lnTo>
                <a:lnTo>
                  <a:pt x="1002879" y="684167"/>
                </a:lnTo>
                <a:cubicBezTo>
                  <a:pt x="1003107" y="685078"/>
                  <a:pt x="1004018" y="685989"/>
                  <a:pt x="1004018" y="687811"/>
                </a:cubicBezTo>
                <a:lnTo>
                  <a:pt x="1005785" y="680742"/>
                </a:lnTo>
                <a:lnTo>
                  <a:pt x="1007891" y="678701"/>
                </a:lnTo>
                <a:cubicBezTo>
                  <a:pt x="1009029" y="674601"/>
                  <a:pt x="1008573" y="669590"/>
                  <a:pt x="1005840" y="665945"/>
                </a:cubicBezTo>
                <a:cubicBezTo>
                  <a:pt x="1011307" y="664123"/>
                  <a:pt x="1013129" y="667767"/>
                  <a:pt x="1011307" y="671411"/>
                </a:cubicBezTo>
                <a:cubicBezTo>
                  <a:pt x="1014951" y="665945"/>
                  <a:pt x="1009485" y="664123"/>
                  <a:pt x="1007663" y="660478"/>
                </a:cubicBezTo>
                <a:cubicBezTo>
                  <a:pt x="1007663" y="662301"/>
                  <a:pt x="1009485" y="660478"/>
                  <a:pt x="1011307" y="662301"/>
                </a:cubicBezTo>
                <a:cubicBezTo>
                  <a:pt x="1009485" y="656834"/>
                  <a:pt x="1009485" y="655012"/>
                  <a:pt x="1007663" y="651368"/>
                </a:cubicBezTo>
                <a:cubicBezTo>
                  <a:pt x="1011307" y="653190"/>
                  <a:pt x="1013129" y="655012"/>
                  <a:pt x="1014951" y="656834"/>
                </a:cubicBezTo>
                <a:cubicBezTo>
                  <a:pt x="1020418" y="658656"/>
                  <a:pt x="1013129" y="647723"/>
                  <a:pt x="1020418" y="649545"/>
                </a:cubicBezTo>
                <a:cubicBezTo>
                  <a:pt x="1020418" y="642257"/>
                  <a:pt x="1014951" y="638612"/>
                  <a:pt x="1009485" y="638612"/>
                </a:cubicBezTo>
                <a:cubicBezTo>
                  <a:pt x="1011307" y="636790"/>
                  <a:pt x="1013129" y="634968"/>
                  <a:pt x="1014951" y="638612"/>
                </a:cubicBezTo>
                <a:cubicBezTo>
                  <a:pt x="1014951" y="638612"/>
                  <a:pt x="1014951" y="636790"/>
                  <a:pt x="1013129" y="634968"/>
                </a:cubicBezTo>
                <a:cubicBezTo>
                  <a:pt x="1018596" y="636790"/>
                  <a:pt x="1022240" y="640435"/>
                  <a:pt x="1024062" y="644079"/>
                </a:cubicBezTo>
                <a:cubicBezTo>
                  <a:pt x="1025884" y="638612"/>
                  <a:pt x="1020418" y="636790"/>
                  <a:pt x="1018596" y="633146"/>
                </a:cubicBezTo>
                <a:cubicBezTo>
                  <a:pt x="1018596" y="631324"/>
                  <a:pt x="1024062" y="629501"/>
                  <a:pt x="1025884" y="633146"/>
                </a:cubicBezTo>
                <a:cubicBezTo>
                  <a:pt x="1029529" y="627679"/>
                  <a:pt x="1022240" y="624035"/>
                  <a:pt x="1022240" y="618568"/>
                </a:cubicBezTo>
                <a:cubicBezTo>
                  <a:pt x="1024062" y="620391"/>
                  <a:pt x="1025884" y="624035"/>
                  <a:pt x="1029529" y="624035"/>
                </a:cubicBezTo>
                <a:cubicBezTo>
                  <a:pt x="1031351" y="624035"/>
                  <a:pt x="1031351" y="624035"/>
                  <a:pt x="1031351" y="622213"/>
                </a:cubicBezTo>
                <a:cubicBezTo>
                  <a:pt x="1031351" y="625857"/>
                  <a:pt x="1030440" y="628135"/>
                  <a:pt x="1030895" y="629957"/>
                </a:cubicBezTo>
                <a:lnTo>
                  <a:pt x="1038200" y="634684"/>
                </a:lnTo>
                <a:lnTo>
                  <a:pt x="1038184" y="634741"/>
                </a:lnTo>
                <a:lnTo>
                  <a:pt x="1042578" y="640318"/>
                </a:lnTo>
                <a:lnTo>
                  <a:pt x="1040462" y="647723"/>
                </a:lnTo>
                <a:lnTo>
                  <a:pt x="1043359" y="641309"/>
                </a:lnTo>
                <a:lnTo>
                  <a:pt x="1044106" y="642257"/>
                </a:lnTo>
                <a:lnTo>
                  <a:pt x="1043821" y="638539"/>
                </a:lnTo>
                <a:lnTo>
                  <a:pt x="1044106" y="634968"/>
                </a:lnTo>
                <a:lnTo>
                  <a:pt x="1043665" y="636515"/>
                </a:lnTo>
                <a:lnTo>
                  <a:pt x="1042284" y="618568"/>
                </a:lnTo>
                <a:cubicBezTo>
                  <a:pt x="1045929" y="618568"/>
                  <a:pt x="1045929" y="620391"/>
                  <a:pt x="1047750" y="622213"/>
                </a:cubicBezTo>
                <a:cubicBezTo>
                  <a:pt x="1045929" y="616746"/>
                  <a:pt x="1045929" y="614924"/>
                  <a:pt x="1044106" y="611280"/>
                </a:cubicBezTo>
                <a:cubicBezTo>
                  <a:pt x="1049573" y="614924"/>
                  <a:pt x="1049573" y="622213"/>
                  <a:pt x="1049573" y="627679"/>
                </a:cubicBezTo>
                <a:cubicBezTo>
                  <a:pt x="1045929" y="629501"/>
                  <a:pt x="1047750" y="631324"/>
                  <a:pt x="1047750" y="634968"/>
                </a:cubicBezTo>
                <a:cubicBezTo>
                  <a:pt x="1047750" y="634968"/>
                  <a:pt x="1049573" y="633146"/>
                  <a:pt x="1051395" y="633146"/>
                </a:cubicBezTo>
                <a:cubicBezTo>
                  <a:pt x="1053217" y="631324"/>
                  <a:pt x="1051395" y="629501"/>
                  <a:pt x="1049573" y="627679"/>
                </a:cubicBezTo>
                <a:lnTo>
                  <a:pt x="1052611" y="621606"/>
                </a:lnTo>
                <a:lnTo>
                  <a:pt x="1053824" y="620999"/>
                </a:lnTo>
                <a:lnTo>
                  <a:pt x="1054431" y="621606"/>
                </a:lnTo>
                <a:lnTo>
                  <a:pt x="1051395" y="627679"/>
                </a:lnTo>
                <a:cubicBezTo>
                  <a:pt x="1055040" y="631324"/>
                  <a:pt x="1056861" y="625857"/>
                  <a:pt x="1060506" y="624035"/>
                </a:cubicBezTo>
                <a:lnTo>
                  <a:pt x="1055950" y="620999"/>
                </a:lnTo>
                <a:lnTo>
                  <a:pt x="1056477" y="620295"/>
                </a:lnTo>
                <a:lnTo>
                  <a:pt x="1058456" y="620163"/>
                </a:lnTo>
                <a:cubicBezTo>
                  <a:pt x="1060050" y="620391"/>
                  <a:pt x="1061417" y="620391"/>
                  <a:pt x="1060506" y="618568"/>
                </a:cubicBezTo>
                <a:lnTo>
                  <a:pt x="1058757" y="617257"/>
                </a:lnTo>
                <a:lnTo>
                  <a:pt x="1060506" y="614924"/>
                </a:lnTo>
                <a:cubicBezTo>
                  <a:pt x="1060506" y="616746"/>
                  <a:pt x="1060506" y="618568"/>
                  <a:pt x="1062328" y="620391"/>
                </a:cubicBezTo>
                <a:cubicBezTo>
                  <a:pt x="1064151" y="620391"/>
                  <a:pt x="1062328" y="618568"/>
                  <a:pt x="1064151" y="616746"/>
                </a:cubicBezTo>
                <a:cubicBezTo>
                  <a:pt x="1064151" y="618568"/>
                  <a:pt x="1065972" y="622213"/>
                  <a:pt x="1065972" y="622213"/>
                </a:cubicBezTo>
                <a:cubicBezTo>
                  <a:pt x="1075083" y="614924"/>
                  <a:pt x="1064151" y="607635"/>
                  <a:pt x="1056861" y="603991"/>
                </a:cubicBezTo>
                <a:cubicBezTo>
                  <a:pt x="1064151" y="602169"/>
                  <a:pt x="1067794" y="609459"/>
                  <a:pt x="1071439" y="607635"/>
                </a:cubicBezTo>
                <a:cubicBezTo>
                  <a:pt x="1076905" y="605813"/>
                  <a:pt x="1076905" y="596702"/>
                  <a:pt x="1069616" y="591236"/>
                </a:cubicBezTo>
                <a:cubicBezTo>
                  <a:pt x="1071439" y="591236"/>
                  <a:pt x="1073262" y="591236"/>
                  <a:pt x="1075083" y="589414"/>
                </a:cubicBezTo>
                <a:cubicBezTo>
                  <a:pt x="1076905" y="591236"/>
                  <a:pt x="1076905" y="594880"/>
                  <a:pt x="1078727" y="598524"/>
                </a:cubicBezTo>
                <a:cubicBezTo>
                  <a:pt x="1076905" y="598524"/>
                  <a:pt x="1076905" y="598524"/>
                  <a:pt x="1076905" y="598524"/>
                </a:cubicBezTo>
                <a:cubicBezTo>
                  <a:pt x="1075083" y="600347"/>
                  <a:pt x="1075083" y="602169"/>
                  <a:pt x="1075083" y="603991"/>
                </a:cubicBezTo>
                <a:lnTo>
                  <a:pt x="1079288" y="606795"/>
                </a:lnTo>
                <a:lnTo>
                  <a:pt x="1075083" y="613103"/>
                </a:lnTo>
                <a:cubicBezTo>
                  <a:pt x="1082373" y="616746"/>
                  <a:pt x="1084194" y="609459"/>
                  <a:pt x="1087838" y="603991"/>
                </a:cubicBezTo>
                <a:cubicBezTo>
                  <a:pt x="1087838" y="602169"/>
                  <a:pt x="1084194" y="600347"/>
                  <a:pt x="1082373" y="602169"/>
                </a:cubicBezTo>
                <a:lnTo>
                  <a:pt x="1084419" y="600197"/>
                </a:lnTo>
                <a:lnTo>
                  <a:pt x="1090913" y="593941"/>
                </a:lnTo>
                <a:lnTo>
                  <a:pt x="1090397" y="590991"/>
                </a:lnTo>
                <a:lnTo>
                  <a:pt x="1093760" y="588275"/>
                </a:lnTo>
                <a:lnTo>
                  <a:pt x="1095935" y="584080"/>
                </a:lnTo>
                <a:lnTo>
                  <a:pt x="1096949" y="585769"/>
                </a:lnTo>
                <a:cubicBezTo>
                  <a:pt x="1098771" y="580303"/>
                  <a:pt x="1102416" y="576658"/>
                  <a:pt x="1102416" y="573014"/>
                </a:cubicBezTo>
                <a:cubicBezTo>
                  <a:pt x="1098771" y="569370"/>
                  <a:pt x="1093305" y="569370"/>
                  <a:pt x="1089660" y="567548"/>
                </a:cubicBezTo>
                <a:cubicBezTo>
                  <a:pt x="1093305" y="563904"/>
                  <a:pt x="1096949" y="571192"/>
                  <a:pt x="1100593" y="569370"/>
                </a:cubicBezTo>
                <a:cubicBezTo>
                  <a:pt x="1098771" y="567548"/>
                  <a:pt x="1096949" y="565725"/>
                  <a:pt x="1095127" y="563904"/>
                </a:cubicBezTo>
                <a:cubicBezTo>
                  <a:pt x="1098771" y="565725"/>
                  <a:pt x="1100593" y="565725"/>
                  <a:pt x="1102416" y="569370"/>
                </a:cubicBezTo>
                <a:cubicBezTo>
                  <a:pt x="1102416" y="565725"/>
                  <a:pt x="1107882" y="562081"/>
                  <a:pt x="1104238" y="560260"/>
                </a:cubicBezTo>
                <a:cubicBezTo>
                  <a:pt x="1100593" y="563904"/>
                  <a:pt x="1100593" y="567548"/>
                  <a:pt x="1102416" y="569370"/>
                </a:cubicBezTo>
                <a:cubicBezTo>
                  <a:pt x="1106060" y="563904"/>
                  <a:pt x="1100593" y="562081"/>
                  <a:pt x="1098771" y="558437"/>
                </a:cubicBezTo>
                <a:cubicBezTo>
                  <a:pt x="1098771" y="560260"/>
                  <a:pt x="1100593" y="558437"/>
                  <a:pt x="1102416" y="560260"/>
                </a:cubicBezTo>
                <a:cubicBezTo>
                  <a:pt x="1098771" y="542037"/>
                  <a:pt x="1078727" y="545681"/>
                  <a:pt x="1067794" y="538393"/>
                </a:cubicBezTo>
                <a:cubicBezTo>
                  <a:pt x="1073262" y="534749"/>
                  <a:pt x="1078727" y="542037"/>
                  <a:pt x="1082373" y="540215"/>
                </a:cubicBezTo>
                <a:cubicBezTo>
                  <a:pt x="1078727" y="536571"/>
                  <a:pt x="1076905" y="532926"/>
                  <a:pt x="1073262" y="529282"/>
                </a:cubicBezTo>
                <a:cubicBezTo>
                  <a:pt x="1082373" y="538393"/>
                  <a:pt x="1091484" y="545681"/>
                  <a:pt x="1102416" y="551148"/>
                </a:cubicBezTo>
                <a:cubicBezTo>
                  <a:pt x="1100593" y="538393"/>
                  <a:pt x="1095127" y="525638"/>
                  <a:pt x="1093305" y="514705"/>
                </a:cubicBezTo>
                <a:cubicBezTo>
                  <a:pt x="1095127" y="520171"/>
                  <a:pt x="1096949" y="520171"/>
                  <a:pt x="1098771" y="523815"/>
                </a:cubicBezTo>
                <a:cubicBezTo>
                  <a:pt x="1098771" y="521993"/>
                  <a:pt x="1098771" y="521993"/>
                  <a:pt x="1098771" y="518349"/>
                </a:cubicBezTo>
                <a:cubicBezTo>
                  <a:pt x="1098771" y="521993"/>
                  <a:pt x="1100593" y="523815"/>
                  <a:pt x="1102416" y="525638"/>
                </a:cubicBezTo>
                <a:cubicBezTo>
                  <a:pt x="1098771" y="505594"/>
                  <a:pt x="1100593" y="483728"/>
                  <a:pt x="1086016" y="469150"/>
                </a:cubicBezTo>
                <a:cubicBezTo>
                  <a:pt x="1106060" y="478262"/>
                  <a:pt x="1096949" y="503771"/>
                  <a:pt x="1104238" y="521993"/>
                </a:cubicBezTo>
                <a:cubicBezTo>
                  <a:pt x="1102416" y="520171"/>
                  <a:pt x="1104238" y="520171"/>
                  <a:pt x="1106060" y="518349"/>
                </a:cubicBezTo>
                <a:cubicBezTo>
                  <a:pt x="1103326" y="524727"/>
                  <a:pt x="1103782" y="527916"/>
                  <a:pt x="1105604" y="530649"/>
                </a:cubicBezTo>
                <a:lnTo>
                  <a:pt x="1111659" y="538128"/>
                </a:lnTo>
                <a:lnTo>
                  <a:pt x="1111526" y="538393"/>
                </a:lnTo>
                <a:lnTo>
                  <a:pt x="1111774" y="538270"/>
                </a:lnTo>
                <a:lnTo>
                  <a:pt x="1113349" y="540215"/>
                </a:lnTo>
                <a:lnTo>
                  <a:pt x="1113450" y="537431"/>
                </a:lnTo>
                <a:lnTo>
                  <a:pt x="1113804" y="537254"/>
                </a:lnTo>
                <a:lnTo>
                  <a:pt x="1113515" y="535660"/>
                </a:lnTo>
                <a:lnTo>
                  <a:pt x="1113804" y="527687"/>
                </a:lnTo>
                <a:lnTo>
                  <a:pt x="1115171" y="522904"/>
                </a:lnTo>
                <a:lnTo>
                  <a:pt x="1115171" y="527461"/>
                </a:lnTo>
                <a:lnTo>
                  <a:pt x="1116993" y="523613"/>
                </a:lnTo>
                <a:lnTo>
                  <a:pt x="1116993" y="523815"/>
                </a:lnTo>
                <a:cubicBezTo>
                  <a:pt x="1118815" y="521993"/>
                  <a:pt x="1120637" y="521993"/>
                  <a:pt x="1120637" y="518349"/>
                </a:cubicBezTo>
                <a:cubicBezTo>
                  <a:pt x="1122459" y="523815"/>
                  <a:pt x="1120637" y="531105"/>
                  <a:pt x="1120637" y="536571"/>
                </a:cubicBezTo>
                <a:cubicBezTo>
                  <a:pt x="1122459" y="536571"/>
                  <a:pt x="1120637" y="534749"/>
                  <a:pt x="1122459" y="532926"/>
                </a:cubicBezTo>
                <a:cubicBezTo>
                  <a:pt x="1124282" y="534749"/>
                  <a:pt x="1126104" y="536571"/>
                  <a:pt x="1127926" y="538393"/>
                </a:cubicBezTo>
                <a:cubicBezTo>
                  <a:pt x="1131570" y="536571"/>
                  <a:pt x="1129748" y="531105"/>
                  <a:pt x="1133393" y="529282"/>
                </a:cubicBezTo>
                <a:cubicBezTo>
                  <a:pt x="1131570" y="531105"/>
                  <a:pt x="1131570" y="532926"/>
                  <a:pt x="1131570" y="536571"/>
                </a:cubicBezTo>
                <a:cubicBezTo>
                  <a:pt x="1135215" y="534749"/>
                  <a:pt x="1138859" y="532926"/>
                  <a:pt x="1140681" y="529282"/>
                </a:cubicBezTo>
                <a:cubicBezTo>
                  <a:pt x="1137037" y="534749"/>
                  <a:pt x="1133393" y="540215"/>
                  <a:pt x="1129748" y="545681"/>
                </a:cubicBezTo>
                <a:cubicBezTo>
                  <a:pt x="1132937" y="547959"/>
                  <a:pt x="1135100" y="548301"/>
                  <a:pt x="1136723" y="547504"/>
                </a:cubicBezTo>
                <a:lnTo>
                  <a:pt x="1137529" y="546421"/>
                </a:lnTo>
                <a:lnTo>
                  <a:pt x="1140681" y="551148"/>
                </a:lnTo>
                <a:lnTo>
                  <a:pt x="1142503" y="548530"/>
                </a:lnTo>
                <a:lnTo>
                  <a:pt x="1142503" y="551148"/>
                </a:lnTo>
                <a:cubicBezTo>
                  <a:pt x="1142503" y="551148"/>
                  <a:pt x="1144326" y="549326"/>
                  <a:pt x="1144326" y="549326"/>
                </a:cubicBezTo>
                <a:cubicBezTo>
                  <a:pt x="1143414" y="552971"/>
                  <a:pt x="1144325" y="555704"/>
                  <a:pt x="1145920" y="557299"/>
                </a:cubicBezTo>
                <a:lnTo>
                  <a:pt x="1147060" y="557526"/>
                </a:lnTo>
                <a:lnTo>
                  <a:pt x="1151614" y="558437"/>
                </a:lnTo>
                <a:cubicBezTo>
                  <a:pt x="1158903" y="554792"/>
                  <a:pt x="1146148" y="552970"/>
                  <a:pt x="1147970" y="551148"/>
                </a:cubicBezTo>
                <a:cubicBezTo>
                  <a:pt x="1155259" y="543860"/>
                  <a:pt x="1153436" y="560260"/>
                  <a:pt x="1158903" y="563904"/>
                </a:cubicBezTo>
                <a:cubicBezTo>
                  <a:pt x="1164370" y="556616"/>
                  <a:pt x="1158903" y="552970"/>
                  <a:pt x="1155259" y="549326"/>
                </a:cubicBezTo>
                <a:cubicBezTo>
                  <a:pt x="1158903" y="549326"/>
                  <a:pt x="1158903" y="551148"/>
                  <a:pt x="1160725" y="552970"/>
                </a:cubicBezTo>
                <a:cubicBezTo>
                  <a:pt x="1157992" y="550237"/>
                  <a:pt x="1157081" y="547049"/>
                  <a:pt x="1156397" y="543632"/>
                </a:cubicBezTo>
                <a:lnTo>
                  <a:pt x="1153733" y="534002"/>
                </a:lnTo>
                <a:lnTo>
                  <a:pt x="1153896" y="533820"/>
                </a:lnTo>
                <a:lnTo>
                  <a:pt x="1161636" y="548871"/>
                </a:lnTo>
                <a:lnTo>
                  <a:pt x="1163545" y="561910"/>
                </a:lnTo>
                <a:lnTo>
                  <a:pt x="1163003" y="562992"/>
                </a:lnTo>
                <a:lnTo>
                  <a:pt x="1163993" y="564971"/>
                </a:lnTo>
                <a:lnTo>
                  <a:pt x="1164370" y="567548"/>
                </a:lnTo>
                <a:cubicBezTo>
                  <a:pt x="1168014" y="562081"/>
                  <a:pt x="1169836" y="558437"/>
                  <a:pt x="1168014" y="552970"/>
                </a:cubicBezTo>
                <a:cubicBezTo>
                  <a:pt x="1172569" y="556615"/>
                  <a:pt x="1169836" y="561171"/>
                  <a:pt x="1167103" y="565954"/>
                </a:cubicBezTo>
                <a:lnTo>
                  <a:pt x="1164048" y="572909"/>
                </a:lnTo>
                <a:lnTo>
                  <a:pt x="1164370" y="571192"/>
                </a:lnTo>
                <a:cubicBezTo>
                  <a:pt x="1164370" y="569370"/>
                  <a:pt x="1162547" y="569370"/>
                  <a:pt x="1162547" y="567548"/>
                </a:cubicBezTo>
                <a:cubicBezTo>
                  <a:pt x="1158903" y="571192"/>
                  <a:pt x="1164370" y="578481"/>
                  <a:pt x="1157081" y="578481"/>
                </a:cubicBezTo>
                <a:cubicBezTo>
                  <a:pt x="1164370" y="571192"/>
                  <a:pt x="1157081" y="556616"/>
                  <a:pt x="1146148" y="560260"/>
                </a:cubicBezTo>
                <a:cubicBezTo>
                  <a:pt x="1144326" y="567548"/>
                  <a:pt x="1149792" y="574836"/>
                  <a:pt x="1155259" y="578481"/>
                </a:cubicBezTo>
                <a:cubicBezTo>
                  <a:pt x="1155259" y="576658"/>
                  <a:pt x="1155259" y="574836"/>
                  <a:pt x="1155259" y="574836"/>
                </a:cubicBezTo>
                <a:cubicBezTo>
                  <a:pt x="1157081" y="573014"/>
                  <a:pt x="1153436" y="578481"/>
                  <a:pt x="1157081" y="578481"/>
                </a:cubicBezTo>
                <a:lnTo>
                  <a:pt x="1162345" y="581991"/>
                </a:lnTo>
                <a:lnTo>
                  <a:pt x="1162320" y="582125"/>
                </a:lnTo>
                <a:lnTo>
                  <a:pt x="1161834" y="583684"/>
                </a:lnTo>
                <a:lnTo>
                  <a:pt x="1160042" y="587592"/>
                </a:lnTo>
                <a:cubicBezTo>
                  <a:pt x="1158903" y="589414"/>
                  <a:pt x="1157992" y="591236"/>
                  <a:pt x="1158903" y="593058"/>
                </a:cubicBezTo>
                <a:lnTo>
                  <a:pt x="1161834" y="583684"/>
                </a:lnTo>
                <a:lnTo>
                  <a:pt x="1162547" y="582125"/>
                </a:lnTo>
                <a:lnTo>
                  <a:pt x="1162345" y="581991"/>
                </a:lnTo>
                <a:lnTo>
                  <a:pt x="1163962" y="573365"/>
                </a:lnTo>
                <a:lnTo>
                  <a:pt x="1166192" y="580303"/>
                </a:lnTo>
                <a:cubicBezTo>
                  <a:pt x="1169836" y="574836"/>
                  <a:pt x="1171658" y="569370"/>
                  <a:pt x="1169836" y="562081"/>
                </a:cubicBezTo>
                <a:cubicBezTo>
                  <a:pt x="1171658" y="560260"/>
                  <a:pt x="1169836" y="563904"/>
                  <a:pt x="1171658" y="563904"/>
                </a:cubicBezTo>
                <a:cubicBezTo>
                  <a:pt x="1175303" y="562081"/>
                  <a:pt x="1175303" y="560260"/>
                  <a:pt x="1173481" y="558437"/>
                </a:cubicBezTo>
                <a:cubicBezTo>
                  <a:pt x="1175303" y="558437"/>
                  <a:pt x="1178947" y="560260"/>
                  <a:pt x="1177125" y="558437"/>
                </a:cubicBezTo>
                <a:cubicBezTo>
                  <a:pt x="1178947" y="554792"/>
                  <a:pt x="1175303" y="551148"/>
                  <a:pt x="1173481" y="547504"/>
                </a:cubicBezTo>
                <a:cubicBezTo>
                  <a:pt x="1177125" y="547504"/>
                  <a:pt x="1177125" y="551148"/>
                  <a:pt x="1178947" y="552970"/>
                </a:cubicBezTo>
                <a:cubicBezTo>
                  <a:pt x="1180769" y="545681"/>
                  <a:pt x="1171658" y="540215"/>
                  <a:pt x="1168014" y="532926"/>
                </a:cubicBezTo>
                <a:cubicBezTo>
                  <a:pt x="1171658" y="532926"/>
                  <a:pt x="1173481" y="536571"/>
                  <a:pt x="1175303" y="540215"/>
                </a:cubicBezTo>
                <a:cubicBezTo>
                  <a:pt x="1171658" y="532926"/>
                  <a:pt x="1169836" y="527461"/>
                  <a:pt x="1164370" y="521993"/>
                </a:cubicBezTo>
                <a:cubicBezTo>
                  <a:pt x="1163458" y="524727"/>
                  <a:pt x="1160725" y="527005"/>
                  <a:pt x="1157764" y="529510"/>
                </a:cubicBezTo>
                <a:lnTo>
                  <a:pt x="1153896" y="533820"/>
                </a:lnTo>
                <a:lnTo>
                  <a:pt x="1153436" y="532926"/>
                </a:lnTo>
                <a:lnTo>
                  <a:pt x="1153733" y="534002"/>
                </a:lnTo>
                <a:lnTo>
                  <a:pt x="1149792" y="538393"/>
                </a:lnTo>
                <a:cubicBezTo>
                  <a:pt x="1149792" y="536571"/>
                  <a:pt x="1149792" y="536571"/>
                  <a:pt x="1149792" y="536571"/>
                </a:cubicBezTo>
                <a:cubicBezTo>
                  <a:pt x="1147970" y="534749"/>
                  <a:pt x="1147970" y="540215"/>
                  <a:pt x="1146148" y="538393"/>
                </a:cubicBezTo>
                <a:cubicBezTo>
                  <a:pt x="1144325" y="539304"/>
                  <a:pt x="1144325" y="540215"/>
                  <a:pt x="1144098" y="541354"/>
                </a:cubicBezTo>
                <a:lnTo>
                  <a:pt x="1142897" y="542875"/>
                </a:lnTo>
                <a:lnTo>
                  <a:pt x="1142503" y="542037"/>
                </a:lnTo>
                <a:lnTo>
                  <a:pt x="1139107" y="544301"/>
                </a:lnTo>
                <a:lnTo>
                  <a:pt x="1140453" y="542493"/>
                </a:lnTo>
                <a:lnTo>
                  <a:pt x="1147697" y="533659"/>
                </a:lnTo>
                <a:lnTo>
                  <a:pt x="1147970" y="534749"/>
                </a:lnTo>
                <a:lnTo>
                  <a:pt x="1147930" y="533986"/>
                </a:lnTo>
                <a:lnTo>
                  <a:pt x="1148824" y="535432"/>
                </a:lnTo>
                <a:cubicBezTo>
                  <a:pt x="1150361" y="535432"/>
                  <a:pt x="1149336" y="525182"/>
                  <a:pt x="1153436" y="529282"/>
                </a:cubicBezTo>
                <a:cubicBezTo>
                  <a:pt x="1156169" y="526549"/>
                  <a:pt x="1156625" y="524271"/>
                  <a:pt x="1156397" y="522221"/>
                </a:cubicBezTo>
                <a:lnTo>
                  <a:pt x="1155935" y="519901"/>
                </a:lnTo>
                <a:lnTo>
                  <a:pt x="1157288" y="517531"/>
                </a:lnTo>
                <a:lnTo>
                  <a:pt x="1157081" y="520171"/>
                </a:lnTo>
                <a:cubicBezTo>
                  <a:pt x="1158903" y="520171"/>
                  <a:pt x="1158903" y="520171"/>
                  <a:pt x="1160725" y="518349"/>
                </a:cubicBezTo>
                <a:cubicBezTo>
                  <a:pt x="1157081" y="520171"/>
                  <a:pt x="1157081" y="523815"/>
                  <a:pt x="1155259" y="527461"/>
                </a:cubicBezTo>
                <a:cubicBezTo>
                  <a:pt x="1162547" y="525638"/>
                  <a:pt x="1164370" y="518349"/>
                  <a:pt x="1160725" y="514705"/>
                </a:cubicBezTo>
                <a:cubicBezTo>
                  <a:pt x="1162547" y="514705"/>
                  <a:pt x="1164370" y="518349"/>
                  <a:pt x="1164370" y="518349"/>
                </a:cubicBezTo>
                <a:cubicBezTo>
                  <a:pt x="1168014" y="516528"/>
                  <a:pt x="1168469" y="513794"/>
                  <a:pt x="1167558" y="511061"/>
                </a:cubicBezTo>
                <a:lnTo>
                  <a:pt x="1163969" y="505840"/>
                </a:lnTo>
                <a:lnTo>
                  <a:pt x="1164066" y="505670"/>
                </a:lnTo>
                <a:lnTo>
                  <a:pt x="1169836" y="512882"/>
                </a:lnTo>
                <a:cubicBezTo>
                  <a:pt x="1173481" y="511061"/>
                  <a:pt x="1177125" y="511061"/>
                  <a:pt x="1177125" y="507417"/>
                </a:cubicBezTo>
                <a:cubicBezTo>
                  <a:pt x="1175303" y="501949"/>
                  <a:pt x="1169836" y="500127"/>
                  <a:pt x="1164370" y="498306"/>
                </a:cubicBezTo>
                <a:lnTo>
                  <a:pt x="1162746" y="500916"/>
                </a:lnTo>
                <a:lnTo>
                  <a:pt x="1158903" y="499763"/>
                </a:lnTo>
                <a:lnTo>
                  <a:pt x="1162547" y="500127"/>
                </a:lnTo>
                <a:cubicBezTo>
                  <a:pt x="1162547" y="476439"/>
                  <a:pt x="1151614" y="450928"/>
                  <a:pt x="1126104" y="443640"/>
                </a:cubicBezTo>
                <a:lnTo>
                  <a:pt x="1140759" y="446897"/>
                </a:lnTo>
                <a:lnTo>
                  <a:pt x="1149337" y="451840"/>
                </a:lnTo>
                <a:cubicBezTo>
                  <a:pt x="1157081" y="459129"/>
                  <a:pt x="1164370" y="467329"/>
                  <a:pt x="1173481" y="472795"/>
                </a:cubicBezTo>
                <a:cubicBezTo>
                  <a:pt x="1173481" y="474618"/>
                  <a:pt x="1173481" y="474618"/>
                  <a:pt x="1173481" y="476439"/>
                </a:cubicBezTo>
                <a:cubicBezTo>
                  <a:pt x="1175303" y="480083"/>
                  <a:pt x="1180769" y="487373"/>
                  <a:pt x="1184414" y="487373"/>
                </a:cubicBezTo>
                <a:cubicBezTo>
                  <a:pt x="1182592" y="478262"/>
                  <a:pt x="1182592" y="465506"/>
                  <a:pt x="1173481" y="458218"/>
                </a:cubicBezTo>
                <a:cubicBezTo>
                  <a:pt x="1173481" y="460039"/>
                  <a:pt x="1171658" y="460039"/>
                  <a:pt x="1171658" y="461862"/>
                </a:cubicBezTo>
                <a:cubicBezTo>
                  <a:pt x="1173481" y="454574"/>
                  <a:pt x="1162547" y="450928"/>
                  <a:pt x="1157081" y="447284"/>
                </a:cubicBezTo>
                <a:cubicBezTo>
                  <a:pt x="1160725" y="449107"/>
                  <a:pt x="1166192" y="452751"/>
                  <a:pt x="1169836" y="450928"/>
                </a:cubicBezTo>
                <a:cubicBezTo>
                  <a:pt x="1169836" y="449107"/>
                  <a:pt x="1168014" y="449107"/>
                  <a:pt x="1168014" y="445463"/>
                </a:cubicBezTo>
                <a:cubicBezTo>
                  <a:pt x="1169836" y="447284"/>
                  <a:pt x="1173481" y="450928"/>
                  <a:pt x="1177125" y="452751"/>
                </a:cubicBezTo>
                <a:cubicBezTo>
                  <a:pt x="1177125" y="449107"/>
                  <a:pt x="1177125" y="447284"/>
                  <a:pt x="1178947" y="445463"/>
                </a:cubicBezTo>
                <a:cubicBezTo>
                  <a:pt x="1177125" y="452751"/>
                  <a:pt x="1175303" y="461862"/>
                  <a:pt x="1186236" y="469150"/>
                </a:cubicBezTo>
                <a:cubicBezTo>
                  <a:pt x="1184414" y="449107"/>
                  <a:pt x="1182592" y="429063"/>
                  <a:pt x="1162547" y="419952"/>
                </a:cubicBezTo>
                <a:cubicBezTo>
                  <a:pt x="1166192" y="418129"/>
                  <a:pt x="1162547" y="414485"/>
                  <a:pt x="1164370" y="412664"/>
                </a:cubicBezTo>
                <a:cubicBezTo>
                  <a:pt x="1168014" y="419952"/>
                  <a:pt x="1173481" y="429063"/>
                  <a:pt x="1182592" y="430886"/>
                </a:cubicBezTo>
                <a:cubicBezTo>
                  <a:pt x="1180769" y="414485"/>
                  <a:pt x="1180769" y="398085"/>
                  <a:pt x="1171658" y="383509"/>
                </a:cubicBezTo>
                <a:cubicBezTo>
                  <a:pt x="1191703" y="390797"/>
                  <a:pt x="1177125" y="432707"/>
                  <a:pt x="1189880" y="450928"/>
                </a:cubicBezTo>
                <a:cubicBezTo>
                  <a:pt x="1191703" y="450928"/>
                  <a:pt x="1189880" y="443640"/>
                  <a:pt x="1191703" y="447284"/>
                </a:cubicBezTo>
                <a:cubicBezTo>
                  <a:pt x="1189880" y="450928"/>
                  <a:pt x="1189880" y="458218"/>
                  <a:pt x="1193525" y="456395"/>
                </a:cubicBezTo>
                <a:cubicBezTo>
                  <a:pt x="1193525" y="458217"/>
                  <a:pt x="1193069" y="460040"/>
                  <a:pt x="1193297" y="461634"/>
                </a:cubicBezTo>
                <a:lnTo>
                  <a:pt x="1193525" y="461862"/>
                </a:lnTo>
                <a:lnTo>
                  <a:pt x="1193525" y="472795"/>
                </a:lnTo>
                <a:cubicBezTo>
                  <a:pt x="1195346" y="470972"/>
                  <a:pt x="1195346" y="469150"/>
                  <a:pt x="1197169" y="467328"/>
                </a:cubicBezTo>
                <a:lnTo>
                  <a:pt x="1193525" y="461863"/>
                </a:lnTo>
                <a:lnTo>
                  <a:pt x="1197169" y="465506"/>
                </a:lnTo>
                <a:cubicBezTo>
                  <a:pt x="1198991" y="461862"/>
                  <a:pt x="1197169" y="458218"/>
                  <a:pt x="1198991" y="454574"/>
                </a:cubicBezTo>
                <a:cubicBezTo>
                  <a:pt x="1200814" y="460039"/>
                  <a:pt x="1197169" y="463684"/>
                  <a:pt x="1198991" y="469150"/>
                </a:cubicBezTo>
                <a:cubicBezTo>
                  <a:pt x="1204457" y="467328"/>
                  <a:pt x="1198991" y="474618"/>
                  <a:pt x="1202636" y="476439"/>
                </a:cubicBezTo>
                <a:cubicBezTo>
                  <a:pt x="1204457" y="474618"/>
                  <a:pt x="1202636" y="472795"/>
                  <a:pt x="1204457" y="470972"/>
                </a:cubicBezTo>
                <a:cubicBezTo>
                  <a:pt x="1206279" y="472795"/>
                  <a:pt x="1204457" y="476439"/>
                  <a:pt x="1206279" y="474618"/>
                </a:cubicBezTo>
                <a:cubicBezTo>
                  <a:pt x="1209925" y="474618"/>
                  <a:pt x="1208102" y="472795"/>
                  <a:pt x="1208102" y="470972"/>
                </a:cubicBezTo>
                <a:cubicBezTo>
                  <a:pt x="1209925" y="470972"/>
                  <a:pt x="1209925" y="472795"/>
                  <a:pt x="1211747" y="470972"/>
                </a:cubicBezTo>
                <a:cubicBezTo>
                  <a:pt x="1211747" y="467328"/>
                  <a:pt x="1208102" y="467328"/>
                  <a:pt x="1209925" y="465506"/>
                </a:cubicBezTo>
                <a:lnTo>
                  <a:pt x="1212146" y="465284"/>
                </a:lnTo>
                <a:lnTo>
                  <a:pt x="1213568" y="470972"/>
                </a:lnTo>
                <a:cubicBezTo>
                  <a:pt x="1213568" y="470972"/>
                  <a:pt x="1215390" y="467328"/>
                  <a:pt x="1217213" y="469150"/>
                </a:cubicBezTo>
                <a:cubicBezTo>
                  <a:pt x="1217213" y="469150"/>
                  <a:pt x="1213568" y="470972"/>
                  <a:pt x="1211747" y="472795"/>
                </a:cubicBezTo>
                <a:cubicBezTo>
                  <a:pt x="1211747" y="478262"/>
                  <a:pt x="1208102" y="483728"/>
                  <a:pt x="1211747" y="489194"/>
                </a:cubicBezTo>
                <a:cubicBezTo>
                  <a:pt x="1213568" y="487373"/>
                  <a:pt x="1213568" y="485550"/>
                  <a:pt x="1215390" y="487373"/>
                </a:cubicBezTo>
                <a:cubicBezTo>
                  <a:pt x="1215390" y="492838"/>
                  <a:pt x="1213568" y="496483"/>
                  <a:pt x="1215390" y="500127"/>
                </a:cubicBezTo>
                <a:cubicBezTo>
                  <a:pt x="1211747" y="496483"/>
                  <a:pt x="1215390" y="494662"/>
                  <a:pt x="1211747" y="491017"/>
                </a:cubicBezTo>
                <a:cubicBezTo>
                  <a:pt x="1211747" y="494662"/>
                  <a:pt x="1211747" y="500127"/>
                  <a:pt x="1213568" y="503771"/>
                </a:cubicBezTo>
                <a:cubicBezTo>
                  <a:pt x="1211747" y="507417"/>
                  <a:pt x="1213568" y="509238"/>
                  <a:pt x="1213568" y="509238"/>
                </a:cubicBezTo>
                <a:cubicBezTo>
                  <a:pt x="1215390" y="511061"/>
                  <a:pt x="1215390" y="505594"/>
                  <a:pt x="1213568" y="503771"/>
                </a:cubicBezTo>
                <a:cubicBezTo>
                  <a:pt x="1215390" y="501949"/>
                  <a:pt x="1213568" y="498306"/>
                  <a:pt x="1215390" y="500127"/>
                </a:cubicBezTo>
                <a:cubicBezTo>
                  <a:pt x="1217213" y="503771"/>
                  <a:pt x="1215390" y="509238"/>
                  <a:pt x="1217213" y="512882"/>
                </a:cubicBezTo>
                <a:lnTo>
                  <a:pt x="1225986" y="504334"/>
                </a:lnTo>
                <a:lnTo>
                  <a:pt x="1223590" y="508327"/>
                </a:lnTo>
                <a:cubicBezTo>
                  <a:pt x="1221312" y="512882"/>
                  <a:pt x="1219946" y="517438"/>
                  <a:pt x="1220858" y="521993"/>
                </a:cubicBezTo>
                <a:cubicBezTo>
                  <a:pt x="1219036" y="520171"/>
                  <a:pt x="1217213" y="516527"/>
                  <a:pt x="1219036" y="514705"/>
                </a:cubicBezTo>
                <a:cubicBezTo>
                  <a:pt x="1213568" y="518349"/>
                  <a:pt x="1219036" y="525638"/>
                  <a:pt x="1217213" y="527461"/>
                </a:cubicBezTo>
                <a:cubicBezTo>
                  <a:pt x="1224501" y="531105"/>
                  <a:pt x="1219036" y="538393"/>
                  <a:pt x="1222679" y="543860"/>
                </a:cubicBezTo>
                <a:cubicBezTo>
                  <a:pt x="1224501" y="542037"/>
                  <a:pt x="1228146" y="540215"/>
                  <a:pt x="1226323" y="536571"/>
                </a:cubicBezTo>
                <a:cubicBezTo>
                  <a:pt x="1233612" y="534749"/>
                  <a:pt x="1233612" y="523815"/>
                  <a:pt x="1240901" y="520171"/>
                </a:cubicBezTo>
                <a:cubicBezTo>
                  <a:pt x="1237256" y="511061"/>
                  <a:pt x="1240901" y="503771"/>
                  <a:pt x="1231790" y="494662"/>
                </a:cubicBezTo>
                <a:lnTo>
                  <a:pt x="1226115" y="504119"/>
                </a:lnTo>
                <a:lnTo>
                  <a:pt x="1228146" y="492838"/>
                </a:lnTo>
                <a:cubicBezTo>
                  <a:pt x="1228146" y="489194"/>
                  <a:pt x="1231790" y="492838"/>
                  <a:pt x="1231790" y="492838"/>
                </a:cubicBezTo>
                <a:cubicBezTo>
                  <a:pt x="1229969" y="483728"/>
                  <a:pt x="1219036" y="487373"/>
                  <a:pt x="1213568" y="483728"/>
                </a:cubicBezTo>
                <a:cubicBezTo>
                  <a:pt x="1217213" y="480083"/>
                  <a:pt x="1220858" y="487373"/>
                  <a:pt x="1226323" y="485550"/>
                </a:cubicBezTo>
                <a:cubicBezTo>
                  <a:pt x="1226323" y="483728"/>
                  <a:pt x="1219036" y="481906"/>
                  <a:pt x="1220858" y="480083"/>
                </a:cubicBezTo>
                <a:cubicBezTo>
                  <a:pt x="1222679" y="481906"/>
                  <a:pt x="1224501" y="481906"/>
                  <a:pt x="1226323" y="481906"/>
                </a:cubicBezTo>
                <a:cubicBezTo>
                  <a:pt x="1224501" y="478262"/>
                  <a:pt x="1220858" y="478262"/>
                  <a:pt x="1224501" y="470972"/>
                </a:cubicBezTo>
                <a:cubicBezTo>
                  <a:pt x="1224501" y="470972"/>
                  <a:pt x="1226323" y="474618"/>
                  <a:pt x="1228146" y="472795"/>
                </a:cubicBezTo>
                <a:cubicBezTo>
                  <a:pt x="1229969" y="465506"/>
                  <a:pt x="1219036" y="456395"/>
                  <a:pt x="1219036" y="449107"/>
                </a:cubicBezTo>
                <a:cubicBezTo>
                  <a:pt x="1229969" y="463684"/>
                  <a:pt x="1229969" y="483728"/>
                  <a:pt x="1240901" y="492838"/>
                </a:cubicBezTo>
                <a:cubicBezTo>
                  <a:pt x="1240901" y="489194"/>
                  <a:pt x="1242723" y="483728"/>
                  <a:pt x="1237256" y="483728"/>
                </a:cubicBezTo>
                <a:cubicBezTo>
                  <a:pt x="1237256" y="481906"/>
                  <a:pt x="1239080" y="478262"/>
                  <a:pt x="1240901" y="478262"/>
                </a:cubicBezTo>
                <a:cubicBezTo>
                  <a:pt x="1240901" y="481906"/>
                  <a:pt x="1240901" y="483728"/>
                  <a:pt x="1244545" y="483728"/>
                </a:cubicBezTo>
                <a:cubicBezTo>
                  <a:pt x="1244545" y="487373"/>
                  <a:pt x="1246367" y="492838"/>
                  <a:pt x="1246367" y="492838"/>
                </a:cubicBezTo>
                <a:cubicBezTo>
                  <a:pt x="1251834" y="489194"/>
                  <a:pt x="1248189" y="481906"/>
                  <a:pt x="1250012" y="478262"/>
                </a:cubicBezTo>
                <a:cubicBezTo>
                  <a:pt x="1250012" y="478262"/>
                  <a:pt x="1250012" y="480083"/>
                  <a:pt x="1251834" y="480083"/>
                </a:cubicBezTo>
                <a:cubicBezTo>
                  <a:pt x="1253656" y="474618"/>
                  <a:pt x="1251834" y="470972"/>
                  <a:pt x="1255478" y="467328"/>
                </a:cubicBezTo>
                <a:cubicBezTo>
                  <a:pt x="1251834" y="454574"/>
                  <a:pt x="1259123" y="439995"/>
                  <a:pt x="1253656" y="425419"/>
                </a:cubicBezTo>
                <a:cubicBezTo>
                  <a:pt x="1246367" y="410841"/>
                  <a:pt x="1239080" y="396264"/>
                  <a:pt x="1228146" y="381687"/>
                </a:cubicBezTo>
                <a:cubicBezTo>
                  <a:pt x="1229969" y="383509"/>
                  <a:pt x="1229969" y="383509"/>
                  <a:pt x="1231790" y="383509"/>
                </a:cubicBezTo>
                <a:cubicBezTo>
                  <a:pt x="1229969" y="379865"/>
                  <a:pt x="1228146" y="376220"/>
                  <a:pt x="1228146" y="372576"/>
                </a:cubicBezTo>
                <a:cubicBezTo>
                  <a:pt x="1235434" y="390797"/>
                  <a:pt x="1246367" y="412664"/>
                  <a:pt x="1257300" y="429063"/>
                </a:cubicBezTo>
                <a:cubicBezTo>
                  <a:pt x="1264589" y="421775"/>
                  <a:pt x="1257300" y="412664"/>
                  <a:pt x="1262767" y="409019"/>
                </a:cubicBezTo>
                <a:cubicBezTo>
                  <a:pt x="1260945" y="414485"/>
                  <a:pt x="1262767" y="421775"/>
                  <a:pt x="1262767" y="427240"/>
                </a:cubicBezTo>
                <a:cubicBezTo>
                  <a:pt x="1262767" y="425419"/>
                  <a:pt x="1260945" y="425419"/>
                  <a:pt x="1260945" y="425419"/>
                </a:cubicBezTo>
                <a:cubicBezTo>
                  <a:pt x="1253656" y="443640"/>
                  <a:pt x="1257300" y="461862"/>
                  <a:pt x="1257300" y="480083"/>
                </a:cubicBezTo>
                <a:lnTo>
                  <a:pt x="1260945" y="468208"/>
                </a:lnTo>
                <a:lnTo>
                  <a:pt x="1260945" y="472795"/>
                </a:lnTo>
                <a:cubicBezTo>
                  <a:pt x="1261856" y="473706"/>
                  <a:pt x="1262311" y="472795"/>
                  <a:pt x="1262311" y="471429"/>
                </a:cubicBezTo>
                <a:lnTo>
                  <a:pt x="1261085" y="467750"/>
                </a:lnTo>
                <a:lnTo>
                  <a:pt x="1263451" y="460043"/>
                </a:lnTo>
                <a:lnTo>
                  <a:pt x="1266411" y="469150"/>
                </a:lnTo>
                <a:cubicBezTo>
                  <a:pt x="1264589" y="472795"/>
                  <a:pt x="1260945" y="476439"/>
                  <a:pt x="1262767" y="480083"/>
                </a:cubicBezTo>
                <a:cubicBezTo>
                  <a:pt x="1266411" y="480083"/>
                  <a:pt x="1266411" y="474618"/>
                  <a:pt x="1268233" y="474618"/>
                </a:cubicBezTo>
                <a:cubicBezTo>
                  <a:pt x="1268233" y="480083"/>
                  <a:pt x="1255478" y="489194"/>
                  <a:pt x="1264589" y="491017"/>
                </a:cubicBezTo>
                <a:cubicBezTo>
                  <a:pt x="1264589" y="487373"/>
                  <a:pt x="1270056" y="489194"/>
                  <a:pt x="1266411" y="485550"/>
                </a:cubicBezTo>
                <a:lnTo>
                  <a:pt x="1281232" y="470729"/>
                </a:lnTo>
                <a:lnTo>
                  <a:pt x="1266867" y="490106"/>
                </a:lnTo>
                <a:cubicBezTo>
                  <a:pt x="1260033" y="498761"/>
                  <a:pt x="1253656" y="507416"/>
                  <a:pt x="1250012" y="516527"/>
                </a:cubicBezTo>
                <a:cubicBezTo>
                  <a:pt x="1251834" y="521993"/>
                  <a:pt x="1257300" y="529282"/>
                  <a:pt x="1262767" y="532926"/>
                </a:cubicBezTo>
                <a:cubicBezTo>
                  <a:pt x="1262767" y="534749"/>
                  <a:pt x="1262767" y="540215"/>
                  <a:pt x="1266411" y="540215"/>
                </a:cubicBezTo>
                <a:cubicBezTo>
                  <a:pt x="1268233" y="558437"/>
                  <a:pt x="1273700" y="578481"/>
                  <a:pt x="1275522" y="596702"/>
                </a:cubicBezTo>
                <a:cubicBezTo>
                  <a:pt x="1279166" y="598524"/>
                  <a:pt x="1282811" y="602169"/>
                  <a:pt x="1286455" y="600347"/>
                </a:cubicBezTo>
                <a:cubicBezTo>
                  <a:pt x="1286455" y="598524"/>
                  <a:pt x="1284633" y="594880"/>
                  <a:pt x="1286455" y="593058"/>
                </a:cubicBezTo>
                <a:cubicBezTo>
                  <a:pt x="1290100" y="596702"/>
                  <a:pt x="1284633" y="602169"/>
                  <a:pt x="1288277" y="605813"/>
                </a:cubicBezTo>
                <a:cubicBezTo>
                  <a:pt x="1291922" y="602169"/>
                  <a:pt x="1295566" y="596702"/>
                  <a:pt x="1293744" y="591236"/>
                </a:cubicBezTo>
                <a:cubicBezTo>
                  <a:pt x="1293744" y="587591"/>
                  <a:pt x="1288277" y="583947"/>
                  <a:pt x="1291922" y="569370"/>
                </a:cubicBezTo>
                <a:cubicBezTo>
                  <a:pt x="1293744" y="571192"/>
                  <a:pt x="1293744" y="574836"/>
                  <a:pt x="1295566" y="574836"/>
                </a:cubicBezTo>
                <a:cubicBezTo>
                  <a:pt x="1299210" y="571192"/>
                  <a:pt x="1290100" y="565725"/>
                  <a:pt x="1291922" y="560260"/>
                </a:cubicBezTo>
                <a:cubicBezTo>
                  <a:pt x="1293744" y="562081"/>
                  <a:pt x="1293744" y="565725"/>
                  <a:pt x="1295566" y="565725"/>
                </a:cubicBezTo>
                <a:cubicBezTo>
                  <a:pt x="1295566" y="562081"/>
                  <a:pt x="1293744" y="558437"/>
                  <a:pt x="1291922" y="554792"/>
                </a:cubicBezTo>
                <a:cubicBezTo>
                  <a:pt x="1295566" y="552970"/>
                  <a:pt x="1286455" y="542037"/>
                  <a:pt x="1290100" y="540215"/>
                </a:cubicBezTo>
                <a:cubicBezTo>
                  <a:pt x="1293744" y="551148"/>
                  <a:pt x="1295566" y="563904"/>
                  <a:pt x="1297388" y="573014"/>
                </a:cubicBezTo>
                <a:cubicBezTo>
                  <a:pt x="1291922" y="574836"/>
                  <a:pt x="1299210" y="589414"/>
                  <a:pt x="1295566" y="583947"/>
                </a:cubicBezTo>
                <a:cubicBezTo>
                  <a:pt x="1297388" y="587591"/>
                  <a:pt x="1293744" y="587591"/>
                  <a:pt x="1295566" y="591236"/>
                </a:cubicBezTo>
                <a:cubicBezTo>
                  <a:pt x="1299210" y="589414"/>
                  <a:pt x="1297388" y="585769"/>
                  <a:pt x="1301033" y="585769"/>
                </a:cubicBezTo>
                <a:cubicBezTo>
                  <a:pt x="1304677" y="580303"/>
                  <a:pt x="1301033" y="573014"/>
                  <a:pt x="1302855" y="567548"/>
                </a:cubicBezTo>
                <a:cubicBezTo>
                  <a:pt x="1304677" y="569370"/>
                  <a:pt x="1302855" y="569370"/>
                  <a:pt x="1306499" y="571192"/>
                </a:cubicBezTo>
                <a:cubicBezTo>
                  <a:pt x="1302855" y="574836"/>
                  <a:pt x="1302855" y="576658"/>
                  <a:pt x="1304677" y="580303"/>
                </a:cubicBezTo>
                <a:cubicBezTo>
                  <a:pt x="1308321" y="574836"/>
                  <a:pt x="1311966" y="569370"/>
                  <a:pt x="1310143" y="562081"/>
                </a:cubicBezTo>
                <a:cubicBezTo>
                  <a:pt x="1315610" y="563904"/>
                  <a:pt x="1313788" y="554792"/>
                  <a:pt x="1315610" y="554792"/>
                </a:cubicBezTo>
                <a:cubicBezTo>
                  <a:pt x="1315610" y="563904"/>
                  <a:pt x="1308321" y="574836"/>
                  <a:pt x="1308321" y="583947"/>
                </a:cubicBezTo>
                <a:cubicBezTo>
                  <a:pt x="1313788" y="580303"/>
                  <a:pt x="1315610" y="573014"/>
                  <a:pt x="1317432" y="571192"/>
                </a:cubicBezTo>
                <a:cubicBezTo>
                  <a:pt x="1319254" y="576658"/>
                  <a:pt x="1315610" y="582125"/>
                  <a:pt x="1310143" y="585769"/>
                </a:cubicBezTo>
                <a:cubicBezTo>
                  <a:pt x="1311966" y="587591"/>
                  <a:pt x="1308321" y="591236"/>
                  <a:pt x="1311966" y="591236"/>
                </a:cubicBezTo>
                <a:cubicBezTo>
                  <a:pt x="1315610" y="585769"/>
                  <a:pt x="1317432" y="580303"/>
                  <a:pt x="1319254" y="574836"/>
                </a:cubicBezTo>
                <a:cubicBezTo>
                  <a:pt x="1321077" y="576658"/>
                  <a:pt x="1319254" y="576658"/>
                  <a:pt x="1321077" y="576658"/>
                </a:cubicBezTo>
                <a:cubicBezTo>
                  <a:pt x="1326543" y="569370"/>
                  <a:pt x="1324721" y="562081"/>
                  <a:pt x="1321077" y="552970"/>
                </a:cubicBezTo>
                <a:cubicBezTo>
                  <a:pt x="1321077" y="552970"/>
                  <a:pt x="1322899" y="554792"/>
                  <a:pt x="1322899" y="552970"/>
                </a:cubicBezTo>
                <a:cubicBezTo>
                  <a:pt x="1321077" y="558437"/>
                  <a:pt x="1328365" y="574836"/>
                  <a:pt x="1324721" y="558437"/>
                </a:cubicBezTo>
                <a:cubicBezTo>
                  <a:pt x="1324721" y="556616"/>
                  <a:pt x="1322899" y="554792"/>
                  <a:pt x="1322899" y="552970"/>
                </a:cubicBezTo>
                <a:cubicBezTo>
                  <a:pt x="1321077" y="549326"/>
                  <a:pt x="1321077" y="545681"/>
                  <a:pt x="1319254" y="542037"/>
                </a:cubicBezTo>
                <a:cubicBezTo>
                  <a:pt x="1321077" y="545681"/>
                  <a:pt x="1324721" y="545681"/>
                  <a:pt x="1326543" y="549326"/>
                </a:cubicBezTo>
                <a:cubicBezTo>
                  <a:pt x="1328365" y="552970"/>
                  <a:pt x="1326543" y="558437"/>
                  <a:pt x="1330188" y="562081"/>
                </a:cubicBezTo>
                <a:cubicBezTo>
                  <a:pt x="1326543" y="574836"/>
                  <a:pt x="1330188" y="587591"/>
                  <a:pt x="1328365" y="600347"/>
                </a:cubicBezTo>
                <a:lnTo>
                  <a:pt x="1318343" y="617658"/>
                </a:lnTo>
                <a:lnTo>
                  <a:pt x="1317432" y="614924"/>
                </a:lnTo>
                <a:cubicBezTo>
                  <a:pt x="1321077" y="614924"/>
                  <a:pt x="1322899" y="609459"/>
                  <a:pt x="1321077" y="607635"/>
                </a:cubicBezTo>
                <a:cubicBezTo>
                  <a:pt x="1322899" y="605813"/>
                  <a:pt x="1322899" y="607635"/>
                  <a:pt x="1324721" y="605813"/>
                </a:cubicBezTo>
                <a:cubicBezTo>
                  <a:pt x="1326543" y="594880"/>
                  <a:pt x="1326543" y="582125"/>
                  <a:pt x="1324721" y="571192"/>
                </a:cubicBezTo>
                <a:cubicBezTo>
                  <a:pt x="1322899" y="574836"/>
                  <a:pt x="1321077" y="585769"/>
                  <a:pt x="1313788" y="591236"/>
                </a:cubicBezTo>
                <a:cubicBezTo>
                  <a:pt x="1315610" y="594880"/>
                  <a:pt x="1315610" y="600347"/>
                  <a:pt x="1317432" y="603991"/>
                </a:cubicBezTo>
                <a:cubicBezTo>
                  <a:pt x="1315610" y="602169"/>
                  <a:pt x="1315610" y="596702"/>
                  <a:pt x="1313788" y="593058"/>
                </a:cubicBezTo>
                <a:cubicBezTo>
                  <a:pt x="1310143" y="598524"/>
                  <a:pt x="1308321" y="600347"/>
                  <a:pt x="1304677" y="609459"/>
                </a:cubicBezTo>
                <a:cubicBezTo>
                  <a:pt x="1310143" y="614924"/>
                  <a:pt x="1304677" y="624035"/>
                  <a:pt x="1299210" y="631324"/>
                </a:cubicBezTo>
                <a:cubicBezTo>
                  <a:pt x="1301033" y="633146"/>
                  <a:pt x="1301033" y="631324"/>
                  <a:pt x="1302855" y="633146"/>
                </a:cubicBezTo>
                <a:cubicBezTo>
                  <a:pt x="1297388" y="634968"/>
                  <a:pt x="1301033" y="640435"/>
                  <a:pt x="1302855" y="642257"/>
                </a:cubicBezTo>
                <a:cubicBezTo>
                  <a:pt x="1306499" y="640435"/>
                  <a:pt x="1302855" y="638612"/>
                  <a:pt x="1304677" y="636790"/>
                </a:cubicBezTo>
                <a:lnTo>
                  <a:pt x="1310293" y="631562"/>
                </a:lnTo>
                <a:lnTo>
                  <a:pt x="1308321" y="634968"/>
                </a:lnTo>
                <a:cubicBezTo>
                  <a:pt x="1310143" y="638612"/>
                  <a:pt x="1308321" y="645901"/>
                  <a:pt x="1313788" y="647723"/>
                </a:cubicBezTo>
                <a:cubicBezTo>
                  <a:pt x="1315610" y="645901"/>
                  <a:pt x="1315610" y="642257"/>
                  <a:pt x="1313788" y="640435"/>
                </a:cubicBezTo>
                <a:cubicBezTo>
                  <a:pt x="1315610" y="640435"/>
                  <a:pt x="1315610" y="638612"/>
                  <a:pt x="1317432" y="638612"/>
                </a:cubicBezTo>
                <a:cubicBezTo>
                  <a:pt x="1315610" y="640435"/>
                  <a:pt x="1315610" y="640435"/>
                  <a:pt x="1317432" y="642257"/>
                </a:cubicBezTo>
                <a:cubicBezTo>
                  <a:pt x="1326543" y="634968"/>
                  <a:pt x="1330188" y="620391"/>
                  <a:pt x="1333832" y="609459"/>
                </a:cubicBezTo>
                <a:cubicBezTo>
                  <a:pt x="1330188" y="603991"/>
                  <a:pt x="1333832" y="600347"/>
                  <a:pt x="1330188" y="596702"/>
                </a:cubicBezTo>
                <a:cubicBezTo>
                  <a:pt x="1333832" y="596702"/>
                  <a:pt x="1333832" y="593058"/>
                  <a:pt x="1335654" y="593058"/>
                </a:cubicBezTo>
                <a:cubicBezTo>
                  <a:pt x="1333832" y="596702"/>
                  <a:pt x="1332009" y="603991"/>
                  <a:pt x="1335654" y="605813"/>
                </a:cubicBezTo>
                <a:cubicBezTo>
                  <a:pt x="1339299" y="600347"/>
                  <a:pt x="1339299" y="594880"/>
                  <a:pt x="1339299" y="589414"/>
                </a:cubicBezTo>
                <a:cubicBezTo>
                  <a:pt x="1344764" y="587592"/>
                  <a:pt x="1345220" y="581670"/>
                  <a:pt x="1344764" y="575292"/>
                </a:cubicBezTo>
                <a:lnTo>
                  <a:pt x="1344765" y="568277"/>
                </a:lnTo>
                <a:lnTo>
                  <a:pt x="1346587" y="574836"/>
                </a:lnTo>
                <a:cubicBezTo>
                  <a:pt x="1350231" y="573014"/>
                  <a:pt x="1350231" y="567548"/>
                  <a:pt x="1353876" y="567548"/>
                </a:cubicBezTo>
                <a:cubicBezTo>
                  <a:pt x="1352053" y="574836"/>
                  <a:pt x="1341120" y="582125"/>
                  <a:pt x="1346587" y="591236"/>
                </a:cubicBezTo>
                <a:cubicBezTo>
                  <a:pt x="1350231" y="591236"/>
                  <a:pt x="1348410" y="587591"/>
                  <a:pt x="1350231" y="589414"/>
                </a:cubicBezTo>
                <a:cubicBezTo>
                  <a:pt x="1346587" y="598524"/>
                  <a:pt x="1339299" y="605813"/>
                  <a:pt x="1342942" y="614924"/>
                </a:cubicBezTo>
                <a:cubicBezTo>
                  <a:pt x="1357521" y="603991"/>
                  <a:pt x="1366632" y="583947"/>
                  <a:pt x="1368453" y="573014"/>
                </a:cubicBezTo>
                <a:cubicBezTo>
                  <a:pt x="1368453" y="576658"/>
                  <a:pt x="1366632" y="580303"/>
                  <a:pt x="1368453" y="583947"/>
                </a:cubicBezTo>
                <a:cubicBezTo>
                  <a:pt x="1372097" y="580303"/>
                  <a:pt x="1373920" y="574836"/>
                  <a:pt x="1375743" y="574836"/>
                </a:cubicBezTo>
                <a:cubicBezTo>
                  <a:pt x="1370275" y="585769"/>
                  <a:pt x="1359342" y="594880"/>
                  <a:pt x="1355698" y="605813"/>
                </a:cubicBezTo>
                <a:cubicBezTo>
                  <a:pt x="1341120" y="618568"/>
                  <a:pt x="1339299" y="629501"/>
                  <a:pt x="1332009" y="642257"/>
                </a:cubicBezTo>
                <a:cubicBezTo>
                  <a:pt x="1333832" y="644079"/>
                  <a:pt x="1333832" y="649545"/>
                  <a:pt x="1335654" y="649545"/>
                </a:cubicBezTo>
                <a:cubicBezTo>
                  <a:pt x="1339299" y="647723"/>
                  <a:pt x="1339299" y="642257"/>
                  <a:pt x="1341120" y="642257"/>
                </a:cubicBezTo>
                <a:cubicBezTo>
                  <a:pt x="1341120" y="645901"/>
                  <a:pt x="1339299" y="649545"/>
                  <a:pt x="1337476" y="653190"/>
                </a:cubicBezTo>
                <a:cubicBezTo>
                  <a:pt x="1344765" y="645901"/>
                  <a:pt x="1353876" y="647723"/>
                  <a:pt x="1357521" y="636790"/>
                </a:cubicBezTo>
                <a:cubicBezTo>
                  <a:pt x="1357521" y="636790"/>
                  <a:pt x="1357521" y="638612"/>
                  <a:pt x="1359342" y="638612"/>
                </a:cubicBezTo>
                <a:cubicBezTo>
                  <a:pt x="1359342" y="638612"/>
                  <a:pt x="1359342" y="634968"/>
                  <a:pt x="1361164" y="634968"/>
                </a:cubicBezTo>
                <a:cubicBezTo>
                  <a:pt x="1361164" y="634968"/>
                  <a:pt x="1361164" y="638612"/>
                  <a:pt x="1362987" y="636790"/>
                </a:cubicBezTo>
                <a:cubicBezTo>
                  <a:pt x="1364809" y="631324"/>
                  <a:pt x="1362987" y="624035"/>
                  <a:pt x="1362987" y="618568"/>
                </a:cubicBezTo>
                <a:cubicBezTo>
                  <a:pt x="1366632" y="624035"/>
                  <a:pt x="1364809" y="629501"/>
                  <a:pt x="1366632" y="633146"/>
                </a:cubicBezTo>
                <a:cubicBezTo>
                  <a:pt x="1370275" y="627679"/>
                  <a:pt x="1368453" y="618568"/>
                  <a:pt x="1364809" y="613103"/>
                </a:cubicBezTo>
                <a:cubicBezTo>
                  <a:pt x="1364809" y="613103"/>
                  <a:pt x="1364809" y="614924"/>
                  <a:pt x="1366632" y="614924"/>
                </a:cubicBezTo>
                <a:cubicBezTo>
                  <a:pt x="1368453" y="613103"/>
                  <a:pt x="1362987" y="609459"/>
                  <a:pt x="1362987" y="605813"/>
                </a:cubicBezTo>
                <a:cubicBezTo>
                  <a:pt x="1362987" y="605813"/>
                  <a:pt x="1364809" y="609459"/>
                  <a:pt x="1366632" y="607635"/>
                </a:cubicBezTo>
                <a:cubicBezTo>
                  <a:pt x="1365720" y="608547"/>
                  <a:pt x="1366176" y="610369"/>
                  <a:pt x="1367314" y="612191"/>
                </a:cubicBezTo>
                <a:lnTo>
                  <a:pt x="1371410" y="616092"/>
                </a:lnTo>
                <a:lnTo>
                  <a:pt x="1370275" y="624035"/>
                </a:lnTo>
                <a:cubicBezTo>
                  <a:pt x="1368453" y="622213"/>
                  <a:pt x="1370275" y="618568"/>
                  <a:pt x="1372097" y="616746"/>
                </a:cubicBezTo>
                <a:lnTo>
                  <a:pt x="1371410" y="616092"/>
                </a:lnTo>
                <a:lnTo>
                  <a:pt x="1372097" y="611280"/>
                </a:lnTo>
                <a:cubicBezTo>
                  <a:pt x="1372097" y="614924"/>
                  <a:pt x="1373920" y="613103"/>
                  <a:pt x="1375743" y="613103"/>
                </a:cubicBezTo>
                <a:cubicBezTo>
                  <a:pt x="1372097" y="616746"/>
                  <a:pt x="1375743" y="620391"/>
                  <a:pt x="1373920" y="624035"/>
                </a:cubicBezTo>
                <a:cubicBezTo>
                  <a:pt x="1379386" y="620391"/>
                  <a:pt x="1381208" y="613103"/>
                  <a:pt x="1384854" y="611280"/>
                </a:cubicBezTo>
                <a:cubicBezTo>
                  <a:pt x="1381208" y="614924"/>
                  <a:pt x="1379386" y="620391"/>
                  <a:pt x="1375743" y="624035"/>
                </a:cubicBezTo>
                <a:cubicBezTo>
                  <a:pt x="1377564" y="633146"/>
                  <a:pt x="1373920" y="642257"/>
                  <a:pt x="1377564" y="651368"/>
                </a:cubicBezTo>
                <a:cubicBezTo>
                  <a:pt x="1379386" y="649545"/>
                  <a:pt x="1384854" y="647723"/>
                  <a:pt x="1383030" y="644079"/>
                </a:cubicBezTo>
                <a:cubicBezTo>
                  <a:pt x="1377564" y="638612"/>
                  <a:pt x="1375743" y="634968"/>
                  <a:pt x="1377564" y="631324"/>
                </a:cubicBezTo>
                <a:cubicBezTo>
                  <a:pt x="1381208" y="634968"/>
                  <a:pt x="1379386" y="638612"/>
                  <a:pt x="1383030" y="642257"/>
                </a:cubicBezTo>
                <a:cubicBezTo>
                  <a:pt x="1386676" y="642257"/>
                  <a:pt x="1388497" y="640435"/>
                  <a:pt x="1388497" y="636790"/>
                </a:cubicBezTo>
                <a:cubicBezTo>
                  <a:pt x="1384854" y="634968"/>
                  <a:pt x="1386676" y="633146"/>
                  <a:pt x="1384854" y="631324"/>
                </a:cubicBezTo>
                <a:cubicBezTo>
                  <a:pt x="1386676" y="627679"/>
                  <a:pt x="1384854" y="634968"/>
                  <a:pt x="1388497" y="633146"/>
                </a:cubicBezTo>
                <a:cubicBezTo>
                  <a:pt x="1397608" y="624035"/>
                  <a:pt x="1393963" y="614924"/>
                  <a:pt x="1386676" y="605813"/>
                </a:cubicBezTo>
                <a:cubicBezTo>
                  <a:pt x="1383030" y="605813"/>
                  <a:pt x="1384854" y="609459"/>
                  <a:pt x="1383030" y="607635"/>
                </a:cubicBezTo>
                <a:cubicBezTo>
                  <a:pt x="1388497" y="602169"/>
                  <a:pt x="1379386" y="594880"/>
                  <a:pt x="1381208" y="589414"/>
                </a:cubicBezTo>
                <a:cubicBezTo>
                  <a:pt x="1386676" y="594880"/>
                  <a:pt x="1384854" y="609459"/>
                  <a:pt x="1392141" y="609459"/>
                </a:cubicBezTo>
                <a:lnTo>
                  <a:pt x="1392141" y="602169"/>
                </a:lnTo>
                <a:cubicBezTo>
                  <a:pt x="1392141" y="602169"/>
                  <a:pt x="1390319" y="603991"/>
                  <a:pt x="1390319" y="602169"/>
                </a:cubicBezTo>
                <a:cubicBezTo>
                  <a:pt x="1390319" y="602169"/>
                  <a:pt x="1392141" y="600347"/>
                  <a:pt x="1392141" y="600347"/>
                </a:cubicBezTo>
                <a:cubicBezTo>
                  <a:pt x="1390319" y="594880"/>
                  <a:pt x="1383030" y="587591"/>
                  <a:pt x="1377564" y="582125"/>
                </a:cubicBezTo>
                <a:lnTo>
                  <a:pt x="1377341" y="578776"/>
                </a:lnTo>
                <a:lnTo>
                  <a:pt x="1384169" y="587820"/>
                </a:lnTo>
                <a:cubicBezTo>
                  <a:pt x="1386676" y="592603"/>
                  <a:pt x="1389408" y="597614"/>
                  <a:pt x="1393963" y="600347"/>
                </a:cubicBezTo>
                <a:cubicBezTo>
                  <a:pt x="1393963" y="598524"/>
                  <a:pt x="1392141" y="591236"/>
                  <a:pt x="1393963" y="591236"/>
                </a:cubicBezTo>
                <a:cubicBezTo>
                  <a:pt x="1395787" y="594880"/>
                  <a:pt x="1393963" y="602169"/>
                  <a:pt x="1395787" y="603991"/>
                </a:cubicBezTo>
                <a:cubicBezTo>
                  <a:pt x="1397608" y="603991"/>
                  <a:pt x="1397608" y="603991"/>
                  <a:pt x="1397608" y="603991"/>
                </a:cubicBezTo>
                <a:cubicBezTo>
                  <a:pt x="1395787" y="605813"/>
                  <a:pt x="1395787" y="605813"/>
                  <a:pt x="1395787" y="605813"/>
                </a:cubicBezTo>
                <a:cubicBezTo>
                  <a:pt x="1397608" y="607635"/>
                  <a:pt x="1397608" y="607635"/>
                  <a:pt x="1399430" y="609459"/>
                </a:cubicBezTo>
                <a:cubicBezTo>
                  <a:pt x="1397608" y="613103"/>
                  <a:pt x="1397608" y="605813"/>
                  <a:pt x="1395787" y="607635"/>
                </a:cubicBezTo>
                <a:cubicBezTo>
                  <a:pt x="1393963" y="611280"/>
                  <a:pt x="1395787" y="616746"/>
                  <a:pt x="1397608" y="618568"/>
                </a:cubicBezTo>
                <a:cubicBezTo>
                  <a:pt x="1399430" y="616746"/>
                  <a:pt x="1397608" y="614924"/>
                  <a:pt x="1399430" y="613103"/>
                </a:cubicBezTo>
                <a:cubicBezTo>
                  <a:pt x="1401252" y="613103"/>
                  <a:pt x="1401252" y="616746"/>
                  <a:pt x="1403074" y="614924"/>
                </a:cubicBezTo>
                <a:cubicBezTo>
                  <a:pt x="1403074" y="609459"/>
                  <a:pt x="1406719" y="611280"/>
                  <a:pt x="1406719" y="605813"/>
                </a:cubicBezTo>
                <a:lnTo>
                  <a:pt x="1405807" y="605813"/>
                </a:lnTo>
                <a:lnTo>
                  <a:pt x="1408313" y="600802"/>
                </a:lnTo>
                <a:lnTo>
                  <a:pt x="1406117" y="594655"/>
                </a:lnTo>
                <a:lnTo>
                  <a:pt x="1406719" y="594880"/>
                </a:lnTo>
                <a:cubicBezTo>
                  <a:pt x="1408541" y="582125"/>
                  <a:pt x="1397608" y="569370"/>
                  <a:pt x="1386676" y="554792"/>
                </a:cubicBezTo>
                <a:cubicBezTo>
                  <a:pt x="1384854" y="556616"/>
                  <a:pt x="1383030" y="560260"/>
                  <a:pt x="1381208" y="558437"/>
                </a:cubicBezTo>
                <a:cubicBezTo>
                  <a:pt x="1384854" y="554792"/>
                  <a:pt x="1381208" y="549326"/>
                  <a:pt x="1381208" y="547504"/>
                </a:cubicBezTo>
                <a:cubicBezTo>
                  <a:pt x="1388497" y="554792"/>
                  <a:pt x="1393963" y="567548"/>
                  <a:pt x="1401252" y="567548"/>
                </a:cubicBezTo>
                <a:cubicBezTo>
                  <a:pt x="1408541" y="576658"/>
                  <a:pt x="1408541" y="589414"/>
                  <a:pt x="1414007" y="598524"/>
                </a:cubicBezTo>
                <a:cubicBezTo>
                  <a:pt x="1417652" y="594880"/>
                  <a:pt x="1414007" y="589414"/>
                  <a:pt x="1414007" y="585769"/>
                </a:cubicBezTo>
                <a:cubicBezTo>
                  <a:pt x="1414007" y="587591"/>
                  <a:pt x="1415829" y="591236"/>
                  <a:pt x="1417652" y="589414"/>
                </a:cubicBezTo>
                <a:cubicBezTo>
                  <a:pt x="1414007" y="583947"/>
                  <a:pt x="1412185" y="578481"/>
                  <a:pt x="1412185" y="573014"/>
                </a:cubicBezTo>
                <a:cubicBezTo>
                  <a:pt x="1415829" y="573014"/>
                  <a:pt x="1414007" y="580303"/>
                  <a:pt x="1417652" y="580303"/>
                </a:cubicBezTo>
                <a:cubicBezTo>
                  <a:pt x="1415829" y="576658"/>
                  <a:pt x="1417652" y="574836"/>
                  <a:pt x="1414007" y="571192"/>
                </a:cubicBezTo>
                <a:cubicBezTo>
                  <a:pt x="1417652" y="569370"/>
                  <a:pt x="1415829" y="574836"/>
                  <a:pt x="1417652" y="573014"/>
                </a:cubicBezTo>
                <a:cubicBezTo>
                  <a:pt x="1419474" y="569370"/>
                  <a:pt x="1419474" y="563904"/>
                  <a:pt x="1419474" y="560260"/>
                </a:cubicBezTo>
                <a:lnTo>
                  <a:pt x="1426886" y="548947"/>
                </a:lnTo>
                <a:lnTo>
                  <a:pt x="1426307" y="555020"/>
                </a:lnTo>
                <a:cubicBezTo>
                  <a:pt x="1422663" y="562992"/>
                  <a:pt x="1418563" y="571192"/>
                  <a:pt x="1421296" y="580303"/>
                </a:cubicBezTo>
                <a:cubicBezTo>
                  <a:pt x="1421296" y="580303"/>
                  <a:pt x="1423118" y="578481"/>
                  <a:pt x="1423118" y="580303"/>
                </a:cubicBezTo>
                <a:cubicBezTo>
                  <a:pt x="1421296" y="580303"/>
                  <a:pt x="1423118" y="585769"/>
                  <a:pt x="1421296" y="583947"/>
                </a:cubicBezTo>
                <a:cubicBezTo>
                  <a:pt x="1421296" y="582125"/>
                  <a:pt x="1419474" y="582125"/>
                  <a:pt x="1419474" y="582125"/>
                </a:cubicBezTo>
                <a:cubicBezTo>
                  <a:pt x="1419474" y="583947"/>
                  <a:pt x="1421296" y="587591"/>
                  <a:pt x="1423118" y="587591"/>
                </a:cubicBezTo>
                <a:cubicBezTo>
                  <a:pt x="1430407" y="574836"/>
                  <a:pt x="1434051" y="560260"/>
                  <a:pt x="1441340" y="547504"/>
                </a:cubicBezTo>
                <a:lnTo>
                  <a:pt x="1442001" y="541554"/>
                </a:lnTo>
                <a:lnTo>
                  <a:pt x="1443162" y="545681"/>
                </a:lnTo>
                <a:cubicBezTo>
                  <a:pt x="1437696" y="556616"/>
                  <a:pt x="1430407" y="569370"/>
                  <a:pt x="1428585" y="582125"/>
                </a:cubicBezTo>
                <a:cubicBezTo>
                  <a:pt x="1430407" y="582125"/>
                  <a:pt x="1432229" y="583947"/>
                  <a:pt x="1434051" y="583947"/>
                </a:cubicBezTo>
                <a:cubicBezTo>
                  <a:pt x="1431318" y="585769"/>
                  <a:pt x="1429496" y="588502"/>
                  <a:pt x="1428130" y="591008"/>
                </a:cubicBezTo>
                <a:lnTo>
                  <a:pt x="1426104" y="594625"/>
                </a:lnTo>
                <a:lnTo>
                  <a:pt x="1426763" y="587591"/>
                </a:lnTo>
                <a:cubicBezTo>
                  <a:pt x="1423118" y="593058"/>
                  <a:pt x="1415829" y="596702"/>
                  <a:pt x="1421296" y="602169"/>
                </a:cubicBezTo>
                <a:lnTo>
                  <a:pt x="1425269" y="596116"/>
                </a:lnTo>
                <a:lnTo>
                  <a:pt x="1424940" y="596702"/>
                </a:lnTo>
                <a:cubicBezTo>
                  <a:pt x="1423118" y="600347"/>
                  <a:pt x="1423118" y="602169"/>
                  <a:pt x="1426763" y="605813"/>
                </a:cubicBezTo>
                <a:cubicBezTo>
                  <a:pt x="1428585" y="605813"/>
                  <a:pt x="1428585" y="603991"/>
                  <a:pt x="1430407" y="603991"/>
                </a:cubicBezTo>
                <a:cubicBezTo>
                  <a:pt x="1428585" y="609459"/>
                  <a:pt x="1428585" y="614924"/>
                  <a:pt x="1434051" y="622213"/>
                </a:cubicBezTo>
                <a:cubicBezTo>
                  <a:pt x="1439518" y="618568"/>
                  <a:pt x="1434051" y="611280"/>
                  <a:pt x="1434051" y="603991"/>
                </a:cubicBezTo>
                <a:cubicBezTo>
                  <a:pt x="1437696" y="607635"/>
                  <a:pt x="1434051" y="609459"/>
                  <a:pt x="1437696" y="613103"/>
                </a:cubicBezTo>
                <a:cubicBezTo>
                  <a:pt x="1439518" y="611280"/>
                  <a:pt x="1437696" y="611280"/>
                  <a:pt x="1439518" y="609459"/>
                </a:cubicBezTo>
                <a:cubicBezTo>
                  <a:pt x="1441340" y="611280"/>
                  <a:pt x="1441340" y="613103"/>
                  <a:pt x="1441340" y="614924"/>
                </a:cubicBezTo>
                <a:cubicBezTo>
                  <a:pt x="1441340" y="614924"/>
                  <a:pt x="1439518" y="618568"/>
                  <a:pt x="1439518" y="618568"/>
                </a:cubicBezTo>
                <a:cubicBezTo>
                  <a:pt x="1443162" y="614924"/>
                  <a:pt x="1441340" y="620391"/>
                  <a:pt x="1443162" y="620391"/>
                </a:cubicBezTo>
                <a:cubicBezTo>
                  <a:pt x="1444984" y="616746"/>
                  <a:pt x="1444984" y="611280"/>
                  <a:pt x="1444984" y="607635"/>
                </a:cubicBezTo>
                <a:cubicBezTo>
                  <a:pt x="1446806" y="609459"/>
                  <a:pt x="1444984" y="613103"/>
                  <a:pt x="1446806" y="611280"/>
                </a:cubicBezTo>
                <a:cubicBezTo>
                  <a:pt x="1446806" y="605813"/>
                  <a:pt x="1446806" y="605813"/>
                  <a:pt x="1441340" y="600347"/>
                </a:cubicBezTo>
                <a:cubicBezTo>
                  <a:pt x="1446806" y="598524"/>
                  <a:pt x="1444984" y="605813"/>
                  <a:pt x="1448629" y="611280"/>
                </a:cubicBezTo>
                <a:cubicBezTo>
                  <a:pt x="1448629" y="611280"/>
                  <a:pt x="1454095" y="607635"/>
                  <a:pt x="1452273" y="609459"/>
                </a:cubicBezTo>
                <a:cubicBezTo>
                  <a:pt x="1450451" y="613103"/>
                  <a:pt x="1448629" y="614924"/>
                  <a:pt x="1448629" y="616746"/>
                </a:cubicBezTo>
                <a:cubicBezTo>
                  <a:pt x="1448629" y="616746"/>
                  <a:pt x="1450451" y="618568"/>
                  <a:pt x="1452273" y="618568"/>
                </a:cubicBezTo>
                <a:cubicBezTo>
                  <a:pt x="1450451" y="622213"/>
                  <a:pt x="1448629" y="620391"/>
                  <a:pt x="1446806" y="620391"/>
                </a:cubicBezTo>
                <a:cubicBezTo>
                  <a:pt x="1446806" y="624035"/>
                  <a:pt x="1444984" y="625857"/>
                  <a:pt x="1446806" y="627679"/>
                </a:cubicBezTo>
                <a:cubicBezTo>
                  <a:pt x="1448629" y="625857"/>
                  <a:pt x="1446806" y="624035"/>
                  <a:pt x="1448629" y="622213"/>
                </a:cubicBezTo>
                <a:cubicBezTo>
                  <a:pt x="1450451" y="622213"/>
                  <a:pt x="1448629" y="625857"/>
                  <a:pt x="1450451" y="625857"/>
                </a:cubicBezTo>
                <a:cubicBezTo>
                  <a:pt x="1455917" y="624035"/>
                  <a:pt x="1455917" y="616746"/>
                  <a:pt x="1457739" y="614924"/>
                </a:cubicBezTo>
                <a:cubicBezTo>
                  <a:pt x="1455917" y="616746"/>
                  <a:pt x="1455917" y="620391"/>
                  <a:pt x="1457739" y="620391"/>
                </a:cubicBezTo>
                <a:cubicBezTo>
                  <a:pt x="1461384" y="618568"/>
                  <a:pt x="1459562" y="614924"/>
                  <a:pt x="1463206" y="614924"/>
                </a:cubicBezTo>
                <a:cubicBezTo>
                  <a:pt x="1461384" y="625857"/>
                  <a:pt x="1448629" y="625857"/>
                  <a:pt x="1444984" y="638612"/>
                </a:cubicBezTo>
                <a:cubicBezTo>
                  <a:pt x="1443162" y="634968"/>
                  <a:pt x="1439518" y="640435"/>
                  <a:pt x="1441340" y="642257"/>
                </a:cubicBezTo>
                <a:cubicBezTo>
                  <a:pt x="1443162" y="642257"/>
                  <a:pt x="1443162" y="640435"/>
                  <a:pt x="1444984" y="640435"/>
                </a:cubicBezTo>
                <a:cubicBezTo>
                  <a:pt x="1443162" y="642257"/>
                  <a:pt x="1441340" y="647723"/>
                  <a:pt x="1444984" y="647723"/>
                </a:cubicBezTo>
                <a:cubicBezTo>
                  <a:pt x="1441340" y="649545"/>
                  <a:pt x="1441340" y="651368"/>
                  <a:pt x="1443162" y="655012"/>
                </a:cubicBezTo>
                <a:lnTo>
                  <a:pt x="1448365" y="650676"/>
                </a:lnTo>
                <a:lnTo>
                  <a:pt x="1442934" y="658657"/>
                </a:lnTo>
                <a:cubicBezTo>
                  <a:pt x="1438151" y="664123"/>
                  <a:pt x="1433140" y="669590"/>
                  <a:pt x="1430407" y="675056"/>
                </a:cubicBezTo>
                <a:cubicBezTo>
                  <a:pt x="1434051" y="675056"/>
                  <a:pt x="1437696" y="671411"/>
                  <a:pt x="1441340" y="669589"/>
                </a:cubicBezTo>
                <a:cubicBezTo>
                  <a:pt x="1441340" y="669589"/>
                  <a:pt x="1441340" y="671411"/>
                  <a:pt x="1443162" y="673234"/>
                </a:cubicBezTo>
                <a:cubicBezTo>
                  <a:pt x="1446806" y="673234"/>
                  <a:pt x="1450451" y="669589"/>
                  <a:pt x="1450451" y="665945"/>
                </a:cubicBezTo>
                <a:cubicBezTo>
                  <a:pt x="1454095" y="667767"/>
                  <a:pt x="1454095" y="664123"/>
                  <a:pt x="1457739" y="662301"/>
                </a:cubicBezTo>
                <a:cubicBezTo>
                  <a:pt x="1459562" y="667767"/>
                  <a:pt x="1450451" y="667767"/>
                  <a:pt x="1450451" y="673234"/>
                </a:cubicBezTo>
                <a:cubicBezTo>
                  <a:pt x="1455917" y="675056"/>
                  <a:pt x="1455917" y="665945"/>
                  <a:pt x="1461384" y="667767"/>
                </a:cubicBezTo>
                <a:cubicBezTo>
                  <a:pt x="1459562" y="669589"/>
                  <a:pt x="1459562" y="671411"/>
                  <a:pt x="1459562" y="673234"/>
                </a:cubicBezTo>
                <a:cubicBezTo>
                  <a:pt x="1454095" y="671411"/>
                  <a:pt x="1450451" y="678700"/>
                  <a:pt x="1454095" y="682345"/>
                </a:cubicBezTo>
                <a:cubicBezTo>
                  <a:pt x="1457739" y="680522"/>
                  <a:pt x="1461384" y="678700"/>
                  <a:pt x="1463206" y="675056"/>
                </a:cubicBezTo>
                <a:cubicBezTo>
                  <a:pt x="1465028" y="680522"/>
                  <a:pt x="1457739" y="680522"/>
                  <a:pt x="1454095" y="684167"/>
                </a:cubicBezTo>
                <a:cubicBezTo>
                  <a:pt x="1455006" y="690545"/>
                  <a:pt x="1452273" y="696467"/>
                  <a:pt x="1448857" y="702389"/>
                </a:cubicBezTo>
                <a:lnTo>
                  <a:pt x="1440216" y="719248"/>
                </a:lnTo>
                <a:lnTo>
                  <a:pt x="1435873" y="720610"/>
                </a:lnTo>
                <a:lnTo>
                  <a:pt x="1435873" y="725622"/>
                </a:lnTo>
                <a:lnTo>
                  <a:pt x="1435670" y="725673"/>
                </a:lnTo>
                <a:lnTo>
                  <a:pt x="1434051" y="722432"/>
                </a:lnTo>
                <a:lnTo>
                  <a:pt x="1425853" y="727898"/>
                </a:lnTo>
                <a:lnTo>
                  <a:pt x="1419474" y="731543"/>
                </a:lnTo>
                <a:cubicBezTo>
                  <a:pt x="1424940" y="731543"/>
                  <a:pt x="1428585" y="731543"/>
                  <a:pt x="1434051" y="726077"/>
                </a:cubicBezTo>
                <a:lnTo>
                  <a:pt x="1435670" y="725673"/>
                </a:lnTo>
                <a:lnTo>
                  <a:pt x="1435873" y="726077"/>
                </a:lnTo>
                <a:lnTo>
                  <a:pt x="1435873" y="725622"/>
                </a:lnTo>
                <a:lnTo>
                  <a:pt x="1445895" y="723116"/>
                </a:lnTo>
                <a:cubicBezTo>
                  <a:pt x="1449995" y="719700"/>
                  <a:pt x="1454095" y="715144"/>
                  <a:pt x="1457739" y="713321"/>
                </a:cubicBezTo>
                <a:lnTo>
                  <a:pt x="1456187" y="713873"/>
                </a:lnTo>
                <a:lnTo>
                  <a:pt x="1465028" y="706033"/>
                </a:lnTo>
                <a:cubicBezTo>
                  <a:pt x="1465028" y="704211"/>
                  <a:pt x="1459562" y="704211"/>
                  <a:pt x="1461384" y="702388"/>
                </a:cubicBezTo>
                <a:cubicBezTo>
                  <a:pt x="1463206" y="704211"/>
                  <a:pt x="1463206" y="700566"/>
                  <a:pt x="1463206" y="698744"/>
                </a:cubicBezTo>
                <a:cubicBezTo>
                  <a:pt x="1465028" y="700566"/>
                  <a:pt x="1465028" y="706033"/>
                  <a:pt x="1466850" y="706033"/>
                </a:cubicBezTo>
                <a:cubicBezTo>
                  <a:pt x="1470495" y="698744"/>
                  <a:pt x="1475961" y="691455"/>
                  <a:pt x="1472317" y="684167"/>
                </a:cubicBezTo>
                <a:cubicBezTo>
                  <a:pt x="1474139" y="684167"/>
                  <a:pt x="1472317" y="685989"/>
                  <a:pt x="1474139" y="687811"/>
                </a:cubicBezTo>
                <a:cubicBezTo>
                  <a:pt x="1475961" y="685989"/>
                  <a:pt x="1475961" y="682345"/>
                  <a:pt x="1477784" y="684167"/>
                </a:cubicBezTo>
                <a:cubicBezTo>
                  <a:pt x="1472317" y="693278"/>
                  <a:pt x="1470495" y="704211"/>
                  <a:pt x="1466850" y="709677"/>
                </a:cubicBezTo>
                <a:cubicBezTo>
                  <a:pt x="1466850" y="709677"/>
                  <a:pt x="1468673" y="707855"/>
                  <a:pt x="1468673" y="709677"/>
                </a:cubicBezTo>
                <a:cubicBezTo>
                  <a:pt x="1465028" y="715144"/>
                  <a:pt x="1465028" y="720610"/>
                  <a:pt x="1465028" y="726077"/>
                </a:cubicBezTo>
                <a:cubicBezTo>
                  <a:pt x="1472317" y="723344"/>
                  <a:pt x="1475961" y="717877"/>
                  <a:pt x="1478695" y="712183"/>
                </a:cubicBezTo>
                <a:lnTo>
                  <a:pt x="1481401" y="707146"/>
                </a:lnTo>
                <a:lnTo>
                  <a:pt x="1481326" y="710197"/>
                </a:lnTo>
                <a:lnTo>
                  <a:pt x="1478012" y="714233"/>
                </a:lnTo>
                <a:cubicBezTo>
                  <a:pt x="1476872" y="716511"/>
                  <a:pt x="1475961" y="718788"/>
                  <a:pt x="1474139" y="720610"/>
                </a:cubicBezTo>
                <a:cubicBezTo>
                  <a:pt x="1476872" y="720610"/>
                  <a:pt x="1479606" y="718333"/>
                  <a:pt x="1481200" y="715372"/>
                </a:cubicBezTo>
                <a:lnTo>
                  <a:pt x="1481326" y="710197"/>
                </a:lnTo>
                <a:lnTo>
                  <a:pt x="1483250" y="707855"/>
                </a:lnTo>
                <a:lnTo>
                  <a:pt x="1483084" y="704377"/>
                </a:lnTo>
                <a:lnTo>
                  <a:pt x="1484161" y="703300"/>
                </a:lnTo>
                <a:cubicBezTo>
                  <a:pt x="1484616" y="701933"/>
                  <a:pt x="1485072" y="700566"/>
                  <a:pt x="1486895" y="700566"/>
                </a:cubicBezTo>
                <a:cubicBezTo>
                  <a:pt x="1483250" y="706033"/>
                  <a:pt x="1485072" y="709677"/>
                  <a:pt x="1485072" y="715144"/>
                </a:cubicBezTo>
                <a:cubicBezTo>
                  <a:pt x="1486895" y="713321"/>
                  <a:pt x="1488716" y="713321"/>
                  <a:pt x="1488716" y="713321"/>
                </a:cubicBezTo>
                <a:cubicBezTo>
                  <a:pt x="1488716" y="715144"/>
                  <a:pt x="1486895" y="716966"/>
                  <a:pt x="1486895" y="718788"/>
                </a:cubicBezTo>
                <a:cubicBezTo>
                  <a:pt x="1488716" y="716966"/>
                  <a:pt x="1490539" y="715144"/>
                  <a:pt x="1492361" y="716966"/>
                </a:cubicBezTo>
                <a:cubicBezTo>
                  <a:pt x="1490539" y="718788"/>
                  <a:pt x="1486895" y="718788"/>
                  <a:pt x="1486895" y="720610"/>
                </a:cubicBezTo>
                <a:cubicBezTo>
                  <a:pt x="1488716" y="722432"/>
                  <a:pt x="1492361" y="716966"/>
                  <a:pt x="1496006" y="716966"/>
                </a:cubicBezTo>
                <a:cubicBezTo>
                  <a:pt x="1492361" y="718788"/>
                  <a:pt x="1494183" y="720610"/>
                  <a:pt x="1492361" y="722432"/>
                </a:cubicBezTo>
                <a:cubicBezTo>
                  <a:pt x="1488716" y="720610"/>
                  <a:pt x="1485072" y="722432"/>
                  <a:pt x="1481428" y="722432"/>
                </a:cubicBezTo>
                <a:cubicBezTo>
                  <a:pt x="1475961" y="733366"/>
                  <a:pt x="1462295" y="728924"/>
                  <a:pt x="1455803" y="733707"/>
                </a:cubicBezTo>
                <a:lnTo>
                  <a:pt x="1452273" y="742476"/>
                </a:lnTo>
                <a:lnTo>
                  <a:pt x="1446806" y="747943"/>
                </a:lnTo>
                <a:cubicBezTo>
                  <a:pt x="1448629" y="749765"/>
                  <a:pt x="1448629" y="746121"/>
                  <a:pt x="1450451" y="747943"/>
                </a:cubicBezTo>
                <a:cubicBezTo>
                  <a:pt x="1441340" y="751587"/>
                  <a:pt x="1428585" y="760698"/>
                  <a:pt x="1423118" y="764342"/>
                </a:cubicBezTo>
                <a:cubicBezTo>
                  <a:pt x="1424940" y="762520"/>
                  <a:pt x="1428585" y="760698"/>
                  <a:pt x="1426763" y="758876"/>
                </a:cubicBezTo>
                <a:cubicBezTo>
                  <a:pt x="1424940" y="757054"/>
                  <a:pt x="1423118" y="758876"/>
                  <a:pt x="1421296" y="758876"/>
                </a:cubicBezTo>
                <a:cubicBezTo>
                  <a:pt x="1421296" y="769809"/>
                  <a:pt x="1412185" y="778920"/>
                  <a:pt x="1408541" y="788031"/>
                </a:cubicBezTo>
                <a:cubicBezTo>
                  <a:pt x="1414007" y="788031"/>
                  <a:pt x="1426763" y="780742"/>
                  <a:pt x="1424940" y="773453"/>
                </a:cubicBezTo>
                <a:cubicBezTo>
                  <a:pt x="1426763" y="771631"/>
                  <a:pt x="1430407" y="775275"/>
                  <a:pt x="1430407" y="769809"/>
                </a:cubicBezTo>
                <a:cubicBezTo>
                  <a:pt x="1432229" y="775275"/>
                  <a:pt x="1423118" y="778920"/>
                  <a:pt x="1426763" y="784386"/>
                </a:cubicBezTo>
                <a:cubicBezTo>
                  <a:pt x="1428585" y="782564"/>
                  <a:pt x="1432229" y="780742"/>
                  <a:pt x="1434051" y="782564"/>
                </a:cubicBezTo>
                <a:cubicBezTo>
                  <a:pt x="1432229" y="786208"/>
                  <a:pt x="1428585" y="782564"/>
                  <a:pt x="1424940" y="786208"/>
                </a:cubicBezTo>
                <a:cubicBezTo>
                  <a:pt x="1426763" y="788031"/>
                  <a:pt x="1424940" y="788031"/>
                  <a:pt x="1426763" y="789853"/>
                </a:cubicBezTo>
                <a:cubicBezTo>
                  <a:pt x="1428585" y="788031"/>
                  <a:pt x="1432229" y="786208"/>
                  <a:pt x="1434051" y="786208"/>
                </a:cubicBezTo>
                <a:cubicBezTo>
                  <a:pt x="1432229" y="789853"/>
                  <a:pt x="1424940" y="791675"/>
                  <a:pt x="1424940" y="795319"/>
                </a:cubicBezTo>
                <a:cubicBezTo>
                  <a:pt x="1426763" y="793497"/>
                  <a:pt x="1426763" y="793497"/>
                  <a:pt x="1424940" y="791675"/>
                </a:cubicBezTo>
                <a:cubicBezTo>
                  <a:pt x="1412185" y="795319"/>
                  <a:pt x="1397608" y="793497"/>
                  <a:pt x="1383030" y="808074"/>
                </a:cubicBezTo>
                <a:cubicBezTo>
                  <a:pt x="1381208" y="808074"/>
                  <a:pt x="1379386" y="808074"/>
                  <a:pt x="1377564" y="808074"/>
                </a:cubicBezTo>
                <a:cubicBezTo>
                  <a:pt x="1375743" y="806252"/>
                  <a:pt x="1375743" y="804430"/>
                  <a:pt x="1373920" y="802608"/>
                </a:cubicBezTo>
                <a:cubicBezTo>
                  <a:pt x="1362987" y="800786"/>
                  <a:pt x="1350231" y="802608"/>
                  <a:pt x="1339299" y="813541"/>
                </a:cubicBezTo>
                <a:cubicBezTo>
                  <a:pt x="1339299" y="815363"/>
                  <a:pt x="1342942" y="815363"/>
                  <a:pt x="1341120" y="817185"/>
                </a:cubicBezTo>
                <a:cubicBezTo>
                  <a:pt x="1337476" y="817185"/>
                  <a:pt x="1335654" y="820830"/>
                  <a:pt x="1335654" y="822652"/>
                </a:cubicBezTo>
                <a:cubicBezTo>
                  <a:pt x="1339299" y="826296"/>
                  <a:pt x="1335654" y="828118"/>
                  <a:pt x="1337476" y="831763"/>
                </a:cubicBezTo>
                <a:cubicBezTo>
                  <a:pt x="1341120" y="831763"/>
                  <a:pt x="1341120" y="826296"/>
                  <a:pt x="1342942" y="828118"/>
                </a:cubicBezTo>
                <a:cubicBezTo>
                  <a:pt x="1342942" y="828118"/>
                  <a:pt x="1341120" y="829941"/>
                  <a:pt x="1341120" y="831763"/>
                </a:cubicBezTo>
                <a:cubicBezTo>
                  <a:pt x="1348410" y="831763"/>
                  <a:pt x="1355698" y="831763"/>
                  <a:pt x="1364809" y="826296"/>
                </a:cubicBezTo>
                <a:cubicBezTo>
                  <a:pt x="1364809" y="820830"/>
                  <a:pt x="1366632" y="820830"/>
                  <a:pt x="1368453" y="815363"/>
                </a:cubicBezTo>
                <a:cubicBezTo>
                  <a:pt x="1372097" y="819008"/>
                  <a:pt x="1366632" y="820830"/>
                  <a:pt x="1368453" y="824474"/>
                </a:cubicBezTo>
                <a:cubicBezTo>
                  <a:pt x="1375743" y="820830"/>
                  <a:pt x="1377564" y="817185"/>
                  <a:pt x="1372097" y="824474"/>
                </a:cubicBezTo>
                <a:cubicBezTo>
                  <a:pt x="1383030" y="826296"/>
                  <a:pt x="1393963" y="815363"/>
                  <a:pt x="1401252" y="808074"/>
                </a:cubicBezTo>
                <a:cubicBezTo>
                  <a:pt x="1399430" y="809897"/>
                  <a:pt x="1403074" y="806252"/>
                  <a:pt x="1403074" y="808074"/>
                </a:cubicBezTo>
                <a:cubicBezTo>
                  <a:pt x="1401252" y="811719"/>
                  <a:pt x="1393963" y="815363"/>
                  <a:pt x="1390319" y="820830"/>
                </a:cubicBezTo>
                <a:cubicBezTo>
                  <a:pt x="1395787" y="820830"/>
                  <a:pt x="1390319" y="822652"/>
                  <a:pt x="1390319" y="824474"/>
                </a:cubicBezTo>
                <a:cubicBezTo>
                  <a:pt x="1404896" y="829941"/>
                  <a:pt x="1414007" y="828118"/>
                  <a:pt x="1423118" y="813541"/>
                </a:cubicBezTo>
                <a:cubicBezTo>
                  <a:pt x="1424940" y="808074"/>
                  <a:pt x="1417652" y="802608"/>
                  <a:pt x="1417652" y="797141"/>
                </a:cubicBezTo>
                <a:lnTo>
                  <a:pt x="1423212" y="804092"/>
                </a:lnTo>
                <a:lnTo>
                  <a:pt x="1423118" y="806252"/>
                </a:lnTo>
                <a:cubicBezTo>
                  <a:pt x="1424940" y="806252"/>
                  <a:pt x="1423118" y="808074"/>
                  <a:pt x="1424940" y="809897"/>
                </a:cubicBezTo>
                <a:lnTo>
                  <a:pt x="1424940" y="806252"/>
                </a:lnTo>
                <a:lnTo>
                  <a:pt x="1423212" y="804092"/>
                </a:lnTo>
                <a:lnTo>
                  <a:pt x="1423346" y="801014"/>
                </a:lnTo>
                <a:cubicBezTo>
                  <a:pt x="1423118" y="799420"/>
                  <a:pt x="1423118" y="798053"/>
                  <a:pt x="1424940" y="797141"/>
                </a:cubicBezTo>
                <a:cubicBezTo>
                  <a:pt x="1426763" y="795319"/>
                  <a:pt x="1424940" y="798964"/>
                  <a:pt x="1428585" y="798964"/>
                </a:cubicBezTo>
                <a:cubicBezTo>
                  <a:pt x="1428585" y="795319"/>
                  <a:pt x="1432229" y="798964"/>
                  <a:pt x="1434051" y="797141"/>
                </a:cubicBezTo>
                <a:cubicBezTo>
                  <a:pt x="1432229" y="798964"/>
                  <a:pt x="1432229" y="800786"/>
                  <a:pt x="1434051" y="802608"/>
                </a:cubicBezTo>
                <a:cubicBezTo>
                  <a:pt x="1437696" y="800786"/>
                  <a:pt x="1435873" y="795319"/>
                  <a:pt x="1437696" y="798964"/>
                </a:cubicBezTo>
                <a:cubicBezTo>
                  <a:pt x="1437696" y="798964"/>
                  <a:pt x="1439518" y="798964"/>
                  <a:pt x="1439518" y="798964"/>
                </a:cubicBezTo>
                <a:cubicBezTo>
                  <a:pt x="1437696" y="802608"/>
                  <a:pt x="1430407" y="804430"/>
                  <a:pt x="1430407" y="809897"/>
                </a:cubicBezTo>
                <a:lnTo>
                  <a:pt x="1443855" y="801369"/>
                </a:lnTo>
                <a:lnTo>
                  <a:pt x="1434507" y="808986"/>
                </a:lnTo>
                <a:cubicBezTo>
                  <a:pt x="1430407" y="811719"/>
                  <a:pt x="1426762" y="814453"/>
                  <a:pt x="1424940" y="819008"/>
                </a:cubicBezTo>
                <a:cubicBezTo>
                  <a:pt x="1432229" y="819008"/>
                  <a:pt x="1439518" y="817185"/>
                  <a:pt x="1446806" y="815363"/>
                </a:cubicBezTo>
                <a:cubicBezTo>
                  <a:pt x="1448629" y="815363"/>
                  <a:pt x="1446806" y="809897"/>
                  <a:pt x="1448629" y="811719"/>
                </a:cubicBezTo>
                <a:cubicBezTo>
                  <a:pt x="1448629" y="811719"/>
                  <a:pt x="1450451" y="817185"/>
                  <a:pt x="1450451" y="815363"/>
                </a:cubicBezTo>
                <a:cubicBezTo>
                  <a:pt x="1461384" y="811719"/>
                  <a:pt x="1472317" y="802608"/>
                  <a:pt x="1483250" y="791675"/>
                </a:cubicBezTo>
                <a:cubicBezTo>
                  <a:pt x="1486895" y="780742"/>
                  <a:pt x="1477784" y="766164"/>
                  <a:pt x="1481428" y="757054"/>
                </a:cubicBezTo>
                <a:lnTo>
                  <a:pt x="1486752" y="781902"/>
                </a:lnTo>
                <a:lnTo>
                  <a:pt x="1483250" y="788031"/>
                </a:lnTo>
                <a:cubicBezTo>
                  <a:pt x="1488716" y="788031"/>
                  <a:pt x="1494183" y="778920"/>
                  <a:pt x="1490539" y="775275"/>
                </a:cubicBezTo>
                <a:lnTo>
                  <a:pt x="1488455" y="778922"/>
                </a:lnTo>
                <a:lnTo>
                  <a:pt x="1492361" y="769809"/>
                </a:lnTo>
                <a:cubicBezTo>
                  <a:pt x="1494183" y="771631"/>
                  <a:pt x="1492361" y="775275"/>
                  <a:pt x="1494183" y="775275"/>
                </a:cubicBezTo>
                <a:cubicBezTo>
                  <a:pt x="1497827" y="775275"/>
                  <a:pt x="1494183" y="773453"/>
                  <a:pt x="1496006" y="771631"/>
                </a:cubicBezTo>
                <a:cubicBezTo>
                  <a:pt x="1497827" y="775275"/>
                  <a:pt x="1494183" y="777098"/>
                  <a:pt x="1496006" y="778920"/>
                </a:cubicBezTo>
                <a:cubicBezTo>
                  <a:pt x="1497827" y="777098"/>
                  <a:pt x="1499650" y="771631"/>
                  <a:pt x="1499650" y="773453"/>
                </a:cubicBezTo>
                <a:cubicBezTo>
                  <a:pt x="1499650" y="775275"/>
                  <a:pt x="1496006" y="777098"/>
                  <a:pt x="1497827" y="778920"/>
                </a:cubicBezTo>
                <a:cubicBezTo>
                  <a:pt x="1503294" y="777098"/>
                  <a:pt x="1505117" y="769809"/>
                  <a:pt x="1499650" y="766164"/>
                </a:cubicBezTo>
                <a:cubicBezTo>
                  <a:pt x="1503294" y="766164"/>
                  <a:pt x="1505117" y="766164"/>
                  <a:pt x="1506938" y="767987"/>
                </a:cubicBezTo>
                <a:cubicBezTo>
                  <a:pt x="1503294" y="771631"/>
                  <a:pt x="1503294" y="777098"/>
                  <a:pt x="1503294" y="780742"/>
                </a:cubicBezTo>
                <a:cubicBezTo>
                  <a:pt x="1505117" y="778920"/>
                  <a:pt x="1506938" y="778920"/>
                  <a:pt x="1506938" y="778920"/>
                </a:cubicBezTo>
                <a:cubicBezTo>
                  <a:pt x="1506938" y="780742"/>
                  <a:pt x="1503294" y="780742"/>
                  <a:pt x="1505117" y="782564"/>
                </a:cubicBezTo>
                <a:cubicBezTo>
                  <a:pt x="1510583" y="778920"/>
                  <a:pt x="1512405" y="771631"/>
                  <a:pt x="1516049" y="775275"/>
                </a:cubicBezTo>
                <a:cubicBezTo>
                  <a:pt x="1508760" y="780742"/>
                  <a:pt x="1497827" y="789853"/>
                  <a:pt x="1494183" y="795319"/>
                </a:cubicBezTo>
                <a:cubicBezTo>
                  <a:pt x="1501472" y="795319"/>
                  <a:pt x="1508760" y="789853"/>
                  <a:pt x="1514228" y="786208"/>
                </a:cubicBezTo>
                <a:cubicBezTo>
                  <a:pt x="1510583" y="789853"/>
                  <a:pt x="1510583" y="791675"/>
                  <a:pt x="1508760" y="795319"/>
                </a:cubicBezTo>
                <a:cubicBezTo>
                  <a:pt x="1501472" y="791675"/>
                  <a:pt x="1490539" y="797141"/>
                  <a:pt x="1494183" y="804430"/>
                </a:cubicBezTo>
                <a:lnTo>
                  <a:pt x="1499606" y="802227"/>
                </a:lnTo>
                <a:lnTo>
                  <a:pt x="1492361" y="806252"/>
                </a:lnTo>
                <a:cubicBezTo>
                  <a:pt x="1496006" y="808074"/>
                  <a:pt x="1488716" y="811719"/>
                  <a:pt x="1490539" y="815363"/>
                </a:cubicBezTo>
                <a:cubicBezTo>
                  <a:pt x="1492361" y="815363"/>
                  <a:pt x="1494183" y="817185"/>
                  <a:pt x="1496006" y="819008"/>
                </a:cubicBezTo>
                <a:cubicBezTo>
                  <a:pt x="1492361" y="822652"/>
                  <a:pt x="1494183" y="824474"/>
                  <a:pt x="1492361" y="826296"/>
                </a:cubicBezTo>
                <a:cubicBezTo>
                  <a:pt x="1486895" y="824474"/>
                  <a:pt x="1483250" y="835407"/>
                  <a:pt x="1485072" y="839051"/>
                </a:cubicBezTo>
                <a:cubicBezTo>
                  <a:pt x="1490539" y="835407"/>
                  <a:pt x="1496006" y="831763"/>
                  <a:pt x="1499650" y="831763"/>
                </a:cubicBezTo>
                <a:cubicBezTo>
                  <a:pt x="1494183" y="835407"/>
                  <a:pt x="1488716" y="839051"/>
                  <a:pt x="1483250" y="842696"/>
                </a:cubicBezTo>
                <a:cubicBezTo>
                  <a:pt x="1485072" y="844518"/>
                  <a:pt x="1485072" y="842696"/>
                  <a:pt x="1485072" y="844518"/>
                </a:cubicBezTo>
                <a:cubicBezTo>
                  <a:pt x="1472317" y="844518"/>
                  <a:pt x="1461384" y="851807"/>
                  <a:pt x="1450451" y="855451"/>
                </a:cubicBezTo>
                <a:lnTo>
                  <a:pt x="1448157" y="859353"/>
                </a:lnTo>
                <a:lnTo>
                  <a:pt x="1437695" y="860007"/>
                </a:lnTo>
                <a:lnTo>
                  <a:pt x="1424472" y="865792"/>
                </a:lnTo>
                <a:lnTo>
                  <a:pt x="1416513" y="864107"/>
                </a:lnTo>
                <a:cubicBezTo>
                  <a:pt x="1409907" y="862284"/>
                  <a:pt x="1403074" y="860918"/>
                  <a:pt x="1395787" y="862740"/>
                </a:cubicBezTo>
                <a:lnTo>
                  <a:pt x="1405803" y="868204"/>
                </a:lnTo>
                <a:lnTo>
                  <a:pt x="1393963" y="862740"/>
                </a:lnTo>
                <a:cubicBezTo>
                  <a:pt x="1387585" y="860007"/>
                  <a:pt x="1382575" y="856362"/>
                  <a:pt x="1377792" y="853174"/>
                </a:cubicBezTo>
                <a:lnTo>
                  <a:pt x="1365207" y="847365"/>
                </a:lnTo>
                <a:lnTo>
                  <a:pt x="1366632" y="844518"/>
                </a:lnTo>
                <a:cubicBezTo>
                  <a:pt x="1364809" y="842696"/>
                  <a:pt x="1362987" y="840874"/>
                  <a:pt x="1359342" y="844518"/>
                </a:cubicBezTo>
                <a:cubicBezTo>
                  <a:pt x="1359342" y="844518"/>
                  <a:pt x="1361164" y="842696"/>
                  <a:pt x="1361164" y="842696"/>
                </a:cubicBezTo>
                <a:cubicBezTo>
                  <a:pt x="1361164" y="839051"/>
                  <a:pt x="1359342" y="839051"/>
                  <a:pt x="1357521" y="842696"/>
                </a:cubicBezTo>
                <a:cubicBezTo>
                  <a:pt x="1357521" y="842696"/>
                  <a:pt x="1359342" y="844518"/>
                  <a:pt x="1359342" y="844518"/>
                </a:cubicBezTo>
                <a:lnTo>
                  <a:pt x="1362529" y="846643"/>
                </a:lnTo>
                <a:lnTo>
                  <a:pt x="1359694" y="848514"/>
                </a:lnTo>
                <a:lnTo>
                  <a:pt x="1359342" y="848162"/>
                </a:lnTo>
                <a:cubicBezTo>
                  <a:pt x="1357521" y="846340"/>
                  <a:pt x="1353876" y="849985"/>
                  <a:pt x="1353876" y="851807"/>
                </a:cubicBezTo>
                <a:lnTo>
                  <a:pt x="1355209" y="851474"/>
                </a:lnTo>
                <a:lnTo>
                  <a:pt x="1351598" y="853857"/>
                </a:lnTo>
                <a:lnTo>
                  <a:pt x="1348763" y="856767"/>
                </a:lnTo>
                <a:lnTo>
                  <a:pt x="1346131" y="856362"/>
                </a:lnTo>
                <a:cubicBezTo>
                  <a:pt x="1344765" y="856818"/>
                  <a:pt x="1343853" y="857273"/>
                  <a:pt x="1342942" y="855451"/>
                </a:cubicBezTo>
                <a:cubicBezTo>
                  <a:pt x="1333832" y="859095"/>
                  <a:pt x="1324721" y="864562"/>
                  <a:pt x="1317432" y="873673"/>
                </a:cubicBezTo>
                <a:lnTo>
                  <a:pt x="1320342" y="872634"/>
                </a:lnTo>
                <a:lnTo>
                  <a:pt x="1308321" y="886428"/>
                </a:lnTo>
                <a:cubicBezTo>
                  <a:pt x="1308321" y="888250"/>
                  <a:pt x="1308321" y="886428"/>
                  <a:pt x="1310143" y="888250"/>
                </a:cubicBezTo>
                <a:lnTo>
                  <a:pt x="1303267" y="889969"/>
                </a:lnTo>
                <a:lnTo>
                  <a:pt x="1304221" y="885517"/>
                </a:lnTo>
                <a:cubicBezTo>
                  <a:pt x="1303767" y="883240"/>
                  <a:pt x="1302855" y="880962"/>
                  <a:pt x="1302855" y="879139"/>
                </a:cubicBezTo>
                <a:cubicBezTo>
                  <a:pt x="1301033" y="880961"/>
                  <a:pt x="1299210" y="880961"/>
                  <a:pt x="1299210" y="879139"/>
                </a:cubicBezTo>
                <a:cubicBezTo>
                  <a:pt x="1299210" y="879139"/>
                  <a:pt x="1299210" y="880961"/>
                  <a:pt x="1297388" y="880961"/>
                </a:cubicBezTo>
                <a:cubicBezTo>
                  <a:pt x="1295566" y="875495"/>
                  <a:pt x="1291922" y="875495"/>
                  <a:pt x="1288277" y="871851"/>
                </a:cubicBezTo>
                <a:cubicBezTo>
                  <a:pt x="1279166" y="880961"/>
                  <a:pt x="1277344" y="893717"/>
                  <a:pt x="1270056" y="899183"/>
                </a:cubicBezTo>
                <a:cubicBezTo>
                  <a:pt x="1277344" y="899183"/>
                  <a:pt x="1284633" y="897361"/>
                  <a:pt x="1291922" y="895539"/>
                </a:cubicBezTo>
                <a:cubicBezTo>
                  <a:pt x="1291922" y="893717"/>
                  <a:pt x="1291922" y="890072"/>
                  <a:pt x="1291922" y="888250"/>
                </a:cubicBezTo>
                <a:cubicBezTo>
                  <a:pt x="1295566" y="890072"/>
                  <a:pt x="1295566" y="888250"/>
                  <a:pt x="1295566" y="886428"/>
                </a:cubicBezTo>
                <a:cubicBezTo>
                  <a:pt x="1299210" y="886428"/>
                  <a:pt x="1291922" y="891894"/>
                  <a:pt x="1295566" y="893717"/>
                </a:cubicBezTo>
                <a:cubicBezTo>
                  <a:pt x="1297388" y="891894"/>
                  <a:pt x="1299210" y="891894"/>
                  <a:pt x="1297388" y="890072"/>
                </a:cubicBezTo>
                <a:cubicBezTo>
                  <a:pt x="1299210" y="890072"/>
                  <a:pt x="1301033" y="893717"/>
                  <a:pt x="1301033" y="890072"/>
                </a:cubicBezTo>
                <a:lnTo>
                  <a:pt x="1302490" y="891530"/>
                </a:lnTo>
                <a:lnTo>
                  <a:pt x="1301033" y="897361"/>
                </a:lnTo>
                <a:cubicBezTo>
                  <a:pt x="1302855" y="899183"/>
                  <a:pt x="1304677" y="901005"/>
                  <a:pt x="1306499" y="899183"/>
                </a:cubicBezTo>
                <a:cubicBezTo>
                  <a:pt x="1311966" y="911939"/>
                  <a:pt x="1332009" y="893717"/>
                  <a:pt x="1322899" y="882784"/>
                </a:cubicBezTo>
                <a:lnTo>
                  <a:pt x="1325983" y="898202"/>
                </a:lnTo>
                <a:lnTo>
                  <a:pt x="1322899" y="902827"/>
                </a:lnTo>
                <a:cubicBezTo>
                  <a:pt x="1323810" y="903739"/>
                  <a:pt x="1325177" y="902828"/>
                  <a:pt x="1326088" y="901461"/>
                </a:cubicBezTo>
                <a:lnTo>
                  <a:pt x="1326283" y="899704"/>
                </a:lnTo>
                <a:lnTo>
                  <a:pt x="1326543" y="901005"/>
                </a:lnTo>
                <a:cubicBezTo>
                  <a:pt x="1328365" y="904651"/>
                  <a:pt x="1332009" y="902827"/>
                  <a:pt x="1335654" y="901005"/>
                </a:cubicBezTo>
                <a:cubicBezTo>
                  <a:pt x="1335654" y="899183"/>
                  <a:pt x="1332009" y="895539"/>
                  <a:pt x="1333832" y="897361"/>
                </a:cubicBezTo>
                <a:cubicBezTo>
                  <a:pt x="1333832" y="899183"/>
                  <a:pt x="1335654" y="899183"/>
                  <a:pt x="1337476" y="899183"/>
                </a:cubicBezTo>
                <a:cubicBezTo>
                  <a:pt x="1339299" y="899183"/>
                  <a:pt x="1341120" y="897361"/>
                  <a:pt x="1342942" y="895539"/>
                </a:cubicBezTo>
                <a:cubicBezTo>
                  <a:pt x="1342942" y="893717"/>
                  <a:pt x="1341120" y="890072"/>
                  <a:pt x="1341120" y="888250"/>
                </a:cubicBezTo>
                <a:cubicBezTo>
                  <a:pt x="1344765" y="890072"/>
                  <a:pt x="1346587" y="891894"/>
                  <a:pt x="1344765" y="895539"/>
                </a:cubicBezTo>
                <a:cubicBezTo>
                  <a:pt x="1346587" y="897361"/>
                  <a:pt x="1348410" y="893717"/>
                  <a:pt x="1350231" y="895539"/>
                </a:cubicBezTo>
                <a:cubicBezTo>
                  <a:pt x="1344765" y="899183"/>
                  <a:pt x="1346587" y="904651"/>
                  <a:pt x="1350231" y="906473"/>
                </a:cubicBezTo>
                <a:cubicBezTo>
                  <a:pt x="1357521" y="899183"/>
                  <a:pt x="1362987" y="891894"/>
                  <a:pt x="1359342" y="882784"/>
                </a:cubicBezTo>
                <a:cubicBezTo>
                  <a:pt x="1361164" y="888250"/>
                  <a:pt x="1361164" y="882784"/>
                  <a:pt x="1362987" y="882784"/>
                </a:cubicBezTo>
                <a:cubicBezTo>
                  <a:pt x="1361164" y="884606"/>
                  <a:pt x="1361164" y="886428"/>
                  <a:pt x="1362987" y="886428"/>
                </a:cubicBezTo>
                <a:cubicBezTo>
                  <a:pt x="1364809" y="884606"/>
                  <a:pt x="1364809" y="880961"/>
                  <a:pt x="1366632" y="879139"/>
                </a:cubicBezTo>
                <a:cubicBezTo>
                  <a:pt x="1366632" y="882784"/>
                  <a:pt x="1368453" y="884606"/>
                  <a:pt x="1381208" y="901005"/>
                </a:cubicBezTo>
                <a:cubicBezTo>
                  <a:pt x="1379386" y="906473"/>
                  <a:pt x="1377564" y="913761"/>
                  <a:pt x="1379386" y="917405"/>
                </a:cubicBezTo>
                <a:cubicBezTo>
                  <a:pt x="1373920" y="919227"/>
                  <a:pt x="1366632" y="922872"/>
                  <a:pt x="1364809" y="926516"/>
                </a:cubicBezTo>
                <a:cubicBezTo>
                  <a:pt x="1366631" y="927428"/>
                  <a:pt x="1369820" y="926061"/>
                  <a:pt x="1372781" y="924922"/>
                </a:cubicBezTo>
                <a:lnTo>
                  <a:pt x="1375965" y="924813"/>
                </a:lnTo>
                <a:lnTo>
                  <a:pt x="1373920" y="926516"/>
                </a:lnTo>
                <a:cubicBezTo>
                  <a:pt x="1368453" y="928339"/>
                  <a:pt x="1362987" y="928339"/>
                  <a:pt x="1357521" y="928339"/>
                </a:cubicBezTo>
                <a:cubicBezTo>
                  <a:pt x="1355698" y="937450"/>
                  <a:pt x="1353876" y="946560"/>
                  <a:pt x="1352053" y="955672"/>
                </a:cubicBezTo>
                <a:cubicBezTo>
                  <a:pt x="1355698" y="955672"/>
                  <a:pt x="1355698" y="948383"/>
                  <a:pt x="1359342" y="953848"/>
                </a:cubicBezTo>
                <a:cubicBezTo>
                  <a:pt x="1359342" y="955672"/>
                  <a:pt x="1353876" y="953848"/>
                  <a:pt x="1357521" y="957494"/>
                </a:cubicBezTo>
                <a:cubicBezTo>
                  <a:pt x="1368453" y="953848"/>
                  <a:pt x="1373920" y="942916"/>
                  <a:pt x="1368453" y="937450"/>
                </a:cubicBezTo>
                <a:cubicBezTo>
                  <a:pt x="1370275" y="939272"/>
                  <a:pt x="1370275" y="942916"/>
                  <a:pt x="1372097" y="942916"/>
                </a:cubicBezTo>
                <a:lnTo>
                  <a:pt x="1375924" y="939089"/>
                </a:lnTo>
                <a:lnTo>
                  <a:pt x="1375743" y="941094"/>
                </a:lnTo>
                <a:cubicBezTo>
                  <a:pt x="1379386" y="939272"/>
                  <a:pt x="1379386" y="933804"/>
                  <a:pt x="1381208" y="933804"/>
                </a:cubicBezTo>
                <a:cubicBezTo>
                  <a:pt x="1381208" y="935628"/>
                  <a:pt x="1381208" y="935628"/>
                  <a:pt x="1381208" y="937450"/>
                </a:cubicBezTo>
                <a:cubicBezTo>
                  <a:pt x="1384854" y="935628"/>
                  <a:pt x="1386676" y="933804"/>
                  <a:pt x="1388497" y="935628"/>
                </a:cubicBezTo>
                <a:cubicBezTo>
                  <a:pt x="1375743" y="942916"/>
                  <a:pt x="1370275" y="948383"/>
                  <a:pt x="1368453" y="959316"/>
                </a:cubicBezTo>
                <a:cubicBezTo>
                  <a:pt x="1370275" y="961138"/>
                  <a:pt x="1368453" y="955672"/>
                  <a:pt x="1372097" y="957494"/>
                </a:cubicBezTo>
                <a:cubicBezTo>
                  <a:pt x="1372097" y="957494"/>
                  <a:pt x="1372097" y="959316"/>
                  <a:pt x="1372097" y="959316"/>
                </a:cubicBezTo>
                <a:cubicBezTo>
                  <a:pt x="1386676" y="957494"/>
                  <a:pt x="1401252" y="937450"/>
                  <a:pt x="1403074" y="928339"/>
                </a:cubicBezTo>
                <a:cubicBezTo>
                  <a:pt x="1403074" y="933804"/>
                  <a:pt x="1397608" y="941094"/>
                  <a:pt x="1401252" y="942916"/>
                </a:cubicBezTo>
                <a:cubicBezTo>
                  <a:pt x="1392141" y="952026"/>
                  <a:pt x="1372097" y="961138"/>
                  <a:pt x="1368453" y="968427"/>
                </a:cubicBezTo>
                <a:cubicBezTo>
                  <a:pt x="1372097" y="968427"/>
                  <a:pt x="1377564" y="968427"/>
                  <a:pt x="1377564" y="970249"/>
                </a:cubicBezTo>
                <a:cubicBezTo>
                  <a:pt x="1373920" y="970249"/>
                  <a:pt x="1370275" y="968427"/>
                  <a:pt x="1366632" y="970249"/>
                </a:cubicBezTo>
                <a:cubicBezTo>
                  <a:pt x="1370275" y="975715"/>
                  <a:pt x="1381208" y="977538"/>
                  <a:pt x="1383030" y="968427"/>
                </a:cubicBezTo>
                <a:cubicBezTo>
                  <a:pt x="1381208" y="968427"/>
                  <a:pt x="1379386" y="968427"/>
                  <a:pt x="1377564" y="968427"/>
                </a:cubicBezTo>
                <a:cubicBezTo>
                  <a:pt x="1381208" y="968427"/>
                  <a:pt x="1384854" y="962960"/>
                  <a:pt x="1384854" y="962960"/>
                </a:cubicBezTo>
                <a:cubicBezTo>
                  <a:pt x="1384854" y="968427"/>
                  <a:pt x="1390319" y="964782"/>
                  <a:pt x="1390319" y="966604"/>
                </a:cubicBezTo>
                <a:cubicBezTo>
                  <a:pt x="1386676" y="968427"/>
                  <a:pt x="1381208" y="975715"/>
                  <a:pt x="1377564" y="977538"/>
                </a:cubicBezTo>
                <a:cubicBezTo>
                  <a:pt x="1379386" y="979360"/>
                  <a:pt x="1381208" y="977538"/>
                  <a:pt x="1381208" y="977538"/>
                </a:cubicBezTo>
                <a:cubicBezTo>
                  <a:pt x="1379386" y="977538"/>
                  <a:pt x="1379386" y="977538"/>
                  <a:pt x="1379386" y="979360"/>
                </a:cubicBezTo>
                <a:cubicBezTo>
                  <a:pt x="1372097" y="972071"/>
                  <a:pt x="1359342" y="970249"/>
                  <a:pt x="1348410" y="972071"/>
                </a:cubicBezTo>
                <a:cubicBezTo>
                  <a:pt x="1350231" y="973893"/>
                  <a:pt x="1348410" y="975715"/>
                  <a:pt x="1350231" y="977538"/>
                </a:cubicBezTo>
                <a:cubicBezTo>
                  <a:pt x="1352053" y="975715"/>
                  <a:pt x="1350231" y="977538"/>
                  <a:pt x="1352053" y="979360"/>
                </a:cubicBezTo>
                <a:cubicBezTo>
                  <a:pt x="1353876" y="977538"/>
                  <a:pt x="1353876" y="975715"/>
                  <a:pt x="1355698" y="977538"/>
                </a:cubicBezTo>
                <a:cubicBezTo>
                  <a:pt x="1353876" y="977538"/>
                  <a:pt x="1355698" y="979360"/>
                  <a:pt x="1353876" y="981182"/>
                </a:cubicBezTo>
                <a:cubicBezTo>
                  <a:pt x="1348410" y="975715"/>
                  <a:pt x="1337476" y="983004"/>
                  <a:pt x="1333832" y="988471"/>
                </a:cubicBezTo>
                <a:cubicBezTo>
                  <a:pt x="1339299" y="993937"/>
                  <a:pt x="1348410" y="986649"/>
                  <a:pt x="1352053" y="990293"/>
                </a:cubicBezTo>
                <a:cubicBezTo>
                  <a:pt x="1352053" y="990293"/>
                  <a:pt x="1352053" y="992115"/>
                  <a:pt x="1352053" y="992115"/>
                </a:cubicBezTo>
                <a:cubicBezTo>
                  <a:pt x="1344765" y="992115"/>
                  <a:pt x="1337476" y="990293"/>
                  <a:pt x="1330188" y="988471"/>
                </a:cubicBezTo>
                <a:cubicBezTo>
                  <a:pt x="1324721" y="993937"/>
                  <a:pt x="1317432" y="999403"/>
                  <a:pt x="1315610" y="1004870"/>
                </a:cubicBezTo>
                <a:cubicBezTo>
                  <a:pt x="1324721" y="1010337"/>
                  <a:pt x="1335654" y="1008515"/>
                  <a:pt x="1346587" y="1006692"/>
                </a:cubicBezTo>
                <a:cubicBezTo>
                  <a:pt x="1357521" y="1010337"/>
                  <a:pt x="1368453" y="1004870"/>
                  <a:pt x="1379386" y="1004870"/>
                </a:cubicBezTo>
                <a:lnTo>
                  <a:pt x="1391796" y="990687"/>
                </a:lnTo>
                <a:lnTo>
                  <a:pt x="1388952" y="995987"/>
                </a:lnTo>
                <a:cubicBezTo>
                  <a:pt x="1385764" y="999403"/>
                  <a:pt x="1382119" y="1003047"/>
                  <a:pt x="1381208" y="1006692"/>
                </a:cubicBezTo>
                <a:cubicBezTo>
                  <a:pt x="1381208" y="1008515"/>
                  <a:pt x="1384854" y="1006692"/>
                  <a:pt x="1383030" y="1008515"/>
                </a:cubicBezTo>
                <a:cubicBezTo>
                  <a:pt x="1370275" y="1006692"/>
                  <a:pt x="1357521" y="1010337"/>
                  <a:pt x="1344765" y="1012159"/>
                </a:cubicBezTo>
                <a:cubicBezTo>
                  <a:pt x="1346587" y="1012159"/>
                  <a:pt x="1348410" y="1015803"/>
                  <a:pt x="1346587" y="1013981"/>
                </a:cubicBezTo>
                <a:cubicBezTo>
                  <a:pt x="1344765" y="1012159"/>
                  <a:pt x="1344765" y="1012159"/>
                  <a:pt x="1342942" y="1010337"/>
                </a:cubicBezTo>
                <a:cubicBezTo>
                  <a:pt x="1332009" y="1012159"/>
                  <a:pt x="1319254" y="1006692"/>
                  <a:pt x="1308321" y="1008515"/>
                </a:cubicBezTo>
                <a:cubicBezTo>
                  <a:pt x="1302855" y="1008515"/>
                  <a:pt x="1290100" y="1013981"/>
                  <a:pt x="1290100" y="1017625"/>
                </a:cubicBezTo>
                <a:cubicBezTo>
                  <a:pt x="1275522" y="1021270"/>
                  <a:pt x="1264589" y="1017625"/>
                  <a:pt x="1251834" y="1023092"/>
                </a:cubicBezTo>
                <a:cubicBezTo>
                  <a:pt x="1250012" y="1024914"/>
                  <a:pt x="1251834" y="1026736"/>
                  <a:pt x="1250012" y="1026736"/>
                </a:cubicBezTo>
                <a:cubicBezTo>
                  <a:pt x="1250012" y="1026736"/>
                  <a:pt x="1246367" y="1026736"/>
                  <a:pt x="1246367" y="1026736"/>
                </a:cubicBezTo>
                <a:lnTo>
                  <a:pt x="1234916" y="1033280"/>
                </a:lnTo>
                <a:lnTo>
                  <a:pt x="1219036" y="1030381"/>
                </a:lnTo>
                <a:cubicBezTo>
                  <a:pt x="1215390" y="1032203"/>
                  <a:pt x="1211747" y="1034025"/>
                  <a:pt x="1211747" y="1037669"/>
                </a:cubicBezTo>
                <a:cubicBezTo>
                  <a:pt x="1208102" y="1037669"/>
                  <a:pt x="1206279" y="1041314"/>
                  <a:pt x="1200814" y="1044958"/>
                </a:cubicBezTo>
                <a:cubicBezTo>
                  <a:pt x="1202636" y="1044958"/>
                  <a:pt x="1202636" y="1044958"/>
                  <a:pt x="1204457" y="1044958"/>
                </a:cubicBezTo>
                <a:cubicBezTo>
                  <a:pt x="1201724" y="1047691"/>
                  <a:pt x="1190791" y="1051449"/>
                  <a:pt x="1187801" y="1056232"/>
                </a:cubicBezTo>
                <a:lnTo>
                  <a:pt x="1187882" y="1057845"/>
                </a:lnTo>
                <a:lnTo>
                  <a:pt x="1185324" y="1059763"/>
                </a:lnTo>
                <a:cubicBezTo>
                  <a:pt x="1184869" y="1060902"/>
                  <a:pt x="1184414" y="1062269"/>
                  <a:pt x="1182592" y="1063180"/>
                </a:cubicBezTo>
                <a:lnTo>
                  <a:pt x="1186738" y="1064562"/>
                </a:lnTo>
                <a:lnTo>
                  <a:pt x="1186236" y="1065002"/>
                </a:lnTo>
                <a:lnTo>
                  <a:pt x="1187374" y="1064774"/>
                </a:lnTo>
                <a:lnTo>
                  <a:pt x="1188058" y="1065002"/>
                </a:lnTo>
                <a:lnTo>
                  <a:pt x="1188122" y="1064625"/>
                </a:lnTo>
                <a:lnTo>
                  <a:pt x="1195346" y="1063180"/>
                </a:lnTo>
                <a:cubicBezTo>
                  <a:pt x="1197169" y="1061358"/>
                  <a:pt x="1193525" y="1061358"/>
                  <a:pt x="1195346" y="1059535"/>
                </a:cubicBezTo>
                <a:cubicBezTo>
                  <a:pt x="1195346" y="1059535"/>
                  <a:pt x="1197169" y="1061358"/>
                  <a:pt x="1197169" y="1061358"/>
                </a:cubicBezTo>
                <a:cubicBezTo>
                  <a:pt x="1200814" y="1055891"/>
                  <a:pt x="1206279" y="1050425"/>
                  <a:pt x="1204457" y="1044958"/>
                </a:cubicBezTo>
                <a:cubicBezTo>
                  <a:pt x="1204457" y="1044958"/>
                  <a:pt x="1206279" y="1044958"/>
                  <a:pt x="1206279" y="1044958"/>
                </a:cubicBezTo>
                <a:cubicBezTo>
                  <a:pt x="1209925" y="1046780"/>
                  <a:pt x="1204457" y="1052247"/>
                  <a:pt x="1202636" y="1055891"/>
                </a:cubicBezTo>
                <a:lnTo>
                  <a:pt x="1204064" y="1054660"/>
                </a:lnTo>
                <a:lnTo>
                  <a:pt x="1200814" y="1059535"/>
                </a:lnTo>
                <a:cubicBezTo>
                  <a:pt x="1202636" y="1059535"/>
                  <a:pt x="1206279" y="1059535"/>
                  <a:pt x="1208102" y="1059535"/>
                </a:cubicBezTo>
                <a:cubicBezTo>
                  <a:pt x="1209925" y="1057713"/>
                  <a:pt x="1209925" y="1057713"/>
                  <a:pt x="1208102" y="1055891"/>
                </a:cubicBezTo>
                <a:cubicBezTo>
                  <a:pt x="1211747" y="1055891"/>
                  <a:pt x="1213568" y="1055891"/>
                  <a:pt x="1215390" y="1052247"/>
                </a:cubicBezTo>
                <a:cubicBezTo>
                  <a:pt x="1217213" y="1055891"/>
                  <a:pt x="1211747" y="1057713"/>
                  <a:pt x="1211747" y="1059535"/>
                </a:cubicBezTo>
                <a:cubicBezTo>
                  <a:pt x="1219036" y="1057713"/>
                  <a:pt x="1235434" y="1048602"/>
                  <a:pt x="1231790" y="1039492"/>
                </a:cubicBezTo>
                <a:cubicBezTo>
                  <a:pt x="1233612" y="1039492"/>
                  <a:pt x="1235434" y="1043136"/>
                  <a:pt x="1237256" y="1039492"/>
                </a:cubicBezTo>
                <a:cubicBezTo>
                  <a:pt x="1237256" y="1046780"/>
                  <a:pt x="1224501" y="1055891"/>
                  <a:pt x="1215390" y="1061358"/>
                </a:cubicBezTo>
                <a:cubicBezTo>
                  <a:pt x="1220858" y="1063180"/>
                  <a:pt x="1226323" y="1070469"/>
                  <a:pt x="1235434" y="1066824"/>
                </a:cubicBezTo>
                <a:cubicBezTo>
                  <a:pt x="1237256" y="1068646"/>
                  <a:pt x="1233612" y="1068646"/>
                  <a:pt x="1233612" y="1070469"/>
                </a:cubicBezTo>
                <a:cubicBezTo>
                  <a:pt x="1239080" y="1074113"/>
                  <a:pt x="1244545" y="1072291"/>
                  <a:pt x="1250012" y="1072291"/>
                </a:cubicBezTo>
                <a:cubicBezTo>
                  <a:pt x="1253656" y="1066824"/>
                  <a:pt x="1250012" y="1059535"/>
                  <a:pt x="1251834" y="1054069"/>
                </a:cubicBezTo>
                <a:cubicBezTo>
                  <a:pt x="1257300" y="1055891"/>
                  <a:pt x="1250012" y="1065002"/>
                  <a:pt x="1257300" y="1065002"/>
                </a:cubicBezTo>
                <a:cubicBezTo>
                  <a:pt x="1259123" y="1065002"/>
                  <a:pt x="1255478" y="1068646"/>
                  <a:pt x="1255478" y="1066824"/>
                </a:cubicBezTo>
                <a:cubicBezTo>
                  <a:pt x="1253656" y="1066824"/>
                  <a:pt x="1253656" y="1068646"/>
                  <a:pt x="1253656" y="1068646"/>
                </a:cubicBezTo>
                <a:cubicBezTo>
                  <a:pt x="1257300" y="1068646"/>
                  <a:pt x="1259123" y="1072291"/>
                  <a:pt x="1260945" y="1072291"/>
                </a:cubicBezTo>
                <a:cubicBezTo>
                  <a:pt x="1266411" y="1066824"/>
                  <a:pt x="1271878" y="1061358"/>
                  <a:pt x="1273700" y="1054069"/>
                </a:cubicBezTo>
                <a:cubicBezTo>
                  <a:pt x="1277344" y="1052247"/>
                  <a:pt x="1273700" y="1055891"/>
                  <a:pt x="1275522" y="1057713"/>
                </a:cubicBezTo>
                <a:cubicBezTo>
                  <a:pt x="1280077" y="1054980"/>
                  <a:pt x="1284177" y="1050880"/>
                  <a:pt x="1286911" y="1046325"/>
                </a:cubicBezTo>
                <a:lnTo>
                  <a:pt x="1287391" y="1044197"/>
                </a:lnTo>
                <a:lnTo>
                  <a:pt x="1287594" y="1044275"/>
                </a:lnTo>
                <a:cubicBezTo>
                  <a:pt x="1288733" y="1043591"/>
                  <a:pt x="1290099" y="1042225"/>
                  <a:pt x="1291922" y="1041314"/>
                </a:cubicBezTo>
                <a:cubicBezTo>
                  <a:pt x="1293744" y="1039492"/>
                  <a:pt x="1291922" y="1037669"/>
                  <a:pt x="1291922" y="1035847"/>
                </a:cubicBezTo>
                <a:cubicBezTo>
                  <a:pt x="1295566" y="1037669"/>
                  <a:pt x="1295566" y="1034025"/>
                  <a:pt x="1297388" y="1034025"/>
                </a:cubicBezTo>
                <a:cubicBezTo>
                  <a:pt x="1310143" y="1054069"/>
                  <a:pt x="1270056" y="1072291"/>
                  <a:pt x="1259123" y="1094157"/>
                </a:cubicBezTo>
                <a:cubicBezTo>
                  <a:pt x="1262767" y="1095979"/>
                  <a:pt x="1268233" y="1092335"/>
                  <a:pt x="1273700" y="1094157"/>
                </a:cubicBezTo>
                <a:cubicBezTo>
                  <a:pt x="1268233" y="1097801"/>
                  <a:pt x="1259123" y="1090512"/>
                  <a:pt x="1255478" y="1097801"/>
                </a:cubicBezTo>
                <a:cubicBezTo>
                  <a:pt x="1248189" y="1095979"/>
                  <a:pt x="1239080" y="1101445"/>
                  <a:pt x="1231790" y="1103268"/>
                </a:cubicBezTo>
                <a:cubicBezTo>
                  <a:pt x="1233612" y="1105090"/>
                  <a:pt x="1233612" y="1106912"/>
                  <a:pt x="1233612" y="1106912"/>
                </a:cubicBezTo>
                <a:cubicBezTo>
                  <a:pt x="1224501" y="1097801"/>
                  <a:pt x="1213568" y="1099623"/>
                  <a:pt x="1202636" y="1106912"/>
                </a:cubicBezTo>
                <a:lnTo>
                  <a:pt x="1198385" y="1113998"/>
                </a:lnTo>
                <a:lnTo>
                  <a:pt x="1182592" y="1108734"/>
                </a:lnTo>
                <a:cubicBezTo>
                  <a:pt x="1180769" y="1110556"/>
                  <a:pt x="1180769" y="1110556"/>
                  <a:pt x="1178947" y="1112378"/>
                </a:cubicBezTo>
                <a:cubicBezTo>
                  <a:pt x="1182592" y="1116023"/>
                  <a:pt x="1184414" y="1116023"/>
                  <a:pt x="1182592" y="1119667"/>
                </a:cubicBezTo>
                <a:cubicBezTo>
                  <a:pt x="1182592" y="1121489"/>
                  <a:pt x="1177125" y="1117845"/>
                  <a:pt x="1175303" y="1119667"/>
                </a:cubicBezTo>
                <a:lnTo>
                  <a:pt x="1174087" y="1117237"/>
                </a:lnTo>
                <a:lnTo>
                  <a:pt x="1175303" y="1117845"/>
                </a:lnTo>
                <a:lnTo>
                  <a:pt x="1174027" y="1117116"/>
                </a:lnTo>
                <a:lnTo>
                  <a:pt x="1173481" y="1116023"/>
                </a:lnTo>
                <a:cubicBezTo>
                  <a:pt x="1172569" y="1116934"/>
                  <a:pt x="1173025" y="1116934"/>
                  <a:pt x="1173709" y="1116934"/>
                </a:cubicBezTo>
                <a:lnTo>
                  <a:pt x="1174027" y="1117116"/>
                </a:lnTo>
                <a:lnTo>
                  <a:pt x="1174087" y="1117237"/>
                </a:lnTo>
                <a:lnTo>
                  <a:pt x="1172569" y="1116478"/>
                </a:lnTo>
                <a:cubicBezTo>
                  <a:pt x="1171658" y="1116023"/>
                  <a:pt x="1170747" y="1116023"/>
                  <a:pt x="1169836" y="1117845"/>
                </a:cubicBezTo>
                <a:cubicBezTo>
                  <a:pt x="1168014" y="1116023"/>
                  <a:pt x="1169836" y="1116023"/>
                  <a:pt x="1168014" y="1114201"/>
                </a:cubicBezTo>
                <a:cubicBezTo>
                  <a:pt x="1157081" y="1112378"/>
                  <a:pt x="1146148" y="1114201"/>
                  <a:pt x="1135215" y="1112378"/>
                </a:cubicBezTo>
                <a:cubicBezTo>
                  <a:pt x="1135215" y="1114201"/>
                  <a:pt x="1133393" y="1116023"/>
                  <a:pt x="1131570" y="1117845"/>
                </a:cubicBezTo>
                <a:cubicBezTo>
                  <a:pt x="1130659" y="1118756"/>
                  <a:pt x="1131115" y="1118756"/>
                  <a:pt x="1131798" y="1118984"/>
                </a:cubicBezTo>
                <a:lnTo>
                  <a:pt x="1132513" y="1120107"/>
                </a:lnTo>
                <a:lnTo>
                  <a:pt x="1130963" y="1120882"/>
                </a:lnTo>
                <a:lnTo>
                  <a:pt x="1129748" y="1119667"/>
                </a:lnTo>
                <a:cubicBezTo>
                  <a:pt x="1127926" y="1121489"/>
                  <a:pt x="1129748" y="1125134"/>
                  <a:pt x="1127926" y="1128778"/>
                </a:cubicBezTo>
                <a:cubicBezTo>
                  <a:pt x="1129748" y="1130600"/>
                  <a:pt x="1131570" y="1128778"/>
                  <a:pt x="1133393" y="1130600"/>
                </a:cubicBezTo>
                <a:cubicBezTo>
                  <a:pt x="1131570" y="1132422"/>
                  <a:pt x="1129748" y="1126956"/>
                  <a:pt x="1127926" y="1130600"/>
                </a:cubicBezTo>
                <a:lnTo>
                  <a:pt x="1138003" y="1136898"/>
                </a:lnTo>
                <a:lnTo>
                  <a:pt x="1138859" y="1139711"/>
                </a:lnTo>
                <a:cubicBezTo>
                  <a:pt x="1142503" y="1143355"/>
                  <a:pt x="1144326" y="1143355"/>
                  <a:pt x="1147970" y="1145178"/>
                </a:cubicBezTo>
                <a:cubicBezTo>
                  <a:pt x="1149792" y="1143355"/>
                  <a:pt x="1149792" y="1139711"/>
                  <a:pt x="1146148" y="1136067"/>
                </a:cubicBezTo>
                <a:cubicBezTo>
                  <a:pt x="1151614" y="1134245"/>
                  <a:pt x="1149792" y="1139711"/>
                  <a:pt x="1151614" y="1141533"/>
                </a:cubicBezTo>
                <a:cubicBezTo>
                  <a:pt x="1153436" y="1139711"/>
                  <a:pt x="1155259" y="1136067"/>
                  <a:pt x="1155259" y="1134245"/>
                </a:cubicBezTo>
                <a:cubicBezTo>
                  <a:pt x="1162547" y="1134245"/>
                  <a:pt x="1168014" y="1123312"/>
                  <a:pt x="1169836" y="1117845"/>
                </a:cubicBezTo>
                <a:cubicBezTo>
                  <a:pt x="1173481" y="1123312"/>
                  <a:pt x="1160725" y="1134245"/>
                  <a:pt x="1157081" y="1137889"/>
                </a:cubicBezTo>
                <a:cubicBezTo>
                  <a:pt x="1155259" y="1141533"/>
                  <a:pt x="1160725" y="1143355"/>
                  <a:pt x="1158903" y="1145178"/>
                </a:cubicBezTo>
                <a:cubicBezTo>
                  <a:pt x="1157081" y="1145178"/>
                  <a:pt x="1157081" y="1141533"/>
                  <a:pt x="1155259" y="1139711"/>
                </a:cubicBezTo>
                <a:cubicBezTo>
                  <a:pt x="1149792" y="1145178"/>
                  <a:pt x="1151614" y="1148822"/>
                  <a:pt x="1157081" y="1152466"/>
                </a:cubicBezTo>
                <a:lnTo>
                  <a:pt x="1154803" y="1153984"/>
                </a:lnTo>
                <a:lnTo>
                  <a:pt x="1149792" y="1150644"/>
                </a:lnTo>
                <a:cubicBezTo>
                  <a:pt x="1147970" y="1150644"/>
                  <a:pt x="1149792" y="1152466"/>
                  <a:pt x="1147970" y="1152466"/>
                </a:cubicBezTo>
                <a:cubicBezTo>
                  <a:pt x="1147970" y="1154288"/>
                  <a:pt x="1149792" y="1156111"/>
                  <a:pt x="1149792" y="1156111"/>
                </a:cubicBezTo>
                <a:lnTo>
                  <a:pt x="1153437" y="1154895"/>
                </a:lnTo>
                <a:lnTo>
                  <a:pt x="1151614" y="1156111"/>
                </a:lnTo>
                <a:lnTo>
                  <a:pt x="1154264" y="1157933"/>
                </a:lnTo>
                <a:lnTo>
                  <a:pt x="1151614" y="1157933"/>
                </a:lnTo>
                <a:cubicBezTo>
                  <a:pt x="1149792" y="1159755"/>
                  <a:pt x="1147970" y="1163399"/>
                  <a:pt x="1147970" y="1165222"/>
                </a:cubicBezTo>
                <a:cubicBezTo>
                  <a:pt x="1149792" y="1167044"/>
                  <a:pt x="1149792" y="1167044"/>
                  <a:pt x="1151614" y="1168866"/>
                </a:cubicBezTo>
                <a:cubicBezTo>
                  <a:pt x="1151614" y="1165222"/>
                  <a:pt x="1155259" y="1167044"/>
                  <a:pt x="1155259" y="1163399"/>
                </a:cubicBezTo>
                <a:cubicBezTo>
                  <a:pt x="1157081" y="1163399"/>
                  <a:pt x="1155259" y="1165222"/>
                  <a:pt x="1157081" y="1165222"/>
                </a:cubicBezTo>
                <a:cubicBezTo>
                  <a:pt x="1157081" y="1163399"/>
                  <a:pt x="1158903" y="1161577"/>
                  <a:pt x="1160725" y="1157933"/>
                </a:cubicBezTo>
                <a:lnTo>
                  <a:pt x="1155834" y="1157933"/>
                </a:lnTo>
                <a:lnTo>
                  <a:pt x="1158903" y="1154288"/>
                </a:lnTo>
                <a:cubicBezTo>
                  <a:pt x="1160725" y="1154288"/>
                  <a:pt x="1162547" y="1156111"/>
                  <a:pt x="1164370" y="1157933"/>
                </a:cubicBezTo>
                <a:cubicBezTo>
                  <a:pt x="1168014" y="1156111"/>
                  <a:pt x="1171658" y="1154288"/>
                  <a:pt x="1173481" y="1150644"/>
                </a:cubicBezTo>
                <a:cubicBezTo>
                  <a:pt x="1175303" y="1152466"/>
                  <a:pt x="1171658" y="1152466"/>
                  <a:pt x="1175303" y="1154288"/>
                </a:cubicBezTo>
                <a:cubicBezTo>
                  <a:pt x="1177125" y="1152466"/>
                  <a:pt x="1178947" y="1152466"/>
                  <a:pt x="1178947" y="1148822"/>
                </a:cubicBezTo>
                <a:cubicBezTo>
                  <a:pt x="1182592" y="1150644"/>
                  <a:pt x="1178947" y="1154288"/>
                  <a:pt x="1180769" y="1156111"/>
                </a:cubicBezTo>
                <a:cubicBezTo>
                  <a:pt x="1178947" y="1156111"/>
                  <a:pt x="1178947" y="1152466"/>
                  <a:pt x="1178947" y="1152466"/>
                </a:cubicBezTo>
                <a:cubicBezTo>
                  <a:pt x="1171658" y="1152466"/>
                  <a:pt x="1173481" y="1157933"/>
                  <a:pt x="1171658" y="1161577"/>
                </a:cubicBezTo>
                <a:lnTo>
                  <a:pt x="1173481" y="1163399"/>
                </a:lnTo>
                <a:lnTo>
                  <a:pt x="1175303" y="1165222"/>
                </a:lnTo>
                <a:cubicBezTo>
                  <a:pt x="1177125" y="1165222"/>
                  <a:pt x="1175303" y="1163399"/>
                  <a:pt x="1177125" y="1161577"/>
                </a:cubicBezTo>
                <a:cubicBezTo>
                  <a:pt x="1178947" y="1163399"/>
                  <a:pt x="1177125" y="1165222"/>
                  <a:pt x="1178947" y="1167044"/>
                </a:cubicBezTo>
                <a:cubicBezTo>
                  <a:pt x="1182592" y="1163399"/>
                  <a:pt x="1178947" y="1161577"/>
                  <a:pt x="1180769" y="1157933"/>
                </a:cubicBezTo>
                <a:cubicBezTo>
                  <a:pt x="1182592" y="1159755"/>
                  <a:pt x="1180769" y="1163399"/>
                  <a:pt x="1182592" y="1165222"/>
                </a:cubicBezTo>
                <a:cubicBezTo>
                  <a:pt x="1182592" y="1163399"/>
                  <a:pt x="1184414" y="1165222"/>
                  <a:pt x="1184414" y="1165222"/>
                </a:cubicBezTo>
                <a:cubicBezTo>
                  <a:pt x="1191703" y="1157933"/>
                  <a:pt x="1209925" y="1152466"/>
                  <a:pt x="1200814" y="1141533"/>
                </a:cubicBezTo>
                <a:cubicBezTo>
                  <a:pt x="1204457" y="1143355"/>
                  <a:pt x="1208102" y="1145178"/>
                  <a:pt x="1206279" y="1147000"/>
                </a:cubicBezTo>
                <a:cubicBezTo>
                  <a:pt x="1209925" y="1148822"/>
                  <a:pt x="1209925" y="1145178"/>
                  <a:pt x="1209925" y="1143355"/>
                </a:cubicBezTo>
                <a:cubicBezTo>
                  <a:pt x="1211747" y="1146088"/>
                  <a:pt x="1210835" y="1147911"/>
                  <a:pt x="1209923" y="1149505"/>
                </a:cubicBezTo>
                <a:lnTo>
                  <a:pt x="1209925" y="1150644"/>
                </a:lnTo>
                <a:lnTo>
                  <a:pt x="1201496" y="1157249"/>
                </a:lnTo>
                <a:cubicBezTo>
                  <a:pt x="1198991" y="1160210"/>
                  <a:pt x="1196257" y="1163399"/>
                  <a:pt x="1191703" y="1165222"/>
                </a:cubicBezTo>
                <a:cubicBezTo>
                  <a:pt x="1195346" y="1164310"/>
                  <a:pt x="1199446" y="1162033"/>
                  <a:pt x="1202864" y="1159299"/>
                </a:cubicBezTo>
                <a:lnTo>
                  <a:pt x="1209925" y="1150644"/>
                </a:lnTo>
                <a:lnTo>
                  <a:pt x="1209925" y="1154288"/>
                </a:lnTo>
                <a:cubicBezTo>
                  <a:pt x="1211747" y="1152466"/>
                  <a:pt x="1213568" y="1148822"/>
                  <a:pt x="1215390" y="1150644"/>
                </a:cubicBezTo>
                <a:cubicBezTo>
                  <a:pt x="1208102" y="1152466"/>
                  <a:pt x="1208102" y="1161577"/>
                  <a:pt x="1208102" y="1167044"/>
                </a:cubicBezTo>
                <a:cubicBezTo>
                  <a:pt x="1213568" y="1168866"/>
                  <a:pt x="1220858" y="1163399"/>
                  <a:pt x="1219036" y="1157933"/>
                </a:cubicBezTo>
                <a:cubicBezTo>
                  <a:pt x="1220858" y="1157933"/>
                  <a:pt x="1219036" y="1161577"/>
                  <a:pt x="1219036" y="1163399"/>
                </a:cubicBezTo>
                <a:cubicBezTo>
                  <a:pt x="1220858" y="1163399"/>
                  <a:pt x="1222679" y="1163399"/>
                  <a:pt x="1224501" y="1161577"/>
                </a:cubicBezTo>
                <a:cubicBezTo>
                  <a:pt x="1226323" y="1159755"/>
                  <a:pt x="1224501" y="1156111"/>
                  <a:pt x="1226323" y="1154288"/>
                </a:cubicBezTo>
                <a:cubicBezTo>
                  <a:pt x="1231790" y="1156111"/>
                  <a:pt x="1235434" y="1150644"/>
                  <a:pt x="1235434" y="1147000"/>
                </a:cubicBezTo>
                <a:cubicBezTo>
                  <a:pt x="1237256" y="1147000"/>
                  <a:pt x="1235434" y="1150644"/>
                  <a:pt x="1235434" y="1152466"/>
                </a:cubicBezTo>
                <a:cubicBezTo>
                  <a:pt x="1237256" y="1154288"/>
                  <a:pt x="1240901" y="1150644"/>
                  <a:pt x="1242723" y="1148822"/>
                </a:cubicBezTo>
                <a:cubicBezTo>
                  <a:pt x="1240901" y="1145178"/>
                  <a:pt x="1240901" y="1137889"/>
                  <a:pt x="1237256" y="1136067"/>
                </a:cubicBezTo>
                <a:cubicBezTo>
                  <a:pt x="1237256" y="1134245"/>
                  <a:pt x="1239080" y="1134245"/>
                  <a:pt x="1239080" y="1132422"/>
                </a:cubicBezTo>
                <a:cubicBezTo>
                  <a:pt x="1242723" y="1134245"/>
                  <a:pt x="1239080" y="1141533"/>
                  <a:pt x="1246367" y="1148822"/>
                </a:cubicBezTo>
                <a:cubicBezTo>
                  <a:pt x="1250012" y="1147000"/>
                  <a:pt x="1250012" y="1145178"/>
                  <a:pt x="1248189" y="1143355"/>
                </a:cubicBezTo>
                <a:cubicBezTo>
                  <a:pt x="1251834" y="1143355"/>
                  <a:pt x="1253656" y="1137889"/>
                  <a:pt x="1250012" y="1136067"/>
                </a:cubicBezTo>
                <a:cubicBezTo>
                  <a:pt x="1248189" y="1136067"/>
                  <a:pt x="1246367" y="1137889"/>
                  <a:pt x="1244545" y="1136067"/>
                </a:cubicBezTo>
                <a:cubicBezTo>
                  <a:pt x="1244545" y="1134245"/>
                  <a:pt x="1244545" y="1132422"/>
                  <a:pt x="1244545" y="1130600"/>
                </a:cubicBezTo>
                <a:cubicBezTo>
                  <a:pt x="1240901" y="1126956"/>
                  <a:pt x="1237256" y="1126956"/>
                  <a:pt x="1231790" y="1125134"/>
                </a:cubicBezTo>
                <a:lnTo>
                  <a:pt x="1226655" y="1123422"/>
                </a:lnTo>
                <a:lnTo>
                  <a:pt x="1233384" y="1123767"/>
                </a:lnTo>
                <a:cubicBezTo>
                  <a:pt x="1235890" y="1122400"/>
                  <a:pt x="1238168" y="1120578"/>
                  <a:pt x="1240901" y="1121489"/>
                </a:cubicBezTo>
                <a:cubicBezTo>
                  <a:pt x="1239080" y="1123312"/>
                  <a:pt x="1239080" y="1121489"/>
                  <a:pt x="1237256" y="1123312"/>
                </a:cubicBezTo>
                <a:cubicBezTo>
                  <a:pt x="1239080" y="1125134"/>
                  <a:pt x="1239080" y="1123312"/>
                  <a:pt x="1240901" y="1125134"/>
                </a:cubicBezTo>
                <a:cubicBezTo>
                  <a:pt x="1242723" y="1126956"/>
                  <a:pt x="1240901" y="1126956"/>
                  <a:pt x="1242723" y="1128778"/>
                </a:cubicBezTo>
                <a:lnTo>
                  <a:pt x="1248953" y="1127458"/>
                </a:lnTo>
                <a:lnTo>
                  <a:pt x="1257984" y="1130828"/>
                </a:lnTo>
                <a:cubicBezTo>
                  <a:pt x="1263222" y="1132422"/>
                  <a:pt x="1268233" y="1132422"/>
                  <a:pt x="1271878" y="1126956"/>
                </a:cubicBezTo>
                <a:cubicBezTo>
                  <a:pt x="1273700" y="1126956"/>
                  <a:pt x="1271878" y="1128778"/>
                  <a:pt x="1273700" y="1128778"/>
                </a:cubicBezTo>
                <a:cubicBezTo>
                  <a:pt x="1275522" y="1126045"/>
                  <a:pt x="1278255" y="1125134"/>
                  <a:pt x="1280761" y="1123995"/>
                </a:cubicBezTo>
                <a:lnTo>
                  <a:pt x="1283776" y="1120739"/>
                </a:lnTo>
                <a:lnTo>
                  <a:pt x="1287873" y="1120072"/>
                </a:lnTo>
                <a:lnTo>
                  <a:pt x="1286455" y="1121489"/>
                </a:lnTo>
                <a:lnTo>
                  <a:pt x="1291440" y="1119828"/>
                </a:lnTo>
                <a:lnTo>
                  <a:pt x="1297388" y="1119667"/>
                </a:lnTo>
                <a:cubicBezTo>
                  <a:pt x="1299210" y="1117845"/>
                  <a:pt x="1297388" y="1116023"/>
                  <a:pt x="1299210" y="1114201"/>
                </a:cubicBezTo>
                <a:cubicBezTo>
                  <a:pt x="1301033" y="1116023"/>
                  <a:pt x="1299210" y="1119667"/>
                  <a:pt x="1301033" y="1121489"/>
                </a:cubicBezTo>
                <a:cubicBezTo>
                  <a:pt x="1310143" y="1116023"/>
                  <a:pt x="1315610" y="1110556"/>
                  <a:pt x="1319254" y="1099623"/>
                </a:cubicBezTo>
                <a:cubicBezTo>
                  <a:pt x="1319254" y="1099623"/>
                  <a:pt x="1313788" y="1092335"/>
                  <a:pt x="1315610" y="1094157"/>
                </a:cubicBezTo>
                <a:cubicBezTo>
                  <a:pt x="1317432" y="1095979"/>
                  <a:pt x="1319254" y="1097801"/>
                  <a:pt x="1321077" y="1097801"/>
                </a:cubicBezTo>
                <a:cubicBezTo>
                  <a:pt x="1322899" y="1095979"/>
                  <a:pt x="1326543" y="1088690"/>
                  <a:pt x="1328365" y="1086868"/>
                </a:cubicBezTo>
                <a:cubicBezTo>
                  <a:pt x="1328365" y="1088690"/>
                  <a:pt x="1328365" y="1088690"/>
                  <a:pt x="1328365" y="1090512"/>
                </a:cubicBezTo>
                <a:lnTo>
                  <a:pt x="1337826" y="1084880"/>
                </a:lnTo>
                <a:lnTo>
                  <a:pt x="1331554" y="1089146"/>
                </a:lnTo>
                <a:cubicBezTo>
                  <a:pt x="1327910" y="1092334"/>
                  <a:pt x="1324721" y="1095979"/>
                  <a:pt x="1322899" y="1099623"/>
                </a:cubicBezTo>
                <a:lnTo>
                  <a:pt x="1326090" y="1101639"/>
                </a:lnTo>
                <a:lnTo>
                  <a:pt x="1331554" y="1105090"/>
                </a:lnTo>
                <a:cubicBezTo>
                  <a:pt x="1335654" y="1104178"/>
                  <a:pt x="1340209" y="1101445"/>
                  <a:pt x="1342942" y="1099623"/>
                </a:cubicBezTo>
                <a:cubicBezTo>
                  <a:pt x="1342942" y="1101445"/>
                  <a:pt x="1339299" y="1101445"/>
                  <a:pt x="1341120" y="1103268"/>
                </a:cubicBezTo>
                <a:cubicBezTo>
                  <a:pt x="1344765" y="1101445"/>
                  <a:pt x="1348410" y="1105090"/>
                  <a:pt x="1352053" y="1101445"/>
                </a:cubicBezTo>
                <a:cubicBezTo>
                  <a:pt x="1352053" y="1099623"/>
                  <a:pt x="1348410" y="1095979"/>
                  <a:pt x="1346587" y="1095979"/>
                </a:cubicBezTo>
                <a:cubicBezTo>
                  <a:pt x="1350231" y="1095979"/>
                  <a:pt x="1348410" y="1094157"/>
                  <a:pt x="1348410" y="1092335"/>
                </a:cubicBezTo>
                <a:cubicBezTo>
                  <a:pt x="1353876" y="1095979"/>
                  <a:pt x="1352053" y="1103268"/>
                  <a:pt x="1357521" y="1101445"/>
                </a:cubicBezTo>
                <a:cubicBezTo>
                  <a:pt x="1350231" y="1108734"/>
                  <a:pt x="1344765" y="1103268"/>
                  <a:pt x="1337476" y="1106912"/>
                </a:cubicBezTo>
                <a:cubicBezTo>
                  <a:pt x="1335654" y="1108734"/>
                  <a:pt x="1339299" y="1108734"/>
                  <a:pt x="1337476" y="1110556"/>
                </a:cubicBezTo>
                <a:cubicBezTo>
                  <a:pt x="1326543" y="1112378"/>
                  <a:pt x="1315610" y="1116023"/>
                  <a:pt x="1306499" y="1123312"/>
                </a:cubicBezTo>
                <a:cubicBezTo>
                  <a:pt x="1313788" y="1125134"/>
                  <a:pt x="1330188" y="1121489"/>
                  <a:pt x="1333832" y="1112378"/>
                </a:cubicBezTo>
                <a:cubicBezTo>
                  <a:pt x="1333832" y="1114201"/>
                  <a:pt x="1330188" y="1116023"/>
                  <a:pt x="1332009" y="1117845"/>
                </a:cubicBezTo>
                <a:cubicBezTo>
                  <a:pt x="1337476" y="1116023"/>
                  <a:pt x="1348410" y="1114201"/>
                  <a:pt x="1350231" y="1108734"/>
                </a:cubicBezTo>
                <a:lnTo>
                  <a:pt x="1360908" y="1106641"/>
                </a:lnTo>
                <a:lnTo>
                  <a:pt x="1321077" y="1125134"/>
                </a:lnTo>
                <a:cubicBezTo>
                  <a:pt x="1315610" y="1126956"/>
                  <a:pt x="1310143" y="1125134"/>
                  <a:pt x="1311966" y="1128778"/>
                </a:cubicBezTo>
                <a:cubicBezTo>
                  <a:pt x="1308321" y="1125134"/>
                  <a:pt x="1304677" y="1125134"/>
                  <a:pt x="1301033" y="1126956"/>
                </a:cubicBezTo>
                <a:cubicBezTo>
                  <a:pt x="1297388" y="1134245"/>
                  <a:pt x="1286455" y="1137889"/>
                  <a:pt x="1279166" y="1141533"/>
                </a:cubicBezTo>
                <a:cubicBezTo>
                  <a:pt x="1282811" y="1143355"/>
                  <a:pt x="1286455" y="1143355"/>
                  <a:pt x="1291922" y="1143355"/>
                </a:cubicBezTo>
                <a:cubicBezTo>
                  <a:pt x="1291922" y="1148822"/>
                  <a:pt x="1301033" y="1147000"/>
                  <a:pt x="1301033" y="1150644"/>
                </a:cubicBezTo>
                <a:cubicBezTo>
                  <a:pt x="1291922" y="1145178"/>
                  <a:pt x="1280989" y="1141533"/>
                  <a:pt x="1271878" y="1141533"/>
                </a:cubicBezTo>
                <a:cubicBezTo>
                  <a:pt x="1264589" y="1145178"/>
                  <a:pt x="1257300" y="1150644"/>
                  <a:pt x="1253656" y="1156111"/>
                </a:cubicBezTo>
                <a:cubicBezTo>
                  <a:pt x="1248189" y="1156111"/>
                  <a:pt x="1237256" y="1163399"/>
                  <a:pt x="1235434" y="1168866"/>
                </a:cubicBezTo>
                <a:cubicBezTo>
                  <a:pt x="1244545" y="1165222"/>
                  <a:pt x="1251834" y="1168866"/>
                  <a:pt x="1260945" y="1163399"/>
                </a:cubicBezTo>
                <a:cubicBezTo>
                  <a:pt x="1259123" y="1165222"/>
                  <a:pt x="1259123" y="1165222"/>
                  <a:pt x="1260945" y="1167044"/>
                </a:cubicBezTo>
                <a:cubicBezTo>
                  <a:pt x="1264589" y="1168866"/>
                  <a:pt x="1266411" y="1165222"/>
                  <a:pt x="1270056" y="1167044"/>
                </a:cubicBezTo>
                <a:cubicBezTo>
                  <a:pt x="1257300" y="1167044"/>
                  <a:pt x="1244545" y="1168866"/>
                  <a:pt x="1229969" y="1170688"/>
                </a:cubicBezTo>
                <a:cubicBezTo>
                  <a:pt x="1226323" y="1174332"/>
                  <a:pt x="1228146" y="1176155"/>
                  <a:pt x="1228146" y="1179799"/>
                </a:cubicBezTo>
                <a:cubicBezTo>
                  <a:pt x="1231790" y="1179799"/>
                  <a:pt x="1229969" y="1176155"/>
                  <a:pt x="1231790" y="1177977"/>
                </a:cubicBezTo>
                <a:cubicBezTo>
                  <a:pt x="1229969" y="1179799"/>
                  <a:pt x="1229969" y="1179799"/>
                  <a:pt x="1228146" y="1181621"/>
                </a:cubicBezTo>
                <a:cubicBezTo>
                  <a:pt x="1226323" y="1181621"/>
                  <a:pt x="1228146" y="1179799"/>
                  <a:pt x="1226323" y="1179799"/>
                </a:cubicBezTo>
                <a:cubicBezTo>
                  <a:pt x="1225412" y="1182532"/>
                  <a:pt x="1223134" y="1183899"/>
                  <a:pt x="1220630" y="1185266"/>
                </a:cubicBezTo>
                <a:lnTo>
                  <a:pt x="1214753" y="1189815"/>
                </a:lnTo>
                <a:lnTo>
                  <a:pt x="1205596" y="1186404"/>
                </a:lnTo>
                <a:cubicBezTo>
                  <a:pt x="1201724" y="1185721"/>
                  <a:pt x="1198079" y="1186176"/>
                  <a:pt x="1195346" y="1188910"/>
                </a:cubicBezTo>
                <a:cubicBezTo>
                  <a:pt x="1197169" y="1192554"/>
                  <a:pt x="1198991" y="1192554"/>
                  <a:pt x="1200814" y="1192554"/>
                </a:cubicBezTo>
                <a:cubicBezTo>
                  <a:pt x="1195346" y="1194376"/>
                  <a:pt x="1200814" y="1198021"/>
                  <a:pt x="1200814" y="1201665"/>
                </a:cubicBezTo>
                <a:cubicBezTo>
                  <a:pt x="1204457" y="1201665"/>
                  <a:pt x="1209925" y="1198021"/>
                  <a:pt x="1213568" y="1198021"/>
                </a:cubicBezTo>
                <a:lnTo>
                  <a:pt x="1216808" y="1191542"/>
                </a:lnTo>
                <a:lnTo>
                  <a:pt x="1221768" y="1192782"/>
                </a:lnTo>
                <a:cubicBezTo>
                  <a:pt x="1224501" y="1193010"/>
                  <a:pt x="1227234" y="1193465"/>
                  <a:pt x="1229969" y="1196199"/>
                </a:cubicBezTo>
                <a:cubicBezTo>
                  <a:pt x="1228146" y="1198021"/>
                  <a:pt x="1228146" y="1198021"/>
                  <a:pt x="1228146" y="1198021"/>
                </a:cubicBezTo>
                <a:cubicBezTo>
                  <a:pt x="1226323" y="1199843"/>
                  <a:pt x="1228146" y="1199843"/>
                  <a:pt x="1226323" y="1199843"/>
                </a:cubicBezTo>
                <a:cubicBezTo>
                  <a:pt x="1226323" y="1199843"/>
                  <a:pt x="1222679" y="1198021"/>
                  <a:pt x="1222679" y="1198021"/>
                </a:cubicBezTo>
                <a:cubicBezTo>
                  <a:pt x="1219036" y="1199843"/>
                  <a:pt x="1219036" y="1203487"/>
                  <a:pt x="1219036" y="1205309"/>
                </a:cubicBezTo>
                <a:lnTo>
                  <a:pt x="1208102" y="1210776"/>
                </a:lnTo>
                <a:cubicBezTo>
                  <a:pt x="1217213" y="1219887"/>
                  <a:pt x="1226323" y="1208954"/>
                  <a:pt x="1235434" y="1207132"/>
                </a:cubicBezTo>
                <a:lnTo>
                  <a:pt x="1234601" y="1205466"/>
                </a:lnTo>
                <a:lnTo>
                  <a:pt x="1238368" y="1206066"/>
                </a:lnTo>
                <a:lnTo>
                  <a:pt x="1239080" y="1207132"/>
                </a:lnTo>
                <a:lnTo>
                  <a:pt x="1240783" y="1206450"/>
                </a:lnTo>
                <a:lnTo>
                  <a:pt x="1243634" y="1206904"/>
                </a:lnTo>
                <a:lnTo>
                  <a:pt x="1246833" y="1206976"/>
                </a:lnTo>
                <a:lnTo>
                  <a:pt x="1246367" y="1207132"/>
                </a:lnTo>
                <a:cubicBezTo>
                  <a:pt x="1248189" y="1207132"/>
                  <a:pt x="1250012" y="1207132"/>
                  <a:pt x="1251834" y="1207132"/>
                </a:cubicBezTo>
                <a:cubicBezTo>
                  <a:pt x="1251834" y="1210776"/>
                  <a:pt x="1235434" y="1205309"/>
                  <a:pt x="1244545" y="1214420"/>
                </a:cubicBezTo>
                <a:cubicBezTo>
                  <a:pt x="1251834" y="1208954"/>
                  <a:pt x="1262767" y="1214420"/>
                  <a:pt x="1268233" y="1205309"/>
                </a:cubicBezTo>
                <a:lnTo>
                  <a:pt x="1257466" y="1203515"/>
                </a:lnTo>
                <a:lnTo>
                  <a:pt x="1262440" y="1198794"/>
                </a:lnTo>
                <a:lnTo>
                  <a:pt x="1271878" y="1199843"/>
                </a:lnTo>
                <a:cubicBezTo>
                  <a:pt x="1275522" y="1196199"/>
                  <a:pt x="1275522" y="1190732"/>
                  <a:pt x="1277344" y="1187088"/>
                </a:cubicBezTo>
                <a:cubicBezTo>
                  <a:pt x="1279166" y="1187088"/>
                  <a:pt x="1275522" y="1190732"/>
                  <a:pt x="1279166" y="1192554"/>
                </a:cubicBezTo>
                <a:lnTo>
                  <a:pt x="1280939" y="1187827"/>
                </a:lnTo>
                <a:lnTo>
                  <a:pt x="1282360" y="1192798"/>
                </a:lnTo>
                <a:lnTo>
                  <a:pt x="1277344" y="1195515"/>
                </a:lnTo>
                <a:cubicBezTo>
                  <a:pt x="1275978" y="1196654"/>
                  <a:pt x="1275522" y="1198021"/>
                  <a:pt x="1277344" y="1199843"/>
                </a:cubicBezTo>
                <a:cubicBezTo>
                  <a:pt x="1279166" y="1198932"/>
                  <a:pt x="1280989" y="1198021"/>
                  <a:pt x="1282127" y="1196882"/>
                </a:cubicBezTo>
                <a:lnTo>
                  <a:pt x="1282626" y="1193727"/>
                </a:lnTo>
                <a:lnTo>
                  <a:pt x="1282811" y="1194376"/>
                </a:lnTo>
                <a:cubicBezTo>
                  <a:pt x="1284633" y="1190732"/>
                  <a:pt x="1286455" y="1190732"/>
                  <a:pt x="1290100" y="1187088"/>
                </a:cubicBezTo>
                <a:cubicBezTo>
                  <a:pt x="1288277" y="1181621"/>
                  <a:pt x="1290100" y="1172510"/>
                  <a:pt x="1293744" y="1170688"/>
                </a:cubicBezTo>
                <a:cubicBezTo>
                  <a:pt x="1293744" y="1174332"/>
                  <a:pt x="1290100" y="1176155"/>
                  <a:pt x="1291922" y="1179799"/>
                </a:cubicBezTo>
                <a:cubicBezTo>
                  <a:pt x="1293744" y="1183443"/>
                  <a:pt x="1295566" y="1177977"/>
                  <a:pt x="1297388" y="1179799"/>
                </a:cubicBezTo>
                <a:cubicBezTo>
                  <a:pt x="1295566" y="1181621"/>
                  <a:pt x="1295566" y="1181621"/>
                  <a:pt x="1297388" y="1183443"/>
                </a:cubicBezTo>
                <a:cubicBezTo>
                  <a:pt x="1296477" y="1185265"/>
                  <a:pt x="1294200" y="1186632"/>
                  <a:pt x="1292149" y="1188226"/>
                </a:cubicBezTo>
                <a:lnTo>
                  <a:pt x="1288547" y="1193948"/>
                </a:lnTo>
                <a:lnTo>
                  <a:pt x="1286455" y="1192554"/>
                </a:lnTo>
                <a:cubicBezTo>
                  <a:pt x="1282811" y="1196199"/>
                  <a:pt x="1284633" y="1199843"/>
                  <a:pt x="1284633" y="1203487"/>
                </a:cubicBezTo>
                <a:lnTo>
                  <a:pt x="1282811" y="1203487"/>
                </a:lnTo>
                <a:cubicBezTo>
                  <a:pt x="1282811" y="1208954"/>
                  <a:pt x="1290100" y="1208954"/>
                  <a:pt x="1288277" y="1203487"/>
                </a:cubicBezTo>
                <a:lnTo>
                  <a:pt x="1284633" y="1203487"/>
                </a:lnTo>
                <a:cubicBezTo>
                  <a:pt x="1288277" y="1203487"/>
                  <a:pt x="1286455" y="1198021"/>
                  <a:pt x="1290100" y="1198021"/>
                </a:cubicBezTo>
                <a:cubicBezTo>
                  <a:pt x="1288277" y="1199843"/>
                  <a:pt x="1290100" y="1199843"/>
                  <a:pt x="1288277" y="1201665"/>
                </a:cubicBezTo>
                <a:lnTo>
                  <a:pt x="1300239" y="1201993"/>
                </a:lnTo>
                <a:lnTo>
                  <a:pt x="1302855" y="1203487"/>
                </a:lnTo>
                <a:cubicBezTo>
                  <a:pt x="1306499" y="1199843"/>
                  <a:pt x="1306499" y="1207132"/>
                  <a:pt x="1310143" y="1203487"/>
                </a:cubicBezTo>
                <a:lnTo>
                  <a:pt x="1310143" y="1205309"/>
                </a:lnTo>
                <a:cubicBezTo>
                  <a:pt x="1315610" y="1207132"/>
                  <a:pt x="1322899" y="1208954"/>
                  <a:pt x="1324721" y="1203487"/>
                </a:cubicBezTo>
                <a:cubicBezTo>
                  <a:pt x="1319254" y="1201665"/>
                  <a:pt x="1315610" y="1203487"/>
                  <a:pt x="1310143" y="1201665"/>
                </a:cubicBezTo>
                <a:lnTo>
                  <a:pt x="1309436" y="1201547"/>
                </a:lnTo>
                <a:lnTo>
                  <a:pt x="1322899" y="1199843"/>
                </a:lnTo>
                <a:cubicBezTo>
                  <a:pt x="1321077" y="1196199"/>
                  <a:pt x="1319254" y="1192554"/>
                  <a:pt x="1317432" y="1188910"/>
                </a:cubicBezTo>
                <a:cubicBezTo>
                  <a:pt x="1319254" y="1190732"/>
                  <a:pt x="1321077" y="1190732"/>
                  <a:pt x="1322899" y="1190732"/>
                </a:cubicBezTo>
                <a:cubicBezTo>
                  <a:pt x="1322899" y="1194376"/>
                  <a:pt x="1324721" y="1196199"/>
                  <a:pt x="1324721" y="1199843"/>
                </a:cubicBezTo>
                <a:cubicBezTo>
                  <a:pt x="1328365" y="1196199"/>
                  <a:pt x="1333832" y="1198021"/>
                  <a:pt x="1339299" y="1194376"/>
                </a:cubicBezTo>
                <a:cubicBezTo>
                  <a:pt x="1341120" y="1192554"/>
                  <a:pt x="1339299" y="1190732"/>
                  <a:pt x="1341120" y="1188910"/>
                </a:cubicBezTo>
                <a:cubicBezTo>
                  <a:pt x="1342942" y="1188910"/>
                  <a:pt x="1341120" y="1192554"/>
                  <a:pt x="1342942" y="1192554"/>
                </a:cubicBezTo>
                <a:cubicBezTo>
                  <a:pt x="1344765" y="1192554"/>
                  <a:pt x="1342942" y="1188910"/>
                  <a:pt x="1344765" y="1188910"/>
                </a:cubicBezTo>
                <a:cubicBezTo>
                  <a:pt x="1342942" y="1190732"/>
                  <a:pt x="1344765" y="1194376"/>
                  <a:pt x="1346587" y="1192554"/>
                </a:cubicBezTo>
                <a:cubicBezTo>
                  <a:pt x="1348410" y="1185266"/>
                  <a:pt x="1357521" y="1185266"/>
                  <a:pt x="1357521" y="1176155"/>
                </a:cubicBezTo>
                <a:cubicBezTo>
                  <a:pt x="1357521" y="1177977"/>
                  <a:pt x="1357521" y="1176155"/>
                  <a:pt x="1359342" y="1176155"/>
                </a:cubicBezTo>
                <a:cubicBezTo>
                  <a:pt x="1359342" y="1181621"/>
                  <a:pt x="1353876" y="1185266"/>
                  <a:pt x="1352053" y="1190732"/>
                </a:cubicBezTo>
                <a:cubicBezTo>
                  <a:pt x="1366632" y="1187088"/>
                  <a:pt x="1379386" y="1168866"/>
                  <a:pt x="1375743" y="1157933"/>
                </a:cubicBezTo>
                <a:cubicBezTo>
                  <a:pt x="1383030" y="1159755"/>
                  <a:pt x="1377564" y="1150644"/>
                  <a:pt x="1381208" y="1150644"/>
                </a:cubicBezTo>
                <a:cubicBezTo>
                  <a:pt x="1384854" y="1159755"/>
                  <a:pt x="1375743" y="1163399"/>
                  <a:pt x="1377564" y="1170688"/>
                </a:cubicBezTo>
                <a:cubicBezTo>
                  <a:pt x="1381208" y="1168866"/>
                  <a:pt x="1377564" y="1163399"/>
                  <a:pt x="1381208" y="1163399"/>
                </a:cubicBezTo>
                <a:cubicBezTo>
                  <a:pt x="1381208" y="1163399"/>
                  <a:pt x="1379386" y="1168866"/>
                  <a:pt x="1381208" y="1168866"/>
                </a:cubicBezTo>
                <a:cubicBezTo>
                  <a:pt x="1384854" y="1167044"/>
                  <a:pt x="1384854" y="1161577"/>
                  <a:pt x="1386676" y="1161577"/>
                </a:cubicBezTo>
                <a:cubicBezTo>
                  <a:pt x="1384854" y="1165222"/>
                  <a:pt x="1386676" y="1167044"/>
                  <a:pt x="1384854" y="1168866"/>
                </a:cubicBezTo>
                <a:lnTo>
                  <a:pt x="1379893" y="1174032"/>
                </a:lnTo>
                <a:lnTo>
                  <a:pt x="1379386" y="1172510"/>
                </a:lnTo>
                <a:cubicBezTo>
                  <a:pt x="1373920" y="1176155"/>
                  <a:pt x="1373920" y="1176155"/>
                  <a:pt x="1372097" y="1181621"/>
                </a:cubicBezTo>
                <a:lnTo>
                  <a:pt x="1379386" y="1178705"/>
                </a:lnTo>
                <a:lnTo>
                  <a:pt x="1379386" y="1181621"/>
                </a:lnTo>
                <a:lnTo>
                  <a:pt x="1386365" y="1179682"/>
                </a:lnTo>
                <a:lnTo>
                  <a:pt x="1379386" y="1185266"/>
                </a:lnTo>
                <a:lnTo>
                  <a:pt x="1379386" y="1187088"/>
                </a:lnTo>
                <a:lnTo>
                  <a:pt x="1377564" y="1188910"/>
                </a:lnTo>
                <a:cubicBezTo>
                  <a:pt x="1377564" y="1190732"/>
                  <a:pt x="1379386" y="1190732"/>
                  <a:pt x="1379386" y="1190732"/>
                </a:cubicBezTo>
                <a:cubicBezTo>
                  <a:pt x="1373920" y="1192554"/>
                  <a:pt x="1375743" y="1196199"/>
                  <a:pt x="1373920" y="1199843"/>
                </a:cubicBezTo>
                <a:cubicBezTo>
                  <a:pt x="1366632" y="1196199"/>
                  <a:pt x="1359342" y="1208954"/>
                  <a:pt x="1359342" y="1214420"/>
                </a:cubicBezTo>
                <a:cubicBezTo>
                  <a:pt x="1366632" y="1212598"/>
                  <a:pt x="1368453" y="1205309"/>
                  <a:pt x="1373920" y="1199843"/>
                </a:cubicBezTo>
                <a:cubicBezTo>
                  <a:pt x="1375743" y="1201665"/>
                  <a:pt x="1386676" y="1194376"/>
                  <a:pt x="1384854" y="1190732"/>
                </a:cubicBezTo>
                <a:cubicBezTo>
                  <a:pt x="1383030" y="1188910"/>
                  <a:pt x="1381208" y="1190732"/>
                  <a:pt x="1379386" y="1190732"/>
                </a:cubicBezTo>
                <a:cubicBezTo>
                  <a:pt x="1379386" y="1187088"/>
                  <a:pt x="1383030" y="1187088"/>
                  <a:pt x="1384854" y="1187088"/>
                </a:cubicBezTo>
                <a:cubicBezTo>
                  <a:pt x="1386676" y="1187088"/>
                  <a:pt x="1384854" y="1190732"/>
                  <a:pt x="1386676" y="1188910"/>
                </a:cubicBezTo>
                <a:cubicBezTo>
                  <a:pt x="1388497" y="1185266"/>
                  <a:pt x="1393963" y="1179799"/>
                  <a:pt x="1401252" y="1174332"/>
                </a:cubicBezTo>
                <a:lnTo>
                  <a:pt x="1406507" y="1170741"/>
                </a:lnTo>
                <a:lnTo>
                  <a:pt x="1414918" y="1164994"/>
                </a:lnTo>
                <a:cubicBezTo>
                  <a:pt x="1419474" y="1159755"/>
                  <a:pt x="1423118" y="1153377"/>
                  <a:pt x="1423118" y="1148822"/>
                </a:cubicBezTo>
                <a:cubicBezTo>
                  <a:pt x="1428585" y="1147000"/>
                  <a:pt x="1423118" y="1134245"/>
                  <a:pt x="1421296" y="1130600"/>
                </a:cubicBezTo>
                <a:cubicBezTo>
                  <a:pt x="1424940" y="1136067"/>
                  <a:pt x="1426763" y="1134245"/>
                  <a:pt x="1428585" y="1136067"/>
                </a:cubicBezTo>
                <a:cubicBezTo>
                  <a:pt x="1430407" y="1134245"/>
                  <a:pt x="1432229" y="1130600"/>
                  <a:pt x="1432229" y="1132422"/>
                </a:cubicBezTo>
                <a:cubicBezTo>
                  <a:pt x="1426763" y="1139711"/>
                  <a:pt x="1423118" y="1145178"/>
                  <a:pt x="1426763" y="1152466"/>
                </a:cubicBezTo>
                <a:cubicBezTo>
                  <a:pt x="1428585" y="1152466"/>
                  <a:pt x="1434051" y="1148822"/>
                  <a:pt x="1432229" y="1152466"/>
                </a:cubicBezTo>
                <a:cubicBezTo>
                  <a:pt x="1421296" y="1154288"/>
                  <a:pt x="1419474" y="1165222"/>
                  <a:pt x="1408541" y="1172510"/>
                </a:cubicBezTo>
                <a:cubicBezTo>
                  <a:pt x="1406719" y="1174332"/>
                  <a:pt x="1410363" y="1174332"/>
                  <a:pt x="1408541" y="1176155"/>
                </a:cubicBezTo>
                <a:cubicBezTo>
                  <a:pt x="1406719" y="1174332"/>
                  <a:pt x="1404896" y="1176155"/>
                  <a:pt x="1403074" y="1177977"/>
                </a:cubicBezTo>
                <a:cubicBezTo>
                  <a:pt x="1403074" y="1177977"/>
                  <a:pt x="1406719" y="1177977"/>
                  <a:pt x="1404896" y="1179799"/>
                </a:cubicBezTo>
                <a:cubicBezTo>
                  <a:pt x="1401252" y="1179799"/>
                  <a:pt x="1392141" y="1188910"/>
                  <a:pt x="1388497" y="1192554"/>
                </a:cubicBezTo>
                <a:lnTo>
                  <a:pt x="1397089" y="1188071"/>
                </a:lnTo>
                <a:lnTo>
                  <a:pt x="1381208" y="1198021"/>
                </a:lnTo>
                <a:lnTo>
                  <a:pt x="1381208" y="1199843"/>
                </a:lnTo>
                <a:cubicBezTo>
                  <a:pt x="1377564" y="1198021"/>
                  <a:pt x="1375743" y="1205309"/>
                  <a:pt x="1372097" y="1207132"/>
                </a:cubicBezTo>
                <a:cubicBezTo>
                  <a:pt x="1375743" y="1207132"/>
                  <a:pt x="1381208" y="1203487"/>
                  <a:pt x="1381208" y="1199843"/>
                </a:cubicBezTo>
                <a:lnTo>
                  <a:pt x="1381208" y="1203487"/>
                </a:lnTo>
                <a:cubicBezTo>
                  <a:pt x="1390319" y="1201665"/>
                  <a:pt x="1401252" y="1198021"/>
                  <a:pt x="1412185" y="1196199"/>
                </a:cubicBezTo>
                <a:cubicBezTo>
                  <a:pt x="1414007" y="1194376"/>
                  <a:pt x="1414007" y="1188910"/>
                  <a:pt x="1415829" y="1188910"/>
                </a:cubicBezTo>
                <a:cubicBezTo>
                  <a:pt x="1415829" y="1190732"/>
                  <a:pt x="1415829" y="1192554"/>
                  <a:pt x="1417652" y="1194376"/>
                </a:cubicBezTo>
                <a:cubicBezTo>
                  <a:pt x="1424940" y="1192554"/>
                  <a:pt x="1432229" y="1188910"/>
                  <a:pt x="1424940" y="1179799"/>
                </a:cubicBezTo>
                <a:cubicBezTo>
                  <a:pt x="1428585" y="1179799"/>
                  <a:pt x="1428585" y="1183443"/>
                  <a:pt x="1430407" y="1185266"/>
                </a:cubicBezTo>
                <a:cubicBezTo>
                  <a:pt x="1432229" y="1183443"/>
                  <a:pt x="1430407" y="1179799"/>
                  <a:pt x="1434051" y="1179799"/>
                </a:cubicBezTo>
                <a:cubicBezTo>
                  <a:pt x="1432229" y="1185266"/>
                  <a:pt x="1430407" y="1187088"/>
                  <a:pt x="1430407" y="1190732"/>
                </a:cubicBezTo>
                <a:lnTo>
                  <a:pt x="1450761" y="1181827"/>
                </a:lnTo>
                <a:lnTo>
                  <a:pt x="1452501" y="1182988"/>
                </a:lnTo>
                <a:cubicBezTo>
                  <a:pt x="1453639" y="1182532"/>
                  <a:pt x="1455006" y="1181621"/>
                  <a:pt x="1455917" y="1181621"/>
                </a:cubicBezTo>
                <a:cubicBezTo>
                  <a:pt x="1456828" y="1179799"/>
                  <a:pt x="1455917" y="1180254"/>
                  <a:pt x="1454550" y="1180938"/>
                </a:cubicBezTo>
                <a:lnTo>
                  <a:pt x="1451714" y="1181410"/>
                </a:lnTo>
                <a:lnTo>
                  <a:pt x="1458158" y="1178591"/>
                </a:lnTo>
                <a:lnTo>
                  <a:pt x="1457933" y="1185112"/>
                </a:lnTo>
                <a:lnTo>
                  <a:pt x="1457739" y="1190732"/>
                </a:lnTo>
                <a:cubicBezTo>
                  <a:pt x="1459562" y="1190732"/>
                  <a:pt x="1461384" y="1187088"/>
                  <a:pt x="1461384" y="1188910"/>
                </a:cubicBezTo>
                <a:cubicBezTo>
                  <a:pt x="1461384" y="1190732"/>
                  <a:pt x="1455917" y="1192554"/>
                  <a:pt x="1457739" y="1194376"/>
                </a:cubicBezTo>
                <a:cubicBezTo>
                  <a:pt x="1468673" y="1190732"/>
                  <a:pt x="1481428" y="1177977"/>
                  <a:pt x="1492361" y="1176155"/>
                </a:cubicBezTo>
                <a:lnTo>
                  <a:pt x="1490734" y="1179409"/>
                </a:lnTo>
                <a:lnTo>
                  <a:pt x="1477784" y="1183443"/>
                </a:lnTo>
                <a:cubicBezTo>
                  <a:pt x="1475961" y="1185266"/>
                  <a:pt x="1481428" y="1188910"/>
                  <a:pt x="1477784" y="1188910"/>
                </a:cubicBezTo>
                <a:cubicBezTo>
                  <a:pt x="1475961" y="1187088"/>
                  <a:pt x="1472317" y="1192554"/>
                  <a:pt x="1472317" y="1196199"/>
                </a:cubicBezTo>
                <a:cubicBezTo>
                  <a:pt x="1475961" y="1194376"/>
                  <a:pt x="1472317" y="1190732"/>
                  <a:pt x="1475961" y="1192554"/>
                </a:cubicBezTo>
                <a:cubicBezTo>
                  <a:pt x="1475961" y="1192554"/>
                  <a:pt x="1474139" y="1194376"/>
                  <a:pt x="1475961" y="1194376"/>
                </a:cubicBezTo>
                <a:cubicBezTo>
                  <a:pt x="1468673" y="1203487"/>
                  <a:pt x="1457739" y="1198021"/>
                  <a:pt x="1452273" y="1208954"/>
                </a:cubicBezTo>
                <a:cubicBezTo>
                  <a:pt x="1450451" y="1207132"/>
                  <a:pt x="1452273" y="1207132"/>
                  <a:pt x="1450451" y="1205309"/>
                </a:cubicBezTo>
                <a:cubicBezTo>
                  <a:pt x="1437696" y="1210776"/>
                  <a:pt x="1423118" y="1207132"/>
                  <a:pt x="1412185" y="1218065"/>
                </a:cubicBezTo>
                <a:lnTo>
                  <a:pt x="1412185" y="1220201"/>
                </a:lnTo>
                <a:lnTo>
                  <a:pt x="1407402" y="1221026"/>
                </a:lnTo>
                <a:cubicBezTo>
                  <a:pt x="1404896" y="1222164"/>
                  <a:pt x="1402163" y="1223531"/>
                  <a:pt x="1399430" y="1223531"/>
                </a:cubicBezTo>
                <a:cubicBezTo>
                  <a:pt x="1399430" y="1223531"/>
                  <a:pt x="1399430" y="1225353"/>
                  <a:pt x="1399430" y="1225353"/>
                </a:cubicBezTo>
                <a:lnTo>
                  <a:pt x="1412185" y="1220570"/>
                </a:lnTo>
                <a:lnTo>
                  <a:pt x="1412185" y="1225353"/>
                </a:lnTo>
                <a:cubicBezTo>
                  <a:pt x="1406719" y="1228998"/>
                  <a:pt x="1395787" y="1227175"/>
                  <a:pt x="1393963" y="1234464"/>
                </a:cubicBezTo>
                <a:cubicBezTo>
                  <a:pt x="1392141" y="1236286"/>
                  <a:pt x="1390319" y="1230820"/>
                  <a:pt x="1388497" y="1234464"/>
                </a:cubicBezTo>
                <a:cubicBezTo>
                  <a:pt x="1388497" y="1234464"/>
                  <a:pt x="1388497" y="1236286"/>
                  <a:pt x="1390319" y="1238108"/>
                </a:cubicBezTo>
                <a:cubicBezTo>
                  <a:pt x="1392141" y="1238108"/>
                  <a:pt x="1390319" y="1234464"/>
                  <a:pt x="1392141" y="1236286"/>
                </a:cubicBezTo>
                <a:cubicBezTo>
                  <a:pt x="1390319" y="1238108"/>
                  <a:pt x="1390319" y="1238108"/>
                  <a:pt x="1392141" y="1239931"/>
                </a:cubicBezTo>
                <a:cubicBezTo>
                  <a:pt x="1397608" y="1241753"/>
                  <a:pt x="1401252" y="1241753"/>
                  <a:pt x="1406719" y="1236286"/>
                </a:cubicBezTo>
                <a:cubicBezTo>
                  <a:pt x="1406719" y="1238108"/>
                  <a:pt x="1408541" y="1238108"/>
                  <a:pt x="1410363" y="1238108"/>
                </a:cubicBezTo>
                <a:cubicBezTo>
                  <a:pt x="1412185" y="1235375"/>
                  <a:pt x="1415374" y="1233097"/>
                  <a:pt x="1417879" y="1230820"/>
                </a:cubicBezTo>
                <a:lnTo>
                  <a:pt x="1419579" y="1227192"/>
                </a:lnTo>
                <a:lnTo>
                  <a:pt x="1423422" y="1227833"/>
                </a:lnTo>
                <a:lnTo>
                  <a:pt x="1406719" y="1241753"/>
                </a:lnTo>
                <a:cubicBezTo>
                  <a:pt x="1415829" y="1247219"/>
                  <a:pt x="1430407" y="1236286"/>
                  <a:pt x="1437696" y="1230820"/>
                </a:cubicBezTo>
                <a:cubicBezTo>
                  <a:pt x="1439518" y="1228998"/>
                  <a:pt x="1439518" y="1223531"/>
                  <a:pt x="1441340" y="1225353"/>
                </a:cubicBezTo>
                <a:cubicBezTo>
                  <a:pt x="1443162" y="1228998"/>
                  <a:pt x="1437696" y="1230820"/>
                  <a:pt x="1439518" y="1232642"/>
                </a:cubicBezTo>
                <a:cubicBezTo>
                  <a:pt x="1443162" y="1230820"/>
                  <a:pt x="1443162" y="1225353"/>
                  <a:pt x="1446806" y="1227175"/>
                </a:cubicBezTo>
                <a:lnTo>
                  <a:pt x="1446806" y="1230820"/>
                </a:lnTo>
                <a:cubicBezTo>
                  <a:pt x="1444984" y="1230820"/>
                  <a:pt x="1446806" y="1227175"/>
                  <a:pt x="1444984" y="1228998"/>
                </a:cubicBezTo>
                <a:cubicBezTo>
                  <a:pt x="1443162" y="1228998"/>
                  <a:pt x="1444984" y="1230820"/>
                  <a:pt x="1443162" y="1232642"/>
                </a:cubicBezTo>
                <a:cubicBezTo>
                  <a:pt x="1441340" y="1230820"/>
                  <a:pt x="1439518" y="1232642"/>
                  <a:pt x="1435873" y="1234464"/>
                </a:cubicBezTo>
                <a:cubicBezTo>
                  <a:pt x="1435873" y="1236286"/>
                  <a:pt x="1434051" y="1238108"/>
                  <a:pt x="1435873" y="1241753"/>
                </a:cubicBezTo>
                <a:cubicBezTo>
                  <a:pt x="1439518" y="1241753"/>
                  <a:pt x="1444984" y="1238108"/>
                  <a:pt x="1446806" y="1236286"/>
                </a:cubicBezTo>
                <a:cubicBezTo>
                  <a:pt x="1443162" y="1239931"/>
                  <a:pt x="1446806" y="1241753"/>
                  <a:pt x="1446806" y="1241753"/>
                </a:cubicBezTo>
                <a:cubicBezTo>
                  <a:pt x="1437696" y="1243575"/>
                  <a:pt x="1426763" y="1247219"/>
                  <a:pt x="1417652" y="1247219"/>
                </a:cubicBezTo>
                <a:cubicBezTo>
                  <a:pt x="1415829" y="1247219"/>
                  <a:pt x="1419474" y="1249042"/>
                  <a:pt x="1417652" y="1250864"/>
                </a:cubicBezTo>
                <a:cubicBezTo>
                  <a:pt x="1415829" y="1250864"/>
                  <a:pt x="1412185" y="1245397"/>
                  <a:pt x="1415829" y="1247219"/>
                </a:cubicBezTo>
                <a:cubicBezTo>
                  <a:pt x="1417652" y="1247219"/>
                  <a:pt x="1412185" y="1243575"/>
                  <a:pt x="1410363" y="1247219"/>
                </a:cubicBezTo>
                <a:cubicBezTo>
                  <a:pt x="1412185" y="1245397"/>
                  <a:pt x="1408541" y="1247219"/>
                  <a:pt x="1408541" y="1245397"/>
                </a:cubicBezTo>
                <a:cubicBezTo>
                  <a:pt x="1395787" y="1247219"/>
                  <a:pt x="1383030" y="1243575"/>
                  <a:pt x="1370275" y="1245397"/>
                </a:cubicBezTo>
                <a:cubicBezTo>
                  <a:pt x="1372097" y="1249042"/>
                  <a:pt x="1373920" y="1249042"/>
                  <a:pt x="1375743" y="1250864"/>
                </a:cubicBezTo>
                <a:cubicBezTo>
                  <a:pt x="1375743" y="1250864"/>
                  <a:pt x="1373920" y="1254508"/>
                  <a:pt x="1372097" y="1252686"/>
                </a:cubicBezTo>
                <a:cubicBezTo>
                  <a:pt x="1373920" y="1250864"/>
                  <a:pt x="1373920" y="1250864"/>
                  <a:pt x="1372097" y="1249042"/>
                </a:cubicBezTo>
                <a:cubicBezTo>
                  <a:pt x="1368453" y="1249042"/>
                  <a:pt x="1362987" y="1249042"/>
                  <a:pt x="1361164" y="1254508"/>
                </a:cubicBezTo>
                <a:cubicBezTo>
                  <a:pt x="1364809" y="1256330"/>
                  <a:pt x="1366632" y="1254508"/>
                  <a:pt x="1370275" y="1254508"/>
                </a:cubicBezTo>
                <a:cubicBezTo>
                  <a:pt x="1362987" y="1259975"/>
                  <a:pt x="1350231" y="1252686"/>
                  <a:pt x="1344765" y="1258152"/>
                </a:cubicBezTo>
                <a:cubicBezTo>
                  <a:pt x="1346587" y="1256330"/>
                  <a:pt x="1344765" y="1254508"/>
                  <a:pt x="1342942" y="1252686"/>
                </a:cubicBezTo>
                <a:lnTo>
                  <a:pt x="1328034" y="1260140"/>
                </a:lnTo>
                <a:lnTo>
                  <a:pt x="1326543" y="1252686"/>
                </a:lnTo>
                <a:cubicBezTo>
                  <a:pt x="1324721" y="1252686"/>
                  <a:pt x="1324721" y="1258152"/>
                  <a:pt x="1321077" y="1259975"/>
                </a:cubicBezTo>
                <a:cubicBezTo>
                  <a:pt x="1321077" y="1261797"/>
                  <a:pt x="1322899" y="1261797"/>
                  <a:pt x="1324721" y="1261797"/>
                </a:cubicBezTo>
                <a:lnTo>
                  <a:pt x="1325326" y="1270475"/>
                </a:lnTo>
                <a:lnTo>
                  <a:pt x="1320165" y="1276374"/>
                </a:lnTo>
                <a:cubicBezTo>
                  <a:pt x="1318343" y="1278652"/>
                  <a:pt x="1317432" y="1280929"/>
                  <a:pt x="1319254" y="1283663"/>
                </a:cubicBezTo>
                <a:cubicBezTo>
                  <a:pt x="1321077" y="1282752"/>
                  <a:pt x="1323354" y="1281385"/>
                  <a:pt x="1324948" y="1279107"/>
                </a:cubicBezTo>
                <a:lnTo>
                  <a:pt x="1325148" y="1277854"/>
                </a:lnTo>
                <a:lnTo>
                  <a:pt x="1327769" y="1275758"/>
                </a:lnTo>
                <a:lnTo>
                  <a:pt x="1329708" y="1279174"/>
                </a:lnTo>
                <a:lnTo>
                  <a:pt x="1324721" y="1283663"/>
                </a:lnTo>
                <a:cubicBezTo>
                  <a:pt x="1328365" y="1285485"/>
                  <a:pt x="1332009" y="1283663"/>
                  <a:pt x="1332009" y="1280018"/>
                </a:cubicBezTo>
                <a:lnTo>
                  <a:pt x="1332579" y="1281158"/>
                </a:lnTo>
                <a:lnTo>
                  <a:pt x="1333089" y="1283663"/>
                </a:lnTo>
                <a:lnTo>
                  <a:pt x="1333832" y="1287307"/>
                </a:lnTo>
                <a:lnTo>
                  <a:pt x="1332009" y="1287307"/>
                </a:lnTo>
                <a:cubicBezTo>
                  <a:pt x="1330188" y="1290951"/>
                  <a:pt x="1333832" y="1292774"/>
                  <a:pt x="1330188" y="1294596"/>
                </a:cubicBezTo>
                <a:cubicBezTo>
                  <a:pt x="1332009" y="1296418"/>
                  <a:pt x="1332009" y="1294596"/>
                  <a:pt x="1333832" y="1294596"/>
                </a:cubicBezTo>
                <a:cubicBezTo>
                  <a:pt x="1335654" y="1290951"/>
                  <a:pt x="1335654" y="1287307"/>
                  <a:pt x="1337476" y="1283663"/>
                </a:cubicBezTo>
                <a:cubicBezTo>
                  <a:pt x="1335654" y="1287307"/>
                  <a:pt x="1337476" y="1290951"/>
                  <a:pt x="1335654" y="1294596"/>
                </a:cubicBezTo>
                <a:lnTo>
                  <a:pt x="1339546" y="1294596"/>
                </a:lnTo>
                <a:lnTo>
                  <a:pt x="1337476" y="1298240"/>
                </a:lnTo>
                <a:cubicBezTo>
                  <a:pt x="1339299" y="1301885"/>
                  <a:pt x="1339299" y="1309173"/>
                  <a:pt x="1341120" y="1310995"/>
                </a:cubicBezTo>
                <a:cubicBezTo>
                  <a:pt x="1346587" y="1307351"/>
                  <a:pt x="1341120" y="1301885"/>
                  <a:pt x="1341120" y="1300062"/>
                </a:cubicBezTo>
                <a:cubicBezTo>
                  <a:pt x="1342942" y="1300062"/>
                  <a:pt x="1342942" y="1303707"/>
                  <a:pt x="1344765" y="1301885"/>
                </a:cubicBezTo>
                <a:lnTo>
                  <a:pt x="1345044" y="1299697"/>
                </a:lnTo>
                <a:lnTo>
                  <a:pt x="1346587" y="1309173"/>
                </a:lnTo>
                <a:cubicBezTo>
                  <a:pt x="1346587" y="1310995"/>
                  <a:pt x="1342942" y="1310995"/>
                  <a:pt x="1342942" y="1312818"/>
                </a:cubicBezTo>
                <a:cubicBezTo>
                  <a:pt x="1348410" y="1314640"/>
                  <a:pt x="1346587" y="1303707"/>
                  <a:pt x="1350231" y="1307351"/>
                </a:cubicBezTo>
                <a:cubicBezTo>
                  <a:pt x="1352053" y="1305529"/>
                  <a:pt x="1346587" y="1301885"/>
                  <a:pt x="1348410" y="1300062"/>
                </a:cubicBezTo>
                <a:cubicBezTo>
                  <a:pt x="1350231" y="1300062"/>
                  <a:pt x="1350231" y="1303707"/>
                  <a:pt x="1352053" y="1303707"/>
                </a:cubicBezTo>
                <a:cubicBezTo>
                  <a:pt x="1353876" y="1300062"/>
                  <a:pt x="1355698" y="1296418"/>
                  <a:pt x="1353876" y="1292774"/>
                </a:cubicBezTo>
                <a:cubicBezTo>
                  <a:pt x="1355698" y="1294596"/>
                  <a:pt x="1357521" y="1290951"/>
                  <a:pt x="1359342" y="1292774"/>
                </a:cubicBezTo>
                <a:cubicBezTo>
                  <a:pt x="1355698" y="1296418"/>
                  <a:pt x="1361164" y="1301885"/>
                  <a:pt x="1357521" y="1305529"/>
                </a:cubicBezTo>
                <a:cubicBezTo>
                  <a:pt x="1357521" y="1303707"/>
                  <a:pt x="1357521" y="1303707"/>
                  <a:pt x="1355698" y="1303707"/>
                </a:cubicBezTo>
                <a:lnTo>
                  <a:pt x="1355881" y="1307364"/>
                </a:lnTo>
                <a:lnTo>
                  <a:pt x="1355698" y="1307351"/>
                </a:lnTo>
                <a:lnTo>
                  <a:pt x="1355885" y="1307444"/>
                </a:lnTo>
                <a:lnTo>
                  <a:pt x="1355926" y="1308262"/>
                </a:lnTo>
                <a:cubicBezTo>
                  <a:pt x="1356609" y="1309629"/>
                  <a:pt x="1357521" y="1310995"/>
                  <a:pt x="1357521" y="1312818"/>
                </a:cubicBezTo>
                <a:cubicBezTo>
                  <a:pt x="1372097" y="1312818"/>
                  <a:pt x="1377564" y="1296418"/>
                  <a:pt x="1375743" y="1285485"/>
                </a:cubicBezTo>
                <a:cubicBezTo>
                  <a:pt x="1377564" y="1283663"/>
                  <a:pt x="1375743" y="1280018"/>
                  <a:pt x="1377564" y="1280018"/>
                </a:cubicBezTo>
                <a:cubicBezTo>
                  <a:pt x="1381208" y="1290951"/>
                  <a:pt x="1373920" y="1300062"/>
                  <a:pt x="1372097" y="1309173"/>
                </a:cubicBezTo>
                <a:cubicBezTo>
                  <a:pt x="1379386" y="1309173"/>
                  <a:pt x="1379386" y="1301885"/>
                  <a:pt x="1381208" y="1298240"/>
                </a:cubicBezTo>
                <a:cubicBezTo>
                  <a:pt x="1384854" y="1301885"/>
                  <a:pt x="1377564" y="1303707"/>
                  <a:pt x="1379386" y="1307351"/>
                </a:cubicBezTo>
                <a:cubicBezTo>
                  <a:pt x="1390319" y="1301885"/>
                  <a:pt x="1386676" y="1292774"/>
                  <a:pt x="1379386" y="1290951"/>
                </a:cubicBezTo>
                <a:cubicBezTo>
                  <a:pt x="1383030" y="1289129"/>
                  <a:pt x="1381208" y="1285485"/>
                  <a:pt x="1383030" y="1285485"/>
                </a:cubicBezTo>
                <a:cubicBezTo>
                  <a:pt x="1379386" y="1287307"/>
                  <a:pt x="1384854" y="1294596"/>
                  <a:pt x="1388497" y="1296418"/>
                </a:cubicBezTo>
                <a:cubicBezTo>
                  <a:pt x="1390319" y="1290951"/>
                  <a:pt x="1384854" y="1281841"/>
                  <a:pt x="1388497" y="1280018"/>
                </a:cubicBezTo>
                <a:cubicBezTo>
                  <a:pt x="1388497" y="1285485"/>
                  <a:pt x="1388497" y="1292774"/>
                  <a:pt x="1390319" y="1296418"/>
                </a:cubicBezTo>
                <a:cubicBezTo>
                  <a:pt x="1406719" y="1283663"/>
                  <a:pt x="1403074" y="1267263"/>
                  <a:pt x="1408541" y="1256330"/>
                </a:cubicBezTo>
                <a:cubicBezTo>
                  <a:pt x="1404896" y="1265441"/>
                  <a:pt x="1408541" y="1276374"/>
                  <a:pt x="1404896" y="1285485"/>
                </a:cubicBezTo>
                <a:lnTo>
                  <a:pt x="1406116" y="1283830"/>
                </a:lnTo>
                <a:lnTo>
                  <a:pt x="1395787" y="1300062"/>
                </a:lnTo>
                <a:cubicBezTo>
                  <a:pt x="1401252" y="1300062"/>
                  <a:pt x="1401252" y="1294596"/>
                  <a:pt x="1404896" y="1296418"/>
                </a:cubicBezTo>
                <a:cubicBezTo>
                  <a:pt x="1399430" y="1301885"/>
                  <a:pt x="1392141" y="1298240"/>
                  <a:pt x="1388497" y="1305529"/>
                </a:cubicBezTo>
                <a:cubicBezTo>
                  <a:pt x="1390319" y="1307351"/>
                  <a:pt x="1390319" y="1307351"/>
                  <a:pt x="1390319" y="1307351"/>
                </a:cubicBezTo>
                <a:cubicBezTo>
                  <a:pt x="1384854" y="1309173"/>
                  <a:pt x="1379386" y="1309173"/>
                  <a:pt x="1375743" y="1314640"/>
                </a:cubicBezTo>
                <a:cubicBezTo>
                  <a:pt x="1377564" y="1316462"/>
                  <a:pt x="1384854" y="1312818"/>
                  <a:pt x="1384854" y="1316462"/>
                </a:cubicBezTo>
                <a:cubicBezTo>
                  <a:pt x="1381208" y="1316462"/>
                  <a:pt x="1377564" y="1314640"/>
                  <a:pt x="1373920" y="1314640"/>
                </a:cubicBezTo>
                <a:cubicBezTo>
                  <a:pt x="1372097" y="1318284"/>
                  <a:pt x="1370275" y="1316462"/>
                  <a:pt x="1370275" y="1314640"/>
                </a:cubicBezTo>
                <a:cubicBezTo>
                  <a:pt x="1370275" y="1312818"/>
                  <a:pt x="1366632" y="1314640"/>
                  <a:pt x="1366632" y="1316462"/>
                </a:cubicBezTo>
                <a:cubicBezTo>
                  <a:pt x="1372097" y="1316462"/>
                  <a:pt x="1373920" y="1318284"/>
                  <a:pt x="1377564" y="1318284"/>
                </a:cubicBezTo>
                <a:cubicBezTo>
                  <a:pt x="1373920" y="1321929"/>
                  <a:pt x="1372097" y="1316462"/>
                  <a:pt x="1368453" y="1318284"/>
                </a:cubicBezTo>
                <a:cubicBezTo>
                  <a:pt x="1370275" y="1321929"/>
                  <a:pt x="1368453" y="1320106"/>
                  <a:pt x="1366632" y="1320106"/>
                </a:cubicBezTo>
                <a:cubicBezTo>
                  <a:pt x="1366632" y="1320106"/>
                  <a:pt x="1368453" y="1321929"/>
                  <a:pt x="1368453" y="1321929"/>
                </a:cubicBezTo>
                <a:cubicBezTo>
                  <a:pt x="1364809" y="1321929"/>
                  <a:pt x="1362987" y="1323751"/>
                  <a:pt x="1359342" y="1323751"/>
                </a:cubicBezTo>
                <a:cubicBezTo>
                  <a:pt x="1355698" y="1321929"/>
                  <a:pt x="1357521" y="1321929"/>
                  <a:pt x="1355698" y="1318284"/>
                </a:cubicBezTo>
                <a:cubicBezTo>
                  <a:pt x="1353876" y="1318284"/>
                  <a:pt x="1352053" y="1318284"/>
                  <a:pt x="1350231" y="1321929"/>
                </a:cubicBezTo>
                <a:cubicBezTo>
                  <a:pt x="1346587" y="1320106"/>
                  <a:pt x="1333832" y="1321929"/>
                  <a:pt x="1335654" y="1316462"/>
                </a:cubicBezTo>
                <a:cubicBezTo>
                  <a:pt x="1333832" y="1318284"/>
                  <a:pt x="1333832" y="1318284"/>
                  <a:pt x="1332009" y="1320106"/>
                </a:cubicBezTo>
                <a:cubicBezTo>
                  <a:pt x="1330188" y="1314640"/>
                  <a:pt x="1328365" y="1320106"/>
                  <a:pt x="1328365" y="1320106"/>
                </a:cubicBezTo>
                <a:cubicBezTo>
                  <a:pt x="1326543" y="1320106"/>
                  <a:pt x="1324721" y="1316462"/>
                  <a:pt x="1321077" y="1318284"/>
                </a:cubicBezTo>
                <a:cubicBezTo>
                  <a:pt x="1308321" y="1307351"/>
                  <a:pt x="1295566" y="1296418"/>
                  <a:pt x="1280989" y="1309173"/>
                </a:cubicBezTo>
                <a:cubicBezTo>
                  <a:pt x="1280989" y="1307351"/>
                  <a:pt x="1280989" y="1307351"/>
                  <a:pt x="1280989" y="1305529"/>
                </a:cubicBezTo>
                <a:cubicBezTo>
                  <a:pt x="1279166" y="1309173"/>
                  <a:pt x="1277344" y="1303707"/>
                  <a:pt x="1275522" y="1305529"/>
                </a:cubicBezTo>
                <a:cubicBezTo>
                  <a:pt x="1270056" y="1309173"/>
                  <a:pt x="1262767" y="1307351"/>
                  <a:pt x="1255478" y="1309173"/>
                </a:cubicBezTo>
                <a:cubicBezTo>
                  <a:pt x="1255478" y="1312818"/>
                  <a:pt x="1251834" y="1318284"/>
                  <a:pt x="1255478" y="1323751"/>
                </a:cubicBezTo>
                <a:cubicBezTo>
                  <a:pt x="1251834" y="1327395"/>
                  <a:pt x="1253656" y="1336506"/>
                  <a:pt x="1255478" y="1343795"/>
                </a:cubicBezTo>
                <a:lnTo>
                  <a:pt x="1255953" y="1341576"/>
                </a:lnTo>
                <a:lnTo>
                  <a:pt x="1256846" y="1344250"/>
                </a:lnTo>
                <a:lnTo>
                  <a:pt x="1257606" y="1344504"/>
                </a:lnTo>
                <a:lnTo>
                  <a:pt x="1257300" y="1347439"/>
                </a:lnTo>
                <a:cubicBezTo>
                  <a:pt x="1260945" y="1349261"/>
                  <a:pt x="1260945" y="1343795"/>
                  <a:pt x="1264589" y="1347439"/>
                </a:cubicBezTo>
                <a:cubicBezTo>
                  <a:pt x="1264589" y="1351083"/>
                  <a:pt x="1260945" y="1347439"/>
                  <a:pt x="1260945" y="1351083"/>
                </a:cubicBezTo>
                <a:cubicBezTo>
                  <a:pt x="1264589" y="1354728"/>
                  <a:pt x="1264589" y="1352905"/>
                  <a:pt x="1266411" y="1356550"/>
                </a:cubicBezTo>
                <a:cubicBezTo>
                  <a:pt x="1262767" y="1360194"/>
                  <a:pt x="1257300" y="1354728"/>
                  <a:pt x="1253656" y="1354728"/>
                </a:cubicBezTo>
                <a:cubicBezTo>
                  <a:pt x="1255478" y="1358372"/>
                  <a:pt x="1259123" y="1356550"/>
                  <a:pt x="1259123" y="1360194"/>
                </a:cubicBezTo>
                <a:cubicBezTo>
                  <a:pt x="1257300" y="1360194"/>
                  <a:pt x="1255478" y="1358372"/>
                  <a:pt x="1253656" y="1358372"/>
                </a:cubicBezTo>
                <a:cubicBezTo>
                  <a:pt x="1253656" y="1360194"/>
                  <a:pt x="1253656" y="1360194"/>
                  <a:pt x="1253656" y="1362016"/>
                </a:cubicBezTo>
                <a:cubicBezTo>
                  <a:pt x="1250012" y="1358372"/>
                  <a:pt x="1253656" y="1356550"/>
                  <a:pt x="1251834" y="1354728"/>
                </a:cubicBezTo>
                <a:cubicBezTo>
                  <a:pt x="1250012" y="1354728"/>
                  <a:pt x="1250012" y="1354728"/>
                  <a:pt x="1248189" y="1356550"/>
                </a:cubicBezTo>
                <a:cubicBezTo>
                  <a:pt x="1246367" y="1354728"/>
                  <a:pt x="1246367" y="1352905"/>
                  <a:pt x="1246367" y="1351083"/>
                </a:cubicBezTo>
                <a:cubicBezTo>
                  <a:pt x="1239080" y="1351083"/>
                  <a:pt x="1233612" y="1347439"/>
                  <a:pt x="1226323" y="1349261"/>
                </a:cubicBezTo>
                <a:cubicBezTo>
                  <a:pt x="1224501" y="1343795"/>
                  <a:pt x="1219036" y="1343795"/>
                  <a:pt x="1213568" y="1341972"/>
                </a:cubicBezTo>
                <a:cubicBezTo>
                  <a:pt x="1209925" y="1341972"/>
                  <a:pt x="1206279" y="1338328"/>
                  <a:pt x="1202636" y="1336506"/>
                </a:cubicBezTo>
                <a:cubicBezTo>
                  <a:pt x="1202636" y="1334684"/>
                  <a:pt x="1200814" y="1336506"/>
                  <a:pt x="1200814" y="1336506"/>
                </a:cubicBezTo>
                <a:cubicBezTo>
                  <a:pt x="1195346" y="1332862"/>
                  <a:pt x="1193525" y="1327395"/>
                  <a:pt x="1189880" y="1325573"/>
                </a:cubicBezTo>
                <a:cubicBezTo>
                  <a:pt x="1191703" y="1325573"/>
                  <a:pt x="1189880" y="1327395"/>
                  <a:pt x="1189880" y="1327395"/>
                </a:cubicBezTo>
                <a:cubicBezTo>
                  <a:pt x="1188058" y="1325573"/>
                  <a:pt x="1178947" y="1320106"/>
                  <a:pt x="1180769" y="1325573"/>
                </a:cubicBezTo>
                <a:cubicBezTo>
                  <a:pt x="1182592" y="1329217"/>
                  <a:pt x="1177125" y="1321929"/>
                  <a:pt x="1177125" y="1325573"/>
                </a:cubicBezTo>
                <a:cubicBezTo>
                  <a:pt x="1175303" y="1327395"/>
                  <a:pt x="1180769" y="1329217"/>
                  <a:pt x="1178947" y="1331039"/>
                </a:cubicBezTo>
                <a:cubicBezTo>
                  <a:pt x="1177125" y="1329217"/>
                  <a:pt x="1177125" y="1331039"/>
                  <a:pt x="1175303" y="1331039"/>
                </a:cubicBezTo>
                <a:cubicBezTo>
                  <a:pt x="1171658" y="1321929"/>
                  <a:pt x="1164370" y="1321929"/>
                  <a:pt x="1158903" y="1320106"/>
                </a:cubicBezTo>
                <a:cubicBezTo>
                  <a:pt x="1157081" y="1323751"/>
                  <a:pt x="1151614" y="1327395"/>
                  <a:pt x="1149792" y="1331039"/>
                </a:cubicBezTo>
                <a:cubicBezTo>
                  <a:pt x="1155259" y="1345617"/>
                  <a:pt x="1160725" y="1362016"/>
                  <a:pt x="1164370" y="1378416"/>
                </a:cubicBezTo>
                <a:cubicBezTo>
                  <a:pt x="1164370" y="1378416"/>
                  <a:pt x="1164370" y="1374771"/>
                  <a:pt x="1166192" y="1374771"/>
                </a:cubicBezTo>
                <a:cubicBezTo>
                  <a:pt x="1160725" y="1378416"/>
                  <a:pt x="1164370" y="1391171"/>
                  <a:pt x="1171658" y="1392993"/>
                </a:cubicBezTo>
                <a:lnTo>
                  <a:pt x="1176404" y="1403671"/>
                </a:lnTo>
                <a:lnTo>
                  <a:pt x="1168014" y="1392993"/>
                </a:lnTo>
                <a:cubicBezTo>
                  <a:pt x="1168014" y="1391171"/>
                  <a:pt x="1169836" y="1392993"/>
                  <a:pt x="1169836" y="1391171"/>
                </a:cubicBezTo>
                <a:cubicBezTo>
                  <a:pt x="1168014" y="1389349"/>
                  <a:pt x="1166192" y="1387527"/>
                  <a:pt x="1164370" y="1385705"/>
                </a:cubicBezTo>
                <a:cubicBezTo>
                  <a:pt x="1165281" y="1387527"/>
                  <a:pt x="1165281" y="1388894"/>
                  <a:pt x="1165054" y="1390716"/>
                </a:cubicBezTo>
                <a:lnTo>
                  <a:pt x="1164370" y="1398460"/>
                </a:lnTo>
                <a:lnTo>
                  <a:pt x="1162547" y="1400282"/>
                </a:lnTo>
                <a:lnTo>
                  <a:pt x="1171771" y="1414004"/>
                </a:lnTo>
                <a:lnTo>
                  <a:pt x="1169836" y="1413037"/>
                </a:lnTo>
                <a:lnTo>
                  <a:pt x="1170255" y="1419727"/>
                </a:lnTo>
                <a:lnTo>
                  <a:pt x="1166192" y="1411215"/>
                </a:lnTo>
                <a:cubicBezTo>
                  <a:pt x="1164370" y="1416681"/>
                  <a:pt x="1168014" y="1425792"/>
                  <a:pt x="1171658" y="1431259"/>
                </a:cubicBezTo>
                <a:lnTo>
                  <a:pt x="1171027" y="1422008"/>
                </a:lnTo>
                <a:lnTo>
                  <a:pt x="1173481" y="1427615"/>
                </a:lnTo>
                <a:cubicBezTo>
                  <a:pt x="1177125" y="1427615"/>
                  <a:pt x="1180769" y="1422148"/>
                  <a:pt x="1184414" y="1420326"/>
                </a:cubicBezTo>
                <a:lnTo>
                  <a:pt x="1172376" y="1414307"/>
                </a:lnTo>
                <a:lnTo>
                  <a:pt x="1188058" y="1418504"/>
                </a:lnTo>
                <a:lnTo>
                  <a:pt x="1187067" y="1417241"/>
                </a:lnTo>
                <a:lnTo>
                  <a:pt x="1189880" y="1420326"/>
                </a:lnTo>
                <a:cubicBezTo>
                  <a:pt x="1195346" y="1420326"/>
                  <a:pt x="1198991" y="1411215"/>
                  <a:pt x="1202636" y="1409393"/>
                </a:cubicBezTo>
                <a:cubicBezTo>
                  <a:pt x="1202636" y="1409393"/>
                  <a:pt x="1204457" y="1411215"/>
                  <a:pt x="1204457" y="1411215"/>
                </a:cubicBezTo>
                <a:cubicBezTo>
                  <a:pt x="1208102" y="1409393"/>
                  <a:pt x="1220858" y="1403926"/>
                  <a:pt x="1217213" y="1405748"/>
                </a:cubicBezTo>
                <a:cubicBezTo>
                  <a:pt x="1215390" y="1407571"/>
                  <a:pt x="1209925" y="1409393"/>
                  <a:pt x="1208102" y="1413037"/>
                </a:cubicBezTo>
                <a:cubicBezTo>
                  <a:pt x="1202636" y="1413037"/>
                  <a:pt x="1193525" y="1420326"/>
                  <a:pt x="1193525" y="1423970"/>
                </a:cubicBezTo>
                <a:cubicBezTo>
                  <a:pt x="1197169" y="1423970"/>
                  <a:pt x="1202636" y="1418504"/>
                  <a:pt x="1202636" y="1416681"/>
                </a:cubicBezTo>
                <a:cubicBezTo>
                  <a:pt x="1206279" y="1414859"/>
                  <a:pt x="1202636" y="1418504"/>
                  <a:pt x="1204457" y="1420326"/>
                </a:cubicBezTo>
                <a:cubicBezTo>
                  <a:pt x="1206279" y="1418504"/>
                  <a:pt x="1209925" y="1418504"/>
                  <a:pt x="1211747" y="1418504"/>
                </a:cubicBezTo>
                <a:cubicBezTo>
                  <a:pt x="1208102" y="1420326"/>
                  <a:pt x="1204457" y="1420326"/>
                  <a:pt x="1200814" y="1422148"/>
                </a:cubicBezTo>
                <a:cubicBezTo>
                  <a:pt x="1204457" y="1425792"/>
                  <a:pt x="1204457" y="1429437"/>
                  <a:pt x="1202636" y="1431259"/>
                </a:cubicBezTo>
                <a:cubicBezTo>
                  <a:pt x="1197169" y="1423970"/>
                  <a:pt x="1191703" y="1425792"/>
                  <a:pt x="1188058" y="1425792"/>
                </a:cubicBezTo>
                <a:cubicBezTo>
                  <a:pt x="1184414" y="1427615"/>
                  <a:pt x="1180769" y="1429437"/>
                  <a:pt x="1177125" y="1433081"/>
                </a:cubicBezTo>
                <a:cubicBezTo>
                  <a:pt x="1175303" y="1438548"/>
                  <a:pt x="1180769" y="1436725"/>
                  <a:pt x="1182592" y="1440370"/>
                </a:cubicBezTo>
                <a:cubicBezTo>
                  <a:pt x="1180769" y="1438548"/>
                  <a:pt x="1178947" y="1440370"/>
                  <a:pt x="1178947" y="1438548"/>
                </a:cubicBezTo>
                <a:cubicBezTo>
                  <a:pt x="1177125" y="1442192"/>
                  <a:pt x="1180769" y="1444014"/>
                  <a:pt x="1180769" y="1447658"/>
                </a:cubicBezTo>
                <a:cubicBezTo>
                  <a:pt x="1182592" y="1447658"/>
                  <a:pt x="1180769" y="1442192"/>
                  <a:pt x="1182592" y="1440370"/>
                </a:cubicBezTo>
                <a:cubicBezTo>
                  <a:pt x="1188058" y="1436725"/>
                  <a:pt x="1191703" y="1436725"/>
                  <a:pt x="1197169" y="1433081"/>
                </a:cubicBezTo>
                <a:cubicBezTo>
                  <a:pt x="1197169" y="1431259"/>
                  <a:pt x="1193525" y="1431259"/>
                  <a:pt x="1195346" y="1429437"/>
                </a:cubicBezTo>
                <a:cubicBezTo>
                  <a:pt x="1195346" y="1431259"/>
                  <a:pt x="1197169" y="1431259"/>
                  <a:pt x="1198991" y="1429437"/>
                </a:cubicBezTo>
                <a:cubicBezTo>
                  <a:pt x="1200814" y="1431259"/>
                  <a:pt x="1202636" y="1431259"/>
                  <a:pt x="1202636" y="1434903"/>
                </a:cubicBezTo>
                <a:cubicBezTo>
                  <a:pt x="1198991" y="1436725"/>
                  <a:pt x="1198991" y="1440370"/>
                  <a:pt x="1195346" y="1440370"/>
                </a:cubicBezTo>
                <a:cubicBezTo>
                  <a:pt x="1197169" y="1442192"/>
                  <a:pt x="1197169" y="1440370"/>
                  <a:pt x="1198991" y="1442192"/>
                </a:cubicBezTo>
                <a:cubicBezTo>
                  <a:pt x="1193525" y="1445836"/>
                  <a:pt x="1189880" y="1438548"/>
                  <a:pt x="1186236" y="1442192"/>
                </a:cubicBezTo>
                <a:cubicBezTo>
                  <a:pt x="1189880" y="1444014"/>
                  <a:pt x="1195346" y="1447658"/>
                  <a:pt x="1197169" y="1445836"/>
                </a:cubicBezTo>
                <a:cubicBezTo>
                  <a:pt x="1195346" y="1451303"/>
                  <a:pt x="1206279" y="1453125"/>
                  <a:pt x="1209925" y="1456769"/>
                </a:cubicBezTo>
                <a:cubicBezTo>
                  <a:pt x="1209925" y="1454947"/>
                  <a:pt x="1208102" y="1451303"/>
                  <a:pt x="1209925" y="1451303"/>
                </a:cubicBezTo>
                <a:cubicBezTo>
                  <a:pt x="1209925" y="1453125"/>
                  <a:pt x="1209925" y="1456769"/>
                  <a:pt x="1211747" y="1458592"/>
                </a:cubicBezTo>
                <a:cubicBezTo>
                  <a:pt x="1213568" y="1458592"/>
                  <a:pt x="1213568" y="1460414"/>
                  <a:pt x="1213568" y="1458592"/>
                </a:cubicBezTo>
                <a:cubicBezTo>
                  <a:pt x="1213568" y="1458592"/>
                  <a:pt x="1213568" y="1460414"/>
                  <a:pt x="1215390" y="1462236"/>
                </a:cubicBezTo>
                <a:cubicBezTo>
                  <a:pt x="1211747" y="1465880"/>
                  <a:pt x="1211747" y="1467702"/>
                  <a:pt x="1213568" y="1471347"/>
                </a:cubicBezTo>
                <a:cubicBezTo>
                  <a:pt x="1211747" y="1473169"/>
                  <a:pt x="1213568" y="1474991"/>
                  <a:pt x="1213568" y="1476813"/>
                </a:cubicBezTo>
                <a:cubicBezTo>
                  <a:pt x="1215390" y="1475902"/>
                  <a:pt x="1215846" y="1474991"/>
                  <a:pt x="1215618" y="1474080"/>
                </a:cubicBezTo>
                <a:lnTo>
                  <a:pt x="1214769" y="1472947"/>
                </a:lnTo>
                <a:lnTo>
                  <a:pt x="1217213" y="1473169"/>
                </a:lnTo>
                <a:cubicBezTo>
                  <a:pt x="1217213" y="1476813"/>
                  <a:pt x="1217213" y="1482280"/>
                  <a:pt x="1220858" y="1482280"/>
                </a:cubicBezTo>
                <a:cubicBezTo>
                  <a:pt x="1213568" y="1484102"/>
                  <a:pt x="1213568" y="1493213"/>
                  <a:pt x="1209925" y="1493213"/>
                </a:cubicBezTo>
                <a:cubicBezTo>
                  <a:pt x="1215390" y="1496857"/>
                  <a:pt x="1220858" y="1495035"/>
                  <a:pt x="1224501" y="1493213"/>
                </a:cubicBezTo>
                <a:cubicBezTo>
                  <a:pt x="1222679" y="1495035"/>
                  <a:pt x="1226323" y="1496857"/>
                  <a:pt x="1224501" y="1498679"/>
                </a:cubicBezTo>
                <a:cubicBezTo>
                  <a:pt x="1222679" y="1496857"/>
                  <a:pt x="1222679" y="1496857"/>
                  <a:pt x="1220858" y="1498679"/>
                </a:cubicBezTo>
                <a:cubicBezTo>
                  <a:pt x="1222679" y="1498679"/>
                  <a:pt x="1226323" y="1498679"/>
                  <a:pt x="1228146" y="1502324"/>
                </a:cubicBezTo>
                <a:cubicBezTo>
                  <a:pt x="1224501" y="1500501"/>
                  <a:pt x="1217213" y="1496857"/>
                  <a:pt x="1215390" y="1498679"/>
                </a:cubicBezTo>
                <a:cubicBezTo>
                  <a:pt x="1219036" y="1504146"/>
                  <a:pt x="1228146" y="1504146"/>
                  <a:pt x="1231790" y="1509612"/>
                </a:cubicBezTo>
                <a:cubicBezTo>
                  <a:pt x="1226323" y="1507790"/>
                  <a:pt x="1220858" y="1502324"/>
                  <a:pt x="1215390" y="1502324"/>
                </a:cubicBezTo>
                <a:cubicBezTo>
                  <a:pt x="1215390" y="1504146"/>
                  <a:pt x="1215390" y="1507790"/>
                  <a:pt x="1219036" y="1507790"/>
                </a:cubicBezTo>
                <a:cubicBezTo>
                  <a:pt x="1219036" y="1505968"/>
                  <a:pt x="1219036" y="1505968"/>
                  <a:pt x="1219036" y="1504146"/>
                </a:cubicBezTo>
                <a:cubicBezTo>
                  <a:pt x="1220858" y="1509612"/>
                  <a:pt x="1229969" y="1505968"/>
                  <a:pt x="1231790" y="1511434"/>
                </a:cubicBezTo>
                <a:cubicBezTo>
                  <a:pt x="1228146" y="1511434"/>
                  <a:pt x="1224501" y="1509612"/>
                  <a:pt x="1220858" y="1511434"/>
                </a:cubicBezTo>
                <a:cubicBezTo>
                  <a:pt x="1222679" y="1516901"/>
                  <a:pt x="1224501" y="1522368"/>
                  <a:pt x="1226323" y="1527834"/>
                </a:cubicBezTo>
                <a:cubicBezTo>
                  <a:pt x="1228146" y="1526012"/>
                  <a:pt x="1231790" y="1526012"/>
                  <a:pt x="1233612" y="1526012"/>
                </a:cubicBezTo>
                <a:cubicBezTo>
                  <a:pt x="1229969" y="1529656"/>
                  <a:pt x="1228146" y="1527834"/>
                  <a:pt x="1224501" y="1529656"/>
                </a:cubicBezTo>
                <a:cubicBezTo>
                  <a:pt x="1224501" y="1531478"/>
                  <a:pt x="1222679" y="1533301"/>
                  <a:pt x="1222679" y="1535123"/>
                </a:cubicBezTo>
                <a:cubicBezTo>
                  <a:pt x="1228146" y="1544234"/>
                  <a:pt x="1237256" y="1558811"/>
                  <a:pt x="1244545" y="1569744"/>
                </a:cubicBezTo>
                <a:cubicBezTo>
                  <a:pt x="1250012" y="1567922"/>
                  <a:pt x="1248189" y="1564278"/>
                  <a:pt x="1251834" y="1560633"/>
                </a:cubicBezTo>
                <a:lnTo>
                  <a:pt x="1251663" y="1563544"/>
                </a:lnTo>
                <a:lnTo>
                  <a:pt x="1250012" y="1564278"/>
                </a:lnTo>
                <a:lnTo>
                  <a:pt x="1251154" y="1565991"/>
                </a:lnTo>
                <a:lnTo>
                  <a:pt x="1250012" y="1569744"/>
                </a:lnTo>
                <a:cubicBezTo>
                  <a:pt x="1250012" y="1573388"/>
                  <a:pt x="1251834" y="1577033"/>
                  <a:pt x="1253656" y="1578855"/>
                </a:cubicBezTo>
                <a:lnTo>
                  <a:pt x="1259123" y="1578855"/>
                </a:lnTo>
                <a:cubicBezTo>
                  <a:pt x="1259123" y="1582499"/>
                  <a:pt x="1260945" y="1584321"/>
                  <a:pt x="1264589" y="1586144"/>
                </a:cubicBezTo>
                <a:cubicBezTo>
                  <a:pt x="1264589" y="1586144"/>
                  <a:pt x="1264589" y="1584321"/>
                  <a:pt x="1266411" y="1582499"/>
                </a:cubicBezTo>
                <a:cubicBezTo>
                  <a:pt x="1268233" y="1584321"/>
                  <a:pt x="1266411" y="1584321"/>
                  <a:pt x="1268233" y="1586144"/>
                </a:cubicBezTo>
                <a:cubicBezTo>
                  <a:pt x="1271878" y="1586144"/>
                  <a:pt x="1273700" y="1584321"/>
                  <a:pt x="1275522" y="1586144"/>
                </a:cubicBezTo>
                <a:cubicBezTo>
                  <a:pt x="1273700" y="1587966"/>
                  <a:pt x="1273700" y="1587966"/>
                  <a:pt x="1273700" y="1587966"/>
                </a:cubicBezTo>
                <a:cubicBezTo>
                  <a:pt x="1282811" y="1587966"/>
                  <a:pt x="1291922" y="1584321"/>
                  <a:pt x="1297388" y="1578855"/>
                </a:cubicBezTo>
                <a:lnTo>
                  <a:pt x="1321077" y="1577033"/>
                </a:lnTo>
                <a:lnTo>
                  <a:pt x="1304677" y="1564278"/>
                </a:lnTo>
                <a:lnTo>
                  <a:pt x="1297388" y="1578855"/>
                </a:lnTo>
                <a:lnTo>
                  <a:pt x="1280989" y="1571566"/>
                </a:lnTo>
                <a:lnTo>
                  <a:pt x="1288277" y="1556989"/>
                </a:lnTo>
                <a:lnTo>
                  <a:pt x="1266411" y="1556989"/>
                </a:lnTo>
                <a:cubicBezTo>
                  <a:pt x="1297388" y="1535123"/>
                  <a:pt x="1324721" y="1549700"/>
                  <a:pt x="1311966" y="1518723"/>
                </a:cubicBezTo>
                <a:lnTo>
                  <a:pt x="1332009" y="1518723"/>
                </a:lnTo>
                <a:lnTo>
                  <a:pt x="1332009" y="1504146"/>
                </a:lnTo>
                <a:lnTo>
                  <a:pt x="1353876" y="1504146"/>
                </a:lnTo>
                <a:lnTo>
                  <a:pt x="1346587" y="1518723"/>
                </a:lnTo>
                <a:lnTo>
                  <a:pt x="1368453" y="1518723"/>
                </a:lnTo>
                <a:lnTo>
                  <a:pt x="1368453" y="1526012"/>
                </a:lnTo>
                <a:lnTo>
                  <a:pt x="1346587" y="1526012"/>
                </a:lnTo>
                <a:lnTo>
                  <a:pt x="1346587" y="1531478"/>
                </a:lnTo>
                <a:lnTo>
                  <a:pt x="1375743" y="1540589"/>
                </a:lnTo>
                <a:cubicBezTo>
                  <a:pt x="1379386" y="1535123"/>
                  <a:pt x="1390319" y="1522368"/>
                  <a:pt x="1390319" y="1518723"/>
                </a:cubicBezTo>
                <a:cubicBezTo>
                  <a:pt x="1390319" y="1489568"/>
                  <a:pt x="1393963" y="1515079"/>
                  <a:pt x="1383030" y="1495035"/>
                </a:cubicBezTo>
                <a:lnTo>
                  <a:pt x="1353876" y="1504146"/>
                </a:lnTo>
                <a:lnTo>
                  <a:pt x="1346587" y="1471347"/>
                </a:lnTo>
                <a:lnTo>
                  <a:pt x="1383030" y="1487746"/>
                </a:lnTo>
                <a:cubicBezTo>
                  <a:pt x="1390319" y="1474991"/>
                  <a:pt x="1383030" y="1473169"/>
                  <a:pt x="1404896" y="1473169"/>
                </a:cubicBezTo>
                <a:cubicBezTo>
                  <a:pt x="1435873" y="1473169"/>
                  <a:pt x="1419474" y="1473169"/>
                  <a:pt x="1426763" y="1465880"/>
                </a:cubicBezTo>
                <a:cubicBezTo>
                  <a:pt x="1437696" y="1456769"/>
                  <a:pt x="1454095" y="1451303"/>
                  <a:pt x="1434051" y="1434903"/>
                </a:cubicBezTo>
                <a:lnTo>
                  <a:pt x="1448629" y="1420326"/>
                </a:lnTo>
                <a:lnTo>
                  <a:pt x="1448629" y="1451303"/>
                </a:lnTo>
                <a:lnTo>
                  <a:pt x="1463206" y="1451303"/>
                </a:lnTo>
                <a:lnTo>
                  <a:pt x="1477784" y="1465880"/>
                </a:lnTo>
                <a:lnTo>
                  <a:pt x="1477784" y="1451303"/>
                </a:lnTo>
                <a:lnTo>
                  <a:pt x="1463206" y="1451303"/>
                </a:lnTo>
                <a:lnTo>
                  <a:pt x="1468673" y="1444014"/>
                </a:lnTo>
                <a:lnTo>
                  <a:pt x="1461384" y="1414859"/>
                </a:lnTo>
                <a:lnTo>
                  <a:pt x="1448629" y="1398460"/>
                </a:lnTo>
                <a:lnTo>
                  <a:pt x="1486895" y="1398460"/>
                </a:lnTo>
                <a:lnTo>
                  <a:pt x="1479606" y="1383882"/>
                </a:lnTo>
                <a:cubicBezTo>
                  <a:pt x="1516049" y="1382060"/>
                  <a:pt x="1494183" y="1392993"/>
                  <a:pt x="1510583" y="1369305"/>
                </a:cubicBezTo>
                <a:cubicBezTo>
                  <a:pt x="1530626" y="1382060"/>
                  <a:pt x="1517871" y="1372949"/>
                  <a:pt x="1525160" y="1369305"/>
                </a:cubicBezTo>
                <a:cubicBezTo>
                  <a:pt x="1526982" y="1365661"/>
                  <a:pt x="1528804" y="1363838"/>
                  <a:pt x="1530626" y="1363838"/>
                </a:cubicBezTo>
                <a:cubicBezTo>
                  <a:pt x="1528804" y="1362016"/>
                  <a:pt x="1526982" y="1360194"/>
                  <a:pt x="1525160" y="1354728"/>
                </a:cubicBezTo>
                <a:lnTo>
                  <a:pt x="1539737" y="1354728"/>
                </a:lnTo>
                <a:lnTo>
                  <a:pt x="1539737" y="1340150"/>
                </a:lnTo>
                <a:cubicBezTo>
                  <a:pt x="1559781" y="1354728"/>
                  <a:pt x="1556137" y="1341972"/>
                  <a:pt x="1548848" y="1362016"/>
                </a:cubicBezTo>
                <a:lnTo>
                  <a:pt x="1570714" y="1385705"/>
                </a:lnTo>
                <a:cubicBezTo>
                  <a:pt x="1588936" y="1376594"/>
                  <a:pt x="1572537" y="1378416"/>
                  <a:pt x="1592580" y="1385705"/>
                </a:cubicBezTo>
                <a:cubicBezTo>
                  <a:pt x="1610802" y="1363838"/>
                  <a:pt x="1588936" y="1374771"/>
                  <a:pt x="1623558" y="1371127"/>
                </a:cubicBezTo>
                <a:lnTo>
                  <a:pt x="1623558" y="1385705"/>
                </a:lnTo>
                <a:cubicBezTo>
                  <a:pt x="1645423" y="1378416"/>
                  <a:pt x="1638135" y="1387527"/>
                  <a:pt x="1630846" y="1371127"/>
                </a:cubicBezTo>
                <a:lnTo>
                  <a:pt x="1652713" y="1362016"/>
                </a:lnTo>
                <a:lnTo>
                  <a:pt x="1667289" y="1360194"/>
                </a:lnTo>
                <a:lnTo>
                  <a:pt x="1698266" y="1352905"/>
                </a:lnTo>
                <a:lnTo>
                  <a:pt x="1690978" y="1338328"/>
                </a:lnTo>
                <a:lnTo>
                  <a:pt x="1707377" y="1329217"/>
                </a:lnTo>
                <a:lnTo>
                  <a:pt x="1690978" y="1307351"/>
                </a:lnTo>
                <a:lnTo>
                  <a:pt x="1714666" y="1307351"/>
                </a:lnTo>
                <a:lnTo>
                  <a:pt x="1705555" y="1278196"/>
                </a:lnTo>
                <a:cubicBezTo>
                  <a:pt x="1734710" y="1281841"/>
                  <a:pt x="1736532" y="1281841"/>
                  <a:pt x="1729243" y="1300062"/>
                </a:cubicBezTo>
                <a:lnTo>
                  <a:pt x="1741999" y="1316462"/>
                </a:lnTo>
                <a:cubicBezTo>
                  <a:pt x="1716488" y="1325573"/>
                  <a:pt x="1731066" y="1329217"/>
                  <a:pt x="1703733" y="1347439"/>
                </a:cubicBezTo>
                <a:lnTo>
                  <a:pt x="1711022" y="1362016"/>
                </a:lnTo>
                <a:lnTo>
                  <a:pt x="1689157" y="1362016"/>
                </a:lnTo>
                <a:cubicBezTo>
                  <a:pt x="1711022" y="1391171"/>
                  <a:pt x="1689157" y="1363838"/>
                  <a:pt x="1720133" y="1376594"/>
                </a:cubicBezTo>
                <a:lnTo>
                  <a:pt x="1721955" y="1354728"/>
                </a:lnTo>
                <a:lnTo>
                  <a:pt x="1734710" y="1338328"/>
                </a:lnTo>
                <a:lnTo>
                  <a:pt x="1749287" y="1338328"/>
                </a:lnTo>
                <a:lnTo>
                  <a:pt x="1772976" y="1338328"/>
                </a:lnTo>
                <a:lnTo>
                  <a:pt x="1765687" y="1325573"/>
                </a:lnTo>
                <a:lnTo>
                  <a:pt x="1778442" y="1309173"/>
                </a:lnTo>
                <a:lnTo>
                  <a:pt x="1763865" y="1300062"/>
                </a:lnTo>
                <a:lnTo>
                  <a:pt x="1771154" y="1283663"/>
                </a:lnTo>
                <a:lnTo>
                  <a:pt x="1785731" y="1290951"/>
                </a:lnTo>
                <a:lnTo>
                  <a:pt x="1785731" y="1281841"/>
                </a:lnTo>
                <a:cubicBezTo>
                  <a:pt x="1783909" y="1281841"/>
                  <a:pt x="1782087" y="1281841"/>
                  <a:pt x="1780265" y="1281841"/>
                </a:cubicBezTo>
                <a:cubicBezTo>
                  <a:pt x="1782087" y="1278196"/>
                  <a:pt x="1783909" y="1276374"/>
                  <a:pt x="1785731" y="1276374"/>
                </a:cubicBezTo>
                <a:lnTo>
                  <a:pt x="1785731" y="1270996"/>
                </a:lnTo>
                <a:lnTo>
                  <a:pt x="1763864" y="1270996"/>
                </a:lnTo>
                <a:lnTo>
                  <a:pt x="1778070" y="1255017"/>
                </a:lnTo>
                <a:lnTo>
                  <a:pt x="1729243" y="1179799"/>
                </a:lnTo>
                <a:cubicBezTo>
                  <a:pt x="1727421" y="1177977"/>
                  <a:pt x="1729243" y="1174332"/>
                  <a:pt x="1729243" y="1172510"/>
                </a:cubicBezTo>
                <a:cubicBezTo>
                  <a:pt x="1732888" y="1172510"/>
                  <a:pt x="1736532" y="1177977"/>
                  <a:pt x="1738354" y="1179799"/>
                </a:cubicBezTo>
                <a:cubicBezTo>
                  <a:pt x="1749287" y="1214420"/>
                  <a:pt x="1772976" y="1239931"/>
                  <a:pt x="1796664" y="1267263"/>
                </a:cubicBezTo>
                <a:cubicBezTo>
                  <a:pt x="1794842" y="1267263"/>
                  <a:pt x="1793020" y="1267263"/>
                  <a:pt x="1793020" y="1269085"/>
                </a:cubicBezTo>
                <a:cubicBezTo>
                  <a:pt x="1795753" y="1273641"/>
                  <a:pt x="1798031" y="1278651"/>
                  <a:pt x="1800991" y="1282979"/>
                </a:cubicBezTo>
                <a:lnTo>
                  <a:pt x="1811901" y="1291831"/>
                </a:lnTo>
                <a:lnTo>
                  <a:pt x="1816709" y="1298240"/>
                </a:lnTo>
                <a:lnTo>
                  <a:pt x="1834929" y="1289129"/>
                </a:lnTo>
                <a:lnTo>
                  <a:pt x="1842218" y="1289129"/>
                </a:lnTo>
                <a:lnTo>
                  <a:pt x="1845864" y="1289129"/>
                </a:lnTo>
                <a:cubicBezTo>
                  <a:pt x="1847685" y="1283663"/>
                  <a:pt x="1834929" y="1290951"/>
                  <a:pt x="1836753" y="1281841"/>
                </a:cubicBezTo>
                <a:cubicBezTo>
                  <a:pt x="1840396" y="1283663"/>
                  <a:pt x="1844040" y="1283663"/>
                  <a:pt x="1847685" y="1283663"/>
                </a:cubicBezTo>
                <a:cubicBezTo>
                  <a:pt x="1847685" y="1276374"/>
                  <a:pt x="1833107" y="1276374"/>
                  <a:pt x="1831285" y="1269085"/>
                </a:cubicBezTo>
                <a:cubicBezTo>
                  <a:pt x="1833107" y="1272730"/>
                  <a:pt x="1836753" y="1274552"/>
                  <a:pt x="1842218" y="1274552"/>
                </a:cubicBezTo>
                <a:cubicBezTo>
                  <a:pt x="1836753" y="1269085"/>
                  <a:pt x="1833107" y="1261797"/>
                  <a:pt x="1823996" y="1259975"/>
                </a:cubicBezTo>
                <a:cubicBezTo>
                  <a:pt x="1823996" y="1261797"/>
                  <a:pt x="1823996" y="1263619"/>
                  <a:pt x="1825820" y="1265441"/>
                </a:cubicBezTo>
                <a:cubicBezTo>
                  <a:pt x="1820352" y="1259975"/>
                  <a:pt x="1813063" y="1261797"/>
                  <a:pt x="1805775" y="1258152"/>
                </a:cubicBezTo>
                <a:cubicBezTo>
                  <a:pt x="1809420" y="1258152"/>
                  <a:pt x="1814886" y="1259975"/>
                  <a:pt x="1818531" y="1256330"/>
                </a:cubicBezTo>
                <a:cubicBezTo>
                  <a:pt x="1820352" y="1252686"/>
                  <a:pt x="1823996" y="1259975"/>
                  <a:pt x="1827642" y="1259975"/>
                </a:cubicBezTo>
                <a:cubicBezTo>
                  <a:pt x="1822174" y="1247219"/>
                  <a:pt x="1813063" y="1234464"/>
                  <a:pt x="1803953" y="1221709"/>
                </a:cubicBezTo>
                <a:cubicBezTo>
                  <a:pt x="1805775" y="1223531"/>
                  <a:pt x="1805775" y="1223531"/>
                  <a:pt x="1807598" y="1225353"/>
                </a:cubicBezTo>
                <a:cubicBezTo>
                  <a:pt x="1807598" y="1223531"/>
                  <a:pt x="1807598" y="1223531"/>
                  <a:pt x="1807598" y="1221709"/>
                </a:cubicBezTo>
                <a:cubicBezTo>
                  <a:pt x="1811241" y="1227175"/>
                  <a:pt x="1814886" y="1232642"/>
                  <a:pt x="1818531" y="1236286"/>
                </a:cubicBezTo>
                <a:cubicBezTo>
                  <a:pt x="1816709" y="1228998"/>
                  <a:pt x="1809420" y="1221709"/>
                  <a:pt x="1811241" y="1214420"/>
                </a:cubicBezTo>
                <a:cubicBezTo>
                  <a:pt x="1816709" y="1221709"/>
                  <a:pt x="1813063" y="1232642"/>
                  <a:pt x="1823996" y="1238108"/>
                </a:cubicBezTo>
                <a:cubicBezTo>
                  <a:pt x="1822174" y="1227175"/>
                  <a:pt x="1825820" y="1218065"/>
                  <a:pt x="1818531" y="1208954"/>
                </a:cubicBezTo>
                <a:cubicBezTo>
                  <a:pt x="1823996" y="1208954"/>
                  <a:pt x="1822174" y="1214420"/>
                  <a:pt x="1827642" y="1216242"/>
                </a:cubicBezTo>
                <a:cubicBezTo>
                  <a:pt x="1827642" y="1210776"/>
                  <a:pt x="1827642" y="1205309"/>
                  <a:pt x="1825820" y="1199843"/>
                </a:cubicBezTo>
                <a:cubicBezTo>
                  <a:pt x="1834929" y="1201665"/>
                  <a:pt x="1827642" y="1210776"/>
                  <a:pt x="1833107" y="1216242"/>
                </a:cubicBezTo>
                <a:cubicBezTo>
                  <a:pt x="1831285" y="1216242"/>
                  <a:pt x="1829463" y="1214420"/>
                  <a:pt x="1829463" y="1214420"/>
                </a:cubicBezTo>
                <a:cubicBezTo>
                  <a:pt x="1813063" y="1239931"/>
                  <a:pt x="1836753" y="1263619"/>
                  <a:pt x="1853151" y="1281841"/>
                </a:cubicBezTo>
                <a:cubicBezTo>
                  <a:pt x="1856796" y="1276374"/>
                  <a:pt x="1860440" y="1267263"/>
                  <a:pt x="1853151" y="1261797"/>
                </a:cubicBezTo>
                <a:cubicBezTo>
                  <a:pt x="1853151" y="1261797"/>
                  <a:pt x="1853151" y="1263619"/>
                  <a:pt x="1854973" y="1263619"/>
                </a:cubicBezTo>
                <a:cubicBezTo>
                  <a:pt x="1854973" y="1259975"/>
                  <a:pt x="1854973" y="1258152"/>
                  <a:pt x="1854973" y="1256330"/>
                </a:cubicBezTo>
                <a:cubicBezTo>
                  <a:pt x="1865906" y="1263619"/>
                  <a:pt x="1856796" y="1274552"/>
                  <a:pt x="1862262" y="1283663"/>
                </a:cubicBezTo>
                <a:cubicBezTo>
                  <a:pt x="1867729" y="1278196"/>
                  <a:pt x="1873195" y="1270908"/>
                  <a:pt x="1875017" y="1263619"/>
                </a:cubicBezTo>
                <a:lnTo>
                  <a:pt x="1860440" y="1263619"/>
                </a:lnTo>
                <a:cubicBezTo>
                  <a:pt x="1867729" y="1245397"/>
                  <a:pt x="1865906" y="1258152"/>
                  <a:pt x="1860440" y="1234464"/>
                </a:cubicBezTo>
                <a:lnTo>
                  <a:pt x="1869795" y="1228617"/>
                </a:lnTo>
                <a:lnTo>
                  <a:pt x="1871373" y="1236286"/>
                </a:lnTo>
                <a:cubicBezTo>
                  <a:pt x="1875017" y="1236286"/>
                  <a:pt x="1876839" y="1238108"/>
                  <a:pt x="1878662" y="1238108"/>
                </a:cubicBezTo>
                <a:cubicBezTo>
                  <a:pt x="1878662" y="1236286"/>
                  <a:pt x="1878662" y="1236286"/>
                  <a:pt x="1878662" y="1236286"/>
                </a:cubicBezTo>
                <a:cubicBezTo>
                  <a:pt x="1878662" y="1234464"/>
                  <a:pt x="1875017" y="1234464"/>
                  <a:pt x="1875017" y="1232642"/>
                </a:cubicBezTo>
                <a:cubicBezTo>
                  <a:pt x="1878662" y="1232642"/>
                  <a:pt x="1880484" y="1234464"/>
                  <a:pt x="1882306" y="1236286"/>
                </a:cubicBezTo>
                <a:cubicBezTo>
                  <a:pt x="1884128" y="1234464"/>
                  <a:pt x="1884128" y="1234464"/>
                  <a:pt x="1893239" y="1239931"/>
                </a:cubicBezTo>
                <a:cubicBezTo>
                  <a:pt x="1900528" y="1254508"/>
                  <a:pt x="1895061" y="1245397"/>
                  <a:pt x="1900528" y="1270908"/>
                </a:cubicBezTo>
                <a:lnTo>
                  <a:pt x="1898706" y="1270908"/>
                </a:lnTo>
                <a:cubicBezTo>
                  <a:pt x="1900528" y="1272730"/>
                  <a:pt x="1904172" y="1274552"/>
                  <a:pt x="1907816" y="1272730"/>
                </a:cubicBezTo>
                <a:cubicBezTo>
                  <a:pt x="1907816" y="1276374"/>
                  <a:pt x="1902350" y="1280018"/>
                  <a:pt x="1900528" y="1274552"/>
                </a:cubicBezTo>
                <a:cubicBezTo>
                  <a:pt x="1898706" y="1276374"/>
                  <a:pt x="1896883" y="1278196"/>
                  <a:pt x="1898706" y="1280018"/>
                </a:cubicBezTo>
                <a:cubicBezTo>
                  <a:pt x="1898706" y="1281841"/>
                  <a:pt x="1900528" y="1281841"/>
                  <a:pt x="1902350" y="1283663"/>
                </a:cubicBezTo>
                <a:lnTo>
                  <a:pt x="1907816" y="1280018"/>
                </a:lnTo>
                <a:lnTo>
                  <a:pt x="1907816" y="1281841"/>
                </a:lnTo>
                <a:cubicBezTo>
                  <a:pt x="1911461" y="1280018"/>
                  <a:pt x="1913283" y="1276374"/>
                  <a:pt x="1913283" y="1272730"/>
                </a:cubicBezTo>
                <a:cubicBezTo>
                  <a:pt x="1915105" y="1274552"/>
                  <a:pt x="1916927" y="1276374"/>
                  <a:pt x="1916927" y="1278196"/>
                </a:cubicBezTo>
                <a:lnTo>
                  <a:pt x="1935149" y="1283663"/>
                </a:lnTo>
                <a:cubicBezTo>
                  <a:pt x="1931505" y="1274552"/>
                  <a:pt x="1924216" y="1265441"/>
                  <a:pt x="1918750" y="1256330"/>
                </a:cubicBezTo>
                <a:lnTo>
                  <a:pt x="1907816" y="1258152"/>
                </a:lnTo>
                <a:lnTo>
                  <a:pt x="1907816" y="1243575"/>
                </a:lnTo>
                <a:cubicBezTo>
                  <a:pt x="1900528" y="1234464"/>
                  <a:pt x="1893239" y="1225353"/>
                  <a:pt x="1887773" y="1216242"/>
                </a:cubicBezTo>
                <a:cubicBezTo>
                  <a:pt x="1889595" y="1218065"/>
                  <a:pt x="1893239" y="1221709"/>
                  <a:pt x="1895061" y="1223531"/>
                </a:cubicBezTo>
                <a:cubicBezTo>
                  <a:pt x="1888228" y="1209865"/>
                  <a:pt x="1886519" y="1191073"/>
                  <a:pt x="1876099" y="1179457"/>
                </a:cubicBezTo>
                <a:lnTo>
                  <a:pt x="1863809" y="1171668"/>
                </a:lnTo>
                <a:lnTo>
                  <a:pt x="1862946" y="1166816"/>
                </a:lnTo>
                <a:cubicBezTo>
                  <a:pt x="1862718" y="1161577"/>
                  <a:pt x="1864084" y="1157021"/>
                  <a:pt x="1869551" y="1154288"/>
                </a:cubicBezTo>
                <a:cubicBezTo>
                  <a:pt x="1871373" y="1156111"/>
                  <a:pt x="1873195" y="1157933"/>
                  <a:pt x="1875017" y="1157933"/>
                </a:cubicBezTo>
                <a:lnTo>
                  <a:pt x="1872983" y="1145516"/>
                </a:lnTo>
                <a:lnTo>
                  <a:pt x="1875017" y="1145178"/>
                </a:lnTo>
                <a:lnTo>
                  <a:pt x="1872144" y="1140388"/>
                </a:lnTo>
                <a:lnTo>
                  <a:pt x="1870690" y="1131511"/>
                </a:lnTo>
                <a:cubicBezTo>
                  <a:pt x="1870006" y="1122400"/>
                  <a:pt x="1870462" y="1113289"/>
                  <a:pt x="1873195" y="1105090"/>
                </a:cubicBezTo>
                <a:cubicBezTo>
                  <a:pt x="1871373" y="1108734"/>
                  <a:pt x="1871373" y="1112378"/>
                  <a:pt x="1873195" y="1116023"/>
                </a:cubicBezTo>
                <a:cubicBezTo>
                  <a:pt x="1875017" y="1117845"/>
                  <a:pt x="1878662" y="1117845"/>
                  <a:pt x="1880484" y="1117845"/>
                </a:cubicBezTo>
                <a:cubicBezTo>
                  <a:pt x="1875017" y="1123312"/>
                  <a:pt x="1884128" y="1130600"/>
                  <a:pt x="1882306" y="1134245"/>
                </a:cubicBezTo>
                <a:cubicBezTo>
                  <a:pt x="1873195" y="1159755"/>
                  <a:pt x="1898706" y="1187088"/>
                  <a:pt x="1907816" y="1210776"/>
                </a:cubicBezTo>
                <a:cubicBezTo>
                  <a:pt x="1907816" y="1207132"/>
                  <a:pt x="1911461" y="1203487"/>
                  <a:pt x="1913283" y="1201665"/>
                </a:cubicBezTo>
                <a:cubicBezTo>
                  <a:pt x="1913283" y="1210776"/>
                  <a:pt x="1902350" y="1216242"/>
                  <a:pt x="1909639" y="1223531"/>
                </a:cubicBezTo>
                <a:cubicBezTo>
                  <a:pt x="1913283" y="1227175"/>
                  <a:pt x="1916927" y="1225353"/>
                  <a:pt x="1920572" y="1225353"/>
                </a:cubicBezTo>
                <a:cubicBezTo>
                  <a:pt x="1920572" y="1230820"/>
                  <a:pt x="1922394" y="1236286"/>
                  <a:pt x="1924216" y="1239931"/>
                </a:cubicBezTo>
                <a:lnTo>
                  <a:pt x="1929683" y="1245397"/>
                </a:lnTo>
                <a:lnTo>
                  <a:pt x="1927861" y="1245397"/>
                </a:lnTo>
                <a:cubicBezTo>
                  <a:pt x="1931505" y="1249042"/>
                  <a:pt x="1933327" y="1252686"/>
                  <a:pt x="1935149" y="1256330"/>
                </a:cubicBezTo>
                <a:cubicBezTo>
                  <a:pt x="1935149" y="1259975"/>
                  <a:pt x="1940616" y="1261797"/>
                  <a:pt x="1942438" y="1263619"/>
                </a:cubicBezTo>
                <a:cubicBezTo>
                  <a:pt x="1942438" y="1267263"/>
                  <a:pt x="1944260" y="1270908"/>
                  <a:pt x="1946083" y="1274552"/>
                </a:cubicBezTo>
                <a:lnTo>
                  <a:pt x="1951549" y="1276374"/>
                </a:lnTo>
                <a:cubicBezTo>
                  <a:pt x="1949726" y="1272730"/>
                  <a:pt x="1946083" y="1267263"/>
                  <a:pt x="1946083" y="1263619"/>
                </a:cubicBezTo>
                <a:lnTo>
                  <a:pt x="1940616" y="1252686"/>
                </a:lnTo>
                <a:lnTo>
                  <a:pt x="1942438" y="1250864"/>
                </a:lnTo>
                <a:cubicBezTo>
                  <a:pt x="1942438" y="1245397"/>
                  <a:pt x="1940616" y="1241753"/>
                  <a:pt x="1935149" y="1241753"/>
                </a:cubicBezTo>
                <a:cubicBezTo>
                  <a:pt x="1940616" y="1214420"/>
                  <a:pt x="1911461" y="1194376"/>
                  <a:pt x="1905994" y="1168866"/>
                </a:cubicBezTo>
                <a:cubicBezTo>
                  <a:pt x="1915105" y="1170688"/>
                  <a:pt x="1909639" y="1183443"/>
                  <a:pt x="1916927" y="1185266"/>
                </a:cubicBezTo>
                <a:cubicBezTo>
                  <a:pt x="1929683" y="1190732"/>
                  <a:pt x="1920572" y="1168866"/>
                  <a:pt x="1927861" y="1161577"/>
                </a:cubicBezTo>
                <a:cubicBezTo>
                  <a:pt x="1926038" y="1167044"/>
                  <a:pt x="1935149" y="1163399"/>
                  <a:pt x="1933327" y="1168866"/>
                </a:cubicBezTo>
                <a:cubicBezTo>
                  <a:pt x="1922394" y="1194376"/>
                  <a:pt x="1935149" y="1221709"/>
                  <a:pt x="1947904" y="1245397"/>
                </a:cubicBezTo>
                <a:lnTo>
                  <a:pt x="1951549" y="1241753"/>
                </a:lnTo>
                <a:cubicBezTo>
                  <a:pt x="1951549" y="1236286"/>
                  <a:pt x="1951549" y="1228998"/>
                  <a:pt x="1944260" y="1225353"/>
                </a:cubicBezTo>
                <a:cubicBezTo>
                  <a:pt x="1946083" y="1227175"/>
                  <a:pt x="1949726" y="1230820"/>
                  <a:pt x="1951549" y="1225353"/>
                </a:cubicBezTo>
                <a:cubicBezTo>
                  <a:pt x="1949726" y="1225353"/>
                  <a:pt x="1949726" y="1225353"/>
                  <a:pt x="1947904" y="1225353"/>
                </a:cubicBezTo>
                <a:cubicBezTo>
                  <a:pt x="1947904" y="1221709"/>
                  <a:pt x="1951549" y="1218065"/>
                  <a:pt x="1955194" y="1219887"/>
                </a:cubicBezTo>
                <a:cubicBezTo>
                  <a:pt x="1957015" y="1221709"/>
                  <a:pt x="1955194" y="1225353"/>
                  <a:pt x="1955194" y="1227175"/>
                </a:cubicBezTo>
                <a:cubicBezTo>
                  <a:pt x="1955194" y="1228998"/>
                  <a:pt x="1957015" y="1230820"/>
                  <a:pt x="1958837" y="1228998"/>
                </a:cubicBezTo>
                <a:cubicBezTo>
                  <a:pt x="1960659" y="1227175"/>
                  <a:pt x="1958837" y="1225353"/>
                  <a:pt x="1957015" y="1225353"/>
                </a:cubicBezTo>
                <a:cubicBezTo>
                  <a:pt x="1960659" y="1225353"/>
                  <a:pt x="1962482" y="1225353"/>
                  <a:pt x="1962482" y="1227175"/>
                </a:cubicBezTo>
                <a:cubicBezTo>
                  <a:pt x="1962482" y="1228998"/>
                  <a:pt x="1958837" y="1230820"/>
                  <a:pt x="1957015" y="1230820"/>
                </a:cubicBezTo>
                <a:cubicBezTo>
                  <a:pt x="1958837" y="1232642"/>
                  <a:pt x="1958837" y="1234464"/>
                  <a:pt x="1960659" y="1236286"/>
                </a:cubicBezTo>
                <a:lnTo>
                  <a:pt x="1967948" y="1230820"/>
                </a:lnTo>
                <a:cubicBezTo>
                  <a:pt x="1964305" y="1227175"/>
                  <a:pt x="1964305" y="1223531"/>
                  <a:pt x="1962482" y="1221709"/>
                </a:cubicBezTo>
                <a:cubicBezTo>
                  <a:pt x="1962482" y="1221709"/>
                  <a:pt x="1960659" y="1218065"/>
                  <a:pt x="1960659" y="1216242"/>
                </a:cubicBezTo>
                <a:cubicBezTo>
                  <a:pt x="1960659" y="1216242"/>
                  <a:pt x="1960659" y="1216242"/>
                  <a:pt x="1962482" y="1214420"/>
                </a:cubicBezTo>
                <a:cubicBezTo>
                  <a:pt x="1962482" y="1216242"/>
                  <a:pt x="1962482" y="1216242"/>
                  <a:pt x="1962482" y="1218065"/>
                </a:cubicBezTo>
                <a:cubicBezTo>
                  <a:pt x="1964305" y="1218065"/>
                  <a:pt x="1964305" y="1218065"/>
                  <a:pt x="1966126" y="1218065"/>
                </a:cubicBezTo>
                <a:cubicBezTo>
                  <a:pt x="1966126" y="1212598"/>
                  <a:pt x="1966126" y="1207132"/>
                  <a:pt x="1967948" y="1205309"/>
                </a:cubicBezTo>
                <a:cubicBezTo>
                  <a:pt x="1971592" y="1203487"/>
                  <a:pt x="1967948" y="1210776"/>
                  <a:pt x="1971592" y="1212598"/>
                </a:cubicBezTo>
                <a:cubicBezTo>
                  <a:pt x="1973416" y="1212598"/>
                  <a:pt x="1973416" y="1212598"/>
                  <a:pt x="1973416" y="1212598"/>
                </a:cubicBezTo>
                <a:cubicBezTo>
                  <a:pt x="1977059" y="1210776"/>
                  <a:pt x="1978881" y="1210776"/>
                  <a:pt x="1980703" y="1207132"/>
                </a:cubicBezTo>
                <a:cubicBezTo>
                  <a:pt x="1982527" y="1203487"/>
                  <a:pt x="1982527" y="1199843"/>
                  <a:pt x="1984348" y="1196199"/>
                </a:cubicBezTo>
                <a:lnTo>
                  <a:pt x="1984348" y="1194376"/>
                </a:lnTo>
                <a:lnTo>
                  <a:pt x="1987478" y="1189290"/>
                </a:lnTo>
                <a:lnTo>
                  <a:pt x="1986170" y="1194376"/>
                </a:lnTo>
                <a:cubicBezTo>
                  <a:pt x="1987992" y="1196199"/>
                  <a:pt x="1989814" y="1196199"/>
                  <a:pt x="1991638" y="1196199"/>
                </a:cubicBezTo>
                <a:cubicBezTo>
                  <a:pt x="1991638" y="1196199"/>
                  <a:pt x="1989814" y="1198021"/>
                  <a:pt x="1989814" y="1198021"/>
                </a:cubicBezTo>
                <a:lnTo>
                  <a:pt x="2004392" y="1208954"/>
                </a:lnTo>
                <a:lnTo>
                  <a:pt x="2013503" y="1194376"/>
                </a:lnTo>
                <a:lnTo>
                  <a:pt x="2026258" y="1201665"/>
                </a:lnTo>
                <a:lnTo>
                  <a:pt x="2040835" y="1188910"/>
                </a:lnTo>
                <a:lnTo>
                  <a:pt x="2048124" y="1196199"/>
                </a:lnTo>
                <a:cubicBezTo>
                  <a:pt x="2048124" y="1194376"/>
                  <a:pt x="2046302" y="1192554"/>
                  <a:pt x="2046302" y="1190732"/>
                </a:cubicBezTo>
                <a:cubicBezTo>
                  <a:pt x="2049946" y="1190732"/>
                  <a:pt x="2051768" y="1190732"/>
                  <a:pt x="2051768" y="1188910"/>
                </a:cubicBezTo>
                <a:lnTo>
                  <a:pt x="2049946" y="1185266"/>
                </a:lnTo>
                <a:lnTo>
                  <a:pt x="2053590" y="1172510"/>
                </a:lnTo>
                <a:cubicBezTo>
                  <a:pt x="2051768" y="1174332"/>
                  <a:pt x="2049946" y="1174332"/>
                  <a:pt x="2049946" y="1170688"/>
                </a:cubicBezTo>
                <a:cubicBezTo>
                  <a:pt x="2044479" y="1170688"/>
                  <a:pt x="2049946" y="1174332"/>
                  <a:pt x="2049946" y="1176155"/>
                </a:cubicBezTo>
                <a:lnTo>
                  <a:pt x="2044529" y="1179992"/>
                </a:lnTo>
                <a:lnTo>
                  <a:pt x="2040835" y="1177977"/>
                </a:lnTo>
                <a:cubicBezTo>
                  <a:pt x="2044479" y="1185266"/>
                  <a:pt x="2028080" y="1187088"/>
                  <a:pt x="2033546" y="1194376"/>
                </a:cubicBezTo>
                <a:cubicBezTo>
                  <a:pt x="2025347" y="1192554"/>
                  <a:pt x="2024436" y="1187543"/>
                  <a:pt x="2026258" y="1182076"/>
                </a:cubicBezTo>
                <a:lnTo>
                  <a:pt x="2032595" y="1171620"/>
                </a:lnTo>
                <a:lnTo>
                  <a:pt x="2033546" y="1172510"/>
                </a:lnTo>
                <a:lnTo>
                  <a:pt x="2034427" y="1168600"/>
                </a:lnTo>
                <a:lnTo>
                  <a:pt x="2035369" y="1167044"/>
                </a:lnTo>
                <a:lnTo>
                  <a:pt x="2034802" y="1166930"/>
                </a:lnTo>
                <a:lnTo>
                  <a:pt x="2035597" y="1163399"/>
                </a:lnTo>
                <a:cubicBezTo>
                  <a:pt x="2034458" y="1161122"/>
                  <a:pt x="2031725" y="1159755"/>
                  <a:pt x="2028080" y="1159755"/>
                </a:cubicBezTo>
                <a:lnTo>
                  <a:pt x="2026310" y="1159755"/>
                </a:lnTo>
                <a:lnTo>
                  <a:pt x="2026258" y="1157933"/>
                </a:lnTo>
                <a:cubicBezTo>
                  <a:pt x="2026258" y="1157933"/>
                  <a:pt x="2026258" y="1157933"/>
                  <a:pt x="2026258" y="1159755"/>
                </a:cubicBezTo>
                <a:lnTo>
                  <a:pt x="2026310" y="1159755"/>
                </a:lnTo>
                <a:lnTo>
                  <a:pt x="2026468" y="1165264"/>
                </a:lnTo>
                <a:lnTo>
                  <a:pt x="2026258" y="1165222"/>
                </a:lnTo>
                <a:cubicBezTo>
                  <a:pt x="2026258" y="1168866"/>
                  <a:pt x="2022613" y="1174332"/>
                  <a:pt x="2024436" y="1179799"/>
                </a:cubicBezTo>
                <a:cubicBezTo>
                  <a:pt x="2017147" y="1179799"/>
                  <a:pt x="2009858" y="1187088"/>
                  <a:pt x="2011680" y="1194376"/>
                </a:cubicBezTo>
                <a:cubicBezTo>
                  <a:pt x="2008036" y="1190732"/>
                  <a:pt x="2013503" y="1181621"/>
                  <a:pt x="2004392" y="1183443"/>
                </a:cubicBezTo>
                <a:cubicBezTo>
                  <a:pt x="2013503" y="1181621"/>
                  <a:pt x="2013503" y="1168866"/>
                  <a:pt x="2006214" y="1167044"/>
                </a:cubicBezTo>
                <a:cubicBezTo>
                  <a:pt x="2004392" y="1165222"/>
                  <a:pt x="2002570" y="1168866"/>
                  <a:pt x="2000747" y="1170688"/>
                </a:cubicBezTo>
                <a:cubicBezTo>
                  <a:pt x="2004392" y="1163399"/>
                  <a:pt x="2008036" y="1157933"/>
                  <a:pt x="1997103" y="1156111"/>
                </a:cubicBezTo>
                <a:cubicBezTo>
                  <a:pt x="2000747" y="1145178"/>
                  <a:pt x="2011680" y="1154288"/>
                  <a:pt x="2018969" y="1152466"/>
                </a:cubicBezTo>
                <a:cubicBezTo>
                  <a:pt x="2018969" y="1159755"/>
                  <a:pt x="2013503" y="1156111"/>
                  <a:pt x="2009858" y="1159755"/>
                </a:cubicBezTo>
                <a:cubicBezTo>
                  <a:pt x="2015325" y="1163399"/>
                  <a:pt x="2018969" y="1156111"/>
                  <a:pt x="2024436" y="1157933"/>
                </a:cubicBezTo>
                <a:cubicBezTo>
                  <a:pt x="2024436" y="1156111"/>
                  <a:pt x="2022613" y="1152466"/>
                  <a:pt x="2022613" y="1150644"/>
                </a:cubicBezTo>
                <a:cubicBezTo>
                  <a:pt x="2024436" y="1148822"/>
                  <a:pt x="2028080" y="1147000"/>
                  <a:pt x="2031724" y="1147000"/>
                </a:cubicBezTo>
                <a:cubicBezTo>
                  <a:pt x="2018969" y="1132422"/>
                  <a:pt x="2018969" y="1139711"/>
                  <a:pt x="2011680" y="1114201"/>
                </a:cubicBezTo>
                <a:lnTo>
                  <a:pt x="1973416" y="1114201"/>
                </a:lnTo>
                <a:lnTo>
                  <a:pt x="1973416" y="1083224"/>
                </a:lnTo>
                <a:cubicBezTo>
                  <a:pt x="1967948" y="1086868"/>
                  <a:pt x="1955194" y="1097801"/>
                  <a:pt x="1951549" y="1097801"/>
                </a:cubicBezTo>
                <a:cubicBezTo>
                  <a:pt x="1931505" y="1097801"/>
                  <a:pt x="1933327" y="1092335"/>
                  <a:pt x="1929683" y="1075935"/>
                </a:cubicBezTo>
                <a:cubicBezTo>
                  <a:pt x="1964305" y="1066824"/>
                  <a:pt x="1936972" y="1065002"/>
                  <a:pt x="1975237" y="1061358"/>
                </a:cubicBezTo>
                <a:lnTo>
                  <a:pt x="1975237" y="1039492"/>
                </a:lnTo>
                <a:lnTo>
                  <a:pt x="1953371" y="1039492"/>
                </a:lnTo>
                <a:cubicBezTo>
                  <a:pt x="1924216" y="1039492"/>
                  <a:pt x="1951549" y="1035847"/>
                  <a:pt x="1929683" y="1046780"/>
                </a:cubicBezTo>
                <a:lnTo>
                  <a:pt x="1924216" y="1013981"/>
                </a:lnTo>
                <a:lnTo>
                  <a:pt x="1977059" y="1032203"/>
                </a:lnTo>
                <a:cubicBezTo>
                  <a:pt x="1982527" y="1023092"/>
                  <a:pt x="1984348" y="1024914"/>
                  <a:pt x="1984348" y="1010337"/>
                </a:cubicBezTo>
                <a:lnTo>
                  <a:pt x="1984348" y="1003047"/>
                </a:lnTo>
                <a:lnTo>
                  <a:pt x="1986170" y="990293"/>
                </a:lnTo>
                <a:lnTo>
                  <a:pt x="1998925" y="973893"/>
                </a:lnTo>
                <a:lnTo>
                  <a:pt x="2022613" y="973893"/>
                </a:lnTo>
                <a:lnTo>
                  <a:pt x="2015325" y="959316"/>
                </a:lnTo>
                <a:lnTo>
                  <a:pt x="2039013" y="959316"/>
                </a:lnTo>
                <a:lnTo>
                  <a:pt x="2029902" y="944738"/>
                </a:lnTo>
                <a:cubicBezTo>
                  <a:pt x="2048124" y="931983"/>
                  <a:pt x="2039013" y="935628"/>
                  <a:pt x="2059057" y="930160"/>
                </a:cubicBezTo>
                <a:lnTo>
                  <a:pt x="2068168" y="952026"/>
                </a:lnTo>
                <a:cubicBezTo>
                  <a:pt x="2088212" y="944738"/>
                  <a:pt x="2071812" y="944738"/>
                  <a:pt x="2090034" y="952026"/>
                </a:cubicBezTo>
                <a:lnTo>
                  <a:pt x="2097323" y="937450"/>
                </a:lnTo>
                <a:cubicBezTo>
                  <a:pt x="2115544" y="944738"/>
                  <a:pt x="2100967" y="944738"/>
                  <a:pt x="2115544" y="939272"/>
                </a:cubicBezTo>
                <a:cubicBezTo>
                  <a:pt x="2111900" y="933804"/>
                  <a:pt x="2108256" y="931983"/>
                  <a:pt x="2104611" y="926516"/>
                </a:cubicBezTo>
                <a:cubicBezTo>
                  <a:pt x="2119189" y="933804"/>
                  <a:pt x="2133766" y="941094"/>
                  <a:pt x="2150166" y="939272"/>
                </a:cubicBezTo>
                <a:cubicBezTo>
                  <a:pt x="2151988" y="939272"/>
                  <a:pt x="2151988" y="937450"/>
                  <a:pt x="2153810" y="935628"/>
                </a:cubicBezTo>
                <a:lnTo>
                  <a:pt x="2146521" y="935628"/>
                </a:lnTo>
                <a:lnTo>
                  <a:pt x="2155632" y="926517"/>
                </a:lnTo>
                <a:lnTo>
                  <a:pt x="2155632" y="931983"/>
                </a:lnTo>
                <a:cubicBezTo>
                  <a:pt x="2157454" y="931983"/>
                  <a:pt x="2159277" y="926516"/>
                  <a:pt x="2161099" y="930160"/>
                </a:cubicBezTo>
                <a:cubicBezTo>
                  <a:pt x="2159277" y="928339"/>
                  <a:pt x="2168387" y="915583"/>
                  <a:pt x="2161099" y="915583"/>
                </a:cubicBezTo>
                <a:cubicBezTo>
                  <a:pt x="2162921" y="910117"/>
                  <a:pt x="2168387" y="910117"/>
                  <a:pt x="2168387" y="902827"/>
                </a:cubicBezTo>
                <a:cubicBezTo>
                  <a:pt x="2162921" y="906473"/>
                  <a:pt x="2166565" y="893717"/>
                  <a:pt x="2164743" y="890072"/>
                </a:cubicBezTo>
                <a:cubicBezTo>
                  <a:pt x="2159277" y="893717"/>
                  <a:pt x="2155632" y="888250"/>
                  <a:pt x="2157454" y="882784"/>
                </a:cubicBezTo>
                <a:lnTo>
                  <a:pt x="2154682" y="914672"/>
                </a:lnTo>
                <a:lnTo>
                  <a:pt x="2148344" y="910117"/>
                </a:lnTo>
                <a:cubicBezTo>
                  <a:pt x="2148344" y="919227"/>
                  <a:pt x="2142877" y="917405"/>
                  <a:pt x="2137410" y="921049"/>
                </a:cubicBezTo>
                <a:cubicBezTo>
                  <a:pt x="2139233" y="913761"/>
                  <a:pt x="2139233" y="904651"/>
                  <a:pt x="2133766" y="902827"/>
                </a:cubicBezTo>
                <a:cubicBezTo>
                  <a:pt x="2128300" y="899183"/>
                  <a:pt x="2122833" y="902827"/>
                  <a:pt x="2124655" y="893717"/>
                </a:cubicBezTo>
                <a:cubicBezTo>
                  <a:pt x="2128300" y="895539"/>
                  <a:pt x="2128300" y="901005"/>
                  <a:pt x="2133766" y="895539"/>
                </a:cubicBezTo>
                <a:cubicBezTo>
                  <a:pt x="2133766" y="893717"/>
                  <a:pt x="2135588" y="890072"/>
                  <a:pt x="2135588" y="888250"/>
                </a:cubicBezTo>
                <a:cubicBezTo>
                  <a:pt x="2137410" y="891894"/>
                  <a:pt x="2137410" y="897361"/>
                  <a:pt x="2142877" y="893717"/>
                </a:cubicBezTo>
                <a:cubicBezTo>
                  <a:pt x="2142877" y="897361"/>
                  <a:pt x="2144699" y="902827"/>
                  <a:pt x="2139233" y="902827"/>
                </a:cubicBezTo>
                <a:cubicBezTo>
                  <a:pt x="2139233" y="902827"/>
                  <a:pt x="2137410" y="901005"/>
                  <a:pt x="2137410" y="899183"/>
                </a:cubicBezTo>
                <a:cubicBezTo>
                  <a:pt x="2135588" y="902827"/>
                  <a:pt x="2137410" y="906473"/>
                  <a:pt x="2139233" y="904651"/>
                </a:cubicBezTo>
                <a:cubicBezTo>
                  <a:pt x="2142877" y="904651"/>
                  <a:pt x="2144699" y="899183"/>
                  <a:pt x="2146521" y="895539"/>
                </a:cubicBezTo>
                <a:cubicBezTo>
                  <a:pt x="2146521" y="893717"/>
                  <a:pt x="2148344" y="901005"/>
                  <a:pt x="2148344" y="899183"/>
                </a:cubicBezTo>
                <a:cubicBezTo>
                  <a:pt x="2151988" y="890072"/>
                  <a:pt x="2161099" y="880961"/>
                  <a:pt x="2150166" y="873673"/>
                </a:cubicBezTo>
                <a:cubicBezTo>
                  <a:pt x="2146521" y="879139"/>
                  <a:pt x="2150166" y="886428"/>
                  <a:pt x="2144699" y="891894"/>
                </a:cubicBezTo>
                <a:cubicBezTo>
                  <a:pt x="2143788" y="884606"/>
                  <a:pt x="2146066" y="877773"/>
                  <a:pt x="2148799" y="870940"/>
                </a:cubicBezTo>
                <a:lnTo>
                  <a:pt x="2150302" y="866333"/>
                </a:lnTo>
                <a:lnTo>
                  <a:pt x="2161555" y="862057"/>
                </a:lnTo>
                <a:cubicBezTo>
                  <a:pt x="2164288" y="858184"/>
                  <a:pt x="2165654" y="852718"/>
                  <a:pt x="2164743" y="848162"/>
                </a:cubicBezTo>
                <a:lnTo>
                  <a:pt x="2157454" y="848162"/>
                </a:lnTo>
                <a:lnTo>
                  <a:pt x="2155051" y="851767"/>
                </a:lnTo>
                <a:lnTo>
                  <a:pt x="2155632" y="849985"/>
                </a:lnTo>
                <a:lnTo>
                  <a:pt x="2155061" y="848318"/>
                </a:lnTo>
                <a:lnTo>
                  <a:pt x="2155450" y="847798"/>
                </a:lnTo>
                <a:lnTo>
                  <a:pt x="2155632" y="848162"/>
                </a:lnTo>
                <a:lnTo>
                  <a:pt x="2159277" y="842696"/>
                </a:lnTo>
                <a:cubicBezTo>
                  <a:pt x="2159277" y="842696"/>
                  <a:pt x="2155632" y="842696"/>
                  <a:pt x="2153810" y="842696"/>
                </a:cubicBezTo>
                <a:lnTo>
                  <a:pt x="2153810" y="844518"/>
                </a:lnTo>
                <a:lnTo>
                  <a:pt x="2153810" y="844671"/>
                </a:lnTo>
                <a:lnTo>
                  <a:pt x="2152899" y="842013"/>
                </a:lnTo>
                <a:cubicBezTo>
                  <a:pt x="2151077" y="839963"/>
                  <a:pt x="2148344" y="839052"/>
                  <a:pt x="2144699" y="840874"/>
                </a:cubicBezTo>
                <a:cubicBezTo>
                  <a:pt x="2141055" y="844518"/>
                  <a:pt x="2146521" y="851807"/>
                  <a:pt x="2142877" y="851807"/>
                </a:cubicBezTo>
                <a:cubicBezTo>
                  <a:pt x="2135588" y="851807"/>
                  <a:pt x="2139233" y="833585"/>
                  <a:pt x="2128300" y="840874"/>
                </a:cubicBezTo>
                <a:cubicBezTo>
                  <a:pt x="2128300" y="840874"/>
                  <a:pt x="2124655" y="846340"/>
                  <a:pt x="2126477" y="848162"/>
                </a:cubicBezTo>
                <a:cubicBezTo>
                  <a:pt x="2119189" y="844518"/>
                  <a:pt x="2128300" y="842696"/>
                  <a:pt x="2126477" y="842696"/>
                </a:cubicBezTo>
                <a:cubicBezTo>
                  <a:pt x="2111900" y="842696"/>
                  <a:pt x="2097323" y="851807"/>
                  <a:pt x="2088212" y="862740"/>
                </a:cubicBezTo>
                <a:cubicBezTo>
                  <a:pt x="2088212" y="860918"/>
                  <a:pt x="2086390" y="860918"/>
                  <a:pt x="2086390" y="859095"/>
                </a:cubicBezTo>
                <a:cubicBezTo>
                  <a:pt x="2069990" y="875495"/>
                  <a:pt x="2069990" y="904651"/>
                  <a:pt x="2046302" y="911939"/>
                </a:cubicBezTo>
                <a:cubicBezTo>
                  <a:pt x="2060879" y="899183"/>
                  <a:pt x="2079101" y="880961"/>
                  <a:pt x="2073634" y="864562"/>
                </a:cubicBezTo>
                <a:cubicBezTo>
                  <a:pt x="2073634" y="859095"/>
                  <a:pt x="2060879" y="871851"/>
                  <a:pt x="2062701" y="866384"/>
                </a:cubicBezTo>
                <a:cubicBezTo>
                  <a:pt x="2071812" y="848162"/>
                  <a:pt x="2115544" y="849985"/>
                  <a:pt x="2119189" y="828118"/>
                </a:cubicBezTo>
                <a:cubicBezTo>
                  <a:pt x="2113722" y="829941"/>
                  <a:pt x="2108256" y="831763"/>
                  <a:pt x="2102790" y="833585"/>
                </a:cubicBezTo>
                <a:lnTo>
                  <a:pt x="2095500" y="842696"/>
                </a:lnTo>
                <a:lnTo>
                  <a:pt x="2095500" y="837229"/>
                </a:lnTo>
                <a:cubicBezTo>
                  <a:pt x="2069990" y="848162"/>
                  <a:pt x="2046302" y="866384"/>
                  <a:pt x="2026258" y="886428"/>
                </a:cubicBezTo>
                <a:cubicBezTo>
                  <a:pt x="2024436" y="886428"/>
                  <a:pt x="2022613" y="884606"/>
                  <a:pt x="2020791" y="882784"/>
                </a:cubicBezTo>
                <a:cubicBezTo>
                  <a:pt x="2017147" y="884606"/>
                  <a:pt x="2017147" y="888250"/>
                  <a:pt x="2018969" y="891894"/>
                </a:cubicBezTo>
                <a:cubicBezTo>
                  <a:pt x="2013503" y="891894"/>
                  <a:pt x="2017147" y="884606"/>
                  <a:pt x="2015325" y="884606"/>
                </a:cubicBezTo>
                <a:cubicBezTo>
                  <a:pt x="2009858" y="884606"/>
                  <a:pt x="2006214" y="890072"/>
                  <a:pt x="2004392" y="895539"/>
                </a:cubicBezTo>
                <a:cubicBezTo>
                  <a:pt x="2006214" y="888250"/>
                  <a:pt x="1998925" y="888250"/>
                  <a:pt x="1997103" y="884606"/>
                </a:cubicBezTo>
                <a:cubicBezTo>
                  <a:pt x="2001659" y="884606"/>
                  <a:pt x="2002569" y="881873"/>
                  <a:pt x="2002115" y="878684"/>
                </a:cubicBezTo>
                <a:lnTo>
                  <a:pt x="1998983" y="870186"/>
                </a:lnTo>
                <a:lnTo>
                  <a:pt x="2006214" y="864562"/>
                </a:lnTo>
                <a:cubicBezTo>
                  <a:pt x="2006214" y="871851"/>
                  <a:pt x="2000747" y="879139"/>
                  <a:pt x="2008036" y="884606"/>
                </a:cubicBezTo>
                <a:cubicBezTo>
                  <a:pt x="2008036" y="882784"/>
                  <a:pt x="2011680" y="879139"/>
                  <a:pt x="2009858" y="875495"/>
                </a:cubicBezTo>
                <a:cubicBezTo>
                  <a:pt x="2013503" y="877317"/>
                  <a:pt x="2013503" y="879139"/>
                  <a:pt x="2015325" y="880961"/>
                </a:cubicBezTo>
                <a:cubicBezTo>
                  <a:pt x="2017147" y="875495"/>
                  <a:pt x="2018969" y="870028"/>
                  <a:pt x="2024436" y="866384"/>
                </a:cubicBezTo>
                <a:cubicBezTo>
                  <a:pt x="2022613" y="868206"/>
                  <a:pt x="2024436" y="871851"/>
                  <a:pt x="2026258" y="873673"/>
                </a:cubicBezTo>
                <a:cubicBezTo>
                  <a:pt x="2028080" y="864562"/>
                  <a:pt x="2040835" y="868206"/>
                  <a:pt x="2040835" y="860918"/>
                </a:cubicBezTo>
                <a:cubicBezTo>
                  <a:pt x="2040835" y="857273"/>
                  <a:pt x="2035369" y="859095"/>
                  <a:pt x="2035369" y="855451"/>
                </a:cubicBezTo>
                <a:cubicBezTo>
                  <a:pt x="2039013" y="855451"/>
                  <a:pt x="2040835" y="855451"/>
                  <a:pt x="2042657" y="855451"/>
                </a:cubicBezTo>
                <a:cubicBezTo>
                  <a:pt x="2048124" y="857273"/>
                  <a:pt x="2039013" y="862740"/>
                  <a:pt x="2042657" y="860918"/>
                </a:cubicBezTo>
                <a:cubicBezTo>
                  <a:pt x="2048124" y="859095"/>
                  <a:pt x="2057235" y="857273"/>
                  <a:pt x="2059057" y="849985"/>
                </a:cubicBezTo>
                <a:cubicBezTo>
                  <a:pt x="2057235" y="849985"/>
                  <a:pt x="2057235" y="849985"/>
                  <a:pt x="2055413" y="849985"/>
                </a:cubicBezTo>
                <a:cubicBezTo>
                  <a:pt x="2055413" y="842696"/>
                  <a:pt x="2062701" y="848162"/>
                  <a:pt x="2066346" y="846340"/>
                </a:cubicBezTo>
                <a:cubicBezTo>
                  <a:pt x="2068168" y="846340"/>
                  <a:pt x="2068168" y="840874"/>
                  <a:pt x="2066346" y="839051"/>
                </a:cubicBezTo>
                <a:cubicBezTo>
                  <a:pt x="2069990" y="837229"/>
                  <a:pt x="2066346" y="844518"/>
                  <a:pt x="2068168" y="844518"/>
                </a:cubicBezTo>
                <a:cubicBezTo>
                  <a:pt x="2095500" y="840874"/>
                  <a:pt x="2091856" y="808074"/>
                  <a:pt x="2091856" y="786208"/>
                </a:cubicBezTo>
                <a:cubicBezTo>
                  <a:pt x="2091856" y="784386"/>
                  <a:pt x="2095500" y="782564"/>
                  <a:pt x="2097323" y="780742"/>
                </a:cubicBezTo>
                <a:cubicBezTo>
                  <a:pt x="2097323" y="773453"/>
                  <a:pt x="2100967" y="767987"/>
                  <a:pt x="2097323" y="760698"/>
                </a:cubicBezTo>
                <a:cubicBezTo>
                  <a:pt x="2077279" y="740654"/>
                  <a:pt x="2035369" y="718788"/>
                  <a:pt x="2015325" y="749765"/>
                </a:cubicBezTo>
                <a:cubicBezTo>
                  <a:pt x="2017147" y="737010"/>
                  <a:pt x="2028080" y="733365"/>
                  <a:pt x="2035369" y="726077"/>
                </a:cubicBezTo>
                <a:cubicBezTo>
                  <a:pt x="2030814" y="723344"/>
                  <a:pt x="2028536" y="718788"/>
                  <a:pt x="2026031" y="714689"/>
                </a:cubicBezTo>
                <a:lnTo>
                  <a:pt x="2015528" y="706198"/>
                </a:lnTo>
                <a:lnTo>
                  <a:pt x="2015553" y="705350"/>
                </a:lnTo>
                <a:cubicBezTo>
                  <a:pt x="2017603" y="703300"/>
                  <a:pt x="2020791" y="702389"/>
                  <a:pt x="2022613" y="704211"/>
                </a:cubicBezTo>
                <a:cubicBezTo>
                  <a:pt x="2029902" y="709677"/>
                  <a:pt x="2031724" y="720610"/>
                  <a:pt x="2040835" y="726077"/>
                </a:cubicBezTo>
                <a:cubicBezTo>
                  <a:pt x="2059057" y="733365"/>
                  <a:pt x="2077279" y="735188"/>
                  <a:pt x="2091856" y="749765"/>
                </a:cubicBezTo>
                <a:cubicBezTo>
                  <a:pt x="2093679" y="749765"/>
                  <a:pt x="2099145" y="749765"/>
                  <a:pt x="2100967" y="747943"/>
                </a:cubicBezTo>
                <a:cubicBezTo>
                  <a:pt x="2100967" y="751587"/>
                  <a:pt x="2100967" y="757054"/>
                  <a:pt x="2102790" y="760698"/>
                </a:cubicBezTo>
                <a:cubicBezTo>
                  <a:pt x="2104611" y="760698"/>
                  <a:pt x="2104611" y="760698"/>
                  <a:pt x="2106433" y="760698"/>
                </a:cubicBezTo>
                <a:cubicBezTo>
                  <a:pt x="2106433" y="775275"/>
                  <a:pt x="2088212" y="793497"/>
                  <a:pt x="2102790" y="804430"/>
                </a:cubicBezTo>
                <a:cubicBezTo>
                  <a:pt x="2102790" y="804430"/>
                  <a:pt x="2108256" y="802608"/>
                  <a:pt x="2110078" y="797141"/>
                </a:cubicBezTo>
                <a:cubicBezTo>
                  <a:pt x="2113722" y="769809"/>
                  <a:pt x="2135588" y="749765"/>
                  <a:pt x="2135588" y="724254"/>
                </a:cubicBezTo>
                <a:cubicBezTo>
                  <a:pt x="2135588" y="715144"/>
                  <a:pt x="2122833" y="702388"/>
                  <a:pt x="2115544" y="715144"/>
                </a:cubicBezTo>
                <a:cubicBezTo>
                  <a:pt x="2115544" y="716966"/>
                  <a:pt x="2115544" y="722432"/>
                  <a:pt x="2113722" y="724254"/>
                </a:cubicBezTo>
                <a:cubicBezTo>
                  <a:pt x="2110078" y="720610"/>
                  <a:pt x="2110078" y="726077"/>
                  <a:pt x="2106433" y="726077"/>
                </a:cubicBezTo>
                <a:cubicBezTo>
                  <a:pt x="2110078" y="711499"/>
                  <a:pt x="2133766" y="704211"/>
                  <a:pt x="2119189" y="687811"/>
                </a:cubicBezTo>
                <a:lnTo>
                  <a:pt x="2104803" y="667671"/>
                </a:lnTo>
                <a:lnTo>
                  <a:pt x="2108256" y="665945"/>
                </a:lnTo>
                <a:cubicBezTo>
                  <a:pt x="2111900" y="667767"/>
                  <a:pt x="2115544" y="673234"/>
                  <a:pt x="2115544" y="675056"/>
                </a:cubicBezTo>
                <a:cubicBezTo>
                  <a:pt x="2121011" y="691455"/>
                  <a:pt x="2126477" y="704211"/>
                  <a:pt x="2137410" y="716966"/>
                </a:cubicBezTo>
                <a:cubicBezTo>
                  <a:pt x="2144699" y="727899"/>
                  <a:pt x="2142877" y="740654"/>
                  <a:pt x="2137410" y="749765"/>
                </a:cubicBezTo>
                <a:cubicBezTo>
                  <a:pt x="2137410" y="753409"/>
                  <a:pt x="2130122" y="757054"/>
                  <a:pt x="2126477" y="760698"/>
                </a:cubicBezTo>
                <a:cubicBezTo>
                  <a:pt x="2115544" y="780742"/>
                  <a:pt x="2108256" y="813541"/>
                  <a:pt x="2130122" y="824474"/>
                </a:cubicBezTo>
                <a:cubicBezTo>
                  <a:pt x="2131944" y="813541"/>
                  <a:pt x="2139233" y="806252"/>
                  <a:pt x="2142877" y="798964"/>
                </a:cubicBezTo>
                <a:lnTo>
                  <a:pt x="2130122" y="788031"/>
                </a:lnTo>
                <a:lnTo>
                  <a:pt x="2146521" y="778920"/>
                </a:lnTo>
                <a:lnTo>
                  <a:pt x="2139233" y="764342"/>
                </a:lnTo>
                <a:lnTo>
                  <a:pt x="2162921" y="764342"/>
                </a:lnTo>
                <a:lnTo>
                  <a:pt x="2155632" y="749765"/>
                </a:lnTo>
                <a:lnTo>
                  <a:pt x="2164743" y="749765"/>
                </a:lnTo>
                <a:cubicBezTo>
                  <a:pt x="2175676" y="749765"/>
                  <a:pt x="2164743" y="742476"/>
                  <a:pt x="2172032" y="742476"/>
                </a:cubicBezTo>
                <a:cubicBezTo>
                  <a:pt x="2172032" y="740654"/>
                  <a:pt x="2170210" y="738832"/>
                  <a:pt x="2168387" y="738832"/>
                </a:cubicBezTo>
                <a:cubicBezTo>
                  <a:pt x="2170210" y="737010"/>
                  <a:pt x="2170210" y="737010"/>
                  <a:pt x="2172032" y="735188"/>
                </a:cubicBezTo>
                <a:lnTo>
                  <a:pt x="2172032" y="733365"/>
                </a:lnTo>
                <a:cubicBezTo>
                  <a:pt x="2172032" y="733365"/>
                  <a:pt x="2173854" y="733365"/>
                  <a:pt x="2173854" y="733365"/>
                </a:cubicBezTo>
                <a:cubicBezTo>
                  <a:pt x="2175676" y="731543"/>
                  <a:pt x="2177498" y="729721"/>
                  <a:pt x="2177498" y="726077"/>
                </a:cubicBezTo>
                <a:cubicBezTo>
                  <a:pt x="2177498" y="726077"/>
                  <a:pt x="2177498" y="726077"/>
                  <a:pt x="2179320" y="727899"/>
                </a:cubicBezTo>
                <a:cubicBezTo>
                  <a:pt x="2179320" y="718788"/>
                  <a:pt x="2172032" y="706033"/>
                  <a:pt x="2181143" y="700566"/>
                </a:cubicBezTo>
                <a:cubicBezTo>
                  <a:pt x="2182965" y="704211"/>
                  <a:pt x="2182965" y="706033"/>
                  <a:pt x="2184787" y="707855"/>
                </a:cubicBezTo>
                <a:cubicBezTo>
                  <a:pt x="2175676" y="711499"/>
                  <a:pt x="2184787" y="715144"/>
                  <a:pt x="2184787" y="722432"/>
                </a:cubicBezTo>
                <a:cubicBezTo>
                  <a:pt x="2193898" y="720610"/>
                  <a:pt x="2210297" y="716966"/>
                  <a:pt x="2203009" y="706033"/>
                </a:cubicBezTo>
                <a:cubicBezTo>
                  <a:pt x="2208475" y="715144"/>
                  <a:pt x="2217586" y="715144"/>
                  <a:pt x="2226697" y="709677"/>
                </a:cubicBezTo>
                <a:cubicBezTo>
                  <a:pt x="2226697" y="707855"/>
                  <a:pt x="2226697" y="706033"/>
                  <a:pt x="2226697" y="704211"/>
                </a:cubicBezTo>
                <a:cubicBezTo>
                  <a:pt x="2228519" y="707855"/>
                  <a:pt x="2233986" y="706033"/>
                  <a:pt x="2235808" y="706033"/>
                </a:cubicBezTo>
                <a:cubicBezTo>
                  <a:pt x="2233986" y="702388"/>
                  <a:pt x="2233986" y="698744"/>
                  <a:pt x="2232163" y="695100"/>
                </a:cubicBezTo>
                <a:cubicBezTo>
                  <a:pt x="2235808" y="698744"/>
                  <a:pt x="2233986" y="704211"/>
                  <a:pt x="2239452" y="706033"/>
                </a:cubicBezTo>
                <a:cubicBezTo>
                  <a:pt x="2239452" y="704211"/>
                  <a:pt x="2239452" y="702388"/>
                  <a:pt x="2239452" y="700566"/>
                </a:cubicBezTo>
                <a:cubicBezTo>
                  <a:pt x="2244919" y="707855"/>
                  <a:pt x="2255852" y="720610"/>
                  <a:pt x="2263140" y="709677"/>
                </a:cubicBezTo>
                <a:cubicBezTo>
                  <a:pt x="2266785" y="704211"/>
                  <a:pt x="2261318" y="700566"/>
                  <a:pt x="2259496" y="695100"/>
                </a:cubicBezTo>
                <a:cubicBezTo>
                  <a:pt x="2263140" y="696922"/>
                  <a:pt x="2268607" y="700566"/>
                  <a:pt x="2270429" y="698744"/>
                </a:cubicBezTo>
                <a:cubicBezTo>
                  <a:pt x="2275896" y="691455"/>
                  <a:pt x="2281362" y="693278"/>
                  <a:pt x="2286829" y="685989"/>
                </a:cubicBezTo>
                <a:cubicBezTo>
                  <a:pt x="2285007" y="689633"/>
                  <a:pt x="2283184" y="695100"/>
                  <a:pt x="2288651" y="696922"/>
                </a:cubicBezTo>
                <a:cubicBezTo>
                  <a:pt x="2294117" y="664123"/>
                  <a:pt x="2288651" y="634968"/>
                  <a:pt x="2255852" y="620391"/>
                </a:cubicBezTo>
                <a:cubicBezTo>
                  <a:pt x="2264963" y="611280"/>
                  <a:pt x="2266785" y="631324"/>
                  <a:pt x="2275896" y="631324"/>
                </a:cubicBezTo>
                <a:cubicBezTo>
                  <a:pt x="2281362" y="629501"/>
                  <a:pt x="2283184" y="627679"/>
                  <a:pt x="2283184" y="622213"/>
                </a:cubicBezTo>
                <a:cubicBezTo>
                  <a:pt x="2283184" y="616746"/>
                  <a:pt x="2277718" y="618568"/>
                  <a:pt x="2277718" y="614924"/>
                </a:cubicBezTo>
                <a:cubicBezTo>
                  <a:pt x="2277718" y="618568"/>
                  <a:pt x="2277718" y="620391"/>
                  <a:pt x="2275896" y="622213"/>
                </a:cubicBezTo>
                <a:cubicBezTo>
                  <a:pt x="2274074" y="587591"/>
                  <a:pt x="2248563" y="560260"/>
                  <a:pt x="2213942" y="558437"/>
                </a:cubicBezTo>
                <a:cubicBezTo>
                  <a:pt x="2213942" y="562081"/>
                  <a:pt x="2213942" y="563904"/>
                  <a:pt x="2213942" y="565725"/>
                </a:cubicBezTo>
                <a:cubicBezTo>
                  <a:pt x="2212120" y="563904"/>
                  <a:pt x="2210297" y="560260"/>
                  <a:pt x="2212120" y="558437"/>
                </a:cubicBezTo>
                <a:cubicBezTo>
                  <a:pt x="2210297" y="563904"/>
                  <a:pt x="2204831" y="560260"/>
                  <a:pt x="2203009" y="558437"/>
                </a:cubicBezTo>
                <a:cubicBezTo>
                  <a:pt x="2203009" y="560260"/>
                  <a:pt x="2203009" y="563904"/>
                  <a:pt x="2204831" y="565725"/>
                </a:cubicBezTo>
                <a:cubicBezTo>
                  <a:pt x="2201187" y="562081"/>
                  <a:pt x="2197542" y="558437"/>
                  <a:pt x="2195720" y="552970"/>
                </a:cubicBezTo>
                <a:cubicBezTo>
                  <a:pt x="2186609" y="560260"/>
                  <a:pt x="2199364" y="573014"/>
                  <a:pt x="2188431" y="576658"/>
                </a:cubicBezTo>
                <a:cubicBezTo>
                  <a:pt x="2184787" y="576658"/>
                  <a:pt x="2182965" y="574836"/>
                  <a:pt x="2182965" y="573014"/>
                </a:cubicBezTo>
                <a:cubicBezTo>
                  <a:pt x="2184787" y="563904"/>
                  <a:pt x="2179320" y="552970"/>
                  <a:pt x="2186609" y="543860"/>
                </a:cubicBezTo>
                <a:cubicBezTo>
                  <a:pt x="2188431" y="542037"/>
                  <a:pt x="2179320" y="542037"/>
                  <a:pt x="2177498" y="540215"/>
                </a:cubicBezTo>
                <a:cubicBezTo>
                  <a:pt x="2179320" y="547504"/>
                  <a:pt x="2182965" y="551148"/>
                  <a:pt x="2181143" y="558437"/>
                </a:cubicBezTo>
                <a:cubicBezTo>
                  <a:pt x="2179320" y="554792"/>
                  <a:pt x="2179320" y="552970"/>
                  <a:pt x="2177498" y="551148"/>
                </a:cubicBezTo>
                <a:cubicBezTo>
                  <a:pt x="2175676" y="552970"/>
                  <a:pt x="2175676" y="552970"/>
                  <a:pt x="2173854" y="552970"/>
                </a:cubicBezTo>
                <a:cubicBezTo>
                  <a:pt x="2175676" y="556616"/>
                  <a:pt x="2173854" y="563904"/>
                  <a:pt x="2175676" y="567548"/>
                </a:cubicBezTo>
                <a:cubicBezTo>
                  <a:pt x="2173854" y="562081"/>
                  <a:pt x="2168387" y="562081"/>
                  <a:pt x="2166565" y="554792"/>
                </a:cubicBezTo>
                <a:cubicBezTo>
                  <a:pt x="2161099" y="556616"/>
                  <a:pt x="2166565" y="562081"/>
                  <a:pt x="2166565" y="563904"/>
                </a:cubicBezTo>
                <a:cubicBezTo>
                  <a:pt x="2166565" y="563904"/>
                  <a:pt x="2168387" y="563904"/>
                  <a:pt x="2168387" y="562081"/>
                </a:cubicBezTo>
                <a:cubicBezTo>
                  <a:pt x="2168387" y="563904"/>
                  <a:pt x="2172032" y="567548"/>
                  <a:pt x="2170210" y="571192"/>
                </a:cubicBezTo>
                <a:cubicBezTo>
                  <a:pt x="2164743" y="567548"/>
                  <a:pt x="2164743" y="562081"/>
                  <a:pt x="2159277" y="565725"/>
                </a:cubicBezTo>
                <a:cubicBezTo>
                  <a:pt x="2159277" y="567548"/>
                  <a:pt x="2159277" y="571192"/>
                  <a:pt x="2161099" y="573014"/>
                </a:cubicBezTo>
                <a:cubicBezTo>
                  <a:pt x="2159277" y="571192"/>
                  <a:pt x="2157454" y="569370"/>
                  <a:pt x="2155632" y="571192"/>
                </a:cubicBezTo>
                <a:cubicBezTo>
                  <a:pt x="2155632" y="576658"/>
                  <a:pt x="2155632" y="582125"/>
                  <a:pt x="2157454" y="587591"/>
                </a:cubicBezTo>
                <a:cubicBezTo>
                  <a:pt x="2150166" y="591236"/>
                  <a:pt x="2157454" y="594880"/>
                  <a:pt x="2155632" y="596702"/>
                </a:cubicBezTo>
                <a:cubicBezTo>
                  <a:pt x="2146521" y="593058"/>
                  <a:pt x="2155632" y="582125"/>
                  <a:pt x="2146521" y="578481"/>
                </a:cubicBezTo>
                <a:cubicBezTo>
                  <a:pt x="2148344" y="582125"/>
                  <a:pt x="2148344" y="585769"/>
                  <a:pt x="2150166" y="587591"/>
                </a:cubicBezTo>
                <a:cubicBezTo>
                  <a:pt x="2150166" y="587591"/>
                  <a:pt x="2150166" y="589414"/>
                  <a:pt x="2150166" y="589414"/>
                </a:cubicBezTo>
                <a:cubicBezTo>
                  <a:pt x="2148344" y="587591"/>
                  <a:pt x="2146521" y="587591"/>
                  <a:pt x="2146521" y="587591"/>
                </a:cubicBezTo>
                <a:cubicBezTo>
                  <a:pt x="2146521" y="596702"/>
                  <a:pt x="2151988" y="605813"/>
                  <a:pt x="2144699" y="607635"/>
                </a:cubicBezTo>
                <a:cubicBezTo>
                  <a:pt x="2137410" y="609459"/>
                  <a:pt x="2142877" y="594880"/>
                  <a:pt x="2137410" y="587591"/>
                </a:cubicBezTo>
                <a:cubicBezTo>
                  <a:pt x="2137410" y="593058"/>
                  <a:pt x="2139233" y="602169"/>
                  <a:pt x="2135588" y="602169"/>
                </a:cubicBezTo>
                <a:cubicBezTo>
                  <a:pt x="2126477" y="602169"/>
                  <a:pt x="2137410" y="589414"/>
                  <a:pt x="2135588" y="582125"/>
                </a:cubicBezTo>
                <a:cubicBezTo>
                  <a:pt x="2135588" y="582125"/>
                  <a:pt x="2135588" y="582125"/>
                  <a:pt x="2133766" y="583947"/>
                </a:cubicBezTo>
                <a:cubicBezTo>
                  <a:pt x="2130122" y="576658"/>
                  <a:pt x="2130122" y="571192"/>
                  <a:pt x="2128300" y="563904"/>
                </a:cubicBezTo>
                <a:cubicBezTo>
                  <a:pt x="2124655" y="567548"/>
                  <a:pt x="2128300" y="571192"/>
                  <a:pt x="2128300" y="574836"/>
                </a:cubicBezTo>
                <a:lnTo>
                  <a:pt x="2126477" y="573014"/>
                </a:lnTo>
                <a:cubicBezTo>
                  <a:pt x="2128300" y="583947"/>
                  <a:pt x="2128300" y="594880"/>
                  <a:pt x="2131944" y="605813"/>
                </a:cubicBezTo>
                <a:cubicBezTo>
                  <a:pt x="2131944" y="607636"/>
                  <a:pt x="2134222" y="609458"/>
                  <a:pt x="2136272" y="611736"/>
                </a:cubicBezTo>
                <a:lnTo>
                  <a:pt x="2137376" y="614963"/>
                </a:lnTo>
                <a:lnTo>
                  <a:pt x="2134222" y="618569"/>
                </a:lnTo>
                <a:cubicBezTo>
                  <a:pt x="2133311" y="619936"/>
                  <a:pt x="2132855" y="621302"/>
                  <a:pt x="2133766" y="622213"/>
                </a:cubicBezTo>
                <a:cubicBezTo>
                  <a:pt x="2135588" y="624035"/>
                  <a:pt x="2137410" y="622213"/>
                  <a:pt x="2139233" y="620391"/>
                </a:cubicBezTo>
                <a:cubicBezTo>
                  <a:pt x="2137410" y="625857"/>
                  <a:pt x="2142877" y="629501"/>
                  <a:pt x="2139233" y="634968"/>
                </a:cubicBezTo>
                <a:cubicBezTo>
                  <a:pt x="2144699" y="631324"/>
                  <a:pt x="2148344" y="627679"/>
                  <a:pt x="2150166" y="620391"/>
                </a:cubicBezTo>
                <a:cubicBezTo>
                  <a:pt x="2153810" y="631324"/>
                  <a:pt x="2151988" y="640435"/>
                  <a:pt x="2151988" y="651368"/>
                </a:cubicBezTo>
                <a:cubicBezTo>
                  <a:pt x="2146521" y="651368"/>
                  <a:pt x="2148344" y="636790"/>
                  <a:pt x="2141055" y="644079"/>
                </a:cubicBezTo>
                <a:cubicBezTo>
                  <a:pt x="2137410" y="645901"/>
                  <a:pt x="2139233" y="644079"/>
                  <a:pt x="2139233" y="642257"/>
                </a:cubicBezTo>
                <a:cubicBezTo>
                  <a:pt x="2135588" y="644079"/>
                  <a:pt x="2137410" y="647723"/>
                  <a:pt x="2137410" y="649545"/>
                </a:cubicBezTo>
                <a:cubicBezTo>
                  <a:pt x="2135588" y="636790"/>
                  <a:pt x="2135588" y="624035"/>
                  <a:pt x="2128300" y="613103"/>
                </a:cubicBezTo>
                <a:cubicBezTo>
                  <a:pt x="2126477" y="611280"/>
                  <a:pt x="2128300" y="605813"/>
                  <a:pt x="2128300" y="605813"/>
                </a:cubicBezTo>
                <a:cubicBezTo>
                  <a:pt x="2119189" y="602169"/>
                  <a:pt x="2128300" y="611280"/>
                  <a:pt x="2121011" y="609459"/>
                </a:cubicBezTo>
                <a:cubicBezTo>
                  <a:pt x="2121011" y="609459"/>
                  <a:pt x="2121011" y="607635"/>
                  <a:pt x="2121011" y="605813"/>
                </a:cubicBezTo>
                <a:cubicBezTo>
                  <a:pt x="2115544" y="614924"/>
                  <a:pt x="2124655" y="620391"/>
                  <a:pt x="2122833" y="629501"/>
                </a:cubicBezTo>
                <a:cubicBezTo>
                  <a:pt x="2122833" y="629501"/>
                  <a:pt x="2122833" y="629501"/>
                  <a:pt x="2124655" y="627679"/>
                </a:cubicBezTo>
                <a:cubicBezTo>
                  <a:pt x="2126477" y="631324"/>
                  <a:pt x="2126477" y="634968"/>
                  <a:pt x="2126477" y="638612"/>
                </a:cubicBezTo>
                <a:cubicBezTo>
                  <a:pt x="2126477" y="638612"/>
                  <a:pt x="2126477" y="636790"/>
                  <a:pt x="2124655" y="636790"/>
                </a:cubicBezTo>
                <a:cubicBezTo>
                  <a:pt x="2121011" y="636790"/>
                  <a:pt x="2122833" y="638612"/>
                  <a:pt x="2122833" y="640435"/>
                </a:cubicBezTo>
                <a:cubicBezTo>
                  <a:pt x="2121011" y="634968"/>
                  <a:pt x="2119189" y="627679"/>
                  <a:pt x="2113722" y="625857"/>
                </a:cubicBezTo>
                <a:cubicBezTo>
                  <a:pt x="2113722" y="629501"/>
                  <a:pt x="2113722" y="631324"/>
                  <a:pt x="2113722" y="633146"/>
                </a:cubicBezTo>
                <a:cubicBezTo>
                  <a:pt x="2108256" y="629501"/>
                  <a:pt x="2111900" y="624035"/>
                  <a:pt x="2111900" y="618568"/>
                </a:cubicBezTo>
                <a:cubicBezTo>
                  <a:pt x="2113722" y="614924"/>
                  <a:pt x="2111900" y="611280"/>
                  <a:pt x="2108256" y="611280"/>
                </a:cubicBezTo>
                <a:cubicBezTo>
                  <a:pt x="2108256" y="611280"/>
                  <a:pt x="2108256" y="614924"/>
                  <a:pt x="2106433" y="613103"/>
                </a:cubicBezTo>
                <a:cubicBezTo>
                  <a:pt x="2104611" y="611280"/>
                  <a:pt x="2104611" y="611280"/>
                  <a:pt x="2102790" y="609459"/>
                </a:cubicBezTo>
                <a:cubicBezTo>
                  <a:pt x="2098234" y="619480"/>
                  <a:pt x="2099145" y="629046"/>
                  <a:pt x="2100967" y="638613"/>
                </a:cubicBezTo>
                <a:lnTo>
                  <a:pt x="2104556" y="667325"/>
                </a:lnTo>
                <a:lnTo>
                  <a:pt x="2104384" y="667084"/>
                </a:lnTo>
                <a:cubicBezTo>
                  <a:pt x="2100967" y="659568"/>
                  <a:pt x="2099145" y="651368"/>
                  <a:pt x="2099145" y="642257"/>
                </a:cubicBezTo>
                <a:cubicBezTo>
                  <a:pt x="2095500" y="645901"/>
                  <a:pt x="2091856" y="649545"/>
                  <a:pt x="2090034" y="655012"/>
                </a:cubicBezTo>
                <a:cubicBezTo>
                  <a:pt x="2084568" y="645901"/>
                  <a:pt x="2064524" y="656834"/>
                  <a:pt x="2069990" y="642257"/>
                </a:cubicBezTo>
                <a:cubicBezTo>
                  <a:pt x="2073634" y="647723"/>
                  <a:pt x="2082745" y="651368"/>
                  <a:pt x="2090034" y="644079"/>
                </a:cubicBezTo>
                <a:cubicBezTo>
                  <a:pt x="2093679" y="640435"/>
                  <a:pt x="2091856" y="636790"/>
                  <a:pt x="2091856" y="631324"/>
                </a:cubicBezTo>
                <a:cubicBezTo>
                  <a:pt x="2093679" y="631324"/>
                  <a:pt x="2093679" y="631324"/>
                  <a:pt x="2095500" y="633146"/>
                </a:cubicBezTo>
                <a:cubicBezTo>
                  <a:pt x="2099145" y="618568"/>
                  <a:pt x="2080923" y="622213"/>
                  <a:pt x="2071812" y="624035"/>
                </a:cubicBezTo>
                <a:cubicBezTo>
                  <a:pt x="2080923" y="620391"/>
                  <a:pt x="2084568" y="614924"/>
                  <a:pt x="2086390" y="605813"/>
                </a:cubicBezTo>
                <a:cubicBezTo>
                  <a:pt x="2088212" y="609459"/>
                  <a:pt x="2090034" y="614924"/>
                  <a:pt x="2091856" y="616746"/>
                </a:cubicBezTo>
                <a:cubicBezTo>
                  <a:pt x="2099145" y="620391"/>
                  <a:pt x="2097323" y="609459"/>
                  <a:pt x="2099145" y="607635"/>
                </a:cubicBezTo>
                <a:cubicBezTo>
                  <a:pt x="2099145" y="604903"/>
                  <a:pt x="2097779" y="602169"/>
                  <a:pt x="2095729" y="599891"/>
                </a:cubicBezTo>
                <a:lnTo>
                  <a:pt x="2094851" y="599306"/>
                </a:lnTo>
                <a:lnTo>
                  <a:pt x="2095500" y="596702"/>
                </a:lnTo>
                <a:cubicBezTo>
                  <a:pt x="2095500" y="596702"/>
                  <a:pt x="2093679" y="596702"/>
                  <a:pt x="2093679" y="594880"/>
                </a:cubicBezTo>
                <a:lnTo>
                  <a:pt x="2092252" y="597574"/>
                </a:lnTo>
                <a:lnTo>
                  <a:pt x="2088212" y="594880"/>
                </a:lnTo>
                <a:cubicBezTo>
                  <a:pt x="2086390" y="593058"/>
                  <a:pt x="2091856" y="600347"/>
                  <a:pt x="2086390" y="600347"/>
                </a:cubicBezTo>
                <a:cubicBezTo>
                  <a:pt x="2086390" y="598524"/>
                  <a:pt x="2086390" y="594880"/>
                  <a:pt x="2084568" y="593058"/>
                </a:cubicBezTo>
                <a:cubicBezTo>
                  <a:pt x="2080923" y="602169"/>
                  <a:pt x="2075457" y="605813"/>
                  <a:pt x="2073634" y="614924"/>
                </a:cubicBezTo>
                <a:cubicBezTo>
                  <a:pt x="2073634" y="613103"/>
                  <a:pt x="2071812" y="611280"/>
                  <a:pt x="2069990" y="611280"/>
                </a:cubicBezTo>
                <a:cubicBezTo>
                  <a:pt x="2066346" y="614924"/>
                  <a:pt x="2071812" y="620391"/>
                  <a:pt x="2069990" y="624035"/>
                </a:cubicBezTo>
                <a:cubicBezTo>
                  <a:pt x="2068168" y="622213"/>
                  <a:pt x="2066346" y="618568"/>
                  <a:pt x="2064524" y="620391"/>
                </a:cubicBezTo>
                <a:cubicBezTo>
                  <a:pt x="2062701" y="622213"/>
                  <a:pt x="2062701" y="625857"/>
                  <a:pt x="2064524" y="627679"/>
                </a:cubicBezTo>
                <a:cubicBezTo>
                  <a:pt x="2066346" y="629501"/>
                  <a:pt x="2069990" y="624035"/>
                  <a:pt x="2071812" y="627679"/>
                </a:cubicBezTo>
                <a:cubicBezTo>
                  <a:pt x="2062701" y="631324"/>
                  <a:pt x="2077279" y="642257"/>
                  <a:pt x="2066346" y="644079"/>
                </a:cubicBezTo>
                <a:cubicBezTo>
                  <a:pt x="2066346" y="640435"/>
                  <a:pt x="2068168" y="636790"/>
                  <a:pt x="2068168" y="633146"/>
                </a:cubicBezTo>
                <a:cubicBezTo>
                  <a:pt x="2068168" y="631324"/>
                  <a:pt x="2066346" y="629501"/>
                  <a:pt x="2064524" y="631324"/>
                </a:cubicBezTo>
                <a:cubicBezTo>
                  <a:pt x="2062701" y="634968"/>
                  <a:pt x="2062701" y="636790"/>
                  <a:pt x="2060879" y="638612"/>
                </a:cubicBezTo>
                <a:cubicBezTo>
                  <a:pt x="2060879" y="634968"/>
                  <a:pt x="2062701" y="629501"/>
                  <a:pt x="2060879" y="631324"/>
                </a:cubicBezTo>
                <a:cubicBezTo>
                  <a:pt x="2048124" y="634968"/>
                  <a:pt x="2059057" y="640435"/>
                  <a:pt x="2064524" y="645901"/>
                </a:cubicBezTo>
                <a:cubicBezTo>
                  <a:pt x="2059057" y="640435"/>
                  <a:pt x="2053590" y="645901"/>
                  <a:pt x="2053590" y="636790"/>
                </a:cubicBezTo>
                <a:cubicBezTo>
                  <a:pt x="2048124" y="638612"/>
                  <a:pt x="2049946" y="644079"/>
                  <a:pt x="2048124" y="647723"/>
                </a:cubicBezTo>
                <a:cubicBezTo>
                  <a:pt x="2044479" y="645901"/>
                  <a:pt x="2035369" y="645901"/>
                  <a:pt x="2037191" y="644079"/>
                </a:cubicBezTo>
                <a:cubicBezTo>
                  <a:pt x="2046302" y="634968"/>
                  <a:pt x="2059057" y="625857"/>
                  <a:pt x="2060879" y="611280"/>
                </a:cubicBezTo>
                <a:cubicBezTo>
                  <a:pt x="2060879" y="614924"/>
                  <a:pt x="2060879" y="616746"/>
                  <a:pt x="2060879" y="618568"/>
                </a:cubicBezTo>
                <a:cubicBezTo>
                  <a:pt x="2069990" y="614924"/>
                  <a:pt x="2064524" y="603991"/>
                  <a:pt x="2062701" y="596702"/>
                </a:cubicBezTo>
                <a:cubicBezTo>
                  <a:pt x="2068168" y="596702"/>
                  <a:pt x="2062701" y="605813"/>
                  <a:pt x="2069990" y="605813"/>
                </a:cubicBezTo>
                <a:cubicBezTo>
                  <a:pt x="2071812" y="605813"/>
                  <a:pt x="2075457" y="600347"/>
                  <a:pt x="2071812" y="596702"/>
                </a:cubicBezTo>
                <a:cubicBezTo>
                  <a:pt x="2069990" y="596702"/>
                  <a:pt x="2068168" y="596702"/>
                  <a:pt x="2066346" y="594880"/>
                </a:cubicBezTo>
                <a:cubicBezTo>
                  <a:pt x="2064524" y="589414"/>
                  <a:pt x="2066346" y="582125"/>
                  <a:pt x="2059057" y="578481"/>
                </a:cubicBezTo>
                <a:lnTo>
                  <a:pt x="2060879" y="577353"/>
                </a:lnTo>
                <a:lnTo>
                  <a:pt x="2060879" y="578481"/>
                </a:lnTo>
                <a:cubicBezTo>
                  <a:pt x="2062701" y="578481"/>
                  <a:pt x="2064524" y="582125"/>
                  <a:pt x="2066346" y="578481"/>
                </a:cubicBezTo>
                <a:lnTo>
                  <a:pt x="2066346" y="575984"/>
                </a:lnTo>
                <a:lnTo>
                  <a:pt x="2069990" y="576658"/>
                </a:lnTo>
                <a:lnTo>
                  <a:pt x="2066346" y="573925"/>
                </a:lnTo>
                <a:lnTo>
                  <a:pt x="2066346" y="573014"/>
                </a:lnTo>
                <a:lnTo>
                  <a:pt x="2065505" y="573295"/>
                </a:lnTo>
                <a:lnTo>
                  <a:pt x="2055413" y="565725"/>
                </a:lnTo>
                <a:cubicBezTo>
                  <a:pt x="2055413" y="567548"/>
                  <a:pt x="2053590" y="569370"/>
                  <a:pt x="2053590" y="571192"/>
                </a:cubicBezTo>
                <a:cubicBezTo>
                  <a:pt x="2053590" y="563904"/>
                  <a:pt x="2049946" y="560260"/>
                  <a:pt x="2040835" y="563904"/>
                </a:cubicBezTo>
                <a:cubicBezTo>
                  <a:pt x="2039013" y="565725"/>
                  <a:pt x="2039013" y="567548"/>
                  <a:pt x="2039013" y="569370"/>
                </a:cubicBezTo>
                <a:cubicBezTo>
                  <a:pt x="2033546" y="567548"/>
                  <a:pt x="2028080" y="565725"/>
                  <a:pt x="2022613" y="569370"/>
                </a:cubicBezTo>
                <a:cubicBezTo>
                  <a:pt x="1993459" y="580303"/>
                  <a:pt x="1953371" y="605813"/>
                  <a:pt x="1971592" y="642257"/>
                </a:cubicBezTo>
                <a:cubicBezTo>
                  <a:pt x="1971592" y="642257"/>
                  <a:pt x="1971592" y="642257"/>
                  <a:pt x="1973416" y="642257"/>
                </a:cubicBezTo>
                <a:cubicBezTo>
                  <a:pt x="1980703" y="645901"/>
                  <a:pt x="1973416" y="653190"/>
                  <a:pt x="1967948" y="656834"/>
                </a:cubicBezTo>
                <a:cubicBezTo>
                  <a:pt x="1973416" y="644079"/>
                  <a:pt x="1960659" y="631324"/>
                  <a:pt x="1966126" y="616746"/>
                </a:cubicBezTo>
                <a:cubicBezTo>
                  <a:pt x="1957015" y="616746"/>
                  <a:pt x="1957015" y="625857"/>
                  <a:pt x="1955194" y="634968"/>
                </a:cubicBezTo>
                <a:cubicBezTo>
                  <a:pt x="1953371" y="627680"/>
                  <a:pt x="1953826" y="620391"/>
                  <a:pt x="1956332" y="613558"/>
                </a:cubicBezTo>
                <a:lnTo>
                  <a:pt x="1960732" y="607442"/>
                </a:lnTo>
                <a:lnTo>
                  <a:pt x="1960659" y="607635"/>
                </a:lnTo>
                <a:cubicBezTo>
                  <a:pt x="1969770" y="609459"/>
                  <a:pt x="1967948" y="602169"/>
                  <a:pt x="1969770" y="594880"/>
                </a:cubicBezTo>
                <a:cubicBezTo>
                  <a:pt x="1971592" y="593058"/>
                  <a:pt x="1966126" y="591236"/>
                  <a:pt x="1964305" y="589414"/>
                </a:cubicBezTo>
                <a:cubicBezTo>
                  <a:pt x="1971592" y="589414"/>
                  <a:pt x="1977059" y="582125"/>
                  <a:pt x="1975237" y="574836"/>
                </a:cubicBezTo>
                <a:cubicBezTo>
                  <a:pt x="1975237" y="580303"/>
                  <a:pt x="1978881" y="574836"/>
                  <a:pt x="1980703" y="576658"/>
                </a:cubicBezTo>
                <a:cubicBezTo>
                  <a:pt x="1984348" y="569370"/>
                  <a:pt x="1980703" y="562081"/>
                  <a:pt x="1977059" y="558437"/>
                </a:cubicBezTo>
                <a:cubicBezTo>
                  <a:pt x="1975237" y="554792"/>
                  <a:pt x="1977059" y="562081"/>
                  <a:pt x="1975237" y="562081"/>
                </a:cubicBezTo>
                <a:cubicBezTo>
                  <a:pt x="1973416" y="554792"/>
                  <a:pt x="1975237" y="547504"/>
                  <a:pt x="1978881" y="542037"/>
                </a:cubicBezTo>
                <a:cubicBezTo>
                  <a:pt x="1980703" y="545681"/>
                  <a:pt x="1982527" y="547504"/>
                  <a:pt x="1984348" y="549326"/>
                </a:cubicBezTo>
                <a:lnTo>
                  <a:pt x="1986788" y="547806"/>
                </a:lnTo>
                <a:lnTo>
                  <a:pt x="1984120" y="552515"/>
                </a:lnTo>
                <a:cubicBezTo>
                  <a:pt x="1984803" y="555704"/>
                  <a:pt x="1986170" y="559348"/>
                  <a:pt x="1984348" y="562081"/>
                </a:cubicBezTo>
                <a:cubicBezTo>
                  <a:pt x="1987992" y="562081"/>
                  <a:pt x="1989359" y="558893"/>
                  <a:pt x="1989586" y="555248"/>
                </a:cubicBezTo>
                <a:lnTo>
                  <a:pt x="1988199" y="546927"/>
                </a:lnTo>
                <a:lnTo>
                  <a:pt x="1998242" y="540671"/>
                </a:lnTo>
                <a:cubicBezTo>
                  <a:pt x="2001203" y="535204"/>
                  <a:pt x="2003480" y="528371"/>
                  <a:pt x="2008036" y="523815"/>
                </a:cubicBezTo>
                <a:cubicBezTo>
                  <a:pt x="2000747" y="527461"/>
                  <a:pt x="2000747" y="518349"/>
                  <a:pt x="2002570" y="512882"/>
                </a:cubicBezTo>
                <a:cubicBezTo>
                  <a:pt x="2002570" y="518349"/>
                  <a:pt x="2006214" y="521993"/>
                  <a:pt x="2009858" y="523815"/>
                </a:cubicBezTo>
                <a:cubicBezTo>
                  <a:pt x="2009858" y="505594"/>
                  <a:pt x="2018969" y="480083"/>
                  <a:pt x="2008036" y="465506"/>
                </a:cubicBezTo>
                <a:cubicBezTo>
                  <a:pt x="2009858" y="467328"/>
                  <a:pt x="2009858" y="470972"/>
                  <a:pt x="2008036" y="472795"/>
                </a:cubicBezTo>
                <a:cubicBezTo>
                  <a:pt x="2008036" y="469150"/>
                  <a:pt x="2006214" y="465506"/>
                  <a:pt x="2004392" y="467328"/>
                </a:cubicBezTo>
                <a:cubicBezTo>
                  <a:pt x="1993459" y="470972"/>
                  <a:pt x="2006214" y="481906"/>
                  <a:pt x="2006214" y="489194"/>
                </a:cubicBezTo>
                <a:cubicBezTo>
                  <a:pt x="2006214" y="489194"/>
                  <a:pt x="2006214" y="487373"/>
                  <a:pt x="2004392" y="487373"/>
                </a:cubicBezTo>
                <a:cubicBezTo>
                  <a:pt x="2004392" y="489194"/>
                  <a:pt x="2004392" y="492838"/>
                  <a:pt x="2004392" y="494662"/>
                </a:cubicBezTo>
                <a:cubicBezTo>
                  <a:pt x="2000747" y="489194"/>
                  <a:pt x="1995281" y="483728"/>
                  <a:pt x="1993459" y="476439"/>
                </a:cubicBezTo>
                <a:lnTo>
                  <a:pt x="1969528" y="504738"/>
                </a:lnTo>
                <a:lnTo>
                  <a:pt x="1969770" y="503771"/>
                </a:lnTo>
                <a:cubicBezTo>
                  <a:pt x="1966126" y="507417"/>
                  <a:pt x="1957015" y="512882"/>
                  <a:pt x="1955194" y="505594"/>
                </a:cubicBezTo>
                <a:cubicBezTo>
                  <a:pt x="1958837" y="503771"/>
                  <a:pt x="1958837" y="500127"/>
                  <a:pt x="1960659" y="498306"/>
                </a:cubicBezTo>
                <a:cubicBezTo>
                  <a:pt x="1962482" y="498306"/>
                  <a:pt x="1960659" y="503771"/>
                  <a:pt x="1964305" y="503771"/>
                </a:cubicBezTo>
                <a:cubicBezTo>
                  <a:pt x="1971592" y="496483"/>
                  <a:pt x="1982527" y="491017"/>
                  <a:pt x="1984348" y="478262"/>
                </a:cubicBezTo>
                <a:cubicBezTo>
                  <a:pt x="1977059" y="481906"/>
                  <a:pt x="1971592" y="474618"/>
                  <a:pt x="1966126" y="474618"/>
                </a:cubicBezTo>
                <a:lnTo>
                  <a:pt x="1965303" y="481204"/>
                </a:lnTo>
                <a:lnTo>
                  <a:pt x="1953826" y="471428"/>
                </a:lnTo>
                <a:lnTo>
                  <a:pt x="1939186" y="479857"/>
                </a:lnTo>
                <a:lnTo>
                  <a:pt x="1936972" y="469150"/>
                </a:lnTo>
                <a:cubicBezTo>
                  <a:pt x="1938793" y="470972"/>
                  <a:pt x="1942438" y="469150"/>
                  <a:pt x="1946083" y="469150"/>
                </a:cubicBezTo>
                <a:cubicBezTo>
                  <a:pt x="1944260" y="461862"/>
                  <a:pt x="1942438" y="450928"/>
                  <a:pt x="1938793" y="443640"/>
                </a:cubicBezTo>
                <a:cubicBezTo>
                  <a:pt x="1942438" y="447284"/>
                  <a:pt x="1946083" y="441819"/>
                  <a:pt x="1947904" y="443640"/>
                </a:cubicBezTo>
                <a:cubicBezTo>
                  <a:pt x="1944260" y="450928"/>
                  <a:pt x="1944260" y="458218"/>
                  <a:pt x="1947904" y="465506"/>
                </a:cubicBezTo>
                <a:cubicBezTo>
                  <a:pt x="1947904" y="461862"/>
                  <a:pt x="1951549" y="461862"/>
                  <a:pt x="1953371" y="463684"/>
                </a:cubicBezTo>
                <a:cubicBezTo>
                  <a:pt x="1953371" y="461862"/>
                  <a:pt x="1953371" y="460039"/>
                  <a:pt x="1953371" y="458218"/>
                </a:cubicBezTo>
                <a:cubicBezTo>
                  <a:pt x="1966126" y="463684"/>
                  <a:pt x="1980703" y="485550"/>
                  <a:pt x="1989814" y="467328"/>
                </a:cubicBezTo>
                <a:cubicBezTo>
                  <a:pt x="1989814" y="467328"/>
                  <a:pt x="1987992" y="460039"/>
                  <a:pt x="1986170" y="456395"/>
                </a:cubicBezTo>
                <a:cubicBezTo>
                  <a:pt x="1986170" y="456395"/>
                  <a:pt x="1986170" y="458218"/>
                  <a:pt x="1984348" y="458218"/>
                </a:cubicBezTo>
                <a:lnTo>
                  <a:pt x="1985837" y="454591"/>
                </a:lnTo>
                <a:lnTo>
                  <a:pt x="1984347" y="454591"/>
                </a:lnTo>
                <a:cubicBezTo>
                  <a:pt x="1984347" y="450947"/>
                  <a:pt x="1984347" y="449124"/>
                  <a:pt x="1986169" y="447302"/>
                </a:cubicBezTo>
                <a:lnTo>
                  <a:pt x="1986169" y="453784"/>
                </a:lnTo>
                <a:lnTo>
                  <a:pt x="1989586" y="445463"/>
                </a:lnTo>
                <a:cubicBezTo>
                  <a:pt x="1991636" y="441363"/>
                  <a:pt x="1994369" y="439085"/>
                  <a:pt x="1998925" y="443640"/>
                </a:cubicBezTo>
                <a:cubicBezTo>
                  <a:pt x="1998925" y="445463"/>
                  <a:pt x="1998925" y="445463"/>
                  <a:pt x="1998925" y="447284"/>
                </a:cubicBezTo>
                <a:cubicBezTo>
                  <a:pt x="1997103" y="447284"/>
                  <a:pt x="1997103" y="445463"/>
                  <a:pt x="1997103" y="445463"/>
                </a:cubicBezTo>
                <a:cubicBezTo>
                  <a:pt x="1997103" y="445463"/>
                  <a:pt x="1995281" y="447284"/>
                  <a:pt x="1995281" y="447284"/>
                </a:cubicBezTo>
                <a:cubicBezTo>
                  <a:pt x="1993459" y="445463"/>
                  <a:pt x="1993459" y="445463"/>
                  <a:pt x="1993459" y="447284"/>
                </a:cubicBezTo>
                <a:cubicBezTo>
                  <a:pt x="1991638" y="447284"/>
                  <a:pt x="1989814" y="449107"/>
                  <a:pt x="1989814" y="452751"/>
                </a:cubicBezTo>
                <a:cubicBezTo>
                  <a:pt x="1991638" y="452751"/>
                  <a:pt x="1993459" y="452751"/>
                  <a:pt x="1993459" y="452751"/>
                </a:cubicBezTo>
                <a:cubicBezTo>
                  <a:pt x="1993459" y="456395"/>
                  <a:pt x="1993459" y="458218"/>
                  <a:pt x="1991638" y="456395"/>
                </a:cubicBezTo>
                <a:cubicBezTo>
                  <a:pt x="1989814" y="456395"/>
                  <a:pt x="1991638" y="461862"/>
                  <a:pt x="1991638" y="463684"/>
                </a:cubicBezTo>
                <a:cubicBezTo>
                  <a:pt x="1998925" y="467328"/>
                  <a:pt x="1995281" y="456395"/>
                  <a:pt x="2000747" y="461862"/>
                </a:cubicBezTo>
                <a:cubicBezTo>
                  <a:pt x="2002570" y="461862"/>
                  <a:pt x="2000747" y="456395"/>
                  <a:pt x="2000747" y="454574"/>
                </a:cubicBezTo>
                <a:cubicBezTo>
                  <a:pt x="1998925" y="454574"/>
                  <a:pt x="1997103" y="452751"/>
                  <a:pt x="1997103" y="450928"/>
                </a:cubicBezTo>
                <a:cubicBezTo>
                  <a:pt x="1997103" y="449107"/>
                  <a:pt x="1998925" y="449107"/>
                  <a:pt x="2002570" y="449107"/>
                </a:cubicBezTo>
                <a:cubicBezTo>
                  <a:pt x="2002570" y="447284"/>
                  <a:pt x="2002570" y="445463"/>
                  <a:pt x="2002570" y="443640"/>
                </a:cubicBezTo>
                <a:cubicBezTo>
                  <a:pt x="2002570" y="443640"/>
                  <a:pt x="2000747" y="443640"/>
                  <a:pt x="2000747" y="443640"/>
                </a:cubicBezTo>
                <a:cubicBezTo>
                  <a:pt x="1998925" y="439995"/>
                  <a:pt x="1998925" y="436351"/>
                  <a:pt x="1997103" y="432707"/>
                </a:cubicBezTo>
                <a:cubicBezTo>
                  <a:pt x="2006214" y="432707"/>
                  <a:pt x="2015325" y="432707"/>
                  <a:pt x="2026258" y="430886"/>
                </a:cubicBezTo>
                <a:cubicBezTo>
                  <a:pt x="2024436" y="425419"/>
                  <a:pt x="2018969" y="414485"/>
                  <a:pt x="2024436" y="407196"/>
                </a:cubicBezTo>
                <a:cubicBezTo>
                  <a:pt x="2024436" y="416308"/>
                  <a:pt x="2026258" y="421775"/>
                  <a:pt x="2029902" y="430886"/>
                </a:cubicBezTo>
                <a:cubicBezTo>
                  <a:pt x="2042657" y="429063"/>
                  <a:pt x="2055413" y="423596"/>
                  <a:pt x="2071812" y="423596"/>
                </a:cubicBezTo>
                <a:cubicBezTo>
                  <a:pt x="2073634" y="418129"/>
                  <a:pt x="2073634" y="416308"/>
                  <a:pt x="2079101" y="418129"/>
                </a:cubicBezTo>
                <a:lnTo>
                  <a:pt x="2081033" y="409128"/>
                </a:lnTo>
                <a:lnTo>
                  <a:pt x="2082745" y="410841"/>
                </a:lnTo>
                <a:lnTo>
                  <a:pt x="2081290" y="407930"/>
                </a:lnTo>
                <a:lnTo>
                  <a:pt x="2083145" y="399285"/>
                </a:lnTo>
                <a:lnTo>
                  <a:pt x="2086390" y="409019"/>
                </a:lnTo>
                <a:lnTo>
                  <a:pt x="2090034" y="410841"/>
                </a:lnTo>
                <a:cubicBezTo>
                  <a:pt x="2090034" y="407196"/>
                  <a:pt x="2091856" y="405375"/>
                  <a:pt x="2091856" y="401731"/>
                </a:cubicBezTo>
                <a:cubicBezTo>
                  <a:pt x="2091856" y="399908"/>
                  <a:pt x="2095500" y="401731"/>
                  <a:pt x="2099145" y="399908"/>
                </a:cubicBezTo>
                <a:cubicBezTo>
                  <a:pt x="2100967" y="396264"/>
                  <a:pt x="2102790" y="392620"/>
                  <a:pt x="2104611" y="388976"/>
                </a:cubicBezTo>
                <a:cubicBezTo>
                  <a:pt x="2106433" y="394441"/>
                  <a:pt x="2108256" y="401731"/>
                  <a:pt x="2115544" y="401731"/>
                </a:cubicBezTo>
                <a:cubicBezTo>
                  <a:pt x="2117366" y="394441"/>
                  <a:pt x="2115544" y="394441"/>
                  <a:pt x="2115544" y="388976"/>
                </a:cubicBezTo>
                <a:cubicBezTo>
                  <a:pt x="2119189" y="388976"/>
                  <a:pt x="2121011" y="396264"/>
                  <a:pt x="2117366" y="396264"/>
                </a:cubicBezTo>
                <a:cubicBezTo>
                  <a:pt x="2124655" y="396264"/>
                  <a:pt x="2124655" y="403552"/>
                  <a:pt x="2128300" y="407196"/>
                </a:cubicBezTo>
                <a:lnTo>
                  <a:pt x="2128374" y="405272"/>
                </a:lnTo>
                <a:lnTo>
                  <a:pt x="2131261" y="401275"/>
                </a:lnTo>
                <a:cubicBezTo>
                  <a:pt x="2131033" y="398997"/>
                  <a:pt x="2130122" y="396264"/>
                  <a:pt x="2130122" y="394441"/>
                </a:cubicBezTo>
                <a:lnTo>
                  <a:pt x="2128644" y="398241"/>
                </a:lnTo>
                <a:lnTo>
                  <a:pt x="2128755" y="395353"/>
                </a:lnTo>
                <a:cubicBezTo>
                  <a:pt x="2129667" y="391253"/>
                  <a:pt x="2131033" y="387153"/>
                  <a:pt x="2131944" y="383509"/>
                </a:cubicBezTo>
                <a:cubicBezTo>
                  <a:pt x="2131944" y="390797"/>
                  <a:pt x="2137410" y="399908"/>
                  <a:pt x="2142877" y="407196"/>
                </a:cubicBezTo>
                <a:cubicBezTo>
                  <a:pt x="2144699" y="405375"/>
                  <a:pt x="2144699" y="399908"/>
                  <a:pt x="2146521" y="405375"/>
                </a:cubicBezTo>
                <a:cubicBezTo>
                  <a:pt x="2150166" y="403552"/>
                  <a:pt x="2144699" y="398085"/>
                  <a:pt x="2146521" y="394441"/>
                </a:cubicBezTo>
                <a:cubicBezTo>
                  <a:pt x="2142877" y="396264"/>
                  <a:pt x="2141055" y="394441"/>
                  <a:pt x="2141055" y="392620"/>
                </a:cubicBezTo>
                <a:cubicBezTo>
                  <a:pt x="2137410" y="394441"/>
                  <a:pt x="2142877" y="396264"/>
                  <a:pt x="2141055" y="399908"/>
                </a:cubicBezTo>
                <a:cubicBezTo>
                  <a:pt x="2139233" y="398085"/>
                  <a:pt x="2137410" y="396264"/>
                  <a:pt x="2137410" y="392620"/>
                </a:cubicBezTo>
                <a:cubicBezTo>
                  <a:pt x="2137410" y="388976"/>
                  <a:pt x="2142877" y="388976"/>
                  <a:pt x="2142877" y="385331"/>
                </a:cubicBezTo>
                <a:cubicBezTo>
                  <a:pt x="2146521" y="387152"/>
                  <a:pt x="2148344" y="387152"/>
                  <a:pt x="2153810" y="385331"/>
                </a:cubicBezTo>
                <a:cubicBezTo>
                  <a:pt x="2153810" y="381687"/>
                  <a:pt x="2151988" y="379865"/>
                  <a:pt x="2148344" y="379865"/>
                </a:cubicBezTo>
                <a:cubicBezTo>
                  <a:pt x="2148344" y="374397"/>
                  <a:pt x="2150166" y="372576"/>
                  <a:pt x="2153810" y="370754"/>
                </a:cubicBezTo>
                <a:cubicBezTo>
                  <a:pt x="2151988" y="365287"/>
                  <a:pt x="2155632" y="363465"/>
                  <a:pt x="2155632" y="356176"/>
                </a:cubicBezTo>
                <a:cubicBezTo>
                  <a:pt x="2122833" y="348888"/>
                  <a:pt x="2082745" y="347066"/>
                  <a:pt x="2055413" y="356176"/>
                </a:cubicBezTo>
                <a:cubicBezTo>
                  <a:pt x="2061791" y="360731"/>
                  <a:pt x="2069079" y="364831"/>
                  <a:pt x="2074547" y="370981"/>
                </a:cubicBezTo>
                <a:lnTo>
                  <a:pt x="2075574" y="374376"/>
                </a:lnTo>
                <a:lnTo>
                  <a:pt x="2067570" y="366112"/>
                </a:lnTo>
                <a:cubicBezTo>
                  <a:pt x="2062018" y="363578"/>
                  <a:pt x="2054958" y="363009"/>
                  <a:pt x="2046302" y="365287"/>
                </a:cubicBezTo>
                <a:cubicBezTo>
                  <a:pt x="2046302" y="368932"/>
                  <a:pt x="2048124" y="368932"/>
                  <a:pt x="2048124" y="372576"/>
                </a:cubicBezTo>
                <a:cubicBezTo>
                  <a:pt x="2044479" y="374397"/>
                  <a:pt x="2042657" y="367109"/>
                  <a:pt x="2040835" y="365287"/>
                </a:cubicBezTo>
                <a:cubicBezTo>
                  <a:pt x="2039013" y="365287"/>
                  <a:pt x="2037191" y="365287"/>
                  <a:pt x="2035369" y="365287"/>
                </a:cubicBezTo>
                <a:cubicBezTo>
                  <a:pt x="2033546" y="368932"/>
                  <a:pt x="2035369" y="370754"/>
                  <a:pt x="2035369" y="376220"/>
                </a:cubicBezTo>
                <a:cubicBezTo>
                  <a:pt x="2033546" y="378041"/>
                  <a:pt x="2031724" y="376220"/>
                  <a:pt x="2033546" y="383509"/>
                </a:cubicBezTo>
                <a:cubicBezTo>
                  <a:pt x="2029902" y="381687"/>
                  <a:pt x="2031724" y="376220"/>
                  <a:pt x="2029902" y="374397"/>
                </a:cubicBezTo>
                <a:cubicBezTo>
                  <a:pt x="2017147" y="383509"/>
                  <a:pt x="1998925" y="381687"/>
                  <a:pt x="1993459" y="398085"/>
                </a:cubicBezTo>
                <a:cubicBezTo>
                  <a:pt x="1988903" y="396264"/>
                  <a:pt x="1984803" y="399908"/>
                  <a:pt x="1982071" y="405375"/>
                </a:cubicBezTo>
                <a:lnTo>
                  <a:pt x="1980519" y="414236"/>
                </a:lnTo>
                <a:lnTo>
                  <a:pt x="1986170" y="416329"/>
                </a:lnTo>
                <a:cubicBezTo>
                  <a:pt x="1982527" y="409041"/>
                  <a:pt x="1989814" y="407219"/>
                  <a:pt x="1993459" y="403574"/>
                </a:cubicBezTo>
                <a:cubicBezTo>
                  <a:pt x="1995281" y="410863"/>
                  <a:pt x="1991636" y="419974"/>
                  <a:pt x="1984348" y="425440"/>
                </a:cubicBezTo>
                <a:lnTo>
                  <a:pt x="1984348" y="425444"/>
                </a:lnTo>
                <a:lnTo>
                  <a:pt x="1984348" y="430907"/>
                </a:lnTo>
                <a:lnTo>
                  <a:pt x="1977236" y="426561"/>
                </a:lnTo>
                <a:lnTo>
                  <a:pt x="1977287" y="427924"/>
                </a:lnTo>
                <a:cubicBezTo>
                  <a:pt x="1978881" y="429974"/>
                  <a:pt x="1980703" y="431797"/>
                  <a:pt x="1978881" y="432707"/>
                </a:cubicBezTo>
                <a:lnTo>
                  <a:pt x="1974995" y="424934"/>
                </a:lnTo>
                <a:lnTo>
                  <a:pt x="1973416" y="423618"/>
                </a:lnTo>
                <a:lnTo>
                  <a:pt x="1971092" y="420133"/>
                </a:lnTo>
                <a:lnTo>
                  <a:pt x="1970130" y="423978"/>
                </a:lnTo>
                <a:lnTo>
                  <a:pt x="1971592" y="425440"/>
                </a:lnTo>
                <a:cubicBezTo>
                  <a:pt x="1971592" y="423618"/>
                  <a:pt x="1971592" y="423618"/>
                  <a:pt x="1971592" y="423618"/>
                </a:cubicBezTo>
                <a:cubicBezTo>
                  <a:pt x="1973416" y="427263"/>
                  <a:pt x="1975237" y="430907"/>
                  <a:pt x="1975237" y="434551"/>
                </a:cubicBezTo>
                <a:cubicBezTo>
                  <a:pt x="1975237" y="436373"/>
                  <a:pt x="1969770" y="436373"/>
                  <a:pt x="1971592" y="434551"/>
                </a:cubicBezTo>
                <a:lnTo>
                  <a:pt x="1969950" y="424698"/>
                </a:lnTo>
                <a:lnTo>
                  <a:pt x="1969770" y="425419"/>
                </a:lnTo>
                <a:cubicBezTo>
                  <a:pt x="1960659" y="419952"/>
                  <a:pt x="1957015" y="429063"/>
                  <a:pt x="1958837" y="436351"/>
                </a:cubicBezTo>
                <a:cubicBezTo>
                  <a:pt x="1955194" y="436351"/>
                  <a:pt x="1951549" y="436351"/>
                  <a:pt x="1947904" y="434530"/>
                </a:cubicBezTo>
                <a:cubicBezTo>
                  <a:pt x="1953371" y="423596"/>
                  <a:pt x="1966126" y="418129"/>
                  <a:pt x="1977059" y="414485"/>
                </a:cubicBezTo>
                <a:cubicBezTo>
                  <a:pt x="1973416" y="410841"/>
                  <a:pt x="1975237" y="403552"/>
                  <a:pt x="1973416" y="399908"/>
                </a:cubicBezTo>
                <a:cubicBezTo>
                  <a:pt x="1980703" y="398085"/>
                  <a:pt x="1980703" y="390797"/>
                  <a:pt x="1989814" y="390797"/>
                </a:cubicBezTo>
                <a:cubicBezTo>
                  <a:pt x="1987992" y="387152"/>
                  <a:pt x="1991638" y="385331"/>
                  <a:pt x="1991638" y="379865"/>
                </a:cubicBezTo>
                <a:cubicBezTo>
                  <a:pt x="1984348" y="385331"/>
                  <a:pt x="1975237" y="390797"/>
                  <a:pt x="1971592" y="399908"/>
                </a:cubicBezTo>
                <a:lnTo>
                  <a:pt x="1968859" y="397175"/>
                </a:lnTo>
                <a:lnTo>
                  <a:pt x="1987992" y="378041"/>
                </a:lnTo>
                <a:lnTo>
                  <a:pt x="2008036" y="368932"/>
                </a:lnTo>
                <a:cubicBezTo>
                  <a:pt x="2004391" y="369843"/>
                  <a:pt x="2000293" y="370298"/>
                  <a:pt x="1996647" y="371437"/>
                </a:cubicBezTo>
                <a:lnTo>
                  <a:pt x="1987992" y="378041"/>
                </a:lnTo>
                <a:lnTo>
                  <a:pt x="1989814" y="376220"/>
                </a:lnTo>
                <a:cubicBezTo>
                  <a:pt x="1984348" y="378041"/>
                  <a:pt x="1975237" y="379865"/>
                  <a:pt x="1973416" y="387152"/>
                </a:cubicBezTo>
                <a:cubicBezTo>
                  <a:pt x="1967948" y="385331"/>
                  <a:pt x="1967948" y="385331"/>
                  <a:pt x="1962482" y="387152"/>
                </a:cubicBezTo>
                <a:cubicBezTo>
                  <a:pt x="1962482" y="387152"/>
                  <a:pt x="1962482" y="388976"/>
                  <a:pt x="1962482" y="388976"/>
                </a:cubicBezTo>
                <a:cubicBezTo>
                  <a:pt x="1960659" y="388976"/>
                  <a:pt x="1960659" y="388976"/>
                  <a:pt x="1958837" y="388976"/>
                </a:cubicBezTo>
                <a:cubicBezTo>
                  <a:pt x="1957015" y="388976"/>
                  <a:pt x="1958837" y="390797"/>
                  <a:pt x="1958837" y="392620"/>
                </a:cubicBezTo>
                <a:cubicBezTo>
                  <a:pt x="1957015" y="392620"/>
                  <a:pt x="1955194" y="390797"/>
                  <a:pt x="1953371" y="390797"/>
                </a:cubicBezTo>
                <a:cubicBezTo>
                  <a:pt x="1953371" y="390797"/>
                  <a:pt x="1953371" y="392620"/>
                  <a:pt x="1953371" y="392620"/>
                </a:cubicBezTo>
                <a:lnTo>
                  <a:pt x="1949726" y="393986"/>
                </a:lnTo>
                <a:lnTo>
                  <a:pt x="1949726" y="394459"/>
                </a:lnTo>
                <a:cubicBezTo>
                  <a:pt x="1947904" y="396281"/>
                  <a:pt x="1947904" y="396281"/>
                  <a:pt x="1946083" y="398103"/>
                </a:cubicBezTo>
                <a:lnTo>
                  <a:pt x="1945266" y="395659"/>
                </a:lnTo>
                <a:lnTo>
                  <a:pt x="1942264" y="396784"/>
                </a:lnTo>
                <a:lnTo>
                  <a:pt x="1942209" y="398104"/>
                </a:lnTo>
                <a:cubicBezTo>
                  <a:pt x="1941981" y="399471"/>
                  <a:pt x="1941526" y="399926"/>
                  <a:pt x="1940615" y="398104"/>
                </a:cubicBezTo>
                <a:lnTo>
                  <a:pt x="1940615" y="397403"/>
                </a:lnTo>
                <a:lnTo>
                  <a:pt x="1938793" y="398086"/>
                </a:lnTo>
                <a:cubicBezTo>
                  <a:pt x="1934238" y="397175"/>
                  <a:pt x="1929682" y="394442"/>
                  <a:pt x="1924216" y="392620"/>
                </a:cubicBezTo>
                <a:cubicBezTo>
                  <a:pt x="1924216" y="394441"/>
                  <a:pt x="1924216" y="396264"/>
                  <a:pt x="1922394" y="398085"/>
                </a:cubicBezTo>
                <a:cubicBezTo>
                  <a:pt x="1920572" y="388976"/>
                  <a:pt x="1911461" y="390797"/>
                  <a:pt x="1904172" y="387152"/>
                </a:cubicBezTo>
                <a:lnTo>
                  <a:pt x="1905791" y="383913"/>
                </a:lnTo>
                <a:lnTo>
                  <a:pt x="1907816" y="387152"/>
                </a:lnTo>
                <a:cubicBezTo>
                  <a:pt x="1905994" y="387152"/>
                  <a:pt x="1904172" y="385331"/>
                  <a:pt x="1905994" y="383509"/>
                </a:cubicBezTo>
                <a:lnTo>
                  <a:pt x="1905791" y="383913"/>
                </a:lnTo>
                <a:lnTo>
                  <a:pt x="1902122" y="378042"/>
                </a:lnTo>
                <a:cubicBezTo>
                  <a:pt x="1900528" y="375309"/>
                  <a:pt x="1899618" y="372576"/>
                  <a:pt x="1900528" y="368932"/>
                </a:cubicBezTo>
                <a:cubicBezTo>
                  <a:pt x="1900528" y="368932"/>
                  <a:pt x="1898706" y="370754"/>
                  <a:pt x="1898706" y="370754"/>
                </a:cubicBezTo>
                <a:cubicBezTo>
                  <a:pt x="1895061" y="368932"/>
                  <a:pt x="1898706" y="363465"/>
                  <a:pt x="1896883" y="359821"/>
                </a:cubicBezTo>
                <a:cubicBezTo>
                  <a:pt x="1902350" y="359821"/>
                  <a:pt x="1904172" y="365287"/>
                  <a:pt x="1904172" y="367109"/>
                </a:cubicBezTo>
                <a:cubicBezTo>
                  <a:pt x="1904172" y="370754"/>
                  <a:pt x="1905994" y="374397"/>
                  <a:pt x="1905994" y="378041"/>
                </a:cubicBezTo>
                <a:cubicBezTo>
                  <a:pt x="1907816" y="381687"/>
                  <a:pt x="1913283" y="387152"/>
                  <a:pt x="1916927" y="388976"/>
                </a:cubicBezTo>
                <a:cubicBezTo>
                  <a:pt x="1921482" y="390798"/>
                  <a:pt x="1926493" y="392620"/>
                  <a:pt x="1931504" y="393531"/>
                </a:cubicBezTo>
                <a:lnTo>
                  <a:pt x="1940615" y="392961"/>
                </a:lnTo>
                <a:lnTo>
                  <a:pt x="1940615" y="390816"/>
                </a:lnTo>
                <a:cubicBezTo>
                  <a:pt x="1942437" y="390816"/>
                  <a:pt x="1944260" y="392637"/>
                  <a:pt x="1942437" y="392637"/>
                </a:cubicBezTo>
                <a:lnTo>
                  <a:pt x="1942428" y="392848"/>
                </a:lnTo>
                <a:lnTo>
                  <a:pt x="1944290" y="392731"/>
                </a:lnTo>
                <a:lnTo>
                  <a:pt x="1944259" y="392637"/>
                </a:lnTo>
                <a:lnTo>
                  <a:pt x="1944268" y="392620"/>
                </a:lnTo>
                <a:lnTo>
                  <a:pt x="1942438" y="392620"/>
                </a:lnTo>
                <a:cubicBezTo>
                  <a:pt x="1940616" y="387152"/>
                  <a:pt x="1944260" y="385331"/>
                  <a:pt x="1944260" y="381687"/>
                </a:cubicBezTo>
                <a:cubicBezTo>
                  <a:pt x="1944260" y="383509"/>
                  <a:pt x="1944260" y="383509"/>
                  <a:pt x="1946083" y="383509"/>
                </a:cubicBezTo>
                <a:cubicBezTo>
                  <a:pt x="1944260" y="381687"/>
                  <a:pt x="1944260" y="379865"/>
                  <a:pt x="1944260" y="379865"/>
                </a:cubicBezTo>
                <a:cubicBezTo>
                  <a:pt x="1944260" y="379865"/>
                  <a:pt x="1946083" y="379865"/>
                  <a:pt x="1946083" y="379865"/>
                </a:cubicBezTo>
                <a:cubicBezTo>
                  <a:pt x="1944260" y="379865"/>
                  <a:pt x="1944260" y="379865"/>
                  <a:pt x="1944260" y="378041"/>
                </a:cubicBezTo>
                <a:cubicBezTo>
                  <a:pt x="1946083" y="376220"/>
                  <a:pt x="1947904" y="374397"/>
                  <a:pt x="1947904" y="372576"/>
                </a:cubicBezTo>
                <a:cubicBezTo>
                  <a:pt x="1949726" y="372576"/>
                  <a:pt x="1947904" y="378041"/>
                  <a:pt x="1949726" y="378041"/>
                </a:cubicBezTo>
                <a:cubicBezTo>
                  <a:pt x="1955194" y="378041"/>
                  <a:pt x="1951549" y="374397"/>
                  <a:pt x="1951549" y="370754"/>
                </a:cubicBezTo>
                <a:cubicBezTo>
                  <a:pt x="1957015" y="372576"/>
                  <a:pt x="1958837" y="376220"/>
                  <a:pt x="1958837" y="381687"/>
                </a:cubicBezTo>
                <a:cubicBezTo>
                  <a:pt x="1964305" y="381687"/>
                  <a:pt x="1967948" y="379865"/>
                  <a:pt x="1966126" y="374397"/>
                </a:cubicBezTo>
                <a:cubicBezTo>
                  <a:pt x="1969770" y="374397"/>
                  <a:pt x="1969770" y="376220"/>
                  <a:pt x="1973416" y="376220"/>
                </a:cubicBezTo>
                <a:cubicBezTo>
                  <a:pt x="1975237" y="370754"/>
                  <a:pt x="1984348" y="372576"/>
                  <a:pt x="1986170" y="367109"/>
                </a:cubicBezTo>
                <a:cubicBezTo>
                  <a:pt x="1984348" y="368932"/>
                  <a:pt x="1975237" y="365287"/>
                  <a:pt x="1975237" y="370754"/>
                </a:cubicBezTo>
                <a:cubicBezTo>
                  <a:pt x="1971592" y="365287"/>
                  <a:pt x="1989814" y="359821"/>
                  <a:pt x="1995281" y="361642"/>
                </a:cubicBezTo>
                <a:cubicBezTo>
                  <a:pt x="1998925" y="359821"/>
                  <a:pt x="1997103" y="354354"/>
                  <a:pt x="2000747" y="354354"/>
                </a:cubicBezTo>
                <a:cubicBezTo>
                  <a:pt x="2002570" y="354354"/>
                  <a:pt x="2000747" y="359821"/>
                  <a:pt x="1998925" y="359821"/>
                </a:cubicBezTo>
                <a:cubicBezTo>
                  <a:pt x="2004392" y="368932"/>
                  <a:pt x="2011680" y="361642"/>
                  <a:pt x="2017147" y="365287"/>
                </a:cubicBezTo>
                <a:cubicBezTo>
                  <a:pt x="2017147" y="359821"/>
                  <a:pt x="2024436" y="363465"/>
                  <a:pt x="2028080" y="363465"/>
                </a:cubicBezTo>
                <a:lnTo>
                  <a:pt x="2020680" y="356064"/>
                </a:lnTo>
                <a:lnTo>
                  <a:pt x="2043341" y="354581"/>
                </a:lnTo>
                <a:cubicBezTo>
                  <a:pt x="2050402" y="352532"/>
                  <a:pt x="2055413" y="348887"/>
                  <a:pt x="2055413" y="343421"/>
                </a:cubicBezTo>
                <a:cubicBezTo>
                  <a:pt x="2064524" y="354354"/>
                  <a:pt x="2084568" y="336133"/>
                  <a:pt x="2090034" y="345242"/>
                </a:cubicBezTo>
                <a:cubicBezTo>
                  <a:pt x="2090034" y="339777"/>
                  <a:pt x="2091856" y="332488"/>
                  <a:pt x="2091856" y="327022"/>
                </a:cubicBezTo>
                <a:cubicBezTo>
                  <a:pt x="2082745" y="330666"/>
                  <a:pt x="2075457" y="337954"/>
                  <a:pt x="2066346" y="341598"/>
                </a:cubicBezTo>
                <a:cubicBezTo>
                  <a:pt x="2071812" y="330666"/>
                  <a:pt x="2084568" y="328844"/>
                  <a:pt x="2091856" y="321555"/>
                </a:cubicBezTo>
                <a:cubicBezTo>
                  <a:pt x="2093679" y="316089"/>
                  <a:pt x="2091856" y="312444"/>
                  <a:pt x="2090034" y="308800"/>
                </a:cubicBezTo>
                <a:cubicBezTo>
                  <a:pt x="2079101" y="308800"/>
                  <a:pt x="2064524" y="310622"/>
                  <a:pt x="2057235" y="306978"/>
                </a:cubicBezTo>
                <a:cubicBezTo>
                  <a:pt x="2057235" y="310622"/>
                  <a:pt x="2057235" y="312444"/>
                  <a:pt x="2059057" y="314266"/>
                </a:cubicBezTo>
                <a:cubicBezTo>
                  <a:pt x="2057235" y="317911"/>
                  <a:pt x="2055413" y="310622"/>
                  <a:pt x="2053590" y="310622"/>
                </a:cubicBezTo>
                <a:cubicBezTo>
                  <a:pt x="2051768" y="312444"/>
                  <a:pt x="2057235" y="314266"/>
                  <a:pt x="2055413" y="317911"/>
                </a:cubicBezTo>
                <a:cubicBezTo>
                  <a:pt x="2051768" y="319733"/>
                  <a:pt x="2048124" y="321555"/>
                  <a:pt x="2048124" y="325199"/>
                </a:cubicBezTo>
                <a:cubicBezTo>
                  <a:pt x="2044479" y="323377"/>
                  <a:pt x="2049946" y="319733"/>
                  <a:pt x="2046302" y="317911"/>
                </a:cubicBezTo>
                <a:cubicBezTo>
                  <a:pt x="2044479" y="319733"/>
                  <a:pt x="2042657" y="325199"/>
                  <a:pt x="2039013" y="319733"/>
                </a:cubicBezTo>
                <a:cubicBezTo>
                  <a:pt x="2035369" y="321555"/>
                  <a:pt x="2033546" y="323377"/>
                  <a:pt x="2031724" y="327022"/>
                </a:cubicBezTo>
                <a:cubicBezTo>
                  <a:pt x="2029902" y="325199"/>
                  <a:pt x="2028080" y="323377"/>
                  <a:pt x="2028080" y="317911"/>
                </a:cubicBezTo>
                <a:cubicBezTo>
                  <a:pt x="2024436" y="319733"/>
                  <a:pt x="2024436" y="314266"/>
                  <a:pt x="2017147" y="316089"/>
                </a:cubicBezTo>
                <a:cubicBezTo>
                  <a:pt x="2020791" y="310622"/>
                  <a:pt x="2020791" y="310622"/>
                  <a:pt x="2022613" y="305155"/>
                </a:cubicBezTo>
                <a:cubicBezTo>
                  <a:pt x="2024436" y="306978"/>
                  <a:pt x="2029902" y="305155"/>
                  <a:pt x="2029902" y="310622"/>
                </a:cubicBezTo>
                <a:cubicBezTo>
                  <a:pt x="2033546" y="305155"/>
                  <a:pt x="2048124" y="306978"/>
                  <a:pt x="2048124" y="314266"/>
                </a:cubicBezTo>
                <a:cubicBezTo>
                  <a:pt x="2049946" y="314266"/>
                  <a:pt x="2046302" y="305155"/>
                  <a:pt x="2051768" y="303333"/>
                </a:cubicBezTo>
                <a:cubicBezTo>
                  <a:pt x="2046302" y="294223"/>
                  <a:pt x="2039013" y="301511"/>
                  <a:pt x="2033546" y="294223"/>
                </a:cubicBezTo>
                <a:cubicBezTo>
                  <a:pt x="2033546" y="297867"/>
                  <a:pt x="2037191" y="297867"/>
                  <a:pt x="2035369" y="301511"/>
                </a:cubicBezTo>
                <a:cubicBezTo>
                  <a:pt x="2029902" y="303333"/>
                  <a:pt x="2029902" y="297867"/>
                  <a:pt x="2024436" y="297867"/>
                </a:cubicBezTo>
                <a:cubicBezTo>
                  <a:pt x="2024436" y="299689"/>
                  <a:pt x="2024436" y="299689"/>
                  <a:pt x="2024436" y="301511"/>
                </a:cubicBezTo>
                <a:cubicBezTo>
                  <a:pt x="2015325" y="296045"/>
                  <a:pt x="2004392" y="310622"/>
                  <a:pt x="1993459" y="314266"/>
                </a:cubicBezTo>
                <a:cubicBezTo>
                  <a:pt x="1995281" y="323377"/>
                  <a:pt x="1991638" y="327022"/>
                  <a:pt x="1987992" y="330666"/>
                </a:cubicBezTo>
                <a:cubicBezTo>
                  <a:pt x="1984348" y="330666"/>
                  <a:pt x="1984348" y="327022"/>
                  <a:pt x="1980703" y="328844"/>
                </a:cubicBezTo>
                <a:cubicBezTo>
                  <a:pt x="1984348" y="330666"/>
                  <a:pt x="1984348" y="336133"/>
                  <a:pt x="1982527" y="339777"/>
                </a:cubicBezTo>
                <a:cubicBezTo>
                  <a:pt x="1977059" y="339777"/>
                  <a:pt x="1973416" y="334310"/>
                  <a:pt x="1973416" y="328844"/>
                </a:cubicBezTo>
                <a:cubicBezTo>
                  <a:pt x="1967948" y="330666"/>
                  <a:pt x="1973416" y="345242"/>
                  <a:pt x="1969770" y="348888"/>
                </a:cubicBezTo>
                <a:cubicBezTo>
                  <a:pt x="1966126" y="347066"/>
                  <a:pt x="1966126" y="339777"/>
                  <a:pt x="1966126" y="334310"/>
                </a:cubicBezTo>
                <a:cubicBezTo>
                  <a:pt x="1951549" y="341598"/>
                  <a:pt x="1940616" y="345242"/>
                  <a:pt x="1931505" y="354354"/>
                </a:cubicBezTo>
                <a:cubicBezTo>
                  <a:pt x="1931505" y="352532"/>
                  <a:pt x="1931505" y="350710"/>
                  <a:pt x="1929683" y="348888"/>
                </a:cubicBezTo>
                <a:cubicBezTo>
                  <a:pt x="1929683" y="348888"/>
                  <a:pt x="1929683" y="347066"/>
                  <a:pt x="1929683" y="347066"/>
                </a:cubicBezTo>
                <a:cubicBezTo>
                  <a:pt x="1929683" y="347066"/>
                  <a:pt x="1927861" y="347066"/>
                  <a:pt x="1927861" y="347066"/>
                </a:cubicBezTo>
                <a:lnTo>
                  <a:pt x="1923991" y="343970"/>
                </a:lnTo>
                <a:lnTo>
                  <a:pt x="1922393" y="343438"/>
                </a:lnTo>
                <a:lnTo>
                  <a:pt x="1922717" y="342951"/>
                </a:lnTo>
                <a:lnTo>
                  <a:pt x="1918750" y="339777"/>
                </a:lnTo>
                <a:lnTo>
                  <a:pt x="1923553" y="341698"/>
                </a:lnTo>
                <a:lnTo>
                  <a:pt x="1926038" y="337971"/>
                </a:lnTo>
                <a:cubicBezTo>
                  <a:pt x="1927861" y="337971"/>
                  <a:pt x="1926038" y="341616"/>
                  <a:pt x="1927861" y="341616"/>
                </a:cubicBezTo>
                <a:cubicBezTo>
                  <a:pt x="1927861" y="339794"/>
                  <a:pt x="1927861" y="337971"/>
                  <a:pt x="1927861" y="336149"/>
                </a:cubicBezTo>
                <a:cubicBezTo>
                  <a:pt x="1927861" y="337971"/>
                  <a:pt x="1929682" y="339794"/>
                  <a:pt x="1931504" y="341616"/>
                </a:cubicBezTo>
                <a:lnTo>
                  <a:pt x="1930601" y="343421"/>
                </a:lnTo>
                <a:lnTo>
                  <a:pt x="1933327" y="343421"/>
                </a:lnTo>
                <a:cubicBezTo>
                  <a:pt x="1935149" y="343421"/>
                  <a:pt x="1936972" y="345242"/>
                  <a:pt x="1938793" y="345242"/>
                </a:cubicBezTo>
                <a:cubicBezTo>
                  <a:pt x="1940616" y="343421"/>
                  <a:pt x="1938793" y="341598"/>
                  <a:pt x="1938793" y="339777"/>
                </a:cubicBezTo>
                <a:cubicBezTo>
                  <a:pt x="1944260" y="330666"/>
                  <a:pt x="1947904" y="334310"/>
                  <a:pt x="1958837" y="332488"/>
                </a:cubicBezTo>
                <a:cubicBezTo>
                  <a:pt x="1958837" y="328844"/>
                  <a:pt x="1958837" y="325199"/>
                  <a:pt x="1957015" y="323377"/>
                </a:cubicBezTo>
                <a:cubicBezTo>
                  <a:pt x="1953371" y="323377"/>
                  <a:pt x="1953371" y="327022"/>
                  <a:pt x="1953371" y="330666"/>
                </a:cubicBezTo>
                <a:cubicBezTo>
                  <a:pt x="1951549" y="330666"/>
                  <a:pt x="1953371" y="325199"/>
                  <a:pt x="1951549" y="325199"/>
                </a:cubicBezTo>
                <a:cubicBezTo>
                  <a:pt x="1949726" y="325199"/>
                  <a:pt x="1951549" y="325199"/>
                  <a:pt x="1951549" y="327022"/>
                </a:cubicBezTo>
                <a:cubicBezTo>
                  <a:pt x="1947904" y="325199"/>
                  <a:pt x="1944260" y="321555"/>
                  <a:pt x="1940616" y="319733"/>
                </a:cubicBezTo>
                <a:cubicBezTo>
                  <a:pt x="1940616" y="316089"/>
                  <a:pt x="1942438" y="312444"/>
                  <a:pt x="1942438" y="308800"/>
                </a:cubicBezTo>
                <a:cubicBezTo>
                  <a:pt x="1944260" y="306978"/>
                  <a:pt x="1946083" y="312444"/>
                  <a:pt x="1947904" y="308800"/>
                </a:cubicBezTo>
                <a:cubicBezTo>
                  <a:pt x="1947904" y="306978"/>
                  <a:pt x="1944260" y="305155"/>
                  <a:pt x="1942438" y="305155"/>
                </a:cubicBezTo>
                <a:cubicBezTo>
                  <a:pt x="1938793" y="308800"/>
                  <a:pt x="1935149" y="314266"/>
                  <a:pt x="1940616" y="316089"/>
                </a:cubicBezTo>
                <a:cubicBezTo>
                  <a:pt x="1933327" y="317911"/>
                  <a:pt x="1931505" y="310622"/>
                  <a:pt x="1926038" y="310622"/>
                </a:cubicBezTo>
                <a:cubicBezTo>
                  <a:pt x="1926038" y="314266"/>
                  <a:pt x="1926038" y="317911"/>
                  <a:pt x="1927861" y="321555"/>
                </a:cubicBezTo>
                <a:cubicBezTo>
                  <a:pt x="1926038" y="319733"/>
                  <a:pt x="1926038" y="316089"/>
                  <a:pt x="1922394" y="314266"/>
                </a:cubicBezTo>
                <a:cubicBezTo>
                  <a:pt x="1922394" y="317911"/>
                  <a:pt x="1926038" y="321555"/>
                  <a:pt x="1924216" y="327022"/>
                </a:cubicBezTo>
                <a:cubicBezTo>
                  <a:pt x="1920572" y="321555"/>
                  <a:pt x="1918750" y="316089"/>
                  <a:pt x="1916927" y="310622"/>
                </a:cubicBezTo>
                <a:cubicBezTo>
                  <a:pt x="1919660" y="311533"/>
                  <a:pt x="1921027" y="308799"/>
                  <a:pt x="1921027" y="306066"/>
                </a:cubicBezTo>
                <a:lnTo>
                  <a:pt x="1920364" y="305329"/>
                </a:lnTo>
                <a:lnTo>
                  <a:pt x="1922394" y="299689"/>
                </a:lnTo>
                <a:lnTo>
                  <a:pt x="1919163" y="303996"/>
                </a:lnTo>
                <a:lnTo>
                  <a:pt x="1916927" y="301511"/>
                </a:lnTo>
                <a:cubicBezTo>
                  <a:pt x="1915105" y="301511"/>
                  <a:pt x="1916927" y="306978"/>
                  <a:pt x="1915105" y="308800"/>
                </a:cubicBezTo>
                <a:lnTo>
                  <a:pt x="1911786" y="304614"/>
                </a:lnTo>
                <a:lnTo>
                  <a:pt x="1916927" y="296045"/>
                </a:lnTo>
                <a:cubicBezTo>
                  <a:pt x="1916927" y="296045"/>
                  <a:pt x="1918750" y="296045"/>
                  <a:pt x="1918750" y="294223"/>
                </a:cubicBezTo>
                <a:cubicBezTo>
                  <a:pt x="1918750" y="294223"/>
                  <a:pt x="1916927" y="294223"/>
                  <a:pt x="1916927" y="294223"/>
                </a:cubicBezTo>
                <a:cubicBezTo>
                  <a:pt x="1916927" y="292400"/>
                  <a:pt x="1915105" y="288756"/>
                  <a:pt x="1913283" y="286934"/>
                </a:cubicBezTo>
                <a:cubicBezTo>
                  <a:pt x="1913283" y="288756"/>
                  <a:pt x="1913283" y="288756"/>
                  <a:pt x="1913283" y="290578"/>
                </a:cubicBezTo>
                <a:cubicBezTo>
                  <a:pt x="1913283" y="286934"/>
                  <a:pt x="1913283" y="283289"/>
                  <a:pt x="1911461" y="281467"/>
                </a:cubicBezTo>
                <a:cubicBezTo>
                  <a:pt x="1916927" y="279645"/>
                  <a:pt x="1920572" y="276001"/>
                  <a:pt x="1918750" y="270534"/>
                </a:cubicBezTo>
                <a:cubicBezTo>
                  <a:pt x="1915105" y="270534"/>
                  <a:pt x="1913283" y="274179"/>
                  <a:pt x="1911461" y="272356"/>
                </a:cubicBezTo>
                <a:cubicBezTo>
                  <a:pt x="1907816" y="263246"/>
                  <a:pt x="1918750" y="266890"/>
                  <a:pt x="1918750" y="261423"/>
                </a:cubicBezTo>
                <a:cubicBezTo>
                  <a:pt x="1922394" y="266890"/>
                  <a:pt x="1916927" y="274179"/>
                  <a:pt x="1920572" y="281467"/>
                </a:cubicBezTo>
                <a:cubicBezTo>
                  <a:pt x="1924216" y="276001"/>
                  <a:pt x="1924216" y="270534"/>
                  <a:pt x="1931505" y="268712"/>
                </a:cubicBezTo>
                <a:cubicBezTo>
                  <a:pt x="1929683" y="270534"/>
                  <a:pt x="1927861" y="276001"/>
                  <a:pt x="1933327" y="277823"/>
                </a:cubicBezTo>
                <a:cubicBezTo>
                  <a:pt x="1935149" y="274179"/>
                  <a:pt x="1938793" y="274179"/>
                  <a:pt x="1940616" y="272356"/>
                </a:cubicBezTo>
                <a:cubicBezTo>
                  <a:pt x="1940616" y="268712"/>
                  <a:pt x="1938793" y="265068"/>
                  <a:pt x="1938793" y="261423"/>
                </a:cubicBezTo>
                <a:cubicBezTo>
                  <a:pt x="1946083" y="261423"/>
                  <a:pt x="1951549" y="259601"/>
                  <a:pt x="1955194" y="261423"/>
                </a:cubicBezTo>
                <a:lnTo>
                  <a:pt x="1954972" y="259877"/>
                </a:lnTo>
                <a:lnTo>
                  <a:pt x="1958382" y="260057"/>
                </a:lnTo>
                <a:cubicBezTo>
                  <a:pt x="1961115" y="259601"/>
                  <a:pt x="1963393" y="259601"/>
                  <a:pt x="1964305" y="263246"/>
                </a:cubicBezTo>
                <a:cubicBezTo>
                  <a:pt x="1964305" y="268712"/>
                  <a:pt x="1957015" y="270534"/>
                  <a:pt x="1953371" y="268712"/>
                </a:cubicBezTo>
                <a:lnTo>
                  <a:pt x="1953371" y="272356"/>
                </a:lnTo>
                <a:cubicBezTo>
                  <a:pt x="1958837" y="265068"/>
                  <a:pt x="1966126" y="272356"/>
                  <a:pt x="1973416" y="270534"/>
                </a:cubicBezTo>
                <a:cubicBezTo>
                  <a:pt x="1973416" y="274179"/>
                  <a:pt x="1977059" y="272356"/>
                  <a:pt x="1978881" y="272356"/>
                </a:cubicBezTo>
                <a:lnTo>
                  <a:pt x="1978881" y="274179"/>
                </a:lnTo>
                <a:cubicBezTo>
                  <a:pt x="1980703" y="274179"/>
                  <a:pt x="1980703" y="276001"/>
                  <a:pt x="1980703" y="276001"/>
                </a:cubicBezTo>
                <a:cubicBezTo>
                  <a:pt x="1982527" y="276001"/>
                  <a:pt x="1982527" y="274179"/>
                  <a:pt x="1980703" y="274179"/>
                </a:cubicBezTo>
                <a:cubicBezTo>
                  <a:pt x="1980703" y="270534"/>
                  <a:pt x="1987992" y="272356"/>
                  <a:pt x="1987992" y="268712"/>
                </a:cubicBezTo>
                <a:cubicBezTo>
                  <a:pt x="1989814" y="270534"/>
                  <a:pt x="1995281" y="274179"/>
                  <a:pt x="1995281" y="268712"/>
                </a:cubicBezTo>
                <a:cubicBezTo>
                  <a:pt x="1998925" y="274179"/>
                  <a:pt x="2000747" y="270534"/>
                  <a:pt x="2002570" y="274179"/>
                </a:cubicBezTo>
                <a:cubicBezTo>
                  <a:pt x="2000747" y="274179"/>
                  <a:pt x="1995281" y="276001"/>
                  <a:pt x="1995281" y="276001"/>
                </a:cubicBezTo>
                <a:cubicBezTo>
                  <a:pt x="1991638" y="277823"/>
                  <a:pt x="1997103" y="281467"/>
                  <a:pt x="1997103" y="283289"/>
                </a:cubicBezTo>
                <a:cubicBezTo>
                  <a:pt x="1995281" y="283289"/>
                  <a:pt x="1993459" y="283289"/>
                  <a:pt x="1993459" y="281467"/>
                </a:cubicBezTo>
                <a:cubicBezTo>
                  <a:pt x="1989814" y="283289"/>
                  <a:pt x="1995281" y="285112"/>
                  <a:pt x="1993459" y="288756"/>
                </a:cubicBezTo>
                <a:cubicBezTo>
                  <a:pt x="1998925" y="288756"/>
                  <a:pt x="2006214" y="288756"/>
                  <a:pt x="2006214" y="281467"/>
                </a:cubicBezTo>
                <a:cubicBezTo>
                  <a:pt x="2008036" y="281467"/>
                  <a:pt x="2008036" y="283289"/>
                  <a:pt x="2009858" y="283289"/>
                </a:cubicBezTo>
                <a:cubicBezTo>
                  <a:pt x="2009858" y="285112"/>
                  <a:pt x="2009858" y="286934"/>
                  <a:pt x="2006214" y="286934"/>
                </a:cubicBezTo>
                <a:cubicBezTo>
                  <a:pt x="2008036" y="292400"/>
                  <a:pt x="2009858" y="296045"/>
                  <a:pt x="2009858" y="301511"/>
                </a:cubicBezTo>
                <a:cubicBezTo>
                  <a:pt x="2017147" y="301511"/>
                  <a:pt x="2020791" y="296045"/>
                  <a:pt x="2026258" y="296045"/>
                </a:cubicBezTo>
                <a:cubicBezTo>
                  <a:pt x="2028080" y="292400"/>
                  <a:pt x="2026258" y="286934"/>
                  <a:pt x="2024436" y="285112"/>
                </a:cubicBezTo>
                <a:cubicBezTo>
                  <a:pt x="2026258" y="283289"/>
                  <a:pt x="2029902" y="283289"/>
                  <a:pt x="2033546" y="283289"/>
                </a:cubicBezTo>
                <a:cubicBezTo>
                  <a:pt x="2029902" y="281467"/>
                  <a:pt x="2029902" y="290578"/>
                  <a:pt x="2028080" y="285112"/>
                </a:cubicBezTo>
                <a:cubicBezTo>
                  <a:pt x="2024436" y="285112"/>
                  <a:pt x="2029902" y="288756"/>
                  <a:pt x="2028080" y="290578"/>
                </a:cubicBezTo>
                <a:cubicBezTo>
                  <a:pt x="2029902" y="290578"/>
                  <a:pt x="2031724" y="290578"/>
                  <a:pt x="2033546" y="290578"/>
                </a:cubicBezTo>
                <a:cubicBezTo>
                  <a:pt x="2033546" y="288756"/>
                  <a:pt x="2033546" y="285112"/>
                  <a:pt x="2033546" y="283289"/>
                </a:cubicBezTo>
                <a:cubicBezTo>
                  <a:pt x="2031724" y="274179"/>
                  <a:pt x="2035369" y="266890"/>
                  <a:pt x="2040835" y="263246"/>
                </a:cubicBezTo>
                <a:cubicBezTo>
                  <a:pt x="2022613" y="263246"/>
                  <a:pt x="2002570" y="265068"/>
                  <a:pt x="1980703" y="266890"/>
                </a:cubicBezTo>
                <a:lnTo>
                  <a:pt x="1980703" y="265068"/>
                </a:lnTo>
                <a:cubicBezTo>
                  <a:pt x="1971592" y="265068"/>
                  <a:pt x="1978881" y="259601"/>
                  <a:pt x="1973416" y="257779"/>
                </a:cubicBezTo>
                <a:cubicBezTo>
                  <a:pt x="1973416" y="257779"/>
                  <a:pt x="1973416" y="257779"/>
                  <a:pt x="1973416" y="259601"/>
                </a:cubicBezTo>
                <a:cubicBezTo>
                  <a:pt x="1966126" y="259601"/>
                  <a:pt x="1971592" y="250490"/>
                  <a:pt x="1967948" y="248668"/>
                </a:cubicBezTo>
                <a:cubicBezTo>
                  <a:pt x="1964305" y="252313"/>
                  <a:pt x="1966126" y="255957"/>
                  <a:pt x="1966126" y="259601"/>
                </a:cubicBezTo>
                <a:cubicBezTo>
                  <a:pt x="1964305" y="254134"/>
                  <a:pt x="1962937" y="248668"/>
                  <a:pt x="1960659" y="243884"/>
                </a:cubicBezTo>
                <a:lnTo>
                  <a:pt x="1951435" y="234084"/>
                </a:lnTo>
                <a:lnTo>
                  <a:pt x="1947904" y="226802"/>
                </a:lnTo>
                <a:cubicBezTo>
                  <a:pt x="1946083" y="230446"/>
                  <a:pt x="1949726" y="232269"/>
                  <a:pt x="1949726" y="234091"/>
                </a:cubicBezTo>
                <a:cubicBezTo>
                  <a:pt x="1942438" y="230446"/>
                  <a:pt x="1942438" y="214047"/>
                  <a:pt x="1936972" y="219513"/>
                </a:cubicBezTo>
                <a:cubicBezTo>
                  <a:pt x="1931505" y="228624"/>
                  <a:pt x="1927861" y="219513"/>
                  <a:pt x="1926038" y="226802"/>
                </a:cubicBezTo>
                <a:cubicBezTo>
                  <a:pt x="1926038" y="223158"/>
                  <a:pt x="1922394" y="223158"/>
                  <a:pt x="1922394" y="221336"/>
                </a:cubicBezTo>
                <a:cubicBezTo>
                  <a:pt x="1927861" y="210403"/>
                  <a:pt x="1949726" y="223158"/>
                  <a:pt x="1944260" y="208580"/>
                </a:cubicBezTo>
                <a:cubicBezTo>
                  <a:pt x="1953371" y="212225"/>
                  <a:pt x="1953371" y="221336"/>
                  <a:pt x="1955194" y="228624"/>
                </a:cubicBezTo>
                <a:cubicBezTo>
                  <a:pt x="1955194" y="230446"/>
                  <a:pt x="1960659" y="234091"/>
                  <a:pt x="1962482" y="232269"/>
                </a:cubicBezTo>
                <a:cubicBezTo>
                  <a:pt x="1966126" y="230446"/>
                  <a:pt x="1962482" y="223158"/>
                  <a:pt x="1967948" y="221336"/>
                </a:cubicBezTo>
                <a:cubicBezTo>
                  <a:pt x="1967948" y="224980"/>
                  <a:pt x="1964305" y="232269"/>
                  <a:pt x="1971592" y="232269"/>
                </a:cubicBezTo>
                <a:cubicBezTo>
                  <a:pt x="1969770" y="230446"/>
                  <a:pt x="1969770" y="228624"/>
                  <a:pt x="1971592" y="228624"/>
                </a:cubicBezTo>
                <a:cubicBezTo>
                  <a:pt x="1975237" y="228624"/>
                  <a:pt x="1978881" y="230446"/>
                  <a:pt x="1982527" y="232269"/>
                </a:cubicBezTo>
                <a:cubicBezTo>
                  <a:pt x="1975237" y="224980"/>
                  <a:pt x="1984348" y="219513"/>
                  <a:pt x="1989814" y="214047"/>
                </a:cubicBezTo>
                <a:cubicBezTo>
                  <a:pt x="1989814" y="217691"/>
                  <a:pt x="1989814" y="219513"/>
                  <a:pt x="1991638" y="221336"/>
                </a:cubicBezTo>
                <a:cubicBezTo>
                  <a:pt x="1995281" y="221336"/>
                  <a:pt x="2002570" y="223158"/>
                  <a:pt x="1998925" y="224980"/>
                </a:cubicBezTo>
                <a:lnTo>
                  <a:pt x="1998925" y="232269"/>
                </a:lnTo>
                <a:lnTo>
                  <a:pt x="1998925" y="235913"/>
                </a:lnTo>
                <a:cubicBezTo>
                  <a:pt x="1995281" y="235913"/>
                  <a:pt x="1991638" y="230446"/>
                  <a:pt x="1989814" y="232269"/>
                </a:cubicBezTo>
                <a:cubicBezTo>
                  <a:pt x="1980703" y="239557"/>
                  <a:pt x="1997103" y="243202"/>
                  <a:pt x="2002570" y="239557"/>
                </a:cubicBezTo>
                <a:cubicBezTo>
                  <a:pt x="2006214" y="235913"/>
                  <a:pt x="1997103" y="234091"/>
                  <a:pt x="1998925" y="232269"/>
                </a:cubicBezTo>
                <a:cubicBezTo>
                  <a:pt x="2000747" y="228624"/>
                  <a:pt x="2004392" y="237735"/>
                  <a:pt x="2006214" y="235913"/>
                </a:cubicBezTo>
                <a:cubicBezTo>
                  <a:pt x="2009858" y="232269"/>
                  <a:pt x="2008036" y="223158"/>
                  <a:pt x="2000747" y="221336"/>
                </a:cubicBezTo>
                <a:cubicBezTo>
                  <a:pt x="2009858" y="221336"/>
                  <a:pt x="2011680" y="234091"/>
                  <a:pt x="2017147" y="241379"/>
                </a:cubicBezTo>
                <a:cubicBezTo>
                  <a:pt x="2020791" y="235913"/>
                  <a:pt x="2028080" y="241379"/>
                  <a:pt x="2029902" y="245024"/>
                </a:cubicBezTo>
                <a:cubicBezTo>
                  <a:pt x="2026258" y="245024"/>
                  <a:pt x="2020791" y="248668"/>
                  <a:pt x="2017147" y="243202"/>
                </a:cubicBezTo>
                <a:cubicBezTo>
                  <a:pt x="2018969" y="246846"/>
                  <a:pt x="2020791" y="252313"/>
                  <a:pt x="2024436" y="254135"/>
                </a:cubicBezTo>
                <a:cubicBezTo>
                  <a:pt x="2020791" y="252313"/>
                  <a:pt x="2018969" y="254135"/>
                  <a:pt x="2018969" y="255957"/>
                </a:cubicBezTo>
                <a:cubicBezTo>
                  <a:pt x="2018969" y="259601"/>
                  <a:pt x="2028080" y="259601"/>
                  <a:pt x="2029902" y="257779"/>
                </a:cubicBezTo>
                <a:cubicBezTo>
                  <a:pt x="2031724" y="255957"/>
                  <a:pt x="2031724" y="252313"/>
                  <a:pt x="2031724" y="250490"/>
                </a:cubicBezTo>
                <a:cubicBezTo>
                  <a:pt x="2031724" y="254135"/>
                  <a:pt x="2037191" y="257779"/>
                  <a:pt x="2039013" y="255957"/>
                </a:cubicBezTo>
                <a:cubicBezTo>
                  <a:pt x="2048124" y="243202"/>
                  <a:pt x="2035369" y="232269"/>
                  <a:pt x="2024436" y="223158"/>
                </a:cubicBezTo>
                <a:cubicBezTo>
                  <a:pt x="2028080" y="226802"/>
                  <a:pt x="2029902" y="226802"/>
                  <a:pt x="2035369" y="224980"/>
                </a:cubicBezTo>
                <a:cubicBezTo>
                  <a:pt x="2037191" y="223158"/>
                  <a:pt x="2039013" y="230446"/>
                  <a:pt x="2039013" y="228624"/>
                </a:cubicBezTo>
                <a:cubicBezTo>
                  <a:pt x="2042657" y="223158"/>
                  <a:pt x="2037191" y="212225"/>
                  <a:pt x="2028080" y="212225"/>
                </a:cubicBezTo>
                <a:cubicBezTo>
                  <a:pt x="2031724" y="206758"/>
                  <a:pt x="2028080" y="201292"/>
                  <a:pt x="2033546" y="195825"/>
                </a:cubicBezTo>
                <a:cubicBezTo>
                  <a:pt x="2035369" y="199469"/>
                  <a:pt x="2035369" y="204936"/>
                  <a:pt x="2040835" y="203114"/>
                </a:cubicBezTo>
                <a:cubicBezTo>
                  <a:pt x="2040835" y="203114"/>
                  <a:pt x="2040835" y="201292"/>
                  <a:pt x="2040835" y="199469"/>
                </a:cubicBezTo>
                <a:cubicBezTo>
                  <a:pt x="2042657" y="199469"/>
                  <a:pt x="2042657" y="203114"/>
                  <a:pt x="2044479" y="201292"/>
                </a:cubicBezTo>
                <a:cubicBezTo>
                  <a:pt x="2046302" y="197647"/>
                  <a:pt x="2040835" y="195825"/>
                  <a:pt x="2042657" y="194003"/>
                </a:cubicBezTo>
                <a:cubicBezTo>
                  <a:pt x="2046302" y="197647"/>
                  <a:pt x="2049946" y="201292"/>
                  <a:pt x="2048124" y="208580"/>
                </a:cubicBezTo>
                <a:cubicBezTo>
                  <a:pt x="2044479" y="206758"/>
                  <a:pt x="2044479" y="203114"/>
                  <a:pt x="2040835" y="204936"/>
                </a:cubicBezTo>
                <a:cubicBezTo>
                  <a:pt x="2042657" y="208580"/>
                  <a:pt x="2040835" y="208580"/>
                  <a:pt x="2039013" y="210403"/>
                </a:cubicBezTo>
                <a:cubicBezTo>
                  <a:pt x="2039013" y="206758"/>
                  <a:pt x="2037191" y="203114"/>
                  <a:pt x="2033546" y="204936"/>
                </a:cubicBezTo>
                <a:cubicBezTo>
                  <a:pt x="2044479" y="219513"/>
                  <a:pt x="2044479" y="237735"/>
                  <a:pt x="2042657" y="254135"/>
                </a:cubicBezTo>
                <a:cubicBezTo>
                  <a:pt x="2042657" y="257779"/>
                  <a:pt x="2051768" y="257779"/>
                  <a:pt x="2049946" y="263246"/>
                </a:cubicBezTo>
                <a:cubicBezTo>
                  <a:pt x="2044479" y="265068"/>
                  <a:pt x="2042657" y="277823"/>
                  <a:pt x="2048124" y="285112"/>
                </a:cubicBezTo>
                <a:cubicBezTo>
                  <a:pt x="2051768" y="283289"/>
                  <a:pt x="2049946" y="281467"/>
                  <a:pt x="2053590" y="283289"/>
                </a:cubicBezTo>
                <a:cubicBezTo>
                  <a:pt x="2060879" y="301511"/>
                  <a:pt x="2088212" y="308800"/>
                  <a:pt x="2102790" y="299689"/>
                </a:cubicBezTo>
                <a:cubicBezTo>
                  <a:pt x="2102790" y="306978"/>
                  <a:pt x="2113722" y="306978"/>
                  <a:pt x="2113722" y="301511"/>
                </a:cubicBezTo>
                <a:cubicBezTo>
                  <a:pt x="2113722" y="305155"/>
                  <a:pt x="2115544" y="305155"/>
                  <a:pt x="2117366" y="306978"/>
                </a:cubicBezTo>
                <a:cubicBezTo>
                  <a:pt x="2115544" y="299689"/>
                  <a:pt x="2121011" y="305155"/>
                  <a:pt x="2124655" y="305155"/>
                </a:cubicBezTo>
                <a:cubicBezTo>
                  <a:pt x="2124655" y="303333"/>
                  <a:pt x="2124655" y="299689"/>
                  <a:pt x="2128300" y="299689"/>
                </a:cubicBezTo>
                <a:cubicBezTo>
                  <a:pt x="2128300" y="303333"/>
                  <a:pt x="2128300" y="306978"/>
                  <a:pt x="2131944" y="305155"/>
                </a:cubicBezTo>
                <a:cubicBezTo>
                  <a:pt x="2128300" y="303333"/>
                  <a:pt x="2126477" y="292400"/>
                  <a:pt x="2128300" y="288756"/>
                </a:cubicBezTo>
                <a:cubicBezTo>
                  <a:pt x="2128300" y="294223"/>
                  <a:pt x="2131944" y="285112"/>
                  <a:pt x="2131944" y="290578"/>
                </a:cubicBezTo>
                <a:cubicBezTo>
                  <a:pt x="2124655" y="297867"/>
                  <a:pt x="2131944" y="306978"/>
                  <a:pt x="2139233" y="306978"/>
                </a:cubicBezTo>
                <a:cubicBezTo>
                  <a:pt x="2139233" y="297867"/>
                  <a:pt x="2137410" y="294223"/>
                  <a:pt x="2139233" y="286934"/>
                </a:cubicBezTo>
                <a:cubicBezTo>
                  <a:pt x="2142877" y="288756"/>
                  <a:pt x="2137410" y="296045"/>
                  <a:pt x="2141055" y="297867"/>
                </a:cubicBezTo>
                <a:cubicBezTo>
                  <a:pt x="2142877" y="292400"/>
                  <a:pt x="2146521" y="290578"/>
                  <a:pt x="2150166" y="290578"/>
                </a:cubicBezTo>
                <a:cubicBezTo>
                  <a:pt x="2157454" y="296045"/>
                  <a:pt x="2148344" y="305155"/>
                  <a:pt x="2153810" y="306978"/>
                </a:cubicBezTo>
                <a:cubicBezTo>
                  <a:pt x="2155632" y="305155"/>
                  <a:pt x="2153810" y="303333"/>
                  <a:pt x="2155632" y="303333"/>
                </a:cubicBezTo>
                <a:cubicBezTo>
                  <a:pt x="2157454" y="319733"/>
                  <a:pt x="2168387" y="332488"/>
                  <a:pt x="2181143" y="339777"/>
                </a:cubicBezTo>
                <a:cubicBezTo>
                  <a:pt x="2182965" y="334310"/>
                  <a:pt x="2172032" y="325199"/>
                  <a:pt x="2177498" y="319733"/>
                </a:cubicBezTo>
                <a:cubicBezTo>
                  <a:pt x="2177498" y="330666"/>
                  <a:pt x="2184787" y="332488"/>
                  <a:pt x="2186609" y="343421"/>
                </a:cubicBezTo>
                <a:cubicBezTo>
                  <a:pt x="2182965" y="345242"/>
                  <a:pt x="2181143" y="339777"/>
                  <a:pt x="2181143" y="343421"/>
                </a:cubicBezTo>
                <a:cubicBezTo>
                  <a:pt x="2184787" y="345242"/>
                  <a:pt x="2186609" y="350710"/>
                  <a:pt x="2190253" y="352532"/>
                </a:cubicBezTo>
                <a:cubicBezTo>
                  <a:pt x="2192076" y="345242"/>
                  <a:pt x="2192076" y="336133"/>
                  <a:pt x="2188431" y="327022"/>
                </a:cubicBezTo>
                <a:cubicBezTo>
                  <a:pt x="2197542" y="327022"/>
                  <a:pt x="2195720" y="308800"/>
                  <a:pt x="2192076" y="305155"/>
                </a:cubicBezTo>
                <a:cubicBezTo>
                  <a:pt x="2192076" y="308800"/>
                  <a:pt x="2192076" y="310622"/>
                  <a:pt x="2192076" y="314266"/>
                </a:cubicBezTo>
                <a:cubicBezTo>
                  <a:pt x="2188431" y="316089"/>
                  <a:pt x="2186609" y="312444"/>
                  <a:pt x="2184787" y="312444"/>
                </a:cubicBezTo>
                <a:cubicBezTo>
                  <a:pt x="2186609" y="306978"/>
                  <a:pt x="2184787" y="305155"/>
                  <a:pt x="2182965" y="299689"/>
                </a:cubicBezTo>
                <a:cubicBezTo>
                  <a:pt x="2186609" y="296045"/>
                  <a:pt x="2188431" y="303333"/>
                  <a:pt x="2193898" y="301511"/>
                </a:cubicBezTo>
                <a:cubicBezTo>
                  <a:pt x="2192076" y="292400"/>
                  <a:pt x="2199364" y="281467"/>
                  <a:pt x="2193898" y="276001"/>
                </a:cubicBezTo>
                <a:cubicBezTo>
                  <a:pt x="2195720" y="279645"/>
                  <a:pt x="2192076" y="277823"/>
                  <a:pt x="2190253" y="279645"/>
                </a:cubicBezTo>
                <a:cubicBezTo>
                  <a:pt x="2188431" y="272356"/>
                  <a:pt x="2197542" y="274179"/>
                  <a:pt x="2199364" y="268712"/>
                </a:cubicBezTo>
                <a:cubicBezTo>
                  <a:pt x="2204831" y="250490"/>
                  <a:pt x="2188431" y="241379"/>
                  <a:pt x="2173854" y="245024"/>
                </a:cubicBezTo>
                <a:cubicBezTo>
                  <a:pt x="2164743" y="241379"/>
                  <a:pt x="2142877" y="235913"/>
                  <a:pt x="2135588" y="243202"/>
                </a:cubicBezTo>
                <a:cubicBezTo>
                  <a:pt x="2137410" y="245024"/>
                  <a:pt x="2141055" y="250490"/>
                  <a:pt x="2137410" y="250490"/>
                </a:cubicBezTo>
                <a:cubicBezTo>
                  <a:pt x="2135588" y="246846"/>
                  <a:pt x="2130122" y="246846"/>
                  <a:pt x="2128300" y="243202"/>
                </a:cubicBezTo>
                <a:cubicBezTo>
                  <a:pt x="2135588" y="245024"/>
                  <a:pt x="2135588" y="241379"/>
                  <a:pt x="2137410" y="237735"/>
                </a:cubicBezTo>
                <a:cubicBezTo>
                  <a:pt x="2151988" y="239557"/>
                  <a:pt x="2166565" y="241379"/>
                  <a:pt x="2182965" y="241379"/>
                </a:cubicBezTo>
                <a:cubicBezTo>
                  <a:pt x="2182965" y="239557"/>
                  <a:pt x="2184787" y="239557"/>
                  <a:pt x="2184787" y="237735"/>
                </a:cubicBezTo>
                <a:cubicBezTo>
                  <a:pt x="2184787" y="232269"/>
                  <a:pt x="2184787" y="217691"/>
                  <a:pt x="2186609" y="230446"/>
                </a:cubicBezTo>
                <a:cubicBezTo>
                  <a:pt x="2184787" y="234091"/>
                  <a:pt x="2186609" y="237735"/>
                  <a:pt x="2184787" y="241379"/>
                </a:cubicBezTo>
                <a:cubicBezTo>
                  <a:pt x="2190253" y="245024"/>
                  <a:pt x="2195720" y="246846"/>
                  <a:pt x="2201187" y="250490"/>
                </a:cubicBezTo>
                <a:cubicBezTo>
                  <a:pt x="2201187" y="245024"/>
                  <a:pt x="2204831" y="248668"/>
                  <a:pt x="2204831" y="246846"/>
                </a:cubicBezTo>
                <a:cubicBezTo>
                  <a:pt x="2203009" y="230446"/>
                  <a:pt x="2210297" y="215869"/>
                  <a:pt x="2203009" y="203114"/>
                </a:cubicBezTo>
                <a:cubicBezTo>
                  <a:pt x="2195720" y="206758"/>
                  <a:pt x="2204831" y="210403"/>
                  <a:pt x="2203009" y="214047"/>
                </a:cubicBezTo>
                <a:cubicBezTo>
                  <a:pt x="2201187" y="206758"/>
                  <a:pt x="2193898" y="214047"/>
                  <a:pt x="2192076" y="212225"/>
                </a:cubicBezTo>
                <a:cubicBezTo>
                  <a:pt x="2201187" y="195825"/>
                  <a:pt x="2170210" y="197647"/>
                  <a:pt x="2162921" y="186714"/>
                </a:cubicBezTo>
                <a:cubicBezTo>
                  <a:pt x="2164743" y="194003"/>
                  <a:pt x="2157454" y="195825"/>
                  <a:pt x="2155632" y="201292"/>
                </a:cubicBezTo>
                <a:cubicBezTo>
                  <a:pt x="2157454" y="197647"/>
                  <a:pt x="2153810" y="194003"/>
                  <a:pt x="2155632" y="190359"/>
                </a:cubicBezTo>
                <a:cubicBezTo>
                  <a:pt x="2141055" y="190359"/>
                  <a:pt x="2141055" y="195825"/>
                  <a:pt x="2142877" y="208580"/>
                </a:cubicBezTo>
                <a:cubicBezTo>
                  <a:pt x="2142877" y="201292"/>
                  <a:pt x="2137410" y="195825"/>
                  <a:pt x="2131944" y="194003"/>
                </a:cubicBezTo>
                <a:cubicBezTo>
                  <a:pt x="2128300" y="194003"/>
                  <a:pt x="2128300" y="199469"/>
                  <a:pt x="2130122" y="201292"/>
                </a:cubicBezTo>
                <a:cubicBezTo>
                  <a:pt x="2126477" y="201292"/>
                  <a:pt x="2126477" y="197647"/>
                  <a:pt x="2126477" y="195825"/>
                </a:cubicBezTo>
                <a:cubicBezTo>
                  <a:pt x="2122833" y="201292"/>
                  <a:pt x="2128300" y="208580"/>
                  <a:pt x="2124655" y="214047"/>
                </a:cubicBezTo>
                <a:cubicBezTo>
                  <a:pt x="2121011" y="203114"/>
                  <a:pt x="2113722" y="217691"/>
                  <a:pt x="2106433" y="215869"/>
                </a:cubicBezTo>
                <a:cubicBezTo>
                  <a:pt x="2108256" y="212225"/>
                  <a:pt x="2121011" y="206758"/>
                  <a:pt x="2113722" y="201292"/>
                </a:cubicBezTo>
                <a:lnTo>
                  <a:pt x="2106434" y="201292"/>
                </a:lnTo>
                <a:lnTo>
                  <a:pt x="2104611" y="195825"/>
                </a:lnTo>
                <a:cubicBezTo>
                  <a:pt x="2102790" y="197647"/>
                  <a:pt x="2100967" y="201292"/>
                  <a:pt x="2100967" y="199469"/>
                </a:cubicBezTo>
                <a:cubicBezTo>
                  <a:pt x="2099145" y="195825"/>
                  <a:pt x="2095500" y="192181"/>
                  <a:pt x="2095500" y="188536"/>
                </a:cubicBezTo>
                <a:cubicBezTo>
                  <a:pt x="2093679" y="192181"/>
                  <a:pt x="2099145" y="195825"/>
                  <a:pt x="2097323" y="199469"/>
                </a:cubicBezTo>
                <a:cubicBezTo>
                  <a:pt x="2095500" y="199469"/>
                  <a:pt x="2093679" y="199469"/>
                  <a:pt x="2091856" y="197647"/>
                </a:cubicBezTo>
                <a:cubicBezTo>
                  <a:pt x="2091856" y="188536"/>
                  <a:pt x="2088212" y="183070"/>
                  <a:pt x="2077279" y="183070"/>
                </a:cubicBezTo>
                <a:cubicBezTo>
                  <a:pt x="2073634" y="183070"/>
                  <a:pt x="2084568" y="181248"/>
                  <a:pt x="2080923" y="175781"/>
                </a:cubicBezTo>
                <a:cubicBezTo>
                  <a:pt x="2079101" y="175781"/>
                  <a:pt x="2079101" y="175781"/>
                  <a:pt x="2077279" y="177603"/>
                </a:cubicBezTo>
                <a:cubicBezTo>
                  <a:pt x="2075457" y="173959"/>
                  <a:pt x="2077279" y="164848"/>
                  <a:pt x="2069990" y="166670"/>
                </a:cubicBezTo>
                <a:cubicBezTo>
                  <a:pt x="2071812" y="168493"/>
                  <a:pt x="2069990" y="170315"/>
                  <a:pt x="2069990" y="170315"/>
                </a:cubicBezTo>
                <a:cubicBezTo>
                  <a:pt x="2060879" y="168493"/>
                  <a:pt x="2055413" y="159382"/>
                  <a:pt x="2053590" y="153915"/>
                </a:cubicBezTo>
                <a:cubicBezTo>
                  <a:pt x="2049946" y="148449"/>
                  <a:pt x="2057235" y="155737"/>
                  <a:pt x="2059057" y="150271"/>
                </a:cubicBezTo>
                <a:cubicBezTo>
                  <a:pt x="2062701" y="150271"/>
                  <a:pt x="2059057" y="153915"/>
                  <a:pt x="2062701" y="159382"/>
                </a:cubicBezTo>
                <a:cubicBezTo>
                  <a:pt x="2060879" y="148449"/>
                  <a:pt x="2060879" y="137516"/>
                  <a:pt x="2053590" y="126583"/>
                </a:cubicBezTo>
                <a:cubicBezTo>
                  <a:pt x="2049946" y="121116"/>
                  <a:pt x="2040835" y="122938"/>
                  <a:pt x="2040835" y="112005"/>
                </a:cubicBezTo>
                <a:cubicBezTo>
                  <a:pt x="2044479" y="112005"/>
                  <a:pt x="2048124" y="112005"/>
                  <a:pt x="2049946" y="110183"/>
                </a:cubicBezTo>
                <a:cubicBezTo>
                  <a:pt x="2049946" y="112005"/>
                  <a:pt x="2049946" y="113827"/>
                  <a:pt x="2051768" y="115649"/>
                </a:cubicBezTo>
                <a:cubicBezTo>
                  <a:pt x="2053590" y="112005"/>
                  <a:pt x="2053590" y="110183"/>
                  <a:pt x="2055413" y="108361"/>
                </a:cubicBezTo>
                <a:cubicBezTo>
                  <a:pt x="2053590" y="112005"/>
                  <a:pt x="2059057" y="112005"/>
                  <a:pt x="2060879" y="113827"/>
                </a:cubicBezTo>
                <a:cubicBezTo>
                  <a:pt x="2057235" y="112005"/>
                  <a:pt x="2059057" y="110183"/>
                  <a:pt x="2059057" y="108361"/>
                </a:cubicBezTo>
                <a:cubicBezTo>
                  <a:pt x="2064524" y="110183"/>
                  <a:pt x="2073634" y="112005"/>
                  <a:pt x="2075457" y="104716"/>
                </a:cubicBezTo>
                <a:cubicBezTo>
                  <a:pt x="2075457" y="106539"/>
                  <a:pt x="2075457" y="108361"/>
                  <a:pt x="2073634" y="110183"/>
                </a:cubicBezTo>
                <a:cubicBezTo>
                  <a:pt x="2080923" y="110183"/>
                  <a:pt x="2077279" y="99250"/>
                  <a:pt x="2079101" y="101072"/>
                </a:cubicBezTo>
                <a:cubicBezTo>
                  <a:pt x="2086390" y="104716"/>
                  <a:pt x="2080923" y="113827"/>
                  <a:pt x="2079101" y="121116"/>
                </a:cubicBezTo>
                <a:cubicBezTo>
                  <a:pt x="2077279" y="119294"/>
                  <a:pt x="2073634" y="115649"/>
                  <a:pt x="2073634" y="119294"/>
                </a:cubicBezTo>
                <a:lnTo>
                  <a:pt x="2072935" y="122798"/>
                </a:lnTo>
                <a:lnTo>
                  <a:pt x="2072268" y="117471"/>
                </a:lnTo>
                <a:cubicBezTo>
                  <a:pt x="2070901" y="114738"/>
                  <a:pt x="2068168" y="112916"/>
                  <a:pt x="2062701" y="112005"/>
                </a:cubicBezTo>
                <a:cubicBezTo>
                  <a:pt x="2062701" y="113827"/>
                  <a:pt x="2062701" y="115649"/>
                  <a:pt x="2062701" y="117472"/>
                </a:cubicBezTo>
                <a:cubicBezTo>
                  <a:pt x="2060879" y="119294"/>
                  <a:pt x="2059057" y="110183"/>
                  <a:pt x="2055413" y="117472"/>
                </a:cubicBezTo>
                <a:cubicBezTo>
                  <a:pt x="2062701" y="122938"/>
                  <a:pt x="2055413" y="133871"/>
                  <a:pt x="2068168" y="133871"/>
                </a:cubicBezTo>
                <a:cubicBezTo>
                  <a:pt x="2069990" y="128405"/>
                  <a:pt x="2066346" y="124760"/>
                  <a:pt x="2064524" y="121116"/>
                </a:cubicBezTo>
                <a:cubicBezTo>
                  <a:pt x="2068168" y="121116"/>
                  <a:pt x="2069990" y="126583"/>
                  <a:pt x="2073634" y="128405"/>
                </a:cubicBezTo>
                <a:lnTo>
                  <a:pt x="2073114" y="124239"/>
                </a:lnTo>
                <a:lnTo>
                  <a:pt x="2077279" y="128405"/>
                </a:lnTo>
                <a:cubicBezTo>
                  <a:pt x="2073634" y="132049"/>
                  <a:pt x="2082745" y="139338"/>
                  <a:pt x="2084568" y="141160"/>
                </a:cubicBezTo>
                <a:cubicBezTo>
                  <a:pt x="2090034" y="139338"/>
                  <a:pt x="2088212" y="137516"/>
                  <a:pt x="2086390" y="132049"/>
                </a:cubicBezTo>
                <a:cubicBezTo>
                  <a:pt x="2084568" y="133871"/>
                  <a:pt x="2077279" y="133871"/>
                  <a:pt x="2077279" y="128405"/>
                </a:cubicBezTo>
                <a:cubicBezTo>
                  <a:pt x="2077279" y="124760"/>
                  <a:pt x="2077279" y="122938"/>
                  <a:pt x="2075457" y="121116"/>
                </a:cubicBezTo>
                <a:cubicBezTo>
                  <a:pt x="2077279" y="122938"/>
                  <a:pt x="2080923" y="124760"/>
                  <a:pt x="2082745" y="124760"/>
                </a:cubicBezTo>
                <a:cubicBezTo>
                  <a:pt x="2082745" y="115649"/>
                  <a:pt x="2090034" y="110183"/>
                  <a:pt x="2086390" y="101072"/>
                </a:cubicBezTo>
                <a:cubicBezTo>
                  <a:pt x="2090034" y="101072"/>
                  <a:pt x="2093679" y="95606"/>
                  <a:pt x="2091856" y="93783"/>
                </a:cubicBezTo>
                <a:cubicBezTo>
                  <a:pt x="2094590" y="93783"/>
                  <a:pt x="2095501" y="95605"/>
                  <a:pt x="2096184" y="97199"/>
                </a:cubicBezTo>
                <a:lnTo>
                  <a:pt x="2098523" y="98818"/>
                </a:lnTo>
                <a:lnTo>
                  <a:pt x="2095500" y="99250"/>
                </a:lnTo>
                <a:cubicBezTo>
                  <a:pt x="2093679" y="102894"/>
                  <a:pt x="2100967" y="104716"/>
                  <a:pt x="2106433" y="106539"/>
                </a:cubicBezTo>
                <a:cubicBezTo>
                  <a:pt x="2106433" y="106539"/>
                  <a:pt x="2104611" y="106539"/>
                  <a:pt x="2104611" y="104716"/>
                </a:cubicBezTo>
                <a:cubicBezTo>
                  <a:pt x="2108256" y="108361"/>
                  <a:pt x="2115544" y="106539"/>
                  <a:pt x="2113722" y="115649"/>
                </a:cubicBezTo>
                <a:cubicBezTo>
                  <a:pt x="2113722" y="118382"/>
                  <a:pt x="2115089" y="117471"/>
                  <a:pt x="2116684" y="116105"/>
                </a:cubicBezTo>
                <a:lnTo>
                  <a:pt x="2120779" y="113949"/>
                </a:lnTo>
                <a:lnTo>
                  <a:pt x="2121011" y="114348"/>
                </a:lnTo>
                <a:lnTo>
                  <a:pt x="2121011" y="119294"/>
                </a:lnTo>
                <a:cubicBezTo>
                  <a:pt x="2121011" y="119294"/>
                  <a:pt x="2122833" y="117472"/>
                  <a:pt x="2122833" y="117472"/>
                </a:cubicBezTo>
                <a:lnTo>
                  <a:pt x="2121011" y="114348"/>
                </a:lnTo>
                <a:lnTo>
                  <a:pt x="2121011" y="113827"/>
                </a:lnTo>
                <a:lnTo>
                  <a:pt x="2120779" y="113949"/>
                </a:lnTo>
                <a:lnTo>
                  <a:pt x="2119644" y="112005"/>
                </a:lnTo>
                <a:cubicBezTo>
                  <a:pt x="2117367" y="110638"/>
                  <a:pt x="2114633" y="109272"/>
                  <a:pt x="2113722" y="106539"/>
                </a:cubicBezTo>
                <a:cubicBezTo>
                  <a:pt x="2117367" y="108361"/>
                  <a:pt x="2119189" y="109272"/>
                  <a:pt x="2121239" y="109499"/>
                </a:cubicBezTo>
                <a:lnTo>
                  <a:pt x="2127659" y="108676"/>
                </a:lnTo>
                <a:lnTo>
                  <a:pt x="2128300" y="110183"/>
                </a:lnTo>
                <a:lnTo>
                  <a:pt x="2129149" y="108485"/>
                </a:lnTo>
                <a:lnTo>
                  <a:pt x="2130122" y="108361"/>
                </a:lnTo>
                <a:lnTo>
                  <a:pt x="2129758" y="107267"/>
                </a:lnTo>
                <a:lnTo>
                  <a:pt x="2130122" y="106539"/>
                </a:lnTo>
                <a:cubicBezTo>
                  <a:pt x="2137410" y="104716"/>
                  <a:pt x="2141055" y="106539"/>
                  <a:pt x="2141055" y="99250"/>
                </a:cubicBezTo>
                <a:cubicBezTo>
                  <a:pt x="2142877" y="91961"/>
                  <a:pt x="2137410" y="101072"/>
                  <a:pt x="2135588" y="99250"/>
                </a:cubicBezTo>
                <a:cubicBezTo>
                  <a:pt x="2133766" y="93783"/>
                  <a:pt x="2135588" y="84673"/>
                  <a:pt x="2130122" y="82850"/>
                </a:cubicBezTo>
                <a:cubicBezTo>
                  <a:pt x="2121011" y="81028"/>
                  <a:pt x="2122833" y="73739"/>
                  <a:pt x="2115544" y="73739"/>
                </a:cubicBezTo>
                <a:cubicBezTo>
                  <a:pt x="2113722" y="73739"/>
                  <a:pt x="2110078" y="73739"/>
                  <a:pt x="2108256" y="77384"/>
                </a:cubicBezTo>
                <a:cubicBezTo>
                  <a:pt x="2106433" y="75562"/>
                  <a:pt x="2102790" y="73739"/>
                  <a:pt x="2104611" y="73739"/>
                </a:cubicBezTo>
                <a:cubicBezTo>
                  <a:pt x="2115544" y="68273"/>
                  <a:pt x="2124655" y="64629"/>
                  <a:pt x="2131944" y="75562"/>
                </a:cubicBezTo>
                <a:cubicBezTo>
                  <a:pt x="2131944" y="71917"/>
                  <a:pt x="2131944" y="68273"/>
                  <a:pt x="2130122" y="64629"/>
                </a:cubicBezTo>
                <a:cubicBezTo>
                  <a:pt x="2137410" y="70095"/>
                  <a:pt x="2146521" y="88317"/>
                  <a:pt x="2153810" y="79206"/>
                </a:cubicBezTo>
                <a:cubicBezTo>
                  <a:pt x="2157454" y="75562"/>
                  <a:pt x="2142877" y="81028"/>
                  <a:pt x="2142877" y="73739"/>
                </a:cubicBezTo>
                <a:cubicBezTo>
                  <a:pt x="2141055" y="70095"/>
                  <a:pt x="2146521" y="71917"/>
                  <a:pt x="2148344" y="73739"/>
                </a:cubicBezTo>
                <a:cubicBezTo>
                  <a:pt x="2151988" y="70095"/>
                  <a:pt x="2144699" y="64629"/>
                  <a:pt x="2146521" y="62806"/>
                </a:cubicBezTo>
                <a:lnTo>
                  <a:pt x="2153427" y="63957"/>
                </a:lnTo>
                <a:lnTo>
                  <a:pt x="2151988" y="68273"/>
                </a:lnTo>
                <a:cubicBezTo>
                  <a:pt x="2155632" y="68273"/>
                  <a:pt x="2159277" y="68273"/>
                  <a:pt x="2162921" y="68273"/>
                </a:cubicBezTo>
                <a:cubicBezTo>
                  <a:pt x="2159277" y="64629"/>
                  <a:pt x="2168387" y="60984"/>
                  <a:pt x="2162921" y="57340"/>
                </a:cubicBezTo>
                <a:cubicBezTo>
                  <a:pt x="2164743" y="57340"/>
                  <a:pt x="2166565" y="57340"/>
                  <a:pt x="2168387" y="59162"/>
                </a:cubicBezTo>
                <a:cubicBezTo>
                  <a:pt x="2170210" y="60984"/>
                  <a:pt x="2168387" y="66451"/>
                  <a:pt x="2170210" y="68273"/>
                </a:cubicBezTo>
                <a:cubicBezTo>
                  <a:pt x="2173854" y="70095"/>
                  <a:pt x="2181143" y="66451"/>
                  <a:pt x="2182965" y="71917"/>
                </a:cubicBezTo>
                <a:cubicBezTo>
                  <a:pt x="2182965" y="73739"/>
                  <a:pt x="2182965" y="73739"/>
                  <a:pt x="2181143" y="75562"/>
                </a:cubicBezTo>
                <a:cubicBezTo>
                  <a:pt x="2181143" y="70095"/>
                  <a:pt x="2175676" y="75562"/>
                  <a:pt x="2173854" y="73739"/>
                </a:cubicBezTo>
                <a:cubicBezTo>
                  <a:pt x="2175676" y="77384"/>
                  <a:pt x="2177498" y="79206"/>
                  <a:pt x="2175676" y="81028"/>
                </a:cubicBezTo>
                <a:cubicBezTo>
                  <a:pt x="2172032" y="81028"/>
                  <a:pt x="2172032" y="73739"/>
                  <a:pt x="2166565" y="73739"/>
                </a:cubicBezTo>
                <a:cubicBezTo>
                  <a:pt x="2172032" y="82850"/>
                  <a:pt x="2179320" y="90139"/>
                  <a:pt x="2181143" y="101072"/>
                </a:cubicBezTo>
                <a:cubicBezTo>
                  <a:pt x="2182965" y="104716"/>
                  <a:pt x="2192076" y="104716"/>
                  <a:pt x="2197542" y="102894"/>
                </a:cubicBezTo>
                <a:cubicBezTo>
                  <a:pt x="2195720" y="108361"/>
                  <a:pt x="2188431" y="108361"/>
                  <a:pt x="2186609" y="112005"/>
                </a:cubicBezTo>
                <a:cubicBezTo>
                  <a:pt x="2195720" y="115649"/>
                  <a:pt x="2195720" y="124760"/>
                  <a:pt x="2203009" y="128405"/>
                </a:cubicBezTo>
                <a:cubicBezTo>
                  <a:pt x="2195720" y="122938"/>
                  <a:pt x="2188887" y="121571"/>
                  <a:pt x="2183648" y="123621"/>
                </a:cubicBezTo>
                <a:lnTo>
                  <a:pt x="2174764" y="137878"/>
                </a:lnTo>
                <a:lnTo>
                  <a:pt x="2172032" y="135693"/>
                </a:lnTo>
                <a:lnTo>
                  <a:pt x="2173854" y="139337"/>
                </a:lnTo>
                <a:lnTo>
                  <a:pt x="2173854" y="139338"/>
                </a:lnTo>
                <a:lnTo>
                  <a:pt x="2173855" y="139338"/>
                </a:lnTo>
                <a:lnTo>
                  <a:pt x="2174310" y="140248"/>
                </a:lnTo>
                <a:cubicBezTo>
                  <a:pt x="2174310" y="141615"/>
                  <a:pt x="2173854" y="142982"/>
                  <a:pt x="2173854" y="144804"/>
                </a:cubicBezTo>
                <a:lnTo>
                  <a:pt x="2175990" y="142290"/>
                </a:lnTo>
                <a:lnTo>
                  <a:pt x="2181598" y="150043"/>
                </a:lnTo>
                <a:cubicBezTo>
                  <a:pt x="2186609" y="151637"/>
                  <a:pt x="2192987" y="152093"/>
                  <a:pt x="2197542" y="153915"/>
                </a:cubicBezTo>
                <a:cubicBezTo>
                  <a:pt x="2195720" y="152093"/>
                  <a:pt x="2195720" y="150271"/>
                  <a:pt x="2195720" y="148449"/>
                </a:cubicBezTo>
                <a:cubicBezTo>
                  <a:pt x="2199364" y="157559"/>
                  <a:pt x="2210297" y="153915"/>
                  <a:pt x="2212120" y="146626"/>
                </a:cubicBezTo>
                <a:cubicBezTo>
                  <a:pt x="2215764" y="139338"/>
                  <a:pt x="2201187" y="142982"/>
                  <a:pt x="2199364" y="135693"/>
                </a:cubicBezTo>
                <a:cubicBezTo>
                  <a:pt x="2208475" y="133871"/>
                  <a:pt x="2210297" y="126583"/>
                  <a:pt x="2208475" y="119294"/>
                </a:cubicBezTo>
                <a:cubicBezTo>
                  <a:pt x="2213942" y="122938"/>
                  <a:pt x="2212120" y="128405"/>
                  <a:pt x="2215764" y="130227"/>
                </a:cubicBezTo>
                <a:cubicBezTo>
                  <a:pt x="2217586" y="124760"/>
                  <a:pt x="2219408" y="115649"/>
                  <a:pt x="2226697" y="115649"/>
                </a:cubicBezTo>
                <a:cubicBezTo>
                  <a:pt x="2226697" y="113827"/>
                  <a:pt x="2226697" y="112005"/>
                  <a:pt x="2224875" y="110183"/>
                </a:cubicBezTo>
                <a:cubicBezTo>
                  <a:pt x="2228519" y="108361"/>
                  <a:pt x="2228519" y="110183"/>
                  <a:pt x="2230341" y="112005"/>
                </a:cubicBezTo>
                <a:cubicBezTo>
                  <a:pt x="2232163" y="104716"/>
                  <a:pt x="2224875" y="104716"/>
                  <a:pt x="2223053" y="101072"/>
                </a:cubicBezTo>
                <a:cubicBezTo>
                  <a:pt x="2223053" y="101072"/>
                  <a:pt x="2221230" y="101072"/>
                  <a:pt x="2221230" y="99250"/>
                </a:cubicBezTo>
                <a:cubicBezTo>
                  <a:pt x="2224875" y="99250"/>
                  <a:pt x="2226697" y="99250"/>
                  <a:pt x="2228519" y="101072"/>
                </a:cubicBezTo>
                <a:cubicBezTo>
                  <a:pt x="2232163" y="93783"/>
                  <a:pt x="2235808" y="95606"/>
                  <a:pt x="2243096" y="91961"/>
                </a:cubicBezTo>
                <a:cubicBezTo>
                  <a:pt x="2237630" y="91961"/>
                  <a:pt x="2235808" y="88317"/>
                  <a:pt x="2233986" y="84673"/>
                </a:cubicBezTo>
                <a:cubicBezTo>
                  <a:pt x="2237630" y="90139"/>
                  <a:pt x="2246741" y="84673"/>
                  <a:pt x="2244919" y="82850"/>
                </a:cubicBezTo>
                <a:cubicBezTo>
                  <a:pt x="2241274" y="77384"/>
                  <a:pt x="2226697" y="88317"/>
                  <a:pt x="2224875" y="79206"/>
                </a:cubicBezTo>
                <a:cubicBezTo>
                  <a:pt x="2224875" y="75562"/>
                  <a:pt x="2224875" y="73739"/>
                  <a:pt x="2226697" y="71917"/>
                </a:cubicBezTo>
                <a:cubicBezTo>
                  <a:pt x="2224875" y="79206"/>
                  <a:pt x="2233986" y="73739"/>
                  <a:pt x="2233986" y="79206"/>
                </a:cubicBezTo>
                <a:cubicBezTo>
                  <a:pt x="2233986" y="77384"/>
                  <a:pt x="2233986" y="77384"/>
                  <a:pt x="2233986" y="75562"/>
                </a:cubicBezTo>
                <a:cubicBezTo>
                  <a:pt x="2235808" y="71917"/>
                  <a:pt x="2237630" y="75562"/>
                  <a:pt x="2239452" y="75562"/>
                </a:cubicBezTo>
                <a:cubicBezTo>
                  <a:pt x="2230341" y="68273"/>
                  <a:pt x="2221230" y="57340"/>
                  <a:pt x="2208475" y="59162"/>
                </a:cubicBezTo>
                <a:cubicBezTo>
                  <a:pt x="2210297" y="62806"/>
                  <a:pt x="2213942" y="64629"/>
                  <a:pt x="2212120" y="66451"/>
                </a:cubicBezTo>
                <a:cubicBezTo>
                  <a:pt x="2204831" y="75562"/>
                  <a:pt x="2201187" y="59162"/>
                  <a:pt x="2195720" y="55518"/>
                </a:cubicBezTo>
                <a:cubicBezTo>
                  <a:pt x="2197542" y="57340"/>
                  <a:pt x="2199364" y="60984"/>
                  <a:pt x="2199364" y="62806"/>
                </a:cubicBezTo>
                <a:cubicBezTo>
                  <a:pt x="2190253" y="68273"/>
                  <a:pt x="2195720" y="53696"/>
                  <a:pt x="2188431" y="51873"/>
                </a:cubicBezTo>
                <a:cubicBezTo>
                  <a:pt x="2188431" y="55518"/>
                  <a:pt x="2186609" y="60984"/>
                  <a:pt x="2190253" y="62806"/>
                </a:cubicBezTo>
                <a:cubicBezTo>
                  <a:pt x="2186609" y="60984"/>
                  <a:pt x="2186609" y="53696"/>
                  <a:pt x="2179320" y="51873"/>
                </a:cubicBezTo>
                <a:cubicBezTo>
                  <a:pt x="2184787" y="44585"/>
                  <a:pt x="2197542" y="44585"/>
                  <a:pt x="2204831" y="48229"/>
                </a:cubicBezTo>
                <a:cubicBezTo>
                  <a:pt x="2204831" y="48229"/>
                  <a:pt x="2203009" y="50051"/>
                  <a:pt x="2203009" y="50051"/>
                </a:cubicBezTo>
                <a:cubicBezTo>
                  <a:pt x="2208475" y="51873"/>
                  <a:pt x="2213942" y="55518"/>
                  <a:pt x="2219408" y="55518"/>
                </a:cubicBezTo>
                <a:cubicBezTo>
                  <a:pt x="2219408" y="51873"/>
                  <a:pt x="2219408" y="48229"/>
                  <a:pt x="2221230" y="48229"/>
                </a:cubicBezTo>
                <a:cubicBezTo>
                  <a:pt x="2228519" y="48229"/>
                  <a:pt x="2224875" y="39118"/>
                  <a:pt x="2230341" y="40940"/>
                </a:cubicBezTo>
                <a:cubicBezTo>
                  <a:pt x="2235808" y="44585"/>
                  <a:pt x="2226697" y="50051"/>
                  <a:pt x="2228519" y="55518"/>
                </a:cubicBezTo>
                <a:cubicBezTo>
                  <a:pt x="2226697" y="53696"/>
                  <a:pt x="2226697" y="50051"/>
                  <a:pt x="2224875" y="50051"/>
                </a:cubicBezTo>
                <a:cubicBezTo>
                  <a:pt x="2221230" y="50051"/>
                  <a:pt x="2223053" y="55518"/>
                  <a:pt x="2223053" y="57340"/>
                </a:cubicBezTo>
                <a:cubicBezTo>
                  <a:pt x="2224875" y="60984"/>
                  <a:pt x="2228519" y="57340"/>
                  <a:pt x="2230341" y="55518"/>
                </a:cubicBezTo>
                <a:cubicBezTo>
                  <a:pt x="2232163" y="62806"/>
                  <a:pt x="2235808" y="71917"/>
                  <a:pt x="2246741" y="70095"/>
                </a:cubicBezTo>
                <a:cubicBezTo>
                  <a:pt x="2248563" y="64629"/>
                  <a:pt x="2243096" y="57340"/>
                  <a:pt x="2246741" y="50051"/>
                </a:cubicBezTo>
                <a:cubicBezTo>
                  <a:pt x="2248563" y="51873"/>
                  <a:pt x="2250385" y="53696"/>
                  <a:pt x="2252207" y="55518"/>
                </a:cubicBezTo>
                <a:cubicBezTo>
                  <a:pt x="2250385" y="48229"/>
                  <a:pt x="2239452" y="42763"/>
                  <a:pt x="2244919" y="35474"/>
                </a:cubicBezTo>
                <a:cubicBezTo>
                  <a:pt x="2246741" y="35474"/>
                  <a:pt x="2248563" y="35474"/>
                  <a:pt x="2250385" y="37296"/>
                </a:cubicBezTo>
                <a:cubicBezTo>
                  <a:pt x="2250385" y="39118"/>
                  <a:pt x="2252207" y="42763"/>
                  <a:pt x="2252207" y="44585"/>
                </a:cubicBezTo>
                <a:cubicBezTo>
                  <a:pt x="2257674" y="39118"/>
                  <a:pt x="2261318" y="50051"/>
                  <a:pt x="2264963" y="51873"/>
                </a:cubicBezTo>
                <a:lnTo>
                  <a:pt x="2268894" y="50727"/>
                </a:lnTo>
                <a:lnTo>
                  <a:pt x="2268607" y="51873"/>
                </a:lnTo>
                <a:lnTo>
                  <a:pt x="2269083" y="50671"/>
                </a:lnTo>
                <a:lnTo>
                  <a:pt x="2270430" y="50279"/>
                </a:lnTo>
                <a:lnTo>
                  <a:pt x="2270429" y="47269"/>
                </a:lnTo>
                <a:lnTo>
                  <a:pt x="2272935" y="40940"/>
                </a:lnTo>
                <a:cubicBezTo>
                  <a:pt x="2275441" y="38206"/>
                  <a:pt x="2277718" y="35473"/>
                  <a:pt x="2275896" y="30007"/>
                </a:cubicBezTo>
                <a:cubicBezTo>
                  <a:pt x="2279540" y="31829"/>
                  <a:pt x="2281362" y="37296"/>
                  <a:pt x="2279540" y="42763"/>
                </a:cubicBezTo>
                <a:cubicBezTo>
                  <a:pt x="2279540" y="42763"/>
                  <a:pt x="2283184" y="46407"/>
                  <a:pt x="2285007" y="44585"/>
                </a:cubicBezTo>
                <a:cubicBezTo>
                  <a:pt x="2290473" y="35474"/>
                  <a:pt x="2294117" y="37296"/>
                  <a:pt x="2301406" y="42763"/>
                </a:cubicBezTo>
                <a:cubicBezTo>
                  <a:pt x="2295940" y="39118"/>
                  <a:pt x="2292295" y="53696"/>
                  <a:pt x="2285007" y="46407"/>
                </a:cubicBezTo>
                <a:cubicBezTo>
                  <a:pt x="2285007" y="51873"/>
                  <a:pt x="2294117" y="55518"/>
                  <a:pt x="2286829" y="60984"/>
                </a:cubicBezTo>
                <a:lnTo>
                  <a:pt x="2281806" y="59309"/>
                </a:lnTo>
                <a:lnTo>
                  <a:pt x="2279996" y="57112"/>
                </a:lnTo>
                <a:cubicBezTo>
                  <a:pt x="2279085" y="55973"/>
                  <a:pt x="2278629" y="54606"/>
                  <a:pt x="2279540" y="51873"/>
                </a:cubicBezTo>
                <a:cubicBezTo>
                  <a:pt x="2277718" y="51873"/>
                  <a:pt x="2274074" y="53696"/>
                  <a:pt x="2272251" y="53696"/>
                </a:cubicBezTo>
                <a:cubicBezTo>
                  <a:pt x="2274074" y="57340"/>
                  <a:pt x="2275896" y="66451"/>
                  <a:pt x="2283184" y="60984"/>
                </a:cubicBezTo>
                <a:lnTo>
                  <a:pt x="2281923" y="59451"/>
                </a:lnTo>
                <a:lnTo>
                  <a:pt x="2287968" y="62578"/>
                </a:lnTo>
                <a:cubicBezTo>
                  <a:pt x="2289107" y="64628"/>
                  <a:pt x="2289562" y="67362"/>
                  <a:pt x="2290473" y="70095"/>
                </a:cubicBezTo>
                <a:cubicBezTo>
                  <a:pt x="2288651" y="70095"/>
                  <a:pt x="2286829" y="70095"/>
                  <a:pt x="2285007" y="68273"/>
                </a:cubicBezTo>
                <a:cubicBezTo>
                  <a:pt x="2285007" y="71917"/>
                  <a:pt x="2285007" y="73739"/>
                  <a:pt x="2286829" y="75562"/>
                </a:cubicBezTo>
                <a:cubicBezTo>
                  <a:pt x="2283184" y="70095"/>
                  <a:pt x="2283184" y="62806"/>
                  <a:pt x="2275896" y="68273"/>
                </a:cubicBezTo>
                <a:cubicBezTo>
                  <a:pt x="2275896" y="70095"/>
                  <a:pt x="2275896" y="71917"/>
                  <a:pt x="2274074" y="73739"/>
                </a:cubicBezTo>
                <a:cubicBezTo>
                  <a:pt x="2270429" y="68273"/>
                  <a:pt x="2261318" y="68273"/>
                  <a:pt x="2263140" y="75562"/>
                </a:cubicBezTo>
                <a:cubicBezTo>
                  <a:pt x="2268607" y="91961"/>
                  <a:pt x="2285007" y="73739"/>
                  <a:pt x="2295940" y="77384"/>
                </a:cubicBezTo>
                <a:cubicBezTo>
                  <a:pt x="2295940" y="75562"/>
                  <a:pt x="2295940" y="73739"/>
                  <a:pt x="2294117" y="71917"/>
                </a:cubicBezTo>
                <a:cubicBezTo>
                  <a:pt x="2297762" y="77384"/>
                  <a:pt x="2301406" y="68273"/>
                  <a:pt x="2305050" y="70095"/>
                </a:cubicBezTo>
                <a:cubicBezTo>
                  <a:pt x="2319628" y="79206"/>
                  <a:pt x="2325094" y="66451"/>
                  <a:pt x="2339672" y="64629"/>
                </a:cubicBezTo>
                <a:cubicBezTo>
                  <a:pt x="2339672" y="66451"/>
                  <a:pt x="2339672" y="70095"/>
                  <a:pt x="2339672" y="71917"/>
                </a:cubicBezTo>
                <a:cubicBezTo>
                  <a:pt x="2343316" y="70095"/>
                  <a:pt x="2346960" y="70095"/>
                  <a:pt x="2346960" y="64629"/>
                </a:cubicBezTo>
                <a:cubicBezTo>
                  <a:pt x="2343316" y="66451"/>
                  <a:pt x="2341494" y="66451"/>
                  <a:pt x="2339672" y="64629"/>
                </a:cubicBezTo>
                <a:cubicBezTo>
                  <a:pt x="2348782" y="66451"/>
                  <a:pt x="2339672" y="55518"/>
                  <a:pt x="2346960" y="57340"/>
                </a:cubicBezTo>
                <a:cubicBezTo>
                  <a:pt x="2348782" y="57340"/>
                  <a:pt x="2350605" y="59162"/>
                  <a:pt x="2350605" y="60984"/>
                </a:cubicBezTo>
                <a:cubicBezTo>
                  <a:pt x="2350605" y="60984"/>
                  <a:pt x="2350605" y="60984"/>
                  <a:pt x="2348782" y="62806"/>
                </a:cubicBezTo>
                <a:cubicBezTo>
                  <a:pt x="2352427" y="62806"/>
                  <a:pt x="2356071" y="64629"/>
                  <a:pt x="2354249" y="60984"/>
                </a:cubicBezTo>
                <a:cubicBezTo>
                  <a:pt x="2350605" y="55518"/>
                  <a:pt x="2348782" y="48229"/>
                  <a:pt x="2357893" y="48229"/>
                </a:cubicBezTo>
                <a:cubicBezTo>
                  <a:pt x="2361538" y="48229"/>
                  <a:pt x="2363360" y="53696"/>
                  <a:pt x="2365182" y="55518"/>
                </a:cubicBezTo>
                <a:cubicBezTo>
                  <a:pt x="2365182" y="57340"/>
                  <a:pt x="2365182" y="59162"/>
                  <a:pt x="2363360" y="60984"/>
                </a:cubicBezTo>
                <a:cubicBezTo>
                  <a:pt x="2365182" y="60984"/>
                  <a:pt x="2368827" y="60984"/>
                  <a:pt x="2370649" y="60984"/>
                </a:cubicBezTo>
                <a:cubicBezTo>
                  <a:pt x="2367004" y="59162"/>
                  <a:pt x="2367004" y="53696"/>
                  <a:pt x="2368827" y="51873"/>
                </a:cubicBezTo>
                <a:cubicBezTo>
                  <a:pt x="2376115" y="46407"/>
                  <a:pt x="2387048" y="50051"/>
                  <a:pt x="2387048" y="57340"/>
                </a:cubicBezTo>
                <a:cubicBezTo>
                  <a:pt x="2392515" y="50051"/>
                  <a:pt x="2394337" y="50051"/>
                  <a:pt x="2403448" y="51873"/>
                </a:cubicBezTo>
                <a:cubicBezTo>
                  <a:pt x="2403448" y="50051"/>
                  <a:pt x="2399803" y="48229"/>
                  <a:pt x="2401626" y="44585"/>
                </a:cubicBezTo>
                <a:cubicBezTo>
                  <a:pt x="2407092" y="39118"/>
                  <a:pt x="2407092" y="44585"/>
                  <a:pt x="2408914" y="46407"/>
                </a:cubicBezTo>
                <a:cubicBezTo>
                  <a:pt x="2410737" y="42763"/>
                  <a:pt x="2405270" y="37296"/>
                  <a:pt x="2410737" y="33652"/>
                </a:cubicBezTo>
                <a:lnTo>
                  <a:pt x="2410312" y="33782"/>
                </a:lnTo>
                <a:lnTo>
                  <a:pt x="2416203" y="26363"/>
                </a:lnTo>
                <a:cubicBezTo>
                  <a:pt x="2421669" y="33652"/>
                  <a:pt x="2432603" y="30007"/>
                  <a:pt x="2436247" y="40940"/>
                </a:cubicBezTo>
                <a:cubicBezTo>
                  <a:pt x="2436247" y="37296"/>
                  <a:pt x="2432603" y="33652"/>
                  <a:pt x="2434425" y="31829"/>
                </a:cubicBezTo>
                <a:cubicBezTo>
                  <a:pt x="2439891" y="24541"/>
                  <a:pt x="2449002" y="28185"/>
                  <a:pt x="2456291" y="30007"/>
                </a:cubicBezTo>
                <a:cubicBezTo>
                  <a:pt x="2463580" y="33652"/>
                  <a:pt x="2472690" y="44585"/>
                  <a:pt x="2465402" y="53696"/>
                </a:cubicBezTo>
                <a:cubicBezTo>
                  <a:pt x="2463580" y="53696"/>
                  <a:pt x="2458113" y="57340"/>
                  <a:pt x="2456291" y="51873"/>
                </a:cubicBezTo>
                <a:cubicBezTo>
                  <a:pt x="2458113" y="51873"/>
                  <a:pt x="2458113" y="51873"/>
                  <a:pt x="2459935" y="50051"/>
                </a:cubicBezTo>
                <a:lnTo>
                  <a:pt x="2453414" y="46790"/>
                </a:lnTo>
                <a:lnTo>
                  <a:pt x="2461757" y="48229"/>
                </a:lnTo>
                <a:cubicBezTo>
                  <a:pt x="2465402" y="40940"/>
                  <a:pt x="2461757" y="39118"/>
                  <a:pt x="2458113" y="35474"/>
                </a:cubicBezTo>
                <a:cubicBezTo>
                  <a:pt x="2454469" y="37296"/>
                  <a:pt x="2459935" y="39118"/>
                  <a:pt x="2456291" y="40940"/>
                </a:cubicBezTo>
                <a:cubicBezTo>
                  <a:pt x="2452647" y="40940"/>
                  <a:pt x="2452647" y="37296"/>
                  <a:pt x="2452647" y="33652"/>
                </a:cubicBezTo>
                <a:cubicBezTo>
                  <a:pt x="2449002" y="35474"/>
                  <a:pt x="2447180" y="35474"/>
                  <a:pt x="2445358" y="33652"/>
                </a:cubicBezTo>
                <a:cubicBezTo>
                  <a:pt x="2439891" y="39118"/>
                  <a:pt x="2447180" y="42763"/>
                  <a:pt x="2438069" y="46407"/>
                </a:cubicBezTo>
                <a:lnTo>
                  <a:pt x="2438938" y="46369"/>
                </a:lnTo>
                <a:lnTo>
                  <a:pt x="2438525" y="46634"/>
                </a:lnTo>
                <a:cubicBezTo>
                  <a:pt x="2437614" y="47773"/>
                  <a:pt x="2437158" y="49140"/>
                  <a:pt x="2438069" y="50051"/>
                </a:cubicBezTo>
                <a:cubicBezTo>
                  <a:pt x="2439891" y="53696"/>
                  <a:pt x="2443536" y="55518"/>
                  <a:pt x="2445358" y="57340"/>
                </a:cubicBezTo>
                <a:cubicBezTo>
                  <a:pt x="2441713" y="60984"/>
                  <a:pt x="2438069" y="62806"/>
                  <a:pt x="2439891" y="64629"/>
                </a:cubicBezTo>
                <a:cubicBezTo>
                  <a:pt x="2445358" y="71917"/>
                  <a:pt x="2447180" y="59162"/>
                  <a:pt x="2452647" y="57340"/>
                </a:cubicBezTo>
                <a:cubicBezTo>
                  <a:pt x="2450824" y="60984"/>
                  <a:pt x="2452647" y="62806"/>
                  <a:pt x="2454469" y="64629"/>
                </a:cubicBezTo>
                <a:cubicBezTo>
                  <a:pt x="2456291" y="64629"/>
                  <a:pt x="2458113" y="64629"/>
                  <a:pt x="2459935" y="62806"/>
                </a:cubicBezTo>
                <a:cubicBezTo>
                  <a:pt x="2459935" y="60984"/>
                  <a:pt x="2459935" y="59162"/>
                  <a:pt x="2458113" y="57340"/>
                </a:cubicBezTo>
                <a:cubicBezTo>
                  <a:pt x="2459935" y="57340"/>
                  <a:pt x="2459935" y="57340"/>
                  <a:pt x="2461757" y="59162"/>
                </a:cubicBezTo>
                <a:cubicBezTo>
                  <a:pt x="2463580" y="62806"/>
                  <a:pt x="2458113" y="66451"/>
                  <a:pt x="2459935" y="66451"/>
                </a:cubicBezTo>
                <a:cubicBezTo>
                  <a:pt x="2465402" y="70095"/>
                  <a:pt x="2469046" y="73739"/>
                  <a:pt x="2476335" y="73739"/>
                </a:cubicBezTo>
                <a:cubicBezTo>
                  <a:pt x="2470868" y="66451"/>
                  <a:pt x="2476335" y="60984"/>
                  <a:pt x="2478157" y="53696"/>
                </a:cubicBezTo>
                <a:cubicBezTo>
                  <a:pt x="2467224" y="53696"/>
                  <a:pt x="2467224" y="40940"/>
                  <a:pt x="2465402" y="33652"/>
                </a:cubicBezTo>
                <a:cubicBezTo>
                  <a:pt x="2474513" y="35474"/>
                  <a:pt x="2476335" y="42763"/>
                  <a:pt x="2478157" y="50051"/>
                </a:cubicBezTo>
                <a:cubicBezTo>
                  <a:pt x="2479979" y="50051"/>
                  <a:pt x="2481801" y="51873"/>
                  <a:pt x="2483624" y="51873"/>
                </a:cubicBezTo>
                <a:cubicBezTo>
                  <a:pt x="2489090" y="44585"/>
                  <a:pt x="2485446" y="30007"/>
                  <a:pt x="2500023" y="30007"/>
                </a:cubicBezTo>
                <a:cubicBezTo>
                  <a:pt x="2501845" y="30007"/>
                  <a:pt x="2501845" y="26363"/>
                  <a:pt x="2501845" y="24541"/>
                </a:cubicBezTo>
                <a:cubicBezTo>
                  <a:pt x="2505490" y="22719"/>
                  <a:pt x="2505490" y="28185"/>
                  <a:pt x="2507312" y="30007"/>
                </a:cubicBezTo>
                <a:cubicBezTo>
                  <a:pt x="2509134" y="28185"/>
                  <a:pt x="2507312" y="24541"/>
                  <a:pt x="2509134" y="22719"/>
                </a:cubicBezTo>
                <a:cubicBezTo>
                  <a:pt x="2509134" y="24541"/>
                  <a:pt x="2512778" y="28185"/>
                  <a:pt x="2510956" y="31829"/>
                </a:cubicBezTo>
                <a:cubicBezTo>
                  <a:pt x="2510956" y="20896"/>
                  <a:pt x="2523711" y="17252"/>
                  <a:pt x="2531000" y="20896"/>
                </a:cubicBezTo>
                <a:cubicBezTo>
                  <a:pt x="2527356" y="22719"/>
                  <a:pt x="2527356" y="26363"/>
                  <a:pt x="2529178" y="26363"/>
                </a:cubicBezTo>
                <a:cubicBezTo>
                  <a:pt x="2534644" y="26363"/>
                  <a:pt x="2536466" y="35474"/>
                  <a:pt x="2536466" y="39118"/>
                </a:cubicBezTo>
                <a:cubicBezTo>
                  <a:pt x="2538289" y="30007"/>
                  <a:pt x="2551044" y="31829"/>
                  <a:pt x="2552866" y="24541"/>
                </a:cubicBezTo>
                <a:cubicBezTo>
                  <a:pt x="2549222" y="28185"/>
                  <a:pt x="2545577" y="28185"/>
                  <a:pt x="2541933" y="30007"/>
                </a:cubicBezTo>
                <a:cubicBezTo>
                  <a:pt x="2541933" y="28185"/>
                  <a:pt x="2545577" y="24541"/>
                  <a:pt x="2543755" y="22719"/>
                </a:cubicBezTo>
                <a:cubicBezTo>
                  <a:pt x="2552866" y="22719"/>
                  <a:pt x="2549222" y="17252"/>
                  <a:pt x="2551044" y="15430"/>
                </a:cubicBezTo>
                <a:cubicBezTo>
                  <a:pt x="2551044" y="13608"/>
                  <a:pt x="2551044" y="11786"/>
                  <a:pt x="2549222" y="11786"/>
                </a:cubicBezTo>
                <a:cubicBezTo>
                  <a:pt x="2547400" y="11786"/>
                  <a:pt x="2541933" y="15430"/>
                  <a:pt x="2540111" y="13608"/>
                </a:cubicBezTo>
                <a:cubicBezTo>
                  <a:pt x="2538289" y="9963"/>
                  <a:pt x="2540111" y="9963"/>
                  <a:pt x="2541933" y="8141"/>
                </a:cubicBezTo>
                <a:cubicBezTo>
                  <a:pt x="2541933" y="8141"/>
                  <a:pt x="2541933" y="9963"/>
                  <a:pt x="2540111" y="9963"/>
                </a:cubicBezTo>
                <a:cubicBezTo>
                  <a:pt x="2541933" y="8141"/>
                  <a:pt x="2541933" y="2675"/>
                  <a:pt x="2540111" y="853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rtlCol="0" anchor="ctr">
            <a:noAutofit/>
          </a:bodyPr>
          <a:lstStyle>
            <a:lvl1pPr marL="0" indent="0" algn="ctr">
              <a:buNone/>
              <a:defRPr sz="12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rtl="0"/>
            <a:r>
              <a:rPr lang="pt-BR" noProof="0"/>
              <a:t>Insira ou Arraste e Solte sua foto</a:t>
            </a:r>
          </a:p>
        </p:txBody>
      </p:sp>
    </p:spTree>
    <p:extLst>
      <p:ext uri="{BB962C8B-B14F-4D97-AF65-F5344CB8AC3E}">
        <p14:creationId xmlns:p14="http://schemas.microsoft.com/office/powerpoint/2010/main" val="13501039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de Tex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A22238F2-C6EC-476F-8371-119AECBA562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300087" y="1656000"/>
            <a:ext cx="5472000" cy="4464000"/>
          </a:xfrm>
        </p:spPr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 rtl="0"/>
            <a:r>
              <a:rPr lang="pt-BR" noProof="0"/>
              <a:t>Editar estilos de texto Mestre</a:t>
            </a:r>
          </a:p>
          <a:p>
            <a:pPr lvl="1" rtl="0"/>
            <a:r>
              <a:rPr lang="pt-BR" noProof="0"/>
              <a:t>Segundo nível</a:t>
            </a:r>
          </a:p>
          <a:p>
            <a:pPr lvl="2" rtl="0"/>
            <a:r>
              <a:rPr lang="pt-BR" noProof="0"/>
              <a:t>Terceiro nível</a:t>
            </a:r>
          </a:p>
          <a:p>
            <a:pPr lvl="3" rtl="0"/>
            <a:r>
              <a:rPr lang="pt-BR" noProof="0"/>
              <a:t>Quarto nível</a:t>
            </a:r>
          </a:p>
          <a:p>
            <a:pPr lvl="4" rtl="0"/>
            <a:r>
              <a:rPr lang="pt-BR" noProof="0"/>
              <a:t>Quinto nível</a:t>
            </a:r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BB6AC7B6-CDA5-4A4F-AD50-E3C16C6A00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4922" y="432000"/>
            <a:ext cx="5387166" cy="695740"/>
          </a:xfrm>
        </p:spPr>
        <p:txBody>
          <a:bodyPr rtlCol="0"/>
          <a:lstStyle/>
          <a:p>
            <a:pPr rtl="0"/>
            <a:r>
              <a:rPr lang="pt-BR" noProof="0"/>
              <a:t>Clique para editar o estilo de título Mestre</a:t>
            </a:r>
          </a:p>
        </p:txBody>
      </p:sp>
      <p:sp>
        <p:nvSpPr>
          <p:cNvPr id="12" name="Subtítulo 2">
            <a:extLst>
              <a:ext uri="{FF2B5EF4-FFF2-40B4-BE49-F238E27FC236}">
                <a16:creationId xmlns:a16="http://schemas.microsoft.com/office/drawing/2014/main" id="{9E0033C9-5861-4239-BD0E-9A6A58D38E5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99887" y="1260000"/>
            <a:ext cx="5472001" cy="252000"/>
          </a:xfrm>
        </p:spPr>
        <p:txBody>
          <a:bodyPr rtlCol="0"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 rtl="0"/>
            <a:r>
              <a:rPr lang="pt-BR" noProof="0"/>
              <a:t>Subtítulo</a:t>
            </a:r>
          </a:p>
        </p:txBody>
      </p:sp>
      <p:sp>
        <p:nvSpPr>
          <p:cNvPr id="9" name="Espaço reservado para o número do slide 8">
            <a:extLst>
              <a:ext uri="{FF2B5EF4-FFF2-40B4-BE49-F238E27FC236}">
                <a16:creationId xmlns:a16="http://schemas.microsoft.com/office/drawing/2014/main" id="{0A29F8B3-4723-4928-83E5-76C29D05F2F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fld id="{19B51A1E-902D-48AF-9020-955120F399B6}" type="slidenum">
              <a:rPr lang="pt-BR" noProof="0" smtClean="0"/>
              <a:pPr rtl="0"/>
              <a:t>‹nº›</a:t>
            </a:fld>
            <a:endParaRPr lang="pt-BR" noProof="0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57847F90-9DB6-4832-9EB7-393AADAE8B7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 rtlCol="0"/>
          <a:lstStyle/>
          <a:p>
            <a:pPr rtl="0"/>
            <a:r>
              <a:rPr lang="pt-BR" noProof="0"/>
              <a:t>Adicionar um rodapé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1CF27CC2-C21A-430D-B705-FB9C912CA32A}"/>
              </a:ext>
            </a:extLst>
          </p:cNvPr>
          <p:cNvSpPr/>
          <p:nvPr userDrawn="1"/>
        </p:nvSpPr>
        <p:spPr>
          <a:xfrm>
            <a:off x="6300087" y="432000"/>
            <a:ext cx="84835" cy="6957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 noProof="0"/>
          </a:p>
        </p:txBody>
      </p:sp>
      <p:sp>
        <p:nvSpPr>
          <p:cNvPr id="14" name="Espaço Reservado para Imagem 13">
            <a:extLst>
              <a:ext uri="{FF2B5EF4-FFF2-40B4-BE49-F238E27FC236}">
                <a16:creationId xmlns:a16="http://schemas.microsoft.com/office/drawing/2014/main" id="{DCA242B9-5BE5-4598-94E9-591C69E2971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64765" y="656556"/>
            <a:ext cx="4981405" cy="5071972"/>
          </a:xfrm>
          <a:custGeom>
            <a:avLst/>
            <a:gdLst>
              <a:gd name="connsiteX0" fmla="*/ 3165080 w 6630249"/>
              <a:gd name="connsiteY0" fmla="*/ 6730276 h 6750795"/>
              <a:gd name="connsiteX1" fmla="*/ 3185599 w 6630249"/>
              <a:gd name="connsiteY1" fmla="*/ 6750795 h 6750795"/>
              <a:gd name="connsiteX2" fmla="*/ 3159950 w 6630249"/>
              <a:gd name="connsiteY2" fmla="*/ 6735405 h 6750795"/>
              <a:gd name="connsiteX3" fmla="*/ 3165080 w 6630249"/>
              <a:gd name="connsiteY3" fmla="*/ 6730276 h 6750795"/>
              <a:gd name="connsiteX4" fmla="*/ 3093261 w 6630249"/>
              <a:gd name="connsiteY4" fmla="*/ 6596900 h 6750795"/>
              <a:gd name="connsiteX5" fmla="*/ 3188163 w 6630249"/>
              <a:gd name="connsiteY5" fmla="*/ 6702061 h 6750795"/>
              <a:gd name="connsiteX6" fmla="*/ 3193294 w 6630249"/>
              <a:gd name="connsiteY6" fmla="*/ 6720016 h 6750795"/>
              <a:gd name="connsiteX7" fmla="*/ 3147124 w 6630249"/>
              <a:gd name="connsiteY7" fmla="*/ 6668718 h 6750795"/>
              <a:gd name="connsiteX8" fmla="*/ 3116346 w 6630249"/>
              <a:gd name="connsiteY8" fmla="*/ 6632809 h 6750795"/>
              <a:gd name="connsiteX9" fmla="*/ 3095826 w 6630249"/>
              <a:gd name="connsiteY9" fmla="*/ 6609724 h 6750795"/>
              <a:gd name="connsiteX10" fmla="*/ 3093261 w 6630249"/>
              <a:gd name="connsiteY10" fmla="*/ 6596900 h 6750795"/>
              <a:gd name="connsiteX11" fmla="*/ 3057353 w 6630249"/>
              <a:gd name="connsiteY11" fmla="*/ 6509694 h 6750795"/>
              <a:gd name="connsiteX12" fmla="*/ 3070178 w 6630249"/>
              <a:gd name="connsiteY12" fmla="*/ 6517389 h 6750795"/>
              <a:gd name="connsiteX13" fmla="*/ 3106087 w 6630249"/>
              <a:gd name="connsiteY13" fmla="*/ 6540473 h 6750795"/>
              <a:gd name="connsiteX14" fmla="*/ 3126606 w 6630249"/>
              <a:gd name="connsiteY14" fmla="*/ 6558428 h 6750795"/>
              <a:gd name="connsiteX15" fmla="*/ 3136865 w 6630249"/>
              <a:gd name="connsiteY15" fmla="*/ 6586641 h 6750795"/>
              <a:gd name="connsiteX16" fmla="*/ 3057353 w 6630249"/>
              <a:gd name="connsiteY16" fmla="*/ 6509694 h 6750795"/>
              <a:gd name="connsiteX17" fmla="*/ 3067614 w 6630249"/>
              <a:gd name="connsiteY17" fmla="*/ 6468657 h 6750795"/>
              <a:gd name="connsiteX18" fmla="*/ 3080437 w 6630249"/>
              <a:gd name="connsiteY18" fmla="*/ 6481481 h 6750795"/>
              <a:gd name="connsiteX19" fmla="*/ 3083002 w 6630249"/>
              <a:gd name="connsiteY19" fmla="*/ 6486611 h 6750795"/>
              <a:gd name="connsiteX20" fmla="*/ 3067614 w 6630249"/>
              <a:gd name="connsiteY20" fmla="*/ 6468657 h 6750795"/>
              <a:gd name="connsiteX21" fmla="*/ 2959888 w 6630249"/>
              <a:gd name="connsiteY21" fmla="*/ 6319893 h 6750795"/>
              <a:gd name="connsiteX22" fmla="*/ 2972713 w 6630249"/>
              <a:gd name="connsiteY22" fmla="*/ 6325022 h 6750795"/>
              <a:gd name="connsiteX23" fmla="*/ 2957323 w 6630249"/>
              <a:gd name="connsiteY23" fmla="*/ 6353236 h 6750795"/>
              <a:gd name="connsiteX24" fmla="*/ 2959888 w 6630249"/>
              <a:gd name="connsiteY24" fmla="*/ 6319893 h 6750795"/>
              <a:gd name="connsiteX25" fmla="*/ 3008620 w 6630249"/>
              <a:gd name="connsiteY25" fmla="*/ 6276289 h 6750795"/>
              <a:gd name="connsiteX26" fmla="*/ 3029139 w 6630249"/>
              <a:gd name="connsiteY26" fmla="*/ 6345541 h 6750795"/>
              <a:gd name="connsiteX27" fmla="*/ 3034269 w 6630249"/>
              <a:gd name="connsiteY27" fmla="*/ 6276289 h 6750795"/>
              <a:gd name="connsiteX28" fmla="*/ 3008620 w 6630249"/>
              <a:gd name="connsiteY28" fmla="*/ 6276289 h 6750795"/>
              <a:gd name="connsiteX29" fmla="*/ 3385660 w 6630249"/>
              <a:gd name="connsiteY29" fmla="*/ 6217296 h 6750795"/>
              <a:gd name="connsiteX30" fmla="*/ 3444652 w 6630249"/>
              <a:gd name="connsiteY30" fmla="*/ 6268595 h 6750795"/>
              <a:gd name="connsiteX31" fmla="*/ 3434393 w 6630249"/>
              <a:gd name="connsiteY31" fmla="*/ 6260900 h 6750795"/>
              <a:gd name="connsiteX32" fmla="*/ 3385660 w 6630249"/>
              <a:gd name="connsiteY32" fmla="*/ 6217296 h 6750795"/>
              <a:gd name="connsiteX33" fmla="*/ 3318972 w 6630249"/>
              <a:gd name="connsiteY33" fmla="*/ 6201907 h 6750795"/>
              <a:gd name="connsiteX34" fmla="*/ 3434393 w 6630249"/>
              <a:gd name="connsiteY34" fmla="*/ 6291679 h 6750795"/>
              <a:gd name="connsiteX35" fmla="*/ 3403614 w 6630249"/>
              <a:gd name="connsiteY35" fmla="*/ 6276289 h 6750795"/>
              <a:gd name="connsiteX36" fmla="*/ 3318972 w 6630249"/>
              <a:gd name="connsiteY36" fmla="*/ 6201907 h 6750795"/>
              <a:gd name="connsiteX37" fmla="*/ 3206118 w 6630249"/>
              <a:gd name="connsiteY37" fmla="*/ 6109571 h 6750795"/>
              <a:gd name="connsiteX38" fmla="*/ 3208682 w 6630249"/>
              <a:gd name="connsiteY38" fmla="*/ 6150610 h 6750795"/>
              <a:gd name="connsiteX39" fmla="*/ 3175339 w 6630249"/>
              <a:gd name="connsiteY39" fmla="*/ 6124961 h 6750795"/>
              <a:gd name="connsiteX40" fmla="*/ 3206118 w 6630249"/>
              <a:gd name="connsiteY40" fmla="*/ 6109571 h 6750795"/>
              <a:gd name="connsiteX41" fmla="*/ 3254850 w 6630249"/>
              <a:gd name="connsiteY41" fmla="*/ 6104441 h 6750795"/>
              <a:gd name="connsiteX42" fmla="*/ 3308713 w 6630249"/>
              <a:gd name="connsiteY42" fmla="*/ 6153175 h 6750795"/>
              <a:gd name="connsiteX43" fmla="*/ 3259980 w 6630249"/>
              <a:gd name="connsiteY43" fmla="*/ 6117266 h 6750795"/>
              <a:gd name="connsiteX44" fmla="*/ 3254850 w 6630249"/>
              <a:gd name="connsiteY44" fmla="*/ 6104441 h 6750795"/>
              <a:gd name="connsiteX45" fmla="*/ 3121476 w 6630249"/>
              <a:gd name="connsiteY45" fmla="*/ 6078793 h 6750795"/>
              <a:gd name="connsiteX46" fmla="*/ 3131736 w 6630249"/>
              <a:gd name="connsiteY46" fmla="*/ 6083922 h 6750795"/>
              <a:gd name="connsiteX47" fmla="*/ 3149689 w 6630249"/>
              <a:gd name="connsiteY47" fmla="*/ 6094182 h 6750795"/>
              <a:gd name="connsiteX48" fmla="*/ 3141995 w 6630249"/>
              <a:gd name="connsiteY48" fmla="*/ 6096747 h 6750795"/>
              <a:gd name="connsiteX49" fmla="*/ 3124041 w 6630249"/>
              <a:gd name="connsiteY49" fmla="*/ 6081358 h 6750795"/>
              <a:gd name="connsiteX50" fmla="*/ 3121476 w 6630249"/>
              <a:gd name="connsiteY50" fmla="*/ 6078793 h 6750795"/>
              <a:gd name="connsiteX51" fmla="*/ 2898330 w 6630249"/>
              <a:gd name="connsiteY51" fmla="*/ 6048013 h 6750795"/>
              <a:gd name="connsiteX52" fmla="*/ 2911154 w 6630249"/>
              <a:gd name="connsiteY52" fmla="*/ 6063402 h 6750795"/>
              <a:gd name="connsiteX53" fmla="*/ 2947062 w 6630249"/>
              <a:gd name="connsiteY53" fmla="*/ 6089051 h 6750795"/>
              <a:gd name="connsiteX54" fmla="*/ 2954757 w 6630249"/>
              <a:gd name="connsiteY54" fmla="*/ 6089051 h 6750795"/>
              <a:gd name="connsiteX55" fmla="*/ 3006055 w 6630249"/>
              <a:gd name="connsiteY55" fmla="*/ 6191648 h 6750795"/>
              <a:gd name="connsiteX56" fmla="*/ 2985536 w 6630249"/>
              <a:gd name="connsiteY56" fmla="*/ 6201907 h 6750795"/>
              <a:gd name="connsiteX57" fmla="*/ 3006055 w 6630249"/>
              <a:gd name="connsiteY57" fmla="*/ 6266030 h 6750795"/>
              <a:gd name="connsiteX58" fmla="*/ 3041963 w 6630249"/>
              <a:gd name="connsiteY58" fmla="*/ 6268595 h 6750795"/>
              <a:gd name="connsiteX59" fmla="*/ 3065047 w 6630249"/>
              <a:gd name="connsiteY59" fmla="*/ 6291679 h 6750795"/>
              <a:gd name="connsiteX60" fmla="*/ 3070177 w 6630249"/>
              <a:gd name="connsiteY60" fmla="*/ 6294244 h 6750795"/>
              <a:gd name="connsiteX61" fmla="*/ 3090696 w 6630249"/>
              <a:gd name="connsiteY61" fmla="*/ 6337847 h 6750795"/>
              <a:gd name="connsiteX62" fmla="*/ 3059917 w 6630249"/>
              <a:gd name="connsiteY62" fmla="*/ 6350671 h 6750795"/>
              <a:gd name="connsiteX63" fmla="*/ 3036835 w 6630249"/>
              <a:gd name="connsiteY63" fmla="*/ 6384015 h 6750795"/>
              <a:gd name="connsiteX64" fmla="*/ 3013751 w 6630249"/>
              <a:gd name="connsiteY64" fmla="*/ 6414793 h 6750795"/>
              <a:gd name="connsiteX65" fmla="*/ 2993231 w 6630249"/>
              <a:gd name="connsiteY65" fmla="*/ 6412228 h 6750795"/>
              <a:gd name="connsiteX66" fmla="*/ 2988101 w 6630249"/>
              <a:gd name="connsiteY66" fmla="*/ 6412228 h 6750795"/>
              <a:gd name="connsiteX67" fmla="*/ 2982972 w 6630249"/>
              <a:gd name="connsiteY67" fmla="*/ 6327587 h 6750795"/>
              <a:gd name="connsiteX68" fmla="*/ 2985536 w 6630249"/>
              <a:gd name="connsiteY68" fmla="*/ 6312198 h 6750795"/>
              <a:gd name="connsiteX69" fmla="*/ 2980406 w 6630249"/>
              <a:gd name="connsiteY69" fmla="*/ 6317327 h 6750795"/>
              <a:gd name="connsiteX70" fmla="*/ 2954757 w 6630249"/>
              <a:gd name="connsiteY70" fmla="*/ 6276289 h 6750795"/>
              <a:gd name="connsiteX71" fmla="*/ 2954757 w 6630249"/>
              <a:gd name="connsiteY71" fmla="*/ 6296808 h 6750795"/>
              <a:gd name="connsiteX72" fmla="*/ 2952193 w 6630249"/>
              <a:gd name="connsiteY72" fmla="*/ 6299373 h 6750795"/>
              <a:gd name="connsiteX73" fmla="*/ 2939368 w 6630249"/>
              <a:gd name="connsiteY73" fmla="*/ 6314762 h 6750795"/>
              <a:gd name="connsiteX74" fmla="*/ 2939368 w 6630249"/>
              <a:gd name="connsiteY74" fmla="*/ 6312198 h 6750795"/>
              <a:gd name="connsiteX75" fmla="*/ 2965017 w 6630249"/>
              <a:gd name="connsiteY75" fmla="*/ 6227556 h 6750795"/>
              <a:gd name="connsiteX76" fmla="*/ 2967581 w 6630249"/>
              <a:gd name="connsiteY76" fmla="*/ 6217297 h 6750795"/>
              <a:gd name="connsiteX77" fmla="*/ 2957322 w 6630249"/>
              <a:gd name="connsiteY77" fmla="*/ 6209602 h 6750795"/>
              <a:gd name="connsiteX78" fmla="*/ 2918848 w 6630249"/>
              <a:gd name="connsiteY78" fmla="*/ 6281419 h 6750795"/>
              <a:gd name="connsiteX79" fmla="*/ 2916284 w 6630249"/>
              <a:gd name="connsiteY79" fmla="*/ 6278854 h 6750795"/>
              <a:gd name="connsiteX80" fmla="*/ 2934238 w 6630249"/>
              <a:gd name="connsiteY80" fmla="*/ 6235251 h 6750795"/>
              <a:gd name="connsiteX81" fmla="*/ 2957322 w 6630249"/>
              <a:gd name="connsiteY81" fmla="*/ 6119830 h 6750795"/>
              <a:gd name="connsiteX82" fmla="*/ 2952193 w 6630249"/>
              <a:gd name="connsiteY82" fmla="*/ 6101876 h 6750795"/>
              <a:gd name="connsiteX83" fmla="*/ 2944497 w 6630249"/>
              <a:gd name="connsiteY83" fmla="*/ 6119830 h 6750795"/>
              <a:gd name="connsiteX84" fmla="*/ 2900894 w 6630249"/>
              <a:gd name="connsiteY84" fmla="*/ 6240381 h 6750795"/>
              <a:gd name="connsiteX85" fmla="*/ 2862421 w 6630249"/>
              <a:gd name="connsiteY85" fmla="*/ 6173693 h 6750795"/>
              <a:gd name="connsiteX86" fmla="*/ 2818818 w 6630249"/>
              <a:gd name="connsiteY86" fmla="*/ 6071097 h 6750795"/>
              <a:gd name="connsiteX87" fmla="*/ 2875245 w 6630249"/>
              <a:gd name="connsiteY87" fmla="*/ 6055707 h 6750795"/>
              <a:gd name="connsiteX88" fmla="*/ 2898330 w 6630249"/>
              <a:gd name="connsiteY88" fmla="*/ 6048013 h 6750795"/>
              <a:gd name="connsiteX89" fmla="*/ 2829078 w 6630249"/>
              <a:gd name="connsiteY89" fmla="*/ 6030060 h 6750795"/>
              <a:gd name="connsiteX90" fmla="*/ 2836772 w 6630249"/>
              <a:gd name="connsiteY90" fmla="*/ 6042884 h 6750795"/>
              <a:gd name="connsiteX91" fmla="*/ 2834208 w 6630249"/>
              <a:gd name="connsiteY91" fmla="*/ 6040319 h 6750795"/>
              <a:gd name="connsiteX92" fmla="*/ 2829078 w 6630249"/>
              <a:gd name="connsiteY92" fmla="*/ 6030060 h 6750795"/>
              <a:gd name="connsiteX93" fmla="*/ 4393663 w 6630249"/>
              <a:gd name="connsiteY93" fmla="*/ 6009541 h 6750795"/>
              <a:gd name="connsiteX94" fmla="*/ 4393663 w 6630249"/>
              <a:gd name="connsiteY94" fmla="*/ 6019800 h 6750795"/>
              <a:gd name="connsiteX95" fmla="*/ 4406488 w 6630249"/>
              <a:gd name="connsiteY95" fmla="*/ 6035190 h 6750795"/>
              <a:gd name="connsiteX96" fmla="*/ 4339800 w 6630249"/>
              <a:gd name="connsiteY96" fmla="*/ 6014670 h 6750795"/>
              <a:gd name="connsiteX97" fmla="*/ 4393663 w 6630249"/>
              <a:gd name="connsiteY97" fmla="*/ 6009541 h 6750795"/>
              <a:gd name="connsiteX98" fmla="*/ 3057353 w 6630249"/>
              <a:gd name="connsiteY98" fmla="*/ 5989021 h 6750795"/>
              <a:gd name="connsiteX99" fmla="*/ 3103521 w 6630249"/>
              <a:gd name="connsiteY99" fmla="*/ 6024930 h 6750795"/>
              <a:gd name="connsiteX100" fmla="*/ 3136865 w 6630249"/>
              <a:gd name="connsiteY100" fmla="*/ 6050579 h 6750795"/>
              <a:gd name="connsiteX101" fmla="*/ 3049658 w 6630249"/>
              <a:gd name="connsiteY101" fmla="*/ 5991587 h 6750795"/>
              <a:gd name="connsiteX102" fmla="*/ 3057353 w 6630249"/>
              <a:gd name="connsiteY102" fmla="*/ 5989021 h 6750795"/>
              <a:gd name="connsiteX103" fmla="*/ 4491129 w 6630249"/>
              <a:gd name="connsiteY103" fmla="*/ 5986457 h 6750795"/>
              <a:gd name="connsiteX104" fmla="*/ 4493694 w 6630249"/>
              <a:gd name="connsiteY104" fmla="*/ 5989021 h 6750795"/>
              <a:gd name="connsiteX105" fmla="*/ 4465480 w 6630249"/>
              <a:gd name="connsiteY105" fmla="*/ 5989021 h 6750795"/>
              <a:gd name="connsiteX106" fmla="*/ 4491129 w 6630249"/>
              <a:gd name="connsiteY106" fmla="*/ 5986457 h 6750795"/>
              <a:gd name="connsiteX107" fmla="*/ 2821384 w 6630249"/>
              <a:gd name="connsiteY107" fmla="*/ 5981326 h 6750795"/>
              <a:gd name="connsiteX108" fmla="*/ 2813690 w 6630249"/>
              <a:gd name="connsiteY108" fmla="*/ 5991587 h 6750795"/>
              <a:gd name="connsiteX109" fmla="*/ 2793170 w 6630249"/>
              <a:gd name="connsiteY109" fmla="*/ 6027495 h 6750795"/>
              <a:gd name="connsiteX110" fmla="*/ 2772650 w 6630249"/>
              <a:gd name="connsiteY110" fmla="*/ 5983892 h 6750795"/>
              <a:gd name="connsiteX111" fmla="*/ 2821384 w 6630249"/>
              <a:gd name="connsiteY111" fmla="*/ 5981326 h 6750795"/>
              <a:gd name="connsiteX112" fmla="*/ 4393662 w 6630249"/>
              <a:gd name="connsiteY112" fmla="*/ 5968502 h 6750795"/>
              <a:gd name="connsiteX113" fmla="*/ 4406487 w 6630249"/>
              <a:gd name="connsiteY113" fmla="*/ 5978762 h 6750795"/>
              <a:gd name="connsiteX114" fmla="*/ 4391098 w 6630249"/>
              <a:gd name="connsiteY114" fmla="*/ 5973632 h 6750795"/>
              <a:gd name="connsiteX115" fmla="*/ 4393662 w 6630249"/>
              <a:gd name="connsiteY115" fmla="*/ 5968502 h 6750795"/>
              <a:gd name="connsiteX116" fmla="*/ 4550121 w 6630249"/>
              <a:gd name="connsiteY116" fmla="*/ 5953113 h 6750795"/>
              <a:gd name="connsiteX117" fmla="*/ 4544992 w 6630249"/>
              <a:gd name="connsiteY117" fmla="*/ 5973632 h 6750795"/>
              <a:gd name="connsiteX118" fmla="*/ 4550121 w 6630249"/>
              <a:gd name="connsiteY118" fmla="*/ 5976197 h 6750795"/>
              <a:gd name="connsiteX119" fmla="*/ 4519343 w 6630249"/>
              <a:gd name="connsiteY119" fmla="*/ 5983891 h 6750795"/>
              <a:gd name="connsiteX120" fmla="*/ 4550121 w 6630249"/>
              <a:gd name="connsiteY120" fmla="*/ 5953113 h 6750795"/>
              <a:gd name="connsiteX121" fmla="*/ 4429571 w 6630249"/>
              <a:gd name="connsiteY121" fmla="*/ 5950548 h 6750795"/>
              <a:gd name="connsiteX122" fmla="*/ 4432136 w 6630249"/>
              <a:gd name="connsiteY122" fmla="*/ 5958242 h 6750795"/>
              <a:gd name="connsiteX123" fmla="*/ 4429571 w 6630249"/>
              <a:gd name="connsiteY123" fmla="*/ 5950548 h 6750795"/>
              <a:gd name="connsiteX124" fmla="*/ 4483434 w 6630249"/>
              <a:gd name="connsiteY124" fmla="*/ 5945419 h 6750795"/>
              <a:gd name="connsiteX125" fmla="*/ 4488564 w 6630249"/>
              <a:gd name="connsiteY125" fmla="*/ 5960808 h 6750795"/>
              <a:gd name="connsiteX126" fmla="*/ 4462915 w 6630249"/>
              <a:gd name="connsiteY126" fmla="*/ 5971068 h 6750795"/>
              <a:gd name="connsiteX127" fmla="*/ 4483434 w 6630249"/>
              <a:gd name="connsiteY127" fmla="*/ 5945419 h 6750795"/>
              <a:gd name="connsiteX128" fmla="*/ 4362884 w 6630249"/>
              <a:gd name="connsiteY128" fmla="*/ 5942853 h 6750795"/>
              <a:gd name="connsiteX129" fmla="*/ 4391098 w 6630249"/>
              <a:gd name="connsiteY129" fmla="*/ 5963372 h 6750795"/>
              <a:gd name="connsiteX130" fmla="*/ 4383403 w 6630249"/>
              <a:gd name="connsiteY130" fmla="*/ 5971067 h 6750795"/>
              <a:gd name="connsiteX131" fmla="*/ 4380838 w 6630249"/>
              <a:gd name="connsiteY131" fmla="*/ 5968502 h 6750795"/>
              <a:gd name="connsiteX132" fmla="*/ 4362884 w 6630249"/>
              <a:gd name="connsiteY132" fmla="*/ 5942853 h 6750795"/>
              <a:gd name="connsiteX133" fmla="*/ 4457785 w 6630249"/>
              <a:gd name="connsiteY133" fmla="*/ 5935158 h 6750795"/>
              <a:gd name="connsiteX134" fmla="*/ 4452656 w 6630249"/>
              <a:gd name="connsiteY134" fmla="*/ 5976197 h 6750795"/>
              <a:gd name="connsiteX135" fmla="*/ 4457785 w 6630249"/>
              <a:gd name="connsiteY135" fmla="*/ 5935158 h 6750795"/>
              <a:gd name="connsiteX136" fmla="*/ 2739307 w 6630249"/>
              <a:gd name="connsiteY136" fmla="*/ 5883861 h 6750795"/>
              <a:gd name="connsiteX137" fmla="*/ 2741872 w 6630249"/>
              <a:gd name="connsiteY137" fmla="*/ 5883861 h 6750795"/>
              <a:gd name="connsiteX138" fmla="*/ 2754696 w 6630249"/>
              <a:gd name="connsiteY138" fmla="*/ 5886425 h 6750795"/>
              <a:gd name="connsiteX139" fmla="*/ 2793170 w 6630249"/>
              <a:gd name="connsiteY139" fmla="*/ 5904380 h 6750795"/>
              <a:gd name="connsiteX140" fmla="*/ 2775215 w 6630249"/>
              <a:gd name="connsiteY140" fmla="*/ 5906945 h 6750795"/>
              <a:gd name="connsiteX141" fmla="*/ 2744437 w 6630249"/>
              <a:gd name="connsiteY141" fmla="*/ 5912074 h 6750795"/>
              <a:gd name="connsiteX142" fmla="*/ 2744437 w 6630249"/>
              <a:gd name="connsiteY142" fmla="*/ 5909510 h 6750795"/>
              <a:gd name="connsiteX143" fmla="*/ 2739307 w 6630249"/>
              <a:gd name="connsiteY143" fmla="*/ 5883861 h 6750795"/>
              <a:gd name="connsiteX144" fmla="*/ 4596770 w 6630249"/>
              <a:gd name="connsiteY144" fmla="*/ 5882497 h 6750795"/>
              <a:gd name="connsiteX145" fmla="*/ 4650152 w 6630249"/>
              <a:gd name="connsiteY145" fmla="*/ 5888989 h 6750795"/>
              <a:gd name="connsiteX146" fmla="*/ 4645023 w 6630249"/>
              <a:gd name="connsiteY146" fmla="*/ 5945418 h 6750795"/>
              <a:gd name="connsiteX147" fmla="*/ 4627068 w 6630249"/>
              <a:gd name="connsiteY147" fmla="*/ 5945418 h 6750795"/>
              <a:gd name="connsiteX148" fmla="*/ 4634763 w 6630249"/>
              <a:gd name="connsiteY148" fmla="*/ 5953113 h 6750795"/>
              <a:gd name="connsiteX149" fmla="*/ 4562945 w 6630249"/>
              <a:gd name="connsiteY149" fmla="*/ 5973632 h 6750795"/>
              <a:gd name="connsiteX150" fmla="*/ 4560380 w 6630249"/>
              <a:gd name="connsiteY150" fmla="*/ 5937723 h 6750795"/>
              <a:gd name="connsiteX151" fmla="*/ 4573205 w 6630249"/>
              <a:gd name="connsiteY151" fmla="*/ 5894119 h 6750795"/>
              <a:gd name="connsiteX152" fmla="*/ 4645023 w 6630249"/>
              <a:gd name="connsiteY152" fmla="*/ 5909510 h 6750795"/>
              <a:gd name="connsiteX153" fmla="*/ 4580900 w 6630249"/>
              <a:gd name="connsiteY153" fmla="*/ 5888989 h 6750795"/>
              <a:gd name="connsiteX154" fmla="*/ 4596770 w 6630249"/>
              <a:gd name="connsiteY154" fmla="*/ 5882497 h 6750795"/>
              <a:gd name="connsiteX155" fmla="*/ 4627709 w 6630249"/>
              <a:gd name="connsiteY155" fmla="*/ 5873281 h 6750795"/>
              <a:gd name="connsiteX156" fmla="*/ 4647587 w 6630249"/>
              <a:gd name="connsiteY156" fmla="*/ 5873601 h 6750795"/>
              <a:gd name="connsiteX157" fmla="*/ 4647587 w 6630249"/>
              <a:gd name="connsiteY157" fmla="*/ 5883861 h 6750795"/>
              <a:gd name="connsiteX158" fmla="*/ 4611679 w 6630249"/>
              <a:gd name="connsiteY158" fmla="*/ 5878731 h 6750795"/>
              <a:gd name="connsiteX159" fmla="*/ 4627709 w 6630249"/>
              <a:gd name="connsiteY159" fmla="*/ 5873281 h 6750795"/>
              <a:gd name="connsiteX160" fmla="*/ 4596289 w 6630249"/>
              <a:gd name="connsiteY160" fmla="*/ 5863342 h 6750795"/>
              <a:gd name="connsiteX161" fmla="*/ 4588595 w 6630249"/>
              <a:gd name="connsiteY161" fmla="*/ 5876166 h 6750795"/>
              <a:gd name="connsiteX162" fmla="*/ 4596289 w 6630249"/>
              <a:gd name="connsiteY162" fmla="*/ 5863342 h 6750795"/>
              <a:gd name="connsiteX163" fmla="*/ 4642137 w 6630249"/>
              <a:gd name="connsiteY163" fmla="*/ 5860136 h 6750795"/>
              <a:gd name="connsiteX164" fmla="*/ 4645022 w 6630249"/>
              <a:gd name="connsiteY164" fmla="*/ 5860777 h 6750795"/>
              <a:gd name="connsiteX165" fmla="*/ 4645022 w 6630249"/>
              <a:gd name="connsiteY165" fmla="*/ 5863342 h 6750795"/>
              <a:gd name="connsiteX166" fmla="*/ 4637328 w 6630249"/>
              <a:gd name="connsiteY166" fmla="*/ 5863342 h 6750795"/>
              <a:gd name="connsiteX167" fmla="*/ 4642137 w 6630249"/>
              <a:gd name="connsiteY167" fmla="*/ 5860136 h 6750795"/>
              <a:gd name="connsiteX168" fmla="*/ 4609114 w 6630249"/>
              <a:gd name="connsiteY168" fmla="*/ 5853082 h 6750795"/>
              <a:gd name="connsiteX169" fmla="*/ 4611679 w 6630249"/>
              <a:gd name="connsiteY169" fmla="*/ 5853082 h 6750795"/>
              <a:gd name="connsiteX170" fmla="*/ 4609114 w 6630249"/>
              <a:gd name="connsiteY170" fmla="*/ 5860776 h 6750795"/>
              <a:gd name="connsiteX171" fmla="*/ 4606549 w 6630249"/>
              <a:gd name="connsiteY171" fmla="*/ 5865906 h 6750795"/>
              <a:gd name="connsiteX172" fmla="*/ 4601420 w 6630249"/>
              <a:gd name="connsiteY172" fmla="*/ 5863342 h 6750795"/>
              <a:gd name="connsiteX173" fmla="*/ 4609114 w 6630249"/>
              <a:gd name="connsiteY173" fmla="*/ 5853082 h 6750795"/>
              <a:gd name="connsiteX174" fmla="*/ 4403923 w 6630249"/>
              <a:gd name="connsiteY174" fmla="*/ 5850517 h 6750795"/>
              <a:gd name="connsiteX175" fmla="*/ 4427007 w 6630249"/>
              <a:gd name="connsiteY175" fmla="*/ 5937724 h 6750795"/>
              <a:gd name="connsiteX176" fmla="*/ 4403923 w 6630249"/>
              <a:gd name="connsiteY176" fmla="*/ 5850517 h 6750795"/>
              <a:gd name="connsiteX177" fmla="*/ 4550121 w 6630249"/>
              <a:gd name="connsiteY177" fmla="*/ 5845388 h 6750795"/>
              <a:gd name="connsiteX178" fmla="*/ 4596290 w 6630249"/>
              <a:gd name="connsiteY178" fmla="*/ 5850517 h 6750795"/>
              <a:gd name="connsiteX179" fmla="*/ 4578335 w 6630249"/>
              <a:gd name="connsiteY179" fmla="*/ 5878731 h 6750795"/>
              <a:gd name="connsiteX180" fmla="*/ 4562946 w 6630249"/>
              <a:gd name="connsiteY180" fmla="*/ 5853082 h 6750795"/>
              <a:gd name="connsiteX181" fmla="*/ 4552686 w 6630249"/>
              <a:gd name="connsiteY181" fmla="*/ 5858212 h 6750795"/>
              <a:gd name="connsiteX182" fmla="*/ 4550121 w 6630249"/>
              <a:gd name="connsiteY182" fmla="*/ 5845388 h 6750795"/>
              <a:gd name="connsiteX183" fmla="*/ 4537297 w 6630249"/>
              <a:gd name="connsiteY183" fmla="*/ 5845387 h 6750795"/>
              <a:gd name="connsiteX184" fmla="*/ 4544992 w 6630249"/>
              <a:gd name="connsiteY184" fmla="*/ 5868472 h 6750795"/>
              <a:gd name="connsiteX185" fmla="*/ 4511649 w 6630249"/>
              <a:gd name="connsiteY185" fmla="*/ 5958243 h 6750795"/>
              <a:gd name="connsiteX186" fmla="*/ 4501388 w 6630249"/>
              <a:gd name="connsiteY186" fmla="*/ 5917204 h 6750795"/>
              <a:gd name="connsiteX187" fmla="*/ 4511649 w 6630249"/>
              <a:gd name="connsiteY187" fmla="*/ 5888991 h 6750795"/>
              <a:gd name="connsiteX188" fmla="*/ 4516778 w 6630249"/>
              <a:gd name="connsiteY188" fmla="*/ 5850516 h 6750795"/>
              <a:gd name="connsiteX189" fmla="*/ 4537297 w 6630249"/>
              <a:gd name="connsiteY189" fmla="*/ 5845387 h 6750795"/>
              <a:gd name="connsiteX190" fmla="*/ 4316715 w 6630249"/>
              <a:gd name="connsiteY190" fmla="*/ 5822302 h 6750795"/>
              <a:gd name="connsiteX191" fmla="*/ 4365449 w 6630249"/>
              <a:gd name="connsiteY191" fmla="*/ 5829997 h 6750795"/>
              <a:gd name="connsiteX192" fmla="*/ 4378274 w 6630249"/>
              <a:gd name="connsiteY192" fmla="*/ 5832562 h 6750795"/>
              <a:gd name="connsiteX193" fmla="*/ 4368014 w 6630249"/>
              <a:gd name="connsiteY193" fmla="*/ 5863342 h 6750795"/>
              <a:gd name="connsiteX194" fmla="*/ 4383403 w 6630249"/>
              <a:gd name="connsiteY194" fmla="*/ 5840257 h 6750795"/>
              <a:gd name="connsiteX195" fmla="*/ 4388533 w 6630249"/>
              <a:gd name="connsiteY195" fmla="*/ 5858212 h 6750795"/>
              <a:gd name="connsiteX196" fmla="*/ 4401358 w 6630249"/>
              <a:gd name="connsiteY196" fmla="*/ 5904380 h 6750795"/>
              <a:gd name="connsiteX197" fmla="*/ 4396228 w 6630249"/>
              <a:gd name="connsiteY197" fmla="*/ 5912074 h 6750795"/>
              <a:gd name="connsiteX198" fmla="*/ 4406487 w 6630249"/>
              <a:gd name="connsiteY198" fmla="*/ 5935159 h 6750795"/>
              <a:gd name="connsiteX199" fmla="*/ 4357755 w 6630249"/>
              <a:gd name="connsiteY199" fmla="*/ 5886426 h 6750795"/>
              <a:gd name="connsiteX200" fmla="*/ 4355190 w 6630249"/>
              <a:gd name="connsiteY200" fmla="*/ 5891555 h 6750795"/>
              <a:gd name="connsiteX201" fmla="*/ 4306456 w 6630249"/>
              <a:gd name="connsiteY201" fmla="*/ 5847952 h 6750795"/>
              <a:gd name="connsiteX202" fmla="*/ 4316715 w 6630249"/>
              <a:gd name="connsiteY202" fmla="*/ 5822302 h 6750795"/>
              <a:gd name="connsiteX203" fmla="*/ 4347495 w 6630249"/>
              <a:gd name="connsiteY203" fmla="*/ 5812044 h 6750795"/>
              <a:gd name="connsiteX204" fmla="*/ 4360319 w 6630249"/>
              <a:gd name="connsiteY204" fmla="*/ 5814608 h 6750795"/>
              <a:gd name="connsiteX205" fmla="*/ 4360319 w 6630249"/>
              <a:gd name="connsiteY205" fmla="*/ 5819738 h 6750795"/>
              <a:gd name="connsiteX206" fmla="*/ 4347495 w 6630249"/>
              <a:gd name="connsiteY206" fmla="*/ 5812044 h 6750795"/>
              <a:gd name="connsiteX207" fmla="*/ 4657846 w 6630249"/>
              <a:gd name="connsiteY207" fmla="*/ 5812043 h 6750795"/>
              <a:gd name="connsiteX208" fmla="*/ 4763007 w 6630249"/>
              <a:gd name="connsiteY208" fmla="*/ 5853082 h 6750795"/>
              <a:gd name="connsiteX209" fmla="*/ 4763007 w 6630249"/>
              <a:gd name="connsiteY209" fmla="*/ 5917204 h 6750795"/>
              <a:gd name="connsiteX210" fmla="*/ 4747618 w 6630249"/>
              <a:gd name="connsiteY210" fmla="*/ 5919769 h 6750795"/>
              <a:gd name="connsiteX211" fmla="*/ 4757877 w 6630249"/>
              <a:gd name="connsiteY211" fmla="*/ 5930029 h 6750795"/>
              <a:gd name="connsiteX212" fmla="*/ 4660411 w 6630249"/>
              <a:gd name="connsiteY212" fmla="*/ 5945418 h 6750795"/>
              <a:gd name="connsiteX213" fmla="*/ 4665540 w 6630249"/>
              <a:gd name="connsiteY213" fmla="*/ 5896685 h 6750795"/>
              <a:gd name="connsiteX214" fmla="*/ 4680931 w 6630249"/>
              <a:gd name="connsiteY214" fmla="*/ 5883861 h 6750795"/>
              <a:gd name="connsiteX215" fmla="*/ 4678366 w 6630249"/>
              <a:gd name="connsiteY215" fmla="*/ 5878731 h 6750795"/>
              <a:gd name="connsiteX216" fmla="*/ 4665540 w 6630249"/>
              <a:gd name="connsiteY216" fmla="*/ 5878731 h 6750795"/>
              <a:gd name="connsiteX217" fmla="*/ 4662975 w 6630249"/>
              <a:gd name="connsiteY217" fmla="*/ 5858212 h 6750795"/>
              <a:gd name="connsiteX218" fmla="*/ 4701450 w 6630249"/>
              <a:gd name="connsiteY218" fmla="*/ 5850517 h 6750795"/>
              <a:gd name="connsiteX219" fmla="*/ 4660411 w 6630249"/>
              <a:gd name="connsiteY219" fmla="*/ 5837693 h 6750795"/>
              <a:gd name="connsiteX220" fmla="*/ 4657846 w 6630249"/>
              <a:gd name="connsiteY220" fmla="*/ 5812043 h 6750795"/>
              <a:gd name="connsiteX221" fmla="*/ 4614244 w 6630249"/>
              <a:gd name="connsiteY221" fmla="*/ 5806914 h 6750795"/>
              <a:gd name="connsiteX222" fmla="*/ 4639893 w 6630249"/>
              <a:gd name="connsiteY222" fmla="*/ 5814608 h 6750795"/>
              <a:gd name="connsiteX223" fmla="*/ 4642457 w 6630249"/>
              <a:gd name="connsiteY223" fmla="*/ 5835127 h 6750795"/>
              <a:gd name="connsiteX224" fmla="*/ 4627068 w 6630249"/>
              <a:gd name="connsiteY224" fmla="*/ 5827433 h 6750795"/>
              <a:gd name="connsiteX225" fmla="*/ 4621938 w 6630249"/>
              <a:gd name="connsiteY225" fmla="*/ 5817173 h 6750795"/>
              <a:gd name="connsiteX226" fmla="*/ 4619373 w 6630249"/>
              <a:gd name="connsiteY226" fmla="*/ 5819738 h 6750795"/>
              <a:gd name="connsiteX227" fmla="*/ 4614244 w 6630249"/>
              <a:gd name="connsiteY227" fmla="*/ 5806914 h 6750795"/>
              <a:gd name="connsiteX228" fmla="*/ 4832258 w 6630249"/>
              <a:gd name="connsiteY228" fmla="*/ 5794089 h 6750795"/>
              <a:gd name="connsiteX229" fmla="*/ 4950243 w 6630249"/>
              <a:gd name="connsiteY229" fmla="*/ 5837692 h 6750795"/>
              <a:gd name="connsiteX230" fmla="*/ 4847647 w 6630249"/>
              <a:gd name="connsiteY230" fmla="*/ 5940288 h 6750795"/>
              <a:gd name="connsiteX231" fmla="*/ 4775831 w 6630249"/>
              <a:gd name="connsiteY231" fmla="*/ 5930028 h 6750795"/>
              <a:gd name="connsiteX232" fmla="*/ 4775831 w 6630249"/>
              <a:gd name="connsiteY232" fmla="*/ 5871035 h 6750795"/>
              <a:gd name="connsiteX233" fmla="*/ 4780960 w 6630249"/>
              <a:gd name="connsiteY233" fmla="*/ 5865905 h 6750795"/>
              <a:gd name="connsiteX234" fmla="*/ 4775831 w 6630249"/>
              <a:gd name="connsiteY234" fmla="*/ 5858211 h 6750795"/>
              <a:gd name="connsiteX235" fmla="*/ 4775831 w 6630249"/>
              <a:gd name="connsiteY235" fmla="*/ 5853081 h 6750795"/>
              <a:gd name="connsiteX236" fmla="*/ 4832258 w 6630249"/>
              <a:gd name="connsiteY236" fmla="*/ 5794089 h 6750795"/>
              <a:gd name="connsiteX237" fmla="*/ 4411617 w 6630249"/>
              <a:gd name="connsiteY237" fmla="*/ 5791525 h 6750795"/>
              <a:gd name="connsiteX238" fmla="*/ 4416747 w 6630249"/>
              <a:gd name="connsiteY238" fmla="*/ 5794090 h 6750795"/>
              <a:gd name="connsiteX239" fmla="*/ 4411617 w 6630249"/>
              <a:gd name="connsiteY239" fmla="*/ 5796654 h 6750795"/>
              <a:gd name="connsiteX240" fmla="*/ 4411617 w 6630249"/>
              <a:gd name="connsiteY240" fmla="*/ 5791525 h 6750795"/>
              <a:gd name="connsiteX241" fmla="*/ 4373144 w 6630249"/>
              <a:gd name="connsiteY241" fmla="*/ 5786395 h 6750795"/>
              <a:gd name="connsiteX242" fmla="*/ 4380838 w 6630249"/>
              <a:gd name="connsiteY242" fmla="*/ 5817173 h 6750795"/>
              <a:gd name="connsiteX243" fmla="*/ 4378274 w 6630249"/>
              <a:gd name="connsiteY243" fmla="*/ 5822303 h 6750795"/>
              <a:gd name="connsiteX244" fmla="*/ 4373144 w 6630249"/>
              <a:gd name="connsiteY244" fmla="*/ 5786395 h 6750795"/>
              <a:gd name="connsiteX245" fmla="*/ 4427006 w 6630249"/>
              <a:gd name="connsiteY245" fmla="*/ 5778701 h 6750795"/>
              <a:gd name="connsiteX246" fmla="*/ 4416747 w 6630249"/>
              <a:gd name="connsiteY246" fmla="*/ 5783830 h 6750795"/>
              <a:gd name="connsiteX247" fmla="*/ 4427006 w 6630249"/>
              <a:gd name="connsiteY247" fmla="*/ 5778701 h 6750795"/>
              <a:gd name="connsiteX248" fmla="*/ 4468044 w 6630249"/>
              <a:gd name="connsiteY248" fmla="*/ 5763310 h 6750795"/>
              <a:gd name="connsiteX249" fmla="*/ 4496258 w 6630249"/>
              <a:gd name="connsiteY249" fmla="*/ 5768440 h 6750795"/>
              <a:gd name="connsiteX250" fmla="*/ 4485999 w 6630249"/>
              <a:gd name="connsiteY250" fmla="*/ 5781266 h 6750795"/>
              <a:gd name="connsiteX251" fmla="*/ 4503953 w 6630249"/>
              <a:gd name="connsiteY251" fmla="*/ 5773571 h 6750795"/>
              <a:gd name="connsiteX252" fmla="*/ 4519343 w 6630249"/>
              <a:gd name="connsiteY252" fmla="*/ 5783830 h 6750795"/>
              <a:gd name="connsiteX253" fmla="*/ 4514212 w 6630249"/>
              <a:gd name="connsiteY253" fmla="*/ 5845388 h 6750795"/>
              <a:gd name="connsiteX254" fmla="*/ 4511648 w 6630249"/>
              <a:gd name="connsiteY254" fmla="*/ 5832563 h 6750795"/>
              <a:gd name="connsiteX255" fmla="*/ 4488564 w 6630249"/>
              <a:gd name="connsiteY255" fmla="*/ 5847953 h 6750795"/>
              <a:gd name="connsiteX256" fmla="*/ 4488564 w 6630249"/>
              <a:gd name="connsiteY256" fmla="*/ 5799220 h 6750795"/>
              <a:gd name="connsiteX257" fmla="*/ 4468044 w 6630249"/>
              <a:gd name="connsiteY257" fmla="*/ 5763310 h 6750795"/>
              <a:gd name="connsiteX258" fmla="*/ 4368013 w 6630249"/>
              <a:gd name="connsiteY258" fmla="*/ 5763310 h 6750795"/>
              <a:gd name="connsiteX259" fmla="*/ 4373143 w 6630249"/>
              <a:gd name="connsiteY259" fmla="*/ 5778700 h 6750795"/>
              <a:gd name="connsiteX260" fmla="*/ 4357754 w 6630249"/>
              <a:gd name="connsiteY260" fmla="*/ 5801784 h 6750795"/>
              <a:gd name="connsiteX261" fmla="*/ 4368013 w 6630249"/>
              <a:gd name="connsiteY261" fmla="*/ 5763310 h 6750795"/>
              <a:gd name="connsiteX262" fmla="*/ 4447526 w 6630249"/>
              <a:gd name="connsiteY262" fmla="*/ 5758180 h 6750795"/>
              <a:gd name="connsiteX263" fmla="*/ 4470610 w 6630249"/>
              <a:gd name="connsiteY263" fmla="*/ 5853081 h 6750795"/>
              <a:gd name="connsiteX264" fmla="*/ 4468045 w 6630249"/>
              <a:gd name="connsiteY264" fmla="*/ 5896684 h 6750795"/>
              <a:gd name="connsiteX265" fmla="*/ 4434701 w 6630249"/>
              <a:gd name="connsiteY265" fmla="*/ 5935158 h 6750795"/>
              <a:gd name="connsiteX266" fmla="*/ 4424441 w 6630249"/>
              <a:gd name="connsiteY266" fmla="*/ 5883860 h 6750795"/>
              <a:gd name="connsiteX267" fmla="*/ 4409051 w 6630249"/>
              <a:gd name="connsiteY267" fmla="*/ 5822302 h 6750795"/>
              <a:gd name="connsiteX268" fmla="*/ 4406486 w 6630249"/>
              <a:gd name="connsiteY268" fmla="*/ 5806913 h 6750795"/>
              <a:gd name="connsiteX269" fmla="*/ 4427007 w 6630249"/>
              <a:gd name="connsiteY269" fmla="*/ 5804348 h 6750795"/>
              <a:gd name="connsiteX270" fmla="*/ 4424441 w 6630249"/>
              <a:gd name="connsiteY270" fmla="*/ 5794088 h 6750795"/>
              <a:gd name="connsiteX271" fmla="*/ 4442396 w 6630249"/>
              <a:gd name="connsiteY271" fmla="*/ 5781264 h 6750795"/>
              <a:gd name="connsiteX272" fmla="*/ 4427007 w 6630249"/>
              <a:gd name="connsiteY272" fmla="*/ 5781264 h 6750795"/>
              <a:gd name="connsiteX273" fmla="*/ 4439831 w 6630249"/>
              <a:gd name="connsiteY273" fmla="*/ 5776134 h 6750795"/>
              <a:gd name="connsiteX274" fmla="*/ 4447526 w 6630249"/>
              <a:gd name="connsiteY274" fmla="*/ 5758180 h 6750795"/>
              <a:gd name="connsiteX275" fmla="*/ 4485038 w 6630249"/>
              <a:gd name="connsiteY275" fmla="*/ 5753692 h 6750795"/>
              <a:gd name="connsiteX276" fmla="*/ 4491129 w 6630249"/>
              <a:gd name="connsiteY276" fmla="*/ 5755616 h 6750795"/>
              <a:gd name="connsiteX277" fmla="*/ 4491129 w 6630249"/>
              <a:gd name="connsiteY277" fmla="*/ 5760746 h 6750795"/>
              <a:gd name="connsiteX278" fmla="*/ 4480870 w 6630249"/>
              <a:gd name="connsiteY278" fmla="*/ 5755616 h 6750795"/>
              <a:gd name="connsiteX279" fmla="*/ 4485038 w 6630249"/>
              <a:gd name="connsiteY279" fmla="*/ 5753692 h 6750795"/>
              <a:gd name="connsiteX280" fmla="*/ 4424442 w 6630249"/>
              <a:gd name="connsiteY280" fmla="*/ 5742792 h 6750795"/>
              <a:gd name="connsiteX281" fmla="*/ 4439831 w 6630249"/>
              <a:gd name="connsiteY281" fmla="*/ 5753051 h 6750795"/>
              <a:gd name="connsiteX282" fmla="*/ 4424442 w 6630249"/>
              <a:gd name="connsiteY282" fmla="*/ 5763311 h 6750795"/>
              <a:gd name="connsiteX283" fmla="*/ 4424442 w 6630249"/>
              <a:gd name="connsiteY283" fmla="*/ 5742792 h 6750795"/>
              <a:gd name="connsiteX284" fmla="*/ 4501388 w 6630249"/>
              <a:gd name="connsiteY284" fmla="*/ 5737662 h 6750795"/>
              <a:gd name="connsiteX285" fmla="*/ 4506518 w 6630249"/>
              <a:gd name="connsiteY285" fmla="*/ 5753051 h 6750795"/>
              <a:gd name="connsiteX286" fmla="*/ 4498824 w 6630249"/>
              <a:gd name="connsiteY286" fmla="*/ 5758181 h 6750795"/>
              <a:gd name="connsiteX287" fmla="*/ 4501388 w 6630249"/>
              <a:gd name="connsiteY287" fmla="*/ 5737662 h 6750795"/>
              <a:gd name="connsiteX288" fmla="*/ 4424442 w 6630249"/>
              <a:gd name="connsiteY288" fmla="*/ 5704318 h 6750795"/>
              <a:gd name="connsiteX289" fmla="*/ 4434702 w 6630249"/>
              <a:gd name="connsiteY289" fmla="*/ 5712013 h 6750795"/>
              <a:gd name="connsiteX290" fmla="*/ 4424442 w 6630249"/>
              <a:gd name="connsiteY290" fmla="*/ 5704318 h 6750795"/>
              <a:gd name="connsiteX291" fmla="*/ 4352625 w 6630249"/>
              <a:gd name="connsiteY291" fmla="*/ 5686364 h 6750795"/>
              <a:gd name="connsiteX292" fmla="*/ 4357754 w 6630249"/>
              <a:gd name="connsiteY292" fmla="*/ 5696624 h 6750795"/>
              <a:gd name="connsiteX293" fmla="*/ 4352625 w 6630249"/>
              <a:gd name="connsiteY293" fmla="*/ 5686364 h 6750795"/>
              <a:gd name="connsiteX294" fmla="*/ 4424441 w 6630249"/>
              <a:gd name="connsiteY294" fmla="*/ 5670974 h 6750795"/>
              <a:gd name="connsiteX295" fmla="*/ 4434701 w 6630249"/>
              <a:gd name="connsiteY295" fmla="*/ 5670974 h 6750795"/>
              <a:gd name="connsiteX296" fmla="*/ 4432136 w 6630249"/>
              <a:gd name="connsiteY296" fmla="*/ 5686363 h 6750795"/>
              <a:gd name="connsiteX297" fmla="*/ 4419312 w 6630249"/>
              <a:gd name="connsiteY297" fmla="*/ 5681234 h 6750795"/>
              <a:gd name="connsiteX298" fmla="*/ 4424441 w 6630249"/>
              <a:gd name="connsiteY298" fmla="*/ 5670974 h 6750795"/>
              <a:gd name="connsiteX299" fmla="*/ 4432457 w 6630249"/>
              <a:gd name="connsiteY299" fmla="*/ 5661677 h 6750795"/>
              <a:gd name="connsiteX300" fmla="*/ 4437266 w 6630249"/>
              <a:gd name="connsiteY300" fmla="*/ 5663280 h 6750795"/>
              <a:gd name="connsiteX301" fmla="*/ 4429572 w 6630249"/>
              <a:gd name="connsiteY301" fmla="*/ 5665845 h 6750795"/>
              <a:gd name="connsiteX302" fmla="*/ 4432457 w 6630249"/>
              <a:gd name="connsiteY302" fmla="*/ 5661677 h 6750795"/>
              <a:gd name="connsiteX303" fmla="*/ 4539862 w 6630249"/>
              <a:gd name="connsiteY303" fmla="*/ 5660715 h 6750795"/>
              <a:gd name="connsiteX304" fmla="*/ 4537297 w 6630249"/>
              <a:gd name="connsiteY304" fmla="*/ 5668409 h 6750795"/>
              <a:gd name="connsiteX305" fmla="*/ 4532168 w 6630249"/>
              <a:gd name="connsiteY305" fmla="*/ 5663280 h 6750795"/>
              <a:gd name="connsiteX306" fmla="*/ 4539862 w 6630249"/>
              <a:gd name="connsiteY306" fmla="*/ 5660715 h 6750795"/>
              <a:gd name="connsiteX307" fmla="*/ 4670670 w 6630249"/>
              <a:gd name="connsiteY307" fmla="*/ 5660714 h 6750795"/>
              <a:gd name="connsiteX308" fmla="*/ 4678366 w 6630249"/>
              <a:gd name="connsiteY308" fmla="*/ 5660714 h 6750795"/>
              <a:gd name="connsiteX309" fmla="*/ 4686061 w 6630249"/>
              <a:gd name="connsiteY309" fmla="*/ 5691494 h 6750795"/>
              <a:gd name="connsiteX310" fmla="*/ 4742489 w 6630249"/>
              <a:gd name="connsiteY310" fmla="*/ 5681234 h 6750795"/>
              <a:gd name="connsiteX311" fmla="*/ 4752748 w 6630249"/>
              <a:gd name="connsiteY311" fmla="*/ 5735097 h 6750795"/>
              <a:gd name="connsiteX312" fmla="*/ 4747618 w 6630249"/>
              <a:gd name="connsiteY312" fmla="*/ 5745357 h 6750795"/>
              <a:gd name="connsiteX313" fmla="*/ 4755313 w 6630249"/>
              <a:gd name="connsiteY313" fmla="*/ 5765876 h 6750795"/>
              <a:gd name="connsiteX314" fmla="*/ 4662976 w 6630249"/>
              <a:gd name="connsiteY314" fmla="*/ 5747922 h 6750795"/>
              <a:gd name="connsiteX315" fmla="*/ 4668105 w 6630249"/>
              <a:gd name="connsiteY315" fmla="*/ 5670974 h 6750795"/>
              <a:gd name="connsiteX316" fmla="*/ 4670670 w 6630249"/>
              <a:gd name="connsiteY316" fmla="*/ 5660714 h 6750795"/>
              <a:gd name="connsiteX317" fmla="*/ 3875555 w 6630249"/>
              <a:gd name="connsiteY317" fmla="*/ 5653021 h 6750795"/>
              <a:gd name="connsiteX318" fmla="*/ 3872990 w 6630249"/>
              <a:gd name="connsiteY318" fmla="*/ 5660715 h 6750795"/>
              <a:gd name="connsiteX319" fmla="*/ 3875555 w 6630249"/>
              <a:gd name="connsiteY319" fmla="*/ 5653021 h 6750795"/>
              <a:gd name="connsiteX320" fmla="*/ 4368013 w 6630249"/>
              <a:gd name="connsiteY320" fmla="*/ 5653020 h 6750795"/>
              <a:gd name="connsiteX321" fmla="*/ 4391098 w 6630249"/>
              <a:gd name="connsiteY321" fmla="*/ 5660714 h 6750795"/>
              <a:gd name="connsiteX322" fmla="*/ 4398792 w 6630249"/>
              <a:gd name="connsiteY322" fmla="*/ 5655584 h 6750795"/>
              <a:gd name="connsiteX323" fmla="*/ 4406487 w 6630249"/>
              <a:gd name="connsiteY323" fmla="*/ 5683799 h 6750795"/>
              <a:gd name="connsiteX324" fmla="*/ 4393662 w 6630249"/>
              <a:gd name="connsiteY324" fmla="*/ 5686364 h 6750795"/>
              <a:gd name="connsiteX325" fmla="*/ 4419311 w 6630249"/>
              <a:gd name="connsiteY325" fmla="*/ 5735097 h 6750795"/>
              <a:gd name="connsiteX326" fmla="*/ 4409052 w 6630249"/>
              <a:gd name="connsiteY326" fmla="*/ 5758181 h 6750795"/>
              <a:gd name="connsiteX327" fmla="*/ 4393662 w 6630249"/>
              <a:gd name="connsiteY327" fmla="*/ 5750486 h 6750795"/>
              <a:gd name="connsiteX328" fmla="*/ 4401357 w 6630249"/>
              <a:gd name="connsiteY328" fmla="*/ 5791525 h 6750795"/>
              <a:gd name="connsiteX329" fmla="*/ 4396227 w 6630249"/>
              <a:gd name="connsiteY329" fmla="*/ 5771006 h 6750795"/>
              <a:gd name="connsiteX330" fmla="*/ 4391098 w 6630249"/>
              <a:gd name="connsiteY330" fmla="*/ 5773571 h 6750795"/>
              <a:gd name="connsiteX331" fmla="*/ 4370578 w 6630249"/>
              <a:gd name="connsiteY331" fmla="*/ 5704319 h 6750795"/>
              <a:gd name="connsiteX332" fmla="*/ 4365449 w 6630249"/>
              <a:gd name="connsiteY332" fmla="*/ 5678670 h 6750795"/>
              <a:gd name="connsiteX333" fmla="*/ 4378273 w 6630249"/>
              <a:gd name="connsiteY333" fmla="*/ 5665844 h 6750795"/>
              <a:gd name="connsiteX334" fmla="*/ 4362883 w 6630249"/>
              <a:gd name="connsiteY334" fmla="*/ 5663279 h 6750795"/>
              <a:gd name="connsiteX335" fmla="*/ 4368013 w 6630249"/>
              <a:gd name="connsiteY335" fmla="*/ 5653020 h 6750795"/>
              <a:gd name="connsiteX336" fmla="*/ 4455220 w 6630249"/>
              <a:gd name="connsiteY336" fmla="*/ 5647890 h 6750795"/>
              <a:gd name="connsiteX337" fmla="*/ 4521908 w 6630249"/>
              <a:gd name="connsiteY337" fmla="*/ 5665844 h 6750795"/>
              <a:gd name="connsiteX338" fmla="*/ 4534732 w 6630249"/>
              <a:gd name="connsiteY338" fmla="*/ 5678670 h 6750795"/>
              <a:gd name="connsiteX339" fmla="*/ 4534732 w 6630249"/>
              <a:gd name="connsiteY339" fmla="*/ 5768441 h 6750795"/>
              <a:gd name="connsiteX340" fmla="*/ 4524473 w 6630249"/>
              <a:gd name="connsiteY340" fmla="*/ 5765876 h 6750795"/>
              <a:gd name="connsiteX341" fmla="*/ 4521908 w 6630249"/>
              <a:gd name="connsiteY341" fmla="*/ 5740227 h 6750795"/>
              <a:gd name="connsiteX342" fmla="*/ 4511648 w 6630249"/>
              <a:gd name="connsiteY342" fmla="*/ 5750486 h 6750795"/>
              <a:gd name="connsiteX343" fmla="*/ 4514213 w 6630249"/>
              <a:gd name="connsiteY343" fmla="*/ 5712013 h 6750795"/>
              <a:gd name="connsiteX344" fmla="*/ 4493694 w 6630249"/>
              <a:gd name="connsiteY344" fmla="*/ 5740227 h 6750795"/>
              <a:gd name="connsiteX345" fmla="*/ 4496259 w 6630249"/>
              <a:gd name="connsiteY345" fmla="*/ 5696624 h 6750795"/>
              <a:gd name="connsiteX346" fmla="*/ 4483434 w 6630249"/>
              <a:gd name="connsiteY346" fmla="*/ 5724837 h 6750795"/>
              <a:gd name="connsiteX347" fmla="*/ 4470610 w 6630249"/>
              <a:gd name="connsiteY347" fmla="*/ 5706883 h 6750795"/>
              <a:gd name="connsiteX348" fmla="*/ 4462915 w 6630249"/>
              <a:gd name="connsiteY348" fmla="*/ 5709448 h 6750795"/>
              <a:gd name="connsiteX349" fmla="*/ 4455220 w 6630249"/>
              <a:gd name="connsiteY349" fmla="*/ 5647890 h 6750795"/>
              <a:gd name="connsiteX350" fmla="*/ 4427007 w 6630249"/>
              <a:gd name="connsiteY350" fmla="*/ 5642761 h 6750795"/>
              <a:gd name="connsiteX351" fmla="*/ 4424442 w 6630249"/>
              <a:gd name="connsiteY351" fmla="*/ 5650455 h 6750795"/>
              <a:gd name="connsiteX352" fmla="*/ 4427007 w 6630249"/>
              <a:gd name="connsiteY352" fmla="*/ 5642761 h 6750795"/>
              <a:gd name="connsiteX353" fmla="*/ 4360320 w 6630249"/>
              <a:gd name="connsiteY353" fmla="*/ 5642761 h 6750795"/>
              <a:gd name="connsiteX354" fmla="*/ 4368014 w 6630249"/>
              <a:gd name="connsiteY354" fmla="*/ 5647890 h 6750795"/>
              <a:gd name="connsiteX355" fmla="*/ 4360320 w 6630249"/>
              <a:gd name="connsiteY355" fmla="*/ 5650455 h 6750795"/>
              <a:gd name="connsiteX356" fmla="*/ 4360320 w 6630249"/>
              <a:gd name="connsiteY356" fmla="*/ 5642761 h 6750795"/>
              <a:gd name="connsiteX357" fmla="*/ 4680930 w 6630249"/>
              <a:gd name="connsiteY357" fmla="*/ 5611982 h 6750795"/>
              <a:gd name="connsiteX358" fmla="*/ 4701450 w 6630249"/>
              <a:gd name="connsiteY358" fmla="*/ 5614547 h 6750795"/>
              <a:gd name="connsiteX359" fmla="*/ 4678366 w 6630249"/>
              <a:gd name="connsiteY359" fmla="*/ 5624806 h 6750795"/>
              <a:gd name="connsiteX360" fmla="*/ 4680930 w 6630249"/>
              <a:gd name="connsiteY360" fmla="*/ 5611982 h 6750795"/>
              <a:gd name="connsiteX361" fmla="*/ 4655282 w 6630249"/>
              <a:gd name="connsiteY361" fmla="*/ 5606853 h 6750795"/>
              <a:gd name="connsiteX362" fmla="*/ 4670671 w 6630249"/>
              <a:gd name="connsiteY362" fmla="*/ 5609417 h 6750795"/>
              <a:gd name="connsiteX363" fmla="*/ 4665542 w 6630249"/>
              <a:gd name="connsiteY363" fmla="*/ 5637631 h 6750795"/>
              <a:gd name="connsiteX364" fmla="*/ 4655282 w 6630249"/>
              <a:gd name="connsiteY364" fmla="*/ 5606853 h 6750795"/>
              <a:gd name="connsiteX365" fmla="*/ 4686061 w 6630249"/>
              <a:gd name="connsiteY365" fmla="*/ 5605569 h 6750795"/>
              <a:gd name="connsiteX366" fmla="*/ 4688625 w 6630249"/>
              <a:gd name="connsiteY366" fmla="*/ 5609417 h 6750795"/>
              <a:gd name="connsiteX367" fmla="*/ 4683496 w 6630249"/>
              <a:gd name="connsiteY367" fmla="*/ 5609417 h 6750795"/>
              <a:gd name="connsiteX368" fmla="*/ 4686061 w 6630249"/>
              <a:gd name="connsiteY368" fmla="*/ 5605569 h 6750795"/>
              <a:gd name="connsiteX369" fmla="*/ 5052840 w 6630249"/>
              <a:gd name="connsiteY369" fmla="*/ 5604287 h 6750795"/>
              <a:gd name="connsiteX370" fmla="*/ 5009237 w 6630249"/>
              <a:gd name="connsiteY370" fmla="*/ 5632501 h 6750795"/>
              <a:gd name="connsiteX371" fmla="*/ 5052840 w 6630249"/>
              <a:gd name="connsiteY371" fmla="*/ 5604287 h 6750795"/>
              <a:gd name="connsiteX372" fmla="*/ 4401358 w 6630249"/>
              <a:gd name="connsiteY372" fmla="*/ 5601723 h 6750795"/>
              <a:gd name="connsiteX373" fmla="*/ 4429572 w 6630249"/>
              <a:gd name="connsiteY373" fmla="*/ 5604287 h 6750795"/>
              <a:gd name="connsiteX374" fmla="*/ 4429572 w 6630249"/>
              <a:gd name="connsiteY374" fmla="*/ 5629936 h 6750795"/>
              <a:gd name="connsiteX375" fmla="*/ 4409052 w 6630249"/>
              <a:gd name="connsiteY375" fmla="*/ 5629936 h 6750795"/>
              <a:gd name="connsiteX376" fmla="*/ 4401358 w 6630249"/>
              <a:gd name="connsiteY376" fmla="*/ 5601723 h 6750795"/>
              <a:gd name="connsiteX377" fmla="*/ 4570641 w 6630249"/>
              <a:gd name="connsiteY377" fmla="*/ 5599157 h 6750795"/>
              <a:gd name="connsiteX378" fmla="*/ 4642457 w 6630249"/>
              <a:gd name="connsiteY378" fmla="*/ 5660714 h 6750795"/>
              <a:gd name="connsiteX379" fmla="*/ 4645022 w 6630249"/>
              <a:gd name="connsiteY379" fmla="*/ 5714577 h 6750795"/>
              <a:gd name="connsiteX380" fmla="*/ 4598854 w 6630249"/>
              <a:gd name="connsiteY380" fmla="*/ 5719707 h 6750795"/>
              <a:gd name="connsiteX381" fmla="*/ 4647588 w 6630249"/>
              <a:gd name="connsiteY381" fmla="*/ 5722272 h 6750795"/>
              <a:gd name="connsiteX382" fmla="*/ 4647588 w 6630249"/>
              <a:gd name="connsiteY382" fmla="*/ 5755615 h 6750795"/>
              <a:gd name="connsiteX383" fmla="*/ 4645022 w 6630249"/>
              <a:gd name="connsiteY383" fmla="*/ 5755615 h 6750795"/>
              <a:gd name="connsiteX384" fmla="*/ 4645022 w 6630249"/>
              <a:gd name="connsiteY384" fmla="*/ 5794089 h 6750795"/>
              <a:gd name="connsiteX385" fmla="*/ 4642457 w 6630249"/>
              <a:gd name="connsiteY385" fmla="*/ 5809478 h 6750795"/>
              <a:gd name="connsiteX386" fmla="*/ 4614244 w 6630249"/>
              <a:gd name="connsiteY386" fmla="*/ 5806913 h 6750795"/>
              <a:gd name="connsiteX387" fmla="*/ 4627068 w 6630249"/>
              <a:gd name="connsiteY387" fmla="*/ 5786394 h 6750795"/>
              <a:gd name="connsiteX388" fmla="*/ 4547555 w 6630249"/>
              <a:gd name="connsiteY388" fmla="*/ 5786394 h 6750795"/>
              <a:gd name="connsiteX389" fmla="*/ 4539861 w 6630249"/>
              <a:gd name="connsiteY389" fmla="*/ 5783829 h 6750795"/>
              <a:gd name="connsiteX390" fmla="*/ 4552685 w 6630249"/>
              <a:gd name="connsiteY390" fmla="*/ 5732531 h 6750795"/>
              <a:gd name="connsiteX391" fmla="*/ 4542426 w 6630249"/>
              <a:gd name="connsiteY391" fmla="*/ 5732531 h 6750795"/>
              <a:gd name="connsiteX392" fmla="*/ 4544991 w 6630249"/>
              <a:gd name="connsiteY392" fmla="*/ 5665844 h 6750795"/>
              <a:gd name="connsiteX393" fmla="*/ 4544991 w 6630249"/>
              <a:gd name="connsiteY393" fmla="*/ 5640195 h 6750795"/>
              <a:gd name="connsiteX394" fmla="*/ 4560381 w 6630249"/>
              <a:gd name="connsiteY394" fmla="*/ 5632500 h 6750795"/>
              <a:gd name="connsiteX395" fmla="*/ 4550121 w 6630249"/>
              <a:gd name="connsiteY395" fmla="*/ 5624806 h 6750795"/>
              <a:gd name="connsiteX396" fmla="*/ 4560381 w 6630249"/>
              <a:gd name="connsiteY396" fmla="*/ 5604286 h 6750795"/>
              <a:gd name="connsiteX397" fmla="*/ 4568076 w 6630249"/>
              <a:gd name="connsiteY397" fmla="*/ 5606851 h 6750795"/>
              <a:gd name="connsiteX398" fmla="*/ 4568076 w 6630249"/>
              <a:gd name="connsiteY398" fmla="*/ 5601722 h 6750795"/>
              <a:gd name="connsiteX399" fmla="*/ 4570641 w 6630249"/>
              <a:gd name="connsiteY399" fmla="*/ 5599157 h 6750795"/>
              <a:gd name="connsiteX400" fmla="*/ 4655282 w 6630249"/>
              <a:gd name="connsiteY400" fmla="*/ 5596592 h 6750795"/>
              <a:gd name="connsiteX401" fmla="*/ 4665542 w 6630249"/>
              <a:gd name="connsiteY401" fmla="*/ 5596592 h 6750795"/>
              <a:gd name="connsiteX402" fmla="*/ 4657847 w 6630249"/>
              <a:gd name="connsiteY402" fmla="*/ 5601722 h 6750795"/>
              <a:gd name="connsiteX403" fmla="*/ 4655282 w 6630249"/>
              <a:gd name="connsiteY403" fmla="*/ 5596592 h 6750795"/>
              <a:gd name="connsiteX404" fmla="*/ 4470609 w 6630249"/>
              <a:gd name="connsiteY404" fmla="*/ 5581204 h 6750795"/>
              <a:gd name="connsiteX405" fmla="*/ 4465479 w 6630249"/>
              <a:gd name="connsiteY405" fmla="*/ 5596593 h 6750795"/>
              <a:gd name="connsiteX406" fmla="*/ 4460350 w 6630249"/>
              <a:gd name="connsiteY406" fmla="*/ 5586333 h 6750795"/>
              <a:gd name="connsiteX407" fmla="*/ 4470609 w 6630249"/>
              <a:gd name="connsiteY407" fmla="*/ 5581204 h 6750795"/>
              <a:gd name="connsiteX408" fmla="*/ 4527038 w 6630249"/>
              <a:gd name="connsiteY408" fmla="*/ 5578639 h 6750795"/>
              <a:gd name="connsiteX409" fmla="*/ 4532168 w 6630249"/>
              <a:gd name="connsiteY409" fmla="*/ 5596593 h 6750795"/>
              <a:gd name="connsiteX410" fmla="*/ 4501389 w 6630249"/>
              <a:gd name="connsiteY410" fmla="*/ 5596593 h 6750795"/>
              <a:gd name="connsiteX411" fmla="*/ 4527038 w 6630249"/>
              <a:gd name="connsiteY411" fmla="*/ 5578639 h 6750795"/>
              <a:gd name="connsiteX412" fmla="*/ 4627069 w 6630249"/>
              <a:gd name="connsiteY412" fmla="*/ 5576074 h 6750795"/>
              <a:gd name="connsiteX413" fmla="*/ 4642458 w 6630249"/>
              <a:gd name="connsiteY413" fmla="*/ 5609417 h 6750795"/>
              <a:gd name="connsiteX414" fmla="*/ 4629633 w 6630249"/>
              <a:gd name="connsiteY414" fmla="*/ 5601723 h 6750795"/>
              <a:gd name="connsiteX415" fmla="*/ 4627069 w 6630249"/>
              <a:gd name="connsiteY415" fmla="*/ 5576074 h 6750795"/>
              <a:gd name="connsiteX416" fmla="*/ 4537297 w 6630249"/>
              <a:gd name="connsiteY416" fmla="*/ 5573509 h 6750795"/>
              <a:gd name="connsiteX417" fmla="*/ 4560381 w 6630249"/>
              <a:gd name="connsiteY417" fmla="*/ 5586333 h 6750795"/>
              <a:gd name="connsiteX418" fmla="*/ 4550121 w 6630249"/>
              <a:gd name="connsiteY418" fmla="*/ 5606852 h 6750795"/>
              <a:gd name="connsiteX419" fmla="*/ 4537297 w 6630249"/>
              <a:gd name="connsiteY419" fmla="*/ 5573509 h 6750795"/>
              <a:gd name="connsiteX420" fmla="*/ 5968508 w 6630249"/>
              <a:gd name="connsiteY420" fmla="*/ 5555555 h 6750795"/>
              <a:gd name="connsiteX421" fmla="*/ 5963377 w 6630249"/>
              <a:gd name="connsiteY421" fmla="*/ 5568379 h 6750795"/>
              <a:gd name="connsiteX422" fmla="*/ 5963377 w 6630249"/>
              <a:gd name="connsiteY422" fmla="*/ 5565814 h 6750795"/>
              <a:gd name="connsiteX423" fmla="*/ 5958248 w 6630249"/>
              <a:gd name="connsiteY423" fmla="*/ 5560684 h 6750795"/>
              <a:gd name="connsiteX424" fmla="*/ 5968508 w 6630249"/>
              <a:gd name="connsiteY424" fmla="*/ 5555555 h 6750795"/>
              <a:gd name="connsiteX425" fmla="*/ 4460350 w 6630249"/>
              <a:gd name="connsiteY425" fmla="*/ 5555554 h 6750795"/>
              <a:gd name="connsiteX426" fmla="*/ 4475739 w 6630249"/>
              <a:gd name="connsiteY426" fmla="*/ 5555554 h 6750795"/>
              <a:gd name="connsiteX427" fmla="*/ 4462914 w 6630249"/>
              <a:gd name="connsiteY427" fmla="*/ 5568379 h 6750795"/>
              <a:gd name="connsiteX428" fmla="*/ 4460350 w 6630249"/>
              <a:gd name="connsiteY428" fmla="*/ 5555554 h 6750795"/>
              <a:gd name="connsiteX429" fmla="*/ 4573205 w 6630249"/>
              <a:gd name="connsiteY429" fmla="*/ 5552990 h 6750795"/>
              <a:gd name="connsiteX430" fmla="*/ 4578335 w 6630249"/>
              <a:gd name="connsiteY430" fmla="*/ 5555555 h 6750795"/>
              <a:gd name="connsiteX431" fmla="*/ 4575770 w 6630249"/>
              <a:gd name="connsiteY431" fmla="*/ 5578639 h 6750795"/>
              <a:gd name="connsiteX432" fmla="*/ 4568076 w 6630249"/>
              <a:gd name="connsiteY432" fmla="*/ 5576074 h 6750795"/>
              <a:gd name="connsiteX433" fmla="*/ 4573205 w 6630249"/>
              <a:gd name="connsiteY433" fmla="*/ 5552990 h 6750795"/>
              <a:gd name="connsiteX434" fmla="*/ 5973637 w 6630249"/>
              <a:gd name="connsiteY434" fmla="*/ 5550425 h 6750795"/>
              <a:gd name="connsiteX435" fmla="*/ 5976201 w 6630249"/>
              <a:gd name="connsiteY435" fmla="*/ 5563249 h 6750795"/>
              <a:gd name="connsiteX436" fmla="*/ 5973637 w 6630249"/>
              <a:gd name="connsiteY436" fmla="*/ 5550425 h 6750795"/>
              <a:gd name="connsiteX437" fmla="*/ 4792552 w 6630249"/>
              <a:gd name="connsiteY437" fmla="*/ 5546095 h 6750795"/>
              <a:gd name="connsiteX438" fmla="*/ 4796351 w 6630249"/>
              <a:gd name="connsiteY438" fmla="*/ 5550424 h 6750795"/>
              <a:gd name="connsiteX439" fmla="*/ 4791994 w 6630249"/>
              <a:gd name="connsiteY439" fmla="*/ 5552219 h 6750795"/>
              <a:gd name="connsiteX440" fmla="*/ 4552686 w 6630249"/>
              <a:gd name="connsiteY440" fmla="*/ 5545295 h 6750795"/>
              <a:gd name="connsiteX441" fmla="*/ 4562946 w 6630249"/>
              <a:gd name="connsiteY441" fmla="*/ 5578638 h 6750795"/>
              <a:gd name="connsiteX442" fmla="*/ 4539862 w 6630249"/>
              <a:gd name="connsiteY442" fmla="*/ 5570944 h 6750795"/>
              <a:gd name="connsiteX443" fmla="*/ 4539862 w 6630249"/>
              <a:gd name="connsiteY443" fmla="*/ 5565814 h 6750795"/>
              <a:gd name="connsiteX444" fmla="*/ 4552686 w 6630249"/>
              <a:gd name="connsiteY444" fmla="*/ 5555555 h 6750795"/>
              <a:gd name="connsiteX445" fmla="*/ 4544992 w 6630249"/>
              <a:gd name="connsiteY445" fmla="*/ 5547860 h 6750795"/>
              <a:gd name="connsiteX446" fmla="*/ 4552686 w 6630249"/>
              <a:gd name="connsiteY446" fmla="*/ 5545295 h 6750795"/>
              <a:gd name="connsiteX447" fmla="*/ 4698886 w 6630249"/>
              <a:gd name="connsiteY447" fmla="*/ 5545294 h 6750795"/>
              <a:gd name="connsiteX448" fmla="*/ 4727099 w 6630249"/>
              <a:gd name="connsiteY448" fmla="*/ 5552989 h 6750795"/>
              <a:gd name="connsiteX449" fmla="*/ 4732229 w 6630249"/>
              <a:gd name="connsiteY449" fmla="*/ 5614547 h 6750795"/>
              <a:gd name="connsiteX450" fmla="*/ 4727099 w 6630249"/>
              <a:gd name="connsiteY450" fmla="*/ 5614547 h 6750795"/>
              <a:gd name="connsiteX451" fmla="*/ 4729664 w 6630249"/>
              <a:gd name="connsiteY451" fmla="*/ 5606852 h 6750795"/>
              <a:gd name="connsiteX452" fmla="*/ 4721970 w 6630249"/>
              <a:gd name="connsiteY452" fmla="*/ 5599158 h 6750795"/>
              <a:gd name="connsiteX453" fmla="*/ 4709145 w 6630249"/>
              <a:gd name="connsiteY453" fmla="*/ 5609417 h 6750795"/>
              <a:gd name="connsiteX454" fmla="*/ 4696321 w 6630249"/>
              <a:gd name="connsiteY454" fmla="*/ 5586333 h 6750795"/>
              <a:gd name="connsiteX455" fmla="*/ 4704015 w 6630249"/>
              <a:gd name="connsiteY455" fmla="*/ 5573509 h 6750795"/>
              <a:gd name="connsiteX456" fmla="*/ 4698886 w 6630249"/>
              <a:gd name="connsiteY456" fmla="*/ 5545294 h 6750795"/>
              <a:gd name="connsiteX457" fmla="*/ 4645022 w 6630249"/>
              <a:gd name="connsiteY457" fmla="*/ 5542729 h 6750795"/>
              <a:gd name="connsiteX458" fmla="*/ 4639893 w 6630249"/>
              <a:gd name="connsiteY458" fmla="*/ 5581203 h 6750795"/>
              <a:gd name="connsiteX459" fmla="*/ 4645022 w 6630249"/>
              <a:gd name="connsiteY459" fmla="*/ 5542729 h 6750795"/>
              <a:gd name="connsiteX460" fmla="*/ 5961494 w 6630249"/>
              <a:gd name="connsiteY460" fmla="*/ 5542410 h 6750795"/>
              <a:gd name="connsiteX461" fmla="*/ 5958248 w 6630249"/>
              <a:gd name="connsiteY461" fmla="*/ 5545295 h 6750795"/>
              <a:gd name="connsiteX462" fmla="*/ 5961494 w 6630249"/>
              <a:gd name="connsiteY462" fmla="*/ 5542410 h 6750795"/>
              <a:gd name="connsiteX463" fmla="*/ 4668106 w 6630249"/>
              <a:gd name="connsiteY463" fmla="*/ 5529905 h 6750795"/>
              <a:gd name="connsiteX464" fmla="*/ 4693755 w 6630249"/>
              <a:gd name="connsiteY464" fmla="*/ 5542730 h 6750795"/>
              <a:gd name="connsiteX465" fmla="*/ 4688625 w 6630249"/>
              <a:gd name="connsiteY465" fmla="*/ 5560684 h 6750795"/>
              <a:gd name="connsiteX466" fmla="*/ 4683496 w 6630249"/>
              <a:gd name="connsiteY466" fmla="*/ 5570944 h 6750795"/>
              <a:gd name="connsiteX467" fmla="*/ 4680931 w 6630249"/>
              <a:gd name="connsiteY467" fmla="*/ 5545295 h 6750795"/>
              <a:gd name="connsiteX468" fmla="*/ 4668106 w 6630249"/>
              <a:gd name="connsiteY468" fmla="*/ 5560684 h 6750795"/>
              <a:gd name="connsiteX469" fmla="*/ 4657847 w 6630249"/>
              <a:gd name="connsiteY469" fmla="*/ 5558119 h 6750795"/>
              <a:gd name="connsiteX470" fmla="*/ 4668106 w 6630249"/>
              <a:gd name="connsiteY470" fmla="*/ 5529905 h 6750795"/>
              <a:gd name="connsiteX471" fmla="*/ 4586029 w 6630249"/>
              <a:gd name="connsiteY471" fmla="*/ 5524776 h 6750795"/>
              <a:gd name="connsiteX472" fmla="*/ 4593724 w 6630249"/>
              <a:gd name="connsiteY472" fmla="*/ 5537600 h 6750795"/>
              <a:gd name="connsiteX473" fmla="*/ 4586029 w 6630249"/>
              <a:gd name="connsiteY473" fmla="*/ 5524776 h 6750795"/>
              <a:gd name="connsiteX474" fmla="*/ 4293632 w 6630249"/>
              <a:gd name="connsiteY474" fmla="*/ 5522210 h 6750795"/>
              <a:gd name="connsiteX475" fmla="*/ 4324410 w 6630249"/>
              <a:gd name="connsiteY475" fmla="*/ 5596592 h 6750795"/>
              <a:gd name="connsiteX476" fmla="*/ 4293632 w 6630249"/>
              <a:gd name="connsiteY476" fmla="*/ 5522210 h 6750795"/>
              <a:gd name="connsiteX477" fmla="*/ 4614564 w 6630249"/>
              <a:gd name="connsiteY477" fmla="*/ 5518043 h 6750795"/>
              <a:gd name="connsiteX478" fmla="*/ 4624503 w 6630249"/>
              <a:gd name="connsiteY478" fmla="*/ 5522211 h 6750795"/>
              <a:gd name="connsiteX479" fmla="*/ 4619373 w 6630249"/>
              <a:gd name="connsiteY479" fmla="*/ 5527340 h 6750795"/>
              <a:gd name="connsiteX480" fmla="*/ 4616808 w 6630249"/>
              <a:gd name="connsiteY480" fmla="*/ 5519646 h 6750795"/>
              <a:gd name="connsiteX481" fmla="*/ 4606549 w 6630249"/>
              <a:gd name="connsiteY481" fmla="*/ 5519646 h 6750795"/>
              <a:gd name="connsiteX482" fmla="*/ 4614564 w 6630249"/>
              <a:gd name="connsiteY482" fmla="*/ 5518043 h 6750795"/>
              <a:gd name="connsiteX483" fmla="*/ 4632197 w 6630249"/>
              <a:gd name="connsiteY483" fmla="*/ 5517081 h 6750795"/>
              <a:gd name="connsiteX484" fmla="*/ 4647587 w 6630249"/>
              <a:gd name="connsiteY484" fmla="*/ 5522211 h 6750795"/>
              <a:gd name="connsiteX485" fmla="*/ 4634763 w 6630249"/>
              <a:gd name="connsiteY485" fmla="*/ 5558120 h 6750795"/>
              <a:gd name="connsiteX486" fmla="*/ 4627068 w 6630249"/>
              <a:gd name="connsiteY486" fmla="*/ 5558120 h 6750795"/>
              <a:gd name="connsiteX487" fmla="*/ 4629632 w 6630249"/>
              <a:gd name="connsiteY487" fmla="*/ 5535036 h 6750795"/>
              <a:gd name="connsiteX488" fmla="*/ 4624503 w 6630249"/>
              <a:gd name="connsiteY488" fmla="*/ 5537601 h 6750795"/>
              <a:gd name="connsiteX489" fmla="*/ 4632197 w 6630249"/>
              <a:gd name="connsiteY489" fmla="*/ 5517081 h 6750795"/>
              <a:gd name="connsiteX490" fmla="*/ 4645022 w 6630249"/>
              <a:gd name="connsiteY490" fmla="*/ 5506822 h 6750795"/>
              <a:gd name="connsiteX491" fmla="*/ 4645022 w 6630249"/>
              <a:gd name="connsiteY491" fmla="*/ 5514516 h 6750795"/>
              <a:gd name="connsiteX492" fmla="*/ 4634763 w 6630249"/>
              <a:gd name="connsiteY492" fmla="*/ 5511952 h 6750795"/>
              <a:gd name="connsiteX493" fmla="*/ 4645022 w 6630249"/>
              <a:gd name="connsiteY493" fmla="*/ 5506822 h 6750795"/>
              <a:gd name="connsiteX494" fmla="*/ 4709145 w 6630249"/>
              <a:gd name="connsiteY494" fmla="*/ 5491433 h 6750795"/>
              <a:gd name="connsiteX495" fmla="*/ 4716840 w 6630249"/>
              <a:gd name="connsiteY495" fmla="*/ 5519646 h 6750795"/>
              <a:gd name="connsiteX496" fmla="*/ 4706580 w 6630249"/>
              <a:gd name="connsiteY496" fmla="*/ 5514517 h 6750795"/>
              <a:gd name="connsiteX497" fmla="*/ 4709145 w 6630249"/>
              <a:gd name="connsiteY497" fmla="*/ 5491433 h 6750795"/>
              <a:gd name="connsiteX498" fmla="*/ 3054787 w 6630249"/>
              <a:gd name="connsiteY498" fmla="*/ 5486303 h 6750795"/>
              <a:gd name="connsiteX499" fmla="*/ 3042484 w 6630249"/>
              <a:gd name="connsiteY499" fmla="*/ 5527021 h 6750795"/>
              <a:gd name="connsiteX500" fmla="*/ 3040513 w 6630249"/>
              <a:gd name="connsiteY500" fmla="*/ 5531102 h 6750795"/>
              <a:gd name="connsiteX501" fmla="*/ 4934855 w 6630249"/>
              <a:gd name="connsiteY501" fmla="*/ 5486302 h 6750795"/>
              <a:gd name="connsiteX502" fmla="*/ 4934855 w 6630249"/>
              <a:gd name="connsiteY502" fmla="*/ 5573508 h 6750795"/>
              <a:gd name="connsiteX503" fmla="*/ 5009237 w 6630249"/>
              <a:gd name="connsiteY503" fmla="*/ 5558118 h 6750795"/>
              <a:gd name="connsiteX504" fmla="*/ 4934855 w 6630249"/>
              <a:gd name="connsiteY504" fmla="*/ 5601722 h 6750795"/>
              <a:gd name="connsiteX505" fmla="*/ 5009237 w 6630249"/>
              <a:gd name="connsiteY505" fmla="*/ 5601722 h 6750795"/>
              <a:gd name="connsiteX506" fmla="*/ 5037451 w 6630249"/>
              <a:gd name="connsiteY506" fmla="*/ 5529905 h 6750795"/>
              <a:gd name="connsiteX507" fmla="*/ 4934855 w 6630249"/>
              <a:gd name="connsiteY507" fmla="*/ 5486302 h 6750795"/>
              <a:gd name="connsiteX508" fmla="*/ 4619373 w 6630249"/>
              <a:gd name="connsiteY508" fmla="*/ 5481173 h 6750795"/>
              <a:gd name="connsiteX509" fmla="*/ 4616808 w 6630249"/>
              <a:gd name="connsiteY509" fmla="*/ 5493997 h 6750795"/>
              <a:gd name="connsiteX510" fmla="*/ 4614244 w 6630249"/>
              <a:gd name="connsiteY510" fmla="*/ 5486303 h 6750795"/>
              <a:gd name="connsiteX511" fmla="*/ 4619373 w 6630249"/>
              <a:gd name="connsiteY511" fmla="*/ 5481173 h 6750795"/>
              <a:gd name="connsiteX512" fmla="*/ 4698885 w 6630249"/>
              <a:gd name="connsiteY512" fmla="*/ 5476042 h 6750795"/>
              <a:gd name="connsiteX513" fmla="*/ 4698885 w 6630249"/>
              <a:gd name="connsiteY513" fmla="*/ 5511951 h 6750795"/>
              <a:gd name="connsiteX514" fmla="*/ 4657846 w 6630249"/>
              <a:gd name="connsiteY514" fmla="*/ 5514516 h 6750795"/>
              <a:gd name="connsiteX515" fmla="*/ 4696320 w 6630249"/>
              <a:gd name="connsiteY515" fmla="*/ 5506821 h 6750795"/>
              <a:gd name="connsiteX516" fmla="*/ 4680931 w 6630249"/>
              <a:gd name="connsiteY516" fmla="*/ 5496562 h 6750795"/>
              <a:gd name="connsiteX517" fmla="*/ 4680931 w 6630249"/>
              <a:gd name="connsiteY517" fmla="*/ 5491432 h 6750795"/>
              <a:gd name="connsiteX518" fmla="*/ 4698885 w 6630249"/>
              <a:gd name="connsiteY518" fmla="*/ 5476042 h 6750795"/>
              <a:gd name="connsiteX519" fmla="*/ 4601419 w 6630249"/>
              <a:gd name="connsiteY519" fmla="*/ 5473477 h 6750795"/>
              <a:gd name="connsiteX520" fmla="*/ 4601419 w 6630249"/>
              <a:gd name="connsiteY520" fmla="*/ 5483737 h 6750795"/>
              <a:gd name="connsiteX521" fmla="*/ 4583465 w 6630249"/>
              <a:gd name="connsiteY521" fmla="*/ 5514516 h 6750795"/>
              <a:gd name="connsiteX522" fmla="*/ 4552686 w 6630249"/>
              <a:gd name="connsiteY522" fmla="*/ 5524776 h 6750795"/>
              <a:gd name="connsiteX523" fmla="*/ 4552686 w 6630249"/>
              <a:gd name="connsiteY523" fmla="*/ 5511951 h 6750795"/>
              <a:gd name="connsiteX524" fmla="*/ 4542426 w 6630249"/>
              <a:gd name="connsiteY524" fmla="*/ 5517081 h 6750795"/>
              <a:gd name="connsiteX525" fmla="*/ 4557816 w 6630249"/>
              <a:gd name="connsiteY525" fmla="*/ 5483737 h 6750795"/>
              <a:gd name="connsiteX526" fmla="*/ 4601419 w 6630249"/>
              <a:gd name="connsiteY526" fmla="*/ 5473477 h 6750795"/>
              <a:gd name="connsiteX527" fmla="*/ 4632198 w 6630249"/>
              <a:gd name="connsiteY527" fmla="*/ 5460654 h 6750795"/>
              <a:gd name="connsiteX528" fmla="*/ 4629633 w 6630249"/>
              <a:gd name="connsiteY528" fmla="*/ 5468348 h 6750795"/>
              <a:gd name="connsiteX529" fmla="*/ 4632198 w 6630249"/>
              <a:gd name="connsiteY529" fmla="*/ 5460654 h 6750795"/>
              <a:gd name="connsiteX530" fmla="*/ 4344930 w 6630249"/>
              <a:gd name="connsiteY530" fmla="*/ 5460654 h 6750795"/>
              <a:gd name="connsiteX531" fmla="*/ 4347494 w 6630249"/>
              <a:gd name="connsiteY531" fmla="*/ 5473478 h 6750795"/>
              <a:gd name="connsiteX532" fmla="*/ 4344930 w 6630249"/>
              <a:gd name="connsiteY532" fmla="*/ 5460654 h 6750795"/>
              <a:gd name="connsiteX533" fmla="*/ 3036835 w 6630249"/>
              <a:gd name="connsiteY533" fmla="*/ 5460653 h 6750795"/>
              <a:gd name="connsiteX534" fmla="*/ 2993231 w 6630249"/>
              <a:gd name="connsiteY534" fmla="*/ 5581203 h 6750795"/>
              <a:gd name="connsiteX535" fmla="*/ 2970147 w 6630249"/>
              <a:gd name="connsiteY535" fmla="*/ 5604286 h 6750795"/>
              <a:gd name="connsiteX536" fmla="*/ 2890634 w 6630249"/>
              <a:gd name="connsiteY536" fmla="*/ 5737661 h 6750795"/>
              <a:gd name="connsiteX537" fmla="*/ 2882939 w 6630249"/>
              <a:gd name="connsiteY537" fmla="*/ 5722272 h 6750795"/>
              <a:gd name="connsiteX538" fmla="*/ 2875245 w 6630249"/>
              <a:gd name="connsiteY538" fmla="*/ 5709447 h 6750795"/>
              <a:gd name="connsiteX539" fmla="*/ 2875245 w 6630249"/>
              <a:gd name="connsiteY539" fmla="*/ 5706882 h 6750795"/>
              <a:gd name="connsiteX540" fmla="*/ 3036835 w 6630249"/>
              <a:gd name="connsiteY540" fmla="*/ 5460653 h 6750795"/>
              <a:gd name="connsiteX541" fmla="*/ 4247463 w 6630249"/>
              <a:gd name="connsiteY541" fmla="*/ 5424744 h 6750795"/>
              <a:gd name="connsiteX542" fmla="*/ 4285937 w 6630249"/>
              <a:gd name="connsiteY542" fmla="*/ 5504257 h 6750795"/>
              <a:gd name="connsiteX543" fmla="*/ 4247463 w 6630249"/>
              <a:gd name="connsiteY543" fmla="*/ 5424744 h 6750795"/>
              <a:gd name="connsiteX544" fmla="*/ 4247463 w 6630249"/>
              <a:gd name="connsiteY544" fmla="*/ 5409356 h 6750795"/>
              <a:gd name="connsiteX545" fmla="*/ 4247463 w 6630249"/>
              <a:gd name="connsiteY545" fmla="*/ 5419615 h 6750795"/>
              <a:gd name="connsiteX546" fmla="*/ 4239769 w 6630249"/>
              <a:gd name="connsiteY546" fmla="*/ 5414485 h 6750795"/>
              <a:gd name="connsiteX547" fmla="*/ 4247463 w 6630249"/>
              <a:gd name="connsiteY547" fmla="*/ 5409356 h 6750795"/>
              <a:gd name="connsiteX548" fmla="*/ 4511648 w 6630249"/>
              <a:gd name="connsiteY548" fmla="*/ 5393966 h 6750795"/>
              <a:gd name="connsiteX549" fmla="*/ 4542427 w 6630249"/>
              <a:gd name="connsiteY549" fmla="*/ 5409355 h 6750795"/>
              <a:gd name="connsiteX550" fmla="*/ 4534732 w 6630249"/>
              <a:gd name="connsiteY550" fmla="*/ 5519646 h 6750795"/>
              <a:gd name="connsiteX551" fmla="*/ 4529602 w 6630249"/>
              <a:gd name="connsiteY551" fmla="*/ 5509387 h 6750795"/>
              <a:gd name="connsiteX552" fmla="*/ 4516778 w 6630249"/>
              <a:gd name="connsiteY552" fmla="*/ 5447830 h 6750795"/>
              <a:gd name="connsiteX553" fmla="*/ 4511648 w 6630249"/>
              <a:gd name="connsiteY553" fmla="*/ 5393966 h 6750795"/>
              <a:gd name="connsiteX554" fmla="*/ 2411002 w 6630249"/>
              <a:gd name="connsiteY554" fmla="*/ 5393966 h 6750795"/>
              <a:gd name="connsiteX555" fmla="*/ 2295581 w 6630249"/>
              <a:gd name="connsiteY555" fmla="*/ 5470913 h 6750795"/>
              <a:gd name="connsiteX556" fmla="*/ 2295581 w 6630249"/>
              <a:gd name="connsiteY556" fmla="*/ 5468348 h 6750795"/>
              <a:gd name="connsiteX557" fmla="*/ 2411002 w 6630249"/>
              <a:gd name="connsiteY557" fmla="*/ 5393966 h 6750795"/>
              <a:gd name="connsiteX558" fmla="*/ 4704015 w 6630249"/>
              <a:gd name="connsiteY558" fmla="*/ 5391402 h 6750795"/>
              <a:gd name="connsiteX559" fmla="*/ 4709144 w 6630249"/>
              <a:gd name="connsiteY559" fmla="*/ 5427310 h 6750795"/>
              <a:gd name="connsiteX560" fmla="*/ 4704015 w 6630249"/>
              <a:gd name="connsiteY560" fmla="*/ 5391402 h 6750795"/>
              <a:gd name="connsiteX561" fmla="*/ 4691191 w 6630249"/>
              <a:gd name="connsiteY561" fmla="*/ 5383705 h 6750795"/>
              <a:gd name="connsiteX562" fmla="*/ 4698885 w 6630249"/>
              <a:gd name="connsiteY562" fmla="*/ 5429874 h 6750795"/>
              <a:gd name="connsiteX563" fmla="*/ 4665542 w 6630249"/>
              <a:gd name="connsiteY563" fmla="*/ 5447829 h 6750795"/>
              <a:gd name="connsiteX564" fmla="*/ 4691191 w 6630249"/>
              <a:gd name="connsiteY564" fmla="*/ 5383705 h 6750795"/>
              <a:gd name="connsiteX565" fmla="*/ 4683496 w 6630249"/>
              <a:gd name="connsiteY565" fmla="*/ 5376012 h 6750795"/>
              <a:gd name="connsiteX566" fmla="*/ 4688625 w 6630249"/>
              <a:gd name="connsiteY566" fmla="*/ 5376012 h 6750795"/>
              <a:gd name="connsiteX567" fmla="*/ 4691190 w 6630249"/>
              <a:gd name="connsiteY567" fmla="*/ 5381141 h 6750795"/>
              <a:gd name="connsiteX568" fmla="*/ 4683496 w 6630249"/>
              <a:gd name="connsiteY568" fmla="*/ 5381141 h 6750795"/>
              <a:gd name="connsiteX569" fmla="*/ 4211555 w 6630249"/>
              <a:gd name="connsiteY569" fmla="*/ 5373447 h 6750795"/>
              <a:gd name="connsiteX570" fmla="*/ 4221815 w 6630249"/>
              <a:gd name="connsiteY570" fmla="*/ 5396531 h 6750795"/>
              <a:gd name="connsiteX571" fmla="*/ 4219250 w 6630249"/>
              <a:gd name="connsiteY571" fmla="*/ 5399096 h 6750795"/>
              <a:gd name="connsiteX572" fmla="*/ 4203861 w 6630249"/>
              <a:gd name="connsiteY572" fmla="*/ 5388836 h 6750795"/>
              <a:gd name="connsiteX573" fmla="*/ 4211555 w 6630249"/>
              <a:gd name="connsiteY573" fmla="*/ 5373447 h 6750795"/>
              <a:gd name="connsiteX574" fmla="*/ 4496259 w 6630249"/>
              <a:gd name="connsiteY574" fmla="*/ 5370883 h 6750795"/>
              <a:gd name="connsiteX575" fmla="*/ 4501388 w 6630249"/>
              <a:gd name="connsiteY575" fmla="*/ 5378577 h 6750795"/>
              <a:gd name="connsiteX576" fmla="*/ 4496259 w 6630249"/>
              <a:gd name="connsiteY576" fmla="*/ 5370883 h 6750795"/>
              <a:gd name="connsiteX577" fmla="*/ 4714045 w 6630249"/>
              <a:gd name="connsiteY577" fmla="*/ 5365602 h 6750795"/>
              <a:gd name="connsiteX578" fmla="*/ 4715878 w 6630249"/>
              <a:gd name="connsiteY578" fmla="*/ 5371523 h 6750795"/>
              <a:gd name="connsiteX579" fmla="*/ 4714275 w 6630249"/>
              <a:gd name="connsiteY579" fmla="*/ 5388836 h 6750795"/>
              <a:gd name="connsiteX580" fmla="*/ 4706580 w 6630249"/>
              <a:gd name="connsiteY580" fmla="*/ 5386271 h 6750795"/>
              <a:gd name="connsiteX581" fmla="*/ 4698886 w 6630249"/>
              <a:gd name="connsiteY581" fmla="*/ 5370882 h 6750795"/>
              <a:gd name="connsiteX582" fmla="*/ 4714275 w 6630249"/>
              <a:gd name="connsiteY582" fmla="*/ 5370882 h 6750795"/>
              <a:gd name="connsiteX583" fmla="*/ 4711710 w 6630249"/>
              <a:gd name="connsiteY583" fmla="*/ 5358058 h 6750795"/>
              <a:gd name="connsiteX584" fmla="*/ 4713954 w 6630249"/>
              <a:gd name="connsiteY584" fmla="*/ 5363508 h 6750795"/>
              <a:gd name="connsiteX585" fmla="*/ 4714045 w 6630249"/>
              <a:gd name="connsiteY585" fmla="*/ 5365602 h 6750795"/>
              <a:gd name="connsiteX586" fmla="*/ 4481297 w 6630249"/>
              <a:gd name="connsiteY586" fmla="*/ 5334832 h 6750795"/>
              <a:gd name="connsiteX587" fmla="*/ 4480870 w 6630249"/>
              <a:gd name="connsiteY587" fmla="*/ 5334974 h 6750795"/>
              <a:gd name="connsiteX588" fmla="*/ 4480532 w 6630249"/>
              <a:gd name="connsiteY588" fmla="*/ 5336616 h 6750795"/>
              <a:gd name="connsiteX589" fmla="*/ 4421875 w 6630249"/>
              <a:gd name="connsiteY589" fmla="*/ 5332408 h 6750795"/>
              <a:gd name="connsiteX590" fmla="*/ 4439830 w 6630249"/>
              <a:gd name="connsiteY590" fmla="*/ 5337537 h 6750795"/>
              <a:gd name="connsiteX591" fmla="*/ 4442396 w 6630249"/>
              <a:gd name="connsiteY591" fmla="*/ 5368316 h 6750795"/>
              <a:gd name="connsiteX592" fmla="*/ 4452655 w 6630249"/>
              <a:gd name="connsiteY592" fmla="*/ 5347797 h 6750795"/>
              <a:gd name="connsiteX593" fmla="*/ 4483434 w 6630249"/>
              <a:gd name="connsiteY593" fmla="*/ 5365751 h 6750795"/>
              <a:gd name="connsiteX594" fmla="*/ 4452655 w 6630249"/>
              <a:gd name="connsiteY594" fmla="*/ 5368316 h 6750795"/>
              <a:gd name="connsiteX595" fmla="*/ 4485999 w 6630249"/>
              <a:gd name="connsiteY595" fmla="*/ 5388835 h 6750795"/>
              <a:gd name="connsiteX596" fmla="*/ 4488563 w 6630249"/>
              <a:gd name="connsiteY596" fmla="*/ 5406789 h 6750795"/>
              <a:gd name="connsiteX597" fmla="*/ 4485999 w 6630249"/>
              <a:gd name="connsiteY597" fmla="*/ 5440133 h 6750795"/>
              <a:gd name="connsiteX598" fmla="*/ 4498823 w 6630249"/>
              <a:gd name="connsiteY598" fmla="*/ 5427309 h 6750795"/>
              <a:gd name="connsiteX599" fmla="*/ 4519342 w 6630249"/>
              <a:gd name="connsiteY599" fmla="*/ 5519645 h 6750795"/>
              <a:gd name="connsiteX600" fmla="*/ 4496258 w 6630249"/>
              <a:gd name="connsiteY600" fmla="*/ 5542729 h 6750795"/>
              <a:gd name="connsiteX601" fmla="*/ 4493693 w 6630249"/>
              <a:gd name="connsiteY601" fmla="*/ 5514515 h 6750795"/>
              <a:gd name="connsiteX602" fmla="*/ 4478304 w 6630249"/>
              <a:gd name="connsiteY602" fmla="*/ 5545293 h 6750795"/>
              <a:gd name="connsiteX603" fmla="*/ 4462914 w 6630249"/>
              <a:gd name="connsiteY603" fmla="*/ 5524775 h 6750795"/>
              <a:gd name="connsiteX604" fmla="*/ 4465479 w 6630249"/>
              <a:gd name="connsiteY604" fmla="*/ 5486301 h 6750795"/>
              <a:gd name="connsiteX605" fmla="*/ 4434701 w 6630249"/>
              <a:gd name="connsiteY605" fmla="*/ 5509385 h 6750795"/>
              <a:gd name="connsiteX606" fmla="*/ 4432135 w 6630249"/>
              <a:gd name="connsiteY606" fmla="*/ 5450393 h 6750795"/>
              <a:gd name="connsiteX607" fmla="*/ 4427005 w 6630249"/>
              <a:gd name="connsiteY607" fmla="*/ 5447828 h 6750795"/>
              <a:gd name="connsiteX608" fmla="*/ 4421875 w 6630249"/>
              <a:gd name="connsiteY608" fmla="*/ 5332408 h 6750795"/>
              <a:gd name="connsiteX609" fmla="*/ 4403923 w 6630249"/>
              <a:gd name="connsiteY609" fmla="*/ 5317020 h 6750795"/>
              <a:gd name="connsiteX610" fmla="*/ 4409053 w 6630249"/>
              <a:gd name="connsiteY610" fmla="*/ 5324714 h 6750795"/>
              <a:gd name="connsiteX611" fmla="*/ 4403923 w 6630249"/>
              <a:gd name="connsiteY611" fmla="*/ 5317020 h 6750795"/>
              <a:gd name="connsiteX612" fmla="*/ 4668106 w 6630249"/>
              <a:gd name="connsiteY612" fmla="*/ 5309324 h 6750795"/>
              <a:gd name="connsiteX613" fmla="*/ 4686060 w 6630249"/>
              <a:gd name="connsiteY613" fmla="*/ 5360623 h 6750795"/>
              <a:gd name="connsiteX614" fmla="*/ 4678366 w 6630249"/>
              <a:gd name="connsiteY614" fmla="*/ 5370882 h 6750795"/>
              <a:gd name="connsiteX615" fmla="*/ 4668106 w 6630249"/>
              <a:gd name="connsiteY615" fmla="*/ 5309324 h 6750795"/>
              <a:gd name="connsiteX616" fmla="*/ 4427007 w 6630249"/>
              <a:gd name="connsiteY616" fmla="*/ 5299066 h 6750795"/>
              <a:gd name="connsiteX617" fmla="*/ 4437266 w 6630249"/>
              <a:gd name="connsiteY617" fmla="*/ 5317020 h 6750795"/>
              <a:gd name="connsiteX618" fmla="*/ 4427007 w 6630249"/>
              <a:gd name="connsiteY618" fmla="*/ 5299066 h 6750795"/>
              <a:gd name="connsiteX619" fmla="*/ 3342303 w 6630249"/>
              <a:gd name="connsiteY619" fmla="*/ 5277838 h 6750795"/>
              <a:gd name="connsiteX620" fmla="*/ 3357723 w 6630249"/>
              <a:gd name="connsiteY620" fmla="*/ 5294453 h 6750795"/>
              <a:gd name="connsiteX621" fmla="*/ 3343018 w 6630249"/>
              <a:gd name="connsiteY621" fmla="*/ 5280470 h 6750795"/>
              <a:gd name="connsiteX622" fmla="*/ 3133288 w 6630249"/>
              <a:gd name="connsiteY622" fmla="*/ 5261808 h 6750795"/>
              <a:gd name="connsiteX623" fmla="*/ 3134299 w 6630249"/>
              <a:gd name="connsiteY623" fmla="*/ 5263157 h 6750795"/>
              <a:gd name="connsiteX624" fmla="*/ 3119983 w 6630249"/>
              <a:gd name="connsiteY624" fmla="*/ 5287742 h 6750795"/>
              <a:gd name="connsiteX625" fmla="*/ 3125923 w 6630249"/>
              <a:gd name="connsiteY625" fmla="*/ 5272255 h 6750795"/>
              <a:gd name="connsiteX626" fmla="*/ 4668106 w 6630249"/>
              <a:gd name="connsiteY626" fmla="*/ 5252896 h 6750795"/>
              <a:gd name="connsiteX627" fmla="*/ 4675801 w 6630249"/>
              <a:gd name="connsiteY627" fmla="*/ 5304195 h 6750795"/>
              <a:gd name="connsiteX628" fmla="*/ 4668106 w 6630249"/>
              <a:gd name="connsiteY628" fmla="*/ 5252896 h 6750795"/>
              <a:gd name="connsiteX629" fmla="*/ 4226945 w 6630249"/>
              <a:gd name="connsiteY629" fmla="*/ 5252896 h 6750795"/>
              <a:gd name="connsiteX630" fmla="*/ 4230912 w 6630249"/>
              <a:gd name="connsiteY630" fmla="*/ 5266501 h 6750795"/>
              <a:gd name="connsiteX631" fmla="*/ 4231659 w 6630249"/>
              <a:gd name="connsiteY631" fmla="*/ 5254468 h 6750795"/>
              <a:gd name="connsiteX632" fmla="*/ 4230792 w 6630249"/>
              <a:gd name="connsiteY632" fmla="*/ 5254179 h 6750795"/>
              <a:gd name="connsiteX633" fmla="*/ 4226945 w 6630249"/>
              <a:gd name="connsiteY633" fmla="*/ 5252896 h 6750795"/>
              <a:gd name="connsiteX634" fmla="*/ 4462915 w 6630249"/>
              <a:gd name="connsiteY634" fmla="*/ 5222118 h 6750795"/>
              <a:gd name="connsiteX635" fmla="*/ 4488564 w 6630249"/>
              <a:gd name="connsiteY635" fmla="*/ 5332409 h 6750795"/>
              <a:gd name="connsiteX636" fmla="*/ 4483848 w 6630249"/>
              <a:gd name="connsiteY636" fmla="*/ 5333981 h 6750795"/>
              <a:gd name="connsiteX637" fmla="*/ 4486000 w 6630249"/>
              <a:gd name="connsiteY637" fmla="*/ 5355493 h 6750795"/>
              <a:gd name="connsiteX638" fmla="*/ 4478446 w 6630249"/>
              <a:gd name="connsiteY638" fmla="*/ 5349827 h 6750795"/>
              <a:gd name="connsiteX639" fmla="*/ 4478305 w 6630249"/>
              <a:gd name="connsiteY639" fmla="*/ 5352928 h 6750795"/>
              <a:gd name="connsiteX640" fmla="*/ 4447526 w 6630249"/>
              <a:gd name="connsiteY640" fmla="*/ 5324715 h 6750795"/>
              <a:gd name="connsiteX641" fmla="*/ 4460350 w 6630249"/>
              <a:gd name="connsiteY641" fmla="*/ 5293936 h 6750795"/>
              <a:gd name="connsiteX642" fmla="*/ 4447526 w 6630249"/>
              <a:gd name="connsiteY642" fmla="*/ 5301630 h 6750795"/>
              <a:gd name="connsiteX643" fmla="*/ 4442396 w 6630249"/>
              <a:gd name="connsiteY643" fmla="*/ 5291371 h 6750795"/>
              <a:gd name="connsiteX644" fmla="*/ 4473175 w 6630249"/>
              <a:gd name="connsiteY644" fmla="*/ 5273417 h 6750795"/>
              <a:gd name="connsiteX645" fmla="*/ 4429571 w 6630249"/>
              <a:gd name="connsiteY645" fmla="*/ 5278546 h 6750795"/>
              <a:gd name="connsiteX646" fmla="*/ 4437266 w 6630249"/>
              <a:gd name="connsiteY646" fmla="*/ 5237507 h 6750795"/>
              <a:gd name="connsiteX647" fmla="*/ 4462915 w 6630249"/>
              <a:gd name="connsiteY647" fmla="*/ 5222118 h 6750795"/>
              <a:gd name="connsiteX648" fmla="*/ 2214364 w 6630249"/>
              <a:gd name="connsiteY648" fmla="*/ 5202591 h 6750795"/>
              <a:gd name="connsiteX649" fmla="*/ 2203244 w 6630249"/>
              <a:gd name="connsiteY649" fmla="*/ 5211857 h 6750795"/>
              <a:gd name="connsiteX650" fmla="*/ 2200680 w 6630249"/>
              <a:gd name="connsiteY650" fmla="*/ 5206728 h 6750795"/>
              <a:gd name="connsiteX651" fmla="*/ 3252284 w 6630249"/>
              <a:gd name="connsiteY651" fmla="*/ 5193905 h 6750795"/>
              <a:gd name="connsiteX652" fmla="*/ 3239460 w 6630249"/>
              <a:gd name="connsiteY652" fmla="*/ 5204165 h 6750795"/>
              <a:gd name="connsiteX653" fmla="*/ 3244589 w 6630249"/>
              <a:gd name="connsiteY653" fmla="*/ 5211859 h 6750795"/>
              <a:gd name="connsiteX654" fmla="*/ 3293322 w 6630249"/>
              <a:gd name="connsiteY654" fmla="*/ 5263157 h 6750795"/>
              <a:gd name="connsiteX655" fmla="*/ 3419002 w 6630249"/>
              <a:gd name="connsiteY655" fmla="*/ 5358058 h 6750795"/>
              <a:gd name="connsiteX656" fmla="*/ 3444651 w 6630249"/>
              <a:gd name="connsiteY656" fmla="*/ 5360623 h 6750795"/>
              <a:gd name="connsiteX657" fmla="*/ 3539552 w 6630249"/>
              <a:gd name="connsiteY657" fmla="*/ 5329844 h 6750795"/>
              <a:gd name="connsiteX658" fmla="*/ 3547247 w 6630249"/>
              <a:gd name="connsiteY658" fmla="*/ 5327279 h 6750795"/>
              <a:gd name="connsiteX659" fmla="*/ 3544682 w 6630249"/>
              <a:gd name="connsiteY659" fmla="*/ 5314455 h 6750795"/>
              <a:gd name="connsiteX660" fmla="*/ 3493384 w 6630249"/>
              <a:gd name="connsiteY660" fmla="*/ 5324715 h 6750795"/>
              <a:gd name="connsiteX661" fmla="*/ 3431827 w 6630249"/>
              <a:gd name="connsiteY661" fmla="*/ 5332409 h 6750795"/>
              <a:gd name="connsiteX662" fmla="*/ 3367063 w 6630249"/>
              <a:gd name="connsiteY662" fmla="*/ 5304516 h 6750795"/>
              <a:gd name="connsiteX663" fmla="*/ 3357723 w 6630249"/>
              <a:gd name="connsiteY663" fmla="*/ 5294453 h 6750795"/>
              <a:gd name="connsiteX664" fmla="*/ 3362576 w 6630249"/>
              <a:gd name="connsiteY664" fmla="*/ 5299066 h 6750795"/>
              <a:gd name="connsiteX665" fmla="*/ 3429262 w 6630249"/>
              <a:gd name="connsiteY665" fmla="*/ 5319585 h 6750795"/>
              <a:gd name="connsiteX666" fmla="*/ 3460041 w 6630249"/>
              <a:gd name="connsiteY666" fmla="*/ 5314455 h 6750795"/>
              <a:gd name="connsiteX667" fmla="*/ 3457475 w 6630249"/>
              <a:gd name="connsiteY667" fmla="*/ 5301630 h 6750795"/>
              <a:gd name="connsiteX668" fmla="*/ 3352315 w 6630249"/>
              <a:gd name="connsiteY668" fmla="*/ 5260592 h 6750795"/>
              <a:gd name="connsiteX669" fmla="*/ 3360009 w 6630249"/>
              <a:gd name="connsiteY669" fmla="*/ 5242638 h 6750795"/>
              <a:gd name="connsiteX670" fmla="*/ 3347185 w 6630249"/>
              <a:gd name="connsiteY670" fmla="*/ 5245203 h 6750795"/>
              <a:gd name="connsiteX671" fmla="*/ 3349750 w 6630249"/>
              <a:gd name="connsiteY671" fmla="*/ 5258027 h 6750795"/>
              <a:gd name="connsiteX672" fmla="*/ 3347185 w 6630249"/>
              <a:gd name="connsiteY672" fmla="*/ 5255463 h 6750795"/>
              <a:gd name="connsiteX673" fmla="*/ 3336926 w 6630249"/>
              <a:gd name="connsiteY673" fmla="*/ 5245203 h 6750795"/>
              <a:gd name="connsiteX674" fmla="*/ 3336926 w 6630249"/>
              <a:gd name="connsiteY674" fmla="*/ 5258027 h 6750795"/>
              <a:gd name="connsiteX675" fmla="*/ 3342303 w 6630249"/>
              <a:gd name="connsiteY675" fmla="*/ 5277838 h 6750795"/>
              <a:gd name="connsiteX676" fmla="*/ 3321536 w 6630249"/>
              <a:gd name="connsiteY676" fmla="*/ 5255463 h 6750795"/>
              <a:gd name="connsiteX677" fmla="*/ 3257414 w 6630249"/>
              <a:gd name="connsiteY677" fmla="*/ 5193905 h 6750795"/>
              <a:gd name="connsiteX678" fmla="*/ 2231886 w 6630249"/>
              <a:gd name="connsiteY678" fmla="*/ 5188900 h 6750795"/>
              <a:gd name="connsiteX679" fmla="*/ 2228453 w 6630249"/>
              <a:gd name="connsiteY679" fmla="*/ 5191940 h 6750795"/>
              <a:gd name="connsiteX680" fmla="*/ 2214466 w 6630249"/>
              <a:gd name="connsiteY680" fmla="*/ 5202560 h 6750795"/>
              <a:gd name="connsiteX681" fmla="*/ 2214364 w 6630249"/>
              <a:gd name="connsiteY681" fmla="*/ 5202591 h 6750795"/>
              <a:gd name="connsiteX682" fmla="*/ 2218633 w 6630249"/>
              <a:gd name="connsiteY682" fmla="*/ 5199033 h 6750795"/>
              <a:gd name="connsiteX683" fmla="*/ 4462915 w 6630249"/>
              <a:gd name="connsiteY683" fmla="*/ 5183645 h 6750795"/>
              <a:gd name="connsiteX684" fmla="*/ 4465480 w 6630249"/>
              <a:gd name="connsiteY684" fmla="*/ 5206729 h 6750795"/>
              <a:gd name="connsiteX685" fmla="*/ 4462915 w 6630249"/>
              <a:gd name="connsiteY685" fmla="*/ 5183645 h 6750795"/>
              <a:gd name="connsiteX686" fmla="*/ 2205820 w 6630249"/>
              <a:gd name="connsiteY686" fmla="*/ 5145570 h 6750795"/>
              <a:gd name="connsiteX687" fmla="*/ 2167335 w 6630249"/>
              <a:gd name="connsiteY687" fmla="*/ 5178516 h 6750795"/>
              <a:gd name="connsiteX688" fmla="*/ 2164769 w 6630249"/>
              <a:gd name="connsiteY688" fmla="*/ 5173386 h 6750795"/>
              <a:gd name="connsiteX689" fmla="*/ 4427007 w 6630249"/>
              <a:gd name="connsiteY689" fmla="*/ 5145171 h 6750795"/>
              <a:gd name="connsiteX690" fmla="*/ 4460351 w 6630249"/>
              <a:gd name="connsiteY690" fmla="*/ 5209294 h 6750795"/>
              <a:gd name="connsiteX691" fmla="*/ 4429572 w 6630249"/>
              <a:gd name="connsiteY691" fmla="*/ 5219553 h 6750795"/>
              <a:gd name="connsiteX692" fmla="*/ 4427007 w 6630249"/>
              <a:gd name="connsiteY692" fmla="*/ 5145171 h 6750795"/>
              <a:gd name="connsiteX693" fmla="*/ 4688626 w 6630249"/>
              <a:gd name="connsiteY693" fmla="*/ 5134912 h 6750795"/>
              <a:gd name="connsiteX694" fmla="*/ 4691191 w 6630249"/>
              <a:gd name="connsiteY694" fmla="*/ 5142606 h 6750795"/>
              <a:gd name="connsiteX695" fmla="*/ 4688626 w 6630249"/>
              <a:gd name="connsiteY695" fmla="*/ 5134912 h 6750795"/>
              <a:gd name="connsiteX696" fmla="*/ 1654357 w 6630249"/>
              <a:gd name="connsiteY696" fmla="*/ 5119523 h 6750795"/>
              <a:gd name="connsiteX697" fmla="*/ 1664616 w 6630249"/>
              <a:gd name="connsiteY697" fmla="*/ 5119523 h 6750795"/>
              <a:gd name="connsiteX698" fmla="*/ 1667181 w 6630249"/>
              <a:gd name="connsiteY698" fmla="*/ 5132347 h 6750795"/>
              <a:gd name="connsiteX699" fmla="*/ 1656922 w 6630249"/>
              <a:gd name="connsiteY699" fmla="*/ 5134912 h 6750795"/>
              <a:gd name="connsiteX700" fmla="*/ 1654357 w 6630249"/>
              <a:gd name="connsiteY700" fmla="*/ 5119523 h 6750795"/>
              <a:gd name="connsiteX701" fmla="*/ 2953772 w 6630249"/>
              <a:gd name="connsiteY701" fmla="*/ 5119068 h 6750795"/>
              <a:gd name="connsiteX702" fmla="*/ 2935520 w 6630249"/>
              <a:gd name="connsiteY702" fmla="*/ 5132027 h 6750795"/>
              <a:gd name="connsiteX703" fmla="*/ 2895764 w 6630249"/>
              <a:gd name="connsiteY703" fmla="*/ 5145172 h 6750795"/>
              <a:gd name="connsiteX704" fmla="*/ 2895051 w 6630249"/>
              <a:gd name="connsiteY704" fmla="*/ 5143389 h 6750795"/>
              <a:gd name="connsiteX705" fmla="*/ 4442396 w 6630249"/>
              <a:gd name="connsiteY705" fmla="*/ 5111828 h 6750795"/>
              <a:gd name="connsiteX706" fmla="*/ 4444961 w 6630249"/>
              <a:gd name="connsiteY706" fmla="*/ 5137477 h 6750795"/>
              <a:gd name="connsiteX707" fmla="*/ 4442396 w 6630249"/>
              <a:gd name="connsiteY707" fmla="*/ 5111828 h 6750795"/>
              <a:gd name="connsiteX708" fmla="*/ 4651117 w 6630249"/>
              <a:gd name="connsiteY708" fmla="*/ 5110086 h 6750795"/>
              <a:gd name="connsiteX709" fmla="*/ 4653136 w 6630249"/>
              <a:gd name="connsiteY709" fmla="*/ 5119845 h 6750795"/>
              <a:gd name="connsiteX710" fmla="*/ 4652717 w 6630249"/>
              <a:gd name="connsiteY710" fmla="*/ 5114393 h 6750795"/>
              <a:gd name="connsiteX711" fmla="*/ 1751823 w 6630249"/>
              <a:gd name="connsiteY711" fmla="*/ 5093874 h 6750795"/>
              <a:gd name="connsiteX712" fmla="*/ 1762082 w 6630249"/>
              <a:gd name="connsiteY712" fmla="*/ 5122087 h 6750795"/>
              <a:gd name="connsiteX713" fmla="*/ 1759517 w 6630249"/>
              <a:gd name="connsiteY713" fmla="*/ 5122087 h 6750795"/>
              <a:gd name="connsiteX714" fmla="*/ 1751823 w 6630249"/>
              <a:gd name="connsiteY714" fmla="*/ 5093874 h 6750795"/>
              <a:gd name="connsiteX715" fmla="*/ 3019928 w 6630249"/>
              <a:gd name="connsiteY715" fmla="*/ 5090621 h 6750795"/>
              <a:gd name="connsiteX716" fmla="*/ 3009181 w 6630249"/>
              <a:gd name="connsiteY716" fmla="*/ 5096118 h 6750795"/>
              <a:gd name="connsiteX717" fmla="*/ 2953772 w 6630249"/>
              <a:gd name="connsiteY717" fmla="*/ 5119068 h 6750795"/>
              <a:gd name="connsiteX718" fmla="*/ 2967581 w 6630249"/>
              <a:gd name="connsiteY718" fmla="*/ 5109263 h 6750795"/>
              <a:gd name="connsiteX719" fmla="*/ 2282526 w 6630249"/>
              <a:gd name="connsiteY719" fmla="*/ 5079907 h 6750795"/>
              <a:gd name="connsiteX720" fmla="*/ 2278907 w 6630249"/>
              <a:gd name="connsiteY720" fmla="*/ 5084256 h 6750795"/>
              <a:gd name="connsiteX721" fmla="*/ 2225927 w 6630249"/>
              <a:gd name="connsiteY721" fmla="*/ 5131947 h 6750795"/>
              <a:gd name="connsiteX722" fmla="*/ 2205820 w 6630249"/>
              <a:gd name="connsiteY722" fmla="*/ 5145570 h 6750795"/>
              <a:gd name="connsiteX723" fmla="*/ 2447871 w 6630249"/>
              <a:gd name="connsiteY723" fmla="*/ 5044996 h 6750795"/>
              <a:gd name="connsiteX724" fmla="*/ 2438357 w 6630249"/>
              <a:gd name="connsiteY724" fmla="*/ 5062084 h 6750795"/>
              <a:gd name="connsiteX725" fmla="*/ 2401060 w 6630249"/>
              <a:gd name="connsiteY725" fmla="*/ 5110546 h 6750795"/>
              <a:gd name="connsiteX726" fmla="*/ 2395045 w 6630249"/>
              <a:gd name="connsiteY726" fmla="*/ 5115894 h 6750795"/>
              <a:gd name="connsiteX727" fmla="*/ 2314772 w 6630249"/>
              <a:gd name="connsiteY727" fmla="*/ 5041154 h 6750795"/>
              <a:gd name="connsiteX728" fmla="*/ 2292053 w 6630249"/>
              <a:gd name="connsiteY728" fmla="*/ 5071752 h 6750795"/>
              <a:gd name="connsiteX729" fmla="*/ 2282526 w 6630249"/>
              <a:gd name="connsiteY729" fmla="*/ 5079907 h 6750795"/>
              <a:gd name="connsiteX730" fmla="*/ 4442396 w 6630249"/>
              <a:gd name="connsiteY730" fmla="*/ 5032316 h 6750795"/>
              <a:gd name="connsiteX731" fmla="*/ 4442396 w 6630249"/>
              <a:gd name="connsiteY731" fmla="*/ 5101569 h 6750795"/>
              <a:gd name="connsiteX732" fmla="*/ 4429572 w 6630249"/>
              <a:gd name="connsiteY732" fmla="*/ 5111829 h 6750795"/>
              <a:gd name="connsiteX733" fmla="*/ 4442396 w 6630249"/>
              <a:gd name="connsiteY733" fmla="*/ 5032316 h 6750795"/>
              <a:gd name="connsiteX734" fmla="*/ 4427006 w 6630249"/>
              <a:gd name="connsiteY734" fmla="*/ 5029751 h 6750795"/>
              <a:gd name="connsiteX735" fmla="*/ 4409052 w 6630249"/>
              <a:gd name="connsiteY735" fmla="*/ 5101569 h 6750795"/>
              <a:gd name="connsiteX736" fmla="*/ 4406487 w 6630249"/>
              <a:gd name="connsiteY736" fmla="*/ 5086179 h 6750795"/>
              <a:gd name="connsiteX737" fmla="*/ 4396227 w 6630249"/>
              <a:gd name="connsiteY737" fmla="*/ 5093874 h 6750795"/>
              <a:gd name="connsiteX738" fmla="*/ 4393662 w 6630249"/>
              <a:gd name="connsiteY738" fmla="*/ 5078485 h 6750795"/>
              <a:gd name="connsiteX739" fmla="*/ 4385968 w 6630249"/>
              <a:gd name="connsiteY739" fmla="*/ 5081050 h 6750795"/>
              <a:gd name="connsiteX740" fmla="*/ 4393662 w 6630249"/>
              <a:gd name="connsiteY740" fmla="*/ 5034880 h 6750795"/>
              <a:gd name="connsiteX741" fmla="*/ 4427006 w 6630249"/>
              <a:gd name="connsiteY741" fmla="*/ 5029751 h 6750795"/>
              <a:gd name="connsiteX742" fmla="*/ 2329211 w 6630249"/>
              <a:gd name="connsiteY742" fmla="*/ 5021708 h 6750795"/>
              <a:gd name="connsiteX743" fmla="*/ 2324194 w 6630249"/>
              <a:gd name="connsiteY743" fmla="*/ 5029832 h 6750795"/>
              <a:gd name="connsiteX744" fmla="*/ 2314772 w 6630249"/>
              <a:gd name="connsiteY744" fmla="*/ 5041154 h 6750795"/>
              <a:gd name="connsiteX745" fmla="*/ 1900587 w 6630249"/>
              <a:gd name="connsiteY745" fmla="*/ 4998972 h 6750795"/>
              <a:gd name="connsiteX746" fmla="*/ 1915976 w 6630249"/>
              <a:gd name="connsiteY746" fmla="*/ 5081049 h 6750795"/>
              <a:gd name="connsiteX747" fmla="*/ 1910846 w 6630249"/>
              <a:gd name="connsiteY747" fmla="*/ 5088744 h 6750795"/>
              <a:gd name="connsiteX748" fmla="*/ 1908281 w 6630249"/>
              <a:gd name="connsiteY748" fmla="*/ 5086179 h 6750795"/>
              <a:gd name="connsiteX749" fmla="*/ 1900587 w 6630249"/>
              <a:gd name="connsiteY749" fmla="*/ 4998972 h 6750795"/>
              <a:gd name="connsiteX750" fmla="*/ 4342365 w 6630249"/>
              <a:gd name="connsiteY750" fmla="*/ 4983584 h 6750795"/>
              <a:gd name="connsiteX751" fmla="*/ 4339801 w 6630249"/>
              <a:gd name="connsiteY751" fmla="*/ 4991278 h 6750795"/>
              <a:gd name="connsiteX752" fmla="*/ 4342365 w 6630249"/>
              <a:gd name="connsiteY752" fmla="*/ 4983584 h 6750795"/>
              <a:gd name="connsiteX753" fmla="*/ 2428954 w 6630249"/>
              <a:gd name="connsiteY753" fmla="*/ 4973323 h 6750795"/>
              <a:gd name="connsiteX754" fmla="*/ 2278908 w 6630249"/>
              <a:gd name="connsiteY754" fmla="*/ 5152946 h 6750795"/>
              <a:gd name="connsiteX755" fmla="*/ 2231886 w 6630249"/>
              <a:gd name="connsiteY755" fmla="*/ 5188900 h 6750795"/>
              <a:gd name="connsiteX756" fmla="*/ 2249412 w 6630249"/>
              <a:gd name="connsiteY756" fmla="*/ 5173384 h 6750795"/>
              <a:gd name="connsiteX757" fmla="*/ 2251977 w 6630249"/>
              <a:gd name="connsiteY757" fmla="*/ 5170819 h 6750795"/>
              <a:gd name="connsiteX758" fmla="*/ 2428954 w 6630249"/>
              <a:gd name="connsiteY758" fmla="*/ 4973323 h 6750795"/>
              <a:gd name="connsiteX759" fmla="*/ 2057046 w 6630249"/>
              <a:gd name="connsiteY759" fmla="*/ 4950239 h 6750795"/>
              <a:gd name="connsiteX760" fmla="*/ 2013443 w 6630249"/>
              <a:gd name="connsiteY760" fmla="*/ 5006667 h 6750795"/>
              <a:gd name="connsiteX761" fmla="*/ 2010878 w 6630249"/>
              <a:gd name="connsiteY761" fmla="*/ 4988713 h 6750795"/>
              <a:gd name="connsiteX762" fmla="*/ 2057046 w 6630249"/>
              <a:gd name="connsiteY762" fmla="*/ 4950239 h 6750795"/>
              <a:gd name="connsiteX763" fmla="*/ 2613627 w 6630249"/>
              <a:gd name="connsiteY763" fmla="*/ 4924591 h 6750795"/>
              <a:gd name="connsiteX764" fmla="*/ 2457167 w 6630249"/>
              <a:gd name="connsiteY764" fmla="*/ 5088745 h 6750795"/>
              <a:gd name="connsiteX765" fmla="*/ 2277625 w 6630249"/>
              <a:gd name="connsiteY765" fmla="*/ 5263157 h 6750795"/>
              <a:gd name="connsiteX766" fmla="*/ 2280190 w 6630249"/>
              <a:gd name="connsiteY766" fmla="*/ 5275982 h 6750795"/>
              <a:gd name="connsiteX767" fmla="*/ 2503335 w 6630249"/>
              <a:gd name="connsiteY767" fmla="*/ 5081050 h 6750795"/>
              <a:gd name="connsiteX768" fmla="*/ 2621320 w 6630249"/>
              <a:gd name="connsiteY768" fmla="*/ 4934851 h 6750795"/>
              <a:gd name="connsiteX769" fmla="*/ 2478030 w 6630249"/>
              <a:gd name="connsiteY769" fmla="*/ 4923250 h 6750795"/>
              <a:gd name="connsiteX770" fmla="*/ 2465824 w 6630249"/>
              <a:gd name="connsiteY770" fmla="*/ 4964988 h 6750795"/>
              <a:gd name="connsiteX771" fmla="*/ 2418694 w 6630249"/>
              <a:gd name="connsiteY771" fmla="*/ 5047706 h 6750795"/>
              <a:gd name="connsiteX772" fmla="*/ 2464863 w 6630249"/>
              <a:gd name="connsiteY772" fmla="*/ 4945110 h 6750795"/>
              <a:gd name="connsiteX773" fmla="*/ 2474801 w 6630249"/>
              <a:gd name="connsiteY773" fmla="*/ 4932606 h 6750795"/>
              <a:gd name="connsiteX774" fmla="*/ 2484382 w 6630249"/>
              <a:gd name="connsiteY774" fmla="*/ 4901533 h 6750795"/>
              <a:gd name="connsiteX775" fmla="*/ 2481814 w 6630249"/>
              <a:gd name="connsiteY775" fmla="*/ 4912287 h 6750795"/>
              <a:gd name="connsiteX776" fmla="*/ 2478030 w 6630249"/>
              <a:gd name="connsiteY776" fmla="*/ 4923250 h 6750795"/>
              <a:gd name="connsiteX777" fmla="*/ 1985229 w 6630249"/>
              <a:gd name="connsiteY777" fmla="*/ 4886117 h 6750795"/>
              <a:gd name="connsiteX778" fmla="*/ 1985229 w 6630249"/>
              <a:gd name="connsiteY778" fmla="*/ 4893812 h 6750795"/>
              <a:gd name="connsiteX779" fmla="*/ 1941626 w 6630249"/>
              <a:gd name="connsiteY779" fmla="*/ 4947675 h 6750795"/>
              <a:gd name="connsiteX780" fmla="*/ 1969839 w 6630249"/>
              <a:gd name="connsiteY780" fmla="*/ 4901507 h 6750795"/>
              <a:gd name="connsiteX781" fmla="*/ 1985229 w 6630249"/>
              <a:gd name="connsiteY781" fmla="*/ 4886117 h 6750795"/>
              <a:gd name="connsiteX782" fmla="*/ 1692832 w 6630249"/>
              <a:gd name="connsiteY782" fmla="*/ 4868163 h 6750795"/>
              <a:gd name="connsiteX783" fmla="*/ 1692832 w 6630249"/>
              <a:gd name="connsiteY783" fmla="*/ 4880987 h 6750795"/>
              <a:gd name="connsiteX784" fmla="*/ 1713350 w 6630249"/>
              <a:gd name="connsiteY784" fmla="*/ 4968193 h 6750795"/>
              <a:gd name="connsiteX785" fmla="*/ 1718480 w 6630249"/>
              <a:gd name="connsiteY785" fmla="*/ 5106698 h 6750795"/>
              <a:gd name="connsiteX786" fmla="*/ 1692832 w 6630249"/>
              <a:gd name="connsiteY786" fmla="*/ 5088744 h 6750795"/>
              <a:gd name="connsiteX787" fmla="*/ 1682571 w 6630249"/>
              <a:gd name="connsiteY787" fmla="*/ 4911766 h 6750795"/>
              <a:gd name="connsiteX788" fmla="*/ 1692832 w 6630249"/>
              <a:gd name="connsiteY788" fmla="*/ 4868163 h 6750795"/>
              <a:gd name="connsiteX789" fmla="*/ 1862114 w 6630249"/>
              <a:gd name="connsiteY789" fmla="*/ 4857903 h 6750795"/>
              <a:gd name="connsiteX790" fmla="*/ 1864678 w 6630249"/>
              <a:gd name="connsiteY790" fmla="*/ 4860467 h 6750795"/>
              <a:gd name="connsiteX791" fmla="*/ 1872373 w 6630249"/>
              <a:gd name="connsiteY791" fmla="*/ 5086178 h 6750795"/>
              <a:gd name="connsiteX792" fmla="*/ 1862114 w 6630249"/>
              <a:gd name="connsiteY792" fmla="*/ 5088743 h 6750795"/>
              <a:gd name="connsiteX793" fmla="*/ 1862114 w 6630249"/>
              <a:gd name="connsiteY793" fmla="*/ 4857903 h 6750795"/>
              <a:gd name="connsiteX794" fmla="*/ 5525101 w 6630249"/>
              <a:gd name="connsiteY794" fmla="*/ 4816224 h 6750795"/>
              <a:gd name="connsiteX795" fmla="*/ 5529910 w 6630249"/>
              <a:gd name="connsiteY795" fmla="*/ 4816865 h 6750795"/>
              <a:gd name="connsiteX796" fmla="*/ 5522216 w 6630249"/>
              <a:gd name="connsiteY796" fmla="*/ 4819430 h 6750795"/>
              <a:gd name="connsiteX797" fmla="*/ 5525101 w 6630249"/>
              <a:gd name="connsiteY797" fmla="*/ 4816224 h 6750795"/>
              <a:gd name="connsiteX798" fmla="*/ 5507147 w 6630249"/>
              <a:gd name="connsiteY798" fmla="*/ 4813660 h 6750795"/>
              <a:gd name="connsiteX799" fmla="*/ 5511956 w 6630249"/>
              <a:gd name="connsiteY799" fmla="*/ 4814301 h 6750795"/>
              <a:gd name="connsiteX800" fmla="*/ 5504262 w 6630249"/>
              <a:gd name="connsiteY800" fmla="*/ 4816866 h 6750795"/>
              <a:gd name="connsiteX801" fmla="*/ 5507147 w 6630249"/>
              <a:gd name="connsiteY801" fmla="*/ 4813660 h 6750795"/>
              <a:gd name="connsiteX802" fmla="*/ 5706888 w 6630249"/>
              <a:gd name="connsiteY802" fmla="*/ 4811736 h 6750795"/>
              <a:gd name="connsiteX803" fmla="*/ 5719713 w 6630249"/>
              <a:gd name="connsiteY803" fmla="*/ 4814300 h 6750795"/>
              <a:gd name="connsiteX804" fmla="*/ 5704324 w 6630249"/>
              <a:gd name="connsiteY804" fmla="*/ 4819430 h 6750795"/>
              <a:gd name="connsiteX805" fmla="*/ 5706888 w 6630249"/>
              <a:gd name="connsiteY805" fmla="*/ 4811736 h 6750795"/>
              <a:gd name="connsiteX806" fmla="*/ 5629941 w 6630249"/>
              <a:gd name="connsiteY806" fmla="*/ 4811736 h 6750795"/>
              <a:gd name="connsiteX807" fmla="*/ 5642765 w 6630249"/>
              <a:gd name="connsiteY807" fmla="*/ 4816865 h 6750795"/>
              <a:gd name="connsiteX808" fmla="*/ 5632506 w 6630249"/>
              <a:gd name="connsiteY808" fmla="*/ 4816865 h 6750795"/>
              <a:gd name="connsiteX809" fmla="*/ 5629941 w 6630249"/>
              <a:gd name="connsiteY809" fmla="*/ 4811736 h 6750795"/>
              <a:gd name="connsiteX810" fmla="*/ 4637326 w 6630249"/>
              <a:gd name="connsiteY810" fmla="*/ 4801475 h 6750795"/>
              <a:gd name="connsiteX811" fmla="*/ 4637326 w 6630249"/>
              <a:gd name="connsiteY811" fmla="*/ 4809170 h 6750795"/>
              <a:gd name="connsiteX812" fmla="*/ 4638243 w 6630249"/>
              <a:gd name="connsiteY812" fmla="*/ 4811309 h 6750795"/>
              <a:gd name="connsiteX813" fmla="*/ 4638289 w 6630249"/>
              <a:gd name="connsiteY813" fmla="*/ 4810773 h 6750795"/>
              <a:gd name="connsiteX814" fmla="*/ 4637327 w 6630249"/>
              <a:gd name="connsiteY814" fmla="*/ 4801476 h 6750795"/>
              <a:gd name="connsiteX815" fmla="*/ 1828771 w 6630249"/>
              <a:gd name="connsiteY815" fmla="*/ 4801475 h 6750795"/>
              <a:gd name="connsiteX816" fmla="*/ 1826205 w 6630249"/>
              <a:gd name="connsiteY816" fmla="*/ 4839948 h 6750795"/>
              <a:gd name="connsiteX817" fmla="*/ 1821075 w 6630249"/>
              <a:gd name="connsiteY817" fmla="*/ 4857903 h 6750795"/>
              <a:gd name="connsiteX818" fmla="*/ 1833900 w 6630249"/>
              <a:gd name="connsiteY818" fmla="*/ 5096437 h 6750795"/>
              <a:gd name="connsiteX819" fmla="*/ 1826205 w 6630249"/>
              <a:gd name="connsiteY819" fmla="*/ 5114392 h 6750795"/>
              <a:gd name="connsiteX820" fmla="*/ 1823640 w 6630249"/>
              <a:gd name="connsiteY820" fmla="*/ 5114392 h 6750795"/>
              <a:gd name="connsiteX821" fmla="*/ 1828771 w 6630249"/>
              <a:gd name="connsiteY821" fmla="*/ 4801475 h 6750795"/>
              <a:gd name="connsiteX822" fmla="*/ 5588903 w 6630249"/>
              <a:gd name="connsiteY822" fmla="*/ 4798911 h 6750795"/>
              <a:gd name="connsiteX823" fmla="*/ 5596597 w 6630249"/>
              <a:gd name="connsiteY823" fmla="*/ 4806606 h 6750795"/>
              <a:gd name="connsiteX824" fmla="*/ 5591467 w 6630249"/>
              <a:gd name="connsiteY824" fmla="*/ 4804041 h 6750795"/>
              <a:gd name="connsiteX825" fmla="*/ 5588903 w 6630249"/>
              <a:gd name="connsiteY825" fmla="*/ 4798911 h 6750795"/>
              <a:gd name="connsiteX826" fmla="*/ 3478923 w 6630249"/>
              <a:gd name="connsiteY826" fmla="*/ 4798380 h 6750795"/>
              <a:gd name="connsiteX827" fmla="*/ 3442407 w 6630249"/>
              <a:gd name="connsiteY827" fmla="*/ 4837305 h 6750795"/>
              <a:gd name="connsiteX828" fmla="*/ 3380529 w 6630249"/>
              <a:gd name="connsiteY828" fmla="*/ 4888683 h 6750795"/>
              <a:gd name="connsiteX829" fmla="*/ 3277934 w 6630249"/>
              <a:gd name="connsiteY829" fmla="*/ 4952805 h 6750795"/>
              <a:gd name="connsiteX830" fmla="*/ 3051421 w 6630249"/>
              <a:gd name="connsiteY830" fmla="*/ 5079406 h 6750795"/>
              <a:gd name="connsiteX831" fmla="*/ 3019928 w 6630249"/>
              <a:gd name="connsiteY831" fmla="*/ 5090621 h 6750795"/>
              <a:gd name="connsiteX832" fmla="*/ 3201628 w 6630249"/>
              <a:gd name="connsiteY832" fmla="*/ 4997690 h 6750795"/>
              <a:gd name="connsiteX833" fmla="*/ 3366182 w 6630249"/>
              <a:gd name="connsiteY833" fmla="*/ 4891568 h 6750795"/>
              <a:gd name="connsiteX834" fmla="*/ 5602047 w 6630249"/>
              <a:gd name="connsiteY834" fmla="*/ 4793140 h 6750795"/>
              <a:gd name="connsiteX835" fmla="*/ 5609422 w 6630249"/>
              <a:gd name="connsiteY835" fmla="*/ 4796346 h 6750795"/>
              <a:gd name="connsiteX836" fmla="*/ 5596598 w 6630249"/>
              <a:gd name="connsiteY836" fmla="*/ 4793781 h 6750795"/>
              <a:gd name="connsiteX837" fmla="*/ 5602047 w 6630249"/>
              <a:gd name="connsiteY837" fmla="*/ 4793140 h 6750795"/>
              <a:gd name="connsiteX838" fmla="*/ 2103213 w 6630249"/>
              <a:gd name="connsiteY838" fmla="*/ 4791216 h 6750795"/>
              <a:gd name="connsiteX839" fmla="*/ 2095518 w 6630249"/>
              <a:gd name="connsiteY839" fmla="*/ 4804040 h 6750795"/>
              <a:gd name="connsiteX840" fmla="*/ 2074999 w 6630249"/>
              <a:gd name="connsiteY840" fmla="*/ 4852774 h 6750795"/>
              <a:gd name="connsiteX841" fmla="*/ 2016006 w 6630249"/>
              <a:gd name="connsiteY841" fmla="*/ 4922026 h 6750795"/>
              <a:gd name="connsiteX842" fmla="*/ 2018571 w 6630249"/>
              <a:gd name="connsiteY842" fmla="*/ 4904072 h 6750795"/>
              <a:gd name="connsiteX843" fmla="*/ 2103213 w 6630249"/>
              <a:gd name="connsiteY843" fmla="*/ 4791216 h 6750795"/>
              <a:gd name="connsiteX844" fmla="*/ 1926236 w 6630249"/>
              <a:gd name="connsiteY844" fmla="*/ 4791216 h 6750795"/>
              <a:gd name="connsiteX845" fmla="*/ 1895457 w 6630249"/>
              <a:gd name="connsiteY845" fmla="*/ 4832255 h 6750795"/>
              <a:gd name="connsiteX846" fmla="*/ 1926236 w 6630249"/>
              <a:gd name="connsiteY846" fmla="*/ 4791216 h 6750795"/>
              <a:gd name="connsiteX847" fmla="*/ 1744129 w 6630249"/>
              <a:gd name="connsiteY847" fmla="*/ 4757872 h 6750795"/>
              <a:gd name="connsiteX848" fmla="*/ 1728739 w 6630249"/>
              <a:gd name="connsiteY848" fmla="*/ 4896377 h 6750795"/>
              <a:gd name="connsiteX849" fmla="*/ 1744129 w 6630249"/>
              <a:gd name="connsiteY849" fmla="*/ 4757872 h 6750795"/>
              <a:gd name="connsiteX850" fmla="*/ 5373452 w 6630249"/>
              <a:gd name="connsiteY850" fmla="*/ 4755307 h 6750795"/>
              <a:gd name="connsiteX851" fmla="*/ 5404231 w 6630249"/>
              <a:gd name="connsiteY851" fmla="*/ 4757871 h 6750795"/>
              <a:gd name="connsiteX852" fmla="*/ 5417055 w 6630249"/>
              <a:gd name="connsiteY852" fmla="*/ 4773262 h 6750795"/>
              <a:gd name="connsiteX853" fmla="*/ 5422185 w 6630249"/>
              <a:gd name="connsiteY853" fmla="*/ 4796346 h 6750795"/>
              <a:gd name="connsiteX854" fmla="*/ 5406795 w 6630249"/>
              <a:gd name="connsiteY854" fmla="*/ 4804041 h 6750795"/>
              <a:gd name="connsiteX855" fmla="*/ 5414490 w 6630249"/>
              <a:gd name="connsiteY855" fmla="*/ 4809170 h 6750795"/>
              <a:gd name="connsiteX856" fmla="*/ 5383711 w 6630249"/>
              <a:gd name="connsiteY856" fmla="*/ 4824560 h 6750795"/>
              <a:gd name="connsiteX857" fmla="*/ 5355496 w 6630249"/>
              <a:gd name="connsiteY857" fmla="*/ 4806606 h 6750795"/>
              <a:gd name="connsiteX858" fmla="*/ 5350367 w 6630249"/>
              <a:gd name="connsiteY858" fmla="*/ 4786086 h 6750795"/>
              <a:gd name="connsiteX859" fmla="*/ 5373452 w 6630249"/>
              <a:gd name="connsiteY859" fmla="*/ 4755307 h 6750795"/>
              <a:gd name="connsiteX860" fmla="*/ 1787733 w 6630249"/>
              <a:gd name="connsiteY860" fmla="*/ 4755307 h 6750795"/>
              <a:gd name="connsiteX861" fmla="*/ 1795427 w 6630249"/>
              <a:gd name="connsiteY861" fmla="*/ 4763001 h 6750795"/>
              <a:gd name="connsiteX862" fmla="*/ 1800556 w 6630249"/>
              <a:gd name="connsiteY862" fmla="*/ 4770696 h 6750795"/>
              <a:gd name="connsiteX863" fmla="*/ 1790297 w 6630249"/>
              <a:gd name="connsiteY863" fmla="*/ 5109263 h 6750795"/>
              <a:gd name="connsiteX864" fmla="*/ 1787733 w 6630249"/>
              <a:gd name="connsiteY864" fmla="*/ 5109263 h 6750795"/>
              <a:gd name="connsiteX865" fmla="*/ 1787733 w 6630249"/>
              <a:gd name="connsiteY865" fmla="*/ 4755307 h 6750795"/>
              <a:gd name="connsiteX866" fmla="*/ 4619623 w 6630249"/>
              <a:gd name="connsiteY866" fmla="*/ 4739610 h 6750795"/>
              <a:gd name="connsiteX867" fmla="*/ 4621866 w 6630249"/>
              <a:gd name="connsiteY867" fmla="*/ 4745314 h 6750795"/>
              <a:gd name="connsiteX868" fmla="*/ 4621937 w 6630249"/>
              <a:gd name="connsiteY868" fmla="*/ 4739918 h 6750795"/>
              <a:gd name="connsiteX869" fmla="*/ 1918541 w 6630249"/>
              <a:gd name="connsiteY869" fmla="*/ 4732223 h 6750795"/>
              <a:gd name="connsiteX870" fmla="*/ 1869808 w 6630249"/>
              <a:gd name="connsiteY870" fmla="*/ 4793781 h 6750795"/>
              <a:gd name="connsiteX871" fmla="*/ 1867243 w 6630249"/>
              <a:gd name="connsiteY871" fmla="*/ 4788651 h 6750795"/>
              <a:gd name="connsiteX872" fmla="*/ 1862114 w 6630249"/>
              <a:gd name="connsiteY872" fmla="*/ 4783522 h 6750795"/>
              <a:gd name="connsiteX873" fmla="*/ 1918541 w 6630249"/>
              <a:gd name="connsiteY873" fmla="*/ 4732223 h 6750795"/>
              <a:gd name="connsiteX874" fmla="*/ 5486307 w 6630249"/>
              <a:gd name="connsiteY874" fmla="*/ 4724529 h 6750795"/>
              <a:gd name="connsiteX875" fmla="*/ 5491437 w 6630249"/>
              <a:gd name="connsiteY875" fmla="*/ 4729659 h 6750795"/>
              <a:gd name="connsiteX876" fmla="*/ 5473483 w 6630249"/>
              <a:gd name="connsiteY876" fmla="*/ 4745048 h 6750795"/>
              <a:gd name="connsiteX877" fmla="*/ 5470918 w 6630249"/>
              <a:gd name="connsiteY877" fmla="*/ 4727094 h 6750795"/>
              <a:gd name="connsiteX878" fmla="*/ 5486307 w 6630249"/>
              <a:gd name="connsiteY878" fmla="*/ 4724529 h 6750795"/>
              <a:gd name="connsiteX879" fmla="*/ 5317024 w 6630249"/>
              <a:gd name="connsiteY879" fmla="*/ 4711705 h 6750795"/>
              <a:gd name="connsiteX880" fmla="*/ 5324719 w 6630249"/>
              <a:gd name="connsiteY880" fmla="*/ 4711705 h 6750795"/>
              <a:gd name="connsiteX881" fmla="*/ 5317024 w 6630249"/>
              <a:gd name="connsiteY881" fmla="*/ 4734789 h 6750795"/>
              <a:gd name="connsiteX882" fmla="*/ 5317024 w 6630249"/>
              <a:gd name="connsiteY882" fmla="*/ 4711705 h 6750795"/>
              <a:gd name="connsiteX883" fmla="*/ 3339491 w 6630249"/>
              <a:gd name="connsiteY883" fmla="*/ 4709140 h 6750795"/>
              <a:gd name="connsiteX884" fmla="*/ 3200986 w 6630249"/>
              <a:gd name="connsiteY884" fmla="*/ 4834820 h 6750795"/>
              <a:gd name="connsiteX885" fmla="*/ 3185597 w 6630249"/>
              <a:gd name="connsiteY885" fmla="*/ 4852774 h 6750795"/>
              <a:gd name="connsiteX886" fmla="*/ 3193292 w 6630249"/>
              <a:gd name="connsiteY886" fmla="*/ 4863034 h 6750795"/>
              <a:gd name="connsiteX887" fmla="*/ 3349750 w 6630249"/>
              <a:gd name="connsiteY887" fmla="*/ 4716835 h 6750795"/>
              <a:gd name="connsiteX888" fmla="*/ 4673236 w 6630249"/>
              <a:gd name="connsiteY888" fmla="*/ 4704010 h 6750795"/>
              <a:gd name="connsiteX889" fmla="*/ 4675801 w 6630249"/>
              <a:gd name="connsiteY889" fmla="*/ 4704010 h 6750795"/>
              <a:gd name="connsiteX890" fmla="*/ 4678366 w 6630249"/>
              <a:gd name="connsiteY890" fmla="*/ 4704010 h 6750795"/>
              <a:gd name="connsiteX891" fmla="*/ 4688625 w 6630249"/>
              <a:gd name="connsiteY891" fmla="*/ 4747613 h 6750795"/>
              <a:gd name="connsiteX892" fmla="*/ 4673236 w 6630249"/>
              <a:gd name="connsiteY892" fmla="*/ 4704010 h 6750795"/>
              <a:gd name="connsiteX893" fmla="*/ 4745053 w 6630249"/>
              <a:gd name="connsiteY893" fmla="*/ 4698880 h 6750795"/>
              <a:gd name="connsiteX894" fmla="*/ 4739924 w 6630249"/>
              <a:gd name="connsiteY894" fmla="*/ 4706574 h 6750795"/>
              <a:gd name="connsiteX895" fmla="*/ 4732229 w 6630249"/>
              <a:gd name="connsiteY895" fmla="*/ 4706574 h 6750795"/>
              <a:gd name="connsiteX896" fmla="*/ 4745053 w 6630249"/>
              <a:gd name="connsiteY896" fmla="*/ 4698880 h 6750795"/>
              <a:gd name="connsiteX897" fmla="*/ 4683496 w 6630249"/>
              <a:gd name="connsiteY897" fmla="*/ 4696316 h 6750795"/>
              <a:gd name="connsiteX898" fmla="*/ 4691190 w 6630249"/>
              <a:gd name="connsiteY898" fmla="*/ 4711705 h 6750795"/>
              <a:gd name="connsiteX899" fmla="*/ 4683496 w 6630249"/>
              <a:gd name="connsiteY899" fmla="*/ 4696316 h 6750795"/>
              <a:gd name="connsiteX900" fmla="*/ 4660411 w 6630249"/>
              <a:gd name="connsiteY900" fmla="*/ 4693751 h 6750795"/>
              <a:gd name="connsiteX901" fmla="*/ 4665541 w 6630249"/>
              <a:gd name="connsiteY901" fmla="*/ 4719400 h 6750795"/>
              <a:gd name="connsiteX902" fmla="*/ 4652717 w 6630249"/>
              <a:gd name="connsiteY902" fmla="*/ 4701445 h 6750795"/>
              <a:gd name="connsiteX903" fmla="*/ 4660411 w 6630249"/>
              <a:gd name="connsiteY903" fmla="*/ 4693751 h 6750795"/>
              <a:gd name="connsiteX904" fmla="*/ 1883233 w 6630249"/>
              <a:gd name="connsiteY904" fmla="*/ 4671701 h 6750795"/>
              <a:gd name="connsiteX905" fmla="*/ 1836463 w 6630249"/>
              <a:gd name="connsiteY905" fmla="*/ 4739918 h 6750795"/>
              <a:gd name="connsiteX906" fmla="*/ 1831333 w 6630249"/>
              <a:gd name="connsiteY906" fmla="*/ 4732223 h 6750795"/>
              <a:gd name="connsiteX907" fmla="*/ 1826204 w 6630249"/>
              <a:gd name="connsiteY907" fmla="*/ 4724528 h 6750795"/>
              <a:gd name="connsiteX908" fmla="*/ 1858065 w 6630249"/>
              <a:gd name="connsiteY908" fmla="*/ 4702286 h 6750795"/>
              <a:gd name="connsiteX909" fmla="*/ 1885932 w 6630249"/>
              <a:gd name="connsiteY909" fmla="*/ 4667764 h 6750795"/>
              <a:gd name="connsiteX910" fmla="*/ 1884876 w 6630249"/>
              <a:gd name="connsiteY910" fmla="*/ 4669704 h 6750795"/>
              <a:gd name="connsiteX911" fmla="*/ 1883233 w 6630249"/>
              <a:gd name="connsiteY911" fmla="*/ 4671701 h 6750795"/>
              <a:gd name="connsiteX912" fmla="*/ 5345919 w 6630249"/>
              <a:gd name="connsiteY912" fmla="*/ 4666299 h 6750795"/>
              <a:gd name="connsiteX913" fmla="*/ 5342673 w 6630249"/>
              <a:gd name="connsiteY913" fmla="*/ 4668102 h 6750795"/>
              <a:gd name="connsiteX914" fmla="*/ 5345919 w 6630249"/>
              <a:gd name="connsiteY914" fmla="*/ 4666299 h 6750795"/>
              <a:gd name="connsiteX915" fmla="*/ 5409360 w 6630249"/>
              <a:gd name="connsiteY915" fmla="*/ 4662972 h 6750795"/>
              <a:gd name="connsiteX916" fmla="*/ 5404231 w 6630249"/>
              <a:gd name="connsiteY916" fmla="*/ 4686056 h 6750795"/>
              <a:gd name="connsiteX917" fmla="*/ 5409360 w 6630249"/>
              <a:gd name="connsiteY917" fmla="*/ 4662972 h 6750795"/>
              <a:gd name="connsiteX918" fmla="*/ 3436957 w 6630249"/>
              <a:gd name="connsiteY918" fmla="*/ 4650148 h 6750795"/>
              <a:gd name="connsiteX919" fmla="*/ 3424132 w 6630249"/>
              <a:gd name="connsiteY919" fmla="*/ 4655278 h 6750795"/>
              <a:gd name="connsiteX920" fmla="*/ 3121475 w 6630249"/>
              <a:gd name="connsiteY920" fmla="*/ 4934851 h 6750795"/>
              <a:gd name="connsiteX921" fmla="*/ 3129169 w 6630249"/>
              <a:gd name="connsiteY921" fmla="*/ 4945110 h 6750795"/>
              <a:gd name="connsiteX922" fmla="*/ 3444651 w 6630249"/>
              <a:gd name="connsiteY922" fmla="*/ 4673232 h 6750795"/>
              <a:gd name="connsiteX923" fmla="*/ 3442086 w 6630249"/>
              <a:gd name="connsiteY923" fmla="*/ 4657843 h 6750795"/>
              <a:gd name="connsiteX924" fmla="*/ 3442086 w 6630249"/>
              <a:gd name="connsiteY924" fmla="*/ 4652713 h 6750795"/>
              <a:gd name="connsiteX925" fmla="*/ 3503644 w 6630249"/>
              <a:gd name="connsiteY925" fmla="*/ 4621934 h 6750795"/>
              <a:gd name="connsiteX926" fmla="*/ 3080436 w 6630249"/>
              <a:gd name="connsiteY926" fmla="*/ 4988714 h 6750795"/>
              <a:gd name="connsiteX927" fmla="*/ 3083001 w 6630249"/>
              <a:gd name="connsiteY927" fmla="*/ 5001538 h 6750795"/>
              <a:gd name="connsiteX928" fmla="*/ 3206117 w 6630249"/>
              <a:gd name="connsiteY928" fmla="*/ 4942545 h 6750795"/>
              <a:gd name="connsiteX929" fmla="*/ 3283063 w 6630249"/>
              <a:gd name="connsiteY929" fmla="*/ 4896378 h 6750795"/>
              <a:gd name="connsiteX930" fmla="*/ 3285628 w 6630249"/>
              <a:gd name="connsiteY930" fmla="*/ 4896378 h 6750795"/>
              <a:gd name="connsiteX931" fmla="*/ 3513903 w 6630249"/>
              <a:gd name="connsiteY931" fmla="*/ 4639888 h 6750795"/>
              <a:gd name="connsiteX932" fmla="*/ 3513903 w 6630249"/>
              <a:gd name="connsiteY932" fmla="*/ 4629629 h 6750795"/>
              <a:gd name="connsiteX933" fmla="*/ 3513903 w 6630249"/>
              <a:gd name="connsiteY933" fmla="*/ 4627064 h 6750795"/>
              <a:gd name="connsiteX934" fmla="*/ 1790296 w 6630249"/>
              <a:gd name="connsiteY934" fmla="*/ 4611673 h 6750795"/>
              <a:gd name="connsiteX935" fmla="*/ 1697960 w 6630249"/>
              <a:gd name="connsiteY935" fmla="*/ 4780957 h 6750795"/>
              <a:gd name="connsiteX936" fmla="*/ 1649226 w 6630249"/>
              <a:gd name="connsiteY936" fmla="*/ 5070789 h 6750795"/>
              <a:gd name="connsiteX937" fmla="*/ 1638967 w 6630249"/>
              <a:gd name="connsiteY937" fmla="*/ 5065660 h 6750795"/>
              <a:gd name="connsiteX938" fmla="*/ 1631272 w 6630249"/>
              <a:gd name="connsiteY938" fmla="*/ 4981018 h 6750795"/>
              <a:gd name="connsiteX939" fmla="*/ 1764647 w 6630249"/>
              <a:gd name="connsiteY939" fmla="*/ 4624497 h 6750795"/>
              <a:gd name="connsiteX940" fmla="*/ 1790296 w 6630249"/>
              <a:gd name="connsiteY940" fmla="*/ 4611673 h 6750795"/>
              <a:gd name="connsiteX941" fmla="*/ 1905717 w 6630249"/>
              <a:gd name="connsiteY941" fmla="*/ 4568070 h 6750795"/>
              <a:gd name="connsiteX942" fmla="*/ 1887763 w 6630249"/>
              <a:gd name="connsiteY942" fmla="*/ 4598849 h 6750795"/>
              <a:gd name="connsiteX943" fmla="*/ 1841594 w 6630249"/>
              <a:gd name="connsiteY943" fmla="*/ 4675796 h 6750795"/>
              <a:gd name="connsiteX944" fmla="*/ 1864679 w 6630249"/>
              <a:gd name="connsiteY944" fmla="*/ 4639888 h 6750795"/>
              <a:gd name="connsiteX945" fmla="*/ 1905717 w 6630249"/>
              <a:gd name="connsiteY945" fmla="*/ 4568070 h 6750795"/>
              <a:gd name="connsiteX946" fmla="*/ 2798300 w 6630249"/>
              <a:gd name="connsiteY946" fmla="*/ 4539856 h 6750795"/>
              <a:gd name="connsiteX947" fmla="*/ 2805994 w 6630249"/>
              <a:gd name="connsiteY947" fmla="*/ 4547550 h 6750795"/>
              <a:gd name="connsiteX948" fmla="*/ 2803429 w 6630249"/>
              <a:gd name="connsiteY948" fmla="*/ 4562941 h 6750795"/>
              <a:gd name="connsiteX949" fmla="*/ 2798300 w 6630249"/>
              <a:gd name="connsiteY949" fmla="*/ 4539856 h 6750795"/>
              <a:gd name="connsiteX950" fmla="*/ 4627067 w 6630249"/>
              <a:gd name="connsiteY950" fmla="*/ 4529597 h 6750795"/>
              <a:gd name="connsiteX951" fmla="*/ 4662975 w 6630249"/>
              <a:gd name="connsiteY951" fmla="*/ 4537291 h 6750795"/>
              <a:gd name="connsiteX952" fmla="*/ 4678365 w 6630249"/>
              <a:gd name="connsiteY952" fmla="*/ 4609108 h 6750795"/>
              <a:gd name="connsiteX953" fmla="*/ 4691189 w 6630249"/>
              <a:gd name="connsiteY953" fmla="*/ 4662971 h 6750795"/>
              <a:gd name="connsiteX954" fmla="*/ 4668105 w 6630249"/>
              <a:gd name="connsiteY954" fmla="*/ 4698879 h 6750795"/>
              <a:gd name="connsiteX955" fmla="*/ 4657845 w 6630249"/>
              <a:gd name="connsiteY955" fmla="*/ 4688620 h 6750795"/>
              <a:gd name="connsiteX956" fmla="*/ 4673235 w 6630249"/>
              <a:gd name="connsiteY956" fmla="*/ 4647582 h 6750795"/>
              <a:gd name="connsiteX957" fmla="*/ 4655280 w 6630249"/>
              <a:gd name="connsiteY957" fmla="*/ 4670666 h 6750795"/>
              <a:gd name="connsiteX958" fmla="*/ 4652716 w 6630249"/>
              <a:gd name="connsiteY958" fmla="*/ 4665536 h 6750795"/>
              <a:gd name="connsiteX959" fmla="*/ 4645021 w 6630249"/>
              <a:gd name="connsiteY959" fmla="*/ 4670666 h 6750795"/>
              <a:gd name="connsiteX960" fmla="*/ 4624502 w 6630249"/>
              <a:gd name="connsiteY960" fmla="*/ 4642452 h 6750795"/>
              <a:gd name="connsiteX961" fmla="*/ 4621937 w 6630249"/>
              <a:gd name="connsiteY961" fmla="*/ 4645017 h 6750795"/>
              <a:gd name="connsiteX962" fmla="*/ 4627067 w 6630249"/>
              <a:gd name="connsiteY962" fmla="*/ 4629627 h 6750795"/>
              <a:gd name="connsiteX963" fmla="*/ 4609113 w 6630249"/>
              <a:gd name="connsiteY963" fmla="*/ 4642452 h 6750795"/>
              <a:gd name="connsiteX964" fmla="*/ 4601418 w 6630249"/>
              <a:gd name="connsiteY964" fmla="*/ 4632192 h 6750795"/>
              <a:gd name="connsiteX965" fmla="*/ 4601418 w 6630249"/>
              <a:gd name="connsiteY965" fmla="*/ 4657841 h 6750795"/>
              <a:gd name="connsiteX966" fmla="*/ 4580899 w 6630249"/>
              <a:gd name="connsiteY966" fmla="*/ 4647582 h 6750795"/>
              <a:gd name="connsiteX967" fmla="*/ 4596288 w 6630249"/>
              <a:gd name="connsiteY967" fmla="*/ 4657841 h 6750795"/>
              <a:gd name="connsiteX968" fmla="*/ 4597418 w 6630249"/>
              <a:gd name="connsiteY968" fmla="*/ 4660553 h 6750795"/>
              <a:gd name="connsiteX969" fmla="*/ 4603022 w 6630249"/>
              <a:gd name="connsiteY969" fmla="*/ 4656881 h 6750795"/>
              <a:gd name="connsiteX970" fmla="*/ 4606549 w 6630249"/>
              <a:gd name="connsiteY970" fmla="*/ 4668102 h 6750795"/>
              <a:gd name="connsiteX971" fmla="*/ 4599967 w 6630249"/>
              <a:gd name="connsiteY971" fmla="*/ 4666671 h 6750795"/>
              <a:gd name="connsiteX972" fmla="*/ 4601097 w 6630249"/>
              <a:gd name="connsiteY972" fmla="*/ 4669384 h 6750795"/>
              <a:gd name="connsiteX973" fmla="*/ 4603052 w 6630249"/>
              <a:gd name="connsiteY973" fmla="*/ 4677205 h 6750795"/>
              <a:gd name="connsiteX974" fmla="*/ 4610717 w 6630249"/>
              <a:gd name="connsiteY974" fmla="*/ 4678362 h 6750795"/>
              <a:gd name="connsiteX975" fmla="*/ 4621939 w 6630249"/>
              <a:gd name="connsiteY975" fmla="*/ 4688621 h 6750795"/>
              <a:gd name="connsiteX976" fmla="*/ 4610076 w 6630249"/>
              <a:gd name="connsiteY976" fmla="*/ 4687338 h 6750795"/>
              <a:gd name="connsiteX977" fmla="*/ 4599293 w 6630249"/>
              <a:gd name="connsiteY977" fmla="*/ 4686335 h 6750795"/>
              <a:gd name="connsiteX978" fmla="*/ 4603617 w 6630249"/>
              <a:gd name="connsiteY978" fmla="*/ 4689087 h 6750795"/>
              <a:gd name="connsiteX979" fmla="*/ 4611999 w 6630249"/>
              <a:gd name="connsiteY979" fmla="*/ 4690865 h 6750795"/>
              <a:gd name="connsiteX980" fmla="*/ 4624504 w 6630249"/>
              <a:gd name="connsiteY980" fmla="*/ 4691186 h 6750795"/>
              <a:gd name="connsiteX981" fmla="*/ 4609114 w 6630249"/>
              <a:gd name="connsiteY981" fmla="*/ 4698880 h 6750795"/>
              <a:gd name="connsiteX982" fmla="*/ 4639893 w 6630249"/>
              <a:gd name="connsiteY982" fmla="*/ 4704010 h 6750795"/>
              <a:gd name="connsiteX983" fmla="*/ 4639893 w 6630249"/>
              <a:gd name="connsiteY983" fmla="*/ 4714270 h 6750795"/>
              <a:gd name="connsiteX984" fmla="*/ 4621939 w 6630249"/>
              <a:gd name="connsiteY984" fmla="*/ 4707537 h 6750795"/>
              <a:gd name="connsiteX985" fmla="*/ 4605321 w 6630249"/>
              <a:gd name="connsiteY985" fmla="*/ 4699525 h 6750795"/>
              <a:gd name="connsiteX986" fmla="*/ 4594044 w 6630249"/>
              <a:gd name="connsiteY986" fmla="*/ 4701444 h 6750795"/>
              <a:gd name="connsiteX987" fmla="*/ 4580899 w 6630249"/>
              <a:gd name="connsiteY987" fmla="*/ 4704009 h 6750795"/>
              <a:gd name="connsiteX988" fmla="*/ 4594364 w 6630249"/>
              <a:gd name="connsiteY988" fmla="*/ 4714590 h 6750795"/>
              <a:gd name="connsiteX989" fmla="*/ 4610878 w 6630249"/>
              <a:gd name="connsiteY989" fmla="*/ 4719177 h 6750795"/>
              <a:gd name="connsiteX990" fmla="*/ 4631556 w 6630249"/>
              <a:gd name="connsiteY990" fmla="*/ 4718117 h 6750795"/>
              <a:gd name="connsiteX991" fmla="*/ 4652717 w 6630249"/>
              <a:gd name="connsiteY991" fmla="*/ 4724528 h 6750795"/>
              <a:gd name="connsiteX992" fmla="*/ 4639892 w 6630249"/>
              <a:gd name="connsiteY992" fmla="*/ 4734788 h 6750795"/>
              <a:gd name="connsiteX993" fmla="*/ 4634763 w 6630249"/>
              <a:gd name="connsiteY993" fmla="*/ 4778391 h 6750795"/>
              <a:gd name="connsiteX994" fmla="*/ 4650152 w 6630249"/>
              <a:gd name="connsiteY994" fmla="*/ 4732223 h 6750795"/>
              <a:gd name="connsiteX995" fmla="*/ 4660412 w 6630249"/>
              <a:gd name="connsiteY995" fmla="*/ 4739918 h 6750795"/>
              <a:gd name="connsiteX996" fmla="*/ 4665541 w 6630249"/>
              <a:gd name="connsiteY996" fmla="*/ 4737353 h 6750795"/>
              <a:gd name="connsiteX997" fmla="*/ 4701450 w 6630249"/>
              <a:gd name="connsiteY997" fmla="*/ 4780956 h 6750795"/>
              <a:gd name="connsiteX998" fmla="*/ 4701450 w 6630249"/>
              <a:gd name="connsiteY998" fmla="*/ 4804041 h 6750795"/>
              <a:gd name="connsiteX999" fmla="*/ 4673236 w 6630249"/>
              <a:gd name="connsiteY999" fmla="*/ 4801476 h 6750795"/>
              <a:gd name="connsiteX1000" fmla="*/ 4691190 w 6630249"/>
              <a:gd name="connsiteY1000" fmla="*/ 4811736 h 6750795"/>
              <a:gd name="connsiteX1001" fmla="*/ 4688625 w 6630249"/>
              <a:gd name="connsiteY1001" fmla="*/ 4834820 h 6750795"/>
              <a:gd name="connsiteX1002" fmla="*/ 4709144 w 6630249"/>
              <a:gd name="connsiteY1002" fmla="*/ 4852774 h 6750795"/>
              <a:gd name="connsiteX1003" fmla="*/ 4716839 w 6630249"/>
              <a:gd name="connsiteY1003" fmla="*/ 4847644 h 6750795"/>
              <a:gd name="connsiteX1004" fmla="*/ 4719404 w 6630249"/>
              <a:gd name="connsiteY1004" fmla="*/ 4863034 h 6750795"/>
              <a:gd name="connsiteX1005" fmla="*/ 4714274 w 6630249"/>
              <a:gd name="connsiteY1005" fmla="*/ 4865598 h 6750795"/>
              <a:gd name="connsiteX1006" fmla="*/ 4696320 w 6630249"/>
              <a:gd name="connsiteY1006" fmla="*/ 4857904 h 6750795"/>
              <a:gd name="connsiteX1007" fmla="*/ 4691190 w 6630249"/>
              <a:gd name="connsiteY1007" fmla="*/ 4865598 h 6750795"/>
              <a:gd name="connsiteX1008" fmla="*/ 4670671 w 6630249"/>
              <a:gd name="connsiteY1008" fmla="*/ 4863034 h 6750795"/>
              <a:gd name="connsiteX1009" fmla="*/ 4673236 w 6630249"/>
              <a:gd name="connsiteY1009" fmla="*/ 4875858 h 6750795"/>
              <a:gd name="connsiteX1010" fmla="*/ 4701450 w 6630249"/>
              <a:gd name="connsiteY1010" fmla="*/ 4883553 h 6750795"/>
              <a:gd name="connsiteX1011" fmla="*/ 4696320 w 6630249"/>
              <a:gd name="connsiteY1011" fmla="*/ 4893812 h 6750795"/>
              <a:gd name="connsiteX1012" fmla="*/ 4716839 w 6630249"/>
              <a:gd name="connsiteY1012" fmla="*/ 4893812 h 6750795"/>
              <a:gd name="connsiteX1013" fmla="*/ 4719404 w 6630249"/>
              <a:gd name="connsiteY1013" fmla="*/ 4957935 h 6750795"/>
              <a:gd name="connsiteX1014" fmla="*/ 4721969 w 6630249"/>
              <a:gd name="connsiteY1014" fmla="*/ 4965629 h 6750795"/>
              <a:gd name="connsiteX1015" fmla="*/ 4716839 w 6630249"/>
              <a:gd name="connsiteY1015" fmla="*/ 4996408 h 6750795"/>
              <a:gd name="connsiteX1016" fmla="*/ 4696320 w 6630249"/>
              <a:gd name="connsiteY1016" fmla="*/ 5068225 h 6750795"/>
              <a:gd name="connsiteX1017" fmla="*/ 4691190 w 6630249"/>
              <a:gd name="connsiteY1017" fmla="*/ 5019492 h 6750795"/>
              <a:gd name="connsiteX1018" fmla="*/ 4686061 w 6630249"/>
              <a:gd name="connsiteY1018" fmla="*/ 4983584 h 6750795"/>
              <a:gd name="connsiteX1019" fmla="*/ 4678366 w 6630249"/>
              <a:gd name="connsiteY1019" fmla="*/ 4968194 h 6750795"/>
              <a:gd name="connsiteX1020" fmla="*/ 4696320 w 6630249"/>
              <a:gd name="connsiteY1020" fmla="*/ 4947675 h 6750795"/>
              <a:gd name="connsiteX1021" fmla="*/ 4680930 w 6630249"/>
              <a:gd name="connsiteY1021" fmla="*/ 4945110 h 6750795"/>
              <a:gd name="connsiteX1022" fmla="*/ 4678366 w 6630249"/>
              <a:gd name="connsiteY1022" fmla="*/ 4927156 h 6750795"/>
              <a:gd name="connsiteX1023" fmla="*/ 4675533 w 6630249"/>
              <a:gd name="connsiteY1023" fmla="*/ 4929989 h 6750795"/>
              <a:gd name="connsiteX1024" fmla="*/ 4675800 w 6630249"/>
              <a:gd name="connsiteY1024" fmla="*/ 4930682 h 6750795"/>
              <a:gd name="connsiteX1025" fmla="*/ 4670670 w 6630249"/>
              <a:gd name="connsiteY1025" fmla="*/ 4955369 h 6750795"/>
              <a:gd name="connsiteX1026" fmla="*/ 4657845 w 6630249"/>
              <a:gd name="connsiteY1026" fmla="*/ 4939980 h 6750795"/>
              <a:gd name="connsiteX1027" fmla="*/ 4647586 w 6630249"/>
              <a:gd name="connsiteY1027" fmla="*/ 4927155 h 6750795"/>
              <a:gd name="connsiteX1028" fmla="*/ 4639891 w 6630249"/>
              <a:gd name="connsiteY1028" fmla="*/ 4875857 h 6750795"/>
              <a:gd name="connsiteX1029" fmla="*/ 4637326 w 6630249"/>
              <a:gd name="connsiteY1029" fmla="*/ 4860468 h 6750795"/>
              <a:gd name="connsiteX1030" fmla="*/ 4634761 w 6630249"/>
              <a:gd name="connsiteY1030" fmla="*/ 4865597 h 6750795"/>
              <a:gd name="connsiteX1031" fmla="*/ 4627067 w 6630249"/>
              <a:gd name="connsiteY1031" fmla="*/ 4847643 h 6750795"/>
              <a:gd name="connsiteX1032" fmla="*/ 4637326 w 6630249"/>
              <a:gd name="connsiteY1032" fmla="*/ 4845079 h 6750795"/>
              <a:gd name="connsiteX1033" fmla="*/ 4624502 w 6630249"/>
              <a:gd name="connsiteY1033" fmla="*/ 4842514 h 6750795"/>
              <a:gd name="connsiteX1034" fmla="*/ 4634761 w 6630249"/>
              <a:gd name="connsiteY1034" fmla="*/ 4824559 h 6750795"/>
              <a:gd name="connsiteX1035" fmla="*/ 4624502 w 6630249"/>
              <a:gd name="connsiteY1035" fmla="*/ 4824559 h 6750795"/>
              <a:gd name="connsiteX1036" fmla="*/ 4627067 w 6630249"/>
              <a:gd name="connsiteY1036" fmla="*/ 4809170 h 6750795"/>
              <a:gd name="connsiteX1037" fmla="*/ 4616807 w 6630249"/>
              <a:gd name="connsiteY1037" fmla="*/ 4816865 h 6750795"/>
              <a:gd name="connsiteX1038" fmla="*/ 4601418 w 6630249"/>
              <a:gd name="connsiteY1038" fmla="*/ 4801475 h 6750795"/>
              <a:gd name="connsiteX1039" fmla="*/ 4603982 w 6630249"/>
              <a:gd name="connsiteY1039" fmla="*/ 4814300 h 6750795"/>
              <a:gd name="connsiteX1040" fmla="*/ 4588593 w 6630249"/>
              <a:gd name="connsiteY1040" fmla="*/ 4811735 h 6750795"/>
              <a:gd name="connsiteX1041" fmla="*/ 4591158 w 6630249"/>
              <a:gd name="connsiteY1041" fmla="*/ 4824559 h 6750795"/>
              <a:gd name="connsiteX1042" fmla="*/ 4616807 w 6630249"/>
              <a:gd name="connsiteY1042" fmla="*/ 4842514 h 6750795"/>
              <a:gd name="connsiteX1043" fmla="*/ 4634761 w 6630249"/>
              <a:gd name="connsiteY1043" fmla="*/ 4880987 h 6750795"/>
              <a:gd name="connsiteX1044" fmla="*/ 4642456 w 6630249"/>
              <a:gd name="connsiteY1044" fmla="*/ 4947674 h 6750795"/>
              <a:gd name="connsiteX1045" fmla="*/ 4637328 w 6630249"/>
              <a:gd name="connsiteY1045" fmla="*/ 4947674 h 6750795"/>
              <a:gd name="connsiteX1046" fmla="*/ 4632196 w 6630249"/>
              <a:gd name="connsiteY1046" fmla="*/ 4947674 h 6750795"/>
              <a:gd name="connsiteX1047" fmla="*/ 4619372 w 6630249"/>
              <a:gd name="connsiteY1047" fmla="*/ 4932285 h 6750795"/>
              <a:gd name="connsiteX1048" fmla="*/ 4616807 w 6630249"/>
              <a:gd name="connsiteY1048" fmla="*/ 4952804 h 6750795"/>
              <a:gd name="connsiteX1049" fmla="*/ 4598853 w 6630249"/>
              <a:gd name="connsiteY1049" fmla="*/ 4945109 h 6750795"/>
              <a:gd name="connsiteX1050" fmla="*/ 4611677 w 6630249"/>
              <a:gd name="connsiteY1050" fmla="*/ 4957934 h 6750795"/>
              <a:gd name="connsiteX1051" fmla="*/ 4603982 w 6630249"/>
              <a:gd name="connsiteY1051" fmla="*/ 4965628 h 6750795"/>
              <a:gd name="connsiteX1052" fmla="*/ 4634761 w 6630249"/>
              <a:gd name="connsiteY1052" fmla="*/ 4978453 h 6750795"/>
              <a:gd name="connsiteX1053" fmla="*/ 4635641 w 6630249"/>
              <a:gd name="connsiteY1053" fmla="*/ 4984999 h 6750795"/>
              <a:gd name="connsiteX1054" fmla="*/ 4637328 w 6630249"/>
              <a:gd name="connsiteY1054" fmla="*/ 4947674 h 6750795"/>
              <a:gd name="connsiteX1055" fmla="*/ 4639893 w 6630249"/>
              <a:gd name="connsiteY1055" fmla="*/ 4960498 h 6750795"/>
              <a:gd name="connsiteX1056" fmla="*/ 4655282 w 6630249"/>
              <a:gd name="connsiteY1056" fmla="*/ 4963063 h 6750795"/>
              <a:gd name="connsiteX1057" fmla="*/ 4647588 w 6630249"/>
              <a:gd name="connsiteY1057" fmla="*/ 4975888 h 6750795"/>
              <a:gd name="connsiteX1058" fmla="*/ 4670671 w 6630249"/>
              <a:gd name="connsiteY1058" fmla="*/ 4986148 h 6750795"/>
              <a:gd name="connsiteX1059" fmla="*/ 4686061 w 6630249"/>
              <a:gd name="connsiteY1059" fmla="*/ 5078484 h 6750795"/>
              <a:gd name="connsiteX1060" fmla="*/ 4662977 w 6630249"/>
              <a:gd name="connsiteY1060" fmla="*/ 5068866 h 6750795"/>
              <a:gd name="connsiteX1061" fmla="*/ 4642270 w 6630249"/>
              <a:gd name="connsiteY1061" fmla="*/ 5063690 h 6750795"/>
              <a:gd name="connsiteX1062" fmla="*/ 4642381 w 6630249"/>
              <a:gd name="connsiteY1062" fmla="*/ 5066397 h 6750795"/>
              <a:gd name="connsiteX1063" fmla="*/ 4665862 w 6630249"/>
              <a:gd name="connsiteY1063" fmla="*/ 5073353 h 6750795"/>
              <a:gd name="connsiteX1064" fmla="*/ 4686061 w 6630249"/>
              <a:gd name="connsiteY1064" fmla="*/ 5088744 h 6750795"/>
              <a:gd name="connsiteX1065" fmla="*/ 4665542 w 6630249"/>
              <a:gd name="connsiteY1065" fmla="*/ 5178515 h 6750795"/>
              <a:gd name="connsiteX1066" fmla="*/ 4664292 w 6630249"/>
              <a:gd name="connsiteY1066" fmla="*/ 5175958 h 6750795"/>
              <a:gd name="connsiteX1067" fmla="*/ 4665220 w 6630249"/>
              <a:gd name="connsiteY1067" fmla="*/ 5180759 h 6750795"/>
              <a:gd name="connsiteX1068" fmla="*/ 4670199 w 6630249"/>
              <a:gd name="connsiteY1068" fmla="*/ 5213856 h 6750795"/>
              <a:gd name="connsiteX1069" fmla="*/ 4675481 w 6630249"/>
              <a:gd name="connsiteY1069" fmla="*/ 5186530 h 6750795"/>
              <a:gd name="connsiteX1070" fmla="*/ 4688626 w 6630249"/>
              <a:gd name="connsiteY1070" fmla="*/ 5150301 h 6750795"/>
              <a:gd name="connsiteX1071" fmla="*/ 4693756 w 6630249"/>
              <a:gd name="connsiteY1071" fmla="*/ 5152866 h 6750795"/>
              <a:gd name="connsiteX1072" fmla="*/ 4698886 w 6630249"/>
              <a:gd name="connsiteY1072" fmla="*/ 5237507 h 6750795"/>
              <a:gd name="connsiteX1073" fmla="*/ 4704015 w 6630249"/>
              <a:gd name="connsiteY1073" fmla="*/ 5247767 h 6750795"/>
              <a:gd name="connsiteX1074" fmla="*/ 4709145 w 6630249"/>
              <a:gd name="connsiteY1074" fmla="*/ 5293935 h 6750795"/>
              <a:gd name="connsiteX1075" fmla="*/ 4701450 w 6630249"/>
              <a:gd name="connsiteY1075" fmla="*/ 5337538 h 6750795"/>
              <a:gd name="connsiteX1076" fmla="*/ 4693756 w 6630249"/>
              <a:gd name="connsiteY1076" fmla="*/ 5350362 h 6750795"/>
              <a:gd name="connsiteX1077" fmla="*/ 4680931 w 6630249"/>
              <a:gd name="connsiteY1077" fmla="*/ 5291370 h 6750795"/>
              <a:gd name="connsiteX1078" fmla="*/ 4683496 w 6630249"/>
              <a:gd name="connsiteY1078" fmla="*/ 5281110 h 6750795"/>
              <a:gd name="connsiteX1079" fmla="*/ 4673237 w 6630249"/>
              <a:gd name="connsiteY1079" fmla="*/ 5242637 h 6750795"/>
              <a:gd name="connsiteX1080" fmla="*/ 4688626 w 6630249"/>
              <a:gd name="connsiteY1080" fmla="*/ 5237507 h 6750795"/>
              <a:gd name="connsiteX1081" fmla="*/ 4678367 w 6630249"/>
              <a:gd name="connsiteY1081" fmla="*/ 5234942 h 6750795"/>
              <a:gd name="connsiteX1082" fmla="*/ 4693756 w 6630249"/>
              <a:gd name="connsiteY1082" fmla="*/ 5216988 h 6750795"/>
              <a:gd name="connsiteX1083" fmla="*/ 4680931 w 6630249"/>
              <a:gd name="connsiteY1083" fmla="*/ 5227247 h 6750795"/>
              <a:gd name="connsiteX1084" fmla="*/ 4668106 w 6630249"/>
              <a:gd name="connsiteY1084" fmla="*/ 5224682 h 6750795"/>
              <a:gd name="connsiteX1085" fmla="*/ 4669775 w 6630249"/>
              <a:gd name="connsiteY1085" fmla="*/ 5216047 h 6750795"/>
              <a:gd name="connsiteX1086" fmla="*/ 4658166 w 6630249"/>
              <a:gd name="connsiteY1086" fmla="*/ 5203843 h 6750795"/>
              <a:gd name="connsiteX1087" fmla="*/ 4647586 w 6630249"/>
              <a:gd name="connsiteY1087" fmla="*/ 5188774 h 6750795"/>
              <a:gd name="connsiteX1088" fmla="*/ 4662975 w 6630249"/>
              <a:gd name="connsiteY1088" fmla="*/ 5214423 h 6750795"/>
              <a:gd name="connsiteX1089" fmla="*/ 4665540 w 6630249"/>
              <a:gd name="connsiteY1089" fmla="*/ 5270851 h 6750795"/>
              <a:gd name="connsiteX1090" fmla="*/ 4655280 w 6630249"/>
              <a:gd name="connsiteY1090" fmla="*/ 5265721 h 6750795"/>
              <a:gd name="connsiteX1091" fmla="*/ 4645021 w 6630249"/>
              <a:gd name="connsiteY1091" fmla="*/ 5270851 h 6750795"/>
              <a:gd name="connsiteX1092" fmla="*/ 4650151 w 6630249"/>
              <a:gd name="connsiteY1092" fmla="*/ 5288805 h 6750795"/>
              <a:gd name="connsiteX1093" fmla="*/ 4642456 w 6630249"/>
              <a:gd name="connsiteY1093" fmla="*/ 5299065 h 6750795"/>
              <a:gd name="connsiteX1094" fmla="*/ 4660410 w 6630249"/>
              <a:gd name="connsiteY1094" fmla="*/ 5309324 h 6750795"/>
              <a:gd name="connsiteX1095" fmla="*/ 4662975 w 6630249"/>
              <a:gd name="connsiteY1095" fmla="*/ 5393966 h 6750795"/>
              <a:gd name="connsiteX1096" fmla="*/ 4647586 w 6630249"/>
              <a:gd name="connsiteY1096" fmla="*/ 5442698 h 6750795"/>
              <a:gd name="connsiteX1097" fmla="*/ 4639891 w 6630249"/>
              <a:gd name="connsiteY1097" fmla="*/ 5435004 h 6750795"/>
              <a:gd name="connsiteX1098" fmla="*/ 4627067 w 6630249"/>
              <a:gd name="connsiteY1098" fmla="*/ 5442698 h 6750795"/>
              <a:gd name="connsiteX1099" fmla="*/ 4629631 w 6630249"/>
              <a:gd name="connsiteY1099" fmla="*/ 5417049 h 6750795"/>
              <a:gd name="connsiteX1100" fmla="*/ 4614242 w 6630249"/>
              <a:gd name="connsiteY1100" fmla="*/ 5460653 h 6750795"/>
              <a:gd name="connsiteX1101" fmla="*/ 4601418 w 6630249"/>
              <a:gd name="connsiteY1101" fmla="*/ 5455523 h 6750795"/>
              <a:gd name="connsiteX1102" fmla="*/ 4601418 w 6630249"/>
              <a:gd name="connsiteY1102" fmla="*/ 5459796 h 6750795"/>
              <a:gd name="connsiteX1103" fmla="*/ 4603984 w 6630249"/>
              <a:gd name="connsiteY1103" fmla="*/ 5463218 h 6750795"/>
              <a:gd name="connsiteX1104" fmla="*/ 4601418 w 6630249"/>
              <a:gd name="connsiteY1104" fmla="*/ 5461721 h 6750795"/>
              <a:gd name="connsiteX1105" fmla="*/ 4601418 w 6630249"/>
              <a:gd name="connsiteY1105" fmla="*/ 5465783 h 6750795"/>
              <a:gd name="connsiteX1106" fmla="*/ 4591158 w 6630249"/>
              <a:gd name="connsiteY1106" fmla="*/ 5458088 h 6750795"/>
              <a:gd name="connsiteX1107" fmla="*/ 4583464 w 6630249"/>
              <a:gd name="connsiteY1107" fmla="*/ 5355492 h 6750795"/>
              <a:gd name="connsiteX1108" fmla="*/ 4550120 w 6630249"/>
              <a:gd name="connsiteY1108" fmla="*/ 5406790 h 6750795"/>
              <a:gd name="connsiteX1109" fmla="*/ 4524471 w 6630249"/>
              <a:gd name="connsiteY1109" fmla="*/ 5391400 h 6750795"/>
              <a:gd name="connsiteX1110" fmla="*/ 4557815 w 6630249"/>
              <a:gd name="connsiteY1110" fmla="*/ 5370882 h 6750795"/>
              <a:gd name="connsiteX1111" fmla="*/ 4527036 w 6630249"/>
              <a:gd name="connsiteY1111" fmla="*/ 5373446 h 6750795"/>
              <a:gd name="connsiteX1112" fmla="*/ 4514211 w 6630249"/>
              <a:gd name="connsiteY1112" fmla="*/ 5378576 h 6750795"/>
              <a:gd name="connsiteX1113" fmla="*/ 4509081 w 6630249"/>
              <a:gd name="connsiteY1113" fmla="*/ 5340103 h 6750795"/>
              <a:gd name="connsiteX1114" fmla="*/ 4498822 w 6630249"/>
              <a:gd name="connsiteY1114" fmla="*/ 5355492 h 6750795"/>
              <a:gd name="connsiteX1115" fmla="*/ 4470608 w 6630249"/>
              <a:gd name="connsiteY1115" fmla="*/ 5222118 h 6750795"/>
              <a:gd name="connsiteX1116" fmla="*/ 4488562 w 6630249"/>
              <a:gd name="connsiteY1116" fmla="*/ 5211858 h 6750795"/>
              <a:gd name="connsiteX1117" fmla="*/ 4501387 w 6630249"/>
              <a:gd name="connsiteY1117" fmla="*/ 5222118 h 6750795"/>
              <a:gd name="connsiteX1118" fmla="*/ 4511647 w 6630249"/>
              <a:gd name="connsiteY1118" fmla="*/ 5186209 h 6750795"/>
              <a:gd name="connsiteX1119" fmla="*/ 4555250 w 6630249"/>
              <a:gd name="connsiteY1119" fmla="*/ 5142606 h 6750795"/>
              <a:gd name="connsiteX1120" fmla="*/ 4524471 w 6630249"/>
              <a:gd name="connsiteY1120" fmla="*/ 5145171 h 6750795"/>
              <a:gd name="connsiteX1121" fmla="*/ 4511647 w 6630249"/>
              <a:gd name="connsiteY1121" fmla="*/ 5142606 h 6750795"/>
              <a:gd name="connsiteX1122" fmla="*/ 4488562 w 6630249"/>
              <a:gd name="connsiteY1122" fmla="*/ 5137476 h 6750795"/>
              <a:gd name="connsiteX1123" fmla="*/ 4483433 w 6630249"/>
              <a:gd name="connsiteY1123" fmla="*/ 5129781 h 6750795"/>
              <a:gd name="connsiteX1124" fmla="*/ 4468043 w 6630249"/>
              <a:gd name="connsiteY1124" fmla="*/ 5145171 h 6750795"/>
              <a:gd name="connsiteX1125" fmla="*/ 4457784 w 6630249"/>
              <a:gd name="connsiteY1125" fmla="*/ 5134911 h 6750795"/>
              <a:gd name="connsiteX1126" fmla="*/ 4465478 w 6630249"/>
              <a:gd name="connsiteY1126" fmla="*/ 5168255 h 6750795"/>
              <a:gd name="connsiteX1127" fmla="*/ 4455219 w 6630249"/>
              <a:gd name="connsiteY1127" fmla="*/ 5165690 h 6750795"/>
              <a:gd name="connsiteX1128" fmla="*/ 4450089 w 6630249"/>
              <a:gd name="connsiteY1128" fmla="*/ 5022056 h 6750795"/>
              <a:gd name="connsiteX1129" fmla="*/ 4480868 w 6630249"/>
              <a:gd name="connsiteY1129" fmla="*/ 5011797 h 6750795"/>
              <a:gd name="connsiteX1130" fmla="*/ 4524471 w 6630249"/>
              <a:gd name="connsiteY1130" fmla="*/ 5029751 h 6750795"/>
              <a:gd name="connsiteX1131" fmla="*/ 4529601 w 6630249"/>
              <a:gd name="connsiteY1131" fmla="*/ 5024621 h 6750795"/>
              <a:gd name="connsiteX1132" fmla="*/ 4501387 w 6630249"/>
              <a:gd name="connsiteY1132" fmla="*/ 5004102 h 6750795"/>
              <a:gd name="connsiteX1133" fmla="*/ 4537295 w 6630249"/>
              <a:gd name="connsiteY1133" fmla="*/ 4991277 h 6750795"/>
              <a:gd name="connsiteX1134" fmla="*/ 4568074 w 6630249"/>
              <a:gd name="connsiteY1134" fmla="*/ 4955369 h 6750795"/>
              <a:gd name="connsiteX1135" fmla="*/ 4552685 w 6630249"/>
              <a:gd name="connsiteY1135" fmla="*/ 4945109 h 6750795"/>
              <a:gd name="connsiteX1136" fmla="*/ 4483433 w 6630249"/>
              <a:gd name="connsiteY1136" fmla="*/ 4993842 h 6750795"/>
              <a:gd name="connsiteX1137" fmla="*/ 4478303 w 6630249"/>
              <a:gd name="connsiteY1137" fmla="*/ 4947674 h 6750795"/>
              <a:gd name="connsiteX1138" fmla="*/ 4544990 w 6630249"/>
              <a:gd name="connsiteY1138" fmla="*/ 4750177 h 6750795"/>
              <a:gd name="connsiteX1139" fmla="*/ 4534730 w 6630249"/>
              <a:gd name="connsiteY1139" fmla="*/ 4739918 h 6750795"/>
              <a:gd name="connsiteX1140" fmla="*/ 4596288 w 6630249"/>
              <a:gd name="connsiteY1140" fmla="*/ 4601414 h 6750795"/>
              <a:gd name="connsiteX1141" fmla="*/ 4616807 w 6630249"/>
              <a:gd name="connsiteY1141" fmla="*/ 4588589 h 6750795"/>
              <a:gd name="connsiteX1142" fmla="*/ 4596288 w 6630249"/>
              <a:gd name="connsiteY1142" fmla="*/ 4580895 h 6750795"/>
              <a:gd name="connsiteX1143" fmla="*/ 4609113 w 6630249"/>
              <a:gd name="connsiteY1143" fmla="*/ 4547551 h 6750795"/>
              <a:gd name="connsiteX1144" fmla="*/ 4627067 w 6630249"/>
              <a:gd name="connsiteY1144" fmla="*/ 4529597 h 6750795"/>
              <a:gd name="connsiteX1145" fmla="*/ 3821690 w 6630249"/>
              <a:gd name="connsiteY1145" fmla="*/ 4478299 h 6750795"/>
              <a:gd name="connsiteX1146" fmla="*/ 3683186 w 6630249"/>
              <a:gd name="connsiteY1146" fmla="*/ 4580895 h 6750795"/>
              <a:gd name="connsiteX1147" fmla="*/ 3690881 w 6630249"/>
              <a:gd name="connsiteY1147" fmla="*/ 4591154 h 6750795"/>
              <a:gd name="connsiteX1148" fmla="*/ 3698576 w 6630249"/>
              <a:gd name="connsiteY1148" fmla="*/ 4586024 h 6750795"/>
              <a:gd name="connsiteX1149" fmla="*/ 3678056 w 6630249"/>
              <a:gd name="connsiteY1149" fmla="*/ 4616804 h 6750795"/>
              <a:gd name="connsiteX1150" fmla="*/ 3683186 w 6630249"/>
              <a:gd name="connsiteY1150" fmla="*/ 4619369 h 6750795"/>
              <a:gd name="connsiteX1151" fmla="*/ 3601110 w 6630249"/>
              <a:gd name="connsiteY1151" fmla="*/ 4721965 h 6750795"/>
              <a:gd name="connsiteX1152" fmla="*/ 3611369 w 6630249"/>
              <a:gd name="connsiteY1152" fmla="*/ 4729660 h 6750795"/>
              <a:gd name="connsiteX1153" fmla="*/ 3780652 w 6630249"/>
              <a:gd name="connsiteY1153" fmla="*/ 4565505 h 6750795"/>
              <a:gd name="connsiteX1154" fmla="*/ 3772957 w 6630249"/>
              <a:gd name="connsiteY1154" fmla="*/ 4555246 h 6750795"/>
              <a:gd name="connsiteX1155" fmla="*/ 3757568 w 6630249"/>
              <a:gd name="connsiteY1155" fmla="*/ 4562941 h 6750795"/>
              <a:gd name="connsiteX1156" fmla="*/ 3788347 w 6630249"/>
              <a:gd name="connsiteY1156" fmla="*/ 4539856 h 6750795"/>
              <a:gd name="connsiteX1157" fmla="*/ 3783217 w 6630249"/>
              <a:gd name="connsiteY1157" fmla="*/ 4529597 h 6750795"/>
              <a:gd name="connsiteX1158" fmla="*/ 3765263 w 6630249"/>
              <a:gd name="connsiteY1158" fmla="*/ 4534727 h 6750795"/>
              <a:gd name="connsiteX1159" fmla="*/ 3824255 w 6630249"/>
              <a:gd name="connsiteY1159" fmla="*/ 4491124 h 6750795"/>
              <a:gd name="connsiteX1160" fmla="*/ 4634763 w 6630249"/>
              <a:gd name="connsiteY1160" fmla="*/ 4473169 h 6750795"/>
              <a:gd name="connsiteX1161" fmla="*/ 4639893 w 6630249"/>
              <a:gd name="connsiteY1161" fmla="*/ 4491123 h 6750795"/>
              <a:gd name="connsiteX1162" fmla="*/ 4616809 w 6630249"/>
              <a:gd name="connsiteY1162" fmla="*/ 4506513 h 6750795"/>
              <a:gd name="connsiteX1163" fmla="*/ 4627069 w 6630249"/>
              <a:gd name="connsiteY1163" fmla="*/ 4496254 h 6750795"/>
              <a:gd name="connsiteX1164" fmla="*/ 4621939 w 6630249"/>
              <a:gd name="connsiteY1164" fmla="*/ 4491123 h 6750795"/>
              <a:gd name="connsiteX1165" fmla="*/ 4634763 w 6630249"/>
              <a:gd name="connsiteY1165" fmla="*/ 4473169 h 6750795"/>
              <a:gd name="connsiteX1166" fmla="*/ 4601419 w 6630249"/>
              <a:gd name="connsiteY1166" fmla="*/ 4462910 h 6750795"/>
              <a:gd name="connsiteX1167" fmla="*/ 4593725 w 6630249"/>
              <a:gd name="connsiteY1167" fmla="*/ 4470604 h 6750795"/>
              <a:gd name="connsiteX1168" fmla="*/ 4601419 w 6630249"/>
              <a:gd name="connsiteY1168" fmla="*/ 4462910 h 6750795"/>
              <a:gd name="connsiteX1169" fmla="*/ 3837721 w 6630249"/>
              <a:gd name="connsiteY1169" fmla="*/ 4429886 h 6750795"/>
              <a:gd name="connsiteX1170" fmla="*/ 3855034 w 6630249"/>
              <a:gd name="connsiteY1170" fmla="*/ 4437261 h 6750795"/>
              <a:gd name="connsiteX1171" fmla="*/ 3867858 w 6630249"/>
              <a:gd name="connsiteY1171" fmla="*/ 4475734 h 6750795"/>
              <a:gd name="connsiteX1172" fmla="*/ 3829385 w 6630249"/>
              <a:gd name="connsiteY1172" fmla="*/ 4511643 h 6750795"/>
              <a:gd name="connsiteX1173" fmla="*/ 3821370 w 6630249"/>
              <a:gd name="connsiteY1173" fmla="*/ 4553002 h 6750795"/>
              <a:gd name="connsiteX1174" fmla="*/ 3833870 w 6630249"/>
              <a:gd name="connsiteY1174" fmla="*/ 4594160 h 6750795"/>
              <a:gd name="connsiteX1175" fmla="*/ 3832116 w 6630249"/>
              <a:gd name="connsiteY1175" fmla="*/ 4598685 h 6750795"/>
              <a:gd name="connsiteX1176" fmla="*/ 3824255 w 6630249"/>
              <a:gd name="connsiteY1176" fmla="*/ 4606545 h 6750795"/>
              <a:gd name="connsiteX1177" fmla="*/ 3793477 w 6630249"/>
              <a:gd name="connsiteY1177" fmla="*/ 4665537 h 6750795"/>
              <a:gd name="connsiteX1178" fmla="*/ 3739614 w 6630249"/>
              <a:gd name="connsiteY1178" fmla="*/ 4683492 h 6750795"/>
              <a:gd name="connsiteX1179" fmla="*/ 3642148 w 6630249"/>
              <a:gd name="connsiteY1179" fmla="*/ 4737354 h 6750795"/>
              <a:gd name="connsiteX1180" fmla="*/ 3634453 w 6630249"/>
              <a:gd name="connsiteY1180" fmla="*/ 4752744 h 6750795"/>
              <a:gd name="connsiteX1181" fmla="*/ 3649842 w 6630249"/>
              <a:gd name="connsiteY1181" fmla="*/ 4745049 h 6750795"/>
              <a:gd name="connsiteX1182" fmla="*/ 3839645 w 6630249"/>
              <a:gd name="connsiteY1182" fmla="*/ 4678362 h 6750795"/>
              <a:gd name="connsiteX1183" fmla="*/ 3839645 w 6630249"/>
              <a:gd name="connsiteY1183" fmla="*/ 4747614 h 6750795"/>
              <a:gd name="connsiteX1184" fmla="*/ 3603674 w 6630249"/>
              <a:gd name="connsiteY1184" fmla="*/ 4893813 h 6750795"/>
              <a:gd name="connsiteX1185" fmla="*/ 3595980 w 6630249"/>
              <a:gd name="connsiteY1185" fmla="*/ 4911767 h 6750795"/>
              <a:gd name="connsiteX1186" fmla="*/ 3613934 w 6630249"/>
              <a:gd name="connsiteY1186" fmla="*/ 4898942 h 6750795"/>
              <a:gd name="connsiteX1187" fmla="*/ 3678056 w 6630249"/>
              <a:gd name="connsiteY1187" fmla="*/ 4816866 h 6750795"/>
              <a:gd name="connsiteX1188" fmla="*/ 3716530 w 6630249"/>
              <a:gd name="connsiteY1188" fmla="*/ 4824561 h 6750795"/>
              <a:gd name="connsiteX1189" fmla="*/ 3731919 w 6630249"/>
              <a:gd name="connsiteY1189" fmla="*/ 4839950 h 6750795"/>
              <a:gd name="connsiteX1190" fmla="*/ 3724225 w 6630249"/>
              <a:gd name="connsiteY1190" fmla="*/ 4847644 h 6750795"/>
              <a:gd name="connsiteX1191" fmla="*/ 3716530 w 6630249"/>
              <a:gd name="connsiteY1191" fmla="*/ 4845080 h 6750795"/>
              <a:gd name="connsiteX1192" fmla="*/ 3713965 w 6630249"/>
              <a:gd name="connsiteY1192" fmla="*/ 4845080 h 6750795"/>
              <a:gd name="connsiteX1193" fmla="*/ 3711400 w 6630249"/>
              <a:gd name="connsiteY1193" fmla="*/ 4847644 h 6750795"/>
              <a:gd name="connsiteX1194" fmla="*/ 3690881 w 6630249"/>
              <a:gd name="connsiteY1194" fmla="*/ 4868164 h 6750795"/>
              <a:gd name="connsiteX1195" fmla="*/ 3703705 w 6630249"/>
              <a:gd name="connsiteY1195" fmla="*/ 4832255 h 6750795"/>
              <a:gd name="connsiteX1196" fmla="*/ 3703705 w 6630249"/>
              <a:gd name="connsiteY1196" fmla="*/ 4821996 h 6750795"/>
              <a:gd name="connsiteX1197" fmla="*/ 3696011 w 6630249"/>
              <a:gd name="connsiteY1197" fmla="*/ 4824561 h 6750795"/>
              <a:gd name="connsiteX1198" fmla="*/ 3657537 w 6630249"/>
              <a:gd name="connsiteY1198" fmla="*/ 4860469 h 6750795"/>
              <a:gd name="connsiteX1199" fmla="*/ 3631888 w 6630249"/>
              <a:gd name="connsiteY1199" fmla="*/ 4886118 h 6750795"/>
              <a:gd name="connsiteX1200" fmla="*/ 3637018 w 6630249"/>
              <a:gd name="connsiteY1200" fmla="*/ 4898942 h 6750795"/>
              <a:gd name="connsiteX1201" fmla="*/ 3680621 w 6630249"/>
              <a:gd name="connsiteY1201" fmla="*/ 4880988 h 6750795"/>
              <a:gd name="connsiteX1202" fmla="*/ 3637018 w 6630249"/>
              <a:gd name="connsiteY1202" fmla="*/ 4924591 h 6750795"/>
              <a:gd name="connsiteX1203" fmla="*/ 3593415 w 6630249"/>
              <a:gd name="connsiteY1203" fmla="*/ 4970759 h 6750795"/>
              <a:gd name="connsiteX1204" fmla="*/ 3601110 w 6630249"/>
              <a:gd name="connsiteY1204" fmla="*/ 4973324 h 6750795"/>
              <a:gd name="connsiteX1205" fmla="*/ 3690881 w 6630249"/>
              <a:gd name="connsiteY1205" fmla="*/ 4901507 h 6750795"/>
              <a:gd name="connsiteX1206" fmla="*/ 3693446 w 6630249"/>
              <a:gd name="connsiteY1206" fmla="*/ 4898942 h 6750795"/>
              <a:gd name="connsiteX1207" fmla="*/ 3567766 w 6630249"/>
              <a:gd name="connsiteY1207" fmla="*/ 5009233 h 6750795"/>
              <a:gd name="connsiteX1208" fmla="*/ 3506209 w 6630249"/>
              <a:gd name="connsiteY1208" fmla="*/ 5052836 h 6750795"/>
              <a:gd name="connsiteX1209" fmla="*/ 3511338 w 6630249"/>
              <a:gd name="connsiteY1209" fmla="*/ 5060531 h 6750795"/>
              <a:gd name="connsiteX1210" fmla="*/ 3408743 w 6630249"/>
              <a:gd name="connsiteY1210" fmla="*/ 5096439 h 6750795"/>
              <a:gd name="connsiteX1211" fmla="*/ 3388223 w 6630249"/>
              <a:gd name="connsiteY1211" fmla="*/ 5104134 h 6750795"/>
              <a:gd name="connsiteX1212" fmla="*/ 3390788 w 6630249"/>
              <a:gd name="connsiteY1212" fmla="*/ 5116958 h 6750795"/>
              <a:gd name="connsiteX1213" fmla="*/ 3747308 w 6630249"/>
              <a:gd name="connsiteY1213" fmla="*/ 4914332 h 6750795"/>
              <a:gd name="connsiteX1214" fmla="*/ 3752438 w 6630249"/>
              <a:gd name="connsiteY1214" fmla="*/ 4927156 h 6750795"/>
              <a:gd name="connsiteX1215" fmla="*/ 3757568 w 6630249"/>
              <a:gd name="connsiteY1215" fmla="*/ 4939981 h 6750795"/>
              <a:gd name="connsiteX1216" fmla="*/ 3683186 w 6630249"/>
              <a:gd name="connsiteY1216" fmla="*/ 5016928 h 6750795"/>
              <a:gd name="connsiteX1217" fmla="*/ 3675491 w 6630249"/>
              <a:gd name="connsiteY1217" fmla="*/ 5029752 h 6750795"/>
              <a:gd name="connsiteX1218" fmla="*/ 3688316 w 6630249"/>
              <a:gd name="connsiteY1218" fmla="*/ 5024622 h 6750795"/>
              <a:gd name="connsiteX1219" fmla="*/ 3744743 w 6630249"/>
              <a:gd name="connsiteY1219" fmla="*/ 4981019 h 6750795"/>
              <a:gd name="connsiteX1220" fmla="*/ 3762698 w 6630249"/>
              <a:gd name="connsiteY1220" fmla="*/ 4960500 h 6750795"/>
              <a:gd name="connsiteX1221" fmla="*/ 3755003 w 6630249"/>
              <a:gd name="connsiteY1221" fmla="*/ 4970759 h 6750795"/>
              <a:gd name="connsiteX1222" fmla="*/ 3742179 w 6630249"/>
              <a:gd name="connsiteY1222" fmla="*/ 4998973 h 6750795"/>
              <a:gd name="connsiteX1223" fmla="*/ 3703705 w 6630249"/>
              <a:gd name="connsiteY1223" fmla="*/ 5022057 h 6750795"/>
              <a:gd name="connsiteX1224" fmla="*/ 3590850 w 6630249"/>
              <a:gd name="connsiteY1224" fmla="*/ 5063096 h 6750795"/>
              <a:gd name="connsiteX1225" fmla="*/ 3588285 w 6630249"/>
              <a:gd name="connsiteY1225" fmla="*/ 5075920 h 6750795"/>
              <a:gd name="connsiteX1226" fmla="*/ 3719094 w 6630249"/>
              <a:gd name="connsiteY1226" fmla="*/ 5050271 h 6750795"/>
              <a:gd name="connsiteX1227" fmla="*/ 3742179 w 6630249"/>
              <a:gd name="connsiteY1227" fmla="*/ 5034882 h 6750795"/>
              <a:gd name="connsiteX1228" fmla="*/ 3737049 w 6630249"/>
              <a:gd name="connsiteY1228" fmla="*/ 5119523 h 6750795"/>
              <a:gd name="connsiteX1229" fmla="*/ 3698576 w 6630249"/>
              <a:gd name="connsiteY1229" fmla="*/ 5234943 h 6750795"/>
              <a:gd name="connsiteX1230" fmla="*/ 3598545 w 6630249"/>
              <a:gd name="connsiteY1230" fmla="*/ 5229814 h 6750795"/>
              <a:gd name="connsiteX1231" fmla="*/ 3480560 w 6630249"/>
              <a:gd name="connsiteY1231" fmla="*/ 5206730 h 6750795"/>
              <a:gd name="connsiteX1232" fmla="*/ 3480560 w 6630249"/>
              <a:gd name="connsiteY1232" fmla="*/ 5219554 h 6750795"/>
              <a:gd name="connsiteX1233" fmla="*/ 3516468 w 6630249"/>
              <a:gd name="connsiteY1233" fmla="*/ 5227249 h 6750795"/>
              <a:gd name="connsiteX1234" fmla="*/ 3619064 w 6630249"/>
              <a:gd name="connsiteY1234" fmla="*/ 5268287 h 6750795"/>
              <a:gd name="connsiteX1235" fmla="*/ 3357445 w 6630249"/>
              <a:gd name="connsiteY1235" fmla="*/ 5352928 h 6750795"/>
              <a:gd name="connsiteX1236" fmla="*/ 3298452 w 6630249"/>
              <a:gd name="connsiteY1236" fmla="*/ 5286241 h 6750795"/>
              <a:gd name="connsiteX1237" fmla="*/ 3188162 w 6630249"/>
              <a:gd name="connsiteY1237" fmla="*/ 5206730 h 6750795"/>
              <a:gd name="connsiteX1238" fmla="*/ 3185597 w 6630249"/>
              <a:gd name="connsiteY1238" fmla="*/ 5206730 h 6750795"/>
              <a:gd name="connsiteX1239" fmla="*/ 3183033 w 6630249"/>
              <a:gd name="connsiteY1239" fmla="*/ 5206730 h 6750795"/>
              <a:gd name="connsiteX1240" fmla="*/ 3151848 w 6630249"/>
              <a:gd name="connsiteY1240" fmla="*/ 5235480 h 6750795"/>
              <a:gd name="connsiteX1241" fmla="*/ 3133288 w 6630249"/>
              <a:gd name="connsiteY1241" fmla="*/ 5261808 h 6750795"/>
              <a:gd name="connsiteX1242" fmla="*/ 3126604 w 6630249"/>
              <a:gd name="connsiteY1242" fmla="*/ 5252898 h 6750795"/>
              <a:gd name="connsiteX1243" fmla="*/ 3062482 w 6630249"/>
              <a:gd name="connsiteY1243" fmla="*/ 5340104 h 6750795"/>
              <a:gd name="connsiteX1244" fmla="*/ 3059917 w 6630249"/>
              <a:gd name="connsiteY1244" fmla="*/ 5319585 h 6750795"/>
              <a:gd name="connsiteX1245" fmla="*/ 3052222 w 6630249"/>
              <a:gd name="connsiteY1245" fmla="*/ 5304196 h 6750795"/>
              <a:gd name="connsiteX1246" fmla="*/ 3047094 w 6630249"/>
              <a:gd name="connsiteY1246" fmla="*/ 5319585 h 6750795"/>
              <a:gd name="connsiteX1247" fmla="*/ 2944497 w 6630249"/>
              <a:gd name="connsiteY1247" fmla="*/ 5583769 h 6750795"/>
              <a:gd name="connsiteX1248" fmla="*/ 2908589 w 6630249"/>
              <a:gd name="connsiteY1248" fmla="*/ 5622242 h 6750795"/>
              <a:gd name="connsiteX1249" fmla="*/ 2849596 w 6630249"/>
              <a:gd name="connsiteY1249" fmla="*/ 5704319 h 6750795"/>
              <a:gd name="connsiteX1250" fmla="*/ 2877810 w 6630249"/>
              <a:gd name="connsiteY1250" fmla="*/ 5747922 h 6750795"/>
              <a:gd name="connsiteX1251" fmla="*/ 2885504 w 6630249"/>
              <a:gd name="connsiteY1251" fmla="*/ 5753052 h 6750795"/>
              <a:gd name="connsiteX1252" fmla="*/ 2888069 w 6630249"/>
              <a:gd name="connsiteY1252" fmla="*/ 5742792 h 6750795"/>
              <a:gd name="connsiteX1253" fmla="*/ 2888069 w 6630249"/>
              <a:gd name="connsiteY1253" fmla="*/ 5740227 h 6750795"/>
              <a:gd name="connsiteX1254" fmla="*/ 2890634 w 6630249"/>
              <a:gd name="connsiteY1254" fmla="*/ 5760746 h 6750795"/>
              <a:gd name="connsiteX1255" fmla="*/ 2903459 w 6630249"/>
              <a:gd name="connsiteY1255" fmla="*/ 5758181 h 6750795"/>
              <a:gd name="connsiteX1256" fmla="*/ 2906023 w 6630249"/>
              <a:gd name="connsiteY1256" fmla="*/ 5747922 h 6750795"/>
              <a:gd name="connsiteX1257" fmla="*/ 2908589 w 6630249"/>
              <a:gd name="connsiteY1257" fmla="*/ 5747922 h 6750795"/>
              <a:gd name="connsiteX1258" fmla="*/ 2923978 w 6630249"/>
              <a:gd name="connsiteY1258" fmla="*/ 5742792 h 6750795"/>
              <a:gd name="connsiteX1259" fmla="*/ 2926543 w 6630249"/>
              <a:gd name="connsiteY1259" fmla="*/ 5722273 h 6750795"/>
              <a:gd name="connsiteX1260" fmla="*/ 2923978 w 6630249"/>
              <a:gd name="connsiteY1260" fmla="*/ 5719708 h 6750795"/>
              <a:gd name="connsiteX1261" fmla="*/ 2982970 w 6630249"/>
              <a:gd name="connsiteY1261" fmla="*/ 5622242 h 6750795"/>
              <a:gd name="connsiteX1262" fmla="*/ 3025612 w 6630249"/>
              <a:gd name="connsiteY1262" fmla="*/ 5561967 h 6750795"/>
              <a:gd name="connsiteX1263" fmla="*/ 3040513 w 6630249"/>
              <a:gd name="connsiteY1263" fmla="*/ 5531102 h 6750795"/>
              <a:gd name="connsiteX1264" fmla="*/ 3033948 w 6630249"/>
              <a:gd name="connsiteY1264" fmla="*/ 5551708 h 6750795"/>
              <a:gd name="connsiteX1265" fmla="*/ 2995795 w 6630249"/>
              <a:gd name="connsiteY1265" fmla="*/ 5609418 h 6750795"/>
              <a:gd name="connsiteX1266" fmla="*/ 2939368 w 6630249"/>
              <a:gd name="connsiteY1266" fmla="*/ 5712013 h 6750795"/>
              <a:gd name="connsiteX1267" fmla="*/ 2936802 w 6630249"/>
              <a:gd name="connsiteY1267" fmla="*/ 5719708 h 6750795"/>
              <a:gd name="connsiteX1268" fmla="*/ 2944497 w 6630249"/>
              <a:gd name="connsiteY1268" fmla="*/ 5719708 h 6750795"/>
              <a:gd name="connsiteX1269" fmla="*/ 2972711 w 6630249"/>
              <a:gd name="connsiteY1269" fmla="*/ 5694059 h 6750795"/>
              <a:gd name="connsiteX1270" fmla="*/ 2975276 w 6630249"/>
              <a:gd name="connsiteY1270" fmla="*/ 5681235 h 6750795"/>
              <a:gd name="connsiteX1271" fmla="*/ 3013749 w 6630249"/>
              <a:gd name="connsiteY1271" fmla="*/ 5622242 h 6750795"/>
              <a:gd name="connsiteX1272" fmla="*/ 3070177 w 6630249"/>
              <a:gd name="connsiteY1272" fmla="*/ 5435005 h 6750795"/>
              <a:gd name="connsiteX1273" fmla="*/ 3070177 w 6630249"/>
              <a:gd name="connsiteY1273" fmla="*/ 5432440 h 6750795"/>
              <a:gd name="connsiteX1274" fmla="*/ 3067612 w 6630249"/>
              <a:gd name="connsiteY1274" fmla="*/ 5432440 h 6750795"/>
              <a:gd name="connsiteX1275" fmla="*/ 3062482 w 6630249"/>
              <a:gd name="connsiteY1275" fmla="*/ 5432440 h 6750795"/>
              <a:gd name="connsiteX1276" fmla="*/ 3087811 w 6630249"/>
              <a:gd name="connsiteY1276" fmla="*/ 5342990 h 6750795"/>
              <a:gd name="connsiteX1277" fmla="*/ 3119983 w 6630249"/>
              <a:gd name="connsiteY1277" fmla="*/ 5287742 h 6750795"/>
              <a:gd name="connsiteX1278" fmla="*/ 3091658 w 6630249"/>
              <a:gd name="connsiteY1278" fmla="*/ 5361585 h 6750795"/>
              <a:gd name="connsiteX1279" fmla="*/ 3106085 w 6630249"/>
              <a:gd name="connsiteY1279" fmla="*/ 5545295 h 6750795"/>
              <a:gd name="connsiteX1280" fmla="*/ 3098391 w 6630249"/>
              <a:gd name="connsiteY1280" fmla="*/ 5547860 h 6750795"/>
              <a:gd name="connsiteX1281" fmla="*/ 3070177 w 6630249"/>
              <a:gd name="connsiteY1281" fmla="*/ 5570944 h 6750795"/>
              <a:gd name="connsiteX1282" fmla="*/ 3070177 w 6630249"/>
              <a:gd name="connsiteY1282" fmla="*/ 5573509 h 6750795"/>
              <a:gd name="connsiteX1283" fmla="*/ 3070177 w 6630249"/>
              <a:gd name="connsiteY1283" fmla="*/ 5576074 h 6750795"/>
              <a:gd name="connsiteX1284" fmla="*/ 3062482 w 6630249"/>
              <a:gd name="connsiteY1284" fmla="*/ 5637632 h 6750795"/>
              <a:gd name="connsiteX1285" fmla="*/ 3026574 w 6630249"/>
              <a:gd name="connsiteY1285" fmla="*/ 5647891 h 6750795"/>
              <a:gd name="connsiteX1286" fmla="*/ 3026574 w 6630249"/>
              <a:gd name="connsiteY1286" fmla="*/ 5650456 h 6750795"/>
              <a:gd name="connsiteX1287" fmla="*/ 3026574 w 6630249"/>
              <a:gd name="connsiteY1287" fmla="*/ 5653021 h 6750795"/>
              <a:gd name="connsiteX1288" fmla="*/ 3026574 w 6630249"/>
              <a:gd name="connsiteY1288" fmla="*/ 5670975 h 6750795"/>
              <a:gd name="connsiteX1289" fmla="*/ 3008619 w 6630249"/>
              <a:gd name="connsiteY1289" fmla="*/ 5735098 h 6750795"/>
              <a:gd name="connsiteX1290" fmla="*/ 2913718 w 6630249"/>
              <a:gd name="connsiteY1290" fmla="*/ 5776136 h 6750795"/>
              <a:gd name="connsiteX1291" fmla="*/ 2903459 w 6630249"/>
              <a:gd name="connsiteY1291" fmla="*/ 5788960 h 6750795"/>
              <a:gd name="connsiteX1292" fmla="*/ 2839336 w 6630249"/>
              <a:gd name="connsiteY1292" fmla="*/ 5786395 h 6750795"/>
              <a:gd name="connsiteX1293" fmla="*/ 2808558 w 6630249"/>
              <a:gd name="connsiteY1293" fmla="*/ 5824869 h 6750795"/>
              <a:gd name="connsiteX1294" fmla="*/ 2764954 w 6630249"/>
              <a:gd name="connsiteY1294" fmla="*/ 5824869 h 6750795"/>
              <a:gd name="connsiteX1295" fmla="*/ 2757260 w 6630249"/>
              <a:gd name="connsiteY1295" fmla="*/ 5827433 h 6750795"/>
              <a:gd name="connsiteX1296" fmla="*/ 2800863 w 6630249"/>
              <a:gd name="connsiteY1296" fmla="*/ 5704319 h 6750795"/>
              <a:gd name="connsiteX1297" fmla="*/ 2849596 w 6630249"/>
              <a:gd name="connsiteY1297" fmla="*/ 5552990 h 6750795"/>
              <a:gd name="connsiteX1298" fmla="*/ 2836771 w 6630249"/>
              <a:gd name="connsiteY1298" fmla="*/ 5550425 h 6750795"/>
              <a:gd name="connsiteX1299" fmla="*/ 2788038 w 6630249"/>
              <a:gd name="connsiteY1299" fmla="*/ 5681235 h 6750795"/>
              <a:gd name="connsiteX1300" fmla="*/ 2747000 w 6630249"/>
              <a:gd name="connsiteY1300" fmla="*/ 5863342 h 6750795"/>
              <a:gd name="connsiteX1301" fmla="*/ 2700832 w 6630249"/>
              <a:gd name="connsiteY1301" fmla="*/ 5773571 h 6750795"/>
              <a:gd name="connsiteX1302" fmla="*/ 2703397 w 6630249"/>
              <a:gd name="connsiteY1302" fmla="*/ 5735098 h 6750795"/>
              <a:gd name="connsiteX1303" fmla="*/ 2695702 w 6630249"/>
              <a:gd name="connsiteY1303" fmla="*/ 5727403 h 6750795"/>
              <a:gd name="connsiteX1304" fmla="*/ 2693137 w 6630249"/>
              <a:gd name="connsiteY1304" fmla="*/ 5714578 h 6750795"/>
              <a:gd name="connsiteX1305" fmla="*/ 2585412 w 6630249"/>
              <a:gd name="connsiteY1305" fmla="*/ 5673540 h 6750795"/>
              <a:gd name="connsiteX1306" fmla="*/ 2500770 w 6630249"/>
              <a:gd name="connsiteY1306" fmla="*/ 5604288 h 6750795"/>
              <a:gd name="connsiteX1307" fmla="*/ 2418694 w 6630249"/>
              <a:gd name="connsiteY1307" fmla="*/ 5493997 h 6750795"/>
              <a:gd name="connsiteX1308" fmla="*/ 2485381 w 6630249"/>
              <a:gd name="connsiteY1308" fmla="*/ 5445265 h 6750795"/>
              <a:gd name="connsiteX1309" fmla="*/ 2477686 w 6630249"/>
              <a:gd name="connsiteY1309" fmla="*/ 5435005 h 6750795"/>
              <a:gd name="connsiteX1310" fmla="*/ 2400741 w 6630249"/>
              <a:gd name="connsiteY1310" fmla="*/ 5470914 h 6750795"/>
              <a:gd name="connsiteX1311" fmla="*/ 2393045 w 6630249"/>
              <a:gd name="connsiteY1311" fmla="*/ 5473479 h 6750795"/>
              <a:gd name="connsiteX1312" fmla="*/ 2385350 w 6630249"/>
              <a:gd name="connsiteY1312" fmla="*/ 5458089 h 6750795"/>
              <a:gd name="connsiteX1313" fmla="*/ 2323793 w 6630249"/>
              <a:gd name="connsiteY1313" fmla="*/ 5488868 h 6750795"/>
              <a:gd name="connsiteX1314" fmla="*/ 2854726 w 6630249"/>
              <a:gd name="connsiteY1314" fmla="*/ 5229814 h 6750795"/>
              <a:gd name="connsiteX1315" fmla="*/ 3054787 w 6630249"/>
              <a:gd name="connsiteY1315" fmla="*/ 5132348 h 6750795"/>
              <a:gd name="connsiteX1316" fmla="*/ 3567766 w 6630249"/>
              <a:gd name="connsiteY1316" fmla="*/ 4770698 h 6750795"/>
              <a:gd name="connsiteX1317" fmla="*/ 3557507 w 6630249"/>
              <a:gd name="connsiteY1317" fmla="*/ 4763003 h 6750795"/>
              <a:gd name="connsiteX1318" fmla="*/ 3460041 w 6630249"/>
              <a:gd name="connsiteY1318" fmla="*/ 4850210 h 6750795"/>
              <a:gd name="connsiteX1319" fmla="*/ 3370269 w 6630249"/>
              <a:gd name="connsiteY1319" fmla="*/ 4934851 h 6750795"/>
              <a:gd name="connsiteX1320" fmla="*/ 3224070 w 6630249"/>
              <a:gd name="connsiteY1320" fmla="*/ 5019492 h 6750795"/>
              <a:gd name="connsiteX1321" fmla="*/ 3236896 w 6630249"/>
              <a:gd name="connsiteY1321" fmla="*/ 5006668 h 6750795"/>
              <a:gd name="connsiteX1322" fmla="*/ 3252284 w 6630249"/>
              <a:gd name="connsiteY1322" fmla="*/ 4993843 h 6750795"/>
              <a:gd name="connsiteX1323" fmla="*/ 3516468 w 6630249"/>
              <a:gd name="connsiteY1323" fmla="*/ 4783522 h 6750795"/>
              <a:gd name="connsiteX1324" fmla="*/ 3506209 w 6630249"/>
              <a:gd name="connsiteY1324" fmla="*/ 4775827 h 6750795"/>
              <a:gd name="connsiteX1325" fmla="*/ 3478923 w 6630249"/>
              <a:gd name="connsiteY1325" fmla="*/ 4798380 h 6750795"/>
              <a:gd name="connsiteX1326" fmla="*/ 3494667 w 6630249"/>
              <a:gd name="connsiteY1326" fmla="*/ 4781598 h 6750795"/>
              <a:gd name="connsiteX1327" fmla="*/ 3578025 w 6630249"/>
              <a:gd name="connsiteY1327" fmla="*/ 4647583 h 6750795"/>
              <a:gd name="connsiteX1328" fmla="*/ 3657537 w 6630249"/>
              <a:gd name="connsiteY1328" fmla="*/ 4575765 h 6750795"/>
              <a:gd name="connsiteX1329" fmla="*/ 3701140 w 6630249"/>
              <a:gd name="connsiteY1329" fmla="*/ 4542421 h 6750795"/>
              <a:gd name="connsiteX1330" fmla="*/ 3816561 w 6630249"/>
              <a:gd name="connsiteY1330" fmla="*/ 4432131 h 6750795"/>
              <a:gd name="connsiteX1331" fmla="*/ 3837721 w 6630249"/>
              <a:gd name="connsiteY1331" fmla="*/ 4429886 h 6750795"/>
              <a:gd name="connsiteX1332" fmla="*/ 3608804 w 6630249"/>
              <a:gd name="connsiteY1332" fmla="*/ 4373138 h 6750795"/>
              <a:gd name="connsiteX1333" fmla="*/ 3599186 w 6630249"/>
              <a:gd name="connsiteY1333" fmla="*/ 4395260 h 6750795"/>
              <a:gd name="connsiteX1334" fmla="*/ 3598855 w 6630249"/>
              <a:gd name="connsiteY1334" fmla="*/ 4395662 h 6750795"/>
              <a:gd name="connsiteX1335" fmla="*/ 1202978 w 6630249"/>
              <a:gd name="connsiteY1335" fmla="*/ 4280134 h 6750795"/>
              <a:gd name="connsiteX1336" fmla="*/ 1203016 w 6630249"/>
              <a:gd name="connsiteY1336" fmla="*/ 4280201 h 6750795"/>
              <a:gd name="connsiteX1337" fmla="*/ 1213837 w 6630249"/>
              <a:gd name="connsiteY1337" fmla="*/ 4335627 h 6750795"/>
              <a:gd name="connsiteX1338" fmla="*/ 1213841 w 6630249"/>
              <a:gd name="connsiteY1338" fmla="*/ 4336569 h 6750795"/>
              <a:gd name="connsiteX1339" fmla="*/ 3593417 w 6630249"/>
              <a:gd name="connsiteY1339" fmla="*/ 4262848 h 6750795"/>
              <a:gd name="connsiteX1340" fmla="*/ 3595982 w 6630249"/>
              <a:gd name="connsiteY1340" fmla="*/ 4265413 h 6750795"/>
              <a:gd name="connsiteX1341" fmla="*/ 3593417 w 6630249"/>
              <a:gd name="connsiteY1341" fmla="*/ 4278237 h 6750795"/>
              <a:gd name="connsiteX1342" fmla="*/ 3593417 w 6630249"/>
              <a:gd name="connsiteY1342" fmla="*/ 4262848 h 6750795"/>
              <a:gd name="connsiteX1343" fmla="*/ 1043592 w 6630249"/>
              <a:gd name="connsiteY1343" fmla="*/ 4224374 h 6750795"/>
              <a:gd name="connsiteX1344" fmla="*/ 1069562 w 6630249"/>
              <a:gd name="connsiteY1344" fmla="*/ 4224374 h 6750795"/>
              <a:gd name="connsiteX1345" fmla="*/ 1102905 w 6630249"/>
              <a:gd name="connsiteY1345" fmla="*/ 4239764 h 6750795"/>
              <a:gd name="connsiteX1346" fmla="*/ 1154203 w 6630249"/>
              <a:gd name="connsiteY1346" fmla="*/ 4257718 h 6750795"/>
              <a:gd name="connsiteX1347" fmla="*/ 1167028 w 6630249"/>
              <a:gd name="connsiteY1347" fmla="*/ 4250023 h 6750795"/>
              <a:gd name="connsiteX1348" fmla="*/ 1195241 w 6630249"/>
              <a:gd name="connsiteY1348" fmla="*/ 4450085 h 6750795"/>
              <a:gd name="connsiteX1349" fmla="*/ 1208066 w 6630249"/>
              <a:gd name="connsiteY1349" fmla="*/ 4450085 h 6750795"/>
              <a:gd name="connsiteX1350" fmla="*/ 1214078 w 6630249"/>
              <a:gd name="connsiteY1350" fmla="*/ 4394419 h 6750795"/>
              <a:gd name="connsiteX1351" fmla="*/ 1213841 w 6630249"/>
              <a:gd name="connsiteY1351" fmla="*/ 4336569 h 6750795"/>
              <a:gd name="connsiteX1352" fmla="*/ 1218967 w 6630249"/>
              <a:gd name="connsiteY1352" fmla="*/ 4363199 h 6750795"/>
              <a:gd name="connsiteX1353" fmla="*/ 1218326 w 6630249"/>
              <a:gd name="connsiteY1353" fmla="*/ 4591155 h 6750795"/>
              <a:gd name="connsiteX1354" fmla="*/ 941316 w 6630249"/>
              <a:gd name="connsiteY1354" fmla="*/ 4573201 h 6750795"/>
              <a:gd name="connsiteX1355" fmla="*/ 1092646 w 6630249"/>
              <a:gd name="connsiteY1355" fmla="*/ 4493689 h 6750795"/>
              <a:gd name="connsiteX1356" fmla="*/ 956705 w 6630249"/>
              <a:gd name="connsiteY1356" fmla="*/ 4473169 h 6750795"/>
              <a:gd name="connsiteX1357" fmla="*/ 1036217 w 6630249"/>
              <a:gd name="connsiteY1357" fmla="*/ 4432130 h 6750795"/>
              <a:gd name="connsiteX1358" fmla="*/ 836155 w 6630249"/>
              <a:gd name="connsiteY1358" fmla="*/ 4442390 h 6750795"/>
              <a:gd name="connsiteX1359" fmla="*/ 756644 w 6630249"/>
              <a:gd name="connsiteY1359" fmla="*/ 4411611 h 6750795"/>
              <a:gd name="connsiteX1360" fmla="*/ 966965 w 6630249"/>
              <a:gd name="connsiteY1360" fmla="*/ 4226939 h 6750795"/>
              <a:gd name="connsiteX1361" fmla="*/ 992614 w 6630249"/>
              <a:gd name="connsiteY1361" fmla="*/ 4242329 h 6750795"/>
              <a:gd name="connsiteX1362" fmla="*/ 995179 w 6630249"/>
              <a:gd name="connsiteY1362" fmla="*/ 4242329 h 6750795"/>
              <a:gd name="connsiteX1363" fmla="*/ 1023394 w 6630249"/>
              <a:gd name="connsiteY1363" fmla="*/ 4232069 h 6750795"/>
              <a:gd name="connsiteX1364" fmla="*/ 1043592 w 6630249"/>
              <a:gd name="connsiteY1364" fmla="*/ 4224374 h 6750795"/>
              <a:gd name="connsiteX1365" fmla="*/ 1177077 w 6630249"/>
              <a:gd name="connsiteY1365" fmla="*/ 4220738 h 6750795"/>
              <a:gd name="connsiteX1366" fmla="*/ 1200291 w 6630249"/>
              <a:gd name="connsiteY1366" fmla="*/ 4266174 h 6750795"/>
              <a:gd name="connsiteX1367" fmla="*/ 1202978 w 6630249"/>
              <a:gd name="connsiteY1367" fmla="*/ 4280134 h 6750795"/>
              <a:gd name="connsiteX1368" fmla="*/ 1177287 w 6630249"/>
              <a:gd name="connsiteY1368" fmla="*/ 4234634 h 6750795"/>
              <a:gd name="connsiteX1369" fmla="*/ 1226019 w 6630249"/>
              <a:gd name="connsiteY1369" fmla="*/ 4196161 h 6750795"/>
              <a:gd name="connsiteX1370" fmla="*/ 1264493 w 6630249"/>
              <a:gd name="connsiteY1370" fmla="*/ 4270543 h 6750795"/>
              <a:gd name="connsiteX1371" fmla="*/ 1226019 w 6630249"/>
              <a:gd name="connsiteY1371" fmla="*/ 4196161 h 6750795"/>
              <a:gd name="connsiteX1372" fmla="*/ 1161898 w 6630249"/>
              <a:gd name="connsiteY1372" fmla="*/ 4191031 h 6750795"/>
              <a:gd name="connsiteX1373" fmla="*/ 1167028 w 6630249"/>
              <a:gd name="connsiteY1373" fmla="*/ 4196160 h 6750795"/>
              <a:gd name="connsiteX1374" fmla="*/ 1176966 w 6630249"/>
              <a:gd name="connsiteY1374" fmla="*/ 4213473 h 6750795"/>
              <a:gd name="connsiteX1375" fmla="*/ 1177077 w 6630249"/>
              <a:gd name="connsiteY1375" fmla="*/ 4220738 h 6750795"/>
              <a:gd name="connsiteX1376" fmla="*/ 1272187 w 6630249"/>
              <a:gd name="connsiteY1376" fmla="*/ 4175642 h 6750795"/>
              <a:gd name="connsiteX1377" fmla="*/ 1446599 w 6630249"/>
              <a:gd name="connsiteY1377" fmla="*/ 4185901 h 6750795"/>
              <a:gd name="connsiteX1378" fmla="*/ 1467119 w 6630249"/>
              <a:gd name="connsiteY1378" fmla="*/ 4198726 h 6750795"/>
              <a:gd name="connsiteX1379" fmla="*/ 1533806 w 6630249"/>
              <a:gd name="connsiteY1379" fmla="*/ 4221810 h 6750795"/>
              <a:gd name="connsiteX1380" fmla="*/ 1582539 w 6630249"/>
              <a:gd name="connsiteY1380" fmla="*/ 4260283 h 6750795"/>
              <a:gd name="connsiteX1381" fmla="*/ 1600493 w 6630249"/>
              <a:gd name="connsiteY1381" fmla="*/ 4267978 h 6750795"/>
              <a:gd name="connsiteX1382" fmla="*/ 1605623 w 6630249"/>
              <a:gd name="connsiteY1382" fmla="*/ 4270543 h 6750795"/>
              <a:gd name="connsiteX1383" fmla="*/ 1608188 w 6630249"/>
              <a:gd name="connsiteY1383" fmla="*/ 4267978 h 6750795"/>
              <a:gd name="connsiteX1384" fmla="*/ 1656922 w 6630249"/>
              <a:gd name="connsiteY1384" fmla="*/ 4262848 h 6750795"/>
              <a:gd name="connsiteX1385" fmla="*/ 1695395 w 6630249"/>
              <a:gd name="connsiteY1385" fmla="*/ 4301321 h 6750795"/>
              <a:gd name="connsiteX1386" fmla="*/ 1628708 w 6630249"/>
              <a:gd name="connsiteY1386" fmla="*/ 4429566 h 6750795"/>
              <a:gd name="connsiteX1387" fmla="*/ 1574844 w 6630249"/>
              <a:gd name="connsiteY1387" fmla="*/ 4529597 h 6750795"/>
              <a:gd name="connsiteX1388" fmla="*/ 1574844 w 6630249"/>
              <a:gd name="connsiteY1388" fmla="*/ 4544986 h 6750795"/>
              <a:gd name="connsiteX1389" fmla="*/ 1585104 w 6630249"/>
              <a:gd name="connsiteY1389" fmla="*/ 4534727 h 6750795"/>
              <a:gd name="connsiteX1390" fmla="*/ 1667181 w 6630249"/>
              <a:gd name="connsiteY1390" fmla="*/ 4409047 h 6750795"/>
              <a:gd name="connsiteX1391" fmla="*/ 1697960 w 6630249"/>
              <a:gd name="connsiteY1391" fmla="*/ 4355184 h 6750795"/>
              <a:gd name="connsiteX1392" fmla="*/ 1600493 w 6630249"/>
              <a:gd name="connsiteY1392" fmla="*/ 4529597 h 6750795"/>
              <a:gd name="connsiteX1393" fmla="*/ 1554325 w 6630249"/>
              <a:gd name="connsiteY1393" fmla="*/ 4601414 h 6750795"/>
              <a:gd name="connsiteX1394" fmla="*/ 1564585 w 6630249"/>
              <a:gd name="connsiteY1394" fmla="*/ 4609108 h 6750795"/>
              <a:gd name="connsiteX1395" fmla="*/ 1590233 w 6630249"/>
              <a:gd name="connsiteY1395" fmla="*/ 4578330 h 6750795"/>
              <a:gd name="connsiteX1396" fmla="*/ 1667181 w 6630249"/>
              <a:gd name="connsiteY1396" fmla="*/ 4473169 h 6750795"/>
              <a:gd name="connsiteX1397" fmla="*/ 1754388 w 6630249"/>
              <a:gd name="connsiteY1397" fmla="*/ 4278237 h 6750795"/>
              <a:gd name="connsiteX1398" fmla="*/ 1795426 w 6630249"/>
              <a:gd name="connsiteY1398" fmla="*/ 4301321 h 6750795"/>
              <a:gd name="connsiteX1399" fmla="*/ 1808251 w 6630249"/>
              <a:gd name="connsiteY1399" fmla="*/ 4314146 h 6750795"/>
              <a:gd name="connsiteX1400" fmla="*/ 1900586 w 6630249"/>
              <a:gd name="connsiteY1400" fmla="*/ 4478299 h 6750795"/>
              <a:gd name="connsiteX1401" fmla="*/ 1915976 w 6630249"/>
              <a:gd name="connsiteY1401" fmla="*/ 4491124 h 6750795"/>
              <a:gd name="connsiteX1402" fmla="*/ 1851853 w 6630249"/>
              <a:gd name="connsiteY1402" fmla="*/ 4552681 h 6750795"/>
              <a:gd name="connsiteX1403" fmla="*/ 1844159 w 6630249"/>
              <a:gd name="connsiteY1403" fmla="*/ 4557811 h 6750795"/>
              <a:gd name="connsiteX1404" fmla="*/ 1841594 w 6630249"/>
              <a:gd name="connsiteY1404" fmla="*/ 4555246 h 6750795"/>
              <a:gd name="connsiteX1405" fmla="*/ 1839029 w 6630249"/>
              <a:gd name="connsiteY1405" fmla="*/ 4552681 h 6750795"/>
              <a:gd name="connsiteX1406" fmla="*/ 1836464 w 6630249"/>
              <a:gd name="connsiteY1406" fmla="*/ 4552681 h 6750795"/>
              <a:gd name="connsiteX1407" fmla="*/ 1600493 w 6630249"/>
              <a:gd name="connsiteY1407" fmla="*/ 4957934 h 6750795"/>
              <a:gd name="connsiteX1408" fmla="*/ 1608188 w 6630249"/>
              <a:gd name="connsiteY1408" fmla="*/ 5055400 h 6750795"/>
              <a:gd name="connsiteX1409" fmla="*/ 1595363 w 6630249"/>
              <a:gd name="connsiteY1409" fmla="*/ 5052835 h 6750795"/>
              <a:gd name="connsiteX1410" fmla="*/ 1603058 w 6630249"/>
              <a:gd name="connsiteY1410" fmla="*/ 5063095 h 6750795"/>
              <a:gd name="connsiteX1411" fmla="*/ 1618449 w 6630249"/>
              <a:gd name="connsiteY1411" fmla="*/ 5132347 h 6750795"/>
              <a:gd name="connsiteX1412" fmla="*/ 1613318 w 6630249"/>
              <a:gd name="connsiteY1412" fmla="*/ 5140042 h 6750795"/>
              <a:gd name="connsiteX1413" fmla="*/ 1603058 w 6630249"/>
              <a:gd name="connsiteY1413" fmla="*/ 5119522 h 6750795"/>
              <a:gd name="connsiteX1414" fmla="*/ 1595363 w 6630249"/>
              <a:gd name="connsiteY1414" fmla="*/ 5122087 h 6750795"/>
              <a:gd name="connsiteX1415" fmla="*/ 1569714 w 6630249"/>
              <a:gd name="connsiteY1415" fmla="*/ 4860468 h 6750795"/>
              <a:gd name="connsiteX1416" fmla="*/ 1726174 w 6630249"/>
              <a:gd name="connsiteY1416" fmla="*/ 4570635 h 6750795"/>
              <a:gd name="connsiteX1417" fmla="*/ 1792861 w 6630249"/>
              <a:gd name="connsiteY1417" fmla="*/ 4544986 h 6750795"/>
              <a:gd name="connsiteX1418" fmla="*/ 1859548 w 6630249"/>
              <a:gd name="connsiteY1418" fmla="*/ 4521902 h 6750795"/>
              <a:gd name="connsiteX1419" fmla="*/ 1872373 w 6630249"/>
              <a:gd name="connsiteY1419" fmla="*/ 4514207 h 6750795"/>
              <a:gd name="connsiteX1420" fmla="*/ 1856983 w 6630249"/>
              <a:gd name="connsiteY1420" fmla="*/ 4511643 h 6750795"/>
              <a:gd name="connsiteX1421" fmla="*/ 1700525 w 6630249"/>
              <a:gd name="connsiteY1421" fmla="*/ 4552681 h 6750795"/>
              <a:gd name="connsiteX1422" fmla="*/ 1531241 w 6630249"/>
              <a:gd name="connsiteY1422" fmla="*/ 4888682 h 6750795"/>
              <a:gd name="connsiteX1423" fmla="*/ 1564585 w 6630249"/>
              <a:gd name="connsiteY1423" fmla="*/ 5129782 h 6750795"/>
              <a:gd name="connsiteX1424" fmla="*/ 1526111 w 6630249"/>
              <a:gd name="connsiteY1424" fmla="*/ 5129782 h 6750795"/>
              <a:gd name="connsiteX1425" fmla="*/ 1451729 w 6630249"/>
              <a:gd name="connsiteY1425" fmla="*/ 5083614 h 6750795"/>
              <a:gd name="connsiteX1426" fmla="*/ 1467119 w 6630249"/>
              <a:gd name="connsiteY1426" fmla="*/ 5073354 h 6750795"/>
              <a:gd name="connsiteX1427" fmla="*/ 1415821 w 6630249"/>
              <a:gd name="connsiteY1427" fmla="*/ 5042576 h 6750795"/>
              <a:gd name="connsiteX1428" fmla="*/ 1379912 w 6630249"/>
              <a:gd name="connsiteY1428" fmla="*/ 4957934 h 6750795"/>
              <a:gd name="connsiteX1429" fmla="*/ 1377347 w 6630249"/>
              <a:gd name="connsiteY1429" fmla="*/ 4880987 h 6750795"/>
              <a:gd name="connsiteX1430" fmla="*/ 1385042 w 6630249"/>
              <a:gd name="connsiteY1430" fmla="*/ 4878422 h 6750795"/>
              <a:gd name="connsiteX1431" fmla="*/ 1364523 w 6630249"/>
              <a:gd name="connsiteY1431" fmla="*/ 4688620 h 6750795"/>
              <a:gd name="connsiteX1432" fmla="*/ 1279881 w 6630249"/>
              <a:gd name="connsiteY1432" fmla="*/ 4662971 h 6750795"/>
              <a:gd name="connsiteX1433" fmla="*/ 1231148 w 6630249"/>
              <a:gd name="connsiteY1433" fmla="*/ 4598849 h 6750795"/>
              <a:gd name="connsiteX1434" fmla="*/ 1172156 w 6630249"/>
              <a:gd name="connsiteY1434" fmla="*/ 4178207 h 6750795"/>
              <a:gd name="connsiteX1435" fmla="*/ 1238843 w 6630249"/>
              <a:gd name="connsiteY1435" fmla="*/ 4273108 h 6750795"/>
              <a:gd name="connsiteX1436" fmla="*/ 1254232 w 6630249"/>
              <a:gd name="connsiteY1436" fmla="*/ 4391093 h 6750795"/>
              <a:gd name="connsiteX1437" fmla="*/ 1256797 w 6630249"/>
              <a:gd name="connsiteY1437" fmla="*/ 4442390 h 6750795"/>
              <a:gd name="connsiteX1438" fmla="*/ 1269622 w 6630249"/>
              <a:gd name="connsiteY1438" fmla="*/ 4442390 h 6750795"/>
              <a:gd name="connsiteX1439" fmla="*/ 1274751 w 6630249"/>
              <a:gd name="connsiteY1439" fmla="*/ 4314146 h 6750795"/>
              <a:gd name="connsiteX1440" fmla="*/ 1277316 w 6630249"/>
              <a:gd name="connsiteY1440" fmla="*/ 4319276 h 6750795"/>
              <a:gd name="connsiteX1441" fmla="*/ 1287576 w 6630249"/>
              <a:gd name="connsiteY1441" fmla="*/ 4334665 h 6750795"/>
              <a:gd name="connsiteX1442" fmla="*/ 1287576 w 6630249"/>
              <a:gd name="connsiteY1442" fmla="*/ 4316711 h 6750795"/>
              <a:gd name="connsiteX1443" fmla="*/ 1259362 w 6630249"/>
              <a:gd name="connsiteY1443" fmla="*/ 4193596 h 6750795"/>
              <a:gd name="connsiteX1444" fmla="*/ 1267057 w 6630249"/>
              <a:gd name="connsiteY1444" fmla="*/ 4183336 h 6750795"/>
              <a:gd name="connsiteX1445" fmla="*/ 1272187 w 6630249"/>
              <a:gd name="connsiteY1445" fmla="*/ 4175642 h 6750795"/>
              <a:gd name="connsiteX1446" fmla="*/ 1131119 w 6630249"/>
              <a:gd name="connsiteY1446" fmla="*/ 4165382 h 6750795"/>
              <a:gd name="connsiteX1447" fmla="*/ 1123424 w 6630249"/>
              <a:gd name="connsiteY1447" fmla="*/ 4173076 h 6750795"/>
              <a:gd name="connsiteX1448" fmla="*/ 1120859 w 6630249"/>
              <a:gd name="connsiteY1448" fmla="*/ 4175641 h 6750795"/>
              <a:gd name="connsiteX1449" fmla="*/ 1123424 w 6630249"/>
              <a:gd name="connsiteY1449" fmla="*/ 4178206 h 6750795"/>
              <a:gd name="connsiteX1450" fmla="*/ 1136249 w 6630249"/>
              <a:gd name="connsiteY1450" fmla="*/ 4198725 h 6750795"/>
              <a:gd name="connsiteX1451" fmla="*/ 1149073 w 6630249"/>
              <a:gd name="connsiteY1451" fmla="*/ 4221810 h 6750795"/>
              <a:gd name="connsiteX1452" fmla="*/ 1097774 w 6630249"/>
              <a:gd name="connsiteY1452" fmla="*/ 4208986 h 6750795"/>
              <a:gd name="connsiteX1453" fmla="*/ 1041347 w 6630249"/>
              <a:gd name="connsiteY1453" fmla="*/ 4196160 h 6750795"/>
              <a:gd name="connsiteX1454" fmla="*/ 1131119 w 6630249"/>
              <a:gd name="connsiteY1454" fmla="*/ 4165382 h 6750795"/>
              <a:gd name="connsiteX1455" fmla="*/ 6001917 w 6630249"/>
              <a:gd name="connsiteY1455" fmla="*/ 4150997 h 6750795"/>
              <a:gd name="connsiteX1456" fmla="*/ 6002491 w 6630249"/>
              <a:gd name="connsiteY1456" fmla="*/ 4151596 h 6750795"/>
              <a:gd name="connsiteX1457" fmla="*/ 6006980 w 6630249"/>
              <a:gd name="connsiteY1457" fmla="*/ 4162817 h 6750795"/>
              <a:gd name="connsiteX1458" fmla="*/ 6024935 w 6630249"/>
              <a:gd name="connsiteY1458" fmla="*/ 4165382 h 6750795"/>
              <a:gd name="connsiteX1459" fmla="*/ 6037759 w 6630249"/>
              <a:gd name="connsiteY1459" fmla="*/ 4178206 h 6750795"/>
              <a:gd name="connsiteX1460" fmla="*/ 6032629 w 6630249"/>
              <a:gd name="connsiteY1460" fmla="*/ 4198726 h 6750795"/>
              <a:gd name="connsiteX1461" fmla="*/ 6009544 w 6630249"/>
              <a:gd name="connsiteY1461" fmla="*/ 4201291 h 6750795"/>
              <a:gd name="connsiteX1462" fmla="*/ 5996720 w 6630249"/>
              <a:gd name="connsiteY1462" fmla="*/ 4185901 h 6750795"/>
              <a:gd name="connsiteX1463" fmla="*/ 6003132 w 6630249"/>
              <a:gd name="connsiteY1463" fmla="*/ 4168909 h 6750795"/>
              <a:gd name="connsiteX1464" fmla="*/ 5999765 w 6630249"/>
              <a:gd name="connsiteY1464" fmla="*/ 4148750 h 6750795"/>
              <a:gd name="connsiteX1465" fmla="*/ 6001849 w 6630249"/>
              <a:gd name="connsiteY1465" fmla="*/ 4149992 h 6750795"/>
              <a:gd name="connsiteX1466" fmla="*/ 6001917 w 6630249"/>
              <a:gd name="connsiteY1466" fmla="*/ 4150997 h 6750795"/>
              <a:gd name="connsiteX1467" fmla="*/ 1992923 w 6630249"/>
              <a:gd name="connsiteY1467" fmla="*/ 4116649 h 6750795"/>
              <a:gd name="connsiteX1468" fmla="*/ 1862112 w 6630249"/>
              <a:gd name="connsiteY1468" fmla="*/ 4385962 h 6750795"/>
              <a:gd name="connsiteX1469" fmla="*/ 1862112 w 6630249"/>
              <a:gd name="connsiteY1469" fmla="*/ 4383398 h 6750795"/>
              <a:gd name="connsiteX1470" fmla="*/ 1856983 w 6630249"/>
              <a:gd name="connsiteY1470" fmla="*/ 4362879 h 6750795"/>
              <a:gd name="connsiteX1471" fmla="*/ 1867242 w 6630249"/>
              <a:gd name="connsiteY1471" fmla="*/ 4350054 h 6750795"/>
              <a:gd name="connsiteX1472" fmla="*/ 1908282 w 6630249"/>
              <a:gd name="connsiteY1472" fmla="*/ 4273107 h 6750795"/>
              <a:gd name="connsiteX1473" fmla="*/ 1900587 w 6630249"/>
              <a:gd name="connsiteY1473" fmla="*/ 4270542 h 6750795"/>
              <a:gd name="connsiteX1474" fmla="*/ 1992923 w 6630249"/>
              <a:gd name="connsiteY1474" fmla="*/ 4116649 h 6750795"/>
              <a:gd name="connsiteX1475" fmla="*/ 5755621 w 6630249"/>
              <a:gd name="connsiteY1475" fmla="*/ 4024314 h 6750795"/>
              <a:gd name="connsiteX1476" fmla="*/ 5758185 w 6630249"/>
              <a:gd name="connsiteY1476" fmla="*/ 4032008 h 6750795"/>
              <a:gd name="connsiteX1477" fmla="*/ 5753056 w 6630249"/>
              <a:gd name="connsiteY1477" fmla="*/ 4032008 h 6750795"/>
              <a:gd name="connsiteX1478" fmla="*/ 5755621 w 6630249"/>
              <a:gd name="connsiteY1478" fmla="*/ 4024314 h 6750795"/>
              <a:gd name="connsiteX1479" fmla="*/ 2108342 w 6630249"/>
              <a:gd name="connsiteY1479" fmla="*/ 3960191 h 6750795"/>
              <a:gd name="connsiteX1480" fmla="*/ 1915975 w 6630249"/>
              <a:gd name="connsiteY1480" fmla="*/ 4421872 h 6750795"/>
              <a:gd name="connsiteX1481" fmla="*/ 1892891 w 6630249"/>
              <a:gd name="connsiteY1481" fmla="*/ 4416742 h 6750795"/>
              <a:gd name="connsiteX1482" fmla="*/ 1967274 w 6630249"/>
              <a:gd name="connsiteY1482" fmla="*/ 4244894 h 6750795"/>
              <a:gd name="connsiteX1483" fmla="*/ 2108342 w 6630249"/>
              <a:gd name="connsiteY1483" fmla="*/ 3960191 h 6750795"/>
              <a:gd name="connsiteX1484" fmla="*/ 5973637 w 6630249"/>
              <a:gd name="connsiteY1484" fmla="*/ 3885809 h 6750795"/>
              <a:gd name="connsiteX1485" fmla="*/ 5955682 w 6630249"/>
              <a:gd name="connsiteY1485" fmla="*/ 3937108 h 6750795"/>
              <a:gd name="connsiteX1486" fmla="*/ 5922338 w 6630249"/>
              <a:gd name="connsiteY1486" fmla="*/ 3934543 h 6750795"/>
              <a:gd name="connsiteX1487" fmla="*/ 5919773 w 6630249"/>
              <a:gd name="connsiteY1487" fmla="*/ 3914023 h 6750795"/>
              <a:gd name="connsiteX1488" fmla="*/ 5958247 w 6630249"/>
              <a:gd name="connsiteY1488" fmla="*/ 3896069 h 6750795"/>
              <a:gd name="connsiteX1489" fmla="*/ 5958247 w 6630249"/>
              <a:gd name="connsiteY1489" fmla="*/ 3903763 h 6750795"/>
              <a:gd name="connsiteX1490" fmla="*/ 5973637 w 6630249"/>
              <a:gd name="connsiteY1490" fmla="*/ 3885809 h 6750795"/>
              <a:gd name="connsiteX1491" fmla="*/ 5790488 w 6630249"/>
              <a:gd name="connsiteY1491" fmla="*/ 3880078 h 6750795"/>
              <a:gd name="connsiteX1492" fmla="*/ 5794095 w 6630249"/>
              <a:gd name="connsiteY1492" fmla="*/ 3888374 h 6750795"/>
              <a:gd name="connsiteX1493" fmla="*/ 5788965 w 6630249"/>
              <a:gd name="connsiteY1493" fmla="*/ 3919153 h 6750795"/>
              <a:gd name="connsiteX1494" fmla="*/ 5773574 w 6630249"/>
              <a:gd name="connsiteY1494" fmla="*/ 3885809 h 6750795"/>
              <a:gd name="connsiteX1495" fmla="*/ 5786400 w 6630249"/>
              <a:gd name="connsiteY1495" fmla="*/ 3883244 h 6750795"/>
              <a:gd name="connsiteX1496" fmla="*/ 5790488 w 6630249"/>
              <a:gd name="connsiteY1496" fmla="*/ 3880078 h 6750795"/>
              <a:gd name="connsiteX1497" fmla="*/ 5696628 w 6630249"/>
              <a:gd name="connsiteY1497" fmla="*/ 3870419 h 6750795"/>
              <a:gd name="connsiteX1498" fmla="*/ 5696628 w 6630249"/>
              <a:gd name="connsiteY1498" fmla="*/ 3896069 h 6750795"/>
              <a:gd name="connsiteX1499" fmla="*/ 5696628 w 6630249"/>
              <a:gd name="connsiteY1499" fmla="*/ 3870419 h 6750795"/>
              <a:gd name="connsiteX1500" fmla="*/ 5583773 w 6630249"/>
              <a:gd name="connsiteY1500" fmla="*/ 3844771 h 6750795"/>
              <a:gd name="connsiteX1501" fmla="*/ 5594033 w 6630249"/>
              <a:gd name="connsiteY1501" fmla="*/ 3852465 h 6750795"/>
              <a:gd name="connsiteX1502" fmla="*/ 5586338 w 6630249"/>
              <a:gd name="connsiteY1502" fmla="*/ 3872985 h 6750795"/>
              <a:gd name="connsiteX1503" fmla="*/ 5586338 w 6630249"/>
              <a:gd name="connsiteY1503" fmla="*/ 3852465 h 6750795"/>
              <a:gd name="connsiteX1504" fmla="*/ 5583773 w 6630249"/>
              <a:gd name="connsiteY1504" fmla="*/ 3857595 h 6750795"/>
              <a:gd name="connsiteX1505" fmla="*/ 5583773 w 6630249"/>
              <a:gd name="connsiteY1505" fmla="*/ 3844771 h 6750795"/>
              <a:gd name="connsiteX1506" fmla="*/ 6394279 w 6630249"/>
              <a:gd name="connsiteY1506" fmla="*/ 3829381 h 6750795"/>
              <a:gd name="connsiteX1507" fmla="*/ 6468662 w 6630249"/>
              <a:gd name="connsiteY1507" fmla="*/ 3842205 h 6750795"/>
              <a:gd name="connsiteX1508" fmla="*/ 6394279 w 6630249"/>
              <a:gd name="connsiteY1508" fmla="*/ 3829381 h 6750795"/>
              <a:gd name="connsiteX1509" fmla="*/ 5624811 w 6630249"/>
              <a:gd name="connsiteY1509" fmla="*/ 3806298 h 6750795"/>
              <a:gd name="connsiteX1510" fmla="*/ 5632506 w 6630249"/>
              <a:gd name="connsiteY1510" fmla="*/ 3811428 h 6750795"/>
              <a:gd name="connsiteX1511" fmla="*/ 5624811 w 6630249"/>
              <a:gd name="connsiteY1511" fmla="*/ 3806298 h 6750795"/>
              <a:gd name="connsiteX1512" fmla="*/ 5609423 w 6630249"/>
              <a:gd name="connsiteY1512" fmla="*/ 3793473 h 6750795"/>
              <a:gd name="connsiteX1513" fmla="*/ 5622247 w 6630249"/>
              <a:gd name="connsiteY1513" fmla="*/ 3844771 h 6750795"/>
              <a:gd name="connsiteX1514" fmla="*/ 5622247 w 6630249"/>
              <a:gd name="connsiteY1514" fmla="*/ 3883245 h 6750795"/>
              <a:gd name="connsiteX1515" fmla="*/ 5624812 w 6630249"/>
              <a:gd name="connsiteY1515" fmla="*/ 3898634 h 6750795"/>
              <a:gd name="connsiteX1516" fmla="*/ 5617117 w 6630249"/>
              <a:gd name="connsiteY1516" fmla="*/ 3921718 h 6750795"/>
              <a:gd name="connsiteX1517" fmla="*/ 5596598 w 6630249"/>
              <a:gd name="connsiteY1517" fmla="*/ 3911459 h 6750795"/>
              <a:gd name="connsiteX1518" fmla="*/ 5591468 w 6630249"/>
              <a:gd name="connsiteY1518" fmla="*/ 3844771 h 6750795"/>
              <a:gd name="connsiteX1519" fmla="*/ 5596598 w 6630249"/>
              <a:gd name="connsiteY1519" fmla="*/ 3842206 h 6750795"/>
              <a:gd name="connsiteX1520" fmla="*/ 5609423 w 6630249"/>
              <a:gd name="connsiteY1520" fmla="*/ 3793473 h 6750795"/>
              <a:gd name="connsiteX1521" fmla="*/ 5629941 w 6630249"/>
              <a:gd name="connsiteY1521" fmla="*/ 3785779 h 6750795"/>
              <a:gd name="connsiteX1522" fmla="*/ 5635071 w 6630249"/>
              <a:gd name="connsiteY1522" fmla="*/ 3790908 h 6750795"/>
              <a:gd name="connsiteX1523" fmla="*/ 5632506 w 6630249"/>
              <a:gd name="connsiteY1523" fmla="*/ 3793473 h 6750795"/>
              <a:gd name="connsiteX1524" fmla="*/ 5627377 w 6630249"/>
              <a:gd name="connsiteY1524" fmla="*/ 3793473 h 6750795"/>
              <a:gd name="connsiteX1525" fmla="*/ 5629941 w 6630249"/>
              <a:gd name="connsiteY1525" fmla="*/ 3785779 h 6750795"/>
              <a:gd name="connsiteX1526" fmla="*/ 5940293 w 6630249"/>
              <a:gd name="connsiteY1526" fmla="*/ 3785778 h 6750795"/>
              <a:gd name="connsiteX1527" fmla="*/ 5978767 w 6630249"/>
              <a:gd name="connsiteY1527" fmla="*/ 3806297 h 6750795"/>
              <a:gd name="connsiteX1528" fmla="*/ 5963377 w 6630249"/>
              <a:gd name="connsiteY1528" fmla="*/ 3826817 h 6750795"/>
              <a:gd name="connsiteX1529" fmla="*/ 5945423 w 6630249"/>
              <a:gd name="connsiteY1529" fmla="*/ 3826817 h 6750795"/>
              <a:gd name="connsiteX1530" fmla="*/ 5927468 w 6630249"/>
              <a:gd name="connsiteY1530" fmla="*/ 3808862 h 6750795"/>
              <a:gd name="connsiteX1531" fmla="*/ 5912078 w 6630249"/>
              <a:gd name="connsiteY1531" fmla="*/ 3811427 h 6750795"/>
              <a:gd name="connsiteX1532" fmla="*/ 5932599 w 6630249"/>
              <a:gd name="connsiteY1532" fmla="*/ 3806297 h 6750795"/>
              <a:gd name="connsiteX1533" fmla="*/ 5940293 w 6630249"/>
              <a:gd name="connsiteY1533" fmla="*/ 3785778 h 6750795"/>
              <a:gd name="connsiteX1534" fmla="*/ 5640201 w 6630249"/>
              <a:gd name="connsiteY1534" fmla="*/ 3772953 h 6750795"/>
              <a:gd name="connsiteX1535" fmla="*/ 5642765 w 6630249"/>
              <a:gd name="connsiteY1535" fmla="*/ 3785778 h 6750795"/>
              <a:gd name="connsiteX1536" fmla="*/ 5640201 w 6630249"/>
              <a:gd name="connsiteY1536" fmla="*/ 3772953 h 6750795"/>
              <a:gd name="connsiteX1537" fmla="*/ 5605335 w 6630249"/>
              <a:gd name="connsiteY1537" fmla="*/ 3763455 h 6750795"/>
              <a:gd name="connsiteX1538" fmla="*/ 5601728 w 6630249"/>
              <a:gd name="connsiteY1538" fmla="*/ 3765259 h 6750795"/>
              <a:gd name="connsiteX1539" fmla="*/ 5605335 w 6630249"/>
              <a:gd name="connsiteY1539" fmla="*/ 3763455 h 6750795"/>
              <a:gd name="connsiteX1540" fmla="*/ 5758185 w 6630249"/>
              <a:gd name="connsiteY1540" fmla="*/ 3757565 h 6750795"/>
              <a:gd name="connsiteX1541" fmla="*/ 5758185 w 6630249"/>
              <a:gd name="connsiteY1541" fmla="*/ 3757565 h 6750795"/>
              <a:gd name="connsiteX1542" fmla="*/ 642706 w 6630249"/>
              <a:gd name="connsiteY1542" fmla="*/ 3718639 h 6750795"/>
              <a:gd name="connsiteX1543" fmla="*/ 623269 w 6630249"/>
              <a:gd name="connsiteY1543" fmla="*/ 3721655 h 6750795"/>
              <a:gd name="connsiteX1544" fmla="*/ 684826 w 6630249"/>
              <a:gd name="connsiteY1544" fmla="*/ 3819121 h 6750795"/>
              <a:gd name="connsiteX1545" fmla="*/ 718170 w 6630249"/>
              <a:gd name="connsiteY1545" fmla="*/ 3793472 h 6750795"/>
              <a:gd name="connsiteX1546" fmla="*/ 642706 w 6630249"/>
              <a:gd name="connsiteY1546" fmla="*/ 3718639 h 6750795"/>
              <a:gd name="connsiteX1547" fmla="*/ 5699194 w 6630249"/>
              <a:gd name="connsiteY1547" fmla="*/ 3698572 h 6750795"/>
              <a:gd name="connsiteX1548" fmla="*/ 5704323 w 6630249"/>
              <a:gd name="connsiteY1548" fmla="*/ 3698572 h 6750795"/>
              <a:gd name="connsiteX1549" fmla="*/ 5704323 w 6630249"/>
              <a:gd name="connsiteY1549" fmla="*/ 3703702 h 6750795"/>
              <a:gd name="connsiteX1550" fmla="*/ 5699194 w 6630249"/>
              <a:gd name="connsiteY1550" fmla="*/ 3703702 h 6750795"/>
              <a:gd name="connsiteX1551" fmla="*/ 5699194 w 6630249"/>
              <a:gd name="connsiteY1551" fmla="*/ 3698572 h 6750795"/>
              <a:gd name="connsiteX1552" fmla="*/ 734120 w 6630249"/>
              <a:gd name="connsiteY1552" fmla="*/ 3689113 h 6750795"/>
              <a:gd name="connsiteX1553" fmla="*/ 710475 w 6630249"/>
              <a:gd name="connsiteY1553" fmla="*/ 3701136 h 6750795"/>
              <a:gd name="connsiteX1554" fmla="*/ 792552 w 6630249"/>
              <a:gd name="connsiteY1554" fmla="*/ 3739609 h 6750795"/>
              <a:gd name="connsiteX1555" fmla="*/ 734120 w 6630249"/>
              <a:gd name="connsiteY1555" fmla="*/ 3689113 h 6750795"/>
              <a:gd name="connsiteX1556" fmla="*/ 5758186 w 6630249"/>
              <a:gd name="connsiteY1556" fmla="*/ 3685747 h 6750795"/>
              <a:gd name="connsiteX1557" fmla="*/ 5778705 w 6630249"/>
              <a:gd name="connsiteY1557" fmla="*/ 3703702 h 6750795"/>
              <a:gd name="connsiteX1558" fmla="*/ 5773575 w 6630249"/>
              <a:gd name="connsiteY1558" fmla="*/ 3703702 h 6750795"/>
              <a:gd name="connsiteX1559" fmla="*/ 5758186 w 6630249"/>
              <a:gd name="connsiteY1559" fmla="*/ 3685747 h 6750795"/>
              <a:gd name="connsiteX1560" fmla="*/ 5447834 w 6630249"/>
              <a:gd name="connsiteY1560" fmla="*/ 3672922 h 6750795"/>
              <a:gd name="connsiteX1561" fmla="*/ 5468033 w 6630249"/>
              <a:gd name="connsiteY1561" fmla="*/ 3687991 h 6750795"/>
              <a:gd name="connsiteX1562" fmla="*/ 5469380 w 6630249"/>
              <a:gd name="connsiteY1562" fmla="*/ 3688960 h 6750795"/>
              <a:gd name="connsiteX1563" fmla="*/ 5468353 w 6630249"/>
              <a:gd name="connsiteY1563" fmla="*/ 3690877 h 6750795"/>
              <a:gd name="connsiteX1564" fmla="*/ 5455529 w 6630249"/>
              <a:gd name="connsiteY1564" fmla="*/ 3685747 h 6750795"/>
              <a:gd name="connsiteX1565" fmla="*/ 5459056 w 6630249"/>
              <a:gd name="connsiteY1565" fmla="*/ 3692159 h 6750795"/>
              <a:gd name="connsiteX1566" fmla="*/ 5459454 w 6630249"/>
              <a:gd name="connsiteY1566" fmla="*/ 3693754 h 6750795"/>
              <a:gd name="connsiteX1567" fmla="*/ 5458414 w 6630249"/>
              <a:gd name="connsiteY1567" fmla="*/ 3695365 h 6750795"/>
              <a:gd name="connsiteX1568" fmla="*/ 5452964 w 6630249"/>
              <a:gd name="connsiteY1568" fmla="*/ 3696006 h 6750795"/>
              <a:gd name="connsiteX1569" fmla="*/ 5447834 w 6630249"/>
              <a:gd name="connsiteY1569" fmla="*/ 3672922 h 6750795"/>
              <a:gd name="connsiteX1570" fmla="*/ 5154274 w 6630249"/>
              <a:gd name="connsiteY1570" fmla="*/ 3670037 h 6750795"/>
              <a:gd name="connsiteX1571" fmla="*/ 5150307 w 6630249"/>
              <a:gd name="connsiteY1571" fmla="*/ 3672923 h 6750795"/>
              <a:gd name="connsiteX1572" fmla="*/ 5154274 w 6630249"/>
              <a:gd name="connsiteY1572" fmla="*/ 3670037 h 6750795"/>
              <a:gd name="connsiteX1573" fmla="*/ 2416130 w 6630249"/>
              <a:gd name="connsiteY1573" fmla="*/ 3667792 h 6750795"/>
              <a:gd name="connsiteX1574" fmla="*/ 2411000 w 6630249"/>
              <a:gd name="connsiteY1574" fmla="*/ 3688312 h 6750795"/>
              <a:gd name="connsiteX1575" fmla="*/ 2393046 w 6630249"/>
              <a:gd name="connsiteY1575" fmla="*/ 3688312 h 6750795"/>
              <a:gd name="connsiteX1576" fmla="*/ 2372526 w 6630249"/>
              <a:gd name="connsiteY1576" fmla="*/ 3772953 h 6750795"/>
              <a:gd name="connsiteX1577" fmla="*/ 2341747 w 6630249"/>
              <a:gd name="connsiteY1577" fmla="*/ 3890938 h 6750795"/>
              <a:gd name="connsiteX1578" fmla="*/ 2352007 w 6630249"/>
              <a:gd name="connsiteY1578" fmla="*/ 3898633 h 6750795"/>
              <a:gd name="connsiteX1579" fmla="*/ 2398176 w 6630249"/>
              <a:gd name="connsiteY1579" fmla="*/ 3772953 h 6750795"/>
              <a:gd name="connsiteX1580" fmla="*/ 2408435 w 6630249"/>
              <a:gd name="connsiteY1580" fmla="*/ 3726785 h 6750795"/>
              <a:gd name="connsiteX1581" fmla="*/ 2408435 w 6630249"/>
              <a:gd name="connsiteY1581" fmla="*/ 3721655 h 6750795"/>
              <a:gd name="connsiteX1582" fmla="*/ 2411000 w 6630249"/>
              <a:gd name="connsiteY1582" fmla="*/ 3721655 h 6750795"/>
              <a:gd name="connsiteX1583" fmla="*/ 2416130 w 6630249"/>
              <a:gd name="connsiteY1583" fmla="*/ 3708831 h 6750795"/>
              <a:gd name="connsiteX1584" fmla="*/ 2405870 w 6630249"/>
              <a:gd name="connsiteY1584" fmla="*/ 3690877 h 6750795"/>
              <a:gd name="connsiteX1585" fmla="*/ 2418695 w 6630249"/>
              <a:gd name="connsiteY1585" fmla="*/ 3701136 h 6750795"/>
              <a:gd name="connsiteX1586" fmla="*/ 2428954 w 6630249"/>
              <a:gd name="connsiteY1586" fmla="*/ 3678052 h 6750795"/>
              <a:gd name="connsiteX1587" fmla="*/ 2434084 w 6630249"/>
              <a:gd name="connsiteY1587" fmla="*/ 3672922 h 6750795"/>
              <a:gd name="connsiteX1588" fmla="*/ 2428954 w 6630249"/>
              <a:gd name="connsiteY1588" fmla="*/ 3670357 h 6750795"/>
              <a:gd name="connsiteX1589" fmla="*/ 2416130 w 6630249"/>
              <a:gd name="connsiteY1589" fmla="*/ 3667792 h 6750795"/>
              <a:gd name="connsiteX1590" fmla="*/ 5436291 w 6630249"/>
              <a:gd name="connsiteY1590" fmla="*/ 3665549 h 6750795"/>
              <a:gd name="connsiteX1591" fmla="*/ 5442704 w 6630249"/>
              <a:gd name="connsiteY1591" fmla="*/ 3670359 h 6750795"/>
              <a:gd name="connsiteX1592" fmla="*/ 5429880 w 6630249"/>
              <a:gd name="connsiteY1592" fmla="*/ 3670359 h 6750795"/>
              <a:gd name="connsiteX1593" fmla="*/ 5436291 w 6630249"/>
              <a:gd name="connsiteY1593" fmla="*/ 3665549 h 6750795"/>
              <a:gd name="connsiteX1594" fmla="*/ 2572588 w 6630249"/>
              <a:gd name="connsiteY1594" fmla="*/ 3654968 h 6750795"/>
              <a:gd name="connsiteX1595" fmla="*/ 2567459 w 6630249"/>
              <a:gd name="connsiteY1595" fmla="*/ 3690877 h 6750795"/>
              <a:gd name="connsiteX1596" fmla="*/ 2570025 w 6630249"/>
              <a:gd name="connsiteY1596" fmla="*/ 3696006 h 6750795"/>
              <a:gd name="connsiteX1597" fmla="*/ 2572588 w 6630249"/>
              <a:gd name="connsiteY1597" fmla="*/ 3654968 h 6750795"/>
              <a:gd name="connsiteX1598" fmla="*/ 6168528 w 6630249"/>
              <a:gd name="connsiteY1598" fmla="*/ 3631524 h 6750795"/>
              <a:gd name="connsiteX1599" fmla="*/ 6166004 w 6630249"/>
              <a:gd name="connsiteY1599" fmla="*/ 3631885 h 6750795"/>
              <a:gd name="connsiteX1600" fmla="*/ 6168528 w 6630249"/>
              <a:gd name="connsiteY1600" fmla="*/ 3631524 h 6750795"/>
              <a:gd name="connsiteX1601" fmla="*/ 2544375 w 6630249"/>
              <a:gd name="connsiteY1601" fmla="*/ 3624189 h 6750795"/>
              <a:gd name="connsiteX1602" fmla="*/ 2544375 w 6630249"/>
              <a:gd name="connsiteY1602" fmla="*/ 3629319 h 6750795"/>
              <a:gd name="connsiteX1603" fmla="*/ 2546940 w 6630249"/>
              <a:gd name="connsiteY1603" fmla="*/ 3624189 h 6750795"/>
              <a:gd name="connsiteX1604" fmla="*/ 5409000 w 6630249"/>
              <a:gd name="connsiteY1604" fmla="*/ 3572211 h 6750795"/>
              <a:gd name="connsiteX1605" fmla="*/ 5409361 w 6630249"/>
              <a:gd name="connsiteY1605" fmla="*/ 3575457 h 6750795"/>
              <a:gd name="connsiteX1606" fmla="*/ 5409000 w 6630249"/>
              <a:gd name="connsiteY1606" fmla="*/ 3572211 h 6750795"/>
              <a:gd name="connsiteX1607" fmla="*/ 5406795 w 6630249"/>
              <a:gd name="connsiteY1607" fmla="*/ 3513909 h 6750795"/>
              <a:gd name="connsiteX1608" fmla="*/ 5399101 w 6630249"/>
              <a:gd name="connsiteY1608" fmla="*/ 3519039 h 6750795"/>
              <a:gd name="connsiteX1609" fmla="*/ 5406795 w 6630249"/>
              <a:gd name="connsiteY1609" fmla="*/ 3513909 h 6750795"/>
              <a:gd name="connsiteX1610" fmla="*/ 236010 w 6630249"/>
              <a:gd name="connsiteY1610" fmla="*/ 3456910 h 6750795"/>
              <a:gd name="connsiteX1611" fmla="*/ 225710 w 6630249"/>
              <a:gd name="connsiteY1611" fmla="*/ 3457471 h 6750795"/>
              <a:gd name="connsiteX1612" fmla="*/ 238535 w 6630249"/>
              <a:gd name="connsiteY1612" fmla="*/ 3490815 h 6750795"/>
              <a:gd name="connsiteX1613" fmla="*/ 236010 w 6630249"/>
              <a:gd name="connsiteY1613" fmla="*/ 3456910 h 6750795"/>
              <a:gd name="connsiteX1614" fmla="*/ 5750491 w 6630249"/>
              <a:gd name="connsiteY1614" fmla="*/ 3419009 h 6750795"/>
              <a:gd name="connsiteX1615" fmla="*/ 5737667 w 6630249"/>
              <a:gd name="connsiteY1615" fmla="*/ 3431830 h 6750795"/>
              <a:gd name="connsiteX1616" fmla="*/ 5750491 w 6630249"/>
              <a:gd name="connsiteY1616" fmla="*/ 3419009 h 6750795"/>
              <a:gd name="connsiteX1617" fmla="*/ 5724842 w 6630249"/>
              <a:gd name="connsiteY1617" fmla="*/ 3406179 h 6750795"/>
              <a:gd name="connsiteX1618" fmla="*/ 5724842 w 6630249"/>
              <a:gd name="connsiteY1618" fmla="*/ 3406179 h 6750795"/>
              <a:gd name="connsiteX1619" fmla="*/ 5819743 w 6630249"/>
              <a:gd name="connsiteY1619" fmla="*/ 3352319 h 6750795"/>
              <a:gd name="connsiteX1620" fmla="*/ 5804352 w 6630249"/>
              <a:gd name="connsiteY1620" fmla="*/ 3370275 h 6750795"/>
              <a:gd name="connsiteX1621" fmla="*/ 5819743 w 6630249"/>
              <a:gd name="connsiteY1621" fmla="*/ 3352319 h 6750795"/>
              <a:gd name="connsiteX1622" fmla="*/ 5822308 w 6630249"/>
              <a:gd name="connsiteY1622" fmla="*/ 3295889 h 6750795"/>
              <a:gd name="connsiteX1623" fmla="*/ 5819743 w 6630249"/>
              <a:gd name="connsiteY1623" fmla="*/ 3303579 h 6750795"/>
              <a:gd name="connsiteX1624" fmla="*/ 5822308 w 6630249"/>
              <a:gd name="connsiteY1624" fmla="*/ 3295889 h 6750795"/>
              <a:gd name="connsiteX1625" fmla="*/ 5801388 w 6630249"/>
              <a:gd name="connsiteY1625" fmla="*/ 3278095 h 6750795"/>
              <a:gd name="connsiteX1626" fmla="*/ 5801148 w 6630249"/>
              <a:gd name="connsiteY1626" fmla="*/ 3280499 h 6750795"/>
              <a:gd name="connsiteX1627" fmla="*/ 5799224 w 6630249"/>
              <a:gd name="connsiteY1627" fmla="*/ 3288194 h 6750795"/>
              <a:gd name="connsiteX1628" fmla="*/ 5763315 w 6630249"/>
              <a:gd name="connsiteY1628" fmla="*/ 3324098 h 6750795"/>
              <a:gd name="connsiteX1629" fmla="*/ 5776139 w 6630249"/>
              <a:gd name="connsiteY1629" fmla="*/ 3303580 h 6750795"/>
              <a:gd name="connsiteX1630" fmla="*/ 5799224 w 6630249"/>
              <a:gd name="connsiteY1630" fmla="*/ 3280499 h 6750795"/>
              <a:gd name="connsiteX1631" fmla="*/ 5801388 w 6630249"/>
              <a:gd name="connsiteY1631" fmla="*/ 3278095 h 6750795"/>
              <a:gd name="connsiteX1632" fmla="*/ 5742797 w 6630249"/>
              <a:gd name="connsiteY1632" fmla="*/ 3221512 h 6750795"/>
              <a:gd name="connsiteX1633" fmla="*/ 5742797 w 6630249"/>
              <a:gd name="connsiteY1633" fmla="*/ 3224077 h 6750795"/>
              <a:gd name="connsiteX1634" fmla="*/ 5742797 w 6630249"/>
              <a:gd name="connsiteY1634" fmla="*/ 3221512 h 6750795"/>
              <a:gd name="connsiteX1635" fmla="*/ 5701759 w 6630249"/>
              <a:gd name="connsiteY1635" fmla="*/ 3113795 h 6750795"/>
              <a:gd name="connsiteX1636" fmla="*/ 5706888 w 6630249"/>
              <a:gd name="connsiteY1636" fmla="*/ 3113795 h 6750795"/>
              <a:gd name="connsiteX1637" fmla="*/ 5706888 w 6630249"/>
              <a:gd name="connsiteY1637" fmla="*/ 3118926 h 6750795"/>
              <a:gd name="connsiteX1638" fmla="*/ 5701759 w 6630249"/>
              <a:gd name="connsiteY1638" fmla="*/ 3118926 h 6750795"/>
              <a:gd name="connsiteX1639" fmla="*/ 5701759 w 6630249"/>
              <a:gd name="connsiteY1639" fmla="*/ 3113795 h 6750795"/>
              <a:gd name="connsiteX1640" fmla="*/ 5778304 w 6630249"/>
              <a:gd name="connsiteY1640" fmla="*/ 3030675 h 6750795"/>
              <a:gd name="connsiteX1641" fmla="*/ 5776140 w 6630249"/>
              <a:gd name="connsiteY1641" fmla="*/ 3034278 h 6750795"/>
              <a:gd name="connsiteX1642" fmla="*/ 5778304 w 6630249"/>
              <a:gd name="connsiteY1642" fmla="*/ 3030675 h 6750795"/>
              <a:gd name="connsiteX1643" fmla="*/ 5788965 w 6630249"/>
              <a:gd name="connsiteY1643" fmla="*/ 3000946 h 6750795"/>
              <a:gd name="connsiteX1644" fmla="*/ 5788965 w 6630249"/>
              <a:gd name="connsiteY1644" fmla="*/ 3013762 h 6750795"/>
              <a:gd name="connsiteX1645" fmla="*/ 5788965 w 6630249"/>
              <a:gd name="connsiteY1645" fmla="*/ 3000946 h 6750795"/>
              <a:gd name="connsiteX1646" fmla="*/ 5406795 w 6630249"/>
              <a:gd name="connsiteY1646" fmla="*/ 3000946 h 6750795"/>
              <a:gd name="connsiteX1647" fmla="*/ 5427315 w 6630249"/>
              <a:gd name="connsiteY1647" fmla="*/ 3006074 h 6750795"/>
              <a:gd name="connsiteX1648" fmla="*/ 5414490 w 6630249"/>
              <a:gd name="connsiteY1648" fmla="*/ 3126618 h 6750795"/>
              <a:gd name="connsiteX1649" fmla="*/ 5401666 w 6630249"/>
              <a:gd name="connsiteY1649" fmla="*/ 3085583 h 6750795"/>
              <a:gd name="connsiteX1650" fmla="*/ 5406795 w 6630249"/>
              <a:gd name="connsiteY1650" fmla="*/ 3000946 h 6750795"/>
              <a:gd name="connsiteX1651" fmla="*/ 5614552 w 6630249"/>
              <a:gd name="connsiteY1651" fmla="*/ 2870144 h 6750795"/>
              <a:gd name="connsiteX1652" fmla="*/ 5619681 w 6630249"/>
              <a:gd name="connsiteY1652" fmla="*/ 2875265 h 6750795"/>
              <a:gd name="connsiteX1653" fmla="*/ 5617116 w 6630249"/>
              <a:gd name="connsiteY1653" fmla="*/ 2877832 h 6750795"/>
              <a:gd name="connsiteX1654" fmla="*/ 5614552 w 6630249"/>
              <a:gd name="connsiteY1654" fmla="*/ 2870144 h 6750795"/>
              <a:gd name="connsiteX1655" fmla="*/ 6471226 w 6630249"/>
              <a:gd name="connsiteY1655" fmla="*/ 2775232 h 6750795"/>
              <a:gd name="connsiteX1656" fmla="*/ 6468661 w 6630249"/>
              <a:gd name="connsiteY1656" fmla="*/ 2790617 h 6750795"/>
              <a:gd name="connsiteX1657" fmla="*/ 6471226 w 6630249"/>
              <a:gd name="connsiteY1657" fmla="*/ 2775232 h 6750795"/>
              <a:gd name="connsiteX1658" fmla="*/ 5965942 w 6630249"/>
              <a:gd name="connsiteY1658" fmla="*/ 2677776 h 6750795"/>
              <a:gd name="connsiteX1659" fmla="*/ 5963377 w 6630249"/>
              <a:gd name="connsiteY1659" fmla="*/ 2695733 h 6750795"/>
              <a:gd name="connsiteX1660" fmla="*/ 5965942 w 6630249"/>
              <a:gd name="connsiteY1660" fmla="*/ 2677776 h 6750795"/>
              <a:gd name="connsiteX1661" fmla="*/ 5063100 w 6630249"/>
              <a:gd name="connsiteY1661" fmla="*/ 2662358 h 6750795"/>
              <a:gd name="connsiteX1662" fmla="*/ 5032321 w 6630249"/>
              <a:gd name="connsiteY1662" fmla="*/ 2716221 h 6750795"/>
              <a:gd name="connsiteX1663" fmla="*/ 5065665 w 6630249"/>
              <a:gd name="connsiteY1663" fmla="*/ 2703397 h 6750795"/>
              <a:gd name="connsiteX1664" fmla="*/ 5063100 w 6630249"/>
              <a:gd name="connsiteY1664" fmla="*/ 2662358 h 6750795"/>
              <a:gd name="connsiteX1665" fmla="*/ 4864802 w 6630249"/>
              <a:gd name="connsiteY1665" fmla="*/ 2649316 h 6750795"/>
              <a:gd name="connsiteX1666" fmla="*/ 4860474 w 6630249"/>
              <a:gd name="connsiteY1666" fmla="*/ 2657252 h 6750795"/>
              <a:gd name="connsiteX1667" fmla="*/ 4860474 w 6630249"/>
              <a:gd name="connsiteY1667" fmla="*/ 2649557 h 6750795"/>
              <a:gd name="connsiteX1668" fmla="*/ 4864802 w 6630249"/>
              <a:gd name="connsiteY1668" fmla="*/ 2649316 h 6750795"/>
              <a:gd name="connsiteX1669" fmla="*/ 4973329 w 6630249"/>
              <a:gd name="connsiteY1669" fmla="*/ 2646990 h 6750795"/>
              <a:gd name="connsiteX1670" fmla="*/ 4973329 w 6630249"/>
              <a:gd name="connsiteY1670" fmla="*/ 2646990 h 6750795"/>
              <a:gd name="connsiteX1671" fmla="*/ 6619990 w 6630249"/>
              <a:gd name="connsiteY1671" fmla="*/ 2608505 h 6750795"/>
              <a:gd name="connsiteX1672" fmla="*/ 6596905 w 6630249"/>
              <a:gd name="connsiteY1672" fmla="*/ 2636722 h 6750795"/>
              <a:gd name="connsiteX1673" fmla="*/ 6619990 w 6630249"/>
              <a:gd name="connsiteY1673" fmla="*/ 2608505 h 6750795"/>
              <a:gd name="connsiteX1674" fmla="*/ 6496875 w 6630249"/>
              <a:gd name="connsiteY1674" fmla="*/ 2572610 h 6750795"/>
              <a:gd name="connsiteX1675" fmla="*/ 6489181 w 6630249"/>
              <a:gd name="connsiteY1675" fmla="*/ 2580304 h 6750795"/>
              <a:gd name="connsiteX1676" fmla="*/ 6496875 w 6630249"/>
              <a:gd name="connsiteY1676" fmla="*/ 2572610 h 6750795"/>
              <a:gd name="connsiteX1677" fmla="*/ 5020138 w 6630249"/>
              <a:gd name="connsiteY1677" fmla="*/ 2570047 h 6750795"/>
              <a:gd name="connsiteX1678" fmla="*/ 5032321 w 6630249"/>
              <a:gd name="connsiteY1678" fmla="*/ 2570047 h 6750795"/>
              <a:gd name="connsiteX1679" fmla="*/ 5019496 w 6630249"/>
              <a:gd name="connsiteY1679" fmla="*/ 2590560 h 6750795"/>
              <a:gd name="connsiteX1680" fmla="*/ 5011802 w 6630249"/>
              <a:gd name="connsiteY1680" fmla="*/ 2585431 h 6750795"/>
              <a:gd name="connsiteX1681" fmla="*/ 5020138 w 6630249"/>
              <a:gd name="connsiteY1681" fmla="*/ 2570047 h 6750795"/>
              <a:gd name="connsiteX1682" fmla="*/ 6040324 w 6630249"/>
              <a:gd name="connsiteY1682" fmla="*/ 2562996 h 6750795"/>
              <a:gd name="connsiteX1683" fmla="*/ 6042889 w 6630249"/>
              <a:gd name="connsiteY1683" fmla="*/ 2564920 h 6750795"/>
              <a:gd name="connsiteX1684" fmla="*/ 6037760 w 6630249"/>
              <a:gd name="connsiteY1684" fmla="*/ 2564920 h 6750795"/>
              <a:gd name="connsiteX1685" fmla="*/ 6040324 w 6630249"/>
              <a:gd name="connsiteY1685" fmla="*/ 2562996 h 6750795"/>
              <a:gd name="connsiteX1686" fmla="*/ 6338894 w 6630249"/>
              <a:gd name="connsiteY1686" fmla="*/ 2562034 h 6750795"/>
              <a:gd name="connsiteX1687" fmla="*/ 6335287 w 6630249"/>
              <a:gd name="connsiteY1687" fmla="*/ 2564920 h 6750795"/>
              <a:gd name="connsiteX1688" fmla="*/ 6338894 w 6630249"/>
              <a:gd name="connsiteY1688" fmla="*/ 2562034 h 6750795"/>
              <a:gd name="connsiteX1689" fmla="*/ 5891561 w 6630249"/>
              <a:gd name="connsiteY1689" fmla="*/ 2534138 h 6750795"/>
              <a:gd name="connsiteX1690" fmla="*/ 5886430 w 6630249"/>
              <a:gd name="connsiteY1690" fmla="*/ 2546960 h 6750795"/>
              <a:gd name="connsiteX1691" fmla="*/ 5891561 w 6630249"/>
              <a:gd name="connsiteY1691" fmla="*/ 2534138 h 6750795"/>
              <a:gd name="connsiteX1692" fmla="*/ 6448142 w 6630249"/>
              <a:gd name="connsiteY1692" fmla="*/ 2477734 h 6750795"/>
              <a:gd name="connsiteX1693" fmla="*/ 6427622 w 6630249"/>
              <a:gd name="connsiteY1693" fmla="*/ 2480297 h 6750795"/>
              <a:gd name="connsiteX1694" fmla="*/ 6448142 w 6630249"/>
              <a:gd name="connsiteY1694" fmla="*/ 2477734 h 6750795"/>
              <a:gd name="connsiteX1695" fmla="*/ 6404178 w 6630249"/>
              <a:gd name="connsiteY1695" fmla="*/ 2465291 h 6750795"/>
              <a:gd name="connsiteX1696" fmla="*/ 6404539 w 6630249"/>
              <a:gd name="connsiteY1696" fmla="*/ 2467456 h 6750795"/>
              <a:gd name="connsiteX1697" fmla="*/ 6404178 w 6630249"/>
              <a:gd name="connsiteY1697" fmla="*/ 2465291 h 6750795"/>
              <a:gd name="connsiteX1698" fmla="*/ 6487657 w 6630249"/>
              <a:gd name="connsiteY1698" fmla="*/ 2448816 h 6750795"/>
              <a:gd name="connsiteX1699" fmla="*/ 6484051 w 6630249"/>
              <a:gd name="connsiteY1699" fmla="*/ 2452065 h 6750795"/>
              <a:gd name="connsiteX1700" fmla="*/ 6487657 w 6630249"/>
              <a:gd name="connsiteY1700" fmla="*/ 2448816 h 6750795"/>
              <a:gd name="connsiteX1701" fmla="*/ 5481178 w 6630249"/>
              <a:gd name="connsiteY1701" fmla="*/ 2374807 h 6750795"/>
              <a:gd name="connsiteX1702" fmla="*/ 5483742 w 6630249"/>
              <a:gd name="connsiteY1702" fmla="*/ 2377693 h 6750795"/>
              <a:gd name="connsiteX1703" fmla="*/ 5478613 w 6630249"/>
              <a:gd name="connsiteY1703" fmla="*/ 2377693 h 6750795"/>
              <a:gd name="connsiteX1704" fmla="*/ 5481178 w 6630249"/>
              <a:gd name="connsiteY1704" fmla="*/ 2374807 h 6750795"/>
              <a:gd name="connsiteX1705" fmla="*/ 2131426 w 6630249"/>
              <a:gd name="connsiteY1705" fmla="*/ 2367394 h 6750795"/>
              <a:gd name="connsiteX1706" fmla="*/ 2136556 w 6630249"/>
              <a:gd name="connsiteY1706" fmla="*/ 2408433 h 6750795"/>
              <a:gd name="connsiteX1707" fmla="*/ 2131426 w 6630249"/>
              <a:gd name="connsiteY1707" fmla="*/ 2367394 h 6750795"/>
              <a:gd name="connsiteX1708" fmla="*/ 5024587 w 6630249"/>
              <a:gd name="connsiteY1708" fmla="*/ 2353202 h 6750795"/>
              <a:gd name="connsiteX1709" fmla="*/ 5022062 w 6630249"/>
              <a:gd name="connsiteY1709" fmla="*/ 2357174 h 6750795"/>
              <a:gd name="connsiteX1710" fmla="*/ 5024587 w 6630249"/>
              <a:gd name="connsiteY1710" fmla="*/ 2353202 h 6750795"/>
              <a:gd name="connsiteX1711" fmla="*/ 5073359 w 6630249"/>
              <a:gd name="connsiteY1711" fmla="*/ 2349464 h 6750795"/>
              <a:gd name="connsiteX1712" fmla="*/ 5075924 w 6630249"/>
              <a:gd name="connsiteY1712" fmla="*/ 2354595 h 6750795"/>
              <a:gd name="connsiteX1713" fmla="*/ 5083619 w 6630249"/>
              <a:gd name="connsiteY1713" fmla="*/ 2349464 h 6750795"/>
              <a:gd name="connsiteX1714" fmla="*/ 5078489 w 6630249"/>
              <a:gd name="connsiteY1714" fmla="*/ 2375116 h 6750795"/>
              <a:gd name="connsiteX1715" fmla="*/ 5073359 w 6630249"/>
              <a:gd name="connsiteY1715" fmla="*/ 2349464 h 6750795"/>
              <a:gd name="connsiteX1716" fmla="*/ 6437882 w 6630249"/>
              <a:gd name="connsiteY1716" fmla="*/ 2334085 h 6750795"/>
              <a:gd name="connsiteX1717" fmla="*/ 6425057 w 6630249"/>
              <a:gd name="connsiteY1717" fmla="*/ 2346909 h 6750795"/>
              <a:gd name="connsiteX1718" fmla="*/ 6437882 w 6630249"/>
              <a:gd name="connsiteY1718" fmla="*/ 2334085 h 6750795"/>
              <a:gd name="connsiteX1719" fmla="*/ 2110907 w 6630249"/>
              <a:gd name="connsiteY1719" fmla="*/ 2326357 h 6750795"/>
              <a:gd name="connsiteX1720" fmla="*/ 2116038 w 6630249"/>
              <a:gd name="connsiteY1720" fmla="*/ 2372525 h 6750795"/>
              <a:gd name="connsiteX1721" fmla="*/ 2110907 w 6630249"/>
              <a:gd name="connsiteY1721" fmla="*/ 2326357 h 6750795"/>
              <a:gd name="connsiteX1722" fmla="*/ 5581208 w 6630249"/>
              <a:gd name="connsiteY1722" fmla="*/ 2298167 h 6750795"/>
              <a:gd name="connsiteX1723" fmla="*/ 5599162 w 6630249"/>
              <a:gd name="connsiteY1723" fmla="*/ 2318692 h 6750795"/>
              <a:gd name="connsiteX1724" fmla="*/ 5573513 w 6630249"/>
              <a:gd name="connsiteY1724" fmla="*/ 2349478 h 6750795"/>
              <a:gd name="connsiteX1725" fmla="*/ 5581208 w 6630249"/>
              <a:gd name="connsiteY1725" fmla="*/ 2303298 h 6750795"/>
              <a:gd name="connsiteX1726" fmla="*/ 5581208 w 6630249"/>
              <a:gd name="connsiteY1726" fmla="*/ 2298167 h 6750795"/>
              <a:gd name="connsiteX1727" fmla="*/ 6496875 w 6630249"/>
              <a:gd name="connsiteY1727" fmla="*/ 2298160 h 6750795"/>
              <a:gd name="connsiteX1728" fmla="*/ 6502005 w 6630249"/>
              <a:gd name="connsiteY1728" fmla="*/ 2318681 h 6750795"/>
              <a:gd name="connsiteX1729" fmla="*/ 6494311 w 6630249"/>
              <a:gd name="connsiteY1729" fmla="*/ 2316116 h 6750795"/>
              <a:gd name="connsiteX1730" fmla="*/ 6496875 w 6630249"/>
              <a:gd name="connsiteY1730" fmla="*/ 2298160 h 6750795"/>
              <a:gd name="connsiteX1731" fmla="*/ 2114113 w 6630249"/>
              <a:gd name="connsiteY1731" fmla="*/ 2282114 h 6750795"/>
              <a:gd name="connsiteX1732" fmla="*/ 2116038 w 6630249"/>
              <a:gd name="connsiteY1732" fmla="*/ 2303274 h 6750795"/>
              <a:gd name="connsiteX1733" fmla="*/ 2114113 w 6630249"/>
              <a:gd name="connsiteY1733" fmla="*/ 2282114 h 6750795"/>
              <a:gd name="connsiteX1734" fmla="*/ 6345547 w 6630249"/>
              <a:gd name="connsiteY1734" fmla="*/ 2277645 h 6750795"/>
              <a:gd name="connsiteX1735" fmla="*/ 6340416 w 6630249"/>
              <a:gd name="connsiteY1735" fmla="*/ 2298167 h 6750795"/>
              <a:gd name="connsiteX1736" fmla="*/ 6345547 w 6630249"/>
              <a:gd name="connsiteY1736" fmla="*/ 2277645 h 6750795"/>
              <a:gd name="connsiteX1737" fmla="*/ 5686369 w 6630249"/>
              <a:gd name="connsiteY1737" fmla="*/ 2275080 h 6750795"/>
              <a:gd name="connsiteX1738" fmla="*/ 5691499 w 6630249"/>
              <a:gd name="connsiteY1738" fmla="*/ 2280209 h 6750795"/>
              <a:gd name="connsiteX1739" fmla="*/ 5691499 w 6630249"/>
              <a:gd name="connsiteY1739" fmla="*/ 2287907 h 6750795"/>
              <a:gd name="connsiteX1740" fmla="*/ 5683804 w 6630249"/>
              <a:gd name="connsiteY1740" fmla="*/ 2303298 h 6750795"/>
              <a:gd name="connsiteX1741" fmla="*/ 5678674 w 6630249"/>
              <a:gd name="connsiteY1741" fmla="*/ 2287907 h 6750795"/>
              <a:gd name="connsiteX1742" fmla="*/ 5686369 w 6630249"/>
              <a:gd name="connsiteY1742" fmla="*/ 2275080 h 6750795"/>
              <a:gd name="connsiteX1743" fmla="*/ 5026791 w 6630249"/>
              <a:gd name="connsiteY1743" fmla="*/ 2226736 h 6750795"/>
              <a:gd name="connsiteX1744" fmla="*/ 5024627 w 6630249"/>
              <a:gd name="connsiteY1744" fmla="*/ 2228902 h 6750795"/>
              <a:gd name="connsiteX1745" fmla="*/ 5026791 w 6630249"/>
              <a:gd name="connsiteY1745" fmla="*/ 2226736 h 6750795"/>
              <a:gd name="connsiteX1746" fmla="*/ 2446909 w 6630249"/>
              <a:gd name="connsiteY1746" fmla="*/ 2223762 h 6750795"/>
              <a:gd name="connsiteX1747" fmla="*/ 2418695 w 6630249"/>
              <a:gd name="connsiteY1747" fmla="*/ 2385350 h 6750795"/>
              <a:gd name="connsiteX1748" fmla="*/ 2393046 w 6630249"/>
              <a:gd name="connsiteY1748" fmla="*/ 2405868 h 6750795"/>
              <a:gd name="connsiteX1749" fmla="*/ 2495642 w 6630249"/>
              <a:gd name="connsiteY1749" fmla="*/ 2336616 h 6750795"/>
              <a:gd name="connsiteX1750" fmla="*/ 2446909 w 6630249"/>
              <a:gd name="connsiteY1750" fmla="*/ 2223762 h 6750795"/>
              <a:gd name="connsiteX1751" fmla="*/ 5081054 w 6630249"/>
              <a:gd name="connsiteY1751" fmla="*/ 2187853 h 6750795"/>
              <a:gd name="connsiteX1752" fmla="*/ 5078489 w 6630249"/>
              <a:gd name="connsiteY1752" fmla="*/ 2208377 h 6750795"/>
              <a:gd name="connsiteX1753" fmla="*/ 5081054 w 6630249"/>
              <a:gd name="connsiteY1753" fmla="*/ 2187853 h 6750795"/>
              <a:gd name="connsiteX1754" fmla="*/ 4178212 w 6630249"/>
              <a:gd name="connsiteY1754" fmla="*/ 2177595 h 6750795"/>
              <a:gd name="connsiteX1755" fmla="*/ 4185907 w 6630249"/>
              <a:gd name="connsiteY1755" fmla="*/ 2180160 h 6750795"/>
              <a:gd name="connsiteX1756" fmla="*/ 4175647 w 6630249"/>
              <a:gd name="connsiteY1756" fmla="*/ 2187851 h 6750795"/>
              <a:gd name="connsiteX1757" fmla="*/ 4178212 w 6630249"/>
              <a:gd name="connsiteY1757" fmla="*/ 2177595 h 6750795"/>
              <a:gd name="connsiteX1758" fmla="*/ 5088749 w 6630249"/>
              <a:gd name="connsiteY1758" fmla="*/ 2172478 h 6750795"/>
              <a:gd name="connsiteX1759" fmla="*/ 5086184 w 6630249"/>
              <a:gd name="connsiteY1759" fmla="*/ 2187853 h 6750795"/>
              <a:gd name="connsiteX1760" fmla="*/ 5088749 w 6630249"/>
              <a:gd name="connsiteY1760" fmla="*/ 2172478 h 6750795"/>
              <a:gd name="connsiteX1761" fmla="*/ 4258044 w 6630249"/>
              <a:gd name="connsiteY1761" fmla="*/ 2165427 h 6750795"/>
              <a:gd name="connsiteX1762" fmla="*/ 4262853 w 6630249"/>
              <a:gd name="connsiteY1762" fmla="*/ 2167349 h 6750795"/>
              <a:gd name="connsiteX1763" fmla="*/ 4255159 w 6630249"/>
              <a:gd name="connsiteY1763" fmla="*/ 2167349 h 6750795"/>
              <a:gd name="connsiteX1764" fmla="*/ 4258044 w 6630249"/>
              <a:gd name="connsiteY1764" fmla="*/ 2165427 h 6750795"/>
              <a:gd name="connsiteX1765" fmla="*/ 5840262 w 6630249"/>
              <a:gd name="connsiteY1765" fmla="*/ 2164786 h 6750795"/>
              <a:gd name="connsiteX1766" fmla="*/ 5832568 w 6630249"/>
              <a:gd name="connsiteY1766" fmla="*/ 2167349 h 6750795"/>
              <a:gd name="connsiteX1767" fmla="*/ 5840262 w 6630249"/>
              <a:gd name="connsiteY1767" fmla="*/ 2164786 h 6750795"/>
              <a:gd name="connsiteX1768" fmla="*/ 4998978 w 6630249"/>
              <a:gd name="connsiteY1768" fmla="*/ 2162224 h 6750795"/>
              <a:gd name="connsiteX1769" fmla="*/ 4998978 w 6630249"/>
              <a:gd name="connsiteY1769" fmla="*/ 2187856 h 6750795"/>
              <a:gd name="connsiteX1770" fmla="*/ 4998978 w 6630249"/>
              <a:gd name="connsiteY1770" fmla="*/ 2162224 h 6750795"/>
              <a:gd name="connsiteX1771" fmla="*/ 5101891 w 6630249"/>
              <a:gd name="connsiteY1771" fmla="*/ 2162072 h 6750795"/>
              <a:gd name="connsiteX1772" fmla="*/ 5101573 w 6630249"/>
              <a:gd name="connsiteY1772" fmla="*/ 2162210 h 6750795"/>
              <a:gd name="connsiteX1773" fmla="*/ 5101091 w 6630249"/>
              <a:gd name="connsiteY1773" fmla="*/ 2162133 h 6750795"/>
              <a:gd name="connsiteX1774" fmla="*/ 5201604 w 6630249"/>
              <a:gd name="connsiteY1774" fmla="*/ 2159651 h 6750795"/>
              <a:gd name="connsiteX1775" fmla="*/ 5186215 w 6630249"/>
              <a:gd name="connsiteY1775" fmla="*/ 2172472 h 6750795"/>
              <a:gd name="connsiteX1776" fmla="*/ 5201604 w 6630249"/>
              <a:gd name="connsiteY1776" fmla="*/ 2159651 h 6750795"/>
              <a:gd name="connsiteX1777" fmla="*/ 5132353 w 6630249"/>
              <a:gd name="connsiteY1777" fmla="*/ 2157089 h 6750795"/>
              <a:gd name="connsiteX1778" fmla="*/ 5081055 w 6630249"/>
              <a:gd name="connsiteY1778" fmla="*/ 2293030 h 6750795"/>
              <a:gd name="connsiteX1779" fmla="*/ 5083620 w 6630249"/>
              <a:gd name="connsiteY1779" fmla="*/ 2239161 h 6750795"/>
              <a:gd name="connsiteX1780" fmla="*/ 5081055 w 6630249"/>
              <a:gd name="connsiteY1780" fmla="*/ 2213505 h 6750795"/>
              <a:gd name="connsiteX1781" fmla="*/ 5086184 w 6630249"/>
              <a:gd name="connsiteY1781" fmla="*/ 2218637 h 6750795"/>
              <a:gd name="connsiteX1782" fmla="*/ 5083620 w 6630249"/>
              <a:gd name="connsiteY1782" fmla="*/ 2257119 h 6750795"/>
              <a:gd name="connsiteX1783" fmla="*/ 5132353 w 6630249"/>
              <a:gd name="connsiteY1783" fmla="*/ 2157089 h 6750795"/>
              <a:gd name="connsiteX1784" fmla="*/ 5071635 w 6630249"/>
              <a:gd name="connsiteY1784" fmla="*/ 2156079 h 6750795"/>
              <a:gd name="connsiteX1785" fmla="*/ 5078809 w 6630249"/>
              <a:gd name="connsiteY1785" fmla="*/ 2158683 h 6750795"/>
              <a:gd name="connsiteX1786" fmla="*/ 5101091 w 6630249"/>
              <a:gd name="connsiteY1786" fmla="*/ 2162133 h 6750795"/>
              <a:gd name="connsiteX1787" fmla="*/ 5091674 w 6630249"/>
              <a:gd name="connsiteY1787" fmla="*/ 2162890 h 6750795"/>
              <a:gd name="connsiteX1788" fmla="*/ 5073358 w 6630249"/>
              <a:gd name="connsiteY1788" fmla="*/ 2157081 h 6750795"/>
              <a:gd name="connsiteX1789" fmla="*/ 5071635 w 6630249"/>
              <a:gd name="connsiteY1789" fmla="*/ 2156079 h 6750795"/>
              <a:gd name="connsiteX1790" fmla="*/ 5619682 w 6630249"/>
              <a:gd name="connsiteY1790" fmla="*/ 2152606 h 6750795"/>
              <a:gd name="connsiteX1791" fmla="*/ 5622247 w 6630249"/>
              <a:gd name="connsiteY1791" fmla="*/ 2154529 h 6750795"/>
              <a:gd name="connsiteX1792" fmla="*/ 5617117 w 6630249"/>
              <a:gd name="connsiteY1792" fmla="*/ 2154529 h 6750795"/>
              <a:gd name="connsiteX1793" fmla="*/ 5619682 w 6630249"/>
              <a:gd name="connsiteY1793" fmla="*/ 2152606 h 6750795"/>
              <a:gd name="connsiteX1794" fmla="*/ 5019496 w 6630249"/>
              <a:gd name="connsiteY1794" fmla="*/ 2149398 h 6750795"/>
              <a:gd name="connsiteX1795" fmla="*/ 5006672 w 6630249"/>
              <a:gd name="connsiteY1795" fmla="*/ 2216074 h 6750795"/>
              <a:gd name="connsiteX1796" fmla="*/ 5019496 w 6630249"/>
              <a:gd name="connsiteY1796" fmla="*/ 2149398 h 6750795"/>
              <a:gd name="connsiteX1797" fmla="*/ 4952810 w 6630249"/>
              <a:gd name="connsiteY1797" fmla="*/ 2144257 h 6750795"/>
              <a:gd name="connsiteX1798" fmla="*/ 4952810 w 6630249"/>
              <a:gd name="connsiteY1798" fmla="*/ 2151951 h 6750795"/>
              <a:gd name="connsiteX1799" fmla="*/ 4952810 w 6630249"/>
              <a:gd name="connsiteY1799" fmla="*/ 2144257 h 6750795"/>
              <a:gd name="connsiteX1800" fmla="*/ 6496875 w 6630249"/>
              <a:gd name="connsiteY1800" fmla="*/ 2139143 h 6750795"/>
              <a:gd name="connsiteX1801" fmla="*/ 6491746 w 6630249"/>
              <a:gd name="connsiteY1801" fmla="*/ 2154530 h 6750795"/>
              <a:gd name="connsiteX1802" fmla="*/ 6496875 w 6630249"/>
              <a:gd name="connsiteY1802" fmla="*/ 2139143 h 6750795"/>
              <a:gd name="connsiteX1803" fmla="*/ 5137481 w 6630249"/>
              <a:gd name="connsiteY1803" fmla="*/ 2136563 h 6750795"/>
              <a:gd name="connsiteX1804" fmla="*/ 5112153 w 6630249"/>
              <a:gd name="connsiteY1804" fmla="*/ 2161246 h 6750795"/>
              <a:gd name="connsiteX1805" fmla="*/ 5101891 w 6630249"/>
              <a:gd name="connsiteY1805" fmla="*/ 2162072 h 6750795"/>
              <a:gd name="connsiteX1806" fmla="*/ 5124336 w 6630249"/>
              <a:gd name="connsiteY1806" fmla="*/ 2152274 h 6750795"/>
              <a:gd name="connsiteX1807" fmla="*/ 5137481 w 6630249"/>
              <a:gd name="connsiteY1807" fmla="*/ 2136563 h 6750795"/>
              <a:gd name="connsiteX1808" fmla="*/ 6619990 w 6630249"/>
              <a:gd name="connsiteY1808" fmla="*/ 2134015 h 6750795"/>
              <a:gd name="connsiteX1809" fmla="*/ 6625120 w 6630249"/>
              <a:gd name="connsiteY1809" fmla="*/ 2134015 h 6750795"/>
              <a:gd name="connsiteX1810" fmla="*/ 6625120 w 6630249"/>
              <a:gd name="connsiteY1810" fmla="*/ 2139143 h 6750795"/>
              <a:gd name="connsiteX1811" fmla="*/ 6619990 w 6630249"/>
              <a:gd name="connsiteY1811" fmla="*/ 2139143 h 6750795"/>
              <a:gd name="connsiteX1812" fmla="*/ 6619990 w 6630249"/>
              <a:gd name="connsiteY1812" fmla="*/ 2134015 h 6750795"/>
              <a:gd name="connsiteX1813" fmla="*/ 2836773 w 6630249"/>
              <a:gd name="connsiteY1813" fmla="*/ 2105806 h 6750795"/>
              <a:gd name="connsiteX1814" fmla="*/ 2847032 w 6630249"/>
              <a:gd name="connsiteY1814" fmla="*/ 2118632 h 6750795"/>
              <a:gd name="connsiteX1815" fmla="*/ 2836773 w 6630249"/>
              <a:gd name="connsiteY1815" fmla="*/ 2105806 h 6750795"/>
              <a:gd name="connsiteX1816" fmla="*/ 5147742 w 6630249"/>
              <a:gd name="connsiteY1816" fmla="*/ 2095534 h 6750795"/>
              <a:gd name="connsiteX1817" fmla="*/ 5142612 w 6630249"/>
              <a:gd name="connsiteY1817" fmla="*/ 2108361 h 6750795"/>
              <a:gd name="connsiteX1818" fmla="*/ 5147742 w 6630249"/>
              <a:gd name="connsiteY1818" fmla="*/ 2095534 h 6750795"/>
              <a:gd name="connsiteX1819" fmla="*/ 5255067 w 6630249"/>
              <a:gd name="connsiteY1819" fmla="*/ 2092603 h 6750795"/>
              <a:gd name="connsiteX1820" fmla="*/ 5252902 w 6630249"/>
              <a:gd name="connsiteY1820" fmla="*/ 2092963 h 6750795"/>
              <a:gd name="connsiteX1821" fmla="*/ 5255067 w 6630249"/>
              <a:gd name="connsiteY1821" fmla="*/ 2092603 h 6750795"/>
              <a:gd name="connsiteX1822" fmla="*/ 4129479 w 6630249"/>
              <a:gd name="connsiteY1822" fmla="*/ 2090399 h 6750795"/>
              <a:gd name="connsiteX1823" fmla="*/ 4129479 w 6630249"/>
              <a:gd name="connsiteY1823" fmla="*/ 2092966 h 6750795"/>
              <a:gd name="connsiteX1824" fmla="*/ 4129479 w 6630249"/>
              <a:gd name="connsiteY1824" fmla="*/ 2090399 h 6750795"/>
              <a:gd name="connsiteX1825" fmla="*/ 4119220 w 6630249"/>
              <a:gd name="connsiteY1825" fmla="*/ 2080144 h 6750795"/>
              <a:gd name="connsiteX1826" fmla="*/ 4126914 w 6630249"/>
              <a:gd name="connsiteY1826" fmla="*/ 2085272 h 6750795"/>
              <a:gd name="connsiteX1827" fmla="*/ 4119220 w 6630249"/>
              <a:gd name="connsiteY1827" fmla="*/ 2087840 h 6750795"/>
              <a:gd name="connsiteX1828" fmla="*/ 4119220 w 6630249"/>
              <a:gd name="connsiteY1828" fmla="*/ 2080144 h 6750795"/>
              <a:gd name="connsiteX1829" fmla="*/ 3926852 w 6630249"/>
              <a:gd name="connsiteY1829" fmla="*/ 2080128 h 6750795"/>
              <a:gd name="connsiteX1830" fmla="*/ 3921722 w 6630249"/>
              <a:gd name="connsiteY1830" fmla="*/ 2103211 h 6750795"/>
              <a:gd name="connsiteX1831" fmla="*/ 3960196 w 6630249"/>
              <a:gd name="connsiteY1831" fmla="*/ 2116035 h 6750795"/>
              <a:gd name="connsiteX1832" fmla="*/ 3955066 w 6630249"/>
              <a:gd name="connsiteY1832" fmla="*/ 2110906 h 6750795"/>
              <a:gd name="connsiteX1833" fmla="*/ 3962760 w 6630249"/>
              <a:gd name="connsiteY1833" fmla="*/ 2108341 h 6750795"/>
              <a:gd name="connsiteX1834" fmla="*/ 3955066 w 6630249"/>
              <a:gd name="connsiteY1834" fmla="*/ 2092951 h 6750795"/>
              <a:gd name="connsiteX1835" fmla="*/ 3939677 w 6630249"/>
              <a:gd name="connsiteY1835" fmla="*/ 2098082 h 6750795"/>
              <a:gd name="connsiteX1836" fmla="*/ 3934547 w 6630249"/>
              <a:gd name="connsiteY1836" fmla="*/ 2087822 h 6750795"/>
              <a:gd name="connsiteX1837" fmla="*/ 3929417 w 6630249"/>
              <a:gd name="connsiteY1837" fmla="*/ 2087822 h 6750795"/>
              <a:gd name="connsiteX1838" fmla="*/ 3926852 w 6630249"/>
              <a:gd name="connsiteY1838" fmla="*/ 2080128 h 6750795"/>
              <a:gd name="connsiteX1839" fmla="*/ 3919157 w 6630249"/>
              <a:gd name="connsiteY1839" fmla="*/ 2077563 h 6750795"/>
              <a:gd name="connsiteX1840" fmla="*/ 3918195 w 6630249"/>
              <a:gd name="connsiteY1840" fmla="*/ 2077883 h 6750795"/>
              <a:gd name="connsiteX1841" fmla="*/ 3918302 w 6630249"/>
              <a:gd name="connsiteY1841" fmla="*/ 2078133 h 6750795"/>
              <a:gd name="connsiteX1842" fmla="*/ 3917234 w 6630249"/>
              <a:gd name="connsiteY1842" fmla="*/ 2078845 h 6750795"/>
              <a:gd name="connsiteX1843" fmla="*/ 3919157 w 6630249"/>
              <a:gd name="connsiteY1843" fmla="*/ 2080128 h 6750795"/>
              <a:gd name="connsiteX1844" fmla="*/ 3916593 w 6630249"/>
              <a:gd name="connsiteY1844" fmla="*/ 2080128 h 6750795"/>
              <a:gd name="connsiteX1845" fmla="*/ 3901203 w 6630249"/>
              <a:gd name="connsiteY1845" fmla="*/ 2092951 h 6750795"/>
              <a:gd name="connsiteX1846" fmla="*/ 3903768 w 6630249"/>
              <a:gd name="connsiteY1846" fmla="*/ 2098082 h 6750795"/>
              <a:gd name="connsiteX1847" fmla="*/ 3916593 w 6630249"/>
              <a:gd name="connsiteY1847" fmla="*/ 2103211 h 6750795"/>
              <a:gd name="connsiteX1848" fmla="*/ 3919157 w 6630249"/>
              <a:gd name="connsiteY1848" fmla="*/ 2085258 h 6750795"/>
              <a:gd name="connsiteX1849" fmla="*/ 3919157 w 6630249"/>
              <a:gd name="connsiteY1849" fmla="*/ 2080128 h 6750795"/>
              <a:gd name="connsiteX1850" fmla="*/ 3918302 w 6630249"/>
              <a:gd name="connsiteY1850" fmla="*/ 2078133 h 6750795"/>
              <a:gd name="connsiteX1851" fmla="*/ 4121785 w 6630249"/>
              <a:gd name="connsiteY1851" fmla="*/ 2075009 h 6750795"/>
              <a:gd name="connsiteX1852" fmla="*/ 4130441 w 6630249"/>
              <a:gd name="connsiteY1852" fmla="*/ 2075009 h 6750795"/>
              <a:gd name="connsiteX1853" fmla="*/ 4137174 w 6630249"/>
              <a:gd name="connsiteY1853" fmla="*/ 2082704 h 6750795"/>
              <a:gd name="connsiteX1854" fmla="*/ 4121785 w 6630249"/>
              <a:gd name="connsiteY1854" fmla="*/ 2075009 h 6750795"/>
              <a:gd name="connsiteX1855" fmla="*/ 5140046 w 6630249"/>
              <a:gd name="connsiteY1855" fmla="*/ 2072452 h 6750795"/>
              <a:gd name="connsiteX1856" fmla="*/ 5140046 w 6630249"/>
              <a:gd name="connsiteY1856" fmla="*/ 2090405 h 6750795"/>
              <a:gd name="connsiteX1857" fmla="*/ 5140046 w 6630249"/>
              <a:gd name="connsiteY1857" fmla="*/ 2072452 h 6750795"/>
              <a:gd name="connsiteX1858" fmla="*/ 2364831 w 6630249"/>
              <a:gd name="connsiteY1858" fmla="*/ 2064738 h 6750795"/>
              <a:gd name="connsiteX1859" fmla="*/ 2369962 w 6630249"/>
              <a:gd name="connsiteY1859" fmla="*/ 2103211 h 6750795"/>
              <a:gd name="connsiteX1860" fmla="*/ 2375091 w 6630249"/>
              <a:gd name="connsiteY1860" fmla="*/ 2080128 h 6750795"/>
              <a:gd name="connsiteX1861" fmla="*/ 2364831 w 6630249"/>
              <a:gd name="connsiteY1861" fmla="*/ 2064738 h 6750795"/>
              <a:gd name="connsiteX1862" fmla="*/ 3942242 w 6630249"/>
              <a:gd name="connsiteY1862" fmla="*/ 2059609 h 6750795"/>
              <a:gd name="connsiteX1863" fmla="*/ 3931982 w 6630249"/>
              <a:gd name="connsiteY1863" fmla="*/ 2067302 h 6750795"/>
              <a:gd name="connsiteX1864" fmla="*/ 3939677 w 6630249"/>
              <a:gd name="connsiteY1864" fmla="*/ 2072433 h 6750795"/>
              <a:gd name="connsiteX1865" fmla="*/ 3942242 w 6630249"/>
              <a:gd name="connsiteY1865" fmla="*/ 2059609 h 6750795"/>
              <a:gd name="connsiteX1866" fmla="*/ 3898638 w 6630249"/>
              <a:gd name="connsiteY1866" fmla="*/ 2057044 h 6750795"/>
              <a:gd name="connsiteX1867" fmla="*/ 3896073 w 6630249"/>
              <a:gd name="connsiteY1867" fmla="*/ 2062174 h 6750795"/>
              <a:gd name="connsiteX1868" fmla="*/ 3901203 w 6630249"/>
              <a:gd name="connsiteY1868" fmla="*/ 2057044 h 6750795"/>
              <a:gd name="connsiteX1869" fmla="*/ 3898638 w 6630249"/>
              <a:gd name="connsiteY1869" fmla="*/ 2057044 h 6750795"/>
              <a:gd name="connsiteX1870" fmla="*/ 4437266 w 6630249"/>
              <a:gd name="connsiteY1870" fmla="*/ 2054500 h 6750795"/>
              <a:gd name="connsiteX1871" fmla="*/ 4442396 w 6630249"/>
              <a:gd name="connsiteY1871" fmla="*/ 2054500 h 6750795"/>
              <a:gd name="connsiteX1872" fmla="*/ 4442396 w 6630249"/>
              <a:gd name="connsiteY1872" fmla="*/ 2059635 h 6750795"/>
              <a:gd name="connsiteX1873" fmla="*/ 4437266 w 6630249"/>
              <a:gd name="connsiteY1873" fmla="*/ 2059635 h 6750795"/>
              <a:gd name="connsiteX1874" fmla="*/ 4437266 w 6630249"/>
              <a:gd name="connsiteY1874" fmla="*/ 2054500 h 6750795"/>
              <a:gd name="connsiteX1875" fmla="*/ 5145176 w 6630249"/>
              <a:gd name="connsiteY1875" fmla="*/ 2051935 h 6750795"/>
              <a:gd name="connsiteX1876" fmla="*/ 5145176 w 6630249"/>
              <a:gd name="connsiteY1876" fmla="*/ 2064764 h 6750795"/>
              <a:gd name="connsiteX1877" fmla="*/ 5145176 w 6630249"/>
              <a:gd name="connsiteY1877" fmla="*/ 2051935 h 6750795"/>
              <a:gd name="connsiteX1878" fmla="*/ 3916593 w 6630249"/>
              <a:gd name="connsiteY1878" fmla="*/ 2036525 h 6750795"/>
              <a:gd name="connsiteX1879" fmla="*/ 3911463 w 6630249"/>
              <a:gd name="connsiteY1879" fmla="*/ 2041654 h 6750795"/>
              <a:gd name="connsiteX1880" fmla="*/ 3916593 w 6630249"/>
              <a:gd name="connsiteY1880" fmla="*/ 2039090 h 6750795"/>
              <a:gd name="connsiteX1881" fmla="*/ 3919157 w 6630249"/>
              <a:gd name="connsiteY1881" fmla="*/ 2031396 h 6750795"/>
              <a:gd name="connsiteX1882" fmla="*/ 3916593 w 6630249"/>
              <a:gd name="connsiteY1882" fmla="*/ 2033960 h 6750795"/>
              <a:gd name="connsiteX1883" fmla="*/ 3921722 w 6630249"/>
              <a:gd name="connsiteY1883" fmla="*/ 2039090 h 6750795"/>
              <a:gd name="connsiteX1884" fmla="*/ 3919157 w 6630249"/>
              <a:gd name="connsiteY1884" fmla="*/ 2031396 h 6750795"/>
              <a:gd name="connsiteX1885" fmla="*/ 3885494 w 6630249"/>
              <a:gd name="connsiteY1885" fmla="*/ 2023129 h 6750795"/>
              <a:gd name="connsiteX1886" fmla="*/ 3888379 w 6630249"/>
              <a:gd name="connsiteY1886" fmla="*/ 2031423 h 6750795"/>
              <a:gd name="connsiteX1887" fmla="*/ 3880684 w 6630249"/>
              <a:gd name="connsiteY1887" fmla="*/ 2023727 h 6750795"/>
              <a:gd name="connsiteX1888" fmla="*/ 3885494 w 6630249"/>
              <a:gd name="connsiteY1888" fmla="*/ 2023129 h 6750795"/>
              <a:gd name="connsiteX1889" fmla="*/ 5178521 w 6630249"/>
              <a:gd name="connsiteY1889" fmla="*/ 2013462 h 6750795"/>
              <a:gd name="connsiteX1890" fmla="*/ 5150307 w 6630249"/>
              <a:gd name="connsiteY1890" fmla="*/ 2090399 h 6750795"/>
              <a:gd name="connsiteX1891" fmla="*/ 5178521 w 6630249"/>
              <a:gd name="connsiteY1891" fmla="*/ 2013462 h 6750795"/>
              <a:gd name="connsiteX1892" fmla="*/ 5065665 w 6630249"/>
              <a:gd name="connsiteY1892" fmla="*/ 2008330 h 6750795"/>
              <a:gd name="connsiteX1893" fmla="*/ 5078489 w 6630249"/>
              <a:gd name="connsiteY1893" fmla="*/ 2046798 h 6750795"/>
              <a:gd name="connsiteX1894" fmla="*/ 5055405 w 6630249"/>
              <a:gd name="connsiteY1894" fmla="*/ 2046798 h 6750795"/>
              <a:gd name="connsiteX1895" fmla="*/ 5052840 w 6630249"/>
              <a:gd name="connsiteY1895" fmla="*/ 2044233 h 6750795"/>
              <a:gd name="connsiteX1896" fmla="*/ 5065665 w 6630249"/>
              <a:gd name="connsiteY1896" fmla="*/ 2008330 h 6750795"/>
              <a:gd name="connsiteX1897" fmla="*/ 2334053 w 6630249"/>
              <a:gd name="connsiteY1897" fmla="*/ 2005745 h 6750795"/>
              <a:gd name="connsiteX1898" fmla="*/ 2357578 w 6630249"/>
              <a:gd name="connsiteY1898" fmla="*/ 2042104 h 6750795"/>
              <a:gd name="connsiteX1899" fmla="*/ 2357137 w 6630249"/>
              <a:gd name="connsiteY1899" fmla="*/ 2044219 h 6750795"/>
              <a:gd name="connsiteX1900" fmla="*/ 2334053 w 6630249"/>
              <a:gd name="connsiteY1900" fmla="*/ 2005745 h 6750795"/>
              <a:gd name="connsiteX1901" fmla="*/ 5104138 w 6630249"/>
              <a:gd name="connsiteY1901" fmla="*/ 1995514 h 6750795"/>
              <a:gd name="connsiteX1902" fmla="*/ 5109268 w 6630249"/>
              <a:gd name="connsiteY1902" fmla="*/ 1995514 h 6750795"/>
              <a:gd name="connsiteX1903" fmla="*/ 5109268 w 6630249"/>
              <a:gd name="connsiteY1903" fmla="*/ 2000642 h 6750795"/>
              <a:gd name="connsiteX1904" fmla="*/ 5104138 w 6630249"/>
              <a:gd name="connsiteY1904" fmla="*/ 2000642 h 6750795"/>
              <a:gd name="connsiteX1905" fmla="*/ 5104138 w 6630249"/>
              <a:gd name="connsiteY1905" fmla="*/ 1995514 h 6750795"/>
              <a:gd name="connsiteX1906" fmla="*/ 2375091 w 6630249"/>
              <a:gd name="connsiteY1906" fmla="*/ 1995486 h 6750795"/>
              <a:gd name="connsiteX1907" fmla="*/ 2367396 w 6630249"/>
              <a:gd name="connsiteY1907" fmla="*/ 2046783 h 6750795"/>
              <a:gd name="connsiteX1908" fmla="*/ 2380221 w 6630249"/>
              <a:gd name="connsiteY1908" fmla="*/ 2069868 h 6750795"/>
              <a:gd name="connsiteX1909" fmla="*/ 2400741 w 6630249"/>
              <a:gd name="connsiteY1909" fmla="*/ 2033960 h 6750795"/>
              <a:gd name="connsiteX1910" fmla="*/ 2380221 w 6630249"/>
              <a:gd name="connsiteY1910" fmla="*/ 2018570 h 6750795"/>
              <a:gd name="connsiteX1911" fmla="*/ 2375091 w 6630249"/>
              <a:gd name="connsiteY1911" fmla="*/ 1995486 h 6750795"/>
              <a:gd name="connsiteX1912" fmla="*/ 4732670 w 6630249"/>
              <a:gd name="connsiteY1912" fmla="*/ 1964606 h 6750795"/>
              <a:gd name="connsiteX1913" fmla="*/ 4737358 w 6630249"/>
              <a:gd name="connsiteY1913" fmla="*/ 1980115 h 6750795"/>
              <a:gd name="connsiteX1914" fmla="*/ 4729664 w 6630249"/>
              <a:gd name="connsiteY1914" fmla="*/ 1967290 h 6750795"/>
              <a:gd name="connsiteX1915" fmla="*/ 4732670 w 6630249"/>
              <a:gd name="connsiteY1915" fmla="*/ 1964606 h 6750795"/>
              <a:gd name="connsiteX1916" fmla="*/ 4729664 w 6630249"/>
              <a:gd name="connsiteY1916" fmla="*/ 1957041 h 6750795"/>
              <a:gd name="connsiteX1917" fmla="*/ 4734793 w 6630249"/>
              <a:gd name="connsiteY1917" fmla="*/ 1957041 h 6750795"/>
              <a:gd name="connsiteX1918" fmla="*/ 4734793 w 6630249"/>
              <a:gd name="connsiteY1918" fmla="*/ 1962170 h 6750795"/>
              <a:gd name="connsiteX1919" fmla="*/ 4729664 w 6630249"/>
              <a:gd name="connsiteY1919" fmla="*/ 1962170 h 6750795"/>
              <a:gd name="connsiteX1920" fmla="*/ 4729664 w 6630249"/>
              <a:gd name="connsiteY1920" fmla="*/ 1957041 h 6750795"/>
              <a:gd name="connsiteX1921" fmla="*/ 5070795 w 6630249"/>
              <a:gd name="connsiteY1921" fmla="*/ 1954476 h 6750795"/>
              <a:gd name="connsiteX1922" fmla="*/ 5073359 w 6630249"/>
              <a:gd name="connsiteY1922" fmla="*/ 1980125 h 6750795"/>
              <a:gd name="connsiteX1923" fmla="*/ 5070795 w 6630249"/>
              <a:gd name="connsiteY1923" fmla="*/ 1954476 h 6750795"/>
              <a:gd name="connsiteX1924" fmla="*/ 4047402 w 6630249"/>
              <a:gd name="connsiteY1924" fmla="*/ 1951883 h 6750795"/>
              <a:gd name="connsiteX1925" fmla="*/ 4042272 w 6630249"/>
              <a:gd name="connsiteY1925" fmla="*/ 1957013 h 6750795"/>
              <a:gd name="connsiteX1926" fmla="*/ 4044837 w 6630249"/>
              <a:gd name="connsiteY1926" fmla="*/ 1962143 h 6750795"/>
              <a:gd name="connsiteX1927" fmla="*/ 4047402 w 6630249"/>
              <a:gd name="connsiteY1927" fmla="*/ 1951883 h 6750795"/>
              <a:gd name="connsiteX1928" fmla="*/ 4757878 w 6630249"/>
              <a:gd name="connsiteY1928" fmla="*/ 1946763 h 6750795"/>
              <a:gd name="connsiteX1929" fmla="*/ 4763008 w 6630249"/>
              <a:gd name="connsiteY1929" fmla="*/ 1957025 h 6750795"/>
              <a:gd name="connsiteX1930" fmla="*/ 4757878 w 6630249"/>
              <a:gd name="connsiteY1930" fmla="*/ 1946763 h 6750795"/>
              <a:gd name="connsiteX1931" fmla="*/ 6584081 w 6630249"/>
              <a:gd name="connsiteY1931" fmla="*/ 1941649 h 6750795"/>
              <a:gd name="connsiteX1932" fmla="*/ 6568691 w 6630249"/>
              <a:gd name="connsiteY1932" fmla="*/ 1972431 h 6750795"/>
              <a:gd name="connsiteX1933" fmla="*/ 6584081 w 6630249"/>
              <a:gd name="connsiteY1933" fmla="*/ 1941649 h 6750795"/>
              <a:gd name="connsiteX1934" fmla="*/ 1367088 w 6630249"/>
              <a:gd name="connsiteY1934" fmla="*/ 1939059 h 6750795"/>
              <a:gd name="connsiteX1935" fmla="*/ 1354263 w 6630249"/>
              <a:gd name="connsiteY1935" fmla="*/ 1982662 h 6750795"/>
              <a:gd name="connsiteX1936" fmla="*/ 1367088 w 6630249"/>
              <a:gd name="connsiteY1936" fmla="*/ 1939059 h 6750795"/>
              <a:gd name="connsiteX1937" fmla="*/ 3890944 w 6630249"/>
              <a:gd name="connsiteY1937" fmla="*/ 1936517 h 6750795"/>
              <a:gd name="connsiteX1938" fmla="*/ 3898638 w 6630249"/>
              <a:gd name="connsiteY1938" fmla="*/ 1954476 h 6750795"/>
              <a:gd name="connsiteX1939" fmla="*/ 3890944 w 6630249"/>
              <a:gd name="connsiteY1939" fmla="*/ 1936517 h 6750795"/>
              <a:gd name="connsiteX1940" fmla="*/ 5564893 w 6630249"/>
              <a:gd name="connsiteY1940" fmla="*/ 1920791 h 6750795"/>
              <a:gd name="connsiteX1941" fmla="*/ 5570949 w 6630249"/>
              <a:gd name="connsiteY1941" fmla="*/ 1928799 h 6750795"/>
              <a:gd name="connsiteX1942" fmla="*/ 5565819 w 6630249"/>
              <a:gd name="connsiteY1942" fmla="*/ 1931364 h 6750795"/>
              <a:gd name="connsiteX1943" fmla="*/ 5564266 w 6630249"/>
              <a:gd name="connsiteY1943" fmla="*/ 1929275 h 6750795"/>
              <a:gd name="connsiteX1944" fmla="*/ 5780584 w 6630249"/>
              <a:gd name="connsiteY1944" fmla="*/ 1914603 h 6750795"/>
              <a:gd name="connsiteX1945" fmla="*/ 5783835 w 6630249"/>
              <a:gd name="connsiteY1945" fmla="*/ 1921104 h 6750795"/>
              <a:gd name="connsiteX1946" fmla="*/ 5780079 w 6630249"/>
              <a:gd name="connsiteY1946" fmla="*/ 1920854 h 6750795"/>
              <a:gd name="connsiteX1947" fmla="*/ 5781270 w 6630249"/>
              <a:gd name="connsiteY1947" fmla="*/ 1915975 h 6750795"/>
              <a:gd name="connsiteX1948" fmla="*/ 5775431 w 6630249"/>
              <a:gd name="connsiteY1948" fmla="*/ 1920544 h 6750795"/>
              <a:gd name="connsiteX1949" fmla="*/ 5774216 w 6630249"/>
              <a:gd name="connsiteY1949" fmla="*/ 1920463 h 6750795"/>
              <a:gd name="connsiteX1950" fmla="*/ 5768445 w 6630249"/>
              <a:gd name="connsiteY1950" fmla="*/ 1923669 h 6750795"/>
              <a:gd name="connsiteX1951" fmla="*/ 5773917 w 6630249"/>
              <a:gd name="connsiteY1951" fmla="*/ 1916830 h 6750795"/>
              <a:gd name="connsiteX1952" fmla="*/ 5773575 w 6630249"/>
              <a:gd name="connsiteY1952" fmla="*/ 1918540 h 6750795"/>
              <a:gd name="connsiteX1953" fmla="*/ 3839646 w 6630249"/>
              <a:gd name="connsiteY1953" fmla="*/ 1910845 h 6750795"/>
              <a:gd name="connsiteX1954" fmla="*/ 3829386 w 6630249"/>
              <a:gd name="connsiteY1954" fmla="*/ 1928799 h 6750795"/>
              <a:gd name="connsiteX1955" fmla="*/ 3808867 w 6630249"/>
              <a:gd name="connsiteY1955" fmla="*/ 1959578 h 6750795"/>
              <a:gd name="connsiteX1956" fmla="*/ 3801172 w 6630249"/>
              <a:gd name="connsiteY1956" fmla="*/ 1982662 h 6750795"/>
              <a:gd name="connsiteX1957" fmla="*/ 3819127 w 6630249"/>
              <a:gd name="connsiteY1957" fmla="*/ 1985227 h 6750795"/>
              <a:gd name="connsiteX1958" fmla="*/ 3808867 w 6630249"/>
              <a:gd name="connsiteY1958" fmla="*/ 2023701 h 6750795"/>
              <a:gd name="connsiteX1959" fmla="*/ 3819127 w 6630249"/>
              <a:gd name="connsiteY1959" fmla="*/ 1990357 h 6750795"/>
              <a:gd name="connsiteX1960" fmla="*/ 3839646 w 6630249"/>
              <a:gd name="connsiteY1960" fmla="*/ 1910845 h 6750795"/>
              <a:gd name="connsiteX1961" fmla="*/ 1364523 w 6630249"/>
              <a:gd name="connsiteY1961" fmla="*/ 1908280 h 6750795"/>
              <a:gd name="connsiteX1962" fmla="*/ 1367088 w 6630249"/>
              <a:gd name="connsiteY1962" fmla="*/ 1921104 h 6750795"/>
              <a:gd name="connsiteX1963" fmla="*/ 1367088 w 6630249"/>
              <a:gd name="connsiteY1963" fmla="*/ 1908280 h 6750795"/>
              <a:gd name="connsiteX1964" fmla="*/ 1364523 w 6630249"/>
              <a:gd name="connsiteY1964" fmla="*/ 1908280 h 6750795"/>
              <a:gd name="connsiteX1965" fmla="*/ 4103830 w 6630249"/>
              <a:gd name="connsiteY1965" fmla="*/ 1900595 h 6750795"/>
              <a:gd name="connsiteX1966" fmla="*/ 4098700 w 6630249"/>
              <a:gd name="connsiteY1966" fmla="*/ 1913420 h 6750795"/>
              <a:gd name="connsiteX1967" fmla="*/ 4093571 w 6630249"/>
              <a:gd name="connsiteY1967" fmla="*/ 1903161 h 6750795"/>
              <a:gd name="connsiteX1968" fmla="*/ 4103830 w 6630249"/>
              <a:gd name="connsiteY1968" fmla="*/ 1900595 h 6750795"/>
              <a:gd name="connsiteX1969" fmla="*/ 3903127 w 6630249"/>
              <a:gd name="connsiteY1969" fmla="*/ 1899970 h 6750795"/>
              <a:gd name="connsiteX1970" fmla="*/ 3901203 w 6630249"/>
              <a:gd name="connsiteY1970" fmla="*/ 1905742 h 6750795"/>
              <a:gd name="connsiteX1971" fmla="*/ 3903127 w 6630249"/>
              <a:gd name="connsiteY1971" fmla="*/ 1899970 h 6750795"/>
              <a:gd name="connsiteX1972" fmla="*/ 5122092 w 6630249"/>
              <a:gd name="connsiteY1972" fmla="*/ 1890344 h 6750795"/>
              <a:gd name="connsiteX1973" fmla="*/ 5119527 w 6630249"/>
              <a:gd name="connsiteY1973" fmla="*/ 1905732 h 6750795"/>
              <a:gd name="connsiteX1974" fmla="*/ 5122092 w 6630249"/>
              <a:gd name="connsiteY1974" fmla="*/ 1890344 h 6750795"/>
              <a:gd name="connsiteX1975" fmla="*/ 3880684 w 6630249"/>
              <a:gd name="connsiteY1975" fmla="*/ 1887779 h 6750795"/>
              <a:gd name="connsiteX1976" fmla="*/ 3880684 w 6630249"/>
              <a:gd name="connsiteY1976" fmla="*/ 1887779 h 6750795"/>
              <a:gd name="connsiteX1977" fmla="*/ 2600802 w 6630249"/>
              <a:gd name="connsiteY1977" fmla="*/ 1877501 h 6750795"/>
              <a:gd name="connsiteX1978" fmla="*/ 2534115 w 6630249"/>
              <a:gd name="connsiteY1978" fmla="*/ 1933929 h 6750795"/>
              <a:gd name="connsiteX1979" fmla="*/ 2464863 w 6630249"/>
              <a:gd name="connsiteY1979" fmla="*/ 2118599 h 6750795"/>
              <a:gd name="connsiteX1980" fmla="*/ 2434084 w 6630249"/>
              <a:gd name="connsiteY1980" fmla="*/ 2154509 h 6750795"/>
              <a:gd name="connsiteX1981" fmla="*/ 2441779 w 6630249"/>
              <a:gd name="connsiteY1981" fmla="*/ 2162202 h 6750795"/>
              <a:gd name="connsiteX1982" fmla="*/ 2528985 w 6630249"/>
              <a:gd name="connsiteY1982" fmla="*/ 2141684 h 6750795"/>
              <a:gd name="connsiteX1983" fmla="*/ 2444345 w 6630249"/>
              <a:gd name="connsiteY1983" fmla="*/ 2167332 h 6750795"/>
              <a:gd name="connsiteX1984" fmla="*/ 2464863 w 6630249"/>
              <a:gd name="connsiteY1984" fmla="*/ 2190416 h 6750795"/>
              <a:gd name="connsiteX1985" fmla="*/ 2454604 w 6630249"/>
              <a:gd name="connsiteY1985" fmla="*/ 2205806 h 6750795"/>
              <a:gd name="connsiteX1986" fmla="*/ 2505901 w 6630249"/>
              <a:gd name="connsiteY1986" fmla="*/ 2323792 h 6750795"/>
              <a:gd name="connsiteX1987" fmla="*/ 2618757 w 6630249"/>
              <a:gd name="connsiteY1987" fmla="*/ 2241718 h 6750795"/>
              <a:gd name="connsiteX1988" fmla="*/ 2654665 w 6630249"/>
              <a:gd name="connsiteY1988" fmla="*/ 2272495 h 6750795"/>
              <a:gd name="connsiteX1989" fmla="*/ 2682879 w 6630249"/>
              <a:gd name="connsiteY1989" fmla="*/ 2257108 h 6750795"/>
              <a:gd name="connsiteX1990" fmla="*/ 2680314 w 6630249"/>
              <a:gd name="connsiteY1990" fmla="*/ 2249412 h 6750795"/>
              <a:gd name="connsiteX1991" fmla="*/ 2690574 w 6630249"/>
              <a:gd name="connsiteY1991" fmla="*/ 2244283 h 6750795"/>
              <a:gd name="connsiteX1992" fmla="*/ 2698269 w 6630249"/>
              <a:gd name="connsiteY1992" fmla="*/ 2249412 h 6750795"/>
              <a:gd name="connsiteX1993" fmla="*/ 2759827 w 6630249"/>
              <a:gd name="connsiteY1993" fmla="*/ 2213500 h 6750795"/>
              <a:gd name="connsiteX1994" fmla="*/ 2677749 w 6630249"/>
              <a:gd name="connsiteY1994" fmla="*/ 2023701 h 6750795"/>
              <a:gd name="connsiteX1995" fmla="*/ 2621321 w 6630249"/>
              <a:gd name="connsiteY1995" fmla="*/ 1900585 h 6750795"/>
              <a:gd name="connsiteX1996" fmla="*/ 2600802 w 6630249"/>
              <a:gd name="connsiteY1996" fmla="*/ 1877501 h 6750795"/>
              <a:gd name="connsiteX1997" fmla="*/ 1390172 w 6630249"/>
              <a:gd name="connsiteY1997" fmla="*/ 1877501 h 6750795"/>
              <a:gd name="connsiteX1998" fmla="*/ 1385042 w 6630249"/>
              <a:gd name="connsiteY1998" fmla="*/ 1898020 h 6750795"/>
              <a:gd name="connsiteX1999" fmla="*/ 1410691 w 6630249"/>
              <a:gd name="connsiteY1999" fmla="*/ 1895455 h 6750795"/>
              <a:gd name="connsiteX2000" fmla="*/ 1420950 w 6630249"/>
              <a:gd name="connsiteY2000" fmla="*/ 1882631 h 6750795"/>
              <a:gd name="connsiteX2001" fmla="*/ 1390172 w 6630249"/>
              <a:gd name="connsiteY2001" fmla="*/ 1877501 h 6750795"/>
              <a:gd name="connsiteX2002" fmla="*/ 2841902 w 6630249"/>
              <a:gd name="connsiteY2002" fmla="*/ 1867242 h 6750795"/>
              <a:gd name="connsiteX2003" fmla="*/ 2813688 w 6630249"/>
              <a:gd name="connsiteY2003" fmla="*/ 1921104 h 6750795"/>
              <a:gd name="connsiteX2004" fmla="*/ 2782911 w 6630249"/>
              <a:gd name="connsiteY2004" fmla="*/ 2003181 h 6750795"/>
              <a:gd name="connsiteX2005" fmla="*/ 2859857 w 6630249"/>
              <a:gd name="connsiteY2005" fmla="*/ 2167332 h 6750795"/>
              <a:gd name="connsiteX2006" fmla="*/ 2959887 w 6630249"/>
              <a:gd name="connsiteY2006" fmla="*/ 2126297 h 6750795"/>
              <a:gd name="connsiteX2007" fmla="*/ 2936803 w 6630249"/>
              <a:gd name="connsiteY2007" fmla="*/ 2095517 h 6750795"/>
              <a:gd name="connsiteX2008" fmla="*/ 2918069 w 6630249"/>
              <a:gd name="connsiteY2008" fmla="*/ 2081466 h 6750795"/>
              <a:gd name="connsiteX2009" fmla="*/ 2906441 w 6630249"/>
              <a:gd name="connsiteY2009" fmla="*/ 2067673 h 6750795"/>
              <a:gd name="connsiteX2010" fmla="*/ 2908790 w 6630249"/>
              <a:gd name="connsiteY2010" fmla="*/ 2040812 h 6750795"/>
              <a:gd name="connsiteX2011" fmla="*/ 2875246 w 6630249"/>
              <a:gd name="connsiteY2011" fmla="*/ 1987792 h 6750795"/>
              <a:gd name="connsiteX2012" fmla="*/ 2906025 w 6630249"/>
              <a:gd name="connsiteY2012" fmla="*/ 1998051 h 6750795"/>
              <a:gd name="connsiteX2013" fmla="*/ 2870116 w 6630249"/>
              <a:gd name="connsiteY2013" fmla="*/ 1951883 h 6750795"/>
              <a:gd name="connsiteX2014" fmla="*/ 2875246 w 6630249"/>
              <a:gd name="connsiteY2014" fmla="*/ 1921104 h 6750795"/>
              <a:gd name="connsiteX2015" fmla="*/ 2849597 w 6630249"/>
              <a:gd name="connsiteY2015" fmla="*/ 1885196 h 6750795"/>
              <a:gd name="connsiteX2016" fmla="*/ 2854728 w 6630249"/>
              <a:gd name="connsiteY2016" fmla="*/ 1967273 h 6750795"/>
              <a:gd name="connsiteX2017" fmla="*/ 2887750 w 6630249"/>
              <a:gd name="connsiteY2017" fmla="*/ 2045502 h 6750795"/>
              <a:gd name="connsiteX2018" fmla="*/ 2906441 w 6630249"/>
              <a:gd name="connsiteY2018" fmla="*/ 2067673 h 6750795"/>
              <a:gd name="connsiteX2019" fmla="*/ 2906025 w 6630249"/>
              <a:gd name="connsiteY2019" fmla="*/ 2072433 h 6750795"/>
              <a:gd name="connsiteX2020" fmla="*/ 2918069 w 6630249"/>
              <a:gd name="connsiteY2020" fmla="*/ 2081466 h 6750795"/>
              <a:gd name="connsiteX2021" fmla="*/ 2934239 w 6630249"/>
              <a:gd name="connsiteY2021" fmla="*/ 2100646 h 6750795"/>
              <a:gd name="connsiteX2022" fmla="*/ 2926544 w 6630249"/>
              <a:gd name="connsiteY2022" fmla="*/ 2118599 h 6750795"/>
              <a:gd name="connsiteX2023" fmla="*/ 2847032 w 6630249"/>
              <a:gd name="connsiteY2023" fmla="*/ 1977532 h 6750795"/>
              <a:gd name="connsiteX2024" fmla="*/ 2844467 w 6630249"/>
              <a:gd name="connsiteY2024" fmla="*/ 1872371 h 6750795"/>
              <a:gd name="connsiteX2025" fmla="*/ 2841902 w 6630249"/>
              <a:gd name="connsiteY2025" fmla="*/ 1867242 h 6750795"/>
              <a:gd name="connsiteX2026" fmla="*/ 3931249 w 6630249"/>
              <a:gd name="connsiteY2026" fmla="*/ 1861868 h 6750795"/>
              <a:gd name="connsiteX2027" fmla="*/ 3931982 w 6630249"/>
              <a:gd name="connsiteY2027" fmla="*/ 1862112 h 6750795"/>
              <a:gd name="connsiteX2028" fmla="*/ 3931982 w 6630249"/>
              <a:gd name="connsiteY2028" fmla="*/ 1943272 h 6750795"/>
              <a:gd name="connsiteX2029" fmla="*/ 3929417 w 6630249"/>
              <a:gd name="connsiteY2029" fmla="*/ 1944188 h 6750795"/>
              <a:gd name="connsiteX2030" fmla="*/ 3926852 w 6630249"/>
              <a:gd name="connsiteY2030" fmla="*/ 1864677 h 6750795"/>
              <a:gd name="connsiteX2031" fmla="*/ 2477687 w 6630249"/>
              <a:gd name="connsiteY2031" fmla="*/ 1856982 h 6750795"/>
              <a:gd name="connsiteX2032" fmla="*/ 2426390 w 6630249"/>
              <a:gd name="connsiteY2032" fmla="*/ 1895455 h 6750795"/>
              <a:gd name="connsiteX2033" fmla="*/ 2413565 w 6630249"/>
              <a:gd name="connsiteY2033" fmla="*/ 1908280 h 6750795"/>
              <a:gd name="connsiteX2034" fmla="*/ 2472558 w 6630249"/>
              <a:gd name="connsiteY2034" fmla="*/ 1895455 h 6750795"/>
              <a:gd name="connsiteX2035" fmla="*/ 2477687 w 6630249"/>
              <a:gd name="connsiteY2035" fmla="*/ 1856982 h 6750795"/>
              <a:gd name="connsiteX2036" fmla="*/ 3978831 w 6630249"/>
              <a:gd name="connsiteY2036" fmla="*/ 1856689 h 6750795"/>
              <a:gd name="connsiteX2037" fmla="*/ 3975585 w 6630249"/>
              <a:gd name="connsiteY2037" fmla="*/ 1859576 h 6750795"/>
              <a:gd name="connsiteX2038" fmla="*/ 3978831 w 6630249"/>
              <a:gd name="connsiteY2038" fmla="*/ 1856689 h 6750795"/>
              <a:gd name="connsiteX2039" fmla="*/ 5722277 w 6630249"/>
              <a:gd name="connsiteY2039" fmla="*/ 1849316 h 6750795"/>
              <a:gd name="connsiteX2040" fmla="*/ 5729972 w 6630249"/>
              <a:gd name="connsiteY2040" fmla="*/ 1849316 h 6750795"/>
              <a:gd name="connsiteX2041" fmla="*/ 5712018 w 6630249"/>
              <a:gd name="connsiteY2041" fmla="*/ 1872400 h 6750795"/>
              <a:gd name="connsiteX2042" fmla="*/ 5722277 w 6630249"/>
              <a:gd name="connsiteY2042" fmla="*/ 1849316 h 6750795"/>
              <a:gd name="connsiteX2043" fmla="*/ 5027191 w 6630249"/>
              <a:gd name="connsiteY2043" fmla="*/ 1839056 h 6750795"/>
              <a:gd name="connsiteX2044" fmla="*/ 5011802 w 6630249"/>
              <a:gd name="connsiteY2044" fmla="*/ 1841622 h 6750795"/>
              <a:gd name="connsiteX2045" fmla="*/ 5027191 w 6630249"/>
              <a:gd name="connsiteY2045" fmla="*/ 1839056 h 6750795"/>
              <a:gd name="connsiteX2046" fmla="*/ 4713473 w 6630249"/>
              <a:gd name="connsiteY2046" fmla="*/ 1836892 h 6750795"/>
              <a:gd name="connsiteX2047" fmla="*/ 4709145 w 6630249"/>
              <a:gd name="connsiteY2047" fmla="*/ 1839056 h 6750795"/>
              <a:gd name="connsiteX2048" fmla="*/ 4713473 w 6630249"/>
              <a:gd name="connsiteY2048" fmla="*/ 1836892 h 6750795"/>
              <a:gd name="connsiteX2049" fmla="*/ 3911463 w 6630249"/>
              <a:gd name="connsiteY2049" fmla="*/ 1828769 h 6750795"/>
              <a:gd name="connsiteX2050" fmla="*/ 3908898 w 6630249"/>
              <a:gd name="connsiteY2050" fmla="*/ 1831334 h 6750795"/>
              <a:gd name="connsiteX2051" fmla="*/ 3914028 w 6630249"/>
              <a:gd name="connsiteY2051" fmla="*/ 1831334 h 6750795"/>
              <a:gd name="connsiteX2052" fmla="*/ 3911463 w 6630249"/>
              <a:gd name="connsiteY2052" fmla="*/ 1828769 h 6750795"/>
              <a:gd name="connsiteX2053" fmla="*/ 2190419 w 6630249"/>
              <a:gd name="connsiteY2053" fmla="*/ 1828769 h 6750795"/>
              <a:gd name="connsiteX2054" fmla="*/ 2334053 w 6630249"/>
              <a:gd name="connsiteY2054" fmla="*/ 2005745 h 6750795"/>
              <a:gd name="connsiteX2055" fmla="*/ 2263839 w 6630249"/>
              <a:gd name="connsiteY2055" fmla="*/ 1911807 h 6750795"/>
              <a:gd name="connsiteX2056" fmla="*/ 2188692 w 6630249"/>
              <a:gd name="connsiteY2056" fmla="*/ 1832222 h 6750795"/>
              <a:gd name="connsiteX2057" fmla="*/ 3505729 w 6630249"/>
              <a:gd name="connsiteY2057" fmla="*/ 1818389 h 6750795"/>
              <a:gd name="connsiteX2058" fmla="*/ 3498515 w 6630249"/>
              <a:gd name="connsiteY2058" fmla="*/ 1833898 h 6750795"/>
              <a:gd name="connsiteX2059" fmla="*/ 3498515 w 6630249"/>
              <a:gd name="connsiteY2059" fmla="*/ 1828769 h 6750795"/>
              <a:gd name="connsiteX2060" fmla="*/ 3505729 w 6630249"/>
              <a:gd name="connsiteY2060" fmla="*/ 1818389 h 6750795"/>
              <a:gd name="connsiteX2061" fmla="*/ 6048700 w 6630249"/>
              <a:gd name="connsiteY2061" fmla="*/ 1811603 h 6750795"/>
              <a:gd name="connsiteX2062" fmla="*/ 6045454 w 6630249"/>
              <a:gd name="connsiteY2062" fmla="*/ 1813407 h 6750795"/>
              <a:gd name="connsiteX2063" fmla="*/ 6048700 w 6630249"/>
              <a:gd name="connsiteY2063" fmla="*/ 1811603 h 6750795"/>
              <a:gd name="connsiteX2064" fmla="*/ 4034577 w 6630249"/>
              <a:gd name="connsiteY2064" fmla="*/ 1810815 h 6750795"/>
              <a:gd name="connsiteX2065" fmla="*/ 4011494 w 6630249"/>
              <a:gd name="connsiteY2065" fmla="*/ 1862112 h 6750795"/>
              <a:gd name="connsiteX2066" fmla="*/ 3996104 w 6630249"/>
              <a:gd name="connsiteY2066" fmla="*/ 1892891 h 6750795"/>
              <a:gd name="connsiteX2067" fmla="*/ 4003799 w 6630249"/>
              <a:gd name="connsiteY2067" fmla="*/ 1890326 h 6750795"/>
              <a:gd name="connsiteX2068" fmla="*/ 4029448 w 6630249"/>
              <a:gd name="connsiteY2068" fmla="*/ 1936494 h 6750795"/>
              <a:gd name="connsiteX2069" fmla="*/ 4047402 w 6630249"/>
              <a:gd name="connsiteY2069" fmla="*/ 1913410 h 6750795"/>
              <a:gd name="connsiteX2070" fmla="*/ 4044837 w 6630249"/>
              <a:gd name="connsiteY2070" fmla="*/ 1903150 h 6750795"/>
              <a:gd name="connsiteX2071" fmla="*/ 4034577 w 6630249"/>
              <a:gd name="connsiteY2071" fmla="*/ 1810815 h 6750795"/>
              <a:gd name="connsiteX2072" fmla="*/ 3147125 w 6630249"/>
              <a:gd name="connsiteY2072" fmla="*/ 1810815 h 6750795"/>
              <a:gd name="connsiteX2073" fmla="*/ 3136865 w 6630249"/>
              <a:gd name="connsiteY2073" fmla="*/ 1859547 h 6750795"/>
              <a:gd name="connsiteX2074" fmla="*/ 3129170 w 6630249"/>
              <a:gd name="connsiteY2074" fmla="*/ 1895455 h 6750795"/>
              <a:gd name="connsiteX2075" fmla="*/ 3165079 w 6630249"/>
              <a:gd name="connsiteY2075" fmla="*/ 1918540 h 6750795"/>
              <a:gd name="connsiteX2076" fmla="*/ 3162515 w 6630249"/>
              <a:gd name="connsiteY2076" fmla="*/ 1885196 h 6750795"/>
              <a:gd name="connsiteX2077" fmla="*/ 3147125 w 6630249"/>
              <a:gd name="connsiteY2077" fmla="*/ 1810815 h 6750795"/>
              <a:gd name="connsiteX2078" fmla="*/ 5678674 w 6630249"/>
              <a:gd name="connsiteY2078" fmla="*/ 1800556 h 6750795"/>
              <a:gd name="connsiteX2079" fmla="*/ 5683804 w 6630249"/>
              <a:gd name="connsiteY2079" fmla="*/ 1823639 h 6750795"/>
              <a:gd name="connsiteX2080" fmla="*/ 5678674 w 6630249"/>
              <a:gd name="connsiteY2080" fmla="*/ 1800556 h 6750795"/>
              <a:gd name="connsiteX2081" fmla="*/ 5057971 w 6630249"/>
              <a:gd name="connsiteY2081" fmla="*/ 1795451 h 6750795"/>
              <a:gd name="connsiteX2082" fmla="*/ 5057971 w 6630249"/>
              <a:gd name="connsiteY2082" fmla="*/ 1826233 h 6750795"/>
              <a:gd name="connsiteX2083" fmla="*/ 5057971 w 6630249"/>
              <a:gd name="connsiteY2083" fmla="*/ 1795451 h 6750795"/>
              <a:gd name="connsiteX2084" fmla="*/ 3888379 w 6630249"/>
              <a:gd name="connsiteY2084" fmla="*/ 1790323 h 6750795"/>
              <a:gd name="connsiteX2085" fmla="*/ 3888379 w 6630249"/>
              <a:gd name="connsiteY2085" fmla="*/ 1803147 h 6750795"/>
              <a:gd name="connsiteX2086" fmla="*/ 3888379 w 6630249"/>
              <a:gd name="connsiteY2086" fmla="*/ 1790323 h 6750795"/>
              <a:gd name="connsiteX2087" fmla="*/ 5019497 w 6630249"/>
              <a:gd name="connsiteY2087" fmla="*/ 1782634 h 6750795"/>
              <a:gd name="connsiteX2088" fmla="*/ 5014367 w 6630249"/>
              <a:gd name="connsiteY2088" fmla="*/ 1790326 h 6750795"/>
              <a:gd name="connsiteX2089" fmla="*/ 5019497 w 6630249"/>
              <a:gd name="connsiteY2089" fmla="*/ 1782634 h 6750795"/>
              <a:gd name="connsiteX2090" fmla="*/ 6268600 w 6630249"/>
              <a:gd name="connsiteY2090" fmla="*/ 1782629 h 6750795"/>
              <a:gd name="connsiteX2091" fmla="*/ 6271165 w 6630249"/>
              <a:gd name="connsiteY2091" fmla="*/ 1798016 h 6750795"/>
              <a:gd name="connsiteX2092" fmla="*/ 6268600 w 6630249"/>
              <a:gd name="connsiteY2092" fmla="*/ 1782629 h 6750795"/>
              <a:gd name="connsiteX2093" fmla="*/ 5060535 w 6630249"/>
              <a:gd name="connsiteY2093" fmla="*/ 1772369 h 6750795"/>
              <a:gd name="connsiteX2094" fmla="*/ 5057970 w 6630249"/>
              <a:gd name="connsiteY2094" fmla="*/ 1787759 h 6750795"/>
              <a:gd name="connsiteX2095" fmla="*/ 5060535 w 6630249"/>
              <a:gd name="connsiteY2095" fmla="*/ 1772369 h 6750795"/>
              <a:gd name="connsiteX2096" fmla="*/ 4034577 w 6630249"/>
              <a:gd name="connsiteY2096" fmla="*/ 1764647 h 6750795"/>
              <a:gd name="connsiteX2097" fmla="*/ 3960196 w 6630249"/>
              <a:gd name="connsiteY2097" fmla="*/ 1792861 h 6750795"/>
              <a:gd name="connsiteX2098" fmla="*/ 3970455 w 6630249"/>
              <a:gd name="connsiteY2098" fmla="*/ 1856982 h 6750795"/>
              <a:gd name="connsiteX2099" fmla="*/ 3957631 w 6630249"/>
              <a:gd name="connsiteY2099" fmla="*/ 1859547 h 6750795"/>
              <a:gd name="connsiteX2100" fmla="*/ 3957631 w 6630249"/>
              <a:gd name="connsiteY2100" fmla="*/ 1880066 h 6750795"/>
              <a:gd name="connsiteX2101" fmla="*/ 3949936 w 6630249"/>
              <a:gd name="connsiteY2101" fmla="*/ 1851852 h 6750795"/>
              <a:gd name="connsiteX2102" fmla="*/ 3938394 w 6630249"/>
              <a:gd name="connsiteY2102" fmla="*/ 1857303 h 6750795"/>
              <a:gd name="connsiteX2103" fmla="*/ 3931249 w 6630249"/>
              <a:gd name="connsiteY2103" fmla="*/ 1861868 h 6750795"/>
              <a:gd name="connsiteX2104" fmla="*/ 3924287 w 6630249"/>
              <a:gd name="connsiteY2104" fmla="*/ 1859547 h 6750795"/>
              <a:gd name="connsiteX2105" fmla="*/ 3921722 w 6630249"/>
              <a:gd name="connsiteY2105" fmla="*/ 1844158 h 6750795"/>
              <a:gd name="connsiteX2106" fmla="*/ 3903768 w 6630249"/>
              <a:gd name="connsiteY2106" fmla="*/ 1849289 h 6750795"/>
              <a:gd name="connsiteX2107" fmla="*/ 3911463 w 6630249"/>
              <a:gd name="connsiteY2107" fmla="*/ 1898020 h 6750795"/>
              <a:gd name="connsiteX2108" fmla="*/ 3898638 w 6630249"/>
              <a:gd name="connsiteY2108" fmla="*/ 1882631 h 6750795"/>
              <a:gd name="connsiteX2109" fmla="*/ 3885814 w 6630249"/>
              <a:gd name="connsiteY2109" fmla="*/ 1887761 h 6750795"/>
              <a:gd name="connsiteX2110" fmla="*/ 3883249 w 6630249"/>
              <a:gd name="connsiteY2110" fmla="*/ 1885196 h 6750795"/>
              <a:gd name="connsiteX2111" fmla="*/ 3880684 w 6630249"/>
              <a:gd name="connsiteY2111" fmla="*/ 1882631 h 6750795"/>
              <a:gd name="connsiteX2112" fmla="*/ 3880684 w 6630249"/>
              <a:gd name="connsiteY2112" fmla="*/ 1862112 h 6750795"/>
              <a:gd name="connsiteX2113" fmla="*/ 3872989 w 6630249"/>
              <a:gd name="connsiteY2113" fmla="*/ 1872371 h 6750795"/>
              <a:gd name="connsiteX2114" fmla="*/ 3867859 w 6630249"/>
              <a:gd name="connsiteY2114" fmla="*/ 1885196 h 6750795"/>
              <a:gd name="connsiteX2115" fmla="*/ 3839646 w 6630249"/>
              <a:gd name="connsiteY2115" fmla="*/ 1995486 h 6750795"/>
              <a:gd name="connsiteX2116" fmla="*/ 3813997 w 6630249"/>
              <a:gd name="connsiteY2116" fmla="*/ 2067302 h 6750795"/>
              <a:gd name="connsiteX2117" fmla="*/ 3813997 w 6630249"/>
              <a:gd name="connsiteY2117" fmla="*/ 2072433 h 6750795"/>
              <a:gd name="connsiteX2118" fmla="*/ 3842210 w 6630249"/>
              <a:gd name="connsiteY2118" fmla="*/ 2080128 h 6750795"/>
              <a:gd name="connsiteX2119" fmla="*/ 3839646 w 6630249"/>
              <a:gd name="connsiteY2119" fmla="*/ 2069868 h 6750795"/>
              <a:gd name="connsiteX2120" fmla="*/ 3844776 w 6630249"/>
              <a:gd name="connsiteY2120" fmla="*/ 2080128 h 6750795"/>
              <a:gd name="connsiteX2121" fmla="*/ 3852470 w 6630249"/>
              <a:gd name="connsiteY2121" fmla="*/ 2082693 h 6750795"/>
              <a:gd name="connsiteX2122" fmla="*/ 3857600 w 6630249"/>
              <a:gd name="connsiteY2122" fmla="*/ 2077563 h 6750795"/>
              <a:gd name="connsiteX2123" fmla="*/ 3857600 w 6630249"/>
              <a:gd name="connsiteY2123" fmla="*/ 2074997 h 6750795"/>
              <a:gd name="connsiteX2124" fmla="*/ 3860165 w 6630249"/>
              <a:gd name="connsiteY2124" fmla="*/ 2077563 h 6750795"/>
              <a:gd name="connsiteX2125" fmla="*/ 3865295 w 6630249"/>
              <a:gd name="connsiteY2125" fmla="*/ 2069868 h 6750795"/>
              <a:gd name="connsiteX2126" fmla="*/ 3867859 w 6630249"/>
              <a:gd name="connsiteY2126" fmla="*/ 2067302 h 6750795"/>
              <a:gd name="connsiteX2127" fmla="*/ 3870424 w 6630249"/>
              <a:gd name="connsiteY2127" fmla="*/ 2054480 h 6750795"/>
              <a:gd name="connsiteX2128" fmla="*/ 3875554 w 6630249"/>
              <a:gd name="connsiteY2128" fmla="*/ 2057044 h 6750795"/>
              <a:gd name="connsiteX2129" fmla="*/ 3919157 w 6630249"/>
              <a:gd name="connsiteY2129" fmla="*/ 2016006 h 6750795"/>
              <a:gd name="connsiteX2130" fmla="*/ 3924287 w 6630249"/>
              <a:gd name="connsiteY2130" fmla="*/ 2008311 h 6750795"/>
              <a:gd name="connsiteX2131" fmla="*/ 3916593 w 6630249"/>
              <a:gd name="connsiteY2131" fmla="*/ 1998051 h 6750795"/>
              <a:gd name="connsiteX2132" fmla="*/ 3921722 w 6630249"/>
              <a:gd name="connsiteY2132" fmla="*/ 1985227 h 6750795"/>
              <a:gd name="connsiteX2133" fmla="*/ 3911463 w 6630249"/>
              <a:gd name="connsiteY2133" fmla="*/ 1980097 h 6750795"/>
              <a:gd name="connsiteX2134" fmla="*/ 3924287 w 6630249"/>
              <a:gd name="connsiteY2134" fmla="*/ 1982662 h 6750795"/>
              <a:gd name="connsiteX2135" fmla="*/ 3929417 w 6630249"/>
              <a:gd name="connsiteY2135" fmla="*/ 1967273 h 6750795"/>
              <a:gd name="connsiteX2136" fmla="*/ 3921722 w 6630249"/>
              <a:gd name="connsiteY2136" fmla="*/ 1959578 h 6750795"/>
              <a:gd name="connsiteX2137" fmla="*/ 3929417 w 6630249"/>
              <a:gd name="connsiteY2137" fmla="*/ 1951883 h 6750795"/>
              <a:gd name="connsiteX2138" fmla="*/ 3931982 w 6630249"/>
              <a:gd name="connsiteY2138" fmla="*/ 1951883 h 6750795"/>
              <a:gd name="connsiteX2139" fmla="*/ 3931982 w 6630249"/>
              <a:gd name="connsiteY2139" fmla="*/ 1943272 h 6750795"/>
              <a:gd name="connsiteX2140" fmla="*/ 3938394 w 6630249"/>
              <a:gd name="connsiteY2140" fmla="*/ 1940983 h 6750795"/>
              <a:gd name="connsiteX2141" fmla="*/ 3939677 w 6630249"/>
              <a:gd name="connsiteY2141" fmla="*/ 1933929 h 6750795"/>
              <a:gd name="connsiteX2142" fmla="*/ 3949936 w 6630249"/>
              <a:gd name="connsiteY2142" fmla="*/ 1939059 h 6750795"/>
              <a:gd name="connsiteX2143" fmla="*/ 3955066 w 6630249"/>
              <a:gd name="connsiteY2143" fmla="*/ 1928799 h 6750795"/>
              <a:gd name="connsiteX2144" fmla="*/ 3962760 w 6630249"/>
              <a:gd name="connsiteY2144" fmla="*/ 1928799 h 6750795"/>
              <a:gd name="connsiteX2145" fmla="*/ 3965325 w 6630249"/>
              <a:gd name="connsiteY2145" fmla="*/ 1926234 h 6750795"/>
              <a:gd name="connsiteX2146" fmla="*/ 3980715 w 6630249"/>
              <a:gd name="connsiteY2146" fmla="*/ 1900585 h 6750795"/>
              <a:gd name="connsiteX2147" fmla="*/ 4003799 w 6630249"/>
              <a:gd name="connsiteY2147" fmla="*/ 1849289 h 6750795"/>
              <a:gd name="connsiteX2148" fmla="*/ 4034577 w 6630249"/>
              <a:gd name="connsiteY2148" fmla="*/ 1787730 h 6750795"/>
              <a:gd name="connsiteX2149" fmla="*/ 4034577 w 6630249"/>
              <a:gd name="connsiteY2149" fmla="*/ 1785166 h 6750795"/>
              <a:gd name="connsiteX2150" fmla="*/ 4034577 w 6630249"/>
              <a:gd name="connsiteY2150" fmla="*/ 1764647 h 6750795"/>
              <a:gd name="connsiteX2151" fmla="*/ 3858282 w 6630249"/>
              <a:gd name="connsiteY2151" fmla="*/ 1764354 h 6750795"/>
              <a:gd name="connsiteX2152" fmla="*/ 3855036 w 6630249"/>
              <a:gd name="connsiteY2152" fmla="*/ 1767239 h 6750795"/>
              <a:gd name="connsiteX2153" fmla="*/ 3858282 w 6630249"/>
              <a:gd name="connsiteY2153" fmla="*/ 1764354 h 6750795"/>
              <a:gd name="connsiteX2154" fmla="*/ 4049967 w 6630249"/>
              <a:gd name="connsiteY2154" fmla="*/ 1762082 h 6750795"/>
              <a:gd name="connsiteX2155" fmla="*/ 4042272 w 6630249"/>
              <a:gd name="connsiteY2155" fmla="*/ 1764647 h 6750795"/>
              <a:gd name="connsiteX2156" fmla="*/ 4042272 w 6630249"/>
              <a:gd name="connsiteY2156" fmla="*/ 1777471 h 6750795"/>
              <a:gd name="connsiteX2157" fmla="*/ 4049967 w 6630249"/>
              <a:gd name="connsiteY2157" fmla="*/ 1762082 h 6750795"/>
              <a:gd name="connsiteX2158" fmla="*/ 2657230 w 6630249"/>
              <a:gd name="connsiteY2158" fmla="*/ 1762082 h 6750795"/>
              <a:gd name="connsiteX2159" fmla="*/ 2598237 w 6630249"/>
              <a:gd name="connsiteY2159" fmla="*/ 1841593 h 6750795"/>
              <a:gd name="connsiteX2160" fmla="*/ 2598237 w 6630249"/>
              <a:gd name="connsiteY2160" fmla="*/ 1854417 h 6750795"/>
              <a:gd name="connsiteX2161" fmla="*/ 2626451 w 6630249"/>
              <a:gd name="connsiteY2161" fmla="*/ 1885196 h 6750795"/>
              <a:gd name="connsiteX2162" fmla="*/ 2688009 w 6630249"/>
              <a:gd name="connsiteY2162" fmla="*/ 2008311 h 6750795"/>
              <a:gd name="connsiteX2163" fmla="*/ 2782911 w 6630249"/>
              <a:gd name="connsiteY2163" fmla="*/ 2203241 h 6750795"/>
              <a:gd name="connsiteX2164" fmla="*/ 2847032 w 6630249"/>
              <a:gd name="connsiteY2164" fmla="*/ 2175028 h 6750795"/>
              <a:gd name="connsiteX2165" fmla="*/ 2777780 w 6630249"/>
              <a:gd name="connsiteY2165" fmla="*/ 2026267 h 6750795"/>
              <a:gd name="connsiteX2166" fmla="*/ 2767520 w 6630249"/>
              <a:gd name="connsiteY2166" fmla="*/ 2031396 h 6750795"/>
              <a:gd name="connsiteX2167" fmla="*/ 2775215 w 6630249"/>
              <a:gd name="connsiteY2167" fmla="*/ 2026267 h 6750795"/>
              <a:gd name="connsiteX2168" fmla="*/ 2772650 w 6630249"/>
              <a:gd name="connsiteY2168" fmla="*/ 2010878 h 6750795"/>
              <a:gd name="connsiteX2169" fmla="*/ 2759827 w 6630249"/>
              <a:gd name="connsiteY2169" fmla="*/ 1980097 h 6750795"/>
              <a:gd name="connsiteX2170" fmla="*/ 2752131 w 6630249"/>
              <a:gd name="connsiteY2170" fmla="*/ 1957013 h 6750795"/>
              <a:gd name="connsiteX2171" fmla="*/ 2744436 w 6630249"/>
              <a:gd name="connsiteY2171" fmla="*/ 1969837 h 6750795"/>
              <a:gd name="connsiteX2172" fmla="*/ 2731612 w 6630249"/>
              <a:gd name="connsiteY2172" fmla="*/ 1903150 h 6750795"/>
              <a:gd name="connsiteX2173" fmla="*/ 2677749 w 6630249"/>
              <a:gd name="connsiteY2173" fmla="*/ 1772342 h 6750795"/>
              <a:gd name="connsiteX2174" fmla="*/ 2657230 w 6630249"/>
              <a:gd name="connsiteY2174" fmla="*/ 1762082 h 6750795"/>
              <a:gd name="connsiteX2175" fmla="*/ 5804353 w 6630249"/>
              <a:gd name="connsiteY2175" fmla="*/ 1759545 h 6750795"/>
              <a:gd name="connsiteX2176" fmla="*/ 5796659 w 6630249"/>
              <a:gd name="connsiteY2176" fmla="*/ 1767241 h 6750795"/>
              <a:gd name="connsiteX2177" fmla="*/ 5804353 w 6630249"/>
              <a:gd name="connsiteY2177" fmla="*/ 1759545 h 6750795"/>
              <a:gd name="connsiteX2178" fmla="*/ 5034886 w 6630249"/>
              <a:gd name="connsiteY2178" fmla="*/ 1746721 h 6750795"/>
              <a:gd name="connsiteX2179" fmla="*/ 5032321 w 6630249"/>
              <a:gd name="connsiteY2179" fmla="*/ 1759547 h 6750795"/>
              <a:gd name="connsiteX2180" fmla="*/ 5034886 w 6630249"/>
              <a:gd name="connsiteY2180" fmla="*/ 1746721 h 6750795"/>
              <a:gd name="connsiteX2181" fmla="*/ 3893508 w 6630249"/>
              <a:gd name="connsiteY2181" fmla="*/ 1746693 h 6750795"/>
              <a:gd name="connsiteX2182" fmla="*/ 3880684 w 6630249"/>
              <a:gd name="connsiteY2182" fmla="*/ 1797991 h 6750795"/>
              <a:gd name="connsiteX2183" fmla="*/ 3870424 w 6630249"/>
              <a:gd name="connsiteY2183" fmla="*/ 1839029 h 6750795"/>
              <a:gd name="connsiteX2184" fmla="*/ 3872989 w 6630249"/>
              <a:gd name="connsiteY2184" fmla="*/ 1839029 h 6750795"/>
              <a:gd name="connsiteX2185" fmla="*/ 3875554 w 6630249"/>
              <a:gd name="connsiteY2185" fmla="*/ 1836463 h 6750795"/>
              <a:gd name="connsiteX2186" fmla="*/ 3875554 w 6630249"/>
              <a:gd name="connsiteY2186" fmla="*/ 1831334 h 6750795"/>
              <a:gd name="connsiteX2187" fmla="*/ 3878119 w 6630249"/>
              <a:gd name="connsiteY2187" fmla="*/ 1833898 h 6750795"/>
              <a:gd name="connsiteX2188" fmla="*/ 3883249 w 6630249"/>
              <a:gd name="connsiteY2188" fmla="*/ 1828769 h 6750795"/>
              <a:gd name="connsiteX2189" fmla="*/ 3901203 w 6630249"/>
              <a:gd name="connsiteY2189" fmla="*/ 1813380 h 6750795"/>
              <a:gd name="connsiteX2190" fmla="*/ 3898638 w 6630249"/>
              <a:gd name="connsiteY2190" fmla="*/ 1813380 h 6750795"/>
              <a:gd name="connsiteX2191" fmla="*/ 3898638 w 6630249"/>
              <a:gd name="connsiteY2191" fmla="*/ 1751823 h 6750795"/>
              <a:gd name="connsiteX2192" fmla="*/ 3893508 w 6630249"/>
              <a:gd name="connsiteY2192" fmla="*/ 1746693 h 6750795"/>
              <a:gd name="connsiteX2193" fmla="*/ 3870425 w 6630249"/>
              <a:gd name="connsiteY2193" fmla="*/ 1733896 h 6750795"/>
              <a:gd name="connsiteX2194" fmla="*/ 3875554 w 6630249"/>
              <a:gd name="connsiteY2194" fmla="*/ 1749286 h 6750795"/>
              <a:gd name="connsiteX2195" fmla="*/ 3870425 w 6630249"/>
              <a:gd name="connsiteY2195" fmla="*/ 1733896 h 6750795"/>
              <a:gd name="connsiteX2196" fmla="*/ 5083620 w 6630249"/>
              <a:gd name="connsiteY2196" fmla="*/ 1723636 h 6750795"/>
              <a:gd name="connsiteX2197" fmla="*/ 5068230 w 6630249"/>
              <a:gd name="connsiteY2197" fmla="*/ 1731331 h 6750795"/>
              <a:gd name="connsiteX2198" fmla="*/ 5083620 w 6630249"/>
              <a:gd name="connsiteY2198" fmla="*/ 1723636 h 6750795"/>
              <a:gd name="connsiteX2199" fmla="*/ 2726482 w 6630249"/>
              <a:gd name="connsiteY2199" fmla="*/ 1721044 h 6750795"/>
              <a:gd name="connsiteX2200" fmla="*/ 2688009 w 6630249"/>
              <a:gd name="connsiteY2200" fmla="*/ 1769777 h 6750795"/>
              <a:gd name="connsiteX2201" fmla="*/ 2739307 w 6630249"/>
              <a:gd name="connsiteY2201" fmla="*/ 1892891 h 6750795"/>
              <a:gd name="connsiteX2202" fmla="*/ 2754696 w 6630249"/>
              <a:gd name="connsiteY2202" fmla="*/ 1898020 h 6750795"/>
              <a:gd name="connsiteX2203" fmla="*/ 2721352 w 6630249"/>
              <a:gd name="connsiteY2203" fmla="*/ 1821075 h 6750795"/>
              <a:gd name="connsiteX2204" fmla="*/ 2739307 w 6630249"/>
              <a:gd name="connsiteY2204" fmla="*/ 1741563 h 6750795"/>
              <a:gd name="connsiteX2205" fmla="*/ 2726482 w 6630249"/>
              <a:gd name="connsiteY2205" fmla="*/ 1721044 h 6750795"/>
              <a:gd name="connsiteX2206" fmla="*/ 3075308 w 6630249"/>
              <a:gd name="connsiteY2206" fmla="*/ 1715914 h 6750795"/>
              <a:gd name="connsiteX2207" fmla="*/ 3049659 w 6630249"/>
              <a:gd name="connsiteY2207" fmla="*/ 1772342 h 6750795"/>
              <a:gd name="connsiteX2208" fmla="*/ 3034269 w 6630249"/>
              <a:gd name="connsiteY2208" fmla="*/ 1808250 h 6750795"/>
              <a:gd name="connsiteX2209" fmla="*/ 3062483 w 6630249"/>
              <a:gd name="connsiteY2209" fmla="*/ 1815944 h 6750795"/>
              <a:gd name="connsiteX2210" fmla="*/ 3075308 w 6630249"/>
              <a:gd name="connsiteY2210" fmla="*/ 1715914 h 6750795"/>
              <a:gd name="connsiteX2211" fmla="*/ 2929109 w 6630249"/>
              <a:gd name="connsiteY2211" fmla="*/ 1710784 h 6750795"/>
              <a:gd name="connsiteX2212" fmla="*/ 2926544 w 6630249"/>
              <a:gd name="connsiteY2212" fmla="*/ 1738998 h 6750795"/>
              <a:gd name="connsiteX2213" fmla="*/ 2929109 w 6630249"/>
              <a:gd name="connsiteY2213" fmla="*/ 1738998 h 6750795"/>
              <a:gd name="connsiteX2214" fmla="*/ 2929109 w 6630249"/>
              <a:gd name="connsiteY2214" fmla="*/ 1710784 h 6750795"/>
              <a:gd name="connsiteX2215" fmla="*/ 5078489 w 6630249"/>
              <a:gd name="connsiteY2215" fmla="*/ 1700553 h 6750795"/>
              <a:gd name="connsiteX2216" fmla="*/ 5093878 w 6630249"/>
              <a:gd name="connsiteY2216" fmla="*/ 1708247 h 6750795"/>
              <a:gd name="connsiteX2217" fmla="*/ 5078489 w 6630249"/>
              <a:gd name="connsiteY2217" fmla="*/ 1700553 h 6750795"/>
              <a:gd name="connsiteX2218" fmla="*/ 4052889 w 6630249"/>
              <a:gd name="connsiteY2218" fmla="*/ 1700334 h 6750795"/>
              <a:gd name="connsiteX2219" fmla="*/ 4050063 w 6630249"/>
              <a:gd name="connsiteY2219" fmla="*/ 1711991 h 6750795"/>
              <a:gd name="connsiteX2220" fmla="*/ 4051250 w 6630249"/>
              <a:gd name="connsiteY2220" fmla="*/ 1704693 h 6750795"/>
              <a:gd name="connsiteX2221" fmla="*/ 5119528 w 6630249"/>
              <a:gd name="connsiteY2221" fmla="*/ 1697989 h 6750795"/>
              <a:gd name="connsiteX2222" fmla="*/ 5096444 w 6630249"/>
              <a:gd name="connsiteY2222" fmla="*/ 1713378 h 6750795"/>
              <a:gd name="connsiteX2223" fmla="*/ 5111833 w 6630249"/>
              <a:gd name="connsiteY2223" fmla="*/ 1700553 h 6750795"/>
              <a:gd name="connsiteX2224" fmla="*/ 5119528 w 6630249"/>
              <a:gd name="connsiteY2224" fmla="*/ 1697989 h 6750795"/>
              <a:gd name="connsiteX2225" fmla="*/ 3352317 w 6630249"/>
              <a:gd name="connsiteY2225" fmla="*/ 1696066 h 6750795"/>
              <a:gd name="connsiteX2226" fmla="*/ 3354881 w 6630249"/>
              <a:gd name="connsiteY2226" fmla="*/ 1697989 h 6750795"/>
              <a:gd name="connsiteX2227" fmla="*/ 3349752 w 6630249"/>
              <a:gd name="connsiteY2227" fmla="*/ 1697989 h 6750795"/>
              <a:gd name="connsiteX2228" fmla="*/ 3352317 w 6630249"/>
              <a:gd name="connsiteY2228" fmla="*/ 1696066 h 6750795"/>
              <a:gd name="connsiteX2229" fmla="*/ 4728702 w 6630249"/>
              <a:gd name="connsiteY2229" fmla="*/ 1695745 h 6750795"/>
              <a:gd name="connsiteX2230" fmla="*/ 4729663 w 6630249"/>
              <a:gd name="connsiteY2230" fmla="*/ 1703119 h 6750795"/>
              <a:gd name="connsiteX2231" fmla="*/ 4721969 w 6630249"/>
              <a:gd name="connsiteY2231" fmla="*/ 1697989 h 6750795"/>
              <a:gd name="connsiteX2232" fmla="*/ 4728702 w 6630249"/>
              <a:gd name="connsiteY2232" fmla="*/ 1695745 h 6750795"/>
              <a:gd name="connsiteX2233" fmla="*/ 4149998 w 6630249"/>
              <a:gd name="connsiteY2233" fmla="*/ 1692830 h 6750795"/>
              <a:gd name="connsiteX2234" fmla="*/ 4098700 w 6630249"/>
              <a:gd name="connsiteY2234" fmla="*/ 1736433 h 6750795"/>
              <a:gd name="connsiteX2235" fmla="*/ 4065356 w 6630249"/>
              <a:gd name="connsiteY2235" fmla="*/ 1754387 h 6750795"/>
              <a:gd name="connsiteX2236" fmla="*/ 4047402 w 6630249"/>
              <a:gd name="connsiteY2236" fmla="*/ 1795426 h 6750795"/>
              <a:gd name="connsiteX2237" fmla="*/ 4057662 w 6630249"/>
              <a:gd name="connsiteY2237" fmla="*/ 1898020 h 6750795"/>
              <a:gd name="connsiteX2238" fmla="*/ 4057662 w 6630249"/>
              <a:gd name="connsiteY2238" fmla="*/ 1903150 h 6750795"/>
              <a:gd name="connsiteX2239" fmla="*/ 4101265 w 6630249"/>
              <a:gd name="connsiteY2239" fmla="*/ 1828769 h 6750795"/>
              <a:gd name="connsiteX2240" fmla="*/ 4149998 w 6630249"/>
              <a:gd name="connsiteY2240" fmla="*/ 1692830 h 6750795"/>
              <a:gd name="connsiteX2241" fmla="*/ 3859725 w 6630249"/>
              <a:gd name="connsiteY2241" fmla="*/ 1683710 h 6750795"/>
              <a:gd name="connsiteX2242" fmla="*/ 3855035 w 6630249"/>
              <a:gd name="connsiteY2242" fmla="*/ 1685153 h 6750795"/>
              <a:gd name="connsiteX2243" fmla="*/ 3859725 w 6630249"/>
              <a:gd name="connsiteY2243" fmla="*/ 1683710 h 6750795"/>
              <a:gd name="connsiteX2244" fmla="*/ 5163131 w 6630249"/>
              <a:gd name="connsiteY2244" fmla="*/ 1677470 h 6750795"/>
              <a:gd name="connsiteX2245" fmla="*/ 5168260 w 6630249"/>
              <a:gd name="connsiteY2245" fmla="*/ 1690295 h 6750795"/>
              <a:gd name="connsiteX2246" fmla="*/ 5160566 w 6630249"/>
              <a:gd name="connsiteY2246" fmla="*/ 1690295 h 6750795"/>
              <a:gd name="connsiteX2247" fmla="*/ 5163131 w 6630249"/>
              <a:gd name="connsiteY2247" fmla="*/ 1677470 h 6750795"/>
              <a:gd name="connsiteX2248" fmla="*/ 3365141 w 6630249"/>
              <a:gd name="connsiteY2248" fmla="*/ 1674906 h 6750795"/>
              <a:gd name="connsiteX2249" fmla="*/ 3365141 w 6630249"/>
              <a:gd name="connsiteY2249" fmla="*/ 1674906 h 6750795"/>
              <a:gd name="connsiteX2250" fmla="*/ 4755312 w 6630249"/>
              <a:gd name="connsiteY2250" fmla="*/ 1659516 h 6750795"/>
              <a:gd name="connsiteX2251" fmla="*/ 4763007 w 6630249"/>
              <a:gd name="connsiteY2251" fmla="*/ 1664646 h 6750795"/>
              <a:gd name="connsiteX2252" fmla="*/ 4755312 w 6630249"/>
              <a:gd name="connsiteY2252" fmla="*/ 1659516 h 6750795"/>
              <a:gd name="connsiteX2253" fmla="*/ 4769901 w 6630249"/>
              <a:gd name="connsiteY2253" fmla="*/ 1654787 h 6750795"/>
              <a:gd name="connsiteX2254" fmla="*/ 4765573 w 6630249"/>
              <a:gd name="connsiteY2254" fmla="*/ 1656951 h 6750795"/>
              <a:gd name="connsiteX2255" fmla="*/ 4769901 w 6630249"/>
              <a:gd name="connsiteY2255" fmla="*/ 1654787 h 6750795"/>
              <a:gd name="connsiteX2256" fmla="*/ 6296813 w 6630249"/>
              <a:gd name="connsiteY2256" fmla="*/ 1654385 h 6750795"/>
              <a:gd name="connsiteX2257" fmla="*/ 6294249 w 6630249"/>
              <a:gd name="connsiteY2257" fmla="*/ 1667211 h 6750795"/>
              <a:gd name="connsiteX2258" fmla="*/ 6296813 w 6630249"/>
              <a:gd name="connsiteY2258" fmla="*/ 1654385 h 6750795"/>
              <a:gd name="connsiteX2259" fmla="*/ 5260597 w 6630249"/>
              <a:gd name="connsiteY2259" fmla="*/ 1644115 h 6750795"/>
              <a:gd name="connsiteX2260" fmla="*/ 5258032 w 6630249"/>
              <a:gd name="connsiteY2260" fmla="*/ 1687718 h 6750795"/>
              <a:gd name="connsiteX2261" fmla="*/ 5237513 w 6630249"/>
              <a:gd name="connsiteY2261" fmla="*/ 1690283 h 6750795"/>
              <a:gd name="connsiteX2262" fmla="*/ 5240078 w 6630249"/>
              <a:gd name="connsiteY2262" fmla="*/ 1649244 h 6750795"/>
              <a:gd name="connsiteX2263" fmla="*/ 5260597 w 6630249"/>
              <a:gd name="connsiteY2263" fmla="*/ 1644115 h 6750795"/>
              <a:gd name="connsiteX2264" fmla="*/ 3121476 w 6630249"/>
              <a:gd name="connsiteY2264" fmla="*/ 1631273 h 6750795"/>
              <a:gd name="connsiteX2265" fmla="*/ 3103521 w 6630249"/>
              <a:gd name="connsiteY2265" fmla="*/ 1664616 h 6750795"/>
              <a:gd name="connsiteX2266" fmla="*/ 3080437 w 6630249"/>
              <a:gd name="connsiteY2266" fmla="*/ 1828769 h 6750795"/>
              <a:gd name="connsiteX2267" fmla="*/ 3093262 w 6630249"/>
              <a:gd name="connsiteY2267" fmla="*/ 1869807 h 6750795"/>
              <a:gd name="connsiteX2268" fmla="*/ 3111216 w 6630249"/>
              <a:gd name="connsiteY2268" fmla="*/ 1882631 h 6750795"/>
              <a:gd name="connsiteX2269" fmla="*/ 3121476 w 6630249"/>
              <a:gd name="connsiteY2269" fmla="*/ 1849289 h 6750795"/>
              <a:gd name="connsiteX2270" fmla="*/ 3139430 w 6630249"/>
              <a:gd name="connsiteY2270" fmla="*/ 1772342 h 6750795"/>
              <a:gd name="connsiteX2271" fmla="*/ 3139430 w 6630249"/>
              <a:gd name="connsiteY2271" fmla="*/ 1769777 h 6750795"/>
              <a:gd name="connsiteX2272" fmla="*/ 3121476 w 6630249"/>
              <a:gd name="connsiteY2272" fmla="*/ 1641532 h 6750795"/>
              <a:gd name="connsiteX2273" fmla="*/ 3121476 w 6630249"/>
              <a:gd name="connsiteY2273" fmla="*/ 1631273 h 6750795"/>
              <a:gd name="connsiteX2274" fmla="*/ 1292706 w 6630249"/>
              <a:gd name="connsiteY2274" fmla="*/ 1623578 h 6750795"/>
              <a:gd name="connsiteX2275" fmla="*/ 1313225 w 6630249"/>
              <a:gd name="connsiteY2275" fmla="*/ 1638967 h 6750795"/>
              <a:gd name="connsiteX2276" fmla="*/ 1292706 w 6630249"/>
              <a:gd name="connsiteY2276" fmla="*/ 1623578 h 6750795"/>
              <a:gd name="connsiteX2277" fmla="*/ 5237512 w 6630249"/>
              <a:gd name="connsiteY2277" fmla="*/ 1618477 h 6750795"/>
              <a:gd name="connsiteX2278" fmla="*/ 5224688 w 6630249"/>
              <a:gd name="connsiteY2278" fmla="*/ 1633868 h 6750795"/>
              <a:gd name="connsiteX2279" fmla="*/ 5237512 w 6630249"/>
              <a:gd name="connsiteY2279" fmla="*/ 1618477 h 6750795"/>
              <a:gd name="connsiteX2280" fmla="*/ 5177879 w 6630249"/>
              <a:gd name="connsiteY2280" fmla="*/ 1610463 h 6750795"/>
              <a:gd name="connsiteX2281" fmla="*/ 5183650 w 6630249"/>
              <a:gd name="connsiteY2281" fmla="*/ 1613348 h 6750795"/>
              <a:gd name="connsiteX2282" fmla="*/ 5177879 w 6630249"/>
              <a:gd name="connsiteY2282" fmla="*/ 1610463 h 6750795"/>
              <a:gd name="connsiteX2283" fmla="*/ 5899255 w 6630249"/>
              <a:gd name="connsiteY2283" fmla="*/ 1608859 h 6750795"/>
              <a:gd name="connsiteX2284" fmla="*/ 5901820 w 6630249"/>
              <a:gd name="connsiteY2284" fmla="*/ 1610783 h 6750795"/>
              <a:gd name="connsiteX2285" fmla="*/ 5896691 w 6630249"/>
              <a:gd name="connsiteY2285" fmla="*/ 1610783 h 6750795"/>
              <a:gd name="connsiteX2286" fmla="*/ 5899255 w 6630249"/>
              <a:gd name="connsiteY2286" fmla="*/ 1608859 h 6750795"/>
              <a:gd name="connsiteX2287" fmla="*/ 1275313 w 6630249"/>
              <a:gd name="connsiteY2287" fmla="*/ 1597809 h 6750795"/>
              <a:gd name="connsiteX2288" fmla="*/ 1272187 w 6630249"/>
              <a:gd name="connsiteY2288" fmla="*/ 1603059 h 6750795"/>
              <a:gd name="connsiteX2289" fmla="*/ 1287576 w 6630249"/>
              <a:gd name="connsiteY2289" fmla="*/ 1613318 h 6750795"/>
              <a:gd name="connsiteX2290" fmla="*/ 1275313 w 6630249"/>
              <a:gd name="connsiteY2290" fmla="*/ 1597809 h 6750795"/>
              <a:gd name="connsiteX2291" fmla="*/ 5332414 w 6630249"/>
              <a:gd name="connsiteY2291" fmla="*/ 1592817 h 6750795"/>
              <a:gd name="connsiteX2292" fmla="*/ 5317024 w 6630249"/>
              <a:gd name="connsiteY2292" fmla="*/ 1600513 h 6750795"/>
              <a:gd name="connsiteX2293" fmla="*/ 5332414 w 6630249"/>
              <a:gd name="connsiteY2293" fmla="*/ 1592817 h 6750795"/>
              <a:gd name="connsiteX2294" fmla="*/ 2998361 w 6630249"/>
              <a:gd name="connsiteY2294" fmla="*/ 1592799 h 6750795"/>
              <a:gd name="connsiteX2295" fmla="*/ 2967582 w 6630249"/>
              <a:gd name="connsiteY2295" fmla="*/ 1641532 h 6750795"/>
              <a:gd name="connsiteX2296" fmla="*/ 2939368 w 6630249"/>
              <a:gd name="connsiteY2296" fmla="*/ 1664616 h 6750795"/>
              <a:gd name="connsiteX2297" fmla="*/ 2936803 w 6630249"/>
              <a:gd name="connsiteY2297" fmla="*/ 1738998 h 6750795"/>
              <a:gd name="connsiteX2298" fmla="*/ 2967582 w 6630249"/>
              <a:gd name="connsiteY2298" fmla="*/ 1746693 h 6750795"/>
              <a:gd name="connsiteX2299" fmla="*/ 2975277 w 6630249"/>
              <a:gd name="connsiteY2299" fmla="*/ 1700525 h 6750795"/>
              <a:gd name="connsiteX2300" fmla="*/ 2998361 w 6630249"/>
              <a:gd name="connsiteY2300" fmla="*/ 1592799 h 6750795"/>
              <a:gd name="connsiteX2301" fmla="*/ 3867860 w 6630249"/>
              <a:gd name="connsiteY2301" fmla="*/ 1587701 h 6750795"/>
              <a:gd name="connsiteX2302" fmla="*/ 3872989 w 6630249"/>
              <a:gd name="connsiteY2302" fmla="*/ 1592831 h 6750795"/>
              <a:gd name="connsiteX2303" fmla="*/ 3870425 w 6630249"/>
              <a:gd name="connsiteY2303" fmla="*/ 1595395 h 6750795"/>
              <a:gd name="connsiteX2304" fmla="*/ 3867860 w 6630249"/>
              <a:gd name="connsiteY2304" fmla="*/ 1587701 h 6750795"/>
              <a:gd name="connsiteX2305" fmla="*/ 4842519 w 6630249"/>
              <a:gd name="connsiteY2305" fmla="*/ 1587700 h 6750795"/>
              <a:gd name="connsiteX2306" fmla="*/ 4824565 w 6630249"/>
              <a:gd name="connsiteY2306" fmla="*/ 1600524 h 6750795"/>
              <a:gd name="connsiteX2307" fmla="*/ 4842519 w 6630249"/>
              <a:gd name="connsiteY2307" fmla="*/ 1587700 h 6750795"/>
              <a:gd name="connsiteX2308" fmla="*/ 5659197 w 6630249"/>
              <a:gd name="connsiteY2308" fmla="*/ 1580808 h 6750795"/>
              <a:gd name="connsiteX2309" fmla="*/ 5655590 w 6630249"/>
              <a:gd name="connsiteY2309" fmla="*/ 1585136 h 6750795"/>
              <a:gd name="connsiteX2310" fmla="*/ 5659197 w 6630249"/>
              <a:gd name="connsiteY2310" fmla="*/ 1580808 h 6750795"/>
              <a:gd name="connsiteX2311" fmla="*/ 5132993 w 6630249"/>
              <a:gd name="connsiteY2311" fmla="*/ 1578723 h 6750795"/>
              <a:gd name="connsiteX2312" fmla="*/ 5140047 w 6630249"/>
              <a:gd name="connsiteY2312" fmla="*/ 1587700 h 6750795"/>
              <a:gd name="connsiteX2313" fmla="*/ 5122093 w 6630249"/>
              <a:gd name="connsiteY2313" fmla="*/ 1585136 h 6750795"/>
              <a:gd name="connsiteX2314" fmla="*/ 5132993 w 6630249"/>
              <a:gd name="connsiteY2314" fmla="*/ 1578723 h 6750795"/>
              <a:gd name="connsiteX2315" fmla="*/ 4845084 w 6630249"/>
              <a:gd name="connsiteY2315" fmla="*/ 1577441 h 6750795"/>
              <a:gd name="connsiteX2316" fmla="*/ 4852779 w 6630249"/>
              <a:gd name="connsiteY2316" fmla="*/ 1577441 h 6750795"/>
              <a:gd name="connsiteX2317" fmla="*/ 4842519 w 6630249"/>
              <a:gd name="connsiteY2317" fmla="*/ 1585135 h 6750795"/>
              <a:gd name="connsiteX2318" fmla="*/ 4845084 w 6630249"/>
              <a:gd name="connsiteY2318" fmla="*/ 1577441 h 6750795"/>
              <a:gd name="connsiteX2319" fmla="*/ 2908591 w 6630249"/>
              <a:gd name="connsiteY2319" fmla="*/ 1572318 h 6750795"/>
              <a:gd name="connsiteX2320" fmla="*/ 2906025 w 6630249"/>
              <a:gd name="connsiteY2320" fmla="*/ 1582579 h 6750795"/>
              <a:gd name="connsiteX2321" fmla="*/ 2908591 w 6630249"/>
              <a:gd name="connsiteY2321" fmla="*/ 1572318 h 6750795"/>
              <a:gd name="connsiteX2322" fmla="*/ 5229818 w 6630249"/>
              <a:gd name="connsiteY2322" fmla="*/ 1564617 h 6750795"/>
              <a:gd name="connsiteX2323" fmla="*/ 5242642 w 6630249"/>
              <a:gd name="connsiteY2323" fmla="*/ 1564617 h 6750795"/>
              <a:gd name="connsiteX2324" fmla="*/ 5240077 w 6630249"/>
              <a:gd name="connsiteY2324" fmla="*/ 1580006 h 6750795"/>
              <a:gd name="connsiteX2325" fmla="*/ 5229818 w 6630249"/>
              <a:gd name="connsiteY2325" fmla="*/ 1564617 h 6750795"/>
              <a:gd name="connsiteX2326" fmla="*/ 5266688 w 6630249"/>
              <a:gd name="connsiteY2326" fmla="*/ 1558846 h 6750795"/>
              <a:gd name="connsiteX2327" fmla="*/ 5275986 w 6630249"/>
              <a:gd name="connsiteY2327" fmla="*/ 1562052 h 6750795"/>
              <a:gd name="connsiteX2328" fmla="*/ 5268291 w 6630249"/>
              <a:gd name="connsiteY2328" fmla="*/ 1585136 h 6750795"/>
              <a:gd name="connsiteX2329" fmla="*/ 5260597 w 6630249"/>
              <a:gd name="connsiteY2329" fmla="*/ 1585136 h 6750795"/>
              <a:gd name="connsiteX2330" fmla="*/ 5255467 w 6630249"/>
              <a:gd name="connsiteY2330" fmla="*/ 1559487 h 6750795"/>
              <a:gd name="connsiteX2331" fmla="*/ 5266688 w 6630249"/>
              <a:gd name="connsiteY2331" fmla="*/ 1558846 h 6750795"/>
              <a:gd name="connsiteX2332" fmla="*/ 3124040 w 6630249"/>
              <a:gd name="connsiteY2332" fmla="*/ 1554326 h 6750795"/>
              <a:gd name="connsiteX2333" fmla="*/ 3106086 w 6630249"/>
              <a:gd name="connsiteY2333" fmla="*/ 1636402 h 6750795"/>
              <a:gd name="connsiteX2334" fmla="*/ 3118911 w 6630249"/>
              <a:gd name="connsiteY2334" fmla="*/ 1613318 h 6750795"/>
              <a:gd name="connsiteX2335" fmla="*/ 3124040 w 6630249"/>
              <a:gd name="connsiteY2335" fmla="*/ 1554326 h 6750795"/>
              <a:gd name="connsiteX2336" fmla="*/ 3878120 w 6630249"/>
              <a:gd name="connsiteY2336" fmla="*/ 1551771 h 6750795"/>
              <a:gd name="connsiteX2337" fmla="*/ 3880684 w 6630249"/>
              <a:gd name="connsiteY2337" fmla="*/ 1579984 h 6750795"/>
              <a:gd name="connsiteX2338" fmla="*/ 3878120 w 6630249"/>
              <a:gd name="connsiteY2338" fmla="*/ 1551771 h 6750795"/>
              <a:gd name="connsiteX2339" fmla="*/ 6532142 w 6630249"/>
              <a:gd name="connsiteY2339" fmla="*/ 1546984 h 6750795"/>
              <a:gd name="connsiteX2340" fmla="*/ 6540478 w 6630249"/>
              <a:gd name="connsiteY2340" fmla="*/ 1549228 h 6750795"/>
              <a:gd name="connsiteX2341" fmla="*/ 6527653 w 6630249"/>
              <a:gd name="connsiteY2341" fmla="*/ 1554358 h 6750795"/>
              <a:gd name="connsiteX2342" fmla="*/ 6532142 w 6630249"/>
              <a:gd name="connsiteY2342" fmla="*/ 1546984 h 6750795"/>
              <a:gd name="connsiteX2343" fmla="*/ 4932291 w 6630249"/>
              <a:gd name="connsiteY2343" fmla="*/ 1541534 h 6750795"/>
              <a:gd name="connsiteX2344" fmla="*/ 4934856 w 6630249"/>
              <a:gd name="connsiteY2344" fmla="*/ 1559488 h 6750795"/>
              <a:gd name="connsiteX2345" fmla="*/ 4932291 w 6630249"/>
              <a:gd name="connsiteY2345" fmla="*/ 1541534 h 6750795"/>
              <a:gd name="connsiteX2346" fmla="*/ 3924648 w 6630249"/>
              <a:gd name="connsiteY2346" fmla="*/ 1536021 h 6750795"/>
              <a:gd name="connsiteX2347" fmla="*/ 3924287 w 6630249"/>
              <a:gd name="connsiteY2347" fmla="*/ 1536381 h 6750795"/>
              <a:gd name="connsiteX2348" fmla="*/ 3924648 w 6630249"/>
              <a:gd name="connsiteY2348" fmla="*/ 1536021 h 6750795"/>
              <a:gd name="connsiteX2349" fmla="*/ 4065997 w 6630249"/>
              <a:gd name="connsiteY2349" fmla="*/ 1535741 h 6750795"/>
              <a:gd name="connsiteX2350" fmla="*/ 4070486 w 6630249"/>
              <a:gd name="connsiteY2350" fmla="*/ 1546641 h 6750795"/>
              <a:gd name="connsiteX2351" fmla="*/ 4057662 w 6630249"/>
              <a:gd name="connsiteY2351" fmla="*/ 1536382 h 6750795"/>
              <a:gd name="connsiteX2352" fmla="*/ 4065997 w 6630249"/>
              <a:gd name="connsiteY2352" fmla="*/ 1535741 h 6750795"/>
              <a:gd name="connsiteX2353" fmla="*/ 4960505 w 6630249"/>
              <a:gd name="connsiteY2353" fmla="*/ 1533839 h 6750795"/>
              <a:gd name="connsiteX2354" fmla="*/ 4957940 w 6630249"/>
              <a:gd name="connsiteY2354" fmla="*/ 1541534 h 6750795"/>
              <a:gd name="connsiteX2355" fmla="*/ 4957940 w 6630249"/>
              <a:gd name="connsiteY2355" fmla="*/ 1536404 h 6750795"/>
              <a:gd name="connsiteX2356" fmla="*/ 4960505 w 6630249"/>
              <a:gd name="connsiteY2356" fmla="*/ 1533839 h 6750795"/>
              <a:gd name="connsiteX2357" fmla="*/ 4791341 w 6630249"/>
              <a:gd name="connsiteY2357" fmla="*/ 1528749 h 6750795"/>
              <a:gd name="connsiteX2358" fmla="*/ 4798916 w 6630249"/>
              <a:gd name="connsiteY2358" fmla="*/ 1554358 h 6750795"/>
              <a:gd name="connsiteX2359" fmla="*/ 4783527 w 6630249"/>
              <a:gd name="connsiteY2359" fmla="*/ 1531274 h 6750795"/>
              <a:gd name="connsiteX2360" fmla="*/ 4791341 w 6630249"/>
              <a:gd name="connsiteY2360" fmla="*/ 1528749 h 6750795"/>
              <a:gd name="connsiteX2361" fmla="*/ 6625120 w 6630249"/>
              <a:gd name="connsiteY2361" fmla="*/ 1528709 h 6750795"/>
              <a:gd name="connsiteX2362" fmla="*/ 6630249 w 6630249"/>
              <a:gd name="connsiteY2362" fmla="*/ 1528709 h 6750795"/>
              <a:gd name="connsiteX2363" fmla="*/ 6627684 w 6630249"/>
              <a:gd name="connsiteY2363" fmla="*/ 1536404 h 6750795"/>
              <a:gd name="connsiteX2364" fmla="*/ 6622555 w 6630249"/>
              <a:gd name="connsiteY2364" fmla="*/ 1536404 h 6750795"/>
              <a:gd name="connsiteX2365" fmla="*/ 6625120 w 6630249"/>
              <a:gd name="connsiteY2365" fmla="*/ 1528709 h 6750795"/>
              <a:gd name="connsiteX2366" fmla="*/ 4191036 w 6630249"/>
              <a:gd name="connsiteY2366" fmla="*/ 1526112 h 6750795"/>
              <a:gd name="connsiteX2367" fmla="*/ 4142303 w 6630249"/>
              <a:gd name="connsiteY2367" fmla="*/ 1567150 h 6750795"/>
              <a:gd name="connsiteX2368" fmla="*/ 4073051 w 6630249"/>
              <a:gd name="connsiteY2368" fmla="*/ 1731303 h 6750795"/>
              <a:gd name="connsiteX2369" fmla="*/ 4096135 w 6630249"/>
              <a:gd name="connsiteY2369" fmla="*/ 1718479 h 6750795"/>
              <a:gd name="connsiteX2370" fmla="*/ 4157692 w 6630249"/>
              <a:gd name="connsiteY2370" fmla="*/ 1667181 h 6750795"/>
              <a:gd name="connsiteX2371" fmla="*/ 4191036 w 6630249"/>
              <a:gd name="connsiteY2371" fmla="*/ 1526112 h 6750795"/>
              <a:gd name="connsiteX2372" fmla="*/ 3170209 w 6630249"/>
              <a:gd name="connsiteY2372" fmla="*/ 1526112 h 6750795"/>
              <a:gd name="connsiteX2373" fmla="*/ 3126605 w 6630249"/>
              <a:gd name="connsiteY2373" fmla="*/ 1613318 h 6750795"/>
              <a:gd name="connsiteX2374" fmla="*/ 3126605 w 6630249"/>
              <a:gd name="connsiteY2374" fmla="*/ 1638967 h 6750795"/>
              <a:gd name="connsiteX2375" fmla="*/ 3141995 w 6630249"/>
              <a:gd name="connsiteY2375" fmla="*/ 1751823 h 6750795"/>
              <a:gd name="connsiteX2376" fmla="*/ 3165079 w 6630249"/>
              <a:gd name="connsiteY2376" fmla="*/ 1636402 h 6750795"/>
              <a:gd name="connsiteX2377" fmla="*/ 3149689 w 6630249"/>
              <a:gd name="connsiteY2377" fmla="*/ 1631273 h 6750795"/>
              <a:gd name="connsiteX2378" fmla="*/ 3154819 w 6630249"/>
              <a:gd name="connsiteY2378" fmla="*/ 1608189 h 6750795"/>
              <a:gd name="connsiteX2379" fmla="*/ 3167644 w 6630249"/>
              <a:gd name="connsiteY2379" fmla="*/ 1608189 h 6750795"/>
              <a:gd name="connsiteX2380" fmla="*/ 3170209 w 6630249"/>
              <a:gd name="connsiteY2380" fmla="*/ 1526112 h 6750795"/>
              <a:gd name="connsiteX2381" fmla="*/ 3957631 w 6630249"/>
              <a:gd name="connsiteY2381" fmla="*/ 1520993 h 6750795"/>
              <a:gd name="connsiteX2382" fmla="*/ 3962760 w 6630249"/>
              <a:gd name="connsiteY2382" fmla="*/ 1531252 h 6750795"/>
              <a:gd name="connsiteX2383" fmla="*/ 3957631 w 6630249"/>
              <a:gd name="connsiteY2383" fmla="*/ 1520993 h 6750795"/>
              <a:gd name="connsiteX2384" fmla="*/ 4937420 w 6630249"/>
              <a:gd name="connsiteY2384" fmla="*/ 1505626 h 6750795"/>
              <a:gd name="connsiteX2385" fmla="*/ 4934855 w 6630249"/>
              <a:gd name="connsiteY2385" fmla="*/ 1518450 h 6750795"/>
              <a:gd name="connsiteX2386" fmla="*/ 4929726 w 6630249"/>
              <a:gd name="connsiteY2386" fmla="*/ 1518450 h 6750795"/>
              <a:gd name="connsiteX2387" fmla="*/ 4937420 w 6630249"/>
              <a:gd name="connsiteY2387" fmla="*/ 1505626 h 6750795"/>
              <a:gd name="connsiteX2388" fmla="*/ 5501697 w 6630249"/>
              <a:gd name="connsiteY2388" fmla="*/ 1503061 h 6750795"/>
              <a:gd name="connsiteX2389" fmla="*/ 5506827 w 6630249"/>
              <a:gd name="connsiteY2389" fmla="*/ 1503061 h 6750795"/>
              <a:gd name="connsiteX2390" fmla="*/ 5506827 w 6630249"/>
              <a:gd name="connsiteY2390" fmla="*/ 1508191 h 6750795"/>
              <a:gd name="connsiteX2391" fmla="*/ 5501697 w 6630249"/>
              <a:gd name="connsiteY2391" fmla="*/ 1508191 h 6750795"/>
              <a:gd name="connsiteX2392" fmla="*/ 5501697 w 6630249"/>
              <a:gd name="connsiteY2392" fmla="*/ 1503061 h 6750795"/>
              <a:gd name="connsiteX2393" fmla="*/ 4370579 w 6630249"/>
              <a:gd name="connsiteY2393" fmla="*/ 1497265 h 6750795"/>
              <a:gd name="connsiteX2394" fmla="*/ 4383404 w 6630249"/>
              <a:gd name="connsiteY2394" fmla="*/ 1500471 h 6750795"/>
              <a:gd name="connsiteX2395" fmla="*/ 4380839 w 6630249"/>
              <a:gd name="connsiteY2395" fmla="*/ 1510730 h 6750795"/>
              <a:gd name="connsiteX2396" fmla="*/ 4388533 w 6630249"/>
              <a:gd name="connsiteY2396" fmla="*/ 1572289 h 6750795"/>
              <a:gd name="connsiteX2397" fmla="*/ 4378274 w 6630249"/>
              <a:gd name="connsiteY2397" fmla="*/ 1577419 h 6750795"/>
              <a:gd name="connsiteX2398" fmla="*/ 4365449 w 6630249"/>
              <a:gd name="connsiteY2398" fmla="*/ 1582549 h 6750795"/>
              <a:gd name="connsiteX2399" fmla="*/ 4347495 w 6630249"/>
              <a:gd name="connsiteY2399" fmla="*/ 1577419 h 6750795"/>
              <a:gd name="connsiteX2400" fmla="*/ 4337235 w 6630249"/>
              <a:gd name="connsiteY2400" fmla="*/ 1567159 h 6750795"/>
              <a:gd name="connsiteX2401" fmla="*/ 4342365 w 6630249"/>
              <a:gd name="connsiteY2401" fmla="*/ 1556900 h 6750795"/>
              <a:gd name="connsiteX2402" fmla="*/ 4332105 w 6630249"/>
              <a:gd name="connsiteY2402" fmla="*/ 1549205 h 6750795"/>
              <a:gd name="connsiteX2403" fmla="*/ 4329540 w 6630249"/>
              <a:gd name="connsiteY2403" fmla="*/ 1538944 h 6750795"/>
              <a:gd name="connsiteX2404" fmla="*/ 4337235 w 6630249"/>
              <a:gd name="connsiteY2404" fmla="*/ 1533816 h 6750795"/>
              <a:gd name="connsiteX2405" fmla="*/ 4334669 w 6630249"/>
              <a:gd name="connsiteY2405" fmla="*/ 1518425 h 6750795"/>
              <a:gd name="connsiteX2406" fmla="*/ 4344930 w 6630249"/>
              <a:gd name="connsiteY2406" fmla="*/ 1505601 h 6750795"/>
              <a:gd name="connsiteX2407" fmla="*/ 4357755 w 6630249"/>
              <a:gd name="connsiteY2407" fmla="*/ 1497906 h 6750795"/>
              <a:gd name="connsiteX2408" fmla="*/ 4370579 w 6630249"/>
              <a:gd name="connsiteY2408" fmla="*/ 1497265 h 6750795"/>
              <a:gd name="connsiteX2409" fmla="*/ 4078181 w 6630249"/>
              <a:gd name="connsiteY2409" fmla="*/ 1479943 h 6750795"/>
              <a:gd name="connsiteX2410" fmla="*/ 4052532 w 6630249"/>
              <a:gd name="connsiteY2410" fmla="*/ 1500462 h 6750795"/>
              <a:gd name="connsiteX2411" fmla="*/ 3944806 w 6630249"/>
              <a:gd name="connsiteY2411" fmla="*/ 1615883 h 6750795"/>
              <a:gd name="connsiteX2412" fmla="*/ 3903768 w 6630249"/>
              <a:gd name="connsiteY2412" fmla="*/ 1721044 h 6750795"/>
              <a:gd name="connsiteX2413" fmla="*/ 3931982 w 6630249"/>
              <a:gd name="connsiteY2413" fmla="*/ 1728738 h 6750795"/>
              <a:gd name="connsiteX2414" fmla="*/ 3937111 w 6630249"/>
              <a:gd name="connsiteY2414" fmla="*/ 1746693 h 6750795"/>
              <a:gd name="connsiteX2415" fmla="*/ 3985845 w 6630249"/>
              <a:gd name="connsiteY2415" fmla="*/ 1605624 h 6750795"/>
              <a:gd name="connsiteX2416" fmla="*/ 4078181 w 6630249"/>
              <a:gd name="connsiteY2416" fmla="*/ 1479943 h 6750795"/>
              <a:gd name="connsiteX2417" fmla="*/ 3967891 w 6630249"/>
              <a:gd name="connsiteY2417" fmla="*/ 1477389 h 6750795"/>
              <a:gd name="connsiteX2418" fmla="*/ 3973021 w 6630249"/>
              <a:gd name="connsiteY2418" fmla="*/ 1490214 h 6750795"/>
              <a:gd name="connsiteX2419" fmla="*/ 3967891 w 6630249"/>
              <a:gd name="connsiteY2419" fmla="*/ 1477389 h 6750795"/>
              <a:gd name="connsiteX2420" fmla="*/ 2982972 w 6630249"/>
              <a:gd name="connsiteY2420" fmla="*/ 1472248 h 6750795"/>
              <a:gd name="connsiteX2421" fmla="*/ 2949629 w 6630249"/>
              <a:gd name="connsiteY2421" fmla="*/ 1554326 h 6750795"/>
              <a:gd name="connsiteX2422" fmla="*/ 2957322 w 6630249"/>
              <a:gd name="connsiteY2422" fmla="*/ 1549196 h 6750795"/>
              <a:gd name="connsiteX2423" fmla="*/ 2957322 w 6630249"/>
              <a:gd name="connsiteY2423" fmla="*/ 1546631 h 6750795"/>
              <a:gd name="connsiteX2424" fmla="*/ 2982972 w 6630249"/>
              <a:gd name="connsiteY2424" fmla="*/ 1472248 h 6750795"/>
              <a:gd name="connsiteX2425" fmla="*/ 3916593 w 6630249"/>
              <a:gd name="connsiteY2425" fmla="*/ 1469696 h 6750795"/>
              <a:gd name="connsiteX2426" fmla="*/ 3924287 w 6630249"/>
              <a:gd name="connsiteY2426" fmla="*/ 1472261 h 6750795"/>
              <a:gd name="connsiteX2427" fmla="*/ 3919157 w 6630249"/>
              <a:gd name="connsiteY2427" fmla="*/ 1482520 h 6750795"/>
              <a:gd name="connsiteX2428" fmla="*/ 3916593 w 6630249"/>
              <a:gd name="connsiteY2428" fmla="*/ 1469696 h 6750795"/>
              <a:gd name="connsiteX2429" fmla="*/ 4934855 w 6630249"/>
              <a:gd name="connsiteY2429" fmla="*/ 1454329 h 6750795"/>
              <a:gd name="connsiteX2430" fmla="*/ 4934855 w 6630249"/>
              <a:gd name="connsiteY2430" fmla="*/ 1454329 h 6750795"/>
              <a:gd name="connsiteX2431" fmla="*/ 4752748 w 6630249"/>
              <a:gd name="connsiteY2431" fmla="*/ 1444071 h 6750795"/>
              <a:gd name="connsiteX2432" fmla="*/ 4752748 w 6630249"/>
              <a:gd name="connsiteY2432" fmla="*/ 1451764 h 6750795"/>
              <a:gd name="connsiteX2433" fmla="*/ 4752748 w 6630249"/>
              <a:gd name="connsiteY2433" fmla="*/ 1444071 h 6750795"/>
              <a:gd name="connsiteX2434" fmla="*/ 4950245 w 6630249"/>
              <a:gd name="connsiteY2434" fmla="*/ 1442146 h 6750795"/>
              <a:gd name="connsiteX2435" fmla="*/ 4952809 w 6630249"/>
              <a:gd name="connsiteY2435" fmla="*/ 1444070 h 6750795"/>
              <a:gd name="connsiteX2436" fmla="*/ 4947680 w 6630249"/>
              <a:gd name="connsiteY2436" fmla="*/ 1444070 h 6750795"/>
              <a:gd name="connsiteX2437" fmla="*/ 4950245 w 6630249"/>
              <a:gd name="connsiteY2437" fmla="*/ 1442146 h 6750795"/>
              <a:gd name="connsiteX2438" fmla="*/ 5476008 w 6630249"/>
              <a:gd name="connsiteY2438" fmla="*/ 1438620 h 6750795"/>
              <a:gd name="connsiteX2439" fmla="*/ 5473483 w 6630249"/>
              <a:gd name="connsiteY2439" fmla="*/ 1441505 h 6750795"/>
              <a:gd name="connsiteX2440" fmla="*/ 5476008 w 6630249"/>
              <a:gd name="connsiteY2440" fmla="*/ 1438620 h 6750795"/>
              <a:gd name="connsiteX2441" fmla="*/ 5891561 w 6630249"/>
              <a:gd name="connsiteY2441" fmla="*/ 1436376 h 6750795"/>
              <a:gd name="connsiteX2442" fmla="*/ 5876170 w 6630249"/>
              <a:gd name="connsiteY2442" fmla="*/ 1485108 h 6750795"/>
              <a:gd name="connsiteX2443" fmla="*/ 5891561 w 6630249"/>
              <a:gd name="connsiteY2443" fmla="*/ 1436376 h 6750795"/>
              <a:gd name="connsiteX2444" fmla="*/ 5178520 w 6630249"/>
              <a:gd name="connsiteY2444" fmla="*/ 1433811 h 6750795"/>
              <a:gd name="connsiteX2445" fmla="*/ 5155436 w 6630249"/>
              <a:gd name="connsiteY2445" fmla="*/ 1449200 h 6750795"/>
              <a:gd name="connsiteX2446" fmla="*/ 5178520 w 6630249"/>
              <a:gd name="connsiteY2446" fmla="*/ 1433811 h 6750795"/>
              <a:gd name="connsiteX2447" fmla="*/ 4503953 w 6630249"/>
              <a:gd name="connsiteY2447" fmla="*/ 1431246 h 6750795"/>
              <a:gd name="connsiteX2448" fmla="*/ 4506518 w 6630249"/>
              <a:gd name="connsiteY2448" fmla="*/ 1449200 h 6750795"/>
              <a:gd name="connsiteX2449" fmla="*/ 4491129 w 6630249"/>
              <a:gd name="connsiteY2449" fmla="*/ 1436376 h 6750795"/>
              <a:gd name="connsiteX2450" fmla="*/ 4503953 w 6630249"/>
              <a:gd name="connsiteY2450" fmla="*/ 1431246 h 6750795"/>
              <a:gd name="connsiteX2451" fmla="*/ 3031704 w 6630249"/>
              <a:gd name="connsiteY2451" fmla="*/ 1426080 h 6750795"/>
              <a:gd name="connsiteX2452" fmla="*/ 3003492 w 6630249"/>
              <a:gd name="connsiteY2452" fmla="*/ 1479943 h 6750795"/>
              <a:gd name="connsiteX2453" fmla="*/ 2980406 w 6630249"/>
              <a:gd name="connsiteY2453" fmla="*/ 1533807 h 6750795"/>
              <a:gd name="connsiteX2454" fmla="*/ 2995796 w 6630249"/>
              <a:gd name="connsiteY2454" fmla="*/ 1523547 h 6750795"/>
              <a:gd name="connsiteX2455" fmla="*/ 3013751 w 6630249"/>
              <a:gd name="connsiteY2455" fmla="*/ 1518416 h 6750795"/>
              <a:gd name="connsiteX2456" fmla="*/ 3031704 w 6630249"/>
              <a:gd name="connsiteY2456" fmla="*/ 1426080 h 6750795"/>
              <a:gd name="connsiteX2457" fmla="*/ 3914028 w 6630249"/>
              <a:gd name="connsiteY2457" fmla="*/ 1415832 h 6750795"/>
              <a:gd name="connsiteX2458" fmla="*/ 3928135 w 6630249"/>
              <a:gd name="connsiteY2458" fmla="*/ 1415832 h 6750795"/>
              <a:gd name="connsiteX2459" fmla="*/ 3934547 w 6630249"/>
              <a:gd name="connsiteY2459" fmla="*/ 1431222 h 6750795"/>
              <a:gd name="connsiteX2460" fmla="*/ 3914028 w 6630249"/>
              <a:gd name="connsiteY2460" fmla="*/ 1415832 h 6750795"/>
              <a:gd name="connsiteX2461" fmla="*/ 4693755 w 6630249"/>
              <a:gd name="connsiteY2461" fmla="*/ 1405597 h 6750795"/>
              <a:gd name="connsiteX2462" fmla="*/ 4698885 w 6630249"/>
              <a:gd name="connsiteY2462" fmla="*/ 1420987 h 6750795"/>
              <a:gd name="connsiteX2463" fmla="*/ 4693755 w 6630249"/>
              <a:gd name="connsiteY2463" fmla="*/ 1405597 h 6750795"/>
              <a:gd name="connsiteX2464" fmla="*/ 5619682 w 6630249"/>
              <a:gd name="connsiteY2464" fmla="*/ 1397882 h 6750795"/>
              <a:gd name="connsiteX2465" fmla="*/ 5642765 w 6630249"/>
              <a:gd name="connsiteY2465" fmla="*/ 1426095 h 6750795"/>
              <a:gd name="connsiteX2466" fmla="*/ 5637636 w 6630249"/>
              <a:gd name="connsiteY2466" fmla="*/ 1469699 h 6750795"/>
              <a:gd name="connsiteX2467" fmla="*/ 5617117 w 6630249"/>
              <a:gd name="connsiteY2467" fmla="*/ 1487653 h 6750795"/>
              <a:gd name="connsiteX2468" fmla="*/ 5578643 w 6630249"/>
              <a:gd name="connsiteY2468" fmla="*/ 1482523 h 6750795"/>
              <a:gd name="connsiteX2469" fmla="*/ 5568383 w 6630249"/>
              <a:gd name="connsiteY2469" fmla="*/ 1464569 h 6750795"/>
              <a:gd name="connsiteX2470" fmla="*/ 5576078 w 6630249"/>
              <a:gd name="connsiteY2470" fmla="*/ 1420966 h 6750795"/>
              <a:gd name="connsiteX2471" fmla="*/ 5619682 w 6630249"/>
              <a:gd name="connsiteY2471" fmla="*/ 1397882 h 6750795"/>
              <a:gd name="connsiteX2472" fmla="*/ 5188780 w 6630249"/>
              <a:gd name="connsiteY2472" fmla="*/ 1392774 h 6750795"/>
              <a:gd name="connsiteX2473" fmla="*/ 5196474 w 6630249"/>
              <a:gd name="connsiteY2473" fmla="*/ 1392774 h 6750795"/>
              <a:gd name="connsiteX2474" fmla="*/ 5196474 w 6630249"/>
              <a:gd name="connsiteY2474" fmla="*/ 1397904 h 6750795"/>
              <a:gd name="connsiteX2475" fmla="*/ 5188780 w 6630249"/>
              <a:gd name="connsiteY2475" fmla="*/ 1397904 h 6750795"/>
              <a:gd name="connsiteX2476" fmla="*/ 5188780 w 6630249"/>
              <a:gd name="connsiteY2476" fmla="*/ 1392774 h 6750795"/>
              <a:gd name="connsiteX2477" fmla="*/ 2898330 w 6630249"/>
              <a:gd name="connsiteY2477" fmla="*/ 1387649 h 6750795"/>
              <a:gd name="connsiteX2478" fmla="*/ 2913719 w 6630249"/>
              <a:gd name="connsiteY2478" fmla="*/ 1395342 h 6750795"/>
              <a:gd name="connsiteX2479" fmla="*/ 2918850 w 6630249"/>
              <a:gd name="connsiteY2479" fmla="*/ 1387649 h 6750795"/>
              <a:gd name="connsiteX2480" fmla="*/ 2926544 w 6630249"/>
              <a:gd name="connsiteY2480" fmla="*/ 1390214 h 6750795"/>
              <a:gd name="connsiteX2481" fmla="*/ 2926544 w 6630249"/>
              <a:gd name="connsiteY2481" fmla="*/ 1400473 h 6750795"/>
              <a:gd name="connsiteX2482" fmla="*/ 2921414 w 6630249"/>
              <a:gd name="connsiteY2482" fmla="*/ 1392779 h 6750795"/>
              <a:gd name="connsiteX2483" fmla="*/ 2921414 w 6630249"/>
              <a:gd name="connsiteY2483" fmla="*/ 1405603 h 6750795"/>
              <a:gd name="connsiteX2484" fmla="*/ 2929109 w 6630249"/>
              <a:gd name="connsiteY2484" fmla="*/ 1408167 h 6750795"/>
              <a:gd name="connsiteX2485" fmla="*/ 2921414 w 6630249"/>
              <a:gd name="connsiteY2485" fmla="*/ 1415862 h 6750795"/>
              <a:gd name="connsiteX2486" fmla="*/ 2936803 w 6630249"/>
              <a:gd name="connsiteY2486" fmla="*/ 1413298 h 6750795"/>
              <a:gd name="connsiteX2487" fmla="*/ 2929109 w 6630249"/>
              <a:gd name="connsiteY2487" fmla="*/ 1428687 h 6750795"/>
              <a:gd name="connsiteX2488" fmla="*/ 2911154 w 6630249"/>
              <a:gd name="connsiteY2488" fmla="*/ 1426122 h 6750795"/>
              <a:gd name="connsiteX2489" fmla="*/ 2908591 w 6630249"/>
              <a:gd name="connsiteY2489" fmla="*/ 1418427 h 6750795"/>
              <a:gd name="connsiteX2490" fmla="*/ 2921414 w 6630249"/>
              <a:gd name="connsiteY2490" fmla="*/ 1408167 h 6750795"/>
              <a:gd name="connsiteX2491" fmla="*/ 2916284 w 6630249"/>
              <a:gd name="connsiteY2491" fmla="*/ 1413298 h 6750795"/>
              <a:gd name="connsiteX2492" fmla="*/ 2903460 w 6630249"/>
              <a:gd name="connsiteY2492" fmla="*/ 1410732 h 6750795"/>
              <a:gd name="connsiteX2493" fmla="*/ 2906025 w 6630249"/>
              <a:gd name="connsiteY2493" fmla="*/ 1397908 h 6750795"/>
              <a:gd name="connsiteX2494" fmla="*/ 2900895 w 6630249"/>
              <a:gd name="connsiteY2494" fmla="*/ 1405603 h 6750795"/>
              <a:gd name="connsiteX2495" fmla="*/ 2898330 w 6630249"/>
              <a:gd name="connsiteY2495" fmla="*/ 1387649 h 6750795"/>
              <a:gd name="connsiteX2496" fmla="*/ 2908591 w 6630249"/>
              <a:gd name="connsiteY2496" fmla="*/ 1379955 h 6750795"/>
              <a:gd name="connsiteX2497" fmla="*/ 2916284 w 6630249"/>
              <a:gd name="connsiteY2497" fmla="*/ 1390215 h 6750795"/>
              <a:gd name="connsiteX2498" fmla="*/ 2908591 w 6630249"/>
              <a:gd name="connsiteY2498" fmla="*/ 1379955 h 6750795"/>
              <a:gd name="connsiteX2499" fmla="*/ 4224380 w 6630249"/>
              <a:gd name="connsiteY2499" fmla="*/ 1377347 h 6750795"/>
              <a:gd name="connsiteX2500" fmla="*/ 4149998 w 6630249"/>
              <a:gd name="connsiteY2500" fmla="*/ 1551761 h 6750795"/>
              <a:gd name="connsiteX2501" fmla="*/ 4193601 w 6630249"/>
              <a:gd name="connsiteY2501" fmla="*/ 1515852 h 6750795"/>
              <a:gd name="connsiteX2502" fmla="*/ 4224380 w 6630249"/>
              <a:gd name="connsiteY2502" fmla="*/ 1377347 h 6750795"/>
              <a:gd name="connsiteX2503" fmla="*/ 4637328 w 6630249"/>
              <a:gd name="connsiteY2503" fmla="*/ 1374820 h 6750795"/>
              <a:gd name="connsiteX2504" fmla="*/ 4642457 w 6630249"/>
              <a:gd name="connsiteY2504" fmla="*/ 1374820 h 6750795"/>
              <a:gd name="connsiteX2505" fmla="*/ 4642457 w 6630249"/>
              <a:gd name="connsiteY2505" fmla="*/ 1379951 h 6750795"/>
              <a:gd name="connsiteX2506" fmla="*/ 4637328 w 6630249"/>
              <a:gd name="connsiteY2506" fmla="*/ 1379951 h 6750795"/>
              <a:gd name="connsiteX2507" fmla="*/ 4637328 w 6630249"/>
              <a:gd name="connsiteY2507" fmla="*/ 1374820 h 6750795"/>
              <a:gd name="connsiteX2508" fmla="*/ 3867860 w 6630249"/>
              <a:gd name="connsiteY2508" fmla="*/ 1372228 h 6750795"/>
              <a:gd name="connsiteX2509" fmla="*/ 3857600 w 6630249"/>
              <a:gd name="connsiteY2509" fmla="*/ 1390182 h 6750795"/>
              <a:gd name="connsiteX2510" fmla="*/ 3860165 w 6630249"/>
              <a:gd name="connsiteY2510" fmla="*/ 1397877 h 6750795"/>
              <a:gd name="connsiteX2511" fmla="*/ 3872989 w 6630249"/>
              <a:gd name="connsiteY2511" fmla="*/ 1382487 h 6750795"/>
              <a:gd name="connsiteX2512" fmla="*/ 3867860 w 6630249"/>
              <a:gd name="connsiteY2512" fmla="*/ 1410701 h 6750795"/>
              <a:gd name="connsiteX2513" fmla="*/ 3865295 w 6630249"/>
              <a:gd name="connsiteY2513" fmla="*/ 1400441 h 6750795"/>
              <a:gd name="connsiteX2514" fmla="*/ 3857600 w 6630249"/>
              <a:gd name="connsiteY2514" fmla="*/ 1410701 h 6750795"/>
              <a:gd name="connsiteX2515" fmla="*/ 3852470 w 6630249"/>
              <a:gd name="connsiteY2515" fmla="*/ 1413266 h 6750795"/>
              <a:gd name="connsiteX2516" fmla="*/ 3844776 w 6630249"/>
              <a:gd name="connsiteY2516" fmla="*/ 1413266 h 6750795"/>
              <a:gd name="connsiteX2517" fmla="*/ 3852470 w 6630249"/>
              <a:gd name="connsiteY2517" fmla="*/ 1374793 h 6750795"/>
              <a:gd name="connsiteX2518" fmla="*/ 3855035 w 6630249"/>
              <a:gd name="connsiteY2518" fmla="*/ 1382487 h 6750795"/>
              <a:gd name="connsiteX2519" fmla="*/ 3867860 w 6630249"/>
              <a:gd name="connsiteY2519" fmla="*/ 1372228 h 6750795"/>
              <a:gd name="connsiteX2520" fmla="*/ 5965943 w 6630249"/>
              <a:gd name="connsiteY2520" fmla="*/ 1370331 h 6750795"/>
              <a:gd name="connsiteX2521" fmla="*/ 5968508 w 6630249"/>
              <a:gd name="connsiteY2521" fmla="*/ 1372255 h 6750795"/>
              <a:gd name="connsiteX2522" fmla="*/ 5963378 w 6630249"/>
              <a:gd name="connsiteY2522" fmla="*/ 1372255 h 6750795"/>
              <a:gd name="connsiteX2523" fmla="*/ 5965943 w 6630249"/>
              <a:gd name="connsiteY2523" fmla="*/ 1370331 h 6750795"/>
              <a:gd name="connsiteX2524" fmla="*/ 2908591 w 6630249"/>
              <a:gd name="connsiteY2524" fmla="*/ 1369697 h 6750795"/>
              <a:gd name="connsiteX2525" fmla="*/ 2913719 w 6630249"/>
              <a:gd name="connsiteY2525" fmla="*/ 1369697 h 6750795"/>
              <a:gd name="connsiteX2526" fmla="*/ 2911155 w 6630249"/>
              <a:gd name="connsiteY2526" fmla="*/ 1377391 h 6750795"/>
              <a:gd name="connsiteX2527" fmla="*/ 2906025 w 6630249"/>
              <a:gd name="connsiteY2527" fmla="*/ 1377391 h 6750795"/>
              <a:gd name="connsiteX2528" fmla="*/ 2908591 w 6630249"/>
              <a:gd name="connsiteY2528" fmla="*/ 1369697 h 6750795"/>
              <a:gd name="connsiteX2529" fmla="*/ 3118911 w 6630249"/>
              <a:gd name="connsiteY2529" fmla="*/ 1367130 h 6750795"/>
              <a:gd name="connsiteX2530" fmla="*/ 3113781 w 6630249"/>
              <a:gd name="connsiteY2530" fmla="*/ 1374825 h 6750795"/>
              <a:gd name="connsiteX2531" fmla="*/ 3118911 w 6630249"/>
              <a:gd name="connsiteY2531" fmla="*/ 1367130 h 6750795"/>
              <a:gd name="connsiteX2532" fmla="*/ 3911462 w 6630249"/>
              <a:gd name="connsiteY2532" fmla="*/ 1367098 h 6750795"/>
              <a:gd name="connsiteX2533" fmla="*/ 3916593 w 6630249"/>
              <a:gd name="connsiteY2533" fmla="*/ 1372228 h 6750795"/>
              <a:gd name="connsiteX2534" fmla="*/ 3908898 w 6630249"/>
              <a:gd name="connsiteY2534" fmla="*/ 1374792 h 6750795"/>
              <a:gd name="connsiteX2535" fmla="*/ 3906333 w 6630249"/>
              <a:gd name="connsiteY2535" fmla="*/ 1379922 h 6750795"/>
              <a:gd name="connsiteX2536" fmla="*/ 3911462 w 6630249"/>
              <a:gd name="connsiteY2536" fmla="*/ 1367098 h 6750795"/>
              <a:gd name="connsiteX2537" fmla="*/ 2895765 w 6630249"/>
              <a:gd name="connsiteY2537" fmla="*/ 1364566 h 6750795"/>
              <a:gd name="connsiteX2538" fmla="*/ 2900895 w 6630249"/>
              <a:gd name="connsiteY2538" fmla="*/ 1379955 h 6750795"/>
              <a:gd name="connsiteX2539" fmla="*/ 2885506 w 6630249"/>
              <a:gd name="connsiteY2539" fmla="*/ 1379955 h 6750795"/>
              <a:gd name="connsiteX2540" fmla="*/ 2895765 w 6630249"/>
              <a:gd name="connsiteY2540" fmla="*/ 1364566 h 6750795"/>
              <a:gd name="connsiteX2541" fmla="*/ 3911463 w 6630249"/>
              <a:gd name="connsiteY2541" fmla="*/ 1359405 h 6750795"/>
              <a:gd name="connsiteX2542" fmla="*/ 3921723 w 6630249"/>
              <a:gd name="connsiteY2542" fmla="*/ 1361970 h 6750795"/>
              <a:gd name="connsiteX2543" fmla="*/ 3919157 w 6630249"/>
              <a:gd name="connsiteY2543" fmla="*/ 1372229 h 6750795"/>
              <a:gd name="connsiteX2544" fmla="*/ 3911463 w 6630249"/>
              <a:gd name="connsiteY2544" fmla="*/ 1359405 h 6750795"/>
              <a:gd name="connsiteX2545" fmla="*/ 6212172 w 6630249"/>
              <a:gd name="connsiteY2545" fmla="*/ 1356865 h 6750795"/>
              <a:gd name="connsiteX2546" fmla="*/ 6186523 w 6630249"/>
              <a:gd name="connsiteY2546" fmla="*/ 1392774 h 6750795"/>
              <a:gd name="connsiteX2547" fmla="*/ 6212172 w 6630249"/>
              <a:gd name="connsiteY2547" fmla="*/ 1356865 h 6750795"/>
              <a:gd name="connsiteX2548" fmla="*/ 3106087 w 6630249"/>
              <a:gd name="connsiteY2548" fmla="*/ 1354307 h 6750795"/>
              <a:gd name="connsiteX2549" fmla="*/ 3111216 w 6630249"/>
              <a:gd name="connsiteY2549" fmla="*/ 1369696 h 6750795"/>
              <a:gd name="connsiteX2550" fmla="*/ 3106087 w 6630249"/>
              <a:gd name="connsiteY2550" fmla="*/ 1354307 h 6750795"/>
              <a:gd name="connsiteX2551" fmla="*/ 2570025 w 6630249"/>
              <a:gd name="connsiteY2551" fmla="*/ 1341483 h 6750795"/>
              <a:gd name="connsiteX2552" fmla="*/ 2572589 w 6630249"/>
              <a:gd name="connsiteY2552" fmla="*/ 1359437 h 6750795"/>
              <a:gd name="connsiteX2553" fmla="*/ 2570025 w 6630249"/>
              <a:gd name="connsiteY2553" fmla="*/ 1341483 h 6750795"/>
              <a:gd name="connsiteX2554" fmla="*/ 5037451 w 6630249"/>
              <a:gd name="connsiteY2554" fmla="*/ 1341459 h 6750795"/>
              <a:gd name="connsiteX2555" fmla="*/ 5050275 w 6630249"/>
              <a:gd name="connsiteY2555" fmla="*/ 1392757 h 6750795"/>
              <a:gd name="connsiteX2556" fmla="*/ 5065664 w 6630249"/>
              <a:gd name="connsiteY2556" fmla="*/ 1390192 h 6750795"/>
              <a:gd name="connsiteX2557" fmla="*/ 5052840 w 6630249"/>
              <a:gd name="connsiteY2557" fmla="*/ 1449184 h 6750795"/>
              <a:gd name="connsiteX2558" fmla="*/ 5034886 w 6630249"/>
              <a:gd name="connsiteY2558" fmla="*/ 1462009 h 6750795"/>
              <a:gd name="connsiteX2559" fmla="*/ 5083619 w 6630249"/>
              <a:gd name="connsiteY2559" fmla="*/ 1436359 h 6750795"/>
              <a:gd name="connsiteX2560" fmla="*/ 5083619 w 6630249"/>
              <a:gd name="connsiteY2560" fmla="*/ 1408146 h 6750795"/>
              <a:gd name="connsiteX2561" fmla="*/ 5091313 w 6630249"/>
              <a:gd name="connsiteY2561" fmla="*/ 1405581 h 6750795"/>
              <a:gd name="connsiteX2562" fmla="*/ 5088749 w 6630249"/>
              <a:gd name="connsiteY2562" fmla="*/ 1469702 h 6750795"/>
              <a:gd name="connsiteX2563" fmla="*/ 5101573 w 6630249"/>
              <a:gd name="connsiteY2563" fmla="*/ 1469702 h 6750795"/>
              <a:gd name="connsiteX2564" fmla="*/ 5104138 w 6630249"/>
              <a:gd name="connsiteY2564" fmla="*/ 1523565 h 6750795"/>
              <a:gd name="connsiteX2565" fmla="*/ 5088749 w 6630249"/>
              <a:gd name="connsiteY2565" fmla="*/ 1577428 h 6750795"/>
              <a:gd name="connsiteX2566" fmla="*/ 5070794 w 6630249"/>
              <a:gd name="connsiteY2566" fmla="*/ 1582558 h 6750795"/>
              <a:gd name="connsiteX2567" fmla="*/ 5088749 w 6630249"/>
              <a:gd name="connsiteY2567" fmla="*/ 1587686 h 6750795"/>
              <a:gd name="connsiteX2568" fmla="*/ 5057970 w 6630249"/>
              <a:gd name="connsiteY2568" fmla="*/ 1636419 h 6750795"/>
              <a:gd name="connsiteX2569" fmla="*/ 5070794 w 6630249"/>
              <a:gd name="connsiteY2569" fmla="*/ 1644114 h 6750795"/>
              <a:gd name="connsiteX2570" fmla="*/ 5055405 w 6630249"/>
              <a:gd name="connsiteY2570" fmla="*/ 1674893 h 6750795"/>
              <a:gd name="connsiteX2571" fmla="*/ 5104138 w 6630249"/>
              <a:gd name="connsiteY2571" fmla="*/ 1638984 h 6750795"/>
              <a:gd name="connsiteX2572" fmla="*/ 5083619 w 6630249"/>
              <a:gd name="connsiteY2572" fmla="*/ 1651810 h 6750795"/>
              <a:gd name="connsiteX2573" fmla="*/ 5122092 w 6630249"/>
              <a:gd name="connsiteY2573" fmla="*/ 1608206 h 6750795"/>
              <a:gd name="connsiteX2574" fmla="*/ 5104138 w 6630249"/>
              <a:gd name="connsiteY2574" fmla="*/ 1633855 h 6750795"/>
              <a:gd name="connsiteX2575" fmla="*/ 5116962 w 6630249"/>
              <a:gd name="connsiteY2575" fmla="*/ 1638984 h 6750795"/>
              <a:gd name="connsiteX2576" fmla="*/ 5111833 w 6630249"/>
              <a:gd name="connsiteY2576" fmla="*/ 1656939 h 6750795"/>
              <a:gd name="connsiteX2577" fmla="*/ 5106703 w 6630249"/>
              <a:gd name="connsiteY2577" fmla="*/ 1649245 h 6750795"/>
              <a:gd name="connsiteX2578" fmla="*/ 5070794 w 6630249"/>
              <a:gd name="connsiteY2578" fmla="*/ 1690283 h 6750795"/>
              <a:gd name="connsiteX2579" fmla="*/ 5068229 w 6630249"/>
              <a:gd name="connsiteY2579" fmla="*/ 1682589 h 6750795"/>
              <a:gd name="connsiteX2580" fmla="*/ 5070794 w 6630249"/>
              <a:gd name="connsiteY2580" fmla="*/ 1680023 h 6750795"/>
              <a:gd name="connsiteX2581" fmla="*/ 5060535 w 6630249"/>
              <a:gd name="connsiteY2581" fmla="*/ 1685152 h 6750795"/>
              <a:gd name="connsiteX2582" fmla="*/ 5040015 w 6630249"/>
              <a:gd name="connsiteY2582" fmla="*/ 1723626 h 6750795"/>
              <a:gd name="connsiteX2583" fmla="*/ 4996412 w 6630249"/>
              <a:gd name="connsiteY2583" fmla="*/ 1774924 h 6750795"/>
              <a:gd name="connsiteX2584" fmla="*/ 4970763 w 6630249"/>
              <a:gd name="connsiteY2584" fmla="*/ 1777488 h 6750795"/>
              <a:gd name="connsiteX2585" fmla="*/ 4973328 w 6630249"/>
              <a:gd name="connsiteY2585" fmla="*/ 1790313 h 6750795"/>
              <a:gd name="connsiteX2586" fmla="*/ 4978458 w 6630249"/>
              <a:gd name="connsiteY2586" fmla="*/ 1790313 h 6750795"/>
              <a:gd name="connsiteX2587" fmla="*/ 5004107 w 6630249"/>
              <a:gd name="connsiteY2587" fmla="*/ 1774924 h 6750795"/>
              <a:gd name="connsiteX2588" fmla="*/ 5006672 w 6630249"/>
              <a:gd name="connsiteY2588" fmla="*/ 1780054 h 6750795"/>
              <a:gd name="connsiteX2589" fmla="*/ 4983588 w 6630249"/>
              <a:gd name="connsiteY2589" fmla="*/ 1798007 h 6750795"/>
              <a:gd name="connsiteX2590" fmla="*/ 4988718 w 6630249"/>
              <a:gd name="connsiteY2590" fmla="*/ 1813397 h 6750795"/>
              <a:gd name="connsiteX2591" fmla="*/ 4960504 w 6630249"/>
              <a:gd name="connsiteY2591" fmla="*/ 1826221 h 6750795"/>
              <a:gd name="connsiteX2592" fmla="*/ 4942550 w 6630249"/>
              <a:gd name="connsiteY2592" fmla="*/ 1846741 h 6750795"/>
              <a:gd name="connsiteX2593" fmla="*/ 4955374 w 6630249"/>
              <a:gd name="connsiteY2593" fmla="*/ 1851870 h 6750795"/>
              <a:gd name="connsiteX2594" fmla="*/ 4896382 w 6630249"/>
              <a:gd name="connsiteY2594" fmla="*/ 1880084 h 6750795"/>
              <a:gd name="connsiteX2595" fmla="*/ 4924595 w 6630249"/>
              <a:gd name="connsiteY2595" fmla="*/ 1880084 h 6750795"/>
              <a:gd name="connsiteX2596" fmla="*/ 4888687 w 6630249"/>
              <a:gd name="connsiteY2596" fmla="*/ 1887779 h 6750795"/>
              <a:gd name="connsiteX2597" fmla="*/ 4896382 w 6630249"/>
              <a:gd name="connsiteY2597" fmla="*/ 1892909 h 6750795"/>
              <a:gd name="connsiteX2598" fmla="*/ 4870733 w 6630249"/>
              <a:gd name="connsiteY2598" fmla="*/ 1915992 h 6750795"/>
              <a:gd name="connsiteX2599" fmla="*/ 4798915 w 6630249"/>
              <a:gd name="connsiteY2599" fmla="*/ 1872389 h 6750795"/>
              <a:gd name="connsiteX2600" fmla="*/ 4796350 w 6630249"/>
              <a:gd name="connsiteY2600" fmla="*/ 1828786 h 6750795"/>
              <a:gd name="connsiteX2601" fmla="*/ 4778395 w 6630249"/>
              <a:gd name="connsiteY2601" fmla="*/ 1780054 h 6750795"/>
              <a:gd name="connsiteX2602" fmla="*/ 4796350 w 6630249"/>
              <a:gd name="connsiteY2602" fmla="*/ 1792876 h 6750795"/>
              <a:gd name="connsiteX2603" fmla="*/ 4775831 w 6630249"/>
              <a:gd name="connsiteY2603" fmla="*/ 1764664 h 6750795"/>
              <a:gd name="connsiteX2604" fmla="*/ 4780960 w 6630249"/>
              <a:gd name="connsiteY2604" fmla="*/ 1772359 h 6750795"/>
              <a:gd name="connsiteX2605" fmla="*/ 4793785 w 6630249"/>
              <a:gd name="connsiteY2605" fmla="*/ 1744145 h 6750795"/>
              <a:gd name="connsiteX2606" fmla="*/ 4770701 w 6630249"/>
              <a:gd name="connsiteY2606" fmla="*/ 1739015 h 6750795"/>
              <a:gd name="connsiteX2607" fmla="*/ 4765571 w 6630249"/>
              <a:gd name="connsiteY2607" fmla="*/ 1703107 h 6750795"/>
              <a:gd name="connsiteX2608" fmla="*/ 4773266 w 6630249"/>
              <a:gd name="connsiteY2608" fmla="*/ 1690283 h 6750795"/>
              <a:gd name="connsiteX2609" fmla="*/ 4765571 w 6630249"/>
              <a:gd name="connsiteY2609" fmla="*/ 1690283 h 6750795"/>
              <a:gd name="connsiteX2610" fmla="*/ 4778395 w 6630249"/>
              <a:gd name="connsiteY2610" fmla="*/ 1672329 h 6750795"/>
              <a:gd name="connsiteX2611" fmla="*/ 4783525 w 6630249"/>
              <a:gd name="connsiteY2611" fmla="*/ 1680023 h 6750795"/>
              <a:gd name="connsiteX2612" fmla="*/ 4788655 w 6630249"/>
              <a:gd name="connsiteY2612" fmla="*/ 1618465 h 6750795"/>
              <a:gd name="connsiteX2613" fmla="*/ 4773266 w 6630249"/>
              <a:gd name="connsiteY2613" fmla="*/ 1636419 h 6750795"/>
              <a:gd name="connsiteX2614" fmla="*/ 4745052 w 6630249"/>
              <a:gd name="connsiteY2614" fmla="*/ 1636419 h 6750795"/>
              <a:gd name="connsiteX2615" fmla="*/ 4747617 w 6630249"/>
              <a:gd name="connsiteY2615" fmla="*/ 1585123 h 6750795"/>
              <a:gd name="connsiteX2616" fmla="*/ 4765571 w 6630249"/>
              <a:gd name="connsiteY2616" fmla="*/ 1582558 h 6750795"/>
              <a:gd name="connsiteX2617" fmla="*/ 4783606 w 6630249"/>
              <a:gd name="connsiteY2617" fmla="*/ 1590493 h 6750795"/>
              <a:gd name="connsiteX2618" fmla="*/ 4785518 w 6630249"/>
              <a:gd name="connsiteY2618" fmla="*/ 1584385 h 6750795"/>
              <a:gd name="connsiteX2619" fmla="*/ 4781923 w 6630249"/>
              <a:gd name="connsiteY2619" fmla="*/ 1579685 h 6750795"/>
              <a:gd name="connsiteX2620" fmla="*/ 4783526 w 6630249"/>
              <a:gd name="connsiteY2620" fmla="*/ 1572311 h 6750795"/>
              <a:gd name="connsiteX2621" fmla="*/ 4785776 w 6630249"/>
              <a:gd name="connsiteY2621" fmla="*/ 1583560 h 6750795"/>
              <a:gd name="connsiteX2622" fmla="*/ 4786090 w 6630249"/>
              <a:gd name="connsiteY2622" fmla="*/ 1582558 h 6750795"/>
              <a:gd name="connsiteX2623" fmla="*/ 4801480 w 6630249"/>
              <a:gd name="connsiteY2623" fmla="*/ 1623595 h 6750795"/>
              <a:gd name="connsiteX2624" fmla="*/ 4832259 w 6630249"/>
              <a:gd name="connsiteY2624" fmla="*/ 1608206 h 6750795"/>
              <a:gd name="connsiteX2625" fmla="*/ 4847648 w 6630249"/>
              <a:gd name="connsiteY2625" fmla="*/ 1623595 h 6750795"/>
              <a:gd name="connsiteX2626" fmla="*/ 4863038 w 6630249"/>
              <a:gd name="connsiteY2626" fmla="*/ 1592817 h 6750795"/>
              <a:gd name="connsiteX2627" fmla="*/ 4870733 w 6630249"/>
              <a:gd name="connsiteY2627" fmla="*/ 1597946 h 6750795"/>
              <a:gd name="connsiteX2628" fmla="*/ 4888687 w 6630249"/>
              <a:gd name="connsiteY2628" fmla="*/ 1582558 h 6750795"/>
              <a:gd name="connsiteX2629" fmla="*/ 4883557 w 6630249"/>
              <a:gd name="connsiteY2629" fmla="*/ 1567168 h 6750795"/>
              <a:gd name="connsiteX2630" fmla="*/ 4860473 w 6630249"/>
              <a:gd name="connsiteY2630" fmla="*/ 1567168 h 6750795"/>
              <a:gd name="connsiteX2631" fmla="*/ 4839954 w 6630249"/>
              <a:gd name="connsiteY2631" fmla="*/ 1538954 h 6750795"/>
              <a:gd name="connsiteX2632" fmla="*/ 4852779 w 6630249"/>
              <a:gd name="connsiteY2632" fmla="*/ 1531260 h 6750795"/>
              <a:gd name="connsiteX2633" fmla="*/ 4865603 w 6630249"/>
              <a:gd name="connsiteY2633" fmla="*/ 1526130 h 6750795"/>
              <a:gd name="connsiteX2634" fmla="*/ 4893817 w 6630249"/>
              <a:gd name="connsiteY2634" fmla="*/ 1579993 h 6750795"/>
              <a:gd name="connsiteX2635" fmla="*/ 4893817 w 6630249"/>
              <a:gd name="connsiteY2635" fmla="*/ 1562038 h 6750795"/>
              <a:gd name="connsiteX2636" fmla="*/ 4909206 w 6630249"/>
              <a:gd name="connsiteY2636" fmla="*/ 1585123 h 6750795"/>
              <a:gd name="connsiteX2637" fmla="*/ 4927160 w 6630249"/>
              <a:gd name="connsiteY2637" fmla="*/ 1559474 h 6750795"/>
              <a:gd name="connsiteX2638" fmla="*/ 4934855 w 6630249"/>
              <a:gd name="connsiteY2638" fmla="*/ 1577428 h 6750795"/>
              <a:gd name="connsiteX2639" fmla="*/ 4937420 w 6630249"/>
              <a:gd name="connsiteY2639" fmla="*/ 1551779 h 6750795"/>
              <a:gd name="connsiteX2640" fmla="*/ 4955374 w 6630249"/>
              <a:gd name="connsiteY2640" fmla="*/ 1572298 h 6750795"/>
              <a:gd name="connsiteX2641" fmla="*/ 4968199 w 6630249"/>
              <a:gd name="connsiteY2641" fmla="*/ 1615901 h 6750795"/>
              <a:gd name="connsiteX2642" fmla="*/ 4981023 w 6630249"/>
              <a:gd name="connsiteY2642" fmla="*/ 1613335 h 6750795"/>
              <a:gd name="connsiteX2643" fmla="*/ 4993848 w 6630249"/>
              <a:gd name="connsiteY2643" fmla="*/ 1585123 h 6750795"/>
              <a:gd name="connsiteX2644" fmla="*/ 4988718 w 6630249"/>
              <a:gd name="connsiteY2644" fmla="*/ 1608206 h 6750795"/>
              <a:gd name="connsiteX2645" fmla="*/ 5001542 w 6630249"/>
              <a:gd name="connsiteY2645" fmla="*/ 1605641 h 6750795"/>
              <a:gd name="connsiteX2646" fmla="*/ 5006672 w 6630249"/>
              <a:gd name="connsiteY2646" fmla="*/ 1564603 h 6750795"/>
              <a:gd name="connsiteX2647" fmla="*/ 5011802 w 6630249"/>
              <a:gd name="connsiteY2647" fmla="*/ 1556909 h 6750795"/>
              <a:gd name="connsiteX2648" fmla="*/ 5032321 w 6630249"/>
              <a:gd name="connsiteY2648" fmla="*/ 1559474 h 6750795"/>
              <a:gd name="connsiteX2649" fmla="*/ 5009237 w 6630249"/>
              <a:gd name="connsiteY2649" fmla="*/ 1544084 h 6750795"/>
              <a:gd name="connsiteX2650" fmla="*/ 5029756 w 6630249"/>
              <a:gd name="connsiteY2650" fmla="*/ 1541519 h 6750795"/>
              <a:gd name="connsiteX2651" fmla="*/ 5024626 w 6630249"/>
              <a:gd name="connsiteY2651" fmla="*/ 1497916 h 6750795"/>
              <a:gd name="connsiteX2652" fmla="*/ 5032321 w 6630249"/>
              <a:gd name="connsiteY2652" fmla="*/ 1497916 h 6750795"/>
              <a:gd name="connsiteX2653" fmla="*/ 5024626 w 6630249"/>
              <a:gd name="connsiteY2653" fmla="*/ 1479962 h 6750795"/>
              <a:gd name="connsiteX2654" fmla="*/ 5032321 w 6630249"/>
              <a:gd name="connsiteY2654" fmla="*/ 1449184 h 6750795"/>
              <a:gd name="connsiteX2655" fmla="*/ 5016932 w 6630249"/>
              <a:gd name="connsiteY2655" fmla="*/ 1433795 h 6750795"/>
              <a:gd name="connsiteX2656" fmla="*/ 5029756 w 6630249"/>
              <a:gd name="connsiteY2656" fmla="*/ 1405581 h 6750795"/>
              <a:gd name="connsiteX2657" fmla="*/ 5016932 w 6630249"/>
              <a:gd name="connsiteY2657" fmla="*/ 1369672 h 6750795"/>
              <a:gd name="connsiteX2658" fmla="*/ 5037451 w 6630249"/>
              <a:gd name="connsiteY2658" fmla="*/ 1341459 h 6750795"/>
              <a:gd name="connsiteX2659" fmla="*/ 3090697 w 6630249"/>
              <a:gd name="connsiteY2659" fmla="*/ 1333789 h 6750795"/>
              <a:gd name="connsiteX2660" fmla="*/ 3080438 w 6630249"/>
              <a:gd name="connsiteY2660" fmla="*/ 1341483 h 6750795"/>
              <a:gd name="connsiteX2661" fmla="*/ 3090697 w 6630249"/>
              <a:gd name="connsiteY2661" fmla="*/ 1333789 h 6750795"/>
              <a:gd name="connsiteX2662" fmla="*/ 6097433 w 6630249"/>
              <a:gd name="connsiteY2662" fmla="*/ 1327931 h 6750795"/>
              <a:gd name="connsiteX2663" fmla="*/ 6094187 w 6630249"/>
              <a:gd name="connsiteY2663" fmla="*/ 1328653 h 6750795"/>
              <a:gd name="connsiteX2664" fmla="*/ 6097433 w 6630249"/>
              <a:gd name="connsiteY2664" fmla="*/ 1327931 h 6750795"/>
              <a:gd name="connsiteX2665" fmla="*/ 3129170 w 6630249"/>
              <a:gd name="connsiteY2665" fmla="*/ 1323528 h 6750795"/>
              <a:gd name="connsiteX2666" fmla="*/ 3131736 w 6630249"/>
              <a:gd name="connsiteY2666" fmla="*/ 1338918 h 6750795"/>
              <a:gd name="connsiteX2667" fmla="*/ 3129170 w 6630249"/>
              <a:gd name="connsiteY2667" fmla="*/ 1323528 h 6750795"/>
              <a:gd name="connsiteX2668" fmla="*/ 3921723 w 6630249"/>
              <a:gd name="connsiteY2668" fmla="*/ 1315802 h 6750795"/>
              <a:gd name="connsiteX2669" fmla="*/ 3944807 w 6630249"/>
              <a:gd name="connsiteY2669" fmla="*/ 1333757 h 6750795"/>
              <a:gd name="connsiteX2670" fmla="*/ 3919158 w 6630249"/>
              <a:gd name="connsiteY2670" fmla="*/ 1323496 h 6750795"/>
              <a:gd name="connsiteX2671" fmla="*/ 3921723 w 6630249"/>
              <a:gd name="connsiteY2671" fmla="*/ 1315802 h 6750795"/>
              <a:gd name="connsiteX2672" fmla="*/ 5216993 w 6630249"/>
              <a:gd name="connsiteY2672" fmla="*/ 1313262 h 6750795"/>
              <a:gd name="connsiteX2673" fmla="*/ 5299070 w 6630249"/>
              <a:gd name="connsiteY2673" fmla="*/ 1418421 h 6750795"/>
              <a:gd name="connsiteX2674" fmla="*/ 5275986 w 6630249"/>
              <a:gd name="connsiteY2674" fmla="*/ 1469719 h 6750795"/>
              <a:gd name="connsiteX2675" fmla="*/ 5245207 w 6630249"/>
              <a:gd name="connsiteY2675" fmla="*/ 1485108 h 6750795"/>
              <a:gd name="connsiteX2676" fmla="*/ 5209298 w 6630249"/>
              <a:gd name="connsiteY2676" fmla="*/ 1387644 h 6750795"/>
              <a:gd name="connsiteX2677" fmla="*/ 5214428 w 6630249"/>
              <a:gd name="connsiteY2677" fmla="*/ 1392773 h 6750795"/>
              <a:gd name="connsiteX2678" fmla="*/ 5229818 w 6630249"/>
              <a:gd name="connsiteY2678" fmla="*/ 1374819 h 6750795"/>
              <a:gd name="connsiteX2679" fmla="*/ 5216993 w 6630249"/>
              <a:gd name="connsiteY2679" fmla="*/ 1313262 h 6750795"/>
              <a:gd name="connsiteX2680" fmla="*/ 4237204 w 6630249"/>
              <a:gd name="connsiteY2680" fmla="*/ 1310660 h 6750795"/>
              <a:gd name="connsiteX2681" fmla="*/ 4167952 w 6630249"/>
              <a:gd name="connsiteY2681" fmla="*/ 1395301 h 6750795"/>
              <a:gd name="connsiteX2682" fmla="*/ 4106395 w 6630249"/>
              <a:gd name="connsiteY2682" fmla="*/ 1454294 h 6750795"/>
              <a:gd name="connsiteX2683" fmla="*/ 4106395 w 6630249"/>
              <a:gd name="connsiteY2683" fmla="*/ 1461989 h 6750795"/>
              <a:gd name="connsiteX2684" fmla="*/ 3993539 w 6630249"/>
              <a:gd name="connsiteY2684" fmla="*/ 1610753 h 6750795"/>
              <a:gd name="connsiteX2685" fmla="*/ 3944806 w 6630249"/>
              <a:gd name="connsiteY2685" fmla="*/ 1756952 h 6750795"/>
              <a:gd name="connsiteX2686" fmla="*/ 3957631 w 6630249"/>
              <a:gd name="connsiteY2686" fmla="*/ 1777471 h 6750795"/>
              <a:gd name="connsiteX2687" fmla="*/ 3960196 w 6630249"/>
              <a:gd name="connsiteY2687" fmla="*/ 1774907 h 6750795"/>
              <a:gd name="connsiteX2688" fmla="*/ 3996104 w 6630249"/>
              <a:gd name="connsiteY2688" fmla="*/ 1759517 h 6750795"/>
              <a:gd name="connsiteX2689" fmla="*/ 3993539 w 6630249"/>
              <a:gd name="connsiteY2689" fmla="*/ 1754387 h 6750795"/>
              <a:gd name="connsiteX2690" fmla="*/ 4001234 w 6630249"/>
              <a:gd name="connsiteY2690" fmla="*/ 1756952 h 6750795"/>
              <a:gd name="connsiteX2691" fmla="*/ 4042272 w 6630249"/>
              <a:gd name="connsiteY2691" fmla="*/ 1744128 h 6750795"/>
              <a:gd name="connsiteX2692" fmla="*/ 4050063 w 6630249"/>
              <a:gd name="connsiteY2692" fmla="*/ 1711991 h 6750795"/>
              <a:gd name="connsiteX2693" fmla="*/ 4044837 w 6630249"/>
              <a:gd name="connsiteY2693" fmla="*/ 1744128 h 6750795"/>
              <a:gd name="connsiteX2694" fmla="*/ 4062791 w 6630249"/>
              <a:gd name="connsiteY2694" fmla="*/ 1736433 h 6750795"/>
              <a:gd name="connsiteX2695" fmla="*/ 4134609 w 6630249"/>
              <a:gd name="connsiteY2695" fmla="*/ 1574845 h 6750795"/>
              <a:gd name="connsiteX2696" fmla="*/ 4129478 w 6630249"/>
              <a:gd name="connsiteY2696" fmla="*/ 1579975 h 6750795"/>
              <a:gd name="connsiteX2697" fmla="*/ 4065356 w 6630249"/>
              <a:gd name="connsiteY2697" fmla="*/ 1667181 h 6750795"/>
              <a:gd name="connsiteX2698" fmla="*/ 4052889 w 6630249"/>
              <a:gd name="connsiteY2698" fmla="*/ 1700334 h 6750795"/>
              <a:gd name="connsiteX2699" fmla="*/ 4062791 w 6630249"/>
              <a:gd name="connsiteY2699" fmla="*/ 1659486 h 6750795"/>
              <a:gd name="connsiteX2700" fmla="*/ 4121784 w 6630249"/>
              <a:gd name="connsiteY2700" fmla="*/ 1577410 h 6750795"/>
              <a:gd name="connsiteX2701" fmla="*/ 4103830 w 6630249"/>
              <a:gd name="connsiteY2701" fmla="*/ 1562020 h 6750795"/>
              <a:gd name="connsiteX2702" fmla="*/ 4124349 w 6630249"/>
              <a:gd name="connsiteY2702" fmla="*/ 1574845 h 6750795"/>
              <a:gd name="connsiteX2703" fmla="*/ 4126914 w 6630249"/>
              <a:gd name="connsiteY2703" fmla="*/ 1572280 h 6750795"/>
              <a:gd name="connsiteX2704" fmla="*/ 4139738 w 6630249"/>
              <a:gd name="connsiteY2704" fmla="*/ 1559456 h 6750795"/>
              <a:gd name="connsiteX2705" fmla="*/ 4224380 w 6630249"/>
              <a:gd name="connsiteY2705" fmla="*/ 1369652 h 6750795"/>
              <a:gd name="connsiteX2706" fmla="*/ 4237204 w 6630249"/>
              <a:gd name="connsiteY2706" fmla="*/ 1310660 h 6750795"/>
              <a:gd name="connsiteX2707" fmla="*/ 5319588 w 6630249"/>
              <a:gd name="connsiteY2707" fmla="*/ 1308115 h 6750795"/>
              <a:gd name="connsiteX2708" fmla="*/ 5345237 w 6630249"/>
              <a:gd name="connsiteY2708" fmla="*/ 1333765 h 6750795"/>
              <a:gd name="connsiteX2709" fmla="*/ 5352932 w 6630249"/>
              <a:gd name="connsiteY2709" fmla="*/ 1320940 h 6750795"/>
              <a:gd name="connsiteX2710" fmla="*/ 5383710 w 6630249"/>
              <a:gd name="connsiteY2710" fmla="*/ 1341458 h 6750795"/>
              <a:gd name="connsiteX2711" fmla="*/ 5383710 w 6630249"/>
              <a:gd name="connsiteY2711" fmla="*/ 1338894 h 6750795"/>
              <a:gd name="connsiteX2712" fmla="*/ 5445268 w 6630249"/>
              <a:gd name="connsiteY2712" fmla="*/ 1405581 h 6750795"/>
              <a:gd name="connsiteX2713" fmla="*/ 5470917 w 6630249"/>
              <a:gd name="connsiteY2713" fmla="*/ 1605641 h 6750795"/>
              <a:gd name="connsiteX2714" fmla="*/ 5483741 w 6630249"/>
              <a:gd name="connsiteY2714" fmla="*/ 1677458 h 6750795"/>
              <a:gd name="connsiteX2715" fmla="*/ 5470917 w 6630249"/>
              <a:gd name="connsiteY2715" fmla="*/ 1690284 h 6750795"/>
              <a:gd name="connsiteX2716" fmla="*/ 5470917 w 6630249"/>
              <a:gd name="connsiteY2716" fmla="*/ 1708237 h 6750795"/>
              <a:gd name="connsiteX2717" fmla="*/ 5404230 w 6630249"/>
              <a:gd name="connsiteY2717" fmla="*/ 1649245 h 6750795"/>
              <a:gd name="connsiteX2718" fmla="*/ 5381145 w 6630249"/>
              <a:gd name="connsiteY2718" fmla="*/ 1605641 h 6750795"/>
              <a:gd name="connsiteX2719" fmla="*/ 5411924 w 6630249"/>
              <a:gd name="connsiteY2719" fmla="*/ 1590252 h 6750795"/>
              <a:gd name="connsiteX2720" fmla="*/ 5406794 w 6630249"/>
              <a:gd name="connsiteY2720" fmla="*/ 1562038 h 6750795"/>
              <a:gd name="connsiteX2721" fmla="*/ 5309328 w 6630249"/>
              <a:gd name="connsiteY2721" fmla="*/ 1541520 h 6750795"/>
              <a:gd name="connsiteX2722" fmla="*/ 5317023 w 6630249"/>
              <a:gd name="connsiteY2722" fmla="*/ 1518436 h 6750795"/>
              <a:gd name="connsiteX2723" fmla="*/ 5347802 w 6630249"/>
              <a:gd name="connsiteY2723" fmla="*/ 1513306 h 6750795"/>
              <a:gd name="connsiteX2724" fmla="*/ 5355496 w 6630249"/>
              <a:gd name="connsiteY2724" fmla="*/ 1485092 h 6750795"/>
              <a:gd name="connsiteX2725" fmla="*/ 5363191 w 6630249"/>
              <a:gd name="connsiteY2725" fmla="*/ 1492787 h 6750795"/>
              <a:gd name="connsiteX2726" fmla="*/ 5360626 w 6630249"/>
              <a:gd name="connsiteY2726" fmla="*/ 1456878 h 6750795"/>
              <a:gd name="connsiteX2727" fmla="*/ 5296504 w 6630249"/>
              <a:gd name="connsiteY2727" fmla="*/ 1495352 h 6750795"/>
              <a:gd name="connsiteX2728" fmla="*/ 5332412 w 6630249"/>
              <a:gd name="connsiteY2728" fmla="*/ 1454314 h 6750795"/>
              <a:gd name="connsiteX2729" fmla="*/ 5352932 w 6630249"/>
              <a:gd name="connsiteY2729" fmla="*/ 1449184 h 6750795"/>
              <a:gd name="connsiteX2730" fmla="*/ 5314458 w 6630249"/>
              <a:gd name="connsiteY2730" fmla="*/ 1344024 h 6750795"/>
              <a:gd name="connsiteX2731" fmla="*/ 5322153 w 6630249"/>
              <a:gd name="connsiteY2731" fmla="*/ 1351718 h 6750795"/>
              <a:gd name="connsiteX2732" fmla="*/ 5319588 w 6630249"/>
              <a:gd name="connsiteY2732" fmla="*/ 1308115 h 6750795"/>
              <a:gd name="connsiteX2733" fmla="*/ 5175955 w 6630249"/>
              <a:gd name="connsiteY2733" fmla="*/ 1303004 h 6750795"/>
              <a:gd name="connsiteX2734" fmla="*/ 5173390 w 6630249"/>
              <a:gd name="connsiteY2734" fmla="*/ 1318394 h 6750795"/>
              <a:gd name="connsiteX2735" fmla="*/ 5175955 w 6630249"/>
              <a:gd name="connsiteY2735" fmla="*/ 1303004 h 6750795"/>
              <a:gd name="connsiteX2736" fmla="*/ 5158001 w 6630249"/>
              <a:gd name="connsiteY2736" fmla="*/ 1300422 h 6750795"/>
              <a:gd name="connsiteX2737" fmla="*/ 5145177 w 6630249"/>
              <a:gd name="connsiteY2737" fmla="*/ 1320941 h 6750795"/>
              <a:gd name="connsiteX2738" fmla="*/ 5158001 w 6630249"/>
              <a:gd name="connsiteY2738" fmla="*/ 1300422 h 6750795"/>
              <a:gd name="connsiteX2739" fmla="*/ 3770393 w 6630249"/>
              <a:gd name="connsiteY2739" fmla="*/ 1295283 h 6750795"/>
              <a:gd name="connsiteX2740" fmla="*/ 3778088 w 6630249"/>
              <a:gd name="connsiteY2740" fmla="*/ 1297849 h 6750795"/>
              <a:gd name="connsiteX2741" fmla="*/ 3767829 w 6630249"/>
              <a:gd name="connsiteY2741" fmla="*/ 1323497 h 6750795"/>
              <a:gd name="connsiteX2742" fmla="*/ 3770393 w 6630249"/>
              <a:gd name="connsiteY2742" fmla="*/ 1295283 h 6750795"/>
              <a:gd name="connsiteX2743" fmla="*/ 3106086 w 6630249"/>
              <a:gd name="connsiteY2743" fmla="*/ 1290141 h 6750795"/>
              <a:gd name="connsiteX2744" fmla="*/ 3103521 w 6630249"/>
              <a:gd name="connsiteY2744" fmla="*/ 1295271 h 6750795"/>
              <a:gd name="connsiteX2745" fmla="*/ 3103521 w 6630249"/>
              <a:gd name="connsiteY2745" fmla="*/ 1297835 h 6750795"/>
              <a:gd name="connsiteX2746" fmla="*/ 3100957 w 6630249"/>
              <a:gd name="connsiteY2746" fmla="*/ 1302965 h 6750795"/>
              <a:gd name="connsiteX2747" fmla="*/ 3103521 w 6630249"/>
              <a:gd name="connsiteY2747" fmla="*/ 1305530 h 6750795"/>
              <a:gd name="connsiteX2748" fmla="*/ 3098393 w 6630249"/>
              <a:gd name="connsiteY2748" fmla="*/ 1305530 h 6750795"/>
              <a:gd name="connsiteX2749" fmla="*/ 3054788 w 6630249"/>
              <a:gd name="connsiteY2749" fmla="*/ 1387607 h 6750795"/>
              <a:gd name="connsiteX2750" fmla="*/ 3031704 w 6630249"/>
              <a:gd name="connsiteY2750" fmla="*/ 1510722 h 6750795"/>
              <a:gd name="connsiteX2751" fmla="*/ 3041964 w 6630249"/>
              <a:gd name="connsiteY2751" fmla="*/ 1497898 h 6750795"/>
              <a:gd name="connsiteX2752" fmla="*/ 3029139 w 6630249"/>
              <a:gd name="connsiteY2752" fmla="*/ 1549196 h 6750795"/>
              <a:gd name="connsiteX2753" fmla="*/ 3024010 w 6630249"/>
              <a:gd name="connsiteY2753" fmla="*/ 1549196 h 6750795"/>
              <a:gd name="connsiteX2754" fmla="*/ 2993231 w 6630249"/>
              <a:gd name="connsiteY2754" fmla="*/ 1700525 h 6750795"/>
              <a:gd name="connsiteX2755" fmla="*/ 2985536 w 6630249"/>
              <a:gd name="connsiteY2755" fmla="*/ 1749258 h 6750795"/>
              <a:gd name="connsiteX2756" fmla="*/ 2988101 w 6630249"/>
              <a:gd name="connsiteY2756" fmla="*/ 1751823 h 6750795"/>
              <a:gd name="connsiteX2757" fmla="*/ 3024010 w 6630249"/>
              <a:gd name="connsiteY2757" fmla="*/ 1805684 h 6750795"/>
              <a:gd name="connsiteX2758" fmla="*/ 3041964 w 6630249"/>
              <a:gd name="connsiteY2758" fmla="*/ 1764647 h 6750795"/>
              <a:gd name="connsiteX2759" fmla="*/ 3085567 w 6630249"/>
              <a:gd name="connsiteY2759" fmla="*/ 1690265 h 6750795"/>
              <a:gd name="connsiteX2760" fmla="*/ 3113781 w 6630249"/>
              <a:gd name="connsiteY2760" fmla="*/ 1546631 h 6750795"/>
              <a:gd name="connsiteX2761" fmla="*/ 3134300 w 6630249"/>
              <a:gd name="connsiteY2761" fmla="*/ 1456859 h 6750795"/>
              <a:gd name="connsiteX2762" fmla="*/ 3129170 w 6630249"/>
              <a:gd name="connsiteY2762" fmla="*/ 1372217 h 6750795"/>
              <a:gd name="connsiteX2763" fmla="*/ 3126605 w 6630249"/>
              <a:gd name="connsiteY2763" fmla="*/ 1361958 h 6750795"/>
              <a:gd name="connsiteX2764" fmla="*/ 3118911 w 6630249"/>
              <a:gd name="connsiteY2764" fmla="*/ 1359393 h 6750795"/>
              <a:gd name="connsiteX2765" fmla="*/ 3118590 w 6630249"/>
              <a:gd name="connsiteY2765" fmla="*/ 1350095 h 6750795"/>
              <a:gd name="connsiteX2766" fmla="*/ 3121931 w 6630249"/>
              <a:gd name="connsiteY2766" fmla="*/ 1347933 h 6750795"/>
              <a:gd name="connsiteX2767" fmla="*/ 3124040 w 6630249"/>
              <a:gd name="connsiteY2767" fmla="*/ 1346568 h 6750795"/>
              <a:gd name="connsiteX2768" fmla="*/ 3106086 w 6630249"/>
              <a:gd name="connsiteY2768" fmla="*/ 1290141 h 6750795"/>
              <a:gd name="connsiteX2769" fmla="*/ 3124040 w 6630249"/>
              <a:gd name="connsiteY2769" fmla="*/ 1285056 h 6750795"/>
              <a:gd name="connsiteX2770" fmla="*/ 3129170 w 6630249"/>
              <a:gd name="connsiteY2770" fmla="*/ 1300446 h 6750795"/>
              <a:gd name="connsiteX2771" fmla="*/ 3121476 w 6630249"/>
              <a:gd name="connsiteY2771" fmla="*/ 1300446 h 6750795"/>
              <a:gd name="connsiteX2772" fmla="*/ 3124040 w 6630249"/>
              <a:gd name="connsiteY2772" fmla="*/ 1285056 h 6750795"/>
              <a:gd name="connsiteX2773" fmla="*/ 3739615 w 6630249"/>
              <a:gd name="connsiteY2773" fmla="*/ 1277329 h 6750795"/>
              <a:gd name="connsiteX2774" fmla="*/ 3752439 w 6630249"/>
              <a:gd name="connsiteY2774" fmla="*/ 1300414 h 6750795"/>
              <a:gd name="connsiteX2775" fmla="*/ 3739615 w 6630249"/>
              <a:gd name="connsiteY2775" fmla="*/ 1277329 h 6750795"/>
              <a:gd name="connsiteX2776" fmla="*/ 6422494 w 6630249"/>
              <a:gd name="connsiteY2776" fmla="*/ 1256838 h 6750795"/>
              <a:gd name="connsiteX2777" fmla="*/ 6427623 w 6630249"/>
              <a:gd name="connsiteY2777" fmla="*/ 1256838 h 6750795"/>
              <a:gd name="connsiteX2778" fmla="*/ 6427623 w 6630249"/>
              <a:gd name="connsiteY2778" fmla="*/ 1261968 h 6750795"/>
              <a:gd name="connsiteX2779" fmla="*/ 6422494 w 6630249"/>
              <a:gd name="connsiteY2779" fmla="*/ 1261968 h 6750795"/>
              <a:gd name="connsiteX2780" fmla="*/ 6422494 w 6630249"/>
              <a:gd name="connsiteY2780" fmla="*/ 1256838 h 6750795"/>
              <a:gd name="connsiteX2781" fmla="*/ 4721969 w 6630249"/>
              <a:gd name="connsiteY2781" fmla="*/ 1246578 h 6750795"/>
              <a:gd name="connsiteX2782" fmla="*/ 4727098 w 6630249"/>
              <a:gd name="connsiteY2782" fmla="*/ 1246578 h 6750795"/>
              <a:gd name="connsiteX2783" fmla="*/ 4727098 w 6630249"/>
              <a:gd name="connsiteY2783" fmla="*/ 1259402 h 6750795"/>
              <a:gd name="connsiteX2784" fmla="*/ 4721969 w 6630249"/>
              <a:gd name="connsiteY2784" fmla="*/ 1259402 h 6750795"/>
              <a:gd name="connsiteX2785" fmla="*/ 4721969 w 6630249"/>
              <a:gd name="connsiteY2785" fmla="*/ 1246578 h 6750795"/>
              <a:gd name="connsiteX2786" fmla="*/ 3883250 w 6630249"/>
              <a:gd name="connsiteY2786" fmla="*/ 1246548 h 6750795"/>
              <a:gd name="connsiteX2787" fmla="*/ 3896074 w 6630249"/>
              <a:gd name="connsiteY2787" fmla="*/ 1269633 h 6750795"/>
              <a:gd name="connsiteX2788" fmla="*/ 3890944 w 6630249"/>
              <a:gd name="connsiteY2788" fmla="*/ 1279892 h 6750795"/>
              <a:gd name="connsiteX2789" fmla="*/ 3878120 w 6630249"/>
              <a:gd name="connsiteY2789" fmla="*/ 1267068 h 6750795"/>
              <a:gd name="connsiteX2790" fmla="*/ 3885814 w 6630249"/>
              <a:gd name="connsiteY2790" fmla="*/ 1282457 h 6750795"/>
              <a:gd name="connsiteX2791" fmla="*/ 3875555 w 6630249"/>
              <a:gd name="connsiteY2791" fmla="*/ 1254242 h 6750795"/>
              <a:gd name="connsiteX2792" fmla="*/ 3883250 w 6630249"/>
              <a:gd name="connsiteY2792" fmla="*/ 1246548 h 6750795"/>
              <a:gd name="connsiteX2793" fmla="*/ 2857292 w 6630249"/>
              <a:gd name="connsiteY2793" fmla="*/ 1243973 h 6750795"/>
              <a:gd name="connsiteX2794" fmla="*/ 2859857 w 6630249"/>
              <a:gd name="connsiteY2794" fmla="*/ 1279881 h 6750795"/>
              <a:gd name="connsiteX2795" fmla="*/ 2836773 w 6630249"/>
              <a:gd name="connsiteY2795" fmla="*/ 1559456 h 6750795"/>
              <a:gd name="connsiteX2796" fmla="*/ 2829078 w 6630249"/>
              <a:gd name="connsiteY2796" fmla="*/ 1697960 h 6750795"/>
              <a:gd name="connsiteX2797" fmla="*/ 2872681 w 6630249"/>
              <a:gd name="connsiteY2797" fmla="*/ 1633837 h 6750795"/>
              <a:gd name="connsiteX2798" fmla="*/ 2872681 w 6630249"/>
              <a:gd name="connsiteY2798" fmla="*/ 1618448 h 6750795"/>
              <a:gd name="connsiteX2799" fmla="*/ 2870116 w 6630249"/>
              <a:gd name="connsiteY2799" fmla="*/ 1623578 h 6750795"/>
              <a:gd name="connsiteX2800" fmla="*/ 2859857 w 6630249"/>
              <a:gd name="connsiteY2800" fmla="*/ 1615883 h 6750795"/>
              <a:gd name="connsiteX2801" fmla="*/ 2875246 w 6630249"/>
              <a:gd name="connsiteY2801" fmla="*/ 1608189 h 6750795"/>
              <a:gd name="connsiteX2802" fmla="*/ 2877812 w 6630249"/>
              <a:gd name="connsiteY2802" fmla="*/ 1582540 h 6750795"/>
              <a:gd name="connsiteX2803" fmla="*/ 2880376 w 6630249"/>
              <a:gd name="connsiteY2803" fmla="*/ 1518416 h 6750795"/>
              <a:gd name="connsiteX2804" fmla="*/ 2880376 w 6630249"/>
              <a:gd name="connsiteY2804" fmla="*/ 1397866 h 6750795"/>
              <a:gd name="connsiteX2805" fmla="*/ 2877812 w 6630249"/>
              <a:gd name="connsiteY2805" fmla="*/ 1390172 h 6750795"/>
              <a:gd name="connsiteX2806" fmla="*/ 2880376 w 6630249"/>
              <a:gd name="connsiteY2806" fmla="*/ 1390172 h 6750795"/>
              <a:gd name="connsiteX2807" fmla="*/ 2864986 w 6630249"/>
              <a:gd name="connsiteY2807" fmla="*/ 1272187 h 6750795"/>
              <a:gd name="connsiteX2808" fmla="*/ 2857292 w 6630249"/>
              <a:gd name="connsiteY2808" fmla="*/ 1243973 h 6750795"/>
              <a:gd name="connsiteX2809" fmla="*/ 3752440 w 6630249"/>
              <a:gd name="connsiteY2809" fmla="*/ 1238856 h 6750795"/>
              <a:gd name="connsiteX2810" fmla="*/ 3752440 w 6630249"/>
              <a:gd name="connsiteY2810" fmla="*/ 1249116 h 6750795"/>
              <a:gd name="connsiteX2811" fmla="*/ 3752440 w 6630249"/>
              <a:gd name="connsiteY2811" fmla="*/ 1238856 h 6750795"/>
              <a:gd name="connsiteX2812" fmla="*/ 3072743 w 6630249"/>
              <a:gd name="connsiteY2812" fmla="*/ 1238843 h 6750795"/>
              <a:gd name="connsiteX2813" fmla="*/ 3065048 w 6630249"/>
              <a:gd name="connsiteY2813" fmla="*/ 1302965 h 6750795"/>
              <a:gd name="connsiteX2814" fmla="*/ 3057353 w 6630249"/>
              <a:gd name="connsiteY2814" fmla="*/ 1351698 h 6750795"/>
              <a:gd name="connsiteX2815" fmla="*/ 3095827 w 6630249"/>
              <a:gd name="connsiteY2815" fmla="*/ 1279881 h 6750795"/>
              <a:gd name="connsiteX2816" fmla="*/ 3095827 w 6630249"/>
              <a:gd name="connsiteY2816" fmla="*/ 1277316 h 6750795"/>
              <a:gd name="connsiteX2817" fmla="*/ 3072743 w 6630249"/>
              <a:gd name="connsiteY2817" fmla="*/ 1238843 h 6750795"/>
              <a:gd name="connsiteX2818" fmla="*/ 5730934 w 6630249"/>
              <a:gd name="connsiteY2818" fmla="*/ 1237182 h 6750795"/>
              <a:gd name="connsiteX2819" fmla="*/ 5742797 w 6630249"/>
              <a:gd name="connsiteY2819" fmla="*/ 1241430 h 6750795"/>
              <a:gd name="connsiteX2820" fmla="*/ 5760751 w 6630249"/>
              <a:gd name="connsiteY2820" fmla="*/ 1272209 h 6750795"/>
              <a:gd name="connsiteX2821" fmla="*/ 5758186 w 6630249"/>
              <a:gd name="connsiteY2821" fmla="*/ 1297858 h 6750795"/>
              <a:gd name="connsiteX2822" fmla="*/ 5742797 w 6630249"/>
              <a:gd name="connsiteY2822" fmla="*/ 1313246 h 6750795"/>
              <a:gd name="connsiteX2823" fmla="*/ 5735102 w 6630249"/>
              <a:gd name="connsiteY2823" fmla="*/ 1310681 h 6750795"/>
              <a:gd name="connsiteX2824" fmla="*/ 5719712 w 6630249"/>
              <a:gd name="connsiteY2824" fmla="*/ 1338896 h 6750795"/>
              <a:gd name="connsiteX2825" fmla="*/ 5701758 w 6630249"/>
              <a:gd name="connsiteY2825" fmla="*/ 1341461 h 6750795"/>
              <a:gd name="connsiteX2826" fmla="*/ 5699193 w 6630249"/>
              <a:gd name="connsiteY2826" fmla="*/ 1349156 h 6750795"/>
              <a:gd name="connsiteX2827" fmla="*/ 5681239 w 6630249"/>
              <a:gd name="connsiteY2827" fmla="*/ 1346591 h 6750795"/>
              <a:gd name="connsiteX2828" fmla="*/ 5678674 w 6630249"/>
              <a:gd name="connsiteY2828" fmla="*/ 1331201 h 6750795"/>
              <a:gd name="connsiteX2829" fmla="*/ 5683804 w 6630249"/>
              <a:gd name="connsiteY2829" fmla="*/ 1274774 h 6750795"/>
              <a:gd name="connsiteX2830" fmla="*/ 5683804 w 6630249"/>
              <a:gd name="connsiteY2830" fmla="*/ 1254255 h 6750795"/>
              <a:gd name="connsiteX2831" fmla="*/ 5699193 w 6630249"/>
              <a:gd name="connsiteY2831" fmla="*/ 1246559 h 6750795"/>
              <a:gd name="connsiteX2832" fmla="*/ 5730934 w 6630249"/>
              <a:gd name="connsiteY2832" fmla="*/ 1237182 h 6750795"/>
              <a:gd name="connsiteX2833" fmla="*/ 4260288 w 6630249"/>
              <a:gd name="connsiteY2833" fmla="*/ 1233713 h 6750795"/>
              <a:gd name="connsiteX2834" fmla="*/ 4216685 w 6630249"/>
              <a:gd name="connsiteY2834" fmla="*/ 1313225 h 6750795"/>
              <a:gd name="connsiteX2835" fmla="*/ 4157692 w 6630249"/>
              <a:gd name="connsiteY2835" fmla="*/ 1397866 h 6750795"/>
              <a:gd name="connsiteX2836" fmla="*/ 4167952 w 6630249"/>
              <a:gd name="connsiteY2836" fmla="*/ 1387607 h 6750795"/>
              <a:gd name="connsiteX2837" fmla="*/ 4242334 w 6630249"/>
              <a:gd name="connsiteY2837" fmla="*/ 1300400 h 6750795"/>
              <a:gd name="connsiteX2838" fmla="*/ 4260288 w 6630249"/>
              <a:gd name="connsiteY2838" fmla="*/ 1233713 h 6750795"/>
              <a:gd name="connsiteX2839" fmla="*/ 3062483 w 6630249"/>
              <a:gd name="connsiteY2839" fmla="*/ 1231148 h 6750795"/>
              <a:gd name="connsiteX2840" fmla="*/ 3034269 w 6630249"/>
              <a:gd name="connsiteY2840" fmla="*/ 1331179 h 6750795"/>
              <a:gd name="connsiteX2841" fmla="*/ 3026575 w 6630249"/>
              <a:gd name="connsiteY2841" fmla="*/ 1351698 h 6750795"/>
              <a:gd name="connsiteX2842" fmla="*/ 3006055 w 6630249"/>
              <a:gd name="connsiteY2842" fmla="*/ 1438905 h 6750795"/>
              <a:gd name="connsiteX2843" fmla="*/ 3000926 w 6630249"/>
              <a:gd name="connsiteY2843" fmla="*/ 1454294 h 6750795"/>
              <a:gd name="connsiteX2844" fmla="*/ 3039399 w 6630249"/>
              <a:gd name="connsiteY2844" fmla="*/ 1385042 h 6750795"/>
              <a:gd name="connsiteX2845" fmla="*/ 3052224 w 6630249"/>
              <a:gd name="connsiteY2845" fmla="*/ 1305530 h 6750795"/>
              <a:gd name="connsiteX2846" fmla="*/ 3062483 w 6630249"/>
              <a:gd name="connsiteY2846" fmla="*/ 1231148 h 6750795"/>
              <a:gd name="connsiteX2847" fmla="*/ 3739615 w 6630249"/>
              <a:gd name="connsiteY2847" fmla="*/ 1228594 h 6750795"/>
              <a:gd name="connsiteX2848" fmla="*/ 3747310 w 6630249"/>
              <a:gd name="connsiteY2848" fmla="*/ 1228594 h 6750795"/>
              <a:gd name="connsiteX2849" fmla="*/ 3744745 w 6630249"/>
              <a:gd name="connsiteY2849" fmla="*/ 1256808 h 6750795"/>
              <a:gd name="connsiteX2850" fmla="*/ 3737051 w 6630249"/>
              <a:gd name="connsiteY2850" fmla="*/ 1254244 h 6750795"/>
              <a:gd name="connsiteX2851" fmla="*/ 3739615 w 6630249"/>
              <a:gd name="connsiteY2851" fmla="*/ 1228594 h 6750795"/>
              <a:gd name="connsiteX2852" fmla="*/ 3323301 w 6630249"/>
              <a:gd name="connsiteY2852" fmla="*/ 1215565 h 6750795"/>
              <a:gd name="connsiteX2853" fmla="*/ 3318973 w 6630249"/>
              <a:gd name="connsiteY2853" fmla="*/ 1223501 h 6750795"/>
              <a:gd name="connsiteX2854" fmla="*/ 3318973 w 6630249"/>
              <a:gd name="connsiteY2854" fmla="*/ 1215806 h 6750795"/>
              <a:gd name="connsiteX2855" fmla="*/ 3323301 w 6630249"/>
              <a:gd name="connsiteY2855" fmla="*/ 1215565 h 6750795"/>
              <a:gd name="connsiteX2856" fmla="*/ 3318973 w 6630249"/>
              <a:gd name="connsiteY2856" fmla="*/ 1208113 h 6750795"/>
              <a:gd name="connsiteX2857" fmla="*/ 3308713 w 6630249"/>
              <a:gd name="connsiteY2857" fmla="*/ 1215806 h 6750795"/>
              <a:gd name="connsiteX2858" fmla="*/ 3318973 w 6630249"/>
              <a:gd name="connsiteY2858" fmla="*/ 1208113 h 6750795"/>
              <a:gd name="connsiteX2859" fmla="*/ 4919466 w 6630249"/>
              <a:gd name="connsiteY2859" fmla="*/ 1208106 h 6750795"/>
              <a:gd name="connsiteX2860" fmla="*/ 4932290 w 6630249"/>
              <a:gd name="connsiteY2860" fmla="*/ 1231190 h 6750795"/>
              <a:gd name="connsiteX2861" fmla="*/ 4919466 w 6630249"/>
              <a:gd name="connsiteY2861" fmla="*/ 1208106 h 6750795"/>
              <a:gd name="connsiteX2862" fmla="*/ 4857908 w 6630249"/>
              <a:gd name="connsiteY2862" fmla="*/ 1208106 h 6750795"/>
              <a:gd name="connsiteX2863" fmla="*/ 4873298 w 6630249"/>
              <a:gd name="connsiteY2863" fmla="*/ 1231190 h 6750795"/>
              <a:gd name="connsiteX2864" fmla="*/ 4857908 w 6630249"/>
              <a:gd name="connsiteY2864" fmla="*/ 1208106 h 6750795"/>
              <a:gd name="connsiteX2865" fmla="*/ 3036835 w 6630249"/>
              <a:gd name="connsiteY2865" fmla="*/ 1200370 h 6750795"/>
              <a:gd name="connsiteX2866" fmla="*/ 3031704 w 6630249"/>
              <a:gd name="connsiteY2866" fmla="*/ 1315790 h 6750795"/>
              <a:gd name="connsiteX2867" fmla="*/ 3059918 w 6630249"/>
              <a:gd name="connsiteY2867" fmla="*/ 1223454 h 6750795"/>
              <a:gd name="connsiteX2868" fmla="*/ 3036835 w 6630249"/>
              <a:gd name="connsiteY2868" fmla="*/ 1200370 h 6750795"/>
              <a:gd name="connsiteX2869" fmla="*/ 3912104 w 6630249"/>
              <a:gd name="connsiteY2869" fmla="*/ 1197819 h 6750795"/>
              <a:gd name="connsiteX2870" fmla="*/ 3916593 w 6630249"/>
              <a:gd name="connsiteY2870" fmla="*/ 1202948 h 6750795"/>
              <a:gd name="connsiteX2871" fmla="*/ 3903769 w 6630249"/>
              <a:gd name="connsiteY2871" fmla="*/ 1200384 h 6750795"/>
              <a:gd name="connsiteX2872" fmla="*/ 3912104 w 6630249"/>
              <a:gd name="connsiteY2872" fmla="*/ 1197819 h 6750795"/>
              <a:gd name="connsiteX2873" fmla="*/ 3924288 w 6630249"/>
              <a:gd name="connsiteY2873" fmla="*/ 1196216 h 6750795"/>
              <a:gd name="connsiteX2874" fmla="*/ 3929418 w 6630249"/>
              <a:gd name="connsiteY2874" fmla="*/ 1200384 h 6750795"/>
              <a:gd name="connsiteX2875" fmla="*/ 3919158 w 6630249"/>
              <a:gd name="connsiteY2875" fmla="*/ 1197818 h 6750795"/>
              <a:gd name="connsiteX2876" fmla="*/ 3924288 w 6630249"/>
              <a:gd name="connsiteY2876" fmla="*/ 1196216 h 6750795"/>
              <a:gd name="connsiteX2877" fmla="*/ 3831951 w 6630249"/>
              <a:gd name="connsiteY2877" fmla="*/ 1195251 h 6750795"/>
              <a:gd name="connsiteX2878" fmla="*/ 3849906 w 6630249"/>
              <a:gd name="connsiteY2878" fmla="*/ 1231159 h 6750795"/>
              <a:gd name="connsiteX2879" fmla="*/ 3839646 w 6630249"/>
              <a:gd name="connsiteY2879" fmla="*/ 1231159 h 6750795"/>
              <a:gd name="connsiteX2880" fmla="*/ 3837722 w 6630249"/>
              <a:gd name="connsiteY2880" fmla="*/ 1224106 h 6750795"/>
              <a:gd name="connsiteX2881" fmla="*/ 3831952 w 6630249"/>
              <a:gd name="connsiteY2881" fmla="*/ 1220901 h 6750795"/>
              <a:gd name="connsiteX2882" fmla="*/ 3831951 w 6630249"/>
              <a:gd name="connsiteY2882" fmla="*/ 1220900 h 6750795"/>
              <a:gd name="connsiteX2883" fmla="*/ 3826822 w 6630249"/>
              <a:gd name="connsiteY2883" fmla="*/ 1205510 h 6750795"/>
              <a:gd name="connsiteX2884" fmla="*/ 3831951 w 6630249"/>
              <a:gd name="connsiteY2884" fmla="*/ 1195251 h 6750795"/>
              <a:gd name="connsiteX2885" fmla="*/ 3865295 w 6630249"/>
              <a:gd name="connsiteY2885" fmla="*/ 1187559 h 6750795"/>
              <a:gd name="connsiteX2886" fmla="*/ 3883249 w 6630249"/>
              <a:gd name="connsiteY2886" fmla="*/ 1208078 h 6750795"/>
              <a:gd name="connsiteX2887" fmla="*/ 3875554 w 6630249"/>
              <a:gd name="connsiteY2887" fmla="*/ 1213208 h 6750795"/>
              <a:gd name="connsiteX2888" fmla="*/ 3865295 w 6630249"/>
              <a:gd name="connsiteY2888" fmla="*/ 1187559 h 6750795"/>
              <a:gd name="connsiteX2889" fmla="*/ 3878120 w 6630249"/>
              <a:gd name="connsiteY2889" fmla="*/ 1185636 h 6750795"/>
              <a:gd name="connsiteX2890" fmla="*/ 3883250 w 6630249"/>
              <a:gd name="connsiteY2890" fmla="*/ 1187560 h 6750795"/>
              <a:gd name="connsiteX2891" fmla="*/ 3872990 w 6630249"/>
              <a:gd name="connsiteY2891" fmla="*/ 1187560 h 6750795"/>
              <a:gd name="connsiteX2892" fmla="*/ 3878120 w 6630249"/>
              <a:gd name="connsiteY2892" fmla="*/ 1185636 h 6750795"/>
              <a:gd name="connsiteX2893" fmla="*/ 5068230 w 6630249"/>
              <a:gd name="connsiteY2893" fmla="*/ 1185023 h 6750795"/>
              <a:gd name="connsiteX2894" fmla="*/ 5078490 w 6630249"/>
              <a:gd name="connsiteY2894" fmla="*/ 1187588 h 6750795"/>
              <a:gd name="connsiteX2895" fmla="*/ 5078490 w 6630249"/>
              <a:gd name="connsiteY2895" fmla="*/ 1202977 h 6750795"/>
              <a:gd name="connsiteX2896" fmla="*/ 5073360 w 6630249"/>
              <a:gd name="connsiteY2896" fmla="*/ 1208107 h 6750795"/>
              <a:gd name="connsiteX2897" fmla="*/ 5068230 w 6630249"/>
              <a:gd name="connsiteY2897" fmla="*/ 1185023 h 6750795"/>
              <a:gd name="connsiteX2898" fmla="*/ 3719096 w 6630249"/>
              <a:gd name="connsiteY2898" fmla="*/ 1184996 h 6750795"/>
              <a:gd name="connsiteX2899" fmla="*/ 3729356 w 6630249"/>
              <a:gd name="connsiteY2899" fmla="*/ 1197819 h 6750795"/>
              <a:gd name="connsiteX2900" fmla="*/ 3719096 w 6630249"/>
              <a:gd name="connsiteY2900" fmla="*/ 1184996 h 6750795"/>
              <a:gd name="connsiteX2901" fmla="*/ 3812074 w 6630249"/>
              <a:gd name="connsiteY2901" fmla="*/ 1183071 h 6750795"/>
              <a:gd name="connsiteX2902" fmla="*/ 3813997 w 6630249"/>
              <a:gd name="connsiteY2902" fmla="*/ 1190125 h 6750795"/>
              <a:gd name="connsiteX2903" fmla="*/ 3806303 w 6630249"/>
              <a:gd name="connsiteY2903" fmla="*/ 1187560 h 6750795"/>
              <a:gd name="connsiteX2904" fmla="*/ 3812074 w 6630249"/>
              <a:gd name="connsiteY2904" fmla="*/ 1183071 h 6750795"/>
              <a:gd name="connsiteX2905" fmla="*/ 5681240 w 6630249"/>
              <a:gd name="connsiteY2905" fmla="*/ 1180533 h 6750795"/>
              <a:gd name="connsiteX2906" fmla="*/ 5683804 w 6630249"/>
              <a:gd name="connsiteY2906" fmla="*/ 1182458 h 6750795"/>
              <a:gd name="connsiteX2907" fmla="*/ 5678675 w 6630249"/>
              <a:gd name="connsiteY2907" fmla="*/ 1182458 h 6750795"/>
              <a:gd name="connsiteX2908" fmla="*/ 5681240 w 6630249"/>
              <a:gd name="connsiteY2908" fmla="*/ 1180533 h 6750795"/>
              <a:gd name="connsiteX2909" fmla="*/ 2411000 w 6630249"/>
              <a:gd name="connsiteY2909" fmla="*/ 1172156 h 6750795"/>
              <a:gd name="connsiteX2910" fmla="*/ 2428954 w 6630249"/>
              <a:gd name="connsiteY2910" fmla="*/ 1205499 h 6750795"/>
              <a:gd name="connsiteX2911" fmla="*/ 2477854 w 6630249"/>
              <a:gd name="connsiteY2911" fmla="*/ 1306569 h 6750795"/>
              <a:gd name="connsiteX2912" fmla="*/ 2426390 w 6630249"/>
              <a:gd name="connsiteY2912" fmla="*/ 1202934 h 6750795"/>
              <a:gd name="connsiteX2913" fmla="*/ 2409792 w 6630249"/>
              <a:gd name="connsiteY2913" fmla="*/ 1174483 h 6750795"/>
              <a:gd name="connsiteX2914" fmla="*/ 3639585 w 6630249"/>
              <a:gd name="connsiteY2914" fmla="*/ 1169605 h 6750795"/>
              <a:gd name="connsiteX2915" fmla="*/ 3662669 w 6630249"/>
              <a:gd name="connsiteY2915" fmla="*/ 1179866 h 6750795"/>
              <a:gd name="connsiteX2916" fmla="*/ 3639585 w 6630249"/>
              <a:gd name="connsiteY2916" fmla="*/ 1169605 h 6750795"/>
              <a:gd name="connsiteX2917" fmla="*/ 3157384 w 6630249"/>
              <a:gd name="connsiteY2917" fmla="*/ 1169591 h 6750795"/>
              <a:gd name="connsiteX2918" fmla="*/ 3108652 w 6630249"/>
              <a:gd name="connsiteY2918" fmla="*/ 1274752 h 6750795"/>
              <a:gd name="connsiteX2919" fmla="*/ 3113781 w 6630249"/>
              <a:gd name="connsiteY2919" fmla="*/ 1277316 h 6750795"/>
              <a:gd name="connsiteX2920" fmla="*/ 3113781 w 6630249"/>
              <a:gd name="connsiteY2920" fmla="*/ 1285011 h 6750795"/>
              <a:gd name="connsiteX2921" fmla="*/ 3108652 w 6630249"/>
              <a:gd name="connsiteY2921" fmla="*/ 1282446 h 6750795"/>
              <a:gd name="connsiteX2922" fmla="*/ 3131736 w 6630249"/>
              <a:gd name="connsiteY2922" fmla="*/ 1364523 h 6750795"/>
              <a:gd name="connsiteX2923" fmla="*/ 3136865 w 6630249"/>
              <a:gd name="connsiteY2923" fmla="*/ 1420950 h 6750795"/>
              <a:gd name="connsiteX2924" fmla="*/ 3157384 w 6630249"/>
              <a:gd name="connsiteY2924" fmla="*/ 1300400 h 6750795"/>
              <a:gd name="connsiteX2925" fmla="*/ 3154819 w 6630249"/>
              <a:gd name="connsiteY2925" fmla="*/ 1300400 h 6750795"/>
              <a:gd name="connsiteX2926" fmla="*/ 3154819 w 6630249"/>
              <a:gd name="connsiteY2926" fmla="*/ 1295271 h 6750795"/>
              <a:gd name="connsiteX2927" fmla="*/ 3157384 w 6630249"/>
              <a:gd name="connsiteY2927" fmla="*/ 1295271 h 6750795"/>
              <a:gd name="connsiteX2928" fmla="*/ 3159949 w 6630249"/>
              <a:gd name="connsiteY2928" fmla="*/ 1241408 h 6750795"/>
              <a:gd name="connsiteX2929" fmla="*/ 3157384 w 6630249"/>
              <a:gd name="connsiteY2929" fmla="*/ 1169591 h 6750795"/>
              <a:gd name="connsiteX2930" fmla="*/ 5009237 w 6630249"/>
              <a:gd name="connsiteY2930" fmla="*/ 1161919 h 6750795"/>
              <a:gd name="connsiteX2931" fmla="*/ 5016932 w 6630249"/>
              <a:gd name="connsiteY2931" fmla="*/ 1169614 h 6750795"/>
              <a:gd name="connsiteX2932" fmla="*/ 5004108 w 6630249"/>
              <a:gd name="connsiteY2932" fmla="*/ 1169614 h 6750795"/>
              <a:gd name="connsiteX2933" fmla="*/ 5006673 w 6630249"/>
              <a:gd name="connsiteY2933" fmla="*/ 1164485 h 6750795"/>
              <a:gd name="connsiteX2934" fmla="*/ 5009237 w 6630249"/>
              <a:gd name="connsiteY2934" fmla="*/ 1161919 h 6750795"/>
              <a:gd name="connsiteX2935" fmla="*/ 4442396 w 6630249"/>
              <a:gd name="connsiteY2935" fmla="*/ 1156808 h 6750795"/>
              <a:gd name="connsiteX2936" fmla="*/ 4455220 w 6630249"/>
              <a:gd name="connsiteY2936" fmla="*/ 1161938 h 6750795"/>
              <a:gd name="connsiteX2937" fmla="*/ 4442396 w 6630249"/>
              <a:gd name="connsiteY2937" fmla="*/ 1156808 h 6750795"/>
              <a:gd name="connsiteX2938" fmla="*/ 5161528 w 6630249"/>
              <a:gd name="connsiteY2938" fmla="*/ 1151358 h 6750795"/>
              <a:gd name="connsiteX2939" fmla="*/ 5168260 w 6630249"/>
              <a:gd name="connsiteY2939" fmla="*/ 1151678 h 6750795"/>
              <a:gd name="connsiteX2940" fmla="*/ 5165697 w 6630249"/>
              <a:gd name="connsiteY2940" fmla="*/ 1156808 h 6750795"/>
              <a:gd name="connsiteX2941" fmla="*/ 5174031 w 6630249"/>
              <a:gd name="connsiteY2941" fmla="*/ 1159694 h 6750795"/>
              <a:gd name="connsiteX2942" fmla="*/ 5178520 w 6630249"/>
              <a:gd name="connsiteY2942" fmla="*/ 1164503 h 6750795"/>
              <a:gd name="connsiteX2943" fmla="*/ 5170184 w 6630249"/>
              <a:gd name="connsiteY2943" fmla="*/ 1165466 h 6750795"/>
              <a:gd name="connsiteX2944" fmla="*/ 5165696 w 6630249"/>
              <a:gd name="connsiteY2944" fmla="*/ 1156808 h 6750795"/>
              <a:gd name="connsiteX2945" fmla="*/ 5160566 w 6630249"/>
              <a:gd name="connsiteY2945" fmla="*/ 1156808 h 6750795"/>
              <a:gd name="connsiteX2946" fmla="*/ 5161528 w 6630249"/>
              <a:gd name="connsiteY2946" fmla="*/ 1151358 h 6750795"/>
              <a:gd name="connsiteX2947" fmla="*/ 3825499 w 6630249"/>
              <a:gd name="connsiteY2947" fmla="*/ 1143994 h 6750795"/>
              <a:gd name="connsiteX2948" fmla="*/ 3829066 w 6630249"/>
              <a:gd name="connsiteY2948" fmla="*/ 1145557 h 6750795"/>
              <a:gd name="connsiteX2949" fmla="*/ 3834516 w 6630249"/>
              <a:gd name="connsiteY2949" fmla="*/ 1146519 h 6750795"/>
              <a:gd name="connsiteX2950" fmla="*/ 3824257 w 6630249"/>
              <a:gd name="connsiteY2950" fmla="*/ 1151648 h 6750795"/>
              <a:gd name="connsiteX2951" fmla="*/ 3821692 w 6630249"/>
              <a:gd name="connsiteY2951" fmla="*/ 1146519 h 6750795"/>
              <a:gd name="connsiteX2952" fmla="*/ 3825499 w 6630249"/>
              <a:gd name="connsiteY2952" fmla="*/ 1143994 h 6750795"/>
              <a:gd name="connsiteX2953" fmla="*/ 3783218 w 6630249"/>
              <a:gd name="connsiteY2953" fmla="*/ 1141391 h 6750795"/>
              <a:gd name="connsiteX2954" fmla="*/ 3790913 w 6630249"/>
              <a:gd name="connsiteY2954" fmla="*/ 1141391 h 6750795"/>
              <a:gd name="connsiteX2955" fmla="*/ 3785783 w 6630249"/>
              <a:gd name="connsiteY2955" fmla="*/ 1143956 h 6750795"/>
              <a:gd name="connsiteX2956" fmla="*/ 3793478 w 6630249"/>
              <a:gd name="connsiteY2956" fmla="*/ 1151651 h 6750795"/>
              <a:gd name="connsiteX2957" fmla="*/ 3780653 w 6630249"/>
              <a:gd name="connsiteY2957" fmla="*/ 1154215 h 6750795"/>
              <a:gd name="connsiteX2958" fmla="*/ 3775524 w 6630249"/>
              <a:gd name="connsiteY2958" fmla="*/ 1143956 h 6750795"/>
              <a:gd name="connsiteX2959" fmla="*/ 3780653 w 6630249"/>
              <a:gd name="connsiteY2959" fmla="*/ 1146521 h 6750795"/>
              <a:gd name="connsiteX2960" fmla="*/ 3783218 w 6630249"/>
              <a:gd name="connsiteY2960" fmla="*/ 1141391 h 6750795"/>
              <a:gd name="connsiteX2961" fmla="*/ 3650806 w 6630249"/>
              <a:gd name="connsiteY2961" fmla="*/ 1137865 h 6750795"/>
              <a:gd name="connsiteX2962" fmla="*/ 3654973 w 6630249"/>
              <a:gd name="connsiteY2962" fmla="*/ 1143957 h 6750795"/>
              <a:gd name="connsiteX2963" fmla="*/ 3644714 w 6630249"/>
              <a:gd name="connsiteY2963" fmla="*/ 1141392 h 6750795"/>
              <a:gd name="connsiteX2964" fmla="*/ 3650806 w 6630249"/>
              <a:gd name="connsiteY2964" fmla="*/ 1137865 h 6750795"/>
              <a:gd name="connsiteX2965" fmla="*/ 3657539 w 6630249"/>
              <a:gd name="connsiteY2965" fmla="*/ 1123437 h 6750795"/>
              <a:gd name="connsiteX2966" fmla="*/ 3667798 w 6630249"/>
              <a:gd name="connsiteY2966" fmla="*/ 1133698 h 6750795"/>
              <a:gd name="connsiteX2967" fmla="*/ 3657539 w 6630249"/>
              <a:gd name="connsiteY2967" fmla="*/ 1123437 h 6750795"/>
              <a:gd name="connsiteX2968" fmla="*/ 5981331 w 6630249"/>
              <a:gd name="connsiteY2968" fmla="*/ 1118333 h 6750795"/>
              <a:gd name="connsiteX2969" fmla="*/ 5981331 w 6630249"/>
              <a:gd name="connsiteY2969" fmla="*/ 1146548 h 6750795"/>
              <a:gd name="connsiteX2970" fmla="*/ 5973636 w 6630249"/>
              <a:gd name="connsiteY2970" fmla="*/ 1123463 h 6750795"/>
              <a:gd name="connsiteX2971" fmla="*/ 5981331 w 6630249"/>
              <a:gd name="connsiteY2971" fmla="*/ 1118333 h 6750795"/>
              <a:gd name="connsiteX2972" fmla="*/ 3782257 w 6630249"/>
              <a:gd name="connsiteY2972" fmla="*/ 1117022 h 6750795"/>
              <a:gd name="connsiteX2973" fmla="*/ 3788349 w 6630249"/>
              <a:gd name="connsiteY2973" fmla="*/ 1120869 h 6750795"/>
              <a:gd name="connsiteX2974" fmla="*/ 3778089 w 6630249"/>
              <a:gd name="connsiteY2974" fmla="*/ 1120869 h 6750795"/>
              <a:gd name="connsiteX2975" fmla="*/ 3782257 w 6630249"/>
              <a:gd name="connsiteY2975" fmla="*/ 1117022 h 6750795"/>
              <a:gd name="connsiteX2976" fmla="*/ 6366066 w 6630249"/>
              <a:gd name="connsiteY2976" fmla="*/ 1115768 h 6750795"/>
              <a:gd name="connsiteX2977" fmla="*/ 6371195 w 6630249"/>
              <a:gd name="connsiteY2977" fmla="*/ 1115768 h 6750795"/>
              <a:gd name="connsiteX2978" fmla="*/ 6371195 w 6630249"/>
              <a:gd name="connsiteY2978" fmla="*/ 1120899 h 6750795"/>
              <a:gd name="connsiteX2979" fmla="*/ 6366066 w 6630249"/>
              <a:gd name="connsiteY2979" fmla="*/ 1120899 h 6750795"/>
              <a:gd name="connsiteX2980" fmla="*/ 6366066 w 6630249"/>
              <a:gd name="connsiteY2980" fmla="*/ 1115768 h 6750795"/>
              <a:gd name="connsiteX2981" fmla="*/ 2923979 w 6630249"/>
              <a:gd name="connsiteY2981" fmla="*/ 1115728 h 6750795"/>
              <a:gd name="connsiteX2982" fmla="*/ 3016156 w 6630249"/>
              <a:gd name="connsiteY2982" fmla="*/ 1184271 h 6750795"/>
              <a:gd name="connsiteX2983" fmla="*/ 3016315 w 6630249"/>
              <a:gd name="connsiteY2983" fmla="*/ 1184980 h 6750795"/>
              <a:gd name="connsiteX2984" fmla="*/ 2966299 w 6630249"/>
              <a:gd name="connsiteY2984" fmla="*/ 1148751 h 6750795"/>
              <a:gd name="connsiteX2985" fmla="*/ 2924075 w 6630249"/>
              <a:gd name="connsiteY2985" fmla="*/ 1116540 h 6750795"/>
              <a:gd name="connsiteX2986" fmla="*/ 2915643 w 6630249"/>
              <a:gd name="connsiteY2986" fmla="*/ 1107391 h 6750795"/>
              <a:gd name="connsiteX2987" fmla="*/ 2916284 w 6630249"/>
              <a:gd name="connsiteY2987" fmla="*/ 1108033 h 6750795"/>
              <a:gd name="connsiteX2988" fmla="*/ 2916695 w 6630249"/>
              <a:gd name="connsiteY2988" fmla="*/ 1110911 h 6750795"/>
              <a:gd name="connsiteX2989" fmla="*/ 2916284 w 6630249"/>
              <a:gd name="connsiteY2989" fmla="*/ 1110598 h 6750795"/>
              <a:gd name="connsiteX2990" fmla="*/ 4451373 w 6630249"/>
              <a:gd name="connsiteY2990" fmla="*/ 1106149 h 6750795"/>
              <a:gd name="connsiteX2991" fmla="*/ 4455220 w 6630249"/>
              <a:gd name="connsiteY2991" fmla="*/ 1108073 h 6750795"/>
              <a:gd name="connsiteX2992" fmla="*/ 4447525 w 6630249"/>
              <a:gd name="connsiteY2992" fmla="*/ 1108073 h 6750795"/>
              <a:gd name="connsiteX2993" fmla="*/ 4451373 w 6630249"/>
              <a:gd name="connsiteY2993" fmla="*/ 1106149 h 6750795"/>
              <a:gd name="connsiteX2994" fmla="*/ 5001542 w 6630249"/>
              <a:gd name="connsiteY2994" fmla="*/ 1100379 h 6750795"/>
              <a:gd name="connsiteX2995" fmla="*/ 4998978 w 6630249"/>
              <a:gd name="connsiteY2995" fmla="*/ 1108073 h 6750795"/>
              <a:gd name="connsiteX2996" fmla="*/ 4998978 w 6630249"/>
              <a:gd name="connsiteY2996" fmla="*/ 1102944 h 6750795"/>
              <a:gd name="connsiteX2997" fmla="*/ 5001542 w 6630249"/>
              <a:gd name="connsiteY2997" fmla="*/ 1100379 h 6750795"/>
              <a:gd name="connsiteX2998" fmla="*/ 5096444 w 6630249"/>
              <a:gd name="connsiteY2998" fmla="*/ 1097796 h 6750795"/>
              <a:gd name="connsiteX2999" fmla="*/ 5096444 w 6630249"/>
              <a:gd name="connsiteY2999" fmla="*/ 1097796 h 6750795"/>
              <a:gd name="connsiteX3000" fmla="*/ 3624195 w 6630249"/>
              <a:gd name="connsiteY3000" fmla="*/ 1097788 h 6750795"/>
              <a:gd name="connsiteX3001" fmla="*/ 3637020 w 6630249"/>
              <a:gd name="connsiteY3001" fmla="*/ 1108047 h 6750795"/>
              <a:gd name="connsiteX3002" fmla="*/ 3626760 w 6630249"/>
              <a:gd name="connsiteY3002" fmla="*/ 1113177 h 6750795"/>
              <a:gd name="connsiteX3003" fmla="*/ 3624195 w 6630249"/>
              <a:gd name="connsiteY3003" fmla="*/ 1097788 h 6750795"/>
              <a:gd name="connsiteX3004" fmla="*/ 3637019 w 6630249"/>
              <a:gd name="connsiteY3004" fmla="*/ 1090094 h 6750795"/>
              <a:gd name="connsiteX3005" fmla="*/ 3652409 w 6630249"/>
              <a:gd name="connsiteY3005" fmla="*/ 1100353 h 6750795"/>
              <a:gd name="connsiteX3006" fmla="*/ 3637019 w 6630249"/>
              <a:gd name="connsiteY3006" fmla="*/ 1090094 h 6750795"/>
              <a:gd name="connsiteX3007" fmla="*/ 5369044 w 6630249"/>
              <a:gd name="connsiteY3007" fmla="*/ 1089799 h 6750795"/>
              <a:gd name="connsiteX3008" fmla="*/ 5368322 w 6630249"/>
              <a:gd name="connsiteY3008" fmla="*/ 1092685 h 6750795"/>
              <a:gd name="connsiteX3009" fmla="*/ 5369044 w 6630249"/>
              <a:gd name="connsiteY3009" fmla="*/ 1089799 h 6750795"/>
              <a:gd name="connsiteX3010" fmla="*/ 3803737 w 6630249"/>
              <a:gd name="connsiteY3010" fmla="*/ 1087529 h 6750795"/>
              <a:gd name="connsiteX3011" fmla="*/ 3813997 w 6630249"/>
              <a:gd name="connsiteY3011" fmla="*/ 1092659 h 6750795"/>
              <a:gd name="connsiteX3012" fmla="*/ 3803737 w 6630249"/>
              <a:gd name="connsiteY3012" fmla="*/ 1102918 h 6750795"/>
              <a:gd name="connsiteX3013" fmla="*/ 3803737 w 6630249"/>
              <a:gd name="connsiteY3013" fmla="*/ 1087529 h 6750795"/>
              <a:gd name="connsiteX3014" fmla="*/ 5478613 w 6630249"/>
              <a:gd name="connsiteY3014" fmla="*/ 1082424 h 6750795"/>
              <a:gd name="connsiteX3015" fmla="*/ 5483742 w 6630249"/>
              <a:gd name="connsiteY3015" fmla="*/ 1087554 h 6750795"/>
              <a:gd name="connsiteX3016" fmla="*/ 5481178 w 6630249"/>
              <a:gd name="connsiteY3016" fmla="*/ 1090119 h 6750795"/>
              <a:gd name="connsiteX3017" fmla="*/ 5478613 w 6630249"/>
              <a:gd name="connsiteY3017" fmla="*/ 1082424 h 6750795"/>
              <a:gd name="connsiteX3018" fmla="*/ 3647280 w 6630249"/>
              <a:gd name="connsiteY3018" fmla="*/ 1077269 h 6750795"/>
              <a:gd name="connsiteX3019" fmla="*/ 3649844 w 6630249"/>
              <a:gd name="connsiteY3019" fmla="*/ 1082399 h 6750795"/>
              <a:gd name="connsiteX3020" fmla="*/ 3637020 w 6630249"/>
              <a:gd name="connsiteY3020" fmla="*/ 1079834 h 6750795"/>
              <a:gd name="connsiteX3021" fmla="*/ 3647280 w 6630249"/>
              <a:gd name="connsiteY3021" fmla="*/ 1077269 h 6750795"/>
              <a:gd name="connsiteX3022" fmla="*/ 3257416 w 6630249"/>
              <a:gd name="connsiteY3022" fmla="*/ 1077255 h 6750795"/>
              <a:gd name="connsiteX3023" fmla="*/ 3259980 w 6630249"/>
              <a:gd name="connsiteY3023" fmla="*/ 1133682 h 6750795"/>
              <a:gd name="connsiteX3024" fmla="*/ 3255827 w 6630249"/>
              <a:gd name="connsiteY3024" fmla="*/ 1081769 h 6750795"/>
              <a:gd name="connsiteX3025" fmla="*/ 6384020 w 6630249"/>
              <a:gd name="connsiteY3025" fmla="*/ 1049079 h 6750795"/>
              <a:gd name="connsiteX3026" fmla="*/ 6389149 w 6630249"/>
              <a:gd name="connsiteY3026" fmla="*/ 1049079 h 6750795"/>
              <a:gd name="connsiteX3027" fmla="*/ 6389149 w 6630249"/>
              <a:gd name="connsiteY3027" fmla="*/ 1054210 h 6750795"/>
              <a:gd name="connsiteX3028" fmla="*/ 6384020 w 6630249"/>
              <a:gd name="connsiteY3028" fmla="*/ 1054210 h 6750795"/>
              <a:gd name="connsiteX3029" fmla="*/ 6384020 w 6630249"/>
              <a:gd name="connsiteY3029" fmla="*/ 1049079 h 6750795"/>
              <a:gd name="connsiteX3030" fmla="*/ 4683496 w 6630249"/>
              <a:gd name="connsiteY3030" fmla="*/ 1046490 h 6750795"/>
              <a:gd name="connsiteX3031" fmla="*/ 4709145 w 6630249"/>
              <a:gd name="connsiteY3031" fmla="*/ 1074703 h 6750795"/>
              <a:gd name="connsiteX3032" fmla="*/ 4678366 w 6630249"/>
              <a:gd name="connsiteY3032" fmla="*/ 1097789 h 6750795"/>
              <a:gd name="connsiteX3033" fmla="*/ 4668106 w 6630249"/>
              <a:gd name="connsiteY3033" fmla="*/ 1090093 h 6750795"/>
              <a:gd name="connsiteX3034" fmla="*/ 4665541 w 6630249"/>
              <a:gd name="connsiteY3034" fmla="*/ 1069573 h 6750795"/>
              <a:gd name="connsiteX3035" fmla="*/ 4670671 w 6630249"/>
              <a:gd name="connsiteY3035" fmla="*/ 1056749 h 6750795"/>
              <a:gd name="connsiteX3036" fmla="*/ 4683496 w 6630249"/>
              <a:gd name="connsiteY3036" fmla="*/ 1046490 h 6750795"/>
              <a:gd name="connsiteX3037" fmla="*/ 3726790 w 6630249"/>
              <a:gd name="connsiteY3037" fmla="*/ 1038796 h 6750795"/>
              <a:gd name="connsiteX3038" fmla="*/ 3726790 w 6630249"/>
              <a:gd name="connsiteY3038" fmla="*/ 1046490 h 6750795"/>
              <a:gd name="connsiteX3039" fmla="*/ 3716531 w 6630249"/>
              <a:gd name="connsiteY3039" fmla="*/ 1043926 h 6750795"/>
              <a:gd name="connsiteX3040" fmla="*/ 3726790 w 6630249"/>
              <a:gd name="connsiteY3040" fmla="*/ 1038796 h 6750795"/>
              <a:gd name="connsiteX3041" fmla="*/ 3831631 w 6630249"/>
              <a:gd name="connsiteY3041" fmla="*/ 1021804 h 6750795"/>
              <a:gd name="connsiteX3042" fmla="*/ 3842211 w 6630249"/>
              <a:gd name="connsiteY3042" fmla="*/ 1023406 h 6750795"/>
              <a:gd name="connsiteX3043" fmla="*/ 3837081 w 6630249"/>
              <a:gd name="connsiteY3043" fmla="*/ 1033667 h 6750795"/>
              <a:gd name="connsiteX3044" fmla="*/ 3826822 w 6630249"/>
              <a:gd name="connsiteY3044" fmla="*/ 1025972 h 6750795"/>
              <a:gd name="connsiteX3045" fmla="*/ 3831631 w 6630249"/>
              <a:gd name="connsiteY3045" fmla="*/ 1021804 h 6750795"/>
              <a:gd name="connsiteX3046" fmla="*/ 3755005 w 6630249"/>
              <a:gd name="connsiteY3046" fmla="*/ 1018277 h 6750795"/>
              <a:gd name="connsiteX3047" fmla="*/ 3744745 w 6630249"/>
              <a:gd name="connsiteY3047" fmla="*/ 1028537 h 6750795"/>
              <a:gd name="connsiteX3048" fmla="*/ 3755005 w 6630249"/>
              <a:gd name="connsiteY3048" fmla="*/ 1018277 h 6750795"/>
              <a:gd name="connsiteX3049" fmla="*/ 2693139 w 6630249"/>
              <a:gd name="connsiteY3049" fmla="*/ 1013173 h 6750795"/>
              <a:gd name="connsiteX3050" fmla="*/ 2675185 w 6630249"/>
              <a:gd name="connsiteY3050" fmla="*/ 1074731 h 6750795"/>
              <a:gd name="connsiteX3051" fmla="*/ 2639276 w 6630249"/>
              <a:gd name="connsiteY3051" fmla="*/ 1120901 h 6750795"/>
              <a:gd name="connsiteX3052" fmla="*/ 2644406 w 6630249"/>
              <a:gd name="connsiteY3052" fmla="*/ 1118336 h 6750795"/>
              <a:gd name="connsiteX3053" fmla="*/ 2587978 w 6630249"/>
              <a:gd name="connsiteY3053" fmla="*/ 1226064 h 6750795"/>
              <a:gd name="connsiteX3054" fmla="*/ 2549505 w 6630249"/>
              <a:gd name="connsiteY3054" fmla="*/ 1161941 h 6750795"/>
              <a:gd name="connsiteX3055" fmla="*/ 2582848 w 6630249"/>
              <a:gd name="connsiteY3055" fmla="*/ 1149116 h 6750795"/>
              <a:gd name="connsiteX3056" fmla="*/ 2659795 w 6630249"/>
              <a:gd name="connsiteY3056" fmla="*/ 1028562 h 6750795"/>
              <a:gd name="connsiteX3057" fmla="*/ 2693139 w 6630249"/>
              <a:gd name="connsiteY3057" fmla="*/ 1013173 h 6750795"/>
              <a:gd name="connsiteX3058" fmla="*/ 4411616 w 6630249"/>
              <a:gd name="connsiteY3058" fmla="*/ 1008017 h 6750795"/>
              <a:gd name="connsiteX3059" fmla="*/ 4411616 w 6630249"/>
              <a:gd name="connsiteY3059" fmla="*/ 1018277 h 6750795"/>
              <a:gd name="connsiteX3060" fmla="*/ 4411616 w 6630249"/>
              <a:gd name="connsiteY3060" fmla="*/ 1008017 h 6750795"/>
              <a:gd name="connsiteX3061" fmla="*/ 5646172 w 6630249"/>
              <a:gd name="connsiteY3061" fmla="*/ 1000105 h 6750795"/>
              <a:gd name="connsiteX3062" fmla="*/ 5653025 w 6630249"/>
              <a:gd name="connsiteY3062" fmla="*/ 1008040 h 6750795"/>
              <a:gd name="connsiteX3063" fmla="*/ 5645330 w 6630249"/>
              <a:gd name="connsiteY3063" fmla="*/ 1031125 h 6750795"/>
              <a:gd name="connsiteX3064" fmla="*/ 5632506 w 6630249"/>
              <a:gd name="connsiteY3064" fmla="*/ 1025995 h 6750795"/>
              <a:gd name="connsiteX3065" fmla="*/ 5640200 w 6630249"/>
              <a:gd name="connsiteY3065" fmla="*/ 1000345 h 6750795"/>
              <a:gd name="connsiteX3066" fmla="*/ 5646172 w 6630249"/>
              <a:gd name="connsiteY3066" fmla="*/ 1000105 h 6750795"/>
              <a:gd name="connsiteX3067" fmla="*/ 3698577 w 6630249"/>
              <a:gd name="connsiteY3067" fmla="*/ 997757 h 6750795"/>
              <a:gd name="connsiteX3068" fmla="*/ 3703706 w 6630249"/>
              <a:gd name="connsiteY3068" fmla="*/ 1002888 h 6750795"/>
              <a:gd name="connsiteX3069" fmla="*/ 3698577 w 6630249"/>
              <a:gd name="connsiteY3069" fmla="*/ 997757 h 6750795"/>
              <a:gd name="connsiteX3070" fmla="*/ 3241403 w 6630249"/>
              <a:gd name="connsiteY3070" fmla="*/ 989826 h 6750795"/>
              <a:gd name="connsiteX3071" fmla="*/ 3242346 w 6630249"/>
              <a:gd name="connsiteY3071" fmla="*/ 993255 h 6750795"/>
              <a:gd name="connsiteX3072" fmla="*/ 3244828 w 6630249"/>
              <a:gd name="connsiteY3072" fmla="*/ 1008466 h 6750795"/>
              <a:gd name="connsiteX3073" fmla="*/ 5306765 w 6630249"/>
              <a:gd name="connsiteY3073" fmla="*/ 984940 h 6750795"/>
              <a:gd name="connsiteX3074" fmla="*/ 5286245 w 6630249"/>
              <a:gd name="connsiteY3074" fmla="*/ 1025978 h 6750795"/>
              <a:gd name="connsiteX3075" fmla="*/ 5306765 w 6630249"/>
              <a:gd name="connsiteY3075" fmla="*/ 984940 h 6750795"/>
              <a:gd name="connsiteX3076" fmla="*/ 5637636 w 6630249"/>
              <a:gd name="connsiteY3076" fmla="*/ 977245 h 6750795"/>
              <a:gd name="connsiteX3077" fmla="*/ 5622247 w 6630249"/>
              <a:gd name="connsiteY3077" fmla="*/ 995199 h 6750795"/>
              <a:gd name="connsiteX3078" fmla="*/ 5637636 w 6630249"/>
              <a:gd name="connsiteY3078" fmla="*/ 977245 h 6750795"/>
              <a:gd name="connsiteX3079" fmla="*/ 5519651 w 6630249"/>
              <a:gd name="connsiteY3079" fmla="*/ 964437 h 6750795"/>
              <a:gd name="connsiteX3080" fmla="*/ 5504262 w 6630249"/>
              <a:gd name="connsiteY3080" fmla="*/ 974697 h 6750795"/>
              <a:gd name="connsiteX3081" fmla="*/ 5504262 w 6630249"/>
              <a:gd name="connsiteY3081" fmla="*/ 967002 h 6750795"/>
              <a:gd name="connsiteX3082" fmla="*/ 5519651 w 6630249"/>
              <a:gd name="connsiteY3082" fmla="*/ 964437 h 6750795"/>
              <a:gd name="connsiteX3083" fmla="*/ 3629324 w 6630249"/>
              <a:gd name="connsiteY3083" fmla="*/ 954150 h 6750795"/>
              <a:gd name="connsiteX3084" fmla="*/ 3631890 w 6630249"/>
              <a:gd name="connsiteY3084" fmla="*/ 959283 h 6750795"/>
              <a:gd name="connsiteX3085" fmla="*/ 3629324 w 6630249"/>
              <a:gd name="connsiteY3085" fmla="*/ 954150 h 6750795"/>
              <a:gd name="connsiteX3086" fmla="*/ 3095827 w 6630249"/>
              <a:gd name="connsiteY3086" fmla="*/ 954139 h 6750795"/>
              <a:gd name="connsiteX3087" fmla="*/ 3083002 w 6630249"/>
              <a:gd name="connsiteY3087" fmla="*/ 1131117 h 6750795"/>
              <a:gd name="connsiteX3088" fmla="*/ 3072743 w 6630249"/>
              <a:gd name="connsiteY3088" fmla="*/ 1226019 h 6750795"/>
              <a:gd name="connsiteX3089" fmla="*/ 3100957 w 6630249"/>
              <a:gd name="connsiteY3089" fmla="*/ 1267057 h 6750795"/>
              <a:gd name="connsiteX3090" fmla="*/ 3154819 w 6630249"/>
              <a:gd name="connsiteY3090" fmla="*/ 1151637 h 6750795"/>
              <a:gd name="connsiteX3091" fmla="*/ 3108652 w 6630249"/>
              <a:gd name="connsiteY3091" fmla="*/ 984920 h 6750795"/>
              <a:gd name="connsiteX3092" fmla="*/ 3095827 w 6630249"/>
              <a:gd name="connsiteY3092" fmla="*/ 954139 h 6750795"/>
              <a:gd name="connsiteX3093" fmla="*/ 5178520 w 6630249"/>
              <a:gd name="connsiteY3093" fmla="*/ 951603 h 6750795"/>
              <a:gd name="connsiteX3094" fmla="*/ 5173391 w 6630249"/>
              <a:gd name="connsiteY3094" fmla="*/ 967001 h 6750795"/>
              <a:gd name="connsiteX3095" fmla="*/ 5178520 w 6630249"/>
              <a:gd name="connsiteY3095" fmla="*/ 951603 h 6750795"/>
              <a:gd name="connsiteX3096" fmla="*/ 3678058 w 6630249"/>
              <a:gd name="connsiteY3096" fmla="*/ 951585 h 6750795"/>
              <a:gd name="connsiteX3097" fmla="*/ 3667798 w 6630249"/>
              <a:gd name="connsiteY3097" fmla="*/ 961849 h 6750795"/>
              <a:gd name="connsiteX3098" fmla="*/ 3678058 w 6630249"/>
              <a:gd name="connsiteY3098" fmla="*/ 951585 h 6750795"/>
              <a:gd name="connsiteX3099" fmla="*/ 3088132 w 6630249"/>
              <a:gd name="connsiteY3099" fmla="*/ 938749 h 6750795"/>
              <a:gd name="connsiteX3100" fmla="*/ 3085567 w 6630249"/>
              <a:gd name="connsiteY3100" fmla="*/ 1069559 h 6750795"/>
              <a:gd name="connsiteX3101" fmla="*/ 3090697 w 6630249"/>
              <a:gd name="connsiteY3101" fmla="*/ 943879 h 6750795"/>
              <a:gd name="connsiteX3102" fmla="*/ 3088132 w 6630249"/>
              <a:gd name="connsiteY3102" fmla="*/ 938749 h 6750795"/>
              <a:gd name="connsiteX3103" fmla="*/ 6381455 w 6630249"/>
              <a:gd name="connsiteY3103" fmla="*/ 936854 h 6750795"/>
              <a:gd name="connsiteX3104" fmla="*/ 6384020 w 6630249"/>
              <a:gd name="connsiteY3104" fmla="*/ 938778 h 6750795"/>
              <a:gd name="connsiteX3105" fmla="*/ 6378891 w 6630249"/>
              <a:gd name="connsiteY3105" fmla="*/ 938778 h 6750795"/>
              <a:gd name="connsiteX3106" fmla="*/ 6381455 w 6630249"/>
              <a:gd name="connsiteY3106" fmla="*/ 936854 h 6750795"/>
              <a:gd name="connsiteX3107" fmla="*/ 3226637 w 6630249"/>
              <a:gd name="connsiteY3107" fmla="*/ 936185 h 6750795"/>
              <a:gd name="connsiteX3108" fmla="*/ 3241385 w 6630249"/>
              <a:gd name="connsiteY3108" fmla="*/ 989729 h 6750795"/>
              <a:gd name="connsiteX3109" fmla="*/ 3241403 w 6630249"/>
              <a:gd name="connsiteY3109" fmla="*/ 989826 h 6750795"/>
              <a:gd name="connsiteX3110" fmla="*/ 2205810 w 6630249"/>
              <a:gd name="connsiteY3110" fmla="*/ 908003 h 6750795"/>
              <a:gd name="connsiteX3111" fmla="*/ 2210939 w 6630249"/>
              <a:gd name="connsiteY3111" fmla="*/ 915699 h 6750795"/>
              <a:gd name="connsiteX3112" fmla="*/ 2203245 w 6630249"/>
              <a:gd name="connsiteY3112" fmla="*/ 915699 h 6750795"/>
              <a:gd name="connsiteX3113" fmla="*/ 2205810 w 6630249"/>
              <a:gd name="connsiteY3113" fmla="*/ 908003 h 6750795"/>
              <a:gd name="connsiteX3114" fmla="*/ 5862946 w 6630249"/>
              <a:gd name="connsiteY3114" fmla="*/ 896297 h 6750795"/>
              <a:gd name="connsiteX3115" fmla="*/ 5860782 w 6630249"/>
              <a:gd name="connsiteY3115" fmla="*/ 897741 h 6750795"/>
              <a:gd name="connsiteX3116" fmla="*/ 5862946 w 6630249"/>
              <a:gd name="connsiteY3116" fmla="*/ 896297 h 6750795"/>
              <a:gd name="connsiteX3117" fmla="*/ 5193910 w 6630249"/>
              <a:gd name="connsiteY3117" fmla="*/ 887482 h 6750795"/>
              <a:gd name="connsiteX3118" fmla="*/ 5201604 w 6630249"/>
              <a:gd name="connsiteY3118" fmla="*/ 895176 h 6750795"/>
              <a:gd name="connsiteX3119" fmla="*/ 5193910 w 6630249"/>
              <a:gd name="connsiteY3119" fmla="*/ 895176 h 6750795"/>
              <a:gd name="connsiteX3120" fmla="*/ 5193910 w 6630249"/>
              <a:gd name="connsiteY3120" fmla="*/ 887482 h 6750795"/>
              <a:gd name="connsiteX3121" fmla="*/ 2228894 w 6630249"/>
              <a:gd name="connsiteY3121" fmla="*/ 882353 h 6750795"/>
              <a:gd name="connsiteX3122" fmla="*/ 2228894 w 6630249"/>
              <a:gd name="connsiteY3122" fmla="*/ 902872 h 6750795"/>
              <a:gd name="connsiteX3123" fmla="*/ 2218634 w 6630249"/>
              <a:gd name="connsiteY3123" fmla="*/ 892612 h 6750795"/>
              <a:gd name="connsiteX3124" fmla="*/ 2216069 w 6630249"/>
              <a:gd name="connsiteY3124" fmla="*/ 905437 h 6750795"/>
              <a:gd name="connsiteX3125" fmla="*/ 2203245 w 6630249"/>
              <a:gd name="connsiteY3125" fmla="*/ 900307 h 6750795"/>
              <a:gd name="connsiteX3126" fmla="*/ 2205810 w 6630249"/>
              <a:gd name="connsiteY3126" fmla="*/ 887483 h 6750795"/>
              <a:gd name="connsiteX3127" fmla="*/ 2208374 w 6630249"/>
              <a:gd name="connsiteY3127" fmla="*/ 900307 h 6750795"/>
              <a:gd name="connsiteX3128" fmla="*/ 2228894 w 6630249"/>
              <a:gd name="connsiteY3128" fmla="*/ 882353 h 6750795"/>
              <a:gd name="connsiteX3129" fmla="*/ 4893817 w 6630249"/>
              <a:gd name="connsiteY3129" fmla="*/ 882031 h 6750795"/>
              <a:gd name="connsiteX3130" fmla="*/ 4893817 w 6630249"/>
              <a:gd name="connsiteY3130" fmla="*/ 892612 h 6750795"/>
              <a:gd name="connsiteX3131" fmla="*/ 4893817 w 6630249"/>
              <a:gd name="connsiteY3131" fmla="*/ 882031 h 6750795"/>
              <a:gd name="connsiteX3132" fmla="*/ 2408436 w 6630249"/>
              <a:gd name="connsiteY3132" fmla="*/ 879789 h 6750795"/>
              <a:gd name="connsiteX3133" fmla="*/ 2413565 w 6630249"/>
              <a:gd name="connsiteY3133" fmla="*/ 884920 h 6750795"/>
              <a:gd name="connsiteX3134" fmla="*/ 2411002 w 6630249"/>
              <a:gd name="connsiteY3134" fmla="*/ 887484 h 6750795"/>
              <a:gd name="connsiteX3135" fmla="*/ 2405871 w 6630249"/>
              <a:gd name="connsiteY3135" fmla="*/ 887484 h 6750795"/>
              <a:gd name="connsiteX3136" fmla="*/ 2408436 w 6630249"/>
              <a:gd name="connsiteY3136" fmla="*/ 879789 h 6750795"/>
              <a:gd name="connsiteX3137" fmla="*/ 5287328 w 6630249"/>
              <a:gd name="connsiteY3137" fmla="*/ 879106 h 6750795"/>
              <a:gd name="connsiteX3138" fmla="*/ 5286246 w 6630249"/>
              <a:gd name="connsiteY3138" fmla="*/ 882352 h 6750795"/>
              <a:gd name="connsiteX3139" fmla="*/ 5287328 w 6630249"/>
              <a:gd name="connsiteY3139" fmla="*/ 879106 h 6750795"/>
              <a:gd name="connsiteX3140" fmla="*/ 4906642 w 6630249"/>
              <a:gd name="connsiteY3140" fmla="*/ 874658 h 6750795"/>
              <a:gd name="connsiteX3141" fmla="*/ 4906642 w 6630249"/>
              <a:gd name="connsiteY3141" fmla="*/ 874658 h 6750795"/>
              <a:gd name="connsiteX3142" fmla="*/ 2093595 w 6630249"/>
              <a:gd name="connsiteY3142" fmla="*/ 856385 h 6750795"/>
              <a:gd name="connsiteX3143" fmla="*/ 2098083 w 6630249"/>
              <a:gd name="connsiteY3143" fmla="*/ 864400 h 6750795"/>
              <a:gd name="connsiteX3144" fmla="*/ 2085259 w 6630249"/>
              <a:gd name="connsiteY3144" fmla="*/ 861836 h 6750795"/>
              <a:gd name="connsiteX3145" fmla="*/ 2093595 w 6630249"/>
              <a:gd name="connsiteY3145" fmla="*/ 856385 h 6750795"/>
              <a:gd name="connsiteX3146" fmla="*/ 2657230 w 6630249"/>
              <a:gd name="connsiteY3146" fmla="*/ 849011 h 6750795"/>
              <a:gd name="connsiteX3147" fmla="*/ 2672619 w 6630249"/>
              <a:gd name="connsiteY3147" fmla="*/ 859270 h 6750795"/>
              <a:gd name="connsiteX3148" fmla="*/ 2657230 w 6630249"/>
              <a:gd name="connsiteY3148" fmla="*/ 849011 h 6750795"/>
              <a:gd name="connsiteX3149" fmla="*/ 2646970 w 6630249"/>
              <a:gd name="connsiteY3149" fmla="*/ 846446 h 6750795"/>
              <a:gd name="connsiteX3150" fmla="*/ 2652100 w 6630249"/>
              <a:gd name="connsiteY3150" fmla="*/ 859271 h 6750795"/>
              <a:gd name="connsiteX3151" fmla="*/ 2641841 w 6630249"/>
              <a:gd name="connsiteY3151" fmla="*/ 856706 h 6750795"/>
              <a:gd name="connsiteX3152" fmla="*/ 2646970 w 6630249"/>
              <a:gd name="connsiteY3152" fmla="*/ 846446 h 6750795"/>
              <a:gd name="connsiteX3153" fmla="*/ 2659796 w 6630249"/>
              <a:gd name="connsiteY3153" fmla="*/ 836187 h 6750795"/>
              <a:gd name="connsiteX3154" fmla="*/ 2667490 w 6630249"/>
              <a:gd name="connsiteY3154" fmla="*/ 846446 h 6750795"/>
              <a:gd name="connsiteX3155" fmla="*/ 2657231 w 6630249"/>
              <a:gd name="connsiteY3155" fmla="*/ 846446 h 6750795"/>
              <a:gd name="connsiteX3156" fmla="*/ 2659796 w 6630249"/>
              <a:gd name="connsiteY3156" fmla="*/ 836187 h 6750795"/>
              <a:gd name="connsiteX3157" fmla="*/ 3075661 w 6630249"/>
              <a:gd name="connsiteY3157" fmla="*/ 832780 h 6750795"/>
              <a:gd name="connsiteX3158" fmla="*/ 3077873 w 6630249"/>
              <a:gd name="connsiteY3158" fmla="*/ 841284 h 6750795"/>
              <a:gd name="connsiteX3159" fmla="*/ 3079035 w 6630249"/>
              <a:gd name="connsiteY3159" fmla="*/ 858709 h 6750795"/>
              <a:gd name="connsiteX3160" fmla="*/ 4555251 w 6630249"/>
              <a:gd name="connsiteY3160" fmla="*/ 825925 h 6750795"/>
              <a:gd name="connsiteX3161" fmla="*/ 4560381 w 6630249"/>
              <a:gd name="connsiteY3161" fmla="*/ 838749 h 6750795"/>
              <a:gd name="connsiteX3162" fmla="*/ 4555251 w 6630249"/>
              <a:gd name="connsiteY3162" fmla="*/ 825925 h 6750795"/>
              <a:gd name="connsiteX3163" fmla="*/ 4414182 w 6630249"/>
              <a:gd name="connsiteY3163" fmla="*/ 825925 h 6750795"/>
              <a:gd name="connsiteX3164" fmla="*/ 4419311 w 6630249"/>
              <a:gd name="connsiteY3164" fmla="*/ 838749 h 6750795"/>
              <a:gd name="connsiteX3165" fmla="*/ 4414182 w 6630249"/>
              <a:gd name="connsiteY3165" fmla="*/ 825925 h 6750795"/>
              <a:gd name="connsiteX3166" fmla="*/ 2613627 w 6630249"/>
              <a:gd name="connsiteY3166" fmla="*/ 823362 h 6750795"/>
              <a:gd name="connsiteX3167" fmla="*/ 2611062 w 6630249"/>
              <a:gd name="connsiteY3167" fmla="*/ 843881 h 6750795"/>
              <a:gd name="connsiteX3168" fmla="*/ 2613627 w 6630249"/>
              <a:gd name="connsiteY3168" fmla="*/ 823362 h 6750795"/>
              <a:gd name="connsiteX3169" fmla="*/ 5570949 w 6630249"/>
              <a:gd name="connsiteY3169" fmla="*/ 823360 h 6750795"/>
              <a:gd name="connsiteX3170" fmla="*/ 5558125 w 6630249"/>
              <a:gd name="connsiteY3170" fmla="*/ 843879 h 6750795"/>
              <a:gd name="connsiteX3171" fmla="*/ 5570949 w 6630249"/>
              <a:gd name="connsiteY3171" fmla="*/ 823360 h 6750795"/>
              <a:gd name="connsiteX3172" fmla="*/ 6548173 w 6630249"/>
              <a:gd name="connsiteY3172" fmla="*/ 820795 h 6750795"/>
              <a:gd name="connsiteX3173" fmla="*/ 6553302 w 6630249"/>
              <a:gd name="connsiteY3173" fmla="*/ 820795 h 6750795"/>
              <a:gd name="connsiteX3174" fmla="*/ 6553302 w 6630249"/>
              <a:gd name="connsiteY3174" fmla="*/ 825926 h 6750795"/>
              <a:gd name="connsiteX3175" fmla="*/ 6548173 w 6630249"/>
              <a:gd name="connsiteY3175" fmla="*/ 825926 h 6750795"/>
              <a:gd name="connsiteX3176" fmla="*/ 6548173 w 6630249"/>
              <a:gd name="connsiteY3176" fmla="*/ 820795 h 6750795"/>
              <a:gd name="connsiteX3177" fmla="*/ 4473254 w 6630249"/>
              <a:gd name="connsiteY3177" fmla="*/ 815691 h 6750795"/>
              <a:gd name="connsiteX3178" fmla="*/ 4478304 w 6630249"/>
              <a:gd name="connsiteY3178" fmla="*/ 818216 h 6750795"/>
              <a:gd name="connsiteX3179" fmla="*/ 4473254 w 6630249"/>
              <a:gd name="connsiteY3179" fmla="*/ 815691 h 6750795"/>
              <a:gd name="connsiteX3180" fmla="*/ 4482633 w 6630249"/>
              <a:gd name="connsiteY3180" fmla="*/ 805085 h 6750795"/>
              <a:gd name="connsiteX3181" fmla="*/ 4478305 w 6630249"/>
              <a:gd name="connsiteY3181" fmla="*/ 807971 h 6750795"/>
              <a:gd name="connsiteX3182" fmla="*/ 4482633 w 6630249"/>
              <a:gd name="connsiteY3182" fmla="*/ 805085 h 6750795"/>
              <a:gd name="connsiteX3183" fmla="*/ 4398632 w 6630249"/>
              <a:gd name="connsiteY3183" fmla="*/ 799915 h 6750795"/>
              <a:gd name="connsiteX3184" fmla="*/ 4411617 w 6630249"/>
              <a:gd name="connsiteY3184" fmla="*/ 823360 h 6750795"/>
              <a:gd name="connsiteX3185" fmla="*/ 4393663 w 6630249"/>
              <a:gd name="connsiteY3185" fmla="*/ 800275 h 6750795"/>
              <a:gd name="connsiteX3186" fmla="*/ 4398632 w 6630249"/>
              <a:gd name="connsiteY3186" fmla="*/ 799915 h 6750795"/>
              <a:gd name="connsiteX3187" fmla="*/ 2621322 w 6630249"/>
              <a:gd name="connsiteY3187" fmla="*/ 797713 h 6750795"/>
              <a:gd name="connsiteX3188" fmla="*/ 2621322 w 6630249"/>
              <a:gd name="connsiteY3188" fmla="*/ 810537 h 6750795"/>
              <a:gd name="connsiteX3189" fmla="*/ 2652100 w 6630249"/>
              <a:gd name="connsiteY3189" fmla="*/ 823362 h 6750795"/>
              <a:gd name="connsiteX3190" fmla="*/ 2634147 w 6630249"/>
              <a:gd name="connsiteY3190" fmla="*/ 843881 h 6750795"/>
              <a:gd name="connsiteX3191" fmla="*/ 2629016 w 6630249"/>
              <a:gd name="connsiteY3191" fmla="*/ 836186 h 6750795"/>
              <a:gd name="connsiteX3192" fmla="*/ 2634147 w 6630249"/>
              <a:gd name="connsiteY3192" fmla="*/ 825927 h 6750795"/>
              <a:gd name="connsiteX3193" fmla="*/ 2626452 w 6630249"/>
              <a:gd name="connsiteY3193" fmla="*/ 831057 h 6750795"/>
              <a:gd name="connsiteX3194" fmla="*/ 2616192 w 6630249"/>
              <a:gd name="connsiteY3194" fmla="*/ 818232 h 6750795"/>
              <a:gd name="connsiteX3195" fmla="*/ 2621322 w 6630249"/>
              <a:gd name="connsiteY3195" fmla="*/ 797713 h 6750795"/>
              <a:gd name="connsiteX3196" fmla="*/ 5599163 w 6630249"/>
              <a:gd name="connsiteY3196" fmla="*/ 792582 h 6750795"/>
              <a:gd name="connsiteX3197" fmla="*/ 5601728 w 6630249"/>
              <a:gd name="connsiteY3197" fmla="*/ 805406 h 6750795"/>
              <a:gd name="connsiteX3198" fmla="*/ 5583773 w 6630249"/>
              <a:gd name="connsiteY3198" fmla="*/ 820796 h 6750795"/>
              <a:gd name="connsiteX3199" fmla="*/ 5599163 w 6630249"/>
              <a:gd name="connsiteY3199" fmla="*/ 792582 h 6750795"/>
              <a:gd name="connsiteX3200" fmla="*/ 2531550 w 6630249"/>
              <a:gd name="connsiteY3200" fmla="*/ 790017 h 6750795"/>
              <a:gd name="connsiteX3201" fmla="*/ 2534115 w 6630249"/>
              <a:gd name="connsiteY3201" fmla="*/ 802842 h 6750795"/>
              <a:gd name="connsiteX3202" fmla="*/ 2523855 w 6630249"/>
              <a:gd name="connsiteY3202" fmla="*/ 810537 h 6750795"/>
              <a:gd name="connsiteX3203" fmla="*/ 2531550 w 6630249"/>
              <a:gd name="connsiteY3203" fmla="*/ 790017 h 6750795"/>
              <a:gd name="connsiteX3204" fmla="*/ 2372528 w 6630249"/>
              <a:gd name="connsiteY3204" fmla="*/ 764371 h 6750795"/>
              <a:gd name="connsiteX3205" fmla="*/ 2375092 w 6630249"/>
              <a:gd name="connsiteY3205" fmla="*/ 772065 h 6750795"/>
              <a:gd name="connsiteX3206" fmla="*/ 2369964 w 6630249"/>
              <a:gd name="connsiteY3206" fmla="*/ 766936 h 6750795"/>
              <a:gd name="connsiteX3207" fmla="*/ 2372528 w 6630249"/>
              <a:gd name="connsiteY3207" fmla="*/ 764371 h 6750795"/>
              <a:gd name="connsiteX3208" fmla="*/ 4929726 w 6630249"/>
              <a:gd name="connsiteY3208" fmla="*/ 756673 h 6750795"/>
              <a:gd name="connsiteX3209" fmla="*/ 4932290 w 6630249"/>
              <a:gd name="connsiteY3209" fmla="*/ 769497 h 6750795"/>
              <a:gd name="connsiteX3210" fmla="*/ 4929726 w 6630249"/>
              <a:gd name="connsiteY3210" fmla="*/ 756673 h 6750795"/>
              <a:gd name="connsiteX3211" fmla="*/ 4360319 w 6630249"/>
              <a:gd name="connsiteY3211" fmla="*/ 751528 h 6750795"/>
              <a:gd name="connsiteX3212" fmla="*/ 4388533 w 6630249"/>
              <a:gd name="connsiteY3212" fmla="*/ 795133 h 6750795"/>
              <a:gd name="connsiteX3213" fmla="*/ 4360319 w 6630249"/>
              <a:gd name="connsiteY3213" fmla="*/ 751528 h 6750795"/>
              <a:gd name="connsiteX3214" fmla="*/ 2762391 w 6630249"/>
              <a:gd name="connsiteY3214" fmla="*/ 741254 h 6750795"/>
              <a:gd name="connsiteX3215" fmla="*/ 2795734 w 6630249"/>
              <a:gd name="connsiteY3215" fmla="*/ 900276 h 6750795"/>
              <a:gd name="connsiteX3216" fmla="*/ 2777780 w 6630249"/>
              <a:gd name="connsiteY3216" fmla="*/ 795117 h 6750795"/>
              <a:gd name="connsiteX3217" fmla="*/ 2762391 w 6630249"/>
              <a:gd name="connsiteY3217" fmla="*/ 741254 h 6750795"/>
              <a:gd name="connsiteX3218" fmla="*/ 5447834 w 6630249"/>
              <a:gd name="connsiteY3218" fmla="*/ 731025 h 6750795"/>
              <a:gd name="connsiteX3219" fmla="*/ 5452964 w 6630249"/>
              <a:gd name="connsiteY3219" fmla="*/ 751544 h 6750795"/>
              <a:gd name="connsiteX3220" fmla="*/ 5435010 w 6630249"/>
              <a:gd name="connsiteY3220" fmla="*/ 759238 h 6750795"/>
              <a:gd name="connsiteX3221" fmla="*/ 5447834 w 6630249"/>
              <a:gd name="connsiteY3221" fmla="*/ 731025 h 6750795"/>
              <a:gd name="connsiteX3222" fmla="*/ 4378274 w 6630249"/>
              <a:gd name="connsiteY3222" fmla="*/ 731010 h 6750795"/>
              <a:gd name="connsiteX3223" fmla="*/ 4414182 w 6630249"/>
              <a:gd name="connsiteY3223" fmla="*/ 795133 h 6750795"/>
              <a:gd name="connsiteX3224" fmla="*/ 4378274 w 6630249"/>
              <a:gd name="connsiteY3224" fmla="*/ 731010 h 6750795"/>
              <a:gd name="connsiteX3225" fmla="*/ 5150307 w 6630249"/>
              <a:gd name="connsiteY3225" fmla="*/ 728460 h 6750795"/>
              <a:gd name="connsiteX3226" fmla="*/ 5155436 w 6630249"/>
              <a:gd name="connsiteY3226" fmla="*/ 746414 h 6750795"/>
              <a:gd name="connsiteX3227" fmla="*/ 5150307 w 6630249"/>
              <a:gd name="connsiteY3227" fmla="*/ 728460 h 6750795"/>
              <a:gd name="connsiteX3228" fmla="*/ 5519650 w 6630249"/>
              <a:gd name="connsiteY3228" fmla="*/ 723330 h 6750795"/>
              <a:gd name="connsiteX3229" fmla="*/ 5565818 w 6630249"/>
              <a:gd name="connsiteY3229" fmla="*/ 820796 h 6750795"/>
              <a:gd name="connsiteX3230" fmla="*/ 5519650 w 6630249"/>
              <a:gd name="connsiteY3230" fmla="*/ 723330 h 6750795"/>
              <a:gd name="connsiteX3231" fmla="*/ 4406488 w 6630249"/>
              <a:gd name="connsiteY3231" fmla="*/ 702792 h 6750795"/>
              <a:gd name="connsiteX3232" fmla="*/ 4455221 w 6630249"/>
              <a:gd name="connsiteY3232" fmla="*/ 754090 h 6750795"/>
              <a:gd name="connsiteX3233" fmla="*/ 4447526 w 6630249"/>
              <a:gd name="connsiteY3233" fmla="*/ 725876 h 6750795"/>
              <a:gd name="connsiteX3234" fmla="*/ 4491129 w 6630249"/>
              <a:gd name="connsiteY3234" fmla="*/ 766914 h 6750795"/>
              <a:gd name="connsiteX3235" fmla="*/ 4485999 w 6630249"/>
              <a:gd name="connsiteY3235" fmla="*/ 784868 h 6750795"/>
              <a:gd name="connsiteX3236" fmla="*/ 4493694 w 6630249"/>
              <a:gd name="connsiteY3236" fmla="*/ 792563 h 6750795"/>
              <a:gd name="connsiteX3237" fmla="*/ 4485679 w 6630249"/>
              <a:gd name="connsiteY3237" fmla="*/ 791280 h 6750795"/>
              <a:gd name="connsiteX3238" fmla="*/ 4477656 w 6630249"/>
              <a:gd name="connsiteY3238" fmla="*/ 790245 h 6750795"/>
              <a:gd name="connsiteX3239" fmla="*/ 4475341 w 6630249"/>
              <a:gd name="connsiteY3239" fmla="*/ 787467 h 6750795"/>
              <a:gd name="connsiteX3240" fmla="*/ 4473816 w 6630249"/>
              <a:gd name="connsiteY3240" fmla="*/ 777815 h 6750795"/>
              <a:gd name="connsiteX3241" fmla="*/ 4468045 w 6630249"/>
              <a:gd name="connsiteY3241" fmla="*/ 769479 h 6750795"/>
              <a:gd name="connsiteX3242" fmla="*/ 4473175 w 6630249"/>
              <a:gd name="connsiteY3242" fmla="*/ 784868 h 6750795"/>
              <a:gd name="connsiteX3243" fmla="*/ 4475341 w 6630249"/>
              <a:gd name="connsiteY3243" fmla="*/ 787467 h 6750795"/>
              <a:gd name="connsiteX3244" fmla="*/ 4475740 w 6630249"/>
              <a:gd name="connsiteY3244" fmla="*/ 789998 h 6750795"/>
              <a:gd name="connsiteX3245" fmla="*/ 4477656 w 6630249"/>
              <a:gd name="connsiteY3245" fmla="*/ 790245 h 6750795"/>
              <a:gd name="connsiteX3246" fmla="*/ 4485999 w 6630249"/>
              <a:gd name="connsiteY3246" fmla="*/ 800258 h 6750795"/>
              <a:gd name="connsiteX3247" fmla="*/ 4462915 w 6630249"/>
              <a:gd name="connsiteY3247" fmla="*/ 787433 h 6750795"/>
              <a:gd name="connsiteX3248" fmla="*/ 4465480 w 6630249"/>
              <a:gd name="connsiteY3248" fmla="*/ 831036 h 6750795"/>
              <a:gd name="connsiteX3249" fmla="*/ 4439831 w 6630249"/>
              <a:gd name="connsiteY3249" fmla="*/ 792563 h 6750795"/>
              <a:gd name="connsiteX3250" fmla="*/ 4432137 w 6630249"/>
              <a:gd name="connsiteY3250" fmla="*/ 764349 h 6750795"/>
              <a:gd name="connsiteX3251" fmla="*/ 4432137 w 6630249"/>
              <a:gd name="connsiteY3251" fmla="*/ 805387 h 6750795"/>
              <a:gd name="connsiteX3252" fmla="*/ 4380838 w 6630249"/>
              <a:gd name="connsiteY3252" fmla="*/ 713051 h 6750795"/>
              <a:gd name="connsiteX3253" fmla="*/ 4401358 w 6630249"/>
              <a:gd name="connsiteY3253" fmla="*/ 731006 h 6750795"/>
              <a:gd name="connsiteX3254" fmla="*/ 4393662 w 6630249"/>
              <a:gd name="connsiteY3254" fmla="*/ 718181 h 6750795"/>
              <a:gd name="connsiteX3255" fmla="*/ 4406488 w 6630249"/>
              <a:gd name="connsiteY3255" fmla="*/ 702792 h 6750795"/>
              <a:gd name="connsiteX3256" fmla="*/ 3016315 w 6630249"/>
              <a:gd name="connsiteY3256" fmla="*/ 656612 h 6750795"/>
              <a:gd name="connsiteX3257" fmla="*/ 3052865 w 6630249"/>
              <a:gd name="connsiteY3257" fmla="*/ 745101 h 6750795"/>
              <a:gd name="connsiteX3258" fmla="*/ 3071411 w 6630249"/>
              <a:gd name="connsiteY3258" fmla="*/ 816435 h 6750795"/>
              <a:gd name="connsiteX3259" fmla="*/ 3072743 w 6630249"/>
              <a:gd name="connsiteY3259" fmla="*/ 825894 h 6750795"/>
              <a:gd name="connsiteX3260" fmla="*/ 3046132 w 6630249"/>
              <a:gd name="connsiteY3260" fmla="*/ 737406 h 6750795"/>
              <a:gd name="connsiteX3261" fmla="*/ 3019398 w 6630249"/>
              <a:gd name="connsiteY3261" fmla="*/ 670701 h 6750795"/>
              <a:gd name="connsiteX3262" fmla="*/ 2884224 w 6630249"/>
              <a:gd name="connsiteY3262" fmla="*/ 644463 h 6750795"/>
              <a:gd name="connsiteX3263" fmla="*/ 2888071 w 6630249"/>
              <a:gd name="connsiteY3263" fmla="*/ 646387 h 6750795"/>
              <a:gd name="connsiteX3264" fmla="*/ 2877812 w 6630249"/>
              <a:gd name="connsiteY3264" fmla="*/ 656646 h 6750795"/>
              <a:gd name="connsiteX3265" fmla="*/ 2880376 w 6630249"/>
              <a:gd name="connsiteY3265" fmla="*/ 646387 h 6750795"/>
              <a:gd name="connsiteX3266" fmla="*/ 2884224 w 6630249"/>
              <a:gd name="connsiteY3266" fmla="*/ 644463 h 6750795"/>
              <a:gd name="connsiteX3267" fmla="*/ 2754696 w 6630249"/>
              <a:gd name="connsiteY3267" fmla="*/ 628398 h 6750795"/>
              <a:gd name="connsiteX3268" fmla="*/ 2831643 w 6630249"/>
              <a:gd name="connsiteY3268" fmla="*/ 774597 h 6750795"/>
              <a:gd name="connsiteX3269" fmla="*/ 2916284 w 6630249"/>
              <a:gd name="connsiteY3269" fmla="*/ 1097773 h 6750795"/>
              <a:gd name="connsiteX3270" fmla="*/ 2913207 w 6630249"/>
              <a:gd name="connsiteY3270" fmla="*/ 1095209 h 6750795"/>
              <a:gd name="connsiteX3271" fmla="*/ 2881018 w 6630249"/>
              <a:gd name="connsiteY3271" fmla="*/ 934261 h 6750795"/>
              <a:gd name="connsiteX3272" fmla="*/ 2826513 w 6630249"/>
              <a:gd name="connsiteY3272" fmla="*/ 777161 h 6750795"/>
              <a:gd name="connsiteX3273" fmla="*/ 2788681 w 6630249"/>
              <a:gd name="connsiteY3273" fmla="*/ 700215 h 6750795"/>
              <a:gd name="connsiteX3274" fmla="*/ 2755847 w 6630249"/>
              <a:gd name="connsiteY3274" fmla="*/ 645660 h 6750795"/>
              <a:gd name="connsiteX3275" fmla="*/ 3003492 w 6630249"/>
              <a:gd name="connsiteY3275" fmla="*/ 623269 h 6750795"/>
              <a:gd name="connsiteX3276" fmla="*/ 3006055 w 6630249"/>
              <a:gd name="connsiteY3276" fmla="*/ 710475 h 6750795"/>
              <a:gd name="connsiteX3277" fmla="*/ 2988101 w 6630249"/>
              <a:gd name="connsiteY3277" fmla="*/ 841284 h 6750795"/>
              <a:gd name="connsiteX3278" fmla="*/ 2985536 w 6630249"/>
              <a:gd name="connsiteY3278" fmla="*/ 964399 h 6750795"/>
              <a:gd name="connsiteX3279" fmla="*/ 3031704 w 6630249"/>
              <a:gd name="connsiteY3279" fmla="*/ 1174721 h 6750795"/>
              <a:gd name="connsiteX3280" fmla="*/ 3031704 w 6630249"/>
              <a:gd name="connsiteY3280" fmla="*/ 1184980 h 6750795"/>
              <a:gd name="connsiteX3281" fmla="*/ 3059918 w 6630249"/>
              <a:gd name="connsiteY3281" fmla="*/ 1210629 h 6750795"/>
              <a:gd name="connsiteX3282" fmla="*/ 3067614 w 6630249"/>
              <a:gd name="connsiteY3282" fmla="*/ 1179850 h 6750795"/>
              <a:gd name="connsiteX3283" fmla="*/ 3080437 w 6630249"/>
              <a:gd name="connsiteY3283" fmla="*/ 918230 h 6750795"/>
              <a:gd name="connsiteX3284" fmla="*/ 3026575 w 6630249"/>
              <a:gd name="connsiteY3284" fmla="*/ 746384 h 6750795"/>
              <a:gd name="connsiteX3285" fmla="*/ 3006055 w 6630249"/>
              <a:gd name="connsiteY3285" fmla="*/ 628398 h 6750795"/>
              <a:gd name="connsiteX3286" fmla="*/ 3003492 w 6630249"/>
              <a:gd name="connsiteY3286" fmla="*/ 623269 h 6750795"/>
              <a:gd name="connsiteX3287" fmla="*/ 2900895 w 6630249"/>
              <a:gd name="connsiteY3287" fmla="*/ 618172 h 6750795"/>
              <a:gd name="connsiteX3288" fmla="*/ 2895766 w 6630249"/>
              <a:gd name="connsiteY3288" fmla="*/ 636127 h 6750795"/>
              <a:gd name="connsiteX3289" fmla="*/ 2900895 w 6630249"/>
              <a:gd name="connsiteY3289" fmla="*/ 618172 h 6750795"/>
              <a:gd name="connsiteX3290" fmla="*/ 2747105 w 6630249"/>
              <a:gd name="connsiteY3290" fmla="*/ 616528 h 6750795"/>
              <a:gd name="connsiteX3291" fmla="*/ 2752131 w 6630249"/>
              <a:gd name="connsiteY3291" fmla="*/ 623269 h 6750795"/>
              <a:gd name="connsiteX3292" fmla="*/ 2752724 w 6630249"/>
              <a:gd name="connsiteY3292" fmla="*/ 640472 h 6750795"/>
              <a:gd name="connsiteX3293" fmla="*/ 2747001 w 6630249"/>
              <a:gd name="connsiteY3293" fmla="*/ 630963 h 6750795"/>
              <a:gd name="connsiteX3294" fmla="*/ 2747001 w 6630249"/>
              <a:gd name="connsiteY3294" fmla="*/ 628398 h 6750795"/>
              <a:gd name="connsiteX3295" fmla="*/ 2913719 w 6630249"/>
              <a:gd name="connsiteY3295" fmla="*/ 589959 h 6750795"/>
              <a:gd name="connsiteX3296" fmla="*/ 2906025 w 6630249"/>
              <a:gd name="connsiteY3296" fmla="*/ 613043 h 6750795"/>
              <a:gd name="connsiteX3297" fmla="*/ 2913719 w 6630249"/>
              <a:gd name="connsiteY3297" fmla="*/ 589959 h 6750795"/>
              <a:gd name="connsiteX3298" fmla="*/ 3769754 w 6630249"/>
              <a:gd name="connsiteY3298" fmla="*/ 576174 h 6750795"/>
              <a:gd name="connsiteX3299" fmla="*/ 3772959 w 6630249"/>
              <a:gd name="connsiteY3299" fmla="*/ 582266 h 6750795"/>
              <a:gd name="connsiteX3300" fmla="*/ 3762700 w 6630249"/>
              <a:gd name="connsiteY3300" fmla="*/ 579701 h 6750795"/>
              <a:gd name="connsiteX3301" fmla="*/ 3769754 w 6630249"/>
              <a:gd name="connsiteY3301" fmla="*/ 576174 h 6750795"/>
              <a:gd name="connsiteX3302" fmla="*/ 3752439 w 6630249"/>
              <a:gd name="connsiteY3302" fmla="*/ 569440 h 6750795"/>
              <a:gd name="connsiteX3303" fmla="*/ 3770394 w 6630249"/>
              <a:gd name="connsiteY3303" fmla="*/ 584829 h 6750795"/>
              <a:gd name="connsiteX3304" fmla="*/ 3752439 w 6630249"/>
              <a:gd name="connsiteY3304" fmla="*/ 582264 h 6750795"/>
              <a:gd name="connsiteX3305" fmla="*/ 3752439 w 6630249"/>
              <a:gd name="connsiteY3305" fmla="*/ 579699 h 6750795"/>
              <a:gd name="connsiteX3306" fmla="*/ 3747310 w 6630249"/>
              <a:gd name="connsiteY3306" fmla="*/ 574570 h 6750795"/>
              <a:gd name="connsiteX3307" fmla="*/ 3752439 w 6630249"/>
              <a:gd name="connsiteY3307" fmla="*/ 569440 h 6750795"/>
              <a:gd name="connsiteX3308" fmla="*/ 3024010 w 6630249"/>
              <a:gd name="connsiteY3308" fmla="*/ 569406 h 6750795"/>
              <a:gd name="connsiteX3309" fmla="*/ 3059918 w 6630249"/>
              <a:gd name="connsiteY3309" fmla="*/ 711757 h 6750795"/>
              <a:gd name="connsiteX3310" fmla="*/ 3075661 w 6630249"/>
              <a:gd name="connsiteY3310" fmla="*/ 832780 h 6750795"/>
              <a:gd name="connsiteX3311" fmla="*/ 3071411 w 6630249"/>
              <a:gd name="connsiteY3311" fmla="*/ 816435 h 6750795"/>
              <a:gd name="connsiteX3312" fmla="*/ 3054147 w 6630249"/>
              <a:gd name="connsiteY3312" fmla="*/ 693803 h 6750795"/>
              <a:gd name="connsiteX3313" fmla="*/ 3024010 w 6630249"/>
              <a:gd name="connsiteY3313" fmla="*/ 569406 h 6750795"/>
              <a:gd name="connsiteX3314" fmla="*/ 2941933 w 6630249"/>
              <a:gd name="connsiteY3314" fmla="*/ 541226 h 6750795"/>
              <a:gd name="connsiteX3315" fmla="*/ 2923979 w 6630249"/>
              <a:gd name="connsiteY3315" fmla="*/ 592525 h 6750795"/>
              <a:gd name="connsiteX3316" fmla="*/ 2929109 w 6630249"/>
              <a:gd name="connsiteY3316" fmla="*/ 543791 h 6750795"/>
              <a:gd name="connsiteX3317" fmla="*/ 2941933 w 6630249"/>
              <a:gd name="connsiteY3317" fmla="*/ 541226 h 6750795"/>
              <a:gd name="connsiteX3318" fmla="*/ 3721661 w 6630249"/>
              <a:gd name="connsiteY3318" fmla="*/ 538663 h 6750795"/>
              <a:gd name="connsiteX3319" fmla="*/ 3726790 w 6630249"/>
              <a:gd name="connsiteY3319" fmla="*/ 538663 h 6750795"/>
              <a:gd name="connsiteX3320" fmla="*/ 3719096 w 6630249"/>
              <a:gd name="connsiteY3320" fmla="*/ 543792 h 6750795"/>
              <a:gd name="connsiteX3321" fmla="*/ 3721661 w 6630249"/>
              <a:gd name="connsiteY3321" fmla="*/ 538663 h 6750795"/>
              <a:gd name="connsiteX3322" fmla="*/ 2667490 w 6630249"/>
              <a:gd name="connsiteY3322" fmla="*/ 520673 h 6750795"/>
              <a:gd name="connsiteX3323" fmla="*/ 2711734 w 6630249"/>
              <a:gd name="connsiteY3323" fmla="*/ 569085 h 6750795"/>
              <a:gd name="connsiteX3324" fmla="*/ 2747001 w 6630249"/>
              <a:gd name="connsiteY3324" fmla="*/ 616388 h 6750795"/>
              <a:gd name="connsiteX3325" fmla="*/ 2747001 w 6630249"/>
              <a:gd name="connsiteY3325" fmla="*/ 628398 h 6750795"/>
              <a:gd name="connsiteX3326" fmla="*/ 2706604 w 6630249"/>
              <a:gd name="connsiteY3326" fmla="*/ 574535 h 6750795"/>
              <a:gd name="connsiteX3327" fmla="*/ 2685069 w 6630249"/>
              <a:gd name="connsiteY3327" fmla="*/ 552064 h 6750795"/>
              <a:gd name="connsiteX3328" fmla="*/ 3821692 w 6630249"/>
              <a:gd name="connsiteY3328" fmla="*/ 513014 h 6750795"/>
              <a:gd name="connsiteX3329" fmla="*/ 3824257 w 6630249"/>
              <a:gd name="connsiteY3329" fmla="*/ 533533 h 6750795"/>
              <a:gd name="connsiteX3330" fmla="*/ 3821692 w 6630249"/>
              <a:gd name="connsiteY3330" fmla="*/ 513014 h 6750795"/>
              <a:gd name="connsiteX3331" fmla="*/ 3821692 w 6630249"/>
              <a:gd name="connsiteY3331" fmla="*/ 438632 h 6750795"/>
              <a:gd name="connsiteX3332" fmla="*/ 3821692 w 6630249"/>
              <a:gd name="connsiteY3332" fmla="*/ 497625 h 6750795"/>
              <a:gd name="connsiteX3333" fmla="*/ 3821692 w 6630249"/>
              <a:gd name="connsiteY3333" fmla="*/ 438632 h 6750795"/>
              <a:gd name="connsiteX3334" fmla="*/ 2754696 w 6630249"/>
              <a:gd name="connsiteY3334" fmla="*/ 407818 h 6750795"/>
              <a:gd name="connsiteX3335" fmla="*/ 2747964 w 6630249"/>
              <a:gd name="connsiteY3335" fmla="*/ 519070 h 6750795"/>
              <a:gd name="connsiteX3336" fmla="*/ 2747105 w 6630249"/>
              <a:gd name="connsiteY3336" fmla="*/ 616528 h 6750795"/>
              <a:gd name="connsiteX3337" fmla="*/ 2747001 w 6630249"/>
              <a:gd name="connsiteY3337" fmla="*/ 616388 h 6750795"/>
              <a:gd name="connsiteX3338" fmla="*/ 2747001 w 6630249"/>
              <a:gd name="connsiteY3338" fmla="*/ 520352 h 6750795"/>
              <a:gd name="connsiteX3339" fmla="*/ 2754696 w 6630249"/>
              <a:gd name="connsiteY3339" fmla="*/ 407818 h 6750795"/>
              <a:gd name="connsiteX3340" fmla="*/ 3821691 w 6630249"/>
              <a:gd name="connsiteY3340" fmla="*/ 395029 h 6750795"/>
              <a:gd name="connsiteX3341" fmla="*/ 3826821 w 6630249"/>
              <a:gd name="connsiteY3341" fmla="*/ 402724 h 6750795"/>
              <a:gd name="connsiteX3342" fmla="*/ 3819127 w 6630249"/>
              <a:gd name="connsiteY3342" fmla="*/ 402724 h 6750795"/>
              <a:gd name="connsiteX3343" fmla="*/ 3821691 w 6630249"/>
              <a:gd name="connsiteY3343" fmla="*/ 395029 h 6750795"/>
              <a:gd name="connsiteX3344" fmla="*/ 2729048 w 6630249"/>
              <a:gd name="connsiteY3344" fmla="*/ 389900 h 6750795"/>
              <a:gd name="connsiteX3345" fmla="*/ 2736742 w 6630249"/>
              <a:gd name="connsiteY3345" fmla="*/ 407854 h 6750795"/>
              <a:gd name="connsiteX3346" fmla="*/ 2729048 w 6630249"/>
              <a:gd name="connsiteY3346" fmla="*/ 407854 h 6750795"/>
              <a:gd name="connsiteX3347" fmla="*/ 2731612 w 6630249"/>
              <a:gd name="connsiteY3347" fmla="*/ 402724 h 6750795"/>
              <a:gd name="connsiteX3348" fmla="*/ 2729048 w 6630249"/>
              <a:gd name="connsiteY3348" fmla="*/ 389900 h 6750795"/>
              <a:gd name="connsiteX3349" fmla="*/ 2729048 w 6630249"/>
              <a:gd name="connsiteY3349" fmla="*/ 359122 h 6750795"/>
              <a:gd name="connsiteX3350" fmla="*/ 2736742 w 6630249"/>
              <a:gd name="connsiteY3350" fmla="*/ 364251 h 6750795"/>
              <a:gd name="connsiteX3351" fmla="*/ 2734177 w 6630249"/>
              <a:gd name="connsiteY3351" fmla="*/ 366816 h 6750795"/>
              <a:gd name="connsiteX3352" fmla="*/ 2729048 w 6630249"/>
              <a:gd name="connsiteY3352" fmla="*/ 366816 h 6750795"/>
              <a:gd name="connsiteX3353" fmla="*/ 2729048 w 6630249"/>
              <a:gd name="connsiteY3353" fmla="*/ 359122 h 6750795"/>
              <a:gd name="connsiteX3354" fmla="*/ 2839337 w 6630249"/>
              <a:gd name="connsiteY3354" fmla="*/ 0 h 6750795"/>
              <a:gd name="connsiteX3355" fmla="*/ 2941933 w 6630249"/>
              <a:gd name="connsiteY3355" fmla="*/ 205191 h 6750795"/>
              <a:gd name="connsiteX3356" fmla="*/ 2995796 w 6630249"/>
              <a:gd name="connsiteY3356" fmla="*/ 469375 h 6750795"/>
              <a:gd name="connsiteX3357" fmla="*/ 3013751 w 6630249"/>
              <a:gd name="connsiteY3357" fmla="*/ 656612 h 6750795"/>
              <a:gd name="connsiteX3358" fmla="*/ 3019398 w 6630249"/>
              <a:gd name="connsiteY3358" fmla="*/ 670701 h 6750795"/>
              <a:gd name="connsiteX3359" fmla="*/ 3034269 w 6630249"/>
              <a:gd name="connsiteY3359" fmla="*/ 738689 h 6750795"/>
              <a:gd name="connsiteX3360" fmla="*/ 3080437 w 6630249"/>
              <a:gd name="connsiteY3360" fmla="*/ 879757 h 6750795"/>
              <a:gd name="connsiteX3361" fmla="*/ 3079035 w 6630249"/>
              <a:gd name="connsiteY3361" fmla="*/ 858709 h 6750795"/>
              <a:gd name="connsiteX3362" fmla="*/ 3080437 w 6630249"/>
              <a:gd name="connsiteY3362" fmla="*/ 869497 h 6750795"/>
              <a:gd name="connsiteX3363" fmla="*/ 3083002 w 6630249"/>
              <a:gd name="connsiteY3363" fmla="*/ 887452 h 6750795"/>
              <a:gd name="connsiteX3364" fmla="*/ 3085567 w 6630249"/>
              <a:gd name="connsiteY3364" fmla="*/ 913101 h 6750795"/>
              <a:gd name="connsiteX3365" fmla="*/ 3111216 w 6630249"/>
              <a:gd name="connsiteY3365" fmla="*/ 977225 h 6750795"/>
              <a:gd name="connsiteX3366" fmla="*/ 3159949 w 6630249"/>
              <a:gd name="connsiteY3366" fmla="*/ 1131117 h 6750795"/>
              <a:gd name="connsiteX3367" fmla="*/ 3177903 w 6630249"/>
              <a:gd name="connsiteY3367" fmla="*/ 1082384 h 6750795"/>
              <a:gd name="connsiteX3368" fmla="*/ 3216378 w 6630249"/>
              <a:gd name="connsiteY3368" fmla="*/ 923360 h 6750795"/>
              <a:gd name="connsiteX3369" fmla="*/ 3070178 w 6630249"/>
              <a:gd name="connsiteY3369" fmla="*/ 641223 h 6750795"/>
              <a:gd name="connsiteX3370" fmla="*/ 3218942 w 6630249"/>
              <a:gd name="connsiteY3370" fmla="*/ 918230 h 6750795"/>
              <a:gd name="connsiteX3371" fmla="*/ 3226637 w 6630249"/>
              <a:gd name="connsiteY3371" fmla="*/ 864368 h 6750795"/>
              <a:gd name="connsiteX3372" fmla="*/ 3206117 w 6630249"/>
              <a:gd name="connsiteY3372" fmla="*/ 443726 h 6750795"/>
              <a:gd name="connsiteX3373" fmla="*/ 3231766 w 6630249"/>
              <a:gd name="connsiteY3373" fmla="*/ 861803 h 6750795"/>
              <a:gd name="connsiteX3374" fmla="*/ 3224071 w 6630249"/>
              <a:gd name="connsiteY3374" fmla="*/ 928490 h 6750795"/>
              <a:gd name="connsiteX3375" fmla="*/ 3226637 w 6630249"/>
              <a:gd name="connsiteY3375" fmla="*/ 936185 h 6750795"/>
              <a:gd name="connsiteX3376" fmla="*/ 3224071 w 6630249"/>
              <a:gd name="connsiteY3376" fmla="*/ 931055 h 6750795"/>
              <a:gd name="connsiteX3377" fmla="*/ 3188163 w 6630249"/>
              <a:gd name="connsiteY3377" fmla="*/ 1082384 h 6750795"/>
              <a:gd name="connsiteX3378" fmla="*/ 3167644 w 6630249"/>
              <a:gd name="connsiteY3378" fmla="*/ 1143942 h 6750795"/>
              <a:gd name="connsiteX3379" fmla="*/ 3172774 w 6630249"/>
              <a:gd name="connsiteY3379" fmla="*/ 1233713 h 6750795"/>
              <a:gd name="connsiteX3380" fmla="*/ 3134300 w 6630249"/>
              <a:gd name="connsiteY3380" fmla="*/ 1500462 h 6750795"/>
              <a:gd name="connsiteX3381" fmla="*/ 3126605 w 6630249"/>
              <a:gd name="connsiteY3381" fmla="*/ 1597929 h 6750795"/>
              <a:gd name="connsiteX3382" fmla="*/ 3170209 w 6630249"/>
              <a:gd name="connsiteY3382" fmla="*/ 1513288 h 6750795"/>
              <a:gd name="connsiteX3383" fmla="*/ 3170209 w 6630249"/>
              <a:gd name="connsiteY3383" fmla="*/ 1500462 h 6750795"/>
              <a:gd name="connsiteX3384" fmla="*/ 3167644 w 6630249"/>
              <a:gd name="connsiteY3384" fmla="*/ 1385042 h 6750795"/>
              <a:gd name="connsiteX3385" fmla="*/ 3183033 w 6630249"/>
              <a:gd name="connsiteY3385" fmla="*/ 1259362 h 6750795"/>
              <a:gd name="connsiteX3386" fmla="*/ 3221506 w 6630249"/>
              <a:gd name="connsiteY3386" fmla="*/ 1141377 h 6750795"/>
              <a:gd name="connsiteX3387" fmla="*/ 3252285 w 6630249"/>
              <a:gd name="connsiteY3387" fmla="*/ 1054171 h 6750795"/>
              <a:gd name="connsiteX3388" fmla="*/ 3244828 w 6630249"/>
              <a:gd name="connsiteY3388" fmla="*/ 1008466 h 6750795"/>
              <a:gd name="connsiteX3389" fmla="*/ 3252285 w 6630249"/>
              <a:gd name="connsiteY3389" fmla="*/ 1049041 h 6750795"/>
              <a:gd name="connsiteX3390" fmla="*/ 3290758 w 6630249"/>
              <a:gd name="connsiteY3390" fmla="*/ 913101 h 6750795"/>
              <a:gd name="connsiteX3391" fmla="*/ 3303583 w 6630249"/>
              <a:gd name="connsiteY3391" fmla="*/ 679696 h 6750795"/>
              <a:gd name="connsiteX3392" fmla="*/ 3190728 w 6630249"/>
              <a:gd name="connsiteY3392" fmla="*/ 305222 h 6750795"/>
              <a:gd name="connsiteX3393" fmla="*/ 3308713 w 6630249"/>
              <a:gd name="connsiteY3393" fmla="*/ 674567 h 6750795"/>
              <a:gd name="connsiteX3394" fmla="*/ 3298453 w 6630249"/>
              <a:gd name="connsiteY3394" fmla="*/ 913101 h 6750795"/>
              <a:gd name="connsiteX3395" fmla="*/ 3254850 w 6630249"/>
              <a:gd name="connsiteY3395" fmla="*/ 1069559 h 6750795"/>
              <a:gd name="connsiteX3396" fmla="*/ 3255827 w 6630249"/>
              <a:gd name="connsiteY3396" fmla="*/ 1081769 h 6750795"/>
              <a:gd name="connsiteX3397" fmla="*/ 3245232 w 6630249"/>
              <a:gd name="connsiteY3397" fmla="*/ 1111881 h 6750795"/>
              <a:gd name="connsiteX3398" fmla="*/ 3229201 w 6630249"/>
              <a:gd name="connsiteY3398" fmla="*/ 1146507 h 6750795"/>
              <a:gd name="connsiteX3399" fmla="*/ 3180468 w 6630249"/>
              <a:gd name="connsiteY3399" fmla="*/ 1377347 h 6750795"/>
              <a:gd name="connsiteX3400" fmla="*/ 3185598 w 6630249"/>
              <a:gd name="connsiteY3400" fmla="*/ 1479943 h 6750795"/>
              <a:gd name="connsiteX3401" fmla="*/ 3229201 w 6630249"/>
              <a:gd name="connsiteY3401" fmla="*/ 1359393 h 6750795"/>
              <a:gd name="connsiteX3402" fmla="*/ 3259980 w 6630249"/>
              <a:gd name="connsiteY3402" fmla="*/ 1133682 h 6750795"/>
              <a:gd name="connsiteX3403" fmla="*/ 3231766 w 6630249"/>
              <a:gd name="connsiteY3403" fmla="*/ 1364523 h 6750795"/>
              <a:gd name="connsiteX3404" fmla="*/ 3183033 w 6630249"/>
              <a:gd name="connsiteY3404" fmla="*/ 1495333 h 6750795"/>
              <a:gd name="connsiteX3405" fmla="*/ 3180468 w 6630249"/>
              <a:gd name="connsiteY3405" fmla="*/ 1613318 h 6750795"/>
              <a:gd name="connsiteX3406" fmla="*/ 3180468 w 6630249"/>
              <a:gd name="connsiteY3406" fmla="*/ 1621013 h 6750795"/>
              <a:gd name="connsiteX3407" fmla="*/ 3183033 w 6630249"/>
              <a:gd name="connsiteY3407" fmla="*/ 1628708 h 6750795"/>
              <a:gd name="connsiteX3408" fmla="*/ 3180468 w 6630249"/>
              <a:gd name="connsiteY3408" fmla="*/ 1628708 h 6750795"/>
              <a:gd name="connsiteX3409" fmla="*/ 3152254 w 6630249"/>
              <a:gd name="connsiteY3409" fmla="*/ 1785166 h 6750795"/>
              <a:gd name="connsiteX3410" fmla="*/ 3172774 w 6630249"/>
              <a:gd name="connsiteY3410" fmla="*/ 1874936 h 6750795"/>
              <a:gd name="connsiteX3411" fmla="*/ 3172774 w 6630249"/>
              <a:gd name="connsiteY3411" fmla="*/ 1921104 h 6750795"/>
              <a:gd name="connsiteX3412" fmla="*/ 3331797 w 6630249"/>
              <a:gd name="connsiteY3412" fmla="*/ 2041654 h 6750795"/>
              <a:gd name="connsiteX3413" fmla="*/ 3336927 w 6630249"/>
              <a:gd name="connsiteY3413" fmla="*/ 2041654 h 6750795"/>
              <a:gd name="connsiteX3414" fmla="*/ 3352317 w 6630249"/>
              <a:gd name="connsiteY3414" fmla="*/ 2016006 h 6750795"/>
              <a:gd name="connsiteX3415" fmla="*/ 3347186 w 6630249"/>
              <a:gd name="connsiteY3415" fmla="*/ 2010878 h 6750795"/>
              <a:gd name="connsiteX3416" fmla="*/ 3372835 w 6630249"/>
              <a:gd name="connsiteY3416" fmla="*/ 1985227 h 6750795"/>
              <a:gd name="connsiteX3417" fmla="*/ 3367705 w 6630249"/>
              <a:gd name="connsiteY3417" fmla="*/ 1905715 h 6750795"/>
              <a:gd name="connsiteX3418" fmla="*/ 3447218 w 6630249"/>
              <a:gd name="connsiteY3418" fmla="*/ 1831334 h 6750795"/>
              <a:gd name="connsiteX3419" fmla="*/ 3557508 w 6630249"/>
              <a:gd name="connsiteY3419" fmla="*/ 1751823 h 6750795"/>
              <a:gd name="connsiteX3420" fmla="*/ 3552378 w 6630249"/>
              <a:gd name="connsiteY3420" fmla="*/ 1726174 h 6750795"/>
              <a:gd name="connsiteX3421" fmla="*/ 3616500 w 6630249"/>
              <a:gd name="connsiteY3421" fmla="*/ 1667181 h 6750795"/>
              <a:gd name="connsiteX3422" fmla="*/ 3616500 w 6630249"/>
              <a:gd name="connsiteY3422" fmla="*/ 1636402 h 6750795"/>
              <a:gd name="connsiteX3423" fmla="*/ 3657538 w 6630249"/>
              <a:gd name="connsiteY3423" fmla="*/ 1600494 h 6750795"/>
              <a:gd name="connsiteX3424" fmla="*/ 3621630 w 6630249"/>
              <a:gd name="connsiteY3424" fmla="*/ 1541501 h 6750795"/>
              <a:gd name="connsiteX3425" fmla="*/ 3557508 w 6630249"/>
              <a:gd name="connsiteY3425" fmla="*/ 1505593 h 6750795"/>
              <a:gd name="connsiteX3426" fmla="*/ 3488255 w 6630249"/>
              <a:gd name="connsiteY3426" fmla="*/ 1526112 h 6750795"/>
              <a:gd name="connsiteX3427" fmla="*/ 3419003 w 6630249"/>
              <a:gd name="connsiteY3427" fmla="*/ 1490202 h 6750795"/>
              <a:gd name="connsiteX3428" fmla="*/ 3367705 w 6630249"/>
              <a:gd name="connsiteY3428" fmla="*/ 1420950 h 6750795"/>
              <a:gd name="connsiteX3429" fmla="*/ 3552378 w 6630249"/>
              <a:gd name="connsiteY3429" fmla="*/ 1426080 h 6750795"/>
              <a:gd name="connsiteX3430" fmla="*/ 3616500 w 6630249"/>
              <a:gd name="connsiteY3430" fmla="*/ 1400431 h 6750795"/>
              <a:gd name="connsiteX3431" fmla="*/ 3767829 w 6630249"/>
              <a:gd name="connsiteY3431" fmla="*/ 1431210 h 6750795"/>
              <a:gd name="connsiteX3432" fmla="*/ 3867859 w 6630249"/>
              <a:gd name="connsiteY3432" fmla="*/ 1587669 h 6750795"/>
              <a:gd name="connsiteX3433" fmla="*/ 3837081 w 6630249"/>
              <a:gd name="connsiteY3433" fmla="*/ 1697960 h 6750795"/>
              <a:gd name="connsiteX3434" fmla="*/ 3857600 w 6630249"/>
              <a:gd name="connsiteY3434" fmla="*/ 1703090 h 6750795"/>
              <a:gd name="connsiteX3435" fmla="*/ 3837081 w 6630249"/>
              <a:gd name="connsiteY3435" fmla="*/ 1877501 h 6750795"/>
              <a:gd name="connsiteX3436" fmla="*/ 3821691 w 6630249"/>
              <a:gd name="connsiteY3436" fmla="*/ 1903150 h 6750795"/>
              <a:gd name="connsiteX3437" fmla="*/ 3855035 w 6630249"/>
              <a:gd name="connsiteY3437" fmla="*/ 1856982 h 6750795"/>
              <a:gd name="connsiteX3438" fmla="*/ 3870424 w 6630249"/>
              <a:gd name="connsiteY3438" fmla="*/ 1787730 h 6750795"/>
              <a:gd name="connsiteX3439" fmla="*/ 3883249 w 6630249"/>
              <a:gd name="connsiteY3439" fmla="*/ 1733868 h 6750795"/>
              <a:gd name="connsiteX3440" fmla="*/ 3888379 w 6630249"/>
              <a:gd name="connsiteY3440" fmla="*/ 1708219 h 6750795"/>
              <a:gd name="connsiteX3441" fmla="*/ 3890944 w 6630249"/>
              <a:gd name="connsiteY3441" fmla="*/ 1708219 h 6750795"/>
              <a:gd name="connsiteX3442" fmla="*/ 3939677 w 6630249"/>
              <a:gd name="connsiteY3442" fmla="*/ 1597929 h 6750795"/>
              <a:gd name="connsiteX3443" fmla="*/ 4052532 w 6630249"/>
              <a:gd name="connsiteY3443" fmla="*/ 1479943 h 6750795"/>
              <a:gd name="connsiteX3444" fmla="*/ 4126914 w 6630249"/>
              <a:gd name="connsiteY3444" fmla="*/ 1418385 h 6750795"/>
              <a:gd name="connsiteX3445" fmla="*/ 4216685 w 6630249"/>
              <a:gd name="connsiteY3445" fmla="*/ 1302965 h 6750795"/>
              <a:gd name="connsiteX3446" fmla="*/ 4267983 w 6630249"/>
              <a:gd name="connsiteY3446" fmla="*/ 1210629 h 6750795"/>
              <a:gd name="connsiteX3447" fmla="*/ 4291067 w 6630249"/>
              <a:gd name="connsiteY3447" fmla="*/ 1151637 h 6750795"/>
              <a:gd name="connsiteX3448" fmla="*/ 4301327 w 6630249"/>
              <a:gd name="connsiteY3448" fmla="*/ 1110598 h 6750795"/>
              <a:gd name="connsiteX3449" fmla="*/ 4321846 w 6630249"/>
              <a:gd name="connsiteY3449" fmla="*/ 897711 h 6750795"/>
              <a:gd name="connsiteX3450" fmla="*/ 4303891 w 6630249"/>
              <a:gd name="connsiteY3450" fmla="*/ 1110598 h 6750795"/>
              <a:gd name="connsiteX3451" fmla="*/ 4298762 w 6630249"/>
              <a:gd name="connsiteY3451" fmla="*/ 1133682 h 6750795"/>
              <a:gd name="connsiteX3452" fmla="*/ 4301327 w 6630249"/>
              <a:gd name="connsiteY3452" fmla="*/ 1128553 h 6750795"/>
              <a:gd name="connsiteX3453" fmla="*/ 4665541 w 6630249"/>
              <a:gd name="connsiteY3453" fmla="*/ 613009 h 6750795"/>
              <a:gd name="connsiteX3454" fmla="*/ 4852779 w 6630249"/>
              <a:gd name="connsiteY3454" fmla="*/ 369344 h 6750795"/>
              <a:gd name="connsiteX3455" fmla="*/ 4996412 w 6630249"/>
              <a:gd name="connsiteY3455" fmla="*/ 53862 h 6750795"/>
              <a:gd name="connsiteX3456" fmla="*/ 4852779 w 6630249"/>
              <a:gd name="connsiteY3456" fmla="*/ 371909 h 6750795"/>
              <a:gd name="connsiteX3457" fmla="*/ 4665541 w 6630249"/>
              <a:gd name="connsiteY3457" fmla="*/ 620704 h 6750795"/>
              <a:gd name="connsiteX3458" fmla="*/ 4473174 w 6630249"/>
              <a:gd name="connsiteY3458" fmla="*/ 854108 h 6750795"/>
              <a:gd name="connsiteX3459" fmla="*/ 4306456 w 6630249"/>
              <a:gd name="connsiteY3459" fmla="*/ 1138812 h 6750795"/>
              <a:gd name="connsiteX3460" fmla="*/ 4260288 w 6630249"/>
              <a:gd name="connsiteY3460" fmla="*/ 1272187 h 6750795"/>
              <a:gd name="connsiteX3461" fmla="*/ 4375708 w 6630249"/>
              <a:gd name="connsiteY3461" fmla="*/ 1108033 h 6750795"/>
              <a:gd name="connsiteX3462" fmla="*/ 4257723 w 6630249"/>
              <a:gd name="connsiteY3462" fmla="*/ 1282446 h 6750795"/>
              <a:gd name="connsiteX3463" fmla="*/ 4250029 w 6630249"/>
              <a:gd name="connsiteY3463" fmla="*/ 1315790 h 6750795"/>
              <a:gd name="connsiteX3464" fmla="*/ 4211555 w 6630249"/>
              <a:gd name="connsiteY3464" fmla="*/ 1497898 h 6750795"/>
              <a:gd name="connsiteX3465" fmla="*/ 4344930 w 6630249"/>
              <a:gd name="connsiteY3465" fmla="*/ 1382477 h 6750795"/>
              <a:gd name="connsiteX3466" fmla="*/ 4611679 w 6630249"/>
              <a:gd name="connsiteY3466" fmla="*/ 1036216 h 6750795"/>
              <a:gd name="connsiteX3467" fmla="*/ 4347494 w 6630249"/>
              <a:gd name="connsiteY3467" fmla="*/ 1387607 h 6750795"/>
              <a:gd name="connsiteX3468" fmla="*/ 4211555 w 6630249"/>
              <a:gd name="connsiteY3468" fmla="*/ 1508157 h 6750795"/>
              <a:gd name="connsiteX3469" fmla="*/ 4183341 w 6630249"/>
              <a:gd name="connsiteY3469" fmla="*/ 1641532 h 6750795"/>
              <a:gd name="connsiteX3470" fmla="*/ 4229510 w 6630249"/>
              <a:gd name="connsiteY3470" fmla="*/ 1579975 h 6750795"/>
              <a:gd name="connsiteX3471" fmla="*/ 4350060 w 6630249"/>
              <a:gd name="connsiteY3471" fmla="*/ 1405561 h 6750795"/>
              <a:gd name="connsiteX3472" fmla="*/ 4556012 w 6630249"/>
              <a:gd name="connsiteY3472" fmla="*/ 1227381 h 6750795"/>
              <a:gd name="connsiteX3473" fmla="*/ 4617869 w 6630249"/>
              <a:gd name="connsiteY3473" fmla="*/ 1192702 h 6750795"/>
              <a:gd name="connsiteX3474" fmla="*/ 4616849 w 6630249"/>
              <a:gd name="connsiteY3474" fmla="*/ 1191977 h 6750795"/>
              <a:gd name="connsiteX3475" fmla="*/ 4618382 w 6630249"/>
              <a:gd name="connsiteY3475" fmla="*/ 1192414 h 6750795"/>
              <a:gd name="connsiteX3476" fmla="*/ 4627068 w 6630249"/>
              <a:gd name="connsiteY3476" fmla="*/ 1187545 h 6750795"/>
              <a:gd name="connsiteX3477" fmla="*/ 4618703 w 6630249"/>
              <a:gd name="connsiteY3477" fmla="*/ 1192506 h 6750795"/>
              <a:gd name="connsiteX3478" fmla="*/ 4619374 w 6630249"/>
              <a:gd name="connsiteY3478" fmla="*/ 1192698 h 6750795"/>
              <a:gd name="connsiteX3479" fmla="*/ 4622305 w 6630249"/>
              <a:gd name="connsiteY3479" fmla="*/ 1195854 h 6750795"/>
              <a:gd name="connsiteX3480" fmla="*/ 4618099 w 6630249"/>
              <a:gd name="connsiteY3480" fmla="*/ 1192865 h 6750795"/>
              <a:gd name="connsiteX3481" fmla="*/ 4596387 w 6630249"/>
              <a:gd name="connsiteY3481" fmla="*/ 1205742 h 6750795"/>
              <a:gd name="connsiteX3482" fmla="*/ 4604625 w 6630249"/>
              <a:gd name="connsiteY3482" fmla="*/ 1224438 h 6750795"/>
              <a:gd name="connsiteX3483" fmla="*/ 4609114 w 6630249"/>
              <a:gd name="connsiteY3483" fmla="*/ 1249125 h 6750795"/>
              <a:gd name="connsiteX3484" fmla="*/ 4599816 w 6630249"/>
              <a:gd name="connsiteY3484" fmla="*/ 1229247 h 6750795"/>
              <a:gd name="connsiteX3485" fmla="*/ 4596328 w 6630249"/>
              <a:gd name="connsiteY3485" fmla="*/ 1205777 h 6750795"/>
              <a:gd name="connsiteX3486" fmla="*/ 4556052 w 6630249"/>
              <a:gd name="connsiteY3486" fmla="*/ 1229665 h 6750795"/>
              <a:gd name="connsiteX3487" fmla="*/ 4352625 w 6630249"/>
              <a:gd name="connsiteY3487" fmla="*/ 1413256 h 6750795"/>
              <a:gd name="connsiteX3488" fmla="*/ 4234639 w 6630249"/>
              <a:gd name="connsiteY3488" fmla="*/ 1590234 h 6750795"/>
              <a:gd name="connsiteX3489" fmla="*/ 4178212 w 6630249"/>
              <a:gd name="connsiteY3489" fmla="*/ 1667181 h 6750795"/>
              <a:gd name="connsiteX3490" fmla="*/ 4119219 w 6630249"/>
              <a:gd name="connsiteY3490" fmla="*/ 1841593 h 6750795"/>
              <a:gd name="connsiteX3491" fmla="*/ 4060226 w 6630249"/>
              <a:gd name="connsiteY3491" fmla="*/ 1939059 h 6750795"/>
              <a:gd name="connsiteX3492" fmla="*/ 4055097 w 6630249"/>
              <a:gd name="connsiteY3492" fmla="*/ 1974967 h 6750795"/>
              <a:gd name="connsiteX3493" fmla="*/ 4103830 w 6630249"/>
              <a:gd name="connsiteY3493" fmla="*/ 2167332 h 6750795"/>
              <a:gd name="connsiteX3494" fmla="*/ 4096135 w 6630249"/>
              <a:gd name="connsiteY3494" fmla="*/ 2172463 h 6750795"/>
              <a:gd name="connsiteX3495" fmla="*/ 4332105 w 6630249"/>
              <a:gd name="connsiteY3495" fmla="*/ 2313533 h 6750795"/>
              <a:gd name="connsiteX3496" fmla="*/ 4391098 w 6630249"/>
              <a:gd name="connsiteY3496" fmla="*/ 2216066 h 6750795"/>
              <a:gd name="connsiteX3497" fmla="*/ 4675801 w 6630249"/>
              <a:gd name="connsiteY3497" fmla="*/ 1662051 h 6750795"/>
              <a:gd name="connsiteX3498" fmla="*/ 4957939 w 6630249"/>
              <a:gd name="connsiteY3498" fmla="*/ 1246538 h 6750795"/>
              <a:gd name="connsiteX3499" fmla="*/ 4947680 w 6630249"/>
              <a:gd name="connsiteY3499" fmla="*/ 1241408 h 6750795"/>
              <a:gd name="connsiteX3500" fmla="*/ 4950244 w 6630249"/>
              <a:gd name="connsiteY3500" fmla="*/ 1223454 h 6750795"/>
              <a:gd name="connsiteX3501" fmla="*/ 4963069 w 6630249"/>
              <a:gd name="connsiteY3501" fmla="*/ 1241408 h 6750795"/>
              <a:gd name="connsiteX3502" fmla="*/ 4973329 w 6630249"/>
              <a:gd name="connsiteY3502" fmla="*/ 1231148 h 6750795"/>
              <a:gd name="connsiteX3503" fmla="*/ 4978458 w 6630249"/>
              <a:gd name="connsiteY3503" fmla="*/ 1205499 h 6750795"/>
              <a:gd name="connsiteX3504" fmla="*/ 4993848 w 6630249"/>
              <a:gd name="connsiteY3504" fmla="*/ 1200370 h 6750795"/>
              <a:gd name="connsiteX3505" fmla="*/ 4993848 w 6630249"/>
              <a:gd name="connsiteY3505" fmla="*/ 1184980 h 6750795"/>
              <a:gd name="connsiteX3506" fmla="*/ 5009237 w 6630249"/>
              <a:gd name="connsiteY3506" fmla="*/ 1172156 h 6750795"/>
              <a:gd name="connsiteX3507" fmla="*/ 5019497 w 6630249"/>
              <a:gd name="connsiteY3507" fmla="*/ 1190110 h 6750795"/>
              <a:gd name="connsiteX3508" fmla="*/ 5373452 w 6630249"/>
              <a:gd name="connsiteY3508" fmla="*/ 1128553 h 6750795"/>
              <a:gd name="connsiteX3509" fmla="*/ 5024626 w 6630249"/>
              <a:gd name="connsiteY3509" fmla="*/ 1200370 h 6750795"/>
              <a:gd name="connsiteX3510" fmla="*/ 5029756 w 6630249"/>
              <a:gd name="connsiteY3510" fmla="*/ 1200370 h 6750795"/>
              <a:gd name="connsiteX3511" fmla="*/ 5024626 w 6630249"/>
              <a:gd name="connsiteY3511" fmla="*/ 1215759 h 6750795"/>
              <a:gd name="connsiteX3512" fmla="*/ 5029756 w 6630249"/>
              <a:gd name="connsiteY3512" fmla="*/ 1210629 h 6750795"/>
              <a:gd name="connsiteX3513" fmla="*/ 5024626 w 6630249"/>
              <a:gd name="connsiteY3513" fmla="*/ 1277316 h 6750795"/>
              <a:gd name="connsiteX3514" fmla="*/ 5012443 w 6630249"/>
              <a:gd name="connsiteY3514" fmla="*/ 1286614 h 6750795"/>
              <a:gd name="connsiteX3515" fmla="*/ 5004124 w 6630249"/>
              <a:gd name="connsiteY3515" fmla="*/ 1297813 h 6750795"/>
              <a:gd name="connsiteX3516" fmla="*/ 5012122 w 6630249"/>
              <a:gd name="connsiteY3516" fmla="*/ 1313567 h 6750795"/>
              <a:gd name="connsiteX3517" fmla="*/ 5009237 w 6630249"/>
              <a:gd name="connsiteY3517" fmla="*/ 1344026 h 6750795"/>
              <a:gd name="connsiteX3518" fmla="*/ 4991283 w 6630249"/>
              <a:gd name="connsiteY3518" fmla="*/ 1338896 h 6750795"/>
              <a:gd name="connsiteX3519" fmla="*/ 4988718 w 6630249"/>
              <a:gd name="connsiteY3519" fmla="*/ 1320941 h 6750795"/>
              <a:gd name="connsiteX3520" fmla="*/ 5004107 w 6630249"/>
              <a:gd name="connsiteY3520" fmla="*/ 1310681 h 6750795"/>
              <a:gd name="connsiteX3521" fmla="*/ 5000901 w 6630249"/>
              <a:gd name="connsiteY3521" fmla="*/ 1301704 h 6750795"/>
              <a:gd name="connsiteX3522" fmla="*/ 5001328 w 6630249"/>
              <a:gd name="connsiteY3522" fmla="*/ 1295722 h 6750795"/>
              <a:gd name="connsiteX3523" fmla="*/ 4995411 w 6630249"/>
              <a:gd name="connsiteY3523" fmla="*/ 1291223 h 6750795"/>
              <a:gd name="connsiteX3524" fmla="*/ 4978458 w 6630249"/>
              <a:gd name="connsiteY3524" fmla="*/ 1267057 h 6750795"/>
              <a:gd name="connsiteX3525" fmla="*/ 4975893 w 6630249"/>
              <a:gd name="connsiteY3525" fmla="*/ 1249103 h 6750795"/>
              <a:gd name="connsiteX3526" fmla="*/ 4897865 w 6630249"/>
              <a:gd name="connsiteY3526" fmla="*/ 1338794 h 6750795"/>
              <a:gd name="connsiteX3527" fmla="*/ 4829711 w 6630249"/>
              <a:gd name="connsiteY3527" fmla="*/ 1436477 h 6750795"/>
              <a:gd name="connsiteX3528" fmla="*/ 4834355 w 6630249"/>
              <a:gd name="connsiteY3528" fmla="*/ 1449784 h 6750795"/>
              <a:gd name="connsiteX3529" fmla="*/ 4829695 w 6630249"/>
              <a:gd name="connsiteY3529" fmla="*/ 1462023 h 6750795"/>
              <a:gd name="connsiteX3530" fmla="*/ 4820917 w 6630249"/>
              <a:gd name="connsiteY3530" fmla="*/ 1456934 h 6750795"/>
              <a:gd name="connsiteX3531" fmla="*/ 4819651 w 6630249"/>
              <a:gd name="connsiteY3531" fmla="*/ 1452176 h 6750795"/>
              <a:gd name="connsiteX3532" fmla="*/ 4756234 w 6630249"/>
              <a:gd name="connsiteY3532" fmla="*/ 1558573 h 6750795"/>
              <a:gd name="connsiteX3533" fmla="*/ 4691190 w 6630249"/>
              <a:gd name="connsiteY3533" fmla="*/ 1680005 h 6750795"/>
              <a:gd name="connsiteX3534" fmla="*/ 4414182 w 6630249"/>
              <a:gd name="connsiteY3534" fmla="*/ 2241718 h 6750795"/>
              <a:gd name="connsiteX3535" fmla="*/ 4385968 w 6630249"/>
              <a:gd name="connsiteY3535" fmla="*/ 2293014 h 6750795"/>
              <a:gd name="connsiteX3536" fmla="*/ 4506518 w 6630249"/>
              <a:gd name="connsiteY3536" fmla="*/ 2226327 h 6750795"/>
              <a:gd name="connsiteX3537" fmla="*/ 4516778 w 6630249"/>
              <a:gd name="connsiteY3537" fmla="*/ 2195544 h 6750795"/>
              <a:gd name="connsiteX3538" fmla="*/ 4591159 w 6630249"/>
              <a:gd name="connsiteY3538" fmla="*/ 2126297 h 6750795"/>
              <a:gd name="connsiteX3539" fmla="*/ 4706579 w 6630249"/>
              <a:gd name="connsiteY3539" fmla="*/ 2016006 h 6750795"/>
              <a:gd name="connsiteX3540" fmla="*/ 4837389 w 6630249"/>
              <a:gd name="connsiteY3540" fmla="*/ 2136555 h 6750795"/>
              <a:gd name="connsiteX3541" fmla="*/ 4883557 w 6630249"/>
              <a:gd name="connsiteY3541" fmla="*/ 2167332 h 6750795"/>
              <a:gd name="connsiteX3542" fmla="*/ 4919466 w 6630249"/>
              <a:gd name="connsiteY3542" fmla="*/ 2226327 h 6750795"/>
              <a:gd name="connsiteX3543" fmla="*/ 4996412 w 6630249"/>
              <a:gd name="connsiteY3543" fmla="*/ 2331486 h 6750795"/>
              <a:gd name="connsiteX3544" fmla="*/ 5009237 w 6630249"/>
              <a:gd name="connsiteY3544" fmla="*/ 2305838 h 6750795"/>
              <a:gd name="connsiteX3545" fmla="*/ 5001542 w 6630249"/>
              <a:gd name="connsiteY3545" fmla="*/ 2339180 h 6750795"/>
              <a:gd name="connsiteX3546" fmla="*/ 5009237 w 6630249"/>
              <a:gd name="connsiteY3546" fmla="*/ 2487945 h 6750795"/>
              <a:gd name="connsiteX3547" fmla="*/ 4947680 w 6630249"/>
              <a:gd name="connsiteY3547" fmla="*/ 2562327 h 6750795"/>
              <a:gd name="connsiteX3548" fmla="*/ 4952809 w 6630249"/>
              <a:gd name="connsiteY3548" fmla="*/ 2562327 h 6750795"/>
              <a:gd name="connsiteX3549" fmla="*/ 4932290 w 6630249"/>
              <a:gd name="connsiteY3549" fmla="*/ 2585411 h 6750795"/>
              <a:gd name="connsiteX3550" fmla="*/ 4932290 w 6630249"/>
              <a:gd name="connsiteY3550" fmla="*/ 2577716 h 6750795"/>
              <a:gd name="connsiteX3551" fmla="*/ 4901512 w 6630249"/>
              <a:gd name="connsiteY3551" fmla="*/ 2629015 h 6750795"/>
              <a:gd name="connsiteX3552" fmla="*/ 4852779 w 6630249"/>
              <a:gd name="connsiteY3552" fmla="*/ 2652099 h 6750795"/>
              <a:gd name="connsiteX3553" fmla="*/ 4860473 w 6630249"/>
              <a:gd name="connsiteY3553" fmla="*/ 2682878 h 6750795"/>
              <a:gd name="connsiteX3554" fmla="*/ 4870733 w 6630249"/>
              <a:gd name="connsiteY3554" fmla="*/ 2685443 h 6750795"/>
              <a:gd name="connsiteX3555" fmla="*/ 4868168 w 6630249"/>
              <a:gd name="connsiteY3555" fmla="*/ 2713656 h 6750795"/>
              <a:gd name="connsiteX3556" fmla="*/ 4878428 w 6630249"/>
              <a:gd name="connsiteY3556" fmla="*/ 2757259 h 6750795"/>
              <a:gd name="connsiteX3557" fmla="*/ 4896382 w 6630249"/>
              <a:gd name="connsiteY3557" fmla="*/ 2723916 h 6750795"/>
              <a:gd name="connsiteX3558" fmla="*/ 5042581 w 6630249"/>
              <a:gd name="connsiteY3558" fmla="*/ 2649534 h 6750795"/>
              <a:gd name="connsiteX3559" fmla="*/ 5063100 w 6630249"/>
              <a:gd name="connsiteY3559" fmla="*/ 2639273 h 6750795"/>
              <a:gd name="connsiteX3560" fmla="*/ 5063100 w 6630249"/>
              <a:gd name="connsiteY3560" fmla="*/ 2646968 h 6750795"/>
              <a:gd name="connsiteX3561" fmla="*/ 5070795 w 6630249"/>
              <a:gd name="connsiteY3561" fmla="*/ 2646968 h 6750795"/>
              <a:gd name="connsiteX3562" fmla="*/ 5070795 w 6630249"/>
              <a:gd name="connsiteY3562" fmla="*/ 2644403 h 6750795"/>
              <a:gd name="connsiteX3563" fmla="*/ 5055405 w 6630249"/>
              <a:gd name="connsiteY3563" fmla="*/ 2626449 h 6750795"/>
              <a:gd name="connsiteX3564" fmla="*/ 5042581 w 6630249"/>
              <a:gd name="connsiteY3564" fmla="*/ 2495638 h 6750795"/>
              <a:gd name="connsiteX3565" fmla="*/ 5086184 w 6630249"/>
              <a:gd name="connsiteY3565" fmla="*/ 2544372 h 6750795"/>
              <a:gd name="connsiteX3566" fmla="*/ 5093878 w 6630249"/>
              <a:gd name="connsiteY3566" fmla="*/ 2562327 h 6750795"/>
              <a:gd name="connsiteX3567" fmla="*/ 5093878 w 6630249"/>
              <a:gd name="connsiteY3567" fmla="*/ 2564892 h 6750795"/>
              <a:gd name="connsiteX3568" fmla="*/ 5101573 w 6630249"/>
              <a:gd name="connsiteY3568" fmla="*/ 2582846 h 6750795"/>
              <a:gd name="connsiteX3569" fmla="*/ 5104138 w 6630249"/>
              <a:gd name="connsiteY3569" fmla="*/ 2585411 h 6750795"/>
              <a:gd name="connsiteX3570" fmla="*/ 5114398 w 6630249"/>
              <a:gd name="connsiteY3570" fmla="*/ 2603365 h 6750795"/>
              <a:gd name="connsiteX3571" fmla="*/ 5127222 w 6630249"/>
              <a:gd name="connsiteY3571" fmla="*/ 2621320 h 6750795"/>
              <a:gd name="connsiteX3572" fmla="*/ 5129787 w 6630249"/>
              <a:gd name="connsiteY3572" fmla="*/ 2621320 h 6750795"/>
              <a:gd name="connsiteX3573" fmla="*/ 5137482 w 6630249"/>
              <a:gd name="connsiteY3573" fmla="*/ 2629015 h 6750795"/>
              <a:gd name="connsiteX3574" fmla="*/ 5129787 w 6630249"/>
              <a:gd name="connsiteY3574" fmla="*/ 2626449 h 6750795"/>
              <a:gd name="connsiteX3575" fmla="*/ 5134917 w 6630249"/>
              <a:gd name="connsiteY3575" fmla="*/ 2657229 h 6750795"/>
              <a:gd name="connsiteX3576" fmla="*/ 5152871 w 6630249"/>
              <a:gd name="connsiteY3576" fmla="*/ 2649534 h 6750795"/>
              <a:gd name="connsiteX3577" fmla="*/ 5127222 w 6630249"/>
              <a:gd name="connsiteY3577" fmla="*/ 2570021 h 6750795"/>
              <a:gd name="connsiteX3578" fmla="*/ 5158001 w 6630249"/>
              <a:gd name="connsiteY3578" fmla="*/ 2570021 h 6750795"/>
              <a:gd name="connsiteX3579" fmla="*/ 5163131 w 6630249"/>
              <a:gd name="connsiteY3579" fmla="*/ 2528982 h 6750795"/>
              <a:gd name="connsiteX3580" fmla="*/ 5209299 w 6630249"/>
              <a:gd name="connsiteY3580" fmla="*/ 2503334 h 6750795"/>
              <a:gd name="connsiteX3581" fmla="*/ 5183650 w 6630249"/>
              <a:gd name="connsiteY3581" fmla="*/ 2457166 h 6750795"/>
              <a:gd name="connsiteX3582" fmla="*/ 5199039 w 6630249"/>
              <a:gd name="connsiteY3582" fmla="*/ 2421258 h 6750795"/>
              <a:gd name="connsiteX3583" fmla="*/ 5152871 w 6630249"/>
              <a:gd name="connsiteY3583" fmla="*/ 2395610 h 6750795"/>
              <a:gd name="connsiteX3584" fmla="*/ 5188779 w 6630249"/>
              <a:gd name="connsiteY3584" fmla="*/ 2300709 h 6750795"/>
              <a:gd name="connsiteX3585" fmla="*/ 5234948 w 6630249"/>
              <a:gd name="connsiteY3585" fmla="*/ 2254542 h 6750795"/>
              <a:gd name="connsiteX3586" fmla="*/ 5214428 w 6630249"/>
              <a:gd name="connsiteY3586" fmla="*/ 2213500 h 6750795"/>
              <a:gd name="connsiteX3587" fmla="*/ 5260597 w 6630249"/>
              <a:gd name="connsiteY3587" fmla="*/ 2192979 h 6750795"/>
              <a:gd name="connsiteX3588" fmla="*/ 5301635 w 6630249"/>
              <a:gd name="connsiteY3588" fmla="*/ 2192979 h 6750795"/>
              <a:gd name="connsiteX3589" fmla="*/ 5327284 w 6630249"/>
              <a:gd name="connsiteY3589" fmla="*/ 2103211 h 6750795"/>
              <a:gd name="connsiteX3590" fmla="*/ 5306765 w 6630249"/>
              <a:gd name="connsiteY3590" fmla="*/ 2087822 h 6750795"/>
              <a:gd name="connsiteX3591" fmla="*/ 5301635 w 6630249"/>
              <a:gd name="connsiteY3591" fmla="*/ 1998051 h 6750795"/>
              <a:gd name="connsiteX3592" fmla="*/ 5401666 w 6630249"/>
              <a:gd name="connsiteY3592" fmla="*/ 1962143 h 6750795"/>
              <a:gd name="connsiteX3593" fmla="*/ 5401666 w 6630249"/>
              <a:gd name="connsiteY3593" fmla="*/ 1959578 h 6750795"/>
              <a:gd name="connsiteX3594" fmla="*/ 5391406 w 6630249"/>
              <a:gd name="connsiteY3594" fmla="*/ 1964708 h 6750795"/>
              <a:gd name="connsiteX3595" fmla="*/ 5388841 w 6630249"/>
              <a:gd name="connsiteY3595" fmla="*/ 1944188 h 6750795"/>
              <a:gd name="connsiteX3596" fmla="*/ 5391406 w 6630249"/>
              <a:gd name="connsiteY3596" fmla="*/ 1939059 h 6750795"/>
              <a:gd name="connsiteX3597" fmla="*/ 5401666 w 6630249"/>
              <a:gd name="connsiteY3597" fmla="*/ 1939059 h 6750795"/>
              <a:gd name="connsiteX3598" fmla="*/ 5452964 w 6630249"/>
              <a:gd name="connsiteY3598" fmla="*/ 1854417 h 6750795"/>
              <a:gd name="connsiteX3599" fmla="*/ 5506826 w 6630249"/>
              <a:gd name="connsiteY3599" fmla="*/ 1828769 h 6750795"/>
              <a:gd name="connsiteX3600" fmla="*/ 5522216 w 6630249"/>
              <a:gd name="connsiteY3600" fmla="*/ 1795426 h 6750795"/>
              <a:gd name="connsiteX3601" fmla="*/ 5537605 w 6630249"/>
              <a:gd name="connsiteY3601" fmla="*/ 1836463 h 6750795"/>
              <a:gd name="connsiteX3602" fmla="*/ 5570949 w 6630249"/>
              <a:gd name="connsiteY3602" fmla="*/ 1826203 h 6750795"/>
              <a:gd name="connsiteX3603" fmla="*/ 5622247 w 6630249"/>
              <a:gd name="connsiteY3603" fmla="*/ 1751823 h 6750795"/>
              <a:gd name="connsiteX3604" fmla="*/ 5617117 w 6630249"/>
              <a:gd name="connsiteY3604" fmla="*/ 1692830 h 6750795"/>
              <a:gd name="connsiteX3605" fmla="*/ 5647896 w 6630249"/>
              <a:gd name="connsiteY3605" fmla="*/ 1677441 h 6750795"/>
              <a:gd name="connsiteX3606" fmla="*/ 5722277 w 6630249"/>
              <a:gd name="connsiteY3606" fmla="*/ 1687700 h 6750795"/>
              <a:gd name="connsiteX3607" fmla="*/ 5722277 w 6630249"/>
              <a:gd name="connsiteY3607" fmla="*/ 1772342 h 6750795"/>
              <a:gd name="connsiteX3608" fmla="*/ 5773575 w 6630249"/>
              <a:gd name="connsiteY3608" fmla="*/ 1772342 h 6750795"/>
              <a:gd name="connsiteX3609" fmla="*/ 5788965 w 6630249"/>
              <a:gd name="connsiteY3609" fmla="*/ 1813380 h 6750795"/>
              <a:gd name="connsiteX3610" fmla="*/ 5909515 w 6630249"/>
              <a:gd name="connsiteY3610" fmla="*/ 1818510 h 6750795"/>
              <a:gd name="connsiteX3611" fmla="*/ 5983896 w 6630249"/>
              <a:gd name="connsiteY3611" fmla="*/ 1882631 h 6750795"/>
              <a:gd name="connsiteX3612" fmla="*/ 5983896 w 6630249"/>
              <a:gd name="connsiteY3612" fmla="*/ 1877501 h 6750795"/>
              <a:gd name="connsiteX3613" fmla="*/ 5989026 w 6630249"/>
              <a:gd name="connsiteY3613" fmla="*/ 1885196 h 6750795"/>
              <a:gd name="connsiteX3614" fmla="*/ 6014675 w 6630249"/>
              <a:gd name="connsiteY3614" fmla="*/ 1933929 h 6750795"/>
              <a:gd name="connsiteX3615" fmla="*/ 6330157 w 6630249"/>
              <a:gd name="connsiteY3615" fmla="*/ 2208371 h 6750795"/>
              <a:gd name="connsiteX3616" fmla="*/ 6304508 w 6630249"/>
              <a:gd name="connsiteY3616" fmla="*/ 2239152 h 6750795"/>
              <a:gd name="connsiteX3617" fmla="*/ 6317332 w 6630249"/>
              <a:gd name="connsiteY3617" fmla="*/ 2254542 h 6750795"/>
              <a:gd name="connsiteX3618" fmla="*/ 6342981 w 6630249"/>
              <a:gd name="connsiteY3618" fmla="*/ 2221197 h 6750795"/>
              <a:gd name="connsiteX3619" fmla="*/ 6353241 w 6630249"/>
              <a:gd name="connsiteY3619" fmla="*/ 2262236 h 6750795"/>
              <a:gd name="connsiteX3620" fmla="*/ 6358371 w 6630249"/>
              <a:gd name="connsiteY3620" fmla="*/ 2275060 h 6750795"/>
              <a:gd name="connsiteX3621" fmla="*/ 6345546 w 6630249"/>
              <a:gd name="connsiteY3621" fmla="*/ 2275060 h 6750795"/>
              <a:gd name="connsiteX3622" fmla="*/ 6337852 w 6630249"/>
              <a:gd name="connsiteY3622" fmla="*/ 2285320 h 6750795"/>
              <a:gd name="connsiteX3623" fmla="*/ 6340417 w 6630249"/>
              <a:gd name="connsiteY3623" fmla="*/ 2275060 h 6750795"/>
              <a:gd name="connsiteX3624" fmla="*/ 6325027 w 6630249"/>
              <a:gd name="connsiteY3624" fmla="*/ 2275060 h 6750795"/>
              <a:gd name="connsiteX3625" fmla="*/ 6325027 w 6630249"/>
              <a:gd name="connsiteY3625" fmla="*/ 2321228 h 6750795"/>
              <a:gd name="connsiteX3626" fmla="*/ 6283989 w 6630249"/>
              <a:gd name="connsiteY3626" fmla="*/ 2367394 h 6750795"/>
              <a:gd name="connsiteX3627" fmla="*/ 6253210 w 6630249"/>
              <a:gd name="connsiteY3627" fmla="*/ 2398174 h 6750795"/>
              <a:gd name="connsiteX3628" fmla="*/ 6227561 w 6630249"/>
              <a:gd name="connsiteY3628" fmla="*/ 2387914 h 6750795"/>
              <a:gd name="connsiteX3629" fmla="*/ 6132660 w 6630249"/>
              <a:gd name="connsiteY3629" fmla="*/ 2428952 h 6750795"/>
              <a:gd name="connsiteX3630" fmla="*/ 6073668 w 6630249"/>
              <a:gd name="connsiteY3630" fmla="*/ 2382784 h 6750795"/>
              <a:gd name="connsiteX3631" fmla="*/ 5958247 w 6630249"/>
              <a:gd name="connsiteY3631" fmla="*/ 2362264 h 6750795"/>
              <a:gd name="connsiteX3632" fmla="*/ 5963377 w 6630249"/>
              <a:gd name="connsiteY3632" fmla="*/ 2321228 h 6750795"/>
              <a:gd name="connsiteX3633" fmla="*/ 5883866 w 6630249"/>
              <a:gd name="connsiteY3633" fmla="*/ 2331486 h 6750795"/>
              <a:gd name="connsiteX3634" fmla="*/ 5930034 w 6630249"/>
              <a:gd name="connsiteY3634" fmla="*/ 2310968 h 6750795"/>
              <a:gd name="connsiteX3635" fmla="*/ 5914644 w 6630249"/>
              <a:gd name="connsiteY3635" fmla="*/ 2246846 h 6750795"/>
              <a:gd name="connsiteX3636" fmla="*/ 5924904 w 6630249"/>
              <a:gd name="connsiteY3636" fmla="*/ 2210934 h 6750795"/>
              <a:gd name="connsiteX3637" fmla="*/ 5860781 w 6630249"/>
              <a:gd name="connsiteY3637" fmla="*/ 2141684 h 6750795"/>
              <a:gd name="connsiteX3638" fmla="*/ 5855652 w 6630249"/>
              <a:gd name="connsiteY3638" fmla="*/ 2095516 h 6750795"/>
              <a:gd name="connsiteX3639" fmla="*/ 5824873 w 6630249"/>
              <a:gd name="connsiteY3639" fmla="*/ 2095516 h 6750795"/>
              <a:gd name="connsiteX3640" fmla="*/ 5827438 w 6630249"/>
              <a:gd name="connsiteY3640" fmla="*/ 2087822 h 6750795"/>
              <a:gd name="connsiteX3641" fmla="*/ 5853087 w 6630249"/>
              <a:gd name="connsiteY3641" fmla="*/ 2092951 h 6750795"/>
              <a:gd name="connsiteX3642" fmla="*/ 5827438 w 6630249"/>
              <a:gd name="connsiteY3642" fmla="*/ 2059609 h 6750795"/>
              <a:gd name="connsiteX3643" fmla="*/ 5858217 w 6630249"/>
              <a:gd name="connsiteY3643" fmla="*/ 2069868 h 6750795"/>
              <a:gd name="connsiteX3644" fmla="*/ 5822308 w 6630249"/>
              <a:gd name="connsiteY3644" fmla="*/ 2023701 h 6750795"/>
              <a:gd name="connsiteX3645" fmla="*/ 5830003 w 6630249"/>
              <a:gd name="connsiteY3645" fmla="*/ 1980097 h 6750795"/>
              <a:gd name="connsiteX3646" fmla="*/ 5824873 w 6630249"/>
              <a:gd name="connsiteY3646" fmla="*/ 1982662 h 6750795"/>
              <a:gd name="connsiteX3647" fmla="*/ 5822308 w 6630249"/>
              <a:gd name="connsiteY3647" fmla="*/ 1977532 h 6750795"/>
              <a:gd name="connsiteX3648" fmla="*/ 5827438 w 6630249"/>
              <a:gd name="connsiteY3648" fmla="*/ 1967273 h 6750795"/>
              <a:gd name="connsiteX3649" fmla="*/ 5825818 w 6630249"/>
              <a:gd name="connsiteY3649" fmla="*/ 1962413 h 6750795"/>
              <a:gd name="connsiteX3650" fmla="*/ 5827438 w 6630249"/>
              <a:gd name="connsiteY3650" fmla="*/ 1957013 h 6750795"/>
              <a:gd name="connsiteX3651" fmla="*/ 5824569 w 6630249"/>
              <a:gd name="connsiteY3651" fmla="*/ 1958666 h 6750795"/>
              <a:gd name="connsiteX3652" fmla="*/ 5817178 w 6630249"/>
              <a:gd name="connsiteY3652" fmla="*/ 1936494 h 6750795"/>
              <a:gd name="connsiteX3653" fmla="*/ 5812049 w 6630249"/>
              <a:gd name="connsiteY3653" fmla="*/ 1939059 h 6750795"/>
              <a:gd name="connsiteX3654" fmla="*/ 5786400 w 6630249"/>
              <a:gd name="connsiteY3654" fmla="*/ 1939059 h 6750795"/>
              <a:gd name="connsiteX3655" fmla="*/ 5806919 w 6630249"/>
              <a:gd name="connsiteY3655" fmla="*/ 1910845 h 6750795"/>
              <a:gd name="connsiteX3656" fmla="*/ 5799224 w 6630249"/>
              <a:gd name="connsiteY3656" fmla="*/ 1892891 h 6750795"/>
              <a:gd name="connsiteX3657" fmla="*/ 5799224 w 6630249"/>
              <a:gd name="connsiteY3657" fmla="*/ 1895455 h 6750795"/>
              <a:gd name="connsiteX3658" fmla="*/ 5794094 w 6630249"/>
              <a:gd name="connsiteY3658" fmla="*/ 1898020 h 6750795"/>
              <a:gd name="connsiteX3659" fmla="*/ 5791529 w 6630249"/>
              <a:gd name="connsiteY3659" fmla="*/ 1892891 h 6750795"/>
              <a:gd name="connsiteX3660" fmla="*/ 5780709 w 6630249"/>
              <a:gd name="connsiteY3660" fmla="*/ 1914533 h 6750795"/>
              <a:gd name="connsiteX3661" fmla="*/ 5780584 w 6630249"/>
              <a:gd name="connsiteY3661" fmla="*/ 1914603 h 6750795"/>
              <a:gd name="connsiteX3662" fmla="*/ 5778705 w 6630249"/>
              <a:gd name="connsiteY3662" fmla="*/ 1910845 h 6750795"/>
              <a:gd name="connsiteX3663" fmla="*/ 5773917 w 6630249"/>
              <a:gd name="connsiteY3663" fmla="*/ 1916830 h 6750795"/>
              <a:gd name="connsiteX3664" fmla="*/ 5776461 w 6630249"/>
              <a:gd name="connsiteY3664" fmla="*/ 1904112 h 6750795"/>
              <a:gd name="connsiteX3665" fmla="*/ 5781270 w 6630249"/>
              <a:gd name="connsiteY3665" fmla="*/ 1887761 h 6750795"/>
              <a:gd name="connsiteX3666" fmla="*/ 5794094 w 6630249"/>
              <a:gd name="connsiteY3666" fmla="*/ 1890326 h 6750795"/>
              <a:gd name="connsiteX3667" fmla="*/ 5796659 w 6630249"/>
              <a:gd name="connsiteY3667" fmla="*/ 1882631 h 6750795"/>
              <a:gd name="connsiteX3668" fmla="*/ 5791529 w 6630249"/>
              <a:gd name="connsiteY3668" fmla="*/ 1849289 h 6750795"/>
              <a:gd name="connsiteX3669" fmla="*/ 5763316 w 6630249"/>
              <a:gd name="connsiteY3669" fmla="*/ 1836463 h 6750795"/>
              <a:gd name="connsiteX3670" fmla="*/ 5755621 w 6630249"/>
              <a:gd name="connsiteY3670" fmla="*/ 1846722 h 6750795"/>
              <a:gd name="connsiteX3671" fmla="*/ 5758186 w 6630249"/>
              <a:gd name="connsiteY3671" fmla="*/ 1831334 h 6750795"/>
              <a:gd name="connsiteX3672" fmla="*/ 5740231 w 6630249"/>
              <a:gd name="connsiteY3672" fmla="*/ 1810815 h 6750795"/>
              <a:gd name="connsiteX3673" fmla="*/ 5681239 w 6630249"/>
              <a:gd name="connsiteY3673" fmla="*/ 1790296 h 6750795"/>
              <a:gd name="connsiteX3674" fmla="*/ 5678674 w 6630249"/>
              <a:gd name="connsiteY3674" fmla="*/ 1800556 h 6750795"/>
              <a:gd name="connsiteX3675" fmla="*/ 5614552 w 6630249"/>
              <a:gd name="connsiteY3675" fmla="*/ 1831334 h 6750795"/>
              <a:gd name="connsiteX3676" fmla="*/ 5591468 w 6630249"/>
              <a:gd name="connsiteY3676" fmla="*/ 1872371 h 6750795"/>
              <a:gd name="connsiteX3677" fmla="*/ 5673544 w 6630249"/>
              <a:gd name="connsiteY3677" fmla="*/ 1841593 h 6750795"/>
              <a:gd name="connsiteX3678" fmla="*/ 5696628 w 6630249"/>
              <a:gd name="connsiteY3678" fmla="*/ 1849289 h 6750795"/>
              <a:gd name="connsiteX3679" fmla="*/ 5755621 w 6630249"/>
              <a:gd name="connsiteY3679" fmla="*/ 1926234 h 6750795"/>
              <a:gd name="connsiteX3680" fmla="*/ 5768445 w 6630249"/>
              <a:gd name="connsiteY3680" fmla="*/ 1931364 h 6750795"/>
              <a:gd name="connsiteX3681" fmla="*/ 5773896 w 6630249"/>
              <a:gd name="connsiteY3681" fmla="*/ 1921746 h 6750795"/>
              <a:gd name="connsiteX3682" fmla="*/ 5775431 w 6630249"/>
              <a:gd name="connsiteY3682" fmla="*/ 1920544 h 6750795"/>
              <a:gd name="connsiteX3683" fmla="*/ 5780079 w 6630249"/>
              <a:gd name="connsiteY3683" fmla="*/ 1920854 h 6750795"/>
              <a:gd name="connsiteX3684" fmla="*/ 5774537 w 6630249"/>
              <a:gd name="connsiteY3684" fmla="*/ 1943547 h 6750795"/>
              <a:gd name="connsiteX3685" fmla="*/ 5788965 w 6630249"/>
              <a:gd name="connsiteY3685" fmla="*/ 1967273 h 6750795"/>
              <a:gd name="connsiteX3686" fmla="*/ 5796659 w 6630249"/>
              <a:gd name="connsiteY3686" fmla="*/ 1962143 h 6750795"/>
              <a:gd name="connsiteX3687" fmla="*/ 5791529 w 6630249"/>
              <a:gd name="connsiteY3687" fmla="*/ 1974967 h 6750795"/>
              <a:gd name="connsiteX3688" fmla="*/ 5808522 w 6630249"/>
              <a:gd name="connsiteY3688" fmla="*/ 1967914 h 6750795"/>
              <a:gd name="connsiteX3689" fmla="*/ 5824569 w 6630249"/>
              <a:gd name="connsiteY3689" fmla="*/ 1958666 h 6750795"/>
              <a:gd name="connsiteX3690" fmla="*/ 5825818 w 6630249"/>
              <a:gd name="connsiteY3690" fmla="*/ 1962413 h 6750795"/>
              <a:gd name="connsiteX3691" fmla="*/ 5825154 w 6630249"/>
              <a:gd name="connsiteY3691" fmla="*/ 1964627 h 6750795"/>
              <a:gd name="connsiteX3692" fmla="*/ 5796659 w 6630249"/>
              <a:gd name="connsiteY3692" fmla="*/ 1982662 h 6750795"/>
              <a:gd name="connsiteX3693" fmla="*/ 5812049 w 6630249"/>
              <a:gd name="connsiteY3693" fmla="*/ 1977532 h 6750795"/>
              <a:gd name="connsiteX3694" fmla="*/ 5794094 w 6630249"/>
              <a:gd name="connsiteY3694" fmla="*/ 1998051 h 6750795"/>
              <a:gd name="connsiteX3695" fmla="*/ 5812049 w 6630249"/>
              <a:gd name="connsiteY3695" fmla="*/ 1998051 h 6750795"/>
              <a:gd name="connsiteX3696" fmla="*/ 5786400 w 6630249"/>
              <a:gd name="connsiteY3696" fmla="*/ 2021137 h 6750795"/>
              <a:gd name="connsiteX3697" fmla="*/ 5822308 w 6630249"/>
              <a:gd name="connsiteY3697" fmla="*/ 2018570 h 6750795"/>
              <a:gd name="connsiteX3698" fmla="*/ 5783835 w 6630249"/>
              <a:gd name="connsiteY3698" fmla="*/ 2036525 h 6750795"/>
              <a:gd name="connsiteX3699" fmla="*/ 5796659 w 6630249"/>
              <a:gd name="connsiteY3699" fmla="*/ 2049349 h 6750795"/>
              <a:gd name="connsiteX3700" fmla="*/ 5755621 w 6630249"/>
              <a:gd name="connsiteY3700" fmla="*/ 2077563 h 6750795"/>
              <a:gd name="connsiteX3701" fmla="*/ 5727407 w 6630249"/>
              <a:gd name="connsiteY3701" fmla="*/ 2090386 h 6750795"/>
              <a:gd name="connsiteX3702" fmla="*/ 5712018 w 6630249"/>
              <a:gd name="connsiteY3702" fmla="*/ 2086540 h 6750795"/>
              <a:gd name="connsiteX3703" fmla="*/ 5705327 w 6630249"/>
              <a:gd name="connsiteY3703" fmla="*/ 2088212 h 6750795"/>
              <a:gd name="connsiteX3704" fmla="*/ 5708491 w 6630249"/>
              <a:gd name="connsiteY3704" fmla="*/ 2097460 h 6750795"/>
              <a:gd name="connsiteX3705" fmla="*/ 5699193 w 6630249"/>
              <a:gd name="connsiteY3705" fmla="*/ 2105797 h 6750795"/>
              <a:gd name="connsiteX3706" fmla="*/ 5691499 w 6630249"/>
              <a:gd name="connsiteY3706" fmla="*/ 2098101 h 6750795"/>
              <a:gd name="connsiteX3707" fmla="*/ 5695761 w 6630249"/>
              <a:gd name="connsiteY3707" fmla="*/ 2089270 h 6750795"/>
              <a:gd name="connsiteX3708" fmla="*/ 5687972 w 6630249"/>
              <a:gd name="connsiteY3708" fmla="*/ 2079245 h 6750795"/>
              <a:gd name="connsiteX3709" fmla="*/ 5650460 w 6630249"/>
              <a:gd name="connsiteY3709" fmla="*/ 2046783 h 6750795"/>
              <a:gd name="connsiteX3710" fmla="*/ 5635071 w 6630249"/>
              <a:gd name="connsiteY3710" fmla="*/ 2039090 h 6750795"/>
              <a:gd name="connsiteX3711" fmla="*/ 5629941 w 6630249"/>
              <a:gd name="connsiteY3711" fmla="*/ 2010878 h 6750795"/>
              <a:gd name="connsiteX3712" fmla="*/ 5637636 w 6630249"/>
              <a:gd name="connsiteY3712" fmla="*/ 2010878 h 6750795"/>
              <a:gd name="connsiteX3713" fmla="*/ 5622247 w 6630249"/>
              <a:gd name="connsiteY3713" fmla="*/ 1992921 h 6750795"/>
              <a:gd name="connsiteX3714" fmla="*/ 5617117 w 6630249"/>
              <a:gd name="connsiteY3714" fmla="*/ 1980097 h 6750795"/>
              <a:gd name="connsiteX3715" fmla="*/ 5594033 w 6630249"/>
              <a:gd name="connsiteY3715" fmla="*/ 1918540 h 6750795"/>
              <a:gd name="connsiteX3716" fmla="*/ 5586338 w 6630249"/>
              <a:gd name="connsiteY3716" fmla="*/ 1923669 h 6750795"/>
              <a:gd name="connsiteX3717" fmla="*/ 5570949 w 6630249"/>
              <a:gd name="connsiteY3717" fmla="*/ 1905715 h 6750795"/>
              <a:gd name="connsiteX3718" fmla="*/ 5565819 w 6630249"/>
              <a:gd name="connsiteY3718" fmla="*/ 1908280 h 6750795"/>
              <a:gd name="connsiteX3719" fmla="*/ 5564893 w 6630249"/>
              <a:gd name="connsiteY3719" fmla="*/ 1920791 h 6750795"/>
              <a:gd name="connsiteX3720" fmla="*/ 5561010 w 6630249"/>
              <a:gd name="connsiteY3720" fmla="*/ 1915654 h 6750795"/>
              <a:gd name="connsiteX3721" fmla="*/ 5552994 w 6630249"/>
              <a:gd name="connsiteY3721" fmla="*/ 1908280 h 6750795"/>
              <a:gd name="connsiteX3722" fmla="*/ 5547864 w 6630249"/>
              <a:gd name="connsiteY3722" fmla="*/ 1890326 h 6750795"/>
              <a:gd name="connsiteX3723" fmla="*/ 5535040 w 6630249"/>
              <a:gd name="connsiteY3723" fmla="*/ 1903150 h 6750795"/>
              <a:gd name="connsiteX3724" fmla="*/ 5542735 w 6630249"/>
              <a:gd name="connsiteY3724" fmla="*/ 1913410 h 6750795"/>
              <a:gd name="connsiteX3725" fmla="*/ 5545300 w 6630249"/>
              <a:gd name="connsiteY3725" fmla="*/ 1908280 h 6750795"/>
              <a:gd name="connsiteX3726" fmla="*/ 5556521 w 6630249"/>
              <a:gd name="connsiteY3726" fmla="*/ 1918860 h 6750795"/>
              <a:gd name="connsiteX3727" fmla="*/ 5564266 w 6630249"/>
              <a:gd name="connsiteY3727" fmla="*/ 1929275 h 6750795"/>
              <a:gd name="connsiteX3728" fmla="*/ 5562933 w 6630249"/>
              <a:gd name="connsiteY3728" fmla="*/ 1947274 h 6750795"/>
              <a:gd name="connsiteX3729" fmla="*/ 5496567 w 6630249"/>
              <a:gd name="connsiteY3729" fmla="*/ 2003181 h 6750795"/>
              <a:gd name="connsiteX3730" fmla="*/ 5427315 w 6630249"/>
              <a:gd name="connsiteY3730" fmla="*/ 2187851 h 6750795"/>
              <a:gd name="connsiteX3731" fmla="*/ 5396536 w 6630249"/>
              <a:gd name="connsiteY3731" fmla="*/ 2223762 h 6750795"/>
              <a:gd name="connsiteX3732" fmla="*/ 5427315 w 6630249"/>
              <a:gd name="connsiteY3732" fmla="*/ 2259670 h 6750795"/>
              <a:gd name="connsiteX3733" fmla="*/ 5386276 w 6630249"/>
              <a:gd name="connsiteY3733" fmla="*/ 2449470 h 6750795"/>
              <a:gd name="connsiteX3734" fmla="*/ 5350368 w 6630249"/>
              <a:gd name="connsiteY3734" fmla="*/ 2590540 h 6750795"/>
              <a:gd name="connsiteX3735" fmla="*/ 5376017 w 6630249"/>
              <a:gd name="connsiteY3735" fmla="*/ 2585411 h 6750795"/>
              <a:gd name="connsiteX3736" fmla="*/ 5381146 w 6630249"/>
              <a:gd name="connsiteY3736" fmla="*/ 2690572 h 6750795"/>
              <a:gd name="connsiteX3737" fmla="*/ 5411925 w 6630249"/>
              <a:gd name="connsiteY3737" fmla="*/ 2682878 h 6750795"/>
              <a:gd name="connsiteX3738" fmla="*/ 5409360 w 6630249"/>
              <a:gd name="connsiteY3738" fmla="*/ 2680313 h 6750795"/>
              <a:gd name="connsiteX3739" fmla="*/ 5417055 w 6630249"/>
              <a:gd name="connsiteY3739" fmla="*/ 2667488 h 6750795"/>
              <a:gd name="connsiteX3740" fmla="*/ 5435009 w 6630249"/>
              <a:gd name="connsiteY3740" fmla="*/ 2672618 h 6750795"/>
              <a:gd name="connsiteX3741" fmla="*/ 5460658 w 6630249"/>
              <a:gd name="connsiteY3741" fmla="*/ 2672618 h 6750795"/>
              <a:gd name="connsiteX3742" fmla="*/ 5460658 w 6630249"/>
              <a:gd name="connsiteY3742" fmla="*/ 2698267 h 6750795"/>
              <a:gd name="connsiteX3743" fmla="*/ 5414490 w 6630249"/>
              <a:gd name="connsiteY3743" fmla="*/ 2777779 h 6750795"/>
              <a:gd name="connsiteX3744" fmla="*/ 5388841 w 6630249"/>
              <a:gd name="connsiteY3744" fmla="*/ 2813687 h 6750795"/>
              <a:gd name="connsiteX3745" fmla="*/ 5404231 w 6630249"/>
              <a:gd name="connsiteY3745" fmla="*/ 2844466 h 6750795"/>
              <a:gd name="connsiteX3746" fmla="*/ 5411925 w 6630249"/>
              <a:gd name="connsiteY3746" fmla="*/ 2841900 h 6750795"/>
              <a:gd name="connsiteX3747" fmla="*/ 5411925 w 6630249"/>
              <a:gd name="connsiteY3747" fmla="*/ 2854725 h 6750795"/>
              <a:gd name="connsiteX3748" fmla="*/ 5406795 w 6630249"/>
              <a:gd name="connsiteY3748" fmla="*/ 2852160 h 6750795"/>
              <a:gd name="connsiteX3749" fmla="*/ 5427315 w 6630249"/>
              <a:gd name="connsiteY3749" fmla="*/ 2872679 h 6750795"/>
              <a:gd name="connsiteX3750" fmla="*/ 5422185 w 6630249"/>
              <a:gd name="connsiteY3750" fmla="*/ 2947062 h 6750795"/>
              <a:gd name="connsiteX3751" fmla="*/ 5370887 w 6630249"/>
              <a:gd name="connsiteY3751" fmla="*/ 3006054 h 6750795"/>
              <a:gd name="connsiteX3752" fmla="*/ 5381146 w 6630249"/>
              <a:gd name="connsiteY3752" fmla="*/ 3031703 h 6750795"/>
              <a:gd name="connsiteX3753" fmla="*/ 5340108 w 6630249"/>
              <a:gd name="connsiteY3753" fmla="*/ 3077872 h 6750795"/>
              <a:gd name="connsiteX3754" fmla="*/ 5319589 w 6630249"/>
              <a:gd name="connsiteY3754" fmla="*/ 3083001 h 6750795"/>
              <a:gd name="connsiteX3755" fmla="*/ 5293940 w 6630249"/>
              <a:gd name="connsiteY3755" fmla="*/ 3077872 h 6750795"/>
              <a:gd name="connsiteX3756" fmla="*/ 5268291 w 6630249"/>
              <a:gd name="connsiteY3756" fmla="*/ 3141993 h 6750795"/>
              <a:gd name="connsiteX3757" fmla="*/ 5309329 w 6630249"/>
              <a:gd name="connsiteY3757" fmla="*/ 3177902 h 6750795"/>
              <a:gd name="connsiteX3758" fmla="*/ 5288811 w 6630249"/>
              <a:gd name="connsiteY3758" fmla="*/ 3172771 h 6750795"/>
              <a:gd name="connsiteX3759" fmla="*/ 5293940 w 6630249"/>
              <a:gd name="connsiteY3759" fmla="*/ 3236895 h 6750795"/>
              <a:gd name="connsiteX3760" fmla="*/ 5268291 w 6630249"/>
              <a:gd name="connsiteY3760" fmla="*/ 3247154 h 6750795"/>
              <a:gd name="connsiteX3761" fmla="*/ 5304200 w 6630249"/>
              <a:gd name="connsiteY3761" fmla="*/ 3326664 h 6750795"/>
              <a:gd name="connsiteX3762" fmla="*/ 5240077 w 6630249"/>
              <a:gd name="connsiteY3762" fmla="*/ 3301016 h 6750795"/>
              <a:gd name="connsiteX3763" fmla="*/ 5240077 w 6630249"/>
              <a:gd name="connsiteY3763" fmla="*/ 3442082 h 6750795"/>
              <a:gd name="connsiteX3764" fmla="*/ 5193909 w 6630249"/>
              <a:gd name="connsiteY3764" fmla="*/ 3488250 h 6750795"/>
              <a:gd name="connsiteX3765" fmla="*/ 5173390 w 6630249"/>
              <a:gd name="connsiteY3765" fmla="*/ 3483120 h 6750795"/>
              <a:gd name="connsiteX3766" fmla="*/ 5132352 w 6630249"/>
              <a:gd name="connsiteY3766" fmla="*/ 3534418 h 6750795"/>
              <a:gd name="connsiteX3767" fmla="*/ 5063100 w 6630249"/>
              <a:gd name="connsiteY3767" fmla="*/ 3778083 h 6750795"/>
              <a:gd name="connsiteX3768" fmla="*/ 5127222 w 6630249"/>
              <a:gd name="connsiteY3768" fmla="*/ 3844770 h 6750795"/>
              <a:gd name="connsiteX3769" fmla="*/ 5160566 w 6630249"/>
              <a:gd name="connsiteY3769" fmla="*/ 3780648 h 6750795"/>
              <a:gd name="connsiteX3770" fmla="*/ 5199039 w 6630249"/>
              <a:gd name="connsiteY3770" fmla="*/ 3762693 h 6750795"/>
              <a:gd name="connsiteX3771" fmla="*/ 5150306 w 6630249"/>
              <a:gd name="connsiteY3771" fmla="*/ 3857595 h 6750795"/>
              <a:gd name="connsiteX3772" fmla="*/ 5165696 w 6630249"/>
              <a:gd name="connsiteY3772" fmla="*/ 3865289 h 6750795"/>
              <a:gd name="connsiteX3773" fmla="*/ 5163131 w 6630249"/>
              <a:gd name="connsiteY3773" fmla="*/ 3872984 h 6750795"/>
              <a:gd name="connsiteX3774" fmla="*/ 5309329 w 6630249"/>
              <a:gd name="connsiteY3774" fmla="*/ 3642143 h 6750795"/>
              <a:gd name="connsiteX3775" fmla="*/ 5288811 w 6630249"/>
              <a:gd name="connsiteY3775" fmla="*/ 3619060 h 6750795"/>
              <a:gd name="connsiteX3776" fmla="*/ 5286245 w 6630249"/>
              <a:gd name="connsiteY3776" fmla="*/ 3619060 h 6750795"/>
              <a:gd name="connsiteX3777" fmla="*/ 5278551 w 6630249"/>
              <a:gd name="connsiteY3777" fmla="*/ 3570326 h 6750795"/>
              <a:gd name="connsiteX3778" fmla="*/ 5322154 w 6630249"/>
              <a:gd name="connsiteY3778" fmla="*/ 3642143 h 6750795"/>
              <a:gd name="connsiteX3779" fmla="*/ 5381146 w 6630249"/>
              <a:gd name="connsiteY3779" fmla="*/ 3583151 h 6750795"/>
              <a:gd name="connsiteX3780" fmla="*/ 5409360 w 6630249"/>
              <a:gd name="connsiteY3780" fmla="*/ 3744739 h 6750795"/>
              <a:gd name="connsiteX3781" fmla="*/ 5414490 w 6630249"/>
              <a:gd name="connsiteY3781" fmla="*/ 3747304 h 6750795"/>
              <a:gd name="connsiteX3782" fmla="*/ 5429880 w 6630249"/>
              <a:gd name="connsiteY3782" fmla="*/ 3731915 h 6750795"/>
              <a:gd name="connsiteX3783" fmla="*/ 5432444 w 6630249"/>
              <a:gd name="connsiteY3783" fmla="*/ 3711396 h 6750795"/>
              <a:gd name="connsiteX3784" fmla="*/ 5460658 w 6630249"/>
              <a:gd name="connsiteY3784" fmla="*/ 3698571 h 6750795"/>
              <a:gd name="connsiteX3785" fmla="*/ 5459454 w 6630249"/>
              <a:gd name="connsiteY3785" fmla="*/ 3693754 h 6750795"/>
              <a:gd name="connsiteX3786" fmla="*/ 5461259 w 6630249"/>
              <a:gd name="connsiteY3786" fmla="*/ 3690957 h 6750795"/>
              <a:gd name="connsiteX3787" fmla="*/ 5465788 w 6630249"/>
              <a:gd name="connsiteY3787" fmla="*/ 3690877 h 6750795"/>
              <a:gd name="connsiteX3788" fmla="*/ 5465788 w 6630249"/>
              <a:gd name="connsiteY3788" fmla="*/ 3716526 h 6750795"/>
              <a:gd name="connsiteX3789" fmla="*/ 5478612 w 6630249"/>
              <a:gd name="connsiteY3789" fmla="*/ 3711396 h 6750795"/>
              <a:gd name="connsiteX3790" fmla="*/ 5465788 w 6630249"/>
              <a:gd name="connsiteY3790" fmla="*/ 3742175 h 6750795"/>
              <a:gd name="connsiteX3791" fmla="*/ 5481177 w 6630249"/>
              <a:gd name="connsiteY3791" fmla="*/ 3742175 h 6750795"/>
              <a:gd name="connsiteX3792" fmla="*/ 5465788 w 6630249"/>
              <a:gd name="connsiteY3792" fmla="*/ 3754999 h 6750795"/>
              <a:gd name="connsiteX3793" fmla="*/ 5481177 w 6630249"/>
              <a:gd name="connsiteY3793" fmla="*/ 3760129 h 6750795"/>
              <a:gd name="connsiteX3794" fmla="*/ 5460658 w 6630249"/>
              <a:gd name="connsiteY3794" fmla="*/ 3775518 h 6750795"/>
              <a:gd name="connsiteX3795" fmla="*/ 5473483 w 6630249"/>
              <a:gd name="connsiteY3795" fmla="*/ 3780648 h 6750795"/>
              <a:gd name="connsiteX3796" fmla="*/ 5447834 w 6630249"/>
              <a:gd name="connsiteY3796" fmla="*/ 3806297 h 6750795"/>
              <a:gd name="connsiteX3797" fmla="*/ 5429880 w 6630249"/>
              <a:gd name="connsiteY3797" fmla="*/ 3811427 h 6750795"/>
              <a:gd name="connsiteX3798" fmla="*/ 5368322 w 6630249"/>
              <a:gd name="connsiteY3798" fmla="*/ 3793472 h 6750795"/>
              <a:gd name="connsiteX3799" fmla="*/ 5358063 w 6630249"/>
              <a:gd name="connsiteY3799" fmla="*/ 3752434 h 6750795"/>
              <a:gd name="connsiteX3800" fmla="*/ 5360627 w 6630249"/>
              <a:gd name="connsiteY3800" fmla="*/ 3980709 h 6750795"/>
              <a:gd name="connsiteX3801" fmla="*/ 5504261 w 6630249"/>
              <a:gd name="connsiteY3801" fmla="*/ 3693441 h 6750795"/>
              <a:gd name="connsiteX3802" fmla="*/ 5486307 w 6630249"/>
              <a:gd name="connsiteY3802" fmla="*/ 3701136 h 6750795"/>
              <a:gd name="connsiteX3803" fmla="*/ 5469380 w 6630249"/>
              <a:gd name="connsiteY3803" fmla="*/ 3688960 h 6750795"/>
              <a:gd name="connsiteX3804" fmla="*/ 5473162 w 6630249"/>
              <a:gd name="connsiteY3804" fmla="*/ 3681900 h 6750795"/>
              <a:gd name="connsiteX3805" fmla="*/ 5476047 w 6630249"/>
              <a:gd name="connsiteY3805" fmla="*/ 3665228 h 6750795"/>
              <a:gd name="connsiteX3806" fmla="*/ 5488872 w 6630249"/>
              <a:gd name="connsiteY3806" fmla="*/ 3678052 h 6750795"/>
              <a:gd name="connsiteX3807" fmla="*/ 5481177 w 6630249"/>
              <a:gd name="connsiteY3807" fmla="*/ 3690877 h 6750795"/>
              <a:gd name="connsiteX3808" fmla="*/ 5494002 w 6630249"/>
              <a:gd name="connsiteY3808" fmla="*/ 3690877 h 6750795"/>
              <a:gd name="connsiteX3809" fmla="*/ 5506826 w 6630249"/>
              <a:gd name="connsiteY3809" fmla="*/ 3662663 h 6750795"/>
              <a:gd name="connsiteX3810" fmla="*/ 5499132 w 6630249"/>
              <a:gd name="connsiteY3810" fmla="*/ 3654968 h 6750795"/>
              <a:gd name="connsiteX3811" fmla="*/ 5511956 w 6630249"/>
              <a:gd name="connsiteY3811" fmla="*/ 3660098 h 6750795"/>
              <a:gd name="connsiteX3812" fmla="*/ 5509391 w 6630249"/>
              <a:gd name="connsiteY3812" fmla="*/ 3647273 h 6750795"/>
              <a:gd name="connsiteX3813" fmla="*/ 5496567 w 6630249"/>
              <a:gd name="connsiteY3813" fmla="*/ 3644709 h 6750795"/>
              <a:gd name="connsiteX3814" fmla="*/ 5494002 w 6630249"/>
              <a:gd name="connsiteY3814" fmla="*/ 3606235 h 6750795"/>
              <a:gd name="connsiteX3815" fmla="*/ 5481177 w 6630249"/>
              <a:gd name="connsiteY3815" fmla="*/ 3567762 h 6750795"/>
              <a:gd name="connsiteX3816" fmla="*/ 5476047 w 6630249"/>
              <a:gd name="connsiteY3816" fmla="*/ 3562632 h 6750795"/>
              <a:gd name="connsiteX3817" fmla="*/ 5514521 w 6630249"/>
              <a:gd name="connsiteY3817" fmla="*/ 3539548 h 6750795"/>
              <a:gd name="connsiteX3818" fmla="*/ 5517086 w 6630249"/>
              <a:gd name="connsiteY3818" fmla="*/ 3503639 h 6750795"/>
              <a:gd name="connsiteX3819" fmla="*/ 5501696 w 6630249"/>
              <a:gd name="connsiteY3819" fmla="*/ 3485685 h 6750795"/>
              <a:gd name="connsiteX3820" fmla="*/ 5478612 w 6630249"/>
              <a:gd name="connsiteY3820" fmla="*/ 3498510 h 6750795"/>
              <a:gd name="connsiteX3821" fmla="*/ 5481177 w 6630249"/>
              <a:gd name="connsiteY3821" fmla="*/ 3454906 h 6750795"/>
              <a:gd name="connsiteX3822" fmla="*/ 5458093 w 6630249"/>
              <a:gd name="connsiteY3822" fmla="*/ 3470296 h 6750795"/>
              <a:gd name="connsiteX3823" fmla="*/ 5476047 w 6630249"/>
              <a:gd name="connsiteY3823" fmla="*/ 3454906 h 6750795"/>
              <a:gd name="connsiteX3824" fmla="*/ 5496567 w 6630249"/>
              <a:gd name="connsiteY3824" fmla="*/ 3365141 h 6750795"/>
              <a:gd name="connsiteX3825" fmla="*/ 5524781 w 6630249"/>
              <a:gd name="connsiteY3825" fmla="*/ 3365141 h 6750795"/>
              <a:gd name="connsiteX3826" fmla="*/ 5542735 w 6630249"/>
              <a:gd name="connsiteY3826" fmla="*/ 3357444 h 6750795"/>
              <a:gd name="connsiteX3827" fmla="*/ 5535040 w 6630249"/>
              <a:gd name="connsiteY3827" fmla="*/ 3370266 h 6750795"/>
              <a:gd name="connsiteX3828" fmla="*/ 5555559 w 6630249"/>
              <a:gd name="connsiteY3828" fmla="*/ 3357444 h 6750795"/>
              <a:gd name="connsiteX3829" fmla="*/ 5578643 w 6630249"/>
              <a:gd name="connsiteY3829" fmla="*/ 3236895 h 6750795"/>
              <a:gd name="connsiteX3830" fmla="*/ 5599162 w 6630249"/>
              <a:gd name="connsiteY3830" fmla="*/ 3193291 h 6750795"/>
              <a:gd name="connsiteX3831" fmla="*/ 5611987 w 6630249"/>
              <a:gd name="connsiteY3831" fmla="*/ 3193291 h 6750795"/>
              <a:gd name="connsiteX3832" fmla="*/ 5588903 w 6630249"/>
              <a:gd name="connsiteY3832" fmla="*/ 3254848 h 6750795"/>
              <a:gd name="connsiteX3833" fmla="*/ 5594033 w 6630249"/>
              <a:gd name="connsiteY3833" fmla="*/ 3267672 h 6750795"/>
              <a:gd name="connsiteX3834" fmla="*/ 5573513 w 6630249"/>
              <a:gd name="connsiteY3834" fmla="*/ 3344616 h 6750795"/>
              <a:gd name="connsiteX3835" fmla="*/ 5588903 w 6630249"/>
              <a:gd name="connsiteY3835" fmla="*/ 3344616 h 6750795"/>
              <a:gd name="connsiteX3836" fmla="*/ 5576078 w 6630249"/>
              <a:gd name="connsiteY3836" fmla="*/ 3360007 h 6750795"/>
              <a:gd name="connsiteX3837" fmla="*/ 5591468 w 6630249"/>
              <a:gd name="connsiteY3837" fmla="*/ 3381806 h 6750795"/>
              <a:gd name="connsiteX3838" fmla="*/ 5592665 w 6630249"/>
              <a:gd name="connsiteY3838" fmla="*/ 3383710 h 6750795"/>
              <a:gd name="connsiteX3839" fmla="*/ 5594033 w 6630249"/>
              <a:gd name="connsiteY3839" fmla="*/ 3383095 h 6750795"/>
              <a:gd name="connsiteX3840" fmla="*/ 5596357 w 6630249"/>
              <a:gd name="connsiteY3840" fmla="*/ 3385740 h 6750795"/>
              <a:gd name="connsiteX3841" fmla="*/ 5594905 w 6630249"/>
              <a:gd name="connsiteY3841" fmla="*/ 3387271 h 6750795"/>
              <a:gd name="connsiteX3842" fmla="*/ 5597720 w 6630249"/>
              <a:gd name="connsiteY3842" fmla="*/ 3391745 h 6750795"/>
              <a:gd name="connsiteX3843" fmla="*/ 5599162 w 6630249"/>
              <a:gd name="connsiteY3843" fmla="*/ 3403608 h 6750795"/>
              <a:gd name="connsiteX3844" fmla="*/ 5617117 w 6630249"/>
              <a:gd name="connsiteY3844" fmla="*/ 3401044 h 6750795"/>
              <a:gd name="connsiteX3845" fmla="*/ 5619682 w 6630249"/>
              <a:gd name="connsiteY3845" fmla="*/ 3418998 h 6750795"/>
              <a:gd name="connsiteX3846" fmla="*/ 5606857 w 6630249"/>
              <a:gd name="connsiteY3846" fmla="*/ 3431822 h 6750795"/>
              <a:gd name="connsiteX3847" fmla="*/ 5622247 w 6630249"/>
              <a:gd name="connsiteY3847" fmla="*/ 3454906 h 6750795"/>
              <a:gd name="connsiteX3848" fmla="*/ 5617117 w 6630249"/>
              <a:gd name="connsiteY3848" fmla="*/ 3454906 h 6750795"/>
              <a:gd name="connsiteX3849" fmla="*/ 5619682 w 6630249"/>
              <a:gd name="connsiteY3849" fmla="*/ 3472861 h 6750795"/>
              <a:gd name="connsiteX3850" fmla="*/ 5611987 w 6630249"/>
              <a:gd name="connsiteY3850" fmla="*/ 3539548 h 6750795"/>
              <a:gd name="connsiteX3851" fmla="*/ 5611987 w 6630249"/>
              <a:gd name="connsiteY3851" fmla="*/ 3575457 h 6750795"/>
              <a:gd name="connsiteX3852" fmla="*/ 5617117 w 6630249"/>
              <a:gd name="connsiteY3852" fmla="*/ 3570326 h 6750795"/>
              <a:gd name="connsiteX3853" fmla="*/ 5619682 w 6630249"/>
              <a:gd name="connsiteY3853" fmla="*/ 3624189 h 6750795"/>
              <a:gd name="connsiteX3854" fmla="*/ 5632506 w 6630249"/>
              <a:gd name="connsiteY3854" fmla="*/ 3621624 h 6750795"/>
              <a:gd name="connsiteX3855" fmla="*/ 5629941 w 6630249"/>
              <a:gd name="connsiteY3855" fmla="*/ 3629319 h 6750795"/>
              <a:gd name="connsiteX3856" fmla="*/ 5637636 w 6630249"/>
              <a:gd name="connsiteY3856" fmla="*/ 3624189 h 6750795"/>
              <a:gd name="connsiteX3857" fmla="*/ 5622247 w 6630249"/>
              <a:gd name="connsiteY3857" fmla="*/ 3642143 h 6750795"/>
              <a:gd name="connsiteX3858" fmla="*/ 5634430 w 6630249"/>
              <a:gd name="connsiteY3858" fmla="*/ 3637655 h 6750795"/>
              <a:gd name="connsiteX3859" fmla="*/ 5639752 w 6630249"/>
              <a:gd name="connsiteY3859" fmla="*/ 3634888 h 6750795"/>
              <a:gd name="connsiteX3860" fmla="*/ 5645215 w 6630249"/>
              <a:gd name="connsiteY3860" fmla="*/ 3630837 h 6750795"/>
              <a:gd name="connsiteX3861" fmla="*/ 5647989 w 6630249"/>
              <a:gd name="connsiteY3861" fmla="*/ 3630604 h 6750795"/>
              <a:gd name="connsiteX3862" fmla="*/ 5650460 w 6630249"/>
              <a:gd name="connsiteY3862" fmla="*/ 3629319 h 6750795"/>
              <a:gd name="connsiteX3863" fmla="*/ 5648774 w 6630249"/>
              <a:gd name="connsiteY3863" fmla="*/ 3630538 h 6750795"/>
              <a:gd name="connsiteX3864" fmla="*/ 5663285 w 6630249"/>
              <a:gd name="connsiteY3864" fmla="*/ 3629319 h 6750795"/>
              <a:gd name="connsiteX3865" fmla="*/ 5676110 w 6630249"/>
              <a:gd name="connsiteY3865" fmla="*/ 3652403 h 6750795"/>
              <a:gd name="connsiteX3866" fmla="*/ 5637957 w 6630249"/>
              <a:gd name="connsiteY3866" fmla="*/ 3657213 h 6750795"/>
              <a:gd name="connsiteX3867" fmla="*/ 5636262 w 6630249"/>
              <a:gd name="connsiteY3867" fmla="*/ 3639583 h 6750795"/>
              <a:gd name="connsiteX3868" fmla="*/ 5623850 w 6630249"/>
              <a:gd name="connsiteY3868" fmla="*/ 3648556 h 6750795"/>
              <a:gd name="connsiteX3869" fmla="*/ 5599162 w 6630249"/>
              <a:gd name="connsiteY3869" fmla="*/ 3667792 h 6750795"/>
              <a:gd name="connsiteX3870" fmla="*/ 5601727 w 6630249"/>
              <a:gd name="connsiteY3870" fmla="*/ 3672922 h 6750795"/>
              <a:gd name="connsiteX3871" fmla="*/ 5619682 w 6630249"/>
              <a:gd name="connsiteY3871" fmla="*/ 3667792 h 6750795"/>
              <a:gd name="connsiteX3872" fmla="*/ 5606857 w 6630249"/>
              <a:gd name="connsiteY3872" fmla="*/ 3680617 h 6750795"/>
              <a:gd name="connsiteX3873" fmla="*/ 5586338 w 6630249"/>
              <a:gd name="connsiteY3873" fmla="*/ 3688312 h 6750795"/>
              <a:gd name="connsiteX3874" fmla="*/ 5565819 w 6630249"/>
              <a:gd name="connsiteY3874" fmla="*/ 3693441 h 6750795"/>
              <a:gd name="connsiteX3875" fmla="*/ 5573513 w 6630249"/>
              <a:gd name="connsiteY3875" fmla="*/ 3788342 h 6750795"/>
              <a:gd name="connsiteX3876" fmla="*/ 5581208 w 6630249"/>
              <a:gd name="connsiteY3876" fmla="*/ 3796037 h 6750795"/>
              <a:gd name="connsiteX3877" fmla="*/ 5573513 w 6630249"/>
              <a:gd name="connsiteY3877" fmla="*/ 3796037 h 6750795"/>
              <a:gd name="connsiteX3878" fmla="*/ 5470918 w 6630249"/>
              <a:gd name="connsiteY3878" fmla="*/ 4034572 h 6750795"/>
              <a:gd name="connsiteX3879" fmla="*/ 5501696 w 6630249"/>
              <a:gd name="connsiteY3879" fmla="*/ 4057656 h 6750795"/>
              <a:gd name="connsiteX3880" fmla="*/ 5465788 w 6630249"/>
              <a:gd name="connsiteY3880" fmla="*/ 4132038 h 6750795"/>
              <a:gd name="connsiteX3881" fmla="*/ 5419620 w 6630249"/>
              <a:gd name="connsiteY3881" fmla="*/ 4121778 h 6750795"/>
              <a:gd name="connsiteX3882" fmla="*/ 5388841 w 6630249"/>
              <a:gd name="connsiteY3882" fmla="*/ 4183336 h 6750795"/>
              <a:gd name="connsiteX3883" fmla="*/ 5632506 w 6630249"/>
              <a:gd name="connsiteY3883" fmla="*/ 4155122 h 6750795"/>
              <a:gd name="connsiteX3884" fmla="*/ 5647896 w 6630249"/>
              <a:gd name="connsiteY3884" fmla="*/ 4147427 h 6750795"/>
              <a:gd name="connsiteX3885" fmla="*/ 5655590 w 6630249"/>
              <a:gd name="connsiteY3885" fmla="*/ 4124343 h 6750795"/>
              <a:gd name="connsiteX3886" fmla="*/ 5660720 w 6630249"/>
              <a:gd name="connsiteY3886" fmla="*/ 4129473 h 6750795"/>
              <a:gd name="connsiteX3887" fmla="*/ 5645330 w 6630249"/>
              <a:gd name="connsiteY3887" fmla="*/ 4083305 h 6750795"/>
              <a:gd name="connsiteX3888" fmla="*/ 5653025 w 6630249"/>
              <a:gd name="connsiteY3888" fmla="*/ 4016618 h 6750795"/>
              <a:gd name="connsiteX3889" fmla="*/ 5640201 w 6630249"/>
              <a:gd name="connsiteY3889" fmla="*/ 4014053 h 6750795"/>
              <a:gd name="connsiteX3890" fmla="*/ 5658155 w 6630249"/>
              <a:gd name="connsiteY3890" fmla="*/ 3939671 h 6750795"/>
              <a:gd name="connsiteX3891" fmla="*/ 5663285 w 6630249"/>
              <a:gd name="connsiteY3891" fmla="*/ 3967885 h 6750795"/>
              <a:gd name="connsiteX3892" fmla="*/ 5650460 w 6630249"/>
              <a:gd name="connsiteY3892" fmla="*/ 4008923 h 6750795"/>
              <a:gd name="connsiteX3893" fmla="*/ 5652849 w 6630249"/>
              <a:gd name="connsiteY3893" fmla="*/ 4006773 h 6750795"/>
              <a:gd name="connsiteX3894" fmla="*/ 5653827 w 6630249"/>
              <a:gd name="connsiteY3894" fmla="*/ 4000989 h 6750795"/>
              <a:gd name="connsiteX3895" fmla="*/ 5658155 w 6630249"/>
              <a:gd name="connsiteY3895" fmla="*/ 4001230 h 6750795"/>
              <a:gd name="connsiteX3896" fmla="*/ 5658155 w 6630249"/>
              <a:gd name="connsiteY3896" fmla="*/ 4001997 h 6750795"/>
              <a:gd name="connsiteX3897" fmla="*/ 5660479 w 6630249"/>
              <a:gd name="connsiteY3897" fmla="*/ 3999906 h 6750795"/>
              <a:gd name="connsiteX3898" fmla="*/ 5668414 w 6630249"/>
              <a:gd name="connsiteY3898" fmla="*/ 3962755 h 6750795"/>
              <a:gd name="connsiteX3899" fmla="*/ 5653025 w 6630249"/>
              <a:gd name="connsiteY3899" fmla="*/ 4021748 h 6750795"/>
              <a:gd name="connsiteX3900" fmla="*/ 5660720 w 6630249"/>
              <a:gd name="connsiteY3900" fmla="*/ 4070480 h 6750795"/>
              <a:gd name="connsiteX3901" fmla="*/ 5696628 w 6630249"/>
              <a:gd name="connsiteY3901" fmla="*/ 4047397 h 6750795"/>
              <a:gd name="connsiteX3902" fmla="*/ 5683804 w 6630249"/>
              <a:gd name="connsiteY3902" fmla="*/ 4039702 h 6750795"/>
              <a:gd name="connsiteX3903" fmla="*/ 5683804 w 6630249"/>
              <a:gd name="connsiteY3903" fmla="*/ 4021748 h 6750795"/>
              <a:gd name="connsiteX3904" fmla="*/ 5691499 w 6630249"/>
              <a:gd name="connsiteY3904" fmla="*/ 4014053 h 6750795"/>
              <a:gd name="connsiteX3905" fmla="*/ 5691499 w 6630249"/>
              <a:gd name="connsiteY3905" fmla="*/ 4039702 h 6750795"/>
              <a:gd name="connsiteX3906" fmla="*/ 5722277 w 6630249"/>
              <a:gd name="connsiteY3906" fmla="*/ 3967885 h 6750795"/>
              <a:gd name="connsiteX3907" fmla="*/ 5706888 w 6630249"/>
              <a:gd name="connsiteY3907" fmla="*/ 3924282 h 6750795"/>
              <a:gd name="connsiteX3908" fmla="*/ 5694063 w 6630249"/>
              <a:gd name="connsiteY3908" fmla="*/ 3916587 h 6750795"/>
              <a:gd name="connsiteX3909" fmla="*/ 5705285 w 6630249"/>
              <a:gd name="connsiteY3909" fmla="*/ 3890617 h 6750795"/>
              <a:gd name="connsiteX3910" fmla="*/ 5708365 w 6630249"/>
              <a:gd name="connsiteY3910" fmla="*/ 3881378 h 6750795"/>
              <a:gd name="connsiteX3911" fmla="*/ 5707209 w 6630249"/>
              <a:gd name="connsiteY3911" fmla="*/ 3873947 h 6750795"/>
              <a:gd name="connsiteX3912" fmla="*/ 5706888 w 6630249"/>
              <a:gd name="connsiteY3912" fmla="*/ 3857595 h 6750795"/>
              <a:gd name="connsiteX3913" fmla="*/ 5712303 w 6630249"/>
              <a:gd name="connsiteY3913" fmla="*/ 3869564 h 6750795"/>
              <a:gd name="connsiteX3914" fmla="*/ 5714583 w 6630249"/>
              <a:gd name="connsiteY3914" fmla="*/ 3862724 h 6750795"/>
              <a:gd name="connsiteX3915" fmla="*/ 5712018 w 6630249"/>
              <a:gd name="connsiteY3915" fmla="*/ 3903762 h 6750795"/>
              <a:gd name="connsiteX3916" fmla="*/ 5704323 w 6630249"/>
              <a:gd name="connsiteY3916" fmla="*/ 3906328 h 6750795"/>
              <a:gd name="connsiteX3917" fmla="*/ 5717148 w 6630249"/>
              <a:gd name="connsiteY3917" fmla="*/ 3911457 h 6750795"/>
              <a:gd name="connsiteX3918" fmla="*/ 5729972 w 6630249"/>
              <a:gd name="connsiteY3918" fmla="*/ 3885808 h 6750795"/>
              <a:gd name="connsiteX3919" fmla="*/ 5732537 w 6630249"/>
              <a:gd name="connsiteY3919" fmla="*/ 3890938 h 6750795"/>
              <a:gd name="connsiteX3920" fmla="*/ 5727407 w 6630249"/>
              <a:gd name="connsiteY3920" fmla="*/ 3898633 h 6750795"/>
              <a:gd name="connsiteX3921" fmla="*/ 5727407 w 6630249"/>
              <a:gd name="connsiteY3921" fmla="*/ 3929411 h 6750795"/>
              <a:gd name="connsiteX3922" fmla="*/ 5735102 w 6630249"/>
              <a:gd name="connsiteY3922" fmla="*/ 3908893 h 6750795"/>
              <a:gd name="connsiteX3923" fmla="*/ 5729972 w 6630249"/>
              <a:gd name="connsiteY3923" fmla="*/ 3934541 h 6750795"/>
              <a:gd name="connsiteX3924" fmla="*/ 5732537 w 6630249"/>
              <a:gd name="connsiteY3924" fmla="*/ 3957625 h 6750795"/>
              <a:gd name="connsiteX3925" fmla="*/ 5750491 w 6630249"/>
              <a:gd name="connsiteY3925" fmla="*/ 3914022 h 6750795"/>
              <a:gd name="connsiteX3926" fmla="*/ 5755621 w 6630249"/>
              <a:gd name="connsiteY3926" fmla="*/ 3931976 h 6750795"/>
              <a:gd name="connsiteX3927" fmla="*/ 5763316 w 6630249"/>
              <a:gd name="connsiteY3927" fmla="*/ 3919152 h 6750795"/>
              <a:gd name="connsiteX3928" fmla="*/ 5763316 w 6630249"/>
              <a:gd name="connsiteY3928" fmla="*/ 3973015 h 6750795"/>
              <a:gd name="connsiteX3929" fmla="*/ 5750491 w 6630249"/>
              <a:gd name="connsiteY3929" fmla="*/ 4047397 h 6750795"/>
              <a:gd name="connsiteX3930" fmla="*/ 5747926 w 6630249"/>
              <a:gd name="connsiteY3930" fmla="*/ 4067916 h 6750795"/>
              <a:gd name="connsiteX3931" fmla="*/ 5742797 w 6630249"/>
              <a:gd name="connsiteY3931" fmla="*/ 4083305 h 6750795"/>
              <a:gd name="connsiteX3932" fmla="*/ 5760751 w 6630249"/>
              <a:gd name="connsiteY3932" fmla="*/ 4098694 h 6750795"/>
              <a:gd name="connsiteX3933" fmla="*/ 5737667 w 6630249"/>
              <a:gd name="connsiteY3933" fmla="*/ 4134603 h 6750795"/>
              <a:gd name="connsiteX3934" fmla="*/ 5732537 w 6630249"/>
              <a:gd name="connsiteY3934" fmla="*/ 4155122 h 6750795"/>
              <a:gd name="connsiteX3935" fmla="*/ 5819743 w 6630249"/>
              <a:gd name="connsiteY3935" fmla="*/ 4116649 h 6750795"/>
              <a:gd name="connsiteX3936" fmla="*/ 5847957 w 6630249"/>
              <a:gd name="connsiteY3936" fmla="*/ 4047397 h 6750795"/>
              <a:gd name="connsiteX3937" fmla="*/ 5814614 w 6630249"/>
              <a:gd name="connsiteY3937" fmla="*/ 4011488 h 6750795"/>
              <a:gd name="connsiteX3938" fmla="*/ 5837697 w 6630249"/>
              <a:gd name="connsiteY3938" fmla="*/ 3996099 h 6750795"/>
              <a:gd name="connsiteX3939" fmla="*/ 5863346 w 6630249"/>
              <a:gd name="connsiteY3939" fmla="*/ 4042267 h 6750795"/>
              <a:gd name="connsiteX3940" fmla="*/ 5947988 w 6630249"/>
              <a:gd name="connsiteY3940" fmla="*/ 4080740 h 6750795"/>
              <a:gd name="connsiteX3941" fmla="*/ 5953118 w 6630249"/>
              <a:gd name="connsiteY3941" fmla="*/ 4039702 h 6750795"/>
              <a:gd name="connsiteX3942" fmla="*/ 5976202 w 6630249"/>
              <a:gd name="connsiteY3942" fmla="*/ 4103824 h 6750795"/>
              <a:gd name="connsiteX3943" fmla="*/ 5950553 w 6630249"/>
              <a:gd name="connsiteY3943" fmla="*/ 4098694 h 6750795"/>
              <a:gd name="connsiteX3944" fmla="*/ 5965942 w 6630249"/>
              <a:gd name="connsiteY3944" fmla="*/ 4173076 h 6750795"/>
              <a:gd name="connsiteX3945" fmla="*/ 5989026 w 6630249"/>
              <a:gd name="connsiteY3945" fmla="*/ 4144863 h 6750795"/>
              <a:gd name="connsiteX3946" fmla="*/ 5996721 w 6630249"/>
              <a:gd name="connsiteY3946" fmla="*/ 4216680 h 6750795"/>
              <a:gd name="connsiteX3947" fmla="*/ 6030064 w 6630249"/>
              <a:gd name="connsiteY3947" fmla="*/ 4239764 h 6750795"/>
              <a:gd name="connsiteX3948" fmla="*/ 6027499 w 6630249"/>
              <a:gd name="connsiteY3948" fmla="*/ 4232069 h 6750795"/>
              <a:gd name="connsiteX3949" fmla="*/ 6053148 w 6630249"/>
              <a:gd name="connsiteY3949" fmla="*/ 4234634 h 6750795"/>
              <a:gd name="connsiteX3950" fmla="*/ 6040324 w 6630249"/>
              <a:gd name="connsiteY3950" fmla="*/ 4255153 h 6750795"/>
              <a:gd name="connsiteX3951" fmla="*/ 6037759 w 6630249"/>
              <a:gd name="connsiteY3951" fmla="*/ 4255153 h 6750795"/>
              <a:gd name="connsiteX3952" fmla="*/ 6063408 w 6630249"/>
              <a:gd name="connsiteY3952" fmla="*/ 4270542 h 6750795"/>
              <a:gd name="connsiteX3953" fmla="*/ 6119836 w 6630249"/>
              <a:gd name="connsiteY3953" fmla="*/ 4239764 h 6750795"/>
              <a:gd name="connsiteX3954" fmla="*/ 6112855 w 6630249"/>
              <a:gd name="connsiteY3954" fmla="*/ 4251065 h 6750795"/>
              <a:gd name="connsiteX3955" fmla="*/ 6126409 w 6630249"/>
              <a:gd name="connsiteY3955" fmla="*/ 4248180 h 6750795"/>
              <a:gd name="connsiteX3956" fmla="*/ 6140356 w 6630249"/>
              <a:gd name="connsiteY3956" fmla="*/ 4257718 h 6750795"/>
              <a:gd name="connsiteX3957" fmla="*/ 6137790 w 6630249"/>
              <a:gd name="connsiteY3957" fmla="*/ 4273108 h 6750795"/>
              <a:gd name="connsiteX3958" fmla="*/ 6101881 w 6630249"/>
              <a:gd name="connsiteY3958" fmla="*/ 4270543 h 6750795"/>
              <a:gd name="connsiteX3959" fmla="*/ 6104829 w 6630249"/>
              <a:gd name="connsiteY3959" fmla="*/ 4261911 h 6750795"/>
              <a:gd name="connsiteX3960" fmla="*/ 6080080 w 6630249"/>
              <a:gd name="connsiteY3960" fmla="*/ 4273428 h 6750795"/>
              <a:gd name="connsiteX3961" fmla="*/ 6053469 w 6630249"/>
              <a:gd name="connsiteY3961" fmla="*/ 4286293 h 6750795"/>
              <a:gd name="connsiteX3962" fmla="*/ 6052018 w 6630249"/>
              <a:gd name="connsiteY3962" fmla="*/ 4288801 h 6750795"/>
              <a:gd name="connsiteX3963" fmla="*/ 6053149 w 6630249"/>
              <a:gd name="connsiteY3963" fmla="*/ 4291062 h 6750795"/>
              <a:gd name="connsiteX3964" fmla="*/ 6055714 w 6630249"/>
              <a:gd name="connsiteY3964" fmla="*/ 4296191 h 6750795"/>
              <a:gd name="connsiteX3965" fmla="*/ 6053149 w 6630249"/>
              <a:gd name="connsiteY3965" fmla="*/ 4303887 h 6750795"/>
              <a:gd name="connsiteX3966" fmla="*/ 6043490 w 6630249"/>
              <a:gd name="connsiteY3966" fmla="*/ 4306451 h 6750795"/>
              <a:gd name="connsiteX3967" fmla="*/ 6042264 w 6630249"/>
              <a:gd name="connsiteY3967" fmla="*/ 4305663 h 6750795"/>
              <a:gd name="connsiteX3968" fmla="*/ 6040324 w 6630249"/>
              <a:gd name="connsiteY3968" fmla="*/ 4309016 h 6750795"/>
              <a:gd name="connsiteX3969" fmla="*/ 6065973 w 6630249"/>
              <a:gd name="connsiteY3969" fmla="*/ 4314145 h 6750795"/>
              <a:gd name="connsiteX3970" fmla="*/ 6012110 w 6630249"/>
              <a:gd name="connsiteY3970" fmla="*/ 4429566 h 6750795"/>
              <a:gd name="connsiteX3971" fmla="*/ 5981332 w 6630249"/>
              <a:gd name="connsiteY3971" fmla="*/ 4437260 h 6750795"/>
              <a:gd name="connsiteX3972" fmla="*/ 5955683 w 6630249"/>
              <a:gd name="connsiteY3972" fmla="*/ 4493688 h 6750795"/>
              <a:gd name="connsiteX3973" fmla="*/ 5971072 w 6630249"/>
              <a:gd name="connsiteY3973" fmla="*/ 4583459 h 6750795"/>
              <a:gd name="connsiteX3974" fmla="*/ 5953118 w 6630249"/>
              <a:gd name="connsiteY3974" fmla="*/ 4580895 h 6750795"/>
              <a:gd name="connsiteX3975" fmla="*/ 5912079 w 6630249"/>
              <a:gd name="connsiteY3975" fmla="*/ 4655276 h 6750795"/>
              <a:gd name="connsiteX3976" fmla="*/ 5863346 w 6630249"/>
              <a:gd name="connsiteY3976" fmla="*/ 4665536 h 6750795"/>
              <a:gd name="connsiteX3977" fmla="*/ 5865911 w 6630249"/>
              <a:gd name="connsiteY3977" fmla="*/ 4686055 h 6750795"/>
              <a:gd name="connsiteX3978" fmla="*/ 5765880 w 6630249"/>
              <a:gd name="connsiteY3978" fmla="*/ 4693750 h 6750795"/>
              <a:gd name="connsiteX3979" fmla="*/ 5773575 w 6630249"/>
              <a:gd name="connsiteY3979" fmla="*/ 4775826 h 6750795"/>
              <a:gd name="connsiteX3980" fmla="*/ 5765880 w 6630249"/>
              <a:gd name="connsiteY3980" fmla="*/ 4786086 h 6750795"/>
              <a:gd name="connsiteX3981" fmla="*/ 5732537 w 6630249"/>
              <a:gd name="connsiteY3981" fmla="*/ 4773261 h 6750795"/>
              <a:gd name="connsiteX3982" fmla="*/ 5709453 w 6630249"/>
              <a:gd name="connsiteY3982" fmla="*/ 4798910 h 6750795"/>
              <a:gd name="connsiteX3983" fmla="*/ 5704323 w 6630249"/>
              <a:gd name="connsiteY3983" fmla="*/ 4796345 h 6750795"/>
              <a:gd name="connsiteX3984" fmla="*/ 5714583 w 6630249"/>
              <a:gd name="connsiteY3984" fmla="*/ 4783521 h 6750795"/>
              <a:gd name="connsiteX3985" fmla="*/ 5658155 w 6630249"/>
              <a:gd name="connsiteY3985" fmla="*/ 4788651 h 6750795"/>
              <a:gd name="connsiteX3986" fmla="*/ 5640201 w 6630249"/>
              <a:gd name="connsiteY3986" fmla="*/ 4786086 h 6750795"/>
              <a:gd name="connsiteX3987" fmla="*/ 5655590 w 6630249"/>
              <a:gd name="connsiteY3987" fmla="*/ 4778391 h 6750795"/>
              <a:gd name="connsiteX3988" fmla="*/ 5678674 w 6630249"/>
              <a:gd name="connsiteY3988" fmla="*/ 4727093 h 6750795"/>
              <a:gd name="connsiteX3989" fmla="*/ 5637636 w 6630249"/>
              <a:gd name="connsiteY3989" fmla="*/ 4763002 h 6750795"/>
              <a:gd name="connsiteX3990" fmla="*/ 5627376 w 6630249"/>
              <a:gd name="connsiteY3990" fmla="*/ 4783521 h 6750795"/>
              <a:gd name="connsiteX3991" fmla="*/ 5629941 w 6630249"/>
              <a:gd name="connsiteY3991" fmla="*/ 4770696 h 6750795"/>
              <a:gd name="connsiteX3992" fmla="*/ 5627376 w 6630249"/>
              <a:gd name="connsiteY3992" fmla="*/ 4745048 h 6750795"/>
              <a:gd name="connsiteX3993" fmla="*/ 5619682 w 6630249"/>
              <a:gd name="connsiteY3993" fmla="*/ 4739918 h 6750795"/>
              <a:gd name="connsiteX3994" fmla="*/ 5640201 w 6630249"/>
              <a:gd name="connsiteY3994" fmla="*/ 4698879 h 6750795"/>
              <a:gd name="connsiteX3995" fmla="*/ 5668414 w 6630249"/>
              <a:gd name="connsiteY3995" fmla="*/ 4680925 h 6750795"/>
              <a:gd name="connsiteX3996" fmla="*/ 5635071 w 6630249"/>
              <a:gd name="connsiteY3996" fmla="*/ 4696315 h 6750795"/>
              <a:gd name="connsiteX3997" fmla="*/ 5645330 w 6630249"/>
              <a:gd name="connsiteY3997" fmla="*/ 4670666 h 6750795"/>
              <a:gd name="connsiteX3998" fmla="*/ 5658155 w 6630249"/>
              <a:gd name="connsiteY3998" fmla="*/ 4662971 h 6750795"/>
              <a:gd name="connsiteX3999" fmla="*/ 5653025 w 6630249"/>
              <a:gd name="connsiteY3999" fmla="*/ 4660406 h 6750795"/>
              <a:gd name="connsiteX4000" fmla="*/ 5663285 w 6630249"/>
              <a:gd name="connsiteY4000" fmla="*/ 4650147 h 6750795"/>
              <a:gd name="connsiteX4001" fmla="*/ 5729972 w 6630249"/>
              <a:gd name="connsiteY4001" fmla="*/ 4627063 h 6750795"/>
              <a:gd name="connsiteX4002" fmla="*/ 5712018 w 6630249"/>
              <a:gd name="connsiteY4002" fmla="*/ 4621933 h 6750795"/>
              <a:gd name="connsiteX4003" fmla="*/ 5653025 w 6630249"/>
              <a:gd name="connsiteY4003" fmla="*/ 4645017 h 6750795"/>
              <a:gd name="connsiteX4004" fmla="*/ 5755621 w 6630249"/>
              <a:gd name="connsiteY4004" fmla="*/ 4568070 h 6750795"/>
              <a:gd name="connsiteX4005" fmla="*/ 5676109 w 6630249"/>
              <a:gd name="connsiteY4005" fmla="*/ 4588589 h 6750795"/>
              <a:gd name="connsiteX4006" fmla="*/ 5727407 w 6630249"/>
              <a:gd name="connsiteY4006" fmla="*/ 4544986 h 6750795"/>
              <a:gd name="connsiteX4007" fmla="*/ 5688934 w 6630249"/>
              <a:gd name="connsiteY4007" fmla="*/ 4560375 h 6750795"/>
              <a:gd name="connsiteX4008" fmla="*/ 5699193 w 6630249"/>
              <a:gd name="connsiteY4008" fmla="*/ 4509077 h 6750795"/>
              <a:gd name="connsiteX4009" fmla="*/ 5658155 w 6630249"/>
              <a:gd name="connsiteY4009" fmla="*/ 4575765 h 6750795"/>
              <a:gd name="connsiteX4010" fmla="*/ 5640201 w 6630249"/>
              <a:gd name="connsiteY4010" fmla="*/ 4534726 h 6750795"/>
              <a:gd name="connsiteX4011" fmla="*/ 5673544 w 6630249"/>
              <a:gd name="connsiteY4011" fmla="*/ 4496253 h 6750795"/>
              <a:gd name="connsiteX4012" fmla="*/ 5694063 w 6630249"/>
              <a:gd name="connsiteY4012" fmla="*/ 4498818 h 6750795"/>
              <a:gd name="connsiteX4013" fmla="*/ 5676109 w 6630249"/>
              <a:gd name="connsiteY4013" fmla="*/ 4493688 h 6750795"/>
              <a:gd name="connsiteX4014" fmla="*/ 5701758 w 6630249"/>
              <a:gd name="connsiteY4014" fmla="*/ 4460345 h 6750795"/>
              <a:gd name="connsiteX4015" fmla="*/ 5683804 w 6630249"/>
              <a:gd name="connsiteY4015" fmla="*/ 4460345 h 6750795"/>
              <a:gd name="connsiteX4016" fmla="*/ 5681239 w 6630249"/>
              <a:gd name="connsiteY4016" fmla="*/ 4439825 h 6750795"/>
              <a:gd name="connsiteX4017" fmla="*/ 5665850 w 6630249"/>
              <a:gd name="connsiteY4017" fmla="*/ 4485994 h 6750795"/>
              <a:gd name="connsiteX4018" fmla="*/ 5660720 w 6630249"/>
              <a:gd name="connsiteY4018" fmla="*/ 4483429 h 6750795"/>
              <a:gd name="connsiteX4019" fmla="*/ 5655590 w 6630249"/>
              <a:gd name="connsiteY4019" fmla="*/ 4491123 h 6750795"/>
              <a:gd name="connsiteX4020" fmla="*/ 5647896 w 6630249"/>
              <a:gd name="connsiteY4020" fmla="*/ 4396222 h 6750795"/>
              <a:gd name="connsiteX4021" fmla="*/ 5635071 w 6630249"/>
              <a:gd name="connsiteY4021" fmla="*/ 4524467 h 6750795"/>
              <a:gd name="connsiteX4022" fmla="*/ 5622247 w 6630249"/>
              <a:gd name="connsiteY4022" fmla="*/ 4516772 h 6750795"/>
              <a:gd name="connsiteX4023" fmla="*/ 5627376 w 6630249"/>
              <a:gd name="connsiteY4023" fmla="*/ 4544986 h 6750795"/>
              <a:gd name="connsiteX4024" fmla="*/ 5614552 w 6630249"/>
              <a:gd name="connsiteY4024" fmla="*/ 4537291 h 6750795"/>
              <a:gd name="connsiteX4025" fmla="*/ 5611987 w 6630249"/>
              <a:gd name="connsiteY4025" fmla="*/ 4555246 h 6750795"/>
              <a:gd name="connsiteX4026" fmla="*/ 5604292 w 6630249"/>
              <a:gd name="connsiteY4026" fmla="*/ 4550116 h 6750795"/>
              <a:gd name="connsiteX4027" fmla="*/ 5616796 w 6630249"/>
              <a:gd name="connsiteY4027" fmla="*/ 4574482 h 6750795"/>
              <a:gd name="connsiteX4028" fmla="*/ 5619338 w 6630249"/>
              <a:gd name="connsiteY4028" fmla="*/ 4595944 h 6750795"/>
              <a:gd name="connsiteX4029" fmla="*/ 5624812 w 6630249"/>
              <a:gd name="connsiteY4029" fmla="*/ 4591154 h 6750795"/>
              <a:gd name="connsiteX4030" fmla="*/ 5642766 w 6630249"/>
              <a:gd name="connsiteY4030" fmla="*/ 4588589 h 6750795"/>
              <a:gd name="connsiteX4031" fmla="*/ 5619682 w 6630249"/>
              <a:gd name="connsiteY4031" fmla="*/ 4614239 h 6750795"/>
              <a:gd name="connsiteX4032" fmla="*/ 5609423 w 6630249"/>
              <a:gd name="connsiteY4032" fmla="*/ 4606544 h 6750795"/>
              <a:gd name="connsiteX4033" fmla="*/ 5617117 w 6630249"/>
              <a:gd name="connsiteY4033" fmla="*/ 4597887 h 6750795"/>
              <a:gd name="connsiteX4034" fmla="*/ 5617904 w 6630249"/>
              <a:gd name="connsiteY4034" fmla="*/ 4597198 h 6750795"/>
              <a:gd name="connsiteX4035" fmla="*/ 5606755 w 6630249"/>
              <a:gd name="connsiteY4035" fmla="*/ 4586845 h 6750795"/>
              <a:gd name="connsiteX4036" fmla="*/ 5606857 w 6630249"/>
              <a:gd name="connsiteY4036" fmla="*/ 4588589 h 6750795"/>
              <a:gd name="connsiteX4037" fmla="*/ 5605630 w 6630249"/>
              <a:gd name="connsiteY4037" fmla="*/ 4585801 h 6750795"/>
              <a:gd name="connsiteX4038" fmla="*/ 5583773 w 6630249"/>
              <a:gd name="connsiteY4038" fmla="*/ 4565505 h 6750795"/>
              <a:gd name="connsiteX4039" fmla="*/ 5537605 w 6630249"/>
              <a:gd name="connsiteY4039" fmla="*/ 4542421 h 6750795"/>
              <a:gd name="connsiteX4040" fmla="*/ 5578643 w 6630249"/>
              <a:gd name="connsiteY4040" fmla="*/ 4583459 h 6750795"/>
              <a:gd name="connsiteX4041" fmla="*/ 5617117 w 6630249"/>
              <a:gd name="connsiteY4041" fmla="*/ 4614238 h 6750795"/>
              <a:gd name="connsiteX4042" fmla="*/ 5606857 w 6630249"/>
              <a:gd name="connsiteY4042" fmla="*/ 4683490 h 6750795"/>
              <a:gd name="connsiteX4043" fmla="*/ 5599162 w 6630249"/>
              <a:gd name="connsiteY4043" fmla="*/ 4680925 h 6750795"/>
              <a:gd name="connsiteX4044" fmla="*/ 5604292 w 6630249"/>
              <a:gd name="connsiteY4044" fmla="*/ 4698879 h 6750795"/>
              <a:gd name="connsiteX4045" fmla="*/ 5601727 w 6630249"/>
              <a:gd name="connsiteY4045" fmla="*/ 4763002 h 6750795"/>
              <a:gd name="connsiteX4046" fmla="*/ 5578643 w 6630249"/>
              <a:gd name="connsiteY4046" fmla="*/ 4737353 h 6750795"/>
              <a:gd name="connsiteX4047" fmla="*/ 5570949 w 6630249"/>
              <a:gd name="connsiteY4047" fmla="*/ 4680925 h 6750795"/>
              <a:gd name="connsiteX4048" fmla="*/ 5552994 w 6630249"/>
              <a:gd name="connsiteY4048" fmla="*/ 4711704 h 6750795"/>
              <a:gd name="connsiteX4049" fmla="*/ 5547864 w 6630249"/>
              <a:gd name="connsiteY4049" fmla="*/ 4704009 h 6750795"/>
              <a:gd name="connsiteX4050" fmla="*/ 5550430 w 6630249"/>
              <a:gd name="connsiteY4050" fmla="*/ 4668101 h 6750795"/>
              <a:gd name="connsiteX4051" fmla="*/ 5532475 w 6630249"/>
              <a:gd name="connsiteY4051" fmla="*/ 4693750 h 6750795"/>
              <a:gd name="connsiteX4052" fmla="*/ 5524781 w 6630249"/>
              <a:gd name="connsiteY4052" fmla="*/ 4691185 h 6750795"/>
              <a:gd name="connsiteX4053" fmla="*/ 5522216 w 6630249"/>
              <a:gd name="connsiteY4053" fmla="*/ 4691185 h 6750795"/>
              <a:gd name="connsiteX4054" fmla="*/ 5519651 w 6630249"/>
              <a:gd name="connsiteY4054" fmla="*/ 4691185 h 6750795"/>
              <a:gd name="connsiteX4055" fmla="*/ 5496567 w 6630249"/>
              <a:gd name="connsiteY4055" fmla="*/ 4665536 h 6750795"/>
              <a:gd name="connsiteX4056" fmla="*/ 5491437 w 6630249"/>
              <a:gd name="connsiteY4056" fmla="*/ 4683490 h 6750795"/>
              <a:gd name="connsiteX4057" fmla="*/ 5440139 w 6630249"/>
              <a:gd name="connsiteY4057" fmla="*/ 4655276 h 6750795"/>
              <a:gd name="connsiteX4058" fmla="*/ 5222123 w 6630249"/>
              <a:gd name="connsiteY4058" fmla="*/ 4634757 h 6750795"/>
              <a:gd name="connsiteX4059" fmla="*/ 5224688 w 6630249"/>
              <a:gd name="connsiteY4059" fmla="*/ 4922025 h 6750795"/>
              <a:gd name="connsiteX4060" fmla="*/ 5283680 w 6630249"/>
              <a:gd name="connsiteY4060" fmla="*/ 4950239 h 6750795"/>
              <a:gd name="connsiteX4061" fmla="*/ 5181085 w 6630249"/>
              <a:gd name="connsiteY4061" fmla="*/ 5022056 h 6750795"/>
              <a:gd name="connsiteX4062" fmla="*/ 5355498 w 6630249"/>
              <a:gd name="connsiteY4062" fmla="*/ 5152866 h 6750795"/>
              <a:gd name="connsiteX4063" fmla="*/ 5355498 w 6630249"/>
              <a:gd name="connsiteY4063" fmla="*/ 5255461 h 6750795"/>
              <a:gd name="connsiteX4064" fmla="*/ 5237513 w 6630249"/>
              <a:gd name="connsiteY4064" fmla="*/ 5327278 h 6750795"/>
              <a:gd name="connsiteX4065" fmla="*/ 5281116 w 6630249"/>
              <a:gd name="connsiteY4065" fmla="*/ 5355492 h 6750795"/>
              <a:gd name="connsiteX4066" fmla="*/ 5193909 w 6630249"/>
              <a:gd name="connsiteY4066" fmla="*/ 5447828 h 6750795"/>
              <a:gd name="connsiteX4067" fmla="*/ 5196474 w 6630249"/>
              <a:gd name="connsiteY4067" fmla="*/ 5417049 h 6750795"/>
              <a:gd name="connsiteX4068" fmla="*/ 5216993 w 6630249"/>
              <a:gd name="connsiteY4068" fmla="*/ 5401660 h 6750795"/>
              <a:gd name="connsiteX4069" fmla="*/ 5209299 w 6630249"/>
              <a:gd name="connsiteY4069" fmla="*/ 5391400 h 6750795"/>
              <a:gd name="connsiteX4070" fmla="*/ 5201604 w 6630249"/>
              <a:gd name="connsiteY4070" fmla="*/ 5396531 h 6750795"/>
              <a:gd name="connsiteX4071" fmla="*/ 5201604 w 6630249"/>
              <a:gd name="connsiteY4071" fmla="*/ 5386271 h 6750795"/>
              <a:gd name="connsiteX4072" fmla="*/ 5191345 w 6630249"/>
              <a:gd name="connsiteY4072" fmla="*/ 5393965 h 6750795"/>
              <a:gd name="connsiteX4073" fmla="*/ 5186215 w 6630249"/>
              <a:gd name="connsiteY4073" fmla="*/ 5383706 h 6750795"/>
              <a:gd name="connsiteX4074" fmla="*/ 5191345 w 6630249"/>
              <a:gd name="connsiteY4074" fmla="*/ 5409355 h 6750795"/>
              <a:gd name="connsiteX4075" fmla="*/ 5188779 w 6630249"/>
              <a:gd name="connsiteY4075" fmla="*/ 5455523 h 6750795"/>
              <a:gd name="connsiteX4076" fmla="*/ 5170825 w 6630249"/>
              <a:gd name="connsiteY4076" fmla="*/ 5470912 h 6750795"/>
              <a:gd name="connsiteX4077" fmla="*/ 5170825 w 6630249"/>
              <a:gd name="connsiteY4077" fmla="*/ 5465783 h 6750795"/>
              <a:gd name="connsiteX4078" fmla="*/ 5160566 w 6630249"/>
              <a:gd name="connsiteY4078" fmla="*/ 5455523 h 6750795"/>
              <a:gd name="connsiteX4079" fmla="*/ 5152871 w 6630249"/>
              <a:gd name="connsiteY4079" fmla="*/ 5476042 h 6750795"/>
              <a:gd name="connsiteX4080" fmla="*/ 5140047 w 6630249"/>
              <a:gd name="connsiteY4080" fmla="*/ 5468347 h 6750795"/>
              <a:gd name="connsiteX4081" fmla="*/ 5152871 w 6630249"/>
              <a:gd name="connsiteY4081" fmla="*/ 5491431 h 6750795"/>
              <a:gd name="connsiteX4082" fmla="*/ 5132352 w 6630249"/>
              <a:gd name="connsiteY4082" fmla="*/ 5522210 h 6750795"/>
              <a:gd name="connsiteX4083" fmla="*/ 5145176 w 6630249"/>
              <a:gd name="connsiteY4083" fmla="*/ 5596592 h 6750795"/>
              <a:gd name="connsiteX4084" fmla="*/ 5140047 w 6630249"/>
              <a:gd name="connsiteY4084" fmla="*/ 5619676 h 6750795"/>
              <a:gd name="connsiteX4085" fmla="*/ 5134917 w 6630249"/>
              <a:gd name="connsiteY4085" fmla="*/ 5627371 h 6750795"/>
              <a:gd name="connsiteX4086" fmla="*/ 5127222 w 6630249"/>
              <a:gd name="connsiteY4086" fmla="*/ 5640195 h 6750795"/>
              <a:gd name="connsiteX4087" fmla="*/ 5127222 w 6630249"/>
              <a:gd name="connsiteY4087" fmla="*/ 5642760 h 6750795"/>
              <a:gd name="connsiteX4088" fmla="*/ 5122092 w 6630249"/>
              <a:gd name="connsiteY4088" fmla="*/ 5668409 h 6750795"/>
              <a:gd name="connsiteX4089" fmla="*/ 4824565 w 6630249"/>
              <a:gd name="connsiteY4089" fmla="*/ 5783829 h 6750795"/>
              <a:gd name="connsiteX4090" fmla="*/ 4804046 w 6630249"/>
              <a:gd name="connsiteY4090" fmla="*/ 5776134 h 6750795"/>
              <a:gd name="connsiteX4091" fmla="*/ 4793786 w 6630249"/>
              <a:gd name="connsiteY4091" fmla="*/ 5688928 h 6750795"/>
              <a:gd name="connsiteX4092" fmla="*/ 4793786 w 6630249"/>
              <a:gd name="connsiteY4092" fmla="*/ 5686363 h 6750795"/>
              <a:gd name="connsiteX4093" fmla="*/ 4883557 w 6630249"/>
              <a:gd name="connsiteY4093" fmla="*/ 5650455 h 6750795"/>
              <a:gd name="connsiteX4094" fmla="*/ 4778397 w 6630249"/>
              <a:gd name="connsiteY4094" fmla="*/ 5617111 h 6750795"/>
              <a:gd name="connsiteX4095" fmla="*/ 4770702 w 6630249"/>
              <a:gd name="connsiteY4095" fmla="*/ 5555554 h 6750795"/>
              <a:gd name="connsiteX4096" fmla="*/ 4785451 w 6630249"/>
              <a:gd name="connsiteY4096" fmla="*/ 5554913 h 6750795"/>
              <a:gd name="connsiteX4097" fmla="*/ 4791994 w 6630249"/>
              <a:gd name="connsiteY4097" fmla="*/ 5552219 h 6750795"/>
              <a:gd name="connsiteX4098" fmla="*/ 4791221 w 6630249"/>
              <a:gd name="connsiteY4098" fmla="*/ 5560683 h 6750795"/>
              <a:gd name="connsiteX4099" fmla="*/ 4863038 w 6630249"/>
              <a:gd name="connsiteY4099" fmla="*/ 5560683 h 6750795"/>
              <a:gd name="connsiteX4100" fmla="*/ 4834824 w 6630249"/>
              <a:gd name="connsiteY4100" fmla="*/ 5501691 h 6750795"/>
              <a:gd name="connsiteX4101" fmla="*/ 4793346 w 6630249"/>
              <a:gd name="connsiteY4101" fmla="*/ 5537399 h 6750795"/>
              <a:gd name="connsiteX4102" fmla="*/ 4792552 w 6630249"/>
              <a:gd name="connsiteY4102" fmla="*/ 5546095 h 6750795"/>
              <a:gd name="connsiteX4103" fmla="*/ 4782565 w 6630249"/>
              <a:gd name="connsiteY4103" fmla="*/ 5534715 h 6750795"/>
              <a:gd name="connsiteX4104" fmla="*/ 4763007 w 6630249"/>
              <a:gd name="connsiteY4104" fmla="*/ 5524775 h 6750795"/>
              <a:gd name="connsiteX4105" fmla="*/ 4757877 w 6630249"/>
              <a:gd name="connsiteY4105" fmla="*/ 5488866 h 6750795"/>
              <a:gd name="connsiteX4106" fmla="*/ 4788656 w 6630249"/>
              <a:gd name="connsiteY4106" fmla="*/ 5476042 h 6750795"/>
              <a:gd name="connsiteX4107" fmla="*/ 4796351 w 6630249"/>
              <a:gd name="connsiteY4107" fmla="*/ 5458088 h 6750795"/>
              <a:gd name="connsiteX4108" fmla="*/ 4780962 w 6630249"/>
              <a:gd name="connsiteY4108" fmla="*/ 5458088 h 6750795"/>
              <a:gd name="connsiteX4109" fmla="*/ 4780962 w 6630249"/>
              <a:gd name="connsiteY4109" fmla="*/ 5447828 h 6750795"/>
              <a:gd name="connsiteX4110" fmla="*/ 4752748 w 6630249"/>
              <a:gd name="connsiteY4110" fmla="*/ 5481172 h 6750795"/>
              <a:gd name="connsiteX4111" fmla="*/ 4750183 w 6630249"/>
              <a:gd name="connsiteY4111" fmla="*/ 5468347 h 6750795"/>
              <a:gd name="connsiteX4112" fmla="*/ 4770702 w 6630249"/>
              <a:gd name="connsiteY4112" fmla="*/ 5447828 h 6750795"/>
              <a:gd name="connsiteX4113" fmla="*/ 4763007 w 6630249"/>
              <a:gd name="connsiteY4113" fmla="*/ 5447828 h 6750795"/>
              <a:gd name="connsiteX4114" fmla="*/ 4773267 w 6630249"/>
              <a:gd name="connsiteY4114" fmla="*/ 5424744 h 6750795"/>
              <a:gd name="connsiteX4115" fmla="*/ 4757877 w 6630249"/>
              <a:gd name="connsiteY4115" fmla="*/ 5419614 h 6750795"/>
              <a:gd name="connsiteX4116" fmla="*/ 4757877 w 6630249"/>
              <a:gd name="connsiteY4116" fmla="*/ 5350362 h 6750795"/>
              <a:gd name="connsiteX4117" fmla="*/ 4804046 w 6630249"/>
              <a:gd name="connsiteY4117" fmla="*/ 5355492 h 6750795"/>
              <a:gd name="connsiteX4118" fmla="*/ 4786091 w 6630249"/>
              <a:gd name="connsiteY4118" fmla="*/ 5342668 h 6750795"/>
              <a:gd name="connsiteX4119" fmla="*/ 4796351 w 6630249"/>
              <a:gd name="connsiteY4119" fmla="*/ 5327278 h 6750795"/>
              <a:gd name="connsiteX4120" fmla="*/ 4780962 w 6630249"/>
              <a:gd name="connsiteY4120" fmla="*/ 5324713 h 6750795"/>
              <a:gd name="connsiteX4121" fmla="*/ 4791221 w 6630249"/>
              <a:gd name="connsiteY4121" fmla="*/ 5317019 h 6750795"/>
              <a:gd name="connsiteX4122" fmla="*/ 4773267 w 6630249"/>
              <a:gd name="connsiteY4122" fmla="*/ 5314454 h 6750795"/>
              <a:gd name="connsiteX4123" fmla="*/ 4780962 w 6630249"/>
              <a:gd name="connsiteY4123" fmla="*/ 5304194 h 6750795"/>
              <a:gd name="connsiteX4124" fmla="*/ 4760442 w 6630249"/>
              <a:gd name="connsiteY4124" fmla="*/ 5311889 h 6750795"/>
              <a:gd name="connsiteX4125" fmla="*/ 4763007 w 6630249"/>
              <a:gd name="connsiteY4125" fmla="*/ 5278545 h 6750795"/>
              <a:gd name="connsiteX4126" fmla="*/ 4755313 w 6630249"/>
              <a:gd name="connsiteY4126" fmla="*/ 5288805 h 6750795"/>
              <a:gd name="connsiteX4127" fmla="*/ 4755313 w 6630249"/>
              <a:gd name="connsiteY4127" fmla="*/ 5270851 h 6750795"/>
              <a:gd name="connsiteX4128" fmla="*/ 4770702 w 6630249"/>
              <a:gd name="connsiteY4128" fmla="*/ 5240072 h 6750795"/>
              <a:gd name="connsiteX4129" fmla="*/ 4763007 w 6630249"/>
              <a:gd name="connsiteY4129" fmla="*/ 5252896 h 6750795"/>
              <a:gd name="connsiteX4130" fmla="*/ 4757877 w 6630249"/>
              <a:gd name="connsiteY4130" fmla="*/ 5224682 h 6750795"/>
              <a:gd name="connsiteX4131" fmla="*/ 4747618 w 6630249"/>
              <a:gd name="connsiteY4131" fmla="*/ 5232377 h 6750795"/>
              <a:gd name="connsiteX4132" fmla="*/ 4752748 w 6630249"/>
              <a:gd name="connsiteY4132" fmla="*/ 5173385 h 6750795"/>
              <a:gd name="connsiteX4133" fmla="*/ 4745053 w 6630249"/>
              <a:gd name="connsiteY4133" fmla="*/ 5170820 h 6750795"/>
              <a:gd name="connsiteX4134" fmla="*/ 4739923 w 6630249"/>
              <a:gd name="connsiteY4134" fmla="*/ 5140041 h 6750795"/>
              <a:gd name="connsiteX4135" fmla="*/ 4770702 w 6630249"/>
              <a:gd name="connsiteY4135" fmla="*/ 5134911 h 6750795"/>
              <a:gd name="connsiteX4136" fmla="*/ 4739923 w 6630249"/>
              <a:gd name="connsiteY4136" fmla="*/ 5134911 h 6750795"/>
              <a:gd name="connsiteX4137" fmla="*/ 4760442 w 6630249"/>
              <a:gd name="connsiteY4137" fmla="*/ 5014361 h 6750795"/>
              <a:gd name="connsiteX4138" fmla="*/ 4778397 w 6630249"/>
              <a:gd name="connsiteY4138" fmla="*/ 4983583 h 6750795"/>
              <a:gd name="connsiteX4139" fmla="*/ 4788656 w 6630249"/>
              <a:gd name="connsiteY4139" fmla="*/ 4988712 h 6750795"/>
              <a:gd name="connsiteX4140" fmla="*/ 4775832 w 6630249"/>
              <a:gd name="connsiteY4140" fmla="*/ 4978453 h 6750795"/>
              <a:gd name="connsiteX4141" fmla="*/ 4786091 w 6630249"/>
              <a:gd name="connsiteY4141" fmla="*/ 4965628 h 6750795"/>
              <a:gd name="connsiteX4142" fmla="*/ 4811740 w 6630249"/>
              <a:gd name="connsiteY4142" fmla="*/ 4955369 h 6750795"/>
              <a:gd name="connsiteX4143" fmla="*/ 4834824 w 6630249"/>
              <a:gd name="connsiteY4143" fmla="*/ 4939980 h 6750795"/>
              <a:gd name="connsiteX4144" fmla="*/ 4798916 w 6630249"/>
              <a:gd name="connsiteY4144" fmla="*/ 4942544 h 6750795"/>
              <a:gd name="connsiteX4145" fmla="*/ 4804046 w 6630249"/>
              <a:gd name="connsiteY4145" fmla="*/ 4916895 h 6750795"/>
              <a:gd name="connsiteX4146" fmla="*/ 4775832 w 6630249"/>
              <a:gd name="connsiteY4146" fmla="*/ 4955369 h 6750795"/>
              <a:gd name="connsiteX4147" fmla="*/ 4773267 w 6630249"/>
              <a:gd name="connsiteY4147" fmla="*/ 4919460 h 6750795"/>
              <a:gd name="connsiteX4148" fmla="*/ 4765572 w 6630249"/>
              <a:gd name="connsiteY4148" fmla="*/ 4981018 h 6750795"/>
              <a:gd name="connsiteX4149" fmla="*/ 4763007 w 6630249"/>
              <a:gd name="connsiteY4149" fmla="*/ 4965628 h 6750795"/>
              <a:gd name="connsiteX4150" fmla="*/ 4765572 w 6630249"/>
              <a:gd name="connsiteY4150" fmla="*/ 4914331 h 6750795"/>
              <a:gd name="connsiteX4151" fmla="*/ 4775832 w 6630249"/>
              <a:gd name="connsiteY4151" fmla="*/ 4901506 h 6750795"/>
              <a:gd name="connsiteX4152" fmla="*/ 4765572 w 6630249"/>
              <a:gd name="connsiteY4152" fmla="*/ 4898941 h 6750795"/>
              <a:gd name="connsiteX4153" fmla="*/ 4763007 w 6630249"/>
              <a:gd name="connsiteY4153" fmla="*/ 4878422 h 6750795"/>
              <a:gd name="connsiteX4154" fmla="*/ 4775832 w 6630249"/>
              <a:gd name="connsiteY4154" fmla="*/ 4873292 h 6750795"/>
              <a:gd name="connsiteX4155" fmla="*/ 4760442 w 6630249"/>
              <a:gd name="connsiteY4155" fmla="*/ 4860468 h 6750795"/>
              <a:gd name="connsiteX4156" fmla="*/ 4763007 w 6630249"/>
              <a:gd name="connsiteY4156" fmla="*/ 4819430 h 6750795"/>
              <a:gd name="connsiteX4157" fmla="*/ 4775832 w 6630249"/>
              <a:gd name="connsiteY4157" fmla="*/ 4821994 h 6750795"/>
              <a:gd name="connsiteX4158" fmla="*/ 4780962 w 6630249"/>
              <a:gd name="connsiteY4158" fmla="*/ 4816865 h 6750795"/>
              <a:gd name="connsiteX4159" fmla="*/ 4750183 w 6630249"/>
              <a:gd name="connsiteY4159" fmla="*/ 4793781 h 6750795"/>
              <a:gd name="connsiteX4160" fmla="*/ 4775832 w 6630249"/>
              <a:gd name="connsiteY4160" fmla="*/ 4791216 h 6750795"/>
              <a:gd name="connsiteX4161" fmla="*/ 4770702 w 6630249"/>
              <a:gd name="connsiteY4161" fmla="*/ 4775826 h 6750795"/>
              <a:gd name="connsiteX4162" fmla="*/ 4747618 w 6630249"/>
              <a:gd name="connsiteY4162" fmla="*/ 4780956 h 6750795"/>
              <a:gd name="connsiteX4163" fmla="*/ 4732228 w 6630249"/>
              <a:gd name="connsiteY4163" fmla="*/ 4709139 h 6750795"/>
              <a:gd name="connsiteX4164" fmla="*/ 4752748 w 6630249"/>
              <a:gd name="connsiteY4164" fmla="*/ 4706574 h 6750795"/>
              <a:gd name="connsiteX4165" fmla="*/ 4763007 w 6630249"/>
              <a:gd name="connsiteY4165" fmla="*/ 4752742 h 6750795"/>
              <a:gd name="connsiteX4166" fmla="*/ 4755313 w 6630249"/>
              <a:gd name="connsiteY4166" fmla="*/ 4704009 h 6750795"/>
              <a:gd name="connsiteX4167" fmla="*/ 4773267 w 6630249"/>
              <a:gd name="connsiteY4167" fmla="*/ 4701444 h 6750795"/>
              <a:gd name="connsiteX4168" fmla="*/ 4793786 w 6630249"/>
              <a:gd name="connsiteY4168" fmla="*/ 4727093 h 6750795"/>
              <a:gd name="connsiteX4169" fmla="*/ 4775832 w 6630249"/>
              <a:gd name="connsiteY4169" fmla="*/ 4698879 h 6750795"/>
              <a:gd name="connsiteX4170" fmla="*/ 4796351 w 6630249"/>
              <a:gd name="connsiteY4170" fmla="*/ 4704009 h 6750795"/>
              <a:gd name="connsiteX4171" fmla="*/ 4827130 w 6630249"/>
              <a:gd name="connsiteY4171" fmla="*/ 4691185 h 6750795"/>
              <a:gd name="connsiteX4172" fmla="*/ 4793786 w 6630249"/>
              <a:gd name="connsiteY4172" fmla="*/ 4680925 h 6750795"/>
              <a:gd name="connsiteX4173" fmla="*/ 4806611 w 6630249"/>
              <a:gd name="connsiteY4173" fmla="*/ 4665536 h 6750795"/>
              <a:gd name="connsiteX4174" fmla="*/ 4801481 w 6630249"/>
              <a:gd name="connsiteY4174" fmla="*/ 4650147 h 6750795"/>
              <a:gd name="connsiteX4175" fmla="*/ 4768137 w 6630249"/>
              <a:gd name="connsiteY4175" fmla="*/ 4665536 h 6750795"/>
              <a:gd name="connsiteX4176" fmla="*/ 4760442 w 6630249"/>
              <a:gd name="connsiteY4176" fmla="*/ 4655276 h 6750795"/>
              <a:gd name="connsiteX4177" fmla="*/ 4755313 w 6630249"/>
              <a:gd name="connsiteY4177" fmla="*/ 4680925 h 6750795"/>
              <a:gd name="connsiteX4178" fmla="*/ 4747618 w 6630249"/>
              <a:gd name="connsiteY4178" fmla="*/ 4680925 h 6750795"/>
              <a:gd name="connsiteX4179" fmla="*/ 4742488 w 6630249"/>
              <a:gd name="connsiteY4179" fmla="*/ 4688620 h 6750795"/>
              <a:gd name="connsiteX4180" fmla="*/ 4732228 w 6630249"/>
              <a:gd name="connsiteY4180" fmla="*/ 4686055 h 6750795"/>
              <a:gd name="connsiteX4181" fmla="*/ 4714274 w 6630249"/>
              <a:gd name="connsiteY4181" fmla="*/ 4665536 h 6750795"/>
              <a:gd name="connsiteX4182" fmla="*/ 4721969 w 6630249"/>
              <a:gd name="connsiteY4182" fmla="*/ 4627063 h 6750795"/>
              <a:gd name="connsiteX4183" fmla="*/ 4709145 w 6630249"/>
              <a:gd name="connsiteY4183" fmla="*/ 4632192 h 6750795"/>
              <a:gd name="connsiteX4184" fmla="*/ 4680931 w 6630249"/>
              <a:gd name="connsiteY4184" fmla="*/ 4514207 h 6750795"/>
              <a:gd name="connsiteX4185" fmla="*/ 4716839 w 6630249"/>
              <a:gd name="connsiteY4185" fmla="*/ 4501383 h 6750795"/>
              <a:gd name="connsiteX4186" fmla="*/ 4678366 w 6630249"/>
              <a:gd name="connsiteY4186" fmla="*/ 4480863 h 6750795"/>
              <a:gd name="connsiteX4187" fmla="*/ 4696320 w 6630249"/>
              <a:gd name="connsiteY4187" fmla="*/ 4447520 h 6750795"/>
              <a:gd name="connsiteX4188" fmla="*/ 4688625 w 6630249"/>
              <a:gd name="connsiteY4188" fmla="*/ 4439825 h 6750795"/>
              <a:gd name="connsiteX4189" fmla="*/ 4755313 w 6630249"/>
              <a:gd name="connsiteY4189" fmla="*/ 4419306 h 6750795"/>
              <a:gd name="connsiteX4190" fmla="*/ 4709145 w 6630249"/>
              <a:gd name="connsiteY4190" fmla="*/ 4414176 h 6750795"/>
              <a:gd name="connsiteX4191" fmla="*/ 4750183 w 6630249"/>
              <a:gd name="connsiteY4191" fmla="*/ 4396222 h 6750795"/>
              <a:gd name="connsiteX4192" fmla="*/ 4721969 w 6630249"/>
              <a:gd name="connsiteY4192" fmla="*/ 4398787 h 6750795"/>
              <a:gd name="connsiteX4193" fmla="*/ 4737359 w 6630249"/>
              <a:gd name="connsiteY4193" fmla="*/ 4370573 h 6750795"/>
              <a:gd name="connsiteX4194" fmla="*/ 4711710 w 6630249"/>
              <a:gd name="connsiteY4194" fmla="*/ 4383398 h 6750795"/>
              <a:gd name="connsiteX4195" fmla="*/ 4698885 w 6630249"/>
              <a:gd name="connsiteY4195" fmla="*/ 4406482 h 6750795"/>
              <a:gd name="connsiteX4196" fmla="*/ 4701450 w 6630249"/>
              <a:gd name="connsiteY4196" fmla="*/ 4370573 h 6750795"/>
              <a:gd name="connsiteX4197" fmla="*/ 4719404 w 6630249"/>
              <a:gd name="connsiteY4197" fmla="*/ 4326970 h 6750795"/>
              <a:gd name="connsiteX4198" fmla="*/ 4691190 w 6630249"/>
              <a:gd name="connsiteY4198" fmla="*/ 4375703 h 6750795"/>
              <a:gd name="connsiteX4199" fmla="*/ 4688625 w 6630249"/>
              <a:gd name="connsiteY4199" fmla="*/ 4360314 h 6750795"/>
              <a:gd name="connsiteX4200" fmla="*/ 4668106 w 6630249"/>
              <a:gd name="connsiteY4200" fmla="*/ 4411611 h 6750795"/>
              <a:gd name="connsiteX4201" fmla="*/ 4662976 w 6630249"/>
              <a:gd name="connsiteY4201" fmla="*/ 4373138 h 6750795"/>
              <a:gd name="connsiteX4202" fmla="*/ 4655282 w 6630249"/>
              <a:gd name="connsiteY4202" fmla="*/ 4350054 h 6750795"/>
              <a:gd name="connsiteX4203" fmla="*/ 4652717 w 6630249"/>
              <a:gd name="connsiteY4203" fmla="*/ 4311581 h 6750795"/>
              <a:gd name="connsiteX4204" fmla="*/ 4650152 w 6630249"/>
              <a:gd name="connsiteY4204" fmla="*/ 4221810 h 6750795"/>
              <a:gd name="connsiteX4205" fmla="*/ 4642457 w 6630249"/>
              <a:gd name="connsiteY4205" fmla="*/ 4216680 h 6750795"/>
              <a:gd name="connsiteX4206" fmla="*/ 4634763 w 6630249"/>
              <a:gd name="connsiteY4206" fmla="*/ 4165382 h 6750795"/>
              <a:gd name="connsiteX4207" fmla="*/ 4660412 w 6630249"/>
              <a:gd name="connsiteY4207" fmla="*/ 4160252 h 6750795"/>
              <a:gd name="connsiteX4208" fmla="*/ 4634763 w 6630249"/>
              <a:gd name="connsiteY4208" fmla="*/ 4162817 h 6750795"/>
              <a:gd name="connsiteX4209" fmla="*/ 4655282 w 6630249"/>
              <a:gd name="connsiteY4209" fmla="*/ 4134603 h 6750795"/>
              <a:gd name="connsiteX4210" fmla="*/ 4637327 w 6630249"/>
              <a:gd name="connsiteY4210" fmla="*/ 4147427 h 6750795"/>
              <a:gd name="connsiteX4211" fmla="*/ 4624503 w 6630249"/>
              <a:gd name="connsiteY4211" fmla="*/ 4124343 h 6750795"/>
              <a:gd name="connsiteX4212" fmla="*/ 4624503 w 6630249"/>
              <a:gd name="connsiteY4212" fmla="*/ 4155122 h 6750795"/>
              <a:gd name="connsiteX4213" fmla="*/ 4611679 w 6630249"/>
              <a:gd name="connsiteY4213" fmla="*/ 4147427 h 6750795"/>
              <a:gd name="connsiteX4214" fmla="*/ 4606549 w 6630249"/>
              <a:gd name="connsiteY4214" fmla="*/ 4152557 h 6750795"/>
              <a:gd name="connsiteX4215" fmla="*/ 4621938 w 6630249"/>
              <a:gd name="connsiteY4215" fmla="*/ 4160252 h 6750795"/>
              <a:gd name="connsiteX4216" fmla="*/ 4619373 w 6630249"/>
              <a:gd name="connsiteY4216" fmla="*/ 4178206 h 6750795"/>
              <a:gd name="connsiteX4217" fmla="*/ 4634763 w 6630249"/>
              <a:gd name="connsiteY4217" fmla="*/ 4237199 h 6750795"/>
              <a:gd name="connsiteX4218" fmla="*/ 4627068 w 6630249"/>
              <a:gd name="connsiteY4218" fmla="*/ 4237199 h 6750795"/>
              <a:gd name="connsiteX4219" fmla="*/ 4634763 w 6630249"/>
              <a:gd name="connsiteY4219" fmla="*/ 4255153 h 6750795"/>
              <a:gd name="connsiteX4220" fmla="*/ 4645022 w 6630249"/>
              <a:gd name="connsiteY4220" fmla="*/ 4347489 h 6750795"/>
              <a:gd name="connsiteX4221" fmla="*/ 4655282 w 6630249"/>
              <a:gd name="connsiteY4221" fmla="*/ 4380833 h 6750795"/>
              <a:gd name="connsiteX4222" fmla="*/ 4645022 w 6630249"/>
              <a:gd name="connsiteY4222" fmla="*/ 4398787 h 6750795"/>
              <a:gd name="connsiteX4223" fmla="*/ 4637327 w 6630249"/>
              <a:gd name="connsiteY4223" fmla="*/ 4414176 h 6750795"/>
              <a:gd name="connsiteX4224" fmla="*/ 4619373 w 6630249"/>
              <a:gd name="connsiteY4224" fmla="*/ 4409047 h 6750795"/>
              <a:gd name="connsiteX4225" fmla="*/ 4586030 w 6630249"/>
              <a:gd name="connsiteY4225" fmla="*/ 4437260 h 6750795"/>
              <a:gd name="connsiteX4226" fmla="*/ 4575770 w 6630249"/>
              <a:gd name="connsiteY4226" fmla="*/ 4432131 h 6750795"/>
              <a:gd name="connsiteX4227" fmla="*/ 4583465 w 6630249"/>
              <a:gd name="connsiteY4227" fmla="*/ 4470604 h 6750795"/>
              <a:gd name="connsiteX4228" fmla="*/ 4593724 w 6630249"/>
              <a:gd name="connsiteY4228" fmla="*/ 4478299 h 6750795"/>
              <a:gd name="connsiteX4229" fmla="*/ 4588595 w 6630249"/>
              <a:gd name="connsiteY4229" fmla="*/ 4488558 h 6750795"/>
              <a:gd name="connsiteX4230" fmla="*/ 4501388 w 6630249"/>
              <a:gd name="connsiteY4230" fmla="*/ 4478299 h 6750795"/>
              <a:gd name="connsiteX4231" fmla="*/ 4588595 w 6630249"/>
              <a:gd name="connsiteY4231" fmla="*/ 4498818 h 6750795"/>
              <a:gd name="connsiteX4232" fmla="*/ 4583465 w 6630249"/>
              <a:gd name="connsiteY4232" fmla="*/ 4506512 h 6750795"/>
              <a:gd name="connsiteX4233" fmla="*/ 4598854 w 6630249"/>
              <a:gd name="connsiteY4233" fmla="*/ 4516772 h 6750795"/>
              <a:gd name="connsiteX4234" fmla="*/ 4550121 w 6630249"/>
              <a:gd name="connsiteY4234" fmla="*/ 4632192 h 6750795"/>
              <a:gd name="connsiteX4235" fmla="*/ 4539861 w 6630249"/>
              <a:gd name="connsiteY4235" fmla="*/ 4627063 h 6750795"/>
              <a:gd name="connsiteX4236" fmla="*/ 4534732 w 6630249"/>
              <a:gd name="connsiteY4236" fmla="*/ 4629627 h 6750795"/>
              <a:gd name="connsiteX4237" fmla="*/ 4539861 w 6630249"/>
              <a:gd name="connsiteY4237" fmla="*/ 4642452 h 6750795"/>
              <a:gd name="connsiteX4238" fmla="*/ 4496258 w 6630249"/>
              <a:gd name="connsiteY4238" fmla="*/ 4796345 h 6750795"/>
              <a:gd name="connsiteX4239" fmla="*/ 4485999 w 6630249"/>
              <a:gd name="connsiteY4239" fmla="*/ 4804040 h 6750795"/>
              <a:gd name="connsiteX4240" fmla="*/ 4462915 w 6630249"/>
              <a:gd name="connsiteY4240" fmla="*/ 4909201 h 6750795"/>
              <a:gd name="connsiteX4241" fmla="*/ 4452655 w 6630249"/>
              <a:gd name="connsiteY4241" fmla="*/ 4906636 h 6750795"/>
              <a:gd name="connsiteX4242" fmla="*/ 4457785 w 6630249"/>
              <a:gd name="connsiteY4242" fmla="*/ 4932285 h 6750795"/>
              <a:gd name="connsiteX4243" fmla="*/ 4406487 w 6630249"/>
              <a:gd name="connsiteY4243" fmla="*/ 4993842 h 6750795"/>
              <a:gd name="connsiteX4244" fmla="*/ 4385968 w 6630249"/>
              <a:gd name="connsiteY4244" fmla="*/ 5001537 h 6750795"/>
              <a:gd name="connsiteX4245" fmla="*/ 4378273 w 6630249"/>
              <a:gd name="connsiteY4245" fmla="*/ 4998972 h 6750795"/>
              <a:gd name="connsiteX4246" fmla="*/ 4360319 w 6630249"/>
              <a:gd name="connsiteY4246" fmla="*/ 4998972 h 6750795"/>
              <a:gd name="connsiteX4247" fmla="*/ 4368014 w 6630249"/>
              <a:gd name="connsiteY4247" fmla="*/ 4988712 h 6750795"/>
              <a:gd name="connsiteX4248" fmla="*/ 4362884 w 6630249"/>
              <a:gd name="connsiteY4248" fmla="*/ 4975888 h 6750795"/>
              <a:gd name="connsiteX4249" fmla="*/ 4419312 w 6630249"/>
              <a:gd name="connsiteY4249" fmla="*/ 4898941 h 6750795"/>
              <a:gd name="connsiteX4250" fmla="*/ 4373143 w 6630249"/>
              <a:gd name="connsiteY4250" fmla="*/ 4929720 h 6750795"/>
              <a:gd name="connsiteX4251" fmla="*/ 4350060 w 6630249"/>
              <a:gd name="connsiteY4251" fmla="*/ 4845079 h 6750795"/>
              <a:gd name="connsiteX4252" fmla="*/ 4329540 w 6630249"/>
              <a:gd name="connsiteY4252" fmla="*/ 4924590 h 6750795"/>
              <a:gd name="connsiteX4253" fmla="*/ 4309021 w 6630249"/>
              <a:gd name="connsiteY4253" fmla="*/ 4906636 h 6750795"/>
              <a:gd name="connsiteX4254" fmla="*/ 4306456 w 6630249"/>
              <a:gd name="connsiteY4254" fmla="*/ 4924590 h 6750795"/>
              <a:gd name="connsiteX4255" fmla="*/ 4252594 w 6630249"/>
              <a:gd name="connsiteY4255" fmla="*/ 4896376 h 6750795"/>
              <a:gd name="connsiteX4256" fmla="*/ 4247464 w 6630249"/>
              <a:gd name="connsiteY4256" fmla="*/ 4898941 h 6750795"/>
              <a:gd name="connsiteX4257" fmla="*/ 4321846 w 6630249"/>
              <a:gd name="connsiteY4257" fmla="*/ 4973323 h 6750795"/>
              <a:gd name="connsiteX4258" fmla="*/ 4321846 w 6630249"/>
              <a:gd name="connsiteY4258" fmla="*/ 4981018 h 6750795"/>
              <a:gd name="connsiteX4259" fmla="*/ 4334670 w 6630249"/>
              <a:gd name="connsiteY4259" fmla="*/ 4983583 h 6750795"/>
              <a:gd name="connsiteX4260" fmla="*/ 4321846 w 6630249"/>
              <a:gd name="connsiteY4260" fmla="*/ 4986148 h 6750795"/>
              <a:gd name="connsiteX4261" fmla="*/ 4324411 w 6630249"/>
              <a:gd name="connsiteY4261" fmla="*/ 4993842 h 6750795"/>
              <a:gd name="connsiteX4262" fmla="*/ 4293632 w 6630249"/>
              <a:gd name="connsiteY4262" fmla="*/ 4960499 h 6750795"/>
              <a:gd name="connsiteX4263" fmla="*/ 4201296 w 6630249"/>
              <a:gd name="connsiteY4263" fmla="*/ 4924590 h 6750795"/>
              <a:gd name="connsiteX4264" fmla="*/ 4221815 w 6630249"/>
              <a:gd name="connsiteY4264" fmla="*/ 4968193 h 6750795"/>
              <a:gd name="connsiteX4265" fmla="*/ 4250029 w 6630249"/>
              <a:gd name="connsiteY4265" fmla="*/ 4986148 h 6750795"/>
              <a:gd name="connsiteX4266" fmla="*/ 4257723 w 6630249"/>
              <a:gd name="connsiteY4266" fmla="*/ 4998972 h 6750795"/>
              <a:gd name="connsiteX4267" fmla="*/ 4278242 w 6630249"/>
              <a:gd name="connsiteY4267" fmla="*/ 5004102 h 6750795"/>
              <a:gd name="connsiteX4268" fmla="*/ 4342365 w 6630249"/>
              <a:gd name="connsiteY4268" fmla="*/ 5029751 h 6750795"/>
              <a:gd name="connsiteX4269" fmla="*/ 4342365 w 6630249"/>
              <a:gd name="connsiteY4269" fmla="*/ 5040010 h 6750795"/>
              <a:gd name="connsiteX4270" fmla="*/ 4357754 w 6630249"/>
              <a:gd name="connsiteY4270" fmla="*/ 5040010 h 6750795"/>
              <a:gd name="connsiteX4271" fmla="*/ 4370579 w 6630249"/>
              <a:gd name="connsiteY4271" fmla="*/ 5055400 h 6750795"/>
              <a:gd name="connsiteX4272" fmla="*/ 4355189 w 6630249"/>
              <a:gd name="connsiteY4272" fmla="*/ 5057964 h 6750795"/>
              <a:gd name="connsiteX4273" fmla="*/ 4370579 w 6630249"/>
              <a:gd name="connsiteY4273" fmla="*/ 5068224 h 6750795"/>
              <a:gd name="connsiteX4274" fmla="*/ 4337235 w 6630249"/>
              <a:gd name="connsiteY4274" fmla="*/ 5073354 h 6750795"/>
              <a:gd name="connsiteX4275" fmla="*/ 4319281 w 6630249"/>
              <a:gd name="connsiteY4275" fmla="*/ 5065659 h 6750795"/>
              <a:gd name="connsiteX4276" fmla="*/ 4265418 w 6630249"/>
              <a:gd name="connsiteY4276" fmla="*/ 5101568 h 6750795"/>
              <a:gd name="connsiteX4277" fmla="*/ 4291067 w 6630249"/>
              <a:gd name="connsiteY4277" fmla="*/ 5109262 h 6750795"/>
              <a:gd name="connsiteX4278" fmla="*/ 4319281 w 6630249"/>
              <a:gd name="connsiteY4278" fmla="*/ 5099003 h 6750795"/>
              <a:gd name="connsiteX4279" fmla="*/ 4350060 w 6630249"/>
              <a:gd name="connsiteY4279" fmla="*/ 5078484 h 6750795"/>
              <a:gd name="connsiteX4280" fmla="*/ 4378273 w 6630249"/>
              <a:gd name="connsiteY4280" fmla="*/ 5073354 h 6750795"/>
              <a:gd name="connsiteX4281" fmla="*/ 4380838 w 6630249"/>
              <a:gd name="connsiteY4281" fmla="*/ 5093873 h 6750795"/>
              <a:gd name="connsiteX4282" fmla="*/ 4370579 w 6630249"/>
              <a:gd name="connsiteY4282" fmla="*/ 5101568 h 6750795"/>
              <a:gd name="connsiteX4283" fmla="*/ 4347494 w 6630249"/>
              <a:gd name="connsiteY4283" fmla="*/ 5104132 h 6750795"/>
              <a:gd name="connsiteX4284" fmla="*/ 4360319 w 6630249"/>
              <a:gd name="connsiteY4284" fmla="*/ 5111827 h 6750795"/>
              <a:gd name="connsiteX4285" fmla="*/ 4380838 w 6630249"/>
              <a:gd name="connsiteY4285" fmla="*/ 5137476 h 6750795"/>
              <a:gd name="connsiteX4286" fmla="*/ 4411617 w 6630249"/>
              <a:gd name="connsiteY4286" fmla="*/ 5127217 h 6750795"/>
              <a:gd name="connsiteX4287" fmla="*/ 4416747 w 6630249"/>
              <a:gd name="connsiteY4287" fmla="*/ 5150301 h 6750795"/>
              <a:gd name="connsiteX4288" fmla="*/ 4421877 w 6630249"/>
              <a:gd name="connsiteY4288" fmla="*/ 5155430 h 6750795"/>
              <a:gd name="connsiteX4289" fmla="*/ 4424441 w 6630249"/>
              <a:gd name="connsiteY4289" fmla="*/ 5286240 h 6750795"/>
              <a:gd name="connsiteX4290" fmla="*/ 4419312 w 6630249"/>
              <a:gd name="connsiteY4290" fmla="*/ 5291370 h 6750795"/>
              <a:gd name="connsiteX4291" fmla="*/ 4403922 w 6630249"/>
              <a:gd name="connsiteY4291" fmla="*/ 5288805 h 6750795"/>
              <a:gd name="connsiteX4292" fmla="*/ 4401357 w 6630249"/>
              <a:gd name="connsiteY4292" fmla="*/ 5306759 h 6750795"/>
              <a:gd name="connsiteX4293" fmla="*/ 4393663 w 6630249"/>
              <a:gd name="connsiteY4293" fmla="*/ 5288805 h 6750795"/>
              <a:gd name="connsiteX4294" fmla="*/ 4398792 w 6630249"/>
              <a:gd name="connsiteY4294" fmla="*/ 5278545 h 6750795"/>
              <a:gd name="connsiteX4295" fmla="*/ 4391098 w 6630249"/>
              <a:gd name="connsiteY4295" fmla="*/ 5273416 h 6750795"/>
              <a:gd name="connsiteX4296" fmla="*/ 4411617 w 6630249"/>
              <a:gd name="connsiteY4296" fmla="*/ 5245202 h 6750795"/>
              <a:gd name="connsiteX4297" fmla="*/ 4393663 w 6630249"/>
              <a:gd name="connsiteY4297" fmla="*/ 5237507 h 6750795"/>
              <a:gd name="connsiteX4298" fmla="*/ 4388533 w 6630249"/>
              <a:gd name="connsiteY4298" fmla="*/ 5168255 h 6750795"/>
              <a:gd name="connsiteX4299" fmla="*/ 4380838 w 6630249"/>
              <a:gd name="connsiteY4299" fmla="*/ 5191339 h 6750795"/>
              <a:gd name="connsiteX4300" fmla="*/ 4360319 w 6630249"/>
              <a:gd name="connsiteY4300" fmla="*/ 5168255 h 6750795"/>
              <a:gd name="connsiteX4301" fmla="*/ 4352625 w 6630249"/>
              <a:gd name="connsiteY4301" fmla="*/ 5181079 h 6750795"/>
              <a:gd name="connsiteX4302" fmla="*/ 4342365 w 6630249"/>
              <a:gd name="connsiteY4302" fmla="*/ 5175950 h 6750795"/>
              <a:gd name="connsiteX4303" fmla="*/ 4342365 w 6630249"/>
              <a:gd name="connsiteY4303" fmla="*/ 5216988 h 6750795"/>
              <a:gd name="connsiteX4304" fmla="*/ 4296197 w 6630249"/>
              <a:gd name="connsiteY4304" fmla="*/ 5191339 h 6750795"/>
              <a:gd name="connsiteX4305" fmla="*/ 4296197 w 6630249"/>
              <a:gd name="connsiteY4305" fmla="*/ 5209293 h 6750795"/>
              <a:gd name="connsiteX4306" fmla="*/ 4362884 w 6630249"/>
              <a:gd name="connsiteY4306" fmla="*/ 5273416 h 6750795"/>
              <a:gd name="connsiteX4307" fmla="*/ 4373143 w 6630249"/>
              <a:gd name="connsiteY4307" fmla="*/ 5283675 h 6750795"/>
              <a:gd name="connsiteX4308" fmla="*/ 4368014 w 6630249"/>
              <a:gd name="connsiteY4308" fmla="*/ 5293935 h 6750795"/>
              <a:gd name="connsiteX4309" fmla="*/ 4288502 w 6630249"/>
              <a:gd name="connsiteY4309" fmla="*/ 5229812 h 6750795"/>
              <a:gd name="connsiteX4310" fmla="*/ 4296197 w 6630249"/>
              <a:gd name="connsiteY4310" fmla="*/ 5227247 h 6750795"/>
              <a:gd name="connsiteX4311" fmla="*/ 4275678 w 6630249"/>
              <a:gd name="connsiteY4311" fmla="*/ 5216988 h 6750795"/>
              <a:gd name="connsiteX4312" fmla="*/ 4293632 w 6630249"/>
              <a:gd name="connsiteY4312" fmla="*/ 5199033 h 6750795"/>
              <a:gd name="connsiteX4313" fmla="*/ 4278242 w 6630249"/>
              <a:gd name="connsiteY4313" fmla="*/ 5199033 h 6750795"/>
              <a:gd name="connsiteX4314" fmla="*/ 4280807 w 6630249"/>
              <a:gd name="connsiteY4314" fmla="*/ 5191339 h 6750795"/>
              <a:gd name="connsiteX4315" fmla="*/ 4252594 w 6630249"/>
              <a:gd name="connsiteY4315" fmla="*/ 5219553 h 6750795"/>
              <a:gd name="connsiteX4316" fmla="*/ 4242334 w 6630249"/>
              <a:gd name="connsiteY4316" fmla="*/ 5224682 h 6750795"/>
              <a:gd name="connsiteX4317" fmla="*/ 4239769 w 6630249"/>
              <a:gd name="connsiteY4317" fmla="*/ 5104132 h 6750795"/>
              <a:gd name="connsiteX4318" fmla="*/ 4250029 w 6630249"/>
              <a:gd name="connsiteY4318" fmla="*/ 5104132 h 6750795"/>
              <a:gd name="connsiteX4319" fmla="*/ 4247464 w 6630249"/>
              <a:gd name="connsiteY4319" fmla="*/ 5096438 h 6750795"/>
              <a:gd name="connsiteX4320" fmla="*/ 4255159 w 6630249"/>
              <a:gd name="connsiteY4320" fmla="*/ 5086178 h 6750795"/>
              <a:gd name="connsiteX4321" fmla="*/ 4247464 w 6630249"/>
              <a:gd name="connsiteY4321" fmla="*/ 5078484 h 6750795"/>
              <a:gd name="connsiteX4322" fmla="*/ 4239769 w 6630249"/>
              <a:gd name="connsiteY4322" fmla="*/ 5088743 h 6750795"/>
              <a:gd name="connsiteX4323" fmla="*/ 4232074 w 6630249"/>
              <a:gd name="connsiteY4323" fmla="*/ 5086178 h 6750795"/>
              <a:gd name="connsiteX4324" fmla="*/ 4226945 w 6630249"/>
              <a:gd name="connsiteY4324" fmla="*/ 5104132 h 6750795"/>
              <a:gd name="connsiteX4325" fmla="*/ 4232074 w 6630249"/>
              <a:gd name="connsiteY4325" fmla="*/ 5111827 h 6750795"/>
              <a:gd name="connsiteX4326" fmla="*/ 4237204 w 6630249"/>
              <a:gd name="connsiteY4326" fmla="*/ 5127217 h 6750795"/>
              <a:gd name="connsiteX4327" fmla="*/ 4229510 w 6630249"/>
              <a:gd name="connsiteY4327" fmla="*/ 5175950 h 6750795"/>
              <a:gd name="connsiteX4328" fmla="*/ 4219250 w 6630249"/>
              <a:gd name="connsiteY4328" fmla="*/ 5168255 h 6750795"/>
              <a:gd name="connsiteX4329" fmla="*/ 4216685 w 6630249"/>
              <a:gd name="connsiteY4329" fmla="*/ 5191339 h 6750795"/>
              <a:gd name="connsiteX4330" fmla="*/ 4232074 w 6630249"/>
              <a:gd name="connsiteY4330" fmla="*/ 5209293 h 6750795"/>
              <a:gd name="connsiteX4331" fmla="*/ 4235280 w 6630249"/>
              <a:gd name="connsiteY4331" fmla="*/ 5234301 h 6750795"/>
              <a:gd name="connsiteX4332" fmla="*/ 4234904 w 6630249"/>
              <a:gd name="connsiteY4332" fmla="*/ 5246725 h 6750795"/>
              <a:gd name="connsiteX4333" fmla="*/ 4250349 w 6630249"/>
              <a:gd name="connsiteY4333" fmla="*/ 5241034 h 6750795"/>
              <a:gd name="connsiteX4334" fmla="*/ 4270547 w 6630249"/>
              <a:gd name="connsiteY4334" fmla="*/ 5240072 h 6750795"/>
              <a:gd name="connsiteX4335" fmla="*/ 4375708 w 6630249"/>
              <a:gd name="connsiteY4335" fmla="*/ 5324714 h 6750795"/>
              <a:gd name="connsiteX4336" fmla="*/ 4337235 w 6630249"/>
              <a:gd name="connsiteY4336" fmla="*/ 5352928 h 6750795"/>
              <a:gd name="connsiteX4337" fmla="*/ 4370578 w 6630249"/>
              <a:gd name="connsiteY4337" fmla="*/ 5332409 h 6750795"/>
              <a:gd name="connsiteX4338" fmla="*/ 4398792 w 6630249"/>
              <a:gd name="connsiteY4338" fmla="*/ 5350363 h 6750795"/>
              <a:gd name="connsiteX4339" fmla="*/ 4398792 w 6630249"/>
              <a:gd name="connsiteY4339" fmla="*/ 5358058 h 6750795"/>
              <a:gd name="connsiteX4340" fmla="*/ 4409052 w 6630249"/>
              <a:gd name="connsiteY4340" fmla="*/ 5376012 h 6750795"/>
              <a:gd name="connsiteX4341" fmla="*/ 4414181 w 6630249"/>
              <a:gd name="connsiteY4341" fmla="*/ 5452959 h 6750795"/>
              <a:gd name="connsiteX4342" fmla="*/ 4409052 w 6630249"/>
              <a:gd name="connsiteY4342" fmla="*/ 5463219 h 6750795"/>
              <a:gd name="connsiteX4343" fmla="*/ 4416746 w 6630249"/>
              <a:gd name="connsiteY4343" fmla="*/ 5473478 h 6750795"/>
              <a:gd name="connsiteX4344" fmla="*/ 4421876 w 6630249"/>
              <a:gd name="connsiteY4344" fmla="*/ 5542730 h 6750795"/>
              <a:gd name="connsiteX4345" fmla="*/ 4432136 w 6630249"/>
              <a:gd name="connsiteY4345" fmla="*/ 5601723 h 6750795"/>
              <a:gd name="connsiteX4346" fmla="*/ 4414181 w 6630249"/>
              <a:gd name="connsiteY4346" fmla="*/ 5596593 h 6750795"/>
              <a:gd name="connsiteX4347" fmla="*/ 4406487 w 6630249"/>
              <a:gd name="connsiteY4347" fmla="*/ 5588899 h 6750795"/>
              <a:gd name="connsiteX4348" fmla="*/ 4419311 w 6630249"/>
              <a:gd name="connsiteY4348" fmla="*/ 5552990 h 6750795"/>
              <a:gd name="connsiteX4349" fmla="*/ 4391097 w 6630249"/>
              <a:gd name="connsiteY4349" fmla="*/ 5581204 h 6750795"/>
              <a:gd name="connsiteX4350" fmla="*/ 4393662 w 6630249"/>
              <a:gd name="connsiteY4350" fmla="*/ 5552990 h 6750795"/>
              <a:gd name="connsiteX4351" fmla="*/ 4380838 w 6630249"/>
              <a:gd name="connsiteY4351" fmla="*/ 5578639 h 6750795"/>
              <a:gd name="connsiteX4352" fmla="*/ 4375708 w 6630249"/>
              <a:gd name="connsiteY4352" fmla="*/ 5601723 h 6750795"/>
              <a:gd name="connsiteX4353" fmla="*/ 4360318 w 6630249"/>
              <a:gd name="connsiteY4353" fmla="*/ 5614547 h 6750795"/>
              <a:gd name="connsiteX4354" fmla="*/ 4360318 w 6630249"/>
              <a:gd name="connsiteY4354" fmla="*/ 5573509 h 6750795"/>
              <a:gd name="connsiteX4355" fmla="*/ 4355189 w 6630249"/>
              <a:gd name="connsiteY4355" fmla="*/ 5506822 h 6750795"/>
              <a:gd name="connsiteX4356" fmla="*/ 4370578 w 6630249"/>
              <a:gd name="connsiteY4356" fmla="*/ 5478608 h 6750795"/>
              <a:gd name="connsiteX4357" fmla="*/ 4350059 w 6630249"/>
              <a:gd name="connsiteY4357" fmla="*/ 5483738 h 6750795"/>
              <a:gd name="connsiteX4358" fmla="*/ 4355189 w 6630249"/>
              <a:gd name="connsiteY4358" fmla="*/ 5411921 h 6750795"/>
              <a:gd name="connsiteX4359" fmla="*/ 4329540 w 6630249"/>
              <a:gd name="connsiteY4359" fmla="*/ 5440135 h 6750795"/>
              <a:gd name="connsiteX4360" fmla="*/ 4309021 w 6630249"/>
              <a:gd name="connsiteY4360" fmla="*/ 5419615 h 6750795"/>
              <a:gd name="connsiteX4361" fmla="*/ 4303891 w 6630249"/>
              <a:gd name="connsiteY4361" fmla="*/ 5424745 h 6750795"/>
              <a:gd name="connsiteX4362" fmla="*/ 4324410 w 6630249"/>
              <a:gd name="connsiteY4362" fmla="*/ 5455524 h 6750795"/>
              <a:gd name="connsiteX4363" fmla="*/ 4301326 w 6630249"/>
              <a:gd name="connsiteY4363" fmla="*/ 5460654 h 6750795"/>
              <a:gd name="connsiteX4364" fmla="*/ 4332105 w 6630249"/>
              <a:gd name="connsiteY4364" fmla="*/ 5468348 h 6750795"/>
              <a:gd name="connsiteX4365" fmla="*/ 4344929 w 6630249"/>
              <a:gd name="connsiteY4365" fmla="*/ 5499127 h 6750795"/>
              <a:gd name="connsiteX4366" fmla="*/ 4334670 w 6630249"/>
              <a:gd name="connsiteY4366" fmla="*/ 5506822 h 6750795"/>
              <a:gd name="connsiteX4367" fmla="*/ 4347494 w 6630249"/>
              <a:gd name="connsiteY4367" fmla="*/ 5509387 h 6750795"/>
              <a:gd name="connsiteX4368" fmla="*/ 4352624 w 6630249"/>
              <a:gd name="connsiteY4368" fmla="*/ 5647891 h 6750795"/>
              <a:gd name="connsiteX4369" fmla="*/ 4334670 w 6630249"/>
              <a:gd name="connsiteY4369" fmla="*/ 5609417 h 6750795"/>
              <a:gd name="connsiteX4370" fmla="*/ 4316715 w 6630249"/>
              <a:gd name="connsiteY4370" fmla="*/ 5552990 h 6750795"/>
              <a:gd name="connsiteX4371" fmla="*/ 4273112 w 6630249"/>
              <a:gd name="connsiteY4371" fmla="*/ 5460654 h 6750795"/>
              <a:gd name="connsiteX4372" fmla="*/ 4275677 w 6630249"/>
              <a:gd name="connsiteY4372" fmla="*/ 5450394 h 6750795"/>
              <a:gd name="connsiteX4373" fmla="*/ 4267983 w 6630249"/>
              <a:gd name="connsiteY4373" fmla="*/ 5447829 h 6750795"/>
              <a:gd name="connsiteX4374" fmla="*/ 4252593 w 6630249"/>
              <a:gd name="connsiteY4374" fmla="*/ 5401661 h 6750795"/>
              <a:gd name="connsiteX4375" fmla="*/ 4248986 w 6630249"/>
              <a:gd name="connsiteY4375" fmla="*/ 5386975 h 6750795"/>
              <a:gd name="connsiteX4376" fmla="*/ 4247464 w 6630249"/>
              <a:gd name="connsiteY4376" fmla="*/ 5388836 h 6750795"/>
              <a:gd name="connsiteX4377" fmla="*/ 4237204 w 6630249"/>
              <a:gd name="connsiteY4377" fmla="*/ 5340103 h 6750795"/>
              <a:gd name="connsiteX4378" fmla="*/ 4221815 w 6630249"/>
              <a:gd name="connsiteY4378" fmla="*/ 5342668 h 6750795"/>
              <a:gd name="connsiteX4379" fmla="*/ 4180776 w 6630249"/>
              <a:gd name="connsiteY4379" fmla="*/ 5252896 h 6750795"/>
              <a:gd name="connsiteX4380" fmla="*/ 4160257 w 6630249"/>
              <a:gd name="connsiteY4380" fmla="*/ 5196469 h 6750795"/>
              <a:gd name="connsiteX4381" fmla="*/ 4152563 w 6630249"/>
              <a:gd name="connsiteY4381" fmla="*/ 5196469 h 6750795"/>
              <a:gd name="connsiteX4382" fmla="*/ 4129478 w 6630249"/>
              <a:gd name="connsiteY4382" fmla="*/ 5091308 h 6750795"/>
              <a:gd name="connsiteX4383" fmla="*/ 4121784 w 6630249"/>
              <a:gd name="connsiteY4383" fmla="*/ 5096438 h 6750795"/>
              <a:gd name="connsiteX4384" fmla="*/ 4103830 w 6630249"/>
              <a:gd name="connsiteY4384" fmla="*/ 5027186 h 6750795"/>
              <a:gd name="connsiteX4385" fmla="*/ 4098700 w 6630249"/>
              <a:gd name="connsiteY4385" fmla="*/ 5019491 h 6750795"/>
              <a:gd name="connsiteX4386" fmla="*/ 4093570 w 6630249"/>
              <a:gd name="connsiteY4386" fmla="*/ 4924590 h 6750795"/>
              <a:gd name="connsiteX4387" fmla="*/ 4096135 w 6630249"/>
              <a:gd name="connsiteY4387" fmla="*/ 4839948 h 6750795"/>
              <a:gd name="connsiteX4388" fmla="*/ 4101265 w 6630249"/>
              <a:gd name="connsiteY4388" fmla="*/ 4829689 h 6750795"/>
              <a:gd name="connsiteX4389" fmla="*/ 4093570 w 6630249"/>
              <a:gd name="connsiteY4389" fmla="*/ 4827124 h 6750795"/>
              <a:gd name="connsiteX4390" fmla="*/ 4088440 w 6630249"/>
              <a:gd name="connsiteY4390" fmla="*/ 4786086 h 6750795"/>
              <a:gd name="connsiteX4391" fmla="*/ 4111524 w 6630249"/>
              <a:gd name="connsiteY4391" fmla="*/ 4793781 h 6750795"/>
              <a:gd name="connsiteX4392" fmla="*/ 4088440 w 6630249"/>
              <a:gd name="connsiteY4392" fmla="*/ 4780956 h 6750795"/>
              <a:gd name="connsiteX4393" fmla="*/ 4101265 w 6630249"/>
              <a:gd name="connsiteY4393" fmla="*/ 4773261 h 6750795"/>
              <a:gd name="connsiteX4394" fmla="*/ 4124349 w 6630249"/>
              <a:gd name="connsiteY4394" fmla="*/ 4763002 h 6750795"/>
              <a:gd name="connsiteX4395" fmla="*/ 4103830 w 6630249"/>
              <a:gd name="connsiteY4395" fmla="*/ 4760437 h 6750795"/>
              <a:gd name="connsiteX4396" fmla="*/ 4108960 w 6630249"/>
              <a:gd name="connsiteY4396" fmla="*/ 4727093 h 6750795"/>
              <a:gd name="connsiteX4397" fmla="*/ 4091005 w 6630249"/>
              <a:gd name="connsiteY4397" fmla="*/ 4750177 h 6750795"/>
              <a:gd name="connsiteX4398" fmla="*/ 4083311 w 6630249"/>
              <a:gd name="connsiteY4398" fmla="*/ 4734788 h 6750795"/>
              <a:gd name="connsiteX4399" fmla="*/ 4080746 w 6630249"/>
              <a:gd name="connsiteY4399" fmla="*/ 4752742 h 6750795"/>
              <a:gd name="connsiteX4400" fmla="*/ 4078181 w 6630249"/>
              <a:gd name="connsiteY4400" fmla="*/ 4778391 h 6750795"/>
              <a:gd name="connsiteX4401" fmla="*/ 4062791 w 6630249"/>
              <a:gd name="connsiteY4401" fmla="*/ 4773261 h 6750795"/>
              <a:gd name="connsiteX4402" fmla="*/ 4073051 w 6630249"/>
              <a:gd name="connsiteY4402" fmla="*/ 4780956 h 6750795"/>
              <a:gd name="connsiteX4403" fmla="*/ 4078181 w 6630249"/>
              <a:gd name="connsiteY4403" fmla="*/ 4878422 h 6750795"/>
              <a:gd name="connsiteX4404" fmla="*/ 4080746 w 6630249"/>
              <a:gd name="connsiteY4404" fmla="*/ 4937414 h 6750795"/>
              <a:gd name="connsiteX4405" fmla="*/ 4070486 w 6630249"/>
              <a:gd name="connsiteY4405" fmla="*/ 4919460 h 6750795"/>
              <a:gd name="connsiteX4406" fmla="*/ 4060226 w 6630249"/>
              <a:gd name="connsiteY4406" fmla="*/ 4939980 h 6750795"/>
              <a:gd name="connsiteX4407" fmla="*/ 4083311 w 6630249"/>
              <a:gd name="connsiteY4407" fmla="*/ 5022056 h 6750795"/>
              <a:gd name="connsiteX4408" fmla="*/ 4073051 w 6630249"/>
              <a:gd name="connsiteY4408" fmla="*/ 5045140 h 6750795"/>
              <a:gd name="connsiteX4409" fmla="*/ 4093570 w 6630249"/>
              <a:gd name="connsiteY4409" fmla="*/ 5068224 h 6750795"/>
              <a:gd name="connsiteX4410" fmla="*/ 4101265 w 6630249"/>
              <a:gd name="connsiteY4410" fmla="*/ 5088743 h 6750795"/>
              <a:gd name="connsiteX4411" fmla="*/ 4121784 w 6630249"/>
              <a:gd name="connsiteY4411" fmla="*/ 5150301 h 6750795"/>
              <a:gd name="connsiteX4412" fmla="*/ 4116654 w 6630249"/>
              <a:gd name="connsiteY4412" fmla="*/ 5155430 h 6750795"/>
              <a:gd name="connsiteX4413" fmla="*/ 4175647 w 6630249"/>
              <a:gd name="connsiteY4413" fmla="*/ 5288805 h 6750795"/>
              <a:gd name="connsiteX4414" fmla="*/ 4167952 w 6630249"/>
              <a:gd name="connsiteY4414" fmla="*/ 5296499 h 6750795"/>
              <a:gd name="connsiteX4415" fmla="*/ 4203861 w 6630249"/>
              <a:gd name="connsiteY4415" fmla="*/ 5342668 h 6750795"/>
              <a:gd name="connsiteX4416" fmla="*/ 4173082 w 6630249"/>
              <a:gd name="connsiteY4416" fmla="*/ 5386271 h 6750795"/>
              <a:gd name="connsiteX4417" fmla="*/ 4191036 w 6630249"/>
              <a:gd name="connsiteY4417" fmla="*/ 5373446 h 6750795"/>
              <a:gd name="connsiteX4418" fmla="*/ 4196166 w 6630249"/>
              <a:gd name="connsiteY4418" fmla="*/ 5388836 h 6750795"/>
              <a:gd name="connsiteX4419" fmla="*/ 4178212 w 6630249"/>
              <a:gd name="connsiteY4419" fmla="*/ 5391400 h 6750795"/>
              <a:gd name="connsiteX4420" fmla="*/ 4198731 w 6630249"/>
              <a:gd name="connsiteY4420" fmla="*/ 5406790 h 6750795"/>
              <a:gd name="connsiteX4421" fmla="*/ 4196166 w 6630249"/>
              <a:gd name="connsiteY4421" fmla="*/ 5417049 h 6750795"/>
              <a:gd name="connsiteX4422" fmla="*/ 4216685 w 6630249"/>
              <a:gd name="connsiteY4422" fmla="*/ 5404225 h 6750795"/>
              <a:gd name="connsiteX4423" fmla="*/ 4237204 w 6630249"/>
              <a:gd name="connsiteY4423" fmla="*/ 5435004 h 6750795"/>
              <a:gd name="connsiteX4424" fmla="*/ 4244899 w 6630249"/>
              <a:gd name="connsiteY4424" fmla="*/ 5435004 h 6750795"/>
              <a:gd name="connsiteX4425" fmla="*/ 4293632 w 6630249"/>
              <a:gd name="connsiteY4425" fmla="*/ 5550424 h 6750795"/>
              <a:gd name="connsiteX4426" fmla="*/ 4311586 w 6630249"/>
              <a:gd name="connsiteY4426" fmla="*/ 5586332 h 6750795"/>
              <a:gd name="connsiteX4427" fmla="*/ 4303891 w 6630249"/>
              <a:gd name="connsiteY4427" fmla="*/ 5591462 h 6750795"/>
              <a:gd name="connsiteX4428" fmla="*/ 4309021 w 6630249"/>
              <a:gd name="connsiteY4428" fmla="*/ 5617111 h 6750795"/>
              <a:gd name="connsiteX4429" fmla="*/ 4293632 w 6630249"/>
              <a:gd name="connsiteY4429" fmla="*/ 5609416 h 6750795"/>
              <a:gd name="connsiteX4430" fmla="*/ 4306456 w 6630249"/>
              <a:gd name="connsiteY4430" fmla="*/ 5645325 h 6750795"/>
              <a:gd name="connsiteX4431" fmla="*/ 4324411 w 6630249"/>
              <a:gd name="connsiteY4431" fmla="*/ 5632501 h 6750795"/>
              <a:gd name="connsiteX4432" fmla="*/ 4329540 w 6630249"/>
              <a:gd name="connsiteY4432" fmla="*/ 5635065 h 6750795"/>
              <a:gd name="connsiteX4433" fmla="*/ 4324411 w 6630249"/>
              <a:gd name="connsiteY4433" fmla="*/ 5650455 h 6750795"/>
              <a:gd name="connsiteX4434" fmla="*/ 4329540 w 6630249"/>
              <a:gd name="connsiteY4434" fmla="*/ 5655584 h 6750795"/>
              <a:gd name="connsiteX4435" fmla="*/ 4339800 w 6630249"/>
              <a:gd name="connsiteY4435" fmla="*/ 5676104 h 6750795"/>
              <a:gd name="connsiteX4436" fmla="*/ 4355189 w 6630249"/>
              <a:gd name="connsiteY4436" fmla="*/ 5729967 h 6750795"/>
              <a:gd name="connsiteX4437" fmla="*/ 4344930 w 6630249"/>
              <a:gd name="connsiteY4437" fmla="*/ 5724836 h 6750795"/>
              <a:gd name="connsiteX4438" fmla="*/ 4326976 w 6630249"/>
              <a:gd name="connsiteY4438" fmla="*/ 5742791 h 6750795"/>
              <a:gd name="connsiteX4439" fmla="*/ 4329540 w 6630249"/>
              <a:gd name="connsiteY4439" fmla="*/ 5768440 h 6750795"/>
              <a:gd name="connsiteX4440" fmla="*/ 4319281 w 6630249"/>
              <a:gd name="connsiteY4440" fmla="*/ 5768440 h 6750795"/>
              <a:gd name="connsiteX4441" fmla="*/ 4332105 w 6630249"/>
              <a:gd name="connsiteY4441" fmla="*/ 5786394 h 6750795"/>
              <a:gd name="connsiteX4442" fmla="*/ 4319281 w 6630249"/>
              <a:gd name="connsiteY4442" fmla="*/ 5788959 h 6750795"/>
              <a:gd name="connsiteX4443" fmla="*/ 4316716 w 6630249"/>
              <a:gd name="connsiteY4443" fmla="*/ 5773570 h 6750795"/>
              <a:gd name="connsiteX4444" fmla="*/ 4309021 w 6630249"/>
              <a:gd name="connsiteY4444" fmla="*/ 5778699 h 6750795"/>
              <a:gd name="connsiteX4445" fmla="*/ 4303891 w 6630249"/>
              <a:gd name="connsiteY4445" fmla="*/ 5771005 h 6750795"/>
              <a:gd name="connsiteX4446" fmla="*/ 4288502 w 6630249"/>
              <a:gd name="connsiteY4446" fmla="*/ 5773570 h 6750795"/>
              <a:gd name="connsiteX4447" fmla="*/ 4291067 w 6630249"/>
              <a:gd name="connsiteY4447" fmla="*/ 5804348 h 6750795"/>
              <a:gd name="connsiteX4448" fmla="*/ 4280807 w 6630249"/>
              <a:gd name="connsiteY4448" fmla="*/ 5801783 h 6750795"/>
              <a:gd name="connsiteX4449" fmla="*/ 4293632 w 6630249"/>
              <a:gd name="connsiteY4449" fmla="*/ 5819738 h 6750795"/>
              <a:gd name="connsiteX4450" fmla="*/ 4260288 w 6630249"/>
              <a:gd name="connsiteY4450" fmla="*/ 5765875 h 6750795"/>
              <a:gd name="connsiteX4451" fmla="*/ 4250029 w 6630249"/>
              <a:gd name="connsiteY4451" fmla="*/ 5763310 h 6750795"/>
              <a:gd name="connsiteX4452" fmla="*/ 4203861 w 6630249"/>
              <a:gd name="connsiteY4452" fmla="*/ 5683798 h 6750795"/>
              <a:gd name="connsiteX4453" fmla="*/ 4208990 w 6630249"/>
              <a:gd name="connsiteY4453" fmla="*/ 5670974 h 6750795"/>
              <a:gd name="connsiteX4454" fmla="*/ 4198731 w 6630249"/>
              <a:gd name="connsiteY4454" fmla="*/ 5673539 h 6750795"/>
              <a:gd name="connsiteX4455" fmla="*/ 4152563 w 6630249"/>
              <a:gd name="connsiteY4455" fmla="*/ 5609416 h 6750795"/>
              <a:gd name="connsiteX4456" fmla="*/ 4091005 w 6630249"/>
              <a:gd name="connsiteY4456" fmla="*/ 5529905 h 6750795"/>
              <a:gd name="connsiteX4457" fmla="*/ 4119219 w 6630249"/>
              <a:gd name="connsiteY4457" fmla="*/ 5517080 h 6750795"/>
              <a:gd name="connsiteX4458" fmla="*/ 4106395 w 6630249"/>
              <a:gd name="connsiteY4458" fmla="*/ 5509386 h 6750795"/>
              <a:gd name="connsiteX4459" fmla="*/ 4134609 w 6630249"/>
              <a:gd name="connsiteY4459" fmla="*/ 5496561 h 6750795"/>
              <a:gd name="connsiteX4460" fmla="*/ 4132043 w 6630249"/>
              <a:gd name="connsiteY4460" fmla="*/ 5488866 h 6750795"/>
              <a:gd name="connsiteX4461" fmla="*/ 4144868 w 6630249"/>
              <a:gd name="connsiteY4461" fmla="*/ 5481172 h 6750795"/>
              <a:gd name="connsiteX4462" fmla="*/ 4134609 w 6630249"/>
              <a:gd name="connsiteY4462" fmla="*/ 5478607 h 6750795"/>
              <a:gd name="connsiteX4463" fmla="*/ 4137173 w 6630249"/>
              <a:gd name="connsiteY4463" fmla="*/ 5465783 h 6750795"/>
              <a:gd name="connsiteX4464" fmla="*/ 4121784 w 6630249"/>
              <a:gd name="connsiteY4464" fmla="*/ 5468347 h 6750795"/>
              <a:gd name="connsiteX4465" fmla="*/ 4119219 w 6630249"/>
              <a:gd name="connsiteY4465" fmla="*/ 5458088 h 6750795"/>
              <a:gd name="connsiteX4466" fmla="*/ 4103830 w 6630249"/>
              <a:gd name="connsiteY4466" fmla="*/ 5478607 h 6750795"/>
              <a:gd name="connsiteX4467" fmla="*/ 4093570 w 6630249"/>
              <a:gd name="connsiteY4467" fmla="*/ 5455523 h 6750795"/>
              <a:gd name="connsiteX4468" fmla="*/ 4096135 w 6630249"/>
              <a:gd name="connsiteY4468" fmla="*/ 5496561 h 6750795"/>
              <a:gd name="connsiteX4469" fmla="*/ 4088440 w 6630249"/>
              <a:gd name="connsiteY4469" fmla="*/ 5493996 h 6750795"/>
              <a:gd name="connsiteX4470" fmla="*/ 4080746 w 6630249"/>
              <a:gd name="connsiteY4470" fmla="*/ 5511951 h 6750795"/>
              <a:gd name="connsiteX4471" fmla="*/ 4080746 w 6630249"/>
              <a:gd name="connsiteY4471" fmla="*/ 5522210 h 6750795"/>
              <a:gd name="connsiteX4472" fmla="*/ 4044837 w 6630249"/>
              <a:gd name="connsiteY4472" fmla="*/ 5478607 h 6750795"/>
              <a:gd name="connsiteX4473" fmla="*/ 4026883 w 6630249"/>
              <a:gd name="connsiteY4473" fmla="*/ 5450393 h 6750795"/>
              <a:gd name="connsiteX4474" fmla="*/ 4026883 w 6630249"/>
              <a:gd name="connsiteY4474" fmla="*/ 5437569 h 6750795"/>
              <a:gd name="connsiteX4475" fmla="*/ 4019188 w 6630249"/>
              <a:gd name="connsiteY4475" fmla="*/ 5437569 h 6750795"/>
              <a:gd name="connsiteX4476" fmla="*/ 4006364 w 6630249"/>
              <a:gd name="connsiteY4476" fmla="*/ 5404225 h 6750795"/>
              <a:gd name="connsiteX4477" fmla="*/ 3990974 w 6630249"/>
              <a:gd name="connsiteY4477" fmla="*/ 5386271 h 6750795"/>
              <a:gd name="connsiteX4478" fmla="*/ 3998669 w 6630249"/>
              <a:gd name="connsiteY4478" fmla="*/ 5368317 h 6750795"/>
              <a:gd name="connsiteX4479" fmla="*/ 4014058 w 6630249"/>
              <a:gd name="connsiteY4479" fmla="*/ 5355492 h 6750795"/>
              <a:gd name="connsiteX4480" fmla="*/ 3998669 w 6630249"/>
              <a:gd name="connsiteY4480" fmla="*/ 5358057 h 6750795"/>
              <a:gd name="connsiteX4481" fmla="*/ 3996104 w 6630249"/>
              <a:gd name="connsiteY4481" fmla="*/ 5345233 h 6750795"/>
              <a:gd name="connsiteX4482" fmla="*/ 3985845 w 6630249"/>
              <a:gd name="connsiteY4482" fmla="*/ 5355492 h 6750795"/>
              <a:gd name="connsiteX4483" fmla="*/ 3978150 w 6630249"/>
              <a:gd name="connsiteY4483" fmla="*/ 5347797 h 6750795"/>
              <a:gd name="connsiteX4484" fmla="*/ 3980715 w 6630249"/>
              <a:gd name="connsiteY4484" fmla="*/ 5370882 h 6750795"/>
              <a:gd name="connsiteX4485" fmla="*/ 3957631 w 6630249"/>
              <a:gd name="connsiteY4485" fmla="*/ 5368317 h 6750795"/>
              <a:gd name="connsiteX4486" fmla="*/ 3985845 w 6630249"/>
              <a:gd name="connsiteY4486" fmla="*/ 5388836 h 6750795"/>
              <a:gd name="connsiteX4487" fmla="*/ 3978150 w 6630249"/>
              <a:gd name="connsiteY4487" fmla="*/ 5386271 h 6750795"/>
              <a:gd name="connsiteX4488" fmla="*/ 3967890 w 6630249"/>
              <a:gd name="connsiteY4488" fmla="*/ 5404225 h 6750795"/>
              <a:gd name="connsiteX4489" fmla="*/ 3978150 w 6630249"/>
              <a:gd name="connsiteY4489" fmla="*/ 5419614 h 6750795"/>
              <a:gd name="connsiteX4490" fmla="*/ 3988409 w 6630249"/>
              <a:gd name="connsiteY4490" fmla="*/ 5419614 h 6750795"/>
              <a:gd name="connsiteX4491" fmla="*/ 4003799 w 6630249"/>
              <a:gd name="connsiteY4491" fmla="*/ 5427309 h 6750795"/>
              <a:gd name="connsiteX4492" fmla="*/ 4062791 w 6630249"/>
              <a:gd name="connsiteY4492" fmla="*/ 5509386 h 6750795"/>
              <a:gd name="connsiteX4493" fmla="*/ 4073051 w 6630249"/>
              <a:gd name="connsiteY4493" fmla="*/ 5522210 h 6750795"/>
              <a:gd name="connsiteX4494" fmla="*/ 4093570 w 6630249"/>
              <a:gd name="connsiteY4494" fmla="*/ 5550424 h 6750795"/>
              <a:gd name="connsiteX4495" fmla="*/ 4111524 w 6630249"/>
              <a:gd name="connsiteY4495" fmla="*/ 5573508 h 6750795"/>
              <a:gd name="connsiteX4496" fmla="*/ 4170517 w 6630249"/>
              <a:gd name="connsiteY4496" fmla="*/ 5650455 h 6750795"/>
              <a:gd name="connsiteX4497" fmla="*/ 4162822 w 6630249"/>
              <a:gd name="connsiteY4497" fmla="*/ 5660714 h 6750795"/>
              <a:gd name="connsiteX4498" fmla="*/ 4165387 w 6630249"/>
              <a:gd name="connsiteY4498" fmla="*/ 5663279 h 6750795"/>
              <a:gd name="connsiteX4499" fmla="*/ 4175647 w 6630249"/>
              <a:gd name="connsiteY4499" fmla="*/ 5660714 h 6750795"/>
              <a:gd name="connsiteX4500" fmla="*/ 4211555 w 6630249"/>
              <a:gd name="connsiteY4500" fmla="*/ 5706882 h 6750795"/>
              <a:gd name="connsiteX4501" fmla="*/ 4226945 w 6630249"/>
              <a:gd name="connsiteY4501" fmla="*/ 5732531 h 6750795"/>
              <a:gd name="connsiteX4502" fmla="*/ 4265418 w 6630249"/>
              <a:gd name="connsiteY4502" fmla="*/ 5794089 h 6750795"/>
              <a:gd name="connsiteX4503" fmla="*/ 4262853 w 6630249"/>
              <a:gd name="connsiteY4503" fmla="*/ 5804348 h 6750795"/>
              <a:gd name="connsiteX4504" fmla="*/ 4273113 w 6630249"/>
              <a:gd name="connsiteY4504" fmla="*/ 5806913 h 6750795"/>
              <a:gd name="connsiteX4505" fmla="*/ 4306456 w 6630249"/>
              <a:gd name="connsiteY4505" fmla="*/ 5845387 h 6750795"/>
              <a:gd name="connsiteX4506" fmla="*/ 4283372 w 6630249"/>
              <a:gd name="connsiteY4506" fmla="*/ 5842822 h 6750795"/>
              <a:gd name="connsiteX4507" fmla="*/ 4288502 w 6630249"/>
              <a:gd name="connsiteY4507" fmla="*/ 5868471 h 6750795"/>
              <a:gd name="connsiteX4508" fmla="*/ 4257723 w 6630249"/>
              <a:gd name="connsiteY4508" fmla="*/ 5863341 h 6750795"/>
              <a:gd name="connsiteX4509" fmla="*/ 4252594 w 6630249"/>
              <a:gd name="connsiteY4509" fmla="*/ 5871036 h 6750795"/>
              <a:gd name="connsiteX4510" fmla="*/ 4283372 w 6630249"/>
              <a:gd name="connsiteY4510" fmla="*/ 5891554 h 6750795"/>
              <a:gd name="connsiteX4511" fmla="*/ 4260288 w 6630249"/>
              <a:gd name="connsiteY4511" fmla="*/ 5917203 h 6750795"/>
              <a:gd name="connsiteX4512" fmla="*/ 4270548 w 6630249"/>
              <a:gd name="connsiteY4512" fmla="*/ 5917203 h 6750795"/>
              <a:gd name="connsiteX4513" fmla="*/ 4262853 w 6630249"/>
              <a:gd name="connsiteY4513" fmla="*/ 5922334 h 6750795"/>
              <a:gd name="connsiteX4514" fmla="*/ 4267983 w 6630249"/>
              <a:gd name="connsiteY4514" fmla="*/ 5935158 h 6750795"/>
              <a:gd name="connsiteX4515" fmla="*/ 4319281 w 6630249"/>
              <a:gd name="connsiteY4515" fmla="*/ 5914639 h 6750795"/>
              <a:gd name="connsiteX4516" fmla="*/ 4316716 w 6630249"/>
              <a:gd name="connsiteY4516" fmla="*/ 5919768 h 6750795"/>
              <a:gd name="connsiteX4517" fmla="*/ 4344930 w 6630249"/>
              <a:gd name="connsiteY4517" fmla="*/ 5924898 h 6750795"/>
              <a:gd name="connsiteX4518" fmla="*/ 4355189 w 6630249"/>
              <a:gd name="connsiteY4518" fmla="*/ 5940288 h 6750795"/>
              <a:gd name="connsiteX4519" fmla="*/ 4337235 w 6630249"/>
              <a:gd name="connsiteY4519" fmla="*/ 5927463 h 6750795"/>
              <a:gd name="connsiteX4520" fmla="*/ 4350060 w 6630249"/>
              <a:gd name="connsiteY4520" fmla="*/ 5981326 h 6750795"/>
              <a:gd name="connsiteX4521" fmla="*/ 4309021 w 6630249"/>
              <a:gd name="connsiteY4521" fmla="*/ 5996715 h 6750795"/>
              <a:gd name="connsiteX4522" fmla="*/ 4175647 w 6630249"/>
              <a:gd name="connsiteY4522" fmla="*/ 5971066 h 6750795"/>
              <a:gd name="connsiteX4523" fmla="*/ 4424441 w 6630249"/>
              <a:gd name="connsiteY4523" fmla="*/ 6204472 h 6750795"/>
              <a:gd name="connsiteX4524" fmla="*/ 4044837 w 6630249"/>
              <a:gd name="connsiteY4524" fmla="*/ 5940288 h 6750795"/>
              <a:gd name="connsiteX4525" fmla="*/ 3980715 w 6630249"/>
              <a:gd name="connsiteY4525" fmla="*/ 5891554 h 6750795"/>
              <a:gd name="connsiteX4526" fmla="*/ 3980715 w 6630249"/>
              <a:gd name="connsiteY4526" fmla="*/ 5896685 h 6750795"/>
              <a:gd name="connsiteX4527" fmla="*/ 3978150 w 6630249"/>
              <a:gd name="connsiteY4527" fmla="*/ 5899249 h 6750795"/>
              <a:gd name="connsiteX4528" fmla="*/ 3916593 w 6630249"/>
              <a:gd name="connsiteY4528" fmla="*/ 5747921 h 6750795"/>
              <a:gd name="connsiteX4529" fmla="*/ 3908898 w 6630249"/>
              <a:gd name="connsiteY4529" fmla="*/ 5747921 h 6750795"/>
              <a:gd name="connsiteX4530" fmla="*/ 3885814 w 6630249"/>
              <a:gd name="connsiteY4530" fmla="*/ 5678669 h 6750795"/>
              <a:gd name="connsiteX4531" fmla="*/ 3898638 w 6630249"/>
              <a:gd name="connsiteY4531" fmla="*/ 5673539 h 6750795"/>
              <a:gd name="connsiteX4532" fmla="*/ 3880684 w 6630249"/>
              <a:gd name="connsiteY4532" fmla="*/ 5658149 h 6750795"/>
              <a:gd name="connsiteX4533" fmla="*/ 3890944 w 6630249"/>
              <a:gd name="connsiteY4533" fmla="*/ 5635065 h 6750795"/>
              <a:gd name="connsiteX4534" fmla="*/ 3878119 w 6630249"/>
              <a:gd name="connsiteY4534" fmla="*/ 5640195 h 6750795"/>
              <a:gd name="connsiteX4535" fmla="*/ 3875554 w 6630249"/>
              <a:gd name="connsiteY4535" fmla="*/ 5632501 h 6750795"/>
              <a:gd name="connsiteX4536" fmla="*/ 3849905 w 6630249"/>
              <a:gd name="connsiteY4536" fmla="*/ 5555554 h 6750795"/>
              <a:gd name="connsiteX4537" fmla="*/ 3852470 w 6630249"/>
              <a:gd name="connsiteY4537" fmla="*/ 5547859 h 6750795"/>
              <a:gd name="connsiteX4538" fmla="*/ 3849905 w 6630249"/>
              <a:gd name="connsiteY4538" fmla="*/ 5537600 h 6750795"/>
              <a:gd name="connsiteX4539" fmla="*/ 3865295 w 6630249"/>
              <a:gd name="connsiteY4539" fmla="*/ 5524775 h 6750795"/>
              <a:gd name="connsiteX4540" fmla="*/ 3852470 w 6630249"/>
              <a:gd name="connsiteY4540" fmla="*/ 5514515 h 6750795"/>
              <a:gd name="connsiteX4541" fmla="*/ 3842210 w 6630249"/>
              <a:gd name="connsiteY4541" fmla="*/ 5524775 h 6750795"/>
              <a:gd name="connsiteX4542" fmla="*/ 3831951 w 6630249"/>
              <a:gd name="connsiteY4542" fmla="*/ 5517080 h 6750795"/>
              <a:gd name="connsiteX4543" fmla="*/ 3839646 w 6630249"/>
              <a:gd name="connsiteY4543" fmla="*/ 5537600 h 6750795"/>
              <a:gd name="connsiteX4544" fmla="*/ 3834516 w 6630249"/>
              <a:gd name="connsiteY4544" fmla="*/ 5550424 h 6750795"/>
              <a:gd name="connsiteX4545" fmla="*/ 3844776 w 6630249"/>
              <a:gd name="connsiteY4545" fmla="*/ 5570943 h 6750795"/>
              <a:gd name="connsiteX4546" fmla="*/ 3847340 w 6630249"/>
              <a:gd name="connsiteY4546" fmla="*/ 5568378 h 6750795"/>
              <a:gd name="connsiteX4547" fmla="*/ 3862730 w 6630249"/>
              <a:gd name="connsiteY4547" fmla="*/ 5629936 h 6750795"/>
              <a:gd name="connsiteX4548" fmla="*/ 3855035 w 6630249"/>
              <a:gd name="connsiteY4548" fmla="*/ 5637630 h 6750795"/>
              <a:gd name="connsiteX4549" fmla="*/ 3834516 w 6630249"/>
              <a:gd name="connsiteY4549" fmla="*/ 5637630 h 6750795"/>
              <a:gd name="connsiteX4550" fmla="*/ 3852470 w 6630249"/>
              <a:gd name="connsiteY4550" fmla="*/ 5655584 h 6750795"/>
              <a:gd name="connsiteX4551" fmla="*/ 3847340 w 6630249"/>
              <a:gd name="connsiteY4551" fmla="*/ 5665844 h 6750795"/>
              <a:gd name="connsiteX4552" fmla="*/ 3872989 w 6630249"/>
              <a:gd name="connsiteY4552" fmla="*/ 5673539 h 6750795"/>
              <a:gd name="connsiteX4553" fmla="*/ 3883249 w 6630249"/>
              <a:gd name="connsiteY4553" fmla="*/ 5699188 h 6750795"/>
              <a:gd name="connsiteX4554" fmla="*/ 3893508 w 6630249"/>
              <a:gd name="connsiteY4554" fmla="*/ 5735096 h 6750795"/>
              <a:gd name="connsiteX4555" fmla="*/ 3906333 w 6630249"/>
              <a:gd name="connsiteY4555" fmla="*/ 5765875 h 6750795"/>
              <a:gd name="connsiteX4556" fmla="*/ 3934547 w 6630249"/>
              <a:gd name="connsiteY4556" fmla="*/ 5832562 h 6750795"/>
              <a:gd name="connsiteX4557" fmla="*/ 3939677 w 6630249"/>
              <a:gd name="connsiteY4557" fmla="*/ 5847951 h 6750795"/>
              <a:gd name="connsiteX4558" fmla="*/ 3934547 w 6630249"/>
              <a:gd name="connsiteY4558" fmla="*/ 5860776 h 6750795"/>
              <a:gd name="connsiteX4559" fmla="*/ 3926852 w 6630249"/>
              <a:gd name="connsiteY4559" fmla="*/ 5860776 h 6750795"/>
              <a:gd name="connsiteX4560" fmla="*/ 3921722 w 6630249"/>
              <a:gd name="connsiteY4560" fmla="*/ 5845387 h 6750795"/>
              <a:gd name="connsiteX4561" fmla="*/ 3908898 w 6630249"/>
              <a:gd name="connsiteY4561" fmla="*/ 5860776 h 6750795"/>
              <a:gd name="connsiteX4562" fmla="*/ 3883249 w 6630249"/>
              <a:gd name="connsiteY4562" fmla="*/ 5865906 h 6750795"/>
              <a:gd name="connsiteX4563" fmla="*/ 3893508 w 6630249"/>
              <a:gd name="connsiteY4563" fmla="*/ 5878730 h 6750795"/>
              <a:gd name="connsiteX4564" fmla="*/ 3914028 w 6630249"/>
              <a:gd name="connsiteY4564" fmla="*/ 5881295 h 6750795"/>
              <a:gd name="connsiteX4565" fmla="*/ 3896073 w 6630249"/>
              <a:gd name="connsiteY4565" fmla="*/ 5888990 h 6750795"/>
              <a:gd name="connsiteX4566" fmla="*/ 3898638 w 6630249"/>
              <a:gd name="connsiteY4566" fmla="*/ 5899249 h 6750795"/>
              <a:gd name="connsiteX4567" fmla="*/ 3921722 w 6630249"/>
              <a:gd name="connsiteY4567" fmla="*/ 5886425 h 6750795"/>
              <a:gd name="connsiteX4568" fmla="*/ 3934547 w 6630249"/>
              <a:gd name="connsiteY4568" fmla="*/ 5881295 h 6750795"/>
              <a:gd name="connsiteX4569" fmla="*/ 3931982 w 6630249"/>
              <a:gd name="connsiteY4569" fmla="*/ 5886425 h 6750795"/>
              <a:gd name="connsiteX4570" fmla="*/ 3947371 w 6630249"/>
              <a:gd name="connsiteY4570" fmla="*/ 5886425 h 6750795"/>
              <a:gd name="connsiteX4571" fmla="*/ 3970455 w 6630249"/>
              <a:gd name="connsiteY4571" fmla="*/ 5919768 h 6750795"/>
              <a:gd name="connsiteX4572" fmla="*/ 3962760 w 6630249"/>
              <a:gd name="connsiteY4572" fmla="*/ 5958242 h 6750795"/>
              <a:gd name="connsiteX4573" fmla="*/ 3824256 w 6630249"/>
              <a:gd name="connsiteY4573" fmla="*/ 6245510 h 6750795"/>
              <a:gd name="connsiteX4574" fmla="*/ 3775524 w 6630249"/>
              <a:gd name="connsiteY4574" fmla="*/ 6268594 h 6750795"/>
              <a:gd name="connsiteX4575" fmla="*/ 3760134 w 6630249"/>
              <a:gd name="connsiteY4575" fmla="*/ 6322457 h 6750795"/>
              <a:gd name="connsiteX4576" fmla="*/ 3513904 w 6630249"/>
              <a:gd name="connsiteY4576" fmla="*/ 6312197 h 6750795"/>
              <a:gd name="connsiteX4577" fmla="*/ 3413873 w 6630249"/>
              <a:gd name="connsiteY4577" fmla="*/ 6176258 h 6750795"/>
              <a:gd name="connsiteX4578" fmla="*/ 3354881 w 6630249"/>
              <a:gd name="connsiteY4578" fmla="*/ 6096746 h 6750795"/>
              <a:gd name="connsiteX4579" fmla="*/ 3136865 w 6630249"/>
              <a:gd name="connsiteY4579" fmla="*/ 5906944 h 6750795"/>
              <a:gd name="connsiteX4580" fmla="*/ 3077873 w 6630249"/>
              <a:gd name="connsiteY4580" fmla="*/ 5899249 h 6750795"/>
              <a:gd name="connsiteX4581" fmla="*/ 3003492 w 6630249"/>
              <a:gd name="connsiteY4581" fmla="*/ 5886425 h 6750795"/>
              <a:gd name="connsiteX4582" fmla="*/ 2931673 w 6630249"/>
              <a:gd name="connsiteY4582" fmla="*/ 5796654 h 6750795"/>
              <a:gd name="connsiteX4583" fmla="*/ 2985536 w 6630249"/>
              <a:gd name="connsiteY4583" fmla="*/ 5755615 h 6750795"/>
              <a:gd name="connsiteX4584" fmla="*/ 3047094 w 6630249"/>
              <a:gd name="connsiteY4584" fmla="*/ 5653020 h 6750795"/>
              <a:gd name="connsiteX4585" fmla="*/ 3059918 w 6630249"/>
              <a:gd name="connsiteY4585" fmla="*/ 5650455 h 6750795"/>
              <a:gd name="connsiteX4586" fmla="*/ 3077873 w 6630249"/>
              <a:gd name="connsiteY4586" fmla="*/ 5645325 h 6750795"/>
              <a:gd name="connsiteX4587" fmla="*/ 3093262 w 6630249"/>
              <a:gd name="connsiteY4587" fmla="*/ 5570943 h 6750795"/>
              <a:gd name="connsiteX4588" fmla="*/ 3108652 w 6630249"/>
              <a:gd name="connsiteY4588" fmla="*/ 5563249 h 6750795"/>
              <a:gd name="connsiteX4589" fmla="*/ 3124040 w 6630249"/>
              <a:gd name="connsiteY4589" fmla="*/ 5558118 h 6750795"/>
              <a:gd name="connsiteX4590" fmla="*/ 3126605 w 6630249"/>
              <a:gd name="connsiteY4590" fmla="*/ 5555554 h 6750795"/>
              <a:gd name="connsiteX4591" fmla="*/ 3126605 w 6630249"/>
              <a:gd name="connsiteY4591" fmla="*/ 5552989 h 6750795"/>
              <a:gd name="connsiteX4592" fmla="*/ 3116346 w 6630249"/>
              <a:gd name="connsiteY4592" fmla="*/ 5468347 h 6750795"/>
              <a:gd name="connsiteX4593" fmla="*/ 3106086 w 6630249"/>
              <a:gd name="connsiteY4593" fmla="*/ 5373446 h 6750795"/>
              <a:gd name="connsiteX4594" fmla="*/ 3177903 w 6630249"/>
              <a:gd name="connsiteY4594" fmla="*/ 5240072 h 6750795"/>
              <a:gd name="connsiteX4595" fmla="*/ 3218942 w 6630249"/>
              <a:gd name="connsiteY4595" fmla="*/ 5229812 h 6750795"/>
              <a:gd name="connsiteX4596" fmla="*/ 3259980 w 6630249"/>
              <a:gd name="connsiteY4596" fmla="*/ 5283675 h 6750795"/>
              <a:gd name="connsiteX4597" fmla="*/ 3283064 w 6630249"/>
              <a:gd name="connsiteY4597" fmla="*/ 5327278 h 6750795"/>
              <a:gd name="connsiteX4598" fmla="*/ 3493385 w 6630249"/>
              <a:gd name="connsiteY4598" fmla="*/ 5393965 h 6750795"/>
              <a:gd name="connsiteX4599" fmla="*/ 3585721 w 6630249"/>
              <a:gd name="connsiteY4599" fmla="*/ 5329843 h 6750795"/>
              <a:gd name="connsiteX4600" fmla="*/ 3642149 w 6630249"/>
              <a:gd name="connsiteY4600" fmla="*/ 5275980 h 6750795"/>
              <a:gd name="connsiteX4601" fmla="*/ 3667798 w 6630249"/>
              <a:gd name="connsiteY4601" fmla="*/ 5268286 h 6750795"/>
              <a:gd name="connsiteX4602" fmla="*/ 3724226 w 6630249"/>
              <a:gd name="connsiteY4602" fmla="*/ 5240072 h 6750795"/>
              <a:gd name="connsiteX4603" fmla="*/ 3737050 w 6630249"/>
              <a:gd name="connsiteY4603" fmla="*/ 5186209 h 6750795"/>
              <a:gd name="connsiteX4604" fmla="*/ 3747310 w 6630249"/>
              <a:gd name="connsiteY4604" fmla="*/ 5134911 h 6750795"/>
              <a:gd name="connsiteX4605" fmla="*/ 3767829 w 6630249"/>
              <a:gd name="connsiteY4605" fmla="*/ 5116957 h 6750795"/>
              <a:gd name="connsiteX4606" fmla="*/ 3796042 w 6630249"/>
              <a:gd name="connsiteY4606" fmla="*/ 5086178 h 6750795"/>
              <a:gd name="connsiteX4607" fmla="*/ 3783218 w 6630249"/>
              <a:gd name="connsiteY4607" fmla="*/ 5037446 h 6750795"/>
              <a:gd name="connsiteX4608" fmla="*/ 3770393 w 6630249"/>
              <a:gd name="connsiteY4608" fmla="*/ 4996407 h 6750795"/>
              <a:gd name="connsiteX4609" fmla="*/ 3780653 w 6630249"/>
              <a:gd name="connsiteY4609" fmla="*/ 4978453 h 6750795"/>
              <a:gd name="connsiteX4610" fmla="*/ 3790913 w 6630249"/>
              <a:gd name="connsiteY4610" fmla="*/ 4955369 h 6750795"/>
              <a:gd name="connsiteX4611" fmla="*/ 3778088 w 6630249"/>
              <a:gd name="connsiteY4611" fmla="*/ 4911766 h 6750795"/>
              <a:gd name="connsiteX4612" fmla="*/ 3775524 w 6630249"/>
              <a:gd name="connsiteY4612" fmla="*/ 4855338 h 6750795"/>
              <a:gd name="connsiteX4613" fmla="*/ 3778088 w 6630249"/>
              <a:gd name="connsiteY4613" fmla="*/ 4850208 h 6750795"/>
              <a:gd name="connsiteX4614" fmla="*/ 3775524 w 6630249"/>
              <a:gd name="connsiteY4614" fmla="*/ 4845079 h 6750795"/>
              <a:gd name="connsiteX4615" fmla="*/ 3762699 w 6630249"/>
              <a:gd name="connsiteY4615" fmla="*/ 4824559 h 6750795"/>
              <a:gd name="connsiteX4616" fmla="*/ 3716531 w 6630249"/>
              <a:gd name="connsiteY4616" fmla="*/ 4778391 h 6750795"/>
              <a:gd name="connsiteX4617" fmla="*/ 3780653 w 6630249"/>
              <a:gd name="connsiteY4617" fmla="*/ 4765567 h 6750795"/>
              <a:gd name="connsiteX4618" fmla="*/ 3857600 w 6630249"/>
              <a:gd name="connsiteY4618" fmla="*/ 4739918 h 6750795"/>
              <a:gd name="connsiteX4619" fmla="*/ 3844776 w 6630249"/>
              <a:gd name="connsiteY4619" fmla="*/ 4691185 h 6750795"/>
              <a:gd name="connsiteX4620" fmla="*/ 3857600 w 6630249"/>
              <a:gd name="connsiteY4620" fmla="*/ 4650147 h 6750795"/>
              <a:gd name="connsiteX4621" fmla="*/ 3855035 w 6630249"/>
              <a:gd name="connsiteY4621" fmla="*/ 4645017 h 6750795"/>
              <a:gd name="connsiteX4622" fmla="*/ 3844776 w 6630249"/>
              <a:gd name="connsiteY4622" fmla="*/ 4632192 h 6750795"/>
              <a:gd name="connsiteX4623" fmla="*/ 3842210 w 6630249"/>
              <a:gd name="connsiteY4623" fmla="*/ 4632192 h 6750795"/>
              <a:gd name="connsiteX4624" fmla="*/ 3819127 w 6630249"/>
              <a:gd name="connsiteY4624" fmla="*/ 4632192 h 6750795"/>
              <a:gd name="connsiteX4625" fmla="*/ 3832116 w 6630249"/>
              <a:gd name="connsiteY4625" fmla="*/ 4598685 h 6750795"/>
              <a:gd name="connsiteX4626" fmla="*/ 3834515 w 6630249"/>
              <a:gd name="connsiteY4626" fmla="*/ 4596285 h 6750795"/>
              <a:gd name="connsiteX4627" fmla="*/ 3833870 w 6630249"/>
              <a:gd name="connsiteY4627" fmla="*/ 4594160 h 6750795"/>
              <a:gd name="connsiteX4628" fmla="*/ 3841249 w 6630249"/>
              <a:gd name="connsiteY4628" fmla="*/ 4575124 h 6750795"/>
              <a:gd name="connsiteX4629" fmla="*/ 3834516 w 6630249"/>
              <a:gd name="connsiteY4629" fmla="*/ 4514207 h 6750795"/>
              <a:gd name="connsiteX4630" fmla="*/ 3872989 w 6630249"/>
              <a:gd name="connsiteY4630" fmla="*/ 4473169 h 6750795"/>
              <a:gd name="connsiteX4631" fmla="*/ 3852470 w 6630249"/>
              <a:gd name="connsiteY4631" fmla="*/ 4401352 h 6750795"/>
              <a:gd name="connsiteX4632" fmla="*/ 3790913 w 6630249"/>
              <a:gd name="connsiteY4632" fmla="*/ 4393657 h 6750795"/>
              <a:gd name="connsiteX4633" fmla="*/ 3762699 w 6630249"/>
              <a:gd name="connsiteY4633" fmla="*/ 4329535 h 6750795"/>
              <a:gd name="connsiteX4634" fmla="*/ 3762699 w 6630249"/>
              <a:gd name="connsiteY4634" fmla="*/ 4326970 h 6750795"/>
              <a:gd name="connsiteX4635" fmla="*/ 3760134 w 6630249"/>
              <a:gd name="connsiteY4635" fmla="*/ 4324405 h 6750795"/>
              <a:gd name="connsiteX4636" fmla="*/ 3698577 w 6630249"/>
              <a:gd name="connsiteY4636" fmla="*/ 4309016 h 6750795"/>
              <a:gd name="connsiteX4637" fmla="*/ 3621630 w 6630249"/>
              <a:gd name="connsiteY4637" fmla="*/ 4250023 h 6750795"/>
              <a:gd name="connsiteX4638" fmla="*/ 3621630 w 6630249"/>
              <a:gd name="connsiteY4638" fmla="*/ 4247458 h 6750795"/>
              <a:gd name="connsiteX4639" fmla="*/ 3619065 w 6630249"/>
              <a:gd name="connsiteY4639" fmla="*/ 4244893 h 6750795"/>
              <a:gd name="connsiteX4640" fmla="*/ 3506210 w 6630249"/>
              <a:gd name="connsiteY4640" fmla="*/ 4149992 h 6750795"/>
              <a:gd name="connsiteX4641" fmla="*/ 3505876 w 6630249"/>
              <a:gd name="connsiteY4641" fmla="*/ 4142298 h 6750795"/>
              <a:gd name="connsiteX4642" fmla="*/ 3503644 w 6630249"/>
              <a:gd name="connsiteY4642" fmla="*/ 4142298 h 6750795"/>
              <a:gd name="connsiteX4643" fmla="*/ 3490819 w 6630249"/>
              <a:gd name="connsiteY4643" fmla="*/ 4155122 h 6750795"/>
              <a:gd name="connsiteX4644" fmla="*/ 3413872 w 6630249"/>
              <a:gd name="connsiteY4644" fmla="*/ 4314146 h 6750795"/>
              <a:gd name="connsiteX4645" fmla="*/ 3383094 w 6630249"/>
              <a:gd name="connsiteY4645" fmla="*/ 4360314 h 6750795"/>
              <a:gd name="connsiteX4646" fmla="*/ 3393353 w 6630249"/>
              <a:gd name="connsiteY4646" fmla="*/ 4368009 h 6750795"/>
              <a:gd name="connsiteX4647" fmla="*/ 3516468 w 6630249"/>
              <a:gd name="connsiteY4647" fmla="*/ 4196161 h 6750795"/>
              <a:gd name="connsiteX4648" fmla="*/ 3593415 w 6630249"/>
              <a:gd name="connsiteY4648" fmla="*/ 4252588 h 6750795"/>
              <a:gd name="connsiteX4649" fmla="*/ 3585720 w 6630249"/>
              <a:gd name="connsiteY4649" fmla="*/ 4280802 h 6750795"/>
              <a:gd name="connsiteX4650" fmla="*/ 3529293 w 6630249"/>
              <a:gd name="connsiteY4650" fmla="*/ 4442390 h 6750795"/>
              <a:gd name="connsiteX4651" fmla="*/ 3539552 w 6630249"/>
              <a:gd name="connsiteY4651" fmla="*/ 4450085 h 6750795"/>
              <a:gd name="connsiteX4652" fmla="*/ 3588285 w 6630249"/>
              <a:gd name="connsiteY4652" fmla="*/ 4360314 h 6750795"/>
              <a:gd name="connsiteX4653" fmla="*/ 3575461 w 6630249"/>
              <a:gd name="connsiteY4653" fmla="*/ 4403917 h 6750795"/>
              <a:gd name="connsiteX4654" fmla="*/ 3585720 w 6630249"/>
              <a:gd name="connsiteY4654" fmla="*/ 4411612 h 6750795"/>
              <a:gd name="connsiteX4655" fmla="*/ 3598855 w 6630249"/>
              <a:gd name="connsiteY4655" fmla="*/ 4395662 h 6750795"/>
              <a:gd name="connsiteX4656" fmla="*/ 3585721 w 6630249"/>
              <a:gd name="connsiteY4656" fmla="*/ 4425398 h 6750795"/>
              <a:gd name="connsiteX4657" fmla="*/ 3562636 w 6630249"/>
              <a:gd name="connsiteY4657" fmla="*/ 4468039 h 6750795"/>
              <a:gd name="connsiteX4658" fmla="*/ 3557507 w 6630249"/>
              <a:gd name="connsiteY4658" fmla="*/ 4475734 h 6750795"/>
              <a:gd name="connsiteX4659" fmla="*/ 3565201 w 6630249"/>
              <a:gd name="connsiteY4659" fmla="*/ 4475734 h 6750795"/>
              <a:gd name="connsiteX4660" fmla="*/ 3554941 w 6630249"/>
              <a:gd name="connsiteY4660" fmla="*/ 4488558 h 6750795"/>
              <a:gd name="connsiteX4661" fmla="*/ 3526728 w 6630249"/>
              <a:gd name="connsiteY4661" fmla="*/ 4534727 h 6750795"/>
              <a:gd name="connsiteX4662" fmla="*/ 3536987 w 6630249"/>
              <a:gd name="connsiteY4662" fmla="*/ 4542421 h 6750795"/>
              <a:gd name="connsiteX4663" fmla="*/ 3647278 w 6630249"/>
              <a:gd name="connsiteY4663" fmla="*/ 4342360 h 6750795"/>
              <a:gd name="connsiteX4664" fmla="*/ 3708835 w 6630249"/>
              <a:gd name="connsiteY4664" fmla="*/ 4352619 h 6750795"/>
              <a:gd name="connsiteX4665" fmla="*/ 3755003 w 6630249"/>
              <a:gd name="connsiteY4665" fmla="*/ 4357749 h 6750795"/>
              <a:gd name="connsiteX4666" fmla="*/ 3762698 w 6630249"/>
              <a:gd name="connsiteY4666" fmla="*/ 4375703 h 6750795"/>
              <a:gd name="connsiteX4667" fmla="*/ 3790912 w 6630249"/>
              <a:gd name="connsiteY4667" fmla="*/ 4427001 h 6750795"/>
              <a:gd name="connsiteX4668" fmla="*/ 3703705 w 6630249"/>
              <a:gd name="connsiteY4668" fmla="*/ 4509078 h 6750795"/>
              <a:gd name="connsiteX4669" fmla="*/ 3611369 w 6630249"/>
              <a:gd name="connsiteY4669" fmla="*/ 4593720 h 6750795"/>
              <a:gd name="connsiteX4670" fmla="*/ 3616499 w 6630249"/>
              <a:gd name="connsiteY4670" fmla="*/ 4555246 h 6750795"/>
              <a:gd name="connsiteX4671" fmla="*/ 3595980 w 6630249"/>
              <a:gd name="connsiteY4671" fmla="*/ 4537292 h 6750795"/>
              <a:gd name="connsiteX4672" fmla="*/ 3590850 w 6630249"/>
              <a:gd name="connsiteY4672" fmla="*/ 4534727 h 6750795"/>
              <a:gd name="connsiteX4673" fmla="*/ 3588285 w 6630249"/>
              <a:gd name="connsiteY4673" fmla="*/ 4539856 h 6750795"/>
              <a:gd name="connsiteX4674" fmla="*/ 3065047 w 6630249"/>
              <a:gd name="connsiteY4674" fmla="*/ 5037447 h 6750795"/>
              <a:gd name="connsiteX4675" fmla="*/ 2890634 w 6630249"/>
              <a:gd name="connsiteY4675" fmla="*/ 5132348 h 6750795"/>
              <a:gd name="connsiteX4676" fmla="*/ 2895051 w 6630249"/>
              <a:gd name="connsiteY4676" fmla="*/ 5143389 h 6750795"/>
              <a:gd name="connsiteX4677" fmla="*/ 2785474 w 6630249"/>
              <a:gd name="connsiteY4677" fmla="*/ 5188775 h 6750795"/>
              <a:gd name="connsiteX4678" fmla="*/ 2782909 w 6630249"/>
              <a:gd name="connsiteY4678" fmla="*/ 5188775 h 6750795"/>
              <a:gd name="connsiteX4679" fmla="*/ 2777779 w 6630249"/>
              <a:gd name="connsiteY4679" fmla="*/ 5191340 h 6750795"/>
              <a:gd name="connsiteX4680" fmla="*/ 2772649 w 6630249"/>
              <a:gd name="connsiteY4680" fmla="*/ 5193905 h 6750795"/>
              <a:gd name="connsiteX4681" fmla="*/ 2772649 w 6630249"/>
              <a:gd name="connsiteY4681" fmla="*/ 5199035 h 6750795"/>
              <a:gd name="connsiteX4682" fmla="*/ 2772649 w 6630249"/>
              <a:gd name="connsiteY4682" fmla="*/ 5201600 h 6750795"/>
              <a:gd name="connsiteX4683" fmla="*/ 2767519 w 6630249"/>
              <a:gd name="connsiteY4683" fmla="*/ 5204165 h 6750795"/>
              <a:gd name="connsiteX4684" fmla="*/ 2736741 w 6630249"/>
              <a:gd name="connsiteY4684" fmla="*/ 5222119 h 6750795"/>
              <a:gd name="connsiteX4685" fmla="*/ 2729046 w 6630249"/>
              <a:gd name="connsiteY4685" fmla="*/ 5237508 h 6750795"/>
              <a:gd name="connsiteX4686" fmla="*/ 2744435 w 6630249"/>
              <a:gd name="connsiteY4686" fmla="*/ 5232378 h 6750795"/>
              <a:gd name="connsiteX4687" fmla="*/ 2772649 w 6630249"/>
              <a:gd name="connsiteY4687" fmla="*/ 5222119 h 6750795"/>
              <a:gd name="connsiteX4688" fmla="*/ 2554633 w 6630249"/>
              <a:gd name="connsiteY4688" fmla="*/ 5311890 h 6750795"/>
              <a:gd name="connsiteX4689" fmla="*/ 2552068 w 6630249"/>
              <a:gd name="connsiteY4689" fmla="*/ 5311890 h 6750795"/>
              <a:gd name="connsiteX4690" fmla="*/ 2441778 w 6630249"/>
              <a:gd name="connsiteY4690" fmla="*/ 5378577 h 6750795"/>
              <a:gd name="connsiteX4691" fmla="*/ 2439213 w 6630249"/>
              <a:gd name="connsiteY4691" fmla="*/ 5373448 h 6750795"/>
              <a:gd name="connsiteX4692" fmla="*/ 2452037 w 6630249"/>
              <a:gd name="connsiteY4692" fmla="*/ 5365753 h 6750795"/>
              <a:gd name="connsiteX4693" fmla="*/ 2605931 w 6630249"/>
              <a:gd name="connsiteY4693" fmla="*/ 5270852 h 6750795"/>
              <a:gd name="connsiteX4694" fmla="*/ 2600802 w 6630249"/>
              <a:gd name="connsiteY4694" fmla="*/ 5260592 h 6750795"/>
              <a:gd name="connsiteX4695" fmla="*/ 2326358 w 6630249"/>
              <a:gd name="connsiteY4695" fmla="*/ 5401662 h 6750795"/>
              <a:gd name="connsiteX4696" fmla="*/ 2295579 w 6630249"/>
              <a:gd name="connsiteY4696" fmla="*/ 5386272 h 6750795"/>
              <a:gd name="connsiteX4697" fmla="*/ 2316099 w 6630249"/>
              <a:gd name="connsiteY4697" fmla="*/ 5365753 h 6750795"/>
              <a:gd name="connsiteX4698" fmla="*/ 2236586 w 6630249"/>
              <a:gd name="connsiteY4698" fmla="*/ 5263157 h 6750795"/>
              <a:gd name="connsiteX4699" fmla="*/ 2226327 w 6630249"/>
              <a:gd name="connsiteY4699" fmla="*/ 5240073 h 6750795"/>
              <a:gd name="connsiteX4700" fmla="*/ 2315497 w 6630249"/>
              <a:gd name="connsiteY4700" fmla="*/ 5186611 h 6750795"/>
              <a:gd name="connsiteX4701" fmla="*/ 2395045 w 6630249"/>
              <a:gd name="connsiteY4701" fmla="*/ 5115894 h 6750795"/>
              <a:gd name="connsiteX4702" fmla="*/ 2370602 w 6630249"/>
              <a:gd name="connsiteY4702" fmla="*/ 5148698 h 6750795"/>
              <a:gd name="connsiteX4703" fmla="*/ 2241716 w 6630249"/>
              <a:gd name="connsiteY4703" fmla="*/ 5247768 h 6750795"/>
              <a:gd name="connsiteX4704" fmla="*/ 2246846 w 6630249"/>
              <a:gd name="connsiteY4704" fmla="*/ 5258027 h 6750795"/>
              <a:gd name="connsiteX4705" fmla="*/ 2490511 w 6630249"/>
              <a:gd name="connsiteY4705" fmla="*/ 5006668 h 6750795"/>
              <a:gd name="connsiteX4706" fmla="*/ 2480251 w 6630249"/>
              <a:gd name="connsiteY4706" fmla="*/ 5001538 h 6750795"/>
              <a:gd name="connsiteX4707" fmla="*/ 2447871 w 6630249"/>
              <a:gd name="connsiteY4707" fmla="*/ 5044996 h 6750795"/>
              <a:gd name="connsiteX4708" fmla="*/ 2469791 w 6630249"/>
              <a:gd name="connsiteY4708" fmla="*/ 5005626 h 6750795"/>
              <a:gd name="connsiteX4709" fmla="*/ 2508465 w 6630249"/>
              <a:gd name="connsiteY4709" fmla="*/ 4865599 h 6750795"/>
              <a:gd name="connsiteX4710" fmla="*/ 2495642 w 6630249"/>
              <a:gd name="connsiteY4710" fmla="*/ 4863034 h 6750795"/>
              <a:gd name="connsiteX4711" fmla="*/ 2484382 w 6630249"/>
              <a:gd name="connsiteY4711" fmla="*/ 4901533 h 6750795"/>
              <a:gd name="connsiteX4712" fmla="*/ 2490511 w 6630249"/>
              <a:gd name="connsiteY4712" fmla="*/ 4875858 h 6750795"/>
              <a:gd name="connsiteX4713" fmla="*/ 2493076 w 6630249"/>
              <a:gd name="connsiteY4713" fmla="*/ 4863034 h 6750795"/>
              <a:gd name="connsiteX4714" fmla="*/ 2480251 w 6630249"/>
              <a:gd name="connsiteY4714" fmla="*/ 4870729 h 6750795"/>
              <a:gd name="connsiteX4715" fmla="*/ 2472557 w 6630249"/>
              <a:gd name="connsiteY4715" fmla="*/ 4875858 h 6750795"/>
              <a:gd name="connsiteX4716" fmla="*/ 2482816 w 6630249"/>
              <a:gd name="connsiteY4716" fmla="*/ 4832255 h 6750795"/>
              <a:gd name="connsiteX4717" fmla="*/ 2467427 w 6630249"/>
              <a:gd name="connsiteY4717" fmla="*/ 4778392 h 6750795"/>
              <a:gd name="connsiteX4718" fmla="*/ 2459732 w 6630249"/>
              <a:gd name="connsiteY4718" fmla="*/ 4775827 h 6750795"/>
              <a:gd name="connsiteX4719" fmla="*/ 2459732 w 6630249"/>
              <a:gd name="connsiteY4719" fmla="*/ 4783522 h 6750795"/>
              <a:gd name="connsiteX4720" fmla="*/ 2303274 w 6630249"/>
              <a:gd name="connsiteY4720" fmla="*/ 5099004 h 6750795"/>
              <a:gd name="connsiteX4721" fmla="*/ 2405869 w 6630249"/>
              <a:gd name="connsiteY4721" fmla="*/ 4937416 h 6750795"/>
              <a:gd name="connsiteX4722" fmla="*/ 2395610 w 6630249"/>
              <a:gd name="connsiteY4722" fmla="*/ 4932286 h 6750795"/>
              <a:gd name="connsiteX4723" fmla="*/ 2329211 w 6630249"/>
              <a:gd name="connsiteY4723" fmla="*/ 5021708 h 6750795"/>
              <a:gd name="connsiteX4724" fmla="*/ 2362266 w 6630249"/>
              <a:gd name="connsiteY4724" fmla="*/ 4968194 h 6750795"/>
              <a:gd name="connsiteX4725" fmla="*/ 2352007 w 6630249"/>
              <a:gd name="connsiteY4725" fmla="*/ 4960500 h 6750795"/>
              <a:gd name="connsiteX4726" fmla="*/ 2318663 w 6630249"/>
              <a:gd name="connsiteY4726" fmla="*/ 5001538 h 6750795"/>
              <a:gd name="connsiteX4727" fmla="*/ 2269930 w 6630249"/>
              <a:gd name="connsiteY4727" fmla="*/ 5060531 h 6750795"/>
              <a:gd name="connsiteX4728" fmla="*/ 2269930 w 6630249"/>
              <a:gd name="connsiteY4728" fmla="*/ 5047706 h 6750795"/>
              <a:gd name="connsiteX4729" fmla="*/ 2257106 w 6630249"/>
              <a:gd name="connsiteY4729" fmla="*/ 5063096 h 6750795"/>
              <a:gd name="connsiteX4730" fmla="*/ 2151945 w 6630249"/>
              <a:gd name="connsiteY4730" fmla="*/ 5152867 h 6750795"/>
              <a:gd name="connsiteX4731" fmla="*/ 2087823 w 6630249"/>
              <a:gd name="connsiteY4731" fmla="*/ 5068225 h 6750795"/>
              <a:gd name="connsiteX4732" fmla="*/ 2095518 w 6630249"/>
              <a:gd name="connsiteY4732" fmla="*/ 5055401 h 6750795"/>
              <a:gd name="connsiteX4733" fmla="*/ 2113472 w 6630249"/>
              <a:gd name="connsiteY4733" fmla="*/ 5022057 h 6750795"/>
              <a:gd name="connsiteX4734" fmla="*/ 2154510 w 6630249"/>
              <a:gd name="connsiteY4734" fmla="*/ 4927156 h 6750795"/>
              <a:gd name="connsiteX4735" fmla="*/ 2162204 w 6630249"/>
              <a:gd name="connsiteY4735" fmla="*/ 4860469 h 6750795"/>
              <a:gd name="connsiteX4736" fmla="*/ 2226327 w 6630249"/>
              <a:gd name="connsiteY4736" fmla="*/ 4709140 h 6750795"/>
              <a:gd name="connsiteX4737" fmla="*/ 2259670 w 6630249"/>
              <a:gd name="connsiteY4737" fmla="*/ 4706575 h 6750795"/>
              <a:gd name="connsiteX4738" fmla="*/ 2269930 w 6630249"/>
              <a:gd name="connsiteY4738" fmla="*/ 4706575 h 6750795"/>
              <a:gd name="connsiteX4739" fmla="*/ 2272495 w 6630249"/>
              <a:gd name="connsiteY4739" fmla="*/ 4706575 h 6750795"/>
              <a:gd name="connsiteX4740" fmla="*/ 2277625 w 6630249"/>
              <a:gd name="connsiteY4740" fmla="*/ 4701446 h 6750795"/>
              <a:gd name="connsiteX4741" fmla="*/ 2434084 w 6630249"/>
              <a:gd name="connsiteY4741" fmla="*/ 4596285 h 6750795"/>
              <a:gd name="connsiteX4742" fmla="*/ 2457167 w 6630249"/>
              <a:gd name="connsiteY4742" fmla="*/ 4601415 h 6750795"/>
              <a:gd name="connsiteX4743" fmla="*/ 2480251 w 6630249"/>
              <a:gd name="connsiteY4743" fmla="*/ 4606545 h 6750795"/>
              <a:gd name="connsiteX4744" fmla="*/ 2605931 w 6630249"/>
              <a:gd name="connsiteY4744" fmla="*/ 4578330 h 6750795"/>
              <a:gd name="connsiteX4745" fmla="*/ 2731611 w 6630249"/>
              <a:gd name="connsiteY4745" fmla="*/ 4560376 h 6750795"/>
              <a:gd name="connsiteX4746" fmla="*/ 2675183 w 6630249"/>
              <a:gd name="connsiteY4746" fmla="*/ 4742484 h 6750795"/>
              <a:gd name="connsiteX4747" fmla="*/ 2659794 w 6630249"/>
              <a:gd name="connsiteY4747" fmla="*/ 4778392 h 6750795"/>
              <a:gd name="connsiteX4748" fmla="*/ 2652099 w 6630249"/>
              <a:gd name="connsiteY4748" fmla="*/ 4796347 h 6750795"/>
              <a:gd name="connsiteX4749" fmla="*/ 2667489 w 6630249"/>
              <a:gd name="connsiteY4749" fmla="*/ 4788652 h 6750795"/>
              <a:gd name="connsiteX4750" fmla="*/ 2741870 w 6630249"/>
              <a:gd name="connsiteY4750" fmla="*/ 4642453 h 6750795"/>
              <a:gd name="connsiteX4751" fmla="*/ 2764954 w 6630249"/>
              <a:gd name="connsiteY4751" fmla="*/ 4565505 h 6750795"/>
              <a:gd name="connsiteX4752" fmla="*/ 2700832 w 6630249"/>
              <a:gd name="connsiteY4752" fmla="*/ 4783522 h 6750795"/>
              <a:gd name="connsiteX4753" fmla="*/ 2711092 w 6630249"/>
              <a:gd name="connsiteY4753" fmla="*/ 4791217 h 6750795"/>
              <a:gd name="connsiteX4754" fmla="*/ 2780344 w 6630249"/>
              <a:gd name="connsiteY4754" fmla="*/ 4645018 h 6750795"/>
              <a:gd name="connsiteX4755" fmla="*/ 2780344 w 6630249"/>
              <a:gd name="connsiteY4755" fmla="*/ 4642453 h 6750795"/>
              <a:gd name="connsiteX4756" fmla="*/ 2795733 w 6630249"/>
              <a:gd name="connsiteY4756" fmla="*/ 4609109 h 6750795"/>
              <a:gd name="connsiteX4757" fmla="*/ 2795733 w 6630249"/>
              <a:gd name="connsiteY4757" fmla="*/ 4596285 h 6750795"/>
              <a:gd name="connsiteX4758" fmla="*/ 2803429 w 6630249"/>
              <a:gd name="connsiteY4758" fmla="*/ 4593720 h 6750795"/>
              <a:gd name="connsiteX4759" fmla="*/ 2795733 w 6630249"/>
              <a:gd name="connsiteY4759" fmla="*/ 4637323 h 6750795"/>
              <a:gd name="connsiteX4760" fmla="*/ 2749566 w 6630249"/>
              <a:gd name="connsiteY4760" fmla="*/ 4788652 h 6750795"/>
              <a:gd name="connsiteX4761" fmla="*/ 2723916 w 6630249"/>
              <a:gd name="connsiteY4761" fmla="*/ 4816866 h 6750795"/>
              <a:gd name="connsiteX4762" fmla="*/ 2693137 w 6630249"/>
              <a:gd name="connsiteY4762" fmla="*/ 4870729 h 6750795"/>
              <a:gd name="connsiteX4763" fmla="*/ 2693137 w 6630249"/>
              <a:gd name="connsiteY4763" fmla="*/ 4880988 h 6750795"/>
              <a:gd name="connsiteX4764" fmla="*/ 2703397 w 6630249"/>
              <a:gd name="connsiteY4764" fmla="*/ 4873293 h 6750795"/>
              <a:gd name="connsiteX4765" fmla="*/ 2831642 w 6630249"/>
              <a:gd name="connsiteY4765" fmla="*/ 4591154 h 6750795"/>
              <a:gd name="connsiteX4766" fmla="*/ 2713656 w 6630249"/>
              <a:gd name="connsiteY4766" fmla="*/ 4870729 h 6750795"/>
              <a:gd name="connsiteX4767" fmla="*/ 2721351 w 6630249"/>
              <a:gd name="connsiteY4767" fmla="*/ 4880988 h 6750795"/>
              <a:gd name="connsiteX4768" fmla="*/ 2844467 w 6630249"/>
              <a:gd name="connsiteY4768" fmla="*/ 4714270 h 6750795"/>
              <a:gd name="connsiteX4769" fmla="*/ 2854726 w 6630249"/>
              <a:gd name="connsiteY4769" fmla="*/ 4557811 h 6750795"/>
              <a:gd name="connsiteX4770" fmla="*/ 2852161 w 6630249"/>
              <a:gd name="connsiteY4770" fmla="*/ 4457780 h 6750795"/>
              <a:gd name="connsiteX4771" fmla="*/ 3095826 w 6630249"/>
              <a:gd name="connsiteY4771" fmla="*/ 4103825 h 6750795"/>
              <a:gd name="connsiteX4772" fmla="*/ 3098391 w 6630249"/>
              <a:gd name="connsiteY4772" fmla="*/ 4103825 h 6750795"/>
              <a:gd name="connsiteX4773" fmla="*/ 3093261 w 6630249"/>
              <a:gd name="connsiteY4773" fmla="*/ 4147428 h 6750795"/>
              <a:gd name="connsiteX4774" fmla="*/ 3088132 w 6630249"/>
              <a:gd name="connsiteY4774" fmla="*/ 4208985 h 6750795"/>
              <a:gd name="connsiteX4775" fmla="*/ 3090696 w 6630249"/>
              <a:gd name="connsiteY4775" fmla="*/ 4224374 h 6750795"/>
              <a:gd name="connsiteX4776" fmla="*/ 3100955 w 6630249"/>
              <a:gd name="connsiteY4776" fmla="*/ 4211550 h 6750795"/>
              <a:gd name="connsiteX4777" fmla="*/ 3116345 w 6630249"/>
              <a:gd name="connsiteY4777" fmla="*/ 4142298 h 6750795"/>
              <a:gd name="connsiteX4778" fmla="*/ 3126604 w 6630249"/>
              <a:gd name="connsiteY4778" fmla="*/ 4096130 h 6750795"/>
              <a:gd name="connsiteX4779" fmla="*/ 3121475 w 6630249"/>
              <a:gd name="connsiteY4779" fmla="*/ 4147428 h 6750795"/>
              <a:gd name="connsiteX4780" fmla="*/ 3116345 w 6630249"/>
              <a:gd name="connsiteY4780" fmla="*/ 4203856 h 6750795"/>
              <a:gd name="connsiteX4781" fmla="*/ 3121475 w 6630249"/>
              <a:gd name="connsiteY4781" fmla="*/ 4224374 h 6750795"/>
              <a:gd name="connsiteX4782" fmla="*/ 3129169 w 6630249"/>
              <a:gd name="connsiteY4782" fmla="*/ 4203856 h 6750795"/>
              <a:gd name="connsiteX4783" fmla="*/ 3147123 w 6630249"/>
              <a:gd name="connsiteY4783" fmla="*/ 4139733 h 6750795"/>
              <a:gd name="connsiteX4784" fmla="*/ 3188162 w 6630249"/>
              <a:gd name="connsiteY4784" fmla="*/ 4052527 h 6750795"/>
              <a:gd name="connsiteX4785" fmla="*/ 3239460 w 6630249"/>
              <a:gd name="connsiteY4785" fmla="*/ 4049962 h 6750795"/>
              <a:gd name="connsiteX4786" fmla="*/ 3057353 w 6630249"/>
              <a:gd name="connsiteY4786" fmla="*/ 4447520 h 6750795"/>
              <a:gd name="connsiteX4787" fmla="*/ 3067612 w 6630249"/>
              <a:gd name="connsiteY4787" fmla="*/ 4457780 h 6750795"/>
              <a:gd name="connsiteX4788" fmla="*/ 3275368 w 6630249"/>
              <a:gd name="connsiteY4788" fmla="*/ 4060221 h 6750795"/>
              <a:gd name="connsiteX4789" fmla="*/ 3277934 w 6630249"/>
              <a:gd name="connsiteY4789" fmla="*/ 4062786 h 6750795"/>
              <a:gd name="connsiteX4790" fmla="*/ 3275368 w 6630249"/>
              <a:gd name="connsiteY4790" fmla="*/ 4116649 h 6750795"/>
              <a:gd name="connsiteX4791" fmla="*/ 3272803 w 6630249"/>
              <a:gd name="connsiteY4791" fmla="*/ 4160252 h 6750795"/>
              <a:gd name="connsiteX4792" fmla="*/ 3275368 w 6630249"/>
              <a:gd name="connsiteY4792" fmla="*/ 4162817 h 6750795"/>
              <a:gd name="connsiteX4793" fmla="*/ 3272803 w 6630249"/>
              <a:gd name="connsiteY4793" fmla="*/ 4165382 h 6750795"/>
              <a:gd name="connsiteX4794" fmla="*/ 3272803 w 6630249"/>
              <a:gd name="connsiteY4794" fmla="*/ 4188466 h 6750795"/>
              <a:gd name="connsiteX4795" fmla="*/ 3277934 w 6630249"/>
              <a:gd name="connsiteY4795" fmla="*/ 4191031 h 6750795"/>
              <a:gd name="connsiteX4796" fmla="*/ 3283063 w 6630249"/>
              <a:gd name="connsiteY4796" fmla="*/ 4188466 h 6750795"/>
              <a:gd name="connsiteX4797" fmla="*/ 3324101 w 6630249"/>
              <a:gd name="connsiteY4797" fmla="*/ 4060221 h 6750795"/>
              <a:gd name="connsiteX4798" fmla="*/ 3377964 w 6630249"/>
              <a:gd name="connsiteY4798" fmla="*/ 4034573 h 6750795"/>
              <a:gd name="connsiteX4799" fmla="*/ 3419002 w 6630249"/>
              <a:gd name="connsiteY4799" fmla="*/ 4014053 h 6750795"/>
              <a:gd name="connsiteX4800" fmla="*/ 3496551 w 6630249"/>
              <a:gd name="connsiteY4800" fmla="*/ 4098454 h 6750795"/>
              <a:gd name="connsiteX4801" fmla="*/ 3505795 w 6630249"/>
              <a:gd name="connsiteY4801" fmla="*/ 4140415 h 6750795"/>
              <a:gd name="connsiteX4802" fmla="*/ 3503244 w 6630249"/>
              <a:gd name="connsiteY4802" fmla="*/ 4081582 h 6750795"/>
              <a:gd name="connsiteX4803" fmla="*/ 3385660 w 6630249"/>
              <a:gd name="connsiteY4803" fmla="*/ 3973015 h 6750795"/>
              <a:gd name="connsiteX4804" fmla="*/ 3380530 w 6630249"/>
              <a:gd name="connsiteY4804" fmla="*/ 3973015 h 6750795"/>
              <a:gd name="connsiteX4805" fmla="*/ 3377965 w 6630249"/>
              <a:gd name="connsiteY4805" fmla="*/ 3975580 h 6750795"/>
              <a:gd name="connsiteX4806" fmla="*/ 3229201 w 6630249"/>
              <a:gd name="connsiteY4806" fmla="*/ 4014053 h 6750795"/>
              <a:gd name="connsiteX4807" fmla="*/ 3206117 w 6630249"/>
              <a:gd name="connsiteY4807" fmla="*/ 4011488 h 6750795"/>
              <a:gd name="connsiteX4808" fmla="*/ 3121476 w 6630249"/>
              <a:gd name="connsiteY4808" fmla="*/ 4047397 h 6750795"/>
              <a:gd name="connsiteX4809" fmla="*/ 3106086 w 6630249"/>
              <a:gd name="connsiteY4809" fmla="*/ 4060221 h 6750795"/>
              <a:gd name="connsiteX4810" fmla="*/ 2939368 w 6630249"/>
              <a:gd name="connsiteY4810" fmla="*/ 4124343 h 6750795"/>
              <a:gd name="connsiteX4811" fmla="*/ 2808559 w 6630249"/>
              <a:gd name="connsiteY4811" fmla="*/ 4509077 h 6750795"/>
              <a:gd name="connsiteX4812" fmla="*/ 2752131 w 6630249"/>
              <a:gd name="connsiteY4812" fmla="*/ 4493688 h 6750795"/>
              <a:gd name="connsiteX4813" fmla="*/ 2739307 w 6630249"/>
              <a:gd name="connsiteY4813" fmla="*/ 4501383 h 6750795"/>
              <a:gd name="connsiteX4814" fmla="*/ 2739307 w 6630249"/>
              <a:gd name="connsiteY4814" fmla="*/ 4498818 h 6750795"/>
              <a:gd name="connsiteX4815" fmla="*/ 2736742 w 6630249"/>
              <a:gd name="connsiteY4815" fmla="*/ 4480863 h 6750795"/>
              <a:gd name="connsiteX4816" fmla="*/ 2734177 w 6630249"/>
              <a:gd name="connsiteY4816" fmla="*/ 4478299 h 6750795"/>
              <a:gd name="connsiteX4817" fmla="*/ 2731612 w 6630249"/>
              <a:gd name="connsiteY4817" fmla="*/ 4478299 h 6750795"/>
              <a:gd name="connsiteX4818" fmla="*/ 2721352 w 6630249"/>
              <a:gd name="connsiteY4818" fmla="*/ 4483429 h 6750795"/>
              <a:gd name="connsiteX4819" fmla="*/ 2716223 w 6630249"/>
              <a:gd name="connsiteY4819" fmla="*/ 4514207 h 6750795"/>
              <a:gd name="connsiteX4820" fmla="*/ 2618757 w 6630249"/>
              <a:gd name="connsiteY4820" fmla="*/ 4519337 h 6750795"/>
              <a:gd name="connsiteX4821" fmla="*/ 2636711 w 6630249"/>
              <a:gd name="connsiteY4821" fmla="*/ 3644709 h 6750795"/>
              <a:gd name="connsiteX4822" fmla="*/ 2631581 w 6630249"/>
              <a:gd name="connsiteY4822" fmla="*/ 3647273 h 6750795"/>
              <a:gd name="connsiteX4823" fmla="*/ 2598237 w 6630249"/>
              <a:gd name="connsiteY4823" fmla="*/ 3590846 h 6750795"/>
              <a:gd name="connsiteX4824" fmla="*/ 2580284 w 6630249"/>
              <a:gd name="connsiteY4824" fmla="*/ 3580586 h 6750795"/>
              <a:gd name="connsiteX4825" fmla="*/ 2570025 w 6630249"/>
              <a:gd name="connsiteY4825" fmla="*/ 3608800 h 6750795"/>
              <a:gd name="connsiteX4826" fmla="*/ 2582848 w 6630249"/>
              <a:gd name="connsiteY4826" fmla="*/ 3611365 h 6750795"/>
              <a:gd name="connsiteX4827" fmla="*/ 2634147 w 6630249"/>
              <a:gd name="connsiteY4827" fmla="*/ 4373138 h 6750795"/>
              <a:gd name="connsiteX4828" fmla="*/ 2631581 w 6630249"/>
              <a:gd name="connsiteY4828" fmla="*/ 4373138 h 6750795"/>
              <a:gd name="connsiteX4829" fmla="*/ 2629016 w 6630249"/>
              <a:gd name="connsiteY4829" fmla="*/ 4380833 h 6750795"/>
              <a:gd name="connsiteX4830" fmla="*/ 2621321 w 6630249"/>
              <a:gd name="connsiteY4830" fmla="*/ 4406482 h 6750795"/>
              <a:gd name="connsiteX4831" fmla="*/ 2567459 w 6630249"/>
              <a:gd name="connsiteY4831" fmla="*/ 4521902 h 6750795"/>
              <a:gd name="connsiteX4832" fmla="*/ 2575153 w 6630249"/>
              <a:gd name="connsiteY4832" fmla="*/ 4503948 h 6750795"/>
              <a:gd name="connsiteX4833" fmla="*/ 2603367 w 6630249"/>
              <a:gd name="connsiteY4833" fmla="*/ 4380833 h 6750795"/>
              <a:gd name="connsiteX4834" fmla="*/ 2598237 w 6630249"/>
              <a:gd name="connsiteY4834" fmla="*/ 4360314 h 6750795"/>
              <a:gd name="connsiteX4835" fmla="*/ 2590543 w 6630249"/>
              <a:gd name="connsiteY4835" fmla="*/ 4380833 h 6750795"/>
              <a:gd name="connsiteX4836" fmla="*/ 2554634 w 6630249"/>
              <a:gd name="connsiteY4836" fmla="*/ 4460345 h 6750795"/>
              <a:gd name="connsiteX4837" fmla="*/ 2516162 w 6630249"/>
              <a:gd name="connsiteY4837" fmla="*/ 4550116 h 6750795"/>
              <a:gd name="connsiteX4838" fmla="*/ 2511031 w 6630249"/>
              <a:gd name="connsiteY4838" fmla="*/ 4550116 h 6750795"/>
              <a:gd name="connsiteX4839" fmla="*/ 2498207 w 6630249"/>
              <a:gd name="connsiteY4839" fmla="*/ 4550116 h 6750795"/>
              <a:gd name="connsiteX4840" fmla="*/ 2552069 w 6630249"/>
              <a:gd name="connsiteY4840" fmla="*/ 4416741 h 6750795"/>
              <a:gd name="connsiteX4841" fmla="*/ 2585413 w 6630249"/>
              <a:gd name="connsiteY4841" fmla="*/ 4321840 h 6750795"/>
              <a:gd name="connsiteX4842" fmla="*/ 2605932 w 6630249"/>
              <a:gd name="connsiteY4842" fmla="*/ 4285932 h 6750795"/>
              <a:gd name="connsiteX4843" fmla="*/ 2626451 w 6630249"/>
              <a:gd name="connsiteY4843" fmla="*/ 4175641 h 6750795"/>
              <a:gd name="connsiteX4844" fmla="*/ 2618757 w 6630249"/>
              <a:gd name="connsiteY4844" fmla="*/ 4165382 h 6750795"/>
              <a:gd name="connsiteX4845" fmla="*/ 2616192 w 6630249"/>
              <a:gd name="connsiteY4845" fmla="*/ 4178206 h 6750795"/>
              <a:gd name="connsiteX4846" fmla="*/ 2498207 w 6630249"/>
              <a:gd name="connsiteY4846" fmla="*/ 4483429 h 6750795"/>
              <a:gd name="connsiteX4847" fmla="*/ 2469993 w 6630249"/>
              <a:gd name="connsiteY4847" fmla="*/ 4550116 h 6750795"/>
              <a:gd name="connsiteX4848" fmla="*/ 2454604 w 6630249"/>
              <a:gd name="connsiteY4848" fmla="*/ 4550116 h 6750795"/>
              <a:gd name="connsiteX4849" fmla="*/ 2452039 w 6630249"/>
              <a:gd name="connsiteY4849" fmla="*/ 4550116 h 6750795"/>
              <a:gd name="connsiteX4850" fmla="*/ 2485383 w 6630249"/>
              <a:gd name="connsiteY4850" fmla="*/ 4491123 h 6750795"/>
              <a:gd name="connsiteX4851" fmla="*/ 2495642 w 6630249"/>
              <a:gd name="connsiteY4851" fmla="*/ 4468039 h 6750795"/>
              <a:gd name="connsiteX4852" fmla="*/ 2495642 w 6630249"/>
              <a:gd name="connsiteY4852" fmla="*/ 4465474 h 6750795"/>
              <a:gd name="connsiteX4853" fmla="*/ 2490512 w 6630249"/>
              <a:gd name="connsiteY4853" fmla="*/ 4450085 h 6750795"/>
              <a:gd name="connsiteX4854" fmla="*/ 2487947 w 6630249"/>
              <a:gd name="connsiteY4854" fmla="*/ 4447520 h 6750795"/>
              <a:gd name="connsiteX4855" fmla="*/ 2587978 w 6630249"/>
              <a:gd name="connsiteY4855" fmla="*/ 4198725 h 6750795"/>
              <a:gd name="connsiteX4856" fmla="*/ 2608497 w 6630249"/>
              <a:gd name="connsiteY4856" fmla="*/ 4139733 h 6750795"/>
              <a:gd name="connsiteX4857" fmla="*/ 2641841 w 6630249"/>
              <a:gd name="connsiteY4857" fmla="*/ 4042267 h 6750795"/>
              <a:gd name="connsiteX4858" fmla="*/ 2641841 w 6630249"/>
              <a:gd name="connsiteY4858" fmla="*/ 4039702 h 6750795"/>
              <a:gd name="connsiteX4859" fmla="*/ 2639276 w 6630249"/>
              <a:gd name="connsiteY4859" fmla="*/ 4003794 h 6750795"/>
              <a:gd name="connsiteX4860" fmla="*/ 2618757 w 6630249"/>
              <a:gd name="connsiteY4860" fmla="*/ 3996099 h 6750795"/>
              <a:gd name="connsiteX4861" fmla="*/ 2613627 w 6630249"/>
              <a:gd name="connsiteY4861" fmla="*/ 3996099 h 6750795"/>
              <a:gd name="connsiteX4862" fmla="*/ 2613627 w 6630249"/>
              <a:gd name="connsiteY4862" fmla="*/ 4001228 h 6750795"/>
              <a:gd name="connsiteX4863" fmla="*/ 2416130 w 6630249"/>
              <a:gd name="connsiteY4863" fmla="*/ 4542421 h 6750795"/>
              <a:gd name="connsiteX4864" fmla="*/ 2390482 w 6630249"/>
              <a:gd name="connsiteY4864" fmla="*/ 4544986 h 6750795"/>
              <a:gd name="connsiteX4865" fmla="*/ 2639276 w 6630249"/>
              <a:gd name="connsiteY4865" fmla="*/ 3839640 h 6750795"/>
              <a:gd name="connsiteX4866" fmla="*/ 2639276 w 6630249"/>
              <a:gd name="connsiteY4866" fmla="*/ 3837075 h 6750795"/>
              <a:gd name="connsiteX4867" fmla="*/ 2636711 w 6630249"/>
              <a:gd name="connsiteY4867" fmla="*/ 3834510 h 6750795"/>
              <a:gd name="connsiteX4868" fmla="*/ 2613627 w 6630249"/>
              <a:gd name="connsiteY4868" fmla="*/ 3808862 h 6750795"/>
              <a:gd name="connsiteX4869" fmla="*/ 2608497 w 6630249"/>
              <a:gd name="connsiteY4869" fmla="*/ 3831946 h 6750795"/>
              <a:gd name="connsiteX4870" fmla="*/ 2608497 w 6630249"/>
              <a:gd name="connsiteY4870" fmla="*/ 3855030 h 6750795"/>
              <a:gd name="connsiteX4871" fmla="*/ 2595673 w 6630249"/>
              <a:gd name="connsiteY4871" fmla="*/ 3893503 h 6750795"/>
              <a:gd name="connsiteX4872" fmla="*/ 2587978 w 6630249"/>
              <a:gd name="connsiteY4872" fmla="*/ 3914022 h 6750795"/>
              <a:gd name="connsiteX4873" fmla="*/ 2352007 w 6630249"/>
              <a:gd name="connsiteY4873" fmla="*/ 4542421 h 6750795"/>
              <a:gd name="connsiteX4874" fmla="*/ 2326358 w 6630249"/>
              <a:gd name="connsiteY4874" fmla="*/ 4562940 h 6750795"/>
              <a:gd name="connsiteX4875" fmla="*/ 2316099 w 6630249"/>
              <a:gd name="connsiteY4875" fmla="*/ 4573200 h 6750795"/>
              <a:gd name="connsiteX4876" fmla="*/ 2336617 w 6630249"/>
              <a:gd name="connsiteY4876" fmla="*/ 4527032 h 6750795"/>
              <a:gd name="connsiteX4877" fmla="*/ 2598237 w 6630249"/>
              <a:gd name="connsiteY4877" fmla="*/ 3696006 h 6750795"/>
              <a:gd name="connsiteX4878" fmla="*/ 2585413 w 6630249"/>
              <a:gd name="connsiteY4878" fmla="*/ 3693441 h 6750795"/>
              <a:gd name="connsiteX4879" fmla="*/ 2575153 w 6630249"/>
              <a:gd name="connsiteY4879" fmla="*/ 3721655 h 6750795"/>
              <a:gd name="connsiteX4880" fmla="*/ 2572588 w 6630249"/>
              <a:gd name="connsiteY4880" fmla="*/ 3731915 h 6750795"/>
              <a:gd name="connsiteX4881" fmla="*/ 2564894 w 6630249"/>
              <a:gd name="connsiteY4881" fmla="*/ 3767823 h 6750795"/>
              <a:gd name="connsiteX4882" fmla="*/ 2549505 w 6630249"/>
              <a:gd name="connsiteY4882" fmla="*/ 3831946 h 6750795"/>
              <a:gd name="connsiteX4883" fmla="*/ 2534115 w 6630249"/>
              <a:gd name="connsiteY4883" fmla="*/ 3903762 h 6750795"/>
              <a:gd name="connsiteX4884" fmla="*/ 2518726 w 6630249"/>
              <a:gd name="connsiteY4884" fmla="*/ 3975580 h 6750795"/>
              <a:gd name="connsiteX4885" fmla="*/ 2308404 w 6630249"/>
              <a:gd name="connsiteY4885" fmla="*/ 4532161 h 6750795"/>
              <a:gd name="connsiteX4886" fmla="*/ 2267365 w 6630249"/>
              <a:gd name="connsiteY4886" fmla="*/ 4591154 h 6750795"/>
              <a:gd name="connsiteX4887" fmla="*/ 2231457 w 6630249"/>
              <a:gd name="connsiteY4887" fmla="*/ 4645017 h 6750795"/>
              <a:gd name="connsiteX4888" fmla="*/ 2498207 w 6630249"/>
              <a:gd name="connsiteY4888" fmla="*/ 3957625 h 6750795"/>
              <a:gd name="connsiteX4889" fmla="*/ 2546940 w 6630249"/>
              <a:gd name="connsiteY4889" fmla="*/ 3757564 h 6750795"/>
              <a:gd name="connsiteX4890" fmla="*/ 2541810 w 6630249"/>
              <a:gd name="connsiteY4890" fmla="*/ 3760129 h 6750795"/>
              <a:gd name="connsiteX4891" fmla="*/ 2528985 w 6630249"/>
              <a:gd name="connsiteY4891" fmla="*/ 3754999 h 6750795"/>
              <a:gd name="connsiteX4892" fmla="*/ 2518726 w 6630249"/>
              <a:gd name="connsiteY4892" fmla="*/ 3734480 h 6750795"/>
              <a:gd name="connsiteX4893" fmla="*/ 2516162 w 6630249"/>
              <a:gd name="connsiteY4893" fmla="*/ 3734480 h 6750795"/>
              <a:gd name="connsiteX4894" fmla="*/ 2187853 w 6630249"/>
              <a:gd name="connsiteY4894" fmla="*/ 4652712 h 6750795"/>
              <a:gd name="connsiteX4895" fmla="*/ 2154510 w 6630249"/>
              <a:gd name="connsiteY4895" fmla="*/ 4691185 h 6750795"/>
              <a:gd name="connsiteX4896" fmla="*/ 2139121 w 6630249"/>
              <a:gd name="connsiteY4896" fmla="*/ 4706574 h 6750795"/>
              <a:gd name="connsiteX4897" fmla="*/ 2500772 w 6630249"/>
              <a:gd name="connsiteY4897" fmla="*/ 3729350 h 6750795"/>
              <a:gd name="connsiteX4898" fmla="*/ 2485383 w 6630249"/>
              <a:gd name="connsiteY4898" fmla="*/ 3711396 h 6750795"/>
              <a:gd name="connsiteX4899" fmla="*/ 2486477 w 6630249"/>
              <a:gd name="connsiteY4899" fmla="*/ 3689136 h 6750795"/>
              <a:gd name="connsiteX4900" fmla="*/ 2489681 w 6630249"/>
              <a:gd name="connsiteY4900" fmla="*/ 3676732 h 6750795"/>
              <a:gd name="connsiteX4901" fmla="*/ 2496282 w 6630249"/>
              <a:gd name="connsiteY4901" fmla="*/ 3661059 h 6750795"/>
              <a:gd name="connsiteX4902" fmla="*/ 2526420 w 6630249"/>
              <a:gd name="connsiteY4902" fmla="*/ 3624189 h 6750795"/>
              <a:gd name="connsiteX4903" fmla="*/ 2513596 w 6630249"/>
              <a:gd name="connsiteY4903" fmla="*/ 3611365 h 6750795"/>
              <a:gd name="connsiteX4904" fmla="*/ 2539246 w 6630249"/>
              <a:gd name="connsiteY4904" fmla="*/ 3608800 h 6750795"/>
              <a:gd name="connsiteX4905" fmla="*/ 2554634 w 6630249"/>
              <a:gd name="connsiteY4905" fmla="*/ 3575457 h 6750795"/>
              <a:gd name="connsiteX4906" fmla="*/ 2518726 w 6630249"/>
              <a:gd name="connsiteY4906" fmla="*/ 3588281 h 6750795"/>
              <a:gd name="connsiteX4907" fmla="*/ 2411000 w 6630249"/>
              <a:gd name="connsiteY4907" fmla="*/ 3624189 h 6750795"/>
              <a:gd name="connsiteX4908" fmla="*/ 2411000 w 6630249"/>
              <a:gd name="connsiteY4908" fmla="*/ 3652403 h 6750795"/>
              <a:gd name="connsiteX4909" fmla="*/ 2449474 w 6630249"/>
              <a:gd name="connsiteY4909" fmla="*/ 3631884 h 6750795"/>
              <a:gd name="connsiteX4910" fmla="*/ 2431520 w 6630249"/>
              <a:gd name="connsiteY4910" fmla="*/ 3701136 h 6750795"/>
              <a:gd name="connsiteX4911" fmla="*/ 2416130 w 6630249"/>
              <a:gd name="connsiteY4911" fmla="*/ 3778083 h 6750795"/>
              <a:gd name="connsiteX4912" fmla="*/ 2426390 w 6630249"/>
              <a:gd name="connsiteY4912" fmla="*/ 3783213 h 6750795"/>
              <a:gd name="connsiteX4913" fmla="*/ 2457168 w 6630249"/>
              <a:gd name="connsiteY4913" fmla="*/ 3706266 h 6750795"/>
              <a:gd name="connsiteX4914" fmla="*/ 2482817 w 6630249"/>
              <a:gd name="connsiteY4914" fmla="*/ 3642143 h 6750795"/>
              <a:gd name="connsiteX4915" fmla="*/ 2485383 w 6630249"/>
              <a:gd name="connsiteY4915" fmla="*/ 3639579 h 6750795"/>
              <a:gd name="connsiteX4916" fmla="*/ 2482817 w 6630249"/>
              <a:gd name="connsiteY4916" fmla="*/ 3629319 h 6750795"/>
              <a:gd name="connsiteX4917" fmla="*/ 2472558 w 6630249"/>
              <a:gd name="connsiteY4917" fmla="*/ 3624189 h 6750795"/>
              <a:gd name="connsiteX4918" fmla="*/ 2467428 w 6630249"/>
              <a:gd name="connsiteY4918" fmla="*/ 3624189 h 6750795"/>
              <a:gd name="connsiteX4919" fmla="*/ 2505901 w 6630249"/>
              <a:gd name="connsiteY4919" fmla="*/ 3613930 h 6750795"/>
              <a:gd name="connsiteX4920" fmla="*/ 2489681 w 6630249"/>
              <a:gd name="connsiteY4920" fmla="*/ 3676732 h 6750795"/>
              <a:gd name="connsiteX4921" fmla="*/ 2486744 w 6630249"/>
              <a:gd name="connsiteY4921" fmla="*/ 3683703 h 6750795"/>
              <a:gd name="connsiteX4922" fmla="*/ 2486477 w 6630249"/>
              <a:gd name="connsiteY4922" fmla="*/ 3689136 h 6750795"/>
              <a:gd name="connsiteX4923" fmla="*/ 2480894 w 6630249"/>
              <a:gd name="connsiteY4923" fmla="*/ 3710755 h 6750795"/>
              <a:gd name="connsiteX4924" fmla="*/ 2459733 w 6630249"/>
              <a:gd name="connsiteY4924" fmla="*/ 3803732 h 6750795"/>
              <a:gd name="connsiteX4925" fmla="*/ 2395611 w 6630249"/>
              <a:gd name="connsiteY4925" fmla="*/ 4055091 h 6750795"/>
              <a:gd name="connsiteX4926" fmla="*/ 2121166 w 6630249"/>
              <a:gd name="connsiteY4926" fmla="*/ 4675795 h 6750795"/>
              <a:gd name="connsiteX4927" fmla="*/ 2062175 w 6630249"/>
              <a:gd name="connsiteY4927" fmla="*/ 4745048 h 6750795"/>
              <a:gd name="connsiteX4928" fmla="*/ 2044220 w 6630249"/>
              <a:gd name="connsiteY4928" fmla="*/ 4765567 h 6750795"/>
              <a:gd name="connsiteX4929" fmla="*/ 2044220 w 6630249"/>
              <a:gd name="connsiteY4929" fmla="*/ 4763002 h 6750795"/>
              <a:gd name="connsiteX4930" fmla="*/ 2039091 w 6630249"/>
              <a:gd name="connsiteY4930" fmla="*/ 4760437 h 6750795"/>
              <a:gd name="connsiteX4931" fmla="*/ 2367396 w 6630249"/>
              <a:gd name="connsiteY4931" fmla="*/ 4042267 h 6750795"/>
              <a:gd name="connsiteX4932" fmla="*/ 2354572 w 6630249"/>
              <a:gd name="connsiteY4932" fmla="*/ 4037137 h 6750795"/>
              <a:gd name="connsiteX4933" fmla="*/ 1910845 w 6630249"/>
              <a:gd name="connsiteY4933" fmla="*/ 4888682 h 6750795"/>
              <a:gd name="connsiteX4934" fmla="*/ 1931364 w 6630249"/>
              <a:gd name="connsiteY4934" fmla="*/ 4845079 h 6750795"/>
              <a:gd name="connsiteX4935" fmla="*/ 1951883 w 6630249"/>
              <a:gd name="connsiteY4935" fmla="*/ 4819430 h 6750795"/>
              <a:gd name="connsiteX4936" fmla="*/ 2033961 w 6630249"/>
              <a:gd name="connsiteY4936" fmla="*/ 4673230 h 6750795"/>
              <a:gd name="connsiteX4937" fmla="*/ 2295579 w 6630249"/>
              <a:gd name="connsiteY4937" fmla="*/ 4088435 h 6750795"/>
              <a:gd name="connsiteX4938" fmla="*/ 2282755 w 6630249"/>
              <a:gd name="connsiteY4938" fmla="*/ 4085870 h 6750795"/>
              <a:gd name="connsiteX4939" fmla="*/ 1982663 w 6630249"/>
              <a:gd name="connsiteY4939" fmla="*/ 4686055 h 6750795"/>
              <a:gd name="connsiteX4940" fmla="*/ 1974967 w 6630249"/>
              <a:gd name="connsiteY4940" fmla="*/ 4693750 h 6750795"/>
              <a:gd name="connsiteX4941" fmla="*/ 2049350 w 6630249"/>
              <a:gd name="connsiteY4941" fmla="*/ 4542421 h 6750795"/>
              <a:gd name="connsiteX4942" fmla="*/ 2234022 w 6630249"/>
              <a:gd name="connsiteY4942" fmla="*/ 4119214 h 6750795"/>
              <a:gd name="connsiteX4943" fmla="*/ 2223762 w 6630249"/>
              <a:gd name="connsiteY4943" fmla="*/ 4114084 h 6750795"/>
              <a:gd name="connsiteX4944" fmla="*/ 2157076 w 6630249"/>
              <a:gd name="connsiteY4944" fmla="*/ 4257718 h 6750795"/>
              <a:gd name="connsiteX4945" fmla="*/ 2123731 w 6630249"/>
              <a:gd name="connsiteY4945" fmla="*/ 4339794 h 6750795"/>
              <a:gd name="connsiteX4946" fmla="*/ 1998053 w 6630249"/>
              <a:gd name="connsiteY4946" fmla="*/ 4565505 h 6750795"/>
              <a:gd name="connsiteX4947" fmla="*/ 1985228 w 6630249"/>
              <a:gd name="connsiteY4947" fmla="*/ 4586024 h 6750795"/>
              <a:gd name="connsiteX4948" fmla="*/ 1982663 w 6630249"/>
              <a:gd name="connsiteY4948" fmla="*/ 4586024 h 6750795"/>
              <a:gd name="connsiteX4949" fmla="*/ 1980098 w 6630249"/>
              <a:gd name="connsiteY4949" fmla="*/ 4586024 h 6750795"/>
              <a:gd name="connsiteX4950" fmla="*/ 2177594 w 6630249"/>
              <a:gd name="connsiteY4950" fmla="*/ 4119214 h 6750795"/>
              <a:gd name="connsiteX4951" fmla="*/ 2164770 w 6630249"/>
              <a:gd name="connsiteY4951" fmla="*/ 4114084 h 6750795"/>
              <a:gd name="connsiteX4952" fmla="*/ 2113472 w 6630249"/>
              <a:gd name="connsiteY4952" fmla="*/ 4226939 h 6750795"/>
              <a:gd name="connsiteX4953" fmla="*/ 1912930 w 6630249"/>
              <a:gd name="connsiteY4953" fmla="*/ 4628385 h 6750795"/>
              <a:gd name="connsiteX4954" fmla="*/ 1885932 w 6630249"/>
              <a:gd name="connsiteY4954" fmla="*/ 4667764 h 6750795"/>
              <a:gd name="connsiteX4955" fmla="*/ 1926234 w 6630249"/>
              <a:gd name="connsiteY4955" fmla="*/ 4593719 h 6750795"/>
              <a:gd name="connsiteX4956" fmla="*/ 1941624 w 6630249"/>
              <a:gd name="connsiteY4956" fmla="*/ 4562940 h 6750795"/>
              <a:gd name="connsiteX4957" fmla="*/ 1946754 w 6630249"/>
              <a:gd name="connsiteY4957" fmla="*/ 4555246 h 6750795"/>
              <a:gd name="connsiteX4958" fmla="*/ 1939059 w 6630249"/>
              <a:gd name="connsiteY4958" fmla="*/ 4555246 h 6750795"/>
              <a:gd name="connsiteX4959" fmla="*/ 2131426 w 6630249"/>
              <a:gd name="connsiteY4959" fmla="*/ 4114084 h 6750795"/>
              <a:gd name="connsiteX4960" fmla="*/ 2118601 w 6630249"/>
              <a:gd name="connsiteY4960" fmla="*/ 4108954 h 6750795"/>
              <a:gd name="connsiteX4961" fmla="*/ 2041657 w 6630249"/>
              <a:gd name="connsiteY4961" fmla="*/ 4275672 h 6750795"/>
              <a:gd name="connsiteX4962" fmla="*/ 1951883 w 6630249"/>
              <a:gd name="connsiteY4962" fmla="*/ 4468039 h 6750795"/>
              <a:gd name="connsiteX4963" fmla="*/ 1936495 w 6630249"/>
              <a:gd name="connsiteY4963" fmla="*/ 4429566 h 6750795"/>
              <a:gd name="connsiteX4964" fmla="*/ 2059610 w 6630249"/>
              <a:gd name="connsiteY4964" fmla="*/ 4144863 h 6750795"/>
              <a:gd name="connsiteX4965" fmla="*/ 2108342 w 6630249"/>
              <a:gd name="connsiteY4965" fmla="*/ 4021748 h 6750795"/>
              <a:gd name="connsiteX4966" fmla="*/ 2113472 w 6630249"/>
              <a:gd name="connsiteY4966" fmla="*/ 4021748 h 6750795"/>
              <a:gd name="connsiteX4967" fmla="*/ 2118601 w 6630249"/>
              <a:gd name="connsiteY4967" fmla="*/ 4021748 h 6750795"/>
              <a:gd name="connsiteX4968" fmla="*/ 2118601 w 6630249"/>
              <a:gd name="connsiteY4968" fmla="*/ 4016618 h 6750795"/>
              <a:gd name="connsiteX4969" fmla="*/ 2203243 w 6630249"/>
              <a:gd name="connsiteY4969" fmla="*/ 3826816 h 6750795"/>
              <a:gd name="connsiteX4970" fmla="*/ 2175029 w 6630249"/>
              <a:gd name="connsiteY4970" fmla="*/ 3914022 h 6750795"/>
              <a:gd name="connsiteX4971" fmla="*/ 2146815 w 6630249"/>
              <a:gd name="connsiteY4971" fmla="*/ 4011488 h 6750795"/>
              <a:gd name="connsiteX4972" fmla="*/ 2141686 w 6630249"/>
              <a:gd name="connsiteY4972" fmla="*/ 4034572 h 6750795"/>
              <a:gd name="connsiteX4973" fmla="*/ 2157076 w 6630249"/>
              <a:gd name="connsiteY4973" fmla="*/ 4016618 h 6750795"/>
              <a:gd name="connsiteX4974" fmla="*/ 2213502 w 6630249"/>
              <a:gd name="connsiteY4974" fmla="*/ 3885808 h 6750795"/>
              <a:gd name="connsiteX4975" fmla="*/ 2272495 w 6630249"/>
              <a:gd name="connsiteY4975" fmla="*/ 3754999 h 6750795"/>
              <a:gd name="connsiteX4976" fmla="*/ 2241716 w 6630249"/>
              <a:gd name="connsiteY4976" fmla="*/ 3862724 h 6750795"/>
              <a:gd name="connsiteX4977" fmla="*/ 2216067 w 6630249"/>
              <a:gd name="connsiteY4977" fmla="*/ 3980709 h 6750795"/>
              <a:gd name="connsiteX4978" fmla="*/ 2218632 w 6630249"/>
              <a:gd name="connsiteY4978" fmla="*/ 3998664 h 6750795"/>
              <a:gd name="connsiteX4979" fmla="*/ 2228892 w 6630249"/>
              <a:gd name="connsiteY4979" fmla="*/ 3980709 h 6750795"/>
              <a:gd name="connsiteX4980" fmla="*/ 2267365 w 6630249"/>
              <a:gd name="connsiteY4980" fmla="*/ 3857595 h 6750795"/>
              <a:gd name="connsiteX4981" fmla="*/ 2339182 w 6630249"/>
              <a:gd name="connsiteY4981" fmla="*/ 3696006 h 6750795"/>
              <a:gd name="connsiteX4982" fmla="*/ 2295579 w 6630249"/>
              <a:gd name="connsiteY4982" fmla="*/ 3862724 h 6750795"/>
              <a:gd name="connsiteX4983" fmla="*/ 2280190 w 6630249"/>
              <a:gd name="connsiteY4983" fmla="*/ 3934541 h 6750795"/>
              <a:gd name="connsiteX4984" fmla="*/ 2293014 w 6630249"/>
              <a:gd name="connsiteY4984" fmla="*/ 3939671 h 6750795"/>
              <a:gd name="connsiteX4985" fmla="*/ 2367396 w 6630249"/>
              <a:gd name="connsiteY4985" fmla="*/ 3680617 h 6750795"/>
              <a:gd name="connsiteX4986" fmla="*/ 2375091 w 6630249"/>
              <a:gd name="connsiteY4986" fmla="*/ 3675487 h 6750795"/>
              <a:gd name="connsiteX4987" fmla="*/ 2359701 w 6630249"/>
              <a:gd name="connsiteY4987" fmla="*/ 3652403 h 6750795"/>
              <a:gd name="connsiteX4988" fmla="*/ 2359701 w 6630249"/>
              <a:gd name="connsiteY4988" fmla="*/ 3649838 h 6750795"/>
              <a:gd name="connsiteX4989" fmla="*/ 2100647 w 6630249"/>
              <a:gd name="connsiteY4989" fmla="*/ 3898633 h 6750795"/>
              <a:gd name="connsiteX4990" fmla="*/ 2051916 w 6630249"/>
              <a:gd name="connsiteY4990" fmla="*/ 3957625 h 6750795"/>
              <a:gd name="connsiteX4991" fmla="*/ 1985228 w 6630249"/>
              <a:gd name="connsiteY4991" fmla="*/ 4060221 h 6750795"/>
              <a:gd name="connsiteX4992" fmla="*/ 1892891 w 6630249"/>
              <a:gd name="connsiteY4992" fmla="*/ 4211550 h 6750795"/>
              <a:gd name="connsiteX4993" fmla="*/ 1846723 w 6630249"/>
              <a:gd name="connsiteY4993" fmla="*/ 4283367 h 6750795"/>
              <a:gd name="connsiteX4994" fmla="*/ 1836463 w 6630249"/>
              <a:gd name="connsiteY4994" fmla="*/ 4306451 h 6750795"/>
              <a:gd name="connsiteX4995" fmla="*/ 1736432 w 6630249"/>
              <a:gd name="connsiteY4995" fmla="*/ 4229504 h 6750795"/>
              <a:gd name="connsiteX4996" fmla="*/ 1733868 w 6630249"/>
              <a:gd name="connsiteY4996" fmla="*/ 4229504 h 6750795"/>
              <a:gd name="connsiteX4997" fmla="*/ 1731303 w 6630249"/>
              <a:gd name="connsiteY4997" fmla="*/ 4232069 h 6750795"/>
              <a:gd name="connsiteX4998" fmla="*/ 1718478 w 6630249"/>
              <a:gd name="connsiteY4998" fmla="*/ 4265413 h 6750795"/>
              <a:gd name="connsiteX4999" fmla="*/ 1710783 w 6630249"/>
              <a:gd name="connsiteY4999" fmla="*/ 4255153 h 6750795"/>
              <a:gd name="connsiteX5000" fmla="*/ 1631272 w 6630249"/>
              <a:gd name="connsiteY5000" fmla="*/ 4206420 h 6750795"/>
              <a:gd name="connsiteX5001" fmla="*/ 1605623 w 6630249"/>
              <a:gd name="connsiteY5001" fmla="*/ 4211550 h 6750795"/>
              <a:gd name="connsiteX5002" fmla="*/ 1577409 w 6630249"/>
              <a:gd name="connsiteY5002" fmla="*/ 4214115 h 6750795"/>
              <a:gd name="connsiteX5003" fmla="*/ 1564585 w 6630249"/>
              <a:gd name="connsiteY5003" fmla="*/ 4198725 h 6750795"/>
              <a:gd name="connsiteX5004" fmla="*/ 1544065 w 6630249"/>
              <a:gd name="connsiteY5004" fmla="*/ 4178206 h 6750795"/>
              <a:gd name="connsiteX5005" fmla="*/ 1541500 w 6630249"/>
              <a:gd name="connsiteY5005" fmla="*/ 4178206 h 6750795"/>
              <a:gd name="connsiteX5006" fmla="*/ 1538936 w 6630249"/>
              <a:gd name="connsiteY5006" fmla="*/ 4178206 h 6750795"/>
              <a:gd name="connsiteX5007" fmla="*/ 1469683 w 6630249"/>
              <a:gd name="connsiteY5007" fmla="*/ 4155122 h 6750795"/>
              <a:gd name="connsiteX5008" fmla="*/ 1444035 w 6630249"/>
              <a:gd name="connsiteY5008" fmla="*/ 4139733 h 6750795"/>
              <a:gd name="connsiteX5009" fmla="*/ 1438905 w 6630249"/>
              <a:gd name="connsiteY5009" fmla="*/ 4137168 h 6750795"/>
              <a:gd name="connsiteX5010" fmla="*/ 1436340 w 6630249"/>
              <a:gd name="connsiteY5010" fmla="*/ 4142298 h 6750795"/>
              <a:gd name="connsiteX5011" fmla="*/ 1264492 w 6630249"/>
              <a:gd name="connsiteY5011" fmla="*/ 4134603 h 6750795"/>
              <a:gd name="connsiteX5012" fmla="*/ 1261927 w 6630249"/>
              <a:gd name="connsiteY5012" fmla="*/ 4132038 h 6750795"/>
              <a:gd name="connsiteX5013" fmla="*/ 1259362 w 6630249"/>
              <a:gd name="connsiteY5013" fmla="*/ 4134603 h 6750795"/>
              <a:gd name="connsiteX5014" fmla="*/ 1241408 w 6630249"/>
              <a:gd name="connsiteY5014" fmla="*/ 4157687 h 6750795"/>
              <a:gd name="connsiteX5015" fmla="*/ 1220889 w 6630249"/>
              <a:gd name="connsiteY5015" fmla="*/ 4149992 h 6750795"/>
              <a:gd name="connsiteX5016" fmla="*/ 1177286 w 6630249"/>
              <a:gd name="connsiteY5016" fmla="*/ 4137168 h 6750795"/>
              <a:gd name="connsiteX5017" fmla="*/ 1305530 w 6630249"/>
              <a:gd name="connsiteY5017" fmla="*/ 4111519 h 6750795"/>
              <a:gd name="connsiteX5018" fmla="*/ 800246 w 6630249"/>
              <a:gd name="connsiteY5018" fmla="*/ 3890938 h 6750795"/>
              <a:gd name="connsiteX5019" fmla="*/ 818201 w 6630249"/>
              <a:gd name="connsiteY5019" fmla="*/ 3855030 h 6750795"/>
              <a:gd name="connsiteX5020" fmla="*/ 728429 w 6630249"/>
              <a:gd name="connsiteY5020" fmla="*/ 3790907 h 6750795"/>
              <a:gd name="connsiteX5021" fmla="*/ 479635 w 6630249"/>
              <a:gd name="connsiteY5021" fmla="*/ 3734480 h 6750795"/>
              <a:gd name="connsiteX5022" fmla="*/ 554017 w 6630249"/>
              <a:gd name="connsiteY5022" fmla="*/ 3657533 h 6750795"/>
              <a:gd name="connsiteX5023" fmla="*/ 371909 w 6630249"/>
              <a:gd name="connsiteY5023" fmla="*/ 3529288 h 6750795"/>
              <a:gd name="connsiteX5024" fmla="*/ 325741 w 6630249"/>
              <a:gd name="connsiteY5024" fmla="*/ 3542113 h 6750795"/>
              <a:gd name="connsiteX5025" fmla="*/ 0 w 6630249"/>
              <a:gd name="connsiteY5025" fmla="*/ 3334356 h 6750795"/>
              <a:gd name="connsiteX5026" fmla="*/ 58992 w 6630249"/>
              <a:gd name="connsiteY5026" fmla="*/ 3311275 h 6750795"/>
              <a:gd name="connsiteX5027" fmla="*/ 64122 w 6630249"/>
              <a:gd name="connsiteY5027" fmla="*/ 3362570 h 6750795"/>
              <a:gd name="connsiteX5028" fmla="*/ 117985 w 6630249"/>
              <a:gd name="connsiteY5028" fmla="*/ 3344616 h 6750795"/>
              <a:gd name="connsiteX5029" fmla="*/ 361650 w 6630249"/>
              <a:gd name="connsiteY5029" fmla="*/ 3483120 h 6750795"/>
              <a:gd name="connsiteX5030" fmla="*/ 854109 w 6630249"/>
              <a:gd name="connsiteY5030" fmla="*/ 3680617 h 6750795"/>
              <a:gd name="connsiteX5031" fmla="*/ 1015697 w 6630249"/>
              <a:gd name="connsiteY5031" fmla="*/ 3767823 h 6750795"/>
              <a:gd name="connsiteX5032" fmla="*/ 1436340 w 6630249"/>
              <a:gd name="connsiteY5032" fmla="*/ 4016618 h 6750795"/>
              <a:gd name="connsiteX5033" fmla="*/ 1508157 w 6630249"/>
              <a:gd name="connsiteY5033" fmla="*/ 4085870 h 6750795"/>
              <a:gd name="connsiteX5034" fmla="*/ 1697959 w 6630249"/>
              <a:gd name="connsiteY5034" fmla="*/ 4073046 h 6750795"/>
              <a:gd name="connsiteX5035" fmla="*/ 1841594 w 6630249"/>
              <a:gd name="connsiteY5035" fmla="*/ 4047397 h 6750795"/>
              <a:gd name="connsiteX5036" fmla="*/ 1749257 w 6630249"/>
              <a:gd name="connsiteY5036" fmla="*/ 4014053 h 6750795"/>
              <a:gd name="connsiteX5037" fmla="*/ 1764646 w 6630249"/>
              <a:gd name="connsiteY5037" fmla="*/ 3793472 h 6750795"/>
              <a:gd name="connsiteX5038" fmla="*/ 1623577 w 6630249"/>
              <a:gd name="connsiteY5038" fmla="*/ 3724220 h 6750795"/>
              <a:gd name="connsiteX5039" fmla="*/ 1669745 w 6630249"/>
              <a:gd name="connsiteY5039" fmla="*/ 3744739 h 6750795"/>
              <a:gd name="connsiteX5040" fmla="*/ 1654356 w 6630249"/>
              <a:gd name="connsiteY5040" fmla="*/ 3780648 h 6750795"/>
              <a:gd name="connsiteX5041" fmla="*/ 1700524 w 6630249"/>
              <a:gd name="connsiteY5041" fmla="*/ 3790907 h 6750795"/>
              <a:gd name="connsiteX5042" fmla="*/ 1649226 w 6630249"/>
              <a:gd name="connsiteY5042" fmla="*/ 3816556 h 6750795"/>
              <a:gd name="connsiteX5043" fmla="*/ 1638967 w 6630249"/>
              <a:gd name="connsiteY5043" fmla="*/ 3796037 h 6750795"/>
              <a:gd name="connsiteX5044" fmla="*/ 1559455 w 6630249"/>
              <a:gd name="connsiteY5044" fmla="*/ 3806297 h 6750795"/>
              <a:gd name="connsiteX5045" fmla="*/ 1485073 w 6630249"/>
              <a:gd name="connsiteY5045" fmla="*/ 3760129 h 6750795"/>
              <a:gd name="connsiteX5046" fmla="*/ 1500462 w 6630249"/>
              <a:gd name="connsiteY5046" fmla="*/ 3749869 h 6750795"/>
              <a:gd name="connsiteX5047" fmla="*/ 1449164 w 6630249"/>
              <a:gd name="connsiteY5047" fmla="*/ 3719090 h 6750795"/>
              <a:gd name="connsiteX5048" fmla="*/ 1413256 w 6630249"/>
              <a:gd name="connsiteY5048" fmla="*/ 3634449 h 6750795"/>
              <a:gd name="connsiteX5049" fmla="*/ 1410691 w 6630249"/>
              <a:gd name="connsiteY5049" fmla="*/ 3557502 h 6750795"/>
              <a:gd name="connsiteX5050" fmla="*/ 1418386 w 6630249"/>
              <a:gd name="connsiteY5050" fmla="*/ 3554937 h 6750795"/>
              <a:gd name="connsiteX5051" fmla="*/ 1397866 w 6630249"/>
              <a:gd name="connsiteY5051" fmla="*/ 3365141 h 6750795"/>
              <a:gd name="connsiteX5052" fmla="*/ 1313225 w 6630249"/>
              <a:gd name="connsiteY5052" fmla="*/ 3339489 h 6750795"/>
              <a:gd name="connsiteX5053" fmla="*/ 972094 w 6630249"/>
              <a:gd name="connsiteY5053" fmla="*/ 3244587 h 6750795"/>
              <a:gd name="connsiteX5054" fmla="*/ 1123423 w 6630249"/>
              <a:gd name="connsiteY5054" fmla="*/ 3165076 h 6750795"/>
              <a:gd name="connsiteX5055" fmla="*/ 987484 w 6630249"/>
              <a:gd name="connsiteY5055" fmla="*/ 3144557 h 6750795"/>
              <a:gd name="connsiteX5056" fmla="*/ 1066995 w 6630249"/>
              <a:gd name="connsiteY5056" fmla="*/ 3103520 h 6750795"/>
              <a:gd name="connsiteX5057" fmla="*/ 866934 w 6630249"/>
              <a:gd name="connsiteY5057" fmla="*/ 3113779 h 6750795"/>
              <a:gd name="connsiteX5058" fmla="*/ 787422 w 6630249"/>
              <a:gd name="connsiteY5058" fmla="*/ 3083001 h 6750795"/>
              <a:gd name="connsiteX5059" fmla="*/ 1202935 w 6630249"/>
              <a:gd name="connsiteY5059" fmla="*/ 2826512 h 6750795"/>
              <a:gd name="connsiteX5060" fmla="*/ 1249103 w 6630249"/>
              <a:gd name="connsiteY5060" fmla="*/ 2726481 h 6750795"/>
              <a:gd name="connsiteX5061" fmla="*/ 1208064 w 6630249"/>
              <a:gd name="connsiteY5061" fmla="*/ 2716221 h 6750795"/>
              <a:gd name="connsiteX5062" fmla="*/ 1138812 w 6630249"/>
              <a:gd name="connsiteY5062" fmla="*/ 2605930 h 6750795"/>
              <a:gd name="connsiteX5063" fmla="*/ 1108034 w 6630249"/>
              <a:gd name="connsiteY5063" fmla="*/ 2575151 h 6750795"/>
              <a:gd name="connsiteX5064" fmla="*/ 1100339 w 6630249"/>
              <a:gd name="connsiteY5064" fmla="*/ 2564892 h 6750795"/>
              <a:gd name="connsiteX5065" fmla="*/ 1036217 w 6630249"/>
              <a:gd name="connsiteY5065" fmla="*/ 2595670 h 6750795"/>
              <a:gd name="connsiteX5066" fmla="*/ 1082385 w 6630249"/>
              <a:gd name="connsiteY5066" fmla="*/ 2449470 h 6750795"/>
              <a:gd name="connsiteX5067" fmla="*/ 1061865 w 6630249"/>
              <a:gd name="connsiteY5067" fmla="*/ 2428952 h 6750795"/>
              <a:gd name="connsiteX5068" fmla="*/ 1272187 w 6630249"/>
              <a:gd name="connsiteY5068" fmla="*/ 2108341 h 6750795"/>
              <a:gd name="connsiteX5069" fmla="*/ 1267057 w 6630249"/>
              <a:gd name="connsiteY5069" fmla="*/ 2082693 h 6750795"/>
              <a:gd name="connsiteX5070" fmla="*/ 1333744 w 6630249"/>
              <a:gd name="connsiteY5070" fmla="*/ 1998051 h 6750795"/>
              <a:gd name="connsiteX5071" fmla="*/ 1300400 w 6630249"/>
              <a:gd name="connsiteY5071" fmla="*/ 2003181 h 6750795"/>
              <a:gd name="connsiteX5072" fmla="*/ 1310660 w 6630249"/>
              <a:gd name="connsiteY5072" fmla="*/ 1982662 h 6750795"/>
              <a:gd name="connsiteX5073" fmla="*/ 1251668 w 6630249"/>
              <a:gd name="connsiteY5073" fmla="*/ 2082693 h 6750795"/>
              <a:gd name="connsiteX5074" fmla="*/ 1226019 w 6630249"/>
              <a:gd name="connsiteY5074" fmla="*/ 2041654 h 6750795"/>
              <a:gd name="connsiteX5075" fmla="*/ 1115728 w 6630249"/>
              <a:gd name="connsiteY5075" fmla="*/ 2087822 h 6750795"/>
              <a:gd name="connsiteX5076" fmla="*/ 1100339 w 6630249"/>
              <a:gd name="connsiteY5076" fmla="*/ 2046783 h 6750795"/>
              <a:gd name="connsiteX5077" fmla="*/ 1059301 w 6630249"/>
              <a:gd name="connsiteY5077" fmla="*/ 2082693 h 6750795"/>
              <a:gd name="connsiteX5078" fmla="*/ 990048 w 6630249"/>
              <a:gd name="connsiteY5078" fmla="*/ 1998051 h 6750795"/>
              <a:gd name="connsiteX5079" fmla="*/ 984919 w 6630249"/>
              <a:gd name="connsiteY5079" fmla="*/ 2013442 h 6750795"/>
              <a:gd name="connsiteX5080" fmla="*/ 949010 w 6630249"/>
              <a:gd name="connsiteY5080" fmla="*/ 2018570 h 6750795"/>
              <a:gd name="connsiteX5081" fmla="*/ 969529 w 6630249"/>
              <a:gd name="connsiteY5081" fmla="*/ 1972402 h 6750795"/>
              <a:gd name="connsiteX5082" fmla="*/ 923361 w 6630249"/>
              <a:gd name="connsiteY5082" fmla="*/ 1946753 h 6750795"/>
              <a:gd name="connsiteX5083" fmla="*/ 933621 w 6630249"/>
              <a:gd name="connsiteY5083" fmla="*/ 1905715 h 6750795"/>
              <a:gd name="connsiteX5084" fmla="*/ 864369 w 6630249"/>
              <a:gd name="connsiteY5084" fmla="*/ 1841593 h 6750795"/>
              <a:gd name="connsiteX5085" fmla="*/ 915666 w 6630249"/>
              <a:gd name="connsiteY5085" fmla="*/ 1800556 h 6750795"/>
              <a:gd name="connsiteX5086" fmla="*/ 856674 w 6630249"/>
              <a:gd name="connsiteY5086" fmla="*/ 1780036 h 6750795"/>
              <a:gd name="connsiteX5087" fmla="*/ 920796 w 6630249"/>
              <a:gd name="connsiteY5087" fmla="*/ 1744128 h 6750795"/>
              <a:gd name="connsiteX5088" fmla="*/ 884888 w 6630249"/>
              <a:gd name="connsiteY5088" fmla="*/ 1674876 h 6750795"/>
              <a:gd name="connsiteX5089" fmla="*/ 954140 w 6630249"/>
              <a:gd name="connsiteY5089" fmla="*/ 1615883 h 6750795"/>
              <a:gd name="connsiteX5090" fmla="*/ 959270 w 6630249"/>
              <a:gd name="connsiteY5090" fmla="*/ 1590234 h 6750795"/>
              <a:gd name="connsiteX5091" fmla="*/ 943880 w 6630249"/>
              <a:gd name="connsiteY5091" fmla="*/ 1538935 h 6750795"/>
              <a:gd name="connsiteX5092" fmla="*/ 995178 w 6630249"/>
              <a:gd name="connsiteY5092" fmla="*/ 1497898 h 6750795"/>
              <a:gd name="connsiteX5093" fmla="*/ 964400 w 6630249"/>
              <a:gd name="connsiteY5093" fmla="*/ 1433775 h 6750795"/>
              <a:gd name="connsiteX5094" fmla="*/ 990048 w 6630249"/>
              <a:gd name="connsiteY5094" fmla="*/ 1408126 h 6750795"/>
              <a:gd name="connsiteX5095" fmla="*/ 920796 w 6630249"/>
              <a:gd name="connsiteY5095" fmla="*/ 1367088 h 6750795"/>
              <a:gd name="connsiteX5096" fmla="*/ 1010568 w 6630249"/>
              <a:gd name="connsiteY5096" fmla="*/ 1167026 h 6750795"/>
              <a:gd name="connsiteX5097" fmla="*/ 1131118 w 6630249"/>
              <a:gd name="connsiteY5097" fmla="*/ 1341439 h 6750795"/>
              <a:gd name="connsiteX5098" fmla="*/ 1210629 w 6630249"/>
              <a:gd name="connsiteY5098" fmla="*/ 1510722 h 6750795"/>
              <a:gd name="connsiteX5099" fmla="*/ 1290141 w 6630249"/>
              <a:gd name="connsiteY5099" fmla="*/ 1610753 h 6750795"/>
              <a:gd name="connsiteX5100" fmla="*/ 1359393 w 6630249"/>
              <a:gd name="connsiteY5100" fmla="*/ 1705654 h 6750795"/>
              <a:gd name="connsiteX5101" fmla="*/ 1395302 w 6630249"/>
              <a:gd name="connsiteY5101" fmla="*/ 1751823 h 6750795"/>
              <a:gd name="connsiteX5102" fmla="*/ 1423515 w 6630249"/>
              <a:gd name="connsiteY5102" fmla="*/ 1862112 h 6750795"/>
              <a:gd name="connsiteX5103" fmla="*/ 1556890 w 6630249"/>
              <a:gd name="connsiteY5103" fmla="*/ 1662051 h 6750795"/>
              <a:gd name="connsiteX5104" fmla="*/ 1731303 w 6630249"/>
              <a:gd name="connsiteY5104" fmla="*/ 1823639 h 6750795"/>
              <a:gd name="connsiteX5105" fmla="*/ 1795425 w 6630249"/>
              <a:gd name="connsiteY5105" fmla="*/ 2013442 h 6750795"/>
              <a:gd name="connsiteX5106" fmla="*/ 1626142 w 6630249"/>
              <a:gd name="connsiteY5106" fmla="*/ 2213500 h 6750795"/>
              <a:gd name="connsiteX5107" fmla="*/ 1636402 w 6630249"/>
              <a:gd name="connsiteY5107" fmla="*/ 2231456 h 6750795"/>
              <a:gd name="connsiteX5108" fmla="*/ 1705654 w 6630249"/>
              <a:gd name="connsiteY5108" fmla="*/ 2180157 h 6750795"/>
              <a:gd name="connsiteX5109" fmla="*/ 1710783 w 6630249"/>
              <a:gd name="connsiteY5109" fmla="*/ 2139120 h 6750795"/>
              <a:gd name="connsiteX5110" fmla="*/ 1826204 w 6630249"/>
              <a:gd name="connsiteY5110" fmla="*/ 2177592 h 6750795"/>
              <a:gd name="connsiteX5111" fmla="*/ 1800555 w 6630249"/>
              <a:gd name="connsiteY5111" fmla="*/ 2046783 h 6750795"/>
              <a:gd name="connsiteX5112" fmla="*/ 1810814 w 6630249"/>
              <a:gd name="connsiteY5112" fmla="*/ 2031396 h 6750795"/>
              <a:gd name="connsiteX5113" fmla="*/ 1808249 w 6630249"/>
              <a:gd name="connsiteY5113" fmla="*/ 2018570 h 6750795"/>
              <a:gd name="connsiteX5114" fmla="*/ 1882632 w 6630249"/>
              <a:gd name="connsiteY5114" fmla="*/ 1898020 h 6750795"/>
              <a:gd name="connsiteX5115" fmla="*/ 1813379 w 6630249"/>
              <a:gd name="connsiteY5115" fmla="*/ 1900585 h 6750795"/>
              <a:gd name="connsiteX5116" fmla="*/ 1800555 w 6630249"/>
              <a:gd name="connsiteY5116" fmla="*/ 1869807 h 6750795"/>
              <a:gd name="connsiteX5117" fmla="*/ 1790295 w 6630249"/>
              <a:gd name="connsiteY5117" fmla="*/ 1872371 h 6750795"/>
              <a:gd name="connsiteX5118" fmla="*/ 1780036 w 6630249"/>
              <a:gd name="connsiteY5118" fmla="*/ 1867242 h 6750795"/>
              <a:gd name="connsiteX5119" fmla="*/ 1738997 w 6630249"/>
              <a:gd name="connsiteY5119" fmla="*/ 1723609 h 6750795"/>
              <a:gd name="connsiteX5120" fmla="*/ 1749257 w 6630249"/>
              <a:gd name="connsiteY5120" fmla="*/ 1715914 h 6750795"/>
              <a:gd name="connsiteX5121" fmla="*/ 1736432 w 6630249"/>
              <a:gd name="connsiteY5121" fmla="*/ 1692830 h 6750795"/>
              <a:gd name="connsiteX5122" fmla="*/ 1723609 w 6630249"/>
              <a:gd name="connsiteY5122" fmla="*/ 1690265 h 6750795"/>
              <a:gd name="connsiteX5123" fmla="*/ 1721043 w 6630249"/>
              <a:gd name="connsiteY5123" fmla="*/ 1680005 h 6750795"/>
              <a:gd name="connsiteX5124" fmla="*/ 1733868 w 6630249"/>
              <a:gd name="connsiteY5124" fmla="*/ 1605624 h 6750795"/>
              <a:gd name="connsiteX5125" fmla="*/ 1741562 w 6630249"/>
              <a:gd name="connsiteY5125" fmla="*/ 1541501 h 6750795"/>
              <a:gd name="connsiteX5126" fmla="*/ 1733868 w 6630249"/>
              <a:gd name="connsiteY5126" fmla="*/ 1482508 h 6750795"/>
              <a:gd name="connsiteX5127" fmla="*/ 1923670 w 6630249"/>
              <a:gd name="connsiteY5127" fmla="*/ 1120858 h 6750795"/>
              <a:gd name="connsiteX5128" fmla="*/ 1923670 w 6630249"/>
              <a:gd name="connsiteY5128" fmla="*/ 1105469 h 6750795"/>
              <a:gd name="connsiteX5129" fmla="*/ 1987794 w 6630249"/>
              <a:gd name="connsiteY5129" fmla="*/ 1043911 h 6750795"/>
              <a:gd name="connsiteX5130" fmla="*/ 2026266 w 6630249"/>
              <a:gd name="connsiteY5130" fmla="*/ 972095 h 6750795"/>
              <a:gd name="connsiteX5131" fmla="*/ 2005747 w 6630249"/>
              <a:gd name="connsiteY5131" fmla="*/ 1066995 h 6750795"/>
              <a:gd name="connsiteX5132" fmla="*/ 2041657 w 6630249"/>
              <a:gd name="connsiteY5132" fmla="*/ 1018262 h 6750795"/>
              <a:gd name="connsiteX5133" fmla="*/ 2031396 w 6630249"/>
              <a:gd name="connsiteY5133" fmla="*/ 1051606 h 6750795"/>
              <a:gd name="connsiteX5134" fmla="*/ 2041657 w 6630249"/>
              <a:gd name="connsiteY5134" fmla="*/ 1049041 h 6750795"/>
              <a:gd name="connsiteX5135" fmla="*/ 2026266 w 6630249"/>
              <a:gd name="connsiteY5135" fmla="*/ 1082384 h 6750795"/>
              <a:gd name="connsiteX5136" fmla="*/ 2072434 w 6630249"/>
              <a:gd name="connsiteY5136" fmla="*/ 1013132 h 6750795"/>
              <a:gd name="connsiteX5137" fmla="*/ 2087823 w 6630249"/>
              <a:gd name="connsiteY5137" fmla="*/ 990049 h 6750795"/>
              <a:gd name="connsiteX5138" fmla="*/ 2085258 w 6630249"/>
              <a:gd name="connsiteY5138" fmla="*/ 1015697 h 6750795"/>
              <a:gd name="connsiteX5139" fmla="*/ 2103212 w 6630249"/>
              <a:gd name="connsiteY5139" fmla="*/ 1015697 h 6750795"/>
              <a:gd name="connsiteX5140" fmla="*/ 2159640 w 6630249"/>
              <a:gd name="connsiteY5140" fmla="*/ 964399 h 6750795"/>
              <a:gd name="connsiteX5141" fmla="*/ 2159640 w 6630249"/>
              <a:gd name="connsiteY5141" fmla="*/ 982355 h 6750795"/>
              <a:gd name="connsiteX5142" fmla="*/ 2210939 w 6630249"/>
              <a:gd name="connsiteY5142" fmla="*/ 936185 h 6750795"/>
              <a:gd name="connsiteX5143" fmla="*/ 2198113 w 6630249"/>
              <a:gd name="connsiteY5143" fmla="*/ 992614 h 6750795"/>
              <a:gd name="connsiteX5144" fmla="*/ 2221198 w 6630249"/>
              <a:gd name="connsiteY5144" fmla="*/ 949009 h 6750795"/>
              <a:gd name="connsiteX5145" fmla="*/ 2216067 w 6630249"/>
              <a:gd name="connsiteY5145" fmla="*/ 1000308 h 6750795"/>
              <a:gd name="connsiteX5146" fmla="*/ 2244281 w 6630249"/>
              <a:gd name="connsiteY5146" fmla="*/ 954139 h 6750795"/>
              <a:gd name="connsiteX5147" fmla="*/ 2262235 w 6630249"/>
              <a:gd name="connsiteY5147" fmla="*/ 920795 h 6750795"/>
              <a:gd name="connsiteX5148" fmla="*/ 2308404 w 6630249"/>
              <a:gd name="connsiteY5148" fmla="*/ 866932 h 6750795"/>
              <a:gd name="connsiteX5149" fmla="*/ 2326358 w 6630249"/>
              <a:gd name="connsiteY5149" fmla="*/ 846413 h 6750795"/>
              <a:gd name="connsiteX5150" fmla="*/ 2339182 w 6630249"/>
              <a:gd name="connsiteY5150" fmla="*/ 856673 h 6750795"/>
              <a:gd name="connsiteX5151" fmla="*/ 2334053 w 6630249"/>
              <a:gd name="connsiteY5151" fmla="*/ 841284 h 6750795"/>
              <a:gd name="connsiteX5152" fmla="*/ 2344312 w 6630249"/>
              <a:gd name="connsiteY5152" fmla="*/ 856673 h 6750795"/>
              <a:gd name="connsiteX5153" fmla="*/ 2390482 w 6630249"/>
              <a:gd name="connsiteY5153" fmla="*/ 887452 h 6750795"/>
              <a:gd name="connsiteX5154" fmla="*/ 2377657 w 6630249"/>
              <a:gd name="connsiteY5154" fmla="*/ 872062 h 6750795"/>
              <a:gd name="connsiteX5155" fmla="*/ 2380221 w 6630249"/>
              <a:gd name="connsiteY5155" fmla="*/ 859238 h 6750795"/>
              <a:gd name="connsiteX5156" fmla="*/ 2364831 w 6630249"/>
              <a:gd name="connsiteY5156" fmla="*/ 869497 h 6750795"/>
              <a:gd name="connsiteX5157" fmla="*/ 2372526 w 6630249"/>
              <a:gd name="connsiteY5157" fmla="*/ 851543 h 6750795"/>
              <a:gd name="connsiteX5158" fmla="*/ 2367396 w 6630249"/>
              <a:gd name="connsiteY5158" fmla="*/ 861803 h 6750795"/>
              <a:gd name="connsiteX5159" fmla="*/ 2375091 w 6630249"/>
              <a:gd name="connsiteY5159" fmla="*/ 848978 h 6750795"/>
              <a:gd name="connsiteX5160" fmla="*/ 2372526 w 6630249"/>
              <a:gd name="connsiteY5160" fmla="*/ 823329 h 6750795"/>
              <a:gd name="connsiteX5161" fmla="*/ 2362266 w 6630249"/>
              <a:gd name="connsiteY5161" fmla="*/ 854108 h 6750795"/>
              <a:gd name="connsiteX5162" fmla="*/ 2344312 w 6630249"/>
              <a:gd name="connsiteY5162" fmla="*/ 823329 h 6750795"/>
              <a:gd name="connsiteX5163" fmla="*/ 2354572 w 6630249"/>
              <a:gd name="connsiteY5163" fmla="*/ 823329 h 6750795"/>
              <a:gd name="connsiteX5164" fmla="*/ 2372526 w 6630249"/>
              <a:gd name="connsiteY5164" fmla="*/ 777161 h 6750795"/>
              <a:gd name="connsiteX5165" fmla="*/ 2380221 w 6630249"/>
              <a:gd name="connsiteY5165" fmla="*/ 782292 h 6750795"/>
              <a:gd name="connsiteX5166" fmla="*/ 2380221 w 6630249"/>
              <a:gd name="connsiteY5166" fmla="*/ 772031 h 6750795"/>
              <a:gd name="connsiteX5167" fmla="*/ 2395611 w 6630249"/>
              <a:gd name="connsiteY5167" fmla="*/ 746384 h 6750795"/>
              <a:gd name="connsiteX5168" fmla="*/ 2400741 w 6630249"/>
              <a:gd name="connsiteY5168" fmla="*/ 748947 h 6750795"/>
              <a:gd name="connsiteX5169" fmla="*/ 2408435 w 6630249"/>
              <a:gd name="connsiteY5169" fmla="*/ 728428 h 6750795"/>
              <a:gd name="connsiteX5170" fmla="*/ 2428954 w 6630249"/>
              <a:gd name="connsiteY5170" fmla="*/ 713040 h 6750795"/>
              <a:gd name="connsiteX5171" fmla="*/ 2428954 w 6630249"/>
              <a:gd name="connsiteY5171" fmla="*/ 695086 h 6750795"/>
              <a:gd name="connsiteX5172" fmla="*/ 2446909 w 6630249"/>
              <a:gd name="connsiteY5172" fmla="*/ 689956 h 6750795"/>
              <a:gd name="connsiteX5173" fmla="*/ 2454604 w 6630249"/>
              <a:gd name="connsiteY5173" fmla="*/ 679696 h 6750795"/>
              <a:gd name="connsiteX5174" fmla="*/ 2444345 w 6630249"/>
              <a:gd name="connsiteY5174" fmla="*/ 661742 h 6750795"/>
              <a:gd name="connsiteX5175" fmla="*/ 2449474 w 6630249"/>
              <a:gd name="connsiteY5175" fmla="*/ 669437 h 6750795"/>
              <a:gd name="connsiteX5176" fmla="*/ 2480252 w 6630249"/>
              <a:gd name="connsiteY5176" fmla="*/ 615574 h 6750795"/>
              <a:gd name="connsiteX5177" fmla="*/ 2477687 w 6630249"/>
              <a:gd name="connsiteY5177" fmla="*/ 674567 h 6750795"/>
              <a:gd name="connsiteX5178" fmla="*/ 2462298 w 6630249"/>
              <a:gd name="connsiteY5178" fmla="*/ 666872 h 6750795"/>
              <a:gd name="connsiteX5179" fmla="*/ 2467428 w 6630249"/>
              <a:gd name="connsiteY5179" fmla="*/ 679696 h 6750795"/>
              <a:gd name="connsiteX5180" fmla="*/ 2452039 w 6630249"/>
              <a:gd name="connsiteY5180" fmla="*/ 682261 h 6750795"/>
              <a:gd name="connsiteX5181" fmla="*/ 2428954 w 6630249"/>
              <a:gd name="connsiteY5181" fmla="*/ 738689 h 6750795"/>
              <a:gd name="connsiteX5182" fmla="*/ 2403306 w 6630249"/>
              <a:gd name="connsiteY5182" fmla="*/ 761773 h 6750795"/>
              <a:gd name="connsiteX5183" fmla="*/ 2390482 w 6630249"/>
              <a:gd name="connsiteY5183" fmla="*/ 784856 h 6750795"/>
              <a:gd name="connsiteX5184" fmla="*/ 2387916 w 6630249"/>
              <a:gd name="connsiteY5184" fmla="*/ 836154 h 6750795"/>
              <a:gd name="connsiteX5185" fmla="*/ 2398176 w 6630249"/>
              <a:gd name="connsiteY5185" fmla="*/ 838720 h 6750795"/>
              <a:gd name="connsiteX5186" fmla="*/ 2390482 w 6630249"/>
              <a:gd name="connsiteY5186" fmla="*/ 859238 h 6750795"/>
              <a:gd name="connsiteX5187" fmla="*/ 2405870 w 6630249"/>
              <a:gd name="connsiteY5187" fmla="*/ 856673 h 6750795"/>
              <a:gd name="connsiteX5188" fmla="*/ 2393046 w 6630249"/>
              <a:gd name="connsiteY5188" fmla="*/ 874627 h 6750795"/>
              <a:gd name="connsiteX5189" fmla="*/ 2413565 w 6630249"/>
              <a:gd name="connsiteY5189" fmla="*/ 928490 h 6750795"/>
              <a:gd name="connsiteX5190" fmla="*/ 2423825 w 6630249"/>
              <a:gd name="connsiteY5190" fmla="*/ 918230 h 6750795"/>
              <a:gd name="connsiteX5191" fmla="*/ 2449474 w 6630249"/>
              <a:gd name="connsiteY5191" fmla="*/ 918230 h 6750795"/>
              <a:gd name="connsiteX5192" fmla="*/ 2498207 w 6630249"/>
              <a:gd name="connsiteY5192" fmla="*/ 982355 h 6750795"/>
              <a:gd name="connsiteX5193" fmla="*/ 2503336 w 6630249"/>
              <a:gd name="connsiteY5193" fmla="*/ 1005439 h 6750795"/>
              <a:gd name="connsiteX5194" fmla="*/ 2472558 w 6630249"/>
              <a:gd name="connsiteY5194" fmla="*/ 1108033 h 6750795"/>
              <a:gd name="connsiteX5195" fmla="*/ 2434084 w 6630249"/>
              <a:gd name="connsiteY5195" fmla="*/ 1167026 h 6750795"/>
              <a:gd name="connsiteX5196" fmla="*/ 2408435 w 6630249"/>
              <a:gd name="connsiteY5196" fmla="*/ 1172156 h 6750795"/>
              <a:gd name="connsiteX5197" fmla="*/ 2409792 w 6630249"/>
              <a:gd name="connsiteY5197" fmla="*/ 1174483 h 6750795"/>
              <a:gd name="connsiteX5198" fmla="*/ 2397856 w 6630249"/>
              <a:gd name="connsiteY5198" fmla="*/ 1197484 h 6750795"/>
              <a:gd name="connsiteX5199" fmla="*/ 2390482 w 6630249"/>
              <a:gd name="connsiteY5199" fmla="*/ 1228583 h 6750795"/>
              <a:gd name="connsiteX5200" fmla="*/ 2372526 w 6630249"/>
              <a:gd name="connsiteY5200" fmla="*/ 1233713 h 6750795"/>
              <a:gd name="connsiteX5201" fmla="*/ 2385351 w 6630249"/>
              <a:gd name="connsiteY5201" fmla="*/ 1279881 h 6750795"/>
              <a:gd name="connsiteX5202" fmla="*/ 2321228 w 6630249"/>
              <a:gd name="connsiteY5202" fmla="*/ 1428645 h 6750795"/>
              <a:gd name="connsiteX5203" fmla="*/ 2316099 w 6630249"/>
              <a:gd name="connsiteY5203" fmla="*/ 1428645 h 6750795"/>
              <a:gd name="connsiteX5204" fmla="*/ 2310968 w 6630249"/>
              <a:gd name="connsiteY5204" fmla="*/ 1546631 h 6750795"/>
              <a:gd name="connsiteX5205" fmla="*/ 2239151 w 6630249"/>
              <a:gd name="connsiteY5205" fmla="*/ 1685135 h 6750795"/>
              <a:gd name="connsiteX5206" fmla="*/ 2241716 w 6630249"/>
              <a:gd name="connsiteY5206" fmla="*/ 1695395 h 6750795"/>
              <a:gd name="connsiteX5207" fmla="*/ 2236586 w 6630249"/>
              <a:gd name="connsiteY5207" fmla="*/ 1692830 h 6750795"/>
              <a:gd name="connsiteX5208" fmla="*/ 2200678 w 6630249"/>
              <a:gd name="connsiteY5208" fmla="*/ 1756952 h 6750795"/>
              <a:gd name="connsiteX5209" fmla="*/ 2205808 w 6630249"/>
              <a:gd name="connsiteY5209" fmla="*/ 1777471 h 6750795"/>
              <a:gd name="connsiteX5210" fmla="*/ 2187853 w 6630249"/>
              <a:gd name="connsiteY5210" fmla="*/ 1831334 h 6750795"/>
              <a:gd name="connsiteX5211" fmla="*/ 2188692 w 6630249"/>
              <a:gd name="connsiteY5211" fmla="*/ 1832222 h 6750795"/>
              <a:gd name="connsiteX5212" fmla="*/ 2160923 w 6630249"/>
              <a:gd name="connsiteY5212" fmla="*/ 1887761 h 6750795"/>
              <a:gd name="connsiteX5213" fmla="*/ 2131426 w 6630249"/>
              <a:gd name="connsiteY5213" fmla="*/ 1946753 h 6750795"/>
              <a:gd name="connsiteX5214" fmla="*/ 2085258 w 6630249"/>
              <a:gd name="connsiteY5214" fmla="*/ 2033960 h 6750795"/>
              <a:gd name="connsiteX5215" fmla="*/ 2085258 w 6630249"/>
              <a:gd name="connsiteY5215" fmla="*/ 2080128 h 6750795"/>
              <a:gd name="connsiteX5216" fmla="*/ 2072434 w 6630249"/>
              <a:gd name="connsiteY5216" fmla="*/ 2105776 h 6750795"/>
              <a:gd name="connsiteX5217" fmla="*/ 2139121 w 6630249"/>
              <a:gd name="connsiteY5217" fmla="*/ 2328922 h 6750795"/>
              <a:gd name="connsiteX5218" fmla="*/ 2149380 w 6630249"/>
              <a:gd name="connsiteY5218" fmla="*/ 2570021 h 6750795"/>
              <a:gd name="connsiteX5219" fmla="*/ 2149380 w 6630249"/>
              <a:gd name="connsiteY5219" fmla="*/ 2575151 h 6750795"/>
              <a:gd name="connsiteX5220" fmla="*/ 2162205 w 6630249"/>
              <a:gd name="connsiteY5220" fmla="*/ 2575151 h 6750795"/>
              <a:gd name="connsiteX5221" fmla="*/ 2149380 w 6630249"/>
              <a:gd name="connsiteY5221" fmla="*/ 2585411 h 6750795"/>
              <a:gd name="connsiteX5222" fmla="*/ 2133991 w 6630249"/>
              <a:gd name="connsiteY5222" fmla="*/ 2634144 h 6750795"/>
              <a:gd name="connsiteX5223" fmla="*/ 2162205 w 6630249"/>
              <a:gd name="connsiteY5223" fmla="*/ 2634144 h 6750795"/>
              <a:gd name="connsiteX5224" fmla="*/ 2177594 w 6630249"/>
              <a:gd name="connsiteY5224" fmla="*/ 2598235 h 6750795"/>
              <a:gd name="connsiteX5225" fmla="*/ 2223762 w 6630249"/>
              <a:gd name="connsiteY5225" fmla="*/ 2582846 h 6750795"/>
              <a:gd name="connsiteX5226" fmla="*/ 2198113 w 6630249"/>
              <a:gd name="connsiteY5226" fmla="*/ 2503334 h 6750795"/>
              <a:gd name="connsiteX5227" fmla="*/ 2228892 w 6630249"/>
              <a:gd name="connsiteY5227" fmla="*/ 2503334 h 6750795"/>
              <a:gd name="connsiteX5228" fmla="*/ 2234022 w 6630249"/>
              <a:gd name="connsiteY5228" fmla="*/ 2462296 h 6750795"/>
              <a:gd name="connsiteX5229" fmla="*/ 2280190 w 6630249"/>
              <a:gd name="connsiteY5229" fmla="*/ 2436647 h 6750795"/>
              <a:gd name="connsiteX5230" fmla="*/ 2254541 w 6630249"/>
              <a:gd name="connsiteY5230" fmla="*/ 2390479 h 6750795"/>
              <a:gd name="connsiteX5231" fmla="*/ 2269930 w 6630249"/>
              <a:gd name="connsiteY5231" fmla="*/ 2354569 h 6750795"/>
              <a:gd name="connsiteX5232" fmla="*/ 2223762 w 6630249"/>
              <a:gd name="connsiteY5232" fmla="*/ 2328922 h 6750795"/>
              <a:gd name="connsiteX5233" fmla="*/ 2259671 w 6630249"/>
              <a:gd name="connsiteY5233" fmla="*/ 2234021 h 6750795"/>
              <a:gd name="connsiteX5234" fmla="*/ 2305840 w 6630249"/>
              <a:gd name="connsiteY5234" fmla="*/ 2187851 h 6750795"/>
              <a:gd name="connsiteX5235" fmla="*/ 2285320 w 6630249"/>
              <a:gd name="connsiteY5235" fmla="*/ 2146814 h 6750795"/>
              <a:gd name="connsiteX5236" fmla="*/ 2331488 w 6630249"/>
              <a:gd name="connsiteY5236" fmla="*/ 2126297 h 6750795"/>
              <a:gd name="connsiteX5237" fmla="*/ 2375091 w 6630249"/>
              <a:gd name="connsiteY5237" fmla="*/ 2121164 h 6750795"/>
              <a:gd name="connsiteX5238" fmla="*/ 2362266 w 6630249"/>
              <a:gd name="connsiteY5238" fmla="*/ 2049349 h 6750795"/>
              <a:gd name="connsiteX5239" fmla="*/ 2357578 w 6630249"/>
              <a:gd name="connsiteY5239" fmla="*/ 2042104 h 6750795"/>
              <a:gd name="connsiteX5240" fmla="*/ 2369962 w 6630249"/>
              <a:gd name="connsiteY5240" fmla="*/ 1982662 h 6750795"/>
              <a:gd name="connsiteX5241" fmla="*/ 2372526 w 6630249"/>
              <a:gd name="connsiteY5241" fmla="*/ 1936494 h 6750795"/>
              <a:gd name="connsiteX5242" fmla="*/ 2400741 w 6630249"/>
              <a:gd name="connsiteY5242" fmla="*/ 1915975 h 6750795"/>
              <a:gd name="connsiteX5243" fmla="*/ 2421261 w 6630249"/>
              <a:gd name="connsiteY5243" fmla="*/ 1887761 h 6750795"/>
              <a:gd name="connsiteX5244" fmla="*/ 2485383 w 6630249"/>
              <a:gd name="connsiteY5244" fmla="*/ 1841593 h 6750795"/>
              <a:gd name="connsiteX5245" fmla="*/ 2523856 w 6630249"/>
              <a:gd name="connsiteY5245" fmla="*/ 1787730 h 6750795"/>
              <a:gd name="connsiteX5246" fmla="*/ 2582848 w 6630249"/>
              <a:gd name="connsiteY5246" fmla="*/ 1756952 h 6750795"/>
              <a:gd name="connsiteX5247" fmla="*/ 2608497 w 6630249"/>
              <a:gd name="connsiteY5247" fmla="*/ 1772342 h 6750795"/>
              <a:gd name="connsiteX5248" fmla="*/ 2644406 w 6630249"/>
              <a:gd name="connsiteY5248" fmla="*/ 1762082 h 6750795"/>
              <a:gd name="connsiteX5249" fmla="*/ 2644406 w 6630249"/>
              <a:gd name="connsiteY5249" fmla="*/ 1700525 h 6750795"/>
              <a:gd name="connsiteX5250" fmla="*/ 2603367 w 6630249"/>
              <a:gd name="connsiteY5250" fmla="*/ 1595364 h 6750795"/>
              <a:gd name="connsiteX5251" fmla="*/ 2520008 w 6630249"/>
              <a:gd name="connsiteY5251" fmla="*/ 1393698 h 6750795"/>
              <a:gd name="connsiteX5252" fmla="*/ 2477854 w 6630249"/>
              <a:gd name="connsiteY5252" fmla="*/ 1306569 h 6750795"/>
              <a:gd name="connsiteX5253" fmla="*/ 2519688 w 6630249"/>
              <a:gd name="connsiteY5253" fmla="*/ 1390813 h 6750795"/>
              <a:gd name="connsiteX5254" fmla="*/ 2603367 w 6630249"/>
              <a:gd name="connsiteY5254" fmla="*/ 1590234 h 6750795"/>
              <a:gd name="connsiteX5255" fmla="*/ 2646970 w 6630249"/>
              <a:gd name="connsiteY5255" fmla="*/ 1695395 h 6750795"/>
              <a:gd name="connsiteX5256" fmla="*/ 2693139 w 6630249"/>
              <a:gd name="connsiteY5256" fmla="*/ 1690265 h 6750795"/>
              <a:gd name="connsiteX5257" fmla="*/ 2688009 w 6630249"/>
              <a:gd name="connsiteY5257" fmla="*/ 1631273 h 6750795"/>
              <a:gd name="connsiteX5258" fmla="*/ 2718787 w 6630249"/>
              <a:gd name="connsiteY5258" fmla="*/ 1615883 h 6750795"/>
              <a:gd name="connsiteX5259" fmla="*/ 2793170 w 6630249"/>
              <a:gd name="connsiteY5259" fmla="*/ 1626143 h 6750795"/>
              <a:gd name="connsiteX5260" fmla="*/ 2793170 w 6630249"/>
              <a:gd name="connsiteY5260" fmla="*/ 1710784 h 6750795"/>
              <a:gd name="connsiteX5261" fmla="*/ 2800864 w 6630249"/>
              <a:gd name="connsiteY5261" fmla="*/ 1708219 h 6750795"/>
              <a:gd name="connsiteX5262" fmla="*/ 2800864 w 6630249"/>
              <a:gd name="connsiteY5262" fmla="*/ 1705654 h 6750795"/>
              <a:gd name="connsiteX5263" fmla="*/ 2813688 w 6630249"/>
              <a:gd name="connsiteY5263" fmla="*/ 1564585 h 6750795"/>
              <a:gd name="connsiteX5264" fmla="*/ 2839337 w 6630249"/>
              <a:gd name="connsiteY5264" fmla="*/ 1292706 h 6750795"/>
              <a:gd name="connsiteX5265" fmla="*/ 2831643 w 6630249"/>
              <a:gd name="connsiteY5265" fmla="*/ 1174721 h 6750795"/>
              <a:gd name="connsiteX5266" fmla="*/ 2793170 w 6630249"/>
              <a:gd name="connsiteY5266" fmla="*/ 1069559 h 6750795"/>
              <a:gd name="connsiteX5267" fmla="*/ 2723917 w 6630249"/>
              <a:gd name="connsiteY5267" fmla="*/ 869497 h 6750795"/>
              <a:gd name="connsiteX5268" fmla="*/ 2567459 w 6630249"/>
              <a:gd name="connsiteY5268" fmla="*/ 497589 h 6750795"/>
              <a:gd name="connsiteX5269" fmla="*/ 2729048 w 6630249"/>
              <a:gd name="connsiteY5269" fmla="*/ 866932 h 6750795"/>
              <a:gd name="connsiteX5270" fmla="*/ 2798299 w 6630249"/>
              <a:gd name="connsiteY5270" fmla="*/ 1066995 h 6750795"/>
              <a:gd name="connsiteX5271" fmla="*/ 2829078 w 6630249"/>
              <a:gd name="connsiteY5271" fmla="*/ 1149072 h 6750795"/>
              <a:gd name="connsiteX5272" fmla="*/ 2813688 w 6630249"/>
              <a:gd name="connsiteY5272" fmla="*/ 1041346 h 6750795"/>
              <a:gd name="connsiteX5273" fmla="*/ 2795734 w 6630249"/>
              <a:gd name="connsiteY5273" fmla="*/ 928490 h 6750795"/>
              <a:gd name="connsiteX5274" fmla="*/ 2793170 w 6630249"/>
              <a:gd name="connsiteY5274" fmla="*/ 923360 h 6750795"/>
              <a:gd name="connsiteX5275" fmla="*/ 2754696 w 6630249"/>
              <a:gd name="connsiteY5275" fmla="*/ 738689 h 6750795"/>
              <a:gd name="connsiteX5276" fmla="*/ 2744436 w 6630249"/>
              <a:gd name="connsiteY5276" fmla="*/ 710475 h 6750795"/>
              <a:gd name="connsiteX5277" fmla="*/ 2713658 w 6630249"/>
              <a:gd name="connsiteY5277" fmla="*/ 782292 h 6750795"/>
              <a:gd name="connsiteX5278" fmla="*/ 2721352 w 6630249"/>
              <a:gd name="connsiteY5278" fmla="*/ 684826 h 6750795"/>
              <a:gd name="connsiteX5279" fmla="*/ 2726482 w 6630249"/>
              <a:gd name="connsiteY5279" fmla="*/ 669437 h 6750795"/>
              <a:gd name="connsiteX5280" fmla="*/ 2729048 w 6630249"/>
              <a:gd name="connsiteY5280" fmla="*/ 669437 h 6750795"/>
              <a:gd name="connsiteX5281" fmla="*/ 2695703 w 6630249"/>
              <a:gd name="connsiteY5281" fmla="*/ 600185 h 6750795"/>
              <a:gd name="connsiteX5282" fmla="*/ 2646970 w 6630249"/>
              <a:gd name="connsiteY5282" fmla="*/ 512978 h 6750795"/>
              <a:gd name="connsiteX5283" fmla="*/ 2505901 w 6630249"/>
              <a:gd name="connsiteY5283" fmla="*/ 243665 h 6750795"/>
              <a:gd name="connsiteX5284" fmla="*/ 2662360 w 6630249"/>
              <a:gd name="connsiteY5284" fmla="*/ 528368 h 6750795"/>
              <a:gd name="connsiteX5285" fmla="*/ 2685069 w 6630249"/>
              <a:gd name="connsiteY5285" fmla="*/ 552064 h 6750795"/>
              <a:gd name="connsiteX5286" fmla="*/ 2703398 w 6630249"/>
              <a:gd name="connsiteY5286" fmla="*/ 584795 h 6750795"/>
              <a:gd name="connsiteX5287" fmla="*/ 2739307 w 6630249"/>
              <a:gd name="connsiteY5287" fmla="*/ 656612 h 6750795"/>
              <a:gd name="connsiteX5288" fmla="*/ 2741872 w 6630249"/>
              <a:gd name="connsiteY5288" fmla="*/ 654047 h 6750795"/>
              <a:gd name="connsiteX5289" fmla="*/ 2744436 w 6630249"/>
              <a:gd name="connsiteY5289" fmla="*/ 669437 h 6750795"/>
              <a:gd name="connsiteX5290" fmla="*/ 2754696 w 6630249"/>
              <a:gd name="connsiteY5290" fmla="*/ 697651 h 6750795"/>
              <a:gd name="connsiteX5291" fmla="*/ 2752724 w 6630249"/>
              <a:gd name="connsiteY5291" fmla="*/ 640472 h 6750795"/>
              <a:gd name="connsiteX5292" fmla="*/ 2755847 w 6630249"/>
              <a:gd name="connsiteY5292" fmla="*/ 645660 h 6750795"/>
              <a:gd name="connsiteX5293" fmla="*/ 2759827 w 6630249"/>
              <a:gd name="connsiteY5293" fmla="*/ 705345 h 6750795"/>
              <a:gd name="connsiteX5294" fmla="*/ 2785475 w 6630249"/>
              <a:gd name="connsiteY5294" fmla="*/ 787421 h 6750795"/>
              <a:gd name="connsiteX5295" fmla="*/ 2808559 w 6630249"/>
              <a:gd name="connsiteY5295" fmla="*/ 907971 h 6750795"/>
              <a:gd name="connsiteX5296" fmla="*/ 2816253 w 6630249"/>
              <a:gd name="connsiteY5296" fmla="*/ 956706 h 6750795"/>
              <a:gd name="connsiteX5297" fmla="*/ 2900895 w 6630249"/>
              <a:gd name="connsiteY5297" fmla="*/ 1084949 h 6750795"/>
              <a:gd name="connsiteX5298" fmla="*/ 2913207 w 6630249"/>
              <a:gd name="connsiteY5298" fmla="*/ 1095209 h 6750795"/>
              <a:gd name="connsiteX5299" fmla="*/ 2915643 w 6630249"/>
              <a:gd name="connsiteY5299" fmla="*/ 1107391 h 6750795"/>
              <a:gd name="connsiteX5300" fmla="*/ 2898330 w 6630249"/>
              <a:gd name="connsiteY5300" fmla="*/ 1090079 h 6750795"/>
              <a:gd name="connsiteX5301" fmla="*/ 2818818 w 6630249"/>
              <a:gd name="connsiteY5301" fmla="*/ 972095 h 6750795"/>
              <a:gd name="connsiteX5302" fmla="*/ 2829078 w 6630249"/>
              <a:gd name="connsiteY5302" fmla="*/ 1025957 h 6750795"/>
              <a:gd name="connsiteX5303" fmla="*/ 2852162 w 6630249"/>
              <a:gd name="connsiteY5303" fmla="*/ 1202934 h 6750795"/>
              <a:gd name="connsiteX5304" fmla="*/ 2867551 w 6630249"/>
              <a:gd name="connsiteY5304" fmla="*/ 1261927 h 6750795"/>
              <a:gd name="connsiteX5305" fmla="*/ 2882941 w 6630249"/>
              <a:gd name="connsiteY5305" fmla="*/ 1385042 h 6750795"/>
              <a:gd name="connsiteX5306" fmla="*/ 2888071 w 6630249"/>
              <a:gd name="connsiteY5306" fmla="*/ 1385042 h 6750795"/>
              <a:gd name="connsiteX5307" fmla="*/ 2890635 w 6630249"/>
              <a:gd name="connsiteY5307" fmla="*/ 1390172 h 6750795"/>
              <a:gd name="connsiteX5308" fmla="*/ 2882941 w 6630249"/>
              <a:gd name="connsiteY5308" fmla="*/ 1395301 h 6750795"/>
              <a:gd name="connsiteX5309" fmla="*/ 2882941 w 6630249"/>
              <a:gd name="connsiteY5309" fmla="*/ 1510722 h 6750795"/>
              <a:gd name="connsiteX5310" fmla="*/ 2880376 w 6630249"/>
              <a:gd name="connsiteY5310" fmla="*/ 1567150 h 6750795"/>
              <a:gd name="connsiteX5311" fmla="*/ 2888071 w 6630249"/>
              <a:gd name="connsiteY5311" fmla="*/ 1559456 h 6750795"/>
              <a:gd name="connsiteX5312" fmla="*/ 2880376 w 6630249"/>
              <a:gd name="connsiteY5312" fmla="*/ 1574845 h 6750795"/>
              <a:gd name="connsiteX5313" fmla="*/ 2880376 w 6630249"/>
              <a:gd name="connsiteY5313" fmla="*/ 1597178 h 6750795"/>
              <a:gd name="connsiteX5314" fmla="*/ 2888071 w 6630249"/>
              <a:gd name="connsiteY5314" fmla="*/ 1595402 h 6750795"/>
              <a:gd name="connsiteX5315" fmla="*/ 2882941 w 6630249"/>
              <a:gd name="connsiteY5315" fmla="*/ 1603097 h 6750795"/>
              <a:gd name="connsiteX5316" fmla="*/ 2880376 w 6630249"/>
              <a:gd name="connsiteY5316" fmla="*/ 1598480 h 6750795"/>
              <a:gd name="connsiteX5317" fmla="*/ 2880376 w 6630249"/>
              <a:gd name="connsiteY5317" fmla="*/ 1600494 h 6750795"/>
              <a:gd name="connsiteX5318" fmla="*/ 2880376 w 6630249"/>
              <a:gd name="connsiteY5318" fmla="*/ 1605624 h 6750795"/>
              <a:gd name="connsiteX5319" fmla="*/ 2880376 w 6630249"/>
              <a:gd name="connsiteY5319" fmla="*/ 1615883 h 6750795"/>
              <a:gd name="connsiteX5320" fmla="*/ 2885506 w 6630249"/>
              <a:gd name="connsiteY5320" fmla="*/ 1600494 h 6750795"/>
              <a:gd name="connsiteX5321" fmla="*/ 2900895 w 6630249"/>
              <a:gd name="connsiteY5321" fmla="*/ 1587669 h 6750795"/>
              <a:gd name="connsiteX5322" fmla="*/ 2939368 w 6630249"/>
              <a:gd name="connsiteY5322" fmla="*/ 1559456 h 6750795"/>
              <a:gd name="connsiteX5323" fmla="*/ 2941933 w 6630249"/>
              <a:gd name="connsiteY5323" fmla="*/ 1469683 h 6750795"/>
              <a:gd name="connsiteX5324" fmla="*/ 2934239 w 6630249"/>
              <a:gd name="connsiteY5324" fmla="*/ 1482508 h 6750795"/>
              <a:gd name="connsiteX5325" fmla="*/ 2929109 w 6630249"/>
              <a:gd name="connsiteY5325" fmla="*/ 1469683 h 6750795"/>
              <a:gd name="connsiteX5326" fmla="*/ 2926544 w 6630249"/>
              <a:gd name="connsiteY5326" fmla="*/ 1479943 h 6750795"/>
              <a:gd name="connsiteX5327" fmla="*/ 2923979 w 6630249"/>
              <a:gd name="connsiteY5327" fmla="*/ 1464554 h 6750795"/>
              <a:gd name="connsiteX5328" fmla="*/ 2934239 w 6630249"/>
              <a:gd name="connsiteY5328" fmla="*/ 1446599 h 6750795"/>
              <a:gd name="connsiteX5329" fmla="*/ 2941933 w 6630249"/>
              <a:gd name="connsiteY5329" fmla="*/ 1446599 h 6750795"/>
              <a:gd name="connsiteX5330" fmla="*/ 2923979 w 6630249"/>
              <a:gd name="connsiteY5330" fmla="*/ 1161896 h 6750795"/>
              <a:gd name="connsiteX5331" fmla="*/ 2916695 w 6630249"/>
              <a:gd name="connsiteY5331" fmla="*/ 1110911 h 6750795"/>
              <a:gd name="connsiteX5332" fmla="*/ 2924075 w 6630249"/>
              <a:gd name="connsiteY5332" fmla="*/ 1116540 h 6750795"/>
              <a:gd name="connsiteX5333" fmla="*/ 2929109 w 6630249"/>
              <a:gd name="connsiteY5333" fmla="*/ 1159331 h 6750795"/>
              <a:gd name="connsiteX5334" fmla="*/ 2947063 w 6630249"/>
              <a:gd name="connsiteY5334" fmla="*/ 1538935 h 6750795"/>
              <a:gd name="connsiteX5335" fmla="*/ 3003492 w 6630249"/>
              <a:gd name="connsiteY5335" fmla="*/ 1400431 h 6750795"/>
              <a:gd name="connsiteX5336" fmla="*/ 3024010 w 6630249"/>
              <a:gd name="connsiteY5336" fmla="*/ 1190110 h 6750795"/>
              <a:gd name="connsiteX5337" fmla="*/ 3016156 w 6630249"/>
              <a:gd name="connsiteY5337" fmla="*/ 1184271 h 6750795"/>
              <a:gd name="connsiteX5338" fmla="*/ 2993551 w 6630249"/>
              <a:gd name="connsiteY5338" fmla="*/ 1083025 h 6750795"/>
              <a:gd name="connsiteX5339" fmla="*/ 2972713 w 6630249"/>
              <a:gd name="connsiteY5339" fmla="*/ 977225 h 6750795"/>
              <a:gd name="connsiteX5340" fmla="*/ 2975277 w 6630249"/>
              <a:gd name="connsiteY5340" fmla="*/ 848978 h 6750795"/>
              <a:gd name="connsiteX5341" fmla="*/ 2995796 w 6630249"/>
              <a:gd name="connsiteY5341" fmla="*/ 720735 h 6750795"/>
              <a:gd name="connsiteX5342" fmla="*/ 2993231 w 6630249"/>
              <a:gd name="connsiteY5342" fmla="*/ 618139 h 6750795"/>
              <a:gd name="connsiteX5343" fmla="*/ 2962452 w 6630249"/>
              <a:gd name="connsiteY5343" fmla="*/ 554017 h 6750795"/>
              <a:gd name="connsiteX5344" fmla="*/ 2993231 w 6630249"/>
              <a:gd name="connsiteY5344" fmla="*/ 615574 h 6750795"/>
              <a:gd name="connsiteX5345" fmla="*/ 2967582 w 6630249"/>
              <a:gd name="connsiteY5345" fmla="*/ 492459 h 6750795"/>
              <a:gd name="connsiteX5346" fmla="*/ 2895765 w 6630249"/>
              <a:gd name="connsiteY5346" fmla="*/ 302657 h 6750795"/>
              <a:gd name="connsiteX5347" fmla="*/ 2970147 w 6630249"/>
              <a:gd name="connsiteY5347" fmla="*/ 487329 h 6750795"/>
              <a:gd name="connsiteX5348" fmla="*/ 2998361 w 6630249"/>
              <a:gd name="connsiteY5348" fmla="*/ 628398 h 6750795"/>
              <a:gd name="connsiteX5349" fmla="*/ 3000926 w 6630249"/>
              <a:gd name="connsiteY5349" fmla="*/ 633528 h 6750795"/>
              <a:gd name="connsiteX5350" fmla="*/ 2988101 w 6630249"/>
              <a:gd name="connsiteY5350" fmla="*/ 474505 h 6750795"/>
              <a:gd name="connsiteX5351" fmla="*/ 2936803 w 6630249"/>
              <a:gd name="connsiteY5351" fmla="*/ 210321 h 6750795"/>
              <a:gd name="connsiteX5352" fmla="*/ 2839337 w 6630249"/>
              <a:gd name="connsiteY5352" fmla="*/ 0 h 67507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  <a:cxn ang="0">
                <a:pos x="connsiteX4801" y="connsiteY4801"/>
              </a:cxn>
              <a:cxn ang="0">
                <a:pos x="connsiteX4802" y="connsiteY4802"/>
              </a:cxn>
              <a:cxn ang="0">
                <a:pos x="connsiteX4803" y="connsiteY4803"/>
              </a:cxn>
              <a:cxn ang="0">
                <a:pos x="connsiteX4804" y="connsiteY4804"/>
              </a:cxn>
              <a:cxn ang="0">
                <a:pos x="connsiteX4805" y="connsiteY4805"/>
              </a:cxn>
              <a:cxn ang="0">
                <a:pos x="connsiteX4806" y="connsiteY4806"/>
              </a:cxn>
              <a:cxn ang="0">
                <a:pos x="connsiteX4807" y="connsiteY4807"/>
              </a:cxn>
              <a:cxn ang="0">
                <a:pos x="connsiteX4808" y="connsiteY4808"/>
              </a:cxn>
              <a:cxn ang="0">
                <a:pos x="connsiteX4809" y="connsiteY4809"/>
              </a:cxn>
              <a:cxn ang="0">
                <a:pos x="connsiteX4810" y="connsiteY4810"/>
              </a:cxn>
              <a:cxn ang="0">
                <a:pos x="connsiteX4811" y="connsiteY4811"/>
              </a:cxn>
              <a:cxn ang="0">
                <a:pos x="connsiteX4812" y="connsiteY4812"/>
              </a:cxn>
              <a:cxn ang="0">
                <a:pos x="connsiteX4813" y="connsiteY4813"/>
              </a:cxn>
              <a:cxn ang="0">
                <a:pos x="connsiteX4814" y="connsiteY4814"/>
              </a:cxn>
              <a:cxn ang="0">
                <a:pos x="connsiteX4815" y="connsiteY4815"/>
              </a:cxn>
              <a:cxn ang="0">
                <a:pos x="connsiteX4816" y="connsiteY4816"/>
              </a:cxn>
              <a:cxn ang="0">
                <a:pos x="connsiteX4817" y="connsiteY4817"/>
              </a:cxn>
              <a:cxn ang="0">
                <a:pos x="connsiteX4818" y="connsiteY4818"/>
              </a:cxn>
              <a:cxn ang="0">
                <a:pos x="connsiteX4819" y="connsiteY4819"/>
              </a:cxn>
              <a:cxn ang="0">
                <a:pos x="connsiteX4820" y="connsiteY4820"/>
              </a:cxn>
              <a:cxn ang="0">
                <a:pos x="connsiteX4821" y="connsiteY4821"/>
              </a:cxn>
              <a:cxn ang="0">
                <a:pos x="connsiteX4822" y="connsiteY4822"/>
              </a:cxn>
              <a:cxn ang="0">
                <a:pos x="connsiteX4823" y="connsiteY4823"/>
              </a:cxn>
              <a:cxn ang="0">
                <a:pos x="connsiteX4824" y="connsiteY4824"/>
              </a:cxn>
              <a:cxn ang="0">
                <a:pos x="connsiteX4825" y="connsiteY4825"/>
              </a:cxn>
              <a:cxn ang="0">
                <a:pos x="connsiteX4826" y="connsiteY4826"/>
              </a:cxn>
              <a:cxn ang="0">
                <a:pos x="connsiteX4827" y="connsiteY4827"/>
              </a:cxn>
              <a:cxn ang="0">
                <a:pos x="connsiteX4828" y="connsiteY4828"/>
              </a:cxn>
              <a:cxn ang="0">
                <a:pos x="connsiteX4829" y="connsiteY4829"/>
              </a:cxn>
              <a:cxn ang="0">
                <a:pos x="connsiteX4830" y="connsiteY4830"/>
              </a:cxn>
              <a:cxn ang="0">
                <a:pos x="connsiteX4831" y="connsiteY4831"/>
              </a:cxn>
              <a:cxn ang="0">
                <a:pos x="connsiteX4832" y="connsiteY4832"/>
              </a:cxn>
              <a:cxn ang="0">
                <a:pos x="connsiteX4833" y="connsiteY4833"/>
              </a:cxn>
              <a:cxn ang="0">
                <a:pos x="connsiteX4834" y="connsiteY4834"/>
              </a:cxn>
              <a:cxn ang="0">
                <a:pos x="connsiteX4835" y="connsiteY4835"/>
              </a:cxn>
              <a:cxn ang="0">
                <a:pos x="connsiteX4836" y="connsiteY4836"/>
              </a:cxn>
              <a:cxn ang="0">
                <a:pos x="connsiteX4837" y="connsiteY4837"/>
              </a:cxn>
              <a:cxn ang="0">
                <a:pos x="connsiteX4838" y="connsiteY4838"/>
              </a:cxn>
              <a:cxn ang="0">
                <a:pos x="connsiteX4839" y="connsiteY4839"/>
              </a:cxn>
              <a:cxn ang="0">
                <a:pos x="connsiteX4840" y="connsiteY4840"/>
              </a:cxn>
              <a:cxn ang="0">
                <a:pos x="connsiteX4841" y="connsiteY4841"/>
              </a:cxn>
              <a:cxn ang="0">
                <a:pos x="connsiteX4842" y="connsiteY4842"/>
              </a:cxn>
              <a:cxn ang="0">
                <a:pos x="connsiteX4843" y="connsiteY4843"/>
              </a:cxn>
              <a:cxn ang="0">
                <a:pos x="connsiteX4844" y="connsiteY4844"/>
              </a:cxn>
              <a:cxn ang="0">
                <a:pos x="connsiteX4845" y="connsiteY4845"/>
              </a:cxn>
              <a:cxn ang="0">
                <a:pos x="connsiteX4846" y="connsiteY4846"/>
              </a:cxn>
              <a:cxn ang="0">
                <a:pos x="connsiteX4847" y="connsiteY4847"/>
              </a:cxn>
              <a:cxn ang="0">
                <a:pos x="connsiteX4848" y="connsiteY4848"/>
              </a:cxn>
              <a:cxn ang="0">
                <a:pos x="connsiteX4849" y="connsiteY4849"/>
              </a:cxn>
              <a:cxn ang="0">
                <a:pos x="connsiteX4850" y="connsiteY4850"/>
              </a:cxn>
              <a:cxn ang="0">
                <a:pos x="connsiteX4851" y="connsiteY4851"/>
              </a:cxn>
              <a:cxn ang="0">
                <a:pos x="connsiteX4852" y="connsiteY4852"/>
              </a:cxn>
              <a:cxn ang="0">
                <a:pos x="connsiteX4853" y="connsiteY4853"/>
              </a:cxn>
              <a:cxn ang="0">
                <a:pos x="connsiteX4854" y="connsiteY4854"/>
              </a:cxn>
              <a:cxn ang="0">
                <a:pos x="connsiteX4855" y="connsiteY4855"/>
              </a:cxn>
              <a:cxn ang="0">
                <a:pos x="connsiteX4856" y="connsiteY4856"/>
              </a:cxn>
              <a:cxn ang="0">
                <a:pos x="connsiteX4857" y="connsiteY4857"/>
              </a:cxn>
              <a:cxn ang="0">
                <a:pos x="connsiteX4858" y="connsiteY4858"/>
              </a:cxn>
              <a:cxn ang="0">
                <a:pos x="connsiteX4859" y="connsiteY4859"/>
              </a:cxn>
              <a:cxn ang="0">
                <a:pos x="connsiteX4860" y="connsiteY4860"/>
              </a:cxn>
              <a:cxn ang="0">
                <a:pos x="connsiteX4861" y="connsiteY4861"/>
              </a:cxn>
              <a:cxn ang="0">
                <a:pos x="connsiteX4862" y="connsiteY4862"/>
              </a:cxn>
              <a:cxn ang="0">
                <a:pos x="connsiteX4863" y="connsiteY4863"/>
              </a:cxn>
              <a:cxn ang="0">
                <a:pos x="connsiteX4864" y="connsiteY4864"/>
              </a:cxn>
              <a:cxn ang="0">
                <a:pos x="connsiteX4865" y="connsiteY4865"/>
              </a:cxn>
              <a:cxn ang="0">
                <a:pos x="connsiteX4866" y="connsiteY4866"/>
              </a:cxn>
              <a:cxn ang="0">
                <a:pos x="connsiteX4867" y="connsiteY4867"/>
              </a:cxn>
              <a:cxn ang="0">
                <a:pos x="connsiteX4868" y="connsiteY4868"/>
              </a:cxn>
              <a:cxn ang="0">
                <a:pos x="connsiteX4869" y="connsiteY4869"/>
              </a:cxn>
              <a:cxn ang="0">
                <a:pos x="connsiteX4870" y="connsiteY4870"/>
              </a:cxn>
              <a:cxn ang="0">
                <a:pos x="connsiteX4871" y="connsiteY4871"/>
              </a:cxn>
              <a:cxn ang="0">
                <a:pos x="connsiteX4872" y="connsiteY4872"/>
              </a:cxn>
              <a:cxn ang="0">
                <a:pos x="connsiteX4873" y="connsiteY4873"/>
              </a:cxn>
              <a:cxn ang="0">
                <a:pos x="connsiteX4874" y="connsiteY4874"/>
              </a:cxn>
              <a:cxn ang="0">
                <a:pos x="connsiteX4875" y="connsiteY4875"/>
              </a:cxn>
              <a:cxn ang="0">
                <a:pos x="connsiteX4876" y="connsiteY4876"/>
              </a:cxn>
              <a:cxn ang="0">
                <a:pos x="connsiteX4877" y="connsiteY4877"/>
              </a:cxn>
              <a:cxn ang="0">
                <a:pos x="connsiteX4878" y="connsiteY4878"/>
              </a:cxn>
              <a:cxn ang="0">
                <a:pos x="connsiteX4879" y="connsiteY4879"/>
              </a:cxn>
              <a:cxn ang="0">
                <a:pos x="connsiteX4880" y="connsiteY4880"/>
              </a:cxn>
              <a:cxn ang="0">
                <a:pos x="connsiteX4881" y="connsiteY4881"/>
              </a:cxn>
              <a:cxn ang="0">
                <a:pos x="connsiteX4882" y="connsiteY4882"/>
              </a:cxn>
              <a:cxn ang="0">
                <a:pos x="connsiteX4883" y="connsiteY4883"/>
              </a:cxn>
              <a:cxn ang="0">
                <a:pos x="connsiteX4884" y="connsiteY4884"/>
              </a:cxn>
              <a:cxn ang="0">
                <a:pos x="connsiteX4885" y="connsiteY4885"/>
              </a:cxn>
              <a:cxn ang="0">
                <a:pos x="connsiteX4886" y="connsiteY4886"/>
              </a:cxn>
              <a:cxn ang="0">
                <a:pos x="connsiteX4887" y="connsiteY4887"/>
              </a:cxn>
              <a:cxn ang="0">
                <a:pos x="connsiteX4888" y="connsiteY4888"/>
              </a:cxn>
              <a:cxn ang="0">
                <a:pos x="connsiteX4889" y="connsiteY4889"/>
              </a:cxn>
              <a:cxn ang="0">
                <a:pos x="connsiteX4890" y="connsiteY4890"/>
              </a:cxn>
              <a:cxn ang="0">
                <a:pos x="connsiteX4891" y="connsiteY4891"/>
              </a:cxn>
              <a:cxn ang="0">
                <a:pos x="connsiteX4892" y="connsiteY4892"/>
              </a:cxn>
              <a:cxn ang="0">
                <a:pos x="connsiteX4893" y="connsiteY4893"/>
              </a:cxn>
              <a:cxn ang="0">
                <a:pos x="connsiteX4894" y="connsiteY4894"/>
              </a:cxn>
              <a:cxn ang="0">
                <a:pos x="connsiteX4895" y="connsiteY4895"/>
              </a:cxn>
              <a:cxn ang="0">
                <a:pos x="connsiteX4896" y="connsiteY4896"/>
              </a:cxn>
              <a:cxn ang="0">
                <a:pos x="connsiteX4897" y="connsiteY4897"/>
              </a:cxn>
              <a:cxn ang="0">
                <a:pos x="connsiteX4898" y="connsiteY4898"/>
              </a:cxn>
              <a:cxn ang="0">
                <a:pos x="connsiteX4899" y="connsiteY4899"/>
              </a:cxn>
              <a:cxn ang="0">
                <a:pos x="connsiteX4900" y="connsiteY4900"/>
              </a:cxn>
              <a:cxn ang="0">
                <a:pos x="connsiteX4901" y="connsiteY4901"/>
              </a:cxn>
              <a:cxn ang="0">
                <a:pos x="connsiteX4902" y="connsiteY4902"/>
              </a:cxn>
              <a:cxn ang="0">
                <a:pos x="connsiteX4903" y="connsiteY4903"/>
              </a:cxn>
              <a:cxn ang="0">
                <a:pos x="connsiteX4904" y="connsiteY4904"/>
              </a:cxn>
              <a:cxn ang="0">
                <a:pos x="connsiteX4905" y="connsiteY4905"/>
              </a:cxn>
              <a:cxn ang="0">
                <a:pos x="connsiteX4906" y="connsiteY4906"/>
              </a:cxn>
              <a:cxn ang="0">
                <a:pos x="connsiteX4907" y="connsiteY4907"/>
              </a:cxn>
              <a:cxn ang="0">
                <a:pos x="connsiteX4908" y="connsiteY4908"/>
              </a:cxn>
              <a:cxn ang="0">
                <a:pos x="connsiteX4909" y="connsiteY4909"/>
              </a:cxn>
              <a:cxn ang="0">
                <a:pos x="connsiteX4910" y="connsiteY4910"/>
              </a:cxn>
              <a:cxn ang="0">
                <a:pos x="connsiteX4911" y="connsiteY4911"/>
              </a:cxn>
              <a:cxn ang="0">
                <a:pos x="connsiteX4912" y="connsiteY4912"/>
              </a:cxn>
              <a:cxn ang="0">
                <a:pos x="connsiteX4913" y="connsiteY4913"/>
              </a:cxn>
              <a:cxn ang="0">
                <a:pos x="connsiteX4914" y="connsiteY4914"/>
              </a:cxn>
              <a:cxn ang="0">
                <a:pos x="connsiteX4915" y="connsiteY4915"/>
              </a:cxn>
              <a:cxn ang="0">
                <a:pos x="connsiteX4916" y="connsiteY4916"/>
              </a:cxn>
              <a:cxn ang="0">
                <a:pos x="connsiteX4917" y="connsiteY4917"/>
              </a:cxn>
              <a:cxn ang="0">
                <a:pos x="connsiteX4918" y="connsiteY4918"/>
              </a:cxn>
              <a:cxn ang="0">
                <a:pos x="connsiteX4919" y="connsiteY4919"/>
              </a:cxn>
              <a:cxn ang="0">
                <a:pos x="connsiteX4920" y="connsiteY4920"/>
              </a:cxn>
              <a:cxn ang="0">
                <a:pos x="connsiteX4921" y="connsiteY4921"/>
              </a:cxn>
              <a:cxn ang="0">
                <a:pos x="connsiteX4922" y="connsiteY4922"/>
              </a:cxn>
              <a:cxn ang="0">
                <a:pos x="connsiteX4923" y="connsiteY4923"/>
              </a:cxn>
              <a:cxn ang="0">
                <a:pos x="connsiteX4924" y="connsiteY4924"/>
              </a:cxn>
              <a:cxn ang="0">
                <a:pos x="connsiteX4925" y="connsiteY4925"/>
              </a:cxn>
              <a:cxn ang="0">
                <a:pos x="connsiteX4926" y="connsiteY4926"/>
              </a:cxn>
              <a:cxn ang="0">
                <a:pos x="connsiteX4927" y="connsiteY4927"/>
              </a:cxn>
              <a:cxn ang="0">
                <a:pos x="connsiteX4928" y="connsiteY4928"/>
              </a:cxn>
              <a:cxn ang="0">
                <a:pos x="connsiteX4929" y="connsiteY4929"/>
              </a:cxn>
              <a:cxn ang="0">
                <a:pos x="connsiteX4930" y="connsiteY4930"/>
              </a:cxn>
              <a:cxn ang="0">
                <a:pos x="connsiteX4931" y="connsiteY4931"/>
              </a:cxn>
              <a:cxn ang="0">
                <a:pos x="connsiteX4932" y="connsiteY4932"/>
              </a:cxn>
              <a:cxn ang="0">
                <a:pos x="connsiteX4933" y="connsiteY4933"/>
              </a:cxn>
              <a:cxn ang="0">
                <a:pos x="connsiteX4934" y="connsiteY4934"/>
              </a:cxn>
              <a:cxn ang="0">
                <a:pos x="connsiteX4935" y="connsiteY4935"/>
              </a:cxn>
              <a:cxn ang="0">
                <a:pos x="connsiteX4936" y="connsiteY4936"/>
              </a:cxn>
              <a:cxn ang="0">
                <a:pos x="connsiteX4937" y="connsiteY4937"/>
              </a:cxn>
              <a:cxn ang="0">
                <a:pos x="connsiteX4938" y="connsiteY4938"/>
              </a:cxn>
              <a:cxn ang="0">
                <a:pos x="connsiteX4939" y="connsiteY4939"/>
              </a:cxn>
              <a:cxn ang="0">
                <a:pos x="connsiteX4940" y="connsiteY4940"/>
              </a:cxn>
              <a:cxn ang="0">
                <a:pos x="connsiteX4941" y="connsiteY4941"/>
              </a:cxn>
              <a:cxn ang="0">
                <a:pos x="connsiteX4942" y="connsiteY4942"/>
              </a:cxn>
              <a:cxn ang="0">
                <a:pos x="connsiteX4943" y="connsiteY4943"/>
              </a:cxn>
              <a:cxn ang="0">
                <a:pos x="connsiteX4944" y="connsiteY4944"/>
              </a:cxn>
              <a:cxn ang="0">
                <a:pos x="connsiteX4945" y="connsiteY4945"/>
              </a:cxn>
              <a:cxn ang="0">
                <a:pos x="connsiteX4946" y="connsiteY4946"/>
              </a:cxn>
              <a:cxn ang="0">
                <a:pos x="connsiteX4947" y="connsiteY4947"/>
              </a:cxn>
              <a:cxn ang="0">
                <a:pos x="connsiteX4948" y="connsiteY4948"/>
              </a:cxn>
              <a:cxn ang="0">
                <a:pos x="connsiteX4949" y="connsiteY4949"/>
              </a:cxn>
              <a:cxn ang="0">
                <a:pos x="connsiteX4950" y="connsiteY4950"/>
              </a:cxn>
              <a:cxn ang="0">
                <a:pos x="connsiteX4951" y="connsiteY4951"/>
              </a:cxn>
              <a:cxn ang="0">
                <a:pos x="connsiteX4952" y="connsiteY4952"/>
              </a:cxn>
              <a:cxn ang="0">
                <a:pos x="connsiteX4953" y="connsiteY4953"/>
              </a:cxn>
              <a:cxn ang="0">
                <a:pos x="connsiteX4954" y="connsiteY4954"/>
              </a:cxn>
              <a:cxn ang="0">
                <a:pos x="connsiteX4955" y="connsiteY4955"/>
              </a:cxn>
              <a:cxn ang="0">
                <a:pos x="connsiteX4956" y="connsiteY4956"/>
              </a:cxn>
              <a:cxn ang="0">
                <a:pos x="connsiteX4957" y="connsiteY4957"/>
              </a:cxn>
              <a:cxn ang="0">
                <a:pos x="connsiteX4958" y="connsiteY4958"/>
              </a:cxn>
              <a:cxn ang="0">
                <a:pos x="connsiteX4959" y="connsiteY4959"/>
              </a:cxn>
              <a:cxn ang="0">
                <a:pos x="connsiteX4960" y="connsiteY4960"/>
              </a:cxn>
              <a:cxn ang="0">
                <a:pos x="connsiteX4961" y="connsiteY4961"/>
              </a:cxn>
              <a:cxn ang="0">
                <a:pos x="connsiteX4962" y="connsiteY4962"/>
              </a:cxn>
              <a:cxn ang="0">
                <a:pos x="connsiteX4963" y="connsiteY4963"/>
              </a:cxn>
              <a:cxn ang="0">
                <a:pos x="connsiteX4964" y="connsiteY4964"/>
              </a:cxn>
              <a:cxn ang="0">
                <a:pos x="connsiteX4965" y="connsiteY4965"/>
              </a:cxn>
              <a:cxn ang="0">
                <a:pos x="connsiteX4966" y="connsiteY4966"/>
              </a:cxn>
              <a:cxn ang="0">
                <a:pos x="connsiteX4967" y="connsiteY4967"/>
              </a:cxn>
              <a:cxn ang="0">
                <a:pos x="connsiteX4968" y="connsiteY4968"/>
              </a:cxn>
              <a:cxn ang="0">
                <a:pos x="connsiteX4969" y="connsiteY4969"/>
              </a:cxn>
              <a:cxn ang="0">
                <a:pos x="connsiteX4970" y="connsiteY4970"/>
              </a:cxn>
              <a:cxn ang="0">
                <a:pos x="connsiteX4971" y="connsiteY4971"/>
              </a:cxn>
              <a:cxn ang="0">
                <a:pos x="connsiteX4972" y="connsiteY4972"/>
              </a:cxn>
              <a:cxn ang="0">
                <a:pos x="connsiteX4973" y="connsiteY4973"/>
              </a:cxn>
              <a:cxn ang="0">
                <a:pos x="connsiteX4974" y="connsiteY4974"/>
              </a:cxn>
              <a:cxn ang="0">
                <a:pos x="connsiteX4975" y="connsiteY4975"/>
              </a:cxn>
              <a:cxn ang="0">
                <a:pos x="connsiteX4976" y="connsiteY4976"/>
              </a:cxn>
              <a:cxn ang="0">
                <a:pos x="connsiteX4977" y="connsiteY4977"/>
              </a:cxn>
              <a:cxn ang="0">
                <a:pos x="connsiteX4978" y="connsiteY4978"/>
              </a:cxn>
              <a:cxn ang="0">
                <a:pos x="connsiteX4979" y="connsiteY4979"/>
              </a:cxn>
              <a:cxn ang="0">
                <a:pos x="connsiteX4980" y="connsiteY4980"/>
              </a:cxn>
              <a:cxn ang="0">
                <a:pos x="connsiteX4981" y="connsiteY4981"/>
              </a:cxn>
              <a:cxn ang="0">
                <a:pos x="connsiteX4982" y="connsiteY4982"/>
              </a:cxn>
              <a:cxn ang="0">
                <a:pos x="connsiteX4983" y="connsiteY4983"/>
              </a:cxn>
              <a:cxn ang="0">
                <a:pos x="connsiteX4984" y="connsiteY4984"/>
              </a:cxn>
              <a:cxn ang="0">
                <a:pos x="connsiteX4985" y="connsiteY4985"/>
              </a:cxn>
              <a:cxn ang="0">
                <a:pos x="connsiteX4986" y="connsiteY4986"/>
              </a:cxn>
              <a:cxn ang="0">
                <a:pos x="connsiteX4987" y="connsiteY4987"/>
              </a:cxn>
              <a:cxn ang="0">
                <a:pos x="connsiteX4988" y="connsiteY4988"/>
              </a:cxn>
              <a:cxn ang="0">
                <a:pos x="connsiteX4989" y="connsiteY4989"/>
              </a:cxn>
              <a:cxn ang="0">
                <a:pos x="connsiteX4990" y="connsiteY4990"/>
              </a:cxn>
              <a:cxn ang="0">
                <a:pos x="connsiteX4991" y="connsiteY4991"/>
              </a:cxn>
              <a:cxn ang="0">
                <a:pos x="connsiteX4992" y="connsiteY4992"/>
              </a:cxn>
              <a:cxn ang="0">
                <a:pos x="connsiteX4993" y="connsiteY4993"/>
              </a:cxn>
              <a:cxn ang="0">
                <a:pos x="connsiteX4994" y="connsiteY4994"/>
              </a:cxn>
              <a:cxn ang="0">
                <a:pos x="connsiteX4995" y="connsiteY4995"/>
              </a:cxn>
              <a:cxn ang="0">
                <a:pos x="connsiteX4996" y="connsiteY4996"/>
              </a:cxn>
              <a:cxn ang="0">
                <a:pos x="connsiteX4997" y="connsiteY4997"/>
              </a:cxn>
              <a:cxn ang="0">
                <a:pos x="connsiteX4998" y="connsiteY4998"/>
              </a:cxn>
              <a:cxn ang="0">
                <a:pos x="connsiteX4999" y="connsiteY4999"/>
              </a:cxn>
              <a:cxn ang="0">
                <a:pos x="connsiteX5000" y="connsiteY5000"/>
              </a:cxn>
              <a:cxn ang="0">
                <a:pos x="connsiteX5001" y="connsiteY5001"/>
              </a:cxn>
              <a:cxn ang="0">
                <a:pos x="connsiteX5002" y="connsiteY5002"/>
              </a:cxn>
              <a:cxn ang="0">
                <a:pos x="connsiteX5003" y="connsiteY5003"/>
              </a:cxn>
              <a:cxn ang="0">
                <a:pos x="connsiteX5004" y="connsiteY5004"/>
              </a:cxn>
              <a:cxn ang="0">
                <a:pos x="connsiteX5005" y="connsiteY5005"/>
              </a:cxn>
              <a:cxn ang="0">
                <a:pos x="connsiteX5006" y="connsiteY5006"/>
              </a:cxn>
              <a:cxn ang="0">
                <a:pos x="connsiteX5007" y="connsiteY5007"/>
              </a:cxn>
              <a:cxn ang="0">
                <a:pos x="connsiteX5008" y="connsiteY5008"/>
              </a:cxn>
              <a:cxn ang="0">
                <a:pos x="connsiteX5009" y="connsiteY5009"/>
              </a:cxn>
              <a:cxn ang="0">
                <a:pos x="connsiteX5010" y="connsiteY5010"/>
              </a:cxn>
              <a:cxn ang="0">
                <a:pos x="connsiteX5011" y="connsiteY5011"/>
              </a:cxn>
              <a:cxn ang="0">
                <a:pos x="connsiteX5012" y="connsiteY5012"/>
              </a:cxn>
              <a:cxn ang="0">
                <a:pos x="connsiteX5013" y="connsiteY5013"/>
              </a:cxn>
              <a:cxn ang="0">
                <a:pos x="connsiteX5014" y="connsiteY5014"/>
              </a:cxn>
              <a:cxn ang="0">
                <a:pos x="connsiteX5015" y="connsiteY5015"/>
              </a:cxn>
              <a:cxn ang="0">
                <a:pos x="connsiteX5016" y="connsiteY5016"/>
              </a:cxn>
              <a:cxn ang="0">
                <a:pos x="connsiteX5017" y="connsiteY5017"/>
              </a:cxn>
              <a:cxn ang="0">
                <a:pos x="connsiteX5018" y="connsiteY5018"/>
              </a:cxn>
              <a:cxn ang="0">
                <a:pos x="connsiteX5019" y="connsiteY5019"/>
              </a:cxn>
              <a:cxn ang="0">
                <a:pos x="connsiteX5020" y="connsiteY5020"/>
              </a:cxn>
              <a:cxn ang="0">
                <a:pos x="connsiteX5021" y="connsiteY5021"/>
              </a:cxn>
              <a:cxn ang="0">
                <a:pos x="connsiteX5022" y="connsiteY5022"/>
              </a:cxn>
              <a:cxn ang="0">
                <a:pos x="connsiteX5023" y="connsiteY5023"/>
              </a:cxn>
              <a:cxn ang="0">
                <a:pos x="connsiteX5024" y="connsiteY5024"/>
              </a:cxn>
              <a:cxn ang="0">
                <a:pos x="connsiteX5025" y="connsiteY5025"/>
              </a:cxn>
              <a:cxn ang="0">
                <a:pos x="connsiteX5026" y="connsiteY5026"/>
              </a:cxn>
              <a:cxn ang="0">
                <a:pos x="connsiteX5027" y="connsiteY5027"/>
              </a:cxn>
              <a:cxn ang="0">
                <a:pos x="connsiteX5028" y="connsiteY5028"/>
              </a:cxn>
              <a:cxn ang="0">
                <a:pos x="connsiteX5029" y="connsiteY5029"/>
              </a:cxn>
              <a:cxn ang="0">
                <a:pos x="connsiteX5030" y="connsiteY5030"/>
              </a:cxn>
              <a:cxn ang="0">
                <a:pos x="connsiteX5031" y="connsiteY5031"/>
              </a:cxn>
              <a:cxn ang="0">
                <a:pos x="connsiteX5032" y="connsiteY5032"/>
              </a:cxn>
              <a:cxn ang="0">
                <a:pos x="connsiteX5033" y="connsiteY5033"/>
              </a:cxn>
              <a:cxn ang="0">
                <a:pos x="connsiteX5034" y="connsiteY5034"/>
              </a:cxn>
              <a:cxn ang="0">
                <a:pos x="connsiteX5035" y="connsiteY5035"/>
              </a:cxn>
              <a:cxn ang="0">
                <a:pos x="connsiteX5036" y="connsiteY5036"/>
              </a:cxn>
              <a:cxn ang="0">
                <a:pos x="connsiteX5037" y="connsiteY5037"/>
              </a:cxn>
              <a:cxn ang="0">
                <a:pos x="connsiteX5038" y="connsiteY5038"/>
              </a:cxn>
              <a:cxn ang="0">
                <a:pos x="connsiteX5039" y="connsiteY5039"/>
              </a:cxn>
              <a:cxn ang="0">
                <a:pos x="connsiteX5040" y="connsiteY5040"/>
              </a:cxn>
              <a:cxn ang="0">
                <a:pos x="connsiteX5041" y="connsiteY5041"/>
              </a:cxn>
              <a:cxn ang="0">
                <a:pos x="connsiteX5042" y="connsiteY5042"/>
              </a:cxn>
              <a:cxn ang="0">
                <a:pos x="connsiteX5043" y="connsiteY5043"/>
              </a:cxn>
              <a:cxn ang="0">
                <a:pos x="connsiteX5044" y="connsiteY5044"/>
              </a:cxn>
              <a:cxn ang="0">
                <a:pos x="connsiteX5045" y="connsiteY5045"/>
              </a:cxn>
              <a:cxn ang="0">
                <a:pos x="connsiteX5046" y="connsiteY5046"/>
              </a:cxn>
              <a:cxn ang="0">
                <a:pos x="connsiteX5047" y="connsiteY5047"/>
              </a:cxn>
              <a:cxn ang="0">
                <a:pos x="connsiteX5048" y="connsiteY5048"/>
              </a:cxn>
              <a:cxn ang="0">
                <a:pos x="connsiteX5049" y="connsiteY5049"/>
              </a:cxn>
              <a:cxn ang="0">
                <a:pos x="connsiteX5050" y="connsiteY5050"/>
              </a:cxn>
              <a:cxn ang="0">
                <a:pos x="connsiteX5051" y="connsiteY5051"/>
              </a:cxn>
              <a:cxn ang="0">
                <a:pos x="connsiteX5052" y="connsiteY5052"/>
              </a:cxn>
              <a:cxn ang="0">
                <a:pos x="connsiteX5053" y="connsiteY5053"/>
              </a:cxn>
              <a:cxn ang="0">
                <a:pos x="connsiteX5054" y="connsiteY5054"/>
              </a:cxn>
              <a:cxn ang="0">
                <a:pos x="connsiteX5055" y="connsiteY5055"/>
              </a:cxn>
              <a:cxn ang="0">
                <a:pos x="connsiteX5056" y="connsiteY5056"/>
              </a:cxn>
              <a:cxn ang="0">
                <a:pos x="connsiteX5057" y="connsiteY5057"/>
              </a:cxn>
              <a:cxn ang="0">
                <a:pos x="connsiteX5058" y="connsiteY5058"/>
              </a:cxn>
              <a:cxn ang="0">
                <a:pos x="connsiteX5059" y="connsiteY5059"/>
              </a:cxn>
              <a:cxn ang="0">
                <a:pos x="connsiteX5060" y="connsiteY5060"/>
              </a:cxn>
              <a:cxn ang="0">
                <a:pos x="connsiteX5061" y="connsiteY5061"/>
              </a:cxn>
              <a:cxn ang="0">
                <a:pos x="connsiteX5062" y="connsiteY5062"/>
              </a:cxn>
              <a:cxn ang="0">
                <a:pos x="connsiteX5063" y="connsiteY5063"/>
              </a:cxn>
              <a:cxn ang="0">
                <a:pos x="connsiteX5064" y="connsiteY5064"/>
              </a:cxn>
              <a:cxn ang="0">
                <a:pos x="connsiteX5065" y="connsiteY5065"/>
              </a:cxn>
              <a:cxn ang="0">
                <a:pos x="connsiteX5066" y="connsiteY5066"/>
              </a:cxn>
              <a:cxn ang="0">
                <a:pos x="connsiteX5067" y="connsiteY5067"/>
              </a:cxn>
              <a:cxn ang="0">
                <a:pos x="connsiteX5068" y="connsiteY5068"/>
              </a:cxn>
              <a:cxn ang="0">
                <a:pos x="connsiteX5069" y="connsiteY5069"/>
              </a:cxn>
              <a:cxn ang="0">
                <a:pos x="connsiteX5070" y="connsiteY5070"/>
              </a:cxn>
              <a:cxn ang="0">
                <a:pos x="connsiteX5071" y="connsiteY5071"/>
              </a:cxn>
              <a:cxn ang="0">
                <a:pos x="connsiteX5072" y="connsiteY5072"/>
              </a:cxn>
              <a:cxn ang="0">
                <a:pos x="connsiteX5073" y="connsiteY5073"/>
              </a:cxn>
              <a:cxn ang="0">
                <a:pos x="connsiteX5074" y="connsiteY5074"/>
              </a:cxn>
              <a:cxn ang="0">
                <a:pos x="connsiteX5075" y="connsiteY5075"/>
              </a:cxn>
              <a:cxn ang="0">
                <a:pos x="connsiteX5076" y="connsiteY5076"/>
              </a:cxn>
              <a:cxn ang="0">
                <a:pos x="connsiteX5077" y="connsiteY5077"/>
              </a:cxn>
              <a:cxn ang="0">
                <a:pos x="connsiteX5078" y="connsiteY5078"/>
              </a:cxn>
              <a:cxn ang="0">
                <a:pos x="connsiteX5079" y="connsiteY5079"/>
              </a:cxn>
              <a:cxn ang="0">
                <a:pos x="connsiteX5080" y="connsiteY5080"/>
              </a:cxn>
              <a:cxn ang="0">
                <a:pos x="connsiteX5081" y="connsiteY5081"/>
              </a:cxn>
              <a:cxn ang="0">
                <a:pos x="connsiteX5082" y="connsiteY5082"/>
              </a:cxn>
              <a:cxn ang="0">
                <a:pos x="connsiteX5083" y="connsiteY5083"/>
              </a:cxn>
              <a:cxn ang="0">
                <a:pos x="connsiteX5084" y="connsiteY5084"/>
              </a:cxn>
              <a:cxn ang="0">
                <a:pos x="connsiteX5085" y="connsiteY5085"/>
              </a:cxn>
              <a:cxn ang="0">
                <a:pos x="connsiteX5086" y="connsiteY5086"/>
              </a:cxn>
              <a:cxn ang="0">
                <a:pos x="connsiteX5087" y="connsiteY5087"/>
              </a:cxn>
              <a:cxn ang="0">
                <a:pos x="connsiteX5088" y="connsiteY5088"/>
              </a:cxn>
              <a:cxn ang="0">
                <a:pos x="connsiteX5089" y="connsiteY5089"/>
              </a:cxn>
              <a:cxn ang="0">
                <a:pos x="connsiteX5090" y="connsiteY5090"/>
              </a:cxn>
              <a:cxn ang="0">
                <a:pos x="connsiteX5091" y="connsiteY5091"/>
              </a:cxn>
              <a:cxn ang="0">
                <a:pos x="connsiteX5092" y="connsiteY5092"/>
              </a:cxn>
              <a:cxn ang="0">
                <a:pos x="connsiteX5093" y="connsiteY5093"/>
              </a:cxn>
              <a:cxn ang="0">
                <a:pos x="connsiteX5094" y="connsiteY5094"/>
              </a:cxn>
              <a:cxn ang="0">
                <a:pos x="connsiteX5095" y="connsiteY5095"/>
              </a:cxn>
              <a:cxn ang="0">
                <a:pos x="connsiteX5096" y="connsiteY5096"/>
              </a:cxn>
              <a:cxn ang="0">
                <a:pos x="connsiteX5097" y="connsiteY5097"/>
              </a:cxn>
              <a:cxn ang="0">
                <a:pos x="connsiteX5098" y="connsiteY5098"/>
              </a:cxn>
              <a:cxn ang="0">
                <a:pos x="connsiteX5099" y="connsiteY5099"/>
              </a:cxn>
              <a:cxn ang="0">
                <a:pos x="connsiteX5100" y="connsiteY5100"/>
              </a:cxn>
              <a:cxn ang="0">
                <a:pos x="connsiteX5101" y="connsiteY5101"/>
              </a:cxn>
              <a:cxn ang="0">
                <a:pos x="connsiteX5102" y="connsiteY5102"/>
              </a:cxn>
              <a:cxn ang="0">
                <a:pos x="connsiteX5103" y="connsiteY5103"/>
              </a:cxn>
              <a:cxn ang="0">
                <a:pos x="connsiteX5104" y="connsiteY5104"/>
              </a:cxn>
              <a:cxn ang="0">
                <a:pos x="connsiteX5105" y="connsiteY5105"/>
              </a:cxn>
              <a:cxn ang="0">
                <a:pos x="connsiteX5106" y="connsiteY5106"/>
              </a:cxn>
              <a:cxn ang="0">
                <a:pos x="connsiteX5107" y="connsiteY5107"/>
              </a:cxn>
              <a:cxn ang="0">
                <a:pos x="connsiteX5108" y="connsiteY5108"/>
              </a:cxn>
              <a:cxn ang="0">
                <a:pos x="connsiteX5109" y="connsiteY5109"/>
              </a:cxn>
              <a:cxn ang="0">
                <a:pos x="connsiteX5110" y="connsiteY5110"/>
              </a:cxn>
              <a:cxn ang="0">
                <a:pos x="connsiteX5111" y="connsiteY5111"/>
              </a:cxn>
              <a:cxn ang="0">
                <a:pos x="connsiteX5112" y="connsiteY5112"/>
              </a:cxn>
              <a:cxn ang="0">
                <a:pos x="connsiteX5113" y="connsiteY5113"/>
              </a:cxn>
              <a:cxn ang="0">
                <a:pos x="connsiteX5114" y="connsiteY5114"/>
              </a:cxn>
              <a:cxn ang="0">
                <a:pos x="connsiteX5115" y="connsiteY5115"/>
              </a:cxn>
              <a:cxn ang="0">
                <a:pos x="connsiteX5116" y="connsiteY5116"/>
              </a:cxn>
              <a:cxn ang="0">
                <a:pos x="connsiteX5117" y="connsiteY5117"/>
              </a:cxn>
              <a:cxn ang="0">
                <a:pos x="connsiteX5118" y="connsiteY5118"/>
              </a:cxn>
              <a:cxn ang="0">
                <a:pos x="connsiteX5119" y="connsiteY5119"/>
              </a:cxn>
              <a:cxn ang="0">
                <a:pos x="connsiteX5120" y="connsiteY5120"/>
              </a:cxn>
              <a:cxn ang="0">
                <a:pos x="connsiteX5121" y="connsiteY5121"/>
              </a:cxn>
              <a:cxn ang="0">
                <a:pos x="connsiteX5122" y="connsiteY5122"/>
              </a:cxn>
              <a:cxn ang="0">
                <a:pos x="connsiteX5123" y="connsiteY5123"/>
              </a:cxn>
              <a:cxn ang="0">
                <a:pos x="connsiteX5124" y="connsiteY5124"/>
              </a:cxn>
              <a:cxn ang="0">
                <a:pos x="connsiteX5125" y="connsiteY5125"/>
              </a:cxn>
              <a:cxn ang="0">
                <a:pos x="connsiteX5126" y="connsiteY5126"/>
              </a:cxn>
              <a:cxn ang="0">
                <a:pos x="connsiteX5127" y="connsiteY5127"/>
              </a:cxn>
              <a:cxn ang="0">
                <a:pos x="connsiteX5128" y="connsiteY5128"/>
              </a:cxn>
              <a:cxn ang="0">
                <a:pos x="connsiteX5129" y="connsiteY5129"/>
              </a:cxn>
              <a:cxn ang="0">
                <a:pos x="connsiteX5130" y="connsiteY5130"/>
              </a:cxn>
              <a:cxn ang="0">
                <a:pos x="connsiteX5131" y="connsiteY5131"/>
              </a:cxn>
              <a:cxn ang="0">
                <a:pos x="connsiteX5132" y="connsiteY5132"/>
              </a:cxn>
              <a:cxn ang="0">
                <a:pos x="connsiteX5133" y="connsiteY5133"/>
              </a:cxn>
              <a:cxn ang="0">
                <a:pos x="connsiteX5134" y="connsiteY5134"/>
              </a:cxn>
              <a:cxn ang="0">
                <a:pos x="connsiteX5135" y="connsiteY5135"/>
              </a:cxn>
              <a:cxn ang="0">
                <a:pos x="connsiteX5136" y="connsiteY5136"/>
              </a:cxn>
              <a:cxn ang="0">
                <a:pos x="connsiteX5137" y="connsiteY5137"/>
              </a:cxn>
              <a:cxn ang="0">
                <a:pos x="connsiteX5138" y="connsiteY5138"/>
              </a:cxn>
              <a:cxn ang="0">
                <a:pos x="connsiteX5139" y="connsiteY5139"/>
              </a:cxn>
              <a:cxn ang="0">
                <a:pos x="connsiteX5140" y="connsiteY5140"/>
              </a:cxn>
              <a:cxn ang="0">
                <a:pos x="connsiteX5141" y="connsiteY5141"/>
              </a:cxn>
              <a:cxn ang="0">
                <a:pos x="connsiteX5142" y="connsiteY5142"/>
              </a:cxn>
              <a:cxn ang="0">
                <a:pos x="connsiteX5143" y="connsiteY5143"/>
              </a:cxn>
              <a:cxn ang="0">
                <a:pos x="connsiteX5144" y="connsiteY5144"/>
              </a:cxn>
              <a:cxn ang="0">
                <a:pos x="connsiteX5145" y="connsiteY5145"/>
              </a:cxn>
              <a:cxn ang="0">
                <a:pos x="connsiteX5146" y="connsiteY5146"/>
              </a:cxn>
              <a:cxn ang="0">
                <a:pos x="connsiteX5147" y="connsiteY5147"/>
              </a:cxn>
              <a:cxn ang="0">
                <a:pos x="connsiteX5148" y="connsiteY5148"/>
              </a:cxn>
              <a:cxn ang="0">
                <a:pos x="connsiteX5149" y="connsiteY5149"/>
              </a:cxn>
              <a:cxn ang="0">
                <a:pos x="connsiteX5150" y="connsiteY5150"/>
              </a:cxn>
              <a:cxn ang="0">
                <a:pos x="connsiteX5151" y="connsiteY5151"/>
              </a:cxn>
              <a:cxn ang="0">
                <a:pos x="connsiteX5152" y="connsiteY5152"/>
              </a:cxn>
              <a:cxn ang="0">
                <a:pos x="connsiteX5153" y="connsiteY5153"/>
              </a:cxn>
              <a:cxn ang="0">
                <a:pos x="connsiteX5154" y="connsiteY5154"/>
              </a:cxn>
              <a:cxn ang="0">
                <a:pos x="connsiteX5155" y="connsiteY5155"/>
              </a:cxn>
              <a:cxn ang="0">
                <a:pos x="connsiteX5156" y="connsiteY5156"/>
              </a:cxn>
              <a:cxn ang="0">
                <a:pos x="connsiteX5157" y="connsiteY5157"/>
              </a:cxn>
              <a:cxn ang="0">
                <a:pos x="connsiteX5158" y="connsiteY5158"/>
              </a:cxn>
              <a:cxn ang="0">
                <a:pos x="connsiteX5159" y="connsiteY5159"/>
              </a:cxn>
              <a:cxn ang="0">
                <a:pos x="connsiteX5160" y="connsiteY5160"/>
              </a:cxn>
              <a:cxn ang="0">
                <a:pos x="connsiteX5161" y="connsiteY5161"/>
              </a:cxn>
              <a:cxn ang="0">
                <a:pos x="connsiteX5162" y="connsiteY5162"/>
              </a:cxn>
              <a:cxn ang="0">
                <a:pos x="connsiteX5163" y="connsiteY5163"/>
              </a:cxn>
              <a:cxn ang="0">
                <a:pos x="connsiteX5164" y="connsiteY5164"/>
              </a:cxn>
              <a:cxn ang="0">
                <a:pos x="connsiteX5165" y="connsiteY5165"/>
              </a:cxn>
              <a:cxn ang="0">
                <a:pos x="connsiteX5166" y="connsiteY5166"/>
              </a:cxn>
              <a:cxn ang="0">
                <a:pos x="connsiteX5167" y="connsiteY5167"/>
              </a:cxn>
              <a:cxn ang="0">
                <a:pos x="connsiteX5168" y="connsiteY5168"/>
              </a:cxn>
              <a:cxn ang="0">
                <a:pos x="connsiteX5169" y="connsiteY5169"/>
              </a:cxn>
              <a:cxn ang="0">
                <a:pos x="connsiteX5170" y="connsiteY5170"/>
              </a:cxn>
              <a:cxn ang="0">
                <a:pos x="connsiteX5171" y="connsiteY5171"/>
              </a:cxn>
              <a:cxn ang="0">
                <a:pos x="connsiteX5172" y="connsiteY5172"/>
              </a:cxn>
              <a:cxn ang="0">
                <a:pos x="connsiteX5173" y="connsiteY5173"/>
              </a:cxn>
              <a:cxn ang="0">
                <a:pos x="connsiteX5174" y="connsiteY5174"/>
              </a:cxn>
              <a:cxn ang="0">
                <a:pos x="connsiteX5175" y="connsiteY5175"/>
              </a:cxn>
              <a:cxn ang="0">
                <a:pos x="connsiteX5176" y="connsiteY5176"/>
              </a:cxn>
              <a:cxn ang="0">
                <a:pos x="connsiteX5177" y="connsiteY5177"/>
              </a:cxn>
              <a:cxn ang="0">
                <a:pos x="connsiteX5178" y="connsiteY5178"/>
              </a:cxn>
              <a:cxn ang="0">
                <a:pos x="connsiteX5179" y="connsiteY5179"/>
              </a:cxn>
              <a:cxn ang="0">
                <a:pos x="connsiteX5180" y="connsiteY5180"/>
              </a:cxn>
              <a:cxn ang="0">
                <a:pos x="connsiteX5181" y="connsiteY5181"/>
              </a:cxn>
              <a:cxn ang="0">
                <a:pos x="connsiteX5182" y="connsiteY5182"/>
              </a:cxn>
              <a:cxn ang="0">
                <a:pos x="connsiteX5183" y="connsiteY5183"/>
              </a:cxn>
              <a:cxn ang="0">
                <a:pos x="connsiteX5184" y="connsiteY5184"/>
              </a:cxn>
              <a:cxn ang="0">
                <a:pos x="connsiteX5185" y="connsiteY5185"/>
              </a:cxn>
              <a:cxn ang="0">
                <a:pos x="connsiteX5186" y="connsiteY5186"/>
              </a:cxn>
              <a:cxn ang="0">
                <a:pos x="connsiteX5187" y="connsiteY5187"/>
              </a:cxn>
              <a:cxn ang="0">
                <a:pos x="connsiteX5188" y="connsiteY5188"/>
              </a:cxn>
              <a:cxn ang="0">
                <a:pos x="connsiteX5189" y="connsiteY5189"/>
              </a:cxn>
              <a:cxn ang="0">
                <a:pos x="connsiteX5190" y="connsiteY5190"/>
              </a:cxn>
              <a:cxn ang="0">
                <a:pos x="connsiteX5191" y="connsiteY5191"/>
              </a:cxn>
              <a:cxn ang="0">
                <a:pos x="connsiteX5192" y="connsiteY5192"/>
              </a:cxn>
              <a:cxn ang="0">
                <a:pos x="connsiteX5193" y="connsiteY5193"/>
              </a:cxn>
              <a:cxn ang="0">
                <a:pos x="connsiteX5194" y="connsiteY5194"/>
              </a:cxn>
              <a:cxn ang="0">
                <a:pos x="connsiteX5195" y="connsiteY5195"/>
              </a:cxn>
              <a:cxn ang="0">
                <a:pos x="connsiteX5196" y="connsiteY5196"/>
              </a:cxn>
              <a:cxn ang="0">
                <a:pos x="connsiteX5197" y="connsiteY5197"/>
              </a:cxn>
              <a:cxn ang="0">
                <a:pos x="connsiteX5198" y="connsiteY5198"/>
              </a:cxn>
              <a:cxn ang="0">
                <a:pos x="connsiteX5199" y="connsiteY5199"/>
              </a:cxn>
              <a:cxn ang="0">
                <a:pos x="connsiteX5200" y="connsiteY5200"/>
              </a:cxn>
              <a:cxn ang="0">
                <a:pos x="connsiteX5201" y="connsiteY5201"/>
              </a:cxn>
              <a:cxn ang="0">
                <a:pos x="connsiteX5202" y="connsiteY5202"/>
              </a:cxn>
              <a:cxn ang="0">
                <a:pos x="connsiteX5203" y="connsiteY5203"/>
              </a:cxn>
              <a:cxn ang="0">
                <a:pos x="connsiteX5204" y="connsiteY5204"/>
              </a:cxn>
              <a:cxn ang="0">
                <a:pos x="connsiteX5205" y="connsiteY5205"/>
              </a:cxn>
              <a:cxn ang="0">
                <a:pos x="connsiteX5206" y="connsiteY5206"/>
              </a:cxn>
              <a:cxn ang="0">
                <a:pos x="connsiteX5207" y="connsiteY5207"/>
              </a:cxn>
              <a:cxn ang="0">
                <a:pos x="connsiteX5208" y="connsiteY5208"/>
              </a:cxn>
              <a:cxn ang="0">
                <a:pos x="connsiteX5209" y="connsiteY5209"/>
              </a:cxn>
              <a:cxn ang="0">
                <a:pos x="connsiteX5210" y="connsiteY5210"/>
              </a:cxn>
              <a:cxn ang="0">
                <a:pos x="connsiteX5211" y="connsiteY5211"/>
              </a:cxn>
              <a:cxn ang="0">
                <a:pos x="connsiteX5212" y="connsiteY5212"/>
              </a:cxn>
              <a:cxn ang="0">
                <a:pos x="connsiteX5213" y="connsiteY5213"/>
              </a:cxn>
              <a:cxn ang="0">
                <a:pos x="connsiteX5214" y="connsiteY5214"/>
              </a:cxn>
              <a:cxn ang="0">
                <a:pos x="connsiteX5215" y="connsiteY5215"/>
              </a:cxn>
              <a:cxn ang="0">
                <a:pos x="connsiteX5216" y="connsiteY5216"/>
              </a:cxn>
              <a:cxn ang="0">
                <a:pos x="connsiteX5217" y="connsiteY5217"/>
              </a:cxn>
              <a:cxn ang="0">
                <a:pos x="connsiteX5218" y="connsiteY5218"/>
              </a:cxn>
              <a:cxn ang="0">
                <a:pos x="connsiteX5219" y="connsiteY5219"/>
              </a:cxn>
              <a:cxn ang="0">
                <a:pos x="connsiteX5220" y="connsiteY5220"/>
              </a:cxn>
              <a:cxn ang="0">
                <a:pos x="connsiteX5221" y="connsiteY5221"/>
              </a:cxn>
              <a:cxn ang="0">
                <a:pos x="connsiteX5222" y="connsiteY5222"/>
              </a:cxn>
              <a:cxn ang="0">
                <a:pos x="connsiteX5223" y="connsiteY5223"/>
              </a:cxn>
              <a:cxn ang="0">
                <a:pos x="connsiteX5224" y="connsiteY5224"/>
              </a:cxn>
              <a:cxn ang="0">
                <a:pos x="connsiteX5225" y="connsiteY5225"/>
              </a:cxn>
              <a:cxn ang="0">
                <a:pos x="connsiteX5226" y="connsiteY5226"/>
              </a:cxn>
              <a:cxn ang="0">
                <a:pos x="connsiteX5227" y="connsiteY5227"/>
              </a:cxn>
              <a:cxn ang="0">
                <a:pos x="connsiteX5228" y="connsiteY5228"/>
              </a:cxn>
              <a:cxn ang="0">
                <a:pos x="connsiteX5229" y="connsiteY5229"/>
              </a:cxn>
              <a:cxn ang="0">
                <a:pos x="connsiteX5230" y="connsiteY5230"/>
              </a:cxn>
              <a:cxn ang="0">
                <a:pos x="connsiteX5231" y="connsiteY5231"/>
              </a:cxn>
              <a:cxn ang="0">
                <a:pos x="connsiteX5232" y="connsiteY5232"/>
              </a:cxn>
              <a:cxn ang="0">
                <a:pos x="connsiteX5233" y="connsiteY5233"/>
              </a:cxn>
              <a:cxn ang="0">
                <a:pos x="connsiteX5234" y="connsiteY5234"/>
              </a:cxn>
              <a:cxn ang="0">
                <a:pos x="connsiteX5235" y="connsiteY5235"/>
              </a:cxn>
              <a:cxn ang="0">
                <a:pos x="connsiteX5236" y="connsiteY5236"/>
              </a:cxn>
              <a:cxn ang="0">
                <a:pos x="connsiteX5237" y="connsiteY5237"/>
              </a:cxn>
              <a:cxn ang="0">
                <a:pos x="connsiteX5238" y="connsiteY5238"/>
              </a:cxn>
              <a:cxn ang="0">
                <a:pos x="connsiteX5239" y="connsiteY5239"/>
              </a:cxn>
              <a:cxn ang="0">
                <a:pos x="connsiteX5240" y="connsiteY5240"/>
              </a:cxn>
              <a:cxn ang="0">
                <a:pos x="connsiteX5241" y="connsiteY5241"/>
              </a:cxn>
              <a:cxn ang="0">
                <a:pos x="connsiteX5242" y="connsiteY5242"/>
              </a:cxn>
              <a:cxn ang="0">
                <a:pos x="connsiteX5243" y="connsiteY5243"/>
              </a:cxn>
              <a:cxn ang="0">
                <a:pos x="connsiteX5244" y="connsiteY5244"/>
              </a:cxn>
              <a:cxn ang="0">
                <a:pos x="connsiteX5245" y="connsiteY5245"/>
              </a:cxn>
              <a:cxn ang="0">
                <a:pos x="connsiteX5246" y="connsiteY5246"/>
              </a:cxn>
              <a:cxn ang="0">
                <a:pos x="connsiteX5247" y="connsiteY5247"/>
              </a:cxn>
              <a:cxn ang="0">
                <a:pos x="connsiteX5248" y="connsiteY5248"/>
              </a:cxn>
              <a:cxn ang="0">
                <a:pos x="connsiteX5249" y="connsiteY5249"/>
              </a:cxn>
              <a:cxn ang="0">
                <a:pos x="connsiteX5250" y="connsiteY5250"/>
              </a:cxn>
              <a:cxn ang="0">
                <a:pos x="connsiteX5251" y="connsiteY5251"/>
              </a:cxn>
              <a:cxn ang="0">
                <a:pos x="connsiteX5252" y="connsiteY5252"/>
              </a:cxn>
              <a:cxn ang="0">
                <a:pos x="connsiteX5253" y="connsiteY5253"/>
              </a:cxn>
              <a:cxn ang="0">
                <a:pos x="connsiteX5254" y="connsiteY5254"/>
              </a:cxn>
              <a:cxn ang="0">
                <a:pos x="connsiteX5255" y="connsiteY5255"/>
              </a:cxn>
              <a:cxn ang="0">
                <a:pos x="connsiteX5256" y="connsiteY5256"/>
              </a:cxn>
              <a:cxn ang="0">
                <a:pos x="connsiteX5257" y="connsiteY5257"/>
              </a:cxn>
              <a:cxn ang="0">
                <a:pos x="connsiteX5258" y="connsiteY5258"/>
              </a:cxn>
              <a:cxn ang="0">
                <a:pos x="connsiteX5259" y="connsiteY5259"/>
              </a:cxn>
              <a:cxn ang="0">
                <a:pos x="connsiteX5260" y="connsiteY5260"/>
              </a:cxn>
              <a:cxn ang="0">
                <a:pos x="connsiteX5261" y="connsiteY5261"/>
              </a:cxn>
              <a:cxn ang="0">
                <a:pos x="connsiteX5262" y="connsiteY5262"/>
              </a:cxn>
              <a:cxn ang="0">
                <a:pos x="connsiteX5263" y="connsiteY5263"/>
              </a:cxn>
              <a:cxn ang="0">
                <a:pos x="connsiteX5264" y="connsiteY5264"/>
              </a:cxn>
              <a:cxn ang="0">
                <a:pos x="connsiteX5265" y="connsiteY5265"/>
              </a:cxn>
              <a:cxn ang="0">
                <a:pos x="connsiteX5266" y="connsiteY5266"/>
              </a:cxn>
              <a:cxn ang="0">
                <a:pos x="connsiteX5267" y="connsiteY5267"/>
              </a:cxn>
              <a:cxn ang="0">
                <a:pos x="connsiteX5268" y="connsiteY5268"/>
              </a:cxn>
              <a:cxn ang="0">
                <a:pos x="connsiteX5269" y="connsiteY5269"/>
              </a:cxn>
              <a:cxn ang="0">
                <a:pos x="connsiteX5270" y="connsiteY5270"/>
              </a:cxn>
              <a:cxn ang="0">
                <a:pos x="connsiteX5271" y="connsiteY5271"/>
              </a:cxn>
              <a:cxn ang="0">
                <a:pos x="connsiteX5272" y="connsiteY5272"/>
              </a:cxn>
              <a:cxn ang="0">
                <a:pos x="connsiteX5273" y="connsiteY5273"/>
              </a:cxn>
              <a:cxn ang="0">
                <a:pos x="connsiteX5274" y="connsiteY5274"/>
              </a:cxn>
              <a:cxn ang="0">
                <a:pos x="connsiteX5275" y="connsiteY5275"/>
              </a:cxn>
              <a:cxn ang="0">
                <a:pos x="connsiteX5276" y="connsiteY5276"/>
              </a:cxn>
              <a:cxn ang="0">
                <a:pos x="connsiteX5277" y="connsiteY5277"/>
              </a:cxn>
              <a:cxn ang="0">
                <a:pos x="connsiteX5278" y="connsiteY5278"/>
              </a:cxn>
              <a:cxn ang="0">
                <a:pos x="connsiteX5279" y="connsiteY5279"/>
              </a:cxn>
              <a:cxn ang="0">
                <a:pos x="connsiteX5280" y="connsiteY5280"/>
              </a:cxn>
              <a:cxn ang="0">
                <a:pos x="connsiteX5281" y="connsiteY5281"/>
              </a:cxn>
              <a:cxn ang="0">
                <a:pos x="connsiteX5282" y="connsiteY5282"/>
              </a:cxn>
              <a:cxn ang="0">
                <a:pos x="connsiteX5283" y="connsiteY5283"/>
              </a:cxn>
              <a:cxn ang="0">
                <a:pos x="connsiteX5284" y="connsiteY5284"/>
              </a:cxn>
              <a:cxn ang="0">
                <a:pos x="connsiteX5285" y="connsiteY5285"/>
              </a:cxn>
              <a:cxn ang="0">
                <a:pos x="connsiteX5286" y="connsiteY5286"/>
              </a:cxn>
              <a:cxn ang="0">
                <a:pos x="connsiteX5287" y="connsiteY5287"/>
              </a:cxn>
              <a:cxn ang="0">
                <a:pos x="connsiteX5288" y="connsiteY5288"/>
              </a:cxn>
              <a:cxn ang="0">
                <a:pos x="connsiteX5289" y="connsiteY5289"/>
              </a:cxn>
              <a:cxn ang="0">
                <a:pos x="connsiteX5290" y="connsiteY5290"/>
              </a:cxn>
              <a:cxn ang="0">
                <a:pos x="connsiteX5291" y="connsiteY5291"/>
              </a:cxn>
              <a:cxn ang="0">
                <a:pos x="connsiteX5292" y="connsiteY5292"/>
              </a:cxn>
              <a:cxn ang="0">
                <a:pos x="connsiteX5293" y="connsiteY5293"/>
              </a:cxn>
              <a:cxn ang="0">
                <a:pos x="connsiteX5294" y="connsiteY5294"/>
              </a:cxn>
              <a:cxn ang="0">
                <a:pos x="connsiteX5295" y="connsiteY5295"/>
              </a:cxn>
              <a:cxn ang="0">
                <a:pos x="connsiteX5296" y="connsiteY5296"/>
              </a:cxn>
              <a:cxn ang="0">
                <a:pos x="connsiteX5297" y="connsiteY5297"/>
              </a:cxn>
              <a:cxn ang="0">
                <a:pos x="connsiteX5298" y="connsiteY5298"/>
              </a:cxn>
              <a:cxn ang="0">
                <a:pos x="connsiteX5299" y="connsiteY5299"/>
              </a:cxn>
              <a:cxn ang="0">
                <a:pos x="connsiteX5300" y="connsiteY5300"/>
              </a:cxn>
              <a:cxn ang="0">
                <a:pos x="connsiteX5301" y="connsiteY5301"/>
              </a:cxn>
              <a:cxn ang="0">
                <a:pos x="connsiteX5302" y="connsiteY5302"/>
              </a:cxn>
              <a:cxn ang="0">
                <a:pos x="connsiteX5303" y="connsiteY5303"/>
              </a:cxn>
              <a:cxn ang="0">
                <a:pos x="connsiteX5304" y="connsiteY5304"/>
              </a:cxn>
              <a:cxn ang="0">
                <a:pos x="connsiteX5305" y="connsiteY5305"/>
              </a:cxn>
              <a:cxn ang="0">
                <a:pos x="connsiteX5306" y="connsiteY5306"/>
              </a:cxn>
              <a:cxn ang="0">
                <a:pos x="connsiteX5307" y="connsiteY5307"/>
              </a:cxn>
              <a:cxn ang="0">
                <a:pos x="connsiteX5308" y="connsiteY5308"/>
              </a:cxn>
              <a:cxn ang="0">
                <a:pos x="connsiteX5309" y="connsiteY5309"/>
              </a:cxn>
              <a:cxn ang="0">
                <a:pos x="connsiteX5310" y="connsiteY5310"/>
              </a:cxn>
              <a:cxn ang="0">
                <a:pos x="connsiteX5311" y="connsiteY5311"/>
              </a:cxn>
              <a:cxn ang="0">
                <a:pos x="connsiteX5312" y="connsiteY5312"/>
              </a:cxn>
              <a:cxn ang="0">
                <a:pos x="connsiteX5313" y="connsiteY5313"/>
              </a:cxn>
              <a:cxn ang="0">
                <a:pos x="connsiteX5314" y="connsiteY5314"/>
              </a:cxn>
              <a:cxn ang="0">
                <a:pos x="connsiteX5315" y="connsiteY5315"/>
              </a:cxn>
              <a:cxn ang="0">
                <a:pos x="connsiteX5316" y="connsiteY5316"/>
              </a:cxn>
              <a:cxn ang="0">
                <a:pos x="connsiteX5317" y="connsiteY5317"/>
              </a:cxn>
              <a:cxn ang="0">
                <a:pos x="connsiteX5318" y="connsiteY5318"/>
              </a:cxn>
              <a:cxn ang="0">
                <a:pos x="connsiteX5319" y="connsiteY5319"/>
              </a:cxn>
              <a:cxn ang="0">
                <a:pos x="connsiteX5320" y="connsiteY5320"/>
              </a:cxn>
              <a:cxn ang="0">
                <a:pos x="connsiteX5321" y="connsiteY5321"/>
              </a:cxn>
              <a:cxn ang="0">
                <a:pos x="connsiteX5322" y="connsiteY5322"/>
              </a:cxn>
              <a:cxn ang="0">
                <a:pos x="connsiteX5323" y="connsiteY5323"/>
              </a:cxn>
              <a:cxn ang="0">
                <a:pos x="connsiteX5324" y="connsiteY5324"/>
              </a:cxn>
              <a:cxn ang="0">
                <a:pos x="connsiteX5325" y="connsiteY5325"/>
              </a:cxn>
              <a:cxn ang="0">
                <a:pos x="connsiteX5326" y="connsiteY5326"/>
              </a:cxn>
              <a:cxn ang="0">
                <a:pos x="connsiteX5327" y="connsiteY5327"/>
              </a:cxn>
              <a:cxn ang="0">
                <a:pos x="connsiteX5328" y="connsiteY5328"/>
              </a:cxn>
              <a:cxn ang="0">
                <a:pos x="connsiteX5329" y="connsiteY5329"/>
              </a:cxn>
              <a:cxn ang="0">
                <a:pos x="connsiteX5330" y="connsiteY5330"/>
              </a:cxn>
              <a:cxn ang="0">
                <a:pos x="connsiteX5331" y="connsiteY5331"/>
              </a:cxn>
              <a:cxn ang="0">
                <a:pos x="connsiteX5332" y="connsiteY5332"/>
              </a:cxn>
              <a:cxn ang="0">
                <a:pos x="connsiteX5333" y="connsiteY5333"/>
              </a:cxn>
              <a:cxn ang="0">
                <a:pos x="connsiteX5334" y="connsiteY5334"/>
              </a:cxn>
              <a:cxn ang="0">
                <a:pos x="connsiteX5335" y="connsiteY5335"/>
              </a:cxn>
              <a:cxn ang="0">
                <a:pos x="connsiteX5336" y="connsiteY5336"/>
              </a:cxn>
              <a:cxn ang="0">
                <a:pos x="connsiteX5337" y="connsiteY5337"/>
              </a:cxn>
              <a:cxn ang="0">
                <a:pos x="connsiteX5338" y="connsiteY5338"/>
              </a:cxn>
              <a:cxn ang="0">
                <a:pos x="connsiteX5339" y="connsiteY5339"/>
              </a:cxn>
              <a:cxn ang="0">
                <a:pos x="connsiteX5340" y="connsiteY5340"/>
              </a:cxn>
              <a:cxn ang="0">
                <a:pos x="connsiteX5341" y="connsiteY5341"/>
              </a:cxn>
              <a:cxn ang="0">
                <a:pos x="connsiteX5342" y="connsiteY5342"/>
              </a:cxn>
              <a:cxn ang="0">
                <a:pos x="connsiteX5343" y="connsiteY5343"/>
              </a:cxn>
              <a:cxn ang="0">
                <a:pos x="connsiteX5344" y="connsiteY5344"/>
              </a:cxn>
              <a:cxn ang="0">
                <a:pos x="connsiteX5345" y="connsiteY5345"/>
              </a:cxn>
              <a:cxn ang="0">
                <a:pos x="connsiteX5346" y="connsiteY5346"/>
              </a:cxn>
              <a:cxn ang="0">
                <a:pos x="connsiteX5347" y="connsiteY5347"/>
              </a:cxn>
              <a:cxn ang="0">
                <a:pos x="connsiteX5348" y="connsiteY5348"/>
              </a:cxn>
              <a:cxn ang="0">
                <a:pos x="connsiteX5349" y="connsiteY5349"/>
              </a:cxn>
              <a:cxn ang="0">
                <a:pos x="connsiteX5350" y="connsiteY5350"/>
              </a:cxn>
              <a:cxn ang="0">
                <a:pos x="connsiteX5351" y="connsiteY5351"/>
              </a:cxn>
              <a:cxn ang="0">
                <a:pos x="connsiteX5352" y="connsiteY5352"/>
              </a:cxn>
            </a:cxnLst>
            <a:rect l="l" t="t" r="r" b="b"/>
            <a:pathLst>
              <a:path w="6630249" h="6750795">
                <a:moveTo>
                  <a:pt x="3165080" y="6730276"/>
                </a:moveTo>
                <a:cubicBezTo>
                  <a:pt x="3172774" y="6737970"/>
                  <a:pt x="3177904" y="6743100"/>
                  <a:pt x="3185599" y="6750795"/>
                </a:cubicBezTo>
                <a:cubicBezTo>
                  <a:pt x="3175339" y="6750795"/>
                  <a:pt x="3167644" y="6740535"/>
                  <a:pt x="3159950" y="6735405"/>
                </a:cubicBezTo>
                <a:cubicBezTo>
                  <a:pt x="3162515" y="6732841"/>
                  <a:pt x="3162515" y="6730276"/>
                  <a:pt x="3165080" y="6730276"/>
                </a:cubicBezTo>
                <a:close/>
                <a:moveTo>
                  <a:pt x="3093261" y="6596900"/>
                </a:moveTo>
                <a:cubicBezTo>
                  <a:pt x="3126605" y="6630245"/>
                  <a:pt x="3159949" y="6666153"/>
                  <a:pt x="3188163" y="6702061"/>
                </a:cubicBezTo>
                <a:cubicBezTo>
                  <a:pt x="3190728" y="6707192"/>
                  <a:pt x="3193294" y="6714886"/>
                  <a:pt x="3193294" y="6720016"/>
                </a:cubicBezTo>
                <a:cubicBezTo>
                  <a:pt x="3175338" y="6704627"/>
                  <a:pt x="3162515" y="6686672"/>
                  <a:pt x="3147124" y="6668718"/>
                </a:cubicBezTo>
                <a:cubicBezTo>
                  <a:pt x="3136865" y="6655894"/>
                  <a:pt x="3126605" y="6645634"/>
                  <a:pt x="3116346" y="6632809"/>
                </a:cubicBezTo>
                <a:cubicBezTo>
                  <a:pt x="3111216" y="6625115"/>
                  <a:pt x="3103520" y="6617420"/>
                  <a:pt x="3095826" y="6609724"/>
                </a:cubicBezTo>
                <a:cubicBezTo>
                  <a:pt x="3095826" y="6604595"/>
                  <a:pt x="3093261" y="6602030"/>
                  <a:pt x="3093261" y="6596900"/>
                </a:cubicBezTo>
                <a:close/>
                <a:moveTo>
                  <a:pt x="3057353" y="6509694"/>
                </a:moveTo>
                <a:cubicBezTo>
                  <a:pt x="3062483" y="6512259"/>
                  <a:pt x="3065048" y="6514823"/>
                  <a:pt x="3070178" y="6517389"/>
                </a:cubicBezTo>
                <a:cubicBezTo>
                  <a:pt x="3083003" y="6525084"/>
                  <a:pt x="3095827" y="6532779"/>
                  <a:pt x="3106087" y="6540473"/>
                </a:cubicBezTo>
                <a:cubicBezTo>
                  <a:pt x="3113781" y="6545603"/>
                  <a:pt x="3121476" y="6553298"/>
                  <a:pt x="3126606" y="6558428"/>
                </a:cubicBezTo>
                <a:cubicBezTo>
                  <a:pt x="3129171" y="6568687"/>
                  <a:pt x="3134300" y="6578947"/>
                  <a:pt x="3136865" y="6586641"/>
                </a:cubicBezTo>
                <a:cubicBezTo>
                  <a:pt x="3111216" y="6560993"/>
                  <a:pt x="3085567" y="6535344"/>
                  <a:pt x="3057353" y="6509694"/>
                </a:cubicBezTo>
                <a:close/>
                <a:moveTo>
                  <a:pt x="3067614" y="6468657"/>
                </a:moveTo>
                <a:cubicBezTo>
                  <a:pt x="3070178" y="6473787"/>
                  <a:pt x="3075307" y="6476351"/>
                  <a:pt x="3080437" y="6481481"/>
                </a:cubicBezTo>
                <a:cubicBezTo>
                  <a:pt x="3083002" y="6484046"/>
                  <a:pt x="3083002" y="6484046"/>
                  <a:pt x="3083002" y="6486611"/>
                </a:cubicBezTo>
                <a:cubicBezTo>
                  <a:pt x="3077873" y="6481481"/>
                  <a:pt x="3072742" y="6476351"/>
                  <a:pt x="3067614" y="6468657"/>
                </a:cubicBezTo>
                <a:close/>
                <a:moveTo>
                  <a:pt x="2959888" y="6319893"/>
                </a:moveTo>
                <a:cubicBezTo>
                  <a:pt x="2962454" y="6322457"/>
                  <a:pt x="2967582" y="6325022"/>
                  <a:pt x="2972713" y="6325022"/>
                </a:cubicBezTo>
                <a:cubicBezTo>
                  <a:pt x="2962454" y="6332717"/>
                  <a:pt x="2959888" y="6342977"/>
                  <a:pt x="2957323" y="6353236"/>
                </a:cubicBezTo>
                <a:cubicBezTo>
                  <a:pt x="2959888" y="6340412"/>
                  <a:pt x="2959888" y="6330152"/>
                  <a:pt x="2959888" y="6319893"/>
                </a:cubicBezTo>
                <a:close/>
                <a:moveTo>
                  <a:pt x="3008620" y="6276289"/>
                </a:moveTo>
                <a:cubicBezTo>
                  <a:pt x="3011185" y="6296808"/>
                  <a:pt x="2995795" y="6335282"/>
                  <a:pt x="3029139" y="6345541"/>
                </a:cubicBezTo>
                <a:cubicBezTo>
                  <a:pt x="3044528" y="6325022"/>
                  <a:pt x="3034269" y="6309633"/>
                  <a:pt x="3034269" y="6276289"/>
                </a:cubicBezTo>
                <a:cubicBezTo>
                  <a:pt x="3026574" y="6276289"/>
                  <a:pt x="3016314" y="6276289"/>
                  <a:pt x="3008620" y="6276289"/>
                </a:cubicBezTo>
                <a:close/>
                <a:moveTo>
                  <a:pt x="3385660" y="6217296"/>
                </a:moveTo>
                <a:cubicBezTo>
                  <a:pt x="3408744" y="6227556"/>
                  <a:pt x="3426698" y="6248075"/>
                  <a:pt x="3444652" y="6268595"/>
                </a:cubicBezTo>
                <a:cubicBezTo>
                  <a:pt x="3439523" y="6266030"/>
                  <a:pt x="3436959" y="6263464"/>
                  <a:pt x="3434393" y="6260900"/>
                </a:cubicBezTo>
                <a:cubicBezTo>
                  <a:pt x="3419003" y="6245510"/>
                  <a:pt x="3401049" y="6232686"/>
                  <a:pt x="3385660" y="6217296"/>
                </a:cubicBezTo>
                <a:close/>
                <a:moveTo>
                  <a:pt x="3318972" y="6201907"/>
                </a:moveTo>
                <a:cubicBezTo>
                  <a:pt x="3357446" y="6227557"/>
                  <a:pt x="3398484" y="6258335"/>
                  <a:pt x="3434393" y="6291679"/>
                </a:cubicBezTo>
                <a:cubicBezTo>
                  <a:pt x="3424133" y="6286549"/>
                  <a:pt x="3413874" y="6281420"/>
                  <a:pt x="3403614" y="6276289"/>
                </a:cubicBezTo>
                <a:cubicBezTo>
                  <a:pt x="3377965" y="6250641"/>
                  <a:pt x="3349751" y="6227557"/>
                  <a:pt x="3318972" y="6201907"/>
                </a:cubicBezTo>
                <a:close/>
                <a:moveTo>
                  <a:pt x="3206118" y="6109571"/>
                </a:moveTo>
                <a:cubicBezTo>
                  <a:pt x="3216378" y="6122396"/>
                  <a:pt x="3213812" y="6137786"/>
                  <a:pt x="3208682" y="6150610"/>
                </a:cubicBezTo>
                <a:cubicBezTo>
                  <a:pt x="3198423" y="6142915"/>
                  <a:pt x="3185598" y="6132656"/>
                  <a:pt x="3175339" y="6124961"/>
                </a:cubicBezTo>
                <a:cubicBezTo>
                  <a:pt x="3188163" y="6122396"/>
                  <a:pt x="3198423" y="6117266"/>
                  <a:pt x="3206118" y="6109571"/>
                </a:cubicBezTo>
                <a:close/>
                <a:moveTo>
                  <a:pt x="3254850" y="6104441"/>
                </a:moveTo>
                <a:cubicBezTo>
                  <a:pt x="3272805" y="6122396"/>
                  <a:pt x="3290759" y="6137785"/>
                  <a:pt x="3308713" y="6153175"/>
                </a:cubicBezTo>
                <a:cubicBezTo>
                  <a:pt x="3293324" y="6140350"/>
                  <a:pt x="3277936" y="6130091"/>
                  <a:pt x="3259980" y="6117266"/>
                </a:cubicBezTo>
                <a:cubicBezTo>
                  <a:pt x="3259980" y="6114702"/>
                  <a:pt x="3257416" y="6109571"/>
                  <a:pt x="3254850" y="6104441"/>
                </a:cubicBezTo>
                <a:close/>
                <a:moveTo>
                  <a:pt x="3121476" y="6078793"/>
                </a:moveTo>
                <a:cubicBezTo>
                  <a:pt x="3124041" y="6081358"/>
                  <a:pt x="3129170" y="6081358"/>
                  <a:pt x="3131736" y="6083922"/>
                </a:cubicBezTo>
                <a:cubicBezTo>
                  <a:pt x="3136865" y="6086487"/>
                  <a:pt x="3144560" y="6091617"/>
                  <a:pt x="3149689" y="6094182"/>
                </a:cubicBezTo>
                <a:cubicBezTo>
                  <a:pt x="3147125" y="6094182"/>
                  <a:pt x="3144560" y="6096747"/>
                  <a:pt x="3141995" y="6096747"/>
                </a:cubicBezTo>
                <a:cubicBezTo>
                  <a:pt x="3136865" y="6091617"/>
                  <a:pt x="3129170" y="6086487"/>
                  <a:pt x="3124041" y="6081358"/>
                </a:cubicBezTo>
                <a:cubicBezTo>
                  <a:pt x="3121476" y="6078793"/>
                  <a:pt x="3121476" y="6078793"/>
                  <a:pt x="3121476" y="6078793"/>
                </a:cubicBezTo>
                <a:close/>
                <a:moveTo>
                  <a:pt x="2898330" y="6048013"/>
                </a:moveTo>
                <a:cubicBezTo>
                  <a:pt x="2903459" y="6050578"/>
                  <a:pt x="2906024" y="6055707"/>
                  <a:pt x="2911154" y="6063402"/>
                </a:cubicBezTo>
                <a:cubicBezTo>
                  <a:pt x="2916284" y="6073662"/>
                  <a:pt x="2923978" y="6086486"/>
                  <a:pt x="2947062" y="6089051"/>
                </a:cubicBezTo>
                <a:cubicBezTo>
                  <a:pt x="2949627" y="6091616"/>
                  <a:pt x="2952193" y="6089051"/>
                  <a:pt x="2954757" y="6089051"/>
                </a:cubicBezTo>
                <a:cubicBezTo>
                  <a:pt x="2975276" y="6122394"/>
                  <a:pt x="2990665" y="6155739"/>
                  <a:pt x="3006055" y="6191648"/>
                </a:cubicBezTo>
                <a:cubicBezTo>
                  <a:pt x="3003490" y="6199342"/>
                  <a:pt x="2985536" y="6191648"/>
                  <a:pt x="2985536" y="6201907"/>
                </a:cubicBezTo>
                <a:cubicBezTo>
                  <a:pt x="2988101" y="6230121"/>
                  <a:pt x="2995795" y="6250640"/>
                  <a:pt x="3006055" y="6266030"/>
                </a:cubicBezTo>
                <a:cubicBezTo>
                  <a:pt x="3021444" y="6263465"/>
                  <a:pt x="3031704" y="6263465"/>
                  <a:pt x="3041963" y="6268595"/>
                </a:cubicBezTo>
                <a:cubicBezTo>
                  <a:pt x="3049658" y="6278854"/>
                  <a:pt x="3057353" y="6286549"/>
                  <a:pt x="3065047" y="6291679"/>
                </a:cubicBezTo>
                <a:cubicBezTo>
                  <a:pt x="3067612" y="6291679"/>
                  <a:pt x="3067612" y="6294244"/>
                  <a:pt x="3070177" y="6294244"/>
                </a:cubicBezTo>
                <a:cubicBezTo>
                  <a:pt x="3077873" y="6307068"/>
                  <a:pt x="3085566" y="6322457"/>
                  <a:pt x="3090696" y="6337847"/>
                </a:cubicBezTo>
                <a:cubicBezTo>
                  <a:pt x="3080437" y="6342976"/>
                  <a:pt x="3070177" y="6348106"/>
                  <a:pt x="3059917" y="6350671"/>
                </a:cubicBezTo>
                <a:cubicBezTo>
                  <a:pt x="3047094" y="6360931"/>
                  <a:pt x="3041963" y="6373755"/>
                  <a:pt x="3036835" y="6384015"/>
                </a:cubicBezTo>
                <a:cubicBezTo>
                  <a:pt x="3031704" y="6394274"/>
                  <a:pt x="3026574" y="6404534"/>
                  <a:pt x="3013751" y="6414793"/>
                </a:cubicBezTo>
                <a:cubicBezTo>
                  <a:pt x="3006055" y="6412228"/>
                  <a:pt x="2998360" y="6412228"/>
                  <a:pt x="2993231" y="6412228"/>
                </a:cubicBezTo>
                <a:cubicBezTo>
                  <a:pt x="2990665" y="6412228"/>
                  <a:pt x="2990665" y="6412228"/>
                  <a:pt x="2988101" y="6412228"/>
                </a:cubicBezTo>
                <a:cubicBezTo>
                  <a:pt x="2982972" y="6391709"/>
                  <a:pt x="2977841" y="6360931"/>
                  <a:pt x="2982972" y="6327587"/>
                </a:cubicBezTo>
                <a:lnTo>
                  <a:pt x="2985536" y="6312198"/>
                </a:lnTo>
                <a:lnTo>
                  <a:pt x="2980406" y="6317327"/>
                </a:lnTo>
                <a:cubicBezTo>
                  <a:pt x="2982972" y="6294244"/>
                  <a:pt x="2975276" y="6278854"/>
                  <a:pt x="2954757" y="6276289"/>
                </a:cubicBezTo>
                <a:cubicBezTo>
                  <a:pt x="2954757" y="6283984"/>
                  <a:pt x="2954757" y="6289113"/>
                  <a:pt x="2954757" y="6296808"/>
                </a:cubicBezTo>
                <a:lnTo>
                  <a:pt x="2952193" y="6299373"/>
                </a:lnTo>
                <a:cubicBezTo>
                  <a:pt x="2947062" y="6301938"/>
                  <a:pt x="2941932" y="6309633"/>
                  <a:pt x="2939368" y="6314762"/>
                </a:cubicBezTo>
                <a:cubicBezTo>
                  <a:pt x="2939368" y="6314762"/>
                  <a:pt x="2939368" y="6312198"/>
                  <a:pt x="2939368" y="6312198"/>
                </a:cubicBezTo>
                <a:cubicBezTo>
                  <a:pt x="2947062" y="6283984"/>
                  <a:pt x="2957322" y="6255770"/>
                  <a:pt x="2965017" y="6227556"/>
                </a:cubicBezTo>
                <a:lnTo>
                  <a:pt x="2967581" y="6217297"/>
                </a:lnTo>
                <a:lnTo>
                  <a:pt x="2957322" y="6209602"/>
                </a:lnTo>
                <a:cubicBezTo>
                  <a:pt x="2936803" y="6227556"/>
                  <a:pt x="2926543" y="6253205"/>
                  <a:pt x="2918848" y="6281419"/>
                </a:cubicBezTo>
                <a:cubicBezTo>
                  <a:pt x="2918848" y="6281419"/>
                  <a:pt x="2916284" y="6278854"/>
                  <a:pt x="2916284" y="6278854"/>
                </a:cubicBezTo>
                <a:cubicBezTo>
                  <a:pt x="2921413" y="6263465"/>
                  <a:pt x="2929109" y="6250640"/>
                  <a:pt x="2934238" y="6235251"/>
                </a:cubicBezTo>
                <a:cubicBezTo>
                  <a:pt x="2949627" y="6194213"/>
                  <a:pt x="2967581" y="6155739"/>
                  <a:pt x="2957322" y="6119830"/>
                </a:cubicBezTo>
                <a:lnTo>
                  <a:pt x="2952193" y="6101876"/>
                </a:lnTo>
                <a:lnTo>
                  <a:pt x="2944497" y="6119830"/>
                </a:lnTo>
                <a:cubicBezTo>
                  <a:pt x="2931673" y="6148044"/>
                  <a:pt x="2913719" y="6191648"/>
                  <a:pt x="2900894" y="6240381"/>
                </a:cubicBezTo>
                <a:cubicBezTo>
                  <a:pt x="2893199" y="6212167"/>
                  <a:pt x="2880375" y="6191648"/>
                  <a:pt x="2862421" y="6173693"/>
                </a:cubicBezTo>
                <a:cubicBezTo>
                  <a:pt x="2854726" y="6142915"/>
                  <a:pt x="2836772" y="6107005"/>
                  <a:pt x="2818818" y="6071097"/>
                </a:cubicBezTo>
                <a:cubicBezTo>
                  <a:pt x="2834208" y="6071097"/>
                  <a:pt x="2857291" y="6063402"/>
                  <a:pt x="2875245" y="6055707"/>
                </a:cubicBezTo>
                <a:cubicBezTo>
                  <a:pt x="2882940" y="6053142"/>
                  <a:pt x="2895764" y="6048013"/>
                  <a:pt x="2898330" y="6048013"/>
                </a:cubicBezTo>
                <a:close/>
                <a:moveTo>
                  <a:pt x="2829078" y="6030060"/>
                </a:moveTo>
                <a:cubicBezTo>
                  <a:pt x="2834208" y="6032624"/>
                  <a:pt x="2836772" y="6037754"/>
                  <a:pt x="2836772" y="6042884"/>
                </a:cubicBezTo>
                <a:cubicBezTo>
                  <a:pt x="2836772" y="6042884"/>
                  <a:pt x="2834208" y="6040319"/>
                  <a:pt x="2834208" y="6040319"/>
                </a:cubicBezTo>
                <a:cubicBezTo>
                  <a:pt x="2831643" y="6037754"/>
                  <a:pt x="2831643" y="6032624"/>
                  <a:pt x="2829078" y="6030060"/>
                </a:cubicBezTo>
                <a:close/>
                <a:moveTo>
                  <a:pt x="4393663" y="6009541"/>
                </a:moveTo>
                <a:cubicBezTo>
                  <a:pt x="4396228" y="6012106"/>
                  <a:pt x="4396228" y="6017235"/>
                  <a:pt x="4393663" y="6019800"/>
                </a:cubicBezTo>
                <a:cubicBezTo>
                  <a:pt x="4398793" y="6024930"/>
                  <a:pt x="4403923" y="6030060"/>
                  <a:pt x="4406488" y="6035190"/>
                </a:cubicBezTo>
                <a:cubicBezTo>
                  <a:pt x="4383404" y="6027495"/>
                  <a:pt x="4362885" y="6019800"/>
                  <a:pt x="4339800" y="6014670"/>
                </a:cubicBezTo>
                <a:cubicBezTo>
                  <a:pt x="4357755" y="6012106"/>
                  <a:pt x="4378274" y="6012106"/>
                  <a:pt x="4393663" y="6009541"/>
                </a:cubicBezTo>
                <a:close/>
                <a:moveTo>
                  <a:pt x="3057353" y="5989021"/>
                </a:moveTo>
                <a:cubicBezTo>
                  <a:pt x="3072743" y="6001846"/>
                  <a:pt x="3088132" y="6014671"/>
                  <a:pt x="3103521" y="6024930"/>
                </a:cubicBezTo>
                <a:cubicBezTo>
                  <a:pt x="3116346" y="6032625"/>
                  <a:pt x="3126605" y="6042885"/>
                  <a:pt x="3136865" y="6050579"/>
                </a:cubicBezTo>
                <a:cubicBezTo>
                  <a:pt x="3106086" y="6032625"/>
                  <a:pt x="3075308" y="6014671"/>
                  <a:pt x="3049658" y="5991587"/>
                </a:cubicBezTo>
                <a:cubicBezTo>
                  <a:pt x="3052223" y="5991587"/>
                  <a:pt x="3054787" y="5989021"/>
                  <a:pt x="3057353" y="5989021"/>
                </a:cubicBezTo>
                <a:close/>
                <a:moveTo>
                  <a:pt x="4491129" y="5986457"/>
                </a:moveTo>
                <a:cubicBezTo>
                  <a:pt x="4493694" y="5986457"/>
                  <a:pt x="4493694" y="5989021"/>
                  <a:pt x="4493694" y="5989021"/>
                </a:cubicBezTo>
                <a:cubicBezTo>
                  <a:pt x="4485999" y="5989021"/>
                  <a:pt x="4475739" y="5989021"/>
                  <a:pt x="4465480" y="5989021"/>
                </a:cubicBezTo>
                <a:cubicBezTo>
                  <a:pt x="4475739" y="5989021"/>
                  <a:pt x="4485999" y="5989021"/>
                  <a:pt x="4491129" y="5986457"/>
                </a:cubicBezTo>
                <a:close/>
                <a:moveTo>
                  <a:pt x="2821384" y="5981326"/>
                </a:moveTo>
                <a:cubicBezTo>
                  <a:pt x="2818819" y="5983892"/>
                  <a:pt x="2816254" y="5989021"/>
                  <a:pt x="2813690" y="5991587"/>
                </a:cubicBezTo>
                <a:cubicBezTo>
                  <a:pt x="2803429" y="6004411"/>
                  <a:pt x="2795735" y="6014670"/>
                  <a:pt x="2793170" y="6027495"/>
                </a:cubicBezTo>
                <a:cubicBezTo>
                  <a:pt x="2785475" y="6014670"/>
                  <a:pt x="2780345" y="5999281"/>
                  <a:pt x="2772650" y="5983892"/>
                </a:cubicBezTo>
                <a:cubicBezTo>
                  <a:pt x="2788040" y="5986457"/>
                  <a:pt x="2803429" y="5983892"/>
                  <a:pt x="2821384" y="5981326"/>
                </a:cubicBezTo>
                <a:close/>
                <a:moveTo>
                  <a:pt x="4393662" y="5968502"/>
                </a:moveTo>
                <a:cubicBezTo>
                  <a:pt x="4398792" y="5971067"/>
                  <a:pt x="4403922" y="5976196"/>
                  <a:pt x="4406487" y="5978762"/>
                </a:cubicBezTo>
                <a:cubicBezTo>
                  <a:pt x="4401357" y="5978762"/>
                  <a:pt x="4396227" y="5976196"/>
                  <a:pt x="4391098" y="5973632"/>
                </a:cubicBezTo>
                <a:cubicBezTo>
                  <a:pt x="4391098" y="5971067"/>
                  <a:pt x="4393662" y="5971067"/>
                  <a:pt x="4393662" y="5968502"/>
                </a:cubicBezTo>
                <a:close/>
                <a:moveTo>
                  <a:pt x="4550121" y="5953113"/>
                </a:moveTo>
                <a:cubicBezTo>
                  <a:pt x="4555251" y="5960807"/>
                  <a:pt x="4547556" y="5968502"/>
                  <a:pt x="4544992" y="5973632"/>
                </a:cubicBezTo>
                <a:cubicBezTo>
                  <a:pt x="4547556" y="5973632"/>
                  <a:pt x="4550121" y="5973632"/>
                  <a:pt x="4550121" y="5976197"/>
                </a:cubicBezTo>
                <a:cubicBezTo>
                  <a:pt x="4539862" y="5978762"/>
                  <a:pt x="4529602" y="5981326"/>
                  <a:pt x="4519343" y="5983891"/>
                </a:cubicBezTo>
                <a:cubicBezTo>
                  <a:pt x="4529602" y="5973632"/>
                  <a:pt x="4542427" y="5968502"/>
                  <a:pt x="4550121" y="5953113"/>
                </a:cubicBezTo>
                <a:close/>
                <a:moveTo>
                  <a:pt x="4429571" y="5950548"/>
                </a:moveTo>
                <a:cubicBezTo>
                  <a:pt x="4429571" y="5953113"/>
                  <a:pt x="4429571" y="5955677"/>
                  <a:pt x="4432136" y="5958242"/>
                </a:cubicBezTo>
                <a:cubicBezTo>
                  <a:pt x="4432136" y="5960808"/>
                  <a:pt x="4424441" y="5950548"/>
                  <a:pt x="4429571" y="5950548"/>
                </a:cubicBezTo>
                <a:close/>
                <a:moveTo>
                  <a:pt x="4483434" y="5945419"/>
                </a:moveTo>
                <a:cubicBezTo>
                  <a:pt x="4488564" y="5947984"/>
                  <a:pt x="4485999" y="5955678"/>
                  <a:pt x="4488564" y="5960808"/>
                </a:cubicBezTo>
                <a:cubicBezTo>
                  <a:pt x="4478304" y="5963373"/>
                  <a:pt x="4468045" y="5965938"/>
                  <a:pt x="4462915" y="5971068"/>
                </a:cubicBezTo>
                <a:cubicBezTo>
                  <a:pt x="4465480" y="5960808"/>
                  <a:pt x="4483434" y="5958243"/>
                  <a:pt x="4483434" y="5945419"/>
                </a:cubicBezTo>
                <a:close/>
                <a:moveTo>
                  <a:pt x="4362884" y="5942853"/>
                </a:moveTo>
                <a:cubicBezTo>
                  <a:pt x="4373143" y="5950547"/>
                  <a:pt x="4380838" y="5958242"/>
                  <a:pt x="4391098" y="5963372"/>
                </a:cubicBezTo>
                <a:cubicBezTo>
                  <a:pt x="4388533" y="5965937"/>
                  <a:pt x="4385968" y="5968502"/>
                  <a:pt x="4383403" y="5971067"/>
                </a:cubicBezTo>
                <a:cubicBezTo>
                  <a:pt x="4383403" y="5968502"/>
                  <a:pt x="4380838" y="5968502"/>
                  <a:pt x="4380838" y="5968502"/>
                </a:cubicBezTo>
                <a:cubicBezTo>
                  <a:pt x="4373143" y="5960807"/>
                  <a:pt x="4368013" y="5953113"/>
                  <a:pt x="4362884" y="5942853"/>
                </a:cubicBezTo>
                <a:close/>
                <a:moveTo>
                  <a:pt x="4457785" y="5935158"/>
                </a:moveTo>
                <a:cubicBezTo>
                  <a:pt x="4455221" y="5947983"/>
                  <a:pt x="4457785" y="5965937"/>
                  <a:pt x="4452656" y="5976197"/>
                </a:cubicBezTo>
                <a:cubicBezTo>
                  <a:pt x="4439831" y="5963372"/>
                  <a:pt x="4450091" y="5947983"/>
                  <a:pt x="4457785" y="5935158"/>
                </a:cubicBezTo>
                <a:close/>
                <a:moveTo>
                  <a:pt x="2739307" y="5883861"/>
                </a:moveTo>
                <a:lnTo>
                  <a:pt x="2741872" y="5883861"/>
                </a:lnTo>
                <a:cubicBezTo>
                  <a:pt x="2747001" y="5883861"/>
                  <a:pt x="2749566" y="5886425"/>
                  <a:pt x="2754696" y="5886425"/>
                </a:cubicBezTo>
                <a:cubicBezTo>
                  <a:pt x="2775215" y="5891555"/>
                  <a:pt x="2790605" y="5894120"/>
                  <a:pt x="2793170" y="5904380"/>
                </a:cubicBezTo>
                <a:cubicBezTo>
                  <a:pt x="2788040" y="5906945"/>
                  <a:pt x="2782911" y="5904380"/>
                  <a:pt x="2775215" y="5906945"/>
                </a:cubicBezTo>
                <a:cubicBezTo>
                  <a:pt x="2764956" y="5904380"/>
                  <a:pt x="2752131" y="5904380"/>
                  <a:pt x="2744437" y="5912074"/>
                </a:cubicBezTo>
                <a:cubicBezTo>
                  <a:pt x="2744437" y="5909510"/>
                  <a:pt x="2744437" y="5909510"/>
                  <a:pt x="2744437" y="5909510"/>
                </a:cubicBezTo>
                <a:cubicBezTo>
                  <a:pt x="2741872" y="5899250"/>
                  <a:pt x="2741872" y="5891555"/>
                  <a:pt x="2739307" y="5883861"/>
                </a:cubicBezTo>
                <a:close/>
                <a:moveTo>
                  <a:pt x="4596770" y="5882497"/>
                </a:moveTo>
                <a:cubicBezTo>
                  <a:pt x="4613121" y="5880333"/>
                  <a:pt x="4630915" y="5888989"/>
                  <a:pt x="4650152" y="5888989"/>
                </a:cubicBezTo>
                <a:cubicBezTo>
                  <a:pt x="4650152" y="5909510"/>
                  <a:pt x="4645023" y="5927464"/>
                  <a:pt x="4645023" y="5945418"/>
                </a:cubicBezTo>
                <a:cubicBezTo>
                  <a:pt x="4637328" y="5942853"/>
                  <a:pt x="4632198" y="5940288"/>
                  <a:pt x="4627068" y="5945418"/>
                </a:cubicBezTo>
                <a:cubicBezTo>
                  <a:pt x="4629633" y="5947983"/>
                  <a:pt x="4632198" y="5950548"/>
                  <a:pt x="4634763" y="5953113"/>
                </a:cubicBezTo>
                <a:cubicBezTo>
                  <a:pt x="4609114" y="5960808"/>
                  <a:pt x="4586030" y="5965937"/>
                  <a:pt x="4562945" y="5973632"/>
                </a:cubicBezTo>
                <a:cubicBezTo>
                  <a:pt x="4560380" y="5960808"/>
                  <a:pt x="4557815" y="5950548"/>
                  <a:pt x="4560380" y="5937723"/>
                </a:cubicBezTo>
                <a:cubicBezTo>
                  <a:pt x="4562945" y="5922334"/>
                  <a:pt x="4575771" y="5909510"/>
                  <a:pt x="4573205" y="5894119"/>
                </a:cubicBezTo>
                <a:cubicBezTo>
                  <a:pt x="4598854" y="5888989"/>
                  <a:pt x="4619374" y="5919769"/>
                  <a:pt x="4645023" y="5909510"/>
                </a:cubicBezTo>
                <a:cubicBezTo>
                  <a:pt x="4634763" y="5883860"/>
                  <a:pt x="4606549" y="5891554"/>
                  <a:pt x="4580900" y="5888989"/>
                </a:cubicBezTo>
                <a:cubicBezTo>
                  <a:pt x="4586029" y="5885142"/>
                  <a:pt x="4591320" y="5883218"/>
                  <a:pt x="4596770" y="5882497"/>
                </a:cubicBezTo>
                <a:close/>
                <a:moveTo>
                  <a:pt x="4627709" y="5873281"/>
                </a:moveTo>
                <a:cubicBezTo>
                  <a:pt x="4634763" y="5873601"/>
                  <a:pt x="4642458" y="5874884"/>
                  <a:pt x="4647587" y="5873601"/>
                </a:cubicBezTo>
                <a:lnTo>
                  <a:pt x="4647587" y="5883861"/>
                </a:lnTo>
                <a:cubicBezTo>
                  <a:pt x="4634763" y="5881296"/>
                  <a:pt x="4627068" y="5878731"/>
                  <a:pt x="4611679" y="5878731"/>
                </a:cubicBezTo>
                <a:cubicBezTo>
                  <a:pt x="4614243" y="5873601"/>
                  <a:pt x="4620656" y="5872960"/>
                  <a:pt x="4627709" y="5873281"/>
                </a:cubicBezTo>
                <a:close/>
                <a:moveTo>
                  <a:pt x="4596289" y="5863342"/>
                </a:moveTo>
                <a:cubicBezTo>
                  <a:pt x="4598854" y="5868471"/>
                  <a:pt x="4593724" y="5881296"/>
                  <a:pt x="4588595" y="5876166"/>
                </a:cubicBezTo>
                <a:cubicBezTo>
                  <a:pt x="4588595" y="5868471"/>
                  <a:pt x="4596289" y="5868471"/>
                  <a:pt x="4596289" y="5863342"/>
                </a:cubicBezTo>
                <a:close/>
                <a:moveTo>
                  <a:pt x="4642137" y="5860136"/>
                </a:moveTo>
                <a:cubicBezTo>
                  <a:pt x="4643740" y="5859495"/>
                  <a:pt x="4645022" y="5859495"/>
                  <a:pt x="4645022" y="5860777"/>
                </a:cubicBezTo>
                <a:lnTo>
                  <a:pt x="4645022" y="5863342"/>
                </a:lnTo>
                <a:lnTo>
                  <a:pt x="4637328" y="5863342"/>
                </a:lnTo>
                <a:cubicBezTo>
                  <a:pt x="4638611" y="5862060"/>
                  <a:pt x="4640534" y="5860777"/>
                  <a:pt x="4642137" y="5860136"/>
                </a:cubicBezTo>
                <a:close/>
                <a:moveTo>
                  <a:pt x="4609114" y="5853082"/>
                </a:moveTo>
                <a:cubicBezTo>
                  <a:pt x="4609114" y="5853082"/>
                  <a:pt x="4611679" y="5853082"/>
                  <a:pt x="4611679" y="5853082"/>
                </a:cubicBezTo>
                <a:cubicBezTo>
                  <a:pt x="4611679" y="5855647"/>
                  <a:pt x="4609114" y="5858212"/>
                  <a:pt x="4609114" y="5860776"/>
                </a:cubicBezTo>
                <a:cubicBezTo>
                  <a:pt x="4606549" y="5858212"/>
                  <a:pt x="4603984" y="5860776"/>
                  <a:pt x="4606549" y="5865906"/>
                </a:cubicBezTo>
                <a:cubicBezTo>
                  <a:pt x="4603984" y="5865906"/>
                  <a:pt x="4603984" y="5863342"/>
                  <a:pt x="4601420" y="5863342"/>
                </a:cubicBezTo>
                <a:cubicBezTo>
                  <a:pt x="4601420" y="5858212"/>
                  <a:pt x="4606549" y="5855647"/>
                  <a:pt x="4609114" y="5853082"/>
                </a:cubicBezTo>
                <a:close/>
                <a:moveTo>
                  <a:pt x="4403923" y="5850517"/>
                </a:moveTo>
                <a:cubicBezTo>
                  <a:pt x="4414182" y="5876167"/>
                  <a:pt x="4421877" y="5909510"/>
                  <a:pt x="4427007" y="5937724"/>
                </a:cubicBezTo>
                <a:cubicBezTo>
                  <a:pt x="4414182" y="5914640"/>
                  <a:pt x="4409052" y="5878731"/>
                  <a:pt x="4403923" y="5850517"/>
                </a:cubicBezTo>
                <a:close/>
                <a:moveTo>
                  <a:pt x="4550121" y="5845388"/>
                </a:moveTo>
                <a:cubicBezTo>
                  <a:pt x="4565511" y="5845388"/>
                  <a:pt x="4580900" y="5847952"/>
                  <a:pt x="4596290" y="5850517"/>
                </a:cubicBezTo>
                <a:cubicBezTo>
                  <a:pt x="4591160" y="5863342"/>
                  <a:pt x="4586030" y="5873601"/>
                  <a:pt x="4578335" y="5878731"/>
                </a:cubicBezTo>
                <a:cubicBezTo>
                  <a:pt x="4573206" y="5868472"/>
                  <a:pt x="4568076" y="5860777"/>
                  <a:pt x="4562946" y="5853082"/>
                </a:cubicBezTo>
                <a:cubicBezTo>
                  <a:pt x="4557816" y="5853082"/>
                  <a:pt x="4555251" y="5855647"/>
                  <a:pt x="4552686" y="5858212"/>
                </a:cubicBezTo>
                <a:cubicBezTo>
                  <a:pt x="4552686" y="5853082"/>
                  <a:pt x="4550121" y="5850517"/>
                  <a:pt x="4550121" y="5845388"/>
                </a:cubicBezTo>
                <a:close/>
                <a:moveTo>
                  <a:pt x="4537297" y="5845387"/>
                </a:moveTo>
                <a:cubicBezTo>
                  <a:pt x="4537297" y="5853081"/>
                  <a:pt x="4539862" y="5860777"/>
                  <a:pt x="4544992" y="5868472"/>
                </a:cubicBezTo>
                <a:cubicBezTo>
                  <a:pt x="4527038" y="5891555"/>
                  <a:pt x="4516778" y="5922334"/>
                  <a:pt x="4511649" y="5958243"/>
                </a:cubicBezTo>
                <a:cubicBezTo>
                  <a:pt x="4509083" y="5942853"/>
                  <a:pt x="4501388" y="5930029"/>
                  <a:pt x="4501388" y="5917204"/>
                </a:cubicBezTo>
                <a:cubicBezTo>
                  <a:pt x="4503954" y="5909510"/>
                  <a:pt x="4509083" y="5899250"/>
                  <a:pt x="4511649" y="5888991"/>
                </a:cubicBezTo>
                <a:cubicBezTo>
                  <a:pt x="4514213" y="5878731"/>
                  <a:pt x="4516778" y="5863342"/>
                  <a:pt x="4516778" y="5850516"/>
                </a:cubicBezTo>
                <a:cubicBezTo>
                  <a:pt x="4524473" y="5847951"/>
                  <a:pt x="4529603" y="5845387"/>
                  <a:pt x="4537297" y="5845387"/>
                </a:cubicBezTo>
                <a:close/>
                <a:moveTo>
                  <a:pt x="4316715" y="5822302"/>
                </a:moveTo>
                <a:cubicBezTo>
                  <a:pt x="4329541" y="5829997"/>
                  <a:pt x="4350060" y="5817172"/>
                  <a:pt x="4365449" y="5829997"/>
                </a:cubicBezTo>
                <a:cubicBezTo>
                  <a:pt x="4370579" y="5827432"/>
                  <a:pt x="4373144" y="5829997"/>
                  <a:pt x="4378274" y="5832562"/>
                </a:cubicBezTo>
                <a:cubicBezTo>
                  <a:pt x="4378274" y="5842822"/>
                  <a:pt x="4355190" y="5850517"/>
                  <a:pt x="4368014" y="5863342"/>
                </a:cubicBezTo>
                <a:cubicBezTo>
                  <a:pt x="4378274" y="5860777"/>
                  <a:pt x="4378274" y="5847952"/>
                  <a:pt x="4383403" y="5840257"/>
                </a:cubicBezTo>
                <a:cubicBezTo>
                  <a:pt x="4393663" y="5840257"/>
                  <a:pt x="4388533" y="5853082"/>
                  <a:pt x="4388533" y="5858212"/>
                </a:cubicBezTo>
                <a:cubicBezTo>
                  <a:pt x="4391098" y="5873601"/>
                  <a:pt x="4398793" y="5891555"/>
                  <a:pt x="4401358" y="5904380"/>
                </a:cubicBezTo>
                <a:cubicBezTo>
                  <a:pt x="4398793" y="5906945"/>
                  <a:pt x="4398793" y="5909510"/>
                  <a:pt x="4396228" y="5912074"/>
                </a:cubicBezTo>
                <a:cubicBezTo>
                  <a:pt x="4401358" y="5919769"/>
                  <a:pt x="4406487" y="5924899"/>
                  <a:pt x="4406487" y="5935159"/>
                </a:cubicBezTo>
                <a:cubicBezTo>
                  <a:pt x="4391098" y="5914639"/>
                  <a:pt x="4378274" y="5899250"/>
                  <a:pt x="4357755" y="5886426"/>
                </a:cubicBezTo>
                <a:cubicBezTo>
                  <a:pt x="4355190" y="5886426"/>
                  <a:pt x="4355190" y="5888991"/>
                  <a:pt x="4355190" y="5891555"/>
                </a:cubicBezTo>
                <a:cubicBezTo>
                  <a:pt x="4334670" y="5881296"/>
                  <a:pt x="4319280" y="5865906"/>
                  <a:pt x="4306456" y="5847952"/>
                </a:cubicBezTo>
                <a:cubicBezTo>
                  <a:pt x="4306456" y="5832562"/>
                  <a:pt x="4311585" y="5829997"/>
                  <a:pt x="4316715" y="5822302"/>
                </a:cubicBezTo>
                <a:close/>
                <a:moveTo>
                  <a:pt x="4347495" y="5812044"/>
                </a:moveTo>
                <a:cubicBezTo>
                  <a:pt x="4347495" y="5814608"/>
                  <a:pt x="4355189" y="5814608"/>
                  <a:pt x="4360319" y="5814608"/>
                </a:cubicBezTo>
                <a:cubicBezTo>
                  <a:pt x="4357755" y="5817173"/>
                  <a:pt x="4360319" y="5817173"/>
                  <a:pt x="4360319" y="5819738"/>
                </a:cubicBezTo>
                <a:cubicBezTo>
                  <a:pt x="4355189" y="5817173"/>
                  <a:pt x="4347495" y="5819738"/>
                  <a:pt x="4347495" y="5812044"/>
                </a:cubicBezTo>
                <a:close/>
                <a:moveTo>
                  <a:pt x="4657846" y="5812043"/>
                </a:moveTo>
                <a:cubicBezTo>
                  <a:pt x="4683496" y="5837693"/>
                  <a:pt x="4727099" y="5853082"/>
                  <a:pt x="4763007" y="5853082"/>
                </a:cubicBezTo>
                <a:cubicBezTo>
                  <a:pt x="4765572" y="5876166"/>
                  <a:pt x="4763007" y="5896685"/>
                  <a:pt x="4763007" y="5917204"/>
                </a:cubicBezTo>
                <a:cubicBezTo>
                  <a:pt x="4763007" y="5922334"/>
                  <a:pt x="4750183" y="5912074"/>
                  <a:pt x="4747618" y="5919769"/>
                </a:cubicBezTo>
                <a:cubicBezTo>
                  <a:pt x="4747618" y="5924899"/>
                  <a:pt x="4752748" y="5927464"/>
                  <a:pt x="4757877" y="5930029"/>
                </a:cubicBezTo>
                <a:cubicBezTo>
                  <a:pt x="4724534" y="5930029"/>
                  <a:pt x="4691190" y="5937723"/>
                  <a:pt x="4660411" y="5945418"/>
                </a:cubicBezTo>
                <a:cubicBezTo>
                  <a:pt x="4660411" y="5930029"/>
                  <a:pt x="4662975" y="5912074"/>
                  <a:pt x="4665540" y="5896685"/>
                </a:cubicBezTo>
                <a:cubicBezTo>
                  <a:pt x="4670670" y="5894120"/>
                  <a:pt x="4678366" y="5891555"/>
                  <a:pt x="4680931" y="5883861"/>
                </a:cubicBezTo>
                <a:cubicBezTo>
                  <a:pt x="4680931" y="5881296"/>
                  <a:pt x="4678366" y="5881296"/>
                  <a:pt x="4678366" y="5878731"/>
                </a:cubicBezTo>
                <a:cubicBezTo>
                  <a:pt x="4675801" y="5878731"/>
                  <a:pt x="4670670" y="5878731"/>
                  <a:pt x="4665540" y="5878731"/>
                </a:cubicBezTo>
                <a:cubicBezTo>
                  <a:pt x="4665540" y="5873601"/>
                  <a:pt x="4662975" y="5865906"/>
                  <a:pt x="4662975" y="5858212"/>
                </a:cubicBezTo>
                <a:cubicBezTo>
                  <a:pt x="4675801" y="5858212"/>
                  <a:pt x="4688625" y="5855647"/>
                  <a:pt x="4701450" y="5850517"/>
                </a:cubicBezTo>
                <a:cubicBezTo>
                  <a:pt x="4691190" y="5845387"/>
                  <a:pt x="4675801" y="5842822"/>
                  <a:pt x="4660411" y="5837693"/>
                </a:cubicBezTo>
                <a:cubicBezTo>
                  <a:pt x="4660411" y="5829997"/>
                  <a:pt x="4660411" y="5822302"/>
                  <a:pt x="4657846" y="5812043"/>
                </a:cubicBezTo>
                <a:close/>
                <a:moveTo>
                  <a:pt x="4614244" y="5806914"/>
                </a:moveTo>
                <a:cubicBezTo>
                  <a:pt x="4621938" y="5809478"/>
                  <a:pt x="4632198" y="5809478"/>
                  <a:pt x="4639893" y="5814608"/>
                </a:cubicBezTo>
                <a:cubicBezTo>
                  <a:pt x="4642457" y="5819738"/>
                  <a:pt x="4642457" y="5827433"/>
                  <a:pt x="4642457" y="5835127"/>
                </a:cubicBezTo>
                <a:cubicBezTo>
                  <a:pt x="4637328" y="5832563"/>
                  <a:pt x="4632198" y="5829998"/>
                  <a:pt x="4627068" y="5827433"/>
                </a:cubicBezTo>
                <a:cubicBezTo>
                  <a:pt x="4627068" y="5822303"/>
                  <a:pt x="4624503" y="5819738"/>
                  <a:pt x="4621938" y="5817173"/>
                </a:cubicBezTo>
                <a:cubicBezTo>
                  <a:pt x="4621938" y="5817173"/>
                  <a:pt x="4619373" y="5819738"/>
                  <a:pt x="4619373" y="5819738"/>
                </a:cubicBezTo>
                <a:cubicBezTo>
                  <a:pt x="4616808" y="5814608"/>
                  <a:pt x="4614244" y="5812043"/>
                  <a:pt x="4614244" y="5806914"/>
                </a:cubicBezTo>
                <a:close/>
                <a:moveTo>
                  <a:pt x="4832258" y="5794089"/>
                </a:moveTo>
                <a:cubicBezTo>
                  <a:pt x="4860472" y="5817173"/>
                  <a:pt x="4880991" y="5853081"/>
                  <a:pt x="4950243" y="5837692"/>
                </a:cubicBezTo>
                <a:cubicBezTo>
                  <a:pt x="4952808" y="5909509"/>
                  <a:pt x="4829693" y="5855646"/>
                  <a:pt x="4847647" y="5940288"/>
                </a:cubicBezTo>
                <a:cubicBezTo>
                  <a:pt x="4821998" y="5932593"/>
                  <a:pt x="4798915" y="5930028"/>
                  <a:pt x="4775831" y="5930028"/>
                </a:cubicBezTo>
                <a:cubicBezTo>
                  <a:pt x="4775831" y="5909509"/>
                  <a:pt x="4775831" y="5888990"/>
                  <a:pt x="4775831" y="5871035"/>
                </a:cubicBezTo>
                <a:cubicBezTo>
                  <a:pt x="4778395" y="5868470"/>
                  <a:pt x="4780960" y="5868470"/>
                  <a:pt x="4780960" y="5865905"/>
                </a:cubicBezTo>
                <a:cubicBezTo>
                  <a:pt x="4780960" y="5860776"/>
                  <a:pt x="4775831" y="5860776"/>
                  <a:pt x="4775831" y="5858211"/>
                </a:cubicBezTo>
                <a:cubicBezTo>
                  <a:pt x="4775831" y="5855646"/>
                  <a:pt x="4775831" y="5855646"/>
                  <a:pt x="4775831" y="5853081"/>
                </a:cubicBezTo>
                <a:cubicBezTo>
                  <a:pt x="4809174" y="5850516"/>
                  <a:pt x="4834823" y="5832562"/>
                  <a:pt x="4832258" y="5794089"/>
                </a:cubicBezTo>
                <a:close/>
                <a:moveTo>
                  <a:pt x="4411617" y="5791525"/>
                </a:moveTo>
                <a:cubicBezTo>
                  <a:pt x="4416747" y="5791525"/>
                  <a:pt x="4414182" y="5794090"/>
                  <a:pt x="4416747" y="5794090"/>
                </a:cubicBezTo>
                <a:cubicBezTo>
                  <a:pt x="4416747" y="5796654"/>
                  <a:pt x="4411617" y="5794090"/>
                  <a:pt x="4411617" y="5796654"/>
                </a:cubicBezTo>
                <a:cubicBezTo>
                  <a:pt x="4409052" y="5796654"/>
                  <a:pt x="4411617" y="5791525"/>
                  <a:pt x="4411617" y="5791525"/>
                </a:cubicBezTo>
                <a:close/>
                <a:moveTo>
                  <a:pt x="4373144" y="5786395"/>
                </a:moveTo>
                <a:cubicBezTo>
                  <a:pt x="4378274" y="5791524"/>
                  <a:pt x="4373144" y="5812044"/>
                  <a:pt x="4380838" y="5817173"/>
                </a:cubicBezTo>
                <a:cubicBezTo>
                  <a:pt x="4378274" y="5819738"/>
                  <a:pt x="4375709" y="5817173"/>
                  <a:pt x="4378274" y="5822303"/>
                </a:cubicBezTo>
                <a:cubicBezTo>
                  <a:pt x="4365449" y="5817173"/>
                  <a:pt x="4370579" y="5799219"/>
                  <a:pt x="4373144" y="5786395"/>
                </a:cubicBezTo>
                <a:close/>
                <a:moveTo>
                  <a:pt x="4427006" y="5778701"/>
                </a:moveTo>
                <a:cubicBezTo>
                  <a:pt x="4424441" y="5781266"/>
                  <a:pt x="4419311" y="5783830"/>
                  <a:pt x="4416747" y="5783830"/>
                </a:cubicBezTo>
                <a:cubicBezTo>
                  <a:pt x="4419311" y="5778701"/>
                  <a:pt x="4421876" y="5778701"/>
                  <a:pt x="4427006" y="5778701"/>
                </a:cubicBezTo>
                <a:close/>
                <a:moveTo>
                  <a:pt x="4468044" y="5763310"/>
                </a:moveTo>
                <a:cubicBezTo>
                  <a:pt x="4475739" y="5760745"/>
                  <a:pt x="4485999" y="5768440"/>
                  <a:pt x="4496258" y="5768440"/>
                </a:cubicBezTo>
                <a:cubicBezTo>
                  <a:pt x="4493694" y="5776136"/>
                  <a:pt x="4488564" y="5776136"/>
                  <a:pt x="4485999" y="5781266"/>
                </a:cubicBezTo>
                <a:cubicBezTo>
                  <a:pt x="4493694" y="5786395"/>
                  <a:pt x="4498823" y="5773571"/>
                  <a:pt x="4503953" y="5773571"/>
                </a:cubicBezTo>
                <a:cubicBezTo>
                  <a:pt x="4511648" y="5776136"/>
                  <a:pt x="4516778" y="5778701"/>
                  <a:pt x="4519343" y="5783830"/>
                </a:cubicBezTo>
                <a:cubicBezTo>
                  <a:pt x="4503953" y="5804349"/>
                  <a:pt x="4534732" y="5819739"/>
                  <a:pt x="4514212" y="5845388"/>
                </a:cubicBezTo>
                <a:cubicBezTo>
                  <a:pt x="4514212" y="5840258"/>
                  <a:pt x="4514212" y="5837693"/>
                  <a:pt x="4511648" y="5832563"/>
                </a:cubicBezTo>
                <a:cubicBezTo>
                  <a:pt x="4498823" y="5835128"/>
                  <a:pt x="4496258" y="5842823"/>
                  <a:pt x="4488564" y="5847953"/>
                </a:cubicBezTo>
                <a:cubicBezTo>
                  <a:pt x="4488564" y="5827433"/>
                  <a:pt x="4485999" y="5817174"/>
                  <a:pt x="4488564" y="5799220"/>
                </a:cubicBezTo>
                <a:cubicBezTo>
                  <a:pt x="4475739" y="5794090"/>
                  <a:pt x="4470609" y="5778701"/>
                  <a:pt x="4468044" y="5763310"/>
                </a:cubicBezTo>
                <a:close/>
                <a:moveTo>
                  <a:pt x="4368013" y="5763310"/>
                </a:moveTo>
                <a:cubicBezTo>
                  <a:pt x="4370578" y="5768441"/>
                  <a:pt x="4370578" y="5773570"/>
                  <a:pt x="4373143" y="5778700"/>
                </a:cubicBezTo>
                <a:cubicBezTo>
                  <a:pt x="4362884" y="5783830"/>
                  <a:pt x="4362884" y="5796654"/>
                  <a:pt x="4357754" y="5801784"/>
                </a:cubicBezTo>
                <a:cubicBezTo>
                  <a:pt x="4352624" y="5788959"/>
                  <a:pt x="4347494" y="5760745"/>
                  <a:pt x="4368013" y="5763310"/>
                </a:cubicBezTo>
                <a:close/>
                <a:moveTo>
                  <a:pt x="4447526" y="5758180"/>
                </a:moveTo>
                <a:cubicBezTo>
                  <a:pt x="4455220" y="5783829"/>
                  <a:pt x="4465480" y="5819737"/>
                  <a:pt x="4470610" y="5853081"/>
                </a:cubicBezTo>
                <a:cubicBezTo>
                  <a:pt x="4473175" y="5865905"/>
                  <a:pt x="4475739" y="5881295"/>
                  <a:pt x="4468045" y="5896684"/>
                </a:cubicBezTo>
                <a:cubicBezTo>
                  <a:pt x="4450090" y="5904379"/>
                  <a:pt x="4444961" y="5922333"/>
                  <a:pt x="4434701" y="5935158"/>
                </a:cubicBezTo>
                <a:cubicBezTo>
                  <a:pt x="4432136" y="5917203"/>
                  <a:pt x="4427007" y="5901814"/>
                  <a:pt x="4424441" y="5883860"/>
                </a:cubicBezTo>
                <a:cubicBezTo>
                  <a:pt x="4416747" y="5865905"/>
                  <a:pt x="4409051" y="5837692"/>
                  <a:pt x="4409051" y="5822302"/>
                </a:cubicBezTo>
                <a:cubicBezTo>
                  <a:pt x="4403922" y="5819737"/>
                  <a:pt x="4403922" y="5812043"/>
                  <a:pt x="4406486" y="5806913"/>
                </a:cubicBezTo>
                <a:cubicBezTo>
                  <a:pt x="4416747" y="5806913"/>
                  <a:pt x="4421877" y="5806913"/>
                  <a:pt x="4427007" y="5804348"/>
                </a:cubicBezTo>
                <a:cubicBezTo>
                  <a:pt x="4427007" y="5799218"/>
                  <a:pt x="4424441" y="5799218"/>
                  <a:pt x="4424441" y="5794088"/>
                </a:cubicBezTo>
                <a:cubicBezTo>
                  <a:pt x="4432136" y="5791523"/>
                  <a:pt x="4439831" y="5788958"/>
                  <a:pt x="4442396" y="5781264"/>
                </a:cubicBezTo>
                <a:cubicBezTo>
                  <a:pt x="4437266" y="5776134"/>
                  <a:pt x="4434701" y="5783829"/>
                  <a:pt x="4427007" y="5781264"/>
                </a:cubicBezTo>
                <a:cubicBezTo>
                  <a:pt x="4429572" y="5778699"/>
                  <a:pt x="4434701" y="5776134"/>
                  <a:pt x="4439831" y="5776134"/>
                </a:cubicBezTo>
                <a:cubicBezTo>
                  <a:pt x="4439831" y="5768440"/>
                  <a:pt x="4444961" y="5765874"/>
                  <a:pt x="4447526" y="5758180"/>
                </a:cubicBezTo>
                <a:close/>
                <a:moveTo>
                  <a:pt x="4485038" y="5753692"/>
                </a:moveTo>
                <a:cubicBezTo>
                  <a:pt x="4487282" y="5753692"/>
                  <a:pt x="4489847" y="5754334"/>
                  <a:pt x="4491129" y="5755616"/>
                </a:cubicBezTo>
                <a:cubicBezTo>
                  <a:pt x="4491129" y="5755616"/>
                  <a:pt x="4488564" y="5758181"/>
                  <a:pt x="4491129" y="5760746"/>
                </a:cubicBezTo>
                <a:cubicBezTo>
                  <a:pt x="4483434" y="5760746"/>
                  <a:pt x="4483434" y="5755616"/>
                  <a:pt x="4480870" y="5755616"/>
                </a:cubicBezTo>
                <a:cubicBezTo>
                  <a:pt x="4480870" y="5754334"/>
                  <a:pt x="4482794" y="5753692"/>
                  <a:pt x="4485038" y="5753692"/>
                </a:cubicBezTo>
                <a:close/>
                <a:moveTo>
                  <a:pt x="4424442" y="5742792"/>
                </a:moveTo>
                <a:cubicBezTo>
                  <a:pt x="4432136" y="5745356"/>
                  <a:pt x="4434701" y="5750486"/>
                  <a:pt x="4439831" y="5753051"/>
                </a:cubicBezTo>
                <a:cubicBezTo>
                  <a:pt x="4434701" y="5755616"/>
                  <a:pt x="4424442" y="5755616"/>
                  <a:pt x="4424442" y="5763311"/>
                </a:cubicBezTo>
                <a:cubicBezTo>
                  <a:pt x="4421877" y="5760746"/>
                  <a:pt x="4424442" y="5750486"/>
                  <a:pt x="4424442" y="5742792"/>
                </a:cubicBezTo>
                <a:close/>
                <a:moveTo>
                  <a:pt x="4501388" y="5737662"/>
                </a:moveTo>
                <a:cubicBezTo>
                  <a:pt x="4506518" y="5742792"/>
                  <a:pt x="4503953" y="5753051"/>
                  <a:pt x="4506518" y="5753051"/>
                </a:cubicBezTo>
                <a:cubicBezTo>
                  <a:pt x="4509084" y="5758181"/>
                  <a:pt x="4501388" y="5753051"/>
                  <a:pt x="4498824" y="5758181"/>
                </a:cubicBezTo>
                <a:cubicBezTo>
                  <a:pt x="4491129" y="5753051"/>
                  <a:pt x="4498824" y="5742792"/>
                  <a:pt x="4501388" y="5737662"/>
                </a:cubicBezTo>
                <a:close/>
                <a:moveTo>
                  <a:pt x="4424442" y="5704318"/>
                </a:moveTo>
                <a:cubicBezTo>
                  <a:pt x="4429572" y="5699188"/>
                  <a:pt x="4437266" y="5709448"/>
                  <a:pt x="4434702" y="5712013"/>
                </a:cubicBezTo>
                <a:cubicBezTo>
                  <a:pt x="4429572" y="5709448"/>
                  <a:pt x="4429572" y="5704318"/>
                  <a:pt x="4424442" y="5704318"/>
                </a:cubicBezTo>
                <a:close/>
                <a:moveTo>
                  <a:pt x="4352625" y="5686364"/>
                </a:moveTo>
                <a:cubicBezTo>
                  <a:pt x="4357754" y="5686364"/>
                  <a:pt x="4357754" y="5691494"/>
                  <a:pt x="4357754" y="5696624"/>
                </a:cubicBezTo>
                <a:cubicBezTo>
                  <a:pt x="4352625" y="5696624"/>
                  <a:pt x="4355189" y="5688929"/>
                  <a:pt x="4352625" y="5686364"/>
                </a:cubicBezTo>
                <a:close/>
                <a:moveTo>
                  <a:pt x="4424441" y="5670974"/>
                </a:moveTo>
                <a:cubicBezTo>
                  <a:pt x="4429572" y="5668409"/>
                  <a:pt x="4432136" y="5676104"/>
                  <a:pt x="4434701" y="5670974"/>
                </a:cubicBezTo>
                <a:cubicBezTo>
                  <a:pt x="4437266" y="5673539"/>
                  <a:pt x="4434701" y="5683799"/>
                  <a:pt x="4432136" y="5686363"/>
                </a:cubicBezTo>
                <a:cubicBezTo>
                  <a:pt x="4427006" y="5681234"/>
                  <a:pt x="4424441" y="5683799"/>
                  <a:pt x="4419312" y="5681234"/>
                </a:cubicBezTo>
                <a:cubicBezTo>
                  <a:pt x="4421877" y="5676104"/>
                  <a:pt x="4421877" y="5673539"/>
                  <a:pt x="4424441" y="5670974"/>
                </a:cubicBezTo>
                <a:close/>
                <a:moveTo>
                  <a:pt x="4432457" y="5661677"/>
                </a:moveTo>
                <a:cubicBezTo>
                  <a:pt x="4434060" y="5661356"/>
                  <a:pt x="4435984" y="5661997"/>
                  <a:pt x="4437266" y="5663280"/>
                </a:cubicBezTo>
                <a:cubicBezTo>
                  <a:pt x="4434701" y="5665845"/>
                  <a:pt x="4432136" y="5665845"/>
                  <a:pt x="4429572" y="5665845"/>
                </a:cubicBezTo>
                <a:cubicBezTo>
                  <a:pt x="4429572" y="5663280"/>
                  <a:pt x="4430855" y="5661997"/>
                  <a:pt x="4432457" y="5661677"/>
                </a:cubicBezTo>
                <a:close/>
                <a:moveTo>
                  <a:pt x="4539862" y="5660715"/>
                </a:moveTo>
                <a:cubicBezTo>
                  <a:pt x="4539862" y="5665845"/>
                  <a:pt x="4537297" y="5665845"/>
                  <a:pt x="4537297" y="5668409"/>
                </a:cubicBezTo>
                <a:cubicBezTo>
                  <a:pt x="4532168" y="5668409"/>
                  <a:pt x="4532168" y="5665845"/>
                  <a:pt x="4532168" y="5663280"/>
                </a:cubicBezTo>
                <a:cubicBezTo>
                  <a:pt x="4534732" y="5665845"/>
                  <a:pt x="4534732" y="5663280"/>
                  <a:pt x="4539862" y="5660715"/>
                </a:cubicBezTo>
                <a:close/>
                <a:moveTo>
                  <a:pt x="4670670" y="5660714"/>
                </a:moveTo>
                <a:cubicBezTo>
                  <a:pt x="4670670" y="5658149"/>
                  <a:pt x="4675800" y="5663279"/>
                  <a:pt x="4678366" y="5660714"/>
                </a:cubicBezTo>
                <a:cubicBezTo>
                  <a:pt x="4686061" y="5668409"/>
                  <a:pt x="4691191" y="5681234"/>
                  <a:pt x="4686061" y="5691494"/>
                </a:cubicBezTo>
                <a:cubicBezTo>
                  <a:pt x="4704015" y="5681234"/>
                  <a:pt x="4724534" y="5681234"/>
                  <a:pt x="4742489" y="5681234"/>
                </a:cubicBezTo>
                <a:cubicBezTo>
                  <a:pt x="4747618" y="5699188"/>
                  <a:pt x="4752748" y="5717143"/>
                  <a:pt x="4752748" y="5735097"/>
                </a:cubicBezTo>
                <a:cubicBezTo>
                  <a:pt x="4755313" y="5740227"/>
                  <a:pt x="4750183" y="5740227"/>
                  <a:pt x="4747618" y="5745357"/>
                </a:cubicBezTo>
                <a:cubicBezTo>
                  <a:pt x="4750183" y="5750486"/>
                  <a:pt x="4752748" y="5758181"/>
                  <a:pt x="4755313" y="5765876"/>
                </a:cubicBezTo>
                <a:cubicBezTo>
                  <a:pt x="4729664" y="5755616"/>
                  <a:pt x="4701450" y="5745357"/>
                  <a:pt x="4662976" y="5747922"/>
                </a:cubicBezTo>
                <a:cubicBezTo>
                  <a:pt x="4665541" y="5722273"/>
                  <a:pt x="4665541" y="5696624"/>
                  <a:pt x="4668105" y="5670974"/>
                </a:cubicBezTo>
                <a:cubicBezTo>
                  <a:pt x="4668105" y="5668409"/>
                  <a:pt x="4675800" y="5665844"/>
                  <a:pt x="4670670" y="5660714"/>
                </a:cubicBezTo>
                <a:close/>
                <a:moveTo>
                  <a:pt x="3875555" y="5653021"/>
                </a:moveTo>
                <a:cubicBezTo>
                  <a:pt x="3880684" y="5653021"/>
                  <a:pt x="3878120" y="5660715"/>
                  <a:pt x="3872990" y="5660715"/>
                </a:cubicBezTo>
                <a:cubicBezTo>
                  <a:pt x="3872990" y="5658150"/>
                  <a:pt x="3875555" y="5658150"/>
                  <a:pt x="3875555" y="5653021"/>
                </a:cubicBezTo>
                <a:close/>
                <a:moveTo>
                  <a:pt x="4368013" y="5653020"/>
                </a:moveTo>
                <a:cubicBezTo>
                  <a:pt x="4375708" y="5653020"/>
                  <a:pt x="4383403" y="5658149"/>
                  <a:pt x="4391098" y="5660714"/>
                </a:cubicBezTo>
                <a:cubicBezTo>
                  <a:pt x="4396227" y="5660714"/>
                  <a:pt x="4396227" y="5658149"/>
                  <a:pt x="4398792" y="5655584"/>
                </a:cubicBezTo>
                <a:cubicBezTo>
                  <a:pt x="4398792" y="5663279"/>
                  <a:pt x="4396227" y="5681234"/>
                  <a:pt x="4406487" y="5683799"/>
                </a:cubicBezTo>
                <a:cubicBezTo>
                  <a:pt x="4403922" y="5688929"/>
                  <a:pt x="4396227" y="5686364"/>
                  <a:pt x="4393662" y="5686364"/>
                </a:cubicBezTo>
                <a:cubicBezTo>
                  <a:pt x="4396227" y="5706883"/>
                  <a:pt x="4406487" y="5722273"/>
                  <a:pt x="4419311" y="5735097"/>
                </a:cubicBezTo>
                <a:cubicBezTo>
                  <a:pt x="4411617" y="5737662"/>
                  <a:pt x="4414182" y="5750486"/>
                  <a:pt x="4409052" y="5758181"/>
                </a:cubicBezTo>
                <a:cubicBezTo>
                  <a:pt x="4409052" y="5747922"/>
                  <a:pt x="4398792" y="5742792"/>
                  <a:pt x="4393662" y="5750486"/>
                </a:cubicBezTo>
                <a:cubicBezTo>
                  <a:pt x="4393662" y="5765876"/>
                  <a:pt x="4409052" y="5776135"/>
                  <a:pt x="4401357" y="5791525"/>
                </a:cubicBezTo>
                <a:cubicBezTo>
                  <a:pt x="4393662" y="5788960"/>
                  <a:pt x="4398792" y="5778700"/>
                  <a:pt x="4396227" y="5771006"/>
                </a:cubicBezTo>
                <a:cubicBezTo>
                  <a:pt x="4393662" y="5771006"/>
                  <a:pt x="4391098" y="5771006"/>
                  <a:pt x="4391098" y="5773571"/>
                </a:cubicBezTo>
                <a:cubicBezTo>
                  <a:pt x="4380838" y="5753051"/>
                  <a:pt x="4378273" y="5724837"/>
                  <a:pt x="4370578" y="5704319"/>
                </a:cubicBezTo>
                <a:cubicBezTo>
                  <a:pt x="4368013" y="5694059"/>
                  <a:pt x="4362883" y="5686364"/>
                  <a:pt x="4365449" y="5678670"/>
                </a:cubicBezTo>
                <a:cubicBezTo>
                  <a:pt x="4370578" y="5676105"/>
                  <a:pt x="4378273" y="5676105"/>
                  <a:pt x="4378273" y="5665844"/>
                </a:cubicBezTo>
                <a:cubicBezTo>
                  <a:pt x="4375708" y="5660714"/>
                  <a:pt x="4368013" y="5668409"/>
                  <a:pt x="4362883" y="5663279"/>
                </a:cubicBezTo>
                <a:cubicBezTo>
                  <a:pt x="4365449" y="5660714"/>
                  <a:pt x="4373143" y="5658149"/>
                  <a:pt x="4368013" y="5653020"/>
                </a:cubicBezTo>
                <a:close/>
                <a:moveTo>
                  <a:pt x="4455220" y="5647890"/>
                </a:moveTo>
                <a:cubicBezTo>
                  <a:pt x="4462915" y="5668410"/>
                  <a:pt x="4498824" y="5673540"/>
                  <a:pt x="4521908" y="5665844"/>
                </a:cubicBezTo>
                <a:cubicBezTo>
                  <a:pt x="4527037" y="5668410"/>
                  <a:pt x="4529602" y="5676105"/>
                  <a:pt x="4534732" y="5678670"/>
                </a:cubicBezTo>
                <a:cubicBezTo>
                  <a:pt x="4534732" y="5706883"/>
                  <a:pt x="4534732" y="5750486"/>
                  <a:pt x="4534732" y="5768441"/>
                </a:cubicBezTo>
                <a:cubicBezTo>
                  <a:pt x="4529602" y="5768441"/>
                  <a:pt x="4527037" y="5765876"/>
                  <a:pt x="4524473" y="5765876"/>
                </a:cubicBezTo>
                <a:cubicBezTo>
                  <a:pt x="4521908" y="5755617"/>
                  <a:pt x="4527037" y="5745357"/>
                  <a:pt x="4521908" y="5740227"/>
                </a:cubicBezTo>
                <a:cubicBezTo>
                  <a:pt x="4514213" y="5737662"/>
                  <a:pt x="4516778" y="5747922"/>
                  <a:pt x="4511648" y="5750486"/>
                </a:cubicBezTo>
                <a:cubicBezTo>
                  <a:pt x="4511648" y="5737662"/>
                  <a:pt x="4524473" y="5722273"/>
                  <a:pt x="4514213" y="5712013"/>
                </a:cubicBezTo>
                <a:cubicBezTo>
                  <a:pt x="4503954" y="5719708"/>
                  <a:pt x="4493694" y="5724837"/>
                  <a:pt x="4493694" y="5740227"/>
                </a:cubicBezTo>
                <a:cubicBezTo>
                  <a:pt x="4480870" y="5729968"/>
                  <a:pt x="4501388" y="5706883"/>
                  <a:pt x="4496259" y="5696624"/>
                </a:cubicBezTo>
                <a:cubicBezTo>
                  <a:pt x="4488564" y="5701754"/>
                  <a:pt x="4485999" y="5714578"/>
                  <a:pt x="4483434" y="5724837"/>
                </a:cubicBezTo>
                <a:cubicBezTo>
                  <a:pt x="4480870" y="5719708"/>
                  <a:pt x="4473175" y="5714578"/>
                  <a:pt x="4470610" y="5706883"/>
                </a:cubicBezTo>
                <a:cubicBezTo>
                  <a:pt x="4468045" y="5706883"/>
                  <a:pt x="4465480" y="5712013"/>
                  <a:pt x="4462915" y="5709448"/>
                </a:cubicBezTo>
                <a:cubicBezTo>
                  <a:pt x="4457784" y="5691494"/>
                  <a:pt x="4457784" y="5668410"/>
                  <a:pt x="4455220" y="5647890"/>
                </a:cubicBezTo>
                <a:close/>
                <a:moveTo>
                  <a:pt x="4427007" y="5642761"/>
                </a:moveTo>
                <a:cubicBezTo>
                  <a:pt x="4429572" y="5645326"/>
                  <a:pt x="4424442" y="5645326"/>
                  <a:pt x="4424442" y="5650455"/>
                </a:cubicBezTo>
                <a:cubicBezTo>
                  <a:pt x="4419312" y="5647890"/>
                  <a:pt x="4421877" y="5642761"/>
                  <a:pt x="4427007" y="5642761"/>
                </a:cubicBezTo>
                <a:close/>
                <a:moveTo>
                  <a:pt x="4360320" y="5642761"/>
                </a:moveTo>
                <a:cubicBezTo>
                  <a:pt x="4362885" y="5642761"/>
                  <a:pt x="4360320" y="5650455"/>
                  <a:pt x="4368014" y="5647890"/>
                </a:cubicBezTo>
                <a:cubicBezTo>
                  <a:pt x="4365450" y="5653021"/>
                  <a:pt x="4362885" y="5647890"/>
                  <a:pt x="4360320" y="5650455"/>
                </a:cubicBezTo>
                <a:cubicBezTo>
                  <a:pt x="4357755" y="5647890"/>
                  <a:pt x="4360320" y="5647890"/>
                  <a:pt x="4360320" y="5642761"/>
                </a:cubicBezTo>
                <a:close/>
                <a:moveTo>
                  <a:pt x="4680930" y="5611982"/>
                </a:moveTo>
                <a:cubicBezTo>
                  <a:pt x="4691190" y="5611982"/>
                  <a:pt x="4691190" y="5617111"/>
                  <a:pt x="4701450" y="5614547"/>
                </a:cubicBezTo>
                <a:cubicBezTo>
                  <a:pt x="4693755" y="5617111"/>
                  <a:pt x="4686060" y="5619676"/>
                  <a:pt x="4678366" y="5624806"/>
                </a:cubicBezTo>
                <a:cubicBezTo>
                  <a:pt x="4680930" y="5619676"/>
                  <a:pt x="4680930" y="5617111"/>
                  <a:pt x="4680930" y="5611982"/>
                </a:cubicBezTo>
                <a:close/>
                <a:moveTo>
                  <a:pt x="4655282" y="5606853"/>
                </a:moveTo>
                <a:cubicBezTo>
                  <a:pt x="4660412" y="5609417"/>
                  <a:pt x="4665542" y="5609417"/>
                  <a:pt x="4670671" y="5609417"/>
                </a:cubicBezTo>
                <a:cubicBezTo>
                  <a:pt x="4670671" y="5622242"/>
                  <a:pt x="4665542" y="5627372"/>
                  <a:pt x="4665542" y="5637631"/>
                </a:cubicBezTo>
                <a:cubicBezTo>
                  <a:pt x="4657847" y="5632502"/>
                  <a:pt x="4655282" y="5624807"/>
                  <a:pt x="4655282" y="5606853"/>
                </a:cubicBezTo>
                <a:close/>
                <a:moveTo>
                  <a:pt x="4686061" y="5605569"/>
                </a:moveTo>
                <a:cubicBezTo>
                  <a:pt x="4687343" y="5605569"/>
                  <a:pt x="4688625" y="5606852"/>
                  <a:pt x="4688625" y="5609417"/>
                </a:cubicBezTo>
                <a:lnTo>
                  <a:pt x="4683496" y="5609417"/>
                </a:lnTo>
                <a:cubicBezTo>
                  <a:pt x="4683496" y="5606852"/>
                  <a:pt x="4684779" y="5605569"/>
                  <a:pt x="4686061" y="5605569"/>
                </a:cubicBezTo>
                <a:close/>
                <a:moveTo>
                  <a:pt x="5052840" y="5604287"/>
                </a:moveTo>
                <a:cubicBezTo>
                  <a:pt x="5027191" y="5601722"/>
                  <a:pt x="5014367" y="5614546"/>
                  <a:pt x="5009237" y="5632501"/>
                </a:cubicBezTo>
                <a:cubicBezTo>
                  <a:pt x="5032321" y="5632501"/>
                  <a:pt x="5060535" y="5635065"/>
                  <a:pt x="5052840" y="5604287"/>
                </a:cubicBezTo>
                <a:close/>
                <a:moveTo>
                  <a:pt x="4401358" y="5601723"/>
                </a:moveTo>
                <a:cubicBezTo>
                  <a:pt x="4409052" y="5606852"/>
                  <a:pt x="4419312" y="5606852"/>
                  <a:pt x="4429572" y="5604287"/>
                </a:cubicBezTo>
                <a:cubicBezTo>
                  <a:pt x="4432136" y="5611982"/>
                  <a:pt x="4429572" y="5624807"/>
                  <a:pt x="4429572" y="5629936"/>
                </a:cubicBezTo>
                <a:cubicBezTo>
                  <a:pt x="4424442" y="5619677"/>
                  <a:pt x="4411617" y="5622242"/>
                  <a:pt x="4409052" y="5629936"/>
                </a:cubicBezTo>
                <a:cubicBezTo>
                  <a:pt x="4409052" y="5617112"/>
                  <a:pt x="4401358" y="5611982"/>
                  <a:pt x="4401358" y="5601723"/>
                </a:cubicBezTo>
                <a:close/>
                <a:moveTo>
                  <a:pt x="4570641" y="5599157"/>
                </a:moveTo>
                <a:cubicBezTo>
                  <a:pt x="4596290" y="5617111"/>
                  <a:pt x="4614244" y="5645325"/>
                  <a:pt x="4642457" y="5660714"/>
                </a:cubicBezTo>
                <a:cubicBezTo>
                  <a:pt x="4645022" y="5678669"/>
                  <a:pt x="4645022" y="5696623"/>
                  <a:pt x="4645022" y="5714577"/>
                </a:cubicBezTo>
                <a:cubicBezTo>
                  <a:pt x="4642457" y="5704317"/>
                  <a:pt x="4624503" y="5696623"/>
                  <a:pt x="4598854" y="5719707"/>
                </a:cubicBezTo>
                <a:cubicBezTo>
                  <a:pt x="4629633" y="5735096"/>
                  <a:pt x="4645022" y="5729966"/>
                  <a:pt x="4647588" y="5722272"/>
                </a:cubicBezTo>
                <a:cubicBezTo>
                  <a:pt x="4647588" y="5732531"/>
                  <a:pt x="4647588" y="5740226"/>
                  <a:pt x="4647588" y="5755615"/>
                </a:cubicBezTo>
                <a:cubicBezTo>
                  <a:pt x="4647588" y="5755615"/>
                  <a:pt x="4645022" y="5755615"/>
                  <a:pt x="4645022" y="5755615"/>
                </a:cubicBezTo>
                <a:cubicBezTo>
                  <a:pt x="4639893" y="5771004"/>
                  <a:pt x="4639893" y="5781264"/>
                  <a:pt x="4645022" y="5794089"/>
                </a:cubicBezTo>
                <a:cubicBezTo>
                  <a:pt x="4642457" y="5799218"/>
                  <a:pt x="4642457" y="5804348"/>
                  <a:pt x="4642457" y="5809478"/>
                </a:cubicBezTo>
                <a:cubicBezTo>
                  <a:pt x="4632198" y="5809478"/>
                  <a:pt x="4621939" y="5809478"/>
                  <a:pt x="4614244" y="5806913"/>
                </a:cubicBezTo>
                <a:cubicBezTo>
                  <a:pt x="4616808" y="5801783"/>
                  <a:pt x="4619374" y="5794089"/>
                  <a:pt x="4627068" y="5786394"/>
                </a:cubicBezTo>
                <a:cubicBezTo>
                  <a:pt x="4601419" y="5786394"/>
                  <a:pt x="4573205" y="5786394"/>
                  <a:pt x="4547555" y="5786394"/>
                </a:cubicBezTo>
                <a:cubicBezTo>
                  <a:pt x="4544991" y="5786394"/>
                  <a:pt x="4542426" y="5783829"/>
                  <a:pt x="4539861" y="5783829"/>
                </a:cubicBezTo>
                <a:cubicBezTo>
                  <a:pt x="4539861" y="5763310"/>
                  <a:pt x="4542426" y="5745356"/>
                  <a:pt x="4552685" y="5732531"/>
                </a:cubicBezTo>
                <a:cubicBezTo>
                  <a:pt x="4550121" y="5727401"/>
                  <a:pt x="4542426" y="5735096"/>
                  <a:pt x="4542426" y="5732531"/>
                </a:cubicBezTo>
                <a:cubicBezTo>
                  <a:pt x="4544991" y="5714577"/>
                  <a:pt x="4539861" y="5686363"/>
                  <a:pt x="4544991" y="5665844"/>
                </a:cubicBezTo>
                <a:cubicBezTo>
                  <a:pt x="4547555" y="5658149"/>
                  <a:pt x="4568076" y="5640195"/>
                  <a:pt x="4544991" y="5640195"/>
                </a:cubicBezTo>
                <a:cubicBezTo>
                  <a:pt x="4547555" y="5632500"/>
                  <a:pt x="4560381" y="5637630"/>
                  <a:pt x="4560381" y="5632500"/>
                </a:cubicBezTo>
                <a:cubicBezTo>
                  <a:pt x="4557816" y="5627371"/>
                  <a:pt x="4555251" y="5624806"/>
                  <a:pt x="4550121" y="5624806"/>
                </a:cubicBezTo>
                <a:cubicBezTo>
                  <a:pt x="4555251" y="5617111"/>
                  <a:pt x="4555251" y="5609416"/>
                  <a:pt x="4560381" y="5604286"/>
                </a:cubicBezTo>
                <a:cubicBezTo>
                  <a:pt x="4565511" y="5604286"/>
                  <a:pt x="4565511" y="5609416"/>
                  <a:pt x="4568076" y="5606851"/>
                </a:cubicBezTo>
                <a:cubicBezTo>
                  <a:pt x="4568076" y="5604286"/>
                  <a:pt x="4570641" y="5601722"/>
                  <a:pt x="4568076" y="5601722"/>
                </a:cubicBezTo>
                <a:cubicBezTo>
                  <a:pt x="4568076" y="5599157"/>
                  <a:pt x="4570641" y="5599157"/>
                  <a:pt x="4570641" y="5599157"/>
                </a:cubicBezTo>
                <a:close/>
                <a:moveTo>
                  <a:pt x="4655282" y="5596592"/>
                </a:moveTo>
                <a:cubicBezTo>
                  <a:pt x="4657847" y="5594028"/>
                  <a:pt x="4662977" y="5594028"/>
                  <a:pt x="4665542" y="5596592"/>
                </a:cubicBezTo>
                <a:cubicBezTo>
                  <a:pt x="4665542" y="5599157"/>
                  <a:pt x="4662977" y="5601722"/>
                  <a:pt x="4657847" y="5601722"/>
                </a:cubicBezTo>
                <a:cubicBezTo>
                  <a:pt x="4655282" y="5601722"/>
                  <a:pt x="4652717" y="5601722"/>
                  <a:pt x="4655282" y="5596592"/>
                </a:cubicBezTo>
                <a:close/>
                <a:moveTo>
                  <a:pt x="4470609" y="5581204"/>
                </a:moveTo>
                <a:cubicBezTo>
                  <a:pt x="4475740" y="5588898"/>
                  <a:pt x="4460350" y="5591463"/>
                  <a:pt x="4465479" y="5596593"/>
                </a:cubicBezTo>
                <a:cubicBezTo>
                  <a:pt x="4460350" y="5596593"/>
                  <a:pt x="4462914" y="5588898"/>
                  <a:pt x="4460350" y="5586333"/>
                </a:cubicBezTo>
                <a:cubicBezTo>
                  <a:pt x="4468044" y="5586333"/>
                  <a:pt x="4468044" y="5583768"/>
                  <a:pt x="4470609" y="5581204"/>
                </a:cubicBezTo>
                <a:close/>
                <a:moveTo>
                  <a:pt x="4527038" y="5578639"/>
                </a:moveTo>
                <a:cubicBezTo>
                  <a:pt x="4527038" y="5583768"/>
                  <a:pt x="4534732" y="5591463"/>
                  <a:pt x="4532168" y="5596593"/>
                </a:cubicBezTo>
                <a:cubicBezTo>
                  <a:pt x="4524473" y="5596593"/>
                  <a:pt x="4511649" y="5596593"/>
                  <a:pt x="4501389" y="5596593"/>
                </a:cubicBezTo>
                <a:cubicBezTo>
                  <a:pt x="4509083" y="5588899"/>
                  <a:pt x="4521908" y="5586333"/>
                  <a:pt x="4527038" y="5578639"/>
                </a:cubicBezTo>
                <a:close/>
                <a:moveTo>
                  <a:pt x="4627069" y="5576074"/>
                </a:moveTo>
                <a:cubicBezTo>
                  <a:pt x="4639893" y="5583768"/>
                  <a:pt x="4639893" y="5596593"/>
                  <a:pt x="4642458" y="5609417"/>
                </a:cubicBezTo>
                <a:cubicBezTo>
                  <a:pt x="4637328" y="5609417"/>
                  <a:pt x="4634763" y="5604287"/>
                  <a:pt x="4629633" y="5601723"/>
                </a:cubicBezTo>
                <a:cubicBezTo>
                  <a:pt x="4634763" y="5591463"/>
                  <a:pt x="4629633" y="5583768"/>
                  <a:pt x="4627069" y="5576074"/>
                </a:cubicBezTo>
                <a:close/>
                <a:moveTo>
                  <a:pt x="4537297" y="5573509"/>
                </a:moveTo>
                <a:cubicBezTo>
                  <a:pt x="4547556" y="5578638"/>
                  <a:pt x="4552686" y="5581203"/>
                  <a:pt x="4560381" y="5586333"/>
                </a:cubicBezTo>
                <a:cubicBezTo>
                  <a:pt x="4560381" y="5596593"/>
                  <a:pt x="4550121" y="5596593"/>
                  <a:pt x="4550121" y="5606852"/>
                </a:cubicBezTo>
                <a:cubicBezTo>
                  <a:pt x="4537297" y="5599158"/>
                  <a:pt x="4547556" y="5581203"/>
                  <a:pt x="4537297" y="5573509"/>
                </a:cubicBezTo>
                <a:close/>
                <a:moveTo>
                  <a:pt x="5968508" y="5555555"/>
                </a:moveTo>
                <a:cubicBezTo>
                  <a:pt x="5973637" y="5565814"/>
                  <a:pt x="5963377" y="5563249"/>
                  <a:pt x="5963377" y="5568379"/>
                </a:cubicBezTo>
                <a:cubicBezTo>
                  <a:pt x="5960813" y="5568379"/>
                  <a:pt x="5960813" y="5565814"/>
                  <a:pt x="5963377" y="5565814"/>
                </a:cubicBezTo>
                <a:cubicBezTo>
                  <a:pt x="5965942" y="5560684"/>
                  <a:pt x="5960813" y="5560684"/>
                  <a:pt x="5958248" y="5560684"/>
                </a:cubicBezTo>
                <a:cubicBezTo>
                  <a:pt x="5960813" y="5555555"/>
                  <a:pt x="5965942" y="5558119"/>
                  <a:pt x="5968508" y="5555555"/>
                </a:cubicBezTo>
                <a:close/>
                <a:moveTo>
                  <a:pt x="4460350" y="5555554"/>
                </a:moveTo>
                <a:cubicBezTo>
                  <a:pt x="4462914" y="5552989"/>
                  <a:pt x="4470609" y="5558119"/>
                  <a:pt x="4475739" y="5555554"/>
                </a:cubicBezTo>
                <a:cubicBezTo>
                  <a:pt x="4478304" y="5563249"/>
                  <a:pt x="4470609" y="5563249"/>
                  <a:pt x="4462914" y="5568379"/>
                </a:cubicBezTo>
                <a:cubicBezTo>
                  <a:pt x="4462914" y="5560684"/>
                  <a:pt x="4460350" y="5558119"/>
                  <a:pt x="4460350" y="5555554"/>
                </a:cubicBezTo>
                <a:close/>
                <a:moveTo>
                  <a:pt x="4573205" y="5552990"/>
                </a:moveTo>
                <a:cubicBezTo>
                  <a:pt x="4575770" y="5552990"/>
                  <a:pt x="4575770" y="5555555"/>
                  <a:pt x="4578335" y="5555555"/>
                </a:cubicBezTo>
                <a:cubicBezTo>
                  <a:pt x="4575770" y="5563250"/>
                  <a:pt x="4575770" y="5570944"/>
                  <a:pt x="4575770" y="5578639"/>
                </a:cubicBezTo>
                <a:cubicBezTo>
                  <a:pt x="4573205" y="5576074"/>
                  <a:pt x="4573205" y="5578639"/>
                  <a:pt x="4568076" y="5576074"/>
                </a:cubicBezTo>
                <a:cubicBezTo>
                  <a:pt x="4568076" y="5568379"/>
                  <a:pt x="4573205" y="5563250"/>
                  <a:pt x="4573205" y="5552990"/>
                </a:cubicBezTo>
                <a:close/>
                <a:moveTo>
                  <a:pt x="5973637" y="5550425"/>
                </a:moveTo>
                <a:cubicBezTo>
                  <a:pt x="5986461" y="5550425"/>
                  <a:pt x="5978766" y="5558119"/>
                  <a:pt x="5976201" y="5563249"/>
                </a:cubicBezTo>
                <a:cubicBezTo>
                  <a:pt x="5971072" y="5560684"/>
                  <a:pt x="5976201" y="5558119"/>
                  <a:pt x="5973637" y="5550425"/>
                </a:cubicBezTo>
                <a:close/>
                <a:moveTo>
                  <a:pt x="4792552" y="5546095"/>
                </a:moveTo>
                <a:lnTo>
                  <a:pt x="4796351" y="5550424"/>
                </a:lnTo>
                <a:lnTo>
                  <a:pt x="4791994" y="5552219"/>
                </a:lnTo>
                <a:close/>
                <a:moveTo>
                  <a:pt x="4552686" y="5545295"/>
                </a:moveTo>
                <a:cubicBezTo>
                  <a:pt x="4552686" y="5560684"/>
                  <a:pt x="4565511" y="5563249"/>
                  <a:pt x="4562946" y="5578638"/>
                </a:cubicBezTo>
                <a:cubicBezTo>
                  <a:pt x="4557816" y="5573509"/>
                  <a:pt x="4550122" y="5570944"/>
                  <a:pt x="4539862" y="5570944"/>
                </a:cubicBezTo>
                <a:cubicBezTo>
                  <a:pt x="4539862" y="5568379"/>
                  <a:pt x="4542427" y="5565814"/>
                  <a:pt x="4539862" y="5565814"/>
                </a:cubicBezTo>
                <a:cubicBezTo>
                  <a:pt x="4542427" y="5560684"/>
                  <a:pt x="4550122" y="5560684"/>
                  <a:pt x="4552686" y="5555555"/>
                </a:cubicBezTo>
                <a:cubicBezTo>
                  <a:pt x="4550122" y="5550425"/>
                  <a:pt x="4542427" y="5552989"/>
                  <a:pt x="4544992" y="5547860"/>
                </a:cubicBezTo>
                <a:cubicBezTo>
                  <a:pt x="4547556" y="5545295"/>
                  <a:pt x="4550122" y="5545295"/>
                  <a:pt x="4552686" y="5545295"/>
                </a:cubicBezTo>
                <a:close/>
                <a:moveTo>
                  <a:pt x="4698886" y="5545294"/>
                </a:moveTo>
                <a:cubicBezTo>
                  <a:pt x="4709145" y="5545294"/>
                  <a:pt x="4714275" y="5550424"/>
                  <a:pt x="4727099" y="5552989"/>
                </a:cubicBezTo>
                <a:cubicBezTo>
                  <a:pt x="4727099" y="5573509"/>
                  <a:pt x="4732229" y="5591463"/>
                  <a:pt x="4732229" y="5614547"/>
                </a:cubicBezTo>
                <a:cubicBezTo>
                  <a:pt x="4729664" y="5614547"/>
                  <a:pt x="4729664" y="5614547"/>
                  <a:pt x="4727099" y="5614547"/>
                </a:cubicBezTo>
                <a:cubicBezTo>
                  <a:pt x="4727099" y="5611982"/>
                  <a:pt x="4727099" y="5609417"/>
                  <a:pt x="4729664" y="5606852"/>
                </a:cubicBezTo>
                <a:cubicBezTo>
                  <a:pt x="4727099" y="5601723"/>
                  <a:pt x="4724535" y="5599158"/>
                  <a:pt x="4721970" y="5599158"/>
                </a:cubicBezTo>
                <a:cubicBezTo>
                  <a:pt x="4714275" y="5601723"/>
                  <a:pt x="4711710" y="5606852"/>
                  <a:pt x="4709145" y="5609417"/>
                </a:cubicBezTo>
                <a:cubicBezTo>
                  <a:pt x="4701450" y="5601723"/>
                  <a:pt x="4696321" y="5596593"/>
                  <a:pt x="4696321" y="5586333"/>
                </a:cubicBezTo>
                <a:cubicBezTo>
                  <a:pt x="4696321" y="5581203"/>
                  <a:pt x="4704015" y="5578638"/>
                  <a:pt x="4704015" y="5573509"/>
                </a:cubicBezTo>
                <a:cubicBezTo>
                  <a:pt x="4706580" y="5560684"/>
                  <a:pt x="4701450" y="5555555"/>
                  <a:pt x="4698886" y="5545294"/>
                </a:cubicBezTo>
                <a:close/>
                <a:moveTo>
                  <a:pt x="4645022" y="5542729"/>
                </a:moveTo>
                <a:cubicBezTo>
                  <a:pt x="4647587" y="5552989"/>
                  <a:pt x="4642457" y="5573508"/>
                  <a:pt x="4639893" y="5581203"/>
                </a:cubicBezTo>
                <a:cubicBezTo>
                  <a:pt x="4629633" y="5568379"/>
                  <a:pt x="4642457" y="5555554"/>
                  <a:pt x="4645022" y="5542729"/>
                </a:cubicBezTo>
                <a:close/>
                <a:moveTo>
                  <a:pt x="5961494" y="5542410"/>
                </a:moveTo>
                <a:cubicBezTo>
                  <a:pt x="5964018" y="5543372"/>
                  <a:pt x="5964018" y="5552991"/>
                  <a:pt x="5958248" y="5545295"/>
                </a:cubicBezTo>
                <a:cubicBezTo>
                  <a:pt x="5959530" y="5542730"/>
                  <a:pt x="5960652" y="5542089"/>
                  <a:pt x="5961494" y="5542410"/>
                </a:cubicBezTo>
                <a:close/>
                <a:moveTo>
                  <a:pt x="4668106" y="5529905"/>
                </a:moveTo>
                <a:cubicBezTo>
                  <a:pt x="4678366" y="5532470"/>
                  <a:pt x="4683496" y="5540165"/>
                  <a:pt x="4693755" y="5542730"/>
                </a:cubicBezTo>
                <a:cubicBezTo>
                  <a:pt x="4691190" y="5545295"/>
                  <a:pt x="4691190" y="5555555"/>
                  <a:pt x="4688625" y="5560684"/>
                </a:cubicBezTo>
                <a:cubicBezTo>
                  <a:pt x="4686061" y="5565814"/>
                  <a:pt x="4683496" y="5576074"/>
                  <a:pt x="4683496" y="5570944"/>
                </a:cubicBezTo>
                <a:cubicBezTo>
                  <a:pt x="4683496" y="5560684"/>
                  <a:pt x="4688625" y="5547860"/>
                  <a:pt x="4680931" y="5545295"/>
                </a:cubicBezTo>
                <a:cubicBezTo>
                  <a:pt x="4673236" y="5545295"/>
                  <a:pt x="4670671" y="5552990"/>
                  <a:pt x="4668106" y="5560684"/>
                </a:cubicBezTo>
                <a:cubicBezTo>
                  <a:pt x="4662976" y="5558119"/>
                  <a:pt x="4660412" y="5558119"/>
                  <a:pt x="4657847" y="5558119"/>
                </a:cubicBezTo>
                <a:cubicBezTo>
                  <a:pt x="4660412" y="5545295"/>
                  <a:pt x="4662976" y="5537600"/>
                  <a:pt x="4668106" y="5529905"/>
                </a:cubicBezTo>
                <a:close/>
                <a:moveTo>
                  <a:pt x="4586029" y="5524776"/>
                </a:moveTo>
                <a:cubicBezTo>
                  <a:pt x="4591159" y="5527340"/>
                  <a:pt x="4596289" y="5532470"/>
                  <a:pt x="4593724" y="5537600"/>
                </a:cubicBezTo>
                <a:cubicBezTo>
                  <a:pt x="4593724" y="5532470"/>
                  <a:pt x="4583465" y="5529905"/>
                  <a:pt x="4586029" y="5524776"/>
                </a:cubicBezTo>
                <a:close/>
                <a:moveTo>
                  <a:pt x="4293632" y="5522210"/>
                </a:moveTo>
                <a:cubicBezTo>
                  <a:pt x="4306456" y="5540165"/>
                  <a:pt x="4314151" y="5573509"/>
                  <a:pt x="4324410" y="5596592"/>
                </a:cubicBezTo>
                <a:cubicBezTo>
                  <a:pt x="4309021" y="5578638"/>
                  <a:pt x="4303891" y="5550425"/>
                  <a:pt x="4293632" y="5522210"/>
                </a:cubicBezTo>
                <a:close/>
                <a:moveTo>
                  <a:pt x="4614564" y="5518043"/>
                </a:moveTo>
                <a:cubicBezTo>
                  <a:pt x="4618091" y="5519005"/>
                  <a:pt x="4621938" y="5520929"/>
                  <a:pt x="4624503" y="5522211"/>
                </a:cubicBezTo>
                <a:cubicBezTo>
                  <a:pt x="4621938" y="5524776"/>
                  <a:pt x="4621938" y="5527340"/>
                  <a:pt x="4619373" y="5527340"/>
                </a:cubicBezTo>
                <a:cubicBezTo>
                  <a:pt x="4619373" y="5522211"/>
                  <a:pt x="4616808" y="5522211"/>
                  <a:pt x="4616808" y="5519646"/>
                </a:cubicBezTo>
                <a:cubicBezTo>
                  <a:pt x="4611678" y="5519646"/>
                  <a:pt x="4611678" y="5522211"/>
                  <a:pt x="4606549" y="5519646"/>
                </a:cubicBezTo>
                <a:cubicBezTo>
                  <a:pt x="4607831" y="5517081"/>
                  <a:pt x="4611037" y="5517081"/>
                  <a:pt x="4614564" y="5518043"/>
                </a:cubicBezTo>
                <a:close/>
                <a:moveTo>
                  <a:pt x="4632197" y="5517081"/>
                </a:moveTo>
                <a:cubicBezTo>
                  <a:pt x="4637327" y="5519646"/>
                  <a:pt x="4645022" y="5519646"/>
                  <a:pt x="4647587" y="5522211"/>
                </a:cubicBezTo>
                <a:cubicBezTo>
                  <a:pt x="4645022" y="5532471"/>
                  <a:pt x="4634763" y="5545295"/>
                  <a:pt x="4634763" y="5558120"/>
                </a:cubicBezTo>
                <a:lnTo>
                  <a:pt x="4627068" y="5558120"/>
                </a:lnTo>
                <a:cubicBezTo>
                  <a:pt x="4624503" y="5547860"/>
                  <a:pt x="4634763" y="5540166"/>
                  <a:pt x="4629632" y="5535036"/>
                </a:cubicBezTo>
                <a:cubicBezTo>
                  <a:pt x="4627068" y="5537601"/>
                  <a:pt x="4624503" y="5537601"/>
                  <a:pt x="4624503" y="5537601"/>
                </a:cubicBezTo>
                <a:cubicBezTo>
                  <a:pt x="4624503" y="5532471"/>
                  <a:pt x="4629632" y="5524776"/>
                  <a:pt x="4632197" y="5517081"/>
                </a:cubicBezTo>
                <a:close/>
                <a:moveTo>
                  <a:pt x="4645022" y="5506822"/>
                </a:moveTo>
                <a:cubicBezTo>
                  <a:pt x="4645022" y="5511952"/>
                  <a:pt x="4645022" y="5511952"/>
                  <a:pt x="4645022" y="5514516"/>
                </a:cubicBezTo>
                <a:cubicBezTo>
                  <a:pt x="4639892" y="5514516"/>
                  <a:pt x="4637327" y="5517082"/>
                  <a:pt x="4634763" y="5511952"/>
                </a:cubicBezTo>
                <a:cubicBezTo>
                  <a:pt x="4637327" y="5509387"/>
                  <a:pt x="4639892" y="5506822"/>
                  <a:pt x="4645022" y="5506822"/>
                </a:cubicBezTo>
                <a:close/>
                <a:moveTo>
                  <a:pt x="4709145" y="5491433"/>
                </a:moveTo>
                <a:cubicBezTo>
                  <a:pt x="4714274" y="5499127"/>
                  <a:pt x="4714274" y="5509387"/>
                  <a:pt x="4716840" y="5519646"/>
                </a:cubicBezTo>
                <a:cubicBezTo>
                  <a:pt x="4711710" y="5517082"/>
                  <a:pt x="4711710" y="5514517"/>
                  <a:pt x="4706580" y="5514517"/>
                </a:cubicBezTo>
                <a:cubicBezTo>
                  <a:pt x="4706580" y="5506822"/>
                  <a:pt x="4709145" y="5501692"/>
                  <a:pt x="4709145" y="5491433"/>
                </a:cubicBezTo>
                <a:close/>
                <a:moveTo>
                  <a:pt x="3054787" y="5486303"/>
                </a:moveTo>
                <a:cubicBezTo>
                  <a:pt x="3051581" y="5501051"/>
                  <a:pt x="3047413" y="5514517"/>
                  <a:pt x="3042484" y="5527021"/>
                </a:cubicBezTo>
                <a:lnTo>
                  <a:pt x="3040513" y="5531102"/>
                </a:lnTo>
                <a:close/>
                <a:moveTo>
                  <a:pt x="4934855" y="5486302"/>
                </a:moveTo>
                <a:cubicBezTo>
                  <a:pt x="4950244" y="5522210"/>
                  <a:pt x="4891252" y="5555554"/>
                  <a:pt x="4934855" y="5573508"/>
                </a:cubicBezTo>
                <a:cubicBezTo>
                  <a:pt x="4939985" y="5555554"/>
                  <a:pt x="4998978" y="5522210"/>
                  <a:pt x="5009237" y="5558118"/>
                </a:cubicBezTo>
                <a:cubicBezTo>
                  <a:pt x="4983588" y="5570943"/>
                  <a:pt x="4929725" y="5558118"/>
                  <a:pt x="4934855" y="5601722"/>
                </a:cubicBezTo>
                <a:cubicBezTo>
                  <a:pt x="4960504" y="5601722"/>
                  <a:pt x="4983588" y="5601722"/>
                  <a:pt x="5009237" y="5601722"/>
                </a:cubicBezTo>
                <a:cubicBezTo>
                  <a:pt x="5022061" y="5583767"/>
                  <a:pt x="5022061" y="5550424"/>
                  <a:pt x="5037451" y="5529905"/>
                </a:cubicBezTo>
                <a:cubicBezTo>
                  <a:pt x="5004107" y="5488866"/>
                  <a:pt x="4973329" y="5529905"/>
                  <a:pt x="4934855" y="5486302"/>
                </a:cubicBezTo>
                <a:close/>
                <a:moveTo>
                  <a:pt x="4619373" y="5481173"/>
                </a:moveTo>
                <a:cubicBezTo>
                  <a:pt x="4627068" y="5486303"/>
                  <a:pt x="4616808" y="5486303"/>
                  <a:pt x="4616808" y="5493997"/>
                </a:cubicBezTo>
                <a:cubicBezTo>
                  <a:pt x="4614244" y="5491433"/>
                  <a:pt x="4614244" y="5488867"/>
                  <a:pt x="4614244" y="5486303"/>
                </a:cubicBezTo>
                <a:cubicBezTo>
                  <a:pt x="4619373" y="5486303"/>
                  <a:pt x="4619373" y="5483738"/>
                  <a:pt x="4619373" y="5481173"/>
                </a:cubicBezTo>
                <a:close/>
                <a:moveTo>
                  <a:pt x="4698885" y="5476042"/>
                </a:moveTo>
                <a:cubicBezTo>
                  <a:pt x="4706580" y="5483737"/>
                  <a:pt x="4701450" y="5501692"/>
                  <a:pt x="4698885" y="5511951"/>
                </a:cubicBezTo>
                <a:cubicBezTo>
                  <a:pt x="4686061" y="5511951"/>
                  <a:pt x="4668106" y="5509386"/>
                  <a:pt x="4657846" y="5514516"/>
                </a:cubicBezTo>
                <a:cubicBezTo>
                  <a:pt x="4662976" y="5499127"/>
                  <a:pt x="4688625" y="5514516"/>
                  <a:pt x="4696320" y="5506821"/>
                </a:cubicBezTo>
                <a:cubicBezTo>
                  <a:pt x="4693755" y="5499127"/>
                  <a:pt x="4686061" y="5499127"/>
                  <a:pt x="4680931" y="5496562"/>
                </a:cubicBezTo>
                <a:cubicBezTo>
                  <a:pt x="4680931" y="5493997"/>
                  <a:pt x="4683496" y="5491432"/>
                  <a:pt x="4680931" y="5491432"/>
                </a:cubicBezTo>
                <a:cubicBezTo>
                  <a:pt x="4686061" y="5483737"/>
                  <a:pt x="4696320" y="5483737"/>
                  <a:pt x="4698885" y="5476042"/>
                </a:cubicBezTo>
                <a:close/>
                <a:moveTo>
                  <a:pt x="4601419" y="5473477"/>
                </a:moveTo>
                <a:cubicBezTo>
                  <a:pt x="4606549" y="5476042"/>
                  <a:pt x="4601419" y="5481172"/>
                  <a:pt x="4601419" y="5483737"/>
                </a:cubicBezTo>
                <a:cubicBezTo>
                  <a:pt x="4588595" y="5483737"/>
                  <a:pt x="4573205" y="5501691"/>
                  <a:pt x="4583465" y="5514516"/>
                </a:cubicBezTo>
                <a:cubicBezTo>
                  <a:pt x="4575770" y="5527340"/>
                  <a:pt x="4562946" y="5522211"/>
                  <a:pt x="4552686" y="5524776"/>
                </a:cubicBezTo>
                <a:cubicBezTo>
                  <a:pt x="4552686" y="5519645"/>
                  <a:pt x="4555251" y="5514516"/>
                  <a:pt x="4552686" y="5511951"/>
                </a:cubicBezTo>
                <a:cubicBezTo>
                  <a:pt x="4547556" y="5514516"/>
                  <a:pt x="4547556" y="5517081"/>
                  <a:pt x="4542426" y="5517081"/>
                </a:cubicBezTo>
                <a:cubicBezTo>
                  <a:pt x="4547556" y="5506821"/>
                  <a:pt x="4552686" y="5493997"/>
                  <a:pt x="4557816" y="5483737"/>
                </a:cubicBezTo>
                <a:cubicBezTo>
                  <a:pt x="4578335" y="5483737"/>
                  <a:pt x="4591160" y="5486302"/>
                  <a:pt x="4601419" y="5473477"/>
                </a:cubicBezTo>
                <a:close/>
                <a:moveTo>
                  <a:pt x="4632198" y="5460654"/>
                </a:moveTo>
                <a:cubicBezTo>
                  <a:pt x="4632198" y="5463219"/>
                  <a:pt x="4629633" y="5465784"/>
                  <a:pt x="4629633" y="5468348"/>
                </a:cubicBezTo>
                <a:cubicBezTo>
                  <a:pt x="4624503" y="5465784"/>
                  <a:pt x="4627068" y="5458089"/>
                  <a:pt x="4632198" y="5460654"/>
                </a:cubicBezTo>
                <a:close/>
                <a:moveTo>
                  <a:pt x="4344930" y="5460654"/>
                </a:moveTo>
                <a:cubicBezTo>
                  <a:pt x="4347494" y="5460654"/>
                  <a:pt x="4344930" y="5468348"/>
                  <a:pt x="4347494" y="5473478"/>
                </a:cubicBezTo>
                <a:cubicBezTo>
                  <a:pt x="4339800" y="5470913"/>
                  <a:pt x="4344930" y="5463218"/>
                  <a:pt x="4344930" y="5460654"/>
                </a:cubicBezTo>
                <a:close/>
                <a:moveTo>
                  <a:pt x="3036835" y="5460653"/>
                </a:moveTo>
                <a:cubicBezTo>
                  <a:pt x="3034269" y="5509386"/>
                  <a:pt x="3013751" y="5552989"/>
                  <a:pt x="2993231" y="5581203"/>
                </a:cubicBezTo>
                <a:cubicBezTo>
                  <a:pt x="2988101" y="5586332"/>
                  <a:pt x="2980406" y="5594027"/>
                  <a:pt x="2970147" y="5604286"/>
                </a:cubicBezTo>
                <a:cubicBezTo>
                  <a:pt x="2936803" y="5637630"/>
                  <a:pt x="2890634" y="5683798"/>
                  <a:pt x="2890634" y="5737661"/>
                </a:cubicBezTo>
                <a:cubicBezTo>
                  <a:pt x="2888069" y="5727401"/>
                  <a:pt x="2882939" y="5722272"/>
                  <a:pt x="2882939" y="5722272"/>
                </a:cubicBezTo>
                <a:cubicBezTo>
                  <a:pt x="2877810" y="5717142"/>
                  <a:pt x="2875245" y="5714577"/>
                  <a:pt x="2875245" y="5709447"/>
                </a:cubicBezTo>
                <a:lnTo>
                  <a:pt x="2875245" y="5706882"/>
                </a:lnTo>
                <a:cubicBezTo>
                  <a:pt x="2936803" y="5640195"/>
                  <a:pt x="3000926" y="5570943"/>
                  <a:pt x="3036835" y="5460653"/>
                </a:cubicBezTo>
                <a:close/>
                <a:moveTo>
                  <a:pt x="4247463" y="5424744"/>
                </a:moveTo>
                <a:cubicBezTo>
                  <a:pt x="4262853" y="5447829"/>
                  <a:pt x="4275678" y="5473478"/>
                  <a:pt x="4285937" y="5504257"/>
                </a:cubicBezTo>
                <a:cubicBezTo>
                  <a:pt x="4273113" y="5481172"/>
                  <a:pt x="4260288" y="5450394"/>
                  <a:pt x="4247463" y="5424744"/>
                </a:cubicBezTo>
                <a:close/>
                <a:moveTo>
                  <a:pt x="4247463" y="5409356"/>
                </a:moveTo>
                <a:cubicBezTo>
                  <a:pt x="4250029" y="5409356"/>
                  <a:pt x="4247463" y="5414485"/>
                  <a:pt x="4247463" y="5419615"/>
                </a:cubicBezTo>
                <a:cubicBezTo>
                  <a:pt x="4242334" y="5419615"/>
                  <a:pt x="4239769" y="5419615"/>
                  <a:pt x="4239769" y="5414485"/>
                </a:cubicBezTo>
                <a:cubicBezTo>
                  <a:pt x="4244898" y="5411920"/>
                  <a:pt x="4247463" y="5411920"/>
                  <a:pt x="4247463" y="5409356"/>
                </a:cubicBezTo>
                <a:close/>
                <a:moveTo>
                  <a:pt x="4511648" y="5393966"/>
                </a:moveTo>
                <a:cubicBezTo>
                  <a:pt x="4511648" y="5409355"/>
                  <a:pt x="4534732" y="5417051"/>
                  <a:pt x="4542427" y="5409355"/>
                </a:cubicBezTo>
                <a:cubicBezTo>
                  <a:pt x="4534732" y="5442700"/>
                  <a:pt x="4550121" y="5493997"/>
                  <a:pt x="4534732" y="5519646"/>
                </a:cubicBezTo>
                <a:cubicBezTo>
                  <a:pt x="4527037" y="5519646"/>
                  <a:pt x="4532167" y="5514517"/>
                  <a:pt x="4529602" y="5509387"/>
                </a:cubicBezTo>
                <a:cubicBezTo>
                  <a:pt x="4521907" y="5496562"/>
                  <a:pt x="4521907" y="5470913"/>
                  <a:pt x="4516778" y="5447830"/>
                </a:cubicBezTo>
                <a:cubicBezTo>
                  <a:pt x="4511648" y="5427310"/>
                  <a:pt x="4498823" y="5406790"/>
                  <a:pt x="4511648" y="5393966"/>
                </a:cubicBezTo>
                <a:close/>
                <a:moveTo>
                  <a:pt x="2411002" y="5393966"/>
                </a:moveTo>
                <a:cubicBezTo>
                  <a:pt x="2375092" y="5419616"/>
                  <a:pt x="2334054" y="5445265"/>
                  <a:pt x="2295581" y="5470913"/>
                </a:cubicBezTo>
                <a:cubicBezTo>
                  <a:pt x="2295581" y="5470913"/>
                  <a:pt x="2295581" y="5468348"/>
                  <a:pt x="2295581" y="5468348"/>
                </a:cubicBezTo>
                <a:cubicBezTo>
                  <a:pt x="2331489" y="5442700"/>
                  <a:pt x="2372527" y="5417051"/>
                  <a:pt x="2411002" y="5393966"/>
                </a:cubicBezTo>
                <a:close/>
                <a:moveTo>
                  <a:pt x="4704015" y="5391402"/>
                </a:moveTo>
                <a:cubicBezTo>
                  <a:pt x="4714274" y="5393967"/>
                  <a:pt x="4714274" y="5417051"/>
                  <a:pt x="4709144" y="5427310"/>
                </a:cubicBezTo>
                <a:cubicBezTo>
                  <a:pt x="4704015" y="5419616"/>
                  <a:pt x="4704015" y="5404226"/>
                  <a:pt x="4704015" y="5391402"/>
                </a:cubicBezTo>
                <a:close/>
                <a:moveTo>
                  <a:pt x="4691191" y="5383705"/>
                </a:moveTo>
                <a:cubicBezTo>
                  <a:pt x="4696320" y="5396531"/>
                  <a:pt x="4698885" y="5414485"/>
                  <a:pt x="4698885" y="5429874"/>
                </a:cubicBezTo>
                <a:cubicBezTo>
                  <a:pt x="4688626" y="5432439"/>
                  <a:pt x="4673236" y="5440134"/>
                  <a:pt x="4665542" y="5447829"/>
                </a:cubicBezTo>
                <a:cubicBezTo>
                  <a:pt x="4670671" y="5427310"/>
                  <a:pt x="4655281" y="5376011"/>
                  <a:pt x="4691191" y="5383705"/>
                </a:cubicBezTo>
                <a:close/>
                <a:moveTo>
                  <a:pt x="4683496" y="5376012"/>
                </a:moveTo>
                <a:cubicBezTo>
                  <a:pt x="4688625" y="5376012"/>
                  <a:pt x="4686061" y="5376012"/>
                  <a:pt x="4688625" y="5376012"/>
                </a:cubicBezTo>
                <a:cubicBezTo>
                  <a:pt x="4688625" y="5378576"/>
                  <a:pt x="4691190" y="5378576"/>
                  <a:pt x="4691190" y="5381141"/>
                </a:cubicBezTo>
                <a:lnTo>
                  <a:pt x="4683496" y="5381141"/>
                </a:lnTo>
                <a:close/>
                <a:moveTo>
                  <a:pt x="4211555" y="5373447"/>
                </a:moveTo>
                <a:cubicBezTo>
                  <a:pt x="4219250" y="5378576"/>
                  <a:pt x="4221815" y="5386271"/>
                  <a:pt x="4221815" y="5396531"/>
                </a:cubicBezTo>
                <a:cubicBezTo>
                  <a:pt x="4219250" y="5396531"/>
                  <a:pt x="4219250" y="5396531"/>
                  <a:pt x="4219250" y="5399096"/>
                </a:cubicBezTo>
                <a:cubicBezTo>
                  <a:pt x="4216685" y="5393966"/>
                  <a:pt x="4211555" y="5388836"/>
                  <a:pt x="4203861" y="5388836"/>
                </a:cubicBezTo>
                <a:cubicBezTo>
                  <a:pt x="4206425" y="5381141"/>
                  <a:pt x="4211555" y="5381141"/>
                  <a:pt x="4211555" y="5373447"/>
                </a:cubicBezTo>
                <a:close/>
                <a:moveTo>
                  <a:pt x="4496259" y="5370883"/>
                </a:moveTo>
                <a:cubicBezTo>
                  <a:pt x="4498824" y="5370883"/>
                  <a:pt x="4496259" y="5376012"/>
                  <a:pt x="4501388" y="5378577"/>
                </a:cubicBezTo>
                <a:cubicBezTo>
                  <a:pt x="4496259" y="5381142"/>
                  <a:pt x="4496259" y="5373447"/>
                  <a:pt x="4496259" y="5370883"/>
                </a:cubicBezTo>
                <a:close/>
                <a:moveTo>
                  <a:pt x="4714045" y="5365602"/>
                </a:moveTo>
                <a:lnTo>
                  <a:pt x="4715878" y="5371523"/>
                </a:lnTo>
                <a:cubicBezTo>
                  <a:pt x="4715557" y="5377936"/>
                  <a:pt x="4714275" y="5384989"/>
                  <a:pt x="4714275" y="5388836"/>
                </a:cubicBezTo>
                <a:cubicBezTo>
                  <a:pt x="4709145" y="5388836"/>
                  <a:pt x="4709145" y="5386271"/>
                  <a:pt x="4706580" y="5386271"/>
                </a:cubicBezTo>
                <a:cubicBezTo>
                  <a:pt x="4706580" y="5376012"/>
                  <a:pt x="4706580" y="5373447"/>
                  <a:pt x="4698886" y="5370882"/>
                </a:cubicBezTo>
                <a:cubicBezTo>
                  <a:pt x="4701450" y="5363187"/>
                  <a:pt x="4706580" y="5373447"/>
                  <a:pt x="4714275" y="5370882"/>
                </a:cubicBezTo>
                <a:close/>
                <a:moveTo>
                  <a:pt x="4711710" y="5358058"/>
                </a:moveTo>
                <a:cubicBezTo>
                  <a:pt x="4711710" y="5360622"/>
                  <a:pt x="4712992" y="5361905"/>
                  <a:pt x="4713954" y="5363508"/>
                </a:cubicBezTo>
                <a:lnTo>
                  <a:pt x="4714045" y="5365602"/>
                </a:lnTo>
                <a:close/>
                <a:moveTo>
                  <a:pt x="4481297" y="5334832"/>
                </a:moveTo>
                <a:lnTo>
                  <a:pt x="4480870" y="5334974"/>
                </a:lnTo>
                <a:lnTo>
                  <a:pt x="4480532" y="5336616"/>
                </a:lnTo>
                <a:close/>
                <a:moveTo>
                  <a:pt x="4421875" y="5332408"/>
                </a:moveTo>
                <a:cubicBezTo>
                  <a:pt x="4429570" y="5332408"/>
                  <a:pt x="4432135" y="5337537"/>
                  <a:pt x="4439830" y="5337537"/>
                </a:cubicBezTo>
                <a:cubicBezTo>
                  <a:pt x="4432135" y="5345232"/>
                  <a:pt x="4429570" y="5365751"/>
                  <a:pt x="4442396" y="5368316"/>
                </a:cubicBezTo>
                <a:cubicBezTo>
                  <a:pt x="4452655" y="5365751"/>
                  <a:pt x="4452655" y="5355492"/>
                  <a:pt x="4452655" y="5347797"/>
                </a:cubicBezTo>
                <a:cubicBezTo>
                  <a:pt x="4462914" y="5352927"/>
                  <a:pt x="4478304" y="5355492"/>
                  <a:pt x="4483434" y="5365751"/>
                </a:cubicBezTo>
                <a:cubicBezTo>
                  <a:pt x="4473174" y="5370881"/>
                  <a:pt x="4460350" y="5360621"/>
                  <a:pt x="4452655" y="5368316"/>
                </a:cubicBezTo>
                <a:cubicBezTo>
                  <a:pt x="4452655" y="5388835"/>
                  <a:pt x="4470609" y="5401660"/>
                  <a:pt x="4485999" y="5388835"/>
                </a:cubicBezTo>
                <a:cubicBezTo>
                  <a:pt x="4488563" y="5393965"/>
                  <a:pt x="4480869" y="5401660"/>
                  <a:pt x="4488563" y="5406789"/>
                </a:cubicBezTo>
                <a:cubicBezTo>
                  <a:pt x="4480869" y="5417049"/>
                  <a:pt x="4475739" y="5429873"/>
                  <a:pt x="4485999" y="5440133"/>
                </a:cubicBezTo>
                <a:cubicBezTo>
                  <a:pt x="4493693" y="5440133"/>
                  <a:pt x="4496258" y="5432438"/>
                  <a:pt x="4498823" y="5427309"/>
                </a:cubicBezTo>
                <a:cubicBezTo>
                  <a:pt x="4509082" y="5458087"/>
                  <a:pt x="4509082" y="5488866"/>
                  <a:pt x="4519342" y="5519645"/>
                </a:cubicBezTo>
                <a:cubicBezTo>
                  <a:pt x="4509082" y="5527339"/>
                  <a:pt x="4506518" y="5537599"/>
                  <a:pt x="4496258" y="5542729"/>
                </a:cubicBezTo>
                <a:cubicBezTo>
                  <a:pt x="4493693" y="5532469"/>
                  <a:pt x="4493693" y="5522210"/>
                  <a:pt x="4493693" y="5514515"/>
                </a:cubicBezTo>
                <a:cubicBezTo>
                  <a:pt x="4483434" y="5519645"/>
                  <a:pt x="4483434" y="5535034"/>
                  <a:pt x="4478304" y="5545293"/>
                </a:cubicBezTo>
                <a:cubicBezTo>
                  <a:pt x="4473174" y="5540164"/>
                  <a:pt x="4468044" y="5529904"/>
                  <a:pt x="4462914" y="5524775"/>
                </a:cubicBezTo>
                <a:cubicBezTo>
                  <a:pt x="4462914" y="5509385"/>
                  <a:pt x="4473174" y="5496561"/>
                  <a:pt x="4465479" y="5486301"/>
                </a:cubicBezTo>
                <a:cubicBezTo>
                  <a:pt x="4450090" y="5488866"/>
                  <a:pt x="4444960" y="5501690"/>
                  <a:pt x="4434701" y="5509385"/>
                </a:cubicBezTo>
                <a:cubicBezTo>
                  <a:pt x="4434701" y="5488866"/>
                  <a:pt x="4424440" y="5463217"/>
                  <a:pt x="4432135" y="5450393"/>
                </a:cubicBezTo>
                <a:cubicBezTo>
                  <a:pt x="4432135" y="5447828"/>
                  <a:pt x="4427005" y="5450393"/>
                  <a:pt x="4427005" y="5447828"/>
                </a:cubicBezTo>
                <a:cubicBezTo>
                  <a:pt x="4424440" y="5411919"/>
                  <a:pt x="4416746" y="5370881"/>
                  <a:pt x="4421875" y="5332408"/>
                </a:cubicBezTo>
                <a:close/>
                <a:moveTo>
                  <a:pt x="4403923" y="5317020"/>
                </a:moveTo>
                <a:cubicBezTo>
                  <a:pt x="4406487" y="5317020"/>
                  <a:pt x="4406487" y="5322149"/>
                  <a:pt x="4409053" y="5324714"/>
                </a:cubicBezTo>
                <a:cubicBezTo>
                  <a:pt x="4401358" y="5324714"/>
                  <a:pt x="4401358" y="5319585"/>
                  <a:pt x="4403923" y="5317020"/>
                </a:cubicBezTo>
                <a:close/>
                <a:moveTo>
                  <a:pt x="4668106" y="5309324"/>
                </a:moveTo>
                <a:cubicBezTo>
                  <a:pt x="4680930" y="5319585"/>
                  <a:pt x="4680930" y="5342668"/>
                  <a:pt x="4686060" y="5360623"/>
                </a:cubicBezTo>
                <a:cubicBezTo>
                  <a:pt x="4680930" y="5363188"/>
                  <a:pt x="4680930" y="5368317"/>
                  <a:pt x="4678366" y="5370882"/>
                </a:cubicBezTo>
                <a:cubicBezTo>
                  <a:pt x="4665541" y="5355493"/>
                  <a:pt x="4665541" y="5332409"/>
                  <a:pt x="4668106" y="5309324"/>
                </a:cubicBezTo>
                <a:close/>
                <a:moveTo>
                  <a:pt x="4427007" y="5299066"/>
                </a:moveTo>
                <a:cubicBezTo>
                  <a:pt x="4432136" y="5304195"/>
                  <a:pt x="4432136" y="5314455"/>
                  <a:pt x="4437266" y="5317020"/>
                </a:cubicBezTo>
                <a:cubicBezTo>
                  <a:pt x="4429572" y="5322150"/>
                  <a:pt x="4427007" y="5309325"/>
                  <a:pt x="4427007" y="5299066"/>
                </a:cubicBezTo>
                <a:close/>
                <a:moveTo>
                  <a:pt x="3342303" y="5277838"/>
                </a:moveTo>
                <a:lnTo>
                  <a:pt x="3357723" y="5294453"/>
                </a:lnTo>
                <a:lnTo>
                  <a:pt x="3343018" y="5280470"/>
                </a:lnTo>
                <a:close/>
                <a:moveTo>
                  <a:pt x="3133288" y="5261808"/>
                </a:moveTo>
                <a:lnTo>
                  <a:pt x="3134299" y="5263157"/>
                </a:lnTo>
                <a:lnTo>
                  <a:pt x="3119983" y="5287742"/>
                </a:lnTo>
                <a:lnTo>
                  <a:pt x="3125923" y="5272255"/>
                </a:lnTo>
                <a:close/>
                <a:moveTo>
                  <a:pt x="4668106" y="5252896"/>
                </a:moveTo>
                <a:cubicBezTo>
                  <a:pt x="4673236" y="5268286"/>
                  <a:pt x="4673236" y="5286240"/>
                  <a:pt x="4675801" y="5304195"/>
                </a:cubicBezTo>
                <a:cubicBezTo>
                  <a:pt x="4660412" y="5293935"/>
                  <a:pt x="4668106" y="5273416"/>
                  <a:pt x="4668106" y="5252896"/>
                </a:cubicBezTo>
                <a:close/>
                <a:moveTo>
                  <a:pt x="4226945" y="5252896"/>
                </a:moveTo>
                <a:lnTo>
                  <a:pt x="4230912" y="5266501"/>
                </a:lnTo>
                <a:lnTo>
                  <a:pt x="4231659" y="5254468"/>
                </a:lnTo>
                <a:lnTo>
                  <a:pt x="4230792" y="5254179"/>
                </a:lnTo>
                <a:cubicBezTo>
                  <a:pt x="4230151" y="5253537"/>
                  <a:pt x="4229509" y="5252896"/>
                  <a:pt x="4226945" y="5252896"/>
                </a:cubicBezTo>
                <a:close/>
                <a:moveTo>
                  <a:pt x="4462915" y="5222118"/>
                </a:moveTo>
                <a:cubicBezTo>
                  <a:pt x="4475739" y="5258027"/>
                  <a:pt x="4485999" y="5293936"/>
                  <a:pt x="4488564" y="5332409"/>
                </a:cubicBezTo>
                <a:lnTo>
                  <a:pt x="4483848" y="5333981"/>
                </a:lnTo>
                <a:lnTo>
                  <a:pt x="4486000" y="5355493"/>
                </a:lnTo>
                <a:lnTo>
                  <a:pt x="4478446" y="5349827"/>
                </a:lnTo>
                <a:lnTo>
                  <a:pt x="4478305" y="5352928"/>
                </a:lnTo>
                <a:cubicBezTo>
                  <a:pt x="4468045" y="5347799"/>
                  <a:pt x="4455221" y="5334974"/>
                  <a:pt x="4447526" y="5324715"/>
                </a:cubicBezTo>
                <a:cubicBezTo>
                  <a:pt x="4452656" y="5314455"/>
                  <a:pt x="4460350" y="5304195"/>
                  <a:pt x="4460350" y="5293936"/>
                </a:cubicBezTo>
                <a:cubicBezTo>
                  <a:pt x="4452656" y="5293936"/>
                  <a:pt x="4455221" y="5301630"/>
                  <a:pt x="4447526" y="5301630"/>
                </a:cubicBezTo>
                <a:cubicBezTo>
                  <a:pt x="4447526" y="5296501"/>
                  <a:pt x="4444961" y="5293936"/>
                  <a:pt x="4442396" y="5291371"/>
                </a:cubicBezTo>
                <a:cubicBezTo>
                  <a:pt x="4450091" y="5283676"/>
                  <a:pt x="4465480" y="5283676"/>
                  <a:pt x="4473175" y="5273417"/>
                </a:cubicBezTo>
                <a:cubicBezTo>
                  <a:pt x="4460350" y="5268287"/>
                  <a:pt x="4442396" y="5278546"/>
                  <a:pt x="4429571" y="5278546"/>
                </a:cubicBezTo>
                <a:cubicBezTo>
                  <a:pt x="4429571" y="5260592"/>
                  <a:pt x="4437266" y="5250333"/>
                  <a:pt x="4437266" y="5237507"/>
                </a:cubicBezTo>
                <a:cubicBezTo>
                  <a:pt x="4450091" y="5234942"/>
                  <a:pt x="4447526" y="5219553"/>
                  <a:pt x="4462915" y="5222118"/>
                </a:cubicBezTo>
                <a:close/>
                <a:moveTo>
                  <a:pt x="2214364" y="5202591"/>
                </a:moveTo>
                <a:lnTo>
                  <a:pt x="2203244" y="5211857"/>
                </a:lnTo>
                <a:cubicBezTo>
                  <a:pt x="2203244" y="5209293"/>
                  <a:pt x="2200680" y="5209293"/>
                  <a:pt x="2200680" y="5206728"/>
                </a:cubicBezTo>
                <a:close/>
                <a:moveTo>
                  <a:pt x="3252284" y="5193905"/>
                </a:moveTo>
                <a:cubicBezTo>
                  <a:pt x="3249719" y="5193905"/>
                  <a:pt x="3242025" y="5196470"/>
                  <a:pt x="3239460" y="5204165"/>
                </a:cubicBezTo>
                <a:cubicBezTo>
                  <a:pt x="3239460" y="5206730"/>
                  <a:pt x="3239460" y="5209295"/>
                  <a:pt x="3244589" y="5211859"/>
                </a:cubicBezTo>
                <a:cubicBezTo>
                  <a:pt x="3262544" y="5224684"/>
                  <a:pt x="3277934" y="5242638"/>
                  <a:pt x="3293322" y="5263157"/>
                </a:cubicBezTo>
                <a:cubicBezTo>
                  <a:pt x="3324101" y="5301630"/>
                  <a:pt x="3357445" y="5345234"/>
                  <a:pt x="3419002" y="5358058"/>
                </a:cubicBezTo>
                <a:cubicBezTo>
                  <a:pt x="3426698" y="5360623"/>
                  <a:pt x="3436957" y="5360623"/>
                  <a:pt x="3444651" y="5360623"/>
                </a:cubicBezTo>
                <a:cubicBezTo>
                  <a:pt x="3480560" y="5360623"/>
                  <a:pt x="3511338" y="5345234"/>
                  <a:pt x="3539552" y="5329844"/>
                </a:cubicBezTo>
                <a:lnTo>
                  <a:pt x="3547247" y="5327279"/>
                </a:lnTo>
                <a:lnTo>
                  <a:pt x="3544682" y="5314455"/>
                </a:lnTo>
                <a:cubicBezTo>
                  <a:pt x="3524163" y="5311890"/>
                  <a:pt x="3508773" y="5319585"/>
                  <a:pt x="3493384" y="5324715"/>
                </a:cubicBezTo>
                <a:cubicBezTo>
                  <a:pt x="3475430" y="5329844"/>
                  <a:pt x="3457475" y="5337539"/>
                  <a:pt x="3431827" y="5332409"/>
                </a:cubicBezTo>
                <a:cubicBezTo>
                  <a:pt x="3404897" y="5328562"/>
                  <a:pt x="3384377" y="5318303"/>
                  <a:pt x="3367063" y="5304516"/>
                </a:cubicBezTo>
                <a:lnTo>
                  <a:pt x="3357723" y="5294453"/>
                </a:lnTo>
                <a:lnTo>
                  <a:pt x="3362576" y="5299066"/>
                </a:lnTo>
                <a:cubicBezTo>
                  <a:pt x="3380529" y="5311890"/>
                  <a:pt x="3406178" y="5319585"/>
                  <a:pt x="3429262" y="5319585"/>
                </a:cubicBezTo>
                <a:cubicBezTo>
                  <a:pt x="3442086" y="5319585"/>
                  <a:pt x="3452346" y="5319585"/>
                  <a:pt x="3460041" y="5314455"/>
                </a:cubicBezTo>
                <a:lnTo>
                  <a:pt x="3457475" y="5301630"/>
                </a:lnTo>
                <a:cubicBezTo>
                  <a:pt x="3419002" y="5299066"/>
                  <a:pt x="3377964" y="5278547"/>
                  <a:pt x="3352315" y="5260592"/>
                </a:cubicBezTo>
                <a:cubicBezTo>
                  <a:pt x="3354880" y="5255463"/>
                  <a:pt x="3357445" y="5247768"/>
                  <a:pt x="3360009" y="5242638"/>
                </a:cubicBezTo>
                <a:cubicBezTo>
                  <a:pt x="3357445" y="5245203"/>
                  <a:pt x="3352315" y="5245203"/>
                  <a:pt x="3347185" y="5245203"/>
                </a:cubicBezTo>
                <a:cubicBezTo>
                  <a:pt x="3347185" y="5250333"/>
                  <a:pt x="3347185" y="5255463"/>
                  <a:pt x="3349750" y="5258027"/>
                </a:cubicBezTo>
                <a:cubicBezTo>
                  <a:pt x="3349750" y="5258027"/>
                  <a:pt x="3347185" y="5255463"/>
                  <a:pt x="3347185" y="5255463"/>
                </a:cubicBezTo>
                <a:lnTo>
                  <a:pt x="3336926" y="5245203"/>
                </a:lnTo>
                <a:lnTo>
                  <a:pt x="3336926" y="5258027"/>
                </a:lnTo>
                <a:lnTo>
                  <a:pt x="3342303" y="5277838"/>
                </a:lnTo>
                <a:lnTo>
                  <a:pt x="3321536" y="5255463"/>
                </a:lnTo>
                <a:cubicBezTo>
                  <a:pt x="3303582" y="5232378"/>
                  <a:pt x="3283063" y="5209295"/>
                  <a:pt x="3257414" y="5193905"/>
                </a:cubicBezTo>
                <a:close/>
                <a:moveTo>
                  <a:pt x="2231886" y="5188900"/>
                </a:moveTo>
                <a:lnTo>
                  <a:pt x="2228453" y="5191940"/>
                </a:lnTo>
                <a:cubicBezTo>
                  <a:pt x="2222721" y="5196709"/>
                  <a:pt x="2218152" y="5200156"/>
                  <a:pt x="2214466" y="5202560"/>
                </a:cubicBezTo>
                <a:lnTo>
                  <a:pt x="2214364" y="5202591"/>
                </a:lnTo>
                <a:lnTo>
                  <a:pt x="2218633" y="5199033"/>
                </a:lnTo>
                <a:close/>
                <a:moveTo>
                  <a:pt x="4462915" y="5183645"/>
                </a:moveTo>
                <a:cubicBezTo>
                  <a:pt x="4473175" y="5186209"/>
                  <a:pt x="4473175" y="5201599"/>
                  <a:pt x="4465480" y="5206729"/>
                </a:cubicBezTo>
                <a:cubicBezTo>
                  <a:pt x="4465480" y="5199034"/>
                  <a:pt x="4462915" y="5191339"/>
                  <a:pt x="4462915" y="5183645"/>
                </a:cubicBezTo>
                <a:close/>
                <a:moveTo>
                  <a:pt x="2205820" y="5145570"/>
                </a:moveTo>
                <a:lnTo>
                  <a:pt x="2167335" y="5178516"/>
                </a:lnTo>
                <a:cubicBezTo>
                  <a:pt x="2167335" y="5178516"/>
                  <a:pt x="2164769" y="5175951"/>
                  <a:pt x="2164769" y="5173386"/>
                </a:cubicBezTo>
                <a:close/>
                <a:moveTo>
                  <a:pt x="4427007" y="5145171"/>
                </a:moveTo>
                <a:cubicBezTo>
                  <a:pt x="4455221" y="5145171"/>
                  <a:pt x="4450091" y="5186210"/>
                  <a:pt x="4460351" y="5209294"/>
                </a:cubicBezTo>
                <a:cubicBezTo>
                  <a:pt x="4455221" y="5216989"/>
                  <a:pt x="4434702" y="5216989"/>
                  <a:pt x="4429572" y="5219553"/>
                </a:cubicBezTo>
                <a:cubicBezTo>
                  <a:pt x="4424442" y="5199034"/>
                  <a:pt x="4427007" y="5163126"/>
                  <a:pt x="4427007" y="5145171"/>
                </a:cubicBezTo>
                <a:close/>
                <a:moveTo>
                  <a:pt x="4688626" y="5134912"/>
                </a:moveTo>
                <a:cubicBezTo>
                  <a:pt x="4691191" y="5134912"/>
                  <a:pt x="4691191" y="5140042"/>
                  <a:pt x="4691191" y="5142606"/>
                </a:cubicBezTo>
                <a:cubicBezTo>
                  <a:pt x="4686061" y="5142606"/>
                  <a:pt x="4688626" y="5137477"/>
                  <a:pt x="4688626" y="5134912"/>
                </a:cubicBezTo>
                <a:close/>
                <a:moveTo>
                  <a:pt x="1654357" y="5119523"/>
                </a:moveTo>
                <a:cubicBezTo>
                  <a:pt x="1656922" y="5119523"/>
                  <a:pt x="1659487" y="5119523"/>
                  <a:pt x="1664616" y="5119523"/>
                </a:cubicBezTo>
                <a:cubicBezTo>
                  <a:pt x="1664616" y="5124652"/>
                  <a:pt x="1667181" y="5127217"/>
                  <a:pt x="1667181" y="5132347"/>
                </a:cubicBezTo>
                <a:cubicBezTo>
                  <a:pt x="1664616" y="5132347"/>
                  <a:pt x="1662051" y="5134912"/>
                  <a:pt x="1656922" y="5134912"/>
                </a:cubicBezTo>
                <a:cubicBezTo>
                  <a:pt x="1656922" y="5129782"/>
                  <a:pt x="1654357" y="5124652"/>
                  <a:pt x="1654357" y="5119523"/>
                </a:cubicBezTo>
                <a:close/>
                <a:moveTo>
                  <a:pt x="2953772" y="5119068"/>
                </a:moveTo>
                <a:lnTo>
                  <a:pt x="2935520" y="5132027"/>
                </a:lnTo>
                <a:cubicBezTo>
                  <a:pt x="2923978" y="5138760"/>
                  <a:pt x="2911154" y="5143889"/>
                  <a:pt x="2895764" y="5145172"/>
                </a:cubicBezTo>
                <a:lnTo>
                  <a:pt x="2895051" y="5143389"/>
                </a:lnTo>
                <a:close/>
                <a:moveTo>
                  <a:pt x="4442396" y="5111828"/>
                </a:moveTo>
                <a:cubicBezTo>
                  <a:pt x="4444961" y="5119522"/>
                  <a:pt x="4442396" y="5129782"/>
                  <a:pt x="4444961" y="5137477"/>
                </a:cubicBezTo>
                <a:cubicBezTo>
                  <a:pt x="4427007" y="5134912"/>
                  <a:pt x="4439831" y="5119522"/>
                  <a:pt x="4442396" y="5111828"/>
                </a:cubicBezTo>
                <a:close/>
                <a:moveTo>
                  <a:pt x="4651117" y="5110086"/>
                </a:moveTo>
                <a:lnTo>
                  <a:pt x="4653136" y="5119845"/>
                </a:lnTo>
                <a:lnTo>
                  <a:pt x="4652717" y="5114393"/>
                </a:lnTo>
                <a:close/>
                <a:moveTo>
                  <a:pt x="1751823" y="5093874"/>
                </a:moveTo>
                <a:cubicBezTo>
                  <a:pt x="1754388" y="5101568"/>
                  <a:pt x="1759517" y="5111828"/>
                  <a:pt x="1762082" y="5122087"/>
                </a:cubicBezTo>
                <a:cubicBezTo>
                  <a:pt x="1762082" y="5122087"/>
                  <a:pt x="1759517" y="5122087"/>
                  <a:pt x="1759517" y="5122087"/>
                </a:cubicBezTo>
                <a:cubicBezTo>
                  <a:pt x="1756954" y="5111828"/>
                  <a:pt x="1754388" y="5101568"/>
                  <a:pt x="1751823" y="5093874"/>
                </a:cubicBezTo>
                <a:close/>
                <a:moveTo>
                  <a:pt x="3019928" y="5090621"/>
                </a:moveTo>
                <a:lnTo>
                  <a:pt x="3009181" y="5096118"/>
                </a:lnTo>
                <a:lnTo>
                  <a:pt x="2953772" y="5119068"/>
                </a:lnTo>
                <a:lnTo>
                  <a:pt x="2967581" y="5109263"/>
                </a:lnTo>
                <a:close/>
                <a:moveTo>
                  <a:pt x="2282526" y="5079907"/>
                </a:moveTo>
                <a:lnTo>
                  <a:pt x="2278907" y="5084256"/>
                </a:lnTo>
                <a:cubicBezTo>
                  <a:pt x="2262556" y="5101248"/>
                  <a:pt x="2244923" y="5117118"/>
                  <a:pt x="2225927" y="5131947"/>
                </a:cubicBezTo>
                <a:lnTo>
                  <a:pt x="2205820" y="5145570"/>
                </a:lnTo>
                <a:close/>
                <a:moveTo>
                  <a:pt x="2447871" y="5044996"/>
                </a:moveTo>
                <a:lnTo>
                  <a:pt x="2438357" y="5062084"/>
                </a:lnTo>
                <a:cubicBezTo>
                  <a:pt x="2426809" y="5079527"/>
                  <a:pt x="2414286" y="5095638"/>
                  <a:pt x="2401060" y="5110546"/>
                </a:cubicBezTo>
                <a:lnTo>
                  <a:pt x="2395045" y="5115894"/>
                </a:lnTo>
                <a:close/>
                <a:moveTo>
                  <a:pt x="2314772" y="5041154"/>
                </a:moveTo>
                <a:lnTo>
                  <a:pt x="2292053" y="5071752"/>
                </a:lnTo>
                <a:lnTo>
                  <a:pt x="2282526" y="5079907"/>
                </a:lnTo>
                <a:close/>
                <a:moveTo>
                  <a:pt x="4442396" y="5032316"/>
                </a:moveTo>
                <a:cubicBezTo>
                  <a:pt x="4447526" y="5055401"/>
                  <a:pt x="4439831" y="5086180"/>
                  <a:pt x="4442396" y="5101569"/>
                </a:cubicBezTo>
                <a:cubicBezTo>
                  <a:pt x="4437266" y="5104134"/>
                  <a:pt x="4434701" y="5109263"/>
                  <a:pt x="4429572" y="5111829"/>
                </a:cubicBezTo>
                <a:cubicBezTo>
                  <a:pt x="4432136" y="5083615"/>
                  <a:pt x="4437266" y="5057966"/>
                  <a:pt x="4442396" y="5032316"/>
                </a:cubicBezTo>
                <a:close/>
                <a:moveTo>
                  <a:pt x="4427006" y="5029751"/>
                </a:moveTo>
                <a:cubicBezTo>
                  <a:pt x="4421876" y="5055401"/>
                  <a:pt x="4424441" y="5086179"/>
                  <a:pt x="4409052" y="5101569"/>
                </a:cubicBezTo>
                <a:cubicBezTo>
                  <a:pt x="4406487" y="5096439"/>
                  <a:pt x="4409052" y="5091309"/>
                  <a:pt x="4406487" y="5086179"/>
                </a:cubicBezTo>
                <a:cubicBezTo>
                  <a:pt x="4398792" y="5086179"/>
                  <a:pt x="4398792" y="5091309"/>
                  <a:pt x="4396227" y="5093874"/>
                </a:cubicBezTo>
                <a:cubicBezTo>
                  <a:pt x="4391098" y="5093874"/>
                  <a:pt x="4393662" y="5086179"/>
                  <a:pt x="4393662" y="5078485"/>
                </a:cubicBezTo>
                <a:cubicBezTo>
                  <a:pt x="4391098" y="5075920"/>
                  <a:pt x="4388533" y="5081050"/>
                  <a:pt x="4385968" y="5081050"/>
                </a:cubicBezTo>
                <a:cubicBezTo>
                  <a:pt x="4385968" y="5065660"/>
                  <a:pt x="4383402" y="5050271"/>
                  <a:pt x="4393662" y="5034880"/>
                </a:cubicBezTo>
                <a:cubicBezTo>
                  <a:pt x="4406487" y="5034880"/>
                  <a:pt x="4416747" y="5032315"/>
                  <a:pt x="4427006" y="5029751"/>
                </a:cubicBezTo>
                <a:close/>
                <a:moveTo>
                  <a:pt x="2329211" y="5021708"/>
                </a:moveTo>
                <a:lnTo>
                  <a:pt x="2324194" y="5029832"/>
                </a:lnTo>
                <a:lnTo>
                  <a:pt x="2314772" y="5041154"/>
                </a:lnTo>
                <a:close/>
                <a:moveTo>
                  <a:pt x="1900587" y="4998972"/>
                </a:moveTo>
                <a:cubicBezTo>
                  <a:pt x="1903152" y="5024622"/>
                  <a:pt x="1910846" y="5052835"/>
                  <a:pt x="1915976" y="5081049"/>
                </a:cubicBezTo>
                <a:cubicBezTo>
                  <a:pt x="1913411" y="5083614"/>
                  <a:pt x="1913411" y="5086179"/>
                  <a:pt x="1910846" y="5088744"/>
                </a:cubicBezTo>
                <a:cubicBezTo>
                  <a:pt x="1910846" y="5088744"/>
                  <a:pt x="1908281" y="5086179"/>
                  <a:pt x="1908281" y="5086179"/>
                </a:cubicBezTo>
                <a:cubicBezTo>
                  <a:pt x="1900587" y="5057965"/>
                  <a:pt x="1898022" y="5027186"/>
                  <a:pt x="1900587" y="4998972"/>
                </a:cubicBezTo>
                <a:close/>
                <a:moveTo>
                  <a:pt x="4342365" y="4983584"/>
                </a:moveTo>
                <a:cubicBezTo>
                  <a:pt x="4344930" y="4986149"/>
                  <a:pt x="4342365" y="4991278"/>
                  <a:pt x="4339801" y="4991278"/>
                </a:cubicBezTo>
                <a:cubicBezTo>
                  <a:pt x="4339801" y="4986149"/>
                  <a:pt x="4342365" y="4986149"/>
                  <a:pt x="4342365" y="4983584"/>
                </a:cubicBezTo>
                <a:close/>
                <a:moveTo>
                  <a:pt x="2428954" y="4973323"/>
                </a:moveTo>
                <a:cubicBezTo>
                  <a:pt x="2390482" y="5054117"/>
                  <a:pt x="2337580" y="5106056"/>
                  <a:pt x="2278908" y="5152946"/>
                </a:cubicBezTo>
                <a:lnTo>
                  <a:pt x="2231886" y="5188900"/>
                </a:lnTo>
                <a:lnTo>
                  <a:pt x="2249412" y="5173384"/>
                </a:lnTo>
                <a:cubicBezTo>
                  <a:pt x="2249412" y="5170819"/>
                  <a:pt x="2251977" y="5170819"/>
                  <a:pt x="2251977" y="5170819"/>
                </a:cubicBezTo>
                <a:cubicBezTo>
                  <a:pt x="2303274" y="5132346"/>
                  <a:pt x="2377656" y="5063094"/>
                  <a:pt x="2428954" y="4973323"/>
                </a:cubicBezTo>
                <a:close/>
                <a:moveTo>
                  <a:pt x="2057046" y="4950239"/>
                </a:moveTo>
                <a:cubicBezTo>
                  <a:pt x="2041657" y="4968194"/>
                  <a:pt x="2028832" y="4988713"/>
                  <a:pt x="2013443" y="5006667"/>
                </a:cubicBezTo>
                <a:cubicBezTo>
                  <a:pt x="2010878" y="5001538"/>
                  <a:pt x="2010878" y="4993843"/>
                  <a:pt x="2010878" y="4988713"/>
                </a:cubicBezTo>
                <a:cubicBezTo>
                  <a:pt x="2023702" y="4975889"/>
                  <a:pt x="2041657" y="4963064"/>
                  <a:pt x="2057046" y="4950239"/>
                </a:cubicBezTo>
                <a:close/>
                <a:moveTo>
                  <a:pt x="2613627" y="4924591"/>
                </a:moveTo>
                <a:cubicBezTo>
                  <a:pt x="2546938" y="4960500"/>
                  <a:pt x="2500770" y="5024622"/>
                  <a:pt x="2457167" y="5088745"/>
                </a:cubicBezTo>
                <a:cubicBezTo>
                  <a:pt x="2405869" y="5160561"/>
                  <a:pt x="2354571" y="5234943"/>
                  <a:pt x="2277625" y="5263157"/>
                </a:cubicBezTo>
                <a:lnTo>
                  <a:pt x="2280190" y="5275982"/>
                </a:lnTo>
                <a:cubicBezTo>
                  <a:pt x="2387915" y="5260592"/>
                  <a:pt x="2446908" y="5168256"/>
                  <a:pt x="2503335" y="5081050"/>
                </a:cubicBezTo>
                <a:cubicBezTo>
                  <a:pt x="2536679" y="5027187"/>
                  <a:pt x="2572587" y="4973324"/>
                  <a:pt x="2621320" y="4934851"/>
                </a:cubicBezTo>
                <a:close/>
                <a:moveTo>
                  <a:pt x="2478030" y="4923250"/>
                </a:moveTo>
                <a:lnTo>
                  <a:pt x="2465824" y="4964988"/>
                </a:lnTo>
                <a:cubicBezTo>
                  <a:pt x="2452679" y="4995767"/>
                  <a:pt x="2436648" y="5023339"/>
                  <a:pt x="2418694" y="5047706"/>
                </a:cubicBezTo>
                <a:cubicBezTo>
                  <a:pt x="2439213" y="5014363"/>
                  <a:pt x="2454602" y="4981019"/>
                  <a:pt x="2464863" y="4945110"/>
                </a:cubicBezTo>
                <a:cubicBezTo>
                  <a:pt x="2467427" y="4943827"/>
                  <a:pt x="2470633" y="4941904"/>
                  <a:pt x="2474801" y="4932606"/>
                </a:cubicBezTo>
                <a:close/>
                <a:moveTo>
                  <a:pt x="2484382" y="4901533"/>
                </a:moveTo>
                <a:lnTo>
                  <a:pt x="2481814" y="4912287"/>
                </a:lnTo>
                <a:lnTo>
                  <a:pt x="2478030" y="4923250"/>
                </a:lnTo>
                <a:close/>
                <a:moveTo>
                  <a:pt x="1985229" y="4886117"/>
                </a:moveTo>
                <a:cubicBezTo>
                  <a:pt x="1985229" y="4888683"/>
                  <a:pt x="1985229" y="4891247"/>
                  <a:pt x="1985229" y="4893812"/>
                </a:cubicBezTo>
                <a:cubicBezTo>
                  <a:pt x="1974969" y="4911767"/>
                  <a:pt x="1959580" y="4929721"/>
                  <a:pt x="1941626" y="4947675"/>
                </a:cubicBezTo>
                <a:cubicBezTo>
                  <a:pt x="1939060" y="4934851"/>
                  <a:pt x="1951885" y="4919461"/>
                  <a:pt x="1969839" y="4901507"/>
                </a:cubicBezTo>
                <a:cubicBezTo>
                  <a:pt x="1974969" y="4896378"/>
                  <a:pt x="1980099" y="4891247"/>
                  <a:pt x="1985229" y="4886117"/>
                </a:cubicBezTo>
                <a:close/>
                <a:moveTo>
                  <a:pt x="1692832" y="4868163"/>
                </a:moveTo>
                <a:cubicBezTo>
                  <a:pt x="1692832" y="4873292"/>
                  <a:pt x="1692832" y="4875857"/>
                  <a:pt x="1692832" y="4880987"/>
                </a:cubicBezTo>
                <a:cubicBezTo>
                  <a:pt x="1695396" y="4911766"/>
                  <a:pt x="1697960" y="4945109"/>
                  <a:pt x="1713350" y="4968193"/>
                </a:cubicBezTo>
                <a:cubicBezTo>
                  <a:pt x="1705655" y="5019491"/>
                  <a:pt x="1710785" y="5065659"/>
                  <a:pt x="1718480" y="5106698"/>
                </a:cubicBezTo>
                <a:cubicBezTo>
                  <a:pt x="1710785" y="5101568"/>
                  <a:pt x="1700525" y="5093873"/>
                  <a:pt x="1692832" y="5088744"/>
                </a:cubicBezTo>
                <a:cubicBezTo>
                  <a:pt x="1680006" y="5032316"/>
                  <a:pt x="1674875" y="4970758"/>
                  <a:pt x="1682571" y="4911766"/>
                </a:cubicBezTo>
                <a:cubicBezTo>
                  <a:pt x="1685136" y="4904071"/>
                  <a:pt x="1687701" y="4886117"/>
                  <a:pt x="1692832" y="4868163"/>
                </a:cubicBezTo>
                <a:close/>
                <a:moveTo>
                  <a:pt x="1862114" y="4857903"/>
                </a:moveTo>
                <a:cubicBezTo>
                  <a:pt x="1862114" y="4857903"/>
                  <a:pt x="1864678" y="4860467"/>
                  <a:pt x="1864678" y="4860467"/>
                </a:cubicBezTo>
                <a:cubicBezTo>
                  <a:pt x="1849288" y="4945109"/>
                  <a:pt x="1856983" y="5019491"/>
                  <a:pt x="1872373" y="5086178"/>
                </a:cubicBezTo>
                <a:cubicBezTo>
                  <a:pt x="1869808" y="5086178"/>
                  <a:pt x="1864678" y="5088743"/>
                  <a:pt x="1862114" y="5088743"/>
                </a:cubicBezTo>
                <a:cubicBezTo>
                  <a:pt x="1846724" y="5016926"/>
                  <a:pt x="1844159" y="4939979"/>
                  <a:pt x="1862114" y="4857903"/>
                </a:cubicBezTo>
                <a:close/>
                <a:moveTo>
                  <a:pt x="5525101" y="4816224"/>
                </a:moveTo>
                <a:cubicBezTo>
                  <a:pt x="5526704" y="4816224"/>
                  <a:pt x="5528628" y="4816865"/>
                  <a:pt x="5529910" y="4816865"/>
                </a:cubicBezTo>
                <a:cubicBezTo>
                  <a:pt x="5529910" y="4819430"/>
                  <a:pt x="5524781" y="4819430"/>
                  <a:pt x="5522216" y="4819430"/>
                </a:cubicBezTo>
                <a:cubicBezTo>
                  <a:pt x="5522216" y="4816865"/>
                  <a:pt x="5523499" y="4816224"/>
                  <a:pt x="5525101" y="4816224"/>
                </a:cubicBezTo>
                <a:close/>
                <a:moveTo>
                  <a:pt x="5507147" y="4813660"/>
                </a:moveTo>
                <a:cubicBezTo>
                  <a:pt x="5508750" y="4813660"/>
                  <a:pt x="5510674" y="4814301"/>
                  <a:pt x="5511956" y="4814301"/>
                </a:cubicBezTo>
                <a:cubicBezTo>
                  <a:pt x="5511956" y="4816866"/>
                  <a:pt x="5506827" y="4816866"/>
                  <a:pt x="5504262" y="4816866"/>
                </a:cubicBezTo>
                <a:cubicBezTo>
                  <a:pt x="5504262" y="4814301"/>
                  <a:pt x="5505544" y="4813660"/>
                  <a:pt x="5507147" y="4813660"/>
                </a:cubicBezTo>
                <a:close/>
                <a:moveTo>
                  <a:pt x="5706888" y="4811736"/>
                </a:moveTo>
                <a:cubicBezTo>
                  <a:pt x="5712018" y="4811736"/>
                  <a:pt x="5714583" y="4814300"/>
                  <a:pt x="5719713" y="4814300"/>
                </a:cubicBezTo>
                <a:cubicBezTo>
                  <a:pt x="5717148" y="4819430"/>
                  <a:pt x="5712018" y="4819430"/>
                  <a:pt x="5704324" y="4819430"/>
                </a:cubicBezTo>
                <a:cubicBezTo>
                  <a:pt x="5704324" y="4816865"/>
                  <a:pt x="5706888" y="4816865"/>
                  <a:pt x="5706888" y="4811736"/>
                </a:cubicBezTo>
                <a:close/>
                <a:moveTo>
                  <a:pt x="5629941" y="4811736"/>
                </a:moveTo>
                <a:cubicBezTo>
                  <a:pt x="5632506" y="4814300"/>
                  <a:pt x="5637635" y="4816865"/>
                  <a:pt x="5642765" y="4816865"/>
                </a:cubicBezTo>
                <a:cubicBezTo>
                  <a:pt x="5640201" y="4816865"/>
                  <a:pt x="5635071" y="4816865"/>
                  <a:pt x="5632506" y="4816865"/>
                </a:cubicBezTo>
                <a:cubicBezTo>
                  <a:pt x="5632506" y="4816865"/>
                  <a:pt x="5629941" y="4814300"/>
                  <a:pt x="5629941" y="4811736"/>
                </a:cubicBezTo>
                <a:close/>
                <a:moveTo>
                  <a:pt x="4637326" y="4801475"/>
                </a:moveTo>
                <a:lnTo>
                  <a:pt x="4637326" y="4809170"/>
                </a:lnTo>
                <a:lnTo>
                  <a:pt x="4638243" y="4811309"/>
                </a:lnTo>
                <a:lnTo>
                  <a:pt x="4638289" y="4810773"/>
                </a:lnTo>
                <a:cubicBezTo>
                  <a:pt x="4638609" y="4807247"/>
                  <a:pt x="4638609" y="4804041"/>
                  <a:pt x="4637327" y="4801476"/>
                </a:cubicBezTo>
                <a:close/>
                <a:moveTo>
                  <a:pt x="1828771" y="4801475"/>
                </a:moveTo>
                <a:cubicBezTo>
                  <a:pt x="1836465" y="4811735"/>
                  <a:pt x="1831335" y="4824559"/>
                  <a:pt x="1826205" y="4839948"/>
                </a:cubicBezTo>
                <a:cubicBezTo>
                  <a:pt x="1823640" y="4847643"/>
                  <a:pt x="1821075" y="4852773"/>
                  <a:pt x="1821075" y="4857903"/>
                </a:cubicBezTo>
                <a:cubicBezTo>
                  <a:pt x="1810816" y="4934849"/>
                  <a:pt x="1815946" y="5016926"/>
                  <a:pt x="1833900" y="5096437"/>
                </a:cubicBezTo>
                <a:cubicBezTo>
                  <a:pt x="1828771" y="5099002"/>
                  <a:pt x="1826205" y="5104132"/>
                  <a:pt x="1826205" y="5114392"/>
                </a:cubicBezTo>
                <a:cubicBezTo>
                  <a:pt x="1826205" y="5114392"/>
                  <a:pt x="1823640" y="5114392"/>
                  <a:pt x="1823640" y="5114392"/>
                </a:cubicBezTo>
                <a:cubicBezTo>
                  <a:pt x="1795427" y="5029750"/>
                  <a:pt x="1785166" y="4922025"/>
                  <a:pt x="1828771" y="4801475"/>
                </a:cubicBezTo>
                <a:close/>
                <a:moveTo>
                  <a:pt x="5588903" y="4798911"/>
                </a:moveTo>
                <a:cubicBezTo>
                  <a:pt x="5591467" y="4796346"/>
                  <a:pt x="5594032" y="4801476"/>
                  <a:pt x="5596597" y="4806606"/>
                </a:cubicBezTo>
                <a:cubicBezTo>
                  <a:pt x="5594032" y="4806606"/>
                  <a:pt x="5594032" y="4804041"/>
                  <a:pt x="5591467" y="4804041"/>
                </a:cubicBezTo>
                <a:cubicBezTo>
                  <a:pt x="5591467" y="4801476"/>
                  <a:pt x="5588903" y="4798911"/>
                  <a:pt x="5588903" y="4798911"/>
                </a:cubicBezTo>
                <a:close/>
                <a:moveTo>
                  <a:pt x="3478923" y="4798380"/>
                </a:moveTo>
                <a:lnTo>
                  <a:pt x="3442407" y="4837305"/>
                </a:lnTo>
                <a:cubicBezTo>
                  <a:pt x="3423491" y="4855019"/>
                  <a:pt x="3402972" y="4872011"/>
                  <a:pt x="3380529" y="4888683"/>
                </a:cubicBezTo>
                <a:cubicBezTo>
                  <a:pt x="3344620" y="4909202"/>
                  <a:pt x="3311277" y="4929721"/>
                  <a:pt x="3277934" y="4952805"/>
                </a:cubicBezTo>
                <a:cubicBezTo>
                  <a:pt x="3206757" y="4998973"/>
                  <a:pt x="3132696" y="5045141"/>
                  <a:pt x="3051421" y="5079406"/>
                </a:cubicBezTo>
                <a:lnTo>
                  <a:pt x="3019928" y="5090621"/>
                </a:lnTo>
                <a:lnTo>
                  <a:pt x="3201628" y="4997690"/>
                </a:lnTo>
                <a:cubicBezTo>
                  <a:pt x="3260941" y="4963706"/>
                  <a:pt x="3315605" y="4928438"/>
                  <a:pt x="3366182" y="4891568"/>
                </a:cubicBezTo>
                <a:close/>
                <a:moveTo>
                  <a:pt x="5602047" y="4793140"/>
                </a:moveTo>
                <a:cubicBezTo>
                  <a:pt x="5604292" y="4793781"/>
                  <a:pt x="5606857" y="4795064"/>
                  <a:pt x="5609422" y="4796346"/>
                </a:cubicBezTo>
                <a:cubicBezTo>
                  <a:pt x="5604292" y="4796346"/>
                  <a:pt x="5596598" y="4798911"/>
                  <a:pt x="5596598" y="4793781"/>
                </a:cubicBezTo>
                <a:cubicBezTo>
                  <a:pt x="5597880" y="4792499"/>
                  <a:pt x="5599803" y="4792499"/>
                  <a:pt x="5602047" y="4793140"/>
                </a:cubicBezTo>
                <a:close/>
                <a:moveTo>
                  <a:pt x="2103213" y="4791216"/>
                </a:moveTo>
                <a:cubicBezTo>
                  <a:pt x="2100648" y="4796345"/>
                  <a:pt x="2098083" y="4801475"/>
                  <a:pt x="2095518" y="4804040"/>
                </a:cubicBezTo>
                <a:cubicBezTo>
                  <a:pt x="2090389" y="4821995"/>
                  <a:pt x="2082695" y="4837385"/>
                  <a:pt x="2074999" y="4852774"/>
                </a:cubicBezTo>
                <a:cubicBezTo>
                  <a:pt x="2059610" y="4878423"/>
                  <a:pt x="2039091" y="4901507"/>
                  <a:pt x="2016006" y="4922026"/>
                </a:cubicBezTo>
                <a:cubicBezTo>
                  <a:pt x="2018571" y="4916896"/>
                  <a:pt x="2018571" y="4911767"/>
                  <a:pt x="2018571" y="4904072"/>
                </a:cubicBezTo>
                <a:cubicBezTo>
                  <a:pt x="2049350" y="4868163"/>
                  <a:pt x="2074999" y="4832255"/>
                  <a:pt x="2103213" y="4791216"/>
                </a:cubicBezTo>
                <a:close/>
                <a:moveTo>
                  <a:pt x="1926236" y="4791216"/>
                </a:moveTo>
                <a:cubicBezTo>
                  <a:pt x="1915976" y="4809171"/>
                  <a:pt x="1908281" y="4824560"/>
                  <a:pt x="1895457" y="4832255"/>
                </a:cubicBezTo>
                <a:cubicBezTo>
                  <a:pt x="1900586" y="4819431"/>
                  <a:pt x="1913411" y="4804041"/>
                  <a:pt x="1926236" y="4791216"/>
                </a:cubicBezTo>
                <a:close/>
                <a:moveTo>
                  <a:pt x="1744129" y="4757872"/>
                </a:moveTo>
                <a:cubicBezTo>
                  <a:pt x="1736433" y="4801476"/>
                  <a:pt x="1728739" y="4850209"/>
                  <a:pt x="1728739" y="4896377"/>
                </a:cubicBezTo>
                <a:cubicBezTo>
                  <a:pt x="1723609" y="4855339"/>
                  <a:pt x="1726174" y="4798911"/>
                  <a:pt x="1744129" y="4757872"/>
                </a:cubicBezTo>
                <a:close/>
                <a:moveTo>
                  <a:pt x="5373452" y="4755307"/>
                </a:moveTo>
                <a:cubicBezTo>
                  <a:pt x="5381146" y="4763002"/>
                  <a:pt x="5393971" y="4755307"/>
                  <a:pt x="5404231" y="4757871"/>
                </a:cubicBezTo>
                <a:cubicBezTo>
                  <a:pt x="5411925" y="4768132"/>
                  <a:pt x="5406795" y="4775827"/>
                  <a:pt x="5417055" y="4773262"/>
                </a:cubicBezTo>
                <a:cubicBezTo>
                  <a:pt x="5411925" y="4780957"/>
                  <a:pt x="5411925" y="4791216"/>
                  <a:pt x="5422185" y="4796346"/>
                </a:cubicBezTo>
                <a:cubicBezTo>
                  <a:pt x="5417055" y="4798911"/>
                  <a:pt x="5409360" y="4798911"/>
                  <a:pt x="5406795" y="4804041"/>
                </a:cubicBezTo>
                <a:cubicBezTo>
                  <a:pt x="5406795" y="4806606"/>
                  <a:pt x="5409360" y="4809170"/>
                  <a:pt x="5414490" y="4809170"/>
                </a:cubicBezTo>
                <a:cubicBezTo>
                  <a:pt x="5406795" y="4824560"/>
                  <a:pt x="5388841" y="4809170"/>
                  <a:pt x="5383711" y="4824560"/>
                </a:cubicBezTo>
                <a:cubicBezTo>
                  <a:pt x="5376017" y="4806606"/>
                  <a:pt x="5373452" y="4821995"/>
                  <a:pt x="5355496" y="4806606"/>
                </a:cubicBezTo>
                <a:cubicBezTo>
                  <a:pt x="5363192" y="4798911"/>
                  <a:pt x="5358062" y="4786086"/>
                  <a:pt x="5350367" y="4786086"/>
                </a:cubicBezTo>
                <a:cubicBezTo>
                  <a:pt x="5358062" y="4778392"/>
                  <a:pt x="5368322" y="4768132"/>
                  <a:pt x="5373452" y="4755307"/>
                </a:cubicBezTo>
                <a:close/>
                <a:moveTo>
                  <a:pt x="1787733" y="4755307"/>
                </a:moveTo>
                <a:cubicBezTo>
                  <a:pt x="1790297" y="4755307"/>
                  <a:pt x="1792862" y="4760436"/>
                  <a:pt x="1795427" y="4763001"/>
                </a:cubicBezTo>
                <a:cubicBezTo>
                  <a:pt x="1797992" y="4765566"/>
                  <a:pt x="1797992" y="4768131"/>
                  <a:pt x="1800556" y="4770696"/>
                </a:cubicBezTo>
                <a:cubicBezTo>
                  <a:pt x="1749257" y="4891247"/>
                  <a:pt x="1756952" y="5004102"/>
                  <a:pt x="1790297" y="5109263"/>
                </a:cubicBezTo>
                <a:cubicBezTo>
                  <a:pt x="1790297" y="5109263"/>
                  <a:pt x="1787733" y="5109263"/>
                  <a:pt x="1787733" y="5109263"/>
                </a:cubicBezTo>
                <a:cubicBezTo>
                  <a:pt x="1749257" y="4996407"/>
                  <a:pt x="1749257" y="4878422"/>
                  <a:pt x="1787733" y="4755307"/>
                </a:cubicBezTo>
                <a:close/>
                <a:moveTo>
                  <a:pt x="4619623" y="4739610"/>
                </a:moveTo>
                <a:lnTo>
                  <a:pt x="4621866" y="4745314"/>
                </a:lnTo>
                <a:lnTo>
                  <a:pt x="4621937" y="4739918"/>
                </a:lnTo>
                <a:close/>
                <a:moveTo>
                  <a:pt x="1918541" y="4732223"/>
                </a:moveTo>
                <a:cubicBezTo>
                  <a:pt x="1903152" y="4752743"/>
                  <a:pt x="1885198" y="4773262"/>
                  <a:pt x="1869808" y="4793781"/>
                </a:cubicBezTo>
                <a:cubicBezTo>
                  <a:pt x="1867243" y="4791216"/>
                  <a:pt x="1867243" y="4791216"/>
                  <a:pt x="1867243" y="4788651"/>
                </a:cubicBezTo>
                <a:cubicBezTo>
                  <a:pt x="1864679" y="4786087"/>
                  <a:pt x="1862114" y="4786087"/>
                  <a:pt x="1862114" y="4783522"/>
                </a:cubicBezTo>
                <a:cubicBezTo>
                  <a:pt x="1880068" y="4770697"/>
                  <a:pt x="1900587" y="4752743"/>
                  <a:pt x="1918541" y="4732223"/>
                </a:cubicBezTo>
                <a:close/>
                <a:moveTo>
                  <a:pt x="5486307" y="4724529"/>
                </a:moveTo>
                <a:cubicBezTo>
                  <a:pt x="5486307" y="4727094"/>
                  <a:pt x="5488872" y="4729659"/>
                  <a:pt x="5491437" y="4729659"/>
                </a:cubicBezTo>
                <a:cubicBezTo>
                  <a:pt x="5488872" y="4737353"/>
                  <a:pt x="5486307" y="4747613"/>
                  <a:pt x="5473483" y="4745048"/>
                </a:cubicBezTo>
                <a:cubicBezTo>
                  <a:pt x="5473483" y="4737353"/>
                  <a:pt x="5468353" y="4734789"/>
                  <a:pt x="5470918" y="4727094"/>
                </a:cubicBezTo>
                <a:cubicBezTo>
                  <a:pt x="5478613" y="4724529"/>
                  <a:pt x="5476047" y="4727094"/>
                  <a:pt x="5486307" y="4724529"/>
                </a:cubicBezTo>
                <a:close/>
                <a:moveTo>
                  <a:pt x="5317024" y="4711705"/>
                </a:moveTo>
                <a:cubicBezTo>
                  <a:pt x="5319589" y="4711705"/>
                  <a:pt x="5322154" y="4711705"/>
                  <a:pt x="5324719" y="4711705"/>
                </a:cubicBezTo>
                <a:cubicBezTo>
                  <a:pt x="5319589" y="4721965"/>
                  <a:pt x="5329850" y="4729659"/>
                  <a:pt x="5317024" y="4734789"/>
                </a:cubicBezTo>
                <a:cubicBezTo>
                  <a:pt x="5306765" y="4727094"/>
                  <a:pt x="5317024" y="4724529"/>
                  <a:pt x="5317024" y="4711705"/>
                </a:cubicBezTo>
                <a:close/>
                <a:moveTo>
                  <a:pt x="3339491" y="4709140"/>
                </a:moveTo>
                <a:cubicBezTo>
                  <a:pt x="3288193" y="4745049"/>
                  <a:pt x="3244589" y="4791217"/>
                  <a:pt x="3200986" y="4834820"/>
                </a:cubicBezTo>
                <a:lnTo>
                  <a:pt x="3185597" y="4852774"/>
                </a:lnTo>
                <a:lnTo>
                  <a:pt x="3193292" y="4863034"/>
                </a:lnTo>
                <a:cubicBezTo>
                  <a:pt x="3257414" y="4827125"/>
                  <a:pt x="3308712" y="4778392"/>
                  <a:pt x="3349750" y="4716835"/>
                </a:cubicBezTo>
                <a:close/>
                <a:moveTo>
                  <a:pt x="4673236" y="4704010"/>
                </a:moveTo>
                <a:cubicBezTo>
                  <a:pt x="4674518" y="4702727"/>
                  <a:pt x="4675160" y="4703368"/>
                  <a:pt x="4675801" y="4704010"/>
                </a:cubicBezTo>
                <a:cubicBezTo>
                  <a:pt x="4676442" y="4704651"/>
                  <a:pt x="4677083" y="4705292"/>
                  <a:pt x="4678366" y="4704010"/>
                </a:cubicBezTo>
                <a:cubicBezTo>
                  <a:pt x="4683495" y="4719399"/>
                  <a:pt x="4688625" y="4732224"/>
                  <a:pt x="4688625" y="4747613"/>
                </a:cubicBezTo>
                <a:cubicBezTo>
                  <a:pt x="4680930" y="4734789"/>
                  <a:pt x="4660410" y="4721964"/>
                  <a:pt x="4673236" y="4704010"/>
                </a:cubicBezTo>
                <a:close/>
                <a:moveTo>
                  <a:pt x="4745053" y="4698880"/>
                </a:moveTo>
                <a:cubicBezTo>
                  <a:pt x="4747618" y="4701445"/>
                  <a:pt x="4739924" y="4704010"/>
                  <a:pt x="4739924" y="4706574"/>
                </a:cubicBezTo>
                <a:cubicBezTo>
                  <a:pt x="4734794" y="4706574"/>
                  <a:pt x="4734794" y="4698880"/>
                  <a:pt x="4732229" y="4706574"/>
                </a:cubicBezTo>
                <a:cubicBezTo>
                  <a:pt x="4729664" y="4698880"/>
                  <a:pt x="4742489" y="4701445"/>
                  <a:pt x="4745053" y="4698880"/>
                </a:cubicBezTo>
                <a:close/>
                <a:moveTo>
                  <a:pt x="4683496" y="4696316"/>
                </a:moveTo>
                <a:cubicBezTo>
                  <a:pt x="4688625" y="4698880"/>
                  <a:pt x="4691190" y="4704010"/>
                  <a:pt x="4691190" y="4711705"/>
                </a:cubicBezTo>
                <a:cubicBezTo>
                  <a:pt x="4686061" y="4709140"/>
                  <a:pt x="4686061" y="4701445"/>
                  <a:pt x="4683496" y="4696316"/>
                </a:cubicBezTo>
                <a:close/>
                <a:moveTo>
                  <a:pt x="4660411" y="4693751"/>
                </a:moveTo>
                <a:cubicBezTo>
                  <a:pt x="4665541" y="4698880"/>
                  <a:pt x="4668106" y="4711705"/>
                  <a:pt x="4665541" y="4719400"/>
                </a:cubicBezTo>
                <a:cubicBezTo>
                  <a:pt x="4657846" y="4716835"/>
                  <a:pt x="4657846" y="4706575"/>
                  <a:pt x="4652717" y="4701445"/>
                </a:cubicBezTo>
                <a:cubicBezTo>
                  <a:pt x="4655281" y="4698880"/>
                  <a:pt x="4657846" y="4696316"/>
                  <a:pt x="4660411" y="4693751"/>
                </a:cubicBezTo>
                <a:close/>
                <a:moveTo>
                  <a:pt x="1883233" y="4671701"/>
                </a:moveTo>
                <a:lnTo>
                  <a:pt x="1836463" y="4739918"/>
                </a:lnTo>
                <a:cubicBezTo>
                  <a:pt x="1836463" y="4737353"/>
                  <a:pt x="1833898" y="4734788"/>
                  <a:pt x="1831333" y="4732223"/>
                </a:cubicBezTo>
                <a:cubicBezTo>
                  <a:pt x="1831333" y="4729658"/>
                  <a:pt x="1828769" y="4727093"/>
                  <a:pt x="1826204" y="4724528"/>
                </a:cubicBezTo>
                <a:cubicBezTo>
                  <a:pt x="1837746" y="4719399"/>
                  <a:pt x="1848326" y="4711704"/>
                  <a:pt x="1858065" y="4702286"/>
                </a:cubicBezTo>
                <a:close/>
                <a:moveTo>
                  <a:pt x="1885932" y="4667764"/>
                </a:moveTo>
                <a:lnTo>
                  <a:pt x="1884876" y="4669704"/>
                </a:lnTo>
                <a:lnTo>
                  <a:pt x="1883233" y="4671701"/>
                </a:lnTo>
                <a:close/>
                <a:moveTo>
                  <a:pt x="5345919" y="4666299"/>
                </a:moveTo>
                <a:cubicBezTo>
                  <a:pt x="5345559" y="4667621"/>
                  <a:pt x="5336902" y="4675797"/>
                  <a:pt x="5342673" y="4668102"/>
                </a:cubicBezTo>
                <a:cubicBezTo>
                  <a:pt x="5345238" y="4666178"/>
                  <a:pt x="5346040" y="4665858"/>
                  <a:pt x="5345919" y="4666299"/>
                </a:cubicBezTo>
                <a:close/>
                <a:moveTo>
                  <a:pt x="5409360" y="4662972"/>
                </a:moveTo>
                <a:cubicBezTo>
                  <a:pt x="5435009" y="4660407"/>
                  <a:pt x="5429880" y="4698880"/>
                  <a:pt x="5404231" y="4686056"/>
                </a:cubicBezTo>
                <a:cubicBezTo>
                  <a:pt x="5406795" y="4673231"/>
                  <a:pt x="5404231" y="4673231"/>
                  <a:pt x="5409360" y="4662972"/>
                </a:cubicBezTo>
                <a:close/>
                <a:moveTo>
                  <a:pt x="3436957" y="4650148"/>
                </a:moveTo>
                <a:cubicBezTo>
                  <a:pt x="3431827" y="4647583"/>
                  <a:pt x="3426698" y="4652713"/>
                  <a:pt x="3424132" y="4655278"/>
                </a:cubicBezTo>
                <a:cubicBezTo>
                  <a:pt x="3331797" y="4773263"/>
                  <a:pt x="3221505" y="4863034"/>
                  <a:pt x="3121475" y="4934851"/>
                </a:cubicBezTo>
                <a:lnTo>
                  <a:pt x="3129169" y="4945110"/>
                </a:lnTo>
                <a:cubicBezTo>
                  <a:pt x="3239460" y="4893813"/>
                  <a:pt x="3339491" y="4809171"/>
                  <a:pt x="3444651" y="4673232"/>
                </a:cubicBezTo>
                <a:cubicBezTo>
                  <a:pt x="3449781" y="4665537"/>
                  <a:pt x="3444651" y="4660407"/>
                  <a:pt x="3442086" y="4657843"/>
                </a:cubicBezTo>
                <a:lnTo>
                  <a:pt x="3442086" y="4652713"/>
                </a:lnTo>
                <a:close/>
                <a:moveTo>
                  <a:pt x="3503644" y="4621934"/>
                </a:moveTo>
                <a:cubicBezTo>
                  <a:pt x="3372835" y="4793782"/>
                  <a:pt x="3236896" y="4914332"/>
                  <a:pt x="3080436" y="4988714"/>
                </a:cubicBezTo>
                <a:lnTo>
                  <a:pt x="3083001" y="5001538"/>
                </a:lnTo>
                <a:cubicBezTo>
                  <a:pt x="3129169" y="4996408"/>
                  <a:pt x="3167643" y="4968194"/>
                  <a:pt x="3206117" y="4942545"/>
                </a:cubicBezTo>
                <a:cubicBezTo>
                  <a:pt x="3231765" y="4924591"/>
                  <a:pt x="3257414" y="4906637"/>
                  <a:pt x="3283063" y="4896378"/>
                </a:cubicBezTo>
                <a:lnTo>
                  <a:pt x="3285628" y="4896378"/>
                </a:lnTo>
                <a:cubicBezTo>
                  <a:pt x="3380529" y="4816866"/>
                  <a:pt x="3454911" y="4747614"/>
                  <a:pt x="3513903" y="4639888"/>
                </a:cubicBezTo>
                <a:cubicBezTo>
                  <a:pt x="3516468" y="4634758"/>
                  <a:pt x="3513903" y="4632194"/>
                  <a:pt x="3513903" y="4629629"/>
                </a:cubicBezTo>
                <a:cubicBezTo>
                  <a:pt x="3513903" y="4627064"/>
                  <a:pt x="3513903" y="4627064"/>
                  <a:pt x="3513903" y="4627064"/>
                </a:cubicBezTo>
                <a:close/>
                <a:moveTo>
                  <a:pt x="1790296" y="4611673"/>
                </a:moveTo>
                <a:cubicBezTo>
                  <a:pt x="1749258" y="4652711"/>
                  <a:pt x="1713350" y="4701444"/>
                  <a:pt x="1697960" y="4780957"/>
                </a:cubicBezTo>
                <a:cubicBezTo>
                  <a:pt x="1644097" y="4878422"/>
                  <a:pt x="1636402" y="4975888"/>
                  <a:pt x="1649226" y="5070789"/>
                </a:cubicBezTo>
                <a:cubicBezTo>
                  <a:pt x="1646661" y="5068225"/>
                  <a:pt x="1641532" y="5065660"/>
                  <a:pt x="1638967" y="5065660"/>
                </a:cubicBezTo>
                <a:cubicBezTo>
                  <a:pt x="1633837" y="5037446"/>
                  <a:pt x="1631272" y="5009232"/>
                  <a:pt x="1631272" y="4981018"/>
                </a:cubicBezTo>
                <a:cubicBezTo>
                  <a:pt x="1628708" y="4837384"/>
                  <a:pt x="1677441" y="4709139"/>
                  <a:pt x="1764647" y="4624497"/>
                </a:cubicBezTo>
                <a:cubicBezTo>
                  <a:pt x="1774907" y="4621932"/>
                  <a:pt x="1782602" y="4616802"/>
                  <a:pt x="1790296" y="4611673"/>
                </a:cubicBezTo>
                <a:close/>
                <a:moveTo>
                  <a:pt x="1905717" y="4568070"/>
                </a:moveTo>
                <a:cubicBezTo>
                  <a:pt x="1898022" y="4578329"/>
                  <a:pt x="1892893" y="4588589"/>
                  <a:pt x="1887763" y="4598849"/>
                </a:cubicBezTo>
                <a:cubicBezTo>
                  <a:pt x="1874938" y="4624498"/>
                  <a:pt x="1859549" y="4652712"/>
                  <a:pt x="1841594" y="4675796"/>
                </a:cubicBezTo>
                <a:cubicBezTo>
                  <a:pt x="1849289" y="4665537"/>
                  <a:pt x="1856984" y="4650147"/>
                  <a:pt x="1864679" y="4639888"/>
                </a:cubicBezTo>
                <a:cubicBezTo>
                  <a:pt x="1877503" y="4614239"/>
                  <a:pt x="1890328" y="4588589"/>
                  <a:pt x="1905717" y="4568070"/>
                </a:cubicBezTo>
                <a:close/>
                <a:moveTo>
                  <a:pt x="2798300" y="4539856"/>
                </a:moveTo>
                <a:cubicBezTo>
                  <a:pt x="2800865" y="4542421"/>
                  <a:pt x="2803429" y="4542421"/>
                  <a:pt x="2805994" y="4547550"/>
                </a:cubicBezTo>
                <a:cubicBezTo>
                  <a:pt x="2805994" y="4552680"/>
                  <a:pt x="2803429" y="4557810"/>
                  <a:pt x="2803429" y="4562941"/>
                </a:cubicBezTo>
                <a:cubicBezTo>
                  <a:pt x="2800865" y="4552680"/>
                  <a:pt x="2800865" y="4544985"/>
                  <a:pt x="2798300" y="4539856"/>
                </a:cubicBezTo>
                <a:close/>
                <a:moveTo>
                  <a:pt x="4627067" y="4529597"/>
                </a:moveTo>
                <a:cubicBezTo>
                  <a:pt x="4639891" y="4532161"/>
                  <a:pt x="4650151" y="4537291"/>
                  <a:pt x="4662975" y="4537291"/>
                </a:cubicBezTo>
                <a:cubicBezTo>
                  <a:pt x="4668105" y="4557810"/>
                  <a:pt x="4673235" y="4583459"/>
                  <a:pt x="4678365" y="4609108"/>
                </a:cubicBezTo>
                <a:cubicBezTo>
                  <a:pt x="4680929" y="4627063"/>
                  <a:pt x="4693754" y="4647582"/>
                  <a:pt x="4691189" y="4662971"/>
                </a:cubicBezTo>
                <a:cubicBezTo>
                  <a:pt x="4688624" y="4680925"/>
                  <a:pt x="4670670" y="4680925"/>
                  <a:pt x="4668105" y="4698879"/>
                </a:cubicBezTo>
                <a:cubicBezTo>
                  <a:pt x="4660410" y="4698879"/>
                  <a:pt x="4662975" y="4688620"/>
                  <a:pt x="4657845" y="4688620"/>
                </a:cubicBezTo>
                <a:cubicBezTo>
                  <a:pt x="4660410" y="4670666"/>
                  <a:pt x="4675800" y="4665536"/>
                  <a:pt x="4673235" y="4647582"/>
                </a:cubicBezTo>
                <a:cubicBezTo>
                  <a:pt x="4662975" y="4652712"/>
                  <a:pt x="4657845" y="4660406"/>
                  <a:pt x="4655280" y="4670666"/>
                </a:cubicBezTo>
                <a:cubicBezTo>
                  <a:pt x="4650151" y="4670666"/>
                  <a:pt x="4652716" y="4668101"/>
                  <a:pt x="4652716" y="4665536"/>
                </a:cubicBezTo>
                <a:cubicBezTo>
                  <a:pt x="4647586" y="4665536"/>
                  <a:pt x="4650151" y="4670666"/>
                  <a:pt x="4645021" y="4670666"/>
                </a:cubicBezTo>
                <a:cubicBezTo>
                  <a:pt x="4639891" y="4657841"/>
                  <a:pt x="4629631" y="4650147"/>
                  <a:pt x="4624502" y="4642452"/>
                </a:cubicBezTo>
                <a:cubicBezTo>
                  <a:pt x="4621937" y="4642452"/>
                  <a:pt x="4621937" y="4645017"/>
                  <a:pt x="4621937" y="4645017"/>
                </a:cubicBezTo>
                <a:cubicBezTo>
                  <a:pt x="4619372" y="4639887"/>
                  <a:pt x="4627067" y="4634757"/>
                  <a:pt x="4627067" y="4629627"/>
                </a:cubicBezTo>
                <a:cubicBezTo>
                  <a:pt x="4616807" y="4627063"/>
                  <a:pt x="4611677" y="4637322"/>
                  <a:pt x="4609113" y="4642452"/>
                </a:cubicBezTo>
                <a:cubicBezTo>
                  <a:pt x="4603982" y="4639887"/>
                  <a:pt x="4609113" y="4629627"/>
                  <a:pt x="4601418" y="4632192"/>
                </a:cubicBezTo>
                <a:cubicBezTo>
                  <a:pt x="4598853" y="4637322"/>
                  <a:pt x="4601418" y="4650147"/>
                  <a:pt x="4601418" y="4657841"/>
                </a:cubicBezTo>
                <a:cubicBezTo>
                  <a:pt x="4593723" y="4652712"/>
                  <a:pt x="4591158" y="4645017"/>
                  <a:pt x="4580899" y="4647582"/>
                </a:cubicBezTo>
                <a:cubicBezTo>
                  <a:pt x="4580899" y="4657841"/>
                  <a:pt x="4588593" y="4655276"/>
                  <a:pt x="4596288" y="4657841"/>
                </a:cubicBezTo>
                <a:lnTo>
                  <a:pt x="4597418" y="4660553"/>
                </a:lnTo>
                <a:lnTo>
                  <a:pt x="4603022" y="4656881"/>
                </a:lnTo>
                <a:cubicBezTo>
                  <a:pt x="4605908" y="4657843"/>
                  <a:pt x="4607831" y="4661690"/>
                  <a:pt x="4606549" y="4668102"/>
                </a:cubicBezTo>
                <a:lnTo>
                  <a:pt x="4599967" y="4666671"/>
                </a:lnTo>
                <a:lnTo>
                  <a:pt x="4601097" y="4669384"/>
                </a:lnTo>
                <a:lnTo>
                  <a:pt x="4603052" y="4677205"/>
                </a:lnTo>
                <a:lnTo>
                  <a:pt x="4610717" y="4678362"/>
                </a:lnTo>
                <a:cubicBezTo>
                  <a:pt x="4615527" y="4680285"/>
                  <a:pt x="4619374" y="4683491"/>
                  <a:pt x="4621939" y="4688621"/>
                </a:cubicBezTo>
                <a:cubicBezTo>
                  <a:pt x="4620657" y="4689903"/>
                  <a:pt x="4615527" y="4688621"/>
                  <a:pt x="4610076" y="4687338"/>
                </a:cubicBezTo>
                <a:lnTo>
                  <a:pt x="4599293" y="4686335"/>
                </a:lnTo>
                <a:lnTo>
                  <a:pt x="4603617" y="4689087"/>
                </a:lnTo>
                <a:lnTo>
                  <a:pt x="4611999" y="4690865"/>
                </a:lnTo>
                <a:cubicBezTo>
                  <a:pt x="4616168" y="4691827"/>
                  <a:pt x="4620656" y="4692468"/>
                  <a:pt x="4624504" y="4691186"/>
                </a:cubicBezTo>
                <a:cubicBezTo>
                  <a:pt x="4619374" y="4693750"/>
                  <a:pt x="4611679" y="4696315"/>
                  <a:pt x="4609114" y="4698880"/>
                </a:cubicBezTo>
                <a:cubicBezTo>
                  <a:pt x="4624504" y="4698880"/>
                  <a:pt x="4629633" y="4704010"/>
                  <a:pt x="4639893" y="4704010"/>
                </a:cubicBezTo>
                <a:lnTo>
                  <a:pt x="4639893" y="4714270"/>
                </a:lnTo>
                <a:cubicBezTo>
                  <a:pt x="4632199" y="4714270"/>
                  <a:pt x="4627069" y="4711064"/>
                  <a:pt x="4621939" y="4707537"/>
                </a:cubicBezTo>
                <a:lnTo>
                  <a:pt x="4605321" y="4699525"/>
                </a:lnTo>
                <a:lnTo>
                  <a:pt x="4594044" y="4701444"/>
                </a:lnTo>
                <a:cubicBezTo>
                  <a:pt x="4588594" y="4701444"/>
                  <a:pt x="4583464" y="4701444"/>
                  <a:pt x="4580899" y="4704009"/>
                </a:cubicBezTo>
                <a:cubicBezTo>
                  <a:pt x="4584746" y="4710422"/>
                  <a:pt x="4589235" y="4712987"/>
                  <a:pt x="4594364" y="4714590"/>
                </a:cubicBezTo>
                <a:lnTo>
                  <a:pt x="4610878" y="4719177"/>
                </a:lnTo>
                <a:lnTo>
                  <a:pt x="4631556" y="4718117"/>
                </a:lnTo>
                <a:cubicBezTo>
                  <a:pt x="4639251" y="4718758"/>
                  <a:pt x="4646304" y="4720681"/>
                  <a:pt x="4652717" y="4724528"/>
                </a:cubicBezTo>
                <a:cubicBezTo>
                  <a:pt x="4650152" y="4729658"/>
                  <a:pt x="4642457" y="4729658"/>
                  <a:pt x="4639892" y="4734788"/>
                </a:cubicBezTo>
                <a:cubicBezTo>
                  <a:pt x="4637327" y="4747613"/>
                  <a:pt x="4627068" y="4768132"/>
                  <a:pt x="4634763" y="4778391"/>
                </a:cubicBezTo>
                <a:cubicBezTo>
                  <a:pt x="4650152" y="4770696"/>
                  <a:pt x="4657847" y="4750177"/>
                  <a:pt x="4650152" y="4732223"/>
                </a:cubicBezTo>
                <a:cubicBezTo>
                  <a:pt x="4657847" y="4732223"/>
                  <a:pt x="4657847" y="4737353"/>
                  <a:pt x="4660412" y="4739918"/>
                </a:cubicBezTo>
                <a:cubicBezTo>
                  <a:pt x="4660412" y="4737353"/>
                  <a:pt x="4665541" y="4739918"/>
                  <a:pt x="4665541" y="4737353"/>
                </a:cubicBezTo>
                <a:cubicBezTo>
                  <a:pt x="4680930" y="4747613"/>
                  <a:pt x="4691190" y="4763002"/>
                  <a:pt x="4701450" y="4780956"/>
                </a:cubicBezTo>
                <a:cubicBezTo>
                  <a:pt x="4693755" y="4786086"/>
                  <a:pt x="4696320" y="4801476"/>
                  <a:pt x="4701450" y="4804041"/>
                </a:cubicBezTo>
                <a:cubicBezTo>
                  <a:pt x="4698885" y="4806606"/>
                  <a:pt x="4683495" y="4796346"/>
                  <a:pt x="4673236" y="4801476"/>
                </a:cubicBezTo>
                <a:cubicBezTo>
                  <a:pt x="4675801" y="4809171"/>
                  <a:pt x="4683495" y="4811736"/>
                  <a:pt x="4691190" y="4811736"/>
                </a:cubicBezTo>
                <a:cubicBezTo>
                  <a:pt x="4686061" y="4821995"/>
                  <a:pt x="4688625" y="4824560"/>
                  <a:pt x="4688625" y="4834820"/>
                </a:cubicBezTo>
                <a:cubicBezTo>
                  <a:pt x="4698885" y="4842514"/>
                  <a:pt x="4704015" y="4845080"/>
                  <a:pt x="4709144" y="4852774"/>
                </a:cubicBezTo>
                <a:cubicBezTo>
                  <a:pt x="4711709" y="4850209"/>
                  <a:pt x="4716839" y="4850209"/>
                  <a:pt x="4716839" y="4847644"/>
                </a:cubicBezTo>
                <a:cubicBezTo>
                  <a:pt x="4719404" y="4850209"/>
                  <a:pt x="4719404" y="4857904"/>
                  <a:pt x="4719404" y="4863034"/>
                </a:cubicBezTo>
                <a:cubicBezTo>
                  <a:pt x="4716839" y="4863034"/>
                  <a:pt x="4716839" y="4865598"/>
                  <a:pt x="4714274" y="4865598"/>
                </a:cubicBezTo>
                <a:cubicBezTo>
                  <a:pt x="4709144" y="4860469"/>
                  <a:pt x="4704015" y="4857904"/>
                  <a:pt x="4696320" y="4857904"/>
                </a:cubicBezTo>
                <a:cubicBezTo>
                  <a:pt x="4693755" y="4857904"/>
                  <a:pt x="4691190" y="4860469"/>
                  <a:pt x="4691190" y="4865598"/>
                </a:cubicBezTo>
                <a:cubicBezTo>
                  <a:pt x="4683495" y="4863034"/>
                  <a:pt x="4678366" y="4857904"/>
                  <a:pt x="4670671" y="4863034"/>
                </a:cubicBezTo>
                <a:cubicBezTo>
                  <a:pt x="4675801" y="4868163"/>
                  <a:pt x="4670671" y="4873293"/>
                  <a:pt x="4673236" y="4875858"/>
                </a:cubicBezTo>
                <a:cubicBezTo>
                  <a:pt x="4680930" y="4880988"/>
                  <a:pt x="4691190" y="4880988"/>
                  <a:pt x="4701450" y="4883553"/>
                </a:cubicBezTo>
                <a:cubicBezTo>
                  <a:pt x="4701450" y="4888683"/>
                  <a:pt x="4696320" y="4888683"/>
                  <a:pt x="4696320" y="4893812"/>
                </a:cubicBezTo>
                <a:cubicBezTo>
                  <a:pt x="4698885" y="4906637"/>
                  <a:pt x="4714274" y="4904072"/>
                  <a:pt x="4716839" y="4893812"/>
                </a:cubicBezTo>
                <a:cubicBezTo>
                  <a:pt x="4727099" y="4904072"/>
                  <a:pt x="4732228" y="4945110"/>
                  <a:pt x="4719404" y="4957935"/>
                </a:cubicBezTo>
                <a:cubicBezTo>
                  <a:pt x="4716839" y="4963064"/>
                  <a:pt x="4721969" y="4960500"/>
                  <a:pt x="4721969" y="4965629"/>
                </a:cubicBezTo>
                <a:cubicBezTo>
                  <a:pt x="4719404" y="4978454"/>
                  <a:pt x="4721969" y="4988713"/>
                  <a:pt x="4716839" y="4996408"/>
                </a:cubicBezTo>
                <a:cubicBezTo>
                  <a:pt x="4714274" y="5019492"/>
                  <a:pt x="4709144" y="5052836"/>
                  <a:pt x="4696320" y="5068225"/>
                </a:cubicBezTo>
                <a:cubicBezTo>
                  <a:pt x="4691190" y="5052836"/>
                  <a:pt x="4693755" y="5034881"/>
                  <a:pt x="4691190" y="5019492"/>
                </a:cubicBezTo>
                <a:cubicBezTo>
                  <a:pt x="4688625" y="5006667"/>
                  <a:pt x="4675801" y="4993843"/>
                  <a:pt x="4686061" y="4983584"/>
                </a:cubicBezTo>
                <a:cubicBezTo>
                  <a:pt x="4680930" y="4975889"/>
                  <a:pt x="4678366" y="4975889"/>
                  <a:pt x="4678366" y="4968194"/>
                </a:cubicBezTo>
                <a:cubicBezTo>
                  <a:pt x="4686061" y="4963064"/>
                  <a:pt x="4696320" y="4957935"/>
                  <a:pt x="4696320" y="4947675"/>
                </a:cubicBezTo>
                <a:cubicBezTo>
                  <a:pt x="4693755" y="4942545"/>
                  <a:pt x="4686061" y="4945110"/>
                  <a:pt x="4680930" y="4945110"/>
                </a:cubicBezTo>
                <a:cubicBezTo>
                  <a:pt x="4680930" y="4937415"/>
                  <a:pt x="4678366" y="4934851"/>
                  <a:pt x="4678366" y="4927156"/>
                </a:cubicBezTo>
                <a:lnTo>
                  <a:pt x="4675533" y="4929989"/>
                </a:lnTo>
                <a:lnTo>
                  <a:pt x="4675800" y="4930682"/>
                </a:lnTo>
                <a:cubicBezTo>
                  <a:pt x="4677082" y="4939979"/>
                  <a:pt x="4675800" y="4948957"/>
                  <a:pt x="4670670" y="4955369"/>
                </a:cubicBezTo>
                <a:cubicBezTo>
                  <a:pt x="4668105" y="4947674"/>
                  <a:pt x="4662975" y="4945109"/>
                  <a:pt x="4657845" y="4939980"/>
                </a:cubicBezTo>
                <a:cubicBezTo>
                  <a:pt x="4655280" y="4937415"/>
                  <a:pt x="4657845" y="4927155"/>
                  <a:pt x="4647586" y="4927155"/>
                </a:cubicBezTo>
                <a:cubicBezTo>
                  <a:pt x="4642456" y="4911766"/>
                  <a:pt x="4645021" y="4888682"/>
                  <a:pt x="4639891" y="4875857"/>
                </a:cubicBezTo>
                <a:cubicBezTo>
                  <a:pt x="4639891" y="4868162"/>
                  <a:pt x="4642456" y="4863033"/>
                  <a:pt x="4637326" y="4860468"/>
                </a:cubicBezTo>
                <a:cubicBezTo>
                  <a:pt x="4632196" y="4857903"/>
                  <a:pt x="4634761" y="4863033"/>
                  <a:pt x="4634761" y="4865597"/>
                </a:cubicBezTo>
                <a:cubicBezTo>
                  <a:pt x="4629631" y="4860468"/>
                  <a:pt x="4629631" y="4852773"/>
                  <a:pt x="4627067" y="4847643"/>
                </a:cubicBezTo>
                <a:cubicBezTo>
                  <a:pt x="4629631" y="4845079"/>
                  <a:pt x="4634761" y="4847643"/>
                  <a:pt x="4637326" y="4845079"/>
                </a:cubicBezTo>
                <a:cubicBezTo>
                  <a:pt x="4637326" y="4834819"/>
                  <a:pt x="4629631" y="4842514"/>
                  <a:pt x="4624502" y="4842514"/>
                </a:cubicBezTo>
                <a:cubicBezTo>
                  <a:pt x="4619372" y="4832254"/>
                  <a:pt x="4634761" y="4834819"/>
                  <a:pt x="4634761" y="4824559"/>
                </a:cubicBezTo>
                <a:cubicBezTo>
                  <a:pt x="4629631" y="4819430"/>
                  <a:pt x="4627067" y="4829689"/>
                  <a:pt x="4624502" y="4824559"/>
                </a:cubicBezTo>
                <a:cubicBezTo>
                  <a:pt x="4627067" y="4819430"/>
                  <a:pt x="4629631" y="4811735"/>
                  <a:pt x="4627067" y="4809170"/>
                </a:cubicBezTo>
                <a:cubicBezTo>
                  <a:pt x="4619372" y="4806605"/>
                  <a:pt x="4621937" y="4816865"/>
                  <a:pt x="4616807" y="4816865"/>
                </a:cubicBezTo>
                <a:cubicBezTo>
                  <a:pt x="4609113" y="4811735"/>
                  <a:pt x="4609113" y="4804040"/>
                  <a:pt x="4601418" y="4801475"/>
                </a:cubicBezTo>
                <a:cubicBezTo>
                  <a:pt x="4598853" y="4806605"/>
                  <a:pt x="4601418" y="4811735"/>
                  <a:pt x="4603982" y="4814300"/>
                </a:cubicBezTo>
                <a:cubicBezTo>
                  <a:pt x="4598853" y="4816865"/>
                  <a:pt x="4593723" y="4811735"/>
                  <a:pt x="4588593" y="4811735"/>
                </a:cubicBezTo>
                <a:cubicBezTo>
                  <a:pt x="4583464" y="4816865"/>
                  <a:pt x="4596288" y="4819430"/>
                  <a:pt x="4591158" y="4824559"/>
                </a:cubicBezTo>
                <a:cubicBezTo>
                  <a:pt x="4598853" y="4832254"/>
                  <a:pt x="4606547" y="4839949"/>
                  <a:pt x="4616807" y="4842514"/>
                </a:cubicBezTo>
                <a:cubicBezTo>
                  <a:pt x="4621937" y="4860468"/>
                  <a:pt x="4627067" y="4868162"/>
                  <a:pt x="4634761" y="4880987"/>
                </a:cubicBezTo>
                <a:cubicBezTo>
                  <a:pt x="4634761" y="4906636"/>
                  <a:pt x="4639891" y="4924590"/>
                  <a:pt x="4642456" y="4947674"/>
                </a:cubicBezTo>
                <a:lnTo>
                  <a:pt x="4637328" y="4947674"/>
                </a:lnTo>
                <a:lnTo>
                  <a:pt x="4632196" y="4947674"/>
                </a:lnTo>
                <a:cubicBezTo>
                  <a:pt x="4637326" y="4937415"/>
                  <a:pt x="4627067" y="4934850"/>
                  <a:pt x="4619372" y="4932285"/>
                </a:cubicBezTo>
                <a:cubicBezTo>
                  <a:pt x="4614242" y="4937415"/>
                  <a:pt x="4614242" y="4945109"/>
                  <a:pt x="4616807" y="4952804"/>
                </a:cubicBezTo>
                <a:cubicBezTo>
                  <a:pt x="4609113" y="4950239"/>
                  <a:pt x="4606547" y="4945109"/>
                  <a:pt x="4598853" y="4945109"/>
                </a:cubicBezTo>
                <a:cubicBezTo>
                  <a:pt x="4601418" y="4952804"/>
                  <a:pt x="4606547" y="4955369"/>
                  <a:pt x="4611677" y="4957934"/>
                </a:cubicBezTo>
                <a:cubicBezTo>
                  <a:pt x="4609113" y="4963063"/>
                  <a:pt x="4603982" y="4963063"/>
                  <a:pt x="4603982" y="4965628"/>
                </a:cubicBezTo>
                <a:cubicBezTo>
                  <a:pt x="4609113" y="4975888"/>
                  <a:pt x="4629631" y="4970758"/>
                  <a:pt x="4634761" y="4978453"/>
                </a:cubicBezTo>
                <a:lnTo>
                  <a:pt x="4635641" y="4984999"/>
                </a:lnTo>
                <a:lnTo>
                  <a:pt x="4637328" y="4947674"/>
                </a:lnTo>
                <a:cubicBezTo>
                  <a:pt x="4639893" y="4952803"/>
                  <a:pt x="4645023" y="4955368"/>
                  <a:pt x="4639893" y="4960498"/>
                </a:cubicBezTo>
                <a:cubicBezTo>
                  <a:pt x="4642457" y="4963063"/>
                  <a:pt x="4652717" y="4963063"/>
                  <a:pt x="4655282" y="4963063"/>
                </a:cubicBezTo>
                <a:cubicBezTo>
                  <a:pt x="4655282" y="4965628"/>
                  <a:pt x="4647588" y="4970759"/>
                  <a:pt x="4647588" y="4975888"/>
                </a:cubicBezTo>
                <a:cubicBezTo>
                  <a:pt x="4655282" y="4975888"/>
                  <a:pt x="4662977" y="4983583"/>
                  <a:pt x="4670671" y="4986148"/>
                </a:cubicBezTo>
                <a:cubicBezTo>
                  <a:pt x="4675801" y="5016927"/>
                  <a:pt x="4683496" y="5047705"/>
                  <a:pt x="4686061" y="5078484"/>
                </a:cubicBezTo>
                <a:cubicBezTo>
                  <a:pt x="4679649" y="5074637"/>
                  <a:pt x="4671313" y="5071431"/>
                  <a:pt x="4662977" y="5068866"/>
                </a:cubicBezTo>
                <a:lnTo>
                  <a:pt x="4642270" y="5063690"/>
                </a:lnTo>
                <a:lnTo>
                  <a:pt x="4642381" y="5066397"/>
                </a:lnTo>
                <a:lnTo>
                  <a:pt x="4665862" y="5073353"/>
                </a:lnTo>
                <a:cubicBezTo>
                  <a:pt x="4674519" y="5076560"/>
                  <a:pt x="4682214" y="5081049"/>
                  <a:pt x="4686061" y="5088744"/>
                </a:cubicBezTo>
                <a:cubicBezTo>
                  <a:pt x="4678366" y="5119523"/>
                  <a:pt x="4678366" y="5155431"/>
                  <a:pt x="4665542" y="5178515"/>
                </a:cubicBezTo>
                <a:lnTo>
                  <a:pt x="4664292" y="5175958"/>
                </a:lnTo>
                <a:lnTo>
                  <a:pt x="4665220" y="5180759"/>
                </a:lnTo>
                <a:lnTo>
                  <a:pt x="4670199" y="5213856"/>
                </a:lnTo>
                <a:lnTo>
                  <a:pt x="4675481" y="5186530"/>
                </a:lnTo>
                <a:cubicBezTo>
                  <a:pt x="4679008" y="5173385"/>
                  <a:pt x="4683496" y="5160561"/>
                  <a:pt x="4688626" y="5150301"/>
                </a:cubicBezTo>
                <a:cubicBezTo>
                  <a:pt x="4691191" y="5150301"/>
                  <a:pt x="4691191" y="5152866"/>
                  <a:pt x="4693756" y="5152866"/>
                </a:cubicBezTo>
                <a:cubicBezTo>
                  <a:pt x="4696321" y="5181079"/>
                  <a:pt x="4709145" y="5216988"/>
                  <a:pt x="4698886" y="5237507"/>
                </a:cubicBezTo>
                <a:cubicBezTo>
                  <a:pt x="4698886" y="5242637"/>
                  <a:pt x="4704015" y="5242637"/>
                  <a:pt x="4704015" y="5247767"/>
                </a:cubicBezTo>
                <a:cubicBezTo>
                  <a:pt x="4701450" y="5263156"/>
                  <a:pt x="4709145" y="5278545"/>
                  <a:pt x="4709145" y="5293935"/>
                </a:cubicBezTo>
                <a:cubicBezTo>
                  <a:pt x="4701450" y="5306759"/>
                  <a:pt x="4698886" y="5319584"/>
                  <a:pt x="4701450" y="5337538"/>
                </a:cubicBezTo>
                <a:cubicBezTo>
                  <a:pt x="4698886" y="5342668"/>
                  <a:pt x="4691191" y="5342668"/>
                  <a:pt x="4693756" y="5350362"/>
                </a:cubicBezTo>
                <a:cubicBezTo>
                  <a:pt x="4688626" y="5332408"/>
                  <a:pt x="4678367" y="5311889"/>
                  <a:pt x="4680931" y="5291370"/>
                </a:cubicBezTo>
                <a:cubicBezTo>
                  <a:pt x="4680931" y="5288805"/>
                  <a:pt x="4683496" y="5283675"/>
                  <a:pt x="4683496" y="5281110"/>
                </a:cubicBezTo>
                <a:cubicBezTo>
                  <a:pt x="4680931" y="5265721"/>
                  <a:pt x="4673237" y="5255461"/>
                  <a:pt x="4673237" y="5242637"/>
                </a:cubicBezTo>
                <a:cubicBezTo>
                  <a:pt x="4678367" y="5237507"/>
                  <a:pt x="4686061" y="5242637"/>
                  <a:pt x="4688626" y="5237507"/>
                </a:cubicBezTo>
                <a:cubicBezTo>
                  <a:pt x="4686061" y="5232377"/>
                  <a:pt x="4680931" y="5232377"/>
                  <a:pt x="4678367" y="5234942"/>
                </a:cubicBezTo>
                <a:cubicBezTo>
                  <a:pt x="4680931" y="5227247"/>
                  <a:pt x="4701450" y="5229813"/>
                  <a:pt x="4693756" y="5216988"/>
                </a:cubicBezTo>
                <a:cubicBezTo>
                  <a:pt x="4688626" y="5219553"/>
                  <a:pt x="4683496" y="5224682"/>
                  <a:pt x="4680931" y="5227247"/>
                </a:cubicBezTo>
                <a:cubicBezTo>
                  <a:pt x="4678367" y="5222118"/>
                  <a:pt x="4673237" y="5222118"/>
                  <a:pt x="4668106" y="5224682"/>
                </a:cubicBezTo>
                <a:lnTo>
                  <a:pt x="4669775" y="5216047"/>
                </a:lnTo>
                <a:lnTo>
                  <a:pt x="4658166" y="5203843"/>
                </a:lnTo>
                <a:cubicBezTo>
                  <a:pt x="4653999" y="5199034"/>
                  <a:pt x="4650151" y="5193904"/>
                  <a:pt x="4647586" y="5188774"/>
                </a:cubicBezTo>
                <a:cubicBezTo>
                  <a:pt x="4637326" y="5199034"/>
                  <a:pt x="4657845" y="5206728"/>
                  <a:pt x="4662975" y="5214423"/>
                </a:cubicBezTo>
                <a:cubicBezTo>
                  <a:pt x="4668105" y="5229813"/>
                  <a:pt x="4668105" y="5252896"/>
                  <a:pt x="4665540" y="5270851"/>
                </a:cubicBezTo>
                <a:cubicBezTo>
                  <a:pt x="4660410" y="5270851"/>
                  <a:pt x="4657845" y="5265721"/>
                  <a:pt x="4655280" y="5265721"/>
                </a:cubicBezTo>
                <a:cubicBezTo>
                  <a:pt x="4650151" y="5265721"/>
                  <a:pt x="4650151" y="5270851"/>
                  <a:pt x="4645021" y="5270851"/>
                </a:cubicBezTo>
                <a:cubicBezTo>
                  <a:pt x="4645021" y="5281110"/>
                  <a:pt x="4647586" y="5283675"/>
                  <a:pt x="4650151" y="5288805"/>
                </a:cubicBezTo>
                <a:cubicBezTo>
                  <a:pt x="4647586" y="5293935"/>
                  <a:pt x="4642456" y="5293935"/>
                  <a:pt x="4642456" y="5299065"/>
                </a:cubicBezTo>
                <a:cubicBezTo>
                  <a:pt x="4645021" y="5306759"/>
                  <a:pt x="4652716" y="5306759"/>
                  <a:pt x="4660410" y="5309324"/>
                </a:cubicBezTo>
                <a:cubicBezTo>
                  <a:pt x="4657845" y="5334973"/>
                  <a:pt x="4665540" y="5365752"/>
                  <a:pt x="4662975" y="5393966"/>
                </a:cubicBezTo>
                <a:cubicBezTo>
                  <a:pt x="4660410" y="5411920"/>
                  <a:pt x="4650151" y="5427309"/>
                  <a:pt x="4647586" y="5442698"/>
                </a:cubicBezTo>
                <a:cubicBezTo>
                  <a:pt x="4642456" y="5440134"/>
                  <a:pt x="4645021" y="5435004"/>
                  <a:pt x="4639891" y="5435004"/>
                </a:cubicBezTo>
                <a:cubicBezTo>
                  <a:pt x="4632196" y="5435004"/>
                  <a:pt x="4629631" y="5440134"/>
                  <a:pt x="4627067" y="5442698"/>
                </a:cubicBezTo>
                <a:cubicBezTo>
                  <a:pt x="4624502" y="5435004"/>
                  <a:pt x="4629631" y="5424744"/>
                  <a:pt x="4629631" y="5417049"/>
                </a:cubicBezTo>
                <a:cubicBezTo>
                  <a:pt x="4616807" y="5424744"/>
                  <a:pt x="4619372" y="5445263"/>
                  <a:pt x="4614242" y="5460653"/>
                </a:cubicBezTo>
                <a:cubicBezTo>
                  <a:pt x="4609113" y="5458088"/>
                  <a:pt x="4606547" y="5455523"/>
                  <a:pt x="4601418" y="5455523"/>
                </a:cubicBezTo>
                <a:lnTo>
                  <a:pt x="4601418" y="5459796"/>
                </a:lnTo>
                <a:lnTo>
                  <a:pt x="4603984" y="5463218"/>
                </a:lnTo>
                <a:lnTo>
                  <a:pt x="4601418" y="5461721"/>
                </a:lnTo>
                <a:lnTo>
                  <a:pt x="4601418" y="5465783"/>
                </a:lnTo>
                <a:cubicBezTo>
                  <a:pt x="4598853" y="5463218"/>
                  <a:pt x="4593723" y="5455523"/>
                  <a:pt x="4591158" y="5458088"/>
                </a:cubicBezTo>
                <a:cubicBezTo>
                  <a:pt x="4601418" y="5432439"/>
                  <a:pt x="4609113" y="5373446"/>
                  <a:pt x="4583464" y="5355492"/>
                </a:cubicBezTo>
                <a:cubicBezTo>
                  <a:pt x="4565509" y="5365752"/>
                  <a:pt x="4557815" y="5386271"/>
                  <a:pt x="4550120" y="5406790"/>
                </a:cubicBezTo>
                <a:cubicBezTo>
                  <a:pt x="4544990" y="5396531"/>
                  <a:pt x="4532166" y="5396531"/>
                  <a:pt x="4524471" y="5391400"/>
                </a:cubicBezTo>
                <a:cubicBezTo>
                  <a:pt x="4539860" y="5388836"/>
                  <a:pt x="4552685" y="5383706"/>
                  <a:pt x="4557815" y="5370882"/>
                </a:cubicBezTo>
                <a:cubicBezTo>
                  <a:pt x="4550120" y="5365752"/>
                  <a:pt x="4534730" y="5370882"/>
                  <a:pt x="4527036" y="5373446"/>
                </a:cubicBezTo>
                <a:cubicBezTo>
                  <a:pt x="4521906" y="5376011"/>
                  <a:pt x="4516776" y="5383706"/>
                  <a:pt x="4514211" y="5378576"/>
                </a:cubicBezTo>
                <a:cubicBezTo>
                  <a:pt x="4514211" y="5373446"/>
                  <a:pt x="4519341" y="5345233"/>
                  <a:pt x="4509081" y="5340103"/>
                </a:cubicBezTo>
                <a:cubicBezTo>
                  <a:pt x="4501387" y="5342668"/>
                  <a:pt x="4498822" y="5347797"/>
                  <a:pt x="4498822" y="5355492"/>
                </a:cubicBezTo>
                <a:cubicBezTo>
                  <a:pt x="4493692" y="5311889"/>
                  <a:pt x="4483433" y="5263156"/>
                  <a:pt x="4470608" y="5222118"/>
                </a:cubicBezTo>
                <a:cubicBezTo>
                  <a:pt x="4480868" y="5222118"/>
                  <a:pt x="4480868" y="5214423"/>
                  <a:pt x="4488562" y="5211858"/>
                </a:cubicBezTo>
                <a:cubicBezTo>
                  <a:pt x="4493692" y="5214423"/>
                  <a:pt x="4496257" y="5219553"/>
                  <a:pt x="4501387" y="5222118"/>
                </a:cubicBezTo>
                <a:cubicBezTo>
                  <a:pt x="4509081" y="5214423"/>
                  <a:pt x="4514211" y="5196469"/>
                  <a:pt x="4511647" y="5186209"/>
                </a:cubicBezTo>
                <a:cubicBezTo>
                  <a:pt x="4537295" y="5181079"/>
                  <a:pt x="4544990" y="5160560"/>
                  <a:pt x="4555250" y="5142606"/>
                </a:cubicBezTo>
                <a:cubicBezTo>
                  <a:pt x="4550120" y="5127217"/>
                  <a:pt x="4532166" y="5140041"/>
                  <a:pt x="4524471" y="5145171"/>
                </a:cubicBezTo>
                <a:cubicBezTo>
                  <a:pt x="4521906" y="5142606"/>
                  <a:pt x="4516776" y="5140041"/>
                  <a:pt x="4511647" y="5142606"/>
                </a:cubicBezTo>
                <a:cubicBezTo>
                  <a:pt x="4509081" y="5127217"/>
                  <a:pt x="4491127" y="5122087"/>
                  <a:pt x="4488562" y="5137476"/>
                </a:cubicBezTo>
                <a:cubicBezTo>
                  <a:pt x="4480868" y="5134911"/>
                  <a:pt x="4488562" y="5129781"/>
                  <a:pt x="4483433" y="5129781"/>
                </a:cubicBezTo>
                <a:cubicBezTo>
                  <a:pt x="4475738" y="5132347"/>
                  <a:pt x="4470608" y="5137476"/>
                  <a:pt x="4468043" y="5145171"/>
                </a:cubicBezTo>
                <a:cubicBezTo>
                  <a:pt x="4462913" y="5142606"/>
                  <a:pt x="4462913" y="5134911"/>
                  <a:pt x="4457784" y="5134911"/>
                </a:cubicBezTo>
                <a:cubicBezTo>
                  <a:pt x="4450089" y="5147736"/>
                  <a:pt x="4462913" y="5157995"/>
                  <a:pt x="4465478" y="5168255"/>
                </a:cubicBezTo>
                <a:cubicBezTo>
                  <a:pt x="4460349" y="5168255"/>
                  <a:pt x="4460349" y="5163125"/>
                  <a:pt x="4455219" y="5165690"/>
                </a:cubicBezTo>
                <a:cubicBezTo>
                  <a:pt x="4442394" y="5122087"/>
                  <a:pt x="4450089" y="5057964"/>
                  <a:pt x="4450089" y="5022056"/>
                </a:cubicBezTo>
                <a:cubicBezTo>
                  <a:pt x="4462913" y="5016926"/>
                  <a:pt x="4468043" y="5009232"/>
                  <a:pt x="4480868" y="5011797"/>
                </a:cubicBezTo>
                <a:cubicBezTo>
                  <a:pt x="4491127" y="5014361"/>
                  <a:pt x="4493692" y="5024621"/>
                  <a:pt x="4524471" y="5029751"/>
                </a:cubicBezTo>
                <a:cubicBezTo>
                  <a:pt x="4527036" y="5027186"/>
                  <a:pt x="4529601" y="5027186"/>
                  <a:pt x="4529601" y="5024621"/>
                </a:cubicBezTo>
                <a:cubicBezTo>
                  <a:pt x="4524471" y="5014361"/>
                  <a:pt x="4506517" y="5014361"/>
                  <a:pt x="4501387" y="5004102"/>
                </a:cubicBezTo>
                <a:cubicBezTo>
                  <a:pt x="4521906" y="5009232"/>
                  <a:pt x="4527036" y="4998972"/>
                  <a:pt x="4537295" y="4991277"/>
                </a:cubicBezTo>
                <a:cubicBezTo>
                  <a:pt x="4552685" y="4978453"/>
                  <a:pt x="4565509" y="4973323"/>
                  <a:pt x="4568074" y="4955369"/>
                </a:cubicBezTo>
                <a:cubicBezTo>
                  <a:pt x="4568074" y="4945109"/>
                  <a:pt x="4550120" y="4955369"/>
                  <a:pt x="4552685" y="4945109"/>
                </a:cubicBezTo>
                <a:cubicBezTo>
                  <a:pt x="4516776" y="4950239"/>
                  <a:pt x="4509081" y="4981018"/>
                  <a:pt x="4483433" y="4993842"/>
                </a:cubicBezTo>
                <a:cubicBezTo>
                  <a:pt x="4480868" y="4983583"/>
                  <a:pt x="4491127" y="4955369"/>
                  <a:pt x="4478303" y="4947674"/>
                </a:cubicBezTo>
                <a:cubicBezTo>
                  <a:pt x="4498822" y="4880987"/>
                  <a:pt x="4503952" y="4796345"/>
                  <a:pt x="4544990" y="4750177"/>
                </a:cubicBezTo>
                <a:cubicBezTo>
                  <a:pt x="4542425" y="4745048"/>
                  <a:pt x="4542425" y="4739918"/>
                  <a:pt x="4534730" y="4739918"/>
                </a:cubicBezTo>
                <a:cubicBezTo>
                  <a:pt x="4547555" y="4683490"/>
                  <a:pt x="4565509" y="4637322"/>
                  <a:pt x="4596288" y="4601414"/>
                </a:cubicBezTo>
                <a:cubicBezTo>
                  <a:pt x="4603982" y="4598849"/>
                  <a:pt x="4614242" y="4596284"/>
                  <a:pt x="4616807" y="4588589"/>
                </a:cubicBezTo>
                <a:cubicBezTo>
                  <a:pt x="4614242" y="4578330"/>
                  <a:pt x="4603982" y="4578330"/>
                  <a:pt x="4596288" y="4580895"/>
                </a:cubicBezTo>
                <a:cubicBezTo>
                  <a:pt x="4601418" y="4568070"/>
                  <a:pt x="4606547" y="4560375"/>
                  <a:pt x="4609113" y="4547551"/>
                </a:cubicBezTo>
                <a:cubicBezTo>
                  <a:pt x="4616807" y="4544986"/>
                  <a:pt x="4627067" y="4542421"/>
                  <a:pt x="4627067" y="4529597"/>
                </a:cubicBezTo>
                <a:close/>
                <a:moveTo>
                  <a:pt x="3821690" y="4478299"/>
                </a:moveTo>
                <a:cubicBezTo>
                  <a:pt x="3765263" y="4480864"/>
                  <a:pt x="3719094" y="4532162"/>
                  <a:pt x="3683186" y="4580895"/>
                </a:cubicBezTo>
                <a:lnTo>
                  <a:pt x="3690881" y="4591154"/>
                </a:lnTo>
                <a:cubicBezTo>
                  <a:pt x="3693446" y="4588590"/>
                  <a:pt x="3696011" y="4588590"/>
                  <a:pt x="3698576" y="4586024"/>
                </a:cubicBezTo>
                <a:cubicBezTo>
                  <a:pt x="3690881" y="4596285"/>
                  <a:pt x="3683186" y="4606545"/>
                  <a:pt x="3678056" y="4616804"/>
                </a:cubicBezTo>
                <a:lnTo>
                  <a:pt x="3683186" y="4619369"/>
                </a:lnTo>
                <a:cubicBezTo>
                  <a:pt x="3649842" y="4650148"/>
                  <a:pt x="3621629" y="4688621"/>
                  <a:pt x="3601110" y="4721965"/>
                </a:cubicBezTo>
                <a:lnTo>
                  <a:pt x="3611369" y="4729660"/>
                </a:lnTo>
                <a:cubicBezTo>
                  <a:pt x="3672927" y="4673232"/>
                  <a:pt x="3737049" y="4611674"/>
                  <a:pt x="3780652" y="4565505"/>
                </a:cubicBezTo>
                <a:lnTo>
                  <a:pt x="3772957" y="4555246"/>
                </a:lnTo>
                <a:cubicBezTo>
                  <a:pt x="3767828" y="4557811"/>
                  <a:pt x="3762698" y="4560376"/>
                  <a:pt x="3757568" y="4562941"/>
                </a:cubicBezTo>
                <a:cubicBezTo>
                  <a:pt x="3767828" y="4555246"/>
                  <a:pt x="3778087" y="4547551"/>
                  <a:pt x="3788347" y="4539856"/>
                </a:cubicBezTo>
                <a:lnTo>
                  <a:pt x="3783217" y="4529597"/>
                </a:lnTo>
                <a:cubicBezTo>
                  <a:pt x="3778087" y="4532162"/>
                  <a:pt x="3770392" y="4532162"/>
                  <a:pt x="3765263" y="4534727"/>
                </a:cubicBezTo>
                <a:cubicBezTo>
                  <a:pt x="3783217" y="4516772"/>
                  <a:pt x="3803736" y="4501383"/>
                  <a:pt x="3824255" y="4491124"/>
                </a:cubicBezTo>
                <a:close/>
                <a:moveTo>
                  <a:pt x="4634763" y="4473169"/>
                </a:moveTo>
                <a:cubicBezTo>
                  <a:pt x="4639893" y="4475733"/>
                  <a:pt x="4639893" y="4485993"/>
                  <a:pt x="4639893" y="4491123"/>
                </a:cubicBezTo>
                <a:cubicBezTo>
                  <a:pt x="4629633" y="4493689"/>
                  <a:pt x="4629633" y="4506513"/>
                  <a:pt x="4616809" y="4506513"/>
                </a:cubicBezTo>
                <a:cubicBezTo>
                  <a:pt x="4619374" y="4501383"/>
                  <a:pt x="4624503" y="4501383"/>
                  <a:pt x="4627069" y="4496254"/>
                </a:cubicBezTo>
                <a:cubicBezTo>
                  <a:pt x="4627069" y="4491123"/>
                  <a:pt x="4624503" y="4491123"/>
                  <a:pt x="4621939" y="4491123"/>
                </a:cubicBezTo>
                <a:cubicBezTo>
                  <a:pt x="4624503" y="4483428"/>
                  <a:pt x="4632198" y="4480863"/>
                  <a:pt x="4634763" y="4473169"/>
                </a:cubicBezTo>
                <a:close/>
                <a:moveTo>
                  <a:pt x="4601419" y="4462910"/>
                </a:moveTo>
                <a:cubicBezTo>
                  <a:pt x="4601419" y="4468039"/>
                  <a:pt x="4596290" y="4470604"/>
                  <a:pt x="4593725" y="4470604"/>
                </a:cubicBezTo>
                <a:cubicBezTo>
                  <a:pt x="4596290" y="4468039"/>
                  <a:pt x="4596290" y="4462910"/>
                  <a:pt x="4601419" y="4462910"/>
                </a:cubicBezTo>
                <a:close/>
                <a:moveTo>
                  <a:pt x="3837721" y="4429886"/>
                </a:moveTo>
                <a:cubicBezTo>
                  <a:pt x="3844133" y="4430848"/>
                  <a:pt x="3849904" y="4433413"/>
                  <a:pt x="3855034" y="4437261"/>
                </a:cubicBezTo>
                <a:cubicBezTo>
                  <a:pt x="3862729" y="4444955"/>
                  <a:pt x="3867858" y="4460345"/>
                  <a:pt x="3867858" y="4475734"/>
                </a:cubicBezTo>
                <a:cubicBezTo>
                  <a:pt x="3849904" y="4483429"/>
                  <a:pt x="3837080" y="4493688"/>
                  <a:pt x="3829385" y="4511643"/>
                </a:cubicBezTo>
                <a:cubicBezTo>
                  <a:pt x="3822973" y="4523185"/>
                  <a:pt x="3820409" y="4537933"/>
                  <a:pt x="3821370" y="4553002"/>
                </a:cubicBezTo>
                <a:lnTo>
                  <a:pt x="3833870" y="4594160"/>
                </a:lnTo>
                <a:lnTo>
                  <a:pt x="3832116" y="4598685"/>
                </a:lnTo>
                <a:lnTo>
                  <a:pt x="3824255" y="4606545"/>
                </a:lnTo>
                <a:cubicBezTo>
                  <a:pt x="3811431" y="4621934"/>
                  <a:pt x="3796041" y="4634758"/>
                  <a:pt x="3793477" y="4665537"/>
                </a:cubicBezTo>
                <a:cubicBezTo>
                  <a:pt x="3778087" y="4673232"/>
                  <a:pt x="3757568" y="4678362"/>
                  <a:pt x="3739614" y="4683492"/>
                </a:cubicBezTo>
                <a:cubicBezTo>
                  <a:pt x="3698576" y="4691186"/>
                  <a:pt x="3657537" y="4701446"/>
                  <a:pt x="3642148" y="4737354"/>
                </a:cubicBezTo>
                <a:lnTo>
                  <a:pt x="3634453" y="4752744"/>
                </a:lnTo>
                <a:lnTo>
                  <a:pt x="3649842" y="4745049"/>
                </a:lnTo>
                <a:cubicBezTo>
                  <a:pt x="3706270" y="4716835"/>
                  <a:pt x="3778087" y="4691186"/>
                  <a:pt x="3839645" y="4678362"/>
                </a:cubicBezTo>
                <a:cubicBezTo>
                  <a:pt x="3826820" y="4706575"/>
                  <a:pt x="3831950" y="4727095"/>
                  <a:pt x="3839645" y="4747614"/>
                </a:cubicBezTo>
                <a:cubicBezTo>
                  <a:pt x="3711400" y="4750178"/>
                  <a:pt x="3639583" y="4793782"/>
                  <a:pt x="3603674" y="4893813"/>
                </a:cubicBezTo>
                <a:lnTo>
                  <a:pt x="3595980" y="4911767"/>
                </a:lnTo>
                <a:lnTo>
                  <a:pt x="3613934" y="4898942"/>
                </a:lnTo>
                <a:cubicBezTo>
                  <a:pt x="3644713" y="4875858"/>
                  <a:pt x="3665232" y="4850210"/>
                  <a:pt x="3678056" y="4816866"/>
                </a:cubicBezTo>
                <a:cubicBezTo>
                  <a:pt x="3688316" y="4814301"/>
                  <a:pt x="3703705" y="4816866"/>
                  <a:pt x="3716530" y="4824561"/>
                </a:cubicBezTo>
                <a:cubicBezTo>
                  <a:pt x="3724225" y="4827125"/>
                  <a:pt x="3729354" y="4834820"/>
                  <a:pt x="3731919" y="4839950"/>
                </a:cubicBezTo>
                <a:cubicBezTo>
                  <a:pt x="3729354" y="4839950"/>
                  <a:pt x="3726789" y="4845080"/>
                  <a:pt x="3724225" y="4847644"/>
                </a:cubicBezTo>
                <a:cubicBezTo>
                  <a:pt x="3724225" y="4845080"/>
                  <a:pt x="3719094" y="4845080"/>
                  <a:pt x="3716530" y="4845080"/>
                </a:cubicBezTo>
                <a:lnTo>
                  <a:pt x="3713965" y="4845080"/>
                </a:lnTo>
                <a:lnTo>
                  <a:pt x="3711400" y="4847644"/>
                </a:lnTo>
                <a:cubicBezTo>
                  <a:pt x="3703705" y="4855339"/>
                  <a:pt x="3698576" y="4860469"/>
                  <a:pt x="3690881" y="4868164"/>
                </a:cubicBezTo>
                <a:cubicBezTo>
                  <a:pt x="3698576" y="4857904"/>
                  <a:pt x="3703705" y="4845080"/>
                  <a:pt x="3703705" y="4832255"/>
                </a:cubicBezTo>
                <a:lnTo>
                  <a:pt x="3703705" y="4821996"/>
                </a:lnTo>
                <a:lnTo>
                  <a:pt x="3696011" y="4824561"/>
                </a:lnTo>
                <a:cubicBezTo>
                  <a:pt x="3678056" y="4832255"/>
                  <a:pt x="3667797" y="4845080"/>
                  <a:pt x="3657537" y="4860469"/>
                </a:cubicBezTo>
                <a:cubicBezTo>
                  <a:pt x="3647278" y="4870729"/>
                  <a:pt x="3642148" y="4880988"/>
                  <a:pt x="3631888" y="4886118"/>
                </a:cubicBezTo>
                <a:lnTo>
                  <a:pt x="3637018" y="4898942"/>
                </a:lnTo>
                <a:cubicBezTo>
                  <a:pt x="3652408" y="4898942"/>
                  <a:pt x="3667797" y="4891248"/>
                  <a:pt x="3680621" y="4880988"/>
                </a:cubicBezTo>
                <a:cubicBezTo>
                  <a:pt x="3665232" y="4893813"/>
                  <a:pt x="3652408" y="4909202"/>
                  <a:pt x="3637018" y="4924591"/>
                </a:cubicBezTo>
                <a:cubicBezTo>
                  <a:pt x="3621629" y="4942545"/>
                  <a:pt x="3606239" y="4957935"/>
                  <a:pt x="3593415" y="4970759"/>
                </a:cubicBezTo>
                <a:lnTo>
                  <a:pt x="3601110" y="4973324"/>
                </a:lnTo>
                <a:cubicBezTo>
                  <a:pt x="3637018" y="4957935"/>
                  <a:pt x="3665232" y="4929721"/>
                  <a:pt x="3690881" y="4901507"/>
                </a:cubicBezTo>
                <a:cubicBezTo>
                  <a:pt x="3690881" y="4901507"/>
                  <a:pt x="3693446" y="4898942"/>
                  <a:pt x="3693446" y="4898942"/>
                </a:cubicBezTo>
                <a:cubicBezTo>
                  <a:pt x="3665232" y="4945110"/>
                  <a:pt x="3613934" y="4978454"/>
                  <a:pt x="3567766" y="5009233"/>
                </a:cubicBezTo>
                <a:cubicBezTo>
                  <a:pt x="3544682" y="5024622"/>
                  <a:pt x="3524163" y="5037447"/>
                  <a:pt x="3506209" y="5052836"/>
                </a:cubicBezTo>
                <a:lnTo>
                  <a:pt x="3511338" y="5060531"/>
                </a:lnTo>
                <a:cubicBezTo>
                  <a:pt x="3477995" y="5073355"/>
                  <a:pt x="3442086" y="5086180"/>
                  <a:pt x="3408743" y="5096439"/>
                </a:cubicBezTo>
                <a:lnTo>
                  <a:pt x="3388223" y="5104134"/>
                </a:lnTo>
                <a:lnTo>
                  <a:pt x="3390788" y="5116958"/>
                </a:lnTo>
                <a:cubicBezTo>
                  <a:pt x="3542117" y="5101569"/>
                  <a:pt x="3662667" y="5032317"/>
                  <a:pt x="3747308" y="4914332"/>
                </a:cubicBezTo>
                <a:cubicBezTo>
                  <a:pt x="3747308" y="4919462"/>
                  <a:pt x="3749874" y="4922027"/>
                  <a:pt x="3752438" y="4927156"/>
                </a:cubicBezTo>
                <a:cubicBezTo>
                  <a:pt x="3755003" y="4932286"/>
                  <a:pt x="3755003" y="4934851"/>
                  <a:pt x="3757568" y="4939981"/>
                </a:cubicBezTo>
                <a:cubicBezTo>
                  <a:pt x="3726789" y="4955370"/>
                  <a:pt x="3696011" y="4991279"/>
                  <a:pt x="3683186" y="5016928"/>
                </a:cubicBezTo>
                <a:lnTo>
                  <a:pt x="3675491" y="5029752"/>
                </a:lnTo>
                <a:lnTo>
                  <a:pt x="3688316" y="5024622"/>
                </a:lnTo>
                <a:cubicBezTo>
                  <a:pt x="3713965" y="5016928"/>
                  <a:pt x="3729354" y="4998973"/>
                  <a:pt x="3744743" y="4981019"/>
                </a:cubicBezTo>
                <a:cubicBezTo>
                  <a:pt x="3749874" y="4973324"/>
                  <a:pt x="3757568" y="4965630"/>
                  <a:pt x="3762698" y="4960500"/>
                </a:cubicBezTo>
                <a:cubicBezTo>
                  <a:pt x="3760133" y="4963065"/>
                  <a:pt x="3757568" y="4965630"/>
                  <a:pt x="3755003" y="4970759"/>
                </a:cubicBezTo>
                <a:cubicBezTo>
                  <a:pt x="3749874" y="4978454"/>
                  <a:pt x="3742179" y="4986149"/>
                  <a:pt x="3742179" y="4998973"/>
                </a:cubicBezTo>
                <a:cubicBezTo>
                  <a:pt x="3729354" y="5006668"/>
                  <a:pt x="3716530" y="5014363"/>
                  <a:pt x="3703705" y="5022057"/>
                </a:cubicBezTo>
                <a:cubicBezTo>
                  <a:pt x="3670362" y="5042576"/>
                  <a:pt x="3634453" y="5065660"/>
                  <a:pt x="3590850" y="5063096"/>
                </a:cubicBezTo>
                <a:lnTo>
                  <a:pt x="3588285" y="5075920"/>
                </a:lnTo>
                <a:cubicBezTo>
                  <a:pt x="3652408" y="5099004"/>
                  <a:pt x="3685751" y="5075920"/>
                  <a:pt x="3719094" y="5050271"/>
                </a:cubicBezTo>
                <a:cubicBezTo>
                  <a:pt x="3726789" y="5045141"/>
                  <a:pt x="3734484" y="5040011"/>
                  <a:pt x="3742179" y="5034882"/>
                </a:cubicBezTo>
                <a:cubicBezTo>
                  <a:pt x="3772957" y="5065660"/>
                  <a:pt x="3760133" y="5086180"/>
                  <a:pt x="3737049" y="5119523"/>
                </a:cubicBezTo>
                <a:cubicBezTo>
                  <a:pt x="3716530" y="5147737"/>
                  <a:pt x="3693446" y="5183646"/>
                  <a:pt x="3698576" y="5234943"/>
                </a:cubicBezTo>
                <a:cubicBezTo>
                  <a:pt x="3667797" y="5260592"/>
                  <a:pt x="3637018" y="5247768"/>
                  <a:pt x="3598545" y="5229814"/>
                </a:cubicBezTo>
                <a:cubicBezTo>
                  <a:pt x="3565201" y="5214424"/>
                  <a:pt x="3526728" y="5196470"/>
                  <a:pt x="3480560" y="5206730"/>
                </a:cubicBezTo>
                <a:lnTo>
                  <a:pt x="3480560" y="5219554"/>
                </a:lnTo>
                <a:cubicBezTo>
                  <a:pt x="3493384" y="5222119"/>
                  <a:pt x="3503644" y="5224684"/>
                  <a:pt x="3516468" y="5227249"/>
                </a:cubicBezTo>
                <a:cubicBezTo>
                  <a:pt x="3554941" y="5237508"/>
                  <a:pt x="3593415" y="5245203"/>
                  <a:pt x="3619064" y="5268287"/>
                </a:cubicBezTo>
                <a:cubicBezTo>
                  <a:pt x="3542117" y="5370883"/>
                  <a:pt x="3454911" y="5399096"/>
                  <a:pt x="3357445" y="5352928"/>
                </a:cubicBezTo>
                <a:cubicBezTo>
                  <a:pt x="3329231" y="5340104"/>
                  <a:pt x="3313842" y="5314455"/>
                  <a:pt x="3298452" y="5286241"/>
                </a:cubicBezTo>
                <a:cubicBezTo>
                  <a:pt x="3275368" y="5247768"/>
                  <a:pt x="3252284" y="5206730"/>
                  <a:pt x="3188162" y="5206730"/>
                </a:cubicBezTo>
                <a:lnTo>
                  <a:pt x="3185597" y="5206730"/>
                </a:lnTo>
                <a:lnTo>
                  <a:pt x="3183033" y="5206730"/>
                </a:lnTo>
                <a:cubicBezTo>
                  <a:pt x="3171811" y="5214745"/>
                  <a:pt x="3161391" y="5224444"/>
                  <a:pt x="3151848" y="5235480"/>
                </a:cubicBezTo>
                <a:lnTo>
                  <a:pt x="3133288" y="5261808"/>
                </a:lnTo>
                <a:lnTo>
                  <a:pt x="3126604" y="5252898"/>
                </a:lnTo>
                <a:cubicBezTo>
                  <a:pt x="3095826" y="5268287"/>
                  <a:pt x="3075307" y="5301630"/>
                  <a:pt x="3062482" y="5340104"/>
                </a:cubicBezTo>
                <a:cubicBezTo>
                  <a:pt x="3065047" y="5332409"/>
                  <a:pt x="3062482" y="5324715"/>
                  <a:pt x="3059917" y="5319585"/>
                </a:cubicBezTo>
                <a:lnTo>
                  <a:pt x="3052222" y="5304196"/>
                </a:lnTo>
                <a:lnTo>
                  <a:pt x="3047094" y="5319585"/>
                </a:lnTo>
                <a:cubicBezTo>
                  <a:pt x="3021444" y="5422181"/>
                  <a:pt x="2985535" y="5517082"/>
                  <a:pt x="2944497" y="5583769"/>
                </a:cubicBezTo>
                <a:cubicBezTo>
                  <a:pt x="2939368" y="5596593"/>
                  <a:pt x="2923978" y="5609418"/>
                  <a:pt x="2908589" y="5622242"/>
                </a:cubicBezTo>
                <a:cubicBezTo>
                  <a:pt x="2880375" y="5645326"/>
                  <a:pt x="2849596" y="5673540"/>
                  <a:pt x="2849596" y="5704319"/>
                </a:cubicBezTo>
                <a:cubicBezTo>
                  <a:pt x="2849596" y="5719708"/>
                  <a:pt x="2859855" y="5735098"/>
                  <a:pt x="2877810" y="5747922"/>
                </a:cubicBezTo>
                <a:lnTo>
                  <a:pt x="2885504" y="5753052"/>
                </a:lnTo>
                <a:lnTo>
                  <a:pt x="2888069" y="5742792"/>
                </a:lnTo>
                <a:cubicBezTo>
                  <a:pt x="2888069" y="5742792"/>
                  <a:pt x="2888069" y="5740227"/>
                  <a:pt x="2888069" y="5740227"/>
                </a:cubicBezTo>
                <a:cubicBezTo>
                  <a:pt x="2888069" y="5747922"/>
                  <a:pt x="2888069" y="5753052"/>
                  <a:pt x="2890634" y="5760746"/>
                </a:cubicBezTo>
                <a:lnTo>
                  <a:pt x="2903459" y="5758181"/>
                </a:lnTo>
                <a:cubicBezTo>
                  <a:pt x="2903459" y="5750487"/>
                  <a:pt x="2906023" y="5747922"/>
                  <a:pt x="2906023" y="5747922"/>
                </a:cubicBezTo>
                <a:cubicBezTo>
                  <a:pt x="2906023" y="5747922"/>
                  <a:pt x="2908589" y="5747922"/>
                  <a:pt x="2908589" y="5747922"/>
                </a:cubicBezTo>
                <a:cubicBezTo>
                  <a:pt x="2913718" y="5747922"/>
                  <a:pt x="2918848" y="5747922"/>
                  <a:pt x="2923978" y="5742792"/>
                </a:cubicBezTo>
                <a:cubicBezTo>
                  <a:pt x="2934237" y="5732533"/>
                  <a:pt x="2931672" y="5727403"/>
                  <a:pt x="2926543" y="5722273"/>
                </a:cubicBezTo>
                <a:cubicBezTo>
                  <a:pt x="2923978" y="5722273"/>
                  <a:pt x="2923978" y="5722273"/>
                  <a:pt x="2923978" y="5719708"/>
                </a:cubicBezTo>
                <a:cubicBezTo>
                  <a:pt x="2939368" y="5681235"/>
                  <a:pt x="2962452" y="5650456"/>
                  <a:pt x="2982970" y="5622242"/>
                </a:cubicBezTo>
                <a:cubicBezTo>
                  <a:pt x="2998360" y="5603006"/>
                  <a:pt x="3013108" y="5583769"/>
                  <a:pt x="3025612" y="5561967"/>
                </a:cubicBezTo>
                <a:lnTo>
                  <a:pt x="3040513" y="5531102"/>
                </a:lnTo>
                <a:lnTo>
                  <a:pt x="3033948" y="5551708"/>
                </a:lnTo>
                <a:cubicBezTo>
                  <a:pt x="3023368" y="5571586"/>
                  <a:pt x="3009902" y="5590181"/>
                  <a:pt x="2995795" y="5609418"/>
                </a:cubicBezTo>
                <a:cubicBezTo>
                  <a:pt x="2972711" y="5640197"/>
                  <a:pt x="2947062" y="5670975"/>
                  <a:pt x="2939368" y="5712013"/>
                </a:cubicBezTo>
                <a:lnTo>
                  <a:pt x="2936802" y="5719708"/>
                </a:lnTo>
                <a:lnTo>
                  <a:pt x="2944497" y="5719708"/>
                </a:lnTo>
                <a:cubicBezTo>
                  <a:pt x="2970146" y="5719708"/>
                  <a:pt x="2972711" y="5704319"/>
                  <a:pt x="2972711" y="5694059"/>
                </a:cubicBezTo>
                <a:cubicBezTo>
                  <a:pt x="2972711" y="5688929"/>
                  <a:pt x="2972711" y="5683800"/>
                  <a:pt x="2975276" y="5681235"/>
                </a:cubicBezTo>
                <a:cubicBezTo>
                  <a:pt x="2982970" y="5663280"/>
                  <a:pt x="2998360" y="5642761"/>
                  <a:pt x="3013749" y="5622242"/>
                </a:cubicBezTo>
                <a:cubicBezTo>
                  <a:pt x="3052222" y="5570944"/>
                  <a:pt x="3098391" y="5511952"/>
                  <a:pt x="3070177" y="5435005"/>
                </a:cubicBezTo>
                <a:lnTo>
                  <a:pt x="3070177" y="5432440"/>
                </a:lnTo>
                <a:lnTo>
                  <a:pt x="3067612" y="5432440"/>
                </a:lnTo>
                <a:cubicBezTo>
                  <a:pt x="3065047" y="5432440"/>
                  <a:pt x="3065047" y="5432440"/>
                  <a:pt x="3062482" y="5432440"/>
                </a:cubicBezTo>
                <a:cubicBezTo>
                  <a:pt x="3066331" y="5402944"/>
                  <a:pt x="3075307" y="5372166"/>
                  <a:pt x="3087811" y="5342990"/>
                </a:cubicBezTo>
                <a:lnTo>
                  <a:pt x="3119983" y="5287742"/>
                </a:lnTo>
                <a:lnTo>
                  <a:pt x="3091658" y="5361585"/>
                </a:lnTo>
                <a:cubicBezTo>
                  <a:pt x="3077230" y="5425387"/>
                  <a:pt x="3080436" y="5493998"/>
                  <a:pt x="3106085" y="5545295"/>
                </a:cubicBezTo>
                <a:cubicBezTo>
                  <a:pt x="3103520" y="5545295"/>
                  <a:pt x="3100955" y="5547860"/>
                  <a:pt x="3098391" y="5547860"/>
                </a:cubicBezTo>
                <a:cubicBezTo>
                  <a:pt x="3088132" y="5550425"/>
                  <a:pt x="3075307" y="5555555"/>
                  <a:pt x="3070177" y="5570944"/>
                </a:cubicBezTo>
                <a:lnTo>
                  <a:pt x="3070177" y="5573509"/>
                </a:lnTo>
                <a:lnTo>
                  <a:pt x="3070177" y="5576074"/>
                </a:lnTo>
                <a:cubicBezTo>
                  <a:pt x="3072741" y="5596593"/>
                  <a:pt x="3075307" y="5622242"/>
                  <a:pt x="3062482" y="5637632"/>
                </a:cubicBezTo>
                <a:cubicBezTo>
                  <a:pt x="3049658" y="5635067"/>
                  <a:pt x="3036833" y="5637632"/>
                  <a:pt x="3026574" y="5647891"/>
                </a:cubicBezTo>
                <a:lnTo>
                  <a:pt x="3026574" y="5650456"/>
                </a:lnTo>
                <a:lnTo>
                  <a:pt x="3026574" y="5653021"/>
                </a:lnTo>
                <a:cubicBezTo>
                  <a:pt x="3026574" y="5658151"/>
                  <a:pt x="3026574" y="5665846"/>
                  <a:pt x="3026574" y="5670975"/>
                </a:cubicBezTo>
                <a:cubicBezTo>
                  <a:pt x="3026574" y="5696624"/>
                  <a:pt x="3024010" y="5719708"/>
                  <a:pt x="3008619" y="5735098"/>
                </a:cubicBezTo>
                <a:cubicBezTo>
                  <a:pt x="2959886" y="5724838"/>
                  <a:pt x="2936802" y="5753052"/>
                  <a:pt x="2913718" y="5776136"/>
                </a:cubicBezTo>
                <a:cubicBezTo>
                  <a:pt x="2911153" y="5781266"/>
                  <a:pt x="2908589" y="5783830"/>
                  <a:pt x="2903459" y="5788960"/>
                </a:cubicBezTo>
                <a:cubicBezTo>
                  <a:pt x="2877810" y="5778701"/>
                  <a:pt x="2854726" y="5778701"/>
                  <a:pt x="2839336" y="5786395"/>
                </a:cubicBezTo>
                <a:cubicBezTo>
                  <a:pt x="2826512" y="5794090"/>
                  <a:pt x="2816252" y="5806915"/>
                  <a:pt x="2808558" y="5824869"/>
                </a:cubicBezTo>
                <a:cubicBezTo>
                  <a:pt x="2790603" y="5817174"/>
                  <a:pt x="2777779" y="5822304"/>
                  <a:pt x="2764954" y="5824869"/>
                </a:cubicBezTo>
                <a:cubicBezTo>
                  <a:pt x="2762389" y="5827433"/>
                  <a:pt x="2759825" y="5827433"/>
                  <a:pt x="2757260" y="5827433"/>
                </a:cubicBezTo>
                <a:cubicBezTo>
                  <a:pt x="2762389" y="5781266"/>
                  <a:pt x="2780344" y="5742792"/>
                  <a:pt x="2800863" y="5704319"/>
                </a:cubicBezTo>
                <a:cubicBezTo>
                  <a:pt x="2823947" y="5660715"/>
                  <a:pt x="2847031" y="5614548"/>
                  <a:pt x="2849596" y="5552990"/>
                </a:cubicBezTo>
                <a:lnTo>
                  <a:pt x="2836771" y="5550425"/>
                </a:lnTo>
                <a:cubicBezTo>
                  <a:pt x="2829077" y="5596593"/>
                  <a:pt x="2808558" y="5640197"/>
                  <a:pt x="2788038" y="5681235"/>
                </a:cubicBezTo>
                <a:cubicBezTo>
                  <a:pt x="2757260" y="5742792"/>
                  <a:pt x="2731611" y="5799220"/>
                  <a:pt x="2747000" y="5863342"/>
                </a:cubicBezTo>
                <a:cubicBezTo>
                  <a:pt x="2741870" y="5827433"/>
                  <a:pt x="2736741" y="5796655"/>
                  <a:pt x="2700832" y="5773571"/>
                </a:cubicBezTo>
                <a:cubicBezTo>
                  <a:pt x="2705962" y="5758181"/>
                  <a:pt x="2705962" y="5745357"/>
                  <a:pt x="2703397" y="5735098"/>
                </a:cubicBezTo>
                <a:cubicBezTo>
                  <a:pt x="2700832" y="5732533"/>
                  <a:pt x="2698267" y="5729968"/>
                  <a:pt x="2695702" y="5727403"/>
                </a:cubicBezTo>
                <a:cubicBezTo>
                  <a:pt x="2695702" y="5722273"/>
                  <a:pt x="2693137" y="5719708"/>
                  <a:pt x="2693137" y="5714578"/>
                </a:cubicBezTo>
                <a:cubicBezTo>
                  <a:pt x="2672618" y="5691494"/>
                  <a:pt x="2623886" y="5691494"/>
                  <a:pt x="2585412" y="5673540"/>
                </a:cubicBezTo>
                <a:cubicBezTo>
                  <a:pt x="2544374" y="5653021"/>
                  <a:pt x="2534114" y="5614548"/>
                  <a:pt x="2500770" y="5604288"/>
                </a:cubicBezTo>
                <a:cubicBezTo>
                  <a:pt x="2482816" y="5558120"/>
                  <a:pt x="2441778" y="5535036"/>
                  <a:pt x="2418694" y="5493997"/>
                </a:cubicBezTo>
                <a:cubicBezTo>
                  <a:pt x="2441778" y="5478608"/>
                  <a:pt x="2464863" y="5463219"/>
                  <a:pt x="2485381" y="5445265"/>
                </a:cubicBezTo>
                <a:lnTo>
                  <a:pt x="2477686" y="5435005"/>
                </a:lnTo>
                <a:cubicBezTo>
                  <a:pt x="2454602" y="5450394"/>
                  <a:pt x="2426389" y="5460654"/>
                  <a:pt x="2400741" y="5470914"/>
                </a:cubicBezTo>
                <a:cubicBezTo>
                  <a:pt x="2398175" y="5470914"/>
                  <a:pt x="2395610" y="5473479"/>
                  <a:pt x="2393045" y="5473479"/>
                </a:cubicBezTo>
                <a:cubicBezTo>
                  <a:pt x="2390480" y="5468348"/>
                  <a:pt x="2387915" y="5463219"/>
                  <a:pt x="2385350" y="5458089"/>
                </a:cubicBezTo>
                <a:cubicBezTo>
                  <a:pt x="2369962" y="5470914"/>
                  <a:pt x="2349442" y="5483738"/>
                  <a:pt x="2323793" y="5488868"/>
                </a:cubicBezTo>
                <a:cubicBezTo>
                  <a:pt x="2480251" y="5383707"/>
                  <a:pt x="2654665" y="5286241"/>
                  <a:pt x="2854726" y="5229814"/>
                </a:cubicBezTo>
                <a:cubicBezTo>
                  <a:pt x="2918848" y="5193905"/>
                  <a:pt x="2988100" y="5163126"/>
                  <a:pt x="3054787" y="5132348"/>
                </a:cubicBezTo>
                <a:cubicBezTo>
                  <a:pt x="3247155" y="5045141"/>
                  <a:pt x="3444651" y="4955370"/>
                  <a:pt x="3567766" y="4770698"/>
                </a:cubicBezTo>
                <a:lnTo>
                  <a:pt x="3557507" y="4763003"/>
                </a:lnTo>
                <a:cubicBezTo>
                  <a:pt x="3521598" y="4788652"/>
                  <a:pt x="3490819" y="4819431"/>
                  <a:pt x="3460041" y="4850210"/>
                </a:cubicBezTo>
                <a:cubicBezTo>
                  <a:pt x="3431827" y="4880988"/>
                  <a:pt x="3403613" y="4909202"/>
                  <a:pt x="3370269" y="4934851"/>
                </a:cubicBezTo>
                <a:cubicBezTo>
                  <a:pt x="3324101" y="4968194"/>
                  <a:pt x="3275368" y="4996408"/>
                  <a:pt x="3224070" y="5019492"/>
                </a:cubicBezTo>
                <a:cubicBezTo>
                  <a:pt x="3226635" y="5011798"/>
                  <a:pt x="3231765" y="5009233"/>
                  <a:pt x="3236896" y="5006668"/>
                </a:cubicBezTo>
                <a:cubicBezTo>
                  <a:pt x="3242025" y="5004103"/>
                  <a:pt x="3247155" y="5001538"/>
                  <a:pt x="3252284" y="4993843"/>
                </a:cubicBezTo>
                <a:cubicBezTo>
                  <a:pt x="3360009" y="4952805"/>
                  <a:pt x="3439521" y="4870729"/>
                  <a:pt x="3516468" y="4783522"/>
                </a:cubicBezTo>
                <a:lnTo>
                  <a:pt x="3506209" y="4775827"/>
                </a:lnTo>
                <a:lnTo>
                  <a:pt x="3478923" y="4798380"/>
                </a:lnTo>
                <a:lnTo>
                  <a:pt x="3494667" y="4781598"/>
                </a:lnTo>
                <a:cubicBezTo>
                  <a:pt x="3526728" y="4742484"/>
                  <a:pt x="3553659" y="4698880"/>
                  <a:pt x="3578025" y="4647583"/>
                </a:cubicBezTo>
                <a:cubicBezTo>
                  <a:pt x="3588285" y="4627064"/>
                  <a:pt x="3624194" y="4598850"/>
                  <a:pt x="3657537" y="4575765"/>
                </a:cubicBezTo>
                <a:cubicBezTo>
                  <a:pt x="3675491" y="4562941"/>
                  <a:pt x="3690881" y="4552681"/>
                  <a:pt x="3701140" y="4542421"/>
                </a:cubicBezTo>
                <a:cubicBezTo>
                  <a:pt x="3739614" y="4509078"/>
                  <a:pt x="3780652" y="4470604"/>
                  <a:pt x="3816561" y="4432131"/>
                </a:cubicBezTo>
                <a:cubicBezTo>
                  <a:pt x="3824256" y="4429566"/>
                  <a:pt x="3831309" y="4428925"/>
                  <a:pt x="3837721" y="4429886"/>
                </a:cubicBezTo>
                <a:close/>
                <a:moveTo>
                  <a:pt x="3608804" y="4373138"/>
                </a:moveTo>
                <a:cubicBezTo>
                  <a:pt x="3606239" y="4380833"/>
                  <a:pt x="3603033" y="4388528"/>
                  <a:pt x="3599186" y="4395260"/>
                </a:cubicBezTo>
                <a:lnTo>
                  <a:pt x="3598855" y="4395662"/>
                </a:lnTo>
                <a:close/>
                <a:moveTo>
                  <a:pt x="1202978" y="4280134"/>
                </a:moveTo>
                <a:lnTo>
                  <a:pt x="1203016" y="4280201"/>
                </a:lnTo>
                <a:cubicBezTo>
                  <a:pt x="1208867" y="4297394"/>
                  <a:pt x="1212234" y="4316230"/>
                  <a:pt x="1213837" y="4335627"/>
                </a:cubicBezTo>
                <a:lnTo>
                  <a:pt x="1213841" y="4336569"/>
                </a:lnTo>
                <a:close/>
                <a:moveTo>
                  <a:pt x="3593417" y="4262848"/>
                </a:moveTo>
                <a:cubicBezTo>
                  <a:pt x="3593417" y="4262848"/>
                  <a:pt x="3595982" y="4265413"/>
                  <a:pt x="3595982" y="4265413"/>
                </a:cubicBezTo>
                <a:lnTo>
                  <a:pt x="3593417" y="4278237"/>
                </a:lnTo>
                <a:cubicBezTo>
                  <a:pt x="3593417" y="4273108"/>
                  <a:pt x="3593417" y="4267978"/>
                  <a:pt x="3593417" y="4262848"/>
                </a:cubicBezTo>
                <a:close/>
                <a:moveTo>
                  <a:pt x="1043592" y="4224374"/>
                </a:moveTo>
                <a:cubicBezTo>
                  <a:pt x="1050966" y="4222450"/>
                  <a:pt x="1059302" y="4221809"/>
                  <a:pt x="1069562" y="4224374"/>
                </a:cubicBezTo>
                <a:cubicBezTo>
                  <a:pt x="1079821" y="4226939"/>
                  <a:pt x="1092646" y="4232069"/>
                  <a:pt x="1102905" y="4239764"/>
                </a:cubicBezTo>
                <a:cubicBezTo>
                  <a:pt x="1120859" y="4252588"/>
                  <a:pt x="1138814" y="4262847"/>
                  <a:pt x="1154203" y="4257718"/>
                </a:cubicBezTo>
                <a:cubicBezTo>
                  <a:pt x="1159333" y="4255153"/>
                  <a:pt x="1164463" y="4252588"/>
                  <a:pt x="1167028" y="4250023"/>
                </a:cubicBezTo>
                <a:cubicBezTo>
                  <a:pt x="1184982" y="4306451"/>
                  <a:pt x="1192677" y="4370573"/>
                  <a:pt x="1195241" y="4450085"/>
                </a:cubicBezTo>
                <a:lnTo>
                  <a:pt x="1208066" y="4450085"/>
                </a:lnTo>
                <a:cubicBezTo>
                  <a:pt x="1210631" y="4432772"/>
                  <a:pt x="1212875" y="4413856"/>
                  <a:pt x="1214078" y="4394419"/>
                </a:cubicBezTo>
                <a:lnTo>
                  <a:pt x="1213841" y="4336569"/>
                </a:lnTo>
                <a:lnTo>
                  <a:pt x="1218967" y="4363199"/>
                </a:lnTo>
                <a:cubicBezTo>
                  <a:pt x="1226020" y="4433414"/>
                  <a:pt x="1223455" y="4512926"/>
                  <a:pt x="1218326" y="4591155"/>
                </a:cubicBezTo>
                <a:cubicBezTo>
                  <a:pt x="1149073" y="4547552"/>
                  <a:pt x="1038782" y="4539857"/>
                  <a:pt x="941316" y="4573201"/>
                </a:cubicBezTo>
                <a:cubicBezTo>
                  <a:pt x="959271" y="4514208"/>
                  <a:pt x="1064432" y="4529597"/>
                  <a:pt x="1092646" y="4493689"/>
                </a:cubicBezTo>
                <a:cubicBezTo>
                  <a:pt x="1056737" y="4444955"/>
                  <a:pt x="1002874" y="4485993"/>
                  <a:pt x="956705" y="4473169"/>
                </a:cubicBezTo>
                <a:cubicBezTo>
                  <a:pt x="977226" y="4452650"/>
                  <a:pt x="1020829" y="4457779"/>
                  <a:pt x="1036217" y="4432130"/>
                </a:cubicBezTo>
                <a:cubicBezTo>
                  <a:pt x="961835" y="4411611"/>
                  <a:pt x="910537" y="4475734"/>
                  <a:pt x="836155" y="4442390"/>
                </a:cubicBezTo>
                <a:cubicBezTo>
                  <a:pt x="820766" y="4419306"/>
                  <a:pt x="789987" y="4414176"/>
                  <a:pt x="756644" y="4411611"/>
                </a:cubicBezTo>
                <a:cubicBezTo>
                  <a:pt x="802812" y="4332100"/>
                  <a:pt x="877194" y="4273107"/>
                  <a:pt x="966965" y="4226939"/>
                </a:cubicBezTo>
                <a:cubicBezTo>
                  <a:pt x="974661" y="4232069"/>
                  <a:pt x="982354" y="4237198"/>
                  <a:pt x="992614" y="4242329"/>
                </a:cubicBezTo>
                <a:lnTo>
                  <a:pt x="995179" y="4242329"/>
                </a:lnTo>
                <a:cubicBezTo>
                  <a:pt x="1005438" y="4242329"/>
                  <a:pt x="1015699" y="4237198"/>
                  <a:pt x="1023394" y="4232069"/>
                </a:cubicBezTo>
                <a:cubicBezTo>
                  <a:pt x="1029805" y="4229504"/>
                  <a:pt x="1036218" y="4226298"/>
                  <a:pt x="1043592" y="4224374"/>
                </a:cubicBezTo>
                <a:close/>
                <a:moveTo>
                  <a:pt x="1177077" y="4220738"/>
                </a:moveTo>
                <a:lnTo>
                  <a:pt x="1200291" y="4266174"/>
                </a:lnTo>
                <a:lnTo>
                  <a:pt x="1202978" y="4280134"/>
                </a:lnTo>
                <a:lnTo>
                  <a:pt x="1177287" y="4234634"/>
                </a:lnTo>
                <a:close/>
                <a:moveTo>
                  <a:pt x="1226019" y="4196161"/>
                </a:moveTo>
                <a:cubicBezTo>
                  <a:pt x="1254232" y="4208985"/>
                  <a:pt x="1259363" y="4239764"/>
                  <a:pt x="1264493" y="4270543"/>
                </a:cubicBezTo>
                <a:cubicBezTo>
                  <a:pt x="1254232" y="4242329"/>
                  <a:pt x="1238843" y="4216680"/>
                  <a:pt x="1226019" y="4196161"/>
                </a:cubicBezTo>
                <a:close/>
                <a:moveTo>
                  <a:pt x="1161898" y="4191031"/>
                </a:moveTo>
                <a:cubicBezTo>
                  <a:pt x="1164463" y="4193595"/>
                  <a:pt x="1164463" y="4196160"/>
                  <a:pt x="1167028" y="4196160"/>
                </a:cubicBezTo>
                <a:cubicBezTo>
                  <a:pt x="1170875" y="4201290"/>
                  <a:pt x="1174722" y="4207061"/>
                  <a:pt x="1176966" y="4213473"/>
                </a:cubicBezTo>
                <a:lnTo>
                  <a:pt x="1177077" y="4220738"/>
                </a:lnTo>
                <a:close/>
                <a:moveTo>
                  <a:pt x="1272187" y="4175642"/>
                </a:moveTo>
                <a:cubicBezTo>
                  <a:pt x="1323484" y="4211550"/>
                  <a:pt x="1400431" y="4216680"/>
                  <a:pt x="1446599" y="4185901"/>
                </a:cubicBezTo>
                <a:cubicBezTo>
                  <a:pt x="1454294" y="4191031"/>
                  <a:pt x="1459425" y="4193596"/>
                  <a:pt x="1467119" y="4198726"/>
                </a:cubicBezTo>
                <a:cubicBezTo>
                  <a:pt x="1485073" y="4211550"/>
                  <a:pt x="1508157" y="4224375"/>
                  <a:pt x="1533806" y="4221810"/>
                </a:cubicBezTo>
                <a:cubicBezTo>
                  <a:pt x="1541500" y="4242329"/>
                  <a:pt x="1562020" y="4252588"/>
                  <a:pt x="1582539" y="4260283"/>
                </a:cubicBezTo>
                <a:cubicBezTo>
                  <a:pt x="1590233" y="4262848"/>
                  <a:pt x="1595363" y="4265413"/>
                  <a:pt x="1600493" y="4267978"/>
                </a:cubicBezTo>
                <a:lnTo>
                  <a:pt x="1605623" y="4270543"/>
                </a:lnTo>
                <a:lnTo>
                  <a:pt x="1608188" y="4267978"/>
                </a:lnTo>
                <a:cubicBezTo>
                  <a:pt x="1623578" y="4252588"/>
                  <a:pt x="1646662" y="4260283"/>
                  <a:pt x="1656922" y="4262848"/>
                </a:cubicBezTo>
                <a:cubicBezTo>
                  <a:pt x="1677441" y="4270543"/>
                  <a:pt x="1695395" y="4288497"/>
                  <a:pt x="1695395" y="4301321"/>
                </a:cubicBezTo>
                <a:cubicBezTo>
                  <a:pt x="1697960" y="4337230"/>
                  <a:pt x="1659487" y="4385963"/>
                  <a:pt x="1628708" y="4429566"/>
                </a:cubicBezTo>
                <a:cubicBezTo>
                  <a:pt x="1600493" y="4470604"/>
                  <a:pt x="1574844" y="4503948"/>
                  <a:pt x="1574844" y="4529597"/>
                </a:cubicBezTo>
                <a:lnTo>
                  <a:pt x="1574844" y="4544986"/>
                </a:lnTo>
                <a:lnTo>
                  <a:pt x="1585104" y="4534727"/>
                </a:lnTo>
                <a:cubicBezTo>
                  <a:pt x="1615883" y="4501383"/>
                  <a:pt x="1641532" y="4455215"/>
                  <a:pt x="1667181" y="4409047"/>
                </a:cubicBezTo>
                <a:cubicBezTo>
                  <a:pt x="1677441" y="4388528"/>
                  <a:pt x="1687700" y="4370574"/>
                  <a:pt x="1697960" y="4355184"/>
                </a:cubicBezTo>
                <a:cubicBezTo>
                  <a:pt x="1674876" y="4421872"/>
                  <a:pt x="1636402" y="4478299"/>
                  <a:pt x="1600493" y="4529597"/>
                </a:cubicBezTo>
                <a:cubicBezTo>
                  <a:pt x="1585104" y="4555246"/>
                  <a:pt x="1567150" y="4578330"/>
                  <a:pt x="1554325" y="4601414"/>
                </a:cubicBezTo>
                <a:lnTo>
                  <a:pt x="1564585" y="4609108"/>
                </a:lnTo>
                <a:cubicBezTo>
                  <a:pt x="1572279" y="4598849"/>
                  <a:pt x="1579974" y="4588590"/>
                  <a:pt x="1590233" y="4578330"/>
                </a:cubicBezTo>
                <a:cubicBezTo>
                  <a:pt x="1615883" y="4547551"/>
                  <a:pt x="1644097" y="4514207"/>
                  <a:pt x="1667181" y="4473169"/>
                </a:cubicBezTo>
                <a:cubicBezTo>
                  <a:pt x="1703091" y="4450085"/>
                  <a:pt x="1780036" y="4342360"/>
                  <a:pt x="1754388" y="4278237"/>
                </a:cubicBezTo>
                <a:cubicBezTo>
                  <a:pt x="1769777" y="4275672"/>
                  <a:pt x="1780036" y="4285932"/>
                  <a:pt x="1795426" y="4301321"/>
                </a:cubicBezTo>
                <a:cubicBezTo>
                  <a:pt x="1800556" y="4306451"/>
                  <a:pt x="1803120" y="4311581"/>
                  <a:pt x="1808251" y="4314146"/>
                </a:cubicBezTo>
                <a:cubicBezTo>
                  <a:pt x="1805685" y="4391093"/>
                  <a:pt x="1854418" y="4434696"/>
                  <a:pt x="1900586" y="4478299"/>
                </a:cubicBezTo>
                <a:cubicBezTo>
                  <a:pt x="1905716" y="4480864"/>
                  <a:pt x="1910846" y="4485994"/>
                  <a:pt x="1915976" y="4491124"/>
                </a:cubicBezTo>
                <a:cubicBezTo>
                  <a:pt x="1905716" y="4524467"/>
                  <a:pt x="1874937" y="4539856"/>
                  <a:pt x="1851853" y="4552681"/>
                </a:cubicBezTo>
                <a:cubicBezTo>
                  <a:pt x="1849289" y="4555246"/>
                  <a:pt x="1846724" y="4555246"/>
                  <a:pt x="1844159" y="4557811"/>
                </a:cubicBezTo>
                <a:cubicBezTo>
                  <a:pt x="1844159" y="4557811"/>
                  <a:pt x="1841594" y="4555246"/>
                  <a:pt x="1841594" y="4555246"/>
                </a:cubicBezTo>
                <a:lnTo>
                  <a:pt x="1839029" y="4552681"/>
                </a:lnTo>
                <a:lnTo>
                  <a:pt x="1836464" y="4552681"/>
                </a:lnTo>
                <a:cubicBezTo>
                  <a:pt x="1700525" y="4606544"/>
                  <a:pt x="1603058" y="4778392"/>
                  <a:pt x="1600493" y="4957934"/>
                </a:cubicBezTo>
                <a:cubicBezTo>
                  <a:pt x="1600493" y="4991278"/>
                  <a:pt x="1603058" y="5022056"/>
                  <a:pt x="1608188" y="5055400"/>
                </a:cubicBezTo>
                <a:cubicBezTo>
                  <a:pt x="1603058" y="5055400"/>
                  <a:pt x="1600493" y="5052835"/>
                  <a:pt x="1595363" y="5052835"/>
                </a:cubicBezTo>
                <a:cubicBezTo>
                  <a:pt x="1595363" y="5063095"/>
                  <a:pt x="1600493" y="5068224"/>
                  <a:pt x="1603058" y="5063095"/>
                </a:cubicBezTo>
                <a:cubicBezTo>
                  <a:pt x="1605623" y="5086179"/>
                  <a:pt x="1610752" y="5109263"/>
                  <a:pt x="1618449" y="5132347"/>
                </a:cubicBezTo>
                <a:cubicBezTo>
                  <a:pt x="1615883" y="5134911"/>
                  <a:pt x="1613318" y="5137477"/>
                  <a:pt x="1613318" y="5140042"/>
                </a:cubicBezTo>
                <a:cubicBezTo>
                  <a:pt x="1597929" y="5142606"/>
                  <a:pt x="1595363" y="5127217"/>
                  <a:pt x="1603058" y="5119522"/>
                </a:cubicBezTo>
                <a:cubicBezTo>
                  <a:pt x="1600493" y="5119522"/>
                  <a:pt x="1597929" y="5122087"/>
                  <a:pt x="1595363" y="5122087"/>
                </a:cubicBezTo>
                <a:cubicBezTo>
                  <a:pt x="1569714" y="5045140"/>
                  <a:pt x="1556890" y="4957934"/>
                  <a:pt x="1569714" y="4860468"/>
                </a:cubicBezTo>
                <a:cubicBezTo>
                  <a:pt x="1582539" y="4750178"/>
                  <a:pt x="1641532" y="4639887"/>
                  <a:pt x="1726174" y="4570635"/>
                </a:cubicBezTo>
                <a:cubicBezTo>
                  <a:pt x="1746693" y="4552681"/>
                  <a:pt x="1769777" y="4550116"/>
                  <a:pt x="1792861" y="4544986"/>
                </a:cubicBezTo>
                <a:cubicBezTo>
                  <a:pt x="1815945" y="4539856"/>
                  <a:pt x="1839029" y="4537292"/>
                  <a:pt x="1859548" y="4521902"/>
                </a:cubicBezTo>
                <a:lnTo>
                  <a:pt x="1872373" y="4514207"/>
                </a:lnTo>
                <a:lnTo>
                  <a:pt x="1856983" y="4511643"/>
                </a:lnTo>
                <a:cubicBezTo>
                  <a:pt x="1805685" y="4501383"/>
                  <a:pt x="1749258" y="4514207"/>
                  <a:pt x="1700525" y="4552681"/>
                </a:cubicBezTo>
                <a:cubicBezTo>
                  <a:pt x="1613318" y="4619368"/>
                  <a:pt x="1544065" y="4755308"/>
                  <a:pt x="1531241" y="4888682"/>
                </a:cubicBezTo>
                <a:cubicBezTo>
                  <a:pt x="1523546" y="4975888"/>
                  <a:pt x="1538935" y="5055400"/>
                  <a:pt x="1564585" y="5129782"/>
                </a:cubicBezTo>
                <a:cubicBezTo>
                  <a:pt x="1551760" y="5129782"/>
                  <a:pt x="1538935" y="5132347"/>
                  <a:pt x="1526111" y="5129782"/>
                </a:cubicBezTo>
                <a:cubicBezTo>
                  <a:pt x="1520982" y="5106698"/>
                  <a:pt x="1479943" y="5099003"/>
                  <a:pt x="1451729" y="5083614"/>
                </a:cubicBezTo>
                <a:cubicBezTo>
                  <a:pt x="1454294" y="5078484"/>
                  <a:pt x="1456859" y="5073354"/>
                  <a:pt x="1467119" y="5073354"/>
                </a:cubicBezTo>
                <a:cubicBezTo>
                  <a:pt x="1456859" y="5057965"/>
                  <a:pt x="1436340" y="5050270"/>
                  <a:pt x="1415821" y="5042576"/>
                </a:cubicBezTo>
                <a:cubicBezTo>
                  <a:pt x="1400431" y="5006667"/>
                  <a:pt x="1410691" y="4978453"/>
                  <a:pt x="1379912" y="4957934"/>
                </a:cubicBezTo>
                <a:cubicBezTo>
                  <a:pt x="1415821" y="4934850"/>
                  <a:pt x="1400431" y="4893812"/>
                  <a:pt x="1377347" y="4880987"/>
                </a:cubicBezTo>
                <a:cubicBezTo>
                  <a:pt x="1379912" y="4880987"/>
                  <a:pt x="1382478" y="4878422"/>
                  <a:pt x="1385042" y="4878422"/>
                </a:cubicBezTo>
                <a:cubicBezTo>
                  <a:pt x="1390172" y="4801475"/>
                  <a:pt x="1344004" y="4752743"/>
                  <a:pt x="1364523" y="4688620"/>
                </a:cubicBezTo>
                <a:cubicBezTo>
                  <a:pt x="1349133" y="4670666"/>
                  <a:pt x="1292706" y="4665536"/>
                  <a:pt x="1279881" y="4662971"/>
                </a:cubicBezTo>
                <a:cubicBezTo>
                  <a:pt x="1269622" y="4637322"/>
                  <a:pt x="1254232" y="4616803"/>
                  <a:pt x="1231148" y="4598849"/>
                </a:cubicBezTo>
                <a:cubicBezTo>
                  <a:pt x="1254232" y="4450085"/>
                  <a:pt x="1261927" y="4278237"/>
                  <a:pt x="1172156" y="4178207"/>
                </a:cubicBezTo>
                <a:cubicBezTo>
                  <a:pt x="1197805" y="4188466"/>
                  <a:pt x="1223454" y="4234634"/>
                  <a:pt x="1238843" y="4273108"/>
                </a:cubicBezTo>
                <a:cubicBezTo>
                  <a:pt x="1254232" y="4311581"/>
                  <a:pt x="1254232" y="4352619"/>
                  <a:pt x="1254232" y="4391093"/>
                </a:cubicBezTo>
                <a:cubicBezTo>
                  <a:pt x="1254232" y="4409047"/>
                  <a:pt x="1254232" y="4427001"/>
                  <a:pt x="1256797" y="4442390"/>
                </a:cubicBezTo>
                <a:lnTo>
                  <a:pt x="1269622" y="4442390"/>
                </a:lnTo>
                <a:cubicBezTo>
                  <a:pt x="1282446" y="4393658"/>
                  <a:pt x="1282446" y="4352619"/>
                  <a:pt x="1274751" y="4314146"/>
                </a:cubicBezTo>
                <a:cubicBezTo>
                  <a:pt x="1274751" y="4316711"/>
                  <a:pt x="1277316" y="4316711"/>
                  <a:pt x="1277316" y="4319276"/>
                </a:cubicBezTo>
                <a:lnTo>
                  <a:pt x="1287576" y="4334665"/>
                </a:lnTo>
                <a:lnTo>
                  <a:pt x="1287576" y="4316711"/>
                </a:lnTo>
                <a:cubicBezTo>
                  <a:pt x="1290141" y="4270543"/>
                  <a:pt x="1279881" y="4229505"/>
                  <a:pt x="1259362" y="4193596"/>
                </a:cubicBezTo>
                <a:cubicBezTo>
                  <a:pt x="1264492" y="4191031"/>
                  <a:pt x="1264492" y="4185901"/>
                  <a:pt x="1267057" y="4183336"/>
                </a:cubicBezTo>
                <a:cubicBezTo>
                  <a:pt x="1269622" y="4180771"/>
                  <a:pt x="1269622" y="4175642"/>
                  <a:pt x="1272187" y="4175642"/>
                </a:cubicBezTo>
                <a:close/>
                <a:moveTo>
                  <a:pt x="1131119" y="4165382"/>
                </a:moveTo>
                <a:cubicBezTo>
                  <a:pt x="1131119" y="4167946"/>
                  <a:pt x="1128554" y="4170511"/>
                  <a:pt x="1123424" y="4173076"/>
                </a:cubicBezTo>
                <a:lnTo>
                  <a:pt x="1120859" y="4175641"/>
                </a:lnTo>
                <a:lnTo>
                  <a:pt x="1123424" y="4178206"/>
                </a:lnTo>
                <a:cubicBezTo>
                  <a:pt x="1125989" y="4185901"/>
                  <a:pt x="1131119" y="4191031"/>
                  <a:pt x="1136249" y="4198725"/>
                </a:cubicBezTo>
                <a:cubicBezTo>
                  <a:pt x="1141379" y="4206421"/>
                  <a:pt x="1146508" y="4214116"/>
                  <a:pt x="1149073" y="4221810"/>
                </a:cubicBezTo>
                <a:cubicBezTo>
                  <a:pt x="1131119" y="4221810"/>
                  <a:pt x="1115730" y="4216681"/>
                  <a:pt x="1097774" y="4208986"/>
                </a:cubicBezTo>
                <a:cubicBezTo>
                  <a:pt x="1079821" y="4203856"/>
                  <a:pt x="1061866" y="4196160"/>
                  <a:pt x="1041347" y="4196160"/>
                </a:cubicBezTo>
                <a:cubicBezTo>
                  <a:pt x="1069560" y="4183336"/>
                  <a:pt x="1100339" y="4173076"/>
                  <a:pt x="1131119" y="4165382"/>
                </a:cubicBezTo>
                <a:close/>
                <a:moveTo>
                  <a:pt x="6001917" y="4150997"/>
                </a:moveTo>
                <a:lnTo>
                  <a:pt x="6002491" y="4151596"/>
                </a:lnTo>
                <a:cubicBezTo>
                  <a:pt x="6005056" y="4154481"/>
                  <a:pt x="6008262" y="4158970"/>
                  <a:pt x="6006980" y="4162817"/>
                </a:cubicBezTo>
                <a:cubicBezTo>
                  <a:pt x="6019805" y="4157687"/>
                  <a:pt x="6019805" y="4175641"/>
                  <a:pt x="6024935" y="4165382"/>
                </a:cubicBezTo>
                <a:cubicBezTo>
                  <a:pt x="6037759" y="4167947"/>
                  <a:pt x="6022370" y="4178206"/>
                  <a:pt x="6037759" y="4178206"/>
                </a:cubicBezTo>
                <a:cubicBezTo>
                  <a:pt x="6035194" y="4185901"/>
                  <a:pt x="6032629" y="4191032"/>
                  <a:pt x="6032629" y="4198726"/>
                </a:cubicBezTo>
                <a:cubicBezTo>
                  <a:pt x="6022370" y="4196162"/>
                  <a:pt x="6019805" y="4203856"/>
                  <a:pt x="6009544" y="4201291"/>
                </a:cubicBezTo>
                <a:cubicBezTo>
                  <a:pt x="6004414" y="4193597"/>
                  <a:pt x="6006980" y="4191032"/>
                  <a:pt x="5996720" y="4185901"/>
                </a:cubicBezTo>
                <a:cubicBezTo>
                  <a:pt x="5998003" y="4179489"/>
                  <a:pt x="6001209" y="4174359"/>
                  <a:pt x="6003132" y="4168909"/>
                </a:cubicBezTo>
                <a:close/>
                <a:moveTo>
                  <a:pt x="5999765" y="4148750"/>
                </a:moveTo>
                <a:cubicBezTo>
                  <a:pt x="5999445" y="4148389"/>
                  <a:pt x="5999926" y="4148710"/>
                  <a:pt x="6001849" y="4149992"/>
                </a:cubicBezTo>
                <a:lnTo>
                  <a:pt x="6001917" y="4150997"/>
                </a:lnTo>
                <a:close/>
                <a:moveTo>
                  <a:pt x="1992923" y="4116649"/>
                </a:moveTo>
                <a:cubicBezTo>
                  <a:pt x="1957015" y="4214115"/>
                  <a:pt x="1915976" y="4314145"/>
                  <a:pt x="1862112" y="4385962"/>
                </a:cubicBezTo>
                <a:cubicBezTo>
                  <a:pt x="1862112" y="4383398"/>
                  <a:pt x="1862112" y="4383398"/>
                  <a:pt x="1862112" y="4383398"/>
                </a:cubicBezTo>
                <a:cubicBezTo>
                  <a:pt x="1859548" y="4375703"/>
                  <a:pt x="1856983" y="4370573"/>
                  <a:pt x="1856983" y="4362879"/>
                </a:cubicBezTo>
                <a:cubicBezTo>
                  <a:pt x="1859548" y="4357749"/>
                  <a:pt x="1864677" y="4355184"/>
                  <a:pt x="1867242" y="4350054"/>
                </a:cubicBezTo>
                <a:cubicBezTo>
                  <a:pt x="1885197" y="4326970"/>
                  <a:pt x="1905717" y="4301321"/>
                  <a:pt x="1908282" y="4273107"/>
                </a:cubicBezTo>
                <a:lnTo>
                  <a:pt x="1900587" y="4270542"/>
                </a:lnTo>
                <a:cubicBezTo>
                  <a:pt x="1928801" y="4214115"/>
                  <a:pt x="1959579" y="4162817"/>
                  <a:pt x="1992923" y="4116649"/>
                </a:cubicBezTo>
                <a:close/>
                <a:moveTo>
                  <a:pt x="5755621" y="4024314"/>
                </a:moveTo>
                <a:cubicBezTo>
                  <a:pt x="5763316" y="4024314"/>
                  <a:pt x="5763316" y="4026878"/>
                  <a:pt x="5758185" y="4032008"/>
                </a:cubicBezTo>
                <a:cubicBezTo>
                  <a:pt x="5758185" y="4032008"/>
                  <a:pt x="5755621" y="4032008"/>
                  <a:pt x="5753056" y="4032008"/>
                </a:cubicBezTo>
                <a:cubicBezTo>
                  <a:pt x="5753056" y="4029443"/>
                  <a:pt x="5755621" y="4029443"/>
                  <a:pt x="5755621" y="4024314"/>
                </a:cubicBezTo>
                <a:close/>
                <a:moveTo>
                  <a:pt x="2108342" y="3960191"/>
                </a:moveTo>
                <a:cubicBezTo>
                  <a:pt x="2062175" y="4132038"/>
                  <a:pt x="1998051" y="4265413"/>
                  <a:pt x="1915975" y="4421872"/>
                </a:cubicBezTo>
                <a:cubicBezTo>
                  <a:pt x="1905715" y="4419307"/>
                  <a:pt x="1898021" y="4416742"/>
                  <a:pt x="1892891" y="4416742"/>
                </a:cubicBezTo>
                <a:cubicBezTo>
                  <a:pt x="1915975" y="4368010"/>
                  <a:pt x="1941624" y="4309017"/>
                  <a:pt x="1967274" y="4244894"/>
                </a:cubicBezTo>
                <a:cubicBezTo>
                  <a:pt x="2008311" y="4147428"/>
                  <a:pt x="2051914" y="4037137"/>
                  <a:pt x="2108342" y="3960191"/>
                </a:cubicBezTo>
                <a:close/>
                <a:moveTo>
                  <a:pt x="5973637" y="3885809"/>
                </a:moveTo>
                <a:cubicBezTo>
                  <a:pt x="5971072" y="3890938"/>
                  <a:pt x="5965942" y="3921718"/>
                  <a:pt x="5955682" y="3937108"/>
                </a:cubicBezTo>
                <a:cubicBezTo>
                  <a:pt x="5945423" y="3934543"/>
                  <a:pt x="5937727" y="3934543"/>
                  <a:pt x="5922338" y="3934543"/>
                </a:cubicBezTo>
                <a:cubicBezTo>
                  <a:pt x="5922338" y="3924283"/>
                  <a:pt x="5927467" y="3921718"/>
                  <a:pt x="5919773" y="3914023"/>
                </a:cubicBezTo>
                <a:cubicBezTo>
                  <a:pt x="5927467" y="3896069"/>
                  <a:pt x="5950552" y="3898633"/>
                  <a:pt x="5958247" y="3896069"/>
                </a:cubicBezTo>
                <a:cubicBezTo>
                  <a:pt x="5963377" y="3896069"/>
                  <a:pt x="5958247" y="3901198"/>
                  <a:pt x="5958247" y="3903763"/>
                </a:cubicBezTo>
                <a:cubicBezTo>
                  <a:pt x="5968507" y="3901198"/>
                  <a:pt x="5968507" y="3890938"/>
                  <a:pt x="5973637" y="3885809"/>
                </a:cubicBezTo>
                <a:close/>
                <a:moveTo>
                  <a:pt x="5790488" y="3880078"/>
                </a:moveTo>
                <a:cubicBezTo>
                  <a:pt x="5793133" y="3882122"/>
                  <a:pt x="5792171" y="3896069"/>
                  <a:pt x="5794095" y="3888374"/>
                </a:cubicBezTo>
                <a:cubicBezTo>
                  <a:pt x="5806919" y="3898633"/>
                  <a:pt x="5791530" y="3908894"/>
                  <a:pt x="5788965" y="3919153"/>
                </a:cubicBezTo>
                <a:cubicBezTo>
                  <a:pt x="5771009" y="3903763"/>
                  <a:pt x="5765880" y="3906328"/>
                  <a:pt x="5773574" y="3885809"/>
                </a:cubicBezTo>
                <a:cubicBezTo>
                  <a:pt x="5778705" y="3885809"/>
                  <a:pt x="5796659" y="3885809"/>
                  <a:pt x="5786400" y="3883244"/>
                </a:cubicBezTo>
                <a:cubicBezTo>
                  <a:pt x="5788324" y="3880038"/>
                  <a:pt x="5789606" y="3879397"/>
                  <a:pt x="5790488" y="3880078"/>
                </a:cubicBezTo>
                <a:close/>
                <a:moveTo>
                  <a:pt x="5696628" y="3870419"/>
                </a:moveTo>
                <a:cubicBezTo>
                  <a:pt x="5709454" y="3865289"/>
                  <a:pt x="5701758" y="3888374"/>
                  <a:pt x="5696628" y="3896069"/>
                </a:cubicBezTo>
                <a:cubicBezTo>
                  <a:pt x="5686369" y="3890939"/>
                  <a:pt x="5704323" y="3875549"/>
                  <a:pt x="5696628" y="3870419"/>
                </a:cubicBezTo>
                <a:close/>
                <a:moveTo>
                  <a:pt x="5583773" y="3844771"/>
                </a:moveTo>
                <a:cubicBezTo>
                  <a:pt x="5586338" y="3844771"/>
                  <a:pt x="5583773" y="3852465"/>
                  <a:pt x="5594033" y="3852465"/>
                </a:cubicBezTo>
                <a:cubicBezTo>
                  <a:pt x="5588903" y="3857595"/>
                  <a:pt x="5599162" y="3870421"/>
                  <a:pt x="5586338" y="3872985"/>
                </a:cubicBezTo>
                <a:cubicBezTo>
                  <a:pt x="5591468" y="3862726"/>
                  <a:pt x="5586338" y="3862726"/>
                  <a:pt x="5586338" y="3852465"/>
                </a:cubicBezTo>
                <a:cubicBezTo>
                  <a:pt x="5583773" y="3852465"/>
                  <a:pt x="5583773" y="3855030"/>
                  <a:pt x="5583773" y="3857595"/>
                </a:cubicBezTo>
                <a:cubicBezTo>
                  <a:pt x="5576079" y="3855030"/>
                  <a:pt x="5586338" y="3849900"/>
                  <a:pt x="5583773" y="3844771"/>
                </a:cubicBezTo>
                <a:close/>
                <a:moveTo>
                  <a:pt x="6394279" y="3829381"/>
                </a:moveTo>
                <a:cubicBezTo>
                  <a:pt x="6404539" y="3839640"/>
                  <a:pt x="6445578" y="3862725"/>
                  <a:pt x="6468662" y="3842205"/>
                </a:cubicBezTo>
                <a:cubicBezTo>
                  <a:pt x="6448143" y="3865290"/>
                  <a:pt x="6407103" y="3852466"/>
                  <a:pt x="6394279" y="3829381"/>
                </a:cubicBezTo>
                <a:close/>
                <a:moveTo>
                  <a:pt x="5624811" y="3806298"/>
                </a:moveTo>
                <a:cubicBezTo>
                  <a:pt x="5632506" y="3803733"/>
                  <a:pt x="5629941" y="3811428"/>
                  <a:pt x="5632506" y="3811428"/>
                </a:cubicBezTo>
                <a:cubicBezTo>
                  <a:pt x="5632506" y="3819123"/>
                  <a:pt x="5622247" y="3811428"/>
                  <a:pt x="5624811" y="3806298"/>
                </a:cubicBezTo>
                <a:close/>
                <a:moveTo>
                  <a:pt x="5609423" y="3793473"/>
                </a:moveTo>
                <a:cubicBezTo>
                  <a:pt x="5624812" y="3808862"/>
                  <a:pt x="5622247" y="3824251"/>
                  <a:pt x="5622247" y="3844771"/>
                </a:cubicBezTo>
                <a:cubicBezTo>
                  <a:pt x="5606858" y="3842206"/>
                  <a:pt x="5609423" y="3883245"/>
                  <a:pt x="5622247" y="3883245"/>
                </a:cubicBezTo>
                <a:cubicBezTo>
                  <a:pt x="5622247" y="3890939"/>
                  <a:pt x="5614552" y="3896069"/>
                  <a:pt x="5624812" y="3898634"/>
                </a:cubicBezTo>
                <a:cubicBezTo>
                  <a:pt x="5619682" y="3903764"/>
                  <a:pt x="5622247" y="3908894"/>
                  <a:pt x="5617117" y="3921718"/>
                </a:cubicBezTo>
                <a:cubicBezTo>
                  <a:pt x="5604293" y="3926848"/>
                  <a:pt x="5609423" y="3911459"/>
                  <a:pt x="5596598" y="3911459"/>
                </a:cubicBezTo>
                <a:cubicBezTo>
                  <a:pt x="5599163" y="3898634"/>
                  <a:pt x="5617117" y="3852465"/>
                  <a:pt x="5591468" y="3844771"/>
                </a:cubicBezTo>
                <a:cubicBezTo>
                  <a:pt x="5588903" y="3842206"/>
                  <a:pt x="5596598" y="3842206"/>
                  <a:pt x="5596598" y="3842206"/>
                </a:cubicBezTo>
                <a:cubicBezTo>
                  <a:pt x="5591468" y="3821686"/>
                  <a:pt x="5591468" y="3819122"/>
                  <a:pt x="5609423" y="3793473"/>
                </a:cubicBezTo>
                <a:close/>
                <a:moveTo>
                  <a:pt x="5629941" y="3785779"/>
                </a:moveTo>
                <a:cubicBezTo>
                  <a:pt x="5632506" y="3785779"/>
                  <a:pt x="5629941" y="3790908"/>
                  <a:pt x="5635071" y="3790908"/>
                </a:cubicBezTo>
                <a:cubicBezTo>
                  <a:pt x="5635071" y="3793473"/>
                  <a:pt x="5635071" y="3793473"/>
                  <a:pt x="5632506" y="3793473"/>
                </a:cubicBezTo>
                <a:cubicBezTo>
                  <a:pt x="5632506" y="3793473"/>
                  <a:pt x="5629941" y="3793473"/>
                  <a:pt x="5627377" y="3793473"/>
                </a:cubicBezTo>
                <a:cubicBezTo>
                  <a:pt x="5627377" y="3790908"/>
                  <a:pt x="5629941" y="3788343"/>
                  <a:pt x="5629941" y="3785779"/>
                </a:cubicBezTo>
                <a:close/>
                <a:moveTo>
                  <a:pt x="5940293" y="3785778"/>
                </a:moveTo>
                <a:cubicBezTo>
                  <a:pt x="5968507" y="3783213"/>
                  <a:pt x="5960813" y="3801167"/>
                  <a:pt x="5978767" y="3806297"/>
                </a:cubicBezTo>
                <a:cubicBezTo>
                  <a:pt x="5971072" y="3811427"/>
                  <a:pt x="5968507" y="3821687"/>
                  <a:pt x="5963377" y="3826817"/>
                </a:cubicBezTo>
                <a:cubicBezTo>
                  <a:pt x="5953118" y="3824252"/>
                  <a:pt x="5947988" y="3824252"/>
                  <a:pt x="5945423" y="3826817"/>
                </a:cubicBezTo>
                <a:cubicBezTo>
                  <a:pt x="5940293" y="3819123"/>
                  <a:pt x="5935164" y="3811427"/>
                  <a:pt x="5927468" y="3808862"/>
                </a:cubicBezTo>
                <a:cubicBezTo>
                  <a:pt x="5919773" y="3806297"/>
                  <a:pt x="5914643" y="3811427"/>
                  <a:pt x="5912078" y="3811427"/>
                </a:cubicBezTo>
                <a:cubicBezTo>
                  <a:pt x="5878735" y="3813992"/>
                  <a:pt x="5904384" y="3803732"/>
                  <a:pt x="5932599" y="3806297"/>
                </a:cubicBezTo>
                <a:cubicBezTo>
                  <a:pt x="5940293" y="3798602"/>
                  <a:pt x="5932599" y="3793473"/>
                  <a:pt x="5940293" y="3785778"/>
                </a:cubicBezTo>
                <a:close/>
                <a:moveTo>
                  <a:pt x="5640201" y="3772953"/>
                </a:moveTo>
                <a:cubicBezTo>
                  <a:pt x="5650460" y="3770388"/>
                  <a:pt x="5645330" y="3783212"/>
                  <a:pt x="5642765" y="3785778"/>
                </a:cubicBezTo>
                <a:cubicBezTo>
                  <a:pt x="5640201" y="3785778"/>
                  <a:pt x="5640201" y="3778083"/>
                  <a:pt x="5640201" y="3772953"/>
                </a:cubicBezTo>
                <a:close/>
                <a:moveTo>
                  <a:pt x="5605335" y="3763455"/>
                </a:moveTo>
                <a:cubicBezTo>
                  <a:pt x="5605575" y="3764777"/>
                  <a:pt x="5597880" y="3772953"/>
                  <a:pt x="5601728" y="3765259"/>
                </a:cubicBezTo>
                <a:cubicBezTo>
                  <a:pt x="5604293" y="3763335"/>
                  <a:pt x="5605255" y="3763014"/>
                  <a:pt x="5605335" y="3763455"/>
                </a:cubicBezTo>
                <a:close/>
                <a:moveTo>
                  <a:pt x="5758185" y="3757565"/>
                </a:moveTo>
                <a:cubicBezTo>
                  <a:pt x="5758185" y="3770389"/>
                  <a:pt x="5745361" y="3760130"/>
                  <a:pt x="5758185" y="3757565"/>
                </a:cubicBezTo>
                <a:close/>
                <a:moveTo>
                  <a:pt x="642706" y="3718639"/>
                </a:moveTo>
                <a:cubicBezTo>
                  <a:pt x="636775" y="3718489"/>
                  <a:pt x="630322" y="3719411"/>
                  <a:pt x="623269" y="3721655"/>
                </a:cubicBezTo>
                <a:cubicBezTo>
                  <a:pt x="623269" y="3765258"/>
                  <a:pt x="654047" y="3778083"/>
                  <a:pt x="684826" y="3819121"/>
                </a:cubicBezTo>
                <a:cubicBezTo>
                  <a:pt x="697651" y="3808862"/>
                  <a:pt x="707910" y="3801167"/>
                  <a:pt x="718170" y="3793472"/>
                </a:cubicBezTo>
                <a:cubicBezTo>
                  <a:pt x="700216" y="3773273"/>
                  <a:pt x="684225" y="3719691"/>
                  <a:pt x="642706" y="3718639"/>
                </a:cubicBezTo>
                <a:close/>
                <a:moveTo>
                  <a:pt x="5699194" y="3698572"/>
                </a:moveTo>
                <a:cubicBezTo>
                  <a:pt x="5699194" y="3698572"/>
                  <a:pt x="5701758" y="3698572"/>
                  <a:pt x="5704323" y="3698572"/>
                </a:cubicBezTo>
                <a:cubicBezTo>
                  <a:pt x="5704323" y="3701137"/>
                  <a:pt x="5704323" y="3703702"/>
                  <a:pt x="5704323" y="3703702"/>
                </a:cubicBezTo>
                <a:cubicBezTo>
                  <a:pt x="5704323" y="3703702"/>
                  <a:pt x="5701758" y="3703702"/>
                  <a:pt x="5699194" y="3703702"/>
                </a:cubicBezTo>
                <a:cubicBezTo>
                  <a:pt x="5699194" y="3703702"/>
                  <a:pt x="5699194" y="3701137"/>
                  <a:pt x="5699194" y="3698572"/>
                </a:cubicBezTo>
                <a:close/>
                <a:moveTo>
                  <a:pt x="734120" y="3689113"/>
                </a:moveTo>
                <a:cubicBezTo>
                  <a:pt x="726666" y="3689754"/>
                  <a:pt x="718811" y="3693441"/>
                  <a:pt x="710475" y="3701136"/>
                </a:cubicBezTo>
                <a:cubicBezTo>
                  <a:pt x="733559" y="3742175"/>
                  <a:pt x="759208" y="3757564"/>
                  <a:pt x="792552" y="3739609"/>
                </a:cubicBezTo>
                <a:cubicBezTo>
                  <a:pt x="775239" y="3712678"/>
                  <a:pt x="756483" y="3687189"/>
                  <a:pt x="734120" y="3689113"/>
                </a:cubicBezTo>
                <a:close/>
                <a:moveTo>
                  <a:pt x="5758186" y="3685747"/>
                </a:moveTo>
                <a:cubicBezTo>
                  <a:pt x="5765880" y="3690877"/>
                  <a:pt x="5778705" y="3690877"/>
                  <a:pt x="5778705" y="3703702"/>
                </a:cubicBezTo>
                <a:cubicBezTo>
                  <a:pt x="5776140" y="3701137"/>
                  <a:pt x="5773575" y="3701137"/>
                  <a:pt x="5773575" y="3703702"/>
                </a:cubicBezTo>
                <a:cubicBezTo>
                  <a:pt x="5771010" y="3696007"/>
                  <a:pt x="5758186" y="3698571"/>
                  <a:pt x="5758186" y="3685747"/>
                </a:cubicBezTo>
                <a:close/>
                <a:moveTo>
                  <a:pt x="5447834" y="3672922"/>
                </a:moveTo>
                <a:cubicBezTo>
                  <a:pt x="5455529" y="3678052"/>
                  <a:pt x="5461941" y="3683182"/>
                  <a:pt x="5468033" y="3687991"/>
                </a:cubicBezTo>
                <a:lnTo>
                  <a:pt x="5469380" y="3688960"/>
                </a:lnTo>
                <a:lnTo>
                  <a:pt x="5468353" y="3690877"/>
                </a:lnTo>
                <a:cubicBezTo>
                  <a:pt x="5458093" y="3693441"/>
                  <a:pt x="5465788" y="3680617"/>
                  <a:pt x="5455529" y="3685747"/>
                </a:cubicBezTo>
                <a:cubicBezTo>
                  <a:pt x="5454247" y="3690876"/>
                  <a:pt x="5456812" y="3691518"/>
                  <a:pt x="5459056" y="3692159"/>
                </a:cubicBezTo>
                <a:lnTo>
                  <a:pt x="5459454" y="3693754"/>
                </a:lnTo>
                <a:lnTo>
                  <a:pt x="5458414" y="3695365"/>
                </a:lnTo>
                <a:cubicBezTo>
                  <a:pt x="5456811" y="3698571"/>
                  <a:pt x="5455529" y="3701136"/>
                  <a:pt x="5452964" y="3696006"/>
                </a:cubicBezTo>
                <a:cubicBezTo>
                  <a:pt x="5460658" y="3685747"/>
                  <a:pt x="5455529" y="3678052"/>
                  <a:pt x="5447834" y="3672922"/>
                </a:cubicBezTo>
                <a:close/>
                <a:moveTo>
                  <a:pt x="5154274" y="3670037"/>
                </a:moveTo>
                <a:cubicBezTo>
                  <a:pt x="5156559" y="3670999"/>
                  <a:pt x="5154154" y="3680618"/>
                  <a:pt x="5150307" y="3672923"/>
                </a:cubicBezTo>
                <a:cubicBezTo>
                  <a:pt x="5152231" y="3670358"/>
                  <a:pt x="5153513" y="3669717"/>
                  <a:pt x="5154274" y="3670037"/>
                </a:cubicBezTo>
                <a:close/>
                <a:moveTo>
                  <a:pt x="2416130" y="3667792"/>
                </a:moveTo>
                <a:cubicBezTo>
                  <a:pt x="2413565" y="3672922"/>
                  <a:pt x="2413565" y="3680617"/>
                  <a:pt x="2411000" y="3688312"/>
                </a:cubicBezTo>
                <a:cubicBezTo>
                  <a:pt x="2403306" y="3688312"/>
                  <a:pt x="2398176" y="3688312"/>
                  <a:pt x="2393046" y="3688312"/>
                </a:cubicBezTo>
                <a:cubicBezTo>
                  <a:pt x="2385351" y="3713961"/>
                  <a:pt x="2377657" y="3742175"/>
                  <a:pt x="2372526" y="3772953"/>
                </a:cubicBezTo>
                <a:cubicBezTo>
                  <a:pt x="2364831" y="3813991"/>
                  <a:pt x="2357137" y="3857595"/>
                  <a:pt x="2341747" y="3890938"/>
                </a:cubicBezTo>
                <a:lnTo>
                  <a:pt x="2352007" y="3898633"/>
                </a:lnTo>
                <a:cubicBezTo>
                  <a:pt x="2377657" y="3875549"/>
                  <a:pt x="2387916" y="3821686"/>
                  <a:pt x="2398176" y="3772953"/>
                </a:cubicBezTo>
                <a:cubicBezTo>
                  <a:pt x="2400741" y="3757564"/>
                  <a:pt x="2405870" y="3742175"/>
                  <a:pt x="2408435" y="3726785"/>
                </a:cubicBezTo>
                <a:cubicBezTo>
                  <a:pt x="2408435" y="3726785"/>
                  <a:pt x="2408435" y="3724220"/>
                  <a:pt x="2408435" y="3721655"/>
                </a:cubicBezTo>
                <a:cubicBezTo>
                  <a:pt x="2411000" y="3721655"/>
                  <a:pt x="2411000" y="3721655"/>
                  <a:pt x="2411000" y="3721655"/>
                </a:cubicBezTo>
                <a:cubicBezTo>
                  <a:pt x="2413565" y="3716526"/>
                  <a:pt x="2413565" y="3713961"/>
                  <a:pt x="2416130" y="3708831"/>
                </a:cubicBezTo>
                <a:cubicBezTo>
                  <a:pt x="2411000" y="3703701"/>
                  <a:pt x="2403306" y="3703701"/>
                  <a:pt x="2405870" y="3690877"/>
                </a:cubicBezTo>
                <a:cubicBezTo>
                  <a:pt x="2413565" y="3690877"/>
                  <a:pt x="2418695" y="3693441"/>
                  <a:pt x="2418695" y="3701136"/>
                </a:cubicBezTo>
                <a:cubicBezTo>
                  <a:pt x="2421261" y="3690877"/>
                  <a:pt x="2423825" y="3683182"/>
                  <a:pt x="2428954" y="3678052"/>
                </a:cubicBezTo>
                <a:lnTo>
                  <a:pt x="2434084" y="3672922"/>
                </a:lnTo>
                <a:lnTo>
                  <a:pt x="2428954" y="3670357"/>
                </a:lnTo>
                <a:cubicBezTo>
                  <a:pt x="2423825" y="3667792"/>
                  <a:pt x="2421261" y="3667792"/>
                  <a:pt x="2416130" y="3667792"/>
                </a:cubicBezTo>
                <a:close/>
                <a:moveTo>
                  <a:pt x="5436291" y="3665549"/>
                </a:moveTo>
                <a:cubicBezTo>
                  <a:pt x="5438215" y="3666511"/>
                  <a:pt x="5440139" y="3669076"/>
                  <a:pt x="5442704" y="3670359"/>
                </a:cubicBezTo>
                <a:cubicBezTo>
                  <a:pt x="5442704" y="3678054"/>
                  <a:pt x="5437574" y="3665229"/>
                  <a:pt x="5429880" y="3670359"/>
                </a:cubicBezTo>
                <a:cubicBezTo>
                  <a:pt x="5432444" y="3665229"/>
                  <a:pt x="5434368" y="3664587"/>
                  <a:pt x="5436291" y="3665549"/>
                </a:cubicBezTo>
                <a:close/>
                <a:moveTo>
                  <a:pt x="2572588" y="3654968"/>
                </a:moveTo>
                <a:cubicBezTo>
                  <a:pt x="2570025" y="3665228"/>
                  <a:pt x="2567459" y="3678052"/>
                  <a:pt x="2567459" y="3690877"/>
                </a:cubicBezTo>
                <a:cubicBezTo>
                  <a:pt x="2567459" y="3693441"/>
                  <a:pt x="2570025" y="3696006"/>
                  <a:pt x="2570025" y="3696006"/>
                </a:cubicBezTo>
                <a:cubicBezTo>
                  <a:pt x="2572588" y="3683182"/>
                  <a:pt x="2575153" y="3667792"/>
                  <a:pt x="2572588" y="3654968"/>
                </a:cubicBezTo>
                <a:close/>
                <a:moveTo>
                  <a:pt x="6168528" y="3631524"/>
                </a:moveTo>
                <a:cubicBezTo>
                  <a:pt x="6166965" y="3633809"/>
                  <a:pt x="6156385" y="3641504"/>
                  <a:pt x="6166004" y="3631885"/>
                </a:cubicBezTo>
                <a:cubicBezTo>
                  <a:pt x="6168569" y="3630602"/>
                  <a:pt x="6169050" y="3630763"/>
                  <a:pt x="6168528" y="3631524"/>
                </a:cubicBezTo>
                <a:close/>
                <a:moveTo>
                  <a:pt x="2544375" y="3624189"/>
                </a:moveTo>
                <a:lnTo>
                  <a:pt x="2544375" y="3629319"/>
                </a:lnTo>
                <a:cubicBezTo>
                  <a:pt x="2546940" y="3626754"/>
                  <a:pt x="2546940" y="3626754"/>
                  <a:pt x="2546940" y="3624189"/>
                </a:cubicBezTo>
                <a:close/>
                <a:moveTo>
                  <a:pt x="5409000" y="3572211"/>
                </a:moveTo>
                <a:cubicBezTo>
                  <a:pt x="5409201" y="3571610"/>
                  <a:pt x="5409361" y="3572251"/>
                  <a:pt x="5409361" y="3575457"/>
                </a:cubicBezTo>
                <a:cubicBezTo>
                  <a:pt x="5407437" y="3586999"/>
                  <a:pt x="5408399" y="3574014"/>
                  <a:pt x="5409000" y="3572211"/>
                </a:cubicBezTo>
                <a:close/>
                <a:moveTo>
                  <a:pt x="5406795" y="3513909"/>
                </a:moveTo>
                <a:cubicBezTo>
                  <a:pt x="5406795" y="3516474"/>
                  <a:pt x="5404231" y="3519039"/>
                  <a:pt x="5399101" y="3519039"/>
                </a:cubicBezTo>
                <a:cubicBezTo>
                  <a:pt x="5399101" y="3513909"/>
                  <a:pt x="5404231" y="3513909"/>
                  <a:pt x="5406795" y="3513909"/>
                </a:cubicBezTo>
                <a:close/>
                <a:moveTo>
                  <a:pt x="236010" y="3456910"/>
                </a:moveTo>
                <a:cubicBezTo>
                  <a:pt x="232122" y="3454586"/>
                  <a:pt x="228275" y="3454265"/>
                  <a:pt x="225710" y="3457471"/>
                </a:cubicBezTo>
                <a:cubicBezTo>
                  <a:pt x="233405" y="3470296"/>
                  <a:pt x="238535" y="3480555"/>
                  <a:pt x="238535" y="3490815"/>
                </a:cubicBezTo>
                <a:cubicBezTo>
                  <a:pt x="259695" y="3488891"/>
                  <a:pt x="247672" y="3463884"/>
                  <a:pt x="236010" y="3456910"/>
                </a:cubicBezTo>
                <a:close/>
                <a:moveTo>
                  <a:pt x="5750491" y="3419009"/>
                </a:moveTo>
                <a:cubicBezTo>
                  <a:pt x="5750491" y="3424133"/>
                  <a:pt x="5747926" y="3431830"/>
                  <a:pt x="5737667" y="3431830"/>
                </a:cubicBezTo>
                <a:cubicBezTo>
                  <a:pt x="5742796" y="3426700"/>
                  <a:pt x="5740231" y="3416444"/>
                  <a:pt x="5750491" y="3419009"/>
                </a:cubicBezTo>
                <a:close/>
                <a:moveTo>
                  <a:pt x="5724842" y="3406179"/>
                </a:moveTo>
                <a:cubicBezTo>
                  <a:pt x="5732536" y="3416442"/>
                  <a:pt x="5712018" y="3421570"/>
                  <a:pt x="5724842" y="3406179"/>
                </a:cubicBezTo>
                <a:close/>
                <a:moveTo>
                  <a:pt x="5819743" y="3352319"/>
                </a:moveTo>
                <a:cubicBezTo>
                  <a:pt x="5827438" y="3360016"/>
                  <a:pt x="5812048" y="3370275"/>
                  <a:pt x="5804352" y="3370275"/>
                </a:cubicBezTo>
                <a:cubicBezTo>
                  <a:pt x="5799223" y="3372837"/>
                  <a:pt x="5817178" y="3357444"/>
                  <a:pt x="5819743" y="3352319"/>
                </a:cubicBezTo>
                <a:close/>
                <a:moveTo>
                  <a:pt x="5822308" y="3295889"/>
                </a:moveTo>
                <a:cubicBezTo>
                  <a:pt x="5832568" y="3301016"/>
                  <a:pt x="5819743" y="3303579"/>
                  <a:pt x="5819743" y="3303579"/>
                </a:cubicBezTo>
                <a:cubicBezTo>
                  <a:pt x="5812048" y="3303579"/>
                  <a:pt x="5824873" y="3301016"/>
                  <a:pt x="5822308" y="3295889"/>
                </a:cubicBezTo>
                <a:close/>
                <a:moveTo>
                  <a:pt x="5801388" y="3278095"/>
                </a:moveTo>
                <a:cubicBezTo>
                  <a:pt x="5801629" y="3278255"/>
                  <a:pt x="5801468" y="3279216"/>
                  <a:pt x="5801148" y="3280499"/>
                </a:cubicBezTo>
                <a:cubicBezTo>
                  <a:pt x="5800506" y="3283063"/>
                  <a:pt x="5799224" y="3286910"/>
                  <a:pt x="5799224" y="3288194"/>
                </a:cubicBezTo>
                <a:cubicBezTo>
                  <a:pt x="5781270" y="3301016"/>
                  <a:pt x="5768444" y="3318971"/>
                  <a:pt x="5763315" y="3324098"/>
                </a:cubicBezTo>
                <a:cubicBezTo>
                  <a:pt x="5753055" y="3336926"/>
                  <a:pt x="5765879" y="3316408"/>
                  <a:pt x="5776139" y="3303580"/>
                </a:cubicBezTo>
                <a:cubicBezTo>
                  <a:pt x="5783835" y="3295887"/>
                  <a:pt x="5791529" y="3293321"/>
                  <a:pt x="5799224" y="3280499"/>
                </a:cubicBezTo>
                <a:cubicBezTo>
                  <a:pt x="5800506" y="3278576"/>
                  <a:pt x="5801148" y="3277935"/>
                  <a:pt x="5801388" y="3278095"/>
                </a:cubicBezTo>
                <a:close/>
                <a:moveTo>
                  <a:pt x="5742797" y="3221512"/>
                </a:moveTo>
                <a:cubicBezTo>
                  <a:pt x="5755622" y="3218949"/>
                  <a:pt x="5727407" y="3239467"/>
                  <a:pt x="5742797" y="3224077"/>
                </a:cubicBezTo>
                <a:cubicBezTo>
                  <a:pt x="5742797" y="3224077"/>
                  <a:pt x="5742797" y="3221512"/>
                  <a:pt x="5742797" y="3221512"/>
                </a:cubicBezTo>
                <a:close/>
                <a:moveTo>
                  <a:pt x="5701759" y="3113795"/>
                </a:moveTo>
                <a:cubicBezTo>
                  <a:pt x="5704324" y="3113795"/>
                  <a:pt x="5704324" y="3113795"/>
                  <a:pt x="5706888" y="3113795"/>
                </a:cubicBezTo>
                <a:cubicBezTo>
                  <a:pt x="5706888" y="3116359"/>
                  <a:pt x="5706888" y="3118926"/>
                  <a:pt x="5706888" y="3118926"/>
                </a:cubicBezTo>
                <a:cubicBezTo>
                  <a:pt x="5706888" y="3118926"/>
                  <a:pt x="5704324" y="3118926"/>
                  <a:pt x="5701759" y="3118926"/>
                </a:cubicBezTo>
                <a:cubicBezTo>
                  <a:pt x="5701759" y="3118926"/>
                  <a:pt x="5701759" y="3116359"/>
                  <a:pt x="5701759" y="3113795"/>
                </a:cubicBezTo>
                <a:close/>
                <a:moveTo>
                  <a:pt x="5778304" y="3030675"/>
                </a:moveTo>
                <a:cubicBezTo>
                  <a:pt x="5779025" y="3029794"/>
                  <a:pt x="5778705" y="3030433"/>
                  <a:pt x="5776140" y="3034278"/>
                </a:cubicBezTo>
                <a:cubicBezTo>
                  <a:pt x="5764597" y="3049670"/>
                  <a:pt x="5776139" y="3033318"/>
                  <a:pt x="5778304" y="3030675"/>
                </a:cubicBezTo>
                <a:close/>
                <a:moveTo>
                  <a:pt x="5788965" y="3000946"/>
                </a:moveTo>
                <a:cubicBezTo>
                  <a:pt x="5796659" y="3003510"/>
                  <a:pt x="5786400" y="3008633"/>
                  <a:pt x="5788965" y="3013762"/>
                </a:cubicBezTo>
                <a:cubicBezTo>
                  <a:pt x="5781270" y="3011197"/>
                  <a:pt x="5788965" y="3003510"/>
                  <a:pt x="5788965" y="3000946"/>
                </a:cubicBezTo>
                <a:close/>
                <a:moveTo>
                  <a:pt x="5406795" y="3000946"/>
                </a:moveTo>
                <a:cubicBezTo>
                  <a:pt x="5414490" y="3006074"/>
                  <a:pt x="5417055" y="3000946"/>
                  <a:pt x="5427315" y="3006074"/>
                </a:cubicBezTo>
                <a:cubicBezTo>
                  <a:pt x="5409360" y="3039417"/>
                  <a:pt x="5429880" y="3090712"/>
                  <a:pt x="5414490" y="3126618"/>
                </a:cubicBezTo>
                <a:cubicBezTo>
                  <a:pt x="5393970" y="3118926"/>
                  <a:pt x="5406795" y="3100972"/>
                  <a:pt x="5401666" y="3085583"/>
                </a:cubicBezTo>
                <a:cubicBezTo>
                  <a:pt x="5424750" y="3062499"/>
                  <a:pt x="5399101" y="3029155"/>
                  <a:pt x="5406795" y="3000946"/>
                </a:cubicBezTo>
                <a:close/>
                <a:moveTo>
                  <a:pt x="5614552" y="2870144"/>
                </a:moveTo>
                <a:cubicBezTo>
                  <a:pt x="5619681" y="2867575"/>
                  <a:pt x="5619681" y="2872704"/>
                  <a:pt x="5619681" y="2875265"/>
                </a:cubicBezTo>
                <a:cubicBezTo>
                  <a:pt x="5617116" y="2875265"/>
                  <a:pt x="5617116" y="2875265"/>
                  <a:pt x="5617116" y="2877832"/>
                </a:cubicBezTo>
                <a:cubicBezTo>
                  <a:pt x="5614552" y="2877832"/>
                  <a:pt x="5614552" y="2872704"/>
                  <a:pt x="5614552" y="2870144"/>
                </a:cubicBezTo>
                <a:close/>
                <a:moveTo>
                  <a:pt x="6471226" y="2775232"/>
                </a:moveTo>
                <a:cubicBezTo>
                  <a:pt x="6484050" y="2780360"/>
                  <a:pt x="6471226" y="2785488"/>
                  <a:pt x="6468661" y="2790617"/>
                </a:cubicBezTo>
                <a:cubicBezTo>
                  <a:pt x="6460966" y="2788053"/>
                  <a:pt x="6473791" y="2782924"/>
                  <a:pt x="6471226" y="2775232"/>
                </a:cubicBezTo>
                <a:close/>
                <a:moveTo>
                  <a:pt x="5965942" y="2677776"/>
                </a:moveTo>
                <a:cubicBezTo>
                  <a:pt x="5978766" y="2680341"/>
                  <a:pt x="5960812" y="2688030"/>
                  <a:pt x="5963377" y="2695733"/>
                </a:cubicBezTo>
                <a:cubicBezTo>
                  <a:pt x="5955682" y="2690603"/>
                  <a:pt x="5968507" y="2685468"/>
                  <a:pt x="5965942" y="2677776"/>
                </a:cubicBezTo>
                <a:close/>
                <a:moveTo>
                  <a:pt x="5063100" y="2662358"/>
                </a:moveTo>
                <a:cubicBezTo>
                  <a:pt x="5045146" y="2672618"/>
                  <a:pt x="5029756" y="2685443"/>
                  <a:pt x="5032321" y="2716221"/>
                </a:cubicBezTo>
                <a:cubicBezTo>
                  <a:pt x="5042581" y="2711092"/>
                  <a:pt x="5050275" y="2705962"/>
                  <a:pt x="5065665" y="2703397"/>
                </a:cubicBezTo>
                <a:cubicBezTo>
                  <a:pt x="5065665" y="2690572"/>
                  <a:pt x="5063100" y="2677748"/>
                  <a:pt x="5063100" y="2662358"/>
                </a:cubicBezTo>
                <a:close/>
                <a:moveTo>
                  <a:pt x="4864802" y="2649316"/>
                </a:moveTo>
                <a:cubicBezTo>
                  <a:pt x="4867687" y="2651961"/>
                  <a:pt x="4866245" y="2661101"/>
                  <a:pt x="4860474" y="2657252"/>
                </a:cubicBezTo>
                <a:cubicBezTo>
                  <a:pt x="4860474" y="2654687"/>
                  <a:pt x="4860474" y="2652122"/>
                  <a:pt x="4860474" y="2649557"/>
                </a:cubicBezTo>
                <a:cubicBezTo>
                  <a:pt x="4862398" y="2648274"/>
                  <a:pt x="4863840" y="2648433"/>
                  <a:pt x="4864802" y="2649316"/>
                </a:cubicBezTo>
                <a:close/>
                <a:moveTo>
                  <a:pt x="4973329" y="2646990"/>
                </a:moveTo>
                <a:cubicBezTo>
                  <a:pt x="4986153" y="2688032"/>
                  <a:pt x="4929725" y="2652120"/>
                  <a:pt x="4973329" y="2646990"/>
                </a:cubicBezTo>
                <a:close/>
                <a:moveTo>
                  <a:pt x="6619990" y="2608505"/>
                </a:moveTo>
                <a:cubicBezTo>
                  <a:pt x="6612295" y="2616200"/>
                  <a:pt x="6609730" y="2631593"/>
                  <a:pt x="6596905" y="2636722"/>
                </a:cubicBezTo>
                <a:cubicBezTo>
                  <a:pt x="6607165" y="2629028"/>
                  <a:pt x="6604600" y="2611071"/>
                  <a:pt x="6619990" y="2608505"/>
                </a:cubicBezTo>
                <a:close/>
                <a:moveTo>
                  <a:pt x="6496875" y="2572610"/>
                </a:moveTo>
                <a:cubicBezTo>
                  <a:pt x="6499441" y="2577741"/>
                  <a:pt x="6494311" y="2580304"/>
                  <a:pt x="6489181" y="2580304"/>
                </a:cubicBezTo>
                <a:cubicBezTo>
                  <a:pt x="6491746" y="2577741"/>
                  <a:pt x="6489181" y="2567485"/>
                  <a:pt x="6496875" y="2572610"/>
                </a:cubicBezTo>
                <a:close/>
                <a:moveTo>
                  <a:pt x="5020138" y="2570047"/>
                </a:moveTo>
                <a:cubicBezTo>
                  <a:pt x="5024626" y="2568124"/>
                  <a:pt x="5029756" y="2568766"/>
                  <a:pt x="5032321" y="2570047"/>
                </a:cubicBezTo>
                <a:cubicBezTo>
                  <a:pt x="5040015" y="2577741"/>
                  <a:pt x="5029756" y="2590560"/>
                  <a:pt x="5019496" y="2590560"/>
                </a:cubicBezTo>
                <a:cubicBezTo>
                  <a:pt x="5019496" y="2587997"/>
                  <a:pt x="5014366" y="2587997"/>
                  <a:pt x="5011802" y="2585431"/>
                </a:cubicBezTo>
                <a:cubicBezTo>
                  <a:pt x="5011802" y="2576457"/>
                  <a:pt x="5015649" y="2571971"/>
                  <a:pt x="5020138" y="2570047"/>
                </a:cubicBezTo>
                <a:close/>
                <a:moveTo>
                  <a:pt x="6040324" y="2562996"/>
                </a:moveTo>
                <a:cubicBezTo>
                  <a:pt x="6041607" y="2562996"/>
                  <a:pt x="6042889" y="2563638"/>
                  <a:pt x="6042889" y="2564920"/>
                </a:cubicBezTo>
                <a:cubicBezTo>
                  <a:pt x="6040324" y="2570047"/>
                  <a:pt x="6040324" y="2564920"/>
                  <a:pt x="6037760" y="2564920"/>
                </a:cubicBezTo>
                <a:cubicBezTo>
                  <a:pt x="6037760" y="2563638"/>
                  <a:pt x="6039042" y="2562996"/>
                  <a:pt x="6040324" y="2562996"/>
                </a:cubicBezTo>
                <a:close/>
                <a:moveTo>
                  <a:pt x="6338894" y="2562034"/>
                </a:moveTo>
                <a:cubicBezTo>
                  <a:pt x="6340577" y="2562996"/>
                  <a:pt x="6337211" y="2572613"/>
                  <a:pt x="6335287" y="2564920"/>
                </a:cubicBezTo>
                <a:cubicBezTo>
                  <a:pt x="6337211" y="2562357"/>
                  <a:pt x="6338333" y="2561714"/>
                  <a:pt x="6338894" y="2562034"/>
                </a:cubicBezTo>
                <a:close/>
                <a:moveTo>
                  <a:pt x="5891561" y="2534138"/>
                </a:moveTo>
                <a:cubicBezTo>
                  <a:pt x="5891561" y="2539266"/>
                  <a:pt x="5888995" y="2541832"/>
                  <a:pt x="5886430" y="2546960"/>
                </a:cubicBezTo>
                <a:cubicBezTo>
                  <a:pt x="5881301" y="2549525"/>
                  <a:pt x="5883866" y="2534138"/>
                  <a:pt x="5891561" y="2534138"/>
                </a:cubicBezTo>
                <a:close/>
                <a:moveTo>
                  <a:pt x="6448142" y="2477734"/>
                </a:moveTo>
                <a:cubicBezTo>
                  <a:pt x="6445577" y="2482858"/>
                  <a:pt x="6432751" y="2477734"/>
                  <a:pt x="6427622" y="2480297"/>
                </a:cubicBezTo>
                <a:cubicBezTo>
                  <a:pt x="6427622" y="2475144"/>
                  <a:pt x="6440447" y="2480297"/>
                  <a:pt x="6448142" y="2477734"/>
                </a:cubicBezTo>
                <a:close/>
                <a:moveTo>
                  <a:pt x="6404178" y="2465291"/>
                </a:moveTo>
                <a:cubicBezTo>
                  <a:pt x="6406463" y="2467456"/>
                  <a:pt x="6414158" y="2478999"/>
                  <a:pt x="6404539" y="2467456"/>
                </a:cubicBezTo>
                <a:cubicBezTo>
                  <a:pt x="6403257" y="2464890"/>
                  <a:pt x="6403417" y="2464569"/>
                  <a:pt x="6404178" y="2465291"/>
                </a:cubicBezTo>
                <a:close/>
                <a:moveTo>
                  <a:pt x="6487657" y="2448816"/>
                </a:moveTo>
                <a:cubicBezTo>
                  <a:pt x="6486455" y="2450622"/>
                  <a:pt x="6474431" y="2463607"/>
                  <a:pt x="6484051" y="2452065"/>
                </a:cubicBezTo>
                <a:cubicBezTo>
                  <a:pt x="6487257" y="2448856"/>
                  <a:pt x="6488058" y="2448215"/>
                  <a:pt x="6487657" y="2448816"/>
                </a:cubicBezTo>
                <a:close/>
                <a:moveTo>
                  <a:pt x="5481178" y="2374807"/>
                </a:moveTo>
                <a:cubicBezTo>
                  <a:pt x="5482460" y="2375129"/>
                  <a:pt x="5483742" y="2376413"/>
                  <a:pt x="5483742" y="2377693"/>
                </a:cubicBezTo>
                <a:cubicBezTo>
                  <a:pt x="5483742" y="2382825"/>
                  <a:pt x="5481178" y="2377693"/>
                  <a:pt x="5478613" y="2377693"/>
                </a:cubicBezTo>
                <a:cubicBezTo>
                  <a:pt x="5478613" y="2375129"/>
                  <a:pt x="5479896" y="2374487"/>
                  <a:pt x="5481178" y="2374807"/>
                </a:cubicBezTo>
                <a:close/>
                <a:moveTo>
                  <a:pt x="2131426" y="2367394"/>
                </a:moveTo>
                <a:cubicBezTo>
                  <a:pt x="2139121" y="2375089"/>
                  <a:pt x="2136556" y="2393045"/>
                  <a:pt x="2136556" y="2408433"/>
                </a:cubicBezTo>
                <a:cubicBezTo>
                  <a:pt x="2162205" y="2408433"/>
                  <a:pt x="2133991" y="2354569"/>
                  <a:pt x="2131426" y="2367394"/>
                </a:cubicBezTo>
                <a:close/>
                <a:moveTo>
                  <a:pt x="5024587" y="2353202"/>
                </a:moveTo>
                <a:cubicBezTo>
                  <a:pt x="5025909" y="2353806"/>
                  <a:pt x="5023986" y="2364869"/>
                  <a:pt x="5022062" y="2357174"/>
                </a:cubicBezTo>
                <a:cubicBezTo>
                  <a:pt x="5023344" y="2353967"/>
                  <a:pt x="5024146" y="2353003"/>
                  <a:pt x="5024587" y="2353202"/>
                </a:cubicBezTo>
                <a:close/>
                <a:moveTo>
                  <a:pt x="5073359" y="2349464"/>
                </a:moveTo>
                <a:cubicBezTo>
                  <a:pt x="5075924" y="2349464"/>
                  <a:pt x="5075924" y="2352031"/>
                  <a:pt x="5075924" y="2354595"/>
                </a:cubicBezTo>
                <a:cubicBezTo>
                  <a:pt x="5078489" y="2352031"/>
                  <a:pt x="5078489" y="2346898"/>
                  <a:pt x="5083619" y="2349464"/>
                </a:cubicBezTo>
                <a:cubicBezTo>
                  <a:pt x="5078489" y="2354595"/>
                  <a:pt x="5078489" y="2364854"/>
                  <a:pt x="5078489" y="2375116"/>
                </a:cubicBezTo>
                <a:cubicBezTo>
                  <a:pt x="5060535" y="2372550"/>
                  <a:pt x="5081054" y="2359723"/>
                  <a:pt x="5073359" y="2349464"/>
                </a:cubicBezTo>
                <a:close/>
                <a:moveTo>
                  <a:pt x="6437882" y="2334085"/>
                </a:moveTo>
                <a:cubicBezTo>
                  <a:pt x="6437882" y="2341778"/>
                  <a:pt x="6435318" y="2344344"/>
                  <a:pt x="6425057" y="2346909"/>
                </a:cubicBezTo>
                <a:cubicBezTo>
                  <a:pt x="6430187" y="2341778"/>
                  <a:pt x="6430187" y="2334085"/>
                  <a:pt x="6437882" y="2334085"/>
                </a:cubicBezTo>
                <a:close/>
                <a:moveTo>
                  <a:pt x="2110907" y="2326357"/>
                </a:moveTo>
                <a:cubicBezTo>
                  <a:pt x="2108342" y="2334051"/>
                  <a:pt x="2092953" y="2372525"/>
                  <a:pt x="2116038" y="2372525"/>
                </a:cubicBezTo>
                <a:cubicBezTo>
                  <a:pt x="2118601" y="2359701"/>
                  <a:pt x="2128861" y="2328922"/>
                  <a:pt x="2110907" y="2326357"/>
                </a:cubicBezTo>
                <a:close/>
                <a:moveTo>
                  <a:pt x="5581208" y="2298167"/>
                </a:moveTo>
                <a:cubicBezTo>
                  <a:pt x="5591467" y="2303298"/>
                  <a:pt x="5588903" y="2316126"/>
                  <a:pt x="5599162" y="2318692"/>
                </a:cubicBezTo>
                <a:cubicBezTo>
                  <a:pt x="5596597" y="2334085"/>
                  <a:pt x="5581208" y="2339212"/>
                  <a:pt x="5573513" y="2349478"/>
                </a:cubicBezTo>
                <a:cubicBezTo>
                  <a:pt x="5537604" y="2331518"/>
                  <a:pt x="5542734" y="2300732"/>
                  <a:pt x="5581208" y="2303298"/>
                </a:cubicBezTo>
                <a:cubicBezTo>
                  <a:pt x="5581208" y="2303298"/>
                  <a:pt x="5581208" y="2298167"/>
                  <a:pt x="5581208" y="2298167"/>
                </a:cubicBezTo>
                <a:close/>
                <a:moveTo>
                  <a:pt x="6496875" y="2298160"/>
                </a:moveTo>
                <a:cubicBezTo>
                  <a:pt x="6507135" y="2303290"/>
                  <a:pt x="6496875" y="2310984"/>
                  <a:pt x="6502005" y="2318681"/>
                </a:cubicBezTo>
                <a:cubicBezTo>
                  <a:pt x="6499440" y="2321246"/>
                  <a:pt x="6496875" y="2308418"/>
                  <a:pt x="6494311" y="2316116"/>
                </a:cubicBezTo>
                <a:cubicBezTo>
                  <a:pt x="6489181" y="2316116"/>
                  <a:pt x="6494311" y="2300723"/>
                  <a:pt x="6496875" y="2298160"/>
                </a:cubicBezTo>
                <a:close/>
                <a:moveTo>
                  <a:pt x="2114113" y="2282114"/>
                </a:moveTo>
                <a:cubicBezTo>
                  <a:pt x="2110266" y="2283397"/>
                  <a:pt x="2107060" y="2291732"/>
                  <a:pt x="2116038" y="2303274"/>
                </a:cubicBezTo>
                <a:cubicBezTo>
                  <a:pt x="2122449" y="2286602"/>
                  <a:pt x="2117961" y="2280831"/>
                  <a:pt x="2114113" y="2282114"/>
                </a:cubicBezTo>
                <a:close/>
                <a:moveTo>
                  <a:pt x="6345547" y="2277645"/>
                </a:moveTo>
                <a:cubicBezTo>
                  <a:pt x="6358371" y="2280209"/>
                  <a:pt x="6340416" y="2293039"/>
                  <a:pt x="6340416" y="2298167"/>
                </a:cubicBezTo>
                <a:cubicBezTo>
                  <a:pt x="6330156" y="2293039"/>
                  <a:pt x="6348112" y="2285341"/>
                  <a:pt x="6345547" y="2277645"/>
                </a:cubicBezTo>
                <a:close/>
                <a:moveTo>
                  <a:pt x="5686369" y="2275080"/>
                </a:moveTo>
                <a:cubicBezTo>
                  <a:pt x="5688934" y="2275080"/>
                  <a:pt x="5688934" y="2277645"/>
                  <a:pt x="5691499" y="2280209"/>
                </a:cubicBezTo>
                <a:cubicBezTo>
                  <a:pt x="5694063" y="2287907"/>
                  <a:pt x="5678674" y="2287907"/>
                  <a:pt x="5691499" y="2287907"/>
                </a:cubicBezTo>
                <a:cubicBezTo>
                  <a:pt x="5691499" y="2295602"/>
                  <a:pt x="5686369" y="2298167"/>
                  <a:pt x="5683804" y="2303298"/>
                </a:cubicBezTo>
                <a:cubicBezTo>
                  <a:pt x="5670978" y="2300732"/>
                  <a:pt x="5686369" y="2290471"/>
                  <a:pt x="5678674" y="2287907"/>
                </a:cubicBezTo>
                <a:cubicBezTo>
                  <a:pt x="5681239" y="2282775"/>
                  <a:pt x="5686369" y="2280209"/>
                  <a:pt x="5686369" y="2275080"/>
                </a:cubicBezTo>
                <a:close/>
                <a:moveTo>
                  <a:pt x="5026791" y="2226736"/>
                </a:moveTo>
                <a:cubicBezTo>
                  <a:pt x="5027032" y="2226496"/>
                  <a:pt x="5026551" y="2226979"/>
                  <a:pt x="5024627" y="2228902"/>
                </a:cubicBezTo>
                <a:cubicBezTo>
                  <a:pt x="5018856" y="2234675"/>
                  <a:pt x="5026070" y="2227458"/>
                  <a:pt x="5026791" y="2226736"/>
                </a:cubicBezTo>
                <a:close/>
                <a:moveTo>
                  <a:pt x="2446909" y="2223762"/>
                </a:moveTo>
                <a:cubicBezTo>
                  <a:pt x="2423825" y="2272495"/>
                  <a:pt x="2423825" y="2318662"/>
                  <a:pt x="2418695" y="2385350"/>
                </a:cubicBezTo>
                <a:cubicBezTo>
                  <a:pt x="2408435" y="2387914"/>
                  <a:pt x="2398176" y="2395610"/>
                  <a:pt x="2393046" y="2405868"/>
                </a:cubicBezTo>
                <a:cubicBezTo>
                  <a:pt x="2426390" y="2377654"/>
                  <a:pt x="2462298" y="2357134"/>
                  <a:pt x="2495642" y="2336616"/>
                </a:cubicBezTo>
                <a:cubicBezTo>
                  <a:pt x="2480252" y="2298143"/>
                  <a:pt x="2464863" y="2259670"/>
                  <a:pt x="2446909" y="2223762"/>
                </a:cubicBezTo>
                <a:close/>
                <a:moveTo>
                  <a:pt x="5081054" y="2187853"/>
                </a:moveTo>
                <a:cubicBezTo>
                  <a:pt x="5088749" y="2185291"/>
                  <a:pt x="5086184" y="2210943"/>
                  <a:pt x="5078489" y="2208377"/>
                </a:cubicBezTo>
                <a:cubicBezTo>
                  <a:pt x="5075924" y="2198112"/>
                  <a:pt x="5083619" y="2198112"/>
                  <a:pt x="5081054" y="2187853"/>
                </a:cubicBezTo>
                <a:close/>
                <a:moveTo>
                  <a:pt x="4178212" y="2177595"/>
                </a:moveTo>
                <a:cubicBezTo>
                  <a:pt x="4183341" y="2177595"/>
                  <a:pt x="4183341" y="2180160"/>
                  <a:pt x="4185907" y="2180160"/>
                </a:cubicBezTo>
                <a:cubicBezTo>
                  <a:pt x="4188471" y="2185288"/>
                  <a:pt x="4183341" y="2187851"/>
                  <a:pt x="4175647" y="2187851"/>
                </a:cubicBezTo>
                <a:cubicBezTo>
                  <a:pt x="4178212" y="2185288"/>
                  <a:pt x="4178212" y="2182726"/>
                  <a:pt x="4178212" y="2177595"/>
                </a:cubicBezTo>
                <a:close/>
                <a:moveTo>
                  <a:pt x="5088749" y="2172478"/>
                </a:moveTo>
                <a:cubicBezTo>
                  <a:pt x="5091313" y="2169911"/>
                  <a:pt x="5093878" y="2190416"/>
                  <a:pt x="5086184" y="2187853"/>
                </a:cubicBezTo>
                <a:cubicBezTo>
                  <a:pt x="5086184" y="2180169"/>
                  <a:pt x="5086184" y="2175038"/>
                  <a:pt x="5088749" y="2172478"/>
                </a:cubicBezTo>
                <a:close/>
                <a:moveTo>
                  <a:pt x="4258044" y="2165427"/>
                </a:moveTo>
                <a:cubicBezTo>
                  <a:pt x="4259647" y="2166064"/>
                  <a:pt x="4261571" y="2167349"/>
                  <a:pt x="4262853" y="2167349"/>
                </a:cubicBezTo>
                <a:cubicBezTo>
                  <a:pt x="4260288" y="2172478"/>
                  <a:pt x="4257723" y="2169914"/>
                  <a:pt x="4255159" y="2167349"/>
                </a:cubicBezTo>
                <a:cubicBezTo>
                  <a:pt x="4255159" y="2164786"/>
                  <a:pt x="4256441" y="2164786"/>
                  <a:pt x="4258044" y="2165427"/>
                </a:cubicBezTo>
                <a:close/>
                <a:moveTo>
                  <a:pt x="5840262" y="2164786"/>
                </a:moveTo>
                <a:cubicBezTo>
                  <a:pt x="5840262" y="2167349"/>
                  <a:pt x="5835132" y="2167349"/>
                  <a:pt x="5832568" y="2167349"/>
                </a:cubicBezTo>
                <a:cubicBezTo>
                  <a:pt x="5832568" y="2164786"/>
                  <a:pt x="5837697" y="2167349"/>
                  <a:pt x="5840262" y="2164786"/>
                </a:cubicBezTo>
                <a:close/>
                <a:moveTo>
                  <a:pt x="4998978" y="2162224"/>
                </a:moveTo>
                <a:cubicBezTo>
                  <a:pt x="5004107" y="2164786"/>
                  <a:pt x="5001542" y="2185291"/>
                  <a:pt x="4998978" y="2187856"/>
                </a:cubicBezTo>
                <a:cubicBezTo>
                  <a:pt x="4988718" y="2182731"/>
                  <a:pt x="5001542" y="2172478"/>
                  <a:pt x="4998978" y="2162224"/>
                </a:cubicBezTo>
                <a:close/>
                <a:moveTo>
                  <a:pt x="5101891" y="2162072"/>
                </a:moveTo>
                <a:lnTo>
                  <a:pt x="5101573" y="2162210"/>
                </a:lnTo>
                <a:lnTo>
                  <a:pt x="5101091" y="2162133"/>
                </a:lnTo>
                <a:close/>
                <a:moveTo>
                  <a:pt x="5201604" y="2159651"/>
                </a:moveTo>
                <a:cubicBezTo>
                  <a:pt x="5204169" y="2162215"/>
                  <a:pt x="5196474" y="2172472"/>
                  <a:pt x="5186215" y="2172472"/>
                </a:cubicBezTo>
                <a:cubicBezTo>
                  <a:pt x="5191344" y="2164781"/>
                  <a:pt x="5199039" y="2164781"/>
                  <a:pt x="5201604" y="2159651"/>
                </a:cubicBezTo>
                <a:close/>
                <a:moveTo>
                  <a:pt x="5132353" y="2157089"/>
                </a:moveTo>
                <a:cubicBezTo>
                  <a:pt x="5111833" y="2203244"/>
                  <a:pt x="5101574" y="2246854"/>
                  <a:pt x="5081055" y="2293030"/>
                </a:cubicBezTo>
                <a:cubicBezTo>
                  <a:pt x="5083620" y="2275074"/>
                  <a:pt x="5068229" y="2257119"/>
                  <a:pt x="5083620" y="2239161"/>
                </a:cubicBezTo>
                <a:cubicBezTo>
                  <a:pt x="5075924" y="2236595"/>
                  <a:pt x="5075924" y="2218637"/>
                  <a:pt x="5081055" y="2213505"/>
                </a:cubicBezTo>
                <a:cubicBezTo>
                  <a:pt x="5086184" y="2213505"/>
                  <a:pt x="5083620" y="2234027"/>
                  <a:pt x="5086184" y="2218637"/>
                </a:cubicBezTo>
                <a:cubicBezTo>
                  <a:pt x="5088749" y="2223768"/>
                  <a:pt x="5086184" y="2246854"/>
                  <a:pt x="5083620" y="2257119"/>
                </a:cubicBezTo>
                <a:cubicBezTo>
                  <a:pt x="5106704" y="2239161"/>
                  <a:pt x="5104139" y="2190416"/>
                  <a:pt x="5132353" y="2157089"/>
                </a:cubicBezTo>
                <a:close/>
                <a:moveTo>
                  <a:pt x="5071635" y="2156079"/>
                </a:moveTo>
                <a:cubicBezTo>
                  <a:pt x="5072798" y="2156518"/>
                  <a:pt x="5075443" y="2157560"/>
                  <a:pt x="5078809" y="2158683"/>
                </a:cubicBezTo>
                <a:lnTo>
                  <a:pt x="5101091" y="2162133"/>
                </a:lnTo>
                <a:lnTo>
                  <a:pt x="5091674" y="2162890"/>
                </a:lnTo>
                <a:cubicBezTo>
                  <a:pt x="5084900" y="2162210"/>
                  <a:pt x="5078488" y="2160287"/>
                  <a:pt x="5073358" y="2157081"/>
                </a:cubicBezTo>
                <a:cubicBezTo>
                  <a:pt x="5070793" y="2155796"/>
                  <a:pt x="5070473" y="2155638"/>
                  <a:pt x="5071635" y="2156079"/>
                </a:cubicBezTo>
                <a:close/>
                <a:moveTo>
                  <a:pt x="5619682" y="2152606"/>
                </a:moveTo>
                <a:cubicBezTo>
                  <a:pt x="5620965" y="2152606"/>
                  <a:pt x="5622247" y="2153251"/>
                  <a:pt x="5622247" y="2154529"/>
                </a:cubicBezTo>
                <a:cubicBezTo>
                  <a:pt x="5622247" y="2157099"/>
                  <a:pt x="5619682" y="2154529"/>
                  <a:pt x="5617117" y="2154529"/>
                </a:cubicBezTo>
                <a:cubicBezTo>
                  <a:pt x="5617117" y="2153251"/>
                  <a:pt x="5618400" y="2152606"/>
                  <a:pt x="5619682" y="2152606"/>
                </a:cubicBezTo>
                <a:close/>
                <a:moveTo>
                  <a:pt x="5019496" y="2149398"/>
                </a:moveTo>
                <a:cubicBezTo>
                  <a:pt x="5022061" y="2164783"/>
                  <a:pt x="5016931" y="2198112"/>
                  <a:pt x="5006672" y="2216074"/>
                </a:cubicBezTo>
                <a:cubicBezTo>
                  <a:pt x="4991281" y="2190416"/>
                  <a:pt x="5019496" y="2172478"/>
                  <a:pt x="5019496" y="2149398"/>
                </a:cubicBezTo>
                <a:close/>
                <a:moveTo>
                  <a:pt x="4952810" y="2144257"/>
                </a:moveTo>
                <a:cubicBezTo>
                  <a:pt x="4960504" y="2139126"/>
                  <a:pt x="4960504" y="2151951"/>
                  <a:pt x="4952810" y="2151951"/>
                </a:cubicBezTo>
                <a:cubicBezTo>
                  <a:pt x="4952810" y="2149389"/>
                  <a:pt x="4952810" y="2146825"/>
                  <a:pt x="4952810" y="2144257"/>
                </a:cubicBezTo>
                <a:close/>
                <a:moveTo>
                  <a:pt x="6496875" y="2139143"/>
                </a:moveTo>
                <a:cubicBezTo>
                  <a:pt x="6507135" y="2141711"/>
                  <a:pt x="6499440" y="2154530"/>
                  <a:pt x="6491746" y="2154530"/>
                </a:cubicBezTo>
                <a:cubicBezTo>
                  <a:pt x="6491746" y="2146842"/>
                  <a:pt x="6496875" y="2146842"/>
                  <a:pt x="6496875" y="2139143"/>
                </a:cubicBezTo>
                <a:close/>
                <a:moveTo>
                  <a:pt x="5137481" y="2136563"/>
                </a:moveTo>
                <a:cubicBezTo>
                  <a:pt x="5136199" y="2149387"/>
                  <a:pt x="5125298" y="2157723"/>
                  <a:pt x="5112153" y="2161246"/>
                </a:cubicBezTo>
                <a:lnTo>
                  <a:pt x="5101891" y="2162072"/>
                </a:lnTo>
                <a:lnTo>
                  <a:pt x="5124336" y="2152274"/>
                </a:lnTo>
                <a:cubicBezTo>
                  <a:pt x="5129787" y="2147465"/>
                  <a:pt x="5133634" y="2141692"/>
                  <a:pt x="5137481" y="2136563"/>
                </a:cubicBezTo>
                <a:close/>
                <a:moveTo>
                  <a:pt x="6619990" y="2134015"/>
                </a:moveTo>
                <a:cubicBezTo>
                  <a:pt x="6619990" y="2134015"/>
                  <a:pt x="6622555" y="2134015"/>
                  <a:pt x="6625120" y="2134015"/>
                </a:cubicBezTo>
                <a:cubicBezTo>
                  <a:pt x="6625120" y="2134015"/>
                  <a:pt x="6625120" y="2136576"/>
                  <a:pt x="6625120" y="2139143"/>
                </a:cubicBezTo>
                <a:cubicBezTo>
                  <a:pt x="6622555" y="2139143"/>
                  <a:pt x="6622555" y="2139143"/>
                  <a:pt x="6619990" y="2139143"/>
                </a:cubicBezTo>
                <a:cubicBezTo>
                  <a:pt x="6619990" y="2136576"/>
                  <a:pt x="6619990" y="2136576"/>
                  <a:pt x="6619990" y="2134015"/>
                </a:cubicBezTo>
                <a:close/>
                <a:moveTo>
                  <a:pt x="2836773" y="2105806"/>
                </a:moveTo>
                <a:cubicBezTo>
                  <a:pt x="2844467" y="2103240"/>
                  <a:pt x="2847032" y="2110938"/>
                  <a:pt x="2847032" y="2118632"/>
                </a:cubicBezTo>
                <a:cubicBezTo>
                  <a:pt x="2836773" y="2121198"/>
                  <a:pt x="2836773" y="2116067"/>
                  <a:pt x="2836773" y="2105806"/>
                </a:cubicBezTo>
                <a:close/>
                <a:moveTo>
                  <a:pt x="5147742" y="2095534"/>
                </a:moveTo>
                <a:cubicBezTo>
                  <a:pt x="5147742" y="2100666"/>
                  <a:pt x="5145177" y="2103231"/>
                  <a:pt x="5142612" y="2108361"/>
                </a:cubicBezTo>
                <a:cubicBezTo>
                  <a:pt x="5134917" y="2105796"/>
                  <a:pt x="5140047" y="2092970"/>
                  <a:pt x="5147742" y="2095534"/>
                </a:cubicBezTo>
                <a:close/>
                <a:moveTo>
                  <a:pt x="5255067" y="2092603"/>
                </a:moveTo>
                <a:cubicBezTo>
                  <a:pt x="5252903" y="2094888"/>
                  <a:pt x="5241360" y="2102583"/>
                  <a:pt x="5252902" y="2092963"/>
                </a:cubicBezTo>
                <a:cubicBezTo>
                  <a:pt x="5255467" y="2091680"/>
                  <a:pt x="5255788" y="2091841"/>
                  <a:pt x="5255067" y="2092603"/>
                </a:cubicBezTo>
                <a:close/>
                <a:moveTo>
                  <a:pt x="4129479" y="2090399"/>
                </a:moveTo>
                <a:cubicBezTo>
                  <a:pt x="4137174" y="2095530"/>
                  <a:pt x="4129479" y="2110921"/>
                  <a:pt x="4129479" y="2092966"/>
                </a:cubicBezTo>
                <a:cubicBezTo>
                  <a:pt x="4121785" y="2092966"/>
                  <a:pt x="4124349" y="2090399"/>
                  <a:pt x="4129479" y="2090399"/>
                </a:cubicBezTo>
                <a:close/>
                <a:moveTo>
                  <a:pt x="4119220" y="2080144"/>
                </a:moveTo>
                <a:cubicBezTo>
                  <a:pt x="4121785" y="2080144"/>
                  <a:pt x="4121785" y="2085272"/>
                  <a:pt x="4126914" y="2085272"/>
                </a:cubicBezTo>
                <a:cubicBezTo>
                  <a:pt x="4126914" y="2087840"/>
                  <a:pt x="4121785" y="2087840"/>
                  <a:pt x="4119220" y="2087840"/>
                </a:cubicBezTo>
                <a:cubicBezTo>
                  <a:pt x="4119220" y="2085272"/>
                  <a:pt x="4119220" y="2082712"/>
                  <a:pt x="4119220" y="2080144"/>
                </a:cubicBezTo>
                <a:close/>
                <a:moveTo>
                  <a:pt x="3926852" y="2080128"/>
                </a:moveTo>
                <a:cubicBezTo>
                  <a:pt x="3924287" y="2087822"/>
                  <a:pt x="3924287" y="2095516"/>
                  <a:pt x="3921722" y="2103211"/>
                </a:cubicBezTo>
                <a:cubicBezTo>
                  <a:pt x="3934547" y="2108341"/>
                  <a:pt x="3947371" y="2110906"/>
                  <a:pt x="3960196" y="2116035"/>
                </a:cubicBezTo>
                <a:cubicBezTo>
                  <a:pt x="3960196" y="2116035"/>
                  <a:pt x="3960196" y="2113470"/>
                  <a:pt x="3955066" y="2110906"/>
                </a:cubicBezTo>
                <a:cubicBezTo>
                  <a:pt x="3957631" y="2108341"/>
                  <a:pt x="3960196" y="2108341"/>
                  <a:pt x="3962760" y="2108341"/>
                </a:cubicBezTo>
                <a:cubicBezTo>
                  <a:pt x="3960196" y="2103211"/>
                  <a:pt x="3952501" y="2103211"/>
                  <a:pt x="3955066" y="2092951"/>
                </a:cubicBezTo>
                <a:cubicBezTo>
                  <a:pt x="3947371" y="2095516"/>
                  <a:pt x="3942242" y="2090386"/>
                  <a:pt x="3939677" y="2098082"/>
                </a:cubicBezTo>
                <a:cubicBezTo>
                  <a:pt x="3937111" y="2095516"/>
                  <a:pt x="3934547" y="2090386"/>
                  <a:pt x="3934547" y="2087822"/>
                </a:cubicBezTo>
                <a:cubicBezTo>
                  <a:pt x="3931982" y="2087822"/>
                  <a:pt x="3931982" y="2087822"/>
                  <a:pt x="3929417" y="2087822"/>
                </a:cubicBezTo>
                <a:cubicBezTo>
                  <a:pt x="3929417" y="2085258"/>
                  <a:pt x="3926852" y="2082693"/>
                  <a:pt x="3926852" y="2080128"/>
                </a:cubicBezTo>
                <a:close/>
                <a:moveTo>
                  <a:pt x="3919157" y="2077563"/>
                </a:moveTo>
                <a:cubicBezTo>
                  <a:pt x="3919157" y="2077563"/>
                  <a:pt x="3918516" y="2077563"/>
                  <a:pt x="3918195" y="2077883"/>
                </a:cubicBezTo>
                <a:lnTo>
                  <a:pt x="3918302" y="2078133"/>
                </a:lnTo>
                <a:lnTo>
                  <a:pt x="3917234" y="2078845"/>
                </a:lnTo>
                <a:cubicBezTo>
                  <a:pt x="3917234" y="2078845"/>
                  <a:pt x="3917875" y="2078845"/>
                  <a:pt x="3919157" y="2080128"/>
                </a:cubicBezTo>
                <a:cubicBezTo>
                  <a:pt x="3919157" y="2080128"/>
                  <a:pt x="3916593" y="2080128"/>
                  <a:pt x="3916593" y="2080128"/>
                </a:cubicBezTo>
                <a:cubicBezTo>
                  <a:pt x="3911463" y="2085258"/>
                  <a:pt x="3906333" y="2087822"/>
                  <a:pt x="3901203" y="2092951"/>
                </a:cubicBezTo>
                <a:cubicBezTo>
                  <a:pt x="3901203" y="2095516"/>
                  <a:pt x="3903768" y="2095516"/>
                  <a:pt x="3903768" y="2098082"/>
                </a:cubicBezTo>
                <a:cubicBezTo>
                  <a:pt x="3908898" y="2100646"/>
                  <a:pt x="3911463" y="2100646"/>
                  <a:pt x="3916593" y="2103211"/>
                </a:cubicBezTo>
                <a:cubicBezTo>
                  <a:pt x="3916593" y="2098082"/>
                  <a:pt x="3919157" y="2090386"/>
                  <a:pt x="3919157" y="2085258"/>
                </a:cubicBezTo>
                <a:cubicBezTo>
                  <a:pt x="3919157" y="2082693"/>
                  <a:pt x="3919157" y="2082693"/>
                  <a:pt x="3919157" y="2080128"/>
                </a:cubicBezTo>
                <a:lnTo>
                  <a:pt x="3918302" y="2078133"/>
                </a:lnTo>
                <a:close/>
                <a:moveTo>
                  <a:pt x="4121785" y="2075009"/>
                </a:moveTo>
                <a:cubicBezTo>
                  <a:pt x="4121785" y="2073729"/>
                  <a:pt x="4126273" y="2073729"/>
                  <a:pt x="4130441" y="2075009"/>
                </a:cubicBezTo>
                <a:cubicBezTo>
                  <a:pt x="4134609" y="2076293"/>
                  <a:pt x="4138456" y="2078855"/>
                  <a:pt x="4137174" y="2082704"/>
                </a:cubicBezTo>
                <a:cubicBezTo>
                  <a:pt x="4132044" y="2080138"/>
                  <a:pt x="4126914" y="2077575"/>
                  <a:pt x="4121785" y="2075009"/>
                </a:cubicBezTo>
                <a:close/>
                <a:moveTo>
                  <a:pt x="5140046" y="2072452"/>
                </a:moveTo>
                <a:cubicBezTo>
                  <a:pt x="5147741" y="2075015"/>
                  <a:pt x="5140046" y="2085272"/>
                  <a:pt x="5140046" y="2090405"/>
                </a:cubicBezTo>
                <a:cubicBezTo>
                  <a:pt x="5132352" y="2087840"/>
                  <a:pt x="5142611" y="2080143"/>
                  <a:pt x="5140046" y="2072452"/>
                </a:cubicBezTo>
                <a:close/>
                <a:moveTo>
                  <a:pt x="2364831" y="2064738"/>
                </a:moveTo>
                <a:cubicBezTo>
                  <a:pt x="2364831" y="2080128"/>
                  <a:pt x="2367396" y="2092951"/>
                  <a:pt x="2369962" y="2103211"/>
                </a:cubicBezTo>
                <a:cubicBezTo>
                  <a:pt x="2369962" y="2095516"/>
                  <a:pt x="2372526" y="2087822"/>
                  <a:pt x="2375091" y="2080128"/>
                </a:cubicBezTo>
                <a:cubicBezTo>
                  <a:pt x="2372526" y="2074997"/>
                  <a:pt x="2367396" y="2069868"/>
                  <a:pt x="2364831" y="2064738"/>
                </a:cubicBezTo>
                <a:close/>
                <a:moveTo>
                  <a:pt x="3942242" y="2059609"/>
                </a:moveTo>
                <a:cubicBezTo>
                  <a:pt x="3937111" y="2062174"/>
                  <a:pt x="3934547" y="2064738"/>
                  <a:pt x="3931982" y="2067302"/>
                </a:cubicBezTo>
                <a:cubicBezTo>
                  <a:pt x="3931982" y="2069868"/>
                  <a:pt x="3934547" y="2074997"/>
                  <a:pt x="3939677" y="2072433"/>
                </a:cubicBezTo>
                <a:cubicBezTo>
                  <a:pt x="3939677" y="2069868"/>
                  <a:pt x="3942242" y="2064738"/>
                  <a:pt x="3942242" y="2059609"/>
                </a:cubicBezTo>
                <a:close/>
                <a:moveTo>
                  <a:pt x="3898638" y="2057044"/>
                </a:moveTo>
                <a:cubicBezTo>
                  <a:pt x="3898638" y="2059609"/>
                  <a:pt x="3896073" y="2059609"/>
                  <a:pt x="3896073" y="2062174"/>
                </a:cubicBezTo>
                <a:cubicBezTo>
                  <a:pt x="3898638" y="2059609"/>
                  <a:pt x="3901203" y="2057044"/>
                  <a:pt x="3901203" y="2057044"/>
                </a:cubicBezTo>
                <a:cubicBezTo>
                  <a:pt x="3901203" y="2057044"/>
                  <a:pt x="3898638" y="2057044"/>
                  <a:pt x="3898638" y="2057044"/>
                </a:cubicBezTo>
                <a:close/>
                <a:moveTo>
                  <a:pt x="4437266" y="2054500"/>
                </a:moveTo>
                <a:cubicBezTo>
                  <a:pt x="4437266" y="2054500"/>
                  <a:pt x="4439831" y="2054500"/>
                  <a:pt x="4442396" y="2054500"/>
                </a:cubicBezTo>
                <a:cubicBezTo>
                  <a:pt x="4442396" y="2054500"/>
                  <a:pt x="4442396" y="2057066"/>
                  <a:pt x="4442396" y="2059635"/>
                </a:cubicBezTo>
                <a:cubicBezTo>
                  <a:pt x="4439831" y="2059635"/>
                  <a:pt x="4439831" y="2059635"/>
                  <a:pt x="4437266" y="2059635"/>
                </a:cubicBezTo>
                <a:cubicBezTo>
                  <a:pt x="4437266" y="2059635"/>
                  <a:pt x="4437266" y="2057066"/>
                  <a:pt x="4437266" y="2054500"/>
                </a:cubicBezTo>
                <a:close/>
                <a:moveTo>
                  <a:pt x="5145176" y="2051935"/>
                </a:moveTo>
                <a:cubicBezTo>
                  <a:pt x="5155437" y="2054500"/>
                  <a:pt x="5147741" y="2059629"/>
                  <a:pt x="5145176" y="2064764"/>
                </a:cubicBezTo>
                <a:cubicBezTo>
                  <a:pt x="5137482" y="2062199"/>
                  <a:pt x="5147741" y="2057066"/>
                  <a:pt x="5145176" y="2051935"/>
                </a:cubicBezTo>
                <a:close/>
                <a:moveTo>
                  <a:pt x="3916593" y="2036525"/>
                </a:moveTo>
                <a:cubicBezTo>
                  <a:pt x="3914028" y="2036525"/>
                  <a:pt x="3914028" y="2039090"/>
                  <a:pt x="3911463" y="2041654"/>
                </a:cubicBezTo>
                <a:cubicBezTo>
                  <a:pt x="3914028" y="2039090"/>
                  <a:pt x="3914028" y="2039090"/>
                  <a:pt x="3916593" y="2039090"/>
                </a:cubicBezTo>
                <a:close/>
                <a:moveTo>
                  <a:pt x="3919157" y="2031396"/>
                </a:moveTo>
                <a:cubicBezTo>
                  <a:pt x="3919157" y="2031396"/>
                  <a:pt x="3916593" y="2033960"/>
                  <a:pt x="3916593" y="2033960"/>
                </a:cubicBezTo>
                <a:cubicBezTo>
                  <a:pt x="3919157" y="2033960"/>
                  <a:pt x="3921722" y="2036525"/>
                  <a:pt x="3921722" y="2039090"/>
                </a:cubicBezTo>
                <a:cubicBezTo>
                  <a:pt x="3921722" y="2036525"/>
                  <a:pt x="3919157" y="2033960"/>
                  <a:pt x="3919157" y="2031396"/>
                </a:cubicBezTo>
                <a:close/>
                <a:moveTo>
                  <a:pt x="3885494" y="2023129"/>
                </a:moveTo>
                <a:cubicBezTo>
                  <a:pt x="3887898" y="2025174"/>
                  <a:pt x="3884532" y="2033346"/>
                  <a:pt x="3888379" y="2031423"/>
                </a:cubicBezTo>
                <a:cubicBezTo>
                  <a:pt x="3885814" y="2039113"/>
                  <a:pt x="3878119" y="2031423"/>
                  <a:pt x="3880684" y="2023727"/>
                </a:cubicBezTo>
                <a:cubicBezTo>
                  <a:pt x="3883249" y="2022446"/>
                  <a:pt x="3884692" y="2022447"/>
                  <a:pt x="3885494" y="2023129"/>
                </a:cubicBezTo>
                <a:close/>
                <a:moveTo>
                  <a:pt x="5178521" y="2013462"/>
                </a:moveTo>
                <a:cubicBezTo>
                  <a:pt x="5168261" y="2036542"/>
                  <a:pt x="5163131" y="2075009"/>
                  <a:pt x="5150307" y="2090399"/>
                </a:cubicBezTo>
                <a:cubicBezTo>
                  <a:pt x="5150307" y="2075009"/>
                  <a:pt x="5168261" y="2031414"/>
                  <a:pt x="5178521" y="2013462"/>
                </a:cubicBezTo>
                <a:close/>
                <a:moveTo>
                  <a:pt x="5065665" y="2008330"/>
                </a:moveTo>
                <a:cubicBezTo>
                  <a:pt x="5091314" y="2010899"/>
                  <a:pt x="5086184" y="2031414"/>
                  <a:pt x="5078489" y="2046798"/>
                </a:cubicBezTo>
                <a:cubicBezTo>
                  <a:pt x="5063100" y="2049363"/>
                  <a:pt x="5060535" y="2044233"/>
                  <a:pt x="5055405" y="2046798"/>
                </a:cubicBezTo>
                <a:cubicBezTo>
                  <a:pt x="5052840" y="2046798"/>
                  <a:pt x="5055405" y="2044233"/>
                  <a:pt x="5052840" y="2044233"/>
                </a:cubicBezTo>
                <a:cubicBezTo>
                  <a:pt x="5050276" y="2023718"/>
                  <a:pt x="5055405" y="2021155"/>
                  <a:pt x="5065665" y="2008330"/>
                </a:cubicBezTo>
                <a:close/>
                <a:moveTo>
                  <a:pt x="2334053" y="2005745"/>
                </a:moveTo>
                <a:lnTo>
                  <a:pt x="2357578" y="2042104"/>
                </a:lnTo>
                <a:lnTo>
                  <a:pt x="2357137" y="2044219"/>
                </a:lnTo>
                <a:cubicBezTo>
                  <a:pt x="2349442" y="2031396"/>
                  <a:pt x="2341747" y="2018570"/>
                  <a:pt x="2334053" y="2005745"/>
                </a:cubicBezTo>
                <a:close/>
                <a:moveTo>
                  <a:pt x="5104138" y="1995514"/>
                </a:moveTo>
                <a:cubicBezTo>
                  <a:pt x="5106703" y="1995514"/>
                  <a:pt x="5106703" y="1995514"/>
                  <a:pt x="5109268" y="1995514"/>
                </a:cubicBezTo>
                <a:cubicBezTo>
                  <a:pt x="5109268" y="1995514"/>
                  <a:pt x="5109268" y="1998079"/>
                  <a:pt x="5109268" y="2000642"/>
                </a:cubicBezTo>
                <a:cubicBezTo>
                  <a:pt x="5106703" y="2000642"/>
                  <a:pt x="5104138" y="2000642"/>
                  <a:pt x="5104138" y="2000642"/>
                </a:cubicBezTo>
                <a:cubicBezTo>
                  <a:pt x="5104138" y="2000642"/>
                  <a:pt x="5104138" y="1998079"/>
                  <a:pt x="5104138" y="1995514"/>
                </a:cubicBezTo>
                <a:close/>
                <a:moveTo>
                  <a:pt x="2375091" y="1995486"/>
                </a:moveTo>
                <a:cubicBezTo>
                  <a:pt x="2372526" y="2013442"/>
                  <a:pt x="2367396" y="2028830"/>
                  <a:pt x="2367396" y="2046783"/>
                </a:cubicBezTo>
                <a:cubicBezTo>
                  <a:pt x="2369962" y="2054480"/>
                  <a:pt x="2375091" y="2062174"/>
                  <a:pt x="2380221" y="2069868"/>
                </a:cubicBezTo>
                <a:cubicBezTo>
                  <a:pt x="2385351" y="2059609"/>
                  <a:pt x="2395611" y="2049349"/>
                  <a:pt x="2400741" y="2033960"/>
                </a:cubicBezTo>
                <a:cubicBezTo>
                  <a:pt x="2403306" y="2021137"/>
                  <a:pt x="2393046" y="2016006"/>
                  <a:pt x="2380221" y="2018570"/>
                </a:cubicBezTo>
                <a:cubicBezTo>
                  <a:pt x="2377657" y="2010878"/>
                  <a:pt x="2375091" y="2003181"/>
                  <a:pt x="2375091" y="1995486"/>
                </a:cubicBezTo>
                <a:close/>
                <a:moveTo>
                  <a:pt x="4732670" y="1964606"/>
                </a:moveTo>
                <a:cubicBezTo>
                  <a:pt x="4734954" y="1966168"/>
                  <a:pt x="4735434" y="1978191"/>
                  <a:pt x="4737358" y="1980115"/>
                </a:cubicBezTo>
                <a:cubicBezTo>
                  <a:pt x="4734793" y="1987810"/>
                  <a:pt x="4734793" y="1969855"/>
                  <a:pt x="4729664" y="1967290"/>
                </a:cubicBezTo>
                <a:cubicBezTo>
                  <a:pt x="4730946" y="1964725"/>
                  <a:pt x="4731908" y="1964085"/>
                  <a:pt x="4732670" y="1964606"/>
                </a:cubicBezTo>
                <a:close/>
                <a:moveTo>
                  <a:pt x="4729664" y="1957041"/>
                </a:moveTo>
                <a:cubicBezTo>
                  <a:pt x="4729664" y="1957041"/>
                  <a:pt x="4732228" y="1957041"/>
                  <a:pt x="4734793" y="1957041"/>
                </a:cubicBezTo>
                <a:cubicBezTo>
                  <a:pt x="4734793" y="1957041"/>
                  <a:pt x="4734793" y="1959605"/>
                  <a:pt x="4734793" y="1962170"/>
                </a:cubicBezTo>
                <a:cubicBezTo>
                  <a:pt x="4732228" y="1962170"/>
                  <a:pt x="4732228" y="1962170"/>
                  <a:pt x="4729664" y="1962170"/>
                </a:cubicBezTo>
                <a:cubicBezTo>
                  <a:pt x="4729664" y="1962170"/>
                  <a:pt x="4729664" y="1959605"/>
                  <a:pt x="4729664" y="1957041"/>
                </a:cubicBezTo>
                <a:close/>
                <a:moveTo>
                  <a:pt x="5070795" y="1954476"/>
                </a:moveTo>
                <a:cubicBezTo>
                  <a:pt x="5081055" y="1957041"/>
                  <a:pt x="5073359" y="1967302"/>
                  <a:pt x="5073359" y="1980125"/>
                </a:cubicBezTo>
                <a:cubicBezTo>
                  <a:pt x="5055405" y="1980125"/>
                  <a:pt x="5070795" y="1962170"/>
                  <a:pt x="5070795" y="1954476"/>
                </a:cubicBezTo>
                <a:close/>
                <a:moveTo>
                  <a:pt x="4047402" y="1951883"/>
                </a:moveTo>
                <a:cubicBezTo>
                  <a:pt x="4044837" y="1951883"/>
                  <a:pt x="4044837" y="1954448"/>
                  <a:pt x="4042272" y="1957013"/>
                </a:cubicBezTo>
                <a:cubicBezTo>
                  <a:pt x="4042272" y="1957013"/>
                  <a:pt x="4044837" y="1959578"/>
                  <a:pt x="4044837" y="1962143"/>
                </a:cubicBezTo>
                <a:cubicBezTo>
                  <a:pt x="4044837" y="1959578"/>
                  <a:pt x="4044837" y="1954448"/>
                  <a:pt x="4047402" y="1951883"/>
                </a:cubicBezTo>
                <a:close/>
                <a:moveTo>
                  <a:pt x="4757878" y="1946763"/>
                </a:moveTo>
                <a:cubicBezTo>
                  <a:pt x="4760443" y="1946763"/>
                  <a:pt x="4763008" y="1951895"/>
                  <a:pt x="4763008" y="1957025"/>
                </a:cubicBezTo>
                <a:cubicBezTo>
                  <a:pt x="4755313" y="1957025"/>
                  <a:pt x="4757878" y="1951895"/>
                  <a:pt x="4757878" y="1946763"/>
                </a:cubicBezTo>
                <a:close/>
                <a:moveTo>
                  <a:pt x="6584081" y="1941649"/>
                </a:moveTo>
                <a:cubicBezTo>
                  <a:pt x="6591776" y="1949344"/>
                  <a:pt x="6578951" y="1964737"/>
                  <a:pt x="6568691" y="1972431"/>
                </a:cubicBezTo>
                <a:cubicBezTo>
                  <a:pt x="6571256" y="1959607"/>
                  <a:pt x="6578951" y="1949344"/>
                  <a:pt x="6584081" y="1941649"/>
                </a:cubicBezTo>
                <a:close/>
                <a:moveTo>
                  <a:pt x="1367088" y="1939059"/>
                </a:moveTo>
                <a:cubicBezTo>
                  <a:pt x="1361958" y="1954448"/>
                  <a:pt x="1349133" y="1964708"/>
                  <a:pt x="1354263" y="1982662"/>
                </a:cubicBezTo>
                <a:cubicBezTo>
                  <a:pt x="1359393" y="1969837"/>
                  <a:pt x="1364523" y="1954448"/>
                  <a:pt x="1367088" y="1939059"/>
                </a:cubicBezTo>
                <a:close/>
                <a:moveTo>
                  <a:pt x="3890944" y="1936517"/>
                </a:moveTo>
                <a:cubicBezTo>
                  <a:pt x="3896073" y="1939084"/>
                  <a:pt x="3901204" y="1944214"/>
                  <a:pt x="3898638" y="1954476"/>
                </a:cubicBezTo>
                <a:cubicBezTo>
                  <a:pt x="3893508" y="1951911"/>
                  <a:pt x="3883249" y="1944214"/>
                  <a:pt x="3890944" y="1936517"/>
                </a:cubicBezTo>
                <a:close/>
                <a:moveTo>
                  <a:pt x="5564893" y="1920791"/>
                </a:moveTo>
                <a:lnTo>
                  <a:pt x="5570949" y="1928799"/>
                </a:lnTo>
                <a:cubicBezTo>
                  <a:pt x="5568384" y="1928799"/>
                  <a:pt x="5568384" y="1931364"/>
                  <a:pt x="5565819" y="1931364"/>
                </a:cubicBezTo>
                <a:lnTo>
                  <a:pt x="5564266" y="1929275"/>
                </a:lnTo>
                <a:close/>
                <a:moveTo>
                  <a:pt x="5780584" y="1914603"/>
                </a:moveTo>
                <a:lnTo>
                  <a:pt x="5783835" y="1921104"/>
                </a:lnTo>
                <a:lnTo>
                  <a:pt x="5780079" y="1920854"/>
                </a:lnTo>
                <a:lnTo>
                  <a:pt x="5781270" y="1915975"/>
                </a:lnTo>
                <a:lnTo>
                  <a:pt x="5775431" y="1920544"/>
                </a:lnTo>
                <a:lnTo>
                  <a:pt x="5774216" y="1920463"/>
                </a:lnTo>
                <a:cubicBezTo>
                  <a:pt x="5771651" y="1921105"/>
                  <a:pt x="5769727" y="1922387"/>
                  <a:pt x="5768445" y="1923669"/>
                </a:cubicBezTo>
                <a:lnTo>
                  <a:pt x="5773917" y="1916830"/>
                </a:lnTo>
                <a:lnTo>
                  <a:pt x="5773575" y="1918540"/>
                </a:lnTo>
                <a:close/>
                <a:moveTo>
                  <a:pt x="3839646" y="1910845"/>
                </a:moveTo>
                <a:cubicBezTo>
                  <a:pt x="3837081" y="1918540"/>
                  <a:pt x="3831951" y="1923669"/>
                  <a:pt x="3829386" y="1928799"/>
                </a:cubicBezTo>
                <a:cubicBezTo>
                  <a:pt x="3821691" y="1939059"/>
                  <a:pt x="3816562" y="1949318"/>
                  <a:pt x="3808867" y="1959578"/>
                </a:cubicBezTo>
                <a:cubicBezTo>
                  <a:pt x="3806302" y="1967273"/>
                  <a:pt x="3803737" y="1974967"/>
                  <a:pt x="3801172" y="1982662"/>
                </a:cubicBezTo>
                <a:cubicBezTo>
                  <a:pt x="3806302" y="1982662"/>
                  <a:pt x="3811432" y="1982662"/>
                  <a:pt x="3819127" y="1985227"/>
                </a:cubicBezTo>
                <a:cubicBezTo>
                  <a:pt x="3813997" y="1998051"/>
                  <a:pt x="3811432" y="2010878"/>
                  <a:pt x="3808867" y="2023701"/>
                </a:cubicBezTo>
                <a:cubicBezTo>
                  <a:pt x="3811432" y="2013442"/>
                  <a:pt x="3816562" y="2000616"/>
                  <a:pt x="3819127" y="1990357"/>
                </a:cubicBezTo>
                <a:cubicBezTo>
                  <a:pt x="3826821" y="1964708"/>
                  <a:pt x="3831951" y="1936494"/>
                  <a:pt x="3839646" y="1910845"/>
                </a:cubicBezTo>
                <a:close/>
                <a:moveTo>
                  <a:pt x="1364523" y="1908280"/>
                </a:moveTo>
                <a:cubicBezTo>
                  <a:pt x="1367088" y="1913410"/>
                  <a:pt x="1367088" y="1918540"/>
                  <a:pt x="1367088" y="1921104"/>
                </a:cubicBezTo>
                <a:cubicBezTo>
                  <a:pt x="1367088" y="1915975"/>
                  <a:pt x="1369653" y="1913410"/>
                  <a:pt x="1367088" y="1908280"/>
                </a:cubicBezTo>
                <a:cubicBezTo>
                  <a:pt x="1367088" y="1908280"/>
                  <a:pt x="1367088" y="1908280"/>
                  <a:pt x="1364523" y="1908280"/>
                </a:cubicBezTo>
                <a:close/>
                <a:moveTo>
                  <a:pt x="4103830" y="1900595"/>
                </a:moveTo>
                <a:cubicBezTo>
                  <a:pt x="4101265" y="1905724"/>
                  <a:pt x="4101265" y="1910855"/>
                  <a:pt x="4098700" y="1913420"/>
                </a:cubicBezTo>
                <a:cubicBezTo>
                  <a:pt x="4096136" y="1910855"/>
                  <a:pt x="4093571" y="1908289"/>
                  <a:pt x="4093571" y="1903161"/>
                </a:cubicBezTo>
                <a:cubicBezTo>
                  <a:pt x="4098700" y="1903161"/>
                  <a:pt x="4098700" y="1900595"/>
                  <a:pt x="4103830" y="1900595"/>
                </a:cubicBezTo>
                <a:close/>
                <a:moveTo>
                  <a:pt x="3903127" y="1899970"/>
                </a:moveTo>
                <a:cubicBezTo>
                  <a:pt x="3906334" y="1899971"/>
                  <a:pt x="3908898" y="1901894"/>
                  <a:pt x="3901203" y="1905742"/>
                </a:cubicBezTo>
                <a:cubicBezTo>
                  <a:pt x="3896073" y="1901894"/>
                  <a:pt x="3899921" y="1899971"/>
                  <a:pt x="3903127" y="1899970"/>
                </a:cubicBezTo>
                <a:close/>
                <a:moveTo>
                  <a:pt x="5122092" y="1890344"/>
                </a:moveTo>
                <a:cubicBezTo>
                  <a:pt x="5127222" y="1890344"/>
                  <a:pt x="5119527" y="1903167"/>
                  <a:pt x="5119527" y="1905732"/>
                </a:cubicBezTo>
                <a:cubicBezTo>
                  <a:pt x="5111833" y="1903167"/>
                  <a:pt x="5122092" y="1895472"/>
                  <a:pt x="5122092" y="1890344"/>
                </a:cubicBezTo>
                <a:close/>
                <a:moveTo>
                  <a:pt x="3880684" y="1887779"/>
                </a:moveTo>
                <a:cubicBezTo>
                  <a:pt x="3893508" y="1905732"/>
                  <a:pt x="3885813" y="1915992"/>
                  <a:pt x="3880684" y="1887779"/>
                </a:cubicBezTo>
                <a:close/>
                <a:moveTo>
                  <a:pt x="2600802" y="1877501"/>
                </a:moveTo>
                <a:cubicBezTo>
                  <a:pt x="2590543" y="1908280"/>
                  <a:pt x="2559764" y="1918540"/>
                  <a:pt x="2534115" y="1933929"/>
                </a:cubicBezTo>
                <a:cubicBezTo>
                  <a:pt x="2570025" y="2039090"/>
                  <a:pt x="2449474" y="2018570"/>
                  <a:pt x="2464863" y="2118599"/>
                </a:cubicBezTo>
                <a:cubicBezTo>
                  <a:pt x="2452039" y="2128861"/>
                  <a:pt x="2444345" y="2141684"/>
                  <a:pt x="2434084" y="2154509"/>
                </a:cubicBezTo>
                <a:cubicBezTo>
                  <a:pt x="2436649" y="2157073"/>
                  <a:pt x="2439214" y="2159638"/>
                  <a:pt x="2441779" y="2162202"/>
                </a:cubicBezTo>
                <a:cubicBezTo>
                  <a:pt x="2469993" y="2167332"/>
                  <a:pt x="2498207" y="2159638"/>
                  <a:pt x="2528985" y="2141684"/>
                </a:cubicBezTo>
                <a:cubicBezTo>
                  <a:pt x="2500772" y="2159638"/>
                  <a:pt x="2472558" y="2167332"/>
                  <a:pt x="2444345" y="2167332"/>
                </a:cubicBezTo>
                <a:cubicBezTo>
                  <a:pt x="2449474" y="2175028"/>
                  <a:pt x="2454604" y="2185285"/>
                  <a:pt x="2464863" y="2190416"/>
                </a:cubicBezTo>
                <a:cubicBezTo>
                  <a:pt x="2459733" y="2195544"/>
                  <a:pt x="2457168" y="2200675"/>
                  <a:pt x="2454604" y="2205806"/>
                </a:cubicBezTo>
                <a:cubicBezTo>
                  <a:pt x="2472558" y="2244283"/>
                  <a:pt x="2490512" y="2282755"/>
                  <a:pt x="2505901" y="2323792"/>
                </a:cubicBezTo>
                <a:cubicBezTo>
                  <a:pt x="2546940" y="2298143"/>
                  <a:pt x="2585413" y="2272495"/>
                  <a:pt x="2618757" y="2241718"/>
                </a:cubicBezTo>
                <a:cubicBezTo>
                  <a:pt x="2629016" y="2254542"/>
                  <a:pt x="2641841" y="2264801"/>
                  <a:pt x="2654665" y="2272495"/>
                </a:cubicBezTo>
                <a:cubicBezTo>
                  <a:pt x="2664926" y="2267366"/>
                  <a:pt x="2672619" y="2262236"/>
                  <a:pt x="2682879" y="2257108"/>
                </a:cubicBezTo>
                <a:cubicBezTo>
                  <a:pt x="2682879" y="2254542"/>
                  <a:pt x="2680314" y="2251977"/>
                  <a:pt x="2680314" y="2249412"/>
                </a:cubicBezTo>
                <a:cubicBezTo>
                  <a:pt x="2680314" y="2246846"/>
                  <a:pt x="2690574" y="2249412"/>
                  <a:pt x="2690574" y="2244283"/>
                </a:cubicBezTo>
                <a:cubicBezTo>
                  <a:pt x="2695703" y="2244283"/>
                  <a:pt x="2698269" y="2246846"/>
                  <a:pt x="2698269" y="2249412"/>
                </a:cubicBezTo>
                <a:cubicBezTo>
                  <a:pt x="2716223" y="2239152"/>
                  <a:pt x="2736742" y="2228893"/>
                  <a:pt x="2759827" y="2213500"/>
                </a:cubicBezTo>
                <a:cubicBezTo>
                  <a:pt x="2723917" y="2162202"/>
                  <a:pt x="2700833" y="2090386"/>
                  <a:pt x="2677749" y="2023701"/>
                </a:cubicBezTo>
                <a:cubicBezTo>
                  <a:pt x="2662360" y="1977532"/>
                  <a:pt x="2644406" y="1933929"/>
                  <a:pt x="2621321" y="1900585"/>
                </a:cubicBezTo>
                <a:cubicBezTo>
                  <a:pt x="2613627" y="1892891"/>
                  <a:pt x="2608497" y="1885196"/>
                  <a:pt x="2600802" y="1877501"/>
                </a:cubicBezTo>
                <a:close/>
                <a:moveTo>
                  <a:pt x="1390172" y="1877501"/>
                </a:moveTo>
                <a:cubicBezTo>
                  <a:pt x="1385042" y="1880066"/>
                  <a:pt x="1385042" y="1890326"/>
                  <a:pt x="1385042" y="1898020"/>
                </a:cubicBezTo>
                <a:cubicBezTo>
                  <a:pt x="1392737" y="1895455"/>
                  <a:pt x="1400431" y="1895455"/>
                  <a:pt x="1410691" y="1895455"/>
                </a:cubicBezTo>
                <a:cubicBezTo>
                  <a:pt x="1415821" y="1890326"/>
                  <a:pt x="1418386" y="1885196"/>
                  <a:pt x="1420950" y="1882631"/>
                </a:cubicBezTo>
                <a:cubicBezTo>
                  <a:pt x="1410691" y="1880066"/>
                  <a:pt x="1402996" y="1877501"/>
                  <a:pt x="1390172" y="1877501"/>
                </a:cubicBezTo>
                <a:close/>
                <a:moveTo>
                  <a:pt x="2841902" y="1867242"/>
                </a:moveTo>
                <a:cubicBezTo>
                  <a:pt x="2831643" y="1882631"/>
                  <a:pt x="2821383" y="1900585"/>
                  <a:pt x="2813688" y="1921104"/>
                </a:cubicBezTo>
                <a:cubicBezTo>
                  <a:pt x="2803429" y="1949318"/>
                  <a:pt x="2803429" y="1982662"/>
                  <a:pt x="2782911" y="2003181"/>
                </a:cubicBezTo>
                <a:cubicBezTo>
                  <a:pt x="2805994" y="2062174"/>
                  <a:pt x="2831643" y="2118599"/>
                  <a:pt x="2859857" y="2167332"/>
                </a:cubicBezTo>
                <a:cubicBezTo>
                  <a:pt x="2893200" y="2154509"/>
                  <a:pt x="2929109" y="2139120"/>
                  <a:pt x="2959887" y="2126297"/>
                </a:cubicBezTo>
                <a:cubicBezTo>
                  <a:pt x="2953475" y="2114753"/>
                  <a:pt x="2945780" y="2104493"/>
                  <a:pt x="2936803" y="2095517"/>
                </a:cubicBezTo>
                <a:lnTo>
                  <a:pt x="2918069" y="2081466"/>
                </a:lnTo>
                <a:lnTo>
                  <a:pt x="2906441" y="2067673"/>
                </a:lnTo>
                <a:lnTo>
                  <a:pt x="2908790" y="2040812"/>
                </a:lnTo>
                <a:cubicBezTo>
                  <a:pt x="2904102" y="2016647"/>
                  <a:pt x="2881018" y="2010876"/>
                  <a:pt x="2875246" y="1987792"/>
                </a:cubicBezTo>
                <a:cubicBezTo>
                  <a:pt x="2890635" y="1985227"/>
                  <a:pt x="2895765" y="1995486"/>
                  <a:pt x="2906025" y="1998051"/>
                </a:cubicBezTo>
                <a:cubicBezTo>
                  <a:pt x="2903460" y="1974967"/>
                  <a:pt x="2877812" y="1972402"/>
                  <a:pt x="2870116" y="1951883"/>
                </a:cubicBezTo>
                <a:cubicBezTo>
                  <a:pt x="2872681" y="1939059"/>
                  <a:pt x="2875246" y="1931364"/>
                  <a:pt x="2875246" y="1921104"/>
                </a:cubicBezTo>
                <a:cubicBezTo>
                  <a:pt x="2864986" y="1910845"/>
                  <a:pt x="2857292" y="1898020"/>
                  <a:pt x="2849597" y="1885196"/>
                </a:cubicBezTo>
                <a:cubicBezTo>
                  <a:pt x="2847032" y="1913410"/>
                  <a:pt x="2849597" y="1941624"/>
                  <a:pt x="2854728" y="1967273"/>
                </a:cubicBezTo>
                <a:cubicBezTo>
                  <a:pt x="2862421" y="1998052"/>
                  <a:pt x="2873963" y="2023701"/>
                  <a:pt x="2887750" y="2045502"/>
                </a:cubicBezTo>
                <a:lnTo>
                  <a:pt x="2906441" y="2067673"/>
                </a:lnTo>
                <a:lnTo>
                  <a:pt x="2906025" y="2072433"/>
                </a:lnTo>
                <a:lnTo>
                  <a:pt x="2918069" y="2081466"/>
                </a:lnTo>
                <a:lnTo>
                  <a:pt x="2934239" y="2100646"/>
                </a:lnTo>
                <a:lnTo>
                  <a:pt x="2926544" y="2118599"/>
                </a:lnTo>
                <a:cubicBezTo>
                  <a:pt x="2893200" y="2087822"/>
                  <a:pt x="2859857" y="2044219"/>
                  <a:pt x="2847032" y="1977532"/>
                </a:cubicBezTo>
                <a:cubicBezTo>
                  <a:pt x="2841902" y="1946753"/>
                  <a:pt x="2839337" y="1908280"/>
                  <a:pt x="2844467" y="1872371"/>
                </a:cubicBezTo>
                <a:cubicBezTo>
                  <a:pt x="2844467" y="1869807"/>
                  <a:pt x="2841902" y="1869807"/>
                  <a:pt x="2841902" y="1867242"/>
                </a:cubicBezTo>
                <a:close/>
                <a:moveTo>
                  <a:pt x="3931249" y="1861868"/>
                </a:moveTo>
                <a:lnTo>
                  <a:pt x="3931982" y="1862112"/>
                </a:lnTo>
                <a:lnTo>
                  <a:pt x="3931982" y="1943272"/>
                </a:lnTo>
                <a:lnTo>
                  <a:pt x="3929417" y="1944188"/>
                </a:lnTo>
                <a:cubicBezTo>
                  <a:pt x="3929417" y="1918540"/>
                  <a:pt x="3926852" y="1892891"/>
                  <a:pt x="3926852" y="1864677"/>
                </a:cubicBezTo>
                <a:close/>
                <a:moveTo>
                  <a:pt x="2477687" y="1856982"/>
                </a:moveTo>
                <a:cubicBezTo>
                  <a:pt x="2459733" y="1864677"/>
                  <a:pt x="2441779" y="1877501"/>
                  <a:pt x="2426390" y="1895455"/>
                </a:cubicBezTo>
                <a:cubicBezTo>
                  <a:pt x="2421261" y="1898020"/>
                  <a:pt x="2416130" y="1903150"/>
                  <a:pt x="2413565" y="1908280"/>
                </a:cubicBezTo>
                <a:cubicBezTo>
                  <a:pt x="2431520" y="1905715"/>
                  <a:pt x="2449474" y="1905715"/>
                  <a:pt x="2472558" y="1895455"/>
                </a:cubicBezTo>
                <a:cubicBezTo>
                  <a:pt x="2472558" y="1880066"/>
                  <a:pt x="2475124" y="1867242"/>
                  <a:pt x="2477687" y="1856982"/>
                </a:cubicBezTo>
                <a:close/>
                <a:moveTo>
                  <a:pt x="3978831" y="1856689"/>
                </a:moveTo>
                <a:cubicBezTo>
                  <a:pt x="3981356" y="1857652"/>
                  <a:pt x="3981356" y="1867271"/>
                  <a:pt x="3975585" y="1859576"/>
                </a:cubicBezTo>
                <a:cubicBezTo>
                  <a:pt x="3976868" y="1857010"/>
                  <a:pt x="3977990" y="1856369"/>
                  <a:pt x="3978831" y="1856689"/>
                </a:cubicBezTo>
                <a:close/>
                <a:moveTo>
                  <a:pt x="5722277" y="1849316"/>
                </a:moveTo>
                <a:cubicBezTo>
                  <a:pt x="5724842" y="1849316"/>
                  <a:pt x="5727407" y="1849316"/>
                  <a:pt x="5729972" y="1849316"/>
                </a:cubicBezTo>
                <a:cubicBezTo>
                  <a:pt x="5727407" y="1854445"/>
                  <a:pt x="5729972" y="1874965"/>
                  <a:pt x="5712018" y="1872400"/>
                </a:cubicBezTo>
                <a:cubicBezTo>
                  <a:pt x="5714582" y="1864705"/>
                  <a:pt x="5722277" y="1859576"/>
                  <a:pt x="5722277" y="1849316"/>
                </a:cubicBezTo>
                <a:close/>
                <a:moveTo>
                  <a:pt x="5027191" y="1839056"/>
                </a:moveTo>
                <a:cubicBezTo>
                  <a:pt x="5027191" y="1844185"/>
                  <a:pt x="5016931" y="1839056"/>
                  <a:pt x="5011802" y="1841622"/>
                </a:cubicBezTo>
                <a:cubicBezTo>
                  <a:pt x="5011802" y="1836491"/>
                  <a:pt x="5022061" y="1841622"/>
                  <a:pt x="5027191" y="1839056"/>
                </a:cubicBezTo>
                <a:close/>
                <a:moveTo>
                  <a:pt x="4713473" y="1836892"/>
                </a:moveTo>
                <a:cubicBezTo>
                  <a:pt x="4716358" y="1839057"/>
                  <a:pt x="4714916" y="1850600"/>
                  <a:pt x="4709145" y="1839056"/>
                </a:cubicBezTo>
                <a:cubicBezTo>
                  <a:pt x="4711069" y="1836492"/>
                  <a:pt x="4712511" y="1836171"/>
                  <a:pt x="4713473" y="1836892"/>
                </a:cubicBezTo>
                <a:close/>
                <a:moveTo>
                  <a:pt x="3911463" y="1828769"/>
                </a:moveTo>
                <a:cubicBezTo>
                  <a:pt x="3911463" y="1828769"/>
                  <a:pt x="3908898" y="1831334"/>
                  <a:pt x="3908898" y="1831334"/>
                </a:cubicBezTo>
                <a:cubicBezTo>
                  <a:pt x="3911463" y="1831334"/>
                  <a:pt x="3911463" y="1831334"/>
                  <a:pt x="3914028" y="1831334"/>
                </a:cubicBezTo>
                <a:cubicBezTo>
                  <a:pt x="3911463" y="1828769"/>
                  <a:pt x="3911463" y="1828769"/>
                  <a:pt x="3911463" y="1828769"/>
                </a:cubicBezTo>
                <a:close/>
                <a:moveTo>
                  <a:pt x="2190419" y="1828769"/>
                </a:moveTo>
                <a:cubicBezTo>
                  <a:pt x="2241716" y="1880066"/>
                  <a:pt x="2290449" y="1939059"/>
                  <a:pt x="2334053" y="2005745"/>
                </a:cubicBezTo>
                <a:cubicBezTo>
                  <a:pt x="2312251" y="1972403"/>
                  <a:pt x="2288526" y="1940983"/>
                  <a:pt x="2263839" y="1911807"/>
                </a:cubicBezTo>
                <a:lnTo>
                  <a:pt x="2188692" y="1832222"/>
                </a:lnTo>
                <a:close/>
                <a:moveTo>
                  <a:pt x="3505729" y="1818389"/>
                </a:moveTo>
                <a:cubicBezTo>
                  <a:pt x="3503324" y="1817067"/>
                  <a:pt x="3479278" y="1837746"/>
                  <a:pt x="3498515" y="1833898"/>
                </a:cubicBezTo>
                <a:cubicBezTo>
                  <a:pt x="3501080" y="1833898"/>
                  <a:pt x="3498515" y="1828769"/>
                  <a:pt x="3498515" y="1828769"/>
                </a:cubicBezTo>
                <a:cubicBezTo>
                  <a:pt x="3504927" y="1821715"/>
                  <a:pt x="3506530" y="1818830"/>
                  <a:pt x="3505729" y="1818389"/>
                </a:cubicBezTo>
                <a:close/>
                <a:moveTo>
                  <a:pt x="6048700" y="1811603"/>
                </a:moveTo>
                <a:cubicBezTo>
                  <a:pt x="6048339" y="1812925"/>
                  <a:pt x="6039683" y="1821102"/>
                  <a:pt x="6045454" y="1813407"/>
                </a:cubicBezTo>
                <a:cubicBezTo>
                  <a:pt x="6048019" y="1811483"/>
                  <a:pt x="6048820" y="1811163"/>
                  <a:pt x="6048700" y="1811603"/>
                </a:cubicBezTo>
                <a:close/>
                <a:moveTo>
                  <a:pt x="4034577" y="1810815"/>
                </a:moveTo>
                <a:cubicBezTo>
                  <a:pt x="4026883" y="1828769"/>
                  <a:pt x="4019188" y="1844158"/>
                  <a:pt x="4011494" y="1862112"/>
                </a:cubicBezTo>
                <a:cubicBezTo>
                  <a:pt x="4006364" y="1872371"/>
                  <a:pt x="4001234" y="1882631"/>
                  <a:pt x="3996104" y="1892891"/>
                </a:cubicBezTo>
                <a:cubicBezTo>
                  <a:pt x="3998669" y="1890326"/>
                  <a:pt x="4001234" y="1890326"/>
                  <a:pt x="4003799" y="1890326"/>
                </a:cubicBezTo>
                <a:cubicBezTo>
                  <a:pt x="4014058" y="1905715"/>
                  <a:pt x="4021753" y="1921104"/>
                  <a:pt x="4029448" y="1936494"/>
                </a:cubicBezTo>
                <a:cubicBezTo>
                  <a:pt x="4034577" y="1928799"/>
                  <a:pt x="4042272" y="1921104"/>
                  <a:pt x="4047402" y="1913410"/>
                </a:cubicBezTo>
                <a:cubicBezTo>
                  <a:pt x="4047402" y="1910845"/>
                  <a:pt x="4049967" y="1905715"/>
                  <a:pt x="4044837" y="1903150"/>
                </a:cubicBezTo>
                <a:cubicBezTo>
                  <a:pt x="4042272" y="1872371"/>
                  <a:pt x="4037143" y="1841593"/>
                  <a:pt x="4034577" y="1810815"/>
                </a:cubicBezTo>
                <a:close/>
                <a:moveTo>
                  <a:pt x="3147125" y="1810815"/>
                </a:moveTo>
                <a:cubicBezTo>
                  <a:pt x="3144560" y="1828769"/>
                  <a:pt x="3139430" y="1844158"/>
                  <a:pt x="3136865" y="1859547"/>
                </a:cubicBezTo>
                <a:cubicBezTo>
                  <a:pt x="3134300" y="1872371"/>
                  <a:pt x="3131736" y="1882631"/>
                  <a:pt x="3129170" y="1895455"/>
                </a:cubicBezTo>
                <a:cubicBezTo>
                  <a:pt x="3141995" y="1903150"/>
                  <a:pt x="3152254" y="1910845"/>
                  <a:pt x="3165079" y="1918540"/>
                </a:cubicBezTo>
                <a:cubicBezTo>
                  <a:pt x="3165079" y="1905715"/>
                  <a:pt x="3165079" y="1895455"/>
                  <a:pt x="3162515" y="1885196"/>
                </a:cubicBezTo>
                <a:cubicBezTo>
                  <a:pt x="3162515" y="1856982"/>
                  <a:pt x="3154819" y="1833898"/>
                  <a:pt x="3147125" y="1810815"/>
                </a:cubicBezTo>
                <a:close/>
                <a:moveTo>
                  <a:pt x="5678674" y="1800556"/>
                </a:moveTo>
                <a:cubicBezTo>
                  <a:pt x="5686369" y="1805684"/>
                  <a:pt x="5686369" y="1815944"/>
                  <a:pt x="5683804" y="1823639"/>
                </a:cubicBezTo>
                <a:cubicBezTo>
                  <a:pt x="5670979" y="1821075"/>
                  <a:pt x="5681239" y="1813380"/>
                  <a:pt x="5678674" y="1800556"/>
                </a:cubicBezTo>
                <a:close/>
                <a:moveTo>
                  <a:pt x="5057971" y="1795451"/>
                </a:moveTo>
                <a:cubicBezTo>
                  <a:pt x="5063100" y="1798017"/>
                  <a:pt x="5060535" y="1821102"/>
                  <a:pt x="5057971" y="1826233"/>
                </a:cubicBezTo>
                <a:cubicBezTo>
                  <a:pt x="5050276" y="1821102"/>
                  <a:pt x="5057971" y="1803146"/>
                  <a:pt x="5057971" y="1795451"/>
                </a:cubicBezTo>
                <a:close/>
                <a:moveTo>
                  <a:pt x="3888379" y="1790323"/>
                </a:moveTo>
                <a:cubicBezTo>
                  <a:pt x="3896073" y="1790323"/>
                  <a:pt x="3883249" y="1795450"/>
                  <a:pt x="3888379" y="1803147"/>
                </a:cubicBezTo>
                <a:cubicBezTo>
                  <a:pt x="3880684" y="1800581"/>
                  <a:pt x="3888379" y="1792887"/>
                  <a:pt x="3888379" y="1790323"/>
                </a:cubicBezTo>
                <a:close/>
                <a:moveTo>
                  <a:pt x="5019497" y="1782634"/>
                </a:moveTo>
                <a:cubicBezTo>
                  <a:pt x="5024627" y="1785199"/>
                  <a:pt x="5019497" y="1795455"/>
                  <a:pt x="5014367" y="1790326"/>
                </a:cubicBezTo>
                <a:cubicBezTo>
                  <a:pt x="5011802" y="1785199"/>
                  <a:pt x="5019497" y="1787763"/>
                  <a:pt x="5019497" y="1782634"/>
                </a:cubicBezTo>
                <a:close/>
                <a:moveTo>
                  <a:pt x="6268600" y="1782629"/>
                </a:moveTo>
                <a:cubicBezTo>
                  <a:pt x="6276295" y="1782629"/>
                  <a:pt x="6276295" y="1795451"/>
                  <a:pt x="6271165" y="1798016"/>
                </a:cubicBezTo>
                <a:cubicBezTo>
                  <a:pt x="6260905" y="1795451"/>
                  <a:pt x="6268600" y="1790322"/>
                  <a:pt x="6268600" y="1782629"/>
                </a:cubicBezTo>
                <a:close/>
                <a:moveTo>
                  <a:pt x="5060535" y="1772369"/>
                </a:moveTo>
                <a:cubicBezTo>
                  <a:pt x="5065664" y="1772369"/>
                  <a:pt x="5068229" y="1790323"/>
                  <a:pt x="5057970" y="1787759"/>
                </a:cubicBezTo>
                <a:cubicBezTo>
                  <a:pt x="5055405" y="1780064"/>
                  <a:pt x="5063100" y="1780064"/>
                  <a:pt x="5060535" y="1772369"/>
                </a:cubicBezTo>
                <a:close/>
                <a:moveTo>
                  <a:pt x="4034577" y="1764647"/>
                </a:moveTo>
                <a:cubicBezTo>
                  <a:pt x="4008929" y="1774907"/>
                  <a:pt x="3983280" y="1782601"/>
                  <a:pt x="3960196" y="1792861"/>
                </a:cubicBezTo>
                <a:cubicBezTo>
                  <a:pt x="3967890" y="1810815"/>
                  <a:pt x="3975585" y="1831334"/>
                  <a:pt x="3970455" y="1856982"/>
                </a:cubicBezTo>
                <a:cubicBezTo>
                  <a:pt x="3962760" y="1856982"/>
                  <a:pt x="3962760" y="1859547"/>
                  <a:pt x="3957631" y="1859547"/>
                </a:cubicBezTo>
                <a:cubicBezTo>
                  <a:pt x="3957631" y="1869807"/>
                  <a:pt x="3962760" y="1869807"/>
                  <a:pt x="3957631" y="1880066"/>
                </a:cubicBezTo>
                <a:cubicBezTo>
                  <a:pt x="3947371" y="1869807"/>
                  <a:pt x="3965325" y="1856982"/>
                  <a:pt x="3949936" y="1851852"/>
                </a:cubicBezTo>
                <a:cubicBezTo>
                  <a:pt x="3946089" y="1855700"/>
                  <a:pt x="3942241" y="1856341"/>
                  <a:pt x="3938394" y="1857303"/>
                </a:cubicBezTo>
                <a:lnTo>
                  <a:pt x="3931249" y="1861868"/>
                </a:lnTo>
                <a:lnTo>
                  <a:pt x="3924287" y="1859547"/>
                </a:lnTo>
                <a:cubicBezTo>
                  <a:pt x="3924287" y="1851852"/>
                  <a:pt x="3924287" y="1846722"/>
                  <a:pt x="3921722" y="1844158"/>
                </a:cubicBezTo>
                <a:cubicBezTo>
                  <a:pt x="3908898" y="1841593"/>
                  <a:pt x="3914028" y="1836463"/>
                  <a:pt x="3903768" y="1849289"/>
                </a:cubicBezTo>
                <a:cubicBezTo>
                  <a:pt x="3906333" y="1869807"/>
                  <a:pt x="3916593" y="1880066"/>
                  <a:pt x="3911463" y="1898020"/>
                </a:cubicBezTo>
                <a:cubicBezTo>
                  <a:pt x="3898638" y="1898020"/>
                  <a:pt x="3903768" y="1887761"/>
                  <a:pt x="3898638" y="1882631"/>
                </a:cubicBezTo>
                <a:cubicBezTo>
                  <a:pt x="3893508" y="1890326"/>
                  <a:pt x="3888379" y="1882631"/>
                  <a:pt x="3885814" y="1887761"/>
                </a:cubicBezTo>
                <a:cubicBezTo>
                  <a:pt x="3883249" y="1887761"/>
                  <a:pt x="3883249" y="1887761"/>
                  <a:pt x="3883249" y="1885196"/>
                </a:cubicBezTo>
                <a:cubicBezTo>
                  <a:pt x="3883249" y="1882631"/>
                  <a:pt x="3883249" y="1882631"/>
                  <a:pt x="3880684" y="1882631"/>
                </a:cubicBezTo>
                <a:cubicBezTo>
                  <a:pt x="3888379" y="1877501"/>
                  <a:pt x="3883249" y="1869807"/>
                  <a:pt x="3880684" y="1862112"/>
                </a:cubicBezTo>
                <a:cubicBezTo>
                  <a:pt x="3878119" y="1864677"/>
                  <a:pt x="3875554" y="1869807"/>
                  <a:pt x="3872989" y="1872371"/>
                </a:cubicBezTo>
                <a:cubicBezTo>
                  <a:pt x="3872989" y="1877501"/>
                  <a:pt x="3870424" y="1880066"/>
                  <a:pt x="3867859" y="1885196"/>
                </a:cubicBezTo>
                <a:cubicBezTo>
                  <a:pt x="3860165" y="1921104"/>
                  <a:pt x="3849905" y="1957013"/>
                  <a:pt x="3839646" y="1995486"/>
                </a:cubicBezTo>
                <a:cubicBezTo>
                  <a:pt x="3831951" y="2018570"/>
                  <a:pt x="3824256" y="2044219"/>
                  <a:pt x="3813997" y="2067302"/>
                </a:cubicBezTo>
                <a:cubicBezTo>
                  <a:pt x="3813997" y="2069868"/>
                  <a:pt x="3813997" y="2069868"/>
                  <a:pt x="3813997" y="2072433"/>
                </a:cubicBezTo>
                <a:cubicBezTo>
                  <a:pt x="3821691" y="2074997"/>
                  <a:pt x="3831951" y="2077563"/>
                  <a:pt x="3842210" y="2080128"/>
                </a:cubicBezTo>
                <a:cubicBezTo>
                  <a:pt x="3839646" y="2077563"/>
                  <a:pt x="3839646" y="2072433"/>
                  <a:pt x="3839646" y="2069868"/>
                </a:cubicBezTo>
                <a:cubicBezTo>
                  <a:pt x="3844776" y="2069868"/>
                  <a:pt x="3842210" y="2074997"/>
                  <a:pt x="3844776" y="2080128"/>
                </a:cubicBezTo>
                <a:cubicBezTo>
                  <a:pt x="3847340" y="2082693"/>
                  <a:pt x="3849905" y="2082693"/>
                  <a:pt x="3852470" y="2082693"/>
                </a:cubicBezTo>
                <a:cubicBezTo>
                  <a:pt x="3855035" y="2080128"/>
                  <a:pt x="3855035" y="2080128"/>
                  <a:pt x="3857600" y="2077563"/>
                </a:cubicBezTo>
                <a:cubicBezTo>
                  <a:pt x="3857600" y="2077563"/>
                  <a:pt x="3857600" y="2074997"/>
                  <a:pt x="3857600" y="2074997"/>
                </a:cubicBezTo>
                <a:cubicBezTo>
                  <a:pt x="3860165" y="2077563"/>
                  <a:pt x="3860165" y="2077563"/>
                  <a:pt x="3860165" y="2077563"/>
                </a:cubicBezTo>
                <a:cubicBezTo>
                  <a:pt x="3860165" y="2074997"/>
                  <a:pt x="3862730" y="2072433"/>
                  <a:pt x="3865295" y="2069868"/>
                </a:cubicBezTo>
                <a:cubicBezTo>
                  <a:pt x="3865295" y="2069868"/>
                  <a:pt x="3867859" y="2067302"/>
                  <a:pt x="3867859" y="2067302"/>
                </a:cubicBezTo>
                <a:cubicBezTo>
                  <a:pt x="3865295" y="2064738"/>
                  <a:pt x="3867859" y="2059609"/>
                  <a:pt x="3870424" y="2054480"/>
                </a:cubicBezTo>
                <a:cubicBezTo>
                  <a:pt x="3872989" y="2054480"/>
                  <a:pt x="3875554" y="2057044"/>
                  <a:pt x="3875554" y="2057044"/>
                </a:cubicBezTo>
                <a:cubicBezTo>
                  <a:pt x="3888379" y="2044219"/>
                  <a:pt x="3898638" y="2026267"/>
                  <a:pt x="3919157" y="2016006"/>
                </a:cubicBezTo>
                <a:cubicBezTo>
                  <a:pt x="3919157" y="2013442"/>
                  <a:pt x="3921722" y="2010878"/>
                  <a:pt x="3924287" y="2008311"/>
                </a:cubicBezTo>
                <a:cubicBezTo>
                  <a:pt x="3924287" y="2000616"/>
                  <a:pt x="3914028" y="2005745"/>
                  <a:pt x="3916593" y="1998051"/>
                </a:cubicBezTo>
                <a:cubicBezTo>
                  <a:pt x="3929417" y="1995486"/>
                  <a:pt x="3916593" y="1990357"/>
                  <a:pt x="3921722" y="1985227"/>
                </a:cubicBezTo>
                <a:cubicBezTo>
                  <a:pt x="3919157" y="1982662"/>
                  <a:pt x="3908898" y="1987792"/>
                  <a:pt x="3911463" y="1980097"/>
                </a:cubicBezTo>
                <a:cubicBezTo>
                  <a:pt x="3916593" y="1982662"/>
                  <a:pt x="3919157" y="1980097"/>
                  <a:pt x="3924287" y="1982662"/>
                </a:cubicBezTo>
                <a:cubicBezTo>
                  <a:pt x="3921722" y="1977532"/>
                  <a:pt x="3924287" y="1969837"/>
                  <a:pt x="3929417" y="1967273"/>
                </a:cubicBezTo>
                <a:cubicBezTo>
                  <a:pt x="3929417" y="1962143"/>
                  <a:pt x="3919157" y="1967273"/>
                  <a:pt x="3921722" y="1959578"/>
                </a:cubicBezTo>
                <a:cubicBezTo>
                  <a:pt x="3929417" y="1959578"/>
                  <a:pt x="3931982" y="1957013"/>
                  <a:pt x="3929417" y="1951883"/>
                </a:cubicBezTo>
                <a:cubicBezTo>
                  <a:pt x="3929417" y="1951883"/>
                  <a:pt x="3931982" y="1951883"/>
                  <a:pt x="3931982" y="1951883"/>
                </a:cubicBezTo>
                <a:lnTo>
                  <a:pt x="3931982" y="1943272"/>
                </a:lnTo>
                <a:lnTo>
                  <a:pt x="3938394" y="1940983"/>
                </a:lnTo>
                <a:cubicBezTo>
                  <a:pt x="3940959" y="1939701"/>
                  <a:pt x="3942241" y="1937777"/>
                  <a:pt x="3939677" y="1933929"/>
                </a:cubicBezTo>
                <a:cubicBezTo>
                  <a:pt x="3944806" y="1933929"/>
                  <a:pt x="3944806" y="1941624"/>
                  <a:pt x="3949936" y="1939059"/>
                </a:cubicBezTo>
                <a:cubicBezTo>
                  <a:pt x="3952501" y="1936494"/>
                  <a:pt x="3949936" y="1933929"/>
                  <a:pt x="3955066" y="1928799"/>
                </a:cubicBezTo>
                <a:cubicBezTo>
                  <a:pt x="3960196" y="1928799"/>
                  <a:pt x="3960196" y="1928799"/>
                  <a:pt x="3962760" y="1928799"/>
                </a:cubicBezTo>
                <a:cubicBezTo>
                  <a:pt x="3965325" y="1928799"/>
                  <a:pt x="3965325" y="1926234"/>
                  <a:pt x="3965325" y="1926234"/>
                </a:cubicBezTo>
                <a:cubicBezTo>
                  <a:pt x="3967890" y="1915975"/>
                  <a:pt x="3970455" y="1908280"/>
                  <a:pt x="3980715" y="1900585"/>
                </a:cubicBezTo>
                <a:cubicBezTo>
                  <a:pt x="3988409" y="1885196"/>
                  <a:pt x="3998669" y="1867242"/>
                  <a:pt x="4003799" y="1849289"/>
                </a:cubicBezTo>
                <a:cubicBezTo>
                  <a:pt x="4014058" y="1828769"/>
                  <a:pt x="4024318" y="1808250"/>
                  <a:pt x="4034577" y="1787730"/>
                </a:cubicBezTo>
                <a:cubicBezTo>
                  <a:pt x="4034577" y="1785166"/>
                  <a:pt x="4034577" y="1785166"/>
                  <a:pt x="4034577" y="1785166"/>
                </a:cubicBezTo>
                <a:cubicBezTo>
                  <a:pt x="4034577" y="1780036"/>
                  <a:pt x="4034577" y="1772342"/>
                  <a:pt x="4034577" y="1764647"/>
                </a:cubicBezTo>
                <a:close/>
                <a:moveTo>
                  <a:pt x="3858282" y="1764354"/>
                </a:moveTo>
                <a:cubicBezTo>
                  <a:pt x="3860807" y="1765316"/>
                  <a:pt x="3860807" y="1774934"/>
                  <a:pt x="3855036" y="1767239"/>
                </a:cubicBezTo>
                <a:cubicBezTo>
                  <a:pt x="3856318" y="1764674"/>
                  <a:pt x="3857440" y="1764033"/>
                  <a:pt x="3858282" y="1764354"/>
                </a:cubicBezTo>
                <a:close/>
                <a:moveTo>
                  <a:pt x="4049967" y="1762082"/>
                </a:moveTo>
                <a:cubicBezTo>
                  <a:pt x="4047402" y="1762082"/>
                  <a:pt x="4044837" y="1762082"/>
                  <a:pt x="4042272" y="1764647"/>
                </a:cubicBezTo>
                <a:cubicBezTo>
                  <a:pt x="4042272" y="1769777"/>
                  <a:pt x="4042272" y="1772342"/>
                  <a:pt x="4042272" y="1777471"/>
                </a:cubicBezTo>
                <a:cubicBezTo>
                  <a:pt x="4044837" y="1772342"/>
                  <a:pt x="4047402" y="1767212"/>
                  <a:pt x="4049967" y="1762082"/>
                </a:cubicBezTo>
                <a:close/>
                <a:moveTo>
                  <a:pt x="2657230" y="1762082"/>
                </a:moveTo>
                <a:cubicBezTo>
                  <a:pt x="2629016" y="1782601"/>
                  <a:pt x="2636711" y="1833898"/>
                  <a:pt x="2598237" y="1841593"/>
                </a:cubicBezTo>
                <a:cubicBezTo>
                  <a:pt x="2598237" y="1846722"/>
                  <a:pt x="2598237" y="1851852"/>
                  <a:pt x="2598237" y="1854417"/>
                </a:cubicBezTo>
                <a:cubicBezTo>
                  <a:pt x="2608497" y="1864677"/>
                  <a:pt x="2618757" y="1874936"/>
                  <a:pt x="2626451" y="1885196"/>
                </a:cubicBezTo>
                <a:cubicBezTo>
                  <a:pt x="2652100" y="1918540"/>
                  <a:pt x="2670054" y="1962143"/>
                  <a:pt x="2688009" y="2008311"/>
                </a:cubicBezTo>
                <a:cubicBezTo>
                  <a:pt x="2716223" y="2080128"/>
                  <a:pt x="2741872" y="2157073"/>
                  <a:pt x="2782911" y="2203241"/>
                </a:cubicBezTo>
                <a:cubicBezTo>
                  <a:pt x="2805994" y="2192979"/>
                  <a:pt x="2826513" y="2182720"/>
                  <a:pt x="2847032" y="2175028"/>
                </a:cubicBezTo>
                <a:cubicBezTo>
                  <a:pt x="2821383" y="2128861"/>
                  <a:pt x="2798299" y="2077563"/>
                  <a:pt x="2777780" y="2026267"/>
                </a:cubicBezTo>
                <a:cubicBezTo>
                  <a:pt x="2777780" y="2031396"/>
                  <a:pt x="2772650" y="2036525"/>
                  <a:pt x="2767520" y="2031396"/>
                </a:cubicBezTo>
                <a:cubicBezTo>
                  <a:pt x="2764955" y="2026267"/>
                  <a:pt x="2770086" y="2026267"/>
                  <a:pt x="2775215" y="2026267"/>
                </a:cubicBezTo>
                <a:cubicBezTo>
                  <a:pt x="2772650" y="2018570"/>
                  <a:pt x="2770086" y="2013442"/>
                  <a:pt x="2772650" y="2010878"/>
                </a:cubicBezTo>
                <a:cubicBezTo>
                  <a:pt x="2764955" y="2013442"/>
                  <a:pt x="2749566" y="1990357"/>
                  <a:pt x="2759827" y="1980097"/>
                </a:cubicBezTo>
                <a:cubicBezTo>
                  <a:pt x="2757261" y="1972402"/>
                  <a:pt x="2754696" y="1964708"/>
                  <a:pt x="2752131" y="1957013"/>
                </a:cubicBezTo>
                <a:cubicBezTo>
                  <a:pt x="2749566" y="1962143"/>
                  <a:pt x="2749566" y="1967273"/>
                  <a:pt x="2744436" y="1969837"/>
                </a:cubicBezTo>
                <a:cubicBezTo>
                  <a:pt x="2718787" y="1964708"/>
                  <a:pt x="2721352" y="1923669"/>
                  <a:pt x="2731612" y="1903150"/>
                </a:cubicBezTo>
                <a:cubicBezTo>
                  <a:pt x="2713658" y="1859547"/>
                  <a:pt x="2695703" y="1815944"/>
                  <a:pt x="2677749" y="1772342"/>
                </a:cubicBezTo>
                <a:cubicBezTo>
                  <a:pt x="2672619" y="1769777"/>
                  <a:pt x="2664926" y="1767212"/>
                  <a:pt x="2657230" y="1762082"/>
                </a:cubicBezTo>
                <a:close/>
                <a:moveTo>
                  <a:pt x="5804353" y="1759545"/>
                </a:moveTo>
                <a:cubicBezTo>
                  <a:pt x="5806919" y="1767241"/>
                  <a:pt x="5801789" y="1769804"/>
                  <a:pt x="5796659" y="1767241"/>
                </a:cubicBezTo>
                <a:cubicBezTo>
                  <a:pt x="5799224" y="1764676"/>
                  <a:pt x="5796659" y="1756981"/>
                  <a:pt x="5804353" y="1759545"/>
                </a:cubicBezTo>
                <a:close/>
                <a:moveTo>
                  <a:pt x="5034886" y="1746721"/>
                </a:moveTo>
                <a:cubicBezTo>
                  <a:pt x="5040015" y="1744155"/>
                  <a:pt x="5040015" y="1762111"/>
                  <a:pt x="5032321" y="1759547"/>
                </a:cubicBezTo>
                <a:cubicBezTo>
                  <a:pt x="5029756" y="1751851"/>
                  <a:pt x="5034886" y="1751851"/>
                  <a:pt x="5034886" y="1746721"/>
                </a:cubicBezTo>
                <a:close/>
                <a:moveTo>
                  <a:pt x="3893508" y="1746693"/>
                </a:moveTo>
                <a:cubicBezTo>
                  <a:pt x="3888379" y="1762082"/>
                  <a:pt x="3885814" y="1780036"/>
                  <a:pt x="3880684" y="1797991"/>
                </a:cubicBezTo>
                <a:cubicBezTo>
                  <a:pt x="3878119" y="1808250"/>
                  <a:pt x="3875554" y="1821075"/>
                  <a:pt x="3870424" y="1839029"/>
                </a:cubicBezTo>
                <a:cubicBezTo>
                  <a:pt x="3872989" y="1839029"/>
                  <a:pt x="3872989" y="1839029"/>
                  <a:pt x="3872989" y="1839029"/>
                </a:cubicBezTo>
                <a:cubicBezTo>
                  <a:pt x="3872989" y="1839029"/>
                  <a:pt x="3875554" y="1836463"/>
                  <a:pt x="3875554" y="1836463"/>
                </a:cubicBezTo>
                <a:cubicBezTo>
                  <a:pt x="3875554" y="1836463"/>
                  <a:pt x="3875554" y="1833898"/>
                  <a:pt x="3875554" y="1831334"/>
                </a:cubicBezTo>
                <a:cubicBezTo>
                  <a:pt x="3875554" y="1831334"/>
                  <a:pt x="3878119" y="1833898"/>
                  <a:pt x="3878119" y="1833898"/>
                </a:cubicBezTo>
                <a:cubicBezTo>
                  <a:pt x="3880684" y="1831334"/>
                  <a:pt x="3880684" y="1831334"/>
                  <a:pt x="3883249" y="1828769"/>
                </a:cubicBezTo>
                <a:cubicBezTo>
                  <a:pt x="3890944" y="1823639"/>
                  <a:pt x="3896073" y="1818510"/>
                  <a:pt x="3901203" y="1813380"/>
                </a:cubicBezTo>
                <a:cubicBezTo>
                  <a:pt x="3901203" y="1813380"/>
                  <a:pt x="3898638" y="1813380"/>
                  <a:pt x="3898638" y="1813380"/>
                </a:cubicBezTo>
                <a:cubicBezTo>
                  <a:pt x="3901203" y="1787730"/>
                  <a:pt x="3896073" y="1777471"/>
                  <a:pt x="3898638" y="1751823"/>
                </a:cubicBezTo>
                <a:cubicBezTo>
                  <a:pt x="3896073" y="1749258"/>
                  <a:pt x="3896073" y="1746693"/>
                  <a:pt x="3893508" y="1746693"/>
                </a:cubicBezTo>
                <a:close/>
                <a:moveTo>
                  <a:pt x="3870425" y="1733896"/>
                </a:moveTo>
                <a:cubicBezTo>
                  <a:pt x="3883249" y="1733896"/>
                  <a:pt x="3875554" y="1739026"/>
                  <a:pt x="3875554" y="1749286"/>
                </a:cubicBezTo>
                <a:cubicBezTo>
                  <a:pt x="3872989" y="1746721"/>
                  <a:pt x="3870425" y="1741591"/>
                  <a:pt x="3870425" y="1733896"/>
                </a:cubicBezTo>
                <a:close/>
                <a:moveTo>
                  <a:pt x="5083620" y="1723636"/>
                </a:moveTo>
                <a:cubicBezTo>
                  <a:pt x="5088749" y="1736461"/>
                  <a:pt x="5070795" y="1723636"/>
                  <a:pt x="5068230" y="1731331"/>
                </a:cubicBezTo>
                <a:cubicBezTo>
                  <a:pt x="5063100" y="1723636"/>
                  <a:pt x="5073360" y="1726201"/>
                  <a:pt x="5083620" y="1723636"/>
                </a:cubicBezTo>
                <a:close/>
                <a:moveTo>
                  <a:pt x="2726482" y="1721044"/>
                </a:moveTo>
                <a:cubicBezTo>
                  <a:pt x="2718787" y="1746693"/>
                  <a:pt x="2705963" y="1767212"/>
                  <a:pt x="2688009" y="1769777"/>
                </a:cubicBezTo>
                <a:cubicBezTo>
                  <a:pt x="2705963" y="1810815"/>
                  <a:pt x="2721352" y="1851852"/>
                  <a:pt x="2739307" y="1892891"/>
                </a:cubicBezTo>
                <a:cubicBezTo>
                  <a:pt x="2744436" y="1890326"/>
                  <a:pt x="2749566" y="1890326"/>
                  <a:pt x="2754696" y="1898020"/>
                </a:cubicBezTo>
                <a:cubicBezTo>
                  <a:pt x="2767520" y="1869807"/>
                  <a:pt x="2726482" y="1851852"/>
                  <a:pt x="2721352" y="1821075"/>
                </a:cubicBezTo>
                <a:cubicBezTo>
                  <a:pt x="2718787" y="1792861"/>
                  <a:pt x="2718787" y="1762082"/>
                  <a:pt x="2739307" y="1741563"/>
                </a:cubicBezTo>
                <a:cubicBezTo>
                  <a:pt x="2734177" y="1736433"/>
                  <a:pt x="2729048" y="1731303"/>
                  <a:pt x="2726482" y="1721044"/>
                </a:cubicBezTo>
                <a:close/>
                <a:moveTo>
                  <a:pt x="3075308" y="1715914"/>
                </a:moveTo>
                <a:cubicBezTo>
                  <a:pt x="3067614" y="1733868"/>
                  <a:pt x="3057353" y="1754387"/>
                  <a:pt x="3049659" y="1772342"/>
                </a:cubicBezTo>
                <a:cubicBezTo>
                  <a:pt x="3044529" y="1782601"/>
                  <a:pt x="3039399" y="1795426"/>
                  <a:pt x="3034269" y="1808250"/>
                </a:cubicBezTo>
                <a:cubicBezTo>
                  <a:pt x="3044529" y="1810815"/>
                  <a:pt x="3052224" y="1813380"/>
                  <a:pt x="3062483" y="1815944"/>
                </a:cubicBezTo>
                <a:cubicBezTo>
                  <a:pt x="3065048" y="1782601"/>
                  <a:pt x="3070178" y="1749258"/>
                  <a:pt x="3075308" y="1715914"/>
                </a:cubicBezTo>
                <a:close/>
                <a:moveTo>
                  <a:pt x="2929109" y="1710784"/>
                </a:moveTo>
                <a:cubicBezTo>
                  <a:pt x="2926544" y="1721044"/>
                  <a:pt x="2926544" y="1728738"/>
                  <a:pt x="2926544" y="1738998"/>
                </a:cubicBezTo>
                <a:cubicBezTo>
                  <a:pt x="2926544" y="1738998"/>
                  <a:pt x="2929109" y="1738998"/>
                  <a:pt x="2929109" y="1738998"/>
                </a:cubicBezTo>
                <a:cubicBezTo>
                  <a:pt x="2929109" y="1728738"/>
                  <a:pt x="2929109" y="1721044"/>
                  <a:pt x="2929109" y="1710784"/>
                </a:cubicBezTo>
                <a:close/>
                <a:moveTo>
                  <a:pt x="5078489" y="1700553"/>
                </a:moveTo>
                <a:cubicBezTo>
                  <a:pt x="5086183" y="1700553"/>
                  <a:pt x="5093878" y="1700553"/>
                  <a:pt x="5093878" y="1708247"/>
                </a:cubicBezTo>
                <a:cubicBezTo>
                  <a:pt x="5086183" y="1708247"/>
                  <a:pt x="5078489" y="1708247"/>
                  <a:pt x="5078489" y="1700553"/>
                </a:cubicBezTo>
                <a:close/>
                <a:moveTo>
                  <a:pt x="4052889" y="1700334"/>
                </a:moveTo>
                <a:lnTo>
                  <a:pt x="4050063" y="1711991"/>
                </a:lnTo>
                <a:lnTo>
                  <a:pt x="4051250" y="1704693"/>
                </a:lnTo>
                <a:close/>
                <a:moveTo>
                  <a:pt x="5119528" y="1697989"/>
                </a:moveTo>
                <a:cubicBezTo>
                  <a:pt x="5119528" y="1708247"/>
                  <a:pt x="5106703" y="1710813"/>
                  <a:pt x="5096444" y="1713378"/>
                </a:cubicBezTo>
                <a:cubicBezTo>
                  <a:pt x="5096444" y="1703117"/>
                  <a:pt x="5119528" y="1705682"/>
                  <a:pt x="5111833" y="1700553"/>
                </a:cubicBezTo>
                <a:cubicBezTo>
                  <a:pt x="5111833" y="1697989"/>
                  <a:pt x="5116963" y="1697989"/>
                  <a:pt x="5119528" y="1697989"/>
                </a:cubicBezTo>
                <a:close/>
                <a:moveTo>
                  <a:pt x="3352317" y="1696066"/>
                </a:moveTo>
                <a:cubicBezTo>
                  <a:pt x="3353600" y="1696066"/>
                  <a:pt x="3354881" y="1696707"/>
                  <a:pt x="3354881" y="1697989"/>
                </a:cubicBezTo>
                <a:cubicBezTo>
                  <a:pt x="3352317" y="1700553"/>
                  <a:pt x="3352317" y="1697989"/>
                  <a:pt x="3349752" y="1697989"/>
                </a:cubicBezTo>
                <a:cubicBezTo>
                  <a:pt x="3349752" y="1696707"/>
                  <a:pt x="3351035" y="1696066"/>
                  <a:pt x="3352317" y="1696066"/>
                </a:cubicBezTo>
                <a:close/>
                <a:moveTo>
                  <a:pt x="4728702" y="1695745"/>
                </a:moveTo>
                <a:cubicBezTo>
                  <a:pt x="4730946" y="1697348"/>
                  <a:pt x="4732228" y="1700554"/>
                  <a:pt x="4729663" y="1703119"/>
                </a:cubicBezTo>
                <a:cubicBezTo>
                  <a:pt x="4727098" y="1703119"/>
                  <a:pt x="4727098" y="1697989"/>
                  <a:pt x="4721969" y="1697989"/>
                </a:cubicBezTo>
                <a:cubicBezTo>
                  <a:pt x="4723252" y="1694142"/>
                  <a:pt x="4726458" y="1694142"/>
                  <a:pt x="4728702" y="1695745"/>
                </a:cubicBezTo>
                <a:close/>
                <a:moveTo>
                  <a:pt x="4149998" y="1692830"/>
                </a:moveTo>
                <a:cubicBezTo>
                  <a:pt x="4134609" y="1710784"/>
                  <a:pt x="4116654" y="1723609"/>
                  <a:pt x="4098700" y="1736433"/>
                </a:cubicBezTo>
                <a:cubicBezTo>
                  <a:pt x="4088440" y="1744128"/>
                  <a:pt x="4075616" y="1749258"/>
                  <a:pt x="4065356" y="1754387"/>
                </a:cubicBezTo>
                <a:cubicBezTo>
                  <a:pt x="4060226" y="1767212"/>
                  <a:pt x="4052532" y="1782601"/>
                  <a:pt x="4047402" y="1795426"/>
                </a:cubicBezTo>
                <a:cubicBezTo>
                  <a:pt x="4049967" y="1828769"/>
                  <a:pt x="4055097" y="1862112"/>
                  <a:pt x="4057662" y="1898020"/>
                </a:cubicBezTo>
                <a:cubicBezTo>
                  <a:pt x="4057662" y="1900585"/>
                  <a:pt x="4057662" y="1900585"/>
                  <a:pt x="4057662" y="1903150"/>
                </a:cubicBezTo>
                <a:cubicBezTo>
                  <a:pt x="4073051" y="1880066"/>
                  <a:pt x="4088440" y="1856982"/>
                  <a:pt x="4101265" y="1828769"/>
                </a:cubicBezTo>
                <a:cubicBezTo>
                  <a:pt x="4121784" y="1785166"/>
                  <a:pt x="4137173" y="1738998"/>
                  <a:pt x="4149998" y="1692830"/>
                </a:cubicBezTo>
                <a:close/>
                <a:moveTo>
                  <a:pt x="3859725" y="1683710"/>
                </a:moveTo>
                <a:cubicBezTo>
                  <a:pt x="3858883" y="1684192"/>
                  <a:pt x="3845417" y="1689001"/>
                  <a:pt x="3855035" y="1685153"/>
                </a:cubicBezTo>
                <a:cubicBezTo>
                  <a:pt x="3858883" y="1683872"/>
                  <a:pt x="3860005" y="1683551"/>
                  <a:pt x="3859725" y="1683710"/>
                </a:cubicBezTo>
                <a:close/>
                <a:moveTo>
                  <a:pt x="5163131" y="1677470"/>
                </a:moveTo>
                <a:cubicBezTo>
                  <a:pt x="5168260" y="1680035"/>
                  <a:pt x="5168260" y="1682600"/>
                  <a:pt x="5168260" y="1690295"/>
                </a:cubicBezTo>
                <a:cubicBezTo>
                  <a:pt x="5165696" y="1690295"/>
                  <a:pt x="5163131" y="1690295"/>
                  <a:pt x="5160566" y="1690295"/>
                </a:cubicBezTo>
                <a:cubicBezTo>
                  <a:pt x="5158001" y="1685163"/>
                  <a:pt x="5163131" y="1682600"/>
                  <a:pt x="5163131" y="1677470"/>
                </a:cubicBezTo>
                <a:close/>
                <a:moveTo>
                  <a:pt x="3365141" y="1674906"/>
                </a:moveTo>
                <a:cubicBezTo>
                  <a:pt x="3380531" y="1674906"/>
                  <a:pt x="3365141" y="1690296"/>
                  <a:pt x="3365141" y="1674906"/>
                </a:cubicBezTo>
                <a:close/>
                <a:moveTo>
                  <a:pt x="4755312" y="1659516"/>
                </a:moveTo>
                <a:cubicBezTo>
                  <a:pt x="4760442" y="1656950"/>
                  <a:pt x="4760442" y="1664646"/>
                  <a:pt x="4763007" y="1664646"/>
                </a:cubicBezTo>
                <a:cubicBezTo>
                  <a:pt x="4763007" y="1672340"/>
                  <a:pt x="4752747" y="1664646"/>
                  <a:pt x="4755312" y="1659516"/>
                </a:cubicBezTo>
                <a:close/>
                <a:moveTo>
                  <a:pt x="4769901" y="1654787"/>
                </a:moveTo>
                <a:cubicBezTo>
                  <a:pt x="4772786" y="1656952"/>
                  <a:pt x="4771344" y="1668494"/>
                  <a:pt x="4765573" y="1656951"/>
                </a:cubicBezTo>
                <a:cubicBezTo>
                  <a:pt x="4767497" y="1654386"/>
                  <a:pt x="4768939" y="1654065"/>
                  <a:pt x="4769901" y="1654787"/>
                </a:cubicBezTo>
                <a:close/>
                <a:moveTo>
                  <a:pt x="6296813" y="1654385"/>
                </a:moveTo>
                <a:cubicBezTo>
                  <a:pt x="6301943" y="1651820"/>
                  <a:pt x="6301943" y="1669776"/>
                  <a:pt x="6294249" y="1667211"/>
                </a:cubicBezTo>
                <a:cubicBezTo>
                  <a:pt x="6294249" y="1659515"/>
                  <a:pt x="6296813" y="1659515"/>
                  <a:pt x="6296813" y="1654385"/>
                </a:cubicBezTo>
                <a:close/>
                <a:moveTo>
                  <a:pt x="5260597" y="1644115"/>
                </a:moveTo>
                <a:cubicBezTo>
                  <a:pt x="5265727" y="1649244"/>
                  <a:pt x="5268292" y="1672329"/>
                  <a:pt x="5258032" y="1687718"/>
                </a:cubicBezTo>
                <a:cubicBezTo>
                  <a:pt x="5247772" y="1690283"/>
                  <a:pt x="5242643" y="1687718"/>
                  <a:pt x="5237513" y="1690283"/>
                </a:cubicBezTo>
                <a:cubicBezTo>
                  <a:pt x="5227253" y="1674893"/>
                  <a:pt x="5237513" y="1664634"/>
                  <a:pt x="5240078" y="1649244"/>
                </a:cubicBezTo>
                <a:cubicBezTo>
                  <a:pt x="5250338" y="1644115"/>
                  <a:pt x="5258032" y="1656939"/>
                  <a:pt x="5260597" y="1644115"/>
                </a:cubicBezTo>
                <a:close/>
                <a:moveTo>
                  <a:pt x="3121476" y="1631273"/>
                </a:moveTo>
                <a:cubicBezTo>
                  <a:pt x="3113781" y="1644097"/>
                  <a:pt x="3108652" y="1654357"/>
                  <a:pt x="3103521" y="1664616"/>
                </a:cubicBezTo>
                <a:cubicBezTo>
                  <a:pt x="3093262" y="1721044"/>
                  <a:pt x="3085567" y="1774907"/>
                  <a:pt x="3080437" y="1828769"/>
                </a:cubicBezTo>
                <a:cubicBezTo>
                  <a:pt x="3088132" y="1839029"/>
                  <a:pt x="3093262" y="1851852"/>
                  <a:pt x="3093262" y="1869807"/>
                </a:cubicBezTo>
                <a:cubicBezTo>
                  <a:pt x="3098393" y="1874936"/>
                  <a:pt x="3106086" y="1877501"/>
                  <a:pt x="3111216" y="1882631"/>
                </a:cubicBezTo>
                <a:cubicBezTo>
                  <a:pt x="3113781" y="1872371"/>
                  <a:pt x="3116346" y="1862112"/>
                  <a:pt x="3121476" y="1849289"/>
                </a:cubicBezTo>
                <a:cubicBezTo>
                  <a:pt x="3126605" y="1823639"/>
                  <a:pt x="3134300" y="1797991"/>
                  <a:pt x="3139430" y="1772342"/>
                </a:cubicBezTo>
                <a:cubicBezTo>
                  <a:pt x="3139430" y="1772342"/>
                  <a:pt x="3139430" y="1769777"/>
                  <a:pt x="3139430" y="1769777"/>
                </a:cubicBezTo>
                <a:cubicBezTo>
                  <a:pt x="3126605" y="1733868"/>
                  <a:pt x="3121476" y="1687700"/>
                  <a:pt x="3121476" y="1641532"/>
                </a:cubicBezTo>
                <a:cubicBezTo>
                  <a:pt x="3121476" y="1638967"/>
                  <a:pt x="3121476" y="1633837"/>
                  <a:pt x="3121476" y="1631273"/>
                </a:cubicBezTo>
                <a:close/>
                <a:moveTo>
                  <a:pt x="1292706" y="1623578"/>
                </a:moveTo>
                <a:cubicBezTo>
                  <a:pt x="1287576" y="1638967"/>
                  <a:pt x="1308095" y="1631273"/>
                  <a:pt x="1313225" y="1638967"/>
                </a:cubicBezTo>
                <a:cubicBezTo>
                  <a:pt x="1318355" y="1623578"/>
                  <a:pt x="1295271" y="1633837"/>
                  <a:pt x="1292706" y="1623578"/>
                </a:cubicBezTo>
                <a:close/>
                <a:moveTo>
                  <a:pt x="5237512" y="1618477"/>
                </a:moveTo>
                <a:cubicBezTo>
                  <a:pt x="5232382" y="1623607"/>
                  <a:pt x="5234947" y="1636433"/>
                  <a:pt x="5224688" y="1633868"/>
                </a:cubicBezTo>
                <a:cubicBezTo>
                  <a:pt x="5216993" y="1626172"/>
                  <a:pt x="5222123" y="1615913"/>
                  <a:pt x="5237512" y="1618477"/>
                </a:cubicBezTo>
                <a:close/>
                <a:moveTo>
                  <a:pt x="5177879" y="1610463"/>
                </a:moveTo>
                <a:cubicBezTo>
                  <a:pt x="5179162" y="1610142"/>
                  <a:pt x="5181085" y="1610783"/>
                  <a:pt x="5183650" y="1613348"/>
                </a:cubicBezTo>
                <a:cubicBezTo>
                  <a:pt x="5175956" y="1621043"/>
                  <a:pt x="5174032" y="1611425"/>
                  <a:pt x="5177879" y="1610463"/>
                </a:cubicBezTo>
                <a:close/>
                <a:moveTo>
                  <a:pt x="5899255" y="1608859"/>
                </a:moveTo>
                <a:cubicBezTo>
                  <a:pt x="5900538" y="1608859"/>
                  <a:pt x="5901820" y="1609501"/>
                  <a:pt x="5901820" y="1610783"/>
                </a:cubicBezTo>
                <a:cubicBezTo>
                  <a:pt x="5899255" y="1613348"/>
                  <a:pt x="5899255" y="1610783"/>
                  <a:pt x="5896691" y="1610783"/>
                </a:cubicBezTo>
                <a:cubicBezTo>
                  <a:pt x="5896691" y="1609501"/>
                  <a:pt x="5897973" y="1608859"/>
                  <a:pt x="5899255" y="1608859"/>
                </a:cubicBezTo>
                <a:close/>
                <a:moveTo>
                  <a:pt x="1275313" y="1597809"/>
                </a:moveTo>
                <a:cubicBezTo>
                  <a:pt x="1273470" y="1598249"/>
                  <a:pt x="1272187" y="1599853"/>
                  <a:pt x="1272187" y="1603059"/>
                </a:cubicBezTo>
                <a:cubicBezTo>
                  <a:pt x="1279881" y="1603059"/>
                  <a:pt x="1274752" y="1615883"/>
                  <a:pt x="1287576" y="1613318"/>
                </a:cubicBezTo>
                <a:cubicBezTo>
                  <a:pt x="1291424" y="1605624"/>
                  <a:pt x="1280844" y="1596486"/>
                  <a:pt x="1275313" y="1597809"/>
                </a:cubicBezTo>
                <a:close/>
                <a:moveTo>
                  <a:pt x="5332414" y="1592817"/>
                </a:moveTo>
                <a:cubicBezTo>
                  <a:pt x="5329849" y="1597947"/>
                  <a:pt x="5322154" y="1597947"/>
                  <a:pt x="5317024" y="1600513"/>
                </a:cubicBezTo>
                <a:cubicBezTo>
                  <a:pt x="5311894" y="1600513"/>
                  <a:pt x="5322154" y="1590252"/>
                  <a:pt x="5332414" y="1592817"/>
                </a:cubicBezTo>
                <a:close/>
                <a:moveTo>
                  <a:pt x="2998361" y="1592799"/>
                </a:moveTo>
                <a:cubicBezTo>
                  <a:pt x="2993231" y="1610753"/>
                  <a:pt x="2982972" y="1628708"/>
                  <a:pt x="2967582" y="1641532"/>
                </a:cubicBezTo>
                <a:cubicBezTo>
                  <a:pt x="2957322" y="1636402"/>
                  <a:pt x="2947063" y="1646662"/>
                  <a:pt x="2939368" y="1664616"/>
                </a:cubicBezTo>
                <a:cubicBezTo>
                  <a:pt x="2936803" y="1690265"/>
                  <a:pt x="2936803" y="1713349"/>
                  <a:pt x="2936803" y="1738998"/>
                </a:cubicBezTo>
                <a:cubicBezTo>
                  <a:pt x="2947063" y="1741563"/>
                  <a:pt x="2957322" y="1744128"/>
                  <a:pt x="2967582" y="1746693"/>
                </a:cubicBezTo>
                <a:cubicBezTo>
                  <a:pt x="2970147" y="1731303"/>
                  <a:pt x="2972713" y="1715914"/>
                  <a:pt x="2975277" y="1700525"/>
                </a:cubicBezTo>
                <a:cubicBezTo>
                  <a:pt x="2982972" y="1664616"/>
                  <a:pt x="2990666" y="1628708"/>
                  <a:pt x="2998361" y="1592799"/>
                </a:cubicBezTo>
                <a:close/>
                <a:moveTo>
                  <a:pt x="3867860" y="1587701"/>
                </a:moveTo>
                <a:cubicBezTo>
                  <a:pt x="3872989" y="1585135"/>
                  <a:pt x="3872989" y="1590266"/>
                  <a:pt x="3872989" y="1592831"/>
                </a:cubicBezTo>
                <a:cubicBezTo>
                  <a:pt x="3870425" y="1592831"/>
                  <a:pt x="3870425" y="1592831"/>
                  <a:pt x="3870425" y="1595395"/>
                </a:cubicBezTo>
                <a:cubicBezTo>
                  <a:pt x="3867860" y="1595395"/>
                  <a:pt x="3867860" y="1590266"/>
                  <a:pt x="3867860" y="1587701"/>
                </a:cubicBezTo>
                <a:close/>
                <a:moveTo>
                  <a:pt x="4842519" y="1587700"/>
                </a:moveTo>
                <a:cubicBezTo>
                  <a:pt x="4842519" y="1605654"/>
                  <a:pt x="4834824" y="1605654"/>
                  <a:pt x="4824565" y="1600524"/>
                </a:cubicBezTo>
                <a:cubicBezTo>
                  <a:pt x="4827130" y="1595394"/>
                  <a:pt x="4829694" y="1587700"/>
                  <a:pt x="4842519" y="1587700"/>
                </a:cubicBezTo>
                <a:close/>
                <a:moveTo>
                  <a:pt x="5659197" y="1580808"/>
                </a:moveTo>
                <a:cubicBezTo>
                  <a:pt x="5660880" y="1580808"/>
                  <a:pt x="5657514" y="1590907"/>
                  <a:pt x="5655590" y="1585136"/>
                </a:cubicBezTo>
                <a:cubicBezTo>
                  <a:pt x="5657514" y="1581930"/>
                  <a:pt x="5658636" y="1580808"/>
                  <a:pt x="5659197" y="1580808"/>
                </a:cubicBezTo>
                <a:close/>
                <a:moveTo>
                  <a:pt x="5132993" y="1578723"/>
                </a:moveTo>
                <a:cubicBezTo>
                  <a:pt x="5137482" y="1578082"/>
                  <a:pt x="5141330" y="1580006"/>
                  <a:pt x="5140047" y="1587700"/>
                </a:cubicBezTo>
                <a:cubicBezTo>
                  <a:pt x="5134917" y="1585136"/>
                  <a:pt x="5129787" y="1585136"/>
                  <a:pt x="5122093" y="1585136"/>
                </a:cubicBezTo>
                <a:cubicBezTo>
                  <a:pt x="5123375" y="1582571"/>
                  <a:pt x="5128505" y="1579365"/>
                  <a:pt x="5132993" y="1578723"/>
                </a:cubicBezTo>
                <a:close/>
                <a:moveTo>
                  <a:pt x="4845084" y="1577441"/>
                </a:moveTo>
                <a:cubicBezTo>
                  <a:pt x="4847648" y="1577441"/>
                  <a:pt x="4850213" y="1577441"/>
                  <a:pt x="4852779" y="1577441"/>
                </a:cubicBezTo>
                <a:cubicBezTo>
                  <a:pt x="4850213" y="1582571"/>
                  <a:pt x="4850213" y="1587700"/>
                  <a:pt x="4842519" y="1585135"/>
                </a:cubicBezTo>
                <a:cubicBezTo>
                  <a:pt x="4842519" y="1582571"/>
                  <a:pt x="4845084" y="1582571"/>
                  <a:pt x="4845084" y="1577441"/>
                </a:cubicBezTo>
                <a:close/>
                <a:moveTo>
                  <a:pt x="2908591" y="1572318"/>
                </a:moveTo>
                <a:cubicBezTo>
                  <a:pt x="2913719" y="1569753"/>
                  <a:pt x="2913719" y="1585144"/>
                  <a:pt x="2906025" y="1582579"/>
                </a:cubicBezTo>
                <a:cubicBezTo>
                  <a:pt x="2906025" y="1577449"/>
                  <a:pt x="2908591" y="1577449"/>
                  <a:pt x="2908591" y="1572318"/>
                </a:cubicBezTo>
                <a:close/>
                <a:moveTo>
                  <a:pt x="5229818" y="1564617"/>
                </a:moveTo>
                <a:cubicBezTo>
                  <a:pt x="5234947" y="1564617"/>
                  <a:pt x="5237512" y="1564617"/>
                  <a:pt x="5242642" y="1564617"/>
                </a:cubicBezTo>
                <a:cubicBezTo>
                  <a:pt x="5242642" y="1572311"/>
                  <a:pt x="5242642" y="1577441"/>
                  <a:pt x="5240077" y="1580006"/>
                </a:cubicBezTo>
                <a:cubicBezTo>
                  <a:pt x="5232382" y="1582571"/>
                  <a:pt x="5232382" y="1574876"/>
                  <a:pt x="5229818" y="1564617"/>
                </a:cubicBezTo>
                <a:close/>
                <a:moveTo>
                  <a:pt x="5266688" y="1558846"/>
                </a:moveTo>
                <a:cubicBezTo>
                  <a:pt x="5268932" y="1559487"/>
                  <a:pt x="5270856" y="1560770"/>
                  <a:pt x="5275986" y="1562052"/>
                </a:cubicBezTo>
                <a:cubicBezTo>
                  <a:pt x="5278551" y="1572312"/>
                  <a:pt x="5273421" y="1577442"/>
                  <a:pt x="5268291" y="1585136"/>
                </a:cubicBezTo>
                <a:cubicBezTo>
                  <a:pt x="5265726" y="1582571"/>
                  <a:pt x="5260597" y="1580006"/>
                  <a:pt x="5260597" y="1585136"/>
                </a:cubicBezTo>
                <a:cubicBezTo>
                  <a:pt x="5250337" y="1577442"/>
                  <a:pt x="5252902" y="1569747"/>
                  <a:pt x="5255467" y="1559487"/>
                </a:cubicBezTo>
                <a:cubicBezTo>
                  <a:pt x="5261879" y="1558205"/>
                  <a:pt x="5264444" y="1558205"/>
                  <a:pt x="5266688" y="1558846"/>
                </a:cubicBezTo>
                <a:close/>
                <a:moveTo>
                  <a:pt x="3124040" y="1554326"/>
                </a:moveTo>
                <a:cubicBezTo>
                  <a:pt x="3118911" y="1582540"/>
                  <a:pt x="3111216" y="1610753"/>
                  <a:pt x="3106086" y="1636402"/>
                </a:cubicBezTo>
                <a:cubicBezTo>
                  <a:pt x="3111216" y="1628708"/>
                  <a:pt x="3113781" y="1621013"/>
                  <a:pt x="3118911" y="1613318"/>
                </a:cubicBezTo>
                <a:cubicBezTo>
                  <a:pt x="3121476" y="1595364"/>
                  <a:pt x="3121476" y="1574845"/>
                  <a:pt x="3124040" y="1554326"/>
                </a:cubicBezTo>
                <a:close/>
                <a:moveTo>
                  <a:pt x="3878120" y="1551771"/>
                </a:moveTo>
                <a:cubicBezTo>
                  <a:pt x="3890945" y="1556901"/>
                  <a:pt x="3878120" y="1569725"/>
                  <a:pt x="3880684" y="1579984"/>
                </a:cubicBezTo>
                <a:cubicBezTo>
                  <a:pt x="3875555" y="1572290"/>
                  <a:pt x="3875555" y="1556901"/>
                  <a:pt x="3878120" y="1551771"/>
                </a:cubicBezTo>
                <a:close/>
                <a:moveTo>
                  <a:pt x="6532142" y="1546984"/>
                </a:moveTo>
                <a:cubicBezTo>
                  <a:pt x="6534707" y="1546022"/>
                  <a:pt x="6537913" y="1546663"/>
                  <a:pt x="6540478" y="1549228"/>
                </a:cubicBezTo>
                <a:cubicBezTo>
                  <a:pt x="6537914" y="1554358"/>
                  <a:pt x="6535348" y="1554358"/>
                  <a:pt x="6527653" y="1554358"/>
                </a:cubicBezTo>
                <a:cubicBezTo>
                  <a:pt x="6527653" y="1550511"/>
                  <a:pt x="6529577" y="1547946"/>
                  <a:pt x="6532142" y="1546984"/>
                </a:cubicBezTo>
                <a:close/>
                <a:moveTo>
                  <a:pt x="4932291" y="1541534"/>
                </a:moveTo>
                <a:cubicBezTo>
                  <a:pt x="4942550" y="1544099"/>
                  <a:pt x="4932291" y="1546664"/>
                  <a:pt x="4934856" y="1559488"/>
                </a:cubicBezTo>
                <a:cubicBezTo>
                  <a:pt x="4932291" y="1554358"/>
                  <a:pt x="4927161" y="1546664"/>
                  <a:pt x="4932291" y="1541534"/>
                </a:cubicBezTo>
                <a:close/>
                <a:moveTo>
                  <a:pt x="3924648" y="1536021"/>
                </a:moveTo>
                <a:cubicBezTo>
                  <a:pt x="3923806" y="1539749"/>
                  <a:pt x="3920439" y="1551772"/>
                  <a:pt x="3924287" y="1536381"/>
                </a:cubicBezTo>
                <a:cubicBezTo>
                  <a:pt x="3924929" y="1534458"/>
                  <a:pt x="3924928" y="1534779"/>
                  <a:pt x="3924648" y="1536021"/>
                </a:cubicBezTo>
                <a:close/>
                <a:moveTo>
                  <a:pt x="4065997" y="1535741"/>
                </a:moveTo>
                <a:cubicBezTo>
                  <a:pt x="4068562" y="1538305"/>
                  <a:pt x="4070486" y="1542794"/>
                  <a:pt x="4070486" y="1546641"/>
                </a:cubicBezTo>
                <a:cubicBezTo>
                  <a:pt x="4065356" y="1546641"/>
                  <a:pt x="4062791" y="1538947"/>
                  <a:pt x="4057662" y="1536382"/>
                </a:cubicBezTo>
                <a:cubicBezTo>
                  <a:pt x="4060226" y="1532534"/>
                  <a:pt x="4063432" y="1533175"/>
                  <a:pt x="4065997" y="1535741"/>
                </a:cubicBezTo>
                <a:close/>
                <a:moveTo>
                  <a:pt x="4960505" y="1533839"/>
                </a:moveTo>
                <a:cubicBezTo>
                  <a:pt x="4965634" y="1533839"/>
                  <a:pt x="4965634" y="1549229"/>
                  <a:pt x="4957940" y="1541534"/>
                </a:cubicBezTo>
                <a:cubicBezTo>
                  <a:pt x="4957940" y="1541534"/>
                  <a:pt x="4957940" y="1538969"/>
                  <a:pt x="4957940" y="1536404"/>
                </a:cubicBezTo>
                <a:cubicBezTo>
                  <a:pt x="4960505" y="1536404"/>
                  <a:pt x="4960505" y="1536404"/>
                  <a:pt x="4960505" y="1533839"/>
                </a:cubicBezTo>
                <a:close/>
                <a:moveTo>
                  <a:pt x="4791341" y="1528749"/>
                </a:moveTo>
                <a:cubicBezTo>
                  <a:pt x="4797473" y="1533678"/>
                  <a:pt x="4798916" y="1556282"/>
                  <a:pt x="4798916" y="1554358"/>
                </a:cubicBezTo>
                <a:cubicBezTo>
                  <a:pt x="4798916" y="1603091"/>
                  <a:pt x="4788657" y="1538969"/>
                  <a:pt x="4783527" y="1531274"/>
                </a:cubicBezTo>
                <a:cubicBezTo>
                  <a:pt x="4786733" y="1527427"/>
                  <a:pt x="4789298" y="1527106"/>
                  <a:pt x="4791341" y="1528749"/>
                </a:cubicBezTo>
                <a:close/>
                <a:moveTo>
                  <a:pt x="6625120" y="1528709"/>
                </a:moveTo>
                <a:cubicBezTo>
                  <a:pt x="6625120" y="1528709"/>
                  <a:pt x="6627684" y="1528709"/>
                  <a:pt x="6630249" y="1528709"/>
                </a:cubicBezTo>
                <a:cubicBezTo>
                  <a:pt x="6630249" y="1531275"/>
                  <a:pt x="6627684" y="1533840"/>
                  <a:pt x="6627684" y="1536404"/>
                </a:cubicBezTo>
                <a:cubicBezTo>
                  <a:pt x="6625120" y="1536404"/>
                  <a:pt x="6625120" y="1536404"/>
                  <a:pt x="6622555" y="1536404"/>
                </a:cubicBezTo>
                <a:cubicBezTo>
                  <a:pt x="6622555" y="1533840"/>
                  <a:pt x="6625120" y="1531275"/>
                  <a:pt x="6625120" y="1528709"/>
                </a:cubicBezTo>
                <a:close/>
                <a:moveTo>
                  <a:pt x="4191036" y="1526112"/>
                </a:moveTo>
                <a:cubicBezTo>
                  <a:pt x="4173082" y="1538935"/>
                  <a:pt x="4157692" y="1551761"/>
                  <a:pt x="4142303" y="1567150"/>
                </a:cubicBezTo>
                <a:cubicBezTo>
                  <a:pt x="4119219" y="1621013"/>
                  <a:pt x="4096135" y="1677441"/>
                  <a:pt x="4073051" y="1731303"/>
                </a:cubicBezTo>
                <a:cubicBezTo>
                  <a:pt x="4080746" y="1726174"/>
                  <a:pt x="4088440" y="1723609"/>
                  <a:pt x="4096135" y="1718479"/>
                </a:cubicBezTo>
                <a:cubicBezTo>
                  <a:pt x="4116654" y="1705654"/>
                  <a:pt x="4137173" y="1687700"/>
                  <a:pt x="4157692" y="1667181"/>
                </a:cubicBezTo>
                <a:cubicBezTo>
                  <a:pt x="4170517" y="1621013"/>
                  <a:pt x="4180776" y="1572280"/>
                  <a:pt x="4191036" y="1526112"/>
                </a:cubicBezTo>
                <a:close/>
                <a:moveTo>
                  <a:pt x="3170209" y="1526112"/>
                </a:moveTo>
                <a:cubicBezTo>
                  <a:pt x="3157384" y="1556891"/>
                  <a:pt x="3141995" y="1585104"/>
                  <a:pt x="3126605" y="1613318"/>
                </a:cubicBezTo>
                <a:cubicBezTo>
                  <a:pt x="3126605" y="1623578"/>
                  <a:pt x="3126605" y="1631273"/>
                  <a:pt x="3126605" y="1638967"/>
                </a:cubicBezTo>
                <a:cubicBezTo>
                  <a:pt x="3126605" y="1680005"/>
                  <a:pt x="3131736" y="1718479"/>
                  <a:pt x="3141995" y="1751823"/>
                </a:cubicBezTo>
                <a:cubicBezTo>
                  <a:pt x="3152254" y="1713349"/>
                  <a:pt x="3159949" y="1674876"/>
                  <a:pt x="3165079" y="1636402"/>
                </a:cubicBezTo>
                <a:cubicBezTo>
                  <a:pt x="3159949" y="1636402"/>
                  <a:pt x="3154819" y="1636402"/>
                  <a:pt x="3149689" y="1631273"/>
                </a:cubicBezTo>
                <a:cubicBezTo>
                  <a:pt x="3154819" y="1623578"/>
                  <a:pt x="3154819" y="1623578"/>
                  <a:pt x="3154819" y="1608189"/>
                </a:cubicBezTo>
                <a:cubicBezTo>
                  <a:pt x="3159949" y="1610753"/>
                  <a:pt x="3165079" y="1608189"/>
                  <a:pt x="3167644" y="1608189"/>
                </a:cubicBezTo>
                <a:cubicBezTo>
                  <a:pt x="3170209" y="1582540"/>
                  <a:pt x="3172774" y="1554326"/>
                  <a:pt x="3170209" y="1526112"/>
                </a:cubicBezTo>
                <a:close/>
                <a:moveTo>
                  <a:pt x="3957631" y="1520993"/>
                </a:moveTo>
                <a:cubicBezTo>
                  <a:pt x="3962760" y="1518427"/>
                  <a:pt x="3960196" y="1528688"/>
                  <a:pt x="3962760" y="1531252"/>
                </a:cubicBezTo>
                <a:cubicBezTo>
                  <a:pt x="3957631" y="1531252"/>
                  <a:pt x="3957631" y="1526123"/>
                  <a:pt x="3957631" y="1520993"/>
                </a:cubicBezTo>
                <a:close/>
                <a:moveTo>
                  <a:pt x="4937420" y="1505626"/>
                </a:moveTo>
                <a:cubicBezTo>
                  <a:pt x="4937420" y="1510755"/>
                  <a:pt x="4939985" y="1518450"/>
                  <a:pt x="4934855" y="1518450"/>
                </a:cubicBezTo>
                <a:cubicBezTo>
                  <a:pt x="4932290" y="1518450"/>
                  <a:pt x="4929726" y="1518450"/>
                  <a:pt x="4929726" y="1518450"/>
                </a:cubicBezTo>
                <a:cubicBezTo>
                  <a:pt x="4934855" y="1513320"/>
                  <a:pt x="4924596" y="1505626"/>
                  <a:pt x="4937420" y="1505626"/>
                </a:cubicBezTo>
                <a:close/>
                <a:moveTo>
                  <a:pt x="5501697" y="1503061"/>
                </a:moveTo>
                <a:cubicBezTo>
                  <a:pt x="5501697" y="1503061"/>
                  <a:pt x="5504262" y="1503061"/>
                  <a:pt x="5506827" y="1503061"/>
                </a:cubicBezTo>
                <a:cubicBezTo>
                  <a:pt x="5506827" y="1505626"/>
                  <a:pt x="5506827" y="1508191"/>
                  <a:pt x="5506827" y="1508191"/>
                </a:cubicBezTo>
                <a:cubicBezTo>
                  <a:pt x="5504262" y="1508191"/>
                  <a:pt x="5504262" y="1508191"/>
                  <a:pt x="5501697" y="1508191"/>
                </a:cubicBezTo>
                <a:cubicBezTo>
                  <a:pt x="5501697" y="1508191"/>
                  <a:pt x="5501697" y="1505626"/>
                  <a:pt x="5501697" y="1503061"/>
                </a:cubicBezTo>
                <a:close/>
                <a:moveTo>
                  <a:pt x="4370579" y="1497265"/>
                </a:moveTo>
                <a:cubicBezTo>
                  <a:pt x="4373785" y="1498547"/>
                  <a:pt x="4376991" y="1500471"/>
                  <a:pt x="4383404" y="1500471"/>
                </a:cubicBezTo>
                <a:cubicBezTo>
                  <a:pt x="4380839" y="1503036"/>
                  <a:pt x="4380839" y="1505601"/>
                  <a:pt x="4380839" y="1510730"/>
                </a:cubicBezTo>
                <a:cubicBezTo>
                  <a:pt x="4411617" y="1520991"/>
                  <a:pt x="4396228" y="1556900"/>
                  <a:pt x="4388533" y="1572289"/>
                </a:cubicBezTo>
                <a:cubicBezTo>
                  <a:pt x="4375709" y="1572289"/>
                  <a:pt x="4373144" y="1562029"/>
                  <a:pt x="4378274" y="1577419"/>
                </a:cubicBezTo>
                <a:cubicBezTo>
                  <a:pt x="4375709" y="1574854"/>
                  <a:pt x="4362884" y="1574854"/>
                  <a:pt x="4365449" y="1582549"/>
                </a:cubicBezTo>
                <a:cubicBezTo>
                  <a:pt x="4362884" y="1574854"/>
                  <a:pt x="4352625" y="1569724"/>
                  <a:pt x="4347495" y="1577419"/>
                </a:cubicBezTo>
                <a:cubicBezTo>
                  <a:pt x="4342365" y="1574854"/>
                  <a:pt x="4339801" y="1572289"/>
                  <a:pt x="4337235" y="1567159"/>
                </a:cubicBezTo>
                <a:cubicBezTo>
                  <a:pt x="4337235" y="1562029"/>
                  <a:pt x="4337235" y="1556900"/>
                  <a:pt x="4342365" y="1556900"/>
                </a:cubicBezTo>
                <a:cubicBezTo>
                  <a:pt x="4339801" y="1551770"/>
                  <a:pt x="4337235" y="1549205"/>
                  <a:pt x="4332105" y="1549205"/>
                </a:cubicBezTo>
                <a:cubicBezTo>
                  <a:pt x="4329540" y="1546640"/>
                  <a:pt x="4334669" y="1538944"/>
                  <a:pt x="4329540" y="1538944"/>
                </a:cubicBezTo>
                <a:cubicBezTo>
                  <a:pt x="4332105" y="1536380"/>
                  <a:pt x="4334669" y="1533816"/>
                  <a:pt x="4337235" y="1533816"/>
                </a:cubicBezTo>
                <a:cubicBezTo>
                  <a:pt x="4332105" y="1528685"/>
                  <a:pt x="4334669" y="1526121"/>
                  <a:pt x="4334669" y="1518425"/>
                </a:cubicBezTo>
                <a:cubicBezTo>
                  <a:pt x="4339801" y="1528685"/>
                  <a:pt x="4337235" y="1510730"/>
                  <a:pt x="4344930" y="1505601"/>
                </a:cubicBezTo>
                <a:cubicBezTo>
                  <a:pt x="4350060" y="1508166"/>
                  <a:pt x="4360319" y="1505601"/>
                  <a:pt x="4357755" y="1497906"/>
                </a:cubicBezTo>
                <a:cubicBezTo>
                  <a:pt x="4364167" y="1495341"/>
                  <a:pt x="4367373" y="1495983"/>
                  <a:pt x="4370579" y="1497265"/>
                </a:cubicBezTo>
                <a:close/>
                <a:moveTo>
                  <a:pt x="4078181" y="1479943"/>
                </a:moveTo>
                <a:cubicBezTo>
                  <a:pt x="4070486" y="1487638"/>
                  <a:pt x="4060226" y="1492767"/>
                  <a:pt x="4052532" y="1500462"/>
                </a:cubicBezTo>
                <a:cubicBezTo>
                  <a:pt x="4014058" y="1531242"/>
                  <a:pt x="3973020" y="1562020"/>
                  <a:pt x="3944806" y="1615883"/>
                </a:cubicBezTo>
                <a:cubicBezTo>
                  <a:pt x="3926852" y="1646662"/>
                  <a:pt x="3914028" y="1682570"/>
                  <a:pt x="3903768" y="1721044"/>
                </a:cubicBezTo>
                <a:cubicBezTo>
                  <a:pt x="3911463" y="1726174"/>
                  <a:pt x="3919157" y="1733868"/>
                  <a:pt x="3931982" y="1728738"/>
                </a:cubicBezTo>
                <a:cubicBezTo>
                  <a:pt x="3931982" y="1733868"/>
                  <a:pt x="3934547" y="1741563"/>
                  <a:pt x="3937111" y="1746693"/>
                </a:cubicBezTo>
                <a:cubicBezTo>
                  <a:pt x="3947371" y="1695395"/>
                  <a:pt x="3962760" y="1646662"/>
                  <a:pt x="3985845" y="1605624"/>
                </a:cubicBezTo>
                <a:cubicBezTo>
                  <a:pt x="4014058" y="1554326"/>
                  <a:pt x="4044837" y="1515852"/>
                  <a:pt x="4078181" y="1479943"/>
                </a:cubicBezTo>
                <a:close/>
                <a:moveTo>
                  <a:pt x="3967891" y="1477389"/>
                </a:moveTo>
                <a:cubicBezTo>
                  <a:pt x="3973021" y="1477389"/>
                  <a:pt x="3973021" y="1485084"/>
                  <a:pt x="3973021" y="1490214"/>
                </a:cubicBezTo>
                <a:cubicBezTo>
                  <a:pt x="3967891" y="1490214"/>
                  <a:pt x="3965326" y="1479954"/>
                  <a:pt x="3967891" y="1477389"/>
                </a:cubicBezTo>
                <a:close/>
                <a:moveTo>
                  <a:pt x="2982972" y="1472248"/>
                </a:moveTo>
                <a:cubicBezTo>
                  <a:pt x="2970147" y="1500462"/>
                  <a:pt x="2959887" y="1526112"/>
                  <a:pt x="2949629" y="1554326"/>
                </a:cubicBezTo>
                <a:cubicBezTo>
                  <a:pt x="2952193" y="1551761"/>
                  <a:pt x="2954758" y="1551761"/>
                  <a:pt x="2957322" y="1549196"/>
                </a:cubicBezTo>
                <a:cubicBezTo>
                  <a:pt x="2957322" y="1549196"/>
                  <a:pt x="2957322" y="1546631"/>
                  <a:pt x="2957322" y="1546631"/>
                </a:cubicBezTo>
                <a:cubicBezTo>
                  <a:pt x="2965017" y="1520981"/>
                  <a:pt x="2972713" y="1497898"/>
                  <a:pt x="2982972" y="1472248"/>
                </a:cubicBezTo>
                <a:close/>
                <a:moveTo>
                  <a:pt x="3916593" y="1469696"/>
                </a:moveTo>
                <a:cubicBezTo>
                  <a:pt x="3919157" y="1472261"/>
                  <a:pt x="3921722" y="1472261"/>
                  <a:pt x="3924287" y="1472261"/>
                </a:cubicBezTo>
                <a:cubicBezTo>
                  <a:pt x="3921722" y="1477390"/>
                  <a:pt x="3919157" y="1479955"/>
                  <a:pt x="3919157" y="1482520"/>
                </a:cubicBezTo>
                <a:cubicBezTo>
                  <a:pt x="3916593" y="1482520"/>
                  <a:pt x="3919157" y="1474826"/>
                  <a:pt x="3916593" y="1469696"/>
                </a:cubicBezTo>
                <a:close/>
                <a:moveTo>
                  <a:pt x="4934855" y="1454329"/>
                </a:moveTo>
                <a:cubicBezTo>
                  <a:pt x="4947681" y="1456894"/>
                  <a:pt x="4932290" y="1472284"/>
                  <a:pt x="4934855" y="1454329"/>
                </a:cubicBezTo>
                <a:close/>
                <a:moveTo>
                  <a:pt x="4752748" y="1444071"/>
                </a:moveTo>
                <a:cubicBezTo>
                  <a:pt x="4760442" y="1441505"/>
                  <a:pt x="4760442" y="1459460"/>
                  <a:pt x="4752748" y="1451764"/>
                </a:cubicBezTo>
                <a:cubicBezTo>
                  <a:pt x="4752748" y="1449200"/>
                  <a:pt x="4752748" y="1446635"/>
                  <a:pt x="4752748" y="1444071"/>
                </a:cubicBezTo>
                <a:close/>
                <a:moveTo>
                  <a:pt x="4950245" y="1442146"/>
                </a:moveTo>
                <a:cubicBezTo>
                  <a:pt x="4951527" y="1442146"/>
                  <a:pt x="4952809" y="1442787"/>
                  <a:pt x="4952809" y="1444070"/>
                </a:cubicBezTo>
                <a:cubicBezTo>
                  <a:pt x="4950244" y="1449200"/>
                  <a:pt x="4950244" y="1444070"/>
                  <a:pt x="4947680" y="1444070"/>
                </a:cubicBezTo>
                <a:cubicBezTo>
                  <a:pt x="4947680" y="1442787"/>
                  <a:pt x="4948963" y="1442146"/>
                  <a:pt x="4950245" y="1442146"/>
                </a:cubicBezTo>
                <a:close/>
                <a:moveTo>
                  <a:pt x="5476008" y="1438620"/>
                </a:moveTo>
                <a:cubicBezTo>
                  <a:pt x="5477330" y="1439581"/>
                  <a:pt x="5475406" y="1449200"/>
                  <a:pt x="5473483" y="1441505"/>
                </a:cubicBezTo>
                <a:cubicBezTo>
                  <a:pt x="5474766" y="1438940"/>
                  <a:pt x="5475567" y="1438299"/>
                  <a:pt x="5476008" y="1438620"/>
                </a:cubicBezTo>
                <a:close/>
                <a:moveTo>
                  <a:pt x="5891561" y="1436376"/>
                </a:moveTo>
                <a:cubicBezTo>
                  <a:pt x="5904385" y="1446634"/>
                  <a:pt x="5881300" y="1464588"/>
                  <a:pt x="5876170" y="1485108"/>
                </a:cubicBezTo>
                <a:cubicBezTo>
                  <a:pt x="5871040" y="1469718"/>
                  <a:pt x="5886431" y="1449199"/>
                  <a:pt x="5891561" y="1436376"/>
                </a:cubicBezTo>
                <a:close/>
                <a:moveTo>
                  <a:pt x="5178520" y="1433811"/>
                </a:moveTo>
                <a:cubicBezTo>
                  <a:pt x="5168260" y="1438940"/>
                  <a:pt x="5168260" y="1456895"/>
                  <a:pt x="5155436" y="1449200"/>
                </a:cubicBezTo>
                <a:cubicBezTo>
                  <a:pt x="5160566" y="1441505"/>
                  <a:pt x="5168260" y="1428680"/>
                  <a:pt x="5178520" y="1433811"/>
                </a:cubicBezTo>
                <a:close/>
                <a:moveTo>
                  <a:pt x="4503953" y="1431246"/>
                </a:moveTo>
                <a:cubicBezTo>
                  <a:pt x="4496258" y="1438940"/>
                  <a:pt x="4509083" y="1438940"/>
                  <a:pt x="4506518" y="1449200"/>
                </a:cubicBezTo>
                <a:cubicBezTo>
                  <a:pt x="4498823" y="1446635"/>
                  <a:pt x="4501388" y="1433811"/>
                  <a:pt x="4491129" y="1436376"/>
                </a:cubicBezTo>
                <a:cubicBezTo>
                  <a:pt x="4493694" y="1431246"/>
                  <a:pt x="4496258" y="1431246"/>
                  <a:pt x="4503953" y="1431246"/>
                </a:cubicBezTo>
                <a:close/>
                <a:moveTo>
                  <a:pt x="3031704" y="1426080"/>
                </a:moveTo>
                <a:cubicBezTo>
                  <a:pt x="3021445" y="1444034"/>
                  <a:pt x="3011185" y="1461989"/>
                  <a:pt x="3003492" y="1479943"/>
                </a:cubicBezTo>
                <a:cubicBezTo>
                  <a:pt x="2995796" y="1497898"/>
                  <a:pt x="2988101" y="1515852"/>
                  <a:pt x="2980406" y="1533807"/>
                </a:cubicBezTo>
                <a:cubicBezTo>
                  <a:pt x="2985536" y="1531242"/>
                  <a:pt x="2990666" y="1526112"/>
                  <a:pt x="2995796" y="1523547"/>
                </a:cubicBezTo>
                <a:cubicBezTo>
                  <a:pt x="3000926" y="1520981"/>
                  <a:pt x="3008620" y="1518416"/>
                  <a:pt x="3013751" y="1518416"/>
                </a:cubicBezTo>
                <a:cubicBezTo>
                  <a:pt x="3018880" y="1487638"/>
                  <a:pt x="3026575" y="1456859"/>
                  <a:pt x="3031704" y="1426080"/>
                </a:cubicBezTo>
                <a:close/>
                <a:moveTo>
                  <a:pt x="3914028" y="1415832"/>
                </a:moveTo>
                <a:cubicBezTo>
                  <a:pt x="3919157" y="1411984"/>
                  <a:pt x="3924287" y="1412626"/>
                  <a:pt x="3928135" y="1415832"/>
                </a:cubicBezTo>
                <a:cubicBezTo>
                  <a:pt x="3931982" y="1419038"/>
                  <a:pt x="3934547" y="1424809"/>
                  <a:pt x="3934547" y="1431222"/>
                </a:cubicBezTo>
                <a:cubicBezTo>
                  <a:pt x="3921722" y="1433786"/>
                  <a:pt x="3916593" y="1426092"/>
                  <a:pt x="3914028" y="1415832"/>
                </a:cubicBezTo>
                <a:close/>
                <a:moveTo>
                  <a:pt x="4693755" y="1405597"/>
                </a:moveTo>
                <a:cubicBezTo>
                  <a:pt x="4701449" y="1403033"/>
                  <a:pt x="4691190" y="1420987"/>
                  <a:pt x="4698885" y="1420987"/>
                </a:cubicBezTo>
                <a:cubicBezTo>
                  <a:pt x="4693755" y="1431246"/>
                  <a:pt x="4693755" y="1410727"/>
                  <a:pt x="4693755" y="1405597"/>
                </a:cubicBezTo>
                <a:close/>
                <a:moveTo>
                  <a:pt x="5619682" y="1397882"/>
                </a:moveTo>
                <a:cubicBezTo>
                  <a:pt x="5627376" y="1408141"/>
                  <a:pt x="5629941" y="1428660"/>
                  <a:pt x="5642765" y="1426095"/>
                </a:cubicBezTo>
                <a:cubicBezTo>
                  <a:pt x="5645330" y="1438920"/>
                  <a:pt x="5635071" y="1456874"/>
                  <a:pt x="5637636" y="1469699"/>
                </a:cubicBezTo>
                <a:cubicBezTo>
                  <a:pt x="5624811" y="1477393"/>
                  <a:pt x="5622247" y="1479958"/>
                  <a:pt x="5617117" y="1487653"/>
                </a:cubicBezTo>
                <a:cubicBezTo>
                  <a:pt x="5601727" y="1492783"/>
                  <a:pt x="5586338" y="1482523"/>
                  <a:pt x="5578643" y="1482523"/>
                </a:cubicBezTo>
                <a:cubicBezTo>
                  <a:pt x="5578643" y="1474828"/>
                  <a:pt x="5578643" y="1469699"/>
                  <a:pt x="5568383" y="1464569"/>
                </a:cubicBezTo>
                <a:cubicBezTo>
                  <a:pt x="5576078" y="1454309"/>
                  <a:pt x="5573512" y="1433790"/>
                  <a:pt x="5576078" y="1420966"/>
                </a:cubicBezTo>
                <a:cubicBezTo>
                  <a:pt x="5588903" y="1423531"/>
                  <a:pt x="5601727" y="1405576"/>
                  <a:pt x="5619682" y="1397882"/>
                </a:cubicBezTo>
                <a:close/>
                <a:moveTo>
                  <a:pt x="5188780" y="1392774"/>
                </a:moveTo>
                <a:cubicBezTo>
                  <a:pt x="5191345" y="1392774"/>
                  <a:pt x="5193909" y="1392774"/>
                  <a:pt x="5196474" y="1392774"/>
                </a:cubicBezTo>
                <a:cubicBezTo>
                  <a:pt x="5196474" y="1395339"/>
                  <a:pt x="5196474" y="1397904"/>
                  <a:pt x="5196474" y="1397904"/>
                </a:cubicBezTo>
                <a:cubicBezTo>
                  <a:pt x="5193909" y="1397904"/>
                  <a:pt x="5191345" y="1397904"/>
                  <a:pt x="5188780" y="1397904"/>
                </a:cubicBezTo>
                <a:cubicBezTo>
                  <a:pt x="5188780" y="1397904"/>
                  <a:pt x="5188780" y="1395339"/>
                  <a:pt x="5188780" y="1392774"/>
                </a:cubicBezTo>
                <a:close/>
                <a:moveTo>
                  <a:pt x="2898330" y="1387649"/>
                </a:moveTo>
                <a:cubicBezTo>
                  <a:pt x="2906025" y="1387649"/>
                  <a:pt x="2908591" y="1392779"/>
                  <a:pt x="2913719" y="1395342"/>
                </a:cubicBezTo>
                <a:cubicBezTo>
                  <a:pt x="2916284" y="1392779"/>
                  <a:pt x="2916284" y="1390214"/>
                  <a:pt x="2918850" y="1387649"/>
                </a:cubicBezTo>
                <a:cubicBezTo>
                  <a:pt x="2921414" y="1390214"/>
                  <a:pt x="2923979" y="1390214"/>
                  <a:pt x="2926544" y="1390214"/>
                </a:cubicBezTo>
                <a:cubicBezTo>
                  <a:pt x="2921414" y="1395342"/>
                  <a:pt x="2926544" y="1392779"/>
                  <a:pt x="2926544" y="1400473"/>
                </a:cubicBezTo>
                <a:cubicBezTo>
                  <a:pt x="2921414" y="1403038"/>
                  <a:pt x="2921414" y="1397908"/>
                  <a:pt x="2921414" y="1392779"/>
                </a:cubicBezTo>
                <a:cubicBezTo>
                  <a:pt x="2913719" y="1395342"/>
                  <a:pt x="2923979" y="1400473"/>
                  <a:pt x="2921414" y="1405603"/>
                </a:cubicBezTo>
                <a:cubicBezTo>
                  <a:pt x="2931673" y="1397908"/>
                  <a:pt x="2918850" y="1410732"/>
                  <a:pt x="2929109" y="1408167"/>
                </a:cubicBezTo>
                <a:cubicBezTo>
                  <a:pt x="2929109" y="1413298"/>
                  <a:pt x="2926544" y="1415862"/>
                  <a:pt x="2921414" y="1415862"/>
                </a:cubicBezTo>
                <a:cubicBezTo>
                  <a:pt x="2923979" y="1423556"/>
                  <a:pt x="2929109" y="1410732"/>
                  <a:pt x="2936803" y="1413298"/>
                </a:cubicBezTo>
                <a:cubicBezTo>
                  <a:pt x="2939368" y="1431251"/>
                  <a:pt x="2929109" y="1413298"/>
                  <a:pt x="2929109" y="1428687"/>
                </a:cubicBezTo>
                <a:cubicBezTo>
                  <a:pt x="2921414" y="1426122"/>
                  <a:pt x="2921414" y="1420991"/>
                  <a:pt x="2911154" y="1426122"/>
                </a:cubicBezTo>
                <a:cubicBezTo>
                  <a:pt x="2906025" y="1423556"/>
                  <a:pt x="2913719" y="1420991"/>
                  <a:pt x="2908591" y="1418427"/>
                </a:cubicBezTo>
                <a:cubicBezTo>
                  <a:pt x="2911154" y="1413298"/>
                  <a:pt x="2923979" y="1418427"/>
                  <a:pt x="2921414" y="1408167"/>
                </a:cubicBezTo>
                <a:cubicBezTo>
                  <a:pt x="2918850" y="1408167"/>
                  <a:pt x="2918850" y="1413298"/>
                  <a:pt x="2916284" y="1413298"/>
                </a:cubicBezTo>
                <a:cubicBezTo>
                  <a:pt x="2908591" y="1413298"/>
                  <a:pt x="2913719" y="1405603"/>
                  <a:pt x="2903460" y="1410732"/>
                </a:cubicBezTo>
                <a:cubicBezTo>
                  <a:pt x="2900895" y="1403038"/>
                  <a:pt x="2906025" y="1405603"/>
                  <a:pt x="2906025" y="1397908"/>
                </a:cubicBezTo>
                <a:cubicBezTo>
                  <a:pt x="2903460" y="1400473"/>
                  <a:pt x="2903460" y="1403038"/>
                  <a:pt x="2900895" y="1405603"/>
                </a:cubicBezTo>
                <a:cubicBezTo>
                  <a:pt x="2890634" y="1403038"/>
                  <a:pt x="2906025" y="1397908"/>
                  <a:pt x="2898330" y="1387649"/>
                </a:cubicBezTo>
                <a:close/>
                <a:moveTo>
                  <a:pt x="2908591" y="1379955"/>
                </a:moveTo>
                <a:cubicBezTo>
                  <a:pt x="2916284" y="1377390"/>
                  <a:pt x="2916284" y="1382520"/>
                  <a:pt x="2916284" y="1390215"/>
                </a:cubicBezTo>
                <a:cubicBezTo>
                  <a:pt x="2908591" y="1390215"/>
                  <a:pt x="2903460" y="1385085"/>
                  <a:pt x="2908591" y="1379955"/>
                </a:cubicBezTo>
                <a:close/>
                <a:moveTo>
                  <a:pt x="4224380" y="1377347"/>
                </a:moveTo>
                <a:cubicBezTo>
                  <a:pt x="4198731" y="1433775"/>
                  <a:pt x="4173082" y="1492767"/>
                  <a:pt x="4149998" y="1551761"/>
                </a:cubicBezTo>
                <a:cubicBezTo>
                  <a:pt x="4162822" y="1538935"/>
                  <a:pt x="4178212" y="1526112"/>
                  <a:pt x="4193601" y="1515852"/>
                </a:cubicBezTo>
                <a:cubicBezTo>
                  <a:pt x="4201296" y="1469683"/>
                  <a:pt x="4211555" y="1423515"/>
                  <a:pt x="4224380" y="1377347"/>
                </a:cubicBezTo>
                <a:close/>
                <a:moveTo>
                  <a:pt x="4637328" y="1374820"/>
                </a:moveTo>
                <a:cubicBezTo>
                  <a:pt x="4637328" y="1374820"/>
                  <a:pt x="4639893" y="1374820"/>
                  <a:pt x="4642457" y="1374820"/>
                </a:cubicBezTo>
                <a:cubicBezTo>
                  <a:pt x="4642457" y="1374820"/>
                  <a:pt x="4642457" y="1377385"/>
                  <a:pt x="4642457" y="1379951"/>
                </a:cubicBezTo>
                <a:cubicBezTo>
                  <a:pt x="4639893" y="1379951"/>
                  <a:pt x="4637328" y="1379951"/>
                  <a:pt x="4637328" y="1379951"/>
                </a:cubicBezTo>
                <a:cubicBezTo>
                  <a:pt x="4637328" y="1379951"/>
                  <a:pt x="4637328" y="1377385"/>
                  <a:pt x="4637328" y="1374820"/>
                </a:cubicBezTo>
                <a:close/>
                <a:moveTo>
                  <a:pt x="3867860" y="1372228"/>
                </a:moveTo>
                <a:cubicBezTo>
                  <a:pt x="3867860" y="1379922"/>
                  <a:pt x="3867860" y="1390182"/>
                  <a:pt x="3857600" y="1390182"/>
                </a:cubicBezTo>
                <a:cubicBezTo>
                  <a:pt x="3860165" y="1395312"/>
                  <a:pt x="3865295" y="1392747"/>
                  <a:pt x="3860165" y="1397877"/>
                </a:cubicBezTo>
                <a:cubicBezTo>
                  <a:pt x="3865295" y="1395312"/>
                  <a:pt x="3867860" y="1387617"/>
                  <a:pt x="3872989" y="1382487"/>
                </a:cubicBezTo>
                <a:cubicBezTo>
                  <a:pt x="3872989" y="1382487"/>
                  <a:pt x="3862730" y="1405571"/>
                  <a:pt x="3867860" y="1410701"/>
                </a:cubicBezTo>
                <a:cubicBezTo>
                  <a:pt x="3865295" y="1418396"/>
                  <a:pt x="3860165" y="1403006"/>
                  <a:pt x="3865295" y="1400441"/>
                </a:cubicBezTo>
                <a:cubicBezTo>
                  <a:pt x="3855035" y="1400441"/>
                  <a:pt x="3855035" y="1405571"/>
                  <a:pt x="3857600" y="1410701"/>
                </a:cubicBezTo>
                <a:cubicBezTo>
                  <a:pt x="3852470" y="1408136"/>
                  <a:pt x="3847340" y="1408136"/>
                  <a:pt x="3852470" y="1413266"/>
                </a:cubicBezTo>
                <a:cubicBezTo>
                  <a:pt x="3849905" y="1420961"/>
                  <a:pt x="3844776" y="1405571"/>
                  <a:pt x="3844776" y="1413266"/>
                </a:cubicBezTo>
                <a:cubicBezTo>
                  <a:pt x="3844776" y="1403006"/>
                  <a:pt x="3849905" y="1395312"/>
                  <a:pt x="3852470" y="1374793"/>
                </a:cubicBezTo>
                <a:cubicBezTo>
                  <a:pt x="3857600" y="1377358"/>
                  <a:pt x="3857600" y="1379922"/>
                  <a:pt x="3855035" y="1382487"/>
                </a:cubicBezTo>
                <a:cubicBezTo>
                  <a:pt x="3860165" y="1379922"/>
                  <a:pt x="3860165" y="1372228"/>
                  <a:pt x="3867860" y="1372228"/>
                </a:cubicBezTo>
                <a:close/>
                <a:moveTo>
                  <a:pt x="5965943" y="1370331"/>
                </a:moveTo>
                <a:cubicBezTo>
                  <a:pt x="5967226" y="1370331"/>
                  <a:pt x="5968508" y="1370972"/>
                  <a:pt x="5968508" y="1372255"/>
                </a:cubicBezTo>
                <a:cubicBezTo>
                  <a:pt x="5965943" y="1377385"/>
                  <a:pt x="5965943" y="1372255"/>
                  <a:pt x="5963378" y="1372255"/>
                </a:cubicBezTo>
                <a:cubicBezTo>
                  <a:pt x="5963378" y="1370972"/>
                  <a:pt x="5964661" y="1370331"/>
                  <a:pt x="5965943" y="1370331"/>
                </a:cubicBezTo>
                <a:close/>
                <a:moveTo>
                  <a:pt x="2908591" y="1369697"/>
                </a:moveTo>
                <a:cubicBezTo>
                  <a:pt x="2911155" y="1369697"/>
                  <a:pt x="2911155" y="1369697"/>
                  <a:pt x="2913719" y="1369697"/>
                </a:cubicBezTo>
                <a:cubicBezTo>
                  <a:pt x="2913719" y="1374827"/>
                  <a:pt x="2911155" y="1374827"/>
                  <a:pt x="2911155" y="1377391"/>
                </a:cubicBezTo>
                <a:cubicBezTo>
                  <a:pt x="2908591" y="1377391"/>
                  <a:pt x="2908591" y="1377391"/>
                  <a:pt x="2906025" y="1377391"/>
                </a:cubicBezTo>
                <a:cubicBezTo>
                  <a:pt x="2906025" y="1372262"/>
                  <a:pt x="2908591" y="1372262"/>
                  <a:pt x="2908591" y="1369697"/>
                </a:cubicBezTo>
                <a:close/>
                <a:moveTo>
                  <a:pt x="3118911" y="1367130"/>
                </a:moveTo>
                <a:cubicBezTo>
                  <a:pt x="3121476" y="1372260"/>
                  <a:pt x="3113781" y="1369695"/>
                  <a:pt x="3113781" y="1374825"/>
                </a:cubicBezTo>
                <a:cubicBezTo>
                  <a:pt x="3111216" y="1374825"/>
                  <a:pt x="3113781" y="1364564"/>
                  <a:pt x="3118911" y="1367130"/>
                </a:cubicBezTo>
                <a:close/>
                <a:moveTo>
                  <a:pt x="3911462" y="1367098"/>
                </a:moveTo>
                <a:cubicBezTo>
                  <a:pt x="3914027" y="1367098"/>
                  <a:pt x="3916593" y="1369663"/>
                  <a:pt x="3916593" y="1372228"/>
                </a:cubicBezTo>
                <a:cubicBezTo>
                  <a:pt x="3914027" y="1374792"/>
                  <a:pt x="3911462" y="1374792"/>
                  <a:pt x="3908898" y="1374792"/>
                </a:cubicBezTo>
                <a:cubicBezTo>
                  <a:pt x="3911462" y="1377357"/>
                  <a:pt x="3911462" y="1379922"/>
                  <a:pt x="3906333" y="1379922"/>
                </a:cubicBezTo>
                <a:cubicBezTo>
                  <a:pt x="3906333" y="1374792"/>
                  <a:pt x="3911462" y="1374792"/>
                  <a:pt x="3911462" y="1367098"/>
                </a:cubicBezTo>
                <a:close/>
                <a:moveTo>
                  <a:pt x="2895765" y="1364566"/>
                </a:moveTo>
                <a:cubicBezTo>
                  <a:pt x="2895765" y="1369695"/>
                  <a:pt x="2888071" y="1382520"/>
                  <a:pt x="2900895" y="1379955"/>
                </a:cubicBezTo>
                <a:cubicBezTo>
                  <a:pt x="2898330" y="1387650"/>
                  <a:pt x="2888071" y="1379955"/>
                  <a:pt x="2885506" y="1379955"/>
                </a:cubicBezTo>
                <a:cubicBezTo>
                  <a:pt x="2888071" y="1374826"/>
                  <a:pt x="2885506" y="1364566"/>
                  <a:pt x="2895765" y="1364566"/>
                </a:cubicBezTo>
                <a:close/>
                <a:moveTo>
                  <a:pt x="3911463" y="1359405"/>
                </a:moveTo>
                <a:cubicBezTo>
                  <a:pt x="3916593" y="1359405"/>
                  <a:pt x="3919157" y="1361970"/>
                  <a:pt x="3921723" y="1361970"/>
                </a:cubicBezTo>
                <a:cubicBezTo>
                  <a:pt x="3921723" y="1367099"/>
                  <a:pt x="3919157" y="1367099"/>
                  <a:pt x="3919157" y="1372229"/>
                </a:cubicBezTo>
                <a:cubicBezTo>
                  <a:pt x="3916593" y="1369664"/>
                  <a:pt x="3911463" y="1367099"/>
                  <a:pt x="3911463" y="1359405"/>
                </a:cubicBezTo>
                <a:close/>
                <a:moveTo>
                  <a:pt x="6212172" y="1356865"/>
                </a:moveTo>
                <a:cubicBezTo>
                  <a:pt x="6209607" y="1372255"/>
                  <a:pt x="6194218" y="1377385"/>
                  <a:pt x="6186523" y="1392774"/>
                </a:cubicBezTo>
                <a:cubicBezTo>
                  <a:pt x="6181392" y="1377385"/>
                  <a:pt x="6201913" y="1364560"/>
                  <a:pt x="6212172" y="1356865"/>
                </a:cubicBezTo>
                <a:close/>
                <a:moveTo>
                  <a:pt x="3106087" y="1354307"/>
                </a:moveTo>
                <a:cubicBezTo>
                  <a:pt x="3116346" y="1354307"/>
                  <a:pt x="3113781" y="1362000"/>
                  <a:pt x="3111216" y="1369696"/>
                </a:cubicBezTo>
                <a:cubicBezTo>
                  <a:pt x="3103522" y="1367131"/>
                  <a:pt x="3111216" y="1362000"/>
                  <a:pt x="3106087" y="1354307"/>
                </a:cubicBezTo>
                <a:close/>
                <a:moveTo>
                  <a:pt x="2570025" y="1341483"/>
                </a:moveTo>
                <a:cubicBezTo>
                  <a:pt x="2580286" y="1341483"/>
                  <a:pt x="2572589" y="1354307"/>
                  <a:pt x="2572589" y="1359437"/>
                </a:cubicBezTo>
                <a:cubicBezTo>
                  <a:pt x="2557200" y="1359437"/>
                  <a:pt x="2570025" y="1346613"/>
                  <a:pt x="2570025" y="1341483"/>
                </a:cubicBezTo>
                <a:close/>
                <a:moveTo>
                  <a:pt x="5037451" y="1341459"/>
                </a:moveTo>
                <a:cubicBezTo>
                  <a:pt x="5047710" y="1349153"/>
                  <a:pt x="5032321" y="1382497"/>
                  <a:pt x="5050275" y="1392757"/>
                </a:cubicBezTo>
                <a:cubicBezTo>
                  <a:pt x="5055405" y="1392757"/>
                  <a:pt x="5065664" y="1395321"/>
                  <a:pt x="5065664" y="1390192"/>
                </a:cubicBezTo>
                <a:cubicBezTo>
                  <a:pt x="5065664" y="1410711"/>
                  <a:pt x="5063100" y="1426100"/>
                  <a:pt x="5052840" y="1449184"/>
                </a:cubicBezTo>
                <a:cubicBezTo>
                  <a:pt x="5042580" y="1449184"/>
                  <a:pt x="5037451" y="1454314"/>
                  <a:pt x="5034886" y="1462009"/>
                </a:cubicBezTo>
                <a:cubicBezTo>
                  <a:pt x="5055405" y="1459443"/>
                  <a:pt x="5060535" y="1438925"/>
                  <a:pt x="5083619" y="1436359"/>
                </a:cubicBezTo>
                <a:cubicBezTo>
                  <a:pt x="5081054" y="1426100"/>
                  <a:pt x="5081054" y="1423535"/>
                  <a:pt x="5083619" y="1408146"/>
                </a:cubicBezTo>
                <a:cubicBezTo>
                  <a:pt x="5086184" y="1408146"/>
                  <a:pt x="5091313" y="1408146"/>
                  <a:pt x="5091313" y="1405581"/>
                </a:cubicBezTo>
                <a:cubicBezTo>
                  <a:pt x="5096443" y="1431230"/>
                  <a:pt x="5088749" y="1451749"/>
                  <a:pt x="5088749" y="1469702"/>
                </a:cubicBezTo>
                <a:cubicBezTo>
                  <a:pt x="5091313" y="1477397"/>
                  <a:pt x="5093878" y="1464574"/>
                  <a:pt x="5101573" y="1469702"/>
                </a:cubicBezTo>
                <a:cubicBezTo>
                  <a:pt x="5101573" y="1492786"/>
                  <a:pt x="5088749" y="1513306"/>
                  <a:pt x="5104138" y="1523565"/>
                </a:cubicBezTo>
                <a:cubicBezTo>
                  <a:pt x="5101573" y="1538954"/>
                  <a:pt x="5093878" y="1567168"/>
                  <a:pt x="5088749" y="1577428"/>
                </a:cubicBezTo>
                <a:cubicBezTo>
                  <a:pt x="5081054" y="1579993"/>
                  <a:pt x="5078489" y="1577428"/>
                  <a:pt x="5070794" y="1582558"/>
                </a:cubicBezTo>
                <a:cubicBezTo>
                  <a:pt x="5078489" y="1590251"/>
                  <a:pt x="5081054" y="1585123"/>
                  <a:pt x="5088749" y="1587686"/>
                </a:cubicBezTo>
                <a:cubicBezTo>
                  <a:pt x="5096443" y="1608206"/>
                  <a:pt x="5078489" y="1626160"/>
                  <a:pt x="5057970" y="1636419"/>
                </a:cubicBezTo>
                <a:cubicBezTo>
                  <a:pt x="5057970" y="1649245"/>
                  <a:pt x="5070794" y="1638984"/>
                  <a:pt x="5070794" y="1644114"/>
                </a:cubicBezTo>
                <a:cubicBezTo>
                  <a:pt x="5063100" y="1651810"/>
                  <a:pt x="5045146" y="1656939"/>
                  <a:pt x="5055405" y="1674893"/>
                </a:cubicBezTo>
                <a:cubicBezTo>
                  <a:pt x="5070794" y="1659503"/>
                  <a:pt x="5091313" y="1654375"/>
                  <a:pt x="5104138" y="1638984"/>
                </a:cubicBezTo>
                <a:cubicBezTo>
                  <a:pt x="5091313" y="1638984"/>
                  <a:pt x="5093878" y="1651810"/>
                  <a:pt x="5083619" y="1651810"/>
                </a:cubicBezTo>
                <a:cubicBezTo>
                  <a:pt x="5093878" y="1633855"/>
                  <a:pt x="5106703" y="1621030"/>
                  <a:pt x="5122092" y="1608206"/>
                </a:cubicBezTo>
                <a:cubicBezTo>
                  <a:pt x="5129787" y="1618465"/>
                  <a:pt x="5109268" y="1626160"/>
                  <a:pt x="5104138" y="1633855"/>
                </a:cubicBezTo>
                <a:cubicBezTo>
                  <a:pt x="5109268" y="1633855"/>
                  <a:pt x="5109268" y="1636419"/>
                  <a:pt x="5116962" y="1638984"/>
                </a:cubicBezTo>
                <a:cubicBezTo>
                  <a:pt x="5111833" y="1646679"/>
                  <a:pt x="5109268" y="1644114"/>
                  <a:pt x="5111833" y="1656939"/>
                </a:cubicBezTo>
                <a:cubicBezTo>
                  <a:pt x="5106703" y="1659503"/>
                  <a:pt x="5106703" y="1654375"/>
                  <a:pt x="5106703" y="1649245"/>
                </a:cubicBezTo>
                <a:cubicBezTo>
                  <a:pt x="5091313" y="1662068"/>
                  <a:pt x="5088749" y="1685152"/>
                  <a:pt x="5070794" y="1690283"/>
                </a:cubicBezTo>
                <a:cubicBezTo>
                  <a:pt x="5070794" y="1685152"/>
                  <a:pt x="5068229" y="1685152"/>
                  <a:pt x="5068229" y="1682589"/>
                </a:cubicBezTo>
                <a:cubicBezTo>
                  <a:pt x="5070794" y="1682589"/>
                  <a:pt x="5070794" y="1680023"/>
                  <a:pt x="5070794" y="1680023"/>
                </a:cubicBezTo>
                <a:cubicBezTo>
                  <a:pt x="5068229" y="1682589"/>
                  <a:pt x="5068229" y="1682589"/>
                  <a:pt x="5060535" y="1685152"/>
                </a:cubicBezTo>
                <a:cubicBezTo>
                  <a:pt x="5052840" y="1697977"/>
                  <a:pt x="5032321" y="1715931"/>
                  <a:pt x="5040015" y="1723626"/>
                </a:cubicBezTo>
                <a:cubicBezTo>
                  <a:pt x="5032321" y="1746710"/>
                  <a:pt x="5009237" y="1751840"/>
                  <a:pt x="4996412" y="1774924"/>
                </a:cubicBezTo>
                <a:cubicBezTo>
                  <a:pt x="4986153" y="1777488"/>
                  <a:pt x="4983588" y="1774924"/>
                  <a:pt x="4970763" y="1777488"/>
                </a:cubicBezTo>
                <a:cubicBezTo>
                  <a:pt x="4970763" y="1785183"/>
                  <a:pt x="4973328" y="1785183"/>
                  <a:pt x="4973328" y="1790313"/>
                </a:cubicBezTo>
                <a:cubicBezTo>
                  <a:pt x="4975893" y="1787749"/>
                  <a:pt x="4978458" y="1787749"/>
                  <a:pt x="4978458" y="1790313"/>
                </a:cubicBezTo>
                <a:cubicBezTo>
                  <a:pt x="4988718" y="1774924"/>
                  <a:pt x="4986153" y="1782619"/>
                  <a:pt x="5004107" y="1774924"/>
                </a:cubicBezTo>
                <a:cubicBezTo>
                  <a:pt x="5004107" y="1777488"/>
                  <a:pt x="5004107" y="1780054"/>
                  <a:pt x="5006672" y="1780054"/>
                </a:cubicBezTo>
                <a:cubicBezTo>
                  <a:pt x="4998977" y="1787749"/>
                  <a:pt x="4996412" y="1795442"/>
                  <a:pt x="4983588" y="1798007"/>
                </a:cubicBezTo>
                <a:cubicBezTo>
                  <a:pt x="4983588" y="1803136"/>
                  <a:pt x="4983588" y="1810832"/>
                  <a:pt x="4988718" y="1813397"/>
                </a:cubicBezTo>
                <a:cubicBezTo>
                  <a:pt x="4983588" y="1826221"/>
                  <a:pt x="4973328" y="1836481"/>
                  <a:pt x="4960504" y="1826221"/>
                </a:cubicBezTo>
                <a:cubicBezTo>
                  <a:pt x="4957939" y="1833916"/>
                  <a:pt x="4950244" y="1833916"/>
                  <a:pt x="4942550" y="1846741"/>
                </a:cubicBezTo>
                <a:cubicBezTo>
                  <a:pt x="4945114" y="1849306"/>
                  <a:pt x="4950244" y="1851870"/>
                  <a:pt x="4955374" y="1851870"/>
                </a:cubicBezTo>
                <a:cubicBezTo>
                  <a:pt x="4937420" y="1864695"/>
                  <a:pt x="4916901" y="1872389"/>
                  <a:pt x="4896382" y="1880084"/>
                </a:cubicBezTo>
                <a:cubicBezTo>
                  <a:pt x="4904076" y="1882649"/>
                  <a:pt x="4909206" y="1874955"/>
                  <a:pt x="4924595" y="1880084"/>
                </a:cubicBezTo>
                <a:cubicBezTo>
                  <a:pt x="4914336" y="1882649"/>
                  <a:pt x="4898946" y="1882649"/>
                  <a:pt x="4888687" y="1887779"/>
                </a:cubicBezTo>
                <a:cubicBezTo>
                  <a:pt x="4886122" y="1892909"/>
                  <a:pt x="4891252" y="1892909"/>
                  <a:pt x="4896382" y="1892909"/>
                </a:cubicBezTo>
                <a:cubicBezTo>
                  <a:pt x="4888687" y="1900602"/>
                  <a:pt x="4870733" y="1900602"/>
                  <a:pt x="4870733" y="1915992"/>
                </a:cubicBezTo>
                <a:cubicBezTo>
                  <a:pt x="4834824" y="1915992"/>
                  <a:pt x="4814304" y="1903167"/>
                  <a:pt x="4798915" y="1872389"/>
                </a:cubicBezTo>
                <a:cubicBezTo>
                  <a:pt x="4796350" y="1859565"/>
                  <a:pt x="4816869" y="1836481"/>
                  <a:pt x="4796350" y="1828786"/>
                </a:cubicBezTo>
                <a:cubicBezTo>
                  <a:pt x="4801480" y="1805702"/>
                  <a:pt x="4786090" y="1798007"/>
                  <a:pt x="4778395" y="1780054"/>
                </a:cubicBezTo>
                <a:cubicBezTo>
                  <a:pt x="4786090" y="1782619"/>
                  <a:pt x="4786090" y="1792876"/>
                  <a:pt x="4796350" y="1792876"/>
                </a:cubicBezTo>
                <a:cubicBezTo>
                  <a:pt x="4786090" y="1787749"/>
                  <a:pt x="4780960" y="1774924"/>
                  <a:pt x="4775831" y="1764664"/>
                </a:cubicBezTo>
                <a:cubicBezTo>
                  <a:pt x="4778395" y="1754404"/>
                  <a:pt x="4783525" y="1767228"/>
                  <a:pt x="4780960" y="1772359"/>
                </a:cubicBezTo>
                <a:cubicBezTo>
                  <a:pt x="4796350" y="1767228"/>
                  <a:pt x="4788655" y="1751840"/>
                  <a:pt x="4793785" y="1744145"/>
                </a:cubicBezTo>
                <a:cubicBezTo>
                  <a:pt x="4788655" y="1744145"/>
                  <a:pt x="4780960" y="1741580"/>
                  <a:pt x="4770701" y="1739015"/>
                </a:cubicBezTo>
                <a:cubicBezTo>
                  <a:pt x="4770701" y="1718496"/>
                  <a:pt x="4765571" y="1718496"/>
                  <a:pt x="4765571" y="1703107"/>
                </a:cubicBezTo>
                <a:cubicBezTo>
                  <a:pt x="4775831" y="1703107"/>
                  <a:pt x="4763006" y="1692848"/>
                  <a:pt x="4773266" y="1690283"/>
                </a:cubicBezTo>
                <a:cubicBezTo>
                  <a:pt x="4773266" y="1685152"/>
                  <a:pt x="4770701" y="1690283"/>
                  <a:pt x="4765571" y="1690283"/>
                </a:cubicBezTo>
                <a:cubicBezTo>
                  <a:pt x="4768136" y="1680023"/>
                  <a:pt x="4775831" y="1680023"/>
                  <a:pt x="4778395" y="1672329"/>
                </a:cubicBezTo>
                <a:cubicBezTo>
                  <a:pt x="4780960" y="1672329"/>
                  <a:pt x="4783525" y="1674893"/>
                  <a:pt x="4783525" y="1680023"/>
                </a:cubicBezTo>
                <a:cubicBezTo>
                  <a:pt x="4786090" y="1659503"/>
                  <a:pt x="4796350" y="1638984"/>
                  <a:pt x="4788655" y="1618465"/>
                </a:cubicBezTo>
                <a:cubicBezTo>
                  <a:pt x="4783525" y="1626160"/>
                  <a:pt x="4775831" y="1628725"/>
                  <a:pt x="4773266" y="1636419"/>
                </a:cubicBezTo>
                <a:cubicBezTo>
                  <a:pt x="4765571" y="1636419"/>
                  <a:pt x="4755312" y="1636419"/>
                  <a:pt x="4745052" y="1636419"/>
                </a:cubicBezTo>
                <a:cubicBezTo>
                  <a:pt x="4737357" y="1621030"/>
                  <a:pt x="4734792" y="1603076"/>
                  <a:pt x="4747617" y="1585123"/>
                </a:cubicBezTo>
                <a:cubicBezTo>
                  <a:pt x="4752746" y="1585123"/>
                  <a:pt x="4763006" y="1590251"/>
                  <a:pt x="4765571" y="1582558"/>
                </a:cubicBezTo>
                <a:cubicBezTo>
                  <a:pt x="4769419" y="1584481"/>
                  <a:pt x="4779037" y="1593618"/>
                  <a:pt x="4783606" y="1590493"/>
                </a:cubicBezTo>
                <a:lnTo>
                  <a:pt x="4785518" y="1584385"/>
                </a:lnTo>
                <a:lnTo>
                  <a:pt x="4781923" y="1579685"/>
                </a:lnTo>
                <a:cubicBezTo>
                  <a:pt x="4781603" y="1577441"/>
                  <a:pt x="4782244" y="1574876"/>
                  <a:pt x="4783526" y="1572311"/>
                </a:cubicBezTo>
                <a:lnTo>
                  <a:pt x="4785776" y="1583560"/>
                </a:lnTo>
                <a:lnTo>
                  <a:pt x="4786090" y="1582558"/>
                </a:lnTo>
                <a:cubicBezTo>
                  <a:pt x="4798915" y="1585123"/>
                  <a:pt x="4778395" y="1623595"/>
                  <a:pt x="4801480" y="1623595"/>
                </a:cubicBezTo>
                <a:cubicBezTo>
                  <a:pt x="4809174" y="1608206"/>
                  <a:pt x="4814304" y="1603076"/>
                  <a:pt x="4832259" y="1608206"/>
                </a:cubicBezTo>
                <a:cubicBezTo>
                  <a:pt x="4837389" y="1615901"/>
                  <a:pt x="4837389" y="1623595"/>
                  <a:pt x="4847648" y="1623595"/>
                </a:cubicBezTo>
                <a:cubicBezTo>
                  <a:pt x="4839954" y="1613335"/>
                  <a:pt x="4868168" y="1608206"/>
                  <a:pt x="4863038" y="1592817"/>
                </a:cubicBezTo>
                <a:cubicBezTo>
                  <a:pt x="4868168" y="1590251"/>
                  <a:pt x="4870733" y="1592817"/>
                  <a:pt x="4870733" y="1597946"/>
                </a:cubicBezTo>
                <a:cubicBezTo>
                  <a:pt x="4875862" y="1592817"/>
                  <a:pt x="4875862" y="1579993"/>
                  <a:pt x="4888687" y="1582558"/>
                </a:cubicBezTo>
                <a:cubicBezTo>
                  <a:pt x="4883557" y="1574863"/>
                  <a:pt x="4886122" y="1574863"/>
                  <a:pt x="4883557" y="1567168"/>
                </a:cubicBezTo>
                <a:cubicBezTo>
                  <a:pt x="4875862" y="1582558"/>
                  <a:pt x="4865603" y="1559474"/>
                  <a:pt x="4860473" y="1567168"/>
                </a:cubicBezTo>
                <a:cubicBezTo>
                  <a:pt x="4850214" y="1562038"/>
                  <a:pt x="4850214" y="1546649"/>
                  <a:pt x="4839954" y="1538954"/>
                </a:cubicBezTo>
                <a:cubicBezTo>
                  <a:pt x="4850214" y="1538954"/>
                  <a:pt x="4852779" y="1546649"/>
                  <a:pt x="4852779" y="1531260"/>
                </a:cubicBezTo>
                <a:cubicBezTo>
                  <a:pt x="4863038" y="1536390"/>
                  <a:pt x="4860473" y="1526130"/>
                  <a:pt x="4865603" y="1526130"/>
                </a:cubicBezTo>
                <a:cubicBezTo>
                  <a:pt x="4886122" y="1538954"/>
                  <a:pt x="4880992" y="1562038"/>
                  <a:pt x="4893817" y="1579993"/>
                </a:cubicBezTo>
                <a:cubicBezTo>
                  <a:pt x="4904076" y="1572298"/>
                  <a:pt x="4893817" y="1569733"/>
                  <a:pt x="4893817" y="1562038"/>
                </a:cubicBezTo>
                <a:cubicBezTo>
                  <a:pt x="4911771" y="1564603"/>
                  <a:pt x="4901511" y="1574863"/>
                  <a:pt x="4909206" y="1585123"/>
                </a:cubicBezTo>
                <a:cubicBezTo>
                  <a:pt x="4924595" y="1587686"/>
                  <a:pt x="4922031" y="1569733"/>
                  <a:pt x="4927160" y="1559474"/>
                </a:cubicBezTo>
                <a:cubicBezTo>
                  <a:pt x="4929725" y="1564603"/>
                  <a:pt x="4932290" y="1572298"/>
                  <a:pt x="4934855" y="1577428"/>
                </a:cubicBezTo>
                <a:cubicBezTo>
                  <a:pt x="4939985" y="1574863"/>
                  <a:pt x="4934855" y="1559474"/>
                  <a:pt x="4937420" y="1551779"/>
                </a:cubicBezTo>
                <a:cubicBezTo>
                  <a:pt x="4950244" y="1556909"/>
                  <a:pt x="4934855" y="1574863"/>
                  <a:pt x="4955374" y="1572298"/>
                </a:cubicBezTo>
                <a:cubicBezTo>
                  <a:pt x="4952809" y="1597946"/>
                  <a:pt x="4973328" y="1592817"/>
                  <a:pt x="4968199" y="1615901"/>
                </a:cubicBezTo>
                <a:cubicBezTo>
                  <a:pt x="4978458" y="1610770"/>
                  <a:pt x="4968199" y="1605641"/>
                  <a:pt x="4981023" y="1613335"/>
                </a:cubicBezTo>
                <a:cubicBezTo>
                  <a:pt x="4978458" y="1597946"/>
                  <a:pt x="4981023" y="1590251"/>
                  <a:pt x="4993848" y="1585123"/>
                </a:cubicBezTo>
                <a:cubicBezTo>
                  <a:pt x="4991283" y="1590251"/>
                  <a:pt x="4991283" y="1600512"/>
                  <a:pt x="4988718" y="1608206"/>
                </a:cubicBezTo>
                <a:cubicBezTo>
                  <a:pt x="4991283" y="1605641"/>
                  <a:pt x="5001542" y="1592817"/>
                  <a:pt x="5001542" y="1605641"/>
                </a:cubicBezTo>
                <a:cubicBezTo>
                  <a:pt x="5006672" y="1592817"/>
                  <a:pt x="5019497" y="1572298"/>
                  <a:pt x="5006672" y="1564603"/>
                </a:cubicBezTo>
                <a:cubicBezTo>
                  <a:pt x="5006672" y="1562038"/>
                  <a:pt x="5011802" y="1562038"/>
                  <a:pt x="5011802" y="1556909"/>
                </a:cubicBezTo>
                <a:cubicBezTo>
                  <a:pt x="5022061" y="1554344"/>
                  <a:pt x="5022061" y="1562038"/>
                  <a:pt x="5032321" y="1559474"/>
                </a:cubicBezTo>
                <a:cubicBezTo>
                  <a:pt x="5034886" y="1544084"/>
                  <a:pt x="5009237" y="1556909"/>
                  <a:pt x="5009237" y="1544084"/>
                </a:cubicBezTo>
                <a:cubicBezTo>
                  <a:pt x="5016932" y="1549214"/>
                  <a:pt x="5024626" y="1546649"/>
                  <a:pt x="5029756" y="1541519"/>
                </a:cubicBezTo>
                <a:cubicBezTo>
                  <a:pt x="5027191" y="1521000"/>
                  <a:pt x="5029756" y="1521000"/>
                  <a:pt x="5024626" y="1497916"/>
                </a:cubicBezTo>
                <a:cubicBezTo>
                  <a:pt x="5027191" y="1500481"/>
                  <a:pt x="5027191" y="1497916"/>
                  <a:pt x="5032321" y="1497916"/>
                </a:cubicBezTo>
                <a:cubicBezTo>
                  <a:pt x="5032321" y="1487657"/>
                  <a:pt x="5032321" y="1479962"/>
                  <a:pt x="5024626" y="1479962"/>
                </a:cubicBezTo>
                <a:cubicBezTo>
                  <a:pt x="5024626" y="1464574"/>
                  <a:pt x="5032321" y="1459443"/>
                  <a:pt x="5032321" y="1449184"/>
                </a:cubicBezTo>
                <a:cubicBezTo>
                  <a:pt x="5024626" y="1444054"/>
                  <a:pt x="5022061" y="1438925"/>
                  <a:pt x="5016932" y="1433795"/>
                </a:cubicBezTo>
                <a:cubicBezTo>
                  <a:pt x="5024626" y="1423535"/>
                  <a:pt x="5027191" y="1423535"/>
                  <a:pt x="5029756" y="1405581"/>
                </a:cubicBezTo>
                <a:cubicBezTo>
                  <a:pt x="5011802" y="1395321"/>
                  <a:pt x="5014367" y="1385062"/>
                  <a:pt x="5016932" y="1369672"/>
                </a:cubicBezTo>
                <a:cubicBezTo>
                  <a:pt x="5032321" y="1367108"/>
                  <a:pt x="5029756" y="1356848"/>
                  <a:pt x="5037451" y="1341459"/>
                </a:cubicBezTo>
                <a:close/>
                <a:moveTo>
                  <a:pt x="3090697" y="1333789"/>
                </a:moveTo>
                <a:cubicBezTo>
                  <a:pt x="3088132" y="1336354"/>
                  <a:pt x="3088132" y="1341483"/>
                  <a:pt x="3080438" y="1341483"/>
                </a:cubicBezTo>
                <a:cubicBezTo>
                  <a:pt x="3080438" y="1336354"/>
                  <a:pt x="3083003" y="1333789"/>
                  <a:pt x="3090697" y="1333789"/>
                </a:cubicBezTo>
                <a:close/>
                <a:moveTo>
                  <a:pt x="6097433" y="1327931"/>
                </a:moveTo>
                <a:cubicBezTo>
                  <a:pt x="6097072" y="1329614"/>
                  <a:pt x="6088416" y="1336347"/>
                  <a:pt x="6094187" y="1328653"/>
                </a:cubicBezTo>
                <a:cubicBezTo>
                  <a:pt x="6096752" y="1327370"/>
                  <a:pt x="6097553" y="1327370"/>
                  <a:pt x="6097433" y="1327931"/>
                </a:cubicBezTo>
                <a:close/>
                <a:moveTo>
                  <a:pt x="3129170" y="1323528"/>
                </a:moveTo>
                <a:cubicBezTo>
                  <a:pt x="3139430" y="1320965"/>
                  <a:pt x="3126606" y="1331223"/>
                  <a:pt x="3131736" y="1338918"/>
                </a:cubicBezTo>
                <a:cubicBezTo>
                  <a:pt x="3126606" y="1333789"/>
                  <a:pt x="3126606" y="1331223"/>
                  <a:pt x="3129170" y="1323528"/>
                </a:cubicBezTo>
                <a:close/>
                <a:moveTo>
                  <a:pt x="3921723" y="1315802"/>
                </a:moveTo>
                <a:cubicBezTo>
                  <a:pt x="3934547" y="1315802"/>
                  <a:pt x="3939677" y="1323496"/>
                  <a:pt x="3944807" y="1333757"/>
                </a:cubicBezTo>
                <a:cubicBezTo>
                  <a:pt x="3934547" y="1328627"/>
                  <a:pt x="3929418" y="1328627"/>
                  <a:pt x="3919158" y="1323496"/>
                </a:cubicBezTo>
                <a:cubicBezTo>
                  <a:pt x="3921723" y="1320932"/>
                  <a:pt x="3921723" y="1318367"/>
                  <a:pt x="3921723" y="1315802"/>
                </a:cubicBezTo>
                <a:close/>
                <a:moveTo>
                  <a:pt x="5216993" y="1313262"/>
                </a:moveTo>
                <a:cubicBezTo>
                  <a:pt x="5242643" y="1351735"/>
                  <a:pt x="5304200" y="1354301"/>
                  <a:pt x="5299070" y="1418421"/>
                </a:cubicBezTo>
                <a:cubicBezTo>
                  <a:pt x="5296505" y="1438940"/>
                  <a:pt x="5281116" y="1446635"/>
                  <a:pt x="5275986" y="1469719"/>
                </a:cubicBezTo>
                <a:cubicBezTo>
                  <a:pt x="5268292" y="1477413"/>
                  <a:pt x="5245207" y="1469719"/>
                  <a:pt x="5245207" y="1485108"/>
                </a:cubicBezTo>
                <a:cubicBezTo>
                  <a:pt x="5201603" y="1467154"/>
                  <a:pt x="5199038" y="1423552"/>
                  <a:pt x="5209298" y="1387644"/>
                </a:cubicBezTo>
                <a:cubicBezTo>
                  <a:pt x="5214428" y="1385079"/>
                  <a:pt x="5214428" y="1390208"/>
                  <a:pt x="5214428" y="1392773"/>
                </a:cubicBezTo>
                <a:cubicBezTo>
                  <a:pt x="5219558" y="1385079"/>
                  <a:pt x="5211863" y="1372254"/>
                  <a:pt x="5229818" y="1374819"/>
                </a:cubicBezTo>
                <a:cubicBezTo>
                  <a:pt x="5227253" y="1351735"/>
                  <a:pt x="5211863" y="1336347"/>
                  <a:pt x="5216993" y="1313262"/>
                </a:cubicBezTo>
                <a:close/>
                <a:moveTo>
                  <a:pt x="4237204" y="1310660"/>
                </a:moveTo>
                <a:cubicBezTo>
                  <a:pt x="4214120" y="1341439"/>
                  <a:pt x="4191036" y="1369652"/>
                  <a:pt x="4167952" y="1395301"/>
                </a:cubicBezTo>
                <a:cubicBezTo>
                  <a:pt x="4147433" y="1415821"/>
                  <a:pt x="4126914" y="1436340"/>
                  <a:pt x="4106395" y="1454294"/>
                </a:cubicBezTo>
                <a:cubicBezTo>
                  <a:pt x="4106395" y="1456859"/>
                  <a:pt x="4103830" y="1459424"/>
                  <a:pt x="4106395" y="1461989"/>
                </a:cubicBezTo>
                <a:cubicBezTo>
                  <a:pt x="4065356" y="1505593"/>
                  <a:pt x="4026883" y="1551761"/>
                  <a:pt x="3993539" y="1610753"/>
                </a:cubicBezTo>
                <a:cubicBezTo>
                  <a:pt x="3967890" y="1654357"/>
                  <a:pt x="3952501" y="1705654"/>
                  <a:pt x="3944806" y="1756952"/>
                </a:cubicBezTo>
                <a:cubicBezTo>
                  <a:pt x="3949936" y="1762082"/>
                  <a:pt x="3952501" y="1769777"/>
                  <a:pt x="3957631" y="1777471"/>
                </a:cubicBezTo>
                <a:cubicBezTo>
                  <a:pt x="3957631" y="1774907"/>
                  <a:pt x="3960196" y="1774907"/>
                  <a:pt x="3960196" y="1774907"/>
                </a:cubicBezTo>
                <a:cubicBezTo>
                  <a:pt x="3970455" y="1767212"/>
                  <a:pt x="3983280" y="1764647"/>
                  <a:pt x="3996104" y="1759517"/>
                </a:cubicBezTo>
                <a:cubicBezTo>
                  <a:pt x="3996104" y="1756952"/>
                  <a:pt x="3996104" y="1754387"/>
                  <a:pt x="3993539" y="1754387"/>
                </a:cubicBezTo>
                <a:cubicBezTo>
                  <a:pt x="3998669" y="1749258"/>
                  <a:pt x="4001234" y="1751823"/>
                  <a:pt x="4001234" y="1756952"/>
                </a:cubicBezTo>
                <a:cubicBezTo>
                  <a:pt x="4014058" y="1754387"/>
                  <a:pt x="4029448" y="1749258"/>
                  <a:pt x="4042272" y="1744128"/>
                </a:cubicBezTo>
                <a:lnTo>
                  <a:pt x="4050063" y="1711991"/>
                </a:lnTo>
                <a:lnTo>
                  <a:pt x="4044837" y="1744128"/>
                </a:lnTo>
                <a:cubicBezTo>
                  <a:pt x="4049967" y="1741563"/>
                  <a:pt x="4055097" y="1738998"/>
                  <a:pt x="4062791" y="1736433"/>
                </a:cubicBezTo>
                <a:cubicBezTo>
                  <a:pt x="4088440" y="1682570"/>
                  <a:pt x="4111524" y="1628708"/>
                  <a:pt x="4134609" y="1574845"/>
                </a:cubicBezTo>
                <a:cubicBezTo>
                  <a:pt x="4134609" y="1577410"/>
                  <a:pt x="4132043" y="1577410"/>
                  <a:pt x="4129478" y="1579975"/>
                </a:cubicBezTo>
                <a:cubicBezTo>
                  <a:pt x="4106395" y="1603059"/>
                  <a:pt x="4080746" y="1628708"/>
                  <a:pt x="4065356" y="1667181"/>
                </a:cubicBezTo>
                <a:lnTo>
                  <a:pt x="4052889" y="1700334"/>
                </a:lnTo>
                <a:lnTo>
                  <a:pt x="4062791" y="1659486"/>
                </a:lnTo>
                <a:cubicBezTo>
                  <a:pt x="4078181" y="1623578"/>
                  <a:pt x="4101265" y="1597929"/>
                  <a:pt x="4121784" y="1577410"/>
                </a:cubicBezTo>
                <a:cubicBezTo>
                  <a:pt x="4114089" y="1577410"/>
                  <a:pt x="4106395" y="1569715"/>
                  <a:pt x="4103830" y="1562020"/>
                </a:cubicBezTo>
                <a:cubicBezTo>
                  <a:pt x="4119219" y="1562020"/>
                  <a:pt x="4116654" y="1572280"/>
                  <a:pt x="4124349" y="1574845"/>
                </a:cubicBezTo>
                <a:cubicBezTo>
                  <a:pt x="4124349" y="1574845"/>
                  <a:pt x="4126914" y="1572280"/>
                  <a:pt x="4126914" y="1572280"/>
                </a:cubicBezTo>
                <a:cubicBezTo>
                  <a:pt x="4129478" y="1567150"/>
                  <a:pt x="4134609" y="1564585"/>
                  <a:pt x="4139738" y="1559456"/>
                </a:cubicBezTo>
                <a:cubicBezTo>
                  <a:pt x="4167952" y="1495333"/>
                  <a:pt x="4193601" y="1431210"/>
                  <a:pt x="4224380" y="1369652"/>
                </a:cubicBezTo>
                <a:cubicBezTo>
                  <a:pt x="4226945" y="1349133"/>
                  <a:pt x="4232074" y="1331179"/>
                  <a:pt x="4237204" y="1310660"/>
                </a:cubicBezTo>
                <a:close/>
                <a:moveTo>
                  <a:pt x="5319588" y="1308115"/>
                </a:moveTo>
                <a:cubicBezTo>
                  <a:pt x="5334977" y="1310681"/>
                  <a:pt x="5332412" y="1328635"/>
                  <a:pt x="5345237" y="1333765"/>
                </a:cubicBezTo>
                <a:cubicBezTo>
                  <a:pt x="5347802" y="1323505"/>
                  <a:pt x="5350367" y="1328635"/>
                  <a:pt x="5352932" y="1320940"/>
                </a:cubicBezTo>
                <a:cubicBezTo>
                  <a:pt x="5368321" y="1320940"/>
                  <a:pt x="5368321" y="1336328"/>
                  <a:pt x="5383710" y="1341458"/>
                </a:cubicBezTo>
                <a:cubicBezTo>
                  <a:pt x="5383710" y="1338894"/>
                  <a:pt x="5383710" y="1338894"/>
                  <a:pt x="5383710" y="1338894"/>
                </a:cubicBezTo>
                <a:cubicBezTo>
                  <a:pt x="5409359" y="1349153"/>
                  <a:pt x="5422184" y="1387626"/>
                  <a:pt x="5445268" y="1405581"/>
                </a:cubicBezTo>
                <a:cubicBezTo>
                  <a:pt x="5442703" y="1477398"/>
                  <a:pt x="5517085" y="1549215"/>
                  <a:pt x="5470917" y="1605641"/>
                </a:cubicBezTo>
                <a:cubicBezTo>
                  <a:pt x="5478611" y="1636420"/>
                  <a:pt x="5491436" y="1646680"/>
                  <a:pt x="5483741" y="1677458"/>
                </a:cubicBezTo>
                <a:cubicBezTo>
                  <a:pt x="5481176" y="1685153"/>
                  <a:pt x="5473482" y="1685153"/>
                  <a:pt x="5470917" y="1690284"/>
                </a:cubicBezTo>
                <a:cubicBezTo>
                  <a:pt x="5468352" y="1697977"/>
                  <a:pt x="5478611" y="1703107"/>
                  <a:pt x="5470917" y="1708237"/>
                </a:cubicBezTo>
                <a:cubicBezTo>
                  <a:pt x="5450397" y="1726190"/>
                  <a:pt x="5391405" y="1703107"/>
                  <a:pt x="5404230" y="1649245"/>
                </a:cubicBezTo>
                <a:cubicBezTo>
                  <a:pt x="5386275" y="1644115"/>
                  <a:pt x="5376016" y="1631290"/>
                  <a:pt x="5381145" y="1605641"/>
                </a:cubicBezTo>
                <a:cubicBezTo>
                  <a:pt x="5391405" y="1600511"/>
                  <a:pt x="5396535" y="1590252"/>
                  <a:pt x="5411924" y="1590252"/>
                </a:cubicBezTo>
                <a:cubicBezTo>
                  <a:pt x="5411924" y="1582557"/>
                  <a:pt x="5406794" y="1577427"/>
                  <a:pt x="5406794" y="1562038"/>
                </a:cubicBezTo>
                <a:cubicBezTo>
                  <a:pt x="5363191" y="1572298"/>
                  <a:pt x="5314458" y="1600511"/>
                  <a:pt x="5309328" y="1541520"/>
                </a:cubicBezTo>
                <a:cubicBezTo>
                  <a:pt x="5311893" y="1536389"/>
                  <a:pt x="5322153" y="1526130"/>
                  <a:pt x="5317023" y="1518436"/>
                </a:cubicBezTo>
                <a:cubicBezTo>
                  <a:pt x="5327283" y="1513306"/>
                  <a:pt x="5334977" y="1503047"/>
                  <a:pt x="5347802" y="1513306"/>
                </a:cubicBezTo>
                <a:cubicBezTo>
                  <a:pt x="5358061" y="1508176"/>
                  <a:pt x="5365756" y="1495352"/>
                  <a:pt x="5355496" y="1485092"/>
                </a:cubicBezTo>
                <a:cubicBezTo>
                  <a:pt x="5358061" y="1474833"/>
                  <a:pt x="5358061" y="1492787"/>
                  <a:pt x="5363191" y="1492787"/>
                </a:cubicBezTo>
                <a:cubicBezTo>
                  <a:pt x="5368321" y="1479963"/>
                  <a:pt x="5363191" y="1469703"/>
                  <a:pt x="5360626" y="1456878"/>
                </a:cubicBezTo>
                <a:cubicBezTo>
                  <a:pt x="5334977" y="1467138"/>
                  <a:pt x="5317023" y="1482527"/>
                  <a:pt x="5296504" y="1495352"/>
                </a:cubicBezTo>
                <a:cubicBezTo>
                  <a:pt x="5301634" y="1474833"/>
                  <a:pt x="5337542" y="1474833"/>
                  <a:pt x="5332412" y="1454314"/>
                </a:cubicBezTo>
                <a:cubicBezTo>
                  <a:pt x="5345237" y="1459443"/>
                  <a:pt x="5345237" y="1454314"/>
                  <a:pt x="5352932" y="1449184"/>
                </a:cubicBezTo>
                <a:cubicBezTo>
                  <a:pt x="5342672" y="1408145"/>
                  <a:pt x="5324718" y="1387626"/>
                  <a:pt x="5314458" y="1344024"/>
                </a:cubicBezTo>
                <a:cubicBezTo>
                  <a:pt x="5319588" y="1341458"/>
                  <a:pt x="5317023" y="1351718"/>
                  <a:pt x="5322153" y="1351718"/>
                </a:cubicBezTo>
                <a:cubicBezTo>
                  <a:pt x="5324718" y="1346588"/>
                  <a:pt x="5317023" y="1326070"/>
                  <a:pt x="5319588" y="1308115"/>
                </a:cubicBezTo>
                <a:close/>
                <a:moveTo>
                  <a:pt x="5175955" y="1303004"/>
                </a:moveTo>
                <a:cubicBezTo>
                  <a:pt x="5186216" y="1308135"/>
                  <a:pt x="5173390" y="1315829"/>
                  <a:pt x="5173390" y="1318394"/>
                </a:cubicBezTo>
                <a:cubicBezTo>
                  <a:pt x="5165695" y="1315829"/>
                  <a:pt x="5178520" y="1308135"/>
                  <a:pt x="5175955" y="1303004"/>
                </a:cubicBezTo>
                <a:close/>
                <a:moveTo>
                  <a:pt x="5158001" y="1300422"/>
                </a:moveTo>
                <a:cubicBezTo>
                  <a:pt x="5158001" y="1313246"/>
                  <a:pt x="5145177" y="1310681"/>
                  <a:pt x="5145177" y="1320941"/>
                </a:cubicBezTo>
                <a:cubicBezTo>
                  <a:pt x="5142612" y="1318376"/>
                  <a:pt x="5150307" y="1300422"/>
                  <a:pt x="5158001" y="1300422"/>
                </a:cubicBezTo>
                <a:close/>
                <a:moveTo>
                  <a:pt x="3770393" y="1295283"/>
                </a:moveTo>
                <a:cubicBezTo>
                  <a:pt x="3775523" y="1295283"/>
                  <a:pt x="3775523" y="1297849"/>
                  <a:pt x="3778088" y="1297849"/>
                </a:cubicBezTo>
                <a:cubicBezTo>
                  <a:pt x="3778088" y="1310673"/>
                  <a:pt x="3767829" y="1313238"/>
                  <a:pt x="3767829" y="1323497"/>
                </a:cubicBezTo>
                <a:cubicBezTo>
                  <a:pt x="3762699" y="1318368"/>
                  <a:pt x="3767829" y="1302977"/>
                  <a:pt x="3770393" y="1295283"/>
                </a:cubicBezTo>
                <a:close/>
                <a:moveTo>
                  <a:pt x="3106086" y="1290141"/>
                </a:moveTo>
                <a:cubicBezTo>
                  <a:pt x="3106086" y="1292706"/>
                  <a:pt x="3103521" y="1292706"/>
                  <a:pt x="3103521" y="1295271"/>
                </a:cubicBezTo>
                <a:cubicBezTo>
                  <a:pt x="3103521" y="1297835"/>
                  <a:pt x="3103521" y="1297835"/>
                  <a:pt x="3103521" y="1297835"/>
                </a:cubicBezTo>
                <a:cubicBezTo>
                  <a:pt x="3103521" y="1300400"/>
                  <a:pt x="3100957" y="1300400"/>
                  <a:pt x="3100957" y="1302965"/>
                </a:cubicBezTo>
                <a:cubicBezTo>
                  <a:pt x="3100957" y="1302965"/>
                  <a:pt x="3103521" y="1302965"/>
                  <a:pt x="3103521" y="1305530"/>
                </a:cubicBezTo>
                <a:cubicBezTo>
                  <a:pt x="3100957" y="1305530"/>
                  <a:pt x="3098393" y="1305530"/>
                  <a:pt x="3098393" y="1305530"/>
                </a:cubicBezTo>
                <a:cubicBezTo>
                  <a:pt x="3083002" y="1333744"/>
                  <a:pt x="3070178" y="1359393"/>
                  <a:pt x="3054788" y="1387607"/>
                </a:cubicBezTo>
                <a:cubicBezTo>
                  <a:pt x="3047094" y="1428645"/>
                  <a:pt x="3039399" y="1469683"/>
                  <a:pt x="3031704" y="1510722"/>
                </a:cubicBezTo>
                <a:cubicBezTo>
                  <a:pt x="3034269" y="1505593"/>
                  <a:pt x="3039399" y="1503028"/>
                  <a:pt x="3041964" y="1497898"/>
                </a:cubicBezTo>
                <a:cubicBezTo>
                  <a:pt x="3044529" y="1513288"/>
                  <a:pt x="3039399" y="1533807"/>
                  <a:pt x="3029139" y="1549196"/>
                </a:cubicBezTo>
                <a:cubicBezTo>
                  <a:pt x="3026575" y="1549196"/>
                  <a:pt x="3026575" y="1549196"/>
                  <a:pt x="3024010" y="1549196"/>
                </a:cubicBezTo>
                <a:cubicBezTo>
                  <a:pt x="3013751" y="1600494"/>
                  <a:pt x="3003492" y="1651792"/>
                  <a:pt x="2993231" y="1700525"/>
                </a:cubicBezTo>
                <a:cubicBezTo>
                  <a:pt x="2990666" y="1715914"/>
                  <a:pt x="2988101" y="1733868"/>
                  <a:pt x="2985536" y="1749258"/>
                </a:cubicBezTo>
                <a:cubicBezTo>
                  <a:pt x="2985536" y="1751823"/>
                  <a:pt x="2985536" y="1751823"/>
                  <a:pt x="2988101" y="1751823"/>
                </a:cubicBezTo>
                <a:cubicBezTo>
                  <a:pt x="2975277" y="1790296"/>
                  <a:pt x="2995796" y="1797991"/>
                  <a:pt x="3024010" y="1805684"/>
                </a:cubicBezTo>
                <a:cubicBezTo>
                  <a:pt x="3029139" y="1790296"/>
                  <a:pt x="3036835" y="1777471"/>
                  <a:pt x="3041964" y="1764647"/>
                </a:cubicBezTo>
                <a:cubicBezTo>
                  <a:pt x="3054788" y="1738998"/>
                  <a:pt x="3065048" y="1715914"/>
                  <a:pt x="3085567" y="1690265"/>
                </a:cubicBezTo>
                <a:cubicBezTo>
                  <a:pt x="3093262" y="1641532"/>
                  <a:pt x="3103521" y="1595364"/>
                  <a:pt x="3113781" y="1546631"/>
                </a:cubicBezTo>
                <a:cubicBezTo>
                  <a:pt x="3118911" y="1518416"/>
                  <a:pt x="3126605" y="1487638"/>
                  <a:pt x="3134300" y="1456859"/>
                </a:cubicBezTo>
                <a:cubicBezTo>
                  <a:pt x="3134300" y="1428645"/>
                  <a:pt x="3131736" y="1397866"/>
                  <a:pt x="3129170" y="1372217"/>
                </a:cubicBezTo>
                <a:cubicBezTo>
                  <a:pt x="3126605" y="1369652"/>
                  <a:pt x="3126605" y="1364523"/>
                  <a:pt x="3126605" y="1361958"/>
                </a:cubicBezTo>
                <a:cubicBezTo>
                  <a:pt x="3126605" y="1359393"/>
                  <a:pt x="3124040" y="1356828"/>
                  <a:pt x="3118911" y="1359393"/>
                </a:cubicBezTo>
                <a:cubicBezTo>
                  <a:pt x="3117628" y="1355546"/>
                  <a:pt x="3117628" y="1352339"/>
                  <a:pt x="3118590" y="1350095"/>
                </a:cubicBezTo>
                <a:lnTo>
                  <a:pt x="3121931" y="1347933"/>
                </a:lnTo>
                <a:lnTo>
                  <a:pt x="3124040" y="1346568"/>
                </a:lnTo>
                <a:cubicBezTo>
                  <a:pt x="3118911" y="1326049"/>
                  <a:pt x="3113781" y="1308095"/>
                  <a:pt x="3106086" y="1290141"/>
                </a:cubicBezTo>
                <a:close/>
                <a:moveTo>
                  <a:pt x="3124040" y="1285056"/>
                </a:moveTo>
                <a:cubicBezTo>
                  <a:pt x="3129170" y="1287621"/>
                  <a:pt x="3126605" y="1295316"/>
                  <a:pt x="3129170" y="1300446"/>
                </a:cubicBezTo>
                <a:cubicBezTo>
                  <a:pt x="3126605" y="1300446"/>
                  <a:pt x="3121476" y="1290186"/>
                  <a:pt x="3121476" y="1300446"/>
                </a:cubicBezTo>
                <a:cubicBezTo>
                  <a:pt x="3113781" y="1295316"/>
                  <a:pt x="3121476" y="1287621"/>
                  <a:pt x="3124040" y="1285056"/>
                </a:cubicBezTo>
                <a:close/>
                <a:moveTo>
                  <a:pt x="3739615" y="1277329"/>
                </a:moveTo>
                <a:cubicBezTo>
                  <a:pt x="3747310" y="1279894"/>
                  <a:pt x="3749875" y="1290154"/>
                  <a:pt x="3752439" y="1300414"/>
                </a:cubicBezTo>
                <a:cubicBezTo>
                  <a:pt x="3729355" y="1310673"/>
                  <a:pt x="3726790" y="1287589"/>
                  <a:pt x="3739615" y="1277329"/>
                </a:cubicBezTo>
                <a:close/>
                <a:moveTo>
                  <a:pt x="6422494" y="1256838"/>
                </a:moveTo>
                <a:cubicBezTo>
                  <a:pt x="6425058" y="1256838"/>
                  <a:pt x="6425058" y="1256838"/>
                  <a:pt x="6427623" y="1256838"/>
                </a:cubicBezTo>
                <a:cubicBezTo>
                  <a:pt x="6427623" y="1259402"/>
                  <a:pt x="6427623" y="1261968"/>
                  <a:pt x="6427623" y="1261968"/>
                </a:cubicBezTo>
                <a:cubicBezTo>
                  <a:pt x="6427623" y="1261968"/>
                  <a:pt x="6425058" y="1261968"/>
                  <a:pt x="6422494" y="1261968"/>
                </a:cubicBezTo>
                <a:cubicBezTo>
                  <a:pt x="6422494" y="1261968"/>
                  <a:pt x="6422494" y="1259402"/>
                  <a:pt x="6422494" y="1256838"/>
                </a:cubicBezTo>
                <a:close/>
                <a:moveTo>
                  <a:pt x="4721969" y="1246578"/>
                </a:moveTo>
                <a:cubicBezTo>
                  <a:pt x="4724534" y="1246578"/>
                  <a:pt x="4724534" y="1246578"/>
                  <a:pt x="4727098" y="1246578"/>
                </a:cubicBezTo>
                <a:cubicBezTo>
                  <a:pt x="4727098" y="1251708"/>
                  <a:pt x="4727098" y="1254272"/>
                  <a:pt x="4727098" y="1259402"/>
                </a:cubicBezTo>
                <a:cubicBezTo>
                  <a:pt x="4724534" y="1259402"/>
                  <a:pt x="4721969" y="1259402"/>
                  <a:pt x="4721969" y="1259402"/>
                </a:cubicBezTo>
                <a:cubicBezTo>
                  <a:pt x="4721969" y="1254272"/>
                  <a:pt x="4721969" y="1251708"/>
                  <a:pt x="4721969" y="1246578"/>
                </a:cubicBezTo>
                <a:close/>
                <a:moveTo>
                  <a:pt x="3883250" y="1246548"/>
                </a:moveTo>
                <a:cubicBezTo>
                  <a:pt x="3885814" y="1254242"/>
                  <a:pt x="3883250" y="1272198"/>
                  <a:pt x="3896074" y="1269633"/>
                </a:cubicBezTo>
                <a:cubicBezTo>
                  <a:pt x="3896074" y="1274763"/>
                  <a:pt x="3888379" y="1274763"/>
                  <a:pt x="3890944" y="1279892"/>
                </a:cubicBezTo>
                <a:cubicBezTo>
                  <a:pt x="3885814" y="1277327"/>
                  <a:pt x="3880685" y="1272198"/>
                  <a:pt x="3878120" y="1267068"/>
                </a:cubicBezTo>
                <a:cubicBezTo>
                  <a:pt x="3872990" y="1272198"/>
                  <a:pt x="3880685" y="1279892"/>
                  <a:pt x="3885814" y="1282457"/>
                </a:cubicBezTo>
                <a:cubicBezTo>
                  <a:pt x="3867859" y="1287587"/>
                  <a:pt x="3878120" y="1264503"/>
                  <a:pt x="3875555" y="1254242"/>
                </a:cubicBezTo>
                <a:cubicBezTo>
                  <a:pt x="3880685" y="1254242"/>
                  <a:pt x="3885814" y="1254242"/>
                  <a:pt x="3883250" y="1246548"/>
                </a:cubicBezTo>
                <a:close/>
                <a:moveTo>
                  <a:pt x="2857292" y="1243973"/>
                </a:moveTo>
                <a:cubicBezTo>
                  <a:pt x="2857292" y="1254232"/>
                  <a:pt x="2859857" y="1267057"/>
                  <a:pt x="2859857" y="1279881"/>
                </a:cubicBezTo>
                <a:cubicBezTo>
                  <a:pt x="2864986" y="1369652"/>
                  <a:pt x="2849597" y="1467118"/>
                  <a:pt x="2836773" y="1559456"/>
                </a:cubicBezTo>
                <a:cubicBezTo>
                  <a:pt x="2829078" y="1608189"/>
                  <a:pt x="2823949" y="1654357"/>
                  <a:pt x="2829078" y="1697960"/>
                </a:cubicBezTo>
                <a:cubicBezTo>
                  <a:pt x="2841902" y="1672311"/>
                  <a:pt x="2859857" y="1654357"/>
                  <a:pt x="2872681" y="1633837"/>
                </a:cubicBezTo>
                <a:cubicBezTo>
                  <a:pt x="2872681" y="1628708"/>
                  <a:pt x="2872681" y="1623578"/>
                  <a:pt x="2872681" y="1618448"/>
                </a:cubicBezTo>
                <a:cubicBezTo>
                  <a:pt x="2872681" y="1618448"/>
                  <a:pt x="2870116" y="1621013"/>
                  <a:pt x="2870116" y="1623578"/>
                </a:cubicBezTo>
                <a:cubicBezTo>
                  <a:pt x="2862421" y="1626143"/>
                  <a:pt x="2864986" y="1615883"/>
                  <a:pt x="2859857" y="1615883"/>
                </a:cubicBezTo>
                <a:cubicBezTo>
                  <a:pt x="2864986" y="1613318"/>
                  <a:pt x="2872681" y="1610753"/>
                  <a:pt x="2875246" y="1608189"/>
                </a:cubicBezTo>
                <a:cubicBezTo>
                  <a:pt x="2877812" y="1600494"/>
                  <a:pt x="2877812" y="1590234"/>
                  <a:pt x="2877812" y="1582540"/>
                </a:cubicBezTo>
                <a:cubicBezTo>
                  <a:pt x="2877812" y="1562020"/>
                  <a:pt x="2880376" y="1538935"/>
                  <a:pt x="2880376" y="1518416"/>
                </a:cubicBezTo>
                <a:cubicBezTo>
                  <a:pt x="2880376" y="1477379"/>
                  <a:pt x="2882941" y="1436340"/>
                  <a:pt x="2880376" y="1397866"/>
                </a:cubicBezTo>
                <a:cubicBezTo>
                  <a:pt x="2877812" y="1395301"/>
                  <a:pt x="2877812" y="1392737"/>
                  <a:pt x="2877812" y="1390172"/>
                </a:cubicBezTo>
                <a:cubicBezTo>
                  <a:pt x="2880376" y="1390172"/>
                  <a:pt x="2880376" y="1390172"/>
                  <a:pt x="2880376" y="1390172"/>
                </a:cubicBezTo>
                <a:cubicBezTo>
                  <a:pt x="2877812" y="1349133"/>
                  <a:pt x="2872681" y="1308095"/>
                  <a:pt x="2864986" y="1272187"/>
                </a:cubicBezTo>
                <a:cubicBezTo>
                  <a:pt x="2862421" y="1261927"/>
                  <a:pt x="2859857" y="1254232"/>
                  <a:pt x="2857292" y="1243973"/>
                </a:cubicBezTo>
                <a:close/>
                <a:moveTo>
                  <a:pt x="3752440" y="1238856"/>
                </a:moveTo>
                <a:cubicBezTo>
                  <a:pt x="3757570" y="1241421"/>
                  <a:pt x="3752440" y="1246550"/>
                  <a:pt x="3752440" y="1249116"/>
                </a:cubicBezTo>
                <a:cubicBezTo>
                  <a:pt x="3747310" y="1249116"/>
                  <a:pt x="3755005" y="1243987"/>
                  <a:pt x="3752440" y="1238856"/>
                </a:cubicBezTo>
                <a:close/>
                <a:moveTo>
                  <a:pt x="3072743" y="1238843"/>
                </a:moveTo>
                <a:cubicBezTo>
                  <a:pt x="3070178" y="1261927"/>
                  <a:pt x="3067614" y="1282446"/>
                  <a:pt x="3065048" y="1302965"/>
                </a:cubicBezTo>
                <a:cubicBezTo>
                  <a:pt x="3062483" y="1318355"/>
                  <a:pt x="3059918" y="1333744"/>
                  <a:pt x="3057353" y="1351698"/>
                </a:cubicBezTo>
                <a:cubicBezTo>
                  <a:pt x="3070178" y="1328614"/>
                  <a:pt x="3083002" y="1302965"/>
                  <a:pt x="3095827" y="1279881"/>
                </a:cubicBezTo>
                <a:cubicBezTo>
                  <a:pt x="3095827" y="1279881"/>
                  <a:pt x="3095827" y="1277316"/>
                  <a:pt x="3095827" y="1277316"/>
                </a:cubicBezTo>
                <a:cubicBezTo>
                  <a:pt x="3088132" y="1261927"/>
                  <a:pt x="3080437" y="1249103"/>
                  <a:pt x="3072743" y="1238843"/>
                </a:cubicBezTo>
                <a:close/>
                <a:moveTo>
                  <a:pt x="5730934" y="1237182"/>
                </a:moveTo>
                <a:cubicBezTo>
                  <a:pt x="5734461" y="1236621"/>
                  <a:pt x="5738308" y="1237582"/>
                  <a:pt x="5742797" y="1241430"/>
                </a:cubicBezTo>
                <a:cubicBezTo>
                  <a:pt x="5745361" y="1264514"/>
                  <a:pt x="5750491" y="1254255"/>
                  <a:pt x="5760751" y="1272209"/>
                </a:cubicBezTo>
                <a:cubicBezTo>
                  <a:pt x="5758186" y="1282469"/>
                  <a:pt x="5760751" y="1282469"/>
                  <a:pt x="5758186" y="1297858"/>
                </a:cubicBezTo>
                <a:cubicBezTo>
                  <a:pt x="5750491" y="1302988"/>
                  <a:pt x="5745361" y="1305553"/>
                  <a:pt x="5742797" y="1313246"/>
                </a:cubicBezTo>
                <a:cubicBezTo>
                  <a:pt x="5740232" y="1313246"/>
                  <a:pt x="5737667" y="1310681"/>
                  <a:pt x="5735102" y="1310681"/>
                </a:cubicBezTo>
                <a:cubicBezTo>
                  <a:pt x="5740232" y="1318377"/>
                  <a:pt x="5706888" y="1333766"/>
                  <a:pt x="5719712" y="1338896"/>
                </a:cubicBezTo>
                <a:cubicBezTo>
                  <a:pt x="5717148" y="1344026"/>
                  <a:pt x="5704323" y="1351721"/>
                  <a:pt x="5701758" y="1341461"/>
                </a:cubicBezTo>
                <a:cubicBezTo>
                  <a:pt x="5699193" y="1341461"/>
                  <a:pt x="5699193" y="1346591"/>
                  <a:pt x="5699193" y="1349156"/>
                </a:cubicBezTo>
                <a:cubicBezTo>
                  <a:pt x="5694063" y="1349156"/>
                  <a:pt x="5686369" y="1344026"/>
                  <a:pt x="5681239" y="1346591"/>
                </a:cubicBezTo>
                <a:cubicBezTo>
                  <a:pt x="5676108" y="1344026"/>
                  <a:pt x="5673544" y="1336331"/>
                  <a:pt x="5678674" y="1331201"/>
                </a:cubicBezTo>
                <a:cubicBezTo>
                  <a:pt x="5658154" y="1338896"/>
                  <a:pt x="5663284" y="1274774"/>
                  <a:pt x="5683804" y="1274774"/>
                </a:cubicBezTo>
                <a:cubicBezTo>
                  <a:pt x="5683804" y="1264514"/>
                  <a:pt x="5678674" y="1264514"/>
                  <a:pt x="5683804" y="1254255"/>
                </a:cubicBezTo>
                <a:cubicBezTo>
                  <a:pt x="5696628" y="1267078"/>
                  <a:pt x="5694063" y="1251689"/>
                  <a:pt x="5699193" y="1246559"/>
                </a:cubicBezTo>
                <a:cubicBezTo>
                  <a:pt x="5712659" y="1254255"/>
                  <a:pt x="5720353" y="1238866"/>
                  <a:pt x="5730934" y="1237182"/>
                </a:cubicBezTo>
                <a:close/>
                <a:moveTo>
                  <a:pt x="4260288" y="1233713"/>
                </a:moveTo>
                <a:cubicBezTo>
                  <a:pt x="4247464" y="1261927"/>
                  <a:pt x="4232074" y="1290141"/>
                  <a:pt x="4216685" y="1313225"/>
                </a:cubicBezTo>
                <a:cubicBezTo>
                  <a:pt x="4196166" y="1344004"/>
                  <a:pt x="4175647" y="1369652"/>
                  <a:pt x="4157692" y="1397866"/>
                </a:cubicBezTo>
                <a:cubicBezTo>
                  <a:pt x="4160257" y="1395301"/>
                  <a:pt x="4165387" y="1390172"/>
                  <a:pt x="4167952" y="1387607"/>
                </a:cubicBezTo>
                <a:cubicBezTo>
                  <a:pt x="4193601" y="1359393"/>
                  <a:pt x="4216685" y="1331179"/>
                  <a:pt x="4242334" y="1300400"/>
                </a:cubicBezTo>
                <a:cubicBezTo>
                  <a:pt x="4247464" y="1277316"/>
                  <a:pt x="4252594" y="1256797"/>
                  <a:pt x="4260288" y="1233713"/>
                </a:cubicBezTo>
                <a:close/>
                <a:moveTo>
                  <a:pt x="3062483" y="1231148"/>
                </a:moveTo>
                <a:cubicBezTo>
                  <a:pt x="3054788" y="1264492"/>
                  <a:pt x="3044529" y="1297835"/>
                  <a:pt x="3034269" y="1331179"/>
                </a:cubicBezTo>
                <a:cubicBezTo>
                  <a:pt x="3031704" y="1338874"/>
                  <a:pt x="3029139" y="1344004"/>
                  <a:pt x="3026575" y="1351698"/>
                </a:cubicBezTo>
                <a:cubicBezTo>
                  <a:pt x="3021445" y="1379912"/>
                  <a:pt x="3013751" y="1410691"/>
                  <a:pt x="3006055" y="1438905"/>
                </a:cubicBezTo>
                <a:cubicBezTo>
                  <a:pt x="3003492" y="1444034"/>
                  <a:pt x="3003492" y="1449164"/>
                  <a:pt x="3000926" y="1454294"/>
                </a:cubicBezTo>
                <a:cubicBezTo>
                  <a:pt x="3013751" y="1428645"/>
                  <a:pt x="3026575" y="1405561"/>
                  <a:pt x="3039399" y="1385042"/>
                </a:cubicBezTo>
                <a:cubicBezTo>
                  <a:pt x="3044529" y="1356828"/>
                  <a:pt x="3047094" y="1331179"/>
                  <a:pt x="3052224" y="1305530"/>
                </a:cubicBezTo>
                <a:cubicBezTo>
                  <a:pt x="3054788" y="1279881"/>
                  <a:pt x="3059918" y="1256797"/>
                  <a:pt x="3062483" y="1231148"/>
                </a:cubicBezTo>
                <a:close/>
                <a:moveTo>
                  <a:pt x="3739615" y="1228594"/>
                </a:moveTo>
                <a:cubicBezTo>
                  <a:pt x="3744745" y="1228594"/>
                  <a:pt x="3747310" y="1233725"/>
                  <a:pt x="3747310" y="1228594"/>
                </a:cubicBezTo>
                <a:cubicBezTo>
                  <a:pt x="3755006" y="1236289"/>
                  <a:pt x="3742180" y="1251679"/>
                  <a:pt x="3744745" y="1256808"/>
                </a:cubicBezTo>
                <a:cubicBezTo>
                  <a:pt x="3742180" y="1264503"/>
                  <a:pt x="3742180" y="1249114"/>
                  <a:pt x="3737051" y="1254244"/>
                </a:cubicBezTo>
                <a:cubicBezTo>
                  <a:pt x="3739615" y="1241419"/>
                  <a:pt x="3737051" y="1238853"/>
                  <a:pt x="3739615" y="1228594"/>
                </a:cubicBezTo>
                <a:close/>
                <a:moveTo>
                  <a:pt x="3323301" y="1215565"/>
                </a:moveTo>
                <a:cubicBezTo>
                  <a:pt x="3326186" y="1218211"/>
                  <a:pt x="3324744" y="1227348"/>
                  <a:pt x="3318973" y="1223501"/>
                </a:cubicBezTo>
                <a:cubicBezTo>
                  <a:pt x="3318973" y="1220937"/>
                  <a:pt x="3318973" y="1218371"/>
                  <a:pt x="3318973" y="1215806"/>
                </a:cubicBezTo>
                <a:cubicBezTo>
                  <a:pt x="3320897" y="1214523"/>
                  <a:pt x="3322339" y="1214683"/>
                  <a:pt x="3323301" y="1215565"/>
                </a:cubicBezTo>
                <a:close/>
                <a:moveTo>
                  <a:pt x="3318973" y="1208113"/>
                </a:moveTo>
                <a:cubicBezTo>
                  <a:pt x="3321538" y="1215806"/>
                  <a:pt x="3316407" y="1215806"/>
                  <a:pt x="3308713" y="1215806"/>
                </a:cubicBezTo>
                <a:cubicBezTo>
                  <a:pt x="3308713" y="1208113"/>
                  <a:pt x="3311279" y="1208113"/>
                  <a:pt x="3318973" y="1208113"/>
                </a:cubicBezTo>
                <a:close/>
                <a:moveTo>
                  <a:pt x="4919466" y="1208106"/>
                </a:moveTo>
                <a:cubicBezTo>
                  <a:pt x="4932290" y="1210671"/>
                  <a:pt x="4937420" y="1220930"/>
                  <a:pt x="4932290" y="1231190"/>
                </a:cubicBezTo>
                <a:cubicBezTo>
                  <a:pt x="4919466" y="1226060"/>
                  <a:pt x="4922031" y="1218365"/>
                  <a:pt x="4919466" y="1208106"/>
                </a:cubicBezTo>
                <a:close/>
                <a:moveTo>
                  <a:pt x="4857908" y="1208106"/>
                </a:moveTo>
                <a:cubicBezTo>
                  <a:pt x="4870733" y="1208106"/>
                  <a:pt x="4880992" y="1220930"/>
                  <a:pt x="4873298" y="1231190"/>
                </a:cubicBezTo>
                <a:cubicBezTo>
                  <a:pt x="4865603" y="1226060"/>
                  <a:pt x="4855343" y="1213236"/>
                  <a:pt x="4857908" y="1208106"/>
                </a:cubicBezTo>
                <a:close/>
                <a:moveTo>
                  <a:pt x="3036835" y="1200370"/>
                </a:moveTo>
                <a:cubicBezTo>
                  <a:pt x="3039399" y="1238843"/>
                  <a:pt x="3039399" y="1277316"/>
                  <a:pt x="3031704" y="1315790"/>
                </a:cubicBezTo>
                <a:cubicBezTo>
                  <a:pt x="3041964" y="1285011"/>
                  <a:pt x="3052224" y="1254232"/>
                  <a:pt x="3059918" y="1223454"/>
                </a:cubicBezTo>
                <a:cubicBezTo>
                  <a:pt x="3052224" y="1213194"/>
                  <a:pt x="3044529" y="1208064"/>
                  <a:pt x="3036835" y="1200370"/>
                </a:cubicBezTo>
                <a:close/>
                <a:moveTo>
                  <a:pt x="3912104" y="1197819"/>
                </a:moveTo>
                <a:cubicBezTo>
                  <a:pt x="3915952" y="1197819"/>
                  <a:pt x="3919158" y="1199101"/>
                  <a:pt x="3916593" y="1202948"/>
                </a:cubicBezTo>
                <a:cubicBezTo>
                  <a:pt x="3908898" y="1200384"/>
                  <a:pt x="3911463" y="1202948"/>
                  <a:pt x="3903769" y="1200384"/>
                </a:cubicBezTo>
                <a:cubicBezTo>
                  <a:pt x="3903769" y="1199101"/>
                  <a:pt x="3908257" y="1197819"/>
                  <a:pt x="3912104" y="1197819"/>
                </a:cubicBezTo>
                <a:close/>
                <a:moveTo>
                  <a:pt x="3924288" y="1196216"/>
                </a:moveTo>
                <a:cubicBezTo>
                  <a:pt x="3926212" y="1197818"/>
                  <a:pt x="3928135" y="1200384"/>
                  <a:pt x="3929418" y="1200384"/>
                </a:cubicBezTo>
                <a:cubicBezTo>
                  <a:pt x="3926852" y="1208078"/>
                  <a:pt x="3924287" y="1197818"/>
                  <a:pt x="3919158" y="1197818"/>
                </a:cubicBezTo>
                <a:cubicBezTo>
                  <a:pt x="3920441" y="1193971"/>
                  <a:pt x="3922364" y="1194612"/>
                  <a:pt x="3924288" y="1196216"/>
                </a:cubicBezTo>
                <a:close/>
                <a:moveTo>
                  <a:pt x="3831951" y="1195251"/>
                </a:moveTo>
                <a:cubicBezTo>
                  <a:pt x="3855035" y="1197816"/>
                  <a:pt x="3847341" y="1218335"/>
                  <a:pt x="3849906" y="1231159"/>
                </a:cubicBezTo>
                <a:cubicBezTo>
                  <a:pt x="3844776" y="1228594"/>
                  <a:pt x="3844776" y="1231159"/>
                  <a:pt x="3839646" y="1231159"/>
                </a:cubicBezTo>
                <a:cubicBezTo>
                  <a:pt x="3838363" y="1228594"/>
                  <a:pt x="3838363" y="1226030"/>
                  <a:pt x="3837722" y="1224106"/>
                </a:cubicBezTo>
                <a:lnTo>
                  <a:pt x="3831952" y="1220901"/>
                </a:lnTo>
                <a:lnTo>
                  <a:pt x="3831951" y="1220900"/>
                </a:lnTo>
                <a:cubicBezTo>
                  <a:pt x="3831951" y="1215771"/>
                  <a:pt x="3831951" y="1205510"/>
                  <a:pt x="3826822" y="1205510"/>
                </a:cubicBezTo>
                <a:cubicBezTo>
                  <a:pt x="3829386" y="1200381"/>
                  <a:pt x="3831951" y="1197816"/>
                  <a:pt x="3831951" y="1195251"/>
                </a:cubicBezTo>
                <a:close/>
                <a:moveTo>
                  <a:pt x="3865295" y="1187559"/>
                </a:moveTo>
                <a:cubicBezTo>
                  <a:pt x="3878119" y="1192689"/>
                  <a:pt x="3883249" y="1195253"/>
                  <a:pt x="3883249" y="1208078"/>
                </a:cubicBezTo>
                <a:cubicBezTo>
                  <a:pt x="3883249" y="1213208"/>
                  <a:pt x="3875554" y="1210643"/>
                  <a:pt x="3875554" y="1213208"/>
                </a:cubicBezTo>
                <a:cubicBezTo>
                  <a:pt x="3870424" y="1202948"/>
                  <a:pt x="3865295" y="1197818"/>
                  <a:pt x="3865295" y="1187559"/>
                </a:cubicBezTo>
                <a:close/>
                <a:moveTo>
                  <a:pt x="3878120" y="1185636"/>
                </a:moveTo>
                <a:cubicBezTo>
                  <a:pt x="3880044" y="1186277"/>
                  <a:pt x="3881967" y="1187560"/>
                  <a:pt x="3883250" y="1187560"/>
                </a:cubicBezTo>
                <a:cubicBezTo>
                  <a:pt x="3883250" y="1192690"/>
                  <a:pt x="3875555" y="1187560"/>
                  <a:pt x="3872990" y="1187560"/>
                </a:cubicBezTo>
                <a:cubicBezTo>
                  <a:pt x="3874273" y="1184996"/>
                  <a:pt x="3876196" y="1184996"/>
                  <a:pt x="3878120" y="1185636"/>
                </a:cubicBezTo>
                <a:close/>
                <a:moveTo>
                  <a:pt x="5068230" y="1185023"/>
                </a:moveTo>
                <a:cubicBezTo>
                  <a:pt x="5073360" y="1185023"/>
                  <a:pt x="5073360" y="1187588"/>
                  <a:pt x="5078490" y="1187588"/>
                </a:cubicBezTo>
                <a:cubicBezTo>
                  <a:pt x="5075925" y="1197847"/>
                  <a:pt x="5075925" y="1195282"/>
                  <a:pt x="5078490" y="1202977"/>
                </a:cubicBezTo>
                <a:cubicBezTo>
                  <a:pt x="5073360" y="1200411"/>
                  <a:pt x="5073360" y="1205541"/>
                  <a:pt x="5073360" y="1208107"/>
                </a:cubicBezTo>
                <a:cubicBezTo>
                  <a:pt x="5063100" y="1202977"/>
                  <a:pt x="5068230" y="1197847"/>
                  <a:pt x="5068230" y="1185023"/>
                </a:cubicBezTo>
                <a:close/>
                <a:moveTo>
                  <a:pt x="3719096" y="1184996"/>
                </a:moveTo>
                <a:cubicBezTo>
                  <a:pt x="3726790" y="1184996"/>
                  <a:pt x="3726790" y="1192689"/>
                  <a:pt x="3729356" y="1197819"/>
                </a:cubicBezTo>
                <a:cubicBezTo>
                  <a:pt x="3724226" y="1195254"/>
                  <a:pt x="3719096" y="1192689"/>
                  <a:pt x="3719096" y="1184996"/>
                </a:cubicBezTo>
                <a:close/>
                <a:moveTo>
                  <a:pt x="3812074" y="1183071"/>
                </a:moveTo>
                <a:cubicBezTo>
                  <a:pt x="3813997" y="1183712"/>
                  <a:pt x="3815280" y="1186277"/>
                  <a:pt x="3813997" y="1190125"/>
                </a:cubicBezTo>
                <a:cubicBezTo>
                  <a:pt x="3811432" y="1187560"/>
                  <a:pt x="3808867" y="1187560"/>
                  <a:pt x="3806303" y="1187560"/>
                </a:cubicBezTo>
                <a:cubicBezTo>
                  <a:pt x="3807585" y="1183712"/>
                  <a:pt x="3810150" y="1182430"/>
                  <a:pt x="3812074" y="1183071"/>
                </a:cubicBezTo>
                <a:close/>
                <a:moveTo>
                  <a:pt x="5681240" y="1180533"/>
                </a:moveTo>
                <a:cubicBezTo>
                  <a:pt x="5682522" y="1180533"/>
                  <a:pt x="5683804" y="1181175"/>
                  <a:pt x="5683804" y="1182458"/>
                </a:cubicBezTo>
                <a:cubicBezTo>
                  <a:pt x="5681239" y="1185022"/>
                  <a:pt x="5681239" y="1182458"/>
                  <a:pt x="5678675" y="1182458"/>
                </a:cubicBezTo>
                <a:cubicBezTo>
                  <a:pt x="5678675" y="1181175"/>
                  <a:pt x="5679957" y="1180533"/>
                  <a:pt x="5681240" y="1180533"/>
                </a:cubicBezTo>
                <a:close/>
                <a:moveTo>
                  <a:pt x="2411000" y="1172156"/>
                </a:moveTo>
                <a:cubicBezTo>
                  <a:pt x="2416130" y="1182416"/>
                  <a:pt x="2423825" y="1192675"/>
                  <a:pt x="2428954" y="1205499"/>
                </a:cubicBezTo>
                <a:lnTo>
                  <a:pt x="2477854" y="1306569"/>
                </a:lnTo>
                <a:lnTo>
                  <a:pt x="2426390" y="1202934"/>
                </a:lnTo>
                <a:lnTo>
                  <a:pt x="2409792" y="1174483"/>
                </a:lnTo>
                <a:close/>
                <a:moveTo>
                  <a:pt x="3639585" y="1169605"/>
                </a:moveTo>
                <a:cubicBezTo>
                  <a:pt x="3647279" y="1172170"/>
                  <a:pt x="3657539" y="1174736"/>
                  <a:pt x="3662669" y="1179866"/>
                </a:cubicBezTo>
                <a:cubicBezTo>
                  <a:pt x="3654974" y="1184996"/>
                  <a:pt x="3642149" y="1177300"/>
                  <a:pt x="3639585" y="1169605"/>
                </a:cubicBezTo>
                <a:close/>
                <a:moveTo>
                  <a:pt x="3157384" y="1169591"/>
                </a:moveTo>
                <a:cubicBezTo>
                  <a:pt x="3141995" y="1205499"/>
                  <a:pt x="3126605" y="1241408"/>
                  <a:pt x="3108652" y="1274752"/>
                </a:cubicBezTo>
                <a:cubicBezTo>
                  <a:pt x="3111216" y="1277316"/>
                  <a:pt x="3113781" y="1282446"/>
                  <a:pt x="3113781" y="1277316"/>
                </a:cubicBezTo>
                <a:cubicBezTo>
                  <a:pt x="3118911" y="1277316"/>
                  <a:pt x="3113781" y="1279881"/>
                  <a:pt x="3113781" y="1285011"/>
                </a:cubicBezTo>
                <a:cubicBezTo>
                  <a:pt x="3111216" y="1285011"/>
                  <a:pt x="3111216" y="1282446"/>
                  <a:pt x="3108652" y="1282446"/>
                </a:cubicBezTo>
                <a:cubicBezTo>
                  <a:pt x="3118911" y="1305530"/>
                  <a:pt x="3126605" y="1333744"/>
                  <a:pt x="3131736" y="1364523"/>
                </a:cubicBezTo>
                <a:cubicBezTo>
                  <a:pt x="3134300" y="1382477"/>
                  <a:pt x="3136865" y="1400431"/>
                  <a:pt x="3136865" y="1420950"/>
                </a:cubicBezTo>
                <a:cubicBezTo>
                  <a:pt x="3147125" y="1379912"/>
                  <a:pt x="3152254" y="1341439"/>
                  <a:pt x="3157384" y="1300400"/>
                </a:cubicBezTo>
                <a:cubicBezTo>
                  <a:pt x="3157384" y="1300400"/>
                  <a:pt x="3154819" y="1300400"/>
                  <a:pt x="3154819" y="1300400"/>
                </a:cubicBezTo>
                <a:cubicBezTo>
                  <a:pt x="3154819" y="1297835"/>
                  <a:pt x="3154819" y="1297835"/>
                  <a:pt x="3154819" y="1295271"/>
                </a:cubicBezTo>
                <a:cubicBezTo>
                  <a:pt x="3154819" y="1295271"/>
                  <a:pt x="3157384" y="1295271"/>
                  <a:pt x="3157384" y="1295271"/>
                </a:cubicBezTo>
                <a:cubicBezTo>
                  <a:pt x="3159949" y="1277316"/>
                  <a:pt x="3159949" y="1259362"/>
                  <a:pt x="3159949" y="1241408"/>
                </a:cubicBezTo>
                <a:cubicBezTo>
                  <a:pt x="3162515" y="1215759"/>
                  <a:pt x="3159949" y="1192675"/>
                  <a:pt x="3157384" y="1169591"/>
                </a:cubicBezTo>
                <a:close/>
                <a:moveTo>
                  <a:pt x="5009237" y="1161919"/>
                </a:moveTo>
                <a:cubicBezTo>
                  <a:pt x="5014367" y="1159354"/>
                  <a:pt x="5011802" y="1169614"/>
                  <a:pt x="5016932" y="1169614"/>
                </a:cubicBezTo>
                <a:cubicBezTo>
                  <a:pt x="5014367" y="1177311"/>
                  <a:pt x="5011802" y="1164485"/>
                  <a:pt x="5004108" y="1169614"/>
                </a:cubicBezTo>
                <a:cubicBezTo>
                  <a:pt x="5004108" y="1169614"/>
                  <a:pt x="5004108" y="1167049"/>
                  <a:pt x="5006673" y="1164485"/>
                </a:cubicBezTo>
                <a:cubicBezTo>
                  <a:pt x="5009237" y="1164485"/>
                  <a:pt x="5009237" y="1164485"/>
                  <a:pt x="5009237" y="1161919"/>
                </a:cubicBezTo>
                <a:close/>
                <a:moveTo>
                  <a:pt x="4442396" y="1156808"/>
                </a:moveTo>
                <a:cubicBezTo>
                  <a:pt x="4447525" y="1156808"/>
                  <a:pt x="4447525" y="1164503"/>
                  <a:pt x="4455220" y="1161938"/>
                </a:cubicBezTo>
                <a:cubicBezTo>
                  <a:pt x="4452655" y="1172199"/>
                  <a:pt x="4442396" y="1164503"/>
                  <a:pt x="4442396" y="1156808"/>
                </a:cubicBezTo>
                <a:close/>
                <a:moveTo>
                  <a:pt x="5161528" y="1151358"/>
                </a:moveTo>
                <a:cubicBezTo>
                  <a:pt x="5163131" y="1151037"/>
                  <a:pt x="5165696" y="1151678"/>
                  <a:pt x="5168260" y="1151678"/>
                </a:cubicBezTo>
                <a:lnTo>
                  <a:pt x="5165697" y="1156808"/>
                </a:lnTo>
                <a:lnTo>
                  <a:pt x="5174031" y="1159694"/>
                </a:lnTo>
                <a:cubicBezTo>
                  <a:pt x="5175314" y="1161938"/>
                  <a:pt x="5175955" y="1164503"/>
                  <a:pt x="5178520" y="1164503"/>
                </a:cubicBezTo>
                <a:cubicBezTo>
                  <a:pt x="5175955" y="1168351"/>
                  <a:pt x="5172749" y="1167709"/>
                  <a:pt x="5170184" y="1165466"/>
                </a:cubicBezTo>
                <a:lnTo>
                  <a:pt x="5165696" y="1156808"/>
                </a:lnTo>
                <a:cubicBezTo>
                  <a:pt x="5163131" y="1156808"/>
                  <a:pt x="5163131" y="1156808"/>
                  <a:pt x="5160566" y="1156808"/>
                </a:cubicBezTo>
                <a:cubicBezTo>
                  <a:pt x="5159284" y="1152961"/>
                  <a:pt x="5159925" y="1151678"/>
                  <a:pt x="5161528" y="1151358"/>
                </a:cubicBezTo>
                <a:close/>
                <a:moveTo>
                  <a:pt x="3825499" y="1143994"/>
                </a:moveTo>
                <a:cubicBezTo>
                  <a:pt x="3826742" y="1144034"/>
                  <a:pt x="3827944" y="1144755"/>
                  <a:pt x="3829066" y="1145557"/>
                </a:cubicBezTo>
                <a:cubicBezTo>
                  <a:pt x="3831310" y="1147160"/>
                  <a:pt x="3833234" y="1149084"/>
                  <a:pt x="3834516" y="1146519"/>
                </a:cubicBezTo>
                <a:cubicBezTo>
                  <a:pt x="3839646" y="1151648"/>
                  <a:pt x="3829386" y="1149084"/>
                  <a:pt x="3824257" y="1151648"/>
                </a:cubicBezTo>
                <a:cubicBezTo>
                  <a:pt x="3824257" y="1149084"/>
                  <a:pt x="3821692" y="1149084"/>
                  <a:pt x="3821692" y="1146519"/>
                </a:cubicBezTo>
                <a:cubicBezTo>
                  <a:pt x="3822974" y="1144595"/>
                  <a:pt x="3824257" y="1143954"/>
                  <a:pt x="3825499" y="1143994"/>
                </a:cubicBezTo>
                <a:close/>
                <a:moveTo>
                  <a:pt x="3783218" y="1141391"/>
                </a:moveTo>
                <a:cubicBezTo>
                  <a:pt x="3785783" y="1141391"/>
                  <a:pt x="3788348" y="1141391"/>
                  <a:pt x="3790913" y="1141391"/>
                </a:cubicBezTo>
                <a:cubicBezTo>
                  <a:pt x="3790913" y="1143956"/>
                  <a:pt x="3788348" y="1143956"/>
                  <a:pt x="3785783" y="1143956"/>
                </a:cubicBezTo>
                <a:cubicBezTo>
                  <a:pt x="3785783" y="1149085"/>
                  <a:pt x="3788348" y="1151651"/>
                  <a:pt x="3793478" y="1151651"/>
                </a:cubicBezTo>
                <a:cubicBezTo>
                  <a:pt x="3790913" y="1159345"/>
                  <a:pt x="3783218" y="1154215"/>
                  <a:pt x="3780653" y="1154215"/>
                </a:cubicBezTo>
                <a:cubicBezTo>
                  <a:pt x="3775524" y="1154215"/>
                  <a:pt x="3775524" y="1149085"/>
                  <a:pt x="3775524" y="1143956"/>
                </a:cubicBezTo>
                <a:cubicBezTo>
                  <a:pt x="3778088" y="1143956"/>
                  <a:pt x="3780653" y="1143956"/>
                  <a:pt x="3780653" y="1146521"/>
                </a:cubicBezTo>
                <a:cubicBezTo>
                  <a:pt x="3783218" y="1146521"/>
                  <a:pt x="3783218" y="1143956"/>
                  <a:pt x="3783218" y="1141391"/>
                </a:cubicBezTo>
                <a:close/>
                <a:moveTo>
                  <a:pt x="3650806" y="1137865"/>
                </a:moveTo>
                <a:cubicBezTo>
                  <a:pt x="3653050" y="1138185"/>
                  <a:pt x="3654973" y="1140109"/>
                  <a:pt x="3654973" y="1143957"/>
                </a:cubicBezTo>
                <a:cubicBezTo>
                  <a:pt x="3649843" y="1143957"/>
                  <a:pt x="3649843" y="1141392"/>
                  <a:pt x="3644714" y="1141392"/>
                </a:cubicBezTo>
                <a:cubicBezTo>
                  <a:pt x="3645997" y="1138827"/>
                  <a:pt x="3648562" y="1137544"/>
                  <a:pt x="3650806" y="1137865"/>
                </a:cubicBezTo>
                <a:close/>
                <a:moveTo>
                  <a:pt x="3657539" y="1123437"/>
                </a:moveTo>
                <a:cubicBezTo>
                  <a:pt x="3667798" y="1120872"/>
                  <a:pt x="3667798" y="1126003"/>
                  <a:pt x="3667798" y="1133698"/>
                </a:cubicBezTo>
                <a:cubicBezTo>
                  <a:pt x="3662668" y="1131133"/>
                  <a:pt x="3660104" y="1128568"/>
                  <a:pt x="3657539" y="1123437"/>
                </a:cubicBezTo>
                <a:close/>
                <a:moveTo>
                  <a:pt x="5981331" y="1118333"/>
                </a:moveTo>
                <a:cubicBezTo>
                  <a:pt x="5999286" y="1120898"/>
                  <a:pt x="5981331" y="1133723"/>
                  <a:pt x="5981331" y="1146548"/>
                </a:cubicBezTo>
                <a:cubicBezTo>
                  <a:pt x="5971071" y="1146548"/>
                  <a:pt x="5973636" y="1136288"/>
                  <a:pt x="5973636" y="1123463"/>
                </a:cubicBezTo>
                <a:cubicBezTo>
                  <a:pt x="5978765" y="1126027"/>
                  <a:pt x="5981331" y="1123463"/>
                  <a:pt x="5981331" y="1118333"/>
                </a:cubicBezTo>
                <a:close/>
                <a:moveTo>
                  <a:pt x="3782257" y="1117022"/>
                </a:moveTo>
                <a:cubicBezTo>
                  <a:pt x="3784501" y="1117663"/>
                  <a:pt x="3787066" y="1119587"/>
                  <a:pt x="3788349" y="1120869"/>
                </a:cubicBezTo>
                <a:cubicBezTo>
                  <a:pt x="3785783" y="1123434"/>
                  <a:pt x="3785783" y="1120869"/>
                  <a:pt x="3778089" y="1120869"/>
                </a:cubicBezTo>
                <a:cubicBezTo>
                  <a:pt x="3778089" y="1117022"/>
                  <a:pt x="3780013" y="1116380"/>
                  <a:pt x="3782257" y="1117022"/>
                </a:cubicBezTo>
                <a:close/>
                <a:moveTo>
                  <a:pt x="6366066" y="1115768"/>
                </a:moveTo>
                <a:cubicBezTo>
                  <a:pt x="6366066" y="1115768"/>
                  <a:pt x="6368630" y="1115768"/>
                  <a:pt x="6371195" y="1115768"/>
                </a:cubicBezTo>
                <a:cubicBezTo>
                  <a:pt x="6371195" y="1115768"/>
                  <a:pt x="6371195" y="1118333"/>
                  <a:pt x="6371195" y="1120899"/>
                </a:cubicBezTo>
                <a:cubicBezTo>
                  <a:pt x="6368630" y="1120899"/>
                  <a:pt x="6368630" y="1120899"/>
                  <a:pt x="6366066" y="1120899"/>
                </a:cubicBezTo>
                <a:cubicBezTo>
                  <a:pt x="6366066" y="1118333"/>
                  <a:pt x="6366066" y="1118333"/>
                  <a:pt x="6366066" y="1115768"/>
                </a:cubicBezTo>
                <a:close/>
                <a:moveTo>
                  <a:pt x="2923979" y="1115728"/>
                </a:moveTo>
                <a:lnTo>
                  <a:pt x="3016156" y="1184271"/>
                </a:lnTo>
                <a:lnTo>
                  <a:pt x="3016315" y="1184980"/>
                </a:lnTo>
                <a:cubicBezTo>
                  <a:pt x="2999643" y="1172156"/>
                  <a:pt x="2982972" y="1160613"/>
                  <a:pt x="2966299" y="1148751"/>
                </a:cubicBezTo>
                <a:lnTo>
                  <a:pt x="2924075" y="1116540"/>
                </a:lnTo>
                <a:close/>
                <a:moveTo>
                  <a:pt x="2915643" y="1107391"/>
                </a:moveTo>
                <a:lnTo>
                  <a:pt x="2916284" y="1108033"/>
                </a:lnTo>
                <a:lnTo>
                  <a:pt x="2916695" y="1110911"/>
                </a:lnTo>
                <a:lnTo>
                  <a:pt x="2916284" y="1110598"/>
                </a:lnTo>
                <a:close/>
                <a:moveTo>
                  <a:pt x="4451373" y="1106149"/>
                </a:moveTo>
                <a:cubicBezTo>
                  <a:pt x="4453296" y="1106149"/>
                  <a:pt x="4455220" y="1106790"/>
                  <a:pt x="4455220" y="1108073"/>
                </a:cubicBezTo>
                <a:cubicBezTo>
                  <a:pt x="4457785" y="1113203"/>
                  <a:pt x="4442395" y="1113203"/>
                  <a:pt x="4447525" y="1108073"/>
                </a:cubicBezTo>
                <a:cubicBezTo>
                  <a:pt x="4447525" y="1106790"/>
                  <a:pt x="4449449" y="1106149"/>
                  <a:pt x="4451373" y="1106149"/>
                </a:cubicBezTo>
                <a:close/>
                <a:moveTo>
                  <a:pt x="5001542" y="1100379"/>
                </a:moveTo>
                <a:cubicBezTo>
                  <a:pt x="5006672" y="1100379"/>
                  <a:pt x="5004107" y="1113204"/>
                  <a:pt x="4998978" y="1108073"/>
                </a:cubicBezTo>
                <a:cubicBezTo>
                  <a:pt x="4998978" y="1108073"/>
                  <a:pt x="4998978" y="1105509"/>
                  <a:pt x="4998978" y="1102944"/>
                </a:cubicBezTo>
                <a:cubicBezTo>
                  <a:pt x="5001542" y="1102944"/>
                  <a:pt x="5001542" y="1102944"/>
                  <a:pt x="5001542" y="1100379"/>
                </a:cubicBezTo>
                <a:close/>
                <a:moveTo>
                  <a:pt x="5096444" y="1097796"/>
                </a:moveTo>
                <a:cubicBezTo>
                  <a:pt x="5109268" y="1102926"/>
                  <a:pt x="5101573" y="1113186"/>
                  <a:pt x="5096444" y="1097796"/>
                </a:cubicBezTo>
                <a:close/>
                <a:moveTo>
                  <a:pt x="3624195" y="1097788"/>
                </a:moveTo>
                <a:cubicBezTo>
                  <a:pt x="3634455" y="1097788"/>
                  <a:pt x="3639585" y="1100353"/>
                  <a:pt x="3637020" y="1108047"/>
                </a:cubicBezTo>
                <a:cubicBezTo>
                  <a:pt x="3634455" y="1113177"/>
                  <a:pt x="3629325" y="1110612"/>
                  <a:pt x="3626760" y="1113177"/>
                </a:cubicBezTo>
                <a:cubicBezTo>
                  <a:pt x="3621631" y="1108047"/>
                  <a:pt x="3621631" y="1102918"/>
                  <a:pt x="3624195" y="1097788"/>
                </a:cubicBezTo>
                <a:close/>
                <a:moveTo>
                  <a:pt x="3637019" y="1090094"/>
                </a:moveTo>
                <a:cubicBezTo>
                  <a:pt x="3644714" y="1090094"/>
                  <a:pt x="3647279" y="1097788"/>
                  <a:pt x="3652409" y="1100353"/>
                </a:cubicBezTo>
                <a:cubicBezTo>
                  <a:pt x="3647279" y="1105484"/>
                  <a:pt x="3634454" y="1100353"/>
                  <a:pt x="3637019" y="1090094"/>
                </a:cubicBezTo>
                <a:close/>
                <a:moveTo>
                  <a:pt x="5369044" y="1089799"/>
                </a:moveTo>
                <a:cubicBezTo>
                  <a:pt x="5368803" y="1092203"/>
                  <a:pt x="5366398" y="1106151"/>
                  <a:pt x="5368322" y="1092685"/>
                </a:cubicBezTo>
                <a:cubicBezTo>
                  <a:pt x="5368963" y="1089478"/>
                  <a:pt x="5369124" y="1088997"/>
                  <a:pt x="5369044" y="1089799"/>
                </a:cubicBezTo>
                <a:close/>
                <a:moveTo>
                  <a:pt x="3803737" y="1087529"/>
                </a:moveTo>
                <a:cubicBezTo>
                  <a:pt x="3808867" y="1087529"/>
                  <a:pt x="3808867" y="1092659"/>
                  <a:pt x="3813997" y="1092659"/>
                </a:cubicBezTo>
                <a:cubicBezTo>
                  <a:pt x="3811432" y="1097788"/>
                  <a:pt x="3808867" y="1102918"/>
                  <a:pt x="3803737" y="1102918"/>
                </a:cubicBezTo>
                <a:cubicBezTo>
                  <a:pt x="3798607" y="1100353"/>
                  <a:pt x="3796042" y="1090094"/>
                  <a:pt x="3803737" y="1087529"/>
                </a:cubicBezTo>
                <a:close/>
                <a:moveTo>
                  <a:pt x="5478613" y="1082424"/>
                </a:moveTo>
                <a:cubicBezTo>
                  <a:pt x="5483742" y="1079859"/>
                  <a:pt x="5483742" y="1084989"/>
                  <a:pt x="5483742" y="1087554"/>
                </a:cubicBezTo>
                <a:cubicBezTo>
                  <a:pt x="5481178" y="1087554"/>
                  <a:pt x="5481178" y="1087554"/>
                  <a:pt x="5481178" y="1090119"/>
                </a:cubicBezTo>
                <a:cubicBezTo>
                  <a:pt x="5478613" y="1090119"/>
                  <a:pt x="5478613" y="1084989"/>
                  <a:pt x="5478613" y="1082424"/>
                </a:cubicBezTo>
                <a:close/>
                <a:moveTo>
                  <a:pt x="3647280" y="1077269"/>
                </a:moveTo>
                <a:cubicBezTo>
                  <a:pt x="3647280" y="1079834"/>
                  <a:pt x="3647280" y="1082399"/>
                  <a:pt x="3649844" y="1082399"/>
                </a:cubicBezTo>
                <a:cubicBezTo>
                  <a:pt x="3647280" y="1087529"/>
                  <a:pt x="3637020" y="1087529"/>
                  <a:pt x="3637020" y="1079834"/>
                </a:cubicBezTo>
                <a:cubicBezTo>
                  <a:pt x="3639585" y="1077269"/>
                  <a:pt x="3642149" y="1077269"/>
                  <a:pt x="3647280" y="1077269"/>
                </a:cubicBezTo>
                <a:close/>
                <a:moveTo>
                  <a:pt x="3257416" y="1077255"/>
                </a:moveTo>
                <a:cubicBezTo>
                  <a:pt x="3259980" y="1095209"/>
                  <a:pt x="3259980" y="1115728"/>
                  <a:pt x="3259980" y="1133682"/>
                </a:cubicBezTo>
                <a:lnTo>
                  <a:pt x="3255827" y="1081769"/>
                </a:lnTo>
                <a:close/>
                <a:moveTo>
                  <a:pt x="6384020" y="1049079"/>
                </a:moveTo>
                <a:cubicBezTo>
                  <a:pt x="6384020" y="1049079"/>
                  <a:pt x="6386584" y="1049079"/>
                  <a:pt x="6389149" y="1049079"/>
                </a:cubicBezTo>
                <a:cubicBezTo>
                  <a:pt x="6389149" y="1049079"/>
                  <a:pt x="6389149" y="1051645"/>
                  <a:pt x="6389149" y="1054210"/>
                </a:cubicBezTo>
                <a:cubicBezTo>
                  <a:pt x="6389149" y="1054210"/>
                  <a:pt x="6386584" y="1054210"/>
                  <a:pt x="6384020" y="1054210"/>
                </a:cubicBezTo>
                <a:cubicBezTo>
                  <a:pt x="6384020" y="1051645"/>
                  <a:pt x="6384020" y="1051645"/>
                  <a:pt x="6384020" y="1049079"/>
                </a:cubicBezTo>
                <a:close/>
                <a:moveTo>
                  <a:pt x="4683496" y="1046490"/>
                </a:moveTo>
                <a:cubicBezTo>
                  <a:pt x="4691191" y="1051619"/>
                  <a:pt x="4711710" y="1056749"/>
                  <a:pt x="4709145" y="1074703"/>
                </a:cubicBezTo>
                <a:cubicBezTo>
                  <a:pt x="4706580" y="1087528"/>
                  <a:pt x="4693755" y="1090093"/>
                  <a:pt x="4678366" y="1097789"/>
                </a:cubicBezTo>
                <a:cubicBezTo>
                  <a:pt x="4675801" y="1095223"/>
                  <a:pt x="4673236" y="1090093"/>
                  <a:pt x="4668106" y="1090093"/>
                </a:cubicBezTo>
                <a:cubicBezTo>
                  <a:pt x="4668106" y="1079833"/>
                  <a:pt x="4673236" y="1077267"/>
                  <a:pt x="4665541" y="1069573"/>
                </a:cubicBezTo>
                <a:cubicBezTo>
                  <a:pt x="4673236" y="1067009"/>
                  <a:pt x="4668106" y="1064444"/>
                  <a:pt x="4670671" y="1056749"/>
                </a:cubicBezTo>
                <a:cubicBezTo>
                  <a:pt x="4678366" y="1056749"/>
                  <a:pt x="4675801" y="1054183"/>
                  <a:pt x="4683496" y="1046490"/>
                </a:cubicBezTo>
                <a:close/>
                <a:moveTo>
                  <a:pt x="3726790" y="1038796"/>
                </a:moveTo>
                <a:cubicBezTo>
                  <a:pt x="3726790" y="1038796"/>
                  <a:pt x="3726790" y="1041361"/>
                  <a:pt x="3726790" y="1046490"/>
                </a:cubicBezTo>
                <a:cubicBezTo>
                  <a:pt x="3721660" y="1046490"/>
                  <a:pt x="3719095" y="1043926"/>
                  <a:pt x="3716531" y="1043926"/>
                </a:cubicBezTo>
                <a:cubicBezTo>
                  <a:pt x="3719095" y="1041361"/>
                  <a:pt x="3721660" y="1038796"/>
                  <a:pt x="3726790" y="1038796"/>
                </a:cubicBezTo>
                <a:close/>
                <a:moveTo>
                  <a:pt x="3831631" y="1021804"/>
                </a:moveTo>
                <a:cubicBezTo>
                  <a:pt x="3834516" y="1021483"/>
                  <a:pt x="3838363" y="1022125"/>
                  <a:pt x="3842211" y="1023406"/>
                </a:cubicBezTo>
                <a:cubicBezTo>
                  <a:pt x="3839646" y="1025972"/>
                  <a:pt x="3837081" y="1028536"/>
                  <a:pt x="3837081" y="1033667"/>
                </a:cubicBezTo>
                <a:cubicBezTo>
                  <a:pt x="3831951" y="1033667"/>
                  <a:pt x="3829386" y="1028536"/>
                  <a:pt x="3826822" y="1025972"/>
                </a:cubicBezTo>
                <a:cubicBezTo>
                  <a:pt x="3826822" y="1023407"/>
                  <a:pt x="3828745" y="1022125"/>
                  <a:pt x="3831631" y="1021804"/>
                </a:cubicBezTo>
                <a:close/>
                <a:moveTo>
                  <a:pt x="3755005" y="1018277"/>
                </a:moveTo>
                <a:cubicBezTo>
                  <a:pt x="3757569" y="1025972"/>
                  <a:pt x="3752439" y="1028537"/>
                  <a:pt x="3744745" y="1028537"/>
                </a:cubicBezTo>
                <a:cubicBezTo>
                  <a:pt x="3744745" y="1020843"/>
                  <a:pt x="3749875" y="1018277"/>
                  <a:pt x="3755005" y="1018277"/>
                </a:cubicBezTo>
                <a:close/>
                <a:moveTo>
                  <a:pt x="2693139" y="1013173"/>
                </a:moveTo>
                <a:cubicBezTo>
                  <a:pt x="2685444" y="1033692"/>
                  <a:pt x="2685444" y="1056777"/>
                  <a:pt x="2675185" y="1074731"/>
                </a:cubicBezTo>
                <a:cubicBezTo>
                  <a:pt x="2662360" y="1064472"/>
                  <a:pt x="2654665" y="1110641"/>
                  <a:pt x="2639276" y="1120901"/>
                </a:cubicBezTo>
                <a:cubicBezTo>
                  <a:pt x="2639276" y="1126032"/>
                  <a:pt x="2644406" y="1120901"/>
                  <a:pt x="2644406" y="1118336"/>
                </a:cubicBezTo>
                <a:cubicBezTo>
                  <a:pt x="2636711" y="1149116"/>
                  <a:pt x="2605932" y="1187590"/>
                  <a:pt x="2587978" y="1226064"/>
                </a:cubicBezTo>
                <a:cubicBezTo>
                  <a:pt x="2544374" y="1226064"/>
                  <a:pt x="2552069" y="1192720"/>
                  <a:pt x="2549505" y="1161941"/>
                </a:cubicBezTo>
                <a:cubicBezTo>
                  <a:pt x="2559764" y="1156811"/>
                  <a:pt x="2564893" y="1146552"/>
                  <a:pt x="2582848" y="1149116"/>
                </a:cubicBezTo>
                <a:cubicBezTo>
                  <a:pt x="2618757" y="1123466"/>
                  <a:pt x="2634147" y="1064472"/>
                  <a:pt x="2659795" y="1028562"/>
                </a:cubicBezTo>
                <a:cubicBezTo>
                  <a:pt x="2667490" y="1020867"/>
                  <a:pt x="2680314" y="1008043"/>
                  <a:pt x="2693139" y="1013173"/>
                </a:cubicBezTo>
                <a:close/>
                <a:moveTo>
                  <a:pt x="4411616" y="1008017"/>
                </a:moveTo>
                <a:cubicBezTo>
                  <a:pt x="4411616" y="1013148"/>
                  <a:pt x="4411616" y="1015712"/>
                  <a:pt x="4411616" y="1018277"/>
                </a:cubicBezTo>
                <a:cubicBezTo>
                  <a:pt x="4403922" y="1020842"/>
                  <a:pt x="4403922" y="1008017"/>
                  <a:pt x="4411616" y="1008017"/>
                </a:cubicBezTo>
                <a:close/>
                <a:moveTo>
                  <a:pt x="5646172" y="1000105"/>
                </a:moveTo>
                <a:cubicBezTo>
                  <a:pt x="5649178" y="1002750"/>
                  <a:pt x="5645330" y="1011887"/>
                  <a:pt x="5653025" y="1008040"/>
                </a:cubicBezTo>
                <a:cubicBezTo>
                  <a:pt x="5650460" y="1013170"/>
                  <a:pt x="5653025" y="1025995"/>
                  <a:pt x="5645330" y="1031125"/>
                </a:cubicBezTo>
                <a:cubicBezTo>
                  <a:pt x="5642765" y="1031125"/>
                  <a:pt x="5637635" y="1028560"/>
                  <a:pt x="5632506" y="1025995"/>
                </a:cubicBezTo>
                <a:cubicBezTo>
                  <a:pt x="5635071" y="1018301"/>
                  <a:pt x="5635071" y="1005476"/>
                  <a:pt x="5640200" y="1000345"/>
                </a:cubicBezTo>
                <a:cubicBezTo>
                  <a:pt x="5643406" y="999063"/>
                  <a:pt x="5645170" y="999223"/>
                  <a:pt x="5646172" y="1000105"/>
                </a:cubicBezTo>
                <a:close/>
                <a:moveTo>
                  <a:pt x="3698577" y="997757"/>
                </a:moveTo>
                <a:cubicBezTo>
                  <a:pt x="3703706" y="997757"/>
                  <a:pt x="3703706" y="1000323"/>
                  <a:pt x="3703706" y="1002888"/>
                </a:cubicBezTo>
                <a:cubicBezTo>
                  <a:pt x="3698577" y="1005452"/>
                  <a:pt x="3698577" y="1002888"/>
                  <a:pt x="3698577" y="997757"/>
                </a:cubicBezTo>
                <a:close/>
                <a:moveTo>
                  <a:pt x="3241403" y="989826"/>
                </a:moveTo>
                <a:lnTo>
                  <a:pt x="3242346" y="993255"/>
                </a:lnTo>
                <a:lnTo>
                  <a:pt x="3244828" y="1008466"/>
                </a:lnTo>
                <a:close/>
                <a:moveTo>
                  <a:pt x="5306765" y="984940"/>
                </a:moveTo>
                <a:cubicBezTo>
                  <a:pt x="5301635" y="1013154"/>
                  <a:pt x="5299070" y="1008024"/>
                  <a:pt x="5286245" y="1025978"/>
                </a:cubicBezTo>
                <a:cubicBezTo>
                  <a:pt x="5283680" y="1015718"/>
                  <a:pt x="5293940" y="990070"/>
                  <a:pt x="5306765" y="984940"/>
                </a:cubicBezTo>
                <a:close/>
                <a:moveTo>
                  <a:pt x="5637636" y="977245"/>
                </a:moveTo>
                <a:cubicBezTo>
                  <a:pt x="5637636" y="987504"/>
                  <a:pt x="5624812" y="984939"/>
                  <a:pt x="5622247" y="995199"/>
                </a:cubicBezTo>
                <a:cubicBezTo>
                  <a:pt x="5619682" y="992634"/>
                  <a:pt x="5627377" y="974680"/>
                  <a:pt x="5637636" y="977245"/>
                </a:cubicBezTo>
                <a:close/>
                <a:moveTo>
                  <a:pt x="5519651" y="964437"/>
                </a:moveTo>
                <a:cubicBezTo>
                  <a:pt x="5514521" y="969567"/>
                  <a:pt x="5514521" y="979827"/>
                  <a:pt x="5504262" y="974697"/>
                </a:cubicBezTo>
                <a:cubicBezTo>
                  <a:pt x="5504262" y="972131"/>
                  <a:pt x="5504262" y="969567"/>
                  <a:pt x="5504262" y="967002"/>
                </a:cubicBezTo>
                <a:cubicBezTo>
                  <a:pt x="5509391" y="964437"/>
                  <a:pt x="5511956" y="964437"/>
                  <a:pt x="5519651" y="964437"/>
                </a:cubicBezTo>
                <a:close/>
                <a:moveTo>
                  <a:pt x="3629324" y="954150"/>
                </a:moveTo>
                <a:cubicBezTo>
                  <a:pt x="3629324" y="956719"/>
                  <a:pt x="3629324" y="959283"/>
                  <a:pt x="3631890" y="959283"/>
                </a:cubicBezTo>
                <a:cubicBezTo>
                  <a:pt x="3626760" y="969544"/>
                  <a:pt x="3616500" y="954150"/>
                  <a:pt x="3629324" y="954150"/>
                </a:cubicBezTo>
                <a:close/>
                <a:moveTo>
                  <a:pt x="3095827" y="954139"/>
                </a:moveTo>
                <a:cubicBezTo>
                  <a:pt x="3098393" y="1010568"/>
                  <a:pt x="3093262" y="1072124"/>
                  <a:pt x="3083002" y="1131117"/>
                </a:cubicBezTo>
                <a:cubicBezTo>
                  <a:pt x="3080437" y="1161896"/>
                  <a:pt x="3075308" y="1195240"/>
                  <a:pt x="3072743" y="1226019"/>
                </a:cubicBezTo>
                <a:cubicBezTo>
                  <a:pt x="3083002" y="1238843"/>
                  <a:pt x="3093262" y="1251667"/>
                  <a:pt x="3100957" y="1267057"/>
                </a:cubicBezTo>
                <a:cubicBezTo>
                  <a:pt x="3121476" y="1228583"/>
                  <a:pt x="3139430" y="1190110"/>
                  <a:pt x="3154819" y="1151637"/>
                </a:cubicBezTo>
                <a:cubicBezTo>
                  <a:pt x="3147125" y="1090079"/>
                  <a:pt x="3129170" y="1036216"/>
                  <a:pt x="3108652" y="984920"/>
                </a:cubicBezTo>
                <a:cubicBezTo>
                  <a:pt x="3103521" y="974660"/>
                  <a:pt x="3100957" y="964399"/>
                  <a:pt x="3095827" y="954139"/>
                </a:cubicBezTo>
                <a:close/>
                <a:moveTo>
                  <a:pt x="5178520" y="951603"/>
                </a:moveTo>
                <a:cubicBezTo>
                  <a:pt x="5178520" y="959305"/>
                  <a:pt x="5173391" y="959305"/>
                  <a:pt x="5173391" y="967001"/>
                </a:cubicBezTo>
                <a:cubicBezTo>
                  <a:pt x="5168261" y="967001"/>
                  <a:pt x="5173391" y="951603"/>
                  <a:pt x="5178520" y="951603"/>
                </a:cubicBezTo>
                <a:close/>
                <a:moveTo>
                  <a:pt x="3678058" y="951585"/>
                </a:moveTo>
                <a:cubicBezTo>
                  <a:pt x="3680623" y="959284"/>
                  <a:pt x="3678058" y="964414"/>
                  <a:pt x="3667798" y="961849"/>
                </a:cubicBezTo>
                <a:cubicBezTo>
                  <a:pt x="3665233" y="959284"/>
                  <a:pt x="3667798" y="949020"/>
                  <a:pt x="3678058" y="951585"/>
                </a:cubicBezTo>
                <a:close/>
                <a:moveTo>
                  <a:pt x="3088132" y="938749"/>
                </a:moveTo>
                <a:cubicBezTo>
                  <a:pt x="3090697" y="982355"/>
                  <a:pt x="3090697" y="1025957"/>
                  <a:pt x="3085567" y="1069559"/>
                </a:cubicBezTo>
                <a:cubicBezTo>
                  <a:pt x="3090697" y="1025957"/>
                  <a:pt x="3093262" y="984920"/>
                  <a:pt x="3090697" y="943879"/>
                </a:cubicBezTo>
                <a:cubicBezTo>
                  <a:pt x="3090697" y="943879"/>
                  <a:pt x="3088132" y="941314"/>
                  <a:pt x="3088132" y="938749"/>
                </a:cubicBezTo>
                <a:close/>
                <a:moveTo>
                  <a:pt x="6381455" y="936854"/>
                </a:moveTo>
                <a:cubicBezTo>
                  <a:pt x="6382738" y="936854"/>
                  <a:pt x="6384020" y="937496"/>
                  <a:pt x="6384020" y="938778"/>
                </a:cubicBezTo>
                <a:cubicBezTo>
                  <a:pt x="6384020" y="943908"/>
                  <a:pt x="6381455" y="938778"/>
                  <a:pt x="6378891" y="938778"/>
                </a:cubicBezTo>
                <a:cubicBezTo>
                  <a:pt x="6378891" y="937496"/>
                  <a:pt x="6380173" y="936854"/>
                  <a:pt x="6381455" y="936854"/>
                </a:cubicBezTo>
                <a:close/>
                <a:moveTo>
                  <a:pt x="3226637" y="936185"/>
                </a:moveTo>
                <a:cubicBezTo>
                  <a:pt x="3231766" y="952857"/>
                  <a:pt x="3236896" y="970812"/>
                  <a:pt x="3241385" y="989729"/>
                </a:cubicBezTo>
                <a:lnTo>
                  <a:pt x="3241403" y="989826"/>
                </a:lnTo>
                <a:close/>
                <a:moveTo>
                  <a:pt x="2205810" y="908003"/>
                </a:moveTo>
                <a:cubicBezTo>
                  <a:pt x="2213504" y="905438"/>
                  <a:pt x="2210939" y="910568"/>
                  <a:pt x="2210939" y="915699"/>
                </a:cubicBezTo>
                <a:cubicBezTo>
                  <a:pt x="2208374" y="915699"/>
                  <a:pt x="2205810" y="915699"/>
                  <a:pt x="2203245" y="915699"/>
                </a:cubicBezTo>
                <a:cubicBezTo>
                  <a:pt x="2205810" y="913134"/>
                  <a:pt x="2205810" y="910568"/>
                  <a:pt x="2205810" y="908003"/>
                </a:cubicBezTo>
                <a:close/>
                <a:moveTo>
                  <a:pt x="5862946" y="896297"/>
                </a:moveTo>
                <a:cubicBezTo>
                  <a:pt x="5865110" y="898221"/>
                  <a:pt x="5866553" y="907359"/>
                  <a:pt x="5860782" y="897741"/>
                </a:cubicBezTo>
                <a:cubicBezTo>
                  <a:pt x="5861423" y="895817"/>
                  <a:pt x="5862225" y="895656"/>
                  <a:pt x="5862946" y="896297"/>
                </a:cubicBezTo>
                <a:close/>
                <a:moveTo>
                  <a:pt x="5193910" y="887482"/>
                </a:moveTo>
                <a:cubicBezTo>
                  <a:pt x="5201604" y="887482"/>
                  <a:pt x="5204170" y="890047"/>
                  <a:pt x="5201604" y="895176"/>
                </a:cubicBezTo>
                <a:cubicBezTo>
                  <a:pt x="5199040" y="895176"/>
                  <a:pt x="5196475" y="895176"/>
                  <a:pt x="5193910" y="895176"/>
                </a:cubicBezTo>
                <a:cubicBezTo>
                  <a:pt x="5193910" y="892612"/>
                  <a:pt x="5193910" y="890047"/>
                  <a:pt x="5193910" y="887482"/>
                </a:cubicBezTo>
                <a:close/>
                <a:moveTo>
                  <a:pt x="2228894" y="882353"/>
                </a:moveTo>
                <a:cubicBezTo>
                  <a:pt x="2226329" y="887483"/>
                  <a:pt x="2226329" y="895177"/>
                  <a:pt x="2228894" y="902872"/>
                </a:cubicBezTo>
                <a:cubicBezTo>
                  <a:pt x="2218634" y="905437"/>
                  <a:pt x="2223764" y="895177"/>
                  <a:pt x="2218634" y="892612"/>
                </a:cubicBezTo>
                <a:cubicBezTo>
                  <a:pt x="2213504" y="895177"/>
                  <a:pt x="2221200" y="897742"/>
                  <a:pt x="2216069" y="905437"/>
                </a:cubicBezTo>
                <a:cubicBezTo>
                  <a:pt x="2205810" y="908002"/>
                  <a:pt x="2210939" y="897742"/>
                  <a:pt x="2203245" y="900307"/>
                </a:cubicBezTo>
                <a:cubicBezTo>
                  <a:pt x="2203245" y="895177"/>
                  <a:pt x="2203245" y="890047"/>
                  <a:pt x="2205810" y="887483"/>
                </a:cubicBezTo>
                <a:cubicBezTo>
                  <a:pt x="2210939" y="887483"/>
                  <a:pt x="2205810" y="895177"/>
                  <a:pt x="2208374" y="900307"/>
                </a:cubicBezTo>
                <a:cubicBezTo>
                  <a:pt x="2210939" y="890047"/>
                  <a:pt x="2218634" y="884918"/>
                  <a:pt x="2228894" y="882353"/>
                </a:cubicBezTo>
                <a:close/>
                <a:moveTo>
                  <a:pt x="4893817" y="882031"/>
                </a:moveTo>
                <a:cubicBezTo>
                  <a:pt x="4895741" y="881070"/>
                  <a:pt x="4897665" y="883635"/>
                  <a:pt x="4893817" y="892612"/>
                </a:cubicBezTo>
                <a:cubicBezTo>
                  <a:pt x="4889970" y="887482"/>
                  <a:pt x="4891893" y="882993"/>
                  <a:pt x="4893817" y="882031"/>
                </a:cubicBezTo>
                <a:close/>
                <a:moveTo>
                  <a:pt x="2408436" y="879789"/>
                </a:moveTo>
                <a:cubicBezTo>
                  <a:pt x="2411002" y="882355"/>
                  <a:pt x="2411002" y="884920"/>
                  <a:pt x="2413565" y="884920"/>
                </a:cubicBezTo>
                <a:cubicBezTo>
                  <a:pt x="2413565" y="887484"/>
                  <a:pt x="2413565" y="887484"/>
                  <a:pt x="2411002" y="887484"/>
                </a:cubicBezTo>
                <a:cubicBezTo>
                  <a:pt x="2408436" y="887484"/>
                  <a:pt x="2408436" y="887484"/>
                  <a:pt x="2405871" y="887484"/>
                </a:cubicBezTo>
                <a:cubicBezTo>
                  <a:pt x="2405871" y="882355"/>
                  <a:pt x="2408436" y="882355"/>
                  <a:pt x="2408436" y="879789"/>
                </a:cubicBezTo>
                <a:close/>
                <a:moveTo>
                  <a:pt x="5287328" y="879106"/>
                </a:moveTo>
                <a:cubicBezTo>
                  <a:pt x="5287689" y="880910"/>
                  <a:pt x="5286246" y="893895"/>
                  <a:pt x="5286246" y="882352"/>
                </a:cubicBezTo>
                <a:cubicBezTo>
                  <a:pt x="5286887" y="879146"/>
                  <a:pt x="5287208" y="878505"/>
                  <a:pt x="5287328" y="879106"/>
                </a:cubicBezTo>
                <a:close/>
                <a:moveTo>
                  <a:pt x="4906642" y="874658"/>
                </a:moveTo>
                <a:cubicBezTo>
                  <a:pt x="4909207" y="890047"/>
                  <a:pt x="4891253" y="879788"/>
                  <a:pt x="4906642" y="874658"/>
                </a:cubicBezTo>
                <a:close/>
                <a:moveTo>
                  <a:pt x="2093595" y="856385"/>
                </a:moveTo>
                <a:cubicBezTo>
                  <a:pt x="2097442" y="856705"/>
                  <a:pt x="2100648" y="859270"/>
                  <a:pt x="2098083" y="864400"/>
                </a:cubicBezTo>
                <a:cubicBezTo>
                  <a:pt x="2092953" y="864400"/>
                  <a:pt x="2087824" y="864400"/>
                  <a:pt x="2085259" y="861836"/>
                </a:cubicBezTo>
                <a:cubicBezTo>
                  <a:pt x="2085259" y="857988"/>
                  <a:pt x="2089748" y="856065"/>
                  <a:pt x="2093595" y="856385"/>
                </a:cubicBezTo>
                <a:close/>
                <a:moveTo>
                  <a:pt x="2657230" y="849011"/>
                </a:moveTo>
                <a:cubicBezTo>
                  <a:pt x="2667490" y="846446"/>
                  <a:pt x="2672619" y="851576"/>
                  <a:pt x="2672619" y="859270"/>
                </a:cubicBezTo>
                <a:cubicBezTo>
                  <a:pt x="2659795" y="861835"/>
                  <a:pt x="2654665" y="856706"/>
                  <a:pt x="2657230" y="849011"/>
                </a:cubicBezTo>
                <a:close/>
                <a:moveTo>
                  <a:pt x="2646970" y="846446"/>
                </a:moveTo>
                <a:cubicBezTo>
                  <a:pt x="2649535" y="849012"/>
                  <a:pt x="2649535" y="854141"/>
                  <a:pt x="2652100" y="859271"/>
                </a:cubicBezTo>
                <a:cubicBezTo>
                  <a:pt x="2646970" y="859271"/>
                  <a:pt x="2646970" y="856706"/>
                  <a:pt x="2641841" y="856706"/>
                </a:cubicBezTo>
                <a:cubicBezTo>
                  <a:pt x="2641841" y="854141"/>
                  <a:pt x="2644406" y="851577"/>
                  <a:pt x="2646970" y="846446"/>
                </a:cubicBezTo>
                <a:close/>
                <a:moveTo>
                  <a:pt x="2659796" y="836187"/>
                </a:moveTo>
                <a:cubicBezTo>
                  <a:pt x="2667490" y="833622"/>
                  <a:pt x="2670055" y="838752"/>
                  <a:pt x="2667490" y="846446"/>
                </a:cubicBezTo>
                <a:cubicBezTo>
                  <a:pt x="2664926" y="846446"/>
                  <a:pt x="2659796" y="846446"/>
                  <a:pt x="2657231" y="846446"/>
                </a:cubicBezTo>
                <a:cubicBezTo>
                  <a:pt x="2657231" y="841317"/>
                  <a:pt x="2659796" y="838752"/>
                  <a:pt x="2659796" y="836187"/>
                </a:cubicBezTo>
                <a:close/>
                <a:moveTo>
                  <a:pt x="3075661" y="832780"/>
                </a:moveTo>
                <a:lnTo>
                  <a:pt x="3077873" y="841284"/>
                </a:lnTo>
                <a:lnTo>
                  <a:pt x="3079035" y="858709"/>
                </a:lnTo>
                <a:close/>
                <a:moveTo>
                  <a:pt x="4555251" y="825925"/>
                </a:moveTo>
                <a:cubicBezTo>
                  <a:pt x="4557816" y="828490"/>
                  <a:pt x="4560381" y="833619"/>
                  <a:pt x="4560381" y="838749"/>
                </a:cubicBezTo>
                <a:cubicBezTo>
                  <a:pt x="4552686" y="841314"/>
                  <a:pt x="4555251" y="831054"/>
                  <a:pt x="4555251" y="825925"/>
                </a:cubicBezTo>
                <a:close/>
                <a:moveTo>
                  <a:pt x="4414182" y="825925"/>
                </a:moveTo>
                <a:cubicBezTo>
                  <a:pt x="4419311" y="828490"/>
                  <a:pt x="4419311" y="831054"/>
                  <a:pt x="4419311" y="838749"/>
                </a:cubicBezTo>
                <a:cubicBezTo>
                  <a:pt x="4416747" y="836184"/>
                  <a:pt x="4414182" y="831054"/>
                  <a:pt x="4414182" y="825925"/>
                </a:cubicBezTo>
                <a:close/>
                <a:moveTo>
                  <a:pt x="2613627" y="823362"/>
                </a:moveTo>
                <a:cubicBezTo>
                  <a:pt x="2626452" y="820797"/>
                  <a:pt x="2623886" y="846446"/>
                  <a:pt x="2611062" y="843881"/>
                </a:cubicBezTo>
                <a:cubicBezTo>
                  <a:pt x="2611062" y="836187"/>
                  <a:pt x="2613627" y="831057"/>
                  <a:pt x="2613627" y="823362"/>
                </a:cubicBezTo>
                <a:close/>
                <a:moveTo>
                  <a:pt x="5570949" y="823360"/>
                </a:moveTo>
                <a:cubicBezTo>
                  <a:pt x="5568384" y="833619"/>
                  <a:pt x="5560689" y="833619"/>
                  <a:pt x="5558125" y="843879"/>
                </a:cubicBezTo>
                <a:cubicBezTo>
                  <a:pt x="5552995" y="838749"/>
                  <a:pt x="5560689" y="823360"/>
                  <a:pt x="5570949" y="823360"/>
                </a:cubicBezTo>
                <a:close/>
                <a:moveTo>
                  <a:pt x="6548173" y="820795"/>
                </a:moveTo>
                <a:cubicBezTo>
                  <a:pt x="6548173" y="820795"/>
                  <a:pt x="6550738" y="820795"/>
                  <a:pt x="6553302" y="820795"/>
                </a:cubicBezTo>
                <a:cubicBezTo>
                  <a:pt x="6553302" y="820795"/>
                  <a:pt x="6553302" y="823361"/>
                  <a:pt x="6553302" y="825926"/>
                </a:cubicBezTo>
                <a:cubicBezTo>
                  <a:pt x="6553302" y="825926"/>
                  <a:pt x="6550738" y="825926"/>
                  <a:pt x="6548173" y="825926"/>
                </a:cubicBezTo>
                <a:cubicBezTo>
                  <a:pt x="6548173" y="823361"/>
                  <a:pt x="6548173" y="823361"/>
                  <a:pt x="6548173" y="820795"/>
                </a:cubicBezTo>
                <a:close/>
                <a:moveTo>
                  <a:pt x="4473254" y="815691"/>
                </a:moveTo>
                <a:cubicBezTo>
                  <a:pt x="4473174" y="815651"/>
                  <a:pt x="4474457" y="816292"/>
                  <a:pt x="4478304" y="818216"/>
                </a:cubicBezTo>
                <a:cubicBezTo>
                  <a:pt x="4485999" y="822063"/>
                  <a:pt x="4473494" y="815812"/>
                  <a:pt x="4473254" y="815691"/>
                </a:cubicBezTo>
                <a:close/>
                <a:moveTo>
                  <a:pt x="4482633" y="805085"/>
                </a:moveTo>
                <a:cubicBezTo>
                  <a:pt x="4485518" y="806048"/>
                  <a:pt x="4484076" y="815666"/>
                  <a:pt x="4478305" y="807971"/>
                </a:cubicBezTo>
                <a:cubicBezTo>
                  <a:pt x="4480229" y="805406"/>
                  <a:pt x="4481671" y="804765"/>
                  <a:pt x="4482633" y="805085"/>
                </a:cubicBezTo>
                <a:close/>
                <a:moveTo>
                  <a:pt x="4398632" y="799915"/>
                </a:moveTo>
                <a:cubicBezTo>
                  <a:pt x="4404403" y="802680"/>
                  <a:pt x="4411617" y="813742"/>
                  <a:pt x="4411617" y="823360"/>
                </a:cubicBezTo>
                <a:cubicBezTo>
                  <a:pt x="4401357" y="820795"/>
                  <a:pt x="4401357" y="805405"/>
                  <a:pt x="4393663" y="800275"/>
                </a:cubicBezTo>
                <a:cubicBezTo>
                  <a:pt x="4394945" y="798993"/>
                  <a:pt x="4396708" y="798993"/>
                  <a:pt x="4398632" y="799915"/>
                </a:cubicBezTo>
                <a:close/>
                <a:moveTo>
                  <a:pt x="2621322" y="797713"/>
                </a:moveTo>
                <a:cubicBezTo>
                  <a:pt x="2631581" y="795148"/>
                  <a:pt x="2626452" y="807973"/>
                  <a:pt x="2621322" y="810537"/>
                </a:cubicBezTo>
                <a:cubicBezTo>
                  <a:pt x="2629016" y="813102"/>
                  <a:pt x="2636711" y="815667"/>
                  <a:pt x="2652100" y="823362"/>
                </a:cubicBezTo>
                <a:cubicBezTo>
                  <a:pt x="2644406" y="831057"/>
                  <a:pt x="2652100" y="843881"/>
                  <a:pt x="2634147" y="843881"/>
                </a:cubicBezTo>
                <a:cubicBezTo>
                  <a:pt x="2634147" y="838751"/>
                  <a:pt x="2634147" y="836186"/>
                  <a:pt x="2629016" y="836186"/>
                </a:cubicBezTo>
                <a:cubicBezTo>
                  <a:pt x="2626452" y="828492"/>
                  <a:pt x="2634147" y="831057"/>
                  <a:pt x="2634147" y="825927"/>
                </a:cubicBezTo>
                <a:cubicBezTo>
                  <a:pt x="2629016" y="825927"/>
                  <a:pt x="2626452" y="828492"/>
                  <a:pt x="2626452" y="831057"/>
                </a:cubicBezTo>
                <a:cubicBezTo>
                  <a:pt x="2621322" y="828492"/>
                  <a:pt x="2626452" y="815667"/>
                  <a:pt x="2616192" y="818232"/>
                </a:cubicBezTo>
                <a:cubicBezTo>
                  <a:pt x="2613627" y="807973"/>
                  <a:pt x="2623886" y="807973"/>
                  <a:pt x="2621322" y="797713"/>
                </a:cubicBezTo>
                <a:close/>
                <a:moveTo>
                  <a:pt x="5599163" y="792582"/>
                </a:moveTo>
                <a:cubicBezTo>
                  <a:pt x="5601728" y="795147"/>
                  <a:pt x="5601728" y="800276"/>
                  <a:pt x="5601728" y="805406"/>
                </a:cubicBezTo>
                <a:cubicBezTo>
                  <a:pt x="5591468" y="805406"/>
                  <a:pt x="5591468" y="818231"/>
                  <a:pt x="5583773" y="820796"/>
                </a:cubicBezTo>
                <a:cubicBezTo>
                  <a:pt x="5581208" y="815666"/>
                  <a:pt x="5591468" y="797711"/>
                  <a:pt x="5599163" y="792582"/>
                </a:cubicBezTo>
                <a:close/>
                <a:moveTo>
                  <a:pt x="2531550" y="790017"/>
                </a:moveTo>
                <a:cubicBezTo>
                  <a:pt x="2523855" y="805407"/>
                  <a:pt x="2531550" y="792582"/>
                  <a:pt x="2534115" y="802842"/>
                </a:cubicBezTo>
                <a:cubicBezTo>
                  <a:pt x="2526420" y="802842"/>
                  <a:pt x="2523855" y="802842"/>
                  <a:pt x="2523855" y="810537"/>
                </a:cubicBezTo>
                <a:cubicBezTo>
                  <a:pt x="2518726" y="805407"/>
                  <a:pt x="2526420" y="790017"/>
                  <a:pt x="2531550" y="790017"/>
                </a:cubicBezTo>
                <a:close/>
                <a:moveTo>
                  <a:pt x="2372528" y="764371"/>
                </a:moveTo>
                <a:cubicBezTo>
                  <a:pt x="2377657" y="764371"/>
                  <a:pt x="2375092" y="769501"/>
                  <a:pt x="2375092" y="772065"/>
                </a:cubicBezTo>
                <a:cubicBezTo>
                  <a:pt x="2369964" y="772065"/>
                  <a:pt x="2369964" y="769501"/>
                  <a:pt x="2369964" y="766936"/>
                </a:cubicBezTo>
                <a:cubicBezTo>
                  <a:pt x="2372528" y="766936"/>
                  <a:pt x="2372528" y="766936"/>
                  <a:pt x="2372528" y="764371"/>
                </a:cubicBezTo>
                <a:close/>
                <a:moveTo>
                  <a:pt x="4929726" y="756673"/>
                </a:moveTo>
                <a:cubicBezTo>
                  <a:pt x="4934855" y="756673"/>
                  <a:pt x="4934855" y="764367"/>
                  <a:pt x="4932290" y="769497"/>
                </a:cubicBezTo>
                <a:cubicBezTo>
                  <a:pt x="4929726" y="766932"/>
                  <a:pt x="4929726" y="761802"/>
                  <a:pt x="4929726" y="756673"/>
                </a:cubicBezTo>
                <a:close/>
                <a:moveTo>
                  <a:pt x="4360319" y="751528"/>
                </a:moveTo>
                <a:cubicBezTo>
                  <a:pt x="4373143" y="748964"/>
                  <a:pt x="4388533" y="784873"/>
                  <a:pt x="4388533" y="795133"/>
                </a:cubicBezTo>
                <a:cubicBezTo>
                  <a:pt x="4375708" y="784873"/>
                  <a:pt x="4375708" y="761789"/>
                  <a:pt x="4360319" y="751528"/>
                </a:cubicBezTo>
                <a:close/>
                <a:moveTo>
                  <a:pt x="2762391" y="741254"/>
                </a:moveTo>
                <a:cubicBezTo>
                  <a:pt x="2767520" y="797680"/>
                  <a:pt x="2780345" y="851543"/>
                  <a:pt x="2795734" y="900276"/>
                </a:cubicBezTo>
                <a:cubicBezTo>
                  <a:pt x="2790604" y="864368"/>
                  <a:pt x="2785475" y="828459"/>
                  <a:pt x="2777780" y="795117"/>
                </a:cubicBezTo>
                <a:cubicBezTo>
                  <a:pt x="2772650" y="777161"/>
                  <a:pt x="2767520" y="759208"/>
                  <a:pt x="2762391" y="741254"/>
                </a:cubicBezTo>
                <a:close/>
                <a:moveTo>
                  <a:pt x="5447834" y="731025"/>
                </a:moveTo>
                <a:cubicBezTo>
                  <a:pt x="5460659" y="733590"/>
                  <a:pt x="5450399" y="738719"/>
                  <a:pt x="5452964" y="751544"/>
                </a:cubicBezTo>
                <a:cubicBezTo>
                  <a:pt x="5445269" y="751544"/>
                  <a:pt x="5442704" y="756674"/>
                  <a:pt x="5435010" y="759238"/>
                </a:cubicBezTo>
                <a:cubicBezTo>
                  <a:pt x="5440139" y="748979"/>
                  <a:pt x="5442704" y="738719"/>
                  <a:pt x="5447834" y="731025"/>
                </a:cubicBezTo>
                <a:close/>
                <a:moveTo>
                  <a:pt x="4378274" y="731010"/>
                </a:moveTo>
                <a:cubicBezTo>
                  <a:pt x="4398793" y="746400"/>
                  <a:pt x="4401358" y="774614"/>
                  <a:pt x="4414182" y="795133"/>
                </a:cubicBezTo>
                <a:cubicBezTo>
                  <a:pt x="4398793" y="787438"/>
                  <a:pt x="4388533" y="751530"/>
                  <a:pt x="4378274" y="731010"/>
                </a:cubicBezTo>
                <a:close/>
                <a:moveTo>
                  <a:pt x="5150307" y="728460"/>
                </a:moveTo>
                <a:cubicBezTo>
                  <a:pt x="5155436" y="731025"/>
                  <a:pt x="5158001" y="736154"/>
                  <a:pt x="5155436" y="746414"/>
                </a:cubicBezTo>
                <a:cubicBezTo>
                  <a:pt x="5152872" y="741284"/>
                  <a:pt x="5150307" y="736154"/>
                  <a:pt x="5150307" y="728460"/>
                </a:cubicBezTo>
                <a:close/>
                <a:moveTo>
                  <a:pt x="5519650" y="723330"/>
                </a:moveTo>
                <a:cubicBezTo>
                  <a:pt x="5545300" y="736154"/>
                  <a:pt x="5568384" y="774628"/>
                  <a:pt x="5565818" y="820796"/>
                </a:cubicBezTo>
                <a:cubicBezTo>
                  <a:pt x="5527345" y="802841"/>
                  <a:pt x="5532475" y="756673"/>
                  <a:pt x="5519650" y="723330"/>
                </a:cubicBezTo>
                <a:close/>
                <a:moveTo>
                  <a:pt x="4406488" y="702792"/>
                </a:moveTo>
                <a:cubicBezTo>
                  <a:pt x="4424442" y="718181"/>
                  <a:pt x="4444961" y="728441"/>
                  <a:pt x="4455221" y="754090"/>
                </a:cubicBezTo>
                <a:cubicBezTo>
                  <a:pt x="4465480" y="743830"/>
                  <a:pt x="4444961" y="738700"/>
                  <a:pt x="4447526" y="725876"/>
                </a:cubicBezTo>
                <a:cubicBezTo>
                  <a:pt x="4468045" y="733570"/>
                  <a:pt x="4475740" y="754090"/>
                  <a:pt x="4491129" y="766914"/>
                </a:cubicBezTo>
                <a:cubicBezTo>
                  <a:pt x="4491129" y="774609"/>
                  <a:pt x="4491129" y="782303"/>
                  <a:pt x="4485999" y="784868"/>
                </a:cubicBezTo>
                <a:cubicBezTo>
                  <a:pt x="4485999" y="789998"/>
                  <a:pt x="4496259" y="779738"/>
                  <a:pt x="4493694" y="792563"/>
                </a:cubicBezTo>
                <a:cubicBezTo>
                  <a:pt x="4489847" y="791280"/>
                  <a:pt x="4487923" y="791280"/>
                  <a:pt x="4485679" y="791280"/>
                </a:cubicBezTo>
                <a:lnTo>
                  <a:pt x="4477656" y="790245"/>
                </a:lnTo>
                <a:lnTo>
                  <a:pt x="4475341" y="787467"/>
                </a:lnTo>
                <a:lnTo>
                  <a:pt x="4473816" y="777815"/>
                </a:lnTo>
                <a:cubicBezTo>
                  <a:pt x="4473175" y="773967"/>
                  <a:pt x="4471893" y="770761"/>
                  <a:pt x="4468045" y="769479"/>
                </a:cubicBezTo>
                <a:cubicBezTo>
                  <a:pt x="4465480" y="774608"/>
                  <a:pt x="4468687" y="779738"/>
                  <a:pt x="4473175" y="784868"/>
                </a:cubicBezTo>
                <a:lnTo>
                  <a:pt x="4475341" y="787467"/>
                </a:lnTo>
                <a:lnTo>
                  <a:pt x="4475740" y="789998"/>
                </a:lnTo>
                <a:lnTo>
                  <a:pt x="4477656" y="790245"/>
                </a:lnTo>
                <a:lnTo>
                  <a:pt x="4485999" y="800258"/>
                </a:lnTo>
                <a:cubicBezTo>
                  <a:pt x="4473175" y="810517"/>
                  <a:pt x="4473175" y="787433"/>
                  <a:pt x="4462915" y="787433"/>
                </a:cubicBezTo>
                <a:cubicBezTo>
                  <a:pt x="4457785" y="797693"/>
                  <a:pt x="4473175" y="813082"/>
                  <a:pt x="4465480" y="831036"/>
                </a:cubicBezTo>
                <a:cubicBezTo>
                  <a:pt x="4452656" y="823342"/>
                  <a:pt x="4455221" y="797693"/>
                  <a:pt x="4439831" y="792563"/>
                </a:cubicBezTo>
                <a:cubicBezTo>
                  <a:pt x="4444961" y="787433"/>
                  <a:pt x="4439831" y="769479"/>
                  <a:pt x="4432137" y="764349"/>
                </a:cubicBezTo>
                <a:cubicBezTo>
                  <a:pt x="4427007" y="774609"/>
                  <a:pt x="4442396" y="789998"/>
                  <a:pt x="4432137" y="805387"/>
                </a:cubicBezTo>
                <a:cubicBezTo>
                  <a:pt x="4411617" y="777174"/>
                  <a:pt x="4388532" y="748960"/>
                  <a:pt x="4380838" y="713051"/>
                </a:cubicBezTo>
                <a:cubicBezTo>
                  <a:pt x="4393662" y="713051"/>
                  <a:pt x="4393662" y="728441"/>
                  <a:pt x="4401358" y="731006"/>
                </a:cubicBezTo>
                <a:cubicBezTo>
                  <a:pt x="4409053" y="725876"/>
                  <a:pt x="4398793" y="718181"/>
                  <a:pt x="4393662" y="718181"/>
                </a:cubicBezTo>
                <a:cubicBezTo>
                  <a:pt x="4403923" y="713051"/>
                  <a:pt x="4414182" y="720746"/>
                  <a:pt x="4406488" y="702792"/>
                </a:cubicBezTo>
                <a:close/>
                <a:moveTo>
                  <a:pt x="3016315" y="656612"/>
                </a:moveTo>
                <a:cubicBezTo>
                  <a:pt x="3030422" y="684826"/>
                  <a:pt x="3042605" y="714322"/>
                  <a:pt x="3052865" y="745101"/>
                </a:cubicBezTo>
                <a:lnTo>
                  <a:pt x="3071411" y="816435"/>
                </a:lnTo>
                <a:lnTo>
                  <a:pt x="3072743" y="825894"/>
                </a:lnTo>
                <a:cubicBezTo>
                  <a:pt x="3065048" y="795116"/>
                  <a:pt x="3056072" y="765620"/>
                  <a:pt x="3046132" y="737406"/>
                </a:cubicBezTo>
                <a:lnTo>
                  <a:pt x="3019398" y="670701"/>
                </a:lnTo>
                <a:close/>
                <a:moveTo>
                  <a:pt x="2884224" y="644463"/>
                </a:moveTo>
                <a:cubicBezTo>
                  <a:pt x="2885506" y="645104"/>
                  <a:pt x="2886788" y="646387"/>
                  <a:pt x="2888071" y="646387"/>
                </a:cubicBezTo>
                <a:cubicBezTo>
                  <a:pt x="2888071" y="651516"/>
                  <a:pt x="2885506" y="656646"/>
                  <a:pt x="2877812" y="656646"/>
                </a:cubicBezTo>
                <a:cubicBezTo>
                  <a:pt x="2875246" y="651516"/>
                  <a:pt x="2888071" y="648951"/>
                  <a:pt x="2880376" y="646387"/>
                </a:cubicBezTo>
                <a:cubicBezTo>
                  <a:pt x="2881659" y="643822"/>
                  <a:pt x="2882941" y="643822"/>
                  <a:pt x="2884224" y="644463"/>
                </a:cubicBezTo>
                <a:close/>
                <a:moveTo>
                  <a:pt x="2754696" y="628398"/>
                </a:moveTo>
                <a:cubicBezTo>
                  <a:pt x="2782911" y="672002"/>
                  <a:pt x="2811124" y="720735"/>
                  <a:pt x="2831643" y="774597"/>
                </a:cubicBezTo>
                <a:cubicBezTo>
                  <a:pt x="2870116" y="869497"/>
                  <a:pt x="2898330" y="979790"/>
                  <a:pt x="2916284" y="1097773"/>
                </a:cubicBezTo>
                <a:lnTo>
                  <a:pt x="2913207" y="1095209"/>
                </a:lnTo>
                <a:lnTo>
                  <a:pt x="2881018" y="934261"/>
                </a:lnTo>
                <a:cubicBezTo>
                  <a:pt x="2866270" y="878475"/>
                  <a:pt x="2848314" y="825894"/>
                  <a:pt x="2826513" y="777161"/>
                </a:cubicBezTo>
                <a:cubicBezTo>
                  <a:pt x="2814971" y="750230"/>
                  <a:pt x="2802146" y="724581"/>
                  <a:pt x="2788681" y="700215"/>
                </a:cubicBezTo>
                <a:lnTo>
                  <a:pt x="2755847" y="645660"/>
                </a:lnTo>
                <a:close/>
                <a:moveTo>
                  <a:pt x="3003492" y="623269"/>
                </a:moveTo>
                <a:cubicBezTo>
                  <a:pt x="3006055" y="651483"/>
                  <a:pt x="3008620" y="679696"/>
                  <a:pt x="3006055" y="710475"/>
                </a:cubicBezTo>
                <a:cubicBezTo>
                  <a:pt x="3003492" y="754078"/>
                  <a:pt x="2993231" y="797680"/>
                  <a:pt x="2988101" y="841284"/>
                </a:cubicBezTo>
                <a:cubicBezTo>
                  <a:pt x="2980406" y="884887"/>
                  <a:pt x="2980406" y="925925"/>
                  <a:pt x="2985536" y="964399"/>
                </a:cubicBezTo>
                <a:cubicBezTo>
                  <a:pt x="2993231" y="1041346"/>
                  <a:pt x="3024010" y="1097773"/>
                  <a:pt x="3031704" y="1174721"/>
                </a:cubicBezTo>
                <a:cubicBezTo>
                  <a:pt x="3031704" y="1177287"/>
                  <a:pt x="3031704" y="1182416"/>
                  <a:pt x="3031704" y="1184980"/>
                </a:cubicBezTo>
                <a:cubicBezTo>
                  <a:pt x="3041964" y="1192675"/>
                  <a:pt x="3052224" y="1200370"/>
                  <a:pt x="3059918" y="1210629"/>
                </a:cubicBezTo>
                <a:cubicBezTo>
                  <a:pt x="3062483" y="1200370"/>
                  <a:pt x="3065048" y="1190110"/>
                  <a:pt x="3067614" y="1179850"/>
                </a:cubicBezTo>
                <a:cubicBezTo>
                  <a:pt x="3077873" y="1090079"/>
                  <a:pt x="3083002" y="1002874"/>
                  <a:pt x="3080437" y="918230"/>
                </a:cubicBezTo>
                <a:cubicBezTo>
                  <a:pt x="3059918" y="864368"/>
                  <a:pt x="3039399" y="807940"/>
                  <a:pt x="3026575" y="746384"/>
                </a:cubicBezTo>
                <a:cubicBezTo>
                  <a:pt x="3016315" y="710475"/>
                  <a:pt x="3011185" y="669437"/>
                  <a:pt x="3006055" y="628398"/>
                </a:cubicBezTo>
                <a:cubicBezTo>
                  <a:pt x="3006055" y="625834"/>
                  <a:pt x="3003492" y="625834"/>
                  <a:pt x="3003492" y="623269"/>
                </a:cubicBezTo>
                <a:close/>
                <a:moveTo>
                  <a:pt x="2900895" y="618172"/>
                </a:moveTo>
                <a:cubicBezTo>
                  <a:pt x="2911156" y="618172"/>
                  <a:pt x="2900895" y="636127"/>
                  <a:pt x="2895766" y="636127"/>
                </a:cubicBezTo>
                <a:cubicBezTo>
                  <a:pt x="2895766" y="628432"/>
                  <a:pt x="2903460" y="628432"/>
                  <a:pt x="2900895" y="618172"/>
                </a:cubicBezTo>
                <a:close/>
                <a:moveTo>
                  <a:pt x="2747105" y="616528"/>
                </a:moveTo>
                <a:lnTo>
                  <a:pt x="2752131" y="623269"/>
                </a:lnTo>
                <a:lnTo>
                  <a:pt x="2752724" y="640472"/>
                </a:lnTo>
                <a:lnTo>
                  <a:pt x="2747001" y="630963"/>
                </a:lnTo>
                <a:lnTo>
                  <a:pt x="2747001" y="628398"/>
                </a:lnTo>
                <a:close/>
                <a:moveTo>
                  <a:pt x="2913719" y="589959"/>
                </a:moveTo>
                <a:cubicBezTo>
                  <a:pt x="2926544" y="592524"/>
                  <a:pt x="2913719" y="613043"/>
                  <a:pt x="2906025" y="613043"/>
                </a:cubicBezTo>
                <a:cubicBezTo>
                  <a:pt x="2906025" y="605348"/>
                  <a:pt x="2913719" y="600218"/>
                  <a:pt x="2913719" y="589959"/>
                </a:cubicBezTo>
                <a:close/>
                <a:moveTo>
                  <a:pt x="3769754" y="576174"/>
                </a:moveTo>
                <a:cubicBezTo>
                  <a:pt x="3772960" y="576494"/>
                  <a:pt x="3775525" y="578418"/>
                  <a:pt x="3772959" y="582266"/>
                </a:cubicBezTo>
                <a:cubicBezTo>
                  <a:pt x="3767829" y="582266"/>
                  <a:pt x="3767829" y="579701"/>
                  <a:pt x="3762700" y="579701"/>
                </a:cubicBezTo>
                <a:cubicBezTo>
                  <a:pt x="3762700" y="577135"/>
                  <a:pt x="3766548" y="575853"/>
                  <a:pt x="3769754" y="576174"/>
                </a:cubicBezTo>
                <a:close/>
                <a:moveTo>
                  <a:pt x="3752439" y="569440"/>
                </a:moveTo>
                <a:cubicBezTo>
                  <a:pt x="3760134" y="572005"/>
                  <a:pt x="3757569" y="587394"/>
                  <a:pt x="3770394" y="584829"/>
                </a:cubicBezTo>
                <a:cubicBezTo>
                  <a:pt x="3765264" y="597655"/>
                  <a:pt x="3755004" y="574570"/>
                  <a:pt x="3752439" y="582264"/>
                </a:cubicBezTo>
                <a:cubicBezTo>
                  <a:pt x="3749875" y="582264"/>
                  <a:pt x="3749875" y="579699"/>
                  <a:pt x="3752439" y="579699"/>
                </a:cubicBezTo>
                <a:cubicBezTo>
                  <a:pt x="3752439" y="574570"/>
                  <a:pt x="3749875" y="574570"/>
                  <a:pt x="3747310" y="574570"/>
                </a:cubicBezTo>
                <a:cubicBezTo>
                  <a:pt x="3747310" y="572005"/>
                  <a:pt x="3752439" y="572005"/>
                  <a:pt x="3752439" y="569440"/>
                </a:cubicBezTo>
                <a:close/>
                <a:moveTo>
                  <a:pt x="3024010" y="569406"/>
                </a:moveTo>
                <a:cubicBezTo>
                  <a:pt x="3038117" y="614291"/>
                  <a:pt x="3050300" y="661742"/>
                  <a:pt x="3059918" y="711757"/>
                </a:cubicBezTo>
                <a:lnTo>
                  <a:pt x="3075661" y="832780"/>
                </a:lnTo>
                <a:lnTo>
                  <a:pt x="3071411" y="816435"/>
                </a:lnTo>
                <a:lnTo>
                  <a:pt x="3054147" y="693803"/>
                </a:lnTo>
                <a:cubicBezTo>
                  <a:pt x="3045811" y="650841"/>
                  <a:pt x="3035552" y="609162"/>
                  <a:pt x="3024010" y="569406"/>
                </a:cubicBezTo>
                <a:close/>
                <a:moveTo>
                  <a:pt x="2941933" y="541226"/>
                </a:moveTo>
                <a:cubicBezTo>
                  <a:pt x="2939368" y="559180"/>
                  <a:pt x="2936804" y="577135"/>
                  <a:pt x="2923979" y="592525"/>
                </a:cubicBezTo>
                <a:cubicBezTo>
                  <a:pt x="2916284" y="577135"/>
                  <a:pt x="2934239" y="561745"/>
                  <a:pt x="2929109" y="543791"/>
                </a:cubicBezTo>
                <a:cubicBezTo>
                  <a:pt x="2934239" y="543791"/>
                  <a:pt x="2934239" y="538661"/>
                  <a:pt x="2941933" y="541226"/>
                </a:cubicBezTo>
                <a:close/>
                <a:moveTo>
                  <a:pt x="3721661" y="538663"/>
                </a:moveTo>
                <a:cubicBezTo>
                  <a:pt x="3724226" y="538663"/>
                  <a:pt x="3724226" y="538663"/>
                  <a:pt x="3726790" y="538663"/>
                </a:cubicBezTo>
                <a:cubicBezTo>
                  <a:pt x="3729356" y="546357"/>
                  <a:pt x="3724226" y="543792"/>
                  <a:pt x="3719096" y="543792"/>
                </a:cubicBezTo>
                <a:cubicBezTo>
                  <a:pt x="3719096" y="541228"/>
                  <a:pt x="3721661" y="541228"/>
                  <a:pt x="3721661" y="538663"/>
                </a:cubicBezTo>
                <a:close/>
                <a:moveTo>
                  <a:pt x="2667490" y="520673"/>
                </a:moveTo>
                <a:cubicBezTo>
                  <a:pt x="2682879" y="536062"/>
                  <a:pt x="2697627" y="552093"/>
                  <a:pt x="2711734" y="569085"/>
                </a:cubicBezTo>
                <a:lnTo>
                  <a:pt x="2747001" y="616388"/>
                </a:lnTo>
                <a:lnTo>
                  <a:pt x="2747001" y="628398"/>
                </a:lnTo>
                <a:cubicBezTo>
                  <a:pt x="2734176" y="609161"/>
                  <a:pt x="2720711" y="591207"/>
                  <a:pt x="2706604" y="574535"/>
                </a:cubicBezTo>
                <a:lnTo>
                  <a:pt x="2685069" y="552064"/>
                </a:lnTo>
                <a:close/>
                <a:moveTo>
                  <a:pt x="3821692" y="513014"/>
                </a:moveTo>
                <a:cubicBezTo>
                  <a:pt x="3826822" y="515579"/>
                  <a:pt x="3829386" y="528403"/>
                  <a:pt x="3824257" y="533533"/>
                </a:cubicBezTo>
                <a:cubicBezTo>
                  <a:pt x="3813997" y="530968"/>
                  <a:pt x="3821692" y="518143"/>
                  <a:pt x="3821692" y="513014"/>
                </a:cubicBezTo>
                <a:close/>
                <a:moveTo>
                  <a:pt x="3821692" y="438632"/>
                </a:moveTo>
                <a:cubicBezTo>
                  <a:pt x="3829386" y="446326"/>
                  <a:pt x="3829386" y="489931"/>
                  <a:pt x="3821692" y="497625"/>
                </a:cubicBezTo>
                <a:cubicBezTo>
                  <a:pt x="3821692" y="477105"/>
                  <a:pt x="3821692" y="456586"/>
                  <a:pt x="3821692" y="438632"/>
                </a:cubicBezTo>
                <a:close/>
                <a:moveTo>
                  <a:pt x="2754696" y="407818"/>
                </a:moveTo>
                <a:cubicBezTo>
                  <a:pt x="2752131" y="445009"/>
                  <a:pt x="2749566" y="482199"/>
                  <a:pt x="2747964" y="519070"/>
                </a:cubicBezTo>
                <a:lnTo>
                  <a:pt x="2747105" y="616528"/>
                </a:lnTo>
                <a:lnTo>
                  <a:pt x="2747001" y="616388"/>
                </a:lnTo>
                <a:lnTo>
                  <a:pt x="2747001" y="520352"/>
                </a:lnTo>
                <a:cubicBezTo>
                  <a:pt x="2748283" y="482841"/>
                  <a:pt x="2750849" y="445009"/>
                  <a:pt x="2754696" y="407818"/>
                </a:cubicBezTo>
                <a:close/>
                <a:moveTo>
                  <a:pt x="3821691" y="395029"/>
                </a:moveTo>
                <a:cubicBezTo>
                  <a:pt x="3826821" y="392464"/>
                  <a:pt x="3826821" y="397594"/>
                  <a:pt x="3826821" y="402724"/>
                </a:cubicBezTo>
                <a:cubicBezTo>
                  <a:pt x="3824256" y="402724"/>
                  <a:pt x="3821691" y="402724"/>
                  <a:pt x="3819127" y="402724"/>
                </a:cubicBezTo>
                <a:cubicBezTo>
                  <a:pt x="3821691" y="400159"/>
                  <a:pt x="3821691" y="397594"/>
                  <a:pt x="3821691" y="395029"/>
                </a:cubicBezTo>
                <a:close/>
                <a:moveTo>
                  <a:pt x="2729048" y="389900"/>
                </a:moveTo>
                <a:cubicBezTo>
                  <a:pt x="2739307" y="392465"/>
                  <a:pt x="2739307" y="397594"/>
                  <a:pt x="2736742" y="407854"/>
                </a:cubicBezTo>
                <a:cubicBezTo>
                  <a:pt x="2731612" y="407854"/>
                  <a:pt x="2729048" y="402724"/>
                  <a:pt x="2729048" y="407854"/>
                </a:cubicBezTo>
                <a:cubicBezTo>
                  <a:pt x="2723917" y="405289"/>
                  <a:pt x="2726482" y="402724"/>
                  <a:pt x="2731612" y="402724"/>
                </a:cubicBezTo>
                <a:cubicBezTo>
                  <a:pt x="2734177" y="395030"/>
                  <a:pt x="2729048" y="397594"/>
                  <a:pt x="2729048" y="389900"/>
                </a:cubicBezTo>
                <a:close/>
                <a:moveTo>
                  <a:pt x="2729048" y="359122"/>
                </a:moveTo>
                <a:cubicBezTo>
                  <a:pt x="2731613" y="359122"/>
                  <a:pt x="2734177" y="364251"/>
                  <a:pt x="2736742" y="364251"/>
                </a:cubicBezTo>
                <a:cubicBezTo>
                  <a:pt x="2736742" y="366816"/>
                  <a:pt x="2734177" y="366816"/>
                  <a:pt x="2734177" y="366816"/>
                </a:cubicBezTo>
                <a:cubicBezTo>
                  <a:pt x="2731613" y="366816"/>
                  <a:pt x="2731613" y="366816"/>
                  <a:pt x="2729048" y="366816"/>
                </a:cubicBezTo>
                <a:cubicBezTo>
                  <a:pt x="2729048" y="364251"/>
                  <a:pt x="2729048" y="361687"/>
                  <a:pt x="2729048" y="359122"/>
                </a:cubicBezTo>
                <a:close/>
                <a:moveTo>
                  <a:pt x="2839337" y="0"/>
                </a:moveTo>
                <a:cubicBezTo>
                  <a:pt x="2877812" y="61557"/>
                  <a:pt x="2913719" y="128244"/>
                  <a:pt x="2941933" y="205191"/>
                </a:cubicBezTo>
                <a:cubicBezTo>
                  <a:pt x="2970147" y="284703"/>
                  <a:pt x="2985536" y="374474"/>
                  <a:pt x="2995796" y="469375"/>
                </a:cubicBezTo>
                <a:cubicBezTo>
                  <a:pt x="2998361" y="533497"/>
                  <a:pt x="3003492" y="597620"/>
                  <a:pt x="3013751" y="656612"/>
                </a:cubicBezTo>
                <a:lnTo>
                  <a:pt x="3019398" y="670701"/>
                </a:lnTo>
                <a:lnTo>
                  <a:pt x="3034269" y="738689"/>
                </a:lnTo>
                <a:cubicBezTo>
                  <a:pt x="3047094" y="789987"/>
                  <a:pt x="3062483" y="836154"/>
                  <a:pt x="3080437" y="879757"/>
                </a:cubicBezTo>
                <a:lnTo>
                  <a:pt x="3079035" y="858709"/>
                </a:lnTo>
                <a:lnTo>
                  <a:pt x="3080437" y="869497"/>
                </a:lnTo>
                <a:cubicBezTo>
                  <a:pt x="3080437" y="874627"/>
                  <a:pt x="3083002" y="882322"/>
                  <a:pt x="3083002" y="887452"/>
                </a:cubicBezTo>
                <a:cubicBezTo>
                  <a:pt x="3083002" y="897711"/>
                  <a:pt x="3085567" y="905406"/>
                  <a:pt x="3085567" y="913101"/>
                </a:cubicBezTo>
                <a:cubicBezTo>
                  <a:pt x="3093262" y="933620"/>
                  <a:pt x="3103521" y="956706"/>
                  <a:pt x="3111216" y="977225"/>
                </a:cubicBezTo>
                <a:cubicBezTo>
                  <a:pt x="3131736" y="1023392"/>
                  <a:pt x="3149689" y="1074689"/>
                  <a:pt x="3159949" y="1131117"/>
                </a:cubicBezTo>
                <a:cubicBezTo>
                  <a:pt x="3167644" y="1113163"/>
                  <a:pt x="3172774" y="1097773"/>
                  <a:pt x="3177903" y="1082384"/>
                </a:cubicBezTo>
                <a:cubicBezTo>
                  <a:pt x="3193294" y="1031087"/>
                  <a:pt x="3206117" y="977225"/>
                  <a:pt x="3216378" y="923360"/>
                </a:cubicBezTo>
                <a:cubicBezTo>
                  <a:pt x="3180468" y="813070"/>
                  <a:pt x="3124040" y="728428"/>
                  <a:pt x="3070178" y="641223"/>
                </a:cubicBezTo>
                <a:cubicBezTo>
                  <a:pt x="3124040" y="725864"/>
                  <a:pt x="3180468" y="810506"/>
                  <a:pt x="3218942" y="918230"/>
                </a:cubicBezTo>
                <a:cubicBezTo>
                  <a:pt x="3221506" y="900276"/>
                  <a:pt x="3224071" y="882322"/>
                  <a:pt x="3226637" y="864368"/>
                </a:cubicBezTo>
                <a:cubicBezTo>
                  <a:pt x="3242026" y="713040"/>
                  <a:pt x="3226637" y="574536"/>
                  <a:pt x="3206117" y="443726"/>
                </a:cubicBezTo>
                <a:cubicBezTo>
                  <a:pt x="3229201" y="571971"/>
                  <a:pt x="3247155" y="710475"/>
                  <a:pt x="3231766" y="861803"/>
                </a:cubicBezTo>
                <a:cubicBezTo>
                  <a:pt x="3231766" y="884887"/>
                  <a:pt x="3226637" y="905406"/>
                  <a:pt x="3224071" y="928490"/>
                </a:cubicBezTo>
                <a:cubicBezTo>
                  <a:pt x="3224071" y="931055"/>
                  <a:pt x="3226637" y="933620"/>
                  <a:pt x="3226637" y="936185"/>
                </a:cubicBezTo>
                <a:cubicBezTo>
                  <a:pt x="3224071" y="933620"/>
                  <a:pt x="3224071" y="933620"/>
                  <a:pt x="3224071" y="931055"/>
                </a:cubicBezTo>
                <a:cubicBezTo>
                  <a:pt x="3216378" y="982355"/>
                  <a:pt x="3203553" y="1033652"/>
                  <a:pt x="3188163" y="1082384"/>
                </a:cubicBezTo>
                <a:cubicBezTo>
                  <a:pt x="3183033" y="1102904"/>
                  <a:pt x="3175338" y="1123423"/>
                  <a:pt x="3167644" y="1143942"/>
                </a:cubicBezTo>
                <a:cubicBezTo>
                  <a:pt x="3172774" y="1172156"/>
                  <a:pt x="3175338" y="1202934"/>
                  <a:pt x="3172774" y="1233713"/>
                </a:cubicBezTo>
                <a:cubicBezTo>
                  <a:pt x="3175338" y="1323484"/>
                  <a:pt x="3154819" y="1413256"/>
                  <a:pt x="3134300" y="1500462"/>
                </a:cubicBezTo>
                <a:cubicBezTo>
                  <a:pt x="3131736" y="1533807"/>
                  <a:pt x="3129170" y="1567150"/>
                  <a:pt x="3126605" y="1597929"/>
                </a:cubicBezTo>
                <a:cubicBezTo>
                  <a:pt x="3141995" y="1569715"/>
                  <a:pt x="3157384" y="1541501"/>
                  <a:pt x="3170209" y="1513288"/>
                </a:cubicBezTo>
                <a:cubicBezTo>
                  <a:pt x="3170209" y="1508157"/>
                  <a:pt x="3170209" y="1505593"/>
                  <a:pt x="3170209" y="1500462"/>
                </a:cubicBezTo>
                <a:cubicBezTo>
                  <a:pt x="3170209" y="1464554"/>
                  <a:pt x="3165079" y="1426080"/>
                  <a:pt x="3167644" y="1385042"/>
                </a:cubicBezTo>
                <a:cubicBezTo>
                  <a:pt x="3167644" y="1344004"/>
                  <a:pt x="3172774" y="1300400"/>
                  <a:pt x="3183033" y="1259362"/>
                </a:cubicBezTo>
                <a:cubicBezTo>
                  <a:pt x="3193294" y="1218324"/>
                  <a:pt x="3206117" y="1179850"/>
                  <a:pt x="3221506" y="1141377"/>
                </a:cubicBezTo>
                <a:cubicBezTo>
                  <a:pt x="3231766" y="1113163"/>
                  <a:pt x="3242026" y="1082384"/>
                  <a:pt x="3252285" y="1054171"/>
                </a:cubicBezTo>
                <a:lnTo>
                  <a:pt x="3244828" y="1008466"/>
                </a:lnTo>
                <a:lnTo>
                  <a:pt x="3252285" y="1049041"/>
                </a:lnTo>
                <a:cubicBezTo>
                  <a:pt x="3267675" y="1002874"/>
                  <a:pt x="3280499" y="959270"/>
                  <a:pt x="3290758" y="913101"/>
                </a:cubicBezTo>
                <a:cubicBezTo>
                  <a:pt x="3308713" y="833589"/>
                  <a:pt x="3311279" y="751513"/>
                  <a:pt x="3303583" y="679696"/>
                </a:cubicBezTo>
                <a:cubicBezTo>
                  <a:pt x="3288195" y="533497"/>
                  <a:pt x="3236896" y="420642"/>
                  <a:pt x="3190728" y="305222"/>
                </a:cubicBezTo>
                <a:cubicBezTo>
                  <a:pt x="3236896" y="415512"/>
                  <a:pt x="3290758" y="528368"/>
                  <a:pt x="3308713" y="674567"/>
                </a:cubicBezTo>
                <a:cubicBezTo>
                  <a:pt x="3318972" y="748947"/>
                  <a:pt x="3316407" y="831025"/>
                  <a:pt x="3298453" y="913101"/>
                </a:cubicBezTo>
                <a:cubicBezTo>
                  <a:pt x="3288195" y="966964"/>
                  <a:pt x="3272804" y="1018262"/>
                  <a:pt x="3254850" y="1069559"/>
                </a:cubicBezTo>
                <a:lnTo>
                  <a:pt x="3255827" y="1081769"/>
                </a:lnTo>
                <a:lnTo>
                  <a:pt x="3245232" y="1111881"/>
                </a:lnTo>
                <a:cubicBezTo>
                  <a:pt x="3240743" y="1123423"/>
                  <a:pt x="3235613" y="1134965"/>
                  <a:pt x="3229201" y="1146507"/>
                </a:cubicBezTo>
                <a:cubicBezTo>
                  <a:pt x="3200987" y="1220889"/>
                  <a:pt x="3180468" y="1300400"/>
                  <a:pt x="3180468" y="1377347"/>
                </a:cubicBezTo>
                <a:cubicBezTo>
                  <a:pt x="3180468" y="1413256"/>
                  <a:pt x="3183033" y="1444034"/>
                  <a:pt x="3185598" y="1479943"/>
                </a:cubicBezTo>
                <a:cubicBezTo>
                  <a:pt x="3200987" y="1441470"/>
                  <a:pt x="3216378" y="1400431"/>
                  <a:pt x="3229201" y="1359393"/>
                </a:cubicBezTo>
                <a:cubicBezTo>
                  <a:pt x="3252285" y="1285011"/>
                  <a:pt x="3259980" y="1208064"/>
                  <a:pt x="3259980" y="1133682"/>
                </a:cubicBezTo>
                <a:cubicBezTo>
                  <a:pt x="3262545" y="1208064"/>
                  <a:pt x="3252285" y="1287576"/>
                  <a:pt x="3231766" y="1364523"/>
                </a:cubicBezTo>
                <a:cubicBezTo>
                  <a:pt x="3218942" y="1410691"/>
                  <a:pt x="3200987" y="1454294"/>
                  <a:pt x="3183033" y="1495333"/>
                </a:cubicBezTo>
                <a:cubicBezTo>
                  <a:pt x="3185598" y="1533807"/>
                  <a:pt x="3185598" y="1572280"/>
                  <a:pt x="3180468" y="1613318"/>
                </a:cubicBezTo>
                <a:cubicBezTo>
                  <a:pt x="3180468" y="1615883"/>
                  <a:pt x="3180468" y="1618448"/>
                  <a:pt x="3180468" y="1621013"/>
                </a:cubicBezTo>
                <a:cubicBezTo>
                  <a:pt x="3183033" y="1623578"/>
                  <a:pt x="3183033" y="1623578"/>
                  <a:pt x="3183033" y="1628708"/>
                </a:cubicBezTo>
                <a:cubicBezTo>
                  <a:pt x="3183033" y="1628708"/>
                  <a:pt x="3180468" y="1628708"/>
                  <a:pt x="3180468" y="1628708"/>
                </a:cubicBezTo>
                <a:cubicBezTo>
                  <a:pt x="3175338" y="1680005"/>
                  <a:pt x="3165079" y="1733868"/>
                  <a:pt x="3152254" y="1785166"/>
                </a:cubicBezTo>
                <a:cubicBezTo>
                  <a:pt x="3159949" y="1813380"/>
                  <a:pt x="3170209" y="1839029"/>
                  <a:pt x="3172774" y="1874936"/>
                </a:cubicBezTo>
                <a:cubicBezTo>
                  <a:pt x="3175338" y="1890326"/>
                  <a:pt x="3175338" y="1905715"/>
                  <a:pt x="3172774" y="1921104"/>
                </a:cubicBezTo>
                <a:cubicBezTo>
                  <a:pt x="3229201" y="1957013"/>
                  <a:pt x="3285629" y="1995486"/>
                  <a:pt x="3331797" y="2041654"/>
                </a:cubicBezTo>
                <a:cubicBezTo>
                  <a:pt x="3334362" y="2041654"/>
                  <a:pt x="3334362" y="2041654"/>
                  <a:pt x="3336927" y="2041654"/>
                </a:cubicBezTo>
                <a:cubicBezTo>
                  <a:pt x="3342056" y="2033960"/>
                  <a:pt x="3347186" y="2023701"/>
                  <a:pt x="3352317" y="2016006"/>
                </a:cubicBezTo>
                <a:cubicBezTo>
                  <a:pt x="3352317" y="2013442"/>
                  <a:pt x="3349751" y="2013442"/>
                  <a:pt x="3347186" y="2010878"/>
                </a:cubicBezTo>
                <a:cubicBezTo>
                  <a:pt x="3354881" y="2000616"/>
                  <a:pt x="3362576" y="1992921"/>
                  <a:pt x="3372835" y="1985227"/>
                </a:cubicBezTo>
                <a:cubicBezTo>
                  <a:pt x="3352317" y="1969837"/>
                  <a:pt x="3375400" y="1939059"/>
                  <a:pt x="3367705" y="1905715"/>
                </a:cubicBezTo>
                <a:cubicBezTo>
                  <a:pt x="3403614" y="1890326"/>
                  <a:pt x="3444652" y="1880066"/>
                  <a:pt x="3447218" y="1831334"/>
                </a:cubicBezTo>
                <a:cubicBezTo>
                  <a:pt x="3495950" y="1818510"/>
                  <a:pt x="3519034" y="1756952"/>
                  <a:pt x="3557508" y="1751823"/>
                </a:cubicBezTo>
                <a:cubicBezTo>
                  <a:pt x="3549813" y="1738998"/>
                  <a:pt x="3557508" y="1741563"/>
                  <a:pt x="3552378" y="1726174"/>
                </a:cubicBezTo>
                <a:cubicBezTo>
                  <a:pt x="3560072" y="1715914"/>
                  <a:pt x="3608805" y="1685135"/>
                  <a:pt x="3616500" y="1667181"/>
                </a:cubicBezTo>
                <a:cubicBezTo>
                  <a:pt x="3621630" y="1659486"/>
                  <a:pt x="3611370" y="1644097"/>
                  <a:pt x="3616500" y="1636402"/>
                </a:cubicBezTo>
                <a:cubicBezTo>
                  <a:pt x="3624195" y="1621013"/>
                  <a:pt x="3657538" y="1615883"/>
                  <a:pt x="3657538" y="1600494"/>
                </a:cubicBezTo>
                <a:cubicBezTo>
                  <a:pt x="3657538" y="1608189"/>
                  <a:pt x="3626760" y="1546631"/>
                  <a:pt x="3621630" y="1541501"/>
                </a:cubicBezTo>
                <a:cubicBezTo>
                  <a:pt x="3626760" y="1546631"/>
                  <a:pt x="3547248" y="1505593"/>
                  <a:pt x="3557508" y="1505593"/>
                </a:cubicBezTo>
                <a:cubicBezTo>
                  <a:pt x="3547248" y="1505593"/>
                  <a:pt x="3521599" y="1528676"/>
                  <a:pt x="3488255" y="1526112"/>
                </a:cubicBezTo>
                <a:cubicBezTo>
                  <a:pt x="3460042" y="1526112"/>
                  <a:pt x="3442087" y="1500462"/>
                  <a:pt x="3419003" y="1490202"/>
                </a:cubicBezTo>
                <a:cubicBezTo>
                  <a:pt x="3398484" y="1479943"/>
                  <a:pt x="3354881" y="1469683"/>
                  <a:pt x="3367705" y="1420950"/>
                </a:cubicBezTo>
                <a:cubicBezTo>
                  <a:pt x="3383095" y="1372217"/>
                  <a:pt x="3506210" y="1397866"/>
                  <a:pt x="3552378" y="1426080"/>
                </a:cubicBezTo>
                <a:cubicBezTo>
                  <a:pt x="3562637" y="1405561"/>
                  <a:pt x="3590851" y="1387607"/>
                  <a:pt x="3616500" y="1400431"/>
                </a:cubicBezTo>
                <a:cubicBezTo>
                  <a:pt x="3660103" y="1351698"/>
                  <a:pt x="3739615" y="1390172"/>
                  <a:pt x="3767829" y="1431210"/>
                </a:cubicBezTo>
                <a:cubicBezTo>
                  <a:pt x="3757569" y="1528676"/>
                  <a:pt x="3824256" y="1551761"/>
                  <a:pt x="3867859" y="1587669"/>
                </a:cubicBezTo>
                <a:cubicBezTo>
                  <a:pt x="3860165" y="1638967"/>
                  <a:pt x="3852470" y="1674876"/>
                  <a:pt x="3837081" y="1697960"/>
                </a:cubicBezTo>
                <a:cubicBezTo>
                  <a:pt x="3842210" y="1713349"/>
                  <a:pt x="3849905" y="1690265"/>
                  <a:pt x="3857600" y="1703090"/>
                </a:cubicBezTo>
                <a:cubicBezTo>
                  <a:pt x="3844776" y="1777471"/>
                  <a:pt x="3811432" y="1818510"/>
                  <a:pt x="3837081" y="1877501"/>
                </a:cubicBezTo>
                <a:cubicBezTo>
                  <a:pt x="3829386" y="1885196"/>
                  <a:pt x="3824256" y="1892891"/>
                  <a:pt x="3821691" y="1903150"/>
                </a:cubicBezTo>
                <a:cubicBezTo>
                  <a:pt x="3831951" y="1887761"/>
                  <a:pt x="3844776" y="1872371"/>
                  <a:pt x="3855035" y="1856982"/>
                </a:cubicBezTo>
                <a:cubicBezTo>
                  <a:pt x="3860165" y="1833898"/>
                  <a:pt x="3865295" y="1810815"/>
                  <a:pt x="3870424" y="1787730"/>
                </a:cubicBezTo>
                <a:cubicBezTo>
                  <a:pt x="3872989" y="1769777"/>
                  <a:pt x="3878119" y="1751823"/>
                  <a:pt x="3883249" y="1733868"/>
                </a:cubicBezTo>
                <a:cubicBezTo>
                  <a:pt x="3880684" y="1726174"/>
                  <a:pt x="3883249" y="1715914"/>
                  <a:pt x="3888379" y="1708219"/>
                </a:cubicBezTo>
                <a:cubicBezTo>
                  <a:pt x="3888379" y="1708219"/>
                  <a:pt x="3890944" y="1708219"/>
                  <a:pt x="3890944" y="1708219"/>
                </a:cubicBezTo>
                <a:cubicBezTo>
                  <a:pt x="3903768" y="1669746"/>
                  <a:pt x="3919157" y="1631273"/>
                  <a:pt x="3939677" y="1597929"/>
                </a:cubicBezTo>
                <a:cubicBezTo>
                  <a:pt x="3973020" y="1538935"/>
                  <a:pt x="4014058" y="1508157"/>
                  <a:pt x="4052532" y="1479943"/>
                </a:cubicBezTo>
                <a:cubicBezTo>
                  <a:pt x="4078181" y="1461989"/>
                  <a:pt x="4101265" y="1441470"/>
                  <a:pt x="4126914" y="1418385"/>
                </a:cubicBezTo>
                <a:cubicBezTo>
                  <a:pt x="4157692" y="1382477"/>
                  <a:pt x="4188471" y="1346568"/>
                  <a:pt x="4216685" y="1302965"/>
                </a:cubicBezTo>
                <a:cubicBezTo>
                  <a:pt x="4237204" y="1274752"/>
                  <a:pt x="4252594" y="1243973"/>
                  <a:pt x="4267983" y="1210629"/>
                </a:cubicBezTo>
                <a:cubicBezTo>
                  <a:pt x="4275678" y="1190110"/>
                  <a:pt x="4283372" y="1172156"/>
                  <a:pt x="4291067" y="1151637"/>
                </a:cubicBezTo>
                <a:cubicBezTo>
                  <a:pt x="4293632" y="1136247"/>
                  <a:pt x="4298762" y="1123423"/>
                  <a:pt x="4301327" y="1110598"/>
                </a:cubicBezTo>
                <a:cubicBezTo>
                  <a:pt x="4319281" y="1038781"/>
                  <a:pt x="4324411" y="966964"/>
                  <a:pt x="4321846" y="897711"/>
                </a:cubicBezTo>
                <a:cubicBezTo>
                  <a:pt x="4324411" y="964399"/>
                  <a:pt x="4321846" y="1038781"/>
                  <a:pt x="4303891" y="1110598"/>
                </a:cubicBezTo>
                <a:cubicBezTo>
                  <a:pt x="4303891" y="1118293"/>
                  <a:pt x="4301327" y="1125988"/>
                  <a:pt x="4298762" y="1133682"/>
                </a:cubicBezTo>
                <a:cubicBezTo>
                  <a:pt x="4298762" y="1133682"/>
                  <a:pt x="4301327" y="1131117"/>
                  <a:pt x="4301327" y="1128553"/>
                </a:cubicBezTo>
                <a:cubicBezTo>
                  <a:pt x="4396228" y="907971"/>
                  <a:pt x="4537297" y="759208"/>
                  <a:pt x="4665541" y="613009"/>
                </a:cubicBezTo>
                <a:cubicBezTo>
                  <a:pt x="4729664" y="538627"/>
                  <a:pt x="4793786" y="461680"/>
                  <a:pt x="4852779" y="369344"/>
                </a:cubicBezTo>
                <a:cubicBezTo>
                  <a:pt x="4909206" y="277008"/>
                  <a:pt x="4960504" y="169283"/>
                  <a:pt x="4996412" y="53862"/>
                </a:cubicBezTo>
                <a:cubicBezTo>
                  <a:pt x="4960504" y="169283"/>
                  <a:pt x="4911771" y="279573"/>
                  <a:pt x="4852779" y="371909"/>
                </a:cubicBezTo>
                <a:cubicBezTo>
                  <a:pt x="4796351" y="466810"/>
                  <a:pt x="4729664" y="546322"/>
                  <a:pt x="4665541" y="620704"/>
                </a:cubicBezTo>
                <a:cubicBezTo>
                  <a:pt x="4601419" y="697651"/>
                  <a:pt x="4534732" y="769468"/>
                  <a:pt x="4473174" y="854108"/>
                </a:cubicBezTo>
                <a:cubicBezTo>
                  <a:pt x="4411617" y="938749"/>
                  <a:pt x="4350060" y="1031087"/>
                  <a:pt x="4306456" y="1138812"/>
                </a:cubicBezTo>
                <a:cubicBezTo>
                  <a:pt x="4288502" y="1182416"/>
                  <a:pt x="4273113" y="1226019"/>
                  <a:pt x="4260288" y="1272187"/>
                </a:cubicBezTo>
                <a:cubicBezTo>
                  <a:pt x="4301327" y="1220889"/>
                  <a:pt x="4339800" y="1164461"/>
                  <a:pt x="4375708" y="1108033"/>
                </a:cubicBezTo>
                <a:cubicBezTo>
                  <a:pt x="4337235" y="1169591"/>
                  <a:pt x="4298762" y="1228583"/>
                  <a:pt x="4257723" y="1282446"/>
                </a:cubicBezTo>
                <a:cubicBezTo>
                  <a:pt x="4255159" y="1292706"/>
                  <a:pt x="4252594" y="1302965"/>
                  <a:pt x="4250029" y="1315790"/>
                </a:cubicBezTo>
                <a:cubicBezTo>
                  <a:pt x="4234639" y="1374782"/>
                  <a:pt x="4224380" y="1436340"/>
                  <a:pt x="4211555" y="1497898"/>
                </a:cubicBezTo>
                <a:cubicBezTo>
                  <a:pt x="4257723" y="1464554"/>
                  <a:pt x="4303891" y="1433775"/>
                  <a:pt x="4344930" y="1382477"/>
                </a:cubicBezTo>
                <a:cubicBezTo>
                  <a:pt x="4439831" y="1279881"/>
                  <a:pt x="4527037" y="1161896"/>
                  <a:pt x="4611679" y="1036216"/>
                </a:cubicBezTo>
                <a:cubicBezTo>
                  <a:pt x="4527037" y="1164461"/>
                  <a:pt x="4439831" y="1282446"/>
                  <a:pt x="4347494" y="1387607"/>
                </a:cubicBezTo>
                <a:cubicBezTo>
                  <a:pt x="4306456" y="1441470"/>
                  <a:pt x="4257723" y="1472248"/>
                  <a:pt x="4211555" y="1508157"/>
                </a:cubicBezTo>
                <a:cubicBezTo>
                  <a:pt x="4203861" y="1554326"/>
                  <a:pt x="4193601" y="1597929"/>
                  <a:pt x="4183341" y="1641532"/>
                </a:cubicBezTo>
                <a:cubicBezTo>
                  <a:pt x="4198731" y="1623578"/>
                  <a:pt x="4214120" y="1603059"/>
                  <a:pt x="4229510" y="1579975"/>
                </a:cubicBezTo>
                <a:cubicBezTo>
                  <a:pt x="4267983" y="1520981"/>
                  <a:pt x="4306456" y="1456859"/>
                  <a:pt x="4350060" y="1405561"/>
                </a:cubicBezTo>
                <a:cubicBezTo>
                  <a:pt x="4415464" y="1326690"/>
                  <a:pt x="4485197" y="1270904"/>
                  <a:pt x="4556012" y="1227381"/>
                </a:cubicBezTo>
                <a:lnTo>
                  <a:pt x="4617869" y="1192702"/>
                </a:lnTo>
                <a:lnTo>
                  <a:pt x="4616849" y="1191977"/>
                </a:lnTo>
                <a:lnTo>
                  <a:pt x="4618382" y="1192414"/>
                </a:lnTo>
                <a:lnTo>
                  <a:pt x="4627068" y="1187545"/>
                </a:lnTo>
                <a:lnTo>
                  <a:pt x="4618703" y="1192506"/>
                </a:lnTo>
                <a:lnTo>
                  <a:pt x="4619374" y="1192698"/>
                </a:lnTo>
                <a:cubicBezTo>
                  <a:pt x="4624183" y="1196545"/>
                  <a:pt x="4623943" y="1196786"/>
                  <a:pt x="4622305" y="1195854"/>
                </a:cubicBezTo>
                <a:lnTo>
                  <a:pt x="4618099" y="1192865"/>
                </a:lnTo>
                <a:lnTo>
                  <a:pt x="4596387" y="1205742"/>
                </a:lnTo>
                <a:lnTo>
                  <a:pt x="4604625" y="1224438"/>
                </a:lnTo>
                <a:cubicBezTo>
                  <a:pt x="4606549" y="1230530"/>
                  <a:pt x="4607831" y="1237583"/>
                  <a:pt x="4609114" y="1249125"/>
                </a:cubicBezTo>
                <a:cubicBezTo>
                  <a:pt x="4602702" y="1245278"/>
                  <a:pt x="4600778" y="1237583"/>
                  <a:pt x="4599816" y="1229247"/>
                </a:cubicBezTo>
                <a:lnTo>
                  <a:pt x="4596328" y="1205777"/>
                </a:lnTo>
                <a:lnTo>
                  <a:pt x="4556052" y="1229665"/>
                </a:lnTo>
                <a:cubicBezTo>
                  <a:pt x="4485357" y="1275713"/>
                  <a:pt x="4416105" y="1334385"/>
                  <a:pt x="4352625" y="1413256"/>
                </a:cubicBezTo>
                <a:cubicBezTo>
                  <a:pt x="4311586" y="1464554"/>
                  <a:pt x="4273113" y="1528676"/>
                  <a:pt x="4234639" y="1590234"/>
                </a:cubicBezTo>
                <a:cubicBezTo>
                  <a:pt x="4216685" y="1618448"/>
                  <a:pt x="4198731" y="1644097"/>
                  <a:pt x="4178212" y="1667181"/>
                </a:cubicBezTo>
                <a:cubicBezTo>
                  <a:pt x="4162822" y="1726174"/>
                  <a:pt x="4144868" y="1785166"/>
                  <a:pt x="4119219" y="1841593"/>
                </a:cubicBezTo>
                <a:cubicBezTo>
                  <a:pt x="4101265" y="1877501"/>
                  <a:pt x="4080746" y="1910845"/>
                  <a:pt x="4060226" y="1939059"/>
                </a:cubicBezTo>
                <a:cubicBezTo>
                  <a:pt x="4060226" y="1951883"/>
                  <a:pt x="4057662" y="1962143"/>
                  <a:pt x="4055097" y="1974967"/>
                </a:cubicBezTo>
                <a:cubicBezTo>
                  <a:pt x="4083311" y="2036525"/>
                  <a:pt x="4106395" y="2100646"/>
                  <a:pt x="4103830" y="2167332"/>
                </a:cubicBezTo>
                <a:cubicBezTo>
                  <a:pt x="4101265" y="2169897"/>
                  <a:pt x="4098700" y="2172463"/>
                  <a:pt x="4096135" y="2172463"/>
                </a:cubicBezTo>
                <a:cubicBezTo>
                  <a:pt x="4178212" y="2210934"/>
                  <a:pt x="4257723" y="2257108"/>
                  <a:pt x="4332105" y="2313533"/>
                </a:cubicBezTo>
                <a:cubicBezTo>
                  <a:pt x="4352625" y="2282755"/>
                  <a:pt x="4373143" y="2249412"/>
                  <a:pt x="4391098" y="2216066"/>
                </a:cubicBezTo>
                <a:cubicBezTo>
                  <a:pt x="4488564" y="2036525"/>
                  <a:pt x="4578335" y="1844158"/>
                  <a:pt x="4675801" y="1662051"/>
                </a:cubicBezTo>
                <a:cubicBezTo>
                  <a:pt x="4760442" y="1505593"/>
                  <a:pt x="4852779" y="1351698"/>
                  <a:pt x="4957939" y="1246538"/>
                </a:cubicBezTo>
                <a:cubicBezTo>
                  <a:pt x="4955374" y="1246538"/>
                  <a:pt x="4952809" y="1241408"/>
                  <a:pt x="4947680" y="1241408"/>
                </a:cubicBezTo>
                <a:cubicBezTo>
                  <a:pt x="4945115" y="1231148"/>
                  <a:pt x="4952809" y="1231148"/>
                  <a:pt x="4950244" y="1223454"/>
                </a:cubicBezTo>
                <a:cubicBezTo>
                  <a:pt x="4963069" y="1223454"/>
                  <a:pt x="4965634" y="1231148"/>
                  <a:pt x="4963069" y="1241408"/>
                </a:cubicBezTo>
                <a:cubicBezTo>
                  <a:pt x="4968199" y="1236278"/>
                  <a:pt x="4970764" y="1233713"/>
                  <a:pt x="4973329" y="1231148"/>
                </a:cubicBezTo>
                <a:cubicBezTo>
                  <a:pt x="4968199" y="1220889"/>
                  <a:pt x="4975893" y="1218324"/>
                  <a:pt x="4978458" y="1205499"/>
                </a:cubicBezTo>
                <a:cubicBezTo>
                  <a:pt x="4986153" y="1208064"/>
                  <a:pt x="4993848" y="1195240"/>
                  <a:pt x="4993848" y="1200370"/>
                </a:cubicBezTo>
                <a:cubicBezTo>
                  <a:pt x="4998978" y="1200370"/>
                  <a:pt x="4998978" y="1182416"/>
                  <a:pt x="4993848" y="1184980"/>
                </a:cubicBezTo>
                <a:cubicBezTo>
                  <a:pt x="5001542" y="1182416"/>
                  <a:pt x="5006672" y="1179850"/>
                  <a:pt x="5009237" y="1172156"/>
                </a:cubicBezTo>
                <a:cubicBezTo>
                  <a:pt x="5022061" y="1174721"/>
                  <a:pt x="5016932" y="1184980"/>
                  <a:pt x="5019497" y="1190110"/>
                </a:cubicBezTo>
                <a:cubicBezTo>
                  <a:pt x="5142611" y="1092643"/>
                  <a:pt x="5265726" y="1087513"/>
                  <a:pt x="5373452" y="1128553"/>
                </a:cubicBezTo>
                <a:cubicBezTo>
                  <a:pt x="5265726" y="1090079"/>
                  <a:pt x="5142611" y="1102904"/>
                  <a:pt x="5024626" y="1200370"/>
                </a:cubicBezTo>
                <a:cubicBezTo>
                  <a:pt x="5027191" y="1200370"/>
                  <a:pt x="5027191" y="1200370"/>
                  <a:pt x="5029756" y="1200370"/>
                </a:cubicBezTo>
                <a:cubicBezTo>
                  <a:pt x="5029756" y="1208064"/>
                  <a:pt x="5024626" y="1210629"/>
                  <a:pt x="5024626" y="1215759"/>
                </a:cubicBezTo>
                <a:cubicBezTo>
                  <a:pt x="5029756" y="1218324"/>
                  <a:pt x="5029756" y="1213194"/>
                  <a:pt x="5029756" y="1210629"/>
                </a:cubicBezTo>
                <a:cubicBezTo>
                  <a:pt x="5032321" y="1238843"/>
                  <a:pt x="5032321" y="1246538"/>
                  <a:pt x="5024626" y="1277316"/>
                </a:cubicBezTo>
                <a:cubicBezTo>
                  <a:pt x="5019497" y="1282446"/>
                  <a:pt x="5015650" y="1284370"/>
                  <a:pt x="5012443" y="1286614"/>
                </a:cubicBezTo>
                <a:lnTo>
                  <a:pt x="5004124" y="1297813"/>
                </a:lnTo>
                <a:lnTo>
                  <a:pt x="5012122" y="1313567"/>
                </a:lnTo>
                <a:cubicBezTo>
                  <a:pt x="5015008" y="1322224"/>
                  <a:pt x="5015649" y="1332483"/>
                  <a:pt x="5009237" y="1344026"/>
                </a:cubicBezTo>
                <a:cubicBezTo>
                  <a:pt x="5001542" y="1341461"/>
                  <a:pt x="4998978" y="1344026"/>
                  <a:pt x="4991283" y="1338896"/>
                </a:cubicBezTo>
                <a:cubicBezTo>
                  <a:pt x="4993848" y="1326070"/>
                  <a:pt x="4991283" y="1331201"/>
                  <a:pt x="4988718" y="1320941"/>
                </a:cubicBezTo>
                <a:cubicBezTo>
                  <a:pt x="5001542" y="1323505"/>
                  <a:pt x="4993848" y="1308117"/>
                  <a:pt x="5004107" y="1310681"/>
                </a:cubicBezTo>
                <a:cubicBezTo>
                  <a:pt x="5002824" y="1306834"/>
                  <a:pt x="5001542" y="1304269"/>
                  <a:pt x="5000901" y="1301704"/>
                </a:cubicBezTo>
                <a:lnTo>
                  <a:pt x="5001328" y="1295722"/>
                </a:lnTo>
                <a:lnTo>
                  <a:pt x="4995411" y="1291223"/>
                </a:lnTo>
                <a:cubicBezTo>
                  <a:pt x="4990482" y="1282446"/>
                  <a:pt x="4993848" y="1268981"/>
                  <a:pt x="4978458" y="1267057"/>
                </a:cubicBezTo>
                <a:cubicBezTo>
                  <a:pt x="4981023" y="1259362"/>
                  <a:pt x="4978458" y="1254232"/>
                  <a:pt x="4975893" y="1249103"/>
                </a:cubicBezTo>
                <a:cubicBezTo>
                  <a:pt x="4948962" y="1276034"/>
                  <a:pt x="4922993" y="1306172"/>
                  <a:pt x="4897865" y="1338794"/>
                </a:cubicBezTo>
                <a:lnTo>
                  <a:pt x="4829711" y="1436477"/>
                </a:lnTo>
                <a:lnTo>
                  <a:pt x="4834355" y="1449784"/>
                </a:lnTo>
                <a:cubicBezTo>
                  <a:pt x="4836322" y="1472228"/>
                  <a:pt x="4829695" y="1505787"/>
                  <a:pt x="4829695" y="1462023"/>
                </a:cubicBezTo>
                <a:cubicBezTo>
                  <a:pt x="4825206" y="1460741"/>
                  <a:pt x="4822481" y="1458978"/>
                  <a:pt x="4820917" y="1456934"/>
                </a:cubicBezTo>
                <a:lnTo>
                  <a:pt x="4819651" y="1452176"/>
                </a:lnTo>
                <a:lnTo>
                  <a:pt x="4756234" y="1558573"/>
                </a:lnTo>
                <a:cubicBezTo>
                  <a:pt x="4733992" y="1598249"/>
                  <a:pt x="4712350" y="1638967"/>
                  <a:pt x="4691190" y="1680005"/>
                </a:cubicBezTo>
                <a:cubicBezTo>
                  <a:pt x="4596289" y="1862112"/>
                  <a:pt x="4509083" y="2054480"/>
                  <a:pt x="4414182" y="2241718"/>
                </a:cubicBezTo>
                <a:cubicBezTo>
                  <a:pt x="4403922" y="2259670"/>
                  <a:pt x="4396228" y="2277626"/>
                  <a:pt x="4385968" y="2293014"/>
                </a:cubicBezTo>
                <a:cubicBezTo>
                  <a:pt x="4427006" y="2269932"/>
                  <a:pt x="4468045" y="2249412"/>
                  <a:pt x="4506518" y="2226327"/>
                </a:cubicBezTo>
                <a:cubicBezTo>
                  <a:pt x="4514213" y="2221197"/>
                  <a:pt x="4511648" y="2205806"/>
                  <a:pt x="4516778" y="2195544"/>
                </a:cubicBezTo>
                <a:cubicBezTo>
                  <a:pt x="4555251" y="2185285"/>
                  <a:pt x="4570640" y="2151944"/>
                  <a:pt x="4591159" y="2126297"/>
                </a:cubicBezTo>
                <a:cubicBezTo>
                  <a:pt x="4655282" y="2113470"/>
                  <a:pt x="4678366" y="2064738"/>
                  <a:pt x="4706579" y="2016006"/>
                </a:cubicBezTo>
                <a:cubicBezTo>
                  <a:pt x="4786091" y="2016006"/>
                  <a:pt x="4798916" y="2087822"/>
                  <a:pt x="4837389" y="2136555"/>
                </a:cubicBezTo>
                <a:cubicBezTo>
                  <a:pt x="4850214" y="2151944"/>
                  <a:pt x="4868168" y="2154509"/>
                  <a:pt x="4883557" y="2167332"/>
                </a:cubicBezTo>
                <a:cubicBezTo>
                  <a:pt x="4893817" y="2180157"/>
                  <a:pt x="4904077" y="2205806"/>
                  <a:pt x="4919466" y="2226327"/>
                </a:cubicBezTo>
                <a:cubicBezTo>
                  <a:pt x="4942550" y="2257108"/>
                  <a:pt x="4975893" y="2290449"/>
                  <a:pt x="4996412" y="2331486"/>
                </a:cubicBezTo>
                <a:cubicBezTo>
                  <a:pt x="5004107" y="2323792"/>
                  <a:pt x="5009237" y="2313533"/>
                  <a:pt x="5009237" y="2305838"/>
                </a:cubicBezTo>
                <a:cubicBezTo>
                  <a:pt x="5014367" y="2313533"/>
                  <a:pt x="5006672" y="2328922"/>
                  <a:pt x="5001542" y="2339180"/>
                </a:cubicBezTo>
                <a:cubicBezTo>
                  <a:pt x="5019497" y="2377654"/>
                  <a:pt x="5029756" y="2426387"/>
                  <a:pt x="5009237" y="2487945"/>
                </a:cubicBezTo>
                <a:cubicBezTo>
                  <a:pt x="4998978" y="2521288"/>
                  <a:pt x="4970764" y="2539244"/>
                  <a:pt x="4947680" y="2562327"/>
                </a:cubicBezTo>
                <a:cubicBezTo>
                  <a:pt x="4947680" y="2564892"/>
                  <a:pt x="4950244" y="2562327"/>
                  <a:pt x="4952809" y="2562327"/>
                </a:cubicBezTo>
                <a:cubicBezTo>
                  <a:pt x="4957939" y="2572586"/>
                  <a:pt x="4945115" y="2593105"/>
                  <a:pt x="4932290" y="2585411"/>
                </a:cubicBezTo>
                <a:cubicBezTo>
                  <a:pt x="4932290" y="2582846"/>
                  <a:pt x="4932290" y="2580281"/>
                  <a:pt x="4932290" y="2577716"/>
                </a:cubicBezTo>
                <a:cubicBezTo>
                  <a:pt x="4919466" y="2590540"/>
                  <a:pt x="4906641" y="2608495"/>
                  <a:pt x="4901512" y="2629015"/>
                </a:cubicBezTo>
                <a:cubicBezTo>
                  <a:pt x="4883557" y="2631580"/>
                  <a:pt x="4868168" y="2641839"/>
                  <a:pt x="4852779" y="2652099"/>
                </a:cubicBezTo>
                <a:cubicBezTo>
                  <a:pt x="4855343" y="2662358"/>
                  <a:pt x="4857908" y="2672618"/>
                  <a:pt x="4860473" y="2682878"/>
                </a:cubicBezTo>
                <a:cubicBezTo>
                  <a:pt x="4863038" y="2682878"/>
                  <a:pt x="4865603" y="2682878"/>
                  <a:pt x="4870733" y="2685443"/>
                </a:cubicBezTo>
                <a:cubicBezTo>
                  <a:pt x="4875863" y="2698267"/>
                  <a:pt x="4873298" y="2705962"/>
                  <a:pt x="4868168" y="2713656"/>
                </a:cubicBezTo>
                <a:cubicBezTo>
                  <a:pt x="4870733" y="2729046"/>
                  <a:pt x="4875863" y="2741870"/>
                  <a:pt x="4878428" y="2757259"/>
                </a:cubicBezTo>
                <a:cubicBezTo>
                  <a:pt x="4886122" y="2747000"/>
                  <a:pt x="4891252" y="2736740"/>
                  <a:pt x="4896382" y="2723916"/>
                </a:cubicBezTo>
                <a:cubicBezTo>
                  <a:pt x="4947680" y="2716221"/>
                  <a:pt x="4981023" y="2664922"/>
                  <a:pt x="5042581" y="2649534"/>
                </a:cubicBezTo>
                <a:cubicBezTo>
                  <a:pt x="5040016" y="2639273"/>
                  <a:pt x="5050275" y="2626449"/>
                  <a:pt x="5063100" y="2639273"/>
                </a:cubicBezTo>
                <a:cubicBezTo>
                  <a:pt x="5063100" y="2641839"/>
                  <a:pt x="5063100" y="2644403"/>
                  <a:pt x="5063100" y="2646968"/>
                </a:cubicBezTo>
                <a:cubicBezTo>
                  <a:pt x="5065665" y="2646968"/>
                  <a:pt x="5068230" y="2646968"/>
                  <a:pt x="5070795" y="2646968"/>
                </a:cubicBezTo>
                <a:cubicBezTo>
                  <a:pt x="5070795" y="2646968"/>
                  <a:pt x="5070795" y="2644403"/>
                  <a:pt x="5070795" y="2644403"/>
                </a:cubicBezTo>
                <a:cubicBezTo>
                  <a:pt x="5065665" y="2636709"/>
                  <a:pt x="5060535" y="2631580"/>
                  <a:pt x="5055405" y="2626449"/>
                </a:cubicBezTo>
                <a:cubicBezTo>
                  <a:pt x="5063100" y="2580281"/>
                  <a:pt x="5045146" y="2554632"/>
                  <a:pt x="5042581" y="2495638"/>
                </a:cubicBezTo>
                <a:cubicBezTo>
                  <a:pt x="5065665" y="2500768"/>
                  <a:pt x="5068230" y="2541808"/>
                  <a:pt x="5086184" y="2544372"/>
                </a:cubicBezTo>
                <a:cubicBezTo>
                  <a:pt x="5088749" y="2549502"/>
                  <a:pt x="5091313" y="2557197"/>
                  <a:pt x="5093878" y="2562327"/>
                </a:cubicBezTo>
                <a:cubicBezTo>
                  <a:pt x="5093878" y="2562327"/>
                  <a:pt x="5093878" y="2564892"/>
                  <a:pt x="5093878" y="2564892"/>
                </a:cubicBezTo>
                <a:cubicBezTo>
                  <a:pt x="5096444" y="2570021"/>
                  <a:pt x="5099008" y="2577716"/>
                  <a:pt x="5101573" y="2582846"/>
                </a:cubicBezTo>
                <a:cubicBezTo>
                  <a:pt x="5104138" y="2582846"/>
                  <a:pt x="5104138" y="2585411"/>
                  <a:pt x="5104138" y="2585411"/>
                </a:cubicBezTo>
                <a:cubicBezTo>
                  <a:pt x="5106703" y="2590540"/>
                  <a:pt x="5111833" y="2598235"/>
                  <a:pt x="5114398" y="2603365"/>
                </a:cubicBezTo>
                <a:cubicBezTo>
                  <a:pt x="5119527" y="2611060"/>
                  <a:pt x="5122092" y="2616189"/>
                  <a:pt x="5127222" y="2621320"/>
                </a:cubicBezTo>
                <a:cubicBezTo>
                  <a:pt x="5127222" y="2621320"/>
                  <a:pt x="5129787" y="2621320"/>
                  <a:pt x="5129787" y="2621320"/>
                </a:cubicBezTo>
                <a:cubicBezTo>
                  <a:pt x="5132352" y="2623885"/>
                  <a:pt x="5134917" y="2626449"/>
                  <a:pt x="5137482" y="2629015"/>
                </a:cubicBezTo>
                <a:cubicBezTo>
                  <a:pt x="5134917" y="2629015"/>
                  <a:pt x="5132352" y="2626449"/>
                  <a:pt x="5129787" y="2626449"/>
                </a:cubicBezTo>
                <a:cubicBezTo>
                  <a:pt x="5132352" y="2634144"/>
                  <a:pt x="5134917" y="2646968"/>
                  <a:pt x="5134917" y="2657229"/>
                </a:cubicBezTo>
                <a:cubicBezTo>
                  <a:pt x="5140047" y="2657229"/>
                  <a:pt x="5147741" y="2654664"/>
                  <a:pt x="5152871" y="2649534"/>
                </a:cubicBezTo>
                <a:cubicBezTo>
                  <a:pt x="5155436" y="2611060"/>
                  <a:pt x="5134917" y="2598235"/>
                  <a:pt x="5127222" y="2570021"/>
                </a:cubicBezTo>
                <a:cubicBezTo>
                  <a:pt x="5134917" y="2554632"/>
                  <a:pt x="5150306" y="2559763"/>
                  <a:pt x="5158001" y="2570021"/>
                </a:cubicBezTo>
                <a:cubicBezTo>
                  <a:pt x="5165696" y="2562327"/>
                  <a:pt x="5163131" y="2544372"/>
                  <a:pt x="5163131" y="2528982"/>
                </a:cubicBezTo>
                <a:cubicBezTo>
                  <a:pt x="5183650" y="2526418"/>
                  <a:pt x="5183650" y="2503334"/>
                  <a:pt x="5209299" y="2503334"/>
                </a:cubicBezTo>
                <a:cubicBezTo>
                  <a:pt x="5214428" y="2475120"/>
                  <a:pt x="5204169" y="2459731"/>
                  <a:pt x="5183650" y="2457166"/>
                </a:cubicBezTo>
                <a:cubicBezTo>
                  <a:pt x="5181085" y="2436647"/>
                  <a:pt x="5196474" y="2436647"/>
                  <a:pt x="5199039" y="2421258"/>
                </a:cubicBezTo>
                <a:cubicBezTo>
                  <a:pt x="5196474" y="2395610"/>
                  <a:pt x="5145176" y="2439212"/>
                  <a:pt x="5152871" y="2395610"/>
                </a:cubicBezTo>
                <a:cubicBezTo>
                  <a:pt x="5219558" y="2410997"/>
                  <a:pt x="5186215" y="2331486"/>
                  <a:pt x="5188779" y="2300709"/>
                </a:cubicBezTo>
                <a:cubicBezTo>
                  <a:pt x="5216993" y="2305838"/>
                  <a:pt x="5224688" y="2280189"/>
                  <a:pt x="5234948" y="2254542"/>
                </a:cubicBezTo>
                <a:cubicBezTo>
                  <a:pt x="5234948" y="2236587"/>
                  <a:pt x="5214428" y="2236587"/>
                  <a:pt x="5214428" y="2213500"/>
                </a:cubicBezTo>
                <a:cubicBezTo>
                  <a:pt x="5237513" y="2234021"/>
                  <a:pt x="5250337" y="2213500"/>
                  <a:pt x="5260597" y="2192979"/>
                </a:cubicBezTo>
                <a:cubicBezTo>
                  <a:pt x="5281116" y="2198110"/>
                  <a:pt x="5278551" y="2192979"/>
                  <a:pt x="5301635" y="2192979"/>
                </a:cubicBezTo>
                <a:cubicBezTo>
                  <a:pt x="5283680" y="2151944"/>
                  <a:pt x="5314459" y="2131425"/>
                  <a:pt x="5327284" y="2103211"/>
                </a:cubicBezTo>
                <a:cubicBezTo>
                  <a:pt x="5329849" y="2090386"/>
                  <a:pt x="5319589" y="2085258"/>
                  <a:pt x="5306765" y="2087822"/>
                </a:cubicBezTo>
                <a:cubicBezTo>
                  <a:pt x="5296505" y="2054480"/>
                  <a:pt x="5301635" y="2036525"/>
                  <a:pt x="5301635" y="1998051"/>
                </a:cubicBezTo>
                <a:cubicBezTo>
                  <a:pt x="5334978" y="1962143"/>
                  <a:pt x="5358063" y="1980097"/>
                  <a:pt x="5401666" y="1962143"/>
                </a:cubicBezTo>
                <a:cubicBezTo>
                  <a:pt x="5401666" y="1962143"/>
                  <a:pt x="5401666" y="1959578"/>
                  <a:pt x="5401666" y="1959578"/>
                </a:cubicBezTo>
                <a:cubicBezTo>
                  <a:pt x="5396536" y="1959578"/>
                  <a:pt x="5399101" y="1964708"/>
                  <a:pt x="5391406" y="1964708"/>
                </a:cubicBezTo>
                <a:cubicBezTo>
                  <a:pt x="5393971" y="1954448"/>
                  <a:pt x="5386276" y="1954448"/>
                  <a:pt x="5388841" y="1944188"/>
                </a:cubicBezTo>
                <a:cubicBezTo>
                  <a:pt x="5391406" y="1944188"/>
                  <a:pt x="5391406" y="1941624"/>
                  <a:pt x="5391406" y="1939059"/>
                </a:cubicBezTo>
                <a:cubicBezTo>
                  <a:pt x="5396536" y="1936494"/>
                  <a:pt x="5399101" y="1939059"/>
                  <a:pt x="5401666" y="1939059"/>
                </a:cubicBezTo>
                <a:cubicBezTo>
                  <a:pt x="5409360" y="1900585"/>
                  <a:pt x="5432444" y="1880066"/>
                  <a:pt x="5452964" y="1854417"/>
                </a:cubicBezTo>
                <a:cubicBezTo>
                  <a:pt x="5478612" y="1882631"/>
                  <a:pt x="5494002" y="1854417"/>
                  <a:pt x="5506826" y="1828769"/>
                </a:cubicBezTo>
                <a:cubicBezTo>
                  <a:pt x="5501696" y="1815944"/>
                  <a:pt x="5506826" y="1800556"/>
                  <a:pt x="5522216" y="1795426"/>
                </a:cubicBezTo>
                <a:cubicBezTo>
                  <a:pt x="5547864" y="1787730"/>
                  <a:pt x="5555559" y="1823639"/>
                  <a:pt x="5537605" y="1836463"/>
                </a:cubicBezTo>
                <a:cubicBezTo>
                  <a:pt x="5552994" y="1833898"/>
                  <a:pt x="5555559" y="1810815"/>
                  <a:pt x="5570949" y="1826203"/>
                </a:cubicBezTo>
                <a:cubicBezTo>
                  <a:pt x="5542735" y="1787730"/>
                  <a:pt x="5576078" y="1731303"/>
                  <a:pt x="5622247" y="1751823"/>
                </a:cubicBezTo>
                <a:cubicBezTo>
                  <a:pt x="5627376" y="1744128"/>
                  <a:pt x="5619682" y="1708219"/>
                  <a:pt x="5617117" y="1692830"/>
                </a:cubicBezTo>
                <a:cubicBezTo>
                  <a:pt x="5632506" y="1692830"/>
                  <a:pt x="5650460" y="1695395"/>
                  <a:pt x="5647896" y="1677441"/>
                </a:cubicBezTo>
                <a:cubicBezTo>
                  <a:pt x="5673544" y="1692830"/>
                  <a:pt x="5699193" y="1680005"/>
                  <a:pt x="5722277" y="1687700"/>
                </a:cubicBezTo>
                <a:cubicBezTo>
                  <a:pt x="5712018" y="1715914"/>
                  <a:pt x="5712018" y="1741563"/>
                  <a:pt x="5722277" y="1772342"/>
                </a:cubicBezTo>
                <a:cubicBezTo>
                  <a:pt x="5742797" y="1764647"/>
                  <a:pt x="5747926" y="1772342"/>
                  <a:pt x="5773575" y="1772342"/>
                </a:cubicBezTo>
                <a:cubicBezTo>
                  <a:pt x="5776140" y="1787730"/>
                  <a:pt x="5794094" y="1790296"/>
                  <a:pt x="5788965" y="1813380"/>
                </a:cubicBezTo>
                <a:cubicBezTo>
                  <a:pt x="5840263" y="1797991"/>
                  <a:pt x="5865911" y="1800556"/>
                  <a:pt x="5909515" y="1818510"/>
                </a:cubicBezTo>
                <a:cubicBezTo>
                  <a:pt x="5888995" y="1874936"/>
                  <a:pt x="5945423" y="1864677"/>
                  <a:pt x="5983896" y="1882631"/>
                </a:cubicBezTo>
                <a:cubicBezTo>
                  <a:pt x="5983896" y="1880066"/>
                  <a:pt x="5983896" y="1880066"/>
                  <a:pt x="5983896" y="1877501"/>
                </a:cubicBezTo>
                <a:cubicBezTo>
                  <a:pt x="5991591" y="1880066"/>
                  <a:pt x="5991591" y="1882631"/>
                  <a:pt x="5989026" y="1885196"/>
                </a:cubicBezTo>
                <a:cubicBezTo>
                  <a:pt x="6004416" y="1892891"/>
                  <a:pt x="6014675" y="1908280"/>
                  <a:pt x="6014675" y="1933929"/>
                </a:cubicBezTo>
                <a:cubicBezTo>
                  <a:pt x="6130095" y="2016006"/>
                  <a:pt x="6260905" y="2080128"/>
                  <a:pt x="6330157" y="2208371"/>
                </a:cubicBezTo>
                <a:cubicBezTo>
                  <a:pt x="6327592" y="2223762"/>
                  <a:pt x="6322462" y="2239152"/>
                  <a:pt x="6304508" y="2239152"/>
                </a:cubicBezTo>
                <a:cubicBezTo>
                  <a:pt x="6307073" y="2246846"/>
                  <a:pt x="6312203" y="2249412"/>
                  <a:pt x="6317332" y="2254542"/>
                </a:cubicBezTo>
                <a:cubicBezTo>
                  <a:pt x="6322462" y="2241718"/>
                  <a:pt x="6332722" y="2228893"/>
                  <a:pt x="6342981" y="2221197"/>
                </a:cubicBezTo>
                <a:cubicBezTo>
                  <a:pt x="6335287" y="2231456"/>
                  <a:pt x="6327592" y="2244283"/>
                  <a:pt x="6353241" y="2262236"/>
                </a:cubicBezTo>
                <a:cubicBezTo>
                  <a:pt x="6355806" y="2264801"/>
                  <a:pt x="6358371" y="2269932"/>
                  <a:pt x="6358371" y="2275060"/>
                </a:cubicBezTo>
                <a:cubicBezTo>
                  <a:pt x="6353241" y="2275060"/>
                  <a:pt x="6350676" y="2275060"/>
                  <a:pt x="6345546" y="2275060"/>
                </a:cubicBezTo>
                <a:cubicBezTo>
                  <a:pt x="6342981" y="2277626"/>
                  <a:pt x="6340417" y="2282755"/>
                  <a:pt x="6337852" y="2285320"/>
                </a:cubicBezTo>
                <a:cubicBezTo>
                  <a:pt x="6337852" y="2282755"/>
                  <a:pt x="6337852" y="2277626"/>
                  <a:pt x="6340417" y="2275060"/>
                </a:cubicBezTo>
                <a:cubicBezTo>
                  <a:pt x="6335287" y="2275060"/>
                  <a:pt x="6330157" y="2275060"/>
                  <a:pt x="6325027" y="2275060"/>
                </a:cubicBezTo>
                <a:cubicBezTo>
                  <a:pt x="6317332" y="2290449"/>
                  <a:pt x="6327592" y="2295579"/>
                  <a:pt x="6325027" y="2321228"/>
                </a:cubicBezTo>
                <a:cubicBezTo>
                  <a:pt x="6299378" y="2321228"/>
                  <a:pt x="6299378" y="2354569"/>
                  <a:pt x="6283989" y="2367394"/>
                </a:cubicBezTo>
                <a:cubicBezTo>
                  <a:pt x="6266035" y="2367394"/>
                  <a:pt x="6240386" y="2369962"/>
                  <a:pt x="6253210" y="2398174"/>
                </a:cubicBezTo>
                <a:cubicBezTo>
                  <a:pt x="6237821" y="2403303"/>
                  <a:pt x="6242951" y="2382784"/>
                  <a:pt x="6227561" y="2387914"/>
                </a:cubicBezTo>
                <a:cubicBezTo>
                  <a:pt x="6199348" y="2423822"/>
                  <a:pt x="6166004" y="2408433"/>
                  <a:pt x="6132660" y="2428952"/>
                </a:cubicBezTo>
                <a:cubicBezTo>
                  <a:pt x="6107011" y="2418693"/>
                  <a:pt x="6091622" y="2400739"/>
                  <a:pt x="6073668" y="2382784"/>
                </a:cubicBezTo>
                <a:cubicBezTo>
                  <a:pt x="6022370" y="2403303"/>
                  <a:pt x="5996721" y="2380220"/>
                  <a:pt x="5958247" y="2362264"/>
                </a:cubicBezTo>
                <a:cubicBezTo>
                  <a:pt x="5963377" y="2346875"/>
                  <a:pt x="5973637" y="2339180"/>
                  <a:pt x="5963377" y="2321228"/>
                </a:cubicBezTo>
                <a:cubicBezTo>
                  <a:pt x="5922339" y="2308403"/>
                  <a:pt x="5912079" y="2349442"/>
                  <a:pt x="5883866" y="2331486"/>
                </a:cubicBezTo>
                <a:cubicBezTo>
                  <a:pt x="5883866" y="2310968"/>
                  <a:pt x="5912079" y="2298143"/>
                  <a:pt x="5930034" y="2310968"/>
                </a:cubicBezTo>
                <a:cubicBezTo>
                  <a:pt x="5958247" y="2293014"/>
                  <a:pt x="5924904" y="2259670"/>
                  <a:pt x="5914644" y="2246846"/>
                </a:cubicBezTo>
                <a:cubicBezTo>
                  <a:pt x="5914644" y="2231456"/>
                  <a:pt x="5919774" y="2223762"/>
                  <a:pt x="5924904" y="2210934"/>
                </a:cubicBezTo>
                <a:cubicBezTo>
                  <a:pt x="5909515" y="2180157"/>
                  <a:pt x="5886430" y="2159638"/>
                  <a:pt x="5860781" y="2141684"/>
                </a:cubicBezTo>
                <a:cubicBezTo>
                  <a:pt x="5865911" y="2118599"/>
                  <a:pt x="5863346" y="2105776"/>
                  <a:pt x="5855652" y="2095516"/>
                </a:cubicBezTo>
                <a:cubicBezTo>
                  <a:pt x="5850522" y="2105776"/>
                  <a:pt x="5832568" y="2098082"/>
                  <a:pt x="5824873" y="2095516"/>
                </a:cubicBezTo>
                <a:cubicBezTo>
                  <a:pt x="5824873" y="2092951"/>
                  <a:pt x="5827438" y="2092951"/>
                  <a:pt x="5827438" y="2087822"/>
                </a:cubicBezTo>
                <a:cubicBezTo>
                  <a:pt x="5835132" y="2092951"/>
                  <a:pt x="5845392" y="2092951"/>
                  <a:pt x="5853087" y="2092951"/>
                </a:cubicBezTo>
                <a:cubicBezTo>
                  <a:pt x="5842827" y="2082693"/>
                  <a:pt x="5832568" y="2074997"/>
                  <a:pt x="5827438" y="2059609"/>
                </a:cubicBezTo>
                <a:cubicBezTo>
                  <a:pt x="5842827" y="2057044"/>
                  <a:pt x="5847957" y="2067302"/>
                  <a:pt x="5858217" y="2069868"/>
                </a:cubicBezTo>
                <a:cubicBezTo>
                  <a:pt x="5855652" y="2046783"/>
                  <a:pt x="5830003" y="2044219"/>
                  <a:pt x="5822308" y="2023701"/>
                </a:cubicBezTo>
                <a:cubicBezTo>
                  <a:pt x="5830003" y="2005745"/>
                  <a:pt x="5830003" y="1992921"/>
                  <a:pt x="5830003" y="1980097"/>
                </a:cubicBezTo>
                <a:cubicBezTo>
                  <a:pt x="5827438" y="1982662"/>
                  <a:pt x="5827438" y="1982662"/>
                  <a:pt x="5824873" y="1982662"/>
                </a:cubicBezTo>
                <a:cubicBezTo>
                  <a:pt x="5827438" y="1980097"/>
                  <a:pt x="5827438" y="1977532"/>
                  <a:pt x="5822308" y="1977532"/>
                </a:cubicBezTo>
                <a:cubicBezTo>
                  <a:pt x="5822308" y="1972402"/>
                  <a:pt x="5827438" y="1969837"/>
                  <a:pt x="5827438" y="1967273"/>
                </a:cubicBezTo>
                <a:lnTo>
                  <a:pt x="5825818" y="1962413"/>
                </a:lnTo>
                <a:lnTo>
                  <a:pt x="5827438" y="1957013"/>
                </a:lnTo>
                <a:lnTo>
                  <a:pt x="5824569" y="1958666"/>
                </a:lnTo>
                <a:lnTo>
                  <a:pt x="5817178" y="1936494"/>
                </a:lnTo>
                <a:cubicBezTo>
                  <a:pt x="5817178" y="1936494"/>
                  <a:pt x="5814614" y="1936494"/>
                  <a:pt x="5812049" y="1939059"/>
                </a:cubicBezTo>
                <a:cubicBezTo>
                  <a:pt x="5801789" y="1936494"/>
                  <a:pt x="5799224" y="1936494"/>
                  <a:pt x="5786400" y="1939059"/>
                </a:cubicBezTo>
                <a:cubicBezTo>
                  <a:pt x="5791529" y="1928799"/>
                  <a:pt x="5804354" y="1921104"/>
                  <a:pt x="5806919" y="1910845"/>
                </a:cubicBezTo>
                <a:cubicBezTo>
                  <a:pt x="5804354" y="1905715"/>
                  <a:pt x="5801789" y="1898020"/>
                  <a:pt x="5799224" y="1892891"/>
                </a:cubicBezTo>
                <a:cubicBezTo>
                  <a:pt x="5799224" y="1895455"/>
                  <a:pt x="5799224" y="1895455"/>
                  <a:pt x="5799224" y="1895455"/>
                </a:cubicBezTo>
                <a:cubicBezTo>
                  <a:pt x="5796659" y="1895455"/>
                  <a:pt x="5794094" y="1895455"/>
                  <a:pt x="5794094" y="1898020"/>
                </a:cubicBezTo>
                <a:cubicBezTo>
                  <a:pt x="5791529" y="1898020"/>
                  <a:pt x="5791529" y="1895455"/>
                  <a:pt x="5791529" y="1892891"/>
                </a:cubicBezTo>
                <a:cubicBezTo>
                  <a:pt x="5779987" y="1892891"/>
                  <a:pt x="5784316" y="1907319"/>
                  <a:pt x="5780709" y="1914533"/>
                </a:cubicBezTo>
                <a:lnTo>
                  <a:pt x="5780584" y="1914603"/>
                </a:lnTo>
                <a:lnTo>
                  <a:pt x="5778705" y="1910845"/>
                </a:lnTo>
                <a:lnTo>
                  <a:pt x="5773917" y="1916830"/>
                </a:lnTo>
                <a:lnTo>
                  <a:pt x="5776461" y="1904112"/>
                </a:lnTo>
                <a:cubicBezTo>
                  <a:pt x="5778705" y="1899303"/>
                  <a:pt x="5781270" y="1894173"/>
                  <a:pt x="5781270" y="1887761"/>
                </a:cubicBezTo>
                <a:cubicBezTo>
                  <a:pt x="5788965" y="1885196"/>
                  <a:pt x="5788965" y="1890326"/>
                  <a:pt x="5794094" y="1890326"/>
                </a:cubicBezTo>
                <a:cubicBezTo>
                  <a:pt x="5788965" y="1882631"/>
                  <a:pt x="5794094" y="1885196"/>
                  <a:pt x="5796659" y="1882631"/>
                </a:cubicBezTo>
                <a:cubicBezTo>
                  <a:pt x="5794094" y="1872371"/>
                  <a:pt x="5791529" y="1862112"/>
                  <a:pt x="5791529" y="1849289"/>
                </a:cubicBezTo>
                <a:cubicBezTo>
                  <a:pt x="5778705" y="1846722"/>
                  <a:pt x="5771010" y="1841593"/>
                  <a:pt x="5763316" y="1836463"/>
                </a:cubicBezTo>
                <a:cubicBezTo>
                  <a:pt x="5760751" y="1839029"/>
                  <a:pt x="5758186" y="1844158"/>
                  <a:pt x="5755621" y="1846722"/>
                </a:cubicBezTo>
                <a:cubicBezTo>
                  <a:pt x="5750491" y="1841593"/>
                  <a:pt x="5753056" y="1836463"/>
                  <a:pt x="5758186" y="1831334"/>
                </a:cubicBezTo>
                <a:cubicBezTo>
                  <a:pt x="5750491" y="1823639"/>
                  <a:pt x="5745361" y="1815944"/>
                  <a:pt x="5740231" y="1810815"/>
                </a:cubicBezTo>
                <a:cubicBezTo>
                  <a:pt x="5712018" y="1821075"/>
                  <a:pt x="5688934" y="1813380"/>
                  <a:pt x="5681239" y="1790296"/>
                </a:cubicBezTo>
                <a:cubicBezTo>
                  <a:pt x="5681239" y="1792861"/>
                  <a:pt x="5681239" y="1797991"/>
                  <a:pt x="5678674" y="1800556"/>
                </a:cubicBezTo>
                <a:cubicBezTo>
                  <a:pt x="5665850" y="1831334"/>
                  <a:pt x="5645330" y="1854417"/>
                  <a:pt x="5614552" y="1831334"/>
                </a:cubicBezTo>
                <a:cubicBezTo>
                  <a:pt x="5601727" y="1839029"/>
                  <a:pt x="5596598" y="1856982"/>
                  <a:pt x="5591468" y="1872371"/>
                </a:cubicBezTo>
                <a:cubicBezTo>
                  <a:pt x="5611987" y="1856982"/>
                  <a:pt x="5658155" y="1854417"/>
                  <a:pt x="5673544" y="1841593"/>
                </a:cubicBezTo>
                <a:cubicBezTo>
                  <a:pt x="5683804" y="1846722"/>
                  <a:pt x="5686369" y="1846722"/>
                  <a:pt x="5696628" y="1849289"/>
                </a:cubicBezTo>
                <a:cubicBezTo>
                  <a:pt x="5704323" y="1885196"/>
                  <a:pt x="5755621" y="1900585"/>
                  <a:pt x="5755621" y="1926234"/>
                </a:cubicBezTo>
                <a:cubicBezTo>
                  <a:pt x="5768445" y="1921104"/>
                  <a:pt x="5763316" y="1926234"/>
                  <a:pt x="5768445" y="1931364"/>
                </a:cubicBezTo>
                <a:cubicBezTo>
                  <a:pt x="5772293" y="1930082"/>
                  <a:pt x="5772934" y="1925593"/>
                  <a:pt x="5773896" y="1921746"/>
                </a:cubicBezTo>
                <a:lnTo>
                  <a:pt x="5775431" y="1920544"/>
                </a:lnTo>
                <a:lnTo>
                  <a:pt x="5780079" y="1920854"/>
                </a:lnTo>
                <a:lnTo>
                  <a:pt x="5774537" y="1943547"/>
                </a:lnTo>
                <a:cubicBezTo>
                  <a:pt x="5775499" y="1952525"/>
                  <a:pt x="5779988" y="1960861"/>
                  <a:pt x="5788965" y="1967273"/>
                </a:cubicBezTo>
                <a:cubicBezTo>
                  <a:pt x="5791529" y="1967273"/>
                  <a:pt x="5791529" y="1962143"/>
                  <a:pt x="5796659" y="1962143"/>
                </a:cubicBezTo>
                <a:cubicBezTo>
                  <a:pt x="5796659" y="1969837"/>
                  <a:pt x="5788965" y="1967273"/>
                  <a:pt x="5791529" y="1974967"/>
                </a:cubicBezTo>
                <a:cubicBezTo>
                  <a:pt x="5796659" y="1976250"/>
                  <a:pt x="5802430" y="1972402"/>
                  <a:pt x="5808522" y="1967914"/>
                </a:cubicBezTo>
                <a:lnTo>
                  <a:pt x="5824569" y="1958666"/>
                </a:lnTo>
                <a:lnTo>
                  <a:pt x="5825818" y="1962413"/>
                </a:lnTo>
                <a:lnTo>
                  <a:pt x="5825154" y="1964627"/>
                </a:lnTo>
                <a:cubicBezTo>
                  <a:pt x="5819263" y="1970639"/>
                  <a:pt x="5804354" y="1973043"/>
                  <a:pt x="5796659" y="1982662"/>
                </a:cubicBezTo>
                <a:cubicBezTo>
                  <a:pt x="5799224" y="1990357"/>
                  <a:pt x="5812049" y="1982662"/>
                  <a:pt x="5812049" y="1977532"/>
                </a:cubicBezTo>
                <a:cubicBezTo>
                  <a:pt x="5819743" y="1985227"/>
                  <a:pt x="5796659" y="1987792"/>
                  <a:pt x="5794094" y="1998051"/>
                </a:cubicBezTo>
                <a:cubicBezTo>
                  <a:pt x="5796659" y="2008311"/>
                  <a:pt x="5804354" y="1998051"/>
                  <a:pt x="5812049" y="1998051"/>
                </a:cubicBezTo>
                <a:cubicBezTo>
                  <a:pt x="5801789" y="2003181"/>
                  <a:pt x="5796659" y="2016006"/>
                  <a:pt x="5786400" y="2021137"/>
                </a:cubicBezTo>
                <a:cubicBezTo>
                  <a:pt x="5796659" y="2036525"/>
                  <a:pt x="5809483" y="2018570"/>
                  <a:pt x="5822308" y="2018570"/>
                </a:cubicBezTo>
                <a:cubicBezTo>
                  <a:pt x="5817178" y="2036525"/>
                  <a:pt x="5801789" y="2028830"/>
                  <a:pt x="5783835" y="2036525"/>
                </a:cubicBezTo>
                <a:cubicBezTo>
                  <a:pt x="5788965" y="2041654"/>
                  <a:pt x="5788965" y="2049349"/>
                  <a:pt x="5796659" y="2049349"/>
                </a:cubicBezTo>
                <a:cubicBezTo>
                  <a:pt x="5783835" y="2059609"/>
                  <a:pt x="5755621" y="2067302"/>
                  <a:pt x="5755621" y="2077563"/>
                </a:cubicBezTo>
                <a:cubicBezTo>
                  <a:pt x="5745361" y="2085258"/>
                  <a:pt x="5732537" y="2077563"/>
                  <a:pt x="5727407" y="2090386"/>
                </a:cubicBezTo>
                <a:cubicBezTo>
                  <a:pt x="5720995" y="2089105"/>
                  <a:pt x="5716507" y="2087181"/>
                  <a:pt x="5712018" y="2086540"/>
                </a:cubicBezTo>
                <a:lnTo>
                  <a:pt x="5705327" y="2088212"/>
                </a:lnTo>
                <a:lnTo>
                  <a:pt x="5708491" y="2097460"/>
                </a:lnTo>
                <a:cubicBezTo>
                  <a:pt x="5708812" y="2101950"/>
                  <a:pt x="5706888" y="2105797"/>
                  <a:pt x="5699193" y="2105797"/>
                </a:cubicBezTo>
                <a:cubicBezTo>
                  <a:pt x="5701758" y="2098101"/>
                  <a:pt x="5699193" y="2095534"/>
                  <a:pt x="5691499" y="2098101"/>
                </a:cubicBezTo>
                <a:lnTo>
                  <a:pt x="5695761" y="2089270"/>
                </a:lnTo>
                <a:lnTo>
                  <a:pt x="5687972" y="2079245"/>
                </a:lnTo>
                <a:cubicBezTo>
                  <a:pt x="5674025" y="2069868"/>
                  <a:pt x="5648537" y="2064097"/>
                  <a:pt x="5650460" y="2046783"/>
                </a:cubicBezTo>
                <a:cubicBezTo>
                  <a:pt x="5647896" y="2041654"/>
                  <a:pt x="5640201" y="2041654"/>
                  <a:pt x="5635071" y="2039090"/>
                </a:cubicBezTo>
                <a:cubicBezTo>
                  <a:pt x="5645330" y="2026267"/>
                  <a:pt x="5627376" y="2026267"/>
                  <a:pt x="5629941" y="2010878"/>
                </a:cubicBezTo>
                <a:cubicBezTo>
                  <a:pt x="5632506" y="2010878"/>
                  <a:pt x="5635071" y="2010878"/>
                  <a:pt x="5637636" y="2010878"/>
                </a:cubicBezTo>
                <a:cubicBezTo>
                  <a:pt x="5637636" y="1998051"/>
                  <a:pt x="5635071" y="1990357"/>
                  <a:pt x="5622247" y="1992921"/>
                </a:cubicBezTo>
                <a:cubicBezTo>
                  <a:pt x="5632506" y="1987792"/>
                  <a:pt x="5624811" y="1972402"/>
                  <a:pt x="5617117" y="1980097"/>
                </a:cubicBezTo>
                <a:cubicBezTo>
                  <a:pt x="5614552" y="1967273"/>
                  <a:pt x="5609422" y="1936494"/>
                  <a:pt x="5594033" y="1918540"/>
                </a:cubicBezTo>
                <a:cubicBezTo>
                  <a:pt x="5591468" y="1918540"/>
                  <a:pt x="5591468" y="1923669"/>
                  <a:pt x="5586338" y="1923669"/>
                </a:cubicBezTo>
                <a:cubicBezTo>
                  <a:pt x="5583773" y="1913410"/>
                  <a:pt x="5576078" y="1910845"/>
                  <a:pt x="5570949" y="1905715"/>
                </a:cubicBezTo>
                <a:cubicBezTo>
                  <a:pt x="5570949" y="1905715"/>
                  <a:pt x="5568384" y="1908280"/>
                  <a:pt x="5565819" y="1908280"/>
                </a:cubicBezTo>
                <a:lnTo>
                  <a:pt x="5564893" y="1920791"/>
                </a:lnTo>
                <a:lnTo>
                  <a:pt x="5561010" y="1915654"/>
                </a:lnTo>
                <a:cubicBezTo>
                  <a:pt x="5556842" y="1913410"/>
                  <a:pt x="5552994" y="1912128"/>
                  <a:pt x="5552994" y="1908280"/>
                </a:cubicBezTo>
                <a:cubicBezTo>
                  <a:pt x="5550430" y="1900585"/>
                  <a:pt x="5547864" y="1895455"/>
                  <a:pt x="5547864" y="1890326"/>
                </a:cubicBezTo>
                <a:cubicBezTo>
                  <a:pt x="5542735" y="1895455"/>
                  <a:pt x="5540170" y="1900585"/>
                  <a:pt x="5535040" y="1903150"/>
                </a:cubicBezTo>
                <a:cubicBezTo>
                  <a:pt x="5537605" y="1905715"/>
                  <a:pt x="5540170" y="1910845"/>
                  <a:pt x="5542735" y="1913410"/>
                </a:cubicBezTo>
                <a:cubicBezTo>
                  <a:pt x="5545300" y="1913410"/>
                  <a:pt x="5545300" y="1910845"/>
                  <a:pt x="5545300" y="1908280"/>
                </a:cubicBezTo>
                <a:cubicBezTo>
                  <a:pt x="5550430" y="1910845"/>
                  <a:pt x="5553636" y="1914693"/>
                  <a:pt x="5556521" y="1918860"/>
                </a:cubicBezTo>
                <a:lnTo>
                  <a:pt x="5564266" y="1929275"/>
                </a:lnTo>
                <a:lnTo>
                  <a:pt x="5562933" y="1947274"/>
                </a:lnTo>
                <a:cubicBezTo>
                  <a:pt x="5552353" y="1978173"/>
                  <a:pt x="5521574" y="1987792"/>
                  <a:pt x="5496567" y="2003181"/>
                </a:cubicBezTo>
                <a:cubicBezTo>
                  <a:pt x="5532475" y="2108341"/>
                  <a:pt x="5411925" y="2087822"/>
                  <a:pt x="5427315" y="2187851"/>
                </a:cubicBezTo>
                <a:cubicBezTo>
                  <a:pt x="5414490" y="2198110"/>
                  <a:pt x="5406795" y="2210934"/>
                  <a:pt x="5396536" y="2223762"/>
                </a:cubicBezTo>
                <a:cubicBezTo>
                  <a:pt x="5409360" y="2234021"/>
                  <a:pt x="5414490" y="2249412"/>
                  <a:pt x="5427315" y="2259670"/>
                </a:cubicBezTo>
                <a:cubicBezTo>
                  <a:pt x="5388841" y="2318662"/>
                  <a:pt x="5391406" y="2369962"/>
                  <a:pt x="5386276" y="2449470"/>
                </a:cubicBezTo>
                <a:cubicBezTo>
                  <a:pt x="5334978" y="2464861"/>
                  <a:pt x="5350368" y="2552067"/>
                  <a:pt x="5350368" y="2590540"/>
                </a:cubicBezTo>
                <a:cubicBezTo>
                  <a:pt x="5365757" y="2595670"/>
                  <a:pt x="5363192" y="2582846"/>
                  <a:pt x="5376017" y="2585411"/>
                </a:cubicBezTo>
                <a:cubicBezTo>
                  <a:pt x="5355498" y="2623885"/>
                  <a:pt x="5365757" y="2659794"/>
                  <a:pt x="5381146" y="2690572"/>
                </a:cubicBezTo>
                <a:cubicBezTo>
                  <a:pt x="5393971" y="2690572"/>
                  <a:pt x="5401666" y="2685443"/>
                  <a:pt x="5411925" y="2682878"/>
                </a:cubicBezTo>
                <a:cubicBezTo>
                  <a:pt x="5411925" y="2682878"/>
                  <a:pt x="5409360" y="2680313"/>
                  <a:pt x="5409360" y="2680313"/>
                </a:cubicBezTo>
                <a:cubicBezTo>
                  <a:pt x="5411925" y="2675183"/>
                  <a:pt x="5417055" y="2672618"/>
                  <a:pt x="5417055" y="2667488"/>
                </a:cubicBezTo>
                <a:cubicBezTo>
                  <a:pt x="5427315" y="2664922"/>
                  <a:pt x="5427315" y="2672618"/>
                  <a:pt x="5435009" y="2672618"/>
                </a:cubicBezTo>
                <a:cubicBezTo>
                  <a:pt x="5442704" y="2672618"/>
                  <a:pt x="5450398" y="2672618"/>
                  <a:pt x="5460658" y="2672618"/>
                </a:cubicBezTo>
                <a:cubicBezTo>
                  <a:pt x="5460658" y="2680313"/>
                  <a:pt x="5460658" y="2690572"/>
                  <a:pt x="5460658" y="2698267"/>
                </a:cubicBezTo>
                <a:cubicBezTo>
                  <a:pt x="5419620" y="2695702"/>
                  <a:pt x="5381146" y="2739306"/>
                  <a:pt x="5414490" y="2777779"/>
                </a:cubicBezTo>
                <a:cubicBezTo>
                  <a:pt x="5409360" y="2793168"/>
                  <a:pt x="5404231" y="2808557"/>
                  <a:pt x="5388841" y="2813687"/>
                </a:cubicBezTo>
                <a:cubicBezTo>
                  <a:pt x="5399101" y="2823947"/>
                  <a:pt x="5401666" y="2834206"/>
                  <a:pt x="5404231" y="2844466"/>
                </a:cubicBezTo>
                <a:cubicBezTo>
                  <a:pt x="5406795" y="2841900"/>
                  <a:pt x="5409360" y="2841900"/>
                  <a:pt x="5411925" y="2841900"/>
                </a:cubicBezTo>
                <a:cubicBezTo>
                  <a:pt x="5411925" y="2847031"/>
                  <a:pt x="5411925" y="2849596"/>
                  <a:pt x="5411925" y="2854725"/>
                </a:cubicBezTo>
                <a:cubicBezTo>
                  <a:pt x="5411925" y="2854725"/>
                  <a:pt x="5409360" y="2852160"/>
                  <a:pt x="5406795" y="2852160"/>
                </a:cubicBezTo>
                <a:cubicBezTo>
                  <a:pt x="5409360" y="2862419"/>
                  <a:pt x="5414490" y="2870114"/>
                  <a:pt x="5427315" y="2872679"/>
                </a:cubicBezTo>
                <a:cubicBezTo>
                  <a:pt x="5411925" y="2885504"/>
                  <a:pt x="5381146" y="2939367"/>
                  <a:pt x="5422185" y="2947062"/>
                </a:cubicBezTo>
                <a:cubicBezTo>
                  <a:pt x="5381146" y="2954756"/>
                  <a:pt x="5406795" y="2995795"/>
                  <a:pt x="5370887" y="3006054"/>
                </a:cubicBezTo>
                <a:cubicBezTo>
                  <a:pt x="5365757" y="3021444"/>
                  <a:pt x="5386276" y="3016314"/>
                  <a:pt x="5381146" y="3031703"/>
                </a:cubicBezTo>
                <a:cubicBezTo>
                  <a:pt x="5363192" y="3041963"/>
                  <a:pt x="5334978" y="3041963"/>
                  <a:pt x="5340108" y="3077872"/>
                </a:cubicBezTo>
                <a:cubicBezTo>
                  <a:pt x="5324719" y="3080436"/>
                  <a:pt x="5317024" y="3054786"/>
                  <a:pt x="5319589" y="3083001"/>
                </a:cubicBezTo>
                <a:cubicBezTo>
                  <a:pt x="5304200" y="3088131"/>
                  <a:pt x="5306765" y="3075306"/>
                  <a:pt x="5293940" y="3077872"/>
                </a:cubicBezTo>
                <a:cubicBezTo>
                  <a:pt x="5273421" y="3088131"/>
                  <a:pt x="5296505" y="3139429"/>
                  <a:pt x="5268291" y="3141993"/>
                </a:cubicBezTo>
                <a:cubicBezTo>
                  <a:pt x="5281116" y="3154818"/>
                  <a:pt x="5306765" y="3154818"/>
                  <a:pt x="5309329" y="3177902"/>
                </a:cubicBezTo>
                <a:cubicBezTo>
                  <a:pt x="5309329" y="3203551"/>
                  <a:pt x="5296505" y="3172771"/>
                  <a:pt x="5288811" y="3172771"/>
                </a:cubicBezTo>
                <a:cubicBezTo>
                  <a:pt x="5273421" y="3195855"/>
                  <a:pt x="5281116" y="3218940"/>
                  <a:pt x="5293940" y="3236895"/>
                </a:cubicBezTo>
                <a:cubicBezTo>
                  <a:pt x="5286245" y="3247154"/>
                  <a:pt x="5273421" y="3226634"/>
                  <a:pt x="5268291" y="3247154"/>
                </a:cubicBezTo>
                <a:cubicBezTo>
                  <a:pt x="5270856" y="3283061"/>
                  <a:pt x="5311894" y="3280497"/>
                  <a:pt x="5304200" y="3326664"/>
                </a:cubicBezTo>
                <a:cubicBezTo>
                  <a:pt x="5286245" y="3313837"/>
                  <a:pt x="5265726" y="3306143"/>
                  <a:pt x="5240077" y="3301016"/>
                </a:cubicBezTo>
                <a:cubicBezTo>
                  <a:pt x="5204169" y="3336926"/>
                  <a:pt x="5229818" y="3395914"/>
                  <a:pt x="5240077" y="3442082"/>
                </a:cubicBezTo>
                <a:cubicBezTo>
                  <a:pt x="5219558" y="3449777"/>
                  <a:pt x="5204169" y="3467731"/>
                  <a:pt x="5193909" y="3488250"/>
                </a:cubicBezTo>
                <a:cubicBezTo>
                  <a:pt x="5183650" y="3477991"/>
                  <a:pt x="5183650" y="3493380"/>
                  <a:pt x="5173390" y="3483120"/>
                </a:cubicBezTo>
                <a:cubicBezTo>
                  <a:pt x="5160566" y="3498510"/>
                  <a:pt x="5150306" y="3521594"/>
                  <a:pt x="5132352" y="3534418"/>
                </a:cubicBezTo>
                <a:cubicBezTo>
                  <a:pt x="5124657" y="3631884"/>
                  <a:pt x="5096444" y="3706266"/>
                  <a:pt x="5063100" y="3778083"/>
                </a:cubicBezTo>
                <a:cubicBezTo>
                  <a:pt x="5078489" y="3803732"/>
                  <a:pt x="5099008" y="3826816"/>
                  <a:pt x="5127222" y="3844770"/>
                </a:cubicBezTo>
                <a:cubicBezTo>
                  <a:pt x="5140047" y="3821686"/>
                  <a:pt x="5147741" y="3801167"/>
                  <a:pt x="5160566" y="3780648"/>
                </a:cubicBezTo>
                <a:cubicBezTo>
                  <a:pt x="5168260" y="3762693"/>
                  <a:pt x="5170825" y="3754999"/>
                  <a:pt x="5199039" y="3762693"/>
                </a:cubicBezTo>
                <a:cubicBezTo>
                  <a:pt x="5191345" y="3788342"/>
                  <a:pt x="5155436" y="3824251"/>
                  <a:pt x="5150306" y="3857595"/>
                </a:cubicBezTo>
                <a:cubicBezTo>
                  <a:pt x="5155436" y="3860159"/>
                  <a:pt x="5160566" y="3862724"/>
                  <a:pt x="5165696" y="3865289"/>
                </a:cubicBezTo>
                <a:cubicBezTo>
                  <a:pt x="5163131" y="3867854"/>
                  <a:pt x="5163131" y="3870419"/>
                  <a:pt x="5163131" y="3872984"/>
                </a:cubicBezTo>
                <a:cubicBezTo>
                  <a:pt x="5240077" y="3839640"/>
                  <a:pt x="5273421" y="3713961"/>
                  <a:pt x="5309329" y="3642143"/>
                </a:cubicBezTo>
                <a:cubicBezTo>
                  <a:pt x="5306765" y="3631884"/>
                  <a:pt x="5296505" y="3624189"/>
                  <a:pt x="5288811" y="3619060"/>
                </a:cubicBezTo>
                <a:cubicBezTo>
                  <a:pt x="5286245" y="3621624"/>
                  <a:pt x="5281116" y="3624189"/>
                  <a:pt x="5286245" y="3619060"/>
                </a:cubicBezTo>
                <a:cubicBezTo>
                  <a:pt x="5268291" y="3606235"/>
                  <a:pt x="5250337" y="3598540"/>
                  <a:pt x="5278551" y="3570326"/>
                </a:cubicBezTo>
                <a:cubicBezTo>
                  <a:pt x="5324719" y="3562632"/>
                  <a:pt x="5324719" y="3601105"/>
                  <a:pt x="5322154" y="3642143"/>
                </a:cubicBezTo>
                <a:cubicBezTo>
                  <a:pt x="5376017" y="3657533"/>
                  <a:pt x="5350368" y="3593411"/>
                  <a:pt x="5381146" y="3583151"/>
                </a:cubicBezTo>
                <a:cubicBezTo>
                  <a:pt x="5419620" y="3619060"/>
                  <a:pt x="5417055" y="3678052"/>
                  <a:pt x="5409360" y="3744739"/>
                </a:cubicBezTo>
                <a:cubicBezTo>
                  <a:pt x="5411925" y="3744739"/>
                  <a:pt x="5411925" y="3747304"/>
                  <a:pt x="5414490" y="3747304"/>
                </a:cubicBezTo>
                <a:cubicBezTo>
                  <a:pt x="5414490" y="3742175"/>
                  <a:pt x="5414490" y="3731915"/>
                  <a:pt x="5429880" y="3731915"/>
                </a:cubicBezTo>
                <a:cubicBezTo>
                  <a:pt x="5424750" y="3721655"/>
                  <a:pt x="5432444" y="3724220"/>
                  <a:pt x="5432444" y="3711396"/>
                </a:cubicBezTo>
                <a:cubicBezTo>
                  <a:pt x="5450398" y="3719090"/>
                  <a:pt x="5445269" y="3701136"/>
                  <a:pt x="5460658" y="3698571"/>
                </a:cubicBezTo>
                <a:lnTo>
                  <a:pt x="5459454" y="3693754"/>
                </a:lnTo>
                <a:lnTo>
                  <a:pt x="5461259" y="3690957"/>
                </a:lnTo>
                <a:cubicBezTo>
                  <a:pt x="5462422" y="3689915"/>
                  <a:pt x="5463865" y="3689594"/>
                  <a:pt x="5465788" y="3690877"/>
                </a:cubicBezTo>
                <a:cubicBezTo>
                  <a:pt x="5460658" y="3701136"/>
                  <a:pt x="5460658" y="3706266"/>
                  <a:pt x="5465788" y="3716526"/>
                </a:cubicBezTo>
                <a:cubicBezTo>
                  <a:pt x="5473483" y="3716526"/>
                  <a:pt x="5470918" y="3708831"/>
                  <a:pt x="5478612" y="3711396"/>
                </a:cubicBezTo>
                <a:cubicBezTo>
                  <a:pt x="5463223" y="3719090"/>
                  <a:pt x="5478612" y="3734480"/>
                  <a:pt x="5465788" y="3742175"/>
                </a:cubicBezTo>
                <a:cubicBezTo>
                  <a:pt x="5468353" y="3749869"/>
                  <a:pt x="5476047" y="3739609"/>
                  <a:pt x="5481177" y="3742175"/>
                </a:cubicBezTo>
                <a:cubicBezTo>
                  <a:pt x="5478612" y="3749869"/>
                  <a:pt x="5470918" y="3752434"/>
                  <a:pt x="5465788" y="3754999"/>
                </a:cubicBezTo>
                <a:cubicBezTo>
                  <a:pt x="5473483" y="3760129"/>
                  <a:pt x="5470918" y="3765258"/>
                  <a:pt x="5481177" y="3760129"/>
                </a:cubicBezTo>
                <a:cubicBezTo>
                  <a:pt x="5478612" y="3770388"/>
                  <a:pt x="5463223" y="3767823"/>
                  <a:pt x="5460658" y="3775518"/>
                </a:cubicBezTo>
                <a:cubicBezTo>
                  <a:pt x="5458093" y="3783213"/>
                  <a:pt x="5468353" y="3780648"/>
                  <a:pt x="5473483" y="3780648"/>
                </a:cubicBezTo>
                <a:cubicBezTo>
                  <a:pt x="5460658" y="3790907"/>
                  <a:pt x="5450398" y="3793472"/>
                  <a:pt x="5447834" y="3806297"/>
                </a:cubicBezTo>
                <a:cubicBezTo>
                  <a:pt x="5437574" y="3796037"/>
                  <a:pt x="5437574" y="3808862"/>
                  <a:pt x="5429880" y="3811427"/>
                </a:cubicBezTo>
                <a:cubicBezTo>
                  <a:pt x="5404231" y="3816556"/>
                  <a:pt x="5391406" y="3808862"/>
                  <a:pt x="5368322" y="3793472"/>
                </a:cubicBezTo>
                <a:cubicBezTo>
                  <a:pt x="5365757" y="3783213"/>
                  <a:pt x="5365757" y="3767823"/>
                  <a:pt x="5358063" y="3752434"/>
                </a:cubicBezTo>
                <a:cubicBezTo>
                  <a:pt x="5347803" y="3824251"/>
                  <a:pt x="5334978" y="3906328"/>
                  <a:pt x="5360627" y="3980709"/>
                </a:cubicBezTo>
                <a:cubicBezTo>
                  <a:pt x="5409360" y="3885808"/>
                  <a:pt x="5481177" y="3813991"/>
                  <a:pt x="5504261" y="3693441"/>
                </a:cubicBezTo>
                <a:cubicBezTo>
                  <a:pt x="5496567" y="3696006"/>
                  <a:pt x="5491437" y="3698571"/>
                  <a:pt x="5486307" y="3701136"/>
                </a:cubicBezTo>
                <a:lnTo>
                  <a:pt x="5469380" y="3688960"/>
                </a:lnTo>
                <a:lnTo>
                  <a:pt x="5473162" y="3681900"/>
                </a:lnTo>
                <a:cubicBezTo>
                  <a:pt x="5473483" y="3679335"/>
                  <a:pt x="5473483" y="3675487"/>
                  <a:pt x="5476047" y="3665228"/>
                </a:cubicBezTo>
                <a:cubicBezTo>
                  <a:pt x="5483742" y="3667792"/>
                  <a:pt x="5476047" y="3683182"/>
                  <a:pt x="5488872" y="3678052"/>
                </a:cubicBezTo>
                <a:cubicBezTo>
                  <a:pt x="5486307" y="3683182"/>
                  <a:pt x="5486307" y="3688312"/>
                  <a:pt x="5481177" y="3690877"/>
                </a:cubicBezTo>
                <a:cubicBezTo>
                  <a:pt x="5483742" y="3698571"/>
                  <a:pt x="5486307" y="3685747"/>
                  <a:pt x="5494002" y="3690877"/>
                </a:cubicBezTo>
                <a:cubicBezTo>
                  <a:pt x="5494002" y="3675487"/>
                  <a:pt x="5506826" y="3675487"/>
                  <a:pt x="5506826" y="3662663"/>
                </a:cubicBezTo>
                <a:cubicBezTo>
                  <a:pt x="5509391" y="3657533"/>
                  <a:pt x="5494002" y="3665228"/>
                  <a:pt x="5499132" y="3654968"/>
                </a:cubicBezTo>
                <a:cubicBezTo>
                  <a:pt x="5509391" y="3652403"/>
                  <a:pt x="5506826" y="3660098"/>
                  <a:pt x="5511956" y="3660098"/>
                </a:cubicBezTo>
                <a:cubicBezTo>
                  <a:pt x="5511956" y="3652403"/>
                  <a:pt x="5509391" y="3652403"/>
                  <a:pt x="5509391" y="3647273"/>
                </a:cubicBezTo>
                <a:cubicBezTo>
                  <a:pt x="5506826" y="3642143"/>
                  <a:pt x="5504261" y="3647273"/>
                  <a:pt x="5496567" y="3644709"/>
                </a:cubicBezTo>
                <a:cubicBezTo>
                  <a:pt x="5491437" y="3631884"/>
                  <a:pt x="5511956" y="3616495"/>
                  <a:pt x="5494002" y="3606235"/>
                </a:cubicBezTo>
                <a:cubicBezTo>
                  <a:pt x="5509391" y="3595975"/>
                  <a:pt x="5501696" y="3549808"/>
                  <a:pt x="5481177" y="3567762"/>
                </a:cubicBezTo>
                <a:cubicBezTo>
                  <a:pt x="5473483" y="3567762"/>
                  <a:pt x="5488872" y="3560067"/>
                  <a:pt x="5476047" y="3562632"/>
                </a:cubicBezTo>
                <a:cubicBezTo>
                  <a:pt x="5488872" y="3554937"/>
                  <a:pt x="5499132" y="3544677"/>
                  <a:pt x="5514521" y="3539548"/>
                </a:cubicBezTo>
                <a:cubicBezTo>
                  <a:pt x="5509391" y="3529288"/>
                  <a:pt x="5517086" y="3516464"/>
                  <a:pt x="5517086" y="3503639"/>
                </a:cubicBezTo>
                <a:cubicBezTo>
                  <a:pt x="5511956" y="3495945"/>
                  <a:pt x="5504261" y="3493380"/>
                  <a:pt x="5501696" y="3485685"/>
                </a:cubicBezTo>
                <a:cubicBezTo>
                  <a:pt x="5488872" y="3485685"/>
                  <a:pt x="5483742" y="3493380"/>
                  <a:pt x="5478612" y="3498510"/>
                </a:cubicBezTo>
                <a:cubicBezTo>
                  <a:pt x="5486307" y="3488250"/>
                  <a:pt x="5494002" y="3467731"/>
                  <a:pt x="5481177" y="3454906"/>
                </a:cubicBezTo>
                <a:cubicBezTo>
                  <a:pt x="5468353" y="3454906"/>
                  <a:pt x="5473483" y="3472861"/>
                  <a:pt x="5458093" y="3470296"/>
                </a:cubicBezTo>
                <a:cubicBezTo>
                  <a:pt x="5460658" y="3462601"/>
                  <a:pt x="5470918" y="3460036"/>
                  <a:pt x="5476047" y="3454906"/>
                </a:cubicBezTo>
                <a:cubicBezTo>
                  <a:pt x="5468353" y="3421563"/>
                  <a:pt x="5486307" y="3393349"/>
                  <a:pt x="5496567" y="3365141"/>
                </a:cubicBezTo>
                <a:cubicBezTo>
                  <a:pt x="5509391" y="3365141"/>
                  <a:pt x="5517086" y="3354882"/>
                  <a:pt x="5524781" y="3365141"/>
                </a:cubicBezTo>
                <a:cubicBezTo>
                  <a:pt x="5532475" y="3365141"/>
                  <a:pt x="5532475" y="3354882"/>
                  <a:pt x="5542735" y="3357444"/>
                </a:cubicBezTo>
                <a:cubicBezTo>
                  <a:pt x="5540170" y="3365141"/>
                  <a:pt x="5545300" y="3367704"/>
                  <a:pt x="5535040" y="3370266"/>
                </a:cubicBezTo>
                <a:cubicBezTo>
                  <a:pt x="5542735" y="3380524"/>
                  <a:pt x="5552994" y="3367704"/>
                  <a:pt x="5555559" y="3357444"/>
                </a:cubicBezTo>
                <a:cubicBezTo>
                  <a:pt x="5527345" y="3321534"/>
                  <a:pt x="5583773" y="3277931"/>
                  <a:pt x="5578643" y="3236895"/>
                </a:cubicBezTo>
                <a:cubicBezTo>
                  <a:pt x="5599162" y="3229200"/>
                  <a:pt x="5586338" y="3206115"/>
                  <a:pt x="5599162" y="3193291"/>
                </a:cubicBezTo>
                <a:cubicBezTo>
                  <a:pt x="5604292" y="3193291"/>
                  <a:pt x="5606857" y="3193291"/>
                  <a:pt x="5611987" y="3193291"/>
                </a:cubicBezTo>
                <a:cubicBezTo>
                  <a:pt x="5624811" y="3216373"/>
                  <a:pt x="5601727" y="3239459"/>
                  <a:pt x="5588903" y="3254848"/>
                </a:cubicBezTo>
                <a:cubicBezTo>
                  <a:pt x="5588903" y="3262541"/>
                  <a:pt x="5588903" y="3265107"/>
                  <a:pt x="5594033" y="3267672"/>
                </a:cubicBezTo>
                <a:cubicBezTo>
                  <a:pt x="5578643" y="3290756"/>
                  <a:pt x="5578643" y="3306143"/>
                  <a:pt x="5573513" y="3344616"/>
                </a:cubicBezTo>
                <a:cubicBezTo>
                  <a:pt x="5576078" y="3352311"/>
                  <a:pt x="5583773" y="3342051"/>
                  <a:pt x="5588903" y="3344616"/>
                </a:cubicBezTo>
                <a:cubicBezTo>
                  <a:pt x="5586338" y="3354882"/>
                  <a:pt x="5586338" y="3362570"/>
                  <a:pt x="5576078" y="3360007"/>
                </a:cubicBezTo>
                <a:cubicBezTo>
                  <a:pt x="5579926" y="3368989"/>
                  <a:pt x="5586338" y="3375397"/>
                  <a:pt x="5591468" y="3381806"/>
                </a:cubicBezTo>
                <a:lnTo>
                  <a:pt x="5592665" y="3383710"/>
                </a:lnTo>
                <a:lnTo>
                  <a:pt x="5594033" y="3383095"/>
                </a:lnTo>
                <a:cubicBezTo>
                  <a:pt x="5595957" y="3383736"/>
                  <a:pt x="5596598" y="3384698"/>
                  <a:pt x="5596357" y="3385740"/>
                </a:cubicBezTo>
                <a:lnTo>
                  <a:pt x="5594905" y="3387271"/>
                </a:lnTo>
                <a:lnTo>
                  <a:pt x="5597720" y="3391745"/>
                </a:lnTo>
                <a:cubicBezTo>
                  <a:pt x="5599162" y="3395272"/>
                  <a:pt x="5599804" y="3399119"/>
                  <a:pt x="5599162" y="3403608"/>
                </a:cubicBezTo>
                <a:cubicBezTo>
                  <a:pt x="5609422" y="3406173"/>
                  <a:pt x="5609422" y="3398479"/>
                  <a:pt x="5617117" y="3401044"/>
                </a:cubicBezTo>
                <a:cubicBezTo>
                  <a:pt x="5622247" y="3408738"/>
                  <a:pt x="5614552" y="3411303"/>
                  <a:pt x="5619682" y="3418998"/>
                </a:cubicBezTo>
                <a:cubicBezTo>
                  <a:pt x="5609422" y="3418998"/>
                  <a:pt x="5611987" y="3429257"/>
                  <a:pt x="5606857" y="3431822"/>
                </a:cubicBezTo>
                <a:cubicBezTo>
                  <a:pt x="5614552" y="3436952"/>
                  <a:pt x="5619682" y="3444647"/>
                  <a:pt x="5622247" y="3454906"/>
                </a:cubicBezTo>
                <a:cubicBezTo>
                  <a:pt x="5619682" y="3454906"/>
                  <a:pt x="5619682" y="3454906"/>
                  <a:pt x="5617117" y="3454906"/>
                </a:cubicBezTo>
                <a:cubicBezTo>
                  <a:pt x="5619682" y="3465166"/>
                  <a:pt x="5617117" y="3462601"/>
                  <a:pt x="5619682" y="3472861"/>
                </a:cubicBezTo>
                <a:cubicBezTo>
                  <a:pt x="5611987" y="3490815"/>
                  <a:pt x="5591468" y="3519029"/>
                  <a:pt x="5611987" y="3539548"/>
                </a:cubicBezTo>
                <a:cubicBezTo>
                  <a:pt x="5609422" y="3554937"/>
                  <a:pt x="5611987" y="3562632"/>
                  <a:pt x="5611987" y="3575457"/>
                </a:cubicBezTo>
                <a:cubicBezTo>
                  <a:pt x="5614552" y="3575457"/>
                  <a:pt x="5617117" y="3572891"/>
                  <a:pt x="5617117" y="3570326"/>
                </a:cubicBezTo>
                <a:cubicBezTo>
                  <a:pt x="5622247" y="3585716"/>
                  <a:pt x="5601727" y="3611365"/>
                  <a:pt x="5619682" y="3624189"/>
                </a:cubicBezTo>
                <a:cubicBezTo>
                  <a:pt x="5622247" y="3621624"/>
                  <a:pt x="5627376" y="3621624"/>
                  <a:pt x="5632506" y="3621624"/>
                </a:cubicBezTo>
                <a:cubicBezTo>
                  <a:pt x="5632506" y="3624189"/>
                  <a:pt x="5629941" y="3624189"/>
                  <a:pt x="5629941" y="3629319"/>
                </a:cubicBezTo>
                <a:cubicBezTo>
                  <a:pt x="5629941" y="3637014"/>
                  <a:pt x="5637636" y="3626754"/>
                  <a:pt x="5637636" y="3624189"/>
                </a:cubicBezTo>
                <a:cubicBezTo>
                  <a:pt x="5645330" y="3631884"/>
                  <a:pt x="5624811" y="3634449"/>
                  <a:pt x="5622247" y="3642143"/>
                </a:cubicBezTo>
                <a:cubicBezTo>
                  <a:pt x="5624812" y="3643426"/>
                  <a:pt x="5629300" y="3640861"/>
                  <a:pt x="5634430" y="3637655"/>
                </a:cubicBezTo>
                <a:lnTo>
                  <a:pt x="5639752" y="3634888"/>
                </a:lnTo>
                <a:lnTo>
                  <a:pt x="5645215" y="3630837"/>
                </a:lnTo>
                <a:lnTo>
                  <a:pt x="5647989" y="3630604"/>
                </a:lnTo>
                <a:lnTo>
                  <a:pt x="5650460" y="3629319"/>
                </a:lnTo>
                <a:lnTo>
                  <a:pt x="5648774" y="3630538"/>
                </a:lnTo>
                <a:lnTo>
                  <a:pt x="5663285" y="3629319"/>
                </a:lnTo>
                <a:cubicBezTo>
                  <a:pt x="5668415" y="3639579"/>
                  <a:pt x="5676110" y="3644708"/>
                  <a:pt x="5676110" y="3652403"/>
                </a:cubicBezTo>
                <a:cubicBezTo>
                  <a:pt x="5664568" y="3676770"/>
                  <a:pt x="5645972" y="3669717"/>
                  <a:pt x="5637957" y="3657213"/>
                </a:cubicBezTo>
                <a:lnTo>
                  <a:pt x="5636262" y="3639583"/>
                </a:lnTo>
                <a:lnTo>
                  <a:pt x="5623850" y="3648556"/>
                </a:lnTo>
                <a:cubicBezTo>
                  <a:pt x="5614552" y="3654327"/>
                  <a:pt x="5605575" y="3660097"/>
                  <a:pt x="5599162" y="3667792"/>
                </a:cubicBezTo>
                <a:cubicBezTo>
                  <a:pt x="5599162" y="3670357"/>
                  <a:pt x="5601727" y="3670357"/>
                  <a:pt x="5601727" y="3672922"/>
                </a:cubicBezTo>
                <a:cubicBezTo>
                  <a:pt x="5611987" y="3675487"/>
                  <a:pt x="5609422" y="3665228"/>
                  <a:pt x="5619682" y="3667792"/>
                </a:cubicBezTo>
                <a:cubicBezTo>
                  <a:pt x="5619682" y="3678052"/>
                  <a:pt x="5604292" y="3670357"/>
                  <a:pt x="5606857" y="3680617"/>
                </a:cubicBezTo>
                <a:cubicBezTo>
                  <a:pt x="5599162" y="3670357"/>
                  <a:pt x="5586338" y="3672922"/>
                  <a:pt x="5586338" y="3688312"/>
                </a:cubicBezTo>
                <a:cubicBezTo>
                  <a:pt x="5581208" y="3688312"/>
                  <a:pt x="5573513" y="3690877"/>
                  <a:pt x="5565819" y="3693441"/>
                </a:cubicBezTo>
                <a:cubicBezTo>
                  <a:pt x="5576078" y="3721655"/>
                  <a:pt x="5578643" y="3752434"/>
                  <a:pt x="5573513" y="3788342"/>
                </a:cubicBezTo>
                <a:cubicBezTo>
                  <a:pt x="5578643" y="3788342"/>
                  <a:pt x="5576078" y="3796037"/>
                  <a:pt x="5581208" y="3796037"/>
                </a:cubicBezTo>
                <a:cubicBezTo>
                  <a:pt x="5581208" y="3801167"/>
                  <a:pt x="5576078" y="3798602"/>
                  <a:pt x="5573513" y="3796037"/>
                </a:cubicBezTo>
                <a:cubicBezTo>
                  <a:pt x="5558124" y="3872984"/>
                  <a:pt x="5514521" y="3957625"/>
                  <a:pt x="5470918" y="4034572"/>
                </a:cubicBezTo>
                <a:cubicBezTo>
                  <a:pt x="5481177" y="4042267"/>
                  <a:pt x="5491437" y="4049962"/>
                  <a:pt x="5501696" y="4057656"/>
                </a:cubicBezTo>
                <a:cubicBezTo>
                  <a:pt x="5476047" y="4073046"/>
                  <a:pt x="5470918" y="4103824"/>
                  <a:pt x="5465788" y="4132038"/>
                </a:cubicBezTo>
                <a:cubicBezTo>
                  <a:pt x="5450398" y="4129473"/>
                  <a:pt x="5435009" y="4124343"/>
                  <a:pt x="5419620" y="4121778"/>
                </a:cubicBezTo>
                <a:cubicBezTo>
                  <a:pt x="5406795" y="4144863"/>
                  <a:pt x="5396536" y="4165382"/>
                  <a:pt x="5388841" y="4183336"/>
                </a:cubicBezTo>
                <a:cubicBezTo>
                  <a:pt x="5468353" y="4162817"/>
                  <a:pt x="5552994" y="4157687"/>
                  <a:pt x="5632506" y="4155122"/>
                </a:cubicBezTo>
                <a:cubicBezTo>
                  <a:pt x="5637636" y="4149992"/>
                  <a:pt x="5640201" y="4142298"/>
                  <a:pt x="5647896" y="4147427"/>
                </a:cubicBezTo>
                <a:cubicBezTo>
                  <a:pt x="5642765" y="4142298"/>
                  <a:pt x="5655590" y="4134603"/>
                  <a:pt x="5655590" y="4124343"/>
                </a:cubicBezTo>
                <a:cubicBezTo>
                  <a:pt x="5658155" y="4124343"/>
                  <a:pt x="5658155" y="4129473"/>
                  <a:pt x="5660720" y="4129473"/>
                </a:cubicBezTo>
                <a:cubicBezTo>
                  <a:pt x="5670979" y="4111519"/>
                  <a:pt x="5676109" y="4091000"/>
                  <a:pt x="5645330" y="4083305"/>
                </a:cubicBezTo>
                <a:cubicBezTo>
                  <a:pt x="5645330" y="4065351"/>
                  <a:pt x="5645330" y="4039702"/>
                  <a:pt x="5653025" y="4016618"/>
                </a:cubicBezTo>
                <a:cubicBezTo>
                  <a:pt x="5650460" y="4011488"/>
                  <a:pt x="5647896" y="4016618"/>
                  <a:pt x="5640201" y="4014053"/>
                </a:cubicBezTo>
                <a:cubicBezTo>
                  <a:pt x="5653025" y="3990969"/>
                  <a:pt x="5650460" y="3967885"/>
                  <a:pt x="5658155" y="3939671"/>
                </a:cubicBezTo>
                <a:cubicBezTo>
                  <a:pt x="5668414" y="3949931"/>
                  <a:pt x="5642765" y="3965320"/>
                  <a:pt x="5663285" y="3967885"/>
                </a:cubicBezTo>
                <a:cubicBezTo>
                  <a:pt x="5653025" y="3978145"/>
                  <a:pt x="5653025" y="4001228"/>
                  <a:pt x="5650460" y="4008923"/>
                </a:cubicBezTo>
                <a:lnTo>
                  <a:pt x="5652849" y="4006773"/>
                </a:lnTo>
                <a:lnTo>
                  <a:pt x="5653827" y="4000989"/>
                </a:lnTo>
                <a:cubicBezTo>
                  <a:pt x="5654788" y="4000107"/>
                  <a:pt x="5656231" y="3999947"/>
                  <a:pt x="5658155" y="4001230"/>
                </a:cubicBezTo>
                <a:lnTo>
                  <a:pt x="5658155" y="4001997"/>
                </a:lnTo>
                <a:lnTo>
                  <a:pt x="5660479" y="3999906"/>
                </a:lnTo>
                <a:cubicBezTo>
                  <a:pt x="5667453" y="3989686"/>
                  <a:pt x="5666491" y="3976220"/>
                  <a:pt x="5668414" y="3962755"/>
                </a:cubicBezTo>
                <a:cubicBezTo>
                  <a:pt x="5670979" y="3967885"/>
                  <a:pt x="5676109" y="4019183"/>
                  <a:pt x="5653025" y="4021748"/>
                </a:cubicBezTo>
                <a:cubicBezTo>
                  <a:pt x="5642765" y="4047397"/>
                  <a:pt x="5660720" y="4044832"/>
                  <a:pt x="5660720" y="4070480"/>
                </a:cubicBezTo>
                <a:cubicBezTo>
                  <a:pt x="5673544" y="4062786"/>
                  <a:pt x="5681239" y="4052526"/>
                  <a:pt x="5696628" y="4047397"/>
                </a:cubicBezTo>
                <a:cubicBezTo>
                  <a:pt x="5694063" y="4044832"/>
                  <a:pt x="5694063" y="4037137"/>
                  <a:pt x="5683804" y="4039702"/>
                </a:cubicBezTo>
                <a:cubicBezTo>
                  <a:pt x="5683804" y="4029442"/>
                  <a:pt x="5686369" y="4032007"/>
                  <a:pt x="5683804" y="4021748"/>
                </a:cubicBezTo>
                <a:cubicBezTo>
                  <a:pt x="5688934" y="4024313"/>
                  <a:pt x="5691499" y="4019183"/>
                  <a:pt x="5691499" y="4014053"/>
                </a:cubicBezTo>
                <a:cubicBezTo>
                  <a:pt x="5696628" y="4021748"/>
                  <a:pt x="5691499" y="4026877"/>
                  <a:pt x="5691499" y="4039702"/>
                </a:cubicBezTo>
                <a:cubicBezTo>
                  <a:pt x="5709453" y="4019183"/>
                  <a:pt x="5709453" y="3990969"/>
                  <a:pt x="5722277" y="3967885"/>
                </a:cubicBezTo>
                <a:cubicBezTo>
                  <a:pt x="5712018" y="3952496"/>
                  <a:pt x="5696628" y="3934541"/>
                  <a:pt x="5706888" y="3924282"/>
                </a:cubicBezTo>
                <a:cubicBezTo>
                  <a:pt x="5704323" y="3921717"/>
                  <a:pt x="5701758" y="3916587"/>
                  <a:pt x="5694063" y="3916587"/>
                </a:cubicBezTo>
                <a:cubicBezTo>
                  <a:pt x="5695346" y="3906327"/>
                  <a:pt x="5700476" y="3898633"/>
                  <a:pt x="5705285" y="3890617"/>
                </a:cubicBezTo>
                <a:lnTo>
                  <a:pt x="5708365" y="3881378"/>
                </a:lnTo>
                <a:lnTo>
                  <a:pt x="5707209" y="3873947"/>
                </a:lnTo>
                <a:cubicBezTo>
                  <a:pt x="5707529" y="3867855"/>
                  <a:pt x="5708171" y="3861442"/>
                  <a:pt x="5706888" y="3857595"/>
                </a:cubicBezTo>
                <a:lnTo>
                  <a:pt x="5712303" y="3869564"/>
                </a:lnTo>
                <a:lnTo>
                  <a:pt x="5714583" y="3862724"/>
                </a:lnTo>
                <a:cubicBezTo>
                  <a:pt x="5722277" y="3878114"/>
                  <a:pt x="5704323" y="3890938"/>
                  <a:pt x="5712018" y="3903762"/>
                </a:cubicBezTo>
                <a:cubicBezTo>
                  <a:pt x="5709453" y="3901198"/>
                  <a:pt x="5706888" y="3901198"/>
                  <a:pt x="5704323" y="3906328"/>
                </a:cubicBezTo>
                <a:cubicBezTo>
                  <a:pt x="5704323" y="3914022"/>
                  <a:pt x="5719712" y="3898633"/>
                  <a:pt x="5717148" y="3911457"/>
                </a:cubicBezTo>
                <a:cubicBezTo>
                  <a:pt x="5724842" y="3906328"/>
                  <a:pt x="5724842" y="3893503"/>
                  <a:pt x="5729972" y="3885808"/>
                </a:cubicBezTo>
                <a:cubicBezTo>
                  <a:pt x="5732537" y="3883244"/>
                  <a:pt x="5727407" y="3906328"/>
                  <a:pt x="5732537" y="3890938"/>
                </a:cubicBezTo>
                <a:cubicBezTo>
                  <a:pt x="5740231" y="3890938"/>
                  <a:pt x="5732537" y="3901198"/>
                  <a:pt x="5727407" y="3898633"/>
                </a:cubicBezTo>
                <a:cubicBezTo>
                  <a:pt x="5732537" y="3908893"/>
                  <a:pt x="5727407" y="3916587"/>
                  <a:pt x="5727407" y="3929411"/>
                </a:cubicBezTo>
                <a:cubicBezTo>
                  <a:pt x="5729972" y="3924282"/>
                  <a:pt x="5732537" y="3916587"/>
                  <a:pt x="5735102" y="3908893"/>
                </a:cubicBezTo>
                <a:cubicBezTo>
                  <a:pt x="5742797" y="3914022"/>
                  <a:pt x="5732537" y="3926847"/>
                  <a:pt x="5729972" y="3934541"/>
                </a:cubicBezTo>
                <a:cubicBezTo>
                  <a:pt x="5740231" y="3942236"/>
                  <a:pt x="5732537" y="3947366"/>
                  <a:pt x="5732537" y="3957625"/>
                </a:cubicBezTo>
                <a:cubicBezTo>
                  <a:pt x="5742797" y="3942236"/>
                  <a:pt x="5745361" y="3937106"/>
                  <a:pt x="5750491" y="3914022"/>
                </a:cubicBezTo>
                <a:cubicBezTo>
                  <a:pt x="5758186" y="3911457"/>
                  <a:pt x="5745361" y="3929411"/>
                  <a:pt x="5755621" y="3931976"/>
                </a:cubicBezTo>
                <a:cubicBezTo>
                  <a:pt x="5760751" y="3929411"/>
                  <a:pt x="5755621" y="3919152"/>
                  <a:pt x="5763316" y="3919152"/>
                </a:cubicBezTo>
                <a:cubicBezTo>
                  <a:pt x="5760751" y="3929411"/>
                  <a:pt x="5750491" y="3957625"/>
                  <a:pt x="5763316" y="3973015"/>
                </a:cubicBezTo>
                <a:cubicBezTo>
                  <a:pt x="5755621" y="4006358"/>
                  <a:pt x="5750491" y="4008923"/>
                  <a:pt x="5750491" y="4047397"/>
                </a:cubicBezTo>
                <a:cubicBezTo>
                  <a:pt x="5745361" y="4044832"/>
                  <a:pt x="5735102" y="4062786"/>
                  <a:pt x="5747926" y="4067916"/>
                </a:cubicBezTo>
                <a:cubicBezTo>
                  <a:pt x="5742797" y="4075611"/>
                  <a:pt x="5737667" y="4073046"/>
                  <a:pt x="5742797" y="4083305"/>
                </a:cubicBezTo>
                <a:cubicBezTo>
                  <a:pt x="5750491" y="4085870"/>
                  <a:pt x="5747926" y="4093565"/>
                  <a:pt x="5760751" y="4098694"/>
                </a:cubicBezTo>
                <a:cubicBezTo>
                  <a:pt x="5753056" y="4108954"/>
                  <a:pt x="5750491" y="4137168"/>
                  <a:pt x="5737667" y="4134603"/>
                </a:cubicBezTo>
                <a:cubicBezTo>
                  <a:pt x="5737667" y="4142298"/>
                  <a:pt x="5735102" y="4147427"/>
                  <a:pt x="5732537" y="4155122"/>
                </a:cubicBezTo>
                <a:cubicBezTo>
                  <a:pt x="5758186" y="4155122"/>
                  <a:pt x="5796659" y="4155122"/>
                  <a:pt x="5819743" y="4116649"/>
                </a:cubicBezTo>
                <a:cubicBezTo>
                  <a:pt x="5830003" y="4093565"/>
                  <a:pt x="5835132" y="4067916"/>
                  <a:pt x="5847957" y="4047397"/>
                </a:cubicBezTo>
                <a:cubicBezTo>
                  <a:pt x="5835132" y="4039702"/>
                  <a:pt x="5830003" y="4011488"/>
                  <a:pt x="5814614" y="4011488"/>
                </a:cubicBezTo>
                <a:cubicBezTo>
                  <a:pt x="5830003" y="4006358"/>
                  <a:pt x="5832568" y="4021748"/>
                  <a:pt x="5837697" y="3996099"/>
                </a:cubicBezTo>
                <a:cubicBezTo>
                  <a:pt x="5863346" y="3993534"/>
                  <a:pt x="5853087" y="4019183"/>
                  <a:pt x="5863346" y="4042267"/>
                </a:cubicBezTo>
                <a:cubicBezTo>
                  <a:pt x="5891560" y="4055091"/>
                  <a:pt x="5912079" y="4088435"/>
                  <a:pt x="5947988" y="4080740"/>
                </a:cubicBezTo>
                <a:cubicBezTo>
                  <a:pt x="5968507" y="4075611"/>
                  <a:pt x="5950553" y="4052526"/>
                  <a:pt x="5953118" y="4039702"/>
                </a:cubicBezTo>
                <a:cubicBezTo>
                  <a:pt x="5976202" y="4039702"/>
                  <a:pt x="5989026" y="4091000"/>
                  <a:pt x="5976202" y="4103824"/>
                </a:cubicBezTo>
                <a:cubicBezTo>
                  <a:pt x="5963377" y="4116649"/>
                  <a:pt x="5958247" y="4103824"/>
                  <a:pt x="5950553" y="4098694"/>
                </a:cubicBezTo>
                <a:cubicBezTo>
                  <a:pt x="5935163" y="4116649"/>
                  <a:pt x="5937728" y="4160252"/>
                  <a:pt x="5965942" y="4173076"/>
                </a:cubicBezTo>
                <a:cubicBezTo>
                  <a:pt x="5981332" y="4165382"/>
                  <a:pt x="5971072" y="4149992"/>
                  <a:pt x="5989026" y="4144863"/>
                </a:cubicBezTo>
                <a:cubicBezTo>
                  <a:pt x="5981332" y="4165382"/>
                  <a:pt x="6006981" y="4198725"/>
                  <a:pt x="5996721" y="4216680"/>
                </a:cubicBezTo>
                <a:cubicBezTo>
                  <a:pt x="6009545" y="4208985"/>
                  <a:pt x="6019805" y="4224374"/>
                  <a:pt x="6030064" y="4239764"/>
                </a:cubicBezTo>
                <a:cubicBezTo>
                  <a:pt x="6030064" y="4237199"/>
                  <a:pt x="6027499" y="4234634"/>
                  <a:pt x="6027499" y="4232069"/>
                </a:cubicBezTo>
                <a:cubicBezTo>
                  <a:pt x="6037759" y="4229504"/>
                  <a:pt x="6048019" y="4226939"/>
                  <a:pt x="6053148" y="4234634"/>
                </a:cubicBezTo>
                <a:cubicBezTo>
                  <a:pt x="6053148" y="4247458"/>
                  <a:pt x="6048019" y="4252588"/>
                  <a:pt x="6040324" y="4255153"/>
                </a:cubicBezTo>
                <a:cubicBezTo>
                  <a:pt x="6040324" y="4255153"/>
                  <a:pt x="6037759" y="4255153"/>
                  <a:pt x="6037759" y="4255153"/>
                </a:cubicBezTo>
                <a:cubicBezTo>
                  <a:pt x="6045454" y="4265413"/>
                  <a:pt x="6053148" y="4273107"/>
                  <a:pt x="6063408" y="4270542"/>
                </a:cubicBezTo>
                <a:cubicBezTo>
                  <a:pt x="6086492" y="4250023"/>
                  <a:pt x="6096752" y="4242329"/>
                  <a:pt x="6119836" y="4239764"/>
                </a:cubicBezTo>
                <a:lnTo>
                  <a:pt x="6112855" y="4251065"/>
                </a:lnTo>
                <a:lnTo>
                  <a:pt x="6126409" y="4248180"/>
                </a:lnTo>
                <a:cubicBezTo>
                  <a:pt x="6131058" y="4249542"/>
                  <a:pt x="6135867" y="4252588"/>
                  <a:pt x="6140356" y="4257718"/>
                </a:cubicBezTo>
                <a:cubicBezTo>
                  <a:pt x="6130096" y="4257718"/>
                  <a:pt x="6137790" y="4273108"/>
                  <a:pt x="6137790" y="4273108"/>
                </a:cubicBezTo>
                <a:cubicBezTo>
                  <a:pt x="6127531" y="4291063"/>
                  <a:pt x="6104446" y="4285933"/>
                  <a:pt x="6101881" y="4270543"/>
                </a:cubicBezTo>
                <a:lnTo>
                  <a:pt x="6104829" y="4261911"/>
                </a:lnTo>
                <a:lnTo>
                  <a:pt x="6080080" y="4273428"/>
                </a:lnTo>
                <a:cubicBezTo>
                  <a:pt x="6070462" y="4277115"/>
                  <a:pt x="6060843" y="4280882"/>
                  <a:pt x="6053469" y="4286293"/>
                </a:cubicBezTo>
                <a:lnTo>
                  <a:pt x="6052018" y="4288801"/>
                </a:lnTo>
                <a:lnTo>
                  <a:pt x="6053149" y="4291062"/>
                </a:lnTo>
                <a:cubicBezTo>
                  <a:pt x="6052508" y="4292986"/>
                  <a:pt x="6051867" y="4294909"/>
                  <a:pt x="6055714" y="4296191"/>
                </a:cubicBezTo>
                <a:cubicBezTo>
                  <a:pt x="6055714" y="4298756"/>
                  <a:pt x="6042889" y="4301321"/>
                  <a:pt x="6053149" y="4303887"/>
                </a:cubicBezTo>
                <a:cubicBezTo>
                  <a:pt x="6049943" y="4306451"/>
                  <a:pt x="6046576" y="4307093"/>
                  <a:pt x="6043490" y="4306451"/>
                </a:cubicBezTo>
                <a:lnTo>
                  <a:pt x="6042264" y="4305663"/>
                </a:lnTo>
                <a:lnTo>
                  <a:pt x="6040324" y="4309016"/>
                </a:lnTo>
                <a:cubicBezTo>
                  <a:pt x="6045454" y="4321840"/>
                  <a:pt x="6065973" y="4291062"/>
                  <a:pt x="6065973" y="4314145"/>
                </a:cubicBezTo>
                <a:cubicBezTo>
                  <a:pt x="6042889" y="4352619"/>
                  <a:pt x="6017240" y="4385963"/>
                  <a:pt x="6012110" y="4429566"/>
                </a:cubicBezTo>
                <a:cubicBezTo>
                  <a:pt x="5999286" y="4439825"/>
                  <a:pt x="5991591" y="4432131"/>
                  <a:pt x="5981332" y="4437260"/>
                </a:cubicBezTo>
                <a:cubicBezTo>
                  <a:pt x="5981332" y="4457780"/>
                  <a:pt x="5965942" y="4475734"/>
                  <a:pt x="5955683" y="4493688"/>
                </a:cubicBezTo>
                <a:cubicBezTo>
                  <a:pt x="5971072" y="4527032"/>
                  <a:pt x="5976202" y="4557810"/>
                  <a:pt x="5971072" y="4583459"/>
                </a:cubicBezTo>
                <a:cubicBezTo>
                  <a:pt x="5958247" y="4591154"/>
                  <a:pt x="5947988" y="4596284"/>
                  <a:pt x="5953118" y="4580895"/>
                </a:cubicBezTo>
                <a:cubicBezTo>
                  <a:pt x="5917209" y="4596284"/>
                  <a:pt x="5930034" y="4632192"/>
                  <a:pt x="5912079" y="4655276"/>
                </a:cubicBezTo>
                <a:cubicBezTo>
                  <a:pt x="5891560" y="4668101"/>
                  <a:pt x="5876171" y="4668101"/>
                  <a:pt x="5863346" y="4665536"/>
                </a:cubicBezTo>
                <a:cubicBezTo>
                  <a:pt x="5850522" y="4675795"/>
                  <a:pt x="5860781" y="4673230"/>
                  <a:pt x="5865911" y="4686055"/>
                </a:cubicBezTo>
                <a:cubicBezTo>
                  <a:pt x="5824873" y="4691185"/>
                  <a:pt x="5804354" y="4701444"/>
                  <a:pt x="5765880" y="4693750"/>
                </a:cubicBezTo>
                <a:cubicBezTo>
                  <a:pt x="5755621" y="4721964"/>
                  <a:pt x="5747926" y="4742483"/>
                  <a:pt x="5773575" y="4775826"/>
                </a:cubicBezTo>
                <a:cubicBezTo>
                  <a:pt x="5768445" y="4778391"/>
                  <a:pt x="5765880" y="4780956"/>
                  <a:pt x="5765880" y="4786086"/>
                </a:cubicBezTo>
                <a:cubicBezTo>
                  <a:pt x="5750491" y="4796345"/>
                  <a:pt x="5742797" y="4780956"/>
                  <a:pt x="5732537" y="4773261"/>
                </a:cubicBezTo>
                <a:cubicBezTo>
                  <a:pt x="5727407" y="4783521"/>
                  <a:pt x="5717148" y="4791216"/>
                  <a:pt x="5709453" y="4798910"/>
                </a:cubicBezTo>
                <a:cubicBezTo>
                  <a:pt x="5706888" y="4798910"/>
                  <a:pt x="5706888" y="4796345"/>
                  <a:pt x="5704323" y="4796345"/>
                </a:cubicBezTo>
                <a:cubicBezTo>
                  <a:pt x="5704323" y="4788651"/>
                  <a:pt x="5714583" y="4791216"/>
                  <a:pt x="5714583" y="4783521"/>
                </a:cubicBezTo>
                <a:cubicBezTo>
                  <a:pt x="5701758" y="4775826"/>
                  <a:pt x="5668414" y="4778391"/>
                  <a:pt x="5658155" y="4788651"/>
                </a:cubicBezTo>
                <a:cubicBezTo>
                  <a:pt x="5653025" y="4786086"/>
                  <a:pt x="5645330" y="4780956"/>
                  <a:pt x="5640201" y="4786086"/>
                </a:cubicBezTo>
                <a:cubicBezTo>
                  <a:pt x="5637636" y="4780956"/>
                  <a:pt x="5647896" y="4778391"/>
                  <a:pt x="5655590" y="4778391"/>
                </a:cubicBezTo>
                <a:cubicBezTo>
                  <a:pt x="5665850" y="4775826"/>
                  <a:pt x="5696628" y="4737353"/>
                  <a:pt x="5678674" y="4727093"/>
                </a:cubicBezTo>
                <a:cubicBezTo>
                  <a:pt x="5660720" y="4729658"/>
                  <a:pt x="5640201" y="4745048"/>
                  <a:pt x="5637636" y="4763002"/>
                </a:cubicBezTo>
                <a:cubicBezTo>
                  <a:pt x="5635071" y="4770696"/>
                  <a:pt x="5637636" y="4783521"/>
                  <a:pt x="5627376" y="4783521"/>
                </a:cubicBezTo>
                <a:cubicBezTo>
                  <a:pt x="5622247" y="4778391"/>
                  <a:pt x="5627376" y="4775826"/>
                  <a:pt x="5629941" y="4770696"/>
                </a:cubicBezTo>
                <a:cubicBezTo>
                  <a:pt x="5632506" y="4760437"/>
                  <a:pt x="5627376" y="4755307"/>
                  <a:pt x="5627376" y="4745048"/>
                </a:cubicBezTo>
                <a:cubicBezTo>
                  <a:pt x="5624811" y="4739918"/>
                  <a:pt x="5622247" y="4739918"/>
                  <a:pt x="5619682" y="4739918"/>
                </a:cubicBezTo>
                <a:cubicBezTo>
                  <a:pt x="5629941" y="4724528"/>
                  <a:pt x="5629941" y="4711704"/>
                  <a:pt x="5640201" y="4698879"/>
                </a:cubicBezTo>
                <a:cubicBezTo>
                  <a:pt x="5653025" y="4696315"/>
                  <a:pt x="5665850" y="4693750"/>
                  <a:pt x="5668414" y="4680925"/>
                </a:cubicBezTo>
                <a:cubicBezTo>
                  <a:pt x="5655590" y="4678361"/>
                  <a:pt x="5642765" y="4688620"/>
                  <a:pt x="5635071" y="4696315"/>
                </a:cubicBezTo>
                <a:cubicBezTo>
                  <a:pt x="5640201" y="4688620"/>
                  <a:pt x="5642765" y="4680925"/>
                  <a:pt x="5645330" y="4670666"/>
                </a:cubicBezTo>
                <a:cubicBezTo>
                  <a:pt x="5650460" y="4668101"/>
                  <a:pt x="5655590" y="4668101"/>
                  <a:pt x="5658155" y="4662971"/>
                </a:cubicBezTo>
                <a:cubicBezTo>
                  <a:pt x="5658155" y="4660406"/>
                  <a:pt x="5653025" y="4657841"/>
                  <a:pt x="5653025" y="4660406"/>
                </a:cubicBezTo>
                <a:cubicBezTo>
                  <a:pt x="5650460" y="4655276"/>
                  <a:pt x="5660720" y="4655276"/>
                  <a:pt x="5663285" y="4650147"/>
                </a:cubicBezTo>
                <a:cubicBezTo>
                  <a:pt x="5691499" y="4652712"/>
                  <a:pt x="5712018" y="4637322"/>
                  <a:pt x="5729972" y="4627063"/>
                </a:cubicBezTo>
                <a:cubicBezTo>
                  <a:pt x="5724842" y="4619368"/>
                  <a:pt x="5717148" y="4621933"/>
                  <a:pt x="5712018" y="4621933"/>
                </a:cubicBezTo>
                <a:cubicBezTo>
                  <a:pt x="5688934" y="4624498"/>
                  <a:pt x="5673544" y="4645017"/>
                  <a:pt x="5653025" y="4645017"/>
                </a:cubicBezTo>
                <a:cubicBezTo>
                  <a:pt x="5673544" y="4603978"/>
                  <a:pt x="5742797" y="4614238"/>
                  <a:pt x="5755621" y="4568070"/>
                </a:cubicBezTo>
                <a:cubicBezTo>
                  <a:pt x="5727407" y="4562940"/>
                  <a:pt x="5706888" y="4596284"/>
                  <a:pt x="5676109" y="4588589"/>
                </a:cubicBezTo>
                <a:cubicBezTo>
                  <a:pt x="5688934" y="4570635"/>
                  <a:pt x="5712018" y="4560375"/>
                  <a:pt x="5727407" y="4544986"/>
                </a:cubicBezTo>
                <a:cubicBezTo>
                  <a:pt x="5712018" y="4542421"/>
                  <a:pt x="5699193" y="4552681"/>
                  <a:pt x="5688934" y="4560375"/>
                </a:cubicBezTo>
                <a:cubicBezTo>
                  <a:pt x="5694063" y="4544986"/>
                  <a:pt x="5704323" y="4529597"/>
                  <a:pt x="5699193" y="4509077"/>
                </a:cubicBezTo>
                <a:cubicBezTo>
                  <a:pt x="5676109" y="4521902"/>
                  <a:pt x="5668414" y="4550116"/>
                  <a:pt x="5658155" y="4575765"/>
                </a:cubicBezTo>
                <a:cubicBezTo>
                  <a:pt x="5655590" y="4557810"/>
                  <a:pt x="5650460" y="4544986"/>
                  <a:pt x="5640201" y="4534726"/>
                </a:cubicBezTo>
                <a:cubicBezTo>
                  <a:pt x="5647896" y="4519337"/>
                  <a:pt x="5655590" y="4501383"/>
                  <a:pt x="5673544" y="4496253"/>
                </a:cubicBezTo>
                <a:cubicBezTo>
                  <a:pt x="5678674" y="4498818"/>
                  <a:pt x="5688934" y="4501383"/>
                  <a:pt x="5694063" y="4498818"/>
                </a:cubicBezTo>
                <a:cubicBezTo>
                  <a:pt x="5694063" y="4491123"/>
                  <a:pt x="5683804" y="4493688"/>
                  <a:pt x="5676109" y="4493688"/>
                </a:cubicBezTo>
                <a:cubicBezTo>
                  <a:pt x="5688934" y="4485994"/>
                  <a:pt x="5704323" y="4478299"/>
                  <a:pt x="5701758" y="4460345"/>
                </a:cubicBezTo>
                <a:cubicBezTo>
                  <a:pt x="5699193" y="4455215"/>
                  <a:pt x="5691499" y="4462909"/>
                  <a:pt x="5683804" y="4460345"/>
                </a:cubicBezTo>
                <a:cubicBezTo>
                  <a:pt x="5683804" y="4450085"/>
                  <a:pt x="5686369" y="4444955"/>
                  <a:pt x="5681239" y="4439825"/>
                </a:cubicBezTo>
                <a:cubicBezTo>
                  <a:pt x="5665850" y="4447520"/>
                  <a:pt x="5668414" y="4468039"/>
                  <a:pt x="5665850" y="4485994"/>
                </a:cubicBezTo>
                <a:cubicBezTo>
                  <a:pt x="5660720" y="4488558"/>
                  <a:pt x="5663285" y="4485994"/>
                  <a:pt x="5660720" y="4483429"/>
                </a:cubicBezTo>
                <a:cubicBezTo>
                  <a:pt x="5658155" y="4485994"/>
                  <a:pt x="5660720" y="4491123"/>
                  <a:pt x="5655590" y="4491123"/>
                </a:cubicBezTo>
                <a:cubicBezTo>
                  <a:pt x="5658155" y="4457780"/>
                  <a:pt x="5665850" y="4419306"/>
                  <a:pt x="5647896" y="4396222"/>
                </a:cubicBezTo>
                <a:cubicBezTo>
                  <a:pt x="5655590" y="4432131"/>
                  <a:pt x="5653025" y="4493688"/>
                  <a:pt x="5635071" y="4524467"/>
                </a:cubicBezTo>
                <a:cubicBezTo>
                  <a:pt x="5629941" y="4521902"/>
                  <a:pt x="5627376" y="4519337"/>
                  <a:pt x="5622247" y="4516772"/>
                </a:cubicBezTo>
                <a:cubicBezTo>
                  <a:pt x="5619682" y="4524467"/>
                  <a:pt x="5629941" y="4532161"/>
                  <a:pt x="5627376" y="4544986"/>
                </a:cubicBezTo>
                <a:cubicBezTo>
                  <a:pt x="5622247" y="4542421"/>
                  <a:pt x="5619682" y="4539856"/>
                  <a:pt x="5614552" y="4537291"/>
                </a:cubicBezTo>
                <a:cubicBezTo>
                  <a:pt x="5606857" y="4542421"/>
                  <a:pt x="5611987" y="4547551"/>
                  <a:pt x="5611987" y="4555246"/>
                </a:cubicBezTo>
                <a:cubicBezTo>
                  <a:pt x="5606857" y="4555246"/>
                  <a:pt x="5606857" y="4550116"/>
                  <a:pt x="5604292" y="4550116"/>
                </a:cubicBezTo>
                <a:cubicBezTo>
                  <a:pt x="5608140" y="4557810"/>
                  <a:pt x="5613270" y="4566146"/>
                  <a:pt x="5616796" y="4574482"/>
                </a:cubicBezTo>
                <a:lnTo>
                  <a:pt x="5619338" y="4595944"/>
                </a:lnTo>
                <a:lnTo>
                  <a:pt x="5624812" y="4591154"/>
                </a:lnTo>
                <a:cubicBezTo>
                  <a:pt x="5635072" y="4591154"/>
                  <a:pt x="5637636" y="4586024"/>
                  <a:pt x="5642766" y="4588589"/>
                </a:cubicBezTo>
                <a:cubicBezTo>
                  <a:pt x="5632507" y="4596284"/>
                  <a:pt x="5629942" y="4609109"/>
                  <a:pt x="5619682" y="4614239"/>
                </a:cubicBezTo>
                <a:cubicBezTo>
                  <a:pt x="5619682" y="4611674"/>
                  <a:pt x="5619682" y="4603979"/>
                  <a:pt x="5609423" y="4606544"/>
                </a:cubicBezTo>
                <a:cubicBezTo>
                  <a:pt x="5610705" y="4601414"/>
                  <a:pt x="5613911" y="4599490"/>
                  <a:pt x="5617117" y="4597887"/>
                </a:cubicBezTo>
                <a:lnTo>
                  <a:pt x="5617904" y="4597198"/>
                </a:lnTo>
                <a:lnTo>
                  <a:pt x="5606755" y="4586845"/>
                </a:lnTo>
                <a:lnTo>
                  <a:pt x="5606857" y="4588589"/>
                </a:lnTo>
                <a:lnTo>
                  <a:pt x="5605630" y="4585801"/>
                </a:lnTo>
                <a:lnTo>
                  <a:pt x="5583773" y="4565505"/>
                </a:lnTo>
                <a:cubicBezTo>
                  <a:pt x="5568384" y="4555246"/>
                  <a:pt x="5555559" y="4547551"/>
                  <a:pt x="5537605" y="4542421"/>
                </a:cubicBezTo>
                <a:cubicBezTo>
                  <a:pt x="5540170" y="4557810"/>
                  <a:pt x="5563254" y="4570635"/>
                  <a:pt x="5578643" y="4583459"/>
                </a:cubicBezTo>
                <a:cubicBezTo>
                  <a:pt x="5591468" y="4593719"/>
                  <a:pt x="5604292" y="4606543"/>
                  <a:pt x="5617117" y="4614238"/>
                </a:cubicBezTo>
                <a:cubicBezTo>
                  <a:pt x="5609422" y="4632192"/>
                  <a:pt x="5611987" y="4662971"/>
                  <a:pt x="5606857" y="4683490"/>
                </a:cubicBezTo>
                <a:cubicBezTo>
                  <a:pt x="5601727" y="4683490"/>
                  <a:pt x="5604292" y="4680925"/>
                  <a:pt x="5599162" y="4680925"/>
                </a:cubicBezTo>
                <a:cubicBezTo>
                  <a:pt x="5596598" y="4688620"/>
                  <a:pt x="5601727" y="4691185"/>
                  <a:pt x="5604292" y="4698879"/>
                </a:cubicBezTo>
                <a:cubicBezTo>
                  <a:pt x="5609422" y="4719399"/>
                  <a:pt x="5604292" y="4742483"/>
                  <a:pt x="5601727" y="4763002"/>
                </a:cubicBezTo>
                <a:cubicBezTo>
                  <a:pt x="5594033" y="4752742"/>
                  <a:pt x="5594033" y="4737353"/>
                  <a:pt x="5578643" y="4737353"/>
                </a:cubicBezTo>
                <a:cubicBezTo>
                  <a:pt x="5583773" y="4721964"/>
                  <a:pt x="5583773" y="4688620"/>
                  <a:pt x="5570949" y="4680925"/>
                </a:cubicBezTo>
                <a:cubicBezTo>
                  <a:pt x="5560689" y="4688620"/>
                  <a:pt x="5555559" y="4698879"/>
                  <a:pt x="5552994" y="4711704"/>
                </a:cubicBezTo>
                <a:cubicBezTo>
                  <a:pt x="5550430" y="4709139"/>
                  <a:pt x="5550430" y="4706574"/>
                  <a:pt x="5547864" y="4704009"/>
                </a:cubicBezTo>
                <a:cubicBezTo>
                  <a:pt x="5550430" y="4691185"/>
                  <a:pt x="5552994" y="4680925"/>
                  <a:pt x="5550430" y="4668101"/>
                </a:cubicBezTo>
                <a:cubicBezTo>
                  <a:pt x="5537605" y="4670666"/>
                  <a:pt x="5535040" y="4683490"/>
                  <a:pt x="5532475" y="4693750"/>
                </a:cubicBezTo>
                <a:cubicBezTo>
                  <a:pt x="5529910" y="4693750"/>
                  <a:pt x="5527345" y="4691185"/>
                  <a:pt x="5524781" y="4691185"/>
                </a:cubicBezTo>
                <a:cubicBezTo>
                  <a:pt x="5522216" y="4693750"/>
                  <a:pt x="5522216" y="4693750"/>
                  <a:pt x="5522216" y="4691185"/>
                </a:cubicBezTo>
                <a:cubicBezTo>
                  <a:pt x="5522216" y="4691185"/>
                  <a:pt x="5519651" y="4691185"/>
                  <a:pt x="5519651" y="4691185"/>
                </a:cubicBezTo>
                <a:cubicBezTo>
                  <a:pt x="5514521" y="4680925"/>
                  <a:pt x="5509391" y="4670666"/>
                  <a:pt x="5496567" y="4665536"/>
                </a:cubicBezTo>
                <a:cubicBezTo>
                  <a:pt x="5494002" y="4670666"/>
                  <a:pt x="5491437" y="4675795"/>
                  <a:pt x="5491437" y="4683490"/>
                </a:cubicBezTo>
                <a:cubicBezTo>
                  <a:pt x="5473483" y="4678361"/>
                  <a:pt x="5455529" y="4670666"/>
                  <a:pt x="5440139" y="4655276"/>
                </a:cubicBezTo>
                <a:cubicBezTo>
                  <a:pt x="5368322" y="4647581"/>
                  <a:pt x="5296505" y="4642452"/>
                  <a:pt x="5222123" y="4634757"/>
                </a:cubicBezTo>
                <a:cubicBezTo>
                  <a:pt x="5281116" y="4721964"/>
                  <a:pt x="5322154" y="4855338"/>
                  <a:pt x="5224688" y="4922025"/>
                </a:cubicBezTo>
                <a:cubicBezTo>
                  <a:pt x="5229818" y="4947674"/>
                  <a:pt x="5250337" y="4955369"/>
                  <a:pt x="5283680" y="4950239"/>
                </a:cubicBezTo>
                <a:cubicBezTo>
                  <a:pt x="5242642" y="4970758"/>
                  <a:pt x="5188779" y="4942544"/>
                  <a:pt x="5181085" y="5022056"/>
                </a:cubicBezTo>
                <a:cubicBezTo>
                  <a:pt x="5224688" y="5106698"/>
                  <a:pt x="5332414" y="5073354"/>
                  <a:pt x="5355498" y="5152866"/>
                </a:cubicBezTo>
                <a:cubicBezTo>
                  <a:pt x="5365757" y="5186209"/>
                  <a:pt x="5260597" y="5240072"/>
                  <a:pt x="5355498" y="5255461"/>
                </a:cubicBezTo>
                <a:cubicBezTo>
                  <a:pt x="5342673" y="5306759"/>
                  <a:pt x="5237513" y="5263156"/>
                  <a:pt x="5237513" y="5327278"/>
                </a:cubicBezTo>
                <a:cubicBezTo>
                  <a:pt x="5229818" y="5358057"/>
                  <a:pt x="5258031" y="5352927"/>
                  <a:pt x="5281116" y="5355492"/>
                </a:cubicBezTo>
                <a:cubicBezTo>
                  <a:pt x="5263162" y="5396531"/>
                  <a:pt x="5227253" y="5422179"/>
                  <a:pt x="5193909" y="5447828"/>
                </a:cubicBezTo>
                <a:cubicBezTo>
                  <a:pt x="5196474" y="5437569"/>
                  <a:pt x="5199039" y="5424744"/>
                  <a:pt x="5196474" y="5417049"/>
                </a:cubicBezTo>
                <a:cubicBezTo>
                  <a:pt x="5204169" y="5411920"/>
                  <a:pt x="5214428" y="5409355"/>
                  <a:pt x="5216993" y="5401660"/>
                </a:cubicBezTo>
                <a:cubicBezTo>
                  <a:pt x="5214428" y="5396531"/>
                  <a:pt x="5204169" y="5399095"/>
                  <a:pt x="5209299" y="5391400"/>
                </a:cubicBezTo>
                <a:cubicBezTo>
                  <a:pt x="5204169" y="5393965"/>
                  <a:pt x="5204169" y="5393965"/>
                  <a:pt x="5201604" y="5396531"/>
                </a:cubicBezTo>
                <a:cubicBezTo>
                  <a:pt x="5196474" y="5393965"/>
                  <a:pt x="5204169" y="5391400"/>
                  <a:pt x="5201604" y="5386271"/>
                </a:cubicBezTo>
                <a:cubicBezTo>
                  <a:pt x="5193909" y="5386271"/>
                  <a:pt x="5196474" y="5393965"/>
                  <a:pt x="5191345" y="5393965"/>
                </a:cubicBezTo>
                <a:cubicBezTo>
                  <a:pt x="5191345" y="5388836"/>
                  <a:pt x="5188779" y="5386271"/>
                  <a:pt x="5186215" y="5383706"/>
                </a:cubicBezTo>
                <a:cubicBezTo>
                  <a:pt x="5181085" y="5391400"/>
                  <a:pt x="5186215" y="5404225"/>
                  <a:pt x="5191345" y="5409355"/>
                </a:cubicBezTo>
                <a:cubicBezTo>
                  <a:pt x="5191345" y="5422179"/>
                  <a:pt x="5191345" y="5440134"/>
                  <a:pt x="5188779" y="5455523"/>
                </a:cubicBezTo>
                <a:cubicBezTo>
                  <a:pt x="5183650" y="5460653"/>
                  <a:pt x="5175955" y="5465783"/>
                  <a:pt x="5170825" y="5470912"/>
                </a:cubicBezTo>
                <a:cubicBezTo>
                  <a:pt x="5170825" y="5470912"/>
                  <a:pt x="5168260" y="5468347"/>
                  <a:pt x="5170825" y="5465783"/>
                </a:cubicBezTo>
                <a:cubicBezTo>
                  <a:pt x="5165696" y="5468347"/>
                  <a:pt x="5163131" y="5460653"/>
                  <a:pt x="5160566" y="5455523"/>
                </a:cubicBezTo>
                <a:cubicBezTo>
                  <a:pt x="5155436" y="5460653"/>
                  <a:pt x="5150306" y="5468347"/>
                  <a:pt x="5152871" y="5476042"/>
                </a:cubicBezTo>
                <a:cubicBezTo>
                  <a:pt x="5150306" y="5481172"/>
                  <a:pt x="5145176" y="5468347"/>
                  <a:pt x="5140047" y="5468347"/>
                </a:cubicBezTo>
                <a:cubicBezTo>
                  <a:pt x="5132352" y="5478607"/>
                  <a:pt x="5145176" y="5486302"/>
                  <a:pt x="5152871" y="5491431"/>
                </a:cubicBezTo>
                <a:cubicBezTo>
                  <a:pt x="5145176" y="5501691"/>
                  <a:pt x="5137482" y="5509386"/>
                  <a:pt x="5132352" y="5522210"/>
                </a:cubicBezTo>
                <a:cubicBezTo>
                  <a:pt x="5137482" y="5545294"/>
                  <a:pt x="5119527" y="5594027"/>
                  <a:pt x="5145176" y="5596592"/>
                </a:cubicBezTo>
                <a:cubicBezTo>
                  <a:pt x="5142611" y="5604287"/>
                  <a:pt x="5142611" y="5611981"/>
                  <a:pt x="5140047" y="5619676"/>
                </a:cubicBezTo>
                <a:cubicBezTo>
                  <a:pt x="5137482" y="5622241"/>
                  <a:pt x="5137482" y="5624806"/>
                  <a:pt x="5134917" y="5627371"/>
                </a:cubicBezTo>
                <a:cubicBezTo>
                  <a:pt x="5129787" y="5629936"/>
                  <a:pt x="5127222" y="5635065"/>
                  <a:pt x="5127222" y="5640195"/>
                </a:cubicBezTo>
                <a:cubicBezTo>
                  <a:pt x="5127222" y="5640195"/>
                  <a:pt x="5127222" y="5642760"/>
                  <a:pt x="5127222" y="5642760"/>
                </a:cubicBezTo>
                <a:cubicBezTo>
                  <a:pt x="5124657" y="5653020"/>
                  <a:pt x="5124657" y="5660714"/>
                  <a:pt x="5122092" y="5668409"/>
                </a:cubicBezTo>
                <a:cubicBezTo>
                  <a:pt x="5022061" y="5665844"/>
                  <a:pt x="4927160" y="5717142"/>
                  <a:pt x="4824565" y="5783829"/>
                </a:cubicBezTo>
                <a:cubicBezTo>
                  <a:pt x="4816870" y="5781264"/>
                  <a:pt x="4811740" y="5778699"/>
                  <a:pt x="4804046" y="5776134"/>
                </a:cubicBezTo>
                <a:cubicBezTo>
                  <a:pt x="4798916" y="5747921"/>
                  <a:pt x="4796351" y="5719707"/>
                  <a:pt x="4793786" y="5688928"/>
                </a:cubicBezTo>
                <a:cubicBezTo>
                  <a:pt x="4793786" y="5686363"/>
                  <a:pt x="4793786" y="5686363"/>
                  <a:pt x="4793786" y="5686363"/>
                </a:cubicBezTo>
                <a:cubicBezTo>
                  <a:pt x="4829694" y="5688928"/>
                  <a:pt x="4863038" y="5691493"/>
                  <a:pt x="4883557" y="5650455"/>
                </a:cubicBezTo>
                <a:cubicBezTo>
                  <a:pt x="4850214" y="5635065"/>
                  <a:pt x="4811740" y="5622241"/>
                  <a:pt x="4778397" y="5617111"/>
                </a:cubicBezTo>
                <a:cubicBezTo>
                  <a:pt x="4775832" y="5594027"/>
                  <a:pt x="4775832" y="5573508"/>
                  <a:pt x="4770702" y="5555554"/>
                </a:cubicBezTo>
                <a:cubicBezTo>
                  <a:pt x="4775832" y="5555554"/>
                  <a:pt x="4780962" y="5555554"/>
                  <a:pt x="4785451" y="5554913"/>
                </a:cubicBezTo>
                <a:lnTo>
                  <a:pt x="4791994" y="5552219"/>
                </a:lnTo>
                <a:lnTo>
                  <a:pt x="4791221" y="5560683"/>
                </a:lnTo>
                <a:cubicBezTo>
                  <a:pt x="4834824" y="5550424"/>
                  <a:pt x="4816870" y="5550424"/>
                  <a:pt x="4863038" y="5560683"/>
                </a:cubicBezTo>
                <a:cubicBezTo>
                  <a:pt x="4865603" y="5527340"/>
                  <a:pt x="4857908" y="5504256"/>
                  <a:pt x="4834824" y="5501691"/>
                </a:cubicBezTo>
                <a:cubicBezTo>
                  <a:pt x="4838672" y="5530546"/>
                  <a:pt x="4805008" y="5523332"/>
                  <a:pt x="4793346" y="5537399"/>
                </a:cubicBezTo>
                <a:lnTo>
                  <a:pt x="4792552" y="5546095"/>
                </a:lnTo>
                <a:lnTo>
                  <a:pt x="4782565" y="5534715"/>
                </a:lnTo>
                <a:cubicBezTo>
                  <a:pt x="4776473" y="5531188"/>
                  <a:pt x="4769419" y="5528623"/>
                  <a:pt x="4763007" y="5524775"/>
                </a:cubicBezTo>
                <a:cubicBezTo>
                  <a:pt x="4757877" y="5511951"/>
                  <a:pt x="4757877" y="5499126"/>
                  <a:pt x="4757877" y="5488866"/>
                </a:cubicBezTo>
                <a:cubicBezTo>
                  <a:pt x="4765572" y="5481172"/>
                  <a:pt x="4778397" y="5481172"/>
                  <a:pt x="4788656" y="5476042"/>
                </a:cubicBezTo>
                <a:cubicBezTo>
                  <a:pt x="4791221" y="5468347"/>
                  <a:pt x="4791221" y="5465783"/>
                  <a:pt x="4796351" y="5458088"/>
                </a:cubicBezTo>
                <a:cubicBezTo>
                  <a:pt x="4793786" y="5452958"/>
                  <a:pt x="4786091" y="5458088"/>
                  <a:pt x="4780962" y="5458088"/>
                </a:cubicBezTo>
                <a:cubicBezTo>
                  <a:pt x="4783526" y="5452958"/>
                  <a:pt x="4786091" y="5450393"/>
                  <a:pt x="4780962" y="5447828"/>
                </a:cubicBezTo>
                <a:cubicBezTo>
                  <a:pt x="4763007" y="5450393"/>
                  <a:pt x="4768137" y="5476042"/>
                  <a:pt x="4752748" y="5481172"/>
                </a:cubicBezTo>
                <a:cubicBezTo>
                  <a:pt x="4755313" y="5476042"/>
                  <a:pt x="4752748" y="5470912"/>
                  <a:pt x="4750183" y="5468347"/>
                </a:cubicBezTo>
                <a:cubicBezTo>
                  <a:pt x="4757877" y="5460653"/>
                  <a:pt x="4768137" y="5458088"/>
                  <a:pt x="4770702" y="5447828"/>
                </a:cubicBezTo>
                <a:cubicBezTo>
                  <a:pt x="4770702" y="5445263"/>
                  <a:pt x="4765572" y="5447828"/>
                  <a:pt x="4763007" y="5447828"/>
                </a:cubicBezTo>
                <a:cubicBezTo>
                  <a:pt x="4768137" y="5440134"/>
                  <a:pt x="4773267" y="5435004"/>
                  <a:pt x="4773267" y="5424744"/>
                </a:cubicBezTo>
                <a:cubicBezTo>
                  <a:pt x="4770702" y="5419614"/>
                  <a:pt x="4765572" y="5419614"/>
                  <a:pt x="4757877" y="5419614"/>
                </a:cubicBezTo>
                <a:cubicBezTo>
                  <a:pt x="4755313" y="5393965"/>
                  <a:pt x="4757877" y="5373446"/>
                  <a:pt x="4757877" y="5350362"/>
                </a:cubicBezTo>
                <a:cubicBezTo>
                  <a:pt x="4773267" y="5347797"/>
                  <a:pt x="4788656" y="5352927"/>
                  <a:pt x="4804046" y="5355492"/>
                </a:cubicBezTo>
                <a:cubicBezTo>
                  <a:pt x="4804046" y="5345233"/>
                  <a:pt x="4793786" y="5345233"/>
                  <a:pt x="4786091" y="5342668"/>
                </a:cubicBezTo>
                <a:cubicBezTo>
                  <a:pt x="4791221" y="5337538"/>
                  <a:pt x="4796351" y="5334973"/>
                  <a:pt x="4796351" y="5327278"/>
                </a:cubicBezTo>
                <a:cubicBezTo>
                  <a:pt x="4791221" y="5322148"/>
                  <a:pt x="4788656" y="5324713"/>
                  <a:pt x="4780962" y="5324713"/>
                </a:cubicBezTo>
                <a:cubicBezTo>
                  <a:pt x="4780962" y="5319584"/>
                  <a:pt x="4788656" y="5322148"/>
                  <a:pt x="4791221" y="5317019"/>
                </a:cubicBezTo>
                <a:cubicBezTo>
                  <a:pt x="4788656" y="5311889"/>
                  <a:pt x="4775832" y="5317019"/>
                  <a:pt x="4773267" y="5314454"/>
                </a:cubicBezTo>
                <a:cubicBezTo>
                  <a:pt x="4775832" y="5309324"/>
                  <a:pt x="4780962" y="5309324"/>
                  <a:pt x="4780962" y="5304194"/>
                </a:cubicBezTo>
                <a:cubicBezTo>
                  <a:pt x="4770702" y="5299064"/>
                  <a:pt x="4768137" y="5311889"/>
                  <a:pt x="4760442" y="5311889"/>
                </a:cubicBezTo>
                <a:cubicBezTo>
                  <a:pt x="4768137" y="5301629"/>
                  <a:pt x="4763007" y="5288805"/>
                  <a:pt x="4763007" y="5278545"/>
                </a:cubicBezTo>
                <a:cubicBezTo>
                  <a:pt x="4757877" y="5281110"/>
                  <a:pt x="4757877" y="5286240"/>
                  <a:pt x="4755313" y="5288805"/>
                </a:cubicBezTo>
                <a:cubicBezTo>
                  <a:pt x="4752748" y="5281110"/>
                  <a:pt x="4757877" y="5278545"/>
                  <a:pt x="4755313" y="5270851"/>
                </a:cubicBezTo>
                <a:cubicBezTo>
                  <a:pt x="4757877" y="5260591"/>
                  <a:pt x="4775832" y="5250331"/>
                  <a:pt x="4770702" y="5240072"/>
                </a:cubicBezTo>
                <a:cubicBezTo>
                  <a:pt x="4765572" y="5242637"/>
                  <a:pt x="4765572" y="5250331"/>
                  <a:pt x="4763007" y="5252896"/>
                </a:cubicBezTo>
                <a:cubicBezTo>
                  <a:pt x="4760442" y="5247767"/>
                  <a:pt x="4768137" y="5229812"/>
                  <a:pt x="4757877" y="5224682"/>
                </a:cubicBezTo>
                <a:cubicBezTo>
                  <a:pt x="4750183" y="5222118"/>
                  <a:pt x="4752748" y="5232377"/>
                  <a:pt x="4747618" y="5232377"/>
                </a:cubicBezTo>
                <a:cubicBezTo>
                  <a:pt x="4750183" y="5211858"/>
                  <a:pt x="4742488" y="5191339"/>
                  <a:pt x="4752748" y="5173385"/>
                </a:cubicBezTo>
                <a:cubicBezTo>
                  <a:pt x="4750183" y="5168255"/>
                  <a:pt x="4750183" y="5170820"/>
                  <a:pt x="4745053" y="5170820"/>
                </a:cubicBezTo>
                <a:cubicBezTo>
                  <a:pt x="4742488" y="5157995"/>
                  <a:pt x="4739923" y="5152866"/>
                  <a:pt x="4739923" y="5140041"/>
                </a:cubicBezTo>
                <a:cubicBezTo>
                  <a:pt x="4750183" y="5137476"/>
                  <a:pt x="4763007" y="5137476"/>
                  <a:pt x="4770702" y="5134911"/>
                </a:cubicBezTo>
                <a:cubicBezTo>
                  <a:pt x="4763007" y="5132346"/>
                  <a:pt x="4752748" y="5134911"/>
                  <a:pt x="4739923" y="5134911"/>
                </a:cubicBezTo>
                <a:cubicBezTo>
                  <a:pt x="4724534" y="5083613"/>
                  <a:pt x="4747618" y="5052835"/>
                  <a:pt x="4760442" y="5014361"/>
                </a:cubicBezTo>
                <a:cubicBezTo>
                  <a:pt x="4765572" y="5001537"/>
                  <a:pt x="4765572" y="4988712"/>
                  <a:pt x="4778397" y="4983583"/>
                </a:cubicBezTo>
                <a:cubicBezTo>
                  <a:pt x="4783526" y="4986148"/>
                  <a:pt x="4788656" y="4983583"/>
                  <a:pt x="4788656" y="4988712"/>
                </a:cubicBezTo>
                <a:cubicBezTo>
                  <a:pt x="4793786" y="4983583"/>
                  <a:pt x="4783526" y="4975888"/>
                  <a:pt x="4775832" y="4978453"/>
                </a:cubicBezTo>
                <a:cubicBezTo>
                  <a:pt x="4775832" y="4968193"/>
                  <a:pt x="4788656" y="4975888"/>
                  <a:pt x="4786091" y="4965628"/>
                </a:cubicBezTo>
                <a:cubicBezTo>
                  <a:pt x="4793786" y="4965628"/>
                  <a:pt x="4811740" y="4965628"/>
                  <a:pt x="4811740" y="4955369"/>
                </a:cubicBezTo>
                <a:cubicBezTo>
                  <a:pt x="4822000" y="4952804"/>
                  <a:pt x="4829694" y="4947674"/>
                  <a:pt x="4834824" y="4939980"/>
                </a:cubicBezTo>
                <a:cubicBezTo>
                  <a:pt x="4822000" y="4932285"/>
                  <a:pt x="4809175" y="4947674"/>
                  <a:pt x="4798916" y="4942544"/>
                </a:cubicBezTo>
                <a:cubicBezTo>
                  <a:pt x="4798916" y="4932285"/>
                  <a:pt x="4806611" y="4924590"/>
                  <a:pt x="4804046" y="4916895"/>
                </a:cubicBezTo>
                <a:cubicBezTo>
                  <a:pt x="4783526" y="4919460"/>
                  <a:pt x="4788656" y="4945109"/>
                  <a:pt x="4775832" y="4955369"/>
                </a:cubicBezTo>
                <a:cubicBezTo>
                  <a:pt x="4778397" y="4942544"/>
                  <a:pt x="4773267" y="4932285"/>
                  <a:pt x="4773267" y="4919460"/>
                </a:cubicBezTo>
                <a:cubicBezTo>
                  <a:pt x="4763007" y="4932285"/>
                  <a:pt x="4768137" y="4963063"/>
                  <a:pt x="4765572" y="4981018"/>
                </a:cubicBezTo>
                <a:cubicBezTo>
                  <a:pt x="4757877" y="4981018"/>
                  <a:pt x="4757877" y="4968193"/>
                  <a:pt x="4763007" y="4965628"/>
                </a:cubicBezTo>
                <a:cubicBezTo>
                  <a:pt x="4757877" y="4952804"/>
                  <a:pt x="4765572" y="4932285"/>
                  <a:pt x="4765572" y="4914331"/>
                </a:cubicBezTo>
                <a:cubicBezTo>
                  <a:pt x="4768137" y="4909201"/>
                  <a:pt x="4775832" y="4909201"/>
                  <a:pt x="4775832" y="4901506"/>
                </a:cubicBezTo>
                <a:cubicBezTo>
                  <a:pt x="4775832" y="4893811"/>
                  <a:pt x="4765572" y="4901506"/>
                  <a:pt x="4765572" y="4898941"/>
                </a:cubicBezTo>
                <a:cubicBezTo>
                  <a:pt x="4763007" y="4893811"/>
                  <a:pt x="4763007" y="4886117"/>
                  <a:pt x="4763007" y="4878422"/>
                </a:cubicBezTo>
                <a:cubicBezTo>
                  <a:pt x="4770702" y="4878422"/>
                  <a:pt x="4773267" y="4878422"/>
                  <a:pt x="4775832" y="4873292"/>
                </a:cubicBezTo>
                <a:cubicBezTo>
                  <a:pt x="4775832" y="4863033"/>
                  <a:pt x="4765572" y="4863033"/>
                  <a:pt x="4760442" y="4860468"/>
                </a:cubicBezTo>
                <a:cubicBezTo>
                  <a:pt x="4760442" y="4847643"/>
                  <a:pt x="4755313" y="4827124"/>
                  <a:pt x="4763007" y="4819430"/>
                </a:cubicBezTo>
                <a:cubicBezTo>
                  <a:pt x="4768137" y="4821994"/>
                  <a:pt x="4773267" y="4819430"/>
                  <a:pt x="4775832" y="4821994"/>
                </a:cubicBezTo>
                <a:cubicBezTo>
                  <a:pt x="4778397" y="4819430"/>
                  <a:pt x="4778397" y="4816865"/>
                  <a:pt x="4780962" y="4816865"/>
                </a:cubicBezTo>
                <a:cubicBezTo>
                  <a:pt x="4775832" y="4804040"/>
                  <a:pt x="4763007" y="4793781"/>
                  <a:pt x="4750183" y="4793781"/>
                </a:cubicBezTo>
                <a:cubicBezTo>
                  <a:pt x="4752748" y="4783521"/>
                  <a:pt x="4770702" y="4796345"/>
                  <a:pt x="4775832" y="4791216"/>
                </a:cubicBezTo>
                <a:cubicBezTo>
                  <a:pt x="4773267" y="4786086"/>
                  <a:pt x="4768137" y="4780956"/>
                  <a:pt x="4770702" y="4775826"/>
                </a:cubicBezTo>
                <a:cubicBezTo>
                  <a:pt x="4760442" y="4775826"/>
                  <a:pt x="4755313" y="4778391"/>
                  <a:pt x="4747618" y="4780956"/>
                </a:cubicBezTo>
                <a:cubicBezTo>
                  <a:pt x="4742488" y="4757872"/>
                  <a:pt x="4734793" y="4737353"/>
                  <a:pt x="4732228" y="4709139"/>
                </a:cubicBezTo>
                <a:cubicBezTo>
                  <a:pt x="4739923" y="4711704"/>
                  <a:pt x="4747618" y="4711704"/>
                  <a:pt x="4752748" y="4706574"/>
                </a:cubicBezTo>
                <a:cubicBezTo>
                  <a:pt x="4750183" y="4721964"/>
                  <a:pt x="4747618" y="4745048"/>
                  <a:pt x="4763007" y="4752742"/>
                </a:cubicBezTo>
                <a:cubicBezTo>
                  <a:pt x="4778397" y="4742483"/>
                  <a:pt x="4768137" y="4711704"/>
                  <a:pt x="4755313" y="4704009"/>
                </a:cubicBezTo>
                <a:cubicBezTo>
                  <a:pt x="4760442" y="4698879"/>
                  <a:pt x="4765572" y="4704009"/>
                  <a:pt x="4773267" y="4701444"/>
                </a:cubicBezTo>
                <a:cubicBezTo>
                  <a:pt x="4778397" y="4711704"/>
                  <a:pt x="4780962" y="4724528"/>
                  <a:pt x="4793786" y="4727093"/>
                </a:cubicBezTo>
                <a:cubicBezTo>
                  <a:pt x="4798916" y="4716834"/>
                  <a:pt x="4788656" y="4698879"/>
                  <a:pt x="4775832" y="4698879"/>
                </a:cubicBezTo>
                <a:cubicBezTo>
                  <a:pt x="4780962" y="4693750"/>
                  <a:pt x="4788656" y="4704009"/>
                  <a:pt x="4796351" y="4704009"/>
                </a:cubicBezTo>
                <a:cubicBezTo>
                  <a:pt x="4809175" y="4704009"/>
                  <a:pt x="4822000" y="4701444"/>
                  <a:pt x="4827130" y="4691185"/>
                </a:cubicBezTo>
                <a:cubicBezTo>
                  <a:pt x="4819435" y="4680925"/>
                  <a:pt x="4809175" y="4683490"/>
                  <a:pt x="4793786" y="4680925"/>
                </a:cubicBezTo>
                <a:cubicBezTo>
                  <a:pt x="4798916" y="4675795"/>
                  <a:pt x="4804046" y="4670666"/>
                  <a:pt x="4806611" y="4665536"/>
                </a:cubicBezTo>
                <a:cubicBezTo>
                  <a:pt x="4798916" y="4660406"/>
                  <a:pt x="4801481" y="4657841"/>
                  <a:pt x="4801481" y="4650147"/>
                </a:cubicBezTo>
                <a:cubicBezTo>
                  <a:pt x="4788656" y="4650147"/>
                  <a:pt x="4775832" y="4657841"/>
                  <a:pt x="4768137" y="4665536"/>
                </a:cubicBezTo>
                <a:cubicBezTo>
                  <a:pt x="4765572" y="4662971"/>
                  <a:pt x="4763007" y="4657841"/>
                  <a:pt x="4760442" y="4655276"/>
                </a:cubicBezTo>
                <a:cubicBezTo>
                  <a:pt x="4747618" y="4657841"/>
                  <a:pt x="4752748" y="4673230"/>
                  <a:pt x="4755313" y="4680925"/>
                </a:cubicBezTo>
                <a:cubicBezTo>
                  <a:pt x="4750183" y="4680925"/>
                  <a:pt x="4750183" y="4686055"/>
                  <a:pt x="4747618" y="4680925"/>
                </a:cubicBezTo>
                <a:cubicBezTo>
                  <a:pt x="4742488" y="4680925"/>
                  <a:pt x="4747618" y="4688620"/>
                  <a:pt x="4742488" y="4688620"/>
                </a:cubicBezTo>
                <a:cubicBezTo>
                  <a:pt x="4737359" y="4688620"/>
                  <a:pt x="4734793" y="4686055"/>
                  <a:pt x="4732228" y="4686055"/>
                </a:cubicBezTo>
                <a:cubicBezTo>
                  <a:pt x="4734793" y="4673230"/>
                  <a:pt x="4719404" y="4665536"/>
                  <a:pt x="4714274" y="4665536"/>
                </a:cubicBezTo>
                <a:cubicBezTo>
                  <a:pt x="4716839" y="4652712"/>
                  <a:pt x="4724534" y="4639887"/>
                  <a:pt x="4721969" y="4627063"/>
                </a:cubicBezTo>
                <a:cubicBezTo>
                  <a:pt x="4714274" y="4627063"/>
                  <a:pt x="4714274" y="4634757"/>
                  <a:pt x="4709145" y="4632192"/>
                </a:cubicBezTo>
                <a:cubicBezTo>
                  <a:pt x="4701450" y="4591154"/>
                  <a:pt x="4691190" y="4552681"/>
                  <a:pt x="4680931" y="4514207"/>
                </a:cubicBezTo>
                <a:cubicBezTo>
                  <a:pt x="4696320" y="4516772"/>
                  <a:pt x="4709145" y="4509077"/>
                  <a:pt x="4716839" y="4501383"/>
                </a:cubicBezTo>
                <a:cubicBezTo>
                  <a:pt x="4716839" y="4480863"/>
                  <a:pt x="4696320" y="4478299"/>
                  <a:pt x="4678366" y="4480863"/>
                </a:cubicBezTo>
                <a:cubicBezTo>
                  <a:pt x="4675801" y="4462909"/>
                  <a:pt x="4683496" y="4450085"/>
                  <a:pt x="4696320" y="4447520"/>
                </a:cubicBezTo>
                <a:cubicBezTo>
                  <a:pt x="4696320" y="4439825"/>
                  <a:pt x="4688625" y="4444955"/>
                  <a:pt x="4688625" y="4439825"/>
                </a:cubicBezTo>
                <a:cubicBezTo>
                  <a:pt x="4706579" y="4416741"/>
                  <a:pt x="4739923" y="4444955"/>
                  <a:pt x="4755313" y="4419306"/>
                </a:cubicBezTo>
                <a:cubicBezTo>
                  <a:pt x="4747618" y="4401352"/>
                  <a:pt x="4721969" y="4419306"/>
                  <a:pt x="4709145" y="4414176"/>
                </a:cubicBezTo>
                <a:cubicBezTo>
                  <a:pt x="4716839" y="4401352"/>
                  <a:pt x="4739923" y="4403917"/>
                  <a:pt x="4750183" y="4396222"/>
                </a:cubicBezTo>
                <a:cubicBezTo>
                  <a:pt x="4742488" y="4391092"/>
                  <a:pt x="4732228" y="4396222"/>
                  <a:pt x="4721969" y="4398787"/>
                </a:cubicBezTo>
                <a:cubicBezTo>
                  <a:pt x="4729664" y="4391092"/>
                  <a:pt x="4739923" y="4383398"/>
                  <a:pt x="4737359" y="4370573"/>
                </a:cubicBezTo>
                <a:cubicBezTo>
                  <a:pt x="4724534" y="4370573"/>
                  <a:pt x="4724534" y="4385963"/>
                  <a:pt x="4711710" y="4383398"/>
                </a:cubicBezTo>
                <a:cubicBezTo>
                  <a:pt x="4704015" y="4388528"/>
                  <a:pt x="4706579" y="4401352"/>
                  <a:pt x="4698885" y="4406482"/>
                </a:cubicBezTo>
                <a:cubicBezTo>
                  <a:pt x="4688625" y="4396222"/>
                  <a:pt x="4696320" y="4383398"/>
                  <a:pt x="4701450" y="4370573"/>
                </a:cubicBezTo>
                <a:cubicBezTo>
                  <a:pt x="4709145" y="4352619"/>
                  <a:pt x="4709145" y="4337230"/>
                  <a:pt x="4719404" y="4326970"/>
                </a:cubicBezTo>
                <a:cubicBezTo>
                  <a:pt x="4698885" y="4329535"/>
                  <a:pt x="4698885" y="4360314"/>
                  <a:pt x="4691190" y="4375703"/>
                </a:cubicBezTo>
                <a:cubicBezTo>
                  <a:pt x="4686061" y="4373138"/>
                  <a:pt x="4688625" y="4365443"/>
                  <a:pt x="4688625" y="4360314"/>
                </a:cubicBezTo>
                <a:cubicBezTo>
                  <a:pt x="4680931" y="4375703"/>
                  <a:pt x="4678366" y="4398787"/>
                  <a:pt x="4668106" y="4411611"/>
                </a:cubicBezTo>
                <a:cubicBezTo>
                  <a:pt x="4665541" y="4398787"/>
                  <a:pt x="4665541" y="4383398"/>
                  <a:pt x="4662976" y="4373138"/>
                </a:cubicBezTo>
                <a:cubicBezTo>
                  <a:pt x="4660412" y="4365443"/>
                  <a:pt x="4657847" y="4357749"/>
                  <a:pt x="4655282" y="4350054"/>
                </a:cubicBezTo>
                <a:cubicBezTo>
                  <a:pt x="4652717" y="4337230"/>
                  <a:pt x="4655282" y="4324405"/>
                  <a:pt x="4652717" y="4311581"/>
                </a:cubicBezTo>
                <a:cubicBezTo>
                  <a:pt x="4647587" y="4278237"/>
                  <a:pt x="4637327" y="4244893"/>
                  <a:pt x="4650152" y="4221810"/>
                </a:cubicBezTo>
                <a:cubicBezTo>
                  <a:pt x="4650152" y="4216680"/>
                  <a:pt x="4645022" y="4219244"/>
                  <a:pt x="4642457" y="4216680"/>
                </a:cubicBezTo>
                <a:cubicBezTo>
                  <a:pt x="4642457" y="4196161"/>
                  <a:pt x="4629633" y="4183336"/>
                  <a:pt x="4634763" y="4165382"/>
                </a:cubicBezTo>
                <a:cubicBezTo>
                  <a:pt x="4645022" y="4165382"/>
                  <a:pt x="4655282" y="4167947"/>
                  <a:pt x="4660412" y="4160252"/>
                </a:cubicBezTo>
                <a:cubicBezTo>
                  <a:pt x="4650152" y="4155122"/>
                  <a:pt x="4642457" y="4157687"/>
                  <a:pt x="4634763" y="4162817"/>
                </a:cubicBezTo>
                <a:cubicBezTo>
                  <a:pt x="4639893" y="4152557"/>
                  <a:pt x="4657847" y="4147427"/>
                  <a:pt x="4655282" y="4134603"/>
                </a:cubicBezTo>
                <a:cubicBezTo>
                  <a:pt x="4645022" y="4137168"/>
                  <a:pt x="4642457" y="4147427"/>
                  <a:pt x="4637327" y="4147427"/>
                </a:cubicBezTo>
                <a:cubicBezTo>
                  <a:pt x="4632198" y="4139733"/>
                  <a:pt x="4632198" y="4129473"/>
                  <a:pt x="4624503" y="4124343"/>
                </a:cubicBezTo>
                <a:cubicBezTo>
                  <a:pt x="4616808" y="4134603"/>
                  <a:pt x="4627068" y="4142298"/>
                  <a:pt x="4624503" y="4155122"/>
                </a:cubicBezTo>
                <a:cubicBezTo>
                  <a:pt x="4619373" y="4152557"/>
                  <a:pt x="4619373" y="4147427"/>
                  <a:pt x="4611679" y="4147427"/>
                </a:cubicBezTo>
                <a:cubicBezTo>
                  <a:pt x="4606549" y="4147427"/>
                  <a:pt x="4609114" y="4152557"/>
                  <a:pt x="4606549" y="4152557"/>
                </a:cubicBezTo>
                <a:cubicBezTo>
                  <a:pt x="4609114" y="4157687"/>
                  <a:pt x="4614244" y="4160252"/>
                  <a:pt x="4621938" y="4160252"/>
                </a:cubicBezTo>
                <a:cubicBezTo>
                  <a:pt x="4619373" y="4165382"/>
                  <a:pt x="4624503" y="4170512"/>
                  <a:pt x="4619373" y="4178206"/>
                </a:cubicBezTo>
                <a:cubicBezTo>
                  <a:pt x="4632198" y="4191031"/>
                  <a:pt x="4632198" y="4216680"/>
                  <a:pt x="4634763" y="4237199"/>
                </a:cubicBezTo>
                <a:cubicBezTo>
                  <a:pt x="4634763" y="4244893"/>
                  <a:pt x="4632198" y="4234634"/>
                  <a:pt x="4627068" y="4237199"/>
                </a:cubicBezTo>
                <a:cubicBezTo>
                  <a:pt x="4624503" y="4247458"/>
                  <a:pt x="4632198" y="4250023"/>
                  <a:pt x="4634763" y="4255153"/>
                </a:cubicBezTo>
                <a:cubicBezTo>
                  <a:pt x="4642457" y="4283367"/>
                  <a:pt x="4642457" y="4316710"/>
                  <a:pt x="4645022" y="4347489"/>
                </a:cubicBezTo>
                <a:cubicBezTo>
                  <a:pt x="4647587" y="4360314"/>
                  <a:pt x="4655282" y="4370573"/>
                  <a:pt x="4655282" y="4380833"/>
                </a:cubicBezTo>
                <a:cubicBezTo>
                  <a:pt x="4652717" y="4388528"/>
                  <a:pt x="4647587" y="4393657"/>
                  <a:pt x="4645022" y="4398787"/>
                </a:cubicBezTo>
                <a:cubicBezTo>
                  <a:pt x="4639893" y="4406482"/>
                  <a:pt x="4642457" y="4409047"/>
                  <a:pt x="4637327" y="4414176"/>
                </a:cubicBezTo>
                <a:cubicBezTo>
                  <a:pt x="4629633" y="4416741"/>
                  <a:pt x="4624503" y="4409047"/>
                  <a:pt x="4619373" y="4409047"/>
                </a:cubicBezTo>
                <a:cubicBezTo>
                  <a:pt x="4603984" y="4411611"/>
                  <a:pt x="4591159" y="4427001"/>
                  <a:pt x="4586030" y="4437260"/>
                </a:cubicBezTo>
                <a:cubicBezTo>
                  <a:pt x="4580900" y="4437260"/>
                  <a:pt x="4578335" y="4434696"/>
                  <a:pt x="4575770" y="4432131"/>
                </a:cubicBezTo>
                <a:cubicBezTo>
                  <a:pt x="4562946" y="4444955"/>
                  <a:pt x="4588595" y="4457780"/>
                  <a:pt x="4583465" y="4470604"/>
                </a:cubicBezTo>
                <a:cubicBezTo>
                  <a:pt x="4588595" y="4473169"/>
                  <a:pt x="4588595" y="4478299"/>
                  <a:pt x="4593724" y="4478299"/>
                </a:cubicBezTo>
                <a:cubicBezTo>
                  <a:pt x="4591159" y="4480863"/>
                  <a:pt x="4591159" y="4485994"/>
                  <a:pt x="4588595" y="4488558"/>
                </a:cubicBezTo>
                <a:cubicBezTo>
                  <a:pt x="4573205" y="4473169"/>
                  <a:pt x="4519343" y="4447520"/>
                  <a:pt x="4501388" y="4478299"/>
                </a:cubicBezTo>
                <a:cubicBezTo>
                  <a:pt x="4511648" y="4503948"/>
                  <a:pt x="4565510" y="4509077"/>
                  <a:pt x="4588595" y="4498818"/>
                </a:cubicBezTo>
                <a:cubicBezTo>
                  <a:pt x="4588595" y="4503948"/>
                  <a:pt x="4583465" y="4503948"/>
                  <a:pt x="4583465" y="4506512"/>
                </a:cubicBezTo>
                <a:cubicBezTo>
                  <a:pt x="4583465" y="4514207"/>
                  <a:pt x="4593724" y="4514207"/>
                  <a:pt x="4598854" y="4516772"/>
                </a:cubicBezTo>
                <a:cubicBezTo>
                  <a:pt x="4588595" y="4562940"/>
                  <a:pt x="4568075" y="4593719"/>
                  <a:pt x="4550121" y="4632192"/>
                </a:cubicBezTo>
                <a:cubicBezTo>
                  <a:pt x="4544992" y="4632192"/>
                  <a:pt x="4547556" y="4624498"/>
                  <a:pt x="4539861" y="4627063"/>
                </a:cubicBezTo>
                <a:cubicBezTo>
                  <a:pt x="4537297" y="4627063"/>
                  <a:pt x="4537297" y="4629627"/>
                  <a:pt x="4534732" y="4629627"/>
                </a:cubicBezTo>
                <a:cubicBezTo>
                  <a:pt x="4534732" y="4637322"/>
                  <a:pt x="4537297" y="4639887"/>
                  <a:pt x="4539861" y="4642452"/>
                </a:cubicBezTo>
                <a:cubicBezTo>
                  <a:pt x="4529602" y="4698879"/>
                  <a:pt x="4514213" y="4747613"/>
                  <a:pt x="4496258" y="4796345"/>
                </a:cubicBezTo>
                <a:cubicBezTo>
                  <a:pt x="4491129" y="4798910"/>
                  <a:pt x="4488564" y="4801475"/>
                  <a:pt x="4485999" y="4804040"/>
                </a:cubicBezTo>
                <a:cubicBezTo>
                  <a:pt x="4483434" y="4837384"/>
                  <a:pt x="4475739" y="4878422"/>
                  <a:pt x="4462915" y="4909201"/>
                </a:cubicBezTo>
                <a:cubicBezTo>
                  <a:pt x="4457785" y="4911766"/>
                  <a:pt x="4457785" y="4906636"/>
                  <a:pt x="4452655" y="4906636"/>
                </a:cubicBezTo>
                <a:cubicBezTo>
                  <a:pt x="4452655" y="4914331"/>
                  <a:pt x="4460350" y="4922025"/>
                  <a:pt x="4457785" y="4932285"/>
                </a:cubicBezTo>
                <a:cubicBezTo>
                  <a:pt x="4429571" y="4942544"/>
                  <a:pt x="4414182" y="4965628"/>
                  <a:pt x="4406487" y="4993842"/>
                </a:cubicBezTo>
                <a:cubicBezTo>
                  <a:pt x="4398792" y="4993842"/>
                  <a:pt x="4393663" y="4998972"/>
                  <a:pt x="4385968" y="5001537"/>
                </a:cubicBezTo>
                <a:cubicBezTo>
                  <a:pt x="4383403" y="5001537"/>
                  <a:pt x="4380838" y="4998972"/>
                  <a:pt x="4378273" y="4998972"/>
                </a:cubicBezTo>
                <a:cubicBezTo>
                  <a:pt x="4370579" y="5001537"/>
                  <a:pt x="4368014" y="5009232"/>
                  <a:pt x="4360319" y="4998972"/>
                </a:cubicBezTo>
                <a:cubicBezTo>
                  <a:pt x="4360319" y="4991277"/>
                  <a:pt x="4365449" y="4991277"/>
                  <a:pt x="4368014" y="4988712"/>
                </a:cubicBezTo>
                <a:cubicBezTo>
                  <a:pt x="4365449" y="4983583"/>
                  <a:pt x="4368014" y="4978453"/>
                  <a:pt x="4362884" y="4975888"/>
                </a:cubicBezTo>
                <a:cubicBezTo>
                  <a:pt x="4378273" y="4952804"/>
                  <a:pt x="4421877" y="4932285"/>
                  <a:pt x="4419312" y="4898941"/>
                </a:cubicBezTo>
                <a:cubicBezTo>
                  <a:pt x="4398792" y="4904071"/>
                  <a:pt x="4385968" y="4924590"/>
                  <a:pt x="4373143" y="4929720"/>
                </a:cubicBezTo>
                <a:cubicBezTo>
                  <a:pt x="4378273" y="4911766"/>
                  <a:pt x="4373143" y="4845079"/>
                  <a:pt x="4350060" y="4845079"/>
                </a:cubicBezTo>
                <a:cubicBezTo>
                  <a:pt x="4332105" y="4847643"/>
                  <a:pt x="4329540" y="4898941"/>
                  <a:pt x="4329540" y="4924590"/>
                </a:cubicBezTo>
                <a:cubicBezTo>
                  <a:pt x="4321846" y="4919460"/>
                  <a:pt x="4321846" y="4906636"/>
                  <a:pt x="4309021" y="4906636"/>
                </a:cubicBezTo>
                <a:cubicBezTo>
                  <a:pt x="4303891" y="4911766"/>
                  <a:pt x="4306456" y="4919460"/>
                  <a:pt x="4306456" y="4924590"/>
                </a:cubicBezTo>
                <a:cubicBezTo>
                  <a:pt x="4291067" y="4914331"/>
                  <a:pt x="4275678" y="4901506"/>
                  <a:pt x="4252594" y="4896376"/>
                </a:cubicBezTo>
                <a:cubicBezTo>
                  <a:pt x="4250029" y="4896376"/>
                  <a:pt x="4250029" y="4898941"/>
                  <a:pt x="4247464" y="4898941"/>
                </a:cubicBezTo>
                <a:cubicBezTo>
                  <a:pt x="4260288" y="4937414"/>
                  <a:pt x="4296197" y="4950239"/>
                  <a:pt x="4321846" y="4973323"/>
                </a:cubicBezTo>
                <a:cubicBezTo>
                  <a:pt x="4324411" y="4975888"/>
                  <a:pt x="4316716" y="4978453"/>
                  <a:pt x="4321846" y="4981018"/>
                </a:cubicBezTo>
                <a:cubicBezTo>
                  <a:pt x="4324411" y="4983583"/>
                  <a:pt x="4329540" y="4983583"/>
                  <a:pt x="4334670" y="4983583"/>
                </a:cubicBezTo>
                <a:cubicBezTo>
                  <a:pt x="4332105" y="4986148"/>
                  <a:pt x="4326976" y="4986148"/>
                  <a:pt x="4321846" y="4986148"/>
                </a:cubicBezTo>
                <a:cubicBezTo>
                  <a:pt x="4321846" y="4991277"/>
                  <a:pt x="4321846" y="4993842"/>
                  <a:pt x="4324411" y="4993842"/>
                </a:cubicBezTo>
                <a:cubicBezTo>
                  <a:pt x="4311586" y="4988712"/>
                  <a:pt x="4303891" y="4970758"/>
                  <a:pt x="4293632" y="4960499"/>
                </a:cubicBezTo>
                <a:cubicBezTo>
                  <a:pt x="4267983" y="4942544"/>
                  <a:pt x="4239769" y="4919460"/>
                  <a:pt x="4201296" y="4924590"/>
                </a:cubicBezTo>
                <a:cubicBezTo>
                  <a:pt x="4201296" y="4945109"/>
                  <a:pt x="4211555" y="4957934"/>
                  <a:pt x="4221815" y="4968193"/>
                </a:cubicBezTo>
                <a:cubicBezTo>
                  <a:pt x="4232074" y="4975888"/>
                  <a:pt x="4242334" y="4978453"/>
                  <a:pt x="4250029" y="4986148"/>
                </a:cubicBezTo>
                <a:cubicBezTo>
                  <a:pt x="4252594" y="4991277"/>
                  <a:pt x="4255159" y="4996407"/>
                  <a:pt x="4257723" y="4998972"/>
                </a:cubicBezTo>
                <a:cubicBezTo>
                  <a:pt x="4265418" y="5004102"/>
                  <a:pt x="4270548" y="5001537"/>
                  <a:pt x="4278242" y="5004102"/>
                </a:cubicBezTo>
                <a:cubicBezTo>
                  <a:pt x="4301327" y="5009232"/>
                  <a:pt x="4324411" y="5022056"/>
                  <a:pt x="4342365" y="5029751"/>
                </a:cubicBezTo>
                <a:cubicBezTo>
                  <a:pt x="4339800" y="5034880"/>
                  <a:pt x="4339800" y="5037446"/>
                  <a:pt x="4342365" y="5040010"/>
                </a:cubicBezTo>
                <a:cubicBezTo>
                  <a:pt x="4347494" y="5042575"/>
                  <a:pt x="4352625" y="5040010"/>
                  <a:pt x="4357754" y="5040010"/>
                </a:cubicBezTo>
                <a:cubicBezTo>
                  <a:pt x="4362884" y="5045140"/>
                  <a:pt x="4368014" y="5047705"/>
                  <a:pt x="4370579" y="5055400"/>
                </a:cubicBezTo>
                <a:cubicBezTo>
                  <a:pt x="4365449" y="5052835"/>
                  <a:pt x="4357754" y="5055400"/>
                  <a:pt x="4355189" y="5057964"/>
                </a:cubicBezTo>
                <a:cubicBezTo>
                  <a:pt x="4357754" y="5065659"/>
                  <a:pt x="4362884" y="5068224"/>
                  <a:pt x="4370579" y="5068224"/>
                </a:cubicBezTo>
                <a:cubicBezTo>
                  <a:pt x="4360319" y="5070789"/>
                  <a:pt x="4350060" y="5075919"/>
                  <a:pt x="4337235" y="5073354"/>
                </a:cubicBezTo>
                <a:cubicBezTo>
                  <a:pt x="4332105" y="5073354"/>
                  <a:pt x="4326976" y="5065659"/>
                  <a:pt x="4319281" y="5065659"/>
                </a:cubicBezTo>
                <a:cubicBezTo>
                  <a:pt x="4291067" y="5060529"/>
                  <a:pt x="4260288" y="5073354"/>
                  <a:pt x="4265418" y="5101568"/>
                </a:cubicBezTo>
                <a:cubicBezTo>
                  <a:pt x="4275678" y="5106698"/>
                  <a:pt x="4283372" y="5109262"/>
                  <a:pt x="4291067" y="5109262"/>
                </a:cubicBezTo>
                <a:cubicBezTo>
                  <a:pt x="4301327" y="5109262"/>
                  <a:pt x="4309021" y="5104132"/>
                  <a:pt x="4319281" y="5099003"/>
                </a:cubicBezTo>
                <a:cubicBezTo>
                  <a:pt x="4329540" y="5091308"/>
                  <a:pt x="4347494" y="5091308"/>
                  <a:pt x="4350060" y="5078484"/>
                </a:cubicBezTo>
                <a:cubicBezTo>
                  <a:pt x="4360319" y="5078484"/>
                  <a:pt x="4365449" y="5073354"/>
                  <a:pt x="4378273" y="5073354"/>
                </a:cubicBezTo>
                <a:cubicBezTo>
                  <a:pt x="4375708" y="5081049"/>
                  <a:pt x="4378273" y="5088743"/>
                  <a:pt x="4380838" y="5093873"/>
                </a:cubicBezTo>
                <a:cubicBezTo>
                  <a:pt x="4373143" y="5093873"/>
                  <a:pt x="4373143" y="5099003"/>
                  <a:pt x="4370579" y="5101568"/>
                </a:cubicBezTo>
                <a:cubicBezTo>
                  <a:pt x="4362884" y="5099003"/>
                  <a:pt x="4355189" y="5101568"/>
                  <a:pt x="4347494" y="5104132"/>
                </a:cubicBezTo>
                <a:cubicBezTo>
                  <a:pt x="4350060" y="5111827"/>
                  <a:pt x="4352625" y="5111827"/>
                  <a:pt x="4360319" y="5111827"/>
                </a:cubicBezTo>
                <a:cubicBezTo>
                  <a:pt x="4334670" y="5122087"/>
                  <a:pt x="4360319" y="5134911"/>
                  <a:pt x="4380838" y="5137476"/>
                </a:cubicBezTo>
                <a:cubicBezTo>
                  <a:pt x="4393663" y="5137476"/>
                  <a:pt x="4398792" y="5124652"/>
                  <a:pt x="4411617" y="5127217"/>
                </a:cubicBezTo>
                <a:cubicBezTo>
                  <a:pt x="4416747" y="5132346"/>
                  <a:pt x="4414182" y="5142606"/>
                  <a:pt x="4416747" y="5150301"/>
                </a:cubicBezTo>
                <a:cubicBezTo>
                  <a:pt x="4419312" y="5152866"/>
                  <a:pt x="4421877" y="5152866"/>
                  <a:pt x="4421877" y="5155430"/>
                </a:cubicBezTo>
                <a:cubicBezTo>
                  <a:pt x="4429571" y="5199033"/>
                  <a:pt x="4421877" y="5247767"/>
                  <a:pt x="4424441" y="5286240"/>
                </a:cubicBezTo>
                <a:cubicBezTo>
                  <a:pt x="4419312" y="5286240"/>
                  <a:pt x="4419312" y="5288805"/>
                  <a:pt x="4419312" y="5291370"/>
                </a:cubicBezTo>
                <a:cubicBezTo>
                  <a:pt x="4414182" y="5291370"/>
                  <a:pt x="4411617" y="5288805"/>
                  <a:pt x="4403922" y="5288805"/>
                </a:cubicBezTo>
                <a:cubicBezTo>
                  <a:pt x="4401357" y="5293935"/>
                  <a:pt x="4403922" y="5299064"/>
                  <a:pt x="4401357" y="5306759"/>
                </a:cubicBezTo>
                <a:cubicBezTo>
                  <a:pt x="4398792" y="5301629"/>
                  <a:pt x="4396228" y="5293935"/>
                  <a:pt x="4393663" y="5288805"/>
                </a:cubicBezTo>
                <a:cubicBezTo>
                  <a:pt x="4393663" y="5283675"/>
                  <a:pt x="4401357" y="5283675"/>
                  <a:pt x="4398792" y="5278545"/>
                </a:cubicBezTo>
                <a:cubicBezTo>
                  <a:pt x="4398792" y="5273416"/>
                  <a:pt x="4396228" y="5273416"/>
                  <a:pt x="4391098" y="5273416"/>
                </a:cubicBezTo>
                <a:cubicBezTo>
                  <a:pt x="4393663" y="5258026"/>
                  <a:pt x="4403922" y="5252896"/>
                  <a:pt x="4411617" y="5245202"/>
                </a:cubicBezTo>
                <a:cubicBezTo>
                  <a:pt x="4411617" y="5237507"/>
                  <a:pt x="4396228" y="5234942"/>
                  <a:pt x="4393663" y="5237507"/>
                </a:cubicBezTo>
                <a:cubicBezTo>
                  <a:pt x="4385968" y="5219553"/>
                  <a:pt x="4401357" y="5183644"/>
                  <a:pt x="4388533" y="5168255"/>
                </a:cubicBezTo>
                <a:cubicBezTo>
                  <a:pt x="4383403" y="5175950"/>
                  <a:pt x="4383403" y="5183644"/>
                  <a:pt x="4380838" y="5191339"/>
                </a:cubicBezTo>
                <a:cubicBezTo>
                  <a:pt x="4375708" y="5183644"/>
                  <a:pt x="4373143" y="5170820"/>
                  <a:pt x="4360319" y="5168255"/>
                </a:cubicBezTo>
                <a:cubicBezTo>
                  <a:pt x="4355189" y="5170820"/>
                  <a:pt x="4352625" y="5175950"/>
                  <a:pt x="4352625" y="5181079"/>
                </a:cubicBezTo>
                <a:cubicBezTo>
                  <a:pt x="4347494" y="5178515"/>
                  <a:pt x="4344930" y="5175950"/>
                  <a:pt x="4342365" y="5175950"/>
                </a:cubicBezTo>
                <a:cubicBezTo>
                  <a:pt x="4334670" y="5186209"/>
                  <a:pt x="4339800" y="5206728"/>
                  <a:pt x="4342365" y="5216988"/>
                </a:cubicBezTo>
                <a:cubicBezTo>
                  <a:pt x="4326976" y="5206728"/>
                  <a:pt x="4314151" y="5196469"/>
                  <a:pt x="4296197" y="5191339"/>
                </a:cubicBezTo>
                <a:cubicBezTo>
                  <a:pt x="4293632" y="5196469"/>
                  <a:pt x="4301327" y="5201598"/>
                  <a:pt x="4296197" y="5209293"/>
                </a:cubicBezTo>
                <a:cubicBezTo>
                  <a:pt x="4309021" y="5240072"/>
                  <a:pt x="4350060" y="5242637"/>
                  <a:pt x="4362884" y="5273416"/>
                </a:cubicBezTo>
                <a:cubicBezTo>
                  <a:pt x="4365449" y="5278545"/>
                  <a:pt x="4373143" y="5278545"/>
                  <a:pt x="4373143" y="5283675"/>
                </a:cubicBezTo>
                <a:cubicBezTo>
                  <a:pt x="4370579" y="5288805"/>
                  <a:pt x="4365449" y="5286240"/>
                  <a:pt x="4368014" y="5293935"/>
                </a:cubicBezTo>
                <a:cubicBezTo>
                  <a:pt x="4344930" y="5268286"/>
                  <a:pt x="4319281" y="5245202"/>
                  <a:pt x="4288502" y="5229812"/>
                </a:cubicBezTo>
                <a:cubicBezTo>
                  <a:pt x="4291067" y="5227247"/>
                  <a:pt x="4293632" y="5229812"/>
                  <a:pt x="4296197" y="5227247"/>
                </a:cubicBezTo>
                <a:cubicBezTo>
                  <a:pt x="4291067" y="5216988"/>
                  <a:pt x="4280807" y="5222118"/>
                  <a:pt x="4275678" y="5216988"/>
                </a:cubicBezTo>
                <a:cubicBezTo>
                  <a:pt x="4280807" y="5209293"/>
                  <a:pt x="4293632" y="5209293"/>
                  <a:pt x="4293632" y="5199033"/>
                </a:cubicBezTo>
                <a:cubicBezTo>
                  <a:pt x="4291067" y="5193904"/>
                  <a:pt x="4285937" y="5201598"/>
                  <a:pt x="4278242" y="5199033"/>
                </a:cubicBezTo>
                <a:cubicBezTo>
                  <a:pt x="4278242" y="5193904"/>
                  <a:pt x="4280807" y="5196469"/>
                  <a:pt x="4280807" y="5191339"/>
                </a:cubicBezTo>
                <a:cubicBezTo>
                  <a:pt x="4265418" y="5191339"/>
                  <a:pt x="4260288" y="5209293"/>
                  <a:pt x="4252594" y="5219553"/>
                </a:cubicBezTo>
                <a:cubicBezTo>
                  <a:pt x="4247464" y="5216988"/>
                  <a:pt x="4247464" y="5222118"/>
                  <a:pt x="4242334" y="5224682"/>
                </a:cubicBezTo>
                <a:cubicBezTo>
                  <a:pt x="4234639" y="5178515"/>
                  <a:pt x="4250029" y="5145171"/>
                  <a:pt x="4239769" y="5104132"/>
                </a:cubicBezTo>
                <a:lnTo>
                  <a:pt x="4250029" y="5104132"/>
                </a:lnTo>
                <a:cubicBezTo>
                  <a:pt x="4252594" y="5101568"/>
                  <a:pt x="4250029" y="5096438"/>
                  <a:pt x="4247464" y="5096438"/>
                </a:cubicBezTo>
                <a:cubicBezTo>
                  <a:pt x="4247464" y="5091308"/>
                  <a:pt x="4255159" y="5091308"/>
                  <a:pt x="4255159" y="5086178"/>
                </a:cubicBezTo>
                <a:cubicBezTo>
                  <a:pt x="4252594" y="5081049"/>
                  <a:pt x="4247464" y="5086178"/>
                  <a:pt x="4247464" y="5078484"/>
                </a:cubicBezTo>
                <a:cubicBezTo>
                  <a:pt x="4242334" y="5081049"/>
                  <a:pt x="4239769" y="5083613"/>
                  <a:pt x="4239769" y="5088743"/>
                </a:cubicBezTo>
                <a:cubicBezTo>
                  <a:pt x="4234639" y="5088743"/>
                  <a:pt x="4237204" y="5083613"/>
                  <a:pt x="4232074" y="5086178"/>
                </a:cubicBezTo>
                <a:cubicBezTo>
                  <a:pt x="4229510" y="5093873"/>
                  <a:pt x="4234639" y="5099003"/>
                  <a:pt x="4226945" y="5104132"/>
                </a:cubicBezTo>
                <a:cubicBezTo>
                  <a:pt x="4226945" y="5109262"/>
                  <a:pt x="4232074" y="5109262"/>
                  <a:pt x="4232074" y="5111827"/>
                </a:cubicBezTo>
                <a:cubicBezTo>
                  <a:pt x="4234639" y="5116957"/>
                  <a:pt x="4234639" y="5124652"/>
                  <a:pt x="4237204" y="5127217"/>
                </a:cubicBezTo>
                <a:cubicBezTo>
                  <a:pt x="4229510" y="5142606"/>
                  <a:pt x="4237204" y="5165690"/>
                  <a:pt x="4229510" y="5175950"/>
                </a:cubicBezTo>
                <a:cubicBezTo>
                  <a:pt x="4221815" y="5175950"/>
                  <a:pt x="4224380" y="5168255"/>
                  <a:pt x="4219250" y="5168255"/>
                </a:cubicBezTo>
                <a:cubicBezTo>
                  <a:pt x="4208990" y="5168255"/>
                  <a:pt x="4221815" y="5186209"/>
                  <a:pt x="4216685" y="5191339"/>
                </a:cubicBezTo>
                <a:cubicBezTo>
                  <a:pt x="4221815" y="5199033"/>
                  <a:pt x="4226945" y="5204164"/>
                  <a:pt x="4232074" y="5209293"/>
                </a:cubicBezTo>
                <a:cubicBezTo>
                  <a:pt x="4233356" y="5219553"/>
                  <a:pt x="4234639" y="5227248"/>
                  <a:pt x="4235280" y="5234301"/>
                </a:cubicBezTo>
                <a:lnTo>
                  <a:pt x="4234904" y="5246725"/>
                </a:lnTo>
                <a:lnTo>
                  <a:pt x="4250349" y="5241034"/>
                </a:lnTo>
                <a:cubicBezTo>
                  <a:pt x="4257082" y="5239431"/>
                  <a:pt x="4264135" y="5238790"/>
                  <a:pt x="4270547" y="5240072"/>
                </a:cubicBezTo>
                <a:cubicBezTo>
                  <a:pt x="4296196" y="5278545"/>
                  <a:pt x="4339800" y="5296500"/>
                  <a:pt x="4375708" y="5324714"/>
                </a:cubicBezTo>
                <a:cubicBezTo>
                  <a:pt x="4355189" y="5322148"/>
                  <a:pt x="4347494" y="5342669"/>
                  <a:pt x="4337235" y="5352928"/>
                </a:cubicBezTo>
                <a:cubicBezTo>
                  <a:pt x="4355189" y="5363188"/>
                  <a:pt x="4352624" y="5334974"/>
                  <a:pt x="4370578" y="5332409"/>
                </a:cubicBezTo>
                <a:cubicBezTo>
                  <a:pt x="4380838" y="5332409"/>
                  <a:pt x="4393662" y="5342669"/>
                  <a:pt x="4398792" y="5350363"/>
                </a:cubicBezTo>
                <a:cubicBezTo>
                  <a:pt x="4398792" y="5352928"/>
                  <a:pt x="4398792" y="5355493"/>
                  <a:pt x="4398792" y="5358058"/>
                </a:cubicBezTo>
                <a:cubicBezTo>
                  <a:pt x="4401357" y="5363188"/>
                  <a:pt x="4406487" y="5368318"/>
                  <a:pt x="4409052" y="5376012"/>
                </a:cubicBezTo>
                <a:cubicBezTo>
                  <a:pt x="4414181" y="5401661"/>
                  <a:pt x="4411616" y="5429875"/>
                  <a:pt x="4414181" y="5452959"/>
                </a:cubicBezTo>
                <a:cubicBezTo>
                  <a:pt x="4414181" y="5458089"/>
                  <a:pt x="4406487" y="5458089"/>
                  <a:pt x="4409052" y="5463219"/>
                </a:cubicBezTo>
                <a:cubicBezTo>
                  <a:pt x="4409052" y="5468348"/>
                  <a:pt x="4414181" y="5470913"/>
                  <a:pt x="4416746" y="5473478"/>
                </a:cubicBezTo>
                <a:cubicBezTo>
                  <a:pt x="4416746" y="5499127"/>
                  <a:pt x="4427006" y="5522211"/>
                  <a:pt x="4421876" y="5542730"/>
                </a:cubicBezTo>
                <a:cubicBezTo>
                  <a:pt x="4432136" y="5555555"/>
                  <a:pt x="4427006" y="5583768"/>
                  <a:pt x="4432136" y="5601723"/>
                </a:cubicBezTo>
                <a:cubicBezTo>
                  <a:pt x="4427006" y="5596593"/>
                  <a:pt x="4421876" y="5594028"/>
                  <a:pt x="4414181" y="5596593"/>
                </a:cubicBezTo>
                <a:cubicBezTo>
                  <a:pt x="4414181" y="5591463"/>
                  <a:pt x="4411616" y="5588899"/>
                  <a:pt x="4406487" y="5588899"/>
                </a:cubicBezTo>
                <a:cubicBezTo>
                  <a:pt x="4411616" y="5576074"/>
                  <a:pt x="4424441" y="5568379"/>
                  <a:pt x="4419311" y="5552990"/>
                </a:cubicBezTo>
                <a:cubicBezTo>
                  <a:pt x="4406487" y="5558120"/>
                  <a:pt x="4403922" y="5576074"/>
                  <a:pt x="4391097" y="5581204"/>
                </a:cubicBezTo>
                <a:cubicBezTo>
                  <a:pt x="4396227" y="5573509"/>
                  <a:pt x="4396227" y="5560685"/>
                  <a:pt x="4393662" y="5552990"/>
                </a:cubicBezTo>
                <a:cubicBezTo>
                  <a:pt x="4380838" y="5555555"/>
                  <a:pt x="4380838" y="5565814"/>
                  <a:pt x="4380838" y="5578639"/>
                </a:cubicBezTo>
                <a:cubicBezTo>
                  <a:pt x="4375708" y="5586334"/>
                  <a:pt x="4373143" y="5594028"/>
                  <a:pt x="4375708" y="5601723"/>
                </a:cubicBezTo>
                <a:cubicBezTo>
                  <a:pt x="4368013" y="5604288"/>
                  <a:pt x="4368013" y="5611982"/>
                  <a:pt x="4360318" y="5614547"/>
                </a:cubicBezTo>
                <a:cubicBezTo>
                  <a:pt x="4357754" y="5604288"/>
                  <a:pt x="4355189" y="5583768"/>
                  <a:pt x="4360318" y="5573509"/>
                </a:cubicBezTo>
                <a:cubicBezTo>
                  <a:pt x="4350059" y="5550425"/>
                  <a:pt x="4355189" y="5532471"/>
                  <a:pt x="4355189" y="5506822"/>
                </a:cubicBezTo>
                <a:cubicBezTo>
                  <a:pt x="4373143" y="5509387"/>
                  <a:pt x="4375708" y="5488868"/>
                  <a:pt x="4370578" y="5478608"/>
                </a:cubicBezTo>
                <a:cubicBezTo>
                  <a:pt x="4362883" y="5476043"/>
                  <a:pt x="4360318" y="5486303"/>
                  <a:pt x="4350059" y="5483738"/>
                </a:cubicBezTo>
                <a:cubicBezTo>
                  <a:pt x="4350059" y="5460654"/>
                  <a:pt x="4355189" y="5429875"/>
                  <a:pt x="4355189" y="5411921"/>
                </a:cubicBezTo>
                <a:cubicBezTo>
                  <a:pt x="4350059" y="5424745"/>
                  <a:pt x="4342364" y="5435005"/>
                  <a:pt x="4329540" y="5440135"/>
                </a:cubicBezTo>
                <a:cubicBezTo>
                  <a:pt x="4321845" y="5435005"/>
                  <a:pt x="4319280" y="5422181"/>
                  <a:pt x="4309021" y="5419615"/>
                </a:cubicBezTo>
                <a:cubicBezTo>
                  <a:pt x="4303891" y="5419615"/>
                  <a:pt x="4306456" y="5424745"/>
                  <a:pt x="4303891" y="5424745"/>
                </a:cubicBezTo>
                <a:cubicBezTo>
                  <a:pt x="4306456" y="5440135"/>
                  <a:pt x="4319280" y="5442699"/>
                  <a:pt x="4324410" y="5455524"/>
                </a:cubicBezTo>
                <a:cubicBezTo>
                  <a:pt x="4316715" y="5452959"/>
                  <a:pt x="4303891" y="5450394"/>
                  <a:pt x="4301326" y="5460654"/>
                </a:cubicBezTo>
                <a:cubicBezTo>
                  <a:pt x="4303891" y="5473478"/>
                  <a:pt x="4324410" y="5463219"/>
                  <a:pt x="4332105" y="5468348"/>
                </a:cubicBezTo>
                <a:cubicBezTo>
                  <a:pt x="4334670" y="5478608"/>
                  <a:pt x="4339800" y="5491433"/>
                  <a:pt x="4344929" y="5499127"/>
                </a:cubicBezTo>
                <a:cubicBezTo>
                  <a:pt x="4342364" y="5504257"/>
                  <a:pt x="4337235" y="5501692"/>
                  <a:pt x="4334670" y="5506822"/>
                </a:cubicBezTo>
                <a:cubicBezTo>
                  <a:pt x="4337235" y="5509387"/>
                  <a:pt x="4342364" y="5509387"/>
                  <a:pt x="4347494" y="5509387"/>
                </a:cubicBezTo>
                <a:cubicBezTo>
                  <a:pt x="4350059" y="5545295"/>
                  <a:pt x="4352624" y="5599158"/>
                  <a:pt x="4352624" y="5647891"/>
                </a:cubicBezTo>
                <a:cubicBezTo>
                  <a:pt x="4342364" y="5637631"/>
                  <a:pt x="4352624" y="5614547"/>
                  <a:pt x="4334670" y="5609417"/>
                </a:cubicBezTo>
                <a:cubicBezTo>
                  <a:pt x="4329540" y="5591463"/>
                  <a:pt x="4316715" y="5568379"/>
                  <a:pt x="4316715" y="5552990"/>
                </a:cubicBezTo>
                <a:cubicBezTo>
                  <a:pt x="4296196" y="5524776"/>
                  <a:pt x="4285937" y="5491433"/>
                  <a:pt x="4273112" y="5460654"/>
                </a:cubicBezTo>
                <a:cubicBezTo>
                  <a:pt x="4273112" y="5455524"/>
                  <a:pt x="4275677" y="5455524"/>
                  <a:pt x="4275677" y="5450394"/>
                </a:cubicBezTo>
                <a:cubicBezTo>
                  <a:pt x="4275677" y="5447829"/>
                  <a:pt x="4267983" y="5450394"/>
                  <a:pt x="4267983" y="5447829"/>
                </a:cubicBezTo>
                <a:cubicBezTo>
                  <a:pt x="4255158" y="5435005"/>
                  <a:pt x="4255158" y="5419615"/>
                  <a:pt x="4252593" y="5401661"/>
                </a:cubicBezTo>
                <a:lnTo>
                  <a:pt x="4248986" y="5386975"/>
                </a:lnTo>
                <a:lnTo>
                  <a:pt x="4247464" y="5388836"/>
                </a:lnTo>
                <a:cubicBezTo>
                  <a:pt x="4239769" y="5376011"/>
                  <a:pt x="4224380" y="5352927"/>
                  <a:pt x="4237204" y="5340103"/>
                </a:cubicBezTo>
                <a:cubicBezTo>
                  <a:pt x="4234639" y="5334973"/>
                  <a:pt x="4224380" y="5342668"/>
                  <a:pt x="4221815" y="5342668"/>
                </a:cubicBezTo>
                <a:cubicBezTo>
                  <a:pt x="4206425" y="5314454"/>
                  <a:pt x="4188471" y="5288805"/>
                  <a:pt x="4180776" y="5252896"/>
                </a:cubicBezTo>
                <a:cubicBezTo>
                  <a:pt x="4170517" y="5237507"/>
                  <a:pt x="4160257" y="5216988"/>
                  <a:pt x="4160257" y="5196469"/>
                </a:cubicBezTo>
                <a:cubicBezTo>
                  <a:pt x="4157692" y="5193904"/>
                  <a:pt x="4155127" y="5199033"/>
                  <a:pt x="4152563" y="5196469"/>
                </a:cubicBezTo>
                <a:cubicBezTo>
                  <a:pt x="4142303" y="5165690"/>
                  <a:pt x="4129478" y="5124652"/>
                  <a:pt x="4129478" y="5091308"/>
                </a:cubicBezTo>
                <a:cubicBezTo>
                  <a:pt x="4124349" y="5091308"/>
                  <a:pt x="4121784" y="5093873"/>
                  <a:pt x="4121784" y="5096438"/>
                </a:cubicBezTo>
                <a:cubicBezTo>
                  <a:pt x="4111524" y="5075919"/>
                  <a:pt x="4103830" y="5055400"/>
                  <a:pt x="4103830" y="5027186"/>
                </a:cubicBezTo>
                <a:cubicBezTo>
                  <a:pt x="4103830" y="5022056"/>
                  <a:pt x="4098700" y="5022056"/>
                  <a:pt x="4098700" y="5019491"/>
                </a:cubicBezTo>
                <a:cubicBezTo>
                  <a:pt x="4098700" y="4988712"/>
                  <a:pt x="4085875" y="4952804"/>
                  <a:pt x="4093570" y="4924590"/>
                </a:cubicBezTo>
                <a:cubicBezTo>
                  <a:pt x="4088440" y="4901506"/>
                  <a:pt x="4096135" y="4868162"/>
                  <a:pt x="4096135" y="4839948"/>
                </a:cubicBezTo>
                <a:cubicBezTo>
                  <a:pt x="4096135" y="4834819"/>
                  <a:pt x="4101265" y="4832254"/>
                  <a:pt x="4101265" y="4829689"/>
                </a:cubicBezTo>
                <a:cubicBezTo>
                  <a:pt x="4098700" y="4827124"/>
                  <a:pt x="4096135" y="4824559"/>
                  <a:pt x="4093570" y="4827124"/>
                </a:cubicBezTo>
                <a:cubicBezTo>
                  <a:pt x="4096135" y="4809170"/>
                  <a:pt x="4080746" y="4798910"/>
                  <a:pt x="4088440" y="4786086"/>
                </a:cubicBezTo>
                <a:cubicBezTo>
                  <a:pt x="4091005" y="4793781"/>
                  <a:pt x="4103830" y="4798910"/>
                  <a:pt x="4111524" y="4793781"/>
                </a:cubicBezTo>
                <a:cubicBezTo>
                  <a:pt x="4108960" y="4783521"/>
                  <a:pt x="4098700" y="4780956"/>
                  <a:pt x="4088440" y="4780956"/>
                </a:cubicBezTo>
                <a:cubicBezTo>
                  <a:pt x="4091005" y="4770696"/>
                  <a:pt x="4093570" y="4770696"/>
                  <a:pt x="4101265" y="4773261"/>
                </a:cubicBezTo>
                <a:cubicBezTo>
                  <a:pt x="4108960" y="4765567"/>
                  <a:pt x="4116654" y="4768132"/>
                  <a:pt x="4124349" y="4763002"/>
                </a:cubicBezTo>
                <a:cubicBezTo>
                  <a:pt x="4121784" y="4752742"/>
                  <a:pt x="4111524" y="4760437"/>
                  <a:pt x="4103830" y="4760437"/>
                </a:cubicBezTo>
                <a:cubicBezTo>
                  <a:pt x="4103830" y="4747613"/>
                  <a:pt x="4114089" y="4739918"/>
                  <a:pt x="4108960" y="4727093"/>
                </a:cubicBezTo>
                <a:cubicBezTo>
                  <a:pt x="4093570" y="4727093"/>
                  <a:pt x="4091005" y="4742483"/>
                  <a:pt x="4091005" y="4750177"/>
                </a:cubicBezTo>
                <a:cubicBezTo>
                  <a:pt x="4085875" y="4747613"/>
                  <a:pt x="4088440" y="4737353"/>
                  <a:pt x="4083311" y="4734788"/>
                </a:cubicBezTo>
                <a:cubicBezTo>
                  <a:pt x="4075616" y="4737353"/>
                  <a:pt x="4078181" y="4750177"/>
                  <a:pt x="4080746" y="4752742"/>
                </a:cubicBezTo>
                <a:cubicBezTo>
                  <a:pt x="4073051" y="4763002"/>
                  <a:pt x="4080746" y="4768132"/>
                  <a:pt x="4078181" y="4778391"/>
                </a:cubicBezTo>
                <a:cubicBezTo>
                  <a:pt x="4070486" y="4775826"/>
                  <a:pt x="4067921" y="4768132"/>
                  <a:pt x="4062791" y="4773261"/>
                </a:cubicBezTo>
                <a:cubicBezTo>
                  <a:pt x="4062791" y="4780956"/>
                  <a:pt x="4070486" y="4778391"/>
                  <a:pt x="4073051" y="4780956"/>
                </a:cubicBezTo>
                <a:cubicBezTo>
                  <a:pt x="4070486" y="4814300"/>
                  <a:pt x="4093570" y="4845079"/>
                  <a:pt x="4078181" y="4878422"/>
                </a:cubicBezTo>
                <a:cubicBezTo>
                  <a:pt x="4083311" y="4896376"/>
                  <a:pt x="4080746" y="4916895"/>
                  <a:pt x="4080746" y="4937414"/>
                </a:cubicBezTo>
                <a:cubicBezTo>
                  <a:pt x="4075616" y="4932285"/>
                  <a:pt x="4078181" y="4916895"/>
                  <a:pt x="4070486" y="4919460"/>
                </a:cubicBezTo>
                <a:cubicBezTo>
                  <a:pt x="4062791" y="4922025"/>
                  <a:pt x="4065356" y="4932285"/>
                  <a:pt x="4060226" y="4939980"/>
                </a:cubicBezTo>
                <a:cubicBezTo>
                  <a:pt x="4083311" y="4957934"/>
                  <a:pt x="4083311" y="4993842"/>
                  <a:pt x="4083311" y="5022056"/>
                </a:cubicBezTo>
                <a:cubicBezTo>
                  <a:pt x="4078181" y="5027186"/>
                  <a:pt x="4073051" y="5037446"/>
                  <a:pt x="4073051" y="5045140"/>
                </a:cubicBezTo>
                <a:cubicBezTo>
                  <a:pt x="4075616" y="5055400"/>
                  <a:pt x="4088440" y="5060529"/>
                  <a:pt x="4093570" y="5068224"/>
                </a:cubicBezTo>
                <a:cubicBezTo>
                  <a:pt x="4098700" y="5073354"/>
                  <a:pt x="4098700" y="5081049"/>
                  <a:pt x="4101265" y="5088743"/>
                </a:cubicBezTo>
                <a:cubicBezTo>
                  <a:pt x="4108960" y="5109262"/>
                  <a:pt x="4119219" y="5129781"/>
                  <a:pt x="4121784" y="5150301"/>
                </a:cubicBezTo>
                <a:cubicBezTo>
                  <a:pt x="4121784" y="5152866"/>
                  <a:pt x="4116654" y="5152866"/>
                  <a:pt x="4116654" y="5155430"/>
                </a:cubicBezTo>
                <a:cubicBezTo>
                  <a:pt x="4139738" y="5196469"/>
                  <a:pt x="4155127" y="5245202"/>
                  <a:pt x="4175647" y="5288805"/>
                </a:cubicBezTo>
                <a:cubicBezTo>
                  <a:pt x="4173082" y="5293935"/>
                  <a:pt x="4167952" y="5291370"/>
                  <a:pt x="4167952" y="5296499"/>
                </a:cubicBezTo>
                <a:cubicBezTo>
                  <a:pt x="4188471" y="5304194"/>
                  <a:pt x="4191036" y="5327278"/>
                  <a:pt x="4203861" y="5342668"/>
                </a:cubicBezTo>
                <a:cubicBezTo>
                  <a:pt x="4196166" y="5358057"/>
                  <a:pt x="4173082" y="5365751"/>
                  <a:pt x="4173082" y="5386271"/>
                </a:cubicBezTo>
                <a:cubicBezTo>
                  <a:pt x="4180776" y="5381141"/>
                  <a:pt x="4183341" y="5376011"/>
                  <a:pt x="4191036" y="5373446"/>
                </a:cubicBezTo>
                <a:cubicBezTo>
                  <a:pt x="4188471" y="5381141"/>
                  <a:pt x="4196166" y="5383706"/>
                  <a:pt x="4196166" y="5388836"/>
                </a:cubicBezTo>
                <a:cubicBezTo>
                  <a:pt x="4188471" y="5391400"/>
                  <a:pt x="4183341" y="5388836"/>
                  <a:pt x="4178212" y="5391400"/>
                </a:cubicBezTo>
                <a:cubicBezTo>
                  <a:pt x="4178212" y="5404225"/>
                  <a:pt x="4188471" y="5406790"/>
                  <a:pt x="4198731" y="5406790"/>
                </a:cubicBezTo>
                <a:cubicBezTo>
                  <a:pt x="4196166" y="5411920"/>
                  <a:pt x="4196166" y="5411920"/>
                  <a:pt x="4196166" y="5417049"/>
                </a:cubicBezTo>
                <a:cubicBezTo>
                  <a:pt x="4206425" y="5419614"/>
                  <a:pt x="4214120" y="5411920"/>
                  <a:pt x="4216685" y="5404225"/>
                </a:cubicBezTo>
                <a:cubicBezTo>
                  <a:pt x="4224380" y="5411920"/>
                  <a:pt x="4247464" y="5419614"/>
                  <a:pt x="4237204" y="5435004"/>
                </a:cubicBezTo>
                <a:cubicBezTo>
                  <a:pt x="4239769" y="5437569"/>
                  <a:pt x="4239769" y="5437569"/>
                  <a:pt x="4244899" y="5435004"/>
                </a:cubicBezTo>
                <a:cubicBezTo>
                  <a:pt x="4260288" y="5473477"/>
                  <a:pt x="4283372" y="5506821"/>
                  <a:pt x="4293632" y="5550424"/>
                </a:cubicBezTo>
                <a:cubicBezTo>
                  <a:pt x="4301327" y="5563249"/>
                  <a:pt x="4309021" y="5576073"/>
                  <a:pt x="4311586" y="5586332"/>
                </a:cubicBezTo>
                <a:cubicBezTo>
                  <a:pt x="4306456" y="5583767"/>
                  <a:pt x="4306456" y="5588897"/>
                  <a:pt x="4303891" y="5591462"/>
                </a:cubicBezTo>
                <a:cubicBezTo>
                  <a:pt x="4306456" y="5604287"/>
                  <a:pt x="4309021" y="5604287"/>
                  <a:pt x="4309021" y="5617111"/>
                </a:cubicBezTo>
                <a:cubicBezTo>
                  <a:pt x="4303891" y="5614546"/>
                  <a:pt x="4298762" y="5609416"/>
                  <a:pt x="4293632" y="5609416"/>
                </a:cubicBezTo>
                <a:cubicBezTo>
                  <a:pt x="4280807" y="5622241"/>
                  <a:pt x="4306456" y="5632501"/>
                  <a:pt x="4306456" y="5645325"/>
                </a:cubicBezTo>
                <a:cubicBezTo>
                  <a:pt x="4316716" y="5642760"/>
                  <a:pt x="4319281" y="5637630"/>
                  <a:pt x="4324411" y="5632501"/>
                </a:cubicBezTo>
                <a:cubicBezTo>
                  <a:pt x="4324411" y="5635065"/>
                  <a:pt x="4326976" y="5635065"/>
                  <a:pt x="4329540" y="5635065"/>
                </a:cubicBezTo>
                <a:cubicBezTo>
                  <a:pt x="4326976" y="5640195"/>
                  <a:pt x="4321846" y="5642760"/>
                  <a:pt x="4324411" y="5650455"/>
                </a:cubicBezTo>
                <a:cubicBezTo>
                  <a:pt x="4321846" y="5655584"/>
                  <a:pt x="4329540" y="5653020"/>
                  <a:pt x="4329540" y="5655584"/>
                </a:cubicBezTo>
                <a:cubicBezTo>
                  <a:pt x="4326976" y="5665844"/>
                  <a:pt x="4334670" y="5676104"/>
                  <a:pt x="4339800" y="5676104"/>
                </a:cubicBezTo>
                <a:cubicBezTo>
                  <a:pt x="4344930" y="5691493"/>
                  <a:pt x="4355189" y="5712012"/>
                  <a:pt x="4355189" y="5729967"/>
                </a:cubicBezTo>
                <a:cubicBezTo>
                  <a:pt x="4350060" y="5732531"/>
                  <a:pt x="4350060" y="5722272"/>
                  <a:pt x="4344930" y="5724836"/>
                </a:cubicBezTo>
                <a:cubicBezTo>
                  <a:pt x="4339800" y="5732531"/>
                  <a:pt x="4334670" y="5740226"/>
                  <a:pt x="4326976" y="5742791"/>
                </a:cubicBezTo>
                <a:cubicBezTo>
                  <a:pt x="4329540" y="5755615"/>
                  <a:pt x="4326976" y="5760745"/>
                  <a:pt x="4329540" y="5768440"/>
                </a:cubicBezTo>
                <a:lnTo>
                  <a:pt x="4319281" y="5768440"/>
                </a:lnTo>
                <a:cubicBezTo>
                  <a:pt x="4319281" y="5778699"/>
                  <a:pt x="4329540" y="5778699"/>
                  <a:pt x="4332105" y="5786394"/>
                </a:cubicBezTo>
                <a:cubicBezTo>
                  <a:pt x="4329540" y="5788959"/>
                  <a:pt x="4321846" y="5786394"/>
                  <a:pt x="4319281" y="5788959"/>
                </a:cubicBezTo>
                <a:cubicBezTo>
                  <a:pt x="4316716" y="5783829"/>
                  <a:pt x="4319281" y="5776134"/>
                  <a:pt x="4316716" y="5773570"/>
                </a:cubicBezTo>
                <a:cubicBezTo>
                  <a:pt x="4311586" y="5776134"/>
                  <a:pt x="4306456" y="5773570"/>
                  <a:pt x="4309021" y="5778699"/>
                </a:cubicBezTo>
                <a:cubicBezTo>
                  <a:pt x="4303891" y="5778699"/>
                  <a:pt x="4306456" y="5773570"/>
                  <a:pt x="4303891" y="5771005"/>
                </a:cubicBezTo>
                <a:cubicBezTo>
                  <a:pt x="4298762" y="5771005"/>
                  <a:pt x="4293632" y="5773570"/>
                  <a:pt x="4288502" y="5773570"/>
                </a:cubicBezTo>
                <a:cubicBezTo>
                  <a:pt x="4288502" y="5788959"/>
                  <a:pt x="4291067" y="5796654"/>
                  <a:pt x="4291067" y="5804348"/>
                </a:cubicBezTo>
                <a:cubicBezTo>
                  <a:pt x="4288502" y="5809478"/>
                  <a:pt x="4285937" y="5796654"/>
                  <a:pt x="4280807" y="5801783"/>
                </a:cubicBezTo>
                <a:cubicBezTo>
                  <a:pt x="4280807" y="5809478"/>
                  <a:pt x="4293632" y="5812043"/>
                  <a:pt x="4293632" y="5819738"/>
                </a:cubicBezTo>
                <a:cubicBezTo>
                  <a:pt x="4280807" y="5809478"/>
                  <a:pt x="4257723" y="5788959"/>
                  <a:pt x="4260288" y="5765875"/>
                </a:cubicBezTo>
                <a:cubicBezTo>
                  <a:pt x="4257723" y="5758180"/>
                  <a:pt x="4252594" y="5765875"/>
                  <a:pt x="4250029" y="5763310"/>
                </a:cubicBezTo>
                <a:cubicBezTo>
                  <a:pt x="4234639" y="5740226"/>
                  <a:pt x="4221815" y="5709447"/>
                  <a:pt x="4203861" y="5683798"/>
                </a:cubicBezTo>
                <a:cubicBezTo>
                  <a:pt x="4206425" y="5678669"/>
                  <a:pt x="4206425" y="5676104"/>
                  <a:pt x="4208990" y="5670974"/>
                </a:cubicBezTo>
                <a:cubicBezTo>
                  <a:pt x="4203861" y="5668409"/>
                  <a:pt x="4201296" y="5670974"/>
                  <a:pt x="4198731" y="5673539"/>
                </a:cubicBezTo>
                <a:cubicBezTo>
                  <a:pt x="4178212" y="5658149"/>
                  <a:pt x="4170517" y="5627371"/>
                  <a:pt x="4152563" y="5609416"/>
                </a:cubicBezTo>
                <a:cubicBezTo>
                  <a:pt x="4134609" y="5586332"/>
                  <a:pt x="4106395" y="5563249"/>
                  <a:pt x="4091005" y="5529905"/>
                </a:cubicBezTo>
                <a:cubicBezTo>
                  <a:pt x="4096135" y="5519645"/>
                  <a:pt x="4103830" y="5519645"/>
                  <a:pt x="4119219" y="5517080"/>
                </a:cubicBezTo>
                <a:cubicBezTo>
                  <a:pt x="4116654" y="5509386"/>
                  <a:pt x="4111524" y="5509386"/>
                  <a:pt x="4106395" y="5509386"/>
                </a:cubicBezTo>
                <a:cubicBezTo>
                  <a:pt x="4106395" y="5496561"/>
                  <a:pt x="4126914" y="5501691"/>
                  <a:pt x="4134609" y="5496561"/>
                </a:cubicBezTo>
                <a:cubicBezTo>
                  <a:pt x="4137173" y="5493996"/>
                  <a:pt x="4129478" y="5491431"/>
                  <a:pt x="4132043" y="5488866"/>
                </a:cubicBezTo>
                <a:cubicBezTo>
                  <a:pt x="4137173" y="5486302"/>
                  <a:pt x="4142303" y="5483737"/>
                  <a:pt x="4144868" y="5481172"/>
                </a:cubicBezTo>
                <a:cubicBezTo>
                  <a:pt x="4144868" y="5476042"/>
                  <a:pt x="4137173" y="5476042"/>
                  <a:pt x="4134609" y="5478607"/>
                </a:cubicBezTo>
                <a:cubicBezTo>
                  <a:pt x="4132043" y="5476042"/>
                  <a:pt x="4137173" y="5470912"/>
                  <a:pt x="4137173" y="5465783"/>
                </a:cubicBezTo>
                <a:cubicBezTo>
                  <a:pt x="4134609" y="5460653"/>
                  <a:pt x="4124349" y="5463217"/>
                  <a:pt x="4121784" y="5468347"/>
                </a:cubicBezTo>
                <a:cubicBezTo>
                  <a:pt x="4116654" y="5465783"/>
                  <a:pt x="4121784" y="5460653"/>
                  <a:pt x="4119219" y="5458088"/>
                </a:cubicBezTo>
                <a:cubicBezTo>
                  <a:pt x="4108960" y="5460653"/>
                  <a:pt x="4106395" y="5470912"/>
                  <a:pt x="4103830" y="5478607"/>
                </a:cubicBezTo>
                <a:cubicBezTo>
                  <a:pt x="4096135" y="5473477"/>
                  <a:pt x="4098700" y="5460653"/>
                  <a:pt x="4093570" y="5455523"/>
                </a:cubicBezTo>
                <a:cubicBezTo>
                  <a:pt x="4083311" y="5468347"/>
                  <a:pt x="4096135" y="5486302"/>
                  <a:pt x="4096135" y="5496561"/>
                </a:cubicBezTo>
                <a:cubicBezTo>
                  <a:pt x="4093570" y="5491431"/>
                  <a:pt x="4093570" y="5493996"/>
                  <a:pt x="4088440" y="5493996"/>
                </a:cubicBezTo>
                <a:cubicBezTo>
                  <a:pt x="4088440" y="5501691"/>
                  <a:pt x="4088440" y="5511951"/>
                  <a:pt x="4080746" y="5511951"/>
                </a:cubicBezTo>
                <a:cubicBezTo>
                  <a:pt x="4078181" y="5514515"/>
                  <a:pt x="4080746" y="5517080"/>
                  <a:pt x="4080746" y="5522210"/>
                </a:cubicBezTo>
                <a:cubicBezTo>
                  <a:pt x="4067921" y="5514515"/>
                  <a:pt x="4055097" y="5493996"/>
                  <a:pt x="4044837" y="5478607"/>
                </a:cubicBezTo>
                <a:cubicBezTo>
                  <a:pt x="4037143" y="5470912"/>
                  <a:pt x="4032013" y="5458088"/>
                  <a:pt x="4026883" y="5450393"/>
                </a:cubicBezTo>
                <a:lnTo>
                  <a:pt x="4026883" y="5437569"/>
                </a:lnTo>
                <a:cubicBezTo>
                  <a:pt x="4024318" y="5432439"/>
                  <a:pt x="4024318" y="5440134"/>
                  <a:pt x="4019188" y="5437569"/>
                </a:cubicBezTo>
                <a:cubicBezTo>
                  <a:pt x="4011494" y="5427309"/>
                  <a:pt x="4006364" y="5419614"/>
                  <a:pt x="4006364" y="5404225"/>
                </a:cubicBezTo>
                <a:cubicBezTo>
                  <a:pt x="4003799" y="5396531"/>
                  <a:pt x="3993539" y="5393965"/>
                  <a:pt x="3990974" y="5386271"/>
                </a:cubicBezTo>
                <a:cubicBezTo>
                  <a:pt x="3996104" y="5383706"/>
                  <a:pt x="4001234" y="5373446"/>
                  <a:pt x="3998669" y="5368317"/>
                </a:cubicBezTo>
                <a:cubicBezTo>
                  <a:pt x="4003799" y="5363187"/>
                  <a:pt x="4016623" y="5363187"/>
                  <a:pt x="4014058" y="5355492"/>
                </a:cubicBezTo>
                <a:cubicBezTo>
                  <a:pt x="4008929" y="5352927"/>
                  <a:pt x="4006364" y="5358057"/>
                  <a:pt x="3998669" y="5358057"/>
                </a:cubicBezTo>
                <a:cubicBezTo>
                  <a:pt x="3996104" y="5355492"/>
                  <a:pt x="3998669" y="5347797"/>
                  <a:pt x="3996104" y="5345233"/>
                </a:cubicBezTo>
                <a:cubicBezTo>
                  <a:pt x="3988409" y="5345233"/>
                  <a:pt x="3988409" y="5350362"/>
                  <a:pt x="3985845" y="5355492"/>
                </a:cubicBezTo>
                <a:cubicBezTo>
                  <a:pt x="3980715" y="5352927"/>
                  <a:pt x="3983280" y="5347797"/>
                  <a:pt x="3978150" y="5347797"/>
                </a:cubicBezTo>
                <a:cubicBezTo>
                  <a:pt x="3970455" y="5355492"/>
                  <a:pt x="3988409" y="5365751"/>
                  <a:pt x="3980715" y="5370882"/>
                </a:cubicBezTo>
                <a:cubicBezTo>
                  <a:pt x="3973020" y="5370882"/>
                  <a:pt x="3965325" y="5355492"/>
                  <a:pt x="3957631" y="5368317"/>
                </a:cubicBezTo>
                <a:cubicBezTo>
                  <a:pt x="3965325" y="5378576"/>
                  <a:pt x="3983280" y="5373446"/>
                  <a:pt x="3985845" y="5388836"/>
                </a:cubicBezTo>
                <a:cubicBezTo>
                  <a:pt x="3980715" y="5383706"/>
                  <a:pt x="3980715" y="5388836"/>
                  <a:pt x="3978150" y="5386271"/>
                </a:cubicBezTo>
                <a:cubicBezTo>
                  <a:pt x="3975585" y="5393965"/>
                  <a:pt x="3970455" y="5396531"/>
                  <a:pt x="3967890" y="5404225"/>
                </a:cubicBezTo>
                <a:cubicBezTo>
                  <a:pt x="3970455" y="5411920"/>
                  <a:pt x="3975585" y="5414485"/>
                  <a:pt x="3978150" y="5419614"/>
                </a:cubicBezTo>
                <a:lnTo>
                  <a:pt x="3988409" y="5419614"/>
                </a:lnTo>
                <a:cubicBezTo>
                  <a:pt x="3993539" y="5424744"/>
                  <a:pt x="3996104" y="5429874"/>
                  <a:pt x="4003799" y="5427309"/>
                </a:cubicBezTo>
                <a:cubicBezTo>
                  <a:pt x="4026883" y="5452958"/>
                  <a:pt x="4039707" y="5486302"/>
                  <a:pt x="4062791" y="5509386"/>
                </a:cubicBezTo>
                <a:cubicBezTo>
                  <a:pt x="4060226" y="5519645"/>
                  <a:pt x="4067921" y="5517080"/>
                  <a:pt x="4073051" y="5522210"/>
                </a:cubicBezTo>
                <a:cubicBezTo>
                  <a:pt x="4080746" y="5527340"/>
                  <a:pt x="4088440" y="5542729"/>
                  <a:pt x="4093570" y="5550424"/>
                </a:cubicBezTo>
                <a:cubicBezTo>
                  <a:pt x="4101265" y="5560683"/>
                  <a:pt x="4108960" y="5563249"/>
                  <a:pt x="4111524" y="5573508"/>
                </a:cubicBezTo>
                <a:cubicBezTo>
                  <a:pt x="4129478" y="5591462"/>
                  <a:pt x="4155127" y="5624806"/>
                  <a:pt x="4170517" y="5650455"/>
                </a:cubicBezTo>
                <a:cubicBezTo>
                  <a:pt x="4165387" y="5653020"/>
                  <a:pt x="4162822" y="5655584"/>
                  <a:pt x="4162822" y="5660714"/>
                </a:cubicBezTo>
                <a:cubicBezTo>
                  <a:pt x="4165387" y="5660714"/>
                  <a:pt x="4165387" y="5660714"/>
                  <a:pt x="4165387" y="5663279"/>
                </a:cubicBezTo>
                <a:cubicBezTo>
                  <a:pt x="4170517" y="5665844"/>
                  <a:pt x="4173082" y="5658149"/>
                  <a:pt x="4175647" y="5660714"/>
                </a:cubicBezTo>
                <a:cubicBezTo>
                  <a:pt x="4191036" y="5673539"/>
                  <a:pt x="4208990" y="5686363"/>
                  <a:pt x="4211555" y="5706882"/>
                </a:cubicBezTo>
                <a:cubicBezTo>
                  <a:pt x="4219250" y="5714577"/>
                  <a:pt x="4232074" y="5732531"/>
                  <a:pt x="4226945" y="5732531"/>
                </a:cubicBezTo>
                <a:cubicBezTo>
                  <a:pt x="4242334" y="5750485"/>
                  <a:pt x="4252594" y="5773570"/>
                  <a:pt x="4265418" y="5794089"/>
                </a:cubicBezTo>
                <a:cubicBezTo>
                  <a:pt x="4265418" y="5799219"/>
                  <a:pt x="4262853" y="5799219"/>
                  <a:pt x="4262853" y="5804348"/>
                </a:cubicBezTo>
                <a:cubicBezTo>
                  <a:pt x="4262853" y="5809478"/>
                  <a:pt x="4267983" y="5806913"/>
                  <a:pt x="4273113" y="5806913"/>
                </a:cubicBezTo>
                <a:cubicBezTo>
                  <a:pt x="4285937" y="5822302"/>
                  <a:pt x="4303891" y="5837692"/>
                  <a:pt x="4306456" y="5845387"/>
                </a:cubicBezTo>
                <a:cubicBezTo>
                  <a:pt x="4301327" y="5845387"/>
                  <a:pt x="4293632" y="5842822"/>
                  <a:pt x="4283372" y="5842822"/>
                </a:cubicBezTo>
                <a:cubicBezTo>
                  <a:pt x="4280807" y="5853081"/>
                  <a:pt x="4283372" y="5863341"/>
                  <a:pt x="4288502" y="5868471"/>
                </a:cubicBezTo>
                <a:cubicBezTo>
                  <a:pt x="4280807" y="5868471"/>
                  <a:pt x="4267983" y="5865906"/>
                  <a:pt x="4257723" y="5863341"/>
                </a:cubicBezTo>
                <a:cubicBezTo>
                  <a:pt x="4252594" y="5865906"/>
                  <a:pt x="4255159" y="5868471"/>
                  <a:pt x="4252594" y="5871036"/>
                </a:cubicBezTo>
                <a:cubicBezTo>
                  <a:pt x="4262853" y="5883860"/>
                  <a:pt x="4270548" y="5883860"/>
                  <a:pt x="4283372" y="5891554"/>
                </a:cubicBezTo>
                <a:cubicBezTo>
                  <a:pt x="4273113" y="5896685"/>
                  <a:pt x="4262853" y="5904379"/>
                  <a:pt x="4260288" y="5917203"/>
                </a:cubicBezTo>
                <a:cubicBezTo>
                  <a:pt x="4262853" y="5919768"/>
                  <a:pt x="4265418" y="5917203"/>
                  <a:pt x="4270548" y="5917203"/>
                </a:cubicBezTo>
                <a:cubicBezTo>
                  <a:pt x="4265418" y="5917203"/>
                  <a:pt x="4265418" y="5922334"/>
                  <a:pt x="4262853" y="5922334"/>
                </a:cubicBezTo>
                <a:cubicBezTo>
                  <a:pt x="4265418" y="5927463"/>
                  <a:pt x="4262853" y="5932593"/>
                  <a:pt x="4267983" y="5935158"/>
                </a:cubicBezTo>
                <a:cubicBezTo>
                  <a:pt x="4288502" y="5924898"/>
                  <a:pt x="4296197" y="5917203"/>
                  <a:pt x="4319281" y="5914639"/>
                </a:cubicBezTo>
                <a:cubicBezTo>
                  <a:pt x="4316716" y="5917203"/>
                  <a:pt x="4316716" y="5914639"/>
                  <a:pt x="4316716" y="5919768"/>
                </a:cubicBezTo>
                <a:cubicBezTo>
                  <a:pt x="4321846" y="5927463"/>
                  <a:pt x="4337235" y="5922334"/>
                  <a:pt x="4344930" y="5924898"/>
                </a:cubicBezTo>
                <a:cubicBezTo>
                  <a:pt x="4347494" y="5930028"/>
                  <a:pt x="4352625" y="5935158"/>
                  <a:pt x="4355189" y="5940288"/>
                </a:cubicBezTo>
                <a:cubicBezTo>
                  <a:pt x="4350060" y="5937723"/>
                  <a:pt x="4342365" y="5932593"/>
                  <a:pt x="4337235" y="5927463"/>
                </a:cubicBezTo>
                <a:cubicBezTo>
                  <a:pt x="4329540" y="5958242"/>
                  <a:pt x="4337235" y="5973631"/>
                  <a:pt x="4350060" y="5981326"/>
                </a:cubicBezTo>
                <a:cubicBezTo>
                  <a:pt x="4332105" y="5983891"/>
                  <a:pt x="4319281" y="5989020"/>
                  <a:pt x="4309021" y="5996715"/>
                </a:cubicBezTo>
                <a:cubicBezTo>
                  <a:pt x="4265418" y="5989020"/>
                  <a:pt x="4219250" y="5981326"/>
                  <a:pt x="4175647" y="5971066"/>
                </a:cubicBezTo>
                <a:cubicBezTo>
                  <a:pt x="4201296" y="6107006"/>
                  <a:pt x="4388533" y="6081357"/>
                  <a:pt x="4424441" y="6204472"/>
                </a:cubicBezTo>
                <a:cubicBezTo>
                  <a:pt x="4283372" y="6130090"/>
                  <a:pt x="4165387" y="6035189"/>
                  <a:pt x="4044837" y="5940288"/>
                </a:cubicBezTo>
                <a:cubicBezTo>
                  <a:pt x="4021753" y="5924898"/>
                  <a:pt x="4001234" y="5906944"/>
                  <a:pt x="3980715" y="5891554"/>
                </a:cubicBezTo>
                <a:cubicBezTo>
                  <a:pt x="3980715" y="5891554"/>
                  <a:pt x="3980715" y="5894120"/>
                  <a:pt x="3980715" y="5896685"/>
                </a:cubicBezTo>
                <a:cubicBezTo>
                  <a:pt x="3978150" y="5896685"/>
                  <a:pt x="3978150" y="5896685"/>
                  <a:pt x="3978150" y="5899249"/>
                </a:cubicBezTo>
                <a:cubicBezTo>
                  <a:pt x="3949936" y="5855646"/>
                  <a:pt x="3926852" y="5809478"/>
                  <a:pt x="3916593" y="5747921"/>
                </a:cubicBezTo>
                <a:cubicBezTo>
                  <a:pt x="3914028" y="5742791"/>
                  <a:pt x="3908898" y="5750485"/>
                  <a:pt x="3908898" y="5747921"/>
                </a:cubicBezTo>
                <a:cubicBezTo>
                  <a:pt x="3898638" y="5724836"/>
                  <a:pt x="3898638" y="5694058"/>
                  <a:pt x="3885814" y="5678669"/>
                </a:cubicBezTo>
                <a:cubicBezTo>
                  <a:pt x="3888379" y="5676104"/>
                  <a:pt x="3896073" y="5678669"/>
                  <a:pt x="3898638" y="5673539"/>
                </a:cubicBezTo>
                <a:cubicBezTo>
                  <a:pt x="3898638" y="5660714"/>
                  <a:pt x="3890944" y="5658149"/>
                  <a:pt x="3880684" y="5658149"/>
                </a:cubicBezTo>
                <a:cubicBezTo>
                  <a:pt x="3890944" y="5655584"/>
                  <a:pt x="3908898" y="5642760"/>
                  <a:pt x="3890944" y="5635065"/>
                </a:cubicBezTo>
                <a:cubicBezTo>
                  <a:pt x="3885814" y="5635065"/>
                  <a:pt x="3883249" y="5640195"/>
                  <a:pt x="3878119" y="5640195"/>
                </a:cubicBezTo>
                <a:cubicBezTo>
                  <a:pt x="3875554" y="5637630"/>
                  <a:pt x="3878119" y="5635065"/>
                  <a:pt x="3875554" y="5632501"/>
                </a:cubicBezTo>
                <a:cubicBezTo>
                  <a:pt x="3855035" y="5619676"/>
                  <a:pt x="3862730" y="5573508"/>
                  <a:pt x="3849905" y="5555554"/>
                </a:cubicBezTo>
                <a:cubicBezTo>
                  <a:pt x="3849905" y="5550424"/>
                  <a:pt x="3852470" y="5550424"/>
                  <a:pt x="3852470" y="5547859"/>
                </a:cubicBezTo>
                <a:cubicBezTo>
                  <a:pt x="3852470" y="5542729"/>
                  <a:pt x="3849905" y="5542729"/>
                  <a:pt x="3849905" y="5537600"/>
                </a:cubicBezTo>
                <a:cubicBezTo>
                  <a:pt x="3852470" y="5535035"/>
                  <a:pt x="3862730" y="5532470"/>
                  <a:pt x="3865295" y="5524775"/>
                </a:cubicBezTo>
                <a:cubicBezTo>
                  <a:pt x="3860165" y="5519645"/>
                  <a:pt x="3855035" y="5519645"/>
                  <a:pt x="3852470" y="5514515"/>
                </a:cubicBezTo>
                <a:cubicBezTo>
                  <a:pt x="3849905" y="5519645"/>
                  <a:pt x="3844776" y="5522210"/>
                  <a:pt x="3842210" y="5524775"/>
                </a:cubicBezTo>
                <a:cubicBezTo>
                  <a:pt x="3837081" y="5522210"/>
                  <a:pt x="3837081" y="5517080"/>
                  <a:pt x="3831951" y="5517080"/>
                </a:cubicBezTo>
                <a:cubicBezTo>
                  <a:pt x="3824256" y="5524775"/>
                  <a:pt x="3834516" y="5532470"/>
                  <a:pt x="3839646" y="5537600"/>
                </a:cubicBezTo>
                <a:cubicBezTo>
                  <a:pt x="3839646" y="5545294"/>
                  <a:pt x="3837081" y="5547859"/>
                  <a:pt x="3834516" y="5550424"/>
                </a:cubicBezTo>
                <a:cubicBezTo>
                  <a:pt x="3837081" y="5560683"/>
                  <a:pt x="3849905" y="5560683"/>
                  <a:pt x="3844776" y="5570943"/>
                </a:cubicBezTo>
                <a:cubicBezTo>
                  <a:pt x="3847340" y="5570943"/>
                  <a:pt x="3847340" y="5568378"/>
                  <a:pt x="3847340" y="5568378"/>
                </a:cubicBezTo>
                <a:cubicBezTo>
                  <a:pt x="3857600" y="5581203"/>
                  <a:pt x="3852470" y="5617111"/>
                  <a:pt x="3862730" y="5629936"/>
                </a:cubicBezTo>
                <a:cubicBezTo>
                  <a:pt x="3857600" y="5629936"/>
                  <a:pt x="3852470" y="5635065"/>
                  <a:pt x="3855035" y="5637630"/>
                </a:cubicBezTo>
                <a:cubicBezTo>
                  <a:pt x="3852470" y="5637630"/>
                  <a:pt x="3842210" y="5629936"/>
                  <a:pt x="3834516" y="5637630"/>
                </a:cubicBezTo>
                <a:cubicBezTo>
                  <a:pt x="3834516" y="5650455"/>
                  <a:pt x="3842210" y="5655584"/>
                  <a:pt x="3852470" y="5655584"/>
                </a:cubicBezTo>
                <a:cubicBezTo>
                  <a:pt x="3852470" y="5660714"/>
                  <a:pt x="3847340" y="5660714"/>
                  <a:pt x="3847340" y="5665844"/>
                </a:cubicBezTo>
                <a:cubicBezTo>
                  <a:pt x="3852470" y="5676104"/>
                  <a:pt x="3862730" y="5673539"/>
                  <a:pt x="3872989" y="5673539"/>
                </a:cubicBezTo>
                <a:cubicBezTo>
                  <a:pt x="3872989" y="5678669"/>
                  <a:pt x="3883249" y="5686363"/>
                  <a:pt x="3883249" y="5699188"/>
                </a:cubicBezTo>
                <a:cubicBezTo>
                  <a:pt x="3888379" y="5706882"/>
                  <a:pt x="3893508" y="5719707"/>
                  <a:pt x="3893508" y="5735096"/>
                </a:cubicBezTo>
                <a:cubicBezTo>
                  <a:pt x="3898638" y="5745356"/>
                  <a:pt x="3906333" y="5755615"/>
                  <a:pt x="3906333" y="5765875"/>
                </a:cubicBezTo>
                <a:cubicBezTo>
                  <a:pt x="3919157" y="5788959"/>
                  <a:pt x="3921722" y="5819738"/>
                  <a:pt x="3934547" y="5832562"/>
                </a:cubicBezTo>
                <a:cubicBezTo>
                  <a:pt x="3934547" y="5840257"/>
                  <a:pt x="3937111" y="5842822"/>
                  <a:pt x="3939677" y="5847951"/>
                </a:cubicBezTo>
                <a:cubicBezTo>
                  <a:pt x="3939677" y="5855646"/>
                  <a:pt x="3929417" y="5853081"/>
                  <a:pt x="3934547" y="5860776"/>
                </a:cubicBezTo>
                <a:cubicBezTo>
                  <a:pt x="3931982" y="5860776"/>
                  <a:pt x="3929417" y="5858211"/>
                  <a:pt x="3926852" y="5860776"/>
                </a:cubicBezTo>
                <a:cubicBezTo>
                  <a:pt x="3926852" y="5855646"/>
                  <a:pt x="3921722" y="5850516"/>
                  <a:pt x="3921722" y="5845387"/>
                </a:cubicBezTo>
                <a:cubicBezTo>
                  <a:pt x="3911463" y="5845387"/>
                  <a:pt x="3908898" y="5855646"/>
                  <a:pt x="3908898" y="5860776"/>
                </a:cubicBezTo>
                <a:cubicBezTo>
                  <a:pt x="3903768" y="5853081"/>
                  <a:pt x="3885814" y="5855646"/>
                  <a:pt x="3883249" y="5865906"/>
                </a:cubicBezTo>
                <a:cubicBezTo>
                  <a:pt x="3885814" y="5873600"/>
                  <a:pt x="3893508" y="5873600"/>
                  <a:pt x="3893508" y="5878730"/>
                </a:cubicBezTo>
                <a:cubicBezTo>
                  <a:pt x="3903768" y="5881295"/>
                  <a:pt x="3911463" y="5876165"/>
                  <a:pt x="3914028" y="5881295"/>
                </a:cubicBezTo>
                <a:cubicBezTo>
                  <a:pt x="3911463" y="5888990"/>
                  <a:pt x="3898638" y="5883860"/>
                  <a:pt x="3896073" y="5888990"/>
                </a:cubicBezTo>
                <a:cubicBezTo>
                  <a:pt x="3898638" y="5891554"/>
                  <a:pt x="3896073" y="5896685"/>
                  <a:pt x="3898638" y="5899249"/>
                </a:cubicBezTo>
                <a:cubicBezTo>
                  <a:pt x="3908898" y="5901814"/>
                  <a:pt x="3914028" y="5894120"/>
                  <a:pt x="3921722" y="5886425"/>
                </a:cubicBezTo>
                <a:cubicBezTo>
                  <a:pt x="3929417" y="5886425"/>
                  <a:pt x="3931982" y="5886425"/>
                  <a:pt x="3934547" y="5881295"/>
                </a:cubicBezTo>
                <a:cubicBezTo>
                  <a:pt x="3937111" y="5883860"/>
                  <a:pt x="3934547" y="5886425"/>
                  <a:pt x="3931982" y="5886425"/>
                </a:cubicBezTo>
                <a:cubicBezTo>
                  <a:pt x="3937111" y="5886425"/>
                  <a:pt x="3942242" y="5883860"/>
                  <a:pt x="3947371" y="5886425"/>
                </a:cubicBezTo>
                <a:cubicBezTo>
                  <a:pt x="3955066" y="5896685"/>
                  <a:pt x="3962760" y="5906944"/>
                  <a:pt x="3970455" y="5919768"/>
                </a:cubicBezTo>
                <a:cubicBezTo>
                  <a:pt x="3967890" y="5932593"/>
                  <a:pt x="3965325" y="5945417"/>
                  <a:pt x="3962760" y="5958242"/>
                </a:cubicBezTo>
                <a:cubicBezTo>
                  <a:pt x="3942242" y="6073662"/>
                  <a:pt x="3890944" y="6150609"/>
                  <a:pt x="3824256" y="6245510"/>
                </a:cubicBezTo>
                <a:cubicBezTo>
                  <a:pt x="3806302" y="6255770"/>
                  <a:pt x="3793478" y="6248075"/>
                  <a:pt x="3775524" y="6268594"/>
                </a:cubicBezTo>
                <a:cubicBezTo>
                  <a:pt x="3755004" y="6283983"/>
                  <a:pt x="3772958" y="6304502"/>
                  <a:pt x="3760134" y="6322457"/>
                </a:cubicBezTo>
                <a:cubicBezTo>
                  <a:pt x="3675492" y="6342976"/>
                  <a:pt x="3593416" y="6335281"/>
                  <a:pt x="3513904" y="6312197"/>
                </a:cubicBezTo>
                <a:cubicBezTo>
                  <a:pt x="3483125" y="6263464"/>
                  <a:pt x="3449782" y="6217296"/>
                  <a:pt x="3413873" y="6176258"/>
                </a:cubicBezTo>
                <a:cubicBezTo>
                  <a:pt x="3393354" y="6150609"/>
                  <a:pt x="3375400" y="6124960"/>
                  <a:pt x="3354881" y="6096746"/>
                </a:cubicBezTo>
                <a:cubicBezTo>
                  <a:pt x="3295888" y="6014669"/>
                  <a:pt x="3236896" y="5930028"/>
                  <a:pt x="3136865" y="5906944"/>
                </a:cubicBezTo>
                <a:cubicBezTo>
                  <a:pt x="3116346" y="5901814"/>
                  <a:pt x="3095827" y="5899249"/>
                  <a:pt x="3077873" y="5899249"/>
                </a:cubicBezTo>
                <a:cubicBezTo>
                  <a:pt x="3052224" y="5899249"/>
                  <a:pt x="3026575" y="5896685"/>
                  <a:pt x="3003492" y="5886425"/>
                </a:cubicBezTo>
                <a:cubicBezTo>
                  <a:pt x="2965017" y="5868471"/>
                  <a:pt x="2949629" y="5840257"/>
                  <a:pt x="2931673" y="5796654"/>
                </a:cubicBezTo>
                <a:cubicBezTo>
                  <a:pt x="2941933" y="5776134"/>
                  <a:pt x="2962452" y="5765875"/>
                  <a:pt x="2985536" y="5755615"/>
                </a:cubicBezTo>
                <a:cubicBezTo>
                  <a:pt x="3021445" y="5737661"/>
                  <a:pt x="3062483" y="5717142"/>
                  <a:pt x="3047094" y="5653020"/>
                </a:cubicBezTo>
                <a:cubicBezTo>
                  <a:pt x="3049659" y="5650455"/>
                  <a:pt x="3052224" y="5650455"/>
                  <a:pt x="3059918" y="5650455"/>
                </a:cubicBezTo>
                <a:cubicBezTo>
                  <a:pt x="3065048" y="5650455"/>
                  <a:pt x="3072743" y="5650455"/>
                  <a:pt x="3077873" y="5645325"/>
                </a:cubicBezTo>
                <a:cubicBezTo>
                  <a:pt x="3090697" y="5632501"/>
                  <a:pt x="3100957" y="5591462"/>
                  <a:pt x="3093262" y="5570943"/>
                </a:cubicBezTo>
                <a:cubicBezTo>
                  <a:pt x="3095827" y="5565813"/>
                  <a:pt x="3100957" y="5565813"/>
                  <a:pt x="3108652" y="5563249"/>
                </a:cubicBezTo>
                <a:cubicBezTo>
                  <a:pt x="3113781" y="5563249"/>
                  <a:pt x="3118911" y="5560683"/>
                  <a:pt x="3124040" y="5558118"/>
                </a:cubicBezTo>
                <a:lnTo>
                  <a:pt x="3126605" y="5555554"/>
                </a:lnTo>
                <a:lnTo>
                  <a:pt x="3126605" y="5552989"/>
                </a:lnTo>
                <a:cubicBezTo>
                  <a:pt x="3131736" y="5519645"/>
                  <a:pt x="3124040" y="5493996"/>
                  <a:pt x="3116346" y="5468347"/>
                </a:cubicBezTo>
                <a:cubicBezTo>
                  <a:pt x="3108652" y="5440134"/>
                  <a:pt x="3100957" y="5411920"/>
                  <a:pt x="3106086" y="5373446"/>
                </a:cubicBezTo>
                <a:cubicBezTo>
                  <a:pt x="3111216" y="5327278"/>
                  <a:pt x="3141995" y="5265721"/>
                  <a:pt x="3177903" y="5240072"/>
                </a:cubicBezTo>
                <a:cubicBezTo>
                  <a:pt x="3193294" y="5229812"/>
                  <a:pt x="3206117" y="5227247"/>
                  <a:pt x="3218942" y="5229812"/>
                </a:cubicBezTo>
                <a:cubicBezTo>
                  <a:pt x="3242026" y="5234942"/>
                  <a:pt x="3249720" y="5260591"/>
                  <a:pt x="3259980" y="5283675"/>
                </a:cubicBezTo>
                <a:cubicBezTo>
                  <a:pt x="3267675" y="5301629"/>
                  <a:pt x="3272804" y="5317019"/>
                  <a:pt x="3283064" y="5327278"/>
                </a:cubicBezTo>
                <a:cubicBezTo>
                  <a:pt x="3324102" y="5373446"/>
                  <a:pt x="3421568" y="5404225"/>
                  <a:pt x="3493385" y="5393965"/>
                </a:cubicBezTo>
                <a:cubicBezTo>
                  <a:pt x="3539553" y="5386271"/>
                  <a:pt x="3562637" y="5358057"/>
                  <a:pt x="3585721" y="5329843"/>
                </a:cubicBezTo>
                <a:cubicBezTo>
                  <a:pt x="3601111" y="5309324"/>
                  <a:pt x="3616500" y="5288805"/>
                  <a:pt x="3642149" y="5275980"/>
                </a:cubicBezTo>
                <a:cubicBezTo>
                  <a:pt x="3649844" y="5273416"/>
                  <a:pt x="3657538" y="5270851"/>
                  <a:pt x="3667798" y="5268286"/>
                </a:cubicBezTo>
                <a:cubicBezTo>
                  <a:pt x="3688317" y="5263156"/>
                  <a:pt x="3711401" y="5258026"/>
                  <a:pt x="3724226" y="5240072"/>
                </a:cubicBezTo>
                <a:cubicBezTo>
                  <a:pt x="3737050" y="5224682"/>
                  <a:pt x="3737050" y="5204164"/>
                  <a:pt x="3737050" y="5186209"/>
                </a:cubicBezTo>
                <a:cubicBezTo>
                  <a:pt x="3739615" y="5168255"/>
                  <a:pt x="3739615" y="5150301"/>
                  <a:pt x="3747310" y="5134911"/>
                </a:cubicBezTo>
                <a:cubicBezTo>
                  <a:pt x="3752439" y="5127217"/>
                  <a:pt x="3760134" y="5122087"/>
                  <a:pt x="3767829" y="5116957"/>
                </a:cubicBezTo>
                <a:cubicBezTo>
                  <a:pt x="3778088" y="5109262"/>
                  <a:pt x="3790913" y="5101568"/>
                  <a:pt x="3796042" y="5086178"/>
                </a:cubicBezTo>
                <a:cubicBezTo>
                  <a:pt x="3801172" y="5065659"/>
                  <a:pt x="3790913" y="5050270"/>
                  <a:pt x="3783218" y="5037446"/>
                </a:cubicBezTo>
                <a:cubicBezTo>
                  <a:pt x="3775524" y="5024621"/>
                  <a:pt x="3767829" y="5011797"/>
                  <a:pt x="3770393" y="4996407"/>
                </a:cubicBezTo>
                <a:cubicBezTo>
                  <a:pt x="3770393" y="4991277"/>
                  <a:pt x="3775524" y="4983583"/>
                  <a:pt x="3780653" y="4978453"/>
                </a:cubicBezTo>
                <a:cubicBezTo>
                  <a:pt x="3785783" y="4970758"/>
                  <a:pt x="3790913" y="4963063"/>
                  <a:pt x="3790913" y="4955369"/>
                </a:cubicBezTo>
                <a:cubicBezTo>
                  <a:pt x="3793478" y="4939980"/>
                  <a:pt x="3785783" y="4924590"/>
                  <a:pt x="3778088" y="4911766"/>
                </a:cubicBezTo>
                <a:cubicBezTo>
                  <a:pt x="3767829" y="4891246"/>
                  <a:pt x="3757569" y="4875857"/>
                  <a:pt x="3775524" y="4855338"/>
                </a:cubicBezTo>
                <a:lnTo>
                  <a:pt x="3778088" y="4850208"/>
                </a:lnTo>
                <a:lnTo>
                  <a:pt x="3775524" y="4845079"/>
                </a:lnTo>
                <a:cubicBezTo>
                  <a:pt x="3770393" y="4839948"/>
                  <a:pt x="3767829" y="4832254"/>
                  <a:pt x="3762699" y="4824559"/>
                </a:cubicBezTo>
                <a:cubicBezTo>
                  <a:pt x="3752439" y="4806605"/>
                  <a:pt x="3742180" y="4786086"/>
                  <a:pt x="3716531" y="4778391"/>
                </a:cubicBezTo>
                <a:cubicBezTo>
                  <a:pt x="3729355" y="4770696"/>
                  <a:pt x="3755004" y="4768132"/>
                  <a:pt x="3780653" y="4765567"/>
                </a:cubicBezTo>
                <a:cubicBezTo>
                  <a:pt x="3813997" y="4763002"/>
                  <a:pt x="3847340" y="4760437"/>
                  <a:pt x="3857600" y="4739918"/>
                </a:cubicBezTo>
                <a:cubicBezTo>
                  <a:pt x="3862730" y="4727093"/>
                  <a:pt x="3860165" y="4711704"/>
                  <a:pt x="3844776" y="4691185"/>
                </a:cubicBezTo>
                <a:cubicBezTo>
                  <a:pt x="3852470" y="4678361"/>
                  <a:pt x="3860165" y="4662971"/>
                  <a:pt x="3857600" y="4650147"/>
                </a:cubicBezTo>
                <a:cubicBezTo>
                  <a:pt x="3857600" y="4650147"/>
                  <a:pt x="3855035" y="4647581"/>
                  <a:pt x="3855035" y="4645017"/>
                </a:cubicBezTo>
                <a:cubicBezTo>
                  <a:pt x="3852470" y="4639887"/>
                  <a:pt x="3849905" y="4634757"/>
                  <a:pt x="3844776" y="4632192"/>
                </a:cubicBezTo>
                <a:lnTo>
                  <a:pt x="3842210" y="4632192"/>
                </a:lnTo>
                <a:cubicBezTo>
                  <a:pt x="3831951" y="4629627"/>
                  <a:pt x="3824256" y="4629627"/>
                  <a:pt x="3819127" y="4632192"/>
                </a:cubicBezTo>
                <a:lnTo>
                  <a:pt x="3832116" y="4598685"/>
                </a:lnTo>
                <a:lnTo>
                  <a:pt x="3834515" y="4596285"/>
                </a:lnTo>
                <a:lnTo>
                  <a:pt x="3833870" y="4594160"/>
                </a:lnTo>
                <a:lnTo>
                  <a:pt x="3841249" y="4575124"/>
                </a:lnTo>
                <a:cubicBezTo>
                  <a:pt x="3843493" y="4555887"/>
                  <a:pt x="3840928" y="4536009"/>
                  <a:pt x="3834516" y="4514207"/>
                </a:cubicBezTo>
                <a:cubicBezTo>
                  <a:pt x="3855035" y="4509077"/>
                  <a:pt x="3867859" y="4493688"/>
                  <a:pt x="3872989" y="4473169"/>
                </a:cubicBezTo>
                <a:cubicBezTo>
                  <a:pt x="3880684" y="4444955"/>
                  <a:pt x="3870424" y="4416741"/>
                  <a:pt x="3852470" y="4401352"/>
                </a:cubicBezTo>
                <a:cubicBezTo>
                  <a:pt x="3837081" y="4385963"/>
                  <a:pt x="3813997" y="4383398"/>
                  <a:pt x="3790913" y="4393657"/>
                </a:cubicBezTo>
                <a:cubicBezTo>
                  <a:pt x="3775524" y="4380833"/>
                  <a:pt x="3765264" y="4360314"/>
                  <a:pt x="3762699" y="4329535"/>
                </a:cubicBezTo>
                <a:lnTo>
                  <a:pt x="3762699" y="4326970"/>
                </a:lnTo>
                <a:lnTo>
                  <a:pt x="3760134" y="4324405"/>
                </a:lnTo>
                <a:cubicBezTo>
                  <a:pt x="3742180" y="4314145"/>
                  <a:pt x="3719096" y="4311581"/>
                  <a:pt x="3698577" y="4309016"/>
                </a:cubicBezTo>
                <a:cubicBezTo>
                  <a:pt x="3647279" y="4301321"/>
                  <a:pt x="3619065" y="4296191"/>
                  <a:pt x="3621630" y="4250023"/>
                </a:cubicBezTo>
                <a:lnTo>
                  <a:pt x="3621630" y="4247458"/>
                </a:lnTo>
                <a:lnTo>
                  <a:pt x="3619065" y="4244893"/>
                </a:lnTo>
                <a:cubicBezTo>
                  <a:pt x="3588286" y="4214115"/>
                  <a:pt x="3552378" y="4183336"/>
                  <a:pt x="3506210" y="4149992"/>
                </a:cubicBezTo>
                <a:lnTo>
                  <a:pt x="3505876" y="4142298"/>
                </a:lnTo>
                <a:lnTo>
                  <a:pt x="3503644" y="4142298"/>
                </a:lnTo>
                <a:cubicBezTo>
                  <a:pt x="3498514" y="4142298"/>
                  <a:pt x="3490819" y="4144863"/>
                  <a:pt x="3490819" y="4155122"/>
                </a:cubicBezTo>
                <a:cubicBezTo>
                  <a:pt x="3472865" y="4229505"/>
                  <a:pt x="3444651" y="4267978"/>
                  <a:pt x="3413872" y="4314146"/>
                </a:cubicBezTo>
                <a:cubicBezTo>
                  <a:pt x="3403613" y="4329535"/>
                  <a:pt x="3393353" y="4344925"/>
                  <a:pt x="3383094" y="4360314"/>
                </a:cubicBezTo>
                <a:lnTo>
                  <a:pt x="3393353" y="4368009"/>
                </a:lnTo>
                <a:cubicBezTo>
                  <a:pt x="3439521" y="4321840"/>
                  <a:pt x="3485689" y="4270543"/>
                  <a:pt x="3516468" y="4196161"/>
                </a:cubicBezTo>
                <a:cubicBezTo>
                  <a:pt x="3547247" y="4206420"/>
                  <a:pt x="3570331" y="4229505"/>
                  <a:pt x="3593415" y="4252588"/>
                </a:cubicBezTo>
                <a:cubicBezTo>
                  <a:pt x="3590850" y="4260283"/>
                  <a:pt x="3588285" y="4270543"/>
                  <a:pt x="3585720" y="4280802"/>
                </a:cubicBezTo>
                <a:cubicBezTo>
                  <a:pt x="3570331" y="4334665"/>
                  <a:pt x="3552376" y="4396223"/>
                  <a:pt x="3529293" y="4442390"/>
                </a:cubicBezTo>
                <a:lnTo>
                  <a:pt x="3539552" y="4450085"/>
                </a:lnTo>
                <a:cubicBezTo>
                  <a:pt x="3554941" y="4429566"/>
                  <a:pt x="3575461" y="4396223"/>
                  <a:pt x="3588285" y="4360314"/>
                </a:cubicBezTo>
                <a:cubicBezTo>
                  <a:pt x="3583155" y="4375703"/>
                  <a:pt x="3580590" y="4391092"/>
                  <a:pt x="3575461" y="4403917"/>
                </a:cubicBezTo>
                <a:lnTo>
                  <a:pt x="3585720" y="4411612"/>
                </a:lnTo>
                <a:lnTo>
                  <a:pt x="3598855" y="4395662"/>
                </a:lnTo>
                <a:lnTo>
                  <a:pt x="3585721" y="4425398"/>
                </a:lnTo>
                <a:cubicBezTo>
                  <a:pt x="3577385" y="4441749"/>
                  <a:pt x="3569049" y="4456497"/>
                  <a:pt x="3562636" y="4468039"/>
                </a:cubicBezTo>
                <a:lnTo>
                  <a:pt x="3557507" y="4475734"/>
                </a:lnTo>
                <a:lnTo>
                  <a:pt x="3565201" y="4475734"/>
                </a:lnTo>
                <a:cubicBezTo>
                  <a:pt x="3562636" y="4480864"/>
                  <a:pt x="3557507" y="4483429"/>
                  <a:pt x="3554941" y="4488558"/>
                </a:cubicBezTo>
                <a:cubicBezTo>
                  <a:pt x="3544682" y="4501383"/>
                  <a:pt x="3534422" y="4514207"/>
                  <a:pt x="3526728" y="4534727"/>
                </a:cubicBezTo>
                <a:lnTo>
                  <a:pt x="3536987" y="4542421"/>
                </a:lnTo>
                <a:cubicBezTo>
                  <a:pt x="3578025" y="4503948"/>
                  <a:pt x="3626759" y="4447520"/>
                  <a:pt x="3647278" y="4342360"/>
                </a:cubicBezTo>
                <a:cubicBezTo>
                  <a:pt x="3665232" y="4352619"/>
                  <a:pt x="3685751" y="4352619"/>
                  <a:pt x="3708835" y="4352619"/>
                </a:cubicBezTo>
                <a:cubicBezTo>
                  <a:pt x="3724225" y="4352619"/>
                  <a:pt x="3742179" y="4352619"/>
                  <a:pt x="3755003" y="4357749"/>
                </a:cubicBezTo>
                <a:cubicBezTo>
                  <a:pt x="3757568" y="4362879"/>
                  <a:pt x="3760133" y="4370574"/>
                  <a:pt x="3762698" y="4375703"/>
                </a:cubicBezTo>
                <a:cubicBezTo>
                  <a:pt x="3767828" y="4393658"/>
                  <a:pt x="3775522" y="4414177"/>
                  <a:pt x="3790912" y="4427001"/>
                </a:cubicBezTo>
                <a:cubicBezTo>
                  <a:pt x="3760133" y="4450085"/>
                  <a:pt x="3731919" y="4480864"/>
                  <a:pt x="3703705" y="4509078"/>
                </a:cubicBezTo>
                <a:cubicBezTo>
                  <a:pt x="3672927" y="4539856"/>
                  <a:pt x="3642148" y="4570635"/>
                  <a:pt x="3611369" y="4593720"/>
                </a:cubicBezTo>
                <a:cubicBezTo>
                  <a:pt x="3616499" y="4580895"/>
                  <a:pt x="3621629" y="4565505"/>
                  <a:pt x="3616499" y="4555246"/>
                </a:cubicBezTo>
                <a:cubicBezTo>
                  <a:pt x="3613934" y="4547551"/>
                  <a:pt x="3608804" y="4539856"/>
                  <a:pt x="3595980" y="4537292"/>
                </a:cubicBezTo>
                <a:lnTo>
                  <a:pt x="3590850" y="4534727"/>
                </a:lnTo>
                <a:lnTo>
                  <a:pt x="3588285" y="4539856"/>
                </a:lnTo>
                <a:cubicBezTo>
                  <a:pt x="3483124" y="4821996"/>
                  <a:pt x="3280498" y="4927156"/>
                  <a:pt x="3065047" y="5037447"/>
                </a:cubicBezTo>
                <a:cubicBezTo>
                  <a:pt x="3008619" y="5068225"/>
                  <a:pt x="2947062" y="5099004"/>
                  <a:pt x="2890634" y="5132348"/>
                </a:cubicBezTo>
                <a:lnTo>
                  <a:pt x="2895051" y="5143389"/>
                </a:lnTo>
                <a:lnTo>
                  <a:pt x="2785474" y="5188775"/>
                </a:lnTo>
                <a:lnTo>
                  <a:pt x="2782909" y="5188775"/>
                </a:lnTo>
                <a:cubicBezTo>
                  <a:pt x="2782909" y="5188775"/>
                  <a:pt x="2780344" y="5191340"/>
                  <a:pt x="2777779" y="5191340"/>
                </a:cubicBezTo>
                <a:lnTo>
                  <a:pt x="2772649" y="5193905"/>
                </a:lnTo>
                <a:lnTo>
                  <a:pt x="2772649" y="5199035"/>
                </a:lnTo>
                <a:cubicBezTo>
                  <a:pt x="2772649" y="5199035"/>
                  <a:pt x="2772649" y="5201600"/>
                  <a:pt x="2772649" y="5201600"/>
                </a:cubicBezTo>
                <a:cubicBezTo>
                  <a:pt x="2772649" y="5201600"/>
                  <a:pt x="2770084" y="5204165"/>
                  <a:pt x="2767519" y="5204165"/>
                </a:cubicBezTo>
                <a:cubicBezTo>
                  <a:pt x="2754695" y="5209295"/>
                  <a:pt x="2741870" y="5211859"/>
                  <a:pt x="2736741" y="5222119"/>
                </a:cubicBezTo>
                <a:lnTo>
                  <a:pt x="2729046" y="5237508"/>
                </a:lnTo>
                <a:lnTo>
                  <a:pt x="2744435" y="5232378"/>
                </a:lnTo>
                <a:cubicBezTo>
                  <a:pt x="2754695" y="5229814"/>
                  <a:pt x="2762389" y="5224684"/>
                  <a:pt x="2772649" y="5222119"/>
                </a:cubicBezTo>
                <a:cubicBezTo>
                  <a:pt x="2698267" y="5255463"/>
                  <a:pt x="2626450" y="5283676"/>
                  <a:pt x="2554633" y="5311890"/>
                </a:cubicBezTo>
                <a:lnTo>
                  <a:pt x="2552068" y="5311890"/>
                </a:lnTo>
                <a:cubicBezTo>
                  <a:pt x="2518725" y="5337539"/>
                  <a:pt x="2475122" y="5363188"/>
                  <a:pt x="2441778" y="5378577"/>
                </a:cubicBezTo>
                <a:lnTo>
                  <a:pt x="2439213" y="5373448"/>
                </a:lnTo>
                <a:cubicBezTo>
                  <a:pt x="2441778" y="5370883"/>
                  <a:pt x="2446908" y="5368318"/>
                  <a:pt x="2452037" y="5365753"/>
                </a:cubicBezTo>
                <a:cubicBezTo>
                  <a:pt x="2503335" y="5334974"/>
                  <a:pt x="2554633" y="5304196"/>
                  <a:pt x="2605931" y="5270852"/>
                </a:cubicBezTo>
                <a:lnTo>
                  <a:pt x="2600802" y="5260592"/>
                </a:lnTo>
                <a:cubicBezTo>
                  <a:pt x="2513595" y="5291371"/>
                  <a:pt x="2418694" y="5340104"/>
                  <a:pt x="2326358" y="5401662"/>
                </a:cubicBezTo>
                <a:cubicBezTo>
                  <a:pt x="2326358" y="5386272"/>
                  <a:pt x="2303274" y="5396532"/>
                  <a:pt x="2295579" y="5386272"/>
                </a:cubicBezTo>
                <a:cubicBezTo>
                  <a:pt x="2295579" y="5370883"/>
                  <a:pt x="2305840" y="5368318"/>
                  <a:pt x="2316099" y="5365753"/>
                </a:cubicBezTo>
                <a:cubicBezTo>
                  <a:pt x="2287884" y="5332409"/>
                  <a:pt x="2259670" y="5299066"/>
                  <a:pt x="2236586" y="5263157"/>
                </a:cubicBezTo>
                <a:cubicBezTo>
                  <a:pt x="2234022" y="5255463"/>
                  <a:pt x="2228892" y="5247768"/>
                  <a:pt x="2226327" y="5240073"/>
                </a:cubicBezTo>
                <a:cubicBezTo>
                  <a:pt x="2255182" y="5225325"/>
                  <a:pt x="2285640" y="5207851"/>
                  <a:pt x="2315497" y="5186611"/>
                </a:cubicBezTo>
                <a:lnTo>
                  <a:pt x="2395045" y="5115894"/>
                </a:lnTo>
                <a:lnTo>
                  <a:pt x="2370602" y="5148698"/>
                </a:lnTo>
                <a:cubicBezTo>
                  <a:pt x="2330846" y="5189416"/>
                  <a:pt x="2287884" y="5222119"/>
                  <a:pt x="2241716" y="5247768"/>
                </a:cubicBezTo>
                <a:lnTo>
                  <a:pt x="2246846" y="5258027"/>
                </a:lnTo>
                <a:cubicBezTo>
                  <a:pt x="2354571" y="5222119"/>
                  <a:pt x="2434084" y="5140043"/>
                  <a:pt x="2490511" y="5006668"/>
                </a:cubicBezTo>
                <a:lnTo>
                  <a:pt x="2480251" y="5001538"/>
                </a:lnTo>
                <a:lnTo>
                  <a:pt x="2447871" y="5044996"/>
                </a:lnTo>
                <a:lnTo>
                  <a:pt x="2469791" y="5005626"/>
                </a:lnTo>
                <a:cubicBezTo>
                  <a:pt x="2488427" y="4965149"/>
                  <a:pt x="2502053" y="4918820"/>
                  <a:pt x="2508465" y="4865599"/>
                </a:cubicBezTo>
                <a:lnTo>
                  <a:pt x="2495642" y="4863034"/>
                </a:lnTo>
                <a:lnTo>
                  <a:pt x="2484382" y="4901533"/>
                </a:lnTo>
                <a:lnTo>
                  <a:pt x="2490511" y="4875858"/>
                </a:lnTo>
                <a:lnTo>
                  <a:pt x="2493076" y="4863034"/>
                </a:lnTo>
                <a:lnTo>
                  <a:pt x="2480251" y="4870729"/>
                </a:lnTo>
                <a:cubicBezTo>
                  <a:pt x="2475122" y="4873293"/>
                  <a:pt x="2475122" y="4873293"/>
                  <a:pt x="2472557" y="4875858"/>
                </a:cubicBezTo>
                <a:cubicBezTo>
                  <a:pt x="2477686" y="4863034"/>
                  <a:pt x="2480251" y="4847644"/>
                  <a:pt x="2482816" y="4832255"/>
                </a:cubicBezTo>
                <a:cubicBezTo>
                  <a:pt x="2490511" y="4796347"/>
                  <a:pt x="2477686" y="4783522"/>
                  <a:pt x="2467427" y="4778392"/>
                </a:cubicBezTo>
                <a:lnTo>
                  <a:pt x="2459732" y="4775827"/>
                </a:lnTo>
                <a:lnTo>
                  <a:pt x="2459732" y="4783522"/>
                </a:lnTo>
                <a:cubicBezTo>
                  <a:pt x="2444343" y="4924591"/>
                  <a:pt x="2385350" y="5024622"/>
                  <a:pt x="2303274" y="5099004"/>
                </a:cubicBezTo>
                <a:cubicBezTo>
                  <a:pt x="2346877" y="5052836"/>
                  <a:pt x="2382785" y="4998973"/>
                  <a:pt x="2405869" y="4937416"/>
                </a:cubicBezTo>
                <a:lnTo>
                  <a:pt x="2395610" y="4932286"/>
                </a:lnTo>
                <a:lnTo>
                  <a:pt x="2329211" y="5021708"/>
                </a:lnTo>
                <a:lnTo>
                  <a:pt x="2362266" y="4968194"/>
                </a:lnTo>
                <a:lnTo>
                  <a:pt x="2352007" y="4960500"/>
                </a:lnTo>
                <a:cubicBezTo>
                  <a:pt x="2341747" y="4973324"/>
                  <a:pt x="2328922" y="4986149"/>
                  <a:pt x="2318663" y="5001538"/>
                </a:cubicBezTo>
                <a:cubicBezTo>
                  <a:pt x="2303274" y="5022057"/>
                  <a:pt x="2285320" y="5042576"/>
                  <a:pt x="2269930" y="5060531"/>
                </a:cubicBezTo>
                <a:lnTo>
                  <a:pt x="2269930" y="5047706"/>
                </a:lnTo>
                <a:lnTo>
                  <a:pt x="2257106" y="5063096"/>
                </a:lnTo>
                <a:cubicBezTo>
                  <a:pt x="2226327" y="5099004"/>
                  <a:pt x="2190419" y="5127218"/>
                  <a:pt x="2151945" y="5152867"/>
                </a:cubicBezTo>
                <a:cubicBezTo>
                  <a:pt x="2131426" y="5124653"/>
                  <a:pt x="2110907" y="5096439"/>
                  <a:pt x="2087823" y="5068225"/>
                </a:cubicBezTo>
                <a:cubicBezTo>
                  <a:pt x="2090388" y="5065660"/>
                  <a:pt x="2092952" y="5060531"/>
                  <a:pt x="2095518" y="5055401"/>
                </a:cubicBezTo>
                <a:cubicBezTo>
                  <a:pt x="2100647" y="5045141"/>
                  <a:pt x="2108342" y="5032317"/>
                  <a:pt x="2113472" y="5022057"/>
                </a:cubicBezTo>
                <a:cubicBezTo>
                  <a:pt x="2131426" y="4988714"/>
                  <a:pt x="2149380" y="4957935"/>
                  <a:pt x="2154510" y="4927156"/>
                </a:cubicBezTo>
                <a:cubicBezTo>
                  <a:pt x="2159640" y="4906637"/>
                  <a:pt x="2159640" y="4883553"/>
                  <a:pt x="2162204" y="4860469"/>
                </a:cubicBezTo>
                <a:cubicBezTo>
                  <a:pt x="2167335" y="4793782"/>
                  <a:pt x="2172464" y="4732224"/>
                  <a:pt x="2226327" y="4709140"/>
                </a:cubicBezTo>
                <a:cubicBezTo>
                  <a:pt x="2236586" y="4704011"/>
                  <a:pt x="2246846" y="4706575"/>
                  <a:pt x="2259670" y="4706575"/>
                </a:cubicBezTo>
                <a:cubicBezTo>
                  <a:pt x="2262235" y="4706575"/>
                  <a:pt x="2267365" y="4706575"/>
                  <a:pt x="2269930" y="4706575"/>
                </a:cubicBezTo>
                <a:lnTo>
                  <a:pt x="2272495" y="4706575"/>
                </a:lnTo>
                <a:lnTo>
                  <a:pt x="2277625" y="4701446"/>
                </a:lnTo>
                <a:cubicBezTo>
                  <a:pt x="2313533" y="4655278"/>
                  <a:pt x="2359701" y="4591154"/>
                  <a:pt x="2434084" y="4596285"/>
                </a:cubicBezTo>
                <a:cubicBezTo>
                  <a:pt x="2441778" y="4596285"/>
                  <a:pt x="2449473" y="4598850"/>
                  <a:pt x="2457167" y="4601415"/>
                </a:cubicBezTo>
                <a:cubicBezTo>
                  <a:pt x="2464863" y="4603980"/>
                  <a:pt x="2472557" y="4606545"/>
                  <a:pt x="2480251" y="4606545"/>
                </a:cubicBezTo>
                <a:cubicBezTo>
                  <a:pt x="2528985" y="4611674"/>
                  <a:pt x="2567458" y="4593720"/>
                  <a:pt x="2605931" y="4578330"/>
                </a:cubicBezTo>
                <a:cubicBezTo>
                  <a:pt x="2649534" y="4560376"/>
                  <a:pt x="2685444" y="4544986"/>
                  <a:pt x="2731611" y="4560376"/>
                </a:cubicBezTo>
                <a:cubicBezTo>
                  <a:pt x="2729046" y="4624499"/>
                  <a:pt x="2700832" y="4688621"/>
                  <a:pt x="2675183" y="4742484"/>
                </a:cubicBezTo>
                <a:cubicBezTo>
                  <a:pt x="2670053" y="4755309"/>
                  <a:pt x="2664924" y="4768133"/>
                  <a:pt x="2659794" y="4778392"/>
                </a:cubicBezTo>
                <a:lnTo>
                  <a:pt x="2652099" y="4796347"/>
                </a:lnTo>
                <a:lnTo>
                  <a:pt x="2667489" y="4788652"/>
                </a:lnTo>
                <a:cubicBezTo>
                  <a:pt x="2711092" y="4765568"/>
                  <a:pt x="2726481" y="4704011"/>
                  <a:pt x="2741870" y="4642453"/>
                </a:cubicBezTo>
                <a:cubicBezTo>
                  <a:pt x="2749566" y="4614239"/>
                  <a:pt x="2754695" y="4588590"/>
                  <a:pt x="2764954" y="4565505"/>
                </a:cubicBezTo>
                <a:cubicBezTo>
                  <a:pt x="2759825" y="4637323"/>
                  <a:pt x="2729046" y="4721965"/>
                  <a:pt x="2700832" y="4783522"/>
                </a:cubicBezTo>
                <a:lnTo>
                  <a:pt x="2711092" y="4791217"/>
                </a:lnTo>
                <a:cubicBezTo>
                  <a:pt x="2749566" y="4763003"/>
                  <a:pt x="2764954" y="4701446"/>
                  <a:pt x="2780344" y="4645018"/>
                </a:cubicBezTo>
                <a:lnTo>
                  <a:pt x="2780344" y="4642453"/>
                </a:lnTo>
                <a:cubicBezTo>
                  <a:pt x="2795733" y="4637323"/>
                  <a:pt x="2795733" y="4621934"/>
                  <a:pt x="2795733" y="4609109"/>
                </a:cubicBezTo>
                <a:cubicBezTo>
                  <a:pt x="2795733" y="4603980"/>
                  <a:pt x="2795733" y="4598850"/>
                  <a:pt x="2795733" y="4596285"/>
                </a:cubicBezTo>
                <a:cubicBezTo>
                  <a:pt x="2798298" y="4596285"/>
                  <a:pt x="2800863" y="4596285"/>
                  <a:pt x="2803429" y="4593720"/>
                </a:cubicBezTo>
                <a:cubicBezTo>
                  <a:pt x="2800863" y="4606545"/>
                  <a:pt x="2798298" y="4621934"/>
                  <a:pt x="2795733" y="4637323"/>
                </a:cubicBezTo>
                <a:cubicBezTo>
                  <a:pt x="2785474" y="4693751"/>
                  <a:pt x="2777779" y="4750178"/>
                  <a:pt x="2749566" y="4788652"/>
                </a:cubicBezTo>
                <a:cubicBezTo>
                  <a:pt x="2741870" y="4801476"/>
                  <a:pt x="2734176" y="4809171"/>
                  <a:pt x="2723916" y="4816866"/>
                </a:cubicBezTo>
                <a:cubicBezTo>
                  <a:pt x="2708528" y="4829690"/>
                  <a:pt x="2690573" y="4845080"/>
                  <a:pt x="2693137" y="4870729"/>
                </a:cubicBezTo>
                <a:lnTo>
                  <a:pt x="2693137" y="4880988"/>
                </a:lnTo>
                <a:lnTo>
                  <a:pt x="2703397" y="4873293"/>
                </a:lnTo>
                <a:cubicBezTo>
                  <a:pt x="2777779" y="4819431"/>
                  <a:pt x="2818817" y="4698881"/>
                  <a:pt x="2831642" y="4591154"/>
                </a:cubicBezTo>
                <a:cubicBezTo>
                  <a:pt x="2841901" y="4693751"/>
                  <a:pt x="2764954" y="4837385"/>
                  <a:pt x="2713656" y="4870729"/>
                </a:cubicBezTo>
                <a:lnTo>
                  <a:pt x="2721351" y="4880988"/>
                </a:lnTo>
                <a:cubicBezTo>
                  <a:pt x="2777779" y="4847644"/>
                  <a:pt x="2818817" y="4791217"/>
                  <a:pt x="2844467" y="4714270"/>
                </a:cubicBezTo>
                <a:cubicBezTo>
                  <a:pt x="2862420" y="4657843"/>
                  <a:pt x="2859855" y="4606545"/>
                  <a:pt x="2854726" y="4557811"/>
                </a:cubicBezTo>
                <a:cubicBezTo>
                  <a:pt x="2852161" y="4524467"/>
                  <a:pt x="2849596" y="4491124"/>
                  <a:pt x="2852161" y="4457780"/>
                </a:cubicBezTo>
                <a:cubicBezTo>
                  <a:pt x="2870115" y="4285932"/>
                  <a:pt x="2952193" y="4103825"/>
                  <a:pt x="3095826" y="4103825"/>
                </a:cubicBezTo>
                <a:cubicBezTo>
                  <a:pt x="3095826" y="4103825"/>
                  <a:pt x="3098391" y="4103825"/>
                  <a:pt x="3098391" y="4103825"/>
                </a:cubicBezTo>
                <a:cubicBezTo>
                  <a:pt x="3098391" y="4116649"/>
                  <a:pt x="3095826" y="4132039"/>
                  <a:pt x="3093261" y="4147428"/>
                </a:cubicBezTo>
                <a:cubicBezTo>
                  <a:pt x="3088132" y="4167947"/>
                  <a:pt x="3085566" y="4191031"/>
                  <a:pt x="3088132" y="4208985"/>
                </a:cubicBezTo>
                <a:lnTo>
                  <a:pt x="3090696" y="4224374"/>
                </a:lnTo>
                <a:lnTo>
                  <a:pt x="3100955" y="4211550"/>
                </a:lnTo>
                <a:cubicBezTo>
                  <a:pt x="3113780" y="4193596"/>
                  <a:pt x="3116345" y="4165382"/>
                  <a:pt x="3116345" y="4142298"/>
                </a:cubicBezTo>
                <a:cubicBezTo>
                  <a:pt x="3116345" y="4119214"/>
                  <a:pt x="3118911" y="4101260"/>
                  <a:pt x="3126604" y="4096130"/>
                </a:cubicBezTo>
                <a:cubicBezTo>
                  <a:pt x="3129169" y="4111519"/>
                  <a:pt x="3126604" y="4129473"/>
                  <a:pt x="3121475" y="4147428"/>
                </a:cubicBezTo>
                <a:cubicBezTo>
                  <a:pt x="3116345" y="4167947"/>
                  <a:pt x="3113780" y="4188466"/>
                  <a:pt x="3116345" y="4203856"/>
                </a:cubicBezTo>
                <a:lnTo>
                  <a:pt x="3121475" y="4224374"/>
                </a:lnTo>
                <a:lnTo>
                  <a:pt x="3129169" y="4203856"/>
                </a:lnTo>
                <a:cubicBezTo>
                  <a:pt x="3136864" y="4183336"/>
                  <a:pt x="3141995" y="4162817"/>
                  <a:pt x="3147123" y="4139733"/>
                </a:cubicBezTo>
                <a:cubicBezTo>
                  <a:pt x="3157383" y="4101260"/>
                  <a:pt x="3165078" y="4065351"/>
                  <a:pt x="3188162" y="4052527"/>
                </a:cubicBezTo>
                <a:cubicBezTo>
                  <a:pt x="3200986" y="4044832"/>
                  <a:pt x="3216376" y="4044832"/>
                  <a:pt x="3239460" y="4049962"/>
                </a:cubicBezTo>
                <a:cubicBezTo>
                  <a:pt x="3242025" y="4183336"/>
                  <a:pt x="3183033" y="4314146"/>
                  <a:pt x="3057353" y="4447520"/>
                </a:cubicBezTo>
                <a:lnTo>
                  <a:pt x="3067612" y="4457780"/>
                </a:lnTo>
                <a:cubicBezTo>
                  <a:pt x="3172772" y="4355184"/>
                  <a:pt x="3270238" y="4247459"/>
                  <a:pt x="3275368" y="4060221"/>
                </a:cubicBezTo>
                <a:cubicBezTo>
                  <a:pt x="3277934" y="4060221"/>
                  <a:pt x="3277934" y="4062786"/>
                  <a:pt x="3277934" y="4062786"/>
                </a:cubicBezTo>
                <a:cubicBezTo>
                  <a:pt x="3285628" y="4073046"/>
                  <a:pt x="3280498" y="4096130"/>
                  <a:pt x="3275368" y="4116649"/>
                </a:cubicBezTo>
                <a:cubicBezTo>
                  <a:pt x="3270238" y="4137168"/>
                  <a:pt x="3267675" y="4152558"/>
                  <a:pt x="3272803" y="4160252"/>
                </a:cubicBezTo>
                <a:cubicBezTo>
                  <a:pt x="3272803" y="4160252"/>
                  <a:pt x="3275368" y="4162817"/>
                  <a:pt x="3275368" y="4162817"/>
                </a:cubicBezTo>
                <a:cubicBezTo>
                  <a:pt x="3275368" y="4162817"/>
                  <a:pt x="3272803" y="4165382"/>
                  <a:pt x="3272803" y="4165382"/>
                </a:cubicBezTo>
                <a:cubicBezTo>
                  <a:pt x="3270238" y="4170512"/>
                  <a:pt x="3265109" y="4180771"/>
                  <a:pt x="3272803" y="4188466"/>
                </a:cubicBezTo>
                <a:lnTo>
                  <a:pt x="3277934" y="4191031"/>
                </a:lnTo>
                <a:lnTo>
                  <a:pt x="3283063" y="4188466"/>
                </a:lnTo>
                <a:cubicBezTo>
                  <a:pt x="3306147" y="4170512"/>
                  <a:pt x="3324101" y="4103825"/>
                  <a:pt x="3324101" y="4060221"/>
                </a:cubicBezTo>
                <a:cubicBezTo>
                  <a:pt x="3349750" y="4062786"/>
                  <a:pt x="3365140" y="4047397"/>
                  <a:pt x="3377964" y="4034573"/>
                </a:cubicBezTo>
                <a:cubicBezTo>
                  <a:pt x="3390788" y="4021748"/>
                  <a:pt x="3401048" y="4011489"/>
                  <a:pt x="3419002" y="4014053"/>
                </a:cubicBezTo>
                <a:cubicBezTo>
                  <a:pt x="3463247" y="4019824"/>
                  <a:pt x="3484407" y="4055893"/>
                  <a:pt x="3496551" y="4098454"/>
                </a:cubicBezTo>
                <a:lnTo>
                  <a:pt x="3505795" y="4140415"/>
                </a:lnTo>
                <a:lnTo>
                  <a:pt x="3503244" y="4081582"/>
                </a:lnTo>
                <a:cubicBezTo>
                  <a:pt x="3491461" y="4021587"/>
                  <a:pt x="3452988" y="3986480"/>
                  <a:pt x="3385660" y="3973015"/>
                </a:cubicBezTo>
                <a:lnTo>
                  <a:pt x="3380530" y="3973015"/>
                </a:lnTo>
                <a:lnTo>
                  <a:pt x="3377965" y="3975580"/>
                </a:lnTo>
                <a:cubicBezTo>
                  <a:pt x="3342056" y="4024313"/>
                  <a:pt x="3293324" y="4019183"/>
                  <a:pt x="3229201" y="4014053"/>
                </a:cubicBezTo>
                <a:cubicBezTo>
                  <a:pt x="3221506" y="4011488"/>
                  <a:pt x="3213812" y="4011488"/>
                  <a:pt x="3206117" y="4011488"/>
                </a:cubicBezTo>
                <a:cubicBezTo>
                  <a:pt x="3167644" y="4008923"/>
                  <a:pt x="3144560" y="4029442"/>
                  <a:pt x="3121476" y="4047397"/>
                </a:cubicBezTo>
                <a:cubicBezTo>
                  <a:pt x="3116346" y="4052526"/>
                  <a:pt x="3111216" y="4055091"/>
                  <a:pt x="3106086" y="4060221"/>
                </a:cubicBezTo>
                <a:cubicBezTo>
                  <a:pt x="3044529" y="4055091"/>
                  <a:pt x="2988101" y="4078175"/>
                  <a:pt x="2939368" y="4124343"/>
                </a:cubicBezTo>
                <a:cubicBezTo>
                  <a:pt x="2857292" y="4206420"/>
                  <a:pt x="2803429" y="4357749"/>
                  <a:pt x="2808559" y="4509077"/>
                </a:cubicBezTo>
                <a:cubicBezTo>
                  <a:pt x="2790604" y="4498818"/>
                  <a:pt x="2770086" y="4488558"/>
                  <a:pt x="2752131" y="4493688"/>
                </a:cubicBezTo>
                <a:cubicBezTo>
                  <a:pt x="2747001" y="4493688"/>
                  <a:pt x="2741872" y="4498818"/>
                  <a:pt x="2739307" y="4501383"/>
                </a:cubicBezTo>
                <a:cubicBezTo>
                  <a:pt x="2739307" y="4498818"/>
                  <a:pt x="2739307" y="4498818"/>
                  <a:pt x="2739307" y="4498818"/>
                </a:cubicBezTo>
                <a:cubicBezTo>
                  <a:pt x="2739307" y="4491123"/>
                  <a:pt x="2741872" y="4485994"/>
                  <a:pt x="2736742" y="4480863"/>
                </a:cubicBezTo>
                <a:lnTo>
                  <a:pt x="2734177" y="4478299"/>
                </a:lnTo>
                <a:lnTo>
                  <a:pt x="2731612" y="4478299"/>
                </a:lnTo>
                <a:cubicBezTo>
                  <a:pt x="2729048" y="4478299"/>
                  <a:pt x="2723917" y="4480863"/>
                  <a:pt x="2721352" y="4483429"/>
                </a:cubicBezTo>
                <a:cubicBezTo>
                  <a:pt x="2716223" y="4491123"/>
                  <a:pt x="2716223" y="4501383"/>
                  <a:pt x="2716223" y="4514207"/>
                </a:cubicBezTo>
                <a:cubicBezTo>
                  <a:pt x="2682879" y="4501383"/>
                  <a:pt x="2652100" y="4503948"/>
                  <a:pt x="2618757" y="4519337"/>
                </a:cubicBezTo>
                <a:cubicBezTo>
                  <a:pt x="2705963" y="4250023"/>
                  <a:pt x="2736742" y="3855030"/>
                  <a:pt x="2636711" y="3644709"/>
                </a:cubicBezTo>
                <a:cubicBezTo>
                  <a:pt x="2634147" y="3647273"/>
                  <a:pt x="2634147" y="3647273"/>
                  <a:pt x="2631581" y="3647273"/>
                </a:cubicBezTo>
                <a:cubicBezTo>
                  <a:pt x="2600802" y="3639579"/>
                  <a:pt x="2590543" y="3613930"/>
                  <a:pt x="2598237" y="3590846"/>
                </a:cubicBezTo>
                <a:cubicBezTo>
                  <a:pt x="2593108" y="3588281"/>
                  <a:pt x="2585413" y="3583151"/>
                  <a:pt x="2580284" y="3580586"/>
                </a:cubicBezTo>
                <a:cubicBezTo>
                  <a:pt x="2577718" y="3588281"/>
                  <a:pt x="2572588" y="3598540"/>
                  <a:pt x="2570025" y="3608800"/>
                </a:cubicBezTo>
                <a:cubicBezTo>
                  <a:pt x="2575153" y="3611365"/>
                  <a:pt x="2577718" y="3611365"/>
                  <a:pt x="2582848" y="3611365"/>
                </a:cubicBezTo>
                <a:cubicBezTo>
                  <a:pt x="2680314" y="3772953"/>
                  <a:pt x="2698269" y="4029442"/>
                  <a:pt x="2634147" y="4373138"/>
                </a:cubicBezTo>
                <a:lnTo>
                  <a:pt x="2631581" y="4373138"/>
                </a:lnTo>
                <a:lnTo>
                  <a:pt x="2629016" y="4380833"/>
                </a:lnTo>
                <a:cubicBezTo>
                  <a:pt x="2626451" y="4388528"/>
                  <a:pt x="2623886" y="4398787"/>
                  <a:pt x="2621321" y="4406482"/>
                </a:cubicBezTo>
                <a:cubicBezTo>
                  <a:pt x="2608497" y="4447520"/>
                  <a:pt x="2593108" y="4493688"/>
                  <a:pt x="2567459" y="4521902"/>
                </a:cubicBezTo>
                <a:cubicBezTo>
                  <a:pt x="2570025" y="4516772"/>
                  <a:pt x="2572588" y="4509077"/>
                  <a:pt x="2575153" y="4503948"/>
                </a:cubicBezTo>
                <a:cubicBezTo>
                  <a:pt x="2593108" y="4462909"/>
                  <a:pt x="2611062" y="4421871"/>
                  <a:pt x="2603367" y="4380833"/>
                </a:cubicBezTo>
                <a:lnTo>
                  <a:pt x="2598237" y="4360314"/>
                </a:lnTo>
                <a:lnTo>
                  <a:pt x="2590543" y="4380833"/>
                </a:lnTo>
                <a:cubicBezTo>
                  <a:pt x="2580284" y="4409047"/>
                  <a:pt x="2567459" y="4434696"/>
                  <a:pt x="2554634" y="4460345"/>
                </a:cubicBezTo>
                <a:cubicBezTo>
                  <a:pt x="2541810" y="4488558"/>
                  <a:pt x="2526420" y="4516772"/>
                  <a:pt x="2516162" y="4550116"/>
                </a:cubicBezTo>
                <a:cubicBezTo>
                  <a:pt x="2513596" y="4550116"/>
                  <a:pt x="2513596" y="4550116"/>
                  <a:pt x="2511031" y="4550116"/>
                </a:cubicBezTo>
                <a:cubicBezTo>
                  <a:pt x="2508466" y="4550116"/>
                  <a:pt x="2503336" y="4550116"/>
                  <a:pt x="2498207" y="4550116"/>
                </a:cubicBezTo>
                <a:cubicBezTo>
                  <a:pt x="2523856" y="4511642"/>
                  <a:pt x="2536680" y="4462909"/>
                  <a:pt x="2552069" y="4416741"/>
                </a:cubicBezTo>
                <a:cubicBezTo>
                  <a:pt x="2562329" y="4383398"/>
                  <a:pt x="2572588" y="4350054"/>
                  <a:pt x="2585413" y="4321840"/>
                </a:cubicBezTo>
                <a:cubicBezTo>
                  <a:pt x="2590543" y="4309016"/>
                  <a:pt x="2598237" y="4298756"/>
                  <a:pt x="2605932" y="4285932"/>
                </a:cubicBezTo>
                <a:cubicBezTo>
                  <a:pt x="2629016" y="4252588"/>
                  <a:pt x="2654665" y="4214115"/>
                  <a:pt x="2626451" y="4175641"/>
                </a:cubicBezTo>
                <a:lnTo>
                  <a:pt x="2618757" y="4165382"/>
                </a:lnTo>
                <a:lnTo>
                  <a:pt x="2616192" y="4178206"/>
                </a:lnTo>
                <a:cubicBezTo>
                  <a:pt x="2590543" y="4267978"/>
                  <a:pt x="2541810" y="4380833"/>
                  <a:pt x="2498207" y="4483429"/>
                </a:cubicBezTo>
                <a:cubicBezTo>
                  <a:pt x="2487947" y="4506512"/>
                  <a:pt x="2477687" y="4529597"/>
                  <a:pt x="2469993" y="4550116"/>
                </a:cubicBezTo>
                <a:cubicBezTo>
                  <a:pt x="2464863" y="4550116"/>
                  <a:pt x="2459733" y="4550116"/>
                  <a:pt x="2454604" y="4550116"/>
                </a:cubicBezTo>
                <a:cubicBezTo>
                  <a:pt x="2454604" y="4550116"/>
                  <a:pt x="2452039" y="4550116"/>
                  <a:pt x="2452039" y="4550116"/>
                </a:cubicBezTo>
                <a:cubicBezTo>
                  <a:pt x="2467428" y="4534726"/>
                  <a:pt x="2475124" y="4511642"/>
                  <a:pt x="2485383" y="4491123"/>
                </a:cubicBezTo>
                <a:cubicBezTo>
                  <a:pt x="2487947" y="4483429"/>
                  <a:pt x="2493077" y="4475734"/>
                  <a:pt x="2495642" y="4468039"/>
                </a:cubicBezTo>
                <a:lnTo>
                  <a:pt x="2495642" y="4465474"/>
                </a:lnTo>
                <a:cubicBezTo>
                  <a:pt x="2498207" y="4457780"/>
                  <a:pt x="2493077" y="4452650"/>
                  <a:pt x="2490512" y="4450085"/>
                </a:cubicBezTo>
                <a:cubicBezTo>
                  <a:pt x="2487947" y="4450085"/>
                  <a:pt x="2487947" y="4447520"/>
                  <a:pt x="2487947" y="4447520"/>
                </a:cubicBezTo>
                <a:cubicBezTo>
                  <a:pt x="2521291" y="4373138"/>
                  <a:pt x="2559764" y="4283367"/>
                  <a:pt x="2587978" y="4198725"/>
                </a:cubicBezTo>
                <a:cubicBezTo>
                  <a:pt x="2593108" y="4178206"/>
                  <a:pt x="2600802" y="4157687"/>
                  <a:pt x="2608497" y="4139733"/>
                </a:cubicBezTo>
                <a:cubicBezTo>
                  <a:pt x="2623886" y="4101260"/>
                  <a:pt x="2636711" y="4067916"/>
                  <a:pt x="2641841" y="4042267"/>
                </a:cubicBezTo>
                <a:lnTo>
                  <a:pt x="2641841" y="4039702"/>
                </a:lnTo>
                <a:cubicBezTo>
                  <a:pt x="2644406" y="4029442"/>
                  <a:pt x="2646970" y="4014053"/>
                  <a:pt x="2639276" y="4003794"/>
                </a:cubicBezTo>
                <a:cubicBezTo>
                  <a:pt x="2634147" y="3998664"/>
                  <a:pt x="2629016" y="3996099"/>
                  <a:pt x="2618757" y="3996099"/>
                </a:cubicBezTo>
                <a:lnTo>
                  <a:pt x="2613627" y="3996099"/>
                </a:lnTo>
                <a:lnTo>
                  <a:pt x="2613627" y="4001228"/>
                </a:lnTo>
                <a:cubicBezTo>
                  <a:pt x="2585413" y="4144863"/>
                  <a:pt x="2518726" y="4321840"/>
                  <a:pt x="2416130" y="4542421"/>
                </a:cubicBezTo>
                <a:cubicBezTo>
                  <a:pt x="2405870" y="4542421"/>
                  <a:pt x="2398176" y="4542421"/>
                  <a:pt x="2390482" y="4544986"/>
                </a:cubicBezTo>
                <a:cubicBezTo>
                  <a:pt x="2469993" y="4360314"/>
                  <a:pt x="2570025" y="4116649"/>
                  <a:pt x="2639276" y="3839640"/>
                </a:cubicBezTo>
                <a:lnTo>
                  <a:pt x="2639276" y="3837075"/>
                </a:lnTo>
                <a:lnTo>
                  <a:pt x="2636711" y="3834510"/>
                </a:lnTo>
                <a:cubicBezTo>
                  <a:pt x="2626451" y="3813991"/>
                  <a:pt x="2621321" y="3806297"/>
                  <a:pt x="2613627" y="3808862"/>
                </a:cubicBezTo>
                <a:cubicBezTo>
                  <a:pt x="2608497" y="3808862"/>
                  <a:pt x="2608497" y="3819121"/>
                  <a:pt x="2608497" y="3831946"/>
                </a:cubicBezTo>
                <a:cubicBezTo>
                  <a:pt x="2608497" y="3839640"/>
                  <a:pt x="2608497" y="3847335"/>
                  <a:pt x="2608497" y="3855030"/>
                </a:cubicBezTo>
                <a:cubicBezTo>
                  <a:pt x="2605932" y="3867854"/>
                  <a:pt x="2600802" y="3880679"/>
                  <a:pt x="2595673" y="3893503"/>
                </a:cubicBezTo>
                <a:cubicBezTo>
                  <a:pt x="2593108" y="3898633"/>
                  <a:pt x="2590543" y="3906328"/>
                  <a:pt x="2587978" y="3914022"/>
                </a:cubicBezTo>
                <a:cubicBezTo>
                  <a:pt x="2523856" y="4121778"/>
                  <a:pt x="2441779" y="4380833"/>
                  <a:pt x="2352007" y="4542421"/>
                </a:cubicBezTo>
                <a:cubicBezTo>
                  <a:pt x="2341747" y="4547551"/>
                  <a:pt x="2334053" y="4555246"/>
                  <a:pt x="2326358" y="4562940"/>
                </a:cubicBezTo>
                <a:cubicBezTo>
                  <a:pt x="2323793" y="4568070"/>
                  <a:pt x="2318663" y="4570635"/>
                  <a:pt x="2316099" y="4573200"/>
                </a:cubicBezTo>
                <a:cubicBezTo>
                  <a:pt x="2323793" y="4557810"/>
                  <a:pt x="2328923" y="4542421"/>
                  <a:pt x="2336617" y="4527032"/>
                </a:cubicBezTo>
                <a:cubicBezTo>
                  <a:pt x="2444345" y="4280802"/>
                  <a:pt x="2567459" y="3998664"/>
                  <a:pt x="2598237" y="3696006"/>
                </a:cubicBezTo>
                <a:lnTo>
                  <a:pt x="2585413" y="3693441"/>
                </a:lnTo>
                <a:cubicBezTo>
                  <a:pt x="2580284" y="3703701"/>
                  <a:pt x="2577718" y="3711396"/>
                  <a:pt x="2575153" y="3721655"/>
                </a:cubicBezTo>
                <a:cubicBezTo>
                  <a:pt x="2575153" y="3724220"/>
                  <a:pt x="2572588" y="3729350"/>
                  <a:pt x="2572588" y="3731915"/>
                </a:cubicBezTo>
                <a:cubicBezTo>
                  <a:pt x="2570025" y="3742175"/>
                  <a:pt x="2567459" y="3754999"/>
                  <a:pt x="2564894" y="3767823"/>
                </a:cubicBezTo>
                <a:cubicBezTo>
                  <a:pt x="2559764" y="3788342"/>
                  <a:pt x="2557199" y="3808862"/>
                  <a:pt x="2549505" y="3831946"/>
                </a:cubicBezTo>
                <a:cubicBezTo>
                  <a:pt x="2541810" y="3855030"/>
                  <a:pt x="2539246" y="3880679"/>
                  <a:pt x="2534115" y="3903762"/>
                </a:cubicBezTo>
                <a:cubicBezTo>
                  <a:pt x="2531550" y="3926847"/>
                  <a:pt x="2526420" y="3952496"/>
                  <a:pt x="2518726" y="3975580"/>
                </a:cubicBezTo>
                <a:cubicBezTo>
                  <a:pt x="2467428" y="4142298"/>
                  <a:pt x="2395611" y="4329535"/>
                  <a:pt x="2308404" y="4532161"/>
                </a:cubicBezTo>
                <a:cubicBezTo>
                  <a:pt x="2290449" y="4547551"/>
                  <a:pt x="2280190" y="4568070"/>
                  <a:pt x="2267365" y="4591154"/>
                </a:cubicBezTo>
                <a:cubicBezTo>
                  <a:pt x="2254541" y="4611673"/>
                  <a:pt x="2244281" y="4629627"/>
                  <a:pt x="2231457" y="4645017"/>
                </a:cubicBezTo>
                <a:cubicBezTo>
                  <a:pt x="2334053" y="4455215"/>
                  <a:pt x="2421261" y="4201290"/>
                  <a:pt x="2498207" y="3957625"/>
                </a:cubicBezTo>
                <a:cubicBezTo>
                  <a:pt x="2516162" y="3901198"/>
                  <a:pt x="2534115" y="3826816"/>
                  <a:pt x="2546940" y="3757564"/>
                </a:cubicBezTo>
                <a:cubicBezTo>
                  <a:pt x="2544375" y="3760129"/>
                  <a:pt x="2544375" y="3760129"/>
                  <a:pt x="2541810" y="3760129"/>
                </a:cubicBezTo>
                <a:cubicBezTo>
                  <a:pt x="2539246" y="3757564"/>
                  <a:pt x="2534115" y="3757564"/>
                  <a:pt x="2528985" y="3754999"/>
                </a:cubicBezTo>
                <a:cubicBezTo>
                  <a:pt x="2531550" y="3744739"/>
                  <a:pt x="2521291" y="3742175"/>
                  <a:pt x="2518726" y="3734480"/>
                </a:cubicBezTo>
                <a:cubicBezTo>
                  <a:pt x="2516162" y="3734480"/>
                  <a:pt x="2516162" y="3734480"/>
                  <a:pt x="2516162" y="3734480"/>
                </a:cubicBezTo>
                <a:cubicBezTo>
                  <a:pt x="2452039" y="4085870"/>
                  <a:pt x="2328923" y="4437260"/>
                  <a:pt x="2187853" y="4652712"/>
                </a:cubicBezTo>
                <a:cubicBezTo>
                  <a:pt x="2180160" y="4668101"/>
                  <a:pt x="2167335" y="4678361"/>
                  <a:pt x="2154510" y="4691185"/>
                </a:cubicBezTo>
                <a:cubicBezTo>
                  <a:pt x="2149380" y="4696315"/>
                  <a:pt x="2144250" y="4701444"/>
                  <a:pt x="2139121" y="4706574"/>
                </a:cubicBezTo>
                <a:cubicBezTo>
                  <a:pt x="2282755" y="4468039"/>
                  <a:pt x="2398176" y="4155122"/>
                  <a:pt x="2500772" y="3729350"/>
                </a:cubicBezTo>
                <a:cubicBezTo>
                  <a:pt x="2495642" y="3724220"/>
                  <a:pt x="2490512" y="3716526"/>
                  <a:pt x="2485383" y="3711396"/>
                </a:cubicBezTo>
                <a:lnTo>
                  <a:pt x="2486477" y="3689136"/>
                </a:lnTo>
                <a:lnTo>
                  <a:pt x="2489681" y="3676732"/>
                </a:lnTo>
                <a:lnTo>
                  <a:pt x="2496282" y="3661059"/>
                </a:lnTo>
                <a:cubicBezTo>
                  <a:pt x="2504618" y="3647273"/>
                  <a:pt x="2516160" y="3635731"/>
                  <a:pt x="2526420" y="3624189"/>
                </a:cubicBezTo>
                <a:cubicBezTo>
                  <a:pt x="2523856" y="3619060"/>
                  <a:pt x="2521291" y="3616495"/>
                  <a:pt x="2513596" y="3611365"/>
                </a:cubicBezTo>
                <a:cubicBezTo>
                  <a:pt x="2521291" y="3608800"/>
                  <a:pt x="2531550" y="3608800"/>
                  <a:pt x="2539246" y="3608800"/>
                </a:cubicBezTo>
                <a:cubicBezTo>
                  <a:pt x="2546940" y="3598540"/>
                  <a:pt x="2552069" y="3588281"/>
                  <a:pt x="2554634" y="3575457"/>
                </a:cubicBezTo>
                <a:cubicBezTo>
                  <a:pt x="2541810" y="3575457"/>
                  <a:pt x="2528985" y="3580586"/>
                  <a:pt x="2518726" y="3588281"/>
                </a:cubicBezTo>
                <a:cubicBezTo>
                  <a:pt x="2480252" y="3595975"/>
                  <a:pt x="2444345" y="3608800"/>
                  <a:pt x="2411000" y="3624189"/>
                </a:cubicBezTo>
                <a:cubicBezTo>
                  <a:pt x="2413565" y="3634449"/>
                  <a:pt x="2413565" y="3642143"/>
                  <a:pt x="2411000" y="3652403"/>
                </a:cubicBezTo>
                <a:cubicBezTo>
                  <a:pt x="2421261" y="3644709"/>
                  <a:pt x="2436649" y="3637014"/>
                  <a:pt x="2449474" y="3631884"/>
                </a:cubicBezTo>
                <a:cubicBezTo>
                  <a:pt x="2436649" y="3649838"/>
                  <a:pt x="2434084" y="3672922"/>
                  <a:pt x="2431520" y="3701136"/>
                </a:cubicBezTo>
                <a:cubicBezTo>
                  <a:pt x="2428954" y="3724220"/>
                  <a:pt x="2426390" y="3752434"/>
                  <a:pt x="2416130" y="3778083"/>
                </a:cubicBezTo>
                <a:lnTo>
                  <a:pt x="2426390" y="3783213"/>
                </a:lnTo>
                <a:cubicBezTo>
                  <a:pt x="2441779" y="3765258"/>
                  <a:pt x="2449474" y="3734480"/>
                  <a:pt x="2457168" y="3706266"/>
                </a:cubicBezTo>
                <a:cubicBezTo>
                  <a:pt x="2464863" y="3680617"/>
                  <a:pt x="2472558" y="3652403"/>
                  <a:pt x="2482817" y="3642143"/>
                </a:cubicBezTo>
                <a:lnTo>
                  <a:pt x="2485383" y="3639579"/>
                </a:lnTo>
                <a:cubicBezTo>
                  <a:pt x="2485383" y="3637014"/>
                  <a:pt x="2485383" y="3631884"/>
                  <a:pt x="2482817" y="3629319"/>
                </a:cubicBezTo>
                <a:cubicBezTo>
                  <a:pt x="2480252" y="3624189"/>
                  <a:pt x="2475124" y="3624189"/>
                  <a:pt x="2472558" y="3624189"/>
                </a:cubicBezTo>
                <a:cubicBezTo>
                  <a:pt x="2469993" y="3624189"/>
                  <a:pt x="2467428" y="3624189"/>
                  <a:pt x="2467428" y="3624189"/>
                </a:cubicBezTo>
                <a:cubicBezTo>
                  <a:pt x="2480252" y="3619060"/>
                  <a:pt x="2493077" y="3616495"/>
                  <a:pt x="2505901" y="3613930"/>
                </a:cubicBezTo>
                <a:lnTo>
                  <a:pt x="2489681" y="3676732"/>
                </a:lnTo>
                <a:lnTo>
                  <a:pt x="2486744" y="3683703"/>
                </a:lnTo>
                <a:lnTo>
                  <a:pt x="2486477" y="3689136"/>
                </a:lnTo>
                <a:lnTo>
                  <a:pt x="2480894" y="3710755"/>
                </a:lnTo>
                <a:cubicBezTo>
                  <a:pt x="2473199" y="3742175"/>
                  <a:pt x="2466145" y="3772953"/>
                  <a:pt x="2459733" y="3803732"/>
                </a:cubicBezTo>
                <a:cubicBezTo>
                  <a:pt x="2441779" y="3890938"/>
                  <a:pt x="2421261" y="3973015"/>
                  <a:pt x="2395611" y="4055091"/>
                </a:cubicBezTo>
                <a:cubicBezTo>
                  <a:pt x="2303274" y="4339794"/>
                  <a:pt x="2213502" y="4542421"/>
                  <a:pt x="2121166" y="4675795"/>
                </a:cubicBezTo>
                <a:cubicBezTo>
                  <a:pt x="2103212" y="4701444"/>
                  <a:pt x="2082693" y="4721964"/>
                  <a:pt x="2062175" y="4745048"/>
                </a:cubicBezTo>
                <a:cubicBezTo>
                  <a:pt x="2057045" y="4752742"/>
                  <a:pt x="2049350" y="4757872"/>
                  <a:pt x="2044220" y="4765567"/>
                </a:cubicBezTo>
                <a:cubicBezTo>
                  <a:pt x="2044220" y="4763002"/>
                  <a:pt x="2044220" y="4763002"/>
                  <a:pt x="2044220" y="4763002"/>
                </a:cubicBezTo>
                <a:lnTo>
                  <a:pt x="2039091" y="4760437"/>
                </a:lnTo>
                <a:cubicBezTo>
                  <a:pt x="2177594" y="4555246"/>
                  <a:pt x="2298144" y="4296191"/>
                  <a:pt x="2367396" y="4042267"/>
                </a:cubicBezTo>
                <a:lnTo>
                  <a:pt x="2354572" y="4037137"/>
                </a:lnTo>
                <a:cubicBezTo>
                  <a:pt x="2244281" y="4342359"/>
                  <a:pt x="2092953" y="4629627"/>
                  <a:pt x="1910845" y="4888682"/>
                </a:cubicBezTo>
                <a:cubicBezTo>
                  <a:pt x="1905715" y="4875857"/>
                  <a:pt x="1915975" y="4863033"/>
                  <a:pt x="1931364" y="4845079"/>
                </a:cubicBezTo>
                <a:cubicBezTo>
                  <a:pt x="1939059" y="4837384"/>
                  <a:pt x="1946754" y="4829689"/>
                  <a:pt x="1951883" y="4819430"/>
                </a:cubicBezTo>
                <a:cubicBezTo>
                  <a:pt x="1977533" y="4773261"/>
                  <a:pt x="2005747" y="4724528"/>
                  <a:pt x="2033961" y="4673230"/>
                </a:cubicBezTo>
                <a:cubicBezTo>
                  <a:pt x="2131426" y="4503948"/>
                  <a:pt x="2241716" y="4311581"/>
                  <a:pt x="2295579" y="4088435"/>
                </a:cubicBezTo>
                <a:lnTo>
                  <a:pt x="2282755" y="4085870"/>
                </a:lnTo>
                <a:cubicBezTo>
                  <a:pt x="2203243" y="4288497"/>
                  <a:pt x="2105777" y="4485994"/>
                  <a:pt x="1982663" y="4686055"/>
                </a:cubicBezTo>
                <a:cubicBezTo>
                  <a:pt x="1980098" y="4688620"/>
                  <a:pt x="1977533" y="4691185"/>
                  <a:pt x="1974967" y="4693750"/>
                </a:cubicBezTo>
                <a:cubicBezTo>
                  <a:pt x="1998053" y="4645017"/>
                  <a:pt x="2023701" y="4596284"/>
                  <a:pt x="2049350" y="4542421"/>
                </a:cubicBezTo>
                <a:cubicBezTo>
                  <a:pt x="2116038" y="4406482"/>
                  <a:pt x="2187853" y="4265413"/>
                  <a:pt x="2234022" y="4119214"/>
                </a:cubicBezTo>
                <a:lnTo>
                  <a:pt x="2223762" y="4114084"/>
                </a:lnTo>
                <a:cubicBezTo>
                  <a:pt x="2192983" y="4157687"/>
                  <a:pt x="2175029" y="4208985"/>
                  <a:pt x="2157076" y="4257718"/>
                </a:cubicBezTo>
                <a:cubicBezTo>
                  <a:pt x="2146815" y="4285932"/>
                  <a:pt x="2136556" y="4314145"/>
                  <a:pt x="2123731" y="4339794"/>
                </a:cubicBezTo>
                <a:cubicBezTo>
                  <a:pt x="2087823" y="4421871"/>
                  <a:pt x="2041657" y="4496253"/>
                  <a:pt x="1998053" y="4565505"/>
                </a:cubicBezTo>
                <a:cubicBezTo>
                  <a:pt x="1992923" y="4573200"/>
                  <a:pt x="1990358" y="4580895"/>
                  <a:pt x="1985228" y="4586024"/>
                </a:cubicBezTo>
                <a:lnTo>
                  <a:pt x="1982663" y="4586024"/>
                </a:lnTo>
                <a:cubicBezTo>
                  <a:pt x="1982663" y="4586024"/>
                  <a:pt x="1980098" y="4586024"/>
                  <a:pt x="1980098" y="4586024"/>
                </a:cubicBezTo>
                <a:cubicBezTo>
                  <a:pt x="2044220" y="4470604"/>
                  <a:pt x="2105777" y="4319276"/>
                  <a:pt x="2177594" y="4119214"/>
                </a:cubicBezTo>
                <a:lnTo>
                  <a:pt x="2164770" y="4114084"/>
                </a:lnTo>
                <a:cubicBezTo>
                  <a:pt x="2146815" y="4149992"/>
                  <a:pt x="2131426" y="4188466"/>
                  <a:pt x="2113472" y="4226939"/>
                </a:cubicBezTo>
                <a:cubicBezTo>
                  <a:pt x="2048067" y="4371214"/>
                  <a:pt x="1985548" y="4509719"/>
                  <a:pt x="1912930" y="4628385"/>
                </a:cubicBezTo>
                <a:lnTo>
                  <a:pt x="1885932" y="4667764"/>
                </a:lnTo>
                <a:lnTo>
                  <a:pt x="1926234" y="4593719"/>
                </a:lnTo>
                <a:cubicBezTo>
                  <a:pt x="1931364" y="4583459"/>
                  <a:pt x="1936495" y="4573200"/>
                  <a:pt x="1941624" y="4562940"/>
                </a:cubicBezTo>
                <a:lnTo>
                  <a:pt x="1946754" y="4555246"/>
                </a:lnTo>
                <a:lnTo>
                  <a:pt x="1939059" y="4555246"/>
                </a:lnTo>
                <a:cubicBezTo>
                  <a:pt x="2013442" y="4409047"/>
                  <a:pt x="2085258" y="4265413"/>
                  <a:pt x="2131426" y="4114084"/>
                </a:cubicBezTo>
                <a:lnTo>
                  <a:pt x="2118601" y="4108954"/>
                </a:lnTo>
                <a:cubicBezTo>
                  <a:pt x="2090388" y="4160252"/>
                  <a:pt x="2064740" y="4219244"/>
                  <a:pt x="2041657" y="4275672"/>
                </a:cubicBezTo>
                <a:cubicBezTo>
                  <a:pt x="2013442" y="4342359"/>
                  <a:pt x="1985228" y="4409047"/>
                  <a:pt x="1951883" y="4468039"/>
                </a:cubicBezTo>
                <a:cubicBezTo>
                  <a:pt x="1949318" y="4452650"/>
                  <a:pt x="1944189" y="4439825"/>
                  <a:pt x="1936495" y="4429566"/>
                </a:cubicBezTo>
                <a:cubicBezTo>
                  <a:pt x="1985228" y="4344924"/>
                  <a:pt x="2023701" y="4244893"/>
                  <a:pt x="2059610" y="4144863"/>
                </a:cubicBezTo>
                <a:cubicBezTo>
                  <a:pt x="2074999" y="4103824"/>
                  <a:pt x="2092953" y="4062786"/>
                  <a:pt x="2108342" y="4021748"/>
                </a:cubicBezTo>
                <a:cubicBezTo>
                  <a:pt x="2108342" y="4021748"/>
                  <a:pt x="2110907" y="4021748"/>
                  <a:pt x="2113472" y="4021748"/>
                </a:cubicBezTo>
                <a:lnTo>
                  <a:pt x="2118601" y="4021748"/>
                </a:lnTo>
                <a:lnTo>
                  <a:pt x="2118601" y="4016618"/>
                </a:lnTo>
                <a:cubicBezTo>
                  <a:pt x="2136556" y="3934541"/>
                  <a:pt x="2157076" y="3857595"/>
                  <a:pt x="2203243" y="3826816"/>
                </a:cubicBezTo>
                <a:cubicBezTo>
                  <a:pt x="2195548" y="3855030"/>
                  <a:pt x="2185289" y="3885808"/>
                  <a:pt x="2175029" y="3914022"/>
                </a:cubicBezTo>
                <a:cubicBezTo>
                  <a:pt x="2164770" y="3947366"/>
                  <a:pt x="2154510" y="3980709"/>
                  <a:pt x="2146815" y="4011488"/>
                </a:cubicBezTo>
                <a:lnTo>
                  <a:pt x="2141686" y="4034572"/>
                </a:lnTo>
                <a:lnTo>
                  <a:pt x="2157076" y="4016618"/>
                </a:lnTo>
                <a:cubicBezTo>
                  <a:pt x="2185289" y="3988404"/>
                  <a:pt x="2200678" y="3934541"/>
                  <a:pt x="2213502" y="3885808"/>
                </a:cubicBezTo>
                <a:cubicBezTo>
                  <a:pt x="2226327" y="3834510"/>
                  <a:pt x="2241716" y="3780648"/>
                  <a:pt x="2272495" y="3754999"/>
                </a:cubicBezTo>
                <a:cubicBezTo>
                  <a:pt x="2267365" y="3790907"/>
                  <a:pt x="2254541" y="3826816"/>
                  <a:pt x="2241716" y="3862724"/>
                </a:cubicBezTo>
                <a:cubicBezTo>
                  <a:pt x="2226327" y="3906328"/>
                  <a:pt x="2210939" y="3947366"/>
                  <a:pt x="2216067" y="3980709"/>
                </a:cubicBezTo>
                <a:lnTo>
                  <a:pt x="2218632" y="3998664"/>
                </a:lnTo>
                <a:lnTo>
                  <a:pt x="2228892" y="3980709"/>
                </a:lnTo>
                <a:cubicBezTo>
                  <a:pt x="2246846" y="3947366"/>
                  <a:pt x="2257106" y="3901198"/>
                  <a:pt x="2267365" y="3857595"/>
                </a:cubicBezTo>
                <a:cubicBezTo>
                  <a:pt x="2282755" y="3790907"/>
                  <a:pt x="2298144" y="3721655"/>
                  <a:pt x="2339182" y="3696006"/>
                </a:cubicBezTo>
                <a:cubicBezTo>
                  <a:pt x="2321228" y="3739609"/>
                  <a:pt x="2308404" y="3801167"/>
                  <a:pt x="2295579" y="3862724"/>
                </a:cubicBezTo>
                <a:cubicBezTo>
                  <a:pt x="2290449" y="3888373"/>
                  <a:pt x="2285320" y="3914022"/>
                  <a:pt x="2280190" y="3934541"/>
                </a:cubicBezTo>
                <a:lnTo>
                  <a:pt x="2293014" y="3939671"/>
                </a:lnTo>
                <a:cubicBezTo>
                  <a:pt x="2328923" y="3865289"/>
                  <a:pt x="2357137" y="3754999"/>
                  <a:pt x="2367396" y="3680617"/>
                </a:cubicBezTo>
                <a:cubicBezTo>
                  <a:pt x="2369962" y="3678052"/>
                  <a:pt x="2372526" y="3678052"/>
                  <a:pt x="2375091" y="3675487"/>
                </a:cubicBezTo>
                <a:cubicBezTo>
                  <a:pt x="2369962" y="3667792"/>
                  <a:pt x="2364831" y="3660098"/>
                  <a:pt x="2359701" y="3652403"/>
                </a:cubicBezTo>
                <a:cubicBezTo>
                  <a:pt x="2359701" y="3649838"/>
                  <a:pt x="2359701" y="3649838"/>
                  <a:pt x="2359701" y="3649838"/>
                </a:cubicBezTo>
                <a:cubicBezTo>
                  <a:pt x="2259671" y="3711396"/>
                  <a:pt x="2177594" y="3806297"/>
                  <a:pt x="2100647" y="3898633"/>
                </a:cubicBezTo>
                <a:cubicBezTo>
                  <a:pt x="2085258" y="3919152"/>
                  <a:pt x="2069869" y="3937106"/>
                  <a:pt x="2051916" y="3957625"/>
                </a:cubicBezTo>
                <a:cubicBezTo>
                  <a:pt x="2031396" y="3993534"/>
                  <a:pt x="2008312" y="4026877"/>
                  <a:pt x="1985228" y="4060221"/>
                </a:cubicBezTo>
                <a:cubicBezTo>
                  <a:pt x="1954448" y="4106389"/>
                  <a:pt x="1921105" y="4155122"/>
                  <a:pt x="1892891" y="4211550"/>
                </a:cubicBezTo>
                <a:cubicBezTo>
                  <a:pt x="1872373" y="4221810"/>
                  <a:pt x="1859547" y="4252588"/>
                  <a:pt x="1846723" y="4283367"/>
                </a:cubicBezTo>
                <a:cubicBezTo>
                  <a:pt x="1844158" y="4291062"/>
                  <a:pt x="1839028" y="4298756"/>
                  <a:pt x="1836463" y="4306451"/>
                </a:cubicBezTo>
                <a:cubicBezTo>
                  <a:pt x="1826204" y="4267978"/>
                  <a:pt x="1795425" y="4232069"/>
                  <a:pt x="1736432" y="4229504"/>
                </a:cubicBezTo>
                <a:lnTo>
                  <a:pt x="1733868" y="4229504"/>
                </a:lnTo>
                <a:lnTo>
                  <a:pt x="1731303" y="4232069"/>
                </a:lnTo>
                <a:cubicBezTo>
                  <a:pt x="1723609" y="4239764"/>
                  <a:pt x="1718478" y="4252588"/>
                  <a:pt x="1718478" y="4265413"/>
                </a:cubicBezTo>
                <a:cubicBezTo>
                  <a:pt x="1715913" y="4262848"/>
                  <a:pt x="1713348" y="4257718"/>
                  <a:pt x="1710783" y="4255153"/>
                </a:cubicBezTo>
                <a:cubicBezTo>
                  <a:pt x="1690264" y="4232069"/>
                  <a:pt x="1672310" y="4206420"/>
                  <a:pt x="1631272" y="4206420"/>
                </a:cubicBezTo>
                <a:cubicBezTo>
                  <a:pt x="1621012" y="4206420"/>
                  <a:pt x="1613317" y="4208985"/>
                  <a:pt x="1605623" y="4211550"/>
                </a:cubicBezTo>
                <a:cubicBezTo>
                  <a:pt x="1595363" y="4216680"/>
                  <a:pt x="1590233" y="4219244"/>
                  <a:pt x="1577409" y="4214115"/>
                </a:cubicBezTo>
                <a:cubicBezTo>
                  <a:pt x="1572279" y="4211550"/>
                  <a:pt x="1567149" y="4206420"/>
                  <a:pt x="1564585" y="4198725"/>
                </a:cubicBezTo>
                <a:cubicBezTo>
                  <a:pt x="1559455" y="4193596"/>
                  <a:pt x="1554325" y="4183336"/>
                  <a:pt x="1544065" y="4178206"/>
                </a:cubicBezTo>
                <a:lnTo>
                  <a:pt x="1541500" y="4178206"/>
                </a:lnTo>
                <a:lnTo>
                  <a:pt x="1538936" y="4178206"/>
                </a:lnTo>
                <a:cubicBezTo>
                  <a:pt x="1513287" y="4183336"/>
                  <a:pt x="1492767" y="4170512"/>
                  <a:pt x="1469683" y="4155122"/>
                </a:cubicBezTo>
                <a:cubicBezTo>
                  <a:pt x="1461989" y="4149992"/>
                  <a:pt x="1451729" y="4144863"/>
                  <a:pt x="1444035" y="4139733"/>
                </a:cubicBezTo>
                <a:lnTo>
                  <a:pt x="1438905" y="4137168"/>
                </a:lnTo>
                <a:lnTo>
                  <a:pt x="1436340" y="4142298"/>
                </a:lnTo>
                <a:cubicBezTo>
                  <a:pt x="1395302" y="4188466"/>
                  <a:pt x="1326049" y="4160252"/>
                  <a:pt x="1264492" y="4134603"/>
                </a:cubicBezTo>
                <a:lnTo>
                  <a:pt x="1261927" y="4132038"/>
                </a:lnTo>
                <a:lnTo>
                  <a:pt x="1259362" y="4134603"/>
                </a:lnTo>
                <a:cubicBezTo>
                  <a:pt x="1251668" y="4142298"/>
                  <a:pt x="1246538" y="4149992"/>
                  <a:pt x="1241408" y="4157687"/>
                </a:cubicBezTo>
                <a:cubicBezTo>
                  <a:pt x="1233713" y="4155122"/>
                  <a:pt x="1228583" y="4152557"/>
                  <a:pt x="1220889" y="4149992"/>
                </a:cubicBezTo>
                <a:cubicBezTo>
                  <a:pt x="1208064" y="4144863"/>
                  <a:pt x="1192675" y="4139733"/>
                  <a:pt x="1177286" y="4137168"/>
                </a:cubicBezTo>
                <a:cubicBezTo>
                  <a:pt x="1218324" y="4126908"/>
                  <a:pt x="1261927" y="4119214"/>
                  <a:pt x="1305530" y="4111519"/>
                </a:cubicBezTo>
                <a:cubicBezTo>
                  <a:pt x="1138812" y="4042267"/>
                  <a:pt x="961835" y="3990969"/>
                  <a:pt x="800246" y="3890938"/>
                </a:cubicBezTo>
                <a:cubicBezTo>
                  <a:pt x="797681" y="3878114"/>
                  <a:pt x="825895" y="3867854"/>
                  <a:pt x="818201" y="3855030"/>
                </a:cubicBezTo>
                <a:cubicBezTo>
                  <a:pt x="789987" y="3821686"/>
                  <a:pt x="759208" y="3801167"/>
                  <a:pt x="728429" y="3790907"/>
                </a:cubicBezTo>
                <a:cubicBezTo>
                  <a:pt x="651483" y="3883244"/>
                  <a:pt x="556582" y="3775518"/>
                  <a:pt x="479635" y="3734480"/>
                </a:cubicBezTo>
                <a:cubicBezTo>
                  <a:pt x="495024" y="3690877"/>
                  <a:pt x="497589" y="3647273"/>
                  <a:pt x="554017" y="3657533"/>
                </a:cubicBezTo>
                <a:cubicBezTo>
                  <a:pt x="497589" y="3585716"/>
                  <a:pt x="407818" y="3601105"/>
                  <a:pt x="371909" y="3529288"/>
                </a:cubicBezTo>
                <a:cubicBezTo>
                  <a:pt x="346260" y="3508769"/>
                  <a:pt x="346260" y="3547243"/>
                  <a:pt x="325741" y="3542113"/>
                </a:cubicBezTo>
                <a:cubicBezTo>
                  <a:pt x="200061" y="3460036"/>
                  <a:pt x="69252" y="3429257"/>
                  <a:pt x="0" y="3334356"/>
                </a:cubicBezTo>
                <a:cubicBezTo>
                  <a:pt x="5129" y="3298451"/>
                  <a:pt x="38473" y="3313837"/>
                  <a:pt x="58992" y="3311275"/>
                </a:cubicBezTo>
                <a:cubicBezTo>
                  <a:pt x="61557" y="3329230"/>
                  <a:pt x="38473" y="3342051"/>
                  <a:pt x="64122" y="3362570"/>
                </a:cubicBezTo>
                <a:cubicBezTo>
                  <a:pt x="64122" y="3377959"/>
                  <a:pt x="146199" y="3344616"/>
                  <a:pt x="117985" y="3344616"/>
                </a:cubicBezTo>
                <a:cubicBezTo>
                  <a:pt x="202626" y="3344616"/>
                  <a:pt x="300092" y="3452342"/>
                  <a:pt x="361650" y="3483120"/>
                </a:cubicBezTo>
                <a:cubicBezTo>
                  <a:pt x="536062" y="3418998"/>
                  <a:pt x="674567" y="3672922"/>
                  <a:pt x="854109" y="3680617"/>
                </a:cubicBezTo>
                <a:cubicBezTo>
                  <a:pt x="902842" y="3731915"/>
                  <a:pt x="959270" y="3760129"/>
                  <a:pt x="1015697" y="3767823"/>
                </a:cubicBezTo>
                <a:cubicBezTo>
                  <a:pt x="1120858" y="3855030"/>
                  <a:pt x="1315790" y="3914022"/>
                  <a:pt x="1436340" y="4016618"/>
                </a:cubicBezTo>
                <a:cubicBezTo>
                  <a:pt x="1464554" y="4039702"/>
                  <a:pt x="1485073" y="4065351"/>
                  <a:pt x="1508157" y="4085870"/>
                </a:cubicBezTo>
                <a:cubicBezTo>
                  <a:pt x="1572279" y="4080740"/>
                  <a:pt x="1636402" y="4075611"/>
                  <a:pt x="1697959" y="4073046"/>
                </a:cubicBezTo>
                <a:cubicBezTo>
                  <a:pt x="1751822" y="4070480"/>
                  <a:pt x="1800555" y="4062786"/>
                  <a:pt x="1841594" y="4047397"/>
                </a:cubicBezTo>
                <a:cubicBezTo>
                  <a:pt x="1810814" y="4032007"/>
                  <a:pt x="1780036" y="4021748"/>
                  <a:pt x="1749257" y="4014053"/>
                </a:cubicBezTo>
                <a:cubicBezTo>
                  <a:pt x="1769776" y="3952496"/>
                  <a:pt x="1762081" y="3870419"/>
                  <a:pt x="1764646" y="3793472"/>
                </a:cubicBezTo>
                <a:cubicBezTo>
                  <a:pt x="1718478" y="3760129"/>
                  <a:pt x="1685134" y="3731915"/>
                  <a:pt x="1623577" y="3724220"/>
                </a:cubicBezTo>
                <a:cubicBezTo>
                  <a:pt x="1621012" y="3747304"/>
                  <a:pt x="1641531" y="3739609"/>
                  <a:pt x="1669745" y="3744739"/>
                </a:cubicBezTo>
                <a:cubicBezTo>
                  <a:pt x="1664615" y="3754999"/>
                  <a:pt x="1646661" y="3757564"/>
                  <a:pt x="1654356" y="3780648"/>
                </a:cubicBezTo>
                <a:cubicBezTo>
                  <a:pt x="1664615" y="3788342"/>
                  <a:pt x="1680005" y="3790907"/>
                  <a:pt x="1700524" y="3790907"/>
                </a:cubicBezTo>
                <a:cubicBezTo>
                  <a:pt x="1703089" y="3819121"/>
                  <a:pt x="1654356" y="3796037"/>
                  <a:pt x="1649226" y="3816556"/>
                </a:cubicBezTo>
                <a:cubicBezTo>
                  <a:pt x="1633837" y="3819121"/>
                  <a:pt x="1631272" y="3803732"/>
                  <a:pt x="1638967" y="3796037"/>
                </a:cubicBezTo>
                <a:cubicBezTo>
                  <a:pt x="1610753" y="3803732"/>
                  <a:pt x="1582539" y="3808862"/>
                  <a:pt x="1559455" y="3806297"/>
                </a:cubicBezTo>
                <a:cubicBezTo>
                  <a:pt x="1554325" y="3783213"/>
                  <a:pt x="1513287" y="3775518"/>
                  <a:pt x="1485073" y="3760129"/>
                </a:cubicBezTo>
                <a:cubicBezTo>
                  <a:pt x="1487638" y="3754999"/>
                  <a:pt x="1490203" y="3749869"/>
                  <a:pt x="1500462" y="3749869"/>
                </a:cubicBezTo>
                <a:cubicBezTo>
                  <a:pt x="1490203" y="3734480"/>
                  <a:pt x="1469683" y="3726785"/>
                  <a:pt x="1449164" y="3719090"/>
                </a:cubicBezTo>
                <a:cubicBezTo>
                  <a:pt x="1433775" y="3683182"/>
                  <a:pt x="1444035" y="3654968"/>
                  <a:pt x="1413256" y="3634449"/>
                </a:cubicBezTo>
                <a:cubicBezTo>
                  <a:pt x="1449164" y="3611365"/>
                  <a:pt x="1433775" y="3570326"/>
                  <a:pt x="1410691" y="3557502"/>
                </a:cubicBezTo>
                <a:cubicBezTo>
                  <a:pt x="1413256" y="3557502"/>
                  <a:pt x="1415821" y="3554937"/>
                  <a:pt x="1418386" y="3554937"/>
                </a:cubicBezTo>
                <a:cubicBezTo>
                  <a:pt x="1423515" y="3477991"/>
                  <a:pt x="1377347" y="3429257"/>
                  <a:pt x="1397866" y="3365141"/>
                </a:cubicBezTo>
                <a:cubicBezTo>
                  <a:pt x="1382477" y="3347185"/>
                  <a:pt x="1326049" y="3342051"/>
                  <a:pt x="1313225" y="3339489"/>
                </a:cubicBezTo>
                <a:cubicBezTo>
                  <a:pt x="1277317" y="3231764"/>
                  <a:pt x="1110598" y="3198421"/>
                  <a:pt x="972094" y="3244587"/>
                </a:cubicBezTo>
                <a:cubicBezTo>
                  <a:pt x="990048" y="3185597"/>
                  <a:pt x="1095209" y="3200986"/>
                  <a:pt x="1123423" y="3165076"/>
                </a:cubicBezTo>
                <a:cubicBezTo>
                  <a:pt x="1087514" y="3116343"/>
                  <a:pt x="1033652" y="3157383"/>
                  <a:pt x="987484" y="3144557"/>
                </a:cubicBezTo>
                <a:cubicBezTo>
                  <a:pt x="1008003" y="3124038"/>
                  <a:pt x="1051606" y="3129169"/>
                  <a:pt x="1066995" y="3103520"/>
                </a:cubicBezTo>
                <a:cubicBezTo>
                  <a:pt x="992613" y="3083001"/>
                  <a:pt x="943880" y="3147123"/>
                  <a:pt x="866934" y="3113779"/>
                </a:cubicBezTo>
                <a:cubicBezTo>
                  <a:pt x="851544" y="3090696"/>
                  <a:pt x="820765" y="3085566"/>
                  <a:pt x="787422" y="3083001"/>
                </a:cubicBezTo>
                <a:cubicBezTo>
                  <a:pt x="866934" y="2949626"/>
                  <a:pt x="1020827" y="2872679"/>
                  <a:pt x="1202935" y="2826512"/>
                </a:cubicBezTo>
                <a:cubicBezTo>
                  <a:pt x="1184980" y="2800864"/>
                  <a:pt x="1220889" y="2747000"/>
                  <a:pt x="1249103" y="2726481"/>
                </a:cubicBezTo>
                <a:cubicBezTo>
                  <a:pt x="1249103" y="2711092"/>
                  <a:pt x="1223454" y="2718786"/>
                  <a:pt x="1208064" y="2716221"/>
                </a:cubicBezTo>
                <a:cubicBezTo>
                  <a:pt x="1190110" y="2667488"/>
                  <a:pt x="1197805" y="2577716"/>
                  <a:pt x="1138812" y="2605930"/>
                </a:cubicBezTo>
                <a:cubicBezTo>
                  <a:pt x="1123423" y="2600800"/>
                  <a:pt x="1108034" y="2590540"/>
                  <a:pt x="1108034" y="2575151"/>
                </a:cubicBezTo>
                <a:cubicBezTo>
                  <a:pt x="1105469" y="2572586"/>
                  <a:pt x="1102904" y="2567457"/>
                  <a:pt x="1100339" y="2564892"/>
                </a:cubicBezTo>
                <a:cubicBezTo>
                  <a:pt x="1074690" y="2575151"/>
                  <a:pt x="1082385" y="2598235"/>
                  <a:pt x="1036217" y="2595670"/>
                </a:cubicBezTo>
                <a:cubicBezTo>
                  <a:pt x="1018262" y="2541808"/>
                  <a:pt x="1079820" y="2505899"/>
                  <a:pt x="1082385" y="2449470"/>
                </a:cubicBezTo>
                <a:cubicBezTo>
                  <a:pt x="1087514" y="2431518"/>
                  <a:pt x="1059301" y="2444342"/>
                  <a:pt x="1061865" y="2428952"/>
                </a:cubicBezTo>
                <a:cubicBezTo>
                  <a:pt x="1123423" y="2310968"/>
                  <a:pt x="1190110" y="2203241"/>
                  <a:pt x="1272187" y="2108341"/>
                </a:cubicBezTo>
                <a:cubicBezTo>
                  <a:pt x="1274752" y="2095516"/>
                  <a:pt x="1261927" y="2098082"/>
                  <a:pt x="1267057" y="2082693"/>
                </a:cubicBezTo>
                <a:cubicBezTo>
                  <a:pt x="1290141" y="2057044"/>
                  <a:pt x="1315790" y="2031396"/>
                  <a:pt x="1333744" y="1998051"/>
                </a:cubicBezTo>
                <a:cubicBezTo>
                  <a:pt x="1326049" y="2000616"/>
                  <a:pt x="1315790" y="2000616"/>
                  <a:pt x="1300400" y="2003181"/>
                </a:cubicBezTo>
                <a:cubicBezTo>
                  <a:pt x="1300400" y="1992921"/>
                  <a:pt x="1315790" y="1998051"/>
                  <a:pt x="1310660" y="1982662"/>
                </a:cubicBezTo>
                <a:cubicBezTo>
                  <a:pt x="1290141" y="2018570"/>
                  <a:pt x="1246538" y="2039090"/>
                  <a:pt x="1251668" y="2082693"/>
                </a:cubicBezTo>
                <a:cubicBezTo>
                  <a:pt x="1233713" y="2080128"/>
                  <a:pt x="1231148" y="2059609"/>
                  <a:pt x="1226019" y="2041654"/>
                </a:cubicBezTo>
                <a:cubicBezTo>
                  <a:pt x="1182415" y="2033960"/>
                  <a:pt x="1143942" y="2064738"/>
                  <a:pt x="1115728" y="2087822"/>
                </a:cubicBezTo>
                <a:cubicBezTo>
                  <a:pt x="1100339" y="2074997"/>
                  <a:pt x="1105469" y="2064738"/>
                  <a:pt x="1100339" y="2046783"/>
                </a:cubicBezTo>
                <a:cubicBezTo>
                  <a:pt x="1074690" y="2046783"/>
                  <a:pt x="1069560" y="2067302"/>
                  <a:pt x="1059301" y="2082693"/>
                </a:cubicBezTo>
                <a:cubicBezTo>
                  <a:pt x="1056736" y="2044219"/>
                  <a:pt x="1023392" y="2018570"/>
                  <a:pt x="990048" y="1998051"/>
                </a:cubicBezTo>
                <a:cubicBezTo>
                  <a:pt x="984919" y="1995486"/>
                  <a:pt x="972094" y="2013442"/>
                  <a:pt x="984919" y="2013442"/>
                </a:cubicBezTo>
                <a:cubicBezTo>
                  <a:pt x="982354" y="2018570"/>
                  <a:pt x="959270" y="2008311"/>
                  <a:pt x="949010" y="2018570"/>
                </a:cubicBezTo>
                <a:cubicBezTo>
                  <a:pt x="941315" y="1990357"/>
                  <a:pt x="969529" y="1995486"/>
                  <a:pt x="969529" y="1972402"/>
                </a:cubicBezTo>
                <a:cubicBezTo>
                  <a:pt x="959270" y="1959578"/>
                  <a:pt x="933621" y="1959578"/>
                  <a:pt x="923361" y="1946753"/>
                </a:cubicBezTo>
                <a:cubicBezTo>
                  <a:pt x="923361" y="1921104"/>
                  <a:pt x="933621" y="1921104"/>
                  <a:pt x="933621" y="1905715"/>
                </a:cubicBezTo>
                <a:cubicBezTo>
                  <a:pt x="900277" y="1892891"/>
                  <a:pt x="902842" y="1846722"/>
                  <a:pt x="864369" y="1841593"/>
                </a:cubicBezTo>
                <a:cubicBezTo>
                  <a:pt x="866934" y="1815944"/>
                  <a:pt x="923361" y="1841593"/>
                  <a:pt x="915666" y="1800556"/>
                </a:cubicBezTo>
                <a:cubicBezTo>
                  <a:pt x="902842" y="1785166"/>
                  <a:pt x="874628" y="1790296"/>
                  <a:pt x="856674" y="1780036"/>
                </a:cubicBezTo>
                <a:cubicBezTo>
                  <a:pt x="864369" y="1754387"/>
                  <a:pt x="902842" y="1759517"/>
                  <a:pt x="920796" y="1744128"/>
                </a:cubicBezTo>
                <a:cubicBezTo>
                  <a:pt x="910537" y="1708219"/>
                  <a:pt x="882323" y="1710784"/>
                  <a:pt x="884888" y="1674876"/>
                </a:cubicBezTo>
                <a:cubicBezTo>
                  <a:pt x="890018" y="1638967"/>
                  <a:pt x="928491" y="1638967"/>
                  <a:pt x="954140" y="1615883"/>
                </a:cubicBezTo>
                <a:cubicBezTo>
                  <a:pt x="949010" y="1600494"/>
                  <a:pt x="961835" y="1603059"/>
                  <a:pt x="959270" y="1590234"/>
                </a:cubicBezTo>
                <a:cubicBezTo>
                  <a:pt x="959270" y="1569715"/>
                  <a:pt x="938751" y="1567150"/>
                  <a:pt x="943880" y="1538935"/>
                </a:cubicBezTo>
                <a:cubicBezTo>
                  <a:pt x="974659" y="1541501"/>
                  <a:pt x="982354" y="1518416"/>
                  <a:pt x="995178" y="1497898"/>
                </a:cubicBezTo>
                <a:cubicBezTo>
                  <a:pt x="987484" y="1474813"/>
                  <a:pt x="982354" y="1449164"/>
                  <a:pt x="964400" y="1433775"/>
                </a:cubicBezTo>
                <a:cubicBezTo>
                  <a:pt x="969529" y="1423515"/>
                  <a:pt x="982354" y="1436340"/>
                  <a:pt x="990048" y="1408126"/>
                </a:cubicBezTo>
                <a:cubicBezTo>
                  <a:pt x="972094" y="1390172"/>
                  <a:pt x="941315" y="1382477"/>
                  <a:pt x="920796" y="1367088"/>
                </a:cubicBezTo>
                <a:cubicBezTo>
                  <a:pt x="895147" y="1269622"/>
                  <a:pt x="907972" y="1146507"/>
                  <a:pt x="1010568" y="1167026"/>
                </a:cubicBezTo>
                <a:cubicBezTo>
                  <a:pt x="1051606" y="1174721"/>
                  <a:pt x="1161896" y="1261927"/>
                  <a:pt x="1131118" y="1341439"/>
                </a:cubicBezTo>
                <a:cubicBezTo>
                  <a:pt x="1169591" y="1385042"/>
                  <a:pt x="1220889" y="1438905"/>
                  <a:pt x="1210629" y="1510722"/>
                </a:cubicBezTo>
                <a:cubicBezTo>
                  <a:pt x="1226019" y="1554326"/>
                  <a:pt x="1287576" y="1574845"/>
                  <a:pt x="1290141" y="1610753"/>
                </a:cubicBezTo>
                <a:cubicBezTo>
                  <a:pt x="1369653" y="1577410"/>
                  <a:pt x="1308095" y="1718479"/>
                  <a:pt x="1359393" y="1705654"/>
                </a:cubicBezTo>
                <a:cubicBezTo>
                  <a:pt x="1377347" y="1713349"/>
                  <a:pt x="1379912" y="1738998"/>
                  <a:pt x="1395302" y="1751823"/>
                </a:cubicBezTo>
                <a:cubicBezTo>
                  <a:pt x="1349133" y="1803120"/>
                  <a:pt x="1395302" y="1831334"/>
                  <a:pt x="1423515" y="1862112"/>
                </a:cubicBezTo>
                <a:cubicBezTo>
                  <a:pt x="1469683" y="1795426"/>
                  <a:pt x="1500462" y="1715914"/>
                  <a:pt x="1556890" y="1662051"/>
                </a:cubicBezTo>
                <a:cubicBezTo>
                  <a:pt x="1651791" y="1680005"/>
                  <a:pt x="1656921" y="1787730"/>
                  <a:pt x="1731303" y="1823639"/>
                </a:cubicBezTo>
                <a:cubicBezTo>
                  <a:pt x="1762081" y="1880066"/>
                  <a:pt x="1803119" y="1933929"/>
                  <a:pt x="1795425" y="2013442"/>
                </a:cubicBezTo>
                <a:cubicBezTo>
                  <a:pt x="1744127" y="2085258"/>
                  <a:pt x="1690264" y="2154509"/>
                  <a:pt x="1626142" y="2213500"/>
                </a:cubicBezTo>
                <a:cubicBezTo>
                  <a:pt x="1628708" y="2218631"/>
                  <a:pt x="1633837" y="2226327"/>
                  <a:pt x="1636402" y="2231456"/>
                </a:cubicBezTo>
                <a:cubicBezTo>
                  <a:pt x="1659487" y="2213500"/>
                  <a:pt x="1680005" y="2195544"/>
                  <a:pt x="1705654" y="2180157"/>
                </a:cubicBezTo>
                <a:cubicBezTo>
                  <a:pt x="1703089" y="2162202"/>
                  <a:pt x="1708219" y="2151944"/>
                  <a:pt x="1710783" y="2139120"/>
                </a:cubicBezTo>
                <a:cubicBezTo>
                  <a:pt x="1762081" y="2133992"/>
                  <a:pt x="1792860" y="2159638"/>
                  <a:pt x="1826204" y="2177592"/>
                </a:cubicBezTo>
                <a:cubicBezTo>
                  <a:pt x="1810814" y="2136555"/>
                  <a:pt x="1803119" y="2090386"/>
                  <a:pt x="1800555" y="2046783"/>
                </a:cubicBezTo>
                <a:cubicBezTo>
                  <a:pt x="1800555" y="2039090"/>
                  <a:pt x="1808249" y="2036525"/>
                  <a:pt x="1810814" y="2031396"/>
                </a:cubicBezTo>
                <a:cubicBezTo>
                  <a:pt x="1810814" y="2026267"/>
                  <a:pt x="1805685" y="2026267"/>
                  <a:pt x="1808249" y="2018570"/>
                </a:cubicBezTo>
                <a:cubicBezTo>
                  <a:pt x="1839028" y="1985227"/>
                  <a:pt x="1854417" y="1936494"/>
                  <a:pt x="1882632" y="1898020"/>
                </a:cubicBezTo>
                <a:cubicBezTo>
                  <a:pt x="1862112" y="1905715"/>
                  <a:pt x="1839028" y="1900585"/>
                  <a:pt x="1813379" y="1900585"/>
                </a:cubicBezTo>
                <a:cubicBezTo>
                  <a:pt x="1803119" y="1887761"/>
                  <a:pt x="1803119" y="1885196"/>
                  <a:pt x="1800555" y="1869807"/>
                </a:cubicBezTo>
                <a:cubicBezTo>
                  <a:pt x="1797990" y="1872371"/>
                  <a:pt x="1795425" y="1872371"/>
                  <a:pt x="1790295" y="1872371"/>
                </a:cubicBezTo>
                <a:cubicBezTo>
                  <a:pt x="1797990" y="1864677"/>
                  <a:pt x="1787731" y="1864677"/>
                  <a:pt x="1780036" y="1867242"/>
                </a:cubicBezTo>
                <a:cubicBezTo>
                  <a:pt x="1774906" y="1813380"/>
                  <a:pt x="1741562" y="1785166"/>
                  <a:pt x="1738997" y="1723609"/>
                </a:cubicBezTo>
                <a:cubicBezTo>
                  <a:pt x="1741562" y="1721044"/>
                  <a:pt x="1746693" y="1718479"/>
                  <a:pt x="1749257" y="1715914"/>
                </a:cubicBezTo>
                <a:cubicBezTo>
                  <a:pt x="1746693" y="1708219"/>
                  <a:pt x="1736432" y="1705654"/>
                  <a:pt x="1736432" y="1692830"/>
                </a:cubicBezTo>
                <a:cubicBezTo>
                  <a:pt x="1731303" y="1692830"/>
                  <a:pt x="1731303" y="1687700"/>
                  <a:pt x="1723609" y="1690265"/>
                </a:cubicBezTo>
                <a:cubicBezTo>
                  <a:pt x="1723609" y="1685135"/>
                  <a:pt x="1721043" y="1682570"/>
                  <a:pt x="1721043" y="1680005"/>
                </a:cubicBezTo>
                <a:cubicBezTo>
                  <a:pt x="1672310" y="1667181"/>
                  <a:pt x="1723609" y="1633837"/>
                  <a:pt x="1733868" y="1605624"/>
                </a:cubicBezTo>
                <a:cubicBezTo>
                  <a:pt x="1741562" y="1582540"/>
                  <a:pt x="1726173" y="1562020"/>
                  <a:pt x="1741562" y="1541501"/>
                </a:cubicBezTo>
                <a:cubicBezTo>
                  <a:pt x="1736432" y="1520981"/>
                  <a:pt x="1741562" y="1495333"/>
                  <a:pt x="1733868" y="1482508"/>
                </a:cubicBezTo>
                <a:cubicBezTo>
                  <a:pt x="1792860" y="1359393"/>
                  <a:pt x="1854417" y="1236278"/>
                  <a:pt x="1923670" y="1120858"/>
                </a:cubicBezTo>
                <a:cubicBezTo>
                  <a:pt x="1923670" y="1115728"/>
                  <a:pt x="1923670" y="1110598"/>
                  <a:pt x="1923670" y="1105469"/>
                </a:cubicBezTo>
                <a:cubicBezTo>
                  <a:pt x="1946754" y="1087513"/>
                  <a:pt x="1946754" y="1049041"/>
                  <a:pt x="1987794" y="1043911"/>
                </a:cubicBezTo>
                <a:cubicBezTo>
                  <a:pt x="2005747" y="1020828"/>
                  <a:pt x="2028831" y="1010568"/>
                  <a:pt x="2026266" y="972095"/>
                </a:cubicBezTo>
                <a:cubicBezTo>
                  <a:pt x="2036526" y="1000308"/>
                  <a:pt x="2013442" y="1038781"/>
                  <a:pt x="2005747" y="1066995"/>
                </a:cubicBezTo>
                <a:cubicBezTo>
                  <a:pt x="2018572" y="1049041"/>
                  <a:pt x="2026266" y="1031087"/>
                  <a:pt x="2041657" y="1018262"/>
                </a:cubicBezTo>
                <a:cubicBezTo>
                  <a:pt x="2049350" y="1028522"/>
                  <a:pt x="2036526" y="1043911"/>
                  <a:pt x="2031396" y="1051606"/>
                </a:cubicBezTo>
                <a:cubicBezTo>
                  <a:pt x="2033961" y="1059300"/>
                  <a:pt x="2033961" y="1046476"/>
                  <a:pt x="2041657" y="1049041"/>
                </a:cubicBezTo>
                <a:cubicBezTo>
                  <a:pt x="2036526" y="1061865"/>
                  <a:pt x="2028831" y="1069559"/>
                  <a:pt x="2026266" y="1082384"/>
                </a:cubicBezTo>
                <a:cubicBezTo>
                  <a:pt x="2046785" y="1059300"/>
                  <a:pt x="2051916" y="1033652"/>
                  <a:pt x="2072434" y="1013132"/>
                </a:cubicBezTo>
                <a:cubicBezTo>
                  <a:pt x="2072434" y="1002874"/>
                  <a:pt x="2074999" y="992614"/>
                  <a:pt x="2087823" y="990049"/>
                </a:cubicBezTo>
                <a:cubicBezTo>
                  <a:pt x="2087823" y="1000308"/>
                  <a:pt x="2087823" y="1008003"/>
                  <a:pt x="2085258" y="1015697"/>
                </a:cubicBezTo>
                <a:cubicBezTo>
                  <a:pt x="2092953" y="1018262"/>
                  <a:pt x="2100647" y="995179"/>
                  <a:pt x="2103212" y="1015697"/>
                </a:cubicBezTo>
                <a:cubicBezTo>
                  <a:pt x="2133991" y="1002874"/>
                  <a:pt x="2149380" y="1000308"/>
                  <a:pt x="2159640" y="964399"/>
                </a:cubicBezTo>
                <a:cubicBezTo>
                  <a:pt x="2167335" y="966964"/>
                  <a:pt x="2159640" y="977225"/>
                  <a:pt x="2159640" y="982355"/>
                </a:cubicBezTo>
                <a:cubicBezTo>
                  <a:pt x="2177594" y="969530"/>
                  <a:pt x="2180160" y="931055"/>
                  <a:pt x="2210939" y="936185"/>
                </a:cubicBezTo>
                <a:cubicBezTo>
                  <a:pt x="2218632" y="959270"/>
                  <a:pt x="2208373" y="972095"/>
                  <a:pt x="2198113" y="992614"/>
                </a:cubicBezTo>
                <a:cubicBezTo>
                  <a:pt x="2210939" y="984920"/>
                  <a:pt x="2216067" y="966964"/>
                  <a:pt x="2221198" y="949009"/>
                </a:cubicBezTo>
                <a:cubicBezTo>
                  <a:pt x="2231457" y="959270"/>
                  <a:pt x="2218632" y="984920"/>
                  <a:pt x="2216067" y="1000308"/>
                </a:cubicBezTo>
                <a:cubicBezTo>
                  <a:pt x="2223762" y="987483"/>
                  <a:pt x="2234022" y="972095"/>
                  <a:pt x="2244281" y="954139"/>
                </a:cubicBezTo>
                <a:cubicBezTo>
                  <a:pt x="2251977" y="943879"/>
                  <a:pt x="2257106" y="931055"/>
                  <a:pt x="2262235" y="920795"/>
                </a:cubicBezTo>
                <a:cubicBezTo>
                  <a:pt x="2282755" y="907971"/>
                  <a:pt x="2295579" y="887452"/>
                  <a:pt x="2308404" y="866932"/>
                </a:cubicBezTo>
                <a:cubicBezTo>
                  <a:pt x="2318663" y="874627"/>
                  <a:pt x="2326358" y="859238"/>
                  <a:pt x="2326358" y="846413"/>
                </a:cubicBezTo>
                <a:cubicBezTo>
                  <a:pt x="2334053" y="846413"/>
                  <a:pt x="2331488" y="856673"/>
                  <a:pt x="2339182" y="856673"/>
                </a:cubicBezTo>
                <a:cubicBezTo>
                  <a:pt x="2339182" y="848978"/>
                  <a:pt x="2334053" y="848978"/>
                  <a:pt x="2334053" y="841284"/>
                </a:cubicBezTo>
                <a:cubicBezTo>
                  <a:pt x="2346877" y="843848"/>
                  <a:pt x="2346877" y="846413"/>
                  <a:pt x="2344312" y="856673"/>
                </a:cubicBezTo>
                <a:cubicBezTo>
                  <a:pt x="2359701" y="869497"/>
                  <a:pt x="2377657" y="874627"/>
                  <a:pt x="2390482" y="887452"/>
                </a:cubicBezTo>
                <a:cubicBezTo>
                  <a:pt x="2393046" y="882322"/>
                  <a:pt x="2385351" y="866932"/>
                  <a:pt x="2377657" y="872062"/>
                </a:cubicBezTo>
                <a:cubicBezTo>
                  <a:pt x="2377657" y="866932"/>
                  <a:pt x="2382787" y="866932"/>
                  <a:pt x="2380221" y="859238"/>
                </a:cubicBezTo>
                <a:cubicBezTo>
                  <a:pt x="2372526" y="859238"/>
                  <a:pt x="2375091" y="872062"/>
                  <a:pt x="2364831" y="869497"/>
                </a:cubicBezTo>
                <a:cubicBezTo>
                  <a:pt x="2364831" y="861803"/>
                  <a:pt x="2372526" y="861803"/>
                  <a:pt x="2372526" y="851543"/>
                </a:cubicBezTo>
                <a:cubicBezTo>
                  <a:pt x="2369962" y="851543"/>
                  <a:pt x="2367396" y="856673"/>
                  <a:pt x="2367396" y="861803"/>
                </a:cubicBezTo>
                <a:cubicBezTo>
                  <a:pt x="2357137" y="859238"/>
                  <a:pt x="2367396" y="848978"/>
                  <a:pt x="2375091" y="848978"/>
                </a:cubicBezTo>
                <a:cubicBezTo>
                  <a:pt x="2364831" y="841284"/>
                  <a:pt x="2372526" y="836154"/>
                  <a:pt x="2372526" y="823329"/>
                </a:cubicBezTo>
                <a:cubicBezTo>
                  <a:pt x="2357137" y="825894"/>
                  <a:pt x="2364831" y="843848"/>
                  <a:pt x="2362266" y="854108"/>
                </a:cubicBezTo>
                <a:cubicBezTo>
                  <a:pt x="2346877" y="848978"/>
                  <a:pt x="2359701" y="831025"/>
                  <a:pt x="2344312" y="823329"/>
                </a:cubicBezTo>
                <a:cubicBezTo>
                  <a:pt x="2346877" y="815635"/>
                  <a:pt x="2349442" y="825894"/>
                  <a:pt x="2354572" y="823329"/>
                </a:cubicBezTo>
                <a:cubicBezTo>
                  <a:pt x="2344312" y="807940"/>
                  <a:pt x="2362266" y="787421"/>
                  <a:pt x="2372526" y="777161"/>
                </a:cubicBezTo>
                <a:cubicBezTo>
                  <a:pt x="2377657" y="774597"/>
                  <a:pt x="2375091" y="782292"/>
                  <a:pt x="2380221" y="782292"/>
                </a:cubicBezTo>
                <a:cubicBezTo>
                  <a:pt x="2387916" y="782292"/>
                  <a:pt x="2377657" y="777161"/>
                  <a:pt x="2380221" y="772031"/>
                </a:cubicBezTo>
                <a:cubicBezTo>
                  <a:pt x="2393046" y="774597"/>
                  <a:pt x="2390482" y="754078"/>
                  <a:pt x="2395611" y="746384"/>
                </a:cubicBezTo>
                <a:cubicBezTo>
                  <a:pt x="2395611" y="746384"/>
                  <a:pt x="2400741" y="748947"/>
                  <a:pt x="2400741" y="748947"/>
                </a:cubicBezTo>
                <a:cubicBezTo>
                  <a:pt x="2395611" y="751513"/>
                  <a:pt x="2411000" y="730994"/>
                  <a:pt x="2408435" y="728428"/>
                </a:cubicBezTo>
                <a:cubicBezTo>
                  <a:pt x="2421261" y="730994"/>
                  <a:pt x="2418695" y="707909"/>
                  <a:pt x="2428954" y="713040"/>
                </a:cubicBezTo>
                <a:cubicBezTo>
                  <a:pt x="2421261" y="707909"/>
                  <a:pt x="2434084" y="697651"/>
                  <a:pt x="2428954" y="695086"/>
                </a:cubicBezTo>
                <a:cubicBezTo>
                  <a:pt x="2431520" y="692521"/>
                  <a:pt x="2441779" y="684826"/>
                  <a:pt x="2446909" y="689956"/>
                </a:cubicBezTo>
                <a:cubicBezTo>
                  <a:pt x="2444345" y="682261"/>
                  <a:pt x="2441779" y="677131"/>
                  <a:pt x="2454604" y="679696"/>
                </a:cubicBezTo>
                <a:cubicBezTo>
                  <a:pt x="2449474" y="674567"/>
                  <a:pt x="2441779" y="674567"/>
                  <a:pt x="2444345" y="661742"/>
                </a:cubicBezTo>
                <a:cubicBezTo>
                  <a:pt x="2449474" y="659177"/>
                  <a:pt x="2449474" y="664307"/>
                  <a:pt x="2449474" y="669437"/>
                </a:cubicBezTo>
                <a:cubicBezTo>
                  <a:pt x="2452039" y="648918"/>
                  <a:pt x="2467428" y="630963"/>
                  <a:pt x="2480252" y="615574"/>
                </a:cubicBezTo>
                <a:cubicBezTo>
                  <a:pt x="2508466" y="630963"/>
                  <a:pt x="2464863" y="648918"/>
                  <a:pt x="2477687" y="674567"/>
                </a:cubicBezTo>
                <a:cubicBezTo>
                  <a:pt x="2469993" y="674567"/>
                  <a:pt x="2475124" y="661742"/>
                  <a:pt x="2462298" y="666872"/>
                </a:cubicBezTo>
                <a:cubicBezTo>
                  <a:pt x="2459733" y="674567"/>
                  <a:pt x="2472558" y="669437"/>
                  <a:pt x="2467428" y="679696"/>
                </a:cubicBezTo>
                <a:cubicBezTo>
                  <a:pt x="2464863" y="682261"/>
                  <a:pt x="2457168" y="687391"/>
                  <a:pt x="2452039" y="682261"/>
                </a:cubicBezTo>
                <a:cubicBezTo>
                  <a:pt x="2459733" y="705345"/>
                  <a:pt x="2421261" y="715604"/>
                  <a:pt x="2428954" y="738689"/>
                </a:cubicBezTo>
                <a:cubicBezTo>
                  <a:pt x="2418695" y="741254"/>
                  <a:pt x="2418695" y="769468"/>
                  <a:pt x="2403306" y="761773"/>
                </a:cubicBezTo>
                <a:cubicBezTo>
                  <a:pt x="2400741" y="769468"/>
                  <a:pt x="2405870" y="787421"/>
                  <a:pt x="2390482" y="784856"/>
                </a:cubicBezTo>
                <a:cubicBezTo>
                  <a:pt x="2382787" y="800245"/>
                  <a:pt x="2405870" y="825894"/>
                  <a:pt x="2387916" y="836154"/>
                </a:cubicBezTo>
                <a:cubicBezTo>
                  <a:pt x="2387916" y="841284"/>
                  <a:pt x="2395611" y="831025"/>
                  <a:pt x="2398176" y="838720"/>
                </a:cubicBezTo>
                <a:cubicBezTo>
                  <a:pt x="2398176" y="851543"/>
                  <a:pt x="2395611" y="848978"/>
                  <a:pt x="2390482" y="859238"/>
                </a:cubicBezTo>
                <a:cubicBezTo>
                  <a:pt x="2398176" y="861803"/>
                  <a:pt x="2395611" y="856673"/>
                  <a:pt x="2405870" y="856673"/>
                </a:cubicBezTo>
                <a:cubicBezTo>
                  <a:pt x="2411000" y="861803"/>
                  <a:pt x="2400741" y="872062"/>
                  <a:pt x="2393046" y="874627"/>
                </a:cubicBezTo>
                <a:cubicBezTo>
                  <a:pt x="2403306" y="890017"/>
                  <a:pt x="2403306" y="913101"/>
                  <a:pt x="2413565" y="928490"/>
                </a:cubicBezTo>
                <a:cubicBezTo>
                  <a:pt x="2421261" y="920795"/>
                  <a:pt x="2428954" y="931055"/>
                  <a:pt x="2423825" y="918230"/>
                </a:cubicBezTo>
                <a:cubicBezTo>
                  <a:pt x="2431520" y="920795"/>
                  <a:pt x="2439214" y="920795"/>
                  <a:pt x="2449474" y="918230"/>
                </a:cubicBezTo>
                <a:cubicBezTo>
                  <a:pt x="2464863" y="941314"/>
                  <a:pt x="2485383" y="966964"/>
                  <a:pt x="2498207" y="982355"/>
                </a:cubicBezTo>
                <a:cubicBezTo>
                  <a:pt x="2495642" y="990049"/>
                  <a:pt x="2493077" y="1002874"/>
                  <a:pt x="2503336" y="1005439"/>
                </a:cubicBezTo>
                <a:cubicBezTo>
                  <a:pt x="2495642" y="1043911"/>
                  <a:pt x="2487947" y="1066995"/>
                  <a:pt x="2472558" y="1108033"/>
                </a:cubicBezTo>
                <a:cubicBezTo>
                  <a:pt x="2441779" y="1108033"/>
                  <a:pt x="2452039" y="1143942"/>
                  <a:pt x="2434084" y="1167026"/>
                </a:cubicBezTo>
                <a:cubicBezTo>
                  <a:pt x="2421261" y="1164461"/>
                  <a:pt x="2413565" y="1167026"/>
                  <a:pt x="2408435" y="1172156"/>
                </a:cubicBezTo>
                <a:lnTo>
                  <a:pt x="2409792" y="1174483"/>
                </a:lnTo>
                <a:lnTo>
                  <a:pt x="2397856" y="1197484"/>
                </a:lnTo>
                <a:cubicBezTo>
                  <a:pt x="2394971" y="1207423"/>
                  <a:pt x="2393046" y="1218324"/>
                  <a:pt x="2390482" y="1228583"/>
                </a:cubicBezTo>
                <a:cubicBezTo>
                  <a:pt x="2380221" y="1231148"/>
                  <a:pt x="2382787" y="1231148"/>
                  <a:pt x="2372526" y="1233713"/>
                </a:cubicBezTo>
                <a:cubicBezTo>
                  <a:pt x="2372526" y="1249103"/>
                  <a:pt x="2377657" y="1264492"/>
                  <a:pt x="2385351" y="1279881"/>
                </a:cubicBezTo>
                <a:cubicBezTo>
                  <a:pt x="2382787" y="1341439"/>
                  <a:pt x="2334053" y="1379912"/>
                  <a:pt x="2321228" y="1428645"/>
                </a:cubicBezTo>
                <a:cubicBezTo>
                  <a:pt x="2321228" y="1428645"/>
                  <a:pt x="2316099" y="1428645"/>
                  <a:pt x="2316099" y="1428645"/>
                </a:cubicBezTo>
                <a:cubicBezTo>
                  <a:pt x="2305840" y="1467118"/>
                  <a:pt x="2323793" y="1503028"/>
                  <a:pt x="2310968" y="1546631"/>
                </a:cubicBezTo>
                <a:cubicBezTo>
                  <a:pt x="2293014" y="1597929"/>
                  <a:pt x="2272495" y="1646662"/>
                  <a:pt x="2239151" y="1685135"/>
                </a:cubicBezTo>
                <a:cubicBezTo>
                  <a:pt x="2239151" y="1690265"/>
                  <a:pt x="2241716" y="1690265"/>
                  <a:pt x="2241716" y="1695395"/>
                </a:cubicBezTo>
                <a:cubicBezTo>
                  <a:pt x="2239151" y="1695395"/>
                  <a:pt x="2239151" y="1692830"/>
                  <a:pt x="2236586" y="1692830"/>
                </a:cubicBezTo>
                <a:cubicBezTo>
                  <a:pt x="2218632" y="1710784"/>
                  <a:pt x="2216067" y="1738998"/>
                  <a:pt x="2200678" y="1756952"/>
                </a:cubicBezTo>
                <a:cubicBezTo>
                  <a:pt x="2205808" y="1762082"/>
                  <a:pt x="2205808" y="1769777"/>
                  <a:pt x="2205808" y="1777471"/>
                </a:cubicBezTo>
                <a:cubicBezTo>
                  <a:pt x="2200678" y="1797991"/>
                  <a:pt x="2195548" y="1815944"/>
                  <a:pt x="2187853" y="1831334"/>
                </a:cubicBezTo>
                <a:lnTo>
                  <a:pt x="2188692" y="1832222"/>
                </a:lnTo>
                <a:lnTo>
                  <a:pt x="2160923" y="1887761"/>
                </a:lnTo>
                <a:cubicBezTo>
                  <a:pt x="2150663" y="1906998"/>
                  <a:pt x="2140403" y="1926234"/>
                  <a:pt x="2131426" y="1946753"/>
                </a:cubicBezTo>
                <a:cubicBezTo>
                  <a:pt x="2118601" y="1972402"/>
                  <a:pt x="2092953" y="2005745"/>
                  <a:pt x="2085258" y="2033960"/>
                </a:cubicBezTo>
                <a:cubicBezTo>
                  <a:pt x="2080128" y="2049349"/>
                  <a:pt x="2087823" y="2064738"/>
                  <a:pt x="2085258" y="2080128"/>
                </a:cubicBezTo>
                <a:cubicBezTo>
                  <a:pt x="2085258" y="2087822"/>
                  <a:pt x="2074999" y="2095516"/>
                  <a:pt x="2072434" y="2105776"/>
                </a:cubicBezTo>
                <a:cubicBezTo>
                  <a:pt x="2116038" y="2167332"/>
                  <a:pt x="2136556" y="2251977"/>
                  <a:pt x="2139121" y="2328922"/>
                </a:cubicBezTo>
                <a:cubicBezTo>
                  <a:pt x="2182724" y="2380220"/>
                  <a:pt x="2210939" y="2513594"/>
                  <a:pt x="2149380" y="2570021"/>
                </a:cubicBezTo>
                <a:cubicBezTo>
                  <a:pt x="2149380" y="2570021"/>
                  <a:pt x="2149380" y="2572586"/>
                  <a:pt x="2149380" y="2575151"/>
                </a:cubicBezTo>
                <a:cubicBezTo>
                  <a:pt x="2154510" y="2575151"/>
                  <a:pt x="2157076" y="2575151"/>
                  <a:pt x="2162205" y="2575151"/>
                </a:cubicBezTo>
                <a:cubicBezTo>
                  <a:pt x="2159640" y="2577716"/>
                  <a:pt x="2154510" y="2582846"/>
                  <a:pt x="2149380" y="2585411"/>
                </a:cubicBezTo>
                <a:cubicBezTo>
                  <a:pt x="2146815" y="2605930"/>
                  <a:pt x="2141686" y="2621320"/>
                  <a:pt x="2133991" y="2634144"/>
                </a:cubicBezTo>
                <a:cubicBezTo>
                  <a:pt x="2141686" y="2634144"/>
                  <a:pt x="2149380" y="2631580"/>
                  <a:pt x="2162205" y="2634144"/>
                </a:cubicBezTo>
                <a:cubicBezTo>
                  <a:pt x="2169899" y="2626449"/>
                  <a:pt x="2177594" y="2616189"/>
                  <a:pt x="2177594" y="2598235"/>
                </a:cubicBezTo>
                <a:cubicBezTo>
                  <a:pt x="2195548" y="2585411"/>
                  <a:pt x="2208373" y="2598235"/>
                  <a:pt x="2223762" y="2582846"/>
                </a:cubicBezTo>
                <a:cubicBezTo>
                  <a:pt x="2226327" y="2544372"/>
                  <a:pt x="2205808" y="2531548"/>
                  <a:pt x="2198113" y="2503334"/>
                </a:cubicBezTo>
                <a:cubicBezTo>
                  <a:pt x="2205808" y="2487945"/>
                  <a:pt x="2221198" y="2493074"/>
                  <a:pt x="2228892" y="2503334"/>
                </a:cubicBezTo>
                <a:cubicBezTo>
                  <a:pt x="2236586" y="2495638"/>
                  <a:pt x="2234022" y="2477685"/>
                  <a:pt x="2234022" y="2462296"/>
                </a:cubicBezTo>
                <a:cubicBezTo>
                  <a:pt x="2254541" y="2459731"/>
                  <a:pt x="2254541" y="2436647"/>
                  <a:pt x="2280190" y="2436647"/>
                </a:cubicBezTo>
                <a:cubicBezTo>
                  <a:pt x="2285320" y="2408433"/>
                  <a:pt x="2275061" y="2393045"/>
                  <a:pt x="2254541" y="2390479"/>
                </a:cubicBezTo>
                <a:cubicBezTo>
                  <a:pt x="2251977" y="2369962"/>
                  <a:pt x="2267365" y="2369962"/>
                  <a:pt x="2269930" y="2354569"/>
                </a:cubicBezTo>
                <a:cubicBezTo>
                  <a:pt x="2267365" y="2328922"/>
                  <a:pt x="2216067" y="2372525"/>
                  <a:pt x="2223762" y="2328922"/>
                </a:cubicBezTo>
                <a:cubicBezTo>
                  <a:pt x="2290449" y="2344310"/>
                  <a:pt x="2257106" y="2264801"/>
                  <a:pt x="2259671" y="2234021"/>
                </a:cubicBezTo>
                <a:cubicBezTo>
                  <a:pt x="2287884" y="2239152"/>
                  <a:pt x="2295579" y="2213500"/>
                  <a:pt x="2305840" y="2187851"/>
                </a:cubicBezTo>
                <a:cubicBezTo>
                  <a:pt x="2305840" y="2169897"/>
                  <a:pt x="2285320" y="2169897"/>
                  <a:pt x="2285320" y="2146814"/>
                </a:cubicBezTo>
                <a:cubicBezTo>
                  <a:pt x="2308404" y="2167332"/>
                  <a:pt x="2321228" y="2146814"/>
                  <a:pt x="2331488" y="2126297"/>
                </a:cubicBezTo>
                <a:cubicBezTo>
                  <a:pt x="2352007" y="2131425"/>
                  <a:pt x="2349442" y="2126297"/>
                  <a:pt x="2375091" y="2121164"/>
                </a:cubicBezTo>
                <a:cubicBezTo>
                  <a:pt x="2364831" y="2103211"/>
                  <a:pt x="2359701" y="2077563"/>
                  <a:pt x="2362266" y="2049349"/>
                </a:cubicBezTo>
                <a:lnTo>
                  <a:pt x="2357578" y="2042104"/>
                </a:lnTo>
                <a:lnTo>
                  <a:pt x="2369962" y="1982662"/>
                </a:lnTo>
                <a:cubicBezTo>
                  <a:pt x="2372526" y="1969837"/>
                  <a:pt x="2372526" y="1954448"/>
                  <a:pt x="2372526" y="1936494"/>
                </a:cubicBezTo>
                <a:cubicBezTo>
                  <a:pt x="2382787" y="1926234"/>
                  <a:pt x="2393046" y="1918540"/>
                  <a:pt x="2400741" y="1915975"/>
                </a:cubicBezTo>
                <a:cubicBezTo>
                  <a:pt x="2405870" y="1905715"/>
                  <a:pt x="2413565" y="1895455"/>
                  <a:pt x="2421261" y="1887761"/>
                </a:cubicBezTo>
                <a:cubicBezTo>
                  <a:pt x="2441779" y="1864677"/>
                  <a:pt x="2464863" y="1849289"/>
                  <a:pt x="2485383" y="1841593"/>
                </a:cubicBezTo>
                <a:cubicBezTo>
                  <a:pt x="2495642" y="1821075"/>
                  <a:pt x="2511031" y="1805684"/>
                  <a:pt x="2523856" y="1787730"/>
                </a:cubicBezTo>
                <a:cubicBezTo>
                  <a:pt x="2554634" y="1818510"/>
                  <a:pt x="2567459" y="1782601"/>
                  <a:pt x="2582848" y="1756952"/>
                </a:cubicBezTo>
                <a:cubicBezTo>
                  <a:pt x="2598237" y="1754387"/>
                  <a:pt x="2595673" y="1769777"/>
                  <a:pt x="2608497" y="1772342"/>
                </a:cubicBezTo>
                <a:cubicBezTo>
                  <a:pt x="2626451" y="1774907"/>
                  <a:pt x="2626451" y="1746693"/>
                  <a:pt x="2644406" y="1762082"/>
                </a:cubicBezTo>
                <a:cubicBezTo>
                  <a:pt x="2631581" y="1741563"/>
                  <a:pt x="2631581" y="1715914"/>
                  <a:pt x="2644406" y="1700525"/>
                </a:cubicBezTo>
                <a:cubicBezTo>
                  <a:pt x="2631581" y="1664616"/>
                  <a:pt x="2616192" y="1631273"/>
                  <a:pt x="2603367" y="1595364"/>
                </a:cubicBezTo>
                <a:cubicBezTo>
                  <a:pt x="2576436" y="1527394"/>
                  <a:pt x="2548863" y="1459424"/>
                  <a:pt x="2520008" y="1393698"/>
                </a:cubicBezTo>
                <a:lnTo>
                  <a:pt x="2477854" y="1306569"/>
                </a:lnTo>
                <a:lnTo>
                  <a:pt x="2519688" y="1390813"/>
                </a:lnTo>
                <a:cubicBezTo>
                  <a:pt x="2548863" y="1456218"/>
                  <a:pt x="2576436" y="1523547"/>
                  <a:pt x="2603367" y="1590234"/>
                </a:cubicBezTo>
                <a:cubicBezTo>
                  <a:pt x="2618757" y="1626143"/>
                  <a:pt x="2631581" y="1662051"/>
                  <a:pt x="2646970" y="1695395"/>
                </a:cubicBezTo>
                <a:cubicBezTo>
                  <a:pt x="2657230" y="1685135"/>
                  <a:pt x="2675185" y="1682570"/>
                  <a:pt x="2693139" y="1690265"/>
                </a:cubicBezTo>
                <a:cubicBezTo>
                  <a:pt x="2698269" y="1682570"/>
                  <a:pt x="2690574" y="1646662"/>
                  <a:pt x="2688009" y="1631273"/>
                </a:cubicBezTo>
                <a:cubicBezTo>
                  <a:pt x="2703398" y="1631273"/>
                  <a:pt x="2721352" y="1633837"/>
                  <a:pt x="2718787" y="1615883"/>
                </a:cubicBezTo>
                <a:cubicBezTo>
                  <a:pt x="2744436" y="1631273"/>
                  <a:pt x="2770086" y="1618448"/>
                  <a:pt x="2793170" y="1626143"/>
                </a:cubicBezTo>
                <a:cubicBezTo>
                  <a:pt x="2782911" y="1654357"/>
                  <a:pt x="2782911" y="1680005"/>
                  <a:pt x="2793170" y="1710784"/>
                </a:cubicBezTo>
                <a:cubicBezTo>
                  <a:pt x="2795734" y="1708219"/>
                  <a:pt x="2798299" y="1708219"/>
                  <a:pt x="2800864" y="1708219"/>
                </a:cubicBezTo>
                <a:cubicBezTo>
                  <a:pt x="2800864" y="1705654"/>
                  <a:pt x="2800864" y="1705654"/>
                  <a:pt x="2800864" y="1705654"/>
                </a:cubicBezTo>
                <a:cubicBezTo>
                  <a:pt x="2800864" y="1659486"/>
                  <a:pt x="2805994" y="1610753"/>
                  <a:pt x="2813688" y="1564585"/>
                </a:cubicBezTo>
                <a:cubicBezTo>
                  <a:pt x="2829078" y="1472248"/>
                  <a:pt x="2844467" y="1379912"/>
                  <a:pt x="2839337" y="1292706"/>
                </a:cubicBezTo>
                <a:cubicBezTo>
                  <a:pt x="2839337" y="1251667"/>
                  <a:pt x="2836773" y="1213194"/>
                  <a:pt x="2831643" y="1174721"/>
                </a:cubicBezTo>
                <a:cubicBezTo>
                  <a:pt x="2818818" y="1138812"/>
                  <a:pt x="2805994" y="1102904"/>
                  <a:pt x="2793170" y="1069559"/>
                </a:cubicBezTo>
                <a:cubicBezTo>
                  <a:pt x="2767520" y="1005439"/>
                  <a:pt x="2747001" y="936185"/>
                  <a:pt x="2723917" y="869497"/>
                </a:cubicBezTo>
                <a:cubicBezTo>
                  <a:pt x="2680314" y="733559"/>
                  <a:pt x="2634147" y="600185"/>
                  <a:pt x="2567459" y="497589"/>
                </a:cubicBezTo>
                <a:cubicBezTo>
                  <a:pt x="2636711" y="597620"/>
                  <a:pt x="2685444" y="733559"/>
                  <a:pt x="2729048" y="866932"/>
                </a:cubicBezTo>
                <a:cubicBezTo>
                  <a:pt x="2752131" y="936185"/>
                  <a:pt x="2772650" y="1002874"/>
                  <a:pt x="2798299" y="1066995"/>
                </a:cubicBezTo>
                <a:cubicBezTo>
                  <a:pt x="2808559" y="1095209"/>
                  <a:pt x="2818818" y="1120858"/>
                  <a:pt x="2829078" y="1149072"/>
                </a:cubicBezTo>
                <a:cubicBezTo>
                  <a:pt x="2823949" y="1113163"/>
                  <a:pt x="2818818" y="1077255"/>
                  <a:pt x="2813688" y="1041346"/>
                </a:cubicBezTo>
                <a:cubicBezTo>
                  <a:pt x="2808559" y="1005439"/>
                  <a:pt x="2800864" y="966964"/>
                  <a:pt x="2795734" y="928490"/>
                </a:cubicBezTo>
                <a:cubicBezTo>
                  <a:pt x="2793170" y="925925"/>
                  <a:pt x="2793170" y="925925"/>
                  <a:pt x="2793170" y="923360"/>
                </a:cubicBezTo>
                <a:cubicBezTo>
                  <a:pt x="2772650" y="866932"/>
                  <a:pt x="2762391" y="805375"/>
                  <a:pt x="2754696" y="738689"/>
                </a:cubicBezTo>
                <a:cubicBezTo>
                  <a:pt x="2752131" y="728428"/>
                  <a:pt x="2747001" y="720735"/>
                  <a:pt x="2744436" y="710475"/>
                </a:cubicBezTo>
                <a:cubicBezTo>
                  <a:pt x="2747001" y="741254"/>
                  <a:pt x="2741872" y="777161"/>
                  <a:pt x="2713658" y="782292"/>
                </a:cubicBezTo>
                <a:cubicBezTo>
                  <a:pt x="2718787" y="751513"/>
                  <a:pt x="2721352" y="718170"/>
                  <a:pt x="2721352" y="684826"/>
                </a:cubicBezTo>
                <a:cubicBezTo>
                  <a:pt x="2731612" y="689956"/>
                  <a:pt x="2731612" y="679696"/>
                  <a:pt x="2726482" y="669437"/>
                </a:cubicBezTo>
                <a:cubicBezTo>
                  <a:pt x="2729048" y="669437"/>
                  <a:pt x="2729048" y="669437"/>
                  <a:pt x="2729048" y="669437"/>
                </a:cubicBezTo>
                <a:cubicBezTo>
                  <a:pt x="2718787" y="646353"/>
                  <a:pt x="2705963" y="623269"/>
                  <a:pt x="2695703" y="600185"/>
                </a:cubicBezTo>
                <a:cubicBezTo>
                  <a:pt x="2680314" y="571971"/>
                  <a:pt x="2662360" y="541192"/>
                  <a:pt x="2646970" y="512978"/>
                </a:cubicBezTo>
                <a:cubicBezTo>
                  <a:pt x="2595673" y="428337"/>
                  <a:pt x="2544375" y="346260"/>
                  <a:pt x="2505901" y="243665"/>
                </a:cubicBezTo>
                <a:cubicBezTo>
                  <a:pt x="2549505" y="351390"/>
                  <a:pt x="2608497" y="436032"/>
                  <a:pt x="2662360" y="528368"/>
                </a:cubicBezTo>
                <a:lnTo>
                  <a:pt x="2685069" y="552064"/>
                </a:lnTo>
                <a:lnTo>
                  <a:pt x="2703398" y="584795"/>
                </a:lnTo>
                <a:cubicBezTo>
                  <a:pt x="2716223" y="607879"/>
                  <a:pt x="2729048" y="630963"/>
                  <a:pt x="2739307" y="656612"/>
                </a:cubicBezTo>
                <a:cubicBezTo>
                  <a:pt x="2741872" y="656612"/>
                  <a:pt x="2741872" y="656612"/>
                  <a:pt x="2741872" y="654047"/>
                </a:cubicBezTo>
                <a:cubicBezTo>
                  <a:pt x="2741872" y="656612"/>
                  <a:pt x="2744436" y="661742"/>
                  <a:pt x="2744436" y="669437"/>
                </a:cubicBezTo>
                <a:cubicBezTo>
                  <a:pt x="2749566" y="679696"/>
                  <a:pt x="2752131" y="687391"/>
                  <a:pt x="2754696" y="697651"/>
                </a:cubicBezTo>
                <a:lnTo>
                  <a:pt x="2752724" y="640472"/>
                </a:lnTo>
                <a:lnTo>
                  <a:pt x="2755847" y="645660"/>
                </a:lnTo>
                <a:lnTo>
                  <a:pt x="2759827" y="705345"/>
                </a:lnTo>
                <a:cubicBezTo>
                  <a:pt x="2767520" y="730994"/>
                  <a:pt x="2777780" y="759208"/>
                  <a:pt x="2785475" y="787421"/>
                </a:cubicBezTo>
                <a:cubicBezTo>
                  <a:pt x="2795734" y="825894"/>
                  <a:pt x="2800864" y="866932"/>
                  <a:pt x="2808559" y="907971"/>
                </a:cubicBezTo>
                <a:cubicBezTo>
                  <a:pt x="2811124" y="923360"/>
                  <a:pt x="2813688" y="941314"/>
                  <a:pt x="2816253" y="956706"/>
                </a:cubicBezTo>
                <a:cubicBezTo>
                  <a:pt x="2839337" y="1008003"/>
                  <a:pt x="2867551" y="1049041"/>
                  <a:pt x="2900895" y="1084949"/>
                </a:cubicBezTo>
                <a:lnTo>
                  <a:pt x="2913207" y="1095209"/>
                </a:lnTo>
                <a:lnTo>
                  <a:pt x="2915643" y="1107391"/>
                </a:lnTo>
                <a:lnTo>
                  <a:pt x="2898330" y="1090079"/>
                </a:lnTo>
                <a:cubicBezTo>
                  <a:pt x="2867551" y="1059300"/>
                  <a:pt x="2841902" y="1018262"/>
                  <a:pt x="2818818" y="972095"/>
                </a:cubicBezTo>
                <a:cubicBezTo>
                  <a:pt x="2823949" y="990049"/>
                  <a:pt x="2826513" y="1008003"/>
                  <a:pt x="2829078" y="1025957"/>
                </a:cubicBezTo>
                <a:cubicBezTo>
                  <a:pt x="2839337" y="1084949"/>
                  <a:pt x="2847032" y="1143942"/>
                  <a:pt x="2852162" y="1202934"/>
                </a:cubicBezTo>
                <a:cubicBezTo>
                  <a:pt x="2857292" y="1223454"/>
                  <a:pt x="2862421" y="1241408"/>
                  <a:pt x="2867551" y="1261927"/>
                </a:cubicBezTo>
                <a:cubicBezTo>
                  <a:pt x="2875246" y="1300400"/>
                  <a:pt x="2880376" y="1341439"/>
                  <a:pt x="2882941" y="1385042"/>
                </a:cubicBezTo>
                <a:cubicBezTo>
                  <a:pt x="2885506" y="1385042"/>
                  <a:pt x="2885506" y="1385042"/>
                  <a:pt x="2888071" y="1385042"/>
                </a:cubicBezTo>
                <a:cubicBezTo>
                  <a:pt x="2888071" y="1387607"/>
                  <a:pt x="2888071" y="1390172"/>
                  <a:pt x="2890635" y="1390172"/>
                </a:cubicBezTo>
                <a:cubicBezTo>
                  <a:pt x="2890635" y="1395301"/>
                  <a:pt x="2885506" y="1395301"/>
                  <a:pt x="2882941" y="1395301"/>
                </a:cubicBezTo>
                <a:cubicBezTo>
                  <a:pt x="2885506" y="1433775"/>
                  <a:pt x="2885506" y="1472248"/>
                  <a:pt x="2882941" y="1510722"/>
                </a:cubicBezTo>
                <a:cubicBezTo>
                  <a:pt x="2882941" y="1528676"/>
                  <a:pt x="2880376" y="1549196"/>
                  <a:pt x="2880376" y="1567150"/>
                </a:cubicBezTo>
                <a:cubicBezTo>
                  <a:pt x="2882941" y="1567150"/>
                  <a:pt x="2885506" y="1564585"/>
                  <a:pt x="2888071" y="1559456"/>
                </a:cubicBezTo>
                <a:cubicBezTo>
                  <a:pt x="2893200" y="1564585"/>
                  <a:pt x="2888071" y="1569715"/>
                  <a:pt x="2880376" y="1574845"/>
                </a:cubicBezTo>
                <a:lnTo>
                  <a:pt x="2880376" y="1597178"/>
                </a:lnTo>
                <a:lnTo>
                  <a:pt x="2888071" y="1595402"/>
                </a:lnTo>
                <a:cubicBezTo>
                  <a:pt x="2888071" y="1597967"/>
                  <a:pt x="2882941" y="1597967"/>
                  <a:pt x="2882941" y="1603097"/>
                </a:cubicBezTo>
                <a:lnTo>
                  <a:pt x="2880376" y="1598480"/>
                </a:lnTo>
                <a:lnTo>
                  <a:pt x="2880376" y="1600494"/>
                </a:lnTo>
                <a:cubicBezTo>
                  <a:pt x="2880376" y="1603059"/>
                  <a:pt x="2880376" y="1603059"/>
                  <a:pt x="2880376" y="1605624"/>
                </a:cubicBezTo>
                <a:cubicBezTo>
                  <a:pt x="2880376" y="1608189"/>
                  <a:pt x="2880376" y="1613318"/>
                  <a:pt x="2880376" y="1615883"/>
                </a:cubicBezTo>
                <a:cubicBezTo>
                  <a:pt x="2882941" y="1610753"/>
                  <a:pt x="2882941" y="1605624"/>
                  <a:pt x="2885506" y="1600494"/>
                </a:cubicBezTo>
                <a:cubicBezTo>
                  <a:pt x="2890635" y="1595364"/>
                  <a:pt x="2895765" y="1592799"/>
                  <a:pt x="2900895" y="1587669"/>
                </a:cubicBezTo>
                <a:cubicBezTo>
                  <a:pt x="2913719" y="1577410"/>
                  <a:pt x="2926544" y="1569715"/>
                  <a:pt x="2939368" y="1559456"/>
                </a:cubicBezTo>
                <a:cubicBezTo>
                  <a:pt x="2939368" y="1528676"/>
                  <a:pt x="2941933" y="1500462"/>
                  <a:pt x="2941933" y="1469683"/>
                </a:cubicBezTo>
                <a:cubicBezTo>
                  <a:pt x="2939368" y="1472248"/>
                  <a:pt x="2934239" y="1474813"/>
                  <a:pt x="2934239" y="1482508"/>
                </a:cubicBezTo>
                <a:cubicBezTo>
                  <a:pt x="2931673" y="1479943"/>
                  <a:pt x="2931673" y="1474813"/>
                  <a:pt x="2929109" y="1469683"/>
                </a:cubicBezTo>
                <a:cubicBezTo>
                  <a:pt x="2926544" y="1469683"/>
                  <a:pt x="2926544" y="1474813"/>
                  <a:pt x="2926544" y="1479943"/>
                </a:cubicBezTo>
                <a:cubicBezTo>
                  <a:pt x="2921414" y="1479943"/>
                  <a:pt x="2926544" y="1469683"/>
                  <a:pt x="2923979" y="1464554"/>
                </a:cubicBezTo>
                <a:cubicBezTo>
                  <a:pt x="2939368" y="1472248"/>
                  <a:pt x="2936803" y="1459424"/>
                  <a:pt x="2934239" y="1446599"/>
                </a:cubicBezTo>
                <a:cubicBezTo>
                  <a:pt x="2936803" y="1446599"/>
                  <a:pt x="2939368" y="1446599"/>
                  <a:pt x="2941933" y="1446599"/>
                </a:cubicBezTo>
                <a:cubicBezTo>
                  <a:pt x="2941933" y="1349133"/>
                  <a:pt x="2934239" y="1254232"/>
                  <a:pt x="2923979" y="1161896"/>
                </a:cubicBezTo>
                <a:lnTo>
                  <a:pt x="2916695" y="1110911"/>
                </a:lnTo>
                <a:lnTo>
                  <a:pt x="2924075" y="1116540"/>
                </a:lnTo>
                <a:lnTo>
                  <a:pt x="2929109" y="1159331"/>
                </a:lnTo>
                <a:cubicBezTo>
                  <a:pt x="2944498" y="1279881"/>
                  <a:pt x="2954758" y="1405561"/>
                  <a:pt x="2947063" y="1538935"/>
                </a:cubicBezTo>
                <a:cubicBezTo>
                  <a:pt x="2967582" y="1492767"/>
                  <a:pt x="2985536" y="1446599"/>
                  <a:pt x="3003492" y="1400431"/>
                </a:cubicBezTo>
                <a:cubicBezTo>
                  <a:pt x="3021445" y="1328614"/>
                  <a:pt x="3031704" y="1254232"/>
                  <a:pt x="3024010" y="1190110"/>
                </a:cubicBezTo>
                <a:lnTo>
                  <a:pt x="3016156" y="1184271"/>
                </a:lnTo>
                <a:lnTo>
                  <a:pt x="2993551" y="1083025"/>
                </a:lnTo>
                <a:cubicBezTo>
                  <a:pt x="2984895" y="1049682"/>
                  <a:pt x="2976559" y="1015698"/>
                  <a:pt x="2972713" y="977225"/>
                </a:cubicBezTo>
                <a:cubicBezTo>
                  <a:pt x="2967582" y="936185"/>
                  <a:pt x="2967582" y="892581"/>
                  <a:pt x="2975277" y="848978"/>
                </a:cubicBezTo>
                <a:cubicBezTo>
                  <a:pt x="2982972" y="805375"/>
                  <a:pt x="2993231" y="761773"/>
                  <a:pt x="2995796" y="720735"/>
                </a:cubicBezTo>
                <a:cubicBezTo>
                  <a:pt x="2998361" y="684826"/>
                  <a:pt x="2995796" y="651483"/>
                  <a:pt x="2993231" y="618139"/>
                </a:cubicBezTo>
                <a:cubicBezTo>
                  <a:pt x="2982972" y="595055"/>
                  <a:pt x="2972713" y="574536"/>
                  <a:pt x="2962452" y="554017"/>
                </a:cubicBezTo>
                <a:cubicBezTo>
                  <a:pt x="2972713" y="574536"/>
                  <a:pt x="2982972" y="595055"/>
                  <a:pt x="2993231" y="615574"/>
                </a:cubicBezTo>
                <a:cubicBezTo>
                  <a:pt x="2988101" y="571971"/>
                  <a:pt x="2977842" y="530933"/>
                  <a:pt x="2967582" y="492459"/>
                </a:cubicBezTo>
                <a:cubicBezTo>
                  <a:pt x="2947063" y="423207"/>
                  <a:pt x="2921414" y="364214"/>
                  <a:pt x="2895765" y="302657"/>
                </a:cubicBezTo>
                <a:cubicBezTo>
                  <a:pt x="2921414" y="361650"/>
                  <a:pt x="2949629" y="420642"/>
                  <a:pt x="2970147" y="487329"/>
                </a:cubicBezTo>
                <a:cubicBezTo>
                  <a:pt x="2982972" y="530933"/>
                  <a:pt x="2993231" y="577101"/>
                  <a:pt x="2998361" y="628398"/>
                </a:cubicBezTo>
                <a:cubicBezTo>
                  <a:pt x="2998361" y="630963"/>
                  <a:pt x="3000926" y="630963"/>
                  <a:pt x="3000926" y="633528"/>
                </a:cubicBezTo>
                <a:cubicBezTo>
                  <a:pt x="2995796" y="582230"/>
                  <a:pt x="2990666" y="528368"/>
                  <a:pt x="2988101" y="474505"/>
                </a:cubicBezTo>
                <a:cubicBezTo>
                  <a:pt x="2980406" y="379604"/>
                  <a:pt x="2962452" y="289833"/>
                  <a:pt x="2936803" y="210321"/>
                </a:cubicBezTo>
                <a:cubicBezTo>
                  <a:pt x="2911154" y="130809"/>
                  <a:pt x="2877812" y="64122"/>
                  <a:pt x="283933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rtlCol="0" anchor="ctr">
            <a:noAutofit/>
          </a:bodyPr>
          <a:lstStyle>
            <a:lvl1pPr marL="0" indent="0" algn="ctr">
              <a:buNone/>
              <a:defRPr sz="12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rtl="0"/>
            <a:r>
              <a:rPr lang="pt-BR" noProof="0"/>
              <a:t>Insira ou Arraste e Solte sua foto</a:t>
            </a:r>
          </a:p>
        </p:txBody>
      </p:sp>
    </p:spTree>
    <p:extLst>
      <p:ext uri="{BB962C8B-B14F-4D97-AF65-F5344CB8AC3E}">
        <p14:creationId xmlns:p14="http://schemas.microsoft.com/office/powerpoint/2010/main" val="23596022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mparação à Esquerda 1">
            <a:extLst>
              <a:ext uri="{FF2B5EF4-FFF2-40B4-BE49-F238E27FC236}">
                <a16:creationId xmlns:a16="http://schemas.microsoft.com/office/drawing/2014/main" id="{9322B50D-6A7D-41C6-BA57-613BC231DF3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32000" y="1344711"/>
            <a:ext cx="5472000" cy="360000"/>
          </a:xfrm>
        </p:spPr>
        <p:txBody>
          <a:bodyPr rtlCol="0" anchor="t"/>
          <a:lstStyle>
            <a:lvl1pPr marL="0" indent="0">
              <a:buNone/>
              <a:defRPr sz="24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rtl="0"/>
            <a:r>
              <a:rPr lang="pt-BR" noProof="0"/>
              <a:t>Editar estilos de texto Mestre</a:t>
            </a:r>
          </a:p>
        </p:txBody>
      </p:sp>
      <p:sp>
        <p:nvSpPr>
          <p:cNvPr id="4" name="Espaço Reservado para Conteúdo 2">
            <a:extLst>
              <a:ext uri="{FF2B5EF4-FFF2-40B4-BE49-F238E27FC236}">
                <a16:creationId xmlns:a16="http://schemas.microsoft.com/office/drawing/2014/main" id="{9FD584DA-F775-47B8-A1D7-6556AD5FCBD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2000" y="1921682"/>
            <a:ext cx="5472000" cy="4198318"/>
          </a:xfrm>
        </p:spPr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 rtl="0"/>
            <a:r>
              <a:rPr lang="pt-BR" noProof="0"/>
              <a:t>Editar estilos de texto Mestre</a:t>
            </a:r>
          </a:p>
          <a:p>
            <a:pPr lvl="1" rtl="0"/>
            <a:r>
              <a:rPr lang="pt-BR" noProof="0"/>
              <a:t>Segundo nível</a:t>
            </a:r>
          </a:p>
          <a:p>
            <a:pPr lvl="2" rtl="0"/>
            <a:r>
              <a:rPr lang="pt-BR" noProof="0"/>
              <a:t>Terceiro nível</a:t>
            </a:r>
          </a:p>
          <a:p>
            <a:pPr lvl="3" rtl="0"/>
            <a:r>
              <a:rPr lang="pt-BR" noProof="0"/>
              <a:t>Quarto nível</a:t>
            </a:r>
          </a:p>
          <a:p>
            <a:pPr lvl="4" rtl="0"/>
            <a:r>
              <a:rPr lang="pt-BR" noProof="0"/>
              <a:t>Quinto nível</a:t>
            </a:r>
          </a:p>
        </p:txBody>
      </p:sp>
      <p:sp>
        <p:nvSpPr>
          <p:cNvPr id="11" name="Espaço Reservado para o Número do Slide 10">
            <a:extLst>
              <a:ext uri="{FF2B5EF4-FFF2-40B4-BE49-F238E27FC236}">
                <a16:creationId xmlns:a16="http://schemas.microsoft.com/office/drawing/2014/main" id="{F17B7460-0559-435A-9C2F-1B12BC6CE1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fld id="{19B51A1E-902D-48AF-9020-955120F399B6}" type="slidenum">
              <a:rPr lang="pt-BR" noProof="0" smtClean="0"/>
              <a:pPr rtl="0"/>
              <a:t>‹nº›</a:t>
            </a:fld>
            <a:endParaRPr lang="pt-BR" noProof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646B8F99-FAB0-4B33-87ED-9FF46D11A90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 rtlCol="0"/>
          <a:lstStyle/>
          <a:p>
            <a:pPr rtl="0"/>
            <a:r>
              <a:rPr lang="pt-BR" noProof="0"/>
              <a:t>Adicionar um rodapé</a:t>
            </a:r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03EC6BDA-4EF2-4001-BA40-F8286207C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/>
          <a:p>
            <a:pPr rtl="0"/>
            <a:r>
              <a:rPr lang="pt-BR" noProof="0"/>
              <a:t>Clique para editar o estilo de título Mestre</a:t>
            </a:r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DF99E603-2E51-4A76-B2DA-73C43D7475AA}"/>
              </a:ext>
            </a:extLst>
          </p:cNvPr>
          <p:cNvSpPr/>
          <p:nvPr userDrawn="1"/>
        </p:nvSpPr>
        <p:spPr>
          <a:xfrm>
            <a:off x="432000" y="432000"/>
            <a:ext cx="84835" cy="6957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 noProof="0"/>
          </a:p>
        </p:txBody>
      </p:sp>
      <p:sp>
        <p:nvSpPr>
          <p:cNvPr id="14" name="Espaço Reservado para Texto 4">
            <a:extLst>
              <a:ext uri="{FF2B5EF4-FFF2-40B4-BE49-F238E27FC236}">
                <a16:creationId xmlns:a16="http://schemas.microsoft.com/office/drawing/2014/main" id="{4AC0AC83-4BF5-452E-9148-988027C7496D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88002" y="1344711"/>
            <a:ext cx="5483996" cy="360000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400" b="1"/>
            </a:lvl1pPr>
          </a:lstStyle>
          <a:p>
            <a:pPr marL="266700" lvl="0" indent="-266700" rtl="0"/>
            <a:r>
              <a:rPr lang="pt-BR" noProof="0"/>
              <a:t>Editar estilos de texto Mestre</a:t>
            </a:r>
          </a:p>
        </p:txBody>
      </p:sp>
      <p:sp>
        <p:nvSpPr>
          <p:cNvPr id="16" name="Espaço reservado para conteúdo 5">
            <a:extLst>
              <a:ext uri="{FF2B5EF4-FFF2-40B4-BE49-F238E27FC236}">
                <a16:creationId xmlns:a16="http://schemas.microsoft.com/office/drawing/2014/main" id="{B0B75294-97C0-4F49-A2A0-761663E8AAD2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288002" y="1921683"/>
            <a:ext cx="5483996" cy="4198318"/>
          </a:xfrm>
        </p:spPr>
        <p:txBody>
          <a:bodyPr rtlCol="0"/>
          <a:lstStyle/>
          <a:p>
            <a:pPr lvl="0" rtl="0"/>
            <a:r>
              <a:rPr lang="pt-BR" noProof="0"/>
              <a:t>Editar estilos de texto Mestre</a:t>
            </a:r>
          </a:p>
          <a:p>
            <a:pPr lvl="1" rtl="0"/>
            <a:r>
              <a:rPr lang="pt-BR" noProof="0"/>
              <a:t>Segundo nível</a:t>
            </a:r>
          </a:p>
          <a:p>
            <a:pPr lvl="2" rtl="0"/>
            <a:r>
              <a:rPr lang="pt-BR" noProof="0"/>
              <a:t>Terceiro nível</a:t>
            </a:r>
          </a:p>
          <a:p>
            <a:pPr lvl="3" rtl="0"/>
            <a:r>
              <a:rPr lang="pt-BR" noProof="0"/>
              <a:t>Quarto nível</a:t>
            </a:r>
          </a:p>
          <a:p>
            <a:pPr lvl="4" rtl="0"/>
            <a:r>
              <a:rPr lang="pt-BR" noProof="0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25099557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genda da fo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ço Reservado para o Número do Slide 8">
            <a:extLst>
              <a:ext uri="{FF2B5EF4-FFF2-40B4-BE49-F238E27FC236}">
                <a16:creationId xmlns:a16="http://schemas.microsoft.com/office/drawing/2014/main" id="{0A29F8B3-4723-4928-83E5-76C29D05F2F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fld id="{19B51A1E-902D-48AF-9020-955120F399B6}" type="slidenum">
              <a:rPr lang="pt-BR" noProof="0" smtClean="0"/>
              <a:pPr rtl="0"/>
              <a:t>‹nº›</a:t>
            </a:fld>
            <a:endParaRPr lang="pt-BR" noProof="0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57847F90-9DB6-4832-9EB7-393AADAE8B7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 rtlCol="0"/>
          <a:lstStyle/>
          <a:p>
            <a:pPr rtl="0"/>
            <a:r>
              <a:rPr lang="pt-BR" noProof="0"/>
              <a:t>Adicionar um rodapé</a:t>
            </a:r>
          </a:p>
        </p:txBody>
      </p:sp>
      <p:sp>
        <p:nvSpPr>
          <p:cNvPr id="8" name="Espaço Reservado para Conteúdo 2">
            <a:extLst>
              <a:ext uri="{FF2B5EF4-FFF2-40B4-BE49-F238E27FC236}">
                <a16:creationId xmlns:a16="http://schemas.microsoft.com/office/drawing/2014/main" id="{8E22F26A-0E93-4DBF-8414-507C786D90F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32000" y="5231739"/>
            <a:ext cx="5472000" cy="539345"/>
          </a:xfrm>
          <a:solidFill>
            <a:schemeClr val="bg1"/>
          </a:solidFill>
        </p:spPr>
        <p:txBody>
          <a:bodyPr lIns="180000" rtlCol="0" anchor="ctr"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 rtl="0"/>
            <a:r>
              <a:rPr lang="pt-BR" noProof="0"/>
              <a:t>Insira sua legenda</a:t>
            </a:r>
          </a:p>
        </p:txBody>
      </p:sp>
    </p:spTree>
    <p:extLst>
      <p:ext uri="{BB962C8B-B14F-4D97-AF65-F5344CB8AC3E}">
        <p14:creationId xmlns:p14="http://schemas.microsoft.com/office/powerpoint/2010/main" val="19877846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Imagem 4">
            <a:extLst>
              <a:ext uri="{FF2B5EF4-FFF2-40B4-BE49-F238E27FC236}">
                <a16:creationId xmlns:a16="http://schemas.microsoft.com/office/drawing/2014/main" id="{D670CCAB-6ED4-48BC-8A8A-C2C835D5D77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191250"/>
          </a:xfrm>
          <a:solidFill>
            <a:schemeClr val="bg1">
              <a:lumMod val="95000"/>
            </a:schemeClr>
          </a:solidFill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ZA" sz="12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marL="266700" lvl="0" indent="-266700" algn="ctr" rtl="0"/>
            <a:r>
              <a:rPr lang="pt-BR" noProof="0"/>
              <a:t>Insira ou Arraste e Solte sua foto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A22238F2-C6EC-476F-8371-119AECBA562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32000" y="5231739"/>
            <a:ext cx="5472000" cy="539345"/>
          </a:xfrm>
          <a:solidFill>
            <a:schemeClr val="bg1"/>
          </a:solidFill>
        </p:spPr>
        <p:txBody>
          <a:bodyPr lIns="180000" rtlCol="0" anchor="ctr"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 rtl="0"/>
            <a:r>
              <a:rPr lang="pt-BR" noProof="0"/>
              <a:t>Insira sua legenda</a:t>
            </a:r>
          </a:p>
        </p:txBody>
      </p:sp>
      <p:sp>
        <p:nvSpPr>
          <p:cNvPr id="9" name="Espaço Reservado para o Número do Slide 8">
            <a:extLst>
              <a:ext uri="{FF2B5EF4-FFF2-40B4-BE49-F238E27FC236}">
                <a16:creationId xmlns:a16="http://schemas.microsoft.com/office/drawing/2014/main" id="{0A29F8B3-4723-4928-83E5-76C29D05F2F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fld id="{19B51A1E-902D-48AF-9020-955120F399B6}" type="slidenum">
              <a:rPr lang="pt-BR" noProof="0" smtClean="0"/>
              <a:pPr rtl="0"/>
              <a:t>‹nº›</a:t>
            </a:fld>
            <a:endParaRPr lang="pt-BR" noProof="0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57847F90-9DB6-4832-9EB7-393AADAE8B7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 rtlCol="0"/>
          <a:lstStyle/>
          <a:p>
            <a:pPr rtl="0"/>
            <a:r>
              <a:rPr lang="pt-BR" noProof="0"/>
              <a:t>Adicionar um rodapé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9C2F662E-807E-41B5-8931-9847713E51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/>
          <a:p>
            <a:pPr rtl="0"/>
            <a:r>
              <a:rPr lang="pt-BR" noProof="0"/>
              <a:t>Clique para editar o estilo de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5880788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brigad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" name="Espaço Reservado para Imagem 685">
            <a:extLst>
              <a:ext uri="{FF2B5EF4-FFF2-40B4-BE49-F238E27FC236}">
                <a16:creationId xmlns:a16="http://schemas.microsoft.com/office/drawing/2014/main" id="{775C10E2-B4E1-4A6E-AA2F-E9994E3B840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581896" y="617827"/>
            <a:ext cx="6226010" cy="5756219"/>
          </a:xfrm>
          <a:custGeom>
            <a:avLst/>
            <a:gdLst>
              <a:gd name="connsiteX0" fmla="*/ 3489392 w 6226010"/>
              <a:gd name="connsiteY0" fmla="*/ 5744990 h 5756219"/>
              <a:gd name="connsiteX1" fmla="*/ 3483957 w 6226010"/>
              <a:gd name="connsiteY1" fmla="*/ 5755860 h 5756219"/>
              <a:gd name="connsiteX2" fmla="*/ 3478522 w 6226010"/>
              <a:gd name="connsiteY2" fmla="*/ 5747707 h 5756219"/>
              <a:gd name="connsiteX3" fmla="*/ 3486675 w 6226010"/>
              <a:gd name="connsiteY3" fmla="*/ 5750425 h 5756219"/>
              <a:gd name="connsiteX4" fmla="*/ 3489392 w 6226010"/>
              <a:gd name="connsiteY4" fmla="*/ 5744990 h 5756219"/>
              <a:gd name="connsiteX5" fmla="*/ 3755716 w 6226010"/>
              <a:gd name="connsiteY5" fmla="*/ 5573781 h 5756219"/>
              <a:gd name="connsiteX6" fmla="*/ 3704081 w 6226010"/>
              <a:gd name="connsiteY6" fmla="*/ 5628133 h 5756219"/>
              <a:gd name="connsiteX7" fmla="*/ 3687776 w 6226010"/>
              <a:gd name="connsiteY7" fmla="*/ 5622697 h 5756219"/>
              <a:gd name="connsiteX8" fmla="*/ 3679623 w 6226010"/>
              <a:gd name="connsiteY8" fmla="*/ 5587369 h 5756219"/>
              <a:gd name="connsiteX9" fmla="*/ 3755716 w 6226010"/>
              <a:gd name="connsiteY9" fmla="*/ 5573781 h 5756219"/>
              <a:gd name="connsiteX10" fmla="*/ 3530156 w 6226010"/>
              <a:gd name="connsiteY10" fmla="*/ 5560192 h 5756219"/>
              <a:gd name="connsiteX11" fmla="*/ 3524721 w 6226010"/>
              <a:gd name="connsiteY11" fmla="*/ 5617262 h 5756219"/>
              <a:gd name="connsiteX12" fmla="*/ 3502979 w 6226010"/>
              <a:gd name="connsiteY12" fmla="*/ 5571063 h 5756219"/>
              <a:gd name="connsiteX13" fmla="*/ 3513850 w 6226010"/>
              <a:gd name="connsiteY13" fmla="*/ 5576498 h 5756219"/>
              <a:gd name="connsiteX14" fmla="*/ 3513850 w 6226010"/>
              <a:gd name="connsiteY14" fmla="*/ 5562910 h 5756219"/>
              <a:gd name="connsiteX15" fmla="*/ 3530156 w 6226010"/>
              <a:gd name="connsiteY15" fmla="*/ 5560192 h 5756219"/>
              <a:gd name="connsiteX16" fmla="*/ 3682977 w 6226010"/>
              <a:gd name="connsiteY16" fmla="*/ 5487030 h 5756219"/>
              <a:gd name="connsiteX17" fmla="*/ 3712235 w 6226010"/>
              <a:gd name="connsiteY17" fmla="*/ 5497688 h 5756219"/>
              <a:gd name="connsiteX18" fmla="*/ 3772022 w 6226010"/>
              <a:gd name="connsiteY18" fmla="*/ 5494971 h 5756219"/>
              <a:gd name="connsiteX19" fmla="*/ 3769304 w 6226010"/>
              <a:gd name="connsiteY19" fmla="*/ 5494971 h 5756219"/>
              <a:gd name="connsiteX20" fmla="*/ 3769304 w 6226010"/>
              <a:gd name="connsiteY20" fmla="*/ 5508559 h 5756219"/>
              <a:gd name="connsiteX21" fmla="*/ 3761151 w 6226010"/>
              <a:gd name="connsiteY21" fmla="*/ 5524864 h 5756219"/>
              <a:gd name="connsiteX22" fmla="*/ 3769304 w 6226010"/>
              <a:gd name="connsiteY22" fmla="*/ 5538452 h 5756219"/>
              <a:gd name="connsiteX23" fmla="*/ 3747563 w 6226010"/>
              <a:gd name="connsiteY23" fmla="*/ 5554758 h 5756219"/>
              <a:gd name="connsiteX24" fmla="*/ 3750281 w 6226010"/>
              <a:gd name="connsiteY24" fmla="*/ 5562911 h 5756219"/>
              <a:gd name="connsiteX25" fmla="*/ 3674187 w 6226010"/>
              <a:gd name="connsiteY25" fmla="*/ 5573781 h 5756219"/>
              <a:gd name="connsiteX26" fmla="*/ 3682977 w 6226010"/>
              <a:gd name="connsiteY26" fmla="*/ 5487030 h 5756219"/>
              <a:gd name="connsiteX27" fmla="*/ 3638774 w 6226010"/>
              <a:gd name="connsiteY27" fmla="*/ 5466563 h 5756219"/>
              <a:gd name="connsiteX28" fmla="*/ 3657883 w 6226010"/>
              <a:gd name="connsiteY28" fmla="*/ 5486818 h 5756219"/>
              <a:gd name="connsiteX29" fmla="*/ 3647013 w 6226010"/>
              <a:gd name="connsiteY29" fmla="*/ 5486818 h 5756219"/>
              <a:gd name="connsiteX30" fmla="*/ 3633424 w 6226010"/>
              <a:gd name="connsiteY30" fmla="*/ 5470512 h 5756219"/>
              <a:gd name="connsiteX31" fmla="*/ 3638774 w 6226010"/>
              <a:gd name="connsiteY31" fmla="*/ 5466563 h 5756219"/>
              <a:gd name="connsiteX32" fmla="*/ 3568201 w 6226010"/>
              <a:gd name="connsiteY32" fmla="*/ 5437900 h 5756219"/>
              <a:gd name="connsiteX33" fmla="*/ 3657883 w 6226010"/>
              <a:gd name="connsiteY33" fmla="*/ 5584650 h 5756219"/>
              <a:gd name="connsiteX34" fmla="*/ 3538308 w 6226010"/>
              <a:gd name="connsiteY34" fmla="*/ 5609108 h 5756219"/>
              <a:gd name="connsiteX35" fmla="*/ 3568201 w 6226010"/>
              <a:gd name="connsiteY35" fmla="*/ 5437900 h 5756219"/>
              <a:gd name="connsiteX36" fmla="*/ 3420772 w 6226010"/>
              <a:gd name="connsiteY36" fmla="*/ 5399514 h 5756219"/>
              <a:gd name="connsiteX37" fmla="*/ 3426886 w 6226010"/>
              <a:gd name="connsiteY37" fmla="*/ 5410724 h 5756219"/>
              <a:gd name="connsiteX38" fmla="*/ 3524720 w 6226010"/>
              <a:gd name="connsiteY38" fmla="*/ 5429747 h 5756219"/>
              <a:gd name="connsiteX39" fmla="*/ 3538308 w 6226010"/>
              <a:gd name="connsiteY39" fmla="*/ 5451488 h 5756219"/>
              <a:gd name="connsiteX40" fmla="*/ 3549178 w 6226010"/>
              <a:gd name="connsiteY40" fmla="*/ 5435182 h 5756219"/>
              <a:gd name="connsiteX41" fmla="*/ 3535590 w 6226010"/>
              <a:gd name="connsiteY41" fmla="*/ 5552039 h 5756219"/>
              <a:gd name="connsiteX42" fmla="*/ 3519285 w 6226010"/>
              <a:gd name="connsiteY42" fmla="*/ 5560191 h 5756219"/>
              <a:gd name="connsiteX43" fmla="*/ 3524720 w 6226010"/>
              <a:gd name="connsiteY43" fmla="*/ 5541168 h 5756219"/>
              <a:gd name="connsiteX44" fmla="*/ 3505697 w 6226010"/>
              <a:gd name="connsiteY44" fmla="*/ 5554756 h 5756219"/>
              <a:gd name="connsiteX45" fmla="*/ 3492109 w 6226010"/>
              <a:gd name="connsiteY45" fmla="*/ 5503122 h 5756219"/>
              <a:gd name="connsiteX46" fmla="*/ 3462215 w 6226010"/>
              <a:gd name="connsiteY46" fmla="*/ 5443335 h 5756219"/>
              <a:gd name="connsiteX47" fmla="*/ 3448627 w 6226010"/>
              <a:gd name="connsiteY47" fmla="*/ 5448770 h 5756219"/>
              <a:gd name="connsiteX48" fmla="*/ 3410581 w 6226010"/>
              <a:gd name="connsiteY48" fmla="*/ 5402571 h 5756219"/>
              <a:gd name="connsiteX49" fmla="*/ 3420772 w 6226010"/>
              <a:gd name="connsiteY49" fmla="*/ 5399514 h 5756219"/>
              <a:gd name="connsiteX50" fmla="*/ 3576355 w 6226010"/>
              <a:gd name="connsiteY50" fmla="*/ 5383550 h 5756219"/>
              <a:gd name="connsiteX51" fmla="*/ 3598096 w 6226010"/>
              <a:gd name="connsiteY51" fmla="*/ 5418878 h 5756219"/>
              <a:gd name="connsiteX52" fmla="*/ 3568202 w 6226010"/>
              <a:gd name="connsiteY52" fmla="*/ 5418878 h 5756219"/>
              <a:gd name="connsiteX53" fmla="*/ 3576355 w 6226010"/>
              <a:gd name="connsiteY53" fmla="*/ 5383550 h 5756219"/>
              <a:gd name="connsiteX54" fmla="*/ 3364382 w 6226010"/>
              <a:gd name="connsiteY54" fmla="*/ 5378114 h 5756219"/>
              <a:gd name="connsiteX55" fmla="*/ 3407864 w 6226010"/>
              <a:gd name="connsiteY55" fmla="*/ 5410725 h 5756219"/>
              <a:gd name="connsiteX56" fmla="*/ 3364382 w 6226010"/>
              <a:gd name="connsiteY56" fmla="*/ 5378114 h 5756219"/>
              <a:gd name="connsiteX57" fmla="*/ 3329054 w 6226010"/>
              <a:gd name="connsiteY57" fmla="*/ 5369962 h 5756219"/>
              <a:gd name="connsiteX58" fmla="*/ 3342642 w 6226010"/>
              <a:gd name="connsiteY58" fmla="*/ 5383550 h 5756219"/>
              <a:gd name="connsiteX59" fmla="*/ 3329054 w 6226010"/>
              <a:gd name="connsiteY59" fmla="*/ 5369962 h 5756219"/>
              <a:gd name="connsiteX60" fmla="*/ 3546462 w 6226010"/>
              <a:gd name="connsiteY60" fmla="*/ 5353656 h 5756219"/>
              <a:gd name="connsiteX61" fmla="*/ 3568202 w 6226010"/>
              <a:gd name="connsiteY61" fmla="*/ 5375396 h 5756219"/>
              <a:gd name="connsiteX62" fmla="*/ 3560050 w 6226010"/>
              <a:gd name="connsiteY62" fmla="*/ 5416160 h 5756219"/>
              <a:gd name="connsiteX63" fmla="*/ 3464933 w 6226010"/>
              <a:gd name="connsiteY63" fmla="*/ 5391702 h 5756219"/>
              <a:gd name="connsiteX64" fmla="*/ 3546462 w 6226010"/>
              <a:gd name="connsiteY64" fmla="*/ 5353656 h 5756219"/>
              <a:gd name="connsiteX65" fmla="*/ 3261113 w 6226010"/>
              <a:gd name="connsiteY65" fmla="*/ 5353655 h 5756219"/>
              <a:gd name="connsiteX66" fmla="*/ 3271983 w 6226010"/>
              <a:gd name="connsiteY66" fmla="*/ 5367243 h 5756219"/>
              <a:gd name="connsiteX67" fmla="*/ 3310030 w 6226010"/>
              <a:gd name="connsiteY67" fmla="*/ 5378113 h 5756219"/>
              <a:gd name="connsiteX68" fmla="*/ 3307312 w 6226010"/>
              <a:gd name="connsiteY68" fmla="*/ 5397136 h 5756219"/>
              <a:gd name="connsiteX69" fmla="*/ 3315465 w 6226010"/>
              <a:gd name="connsiteY69" fmla="*/ 5408007 h 5756219"/>
              <a:gd name="connsiteX70" fmla="*/ 3323618 w 6226010"/>
              <a:gd name="connsiteY70" fmla="*/ 5386266 h 5756219"/>
              <a:gd name="connsiteX71" fmla="*/ 3358946 w 6226010"/>
              <a:gd name="connsiteY71" fmla="*/ 5410724 h 5756219"/>
              <a:gd name="connsiteX72" fmla="*/ 3372534 w 6226010"/>
              <a:gd name="connsiteY72" fmla="*/ 5408007 h 5756219"/>
              <a:gd name="connsiteX73" fmla="*/ 3456780 w 6226010"/>
              <a:gd name="connsiteY73" fmla="*/ 5500406 h 5756219"/>
              <a:gd name="connsiteX74" fmla="*/ 3448627 w 6226010"/>
              <a:gd name="connsiteY74" fmla="*/ 5481382 h 5756219"/>
              <a:gd name="connsiteX75" fmla="*/ 3432321 w 6226010"/>
              <a:gd name="connsiteY75" fmla="*/ 5486818 h 5756219"/>
              <a:gd name="connsiteX76" fmla="*/ 3435039 w 6226010"/>
              <a:gd name="connsiteY76" fmla="*/ 5505841 h 5756219"/>
              <a:gd name="connsiteX77" fmla="*/ 3413298 w 6226010"/>
              <a:gd name="connsiteY77" fmla="*/ 5505841 h 5756219"/>
              <a:gd name="connsiteX78" fmla="*/ 3410581 w 6226010"/>
              <a:gd name="connsiteY78" fmla="*/ 5527581 h 5756219"/>
              <a:gd name="connsiteX79" fmla="*/ 3429604 w 6226010"/>
              <a:gd name="connsiteY79" fmla="*/ 5527581 h 5756219"/>
              <a:gd name="connsiteX80" fmla="*/ 3429604 w 6226010"/>
              <a:gd name="connsiteY80" fmla="*/ 5549322 h 5756219"/>
              <a:gd name="connsiteX81" fmla="*/ 3448627 w 6226010"/>
              <a:gd name="connsiteY81" fmla="*/ 5524864 h 5756219"/>
              <a:gd name="connsiteX82" fmla="*/ 3470368 w 6226010"/>
              <a:gd name="connsiteY82" fmla="*/ 5538452 h 5756219"/>
              <a:gd name="connsiteX83" fmla="*/ 3475803 w 6226010"/>
              <a:gd name="connsiteY83" fmla="*/ 5522146 h 5756219"/>
              <a:gd name="connsiteX84" fmla="*/ 3459497 w 6226010"/>
              <a:gd name="connsiteY84" fmla="*/ 5519429 h 5756219"/>
              <a:gd name="connsiteX85" fmla="*/ 3467650 w 6226010"/>
              <a:gd name="connsiteY85" fmla="*/ 5505841 h 5756219"/>
              <a:gd name="connsiteX86" fmla="*/ 3492108 w 6226010"/>
              <a:gd name="connsiteY86" fmla="*/ 5573781 h 5756219"/>
              <a:gd name="connsiteX87" fmla="*/ 3478520 w 6226010"/>
              <a:gd name="connsiteY87" fmla="*/ 5579216 h 5756219"/>
              <a:gd name="connsiteX88" fmla="*/ 3511131 w 6226010"/>
              <a:gd name="connsiteY88" fmla="*/ 5666179 h 5756219"/>
              <a:gd name="connsiteX89" fmla="*/ 3367099 w 6226010"/>
              <a:gd name="connsiteY89" fmla="*/ 5736836 h 5756219"/>
              <a:gd name="connsiteX90" fmla="*/ 3367099 w 6226010"/>
              <a:gd name="connsiteY90" fmla="*/ 5723248 h 5756219"/>
              <a:gd name="connsiteX91" fmla="*/ 3367099 w 6226010"/>
              <a:gd name="connsiteY91" fmla="*/ 5668896 h 5756219"/>
              <a:gd name="connsiteX92" fmla="*/ 3358946 w 6226010"/>
              <a:gd name="connsiteY92" fmla="*/ 5652591 h 5756219"/>
              <a:gd name="connsiteX93" fmla="*/ 3358946 w 6226010"/>
              <a:gd name="connsiteY93" fmla="*/ 5636285 h 5756219"/>
              <a:gd name="connsiteX94" fmla="*/ 3358946 w 6226010"/>
              <a:gd name="connsiteY94" fmla="*/ 5611827 h 5756219"/>
              <a:gd name="connsiteX95" fmla="*/ 3345358 w 6226010"/>
              <a:gd name="connsiteY95" fmla="*/ 5598239 h 5756219"/>
              <a:gd name="connsiteX96" fmla="*/ 3353511 w 6226010"/>
              <a:gd name="connsiteY96" fmla="*/ 5576498 h 5756219"/>
              <a:gd name="connsiteX97" fmla="*/ 3337206 w 6226010"/>
              <a:gd name="connsiteY97" fmla="*/ 5568345 h 5756219"/>
              <a:gd name="connsiteX98" fmla="*/ 3342641 w 6226010"/>
              <a:gd name="connsiteY98" fmla="*/ 5554757 h 5756219"/>
              <a:gd name="connsiteX99" fmla="*/ 3331770 w 6226010"/>
              <a:gd name="connsiteY99" fmla="*/ 5530299 h 5756219"/>
              <a:gd name="connsiteX100" fmla="*/ 3339923 w 6226010"/>
              <a:gd name="connsiteY100" fmla="*/ 5437901 h 5756219"/>
              <a:gd name="connsiteX101" fmla="*/ 3318182 w 6226010"/>
              <a:gd name="connsiteY101" fmla="*/ 5446054 h 5756219"/>
              <a:gd name="connsiteX102" fmla="*/ 3296442 w 6226010"/>
              <a:gd name="connsiteY102" fmla="*/ 5446054 h 5756219"/>
              <a:gd name="connsiteX103" fmla="*/ 3266548 w 6226010"/>
              <a:gd name="connsiteY103" fmla="*/ 5408007 h 5756219"/>
              <a:gd name="connsiteX104" fmla="*/ 3252960 w 6226010"/>
              <a:gd name="connsiteY104" fmla="*/ 5405289 h 5756219"/>
              <a:gd name="connsiteX105" fmla="*/ 3251602 w 6226010"/>
              <a:gd name="connsiteY105" fmla="*/ 5403931 h 5756219"/>
              <a:gd name="connsiteX106" fmla="*/ 3242090 w 6226010"/>
              <a:gd name="connsiteY106" fmla="*/ 5394419 h 5756219"/>
              <a:gd name="connsiteX107" fmla="*/ 3242090 w 6226010"/>
              <a:gd name="connsiteY107" fmla="*/ 5372678 h 5756219"/>
              <a:gd name="connsiteX108" fmla="*/ 3261113 w 6226010"/>
              <a:gd name="connsiteY108" fmla="*/ 5353655 h 5756219"/>
              <a:gd name="connsiteX109" fmla="*/ 3269266 w 6226010"/>
              <a:gd name="connsiteY109" fmla="*/ 5340068 h 5756219"/>
              <a:gd name="connsiteX110" fmla="*/ 3288290 w 6226010"/>
              <a:gd name="connsiteY110" fmla="*/ 5353656 h 5756219"/>
              <a:gd name="connsiteX111" fmla="*/ 3263831 w 6226010"/>
              <a:gd name="connsiteY111" fmla="*/ 5345503 h 5756219"/>
              <a:gd name="connsiteX112" fmla="*/ 3269266 w 6226010"/>
              <a:gd name="connsiteY112" fmla="*/ 5340068 h 5756219"/>
              <a:gd name="connsiteX113" fmla="*/ 3356229 w 6226010"/>
              <a:gd name="connsiteY113" fmla="*/ 5337351 h 5756219"/>
              <a:gd name="connsiteX114" fmla="*/ 3377971 w 6226010"/>
              <a:gd name="connsiteY114" fmla="*/ 5359092 h 5756219"/>
              <a:gd name="connsiteX115" fmla="*/ 3353512 w 6226010"/>
              <a:gd name="connsiteY115" fmla="*/ 5356374 h 5756219"/>
              <a:gd name="connsiteX116" fmla="*/ 3356229 w 6226010"/>
              <a:gd name="connsiteY116" fmla="*/ 5337351 h 5756219"/>
              <a:gd name="connsiteX117" fmla="*/ 3551897 w 6226010"/>
              <a:gd name="connsiteY117" fmla="*/ 5329198 h 5756219"/>
              <a:gd name="connsiteX118" fmla="*/ 3562767 w 6226010"/>
              <a:gd name="connsiteY118" fmla="*/ 5353656 h 5756219"/>
              <a:gd name="connsiteX119" fmla="*/ 3551897 w 6226010"/>
              <a:gd name="connsiteY119" fmla="*/ 5329198 h 5756219"/>
              <a:gd name="connsiteX120" fmla="*/ 3573638 w 6226010"/>
              <a:gd name="connsiteY120" fmla="*/ 5304740 h 5756219"/>
              <a:gd name="connsiteX121" fmla="*/ 3576355 w 6226010"/>
              <a:gd name="connsiteY121" fmla="*/ 5340068 h 5756219"/>
              <a:gd name="connsiteX122" fmla="*/ 3560050 w 6226010"/>
              <a:gd name="connsiteY122" fmla="*/ 5326481 h 5756219"/>
              <a:gd name="connsiteX123" fmla="*/ 3573638 w 6226010"/>
              <a:gd name="connsiteY123" fmla="*/ 5304740 h 5756219"/>
              <a:gd name="connsiteX124" fmla="*/ 3326336 w 6226010"/>
              <a:gd name="connsiteY124" fmla="*/ 5304740 h 5756219"/>
              <a:gd name="connsiteX125" fmla="*/ 3348077 w 6226010"/>
              <a:gd name="connsiteY125" fmla="*/ 5331916 h 5756219"/>
              <a:gd name="connsiteX126" fmla="*/ 3310030 w 6226010"/>
              <a:gd name="connsiteY126" fmla="*/ 5334633 h 5756219"/>
              <a:gd name="connsiteX127" fmla="*/ 3326336 w 6226010"/>
              <a:gd name="connsiteY127" fmla="*/ 5321045 h 5756219"/>
              <a:gd name="connsiteX128" fmla="*/ 3318182 w 6226010"/>
              <a:gd name="connsiteY128" fmla="*/ 5307457 h 5756219"/>
              <a:gd name="connsiteX129" fmla="*/ 3326336 w 6226010"/>
              <a:gd name="connsiteY129" fmla="*/ 5304740 h 5756219"/>
              <a:gd name="connsiteX130" fmla="*/ 3508415 w 6226010"/>
              <a:gd name="connsiteY130" fmla="*/ 5288434 h 5756219"/>
              <a:gd name="connsiteX131" fmla="*/ 3519285 w 6226010"/>
              <a:gd name="connsiteY131" fmla="*/ 5304739 h 5756219"/>
              <a:gd name="connsiteX132" fmla="*/ 3508415 w 6226010"/>
              <a:gd name="connsiteY132" fmla="*/ 5288434 h 5756219"/>
              <a:gd name="connsiteX133" fmla="*/ 3380009 w 6226010"/>
              <a:gd name="connsiteY133" fmla="*/ 5274505 h 5756219"/>
              <a:gd name="connsiteX134" fmla="*/ 3391559 w 6226010"/>
              <a:gd name="connsiteY134" fmla="*/ 5274845 h 5756219"/>
              <a:gd name="connsiteX135" fmla="*/ 3372536 w 6226010"/>
              <a:gd name="connsiteY135" fmla="*/ 5280281 h 5756219"/>
              <a:gd name="connsiteX136" fmla="*/ 3380009 w 6226010"/>
              <a:gd name="connsiteY136" fmla="*/ 5274505 h 5756219"/>
              <a:gd name="connsiteX137" fmla="*/ 3437756 w 6226010"/>
              <a:gd name="connsiteY137" fmla="*/ 5269410 h 5756219"/>
              <a:gd name="connsiteX138" fmla="*/ 3459497 w 6226010"/>
              <a:gd name="connsiteY138" fmla="*/ 5280280 h 5756219"/>
              <a:gd name="connsiteX139" fmla="*/ 3475803 w 6226010"/>
              <a:gd name="connsiteY139" fmla="*/ 5277563 h 5756219"/>
              <a:gd name="connsiteX140" fmla="*/ 3508414 w 6226010"/>
              <a:gd name="connsiteY140" fmla="*/ 5312891 h 5756219"/>
              <a:gd name="connsiteX141" fmla="*/ 3497543 w 6226010"/>
              <a:gd name="connsiteY141" fmla="*/ 5323762 h 5756219"/>
              <a:gd name="connsiteX142" fmla="*/ 3522002 w 6226010"/>
              <a:gd name="connsiteY142" fmla="*/ 5345502 h 5756219"/>
              <a:gd name="connsiteX143" fmla="*/ 3445909 w 6226010"/>
              <a:gd name="connsiteY143" fmla="*/ 5383549 h 5756219"/>
              <a:gd name="connsiteX144" fmla="*/ 3383405 w 6226010"/>
              <a:gd name="connsiteY144" fmla="*/ 5318326 h 5756219"/>
              <a:gd name="connsiteX145" fmla="*/ 3416016 w 6226010"/>
              <a:gd name="connsiteY145" fmla="*/ 5331914 h 5756219"/>
              <a:gd name="connsiteX146" fmla="*/ 3377969 w 6226010"/>
              <a:gd name="connsiteY146" fmla="*/ 5312891 h 5756219"/>
              <a:gd name="connsiteX147" fmla="*/ 3377969 w 6226010"/>
              <a:gd name="connsiteY147" fmla="*/ 5293868 h 5756219"/>
              <a:gd name="connsiteX148" fmla="*/ 3375252 w 6226010"/>
              <a:gd name="connsiteY148" fmla="*/ 5288433 h 5756219"/>
              <a:gd name="connsiteX149" fmla="*/ 3437756 w 6226010"/>
              <a:gd name="connsiteY149" fmla="*/ 5269410 h 5756219"/>
              <a:gd name="connsiteX150" fmla="*/ 3402429 w 6226010"/>
              <a:gd name="connsiteY150" fmla="*/ 5263976 h 5756219"/>
              <a:gd name="connsiteX151" fmla="*/ 3394276 w 6226010"/>
              <a:gd name="connsiteY151" fmla="*/ 5272129 h 5756219"/>
              <a:gd name="connsiteX152" fmla="*/ 3402429 w 6226010"/>
              <a:gd name="connsiteY152" fmla="*/ 5263976 h 5756219"/>
              <a:gd name="connsiteX153" fmla="*/ 3356230 w 6226010"/>
              <a:gd name="connsiteY153" fmla="*/ 5261258 h 5756219"/>
              <a:gd name="connsiteX154" fmla="*/ 3364383 w 6226010"/>
              <a:gd name="connsiteY154" fmla="*/ 5274846 h 5756219"/>
              <a:gd name="connsiteX155" fmla="*/ 3356230 w 6226010"/>
              <a:gd name="connsiteY155" fmla="*/ 5261258 h 5756219"/>
              <a:gd name="connsiteX156" fmla="*/ 3326335 w 6226010"/>
              <a:gd name="connsiteY156" fmla="*/ 5258541 h 5756219"/>
              <a:gd name="connsiteX157" fmla="*/ 3356230 w 6226010"/>
              <a:gd name="connsiteY157" fmla="*/ 5274846 h 5756219"/>
              <a:gd name="connsiteX158" fmla="*/ 3350795 w 6226010"/>
              <a:gd name="connsiteY158" fmla="*/ 5282999 h 5756219"/>
              <a:gd name="connsiteX159" fmla="*/ 3364383 w 6226010"/>
              <a:gd name="connsiteY159" fmla="*/ 5285717 h 5756219"/>
              <a:gd name="connsiteX160" fmla="*/ 3369818 w 6226010"/>
              <a:gd name="connsiteY160" fmla="*/ 5334633 h 5756219"/>
              <a:gd name="connsiteX161" fmla="*/ 3356230 w 6226010"/>
              <a:gd name="connsiteY161" fmla="*/ 5299305 h 5756219"/>
              <a:gd name="connsiteX162" fmla="*/ 3329053 w 6226010"/>
              <a:gd name="connsiteY162" fmla="*/ 5285717 h 5756219"/>
              <a:gd name="connsiteX163" fmla="*/ 3323618 w 6226010"/>
              <a:gd name="connsiteY163" fmla="*/ 5280281 h 5756219"/>
              <a:gd name="connsiteX164" fmla="*/ 3326335 w 6226010"/>
              <a:gd name="connsiteY164" fmla="*/ 5258541 h 5756219"/>
              <a:gd name="connsiteX165" fmla="*/ 3606248 w 6226010"/>
              <a:gd name="connsiteY165" fmla="*/ 5253104 h 5756219"/>
              <a:gd name="connsiteX166" fmla="*/ 3619836 w 6226010"/>
              <a:gd name="connsiteY166" fmla="*/ 5266692 h 5756219"/>
              <a:gd name="connsiteX167" fmla="*/ 3619836 w 6226010"/>
              <a:gd name="connsiteY167" fmla="*/ 5288432 h 5756219"/>
              <a:gd name="connsiteX168" fmla="*/ 3636142 w 6226010"/>
              <a:gd name="connsiteY168" fmla="*/ 5296585 h 5756219"/>
              <a:gd name="connsiteX169" fmla="*/ 3627989 w 6226010"/>
              <a:gd name="connsiteY169" fmla="*/ 5326479 h 5756219"/>
              <a:gd name="connsiteX170" fmla="*/ 3644295 w 6226010"/>
              <a:gd name="connsiteY170" fmla="*/ 5348219 h 5756219"/>
              <a:gd name="connsiteX171" fmla="*/ 3627989 w 6226010"/>
              <a:gd name="connsiteY171" fmla="*/ 5348219 h 5756219"/>
              <a:gd name="connsiteX172" fmla="*/ 3627989 w 6226010"/>
              <a:gd name="connsiteY172" fmla="*/ 5369960 h 5756219"/>
              <a:gd name="connsiteX173" fmla="*/ 3666035 w 6226010"/>
              <a:gd name="connsiteY173" fmla="*/ 5369960 h 5756219"/>
              <a:gd name="connsiteX174" fmla="*/ 3685058 w 6226010"/>
              <a:gd name="connsiteY174" fmla="*/ 5380831 h 5756219"/>
              <a:gd name="connsiteX175" fmla="*/ 3674188 w 6226010"/>
              <a:gd name="connsiteY175" fmla="*/ 5391701 h 5756219"/>
              <a:gd name="connsiteX176" fmla="*/ 3714952 w 6226010"/>
              <a:gd name="connsiteY176" fmla="*/ 5391701 h 5756219"/>
              <a:gd name="connsiteX177" fmla="*/ 3720387 w 6226010"/>
              <a:gd name="connsiteY177" fmla="*/ 5397136 h 5756219"/>
              <a:gd name="connsiteX178" fmla="*/ 3674188 w 6226010"/>
              <a:gd name="connsiteY178" fmla="*/ 5405289 h 5756219"/>
              <a:gd name="connsiteX179" fmla="*/ 3750281 w 6226010"/>
              <a:gd name="connsiteY179" fmla="*/ 5424312 h 5756219"/>
              <a:gd name="connsiteX180" fmla="*/ 3766586 w 6226010"/>
              <a:gd name="connsiteY180" fmla="*/ 5437900 h 5756219"/>
              <a:gd name="connsiteX181" fmla="*/ 3758433 w 6226010"/>
              <a:gd name="connsiteY181" fmla="*/ 5451488 h 5756219"/>
              <a:gd name="connsiteX182" fmla="*/ 3769304 w 6226010"/>
              <a:gd name="connsiteY182" fmla="*/ 5465076 h 5756219"/>
              <a:gd name="connsiteX183" fmla="*/ 3761151 w 6226010"/>
              <a:gd name="connsiteY183" fmla="*/ 5478664 h 5756219"/>
              <a:gd name="connsiteX184" fmla="*/ 3769304 w 6226010"/>
              <a:gd name="connsiteY184" fmla="*/ 5484099 h 5756219"/>
              <a:gd name="connsiteX185" fmla="*/ 3676906 w 6226010"/>
              <a:gd name="connsiteY185" fmla="*/ 5467794 h 5756219"/>
              <a:gd name="connsiteX186" fmla="*/ 3687776 w 6226010"/>
              <a:gd name="connsiteY186" fmla="*/ 5429747 h 5756219"/>
              <a:gd name="connsiteX187" fmla="*/ 3671470 w 6226010"/>
              <a:gd name="connsiteY187" fmla="*/ 5440618 h 5756219"/>
              <a:gd name="connsiteX188" fmla="*/ 3649730 w 6226010"/>
              <a:gd name="connsiteY188" fmla="*/ 5418877 h 5756219"/>
              <a:gd name="connsiteX189" fmla="*/ 3644295 w 6226010"/>
              <a:gd name="connsiteY189" fmla="*/ 5437900 h 5756219"/>
              <a:gd name="connsiteX190" fmla="*/ 3622554 w 6226010"/>
              <a:gd name="connsiteY190" fmla="*/ 5443335 h 5756219"/>
              <a:gd name="connsiteX191" fmla="*/ 3598095 w 6226010"/>
              <a:gd name="connsiteY191" fmla="*/ 5323761 h 5756219"/>
              <a:gd name="connsiteX192" fmla="*/ 3606248 w 6226010"/>
              <a:gd name="connsiteY192" fmla="*/ 5331914 h 5756219"/>
              <a:gd name="connsiteX193" fmla="*/ 3611683 w 6226010"/>
              <a:gd name="connsiteY193" fmla="*/ 5315608 h 5756219"/>
              <a:gd name="connsiteX194" fmla="*/ 3595378 w 6226010"/>
              <a:gd name="connsiteY194" fmla="*/ 5310173 h 5756219"/>
              <a:gd name="connsiteX195" fmla="*/ 3606248 w 6226010"/>
              <a:gd name="connsiteY195" fmla="*/ 5299303 h 5756219"/>
              <a:gd name="connsiteX196" fmla="*/ 3598095 w 6226010"/>
              <a:gd name="connsiteY196" fmla="*/ 5280280 h 5756219"/>
              <a:gd name="connsiteX197" fmla="*/ 3606248 w 6226010"/>
              <a:gd name="connsiteY197" fmla="*/ 5253104 h 5756219"/>
              <a:gd name="connsiteX198" fmla="*/ 3475804 w 6226010"/>
              <a:gd name="connsiteY198" fmla="*/ 5247670 h 5756219"/>
              <a:gd name="connsiteX199" fmla="*/ 3489392 w 6226010"/>
              <a:gd name="connsiteY199" fmla="*/ 5269411 h 5756219"/>
              <a:gd name="connsiteX200" fmla="*/ 3475804 w 6226010"/>
              <a:gd name="connsiteY200" fmla="*/ 5247670 h 5756219"/>
              <a:gd name="connsiteX201" fmla="*/ 3432322 w 6226010"/>
              <a:gd name="connsiteY201" fmla="*/ 5231365 h 5756219"/>
              <a:gd name="connsiteX202" fmla="*/ 3437758 w 6226010"/>
              <a:gd name="connsiteY202" fmla="*/ 5255823 h 5756219"/>
              <a:gd name="connsiteX203" fmla="*/ 3388840 w 6226010"/>
              <a:gd name="connsiteY203" fmla="*/ 5239517 h 5756219"/>
              <a:gd name="connsiteX204" fmla="*/ 3432322 w 6226010"/>
              <a:gd name="connsiteY204" fmla="*/ 5231365 h 5756219"/>
              <a:gd name="connsiteX205" fmla="*/ 3584508 w 6226010"/>
              <a:gd name="connsiteY205" fmla="*/ 5225929 h 5756219"/>
              <a:gd name="connsiteX206" fmla="*/ 3595378 w 6226010"/>
              <a:gd name="connsiteY206" fmla="*/ 5236799 h 5756219"/>
              <a:gd name="connsiteX207" fmla="*/ 3589943 w 6226010"/>
              <a:gd name="connsiteY207" fmla="*/ 5261257 h 5756219"/>
              <a:gd name="connsiteX208" fmla="*/ 3584508 w 6226010"/>
              <a:gd name="connsiteY208" fmla="*/ 5225929 h 5756219"/>
              <a:gd name="connsiteX209" fmla="*/ 3462216 w 6226010"/>
              <a:gd name="connsiteY209" fmla="*/ 5225929 h 5756219"/>
              <a:gd name="connsiteX210" fmla="*/ 3467651 w 6226010"/>
              <a:gd name="connsiteY210" fmla="*/ 5228646 h 5756219"/>
              <a:gd name="connsiteX211" fmla="*/ 3467651 w 6226010"/>
              <a:gd name="connsiteY211" fmla="*/ 5234082 h 5756219"/>
              <a:gd name="connsiteX212" fmla="*/ 3456781 w 6226010"/>
              <a:gd name="connsiteY212" fmla="*/ 5239517 h 5756219"/>
              <a:gd name="connsiteX213" fmla="*/ 3462216 w 6226010"/>
              <a:gd name="connsiteY213" fmla="*/ 5225929 h 5756219"/>
              <a:gd name="connsiteX214" fmla="*/ 3448629 w 6226010"/>
              <a:gd name="connsiteY214" fmla="*/ 5206906 h 5756219"/>
              <a:gd name="connsiteX215" fmla="*/ 3456781 w 6226010"/>
              <a:gd name="connsiteY215" fmla="*/ 5220494 h 5756219"/>
              <a:gd name="connsiteX216" fmla="*/ 3448629 w 6226010"/>
              <a:gd name="connsiteY216" fmla="*/ 5206906 h 5756219"/>
              <a:gd name="connsiteX217" fmla="*/ 3432323 w 6226010"/>
              <a:gd name="connsiteY217" fmla="*/ 5171577 h 5756219"/>
              <a:gd name="connsiteX218" fmla="*/ 3443193 w 6226010"/>
              <a:gd name="connsiteY218" fmla="*/ 5206905 h 5756219"/>
              <a:gd name="connsiteX219" fmla="*/ 3432323 w 6226010"/>
              <a:gd name="connsiteY219" fmla="*/ 5171577 h 5756219"/>
              <a:gd name="connsiteX220" fmla="*/ 3543744 w 6226010"/>
              <a:gd name="connsiteY220" fmla="*/ 5171576 h 5756219"/>
              <a:gd name="connsiteX221" fmla="*/ 3546461 w 6226010"/>
              <a:gd name="connsiteY221" fmla="*/ 5174293 h 5756219"/>
              <a:gd name="connsiteX222" fmla="*/ 3538308 w 6226010"/>
              <a:gd name="connsiteY222" fmla="*/ 5258539 h 5756219"/>
              <a:gd name="connsiteX223" fmla="*/ 3502979 w 6226010"/>
              <a:gd name="connsiteY223" fmla="*/ 5277562 h 5756219"/>
              <a:gd name="connsiteX224" fmla="*/ 3489391 w 6226010"/>
              <a:gd name="connsiteY224" fmla="*/ 5228645 h 5756219"/>
              <a:gd name="connsiteX225" fmla="*/ 3508414 w 6226010"/>
              <a:gd name="connsiteY225" fmla="*/ 5223210 h 5756219"/>
              <a:gd name="connsiteX226" fmla="*/ 3497544 w 6226010"/>
              <a:gd name="connsiteY226" fmla="*/ 5204187 h 5756219"/>
              <a:gd name="connsiteX227" fmla="*/ 3543744 w 6226010"/>
              <a:gd name="connsiteY227" fmla="*/ 5171576 h 5756219"/>
              <a:gd name="connsiteX228" fmla="*/ 3535591 w 6226010"/>
              <a:gd name="connsiteY228" fmla="*/ 5062874 h 5756219"/>
              <a:gd name="connsiteX229" fmla="*/ 3549180 w 6226010"/>
              <a:gd name="connsiteY229" fmla="*/ 5065591 h 5756219"/>
              <a:gd name="connsiteX230" fmla="*/ 3557332 w 6226010"/>
              <a:gd name="connsiteY230" fmla="*/ 5076462 h 5756219"/>
              <a:gd name="connsiteX231" fmla="*/ 3549180 w 6226010"/>
              <a:gd name="connsiteY231" fmla="*/ 5092767 h 5756219"/>
              <a:gd name="connsiteX232" fmla="*/ 3543743 w 6226010"/>
              <a:gd name="connsiteY232" fmla="*/ 5090050 h 5756219"/>
              <a:gd name="connsiteX233" fmla="*/ 3535591 w 6226010"/>
              <a:gd name="connsiteY233" fmla="*/ 5062874 h 5756219"/>
              <a:gd name="connsiteX234" fmla="*/ 3956819 w 6226010"/>
              <a:gd name="connsiteY234" fmla="*/ 5032979 h 5756219"/>
              <a:gd name="connsiteX235" fmla="*/ 3964971 w 6226010"/>
              <a:gd name="connsiteY235" fmla="*/ 5032979 h 5756219"/>
              <a:gd name="connsiteX236" fmla="*/ 3964971 w 6226010"/>
              <a:gd name="connsiteY236" fmla="*/ 5041132 h 5756219"/>
              <a:gd name="connsiteX237" fmla="*/ 3956819 w 6226010"/>
              <a:gd name="connsiteY237" fmla="*/ 5052003 h 5756219"/>
              <a:gd name="connsiteX238" fmla="*/ 4000300 w 6226010"/>
              <a:gd name="connsiteY238" fmla="*/ 5030811 h 5756219"/>
              <a:gd name="connsiteX239" fmla="*/ 4003018 w 6226010"/>
              <a:gd name="connsiteY239" fmla="*/ 5038416 h 5756219"/>
              <a:gd name="connsiteX240" fmla="*/ 3997583 w 6226010"/>
              <a:gd name="connsiteY240" fmla="*/ 5035698 h 5756219"/>
              <a:gd name="connsiteX241" fmla="*/ 4000300 w 6226010"/>
              <a:gd name="connsiteY241" fmla="*/ 5032980 h 5756219"/>
              <a:gd name="connsiteX242" fmla="*/ 3869854 w 6226010"/>
              <a:gd name="connsiteY242" fmla="*/ 5030261 h 5756219"/>
              <a:gd name="connsiteX243" fmla="*/ 3839961 w 6226010"/>
              <a:gd name="connsiteY243" fmla="*/ 5038414 h 5756219"/>
              <a:gd name="connsiteX244" fmla="*/ 3839961 w 6226010"/>
              <a:gd name="connsiteY244" fmla="*/ 5046567 h 5756219"/>
              <a:gd name="connsiteX245" fmla="*/ 3869854 w 6226010"/>
              <a:gd name="connsiteY245" fmla="*/ 5046567 h 5756219"/>
              <a:gd name="connsiteX246" fmla="*/ 4000300 w 6226010"/>
              <a:gd name="connsiteY246" fmla="*/ 5021994 h 5756219"/>
              <a:gd name="connsiteX247" fmla="*/ 4000300 w 6226010"/>
              <a:gd name="connsiteY247" fmla="*/ 5030811 h 5756219"/>
              <a:gd name="connsiteX248" fmla="*/ 3998389 w 6226010"/>
              <a:gd name="connsiteY248" fmla="*/ 5025465 h 5756219"/>
              <a:gd name="connsiteX249" fmla="*/ 3998601 w 6226010"/>
              <a:gd name="connsiteY249" fmla="*/ 5022450 h 5756219"/>
              <a:gd name="connsiteX250" fmla="*/ 4000300 w 6226010"/>
              <a:gd name="connsiteY250" fmla="*/ 5016675 h 5756219"/>
              <a:gd name="connsiteX251" fmla="*/ 4000342 w 6226010"/>
              <a:gd name="connsiteY251" fmla="*/ 5021983 h 5756219"/>
              <a:gd name="connsiteX252" fmla="*/ 4000300 w 6226010"/>
              <a:gd name="connsiteY252" fmla="*/ 5021994 h 5756219"/>
              <a:gd name="connsiteX253" fmla="*/ 1247376 w 6226010"/>
              <a:gd name="connsiteY253" fmla="*/ 5013956 h 5756219"/>
              <a:gd name="connsiteX254" fmla="*/ 1252983 w 6226010"/>
              <a:gd name="connsiteY254" fmla="*/ 5016733 h 5756219"/>
              <a:gd name="connsiteX255" fmla="*/ 1252811 w 6226010"/>
              <a:gd name="connsiteY255" fmla="*/ 5016674 h 5756219"/>
              <a:gd name="connsiteX256" fmla="*/ 1247376 w 6226010"/>
              <a:gd name="connsiteY256" fmla="*/ 5013956 h 5756219"/>
              <a:gd name="connsiteX257" fmla="*/ 3935077 w 6226010"/>
              <a:gd name="connsiteY257" fmla="*/ 5000369 h 5756219"/>
              <a:gd name="connsiteX258" fmla="*/ 3956819 w 6226010"/>
              <a:gd name="connsiteY258" fmla="*/ 5008521 h 5756219"/>
              <a:gd name="connsiteX259" fmla="*/ 3935077 w 6226010"/>
              <a:gd name="connsiteY259" fmla="*/ 5008521 h 5756219"/>
              <a:gd name="connsiteX260" fmla="*/ 3780174 w 6226010"/>
              <a:gd name="connsiteY260" fmla="*/ 4975909 h 5756219"/>
              <a:gd name="connsiteX261" fmla="*/ 3788327 w 6226010"/>
              <a:gd name="connsiteY261" fmla="*/ 5005803 h 5756219"/>
              <a:gd name="connsiteX262" fmla="*/ 3801915 w 6226010"/>
              <a:gd name="connsiteY262" fmla="*/ 4975909 h 5756219"/>
              <a:gd name="connsiteX263" fmla="*/ 3918771 w 6226010"/>
              <a:gd name="connsiteY263" fmla="*/ 4954170 h 5756219"/>
              <a:gd name="connsiteX264" fmla="*/ 3948665 w 6226010"/>
              <a:gd name="connsiteY264" fmla="*/ 4989498 h 5756219"/>
              <a:gd name="connsiteX265" fmla="*/ 3937795 w 6226010"/>
              <a:gd name="connsiteY265" fmla="*/ 4984063 h 5756219"/>
              <a:gd name="connsiteX266" fmla="*/ 3318183 w 6226010"/>
              <a:gd name="connsiteY266" fmla="*/ 4954170 h 5756219"/>
              <a:gd name="connsiteX267" fmla="*/ 3367100 w 6226010"/>
              <a:gd name="connsiteY267" fmla="*/ 4959605 h 5756219"/>
              <a:gd name="connsiteX268" fmla="*/ 3301877 w 6226010"/>
              <a:gd name="connsiteY268" fmla="*/ 4997651 h 5756219"/>
              <a:gd name="connsiteX269" fmla="*/ 3291007 w 6226010"/>
              <a:gd name="connsiteY269" fmla="*/ 4989498 h 5756219"/>
              <a:gd name="connsiteX270" fmla="*/ 3318183 w 6226010"/>
              <a:gd name="connsiteY270" fmla="*/ 4954170 h 5756219"/>
              <a:gd name="connsiteX271" fmla="*/ 3201326 w 6226010"/>
              <a:gd name="connsiteY271" fmla="*/ 4937864 h 5756219"/>
              <a:gd name="connsiteX272" fmla="*/ 3239373 w 6226010"/>
              <a:gd name="connsiteY272" fmla="*/ 4992216 h 5756219"/>
              <a:gd name="connsiteX273" fmla="*/ 3233938 w 6226010"/>
              <a:gd name="connsiteY273" fmla="*/ 5008521 h 5756219"/>
              <a:gd name="connsiteX274" fmla="*/ 3204044 w 6226010"/>
              <a:gd name="connsiteY274" fmla="*/ 4978628 h 5756219"/>
              <a:gd name="connsiteX275" fmla="*/ 3190456 w 6226010"/>
              <a:gd name="connsiteY275" fmla="*/ 4962322 h 5756219"/>
              <a:gd name="connsiteX276" fmla="*/ 3206761 w 6226010"/>
              <a:gd name="connsiteY276" fmla="*/ 4954169 h 5756219"/>
              <a:gd name="connsiteX277" fmla="*/ 3201326 w 6226010"/>
              <a:gd name="connsiteY277" fmla="*/ 4940581 h 5756219"/>
              <a:gd name="connsiteX278" fmla="*/ 3489391 w 6226010"/>
              <a:gd name="connsiteY278" fmla="*/ 4932428 h 5756219"/>
              <a:gd name="connsiteX279" fmla="*/ 3511131 w 6226010"/>
              <a:gd name="connsiteY279" fmla="*/ 5043850 h 5756219"/>
              <a:gd name="connsiteX280" fmla="*/ 3497543 w 6226010"/>
              <a:gd name="connsiteY280" fmla="*/ 5052003 h 5756219"/>
              <a:gd name="connsiteX281" fmla="*/ 3535590 w 6226010"/>
              <a:gd name="connsiteY281" fmla="*/ 5117225 h 5756219"/>
              <a:gd name="connsiteX282" fmla="*/ 3535590 w 6226010"/>
              <a:gd name="connsiteY282" fmla="*/ 5144401 h 5756219"/>
              <a:gd name="connsiteX283" fmla="*/ 3481238 w 6226010"/>
              <a:gd name="connsiteY283" fmla="*/ 5193317 h 5756219"/>
              <a:gd name="connsiteX284" fmla="*/ 3464932 w 6226010"/>
              <a:gd name="connsiteY284" fmla="*/ 5177012 h 5756219"/>
              <a:gd name="connsiteX285" fmla="*/ 3481238 w 6226010"/>
              <a:gd name="connsiteY285" fmla="*/ 5141683 h 5756219"/>
              <a:gd name="connsiteX286" fmla="*/ 3456780 w 6226010"/>
              <a:gd name="connsiteY286" fmla="*/ 5157989 h 5756219"/>
              <a:gd name="connsiteX287" fmla="*/ 3424168 w 6226010"/>
              <a:gd name="connsiteY287" fmla="*/ 5125378 h 5756219"/>
              <a:gd name="connsiteX288" fmla="*/ 3421451 w 6226010"/>
              <a:gd name="connsiteY288" fmla="*/ 5141683 h 5756219"/>
              <a:gd name="connsiteX289" fmla="*/ 3402428 w 6226010"/>
              <a:gd name="connsiteY289" fmla="*/ 5125378 h 5756219"/>
              <a:gd name="connsiteX290" fmla="*/ 3407863 w 6226010"/>
              <a:gd name="connsiteY290" fmla="*/ 5174294 h 5756219"/>
              <a:gd name="connsiteX291" fmla="*/ 3383405 w 6226010"/>
              <a:gd name="connsiteY291" fmla="*/ 5168859 h 5756219"/>
              <a:gd name="connsiteX292" fmla="*/ 3429604 w 6226010"/>
              <a:gd name="connsiteY292" fmla="*/ 5223211 h 5756219"/>
              <a:gd name="connsiteX293" fmla="*/ 3377969 w 6226010"/>
              <a:gd name="connsiteY293" fmla="*/ 5225928 h 5756219"/>
              <a:gd name="connsiteX294" fmla="*/ 3372534 w 6226010"/>
              <a:gd name="connsiteY294" fmla="*/ 5206905 h 5756219"/>
              <a:gd name="connsiteX295" fmla="*/ 3358946 w 6226010"/>
              <a:gd name="connsiteY295" fmla="*/ 5236799 h 5756219"/>
              <a:gd name="connsiteX296" fmla="*/ 3312747 w 6226010"/>
              <a:gd name="connsiteY296" fmla="*/ 5242234 h 5756219"/>
              <a:gd name="connsiteX297" fmla="*/ 3326335 w 6226010"/>
              <a:gd name="connsiteY297" fmla="*/ 5215058 h 5756219"/>
              <a:gd name="connsiteX298" fmla="*/ 3304594 w 6226010"/>
              <a:gd name="connsiteY298" fmla="*/ 5160706 h 5756219"/>
              <a:gd name="connsiteX299" fmla="*/ 3310030 w 6226010"/>
              <a:gd name="connsiteY299" fmla="*/ 5114507 h 5756219"/>
              <a:gd name="connsiteX300" fmla="*/ 3288289 w 6226010"/>
              <a:gd name="connsiteY300" fmla="*/ 5098202 h 5756219"/>
              <a:gd name="connsiteX301" fmla="*/ 3293724 w 6226010"/>
              <a:gd name="connsiteY301" fmla="*/ 5084614 h 5756219"/>
              <a:gd name="connsiteX302" fmla="*/ 3288289 w 6226010"/>
              <a:gd name="connsiteY302" fmla="*/ 5068308 h 5756219"/>
              <a:gd name="connsiteX303" fmla="*/ 3250242 w 6226010"/>
              <a:gd name="connsiteY303" fmla="*/ 5100919 h 5756219"/>
              <a:gd name="connsiteX304" fmla="*/ 3228502 w 6226010"/>
              <a:gd name="connsiteY304" fmla="*/ 5081896 h 5756219"/>
              <a:gd name="connsiteX305" fmla="*/ 3233937 w 6226010"/>
              <a:gd name="connsiteY305" fmla="*/ 5068308 h 5756219"/>
              <a:gd name="connsiteX306" fmla="*/ 3291006 w 6226010"/>
              <a:gd name="connsiteY306" fmla="*/ 5038415 h 5756219"/>
              <a:gd name="connsiteX307" fmla="*/ 3418733 w 6226010"/>
              <a:gd name="connsiteY307" fmla="*/ 5092767 h 5756219"/>
              <a:gd name="connsiteX308" fmla="*/ 3269266 w 6226010"/>
              <a:gd name="connsiteY308" fmla="*/ 5035697 h 5756219"/>
              <a:gd name="connsiteX309" fmla="*/ 3274701 w 6226010"/>
              <a:gd name="connsiteY309" fmla="*/ 5013957 h 5756219"/>
              <a:gd name="connsiteX310" fmla="*/ 3448627 w 6226010"/>
              <a:gd name="connsiteY310" fmla="*/ 4989498 h 5756219"/>
              <a:gd name="connsiteX311" fmla="*/ 3473085 w 6226010"/>
              <a:gd name="connsiteY311" fmla="*/ 5019392 h 5756219"/>
              <a:gd name="connsiteX312" fmla="*/ 3489391 w 6226010"/>
              <a:gd name="connsiteY312" fmla="*/ 4932428 h 5756219"/>
              <a:gd name="connsiteX313" fmla="*/ 3826373 w 6226010"/>
              <a:gd name="connsiteY313" fmla="*/ 4929710 h 5756219"/>
              <a:gd name="connsiteX314" fmla="*/ 3826373 w 6226010"/>
              <a:gd name="connsiteY314" fmla="*/ 4951451 h 5756219"/>
              <a:gd name="connsiteX315" fmla="*/ 3848114 w 6226010"/>
              <a:gd name="connsiteY315" fmla="*/ 4951451 h 5756219"/>
              <a:gd name="connsiteX316" fmla="*/ 3848114 w 6226010"/>
              <a:gd name="connsiteY316" fmla="*/ 4929710 h 5756219"/>
              <a:gd name="connsiteX317" fmla="*/ 3739410 w 6226010"/>
              <a:gd name="connsiteY317" fmla="*/ 4929710 h 5756219"/>
              <a:gd name="connsiteX318" fmla="*/ 3742128 w 6226010"/>
              <a:gd name="connsiteY318" fmla="*/ 4946016 h 5756219"/>
              <a:gd name="connsiteX319" fmla="*/ 3755715 w 6226010"/>
              <a:gd name="connsiteY319" fmla="*/ 4932428 h 5756219"/>
              <a:gd name="connsiteX320" fmla="*/ 3445910 w 6226010"/>
              <a:gd name="connsiteY320" fmla="*/ 4916124 h 5756219"/>
              <a:gd name="connsiteX321" fmla="*/ 3443193 w 6226010"/>
              <a:gd name="connsiteY321" fmla="*/ 4962323 h 5756219"/>
              <a:gd name="connsiteX322" fmla="*/ 3372534 w 6226010"/>
              <a:gd name="connsiteY322" fmla="*/ 4962323 h 5756219"/>
              <a:gd name="connsiteX323" fmla="*/ 3361664 w 6226010"/>
              <a:gd name="connsiteY323" fmla="*/ 4932429 h 5756219"/>
              <a:gd name="connsiteX324" fmla="*/ 3445910 w 6226010"/>
              <a:gd name="connsiteY324" fmla="*/ 4916124 h 5756219"/>
              <a:gd name="connsiteX325" fmla="*/ 4030194 w 6226010"/>
              <a:gd name="connsiteY325" fmla="*/ 4907969 h 5756219"/>
              <a:gd name="connsiteX326" fmla="*/ 4046499 w 6226010"/>
              <a:gd name="connsiteY326" fmla="*/ 4924275 h 5756219"/>
              <a:gd name="connsiteX327" fmla="*/ 4054652 w 6226010"/>
              <a:gd name="connsiteY327" fmla="*/ 4907969 h 5756219"/>
              <a:gd name="connsiteX328" fmla="*/ 3763868 w 6226010"/>
              <a:gd name="connsiteY328" fmla="*/ 4899816 h 5756219"/>
              <a:gd name="connsiteX329" fmla="*/ 3780174 w 6226010"/>
              <a:gd name="connsiteY329" fmla="*/ 4937863 h 5756219"/>
              <a:gd name="connsiteX330" fmla="*/ 3801915 w 6226010"/>
              <a:gd name="connsiteY330" fmla="*/ 4929710 h 5756219"/>
              <a:gd name="connsiteX331" fmla="*/ 3801915 w 6226010"/>
              <a:gd name="connsiteY331" fmla="*/ 4946016 h 5756219"/>
              <a:gd name="connsiteX332" fmla="*/ 3818220 w 6226010"/>
              <a:gd name="connsiteY332" fmla="*/ 4916122 h 5756219"/>
              <a:gd name="connsiteX333" fmla="*/ 3763868 w 6226010"/>
              <a:gd name="connsiteY333" fmla="*/ 4899816 h 5756219"/>
              <a:gd name="connsiteX334" fmla="*/ 3244809 w 6226010"/>
              <a:gd name="connsiteY334" fmla="*/ 4894383 h 5756219"/>
              <a:gd name="connsiteX335" fmla="*/ 3274702 w 6226010"/>
              <a:gd name="connsiteY335" fmla="*/ 4935146 h 5756219"/>
              <a:gd name="connsiteX336" fmla="*/ 3244809 w 6226010"/>
              <a:gd name="connsiteY336" fmla="*/ 4986781 h 5756219"/>
              <a:gd name="connsiteX337" fmla="*/ 3204044 w 6226010"/>
              <a:gd name="connsiteY337" fmla="*/ 4924276 h 5756219"/>
              <a:gd name="connsiteX338" fmla="*/ 3212196 w 6226010"/>
              <a:gd name="connsiteY338" fmla="*/ 4905253 h 5756219"/>
              <a:gd name="connsiteX339" fmla="*/ 3209479 w 6226010"/>
              <a:gd name="connsiteY339" fmla="*/ 4905253 h 5756219"/>
              <a:gd name="connsiteX340" fmla="*/ 3244809 w 6226010"/>
              <a:gd name="connsiteY340" fmla="*/ 4894383 h 5756219"/>
              <a:gd name="connsiteX341" fmla="*/ 3630706 w 6226010"/>
              <a:gd name="connsiteY341" fmla="*/ 4869925 h 5756219"/>
              <a:gd name="connsiteX342" fmla="*/ 3655166 w 6226010"/>
              <a:gd name="connsiteY342" fmla="*/ 4872642 h 5756219"/>
              <a:gd name="connsiteX343" fmla="*/ 3655166 w 6226010"/>
              <a:gd name="connsiteY343" fmla="*/ 4883513 h 5756219"/>
              <a:gd name="connsiteX344" fmla="*/ 3649731 w 6226010"/>
              <a:gd name="connsiteY344" fmla="*/ 4883513 h 5756219"/>
              <a:gd name="connsiteX345" fmla="*/ 3638860 w 6226010"/>
              <a:gd name="connsiteY345" fmla="*/ 4891666 h 5756219"/>
              <a:gd name="connsiteX346" fmla="*/ 3627989 w 6226010"/>
              <a:gd name="connsiteY346" fmla="*/ 4883513 h 5756219"/>
              <a:gd name="connsiteX347" fmla="*/ 3633424 w 6226010"/>
              <a:gd name="connsiteY347" fmla="*/ 4875360 h 5756219"/>
              <a:gd name="connsiteX348" fmla="*/ 4032911 w 6226010"/>
              <a:gd name="connsiteY348" fmla="*/ 4867205 h 5756219"/>
              <a:gd name="connsiteX349" fmla="*/ 4008453 w 6226010"/>
              <a:gd name="connsiteY349" fmla="*/ 4888946 h 5756219"/>
              <a:gd name="connsiteX350" fmla="*/ 4049217 w 6226010"/>
              <a:gd name="connsiteY350" fmla="*/ 4891664 h 5756219"/>
              <a:gd name="connsiteX351" fmla="*/ 4070958 w 6226010"/>
              <a:gd name="connsiteY351" fmla="*/ 4883511 h 5756219"/>
              <a:gd name="connsiteX352" fmla="*/ 4041064 w 6226010"/>
              <a:gd name="connsiteY352" fmla="*/ 4867205 h 5756219"/>
              <a:gd name="connsiteX353" fmla="*/ 4041064 w 6226010"/>
              <a:gd name="connsiteY353" fmla="*/ 4883511 h 5756219"/>
              <a:gd name="connsiteX354" fmla="*/ 3772021 w 6226010"/>
              <a:gd name="connsiteY354" fmla="*/ 4853617 h 5756219"/>
              <a:gd name="connsiteX355" fmla="*/ 3772021 w 6226010"/>
              <a:gd name="connsiteY355" fmla="*/ 4891664 h 5756219"/>
              <a:gd name="connsiteX356" fmla="*/ 3777456 w 6226010"/>
              <a:gd name="connsiteY356" fmla="*/ 4883511 h 5756219"/>
              <a:gd name="connsiteX357" fmla="*/ 4106453 w 6226010"/>
              <a:gd name="connsiteY357" fmla="*/ 4848351 h 5756219"/>
              <a:gd name="connsiteX358" fmla="*/ 4104248 w 6226010"/>
              <a:gd name="connsiteY358" fmla="*/ 4849201 h 5756219"/>
              <a:gd name="connsiteX359" fmla="*/ 4076393 w 6226010"/>
              <a:gd name="connsiteY359" fmla="*/ 4856335 h 5756219"/>
              <a:gd name="connsiteX360" fmla="*/ 4106287 w 6226010"/>
              <a:gd name="connsiteY360" fmla="*/ 4853618 h 5756219"/>
              <a:gd name="connsiteX361" fmla="*/ 4111267 w 6226010"/>
              <a:gd name="connsiteY361" fmla="*/ 4853165 h 5756219"/>
              <a:gd name="connsiteX362" fmla="*/ 4253036 w 6226010"/>
              <a:gd name="connsiteY362" fmla="*/ 4848184 h 5756219"/>
              <a:gd name="connsiteX363" fmla="*/ 4255754 w 6226010"/>
              <a:gd name="connsiteY363" fmla="*/ 4853619 h 5756219"/>
              <a:gd name="connsiteX364" fmla="*/ 4225860 w 6226010"/>
              <a:gd name="connsiteY364" fmla="*/ 4869925 h 5756219"/>
              <a:gd name="connsiteX365" fmla="*/ 4217707 w 6226010"/>
              <a:gd name="connsiteY365" fmla="*/ 4883512 h 5756219"/>
              <a:gd name="connsiteX366" fmla="*/ 4209554 w 6226010"/>
              <a:gd name="connsiteY366" fmla="*/ 4878077 h 5756219"/>
              <a:gd name="connsiteX367" fmla="*/ 4253036 w 6226010"/>
              <a:gd name="connsiteY367" fmla="*/ 4848184 h 5756219"/>
              <a:gd name="connsiteX368" fmla="*/ 4113217 w 6226010"/>
              <a:gd name="connsiteY368" fmla="*/ 4845742 h 5756219"/>
              <a:gd name="connsiteX369" fmla="*/ 4106887 w 6226010"/>
              <a:gd name="connsiteY369" fmla="*/ 4848183 h 5756219"/>
              <a:gd name="connsiteX370" fmla="*/ 4114438 w 6226010"/>
              <a:gd name="connsiteY370" fmla="*/ 4848183 h 5756219"/>
              <a:gd name="connsiteX371" fmla="*/ 3532873 w 6226010"/>
              <a:gd name="connsiteY371" fmla="*/ 4842748 h 5756219"/>
              <a:gd name="connsiteX372" fmla="*/ 3538308 w 6226010"/>
              <a:gd name="connsiteY372" fmla="*/ 4845465 h 5756219"/>
              <a:gd name="connsiteX373" fmla="*/ 3541025 w 6226010"/>
              <a:gd name="connsiteY373" fmla="*/ 4856336 h 5756219"/>
              <a:gd name="connsiteX374" fmla="*/ 3565484 w 6226010"/>
              <a:gd name="connsiteY374" fmla="*/ 4867206 h 5756219"/>
              <a:gd name="connsiteX375" fmla="*/ 3565484 w 6226010"/>
              <a:gd name="connsiteY375" fmla="*/ 4916123 h 5756219"/>
              <a:gd name="connsiteX376" fmla="*/ 3581789 w 6226010"/>
              <a:gd name="connsiteY376" fmla="*/ 4886229 h 5756219"/>
              <a:gd name="connsiteX377" fmla="*/ 3644294 w 6226010"/>
              <a:gd name="connsiteY377" fmla="*/ 4935146 h 5756219"/>
              <a:gd name="connsiteX378" fmla="*/ 3638859 w 6226010"/>
              <a:gd name="connsiteY378" fmla="*/ 4956887 h 5756219"/>
              <a:gd name="connsiteX379" fmla="*/ 3637953 w 6226010"/>
              <a:gd name="connsiteY379" fmla="*/ 4955830 h 5756219"/>
              <a:gd name="connsiteX380" fmla="*/ 3638859 w 6226010"/>
              <a:gd name="connsiteY380" fmla="*/ 4954169 h 5756219"/>
              <a:gd name="connsiteX381" fmla="*/ 3636821 w 6226010"/>
              <a:gd name="connsiteY381" fmla="*/ 4954509 h 5756219"/>
              <a:gd name="connsiteX382" fmla="*/ 3637953 w 6226010"/>
              <a:gd name="connsiteY382" fmla="*/ 4955830 h 5756219"/>
              <a:gd name="connsiteX383" fmla="*/ 3630706 w 6226010"/>
              <a:gd name="connsiteY383" fmla="*/ 4969116 h 5756219"/>
              <a:gd name="connsiteX384" fmla="*/ 3622553 w 6226010"/>
              <a:gd name="connsiteY384" fmla="*/ 4984062 h 5756219"/>
              <a:gd name="connsiteX385" fmla="*/ 3638859 w 6226010"/>
              <a:gd name="connsiteY385" fmla="*/ 4994933 h 5756219"/>
              <a:gd name="connsiteX386" fmla="*/ 3633424 w 6226010"/>
              <a:gd name="connsiteY386" fmla="*/ 5038414 h 5756219"/>
              <a:gd name="connsiteX387" fmla="*/ 3627988 w 6226010"/>
              <a:gd name="connsiteY387" fmla="*/ 5030261 h 5756219"/>
              <a:gd name="connsiteX388" fmla="*/ 3611683 w 6226010"/>
              <a:gd name="connsiteY388" fmla="*/ 5046567 h 5756219"/>
              <a:gd name="connsiteX389" fmla="*/ 3630706 w 6226010"/>
              <a:gd name="connsiteY389" fmla="*/ 5046567 h 5756219"/>
              <a:gd name="connsiteX390" fmla="*/ 3630706 w 6226010"/>
              <a:gd name="connsiteY390" fmla="*/ 5054720 h 5756219"/>
              <a:gd name="connsiteX391" fmla="*/ 3627988 w 6226010"/>
              <a:gd name="connsiteY391" fmla="*/ 5054720 h 5756219"/>
              <a:gd name="connsiteX392" fmla="*/ 3627988 w 6226010"/>
              <a:gd name="connsiteY392" fmla="*/ 5057437 h 5756219"/>
              <a:gd name="connsiteX393" fmla="*/ 3625271 w 6226010"/>
              <a:gd name="connsiteY393" fmla="*/ 5076460 h 5756219"/>
              <a:gd name="connsiteX394" fmla="*/ 3611683 w 6226010"/>
              <a:gd name="connsiteY394" fmla="*/ 5062873 h 5756219"/>
              <a:gd name="connsiteX395" fmla="*/ 3598095 w 6226010"/>
              <a:gd name="connsiteY395" fmla="*/ 5071025 h 5756219"/>
              <a:gd name="connsiteX396" fmla="*/ 3598095 w 6226010"/>
              <a:gd name="connsiteY396" fmla="*/ 5054720 h 5756219"/>
              <a:gd name="connsiteX397" fmla="*/ 3581789 w 6226010"/>
              <a:gd name="connsiteY397" fmla="*/ 5054720 h 5756219"/>
              <a:gd name="connsiteX398" fmla="*/ 3587224 w 6226010"/>
              <a:gd name="connsiteY398" fmla="*/ 5041132 h 5756219"/>
              <a:gd name="connsiteX399" fmla="*/ 3584507 w 6226010"/>
              <a:gd name="connsiteY399" fmla="*/ 5016673 h 5756219"/>
              <a:gd name="connsiteX400" fmla="*/ 3560049 w 6226010"/>
              <a:gd name="connsiteY400" fmla="*/ 5024826 h 5756219"/>
              <a:gd name="connsiteX401" fmla="*/ 3560049 w 6226010"/>
              <a:gd name="connsiteY401" fmla="*/ 5041132 h 5756219"/>
              <a:gd name="connsiteX402" fmla="*/ 3546461 w 6226010"/>
              <a:gd name="connsiteY402" fmla="*/ 5032979 h 5756219"/>
              <a:gd name="connsiteX403" fmla="*/ 3538308 w 6226010"/>
              <a:gd name="connsiteY403" fmla="*/ 5062873 h 5756219"/>
              <a:gd name="connsiteX404" fmla="*/ 3527437 w 6226010"/>
              <a:gd name="connsiteY404" fmla="*/ 4967757 h 5756219"/>
              <a:gd name="connsiteX405" fmla="*/ 3519285 w 6226010"/>
              <a:gd name="connsiteY405" fmla="*/ 4861771 h 5756219"/>
              <a:gd name="connsiteX406" fmla="*/ 3532873 w 6226010"/>
              <a:gd name="connsiteY406" fmla="*/ 4859053 h 5756219"/>
              <a:gd name="connsiteX407" fmla="*/ 3532873 w 6226010"/>
              <a:gd name="connsiteY407" fmla="*/ 4842748 h 5756219"/>
              <a:gd name="connsiteX408" fmla="*/ 3473086 w 6226010"/>
              <a:gd name="connsiteY408" fmla="*/ 4834596 h 5756219"/>
              <a:gd name="connsiteX409" fmla="*/ 3478521 w 6226010"/>
              <a:gd name="connsiteY409" fmla="*/ 4883512 h 5756219"/>
              <a:gd name="connsiteX410" fmla="*/ 3462215 w 6226010"/>
              <a:gd name="connsiteY410" fmla="*/ 4842749 h 5756219"/>
              <a:gd name="connsiteX411" fmla="*/ 3473086 w 6226010"/>
              <a:gd name="connsiteY411" fmla="*/ 4834596 h 5756219"/>
              <a:gd name="connsiteX412" fmla="*/ 3489391 w 6226010"/>
              <a:gd name="connsiteY412" fmla="*/ 4829161 h 5756219"/>
              <a:gd name="connsiteX413" fmla="*/ 3508416 w 6226010"/>
              <a:gd name="connsiteY413" fmla="*/ 4853619 h 5756219"/>
              <a:gd name="connsiteX414" fmla="*/ 3492109 w 6226010"/>
              <a:gd name="connsiteY414" fmla="*/ 4850902 h 5756219"/>
              <a:gd name="connsiteX415" fmla="*/ 3489391 w 6226010"/>
              <a:gd name="connsiteY415" fmla="*/ 4829161 h 5756219"/>
              <a:gd name="connsiteX416" fmla="*/ 3918772 w 6226010"/>
              <a:gd name="connsiteY416" fmla="*/ 4826441 h 5756219"/>
              <a:gd name="connsiteX417" fmla="*/ 3902467 w 6226010"/>
              <a:gd name="connsiteY417" fmla="*/ 4842747 h 5756219"/>
              <a:gd name="connsiteX418" fmla="*/ 3926925 w 6226010"/>
              <a:gd name="connsiteY418" fmla="*/ 4845464 h 5756219"/>
              <a:gd name="connsiteX419" fmla="*/ 3425895 w 6226010"/>
              <a:gd name="connsiteY419" fmla="*/ 4810810 h 5756219"/>
              <a:gd name="connsiteX420" fmla="*/ 3451346 w 6226010"/>
              <a:gd name="connsiteY420" fmla="*/ 4907969 h 5756219"/>
              <a:gd name="connsiteX421" fmla="*/ 3353512 w 6226010"/>
              <a:gd name="connsiteY421" fmla="*/ 4921557 h 5756219"/>
              <a:gd name="connsiteX422" fmla="*/ 3410582 w 6226010"/>
              <a:gd name="connsiteY422" fmla="*/ 4888946 h 5756219"/>
              <a:gd name="connsiteX423" fmla="*/ 3361664 w 6226010"/>
              <a:gd name="connsiteY423" fmla="*/ 4883511 h 5756219"/>
              <a:gd name="connsiteX424" fmla="*/ 3407864 w 6226010"/>
              <a:gd name="connsiteY424" fmla="*/ 4812853 h 5756219"/>
              <a:gd name="connsiteX425" fmla="*/ 3425895 w 6226010"/>
              <a:gd name="connsiteY425" fmla="*/ 4810810 h 5756219"/>
              <a:gd name="connsiteX426" fmla="*/ 3883443 w 6226010"/>
              <a:gd name="connsiteY426" fmla="*/ 4807418 h 5756219"/>
              <a:gd name="connsiteX427" fmla="*/ 3899749 w 6226010"/>
              <a:gd name="connsiteY427" fmla="*/ 4823724 h 5756219"/>
              <a:gd name="connsiteX428" fmla="*/ 3910619 w 6226010"/>
              <a:gd name="connsiteY428" fmla="*/ 4807418 h 5756219"/>
              <a:gd name="connsiteX429" fmla="*/ 4350870 w 6226010"/>
              <a:gd name="connsiteY429" fmla="*/ 4799267 h 5756219"/>
              <a:gd name="connsiteX430" fmla="*/ 4386198 w 6226010"/>
              <a:gd name="connsiteY430" fmla="*/ 4837313 h 5756219"/>
              <a:gd name="connsiteX431" fmla="*/ 4369893 w 6226010"/>
              <a:gd name="connsiteY431" fmla="*/ 4837313 h 5756219"/>
              <a:gd name="connsiteX432" fmla="*/ 4369893 w 6226010"/>
              <a:gd name="connsiteY432" fmla="*/ 4867207 h 5756219"/>
              <a:gd name="connsiteX433" fmla="*/ 4331845 w 6226010"/>
              <a:gd name="connsiteY433" fmla="*/ 4850901 h 5756219"/>
              <a:gd name="connsiteX434" fmla="*/ 4331845 w 6226010"/>
              <a:gd name="connsiteY434" fmla="*/ 4812855 h 5756219"/>
              <a:gd name="connsiteX435" fmla="*/ 4310105 w 6226010"/>
              <a:gd name="connsiteY435" fmla="*/ 4842748 h 5756219"/>
              <a:gd name="connsiteX436" fmla="*/ 4301952 w 6226010"/>
              <a:gd name="connsiteY436" fmla="*/ 4837313 h 5756219"/>
              <a:gd name="connsiteX437" fmla="*/ 4312822 w 6226010"/>
              <a:gd name="connsiteY437" fmla="*/ 4812855 h 5756219"/>
              <a:gd name="connsiteX438" fmla="*/ 4350870 w 6226010"/>
              <a:gd name="connsiteY438" fmla="*/ 4799267 h 5756219"/>
              <a:gd name="connsiteX439" fmla="*/ 3464934 w 6226010"/>
              <a:gd name="connsiteY439" fmla="*/ 4782962 h 5756219"/>
              <a:gd name="connsiteX440" fmla="*/ 3470369 w 6226010"/>
              <a:gd name="connsiteY440" fmla="*/ 4807420 h 5756219"/>
              <a:gd name="connsiteX441" fmla="*/ 3448628 w 6226010"/>
              <a:gd name="connsiteY441" fmla="*/ 4801985 h 5756219"/>
              <a:gd name="connsiteX442" fmla="*/ 3464934 w 6226010"/>
              <a:gd name="connsiteY442" fmla="*/ 4782962 h 5756219"/>
              <a:gd name="connsiteX443" fmla="*/ 3649730 w 6226010"/>
              <a:gd name="connsiteY443" fmla="*/ 4777526 h 5756219"/>
              <a:gd name="connsiteX444" fmla="*/ 3633424 w 6226010"/>
              <a:gd name="connsiteY444" fmla="*/ 4785679 h 5756219"/>
              <a:gd name="connsiteX445" fmla="*/ 3641577 w 6226010"/>
              <a:gd name="connsiteY445" fmla="*/ 4799267 h 5756219"/>
              <a:gd name="connsiteX446" fmla="*/ 3657883 w 6226010"/>
              <a:gd name="connsiteY446" fmla="*/ 4791114 h 5756219"/>
              <a:gd name="connsiteX447" fmla="*/ 3695928 w 6226010"/>
              <a:gd name="connsiteY447" fmla="*/ 4769372 h 5756219"/>
              <a:gd name="connsiteX448" fmla="*/ 3687776 w 6226010"/>
              <a:gd name="connsiteY448" fmla="*/ 4777525 h 5756219"/>
              <a:gd name="connsiteX449" fmla="*/ 3695928 w 6226010"/>
              <a:gd name="connsiteY449" fmla="*/ 4791113 h 5756219"/>
              <a:gd name="connsiteX450" fmla="*/ 3717669 w 6226010"/>
              <a:gd name="connsiteY450" fmla="*/ 4782960 h 5756219"/>
              <a:gd name="connsiteX451" fmla="*/ 3386123 w 6226010"/>
              <a:gd name="connsiteY451" fmla="*/ 4742197 h 5756219"/>
              <a:gd name="connsiteX452" fmla="*/ 3396993 w 6226010"/>
              <a:gd name="connsiteY452" fmla="*/ 4750349 h 5756219"/>
              <a:gd name="connsiteX453" fmla="*/ 3327822 w 6226010"/>
              <a:gd name="connsiteY453" fmla="*/ 4801177 h 5756219"/>
              <a:gd name="connsiteX454" fmla="*/ 3307995 w 6226010"/>
              <a:gd name="connsiteY454" fmla="*/ 4799970 h 5756219"/>
              <a:gd name="connsiteX455" fmla="*/ 3315078 w 6226010"/>
              <a:gd name="connsiteY455" fmla="*/ 4786399 h 5756219"/>
              <a:gd name="connsiteX456" fmla="*/ 3339245 w 6226010"/>
              <a:gd name="connsiteY456" fmla="*/ 4769712 h 5756219"/>
              <a:gd name="connsiteX457" fmla="*/ 3386123 w 6226010"/>
              <a:gd name="connsiteY457" fmla="*/ 4742197 h 5756219"/>
              <a:gd name="connsiteX458" fmla="*/ 3660600 w 6226010"/>
              <a:gd name="connsiteY458" fmla="*/ 4731327 h 5756219"/>
              <a:gd name="connsiteX459" fmla="*/ 3660600 w 6226010"/>
              <a:gd name="connsiteY459" fmla="*/ 4807419 h 5756219"/>
              <a:gd name="connsiteX460" fmla="*/ 3657883 w 6226010"/>
              <a:gd name="connsiteY460" fmla="*/ 4807419 h 5756219"/>
              <a:gd name="connsiteX461" fmla="*/ 3657883 w 6226010"/>
              <a:gd name="connsiteY461" fmla="*/ 4810137 h 5756219"/>
              <a:gd name="connsiteX462" fmla="*/ 3565483 w 6226010"/>
              <a:gd name="connsiteY462" fmla="*/ 4821007 h 5756219"/>
              <a:gd name="connsiteX463" fmla="*/ 3595377 w 6226010"/>
              <a:gd name="connsiteY463" fmla="*/ 4804702 h 5756219"/>
              <a:gd name="connsiteX464" fmla="*/ 3660600 w 6226010"/>
              <a:gd name="connsiteY464" fmla="*/ 4731327 h 5756219"/>
              <a:gd name="connsiteX465" fmla="*/ 3443193 w 6226010"/>
              <a:gd name="connsiteY465" fmla="*/ 4723174 h 5756219"/>
              <a:gd name="connsiteX466" fmla="*/ 3464934 w 6226010"/>
              <a:gd name="connsiteY466" fmla="*/ 4753067 h 5756219"/>
              <a:gd name="connsiteX467" fmla="*/ 3451346 w 6226010"/>
              <a:gd name="connsiteY467" fmla="*/ 4788396 h 5756219"/>
              <a:gd name="connsiteX468" fmla="*/ 3421452 w 6226010"/>
              <a:gd name="connsiteY468" fmla="*/ 4788396 h 5756219"/>
              <a:gd name="connsiteX469" fmla="*/ 3443193 w 6226010"/>
              <a:gd name="connsiteY469" fmla="*/ 4723174 h 5756219"/>
              <a:gd name="connsiteX470" fmla="*/ 3420773 w 6226010"/>
              <a:gd name="connsiteY470" fmla="*/ 4654894 h 5756219"/>
              <a:gd name="connsiteX471" fmla="*/ 3426887 w 6226010"/>
              <a:gd name="connsiteY471" fmla="*/ 4663387 h 5756219"/>
              <a:gd name="connsiteX472" fmla="*/ 3410582 w 6226010"/>
              <a:gd name="connsiteY472" fmla="*/ 4660669 h 5756219"/>
              <a:gd name="connsiteX473" fmla="*/ 3420773 w 6226010"/>
              <a:gd name="connsiteY473" fmla="*/ 4654894 h 5756219"/>
              <a:gd name="connsiteX474" fmla="*/ 4361739 w 6226010"/>
              <a:gd name="connsiteY474" fmla="*/ 4652517 h 5756219"/>
              <a:gd name="connsiteX475" fmla="*/ 4369893 w 6226010"/>
              <a:gd name="connsiteY475" fmla="*/ 4690563 h 5756219"/>
              <a:gd name="connsiteX476" fmla="*/ 4394351 w 6226010"/>
              <a:gd name="connsiteY476" fmla="*/ 4698716 h 5756219"/>
              <a:gd name="connsiteX477" fmla="*/ 4383481 w 6226010"/>
              <a:gd name="connsiteY477" fmla="*/ 4715021 h 5756219"/>
              <a:gd name="connsiteX478" fmla="*/ 4356304 w 6226010"/>
              <a:gd name="connsiteY478" fmla="*/ 4657952 h 5756219"/>
              <a:gd name="connsiteX479" fmla="*/ 4356304 w 6226010"/>
              <a:gd name="connsiteY479" fmla="*/ 4603600 h 5756219"/>
              <a:gd name="connsiteX480" fmla="*/ 4364457 w 6226010"/>
              <a:gd name="connsiteY480" fmla="*/ 4614470 h 5756219"/>
              <a:gd name="connsiteX481" fmla="*/ 4356304 w 6226010"/>
              <a:gd name="connsiteY481" fmla="*/ 4625341 h 5756219"/>
              <a:gd name="connsiteX482" fmla="*/ 4339998 w 6226010"/>
              <a:gd name="connsiteY482" fmla="*/ 4611753 h 5756219"/>
              <a:gd name="connsiteX483" fmla="*/ 4356304 w 6226010"/>
              <a:gd name="connsiteY483" fmla="*/ 4603600 h 5756219"/>
              <a:gd name="connsiteX484" fmla="*/ 4331846 w 6226010"/>
              <a:gd name="connsiteY484" fmla="*/ 4590012 h 5756219"/>
              <a:gd name="connsiteX485" fmla="*/ 4323694 w 6226010"/>
              <a:gd name="connsiteY485" fmla="*/ 4600882 h 5756219"/>
              <a:gd name="connsiteX486" fmla="*/ 4331846 w 6226010"/>
              <a:gd name="connsiteY486" fmla="*/ 4590012 h 5756219"/>
              <a:gd name="connsiteX487" fmla="*/ 3926924 w 6226010"/>
              <a:gd name="connsiteY487" fmla="*/ 4587295 h 5756219"/>
              <a:gd name="connsiteX488" fmla="*/ 3948665 w 6226010"/>
              <a:gd name="connsiteY488" fmla="*/ 4587295 h 5756219"/>
              <a:gd name="connsiteX489" fmla="*/ 4000300 w 6226010"/>
              <a:gd name="connsiteY489" fmla="*/ 4655235 h 5756219"/>
              <a:gd name="connsiteX490" fmla="*/ 3926924 w 6226010"/>
              <a:gd name="connsiteY490" fmla="*/ 4587295 h 5756219"/>
              <a:gd name="connsiteX491" fmla="*/ 3038271 w 6226010"/>
              <a:gd name="connsiteY491" fmla="*/ 4587294 h 5756219"/>
              <a:gd name="connsiteX492" fmla="*/ 3021965 w 6226010"/>
              <a:gd name="connsiteY492" fmla="*/ 4595447 h 5756219"/>
              <a:gd name="connsiteX493" fmla="*/ 3019247 w 6226010"/>
              <a:gd name="connsiteY493" fmla="*/ 4592729 h 5756219"/>
              <a:gd name="connsiteX494" fmla="*/ 2396919 w 6226010"/>
              <a:gd name="connsiteY494" fmla="*/ 4891665 h 5756219"/>
              <a:gd name="connsiteX495" fmla="*/ 2122441 w 6226010"/>
              <a:gd name="connsiteY495" fmla="*/ 4921558 h 5756219"/>
              <a:gd name="connsiteX496" fmla="*/ 1856117 w 6226010"/>
              <a:gd name="connsiteY496" fmla="*/ 4940581 h 5756219"/>
              <a:gd name="connsiteX497" fmla="*/ 1853399 w 6226010"/>
              <a:gd name="connsiteY497" fmla="*/ 4965039 h 5756219"/>
              <a:gd name="connsiteX498" fmla="*/ 1872422 w 6226010"/>
              <a:gd name="connsiteY498" fmla="*/ 4959604 h 5756219"/>
              <a:gd name="connsiteX499" fmla="*/ 2043631 w 6226010"/>
              <a:gd name="connsiteY499" fmla="*/ 5000368 h 5756219"/>
              <a:gd name="connsiteX500" fmla="*/ 2032760 w 6226010"/>
              <a:gd name="connsiteY500" fmla="*/ 5003086 h 5756219"/>
              <a:gd name="connsiteX501" fmla="*/ 2049066 w 6226010"/>
              <a:gd name="connsiteY501" fmla="*/ 5003086 h 5756219"/>
              <a:gd name="connsiteX502" fmla="*/ 2168640 w 6226010"/>
              <a:gd name="connsiteY502" fmla="*/ 5003086 h 5756219"/>
              <a:gd name="connsiteX503" fmla="*/ 2228427 w 6226010"/>
              <a:gd name="connsiteY503" fmla="*/ 4989498 h 5756219"/>
              <a:gd name="connsiteX504" fmla="*/ 2858909 w 6226010"/>
              <a:gd name="connsiteY504" fmla="*/ 4772090 h 5756219"/>
              <a:gd name="connsiteX505" fmla="*/ 2926849 w 6226010"/>
              <a:gd name="connsiteY505" fmla="*/ 4720456 h 5756219"/>
              <a:gd name="connsiteX506" fmla="*/ 2907827 w 6226010"/>
              <a:gd name="connsiteY506" fmla="*/ 4715021 h 5756219"/>
              <a:gd name="connsiteX507" fmla="*/ 2910543 w 6226010"/>
              <a:gd name="connsiteY507" fmla="*/ 4682410 h 5756219"/>
              <a:gd name="connsiteX508" fmla="*/ 2932285 w 6226010"/>
              <a:gd name="connsiteY508" fmla="*/ 4706868 h 5756219"/>
              <a:gd name="connsiteX509" fmla="*/ 2951307 w 6226010"/>
              <a:gd name="connsiteY509" fmla="*/ 4704150 h 5756219"/>
              <a:gd name="connsiteX510" fmla="*/ 2962179 w 6226010"/>
              <a:gd name="connsiteY510" fmla="*/ 4695997 h 5756219"/>
              <a:gd name="connsiteX511" fmla="*/ 2956743 w 6226010"/>
              <a:gd name="connsiteY511" fmla="*/ 4687845 h 5756219"/>
              <a:gd name="connsiteX512" fmla="*/ 2973049 w 6226010"/>
              <a:gd name="connsiteY512" fmla="*/ 4679692 h 5756219"/>
              <a:gd name="connsiteX513" fmla="*/ 2956743 w 6226010"/>
              <a:gd name="connsiteY513" fmla="*/ 4655234 h 5756219"/>
              <a:gd name="connsiteX514" fmla="*/ 2986637 w 6226010"/>
              <a:gd name="connsiteY514" fmla="*/ 4663386 h 5756219"/>
              <a:gd name="connsiteX515" fmla="*/ 2986637 w 6226010"/>
              <a:gd name="connsiteY515" fmla="*/ 4641646 h 5756219"/>
              <a:gd name="connsiteX516" fmla="*/ 3008377 w 6226010"/>
              <a:gd name="connsiteY516" fmla="*/ 4641646 h 5756219"/>
              <a:gd name="connsiteX517" fmla="*/ 3035553 w 6226010"/>
              <a:gd name="connsiteY517" fmla="*/ 4630775 h 5756219"/>
              <a:gd name="connsiteX518" fmla="*/ 3057293 w 6226010"/>
              <a:gd name="connsiteY518" fmla="*/ 4609035 h 5756219"/>
              <a:gd name="connsiteX519" fmla="*/ 4364456 w 6226010"/>
              <a:gd name="connsiteY519" fmla="*/ 4570989 h 5756219"/>
              <a:gd name="connsiteX520" fmla="*/ 4386198 w 6226010"/>
              <a:gd name="connsiteY520" fmla="*/ 4570989 h 5756219"/>
              <a:gd name="connsiteX521" fmla="*/ 4402504 w 6226010"/>
              <a:gd name="connsiteY521" fmla="*/ 4592730 h 5756219"/>
              <a:gd name="connsiteX522" fmla="*/ 4426962 w 6226010"/>
              <a:gd name="connsiteY522" fmla="*/ 4600882 h 5756219"/>
              <a:gd name="connsiteX523" fmla="*/ 4410656 w 6226010"/>
              <a:gd name="connsiteY523" fmla="*/ 4609035 h 5756219"/>
              <a:gd name="connsiteX524" fmla="*/ 4372609 w 6226010"/>
              <a:gd name="connsiteY524" fmla="*/ 4592730 h 5756219"/>
              <a:gd name="connsiteX525" fmla="*/ 4348151 w 6226010"/>
              <a:gd name="connsiteY525" fmla="*/ 4592730 h 5756219"/>
              <a:gd name="connsiteX526" fmla="*/ 4350868 w 6226010"/>
              <a:gd name="connsiteY526" fmla="*/ 4598165 h 5756219"/>
              <a:gd name="connsiteX527" fmla="*/ 4342716 w 6226010"/>
              <a:gd name="connsiteY527" fmla="*/ 4606317 h 5756219"/>
              <a:gd name="connsiteX528" fmla="*/ 4348151 w 6226010"/>
              <a:gd name="connsiteY528" fmla="*/ 4584577 h 5756219"/>
              <a:gd name="connsiteX529" fmla="*/ 4350868 w 6226010"/>
              <a:gd name="connsiteY529" fmla="*/ 4587294 h 5756219"/>
              <a:gd name="connsiteX530" fmla="*/ 3437147 w 6226010"/>
              <a:gd name="connsiteY530" fmla="*/ 4570538 h 5756219"/>
              <a:gd name="connsiteX531" fmla="*/ 3448628 w 6226010"/>
              <a:gd name="connsiteY531" fmla="*/ 4644364 h 5756219"/>
              <a:gd name="connsiteX532" fmla="*/ 3424169 w 6226010"/>
              <a:gd name="connsiteY532" fmla="*/ 4576424 h 5756219"/>
              <a:gd name="connsiteX533" fmla="*/ 3437147 w 6226010"/>
              <a:gd name="connsiteY533" fmla="*/ 4570538 h 5756219"/>
              <a:gd name="connsiteX534" fmla="*/ 3312747 w 6226010"/>
              <a:gd name="connsiteY534" fmla="*/ 4562836 h 5756219"/>
              <a:gd name="connsiteX535" fmla="*/ 3296086 w 6226010"/>
              <a:gd name="connsiteY535" fmla="*/ 4579498 h 5756219"/>
              <a:gd name="connsiteX536" fmla="*/ 3294532 w 6226010"/>
              <a:gd name="connsiteY536" fmla="*/ 4579736 h 5756219"/>
              <a:gd name="connsiteX537" fmla="*/ 3283574 w 6226010"/>
              <a:gd name="connsiteY537" fmla="*/ 4575146 h 5756219"/>
              <a:gd name="connsiteX538" fmla="*/ 3282388 w 6226010"/>
              <a:gd name="connsiteY538" fmla="*/ 4572775 h 5756219"/>
              <a:gd name="connsiteX539" fmla="*/ 3302129 w 6226010"/>
              <a:gd name="connsiteY539" fmla="*/ 4564606 h 5756219"/>
              <a:gd name="connsiteX540" fmla="*/ 3201327 w 6226010"/>
              <a:gd name="connsiteY540" fmla="*/ 4562836 h 5756219"/>
              <a:gd name="connsiteX541" fmla="*/ 3204045 w 6226010"/>
              <a:gd name="connsiteY541" fmla="*/ 4565553 h 5756219"/>
              <a:gd name="connsiteX542" fmla="*/ 3206761 w 6226010"/>
              <a:gd name="connsiteY542" fmla="*/ 4562836 h 5756219"/>
              <a:gd name="connsiteX543" fmla="*/ 4329128 w 6226010"/>
              <a:gd name="connsiteY543" fmla="*/ 4554684 h 5756219"/>
              <a:gd name="connsiteX544" fmla="*/ 4334564 w 6226010"/>
              <a:gd name="connsiteY544" fmla="*/ 4560119 h 5756219"/>
              <a:gd name="connsiteX545" fmla="*/ 4345434 w 6226010"/>
              <a:gd name="connsiteY545" fmla="*/ 4576425 h 5756219"/>
              <a:gd name="connsiteX546" fmla="*/ 4323693 w 6226010"/>
              <a:gd name="connsiteY546" fmla="*/ 4579142 h 5756219"/>
              <a:gd name="connsiteX547" fmla="*/ 4329128 w 6226010"/>
              <a:gd name="connsiteY547" fmla="*/ 4554684 h 5756219"/>
              <a:gd name="connsiteX548" fmla="*/ 3108929 w 6226010"/>
              <a:gd name="connsiteY548" fmla="*/ 4549248 h 5756219"/>
              <a:gd name="connsiteX549" fmla="*/ 3098057 w 6226010"/>
              <a:gd name="connsiteY549" fmla="*/ 4551965 h 5756219"/>
              <a:gd name="connsiteX550" fmla="*/ 3111645 w 6226010"/>
              <a:gd name="connsiteY550" fmla="*/ 4554683 h 5756219"/>
              <a:gd name="connsiteX551" fmla="*/ 3106211 w 6226010"/>
              <a:gd name="connsiteY551" fmla="*/ 4565553 h 5756219"/>
              <a:gd name="connsiteX552" fmla="*/ 3114363 w 6226010"/>
              <a:gd name="connsiteY552" fmla="*/ 4557400 h 5756219"/>
              <a:gd name="connsiteX553" fmla="*/ 3111645 w 6226010"/>
              <a:gd name="connsiteY553" fmla="*/ 4554683 h 5756219"/>
              <a:gd name="connsiteX554" fmla="*/ 3424170 w 6226010"/>
              <a:gd name="connsiteY554" fmla="*/ 4546531 h 5756219"/>
              <a:gd name="connsiteX555" fmla="*/ 3435040 w 6226010"/>
              <a:gd name="connsiteY555" fmla="*/ 4560119 h 5756219"/>
              <a:gd name="connsiteX556" fmla="*/ 3424170 w 6226010"/>
              <a:gd name="connsiteY556" fmla="*/ 4565554 h 5756219"/>
              <a:gd name="connsiteX557" fmla="*/ 3136105 w 6226010"/>
              <a:gd name="connsiteY557" fmla="*/ 4538377 h 5756219"/>
              <a:gd name="connsiteX558" fmla="*/ 3127951 w 6226010"/>
              <a:gd name="connsiteY558" fmla="*/ 4543813 h 5756219"/>
              <a:gd name="connsiteX559" fmla="*/ 3130669 w 6226010"/>
              <a:gd name="connsiteY559" fmla="*/ 4543813 h 5756219"/>
              <a:gd name="connsiteX560" fmla="*/ 3136105 w 6226010"/>
              <a:gd name="connsiteY560" fmla="*/ 4538377 h 5756219"/>
              <a:gd name="connsiteX561" fmla="*/ 3432322 w 6226010"/>
              <a:gd name="connsiteY561" fmla="*/ 4527508 h 5756219"/>
              <a:gd name="connsiteX562" fmla="*/ 3440475 w 6226010"/>
              <a:gd name="connsiteY562" fmla="*/ 4538378 h 5756219"/>
              <a:gd name="connsiteX563" fmla="*/ 3429605 w 6226010"/>
              <a:gd name="connsiteY563" fmla="*/ 4535661 h 5756219"/>
              <a:gd name="connsiteX564" fmla="*/ 3432322 w 6226010"/>
              <a:gd name="connsiteY564" fmla="*/ 4527508 h 5756219"/>
              <a:gd name="connsiteX565" fmla="*/ 3263831 w 6226010"/>
              <a:gd name="connsiteY565" fmla="*/ 4522072 h 5756219"/>
              <a:gd name="connsiteX566" fmla="*/ 3263831 w 6226010"/>
              <a:gd name="connsiteY566" fmla="*/ 4524790 h 5756219"/>
              <a:gd name="connsiteX567" fmla="*/ 3255679 w 6226010"/>
              <a:gd name="connsiteY567" fmla="*/ 4532942 h 5756219"/>
              <a:gd name="connsiteX568" fmla="*/ 3263831 w 6226010"/>
              <a:gd name="connsiteY568" fmla="*/ 4522072 h 5756219"/>
              <a:gd name="connsiteX569" fmla="*/ 3236655 w 6226010"/>
              <a:gd name="connsiteY569" fmla="*/ 4511201 h 5756219"/>
              <a:gd name="connsiteX570" fmla="*/ 3236655 w 6226010"/>
              <a:gd name="connsiteY570" fmla="*/ 4549248 h 5756219"/>
              <a:gd name="connsiteX571" fmla="*/ 3242091 w 6226010"/>
              <a:gd name="connsiteY571" fmla="*/ 4543813 h 5756219"/>
              <a:gd name="connsiteX572" fmla="*/ 3220349 w 6226010"/>
              <a:gd name="connsiteY572" fmla="*/ 4573706 h 5756219"/>
              <a:gd name="connsiteX573" fmla="*/ 3212197 w 6226010"/>
              <a:gd name="connsiteY573" fmla="*/ 4570988 h 5756219"/>
              <a:gd name="connsiteX574" fmla="*/ 3212197 w 6226010"/>
              <a:gd name="connsiteY574" fmla="*/ 4576424 h 5756219"/>
              <a:gd name="connsiteX575" fmla="*/ 3263831 w 6226010"/>
              <a:gd name="connsiteY575" fmla="*/ 4573706 h 5756219"/>
              <a:gd name="connsiteX576" fmla="*/ 3263831 w 6226010"/>
              <a:gd name="connsiteY576" fmla="*/ 4524790 h 5756219"/>
              <a:gd name="connsiteX577" fmla="*/ 3269267 w 6226010"/>
              <a:gd name="connsiteY577" fmla="*/ 4519354 h 5756219"/>
              <a:gd name="connsiteX578" fmla="*/ 3187739 w 6226010"/>
              <a:gd name="connsiteY578" fmla="*/ 4508484 h 5756219"/>
              <a:gd name="connsiteX579" fmla="*/ 3209479 w 6226010"/>
              <a:gd name="connsiteY579" fmla="*/ 4530225 h 5756219"/>
              <a:gd name="connsiteX580" fmla="*/ 3187739 w 6226010"/>
              <a:gd name="connsiteY580" fmla="*/ 4508484 h 5756219"/>
              <a:gd name="connsiteX581" fmla="*/ 3516567 w 6226010"/>
              <a:gd name="connsiteY581" fmla="*/ 4505767 h 5756219"/>
              <a:gd name="connsiteX582" fmla="*/ 3473085 w 6226010"/>
              <a:gd name="connsiteY582" fmla="*/ 4581859 h 5756219"/>
              <a:gd name="connsiteX583" fmla="*/ 3516567 w 6226010"/>
              <a:gd name="connsiteY583" fmla="*/ 4505767 h 5756219"/>
              <a:gd name="connsiteX584" fmla="*/ 3426887 w 6226010"/>
              <a:gd name="connsiteY584" fmla="*/ 4492179 h 5756219"/>
              <a:gd name="connsiteX585" fmla="*/ 3432323 w 6226010"/>
              <a:gd name="connsiteY585" fmla="*/ 4508484 h 5756219"/>
              <a:gd name="connsiteX586" fmla="*/ 3426887 w 6226010"/>
              <a:gd name="connsiteY586" fmla="*/ 4492179 h 5756219"/>
              <a:gd name="connsiteX587" fmla="*/ 3905184 w 6226010"/>
              <a:gd name="connsiteY587" fmla="*/ 4486744 h 5756219"/>
              <a:gd name="connsiteX588" fmla="*/ 3910619 w 6226010"/>
              <a:gd name="connsiteY588" fmla="*/ 4503049 h 5756219"/>
              <a:gd name="connsiteX589" fmla="*/ 3905184 w 6226010"/>
              <a:gd name="connsiteY589" fmla="*/ 4486744 h 5756219"/>
              <a:gd name="connsiteX590" fmla="*/ 3880724 w 6226010"/>
              <a:gd name="connsiteY590" fmla="*/ 4486744 h 5756219"/>
              <a:gd name="connsiteX591" fmla="*/ 3940512 w 6226010"/>
              <a:gd name="connsiteY591" fmla="*/ 4579142 h 5756219"/>
              <a:gd name="connsiteX592" fmla="*/ 3850831 w 6226010"/>
              <a:gd name="connsiteY592" fmla="*/ 4500332 h 5756219"/>
              <a:gd name="connsiteX593" fmla="*/ 3880724 w 6226010"/>
              <a:gd name="connsiteY593" fmla="*/ 4486744 h 5756219"/>
              <a:gd name="connsiteX594" fmla="*/ 2421376 w 6226010"/>
              <a:gd name="connsiteY594" fmla="*/ 4470438 h 5756219"/>
              <a:gd name="connsiteX595" fmla="*/ 2421376 w 6226010"/>
              <a:gd name="connsiteY595" fmla="*/ 4484026 h 5756219"/>
              <a:gd name="connsiteX596" fmla="*/ 2424094 w 6226010"/>
              <a:gd name="connsiteY596" fmla="*/ 4489461 h 5756219"/>
              <a:gd name="connsiteX597" fmla="*/ 2421376 w 6226010"/>
              <a:gd name="connsiteY597" fmla="*/ 4492178 h 5756219"/>
              <a:gd name="connsiteX598" fmla="*/ 2421376 w 6226010"/>
              <a:gd name="connsiteY598" fmla="*/ 4497614 h 5756219"/>
              <a:gd name="connsiteX599" fmla="*/ 2415941 w 6226010"/>
              <a:gd name="connsiteY599" fmla="*/ 4503049 h 5756219"/>
              <a:gd name="connsiteX600" fmla="*/ 2411658 w 6226010"/>
              <a:gd name="connsiteY600" fmla="*/ 4520184 h 5756219"/>
              <a:gd name="connsiteX601" fmla="*/ 2424095 w 6226010"/>
              <a:gd name="connsiteY601" fmla="*/ 4519354 h 5756219"/>
              <a:gd name="connsiteX602" fmla="*/ 2425328 w 6226010"/>
              <a:gd name="connsiteY602" fmla="*/ 4516889 h 5756219"/>
              <a:gd name="connsiteX603" fmla="*/ 2424094 w 6226010"/>
              <a:gd name="connsiteY603" fmla="*/ 4516637 h 5756219"/>
              <a:gd name="connsiteX604" fmla="*/ 2421376 w 6226010"/>
              <a:gd name="connsiteY604" fmla="*/ 4516637 h 5756219"/>
              <a:gd name="connsiteX605" fmla="*/ 2432246 w 6226010"/>
              <a:gd name="connsiteY605" fmla="*/ 4481308 h 5756219"/>
              <a:gd name="connsiteX606" fmla="*/ 2424094 w 6226010"/>
              <a:gd name="connsiteY606" fmla="*/ 4470438 h 5756219"/>
              <a:gd name="connsiteX607" fmla="*/ 2421376 w 6226010"/>
              <a:gd name="connsiteY607" fmla="*/ 4470438 h 5756219"/>
              <a:gd name="connsiteX608" fmla="*/ 2627235 w 6226010"/>
              <a:gd name="connsiteY608" fmla="*/ 4469079 h 5756219"/>
              <a:gd name="connsiteX609" fmla="*/ 2625197 w 6226010"/>
              <a:gd name="connsiteY609" fmla="*/ 4475873 h 5756219"/>
              <a:gd name="connsiteX610" fmla="*/ 2633350 w 6226010"/>
              <a:gd name="connsiteY610" fmla="*/ 4470438 h 5756219"/>
              <a:gd name="connsiteX611" fmla="*/ 2627235 w 6226010"/>
              <a:gd name="connsiteY611" fmla="*/ 4469079 h 5756219"/>
              <a:gd name="connsiteX612" fmla="*/ 3195891 w 6226010"/>
              <a:gd name="connsiteY612" fmla="*/ 4459567 h 5756219"/>
              <a:gd name="connsiteX613" fmla="*/ 3176869 w 6226010"/>
              <a:gd name="connsiteY613" fmla="*/ 4462285 h 5756219"/>
              <a:gd name="connsiteX614" fmla="*/ 3182303 w 6226010"/>
              <a:gd name="connsiteY614" fmla="*/ 4494896 h 5756219"/>
              <a:gd name="connsiteX615" fmla="*/ 3187739 w 6226010"/>
              <a:gd name="connsiteY615" fmla="*/ 4492178 h 5756219"/>
              <a:gd name="connsiteX616" fmla="*/ 3212197 w 6226010"/>
              <a:gd name="connsiteY616" fmla="*/ 4497614 h 5756219"/>
              <a:gd name="connsiteX617" fmla="*/ 3902466 w 6226010"/>
              <a:gd name="connsiteY617" fmla="*/ 4456851 h 5756219"/>
              <a:gd name="connsiteX618" fmla="*/ 3907902 w 6226010"/>
              <a:gd name="connsiteY618" fmla="*/ 4467721 h 5756219"/>
              <a:gd name="connsiteX619" fmla="*/ 3899749 w 6226010"/>
              <a:gd name="connsiteY619" fmla="*/ 4467721 h 5756219"/>
              <a:gd name="connsiteX620" fmla="*/ 3902466 w 6226010"/>
              <a:gd name="connsiteY620" fmla="*/ 4456851 h 5756219"/>
              <a:gd name="connsiteX621" fmla="*/ 2497469 w 6226010"/>
              <a:gd name="connsiteY621" fmla="*/ 4451414 h 5756219"/>
              <a:gd name="connsiteX622" fmla="*/ 2470293 w 6226010"/>
              <a:gd name="connsiteY622" fmla="*/ 4470438 h 5756219"/>
              <a:gd name="connsiteX623" fmla="*/ 2473852 w 6226010"/>
              <a:gd name="connsiteY623" fmla="*/ 4485302 h 5756219"/>
              <a:gd name="connsiteX624" fmla="*/ 2478447 w 6226010"/>
              <a:gd name="connsiteY624" fmla="*/ 4486743 h 5756219"/>
              <a:gd name="connsiteX625" fmla="*/ 2483882 w 6226010"/>
              <a:gd name="connsiteY625" fmla="*/ 4516637 h 5756219"/>
              <a:gd name="connsiteX626" fmla="*/ 2551822 w 6226010"/>
              <a:gd name="connsiteY626" fmla="*/ 4473155 h 5756219"/>
              <a:gd name="connsiteX627" fmla="*/ 2551547 w 6226010"/>
              <a:gd name="connsiteY627" fmla="*/ 4469993 h 5756219"/>
              <a:gd name="connsiteX628" fmla="*/ 2540611 w 6226010"/>
              <a:gd name="connsiteY628" fmla="*/ 4470098 h 5756219"/>
              <a:gd name="connsiteX629" fmla="*/ 2492033 w 6226010"/>
              <a:gd name="connsiteY629" fmla="*/ 4459567 h 5756219"/>
              <a:gd name="connsiteX630" fmla="*/ 2497469 w 6226010"/>
              <a:gd name="connsiteY630" fmla="*/ 4451414 h 5756219"/>
              <a:gd name="connsiteX631" fmla="*/ 3891596 w 6226010"/>
              <a:gd name="connsiteY631" fmla="*/ 4443262 h 5756219"/>
              <a:gd name="connsiteX632" fmla="*/ 3888879 w 6226010"/>
              <a:gd name="connsiteY632" fmla="*/ 4456850 h 5756219"/>
              <a:gd name="connsiteX633" fmla="*/ 3891596 w 6226010"/>
              <a:gd name="connsiteY633" fmla="*/ 4443262 h 5756219"/>
              <a:gd name="connsiteX634" fmla="*/ 4277493 w 6226010"/>
              <a:gd name="connsiteY634" fmla="*/ 4437826 h 5756219"/>
              <a:gd name="connsiteX635" fmla="*/ 4277493 w 6226010"/>
              <a:gd name="connsiteY635" fmla="*/ 4462285 h 5756219"/>
              <a:gd name="connsiteX636" fmla="*/ 4261189 w 6226010"/>
              <a:gd name="connsiteY636" fmla="*/ 4451414 h 5756219"/>
              <a:gd name="connsiteX637" fmla="*/ 3176869 w 6226010"/>
              <a:gd name="connsiteY637" fmla="*/ 4437826 h 5756219"/>
              <a:gd name="connsiteX638" fmla="*/ 3176869 w 6226010"/>
              <a:gd name="connsiteY638" fmla="*/ 4445979 h 5756219"/>
              <a:gd name="connsiteX639" fmla="*/ 3198609 w 6226010"/>
              <a:gd name="connsiteY639" fmla="*/ 4454132 h 5756219"/>
              <a:gd name="connsiteX640" fmla="*/ 3176869 w 6226010"/>
              <a:gd name="connsiteY640" fmla="*/ 4437826 h 5756219"/>
              <a:gd name="connsiteX641" fmla="*/ 3902127 w 6226010"/>
              <a:gd name="connsiteY641" fmla="*/ 4417445 h 5756219"/>
              <a:gd name="connsiteX642" fmla="*/ 3907902 w 6226010"/>
              <a:gd name="connsiteY642" fmla="*/ 4424239 h 5756219"/>
              <a:gd name="connsiteX643" fmla="*/ 3905184 w 6226010"/>
              <a:gd name="connsiteY643" fmla="*/ 4440545 h 5756219"/>
              <a:gd name="connsiteX644" fmla="*/ 3894314 w 6226010"/>
              <a:gd name="connsiteY644" fmla="*/ 4418804 h 5756219"/>
              <a:gd name="connsiteX645" fmla="*/ 3902127 w 6226010"/>
              <a:gd name="connsiteY645" fmla="*/ 4417445 h 5756219"/>
              <a:gd name="connsiteX646" fmla="*/ 3258395 w 6226010"/>
              <a:gd name="connsiteY646" fmla="*/ 4394345 h 5756219"/>
              <a:gd name="connsiteX647" fmla="*/ 3258395 w 6226010"/>
              <a:gd name="connsiteY647" fmla="*/ 4416086 h 5756219"/>
              <a:gd name="connsiteX648" fmla="*/ 3280137 w 6226010"/>
              <a:gd name="connsiteY648" fmla="*/ 4416086 h 5756219"/>
              <a:gd name="connsiteX649" fmla="*/ 2918697 w 6226010"/>
              <a:gd name="connsiteY649" fmla="*/ 4383474 h 5756219"/>
              <a:gd name="connsiteX650" fmla="*/ 2905109 w 6226010"/>
              <a:gd name="connsiteY650" fmla="*/ 4388910 h 5756219"/>
              <a:gd name="connsiteX651" fmla="*/ 2902391 w 6226010"/>
              <a:gd name="connsiteY651" fmla="*/ 4388910 h 5756219"/>
              <a:gd name="connsiteX652" fmla="*/ 2902391 w 6226010"/>
              <a:gd name="connsiteY652" fmla="*/ 4397062 h 5756219"/>
              <a:gd name="connsiteX653" fmla="*/ 2907827 w 6226010"/>
              <a:gd name="connsiteY653" fmla="*/ 4394345 h 5756219"/>
              <a:gd name="connsiteX654" fmla="*/ 3171433 w 6226010"/>
              <a:gd name="connsiteY654" fmla="*/ 4378039 h 5756219"/>
              <a:gd name="connsiteX655" fmla="*/ 3171433 w 6226010"/>
              <a:gd name="connsiteY655" fmla="*/ 4424238 h 5756219"/>
              <a:gd name="connsiteX656" fmla="*/ 3179585 w 6226010"/>
              <a:gd name="connsiteY656" fmla="*/ 4424238 h 5756219"/>
              <a:gd name="connsiteX657" fmla="*/ 3182303 w 6226010"/>
              <a:gd name="connsiteY657" fmla="*/ 4399780 h 5756219"/>
              <a:gd name="connsiteX658" fmla="*/ 3187739 w 6226010"/>
              <a:gd name="connsiteY658" fmla="*/ 4378039 h 5756219"/>
              <a:gd name="connsiteX659" fmla="*/ 2519211 w 6226010"/>
              <a:gd name="connsiteY659" fmla="*/ 4373623 h 5756219"/>
              <a:gd name="connsiteX660" fmla="*/ 2519211 w 6226010"/>
              <a:gd name="connsiteY660" fmla="*/ 4386192 h 5756219"/>
              <a:gd name="connsiteX661" fmla="*/ 2515588 w 6226010"/>
              <a:gd name="connsiteY661" fmla="*/ 4380757 h 5756219"/>
              <a:gd name="connsiteX662" fmla="*/ 2516493 w 6226010"/>
              <a:gd name="connsiteY662" fmla="*/ 4376681 h 5756219"/>
              <a:gd name="connsiteX663" fmla="*/ 3837245 w 6226010"/>
              <a:gd name="connsiteY663" fmla="*/ 4367170 h 5756219"/>
              <a:gd name="connsiteX664" fmla="*/ 3845397 w 6226010"/>
              <a:gd name="connsiteY664" fmla="*/ 4391628 h 5756219"/>
              <a:gd name="connsiteX665" fmla="*/ 3837245 w 6226010"/>
              <a:gd name="connsiteY665" fmla="*/ 4367170 h 5756219"/>
              <a:gd name="connsiteX666" fmla="*/ 3793761 w 6226010"/>
              <a:gd name="connsiteY666" fmla="*/ 4367169 h 5756219"/>
              <a:gd name="connsiteX667" fmla="*/ 3807349 w 6226010"/>
              <a:gd name="connsiteY667" fmla="*/ 4375322 h 5756219"/>
              <a:gd name="connsiteX668" fmla="*/ 3803167 w 6226010"/>
              <a:gd name="connsiteY668" fmla="*/ 4375868 h 5756219"/>
              <a:gd name="connsiteX669" fmla="*/ 3796450 w 6226010"/>
              <a:gd name="connsiteY669" fmla="*/ 4371439 h 5756219"/>
              <a:gd name="connsiteX670" fmla="*/ 2720313 w 6226010"/>
              <a:gd name="connsiteY670" fmla="*/ 4367169 h 5756219"/>
              <a:gd name="connsiteX671" fmla="*/ 2704007 w 6226010"/>
              <a:gd name="connsiteY671" fmla="*/ 4383474 h 5756219"/>
              <a:gd name="connsiteX672" fmla="*/ 2723030 w 6226010"/>
              <a:gd name="connsiteY672" fmla="*/ 4383474 h 5756219"/>
              <a:gd name="connsiteX673" fmla="*/ 4193249 w 6226010"/>
              <a:gd name="connsiteY673" fmla="*/ 4361734 h 5756219"/>
              <a:gd name="connsiteX674" fmla="*/ 4216185 w 6226010"/>
              <a:gd name="connsiteY674" fmla="*/ 4382122 h 5756219"/>
              <a:gd name="connsiteX675" fmla="*/ 4214006 w 6226010"/>
              <a:gd name="connsiteY675" fmla="*/ 4382549 h 5756219"/>
              <a:gd name="connsiteX676" fmla="*/ 4185095 w 6226010"/>
              <a:gd name="connsiteY676" fmla="*/ 4375322 h 5756219"/>
              <a:gd name="connsiteX677" fmla="*/ 4246973 w 6226010"/>
              <a:gd name="connsiteY677" fmla="*/ 4344592 h 5756219"/>
              <a:gd name="connsiteX678" fmla="*/ 4255753 w 6226010"/>
              <a:gd name="connsiteY678" fmla="*/ 4356298 h 5756219"/>
              <a:gd name="connsiteX679" fmla="*/ 4249230 w 6226010"/>
              <a:gd name="connsiteY679" fmla="*/ 4355211 h 5756219"/>
              <a:gd name="connsiteX680" fmla="*/ 4239447 w 6226010"/>
              <a:gd name="connsiteY680" fmla="*/ 4345428 h 5756219"/>
              <a:gd name="connsiteX681" fmla="*/ 3815504 w 6226010"/>
              <a:gd name="connsiteY681" fmla="*/ 4342711 h 5756219"/>
              <a:gd name="connsiteX682" fmla="*/ 3826374 w 6226010"/>
              <a:gd name="connsiteY682" fmla="*/ 4364452 h 5756219"/>
              <a:gd name="connsiteX683" fmla="*/ 3815504 w 6226010"/>
              <a:gd name="connsiteY683" fmla="*/ 4342711 h 5756219"/>
              <a:gd name="connsiteX684" fmla="*/ 2820863 w 6226010"/>
              <a:gd name="connsiteY684" fmla="*/ 4337275 h 5756219"/>
              <a:gd name="connsiteX685" fmla="*/ 2820863 w 6226010"/>
              <a:gd name="connsiteY685" fmla="*/ 4342710 h 5756219"/>
              <a:gd name="connsiteX686" fmla="*/ 2826299 w 6226010"/>
              <a:gd name="connsiteY686" fmla="*/ 4339993 h 5756219"/>
              <a:gd name="connsiteX687" fmla="*/ 1918621 w 6226010"/>
              <a:gd name="connsiteY687" fmla="*/ 4329122 h 5756219"/>
              <a:gd name="connsiteX688" fmla="*/ 1921339 w 6226010"/>
              <a:gd name="connsiteY688" fmla="*/ 4331839 h 5756219"/>
              <a:gd name="connsiteX689" fmla="*/ 1921339 w 6226010"/>
              <a:gd name="connsiteY689" fmla="*/ 4353580 h 5756219"/>
              <a:gd name="connsiteX690" fmla="*/ 1921339 w 6226010"/>
              <a:gd name="connsiteY690" fmla="*/ 4443261 h 5756219"/>
              <a:gd name="connsiteX691" fmla="*/ 1918621 w 6226010"/>
              <a:gd name="connsiteY691" fmla="*/ 4500330 h 5756219"/>
              <a:gd name="connsiteX692" fmla="*/ 1875140 w 6226010"/>
              <a:gd name="connsiteY692" fmla="*/ 4511201 h 5756219"/>
              <a:gd name="connsiteX693" fmla="*/ 1869705 w 6226010"/>
              <a:gd name="connsiteY693" fmla="*/ 4511201 h 5756219"/>
              <a:gd name="connsiteX694" fmla="*/ 1864269 w 6226010"/>
              <a:gd name="connsiteY694" fmla="*/ 4478589 h 5756219"/>
              <a:gd name="connsiteX695" fmla="*/ 1866987 w 6226010"/>
              <a:gd name="connsiteY695" fmla="*/ 4465001 h 5756219"/>
              <a:gd name="connsiteX696" fmla="*/ 1918621 w 6226010"/>
              <a:gd name="connsiteY696" fmla="*/ 4329122 h 5756219"/>
              <a:gd name="connsiteX697" fmla="*/ 2641842 w 6226010"/>
              <a:gd name="connsiteY697" fmla="*/ 4323348 h 5756219"/>
              <a:gd name="connsiteX698" fmla="*/ 2619762 w 6226010"/>
              <a:gd name="connsiteY698" fmla="*/ 4323687 h 5756219"/>
              <a:gd name="connsiteX699" fmla="*/ 2649655 w 6226010"/>
              <a:gd name="connsiteY699" fmla="*/ 4337275 h 5756219"/>
              <a:gd name="connsiteX700" fmla="*/ 2641842 w 6226010"/>
              <a:gd name="connsiteY700" fmla="*/ 4323348 h 5756219"/>
              <a:gd name="connsiteX701" fmla="*/ 4293799 w 6226010"/>
              <a:gd name="connsiteY701" fmla="*/ 4299229 h 5756219"/>
              <a:gd name="connsiteX702" fmla="*/ 4285647 w 6226010"/>
              <a:gd name="connsiteY702" fmla="*/ 4318252 h 5756219"/>
              <a:gd name="connsiteX703" fmla="*/ 4285647 w 6226010"/>
              <a:gd name="connsiteY703" fmla="*/ 4300135 h 5756219"/>
              <a:gd name="connsiteX704" fmla="*/ 4435115 w 6226010"/>
              <a:gd name="connsiteY704" fmla="*/ 4292216 h 5756219"/>
              <a:gd name="connsiteX705" fmla="*/ 4435115 w 6226010"/>
              <a:gd name="connsiteY705" fmla="*/ 4303305 h 5756219"/>
              <a:gd name="connsiteX706" fmla="*/ 4432397 w 6226010"/>
              <a:gd name="connsiteY706" fmla="*/ 4301946 h 5756219"/>
              <a:gd name="connsiteX707" fmla="*/ 4436877 w 6226010"/>
              <a:gd name="connsiteY707" fmla="*/ 4282443 h 5756219"/>
              <a:gd name="connsiteX708" fmla="*/ 4437493 w 6226010"/>
              <a:gd name="connsiteY708" fmla="*/ 4284962 h 5756219"/>
              <a:gd name="connsiteX709" fmla="*/ 4435837 w 6226010"/>
              <a:gd name="connsiteY709" fmla="*/ 4289632 h 5756219"/>
              <a:gd name="connsiteX710" fmla="*/ 4435115 w 6226010"/>
              <a:gd name="connsiteY710" fmla="*/ 4292216 h 5756219"/>
              <a:gd name="connsiteX711" fmla="*/ 4435115 w 6226010"/>
              <a:gd name="connsiteY711" fmla="*/ 4282923 h 5756219"/>
              <a:gd name="connsiteX712" fmla="*/ 4463708 w 6226010"/>
              <a:gd name="connsiteY712" fmla="*/ 4275126 h 5756219"/>
              <a:gd name="connsiteX713" fmla="*/ 4462291 w 6226010"/>
              <a:gd name="connsiteY713" fmla="*/ 4277488 h 5756219"/>
              <a:gd name="connsiteX714" fmla="*/ 4457944 w 6226010"/>
              <a:gd name="connsiteY714" fmla="*/ 4276698 h 5756219"/>
              <a:gd name="connsiteX715" fmla="*/ 4432397 w 6226010"/>
              <a:gd name="connsiteY715" fmla="*/ 4272053 h 5756219"/>
              <a:gd name="connsiteX716" fmla="*/ 4457944 w 6226010"/>
              <a:gd name="connsiteY716" fmla="*/ 4276698 h 5756219"/>
              <a:gd name="connsiteX717" fmla="*/ 4436877 w 6226010"/>
              <a:gd name="connsiteY717" fmla="*/ 4282443 h 5756219"/>
              <a:gd name="connsiteX718" fmla="*/ 4436601 w 6226010"/>
              <a:gd name="connsiteY718" fmla="*/ 4281310 h 5756219"/>
              <a:gd name="connsiteX719" fmla="*/ 4432397 w 6226010"/>
              <a:gd name="connsiteY719" fmla="*/ 4272053 h 5756219"/>
              <a:gd name="connsiteX720" fmla="*/ 3668753 w 6226010"/>
              <a:gd name="connsiteY720" fmla="*/ 4266618 h 5756219"/>
              <a:gd name="connsiteX721" fmla="*/ 3712235 w 6226010"/>
              <a:gd name="connsiteY721" fmla="*/ 4326405 h 5756219"/>
              <a:gd name="connsiteX722" fmla="*/ 3774740 w 6226010"/>
              <a:gd name="connsiteY722" fmla="*/ 4429673 h 5756219"/>
              <a:gd name="connsiteX723" fmla="*/ 3899749 w 6226010"/>
              <a:gd name="connsiteY723" fmla="*/ 4584576 h 5756219"/>
              <a:gd name="connsiteX724" fmla="*/ 3676907 w 6226010"/>
              <a:gd name="connsiteY724" fmla="*/ 4584576 h 5756219"/>
              <a:gd name="connsiteX725" fmla="*/ 3714953 w 6226010"/>
              <a:gd name="connsiteY725" fmla="*/ 4424238 h 5756219"/>
              <a:gd name="connsiteX726" fmla="*/ 3701365 w 6226010"/>
              <a:gd name="connsiteY726" fmla="*/ 4429673 h 5756219"/>
              <a:gd name="connsiteX727" fmla="*/ 3709518 w 6226010"/>
              <a:gd name="connsiteY727" fmla="*/ 4445979 h 5756219"/>
              <a:gd name="connsiteX728" fmla="*/ 3698647 w 6226010"/>
              <a:gd name="connsiteY728" fmla="*/ 4454131 h 5756219"/>
              <a:gd name="connsiteX729" fmla="*/ 3704083 w 6226010"/>
              <a:gd name="connsiteY729" fmla="*/ 4484025 h 5756219"/>
              <a:gd name="connsiteX730" fmla="*/ 3693212 w 6226010"/>
              <a:gd name="connsiteY730" fmla="*/ 4484025 h 5756219"/>
              <a:gd name="connsiteX731" fmla="*/ 3671471 w 6226010"/>
              <a:gd name="connsiteY731" fmla="*/ 4581858 h 5756219"/>
              <a:gd name="connsiteX732" fmla="*/ 3679624 w 6226010"/>
              <a:gd name="connsiteY732" fmla="*/ 4535659 h 5756219"/>
              <a:gd name="connsiteX733" fmla="*/ 3668753 w 6226010"/>
              <a:gd name="connsiteY733" fmla="*/ 4546529 h 5756219"/>
              <a:gd name="connsiteX734" fmla="*/ 3657883 w 6226010"/>
              <a:gd name="connsiteY734" fmla="*/ 4524789 h 5756219"/>
              <a:gd name="connsiteX735" fmla="*/ 3649730 w 6226010"/>
              <a:gd name="connsiteY735" fmla="*/ 4543812 h 5756219"/>
              <a:gd name="connsiteX736" fmla="*/ 3633424 w 6226010"/>
              <a:gd name="connsiteY736" fmla="*/ 4535659 h 5756219"/>
              <a:gd name="connsiteX737" fmla="*/ 3663319 w 6226010"/>
              <a:gd name="connsiteY737" fmla="*/ 4584576 h 5756219"/>
              <a:gd name="connsiteX738" fmla="*/ 3644295 w 6226010"/>
              <a:gd name="connsiteY738" fmla="*/ 4570988 h 5756219"/>
              <a:gd name="connsiteX739" fmla="*/ 3614401 w 6226010"/>
              <a:gd name="connsiteY739" fmla="*/ 4570988 h 5756219"/>
              <a:gd name="connsiteX740" fmla="*/ 3666035 w 6226010"/>
              <a:gd name="connsiteY740" fmla="*/ 4600881 h 5756219"/>
              <a:gd name="connsiteX741" fmla="*/ 3663319 w 6226010"/>
              <a:gd name="connsiteY741" fmla="*/ 4717738 h 5756219"/>
              <a:gd name="connsiteX742" fmla="*/ 3568202 w 6226010"/>
              <a:gd name="connsiteY742" fmla="*/ 4791113 h 5756219"/>
              <a:gd name="connsiteX743" fmla="*/ 3557331 w 6226010"/>
              <a:gd name="connsiteY743" fmla="*/ 4782960 h 5756219"/>
              <a:gd name="connsiteX744" fmla="*/ 3524720 w 6226010"/>
              <a:gd name="connsiteY744" fmla="*/ 4821007 h 5756219"/>
              <a:gd name="connsiteX745" fmla="*/ 3527438 w 6226010"/>
              <a:gd name="connsiteY745" fmla="*/ 4807419 h 5756219"/>
              <a:gd name="connsiteX746" fmla="*/ 3489391 w 6226010"/>
              <a:gd name="connsiteY746" fmla="*/ 4815571 h 5756219"/>
              <a:gd name="connsiteX747" fmla="*/ 3494827 w 6226010"/>
              <a:gd name="connsiteY747" fmla="*/ 4799266 h 5756219"/>
              <a:gd name="connsiteX748" fmla="*/ 3478521 w 6226010"/>
              <a:gd name="connsiteY748" fmla="*/ 4725891 h 5756219"/>
              <a:gd name="connsiteX749" fmla="*/ 3456780 w 6226010"/>
              <a:gd name="connsiteY749" fmla="*/ 4717738 h 5756219"/>
              <a:gd name="connsiteX750" fmla="*/ 3500262 w 6226010"/>
              <a:gd name="connsiteY750" fmla="*/ 4595446 h 5756219"/>
              <a:gd name="connsiteX751" fmla="*/ 3560049 w 6226010"/>
              <a:gd name="connsiteY751" fmla="*/ 4478590 h 5756219"/>
              <a:gd name="connsiteX752" fmla="*/ 3627989 w 6226010"/>
              <a:gd name="connsiteY752" fmla="*/ 4429673 h 5756219"/>
              <a:gd name="connsiteX753" fmla="*/ 3584507 w 6226010"/>
              <a:gd name="connsiteY753" fmla="*/ 4418803 h 5756219"/>
              <a:gd name="connsiteX754" fmla="*/ 3668753 w 6226010"/>
              <a:gd name="connsiteY754" fmla="*/ 4266618 h 5756219"/>
              <a:gd name="connsiteX755" fmla="*/ 4470443 w 6226010"/>
              <a:gd name="connsiteY755" fmla="*/ 4263900 h 5756219"/>
              <a:gd name="connsiteX756" fmla="*/ 4488800 w 6226010"/>
              <a:gd name="connsiteY756" fmla="*/ 4270576 h 5756219"/>
              <a:gd name="connsiteX757" fmla="*/ 4481950 w 6226010"/>
              <a:gd name="connsiteY757" fmla="*/ 4271968 h 5756219"/>
              <a:gd name="connsiteX758" fmla="*/ 4473161 w 6226010"/>
              <a:gd name="connsiteY758" fmla="*/ 4291076 h 5756219"/>
              <a:gd name="connsiteX759" fmla="*/ 4465009 w 6226010"/>
              <a:gd name="connsiteY759" fmla="*/ 4274771 h 5756219"/>
              <a:gd name="connsiteX760" fmla="*/ 4463708 w 6226010"/>
              <a:gd name="connsiteY760" fmla="*/ 4275126 h 5756219"/>
              <a:gd name="connsiteX761" fmla="*/ 2641502 w 6226010"/>
              <a:gd name="connsiteY761" fmla="*/ 4261183 h 5756219"/>
              <a:gd name="connsiteX762" fmla="*/ 2627914 w 6226010"/>
              <a:gd name="connsiteY762" fmla="*/ 4274771 h 5756219"/>
              <a:gd name="connsiteX763" fmla="*/ 2644220 w 6226010"/>
              <a:gd name="connsiteY763" fmla="*/ 4277488 h 5756219"/>
              <a:gd name="connsiteX764" fmla="*/ 2649655 w 6226010"/>
              <a:gd name="connsiteY764" fmla="*/ 4255747 h 5756219"/>
              <a:gd name="connsiteX765" fmla="*/ 2649655 w 6226010"/>
              <a:gd name="connsiteY765" fmla="*/ 4261183 h 5756219"/>
              <a:gd name="connsiteX766" fmla="*/ 2655090 w 6226010"/>
              <a:gd name="connsiteY766" fmla="*/ 4261183 h 5756219"/>
              <a:gd name="connsiteX767" fmla="*/ 2649655 w 6226010"/>
              <a:gd name="connsiteY767" fmla="*/ 4255747 h 5756219"/>
              <a:gd name="connsiteX768" fmla="*/ 2584433 w 6226010"/>
              <a:gd name="connsiteY768" fmla="*/ 4253745 h 5756219"/>
              <a:gd name="connsiteX769" fmla="*/ 2584433 w 6226010"/>
              <a:gd name="connsiteY769" fmla="*/ 4258465 h 5756219"/>
              <a:gd name="connsiteX770" fmla="*/ 2576280 w 6226010"/>
              <a:gd name="connsiteY770" fmla="*/ 4263900 h 5756219"/>
              <a:gd name="connsiteX771" fmla="*/ 2568806 w 6226010"/>
              <a:gd name="connsiteY771" fmla="*/ 4258805 h 5756219"/>
              <a:gd name="connsiteX772" fmla="*/ 2565037 w 6226010"/>
              <a:gd name="connsiteY772" fmla="*/ 4257807 h 5756219"/>
              <a:gd name="connsiteX773" fmla="*/ 2568127 w 6226010"/>
              <a:gd name="connsiteY773" fmla="*/ 4255747 h 5756219"/>
              <a:gd name="connsiteX774" fmla="*/ 4554689 w 6226010"/>
              <a:gd name="connsiteY774" fmla="*/ 4239442 h 5756219"/>
              <a:gd name="connsiteX775" fmla="*/ 4524795 w 6226010"/>
              <a:gd name="connsiteY775" fmla="*/ 4269335 h 5756219"/>
              <a:gd name="connsiteX776" fmla="*/ 4554689 w 6226010"/>
              <a:gd name="connsiteY776" fmla="*/ 4261183 h 5756219"/>
              <a:gd name="connsiteX777" fmla="*/ 1913187 w 6226010"/>
              <a:gd name="connsiteY777" fmla="*/ 4228573 h 5756219"/>
              <a:gd name="connsiteX778" fmla="*/ 1913187 w 6226010"/>
              <a:gd name="connsiteY778" fmla="*/ 4261184 h 5756219"/>
              <a:gd name="connsiteX779" fmla="*/ 1858835 w 6226010"/>
              <a:gd name="connsiteY779" fmla="*/ 4318253 h 5756219"/>
              <a:gd name="connsiteX780" fmla="*/ 1853400 w 6226010"/>
              <a:gd name="connsiteY780" fmla="*/ 4318253 h 5756219"/>
              <a:gd name="connsiteX781" fmla="*/ 1888729 w 6226010"/>
              <a:gd name="connsiteY781" fmla="*/ 4239443 h 5756219"/>
              <a:gd name="connsiteX782" fmla="*/ 1913187 w 6226010"/>
              <a:gd name="connsiteY782" fmla="*/ 4228573 h 5756219"/>
              <a:gd name="connsiteX783" fmla="*/ 3791044 w 6226010"/>
              <a:gd name="connsiteY783" fmla="*/ 4214984 h 5756219"/>
              <a:gd name="connsiteX784" fmla="*/ 3801914 w 6226010"/>
              <a:gd name="connsiteY784" fmla="*/ 4315535 h 5756219"/>
              <a:gd name="connsiteX785" fmla="*/ 3818220 w 6226010"/>
              <a:gd name="connsiteY785" fmla="*/ 4337275 h 5756219"/>
              <a:gd name="connsiteX786" fmla="*/ 3807349 w 6226010"/>
              <a:gd name="connsiteY786" fmla="*/ 4334558 h 5756219"/>
              <a:gd name="connsiteX787" fmla="*/ 3777456 w 6226010"/>
              <a:gd name="connsiteY787" fmla="*/ 4356298 h 5756219"/>
              <a:gd name="connsiteX788" fmla="*/ 3792742 w 6226010"/>
              <a:gd name="connsiteY788" fmla="*/ 4368995 h 5756219"/>
              <a:gd name="connsiteX789" fmla="*/ 3796450 w 6226010"/>
              <a:gd name="connsiteY789" fmla="*/ 4371439 h 5756219"/>
              <a:gd name="connsiteX790" fmla="*/ 3799536 w 6226010"/>
              <a:gd name="connsiteY790" fmla="*/ 4376341 h 5756219"/>
              <a:gd name="connsiteX791" fmla="*/ 3803167 w 6226010"/>
              <a:gd name="connsiteY791" fmla="*/ 4375868 h 5756219"/>
              <a:gd name="connsiteX792" fmla="*/ 3810067 w 6226010"/>
              <a:gd name="connsiteY792" fmla="*/ 4380417 h 5756219"/>
              <a:gd name="connsiteX793" fmla="*/ 3826372 w 6226010"/>
              <a:gd name="connsiteY793" fmla="*/ 4410650 h 5756219"/>
              <a:gd name="connsiteX794" fmla="*/ 3864419 w 6226010"/>
              <a:gd name="connsiteY794" fmla="*/ 4451414 h 5756219"/>
              <a:gd name="connsiteX795" fmla="*/ 3839960 w 6226010"/>
              <a:gd name="connsiteY795" fmla="*/ 4473155 h 5756219"/>
              <a:gd name="connsiteX796" fmla="*/ 3878007 w 6226010"/>
              <a:gd name="connsiteY796" fmla="*/ 4475873 h 5756219"/>
              <a:gd name="connsiteX797" fmla="*/ 3839960 w 6226010"/>
              <a:gd name="connsiteY797" fmla="*/ 4497614 h 5756219"/>
              <a:gd name="connsiteX798" fmla="*/ 3714951 w 6226010"/>
              <a:gd name="connsiteY798" fmla="*/ 4293794 h 5756219"/>
              <a:gd name="connsiteX799" fmla="*/ 3690493 w 6226010"/>
              <a:gd name="connsiteY799" fmla="*/ 4263900 h 5756219"/>
              <a:gd name="connsiteX800" fmla="*/ 3791044 w 6226010"/>
              <a:gd name="connsiteY800" fmla="*/ 4214984 h 5756219"/>
              <a:gd name="connsiteX801" fmla="*/ 4573712 w 6226010"/>
              <a:gd name="connsiteY801" fmla="*/ 4208870 h 5756219"/>
              <a:gd name="connsiteX802" fmla="*/ 4575835 w 6226010"/>
              <a:gd name="connsiteY802" fmla="*/ 4210398 h 5756219"/>
              <a:gd name="connsiteX803" fmla="*/ 4577249 w 6226010"/>
              <a:gd name="connsiteY803" fmla="*/ 4211139 h 5756219"/>
              <a:gd name="connsiteX804" fmla="*/ 4572395 w 6226010"/>
              <a:gd name="connsiteY804" fmla="*/ 4212946 h 5756219"/>
              <a:gd name="connsiteX805" fmla="*/ 4569117 w 6226010"/>
              <a:gd name="connsiteY805" fmla="*/ 4211694 h 5756219"/>
              <a:gd name="connsiteX806" fmla="*/ 4571589 w 6226010"/>
              <a:gd name="connsiteY806" fmla="*/ 4210398 h 5756219"/>
              <a:gd name="connsiteX807" fmla="*/ 4573712 w 6226010"/>
              <a:gd name="connsiteY807" fmla="*/ 4208870 h 5756219"/>
              <a:gd name="connsiteX808" fmla="*/ 1543593 w 6226010"/>
              <a:gd name="connsiteY808" fmla="*/ 4195962 h 5756219"/>
              <a:gd name="connsiteX809" fmla="*/ 1546311 w 6226010"/>
              <a:gd name="connsiteY809" fmla="*/ 4204115 h 5756219"/>
              <a:gd name="connsiteX810" fmla="*/ 1551746 w 6226010"/>
              <a:gd name="connsiteY810" fmla="*/ 4204115 h 5756219"/>
              <a:gd name="connsiteX811" fmla="*/ 1551746 w 6226010"/>
              <a:gd name="connsiteY811" fmla="*/ 4209550 h 5756219"/>
              <a:gd name="connsiteX812" fmla="*/ 1554464 w 6226010"/>
              <a:gd name="connsiteY812" fmla="*/ 4209550 h 5756219"/>
              <a:gd name="connsiteX813" fmla="*/ 1554464 w 6226010"/>
              <a:gd name="connsiteY813" fmla="*/ 4217703 h 5756219"/>
              <a:gd name="connsiteX814" fmla="*/ 1559900 w 6226010"/>
              <a:gd name="connsiteY814" fmla="*/ 4220420 h 5756219"/>
              <a:gd name="connsiteX815" fmla="*/ 1562618 w 6226010"/>
              <a:gd name="connsiteY815" fmla="*/ 4234008 h 5756219"/>
              <a:gd name="connsiteX816" fmla="*/ 1565335 w 6226010"/>
              <a:gd name="connsiteY816" fmla="*/ 4236726 h 5756219"/>
              <a:gd name="connsiteX817" fmla="*/ 1494677 w 6226010"/>
              <a:gd name="connsiteY817" fmla="*/ 4209550 h 5756219"/>
              <a:gd name="connsiteX818" fmla="*/ 1543593 w 6226010"/>
              <a:gd name="connsiteY818" fmla="*/ 4195962 h 5756219"/>
              <a:gd name="connsiteX819" fmla="*/ 600589 w 6226010"/>
              <a:gd name="connsiteY819" fmla="*/ 4195962 h 5756219"/>
              <a:gd name="connsiteX820" fmla="*/ 627765 w 6226010"/>
              <a:gd name="connsiteY820" fmla="*/ 4209550 h 5756219"/>
              <a:gd name="connsiteX821" fmla="*/ 625047 w 6226010"/>
              <a:gd name="connsiteY821" fmla="*/ 4214985 h 5756219"/>
              <a:gd name="connsiteX822" fmla="*/ 600589 w 6226010"/>
              <a:gd name="connsiteY822" fmla="*/ 4195962 h 5756219"/>
              <a:gd name="connsiteX823" fmla="*/ 4350869 w 6226010"/>
              <a:gd name="connsiteY823" fmla="*/ 4190525 h 5756219"/>
              <a:gd name="connsiteX824" fmla="*/ 4339999 w 6226010"/>
              <a:gd name="connsiteY824" fmla="*/ 4198678 h 5756219"/>
              <a:gd name="connsiteX825" fmla="*/ 4364457 w 6226010"/>
              <a:gd name="connsiteY825" fmla="*/ 4228572 h 5756219"/>
              <a:gd name="connsiteX826" fmla="*/ 4348151 w 6226010"/>
              <a:gd name="connsiteY826" fmla="*/ 4244877 h 5756219"/>
              <a:gd name="connsiteX827" fmla="*/ 4372609 w 6226010"/>
              <a:gd name="connsiteY827" fmla="*/ 4244877 h 5756219"/>
              <a:gd name="connsiteX828" fmla="*/ 4364457 w 6226010"/>
              <a:gd name="connsiteY828" fmla="*/ 4225854 h 5756219"/>
              <a:gd name="connsiteX829" fmla="*/ 4380763 w 6226010"/>
              <a:gd name="connsiteY829" fmla="*/ 4217701 h 5756219"/>
              <a:gd name="connsiteX830" fmla="*/ 2141464 w 6226010"/>
              <a:gd name="connsiteY830" fmla="*/ 4179656 h 5756219"/>
              <a:gd name="connsiteX831" fmla="*/ 2203969 w 6226010"/>
              <a:gd name="connsiteY831" fmla="*/ 4182373 h 5756219"/>
              <a:gd name="connsiteX832" fmla="*/ 2206687 w 6226010"/>
              <a:gd name="connsiteY832" fmla="*/ 4187809 h 5756219"/>
              <a:gd name="connsiteX833" fmla="*/ 2217557 w 6226010"/>
              <a:gd name="connsiteY833" fmla="*/ 4187809 h 5756219"/>
              <a:gd name="connsiteX834" fmla="*/ 2266474 w 6226010"/>
              <a:gd name="connsiteY834" fmla="*/ 4190526 h 5756219"/>
              <a:gd name="connsiteX835" fmla="*/ 2266474 w 6226010"/>
              <a:gd name="connsiteY835" fmla="*/ 4193244 h 5756219"/>
              <a:gd name="connsiteX836" fmla="*/ 2282779 w 6226010"/>
              <a:gd name="connsiteY836" fmla="*/ 4195961 h 5756219"/>
              <a:gd name="connsiteX837" fmla="*/ 2261038 w 6226010"/>
              <a:gd name="connsiteY837" fmla="*/ 4234008 h 5756219"/>
              <a:gd name="connsiteX838" fmla="*/ 2233863 w 6226010"/>
              <a:gd name="connsiteY838" fmla="*/ 4234008 h 5756219"/>
              <a:gd name="connsiteX839" fmla="*/ 2228427 w 6226010"/>
              <a:gd name="connsiteY839" fmla="*/ 4239443 h 5756219"/>
              <a:gd name="connsiteX840" fmla="*/ 2203969 w 6226010"/>
              <a:gd name="connsiteY840" fmla="*/ 4244878 h 5756219"/>
              <a:gd name="connsiteX841" fmla="*/ 2201251 w 6226010"/>
              <a:gd name="connsiteY841" fmla="*/ 4217702 h 5756219"/>
              <a:gd name="connsiteX842" fmla="*/ 2195816 w 6226010"/>
              <a:gd name="connsiteY842" fmla="*/ 4201397 h 5756219"/>
              <a:gd name="connsiteX843" fmla="*/ 2190381 w 6226010"/>
              <a:gd name="connsiteY843" fmla="*/ 4201397 h 5756219"/>
              <a:gd name="connsiteX844" fmla="*/ 2184946 w 6226010"/>
              <a:gd name="connsiteY844" fmla="*/ 4204114 h 5756219"/>
              <a:gd name="connsiteX845" fmla="*/ 2190381 w 6226010"/>
              <a:gd name="connsiteY845" fmla="*/ 4214984 h 5756219"/>
              <a:gd name="connsiteX846" fmla="*/ 2184946 w 6226010"/>
              <a:gd name="connsiteY846" fmla="*/ 4244878 h 5756219"/>
              <a:gd name="connsiteX847" fmla="*/ 2168640 w 6226010"/>
              <a:gd name="connsiteY847" fmla="*/ 4253031 h 5756219"/>
              <a:gd name="connsiteX848" fmla="*/ 2146900 w 6226010"/>
              <a:gd name="connsiteY848" fmla="*/ 4255748 h 5756219"/>
              <a:gd name="connsiteX849" fmla="*/ 2141464 w 6226010"/>
              <a:gd name="connsiteY849" fmla="*/ 4261184 h 5756219"/>
              <a:gd name="connsiteX850" fmla="*/ 2125159 w 6226010"/>
              <a:gd name="connsiteY850" fmla="*/ 4266619 h 5756219"/>
              <a:gd name="connsiteX851" fmla="*/ 2138747 w 6226010"/>
              <a:gd name="connsiteY851" fmla="*/ 4234008 h 5756219"/>
              <a:gd name="connsiteX852" fmla="*/ 2136029 w 6226010"/>
              <a:gd name="connsiteY852" fmla="*/ 4223137 h 5756219"/>
              <a:gd name="connsiteX853" fmla="*/ 2141464 w 6226010"/>
              <a:gd name="connsiteY853" fmla="*/ 4182373 h 5756219"/>
              <a:gd name="connsiteX854" fmla="*/ 2141464 w 6226010"/>
              <a:gd name="connsiteY854" fmla="*/ 4179656 h 5756219"/>
              <a:gd name="connsiteX855" fmla="*/ 4269341 w 6226010"/>
              <a:gd name="connsiteY855" fmla="*/ 4176937 h 5756219"/>
              <a:gd name="connsiteX856" fmla="*/ 4280211 w 6226010"/>
              <a:gd name="connsiteY856" fmla="*/ 4214984 h 5756219"/>
              <a:gd name="connsiteX857" fmla="*/ 4310105 w 6226010"/>
              <a:gd name="connsiteY857" fmla="*/ 4223136 h 5756219"/>
              <a:gd name="connsiteX858" fmla="*/ 4323693 w 6226010"/>
              <a:gd name="connsiteY858" fmla="*/ 4206831 h 5756219"/>
              <a:gd name="connsiteX859" fmla="*/ 4285647 w 6226010"/>
              <a:gd name="connsiteY859" fmla="*/ 4206831 h 5756219"/>
              <a:gd name="connsiteX860" fmla="*/ 4293799 w 6226010"/>
              <a:gd name="connsiteY860" fmla="*/ 4193243 h 5756219"/>
              <a:gd name="connsiteX861" fmla="*/ 2467575 w 6226010"/>
              <a:gd name="connsiteY861" fmla="*/ 4174221 h 5756219"/>
              <a:gd name="connsiteX862" fmla="*/ 2481163 w 6226010"/>
              <a:gd name="connsiteY862" fmla="*/ 4174221 h 5756219"/>
              <a:gd name="connsiteX863" fmla="*/ 2481163 w 6226010"/>
              <a:gd name="connsiteY863" fmla="*/ 4179656 h 5756219"/>
              <a:gd name="connsiteX864" fmla="*/ 2459422 w 6226010"/>
              <a:gd name="connsiteY864" fmla="*/ 4190527 h 5756219"/>
              <a:gd name="connsiteX865" fmla="*/ 2456705 w 6226010"/>
              <a:gd name="connsiteY865" fmla="*/ 4195962 h 5756219"/>
              <a:gd name="connsiteX866" fmla="*/ 2445835 w 6226010"/>
              <a:gd name="connsiteY866" fmla="*/ 4198679 h 5756219"/>
              <a:gd name="connsiteX867" fmla="*/ 2445835 w 6226010"/>
              <a:gd name="connsiteY867" fmla="*/ 4204114 h 5756219"/>
              <a:gd name="connsiteX868" fmla="*/ 2426811 w 6226010"/>
              <a:gd name="connsiteY868" fmla="*/ 4214985 h 5756219"/>
              <a:gd name="connsiteX869" fmla="*/ 2415941 w 6226010"/>
              <a:gd name="connsiteY869" fmla="*/ 4228573 h 5756219"/>
              <a:gd name="connsiteX870" fmla="*/ 2410506 w 6226010"/>
              <a:gd name="connsiteY870" fmla="*/ 4231290 h 5756219"/>
              <a:gd name="connsiteX871" fmla="*/ 2402353 w 6226010"/>
              <a:gd name="connsiteY871" fmla="*/ 4244878 h 5756219"/>
              <a:gd name="connsiteX872" fmla="*/ 2391483 w 6226010"/>
              <a:gd name="connsiteY872" fmla="*/ 4244878 h 5756219"/>
              <a:gd name="connsiteX873" fmla="*/ 2386048 w 6226010"/>
              <a:gd name="connsiteY873" fmla="*/ 4250313 h 5756219"/>
              <a:gd name="connsiteX874" fmla="*/ 2361589 w 6226010"/>
              <a:gd name="connsiteY874" fmla="*/ 4250313 h 5756219"/>
              <a:gd name="connsiteX875" fmla="*/ 2361589 w 6226010"/>
              <a:gd name="connsiteY875" fmla="*/ 4247596 h 5756219"/>
              <a:gd name="connsiteX876" fmla="*/ 2309955 w 6226010"/>
              <a:gd name="connsiteY876" fmla="*/ 4244878 h 5756219"/>
              <a:gd name="connsiteX877" fmla="*/ 2307237 w 6226010"/>
              <a:gd name="connsiteY877" fmla="*/ 4242161 h 5756219"/>
              <a:gd name="connsiteX878" fmla="*/ 2280061 w 6226010"/>
              <a:gd name="connsiteY878" fmla="*/ 4239443 h 5756219"/>
              <a:gd name="connsiteX879" fmla="*/ 2277344 w 6226010"/>
              <a:gd name="connsiteY879" fmla="*/ 4234008 h 5756219"/>
              <a:gd name="connsiteX880" fmla="*/ 2296367 w 6226010"/>
              <a:gd name="connsiteY880" fmla="*/ 4201397 h 5756219"/>
              <a:gd name="connsiteX881" fmla="*/ 2320825 w 6226010"/>
              <a:gd name="connsiteY881" fmla="*/ 4201397 h 5756219"/>
              <a:gd name="connsiteX882" fmla="*/ 2328978 w 6226010"/>
              <a:gd name="connsiteY882" fmla="*/ 4198679 h 5756219"/>
              <a:gd name="connsiteX883" fmla="*/ 2337131 w 6226010"/>
              <a:gd name="connsiteY883" fmla="*/ 4201397 h 5756219"/>
              <a:gd name="connsiteX884" fmla="*/ 2350719 w 6226010"/>
              <a:gd name="connsiteY884" fmla="*/ 4195962 h 5756219"/>
              <a:gd name="connsiteX885" fmla="*/ 2369742 w 6226010"/>
              <a:gd name="connsiteY885" fmla="*/ 4195962 h 5756219"/>
              <a:gd name="connsiteX886" fmla="*/ 2383330 w 6226010"/>
              <a:gd name="connsiteY886" fmla="*/ 4190527 h 5756219"/>
              <a:gd name="connsiteX887" fmla="*/ 2434964 w 6226010"/>
              <a:gd name="connsiteY887" fmla="*/ 4190527 h 5756219"/>
              <a:gd name="connsiteX888" fmla="*/ 2451270 w 6226010"/>
              <a:gd name="connsiteY888" fmla="*/ 4190527 h 5756219"/>
              <a:gd name="connsiteX889" fmla="*/ 2467575 w 6226010"/>
              <a:gd name="connsiteY889" fmla="*/ 4174221 h 5756219"/>
              <a:gd name="connsiteX890" fmla="*/ 2484969 w 6226010"/>
              <a:gd name="connsiteY890" fmla="*/ 4173677 h 5756219"/>
              <a:gd name="connsiteX891" fmla="*/ 2483881 w 6226010"/>
              <a:gd name="connsiteY891" fmla="*/ 4174221 h 5756219"/>
              <a:gd name="connsiteX892" fmla="*/ 2481163 w 6226010"/>
              <a:gd name="connsiteY892" fmla="*/ 4174221 h 5756219"/>
              <a:gd name="connsiteX893" fmla="*/ 2119723 w 6226010"/>
              <a:gd name="connsiteY893" fmla="*/ 4166067 h 5756219"/>
              <a:gd name="connsiteX894" fmla="*/ 2122441 w 6226010"/>
              <a:gd name="connsiteY894" fmla="*/ 4166067 h 5756219"/>
              <a:gd name="connsiteX895" fmla="*/ 2117006 w 6226010"/>
              <a:gd name="connsiteY895" fmla="*/ 4206831 h 5756219"/>
              <a:gd name="connsiteX896" fmla="*/ 2117006 w 6226010"/>
              <a:gd name="connsiteY896" fmla="*/ 4225854 h 5756219"/>
              <a:gd name="connsiteX897" fmla="*/ 2100700 w 6226010"/>
              <a:gd name="connsiteY897" fmla="*/ 4258465 h 5756219"/>
              <a:gd name="connsiteX898" fmla="*/ 2070807 w 6226010"/>
              <a:gd name="connsiteY898" fmla="*/ 4263901 h 5756219"/>
              <a:gd name="connsiteX899" fmla="*/ 2054501 w 6226010"/>
              <a:gd name="connsiteY899" fmla="*/ 4261183 h 5756219"/>
              <a:gd name="connsiteX900" fmla="*/ 2032760 w 6226010"/>
              <a:gd name="connsiteY900" fmla="*/ 4261183 h 5756219"/>
              <a:gd name="connsiteX901" fmla="*/ 2008302 w 6226010"/>
              <a:gd name="connsiteY901" fmla="*/ 4258465 h 5756219"/>
              <a:gd name="connsiteX902" fmla="*/ 2008302 w 6226010"/>
              <a:gd name="connsiteY902" fmla="*/ 4255748 h 5756219"/>
              <a:gd name="connsiteX903" fmla="*/ 1991997 w 6226010"/>
              <a:gd name="connsiteY903" fmla="*/ 4255748 h 5756219"/>
              <a:gd name="connsiteX904" fmla="*/ 1970256 w 6226010"/>
              <a:gd name="connsiteY904" fmla="*/ 4272053 h 5756219"/>
              <a:gd name="connsiteX905" fmla="*/ 1967538 w 6226010"/>
              <a:gd name="connsiteY905" fmla="*/ 4277488 h 5756219"/>
              <a:gd name="connsiteX906" fmla="*/ 1956668 w 6226010"/>
              <a:gd name="connsiteY906" fmla="*/ 4282924 h 5756219"/>
              <a:gd name="connsiteX907" fmla="*/ 1956668 w 6226010"/>
              <a:gd name="connsiteY907" fmla="*/ 4255748 h 5756219"/>
              <a:gd name="connsiteX908" fmla="*/ 1989279 w 6226010"/>
              <a:gd name="connsiteY908" fmla="*/ 4231289 h 5756219"/>
              <a:gd name="connsiteX909" fmla="*/ 1994714 w 6226010"/>
              <a:gd name="connsiteY909" fmla="*/ 4223137 h 5756219"/>
              <a:gd name="connsiteX910" fmla="*/ 2002867 w 6226010"/>
              <a:gd name="connsiteY910" fmla="*/ 4223137 h 5756219"/>
              <a:gd name="connsiteX911" fmla="*/ 2005585 w 6226010"/>
              <a:gd name="connsiteY911" fmla="*/ 4217701 h 5756219"/>
              <a:gd name="connsiteX912" fmla="*/ 2016455 w 6226010"/>
              <a:gd name="connsiteY912" fmla="*/ 4214984 h 5756219"/>
              <a:gd name="connsiteX913" fmla="*/ 2019172 w 6226010"/>
              <a:gd name="connsiteY913" fmla="*/ 4209549 h 5756219"/>
              <a:gd name="connsiteX914" fmla="*/ 2027325 w 6226010"/>
              <a:gd name="connsiteY914" fmla="*/ 4206831 h 5756219"/>
              <a:gd name="connsiteX915" fmla="*/ 2027325 w 6226010"/>
              <a:gd name="connsiteY915" fmla="*/ 4204114 h 5756219"/>
              <a:gd name="connsiteX916" fmla="*/ 2040913 w 6226010"/>
              <a:gd name="connsiteY916" fmla="*/ 4201396 h 5756219"/>
              <a:gd name="connsiteX917" fmla="*/ 2046348 w 6226010"/>
              <a:gd name="connsiteY917" fmla="*/ 4193243 h 5756219"/>
              <a:gd name="connsiteX918" fmla="*/ 2070807 w 6226010"/>
              <a:gd name="connsiteY918" fmla="*/ 4179655 h 5756219"/>
              <a:gd name="connsiteX919" fmla="*/ 2119723 w 6226010"/>
              <a:gd name="connsiteY919" fmla="*/ 4166067 h 5756219"/>
              <a:gd name="connsiteX920" fmla="*/ 1646862 w 6226010"/>
              <a:gd name="connsiteY920" fmla="*/ 4152479 h 5756219"/>
              <a:gd name="connsiteX921" fmla="*/ 1652297 w 6226010"/>
              <a:gd name="connsiteY921" fmla="*/ 4152479 h 5756219"/>
              <a:gd name="connsiteX922" fmla="*/ 1660450 w 6226010"/>
              <a:gd name="connsiteY922" fmla="*/ 4168784 h 5756219"/>
              <a:gd name="connsiteX923" fmla="*/ 1668603 w 6226010"/>
              <a:gd name="connsiteY923" fmla="*/ 4201395 h 5756219"/>
              <a:gd name="connsiteX924" fmla="*/ 1671320 w 6226010"/>
              <a:gd name="connsiteY924" fmla="*/ 4214984 h 5756219"/>
              <a:gd name="connsiteX925" fmla="*/ 1676756 w 6226010"/>
              <a:gd name="connsiteY925" fmla="*/ 4225855 h 5756219"/>
              <a:gd name="connsiteX926" fmla="*/ 1676756 w 6226010"/>
              <a:gd name="connsiteY926" fmla="*/ 4231290 h 5756219"/>
              <a:gd name="connsiteX927" fmla="*/ 1684908 w 6226010"/>
              <a:gd name="connsiteY927" fmla="*/ 4239443 h 5756219"/>
              <a:gd name="connsiteX928" fmla="*/ 1687626 w 6226010"/>
              <a:gd name="connsiteY928" fmla="*/ 4255748 h 5756219"/>
              <a:gd name="connsiteX929" fmla="*/ 1693061 w 6226010"/>
              <a:gd name="connsiteY929" fmla="*/ 4263901 h 5756219"/>
              <a:gd name="connsiteX930" fmla="*/ 1693061 w 6226010"/>
              <a:gd name="connsiteY930" fmla="*/ 4269336 h 5756219"/>
              <a:gd name="connsiteX931" fmla="*/ 1701214 w 6226010"/>
              <a:gd name="connsiteY931" fmla="*/ 4280207 h 5756219"/>
              <a:gd name="connsiteX932" fmla="*/ 1701214 w 6226010"/>
              <a:gd name="connsiteY932" fmla="*/ 4293795 h 5756219"/>
              <a:gd name="connsiteX933" fmla="*/ 1706649 w 6226010"/>
              <a:gd name="connsiteY933" fmla="*/ 4304665 h 5756219"/>
              <a:gd name="connsiteX934" fmla="*/ 1709367 w 6226010"/>
              <a:gd name="connsiteY934" fmla="*/ 4320971 h 5756219"/>
              <a:gd name="connsiteX935" fmla="*/ 1712084 w 6226010"/>
              <a:gd name="connsiteY935" fmla="*/ 4320971 h 5756219"/>
              <a:gd name="connsiteX936" fmla="*/ 1712084 w 6226010"/>
              <a:gd name="connsiteY936" fmla="*/ 4326406 h 5756219"/>
              <a:gd name="connsiteX937" fmla="*/ 1728390 w 6226010"/>
              <a:gd name="connsiteY937" fmla="*/ 4337276 h 5756219"/>
              <a:gd name="connsiteX938" fmla="*/ 1731107 w 6226010"/>
              <a:gd name="connsiteY938" fmla="*/ 4342711 h 5756219"/>
              <a:gd name="connsiteX939" fmla="*/ 1736543 w 6226010"/>
              <a:gd name="connsiteY939" fmla="*/ 4342711 h 5756219"/>
              <a:gd name="connsiteX940" fmla="*/ 1736543 w 6226010"/>
              <a:gd name="connsiteY940" fmla="*/ 4348147 h 5756219"/>
              <a:gd name="connsiteX941" fmla="*/ 1741978 w 6226010"/>
              <a:gd name="connsiteY941" fmla="*/ 4348147 h 5756219"/>
              <a:gd name="connsiteX942" fmla="*/ 1744695 w 6226010"/>
              <a:gd name="connsiteY942" fmla="*/ 4353582 h 5756219"/>
              <a:gd name="connsiteX943" fmla="*/ 1750131 w 6226010"/>
              <a:gd name="connsiteY943" fmla="*/ 4356299 h 5756219"/>
              <a:gd name="connsiteX944" fmla="*/ 1750131 w 6226010"/>
              <a:gd name="connsiteY944" fmla="*/ 4361735 h 5756219"/>
              <a:gd name="connsiteX945" fmla="*/ 1752848 w 6226010"/>
              <a:gd name="connsiteY945" fmla="*/ 4361735 h 5756219"/>
              <a:gd name="connsiteX946" fmla="*/ 1758283 w 6226010"/>
              <a:gd name="connsiteY946" fmla="*/ 4367170 h 5756219"/>
              <a:gd name="connsiteX947" fmla="*/ 1766436 w 6226010"/>
              <a:gd name="connsiteY947" fmla="*/ 4369887 h 5756219"/>
              <a:gd name="connsiteX948" fmla="*/ 1769154 w 6226010"/>
              <a:gd name="connsiteY948" fmla="*/ 4375323 h 5756219"/>
              <a:gd name="connsiteX949" fmla="*/ 1777307 w 6226010"/>
              <a:gd name="connsiteY949" fmla="*/ 4378040 h 5756219"/>
              <a:gd name="connsiteX950" fmla="*/ 1790895 w 6226010"/>
              <a:gd name="connsiteY950" fmla="*/ 4416087 h 5756219"/>
              <a:gd name="connsiteX951" fmla="*/ 1790895 w 6226010"/>
              <a:gd name="connsiteY951" fmla="*/ 4432392 h 5756219"/>
              <a:gd name="connsiteX952" fmla="*/ 1796330 w 6226010"/>
              <a:gd name="connsiteY952" fmla="*/ 4459568 h 5756219"/>
              <a:gd name="connsiteX953" fmla="*/ 1761001 w 6226010"/>
              <a:gd name="connsiteY953" fmla="*/ 4500332 h 5756219"/>
              <a:gd name="connsiteX954" fmla="*/ 1695779 w 6226010"/>
              <a:gd name="connsiteY954" fmla="*/ 4445980 h 5756219"/>
              <a:gd name="connsiteX955" fmla="*/ 1622404 w 6226010"/>
              <a:gd name="connsiteY955" fmla="*/ 4456850 h 5756219"/>
              <a:gd name="connsiteX956" fmla="*/ 1655015 w 6226010"/>
              <a:gd name="connsiteY956" fmla="*/ 4326406 h 5756219"/>
              <a:gd name="connsiteX957" fmla="*/ 1641427 w 6226010"/>
              <a:gd name="connsiteY957" fmla="*/ 4323688 h 5756219"/>
              <a:gd name="connsiteX958" fmla="*/ 1638709 w 6226010"/>
              <a:gd name="connsiteY958" fmla="*/ 4214984 h 5756219"/>
              <a:gd name="connsiteX959" fmla="*/ 1625121 w 6226010"/>
              <a:gd name="connsiteY959" fmla="*/ 4236725 h 5756219"/>
              <a:gd name="connsiteX960" fmla="*/ 1622404 w 6226010"/>
              <a:gd name="connsiteY960" fmla="*/ 4236725 h 5756219"/>
              <a:gd name="connsiteX961" fmla="*/ 1630556 w 6226010"/>
              <a:gd name="connsiteY961" fmla="*/ 4201395 h 5756219"/>
              <a:gd name="connsiteX962" fmla="*/ 1630556 w 6226010"/>
              <a:gd name="connsiteY962" fmla="*/ 4185090 h 5756219"/>
              <a:gd name="connsiteX963" fmla="*/ 1646862 w 6226010"/>
              <a:gd name="connsiteY963" fmla="*/ 4152479 h 5756219"/>
              <a:gd name="connsiteX964" fmla="*/ 4364457 w 6226010"/>
              <a:gd name="connsiteY964" fmla="*/ 4147044 h 5756219"/>
              <a:gd name="connsiteX965" fmla="*/ 4364457 w 6226010"/>
              <a:gd name="connsiteY965" fmla="*/ 4168785 h 5756219"/>
              <a:gd name="connsiteX966" fmla="*/ 4380763 w 6226010"/>
              <a:gd name="connsiteY966" fmla="*/ 4160632 h 5756219"/>
              <a:gd name="connsiteX967" fmla="*/ 3271983 w 6226010"/>
              <a:gd name="connsiteY967" fmla="*/ 4147044 h 5756219"/>
              <a:gd name="connsiteX968" fmla="*/ 3288289 w 6226010"/>
              <a:gd name="connsiteY968" fmla="*/ 4163349 h 5756219"/>
              <a:gd name="connsiteX969" fmla="*/ 3296443 w 6226010"/>
              <a:gd name="connsiteY969" fmla="*/ 4147044 h 5756219"/>
              <a:gd name="connsiteX970" fmla="*/ 1337057 w 6226010"/>
              <a:gd name="connsiteY970" fmla="*/ 4136175 h 5756219"/>
              <a:gd name="connsiteX971" fmla="*/ 1361516 w 6226010"/>
              <a:gd name="connsiteY971" fmla="*/ 4138892 h 5756219"/>
              <a:gd name="connsiteX972" fmla="*/ 1318034 w 6226010"/>
              <a:gd name="connsiteY972" fmla="*/ 4141610 h 5756219"/>
              <a:gd name="connsiteX973" fmla="*/ 1337057 w 6226010"/>
              <a:gd name="connsiteY973" fmla="*/ 4136175 h 5756219"/>
              <a:gd name="connsiteX974" fmla="*/ 2663243 w 6226010"/>
              <a:gd name="connsiteY974" fmla="*/ 4136173 h 5756219"/>
              <a:gd name="connsiteX975" fmla="*/ 2655090 w 6226010"/>
              <a:gd name="connsiteY975" fmla="*/ 4138891 h 5756219"/>
              <a:gd name="connsiteX976" fmla="*/ 2668678 w 6226010"/>
              <a:gd name="connsiteY976" fmla="*/ 4147044 h 5756219"/>
              <a:gd name="connsiteX977" fmla="*/ 2676831 w 6226010"/>
              <a:gd name="connsiteY977" fmla="*/ 4144326 h 5756219"/>
              <a:gd name="connsiteX978" fmla="*/ 2663243 w 6226010"/>
              <a:gd name="connsiteY978" fmla="*/ 4136173 h 5756219"/>
              <a:gd name="connsiteX979" fmla="*/ 4342717 w 6226010"/>
              <a:gd name="connsiteY979" fmla="*/ 4133456 h 5756219"/>
              <a:gd name="connsiteX980" fmla="*/ 4318257 w 6226010"/>
              <a:gd name="connsiteY980" fmla="*/ 4163349 h 5756219"/>
              <a:gd name="connsiteX981" fmla="*/ 4318257 w 6226010"/>
              <a:gd name="connsiteY981" fmla="*/ 4185090 h 5756219"/>
              <a:gd name="connsiteX982" fmla="*/ 4342717 w 6226010"/>
              <a:gd name="connsiteY982" fmla="*/ 4187808 h 5756219"/>
              <a:gd name="connsiteX983" fmla="*/ 4329129 w 6226010"/>
              <a:gd name="connsiteY983" fmla="*/ 4166067 h 5756219"/>
              <a:gd name="connsiteX984" fmla="*/ 4348151 w 6226010"/>
              <a:gd name="connsiteY984" fmla="*/ 4141609 h 5756219"/>
              <a:gd name="connsiteX985" fmla="*/ 2674114 w 6226010"/>
              <a:gd name="connsiteY985" fmla="*/ 4130738 h 5756219"/>
              <a:gd name="connsiteX986" fmla="*/ 2695854 w 6226010"/>
              <a:gd name="connsiteY986" fmla="*/ 4144326 h 5756219"/>
              <a:gd name="connsiteX987" fmla="*/ 2701290 w 6226010"/>
              <a:gd name="connsiteY987" fmla="*/ 4147044 h 5756219"/>
              <a:gd name="connsiteX988" fmla="*/ 2674114 w 6226010"/>
              <a:gd name="connsiteY988" fmla="*/ 4130738 h 5756219"/>
              <a:gd name="connsiteX989" fmla="*/ 4595453 w 6226010"/>
              <a:gd name="connsiteY989" fmla="*/ 4122585 h 5756219"/>
              <a:gd name="connsiteX990" fmla="*/ 4606323 w 6226010"/>
              <a:gd name="connsiteY990" fmla="*/ 4130738 h 5756219"/>
              <a:gd name="connsiteX991" fmla="*/ 4590017 w 6226010"/>
              <a:gd name="connsiteY991" fmla="*/ 4152479 h 5756219"/>
              <a:gd name="connsiteX992" fmla="*/ 4614475 w 6226010"/>
              <a:gd name="connsiteY992" fmla="*/ 4171502 h 5756219"/>
              <a:gd name="connsiteX993" fmla="*/ 4600887 w 6226010"/>
              <a:gd name="connsiteY993" fmla="*/ 4185090 h 5756219"/>
              <a:gd name="connsiteX994" fmla="*/ 4606323 w 6226010"/>
              <a:gd name="connsiteY994" fmla="*/ 4223136 h 5756219"/>
              <a:gd name="connsiteX995" fmla="*/ 4584583 w 6226010"/>
              <a:gd name="connsiteY995" fmla="*/ 4223136 h 5756219"/>
              <a:gd name="connsiteX996" fmla="*/ 4584583 w 6226010"/>
              <a:gd name="connsiteY996" fmla="*/ 4214984 h 5756219"/>
              <a:gd name="connsiteX997" fmla="*/ 4577249 w 6226010"/>
              <a:gd name="connsiteY997" fmla="*/ 4211139 h 5756219"/>
              <a:gd name="connsiteX998" fmla="*/ 4581525 w 6226010"/>
              <a:gd name="connsiteY998" fmla="*/ 4209549 h 5756219"/>
              <a:gd name="connsiteX999" fmla="*/ 4587299 w 6226010"/>
              <a:gd name="connsiteY999" fmla="*/ 4182373 h 5756219"/>
              <a:gd name="connsiteX1000" fmla="*/ 4557407 w 6226010"/>
              <a:gd name="connsiteY1000" fmla="*/ 4152479 h 5756219"/>
              <a:gd name="connsiteX1001" fmla="*/ 4579147 w 6226010"/>
              <a:gd name="connsiteY1001" fmla="*/ 4136173 h 5756219"/>
              <a:gd name="connsiteX1002" fmla="*/ 2638785 w 6226010"/>
              <a:gd name="connsiteY1002" fmla="*/ 4119868 h 5756219"/>
              <a:gd name="connsiteX1003" fmla="*/ 2636067 w 6226010"/>
              <a:gd name="connsiteY1003" fmla="*/ 4122585 h 5756219"/>
              <a:gd name="connsiteX1004" fmla="*/ 2633350 w 6226010"/>
              <a:gd name="connsiteY1004" fmla="*/ 4125303 h 5756219"/>
              <a:gd name="connsiteX1005" fmla="*/ 2644220 w 6226010"/>
              <a:gd name="connsiteY1005" fmla="*/ 4130738 h 5756219"/>
              <a:gd name="connsiteX1006" fmla="*/ 2646938 w 6226010"/>
              <a:gd name="connsiteY1006" fmla="*/ 4125303 h 5756219"/>
              <a:gd name="connsiteX1007" fmla="*/ 2638785 w 6226010"/>
              <a:gd name="connsiteY1007" fmla="*/ 4119868 h 5756219"/>
              <a:gd name="connsiteX1008" fmla="*/ 4402503 w 6226010"/>
              <a:gd name="connsiteY1008" fmla="*/ 4108998 h 5756219"/>
              <a:gd name="connsiteX1009" fmla="*/ 4402503 w 6226010"/>
              <a:gd name="connsiteY1009" fmla="*/ 4125303 h 5756219"/>
              <a:gd name="connsiteX1010" fmla="*/ 4418809 w 6226010"/>
              <a:gd name="connsiteY1010" fmla="*/ 4122585 h 5756219"/>
              <a:gd name="connsiteX1011" fmla="*/ 4339999 w 6226010"/>
              <a:gd name="connsiteY1011" fmla="*/ 4108998 h 5756219"/>
              <a:gd name="connsiteX1012" fmla="*/ 4339999 w 6226010"/>
              <a:gd name="connsiteY1012" fmla="*/ 4125303 h 5756219"/>
              <a:gd name="connsiteX1013" fmla="*/ 4356305 w 6226010"/>
              <a:gd name="connsiteY1013" fmla="*/ 4122585 h 5756219"/>
              <a:gd name="connsiteX1014" fmla="*/ 4503055 w 6226010"/>
              <a:gd name="connsiteY1014" fmla="*/ 4103562 h 5756219"/>
              <a:gd name="connsiteX1015" fmla="*/ 4503055 w 6226010"/>
              <a:gd name="connsiteY1015" fmla="*/ 4125303 h 5756219"/>
              <a:gd name="connsiteX1016" fmla="*/ 4527513 w 6226010"/>
              <a:gd name="connsiteY1016" fmla="*/ 4122585 h 5756219"/>
              <a:gd name="connsiteX1017" fmla="*/ 2766512 w 6226010"/>
              <a:gd name="connsiteY1017" fmla="*/ 4092692 h 5756219"/>
              <a:gd name="connsiteX1018" fmla="*/ 2750206 w 6226010"/>
              <a:gd name="connsiteY1018" fmla="*/ 4100845 h 5756219"/>
              <a:gd name="connsiteX1019" fmla="*/ 2742054 w 6226010"/>
              <a:gd name="connsiteY1019" fmla="*/ 4100845 h 5756219"/>
              <a:gd name="connsiteX1020" fmla="*/ 2739336 w 6226010"/>
              <a:gd name="connsiteY1020" fmla="*/ 4106280 h 5756219"/>
              <a:gd name="connsiteX1021" fmla="*/ 2728466 w 6226010"/>
              <a:gd name="connsiteY1021" fmla="*/ 4108998 h 5756219"/>
              <a:gd name="connsiteX1022" fmla="*/ 2725748 w 6226010"/>
              <a:gd name="connsiteY1022" fmla="*/ 4114433 h 5756219"/>
              <a:gd name="connsiteX1023" fmla="*/ 2714878 w 6226010"/>
              <a:gd name="connsiteY1023" fmla="*/ 4114433 h 5756219"/>
              <a:gd name="connsiteX1024" fmla="*/ 2712160 w 6226010"/>
              <a:gd name="connsiteY1024" fmla="*/ 4119868 h 5756219"/>
              <a:gd name="connsiteX1025" fmla="*/ 2698572 w 6226010"/>
              <a:gd name="connsiteY1025" fmla="*/ 4125303 h 5756219"/>
              <a:gd name="connsiteX1026" fmla="*/ 2695854 w 6226010"/>
              <a:gd name="connsiteY1026" fmla="*/ 4128021 h 5756219"/>
              <a:gd name="connsiteX1027" fmla="*/ 2712160 w 6226010"/>
              <a:gd name="connsiteY1027" fmla="*/ 4136173 h 5756219"/>
              <a:gd name="connsiteX1028" fmla="*/ 2714878 w 6226010"/>
              <a:gd name="connsiteY1028" fmla="*/ 4136173 h 5756219"/>
              <a:gd name="connsiteX1029" fmla="*/ 2717595 w 6226010"/>
              <a:gd name="connsiteY1029" fmla="*/ 4130738 h 5756219"/>
              <a:gd name="connsiteX1030" fmla="*/ 2728466 w 6226010"/>
              <a:gd name="connsiteY1030" fmla="*/ 4128021 h 5756219"/>
              <a:gd name="connsiteX1031" fmla="*/ 2731183 w 6226010"/>
              <a:gd name="connsiteY1031" fmla="*/ 4122585 h 5756219"/>
              <a:gd name="connsiteX1032" fmla="*/ 2739336 w 6226010"/>
              <a:gd name="connsiteY1032" fmla="*/ 4122585 h 5756219"/>
              <a:gd name="connsiteX1033" fmla="*/ 2744771 w 6226010"/>
              <a:gd name="connsiteY1033" fmla="*/ 4117150 h 5756219"/>
              <a:gd name="connsiteX1034" fmla="*/ 2761077 w 6226010"/>
              <a:gd name="connsiteY1034" fmla="*/ 4108998 h 5756219"/>
              <a:gd name="connsiteX1035" fmla="*/ 2766512 w 6226010"/>
              <a:gd name="connsiteY1035" fmla="*/ 4100845 h 5756219"/>
              <a:gd name="connsiteX1036" fmla="*/ 2766512 w 6226010"/>
              <a:gd name="connsiteY1036" fmla="*/ 4092692 h 5756219"/>
              <a:gd name="connsiteX1037" fmla="*/ 2026403 w 6226010"/>
              <a:gd name="connsiteY1037" fmla="*/ 4083252 h 5756219"/>
              <a:gd name="connsiteX1038" fmla="*/ 2016455 w 6226010"/>
              <a:gd name="connsiteY1038" fmla="*/ 4095410 h 5756219"/>
              <a:gd name="connsiteX1039" fmla="*/ 2014417 w 6226010"/>
              <a:gd name="connsiteY1039" fmla="*/ 4099995 h 5756219"/>
              <a:gd name="connsiteX1040" fmla="*/ 2020531 w 6226010"/>
              <a:gd name="connsiteY1040" fmla="*/ 4092353 h 5756219"/>
              <a:gd name="connsiteX1041" fmla="*/ 4454137 w 6226010"/>
              <a:gd name="connsiteY1041" fmla="*/ 4073669 h 5756219"/>
              <a:gd name="connsiteX1042" fmla="*/ 4440549 w 6226010"/>
              <a:gd name="connsiteY1042" fmla="*/ 4089974 h 5756219"/>
              <a:gd name="connsiteX1043" fmla="*/ 4456855 w 6226010"/>
              <a:gd name="connsiteY1043" fmla="*/ 4098127 h 5756219"/>
              <a:gd name="connsiteX1044" fmla="*/ 4448703 w 6226010"/>
              <a:gd name="connsiteY1044" fmla="*/ 4114433 h 5756219"/>
              <a:gd name="connsiteX1045" fmla="*/ 4473161 w 6226010"/>
              <a:gd name="connsiteY1045" fmla="*/ 4111715 h 5756219"/>
              <a:gd name="connsiteX1046" fmla="*/ 4456855 w 6226010"/>
              <a:gd name="connsiteY1046" fmla="*/ 4098127 h 5756219"/>
              <a:gd name="connsiteX1047" fmla="*/ 4462291 w 6226010"/>
              <a:gd name="connsiteY1047" fmla="*/ 4084539 h 5756219"/>
              <a:gd name="connsiteX1048" fmla="*/ 3742128 w 6226010"/>
              <a:gd name="connsiteY1048" fmla="*/ 4073668 h 5756219"/>
              <a:gd name="connsiteX1049" fmla="*/ 3774740 w 6226010"/>
              <a:gd name="connsiteY1049" fmla="*/ 4084538 h 5756219"/>
              <a:gd name="connsiteX1050" fmla="*/ 3788328 w 6226010"/>
              <a:gd name="connsiteY1050" fmla="*/ 4206830 h 5756219"/>
              <a:gd name="connsiteX1051" fmla="*/ 3679623 w 6226010"/>
              <a:gd name="connsiteY1051" fmla="*/ 4244877 h 5756219"/>
              <a:gd name="connsiteX1052" fmla="*/ 3742128 w 6226010"/>
              <a:gd name="connsiteY1052" fmla="*/ 4073668 h 5756219"/>
              <a:gd name="connsiteX1053" fmla="*/ 1432172 w 6226010"/>
              <a:gd name="connsiteY1053" fmla="*/ 4065517 h 5756219"/>
              <a:gd name="connsiteX1054" fmla="*/ 1434890 w 6226010"/>
              <a:gd name="connsiteY1054" fmla="*/ 4065517 h 5756219"/>
              <a:gd name="connsiteX1055" fmla="*/ 1437608 w 6226010"/>
              <a:gd name="connsiteY1055" fmla="*/ 4073670 h 5756219"/>
              <a:gd name="connsiteX1056" fmla="*/ 1415867 w 6226010"/>
              <a:gd name="connsiteY1056" fmla="*/ 4098128 h 5756219"/>
              <a:gd name="connsiteX1057" fmla="*/ 1418584 w 6226010"/>
              <a:gd name="connsiteY1057" fmla="*/ 4079105 h 5756219"/>
              <a:gd name="connsiteX1058" fmla="*/ 1432172 w 6226010"/>
              <a:gd name="connsiteY1058" fmla="*/ 4065517 h 5756219"/>
              <a:gd name="connsiteX1059" fmla="*/ 758209 w 6226010"/>
              <a:gd name="connsiteY1059" fmla="*/ 4057364 h 5756219"/>
              <a:gd name="connsiteX1060" fmla="*/ 777232 w 6226010"/>
              <a:gd name="connsiteY1060" fmla="*/ 4073669 h 5756219"/>
              <a:gd name="connsiteX1061" fmla="*/ 760926 w 6226010"/>
              <a:gd name="connsiteY1061" fmla="*/ 4106280 h 5756219"/>
              <a:gd name="connsiteX1062" fmla="*/ 758209 w 6226010"/>
              <a:gd name="connsiteY1062" fmla="*/ 4057364 h 5756219"/>
              <a:gd name="connsiteX1063" fmla="*/ 4494901 w 6226010"/>
              <a:gd name="connsiteY1063" fmla="*/ 4054646 h 5756219"/>
              <a:gd name="connsiteX1064" fmla="*/ 4494901 w 6226010"/>
              <a:gd name="connsiteY1064" fmla="*/ 4070951 h 5756219"/>
              <a:gd name="connsiteX1065" fmla="*/ 4524795 w 6226010"/>
              <a:gd name="connsiteY1065" fmla="*/ 4054646 h 5756219"/>
              <a:gd name="connsiteX1066" fmla="*/ 766361 w 6226010"/>
              <a:gd name="connsiteY1066" fmla="*/ 4045609 h 5756219"/>
              <a:gd name="connsiteX1067" fmla="*/ 769079 w 6226010"/>
              <a:gd name="connsiteY1067" fmla="*/ 4054646 h 5756219"/>
              <a:gd name="connsiteX1068" fmla="*/ 766361 w 6226010"/>
              <a:gd name="connsiteY1068" fmla="*/ 4051928 h 5756219"/>
              <a:gd name="connsiteX1069" fmla="*/ 764649 w 6226010"/>
              <a:gd name="connsiteY1069" fmla="*/ 4039917 h 5756219"/>
              <a:gd name="connsiteX1070" fmla="*/ 766361 w 6226010"/>
              <a:gd name="connsiteY1070" fmla="*/ 4041058 h 5756219"/>
              <a:gd name="connsiteX1071" fmla="*/ 766361 w 6226010"/>
              <a:gd name="connsiteY1071" fmla="*/ 4045474 h 5756219"/>
              <a:gd name="connsiteX1072" fmla="*/ 766361 w 6226010"/>
              <a:gd name="connsiteY1072" fmla="*/ 4045609 h 5756219"/>
              <a:gd name="connsiteX1073" fmla="*/ 2532799 w 6226010"/>
              <a:gd name="connsiteY1073" fmla="*/ 4038340 h 5756219"/>
              <a:gd name="connsiteX1074" fmla="*/ 2551822 w 6226010"/>
              <a:gd name="connsiteY1074" fmla="*/ 4051928 h 5756219"/>
              <a:gd name="connsiteX1075" fmla="*/ 2554540 w 6226010"/>
              <a:gd name="connsiteY1075" fmla="*/ 4051928 h 5756219"/>
              <a:gd name="connsiteX1076" fmla="*/ 2532799 w 6226010"/>
              <a:gd name="connsiteY1076" fmla="*/ 4038340 h 5756219"/>
              <a:gd name="connsiteX1077" fmla="*/ 2255603 w 6226010"/>
              <a:gd name="connsiteY1077" fmla="*/ 4030187 h 5756219"/>
              <a:gd name="connsiteX1078" fmla="*/ 2209404 w 6226010"/>
              <a:gd name="connsiteY1078" fmla="*/ 4060081 h 5756219"/>
              <a:gd name="connsiteX1079" fmla="*/ 2184946 w 6226010"/>
              <a:gd name="connsiteY1079" fmla="*/ 4057363 h 5756219"/>
              <a:gd name="connsiteX1080" fmla="*/ 2168640 w 6226010"/>
              <a:gd name="connsiteY1080" fmla="*/ 4070951 h 5756219"/>
              <a:gd name="connsiteX1081" fmla="*/ 2146899 w 6226010"/>
              <a:gd name="connsiteY1081" fmla="*/ 4079104 h 5756219"/>
              <a:gd name="connsiteX1082" fmla="*/ 2144182 w 6226010"/>
              <a:gd name="connsiteY1082" fmla="*/ 4084539 h 5756219"/>
              <a:gd name="connsiteX1083" fmla="*/ 2119723 w 6226010"/>
              <a:gd name="connsiteY1083" fmla="*/ 4089974 h 5756219"/>
              <a:gd name="connsiteX1084" fmla="*/ 2108853 w 6226010"/>
              <a:gd name="connsiteY1084" fmla="*/ 4079104 h 5756219"/>
              <a:gd name="connsiteX1085" fmla="*/ 2089830 w 6226010"/>
              <a:gd name="connsiteY1085" fmla="*/ 4076386 h 5756219"/>
              <a:gd name="connsiteX1086" fmla="*/ 2084395 w 6226010"/>
              <a:gd name="connsiteY1086" fmla="*/ 4070951 h 5756219"/>
              <a:gd name="connsiteX1087" fmla="*/ 2046348 w 6226010"/>
              <a:gd name="connsiteY1087" fmla="*/ 4070951 h 5756219"/>
              <a:gd name="connsiteX1088" fmla="*/ 2038536 w 6226010"/>
              <a:gd name="connsiteY1088" fmla="*/ 4070612 h 5756219"/>
              <a:gd name="connsiteX1089" fmla="*/ 2037196 w 6226010"/>
              <a:gd name="connsiteY1089" fmla="*/ 4070060 h 5756219"/>
              <a:gd name="connsiteX1090" fmla="*/ 2027573 w 6226010"/>
              <a:gd name="connsiteY1090" fmla="*/ 4081822 h 5756219"/>
              <a:gd name="connsiteX1091" fmla="*/ 2030043 w 6226010"/>
              <a:gd name="connsiteY1091" fmla="*/ 4081822 h 5756219"/>
              <a:gd name="connsiteX1092" fmla="*/ 2030043 w 6226010"/>
              <a:gd name="connsiteY1092" fmla="*/ 4084539 h 5756219"/>
              <a:gd name="connsiteX1093" fmla="*/ 2040913 w 6226010"/>
              <a:gd name="connsiteY1093" fmla="*/ 4089974 h 5756219"/>
              <a:gd name="connsiteX1094" fmla="*/ 2049066 w 6226010"/>
              <a:gd name="connsiteY1094" fmla="*/ 4087257 h 5756219"/>
              <a:gd name="connsiteX1095" fmla="*/ 2059936 w 6226010"/>
              <a:gd name="connsiteY1095" fmla="*/ 4089974 h 5756219"/>
              <a:gd name="connsiteX1096" fmla="*/ 2078960 w 6226010"/>
              <a:gd name="connsiteY1096" fmla="*/ 4084539 h 5756219"/>
              <a:gd name="connsiteX1097" fmla="*/ 2081677 w 6226010"/>
              <a:gd name="connsiteY1097" fmla="*/ 4089974 h 5756219"/>
              <a:gd name="connsiteX1098" fmla="*/ 2106135 w 6226010"/>
              <a:gd name="connsiteY1098" fmla="*/ 4092692 h 5756219"/>
              <a:gd name="connsiteX1099" fmla="*/ 2111571 w 6226010"/>
              <a:gd name="connsiteY1099" fmla="*/ 4103562 h 5756219"/>
              <a:gd name="connsiteX1100" fmla="*/ 2133311 w 6226010"/>
              <a:gd name="connsiteY1100" fmla="*/ 4103562 h 5756219"/>
              <a:gd name="connsiteX1101" fmla="*/ 2136029 w 6226010"/>
              <a:gd name="connsiteY1101" fmla="*/ 4098127 h 5756219"/>
              <a:gd name="connsiteX1102" fmla="*/ 2165922 w 6226010"/>
              <a:gd name="connsiteY1102" fmla="*/ 4087257 h 5756219"/>
              <a:gd name="connsiteX1103" fmla="*/ 2182228 w 6226010"/>
              <a:gd name="connsiteY1103" fmla="*/ 4073669 h 5756219"/>
              <a:gd name="connsiteX1104" fmla="*/ 2206686 w 6226010"/>
              <a:gd name="connsiteY1104" fmla="*/ 4076386 h 5756219"/>
              <a:gd name="connsiteX1105" fmla="*/ 2225710 w 6226010"/>
              <a:gd name="connsiteY1105" fmla="*/ 4060081 h 5756219"/>
              <a:gd name="connsiteX1106" fmla="*/ 2239298 w 6226010"/>
              <a:gd name="connsiteY1106" fmla="*/ 4051928 h 5756219"/>
              <a:gd name="connsiteX1107" fmla="*/ 2244733 w 6226010"/>
              <a:gd name="connsiteY1107" fmla="*/ 4043775 h 5756219"/>
              <a:gd name="connsiteX1108" fmla="*/ 2250168 w 6226010"/>
              <a:gd name="connsiteY1108" fmla="*/ 4043775 h 5756219"/>
              <a:gd name="connsiteX1109" fmla="*/ 2258321 w 6226010"/>
              <a:gd name="connsiteY1109" fmla="*/ 4035623 h 5756219"/>
              <a:gd name="connsiteX1110" fmla="*/ 2255603 w 6226010"/>
              <a:gd name="connsiteY1110" fmla="*/ 4030187 h 5756219"/>
              <a:gd name="connsiteX1111" fmla="*/ 1475654 w 6226010"/>
              <a:gd name="connsiteY1111" fmla="*/ 4027470 h 5756219"/>
              <a:gd name="connsiteX1112" fmla="*/ 1478371 w 6226010"/>
              <a:gd name="connsiteY1112" fmla="*/ 4032905 h 5756219"/>
              <a:gd name="connsiteX1113" fmla="*/ 1486524 w 6226010"/>
              <a:gd name="connsiteY1113" fmla="*/ 4032905 h 5756219"/>
              <a:gd name="connsiteX1114" fmla="*/ 1491959 w 6226010"/>
              <a:gd name="connsiteY1114" fmla="*/ 4032905 h 5756219"/>
              <a:gd name="connsiteX1115" fmla="*/ 1500112 w 6226010"/>
              <a:gd name="connsiteY1115" fmla="*/ 4084539 h 5756219"/>
              <a:gd name="connsiteX1116" fmla="*/ 1500112 w 6226010"/>
              <a:gd name="connsiteY1116" fmla="*/ 4141609 h 5756219"/>
              <a:gd name="connsiteX1117" fmla="*/ 1502830 w 6226010"/>
              <a:gd name="connsiteY1117" fmla="*/ 4144326 h 5756219"/>
              <a:gd name="connsiteX1118" fmla="*/ 1502830 w 6226010"/>
              <a:gd name="connsiteY1118" fmla="*/ 4149761 h 5756219"/>
              <a:gd name="connsiteX1119" fmla="*/ 1510982 w 6226010"/>
              <a:gd name="connsiteY1119" fmla="*/ 4152479 h 5756219"/>
              <a:gd name="connsiteX1120" fmla="*/ 1510982 w 6226010"/>
              <a:gd name="connsiteY1120" fmla="*/ 4157914 h 5756219"/>
              <a:gd name="connsiteX1121" fmla="*/ 1516418 w 6226010"/>
              <a:gd name="connsiteY1121" fmla="*/ 4160632 h 5756219"/>
              <a:gd name="connsiteX1122" fmla="*/ 1516418 w 6226010"/>
              <a:gd name="connsiteY1122" fmla="*/ 4166067 h 5756219"/>
              <a:gd name="connsiteX1123" fmla="*/ 1524570 w 6226010"/>
              <a:gd name="connsiteY1123" fmla="*/ 4168784 h 5756219"/>
              <a:gd name="connsiteX1124" fmla="*/ 1524570 w 6226010"/>
              <a:gd name="connsiteY1124" fmla="*/ 4174220 h 5756219"/>
              <a:gd name="connsiteX1125" fmla="*/ 1535441 w 6226010"/>
              <a:gd name="connsiteY1125" fmla="*/ 4185090 h 5756219"/>
              <a:gd name="connsiteX1126" fmla="*/ 1535441 w 6226010"/>
              <a:gd name="connsiteY1126" fmla="*/ 4190525 h 5756219"/>
              <a:gd name="connsiteX1127" fmla="*/ 1540876 w 6226010"/>
              <a:gd name="connsiteY1127" fmla="*/ 4193243 h 5756219"/>
              <a:gd name="connsiteX1128" fmla="*/ 1459348 w 6226010"/>
              <a:gd name="connsiteY1128" fmla="*/ 4155196 h 5756219"/>
              <a:gd name="connsiteX1129" fmla="*/ 1410432 w 6226010"/>
              <a:gd name="connsiteY1129" fmla="*/ 4166067 h 5756219"/>
              <a:gd name="connsiteX1130" fmla="*/ 1413149 w 6226010"/>
              <a:gd name="connsiteY1130" fmla="*/ 4136173 h 5756219"/>
              <a:gd name="connsiteX1131" fmla="*/ 1391408 w 6226010"/>
              <a:gd name="connsiteY1131" fmla="*/ 4130738 h 5756219"/>
              <a:gd name="connsiteX1132" fmla="*/ 1407714 w 6226010"/>
              <a:gd name="connsiteY1132" fmla="*/ 4130738 h 5756219"/>
              <a:gd name="connsiteX1133" fmla="*/ 1434890 w 6226010"/>
              <a:gd name="connsiteY1133" fmla="*/ 4111715 h 5756219"/>
              <a:gd name="connsiteX1134" fmla="*/ 1456631 w 6226010"/>
              <a:gd name="connsiteY1134" fmla="*/ 4079104 h 5756219"/>
              <a:gd name="connsiteX1135" fmla="*/ 1453913 w 6226010"/>
              <a:gd name="connsiteY1135" fmla="*/ 4043775 h 5756219"/>
              <a:gd name="connsiteX1136" fmla="*/ 1475654 w 6226010"/>
              <a:gd name="connsiteY1136" fmla="*/ 4027470 h 5756219"/>
              <a:gd name="connsiteX1137" fmla="*/ 842455 w 6226010"/>
              <a:gd name="connsiteY1137" fmla="*/ 4024753 h 5756219"/>
              <a:gd name="connsiteX1138" fmla="*/ 858760 w 6226010"/>
              <a:gd name="connsiteY1138" fmla="*/ 4046494 h 5756219"/>
              <a:gd name="connsiteX1139" fmla="*/ 853325 w 6226010"/>
              <a:gd name="connsiteY1139" fmla="*/ 4049211 h 5756219"/>
              <a:gd name="connsiteX1140" fmla="*/ 845172 w 6226010"/>
              <a:gd name="connsiteY1140" fmla="*/ 4038341 h 5756219"/>
              <a:gd name="connsiteX1141" fmla="*/ 845172 w 6226010"/>
              <a:gd name="connsiteY1141" fmla="*/ 4032906 h 5756219"/>
              <a:gd name="connsiteX1142" fmla="*/ 842455 w 6226010"/>
              <a:gd name="connsiteY1142" fmla="*/ 4030188 h 5756219"/>
              <a:gd name="connsiteX1143" fmla="*/ 842455 w 6226010"/>
              <a:gd name="connsiteY1143" fmla="*/ 4024753 h 5756219"/>
              <a:gd name="connsiteX1144" fmla="*/ 4454137 w 6226010"/>
              <a:gd name="connsiteY1144" fmla="*/ 4024752 h 5756219"/>
              <a:gd name="connsiteX1145" fmla="*/ 4462291 w 6226010"/>
              <a:gd name="connsiteY1145" fmla="*/ 4038340 h 5756219"/>
              <a:gd name="connsiteX1146" fmla="*/ 4454137 w 6226010"/>
              <a:gd name="connsiteY1146" fmla="*/ 4046493 h 5756219"/>
              <a:gd name="connsiteX1147" fmla="*/ 4440549 w 6226010"/>
              <a:gd name="connsiteY1147" fmla="*/ 4038340 h 5756219"/>
              <a:gd name="connsiteX1148" fmla="*/ 4440549 w 6226010"/>
              <a:gd name="connsiteY1148" fmla="*/ 4060081 h 5756219"/>
              <a:gd name="connsiteX1149" fmla="*/ 4470443 w 6226010"/>
              <a:gd name="connsiteY1149" fmla="*/ 4068234 h 5756219"/>
              <a:gd name="connsiteX1150" fmla="*/ 4462291 w 6226010"/>
              <a:gd name="connsiteY1150" fmla="*/ 4038340 h 5756219"/>
              <a:gd name="connsiteX1151" fmla="*/ 4478597 w 6226010"/>
              <a:gd name="connsiteY1151" fmla="*/ 4024752 h 5756219"/>
              <a:gd name="connsiteX1152" fmla="*/ 1559305 w 6226010"/>
              <a:gd name="connsiteY1152" fmla="*/ 4023648 h 5756219"/>
              <a:gd name="connsiteX1153" fmla="*/ 1568052 w 6226010"/>
              <a:gd name="connsiteY1153" fmla="*/ 4024752 h 5756219"/>
              <a:gd name="connsiteX1154" fmla="*/ 1573487 w 6226010"/>
              <a:gd name="connsiteY1154" fmla="*/ 4030187 h 5756219"/>
              <a:gd name="connsiteX1155" fmla="*/ 1600663 w 6226010"/>
              <a:gd name="connsiteY1155" fmla="*/ 4032905 h 5756219"/>
              <a:gd name="connsiteX1156" fmla="*/ 1606098 w 6226010"/>
              <a:gd name="connsiteY1156" fmla="*/ 4041058 h 5756219"/>
              <a:gd name="connsiteX1157" fmla="*/ 1608816 w 6226010"/>
              <a:gd name="connsiteY1157" fmla="*/ 4051928 h 5756219"/>
              <a:gd name="connsiteX1158" fmla="*/ 1614251 w 6226010"/>
              <a:gd name="connsiteY1158" fmla="*/ 4051928 h 5756219"/>
              <a:gd name="connsiteX1159" fmla="*/ 1614251 w 6226010"/>
              <a:gd name="connsiteY1159" fmla="*/ 4057363 h 5756219"/>
              <a:gd name="connsiteX1160" fmla="*/ 1630558 w 6226010"/>
              <a:gd name="connsiteY1160" fmla="*/ 4095410 h 5756219"/>
              <a:gd name="connsiteX1161" fmla="*/ 1622404 w 6226010"/>
              <a:gd name="connsiteY1161" fmla="*/ 4111715 h 5756219"/>
              <a:gd name="connsiteX1162" fmla="*/ 1606098 w 6226010"/>
              <a:gd name="connsiteY1162" fmla="*/ 4130739 h 5756219"/>
              <a:gd name="connsiteX1163" fmla="*/ 1581640 w 6226010"/>
              <a:gd name="connsiteY1163" fmla="*/ 4193243 h 5756219"/>
              <a:gd name="connsiteX1164" fmla="*/ 1576205 w 6226010"/>
              <a:gd name="connsiteY1164" fmla="*/ 4190526 h 5756219"/>
              <a:gd name="connsiteX1165" fmla="*/ 1565334 w 6226010"/>
              <a:gd name="connsiteY1165" fmla="*/ 4174220 h 5756219"/>
              <a:gd name="connsiteX1166" fmla="*/ 1565334 w 6226010"/>
              <a:gd name="connsiteY1166" fmla="*/ 4171503 h 5756219"/>
              <a:gd name="connsiteX1167" fmla="*/ 1559899 w 6226010"/>
              <a:gd name="connsiteY1167" fmla="*/ 4163350 h 5756219"/>
              <a:gd name="connsiteX1168" fmla="*/ 1551746 w 6226010"/>
              <a:gd name="connsiteY1168" fmla="*/ 4157915 h 5756219"/>
              <a:gd name="connsiteX1169" fmla="*/ 1551746 w 6226010"/>
              <a:gd name="connsiteY1169" fmla="*/ 4155197 h 5756219"/>
              <a:gd name="connsiteX1170" fmla="*/ 1543593 w 6226010"/>
              <a:gd name="connsiteY1170" fmla="*/ 4152479 h 5756219"/>
              <a:gd name="connsiteX1171" fmla="*/ 1540876 w 6226010"/>
              <a:gd name="connsiteY1171" fmla="*/ 4147044 h 5756219"/>
              <a:gd name="connsiteX1172" fmla="*/ 1532723 w 6226010"/>
              <a:gd name="connsiteY1172" fmla="*/ 4144327 h 5756219"/>
              <a:gd name="connsiteX1173" fmla="*/ 1527288 w 6226010"/>
              <a:gd name="connsiteY1173" fmla="*/ 4136174 h 5756219"/>
              <a:gd name="connsiteX1174" fmla="*/ 1524570 w 6226010"/>
              <a:gd name="connsiteY1174" fmla="*/ 4100845 h 5756219"/>
              <a:gd name="connsiteX1175" fmla="*/ 1524570 w 6226010"/>
              <a:gd name="connsiteY1175" fmla="*/ 4068234 h 5756219"/>
              <a:gd name="connsiteX1176" fmla="*/ 1521853 w 6226010"/>
              <a:gd name="connsiteY1176" fmla="*/ 4032905 h 5756219"/>
              <a:gd name="connsiteX1177" fmla="*/ 1521853 w 6226010"/>
              <a:gd name="connsiteY1177" fmla="*/ 4027470 h 5756219"/>
              <a:gd name="connsiteX1178" fmla="*/ 1559305 w 6226010"/>
              <a:gd name="connsiteY1178" fmla="*/ 4023648 h 5756219"/>
              <a:gd name="connsiteX1179" fmla="*/ 1220200 w 6226010"/>
              <a:gd name="connsiteY1179" fmla="*/ 4022036 h 5756219"/>
              <a:gd name="connsiteX1180" fmla="*/ 1222917 w 6226010"/>
              <a:gd name="connsiteY1180" fmla="*/ 4024753 h 5756219"/>
              <a:gd name="connsiteX1181" fmla="*/ 1220200 w 6226010"/>
              <a:gd name="connsiteY1181" fmla="*/ 4024753 h 5756219"/>
              <a:gd name="connsiteX1182" fmla="*/ 1220200 w 6226010"/>
              <a:gd name="connsiteY1182" fmla="*/ 4022036 h 5756219"/>
              <a:gd name="connsiteX1183" fmla="*/ 4641651 w 6226010"/>
              <a:gd name="connsiteY1183" fmla="*/ 4022035 h 5756219"/>
              <a:gd name="connsiteX1184" fmla="*/ 4625345 w 6226010"/>
              <a:gd name="connsiteY1184" fmla="*/ 4024752 h 5756219"/>
              <a:gd name="connsiteX1185" fmla="*/ 4641651 w 6226010"/>
              <a:gd name="connsiteY1185" fmla="*/ 4038340 h 5756219"/>
              <a:gd name="connsiteX1186" fmla="*/ 4663393 w 6226010"/>
              <a:gd name="connsiteY1186" fmla="*/ 4046493 h 5756219"/>
              <a:gd name="connsiteX1187" fmla="*/ 4663393 w 6226010"/>
              <a:gd name="connsiteY1187" fmla="*/ 4022035 h 5756219"/>
              <a:gd name="connsiteX1188" fmla="*/ 4641651 w 6226010"/>
              <a:gd name="connsiteY1188" fmla="*/ 4038340 h 5756219"/>
              <a:gd name="connsiteX1189" fmla="*/ 682116 w 6226010"/>
              <a:gd name="connsiteY1189" fmla="*/ 4013883 h 5756219"/>
              <a:gd name="connsiteX1190" fmla="*/ 690269 w 6226010"/>
              <a:gd name="connsiteY1190" fmla="*/ 4027471 h 5756219"/>
              <a:gd name="connsiteX1191" fmla="*/ 679399 w 6226010"/>
              <a:gd name="connsiteY1191" fmla="*/ 4030188 h 5756219"/>
              <a:gd name="connsiteX1192" fmla="*/ 682116 w 6226010"/>
              <a:gd name="connsiteY1192" fmla="*/ 4013883 h 5756219"/>
              <a:gd name="connsiteX1193" fmla="*/ 3774740 w 6226010"/>
              <a:gd name="connsiteY1193" fmla="*/ 4011165 h 5756219"/>
              <a:gd name="connsiteX1194" fmla="*/ 3777458 w 6226010"/>
              <a:gd name="connsiteY1194" fmla="*/ 4073669 h 5756219"/>
              <a:gd name="connsiteX1195" fmla="*/ 3755716 w 6226010"/>
              <a:gd name="connsiteY1195" fmla="*/ 4054646 h 5756219"/>
              <a:gd name="connsiteX1196" fmla="*/ 3774740 w 6226010"/>
              <a:gd name="connsiteY1196" fmla="*/ 4011165 h 5756219"/>
              <a:gd name="connsiteX1197" fmla="*/ 4315541 w 6226010"/>
              <a:gd name="connsiteY1197" fmla="*/ 4008447 h 5756219"/>
              <a:gd name="connsiteX1198" fmla="*/ 4331845 w 6226010"/>
              <a:gd name="connsiteY1198" fmla="*/ 4024752 h 5756219"/>
              <a:gd name="connsiteX1199" fmla="*/ 4339999 w 6226010"/>
              <a:gd name="connsiteY1199" fmla="*/ 4008447 h 5756219"/>
              <a:gd name="connsiteX1200" fmla="*/ 3861702 w 6226010"/>
              <a:gd name="connsiteY1200" fmla="*/ 3992142 h 5756219"/>
              <a:gd name="connsiteX1201" fmla="*/ 3872572 w 6226010"/>
              <a:gd name="connsiteY1201" fmla="*/ 3997577 h 5756219"/>
              <a:gd name="connsiteX1202" fmla="*/ 3842678 w 6226010"/>
              <a:gd name="connsiteY1202" fmla="*/ 4027470 h 5756219"/>
              <a:gd name="connsiteX1203" fmla="*/ 3842678 w 6226010"/>
              <a:gd name="connsiteY1203" fmla="*/ 4011165 h 5756219"/>
              <a:gd name="connsiteX1204" fmla="*/ 3861702 w 6226010"/>
              <a:gd name="connsiteY1204" fmla="*/ 3992142 h 5756219"/>
              <a:gd name="connsiteX1205" fmla="*/ 4630781 w 6226010"/>
              <a:gd name="connsiteY1205" fmla="*/ 3992141 h 5756219"/>
              <a:gd name="connsiteX1206" fmla="*/ 4617193 w 6226010"/>
              <a:gd name="connsiteY1206" fmla="*/ 4008447 h 5756219"/>
              <a:gd name="connsiteX1207" fmla="*/ 4633499 w 6226010"/>
              <a:gd name="connsiteY1207" fmla="*/ 4016599 h 5756219"/>
              <a:gd name="connsiteX1208" fmla="*/ 4432397 w 6226010"/>
              <a:gd name="connsiteY1208" fmla="*/ 3992141 h 5756219"/>
              <a:gd name="connsiteX1209" fmla="*/ 4407939 w 6226010"/>
              <a:gd name="connsiteY1209" fmla="*/ 3994859 h 5756219"/>
              <a:gd name="connsiteX1210" fmla="*/ 4424245 w 6226010"/>
              <a:gd name="connsiteY1210" fmla="*/ 4008447 h 5756219"/>
              <a:gd name="connsiteX1211" fmla="*/ 623306 w 6226010"/>
              <a:gd name="connsiteY1211" fmla="*/ 3988829 h 5756219"/>
              <a:gd name="connsiteX1212" fmla="*/ 603306 w 6226010"/>
              <a:gd name="connsiteY1212" fmla="*/ 3992141 h 5756219"/>
              <a:gd name="connsiteX1213" fmla="*/ 635917 w 6226010"/>
              <a:gd name="connsiteY1213" fmla="*/ 4049211 h 5756219"/>
              <a:gd name="connsiteX1214" fmla="*/ 623306 w 6226010"/>
              <a:gd name="connsiteY1214" fmla="*/ 3988829 h 5756219"/>
              <a:gd name="connsiteX1215" fmla="*/ 1478371 w 6226010"/>
              <a:gd name="connsiteY1215" fmla="*/ 3986707 h 5756219"/>
              <a:gd name="connsiteX1216" fmla="*/ 1483806 w 6226010"/>
              <a:gd name="connsiteY1216" fmla="*/ 4008448 h 5756219"/>
              <a:gd name="connsiteX1217" fmla="*/ 1456631 w 6226010"/>
              <a:gd name="connsiteY1217" fmla="*/ 4019318 h 5756219"/>
              <a:gd name="connsiteX1218" fmla="*/ 1456631 w 6226010"/>
              <a:gd name="connsiteY1218" fmla="*/ 4003012 h 5756219"/>
              <a:gd name="connsiteX1219" fmla="*/ 1464783 w 6226010"/>
              <a:gd name="connsiteY1219" fmla="*/ 4000295 h 5756219"/>
              <a:gd name="connsiteX1220" fmla="*/ 1478371 w 6226010"/>
              <a:gd name="connsiteY1220" fmla="*/ 3986707 h 5756219"/>
              <a:gd name="connsiteX1221" fmla="*/ 788103 w 6226010"/>
              <a:gd name="connsiteY1221" fmla="*/ 3986707 h 5756219"/>
              <a:gd name="connsiteX1222" fmla="*/ 820714 w 6226010"/>
              <a:gd name="connsiteY1222" fmla="*/ 4008448 h 5756219"/>
              <a:gd name="connsiteX1223" fmla="*/ 842455 w 6226010"/>
              <a:gd name="connsiteY1223" fmla="*/ 4049211 h 5756219"/>
              <a:gd name="connsiteX1224" fmla="*/ 788103 w 6226010"/>
              <a:gd name="connsiteY1224" fmla="*/ 4005730 h 5756219"/>
              <a:gd name="connsiteX1225" fmla="*/ 788103 w 6226010"/>
              <a:gd name="connsiteY1225" fmla="*/ 3994860 h 5756219"/>
              <a:gd name="connsiteX1226" fmla="*/ 788103 w 6226010"/>
              <a:gd name="connsiteY1226" fmla="*/ 3986707 h 5756219"/>
              <a:gd name="connsiteX1227" fmla="*/ 4503055 w 6226010"/>
              <a:gd name="connsiteY1227" fmla="*/ 3978553 h 5756219"/>
              <a:gd name="connsiteX1228" fmla="*/ 4503055 w 6226010"/>
              <a:gd name="connsiteY1228" fmla="*/ 4000294 h 5756219"/>
              <a:gd name="connsiteX1229" fmla="*/ 4519359 w 6226010"/>
              <a:gd name="connsiteY1229" fmla="*/ 3992141 h 5756219"/>
              <a:gd name="connsiteX1230" fmla="*/ 4478597 w 6226010"/>
              <a:gd name="connsiteY1230" fmla="*/ 3978553 h 5756219"/>
              <a:gd name="connsiteX1231" fmla="*/ 4478597 w 6226010"/>
              <a:gd name="connsiteY1231" fmla="*/ 3992141 h 5756219"/>
              <a:gd name="connsiteX1232" fmla="*/ 4494901 w 6226010"/>
              <a:gd name="connsiteY1232" fmla="*/ 3978553 h 5756219"/>
              <a:gd name="connsiteX1233" fmla="*/ 3791044 w 6226010"/>
              <a:gd name="connsiteY1233" fmla="*/ 3978553 h 5756219"/>
              <a:gd name="connsiteX1234" fmla="*/ 3826374 w 6226010"/>
              <a:gd name="connsiteY1234" fmla="*/ 3981270 h 5756219"/>
              <a:gd name="connsiteX1235" fmla="*/ 3831809 w 6226010"/>
              <a:gd name="connsiteY1235" fmla="*/ 3997576 h 5756219"/>
              <a:gd name="connsiteX1236" fmla="*/ 3834527 w 6226010"/>
              <a:gd name="connsiteY1236" fmla="*/ 4027469 h 5756219"/>
              <a:gd name="connsiteX1237" fmla="*/ 3788326 w 6226010"/>
              <a:gd name="connsiteY1237" fmla="*/ 4084539 h 5756219"/>
              <a:gd name="connsiteX1238" fmla="*/ 3793762 w 6226010"/>
              <a:gd name="connsiteY1238" fmla="*/ 4024752 h 5756219"/>
              <a:gd name="connsiteX1239" fmla="*/ 3788326 w 6226010"/>
              <a:gd name="connsiteY1239" fmla="*/ 4032905 h 5756219"/>
              <a:gd name="connsiteX1240" fmla="*/ 3791044 w 6226010"/>
              <a:gd name="connsiteY1240" fmla="*/ 3978553 h 5756219"/>
              <a:gd name="connsiteX1241" fmla="*/ 4524795 w 6226010"/>
              <a:gd name="connsiteY1241" fmla="*/ 3962247 h 5756219"/>
              <a:gd name="connsiteX1242" fmla="*/ 4524795 w 6226010"/>
              <a:gd name="connsiteY1242" fmla="*/ 3978553 h 5756219"/>
              <a:gd name="connsiteX1243" fmla="*/ 4541101 w 6226010"/>
              <a:gd name="connsiteY1243" fmla="*/ 3962247 h 5756219"/>
              <a:gd name="connsiteX1244" fmla="*/ 2432248 w 6226010"/>
              <a:gd name="connsiteY1244" fmla="*/ 3956812 h 5756219"/>
              <a:gd name="connsiteX1245" fmla="*/ 2434965 w 6226010"/>
              <a:gd name="connsiteY1245" fmla="*/ 3962247 h 5756219"/>
              <a:gd name="connsiteX1246" fmla="*/ 2451271 w 6226010"/>
              <a:gd name="connsiteY1246" fmla="*/ 3973118 h 5756219"/>
              <a:gd name="connsiteX1247" fmla="*/ 2451271 w 6226010"/>
              <a:gd name="connsiteY1247" fmla="*/ 3970400 h 5756219"/>
              <a:gd name="connsiteX1248" fmla="*/ 2432248 w 6226010"/>
              <a:gd name="connsiteY1248" fmla="*/ 3956812 h 5756219"/>
              <a:gd name="connsiteX1249" fmla="*/ 3948665 w 6226010"/>
              <a:gd name="connsiteY1249" fmla="*/ 3954096 h 5756219"/>
              <a:gd name="connsiteX1250" fmla="*/ 3943230 w 6226010"/>
              <a:gd name="connsiteY1250" fmla="*/ 3986707 h 5756219"/>
              <a:gd name="connsiteX1251" fmla="*/ 3926924 w 6226010"/>
              <a:gd name="connsiteY1251" fmla="*/ 3994860 h 5756219"/>
              <a:gd name="connsiteX1252" fmla="*/ 3910618 w 6226010"/>
              <a:gd name="connsiteY1252" fmla="*/ 3986707 h 5756219"/>
              <a:gd name="connsiteX1253" fmla="*/ 3948665 w 6226010"/>
              <a:gd name="connsiteY1253" fmla="*/ 3954096 h 5756219"/>
              <a:gd name="connsiteX1254" fmla="*/ 1019098 w 6226010"/>
              <a:gd name="connsiteY1254" fmla="*/ 3954096 h 5756219"/>
              <a:gd name="connsiteX1255" fmla="*/ 1057145 w 6226010"/>
              <a:gd name="connsiteY1255" fmla="*/ 3989424 h 5756219"/>
              <a:gd name="connsiteX1256" fmla="*/ 1029969 w 6226010"/>
              <a:gd name="connsiteY1256" fmla="*/ 3997577 h 5756219"/>
              <a:gd name="connsiteX1257" fmla="*/ 1068015 w 6226010"/>
              <a:gd name="connsiteY1257" fmla="*/ 4043776 h 5756219"/>
              <a:gd name="connsiteX1258" fmla="*/ 1054427 w 6226010"/>
              <a:gd name="connsiteY1258" fmla="*/ 4049211 h 5756219"/>
              <a:gd name="connsiteX1259" fmla="*/ 1054427 w 6226010"/>
              <a:gd name="connsiteY1259" fmla="*/ 4043776 h 5756219"/>
              <a:gd name="connsiteX1260" fmla="*/ 1046274 w 6226010"/>
              <a:gd name="connsiteY1260" fmla="*/ 4035624 h 5756219"/>
              <a:gd name="connsiteX1261" fmla="*/ 1038121 w 6226010"/>
              <a:gd name="connsiteY1261" fmla="*/ 4016600 h 5756219"/>
              <a:gd name="connsiteX1262" fmla="*/ 1032686 w 6226010"/>
              <a:gd name="connsiteY1262" fmla="*/ 4011165 h 5756219"/>
              <a:gd name="connsiteX1263" fmla="*/ 1016381 w 6226010"/>
              <a:gd name="connsiteY1263" fmla="*/ 3962248 h 5756219"/>
              <a:gd name="connsiteX1264" fmla="*/ 1019098 w 6226010"/>
              <a:gd name="connsiteY1264" fmla="*/ 3954096 h 5756219"/>
              <a:gd name="connsiteX1265" fmla="*/ 4194267 w 6226010"/>
              <a:gd name="connsiteY1265" fmla="*/ 3951038 h 5756219"/>
              <a:gd name="connsiteX1266" fmla="*/ 4194236 w 6226010"/>
              <a:gd name="connsiteY1266" fmla="*/ 3951048 h 5756219"/>
              <a:gd name="connsiteX1267" fmla="*/ 4195984 w 6226010"/>
              <a:gd name="connsiteY1267" fmla="*/ 3960089 h 5756219"/>
              <a:gd name="connsiteX1268" fmla="*/ 4201401 w 6226010"/>
              <a:gd name="connsiteY1268" fmla="*/ 3954095 h 5756219"/>
              <a:gd name="connsiteX1269" fmla="*/ 4194267 w 6226010"/>
              <a:gd name="connsiteY1269" fmla="*/ 3951038 h 5756219"/>
              <a:gd name="connsiteX1270" fmla="*/ 4418809 w 6226010"/>
              <a:gd name="connsiteY1270" fmla="*/ 3940507 h 5756219"/>
              <a:gd name="connsiteX1271" fmla="*/ 4402503 w 6226010"/>
              <a:gd name="connsiteY1271" fmla="*/ 3970400 h 5756219"/>
              <a:gd name="connsiteX1272" fmla="*/ 4432397 w 6226010"/>
              <a:gd name="connsiteY1272" fmla="*/ 3956812 h 5756219"/>
              <a:gd name="connsiteX1273" fmla="*/ 4432397 w 6226010"/>
              <a:gd name="connsiteY1273" fmla="*/ 3978553 h 5756219"/>
              <a:gd name="connsiteX1274" fmla="*/ 4454137 w 6226010"/>
              <a:gd name="connsiteY1274" fmla="*/ 3970400 h 5756219"/>
              <a:gd name="connsiteX1275" fmla="*/ 4478597 w 6226010"/>
              <a:gd name="connsiteY1275" fmla="*/ 3970400 h 5756219"/>
              <a:gd name="connsiteX1276" fmla="*/ 4462291 w 6226010"/>
              <a:gd name="connsiteY1276" fmla="*/ 3948659 h 5756219"/>
              <a:gd name="connsiteX1277" fmla="*/ 4448703 w 6226010"/>
              <a:gd name="connsiteY1277" fmla="*/ 3956812 h 5756219"/>
              <a:gd name="connsiteX1278" fmla="*/ 4440549 w 6226010"/>
              <a:gd name="connsiteY1278" fmla="*/ 3940507 h 5756219"/>
              <a:gd name="connsiteX1279" fmla="*/ 4418809 w 6226010"/>
              <a:gd name="connsiteY1279" fmla="*/ 3940507 h 5756219"/>
              <a:gd name="connsiteX1280" fmla="*/ 720162 w 6226010"/>
              <a:gd name="connsiteY1280" fmla="*/ 3935071 h 5756219"/>
              <a:gd name="connsiteX1281" fmla="*/ 720162 w 6226010"/>
              <a:gd name="connsiteY1281" fmla="*/ 3937789 h 5756219"/>
              <a:gd name="connsiteX1282" fmla="*/ 720162 w 6226010"/>
              <a:gd name="connsiteY1282" fmla="*/ 3935071 h 5756219"/>
              <a:gd name="connsiteX1283" fmla="*/ 2333731 w 6226010"/>
              <a:gd name="connsiteY1283" fmla="*/ 3934525 h 5756219"/>
              <a:gd name="connsiteX1284" fmla="*/ 2328299 w 6226010"/>
              <a:gd name="connsiteY1284" fmla="*/ 3939488 h 5756219"/>
              <a:gd name="connsiteX1285" fmla="*/ 2326361 w 6226010"/>
              <a:gd name="connsiteY1285" fmla="*/ 3941974 h 5756219"/>
              <a:gd name="connsiteX1286" fmla="*/ 2334414 w 6226010"/>
              <a:gd name="connsiteY1286" fmla="*/ 3935071 h 5756219"/>
              <a:gd name="connsiteX1287" fmla="*/ 478296 w 6226010"/>
              <a:gd name="connsiteY1287" fmla="*/ 3924201 h 5756219"/>
              <a:gd name="connsiteX1288" fmla="*/ 442968 w 6226010"/>
              <a:gd name="connsiteY1288" fmla="*/ 3954095 h 5756219"/>
              <a:gd name="connsiteX1289" fmla="*/ 483732 w 6226010"/>
              <a:gd name="connsiteY1289" fmla="*/ 3959530 h 5756219"/>
              <a:gd name="connsiteX1290" fmla="*/ 478296 w 6226010"/>
              <a:gd name="connsiteY1290" fmla="*/ 3924201 h 5756219"/>
              <a:gd name="connsiteX1291" fmla="*/ 2388766 w 6226010"/>
              <a:gd name="connsiteY1291" fmla="*/ 3918766 h 5756219"/>
              <a:gd name="connsiteX1292" fmla="*/ 2386049 w 6226010"/>
              <a:gd name="connsiteY1292" fmla="*/ 3921483 h 5756219"/>
              <a:gd name="connsiteX1293" fmla="*/ 2396919 w 6226010"/>
              <a:gd name="connsiteY1293" fmla="*/ 3929636 h 5756219"/>
              <a:gd name="connsiteX1294" fmla="*/ 2402354 w 6226010"/>
              <a:gd name="connsiteY1294" fmla="*/ 3932354 h 5756219"/>
              <a:gd name="connsiteX1295" fmla="*/ 2402354 w 6226010"/>
              <a:gd name="connsiteY1295" fmla="*/ 3929636 h 5756219"/>
              <a:gd name="connsiteX1296" fmla="*/ 2388766 w 6226010"/>
              <a:gd name="connsiteY1296" fmla="*/ 3918766 h 5756219"/>
              <a:gd name="connsiteX1297" fmla="*/ 4617193 w 6226010"/>
              <a:gd name="connsiteY1297" fmla="*/ 3913331 h 5756219"/>
              <a:gd name="connsiteX1298" fmla="*/ 4587299 w 6226010"/>
              <a:gd name="connsiteY1298" fmla="*/ 3929636 h 5756219"/>
              <a:gd name="connsiteX1299" fmla="*/ 4587299 w 6226010"/>
              <a:gd name="connsiteY1299" fmla="*/ 3945942 h 5756219"/>
              <a:gd name="connsiteX1300" fmla="*/ 4570995 w 6226010"/>
              <a:gd name="connsiteY1300" fmla="*/ 3975835 h 5756219"/>
              <a:gd name="connsiteX1301" fmla="*/ 4595453 w 6226010"/>
              <a:gd name="connsiteY1301" fmla="*/ 3967683 h 5756219"/>
              <a:gd name="connsiteX1302" fmla="*/ 4587299 w 6226010"/>
              <a:gd name="connsiteY1302" fmla="*/ 3945942 h 5756219"/>
              <a:gd name="connsiteX1303" fmla="*/ 4600887 w 6226010"/>
              <a:gd name="connsiteY1303" fmla="*/ 3940507 h 5756219"/>
              <a:gd name="connsiteX1304" fmla="*/ 4614475 w 6226010"/>
              <a:gd name="connsiteY1304" fmla="*/ 3951377 h 5756219"/>
              <a:gd name="connsiteX1305" fmla="*/ 4622629 w 6226010"/>
              <a:gd name="connsiteY1305" fmla="*/ 3921483 h 5756219"/>
              <a:gd name="connsiteX1306" fmla="*/ 1285422 w 6226010"/>
              <a:gd name="connsiteY1306" fmla="*/ 3910613 h 5756219"/>
              <a:gd name="connsiteX1307" fmla="*/ 1304445 w 6226010"/>
              <a:gd name="connsiteY1307" fmla="*/ 3940506 h 5756219"/>
              <a:gd name="connsiteX1308" fmla="*/ 1304445 w 6226010"/>
              <a:gd name="connsiteY1308" fmla="*/ 3951377 h 5756219"/>
              <a:gd name="connsiteX1309" fmla="*/ 1307163 w 6226010"/>
              <a:gd name="connsiteY1309" fmla="*/ 3951377 h 5756219"/>
              <a:gd name="connsiteX1310" fmla="*/ 1307163 w 6226010"/>
              <a:gd name="connsiteY1310" fmla="*/ 3964965 h 5756219"/>
              <a:gd name="connsiteX1311" fmla="*/ 1312598 w 6226010"/>
              <a:gd name="connsiteY1311" fmla="*/ 3973117 h 5756219"/>
              <a:gd name="connsiteX1312" fmla="*/ 1369667 w 6226010"/>
              <a:gd name="connsiteY1312" fmla="*/ 3992141 h 5756219"/>
              <a:gd name="connsiteX1313" fmla="*/ 1394126 w 6226010"/>
              <a:gd name="connsiteY1313" fmla="*/ 3994858 h 5756219"/>
              <a:gd name="connsiteX1314" fmla="*/ 1407714 w 6226010"/>
              <a:gd name="connsiteY1314" fmla="*/ 4008446 h 5756219"/>
              <a:gd name="connsiteX1315" fmla="*/ 1413149 w 6226010"/>
              <a:gd name="connsiteY1315" fmla="*/ 4008446 h 5756219"/>
              <a:gd name="connsiteX1316" fmla="*/ 1421302 w 6226010"/>
              <a:gd name="connsiteY1316" fmla="*/ 4016599 h 5756219"/>
              <a:gd name="connsiteX1317" fmla="*/ 1434890 w 6226010"/>
              <a:gd name="connsiteY1317" fmla="*/ 4032904 h 5756219"/>
              <a:gd name="connsiteX1318" fmla="*/ 1421302 w 6226010"/>
              <a:gd name="connsiteY1318" fmla="*/ 4051927 h 5756219"/>
              <a:gd name="connsiteX1319" fmla="*/ 1415866 w 6226010"/>
              <a:gd name="connsiteY1319" fmla="*/ 4065515 h 5756219"/>
              <a:gd name="connsiteX1320" fmla="*/ 1404996 w 6226010"/>
              <a:gd name="connsiteY1320" fmla="*/ 4073668 h 5756219"/>
              <a:gd name="connsiteX1321" fmla="*/ 1402278 w 6226010"/>
              <a:gd name="connsiteY1321" fmla="*/ 4089974 h 5756219"/>
              <a:gd name="connsiteX1322" fmla="*/ 1377820 w 6226010"/>
              <a:gd name="connsiteY1322" fmla="*/ 4117150 h 5756219"/>
              <a:gd name="connsiteX1323" fmla="*/ 1320751 w 6226010"/>
              <a:gd name="connsiteY1323" fmla="*/ 4122585 h 5756219"/>
              <a:gd name="connsiteX1324" fmla="*/ 1320751 w 6226010"/>
              <a:gd name="connsiteY1324" fmla="*/ 4119867 h 5756219"/>
              <a:gd name="connsiteX1325" fmla="*/ 1315315 w 6226010"/>
              <a:gd name="connsiteY1325" fmla="*/ 4117150 h 5756219"/>
              <a:gd name="connsiteX1326" fmla="*/ 1334338 w 6226010"/>
              <a:gd name="connsiteY1326" fmla="*/ 4068233 h 5756219"/>
              <a:gd name="connsiteX1327" fmla="*/ 1320751 w 6226010"/>
              <a:gd name="connsiteY1327" fmla="*/ 4041057 h 5756219"/>
              <a:gd name="connsiteX1328" fmla="*/ 1290857 w 6226010"/>
              <a:gd name="connsiteY1328" fmla="*/ 4019316 h 5756219"/>
              <a:gd name="connsiteX1329" fmla="*/ 1301727 w 6226010"/>
              <a:gd name="connsiteY1329" fmla="*/ 4003011 h 5756219"/>
              <a:gd name="connsiteX1330" fmla="*/ 1290857 w 6226010"/>
              <a:gd name="connsiteY1330" fmla="*/ 3948659 h 5756219"/>
              <a:gd name="connsiteX1331" fmla="*/ 1271834 w 6226010"/>
              <a:gd name="connsiteY1331" fmla="*/ 3948659 h 5756219"/>
              <a:gd name="connsiteX1332" fmla="*/ 1282704 w 6226010"/>
              <a:gd name="connsiteY1332" fmla="*/ 3986705 h 5756219"/>
              <a:gd name="connsiteX1333" fmla="*/ 1247376 w 6226010"/>
              <a:gd name="connsiteY1333" fmla="*/ 3989423 h 5756219"/>
              <a:gd name="connsiteX1334" fmla="*/ 1239223 w 6226010"/>
              <a:gd name="connsiteY1334" fmla="*/ 4022034 h 5756219"/>
              <a:gd name="connsiteX1335" fmla="*/ 1236505 w 6226010"/>
              <a:gd name="connsiteY1335" fmla="*/ 4022034 h 5756219"/>
              <a:gd name="connsiteX1336" fmla="*/ 1231070 w 6226010"/>
              <a:gd name="connsiteY1336" fmla="*/ 4019316 h 5756219"/>
              <a:gd name="connsiteX1337" fmla="*/ 1231070 w 6226010"/>
              <a:gd name="connsiteY1337" fmla="*/ 4013881 h 5756219"/>
              <a:gd name="connsiteX1338" fmla="*/ 1217482 w 6226010"/>
              <a:gd name="connsiteY1338" fmla="*/ 4008446 h 5756219"/>
              <a:gd name="connsiteX1339" fmla="*/ 1214764 w 6226010"/>
              <a:gd name="connsiteY1339" fmla="*/ 4008446 h 5756219"/>
              <a:gd name="connsiteX1340" fmla="*/ 1212047 w 6226010"/>
              <a:gd name="connsiteY1340" fmla="*/ 4005728 h 5756219"/>
              <a:gd name="connsiteX1341" fmla="*/ 1228352 w 6226010"/>
              <a:gd name="connsiteY1341" fmla="*/ 3935071 h 5756219"/>
              <a:gd name="connsiteX1342" fmla="*/ 1255528 w 6226010"/>
              <a:gd name="connsiteY1342" fmla="*/ 3924201 h 5756219"/>
              <a:gd name="connsiteX1343" fmla="*/ 1285422 w 6226010"/>
              <a:gd name="connsiteY1343" fmla="*/ 3910613 h 5756219"/>
              <a:gd name="connsiteX1344" fmla="*/ 2641502 w 6226010"/>
              <a:gd name="connsiteY1344" fmla="*/ 3907896 h 5756219"/>
              <a:gd name="connsiteX1345" fmla="*/ 2625197 w 6226010"/>
              <a:gd name="connsiteY1345" fmla="*/ 3916049 h 5756219"/>
              <a:gd name="connsiteX1346" fmla="*/ 2619762 w 6226010"/>
              <a:gd name="connsiteY1346" fmla="*/ 3916049 h 5756219"/>
              <a:gd name="connsiteX1347" fmla="*/ 2619762 w 6226010"/>
              <a:gd name="connsiteY1347" fmla="*/ 3910613 h 5756219"/>
              <a:gd name="connsiteX1348" fmla="*/ 2641502 w 6226010"/>
              <a:gd name="connsiteY1348" fmla="*/ 3907896 h 5756219"/>
              <a:gd name="connsiteX1349" fmla="*/ 597871 w 6226010"/>
              <a:gd name="connsiteY1349" fmla="*/ 3907895 h 5756219"/>
              <a:gd name="connsiteX1350" fmla="*/ 554389 w 6226010"/>
              <a:gd name="connsiteY1350" fmla="*/ 3948659 h 5756219"/>
              <a:gd name="connsiteX1351" fmla="*/ 516343 w 6226010"/>
              <a:gd name="connsiteY1351" fmla="*/ 3943224 h 5756219"/>
              <a:gd name="connsiteX1352" fmla="*/ 546236 w 6226010"/>
              <a:gd name="connsiteY1352" fmla="*/ 4013882 h 5756219"/>
              <a:gd name="connsiteX1353" fmla="*/ 589718 w 6226010"/>
              <a:gd name="connsiteY1353" fmla="*/ 4016599 h 5756219"/>
              <a:gd name="connsiteX1354" fmla="*/ 608741 w 6226010"/>
              <a:gd name="connsiteY1354" fmla="*/ 3913331 h 5756219"/>
              <a:gd name="connsiteX1355" fmla="*/ 597871 w 6226010"/>
              <a:gd name="connsiteY1355" fmla="*/ 3907895 h 5756219"/>
              <a:gd name="connsiteX1356" fmla="*/ 2295235 w 6226010"/>
              <a:gd name="connsiteY1356" fmla="*/ 3898610 h 5756219"/>
              <a:gd name="connsiteX1357" fmla="*/ 2292970 w 6226010"/>
              <a:gd name="connsiteY1357" fmla="*/ 3907217 h 5756219"/>
              <a:gd name="connsiteX1358" fmla="*/ 2293649 w 6226010"/>
              <a:gd name="connsiteY1358" fmla="*/ 3924202 h 5756219"/>
              <a:gd name="connsiteX1359" fmla="*/ 2292290 w 6226010"/>
              <a:gd name="connsiteY1359" fmla="*/ 3941526 h 5756219"/>
              <a:gd name="connsiteX1360" fmla="*/ 2291176 w 6226010"/>
              <a:gd name="connsiteY1360" fmla="*/ 3954068 h 5756219"/>
              <a:gd name="connsiteX1361" fmla="*/ 2300318 w 6226010"/>
              <a:gd name="connsiteY1361" fmla="*/ 3953052 h 5756219"/>
              <a:gd name="connsiteX1362" fmla="*/ 2303501 w 6226010"/>
              <a:gd name="connsiteY1362" fmla="*/ 3929297 h 5756219"/>
              <a:gd name="connsiteX1363" fmla="*/ 2304053 w 6226010"/>
              <a:gd name="connsiteY1363" fmla="*/ 3912949 h 5756219"/>
              <a:gd name="connsiteX1364" fmla="*/ 2302544 w 6226010"/>
              <a:gd name="connsiteY1364" fmla="*/ 3905919 h 5756219"/>
              <a:gd name="connsiteX1365" fmla="*/ 2551822 w 6226010"/>
              <a:gd name="connsiteY1365" fmla="*/ 3897026 h 5756219"/>
              <a:gd name="connsiteX1366" fmla="*/ 2559974 w 6226010"/>
              <a:gd name="connsiteY1366" fmla="*/ 3897026 h 5756219"/>
              <a:gd name="connsiteX1367" fmla="*/ 2562692 w 6226010"/>
              <a:gd name="connsiteY1367" fmla="*/ 3897026 h 5756219"/>
              <a:gd name="connsiteX1368" fmla="*/ 2559974 w 6226010"/>
              <a:gd name="connsiteY1368" fmla="*/ 3902461 h 5756219"/>
              <a:gd name="connsiteX1369" fmla="*/ 2551822 w 6226010"/>
              <a:gd name="connsiteY1369" fmla="*/ 3897026 h 5756219"/>
              <a:gd name="connsiteX1370" fmla="*/ 4603605 w 6226010"/>
              <a:gd name="connsiteY1370" fmla="*/ 3892949 h 5756219"/>
              <a:gd name="connsiteX1371" fmla="*/ 4598169 w 6226010"/>
              <a:gd name="connsiteY1371" fmla="*/ 3907895 h 5756219"/>
              <a:gd name="connsiteX1372" fmla="*/ 4576429 w 6226010"/>
              <a:gd name="connsiteY1372" fmla="*/ 3899743 h 5756219"/>
              <a:gd name="connsiteX1373" fmla="*/ 4576429 w 6226010"/>
              <a:gd name="connsiteY1373" fmla="*/ 3916048 h 5756219"/>
              <a:gd name="connsiteX1374" fmla="*/ 4551971 w 6226010"/>
              <a:gd name="connsiteY1374" fmla="*/ 3916048 h 5756219"/>
              <a:gd name="connsiteX1375" fmla="*/ 4560123 w 6226010"/>
              <a:gd name="connsiteY1375" fmla="*/ 3902460 h 5756219"/>
              <a:gd name="connsiteX1376" fmla="*/ 4535665 w 6226010"/>
              <a:gd name="connsiteY1376" fmla="*/ 3902460 h 5756219"/>
              <a:gd name="connsiteX1377" fmla="*/ 4543819 w 6226010"/>
              <a:gd name="connsiteY1377" fmla="*/ 3918766 h 5756219"/>
              <a:gd name="connsiteX1378" fmla="*/ 4522077 w 6226010"/>
              <a:gd name="connsiteY1378" fmla="*/ 3918766 h 5756219"/>
              <a:gd name="connsiteX1379" fmla="*/ 4522077 w 6226010"/>
              <a:gd name="connsiteY1379" fmla="*/ 3924201 h 5756219"/>
              <a:gd name="connsiteX1380" fmla="*/ 4543819 w 6226010"/>
              <a:gd name="connsiteY1380" fmla="*/ 3932354 h 5756219"/>
              <a:gd name="connsiteX1381" fmla="*/ 4522077 w 6226010"/>
              <a:gd name="connsiteY1381" fmla="*/ 3956812 h 5756219"/>
              <a:gd name="connsiteX1382" fmla="*/ 4543819 w 6226010"/>
              <a:gd name="connsiteY1382" fmla="*/ 3932354 h 5756219"/>
              <a:gd name="connsiteX1383" fmla="*/ 4565559 w 6226010"/>
              <a:gd name="connsiteY1383" fmla="*/ 3924201 h 5756219"/>
              <a:gd name="connsiteX1384" fmla="*/ 4573711 w 6226010"/>
              <a:gd name="connsiteY1384" fmla="*/ 3924201 h 5756219"/>
              <a:gd name="connsiteX1385" fmla="*/ 4587299 w 6226010"/>
              <a:gd name="connsiteY1385" fmla="*/ 3924201 h 5756219"/>
              <a:gd name="connsiteX1386" fmla="*/ 4595453 w 6226010"/>
              <a:gd name="connsiteY1386" fmla="*/ 3910613 h 5756219"/>
              <a:gd name="connsiteX1387" fmla="*/ 4625345 w 6226010"/>
              <a:gd name="connsiteY1387" fmla="*/ 3894307 h 5756219"/>
              <a:gd name="connsiteX1388" fmla="*/ 4603605 w 6226010"/>
              <a:gd name="connsiteY1388" fmla="*/ 3892949 h 5756219"/>
              <a:gd name="connsiteX1389" fmla="*/ 1174001 w 6226010"/>
              <a:gd name="connsiteY1389" fmla="*/ 3888873 h 5756219"/>
              <a:gd name="connsiteX1390" fmla="*/ 1203895 w 6226010"/>
              <a:gd name="connsiteY1390" fmla="*/ 3910614 h 5756219"/>
              <a:gd name="connsiteX1391" fmla="*/ 1217483 w 6226010"/>
              <a:gd name="connsiteY1391" fmla="*/ 3929637 h 5756219"/>
              <a:gd name="connsiteX1392" fmla="*/ 1214765 w 6226010"/>
              <a:gd name="connsiteY1392" fmla="*/ 3956813 h 5756219"/>
              <a:gd name="connsiteX1393" fmla="*/ 1212047 w 6226010"/>
              <a:gd name="connsiteY1393" fmla="*/ 3973118 h 5756219"/>
              <a:gd name="connsiteX1394" fmla="*/ 1201177 w 6226010"/>
              <a:gd name="connsiteY1394" fmla="*/ 3945942 h 5756219"/>
              <a:gd name="connsiteX1395" fmla="*/ 1193024 w 6226010"/>
              <a:gd name="connsiteY1395" fmla="*/ 3959530 h 5756219"/>
              <a:gd name="connsiteX1396" fmla="*/ 1163131 w 6226010"/>
              <a:gd name="connsiteY1396" fmla="*/ 3924201 h 5756219"/>
              <a:gd name="connsiteX1397" fmla="*/ 1163131 w 6226010"/>
              <a:gd name="connsiteY1397" fmla="*/ 3921484 h 5756219"/>
              <a:gd name="connsiteX1398" fmla="*/ 1171283 w 6226010"/>
              <a:gd name="connsiteY1398" fmla="*/ 3902461 h 5756219"/>
              <a:gd name="connsiteX1399" fmla="*/ 1174001 w 6226010"/>
              <a:gd name="connsiteY1399" fmla="*/ 3888873 h 5756219"/>
              <a:gd name="connsiteX1400" fmla="*/ 1046274 w 6226010"/>
              <a:gd name="connsiteY1400" fmla="*/ 3888873 h 5756219"/>
              <a:gd name="connsiteX1401" fmla="*/ 1048991 w 6226010"/>
              <a:gd name="connsiteY1401" fmla="*/ 3888873 h 5756219"/>
              <a:gd name="connsiteX1402" fmla="*/ 1057144 w 6226010"/>
              <a:gd name="connsiteY1402" fmla="*/ 3905178 h 5756219"/>
              <a:gd name="connsiteX1403" fmla="*/ 1032686 w 6226010"/>
              <a:gd name="connsiteY1403" fmla="*/ 3916049 h 5756219"/>
              <a:gd name="connsiteX1404" fmla="*/ 1046274 w 6226010"/>
              <a:gd name="connsiteY1404" fmla="*/ 3888873 h 5756219"/>
              <a:gd name="connsiteX1405" fmla="*/ 1040839 w 6226010"/>
              <a:gd name="connsiteY1405" fmla="*/ 3888873 h 5756219"/>
              <a:gd name="connsiteX1406" fmla="*/ 1027251 w 6226010"/>
              <a:gd name="connsiteY1406" fmla="*/ 3918766 h 5756219"/>
              <a:gd name="connsiteX1407" fmla="*/ 1002792 w 6226010"/>
              <a:gd name="connsiteY1407" fmla="*/ 3921484 h 5756219"/>
              <a:gd name="connsiteX1408" fmla="*/ 1000075 w 6226010"/>
              <a:gd name="connsiteY1408" fmla="*/ 3918766 h 5756219"/>
              <a:gd name="connsiteX1409" fmla="*/ 1002792 w 6226010"/>
              <a:gd name="connsiteY1409" fmla="*/ 3913331 h 5756219"/>
              <a:gd name="connsiteX1410" fmla="*/ 1040839 w 6226010"/>
              <a:gd name="connsiteY1410" fmla="*/ 3888873 h 5756219"/>
              <a:gd name="connsiteX1411" fmla="*/ 2350720 w 6226010"/>
              <a:gd name="connsiteY1411" fmla="*/ 3883437 h 5756219"/>
              <a:gd name="connsiteX1412" fmla="*/ 2376455 w 6226010"/>
              <a:gd name="connsiteY1412" fmla="*/ 3907028 h 5756219"/>
              <a:gd name="connsiteX1413" fmla="*/ 2374491 w 6226010"/>
              <a:gd name="connsiteY1413" fmla="*/ 3907209 h 5756219"/>
              <a:gd name="connsiteX1414" fmla="*/ 2364308 w 6226010"/>
              <a:gd name="connsiteY1414" fmla="*/ 3897025 h 5756219"/>
              <a:gd name="connsiteX1415" fmla="*/ 2350720 w 6226010"/>
              <a:gd name="connsiteY1415" fmla="*/ 3883437 h 5756219"/>
              <a:gd name="connsiteX1416" fmla="*/ 622329 w 6226010"/>
              <a:gd name="connsiteY1416" fmla="*/ 3875284 h 5756219"/>
              <a:gd name="connsiteX1417" fmla="*/ 644070 w 6226010"/>
              <a:gd name="connsiteY1417" fmla="*/ 3932354 h 5756219"/>
              <a:gd name="connsiteX1418" fmla="*/ 684834 w 6226010"/>
              <a:gd name="connsiteY1418" fmla="*/ 3932354 h 5756219"/>
              <a:gd name="connsiteX1419" fmla="*/ 690269 w 6226010"/>
              <a:gd name="connsiteY1419" fmla="*/ 3924201 h 5756219"/>
              <a:gd name="connsiteX1420" fmla="*/ 622329 w 6226010"/>
              <a:gd name="connsiteY1420" fmla="*/ 3875284 h 5756219"/>
              <a:gd name="connsiteX1421" fmla="*/ 1290858 w 6226010"/>
              <a:gd name="connsiteY1421" fmla="*/ 3872568 h 5756219"/>
              <a:gd name="connsiteX1422" fmla="*/ 1299010 w 6226010"/>
              <a:gd name="connsiteY1422" fmla="*/ 3880720 h 5756219"/>
              <a:gd name="connsiteX1423" fmla="*/ 1293575 w 6226010"/>
              <a:gd name="connsiteY1423" fmla="*/ 3880720 h 5756219"/>
              <a:gd name="connsiteX1424" fmla="*/ 1290858 w 6226010"/>
              <a:gd name="connsiteY1424" fmla="*/ 3872568 h 5756219"/>
              <a:gd name="connsiteX1425" fmla="*/ 1271834 w 6226010"/>
              <a:gd name="connsiteY1425" fmla="*/ 3872568 h 5756219"/>
              <a:gd name="connsiteX1426" fmla="*/ 1279986 w 6226010"/>
              <a:gd name="connsiteY1426" fmla="*/ 3888873 h 5756219"/>
              <a:gd name="connsiteX1427" fmla="*/ 1271834 w 6226010"/>
              <a:gd name="connsiteY1427" fmla="*/ 3902461 h 5756219"/>
              <a:gd name="connsiteX1428" fmla="*/ 1258246 w 6226010"/>
              <a:gd name="connsiteY1428" fmla="*/ 3905179 h 5756219"/>
              <a:gd name="connsiteX1429" fmla="*/ 1271834 w 6226010"/>
              <a:gd name="connsiteY1429" fmla="*/ 3872568 h 5756219"/>
              <a:gd name="connsiteX1430" fmla="*/ 4432397 w 6226010"/>
              <a:gd name="connsiteY1430" fmla="*/ 3869849 h 5756219"/>
              <a:gd name="connsiteX1431" fmla="*/ 4432397 w 6226010"/>
              <a:gd name="connsiteY1431" fmla="*/ 3886155 h 5756219"/>
              <a:gd name="connsiteX1432" fmla="*/ 4448703 w 6226010"/>
              <a:gd name="connsiteY1432" fmla="*/ 3869849 h 5756219"/>
              <a:gd name="connsiteX1433" fmla="*/ 1002792 w 6226010"/>
              <a:gd name="connsiteY1433" fmla="*/ 3853545 h 5756219"/>
              <a:gd name="connsiteX1434" fmla="*/ 1000075 w 6226010"/>
              <a:gd name="connsiteY1434" fmla="*/ 3897026 h 5756219"/>
              <a:gd name="connsiteX1435" fmla="*/ 994639 w 6226010"/>
              <a:gd name="connsiteY1435" fmla="*/ 3897026 h 5756219"/>
              <a:gd name="connsiteX1436" fmla="*/ 986487 w 6226010"/>
              <a:gd name="connsiteY1436" fmla="*/ 3883438 h 5756219"/>
              <a:gd name="connsiteX1437" fmla="*/ 1002792 w 6226010"/>
              <a:gd name="connsiteY1437" fmla="*/ 3853545 h 5756219"/>
              <a:gd name="connsiteX1438" fmla="*/ 959310 w 6226010"/>
              <a:gd name="connsiteY1438" fmla="*/ 3848109 h 5756219"/>
              <a:gd name="connsiteX1439" fmla="*/ 978334 w 6226010"/>
              <a:gd name="connsiteY1439" fmla="*/ 3869850 h 5756219"/>
              <a:gd name="connsiteX1440" fmla="*/ 986486 w 6226010"/>
              <a:gd name="connsiteY1440" fmla="*/ 3894308 h 5756219"/>
              <a:gd name="connsiteX1441" fmla="*/ 978334 w 6226010"/>
              <a:gd name="connsiteY1441" fmla="*/ 3897025 h 5756219"/>
              <a:gd name="connsiteX1442" fmla="*/ 991922 w 6226010"/>
              <a:gd name="connsiteY1442" fmla="*/ 3910613 h 5756219"/>
              <a:gd name="connsiteX1443" fmla="*/ 991922 w 6226010"/>
              <a:gd name="connsiteY1443" fmla="*/ 3921484 h 5756219"/>
              <a:gd name="connsiteX1444" fmla="*/ 983769 w 6226010"/>
              <a:gd name="connsiteY1444" fmla="*/ 3924201 h 5756219"/>
              <a:gd name="connsiteX1445" fmla="*/ 1002792 w 6226010"/>
              <a:gd name="connsiteY1445" fmla="*/ 3940507 h 5756219"/>
              <a:gd name="connsiteX1446" fmla="*/ 1002792 w 6226010"/>
              <a:gd name="connsiteY1446" fmla="*/ 3943224 h 5756219"/>
              <a:gd name="connsiteX1447" fmla="*/ 1008227 w 6226010"/>
              <a:gd name="connsiteY1447" fmla="*/ 3945942 h 5756219"/>
              <a:gd name="connsiteX1448" fmla="*/ 1008227 w 6226010"/>
              <a:gd name="connsiteY1448" fmla="*/ 3973118 h 5756219"/>
              <a:gd name="connsiteX1449" fmla="*/ 1019098 w 6226010"/>
              <a:gd name="connsiteY1449" fmla="*/ 4008447 h 5756219"/>
              <a:gd name="connsiteX1450" fmla="*/ 1024533 w 6226010"/>
              <a:gd name="connsiteY1450" fmla="*/ 4011164 h 5756219"/>
              <a:gd name="connsiteX1451" fmla="*/ 1024533 w 6226010"/>
              <a:gd name="connsiteY1451" fmla="*/ 4016599 h 5756219"/>
              <a:gd name="connsiteX1452" fmla="*/ 1029969 w 6226010"/>
              <a:gd name="connsiteY1452" fmla="*/ 4019317 h 5756219"/>
              <a:gd name="connsiteX1453" fmla="*/ 1032687 w 6226010"/>
              <a:gd name="connsiteY1453" fmla="*/ 4027470 h 5756219"/>
              <a:gd name="connsiteX1454" fmla="*/ 1032687 w 6226010"/>
              <a:gd name="connsiteY1454" fmla="*/ 4032905 h 5756219"/>
              <a:gd name="connsiteX1455" fmla="*/ 1024533 w 6226010"/>
              <a:gd name="connsiteY1455" fmla="*/ 4032905 h 5756219"/>
              <a:gd name="connsiteX1456" fmla="*/ 997357 w 6226010"/>
              <a:gd name="connsiteY1456" fmla="*/ 4032905 h 5756219"/>
              <a:gd name="connsiteX1457" fmla="*/ 983769 w 6226010"/>
              <a:gd name="connsiteY1457" fmla="*/ 4019317 h 5756219"/>
              <a:gd name="connsiteX1458" fmla="*/ 972898 w 6226010"/>
              <a:gd name="connsiteY1458" fmla="*/ 4016599 h 5756219"/>
              <a:gd name="connsiteX1459" fmla="*/ 956593 w 6226010"/>
              <a:gd name="connsiteY1459" fmla="*/ 3978553 h 5756219"/>
              <a:gd name="connsiteX1460" fmla="*/ 951158 w 6226010"/>
              <a:gd name="connsiteY1460" fmla="*/ 3973118 h 5756219"/>
              <a:gd name="connsiteX1461" fmla="*/ 951158 w 6226010"/>
              <a:gd name="connsiteY1461" fmla="*/ 3967683 h 5756219"/>
              <a:gd name="connsiteX1462" fmla="*/ 945722 w 6226010"/>
              <a:gd name="connsiteY1462" fmla="*/ 3964965 h 5756219"/>
              <a:gd name="connsiteX1463" fmla="*/ 945722 w 6226010"/>
              <a:gd name="connsiteY1463" fmla="*/ 3962248 h 5756219"/>
              <a:gd name="connsiteX1464" fmla="*/ 937570 w 6226010"/>
              <a:gd name="connsiteY1464" fmla="*/ 3959530 h 5756219"/>
              <a:gd name="connsiteX1465" fmla="*/ 937570 w 6226010"/>
              <a:gd name="connsiteY1465" fmla="*/ 3954095 h 5756219"/>
              <a:gd name="connsiteX1466" fmla="*/ 923982 w 6226010"/>
              <a:gd name="connsiteY1466" fmla="*/ 3940507 h 5756219"/>
              <a:gd name="connsiteX1467" fmla="*/ 970181 w 6226010"/>
              <a:gd name="connsiteY1467" fmla="*/ 3924201 h 5756219"/>
              <a:gd name="connsiteX1468" fmla="*/ 940287 w 6226010"/>
              <a:gd name="connsiteY1468" fmla="*/ 3853544 h 5756219"/>
              <a:gd name="connsiteX1469" fmla="*/ 959310 w 6226010"/>
              <a:gd name="connsiteY1469" fmla="*/ 3848109 h 5756219"/>
              <a:gd name="connsiteX1470" fmla="*/ 4361739 w 6226010"/>
              <a:gd name="connsiteY1470" fmla="*/ 3845391 h 5756219"/>
              <a:gd name="connsiteX1471" fmla="*/ 4345433 w 6226010"/>
              <a:gd name="connsiteY1471" fmla="*/ 3861696 h 5756219"/>
              <a:gd name="connsiteX1472" fmla="*/ 4361739 w 6226010"/>
              <a:gd name="connsiteY1472" fmla="*/ 3869849 h 5756219"/>
              <a:gd name="connsiteX1473" fmla="*/ 4372609 w 6226010"/>
              <a:gd name="connsiteY1473" fmla="*/ 3861696 h 5756219"/>
              <a:gd name="connsiteX1474" fmla="*/ 2312673 w 6226010"/>
              <a:gd name="connsiteY1474" fmla="*/ 3845391 h 5756219"/>
              <a:gd name="connsiteX1475" fmla="*/ 2326262 w 6226010"/>
              <a:gd name="connsiteY1475" fmla="*/ 3856261 h 5756219"/>
              <a:gd name="connsiteX1476" fmla="*/ 2323544 w 6226010"/>
              <a:gd name="connsiteY1476" fmla="*/ 3856261 h 5756219"/>
              <a:gd name="connsiteX1477" fmla="*/ 2312673 w 6226010"/>
              <a:gd name="connsiteY1477" fmla="*/ 3845391 h 5756219"/>
              <a:gd name="connsiteX1478" fmla="*/ 1165848 w 6226010"/>
              <a:gd name="connsiteY1478" fmla="*/ 3839957 h 5756219"/>
              <a:gd name="connsiteX1479" fmla="*/ 1168565 w 6226010"/>
              <a:gd name="connsiteY1479" fmla="*/ 3872568 h 5756219"/>
              <a:gd name="connsiteX1480" fmla="*/ 1163130 w 6226010"/>
              <a:gd name="connsiteY1480" fmla="*/ 3888873 h 5756219"/>
              <a:gd name="connsiteX1481" fmla="*/ 1160412 w 6226010"/>
              <a:gd name="connsiteY1481" fmla="*/ 3899744 h 5756219"/>
              <a:gd name="connsiteX1482" fmla="*/ 1146824 w 6226010"/>
              <a:gd name="connsiteY1482" fmla="*/ 3888873 h 5756219"/>
              <a:gd name="connsiteX1483" fmla="*/ 1144107 w 6226010"/>
              <a:gd name="connsiteY1483" fmla="*/ 3875285 h 5756219"/>
              <a:gd name="connsiteX1484" fmla="*/ 1165848 w 6226010"/>
              <a:gd name="connsiteY1484" fmla="*/ 3839957 h 5756219"/>
              <a:gd name="connsiteX1485" fmla="*/ 4407939 w 6226010"/>
              <a:gd name="connsiteY1485" fmla="*/ 3837238 h 5756219"/>
              <a:gd name="connsiteX1486" fmla="*/ 4391633 w 6226010"/>
              <a:gd name="connsiteY1486" fmla="*/ 3839956 h 5756219"/>
              <a:gd name="connsiteX1487" fmla="*/ 4405221 w 6226010"/>
              <a:gd name="connsiteY1487" fmla="*/ 3853544 h 5756219"/>
              <a:gd name="connsiteX1488" fmla="*/ 986487 w 6226010"/>
              <a:gd name="connsiteY1488" fmla="*/ 3834522 h 5756219"/>
              <a:gd name="connsiteX1489" fmla="*/ 994640 w 6226010"/>
              <a:gd name="connsiteY1489" fmla="*/ 3839957 h 5756219"/>
              <a:gd name="connsiteX1490" fmla="*/ 983769 w 6226010"/>
              <a:gd name="connsiteY1490" fmla="*/ 3864415 h 5756219"/>
              <a:gd name="connsiteX1491" fmla="*/ 981052 w 6226010"/>
              <a:gd name="connsiteY1491" fmla="*/ 3864415 h 5756219"/>
              <a:gd name="connsiteX1492" fmla="*/ 967464 w 6226010"/>
              <a:gd name="connsiteY1492" fmla="*/ 3848110 h 5756219"/>
              <a:gd name="connsiteX1493" fmla="*/ 986487 w 6226010"/>
              <a:gd name="connsiteY1493" fmla="*/ 3834522 h 5756219"/>
              <a:gd name="connsiteX1494" fmla="*/ 1513700 w 6226010"/>
              <a:gd name="connsiteY1494" fmla="*/ 3831803 h 5756219"/>
              <a:gd name="connsiteX1495" fmla="*/ 1519136 w 6226010"/>
              <a:gd name="connsiteY1495" fmla="*/ 3856261 h 5756219"/>
              <a:gd name="connsiteX1496" fmla="*/ 1521853 w 6226010"/>
              <a:gd name="connsiteY1496" fmla="*/ 3875284 h 5756219"/>
              <a:gd name="connsiteX1497" fmla="*/ 1535441 w 6226010"/>
              <a:gd name="connsiteY1497" fmla="*/ 3913331 h 5756219"/>
              <a:gd name="connsiteX1498" fmla="*/ 1543594 w 6226010"/>
              <a:gd name="connsiteY1498" fmla="*/ 3948659 h 5756219"/>
              <a:gd name="connsiteX1499" fmla="*/ 1559900 w 6226010"/>
              <a:gd name="connsiteY1499" fmla="*/ 3994858 h 5756219"/>
              <a:gd name="connsiteX1500" fmla="*/ 1513700 w 6226010"/>
              <a:gd name="connsiteY1500" fmla="*/ 4000293 h 5756219"/>
              <a:gd name="connsiteX1501" fmla="*/ 1502830 w 6226010"/>
              <a:gd name="connsiteY1501" fmla="*/ 3954094 h 5756219"/>
              <a:gd name="connsiteX1502" fmla="*/ 1510983 w 6226010"/>
              <a:gd name="connsiteY1502" fmla="*/ 3940506 h 5756219"/>
              <a:gd name="connsiteX1503" fmla="*/ 1516418 w 6226010"/>
              <a:gd name="connsiteY1503" fmla="*/ 3921483 h 5756219"/>
              <a:gd name="connsiteX1504" fmla="*/ 1519136 w 6226010"/>
              <a:gd name="connsiteY1504" fmla="*/ 3918766 h 5756219"/>
              <a:gd name="connsiteX1505" fmla="*/ 1519136 w 6226010"/>
              <a:gd name="connsiteY1505" fmla="*/ 3902460 h 5756219"/>
              <a:gd name="connsiteX1506" fmla="*/ 1505548 w 6226010"/>
              <a:gd name="connsiteY1506" fmla="*/ 3848108 h 5756219"/>
              <a:gd name="connsiteX1507" fmla="*/ 1502830 w 6226010"/>
              <a:gd name="connsiteY1507" fmla="*/ 3848108 h 5756219"/>
              <a:gd name="connsiteX1508" fmla="*/ 1494677 w 6226010"/>
              <a:gd name="connsiteY1508" fmla="*/ 3848108 h 5756219"/>
              <a:gd name="connsiteX1509" fmla="*/ 1502830 w 6226010"/>
              <a:gd name="connsiteY1509" fmla="*/ 3869849 h 5756219"/>
              <a:gd name="connsiteX1510" fmla="*/ 1494677 w 6226010"/>
              <a:gd name="connsiteY1510" fmla="*/ 3929636 h 5756219"/>
              <a:gd name="connsiteX1511" fmla="*/ 1494677 w 6226010"/>
              <a:gd name="connsiteY1511" fmla="*/ 3932354 h 5756219"/>
              <a:gd name="connsiteX1512" fmla="*/ 1470219 w 6226010"/>
              <a:gd name="connsiteY1512" fmla="*/ 3897025 h 5756219"/>
              <a:gd name="connsiteX1513" fmla="*/ 1478372 w 6226010"/>
              <a:gd name="connsiteY1513" fmla="*/ 3850826 h 5756219"/>
              <a:gd name="connsiteX1514" fmla="*/ 1475654 w 6226010"/>
              <a:gd name="connsiteY1514" fmla="*/ 3845391 h 5756219"/>
              <a:gd name="connsiteX1515" fmla="*/ 1513700 w 6226010"/>
              <a:gd name="connsiteY1515" fmla="*/ 3831803 h 5756219"/>
              <a:gd name="connsiteX1516" fmla="*/ 4299235 w 6226010"/>
              <a:gd name="connsiteY1516" fmla="*/ 3829085 h 5756219"/>
              <a:gd name="connsiteX1517" fmla="*/ 4285647 w 6226010"/>
              <a:gd name="connsiteY1517" fmla="*/ 3842673 h 5756219"/>
              <a:gd name="connsiteX1518" fmla="*/ 4301953 w 6226010"/>
              <a:gd name="connsiteY1518" fmla="*/ 3845391 h 5756219"/>
              <a:gd name="connsiteX1519" fmla="*/ 4508489 w 6226010"/>
              <a:gd name="connsiteY1519" fmla="*/ 3823650 h 5756219"/>
              <a:gd name="connsiteX1520" fmla="*/ 4508489 w 6226010"/>
              <a:gd name="connsiteY1520" fmla="*/ 3839956 h 5756219"/>
              <a:gd name="connsiteX1521" fmla="*/ 4470443 w 6226010"/>
              <a:gd name="connsiteY1521" fmla="*/ 3839956 h 5756219"/>
              <a:gd name="connsiteX1522" fmla="*/ 4478597 w 6226010"/>
              <a:gd name="connsiteY1522" fmla="*/ 3853544 h 5756219"/>
              <a:gd name="connsiteX1523" fmla="*/ 4456855 w 6226010"/>
              <a:gd name="connsiteY1523" fmla="*/ 3853544 h 5756219"/>
              <a:gd name="connsiteX1524" fmla="*/ 4497619 w 6226010"/>
              <a:gd name="connsiteY1524" fmla="*/ 3878002 h 5756219"/>
              <a:gd name="connsiteX1525" fmla="*/ 4481313 w 6226010"/>
              <a:gd name="connsiteY1525" fmla="*/ 3899743 h 5756219"/>
              <a:gd name="connsiteX1526" fmla="*/ 4494901 w 6226010"/>
              <a:gd name="connsiteY1526" fmla="*/ 3907895 h 5756219"/>
              <a:gd name="connsiteX1527" fmla="*/ 4503055 w 6226010"/>
              <a:gd name="connsiteY1527" fmla="*/ 3886155 h 5756219"/>
              <a:gd name="connsiteX1528" fmla="*/ 4503055 w 6226010"/>
              <a:gd name="connsiteY1528" fmla="*/ 3878002 h 5756219"/>
              <a:gd name="connsiteX1529" fmla="*/ 4511207 w 6226010"/>
              <a:gd name="connsiteY1529" fmla="*/ 3856261 h 5756219"/>
              <a:gd name="connsiteX1530" fmla="*/ 4527513 w 6226010"/>
              <a:gd name="connsiteY1530" fmla="*/ 3888872 h 5756219"/>
              <a:gd name="connsiteX1531" fmla="*/ 4541101 w 6226010"/>
              <a:gd name="connsiteY1531" fmla="*/ 3880719 h 5756219"/>
              <a:gd name="connsiteX1532" fmla="*/ 4557407 w 6226010"/>
              <a:gd name="connsiteY1532" fmla="*/ 3894307 h 5756219"/>
              <a:gd name="connsiteX1533" fmla="*/ 4560123 w 6226010"/>
              <a:gd name="connsiteY1533" fmla="*/ 3880719 h 5756219"/>
              <a:gd name="connsiteX1534" fmla="*/ 4570995 w 6226010"/>
              <a:gd name="connsiteY1534" fmla="*/ 3869849 h 5756219"/>
              <a:gd name="connsiteX1535" fmla="*/ 4538383 w 6226010"/>
              <a:gd name="connsiteY1535" fmla="*/ 3869849 h 5756219"/>
              <a:gd name="connsiteX1536" fmla="*/ 4549253 w 6226010"/>
              <a:gd name="connsiteY1536" fmla="*/ 3848108 h 5756219"/>
              <a:gd name="connsiteX1537" fmla="*/ 4508489 w 6226010"/>
              <a:gd name="connsiteY1537" fmla="*/ 3839956 h 5756219"/>
              <a:gd name="connsiteX1538" fmla="*/ 4524795 w 6226010"/>
              <a:gd name="connsiteY1538" fmla="*/ 3823650 h 5756219"/>
              <a:gd name="connsiteX1539" fmla="*/ 1201177 w 6226010"/>
              <a:gd name="connsiteY1539" fmla="*/ 3815498 h 5756219"/>
              <a:gd name="connsiteX1540" fmla="*/ 1206612 w 6226010"/>
              <a:gd name="connsiteY1540" fmla="*/ 3829086 h 5756219"/>
              <a:gd name="connsiteX1541" fmla="*/ 1187589 w 6226010"/>
              <a:gd name="connsiteY1541" fmla="*/ 3839956 h 5756219"/>
              <a:gd name="connsiteX1542" fmla="*/ 1179436 w 6226010"/>
              <a:gd name="connsiteY1542" fmla="*/ 3869850 h 5756219"/>
              <a:gd name="connsiteX1543" fmla="*/ 1176718 w 6226010"/>
              <a:gd name="connsiteY1543" fmla="*/ 3839956 h 5756219"/>
              <a:gd name="connsiteX1544" fmla="*/ 1174001 w 6226010"/>
              <a:gd name="connsiteY1544" fmla="*/ 3831803 h 5756219"/>
              <a:gd name="connsiteX1545" fmla="*/ 1176718 w 6226010"/>
              <a:gd name="connsiteY1545" fmla="*/ 3826368 h 5756219"/>
              <a:gd name="connsiteX1546" fmla="*/ 1193024 w 6226010"/>
              <a:gd name="connsiteY1546" fmla="*/ 3823651 h 5756219"/>
              <a:gd name="connsiteX1547" fmla="*/ 1201177 w 6226010"/>
              <a:gd name="connsiteY1547" fmla="*/ 3815498 h 5756219"/>
              <a:gd name="connsiteX1548" fmla="*/ 4609041 w 6226010"/>
              <a:gd name="connsiteY1548" fmla="*/ 3815497 h 5756219"/>
              <a:gd name="connsiteX1549" fmla="*/ 4570995 w 6226010"/>
              <a:gd name="connsiteY1549" fmla="*/ 3837238 h 5756219"/>
              <a:gd name="connsiteX1550" fmla="*/ 4587299 w 6226010"/>
              <a:gd name="connsiteY1550" fmla="*/ 3845391 h 5756219"/>
              <a:gd name="connsiteX1551" fmla="*/ 4609041 w 6226010"/>
              <a:gd name="connsiteY1551" fmla="*/ 3815497 h 5756219"/>
              <a:gd name="connsiteX1552" fmla="*/ 1309880 w 6226010"/>
              <a:gd name="connsiteY1552" fmla="*/ 3815497 h 5756219"/>
              <a:gd name="connsiteX1553" fmla="*/ 1312598 w 6226010"/>
              <a:gd name="connsiteY1553" fmla="*/ 3829085 h 5756219"/>
              <a:gd name="connsiteX1554" fmla="*/ 1318033 w 6226010"/>
              <a:gd name="connsiteY1554" fmla="*/ 3823650 h 5756219"/>
              <a:gd name="connsiteX1555" fmla="*/ 1309880 w 6226010"/>
              <a:gd name="connsiteY1555" fmla="*/ 3815497 h 5756219"/>
              <a:gd name="connsiteX1556" fmla="*/ 1619686 w 6226010"/>
              <a:gd name="connsiteY1556" fmla="*/ 3807345 h 5756219"/>
              <a:gd name="connsiteX1557" fmla="*/ 1622403 w 6226010"/>
              <a:gd name="connsiteY1557" fmla="*/ 3810062 h 5756219"/>
              <a:gd name="connsiteX1558" fmla="*/ 1635991 w 6226010"/>
              <a:gd name="connsiteY1558" fmla="*/ 3812780 h 5756219"/>
              <a:gd name="connsiteX1559" fmla="*/ 1657732 w 6226010"/>
              <a:gd name="connsiteY1559" fmla="*/ 3831803 h 5756219"/>
              <a:gd name="connsiteX1560" fmla="*/ 1665885 w 6226010"/>
              <a:gd name="connsiteY1560" fmla="*/ 3834521 h 5756219"/>
              <a:gd name="connsiteX1561" fmla="*/ 1676755 w 6226010"/>
              <a:gd name="connsiteY1561" fmla="*/ 3856261 h 5756219"/>
              <a:gd name="connsiteX1562" fmla="*/ 1676755 w 6226010"/>
              <a:gd name="connsiteY1562" fmla="*/ 3861697 h 5756219"/>
              <a:gd name="connsiteX1563" fmla="*/ 1682190 w 6226010"/>
              <a:gd name="connsiteY1563" fmla="*/ 3864414 h 5756219"/>
              <a:gd name="connsiteX1564" fmla="*/ 1687626 w 6226010"/>
              <a:gd name="connsiteY1564" fmla="*/ 3883437 h 5756219"/>
              <a:gd name="connsiteX1565" fmla="*/ 1693061 w 6226010"/>
              <a:gd name="connsiteY1565" fmla="*/ 3891590 h 5756219"/>
              <a:gd name="connsiteX1566" fmla="*/ 1698496 w 6226010"/>
              <a:gd name="connsiteY1566" fmla="*/ 3894308 h 5756219"/>
              <a:gd name="connsiteX1567" fmla="*/ 1701214 w 6226010"/>
              <a:gd name="connsiteY1567" fmla="*/ 3905178 h 5756219"/>
              <a:gd name="connsiteX1568" fmla="*/ 1706649 w 6226010"/>
              <a:gd name="connsiteY1568" fmla="*/ 3907896 h 5756219"/>
              <a:gd name="connsiteX1569" fmla="*/ 1706649 w 6226010"/>
              <a:gd name="connsiteY1569" fmla="*/ 3913331 h 5756219"/>
              <a:gd name="connsiteX1570" fmla="*/ 1717519 w 6226010"/>
              <a:gd name="connsiteY1570" fmla="*/ 3924201 h 5756219"/>
              <a:gd name="connsiteX1571" fmla="*/ 1717519 w 6226010"/>
              <a:gd name="connsiteY1571" fmla="*/ 3929636 h 5756219"/>
              <a:gd name="connsiteX1572" fmla="*/ 1728390 w 6226010"/>
              <a:gd name="connsiteY1572" fmla="*/ 3937789 h 5756219"/>
              <a:gd name="connsiteX1573" fmla="*/ 1741977 w 6226010"/>
              <a:gd name="connsiteY1573" fmla="*/ 3981271 h 5756219"/>
              <a:gd name="connsiteX1574" fmla="*/ 1687626 w 6226010"/>
              <a:gd name="connsiteY1574" fmla="*/ 4027470 h 5756219"/>
              <a:gd name="connsiteX1575" fmla="*/ 1687626 w 6226010"/>
              <a:gd name="connsiteY1575" fmla="*/ 4038340 h 5756219"/>
              <a:gd name="connsiteX1576" fmla="*/ 1668603 w 6226010"/>
              <a:gd name="connsiteY1576" fmla="*/ 4062799 h 5756219"/>
              <a:gd name="connsiteX1577" fmla="*/ 1660450 w 6226010"/>
              <a:gd name="connsiteY1577" fmla="*/ 4062799 h 5756219"/>
              <a:gd name="connsiteX1578" fmla="*/ 1655015 w 6226010"/>
              <a:gd name="connsiteY1578" fmla="*/ 4062799 h 5756219"/>
              <a:gd name="connsiteX1579" fmla="*/ 1649579 w 6226010"/>
              <a:gd name="connsiteY1579" fmla="*/ 4046493 h 5756219"/>
              <a:gd name="connsiteX1580" fmla="*/ 1641427 w 6226010"/>
              <a:gd name="connsiteY1580" fmla="*/ 4038340 h 5756219"/>
              <a:gd name="connsiteX1581" fmla="*/ 1633274 w 6226010"/>
              <a:gd name="connsiteY1581" fmla="*/ 4022035 h 5756219"/>
              <a:gd name="connsiteX1582" fmla="*/ 1627839 w 6226010"/>
              <a:gd name="connsiteY1582" fmla="*/ 4019317 h 5756219"/>
              <a:gd name="connsiteX1583" fmla="*/ 1619686 w 6226010"/>
              <a:gd name="connsiteY1583" fmla="*/ 4005729 h 5756219"/>
              <a:gd name="connsiteX1584" fmla="*/ 1614251 w 6226010"/>
              <a:gd name="connsiteY1584" fmla="*/ 4003011 h 5756219"/>
              <a:gd name="connsiteX1585" fmla="*/ 1606098 w 6226010"/>
              <a:gd name="connsiteY1585" fmla="*/ 3989423 h 5756219"/>
              <a:gd name="connsiteX1586" fmla="*/ 1600663 w 6226010"/>
              <a:gd name="connsiteY1586" fmla="*/ 3986706 h 5756219"/>
              <a:gd name="connsiteX1587" fmla="*/ 1600663 w 6226010"/>
              <a:gd name="connsiteY1587" fmla="*/ 3981271 h 5756219"/>
              <a:gd name="connsiteX1588" fmla="*/ 1587075 w 6226010"/>
              <a:gd name="connsiteY1588" fmla="*/ 3973118 h 5756219"/>
              <a:gd name="connsiteX1589" fmla="*/ 1584357 w 6226010"/>
              <a:gd name="connsiteY1589" fmla="*/ 3959530 h 5756219"/>
              <a:gd name="connsiteX1590" fmla="*/ 1581639 w 6226010"/>
              <a:gd name="connsiteY1590" fmla="*/ 3959530 h 5756219"/>
              <a:gd name="connsiteX1591" fmla="*/ 1573487 w 6226010"/>
              <a:gd name="connsiteY1591" fmla="*/ 3918766 h 5756219"/>
              <a:gd name="connsiteX1592" fmla="*/ 1559899 w 6226010"/>
              <a:gd name="connsiteY1592" fmla="*/ 3872567 h 5756219"/>
              <a:gd name="connsiteX1593" fmla="*/ 1592510 w 6226010"/>
              <a:gd name="connsiteY1593" fmla="*/ 3858979 h 5756219"/>
              <a:gd name="connsiteX1594" fmla="*/ 1619686 w 6226010"/>
              <a:gd name="connsiteY1594" fmla="*/ 3807345 h 5756219"/>
              <a:gd name="connsiteX1595" fmla="*/ 4452863 w 6226010"/>
              <a:gd name="connsiteY1595" fmla="*/ 3806198 h 5756219"/>
              <a:gd name="connsiteX1596" fmla="*/ 4440549 w 6226010"/>
              <a:gd name="connsiteY1596" fmla="*/ 3815497 h 5756219"/>
              <a:gd name="connsiteX1597" fmla="*/ 4410657 w 6226010"/>
              <a:gd name="connsiteY1597" fmla="*/ 3807345 h 5756219"/>
              <a:gd name="connsiteX1598" fmla="*/ 4426961 w 6226010"/>
              <a:gd name="connsiteY1598" fmla="*/ 3820932 h 5756219"/>
              <a:gd name="connsiteX1599" fmla="*/ 4418809 w 6226010"/>
              <a:gd name="connsiteY1599" fmla="*/ 3845391 h 5756219"/>
              <a:gd name="connsiteX1600" fmla="*/ 4432397 w 6226010"/>
              <a:gd name="connsiteY1600" fmla="*/ 3845391 h 5756219"/>
              <a:gd name="connsiteX1601" fmla="*/ 4440549 w 6226010"/>
              <a:gd name="connsiteY1601" fmla="*/ 3815497 h 5756219"/>
              <a:gd name="connsiteX1602" fmla="*/ 4470443 w 6226010"/>
              <a:gd name="connsiteY1602" fmla="*/ 3831803 h 5756219"/>
              <a:gd name="connsiteX1603" fmla="*/ 4452863 w 6226010"/>
              <a:gd name="connsiteY1603" fmla="*/ 3806198 h 5756219"/>
              <a:gd name="connsiteX1604" fmla="*/ 2723710 w 6226010"/>
              <a:gd name="connsiteY1604" fmla="*/ 3801229 h 5756219"/>
              <a:gd name="connsiteX1605" fmla="*/ 2720312 w 6226010"/>
              <a:gd name="connsiteY1605" fmla="*/ 3804627 h 5756219"/>
              <a:gd name="connsiteX1606" fmla="*/ 2690418 w 6226010"/>
              <a:gd name="connsiteY1606" fmla="*/ 3826367 h 5756219"/>
              <a:gd name="connsiteX1607" fmla="*/ 2687922 w 6226010"/>
              <a:gd name="connsiteY1607" fmla="*/ 3820125 h 5756219"/>
              <a:gd name="connsiteX1608" fmla="*/ 2684984 w 6226010"/>
              <a:gd name="connsiteY1608" fmla="*/ 3823650 h 5756219"/>
              <a:gd name="connsiteX1609" fmla="*/ 2679549 w 6226010"/>
              <a:gd name="connsiteY1609" fmla="*/ 3826368 h 5756219"/>
              <a:gd name="connsiteX1610" fmla="*/ 2679549 w 6226010"/>
              <a:gd name="connsiteY1610" fmla="*/ 3829085 h 5756219"/>
              <a:gd name="connsiteX1611" fmla="*/ 2665961 w 6226010"/>
              <a:gd name="connsiteY1611" fmla="*/ 3845391 h 5756219"/>
              <a:gd name="connsiteX1612" fmla="*/ 2646938 w 6226010"/>
              <a:gd name="connsiteY1612" fmla="*/ 3845391 h 5756219"/>
              <a:gd name="connsiteX1613" fmla="*/ 2646938 w 6226010"/>
              <a:gd name="connsiteY1613" fmla="*/ 3842673 h 5756219"/>
              <a:gd name="connsiteX1614" fmla="*/ 2630632 w 6226010"/>
              <a:gd name="connsiteY1614" fmla="*/ 3842673 h 5756219"/>
              <a:gd name="connsiteX1615" fmla="*/ 2627914 w 6226010"/>
              <a:gd name="connsiteY1615" fmla="*/ 3845391 h 5756219"/>
              <a:gd name="connsiteX1616" fmla="*/ 2632033 w 6226010"/>
              <a:gd name="connsiteY1616" fmla="*/ 3855709 h 5756219"/>
              <a:gd name="connsiteX1617" fmla="*/ 2636401 w 6226010"/>
              <a:gd name="connsiteY1617" fmla="*/ 3862492 h 5756219"/>
              <a:gd name="connsiteX1618" fmla="*/ 2638785 w 6226010"/>
              <a:gd name="connsiteY1618" fmla="*/ 3861697 h 5756219"/>
              <a:gd name="connsiteX1619" fmla="*/ 2638785 w 6226010"/>
              <a:gd name="connsiteY1619" fmla="*/ 3858980 h 5756219"/>
              <a:gd name="connsiteX1620" fmla="*/ 2649656 w 6226010"/>
              <a:gd name="connsiteY1620" fmla="*/ 3856262 h 5756219"/>
              <a:gd name="connsiteX1621" fmla="*/ 2649656 w 6226010"/>
              <a:gd name="connsiteY1621" fmla="*/ 3853544 h 5756219"/>
              <a:gd name="connsiteX1622" fmla="*/ 2657809 w 6226010"/>
              <a:gd name="connsiteY1622" fmla="*/ 3853544 h 5756219"/>
              <a:gd name="connsiteX1623" fmla="*/ 2663244 w 6226010"/>
              <a:gd name="connsiteY1623" fmla="*/ 3848109 h 5756219"/>
              <a:gd name="connsiteX1624" fmla="*/ 2671397 w 6226010"/>
              <a:gd name="connsiteY1624" fmla="*/ 3845392 h 5756219"/>
              <a:gd name="connsiteX1625" fmla="*/ 2679026 w 6226010"/>
              <a:gd name="connsiteY1625" fmla="*/ 3845392 h 5756219"/>
              <a:gd name="connsiteX1626" fmla="*/ 2696873 w 6226010"/>
              <a:gd name="connsiteY1626" fmla="*/ 3823310 h 5756219"/>
              <a:gd name="connsiteX1627" fmla="*/ 2723030 w 6226010"/>
              <a:gd name="connsiteY1627" fmla="*/ 3804627 h 5756219"/>
              <a:gd name="connsiteX1628" fmla="*/ 1570770 w 6226010"/>
              <a:gd name="connsiteY1628" fmla="*/ 3799193 h 5756219"/>
              <a:gd name="connsiteX1629" fmla="*/ 1578922 w 6226010"/>
              <a:gd name="connsiteY1629" fmla="*/ 3839957 h 5756219"/>
              <a:gd name="connsiteX1630" fmla="*/ 1565334 w 6226010"/>
              <a:gd name="connsiteY1630" fmla="*/ 3853545 h 5756219"/>
              <a:gd name="connsiteX1631" fmla="*/ 1554464 w 6226010"/>
              <a:gd name="connsiteY1631" fmla="*/ 3858980 h 5756219"/>
              <a:gd name="connsiteX1632" fmla="*/ 1543594 w 6226010"/>
              <a:gd name="connsiteY1632" fmla="*/ 3823651 h 5756219"/>
              <a:gd name="connsiteX1633" fmla="*/ 1543594 w 6226010"/>
              <a:gd name="connsiteY1633" fmla="*/ 3810063 h 5756219"/>
              <a:gd name="connsiteX1634" fmla="*/ 1570770 w 6226010"/>
              <a:gd name="connsiteY1634" fmla="*/ 3799193 h 5756219"/>
              <a:gd name="connsiteX1635" fmla="*/ 1168566 w 6226010"/>
              <a:gd name="connsiteY1635" fmla="*/ 3799193 h 5756219"/>
              <a:gd name="connsiteX1636" fmla="*/ 1174001 w 6226010"/>
              <a:gd name="connsiteY1636" fmla="*/ 3801910 h 5756219"/>
              <a:gd name="connsiteX1637" fmla="*/ 1184871 w 6226010"/>
              <a:gd name="connsiteY1637" fmla="*/ 3804628 h 5756219"/>
              <a:gd name="connsiteX1638" fmla="*/ 1187589 w 6226010"/>
              <a:gd name="connsiteY1638" fmla="*/ 3804628 h 5756219"/>
              <a:gd name="connsiteX1639" fmla="*/ 1182154 w 6226010"/>
              <a:gd name="connsiteY1639" fmla="*/ 3815498 h 5756219"/>
              <a:gd name="connsiteX1640" fmla="*/ 1179436 w 6226010"/>
              <a:gd name="connsiteY1640" fmla="*/ 3815498 h 5756219"/>
              <a:gd name="connsiteX1641" fmla="*/ 1168566 w 6226010"/>
              <a:gd name="connsiteY1641" fmla="*/ 3799193 h 5756219"/>
              <a:gd name="connsiteX1642" fmla="*/ 4478597 w 6226010"/>
              <a:gd name="connsiteY1642" fmla="*/ 3799192 h 5756219"/>
              <a:gd name="connsiteX1643" fmla="*/ 4478597 w 6226010"/>
              <a:gd name="connsiteY1643" fmla="*/ 3815497 h 5756219"/>
              <a:gd name="connsiteX1644" fmla="*/ 4494901 w 6226010"/>
              <a:gd name="connsiteY1644" fmla="*/ 3812780 h 5756219"/>
              <a:gd name="connsiteX1645" fmla="*/ 1597267 w 6226010"/>
              <a:gd name="connsiteY1645" fmla="*/ 3794776 h 5756219"/>
              <a:gd name="connsiteX1646" fmla="*/ 1603381 w 6226010"/>
              <a:gd name="connsiteY1646" fmla="*/ 3799193 h 5756219"/>
              <a:gd name="connsiteX1647" fmla="*/ 1611534 w 6226010"/>
              <a:gd name="connsiteY1647" fmla="*/ 3799193 h 5756219"/>
              <a:gd name="connsiteX1648" fmla="*/ 1592511 w 6226010"/>
              <a:gd name="connsiteY1648" fmla="*/ 3831804 h 5756219"/>
              <a:gd name="connsiteX1649" fmla="*/ 1587076 w 6226010"/>
              <a:gd name="connsiteY1649" fmla="*/ 3831804 h 5756219"/>
              <a:gd name="connsiteX1650" fmla="*/ 1587076 w 6226010"/>
              <a:gd name="connsiteY1650" fmla="*/ 3796475 h 5756219"/>
              <a:gd name="connsiteX1651" fmla="*/ 1597267 w 6226010"/>
              <a:gd name="connsiteY1651" fmla="*/ 3794776 h 5756219"/>
              <a:gd name="connsiteX1652" fmla="*/ 2761077 w 6226010"/>
              <a:gd name="connsiteY1652" fmla="*/ 3793757 h 5756219"/>
              <a:gd name="connsiteX1653" fmla="*/ 2709442 w 6226010"/>
              <a:gd name="connsiteY1653" fmla="*/ 3839956 h 5756219"/>
              <a:gd name="connsiteX1654" fmla="*/ 2693137 w 6226010"/>
              <a:gd name="connsiteY1654" fmla="*/ 3853544 h 5756219"/>
              <a:gd name="connsiteX1655" fmla="*/ 2682266 w 6226010"/>
              <a:gd name="connsiteY1655" fmla="*/ 3853544 h 5756219"/>
              <a:gd name="connsiteX1656" fmla="*/ 2677497 w 6226010"/>
              <a:gd name="connsiteY1656" fmla="*/ 3848774 h 5756219"/>
              <a:gd name="connsiteX1657" fmla="*/ 2671036 w 6226010"/>
              <a:gd name="connsiteY1657" fmla="*/ 3859422 h 5756219"/>
              <a:gd name="connsiteX1658" fmla="*/ 2679549 w 6226010"/>
              <a:gd name="connsiteY1658" fmla="*/ 3859658 h 5756219"/>
              <a:gd name="connsiteX1659" fmla="*/ 2704007 w 6226010"/>
              <a:gd name="connsiteY1659" fmla="*/ 3856261 h 5756219"/>
              <a:gd name="connsiteX1660" fmla="*/ 2725748 w 6226010"/>
              <a:gd name="connsiteY1660" fmla="*/ 3831803 h 5756219"/>
              <a:gd name="connsiteX1661" fmla="*/ 2731183 w 6226010"/>
              <a:gd name="connsiteY1661" fmla="*/ 3829085 h 5756219"/>
              <a:gd name="connsiteX1662" fmla="*/ 2731183 w 6226010"/>
              <a:gd name="connsiteY1662" fmla="*/ 3823650 h 5756219"/>
              <a:gd name="connsiteX1663" fmla="*/ 2736618 w 6226010"/>
              <a:gd name="connsiteY1663" fmla="*/ 3823650 h 5756219"/>
              <a:gd name="connsiteX1664" fmla="*/ 2747489 w 6226010"/>
              <a:gd name="connsiteY1664" fmla="*/ 3810062 h 5756219"/>
              <a:gd name="connsiteX1665" fmla="*/ 2755642 w 6226010"/>
              <a:gd name="connsiteY1665" fmla="*/ 3807345 h 5756219"/>
              <a:gd name="connsiteX1666" fmla="*/ 2761077 w 6226010"/>
              <a:gd name="connsiteY1666" fmla="*/ 3799192 h 5756219"/>
              <a:gd name="connsiteX1667" fmla="*/ 2761077 w 6226010"/>
              <a:gd name="connsiteY1667" fmla="*/ 3793757 h 5756219"/>
              <a:gd name="connsiteX1668" fmla="*/ 1361515 w 6226010"/>
              <a:gd name="connsiteY1668" fmla="*/ 3777452 h 5756219"/>
              <a:gd name="connsiteX1669" fmla="*/ 1366950 w 6226010"/>
              <a:gd name="connsiteY1669" fmla="*/ 3785605 h 5756219"/>
              <a:gd name="connsiteX1670" fmla="*/ 1369667 w 6226010"/>
              <a:gd name="connsiteY1670" fmla="*/ 3777452 h 5756219"/>
              <a:gd name="connsiteX1671" fmla="*/ 1361515 w 6226010"/>
              <a:gd name="connsiteY1671" fmla="*/ 3777452 h 5756219"/>
              <a:gd name="connsiteX1672" fmla="*/ 3788328 w 6226010"/>
              <a:gd name="connsiteY1672" fmla="*/ 3769298 h 5756219"/>
              <a:gd name="connsiteX1673" fmla="*/ 3782893 w 6226010"/>
              <a:gd name="connsiteY1673" fmla="*/ 3910613 h 5756219"/>
              <a:gd name="connsiteX1674" fmla="*/ 3772022 w 6226010"/>
              <a:gd name="connsiteY1674" fmla="*/ 3837238 h 5756219"/>
              <a:gd name="connsiteX1675" fmla="*/ 3755716 w 6226010"/>
              <a:gd name="connsiteY1675" fmla="*/ 3782886 h 5756219"/>
              <a:gd name="connsiteX1676" fmla="*/ 3788328 w 6226010"/>
              <a:gd name="connsiteY1676" fmla="*/ 3769298 h 5756219"/>
              <a:gd name="connsiteX1677" fmla="*/ 1293575 w 6226010"/>
              <a:gd name="connsiteY1677" fmla="*/ 3769298 h 5756219"/>
              <a:gd name="connsiteX1678" fmla="*/ 1293575 w 6226010"/>
              <a:gd name="connsiteY1678" fmla="*/ 3772015 h 5756219"/>
              <a:gd name="connsiteX1679" fmla="*/ 1301728 w 6226010"/>
              <a:gd name="connsiteY1679" fmla="*/ 3772015 h 5756219"/>
              <a:gd name="connsiteX1680" fmla="*/ 1304445 w 6226010"/>
              <a:gd name="connsiteY1680" fmla="*/ 3777451 h 5756219"/>
              <a:gd name="connsiteX1681" fmla="*/ 1318033 w 6226010"/>
              <a:gd name="connsiteY1681" fmla="*/ 3780168 h 5756219"/>
              <a:gd name="connsiteX1682" fmla="*/ 1318033 w 6226010"/>
              <a:gd name="connsiteY1682" fmla="*/ 3782886 h 5756219"/>
              <a:gd name="connsiteX1683" fmla="*/ 1342491 w 6226010"/>
              <a:gd name="connsiteY1683" fmla="*/ 3807344 h 5756219"/>
              <a:gd name="connsiteX1684" fmla="*/ 1342491 w 6226010"/>
              <a:gd name="connsiteY1684" fmla="*/ 3812779 h 5756219"/>
              <a:gd name="connsiteX1685" fmla="*/ 1350644 w 6226010"/>
              <a:gd name="connsiteY1685" fmla="*/ 3818214 h 5756219"/>
              <a:gd name="connsiteX1686" fmla="*/ 1366950 w 6226010"/>
              <a:gd name="connsiteY1686" fmla="*/ 3818214 h 5756219"/>
              <a:gd name="connsiteX1687" fmla="*/ 1385973 w 6226010"/>
              <a:gd name="connsiteY1687" fmla="*/ 3826367 h 5756219"/>
              <a:gd name="connsiteX1688" fmla="*/ 1426737 w 6226010"/>
              <a:gd name="connsiteY1688" fmla="*/ 3826367 h 5756219"/>
              <a:gd name="connsiteX1689" fmla="*/ 1448478 w 6226010"/>
              <a:gd name="connsiteY1689" fmla="*/ 3826367 h 5756219"/>
              <a:gd name="connsiteX1690" fmla="*/ 1451195 w 6226010"/>
              <a:gd name="connsiteY1690" fmla="*/ 3831802 h 5756219"/>
              <a:gd name="connsiteX1691" fmla="*/ 1443042 w 6226010"/>
              <a:gd name="connsiteY1691" fmla="*/ 3858978 h 5756219"/>
              <a:gd name="connsiteX1692" fmla="*/ 1443042 w 6226010"/>
              <a:gd name="connsiteY1692" fmla="*/ 3880719 h 5756219"/>
              <a:gd name="connsiteX1693" fmla="*/ 1443042 w 6226010"/>
              <a:gd name="connsiteY1693" fmla="*/ 3891589 h 5756219"/>
              <a:gd name="connsiteX1694" fmla="*/ 1456630 w 6226010"/>
              <a:gd name="connsiteY1694" fmla="*/ 3907895 h 5756219"/>
              <a:gd name="connsiteX1695" fmla="*/ 1472936 w 6226010"/>
              <a:gd name="connsiteY1695" fmla="*/ 3951376 h 5756219"/>
              <a:gd name="connsiteX1696" fmla="*/ 1443042 w 6226010"/>
              <a:gd name="connsiteY1696" fmla="*/ 3986705 h 5756219"/>
              <a:gd name="connsiteX1697" fmla="*/ 1437607 w 6226010"/>
              <a:gd name="connsiteY1697" fmla="*/ 4000293 h 5756219"/>
              <a:gd name="connsiteX1698" fmla="*/ 1424019 w 6226010"/>
              <a:gd name="connsiteY1698" fmla="*/ 3992140 h 5756219"/>
              <a:gd name="connsiteX1699" fmla="*/ 1418584 w 6226010"/>
              <a:gd name="connsiteY1699" fmla="*/ 3992140 h 5756219"/>
              <a:gd name="connsiteX1700" fmla="*/ 1415866 w 6226010"/>
              <a:gd name="connsiteY1700" fmla="*/ 3986705 h 5756219"/>
              <a:gd name="connsiteX1701" fmla="*/ 1407714 w 6226010"/>
              <a:gd name="connsiteY1701" fmla="*/ 3986705 h 5756219"/>
              <a:gd name="connsiteX1702" fmla="*/ 1402278 w 6226010"/>
              <a:gd name="connsiteY1702" fmla="*/ 3981270 h 5756219"/>
              <a:gd name="connsiteX1703" fmla="*/ 1391408 w 6226010"/>
              <a:gd name="connsiteY1703" fmla="*/ 3978552 h 5756219"/>
              <a:gd name="connsiteX1704" fmla="*/ 1391408 w 6226010"/>
              <a:gd name="connsiteY1704" fmla="*/ 3975835 h 5756219"/>
              <a:gd name="connsiteX1705" fmla="*/ 1380538 w 6226010"/>
              <a:gd name="connsiteY1705" fmla="*/ 3975835 h 5756219"/>
              <a:gd name="connsiteX1706" fmla="*/ 1369667 w 6226010"/>
              <a:gd name="connsiteY1706" fmla="*/ 3967682 h 5756219"/>
              <a:gd name="connsiteX1707" fmla="*/ 1361515 w 6226010"/>
              <a:gd name="connsiteY1707" fmla="*/ 3967682 h 5756219"/>
              <a:gd name="connsiteX1708" fmla="*/ 1358797 w 6226010"/>
              <a:gd name="connsiteY1708" fmla="*/ 3962247 h 5756219"/>
              <a:gd name="connsiteX1709" fmla="*/ 1328904 w 6226010"/>
              <a:gd name="connsiteY1709" fmla="*/ 3959529 h 5756219"/>
              <a:gd name="connsiteX1710" fmla="*/ 1318033 w 6226010"/>
              <a:gd name="connsiteY1710" fmla="*/ 3959529 h 5756219"/>
              <a:gd name="connsiteX1711" fmla="*/ 1318033 w 6226010"/>
              <a:gd name="connsiteY1711" fmla="*/ 3945941 h 5756219"/>
              <a:gd name="connsiteX1712" fmla="*/ 1312598 w 6226010"/>
              <a:gd name="connsiteY1712" fmla="*/ 3943223 h 5756219"/>
              <a:gd name="connsiteX1713" fmla="*/ 1312598 w 6226010"/>
              <a:gd name="connsiteY1713" fmla="*/ 3929636 h 5756219"/>
              <a:gd name="connsiteX1714" fmla="*/ 1307163 w 6226010"/>
              <a:gd name="connsiteY1714" fmla="*/ 3926918 h 5756219"/>
              <a:gd name="connsiteX1715" fmla="*/ 1296292 w 6226010"/>
              <a:gd name="connsiteY1715" fmla="*/ 3905177 h 5756219"/>
              <a:gd name="connsiteX1716" fmla="*/ 1323468 w 6226010"/>
              <a:gd name="connsiteY1716" fmla="*/ 3861696 h 5756219"/>
              <a:gd name="connsiteX1717" fmla="*/ 1328904 w 6226010"/>
              <a:gd name="connsiteY1717" fmla="*/ 3845390 h 5756219"/>
              <a:gd name="connsiteX1718" fmla="*/ 1328904 w 6226010"/>
              <a:gd name="connsiteY1718" fmla="*/ 3837238 h 5756219"/>
              <a:gd name="connsiteX1719" fmla="*/ 1323468 w 6226010"/>
              <a:gd name="connsiteY1719" fmla="*/ 3837238 h 5756219"/>
              <a:gd name="connsiteX1720" fmla="*/ 1301728 w 6226010"/>
              <a:gd name="connsiteY1720" fmla="*/ 3875284 h 5756219"/>
              <a:gd name="connsiteX1721" fmla="*/ 1301728 w 6226010"/>
              <a:gd name="connsiteY1721" fmla="*/ 3867131 h 5756219"/>
              <a:gd name="connsiteX1722" fmla="*/ 1290857 w 6226010"/>
              <a:gd name="connsiteY1722" fmla="*/ 3858978 h 5756219"/>
              <a:gd name="connsiteX1723" fmla="*/ 1290857 w 6226010"/>
              <a:gd name="connsiteY1723" fmla="*/ 3842673 h 5756219"/>
              <a:gd name="connsiteX1724" fmla="*/ 1288140 w 6226010"/>
              <a:gd name="connsiteY1724" fmla="*/ 3810062 h 5756219"/>
              <a:gd name="connsiteX1725" fmla="*/ 1293575 w 6226010"/>
              <a:gd name="connsiteY1725" fmla="*/ 3799191 h 5756219"/>
              <a:gd name="connsiteX1726" fmla="*/ 1279987 w 6226010"/>
              <a:gd name="connsiteY1726" fmla="*/ 3785603 h 5756219"/>
              <a:gd name="connsiteX1727" fmla="*/ 1293575 w 6226010"/>
              <a:gd name="connsiteY1727" fmla="*/ 3769298 h 5756219"/>
              <a:gd name="connsiteX1728" fmla="*/ 516343 w 6226010"/>
              <a:gd name="connsiteY1728" fmla="*/ 3769298 h 5756219"/>
              <a:gd name="connsiteX1729" fmla="*/ 519060 w 6226010"/>
              <a:gd name="connsiteY1729" fmla="*/ 3788321 h 5756219"/>
              <a:gd name="connsiteX1730" fmla="*/ 562542 w 6226010"/>
              <a:gd name="connsiteY1730" fmla="*/ 3810062 h 5756219"/>
              <a:gd name="connsiteX1731" fmla="*/ 516343 w 6226010"/>
              <a:gd name="connsiteY1731" fmla="*/ 3769298 h 5756219"/>
              <a:gd name="connsiteX1732" fmla="*/ 2521929 w 6226010"/>
              <a:gd name="connsiteY1732" fmla="*/ 3766581 h 5756219"/>
              <a:gd name="connsiteX1733" fmla="*/ 2535517 w 6226010"/>
              <a:gd name="connsiteY1733" fmla="*/ 3780169 h 5756219"/>
              <a:gd name="connsiteX1734" fmla="*/ 2543669 w 6226010"/>
              <a:gd name="connsiteY1734" fmla="*/ 3788322 h 5756219"/>
              <a:gd name="connsiteX1735" fmla="*/ 2519211 w 6226010"/>
              <a:gd name="connsiteY1735" fmla="*/ 3864414 h 5756219"/>
              <a:gd name="connsiteX1736" fmla="*/ 2481165 w 6226010"/>
              <a:gd name="connsiteY1736" fmla="*/ 3872567 h 5756219"/>
              <a:gd name="connsiteX1737" fmla="*/ 2489317 w 6226010"/>
              <a:gd name="connsiteY1737" fmla="*/ 3848109 h 5756219"/>
              <a:gd name="connsiteX1738" fmla="*/ 2494753 w 6226010"/>
              <a:gd name="connsiteY1738" fmla="*/ 3823650 h 5756219"/>
              <a:gd name="connsiteX1739" fmla="*/ 2505623 w 6226010"/>
              <a:gd name="connsiteY1739" fmla="*/ 3807345 h 5756219"/>
              <a:gd name="connsiteX1740" fmla="*/ 2511058 w 6226010"/>
              <a:gd name="connsiteY1740" fmla="*/ 3780169 h 5756219"/>
              <a:gd name="connsiteX1741" fmla="*/ 2521929 w 6226010"/>
              <a:gd name="connsiteY1741" fmla="*/ 3766581 h 5756219"/>
              <a:gd name="connsiteX1742" fmla="*/ 4438172 w 6226010"/>
              <a:gd name="connsiteY1742" fmla="*/ 3762844 h 5756219"/>
              <a:gd name="connsiteX1743" fmla="*/ 4424245 w 6226010"/>
              <a:gd name="connsiteY1743" fmla="*/ 3772016 h 5756219"/>
              <a:gd name="connsiteX1744" fmla="*/ 4410657 w 6226010"/>
              <a:gd name="connsiteY1744" fmla="*/ 3763863 h 5756219"/>
              <a:gd name="connsiteX1745" fmla="*/ 4432397 w 6226010"/>
              <a:gd name="connsiteY1745" fmla="*/ 3801909 h 5756219"/>
              <a:gd name="connsiteX1746" fmla="*/ 4454137 w 6226010"/>
              <a:gd name="connsiteY1746" fmla="*/ 3772016 h 5756219"/>
              <a:gd name="connsiteX1747" fmla="*/ 4438172 w 6226010"/>
              <a:gd name="connsiteY1747" fmla="*/ 3762844 h 5756219"/>
              <a:gd name="connsiteX1748" fmla="*/ 3791045 w 6226010"/>
              <a:gd name="connsiteY1748" fmla="*/ 3752993 h 5756219"/>
              <a:gd name="connsiteX1749" fmla="*/ 3791045 w 6226010"/>
              <a:gd name="connsiteY1749" fmla="*/ 3761146 h 5756219"/>
              <a:gd name="connsiteX1750" fmla="*/ 3777457 w 6226010"/>
              <a:gd name="connsiteY1750" fmla="*/ 3761146 h 5756219"/>
              <a:gd name="connsiteX1751" fmla="*/ 3791045 w 6226010"/>
              <a:gd name="connsiteY1751" fmla="*/ 3752993 h 5756219"/>
              <a:gd name="connsiteX1752" fmla="*/ 1244658 w 6226010"/>
              <a:gd name="connsiteY1752" fmla="*/ 3744841 h 5756219"/>
              <a:gd name="connsiteX1753" fmla="*/ 1277269 w 6226010"/>
              <a:gd name="connsiteY1753" fmla="*/ 3750276 h 5756219"/>
              <a:gd name="connsiteX1754" fmla="*/ 1282704 w 6226010"/>
              <a:gd name="connsiteY1754" fmla="*/ 3755711 h 5756219"/>
              <a:gd name="connsiteX1755" fmla="*/ 1269116 w 6226010"/>
              <a:gd name="connsiteY1755" fmla="*/ 3774734 h 5756219"/>
              <a:gd name="connsiteX1756" fmla="*/ 1244658 w 6226010"/>
              <a:gd name="connsiteY1756" fmla="*/ 3744841 h 5756219"/>
              <a:gd name="connsiteX1757" fmla="*/ 1622404 w 6226010"/>
              <a:gd name="connsiteY1757" fmla="*/ 3733971 h 5756219"/>
              <a:gd name="connsiteX1758" fmla="*/ 1633274 w 6226010"/>
              <a:gd name="connsiteY1758" fmla="*/ 3755712 h 5756219"/>
              <a:gd name="connsiteX1759" fmla="*/ 1665885 w 6226010"/>
              <a:gd name="connsiteY1759" fmla="*/ 3739406 h 5756219"/>
              <a:gd name="connsiteX1760" fmla="*/ 1665885 w 6226010"/>
              <a:gd name="connsiteY1760" fmla="*/ 3742124 h 5756219"/>
              <a:gd name="connsiteX1761" fmla="*/ 1676756 w 6226010"/>
              <a:gd name="connsiteY1761" fmla="*/ 3744841 h 5756219"/>
              <a:gd name="connsiteX1762" fmla="*/ 1690345 w 6226010"/>
              <a:gd name="connsiteY1762" fmla="*/ 3758429 h 5756219"/>
              <a:gd name="connsiteX1763" fmla="*/ 1635992 w 6226010"/>
              <a:gd name="connsiteY1763" fmla="*/ 3782887 h 5756219"/>
              <a:gd name="connsiteX1764" fmla="*/ 1627839 w 6226010"/>
              <a:gd name="connsiteY1764" fmla="*/ 3777452 h 5756219"/>
              <a:gd name="connsiteX1765" fmla="*/ 1622404 w 6226010"/>
              <a:gd name="connsiteY1765" fmla="*/ 3733971 h 5756219"/>
              <a:gd name="connsiteX1766" fmla="*/ 4465009 w 6226010"/>
              <a:gd name="connsiteY1766" fmla="*/ 3733970 h 5756219"/>
              <a:gd name="connsiteX1767" fmla="*/ 4478597 w 6226010"/>
              <a:gd name="connsiteY1767" fmla="*/ 3742122 h 5756219"/>
              <a:gd name="connsiteX1768" fmla="*/ 4486749 w 6226010"/>
              <a:gd name="connsiteY1768" fmla="*/ 3763863 h 5756219"/>
              <a:gd name="connsiteX1769" fmla="*/ 4470443 w 6226010"/>
              <a:gd name="connsiteY1769" fmla="*/ 3788321 h 5756219"/>
              <a:gd name="connsiteX1770" fmla="*/ 4500337 w 6226010"/>
              <a:gd name="connsiteY1770" fmla="*/ 3793757 h 5756219"/>
              <a:gd name="connsiteX1771" fmla="*/ 4503055 w 6226010"/>
              <a:gd name="connsiteY1771" fmla="*/ 3818215 h 5756219"/>
              <a:gd name="connsiteX1772" fmla="*/ 4538383 w 6226010"/>
              <a:gd name="connsiteY1772" fmla="*/ 3780169 h 5756219"/>
              <a:gd name="connsiteX1773" fmla="*/ 4530231 w 6226010"/>
              <a:gd name="connsiteY1773" fmla="*/ 3769298 h 5756219"/>
              <a:gd name="connsiteX1774" fmla="*/ 4505771 w 6226010"/>
              <a:gd name="connsiteY1774" fmla="*/ 3796474 h 5756219"/>
              <a:gd name="connsiteX1775" fmla="*/ 4489467 w 6226010"/>
              <a:gd name="connsiteY1775" fmla="*/ 3766581 h 5756219"/>
              <a:gd name="connsiteX1776" fmla="*/ 4511207 w 6226010"/>
              <a:gd name="connsiteY1776" fmla="*/ 3758428 h 5756219"/>
              <a:gd name="connsiteX1777" fmla="*/ 4511207 w 6226010"/>
              <a:gd name="connsiteY1777" fmla="*/ 3733970 h 5756219"/>
              <a:gd name="connsiteX1778" fmla="*/ 1375103 w 6226010"/>
              <a:gd name="connsiteY1778" fmla="*/ 3731253 h 5756219"/>
              <a:gd name="connsiteX1779" fmla="*/ 1409412 w 6226010"/>
              <a:gd name="connsiteY1779" fmla="*/ 3731253 h 5756219"/>
              <a:gd name="connsiteX1780" fmla="*/ 1437607 w 6226010"/>
              <a:gd name="connsiteY1780" fmla="*/ 3739406 h 5756219"/>
              <a:gd name="connsiteX1781" fmla="*/ 1451195 w 6226010"/>
              <a:gd name="connsiteY1781" fmla="*/ 3752994 h 5756219"/>
              <a:gd name="connsiteX1782" fmla="*/ 1456630 w 6226010"/>
              <a:gd name="connsiteY1782" fmla="*/ 3807345 h 5756219"/>
              <a:gd name="connsiteX1783" fmla="*/ 1453913 w 6226010"/>
              <a:gd name="connsiteY1783" fmla="*/ 3818216 h 5756219"/>
              <a:gd name="connsiteX1784" fmla="*/ 1445760 w 6226010"/>
              <a:gd name="connsiteY1784" fmla="*/ 3815498 h 5756219"/>
              <a:gd name="connsiteX1785" fmla="*/ 1407714 w 6226010"/>
              <a:gd name="connsiteY1785" fmla="*/ 3766581 h 5756219"/>
              <a:gd name="connsiteX1786" fmla="*/ 1402279 w 6226010"/>
              <a:gd name="connsiteY1786" fmla="*/ 3766581 h 5756219"/>
              <a:gd name="connsiteX1787" fmla="*/ 1388691 w 6226010"/>
              <a:gd name="connsiteY1787" fmla="*/ 3777452 h 5756219"/>
              <a:gd name="connsiteX1788" fmla="*/ 1394126 w 6226010"/>
              <a:gd name="connsiteY1788" fmla="*/ 3780169 h 5756219"/>
              <a:gd name="connsiteX1789" fmla="*/ 1410431 w 6226010"/>
              <a:gd name="connsiteY1789" fmla="*/ 3810063 h 5756219"/>
              <a:gd name="connsiteX1790" fmla="*/ 1407714 w 6226010"/>
              <a:gd name="connsiteY1790" fmla="*/ 3815498 h 5756219"/>
              <a:gd name="connsiteX1791" fmla="*/ 1364232 w 6226010"/>
              <a:gd name="connsiteY1791" fmla="*/ 3815498 h 5756219"/>
              <a:gd name="connsiteX1792" fmla="*/ 1361515 w 6226010"/>
              <a:gd name="connsiteY1792" fmla="*/ 3810063 h 5756219"/>
              <a:gd name="connsiteX1793" fmla="*/ 1342492 w 6226010"/>
              <a:gd name="connsiteY1793" fmla="*/ 3807345 h 5756219"/>
              <a:gd name="connsiteX1794" fmla="*/ 1309880 w 6226010"/>
              <a:gd name="connsiteY1794" fmla="*/ 3769299 h 5756219"/>
              <a:gd name="connsiteX1795" fmla="*/ 1309880 w 6226010"/>
              <a:gd name="connsiteY1795" fmla="*/ 3766581 h 5756219"/>
              <a:gd name="connsiteX1796" fmla="*/ 1307163 w 6226010"/>
              <a:gd name="connsiteY1796" fmla="*/ 3766581 h 5756219"/>
              <a:gd name="connsiteX1797" fmla="*/ 1307163 w 6226010"/>
              <a:gd name="connsiteY1797" fmla="*/ 3761146 h 5756219"/>
              <a:gd name="connsiteX1798" fmla="*/ 1364232 w 6226010"/>
              <a:gd name="connsiteY1798" fmla="*/ 3750276 h 5756219"/>
              <a:gd name="connsiteX1799" fmla="*/ 1375103 w 6226010"/>
              <a:gd name="connsiteY1799" fmla="*/ 3731253 h 5756219"/>
              <a:gd name="connsiteX1800" fmla="*/ 1491959 w 6226010"/>
              <a:gd name="connsiteY1800" fmla="*/ 3720383 h 5756219"/>
              <a:gd name="connsiteX1801" fmla="*/ 1527289 w 6226010"/>
              <a:gd name="connsiteY1801" fmla="*/ 3720383 h 5756219"/>
              <a:gd name="connsiteX1802" fmla="*/ 1510982 w 6226010"/>
              <a:gd name="connsiteY1802" fmla="*/ 3772017 h 5756219"/>
              <a:gd name="connsiteX1803" fmla="*/ 1513700 w 6226010"/>
              <a:gd name="connsiteY1803" fmla="*/ 3804628 h 5756219"/>
              <a:gd name="connsiteX1804" fmla="*/ 1502829 w 6226010"/>
              <a:gd name="connsiteY1804" fmla="*/ 3812781 h 5756219"/>
              <a:gd name="connsiteX1805" fmla="*/ 1486524 w 6226010"/>
              <a:gd name="connsiteY1805" fmla="*/ 3812781 h 5756219"/>
              <a:gd name="connsiteX1806" fmla="*/ 1486524 w 6226010"/>
              <a:gd name="connsiteY1806" fmla="*/ 3777452 h 5756219"/>
              <a:gd name="connsiteX1807" fmla="*/ 1486524 w 6226010"/>
              <a:gd name="connsiteY1807" fmla="*/ 3755711 h 5756219"/>
              <a:gd name="connsiteX1808" fmla="*/ 1491959 w 6226010"/>
              <a:gd name="connsiteY1808" fmla="*/ 3742124 h 5756219"/>
              <a:gd name="connsiteX1809" fmla="*/ 1491959 w 6226010"/>
              <a:gd name="connsiteY1809" fmla="*/ 3720383 h 5756219"/>
              <a:gd name="connsiteX1810" fmla="*/ 2576281 w 6226010"/>
              <a:gd name="connsiteY1810" fmla="*/ 3709513 h 5756219"/>
              <a:gd name="connsiteX1811" fmla="*/ 2581716 w 6226010"/>
              <a:gd name="connsiteY1811" fmla="*/ 3712230 h 5756219"/>
              <a:gd name="connsiteX1812" fmla="*/ 2595304 w 6226010"/>
              <a:gd name="connsiteY1812" fmla="*/ 3712230 h 5756219"/>
              <a:gd name="connsiteX1813" fmla="*/ 2598022 w 6226010"/>
              <a:gd name="connsiteY1813" fmla="*/ 3731253 h 5756219"/>
              <a:gd name="connsiteX1814" fmla="*/ 2584434 w 6226010"/>
              <a:gd name="connsiteY1814" fmla="*/ 3742124 h 5756219"/>
              <a:gd name="connsiteX1815" fmla="*/ 2578998 w 6226010"/>
              <a:gd name="connsiteY1815" fmla="*/ 3758429 h 5756219"/>
              <a:gd name="connsiteX1816" fmla="*/ 2562693 w 6226010"/>
              <a:gd name="connsiteY1816" fmla="*/ 3788323 h 5756219"/>
              <a:gd name="connsiteX1817" fmla="*/ 2559975 w 6226010"/>
              <a:gd name="connsiteY1817" fmla="*/ 3788323 h 5756219"/>
              <a:gd name="connsiteX1818" fmla="*/ 2546387 w 6226010"/>
              <a:gd name="connsiteY1818" fmla="*/ 3774735 h 5756219"/>
              <a:gd name="connsiteX1819" fmla="*/ 2532799 w 6226010"/>
              <a:gd name="connsiteY1819" fmla="*/ 3758429 h 5756219"/>
              <a:gd name="connsiteX1820" fmla="*/ 2543670 w 6226010"/>
              <a:gd name="connsiteY1820" fmla="*/ 3739406 h 5756219"/>
              <a:gd name="connsiteX1821" fmla="*/ 2554540 w 6226010"/>
              <a:gd name="connsiteY1821" fmla="*/ 3723101 h 5756219"/>
              <a:gd name="connsiteX1822" fmla="*/ 2562693 w 6226010"/>
              <a:gd name="connsiteY1822" fmla="*/ 3723101 h 5756219"/>
              <a:gd name="connsiteX1823" fmla="*/ 2576281 w 6226010"/>
              <a:gd name="connsiteY1823" fmla="*/ 3709513 h 5756219"/>
              <a:gd name="connsiteX1824" fmla="*/ 3772022 w 6226010"/>
              <a:gd name="connsiteY1824" fmla="*/ 3706795 h 5756219"/>
              <a:gd name="connsiteX1825" fmla="*/ 3782892 w 6226010"/>
              <a:gd name="connsiteY1825" fmla="*/ 3723100 h 5756219"/>
              <a:gd name="connsiteX1826" fmla="*/ 3769304 w 6226010"/>
              <a:gd name="connsiteY1826" fmla="*/ 3747559 h 5756219"/>
              <a:gd name="connsiteX1827" fmla="*/ 3772022 w 6226010"/>
              <a:gd name="connsiteY1827" fmla="*/ 3706795 h 5756219"/>
              <a:gd name="connsiteX1828" fmla="*/ 1600664 w 6226010"/>
              <a:gd name="connsiteY1828" fmla="*/ 3706795 h 5756219"/>
              <a:gd name="connsiteX1829" fmla="*/ 1606099 w 6226010"/>
              <a:gd name="connsiteY1829" fmla="*/ 3739406 h 5756219"/>
              <a:gd name="connsiteX1830" fmla="*/ 1606099 w 6226010"/>
              <a:gd name="connsiteY1830" fmla="*/ 3758429 h 5756219"/>
              <a:gd name="connsiteX1831" fmla="*/ 1606099 w 6226010"/>
              <a:gd name="connsiteY1831" fmla="*/ 3774735 h 5756219"/>
              <a:gd name="connsiteX1832" fmla="*/ 1581640 w 6226010"/>
              <a:gd name="connsiteY1832" fmla="*/ 3777452 h 5756219"/>
              <a:gd name="connsiteX1833" fmla="*/ 1581640 w 6226010"/>
              <a:gd name="connsiteY1833" fmla="*/ 3763864 h 5756219"/>
              <a:gd name="connsiteX1834" fmla="*/ 1578922 w 6226010"/>
              <a:gd name="connsiteY1834" fmla="*/ 3755711 h 5756219"/>
              <a:gd name="connsiteX1835" fmla="*/ 1570769 w 6226010"/>
              <a:gd name="connsiteY1835" fmla="*/ 3755711 h 5756219"/>
              <a:gd name="connsiteX1836" fmla="*/ 1568052 w 6226010"/>
              <a:gd name="connsiteY1836" fmla="*/ 3782887 h 5756219"/>
              <a:gd name="connsiteX1837" fmla="*/ 1546311 w 6226010"/>
              <a:gd name="connsiteY1837" fmla="*/ 3791040 h 5756219"/>
              <a:gd name="connsiteX1838" fmla="*/ 1540876 w 6226010"/>
              <a:gd name="connsiteY1838" fmla="*/ 3791040 h 5756219"/>
              <a:gd name="connsiteX1839" fmla="*/ 1546311 w 6226010"/>
              <a:gd name="connsiteY1839" fmla="*/ 3739406 h 5756219"/>
              <a:gd name="connsiteX1840" fmla="*/ 1546311 w 6226010"/>
              <a:gd name="connsiteY1840" fmla="*/ 3714948 h 5756219"/>
              <a:gd name="connsiteX1841" fmla="*/ 1600664 w 6226010"/>
              <a:gd name="connsiteY1841" fmla="*/ 3706795 h 5756219"/>
              <a:gd name="connsiteX1842" fmla="*/ 4693286 w 6226010"/>
              <a:gd name="connsiteY1842" fmla="*/ 3706794 h 5756219"/>
              <a:gd name="connsiteX1843" fmla="*/ 4693286 w 6226010"/>
              <a:gd name="connsiteY1843" fmla="*/ 3723099 h 5756219"/>
              <a:gd name="connsiteX1844" fmla="*/ 4709592 w 6226010"/>
              <a:gd name="connsiteY1844" fmla="*/ 3720382 h 5756219"/>
              <a:gd name="connsiteX1845" fmla="*/ 3810068 w 6226010"/>
              <a:gd name="connsiteY1845" fmla="*/ 3695925 h 5756219"/>
              <a:gd name="connsiteX1846" fmla="*/ 3820938 w 6226010"/>
              <a:gd name="connsiteY1846" fmla="*/ 3701360 h 5756219"/>
              <a:gd name="connsiteX1847" fmla="*/ 3810068 w 6226010"/>
              <a:gd name="connsiteY1847" fmla="*/ 3714948 h 5756219"/>
              <a:gd name="connsiteX1848" fmla="*/ 3739411 w 6226010"/>
              <a:gd name="connsiteY1848" fmla="*/ 3690489 h 5756219"/>
              <a:gd name="connsiteX1849" fmla="*/ 3747563 w 6226010"/>
              <a:gd name="connsiteY1849" fmla="*/ 3693206 h 5756219"/>
              <a:gd name="connsiteX1850" fmla="*/ 3739411 w 6226010"/>
              <a:gd name="connsiteY1850" fmla="*/ 3704077 h 5756219"/>
              <a:gd name="connsiteX1851" fmla="*/ 3739411 w 6226010"/>
              <a:gd name="connsiteY1851" fmla="*/ 3690489 h 5756219"/>
              <a:gd name="connsiteX1852" fmla="*/ 679398 w 6226010"/>
              <a:gd name="connsiteY1852" fmla="*/ 3690488 h 5756219"/>
              <a:gd name="connsiteX1853" fmla="*/ 682116 w 6226010"/>
              <a:gd name="connsiteY1853" fmla="*/ 3720382 h 5756219"/>
              <a:gd name="connsiteX1854" fmla="*/ 654940 w 6226010"/>
              <a:gd name="connsiteY1854" fmla="*/ 3733970 h 5756219"/>
              <a:gd name="connsiteX1855" fmla="*/ 660375 w 6226010"/>
              <a:gd name="connsiteY1855" fmla="*/ 3782886 h 5756219"/>
              <a:gd name="connsiteX1856" fmla="*/ 712009 w 6226010"/>
              <a:gd name="connsiteY1856" fmla="*/ 3763863 h 5756219"/>
              <a:gd name="connsiteX1857" fmla="*/ 679398 w 6226010"/>
              <a:gd name="connsiteY1857" fmla="*/ 3690488 h 5756219"/>
              <a:gd name="connsiteX1858" fmla="*/ 4494901 w 6226010"/>
              <a:gd name="connsiteY1858" fmla="*/ 3685053 h 5756219"/>
              <a:gd name="connsiteX1859" fmla="*/ 4478597 w 6226010"/>
              <a:gd name="connsiteY1859" fmla="*/ 3701359 h 5756219"/>
              <a:gd name="connsiteX1860" fmla="*/ 4503055 w 6226010"/>
              <a:gd name="connsiteY1860" fmla="*/ 3701359 h 5756219"/>
              <a:gd name="connsiteX1861" fmla="*/ 2117006 w 6226010"/>
              <a:gd name="connsiteY1861" fmla="*/ 3685053 h 5756219"/>
              <a:gd name="connsiteX1862" fmla="*/ 2103418 w 6226010"/>
              <a:gd name="connsiteY1862" fmla="*/ 3698641 h 5756219"/>
              <a:gd name="connsiteX1863" fmla="*/ 2100700 w 6226010"/>
              <a:gd name="connsiteY1863" fmla="*/ 3698641 h 5756219"/>
              <a:gd name="connsiteX1864" fmla="*/ 2100700 w 6226010"/>
              <a:gd name="connsiteY1864" fmla="*/ 3704076 h 5756219"/>
              <a:gd name="connsiteX1865" fmla="*/ 2084395 w 6226010"/>
              <a:gd name="connsiteY1865" fmla="*/ 3723099 h 5756219"/>
              <a:gd name="connsiteX1866" fmla="*/ 2084395 w 6226010"/>
              <a:gd name="connsiteY1866" fmla="*/ 3725817 h 5756219"/>
              <a:gd name="connsiteX1867" fmla="*/ 2078960 w 6226010"/>
              <a:gd name="connsiteY1867" fmla="*/ 3725817 h 5756219"/>
              <a:gd name="connsiteX1868" fmla="*/ 2073524 w 6226010"/>
              <a:gd name="connsiteY1868" fmla="*/ 3739405 h 5756219"/>
              <a:gd name="connsiteX1869" fmla="*/ 2049066 w 6226010"/>
              <a:gd name="connsiteY1869" fmla="*/ 3774733 h 5756219"/>
              <a:gd name="connsiteX1870" fmla="*/ 2038196 w 6226010"/>
              <a:gd name="connsiteY1870" fmla="*/ 3788321 h 5756219"/>
              <a:gd name="connsiteX1871" fmla="*/ 2043631 w 6226010"/>
              <a:gd name="connsiteY1871" fmla="*/ 3807345 h 5756219"/>
              <a:gd name="connsiteX1872" fmla="*/ 2043631 w 6226010"/>
              <a:gd name="connsiteY1872" fmla="*/ 3826368 h 5756219"/>
              <a:gd name="connsiteX1873" fmla="*/ 2043631 w 6226010"/>
              <a:gd name="connsiteY1873" fmla="*/ 3867131 h 5756219"/>
              <a:gd name="connsiteX1874" fmla="*/ 2016455 w 6226010"/>
              <a:gd name="connsiteY1874" fmla="*/ 3907895 h 5756219"/>
              <a:gd name="connsiteX1875" fmla="*/ 2013737 w 6226010"/>
              <a:gd name="connsiteY1875" fmla="*/ 3921483 h 5756219"/>
              <a:gd name="connsiteX1876" fmla="*/ 1997432 w 6226010"/>
              <a:gd name="connsiteY1876" fmla="*/ 3940507 h 5756219"/>
              <a:gd name="connsiteX1877" fmla="*/ 2000149 w 6226010"/>
              <a:gd name="connsiteY1877" fmla="*/ 3973118 h 5756219"/>
              <a:gd name="connsiteX1878" fmla="*/ 1998451 w 6226010"/>
              <a:gd name="connsiteY1878" fmla="*/ 4008107 h 5756219"/>
              <a:gd name="connsiteX1879" fmla="*/ 1990158 w 6226010"/>
              <a:gd name="connsiteY1879" fmla="*/ 4031089 h 5756219"/>
              <a:gd name="connsiteX1880" fmla="*/ 2002867 w 6226010"/>
              <a:gd name="connsiteY1880" fmla="*/ 4032905 h 5756219"/>
              <a:gd name="connsiteX1881" fmla="*/ 2005584 w 6226010"/>
              <a:gd name="connsiteY1881" fmla="*/ 4038340 h 5756219"/>
              <a:gd name="connsiteX1882" fmla="*/ 2013737 w 6226010"/>
              <a:gd name="connsiteY1882" fmla="*/ 4041058 h 5756219"/>
              <a:gd name="connsiteX1883" fmla="*/ 2013737 w 6226010"/>
              <a:gd name="connsiteY1883" fmla="*/ 4043775 h 5756219"/>
              <a:gd name="connsiteX1884" fmla="*/ 2024608 w 6226010"/>
              <a:gd name="connsiteY1884" fmla="*/ 4046493 h 5756219"/>
              <a:gd name="connsiteX1885" fmla="*/ 2024608 w 6226010"/>
              <a:gd name="connsiteY1885" fmla="*/ 4051928 h 5756219"/>
              <a:gd name="connsiteX1886" fmla="*/ 2031742 w 6226010"/>
              <a:gd name="connsiteY1886" fmla="*/ 4058382 h 5756219"/>
              <a:gd name="connsiteX1887" fmla="*/ 2034696 w 6226010"/>
              <a:gd name="connsiteY1887" fmla="*/ 4059805 h 5756219"/>
              <a:gd name="connsiteX1888" fmla="*/ 2042272 w 6226010"/>
              <a:gd name="connsiteY1888" fmla="*/ 4058722 h 5756219"/>
              <a:gd name="connsiteX1889" fmla="*/ 2051784 w 6226010"/>
              <a:gd name="connsiteY1889" fmla="*/ 4057363 h 5756219"/>
              <a:gd name="connsiteX1890" fmla="*/ 2111571 w 6226010"/>
              <a:gd name="connsiteY1890" fmla="*/ 4003011 h 5756219"/>
              <a:gd name="connsiteX1891" fmla="*/ 2111571 w 6226010"/>
              <a:gd name="connsiteY1891" fmla="*/ 4000294 h 5756219"/>
              <a:gd name="connsiteX1892" fmla="*/ 2130594 w 6226010"/>
              <a:gd name="connsiteY1892" fmla="*/ 4000294 h 5756219"/>
              <a:gd name="connsiteX1893" fmla="*/ 2138747 w 6226010"/>
              <a:gd name="connsiteY1893" fmla="*/ 4005729 h 5756219"/>
              <a:gd name="connsiteX1894" fmla="*/ 2184946 w 6226010"/>
              <a:gd name="connsiteY1894" fmla="*/ 4000294 h 5756219"/>
              <a:gd name="connsiteX1895" fmla="*/ 2193098 w 6226010"/>
              <a:gd name="connsiteY1895" fmla="*/ 4005729 h 5756219"/>
              <a:gd name="connsiteX1896" fmla="*/ 2201251 w 6226010"/>
              <a:gd name="connsiteY1896" fmla="*/ 4000294 h 5756219"/>
              <a:gd name="connsiteX1897" fmla="*/ 2217557 w 6226010"/>
              <a:gd name="connsiteY1897" fmla="*/ 4005729 h 5756219"/>
              <a:gd name="connsiteX1898" fmla="*/ 2236580 w 6226010"/>
              <a:gd name="connsiteY1898" fmla="*/ 4005729 h 5756219"/>
              <a:gd name="connsiteX1899" fmla="*/ 2255603 w 6226010"/>
              <a:gd name="connsiteY1899" fmla="*/ 4011164 h 5756219"/>
              <a:gd name="connsiteX1900" fmla="*/ 2273267 w 6226010"/>
              <a:gd name="connsiteY1900" fmla="*/ 3982630 h 5756219"/>
              <a:gd name="connsiteX1901" fmla="*/ 2278696 w 6226010"/>
              <a:gd name="connsiteY1901" fmla="*/ 3973861 h 5756219"/>
              <a:gd name="connsiteX1902" fmla="*/ 2252885 w 6226010"/>
              <a:gd name="connsiteY1902" fmla="*/ 3978554 h 5756219"/>
              <a:gd name="connsiteX1903" fmla="*/ 2250168 w 6226010"/>
              <a:gd name="connsiteY1903" fmla="*/ 3981271 h 5756219"/>
              <a:gd name="connsiteX1904" fmla="*/ 2212122 w 6226010"/>
              <a:gd name="connsiteY1904" fmla="*/ 3981271 h 5756219"/>
              <a:gd name="connsiteX1905" fmla="*/ 2190381 w 6226010"/>
              <a:gd name="connsiteY1905" fmla="*/ 3973119 h 5756219"/>
              <a:gd name="connsiteX1906" fmla="*/ 2198534 w 6226010"/>
              <a:gd name="connsiteY1906" fmla="*/ 3935072 h 5756219"/>
              <a:gd name="connsiteX1907" fmla="*/ 2214839 w 6226010"/>
              <a:gd name="connsiteY1907" fmla="*/ 3932355 h 5756219"/>
              <a:gd name="connsiteX1908" fmla="*/ 2222992 w 6226010"/>
              <a:gd name="connsiteY1908" fmla="*/ 3926919 h 5756219"/>
              <a:gd name="connsiteX1909" fmla="*/ 2233862 w 6226010"/>
              <a:gd name="connsiteY1909" fmla="*/ 3926919 h 5756219"/>
              <a:gd name="connsiteX1910" fmla="*/ 2258321 w 6226010"/>
              <a:gd name="connsiteY1910" fmla="*/ 3897026 h 5756219"/>
              <a:gd name="connsiteX1911" fmla="*/ 2288214 w 6226010"/>
              <a:gd name="connsiteY1911" fmla="*/ 3897026 h 5756219"/>
              <a:gd name="connsiteX1912" fmla="*/ 2292291 w 6226010"/>
              <a:gd name="connsiteY1912" fmla="*/ 3895667 h 5756219"/>
              <a:gd name="connsiteX1913" fmla="*/ 2285497 w 6226010"/>
              <a:gd name="connsiteY1913" fmla="*/ 3888872 h 5756219"/>
              <a:gd name="connsiteX1914" fmla="*/ 2242015 w 6226010"/>
              <a:gd name="connsiteY1914" fmla="*/ 3872567 h 5756219"/>
              <a:gd name="connsiteX1915" fmla="*/ 2225710 w 6226010"/>
              <a:gd name="connsiteY1915" fmla="*/ 3872567 h 5756219"/>
              <a:gd name="connsiteX1916" fmla="*/ 2214839 w 6226010"/>
              <a:gd name="connsiteY1916" fmla="*/ 3878002 h 5756219"/>
              <a:gd name="connsiteX1917" fmla="*/ 2209404 w 6226010"/>
              <a:gd name="connsiteY1917" fmla="*/ 3878002 h 5756219"/>
              <a:gd name="connsiteX1918" fmla="*/ 2228427 w 6226010"/>
              <a:gd name="connsiteY1918" fmla="*/ 3856261 h 5756219"/>
              <a:gd name="connsiteX1919" fmla="*/ 2255603 w 6226010"/>
              <a:gd name="connsiteY1919" fmla="*/ 3856261 h 5756219"/>
              <a:gd name="connsiteX1920" fmla="*/ 2242015 w 6226010"/>
              <a:gd name="connsiteY1920" fmla="*/ 3842673 h 5756219"/>
              <a:gd name="connsiteX1921" fmla="*/ 2231145 w 6226010"/>
              <a:gd name="connsiteY1921" fmla="*/ 3837238 h 5756219"/>
              <a:gd name="connsiteX1922" fmla="*/ 2209404 w 6226010"/>
              <a:gd name="connsiteY1922" fmla="*/ 3842673 h 5756219"/>
              <a:gd name="connsiteX1923" fmla="*/ 2206686 w 6226010"/>
              <a:gd name="connsiteY1923" fmla="*/ 3848108 h 5756219"/>
              <a:gd name="connsiteX1924" fmla="*/ 2206686 w 6226010"/>
              <a:gd name="connsiteY1924" fmla="*/ 3856261 h 5756219"/>
              <a:gd name="connsiteX1925" fmla="*/ 2195816 w 6226010"/>
              <a:gd name="connsiteY1925" fmla="*/ 3864414 h 5756219"/>
              <a:gd name="connsiteX1926" fmla="*/ 2190381 w 6226010"/>
              <a:gd name="connsiteY1926" fmla="*/ 3878002 h 5756219"/>
              <a:gd name="connsiteX1927" fmla="*/ 2184946 w 6226010"/>
              <a:gd name="connsiteY1927" fmla="*/ 3880719 h 5756219"/>
              <a:gd name="connsiteX1928" fmla="*/ 2176793 w 6226010"/>
              <a:gd name="connsiteY1928" fmla="*/ 3894307 h 5756219"/>
              <a:gd name="connsiteX1929" fmla="*/ 2171358 w 6226010"/>
              <a:gd name="connsiteY1929" fmla="*/ 3894307 h 5756219"/>
              <a:gd name="connsiteX1930" fmla="*/ 2163205 w 6226010"/>
              <a:gd name="connsiteY1930" fmla="*/ 3907895 h 5756219"/>
              <a:gd name="connsiteX1931" fmla="*/ 2146899 w 6226010"/>
              <a:gd name="connsiteY1931" fmla="*/ 3916048 h 5756219"/>
              <a:gd name="connsiteX1932" fmla="*/ 2133311 w 6226010"/>
              <a:gd name="connsiteY1932" fmla="*/ 3916048 h 5756219"/>
              <a:gd name="connsiteX1933" fmla="*/ 2111571 w 6226010"/>
              <a:gd name="connsiteY1933" fmla="*/ 3916048 h 5756219"/>
              <a:gd name="connsiteX1934" fmla="*/ 2103418 w 6226010"/>
              <a:gd name="connsiteY1934" fmla="*/ 3886155 h 5756219"/>
              <a:gd name="connsiteX1935" fmla="*/ 2119723 w 6226010"/>
              <a:gd name="connsiteY1935" fmla="*/ 3853544 h 5756219"/>
              <a:gd name="connsiteX1936" fmla="*/ 2127876 w 6226010"/>
              <a:gd name="connsiteY1936" fmla="*/ 3807345 h 5756219"/>
              <a:gd name="connsiteX1937" fmla="*/ 2127876 w 6226010"/>
              <a:gd name="connsiteY1937" fmla="*/ 3791039 h 5756219"/>
              <a:gd name="connsiteX1938" fmla="*/ 2141464 w 6226010"/>
              <a:gd name="connsiteY1938" fmla="*/ 3785604 h 5756219"/>
              <a:gd name="connsiteX1939" fmla="*/ 2141464 w 6226010"/>
              <a:gd name="connsiteY1939" fmla="*/ 3788321 h 5756219"/>
              <a:gd name="connsiteX1940" fmla="*/ 2163205 w 6226010"/>
              <a:gd name="connsiteY1940" fmla="*/ 3758428 h 5756219"/>
              <a:gd name="connsiteX1941" fmla="*/ 2168640 w 6226010"/>
              <a:gd name="connsiteY1941" fmla="*/ 3752993 h 5756219"/>
              <a:gd name="connsiteX1942" fmla="*/ 2160487 w 6226010"/>
              <a:gd name="connsiteY1942" fmla="*/ 3742122 h 5756219"/>
              <a:gd name="connsiteX1943" fmla="*/ 2141464 w 6226010"/>
              <a:gd name="connsiteY1943" fmla="*/ 3769298 h 5756219"/>
              <a:gd name="connsiteX1944" fmla="*/ 2106135 w 6226010"/>
              <a:gd name="connsiteY1944" fmla="*/ 3777451 h 5756219"/>
              <a:gd name="connsiteX1945" fmla="*/ 2103418 w 6226010"/>
              <a:gd name="connsiteY1945" fmla="*/ 3780169 h 5756219"/>
              <a:gd name="connsiteX1946" fmla="*/ 2108853 w 6226010"/>
              <a:gd name="connsiteY1946" fmla="*/ 3791039 h 5756219"/>
              <a:gd name="connsiteX1947" fmla="*/ 2100700 w 6226010"/>
              <a:gd name="connsiteY1947" fmla="*/ 3842673 h 5756219"/>
              <a:gd name="connsiteX1948" fmla="*/ 2078960 w 6226010"/>
              <a:gd name="connsiteY1948" fmla="*/ 3886155 h 5756219"/>
              <a:gd name="connsiteX1949" fmla="*/ 2081677 w 6226010"/>
              <a:gd name="connsiteY1949" fmla="*/ 3891590 h 5756219"/>
              <a:gd name="connsiteX1950" fmla="*/ 2089830 w 6226010"/>
              <a:gd name="connsiteY1950" fmla="*/ 3894307 h 5756219"/>
              <a:gd name="connsiteX1951" fmla="*/ 2100700 w 6226010"/>
              <a:gd name="connsiteY1951" fmla="*/ 3929636 h 5756219"/>
              <a:gd name="connsiteX1952" fmla="*/ 2030043 w 6226010"/>
              <a:gd name="connsiteY1952" fmla="*/ 4030187 h 5756219"/>
              <a:gd name="connsiteX1953" fmla="*/ 2030043 w 6226010"/>
              <a:gd name="connsiteY1953" fmla="*/ 4000294 h 5756219"/>
              <a:gd name="connsiteX1954" fmla="*/ 2024608 w 6226010"/>
              <a:gd name="connsiteY1954" fmla="*/ 3948659 h 5756219"/>
              <a:gd name="connsiteX1955" fmla="*/ 2035478 w 6226010"/>
              <a:gd name="connsiteY1955" fmla="*/ 3932354 h 5756219"/>
              <a:gd name="connsiteX1956" fmla="*/ 2051784 w 6226010"/>
              <a:gd name="connsiteY1956" fmla="*/ 3894307 h 5756219"/>
              <a:gd name="connsiteX1957" fmla="*/ 2068089 w 6226010"/>
              <a:gd name="connsiteY1957" fmla="*/ 3869849 h 5756219"/>
              <a:gd name="connsiteX1958" fmla="*/ 2065372 w 6226010"/>
              <a:gd name="connsiteY1958" fmla="*/ 3837238 h 5756219"/>
              <a:gd name="connsiteX1959" fmla="*/ 2065372 w 6226010"/>
              <a:gd name="connsiteY1959" fmla="*/ 3815497 h 5756219"/>
              <a:gd name="connsiteX1960" fmla="*/ 2062654 w 6226010"/>
              <a:gd name="connsiteY1960" fmla="*/ 3796474 h 5756219"/>
              <a:gd name="connsiteX1961" fmla="*/ 2103418 w 6226010"/>
              <a:gd name="connsiteY1961" fmla="*/ 3736687 h 5756219"/>
              <a:gd name="connsiteX1962" fmla="*/ 2122441 w 6226010"/>
              <a:gd name="connsiteY1962" fmla="*/ 3717664 h 5756219"/>
              <a:gd name="connsiteX1963" fmla="*/ 2130594 w 6226010"/>
              <a:gd name="connsiteY1963" fmla="*/ 3704076 h 5756219"/>
              <a:gd name="connsiteX1964" fmla="*/ 2117006 w 6226010"/>
              <a:gd name="connsiteY1964" fmla="*/ 3685053 h 5756219"/>
              <a:gd name="connsiteX1965" fmla="*/ 4432397 w 6226010"/>
              <a:gd name="connsiteY1965" fmla="*/ 3679618 h 5756219"/>
              <a:gd name="connsiteX1966" fmla="*/ 4432397 w 6226010"/>
              <a:gd name="connsiteY1966" fmla="*/ 3701359 h 5756219"/>
              <a:gd name="connsiteX1967" fmla="*/ 4462291 w 6226010"/>
              <a:gd name="connsiteY1967" fmla="*/ 3687771 h 5756219"/>
              <a:gd name="connsiteX1968" fmla="*/ 1589560 w 6226010"/>
              <a:gd name="connsiteY1968" fmla="*/ 3678977 h 5756219"/>
              <a:gd name="connsiteX1969" fmla="*/ 1592511 w 6226010"/>
              <a:gd name="connsiteY1969" fmla="*/ 3679619 h 5756219"/>
              <a:gd name="connsiteX1970" fmla="*/ 1589793 w 6226010"/>
              <a:gd name="connsiteY1970" fmla="*/ 3679619 h 5756219"/>
              <a:gd name="connsiteX1971" fmla="*/ 3736693 w 6226010"/>
              <a:gd name="connsiteY1971" fmla="*/ 3676901 h 5756219"/>
              <a:gd name="connsiteX1972" fmla="*/ 3750281 w 6226010"/>
              <a:gd name="connsiteY1972" fmla="*/ 3682337 h 5756219"/>
              <a:gd name="connsiteX1973" fmla="*/ 3736693 w 6226010"/>
              <a:gd name="connsiteY1973" fmla="*/ 3676901 h 5756219"/>
              <a:gd name="connsiteX1974" fmla="*/ 1288140 w 6226010"/>
              <a:gd name="connsiteY1974" fmla="*/ 3666031 h 5756219"/>
              <a:gd name="connsiteX1975" fmla="*/ 1309882 w 6226010"/>
              <a:gd name="connsiteY1975" fmla="*/ 3668748 h 5756219"/>
              <a:gd name="connsiteX1976" fmla="*/ 1293575 w 6226010"/>
              <a:gd name="connsiteY1976" fmla="*/ 3685054 h 5756219"/>
              <a:gd name="connsiteX1977" fmla="*/ 1277270 w 6226010"/>
              <a:gd name="connsiteY1977" fmla="*/ 3685054 h 5756219"/>
              <a:gd name="connsiteX1978" fmla="*/ 1274552 w 6226010"/>
              <a:gd name="connsiteY1978" fmla="*/ 3682336 h 5756219"/>
              <a:gd name="connsiteX1979" fmla="*/ 1263682 w 6226010"/>
              <a:gd name="connsiteY1979" fmla="*/ 3671466 h 5756219"/>
              <a:gd name="connsiteX1980" fmla="*/ 1269117 w 6226010"/>
              <a:gd name="connsiteY1980" fmla="*/ 3671466 h 5756219"/>
              <a:gd name="connsiteX1981" fmla="*/ 1288140 w 6226010"/>
              <a:gd name="connsiteY1981" fmla="*/ 3666031 h 5756219"/>
              <a:gd name="connsiteX1982" fmla="*/ 3837244 w 6226010"/>
              <a:gd name="connsiteY1982" fmla="*/ 3660596 h 5756219"/>
              <a:gd name="connsiteX1983" fmla="*/ 3837244 w 6226010"/>
              <a:gd name="connsiteY1983" fmla="*/ 3671466 h 5756219"/>
              <a:gd name="connsiteX1984" fmla="*/ 3826374 w 6226010"/>
              <a:gd name="connsiteY1984" fmla="*/ 3666031 h 5756219"/>
              <a:gd name="connsiteX1985" fmla="*/ 3837244 w 6226010"/>
              <a:gd name="connsiteY1985" fmla="*/ 3660596 h 5756219"/>
              <a:gd name="connsiteX1986" fmla="*/ 4856342 w 6226010"/>
              <a:gd name="connsiteY1986" fmla="*/ 3655160 h 5756219"/>
              <a:gd name="connsiteX1987" fmla="*/ 4826449 w 6226010"/>
              <a:gd name="connsiteY1987" fmla="*/ 3657877 h 5756219"/>
              <a:gd name="connsiteX1988" fmla="*/ 4848189 w 6226010"/>
              <a:gd name="connsiteY1988" fmla="*/ 3679618 h 5756219"/>
              <a:gd name="connsiteX1989" fmla="*/ 1361175 w 6226010"/>
              <a:gd name="connsiteY1989" fmla="*/ 3654141 h 5756219"/>
              <a:gd name="connsiteX1990" fmla="*/ 1366950 w 6226010"/>
              <a:gd name="connsiteY1990" fmla="*/ 3655161 h 5756219"/>
              <a:gd name="connsiteX1991" fmla="*/ 1391408 w 6226010"/>
              <a:gd name="connsiteY1991" fmla="*/ 3704077 h 5756219"/>
              <a:gd name="connsiteX1992" fmla="*/ 1372385 w 6226010"/>
              <a:gd name="connsiteY1992" fmla="*/ 3712230 h 5756219"/>
              <a:gd name="connsiteX1993" fmla="*/ 1369667 w 6226010"/>
              <a:gd name="connsiteY1993" fmla="*/ 3717665 h 5756219"/>
              <a:gd name="connsiteX1994" fmla="*/ 1356079 w 6226010"/>
              <a:gd name="connsiteY1994" fmla="*/ 3725818 h 5756219"/>
              <a:gd name="connsiteX1995" fmla="*/ 1323468 w 6226010"/>
              <a:gd name="connsiteY1995" fmla="*/ 3717665 h 5756219"/>
              <a:gd name="connsiteX1996" fmla="*/ 1323468 w 6226010"/>
              <a:gd name="connsiteY1996" fmla="*/ 3714948 h 5756219"/>
              <a:gd name="connsiteX1997" fmla="*/ 1312598 w 6226010"/>
              <a:gd name="connsiteY1997" fmla="*/ 3714948 h 5756219"/>
              <a:gd name="connsiteX1998" fmla="*/ 1334338 w 6226010"/>
              <a:gd name="connsiteY1998" fmla="*/ 3685054 h 5756219"/>
              <a:gd name="connsiteX1999" fmla="*/ 1353362 w 6226010"/>
              <a:gd name="connsiteY1999" fmla="*/ 3655161 h 5756219"/>
              <a:gd name="connsiteX2000" fmla="*/ 1361175 w 6226010"/>
              <a:gd name="connsiteY2000" fmla="*/ 3654141 h 5756219"/>
              <a:gd name="connsiteX2001" fmla="*/ 1201177 w 6226010"/>
              <a:gd name="connsiteY2001" fmla="*/ 3638855 h 5756219"/>
              <a:gd name="connsiteX2002" fmla="*/ 1214765 w 6226010"/>
              <a:gd name="connsiteY2002" fmla="*/ 3641572 h 5756219"/>
              <a:gd name="connsiteX2003" fmla="*/ 1214765 w 6226010"/>
              <a:gd name="connsiteY2003" fmla="*/ 3647008 h 5756219"/>
              <a:gd name="connsiteX2004" fmla="*/ 1206612 w 6226010"/>
              <a:gd name="connsiteY2004" fmla="*/ 3647008 h 5756219"/>
              <a:gd name="connsiteX2005" fmla="*/ 1201177 w 6226010"/>
              <a:gd name="connsiteY2005" fmla="*/ 3638855 h 5756219"/>
              <a:gd name="connsiteX2006" fmla="*/ 1573488 w 6226010"/>
              <a:gd name="connsiteY2006" fmla="*/ 3627985 h 5756219"/>
              <a:gd name="connsiteX2007" fmla="*/ 1573488 w 6226010"/>
              <a:gd name="connsiteY2007" fmla="*/ 3663313 h 5756219"/>
              <a:gd name="connsiteX2008" fmla="*/ 1573488 w 6226010"/>
              <a:gd name="connsiteY2008" fmla="*/ 3668748 h 5756219"/>
              <a:gd name="connsiteX2009" fmla="*/ 1581640 w 6226010"/>
              <a:gd name="connsiteY2009" fmla="*/ 3671466 h 5756219"/>
              <a:gd name="connsiteX2010" fmla="*/ 1581640 w 6226010"/>
              <a:gd name="connsiteY2010" fmla="*/ 3674184 h 5756219"/>
              <a:gd name="connsiteX2011" fmla="*/ 1587076 w 6226010"/>
              <a:gd name="connsiteY2011" fmla="*/ 3674184 h 5756219"/>
              <a:gd name="connsiteX2012" fmla="*/ 1588435 w 6226010"/>
              <a:gd name="connsiteY2012" fmla="*/ 3675882 h 5756219"/>
              <a:gd name="connsiteX2013" fmla="*/ 1589560 w 6226010"/>
              <a:gd name="connsiteY2013" fmla="*/ 3678977 h 5756219"/>
              <a:gd name="connsiteX2014" fmla="*/ 1569072 w 6226010"/>
              <a:gd name="connsiteY2014" fmla="*/ 3674523 h 5756219"/>
              <a:gd name="connsiteX2015" fmla="*/ 1551747 w 6226010"/>
              <a:gd name="connsiteY2015" fmla="*/ 3663313 h 5756219"/>
              <a:gd name="connsiteX2016" fmla="*/ 1573488 w 6226010"/>
              <a:gd name="connsiteY2016" fmla="*/ 3627985 h 5756219"/>
              <a:gd name="connsiteX2017" fmla="*/ 3812786 w 6226010"/>
              <a:gd name="connsiteY2017" fmla="*/ 3627984 h 5756219"/>
              <a:gd name="connsiteX2018" fmla="*/ 3810068 w 6226010"/>
              <a:gd name="connsiteY2018" fmla="*/ 3641572 h 5756219"/>
              <a:gd name="connsiteX2019" fmla="*/ 3812786 w 6226010"/>
              <a:gd name="connsiteY2019" fmla="*/ 3627984 h 5756219"/>
              <a:gd name="connsiteX2020" fmla="*/ 1500112 w 6226010"/>
              <a:gd name="connsiteY2020" fmla="*/ 3617114 h 5756219"/>
              <a:gd name="connsiteX2021" fmla="*/ 1508265 w 6226010"/>
              <a:gd name="connsiteY2021" fmla="*/ 3619831 h 5756219"/>
              <a:gd name="connsiteX2022" fmla="*/ 1513700 w 6226010"/>
              <a:gd name="connsiteY2022" fmla="*/ 3627984 h 5756219"/>
              <a:gd name="connsiteX2023" fmla="*/ 1513700 w 6226010"/>
              <a:gd name="connsiteY2023" fmla="*/ 3630702 h 5756219"/>
              <a:gd name="connsiteX2024" fmla="*/ 1519136 w 6226010"/>
              <a:gd name="connsiteY2024" fmla="*/ 3633419 h 5756219"/>
              <a:gd name="connsiteX2025" fmla="*/ 1519136 w 6226010"/>
              <a:gd name="connsiteY2025" fmla="*/ 3638855 h 5756219"/>
              <a:gd name="connsiteX2026" fmla="*/ 1527288 w 6226010"/>
              <a:gd name="connsiteY2026" fmla="*/ 3647007 h 5756219"/>
              <a:gd name="connsiteX2027" fmla="*/ 1524571 w 6226010"/>
              <a:gd name="connsiteY2027" fmla="*/ 3679618 h 5756219"/>
              <a:gd name="connsiteX2028" fmla="*/ 1527288 w 6226010"/>
              <a:gd name="connsiteY2028" fmla="*/ 3693206 h 5756219"/>
              <a:gd name="connsiteX2029" fmla="*/ 1497395 w 6226010"/>
              <a:gd name="connsiteY2029" fmla="*/ 3671466 h 5756219"/>
              <a:gd name="connsiteX2030" fmla="*/ 1497395 w 6226010"/>
              <a:gd name="connsiteY2030" fmla="*/ 3644290 h 5756219"/>
              <a:gd name="connsiteX2031" fmla="*/ 1497395 w 6226010"/>
              <a:gd name="connsiteY2031" fmla="*/ 3625267 h 5756219"/>
              <a:gd name="connsiteX2032" fmla="*/ 1500112 w 6226010"/>
              <a:gd name="connsiteY2032" fmla="*/ 3617114 h 5756219"/>
              <a:gd name="connsiteX2033" fmla="*/ 1457649 w 6226010"/>
              <a:gd name="connsiteY2033" fmla="*/ 3617113 h 5756219"/>
              <a:gd name="connsiteX2034" fmla="*/ 1457649 w 6226010"/>
              <a:gd name="connsiteY2034" fmla="*/ 3617114 h 5756219"/>
              <a:gd name="connsiteX2035" fmla="*/ 1458330 w 6226010"/>
              <a:gd name="connsiteY2035" fmla="*/ 3617114 h 5756219"/>
              <a:gd name="connsiteX2036" fmla="*/ 3758434 w 6226010"/>
              <a:gd name="connsiteY2036" fmla="*/ 3603526 h 5756219"/>
              <a:gd name="connsiteX2037" fmla="*/ 3769304 w 6226010"/>
              <a:gd name="connsiteY2037" fmla="*/ 3633419 h 5756219"/>
              <a:gd name="connsiteX2038" fmla="*/ 3758434 w 6226010"/>
              <a:gd name="connsiteY2038" fmla="*/ 3603526 h 5756219"/>
              <a:gd name="connsiteX2039" fmla="*/ 4791120 w 6226010"/>
              <a:gd name="connsiteY2039" fmla="*/ 3584502 h 5756219"/>
              <a:gd name="connsiteX2040" fmla="*/ 4777532 w 6226010"/>
              <a:gd name="connsiteY2040" fmla="*/ 3598090 h 5756219"/>
              <a:gd name="connsiteX2041" fmla="*/ 4793837 w 6226010"/>
              <a:gd name="connsiteY2041" fmla="*/ 3600808 h 5756219"/>
              <a:gd name="connsiteX2042" fmla="*/ 1149542 w 6226010"/>
              <a:gd name="connsiteY2042" fmla="*/ 3581785 h 5756219"/>
              <a:gd name="connsiteX2043" fmla="*/ 1152260 w 6226010"/>
              <a:gd name="connsiteY2043" fmla="*/ 3587220 h 5756219"/>
              <a:gd name="connsiteX2044" fmla="*/ 1149260 w 6226010"/>
              <a:gd name="connsiteY2044" fmla="*/ 3581970 h 5756219"/>
              <a:gd name="connsiteX2045" fmla="*/ 3019247 w 6226010"/>
              <a:gd name="connsiteY2045" fmla="*/ 3581784 h 5756219"/>
              <a:gd name="connsiteX2046" fmla="*/ 3013813 w 6226010"/>
              <a:gd name="connsiteY2046" fmla="*/ 3589937 h 5756219"/>
              <a:gd name="connsiteX2047" fmla="*/ 3008377 w 6226010"/>
              <a:gd name="connsiteY2047" fmla="*/ 3619831 h 5756219"/>
              <a:gd name="connsiteX2048" fmla="*/ 3005659 w 6226010"/>
              <a:gd name="connsiteY2048" fmla="*/ 3622548 h 5756219"/>
              <a:gd name="connsiteX2049" fmla="*/ 2983919 w 6226010"/>
              <a:gd name="connsiteY2049" fmla="*/ 3666030 h 5756219"/>
              <a:gd name="connsiteX2050" fmla="*/ 2981201 w 6226010"/>
              <a:gd name="connsiteY2050" fmla="*/ 3693206 h 5756219"/>
              <a:gd name="connsiteX2051" fmla="*/ 2970331 w 6226010"/>
              <a:gd name="connsiteY2051" fmla="*/ 3717664 h 5756219"/>
              <a:gd name="connsiteX2052" fmla="*/ 2954025 w 6226010"/>
              <a:gd name="connsiteY2052" fmla="*/ 3717664 h 5756219"/>
              <a:gd name="connsiteX2053" fmla="*/ 2945873 w 6226010"/>
              <a:gd name="connsiteY2053" fmla="*/ 3704076 h 5756219"/>
              <a:gd name="connsiteX2054" fmla="*/ 2937719 w 6226010"/>
              <a:gd name="connsiteY2054" fmla="*/ 3704076 h 5756219"/>
              <a:gd name="connsiteX2055" fmla="*/ 2937719 w 6226010"/>
              <a:gd name="connsiteY2055" fmla="*/ 3706794 h 5756219"/>
              <a:gd name="connsiteX2056" fmla="*/ 2948591 w 6226010"/>
              <a:gd name="connsiteY2056" fmla="*/ 3717664 h 5756219"/>
              <a:gd name="connsiteX2057" fmla="*/ 2948591 w 6226010"/>
              <a:gd name="connsiteY2057" fmla="*/ 3723099 h 5756219"/>
              <a:gd name="connsiteX2058" fmla="*/ 2956743 w 6226010"/>
              <a:gd name="connsiteY2058" fmla="*/ 3723099 h 5756219"/>
              <a:gd name="connsiteX2059" fmla="*/ 2959461 w 6226010"/>
              <a:gd name="connsiteY2059" fmla="*/ 3728534 h 5756219"/>
              <a:gd name="connsiteX2060" fmla="*/ 2964895 w 6226010"/>
              <a:gd name="connsiteY2060" fmla="*/ 3731252 h 5756219"/>
              <a:gd name="connsiteX2061" fmla="*/ 2964895 w 6226010"/>
              <a:gd name="connsiteY2061" fmla="*/ 3733970 h 5756219"/>
              <a:gd name="connsiteX2062" fmla="*/ 2978483 w 6226010"/>
              <a:gd name="connsiteY2062" fmla="*/ 3736687 h 5756219"/>
              <a:gd name="connsiteX2063" fmla="*/ 2983919 w 6226010"/>
              <a:gd name="connsiteY2063" fmla="*/ 3742122 h 5756219"/>
              <a:gd name="connsiteX2064" fmla="*/ 2986637 w 6226010"/>
              <a:gd name="connsiteY2064" fmla="*/ 3826368 h 5756219"/>
              <a:gd name="connsiteX2065" fmla="*/ 2973049 w 6226010"/>
              <a:gd name="connsiteY2065" fmla="*/ 3837238 h 5756219"/>
              <a:gd name="connsiteX2066" fmla="*/ 2967613 w 6226010"/>
              <a:gd name="connsiteY2066" fmla="*/ 3837238 h 5756219"/>
              <a:gd name="connsiteX2067" fmla="*/ 2967613 w 6226010"/>
              <a:gd name="connsiteY2067" fmla="*/ 3791039 h 5756219"/>
              <a:gd name="connsiteX2068" fmla="*/ 2956743 w 6226010"/>
              <a:gd name="connsiteY2068" fmla="*/ 3763863 h 5756219"/>
              <a:gd name="connsiteX2069" fmla="*/ 2948591 w 6226010"/>
              <a:gd name="connsiteY2069" fmla="*/ 3769298 h 5756219"/>
              <a:gd name="connsiteX2070" fmla="*/ 2962179 w 6226010"/>
              <a:gd name="connsiteY2070" fmla="*/ 3820932 h 5756219"/>
              <a:gd name="connsiteX2071" fmla="*/ 2954025 w 6226010"/>
              <a:gd name="connsiteY2071" fmla="*/ 3842673 h 5756219"/>
              <a:gd name="connsiteX2072" fmla="*/ 2943155 w 6226010"/>
              <a:gd name="connsiteY2072" fmla="*/ 3858979 h 5756219"/>
              <a:gd name="connsiteX2073" fmla="*/ 2943155 w 6226010"/>
              <a:gd name="connsiteY2073" fmla="*/ 3861696 h 5756219"/>
              <a:gd name="connsiteX2074" fmla="*/ 2937719 w 6226010"/>
              <a:gd name="connsiteY2074" fmla="*/ 3869849 h 5756219"/>
              <a:gd name="connsiteX2075" fmla="*/ 2937719 w 6226010"/>
              <a:gd name="connsiteY2075" fmla="*/ 3872567 h 5756219"/>
              <a:gd name="connsiteX2076" fmla="*/ 2926849 w 6226010"/>
              <a:gd name="connsiteY2076" fmla="*/ 3872567 h 5756219"/>
              <a:gd name="connsiteX2077" fmla="*/ 2935003 w 6226010"/>
              <a:gd name="connsiteY2077" fmla="*/ 3823650 h 5756219"/>
              <a:gd name="connsiteX2078" fmla="*/ 2940437 w 6226010"/>
              <a:gd name="connsiteY2078" fmla="*/ 3791039 h 5756219"/>
              <a:gd name="connsiteX2079" fmla="*/ 2940437 w 6226010"/>
              <a:gd name="connsiteY2079" fmla="*/ 3782886 h 5756219"/>
              <a:gd name="connsiteX2080" fmla="*/ 2926849 w 6226010"/>
              <a:gd name="connsiteY2080" fmla="*/ 3818215 h 5756219"/>
              <a:gd name="connsiteX2081" fmla="*/ 2913261 w 6226010"/>
              <a:gd name="connsiteY2081" fmla="*/ 3869849 h 5756219"/>
              <a:gd name="connsiteX2082" fmla="*/ 2910543 w 6226010"/>
              <a:gd name="connsiteY2082" fmla="*/ 3883437 h 5756219"/>
              <a:gd name="connsiteX2083" fmla="*/ 2902391 w 6226010"/>
              <a:gd name="connsiteY2083" fmla="*/ 3891590 h 5756219"/>
              <a:gd name="connsiteX2084" fmla="*/ 2896955 w 6226010"/>
              <a:gd name="connsiteY2084" fmla="*/ 3842673 h 5756219"/>
              <a:gd name="connsiteX2085" fmla="*/ 2894239 w 6226010"/>
              <a:gd name="connsiteY2085" fmla="*/ 3837238 h 5756219"/>
              <a:gd name="connsiteX2086" fmla="*/ 2891521 w 6226010"/>
              <a:gd name="connsiteY2086" fmla="*/ 3837238 h 5756219"/>
              <a:gd name="connsiteX2087" fmla="*/ 2886085 w 6226010"/>
              <a:gd name="connsiteY2087" fmla="*/ 3848108 h 5756219"/>
              <a:gd name="connsiteX2088" fmla="*/ 2888803 w 6226010"/>
              <a:gd name="connsiteY2088" fmla="*/ 3867131 h 5756219"/>
              <a:gd name="connsiteX2089" fmla="*/ 2883367 w 6226010"/>
              <a:gd name="connsiteY2089" fmla="*/ 3902460 h 5756219"/>
              <a:gd name="connsiteX2090" fmla="*/ 2883367 w 6226010"/>
              <a:gd name="connsiteY2090" fmla="*/ 3918766 h 5756219"/>
              <a:gd name="connsiteX2091" fmla="*/ 2883367 w 6226010"/>
              <a:gd name="connsiteY2091" fmla="*/ 3922390 h 5756219"/>
              <a:gd name="connsiteX2092" fmla="*/ 2880651 w 6226010"/>
              <a:gd name="connsiteY2092" fmla="*/ 3924201 h 5756219"/>
              <a:gd name="connsiteX2093" fmla="*/ 2867063 w 6226010"/>
              <a:gd name="connsiteY2093" fmla="*/ 3921483 h 5756219"/>
              <a:gd name="connsiteX2094" fmla="*/ 2861658 w 6226010"/>
              <a:gd name="connsiteY2094" fmla="*/ 3923285 h 5756219"/>
              <a:gd name="connsiteX2095" fmla="*/ 2862307 w 6226010"/>
              <a:gd name="connsiteY2095" fmla="*/ 3903819 h 5756219"/>
              <a:gd name="connsiteX2096" fmla="*/ 2867063 w 6226010"/>
              <a:gd name="connsiteY2096" fmla="*/ 3883437 h 5756219"/>
              <a:gd name="connsiteX2097" fmla="*/ 2877933 w 6226010"/>
              <a:gd name="connsiteY2097" fmla="*/ 3842673 h 5756219"/>
              <a:gd name="connsiteX2098" fmla="*/ 2883367 w 6226010"/>
              <a:gd name="connsiteY2098" fmla="*/ 3810062 h 5756219"/>
              <a:gd name="connsiteX2099" fmla="*/ 2902391 w 6226010"/>
              <a:gd name="connsiteY2099" fmla="*/ 3785604 h 5756219"/>
              <a:gd name="connsiteX2100" fmla="*/ 2910543 w 6226010"/>
              <a:gd name="connsiteY2100" fmla="*/ 3772016 h 5756219"/>
              <a:gd name="connsiteX2101" fmla="*/ 2910543 w 6226010"/>
              <a:gd name="connsiteY2101" fmla="*/ 3766581 h 5756219"/>
              <a:gd name="connsiteX2102" fmla="*/ 2905109 w 6226010"/>
              <a:gd name="connsiteY2102" fmla="*/ 3766581 h 5756219"/>
              <a:gd name="connsiteX2103" fmla="*/ 2886085 w 6226010"/>
              <a:gd name="connsiteY2103" fmla="*/ 3793757 h 5756219"/>
              <a:gd name="connsiteX2104" fmla="*/ 2883367 w 6226010"/>
              <a:gd name="connsiteY2104" fmla="*/ 3796474 h 5756219"/>
              <a:gd name="connsiteX2105" fmla="*/ 2877933 w 6226010"/>
              <a:gd name="connsiteY2105" fmla="*/ 3796474 h 5756219"/>
              <a:gd name="connsiteX2106" fmla="*/ 2869779 w 6226010"/>
              <a:gd name="connsiteY2106" fmla="*/ 3766581 h 5756219"/>
              <a:gd name="connsiteX2107" fmla="*/ 2861627 w 6226010"/>
              <a:gd name="connsiteY2107" fmla="*/ 3766581 h 5756219"/>
              <a:gd name="connsiteX2108" fmla="*/ 2858909 w 6226010"/>
              <a:gd name="connsiteY2108" fmla="*/ 3766581 h 5756219"/>
              <a:gd name="connsiteX2109" fmla="*/ 2867063 w 6226010"/>
              <a:gd name="connsiteY2109" fmla="*/ 3791039 h 5756219"/>
              <a:gd name="connsiteX2110" fmla="*/ 2872497 w 6226010"/>
              <a:gd name="connsiteY2110" fmla="*/ 3820932 h 5756219"/>
              <a:gd name="connsiteX2111" fmla="*/ 2869779 w 6226010"/>
              <a:gd name="connsiteY2111" fmla="*/ 3837238 h 5756219"/>
              <a:gd name="connsiteX2112" fmla="*/ 2853475 w 6226010"/>
              <a:gd name="connsiteY2112" fmla="*/ 3888872 h 5756219"/>
              <a:gd name="connsiteX2113" fmla="*/ 2845321 w 6226010"/>
              <a:gd name="connsiteY2113" fmla="*/ 3921483 h 5756219"/>
              <a:gd name="connsiteX2114" fmla="*/ 2836582 w 6226010"/>
              <a:gd name="connsiteY2114" fmla="*/ 3926399 h 5756219"/>
              <a:gd name="connsiteX2115" fmla="*/ 2831733 w 6226010"/>
              <a:gd name="connsiteY2115" fmla="*/ 3926919 h 5756219"/>
              <a:gd name="connsiteX2116" fmla="*/ 2831733 w 6226010"/>
              <a:gd name="connsiteY2116" fmla="*/ 3929127 h 5756219"/>
              <a:gd name="connsiteX2117" fmla="*/ 2829510 w 6226010"/>
              <a:gd name="connsiteY2117" fmla="*/ 3930377 h 5756219"/>
              <a:gd name="connsiteX2118" fmla="*/ 2827658 w 6226010"/>
              <a:gd name="connsiteY2118" fmla="*/ 3930995 h 5756219"/>
              <a:gd name="connsiteX2119" fmla="*/ 2823581 w 6226010"/>
              <a:gd name="connsiteY2119" fmla="*/ 3932354 h 5756219"/>
              <a:gd name="connsiteX2120" fmla="*/ 2822745 w 6226010"/>
              <a:gd name="connsiteY2120" fmla="*/ 3933399 h 5756219"/>
              <a:gd name="connsiteX2121" fmla="*/ 2812711 w 6226010"/>
              <a:gd name="connsiteY2121" fmla="*/ 3937789 h 5756219"/>
              <a:gd name="connsiteX2122" fmla="*/ 2812711 w 6226010"/>
              <a:gd name="connsiteY2122" fmla="*/ 3939828 h 5756219"/>
              <a:gd name="connsiteX2123" fmla="*/ 2809993 w 6226010"/>
              <a:gd name="connsiteY2123" fmla="*/ 3940507 h 5756219"/>
              <a:gd name="connsiteX2124" fmla="*/ 2809178 w 6226010"/>
              <a:gd name="connsiteY2124" fmla="*/ 3941323 h 5756219"/>
              <a:gd name="connsiteX2125" fmla="*/ 2799463 w 6226010"/>
              <a:gd name="connsiteY2125" fmla="*/ 3943564 h 5756219"/>
              <a:gd name="connsiteX2126" fmla="*/ 2794231 w 6226010"/>
              <a:gd name="connsiteY2126" fmla="*/ 3945942 h 5756219"/>
              <a:gd name="connsiteX2127" fmla="*/ 2789611 w 6226010"/>
              <a:gd name="connsiteY2127" fmla="*/ 3945942 h 5756219"/>
              <a:gd name="connsiteX2128" fmla="*/ 2774665 w 6226010"/>
              <a:gd name="connsiteY2128" fmla="*/ 3945942 h 5756219"/>
              <a:gd name="connsiteX2129" fmla="*/ 2770246 w 6226010"/>
              <a:gd name="connsiteY2129" fmla="*/ 3948309 h 5756219"/>
              <a:gd name="connsiteX2130" fmla="*/ 2766512 w 6226010"/>
              <a:gd name="connsiteY2130" fmla="*/ 3948659 h 5756219"/>
              <a:gd name="connsiteX2131" fmla="*/ 2755642 w 6226010"/>
              <a:gd name="connsiteY2131" fmla="*/ 3948659 h 5756219"/>
              <a:gd name="connsiteX2132" fmla="*/ 2763794 w 6226010"/>
              <a:gd name="connsiteY2132" fmla="*/ 3932354 h 5756219"/>
              <a:gd name="connsiteX2133" fmla="*/ 2774665 w 6226010"/>
              <a:gd name="connsiteY2133" fmla="*/ 3891590 h 5756219"/>
              <a:gd name="connsiteX2134" fmla="*/ 2769230 w 6226010"/>
              <a:gd name="connsiteY2134" fmla="*/ 3883437 h 5756219"/>
              <a:gd name="connsiteX2135" fmla="*/ 2761077 w 6226010"/>
              <a:gd name="connsiteY2135" fmla="*/ 3888872 h 5756219"/>
              <a:gd name="connsiteX2136" fmla="*/ 2758359 w 6226010"/>
              <a:gd name="connsiteY2136" fmla="*/ 3913331 h 5756219"/>
              <a:gd name="connsiteX2137" fmla="*/ 2744771 w 6226010"/>
              <a:gd name="connsiteY2137" fmla="*/ 3945942 h 5756219"/>
              <a:gd name="connsiteX2138" fmla="*/ 2743073 w 6226010"/>
              <a:gd name="connsiteY2138" fmla="*/ 3948999 h 5756219"/>
              <a:gd name="connsiteX2139" fmla="*/ 2740275 w 6226010"/>
              <a:gd name="connsiteY2139" fmla="*/ 3952814 h 5756219"/>
              <a:gd name="connsiteX2140" fmla="*/ 2737086 w 6226010"/>
              <a:gd name="connsiteY2140" fmla="*/ 3952548 h 5756219"/>
              <a:gd name="connsiteX2141" fmla="*/ 2733901 w 6226010"/>
              <a:gd name="connsiteY2141" fmla="*/ 3950358 h 5756219"/>
              <a:gd name="connsiteX2142" fmla="*/ 2728466 w 6226010"/>
              <a:gd name="connsiteY2142" fmla="*/ 3948659 h 5756219"/>
              <a:gd name="connsiteX2143" fmla="*/ 2723978 w 6226010"/>
              <a:gd name="connsiteY2143" fmla="*/ 3948949 h 5756219"/>
              <a:gd name="connsiteX2144" fmla="*/ 2723030 w 6226010"/>
              <a:gd name="connsiteY2144" fmla="*/ 3948659 h 5756219"/>
              <a:gd name="connsiteX2145" fmla="*/ 2721587 w 6226010"/>
              <a:gd name="connsiteY2145" fmla="*/ 3949103 h 5756219"/>
              <a:gd name="connsiteX2146" fmla="*/ 2717935 w 6226010"/>
              <a:gd name="connsiteY2146" fmla="*/ 3949339 h 5756219"/>
              <a:gd name="connsiteX2147" fmla="*/ 2715582 w 6226010"/>
              <a:gd name="connsiteY2147" fmla="*/ 3950657 h 5756219"/>
              <a:gd name="connsiteX2148" fmla="*/ 2712160 w 6226010"/>
              <a:gd name="connsiteY2148" fmla="*/ 3951377 h 5756219"/>
              <a:gd name="connsiteX2149" fmla="*/ 2711333 w 6226010"/>
              <a:gd name="connsiteY2149" fmla="*/ 3951377 h 5756219"/>
              <a:gd name="connsiteX2150" fmla="*/ 2709961 w 6226010"/>
              <a:gd name="connsiteY2150" fmla="*/ 3953805 h 5756219"/>
              <a:gd name="connsiteX2151" fmla="*/ 2715582 w 6226010"/>
              <a:gd name="connsiteY2151" fmla="*/ 3950657 h 5756219"/>
              <a:gd name="connsiteX2152" fmla="*/ 2718614 w 6226010"/>
              <a:gd name="connsiteY2152" fmla="*/ 3950018 h 5756219"/>
              <a:gd name="connsiteX2153" fmla="*/ 2721587 w 6226010"/>
              <a:gd name="connsiteY2153" fmla="*/ 3949103 h 5756219"/>
              <a:gd name="connsiteX2154" fmla="*/ 2723978 w 6226010"/>
              <a:gd name="connsiteY2154" fmla="*/ 3948949 h 5756219"/>
              <a:gd name="connsiteX2155" fmla="*/ 2735260 w 6226010"/>
              <a:gd name="connsiteY2155" fmla="*/ 3952396 h 5756219"/>
              <a:gd name="connsiteX2156" fmla="*/ 2737086 w 6226010"/>
              <a:gd name="connsiteY2156" fmla="*/ 3952548 h 5756219"/>
              <a:gd name="connsiteX2157" fmla="*/ 2739336 w 6226010"/>
              <a:gd name="connsiteY2157" fmla="*/ 3954095 h 5756219"/>
              <a:gd name="connsiteX2158" fmla="*/ 2740275 w 6226010"/>
              <a:gd name="connsiteY2158" fmla="*/ 3952814 h 5756219"/>
              <a:gd name="connsiteX2159" fmla="*/ 2755642 w 6226010"/>
              <a:gd name="connsiteY2159" fmla="*/ 3954095 h 5756219"/>
              <a:gd name="connsiteX2160" fmla="*/ 2765153 w 6226010"/>
              <a:gd name="connsiteY2160" fmla="*/ 3951038 h 5756219"/>
              <a:gd name="connsiteX2161" fmla="*/ 2770246 w 6226010"/>
              <a:gd name="connsiteY2161" fmla="*/ 3948309 h 5756219"/>
              <a:gd name="connsiteX2162" fmla="*/ 2777382 w 6226010"/>
              <a:gd name="connsiteY2162" fmla="*/ 3947640 h 5756219"/>
              <a:gd name="connsiteX2163" fmla="*/ 2788253 w 6226010"/>
              <a:gd name="connsiteY2163" fmla="*/ 3948659 h 5756219"/>
              <a:gd name="connsiteX2164" fmla="*/ 2794231 w 6226010"/>
              <a:gd name="connsiteY2164" fmla="*/ 3945942 h 5756219"/>
              <a:gd name="connsiteX2165" fmla="*/ 2804558 w 6226010"/>
              <a:gd name="connsiteY2165" fmla="*/ 3945942 h 5756219"/>
              <a:gd name="connsiteX2166" fmla="*/ 2807275 w 6226010"/>
              <a:gd name="connsiteY2166" fmla="*/ 3943225 h 5756219"/>
              <a:gd name="connsiteX2167" fmla="*/ 2809178 w 6226010"/>
              <a:gd name="connsiteY2167" fmla="*/ 3941323 h 5756219"/>
              <a:gd name="connsiteX2168" fmla="*/ 2812711 w 6226010"/>
              <a:gd name="connsiteY2168" fmla="*/ 3940507 h 5756219"/>
              <a:gd name="connsiteX2169" fmla="*/ 2812711 w 6226010"/>
              <a:gd name="connsiteY2169" fmla="*/ 3939828 h 5756219"/>
              <a:gd name="connsiteX2170" fmla="*/ 2815428 w 6226010"/>
              <a:gd name="connsiteY2170" fmla="*/ 3939148 h 5756219"/>
              <a:gd name="connsiteX2171" fmla="*/ 2820863 w 6226010"/>
              <a:gd name="connsiteY2171" fmla="*/ 3937789 h 5756219"/>
              <a:gd name="connsiteX2172" fmla="*/ 2822222 w 6226010"/>
              <a:gd name="connsiteY2172" fmla="*/ 3934052 h 5756219"/>
              <a:gd name="connsiteX2173" fmla="*/ 2822745 w 6226010"/>
              <a:gd name="connsiteY2173" fmla="*/ 3933399 h 5756219"/>
              <a:gd name="connsiteX2174" fmla="*/ 2829016 w 6226010"/>
              <a:gd name="connsiteY2174" fmla="*/ 3930656 h 5756219"/>
              <a:gd name="connsiteX2175" fmla="*/ 2829510 w 6226010"/>
              <a:gd name="connsiteY2175" fmla="*/ 3930377 h 5756219"/>
              <a:gd name="connsiteX2176" fmla="*/ 2831733 w 6226010"/>
              <a:gd name="connsiteY2176" fmla="*/ 3929636 h 5756219"/>
              <a:gd name="connsiteX2177" fmla="*/ 2831733 w 6226010"/>
              <a:gd name="connsiteY2177" fmla="*/ 3929127 h 5756219"/>
              <a:gd name="connsiteX2178" fmla="*/ 2836582 w 6226010"/>
              <a:gd name="connsiteY2178" fmla="*/ 3926399 h 5756219"/>
              <a:gd name="connsiteX2179" fmla="*/ 2841245 w 6226010"/>
              <a:gd name="connsiteY2179" fmla="*/ 3925900 h 5756219"/>
              <a:gd name="connsiteX2180" fmla="*/ 2850757 w 6226010"/>
              <a:gd name="connsiteY2180" fmla="*/ 3926919 h 5756219"/>
              <a:gd name="connsiteX2181" fmla="*/ 2858909 w 6226010"/>
              <a:gd name="connsiteY2181" fmla="*/ 3924201 h 5756219"/>
              <a:gd name="connsiteX2182" fmla="*/ 2861658 w 6226010"/>
              <a:gd name="connsiteY2182" fmla="*/ 3923285 h 5756219"/>
              <a:gd name="connsiteX2183" fmla="*/ 2861627 w 6226010"/>
              <a:gd name="connsiteY2183" fmla="*/ 3924201 h 5756219"/>
              <a:gd name="connsiteX2184" fmla="*/ 2880651 w 6226010"/>
              <a:gd name="connsiteY2184" fmla="*/ 3924201 h 5756219"/>
              <a:gd name="connsiteX2185" fmla="*/ 2883367 w 6226010"/>
              <a:gd name="connsiteY2185" fmla="*/ 3924201 h 5756219"/>
              <a:gd name="connsiteX2186" fmla="*/ 2883367 w 6226010"/>
              <a:gd name="connsiteY2186" fmla="*/ 3922390 h 5756219"/>
              <a:gd name="connsiteX2187" fmla="*/ 2884726 w 6226010"/>
              <a:gd name="connsiteY2187" fmla="*/ 3921484 h 5756219"/>
              <a:gd name="connsiteX2188" fmla="*/ 2888803 w 6226010"/>
              <a:gd name="connsiteY2188" fmla="*/ 3918766 h 5756219"/>
              <a:gd name="connsiteX2189" fmla="*/ 2899673 w 6226010"/>
              <a:gd name="connsiteY2189" fmla="*/ 3918766 h 5756219"/>
              <a:gd name="connsiteX2190" fmla="*/ 2902391 w 6226010"/>
              <a:gd name="connsiteY2190" fmla="*/ 3902460 h 5756219"/>
              <a:gd name="connsiteX2191" fmla="*/ 2907827 w 6226010"/>
              <a:gd name="connsiteY2191" fmla="*/ 3899743 h 5756219"/>
              <a:gd name="connsiteX2192" fmla="*/ 2910543 w 6226010"/>
              <a:gd name="connsiteY2192" fmla="*/ 3894307 h 5756219"/>
              <a:gd name="connsiteX2193" fmla="*/ 2924131 w 6226010"/>
              <a:gd name="connsiteY2193" fmla="*/ 3891590 h 5756219"/>
              <a:gd name="connsiteX2194" fmla="*/ 2929567 w 6226010"/>
              <a:gd name="connsiteY2194" fmla="*/ 3880719 h 5756219"/>
              <a:gd name="connsiteX2195" fmla="*/ 2937719 w 6226010"/>
              <a:gd name="connsiteY2195" fmla="*/ 3880719 h 5756219"/>
              <a:gd name="connsiteX2196" fmla="*/ 2940437 w 6226010"/>
              <a:gd name="connsiteY2196" fmla="*/ 3875284 h 5756219"/>
              <a:gd name="connsiteX2197" fmla="*/ 2951307 w 6226010"/>
              <a:gd name="connsiteY2197" fmla="*/ 3872567 h 5756219"/>
              <a:gd name="connsiteX2198" fmla="*/ 2954025 w 6226010"/>
              <a:gd name="connsiteY2198" fmla="*/ 3867131 h 5756219"/>
              <a:gd name="connsiteX2199" fmla="*/ 2959461 w 6226010"/>
              <a:gd name="connsiteY2199" fmla="*/ 3867131 h 5756219"/>
              <a:gd name="connsiteX2200" fmla="*/ 2967613 w 6226010"/>
              <a:gd name="connsiteY2200" fmla="*/ 3853544 h 5756219"/>
              <a:gd name="connsiteX2201" fmla="*/ 2973049 w 6226010"/>
              <a:gd name="connsiteY2201" fmla="*/ 3850826 h 5756219"/>
              <a:gd name="connsiteX2202" fmla="*/ 2973049 w 6226010"/>
              <a:gd name="connsiteY2202" fmla="*/ 3845391 h 5756219"/>
              <a:gd name="connsiteX2203" fmla="*/ 2983919 w 6226010"/>
              <a:gd name="connsiteY2203" fmla="*/ 3837238 h 5756219"/>
              <a:gd name="connsiteX2204" fmla="*/ 2986637 w 6226010"/>
              <a:gd name="connsiteY2204" fmla="*/ 3831803 h 5756219"/>
              <a:gd name="connsiteX2205" fmla="*/ 2994789 w 6226010"/>
              <a:gd name="connsiteY2205" fmla="*/ 3831803 h 5756219"/>
              <a:gd name="connsiteX2206" fmla="*/ 3013813 w 6226010"/>
              <a:gd name="connsiteY2206" fmla="*/ 3812780 h 5756219"/>
              <a:gd name="connsiteX2207" fmla="*/ 3021965 w 6226010"/>
              <a:gd name="connsiteY2207" fmla="*/ 3810062 h 5756219"/>
              <a:gd name="connsiteX2208" fmla="*/ 3049141 w 6226010"/>
              <a:gd name="connsiteY2208" fmla="*/ 3752993 h 5756219"/>
              <a:gd name="connsiteX2209" fmla="*/ 3089905 w 6226010"/>
              <a:gd name="connsiteY2209" fmla="*/ 3752993 h 5756219"/>
              <a:gd name="connsiteX2210" fmla="*/ 3098057 w 6226010"/>
              <a:gd name="connsiteY2210" fmla="*/ 3752993 h 5756219"/>
              <a:gd name="connsiteX2211" fmla="*/ 3098057 w 6226010"/>
              <a:gd name="connsiteY2211" fmla="*/ 3750275 h 5756219"/>
              <a:gd name="connsiteX2212" fmla="*/ 3098057 w 6226010"/>
              <a:gd name="connsiteY2212" fmla="*/ 3747558 h 5756219"/>
              <a:gd name="connsiteX2213" fmla="*/ 3073599 w 6226010"/>
              <a:gd name="connsiteY2213" fmla="*/ 3747558 h 5756219"/>
              <a:gd name="connsiteX2214" fmla="*/ 3057293 w 6226010"/>
              <a:gd name="connsiteY2214" fmla="*/ 3742122 h 5756219"/>
              <a:gd name="connsiteX2215" fmla="*/ 3073599 w 6226010"/>
              <a:gd name="connsiteY2215" fmla="*/ 3695923 h 5756219"/>
              <a:gd name="connsiteX2216" fmla="*/ 3068165 w 6226010"/>
              <a:gd name="connsiteY2216" fmla="*/ 3695923 h 5756219"/>
              <a:gd name="connsiteX2217" fmla="*/ 3051859 w 6226010"/>
              <a:gd name="connsiteY2217" fmla="*/ 3731252 h 5756219"/>
              <a:gd name="connsiteX2218" fmla="*/ 3043705 w 6226010"/>
              <a:gd name="connsiteY2218" fmla="*/ 3739405 h 5756219"/>
              <a:gd name="connsiteX2219" fmla="*/ 3040989 w 6226010"/>
              <a:gd name="connsiteY2219" fmla="*/ 3752993 h 5756219"/>
              <a:gd name="connsiteX2220" fmla="*/ 3027401 w 6226010"/>
              <a:gd name="connsiteY2220" fmla="*/ 3766581 h 5756219"/>
              <a:gd name="connsiteX2221" fmla="*/ 3016531 w 6226010"/>
              <a:gd name="connsiteY2221" fmla="*/ 3796474 h 5756219"/>
              <a:gd name="connsiteX2222" fmla="*/ 3008377 w 6226010"/>
              <a:gd name="connsiteY2222" fmla="*/ 3804627 h 5756219"/>
              <a:gd name="connsiteX2223" fmla="*/ 3002943 w 6226010"/>
              <a:gd name="connsiteY2223" fmla="*/ 3804627 h 5756219"/>
              <a:gd name="connsiteX2224" fmla="*/ 3002943 w 6226010"/>
              <a:gd name="connsiteY2224" fmla="*/ 3801909 h 5756219"/>
              <a:gd name="connsiteX2225" fmla="*/ 3000225 w 6226010"/>
              <a:gd name="connsiteY2225" fmla="*/ 3772016 h 5756219"/>
              <a:gd name="connsiteX2226" fmla="*/ 2994789 w 6226010"/>
              <a:gd name="connsiteY2226" fmla="*/ 3769298 h 5756219"/>
              <a:gd name="connsiteX2227" fmla="*/ 2989355 w 6226010"/>
              <a:gd name="connsiteY2227" fmla="*/ 3755710 h 5756219"/>
              <a:gd name="connsiteX2228" fmla="*/ 2989355 w 6226010"/>
              <a:gd name="connsiteY2228" fmla="*/ 3744840 h 5756219"/>
              <a:gd name="connsiteX2229" fmla="*/ 2973049 w 6226010"/>
              <a:gd name="connsiteY2229" fmla="*/ 3728534 h 5756219"/>
              <a:gd name="connsiteX2230" fmla="*/ 2986637 w 6226010"/>
              <a:gd name="connsiteY2230" fmla="*/ 3682335 h 5756219"/>
              <a:gd name="connsiteX2231" fmla="*/ 2989355 w 6226010"/>
              <a:gd name="connsiteY2231" fmla="*/ 3663312 h 5756219"/>
              <a:gd name="connsiteX2232" fmla="*/ 2997507 w 6226010"/>
              <a:gd name="connsiteY2232" fmla="*/ 3649724 h 5756219"/>
              <a:gd name="connsiteX2233" fmla="*/ 3051859 w 6226010"/>
              <a:gd name="connsiteY2233" fmla="*/ 3641572 h 5756219"/>
              <a:gd name="connsiteX2234" fmla="*/ 3051859 w 6226010"/>
              <a:gd name="connsiteY2234" fmla="*/ 3638854 h 5756219"/>
              <a:gd name="connsiteX2235" fmla="*/ 3051859 w 6226010"/>
              <a:gd name="connsiteY2235" fmla="*/ 3633419 h 5756219"/>
              <a:gd name="connsiteX2236" fmla="*/ 3008377 w 6226010"/>
              <a:gd name="connsiteY2236" fmla="*/ 3638854 h 5756219"/>
              <a:gd name="connsiteX2237" fmla="*/ 3005659 w 6226010"/>
              <a:gd name="connsiteY2237" fmla="*/ 3638854 h 5756219"/>
              <a:gd name="connsiteX2238" fmla="*/ 3021965 w 6226010"/>
              <a:gd name="connsiteY2238" fmla="*/ 3589937 h 5756219"/>
              <a:gd name="connsiteX2239" fmla="*/ 3019247 w 6226010"/>
              <a:gd name="connsiteY2239" fmla="*/ 3581784 h 5756219"/>
              <a:gd name="connsiteX2240" fmla="*/ 1410431 w 6226010"/>
              <a:gd name="connsiteY2240" fmla="*/ 3573632 h 5756219"/>
              <a:gd name="connsiteX2241" fmla="*/ 1402278 w 6226010"/>
              <a:gd name="connsiteY2241" fmla="*/ 3581784 h 5756219"/>
              <a:gd name="connsiteX2242" fmla="*/ 1410431 w 6226010"/>
              <a:gd name="connsiteY2242" fmla="*/ 3592655 h 5756219"/>
              <a:gd name="connsiteX2243" fmla="*/ 1415866 w 6226010"/>
              <a:gd name="connsiteY2243" fmla="*/ 3625266 h 5756219"/>
              <a:gd name="connsiteX2244" fmla="*/ 1434890 w 6226010"/>
              <a:gd name="connsiteY2244" fmla="*/ 3625266 h 5756219"/>
              <a:gd name="connsiteX2245" fmla="*/ 1438790 w 6226010"/>
              <a:gd name="connsiteY2245" fmla="*/ 3620767 h 5756219"/>
              <a:gd name="connsiteX2246" fmla="*/ 1434890 w 6226010"/>
              <a:gd name="connsiteY2246" fmla="*/ 3619831 h 5756219"/>
              <a:gd name="connsiteX2247" fmla="*/ 1426737 w 6226010"/>
              <a:gd name="connsiteY2247" fmla="*/ 3600808 h 5756219"/>
              <a:gd name="connsiteX2248" fmla="*/ 1415866 w 6226010"/>
              <a:gd name="connsiteY2248" fmla="*/ 3579067 h 5756219"/>
              <a:gd name="connsiteX2249" fmla="*/ 1410431 w 6226010"/>
              <a:gd name="connsiteY2249" fmla="*/ 3573632 h 5756219"/>
              <a:gd name="connsiteX2250" fmla="*/ 4856342 w 6226010"/>
              <a:gd name="connsiteY2250" fmla="*/ 3562761 h 5756219"/>
              <a:gd name="connsiteX2251" fmla="*/ 4856342 w 6226010"/>
              <a:gd name="connsiteY2251" fmla="*/ 3584502 h 5756219"/>
              <a:gd name="connsiteX2252" fmla="*/ 4872648 w 6226010"/>
              <a:gd name="connsiteY2252" fmla="*/ 3584502 h 5756219"/>
              <a:gd name="connsiteX2253" fmla="*/ 4856342 w 6226010"/>
              <a:gd name="connsiteY2253" fmla="*/ 3562761 h 5756219"/>
              <a:gd name="connsiteX2254" fmla="*/ 2622479 w 6226010"/>
              <a:gd name="connsiteY2254" fmla="*/ 3560044 h 5756219"/>
              <a:gd name="connsiteX2255" fmla="*/ 2625197 w 6226010"/>
              <a:gd name="connsiteY2255" fmla="*/ 3560044 h 5756219"/>
              <a:gd name="connsiteX2256" fmla="*/ 2641502 w 6226010"/>
              <a:gd name="connsiteY2256" fmla="*/ 3560044 h 5756219"/>
              <a:gd name="connsiteX2257" fmla="*/ 2625197 w 6226010"/>
              <a:gd name="connsiteY2257" fmla="*/ 3584502 h 5756219"/>
              <a:gd name="connsiteX2258" fmla="*/ 2622479 w 6226010"/>
              <a:gd name="connsiteY2258" fmla="*/ 3603525 h 5756219"/>
              <a:gd name="connsiteX2259" fmla="*/ 2614326 w 6226010"/>
              <a:gd name="connsiteY2259" fmla="*/ 3630701 h 5756219"/>
              <a:gd name="connsiteX2260" fmla="*/ 2614326 w 6226010"/>
              <a:gd name="connsiteY2260" fmla="*/ 3649724 h 5756219"/>
              <a:gd name="connsiteX2261" fmla="*/ 2606174 w 6226010"/>
              <a:gd name="connsiteY2261" fmla="*/ 3679618 h 5756219"/>
              <a:gd name="connsiteX2262" fmla="*/ 2598021 w 6226010"/>
              <a:gd name="connsiteY2262" fmla="*/ 3685053 h 5756219"/>
              <a:gd name="connsiteX2263" fmla="*/ 2584433 w 6226010"/>
              <a:gd name="connsiteY2263" fmla="*/ 3682335 h 5756219"/>
              <a:gd name="connsiteX2264" fmla="*/ 2592586 w 6226010"/>
              <a:gd name="connsiteY2264" fmla="*/ 3663312 h 5756219"/>
              <a:gd name="connsiteX2265" fmla="*/ 2592586 w 6226010"/>
              <a:gd name="connsiteY2265" fmla="*/ 3606243 h 5756219"/>
              <a:gd name="connsiteX2266" fmla="*/ 2592586 w 6226010"/>
              <a:gd name="connsiteY2266" fmla="*/ 3576349 h 5756219"/>
              <a:gd name="connsiteX2267" fmla="*/ 2603456 w 6226010"/>
              <a:gd name="connsiteY2267" fmla="*/ 3568196 h 5756219"/>
              <a:gd name="connsiteX2268" fmla="*/ 2606174 w 6226010"/>
              <a:gd name="connsiteY2268" fmla="*/ 3562761 h 5756219"/>
              <a:gd name="connsiteX2269" fmla="*/ 2622479 w 6226010"/>
              <a:gd name="connsiteY2269" fmla="*/ 3560044 h 5756219"/>
              <a:gd name="connsiteX2270" fmla="*/ 540801 w 6226010"/>
              <a:gd name="connsiteY2270" fmla="*/ 3543738 h 5756219"/>
              <a:gd name="connsiteX2271" fmla="*/ 505472 w 6226010"/>
              <a:gd name="connsiteY2271" fmla="*/ 3549173 h 5756219"/>
              <a:gd name="connsiteX2272" fmla="*/ 521778 w 6226010"/>
              <a:gd name="connsiteY2272" fmla="*/ 3598090 h 5756219"/>
              <a:gd name="connsiteX2273" fmla="*/ 540801 w 6226010"/>
              <a:gd name="connsiteY2273" fmla="*/ 3543738 h 5756219"/>
              <a:gd name="connsiteX2274" fmla="*/ 2521929 w 6226010"/>
              <a:gd name="connsiteY2274" fmla="*/ 3535586 h 5756219"/>
              <a:gd name="connsiteX2275" fmla="*/ 2511058 w 6226010"/>
              <a:gd name="connsiteY2275" fmla="*/ 3562762 h 5756219"/>
              <a:gd name="connsiteX2276" fmla="*/ 2481165 w 6226010"/>
              <a:gd name="connsiteY2276" fmla="*/ 3557327 h 5756219"/>
              <a:gd name="connsiteX2277" fmla="*/ 2481165 w 6226010"/>
              <a:gd name="connsiteY2277" fmla="*/ 3554609 h 5756219"/>
              <a:gd name="connsiteX2278" fmla="*/ 2497470 w 6226010"/>
              <a:gd name="connsiteY2278" fmla="*/ 3538303 h 5756219"/>
              <a:gd name="connsiteX2279" fmla="*/ 2521929 w 6226010"/>
              <a:gd name="connsiteY2279" fmla="*/ 3535586 h 5756219"/>
              <a:gd name="connsiteX2280" fmla="*/ 2598020 w 6226010"/>
              <a:gd name="connsiteY2280" fmla="*/ 3511127 h 5756219"/>
              <a:gd name="connsiteX2281" fmla="*/ 2619761 w 6226010"/>
              <a:gd name="connsiteY2281" fmla="*/ 3530151 h 5756219"/>
              <a:gd name="connsiteX2282" fmla="*/ 2633349 w 6226010"/>
              <a:gd name="connsiteY2282" fmla="*/ 3530151 h 5756219"/>
              <a:gd name="connsiteX2283" fmla="*/ 2649654 w 6226010"/>
              <a:gd name="connsiteY2283" fmla="*/ 3535586 h 5756219"/>
              <a:gd name="connsiteX2284" fmla="*/ 2660525 w 6226010"/>
              <a:gd name="connsiteY2284" fmla="*/ 3535586 h 5756219"/>
              <a:gd name="connsiteX2285" fmla="*/ 2646937 w 6226010"/>
              <a:gd name="connsiteY2285" fmla="*/ 3549174 h 5756219"/>
              <a:gd name="connsiteX2286" fmla="*/ 2614326 w 6226010"/>
              <a:gd name="connsiteY2286" fmla="*/ 3551892 h 5756219"/>
              <a:gd name="connsiteX2287" fmla="*/ 2600738 w 6226010"/>
              <a:gd name="connsiteY2287" fmla="*/ 3543739 h 5756219"/>
              <a:gd name="connsiteX2288" fmla="*/ 2592585 w 6226010"/>
              <a:gd name="connsiteY2288" fmla="*/ 3549174 h 5756219"/>
              <a:gd name="connsiteX2289" fmla="*/ 2589867 w 6226010"/>
              <a:gd name="connsiteY2289" fmla="*/ 3557327 h 5756219"/>
              <a:gd name="connsiteX2290" fmla="*/ 2565409 w 6226010"/>
              <a:gd name="connsiteY2290" fmla="*/ 3573632 h 5756219"/>
              <a:gd name="connsiteX2291" fmla="*/ 2527363 w 6226010"/>
              <a:gd name="connsiteY2291" fmla="*/ 3565480 h 5756219"/>
              <a:gd name="connsiteX2292" fmla="*/ 2540951 w 6226010"/>
              <a:gd name="connsiteY2292" fmla="*/ 3530151 h 5756219"/>
              <a:gd name="connsiteX2293" fmla="*/ 2549104 w 6226010"/>
              <a:gd name="connsiteY2293" fmla="*/ 3527433 h 5756219"/>
              <a:gd name="connsiteX2294" fmla="*/ 2557256 w 6226010"/>
              <a:gd name="connsiteY2294" fmla="*/ 3527433 h 5756219"/>
              <a:gd name="connsiteX2295" fmla="*/ 2570844 w 6226010"/>
              <a:gd name="connsiteY2295" fmla="*/ 3519281 h 5756219"/>
              <a:gd name="connsiteX2296" fmla="*/ 2598020 w 6226010"/>
              <a:gd name="connsiteY2296" fmla="*/ 3511127 h 5756219"/>
              <a:gd name="connsiteX2297" fmla="*/ 1520155 w 6226010"/>
              <a:gd name="connsiteY2297" fmla="*/ 3505352 h 5756219"/>
              <a:gd name="connsiteX2298" fmla="*/ 1521853 w 6226010"/>
              <a:gd name="connsiteY2298" fmla="*/ 3511127 h 5756219"/>
              <a:gd name="connsiteX2299" fmla="*/ 1538159 w 6226010"/>
              <a:gd name="connsiteY2299" fmla="*/ 3532868 h 5756219"/>
              <a:gd name="connsiteX2300" fmla="*/ 1538159 w 6226010"/>
              <a:gd name="connsiteY2300" fmla="*/ 3546456 h 5756219"/>
              <a:gd name="connsiteX2301" fmla="*/ 1551747 w 6226010"/>
              <a:gd name="connsiteY2301" fmla="*/ 3562761 h 5756219"/>
              <a:gd name="connsiteX2302" fmla="*/ 1554464 w 6226010"/>
              <a:gd name="connsiteY2302" fmla="*/ 3581784 h 5756219"/>
              <a:gd name="connsiteX2303" fmla="*/ 1557182 w 6226010"/>
              <a:gd name="connsiteY2303" fmla="*/ 3584502 h 5756219"/>
              <a:gd name="connsiteX2304" fmla="*/ 1559899 w 6226010"/>
              <a:gd name="connsiteY2304" fmla="*/ 3606243 h 5756219"/>
              <a:gd name="connsiteX2305" fmla="*/ 1535441 w 6226010"/>
              <a:gd name="connsiteY2305" fmla="*/ 3636136 h 5756219"/>
              <a:gd name="connsiteX2306" fmla="*/ 1530006 w 6226010"/>
              <a:gd name="connsiteY2306" fmla="*/ 3636136 h 5756219"/>
              <a:gd name="connsiteX2307" fmla="*/ 1530006 w 6226010"/>
              <a:gd name="connsiteY2307" fmla="*/ 3630701 h 5756219"/>
              <a:gd name="connsiteX2308" fmla="*/ 1513700 w 6226010"/>
              <a:gd name="connsiteY2308" fmla="*/ 3606243 h 5756219"/>
              <a:gd name="connsiteX2309" fmla="*/ 1491960 w 6226010"/>
              <a:gd name="connsiteY2309" fmla="*/ 3595372 h 5756219"/>
              <a:gd name="connsiteX2310" fmla="*/ 1486524 w 6226010"/>
              <a:gd name="connsiteY2310" fmla="*/ 3581784 h 5756219"/>
              <a:gd name="connsiteX2311" fmla="*/ 1483807 w 6226010"/>
              <a:gd name="connsiteY2311" fmla="*/ 3579067 h 5756219"/>
              <a:gd name="connsiteX2312" fmla="*/ 1483807 w 6226010"/>
              <a:gd name="connsiteY2312" fmla="*/ 3565479 h 5756219"/>
              <a:gd name="connsiteX2313" fmla="*/ 1489242 w 6226010"/>
              <a:gd name="connsiteY2313" fmla="*/ 3543738 h 5756219"/>
              <a:gd name="connsiteX2314" fmla="*/ 1505548 w 6226010"/>
              <a:gd name="connsiteY2314" fmla="*/ 3519280 h 5756219"/>
              <a:gd name="connsiteX2315" fmla="*/ 1516418 w 6226010"/>
              <a:gd name="connsiteY2315" fmla="*/ 3505692 h 5756219"/>
              <a:gd name="connsiteX2316" fmla="*/ 1520155 w 6226010"/>
              <a:gd name="connsiteY2316" fmla="*/ 3505352 h 5756219"/>
              <a:gd name="connsiteX2317" fmla="*/ 4774093 w 6226010"/>
              <a:gd name="connsiteY2317" fmla="*/ 3493505 h 5756219"/>
              <a:gd name="connsiteX2318" fmla="*/ 4763944 w 6226010"/>
              <a:gd name="connsiteY2318" fmla="*/ 3500256 h 5756219"/>
              <a:gd name="connsiteX2319" fmla="*/ 4772097 w 6226010"/>
              <a:gd name="connsiteY2319" fmla="*/ 3513844 h 5756219"/>
              <a:gd name="connsiteX2320" fmla="*/ 4801990 w 6226010"/>
              <a:gd name="connsiteY2320" fmla="*/ 3508409 h 5756219"/>
              <a:gd name="connsiteX2321" fmla="*/ 4774093 w 6226010"/>
              <a:gd name="connsiteY2321" fmla="*/ 3493505 h 5756219"/>
              <a:gd name="connsiteX2322" fmla="*/ 2568128 w 6226010"/>
              <a:gd name="connsiteY2322" fmla="*/ 3478517 h 5756219"/>
              <a:gd name="connsiteX2323" fmla="*/ 2570845 w 6226010"/>
              <a:gd name="connsiteY2323" fmla="*/ 3478517 h 5756219"/>
              <a:gd name="connsiteX2324" fmla="*/ 2576281 w 6226010"/>
              <a:gd name="connsiteY2324" fmla="*/ 3500257 h 5756219"/>
              <a:gd name="connsiteX2325" fmla="*/ 2559975 w 6226010"/>
              <a:gd name="connsiteY2325" fmla="*/ 3505693 h 5756219"/>
              <a:gd name="connsiteX2326" fmla="*/ 2549105 w 6226010"/>
              <a:gd name="connsiteY2326" fmla="*/ 3502975 h 5756219"/>
              <a:gd name="connsiteX2327" fmla="*/ 2568128 w 6226010"/>
              <a:gd name="connsiteY2327" fmla="*/ 3478517 h 5756219"/>
              <a:gd name="connsiteX2328" fmla="*/ 4731333 w 6226010"/>
              <a:gd name="connsiteY2328" fmla="*/ 3470363 h 5756219"/>
              <a:gd name="connsiteX2329" fmla="*/ 4731333 w 6226010"/>
              <a:gd name="connsiteY2329" fmla="*/ 3486669 h 5756219"/>
              <a:gd name="connsiteX2330" fmla="*/ 4747638 w 6226010"/>
              <a:gd name="connsiteY2330" fmla="*/ 3483951 h 5756219"/>
              <a:gd name="connsiteX2331" fmla="*/ 1451196 w 6226010"/>
              <a:gd name="connsiteY2331" fmla="*/ 3467645 h 5756219"/>
              <a:gd name="connsiteX2332" fmla="*/ 1459348 w 6226010"/>
              <a:gd name="connsiteY2332" fmla="*/ 3470363 h 5756219"/>
              <a:gd name="connsiteX2333" fmla="*/ 1462066 w 6226010"/>
              <a:gd name="connsiteY2333" fmla="*/ 3475799 h 5756219"/>
              <a:gd name="connsiteX2334" fmla="*/ 1489242 w 6226010"/>
              <a:gd name="connsiteY2334" fmla="*/ 3486669 h 5756219"/>
              <a:gd name="connsiteX2335" fmla="*/ 1494677 w 6226010"/>
              <a:gd name="connsiteY2335" fmla="*/ 3486669 h 5756219"/>
              <a:gd name="connsiteX2336" fmla="*/ 1502830 w 6226010"/>
              <a:gd name="connsiteY2336" fmla="*/ 3494822 h 5756219"/>
              <a:gd name="connsiteX2337" fmla="*/ 1475654 w 6226010"/>
              <a:gd name="connsiteY2337" fmla="*/ 3535586 h 5756219"/>
              <a:gd name="connsiteX2338" fmla="*/ 1470219 w 6226010"/>
              <a:gd name="connsiteY2338" fmla="*/ 3535586 h 5756219"/>
              <a:gd name="connsiteX2339" fmla="*/ 1467501 w 6226010"/>
              <a:gd name="connsiteY2339" fmla="*/ 3516562 h 5756219"/>
              <a:gd name="connsiteX2340" fmla="*/ 1467501 w 6226010"/>
              <a:gd name="connsiteY2340" fmla="*/ 3513845 h 5756219"/>
              <a:gd name="connsiteX2341" fmla="*/ 1464784 w 6226010"/>
              <a:gd name="connsiteY2341" fmla="*/ 3511127 h 5756219"/>
              <a:gd name="connsiteX2342" fmla="*/ 1456631 w 6226010"/>
              <a:gd name="connsiteY2342" fmla="*/ 3489387 h 5756219"/>
              <a:gd name="connsiteX2343" fmla="*/ 1456631 w 6226010"/>
              <a:gd name="connsiteY2343" fmla="*/ 3483951 h 5756219"/>
              <a:gd name="connsiteX2344" fmla="*/ 1453913 w 6226010"/>
              <a:gd name="connsiteY2344" fmla="*/ 3481234 h 5756219"/>
              <a:gd name="connsiteX2345" fmla="*/ 1451196 w 6226010"/>
              <a:gd name="connsiteY2345" fmla="*/ 3467645 h 5756219"/>
              <a:gd name="connsiteX2346" fmla="*/ 1530006 w 6226010"/>
              <a:gd name="connsiteY2346" fmla="*/ 3462210 h 5756219"/>
              <a:gd name="connsiteX2347" fmla="*/ 1538158 w 6226010"/>
              <a:gd name="connsiteY2347" fmla="*/ 3467645 h 5756219"/>
              <a:gd name="connsiteX2348" fmla="*/ 1549029 w 6226010"/>
              <a:gd name="connsiteY2348" fmla="*/ 3467645 h 5756219"/>
              <a:gd name="connsiteX2349" fmla="*/ 1559899 w 6226010"/>
              <a:gd name="connsiteY2349" fmla="*/ 3481233 h 5756219"/>
              <a:gd name="connsiteX2350" fmla="*/ 1576205 w 6226010"/>
              <a:gd name="connsiteY2350" fmla="*/ 3470363 h 5756219"/>
              <a:gd name="connsiteX2351" fmla="*/ 1587075 w 6226010"/>
              <a:gd name="connsiteY2351" fmla="*/ 3473080 h 5756219"/>
              <a:gd name="connsiteX2352" fmla="*/ 1616969 w 6226010"/>
              <a:gd name="connsiteY2352" fmla="*/ 3475798 h 5756219"/>
              <a:gd name="connsiteX2353" fmla="*/ 1633275 w 6226010"/>
              <a:gd name="connsiteY2353" fmla="*/ 3483951 h 5756219"/>
              <a:gd name="connsiteX2354" fmla="*/ 1627840 w 6226010"/>
              <a:gd name="connsiteY2354" fmla="*/ 3500256 h 5756219"/>
              <a:gd name="connsiteX2355" fmla="*/ 1627840 w 6226010"/>
              <a:gd name="connsiteY2355" fmla="*/ 3524714 h 5756219"/>
              <a:gd name="connsiteX2356" fmla="*/ 1573487 w 6226010"/>
              <a:gd name="connsiteY2356" fmla="*/ 3584501 h 5756219"/>
              <a:gd name="connsiteX2357" fmla="*/ 1562617 w 6226010"/>
              <a:gd name="connsiteY2357" fmla="*/ 3543738 h 5756219"/>
              <a:gd name="connsiteX2358" fmla="*/ 1557181 w 6226010"/>
              <a:gd name="connsiteY2358" fmla="*/ 3541020 h 5756219"/>
              <a:gd name="connsiteX2359" fmla="*/ 1551746 w 6226010"/>
              <a:gd name="connsiteY2359" fmla="*/ 3521997 h 5756219"/>
              <a:gd name="connsiteX2360" fmla="*/ 1543594 w 6226010"/>
              <a:gd name="connsiteY2360" fmla="*/ 3511126 h 5756219"/>
              <a:gd name="connsiteX2361" fmla="*/ 1540876 w 6226010"/>
              <a:gd name="connsiteY2361" fmla="*/ 3500256 h 5756219"/>
              <a:gd name="connsiteX2362" fmla="*/ 1524570 w 6226010"/>
              <a:gd name="connsiteY2362" fmla="*/ 3483951 h 5756219"/>
              <a:gd name="connsiteX2363" fmla="*/ 1530006 w 6226010"/>
              <a:gd name="connsiteY2363" fmla="*/ 3462210 h 5756219"/>
              <a:gd name="connsiteX2364" fmla="*/ 2646938 w 6226010"/>
              <a:gd name="connsiteY2364" fmla="*/ 3443188 h 5756219"/>
              <a:gd name="connsiteX2365" fmla="*/ 2668678 w 6226010"/>
              <a:gd name="connsiteY2365" fmla="*/ 3448623 h 5756219"/>
              <a:gd name="connsiteX2366" fmla="*/ 2668678 w 6226010"/>
              <a:gd name="connsiteY2366" fmla="*/ 3454058 h 5756219"/>
              <a:gd name="connsiteX2367" fmla="*/ 2644220 w 6226010"/>
              <a:gd name="connsiteY2367" fmla="*/ 3470364 h 5756219"/>
              <a:gd name="connsiteX2368" fmla="*/ 2630632 w 6226010"/>
              <a:gd name="connsiteY2368" fmla="*/ 3473081 h 5756219"/>
              <a:gd name="connsiteX2369" fmla="*/ 2630632 w 6226010"/>
              <a:gd name="connsiteY2369" fmla="*/ 3475799 h 5756219"/>
              <a:gd name="connsiteX2370" fmla="*/ 2625197 w 6226010"/>
              <a:gd name="connsiteY2370" fmla="*/ 3475799 h 5756219"/>
              <a:gd name="connsiteX2371" fmla="*/ 2619762 w 6226010"/>
              <a:gd name="connsiteY2371" fmla="*/ 3481234 h 5756219"/>
              <a:gd name="connsiteX2372" fmla="*/ 2600738 w 6226010"/>
              <a:gd name="connsiteY2372" fmla="*/ 3483952 h 5756219"/>
              <a:gd name="connsiteX2373" fmla="*/ 2592586 w 6226010"/>
              <a:gd name="connsiteY2373" fmla="*/ 3489387 h 5756219"/>
              <a:gd name="connsiteX2374" fmla="*/ 2578998 w 6226010"/>
              <a:gd name="connsiteY2374" fmla="*/ 3467646 h 5756219"/>
              <a:gd name="connsiteX2375" fmla="*/ 2598021 w 6226010"/>
              <a:gd name="connsiteY2375" fmla="*/ 3459493 h 5756219"/>
              <a:gd name="connsiteX2376" fmla="*/ 2646938 w 6226010"/>
              <a:gd name="connsiteY2376" fmla="*/ 3445905 h 5756219"/>
              <a:gd name="connsiteX2377" fmla="*/ 2646938 w 6226010"/>
              <a:gd name="connsiteY2377" fmla="*/ 3443188 h 5756219"/>
              <a:gd name="connsiteX2378" fmla="*/ 1176718 w 6226010"/>
              <a:gd name="connsiteY2378" fmla="*/ 3437752 h 5756219"/>
              <a:gd name="connsiteX2379" fmla="*/ 1182153 w 6226010"/>
              <a:gd name="connsiteY2379" fmla="*/ 3464928 h 5756219"/>
              <a:gd name="connsiteX2380" fmla="*/ 1190306 w 6226010"/>
              <a:gd name="connsiteY2380" fmla="*/ 3467645 h 5756219"/>
              <a:gd name="connsiteX2381" fmla="*/ 1203894 w 6226010"/>
              <a:gd name="connsiteY2381" fmla="*/ 3519280 h 5756219"/>
              <a:gd name="connsiteX2382" fmla="*/ 1203894 w 6226010"/>
              <a:gd name="connsiteY2382" fmla="*/ 3521997 h 5756219"/>
              <a:gd name="connsiteX2383" fmla="*/ 1179436 w 6226010"/>
              <a:gd name="connsiteY2383" fmla="*/ 3521997 h 5756219"/>
              <a:gd name="connsiteX2384" fmla="*/ 1176718 w 6226010"/>
              <a:gd name="connsiteY2384" fmla="*/ 3516562 h 5756219"/>
              <a:gd name="connsiteX2385" fmla="*/ 1157695 w 6226010"/>
              <a:gd name="connsiteY2385" fmla="*/ 3513844 h 5756219"/>
              <a:gd name="connsiteX2386" fmla="*/ 1133237 w 6226010"/>
              <a:gd name="connsiteY2386" fmla="*/ 3494821 h 5756219"/>
              <a:gd name="connsiteX2387" fmla="*/ 1133237 w 6226010"/>
              <a:gd name="connsiteY2387" fmla="*/ 3492104 h 5756219"/>
              <a:gd name="connsiteX2388" fmla="*/ 1133237 w 6226010"/>
              <a:gd name="connsiteY2388" fmla="*/ 3483951 h 5756219"/>
              <a:gd name="connsiteX2389" fmla="*/ 1119649 w 6226010"/>
              <a:gd name="connsiteY2389" fmla="*/ 3481233 h 5756219"/>
              <a:gd name="connsiteX2390" fmla="*/ 1116931 w 6226010"/>
              <a:gd name="connsiteY2390" fmla="*/ 3481233 h 5756219"/>
              <a:gd name="connsiteX2391" fmla="*/ 1116931 w 6226010"/>
              <a:gd name="connsiteY2391" fmla="*/ 3486669 h 5756219"/>
              <a:gd name="connsiteX2392" fmla="*/ 1141389 w 6226010"/>
              <a:gd name="connsiteY2392" fmla="*/ 3524715 h 5756219"/>
              <a:gd name="connsiteX2393" fmla="*/ 1168565 w 6226010"/>
              <a:gd name="connsiteY2393" fmla="*/ 3527432 h 5756219"/>
              <a:gd name="connsiteX2394" fmla="*/ 1171283 w 6226010"/>
              <a:gd name="connsiteY2394" fmla="*/ 3532868 h 5756219"/>
              <a:gd name="connsiteX2395" fmla="*/ 1187589 w 6226010"/>
              <a:gd name="connsiteY2395" fmla="*/ 3535585 h 5756219"/>
              <a:gd name="connsiteX2396" fmla="*/ 1193024 w 6226010"/>
              <a:gd name="connsiteY2396" fmla="*/ 3538303 h 5756219"/>
              <a:gd name="connsiteX2397" fmla="*/ 1209329 w 6226010"/>
              <a:gd name="connsiteY2397" fmla="*/ 3538303 h 5756219"/>
              <a:gd name="connsiteX2398" fmla="*/ 1220200 w 6226010"/>
              <a:gd name="connsiteY2398" fmla="*/ 3546456 h 5756219"/>
              <a:gd name="connsiteX2399" fmla="*/ 1220200 w 6226010"/>
              <a:gd name="connsiteY2399" fmla="*/ 3549173 h 5756219"/>
              <a:gd name="connsiteX2400" fmla="*/ 1225635 w 6226010"/>
              <a:gd name="connsiteY2400" fmla="*/ 3551891 h 5756219"/>
              <a:gd name="connsiteX2401" fmla="*/ 1234807 w 6226010"/>
              <a:gd name="connsiteY2401" fmla="*/ 3572273 h 5756219"/>
              <a:gd name="connsiteX2402" fmla="*/ 1239855 w 6226010"/>
              <a:gd name="connsiteY2402" fmla="*/ 3586698 h 5756219"/>
              <a:gd name="connsiteX2403" fmla="*/ 1241474 w 6226010"/>
              <a:gd name="connsiteY2403" fmla="*/ 3588537 h 5756219"/>
              <a:gd name="connsiteX2404" fmla="*/ 1246313 w 6226010"/>
              <a:gd name="connsiteY2404" fmla="*/ 3597320 h 5756219"/>
              <a:gd name="connsiteX2405" fmla="*/ 1247036 w 6226010"/>
              <a:gd name="connsiteY2405" fmla="*/ 3598090 h 5756219"/>
              <a:gd name="connsiteX2406" fmla="*/ 1250093 w 6226010"/>
              <a:gd name="connsiteY2406" fmla="*/ 3603525 h 5756219"/>
              <a:gd name="connsiteX2407" fmla="*/ 1249980 w 6226010"/>
              <a:gd name="connsiteY2407" fmla="*/ 3603975 h 5756219"/>
              <a:gd name="connsiteX2408" fmla="*/ 1251792 w 6226010"/>
              <a:gd name="connsiteY2408" fmla="*/ 3607263 h 5756219"/>
              <a:gd name="connsiteX2409" fmla="*/ 1285422 w 6226010"/>
              <a:gd name="connsiteY2409" fmla="*/ 3622549 h 5756219"/>
              <a:gd name="connsiteX2410" fmla="*/ 1273533 w 6226010"/>
              <a:gd name="connsiteY2410" fmla="*/ 3578388 h 5756219"/>
              <a:gd name="connsiteX2411" fmla="*/ 1258301 w 6226010"/>
              <a:gd name="connsiteY2411" fmla="*/ 3562954 h 5756219"/>
              <a:gd name="connsiteX2412" fmla="*/ 1259605 w 6226010"/>
              <a:gd name="connsiteY2412" fmla="*/ 3567517 h 5756219"/>
              <a:gd name="connsiteX2413" fmla="*/ 1260964 w 6226010"/>
              <a:gd name="connsiteY2413" fmla="*/ 3568196 h 5756219"/>
              <a:gd name="connsiteX2414" fmla="*/ 1247376 w 6226010"/>
              <a:gd name="connsiteY2414" fmla="*/ 3579067 h 5756219"/>
              <a:gd name="connsiteX2415" fmla="*/ 1244658 w 6226010"/>
              <a:gd name="connsiteY2415" fmla="*/ 3576349 h 5756219"/>
              <a:gd name="connsiteX2416" fmla="*/ 1244658 w 6226010"/>
              <a:gd name="connsiteY2416" fmla="*/ 3565479 h 5756219"/>
              <a:gd name="connsiteX2417" fmla="*/ 1217482 w 6226010"/>
              <a:gd name="connsiteY2417" fmla="*/ 3513844 h 5756219"/>
              <a:gd name="connsiteX2418" fmla="*/ 1244658 w 6226010"/>
              <a:gd name="connsiteY2418" fmla="*/ 3494821 h 5756219"/>
              <a:gd name="connsiteX2419" fmla="*/ 1241940 w 6226010"/>
              <a:gd name="connsiteY2419" fmla="*/ 3483951 h 5756219"/>
              <a:gd name="connsiteX2420" fmla="*/ 1231070 w 6226010"/>
              <a:gd name="connsiteY2420" fmla="*/ 3497539 h 5756219"/>
              <a:gd name="connsiteX2421" fmla="*/ 1214764 w 6226010"/>
              <a:gd name="connsiteY2421" fmla="*/ 3500256 h 5756219"/>
              <a:gd name="connsiteX2422" fmla="*/ 1206612 w 6226010"/>
              <a:gd name="connsiteY2422" fmla="*/ 3475798 h 5756219"/>
              <a:gd name="connsiteX2423" fmla="*/ 1212047 w 6226010"/>
              <a:gd name="connsiteY2423" fmla="*/ 3443187 h 5756219"/>
              <a:gd name="connsiteX2424" fmla="*/ 1203894 w 6226010"/>
              <a:gd name="connsiteY2424" fmla="*/ 3445905 h 5756219"/>
              <a:gd name="connsiteX2425" fmla="*/ 1203894 w 6226010"/>
              <a:gd name="connsiteY2425" fmla="*/ 3451340 h 5756219"/>
              <a:gd name="connsiteX2426" fmla="*/ 1201177 w 6226010"/>
              <a:gd name="connsiteY2426" fmla="*/ 3464928 h 5756219"/>
              <a:gd name="connsiteX2427" fmla="*/ 1187589 w 6226010"/>
              <a:gd name="connsiteY2427" fmla="*/ 3456775 h 5756219"/>
              <a:gd name="connsiteX2428" fmla="*/ 1182153 w 6226010"/>
              <a:gd name="connsiteY2428" fmla="*/ 3437752 h 5756219"/>
              <a:gd name="connsiteX2429" fmla="*/ 1176718 w 6226010"/>
              <a:gd name="connsiteY2429" fmla="*/ 3437752 h 5756219"/>
              <a:gd name="connsiteX2430" fmla="*/ 3589485 w 6226010"/>
              <a:gd name="connsiteY2430" fmla="*/ 3433341 h 5756219"/>
              <a:gd name="connsiteX2431" fmla="*/ 3591828 w 6226010"/>
              <a:gd name="connsiteY2431" fmla="*/ 3433894 h 5756219"/>
              <a:gd name="connsiteX2432" fmla="*/ 3589729 w 6226010"/>
              <a:gd name="connsiteY2432" fmla="*/ 3437879 h 5756219"/>
              <a:gd name="connsiteX2433" fmla="*/ 3600813 w 6226010"/>
              <a:gd name="connsiteY2433" fmla="*/ 3445905 h 5756219"/>
              <a:gd name="connsiteX2434" fmla="*/ 3594674 w 6226010"/>
              <a:gd name="connsiteY2434" fmla="*/ 3445537 h 5756219"/>
              <a:gd name="connsiteX2435" fmla="*/ 3581883 w 6226010"/>
              <a:gd name="connsiteY2435" fmla="*/ 3435846 h 5756219"/>
              <a:gd name="connsiteX2436" fmla="*/ 3582129 w 6226010"/>
              <a:gd name="connsiteY2436" fmla="*/ 3435714 h 5756219"/>
              <a:gd name="connsiteX2437" fmla="*/ 3577878 w 6226010"/>
              <a:gd name="connsiteY2437" fmla="*/ 3432812 h 5756219"/>
              <a:gd name="connsiteX2438" fmla="*/ 3581883 w 6226010"/>
              <a:gd name="connsiteY2438" fmla="*/ 3435846 h 5756219"/>
              <a:gd name="connsiteX2439" fmla="*/ 3578520 w 6226010"/>
              <a:gd name="connsiteY2439" fmla="*/ 3437667 h 5756219"/>
              <a:gd name="connsiteX2440" fmla="*/ 3573637 w 6226010"/>
              <a:gd name="connsiteY2440" fmla="*/ 3435034 h 5756219"/>
              <a:gd name="connsiteX2441" fmla="*/ 4022041 w 6226010"/>
              <a:gd name="connsiteY2441" fmla="*/ 3432318 h 5756219"/>
              <a:gd name="connsiteX2442" fmla="*/ 4041064 w 6226010"/>
              <a:gd name="connsiteY2442" fmla="*/ 3451341 h 5756219"/>
              <a:gd name="connsiteX2443" fmla="*/ 3986711 w 6226010"/>
              <a:gd name="connsiteY2443" fmla="*/ 3454058 h 5756219"/>
              <a:gd name="connsiteX2444" fmla="*/ 3981276 w 6226010"/>
              <a:gd name="connsiteY2444" fmla="*/ 3443188 h 5756219"/>
              <a:gd name="connsiteX2445" fmla="*/ 4022041 w 6226010"/>
              <a:gd name="connsiteY2445" fmla="*/ 3432318 h 5756219"/>
              <a:gd name="connsiteX2446" fmla="*/ 3573637 w 6226010"/>
              <a:gd name="connsiteY2446" fmla="*/ 3429599 h 5756219"/>
              <a:gd name="connsiteX2447" fmla="*/ 3580789 w 6226010"/>
              <a:gd name="connsiteY2447" fmla="*/ 3431288 h 5756219"/>
              <a:gd name="connsiteX2448" fmla="*/ 3577878 w 6226010"/>
              <a:gd name="connsiteY2448" fmla="*/ 3432812 h 5756219"/>
              <a:gd name="connsiteX2449" fmla="*/ 4706874 w 6226010"/>
              <a:gd name="connsiteY2449" fmla="*/ 3402423 h 5756219"/>
              <a:gd name="connsiteX2450" fmla="*/ 4698721 w 6226010"/>
              <a:gd name="connsiteY2450" fmla="*/ 3432317 h 5756219"/>
              <a:gd name="connsiteX2451" fmla="*/ 4728615 w 6226010"/>
              <a:gd name="connsiteY2451" fmla="*/ 3426882 h 5756219"/>
              <a:gd name="connsiteX2452" fmla="*/ 4744921 w 6226010"/>
              <a:gd name="connsiteY2452" fmla="*/ 3440469 h 5756219"/>
              <a:gd name="connsiteX2453" fmla="*/ 4755791 w 6226010"/>
              <a:gd name="connsiteY2453" fmla="*/ 3432317 h 5756219"/>
              <a:gd name="connsiteX2454" fmla="*/ 4739485 w 6226010"/>
              <a:gd name="connsiteY2454" fmla="*/ 3410576 h 5756219"/>
              <a:gd name="connsiteX2455" fmla="*/ 4541101 w 6226010"/>
              <a:gd name="connsiteY2455" fmla="*/ 3402423 h 5756219"/>
              <a:gd name="connsiteX2456" fmla="*/ 4541101 w 6226010"/>
              <a:gd name="connsiteY2456" fmla="*/ 3424164 h 5756219"/>
              <a:gd name="connsiteX2457" fmla="*/ 4557407 w 6226010"/>
              <a:gd name="connsiteY2457" fmla="*/ 3416011 h 5756219"/>
              <a:gd name="connsiteX2458" fmla="*/ 1443043 w 6226010"/>
              <a:gd name="connsiteY2458" fmla="*/ 3396988 h 5756219"/>
              <a:gd name="connsiteX2459" fmla="*/ 1467501 w 6226010"/>
              <a:gd name="connsiteY2459" fmla="*/ 3413294 h 5756219"/>
              <a:gd name="connsiteX2460" fmla="*/ 1467501 w 6226010"/>
              <a:gd name="connsiteY2460" fmla="*/ 3440470 h 5756219"/>
              <a:gd name="connsiteX2461" fmla="*/ 1486524 w 6226010"/>
              <a:gd name="connsiteY2461" fmla="*/ 3440470 h 5756219"/>
              <a:gd name="connsiteX2462" fmla="*/ 1513700 w 6226010"/>
              <a:gd name="connsiteY2462" fmla="*/ 3451341 h 5756219"/>
              <a:gd name="connsiteX2463" fmla="*/ 1508265 w 6226010"/>
              <a:gd name="connsiteY2463" fmla="*/ 3478517 h 5756219"/>
              <a:gd name="connsiteX2464" fmla="*/ 1470219 w 6226010"/>
              <a:gd name="connsiteY2464" fmla="*/ 3462211 h 5756219"/>
              <a:gd name="connsiteX2465" fmla="*/ 1462066 w 6226010"/>
              <a:gd name="connsiteY2465" fmla="*/ 3448623 h 5756219"/>
              <a:gd name="connsiteX2466" fmla="*/ 1448478 w 6226010"/>
              <a:gd name="connsiteY2466" fmla="*/ 3445905 h 5756219"/>
              <a:gd name="connsiteX2467" fmla="*/ 1440325 w 6226010"/>
              <a:gd name="connsiteY2467" fmla="*/ 3440470 h 5756219"/>
              <a:gd name="connsiteX2468" fmla="*/ 1443043 w 6226010"/>
              <a:gd name="connsiteY2468" fmla="*/ 3396988 h 5756219"/>
              <a:gd name="connsiteX2469" fmla="*/ 1720237 w 6226010"/>
              <a:gd name="connsiteY2469" fmla="*/ 3391553 h 5756219"/>
              <a:gd name="connsiteX2470" fmla="*/ 1733825 w 6226010"/>
              <a:gd name="connsiteY2470" fmla="*/ 3426882 h 5756219"/>
              <a:gd name="connsiteX2471" fmla="*/ 1733825 w 6226010"/>
              <a:gd name="connsiteY2471" fmla="*/ 3440470 h 5756219"/>
              <a:gd name="connsiteX2472" fmla="*/ 1747413 w 6226010"/>
              <a:gd name="connsiteY2472" fmla="*/ 3448623 h 5756219"/>
              <a:gd name="connsiteX2473" fmla="*/ 1758284 w 6226010"/>
              <a:gd name="connsiteY2473" fmla="*/ 3462211 h 5756219"/>
              <a:gd name="connsiteX2474" fmla="*/ 1706649 w 6226010"/>
              <a:gd name="connsiteY2474" fmla="*/ 3470364 h 5756219"/>
              <a:gd name="connsiteX2475" fmla="*/ 1690343 w 6226010"/>
              <a:gd name="connsiteY2475" fmla="*/ 3475799 h 5756219"/>
              <a:gd name="connsiteX2476" fmla="*/ 1668603 w 6226010"/>
              <a:gd name="connsiteY2476" fmla="*/ 3467646 h 5756219"/>
              <a:gd name="connsiteX2477" fmla="*/ 1703931 w 6226010"/>
              <a:gd name="connsiteY2477" fmla="*/ 3413294 h 5756219"/>
              <a:gd name="connsiteX2478" fmla="*/ 1720237 w 6226010"/>
              <a:gd name="connsiteY2478" fmla="*/ 3391553 h 5756219"/>
              <a:gd name="connsiteX2479" fmla="*/ 426662 w 6226010"/>
              <a:gd name="connsiteY2479" fmla="*/ 3388835 h 5756219"/>
              <a:gd name="connsiteX2480" fmla="*/ 404921 w 6226010"/>
              <a:gd name="connsiteY2480" fmla="*/ 3426882 h 5756219"/>
              <a:gd name="connsiteX2481" fmla="*/ 423944 w 6226010"/>
              <a:gd name="connsiteY2481" fmla="*/ 3473081 h 5756219"/>
              <a:gd name="connsiteX2482" fmla="*/ 394051 w 6226010"/>
              <a:gd name="connsiteY2482" fmla="*/ 3497539 h 5756219"/>
              <a:gd name="connsiteX2483" fmla="*/ 358722 w 6226010"/>
              <a:gd name="connsiteY2483" fmla="*/ 3410576 h 5756219"/>
              <a:gd name="connsiteX2484" fmla="*/ 358722 w 6226010"/>
              <a:gd name="connsiteY2484" fmla="*/ 3432317 h 5756219"/>
              <a:gd name="connsiteX2485" fmla="*/ 323393 w 6226010"/>
              <a:gd name="connsiteY2485" fmla="*/ 3437752 h 5756219"/>
              <a:gd name="connsiteX2486" fmla="*/ 326111 w 6226010"/>
              <a:gd name="connsiteY2486" fmla="*/ 3451340 h 5756219"/>
              <a:gd name="connsiteX2487" fmla="*/ 380463 w 6226010"/>
              <a:gd name="connsiteY2487" fmla="*/ 3535585 h 5756219"/>
              <a:gd name="connsiteX2488" fmla="*/ 320676 w 6226010"/>
              <a:gd name="connsiteY2488" fmla="*/ 3513844 h 5756219"/>
              <a:gd name="connsiteX2489" fmla="*/ 356005 w 6226010"/>
              <a:gd name="connsiteY2489" fmla="*/ 3532868 h 5756219"/>
              <a:gd name="connsiteX2490" fmla="*/ 350569 w 6226010"/>
              <a:gd name="connsiteY2490" fmla="*/ 3568196 h 5756219"/>
              <a:gd name="connsiteX2491" fmla="*/ 407639 w 6226010"/>
              <a:gd name="connsiteY2491" fmla="*/ 3535585 h 5756219"/>
              <a:gd name="connsiteX2492" fmla="*/ 364157 w 6226010"/>
              <a:gd name="connsiteY2492" fmla="*/ 3617113 h 5756219"/>
              <a:gd name="connsiteX2493" fmla="*/ 391333 w 6226010"/>
              <a:gd name="connsiteY2493" fmla="*/ 3608960 h 5756219"/>
              <a:gd name="connsiteX2494" fmla="*/ 394051 w 6226010"/>
              <a:gd name="connsiteY2494" fmla="*/ 3638854 h 5756219"/>
              <a:gd name="connsiteX2495" fmla="*/ 353287 w 6226010"/>
              <a:gd name="connsiteY2495" fmla="*/ 3630701 h 5756219"/>
              <a:gd name="connsiteX2496" fmla="*/ 350569 w 6226010"/>
              <a:gd name="connsiteY2496" fmla="*/ 3657877 h 5756219"/>
              <a:gd name="connsiteX2497" fmla="*/ 410357 w 6226010"/>
              <a:gd name="connsiteY2497" fmla="*/ 3649724 h 5756219"/>
              <a:gd name="connsiteX2498" fmla="*/ 402204 w 6226010"/>
              <a:gd name="connsiteY2498" fmla="*/ 3742122 h 5756219"/>
              <a:gd name="connsiteX2499" fmla="*/ 377745 w 6226010"/>
              <a:gd name="connsiteY2499" fmla="*/ 3750275 h 5756219"/>
              <a:gd name="connsiteX2500" fmla="*/ 410357 w 6226010"/>
              <a:gd name="connsiteY2500" fmla="*/ 3804627 h 5756219"/>
              <a:gd name="connsiteX2501" fmla="*/ 467426 w 6226010"/>
              <a:gd name="connsiteY2501" fmla="*/ 3801909 h 5756219"/>
              <a:gd name="connsiteX2502" fmla="*/ 475579 w 6226010"/>
              <a:gd name="connsiteY2502" fmla="*/ 3826368 h 5756219"/>
              <a:gd name="connsiteX2503" fmla="*/ 502755 w 6226010"/>
              <a:gd name="connsiteY2503" fmla="*/ 3831803 h 5756219"/>
              <a:gd name="connsiteX2504" fmla="*/ 505472 w 6226010"/>
              <a:gd name="connsiteY2504" fmla="*/ 3872567 h 5756219"/>
              <a:gd name="connsiteX2505" fmla="*/ 557107 w 6226010"/>
              <a:gd name="connsiteY2505" fmla="*/ 3829085 h 5756219"/>
              <a:gd name="connsiteX2506" fmla="*/ 510907 w 6226010"/>
              <a:gd name="connsiteY2506" fmla="*/ 3818215 h 5756219"/>
              <a:gd name="connsiteX2507" fmla="*/ 467426 w 6226010"/>
              <a:gd name="connsiteY2507" fmla="*/ 3733970 h 5756219"/>
              <a:gd name="connsiteX2508" fmla="*/ 524495 w 6226010"/>
              <a:gd name="connsiteY2508" fmla="*/ 3720382 h 5756219"/>
              <a:gd name="connsiteX2509" fmla="*/ 464708 w 6226010"/>
              <a:gd name="connsiteY2509" fmla="*/ 3625266 h 5756219"/>
              <a:gd name="connsiteX2510" fmla="*/ 437532 w 6226010"/>
              <a:gd name="connsiteY2510" fmla="*/ 3630701 h 5756219"/>
              <a:gd name="connsiteX2511" fmla="*/ 399486 w 6226010"/>
              <a:gd name="connsiteY2511" fmla="*/ 3584502 h 5756219"/>
              <a:gd name="connsiteX2512" fmla="*/ 445685 w 6226010"/>
              <a:gd name="connsiteY2512" fmla="*/ 3549173 h 5756219"/>
              <a:gd name="connsiteX2513" fmla="*/ 432097 w 6226010"/>
              <a:gd name="connsiteY2513" fmla="*/ 3589937 h 5756219"/>
              <a:gd name="connsiteX2514" fmla="*/ 464708 w 6226010"/>
              <a:gd name="connsiteY2514" fmla="*/ 3486669 h 5756219"/>
              <a:gd name="connsiteX2515" fmla="*/ 461991 w 6226010"/>
              <a:gd name="connsiteY2515" fmla="*/ 3429599 h 5756219"/>
              <a:gd name="connsiteX2516" fmla="*/ 426662 w 6226010"/>
              <a:gd name="connsiteY2516" fmla="*/ 3388835 h 5756219"/>
              <a:gd name="connsiteX2517" fmla="*/ 622329 w 6226010"/>
              <a:gd name="connsiteY2517" fmla="*/ 3377965 h 5756219"/>
              <a:gd name="connsiteX2518" fmla="*/ 581565 w 6226010"/>
              <a:gd name="connsiteY2518" fmla="*/ 3388835 h 5756219"/>
              <a:gd name="connsiteX2519" fmla="*/ 578847 w 6226010"/>
              <a:gd name="connsiteY2519" fmla="*/ 3410576 h 5756219"/>
              <a:gd name="connsiteX2520" fmla="*/ 614176 w 6226010"/>
              <a:gd name="connsiteY2520" fmla="*/ 3486669 h 5756219"/>
              <a:gd name="connsiteX2521" fmla="*/ 619611 w 6226010"/>
              <a:gd name="connsiteY2521" fmla="*/ 3456775 h 5756219"/>
              <a:gd name="connsiteX2522" fmla="*/ 644070 w 6226010"/>
              <a:gd name="connsiteY2522" fmla="*/ 3437752 h 5756219"/>
              <a:gd name="connsiteX2523" fmla="*/ 622329 w 6226010"/>
              <a:gd name="connsiteY2523" fmla="*/ 3377965 h 5756219"/>
              <a:gd name="connsiteX2524" fmla="*/ 1641428 w 6226010"/>
              <a:gd name="connsiteY2524" fmla="*/ 3375248 h 5756219"/>
              <a:gd name="connsiteX2525" fmla="*/ 1655016 w 6226010"/>
              <a:gd name="connsiteY2525" fmla="*/ 3375248 h 5756219"/>
              <a:gd name="connsiteX2526" fmla="*/ 1652298 w 6226010"/>
              <a:gd name="connsiteY2526" fmla="*/ 3413295 h 5756219"/>
              <a:gd name="connsiteX2527" fmla="*/ 1641428 w 6226010"/>
              <a:gd name="connsiteY2527" fmla="*/ 3467647 h 5756219"/>
              <a:gd name="connsiteX2528" fmla="*/ 1614251 w 6226010"/>
              <a:gd name="connsiteY2528" fmla="*/ 3462212 h 5756219"/>
              <a:gd name="connsiteX2529" fmla="*/ 1595228 w 6226010"/>
              <a:gd name="connsiteY2529" fmla="*/ 3462212 h 5756219"/>
              <a:gd name="connsiteX2530" fmla="*/ 1581640 w 6226010"/>
              <a:gd name="connsiteY2530" fmla="*/ 3456777 h 5756219"/>
              <a:gd name="connsiteX2531" fmla="*/ 1559899 w 6226010"/>
              <a:gd name="connsiteY2531" fmla="*/ 3459494 h 5756219"/>
              <a:gd name="connsiteX2532" fmla="*/ 1557181 w 6226010"/>
              <a:gd name="connsiteY2532" fmla="*/ 3456777 h 5756219"/>
              <a:gd name="connsiteX2533" fmla="*/ 1540876 w 6226010"/>
              <a:gd name="connsiteY2533" fmla="*/ 3454059 h 5756219"/>
              <a:gd name="connsiteX2534" fmla="*/ 1532723 w 6226010"/>
              <a:gd name="connsiteY2534" fmla="*/ 3445906 h 5756219"/>
              <a:gd name="connsiteX2535" fmla="*/ 1532723 w 6226010"/>
              <a:gd name="connsiteY2535" fmla="*/ 3424165 h 5756219"/>
              <a:gd name="connsiteX2536" fmla="*/ 1559899 w 6226010"/>
              <a:gd name="connsiteY2536" fmla="*/ 3396989 h 5756219"/>
              <a:gd name="connsiteX2537" fmla="*/ 1587075 w 6226010"/>
              <a:gd name="connsiteY2537" fmla="*/ 3394272 h 5756219"/>
              <a:gd name="connsiteX2538" fmla="*/ 1587075 w 6226010"/>
              <a:gd name="connsiteY2538" fmla="*/ 3391554 h 5756219"/>
              <a:gd name="connsiteX2539" fmla="*/ 1597945 w 6226010"/>
              <a:gd name="connsiteY2539" fmla="*/ 3388837 h 5756219"/>
              <a:gd name="connsiteX2540" fmla="*/ 1625121 w 6226010"/>
              <a:gd name="connsiteY2540" fmla="*/ 3388837 h 5756219"/>
              <a:gd name="connsiteX2541" fmla="*/ 1641428 w 6226010"/>
              <a:gd name="connsiteY2541" fmla="*/ 3375248 h 5756219"/>
              <a:gd name="connsiteX2542" fmla="*/ 4622629 w 6226010"/>
              <a:gd name="connsiteY2542" fmla="*/ 3372530 h 5756219"/>
              <a:gd name="connsiteX2543" fmla="*/ 4592735 w 6226010"/>
              <a:gd name="connsiteY2543" fmla="*/ 3402423 h 5756219"/>
              <a:gd name="connsiteX2544" fmla="*/ 4625345 w 6226010"/>
              <a:gd name="connsiteY2544" fmla="*/ 3402423 h 5756219"/>
              <a:gd name="connsiteX2545" fmla="*/ 4617193 w 6226010"/>
              <a:gd name="connsiteY2545" fmla="*/ 3386118 h 5756219"/>
              <a:gd name="connsiteX2546" fmla="*/ 4622629 w 6226010"/>
              <a:gd name="connsiteY2546" fmla="*/ 3372530 h 5756219"/>
              <a:gd name="connsiteX2547" fmla="*/ 4576429 w 6226010"/>
              <a:gd name="connsiteY2547" fmla="*/ 3369812 h 5756219"/>
              <a:gd name="connsiteX2548" fmla="*/ 4562841 w 6226010"/>
              <a:gd name="connsiteY2548" fmla="*/ 3386118 h 5756219"/>
              <a:gd name="connsiteX2549" fmla="*/ 4587299 w 6226010"/>
              <a:gd name="connsiteY2549" fmla="*/ 3386118 h 5756219"/>
              <a:gd name="connsiteX2550" fmla="*/ 866912 w 6226010"/>
              <a:gd name="connsiteY2550" fmla="*/ 3358942 h 5756219"/>
              <a:gd name="connsiteX2551" fmla="*/ 834301 w 6226010"/>
              <a:gd name="connsiteY2551" fmla="*/ 3402423 h 5756219"/>
              <a:gd name="connsiteX2552" fmla="*/ 888653 w 6226010"/>
              <a:gd name="connsiteY2552" fmla="*/ 3418729 h 5756219"/>
              <a:gd name="connsiteX2553" fmla="*/ 866912 w 6226010"/>
              <a:gd name="connsiteY2553" fmla="*/ 3358942 h 5756219"/>
              <a:gd name="connsiteX2554" fmla="*/ 1690344 w 6226010"/>
              <a:gd name="connsiteY2554" fmla="*/ 3353507 h 5756219"/>
              <a:gd name="connsiteX2555" fmla="*/ 1693061 w 6226010"/>
              <a:gd name="connsiteY2555" fmla="*/ 3353507 h 5756219"/>
              <a:gd name="connsiteX2556" fmla="*/ 1714802 w 6226010"/>
              <a:gd name="connsiteY2556" fmla="*/ 3380684 h 5756219"/>
              <a:gd name="connsiteX2557" fmla="*/ 1676756 w 6226010"/>
              <a:gd name="connsiteY2557" fmla="*/ 3424165 h 5756219"/>
              <a:gd name="connsiteX2558" fmla="*/ 1674038 w 6226010"/>
              <a:gd name="connsiteY2558" fmla="*/ 3369812 h 5756219"/>
              <a:gd name="connsiteX2559" fmla="*/ 1690344 w 6226010"/>
              <a:gd name="connsiteY2559" fmla="*/ 3353507 h 5756219"/>
              <a:gd name="connsiteX2560" fmla="*/ 4617193 w 6226010"/>
              <a:gd name="connsiteY2560" fmla="*/ 3348071 h 5756219"/>
              <a:gd name="connsiteX2561" fmla="*/ 4617193 w 6226010"/>
              <a:gd name="connsiteY2561" fmla="*/ 3364377 h 5756219"/>
              <a:gd name="connsiteX2562" fmla="*/ 4633499 w 6226010"/>
              <a:gd name="connsiteY2562" fmla="*/ 3364377 h 5756219"/>
              <a:gd name="connsiteX2563" fmla="*/ 4633499 w 6226010"/>
              <a:gd name="connsiteY2563" fmla="*/ 3348071 h 5756219"/>
              <a:gd name="connsiteX2564" fmla="*/ 1486524 w 6226010"/>
              <a:gd name="connsiteY2564" fmla="*/ 3337201 h 5756219"/>
              <a:gd name="connsiteX2565" fmla="*/ 1516419 w 6226010"/>
              <a:gd name="connsiteY2565" fmla="*/ 3388836 h 5756219"/>
              <a:gd name="connsiteX2566" fmla="*/ 1513701 w 6226010"/>
              <a:gd name="connsiteY2566" fmla="*/ 3429600 h 5756219"/>
              <a:gd name="connsiteX2567" fmla="*/ 1481089 w 6226010"/>
              <a:gd name="connsiteY2567" fmla="*/ 3421447 h 5756219"/>
              <a:gd name="connsiteX2568" fmla="*/ 1475654 w 6226010"/>
              <a:gd name="connsiteY2568" fmla="*/ 3402424 h 5756219"/>
              <a:gd name="connsiteX2569" fmla="*/ 1464784 w 6226010"/>
              <a:gd name="connsiteY2569" fmla="*/ 3394271 h 5756219"/>
              <a:gd name="connsiteX2570" fmla="*/ 1459348 w 6226010"/>
              <a:gd name="connsiteY2570" fmla="*/ 3394271 h 5756219"/>
              <a:gd name="connsiteX2571" fmla="*/ 1456631 w 6226010"/>
              <a:gd name="connsiteY2571" fmla="*/ 3388836 h 5756219"/>
              <a:gd name="connsiteX2572" fmla="*/ 1448478 w 6226010"/>
              <a:gd name="connsiteY2572" fmla="*/ 3388836 h 5756219"/>
              <a:gd name="connsiteX2573" fmla="*/ 1443043 w 6226010"/>
              <a:gd name="connsiteY2573" fmla="*/ 3380683 h 5756219"/>
              <a:gd name="connsiteX2574" fmla="*/ 1445760 w 6226010"/>
              <a:gd name="connsiteY2574" fmla="*/ 3367094 h 5756219"/>
              <a:gd name="connsiteX2575" fmla="*/ 1456631 w 6226010"/>
              <a:gd name="connsiteY2575" fmla="*/ 3361659 h 5756219"/>
              <a:gd name="connsiteX2576" fmla="*/ 1470219 w 6226010"/>
              <a:gd name="connsiteY2576" fmla="*/ 3345353 h 5756219"/>
              <a:gd name="connsiteX2577" fmla="*/ 1486524 w 6226010"/>
              <a:gd name="connsiteY2577" fmla="*/ 3337201 h 5756219"/>
              <a:gd name="connsiteX2578" fmla="*/ 4530231 w 6226010"/>
              <a:gd name="connsiteY2578" fmla="*/ 3329048 h 5756219"/>
              <a:gd name="connsiteX2579" fmla="*/ 4513925 w 6226010"/>
              <a:gd name="connsiteY2579" fmla="*/ 3331766 h 5756219"/>
              <a:gd name="connsiteX2580" fmla="*/ 4530231 w 6226010"/>
              <a:gd name="connsiteY2580" fmla="*/ 3348071 h 5756219"/>
              <a:gd name="connsiteX2581" fmla="*/ 4609041 w 6226010"/>
              <a:gd name="connsiteY2581" fmla="*/ 3323613 h 5756219"/>
              <a:gd name="connsiteX2582" fmla="*/ 4592735 w 6226010"/>
              <a:gd name="connsiteY2582" fmla="*/ 3339919 h 5756219"/>
              <a:gd name="connsiteX2583" fmla="*/ 4609041 w 6226010"/>
              <a:gd name="connsiteY2583" fmla="*/ 3348071 h 5756219"/>
              <a:gd name="connsiteX2584" fmla="*/ 4617193 w 6226010"/>
              <a:gd name="connsiteY2584" fmla="*/ 3334484 h 5756219"/>
              <a:gd name="connsiteX2585" fmla="*/ 2386049 w 6226010"/>
              <a:gd name="connsiteY2585" fmla="*/ 3320896 h 5756219"/>
              <a:gd name="connsiteX2586" fmla="*/ 2402354 w 6226010"/>
              <a:gd name="connsiteY2586" fmla="*/ 3323613 h 5756219"/>
              <a:gd name="connsiteX2587" fmla="*/ 2402354 w 6226010"/>
              <a:gd name="connsiteY2587" fmla="*/ 3326331 h 5756219"/>
              <a:gd name="connsiteX2588" fmla="*/ 2426813 w 6226010"/>
              <a:gd name="connsiteY2588" fmla="*/ 3372531 h 5756219"/>
              <a:gd name="connsiteX2589" fmla="*/ 2424095 w 6226010"/>
              <a:gd name="connsiteY2589" fmla="*/ 3386119 h 5756219"/>
              <a:gd name="connsiteX2590" fmla="*/ 2424095 w 6226010"/>
              <a:gd name="connsiteY2590" fmla="*/ 3388837 h 5756219"/>
              <a:gd name="connsiteX2591" fmla="*/ 2410507 w 6226010"/>
              <a:gd name="connsiteY2591" fmla="*/ 3358942 h 5756219"/>
              <a:gd name="connsiteX2592" fmla="*/ 2388766 w 6226010"/>
              <a:gd name="connsiteY2592" fmla="*/ 3334484 h 5756219"/>
              <a:gd name="connsiteX2593" fmla="*/ 2386049 w 6226010"/>
              <a:gd name="connsiteY2593" fmla="*/ 3320896 h 5756219"/>
              <a:gd name="connsiteX2594" fmla="*/ 4693286 w 6226010"/>
              <a:gd name="connsiteY2594" fmla="*/ 3310025 h 5756219"/>
              <a:gd name="connsiteX2595" fmla="*/ 4682415 w 6226010"/>
              <a:gd name="connsiteY2595" fmla="*/ 3339919 h 5756219"/>
              <a:gd name="connsiteX2596" fmla="*/ 4698721 w 6226010"/>
              <a:gd name="connsiteY2596" fmla="*/ 3339919 h 5756219"/>
              <a:gd name="connsiteX2597" fmla="*/ 4666109 w 6226010"/>
              <a:gd name="connsiteY2597" fmla="*/ 3364377 h 5756219"/>
              <a:gd name="connsiteX2598" fmla="*/ 4674263 w 6226010"/>
              <a:gd name="connsiteY2598" fmla="*/ 3377965 h 5756219"/>
              <a:gd name="connsiteX2599" fmla="*/ 4660675 w 6226010"/>
              <a:gd name="connsiteY2599" fmla="*/ 3394270 h 5756219"/>
              <a:gd name="connsiteX2600" fmla="*/ 4638933 w 6226010"/>
              <a:gd name="connsiteY2600" fmla="*/ 3402423 h 5756219"/>
              <a:gd name="connsiteX2601" fmla="*/ 4676981 w 6226010"/>
              <a:gd name="connsiteY2601" fmla="*/ 3416011 h 5756219"/>
              <a:gd name="connsiteX2602" fmla="*/ 4693286 w 6226010"/>
              <a:gd name="connsiteY2602" fmla="*/ 3402423 h 5756219"/>
              <a:gd name="connsiteX2603" fmla="*/ 4690569 w 6226010"/>
              <a:gd name="connsiteY2603" fmla="*/ 3369812 h 5756219"/>
              <a:gd name="connsiteX2604" fmla="*/ 4696004 w 6226010"/>
              <a:gd name="connsiteY2604" fmla="*/ 3386118 h 5756219"/>
              <a:gd name="connsiteX2605" fmla="*/ 4717745 w 6226010"/>
              <a:gd name="connsiteY2605" fmla="*/ 3356224 h 5756219"/>
              <a:gd name="connsiteX2606" fmla="*/ 4742203 w 6226010"/>
              <a:gd name="connsiteY2606" fmla="*/ 3353507 h 5756219"/>
              <a:gd name="connsiteX2607" fmla="*/ 4628063 w 6226010"/>
              <a:gd name="connsiteY2607" fmla="*/ 3310025 h 5756219"/>
              <a:gd name="connsiteX2608" fmla="*/ 4652521 w 6226010"/>
              <a:gd name="connsiteY2608" fmla="*/ 3331766 h 5756219"/>
              <a:gd name="connsiteX2609" fmla="*/ 4655239 w 6226010"/>
              <a:gd name="connsiteY2609" fmla="*/ 3356224 h 5756219"/>
              <a:gd name="connsiteX2610" fmla="*/ 4676981 w 6226010"/>
              <a:gd name="connsiteY2610" fmla="*/ 3331766 h 5756219"/>
              <a:gd name="connsiteX2611" fmla="*/ 4655239 w 6226010"/>
              <a:gd name="connsiteY2611" fmla="*/ 3331766 h 5756219"/>
              <a:gd name="connsiteX2612" fmla="*/ 4663393 w 6226010"/>
              <a:gd name="connsiteY2612" fmla="*/ 3315460 h 5756219"/>
              <a:gd name="connsiteX2613" fmla="*/ 4383481 w 6226010"/>
              <a:gd name="connsiteY2613" fmla="*/ 3310025 h 5756219"/>
              <a:gd name="connsiteX2614" fmla="*/ 4399785 w 6226010"/>
              <a:gd name="connsiteY2614" fmla="*/ 3326331 h 5756219"/>
              <a:gd name="connsiteX2615" fmla="*/ 4402503 w 6226010"/>
              <a:gd name="connsiteY2615" fmla="*/ 3310025 h 5756219"/>
              <a:gd name="connsiteX2616" fmla="*/ 4462291 w 6226010"/>
              <a:gd name="connsiteY2616" fmla="*/ 3299155 h 5756219"/>
              <a:gd name="connsiteX2617" fmla="*/ 4440549 w 6226010"/>
              <a:gd name="connsiteY2617" fmla="*/ 3320896 h 5756219"/>
              <a:gd name="connsiteX2618" fmla="*/ 4465009 w 6226010"/>
              <a:gd name="connsiteY2618" fmla="*/ 3323613 h 5756219"/>
              <a:gd name="connsiteX2619" fmla="*/ 3024683 w 6226010"/>
              <a:gd name="connsiteY2619" fmla="*/ 3293720 h 5756219"/>
              <a:gd name="connsiteX2620" fmla="*/ 3021965 w 6226010"/>
              <a:gd name="connsiteY2620" fmla="*/ 3312743 h 5756219"/>
              <a:gd name="connsiteX2621" fmla="*/ 3040989 w 6226010"/>
              <a:gd name="connsiteY2621" fmla="*/ 3312743 h 5756219"/>
              <a:gd name="connsiteX2622" fmla="*/ 3035553 w 6226010"/>
              <a:gd name="connsiteY2622" fmla="*/ 3301872 h 5756219"/>
              <a:gd name="connsiteX2623" fmla="*/ 3024683 w 6226010"/>
              <a:gd name="connsiteY2623" fmla="*/ 3293720 h 5756219"/>
              <a:gd name="connsiteX2624" fmla="*/ 4508489 w 6226010"/>
              <a:gd name="connsiteY2624" fmla="*/ 3285567 h 5756219"/>
              <a:gd name="connsiteX2625" fmla="*/ 4508489 w 6226010"/>
              <a:gd name="connsiteY2625" fmla="*/ 3301872 h 5756219"/>
              <a:gd name="connsiteX2626" fmla="*/ 4524795 w 6226010"/>
              <a:gd name="connsiteY2626" fmla="*/ 3285567 h 5756219"/>
              <a:gd name="connsiteX2627" fmla="*/ 595153 w 6226010"/>
              <a:gd name="connsiteY2627" fmla="*/ 3274696 h 5756219"/>
              <a:gd name="connsiteX2628" fmla="*/ 546236 w 6226010"/>
              <a:gd name="connsiteY2628" fmla="*/ 3282849 h 5756219"/>
              <a:gd name="connsiteX2629" fmla="*/ 540801 w 6226010"/>
              <a:gd name="connsiteY2629" fmla="*/ 3348071 h 5756219"/>
              <a:gd name="connsiteX2630" fmla="*/ 584283 w 6226010"/>
              <a:gd name="connsiteY2630" fmla="*/ 3323613 h 5756219"/>
              <a:gd name="connsiteX2631" fmla="*/ 603306 w 6226010"/>
              <a:gd name="connsiteY2631" fmla="*/ 3326331 h 5756219"/>
              <a:gd name="connsiteX2632" fmla="*/ 595153 w 6226010"/>
              <a:gd name="connsiteY2632" fmla="*/ 3274696 h 5756219"/>
              <a:gd name="connsiteX2633" fmla="*/ 4532947 w 6226010"/>
              <a:gd name="connsiteY2633" fmla="*/ 3271979 h 5756219"/>
              <a:gd name="connsiteX2634" fmla="*/ 4532947 w 6226010"/>
              <a:gd name="connsiteY2634" fmla="*/ 3293720 h 5756219"/>
              <a:gd name="connsiteX2635" fmla="*/ 4549253 w 6226010"/>
              <a:gd name="connsiteY2635" fmla="*/ 3285567 h 5756219"/>
              <a:gd name="connsiteX2636" fmla="*/ 4407939 w 6226010"/>
              <a:gd name="connsiteY2636" fmla="*/ 3261108 h 5756219"/>
              <a:gd name="connsiteX2637" fmla="*/ 4394351 w 6226010"/>
              <a:gd name="connsiteY2637" fmla="*/ 3277414 h 5756219"/>
              <a:gd name="connsiteX2638" fmla="*/ 4418809 w 6226010"/>
              <a:gd name="connsiteY2638" fmla="*/ 3277414 h 5756219"/>
              <a:gd name="connsiteX2639" fmla="*/ 946062 w 6226010"/>
              <a:gd name="connsiteY2639" fmla="*/ 3256692 h 5756219"/>
              <a:gd name="connsiteX2640" fmla="*/ 910394 w 6226010"/>
              <a:gd name="connsiteY2640" fmla="*/ 3266544 h 5756219"/>
              <a:gd name="connsiteX2641" fmla="*/ 967463 w 6226010"/>
              <a:gd name="connsiteY2641" fmla="*/ 3293720 h 5756219"/>
              <a:gd name="connsiteX2642" fmla="*/ 946062 w 6226010"/>
              <a:gd name="connsiteY2642" fmla="*/ 3256692 h 5756219"/>
              <a:gd name="connsiteX2643" fmla="*/ 4448703 w 6226010"/>
              <a:gd name="connsiteY2643" fmla="*/ 3252956 h 5756219"/>
              <a:gd name="connsiteX2644" fmla="*/ 4432397 w 6226010"/>
              <a:gd name="connsiteY2644" fmla="*/ 3269261 h 5756219"/>
              <a:gd name="connsiteX2645" fmla="*/ 4459573 w 6226010"/>
              <a:gd name="connsiteY2645" fmla="*/ 3269261 h 5756219"/>
              <a:gd name="connsiteX2646" fmla="*/ 755491 w 6226010"/>
              <a:gd name="connsiteY2646" fmla="*/ 3247520 h 5756219"/>
              <a:gd name="connsiteX2647" fmla="*/ 785385 w 6226010"/>
              <a:gd name="connsiteY2647" fmla="*/ 3307308 h 5756219"/>
              <a:gd name="connsiteX2648" fmla="*/ 758209 w 6226010"/>
              <a:gd name="connsiteY2648" fmla="*/ 3342636 h 5756219"/>
              <a:gd name="connsiteX2649" fmla="*/ 750056 w 6226010"/>
              <a:gd name="connsiteY2649" fmla="*/ 3337201 h 5756219"/>
              <a:gd name="connsiteX2650" fmla="*/ 744621 w 6226010"/>
              <a:gd name="connsiteY2650" fmla="*/ 3301872 h 5756219"/>
              <a:gd name="connsiteX2651" fmla="*/ 722880 w 6226010"/>
              <a:gd name="connsiteY2651" fmla="*/ 3339919 h 5756219"/>
              <a:gd name="connsiteX2652" fmla="*/ 747338 w 6226010"/>
              <a:gd name="connsiteY2652" fmla="*/ 3369812 h 5756219"/>
              <a:gd name="connsiteX2653" fmla="*/ 785385 w 6226010"/>
              <a:gd name="connsiteY2653" fmla="*/ 3345354 h 5756219"/>
              <a:gd name="connsiteX2654" fmla="*/ 796255 w 6226010"/>
              <a:gd name="connsiteY2654" fmla="*/ 3358942 h 5756219"/>
              <a:gd name="connsiteX2655" fmla="*/ 790820 w 6226010"/>
              <a:gd name="connsiteY2655" fmla="*/ 3426882 h 5756219"/>
              <a:gd name="connsiteX2656" fmla="*/ 758209 w 6226010"/>
              <a:gd name="connsiteY2656" fmla="*/ 3432317 h 5756219"/>
              <a:gd name="connsiteX2657" fmla="*/ 731033 w 6226010"/>
              <a:gd name="connsiteY2657" fmla="*/ 3388835 h 5756219"/>
              <a:gd name="connsiteX2658" fmla="*/ 728315 w 6226010"/>
              <a:gd name="connsiteY2658" fmla="*/ 3429599 h 5756219"/>
              <a:gd name="connsiteX2659" fmla="*/ 684834 w 6226010"/>
              <a:gd name="connsiteY2659" fmla="*/ 3407858 h 5756219"/>
              <a:gd name="connsiteX2660" fmla="*/ 682116 w 6226010"/>
              <a:gd name="connsiteY2660" fmla="*/ 3435034 h 5756219"/>
              <a:gd name="connsiteX2661" fmla="*/ 646787 w 6226010"/>
              <a:gd name="connsiteY2661" fmla="*/ 3426882 h 5756219"/>
              <a:gd name="connsiteX2662" fmla="*/ 603306 w 6226010"/>
              <a:gd name="connsiteY2662" fmla="*/ 3502974 h 5756219"/>
              <a:gd name="connsiteX2663" fmla="*/ 595153 w 6226010"/>
              <a:gd name="connsiteY2663" fmla="*/ 3516562 h 5756219"/>
              <a:gd name="connsiteX2664" fmla="*/ 559824 w 6226010"/>
              <a:gd name="connsiteY2664" fmla="*/ 3500256 h 5756219"/>
              <a:gd name="connsiteX2665" fmla="*/ 559824 w 6226010"/>
              <a:gd name="connsiteY2665" fmla="*/ 3617113 h 5756219"/>
              <a:gd name="connsiteX2666" fmla="*/ 502755 w 6226010"/>
              <a:gd name="connsiteY2666" fmla="*/ 3622548 h 5756219"/>
              <a:gd name="connsiteX2667" fmla="*/ 543519 w 6226010"/>
              <a:gd name="connsiteY2667" fmla="*/ 3682335 h 5756219"/>
              <a:gd name="connsiteX2668" fmla="*/ 562542 w 6226010"/>
              <a:gd name="connsiteY2668" fmla="*/ 3668748 h 5756219"/>
              <a:gd name="connsiteX2669" fmla="*/ 576130 w 6226010"/>
              <a:gd name="connsiteY2669" fmla="*/ 3742122 h 5756219"/>
              <a:gd name="connsiteX2670" fmla="*/ 603306 w 6226010"/>
              <a:gd name="connsiteY2670" fmla="*/ 3712229 h 5756219"/>
              <a:gd name="connsiteX2671" fmla="*/ 633199 w 6226010"/>
              <a:gd name="connsiteY2671" fmla="*/ 3733970 h 5756219"/>
              <a:gd name="connsiteX2672" fmla="*/ 600588 w 6226010"/>
              <a:gd name="connsiteY2672" fmla="*/ 3649724 h 5756219"/>
              <a:gd name="connsiteX2673" fmla="*/ 611458 w 6226010"/>
              <a:gd name="connsiteY2673" fmla="*/ 3587220 h 5756219"/>
              <a:gd name="connsiteX2674" fmla="*/ 633199 w 6226010"/>
              <a:gd name="connsiteY2674" fmla="*/ 3589937 h 5756219"/>
              <a:gd name="connsiteX2675" fmla="*/ 671246 w 6226010"/>
              <a:gd name="connsiteY2675" fmla="*/ 3530150 h 5756219"/>
              <a:gd name="connsiteX2676" fmla="*/ 692986 w 6226010"/>
              <a:gd name="connsiteY2676" fmla="*/ 3562761 h 5756219"/>
              <a:gd name="connsiteX2677" fmla="*/ 654940 w 6226010"/>
              <a:gd name="connsiteY2677" fmla="*/ 3611678 h 5756219"/>
              <a:gd name="connsiteX2678" fmla="*/ 722880 w 6226010"/>
              <a:gd name="connsiteY2678" fmla="*/ 3581784 h 5756219"/>
              <a:gd name="connsiteX2679" fmla="*/ 736468 w 6226010"/>
              <a:gd name="connsiteY2679" fmla="*/ 3636136 h 5756219"/>
              <a:gd name="connsiteX2680" fmla="*/ 687551 w 6226010"/>
              <a:gd name="connsiteY2680" fmla="*/ 3630701 h 5756219"/>
              <a:gd name="connsiteX2681" fmla="*/ 717445 w 6226010"/>
              <a:gd name="connsiteY2681" fmla="*/ 3671465 h 5756219"/>
              <a:gd name="connsiteX2682" fmla="*/ 701139 w 6226010"/>
              <a:gd name="connsiteY2682" fmla="*/ 3676900 h 5756219"/>
              <a:gd name="connsiteX2683" fmla="*/ 709292 w 6226010"/>
              <a:gd name="connsiteY2683" fmla="*/ 3698641 h 5756219"/>
              <a:gd name="connsiteX2684" fmla="*/ 755491 w 6226010"/>
              <a:gd name="connsiteY2684" fmla="*/ 3592655 h 5756219"/>
              <a:gd name="connsiteX2685" fmla="*/ 779949 w 6226010"/>
              <a:gd name="connsiteY2685" fmla="*/ 3527432 h 5756219"/>
              <a:gd name="connsiteX2686" fmla="*/ 750056 w 6226010"/>
              <a:gd name="connsiteY2686" fmla="*/ 3511127 h 5756219"/>
              <a:gd name="connsiteX2687" fmla="*/ 744621 w 6226010"/>
              <a:gd name="connsiteY2687" fmla="*/ 3481233 h 5756219"/>
              <a:gd name="connsiteX2688" fmla="*/ 763644 w 6226010"/>
              <a:gd name="connsiteY2688" fmla="*/ 3478516 h 5756219"/>
              <a:gd name="connsiteX2689" fmla="*/ 752773 w 6226010"/>
              <a:gd name="connsiteY2689" fmla="*/ 3440469 h 5756219"/>
              <a:gd name="connsiteX2690" fmla="*/ 842454 w 6226010"/>
              <a:gd name="connsiteY2690" fmla="*/ 3451340 h 5756219"/>
              <a:gd name="connsiteX2691" fmla="*/ 885935 w 6226010"/>
              <a:gd name="connsiteY2691" fmla="*/ 3543738 h 5756219"/>
              <a:gd name="connsiteX2692" fmla="*/ 793537 w 6226010"/>
              <a:gd name="connsiteY2692" fmla="*/ 3432317 h 5756219"/>
              <a:gd name="connsiteX2693" fmla="*/ 801690 w 6226010"/>
              <a:gd name="connsiteY2693" fmla="*/ 3334484 h 5756219"/>
              <a:gd name="connsiteX2694" fmla="*/ 828866 w 6226010"/>
              <a:gd name="connsiteY2694" fmla="*/ 3299155 h 5756219"/>
              <a:gd name="connsiteX2695" fmla="*/ 815278 w 6226010"/>
              <a:gd name="connsiteY2695" fmla="*/ 3304590 h 5756219"/>
              <a:gd name="connsiteX2696" fmla="*/ 798972 w 6226010"/>
              <a:gd name="connsiteY2696" fmla="*/ 3274696 h 5756219"/>
              <a:gd name="connsiteX2697" fmla="*/ 782667 w 6226010"/>
              <a:gd name="connsiteY2697" fmla="*/ 3282849 h 5756219"/>
              <a:gd name="connsiteX2698" fmla="*/ 755491 w 6226010"/>
              <a:gd name="connsiteY2698" fmla="*/ 3247520 h 5756219"/>
              <a:gd name="connsiteX2699" fmla="*/ 4532947 w 6226010"/>
              <a:gd name="connsiteY2699" fmla="*/ 3242085 h 5756219"/>
              <a:gd name="connsiteX2700" fmla="*/ 4524795 w 6226010"/>
              <a:gd name="connsiteY2700" fmla="*/ 3255673 h 5756219"/>
              <a:gd name="connsiteX2701" fmla="*/ 4538383 w 6226010"/>
              <a:gd name="connsiteY2701" fmla="*/ 3263826 h 5756219"/>
              <a:gd name="connsiteX2702" fmla="*/ 4549253 w 6226010"/>
              <a:gd name="connsiteY2702" fmla="*/ 3255673 h 5756219"/>
              <a:gd name="connsiteX2703" fmla="*/ 4492183 w 6226010"/>
              <a:gd name="connsiteY2703" fmla="*/ 3239368 h 5756219"/>
              <a:gd name="connsiteX2704" fmla="*/ 4470443 w 6226010"/>
              <a:gd name="connsiteY2704" fmla="*/ 3261108 h 5756219"/>
              <a:gd name="connsiteX2705" fmla="*/ 4494901 w 6226010"/>
              <a:gd name="connsiteY2705" fmla="*/ 3263826 h 5756219"/>
              <a:gd name="connsiteX2706" fmla="*/ 4416091 w 6226010"/>
              <a:gd name="connsiteY2706" fmla="*/ 3225780 h 5756219"/>
              <a:gd name="connsiteX2707" fmla="*/ 4437833 w 6226010"/>
              <a:gd name="connsiteY2707" fmla="*/ 3247520 h 5756219"/>
              <a:gd name="connsiteX2708" fmla="*/ 4416091 w 6226010"/>
              <a:gd name="connsiteY2708" fmla="*/ 3225780 h 5756219"/>
              <a:gd name="connsiteX2709" fmla="*/ 1758284 w 6226010"/>
              <a:gd name="connsiteY2709" fmla="*/ 3206757 h 5756219"/>
              <a:gd name="connsiteX2710" fmla="*/ 1761002 w 6226010"/>
              <a:gd name="connsiteY2710" fmla="*/ 3206757 h 5756219"/>
              <a:gd name="connsiteX2711" fmla="*/ 1761002 w 6226010"/>
              <a:gd name="connsiteY2711" fmla="*/ 3231215 h 5756219"/>
              <a:gd name="connsiteX2712" fmla="*/ 1725672 w 6226010"/>
              <a:gd name="connsiteY2712" fmla="*/ 3274697 h 5756219"/>
              <a:gd name="connsiteX2713" fmla="*/ 1712084 w 6226010"/>
              <a:gd name="connsiteY2713" fmla="*/ 3282849 h 5756219"/>
              <a:gd name="connsiteX2714" fmla="*/ 1706649 w 6226010"/>
              <a:gd name="connsiteY2714" fmla="*/ 3304590 h 5756219"/>
              <a:gd name="connsiteX2715" fmla="*/ 1676755 w 6226010"/>
              <a:gd name="connsiteY2715" fmla="*/ 3342636 h 5756219"/>
              <a:gd name="connsiteX2716" fmla="*/ 1674038 w 6226010"/>
              <a:gd name="connsiteY2716" fmla="*/ 3342636 h 5756219"/>
              <a:gd name="connsiteX2717" fmla="*/ 1717519 w 6226010"/>
              <a:gd name="connsiteY2717" fmla="*/ 3223062 h 5756219"/>
              <a:gd name="connsiteX2718" fmla="*/ 1758284 w 6226010"/>
              <a:gd name="connsiteY2718" fmla="*/ 3206757 h 5756219"/>
              <a:gd name="connsiteX2719" fmla="*/ 4432397 w 6226010"/>
              <a:gd name="connsiteY2719" fmla="*/ 3201321 h 5756219"/>
              <a:gd name="connsiteX2720" fmla="*/ 4432397 w 6226010"/>
              <a:gd name="connsiteY2720" fmla="*/ 3217627 h 5756219"/>
              <a:gd name="connsiteX2721" fmla="*/ 4448703 w 6226010"/>
              <a:gd name="connsiteY2721" fmla="*/ 3214909 h 5756219"/>
              <a:gd name="connsiteX2722" fmla="*/ 2206686 w 6226010"/>
              <a:gd name="connsiteY2722" fmla="*/ 3201321 h 5756219"/>
              <a:gd name="connsiteX2723" fmla="*/ 2198534 w 6226010"/>
              <a:gd name="connsiteY2723" fmla="*/ 3210078 h 5756219"/>
              <a:gd name="connsiteX2724" fmla="*/ 2198534 w 6226010"/>
              <a:gd name="connsiteY2724" fmla="*/ 3212192 h 5756219"/>
              <a:gd name="connsiteX2725" fmla="*/ 2202610 w 6226010"/>
              <a:gd name="connsiteY2725" fmla="*/ 3213550 h 5756219"/>
              <a:gd name="connsiteX2726" fmla="*/ 2204687 w 6226010"/>
              <a:gd name="connsiteY2726" fmla="*/ 3214243 h 5756219"/>
              <a:gd name="connsiteX2727" fmla="*/ 2209404 w 6226010"/>
              <a:gd name="connsiteY2727" fmla="*/ 3209474 h 5756219"/>
              <a:gd name="connsiteX2728" fmla="*/ 2209404 w 6226010"/>
              <a:gd name="connsiteY2728" fmla="*/ 3206757 h 5756219"/>
              <a:gd name="connsiteX2729" fmla="*/ 2206686 w 6226010"/>
              <a:gd name="connsiteY2729" fmla="*/ 3201321 h 5756219"/>
              <a:gd name="connsiteX2730" fmla="*/ 4554689 w 6226010"/>
              <a:gd name="connsiteY2730" fmla="*/ 3193169 h 5756219"/>
              <a:gd name="connsiteX2731" fmla="*/ 4532947 w 6226010"/>
              <a:gd name="connsiteY2731" fmla="*/ 3217627 h 5756219"/>
              <a:gd name="connsiteX2732" fmla="*/ 4532947 w 6226010"/>
              <a:gd name="connsiteY2732" fmla="*/ 3233932 h 5756219"/>
              <a:gd name="connsiteX2733" fmla="*/ 4554689 w 6226010"/>
              <a:gd name="connsiteY2733" fmla="*/ 3233932 h 5756219"/>
              <a:gd name="connsiteX2734" fmla="*/ 4554689 w 6226010"/>
              <a:gd name="connsiteY2734" fmla="*/ 3255673 h 5756219"/>
              <a:gd name="connsiteX2735" fmla="*/ 4562841 w 6226010"/>
              <a:gd name="connsiteY2735" fmla="*/ 3233932 h 5756219"/>
              <a:gd name="connsiteX2736" fmla="*/ 4579147 w 6226010"/>
              <a:gd name="connsiteY2736" fmla="*/ 3223062 h 5756219"/>
              <a:gd name="connsiteX2737" fmla="*/ 4562841 w 6226010"/>
              <a:gd name="connsiteY2737" fmla="*/ 3209474 h 5756219"/>
              <a:gd name="connsiteX2738" fmla="*/ 4554689 w 6226010"/>
              <a:gd name="connsiteY2738" fmla="*/ 3193169 h 5756219"/>
              <a:gd name="connsiteX2739" fmla="*/ 543519 w 6226010"/>
              <a:gd name="connsiteY2739" fmla="*/ 3190451 h 5756219"/>
              <a:gd name="connsiteX2740" fmla="*/ 497320 w 6226010"/>
              <a:gd name="connsiteY2740" fmla="*/ 3214909 h 5756219"/>
              <a:gd name="connsiteX2741" fmla="*/ 513625 w 6226010"/>
              <a:gd name="connsiteY2741" fmla="*/ 3231215 h 5756219"/>
              <a:gd name="connsiteX2742" fmla="*/ 502755 w 6226010"/>
              <a:gd name="connsiteY2742" fmla="*/ 3274696 h 5756219"/>
              <a:gd name="connsiteX2743" fmla="*/ 619611 w 6226010"/>
              <a:gd name="connsiteY2743" fmla="*/ 3258391 h 5756219"/>
              <a:gd name="connsiteX2744" fmla="*/ 616894 w 6226010"/>
              <a:gd name="connsiteY2744" fmla="*/ 3217627 h 5756219"/>
              <a:gd name="connsiteX2745" fmla="*/ 543519 w 6226010"/>
              <a:gd name="connsiteY2745" fmla="*/ 3190451 h 5756219"/>
              <a:gd name="connsiteX2746" fmla="*/ 1103343 w 6226010"/>
              <a:gd name="connsiteY2746" fmla="*/ 3187733 h 5756219"/>
              <a:gd name="connsiteX2747" fmla="*/ 1130519 w 6226010"/>
              <a:gd name="connsiteY2747" fmla="*/ 3250238 h 5756219"/>
              <a:gd name="connsiteX2748" fmla="*/ 1127801 w 6226010"/>
              <a:gd name="connsiteY2748" fmla="*/ 3187733 h 5756219"/>
              <a:gd name="connsiteX2749" fmla="*/ 1103343 w 6226010"/>
              <a:gd name="connsiteY2749" fmla="*/ 3187733 h 5756219"/>
              <a:gd name="connsiteX2750" fmla="*/ 1231070 w 6226010"/>
              <a:gd name="connsiteY2750" fmla="*/ 3179581 h 5756219"/>
              <a:gd name="connsiteX2751" fmla="*/ 1231070 w 6226010"/>
              <a:gd name="connsiteY2751" fmla="*/ 3212192 h 5756219"/>
              <a:gd name="connsiteX2752" fmla="*/ 1228352 w 6226010"/>
              <a:gd name="connsiteY2752" fmla="*/ 3228497 h 5756219"/>
              <a:gd name="connsiteX2753" fmla="*/ 1241940 w 6226010"/>
              <a:gd name="connsiteY2753" fmla="*/ 3261108 h 5756219"/>
              <a:gd name="connsiteX2754" fmla="*/ 1244658 w 6226010"/>
              <a:gd name="connsiteY2754" fmla="*/ 3274696 h 5756219"/>
              <a:gd name="connsiteX2755" fmla="*/ 1260964 w 6226010"/>
              <a:gd name="connsiteY2755" fmla="*/ 3291002 h 5756219"/>
              <a:gd name="connsiteX2756" fmla="*/ 1263681 w 6226010"/>
              <a:gd name="connsiteY2756" fmla="*/ 3304590 h 5756219"/>
              <a:gd name="connsiteX2757" fmla="*/ 1271834 w 6226010"/>
              <a:gd name="connsiteY2757" fmla="*/ 3310025 h 5756219"/>
              <a:gd name="connsiteX2758" fmla="*/ 1271834 w 6226010"/>
              <a:gd name="connsiteY2758" fmla="*/ 3315460 h 5756219"/>
              <a:gd name="connsiteX2759" fmla="*/ 1279987 w 6226010"/>
              <a:gd name="connsiteY2759" fmla="*/ 3315460 h 5756219"/>
              <a:gd name="connsiteX2760" fmla="*/ 1282704 w 6226010"/>
              <a:gd name="connsiteY2760" fmla="*/ 3320896 h 5756219"/>
              <a:gd name="connsiteX2761" fmla="*/ 1287868 w 6226010"/>
              <a:gd name="connsiteY2761" fmla="*/ 3320896 h 5756219"/>
              <a:gd name="connsiteX2762" fmla="*/ 1295982 w 6226010"/>
              <a:gd name="connsiteY2762" fmla="*/ 3325166 h 5756219"/>
              <a:gd name="connsiteX2763" fmla="*/ 1299010 w 6226010"/>
              <a:gd name="connsiteY2763" fmla="*/ 3327690 h 5756219"/>
              <a:gd name="connsiteX2764" fmla="*/ 1307163 w 6226010"/>
              <a:gd name="connsiteY2764" fmla="*/ 3334484 h 5756219"/>
              <a:gd name="connsiteX2765" fmla="*/ 1323468 w 6226010"/>
              <a:gd name="connsiteY2765" fmla="*/ 3334484 h 5756219"/>
              <a:gd name="connsiteX2766" fmla="*/ 1302067 w 6226010"/>
              <a:gd name="connsiteY2766" fmla="*/ 3328369 h 5756219"/>
              <a:gd name="connsiteX2767" fmla="*/ 1295982 w 6226010"/>
              <a:gd name="connsiteY2767" fmla="*/ 3325166 h 5756219"/>
              <a:gd name="connsiteX2768" fmla="*/ 1290857 w 6226010"/>
              <a:gd name="connsiteY2768" fmla="*/ 3320896 h 5756219"/>
              <a:gd name="connsiteX2769" fmla="*/ 1287868 w 6226010"/>
              <a:gd name="connsiteY2769" fmla="*/ 3320896 h 5756219"/>
              <a:gd name="connsiteX2770" fmla="*/ 1282704 w 6226010"/>
              <a:gd name="connsiteY2770" fmla="*/ 3318178 h 5756219"/>
              <a:gd name="connsiteX2771" fmla="*/ 1266399 w 6226010"/>
              <a:gd name="connsiteY2771" fmla="*/ 3261108 h 5756219"/>
              <a:gd name="connsiteX2772" fmla="*/ 1266399 w 6226010"/>
              <a:gd name="connsiteY2772" fmla="*/ 3236650 h 5756219"/>
              <a:gd name="connsiteX2773" fmla="*/ 1282704 w 6226010"/>
              <a:gd name="connsiteY2773" fmla="*/ 3231215 h 5756219"/>
              <a:gd name="connsiteX2774" fmla="*/ 1288140 w 6226010"/>
              <a:gd name="connsiteY2774" fmla="*/ 3225780 h 5756219"/>
              <a:gd name="connsiteX2775" fmla="*/ 1296292 w 6226010"/>
              <a:gd name="connsiteY2775" fmla="*/ 3225780 h 5756219"/>
              <a:gd name="connsiteX2776" fmla="*/ 1315315 w 6226010"/>
              <a:gd name="connsiteY2776" fmla="*/ 3209474 h 5756219"/>
              <a:gd name="connsiteX2777" fmla="*/ 1315315 w 6226010"/>
              <a:gd name="connsiteY2777" fmla="*/ 3206757 h 5756219"/>
              <a:gd name="connsiteX2778" fmla="*/ 1312598 w 6226010"/>
              <a:gd name="connsiteY2778" fmla="*/ 3201321 h 5756219"/>
              <a:gd name="connsiteX2779" fmla="*/ 1293575 w 6226010"/>
              <a:gd name="connsiteY2779" fmla="*/ 3212192 h 5756219"/>
              <a:gd name="connsiteX2780" fmla="*/ 1293575 w 6226010"/>
              <a:gd name="connsiteY2780" fmla="*/ 3214909 h 5756219"/>
              <a:gd name="connsiteX2781" fmla="*/ 1285422 w 6226010"/>
              <a:gd name="connsiteY2781" fmla="*/ 3214909 h 5756219"/>
              <a:gd name="connsiteX2782" fmla="*/ 1266399 w 6226010"/>
              <a:gd name="connsiteY2782" fmla="*/ 3223062 h 5756219"/>
              <a:gd name="connsiteX2783" fmla="*/ 1260964 w 6226010"/>
              <a:gd name="connsiteY2783" fmla="*/ 3182298 h 5756219"/>
              <a:gd name="connsiteX2784" fmla="*/ 1255528 w 6226010"/>
              <a:gd name="connsiteY2784" fmla="*/ 3185016 h 5756219"/>
              <a:gd name="connsiteX2785" fmla="*/ 1260964 w 6226010"/>
              <a:gd name="connsiteY2785" fmla="*/ 3206757 h 5756219"/>
              <a:gd name="connsiteX2786" fmla="*/ 1260964 w 6226010"/>
              <a:gd name="connsiteY2786" fmla="*/ 3255673 h 5756219"/>
              <a:gd name="connsiteX2787" fmla="*/ 1263681 w 6226010"/>
              <a:gd name="connsiteY2787" fmla="*/ 3282849 h 5756219"/>
              <a:gd name="connsiteX2788" fmla="*/ 1258246 w 6226010"/>
              <a:gd name="connsiteY2788" fmla="*/ 3285567 h 5756219"/>
              <a:gd name="connsiteX2789" fmla="*/ 1252811 w 6226010"/>
              <a:gd name="connsiteY2789" fmla="*/ 3277414 h 5756219"/>
              <a:gd name="connsiteX2790" fmla="*/ 1247376 w 6226010"/>
              <a:gd name="connsiteY2790" fmla="*/ 3261108 h 5756219"/>
              <a:gd name="connsiteX2791" fmla="*/ 1236505 w 6226010"/>
              <a:gd name="connsiteY2791" fmla="*/ 3236650 h 5756219"/>
              <a:gd name="connsiteX2792" fmla="*/ 1236505 w 6226010"/>
              <a:gd name="connsiteY2792" fmla="*/ 3217627 h 5756219"/>
              <a:gd name="connsiteX2793" fmla="*/ 1236505 w 6226010"/>
              <a:gd name="connsiteY2793" fmla="*/ 3193169 h 5756219"/>
              <a:gd name="connsiteX2794" fmla="*/ 1236505 w 6226010"/>
              <a:gd name="connsiteY2794" fmla="*/ 3179581 h 5756219"/>
              <a:gd name="connsiteX2795" fmla="*/ 1231070 w 6226010"/>
              <a:gd name="connsiteY2795" fmla="*/ 3179581 h 5756219"/>
              <a:gd name="connsiteX2796" fmla="*/ 2383776 w 6226010"/>
              <a:gd name="connsiteY2796" fmla="*/ 3176363 h 5756219"/>
              <a:gd name="connsiteX2797" fmla="*/ 2384053 w 6226010"/>
              <a:gd name="connsiteY2797" fmla="*/ 3186204 h 5756219"/>
              <a:gd name="connsiteX2798" fmla="*/ 2385203 w 6226010"/>
              <a:gd name="connsiteY2798" fmla="*/ 3197154 h 5756219"/>
              <a:gd name="connsiteX2799" fmla="*/ 2421377 w 6226010"/>
              <a:gd name="connsiteY2799" fmla="*/ 3171428 h 5756219"/>
              <a:gd name="connsiteX2800" fmla="*/ 2417671 w 6226010"/>
              <a:gd name="connsiteY2800" fmla="*/ 3175133 h 5756219"/>
              <a:gd name="connsiteX2801" fmla="*/ 2420836 w 6226010"/>
              <a:gd name="connsiteY2801" fmla="*/ 3175985 h 5756219"/>
              <a:gd name="connsiteX2802" fmla="*/ 4348151 w 6226010"/>
              <a:gd name="connsiteY2802" fmla="*/ 3155122 h 5756219"/>
              <a:gd name="connsiteX2803" fmla="*/ 4348151 w 6226010"/>
              <a:gd name="connsiteY2803" fmla="*/ 3171428 h 5756219"/>
              <a:gd name="connsiteX2804" fmla="*/ 4364457 w 6226010"/>
              <a:gd name="connsiteY2804" fmla="*/ 3155122 h 5756219"/>
              <a:gd name="connsiteX2805" fmla="*/ 4503055 w 6226010"/>
              <a:gd name="connsiteY2805" fmla="*/ 3149687 h 5756219"/>
              <a:gd name="connsiteX2806" fmla="*/ 4486749 w 6226010"/>
              <a:gd name="connsiteY2806" fmla="*/ 3171428 h 5756219"/>
              <a:gd name="connsiteX2807" fmla="*/ 4494901 w 6226010"/>
              <a:gd name="connsiteY2807" fmla="*/ 3179581 h 5756219"/>
              <a:gd name="connsiteX2808" fmla="*/ 4516643 w 6226010"/>
              <a:gd name="connsiteY2808" fmla="*/ 3171428 h 5756219"/>
              <a:gd name="connsiteX2809" fmla="*/ 4541101 w 6226010"/>
              <a:gd name="connsiteY2809" fmla="*/ 3171428 h 5756219"/>
              <a:gd name="connsiteX2810" fmla="*/ 4541101 w 6226010"/>
              <a:gd name="connsiteY2810" fmla="*/ 3163275 h 5756219"/>
              <a:gd name="connsiteX2811" fmla="*/ 4503055 w 6226010"/>
              <a:gd name="connsiteY2811" fmla="*/ 3149687 h 5756219"/>
              <a:gd name="connsiteX2812" fmla="*/ 932135 w 6226010"/>
              <a:gd name="connsiteY2812" fmla="*/ 3149687 h 5756219"/>
              <a:gd name="connsiteX2813" fmla="*/ 894088 w 6226010"/>
              <a:gd name="connsiteY2813" fmla="*/ 3168710 h 5756219"/>
              <a:gd name="connsiteX2814" fmla="*/ 929417 w 6226010"/>
              <a:gd name="connsiteY2814" fmla="*/ 3185016 h 5756219"/>
              <a:gd name="connsiteX2815" fmla="*/ 934852 w 6226010"/>
              <a:gd name="connsiteY2815" fmla="*/ 3160558 h 5756219"/>
              <a:gd name="connsiteX2816" fmla="*/ 962028 w 6226010"/>
              <a:gd name="connsiteY2816" fmla="*/ 3193169 h 5756219"/>
              <a:gd name="connsiteX2817" fmla="*/ 932135 w 6226010"/>
              <a:gd name="connsiteY2817" fmla="*/ 3149687 h 5756219"/>
              <a:gd name="connsiteX2818" fmla="*/ 1065297 w 6226010"/>
              <a:gd name="connsiteY2818" fmla="*/ 3144252 h 5756219"/>
              <a:gd name="connsiteX2819" fmla="*/ 1059862 w 6226010"/>
              <a:gd name="connsiteY2819" fmla="*/ 3155122 h 5756219"/>
              <a:gd name="connsiteX2820" fmla="*/ 1081602 w 6226010"/>
              <a:gd name="connsiteY2820" fmla="*/ 3157840 h 5756219"/>
              <a:gd name="connsiteX2821" fmla="*/ 1065297 w 6226010"/>
              <a:gd name="connsiteY2821" fmla="*/ 3144252 h 5756219"/>
              <a:gd name="connsiteX2822" fmla="*/ 4584583 w 6226010"/>
              <a:gd name="connsiteY2822" fmla="*/ 3136099 h 5756219"/>
              <a:gd name="connsiteX2823" fmla="*/ 4546535 w 6226010"/>
              <a:gd name="connsiteY2823" fmla="*/ 3165993 h 5756219"/>
              <a:gd name="connsiteX2824" fmla="*/ 4554689 w 6226010"/>
              <a:gd name="connsiteY2824" fmla="*/ 3179581 h 5756219"/>
              <a:gd name="connsiteX2825" fmla="*/ 4549253 w 6226010"/>
              <a:gd name="connsiteY2825" fmla="*/ 3187733 h 5756219"/>
              <a:gd name="connsiteX2826" fmla="*/ 4532947 w 6226010"/>
              <a:gd name="connsiteY2826" fmla="*/ 3204039 h 5756219"/>
              <a:gd name="connsiteX2827" fmla="*/ 4549253 w 6226010"/>
              <a:gd name="connsiteY2827" fmla="*/ 3204039 h 5756219"/>
              <a:gd name="connsiteX2828" fmla="*/ 4549253 w 6226010"/>
              <a:gd name="connsiteY2828" fmla="*/ 3187733 h 5756219"/>
              <a:gd name="connsiteX2829" fmla="*/ 4570995 w 6226010"/>
              <a:gd name="connsiteY2829" fmla="*/ 3187733 h 5756219"/>
              <a:gd name="connsiteX2830" fmla="*/ 4584583 w 6226010"/>
              <a:gd name="connsiteY2830" fmla="*/ 3136099 h 5756219"/>
              <a:gd name="connsiteX2831" fmla="*/ 410357 w 6226010"/>
              <a:gd name="connsiteY2831" fmla="*/ 3111641 h 5756219"/>
              <a:gd name="connsiteX2832" fmla="*/ 369593 w 6226010"/>
              <a:gd name="connsiteY2832" fmla="*/ 3119794 h 5756219"/>
              <a:gd name="connsiteX2833" fmla="*/ 375028 w 6226010"/>
              <a:gd name="connsiteY2833" fmla="*/ 3152405 h 5756219"/>
              <a:gd name="connsiteX2834" fmla="*/ 402204 w 6226010"/>
              <a:gd name="connsiteY2834" fmla="*/ 3141534 h 5756219"/>
              <a:gd name="connsiteX2835" fmla="*/ 418509 w 6226010"/>
              <a:gd name="connsiteY2835" fmla="*/ 3195886 h 5756219"/>
              <a:gd name="connsiteX2836" fmla="*/ 391333 w 6226010"/>
              <a:gd name="connsiteY2836" fmla="*/ 3190451 h 5756219"/>
              <a:gd name="connsiteX2837" fmla="*/ 445685 w 6226010"/>
              <a:gd name="connsiteY2837" fmla="*/ 3255673 h 5756219"/>
              <a:gd name="connsiteX2838" fmla="*/ 410357 w 6226010"/>
              <a:gd name="connsiteY2838" fmla="*/ 3111641 h 5756219"/>
              <a:gd name="connsiteX2839" fmla="*/ 4486749 w 6226010"/>
              <a:gd name="connsiteY2839" fmla="*/ 3108923 h 5756219"/>
              <a:gd name="connsiteX2840" fmla="*/ 4473161 w 6226010"/>
              <a:gd name="connsiteY2840" fmla="*/ 3119794 h 5756219"/>
              <a:gd name="connsiteX2841" fmla="*/ 4486749 w 6226010"/>
              <a:gd name="connsiteY2841" fmla="*/ 3133382 h 5756219"/>
              <a:gd name="connsiteX2842" fmla="*/ 4494901 w 6226010"/>
              <a:gd name="connsiteY2842" fmla="*/ 3119794 h 5756219"/>
              <a:gd name="connsiteX2843" fmla="*/ 2111571 w 6226010"/>
              <a:gd name="connsiteY2843" fmla="*/ 3073595 h 5756219"/>
              <a:gd name="connsiteX2844" fmla="*/ 2114289 w 6226010"/>
              <a:gd name="connsiteY2844" fmla="*/ 3073595 h 5756219"/>
              <a:gd name="connsiteX2845" fmla="*/ 2136029 w 6226010"/>
              <a:gd name="connsiteY2845" fmla="*/ 3098053 h 5756219"/>
              <a:gd name="connsiteX2846" fmla="*/ 2144182 w 6226010"/>
              <a:gd name="connsiteY2846" fmla="*/ 3100771 h 5756219"/>
              <a:gd name="connsiteX2847" fmla="*/ 2144182 w 6226010"/>
              <a:gd name="connsiteY2847" fmla="*/ 3103488 h 5756219"/>
              <a:gd name="connsiteX2848" fmla="*/ 2160488 w 6226010"/>
              <a:gd name="connsiteY2848" fmla="*/ 3108923 h 5756219"/>
              <a:gd name="connsiteX2849" fmla="*/ 2171358 w 6226010"/>
              <a:gd name="connsiteY2849" fmla="*/ 3114359 h 5756219"/>
              <a:gd name="connsiteX2850" fmla="*/ 2155053 w 6226010"/>
              <a:gd name="connsiteY2850" fmla="*/ 3152406 h 5756219"/>
              <a:gd name="connsiteX2851" fmla="*/ 2125159 w 6226010"/>
              <a:gd name="connsiteY2851" fmla="*/ 3136100 h 5756219"/>
              <a:gd name="connsiteX2852" fmla="*/ 2111571 w 6226010"/>
              <a:gd name="connsiteY2852" fmla="*/ 3076312 h 5756219"/>
              <a:gd name="connsiteX2853" fmla="*/ 2111571 w 6226010"/>
              <a:gd name="connsiteY2853" fmla="*/ 3073595 h 5756219"/>
              <a:gd name="connsiteX2854" fmla="*/ 4633499 w 6226010"/>
              <a:gd name="connsiteY2854" fmla="*/ 3073594 h 5756219"/>
              <a:gd name="connsiteX2855" fmla="*/ 4625345 w 6226010"/>
              <a:gd name="connsiteY2855" fmla="*/ 3095335 h 5756219"/>
              <a:gd name="connsiteX2856" fmla="*/ 4647087 w 6226010"/>
              <a:gd name="connsiteY2856" fmla="*/ 3095335 h 5756219"/>
              <a:gd name="connsiteX2857" fmla="*/ 4492183 w 6226010"/>
              <a:gd name="connsiteY2857" fmla="*/ 3070877 h 5756219"/>
              <a:gd name="connsiteX2858" fmla="*/ 4475879 w 6226010"/>
              <a:gd name="connsiteY2858" fmla="*/ 3087182 h 5756219"/>
              <a:gd name="connsiteX2859" fmla="*/ 4500337 w 6226010"/>
              <a:gd name="connsiteY2859" fmla="*/ 3095335 h 5756219"/>
              <a:gd name="connsiteX2860" fmla="*/ 2264250 w 6226010"/>
              <a:gd name="connsiteY2860" fmla="*/ 3068159 h 5756219"/>
              <a:gd name="connsiteX2861" fmla="*/ 2263756 w 6226010"/>
              <a:gd name="connsiteY2861" fmla="*/ 3073595 h 5756219"/>
              <a:gd name="connsiteX2862" fmla="*/ 2262057 w 6226010"/>
              <a:gd name="connsiteY2862" fmla="*/ 3100091 h 5756219"/>
              <a:gd name="connsiteX2863" fmla="*/ 2261853 w 6226010"/>
              <a:gd name="connsiteY2863" fmla="*/ 3101314 h 5756219"/>
              <a:gd name="connsiteX2864" fmla="*/ 2263416 w 6226010"/>
              <a:gd name="connsiteY2864" fmla="*/ 3098053 h 5756219"/>
              <a:gd name="connsiteX2865" fmla="*/ 2269191 w 6226010"/>
              <a:gd name="connsiteY2865" fmla="*/ 3081747 h 5756219"/>
              <a:gd name="connsiteX2866" fmla="*/ 2266474 w 6226010"/>
              <a:gd name="connsiteY2866" fmla="*/ 3068159 h 5756219"/>
              <a:gd name="connsiteX2867" fmla="*/ 4576429 w 6226010"/>
              <a:gd name="connsiteY2867" fmla="*/ 3065442 h 5756219"/>
              <a:gd name="connsiteX2868" fmla="*/ 4554689 w 6226010"/>
              <a:gd name="connsiteY2868" fmla="*/ 3073594 h 5756219"/>
              <a:gd name="connsiteX2869" fmla="*/ 4546535 w 6226010"/>
              <a:gd name="connsiteY2869" fmla="*/ 3073594 h 5756219"/>
              <a:gd name="connsiteX2870" fmla="*/ 4516643 w 6226010"/>
              <a:gd name="connsiteY2870" fmla="*/ 3089900 h 5756219"/>
              <a:gd name="connsiteX2871" fmla="*/ 4516643 w 6226010"/>
              <a:gd name="connsiteY2871" fmla="*/ 3073594 h 5756219"/>
              <a:gd name="connsiteX2872" fmla="*/ 4500337 w 6226010"/>
              <a:gd name="connsiteY2872" fmla="*/ 3076312 h 5756219"/>
              <a:gd name="connsiteX2873" fmla="*/ 4516643 w 6226010"/>
              <a:gd name="connsiteY2873" fmla="*/ 3089900 h 5756219"/>
              <a:gd name="connsiteX2874" fmla="*/ 4524795 w 6226010"/>
              <a:gd name="connsiteY2874" fmla="*/ 3111641 h 5756219"/>
              <a:gd name="connsiteX2875" fmla="*/ 4562841 w 6226010"/>
              <a:gd name="connsiteY2875" fmla="*/ 3133382 h 5756219"/>
              <a:gd name="connsiteX2876" fmla="*/ 4546535 w 6226010"/>
              <a:gd name="connsiteY2876" fmla="*/ 3092618 h 5756219"/>
              <a:gd name="connsiteX2877" fmla="*/ 4592735 w 6226010"/>
              <a:gd name="connsiteY2877" fmla="*/ 3100770 h 5756219"/>
              <a:gd name="connsiteX2878" fmla="*/ 4628063 w 6226010"/>
              <a:gd name="connsiteY2878" fmla="*/ 3122511 h 5756219"/>
              <a:gd name="connsiteX2879" fmla="*/ 4606323 w 6226010"/>
              <a:gd name="connsiteY2879" fmla="*/ 3122511 h 5756219"/>
              <a:gd name="connsiteX2880" fmla="*/ 4609041 w 6226010"/>
              <a:gd name="connsiteY2880" fmla="*/ 3092618 h 5756219"/>
              <a:gd name="connsiteX2881" fmla="*/ 4606323 w 6226010"/>
              <a:gd name="connsiteY2881" fmla="*/ 3068159 h 5756219"/>
              <a:gd name="connsiteX2882" fmla="*/ 4590017 w 6226010"/>
              <a:gd name="connsiteY2882" fmla="*/ 3098053 h 5756219"/>
              <a:gd name="connsiteX2883" fmla="*/ 4568277 w 6226010"/>
              <a:gd name="connsiteY2883" fmla="*/ 3089900 h 5756219"/>
              <a:gd name="connsiteX2884" fmla="*/ 2671396 w 6226010"/>
              <a:gd name="connsiteY2884" fmla="*/ 3060006 h 5756219"/>
              <a:gd name="connsiteX2885" fmla="*/ 2633350 w 6226010"/>
              <a:gd name="connsiteY2885" fmla="*/ 3114358 h 5756219"/>
              <a:gd name="connsiteX2886" fmla="*/ 2619762 w 6226010"/>
              <a:gd name="connsiteY2886" fmla="*/ 3119794 h 5756219"/>
              <a:gd name="connsiteX2887" fmla="*/ 2619762 w 6226010"/>
              <a:gd name="connsiteY2887" fmla="*/ 3122511 h 5756219"/>
              <a:gd name="connsiteX2888" fmla="*/ 2608891 w 6226010"/>
              <a:gd name="connsiteY2888" fmla="*/ 3125229 h 5756219"/>
              <a:gd name="connsiteX2889" fmla="*/ 2608891 w 6226010"/>
              <a:gd name="connsiteY2889" fmla="*/ 3130664 h 5756219"/>
              <a:gd name="connsiteX2890" fmla="*/ 2576280 w 6226010"/>
              <a:gd name="connsiteY2890" fmla="*/ 3138817 h 5756219"/>
              <a:gd name="connsiteX2891" fmla="*/ 2570845 w 6226010"/>
              <a:gd name="connsiteY2891" fmla="*/ 3138817 h 5756219"/>
              <a:gd name="connsiteX2892" fmla="*/ 2578998 w 6226010"/>
              <a:gd name="connsiteY2892" fmla="*/ 3103488 h 5756219"/>
              <a:gd name="connsiteX2893" fmla="*/ 2578998 w 6226010"/>
              <a:gd name="connsiteY2893" fmla="*/ 3092618 h 5756219"/>
              <a:gd name="connsiteX2894" fmla="*/ 2570845 w 6226010"/>
              <a:gd name="connsiteY2894" fmla="*/ 3092618 h 5756219"/>
              <a:gd name="connsiteX2895" fmla="*/ 2557257 w 6226010"/>
              <a:gd name="connsiteY2895" fmla="*/ 3160558 h 5756219"/>
              <a:gd name="connsiteX2896" fmla="*/ 2554540 w 6226010"/>
              <a:gd name="connsiteY2896" fmla="*/ 3195886 h 5756219"/>
              <a:gd name="connsiteX2897" fmla="*/ 2544712 w 6226010"/>
              <a:gd name="connsiteY2897" fmla="*/ 3208086 h 5756219"/>
              <a:gd name="connsiteX2898" fmla="*/ 2542990 w 6226010"/>
              <a:gd name="connsiteY2898" fmla="*/ 3208795 h 5756219"/>
              <a:gd name="connsiteX2899" fmla="*/ 2536022 w 6226010"/>
              <a:gd name="connsiteY2899" fmla="*/ 3217029 h 5756219"/>
              <a:gd name="connsiteX2900" fmla="*/ 2532799 w 6226010"/>
              <a:gd name="connsiteY2900" fmla="*/ 3220344 h 5756219"/>
              <a:gd name="connsiteX2901" fmla="*/ 2527364 w 6226010"/>
              <a:gd name="connsiteY2901" fmla="*/ 3223062 h 5756219"/>
              <a:gd name="connsiteX2902" fmla="*/ 2524646 w 6226010"/>
              <a:gd name="connsiteY2902" fmla="*/ 3228497 h 5756219"/>
              <a:gd name="connsiteX2903" fmla="*/ 2520433 w 6226010"/>
              <a:gd name="connsiteY2903" fmla="*/ 3230808 h 5756219"/>
              <a:gd name="connsiteX2904" fmla="*/ 2519211 w 6226010"/>
              <a:gd name="connsiteY2904" fmla="*/ 3231215 h 5756219"/>
              <a:gd name="connsiteX2905" fmla="*/ 2519030 w 6226010"/>
              <a:gd name="connsiteY2905" fmla="*/ 3231577 h 5756219"/>
              <a:gd name="connsiteX2906" fmla="*/ 2514115 w 6226010"/>
              <a:gd name="connsiteY2906" fmla="*/ 3234272 h 5756219"/>
              <a:gd name="connsiteX2907" fmla="*/ 2511531 w 6226010"/>
              <a:gd name="connsiteY2907" fmla="*/ 3236650 h 5756219"/>
              <a:gd name="connsiteX2908" fmla="*/ 2511058 w 6226010"/>
              <a:gd name="connsiteY2908" fmla="*/ 3236650 h 5756219"/>
              <a:gd name="connsiteX2909" fmla="*/ 2509505 w 6226010"/>
              <a:gd name="connsiteY2909" fmla="*/ 3238514 h 5756219"/>
              <a:gd name="connsiteX2910" fmla="*/ 2505623 w 6226010"/>
              <a:gd name="connsiteY2910" fmla="*/ 3242085 h 5756219"/>
              <a:gd name="connsiteX2911" fmla="*/ 2505138 w 6226010"/>
              <a:gd name="connsiteY2911" fmla="*/ 3243754 h 5756219"/>
              <a:gd name="connsiteX2912" fmla="*/ 2502566 w 6226010"/>
              <a:gd name="connsiteY2912" fmla="*/ 3246841 h 5756219"/>
              <a:gd name="connsiteX2913" fmla="*/ 2502514 w 6226010"/>
              <a:gd name="connsiteY2913" fmla="*/ 3246871 h 5756219"/>
              <a:gd name="connsiteX2914" fmla="*/ 2503245 w 6226010"/>
              <a:gd name="connsiteY2914" fmla="*/ 3247521 h 5756219"/>
              <a:gd name="connsiteX2915" fmla="*/ 2503937 w 6226010"/>
              <a:gd name="connsiteY2915" fmla="*/ 3247890 h 5756219"/>
              <a:gd name="connsiteX2916" fmla="*/ 2505138 w 6226010"/>
              <a:gd name="connsiteY2916" fmla="*/ 3243754 h 5756219"/>
              <a:gd name="connsiteX2917" fmla="*/ 2509505 w 6226010"/>
              <a:gd name="connsiteY2917" fmla="*/ 3238514 h 5756219"/>
              <a:gd name="connsiteX2918" fmla="*/ 2511531 w 6226010"/>
              <a:gd name="connsiteY2918" fmla="*/ 3236650 h 5756219"/>
              <a:gd name="connsiteX2919" fmla="*/ 2516493 w 6226010"/>
              <a:gd name="connsiteY2919" fmla="*/ 3236650 h 5756219"/>
              <a:gd name="connsiteX2920" fmla="*/ 2519030 w 6226010"/>
              <a:gd name="connsiteY2920" fmla="*/ 3231577 h 5756219"/>
              <a:gd name="connsiteX2921" fmla="*/ 2520433 w 6226010"/>
              <a:gd name="connsiteY2921" fmla="*/ 3230808 h 5756219"/>
              <a:gd name="connsiteX2922" fmla="*/ 2527364 w 6226010"/>
              <a:gd name="connsiteY2922" fmla="*/ 3228497 h 5756219"/>
              <a:gd name="connsiteX2923" fmla="*/ 2527364 w 6226010"/>
              <a:gd name="connsiteY2923" fmla="*/ 3223062 h 5756219"/>
              <a:gd name="connsiteX2924" fmla="*/ 2532799 w 6226010"/>
              <a:gd name="connsiteY2924" fmla="*/ 3223062 h 5756219"/>
              <a:gd name="connsiteX2925" fmla="*/ 2535516 w 6226010"/>
              <a:gd name="connsiteY2925" fmla="*/ 3217627 h 5756219"/>
              <a:gd name="connsiteX2926" fmla="*/ 2536022 w 6226010"/>
              <a:gd name="connsiteY2926" fmla="*/ 3217029 h 5756219"/>
              <a:gd name="connsiteX2927" fmla="*/ 2544688 w 6226010"/>
              <a:gd name="connsiteY2927" fmla="*/ 3208115 h 5756219"/>
              <a:gd name="connsiteX2928" fmla="*/ 2544712 w 6226010"/>
              <a:gd name="connsiteY2928" fmla="*/ 3208086 h 5756219"/>
              <a:gd name="connsiteX2929" fmla="*/ 2546998 w 6226010"/>
              <a:gd name="connsiteY2929" fmla="*/ 3207144 h 5756219"/>
              <a:gd name="connsiteX2930" fmla="*/ 2549105 w 6226010"/>
              <a:gd name="connsiteY2930" fmla="*/ 3204039 h 5756219"/>
              <a:gd name="connsiteX2931" fmla="*/ 2551822 w 6226010"/>
              <a:gd name="connsiteY2931" fmla="*/ 3204039 h 5756219"/>
              <a:gd name="connsiteX2932" fmla="*/ 2551478 w 6226010"/>
              <a:gd name="connsiteY2932" fmla="*/ 3205300 h 5756219"/>
              <a:gd name="connsiteX2933" fmla="*/ 2554540 w 6226010"/>
              <a:gd name="connsiteY2933" fmla="*/ 3204039 h 5756219"/>
              <a:gd name="connsiteX2934" fmla="*/ 2568127 w 6226010"/>
              <a:gd name="connsiteY2934" fmla="*/ 3144252 h 5756219"/>
              <a:gd name="connsiteX2935" fmla="*/ 2581715 w 6226010"/>
              <a:gd name="connsiteY2935" fmla="*/ 3141534 h 5756219"/>
              <a:gd name="connsiteX2936" fmla="*/ 2589868 w 6226010"/>
              <a:gd name="connsiteY2936" fmla="*/ 3136099 h 5756219"/>
              <a:gd name="connsiteX2937" fmla="*/ 2606174 w 6226010"/>
              <a:gd name="connsiteY2937" fmla="*/ 3136099 h 5756219"/>
              <a:gd name="connsiteX2938" fmla="*/ 2611609 w 6226010"/>
              <a:gd name="connsiteY2938" fmla="*/ 3130664 h 5756219"/>
              <a:gd name="connsiteX2939" fmla="*/ 2622479 w 6226010"/>
              <a:gd name="connsiteY2939" fmla="*/ 3130664 h 5756219"/>
              <a:gd name="connsiteX2940" fmla="*/ 2625197 w 6226010"/>
              <a:gd name="connsiteY2940" fmla="*/ 3125229 h 5756219"/>
              <a:gd name="connsiteX2941" fmla="*/ 2644220 w 6226010"/>
              <a:gd name="connsiteY2941" fmla="*/ 3125229 h 5756219"/>
              <a:gd name="connsiteX2942" fmla="*/ 2655090 w 6226010"/>
              <a:gd name="connsiteY2942" fmla="*/ 3133382 h 5756219"/>
              <a:gd name="connsiteX2943" fmla="*/ 2655090 w 6226010"/>
              <a:gd name="connsiteY2943" fmla="*/ 3136099 h 5756219"/>
              <a:gd name="connsiteX2944" fmla="*/ 2663243 w 6226010"/>
              <a:gd name="connsiteY2944" fmla="*/ 3130664 h 5756219"/>
              <a:gd name="connsiteX2945" fmla="*/ 2663243 w 6226010"/>
              <a:gd name="connsiteY2945" fmla="*/ 3122511 h 5756219"/>
              <a:gd name="connsiteX2946" fmla="*/ 2652373 w 6226010"/>
              <a:gd name="connsiteY2946" fmla="*/ 3122511 h 5756219"/>
              <a:gd name="connsiteX2947" fmla="*/ 2644220 w 6226010"/>
              <a:gd name="connsiteY2947" fmla="*/ 3114358 h 5756219"/>
              <a:gd name="connsiteX2948" fmla="*/ 2674114 w 6226010"/>
              <a:gd name="connsiteY2948" fmla="*/ 3068159 h 5756219"/>
              <a:gd name="connsiteX2949" fmla="*/ 2674114 w 6226010"/>
              <a:gd name="connsiteY2949" fmla="*/ 3060006 h 5756219"/>
              <a:gd name="connsiteX2950" fmla="*/ 2671396 w 6226010"/>
              <a:gd name="connsiteY2950" fmla="*/ 3060006 h 5756219"/>
              <a:gd name="connsiteX2951" fmla="*/ 2704007 w 6226010"/>
              <a:gd name="connsiteY2951" fmla="*/ 3057289 h 5756219"/>
              <a:gd name="connsiteX2952" fmla="*/ 2698572 w 6226010"/>
              <a:gd name="connsiteY2952" fmla="*/ 3060006 h 5756219"/>
              <a:gd name="connsiteX2953" fmla="*/ 2709442 w 6226010"/>
              <a:gd name="connsiteY2953" fmla="*/ 3111641 h 5756219"/>
              <a:gd name="connsiteX2954" fmla="*/ 2712160 w 6226010"/>
              <a:gd name="connsiteY2954" fmla="*/ 3127946 h 5756219"/>
              <a:gd name="connsiteX2955" fmla="*/ 2704007 w 6226010"/>
              <a:gd name="connsiteY2955" fmla="*/ 3144252 h 5756219"/>
              <a:gd name="connsiteX2956" fmla="*/ 2704007 w 6226010"/>
              <a:gd name="connsiteY2956" fmla="*/ 3174145 h 5756219"/>
              <a:gd name="connsiteX2957" fmla="*/ 2704007 w 6226010"/>
              <a:gd name="connsiteY2957" fmla="*/ 3190451 h 5756219"/>
              <a:gd name="connsiteX2958" fmla="*/ 2701290 w 6226010"/>
              <a:gd name="connsiteY2958" fmla="*/ 3217627 h 5756219"/>
              <a:gd name="connsiteX2959" fmla="*/ 2701290 w 6226010"/>
              <a:gd name="connsiteY2959" fmla="*/ 3231215 h 5756219"/>
              <a:gd name="connsiteX2960" fmla="*/ 2679549 w 6226010"/>
              <a:gd name="connsiteY2960" fmla="*/ 3277414 h 5756219"/>
              <a:gd name="connsiteX2961" fmla="*/ 2668678 w 6226010"/>
              <a:gd name="connsiteY2961" fmla="*/ 3318178 h 5756219"/>
              <a:gd name="connsiteX2962" fmla="*/ 2657808 w 6226010"/>
              <a:gd name="connsiteY2962" fmla="*/ 3329048 h 5756219"/>
              <a:gd name="connsiteX2963" fmla="*/ 2617044 w 6226010"/>
              <a:gd name="connsiteY2963" fmla="*/ 3416011 h 5756219"/>
              <a:gd name="connsiteX2964" fmla="*/ 2581715 w 6226010"/>
              <a:gd name="connsiteY2964" fmla="*/ 3416011 h 5756219"/>
              <a:gd name="connsiteX2965" fmla="*/ 2513776 w 6226010"/>
              <a:gd name="connsiteY2965" fmla="*/ 3432317 h 5756219"/>
              <a:gd name="connsiteX2966" fmla="*/ 2546387 w 6226010"/>
              <a:gd name="connsiteY2966" fmla="*/ 3320896 h 5756219"/>
              <a:gd name="connsiteX2967" fmla="*/ 2543669 w 6226010"/>
              <a:gd name="connsiteY2967" fmla="*/ 3310025 h 5756219"/>
              <a:gd name="connsiteX2968" fmla="*/ 2537431 w 6226010"/>
              <a:gd name="connsiteY2968" fmla="*/ 3313102 h 5756219"/>
              <a:gd name="connsiteX2969" fmla="*/ 2537894 w 6226010"/>
              <a:gd name="connsiteY2969" fmla="*/ 3316480 h 5756219"/>
              <a:gd name="connsiteX2970" fmla="*/ 2538234 w 6226010"/>
              <a:gd name="connsiteY2970" fmla="*/ 3331766 h 5756219"/>
              <a:gd name="connsiteX2971" fmla="*/ 2524646 w 6226010"/>
              <a:gd name="connsiteY2971" fmla="*/ 3350789 h 5756219"/>
              <a:gd name="connsiteX2972" fmla="*/ 2513776 w 6226010"/>
              <a:gd name="connsiteY2972" fmla="*/ 3386119 h 5756219"/>
              <a:gd name="connsiteX2973" fmla="*/ 2512266 w 6226010"/>
              <a:gd name="connsiteY2973" fmla="*/ 3385364 h 5756219"/>
              <a:gd name="connsiteX2974" fmla="*/ 2504933 w 6226010"/>
              <a:gd name="connsiteY2974" fmla="*/ 3417063 h 5756219"/>
              <a:gd name="connsiteX2975" fmla="*/ 2504465 w 6226010"/>
              <a:gd name="connsiteY2975" fmla="*/ 3418253 h 5756219"/>
              <a:gd name="connsiteX2976" fmla="*/ 2507322 w 6226010"/>
              <a:gd name="connsiteY2976" fmla="*/ 3432317 h 5756219"/>
              <a:gd name="connsiteX2977" fmla="*/ 2505623 w 6226010"/>
              <a:gd name="connsiteY2977" fmla="*/ 3462210 h 5756219"/>
              <a:gd name="connsiteX2978" fmla="*/ 2500188 w 6226010"/>
              <a:gd name="connsiteY2978" fmla="*/ 3492104 h 5756219"/>
              <a:gd name="connsiteX2979" fmla="*/ 2497470 w 6226010"/>
              <a:gd name="connsiteY2979" fmla="*/ 3492104 h 5756219"/>
              <a:gd name="connsiteX2980" fmla="*/ 2492035 w 6226010"/>
              <a:gd name="connsiteY2980" fmla="*/ 3475798 h 5756219"/>
              <a:gd name="connsiteX2981" fmla="*/ 2483882 w 6226010"/>
              <a:gd name="connsiteY2981" fmla="*/ 3473080 h 5756219"/>
              <a:gd name="connsiteX2982" fmla="*/ 2480339 w 6226010"/>
              <a:gd name="connsiteY2982" fmla="*/ 3466879 h 5756219"/>
              <a:gd name="connsiteX2983" fmla="*/ 2472793 w 6226010"/>
              <a:gd name="connsiteY2983" fmla="*/ 3473876 h 5756219"/>
              <a:gd name="connsiteX2984" fmla="*/ 2471992 w 6226010"/>
              <a:gd name="connsiteY2984" fmla="*/ 3476817 h 5756219"/>
              <a:gd name="connsiteX2985" fmla="*/ 2473010 w 6226010"/>
              <a:gd name="connsiteY2985" fmla="*/ 3478515 h 5756219"/>
              <a:gd name="connsiteX2986" fmla="*/ 2481163 w 6226010"/>
              <a:gd name="connsiteY2986" fmla="*/ 3481233 h 5756219"/>
              <a:gd name="connsiteX2987" fmla="*/ 2489316 w 6226010"/>
              <a:gd name="connsiteY2987" fmla="*/ 3508409 h 5756219"/>
              <a:gd name="connsiteX2988" fmla="*/ 2473478 w 6226010"/>
              <a:gd name="connsiteY2988" fmla="*/ 3542464 h 5756219"/>
              <a:gd name="connsiteX2989" fmla="*/ 2447376 w 6226010"/>
              <a:gd name="connsiteY2989" fmla="*/ 3560407 h 5756219"/>
              <a:gd name="connsiteX2990" fmla="*/ 2448553 w 6226010"/>
              <a:gd name="connsiteY2990" fmla="*/ 3562761 h 5756219"/>
              <a:gd name="connsiteX2991" fmla="*/ 2473012 w 6226010"/>
              <a:gd name="connsiteY2991" fmla="*/ 3570914 h 5756219"/>
              <a:gd name="connsiteX2992" fmla="*/ 2478447 w 6226010"/>
              <a:gd name="connsiteY2992" fmla="*/ 3570914 h 5756219"/>
              <a:gd name="connsiteX2993" fmla="*/ 2486600 w 6226010"/>
              <a:gd name="connsiteY2993" fmla="*/ 3560044 h 5756219"/>
              <a:gd name="connsiteX2994" fmla="*/ 2483882 w 6226010"/>
              <a:gd name="connsiteY2994" fmla="*/ 3644289 h 5756219"/>
              <a:gd name="connsiteX2995" fmla="*/ 2478447 w 6226010"/>
              <a:gd name="connsiteY2995" fmla="*/ 3668748 h 5756219"/>
              <a:gd name="connsiteX2996" fmla="*/ 2473012 w 6226010"/>
              <a:gd name="connsiteY2996" fmla="*/ 3671465 h 5756219"/>
              <a:gd name="connsiteX2997" fmla="*/ 2473012 w 6226010"/>
              <a:gd name="connsiteY2997" fmla="*/ 3676900 h 5756219"/>
              <a:gd name="connsiteX2998" fmla="*/ 2467577 w 6226010"/>
              <a:gd name="connsiteY2998" fmla="*/ 3676900 h 5756219"/>
              <a:gd name="connsiteX2999" fmla="*/ 2464859 w 6226010"/>
              <a:gd name="connsiteY2999" fmla="*/ 3682335 h 5756219"/>
              <a:gd name="connsiteX3000" fmla="*/ 2453989 w 6226010"/>
              <a:gd name="connsiteY3000" fmla="*/ 3685053 h 5756219"/>
              <a:gd name="connsiteX3001" fmla="*/ 2453989 w 6226010"/>
              <a:gd name="connsiteY3001" fmla="*/ 3687771 h 5756219"/>
              <a:gd name="connsiteX3002" fmla="*/ 2445836 w 6226010"/>
              <a:gd name="connsiteY3002" fmla="*/ 3690488 h 5756219"/>
              <a:gd name="connsiteX3003" fmla="*/ 2426813 w 6226010"/>
              <a:gd name="connsiteY3003" fmla="*/ 3706794 h 5756219"/>
              <a:gd name="connsiteX3004" fmla="*/ 2426813 w 6226010"/>
              <a:gd name="connsiteY3004" fmla="*/ 3709511 h 5756219"/>
              <a:gd name="connsiteX3005" fmla="*/ 2413225 w 6226010"/>
              <a:gd name="connsiteY3005" fmla="*/ 3709511 h 5756219"/>
              <a:gd name="connsiteX3006" fmla="*/ 2402354 w 6226010"/>
              <a:gd name="connsiteY3006" fmla="*/ 3693206 h 5756219"/>
              <a:gd name="connsiteX3007" fmla="*/ 2396919 w 6226010"/>
              <a:gd name="connsiteY3007" fmla="*/ 3676900 h 5756219"/>
              <a:gd name="connsiteX3008" fmla="*/ 2388766 w 6226010"/>
              <a:gd name="connsiteY3008" fmla="*/ 3674183 h 5756219"/>
              <a:gd name="connsiteX3009" fmla="*/ 2383331 w 6226010"/>
              <a:gd name="connsiteY3009" fmla="*/ 3679618 h 5756219"/>
              <a:gd name="connsiteX3010" fmla="*/ 2383331 w 6226010"/>
              <a:gd name="connsiteY3010" fmla="*/ 3685053 h 5756219"/>
              <a:gd name="connsiteX3011" fmla="*/ 2388766 w 6226010"/>
              <a:gd name="connsiteY3011" fmla="*/ 3685053 h 5756219"/>
              <a:gd name="connsiteX3012" fmla="*/ 2407789 w 6226010"/>
              <a:gd name="connsiteY3012" fmla="*/ 3714947 h 5756219"/>
              <a:gd name="connsiteX3013" fmla="*/ 2388766 w 6226010"/>
              <a:gd name="connsiteY3013" fmla="*/ 3766581 h 5756219"/>
              <a:gd name="connsiteX3014" fmla="*/ 2380613 w 6226010"/>
              <a:gd name="connsiteY3014" fmla="*/ 3793757 h 5756219"/>
              <a:gd name="connsiteX3015" fmla="*/ 2369743 w 6226010"/>
              <a:gd name="connsiteY3015" fmla="*/ 3810062 h 5756219"/>
              <a:gd name="connsiteX3016" fmla="*/ 2369743 w 6226010"/>
              <a:gd name="connsiteY3016" fmla="*/ 3815497 h 5756219"/>
              <a:gd name="connsiteX3017" fmla="*/ 2367025 w 6226010"/>
              <a:gd name="connsiteY3017" fmla="*/ 3818215 h 5756219"/>
              <a:gd name="connsiteX3018" fmla="*/ 2358873 w 6226010"/>
              <a:gd name="connsiteY3018" fmla="*/ 3837238 h 5756219"/>
              <a:gd name="connsiteX3019" fmla="*/ 2350720 w 6226010"/>
              <a:gd name="connsiteY3019" fmla="*/ 3845391 h 5756219"/>
              <a:gd name="connsiteX3020" fmla="*/ 2318109 w 6226010"/>
              <a:gd name="connsiteY3020" fmla="*/ 3839956 h 5756219"/>
              <a:gd name="connsiteX3021" fmla="*/ 2328979 w 6226010"/>
              <a:gd name="connsiteY3021" fmla="*/ 3810062 h 5756219"/>
              <a:gd name="connsiteX3022" fmla="*/ 2328979 w 6226010"/>
              <a:gd name="connsiteY3022" fmla="*/ 3780169 h 5756219"/>
              <a:gd name="connsiteX3023" fmla="*/ 2348002 w 6226010"/>
              <a:gd name="connsiteY3023" fmla="*/ 3750275 h 5756219"/>
              <a:gd name="connsiteX3024" fmla="*/ 2348002 w 6226010"/>
              <a:gd name="connsiteY3024" fmla="*/ 3736687 h 5756219"/>
              <a:gd name="connsiteX3025" fmla="*/ 2326262 w 6226010"/>
              <a:gd name="connsiteY3025" fmla="*/ 3758428 h 5756219"/>
              <a:gd name="connsiteX3026" fmla="*/ 2312673 w 6226010"/>
              <a:gd name="connsiteY3026" fmla="*/ 3744840 h 5756219"/>
              <a:gd name="connsiteX3027" fmla="*/ 2301802 w 6226010"/>
              <a:gd name="connsiteY3027" fmla="*/ 3744840 h 5756219"/>
              <a:gd name="connsiteX3028" fmla="*/ 2320826 w 6226010"/>
              <a:gd name="connsiteY3028" fmla="*/ 3804627 h 5756219"/>
              <a:gd name="connsiteX3029" fmla="*/ 2307237 w 6226010"/>
              <a:gd name="connsiteY3029" fmla="*/ 3826368 h 5756219"/>
              <a:gd name="connsiteX3030" fmla="*/ 2274626 w 6226010"/>
              <a:gd name="connsiteY3030" fmla="*/ 3810062 h 5756219"/>
              <a:gd name="connsiteX3031" fmla="*/ 2231145 w 6226010"/>
              <a:gd name="connsiteY3031" fmla="*/ 3815497 h 5756219"/>
              <a:gd name="connsiteX3032" fmla="*/ 2242015 w 6226010"/>
              <a:gd name="connsiteY3032" fmla="*/ 3826368 h 5756219"/>
              <a:gd name="connsiteX3033" fmla="*/ 2263756 w 6226010"/>
              <a:gd name="connsiteY3033" fmla="*/ 3823650 h 5756219"/>
              <a:gd name="connsiteX3034" fmla="*/ 2263756 w 6226010"/>
              <a:gd name="connsiteY3034" fmla="*/ 3845391 h 5756219"/>
              <a:gd name="connsiteX3035" fmla="*/ 2274626 w 6226010"/>
              <a:gd name="connsiteY3035" fmla="*/ 3856261 h 5756219"/>
              <a:gd name="connsiteX3036" fmla="*/ 2277344 w 6226010"/>
              <a:gd name="connsiteY3036" fmla="*/ 3834520 h 5756219"/>
              <a:gd name="connsiteX3037" fmla="*/ 2296367 w 6226010"/>
              <a:gd name="connsiteY3037" fmla="*/ 3842673 h 5756219"/>
              <a:gd name="connsiteX3038" fmla="*/ 2288214 w 6226010"/>
              <a:gd name="connsiteY3038" fmla="*/ 3861696 h 5756219"/>
              <a:gd name="connsiteX3039" fmla="*/ 2280062 w 6226010"/>
              <a:gd name="connsiteY3039" fmla="*/ 3864414 h 5756219"/>
              <a:gd name="connsiteX3040" fmla="*/ 2315182 w 6226010"/>
              <a:gd name="connsiteY3040" fmla="*/ 3897026 h 5756219"/>
              <a:gd name="connsiteX3041" fmla="*/ 2319467 w 6226010"/>
              <a:gd name="connsiteY3041" fmla="*/ 3897026 h 5756219"/>
              <a:gd name="connsiteX3042" fmla="*/ 2320826 w 6226010"/>
              <a:gd name="connsiteY3042" fmla="*/ 3894307 h 5756219"/>
              <a:gd name="connsiteX3043" fmla="*/ 2328979 w 6226010"/>
              <a:gd name="connsiteY3043" fmla="*/ 3894307 h 5756219"/>
              <a:gd name="connsiteX3044" fmla="*/ 2342567 w 6226010"/>
              <a:gd name="connsiteY3044" fmla="*/ 3899743 h 5756219"/>
              <a:gd name="connsiteX3045" fmla="*/ 2341929 w 6226010"/>
              <a:gd name="connsiteY3045" fmla="*/ 3904207 h 5756219"/>
              <a:gd name="connsiteX3046" fmla="*/ 2348001 w 6226010"/>
              <a:gd name="connsiteY3046" fmla="*/ 3905179 h 5756219"/>
              <a:gd name="connsiteX3047" fmla="*/ 2348001 w 6226010"/>
              <a:gd name="connsiteY3047" fmla="*/ 3921484 h 5756219"/>
              <a:gd name="connsiteX3048" fmla="*/ 2345860 w 6226010"/>
              <a:gd name="connsiteY3048" fmla="*/ 3923441 h 5756219"/>
              <a:gd name="connsiteX3049" fmla="*/ 2364308 w 6226010"/>
              <a:gd name="connsiteY3049" fmla="*/ 3937789 h 5756219"/>
              <a:gd name="connsiteX3050" fmla="*/ 2367025 w 6226010"/>
              <a:gd name="connsiteY3050" fmla="*/ 3932354 h 5756219"/>
              <a:gd name="connsiteX3051" fmla="*/ 2367025 w 6226010"/>
              <a:gd name="connsiteY3051" fmla="*/ 3907895 h 5756219"/>
              <a:gd name="connsiteX3052" fmla="*/ 2374491 w 6226010"/>
              <a:gd name="connsiteY3052" fmla="*/ 3907209 h 5756219"/>
              <a:gd name="connsiteX3053" fmla="*/ 2380613 w 6226010"/>
              <a:gd name="connsiteY3053" fmla="*/ 3913331 h 5756219"/>
              <a:gd name="connsiteX3054" fmla="*/ 2383331 w 6226010"/>
              <a:gd name="connsiteY3054" fmla="*/ 3913331 h 5756219"/>
              <a:gd name="connsiteX3055" fmla="*/ 2376455 w 6226010"/>
              <a:gd name="connsiteY3055" fmla="*/ 3907028 h 5756219"/>
              <a:gd name="connsiteX3056" fmla="*/ 2396579 w 6226010"/>
              <a:gd name="connsiteY3056" fmla="*/ 3905178 h 5756219"/>
              <a:gd name="connsiteX3057" fmla="*/ 2401417 w 6226010"/>
              <a:gd name="connsiteY3057" fmla="*/ 3902462 h 5756219"/>
              <a:gd name="connsiteX3058" fmla="*/ 2399637 w 6226010"/>
              <a:gd name="connsiteY3058" fmla="*/ 3902462 h 5756219"/>
              <a:gd name="connsiteX3059" fmla="*/ 2399637 w 6226010"/>
              <a:gd name="connsiteY3059" fmla="*/ 3897026 h 5756219"/>
              <a:gd name="connsiteX3060" fmla="*/ 2394202 w 6226010"/>
              <a:gd name="connsiteY3060" fmla="*/ 3894309 h 5756219"/>
              <a:gd name="connsiteX3061" fmla="*/ 2394202 w 6226010"/>
              <a:gd name="connsiteY3061" fmla="*/ 3891591 h 5756219"/>
              <a:gd name="connsiteX3062" fmla="*/ 2399637 w 6226010"/>
              <a:gd name="connsiteY3062" fmla="*/ 3880721 h 5756219"/>
              <a:gd name="connsiteX3063" fmla="*/ 2415943 w 6226010"/>
              <a:gd name="connsiteY3063" fmla="*/ 3883438 h 5756219"/>
              <a:gd name="connsiteX3064" fmla="*/ 2415943 w 6226010"/>
              <a:gd name="connsiteY3064" fmla="*/ 3888874 h 5756219"/>
              <a:gd name="connsiteX3065" fmla="*/ 2415943 w 6226010"/>
              <a:gd name="connsiteY3065" fmla="*/ 3894307 h 5756219"/>
              <a:gd name="connsiteX3066" fmla="*/ 2425114 w 6226010"/>
              <a:gd name="connsiteY3066" fmla="*/ 3892609 h 5756219"/>
              <a:gd name="connsiteX3067" fmla="*/ 2432248 w 6226010"/>
              <a:gd name="connsiteY3067" fmla="*/ 3888872 h 5756219"/>
              <a:gd name="connsiteX3068" fmla="*/ 2432248 w 6226010"/>
              <a:gd name="connsiteY3068" fmla="*/ 3883437 h 5756219"/>
              <a:gd name="connsiteX3069" fmla="*/ 2437683 w 6226010"/>
              <a:gd name="connsiteY3069" fmla="*/ 3878002 h 5756219"/>
              <a:gd name="connsiteX3070" fmla="*/ 2448553 w 6226010"/>
              <a:gd name="connsiteY3070" fmla="*/ 3880719 h 5756219"/>
              <a:gd name="connsiteX3071" fmla="*/ 2459424 w 6226010"/>
              <a:gd name="connsiteY3071" fmla="*/ 3891590 h 5756219"/>
              <a:gd name="connsiteX3072" fmla="*/ 2474371 w 6226010"/>
              <a:gd name="connsiteY3072" fmla="*/ 3892609 h 5756219"/>
              <a:gd name="connsiteX3073" fmla="*/ 2475695 w 6226010"/>
              <a:gd name="connsiteY3073" fmla="*/ 3892519 h 5756219"/>
              <a:gd name="connsiteX3074" fmla="*/ 2477088 w 6226010"/>
              <a:gd name="connsiteY3074" fmla="*/ 3891590 h 5756219"/>
              <a:gd name="connsiteX3075" fmla="*/ 2481165 w 6226010"/>
              <a:gd name="connsiteY3075" fmla="*/ 3888873 h 5756219"/>
              <a:gd name="connsiteX3076" fmla="*/ 2497471 w 6226010"/>
              <a:gd name="connsiteY3076" fmla="*/ 3888873 h 5756219"/>
              <a:gd name="connsiteX3077" fmla="*/ 2505623 w 6226010"/>
              <a:gd name="connsiteY3077" fmla="*/ 3886156 h 5756219"/>
              <a:gd name="connsiteX3078" fmla="*/ 2501164 w 6226010"/>
              <a:gd name="connsiteY3078" fmla="*/ 3893959 h 5756219"/>
              <a:gd name="connsiteX3079" fmla="*/ 2502905 w 6226010"/>
              <a:gd name="connsiteY3079" fmla="*/ 3894307 h 5756219"/>
              <a:gd name="connsiteX3080" fmla="*/ 2502905 w 6226010"/>
              <a:gd name="connsiteY3080" fmla="*/ 3897025 h 5756219"/>
              <a:gd name="connsiteX3081" fmla="*/ 2524646 w 6226010"/>
              <a:gd name="connsiteY3081" fmla="*/ 3899743 h 5756219"/>
              <a:gd name="connsiteX3082" fmla="*/ 2524646 w 6226010"/>
              <a:gd name="connsiteY3082" fmla="*/ 3902460 h 5756219"/>
              <a:gd name="connsiteX3083" fmla="*/ 2538234 w 6226010"/>
              <a:gd name="connsiteY3083" fmla="*/ 3907895 h 5756219"/>
              <a:gd name="connsiteX3084" fmla="*/ 2502905 w 6226010"/>
              <a:gd name="connsiteY3084" fmla="*/ 3948659 h 5756219"/>
              <a:gd name="connsiteX3085" fmla="*/ 2494753 w 6226010"/>
              <a:gd name="connsiteY3085" fmla="*/ 3962247 h 5756219"/>
              <a:gd name="connsiteX3086" fmla="*/ 2489317 w 6226010"/>
              <a:gd name="connsiteY3086" fmla="*/ 3962247 h 5756219"/>
              <a:gd name="connsiteX3087" fmla="*/ 2462141 w 6226010"/>
              <a:gd name="connsiteY3087" fmla="*/ 3994859 h 5756219"/>
              <a:gd name="connsiteX3088" fmla="*/ 2456706 w 6226010"/>
              <a:gd name="connsiteY3088" fmla="*/ 3997576 h 5756219"/>
              <a:gd name="connsiteX3089" fmla="*/ 2481165 w 6226010"/>
              <a:gd name="connsiteY3089" fmla="*/ 4013882 h 5756219"/>
              <a:gd name="connsiteX3090" fmla="*/ 2511058 w 6226010"/>
              <a:gd name="connsiteY3090" fmla="*/ 3978553 h 5756219"/>
              <a:gd name="connsiteX3091" fmla="*/ 2538234 w 6226010"/>
              <a:gd name="connsiteY3091" fmla="*/ 3978553 h 5756219"/>
              <a:gd name="connsiteX3092" fmla="*/ 2589868 w 6226010"/>
              <a:gd name="connsiteY3092" fmla="*/ 3945942 h 5756219"/>
              <a:gd name="connsiteX3093" fmla="*/ 2627914 w 6226010"/>
              <a:gd name="connsiteY3093" fmla="*/ 3945942 h 5756219"/>
              <a:gd name="connsiteX3094" fmla="*/ 2636067 w 6226010"/>
              <a:gd name="connsiteY3094" fmla="*/ 3948659 h 5756219"/>
              <a:gd name="connsiteX3095" fmla="*/ 2636067 w 6226010"/>
              <a:gd name="connsiteY3095" fmla="*/ 3945942 h 5756219"/>
              <a:gd name="connsiteX3096" fmla="*/ 2638314 w 6226010"/>
              <a:gd name="connsiteY3096" fmla="*/ 3945774 h 5756219"/>
              <a:gd name="connsiteX3097" fmla="*/ 2644220 w 6226010"/>
              <a:gd name="connsiteY3097" fmla="*/ 3937790 h 5756219"/>
              <a:gd name="connsiteX3098" fmla="*/ 2650418 w 6226010"/>
              <a:gd name="connsiteY3098" fmla="*/ 3938353 h 5756219"/>
              <a:gd name="connsiteX3099" fmla="*/ 2651014 w 6226010"/>
              <a:gd name="connsiteY3099" fmla="*/ 3930316 h 5756219"/>
              <a:gd name="connsiteX3100" fmla="*/ 2660526 w 6226010"/>
              <a:gd name="connsiteY3100" fmla="*/ 3916048 h 5756219"/>
              <a:gd name="connsiteX3101" fmla="*/ 2676831 w 6226010"/>
              <a:gd name="connsiteY3101" fmla="*/ 3913331 h 5756219"/>
              <a:gd name="connsiteX3102" fmla="*/ 2682266 w 6226010"/>
              <a:gd name="connsiteY3102" fmla="*/ 3907895 h 5756219"/>
              <a:gd name="connsiteX3103" fmla="*/ 2693137 w 6226010"/>
              <a:gd name="connsiteY3103" fmla="*/ 3905178 h 5756219"/>
              <a:gd name="connsiteX3104" fmla="*/ 2695854 w 6226010"/>
              <a:gd name="connsiteY3104" fmla="*/ 3899743 h 5756219"/>
              <a:gd name="connsiteX3105" fmla="*/ 2714878 w 6226010"/>
              <a:gd name="connsiteY3105" fmla="*/ 3899743 h 5756219"/>
              <a:gd name="connsiteX3106" fmla="*/ 2728466 w 6226010"/>
              <a:gd name="connsiteY3106" fmla="*/ 3886155 h 5756219"/>
              <a:gd name="connsiteX3107" fmla="*/ 2733901 w 6226010"/>
              <a:gd name="connsiteY3107" fmla="*/ 3886155 h 5756219"/>
              <a:gd name="connsiteX3108" fmla="*/ 2736618 w 6226010"/>
              <a:gd name="connsiteY3108" fmla="*/ 3880719 h 5756219"/>
              <a:gd name="connsiteX3109" fmla="*/ 2758359 w 6226010"/>
              <a:gd name="connsiteY3109" fmla="*/ 3864414 h 5756219"/>
              <a:gd name="connsiteX3110" fmla="*/ 2761077 w 6226010"/>
              <a:gd name="connsiteY3110" fmla="*/ 3858979 h 5756219"/>
              <a:gd name="connsiteX3111" fmla="*/ 2769230 w 6226010"/>
              <a:gd name="connsiteY3111" fmla="*/ 3856261 h 5756219"/>
              <a:gd name="connsiteX3112" fmla="*/ 2785535 w 6226010"/>
              <a:gd name="connsiteY3112" fmla="*/ 3839956 h 5756219"/>
              <a:gd name="connsiteX3113" fmla="*/ 2785535 w 6226010"/>
              <a:gd name="connsiteY3113" fmla="*/ 3834520 h 5756219"/>
              <a:gd name="connsiteX3114" fmla="*/ 2777382 w 6226010"/>
              <a:gd name="connsiteY3114" fmla="*/ 3834520 h 5756219"/>
              <a:gd name="connsiteX3115" fmla="*/ 2750206 w 6226010"/>
              <a:gd name="connsiteY3115" fmla="*/ 3853544 h 5756219"/>
              <a:gd name="connsiteX3116" fmla="*/ 2733901 w 6226010"/>
              <a:gd name="connsiteY3116" fmla="*/ 3861696 h 5756219"/>
              <a:gd name="connsiteX3117" fmla="*/ 2733901 w 6226010"/>
              <a:gd name="connsiteY3117" fmla="*/ 3864414 h 5756219"/>
              <a:gd name="connsiteX3118" fmla="*/ 2720313 w 6226010"/>
              <a:gd name="connsiteY3118" fmla="*/ 3875284 h 5756219"/>
              <a:gd name="connsiteX3119" fmla="*/ 2709442 w 6226010"/>
              <a:gd name="connsiteY3119" fmla="*/ 3875284 h 5756219"/>
              <a:gd name="connsiteX3120" fmla="*/ 2704007 w 6226010"/>
              <a:gd name="connsiteY3120" fmla="*/ 3880719 h 5756219"/>
              <a:gd name="connsiteX3121" fmla="*/ 2690419 w 6226010"/>
              <a:gd name="connsiteY3121" fmla="*/ 3880719 h 5756219"/>
              <a:gd name="connsiteX3122" fmla="*/ 2687702 w 6226010"/>
              <a:gd name="connsiteY3122" fmla="*/ 3886155 h 5756219"/>
              <a:gd name="connsiteX3123" fmla="*/ 2665961 w 6226010"/>
              <a:gd name="connsiteY3123" fmla="*/ 3891590 h 5756219"/>
              <a:gd name="connsiteX3124" fmla="*/ 2659985 w 6226010"/>
              <a:gd name="connsiteY3124" fmla="*/ 3876494 h 5756219"/>
              <a:gd name="connsiteX3125" fmla="*/ 2647283 w 6226010"/>
              <a:gd name="connsiteY3125" fmla="*/ 3885539 h 5756219"/>
              <a:gd name="connsiteX3126" fmla="*/ 2646938 w 6226010"/>
              <a:gd name="connsiteY3126" fmla="*/ 3894307 h 5756219"/>
              <a:gd name="connsiteX3127" fmla="*/ 2622479 w 6226010"/>
              <a:gd name="connsiteY3127" fmla="*/ 3899743 h 5756219"/>
              <a:gd name="connsiteX3128" fmla="*/ 2584433 w 6226010"/>
              <a:gd name="connsiteY3128" fmla="*/ 3907895 h 5756219"/>
              <a:gd name="connsiteX3129" fmla="*/ 2581715 w 6226010"/>
              <a:gd name="connsiteY3129" fmla="*/ 3907895 h 5756219"/>
              <a:gd name="connsiteX3130" fmla="*/ 2598021 w 6226010"/>
              <a:gd name="connsiteY3130" fmla="*/ 3872567 h 5756219"/>
              <a:gd name="connsiteX3131" fmla="*/ 2603456 w 6226010"/>
              <a:gd name="connsiteY3131" fmla="*/ 3869849 h 5756219"/>
              <a:gd name="connsiteX3132" fmla="*/ 2606174 w 6226010"/>
              <a:gd name="connsiteY3132" fmla="*/ 3856261 h 5756219"/>
              <a:gd name="connsiteX3133" fmla="*/ 2617044 w 6226010"/>
              <a:gd name="connsiteY3133" fmla="*/ 3848108 h 5756219"/>
              <a:gd name="connsiteX3134" fmla="*/ 2618131 w 6226010"/>
              <a:gd name="connsiteY3134" fmla="*/ 3845935 h 5756219"/>
              <a:gd name="connsiteX3135" fmla="*/ 2611608 w 6226010"/>
              <a:gd name="connsiteY3135" fmla="*/ 3848108 h 5756219"/>
              <a:gd name="connsiteX3136" fmla="*/ 2589867 w 6226010"/>
              <a:gd name="connsiteY3136" fmla="*/ 3867131 h 5756219"/>
              <a:gd name="connsiteX3137" fmla="*/ 2540951 w 6226010"/>
              <a:gd name="connsiteY3137" fmla="*/ 3858979 h 5756219"/>
              <a:gd name="connsiteX3138" fmla="*/ 2540951 w 6226010"/>
              <a:gd name="connsiteY3138" fmla="*/ 3853543 h 5756219"/>
              <a:gd name="connsiteX3139" fmla="*/ 2549103 w 6226010"/>
              <a:gd name="connsiteY3139" fmla="*/ 3853543 h 5756219"/>
              <a:gd name="connsiteX3140" fmla="*/ 2565409 w 6226010"/>
              <a:gd name="connsiteY3140" fmla="*/ 3837238 h 5756219"/>
              <a:gd name="connsiteX3141" fmla="*/ 2565409 w 6226010"/>
              <a:gd name="connsiteY3141" fmla="*/ 3834520 h 5756219"/>
              <a:gd name="connsiteX3142" fmla="*/ 2578997 w 6226010"/>
              <a:gd name="connsiteY3142" fmla="*/ 3826367 h 5756219"/>
              <a:gd name="connsiteX3143" fmla="*/ 2589867 w 6226010"/>
              <a:gd name="connsiteY3143" fmla="*/ 3826367 h 5756219"/>
              <a:gd name="connsiteX3144" fmla="*/ 2595302 w 6226010"/>
              <a:gd name="connsiteY3144" fmla="*/ 3820932 h 5756219"/>
              <a:gd name="connsiteX3145" fmla="*/ 2603455 w 6226010"/>
              <a:gd name="connsiteY3145" fmla="*/ 3820932 h 5756219"/>
              <a:gd name="connsiteX3146" fmla="*/ 2608890 w 6226010"/>
              <a:gd name="connsiteY3146" fmla="*/ 3815497 h 5756219"/>
              <a:gd name="connsiteX3147" fmla="*/ 2625196 w 6226010"/>
              <a:gd name="connsiteY3147" fmla="*/ 3812779 h 5756219"/>
              <a:gd name="connsiteX3148" fmla="*/ 2627913 w 6226010"/>
              <a:gd name="connsiteY3148" fmla="*/ 3807344 h 5756219"/>
              <a:gd name="connsiteX3149" fmla="*/ 2663242 w 6226010"/>
              <a:gd name="connsiteY3149" fmla="*/ 3793756 h 5756219"/>
              <a:gd name="connsiteX3150" fmla="*/ 2665960 w 6226010"/>
              <a:gd name="connsiteY3150" fmla="*/ 3772015 h 5756219"/>
              <a:gd name="connsiteX3151" fmla="*/ 2704006 w 6226010"/>
              <a:gd name="connsiteY3151" fmla="*/ 3712228 h 5756219"/>
              <a:gd name="connsiteX3152" fmla="*/ 2728465 w 6226010"/>
              <a:gd name="connsiteY3152" fmla="*/ 3690488 h 5756219"/>
              <a:gd name="connsiteX3153" fmla="*/ 2728465 w 6226010"/>
              <a:gd name="connsiteY3153" fmla="*/ 3676900 h 5756219"/>
              <a:gd name="connsiteX3154" fmla="*/ 2704006 w 6226010"/>
              <a:gd name="connsiteY3154" fmla="*/ 3704076 h 5756219"/>
              <a:gd name="connsiteX3155" fmla="*/ 2690418 w 6226010"/>
              <a:gd name="connsiteY3155" fmla="*/ 3714946 h 5756219"/>
              <a:gd name="connsiteX3156" fmla="*/ 2668677 w 6226010"/>
              <a:gd name="connsiteY3156" fmla="*/ 3755710 h 5756219"/>
              <a:gd name="connsiteX3157" fmla="*/ 2663242 w 6226010"/>
              <a:gd name="connsiteY3157" fmla="*/ 3758427 h 5756219"/>
              <a:gd name="connsiteX3158" fmla="*/ 2649654 w 6226010"/>
              <a:gd name="connsiteY3158" fmla="*/ 3791039 h 5756219"/>
              <a:gd name="connsiteX3159" fmla="*/ 2641501 w 6226010"/>
              <a:gd name="connsiteY3159" fmla="*/ 3793756 h 5756219"/>
              <a:gd name="connsiteX3160" fmla="*/ 2638784 w 6226010"/>
              <a:gd name="connsiteY3160" fmla="*/ 3799191 h 5756219"/>
              <a:gd name="connsiteX3161" fmla="*/ 2622478 w 6226010"/>
              <a:gd name="connsiteY3161" fmla="*/ 3801909 h 5756219"/>
              <a:gd name="connsiteX3162" fmla="*/ 2619761 w 6226010"/>
              <a:gd name="connsiteY3162" fmla="*/ 3807344 h 5756219"/>
              <a:gd name="connsiteX3163" fmla="*/ 2608890 w 6226010"/>
              <a:gd name="connsiteY3163" fmla="*/ 3807344 h 5756219"/>
              <a:gd name="connsiteX3164" fmla="*/ 2606173 w 6226010"/>
              <a:gd name="connsiteY3164" fmla="*/ 3812779 h 5756219"/>
              <a:gd name="connsiteX3165" fmla="*/ 2589867 w 6226010"/>
              <a:gd name="connsiteY3165" fmla="*/ 3815497 h 5756219"/>
              <a:gd name="connsiteX3166" fmla="*/ 2587150 w 6226010"/>
              <a:gd name="connsiteY3166" fmla="*/ 3820932 h 5756219"/>
              <a:gd name="connsiteX3167" fmla="*/ 2576279 w 6226010"/>
              <a:gd name="connsiteY3167" fmla="*/ 3820932 h 5756219"/>
              <a:gd name="connsiteX3168" fmla="*/ 2568126 w 6226010"/>
              <a:gd name="connsiteY3168" fmla="*/ 3820932 h 5756219"/>
              <a:gd name="connsiteX3169" fmla="*/ 2589867 w 6226010"/>
              <a:gd name="connsiteY3169" fmla="*/ 3750275 h 5756219"/>
              <a:gd name="connsiteX3170" fmla="*/ 2589867 w 6226010"/>
              <a:gd name="connsiteY3170" fmla="*/ 3744839 h 5756219"/>
              <a:gd name="connsiteX3171" fmla="*/ 2606173 w 6226010"/>
              <a:gd name="connsiteY3171" fmla="*/ 3731251 h 5756219"/>
              <a:gd name="connsiteX3172" fmla="*/ 2614326 w 6226010"/>
              <a:gd name="connsiteY3172" fmla="*/ 3731251 h 5756219"/>
              <a:gd name="connsiteX3173" fmla="*/ 2619761 w 6226010"/>
              <a:gd name="connsiteY3173" fmla="*/ 3725816 h 5756219"/>
              <a:gd name="connsiteX3174" fmla="*/ 2636066 w 6226010"/>
              <a:gd name="connsiteY3174" fmla="*/ 3723099 h 5756219"/>
              <a:gd name="connsiteX3175" fmla="*/ 2636066 w 6226010"/>
              <a:gd name="connsiteY3175" fmla="*/ 3720381 h 5756219"/>
              <a:gd name="connsiteX3176" fmla="*/ 2657807 w 6226010"/>
              <a:gd name="connsiteY3176" fmla="*/ 3704076 h 5756219"/>
              <a:gd name="connsiteX3177" fmla="*/ 2657807 w 6226010"/>
              <a:gd name="connsiteY3177" fmla="*/ 3698640 h 5756219"/>
              <a:gd name="connsiteX3178" fmla="*/ 2636066 w 6226010"/>
              <a:gd name="connsiteY3178" fmla="*/ 3706793 h 5756219"/>
              <a:gd name="connsiteX3179" fmla="*/ 2636066 w 6226010"/>
              <a:gd name="connsiteY3179" fmla="*/ 3709511 h 5756219"/>
              <a:gd name="connsiteX3180" fmla="*/ 2617043 w 6226010"/>
              <a:gd name="connsiteY3180" fmla="*/ 3709511 h 5756219"/>
              <a:gd name="connsiteX3181" fmla="*/ 2622478 w 6226010"/>
              <a:gd name="connsiteY3181" fmla="*/ 3690488 h 5756219"/>
              <a:gd name="connsiteX3182" fmla="*/ 2649654 w 6226010"/>
              <a:gd name="connsiteY3182" fmla="*/ 3687770 h 5756219"/>
              <a:gd name="connsiteX3183" fmla="*/ 2652372 w 6226010"/>
              <a:gd name="connsiteY3183" fmla="*/ 3682335 h 5756219"/>
              <a:gd name="connsiteX3184" fmla="*/ 2660525 w 6226010"/>
              <a:gd name="connsiteY3184" fmla="*/ 3679617 h 5756219"/>
              <a:gd name="connsiteX3185" fmla="*/ 2660525 w 6226010"/>
              <a:gd name="connsiteY3185" fmla="*/ 3676900 h 5756219"/>
              <a:gd name="connsiteX3186" fmla="*/ 2684983 w 6226010"/>
              <a:gd name="connsiteY3186" fmla="*/ 3674182 h 5756219"/>
              <a:gd name="connsiteX3187" fmla="*/ 2701289 w 6226010"/>
              <a:gd name="connsiteY3187" fmla="*/ 3657877 h 5756219"/>
              <a:gd name="connsiteX3188" fmla="*/ 2720312 w 6226010"/>
              <a:gd name="connsiteY3188" fmla="*/ 3655159 h 5756219"/>
              <a:gd name="connsiteX3189" fmla="*/ 2728465 w 6226010"/>
              <a:gd name="connsiteY3189" fmla="*/ 3649724 h 5756219"/>
              <a:gd name="connsiteX3190" fmla="*/ 2754153 w 6226010"/>
              <a:gd name="connsiteY3190" fmla="*/ 3648034 h 5756219"/>
              <a:gd name="connsiteX3191" fmla="*/ 2762732 w 6226010"/>
              <a:gd name="connsiteY3191" fmla="*/ 3634523 h 5756219"/>
              <a:gd name="connsiteX3192" fmla="*/ 2777382 w 6226010"/>
              <a:gd name="connsiteY3192" fmla="*/ 3625266 h 5756219"/>
              <a:gd name="connsiteX3193" fmla="*/ 2799123 w 6226010"/>
              <a:gd name="connsiteY3193" fmla="*/ 3630701 h 5756219"/>
              <a:gd name="connsiteX3194" fmla="*/ 2850757 w 6226010"/>
              <a:gd name="connsiteY3194" fmla="*/ 3630701 h 5756219"/>
              <a:gd name="connsiteX3195" fmla="*/ 2861627 w 6226010"/>
              <a:gd name="connsiteY3195" fmla="*/ 3617113 h 5756219"/>
              <a:gd name="connsiteX3196" fmla="*/ 2867063 w 6226010"/>
              <a:gd name="connsiteY3196" fmla="*/ 3617113 h 5756219"/>
              <a:gd name="connsiteX3197" fmla="*/ 2869779 w 6226010"/>
              <a:gd name="connsiteY3197" fmla="*/ 3611678 h 5756219"/>
              <a:gd name="connsiteX3198" fmla="*/ 2875215 w 6226010"/>
              <a:gd name="connsiteY3198" fmla="*/ 3611678 h 5756219"/>
              <a:gd name="connsiteX3199" fmla="*/ 2877933 w 6226010"/>
              <a:gd name="connsiteY3199" fmla="*/ 3606243 h 5756219"/>
              <a:gd name="connsiteX3200" fmla="*/ 2886085 w 6226010"/>
              <a:gd name="connsiteY3200" fmla="*/ 3600808 h 5756219"/>
              <a:gd name="connsiteX3201" fmla="*/ 2891521 w 6226010"/>
              <a:gd name="connsiteY3201" fmla="*/ 3589937 h 5756219"/>
              <a:gd name="connsiteX3202" fmla="*/ 2888803 w 6226010"/>
              <a:gd name="connsiteY3202" fmla="*/ 3584502 h 5756219"/>
              <a:gd name="connsiteX3203" fmla="*/ 2883367 w 6226010"/>
              <a:gd name="connsiteY3203" fmla="*/ 3584502 h 5756219"/>
              <a:gd name="connsiteX3204" fmla="*/ 2875215 w 6226010"/>
              <a:gd name="connsiteY3204" fmla="*/ 3598090 h 5756219"/>
              <a:gd name="connsiteX3205" fmla="*/ 2869779 w 6226010"/>
              <a:gd name="connsiteY3205" fmla="*/ 3598090 h 5756219"/>
              <a:gd name="connsiteX3206" fmla="*/ 2839887 w 6226010"/>
              <a:gd name="connsiteY3206" fmla="*/ 3622548 h 5756219"/>
              <a:gd name="connsiteX3207" fmla="*/ 2809993 w 6226010"/>
              <a:gd name="connsiteY3207" fmla="*/ 3619831 h 5756219"/>
              <a:gd name="connsiteX3208" fmla="*/ 2809993 w 6226010"/>
              <a:gd name="connsiteY3208" fmla="*/ 3617113 h 5756219"/>
              <a:gd name="connsiteX3209" fmla="*/ 2801841 w 6226010"/>
              <a:gd name="connsiteY3209" fmla="*/ 3614396 h 5756219"/>
              <a:gd name="connsiteX3210" fmla="*/ 2815429 w 6226010"/>
              <a:gd name="connsiteY3210" fmla="*/ 3598090 h 5756219"/>
              <a:gd name="connsiteX3211" fmla="*/ 2818145 w 6226010"/>
              <a:gd name="connsiteY3211" fmla="*/ 3598090 h 5756219"/>
              <a:gd name="connsiteX3212" fmla="*/ 2818145 w 6226010"/>
              <a:gd name="connsiteY3212" fmla="*/ 3592655 h 5756219"/>
              <a:gd name="connsiteX3213" fmla="*/ 2823581 w 6226010"/>
              <a:gd name="connsiteY3213" fmla="*/ 3592655 h 5756219"/>
              <a:gd name="connsiteX3214" fmla="*/ 2826299 w 6226010"/>
              <a:gd name="connsiteY3214" fmla="*/ 3587220 h 5756219"/>
              <a:gd name="connsiteX3215" fmla="*/ 2834451 w 6226010"/>
              <a:gd name="connsiteY3215" fmla="*/ 3581784 h 5756219"/>
              <a:gd name="connsiteX3216" fmla="*/ 2848039 w 6226010"/>
              <a:gd name="connsiteY3216" fmla="*/ 3579067 h 5756219"/>
              <a:gd name="connsiteX3217" fmla="*/ 2850757 w 6226010"/>
              <a:gd name="connsiteY3217" fmla="*/ 3573632 h 5756219"/>
              <a:gd name="connsiteX3218" fmla="*/ 2864345 w 6226010"/>
              <a:gd name="connsiteY3218" fmla="*/ 3573632 h 5756219"/>
              <a:gd name="connsiteX3219" fmla="*/ 2869779 w 6226010"/>
              <a:gd name="connsiteY3219" fmla="*/ 3568196 h 5756219"/>
              <a:gd name="connsiteX3220" fmla="*/ 2883367 w 6226010"/>
              <a:gd name="connsiteY3220" fmla="*/ 3565479 h 5756219"/>
              <a:gd name="connsiteX3221" fmla="*/ 2891521 w 6226010"/>
              <a:gd name="connsiteY3221" fmla="*/ 3549173 h 5756219"/>
              <a:gd name="connsiteX3222" fmla="*/ 2902391 w 6226010"/>
              <a:gd name="connsiteY3222" fmla="*/ 3535585 h 5756219"/>
              <a:gd name="connsiteX3223" fmla="*/ 2907827 w 6226010"/>
              <a:gd name="connsiteY3223" fmla="*/ 3492104 h 5756219"/>
              <a:gd name="connsiteX3224" fmla="*/ 2896955 w 6226010"/>
              <a:gd name="connsiteY3224" fmla="*/ 3497539 h 5756219"/>
              <a:gd name="connsiteX3225" fmla="*/ 2894239 w 6226010"/>
              <a:gd name="connsiteY3225" fmla="*/ 3532868 h 5756219"/>
              <a:gd name="connsiteX3226" fmla="*/ 2880651 w 6226010"/>
              <a:gd name="connsiteY3226" fmla="*/ 3554608 h 5756219"/>
              <a:gd name="connsiteX3227" fmla="*/ 2864345 w 6226010"/>
              <a:gd name="connsiteY3227" fmla="*/ 3562761 h 5756219"/>
              <a:gd name="connsiteX3228" fmla="*/ 2848039 w 6226010"/>
              <a:gd name="connsiteY3228" fmla="*/ 3565479 h 5756219"/>
              <a:gd name="connsiteX3229" fmla="*/ 2842603 w 6226010"/>
              <a:gd name="connsiteY3229" fmla="*/ 3565479 h 5756219"/>
              <a:gd name="connsiteX3230" fmla="*/ 2848039 w 6226010"/>
              <a:gd name="connsiteY3230" fmla="*/ 3543738 h 5756219"/>
              <a:gd name="connsiteX3231" fmla="*/ 2845321 w 6226010"/>
              <a:gd name="connsiteY3231" fmla="*/ 3508409 h 5756219"/>
              <a:gd name="connsiteX3232" fmla="*/ 2839887 w 6226010"/>
              <a:gd name="connsiteY3232" fmla="*/ 3500256 h 5756219"/>
              <a:gd name="connsiteX3233" fmla="*/ 2831733 w 6226010"/>
              <a:gd name="connsiteY3233" fmla="*/ 3500256 h 5756219"/>
              <a:gd name="connsiteX3234" fmla="*/ 2823581 w 6226010"/>
              <a:gd name="connsiteY3234" fmla="*/ 3494821 h 5756219"/>
              <a:gd name="connsiteX3235" fmla="*/ 2818145 w 6226010"/>
              <a:gd name="connsiteY3235" fmla="*/ 3502974 h 5756219"/>
              <a:gd name="connsiteX3236" fmla="*/ 2839887 w 6226010"/>
              <a:gd name="connsiteY3236" fmla="*/ 3519280 h 5756219"/>
              <a:gd name="connsiteX3237" fmla="*/ 2829017 w 6226010"/>
              <a:gd name="connsiteY3237" fmla="*/ 3573632 h 5756219"/>
              <a:gd name="connsiteX3238" fmla="*/ 2815429 w 6226010"/>
              <a:gd name="connsiteY3238" fmla="*/ 3584502 h 5756219"/>
              <a:gd name="connsiteX3239" fmla="*/ 2812711 w 6226010"/>
              <a:gd name="connsiteY3239" fmla="*/ 3595372 h 5756219"/>
              <a:gd name="connsiteX3240" fmla="*/ 2799123 w 6226010"/>
              <a:gd name="connsiteY3240" fmla="*/ 3611678 h 5756219"/>
              <a:gd name="connsiteX3241" fmla="*/ 2774665 w 6226010"/>
              <a:gd name="connsiteY3241" fmla="*/ 3614396 h 5756219"/>
              <a:gd name="connsiteX3242" fmla="*/ 2763794 w 6226010"/>
              <a:gd name="connsiteY3242" fmla="*/ 3630701 h 5756219"/>
              <a:gd name="connsiteX3243" fmla="*/ 2744091 w 6226010"/>
              <a:gd name="connsiteY3243" fmla="*/ 3631041 h 5756219"/>
              <a:gd name="connsiteX3244" fmla="*/ 2736535 w 6226010"/>
              <a:gd name="connsiteY3244" fmla="*/ 3628248 h 5756219"/>
              <a:gd name="connsiteX3245" fmla="*/ 2735897 w 6226010"/>
              <a:gd name="connsiteY3245" fmla="*/ 3632357 h 5756219"/>
              <a:gd name="connsiteX3246" fmla="*/ 2731183 w 6226010"/>
              <a:gd name="connsiteY3246" fmla="*/ 3641571 h 5756219"/>
              <a:gd name="connsiteX3247" fmla="*/ 2714877 w 6226010"/>
              <a:gd name="connsiteY3247" fmla="*/ 3644289 h 5756219"/>
              <a:gd name="connsiteX3248" fmla="*/ 2712160 w 6226010"/>
              <a:gd name="connsiteY3248" fmla="*/ 3649724 h 5756219"/>
              <a:gd name="connsiteX3249" fmla="*/ 2690419 w 6226010"/>
              <a:gd name="connsiteY3249" fmla="*/ 3652442 h 5756219"/>
              <a:gd name="connsiteX3250" fmla="*/ 2687701 w 6226010"/>
              <a:gd name="connsiteY3250" fmla="*/ 3655159 h 5756219"/>
              <a:gd name="connsiteX3251" fmla="*/ 2674113 w 6226010"/>
              <a:gd name="connsiteY3251" fmla="*/ 3657877 h 5756219"/>
              <a:gd name="connsiteX3252" fmla="*/ 2671396 w 6226010"/>
              <a:gd name="connsiteY3252" fmla="*/ 3663312 h 5756219"/>
              <a:gd name="connsiteX3253" fmla="*/ 2660525 w 6226010"/>
              <a:gd name="connsiteY3253" fmla="*/ 3663312 h 5756219"/>
              <a:gd name="connsiteX3254" fmla="*/ 2638785 w 6226010"/>
              <a:gd name="connsiteY3254" fmla="*/ 3676900 h 5756219"/>
              <a:gd name="connsiteX3255" fmla="*/ 2625197 w 6226010"/>
              <a:gd name="connsiteY3255" fmla="*/ 3671465 h 5756219"/>
              <a:gd name="connsiteX3256" fmla="*/ 2633350 w 6226010"/>
              <a:gd name="connsiteY3256" fmla="*/ 3595372 h 5756219"/>
              <a:gd name="connsiteX3257" fmla="*/ 2655090 w 6226010"/>
              <a:gd name="connsiteY3257" fmla="*/ 3560044 h 5756219"/>
              <a:gd name="connsiteX3258" fmla="*/ 2672975 w 6226010"/>
              <a:gd name="connsiteY3258" fmla="*/ 3559319 h 5756219"/>
              <a:gd name="connsiteX3259" fmla="*/ 2671396 w 6226010"/>
              <a:gd name="connsiteY3259" fmla="*/ 3551891 h 5756219"/>
              <a:gd name="connsiteX3260" fmla="*/ 2678869 w 6226010"/>
              <a:gd name="connsiteY3260" fmla="*/ 3545437 h 5756219"/>
              <a:gd name="connsiteX3261" fmla="*/ 2688215 w 6226010"/>
              <a:gd name="connsiteY3261" fmla="*/ 3541863 h 5756219"/>
              <a:gd name="connsiteX3262" fmla="*/ 2674114 w 6226010"/>
              <a:gd name="connsiteY3262" fmla="*/ 3541021 h 5756219"/>
              <a:gd name="connsiteX3263" fmla="*/ 2665961 w 6226010"/>
              <a:gd name="connsiteY3263" fmla="*/ 3535586 h 5756219"/>
              <a:gd name="connsiteX3264" fmla="*/ 2694495 w 6226010"/>
              <a:gd name="connsiteY3264" fmla="*/ 3535586 h 5756219"/>
              <a:gd name="connsiteX3265" fmla="*/ 2698572 w 6226010"/>
              <a:gd name="connsiteY3265" fmla="*/ 3530150 h 5756219"/>
              <a:gd name="connsiteX3266" fmla="*/ 2705287 w 6226010"/>
              <a:gd name="connsiteY3266" fmla="*/ 3524075 h 5756219"/>
              <a:gd name="connsiteX3267" fmla="*/ 2704006 w 6226010"/>
              <a:gd name="connsiteY3267" fmla="*/ 3524715 h 5756219"/>
              <a:gd name="connsiteX3268" fmla="*/ 2627913 w 6226010"/>
              <a:gd name="connsiteY3268" fmla="*/ 3516562 h 5756219"/>
              <a:gd name="connsiteX3269" fmla="*/ 2619761 w 6226010"/>
              <a:gd name="connsiteY3269" fmla="*/ 3502974 h 5756219"/>
              <a:gd name="connsiteX3270" fmla="*/ 2674113 w 6226010"/>
              <a:gd name="connsiteY3270" fmla="*/ 3473080 h 5756219"/>
              <a:gd name="connsiteX3271" fmla="*/ 2687701 w 6226010"/>
              <a:gd name="connsiteY3271" fmla="*/ 3451340 h 5756219"/>
              <a:gd name="connsiteX3272" fmla="*/ 2714877 w 6226010"/>
              <a:gd name="connsiteY3272" fmla="*/ 3451340 h 5756219"/>
              <a:gd name="connsiteX3273" fmla="*/ 2731182 w 6226010"/>
              <a:gd name="connsiteY3273" fmla="*/ 3448622 h 5756219"/>
              <a:gd name="connsiteX3274" fmla="*/ 2752923 w 6226010"/>
              <a:gd name="connsiteY3274" fmla="*/ 3451340 h 5756219"/>
              <a:gd name="connsiteX3275" fmla="*/ 2761076 w 6226010"/>
              <a:gd name="connsiteY3275" fmla="*/ 3445905 h 5756219"/>
              <a:gd name="connsiteX3276" fmla="*/ 2777381 w 6226010"/>
              <a:gd name="connsiteY3276" fmla="*/ 3443187 h 5756219"/>
              <a:gd name="connsiteX3277" fmla="*/ 2782816 w 6226010"/>
              <a:gd name="connsiteY3277" fmla="*/ 3437752 h 5756219"/>
              <a:gd name="connsiteX3278" fmla="*/ 2782817 w 6226010"/>
              <a:gd name="connsiteY3278" fmla="*/ 3437752 h 5756219"/>
              <a:gd name="connsiteX3279" fmla="*/ 2793688 w 6226010"/>
              <a:gd name="connsiteY3279" fmla="*/ 3429599 h 5756219"/>
              <a:gd name="connsiteX3280" fmla="*/ 2823581 w 6226010"/>
              <a:gd name="connsiteY3280" fmla="*/ 3364377 h 5756219"/>
              <a:gd name="connsiteX3281" fmla="*/ 2875215 w 6226010"/>
              <a:gd name="connsiteY3281" fmla="*/ 3337201 h 5756219"/>
              <a:gd name="connsiteX3282" fmla="*/ 2875215 w 6226010"/>
              <a:gd name="connsiteY3282" fmla="*/ 3334484 h 5756219"/>
              <a:gd name="connsiteX3283" fmla="*/ 2872497 w 6226010"/>
              <a:gd name="connsiteY3283" fmla="*/ 3326331 h 5756219"/>
              <a:gd name="connsiteX3284" fmla="*/ 2837169 w 6226010"/>
              <a:gd name="connsiteY3284" fmla="*/ 3350789 h 5756219"/>
              <a:gd name="connsiteX3285" fmla="*/ 2831733 w 6226010"/>
              <a:gd name="connsiteY3285" fmla="*/ 3350789 h 5756219"/>
              <a:gd name="connsiteX3286" fmla="*/ 2837169 w 6226010"/>
              <a:gd name="connsiteY3286" fmla="*/ 3301872 h 5756219"/>
              <a:gd name="connsiteX3287" fmla="*/ 2842603 w 6226010"/>
              <a:gd name="connsiteY3287" fmla="*/ 3285567 h 5756219"/>
              <a:gd name="connsiteX3288" fmla="*/ 2877933 w 6226010"/>
              <a:gd name="connsiteY3288" fmla="*/ 3285567 h 5756219"/>
              <a:gd name="connsiteX3289" fmla="*/ 2894239 w 6226010"/>
              <a:gd name="connsiteY3289" fmla="*/ 3277414 h 5756219"/>
              <a:gd name="connsiteX3290" fmla="*/ 2894239 w 6226010"/>
              <a:gd name="connsiteY3290" fmla="*/ 3271979 h 5756219"/>
              <a:gd name="connsiteX3291" fmla="*/ 2880651 w 6226010"/>
              <a:gd name="connsiteY3291" fmla="*/ 3277414 h 5756219"/>
              <a:gd name="connsiteX3292" fmla="*/ 2848039 w 6226010"/>
              <a:gd name="connsiteY3292" fmla="*/ 3277414 h 5756219"/>
              <a:gd name="connsiteX3293" fmla="*/ 2856191 w 6226010"/>
              <a:gd name="connsiteY3293" fmla="*/ 3250238 h 5756219"/>
              <a:gd name="connsiteX3294" fmla="*/ 2864345 w 6226010"/>
              <a:gd name="connsiteY3294" fmla="*/ 3225780 h 5756219"/>
              <a:gd name="connsiteX3295" fmla="*/ 2856191 w 6226010"/>
              <a:gd name="connsiteY3295" fmla="*/ 3225780 h 5756219"/>
              <a:gd name="connsiteX3296" fmla="*/ 2848039 w 6226010"/>
              <a:gd name="connsiteY3296" fmla="*/ 3242085 h 5756219"/>
              <a:gd name="connsiteX3297" fmla="*/ 2842603 w 6226010"/>
              <a:gd name="connsiteY3297" fmla="*/ 3269261 h 5756219"/>
              <a:gd name="connsiteX3298" fmla="*/ 2834451 w 6226010"/>
              <a:gd name="connsiteY3298" fmla="*/ 3280132 h 5756219"/>
              <a:gd name="connsiteX3299" fmla="*/ 2834451 w 6226010"/>
              <a:gd name="connsiteY3299" fmla="*/ 3285567 h 5756219"/>
              <a:gd name="connsiteX3300" fmla="*/ 2823581 w 6226010"/>
              <a:gd name="connsiteY3300" fmla="*/ 3310025 h 5756219"/>
              <a:gd name="connsiteX3301" fmla="*/ 2818145 w 6226010"/>
              <a:gd name="connsiteY3301" fmla="*/ 3345354 h 5756219"/>
              <a:gd name="connsiteX3302" fmla="*/ 2818145 w 6226010"/>
              <a:gd name="connsiteY3302" fmla="*/ 3348071 h 5756219"/>
              <a:gd name="connsiteX3303" fmla="*/ 2815429 w 6226010"/>
              <a:gd name="connsiteY3303" fmla="*/ 3348071 h 5756219"/>
              <a:gd name="connsiteX3304" fmla="*/ 2807275 w 6226010"/>
              <a:gd name="connsiteY3304" fmla="*/ 3288284 h 5756219"/>
              <a:gd name="connsiteX3305" fmla="*/ 2793688 w 6226010"/>
              <a:gd name="connsiteY3305" fmla="*/ 3288284 h 5756219"/>
              <a:gd name="connsiteX3306" fmla="*/ 2799123 w 6226010"/>
              <a:gd name="connsiteY3306" fmla="*/ 3304590 h 5756219"/>
              <a:gd name="connsiteX3307" fmla="*/ 2799123 w 6226010"/>
              <a:gd name="connsiteY3307" fmla="*/ 3318178 h 5756219"/>
              <a:gd name="connsiteX3308" fmla="*/ 2801841 w 6226010"/>
              <a:gd name="connsiteY3308" fmla="*/ 3320896 h 5756219"/>
              <a:gd name="connsiteX3309" fmla="*/ 2801841 w 6226010"/>
              <a:gd name="connsiteY3309" fmla="*/ 3329048 h 5756219"/>
              <a:gd name="connsiteX3310" fmla="*/ 2801841 w 6226010"/>
              <a:gd name="connsiteY3310" fmla="*/ 3348071 h 5756219"/>
              <a:gd name="connsiteX3311" fmla="*/ 2801841 w 6226010"/>
              <a:gd name="connsiteY3311" fmla="*/ 3353507 h 5756219"/>
              <a:gd name="connsiteX3312" fmla="*/ 2793688 w 6226010"/>
              <a:gd name="connsiteY3312" fmla="*/ 3353507 h 5756219"/>
              <a:gd name="connsiteX3313" fmla="*/ 2785535 w 6226010"/>
              <a:gd name="connsiteY3313" fmla="*/ 3358942 h 5756219"/>
              <a:gd name="connsiteX3314" fmla="*/ 2780100 w 6226010"/>
              <a:gd name="connsiteY3314" fmla="*/ 3375247 h 5756219"/>
              <a:gd name="connsiteX3315" fmla="*/ 2769230 w 6226010"/>
              <a:gd name="connsiteY3315" fmla="*/ 3391553 h 5756219"/>
              <a:gd name="connsiteX3316" fmla="*/ 2766512 w 6226010"/>
              <a:gd name="connsiteY3316" fmla="*/ 3391553 h 5756219"/>
              <a:gd name="connsiteX3317" fmla="*/ 2736618 w 6226010"/>
              <a:gd name="connsiteY3317" fmla="*/ 3413294 h 5756219"/>
              <a:gd name="connsiteX3318" fmla="*/ 2728466 w 6226010"/>
              <a:gd name="connsiteY3318" fmla="*/ 3413294 h 5756219"/>
              <a:gd name="connsiteX3319" fmla="*/ 2720313 w 6226010"/>
              <a:gd name="connsiteY3319" fmla="*/ 3418729 h 5756219"/>
              <a:gd name="connsiteX3320" fmla="*/ 2704007 w 6226010"/>
              <a:gd name="connsiteY3320" fmla="*/ 3421446 h 5756219"/>
              <a:gd name="connsiteX3321" fmla="*/ 2704007 w 6226010"/>
              <a:gd name="connsiteY3321" fmla="*/ 3424164 h 5756219"/>
              <a:gd name="connsiteX3322" fmla="*/ 2682266 w 6226010"/>
              <a:gd name="connsiteY3322" fmla="*/ 3432317 h 5756219"/>
              <a:gd name="connsiteX3323" fmla="*/ 2668678 w 6226010"/>
              <a:gd name="connsiteY3323" fmla="*/ 3432317 h 5756219"/>
              <a:gd name="connsiteX3324" fmla="*/ 2690419 w 6226010"/>
              <a:gd name="connsiteY3324" fmla="*/ 3410576 h 5756219"/>
              <a:gd name="connsiteX3325" fmla="*/ 2709442 w 6226010"/>
              <a:gd name="connsiteY3325" fmla="*/ 3383400 h 5756219"/>
              <a:gd name="connsiteX3326" fmla="*/ 2714878 w 6226010"/>
              <a:gd name="connsiteY3326" fmla="*/ 3380683 h 5756219"/>
              <a:gd name="connsiteX3327" fmla="*/ 2717595 w 6226010"/>
              <a:gd name="connsiteY3327" fmla="*/ 3372530 h 5756219"/>
              <a:gd name="connsiteX3328" fmla="*/ 2714878 w 6226010"/>
              <a:gd name="connsiteY3328" fmla="*/ 3364377 h 5756219"/>
              <a:gd name="connsiteX3329" fmla="*/ 2704007 w 6226010"/>
              <a:gd name="connsiteY3329" fmla="*/ 3380683 h 5756219"/>
              <a:gd name="connsiteX3330" fmla="*/ 2665961 w 6226010"/>
              <a:gd name="connsiteY3330" fmla="*/ 3418729 h 5756219"/>
              <a:gd name="connsiteX3331" fmla="*/ 2657808 w 6226010"/>
              <a:gd name="connsiteY3331" fmla="*/ 3418729 h 5756219"/>
              <a:gd name="connsiteX3332" fmla="*/ 2644220 w 6226010"/>
              <a:gd name="connsiteY3332" fmla="*/ 3424164 h 5756219"/>
              <a:gd name="connsiteX3333" fmla="*/ 2625197 w 6226010"/>
              <a:gd name="connsiteY3333" fmla="*/ 3424164 h 5756219"/>
              <a:gd name="connsiteX3334" fmla="*/ 2641502 w 6226010"/>
              <a:gd name="connsiteY3334" fmla="*/ 3396988 h 5756219"/>
              <a:gd name="connsiteX3335" fmla="*/ 2655090 w 6226010"/>
              <a:gd name="connsiteY3335" fmla="*/ 3394270 h 5756219"/>
              <a:gd name="connsiteX3336" fmla="*/ 2655090 w 6226010"/>
              <a:gd name="connsiteY3336" fmla="*/ 3391553 h 5756219"/>
              <a:gd name="connsiteX3337" fmla="*/ 2668678 w 6226010"/>
              <a:gd name="connsiteY3337" fmla="*/ 3388835 h 5756219"/>
              <a:gd name="connsiteX3338" fmla="*/ 2671396 w 6226010"/>
              <a:gd name="connsiteY3338" fmla="*/ 3383400 h 5756219"/>
              <a:gd name="connsiteX3339" fmla="*/ 2679549 w 6226010"/>
              <a:gd name="connsiteY3339" fmla="*/ 3383400 h 5756219"/>
              <a:gd name="connsiteX3340" fmla="*/ 2687702 w 6226010"/>
              <a:gd name="connsiteY3340" fmla="*/ 3377965 h 5756219"/>
              <a:gd name="connsiteX3341" fmla="*/ 2695854 w 6226010"/>
              <a:gd name="connsiteY3341" fmla="*/ 3375247 h 5756219"/>
              <a:gd name="connsiteX3342" fmla="*/ 2695854 w 6226010"/>
              <a:gd name="connsiteY3342" fmla="*/ 3369812 h 5756219"/>
              <a:gd name="connsiteX3343" fmla="*/ 2706725 w 6226010"/>
              <a:gd name="connsiteY3343" fmla="*/ 3367095 h 5756219"/>
              <a:gd name="connsiteX3344" fmla="*/ 2717595 w 6226010"/>
              <a:gd name="connsiteY3344" fmla="*/ 3353507 h 5756219"/>
              <a:gd name="connsiteX3345" fmla="*/ 2725748 w 6226010"/>
              <a:gd name="connsiteY3345" fmla="*/ 3350789 h 5756219"/>
              <a:gd name="connsiteX3346" fmla="*/ 2733901 w 6226010"/>
              <a:gd name="connsiteY3346" fmla="*/ 3326331 h 5756219"/>
              <a:gd name="connsiteX3347" fmla="*/ 2761077 w 6226010"/>
              <a:gd name="connsiteY3347" fmla="*/ 3269261 h 5756219"/>
              <a:gd name="connsiteX3348" fmla="*/ 2769230 w 6226010"/>
              <a:gd name="connsiteY3348" fmla="*/ 3250238 h 5756219"/>
              <a:gd name="connsiteX3349" fmla="*/ 2782817 w 6226010"/>
              <a:gd name="connsiteY3349" fmla="*/ 3247520 h 5756219"/>
              <a:gd name="connsiteX3350" fmla="*/ 2782817 w 6226010"/>
              <a:gd name="connsiteY3350" fmla="*/ 3242085 h 5756219"/>
              <a:gd name="connsiteX3351" fmla="*/ 2790970 w 6226010"/>
              <a:gd name="connsiteY3351" fmla="*/ 3239368 h 5756219"/>
              <a:gd name="connsiteX3352" fmla="*/ 2799123 w 6226010"/>
              <a:gd name="connsiteY3352" fmla="*/ 3231215 h 5756219"/>
              <a:gd name="connsiteX3353" fmla="*/ 2799123 w 6226010"/>
              <a:gd name="connsiteY3353" fmla="*/ 3214909 h 5756219"/>
              <a:gd name="connsiteX3354" fmla="*/ 2809993 w 6226010"/>
              <a:gd name="connsiteY3354" fmla="*/ 3206757 h 5756219"/>
              <a:gd name="connsiteX3355" fmla="*/ 2818145 w 6226010"/>
              <a:gd name="connsiteY3355" fmla="*/ 3190451 h 5756219"/>
              <a:gd name="connsiteX3356" fmla="*/ 2834451 w 6226010"/>
              <a:gd name="connsiteY3356" fmla="*/ 3190451 h 5756219"/>
              <a:gd name="connsiteX3357" fmla="*/ 2877933 w 6226010"/>
              <a:gd name="connsiteY3357" fmla="*/ 3190451 h 5756219"/>
              <a:gd name="connsiteX3358" fmla="*/ 2877933 w 6226010"/>
              <a:gd name="connsiteY3358" fmla="*/ 3182298 h 5756219"/>
              <a:gd name="connsiteX3359" fmla="*/ 2861627 w 6226010"/>
              <a:gd name="connsiteY3359" fmla="*/ 3179581 h 5756219"/>
              <a:gd name="connsiteX3360" fmla="*/ 2850757 w 6226010"/>
              <a:gd name="connsiteY3360" fmla="*/ 3182298 h 5756219"/>
              <a:gd name="connsiteX3361" fmla="*/ 2831733 w 6226010"/>
              <a:gd name="connsiteY3361" fmla="*/ 3179581 h 5756219"/>
              <a:gd name="connsiteX3362" fmla="*/ 2842603 w 6226010"/>
              <a:gd name="connsiteY3362" fmla="*/ 3155122 h 5756219"/>
              <a:gd name="connsiteX3363" fmla="*/ 2845321 w 6226010"/>
              <a:gd name="connsiteY3363" fmla="*/ 3141534 h 5756219"/>
              <a:gd name="connsiteX3364" fmla="*/ 2839887 w 6226010"/>
              <a:gd name="connsiteY3364" fmla="*/ 3130664 h 5756219"/>
              <a:gd name="connsiteX3365" fmla="*/ 2829017 w 6226010"/>
              <a:gd name="connsiteY3365" fmla="*/ 3160558 h 5756219"/>
              <a:gd name="connsiteX3366" fmla="*/ 2829017 w 6226010"/>
              <a:gd name="connsiteY3366" fmla="*/ 3168710 h 5756219"/>
              <a:gd name="connsiteX3367" fmla="*/ 2807275 w 6226010"/>
              <a:gd name="connsiteY3367" fmla="*/ 3201321 h 5756219"/>
              <a:gd name="connsiteX3368" fmla="*/ 2804558 w 6226010"/>
              <a:gd name="connsiteY3368" fmla="*/ 3201321 h 5756219"/>
              <a:gd name="connsiteX3369" fmla="*/ 2804558 w 6226010"/>
              <a:gd name="connsiteY3369" fmla="*/ 3179581 h 5756219"/>
              <a:gd name="connsiteX3370" fmla="*/ 2801841 w 6226010"/>
              <a:gd name="connsiteY3370" fmla="*/ 3174145 h 5756219"/>
              <a:gd name="connsiteX3371" fmla="*/ 2796405 w 6226010"/>
              <a:gd name="connsiteY3371" fmla="*/ 3176863 h 5756219"/>
              <a:gd name="connsiteX3372" fmla="*/ 2796405 w 6226010"/>
              <a:gd name="connsiteY3372" fmla="*/ 3206757 h 5756219"/>
              <a:gd name="connsiteX3373" fmla="*/ 2793688 w 6226010"/>
              <a:gd name="connsiteY3373" fmla="*/ 3214909 h 5756219"/>
              <a:gd name="connsiteX3374" fmla="*/ 2793688 w 6226010"/>
              <a:gd name="connsiteY3374" fmla="*/ 3228497 h 5756219"/>
              <a:gd name="connsiteX3375" fmla="*/ 2763794 w 6226010"/>
              <a:gd name="connsiteY3375" fmla="*/ 3247520 h 5756219"/>
              <a:gd name="connsiteX3376" fmla="*/ 2752924 w 6226010"/>
              <a:gd name="connsiteY3376" fmla="*/ 3201321 h 5756219"/>
              <a:gd name="connsiteX3377" fmla="*/ 2742054 w 6226010"/>
              <a:gd name="connsiteY3377" fmla="*/ 3206757 h 5756219"/>
              <a:gd name="connsiteX3378" fmla="*/ 2742054 w 6226010"/>
              <a:gd name="connsiteY3378" fmla="*/ 3209474 h 5756219"/>
              <a:gd name="connsiteX3379" fmla="*/ 2747489 w 6226010"/>
              <a:gd name="connsiteY3379" fmla="*/ 3214909 h 5756219"/>
              <a:gd name="connsiteX3380" fmla="*/ 2761077 w 6226010"/>
              <a:gd name="connsiteY3380" fmla="*/ 3252956 h 5756219"/>
              <a:gd name="connsiteX3381" fmla="*/ 2731183 w 6226010"/>
              <a:gd name="connsiteY3381" fmla="*/ 3318178 h 5756219"/>
              <a:gd name="connsiteX3382" fmla="*/ 2717595 w 6226010"/>
              <a:gd name="connsiteY3382" fmla="*/ 3350789 h 5756219"/>
              <a:gd name="connsiteX3383" fmla="*/ 2709442 w 6226010"/>
              <a:gd name="connsiteY3383" fmla="*/ 3353507 h 5756219"/>
              <a:gd name="connsiteX3384" fmla="*/ 2709442 w 6226010"/>
              <a:gd name="connsiteY3384" fmla="*/ 3356224 h 5756219"/>
              <a:gd name="connsiteX3385" fmla="*/ 2701290 w 6226010"/>
              <a:gd name="connsiteY3385" fmla="*/ 3358942 h 5756219"/>
              <a:gd name="connsiteX3386" fmla="*/ 2698572 w 6226010"/>
              <a:gd name="connsiteY3386" fmla="*/ 3364377 h 5756219"/>
              <a:gd name="connsiteX3387" fmla="*/ 2690419 w 6226010"/>
              <a:gd name="connsiteY3387" fmla="*/ 3364377 h 5756219"/>
              <a:gd name="connsiteX3388" fmla="*/ 2684984 w 6226010"/>
              <a:gd name="connsiteY3388" fmla="*/ 3369812 h 5756219"/>
              <a:gd name="connsiteX3389" fmla="*/ 2671396 w 6226010"/>
              <a:gd name="connsiteY3389" fmla="*/ 3372530 h 5756219"/>
              <a:gd name="connsiteX3390" fmla="*/ 2671396 w 6226010"/>
              <a:gd name="connsiteY3390" fmla="*/ 3375247 h 5756219"/>
              <a:gd name="connsiteX3391" fmla="*/ 2652373 w 6226010"/>
              <a:gd name="connsiteY3391" fmla="*/ 3383400 h 5756219"/>
              <a:gd name="connsiteX3392" fmla="*/ 2649655 w 6226010"/>
              <a:gd name="connsiteY3392" fmla="*/ 3383400 h 5756219"/>
              <a:gd name="connsiteX3393" fmla="*/ 2674114 w 6226010"/>
              <a:gd name="connsiteY3393" fmla="*/ 3329048 h 5756219"/>
              <a:gd name="connsiteX3394" fmla="*/ 2687702 w 6226010"/>
              <a:gd name="connsiteY3394" fmla="*/ 3285567 h 5756219"/>
              <a:gd name="connsiteX3395" fmla="*/ 2712160 w 6226010"/>
              <a:gd name="connsiteY3395" fmla="*/ 3236650 h 5756219"/>
              <a:gd name="connsiteX3396" fmla="*/ 2712160 w 6226010"/>
              <a:gd name="connsiteY3396" fmla="*/ 3223062 h 5756219"/>
              <a:gd name="connsiteX3397" fmla="*/ 2714878 w 6226010"/>
              <a:gd name="connsiteY3397" fmla="*/ 3187733 h 5756219"/>
              <a:gd name="connsiteX3398" fmla="*/ 2714878 w 6226010"/>
              <a:gd name="connsiteY3398" fmla="*/ 3157840 h 5756219"/>
              <a:gd name="connsiteX3399" fmla="*/ 2739336 w 6226010"/>
              <a:gd name="connsiteY3399" fmla="*/ 3111641 h 5756219"/>
              <a:gd name="connsiteX3400" fmla="*/ 2747489 w 6226010"/>
              <a:gd name="connsiteY3400" fmla="*/ 3106206 h 5756219"/>
              <a:gd name="connsiteX3401" fmla="*/ 2771947 w 6226010"/>
              <a:gd name="connsiteY3401" fmla="*/ 3073594 h 5756219"/>
              <a:gd name="connsiteX3402" fmla="*/ 2771947 w 6226010"/>
              <a:gd name="connsiteY3402" fmla="*/ 3068159 h 5756219"/>
              <a:gd name="connsiteX3403" fmla="*/ 2755642 w 6226010"/>
              <a:gd name="connsiteY3403" fmla="*/ 3084465 h 5756219"/>
              <a:gd name="connsiteX3404" fmla="*/ 2725748 w 6226010"/>
              <a:gd name="connsiteY3404" fmla="*/ 3117076 h 5756219"/>
              <a:gd name="connsiteX3405" fmla="*/ 2720313 w 6226010"/>
              <a:gd name="connsiteY3405" fmla="*/ 3117076 h 5756219"/>
              <a:gd name="connsiteX3406" fmla="*/ 2714878 w 6226010"/>
              <a:gd name="connsiteY3406" fmla="*/ 3062724 h 5756219"/>
              <a:gd name="connsiteX3407" fmla="*/ 2704007 w 6226010"/>
              <a:gd name="connsiteY3407" fmla="*/ 3057289 h 5756219"/>
              <a:gd name="connsiteX3408" fmla="*/ 4500337 w 6226010"/>
              <a:gd name="connsiteY3408" fmla="*/ 3046418 h 5756219"/>
              <a:gd name="connsiteX3409" fmla="*/ 4486749 w 6226010"/>
              <a:gd name="connsiteY3409" fmla="*/ 3062724 h 5756219"/>
              <a:gd name="connsiteX3410" fmla="*/ 4511207 w 6226010"/>
              <a:gd name="connsiteY3410" fmla="*/ 3062724 h 5756219"/>
              <a:gd name="connsiteX3411" fmla="*/ 4345433 w 6226010"/>
              <a:gd name="connsiteY3411" fmla="*/ 3030113 h 5756219"/>
              <a:gd name="connsiteX3412" fmla="*/ 4331845 w 6226010"/>
              <a:gd name="connsiteY3412" fmla="*/ 3046418 h 5756219"/>
              <a:gd name="connsiteX3413" fmla="*/ 4348151 w 6226010"/>
              <a:gd name="connsiteY3413" fmla="*/ 3054571 h 5756219"/>
              <a:gd name="connsiteX3414" fmla="*/ 4356305 w 6226010"/>
              <a:gd name="connsiteY3414" fmla="*/ 3046418 h 5756219"/>
              <a:gd name="connsiteX3415" fmla="*/ 1323468 w 6226010"/>
              <a:gd name="connsiteY3415" fmla="*/ 3021960 h 5756219"/>
              <a:gd name="connsiteX3416" fmla="*/ 1320751 w 6226010"/>
              <a:gd name="connsiteY3416" fmla="*/ 3027395 h 5756219"/>
              <a:gd name="connsiteX3417" fmla="*/ 1326186 w 6226010"/>
              <a:gd name="connsiteY3417" fmla="*/ 3060006 h 5756219"/>
              <a:gd name="connsiteX3418" fmla="*/ 1331621 w 6226010"/>
              <a:gd name="connsiteY3418" fmla="*/ 3081747 h 5756219"/>
              <a:gd name="connsiteX3419" fmla="*/ 1331621 w 6226010"/>
              <a:gd name="connsiteY3419" fmla="*/ 3098053 h 5756219"/>
              <a:gd name="connsiteX3420" fmla="*/ 1326186 w 6226010"/>
              <a:gd name="connsiteY3420" fmla="*/ 3160558 h 5756219"/>
              <a:gd name="connsiteX3421" fmla="*/ 1318033 w 6226010"/>
              <a:gd name="connsiteY3421" fmla="*/ 3160558 h 5756219"/>
              <a:gd name="connsiteX3422" fmla="*/ 1279987 w 6226010"/>
              <a:gd name="connsiteY3422" fmla="*/ 3136099 h 5756219"/>
              <a:gd name="connsiteX3423" fmla="*/ 1277269 w 6226010"/>
              <a:gd name="connsiteY3423" fmla="*/ 3122511 h 5756219"/>
              <a:gd name="connsiteX3424" fmla="*/ 1271834 w 6226010"/>
              <a:gd name="connsiteY3424" fmla="*/ 3119794 h 5756219"/>
              <a:gd name="connsiteX3425" fmla="*/ 1271834 w 6226010"/>
              <a:gd name="connsiteY3425" fmla="*/ 3084465 h 5756219"/>
              <a:gd name="connsiteX3426" fmla="*/ 1269116 w 6226010"/>
              <a:gd name="connsiteY3426" fmla="*/ 3079030 h 5756219"/>
              <a:gd name="connsiteX3427" fmla="*/ 1260964 w 6226010"/>
              <a:gd name="connsiteY3427" fmla="*/ 3079030 h 5756219"/>
              <a:gd name="connsiteX3428" fmla="*/ 1260964 w 6226010"/>
              <a:gd name="connsiteY3428" fmla="*/ 3122511 h 5756219"/>
              <a:gd name="connsiteX3429" fmla="*/ 1255528 w 6226010"/>
              <a:gd name="connsiteY3429" fmla="*/ 3122511 h 5756219"/>
              <a:gd name="connsiteX3430" fmla="*/ 1239223 w 6226010"/>
              <a:gd name="connsiteY3430" fmla="*/ 3114358 h 5756219"/>
              <a:gd name="connsiteX3431" fmla="*/ 1236505 w 6226010"/>
              <a:gd name="connsiteY3431" fmla="*/ 3076312 h 5756219"/>
              <a:gd name="connsiteX3432" fmla="*/ 1231070 w 6226010"/>
              <a:gd name="connsiteY3432" fmla="*/ 3076312 h 5756219"/>
              <a:gd name="connsiteX3433" fmla="*/ 1231070 w 6226010"/>
              <a:gd name="connsiteY3433" fmla="*/ 3108923 h 5756219"/>
              <a:gd name="connsiteX3434" fmla="*/ 1228352 w 6226010"/>
              <a:gd name="connsiteY3434" fmla="*/ 3108923 h 5756219"/>
              <a:gd name="connsiteX3435" fmla="*/ 1212047 w 6226010"/>
              <a:gd name="connsiteY3435" fmla="*/ 3092618 h 5756219"/>
              <a:gd name="connsiteX3436" fmla="*/ 1206612 w 6226010"/>
              <a:gd name="connsiteY3436" fmla="*/ 3092618 h 5756219"/>
              <a:gd name="connsiteX3437" fmla="*/ 1206612 w 6226010"/>
              <a:gd name="connsiteY3437" fmla="*/ 3095335 h 5756219"/>
              <a:gd name="connsiteX3438" fmla="*/ 1222917 w 6226010"/>
              <a:gd name="connsiteY3438" fmla="*/ 3111641 h 5756219"/>
              <a:gd name="connsiteX3439" fmla="*/ 1222917 w 6226010"/>
              <a:gd name="connsiteY3439" fmla="*/ 3114358 h 5756219"/>
              <a:gd name="connsiteX3440" fmla="*/ 1231070 w 6226010"/>
              <a:gd name="connsiteY3440" fmla="*/ 3119794 h 5756219"/>
              <a:gd name="connsiteX3441" fmla="*/ 1231070 w 6226010"/>
              <a:gd name="connsiteY3441" fmla="*/ 3125229 h 5756219"/>
              <a:gd name="connsiteX3442" fmla="*/ 1239223 w 6226010"/>
              <a:gd name="connsiteY3442" fmla="*/ 3125229 h 5756219"/>
              <a:gd name="connsiteX3443" fmla="*/ 1244658 w 6226010"/>
              <a:gd name="connsiteY3443" fmla="*/ 3133382 h 5756219"/>
              <a:gd name="connsiteX3444" fmla="*/ 1258246 w 6226010"/>
              <a:gd name="connsiteY3444" fmla="*/ 3133382 h 5756219"/>
              <a:gd name="connsiteX3445" fmla="*/ 1260964 w 6226010"/>
              <a:gd name="connsiteY3445" fmla="*/ 3138817 h 5756219"/>
              <a:gd name="connsiteX3446" fmla="*/ 1274552 w 6226010"/>
              <a:gd name="connsiteY3446" fmla="*/ 3141534 h 5756219"/>
              <a:gd name="connsiteX3447" fmla="*/ 1274552 w 6226010"/>
              <a:gd name="connsiteY3447" fmla="*/ 3146970 h 5756219"/>
              <a:gd name="connsiteX3448" fmla="*/ 1282704 w 6226010"/>
              <a:gd name="connsiteY3448" fmla="*/ 3149687 h 5756219"/>
              <a:gd name="connsiteX3449" fmla="*/ 1282704 w 6226010"/>
              <a:gd name="connsiteY3449" fmla="*/ 3152405 h 5756219"/>
              <a:gd name="connsiteX3450" fmla="*/ 1331621 w 6226010"/>
              <a:gd name="connsiteY3450" fmla="*/ 3185016 h 5756219"/>
              <a:gd name="connsiteX3451" fmla="*/ 1331969 w 6226010"/>
              <a:gd name="connsiteY3451" fmla="*/ 3188848 h 5756219"/>
              <a:gd name="connsiteX3452" fmla="*/ 1331621 w 6226010"/>
              <a:gd name="connsiteY3452" fmla="*/ 3190451 h 5756219"/>
              <a:gd name="connsiteX3453" fmla="*/ 1332441 w 6226010"/>
              <a:gd name="connsiteY3453" fmla="*/ 3194040 h 5756219"/>
              <a:gd name="connsiteX3454" fmla="*/ 1332979 w 6226010"/>
              <a:gd name="connsiteY3454" fmla="*/ 3199962 h 5756219"/>
              <a:gd name="connsiteX3455" fmla="*/ 1334339 w 6226010"/>
              <a:gd name="connsiteY3455" fmla="*/ 3214909 h 5756219"/>
              <a:gd name="connsiteX3456" fmla="*/ 1339774 w 6226010"/>
              <a:gd name="connsiteY3456" fmla="*/ 3217627 h 5756219"/>
              <a:gd name="connsiteX3457" fmla="*/ 1339774 w 6226010"/>
              <a:gd name="connsiteY3457" fmla="*/ 3252956 h 5756219"/>
              <a:gd name="connsiteX3458" fmla="*/ 1345209 w 6226010"/>
              <a:gd name="connsiteY3458" fmla="*/ 3258391 h 5756219"/>
              <a:gd name="connsiteX3459" fmla="*/ 1350542 w 6226010"/>
              <a:gd name="connsiteY3459" fmla="*/ 3260557 h 5756219"/>
              <a:gd name="connsiteX3460" fmla="*/ 1348946 w 6226010"/>
              <a:gd name="connsiteY3460" fmla="*/ 3251936 h 5756219"/>
              <a:gd name="connsiteX3461" fmla="*/ 1345209 w 6226010"/>
              <a:gd name="connsiteY3461" fmla="*/ 3244803 h 5756219"/>
              <a:gd name="connsiteX3462" fmla="*/ 1342491 w 6226010"/>
              <a:gd name="connsiteY3462" fmla="*/ 3214909 h 5756219"/>
              <a:gd name="connsiteX3463" fmla="*/ 1337056 w 6226010"/>
              <a:gd name="connsiteY3463" fmla="*/ 3212192 h 5756219"/>
              <a:gd name="connsiteX3464" fmla="*/ 1334338 w 6226010"/>
              <a:gd name="connsiteY3464" fmla="*/ 3202340 h 5756219"/>
              <a:gd name="connsiteX3465" fmla="*/ 1332441 w 6226010"/>
              <a:gd name="connsiteY3465" fmla="*/ 3194040 h 5756219"/>
              <a:gd name="connsiteX3466" fmla="*/ 1331969 w 6226010"/>
              <a:gd name="connsiteY3466" fmla="*/ 3188848 h 5756219"/>
              <a:gd name="connsiteX3467" fmla="*/ 1333319 w 6226010"/>
              <a:gd name="connsiteY3467" fmla="*/ 3182638 h 5756219"/>
              <a:gd name="connsiteX3468" fmla="*/ 1337056 w 6226010"/>
              <a:gd name="connsiteY3468" fmla="*/ 3176863 h 5756219"/>
              <a:gd name="connsiteX3469" fmla="*/ 1337056 w 6226010"/>
              <a:gd name="connsiteY3469" fmla="*/ 3155122 h 5756219"/>
              <a:gd name="connsiteX3470" fmla="*/ 1342491 w 6226010"/>
              <a:gd name="connsiteY3470" fmla="*/ 3122511 h 5756219"/>
              <a:gd name="connsiteX3471" fmla="*/ 1339774 w 6226010"/>
              <a:gd name="connsiteY3471" fmla="*/ 3100770 h 5756219"/>
              <a:gd name="connsiteX3472" fmla="*/ 1364232 w 6226010"/>
              <a:gd name="connsiteY3472" fmla="*/ 3084465 h 5756219"/>
              <a:gd name="connsiteX3473" fmla="*/ 1366950 w 6226010"/>
              <a:gd name="connsiteY3473" fmla="*/ 3079030 h 5756219"/>
              <a:gd name="connsiteX3474" fmla="*/ 1380538 w 6226010"/>
              <a:gd name="connsiteY3474" fmla="*/ 3046418 h 5756219"/>
              <a:gd name="connsiteX3475" fmla="*/ 1377820 w 6226010"/>
              <a:gd name="connsiteY3475" fmla="*/ 3046418 h 5756219"/>
              <a:gd name="connsiteX3476" fmla="*/ 1358797 w 6226010"/>
              <a:gd name="connsiteY3476" fmla="*/ 3076312 h 5756219"/>
              <a:gd name="connsiteX3477" fmla="*/ 1342491 w 6226010"/>
              <a:gd name="connsiteY3477" fmla="*/ 3084465 h 5756219"/>
              <a:gd name="connsiteX3478" fmla="*/ 1326186 w 6226010"/>
              <a:gd name="connsiteY3478" fmla="*/ 3021960 h 5756219"/>
              <a:gd name="connsiteX3479" fmla="*/ 1323468 w 6226010"/>
              <a:gd name="connsiteY3479" fmla="*/ 3021960 h 5756219"/>
              <a:gd name="connsiteX3480" fmla="*/ 4255753 w 6226010"/>
              <a:gd name="connsiteY3480" fmla="*/ 3011090 h 5756219"/>
              <a:gd name="connsiteX3481" fmla="*/ 4255753 w 6226010"/>
              <a:gd name="connsiteY3481" fmla="*/ 3032831 h 5756219"/>
              <a:gd name="connsiteX3482" fmla="*/ 4272059 w 6226010"/>
              <a:gd name="connsiteY3482" fmla="*/ 3024678 h 5756219"/>
              <a:gd name="connsiteX3483" fmla="*/ 2119724 w 6226010"/>
              <a:gd name="connsiteY3483" fmla="*/ 3005655 h 5756219"/>
              <a:gd name="connsiteX3484" fmla="*/ 2122441 w 6226010"/>
              <a:gd name="connsiteY3484" fmla="*/ 3005655 h 5756219"/>
              <a:gd name="connsiteX3485" fmla="*/ 2122441 w 6226010"/>
              <a:gd name="connsiteY3485" fmla="*/ 3013808 h 5756219"/>
              <a:gd name="connsiteX3486" fmla="*/ 2117006 w 6226010"/>
              <a:gd name="connsiteY3486" fmla="*/ 3021961 h 5756219"/>
              <a:gd name="connsiteX3487" fmla="*/ 2107155 w 6226010"/>
              <a:gd name="connsiteY3487" fmla="*/ 3021961 h 5756219"/>
              <a:gd name="connsiteX3488" fmla="*/ 2106136 w 6226010"/>
              <a:gd name="connsiteY3488" fmla="*/ 3021961 h 5756219"/>
              <a:gd name="connsiteX3489" fmla="*/ 2108853 w 6226010"/>
              <a:gd name="connsiteY3489" fmla="*/ 3013808 h 5756219"/>
              <a:gd name="connsiteX3490" fmla="*/ 2119724 w 6226010"/>
              <a:gd name="connsiteY3490" fmla="*/ 3005655 h 5756219"/>
              <a:gd name="connsiteX3491" fmla="*/ 4503055 w 6226010"/>
              <a:gd name="connsiteY3491" fmla="*/ 3002937 h 5756219"/>
              <a:gd name="connsiteX3492" fmla="*/ 4497619 w 6226010"/>
              <a:gd name="connsiteY3492" fmla="*/ 3040983 h 5756219"/>
              <a:gd name="connsiteX3493" fmla="*/ 4519359 w 6226010"/>
              <a:gd name="connsiteY3493" fmla="*/ 3040983 h 5756219"/>
              <a:gd name="connsiteX3494" fmla="*/ 4503055 w 6226010"/>
              <a:gd name="connsiteY3494" fmla="*/ 3002937 h 5756219"/>
              <a:gd name="connsiteX3495" fmla="*/ 415792 w 6226010"/>
              <a:gd name="connsiteY3495" fmla="*/ 3000219 h 5756219"/>
              <a:gd name="connsiteX3496" fmla="*/ 385898 w 6226010"/>
              <a:gd name="connsiteY3496" fmla="*/ 3002937 h 5756219"/>
              <a:gd name="connsiteX3497" fmla="*/ 404921 w 6226010"/>
              <a:gd name="connsiteY3497" fmla="*/ 3062724 h 5756219"/>
              <a:gd name="connsiteX3498" fmla="*/ 415792 w 6226010"/>
              <a:gd name="connsiteY3498" fmla="*/ 3000219 h 5756219"/>
              <a:gd name="connsiteX3499" fmla="*/ 2617044 w 6226010"/>
              <a:gd name="connsiteY3499" fmla="*/ 2989349 h 5756219"/>
              <a:gd name="connsiteX3500" fmla="*/ 2603456 w 6226010"/>
              <a:gd name="connsiteY3500" fmla="*/ 3005655 h 5756219"/>
              <a:gd name="connsiteX3501" fmla="*/ 2587151 w 6226010"/>
              <a:gd name="connsiteY3501" fmla="*/ 3030113 h 5756219"/>
              <a:gd name="connsiteX3502" fmla="*/ 2584433 w 6226010"/>
              <a:gd name="connsiteY3502" fmla="*/ 3046418 h 5756219"/>
              <a:gd name="connsiteX3503" fmla="*/ 2573563 w 6226010"/>
              <a:gd name="connsiteY3503" fmla="*/ 3057289 h 5756219"/>
              <a:gd name="connsiteX3504" fmla="*/ 2527364 w 6226010"/>
              <a:gd name="connsiteY3504" fmla="*/ 3087182 h 5756219"/>
              <a:gd name="connsiteX3505" fmla="*/ 2530081 w 6226010"/>
              <a:gd name="connsiteY3505" fmla="*/ 3046418 h 5756219"/>
              <a:gd name="connsiteX3506" fmla="*/ 2530081 w 6226010"/>
              <a:gd name="connsiteY3506" fmla="*/ 3038266 h 5756219"/>
              <a:gd name="connsiteX3507" fmla="*/ 2521928 w 6226010"/>
              <a:gd name="connsiteY3507" fmla="*/ 3038266 h 5756219"/>
              <a:gd name="connsiteX3508" fmla="*/ 2516493 w 6226010"/>
              <a:gd name="connsiteY3508" fmla="*/ 3062724 h 5756219"/>
              <a:gd name="connsiteX3509" fmla="*/ 2519211 w 6226010"/>
              <a:gd name="connsiteY3509" fmla="*/ 3065442 h 5756219"/>
              <a:gd name="connsiteX3510" fmla="*/ 2516493 w 6226010"/>
              <a:gd name="connsiteY3510" fmla="*/ 3106206 h 5756219"/>
              <a:gd name="connsiteX3511" fmla="*/ 2521928 w 6226010"/>
              <a:gd name="connsiteY3511" fmla="*/ 3127946 h 5756219"/>
              <a:gd name="connsiteX3512" fmla="*/ 2513776 w 6226010"/>
              <a:gd name="connsiteY3512" fmla="*/ 3157840 h 5756219"/>
              <a:gd name="connsiteX3513" fmla="*/ 2505623 w 6226010"/>
              <a:gd name="connsiteY3513" fmla="*/ 3168710 h 5756219"/>
              <a:gd name="connsiteX3514" fmla="*/ 2500188 w 6226010"/>
              <a:gd name="connsiteY3514" fmla="*/ 3155122 h 5756219"/>
              <a:gd name="connsiteX3515" fmla="*/ 2500188 w 6226010"/>
              <a:gd name="connsiteY3515" fmla="*/ 3152405 h 5756219"/>
              <a:gd name="connsiteX3516" fmla="*/ 2483882 w 6226010"/>
              <a:gd name="connsiteY3516" fmla="*/ 3119794 h 5756219"/>
              <a:gd name="connsiteX3517" fmla="*/ 2475729 w 6226010"/>
              <a:gd name="connsiteY3517" fmla="*/ 3119794 h 5756219"/>
              <a:gd name="connsiteX3518" fmla="*/ 2475729 w 6226010"/>
              <a:gd name="connsiteY3518" fmla="*/ 3136099 h 5756219"/>
              <a:gd name="connsiteX3519" fmla="*/ 2481165 w 6226010"/>
              <a:gd name="connsiteY3519" fmla="*/ 3136099 h 5756219"/>
              <a:gd name="connsiteX3520" fmla="*/ 2494753 w 6226010"/>
              <a:gd name="connsiteY3520" fmla="*/ 3187733 h 5756219"/>
              <a:gd name="connsiteX3521" fmla="*/ 2477428 w 6226010"/>
              <a:gd name="connsiteY3521" fmla="*/ 3210493 h 5756219"/>
              <a:gd name="connsiteX3522" fmla="*/ 2464384 w 6226010"/>
              <a:gd name="connsiteY3522" fmla="*/ 3228174 h 5756219"/>
              <a:gd name="connsiteX3523" fmla="*/ 2464859 w 6226010"/>
              <a:gd name="connsiteY3523" fmla="*/ 3228498 h 5756219"/>
              <a:gd name="connsiteX3524" fmla="*/ 2473012 w 6226010"/>
              <a:gd name="connsiteY3524" fmla="*/ 3228498 h 5756219"/>
              <a:gd name="connsiteX3525" fmla="*/ 2473012 w 6226010"/>
              <a:gd name="connsiteY3525" fmla="*/ 3233933 h 5756219"/>
              <a:gd name="connsiteX3526" fmla="*/ 2486600 w 6226010"/>
              <a:gd name="connsiteY3526" fmla="*/ 3239368 h 5756219"/>
              <a:gd name="connsiteX3527" fmla="*/ 2486600 w 6226010"/>
              <a:gd name="connsiteY3527" fmla="*/ 3242086 h 5756219"/>
              <a:gd name="connsiteX3528" fmla="*/ 2492544 w 6226010"/>
              <a:gd name="connsiteY3528" fmla="*/ 3243274 h 5756219"/>
              <a:gd name="connsiteX3529" fmla="*/ 2496451 w 6226010"/>
              <a:gd name="connsiteY3529" fmla="*/ 3231555 h 5756219"/>
              <a:gd name="connsiteX3530" fmla="*/ 2505623 w 6226010"/>
              <a:gd name="connsiteY3530" fmla="*/ 3212192 h 5756219"/>
              <a:gd name="connsiteX3531" fmla="*/ 2508341 w 6226010"/>
              <a:gd name="connsiteY3531" fmla="*/ 3190451 h 5756219"/>
              <a:gd name="connsiteX3532" fmla="*/ 2505623 w 6226010"/>
              <a:gd name="connsiteY3532" fmla="*/ 3179581 h 5756219"/>
              <a:gd name="connsiteX3533" fmla="*/ 2524646 w 6226010"/>
              <a:gd name="connsiteY3533" fmla="*/ 3144252 h 5756219"/>
              <a:gd name="connsiteX3534" fmla="*/ 2524646 w 6226010"/>
              <a:gd name="connsiteY3534" fmla="*/ 3108923 h 5756219"/>
              <a:gd name="connsiteX3535" fmla="*/ 2521928 w 6226010"/>
              <a:gd name="connsiteY3535" fmla="*/ 3108923 h 5756219"/>
              <a:gd name="connsiteX3536" fmla="*/ 2524646 w 6226010"/>
              <a:gd name="connsiteY3536" fmla="*/ 3092618 h 5756219"/>
              <a:gd name="connsiteX3537" fmla="*/ 2581715 w 6226010"/>
              <a:gd name="connsiteY3537" fmla="*/ 3054571 h 5756219"/>
              <a:gd name="connsiteX3538" fmla="*/ 2587151 w 6226010"/>
              <a:gd name="connsiteY3538" fmla="*/ 3060006 h 5756219"/>
              <a:gd name="connsiteX3539" fmla="*/ 2617044 w 6226010"/>
              <a:gd name="connsiteY3539" fmla="*/ 3060006 h 5756219"/>
              <a:gd name="connsiteX3540" fmla="*/ 2649655 w 6226010"/>
              <a:gd name="connsiteY3540" fmla="*/ 3049136 h 5756219"/>
              <a:gd name="connsiteX3541" fmla="*/ 2649655 w 6226010"/>
              <a:gd name="connsiteY3541" fmla="*/ 3035548 h 5756219"/>
              <a:gd name="connsiteX3542" fmla="*/ 2641502 w 6226010"/>
              <a:gd name="connsiteY3542" fmla="*/ 3040983 h 5756219"/>
              <a:gd name="connsiteX3543" fmla="*/ 2625197 w 6226010"/>
              <a:gd name="connsiteY3543" fmla="*/ 3049136 h 5756219"/>
              <a:gd name="connsiteX3544" fmla="*/ 2595303 w 6226010"/>
              <a:gd name="connsiteY3544" fmla="*/ 3049136 h 5756219"/>
              <a:gd name="connsiteX3545" fmla="*/ 2592586 w 6226010"/>
              <a:gd name="connsiteY3545" fmla="*/ 3043701 h 5756219"/>
              <a:gd name="connsiteX3546" fmla="*/ 2619762 w 6226010"/>
              <a:gd name="connsiteY3546" fmla="*/ 2992067 h 5756219"/>
              <a:gd name="connsiteX3547" fmla="*/ 2619762 w 6226010"/>
              <a:gd name="connsiteY3547" fmla="*/ 2989349 h 5756219"/>
              <a:gd name="connsiteX3548" fmla="*/ 2617044 w 6226010"/>
              <a:gd name="connsiteY3548" fmla="*/ 2989349 h 5756219"/>
              <a:gd name="connsiteX3549" fmla="*/ 2002867 w 6226010"/>
              <a:gd name="connsiteY3549" fmla="*/ 2989349 h 5756219"/>
              <a:gd name="connsiteX3550" fmla="*/ 2008302 w 6226010"/>
              <a:gd name="connsiteY3550" fmla="*/ 3019242 h 5756219"/>
              <a:gd name="connsiteX3551" fmla="*/ 2013737 w 6226010"/>
              <a:gd name="connsiteY3551" fmla="*/ 3021960 h 5756219"/>
              <a:gd name="connsiteX3552" fmla="*/ 2013737 w 6226010"/>
              <a:gd name="connsiteY3552" fmla="*/ 3030113 h 5756219"/>
              <a:gd name="connsiteX3553" fmla="*/ 2016455 w 6226010"/>
              <a:gd name="connsiteY3553" fmla="*/ 3030113 h 5756219"/>
              <a:gd name="connsiteX3554" fmla="*/ 2038195 w 6226010"/>
              <a:gd name="connsiteY3554" fmla="*/ 3084464 h 5756219"/>
              <a:gd name="connsiteX3555" fmla="*/ 2049066 w 6226010"/>
              <a:gd name="connsiteY3555" fmla="*/ 3087182 h 5756219"/>
              <a:gd name="connsiteX3556" fmla="*/ 2084394 w 6226010"/>
              <a:gd name="connsiteY3556" fmla="*/ 3144252 h 5756219"/>
              <a:gd name="connsiteX3557" fmla="*/ 2081677 w 6226010"/>
              <a:gd name="connsiteY3557" fmla="*/ 3187733 h 5756219"/>
              <a:gd name="connsiteX3558" fmla="*/ 2084394 w 6226010"/>
              <a:gd name="connsiteY3558" fmla="*/ 3212192 h 5756219"/>
              <a:gd name="connsiteX3559" fmla="*/ 2081677 w 6226010"/>
              <a:gd name="connsiteY3559" fmla="*/ 3242086 h 5756219"/>
              <a:gd name="connsiteX3560" fmla="*/ 2089830 w 6226010"/>
              <a:gd name="connsiteY3560" fmla="*/ 3258391 h 5756219"/>
              <a:gd name="connsiteX3561" fmla="*/ 2084394 w 6226010"/>
              <a:gd name="connsiteY3561" fmla="*/ 3329049 h 5756219"/>
              <a:gd name="connsiteX3562" fmla="*/ 2084394 w 6226010"/>
              <a:gd name="connsiteY3562" fmla="*/ 3331766 h 5756219"/>
              <a:gd name="connsiteX3563" fmla="*/ 2068089 w 6226010"/>
              <a:gd name="connsiteY3563" fmla="*/ 3331766 h 5756219"/>
              <a:gd name="connsiteX3564" fmla="*/ 2065371 w 6226010"/>
              <a:gd name="connsiteY3564" fmla="*/ 3326331 h 5756219"/>
              <a:gd name="connsiteX3565" fmla="*/ 2057218 w 6226010"/>
              <a:gd name="connsiteY3565" fmla="*/ 3326331 h 5756219"/>
              <a:gd name="connsiteX3566" fmla="*/ 2054501 w 6226010"/>
              <a:gd name="connsiteY3566" fmla="*/ 3320896 h 5756219"/>
              <a:gd name="connsiteX3567" fmla="*/ 2040913 w 6226010"/>
              <a:gd name="connsiteY3567" fmla="*/ 3318178 h 5756219"/>
              <a:gd name="connsiteX3568" fmla="*/ 2038195 w 6226010"/>
              <a:gd name="connsiteY3568" fmla="*/ 3312743 h 5756219"/>
              <a:gd name="connsiteX3569" fmla="*/ 2002867 w 6226010"/>
              <a:gd name="connsiteY3569" fmla="*/ 3310026 h 5756219"/>
              <a:gd name="connsiteX3570" fmla="*/ 1997431 w 6226010"/>
              <a:gd name="connsiteY3570" fmla="*/ 3304590 h 5756219"/>
              <a:gd name="connsiteX3571" fmla="*/ 1994714 w 6226010"/>
              <a:gd name="connsiteY3571" fmla="*/ 3291002 h 5756219"/>
              <a:gd name="connsiteX3572" fmla="*/ 1983843 w 6226010"/>
              <a:gd name="connsiteY3572" fmla="*/ 3280132 h 5756219"/>
              <a:gd name="connsiteX3573" fmla="*/ 1983843 w 6226010"/>
              <a:gd name="connsiteY3573" fmla="*/ 3274697 h 5756219"/>
              <a:gd name="connsiteX3574" fmla="*/ 1975691 w 6226010"/>
              <a:gd name="connsiteY3574" fmla="*/ 3263827 h 5756219"/>
              <a:gd name="connsiteX3575" fmla="*/ 1978408 w 6226010"/>
              <a:gd name="connsiteY3575" fmla="*/ 3242086 h 5756219"/>
              <a:gd name="connsiteX3576" fmla="*/ 1989279 w 6226010"/>
              <a:gd name="connsiteY3576" fmla="*/ 3201321 h 5756219"/>
              <a:gd name="connsiteX3577" fmla="*/ 1983843 w 6226010"/>
              <a:gd name="connsiteY3577" fmla="*/ 3165992 h 5756219"/>
              <a:gd name="connsiteX3578" fmla="*/ 1972973 w 6226010"/>
              <a:gd name="connsiteY3578" fmla="*/ 3168710 h 5756219"/>
              <a:gd name="connsiteX3579" fmla="*/ 1981126 w 6226010"/>
              <a:gd name="connsiteY3579" fmla="*/ 3190451 h 5756219"/>
              <a:gd name="connsiteX3580" fmla="*/ 1970255 w 6226010"/>
              <a:gd name="connsiteY3580" fmla="*/ 3233933 h 5756219"/>
              <a:gd name="connsiteX3581" fmla="*/ 1967538 w 6226010"/>
              <a:gd name="connsiteY3581" fmla="*/ 3233933 h 5756219"/>
              <a:gd name="connsiteX3582" fmla="*/ 1959385 w 6226010"/>
              <a:gd name="connsiteY3582" fmla="*/ 3220345 h 5756219"/>
              <a:gd name="connsiteX3583" fmla="*/ 1951232 w 6226010"/>
              <a:gd name="connsiteY3583" fmla="*/ 3220345 h 5756219"/>
              <a:gd name="connsiteX3584" fmla="*/ 1951232 w 6226010"/>
              <a:gd name="connsiteY3584" fmla="*/ 3214910 h 5756219"/>
              <a:gd name="connsiteX3585" fmla="*/ 1937644 w 6226010"/>
              <a:gd name="connsiteY3585" fmla="*/ 3204039 h 5756219"/>
              <a:gd name="connsiteX3586" fmla="*/ 1967538 w 6226010"/>
              <a:gd name="connsiteY3586" fmla="*/ 3136099 h 5756219"/>
              <a:gd name="connsiteX3587" fmla="*/ 1978408 w 6226010"/>
              <a:gd name="connsiteY3587" fmla="*/ 3127946 h 5756219"/>
              <a:gd name="connsiteX3588" fmla="*/ 1975691 w 6226010"/>
              <a:gd name="connsiteY3588" fmla="*/ 3119793 h 5756219"/>
              <a:gd name="connsiteX3589" fmla="*/ 1937644 w 6226010"/>
              <a:gd name="connsiteY3589" fmla="*/ 3174145 h 5756219"/>
              <a:gd name="connsiteX3590" fmla="*/ 1929492 w 6226010"/>
              <a:gd name="connsiteY3590" fmla="*/ 3195886 h 5756219"/>
              <a:gd name="connsiteX3591" fmla="*/ 1926774 w 6226010"/>
              <a:gd name="connsiteY3591" fmla="*/ 3195886 h 5756219"/>
              <a:gd name="connsiteX3592" fmla="*/ 1915904 w 6226010"/>
              <a:gd name="connsiteY3592" fmla="*/ 3187733 h 5756219"/>
              <a:gd name="connsiteX3593" fmla="*/ 1907751 w 6226010"/>
              <a:gd name="connsiteY3593" fmla="*/ 3130664 h 5756219"/>
              <a:gd name="connsiteX3594" fmla="*/ 1943080 w 6226010"/>
              <a:gd name="connsiteY3594" fmla="*/ 3076312 h 5756219"/>
              <a:gd name="connsiteX3595" fmla="*/ 1945797 w 6226010"/>
              <a:gd name="connsiteY3595" fmla="*/ 3062724 h 5756219"/>
              <a:gd name="connsiteX3596" fmla="*/ 1964820 w 6226010"/>
              <a:gd name="connsiteY3596" fmla="*/ 3030113 h 5756219"/>
              <a:gd name="connsiteX3597" fmla="*/ 1970255 w 6226010"/>
              <a:gd name="connsiteY3597" fmla="*/ 3027395 h 5756219"/>
              <a:gd name="connsiteX3598" fmla="*/ 1975691 w 6226010"/>
              <a:gd name="connsiteY3598" fmla="*/ 3013807 h 5756219"/>
              <a:gd name="connsiteX3599" fmla="*/ 1981126 w 6226010"/>
              <a:gd name="connsiteY3599" fmla="*/ 3011090 h 5756219"/>
              <a:gd name="connsiteX3600" fmla="*/ 1983843 w 6226010"/>
              <a:gd name="connsiteY3600" fmla="*/ 3005654 h 5756219"/>
              <a:gd name="connsiteX3601" fmla="*/ 2002867 w 6226010"/>
              <a:gd name="connsiteY3601" fmla="*/ 2989349 h 5756219"/>
              <a:gd name="connsiteX3602" fmla="*/ 263606 w 6226010"/>
              <a:gd name="connsiteY3602" fmla="*/ 2986632 h 5756219"/>
              <a:gd name="connsiteX3603" fmla="*/ 217407 w 6226010"/>
              <a:gd name="connsiteY3603" fmla="*/ 3092618 h 5756219"/>
              <a:gd name="connsiteX3604" fmla="*/ 298935 w 6226010"/>
              <a:gd name="connsiteY3604" fmla="*/ 3133382 h 5756219"/>
              <a:gd name="connsiteX3605" fmla="*/ 312523 w 6226010"/>
              <a:gd name="connsiteY3605" fmla="*/ 3062724 h 5756219"/>
              <a:gd name="connsiteX3606" fmla="*/ 296218 w 6226010"/>
              <a:gd name="connsiteY3606" fmla="*/ 3057289 h 5756219"/>
              <a:gd name="connsiteX3607" fmla="*/ 263606 w 6226010"/>
              <a:gd name="connsiteY3607" fmla="*/ 3084465 h 5756219"/>
              <a:gd name="connsiteX3608" fmla="*/ 263606 w 6226010"/>
              <a:gd name="connsiteY3608" fmla="*/ 2986632 h 5756219"/>
              <a:gd name="connsiteX3609" fmla="*/ 97833 w 6226010"/>
              <a:gd name="connsiteY3609" fmla="*/ 2981196 h 5756219"/>
              <a:gd name="connsiteX3610" fmla="*/ 152185 w 6226010"/>
              <a:gd name="connsiteY3610" fmla="*/ 3117076 h 5756219"/>
              <a:gd name="connsiteX3611" fmla="*/ 92398 w 6226010"/>
              <a:gd name="connsiteY3611" fmla="*/ 3076312 h 5756219"/>
              <a:gd name="connsiteX3612" fmla="*/ 86963 w 6226010"/>
              <a:gd name="connsiteY3612" fmla="*/ 3089900 h 5756219"/>
              <a:gd name="connsiteX3613" fmla="*/ 138597 w 6226010"/>
              <a:gd name="connsiteY3613" fmla="*/ 3133382 h 5756219"/>
              <a:gd name="connsiteX3614" fmla="*/ 163055 w 6226010"/>
              <a:gd name="connsiteY3614" fmla="*/ 2983914 h 5756219"/>
              <a:gd name="connsiteX3615" fmla="*/ 97833 w 6226010"/>
              <a:gd name="connsiteY3615" fmla="*/ 2981196 h 5756219"/>
              <a:gd name="connsiteX3616" fmla="*/ 2043631 w 6226010"/>
              <a:gd name="connsiteY3616" fmla="*/ 2959456 h 5756219"/>
              <a:gd name="connsiteX3617" fmla="*/ 2057219 w 6226010"/>
              <a:gd name="connsiteY3617" fmla="*/ 2983914 h 5756219"/>
              <a:gd name="connsiteX3618" fmla="*/ 2062654 w 6226010"/>
              <a:gd name="connsiteY3618" fmla="*/ 2986632 h 5756219"/>
              <a:gd name="connsiteX3619" fmla="*/ 2065372 w 6226010"/>
              <a:gd name="connsiteY3619" fmla="*/ 3002937 h 5756219"/>
              <a:gd name="connsiteX3620" fmla="*/ 2070807 w 6226010"/>
              <a:gd name="connsiteY3620" fmla="*/ 3005655 h 5756219"/>
              <a:gd name="connsiteX3621" fmla="*/ 2070807 w 6226010"/>
              <a:gd name="connsiteY3621" fmla="*/ 3011090 h 5756219"/>
              <a:gd name="connsiteX3622" fmla="*/ 2076242 w 6226010"/>
              <a:gd name="connsiteY3622" fmla="*/ 3013808 h 5756219"/>
              <a:gd name="connsiteX3623" fmla="*/ 2076242 w 6226010"/>
              <a:gd name="connsiteY3623" fmla="*/ 3019243 h 5756219"/>
              <a:gd name="connsiteX3624" fmla="*/ 2078959 w 6226010"/>
              <a:gd name="connsiteY3624" fmla="*/ 3019243 h 5756219"/>
              <a:gd name="connsiteX3625" fmla="*/ 2081677 w 6226010"/>
              <a:gd name="connsiteY3625" fmla="*/ 3032831 h 5756219"/>
              <a:gd name="connsiteX3626" fmla="*/ 2087112 w 6226010"/>
              <a:gd name="connsiteY3626" fmla="*/ 3035548 h 5756219"/>
              <a:gd name="connsiteX3627" fmla="*/ 2087112 w 6226010"/>
              <a:gd name="connsiteY3627" fmla="*/ 3040984 h 5756219"/>
              <a:gd name="connsiteX3628" fmla="*/ 2092547 w 6226010"/>
              <a:gd name="connsiteY3628" fmla="*/ 3043701 h 5756219"/>
              <a:gd name="connsiteX3629" fmla="*/ 2095265 w 6226010"/>
              <a:gd name="connsiteY3629" fmla="*/ 3051854 h 5756219"/>
              <a:gd name="connsiteX3630" fmla="*/ 2092547 w 6226010"/>
              <a:gd name="connsiteY3630" fmla="*/ 3073595 h 5756219"/>
              <a:gd name="connsiteX3631" fmla="*/ 2089830 w 6226010"/>
              <a:gd name="connsiteY3631" fmla="*/ 3073595 h 5756219"/>
              <a:gd name="connsiteX3632" fmla="*/ 2084395 w 6226010"/>
              <a:gd name="connsiteY3632" fmla="*/ 3065442 h 5756219"/>
              <a:gd name="connsiteX3633" fmla="*/ 2078959 w 6226010"/>
              <a:gd name="connsiteY3633" fmla="*/ 3065442 h 5756219"/>
              <a:gd name="connsiteX3634" fmla="*/ 2073524 w 6226010"/>
              <a:gd name="connsiteY3634" fmla="*/ 3068159 h 5756219"/>
              <a:gd name="connsiteX3635" fmla="*/ 2089830 w 6226010"/>
              <a:gd name="connsiteY3635" fmla="*/ 3084465 h 5756219"/>
              <a:gd name="connsiteX3636" fmla="*/ 2081677 w 6226010"/>
              <a:gd name="connsiteY3636" fmla="*/ 3117076 h 5756219"/>
              <a:gd name="connsiteX3637" fmla="*/ 2076242 w 6226010"/>
              <a:gd name="connsiteY3637" fmla="*/ 3114358 h 5756219"/>
              <a:gd name="connsiteX3638" fmla="*/ 2076242 w 6226010"/>
              <a:gd name="connsiteY3638" fmla="*/ 3108923 h 5756219"/>
              <a:gd name="connsiteX3639" fmla="*/ 2070807 w 6226010"/>
              <a:gd name="connsiteY3639" fmla="*/ 3108923 h 5756219"/>
              <a:gd name="connsiteX3640" fmla="*/ 2068089 w 6226010"/>
              <a:gd name="connsiteY3640" fmla="*/ 3095335 h 5756219"/>
              <a:gd name="connsiteX3641" fmla="*/ 2062654 w 6226010"/>
              <a:gd name="connsiteY3641" fmla="*/ 3092618 h 5756219"/>
              <a:gd name="connsiteX3642" fmla="*/ 2062654 w 6226010"/>
              <a:gd name="connsiteY3642" fmla="*/ 3079030 h 5756219"/>
              <a:gd name="connsiteX3643" fmla="*/ 2051784 w 6226010"/>
              <a:gd name="connsiteY3643" fmla="*/ 3076312 h 5756219"/>
              <a:gd name="connsiteX3644" fmla="*/ 2046348 w 6226010"/>
              <a:gd name="connsiteY3644" fmla="*/ 3057289 h 5756219"/>
              <a:gd name="connsiteX3645" fmla="*/ 2040913 w 6226010"/>
              <a:gd name="connsiteY3645" fmla="*/ 3054571 h 5756219"/>
              <a:gd name="connsiteX3646" fmla="*/ 2040913 w 6226010"/>
              <a:gd name="connsiteY3646" fmla="*/ 3049136 h 5756219"/>
              <a:gd name="connsiteX3647" fmla="*/ 2032760 w 6226010"/>
              <a:gd name="connsiteY3647" fmla="*/ 3038266 h 5756219"/>
              <a:gd name="connsiteX3648" fmla="*/ 2032760 w 6226010"/>
              <a:gd name="connsiteY3648" fmla="*/ 3032831 h 5756219"/>
              <a:gd name="connsiteX3649" fmla="*/ 2027325 w 6226010"/>
              <a:gd name="connsiteY3649" fmla="*/ 3030113 h 5756219"/>
              <a:gd name="connsiteX3650" fmla="*/ 2024608 w 6226010"/>
              <a:gd name="connsiteY3650" fmla="*/ 3016525 h 5756219"/>
              <a:gd name="connsiteX3651" fmla="*/ 2019172 w 6226010"/>
              <a:gd name="connsiteY3651" fmla="*/ 3013808 h 5756219"/>
              <a:gd name="connsiteX3652" fmla="*/ 2016455 w 6226010"/>
              <a:gd name="connsiteY3652" fmla="*/ 2989349 h 5756219"/>
              <a:gd name="connsiteX3653" fmla="*/ 2043631 w 6226010"/>
              <a:gd name="connsiteY3653" fmla="*/ 2959456 h 5756219"/>
              <a:gd name="connsiteX3654" fmla="*/ 2191460 w 6226010"/>
              <a:gd name="connsiteY3654" fmla="*/ 2939613 h 5756219"/>
              <a:gd name="connsiteX3655" fmla="*/ 2193500 w 6226010"/>
              <a:gd name="connsiteY3655" fmla="*/ 2942433 h 5756219"/>
              <a:gd name="connsiteX3656" fmla="*/ 2193099 w 6226010"/>
              <a:gd name="connsiteY3656" fmla="*/ 2940432 h 5756219"/>
              <a:gd name="connsiteX3657" fmla="*/ 4448703 w 6226010"/>
              <a:gd name="connsiteY3657" fmla="*/ 2932280 h 5756219"/>
              <a:gd name="connsiteX3658" fmla="*/ 4416091 w 6226010"/>
              <a:gd name="connsiteY3658" fmla="*/ 2940433 h 5756219"/>
              <a:gd name="connsiteX3659" fmla="*/ 4426961 w 6226010"/>
              <a:gd name="connsiteY3659" fmla="*/ 2959456 h 5756219"/>
              <a:gd name="connsiteX3660" fmla="*/ 2451271 w 6226010"/>
              <a:gd name="connsiteY3660" fmla="*/ 2932280 h 5756219"/>
              <a:gd name="connsiteX3661" fmla="*/ 2440401 w 6226010"/>
              <a:gd name="connsiteY3661" fmla="*/ 2945868 h 5756219"/>
              <a:gd name="connsiteX3662" fmla="*/ 2434965 w 6226010"/>
              <a:gd name="connsiteY3662" fmla="*/ 2948585 h 5756219"/>
              <a:gd name="connsiteX3663" fmla="*/ 2432248 w 6226010"/>
              <a:gd name="connsiteY3663" fmla="*/ 2954020 h 5756219"/>
              <a:gd name="connsiteX3664" fmla="*/ 2426813 w 6226010"/>
              <a:gd name="connsiteY3664" fmla="*/ 2954020 h 5756219"/>
              <a:gd name="connsiteX3665" fmla="*/ 2380613 w 6226010"/>
              <a:gd name="connsiteY3665" fmla="*/ 2975761 h 5756219"/>
              <a:gd name="connsiteX3666" fmla="*/ 2386049 w 6226010"/>
              <a:gd name="connsiteY3666" fmla="*/ 2943150 h 5756219"/>
              <a:gd name="connsiteX3667" fmla="*/ 2383331 w 6226010"/>
              <a:gd name="connsiteY3667" fmla="*/ 2937715 h 5756219"/>
              <a:gd name="connsiteX3668" fmla="*/ 2380613 w 6226010"/>
              <a:gd name="connsiteY3668" fmla="*/ 2937715 h 5756219"/>
              <a:gd name="connsiteX3669" fmla="*/ 2377896 w 6226010"/>
              <a:gd name="connsiteY3669" fmla="*/ 2940433 h 5756219"/>
              <a:gd name="connsiteX3670" fmla="*/ 2375178 w 6226010"/>
              <a:gd name="connsiteY3670" fmla="*/ 2981196 h 5756219"/>
              <a:gd name="connsiteX3671" fmla="*/ 2377896 w 6226010"/>
              <a:gd name="connsiteY3671" fmla="*/ 3002937 h 5756219"/>
              <a:gd name="connsiteX3672" fmla="*/ 2345285 w 6226010"/>
              <a:gd name="connsiteY3672" fmla="*/ 3092618 h 5756219"/>
              <a:gd name="connsiteX3673" fmla="*/ 2331697 w 6226010"/>
              <a:gd name="connsiteY3673" fmla="*/ 3092618 h 5756219"/>
              <a:gd name="connsiteX3674" fmla="*/ 2318109 w 6226010"/>
              <a:gd name="connsiteY3674" fmla="*/ 3051854 h 5756219"/>
              <a:gd name="connsiteX3675" fmla="*/ 2320826 w 6226010"/>
              <a:gd name="connsiteY3675" fmla="*/ 3038266 h 5756219"/>
              <a:gd name="connsiteX3676" fmla="*/ 2320826 w 6226010"/>
              <a:gd name="connsiteY3676" fmla="*/ 3032831 h 5756219"/>
              <a:gd name="connsiteX3677" fmla="*/ 2312673 w 6226010"/>
              <a:gd name="connsiteY3677" fmla="*/ 3038266 h 5756219"/>
              <a:gd name="connsiteX3678" fmla="*/ 2318109 w 6226010"/>
              <a:gd name="connsiteY3678" fmla="*/ 3070877 h 5756219"/>
              <a:gd name="connsiteX3679" fmla="*/ 2328979 w 6226010"/>
              <a:gd name="connsiteY3679" fmla="*/ 3103488 h 5756219"/>
              <a:gd name="connsiteX3680" fmla="*/ 2328979 w 6226010"/>
              <a:gd name="connsiteY3680" fmla="*/ 3108923 h 5756219"/>
              <a:gd name="connsiteX3681" fmla="*/ 2339850 w 6226010"/>
              <a:gd name="connsiteY3681" fmla="*/ 3119794 h 5756219"/>
              <a:gd name="connsiteX3682" fmla="*/ 2342567 w 6226010"/>
              <a:gd name="connsiteY3682" fmla="*/ 3144252 h 5756219"/>
              <a:gd name="connsiteX3683" fmla="*/ 2318109 w 6226010"/>
              <a:gd name="connsiteY3683" fmla="*/ 3144252 h 5756219"/>
              <a:gd name="connsiteX3684" fmla="*/ 2315390 w 6226010"/>
              <a:gd name="connsiteY3684" fmla="*/ 3144252 h 5756219"/>
              <a:gd name="connsiteX3685" fmla="*/ 2315390 w 6226010"/>
              <a:gd name="connsiteY3685" fmla="*/ 3127946 h 5756219"/>
              <a:gd name="connsiteX3686" fmla="*/ 2307237 w 6226010"/>
              <a:gd name="connsiteY3686" fmla="*/ 3127946 h 5756219"/>
              <a:gd name="connsiteX3687" fmla="*/ 2301802 w 6226010"/>
              <a:gd name="connsiteY3687" fmla="*/ 3136099 h 5756219"/>
              <a:gd name="connsiteX3688" fmla="*/ 2307237 w 6226010"/>
              <a:gd name="connsiteY3688" fmla="*/ 3144252 h 5756219"/>
              <a:gd name="connsiteX3689" fmla="*/ 2307237 w 6226010"/>
              <a:gd name="connsiteY3689" fmla="*/ 3160558 h 5756219"/>
              <a:gd name="connsiteX3690" fmla="*/ 2318109 w 6226010"/>
              <a:gd name="connsiteY3690" fmla="*/ 3193169 h 5756219"/>
              <a:gd name="connsiteX3691" fmla="*/ 2312673 w 6226010"/>
              <a:gd name="connsiteY3691" fmla="*/ 3231215 h 5756219"/>
              <a:gd name="connsiteX3692" fmla="*/ 2304520 w 6226010"/>
              <a:gd name="connsiteY3692" fmla="*/ 3225780 h 5756219"/>
              <a:gd name="connsiteX3693" fmla="*/ 2288214 w 6226010"/>
              <a:gd name="connsiteY3693" fmla="*/ 3223062 h 5756219"/>
              <a:gd name="connsiteX3694" fmla="*/ 2282779 w 6226010"/>
              <a:gd name="connsiteY3694" fmla="*/ 3217627 h 5756219"/>
              <a:gd name="connsiteX3695" fmla="*/ 2266474 w 6226010"/>
              <a:gd name="connsiteY3695" fmla="*/ 3217627 h 5756219"/>
              <a:gd name="connsiteX3696" fmla="*/ 2261038 w 6226010"/>
              <a:gd name="connsiteY3696" fmla="*/ 3212192 h 5756219"/>
              <a:gd name="connsiteX3697" fmla="*/ 2250168 w 6226010"/>
              <a:gd name="connsiteY3697" fmla="*/ 3209474 h 5756219"/>
              <a:gd name="connsiteX3698" fmla="*/ 2247450 w 6226010"/>
              <a:gd name="connsiteY3698" fmla="*/ 3204039 h 5756219"/>
              <a:gd name="connsiteX3699" fmla="*/ 2241848 w 6226010"/>
              <a:gd name="connsiteY3699" fmla="*/ 3202171 h 5756219"/>
              <a:gd name="connsiteX3700" fmla="*/ 2240997 w 6226010"/>
              <a:gd name="connsiteY3700" fmla="*/ 3207436 h 5756219"/>
              <a:gd name="connsiteX3701" fmla="*/ 2236708 w 6226010"/>
              <a:gd name="connsiteY3701" fmla="*/ 3223486 h 5756219"/>
              <a:gd name="connsiteX3702" fmla="*/ 2234988 w 6226010"/>
              <a:gd name="connsiteY3702" fmla="*/ 3226717 h 5756219"/>
              <a:gd name="connsiteX3703" fmla="*/ 2247450 w 6226010"/>
              <a:gd name="connsiteY3703" fmla="*/ 3228497 h 5756219"/>
              <a:gd name="connsiteX3704" fmla="*/ 2263756 w 6226010"/>
              <a:gd name="connsiteY3704" fmla="*/ 3244803 h 5756219"/>
              <a:gd name="connsiteX3705" fmla="*/ 2269191 w 6226010"/>
              <a:gd name="connsiteY3705" fmla="*/ 3244803 h 5756219"/>
              <a:gd name="connsiteX3706" fmla="*/ 2277344 w 6226010"/>
              <a:gd name="connsiteY3706" fmla="*/ 3252956 h 5756219"/>
              <a:gd name="connsiteX3707" fmla="*/ 2280062 w 6226010"/>
              <a:gd name="connsiteY3707" fmla="*/ 3263826 h 5756219"/>
              <a:gd name="connsiteX3708" fmla="*/ 2288214 w 6226010"/>
              <a:gd name="connsiteY3708" fmla="*/ 3296437 h 5756219"/>
              <a:gd name="connsiteX3709" fmla="*/ 2247450 w 6226010"/>
              <a:gd name="connsiteY3709" fmla="*/ 3282849 h 5756219"/>
              <a:gd name="connsiteX3710" fmla="*/ 2231145 w 6226010"/>
              <a:gd name="connsiteY3710" fmla="*/ 3280132 h 5756219"/>
              <a:gd name="connsiteX3711" fmla="*/ 2231145 w 6226010"/>
              <a:gd name="connsiteY3711" fmla="*/ 3277414 h 5756219"/>
              <a:gd name="connsiteX3712" fmla="*/ 2215179 w 6226010"/>
              <a:gd name="connsiteY3712" fmla="*/ 3271979 h 5756219"/>
              <a:gd name="connsiteX3713" fmla="*/ 2210732 w 6226010"/>
              <a:gd name="connsiteY3713" fmla="*/ 3270243 h 5756219"/>
              <a:gd name="connsiteX3714" fmla="*/ 2209405 w 6226010"/>
              <a:gd name="connsiteY3714" fmla="*/ 3272318 h 5756219"/>
              <a:gd name="connsiteX3715" fmla="*/ 2211421 w 6226010"/>
              <a:gd name="connsiteY3715" fmla="*/ 3280132 h 5756219"/>
              <a:gd name="connsiteX3716" fmla="*/ 2222992 w 6226010"/>
              <a:gd name="connsiteY3716" fmla="*/ 3280132 h 5756219"/>
              <a:gd name="connsiteX3717" fmla="*/ 2225710 w 6226010"/>
              <a:gd name="connsiteY3717" fmla="*/ 3285567 h 5756219"/>
              <a:gd name="connsiteX3718" fmla="*/ 2236580 w 6226010"/>
              <a:gd name="connsiteY3718" fmla="*/ 3285567 h 5756219"/>
              <a:gd name="connsiteX3719" fmla="*/ 2242015 w 6226010"/>
              <a:gd name="connsiteY3719" fmla="*/ 3291002 h 5756219"/>
              <a:gd name="connsiteX3720" fmla="*/ 2258321 w 6226010"/>
              <a:gd name="connsiteY3720" fmla="*/ 3299155 h 5756219"/>
              <a:gd name="connsiteX3721" fmla="*/ 2288214 w 6226010"/>
              <a:gd name="connsiteY3721" fmla="*/ 3310025 h 5756219"/>
              <a:gd name="connsiteX3722" fmla="*/ 2293650 w 6226010"/>
              <a:gd name="connsiteY3722" fmla="*/ 3329048 h 5756219"/>
              <a:gd name="connsiteX3723" fmla="*/ 2304520 w 6226010"/>
              <a:gd name="connsiteY3723" fmla="*/ 3334484 h 5756219"/>
              <a:gd name="connsiteX3724" fmla="*/ 2304520 w 6226010"/>
              <a:gd name="connsiteY3724" fmla="*/ 3337201 h 5756219"/>
              <a:gd name="connsiteX3725" fmla="*/ 2309955 w 6226010"/>
              <a:gd name="connsiteY3725" fmla="*/ 3337201 h 5756219"/>
              <a:gd name="connsiteX3726" fmla="*/ 2312673 w 6226010"/>
              <a:gd name="connsiteY3726" fmla="*/ 3342636 h 5756219"/>
              <a:gd name="connsiteX3727" fmla="*/ 2318109 w 6226010"/>
              <a:gd name="connsiteY3727" fmla="*/ 3345354 h 5756219"/>
              <a:gd name="connsiteX3728" fmla="*/ 2323544 w 6226010"/>
              <a:gd name="connsiteY3728" fmla="*/ 3375247 h 5756219"/>
              <a:gd name="connsiteX3729" fmla="*/ 2307237 w 6226010"/>
              <a:gd name="connsiteY3729" fmla="*/ 3372530 h 5756219"/>
              <a:gd name="connsiteX3730" fmla="*/ 2307237 w 6226010"/>
              <a:gd name="connsiteY3730" fmla="*/ 3369812 h 5756219"/>
              <a:gd name="connsiteX3731" fmla="*/ 2277344 w 6226010"/>
              <a:gd name="connsiteY3731" fmla="*/ 3358942 h 5756219"/>
              <a:gd name="connsiteX3732" fmla="*/ 2277344 w 6226010"/>
              <a:gd name="connsiteY3732" fmla="*/ 3356224 h 5756219"/>
              <a:gd name="connsiteX3733" fmla="*/ 2239298 w 6226010"/>
              <a:gd name="connsiteY3733" fmla="*/ 3337201 h 5756219"/>
              <a:gd name="connsiteX3734" fmla="*/ 2239298 w 6226010"/>
              <a:gd name="connsiteY3734" fmla="*/ 3334484 h 5756219"/>
              <a:gd name="connsiteX3735" fmla="*/ 2210423 w 6226010"/>
              <a:gd name="connsiteY3735" fmla="*/ 3315460 h 5756219"/>
              <a:gd name="connsiteX3736" fmla="*/ 2209404 w 6226010"/>
              <a:gd name="connsiteY3736" fmla="*/ 3314244 h 5756219"/>
              <a:gd name="connsiteX3737" fmla="*/ 2209404 w 6226010"/>
              <a:gd name="connsiteY3737" fmla="*/ 3318178 h 5756219"/>
              <a:gd name="connsiteX3738" fmla="*/ 2206481 w 6226010"/>
              <a:gd name="connsiteY3738" fmla="*/ 3323441 h 5756219"/>
              <a:gd name="connsiteX3739" fmla="*/ 2206686 w 6226010"/>
              <a:gd name="connsiteY3739" fmla="*/ 3323613 h 5756219"/>
              <a:gd name="connsiteX3740" fmla="*/ 2214839 w 6226010"/>
              <a:gd name="connsiteY3740" fmla="*/ 3326331 h 5756219"/>
              <a:gd name="connsiteX3741" fmla="*/ 2247450 w 6226010"/>
              <a:gd name="connsiteY3741" fmla="*/ 3350789 h 5756219"/>
              <a:gd name="connsiteX3742" fmla="*/ 2247450 w 6226010"/>
              <a:gd name="connsiteY3742" fmla="*/ 3353507 h 5756219"/>
              <a:gd name="connsiteX3743" fmla="*/ 2261038 w 6226010"/>
              <a:gd name="connsiteY3743" fmla="*/ 3356224 h 5756219"/>
              <a:gd name="connsiteX3744" fmla="*/ 2261038 w 6226010"/>
              <a:gd name="connsiteY3744" fmla="*/ 3358942 h 5756219"/>
              <a:gd name="connsiteX3745" fmla="*/ 2271909 w 6226010"/>
              <a:gd name="connsiteY3745" fmla="*/ 3361659 h 5756219"/>
              <a:gd name="connsiteX3746" fmla="*/ 2274626 w 6226010"/>
              <a:gd name="connsiteY3746" fmla="*/ 3367095 h 5756219"/>
              <a:gd name="connsiteX3747" fmla="*/ 2285497 w 6226010"/>
              <a:gd name="connsiteY3747" fmla="*/ 3369812 h 5756219"/>
              <a:gd name="connsiteX3748" fmla="*/ 2296367 w 6226010"/>
              <a:gd name="connsiteY3748" fmla="*/ 3375247 h 5756219"/>
              <a:gd name="connsiteX3749" fmla="*/ 2296367 w 6226010"/>
              <a:gd name="connsiteY3749" fmla="*/ 3380683 h 5756219"/>
              <a:gd name="connsiteX3750" fmla="*/ 2337132 w 6226010"/>
              <a:gd name="connsiteY3750" fmla="*/ 3396988 h 5756219"/>
              <a:gd name="connsiteX3751" fmla="*/ 2326262 w 6226010"/>
              <a:gd name="connsiteY3751" fmla="*/ 3418729 h 5756219"/>
              <a:gd name="connsiteX3752" fmla="*/ 2318109 w 6226010"/>
              <a:gd name="connsiteY3752" fmla="*/ 3440469 h 5756219"/>
              <a:gd name="connsiteX3753" fmla="*/ 2304520 w 6226010"/>
              <a:gd name="connsiteY3753" fmla="*/ 3459493 h 5756219"/>
              <a:gd name="connsiteX3754" fmla="*/ 2301802 w 6226010"/>
              <a:gd name="connsiteY3754" fmla="*/ 3459493 h 5756219"/>
              <a:gd name="connsiteX3755" fmla="*/ 2296367 w 6226010"/>
              <a:gd name="connsiteY3755" fmla="*/ 3473081 h 5756219"/>
              <a:gd name="connsiteX3756" fmla="*/ 2274626 w 6226010"/>
              <a:gd name="connsiteY3756" fmla="*/ 3505692 h 5756219"/>
              <a:gd name="connsiteX3757" fmla="*/ 2269191 w 6226010"/>
              <a:gd name="connsiteY3757" fmla="*/ 3519280 h 5756219"/>
              <a:gd name="connsiteX3758" fmla="*/ 2244733 w 6226010"/>
              <a:gd name="connsiteY3758" fmla="*/ 3535585 h 5756219"/>
              <a:gd name="connsiteX3759" fmla="*/ 2233862 w 6226010"/>
              <a:gd name="connsiteY3759" fmla="*/ 3549173 h 5756219"/>
              <a:gd name="connsiteX3760" fmla="*/ 2209404 w 6226010"/>
              <a:gd name="connsiteY3760" fmla="*/ 3565479 h 5756219"/>
              <a:gd name="connsiteX3761" fmla="*/ 2209404 w 6226010"/>
              <a:gd name="connsiteY3761" fmla="*/ 3568196 h 5756219"/>
              <a:gd name="connsiteX3762" fmla="*/ 2187663 w 6226010"/>
              <a:gd name="connsiteY3762" fmla="*/ 3584502 h 5756219"/>
              <a:gd name="connsiteX3763" fmla="*/ 2171358 w 6226010"/>
              <a:gd name="connsiteY3763" fmla="*/ 3587220 h 5756219"/>
              <a:gd name="connsiteX3764" fmla="*/ 2155052 w 6226010"/>
              <a:gd name="connsiteY3764" fmla="*/ 3608960 h 5756219"/>
              <a:gd name="connsiteX3765" fmla="*/ 2108853 w 6226010"/>
              <a:gd name="connsiteY3765" fmla="*/ 3666030 h 5756219"/>
              <a:gd name="connsiteX3766" fmla="*/ 2111571 w 6226010"/>
              <a:gd name="connsiteY3766" fmla="*/ 3668748 h 5756219"/>
              <a:gd name="connsiteX3767" fmla="*/ 2122441 w 6226010"/>
              <a:gd name="connsiteY3767" fmla="*/ 3685053 h 5756219"/>
              <a:gd name="connsiteX3768" fmla="*/ 2127876 w 6226010"/>
              <a:gd name="connsiteY3768" fmla="*/ 3676900 h 5756219"/>
              <a:gd name="connsiteX3769" fmla="*/ 2138747 w 6226010"/>
              <a:gd name="connsiteY3769" fmla="*/ 3668748 h 5756219"/>
              <a:gd name="connsiteX3770" fmla="*/ 2155052 w 6226010"/>
              <a:gd name="connsiteY3770" fmla="*/ 3641572 h 5756219"/>
              <a:gd name="connsiteX3771" fmla="*/ 2157770 w 6226010"/>
              <a:gd name="connsiteY3771" fmla="*/ 3641572 h 5756219"/>
              <a:gd name="connsiteX3772" fmla="*/ 2160487 w 6226010"/>
              <a:gd name="connsiteY3772" fmla="*/ 3627984 h 5756219"/>
              <a:gd name="connsiteX3773" fmla="*/ 2165922 w 6226010"/>
              <a:gd name="connsiteY3773" fmla="*/ 3625266 h 5756219"/>
              <a:gd name="connsiteX3774" fmla="*/ 2165922 w 6226010"/>
              <a:gd name="connsiteY3774" fmla="*/ 3622548 h 5756219"/>
              <a:gd name="connsiteX3775" fmla="*/ 2171358 w 6226010"/>
              <a:gd name="connsiteY3775" fmla="*/ 3622548 h 5756219"/>
              <a:gd name="connsiteX3776" fmla="*/ 2182228 w 6226010"/>
              <a:gd name="connsiteY3776" fmla="*/ 3608960 h 5756219"/>
              <a:gd name="connsiteX3777" fmla="*/ 2190381 w 6226010"/>
              <a:gd name="connsiteY3777" fmla="*/ 3606243 h 5756219"/>
              <a:gd name="connsiteX3778" fmla="*/ 2193098 w 6226010"/>
              <a:gd name="connsiteY3778" fmla="*/ 3600808 h 5756219"/>
              <a:gd name="connsiteX3779" fmla="*/ 2203969 w 6226010"/>
              <a:gd name="connsiteY3779" fmla="*/ 3598090 h 5756219"/>
              <a:gd name="connsiteX3780" fmla="*/ 2206686 w 6226010"/>
              <a:gd name="connsiteY3780" fmla="*/ 3592655 h 5756219"/>
              <a:gd name="connsiteX3781" fmla="*/ 2220274 w 6226010"/>
              <a:gd name="connsiteY3781" fmla="*/ 3584502 h 5756219"/>
              <a:gd name="connsiteX3782" fmla="*/ 2225710 w 6226010"/>
              <a:gd name="connsiteY3782" fmla="*/ 3576349 h 5756219"/>
              <a:gd name="connsiteX3783" fmla="*/ 2255603 w 6226010"/>
              <a:gd name="connsiteY3783" fmla="*/ 3557326 h 5756219"/>
              <a:gd name="connsiteX3784" fmla="*/ 2258321 w 6226010"/>
              <a:gd name="connsiteY3784" fmla="*/ 3557326 h 5756219"/>
              <a:gd name="connsiteX3785" fmla="*/ 2261038 w 6226010"/>
              <a:gd name="connsiteY3785" fmla="*/ 3562761 h 5756219"/>
              <a:gd name="connsiteX3786" fmla="*/ 2280062 w 6226010"/>
              <a:gd name="connsiteY3786" fmla="*/ 3565479 h 5756219"/>
              <a:gd name="connsiteX3787" fmla="*/ 2285497 w 6226010"/>
              <a:gd name="connsiteY3787" fmla="*/ 3570914 h 5756219"/>
              <a:gd name="connsiteX3788" fmla="*/ 2296367 w 6226010"/>
              <a:gd name="connsiteY3788" fmla="*/ 3570914 h 5756219"/>
              <a:gd name="connsiteX3789" fmla="*/ 2299085 w 6226010"/>
              <a:gd name="connsiteY3789" fmla="*/ 3576349 h 5756219"/>
              <a:gd name="connsiteX3790" fmla="*/ 2326262 w 6226010"/>
              <a:gd name="connsiteY3790" fmla="*/ 3576349 h 5756219"/>
              <a:gd name="connsiteX3791" fmla="*/ 2331697 w 6226010"/>
              <a:gd name="connsiteY3791" fmla="*/ 3576349 h 5756219"/>
              <a:gd name="connsiteX3792" fmla="*/ 2328979 w 6226010"/>
              <a:gd name="connsiteY3792" fmla="*/ 3581784 h 5756219"/>
              <a:gd name="connsiteX3793" fmla="*/ 2315390 w 6226010"/>
              <a:gd name="connsiteY3793" fmla="*/ 3600808 h 5756219"/>
              <a:gd name="connsiteX3794" fmla="*/ 2296367 w 6226010"/>
              <a:gd name="connsiteY3794" fmla="*/ 3611678 h 5756219"/>
              <a:gd name="connsiteX3795" fmla="*/ 2285497 w 6226010"/>
              <a:gd name="connsiteY3795" fmla="*/ 3611678 h 5756219"/>
              <a:gd name="connsiteX3796" fmla="*/ 2282779 w 6226010"/>
              <a:gd name="connsiteY3796" fmla="*/ 3617113 h 5756219"/>
              <a:gd name="connsiteX3797" fmla="*/ 2274626 w 6226010"/>
              <a:gd name="connsiteY3797" fmla="*/ 3617113 h 5756219"/>
              <a:gd name="connsiteX3798" fmla="*/ 2269191 w 6226010"/>
              <a:gd name="connsiteY3798" fmla="*/ 3622548 h 5756219"/>
              <a:gd name="connsiteX3799" fmla="*/ 2258321 w 6226010"/>
              <a:gd name="connsiteY3799" fmla="*/ 3625266 h 5756219"/>
              <a:gd name="connsiteX3800" fmla="*/ 2242015 w 6226010"/>
              <a:gd name="connsiteY3800" fmla="*/ 3638854 h 5756219"/>
              <a:gd name="connsiteX3801" fmla="*/ 2217557 w 6226010"/>
              <a:gd name="connsiteY3801" fmla="*/ 3647007 h 5756219"/>
              <a:gd name="connsiteX3802" fmla="*/ 2212122 w 6226010"/>
              <a:gd name="connsiteY3802" fmla="*/ 3652442 h 5756219"/>
              <a:gd name="connsiteX3803" fmla="*/ 2203969 w 6226010"/>
              <a:gd name="connsiteY3803" fmla="*/ 3652442 h 5756219"/>
              <a:gd name="connsiteX3804" fmla="*/ 2201251 w 6226010"/>
              <a:gd name="connsiteY3804" fmla="*/ 3657877 h 5756219"/>
              <a:gd name="connsiteX3805" fmla="*/ 2193098 w 6226010"/>
              <a:gd name="connsiteY3805" fmla="*/ 3657877 h 5756219"/>
              <a:gd name="connsiteX3806" fmla="*/ 2184946 w 6226010"/>
              <a:gd name="connsiteY3806" fmla="*/ 3671465 h 5756219"/>
              <a:gd name="connsiteX3807" fmla="*/ 2179510 w 6226010"/>
              <a:gd name="connsiteY3807" fmla="*/ 3671465 h 5756219"/>
              <a:gd name="connsiteX3808" fmla="*/ 2179510 w 6226010"/>
              <a:gd name="connsiteY3808" fmla="*/ 3676900 h 5756219"/>
              <a:gd name="connsiteX3809" fmla="*/ 2168640 w 6226010"/>
              <a:gd name="connsiteY3809" fmla="*/ 3693206 h 5756219"/>
              <a:gd name="connsiteX3810" fmla="*/ 2163205 w 6226010"/>
              <a:gd name="connsiteY3810" fmla="*/ 3695923 h 5756219"/>
              <a:gd name="connsiteX3811" fmla="*/ 2163205 w 6226010"/>
              <a:gd name="connsiteY3811" fmla="*/ 3701359 h 5756219"/>
              <a:gd name="connsiteX3812" fmla="*/ 2149617 w 6226010"/>
              <a:gd name="connsiteY3812" fmla="*/ 3712229 h 5756219"/>
              <a:gd name="connsiteX3813" fmla="*/ 2149617 w 6226010"/>
              <a:gd name="connsiteY3813" fmla="*/ 3714947 h 5756219"/>
              <a:gd name="connsiteX3814" fmla="*/ 2144182 w 6226010"/>
              <a:gd name="connsiteY3814" fmla="*/ 3714947 h 5756219"/>
              <a:gd name="connsiteX3815" fmla="*/ 2155052 w 6226010"/>
              <a:gd name="connsiteY3815" fmla="*/ 3728534 h 5756219"/>
              <a:gd name="connsiteX3816" fmla="*/ 2165922 w 6226010"/>
              <a:gd name="connsiteY3816" fmla="*/ 3709511 h 5756219"/>
              <a:gd name="connsiteX3817" fmla="*/ 2176793 w 6226010"/>
              <a:gd name="connsiteY3817" fmla="*/ 3701359 h 5756219"/>
              <a:gd name="connsiteX3818" fmla="*/ 2182228 w 6226010"/>
              <a:gd name="connsiteY3818" fmla="*/ 3687771 h 5756219"/>
              <a:gd name="connsiteX3819" fmla="*/ 2187663 w 6226010"/>
              <a:gd name="connsiteY3819" fmla="*/ 3685053 h 5756219"/>
              <a:gd name="connsiteX3820" fmla="*/ 2188549 w 6226010"/>
              <a:gd name="connsiteY3820" fmla="*/ 3683576 h 5756219"/>
              <a:gd name="connsiteX3821" fmla="*/ 2195816 w 6226010"/>
              <a:gd name="connsiteY3821" fmla="*/ 3671465 h 5756219"/>
              <a:gd name="connsiteX3822" fmla="*/ 2203969 w 6226010"/>
              <a:gd name="connsiteY3822" fmla="*/ 3668748 h 5756219"/>
              <a:gd name="connsiteX3823" fmla="*/ 2206686 w 6226010"/>
              <a:gd name="connsiteY3823" fmla="*/ 3663312 h 5756219"/>
              <a:gd name="connsiteX3824" fmla="*/ 2222992 w 6226010"/>
              <a:gd name="connsiteY3824" fmla="*/ 3655160 h 5756219"/>
              <a:gd name="connsiteX3825" fmla="*/ 2225710 w 6226010"/>
              <a:gd name="connsiteY3825" fmla="*/ 3649724 h 5756219"/>
              <a:gd name="connsiteX3826" fmla="*/ 2239298 w 6226010"/>
              <a:gd name="connsiteY3826" fmla="*/ 3647007 h 5756219"/>
              <a:gd name="connsiteX3827" fmla="*/ 2239298 w 6226010"/>
              <a:gd name="connsiteY3827" fmla="*/ 3644289 h 5756219"/>
              <a:gd name="connsiteX3828" fmla="*/ 2250168 w 6226010"/>
              <a:gd name="connsiteY3828" fmla="*/ 3641572 h 5756219"/>
              <a:gd name="connsiteX3829" fmla="*/ 2252886 w 6226010"/>
              <a:gd name="connsiteY3829" fmla="*/ 3636136 h 5756219"/>
              <a:gd name="connsiteX3830" fmla="*/ 2263756 w 6226010"/>
              <a:gd name="connsiteY3830" fmla="*/ 3633419 h 5756219"/>
              <a:gd name="connsiteX3831" fmla="*/ 2266474 w 6226010"/>
              <a:gd name="connsiteY3831" fmla="*/ 3627984 h 5756219"/>
              <a:gd name="connsiteX3832" fmla="*/ 2274626 w 6226010"/>
              <a:gd name="connsiteY3832" fmla="*/ 3627984 h 5756219"/>
              <a:gd name="connsiteX3833" fmla="*/ 2282779 w 6226010"/>
              <a:gd name="connsiteY3833" fmla="*/ 3619831 h 5756219"/>
              <a:gd name="connsiteX3834" fmla="*/ 2296367 w 6226010"/>
              <a:gd name="connsiteY3834" fmla="*/ 3619831 h 5756219"/>
              <a:gd name="connsiteX3835" fmla="*/ 2312673 w 6226010"/>
              <a:gd name="connsiteY3835" fmla="*/ 3611678 h 5756219"/>
              <a:gd name="connsiteX3836" fmla="*/ 2339850 w 6226010"/>
              <a:gd name="connsiteY3836" fmla="*/ 3573632 h 5756219"/>
              <a:gd name="connsiteX3837" fmla="*/ 2353437 w 6226010"/>
              <a:gd name="connsiteY3837" fmla="*/ 3560044 h 5756219"/>
              <a:gd name="connsiteX3838" fmla="*/ 2356154 w 6226010"/>
              <a:gd name="connsiteY3838" fmla="*/ 3559591 h 5756219"/>
              <a:gd name="connsiteX3839" fmla="*/ 2356154 w 6226010"/>
              <a:gd name="connsiteY3839" fmla="*/ 3558684 h 5756219"/>
              <a:gd name="connsiteX3840" fmla="*/ 2356154 w 6226010"/>
              <a:gd name="connsiteY3840" fmla="*/ 3557325 h 5756219"/>
              <a:gd name="connsiteX3841" fmla="*/ 2377895 w 6226010"/>
              <a:gd name="connsiteY3841" fmla="*/ 3527432 h 5756219"/>
              <a:gd name="connsiteX3842" fmla="*/ 2383330 w 6226010"/>
              <a:gd name="connsiteY3842" fmla="*/ 3508409 h 5756219"/>
              <a:gd name="connsiteX3843" fmla="*/ 2402353 w 6226010"/>
              <a:gd name="connsiteY3843" fmla="*/ 3492103 h 5756219"/>
              <a:gd name="connsiteX3844" fmla="*/ 2437682 w 6226010"/>
              <a:gd name="connsiteY3844" fmla="*/ 3429599 h 5756219"/>
              <a:gd name="connsiteX3845" fmla="*/ 2451270 w 6226010"/>
              <a:gd name="connsiteY3845" fmla="*/ 3443187 h 5756219"/>
              <a:gd name="connsiteX3846" fmla="*/ 2451271 w 6226010"/>
              <a:gd name="connsiteY3846" fmla="*/ 3443188 h 5756219"/>
              <a:gd name="connsiteX3847" fmla="*/ 2451271 w 6226010"/>
              <a:gd name="connsiteY3847" fmla="*/ 3443187 h 5756219"/>
              <a:gd name="connsiteX3848" fmla="*/ 2455116 w 6226010"/>
              <a:gd name="connsiteY3848" fmla="*/ 3435498 h 5756219"/>
              <a:gd name="connsiteX3849" fmla="*/ 2450252 w 6226010"/>
              <a:gd name="connsiteY3849" fmla="*/ 3430278 h 5756219"/>
              <a:gd name="connsiteX3850" fmla="*/ 2440401 w 6226010"/>
              <a:gd name="connsiteY3850" fmla="*/ 3421446 h 5756219"/>
              <a:gd name="connsiteX3851" fmla="*/ 2445836 w 6226010"/>
              <a:gd name="connsiteY3851" fmla="*/ 3402423 h 5756219"/>
              <a:gd name="connsiteX3852" fmla="*/ 2445836 w 6226010"/>
              <a:gd name="connsiteY3852" fmla="*/ 3386117 h 5756219"/>
              <a:gd name="connsiteX3853" fmla="*/ 2448553 w 6226010"/>
              <a:gd name="connsiteY3853" fmla="*/ 3369812 h 5756219"/>
              <a:gd name="connsiteX3854" fmla="*/ 2459424 w 6226010"/>
              <a:gd name="connsiteY3854" fmla="*/ 3361659 h 5756219"/>
              <a:gd name="connsiteX3855" fmla="*/ 2461956 w 6226010"/>
              <a:gd name="connsiteY3855" fmla="*/ 3361659 h 5756219"/>
              <a:gd name="connsiteX3856" fmla="*/ 2462141 w 6226010"/>
              <a:gd name="connsiteY3856" fmla="*/ 3358942 h 5756219"/>
              <a:gd name="connsiteX3857" fmla="*/ 2468935 w 6226010"/>
              <a:gd name="connsiteY3857" fmla="*/ 3349430 h 5756219"/>
              <a:gd name="connsiteX3858" fmla="*/ 2473331 w 6226010"/>
              <a:gd name="connsiteY3858" fmla="*/ 3343276 h 5756219"/>
              <a:gd name="connsiteX3859" fmla="*/ 2473012 w 6226010"/>
              <a:gd name="connsiteY3859" fmla="*/ 3342636 h 5756219"/>
              <a:gd name="connsiteX3860" fmla="*/ 2479126 w 6226010"/>
              <a:gd name="connsiteY3860" fmla="*/ 3329728 h 5756219"/>
              <a:gd name="connsiteX3861" fmla="*/ 2481165 w 6226010"/>
              <a:gd name="connsiteY3861" fmla="*/ 3323613 h 5756219"/>
              <a:gd name="connsiteX3862" fmla="*/ 2486600 w 6226010"/>
              <a:gd name="connsiteY3862" fmla="*/ 3318178 h 5756219"/>
              <a:gd name="connsiteX3863" fmla="*/ 2483542 w 6226010"/>
              <a:gd name="connsiteY3863" fmla="*/ 3296437 h 5756219"/>
              <a:gd name="connsiteX3864" fmla="*/ 2483357 w 6226010"/>
              <a:gd name="connsiteY3864" fmla="*/ 3294639 h 5756219"/>
              <a:gd name="connsiteX3865" fmla="*/ 2478447 w 6226010"/>
              <a:gd name="connsiteY3865" fmla="*/ 3303231 h 5756219"/>
              <a:gd name="connsiteX3866" fmla="*/ 2473012 w 6226010"/>
              <a:gd name="connsiteY3866" fmla="*/ 3312743 h 5756219"/>
              <a:gd name="connsiteX3867" fmla="*/ 2467577 w 6226010"/>
              <a:gd name="connsiteY3867" fmla="*/ 3315460 h 5756219"/>
              <a:gd name="connsiteX3868" fmla="*/ 2459424 w 6226010"/>
              <a:gd name="connsiteY3868" fmla="*/ 3329048 h 5756219"/>
              <a:gd name="connsiteX3869" fmla="*/ 2437683 w 6226010"/>
              <a:gd name="connsiteY3869" fmla="*/ 3329048 h 5756219"/>
              <a:gd name="connsiteX3870" fmla="*/ 2426813 w 6226010"/>
              <a:gd name="connsiteY3870" fmla="*/ 3320896 h 5756219"/>
              <a:gd name="connsiteX3871" fmla="*/ 2424095 w 6226010"/>
              <a:gd name="connsiteY3871" fmla="*/ 3307308 h 5756219"/>
              <a:gd name="connsiteX3872" fmla="*/ 2418660 w 6226010"/>
              <a:gd name="connsiteY3872" fmla="*/ 3299155 h 5756219"/>
              <a:gd name="connsiteX3873" fmla="*/ 2418660 w 6226010"/>
              <a:gd name="connsiteY3873" fmla="*/ 3282849 h 5756219"/>
              <a:gd name="connsiteX3874" fmla="*/ 2437683 w 6226010"/>
              <a:gd name="connsiteY3874" fmla="*/ 3258391 h 5756219"/>
              <a:gd name="connsiteX3875" fmla="*/ 2442778 w 6226010"/>
              <a:gd name="connsiteY3875" fmla="*/ 3239707 h 5756219"/>
              <a:gd name="connsiteX3876" fmla="*/ 2444772 w 6226010"/>
              <a:gd name="connsiteY3876" fmla="*/ 3228852 h 5756219"/>
              <a:gd name="connsiteX3877" fmla="*/ 2440400 w 6226010"/>
              <a:gd name="connsiteY3877" fmla="*/ 3226119 h 5756219"/>
              <a:gd name="connsiteX3878" fmla="*/ 2432248 w 6226010"/>
              <a:gd name="connsiteY3878" fmla="*/ 3223062 h 5756219"/>
              <a:gd name="connsiteX3879" fmla="*/ 2426813 w 6226010"/>
              <a:gd name="connsiteY3879" fmla="*/ 3217627 h 5756219"/>
              <a:gd name="connsiteX3880" fmla="*/ 2424722 w 6226010"/>
              <a:gd name="connsiteY3880" fmla="*/ 3217627 h 5756219"/>
              <a:gd name="connsiteX3881" fmla="*/ 2424095 w 6226010"/>
              <a:gd name="connsiteY3881" fmla="*/ 3236650 h 5756219"/>
              <a:gd name="connsiteX3882" fmla="*/ 2426813 w 6226010"/>
              <a:gd name="connsiteY3882" fmla="*/ 3247520 h 5756219"/>
              <a:gd name="connsiteX3883" fmla="*/ 2421377 w 6226010"/>
              <a:gd name="connsiteY3883" fmla="*/ 3250238 h 5756219"/>
              <a:gd name="connsiteX3884" fmla="*/ 2405072 w 6226010"/>
              <a:gd name="connsiteY3884" fmla="*/ 3271978 h 5756219"/>
              <a:gd name="connsiteX3885" fmla="*/ 2407789 w 6226010"/>
              <a:gd name="connsiteY3885" fmla="*/ 3304589 h 5756219"/>
              <a:gd name="connsiteX3886" fmla="*/ 2386049 w 6226010"/>
              <a:gd name="connsiteY3886" fmla="*/ 3304589 h 5756219"/>
              <a:gd name="connsiteX3887" fmla="*/ 2396919 w 6226010"/>
              <a:gd name="connsiteY3887" fmla="*/ 3250238 h 5756219"/>
              <a:gd name="connsiteX3888" fmla="*/ 2399976 w 6226010"/>
              <a:gd name="connsiteY3888" fmla="*/ 3222043 h 5756219"/>
              <a:gd name="connsiteX3889" fmla="*/ 2397922 w 6226010"/>
              <a:gd name="connsiteY3889" fmla="*/ 3204467 h 5756219"/>
              <a:gd name="connsiteX3890" fmla="*/ 2391484 w 6226010"/>
              <a:gd name="connsiteY3890" fmla="*/ 3209474 h 5756219"/>
              <a:gd name="connsiteX3891" fmla="*/ 2386497 w 6226010"/>
              <a:gd name="connsiteY3891" fmla="*/ 3209474 h 5756219"/>
              <a:gd name="connsiteX3892" fmla="*/ 2387068 w 6226010"/>
              <a:gd name="connsiteY3892" fmla="*/ 3214909 h 5756219"/>
              <a:gd name="connsiteX3893" fmla="*/ 2380614 w 6226010"/>
              <a:gd name="connsiteY3893" fmla="*/ 3261108 h 5756219"/>
              <a:gd name="connsiteX3894" fmla="*/ 2377896 w 6226010"/>
              <a:gd name="connsiteY3894" fmla="*/ 3263825 h 5756219"/>
              <a:gd name="connsiteX3895" fmla="*/ 2375179 w 6226010"/>
              <a:gd name="connsiteY3895" fmla="*/ 3263825 h 5756219"/>
              <a:gd name="connsiteX3896" fmla="*/ 2364308 w 6226010"/>
              <a:gd name="connsiteY3896" fmla="*/ 3242085 h 5756219"/>
              <a:gd name="connsiteX3897" fmla="*/ 2364308 w 6226010"/>
              <a:gd name="connsiteY3897" fmla="*/ 3179580 h 5756219"/>
              <a:gd name="connsiteX3898" fmla="*/ 2358873 w 6226010"/>
              <a:gd name="connsiteY3898" fmla="*/ 3176863 h 5756219"/>
              <a:gd name="connsiteX3899" fmla="*/ 2358873 w 6226010"/>
              <a:gd name="connsiteY3899" fmla="*/ 3171427 h 5756219"/>
              <a:gd name="connsiteX3900" fmla="*/ 2353438 w 6226010"/>
              <a:gd name="connsiteY3900" fmla="*/ 3163275 h 5756219"/>
              <a:gd name="connsiteX3901" fmla="*/ 2364308 w 6226010"/>
              <a:gd name="connsiteY3901" fmla="*/ 3155122 h 5756219"/>
              <a:gd name="connsiteX3902" fmla="*/ 2372800 w 6226010"/>
              <a:gd name="connsiteY3902" fmla="*/ 3157839 h 5756219"/>
              <a:gd name="connsiteX3903" fmla="*/ 2379427 w 6226010"/>
              <a:gd name="connsiteY3903" fmla="*/ 3159550 h 5756219"/>
              <a:gd name="connsiteX3904" fmla="*/ 2375178 w 6226010"/>
              <a:gd name="connsiteY3904" fmla="*/ 3144252 h 5756219"/>
              <a:gd name="connsiteX3905" fmla="*/ 2388766 w 6226010"/>
              <a:gd name="connsiteY3905" fmla="*/ 3087182 h 5756219"/>
              <a:gd name="connsiteX3906" fmla="*/ 2424095 w 6226010"/>
              <a:gd name="connsiteY3906" fmla="*/ 3062724 h 5756219"/>
              <a:gd name="connsiteX3907" fmla="*/ 2429530 w 6226010"/>
              <a:gd name="connsiteY3907" fmla="*/ 3054571 h 5756219"/>
              <a:gd name="connsiteX3908" fmla="*/ 2443118 w 6226010"/>
              <a:gd name="connsiteY3908" fmla="*/ 3043701 h 5756219"/>
              <a:gd name="connsiteX3909" fmla="*/ 2453989 w 6226010"/>
              <a:gd name="connsiteY3909" fmla="*/ 3027395 h 5756219"/>
              <a:gd name="connsiteX3910" fmla="*/ 2453989 w 6226010"/>
              <a:gd name="connsiteY3910" fmla="*/ 3021960 h 5756219"/>
              <a:gd name="connsiteX3911" fmla="*/ 2453989 w 6226010"/>
              <a:gd name="connsiteY3911" fmla="*/ 3019243 h 5756219"/>
              <a:gd name="connsiteX3912" fmla="*/ 2445836 w 6226010"/>
              <a:gd name="connsiteY3912" fmla="*/ 3019243 h 5756219"/>
              <a:gd name="connsiteX3913" fmla="*/ 2396919 w 6226010"/>
              <a:gd name="connsiteY3913" fmla="*/ 3070877 h 5756219"/>
              <a:gd name="connsiteX3914" fmla="*/ 2394201 w 6226010"/>
              <a:gd name="connsiteY3914" fmla="*/ 3070877 h 5756219"/>
              <a:gd name="connsiteX3915" fmla="*/ 2402354 w 6226010"/>
              <a:gd name="connsiteY3915" fmla="*/ 3021960 h 5756219"/>
              <a:gd name="connsiteX3916" fmla="*/ 2399637 w 6226010"/>
              <a:gd name="connsiteY3916" fmla="*/ 3019243 h 5756219"/>
              <a:gd name="connsiteX3917" fmla="*/ 2394201 w 6226010"/>
              <a:gd name="connsiteY3917" fmla="*/ 3019243 h 5756219"/>
              <a:gd name="connsiteX3918" fmla="*/ 2386049 w 6226010"/>
              <a:gd name="connsiteY3918" fmla="*/ 3057289 h 5756219"/>
              <a:gd name="connsiteX3919" fmla="*/ 2386049 w 6226010"/>
              <a:gd name="connsiteY3919" fmla="*/ 3073594 h 5756219"/>
              <a:gd name="connsiteX3920" fmla="*/ 2372461 w 6226010"/>
              <a:gd name="connsiteY3920" fmla="*/ 3095335 h 5756219"/>
              <a:gd name="connsiteX3921" fmla="*/ 2372461 w 6226010"/>
              <a:gd name="connsiteY3921" fmla="*/ 3125229 h 5756219"/>
              <a:gd name="connsiteX3922" fmla="*/ 2364308 w 6226010"/>
              <a:gd name="connsiteY3922" fmla="*/ 3155122 h 5756219"/>
              <a:gd name="connsiteX3923" fmla="*/ 2348002 w 6226010"/>
              <a:gd name="connsiteY3923" fmla="*/ 3149687 h 5756219"/>
              <a:gd name="connsiteX3924" fmla="*/ 2348002 w 6226010"/>
              <a:gd name="connsiteY3924" fmla="*/ 3119794 h 5756219"/>
              <a:gd name="connsiteX3925" fmla="*/ 2361590 w 6226010"/>
              <a:gd name="connsiteY3925" fmla="*/ 3073594 h 5756219"/>
              <a:gd name="connsiteX3926" fmla="*/ 2377896 w 6226010"/>
              <a:gd name="connsiteY3926" fmla="*/ 3027395 h 5756219"/>
              <a:gd name="connsiteX3927" fmla="*/ 2377896 w 6226010"/>
              <a:gd name="connsiteY3927" fmla="*/ 3019243 h 5756219"/>
              <a:gd name="connsiteX3928" fmla="*/ 2386049 w 6226010"/>
              <a:gd name="connsiteY3928" fmla="*/ 2997502 h 5756219"/>
              <a:gd name="connsiteX3929" fmla="*/ 2383331 w 6226010"/>
              <a:gd name="connsiteY3929" fmla="*/ 2989349 h 5756219"/>
              <a:gd name="connsiteX3930" fmla="*/ 2456706 w 6226010"/>
              <a:gd name="connsiteY3930" fmla="*/ 2937715 h 5756219"/>
              <a:gd name="connsiteX3931" fmla="*/ 2456706 w 6226010"/>
              <a:gd name="connsiteY3931" fmla="*/ 2932280 h 5756219"/>
              <a:gd name="connsiteX3932" fmla="*/ 2451271 w 6226010"/>
              <a:gd name="connsiteY3932" fmla="*/ 2932280 h 5756219"/>
              <a:gd name="connsiteX3933" fmla="*/ 649505 w 6226010"/>
              <a:gd name="connsiteY3933" fmla="*/ 2929562 h 5756219"/>
              <a:gd name="connsiteX3934" fmla="*/ 611458 w 6226010"/>
              <a:gd name="connsiteY3934" fmla="*/ 2943150 h 5756219"/>
              <a:gd name="connsiteX3935" fmla="*/ 608741 w 6226010"/>
              <a:gd name="connsiteY3935" fmla="*/ 3021960 h 5756219"/>
              <a:gd name="connsiteX3936" fmla="*/ 578847 w 6226010"/>
              <a:gd name="connsiteY3936" fmla="*/ 3005655 h 5756219"/>
              <a:gd name="connsiteX3937" fmla="*/ 660375 w 6226010"/>
              <a:gd name="connsiteY3937" fmla="*/ 3032831 h 5756219"/>
              <a:gd name="connsiteX3938" fmla="*/ 630482 w 6226010"/>
              <a:gd name="connsiteY3938" fmla="*/ 3000219 h 5756219"/>
              <a:gd name="connsiteX3939" fmla="*/ 668528 w 6226010"/>
              <a:gd name="connsiteY3939" fmla="*/ 2951303 h 5756219"/>
              <a:gd name="connsiteX3940" fmla="*/ 649505 w 6226010"/>
              <a:gd name="connsiteY3940" fmla="*/ 2929562 h 5756219"/>
              <a:gd name="connsiteX3941" fmla="*/ 2100700 w 6226010"/>
              <a:gd name="connsiteY3941" fmla="*/ 2921409 h 5756219"/>
              <a:gd name="connsiteX3942" fmla="*/ 2119723 w 6226010"/>
              <a:gd name="connsiteY3942" fmla="*/ 2921409 h 5756219"/>
              <a:gd name="connsiteX3943" fmla="*/ 2117006 w 6226010"/>
              <a:gd name="connsiteY3943" fmla="*/ 2964890 h 5756219"/>
              <a:gd name="connsiteX3944" fmla="*/ 2122441 w 6226010"/>
              <a:gd name="connsiteY3944" fmla="*/ 2986631 h 5756219"/>
              <a:gd name="connsiteX3945" fmla="*/ 2117006 w 6226010"/>
              <a:gd name="connsiteY3945" fmla="*/ 2997501 h 5756219"/>
              <a:gd name="connsiteX3946" fmla="*/ 2111570 w 6226010"/>
              <a:gd name="connsiteY3946" fmla="*/ 2997501 h 5756219"/>
              <a:gd name="connsiteX3947" fmla="*/ 2103418 w 6226010"/>
              <a:gd name="connsiteY3947" fmla="*/ 2943150 h 5756219"/>
              <a:gd name="connsiteX3948" fmla="*/ 2097982 w 6226010"/>
              <a:gd name="connsiteY3948" fmla="*/ 2945867 h 5756219"/>
              <a:gd name="connsiteX3949" fmla="*/ 2103418 w 6226010"/>
              <a:gd name="connsiteY3949" fmla="*/ 2975761 h 5756219"/>
              <a:gd name="connsiteX3950" fmla="*/ 2103418 w 6226010"/>
              <a:gd name="connsiteY3950" fmla="*/ 2981196 h 5756219"/>
              <a:gd name="connsiteX3951" fmla="*/ 2097982 w 6226010"/>
              <a:gd name="connsiteY3951" fmla="*/ 3027395 h 5756219"/>
              <a:gd name="connsiteX3952" fmla="*/ 2089830 w 6226010"/>
              <a:gd name="connsiteY3952" fmla="*/ 3021960 h 5756219"/>
              <a:gd name="connsiteX3953" fmla="*/ 2084394 w 6226010"/>
              <a:gd name="connsiteY3953" fmla="*/ 3008372 h 5756219"/>
              <a:gd name="connsiteX3954" fmla="*/ 2076242 w 6226010"/>
              <a:gd name="connsiteY3954" fmla="*/ 3005654 h 5756219"/>
              <a:gd name="connsiteX3955" fmla="*/ 2076242 w 6226010"/>
              <a:gd name="connsiteY3955" fmla="*/ 3000219 h 5756219"/>
              <a:gd name="connsiteX3956" fmla="*/ 2073524 w 6226010"/>
              <a:gd name="connsiteY3956" fmla="*/ 3000219 h 5756219"/>
              <a:gd name="connsiteX3957" fmla="*/ 2073524 w 6226010"/>
              <a:gd name="connsiteY3957" fmla="*/ 2992066 h 5756219"/>
              <a:gd name="connsiteX3958" fmla="*/ 2062654 w 6226010"/>
              <a:gd name="connsiteY3958" fmla="*/ 2981196 h 5756219"/>
              <a:gd name="connsiteX3959" fmla="*/ 2049066 w 6226010"/>
              <a:gd name="connsiteY3959" fmla="*/ 2959455 h 5756219"/>
              <a:gd name="connsiteX3960" fmla="*/ 2049066 w 6226010"/>
              <a:gd name="connsiteY3960" fmla="*/ 2954020 h 5756219"/>
              <a:gd name="connsiteX3961" fmla="*/ 2073524 w 6226010"/>
              <a:gd name="connsiteY3961" fmla="*/ 2943150 h 5756219"/>
              <a:gd name="connsiteX3962" fmla="*/ 2073524 w 6226010"/>
              <a:gd name="connsiteY3962" fmla="*/ 2937714 h 5756219"/>
              <a:gd name="connsiteX3963" fmla="*/ 2089830 w 6226010"/>
              <a:gd name="connsiteY3963" fmla="*/ 2934997 h 5756219"/>
              <a:gd name="connsiteX3964" fmla="*/ 2100700 w 6226010"/>
              <a:gd name="connsiteY3964" fmla="*/ 2921409 h 5756219"/>
              <a:gd name="connsiteX3965" fmla="*/ 5405296 w 6226010"/>
              <a:gd name="connsiteY3965" fmla="*/ 2918692 h 5756219"/>
              <a:gd name="connsiteX3966" fmla="*/ 5418884 w 6226010"/>
              <a:gd name="connsiteY3966" fmla="*/ 2964891 h 5756219"/>
              <a:gd name="connsiteX3967" fmla="*/ 5405296 w 6226010"/>
              <a:gd name="connsiteY3967" fmla="*/ 2918692 h 5756219"/>
              <a:gd name="connsiteX3968" fmla="*/ 1842529 w 6226010"/>
              <a:gd name="connsiteY3968" fmla="*/ 2915974 h 5756219"/>
              <a:gd name="connsiteX3969" fmla="*/ 1834376 w 6226010"/>
              <a:gd name="connsiteY3969" fmla="*/ 3002937 h 5756219"/>
              <a:gd name="connsiteX3970" fmla="*/ 1823506 w 6226010"/>
              <a:gd name="connsiteY3970" fmla="*/ 3024678 h 5756219"/>
              <a:gd name="connsiteX3971" fmla="*/ 1815897 w 6226010"/>
              <a:gd name="connsiteY3971" fmla="*/ 3042068 h 5756219"/>
              <a:gd name="connsiteX3972" fmla="*/ 1816373 w 6226010"/>
              <a:gd name="connsiteY3972" fmla="*/ 3047777 h 5756219"/>
              <a:gd name="connsiteX3973" fmla="*/ 1815354 w 6226010"/>
              <a:gd name="connsiteY3973" fmla="*/ 3060007 h 5756219"/>
              <a:gd name="connsiteX3974" fmla="*/ 1814477 w 6226010"/>
              <a:gd name="connsiteY3974" fmla="*/ 3077537 h 5756219"/>
              <a:gd name="connsiteX3975" fmla="*/ 1815353 w 6226010"/>
              <a:gd name="connsiteY3975" fmla="*/ 3076312 h 5756219"/>
              <a:gd name="connsiteX3976" fmla="*/ 1826223 w 6226010"/>
              <a:gd name="connsiteY3976" fmla="*/ 3043701 h 5756219"/>
              <a:gd name="connsiteX3977" fmla="*/ 1828941 w 6226010"/>
              <a:gd name="connsiteY3977" fmla="*/ 3040983 h 5756219"/>
              <a:gd name="connsiteX3978" fmla="*/ 1834376 w 6226010"/>
              <a:gd name="connsiteY3978" fmla="*/ 3021960 h 5756219"/>
              <a:gd name="connsiteX3979" fmla="*/ 1842529 w 6226010"/>
              <a:gd name="connsiteY3979" fmla="*/ 3008372 h 5756219"/>
              <a:gd name="connsiteX3980" fmla="*/ 1839811 w 6226010"/>
              <a:gd name="connsiteY3980" fmla="*/ 2989349 h 5756219"/>
              <a:gd name="connsiteX3981" fmla="*/ 1845246 w 6226010"/>
              <a:gd name="connsiteY3981" fmla="*/ 2926845 h 5756219"/>
              <a:gd name="connsiteX3982" fmla="*/ 1842529 w 6226010"/>
              <a:gd name="connsiteY3982" fmla="*/ 2915974 h 5756219"/>
              <a:gd name="connsiteX3983" fmla="*/ 4407939 w 6226010"/>
              <a:gd name="connsiteY3983" fmla="*/ 2907821 h 5756219"/>
              <a:gd name="connsiteX3984" fmla="*/ 4391633 w 6226010"/>
              <a:gd name="connsiteY3984" fmla="*/ 2924127 h 5756219"/>
              <a:gd name="connsiteX3985" fmla="*/ 4407939 w 6226010"/>
              <a:gd name="connsiteY3985" fmla="*/ 2932280 h 5756219"/>
              <a:gd name="connsiteX3986" fmla="*/ 4418809 w 6226010"/>
              <a:gd name="connsiteY3986" fmla="*/ 2924127 h 5756219"/>
              <a:gd name="connsiteX3987" fmla="*/ 983769 w 6226010"/>
              <a:gd name="connsiteY3987" fmla="*/ 2899669 h 5756219"/>
              <a:gd name="connsiteX3988" fmla="*/ 991922 w 6226010"/>
              <a:gd name="connsiteY3988" fmla="*/ 2905104 h 5756219"/>
              <a:gd name="connsiteX3989" fmla="*/ 991922 w 6226010"/>
              <a:gd name="connsiteY3989" fmla="*/ 2899669 h 5756219"/>
              <a:gd name="connsiteX3990" fmla="*/ 983769 w 6226010"/>
              <a:gd name="connsiteY3990" fmla="*/ 2899669 h 5756219"/>
              <a:gd name="connsiteX3991" fmla="*/ 505472 w 6226010"/>
              <a:gd name="connsiteY3991" fmla="*/ 2899669 h 5756219"/>
              <a:gd name="connsiteX3992" fmla="*/ 472861 w 6226010"/>
              <a:gd name="connsiteY3992" fmla="*/ 2915974 h 5756219"/>
              <a:gd name="connsiteX3993" fmla="*/ 527213 w 6226010"/>
              <a:gd name="connsiteY3993" fmla="*/ 2943150 h 5756219"/>
              <a:gd name="connsiteX3994" fmla="*/ 505472 w 6226010"/>
              <a:gd name="connsiteY3994" fmla="*/ 2899669 h 5756219"/>
              <a:gd name="connsiteX3995" fmla="*/ 845172 w 6226010"/>
              <a:gd name="connsiteY3995" fmla="*/ 2869775 h 5756219"/>
              <a:gd name="connsiteX3996" fmla="*/ 796255 w 6226010"/>
              <a:gd name="connsiteY3996" fmla="*/ 2902386 h 5756219"/>
              <a:gd name="connsiteX3997" fmla="*/ 837019 w 6226010"/>
              <a:gd name="connsiteY3997" fmla="*/ 2983914 h 5756219"/>
              <a:gd name="connsiteX3998" fmla="*/ 823431 w 6226010"/>
              <a:gd name="connsiteY3998" fmla="*/ 2951303 h 5756219"/>
              <a:gd name="connsiteX3999" fmla="*/ 779949 w 6226010"/>
              <a:gd name="connsiteY3999" fmla="*/ 3032831 h 5756219"/>
              <a:gd name="connsiteX4000" fmla="*/ 837019 w 6226010"/>
              <a:gd name="connsiteY4000" fmla="*/ 3030113 h 5756219"/>
              <a:gd name="connsiteX4001" fmla="*/ 839736 w 6226010"/>
              <a:gd name="connsiteY4001" fmla="*/ 3070877 h 5756219"/>
              <a:gd name="connsiteX4002" fmla="*/ 796255 w 6226010"/>
              <a:gd name="connsiteY4002" fmla="*/ 3051854 h 5756219"/>
              <a:gd name="connsiteX4003" fmla="*/ 866912 w 6226010"/>
              <a:gd name="connsiteY4003" fmla="*/ 3054571 h 5756219"/>
              <a:gd name="connsiteX4004" fmla="*/ 907676 w 6226010"/>
              <a:gd name="connsiteY4004" fmla="*/ 3046418 h 5756219"/>
              <a:gd name="connsiteX4005" fmla="*/ 907676 w 6226010"/>
              <a:gd name="connsiteY4005" fmla="*/ 3013807 h 5756219"/>
              <a:gd name="connsiteX4006" fmla="*/ 875065 w 6226010"/>
              <a:gd name="connsiteY4006" fmla="*/ 3019243 h 5756219"/>
              <a:gd name="connsiteX4007" fmla="*/ 869630 w 6226010"/>
              <a:gd name="connsiteY4007" fmla="*/ 2986632 h 5756219"/>
              <a:gd name="connsiteX4008" fmla="*/ 891371 w 6226010"/>
              <a:gd name="connsiteY4008" fmla="*/ 2970326 h 5756219"/>
              <a:gd name="connsiteX4009" fmla="*/ 885935 w 6226010"/>
              <a:gd name="connsiteY4009" fmla="*/ 2937715 h 5756219"/>
              <a:gd name="connsiteX4010" fmla="*/ 845172 w 6226010"/>
              <a:gd name="connsiteY4010" fmla="*/ 2869775 h 5756219"/>
              <a:gd name="connsiteX4011" fmla="*/ 747338 w 6226010"/>
              <a:gd name="connsiteY4011" fmla="*/ 2867058 h 5756219"/>
              <a:gd name="connsiteX4012" fmla="*/ 725597 w 6226010"/>
              <a:gd name="connsiteY4012" fmla="*/ 2924127 h 5756219"/>
              <a:gd name="connsiteX4013" fmla="*/ 763644 w 6226010"/>
              <a:gd name="connsiteY4013" fmla="*/ 2905104 h 5756219"/>
              <a:gd name="connsiteX4014" fmla="*/ 747338 w 6226010"/>
              <a:gd name="connsiteY4014" fmla="*/ 2867058 h 5756219"/>
              <a:gd name="connsiteX4015" fmla="*/ 4312823 w 6226010"/>
              <a:gd name="connsiteY4015" fmla="*/ 2864340 h 5756219"/>
              <a:gd name="connsiteX4016" fmla="*/ 4304669 w 6226010"/>
              <a:gd name="connsiteY4016" fmla="*/ 2894233 h 5756219"/>
              <a:gd name="connsiteX4017" fmla="*/ 4318257 w 6226010"/>
              <a:gd name="connsiteY4017" fmla="*/ 2894233 h 5756219"/>
              <a:gd name="connsiteX4018" fmla="*/ 4318257 w 6226010"/>
              <a:gd name="connsiteY4018" fmla="*/ 2864340 h 5756219"/>
              <a:gd name="connsiteX4019" fmla="*/ 4331845 w 6226010"/>
              <a:gd name="connsiteY4019" fmla="*/ 2856187 h 5756219"/>
              <a:gd name="connsiteX4020" fmla="*/ 4348151 w 6226010"/>
              <a:gd name="connsiteY4020" fmla="*/ 2872493 h 5756219"/>
              <a:gd name="connsiteX4021" fmla="*/ 4356305 w 6226010"/>
              <a:gd name="connsiteY4021" fmla="*/ 2856187 h 5756219"/>
              <a:gd name="connsiteX4022" fmla="*/ 2231145 w 6226010"/>
              <a:gd name="connsiteY4022" fmla="*/ 2829011 h 5756219"/>
              <a:gd name="connsiteX4023" fmla="*/ 2220274 w 6226010"/>
              <a:gd name="connsiteY4023" fmla="*/ 2845317 h 5756219"/>
              <a:gd name="connsiteX4024" fmla="*/ 2190381 w 6226010"/>
              <a:gd name="connsiteY4024" fmla="*/ 2877929 h 5756219"/>
              <a:gd name="connsiteX4025" fmla="*/ 2176793 w 6226010"/>
              <a:gd name="connsiteY4025" fmla="*/ 2877929 h 5756219"/>
              <a:gd name="connsiteX4026" fmla="*/ 2171358 w 6226010"/>
              <a:gd name="connsiteY4026" fmla="*/ 2839881 h 5756219"/>
              <a:gd name="connsiteX4027" fmla="*/ 2168640 w 6226010"/>
              <a:gd name="connsiteY4027" fmla="*/ 2839881 h 5756219"/>
              <a:gd name="connsiteX4028" fmla="*/ 2163205 w 6226010"/>
              <a:gd name="connsiteY4028" fmla="*/ 2839881 h 5756219"/>
              <a:gd name="connsiteX4029" fmla="*/ 2165922 w 6226010"/>
              <a:gd name="connsiteY4029" fmla="*/ 2864340 h 5756219"/>
              <a:gd name="connsiteX4030" fmla="*/ 2168640 w 6226010"/>
              <a:gd name="connsiteY4030" fmla="*/ 2894233 h 5756219"/>
              <a:gd name="connsiteX4031" fmla="*/ 2175094 w 6226010"/>
              <a:gd name="connsiteY4031" fmla="*/ 2904085 h 5756219"/>
              <a:gd name="connsiteX4032" fmla="*/ 2178501 w 6226010"/>
              <a:gd name="connsiteY4032" fmla="*/ 2913257 h 5756219"/>
              <a:gd name="connsiteX4033" fmla="*/ 2182228 w 6226010"/>
              <a:gd name="connsiteY4033" fmla="*/ 2913257 h 5756219"/>
              <a:gd name="connsiteX4034" fmla="*/ 2182228 w 6226010"/>
              <a:gd name="connsiteY4034" fmla="*/ 2926845 h 5756219"/>
              <a:gd name="connsiteX4035" fmla="*/ 2187664 w 6226010"/>
              <a:gd name="connsiteY4035" fmla="*/ 2934363 h 5756219"/>
              <a:gd name="connsiteX4036" fmla="*/ 2187664 w 6226010"/>
              <a:gd name="connsiteY4036" fmla="*/ 2924127 h 5756219"/>
              <a:gd name="connsiteX4037" fmla="*/ 2209405 w 6226010"/>
              <a:gd name="connsiteY4037" fmla="*/ 2929562 h 5756219"/>
              <a:gd name="connsiteX4038" fmla="*/ 2228428 w 6226010"/>
              <a:gd name="connsiteY4038" fmla="*/ 2929562 h 5756219"/>
              <a:gd name="connsiteX4039" fmla="*/ 2230680 w 6226010"/>
              <a:gd name="connsiteY4039" fmla="*/ 2940985 h 5756219"/>
              <a:gd name="connsiteX4040" fmla="*/ 2250168 w 6226010"/>
              <a:gd name="connsiteY4040" fmla="*/ 2943150 h 5756219"/>
              <a:gd name="connsiteX4041" fmla="*/ 2252886 w 6226010"/>
              <a:gd name="connsiteY4041" fmla="*/ 2948585 h 5756219"/>
              <a:gd name="connsiteX4042" fmla="*/ 2269191 w 6226010"/>
              <a:gd name="connsiteY4042" fmla="*/ 2951303 h 5756219"/>
              <a:gd name="connsiteX4043" fmla="*/ 2274626 w 6226010"/>
              <a:gd name="connsiteY4043" fmla="*/ 2956738 h 5756219"/>
              <a:gd name="connsiteX4044" fmla="*/ 2299085 w 6226010"/>
              <a:gd name="connsiteY4044" fmla="*/ 2959456 h 5756219"/>
              <a:gd name="connsiteX4045" fmla="*/ 2299085 w 6226010"/>
              <a:gd name="connsiteY4045" fmla="*/ 2962173 h 5756219"/>
              <a:gd name="connsiteX4046" fmla="*/ 2348002 w 6226010"/>
              <a:gd name="connsiteY4046" fmla="*/ 2970326 h 5756219"/>
              <a:gd name="connsiteX4047" fmla="*/ 2353437 w 6226010"/>
              <a:gd name="connsiteY4047" fmla="*/ 2964891 h 5756219"/>
              <a:gd name="connsiteX4048" fmla="*/ 2345285 w 6226010"/>
              <a:gd name="connsiteY4048" fmla="*/ 2956738 h 5756219"/>
              <a:gd name="connsiteX4049" fmla="*/ 2339850 w 6226010"/>
              <a:gd name="connsiteY4049" fmla="*/ 2962173 h 5756219"/>
              <a:gd name="connsiteX4050" fmla="*/ 2307237 w 6226010"/>
              <a:gd name="connsiteY4050" fmla="*/ 2954020 h 5756219"/>
              <a:gd name="connsiteX4051" fmla="*/ 2296367 w 6226010"/>
              <a:gd name="connsiteY4051" fmla="*/ 2948585 h 5756219"/>
              <a:gd name="connsiteX4052" fmla="*/ 2301802 w 6226010"/>
              <a:gd name="connsiteY4052" fmla="*/ 2943150 h 5756219"/>
              <a:gd name="connsiteX4053" fmla="*/ 2318109 w 6226010"/>
              <a:gd name="connsiteY4053" fmla="*/ 2943150 h 5756219"/>
              <a:gd name="connsiteX4054" fmla="*/ 2323544 w 6226010"/>
              <a:gd name="connsiteY4054" fmla="*/ 2937715 h 5756219"/>
              <a:gd name="connsiteX4055" fmla="*/ 2342567 w 6226010"/>
              <a:gd name="connsiteY4055" fmla="*/ 2934997 h 5756219"/>
              <a:gd name="connsiteX4056" fmla="*/ 2339850 w 6226010"/>
              <a:gd name="connsiteY4056" fmla="*/ 2926845 h 5756219"/>
              <a:gd name="connsiteX4057" fmla="*/ 2280062 w 6226010"/>
              <a:gd name="connsiteY4057" fmla="*/ 2945868 h 5756219"/>
              <a:gd name="connsiteX4058" fmla="*/ 2239298 w 6226010"/>
              <a:gd name="connsiteY4058" fmla="*/ 2934997 h 5756219"/>
              <a:gd name="connsiteX4059" fmla="*/ 2271909 w 6226010"/>
              <a:gd name="connsiteY4059" fmla="*/ 2896951 h 5756219"/>
              <a:gd name="connsiteX4060" fmla="*/ 2274626 w 6226010"/>
              <a:gd name="connsiteY4060" fmla="*/ 2888798 h 5756219"/>
              <a:gd name="connsiteX4061" fmla="*/ 2285497 w 6226010"/>
              <a:gd name="connsiteY4061" fmla="*/ 2842599 h 5756219"/>
              <a:gd name="connsiteX4062" fmla="*/ 2280062 w 6226010"/>
              <a:gd name="connsiteY4062" fmla="*/ 2842599 h 5756219"/>
              <a:gd name="connsiteX4063" fmla="*/ 2277344 w 6226010"/>
              <a:gd name="connsiteY4063" fmla="*/ 2856187 h 5756219"/>
              <a:gd name="connsiteX4064" fmla="*/ 2280062 w 6226010"/>
              <a:gd name="connsiteY4064" fmla="*/ 2869775 h 5756219"/>
              <a:gd name="connsiteX4065" fmla="*/ 2255603 w 6226010"/>
              <a:gd name="connsiteY4065" fmla="*/ 2896951 h 5756219"/>
              <a:gd name="connsiteX4066" fmla="*/ 2252886 w 6226010"/>
              <a:gd name="connsiteY4066" fmla="*/ 2864340 h 5756219"/>
              <a:gd name="connsiteX4067" fmla="*/ 2252886 w 6226010"/>
              <a:gd name="connsiteY4067" fmla="*/ 2858905 h 5756219"/>
              <a:gd name="connsiteX4068" fmla="*/ 2250168 w 6226010"/>
              <a:gd name="connsiteY4068" fmla="*/ 2850752 h 5756219"/>
              <a:gd name="connsiteX4069" fmla="*/ 2239298 w 6226010"/>
              <a:gd name="connsiteY4069" fmla="*/ 2850752 h 5756219"/>
              <a:gd name="connsiteX4070" fmla="*/ 2244733 w 6226010"/>
              <a:gd name="connsiteY4070" fmla="*/ 2861623 h 5756219"/>
              <a:gd name="connsiteX4071" fmla="*/ 2247450 w 6226010"/>
              <a:gd name="connsiteY4071" fmla="*/ 2907821 h 5756219"/>
              <a:gd name="connsiteX4072" fmla="*/ 2236580 w 6226010"/>
              <a:gd name="connsiteY4072" fmla="*/ 2924127 h 5756219"/>
              <a:gd name="connsiteX4073" fmla="*/ 2217557 w 6226010"/>
              <a:gd name="connsiteY4073" fmla="*/ 2915974 h 5756219"/>
              <a:gd name="connsiteX4074" fmla="*/ 2201251 w 6226010"/>
              <a:gd name="connsiteY4074" fmla="*/ 2913257 h 5756219"/>
              <a:gd name="connsiteX4075" fmla="*/ 2184946 w 6226010"/>
              <a:gd name="connsiteY4075" fmla="*/ 2886081 h 5756219"/>
              <a:gd name="connsiteX4076" fmla="*/ 2198534 w 6226010"/>
              <a:gd name="connsiteY4076" fmla="*/ 2880645 h 5756219"/>
              <a:gd name="connsiteX4077" fmla="*/ 2198534 w 6226010"/>
              <a:gd name="connsiteY4077" fmla="*/ 2877929 h 5756219"/>
              <a:gd name="connsiteX4078" fmla="*/ 2206686 w 6226010"/>
              <a:gd name="connsiteY4078" fmla="*/ 2875211 h 5756219"/>
              <a:gd name="connsiteX4079" fmla="*/ 2209404 w 6226010"/>
              <a:gd name="connsiteY4079" fmla="*/ 2869775 h 5756219"/>
              <a:gd name="connsiteX4080" fmla="*/ 2214839 w 6226010"/>
              <a:gd name="connsiteY4080" fmla="*/ 2867058 h 5756219"/>
              <a:gd name="connsiteX4081" fmla="*/ 2233862 w 6226010"/>
              <a:gd name="connsiteY4081" fmla="*/ 2837165 h 5756219"/>
              <a:gd name="connsiteX4082" fmla="*/ 2233862 w 6226010"/>
              <a:gd name="connsiteY4082" fmla="*/ 2829011 h 5756219"/>
              <a:gd name="connsiteX4083" fmla="*/ 2231145 w 6226010"/>
              <a:gd name="connsiteY4083" fmla="*/ 2829011 h 5756219"/>
              <a:gd name="connsiteX4084" fmla="*/ 4416091 w 6226010"/>
              <a:gd name="connsiteY4084" fmla="*/ 2750201 h 5756219"/>
              <a:gd name="connsiteX4085" fmla="*/ 4416091 w 6226010"/>
              <a:gd name="connsiteY4085" fmla="*/ 2766507 h 5756219"/>
              <a:gd name="connsiteX4086" fmla="*/ 4432397 w 6226010"/>
              <a:gd name="connsiteY4086" fmla="*/ 2750201 h 5756219"/>
              <a:gd name="connsiteX4087" fmla="*/ 304370 w 6226010"/>
              <a:gd name="connsiteY4087" fmla="*/ 2731179 h 5756219"/>
              <a:gd name="connsiteX4088" fmla="*/ 304370 w 6226010"/>
              <a:gd name="connsiteY4088" fmla="*/ 2771942 h 5756219"/>
              <a:gd name="connsiteX4089" fmla="*/ 320676 w 6226010"/>
              <a:gd name="connsiteY4089" fmla="*/ 2799118 h 5756219"/>
              <a:gd name="connsiteX4090" fmla="*/ 358722 w 6226010"/>
              <a:gd name="connsiteY4090" fmla="*/ 2807271 h 5756219"/>
              <a:gd name="connsiteX4091" fmla="*/ 304370 w 6226010"/>
              <a:gd name="connsiteY4091" fmla="*/ 2731179 h 5756219"/>
              <a:gd name="connsiteX4092" fmla="*/ 4747638 w 6226010"/>
              <a:gd name="connsiteY4092" fmla="*/ 2704002 h 5756219"/>
              <a:gd name="connsiteX4093" fmla="*/ 4763944 w 6226010"/>
              <a:gd name="connsiteY4093" fmla="*/ 2725743 h 5756219"/>
              <a:gd name="connsiteX4094" fmla="*/ 4788402 w 6226010"/>
              <a:gd name="connsiteY4094" fmla="*/ 2704002 h 5756219"/>
              <a:gd name="connsiteX4095" fmla="*/ 1263681 w 6226010"/>
              <a:gd name="connsiteY4095" fmla="*/ 2698567 h 5756219"/>
              <a:gd name="connsiteX4096" fmla="*/ 1266399 w 6226010"/>
              <a:gd name="connsiteY4096" fmla="*/ 2733896 h 5756219"/>
              <a:gd name="connsiteX4097" fmla="*/ 1293575 w 6226010"/>
              <a:gd name="connsiteY4097" fmla="*/ 2731179 h 5756219"/>
              <a:gd name="connsiteX4098" fmla="*/ 1296292 w 6226010"/>
              <a:gd name="connsiteY4098" fmla="*/ 2723026 h 5756219"/>
              <a:gd name="connsiteX4099" fmla="*/ 1334339 w 6226010"/>
              <a:gd name="connsiteY4099" fmla="*/ 2739331 h 5756219"/>
              <a:gd name="connsiteX4100" fmla="*/ 1339774 w 6226010"/>
              <a:gd name="connsiteY4100" fmla="*/ 2712155 h 5756219"/>
              <a:gd name="connsiteX4101" fmla="*/ 1334339 w 6226010"/>
              <a:gd name="connsiteY4101" fmla="*/ 2704002 h 5756219"/>
              <a:gd name="connsiteX4102" fmla="*/ 1323468 w 6226010"/>
              <a:gd name="connsiteY4102" fmla="*/ 2704002 h 5756219"/>
              <a:gd name="connsiteX4103" fmla="*/ 1318033 w 6226010"/>
              <a:gd name="connsiteY4103" fmla="*/ 2706720 h 5756219"/>
              <a:gd name="connsiteX4104" fmla="*/ 1309880 w 6226010"/>
              <a:gd name="connsiteY4104" fmla="*/ 2704002 h 5756219"/>
              <a:gd name="connsiteX4105" fmla="*/ 1263681 w 6226010"/>
              <a:gd name="connsiteY4105" fmla="*/ 2698567 h 5756219"/>
              <a:gd name="connsiteX4106" fmla="*/ 5588564 w 6226010"/>
              <a:gd name="connsiteY4106" fmla="*/ 2697421 h 5756219"/>
              <a:gd name="connsiteX4107" fmla="*/ 5581940 w 6226010"/>
              <a:gd name="connsiteY4107" fmla="*/ 2701284 h 5756219"/>
              <a:gd name="connsiteX4108" fmla="*/ 5617268 w 6226010"/>
              <a:gd name="connsiteY4108" fmla="*/ 2712155 h 5756219"/>
              <a:gd name="connsiteX4109" fmla="*/ 5614551 w 6226010"/>
              <a:gd name="connsiteY4109" fmla="*/ 2698567 h 5756219"/>
              <a:gd name="connsiteX4110" fmla="*/ 5588564 w 6226010"/>
              <a:gd name="connsiteY4110" fmla="*/ 2697421 h 5756219"/>
              <a:gd name="connsiteX4111" fmla="*/ 4734050 w 6226010"/>
              <a:gd name="connsiteY4111" fmla="*/ 2695849 h 5756219"/>
              <a:gd name="connsiteX4112" fmla="*/ 4725897 w 6226010"/>
              <a:gd name="connsiteY4112" fmla="*/ 2717591 h 5756219"/>
              <a:gd name="connsiteX4113" fmla="*/ 4717745 w 6226010"/>
              <a:gd name="connsiteY4113" fmla="*/ 2739331 h 5756219"/>
              <a:gd name="connsiteX4114" fmla="*/ 4739485 w 6226010"/>
              <a:gd name="connsiteY4114" fmla="*/ 2717591 h 5756219"/>
              <a:gd name="connsiteX4115" fmla="*/ 4734050 w 6226010"/>
              <a:gd name="connsiteY4115" fmla="*/ 2695849 h 5756219"/>
              <a:gd name="connsiteX4116" fmla="*/ 4655239 w 6226010"/>
              <a:gd name="connsiteY4116" fmla="*/ 2693132 h 5756219"/>
              <a:gd name="connsiteX4117" fmla="*/ 4638933 w 6226010"/>
              <a:gd name="connsiteY4117" fmla="*/ 2709438 h 5756219"/>
              <a:gd name="connsiteX4118" fmla="*/ 4666109 w 6226010"/>
              <a:gd name="connsiteY4118" fmla="*/ 2709438 h 5756219"/>
              <a:gd name="connsiteX4119" fmla="*/ 5350944 w 6226010"/>
              <a:gd name="connsiteY4119" fmla="*/ 2687697 h 5756219"/>
              <a:gd name="connsiteX4120" fmla="*/ 5331921 w 6226010"/>
              <a:gd name="connsiteY4120" fmla="*/ 2704002 h 5756219"/>
              <a:gd name="connsiteX4121" fmla="*/ 5326486 w 6226010"/>
              <a:gd name="connsiteY4121" fmla="*/ 2693132 h 5756219"/>
              <a:gd name="connsiteX4122" fmla="*/ 5293875 w 6226010"/>
              <a:gd name="connsiteY4122" fmla="*/ 2704002 h 5756219"/>
              <a:gd name="connsiteX4123" fmla="*/ 5326486 w 6226010"/>
              <a:gd name="connsiteY4123" fmla="*/ 2720307 h 5756219"/>
              <a:gd name="connsiteX4124" fmla="*/ 5285722 w 6226010"/>
              <a:gd name="connsiteY4124" fmla="*/ 2725743 h 5756219"/>
              <a:gd name="connsiteX4125" fmla="*/ 5288440 w 6226010"/>
              <a:gd name="connsiteY4125" fmla="*/ 2747483 h 5756219"/>
              <a:gd name="connsiteX4126" fmla="*/ 5258546 w 6226010"/>
              <a:gd name="connsiteY4126" fmla="*/ 2736613 h 5756219"/>
              <a:gd name="connsiteX4127" fmla="*/ 5293875 w 6226010"/>
              <a:gd name="connsiteY4127" fmla="*/ 2763789 h 5756219"/>
              <a:gd name="connsiteX4128" fmla="*/ 5302028 w 6226010"/>
              <a:gd name="connsiteY4128" fmla="*/ 2742048 h 5756219"/>
              <a:gd name="connsiteX4129" fmla="*/ 5312898 w 6226010"/>
              <a:gd name="connsiteY4129" fmla="*/ 2750201 h 5756219"/>
              <a:gd name="connsiteX4130" fmla="*/ 5315616 w 6226010"/>
              <a:gd name="connsiteY4130" fmla="*/ 2771942 h 5756219"/>
              <a:gd name="connsiteX4131" fmla="*/ 5315616 w 6226010"/>
              <a:gd name="connsiteY4131" fmla="*/ 2731179 h 5756219"/>
              <a:gd name="connsiteX4132" fmla="*/ 5326486 w 6226010"/>
              <a:gd name="connsiteY4132" fmla="*/ 2733896 h 5756219"/>
              <a:gd name="connsiteX4133" fmla="*/ 5334639 w 6226010"/>
              <a:gd name="connsiteY4133" fmla="*/ 2761071 h 5756219"/>
              <a:gd name="connsiteX4134" fmla="*/ 5356380 w 6226010"/>
              <a:gd name="connsiteY4134" fmla="*/ 2750201 h 5756219"/>
              <a:gd name="connsiteX4135" fmla="*/ 5340074 w 6226010"/>
              <a:gd name="connsiteY4135" fmla="*/ 2739331 h 5756219"/>
              <a:gd name="connsiteX4136" fmla="*/ 5353662 w 6226010"/>
              <a:gd name="connsiteY4136" fmla="*/ 2731179 h 5756219"/>
              <a:gd name="connsiteX4137" fmla="*/ 5372685 w 6226010"/>
              <a:gd name="connsiteY4137" fmla="*/ 2736613 h 5756219"/>
              <a:gd name="connsiteX4138" fmla="*/ 5348227 w 6226010"/>
              <a:gd name="connsiteY4138" fmla="*/ 2712155 h 5756219"/>
              <a:gd name="connsiteX4139" fmla="*/ 5372685 w 6226010"/>
              <a:gd name="connsiteY4139" fmla="*/ 2701284 h 5756219"/>
              <a:gd name="connsiteX4140" fmla="*/ 5350944 w 6226010"/>
              <a:gd name="connsiteY4140" fmla="*/ 2687697 h 5756219"/>
              <a:gd name="connsiteX4141" fmla="*/ 4777532 w 6226010"/>
              <a:gd name="connsiteY4141" fmla="*/ 2676828 h 5756219"/>
              <a:gd name="connsiteX4142" fmla="*/ 4761226 w 6226010"/>
              <a:gd name="connsiteY4142" fmla="*/ 2693132 h 5756219"/>
              <a:gd name="connsiteX4143" fmla="*/ 4780249 w 6226010"/>
              <a:gd name="connsiteY4143" fmla="*/ 2693132 h 5756219"/>
              <a:gd name="connsiteX4144" fmla="*/ 5623410 w 6226010"/>
              <a:gd name="connsiteY4144" fmla="*/ 2658510 h 5756219"/>
              <a:gd name="connsiteX4145" fmla="*/ 5625421 w 6226010"/>
              <a:gd name="connsiteY4145" fmla="*/ 2660520 h 5756219"/>
              <a:gd name="connsiteX4146" fmla="*/ 5618174 w 6226010"/>
              <a:gd name="connsiteY4146" fmla="*/ 2662542 h 5756219"/>
              <a:gd name="connsiteX4147" fmla="*/ 4693286 w 6226010"/>
              <a:gd name="connsiteY4147" fmla="*/ 2638780 h 5756219"/>
              <a:gd name="connsiteX4148" fmla="*/ 4676981 w 6226010"/>
              <a:gd name="connsiteY4148" fmla="*/ 2655086 h 5756219"/>
              <a:gd name="connsiteX4149" fmla="*/ 4696004 w 6226010"/>
              <a:gd name="connsiteY4149" fmla="*/ 2663238 h 5756219"/>
              <a:gd name="connsiteX4150" fmla="*/ 4793837 w 6226010"/>
              <a:gd name="connsiteY4150" fmla="*/ 2633345 h 5756219"/>
              <a:gd name="connsiteX4151" fmla="*/ 4774814 w 6226010"/>
              <a:gd name="connsiteY4151" fmla="*/ 2652368 h 5756219"/>
              <a:gd name="connsiteX4152" fmla="*/ 4758509 w 6226010"/>
              <a:gd name="connsiteY4152" fmla="*/ 2652368 h 5756219"/>
              <a:gd name="connsiteX4153" fmla="*/ 4742203 w 6226010"/>
              <a:gd name="connsiteY4153" fmla="*/ 2644216 h 5756219"/>
              <a:gd name="connsiteX4154" fmla="*/ 4742203 w 6226010"/>
              <a:gd name="connsiteY4154" fmla="*/ 2660520 h 5756219"/>
              <a:gd name="connsiteX4155" fmla="*/ 4755791 w 6226010"/>
              <a:gd name="connsiteY4155" fmla="*/ 2652368 h 5756219"/>
              <a:gd name="connsiteX4156" fmla="*/ 4793837 w 6226010"/>
              <a:gd name="connsiteY4156" fmla="*/ 2674108 h 5756219"/>
              <a:gd name="connsiteX4157" fmla="*/ 4793837 w 6226010"/>
              <a:gd name="connsiteY4157" fmla="*/ 2633345 h 5756219"/>
              <a:gd name="connsiteX4158" fmla="*/ 4753073 w 6226010"/>
              <a:gd name="connsiteY4158" fmla="*/ 2611604 h 5756219"/>
              <a:gd name="connsiteX4159" fmla="*/ 4761226 w 6226010"/>
              <a:gd name="connsiteY4159" fmla="*/ 2633345 h 5756219"/>
              <a:gd name="connsiteX4160" fmla="*/ 4777532 w 6226010"/>
              <a:gd name="connsiteY4160" fmla="*/ 2617039 h 5756219"/>
              <a:gd name="connsiteX4161" fmla="*/ 885935 w 6226010"/>
              <a:gd name="connsiteY4161" fmla="*/ 2608887 h 5756219"/>
              <a:gd name="connsiteX4162" fmla="*/ 856042 w 6226010"/>
              <a:gd name="connsiteY4162" fmla="*/ 2663238 h 5756219"/>
              <a:gd name="connsiteX4163" fmla="*/ 885935 w 6226010"/>
              <a:gd name="connsiteY4163" fmla="*/ 2608887 h 5756219"/>
              <a:gd name="connsiteX4164" fmla="*/ 4744921 w 6226010"/>
              <a:gd name="connsiteY4164" fmla="*/ 2578993 h 5756219"/>
              <a:gd name="connsiteX4165" fmla="*/ 4761226 w 6226010"/>
              <a:gd name="connsiteY4165" fmla="*/ 2595299 h 5756219"/>
              <a:gd name="connsiteX4166" fmla="*/ 4763944 w 6226010"/>
              <a:gd name="connsiteY4166" fmla="*/ 2578993 h 5756219"/>
              <a:gd name="connsiteX4167" fmla="*/ 5266699 w 6226010"/>
              <a:gd name="connsiteY4167" fmla="*/ 2562687 h 5756219"/>
              <a:gd name="connsiteX4168" fmla="*/ 5225935 w 6226010"/>
              <a:gd name="connsiteY4168" fmla="*/ 2570840 h 5756219"/>
              <a:gd name="connsiteX4169" fmla="*/ 5291157 w 6226010"/>
              <a:gd name="connsiteY4169" fmla="*/ 2622475 h 5756219"/>
              <a:gd name="connsiteX4170" fmla="*/ 5261264 w 6226010"/>
              <a:gd name="connsiteY4170" fmla="*/ 2570840 h 5756219"/>
              <a:gd name="connsiteX4171" fmla="*/ 5291157 w 6226010"/>
              <a:gd name="connsiteY4171" fmla="*/ 2600734 h 5756219"/>
              <a:gd name="connsiteX4172" fmla="*/ 5310180 w 6226010"/>
              <a:gd name="connsiteY4172" fmla="*/ 2592581 h 5756219"/>
              <a:gd name="connsiteX4173" fmla="*/ 5307463 w 6226010"/>
              <a:gd name="connsiteY4173" fmla="*/ 2578993 h 5756219"/>
              <a:gd name="connsiteX4174" fmla="*/ 5331921 w 6226010"/>
              <a:gd name="connsiteY4174" fmla="*/ 2584429 h 5756219"/>
              <a:gd name="connsiteX4175" fmla="*/ 5266699 w 6226010"/>
              <a:gd name="connsiteY4175" fmla="*/ 2562687 h 5756219"/>
              <a:gd name="connsiteX4176" fmla="*/ 941646 w 6226010"/>
              <a:gd name="connsiteY4176" fmla="*/ 2552157 h 5756219"/>
              <a:gd name="connsiteX4177" fmla="*/ 913111 w 6226010"/>
              <a:gd name="connsiteY4177" fmla="*/ 2587145 h 5756219"/>
              <a:gd name="connsiteX4178" fmla="*/ 1019098 w 6226010"/>
              <a:gd name="connsiteY4178" fmla="*/ 2592581 h 5756219"/>
              <a:gd name="connsiteX4179" fmla="*/ 997357 w 6226010"/>
              <a:gd name="connsiteY4179" fmla="*/ 2589863 h 5756219"/>
              <a:gd name="connsiteX4180" fmla="*/ 994639 w 6226010"/>
              <a:gd name="connsiteY4180" fmla="*/ 2559970 h 5756219"/>
              <a:gd name="connsiteX4181" fmla="*/ 941646 w 6226010"/>
              <a:gd name="connsiteY4181" fmla="*/ 2552157 h 5756219"/>
              <a:gd name="connsiteX4182" fmla="*/ 1168565 w 6226010"/>
              <a:gd name="connsiteY4182" fmla="*/ 2540946 h 5756219"/>
              <a:gd name="connsiteX4183" fmla="*/ 1163130 w 6226010"/>
              <a:gd name="connsiteY4183" fmla="*/ 2546382 h 5756219"/>
              <a:gd name="connsiteX4184" fmla="*/ 1168565 w 6226010"/>
              <a:gd name="connsiteY4184" fmla="*/ 2549099 h 5756219"/>
              <a:gd name="connsiteX4185" fmla="*/ 1168565 w 6226010"/>
              <a:gd name="connsiteY4185" fmla="*/ 2540946 h 5756219"/>
              <a:gd name="connsiteX4186" fmla="*/ 5402579 w 6226010"/>
              <a:gd name="connsiteY4186" fmla="*/ 2530076 h 5756219"/>
              <a:gd name="connsiteX4187" fmla="*/ 5378120 w 6226010"/>
              <a:gd name="connsiteY4187" fmla="*/ 2540946 h 5756219"/>
              <a:gd name="connsiteX4188" fmla="*/ 5402579 w 6226010"/>
              <a:gd name="connsiteY4188" fmla="*/ 2557252 h 5756219"/>
              <a:gd name="connsiteX4189" fmla="*/ 5386273 w 6226010"/>
              <a:gd name="connsiteY4189" fmla="*/ 2576275 h 5756219"/>
              <a:gd name="connsiteX4190" fmla="*/ 5369968 w 6226010"/>
              <a:gd name="connsiteY4190" fmla="*/ 2570840 h 5756219"/>
              <a:gd name="connsiteX4191" fmla="*/ 5342792 w 6226010"/>
              <a:gd name="connsiteY4191" fmla="*/ 2581710 h 5756219"/>
              <a:gd name="connsiteX4192" fmla="*/ 5266699 w 6226010"/>
              <a:gd name="connsiteY4192" fmla="*/ 2638780 h 5756219"/>
              <a:gd name="connsiteX4193" fmla="*/ 5239523 w 6226010"/>
              <a:gd name="connsiteY4193" fmla="*/ 2625192 h 5756219"/>
              <a:gd name="connsiteX4194" fmla="*/ 5255828 w 6226010"/>
              <a:gd name="connsiteY4194" fmla="*/ 2676828 h 5756219"/>
              <a:gd name="connsiteX4195" fmla="*/ 5334639 w 6226010"/>
              <a:gd name="connsiteY4195" fmla="*/ 2646932 h 5756219"/>
              <a:gd name="connsiteX4196" fmla="*/ 5386273 w 6226010"/>
              <a:gd name="connsiteY4196" fmla="*/ 2587145 h 5756219"/>
              <a:gd name="connsiteX4197" fmla="*/ 5372685 w 6226010"/>
              <a:gd name="connsiteY4197" fmla="*/ 2587145 h 5756219"/>
              <a:gd name="connsiteX4198" fmla="*/ 5375403 w 6226010"/>
              <a:gd name="connsiteY4198" fmla="*/ 2576275 h 5756219"/>
              <a:gd name="connsiteX4199" fmla="*/ 5402579 w 6226010"/>
              <a:gd name="connsiteY4199" fmla="*/ 2578993 h 5756219"/>
              <a:gd name="connsiteX4200" fmla="*/ 5413449 w 6226010"/>
              <a:gd name="connsiteY4200" fmla="*/ 2557252 h 5756219"/>
              <a:gd name="connsiteX4201" fmla="*/ 5410731 w 6226010"/>
              <a:gd name="connsiteY4201" fmla="*/ 2573557 h 5756219"/>
              <a:gd name="connsiteX4202" fmla="*/ 5440625 w 6226010"/>
              <a:gd name="connsiteY4202" fmla="*/ 2543664 h 5756219"/>
              <a:gd name="connsiteX4203" fmla="*/ 5435190 w 6226010"/>
              <a:gd name="connsiteY4203" fmla="*/ 2530076 h 5756219"/>
              <a:gd name="connsiteX4204" fmla="*/ 5416167 w 6226010"/>
              <a:gd name="connsiteY4204" fmla="*/ 2532794 h 5756219"/>
              <a:gd name="connsiteX4205" fmla="*/ 5408014 w 6226010"/>
              <a:gd name="connsiteY4205" fmla="*/ 2554534 h 5756219"/>
              <a:gd name="connsiteX4206" fmla="*/ 5399861 w 6226010"/>
              <a:gd name="connsiteY4206" fmla="*/ 2551817 h 5756219"/>
              <a:gd name="connsiteX4207" fmla="*/ 5402579 w 6226010"/>
              <a:gd name="connsiteY4207" fmla="*/ 2530076 h 5756219"/>
              <a:gd name="connsiteX4208" fmla="*/ 5340074 w 6226010"/>
              <a:gd name="connsiteY4208" fmla="*/ 2524641 h 5756219"/>
              <a:gd name="connsiteX4209" fmla="*/ 5302028 w 6226010"/>
              <a:gd name="connsiteY4209" fmla="*/ 2543664 h 5756219"/>
              <a:gd name="connsiteX4210" fmla="*/ 5296592 w 6226010"/>
              <a:gd name="connsiteY4210" fmla="*/ 2562687 h 5756219"/>
              <a:gd name="connsiteX4211" fmla="*/ 5321051 w 6226010"/>
              <a:gd name="connsiteY4211" fmla="*/ 2573557 h 5756219"/>
              <a:gd name="connsiteX4212" fmla="*/ 5326486 w 6226010"/>
              <a:gd name="connsiteY4212" fmla="*/ 2565405 h 5756219"/>
              <a:gd name="connsiteX4213" fmla="*/ 5334639 w 6226010"/>
              <a:gd name="connsiteY4213" fmla="*/ 2578993 h 5756219"/>
              <a:gd name="connsiteX4214" fmla="*/ 5353662 w 6226010"/>
              <a:gd name="connsiteY4214" fmla="*/ 2538229 h 5756219"/>
              <a:gd name="connsiteX4215" fmla="*/ 5340074 w 6226010"/>
              <a:gd name="connsiteY4215" fmla="*/ 2524641 h 5756219"/>
              <a:gd name="connsiteX4216" fmla="*/ 4282930 w 6226010"/>
              <a:gd name="connsiteY4216" fmla="*/ 2519207 h 5756219"/>
              <a:gd name="connsiteX4217" fmla="*/ 4269342 w 6226010"/>
              <a:gd name="connsiteY4217" fmla="*/ 2527359 h 5756219"/>
              <a:gd name="connsiteX4218" fmla="*/ 4282930 w 6226010"/>
              <a:gd name="connsiteY4218" fmla="*/ 2519207 h 5756219"/>
              <a:gd name="connsiteX4219" fmla="*/ 315241 w 6226010"/>
              <a:gd name="connsiteY4219" fmla="*/ 2500182 h 5756219"/>
              <a:gd name="connsiteX4220" fmla="*/ 334264 w 6226010"/>
              <a:gd name="connsiteY4220" fmla="*/ 2600734 h 5756219"/>
              <a:gd name="connsiteX4221" fmla="*/ 315241 w 6226010"/>
              <a:gd name="connsiteY4221" fmla="*/ 2500182 h 5756219"/>
              <a:gd name="connsiteX4222" fmla="*/ 5122666 w 6226010"/>
              <a:gd name="connsiteY4222" fmla="*/ 2481159 h 5756219"/>
              <a:gd name="connsiteX4223" fmla="*/ 5198759 w 6226010"/>
              <a:gd name="connsiteY4223" fmla="*/ 2540946 h 5756219"/>
              <a:gd name="connsiteX4224" fmla="*/ 5196041 w 6226010"/>
              <a:gd name="connsiteY4224" fmla="*/ 2516488 h 5756219"/>
              <a:gd name="connsiteX4225" fmla="*/ 5177018 w 6226010"/>
              <a:gd name="connsiteY4225" fmla="*/ 2511053 h 5756219"/>
              <a:gd name="connsiteX4226" fmla="*/ 5190606 w 6226010"/>
              <a:gd name="connsiteY4226" fmla="*/ 2511053 h 5756219"/>
              <a:gd name="connsiteX4227" fmla="*/ 5182453 w 6226010"/>
              <a:gd name="connsiteY4227" fmla="*/ 2492030 h 5756219"/>
              <a:gd name="connsiteX4228" fmla="*/ 5160712 w 6226010"/>
              <a:gd name="connsiteY4228" fmla="*/ 2513770 h 5756219"/>
              <a:gd name="connsiteX4229" fmla="*/ 5122666 w 6226010"/>
              <a:gd name="connsiteY4229" fmla="*/ 2481159 h 5756219"/>
              <a:gd name="connsiteX4230" fmla="*/ 5330053 w 6226010"/>
              <a:gd name="connsiteY4230" fmla="*/ 2479631 h 5756219"/>
              <a:gd name="connsiteX4231" fmla="*/ 5285722 w 6226010"/>
              <a:gd name="connsiteY4231" fmla="*/ 2481159 h 5756219"/>
              <a:gd name="connsiteX4232" fmla="*/ 5307463 w 6226010"/>
              <a:gd name="connsiteY4232" fmla="*/ 2500182 h 5756219"/>
              <a:gd name="connsiteX4233" fmla="*/ 5283004 w 6226010"/>
              <a:gd name="connsiteY4233" fmla="*/ 2497465 h 5756219"/>
              <a:gd name="connsiteX4234" fmla="*/ 5302028 w 6226010"/>
              <a:gd name="connsiteY4234" fmla="*/ 2527358 h 5756219"/>
              <a:gd name="connsiteX4235" fmla="*/ 5345509 w 6226010"/>
              <a:gd name="connsiteY4235" fmla="*/ 2513770 h 5756219"/>
              <a:gd name="connsiteX4236" fmla="*/ 5331921 w 6226010"/>
              <a:gd name="connsiteY4236" fmla="*/ 2489312 h 5756219"/>
              <a:gd name="connsiteX4237" fmla="*/ 5340074 w 6226010"/>
              <a:gd name="connsiteY4237" fmla="*/ 2489312 h 5756219"/>
              <a:gd name="connsiteX4238" fmla="*/ 5330053 w 6226010"/>
              <a:gd name="connsiteY4238" fmla="*/ 2479631 h 5756219"/>
              <a:gd name="connsiteX4239" fmla="*/ 883218 w 6226010"/>
              <a:gd name="connsiteY4239" fmla="*/ 2478443 h 5756219"/>
              <a:gd name="connsiteX4240" fmla="*/ 864195 w 6226010"/>
              <a:gd name="connsiteY4240" fmla="*/ 2497465 h 5756219"/>
              <a:gd name="connsiteX4241" fmla="*/ 861477 w 6226010"/>
              <a:gd name="connsiteY4241" fmla="*/ 2483877 h 5756219"/>
              <a:gd name="connsiteX4242" fmla="*/ 823431 w 6226010"/>
              <a:gd name="connsiteY4242" fmla="*/ 2557252 h 5756219"/>
              <a:gd name="connsiteX4243" fmla="*/ 864195 w 6226010"/>
              <a:gd name="connsiteY4243" fmla="*/ 2559970 h 5756219"/>
              <a:gd name="connsiteX4244" fmla="*/ 880500 w 6226010"/>
              <a:gd name="connsiteY4244" fmla="*/ 2492030 h 5756219"/>
              <a:gd name="connsiteX4245" fmla="*/ 932135 w 6226010"/>
              <a:gd name="connsiteY4245" fmla="*/ 2527358 h 5756219"/>
              <a:gd name="connsiteX4246" fmla="*/ 937570 w 6226010"/>
              <a:gd name="connsiteY4246" fmla="*/ 2511053 h 5756219"/>
              <a:gd name="connsiteX4247" fmla="*/ 883218 w 6226010"/>
              <a:gd name="connsiteY4247" fmla="*/ 2478443 h 5756219"/>
              <a:gd name="connsiteX4248" fmla="*/ 5266699 w 6226010"/>
              <a:gd name="connsiteY4248" fmla="*/ 2470290 h 5756219"/>
              <a:gd name="connsiteX4249" fmla="*/ 5239523 w 6226010"/>
              <a:gd name="connsiteY4249" fmla="*/ 2535511 h 5756219"/>
              <a:gd name="connsiteX4250" fmla="*/ 5272134 w 6226010"/>
              <a:gd name="connsiteY4250" fmla="*/ 2519206 h 5756219"/>
              <a:gd name="connsiteX4251" fmla="*/ 5266699 w 6226010"/>
              <a:gd name="connsiteY4251" fmla="*/ 2470290 h 5756219"/>
              <a:gd name="connsiteX4252" fmla="*/ 5305425 w 6226010"/>
              <a:gd name="connsiteY4252" fmla="*/ 2451266 h 5756219"/>
              <a:gd name="connsiteX4253" fmla="*/ 5283004 w 6226010"/>
              <a:gd name="connsiteY4253" fmla="*/ 2462136 h 5756219"/>
              <a:gd name="connsiteX4254" fmla="*/ 5302028 w 6226010"/>
              <a:gd name="connsiteY4254" fmla="*/ 2475725 h 5756219"/>
              <a:gd name="connsiteX4255" fmla="*/ 5329204 w 6226010"/>
              <a:gd name="connsiteY4255" fmla="*/ 2453983 h 5756219"/>
              <a:gd name="connsiteX4256" fmla="*/ 5315616 w 6226010"/>
              <a:gd name="connsiteY4256" fmla="*/ 2464854 h 5756219"/>
              <a:gd name="connsiteX4257" fmla="*/ 5305425 w 6226010"/>
              <a:gd name="connsiteY4257" fmla="*/ 2451266 h 5756219"/>
              <a:gd name="connsiteX4258" fmla="*/ 1146825 w 6226010"/>
              <a:gd name="connsiteY4258" fmla="*/ 2451266 h 5756219"/>
              <a:gd name="connsiteX4259" fmla="*/ 1138672 w 6226010"/>
              <a:gd name="connsiteY4259" fmla="*/ 2467571 h 5756219"/>
              <a:gd name="connsiteX4260" fmla="*/ 1154977 w 6226010"/>
              <a:gd name="connsiteY4260" fmla="*/ 2456701 h 5756219"/>
              <a:gd name="connsiteX4261" fmla="*/ 1146825 w 6226010"/>
              <a:gd name="connsiteY4261" fmla="*/ 2451266 h 5756219"/>
              <a:gd name="connsiteX4262" fmla="*/ 1068014 w 6226010"/>
              <a:gd name="connsiteY4262" fmla="*/ 2437679 h 5756219"/>
              <a:gd name="connsiteX4263" fmla="*/ 1054426 w 6226010"/>
              <a:gd name="connsiteY4263" fmla="*/ 2475725 h 5756219"/>
              <a:gd name="connsiteX4264" fmla="*/ 1040838 w 6226010"/>
              <a:gd name="connsiteY4264" fmla="*/ 2475725 h 5756219"/>
              <a:gd name="connsiteX4265" fmla="*/ 1073450 w 6226010"/>
              <a:gd name="connsiteY4265" fmla="*/ 2486594 h 5756219"/>
              <a:gd name="connsiteX4266" fmla="*/ 1078885 w 6226010"/>
              <a:gd name="connsiteY4266" fmla="*/ 2483877 h 5756219"/>
              <a:gd name="connsiteX4267" fmla="*/ 1084320 w 6226010"/>
              <a:gd name="connsiteY4267" fmla="*/ 2489312 h 5756219"/>
              <a:gd name="connsiteX4268" fmla="*/ 1125084 w 6226010"/>
              <a:gd name="connsiteY4268" fmla="*/ 2505618 h 5756219"/>
              <a:gd name="connsiteX4269" fmla="*/ 1125084 w 6226010"/>
              <a:gd name="connsiteY4269" fmla="*/ 2497465 h 5756219"/>
              <a:gd name="connsiteX4270" fmla="*/ 1116931 w 6226010"/>
              <a:gd name="connsiteY4270" fmla="*/ 2489312 h 5756219"/>
              <a:gd name="connsiteX4271" fmla="*/ 1122366 w 6226010"/>
              <a:gd name="connsiteY4271" fmla="*/ 2483877 h 5756219"/>
              <a:gd name="connsiteX4272" fmla="*/ 1114213 w 6226010"/>
              <a:gd name="connsiteY4272" fmla="*/ 2470290 h 5756219"/>
              <a:gd name="connsiteX4273" fmla="*/ 1065297 w 6226010"/>
              <a:gd name="connsiteY4273" fmla="*/ 2456701 h 5756219"/>
              <a:gd name="connsiteX4274" fmla="*/ 1068014 w 6226010"/>
              <a:gd name="connsiteY4274" fmla="*/ 2437679 h 5756219"/>
              <a:gd name="connsiteX4275" fmla="*/ 972899 w 6226010"/>
              <a:gd name="connsiteY4275" fmla="*/ 2437679 h 5756219"/>
              <a:gd name="connsiteX4276" fmla="*/ 970181 w 6226010"/>
              <a:gd name="connsiteY4276" fmla="*/ 2475725 h 5756219"/>
              <a:gd name="connsiteX4277" fmla="*/ 1024533 w 6226010"/>
              <a:gd name="connsiteY4277" fmla="*/ 2470290 h 5756219"/>
              <a:gd name="connsiteX4278" fmla="*/ 972899 w 6226010"/>
              <a:gd name="connsiteY4278" fmla="*/ 2437679 h 5756219"/>
              <a:gd name="connsiteX4279" fmla="*/ 532648 w 6226010"/>
              <a:gd name="connsiteY4279" fmla="*/ 2437679 h 5756219"/>
              <a:gd name="connsiteX4280" fmla="*/ 540801 w 6226010"/>
              <a:gd name="connsiteY4280" fmla="*/ 2453983 h 5756219"/>
              <a:gd name="connsiteX4281" fmla="*/ 524495 w 6226010"/>
              <a:gd name="connsiteY4281" fmla="*/ 2483877 h 5756219"/>
              <a:gd name="connsiteX4282" fmla="*/ 557107 w 6226010"/>
              <a:gd name="connsiteY4282" fmla="*/ 2475725 h 5756219"/>
              <a:gd name="connsiteX4283" fmla="*/ 576130 w 6226010"/>
              <a:gd name="connsiteY4283" fmla="*/ 2505618 h 5756219"/>
              <a:gd name="connsiteX4284" fmla="*/ 616894 w 6226010"/>
              <a:gd name="connsiteY4284" fmla="*/ 2467571 h 5756219"/>
              <a:gd name="connsiteX4285" fmla="*/ 608741 w 6226010"/>
              <a:gd name="connsiteY4285" fmla="*/ 2445830 h 5756219"/>
              <a:gd name="connsiteX4286" fmla="*/ 562542 w 6226010"/>
              <a:gd name="connsiteY4286" fmla="*/ 2462136 h 5756219"/>
              <a:gd name="connsiteX4287" fmla="*/ 532648 w 6226010"/>
              <a:gd name="connsiteY4287" fmla="*/ 2437679 h 5756219"/>
              <a:gd name="connsiteX4288" fmla="*/ 4897701 w 6226010"/>
              <a:gd name="connsiteY4288" fmla="*/ 2407955 h 5756219"/>
              <a:gd name="connsiteX4289" fmla="*/ 4886236 w 6226010"/>
              <a:gd name="connsiteY4289" fmla="*/ 2418655 h 5756219"/>
              <a:gd name="connsiteX4290" fmla="*/ 4894389 w 6226010"/>
              <a:gd name="connsiteY4290" fmla="*/ 2426807 h 5756219"/>
              <a:gd name="connsiteX4291" fmla="*/ 4902541 w 6226010"/>
              <a:gd name="connsiteY4291" fmla="*/ 2410502 h 5756219"/>
              <a:gd name="connsiteX4292" fmla="*/ 4897701 w 6226010"/>
              <a:gd name="connsiteY4292" fmla="*/ 2407955 h 5756219"/>
              <a:gd name="connsiteX4293" fmla="*/ 5244958 w 6226010"/>
              <a:gd name="connsiteY4293" fmla="*/ 2405067 h 5756219"/>
              <a:gd name="connsiteX4294" fmla="*/ 5215064 w 6226010"/>
              <a:gd name="connsiteY4294" fmla="*/ 2418655 h 5756219"/>
              <a:gd name="connsiteX4295" fmla="*/ 5225935 w 6226010"/>
              <a:gd name="connsiteY4295" fmla="*/ 2445830 h 5756219"/>
              <a:gd name="connsiteX4296" fmla="*/ 5217782 w 6226010"/>
              <a:gd name="connsiteY4296" fmla="*/ 2456701 h 5756219"/>
              <a:gd name="connsiteX4297" fmla="*/ 5209629 w 6226010"/>
              <a:gd name="connsiteY4297" fmla="*/ 2437679 h 5756219"/>
              <a:gd name="connsiteX4298" fmla="*/ 5185171 w 6226010"/>
              <a:gd name="connsiteY4298" fmla="*/ 2478443 h 5756219"/>
              <a:gd name="connsiteX4299" fmla="*/ 5212347 w 6226010"/>
              <a:gd name="connsiteY4299" fmla="*/ 2475725 h 5756219"/>
              <a:gd name="connsiteX4300" fmla="*/ 5185171 w 6226010"/>
              <a:gd name="connsiteY4300" fmla="*/ 2481159 h 5756219"/>
              <a:gd name="connsiteX4301" fmla="*/ 5198759 w 6226010"/>
              <a:gd name="connsiteY4301" fmla="*/ 2502900 h 5756219"/>
              <a:gd name="connsiteX4302" fmla="*/ 5231370 w 6226010"/>
              <a:gd name="connsiteY4302" fmla="*/ 2459418 h 5756219"/>
              <a:gd name="connsiteX4303" fmla="*/ 5234088 w 6226010"/>
              <a:gd name="connsiteY4303" fmla="*/ 2481159 h 5756219"/>
              <a:gd name="connsiteX4304" fmla="*/ 5250393 w 6226010"/>
              <a:gd name="connsiteY4304" fmla="*/ 2470290 h 5756219"/>
              <a:gd name="connsiteX4305" fmla="*/ 5250393 w 6226010"/>
              <a:gd name="connsiteY4305" fmla="*/ 2434961 h 5756219"/>
              <a:gd name="connsiteX4306" fmla="*/ 5258546 w 6226010"/>
              <a:gd name="connsiteY4306" fmla="*/ 2459418 h 5756219"/>
              <a:gd name="connsiteX4307" fmla="*/ 5244958 w 6226010"/>
              <a:gd name="connsiteY4307" fmla="*/ 2405067 h 5756219"/>
              <a:gd name="connsiteX4308" fmla="*/ 475579 w 6226010"/>
              <a:gd name="connsiteY4308" fmla="*/ 2405067 h 5756219"/>
              <a:gd name="connsiteX4309" fmla="*/ 505472 w 6226010"/>
              <a:gd name="connsiteY4309" fmla="*/ 2475725 h 5756219"/>
              <a:gd name="connsiteX4310" fmla="*/ 532648 w 6226010"/>
              <a:gd name="connsiteY4310" fmla="*/ 2410502 h 5756219"/>
              <a:gd name="connsiteX4311" fmla="*/ 475579 w 6226010"/>
              <a:gd name="connsiteY4311" fmla="*/ 2405067 h 5756219"/>
              <a:gd name="connsiteX4312" fmla="*/ 5111796 w 6226010"/>
              <a:gd name="connsiteY4312" fmla="*/ 2383327 h 5756219"/>
              <a:gd name="connsiteX4313" fmla="*/ 5092773 w 6226010"/>
              <a:gd name="connsiteY4313" fmla="*/ 2405067 h 5756219"/>
              <a:gd name="connsiteX4314" fmla="*/ 5117231 w 6226010"/>
              <a:gd name="connsiteY4314" fmla="*/ 2410502 h 5756219"/>
              <a:gd name="connsiteX4315" fmla="*/ 5119949 w 6226010"/>
              <a:gd name="connsiteY4315" fmla="*/ 2383327 h 5756219"/>
              <a:gd name="connsiteX4316" fmla="*/ 5111796 w 6226010"/>
              <a:gd name="connsiteY4316" fmla="*/ 2383327 h 5756219"/>
              <a:gd name="connsiteX4317" fmla="*/ 4867213 w 6226010"/>
              <a:gd name="connsiteY4317" fmla="*/ 2372456 h 5756219"/>
              <a:gd name="connsiteX4318" fmla="*/ 4853625 w 6226010"/>
              <a:gd name="connsiteY4318" fmla="*/ 2386044 h 5756219"/>
              <a:gd name="connsiteX4319" fmla="*/ 4861777 w 6226010"/>
              <a:gd name="connsiteY4319" fmla="*/ 2386044 h 5756219"/>
              <a:gd name="connsiteX4320" fmla="*/ 4867213 w 6226010"/>
              <a:gd name="connsiteY4320" fmla="*/ 2372456 h 5756219"/>
              <a:gd name="connsiteX4321" fmla="*/ 4994939 w 6226010"/>
              <a:gd name="connsiteY4321" fmla="*/ 2367020 h 5756219"/>
              <a:gd name="connsiteX4322" fmla="*/ 5092773 w 6226010"/>
              <a:gd name="connsiteY4322" fmla="*/ 2459418 h 5756219"/>
              <a:gd name="connsiteX4323" fmla="*/ 5071032 w 6226010"/>
              <a:gd name="connsiteY4323" fmla="*/ 2413220 h 5756219"/>
              <a:gd name="connsiteX4324" fmla="*/ 5049291 w 6226010"/>
              <a:gd name="connsiteY4324" fmla="*/ 2415937 h 5756219"/>
              <a:gd name="connsiteX4325" fmla="*/ 5060162 w 6226010"/>
              <a:gd name="connsiteY4325" fmla="*/ 2405067 h 5756219"/>
              <a:gd name="connsiteX4326" fmla="*/ 5041138 w 6226010"/>
              <a:gd name="connsiteY4326" fmla="*/ 2372456 h 5756219"/>
              <a:gd name="connsiteX4327" fmla="*/ 4994939 w 6226010"/>
              <a:gd name="connsiteY4327" fmla="*/ 2367020 h 5756219"/>
              <a:gd name="connsiteX4328" fmla="*/ 904959 w 6226010"/>
              <a:gd name="connsiteY4328" fmla="*/ 2364303 h 5756219"/>
              <a:gd name="connsiteX4329" fmla="*/ 918547 w 6226010"/>
              <a:gd name="connsiteY4329" fmla="*/ 2415937 h 5756219"/>
              <a:gd name="connsiteX4330" fmla="*/ 937570 w 6226010"/>
              <a:gd name="connsiteY4330" fmla="*/ 2380608 h 5756219"/>
              <a:gd name="connsiteX4331" fmla="*/ 904959 w 6226010"/>
              <a:gd name="connsiteY4331" fmla="*/ 2377891 h 5756219"/>
              <a:gd name="connsiteX4332" fmla="*/ 904959 w 6226010"/>
              <a:gd name="connsiteY4332" fmla="*/ 2364303 h 5756219"/>
              <a:gd name="connsiteX4333" fmla="*/ 638634 w 6226010"/>
              <a:gd name="connsiteY4333" fmla="*/ 2361585 h 5756219"/>
              <a:gd name="connsiteX4334" fmla="*/ 676681 w 6226010"/>
              <a:gd name="connsiteY4334" fmla="*/ 2410502 h 5756219"/>
              <a:gd name="connsiteX4335" fmla="*/ 652222 w 6226010"/>
              <a:gd name="connsiteY4335" fmla="*/ 2432244 h 5756219"/>
              <a:gd name="connsiteX4336" fmla="*/ 679398 w 6226010"/>
              <a:gd name="connsiteY4336" fmla="*/ 2445830 h 5756219"/>
              <a:gd name="connsiteX4337" fmla="*/ 679398 w 6226010"/>
              <a:gd name="connsiteY4337" fmla="*/ 2502900 h 5756219"/>
              <a:gd name="connsiteX4338" fmla="*/ 649505 w 6226010"/>
              <a:gd name="connsiteY4338" fmla="*/ 2511053 h 5756219"/>
              <a:gd name="connsiteX4339" fmla="*/ 673963 w 6226010"/>
              <a:gd name="connsiteY4339" fmla="*/ 2559970 h 5756219"/>
              <a:gd name="connsiteX4340" fmla="*/ 649505 w 6226010"/>
              <a:gd name="connsiteY4340" fmla="*/ 2565405 h 5756219"/>
              <a:gd name="connsiteX4341" fmla="*/ 654940 w 6226010"/>
              <a:gd name="connsiteY4341" fmla="*/ 2614322 h 5756219"/>
              <a:gd name="connsiteX4342" fmla="*/ 690269 w 6226010"/>
              <a:gd name="connsiteY4342" fmla="*/ 2573557 h 5756219"/>
              <a:gd name="connsiteX4343" fmla="*/ 763644 w 6226010"/>
              <a:gd name="connsiteY4343" fmla="*/ 2570840 h 5756219"/>
              <a:gd name="connsiteX4344" fmla="*/ 793537 w 6226010"/>
              <a:gd name="connsiteY4344" fmla="*/ 2562687 h 5756219"/>
              <a:gd name="connsiteX4345" fmla="*/ 831584 w 6226010"/>
              <a:gd name="connsiteY4345" fmla="*/ 2508335 h 5756219"/>
              <a:gd name="connsiteX4346" fmla="*/ 798972 w 6226010"/>
              <a:gd name="connsiteY4346" fmla="*/ 2462136 h 5756219"/>
              <a:gd name="connsiteX4347" fmla="*/ 796255 w 6226010"/>
              <a:gd name="connsiteY4347" fmla="*/ 2530076 h 5756219"/>
              <a:gd name="connsiteX4348" fmla="*/ 771797 w 6226010"/>
              <a:gd name="connsiteY4348" fmla="*/ 2481159 h 5756219"/>
              <a:gd name="connsiteX4349" fmla="*/ 744621 w 6226010"/>
              <a:gd name="connsiteY4349" fmla="*/ 2497465 h 5756219"/>
              <a:gd name="connsiteX4350" fmla="*/ 720162 w 6226010"/>
              <a:gd name="connsiteY4350" fmla="*/ 2464854 h 5756219"/>
              <a:gd name="connsiteX4351" fmla="*/ 728315 w 6226010"/>
              <a:gd name="connsiteY4351" fmla="*/ 2516488 h 5756219"/>
              <a:gd name="connsiteX4352" fmla="*/ 709292 w 6226010"/>
              <a:gd name="connsiteY4352" fmla="*/ 2508335 h 5756219"/>
              <a:gd name="connsiteX4353" fmla="*/ 682116 w 6226010"/>
              <a:gd name="connsiteY4353" fmla="*/ 2543664 h 5756219"/>
              <a:gd name="connsiteX4354" fmla="*/ 709292 w 6226010"/>
              <a:gd name="connsiteY4354" fmla="*/ 2437679 h 5756219"/>
              <a:gd name="connsiteX4355" fmla="*/ 679398 w 6226010"/>
              <a:gd name="connsiteY4355" fmla="*/ 2421372 h 5756219"/>
              <a:gd name="connsiteX4356" fmla="*/ 679398 w 6226010"/>
              <a:gd name="connsiteY4356" fmla="*/ 2364303 h 5756219"/>
              <a:gd name="connsiteX4357" fmla="*/ 638634 w 6226010"/>
              <a:gd name="connsiteY4357" fmla="*/ 2361585 h 5756219"/>
              <a:gd name="connsiteX4358" fmla="*/ 4965046 w 6226010"/>
              <a:gd name="connsiteY4358" fmla="*/ 2334409 h 5756219"/>
              <a:gd name="connsiteX4359" fmla="*/ 4956893 w 6226010"/>
              <a:gd name="connsiteY4359" fmla="*/ 2350715 h 5756219"/>
              <a:gd name="connsiteX4360" fmla="*/ 4943305 w 6226010"/>
              <a:gd name="connsiteY4360" fmla="*/ 2347997 h 5756219"/>
              <a:gd name="connsiteX4361" fmla="*/ 4978634 w 6226010"/>
              <a:gd name="connsiteY4361" fmla="*/ 2347997 h 5756219"/>
              <a:gd name="connsiteX4362" fmla="*/ 4965046 w 6226010"/>
              <a:gd name="connsiteY4362" fmla="*/ 2334409 h 5756219"/>
              <a:gd name="connsiteX4363" fmla="*/ 5011245 w 6226010"/>
              <a:gd name="connsiteY4363" fmla="*/ 2328975 h 5756219"/>
              <a:gd name="connsiteX4364" fmla="*/ 4978634 w 6226010"/>
              <a:gd name="connsiteY4364" fmla="*/ 2331692 h 5756219"/>
              <a:gd name="connsiteX4365" fmla="*/ 4989504 w 6226010"/>
              <a:gd name="connsiteY4365" fmla="*/ 2358868 h 5756219"/>
              <a:gd name="connsiteX4366" fmla="*/ 5011245 w 6226010"/>
              <a:gd name="connsiteY4366" fmla="*/ 2328975 h 5756219"/>
              <a:gd name="connsiteX4367" fmla="*/ 486449 w 6226010"/>
              <a:gd name="connsiteY4367" fmla="*/ 2326256 h 5756219"/>
              <a:gd name="connsiteX4368" fmla="*/ 467426 w 6226010"/>
              <a:gd name="connsiteY4368" fmla="*/ 2339844 h 5756219"/>
              <a:gd name="connsiteX4369" fmla="*/ 388616 w 6226010"/>
              <a:gd name="connsiteY4369" fmla="*/ 2342562 h 5756219"/>
              <a:gd name="connsiteX4370" fmla="*/ 375028 w 6226010"/>
              <a:gd name="connsiteY4370" fmla="*/ 2394197 h 5756219"/>
              <a:gd name="connsiteX4371" fmla="*/ 486449 w 6226010"/>
              <a:gd name="connsiteY4371" fmla="*/ 2326256 h 5756219"/>
              <a:gd name="connsiteX4372" fmla="*/ 5225935 w 6226010"/>
              <a:gd name="connsiteY4372" fmla="*/ 2312669 h 5756219"/>
              <a:gd name="connsiteX4373" fmla="*/ 5193324 w 6226010"/>
              <a:gd name="connsiteY4373" fmla="*/ 2372456 h 5756219"/>
              <a:gd name="connsiteX4374" fmla="*/ 5187888 w 6226010"/>
              <a:gd name="connsiteY4374" fmla="*/ 2367020 h 5756219"/>
              <a:gd name="connsiteX4375" fmla="*/ 5179736 w 6226010"/>
              <a:gd name="connsiteY4375" fmla="*/ 2388762 h 5756219"/>
              <a:gd name="connsiteX4376" fmla="*/ 5163430 w 6226010"/>
              <a:gd name="connsiteY4376" fmla="*/ 2383327 h 5756219"/>
              <a:gd name="connsiteX4377" fmla="*/ 5130819 w 6226010"/>
              <a:gd name="connsiteY4377" fmla="*/ 2434961 h 5756219"/>
              <a:gd name="connsiteX4378" fmla="*/ 5160712 w 6226010"/>
              <a:gd name="connsiteY4378" fmla="*/ 2462136 h 5756219"/>
              <a:gd name="connsiteX4379" fmla="*/ 5236805 w 6226010"/>
              <a:gd name="connsiteY4379" fmla="*/ 2372456 h 5756219"/>
              <a:gd name="connsiteX4380" fmla="*/ 5225935 w 6226010"/>
              <a:gd name="connsiteY4380" fmla="*/ 2312669 h 5756219"/>
              <a:gd name="connsiteX4381" fmla="*/ 5160712 w 6226010"/>
              <a:gd name="connsiteY4381" fmla="*/ 2301799 h 5756219"/>
              <a:gd name="connsiteX4382" fmla="*/ 5163430 w 6226010"/>
              <a:gd name="connsiteY4382" fmla="*/ 2375173 h 5756219"/>
              <a:gd name="connsiteX4383" fmla="*/ 5179736 w 6226010"/>
              <a:gd name="connsiteY4383" fmla="*/ 2358868 h 5756219"/>
              <a:gd name="connsiteX4384" fmla="*/ 5177018 w 6226010"/>
              <a:gd name="connsiteY4384" fmla="*/ 2339844 h 5756219"/>
              <a:gd name="connsiteX4385" fmla="*/ 5160712 w 6226010"/>
              <a:gd name="connsiteY4385" fmla="*/ 2301799 h 5756219"/>
              <a:gd name="connsiteX4386" fmla="*/ 4997657 w 6226010"/>
              <a:gd name="connsiteY4386" fmla="*/ 2277341 h 5756219"/>
              <a:gd name="connsiteX4387" fmla="*/ 4994939 w 6226010"/>
              <a:gd name="connsiteY4387" fmla="*/ 2307234 h 5756219"/>
              <a:gd name="connsiteX4388" fmla="*/ 4997657 w 6226010"/>
              <a:gd name="connsiteY4388" fmla="*/ 2277341 h 5756219"/>
              <a:gd name="connsiteX4389" fmla="*/ 552648 w 6226010"/>
              <a:gd name="connsiteY4389" fmla="*/ 2277086 h 5756219"/>
              <a:gd name="connsiteX4390" fmla="*/ 516343 w 6226010"/>
              <a:gd name="connsiteY4390" fmla="*/ 2309952 h 5756219"/>
              <a:gd name="connsiteX4391" fmla="*/ 508190 w 6226010"/>
              <a:gd name="connsiteY4391" fmla="*/ 2391479 h 5756219"/>
              <a:gd name="connsiteX4392" fmla="*/ 557107 w 6226010"/>
              <a:gd name="connsiteY4392" fmla="*/ 2394197 h 5756219"/>
              <a:gd name="connsiteX4393" fmla="*/ 570695 w 6226010"/>
              <a:gd name="connsiteY4393" fmla="*/ 2282776 h 5756219"/>
              <a:gd name="connsiteX4394" fmla="*/ 552648 w 6226010"/>
              <a:gd name="connsiteY4394" fmla="*/ 2277086 h 5756219"/>
              <a:gd name="connsiteX4395" fmla="*/ 5052009 w 6226010"/>
              <a:gd name="connsiteY4395" fmla="*/ 2274623 h 5756219"/>
              <a:gd name="connsiteX4396" fmla="*/ 5041138 w 6226010"/>
              <a:gd name="connsiteY4396" fmla="*/ 2320822 h 5756219"/>
              <a:gd name="connsiteX4397" fmla="*/ 5005810 w 6226010"/>
              <a:gd name="connsiteY4397" fmla="*/ 2350715 h 5756219"/>
              <a:gd name="connsiteX4398" fmla="*/ 5030268 w 6226010"/>
              <a:gd name="connsiteY4398" fmla="*/ 2356150 h 5756219"/>
              <a:gd name="connsiteX4399" fmla="*/ 5016680 w 6226010"/>
              <a:gd name="connsiteY4399" fmla="*/ 2350715 h 5756219"/>
              <a:gd name="connsiteX4400" fmla="*/ 5043856 w 6226010"/>
              <a:gd name="connsiteY4400" fmla="*/ 2337127 h 5756219"/>
              <a:gd name="connsiteX4401" fmla="*/ 5062879 w 6226010"/>
              <a:gd name="connsiteY4401" fmla="*/ 2356150 h 5756219"/>
              <a:gd name="connsiteX4402" fmla="*/ 5052009 w 6226010"/>
              <a:gd name="connsiteY4402" fmla="*/ 2353432 h 5756219"/>
              <a:gd name="connsiteX4403" fmla="*/ 5046574 w 6226010"/>
              <a:gd name="connsiteY4403" fmla="*/ 2367020 h 5756219"/>
              <a:gd name="connsiteX4404" fmla="*/ 5065597 w 6226010"/>
              <a:gd name="connsiteY4404" fmla="*/ 2386044 h 5756219"/>
              <a:gd name="connsiteX4405" fmla="*/ 5106361 w 6226010"/>
              <a:gd name="connsiteY4405" fmla="*/ 2356150 h 5756219"/>
              <a:gd name="connsiteX4406" fmla="*/ 5043856 w 6226010"/>
              <a:gd name="connsiteY4406" fmla="*/ 2299081 h 5756219"/>
              <a:gd name="connsiteX4407" fmla="*/ 5052009 w 6226010"/>
              <a:gd name="connsiteY4407" fmla="*/ 2288210 h 5756219"/>
              <a:gd name="connsiteX4408" fmla="*/ 5084620 w 6226010"/>
              <a:gd name="connsiteY4408" fmla="*/ 2301799 h 5756219"/>
              <a:gd name="connsiteX4409" fmla="*/ 5052009 w 6226010"/>
              <a:gd name="connsiteY4409" fmla="*/ 2274623 h 5756219"/>
              <a:gd name="connsiteX4410" fmla="*/ 4943305 w 6226010"/>
              <a:gd name="connsiteY4410" fmla="*/ 2261035 h 5756219"/>
              <a:gd name="connsiteX4411" fmla="*/ 4943305 w 6226010"/>
              <a:gd name="connsiteY4411" fmla="*/ 2263752 h 5756219"/>
              <a:gd name="connsiteX4412" fmla="*/ 4946023 w 6226010"/>
              <a:gd name="connsiteY4412" fmla="*/ 2277341 h 5756219"/>
              <a:gd name="connsiteX4413" fmla="*/ 4946023 w 6226010"/>
              <a:gd name="connsiteY4413" fmla="*/ 2261035 h 5756219"/>
              <a:gd name="connsiteX4414" fmla="*/ 4943305 w 6226010"/>
              <a:gd name="connsiteY4414" fmla="*/ 2261035 h 5756219"/>
              <a:gd name="connsiteX4415" fmla="*/ 444623 w 6226010"/>
              <a:gd name="connsiteY4415" fmla="*/ 2250844 h 5756219"/>
              <a:gd name="connsiteX4416" fmla="*/ 426662 w 6226010"/>
              <a:gd name="connsiteY4416" fmla="*/ 2255600 h 5756219"/>
              <a:gd name="connsiteX4417" fmla="*/ 500037 w 6226010"/>
              <a:gd name="connsiteY4417" fmla="*/ 2293645 h 5756219"/>
              <a:gd name="connsiteX4418" fmla="*/ 444623 w 6226010"/>
              <a:gd name="connsiteY4418" fmla="*/ 2250844 h 5756219"/>
              <a:gd name="connsiteX4419" fmla="*/ 899523 w 6226010"/>
              <a:gd name="connsiteY4419" fmla="*/ 2244730 h 5756219"/>
              <a:gd name="connsiteX4420" fmla="*/ 869630 w 6226010"/>
              <a:gd name="connsiteY4420" fmla="*/ 2320822 h 5756219"/>
              <a:gd name="connsiteX4421" fmla="*/ 885935 w 6226010"/>
              <a:gd name="connsiteY4421" fmla="*/ 2252882 h 5756219"/>
              <a:gd name="connsiteX4422" fmla="*/ 845172 w 6226010"/>
              <a:gd name="connsiteY4422" fmla="*/ 2263752 h 5756219"/>
              <a:gd name="connsiteX4423" fmla="*/ 823431 w 6226010"/>
              <a:gd name="connsiteY4423" fmla="*/ 2301799 h 5756219"/>
              <a:gd name="connsiteX4424" fmla="*/ 774514 w 6226010"/>
              <a:gd name="connsiteY4424" fmla="*/ 2288210 h 5756219"/>
              <a:gd name="connsiteX4425" fmla="*/ 796255 w 6226010"/>
              <a:gd name="connsiteY4425" fmla="*/ 2369738 h 5756219"/>
              <a:gd name="connsiteX4426" fmla="*/ 733750 w 6226010"/>
              <a:gd name="connsiteY4426" fmla="*/ 2280058 h 5756219"/>
              <a:gd name="connsiteX4427" fmla="*/ 750056 w 6226010"/>
              <a:gd name="connsiteY4427" fmla="*/ 2328975 h 5756219"/>
              <a:gd name="connsiteX4428" fmla="*/ 731033 w 6226010"/>
              <a:gd name="connsiteY4428" fmla="*/ 2307234 h 5756219"/>
              <a:gd name="connsiteX4429" fmla="*/ 692986 w 6226010"/>
              <a:gd name="connsiteY4429" fmla="*/ 2328975 h 5756219"/>
              <a:gd name="connsiteX4430" fmla="*/ 760926 w 6226010"/>
              <a:gd name="connsiteY4430" fmla="*/ 2369738 h 5756219"/>
              <a:gd name="connsiteX4431" fmla="*/ 823431 w 6226010"/>
              <a:gd name="connsiteY4431" fmla="*/ 2429526 h 5756219"/>
              <a:gd name="connsiteX4432" fmla="*/ 834301 w 6226010"/>
              <a:gd name="connsiteY4432" fmla="*/ 2405067 h 5756219"/>
              <a:gd name="connsiteX4433" fmla="*/ 858760 w 6226010"/>
              <a:gd name="connsiteY4433" fmla="*/ 2453983 h 5756219"/>
              <a:gd name="connsiteX4434" fmla="*/ 861477 w 6226010"/>
              <a:gd name="connsiteY4434" fmla="*/ 2426807 h 5756219"/>
              <a:gd name="connsiteX4435" fmla="*/ 885935 w 6226010"/>
              <a:gd name="connsiteY4435" fmla="*/ 2437679 h 5756219"/>
              <a:gd name="connsiteX4436" fmla="*/ 904959 w 6226010"/>
              <a:gd name="connsiteY4436" fmla="*/ 2318105 h 5756219"/>
              <a:gd name="connsiteX4437" fmla="*/ 937570 w 6226010"/>
              <a:gd name="connsiteY4437" fmla="*/ 2315387 h 5756219"/>
              <a:gd name="connsiteX4438" fmla="*/ 932135 w 6226010"/>
              <a:gd name="connsiteY4438" fmla="*/ 2299081 h 5756219"/>
              <a:gd name="connsiteX4439" fmla="*/ 943005 w 6226010"/>
              <a:gd name="connsiteY4439" fmla="*/ 2293645 h 5756219"/>
              <a:gd name="connsiteX4440" fmla="*/ 899523 w 6226010"/>
              <a:gd name="connsiteY4440" fmla="*/ 2244730 h 5756219"/>
              <a:gd name="connsiteX4441" fmla="*/ 5041138 w 6226010"/>
              <a:gd name="connsiteY4441" fmla="*/ 2233858 h 5756219"/>
              <a:gd name="connsiteX4442" fmla="*/ 5005810 w 6226010"/>
              <a:gd name="connsiteY4442" fmla="*/ 2263752 h 5756219"/>
              <a:gd name="connsiteX4443" fmla="*/ 5035703 w 6226010"/>
              <a:gd name="connsiteY4443" fmla="*/ 2271904 h 5756219"/>
              <a:gd name="connsiteX4444" fmla="*/ 5041138 w 6226010"/>
              <a:gd name="connsiteY4444" fmla="*/ 2233858 h 5756219"/>
              <a:gd name="connsiteX4445" fmla="*/ 4943305 w 6226010"/>
              <a:gd name="connsiteY4445" fmla="*/ 2231141 h 5756219"/>
              <a:gd name="connsiteX4446" fmla="*/ 4929717 w 6226010"/>
              <a:gd name="connsiteY4446" fmla="*/ 2250165 h 5756219"/>
              <a:gd name="connsiteX4447" fmla="*/ 4943305 w 6226010"/>
              <a:gd name="connsiteY4447" fmla="*/ 2250165 h 5756219"/>
              <a:gd name="connsiteX4448" fmla="*/ 4948740 w 6226010"/>
              <a:gd name="connsiteY4448" fmla="*/ 2236577 h 5756219"/>
              <a:gd name="connsiteX4449" fmla="*/ 4943305 w 6226010"/>
              <a:gd name="connsiteY4449" fmla="*/ 2231141 h 5756219"/>
              <a:gd name="connsiteX4450" fmla="*/ 663093 w 6226010"/>
              <a:gd name="connsiteY4450" fmla="*/ 2231141 h 5756219"/>
              <a:gd name="connsiteX4451" fmla="*/ 606023 w 6226010"/>
              <a:gd name="connsiteY4451" fmla="*/ 2252882 h 5756219"/>
              <a:gd name="connsiteX4452" fmla="*/ 619611 w 6226010"/>
              <a:gd name="connsiteY4452" fmla="*/ 2269187 h 5756219"/>
              <a:gd name="connsiteX4453" fmla="*/ 625046 w 6226010"/>
              <a:gd name="connsiteY4453" fmla="*/ 2244730 h 5756219"/>
              <a:gd name="connsiteX4454" fmla="*/ 652222 w 6226010"/>
              <a:gd name="connsiteY4454" fmla="*/ 2307234 h 5756219"/>
              <a:gd name="connsiteX4455" fmla="*/ 635917 w 6226010"/>
              <a:gd name="connsiteY4455" fmla="*/ 2301799 h 5756219"/>
              <a:gd name="connsiteX4456" fmla="*/ 657658 w 6226010"/>
              <a:gd name="connsiteY4456" fmla="*/ 2318105 h 5756219"/>
              <a:gd name="connsiteX4457" fmla="*/ 663093 w 6226010"/>
              <a:gd name="connsiteY4457" fmla="*/ 2231141 h 5756219"/>
              <a:gd name="connsiteX4458" fmla="*/ 5190606 w 6226010"/>
              <a:gd name="connsiteY4458" fmla="*/ 2225705 h 5756219"/>
              <a:gd name="connsiteX4459" fmla="*/ 5166148 w 6226010"/>
              <a:gd name="connsiteY4459" fmla="*/ 2252882 h 5756219"/>
              <a:gd name="connsiteX4460" fmla="*/ 5182453 w 6226010"/>
              <a:gd name="connsiteY4460" fmla="*/ 2255600 h 5756219"/>
              <a:gd name="connsiteX4461" fmla="*/ 5190606 w 6226010"/>
              <a:gd name="connsiteY4461" fmla="*/ 2282776 h 5756219"/>
              <a:gd name="connsiteX4462" fmla="*/ 5168865 w 6226010"/>
              <a:gd name="connsiteY4462" fmla="*/ 2263752 h 5756219"/>
              <a:gd name="connsiteX4463" fmla="*/ 5182453 w 6226010"/>
              <a:gd name="connsiteY4463" fmla="*/ 2315387 h 5756219"/>
              <a:gd name="connsiteX4464" fmla="*/ 5234088 w 6226010"/>
              <a:gd name="connsiteY4464" fmla="*/ 2296363 h 5756219"/>
              <a:gd name="connsiteX4465" fmla="*/ 5239523 w 6226010"/>
              <a:gd name="connsiteY4465" fmla="*/ 2252882 h 5756219"/>
              <a:gd name="connsiteX4466" fmla="*/ 5225935 w 6226010"/>
              <a:gd name="connsiteY4466" fmla="*/ 2255600 h 5756219"/>
              <a:gd name="connsiteX4467" fmla="*/ 5231370 w 6226010"/>
              <a:gd name="connsiteY4467" fmla="*/ 2288210 h 5756219"/>
              <a:gd name="connsiteX4468" fmla="*/ 5220500 w 6226010"/>
              <a:gd name="connsiteY4468" fmla="*/ 2290928 h 5756219"/>
              <a:gd name="connsiteX4469" fmla="*/ 5193324 w 6226010"/>
              <a:gd name="connsiteY4469" fmla="*/ 2252882 h 5756219"/>
              <a:gd name="connsiteX4470" fmla="*/ 5206912 w 6226010"/>
              <a:gd name="connsiteY4470" fmla="*/ 2247447 h 5756219"/>
              <a:gd name="connsiteX4471" fmla="*/ 5190606 w 6226010"/>
              <a:gd name="connsiteY4471" fmla="*/ 2225705 h 5756219"/>
              <a:gd name="connsiteX4472" fmla="*/ 5760470 w 6226010"/>
              <a:gd name="connsiteY4472" fmla="*/ 2221198 h 5756219"/>
              <a:gd name="connsiteX4473" fmla="*/ 5761428 w 6226010"/>
              <a:gd name="connsiteY4473" fmla="*/ 2222564 h 5756219"/>
              <a:gd name="connsiteX4474" fmla="*/ 5765159 w 6226010"/>
              <a:gd name="connsiteY4474" fmla="*/ 2224599 h 5756219"/>
              <a:gd name="connsiteX4475" fmla="*/ 5765038 w 6226010"/>
              <a:gd name="connsiteY4475" fmla="*/ 2224688 h 5756219"/>
              <a:gd name="connsiteX4476" fmla="*/ 5761301 w 6226010"/>
              <a:gd name="connsiteY4476" fmla="*/ 2233858 h 5756219"/>
              <a:gd name="connsiteX4477" fmla="*/ 5777607 w 6226010"/>
              <a:gd name="connsiteY4477" fmla="*/ 2228423 h 5756219"/>
              <a:gd name="connsiteX4478" fmla="*/ 5747713 w 6226010"/>
              <a:gd name="connsiteY4478" fmla="*/ 2242012 h 5756219"/>
              <a:gd name="connsiteX4479" fmla="*/ 5756205 w 6226010"/>
              <a:gd name="connsiteY4479" fmla="*/ 2224688 h 5756219"/>
              <a:gd name="connsiteX4480" fmla="*/ 5774889 w 6226010"/>
              <a:gd name="connsiteY4480" fmla="*/ 2217554 h 5756219"/>
              <a:gd name="connsiteX4481" fmla="*/ 5788817 w 6226010"/>
              <a:gd name="connsiteY4481" fmla="*/ 2218573 h 5756219"/>
              <a:gd name="connsiteX4482" fmla="*/ 5789604 w 6226010"/>
              <a:gd name="connsiteY4482" fmla="*/ 2218203 h 5756219"/>
              <a:gd name="connsiteX4483" fmla="*/ 5791195 w 6226010"/>
              <a:gd name="connsiteY4483" fmla="*/ 2220270 h 5756219"/>
              <a:gd name="connsiteX4484" fmla="*/ 5772171 w 6226010"/>
              <a:gd name="connsiteY4484" fmla="*/ 2228423 h 5756219"/>
              <a:gd name="connsiteX4485" fmla="*/ 5765159 w 6226010"/>
              <a:gd name="connsiteY4485" fmla="*/ 2224599 h 5756219"/>
              <a:gd name="connsiteX4486" fmla="*/ 956593 w 6226010"/>
              <a:gd name="connsiteY4486" fmla="*/ 2214835 h 5756219"/>
              <a:gd name="connsiteX4487" fmla="*/ 951158 w 6226010"/>
              <a:gd name="connsiteY4487" fmla="*/ 2236577 h 5756219"/>
              <a:gd name="connsiteX4488" fmla="*/ 972899 w 6226010"/>
              <a:gd name="connsiteY4488" fmla="*/ 2228423 h 5756219"/>
              <a:gd name="connsiteX4489" fmla="*/ 975616 w 6226010"/>
              <a:gd name="connsiteY4489" fmla="*/ 2242012 h 5756219"/>
              <a:gd name="connsiteX4490" fmla="*/ 989204 w 6226010"/>
              <a:gd name="connsiteY4490" fmla="*/ 2239293 h 5756219"/>
              <a:gd name="connsiteX4491" fmla="*/ 989204 w 6226010"/>
              <a:gd name="connsiteY4491" fmla="*/ 2233858 h 5756219"/>
              <a:gd name="connsiteX4492" fmla="*/ 956593 w 6226010"/>
              <a:gd name="connsiteY4492" fmla="*/ 2214835 h 5756219"/>
              <a:gd name="connsiteX4493" fmla="*/ 4989504 w 6226010"/>
              <a:gd name="connsiteY4493" fmla="*/ 2201248 h 5756219"/>
              <a:gd name="connsiteX4494" fmla="*/ 4962328 w 6226010"/>
              <a:gd name="connsiteY4494" fmla="*/ 2236577 h 5756219"/>
              <a:gd name="connsiteX4495" fmla="*/ 4981351 w 6226010"/>
              <a:gd name="connsiteY4495" fmla="*/ 2233858 h 5756219"/>
              <a:gd name="connsiteX4496" fmla="*/ 4965046 w 6226010"/>
              <a:gd name="connsiteY4496" fmla="*/ 2252882 h 5756219"/>
              <a:gd name="connsiteX4497" fmla="*/ 4951458 w 6226010"/>
              <a:gd name="connsiteY4497" fmla="*/ 2247447 h 5756219"/>
              <a:gd name="connsiteX4498" fmla="*/ 4946023 w 6226010"/>
              <a:gd name="connsiteY4498" fmla="*/ 2282776 h 5756219"/>
              <a:gd name="connsiteX4499" fmla="*/ 4965046 w 6226010"/>
              <a:gd name="connsiteY4499" fmla="*/ 2282776 h 5756219"/>
              <a:gd name="connsiteX4500" fmla="*/ 4965046 w 6226010"/>
              <a:gd name="connsiteY4500" fmla="*/ 2304516 h 5756219"/>
              <a:gd name="connsiteX4501" fmla="*/ 4943305 w 6226010"/>
              <a:gd name="connsiteY4501" fmla="*/ 2320822 h 5756219"/>
              <a:gd name="connsiteX4502" fmla="*/ 4913412 w 6226010"/>
              <a:gd name="connsiteY4502" fmla="*/ 2304516 h 5756219"/>
              <a:gd name="connsiteX4503" fmla="*/ 4907976 w 6226010"/>
              <a:gd name="connsiteY4503" fmla="*/ 2266470 h 5756219"/>
              <a:gd name="connsiteX4504" fmla="*/ 4899824 w 6226010"/>
              <a:gd name="connsiteY4504" fmla="*/ 2288210 h 5756219"/>
              <a:gd name="connsiteX4505" fmla="*/ 4899824 w 6226010"/>
              <a:gd name="connsiteY4505" fmla="*/ 2309952 h 5756219"/>
              <a:gd name="connsiteX4506" fmla="*/ 4907976 w 6226010"/>
              <a:gd name="connsiteY4506" fmla="*/ 2318105 h 5756219"/>
              <a:gd name="connsiteX4507" fmla="*/ 4907976 w 6226010"/>
              <a:gd name="connsiteY4507" fmla="*/ 2328975 h 5756219"/>
              <a:gd name="connsiteX4508" fmla="*/ 4954176 w 6226010"/>
              <a:gd name="connsiteY4508" fmla="*/ 2337127 h 5756219"/>
              <a:gd name="connsiteX4509" fmla="*/ 4965046 w 6226010"/>
              <a:gd name="connsiteY4509" fmla="*/ 2318105 h 5756219"/>
              <a:gd name="connsiteX4510" fmla="*/ 4989504 w 6226010"/>
              <a:gd name="connsiteY4510" fmla="*/ 2315387 h 5756219"/>
              <a:gd name="connsiteX4511" fmla="*/ 4997657 w 6226010"/>
              <a:gd name="connsiteY4511" fmla="*/ 2239293 h 5756219"/>
              <a:gd name="connsiteX4512" fmla="*/ 4989504 w 6226010"/>
              <a:gd name="connsiteY4512" fmla="*/ 2261035 h 5756219"/>
              <a:gd name="connsiteX4513" fmla="*/ 5008527 w 6226010"/>
              <a:gd name="connsiteY4513" fmla="*/ 2261035 h 5756219"/>
              <a:gd name="connsiteX4514" fmla="*/ 5011245 w 6226010"/>
              <a:gd name="connsiteY4514" fmla="*/ 2209400 h 5756219"/>
              <a:gd name="connsiteX4515" fmla="*/ 4997657 w 6226010"/>
              <a:gd name="connsiteY4515" fmla="*/ 2217554 h 5756219"/>
              <a:gd name="connsiteX4516" fmla="*/ 4989504 w 6226010"/>
              <a:gd name="connsiteY4516" fmla="*/ 2201248 h 5756219"/>
              <a:gd name="connsiteX4517" fmla="*/ 5609115 w 6226010"/>
              <a:gd name="connsiteY4517" fmla="*/ 2195813 h 5756219"/>
              <a:gd name="connsiteX4518" fmla="*/ 5620020 w 6226010"/>
              <a:gd name="connsiteY4518" fmla="*/ 2202711 h 5756219"/>
              <a:gd name="connsiteX4519" fmla="*/ 5620028 w 6226010"/>
              <a:gd name="connsiteY4519" fmla="*/ 2206343 h 5756219"/>
              <a:gd name="connsiteX4520" fmla="*/ 5632555 w 6226010"/>
              <a:gd name="connsiteY4520" fmla="*/ 2214835 h 5756219"/>
              <a:gd name="connsiteX4521" fmla="*/ 5639375 w 6226010"/>
              <a:gd name="connsiteY4521" fmla="*/ 2214956 h 5756219"/>
              <a:gd name="connsiteX4522" fmla="*/ 5642406 w 6226010"/>
              <a:gd name="connsiteY4522" fmla="*/ 2216874 h 5756219"/>
              <a:gd name="connsiteX4523" fmla="*/ 5650786 w 6226010"/>
              <a:gd name="connsiteY4523" fmla="*/ 2224800 h 5756219"/>
              <a:gd name="connsiteX4524" fmla="*/ 5647162 w 6226010"/>
              <a:gd name="connsiteY4524" fmla="*/ 2228423 h 5756219"/>
              <a:gd name="connsiteX4525" fmla="*/ 5655357 w 6226010"/>
              <a:gd name="connsiteY4525" fmla="*/ 2236109 h 5756219"/>
              <a:gd name="connsiteX4526" fmla="*/ 5658898 w 6226010"/>
              <a:gd name="connsiteY4526" fmla="*/ 2237070 h 5756219"/>
              <a:gd name="connsiteX4527" fmla="*/ 5663467 w 6226010"/>
              <a:gd name="connsiteY4527" fmla="*/ 2250165 h 5756219"/>
              <a:gd name="connsiteX4528" fmla="*/ 5673616 w 6226010"/>
              <a:gd name="connsiteY4528" fmla="*/ 2251523 h 5756219"/>
              <a:gd name="connsiteX4529" fmla="*/ 5680650 w 6226010"/>
              <a:gd name="connsiteY4529" fmla="*/ 2258215 h 5756219"/>
              <a:gd name="connsiteX4530" fmla="*/ 5676036 w 6226010"/>
              <a:gd name="connsiteY4530" fmla="*/ 2264771 h 5756219"/>
              <a:gd name="connsiteX4531" fmla="*/ 5663467 w 6226010"/>
              <a:gd name="connsiteY4531" fmla="*/ 2271904 h 5756219"/>
              <a:gd name="connsiteX4532" fmla="*/ 5658032 w 6226010"/>
              <a:gd name="connsiteY4532" fmla="*/ 2269187 h 5756219"/>
              <a:gd name="connsiteX4533" fmla="*/ 5660750 w 6226010"/>
              <a:gd name="connsiteY4533" fmla="*/ 2244730 h 5756219"/>
              <a:gd name="connsiteX4534" fmla="*/ 5628139 w 6226010"/>
              <a:gd name="connsiteY4534" fmla="*/ 2239293 h 5756219"/>
              <a:gd name="connsiteX4535" fmla="*/ 5644444 w 6226010"/>
              <a:gd name="connsiteY4535" fmla="*/ 2231141 h 5756219"/>
              <a:gd name="connsiteX4536" fmla="*/ 5604699 w 6226010"/>
              <a:gd name="connsiteY4536" fmla="*/ 2212033 h 5756219"/>
              <a:gd name="connsiteX4537" fmla="*/ 5599603 w 6226010"/>
              <a:gd name="connsiteY4537" fmla="*/ 2203018 h 5756219"/>
              <a:gd name="connsiteX4538" fmla="*/ 5231922 w 6226010"/>
              <a:gd name="connsiteY4538" fmla="*/ 2183371 h 5756219"/>
              <a:gd name="connsiteX4539" fmla="*/ 5223217 w 6226010"/>
              <a:gd name="connsiteY4539" fmla="*/ 2184943 h 5756219"/>
              <a:gd name="connsiteX4540" fmla="*/ 5228652 w 6226010"/>
              <a:gd name="connsiteY4540" fmla="*/ 2198531 h 5756219"/>
              <a:gd name="connsiteX4541" fmla="*/ 5196041 w 6226010"/>
              <a:gd name="connsiteY4541" fmla="*/ 2195813 h 5756219"/>
              <a:gd name="connsiteX4542" fmla="*/ 5234088 w 6226010"/>
              <a:gd name="connsiteY4542" fmla="*/ 2247447 h 5756219"/>
              <a:gd name="connsiteX4543" fmla="*/ 5217782 w 6226010"/>
              <a:gd name="connsiteY4543" fmla="*/ 2220270 h 5756219"/>
              <a:gd name="connsiteX4544" fmla="*/ 5242240 w 6226010"/>
              <a:gd name="connsiteY4544" fmla="*/ 2206683 h 5756219"/>
              <a:gd name="connsiteX4545" fmla="*/ 5231922 w 6226010"/>
              <a:gd name="connsiteY4545" fmla="*/ 2183371 h 5756219"/>
              <a:gd name="connsiteX4546" fmla="*/ 6186483 w 6226010"/>
              <a:gd name="connsiteY4546" fmla="*/ 2181698 h 5756219"/>
              <a:gd name="connsiteX4547" fmla="*/ 6187330 w 6226010"/>
              <a:gd name="connsiteY4547" fmla="*/ 2181744 h 5756219"/>
              <a:gd name="connsiteX4548" fmla="*/ 6187199 w 6226010"/>
              <a:gd name="connsiteY4548" fmla="*/ 2182055 h 5756219"/>
              <a:gd name="connsiteX4549" fmla="*/ 6187222 w 6226010"/>
              <a:gd name="connsiteY4549" fmla="*/ 2182224 h 5756219"/>
              <a:gd name="connsiteX4550" fmla="*/ 6186944 w 6226010"/>
              <a:gd name="connsiteY4550" fmla="*/ 2182224 h 5756219"/>
              <a:gd name="connsiteX4551" fmla="*/ 6184176 w 6226010"/>
              <a:gd name="connsiteY4551" fmla="*/ 2179061 h 5756219"/>
              <a:gd name="connsiteX4552" fmla="*/ 6186483 w 6226010"/>
              <a:gd name="connsiteY4552" fmla="*/ 2181698 h 5756219"/>
              <a:gd name="connsiteX4553" fmla="*/ 6184686 w 6226010"/>
              <a:gd name="connsiteY4553" fmla="*/ 2181600 h 5756219"/>
              <a:gd name="connsiteX4554" fmla="*/ 6184227 w 6226010"/>
              <a:gd name="connsiteY4554" fmla="*/ 2179507 h 5756219"/>
              <a:gd name="connsiteX4555" fmla="*/ 6186253 w 6226010"/>
              <a:gd name="connsiteY4555" fmla="*/ 2172676 h 5756219"/>
              <a:gd name="connsiteX4556" fmla="*/ 6183675 w 6226010"/>
              <a:gd name="connsiteY4556" fmla="*/ 2174666 h 5756219"/>
              <a:gd name="connsiteX4557" fmla="*/ 6184176 w 6226010"/>
              <a:gd name="connsiteY4557" fmla="*/ 2179061 h 5756219"/>
              <a:gd name="connsiteX4558" fmla="*/ 6179810 w 6226010"/>
              <a:gd name="connsiteY4558" fmla="*/ 2174071 h 5756219"/>
              <a:gd name="connsiteX4559" fmla="*/ 6193526 w 6226010"/>
              <a:gd name="connsiteY4559" fmla="*/ 2171099 h 5756219"/>
              <a:gd name="connsiteX4560" fmla="*/ 6226010 w 6226010"/>
              <a:gd name="connsiteY4560" fmla="*/ 2179506 h 5756219"/>
              <a:gd name="connsiteX4561" fmla="*/ 6187963 w 6226010"/>
              <a:gd name="connsiteY4561" fmla="*/ 2187659 h 5756219"/>
              <a:gd name="connsiteX4562" fmla="*/ 6187222 w 6226010"/>
              <a:gd name="connsiteY4562" fmla="*/ 2182224 h 5756219"/>
              <a:gd name="connsiteX4563" fmla="*/ 6196116 w 6226010"/>
              <a:gd name="connsiteY4563" fmla="*/ 2182224 h 5756219"/>
              <a:gd name="connsiteX4564" fmla="*/ 6187330 w 6226010"/>
              <a:gd name="connsiteY4564" fmla="*/ 2181744 h 5756219"/>
              <a:gd name="connsiteX4565" fmla="*/ 6190001 w 6226010"/>
              <a:gd name="connsiteY4565" fmla="*/ 2175430 h 5756219"/>
              <a:gd name="connsiteX4566" fmla="*/ 6191517 w 6226010"/>
              <a:gd name="connsiteY4566" fmla="*/ 2171534 h 5756219"/>
              <a:gd name="connsiteX4567" fmla="*/ 6191785 w 6226010"/>
              <a:gd name="connsiteY4567" fmla="*/ 2170845 h 5756219"/>
              <a:gd name="connsiteX4568" fmla="*/ 6191517 w 6226010"/>
              <a:gd name="connsiteY4568" fmla="*/ 2171534 h 5756219"/>
              <a:gd name="connsiteX4569" fmla="*/ 6186253 w 6226010"/>
              <a:gd name="connsiteY4569" fmla="*/ 2172676 h 5756219"/>
              <a:gd name="connsiteX4570" fmla="*/ 6187963 w 6226010"/>
              <a:gd name="connsiteY4570" fmla="*/ 2171354 h 5756219"/>
              <a:gd name="connsiteX4571" fmla="*/ 6191785 w 6226010"/>
              <a:gd name="connsiteY4571" fmla="*/ 2170845 h 5756219"/>
              <a:gd name="connsiteX4572" fmla="*/ 5589448 w 6226010"/>
              <a:gd name="connsiteY4572" fmla="*/ 2167744 h 5756219"/>
              <a:gd name="connsiteX4573" fmla="*/ 5590092 w 6226010"/>
              <a:gd name="connsiteY4573" fmla="*/ 2168975 h 5756219"/>
              <a:gd name="connsiteX4574" fmla="*/ 5591196 w 6226010"/>
              <a:gd name="connsiteY4574" fmla="*/ 2189231 h 5756219"/>
              <a:gd name="connsiteX4575" fmla="*/ 5589901 w 6226010"/>
              <a:gd name="connsiteY4575" fmla="*/ 2192687 h 5756219"/>
              <a:gd name="connsiteX4576" fmla="*/ 5586356 w 6226010"/>
              <a:gd name="connsiteY4576" fmla="*/ 2185111 h 5756219"/>
              <a:gd name="connsiteX4577" fmla="*/ 5571069 w 6226010"/>
              <a:gd name="connsiteY4577" fmla="*/ 2171354 h 5756219"/>
              <a:gd name="connsiteX4578" fmla="*/ 5728690 w 6226010"/>
              <a:gd name="connsiteY4578" fmla="*/ 2163202 h 5756219"/>
              <a:gd name="connsiteX4579" fmla="*/ 5774889 w 6226010"/>
              <a:gd name="connsiteY4579" fmla="*/ 2209400 h 5756219"/>
              <a:gd name="connsiteX4580" fmla="*/ 5760470 w 6226010"/>
              <a:gd name="connsiteY4580" fmla="*/ 2221198 h 5756219"/>
              <a:gd name="connsiteX4581" fmla="*/ 5755526 w 6226010"/>
              <a:gd name="connsiteY4581" fmla="*/ 2214157 h 5756219"/>
              <a:gd name="connsiteX4582" fmla="*/ 5744995 w 6226010"/>
              <a:gd name="connsiteY4582" fmla="*/ 2195813 h 5756219"/>
              <a:gd name="connsiteX4583" fmla="*/ 5726269 w 6226010"/>
              <a:gd name="connsiteY4583" fmla="*/ 2184433 h 5756219"/>
              <a:gd name="connsiteX4584" fmla="*/ 5712931 w 6226010"/>
              <a:gd name="connsiteY4584" fmla="*/ 2180444 h 5756219"/>
              <a:gd name="connsiteX4585" fmla="*/ 5717819 w 6226010"/>
              <a:gd name="connsiteY4585" fmla="*/ 2174411 h 5756219"/>
              <a:gd name="connsiteX4586" fmla="*/ 5728690 w 6226010"/>
              <a:gd name="connsiteY4586" fmla="*/ 2163202 h 5756219"/>
              <a:gd name="connsiteX4587" fmla="*/ 4359021 w 6226010"/>
              <a:gd name="connsiteY4587" fmla="*/ 2160484 h 5756219"/>
              <a:gd name="connsiteX4588" fmla="*/ 4359021 w 6226010"/>
              <a:gd name="connsiteY4588" fmla="*/ 2176789 h 5756219"/>
              <a:gd name="connsiteX4589" fmla="*/ 4372609 w 6226010"/>
              <a:gd name="connsiteY4589" fmla="*/ 2182224 h 5756219"/>
              <a:gd name="connsiteX4590" fmla="*/ 4372609 w 6226010"/>
              <a:gd name="connsiteY4590" fmla="*/ 2160484 h 5756219"/>
              <a:gd name="connsiteX4591" fmla="*/ 6119977 w 6226010"/>
              <a:gd name="connsiteY4591" fmla="*/ 2152982 h 5756219"/>
              <a:gd name="connsiteX4592" fmla="*/ 6126180 w 6226010"/>
              <a:gd name="connsiteY4592" fmla="*/ 2153945 h 5756219"/>
              <a:gd name="connsiteX4593" fmla="*/ 6150256 w 6226010"/>
              <a:gd name="connsiteY4593" fmla="*/ 2167957 h 5756219"/>
              <a:gd name="connsiteX4594" fmla="*/ 6169074 w 6226010"/>
              <a:gd name="connsiteY4594" fmla="*/ 2178801 h 5756219"/>
              <a:gd name="connsiteX4595" fmla="*/ 6168940 w 6226010"/>
              <a:gd name="connsiteY4595" fmla="*/ 2179506 h 5756219"/>
              <a:gd name="connsiteX4596" fmla="*/ 6169542 w 6226010"/>
              <a:gd name="connsiteY4596" fmla="*/ 2179070 h 5756219"/>
              <a:gd name="connsiteX4597" fmla="*/ 6172804 w 6226010"/>
              <a:gd name="connsiteY4597" fmla="*/ 2180950 h 5756219"/>
              <a:gd name="connsiteX4598" fmla="*/ 6184686 w 6226010"/>
              <a:gd name="connsiteY4598" fmla="*/ 2181600 h 5756219"/>
              <a:gd name="connsiteX4599" fmla="*/ 6185288 w 6226010"/>
              <a:gd name="connsiteY4599" fmla="*/ 2184347 h 5756219"/>
              <a:gd name="connsiteX4600" fmla="*/ 6182528 w 6226010"/>
              <a:gd name="connsiteY4600" fmla="*/ 2187659 h 5756219"/>
              <a:gd name="connsiteX4601" fmla="*/ 6160830 w 6226010"/>
              <a:gd name="connsiteY4601" fmla="*/ 2188169 h 5756219"/>
              <a:gd name="connsiteX4602" fmla="*/ 6153300 w 6226010"/>
              <a:gd name="connsiteY4602" fmla="*/ 2184413 h 5756219"/>
              <a:gd name="connsiteX4603" fmla="*/ 6155352 w 6226010"/>
              <a:gd name="connsiteY4603" fmla="*/ 2182224 h 5756219"/>
              <a:gd name="connsiteX4604" fmla="*/ 6141467 w 6226010"/>
              <a:gd name="connsiteY4604" fmla="*/ 2172161 h 5756219"/>
              <a:gd name="connsiteX4605" fmla="*/ 6135365 w 6226010"/>
              <a:gd name="connsiteY4605" fmla="*/ 2170361 h 5756219"/>
              <a:gd name="connsiteX4606" fmla="*/ 5316814 w 6226010"/>
              <a:gd name="connsiteY4606" fmla="*/ 2146792 h 5756219"/>
              <a:gd name="connsiteX4607" fmla="*/ 5320711 w 6226010"/>
              <a:gd name="connsiteY4607" fmla="*/ 2147235 h 5756219"/>
              <a:gd name="connsiteX4608" fmla="*/ 5330056 w 6226010"/>
              <a:gd name="connsiteY4608" fmla="*/ 2153867 h 5756219"/>
              <a:gd name="connsiteX4609" fmla="*/ 6079678 w 6226010"/>
              <a:gd name="connsiteY4609" fmla="*/ 2146479 h 5756219"/>
              <a:gd name="connsiteX4610" fmla="*/ 6087412 w 6226010"/>
              <a:gd name="connsiteY4610" fmla="*/ 2146895 h 5756219"/>
              <a:gd name="connsiteX4611" fmla="*/ 6079259 w 6226010"/>
              <a:gd name="connsiteY4611" fmla="*/ 2157767 h 5756219"/>
              <a:gd name="connsiteX4612" fmla="*/ 6115267 w 6226010"/>
              <a:gd name="connsiteY4612" fmla="*/ 2173392 h 5756219"/>
              <a:gd name="connsiteX4613" fmla="*/ 6115830 w 6226010"/>
              <a:gd name="connsiteY4613" fmla="*/ 2173739 h 5756219"/>
              <a:gd name="connsiteX4614" fmla="*/ 6117306 w 6226010"/>
              <a:gd name="connsiteY4614" fmla="*/ 2176789 h 5756219"/>
              <a:gd name="connsiteX4615" fmla="*/ 6071107 w 6226010"/>
              <a:gd name="connsiteY4615" fmla="*/ 2155048 h 5756219"/>
              <a:gd name="connsiteX4616" fmla="*/ 5570199 w 6226010"/>
              <a:gd name="connsiteY4616" fmla="*/ 2145447 h 5756219"/>
              <a:gd name="connsiteX4617" fmla="*/ 5580835 w 6226010"/>
              <a:gd name="connsiteY4617" fmla="*/ 2151269 h 5756219"/>
              <a:gd name="connsiteX4618" fmla="*/ 5582507 w 6226010"/>
              <a:gd name="connsiteY4618" fmla="*/ 2154466 h 5756219"/>
              <a:gd name="connsiteX4619" fmla="*/ 5562916 w 6226010"/>
              <a:gd name="connsiteY4619" fmla="*/ 2165919 h 5756219"/>
              <a:gd name="connsiteX4620" fmla="*/ 5560538 w 6226010"/>
              <a:gd name="connsiteY4620" fmla="*/ 2157767 h 5756219"/>
              <a:gd name="connsiteX4621" fmla="*/ 5560275 w 6226010"/>
              <a:gd name="connsiteY4621" fmla="*/ 2151438 h 5756219"/>
              <a:gd name="connsiteX4622" fmla="*/ 5565634 w 6226010"/>
              <a:gd name="connsiteY4622" fmla="*/ 2152332 h 5756219"/>
              <a:gd name="connsiteX4623" fmla="*/ 5563790 w 6226010"/>
              <a:gd name="connsiteY4623" fmla="*/ 2148117 h 5756219"/>
              <a:gd name="connsiteX4624" fmla="*/ 4994939 w 6226010"/>
              <a:gd name="connsiteY4624" fmla="*/ 2138743 h 5756219"/>
              <a:gd name="connsiteX4625" fmla="*/ 4965046 w 6226010"/>
              <a:gd name="connsiteY4625" fmla="*/ 2155048 h 5756219"/>
              <a:gd name="connsiteX4626" fmla="*/ 4946023 w 6226010"/>
              <a:gd name="connsiteY4626" fmla="*/ 2168636 h 5756219"/>
              <a:gd name="connsiteX4627" fmla="*/ 4959611 w 6226010"/>
              <a:gd name="connsiteY4627" fmla="*/ 2187659 h 5756219"/>
              <a:gd name="connsiteX4628" fmla="*/ 4935152 w 6226010"/>
              <a:gd name="connsiteY4628" fmla="*/ 2214835 h 5756219"/>
              <a:gd name="connsiteX4629" fmla="*/ 4956893 w 6226010"/>
              <a:gd name="connsiteY4629" fmla="*/ 2217554 h 5756219"/>
              <a:gd name="connsiteX4630" fmla="*/ 4970481 w 6226010"/>
              <a:gd name="connsiteY4630" fmla="*/ 2203965 h 5756219"/>
              <a:gd name="connsiteX4631" fmla="*/ 4965046 w 6226010"/>
              <a:gd name="connsiteY4631" fmla="*/ 2168636 h 5756219"/>
              <a:gd name="connsiteX4632" fmla="*/ 4984069 w 6226010"/>
              <a:gd name="connsiteY4632" fmla="*/ 2165919 h 5756219"/>
              <a:gd name="connsiteX4633" fmla="*/ 4994939 w 6226010"/>
              <a:gd name="connsiteY4633" fmla="*/ 2138743 h 5756219"/>
              <a:gd name="connsiteX4634" fmla="*/ 1149542 w 6226010"/>
              <a:gd name="connsiteY4634" fmla="*/ 2138743 h 5756219"/>
              <a:gd name="connsiteX4635" fmla="*/ 1106061 w 6226010"/>
              <a:gd name="connsiteY4635" fmla="*/ 2149613 h 5756219"/>
              <a:gd name="connsiteX4636" fmla="*/ 1152260 w 6226010"/>
              <a:gd name="connsiteY4636" fmla="*/ 2184943 h 5756219"/>
              <a:gd name="connsiteX4637" fmla="*/ 1160413 w 6226010"/>
              <a:gd name="connsiteY4637" fmla="*/ 2182224 h 5756219"/>
              <a:gd name="connsiteX4638" fmla="*/ 1193024 w 6226010"/>
              <a:gd name="connsiteY4638" fmla="*/ 2144178 h 5756219"/>
              <a:gd name="connsiteX4639" fmla="*/ 1157695 w 6226010"/>
              <a:gd name="connsiteY4639" fmla="*/ 2165919 h 5756219"/>
              <a:gd name="connsiteX4640" fmla="*/ 1149542 w 6226010"/>
              <a:gd name="connsiteY4640" fmla="*/ 2138743 h 5756219"/>
              <a:gd name="connsiteX4641" fmla="*/ 5652003 w 6226010"/>
              <a:gd name="connsiteY4641" fmla="*/ 2138107 h 5756219"/>
              <a:gd name="connsiteX4642" fmla="*/ 5633574 w 6226010"/>
              <a:gd name="connsiteY4642" fmla="*/ 2141460 h 5756219"/>
              <a:gd name="connsiteX4643" fmla="*/ 5641727 w 6226010"/>
              <a:gd name="connsiteY4643" fmla="*/ 2160484 h 5756219"/>
              <a:gd name="connsiteX4644" fmla="*/ 5652597 w 6226010"/>
              <a:gd name="connsiteY4644" fmla="*/ 2157767 h 5756219"/>
              <a:gd name="connsiteX4645" fmla="*/ 5644444 w 6226010"/>
              <a:gd name="connsiteY4645" fmla="*/ 2174071 h 5756219"/>
              <a:gd name="connsiteX4646" fmla="*/ 5663467 w 6226010"/>
              <a:gd name="connsiteY4646" fmla="*/ 2171354 h 5756219"/>
              <a:gd name="connsiteX4647" fmla="*/ 5652003 w 6226010"/>
              <a:gd name="connsiteY4647" fmla="*/ 2138107 h 5756219"/>
              <a:gd name="connsiteX4648" fmla="*/ 5560199 w 6226010"/>
              <a:gd name="connsiteY4648" fmla="*/ 2125155 h 5756219"/>
              <a:gd name="connsiteX4649" fmla="*/ 5533023 w 6226010"/>
              <a:gd name="connsiteY4649" fmla="*/ 2130590 h 5756219"/>
              <a:gd name="connsiteX4650" fmla="*/ 5535741 w 6226010"/>
              <a:gd name="connsiteY4650" fmla="*/ 2155048 h 5756219"/>
              <a:gd name="connsiteX4651" fmla="*/ 5560199 w 6226010"/>
              <a:gd name="connsiteY4651" fmla="*/ 2125155 h 5756219"/>
              <a:gd name="connsiteX4652" fmla="*/ 4940588 w 6226010"/>
              <a:gd name="connsiteY4652" fmla="*/ 2125155 h 5756219"/>
              <a:gd name="connsiteX4653" fmla="*/ 4946023 w 6226010"/>
              <a:gd name="connsiteY4653" fmla="*/ 2130590 h 5756219"/>
              <a:gd name="connsiteX4654" fmla="*/ 4943305 w 6226010"/>
              <a:gd name="connsiteY4654" fmla="*/ 2146895 h 5756219"/>
              <a:gd name="connsiteX4655" fmla="*/ 4954176 w 6226010"/>
              <a:gd name="connsiteY4655" fmla="*/ 2133307 h 5756219"/>
              <a:gd name="connsiteX4656" fmla="*/ 4959611 w 6226010"/>
              <a:gd name="connsiteY4656" fmla="*/ 2133307 h 5756219"/>
              <a:gd name="connsiteX4657" fmla="*/ 4956893 w 6226010"/>
              <a:gd name="connsiteY4657" fmla="*/ 2130590 h 5756219"/>
              <a:gd name="connsiteX4658" fmla="*/ 4954176 w 6226010"/>
              <a:gd name="connsiteY4658" fmla="*/ 2133307 h 5756219"/>
              <a:gd name="connsiteX4659" fmla="*/ 5261486 w 6226010"/>
              <a:gd name="connsiteY4659" fmla="*/ 2116059 h 5756219"/>
              <a:gd name="connsiteX4660" fmla="*/ 5275474 w 6226010"/>
              <a:gd name="connsiteY4660" fmla="*/ 2124500 h 5756219"/>
              <a:gd name="connsiteX4661" fmla="*/ 5261264 w 6226010"/>
              <a:gd name="connsiteY4661" fmla="*/ 2130590 h 5756219"/>
              <a:gd name="connsiteX4662" fmla="*/ 5254809 w 6226010"/>
              <a:gd name="connsiteY4662" fmla="*/ 2125835 h 5756219"/>
              <a:gd name="connsiteX4663" fmla="*/ 5250936 w 6226010"/>
              <a:gd name="connsiteY4663" fmla="*/ 2118089 h 5756219"/>
              <a:gd name="connsiteX4664" fmla="*/ 5253667 w 6226010"/>
              <a:gd name="connsiteY4664" fmla="*/ 2116725 h 5756219"/>
              <a:gd name="connsiteX4665" fmla="*/ 6041289 w 6226010"/>
              <a:gd name="connsiteY4665" fmla="*/ 2111271 h 5756219"/>
              <a:gd name="connsiteX4666" fmla="*/ 6052026 w 6226010"/>
              <a:gd name="connsiteY4666" fmla="*/ 2115506 h 5756219"/>
              <a:gd name="connsiteX4667" fmla="*/ 6046648 w 6226010"/>
              <a:gd name="connsiteY4667" fmla="*/ 2119720 h 5756219"/>
              <a:gd name="connsiteX4668" fmla="*/ 6043591 w 6226010"/>
              <a:gd name="connsiteY4668" fmla="*/ 2113267 h 5756219"/>
              <a:gd name="connsiteX4669" fmla="*/ 5886310 w 6226010"/>
              <a:gd name="connsiteY4669" fmla="*/ 2108850 h 5756219"/>
              <a:gd name="connsiteX4670" fmla="*/ 5902616 w 6226010"/>
              <a:gd name="connsiteY4670" fmla="*/ 2133307 h 5756219"/>
              <a:gd name="connsiteX4671" fmla="*/ 5913850 w 6226010"/>
              <a:gd name="connsiteY4671" fmla="*/ 2132287 h 5756219"/>
              <a:gd name="connsiteX4672" fmla="*/ 5916204 w 6226010"/>
              <a:gd name="connsiteY4672" fmla="*/ 2149613 h 5756219"/>
              <a:gd name="connsiteX4673" fmla="*/ 5881215 w 6226010"/>
              <a:gd name="connsiteY4673" fmla="*/ 2142819 h 5756219"/>
              <a:gd name="connsiteX4674" fmla="*/ 5871782 w 6226010"/>
              <a:gd name="connsiteY4674" fmla="*/ 2124201 h 5756219"/>
              <a:gd name="connsiteX4675" fmla="*/ 5875101 w 6226010"/>
              <a:gd name="connsiteY4675" fmla="*/ 2117342 h 5756219"/>
              <a:gd name="connsiteX4676" fmla="*/ 5886310 w 6226010"/>
              <a:gd name="connsiteY4676" fmla="*/ 2108850 h 5756219"/>
              <a:gd name="connsiteX4677" fmla="*/ 6063676 w 6226010"/>
              <a:gd name="connsiteY4677" fmla="*/ 2106763 h 5756219"/>
              <a:gd name="connsiteX4678" fmla="*/ 6069616 w 6226010"/>
              <a:gd name="connsiteY4678" fmla="*/ 2110235 h 5756219"/>
              <a:gd name="connsiteX4679" fmla="*/ 6070088 w 6226010"/>
              <a:gd name="connsiteY4679" fmla="*/ 2114624 h 5756219"/>
              <a:gd name="connsiteX4680" fmla="*/ 6070097 w 6226010"/>
              <a:gd name="connsiteY4680" fmla="*/ 2114673 h 5756219"/>
              <a:gd name="connsiteX4681" fmla="*/ 6052593 w 6226010"/>
              <a:gd name="connsiteY4681" fmla="*/ 2115728 h 5756219"/>
              <a:gd name="connsiteX4682" fmla="*/ 6052026 w 6226010"/>
              <a:gd name="connsiteY4682" fmla="*/ 2115506 h 5756219"/>
              <a:gd name="connsiteX4683" fmla="*/ 6059217 w 6226010"/>
              <a:gd name="connsiteY4683" fmla="*/ 2109869 h 5756219"/>
              <a:gd name="connsiteX4684" fmla="*/ 5185097 w 6226010"/>
              <a:gd name="connsiteY4684" fmla="*/ 2105012 h 5756219"/>
              <a:gd name="connsiteX4685" fmla="*/ 5195701 w 6226010"/>
              <a:gd name="connsiteY4685" fmla="*/ 2108170 h 5756219"/>
              <a:gd name="connsiteX4686" fmla="*/ 5209629 w 6226010"/>
              <a:gd name="connsiteY4686" fmla="*/ 2117003 h 5756219"/>
              <a:gd name="connsiteX4687" fmla="*/ 5193663 w 6226010"/>
              <a:gd name="connsiteY4687" fmla="*/ 2111907 h 5756219"/>
              <a:gd name="connsiteX4688" fmla="*/ 5824977 w 6226010"/>
              <a:gd name="connsiteY4688" fmla="*/ 2104604 h 5756219"/>
              <a:gd name="connsiteX4689" fmla="*/ 5832067 w 6226010"/>
              <a:gd name="connsiteY4689" fmla="*/ 2107188 h 5756219"/>
              <a:gd name="connsiteX4690" fmla="*/ 5861852 w 6226010"/>
              <a:gd name="connsiteY4690" fmla="*/ 2130590 h 5756219"/>
              <a:gd name="connsiteX4691" fmla="*/ 5828986 w 6226010"/>
              <a:gd name="connsiteY4691" fmla="*/ 2117979 h 5756219"/>
              <a:gd name="connsiteX4692" fmla="*/ 1078885 w 6226010"/>
              <a:gd name="connsiteY4692" fmla="*/ 2100697 h 5756219"/>
              <a:gd name="connsiteX4693" fmla="*/ 1070732 w 6226010"/>
              <a:gd name="connsiteY4693" fmla="*/ 2122438 h 5756219"/>
              <a:gd name="connsiteX4694" fmla="*/ 1062579 w 6226010"/>
              <a:gd name="connsiteY4694" fmla="*/ 2144178 h 5756219"/>
              <a:gd name="connsiteX4695" fmla="*/ 1078885 w 6226010"/>
              <a:gd name="connsiteY4695" fmla="*/ 2144178 h 5756219"/>
              <a:gd name="connsiteX4696" fmla="*/ 1073450 w 6226010"/>
              <a:gd name="connsiteY4696" fmla="*/ 2133307 h 5756219"/>
              <a:gd name="connsiteX4697" fmla="*/ 1103343 w 6226010"/>
              <a:gd name="connsiteY4697" fmla="*/ 2119720 h 5756219"/>
              <a:gd name="connsiteX4698" fmla="*/ 1100625 w 6226010"/>
              <a:gd name="connsiteY4698" fmla="*/ 2100697 h 5756219"/>
              <a:gd name="connsiteX4699" fmla="*/ 1078885 w 6226010"/>
              <a:gd name="connsiteY4699" fmla="*/ 2100697 h 5756219"/>
              <a:gd name="connsiteX4700" fmla="*/ 5947192 w 6226010"/>
              <a:gd name="connsiteY4700" fmla="*/ 2099094 h 5756219"/>
              <a:gd name="connsiteX4701" fmla="*/ 5951273 w 6226010"/>
              <a:gd name="connsiteY4701" fmla="*/ 2103244 h 5756219"/>
              <a:gd name="connsiteX4702" fmla="*/ 5950174 w 6226010"/>
              <a:gd name="connsiteY4702" fmla="*/ 2102735 h 5756219"/>
              <a:gd name="connsiteX4703" fmla="*/ 5946097 w 6226010"/>
              <a:gd name="connsiteY4703" fmla="*/ 2097980 h 5756219"/>
              <a:gd name="connsiteX4704" fmla="*/ 5946317 w 6226010"/>
              <a:gd name="connsiteY4704" fmla="*/ 2098025 h 5756219"/>
              <a:gd name="connsiteX4705" fmla="*/ 5947192 w 6226010"/>
              <a:gd name="connsiteY4705" fmla="*/ 2099094 h 5756219"/>
              <a:gd name="connsiteX4706" fmla="*/ 5993995 w 6226010"/>
              <a:gd name="connsiteY4706" fmla="*/ 2089826 h 5756219"/>
              <a:gd name="connsiteX4707" fmla="*/ 6026266 w 6226010"/>
              <a:gd name="connsiteY4707" fmla="*/ 2092545 h 5756219"/>
              <a:gd name="connsiteX4708" fmla="*/ 6050707 w 6226010"/>
              <a:gd name="connsiteY4708" fmla="*/ 2100200 h 5756219"/>
              <a:gd name="connsiteX4709" fmla="*/ 6052083 w 6226010"/>
              <a:gd name="connsiteY4709" fmla="*/ 2100697 h 5756219"/>
              <a:gd name="connsiteX4710" fmla="*/ 6038495 w 6226010"/>
              <a:gd name="connsiteY4710" fmla="*/ 2108850 h 5756219"/>
              <a:gd name="connsiteX4711" fmla="*/ 6041289 w 6226010"/>
              <a:gd name="connsiteY4711" fmla="*/ 2111271 h 5756219"/>
              <a:gd name="connsiteX4712" fmla="*/ 6031702 w 6226010"/>
              <a:gd name="connsiteY4712" fmla="*/ 2107491 h 5756219"/>
              <a:gd name="connsiteX4713" fmla="*/ 6010810 w 6226010"/>
              <a:gd name="connsiteY4713" fmla="*/ 2101292 h 5756219"/>
              <a:gd name="connsiteX4714" fmla="*/ 5998560 w 6226010"/>
              <a:gd name="connsiteY4714" fmla="*/ 2105158 h 5756219"/>
              <a:gd name="connsiteX4715" fmla="*/ 6003506 w 6226010"/>
              <a:gd name="connsiteY4715" fmla="*/ 2099338 h 5756219"/>
              <a:gd name="connsiteX4716" fmla="*/ 6003167 w 6226010"/>
              <a:gd name="connsiteY4716" fmla="*/ 2092544 h 5756219"/>
              <a:gd name="connsiteX4717" fmla="*/ 5993438 w 6226010"/>
              <a:gd name="connsiteY4717" fmla="*/ 2089915 h 5756219"/>
              <a:gd name="connsiteX4718" fmla="*/ 5990598 w 6226010"/>
              <a:gd name="connsiteY4718" fmla="*/ 2089147 h 5756219"/>
              <a:gd name="connsiteX4719" fmla="*/ 5993438 w 6226010"/>
              <a:gd name="connsiteY4719" fmla="*/ 2089915 h 5756219"/>
              <a:gd name="connsiteX4720" fmla="*/ 5978377 w 6226010"/>
              <a:gd name="connsiteY4720" fmla="*/ 2092301 h 5756219"/>
              <a:gd name="connsiteX4721" fmla="*/ 5975991 w 6226010"/>
              <a:gd name="connsiteY4721" fmla="*/ 2089827 h 5756219"/>
              <a:gd name="connsiteX4722" fmla="*/ 5990598 w 6226010"/>
              <a:gd name="connsiteY4722" fmla="*/ 2089147 h 5756219"/>
              <a:gd name="connsiteX4723" fmla="*/ 5490498 w 6226010"/>
              <a:gd name="connsiteY4723" fmla="*/ 2085065 h 5756219"/>
              <a:gd name="connsiteX4724" fmla="*/ 5498656 w 6226010"/>
              <a:gd name="connsiteY4724" fmla="*/ 2096031 h 5756219"/>
              <a:gd name="connsiteX4725" fmla="*/ 5499053 w 6226010"/>
              <a:gd name="connsiteY4725" fmla="*/ 2103076 h 5756219"/>
              <a:gd name="connsiteX4726" fmla="*/ 5508565 w 6226010"/>
              <a:gd name="connsiteY4726" fmla="*/ 2125155 h 5756219"/>
              <a:gd name="connsiteX4727" fmla="*/ 5486824 w 6226010"/>
              <a:gd name="connsiteY4727" fmla="*/ 2115305 h 5756219"/>
              <a:gd name="connsiteX4728" fmla="*/ 5473798 w 6226010"/>
              <a:gd name="connsiteY4728" fmla="*/ 2096090 h 5756219"/>
              <a:gd name="connsiteX4729" fmla="*/ 5474196 w 6226010"/>
              <a:gd name="connsiteY4729" fmla="*/ 2094432 h 5756219"/>
              <a:gd name="connsiteX4730" fmla="*/ 5480709 w 6226010"/>
              <a:gd name="connsiteY4730" fmla="*/ 2088807 h 5756219"/>
              <a:gd name="connsiteX4731" fmla="*/ 5488515 w 6226010"/>
              <a:gd name="connsiteY4731" fmla="*/ 2082399 h 5756219"/>
              <a:gd name="connsiteX4732" fmla="*/ 5492259 w 6226010"/>
              <a:gd name="connsiteY4732" fmla="*/ 2084391 h 5756219"/>
              <a:gd name="connsiteX4733" fmla="*/ 5490498 w 6226010"/>
              <a:gd name="connsiteY4733" fmla="*/ 2085065 h 5756219"/>
              <a:gd name="connsiteX4734" fmla="*/ 5473236 w 6226010"/>
              <a:gd name="connsiteY4734" fmla="*/ 2076238 h 5756219"/>
              <a:gd name="connsiteX4735" fmla="*/ 5483467 w 6226010"/>
              <a:gd name="connsiteY4735" fmla="*/ 2077375 h 5756219"/>
              <a:gd name="connsiteX4736" fmla="*/ 5486017 w 6226010"/>
              <a:gd name="connsiteY4736" fmla="*/ 2079041 h 5756219"/>
              <a:gd name="connsiteX4737" fmla="*/ 5488515 w 6226010"/>
              <a:gd name="connsiteY4737" fmla="*/ 2082399 h 5756219"/>
              <a:gd name="connsiteX4738" fmla="*/ 5486994 w 6226010"/>
              <a:gd name="connsiteY4738" fmla="*/ 2081589 h 5756219"/>
              <a:gd name="connsiteX4739" fmla="*/ 5473236 w 6226010"/>
              <a:gd name="connsiteY4739" fmla="*/ 2076238 h 5756219"/>
              <a:gd name="connsiteX4740" fmla="*/ 991922 w 6226010"/>
              <a:gd name="connsiteY4740" fmla="*/ 2070804 h 5756219"/>
              <a:gd name="connsiteX4741" fmla="*/ 1002792 w 6226010"/>
              <a:gd name="connsiteY4741" fmla="*/ 2108850 h 5756219"/>
              <a:gd name="connsiteX4742" fmla="*/ 1057144 w 6226010"/>
              <a:gd name="connsiteY4742" fmla="*/ 2122438 h 5756219"/>
              <a:gd name="connsiteX4743" fmla="*/ 991922 w 6226010"/>
              <a:gd name="connsiteY4743" fmla="*/ 2070804 h 5756219"/>
              <a:gd name="connsiteX4744" fmla="*/ 5932509 w 6226010"/>
              <a:gd name="connsiteY4744" fmla="*/ 2068085 h 5756219"/>
              <a:gd name="connsiteX4745" fmla="*/ 5954250 w 6226010"/>
              <a:gd name="connsiteY4745" fmla="*/ 2076238 h 5756219"/>
              <a:gd name="connsiteX4746" fmla="*/ 5958178 w 6226010"/>
              <a:gd name="connsiteY4746" fmla="*/ 2071240 h 5756219"/>
              <a:gd name="connsiteX4747" fmla="*/ 5960365 w 6226010"/>
              <a:gd name="connsiteY4747" fmla="*/ 2079084 h 5756219"/>
              <a:gd name="connsiteX4748" fmla="*/ 5959685 w 6226010"/>
              <a:gd name="connsiteY4748" fmla="*/ 2095262 h 5756219"/>
              <a:gd name="connsiteX4749" fmla="*/ 5978377 w 6226010"/>
              <a:gd name="connsiteY4749" fmla="*/ 2092301 h 5756219"/>
              <a:gd name="connsiteX4750" fmla="*/ 5985163 w 6226010"/>
              <a:gd name="connsiteY4750" fmla="*/ 2099338 h 5756219"/>
              <a:gd name="connsiteX4751" fmla="*/ 5984238 w 6226010"/>
              <a:gd name="connsiteY4751" fmla="*/ 2107975 h 5756219"/>
              <a:gd name="connsiteX4752" fmla="*/ 5967498 w 6226010"/>
              <a:gd name="connsiteY4752" fmla="*/ 2102396 h 5756219"/>
              <a:gd name="connsiteX4753" fmla="*/ 5946317 w 6226010"/>
              <a:gd name="connsiteY4753" fmla="*/ 2098025 h 5756219"/>
              <a:gd name="connsiteX4754" fmla="*/ 5943158 w 6226010"/>
              <a:gd name="connsiteY4754" fmla="*/ 2094167 h 5756219"/>
              <a:gd name="connsiteX4755" fmla="*/ 5946819 w 6226010"/>
              <a:gd name="connsiteY4755" fmla="*/ 2088467 h 5756219"/>
              <a:gd name="connsiteX4756" fmla="*/ 5948815 w 6226010"/>
              <a:gd name="connsiteY4756" fmla="*/ 2076238 h 5756219"/>
              <a:gd name="connsiteX4757" fmla="*/ 5935089 w 6226010"/>
              <a:gd name="connsiteY4757" fmla="*/ 2077077 h 5756219"/>
              <a:gd name="connsiteX4758" fmla="*/ 5562917 w 6226010"/>
              <a:gd name="connsiteY4758" fmla="*/ 2067745 h 5756219"/>
              <a:gd name="connsiteX4759" fmla="*/ 5546611 w 6226010"/>
              <a:gd name="connsiteY4759" fmla="*/ 2081674 h 5756219"/>
              <a:gd name="connsiteX4760" fmla="*/ 5576504 w 6226010"/>
              <a:gd name="connsiteY4760" fmla="*/ 2076238 h 5756219"/>
              <a:gd name="connsiteX4761" fmla="*/ 5554764 w 6226010"/>
              <a:gd name="connsiteY4761" fmla="*/ 2087109 h 5756219"/>
              <a:gd name="connsiteX4762" fmla="*/ 5557481 w 6226010"/>
              <a:gd name="connsiteY4762" fmla="*/ 2100697 h 5756219"/>
              <a:gd name="connsiteX4763" fmla="*/ 5514000 w 6226010"/>
              <a:gd name="connsiteY4763" fmla="*/ 2087109 h 5756219"/>
              <a:gd name="connsiteX4764" fmla="*/ 5530305 w 6226010"/>
              <a:gd name="connsiteY4764" fmla="*/ 2119720 h 5756219"/>
              <a:gd name="connsiteX4765" fmla="*/ 5538458 w 6226010"/>
              <a:gd name="connsiteY4765" fmla="*/ 2108850 h 5756219"/>
              <a:gd name="connsiteX4766" fmla="*/ 5541176 w 6226010"/>
              <a:gd name="connsiteY4766" fmla="*/ 2127873 h 5756219"/>
              <a:gd name="connsiteX4767" fmla="*/ 5557481 w 6226010"/>
              <a:gd name="connsiteY4767" fmla="*/ 2108850 h 5756219"/>
              <a:gd name="connsiteX4768" fmla="*/ 5568352 w 6226010"/>
              <a:gd name="connsiteY4768" fmla="*/ 2133307 h 5756219"/>
              <a:gd name="connsiteX4769" fmla="*/ 5584657 w 6226010"/>
              <a:gd name="connsiteY4769" fmla="*/ 2117003 h 5756219"/>
              <a:gd name="connsiteX4770" fmla="*/ 5581940 w 6226010"/>
              <a:gd name="connsiteY4770" fmla="*/ 2092544 h 5756219"/>
              <a:gd name="connsiteX4771" fmla="*/ 5592810 w 6226010"/>
              <a:gd name="connsiteY4771" fmla="*/ 2095262 h 5756219"/>
              <a:gd name="connsiteX4772" fmla="*/ 5587375 w 6226010"/>
              <a:gd name="connsiteY4772" fmla="*/ 2068085 h 5756219"/>
              <a:gd name="connsiteX4773" fmla="*/ 5562917 w 6226010"/>
              <a:gd name="connsiteY4773" fmla="*/ 2067745 h 5756219"/>
              <a:gd name="connsiteX4774" fmla="*/ 6111870 w 6226010"/>
              <a:gd name="connsiteY4774" fmla="*/ 2057216 h 5756219"/>
              <a:gd name="connsiteX4775" fmla="*/ 6090130 w 6226010"/>
              <a:gd name="connsiteY4775" fmla="*/ 2095262 h 5756219"/>
              <a:gd name="connsiteX4776" fmla="*/ 6136329 w 6226010"/>
              <a:gd name="connsiteY4776" fmla="*/ 2103415 h 5756219"/>
              <a:gd name="connsiteX4777" fmla="*/ 6149917 w 6226010"/>
              <a:gd name="connsiteY4777" fmla="*/ 2133307 h 5756219"/>
              <a:gd name="connsiteX4778" fmla="*/ 6171658 w 6226010"/>
              <a:gd name="connsiteY4778" fmla="*/ 2141460 h 5756219"/>
              <a:gd name="connsiteX4779" fmla="*/ 6187963 w 6226010"/>
              <a:gd name="connsiteY4779" fmla="*/ 2114285 h 5756219"/>
              <a:gd name="connsiteX4780" fmla="*/ 6185246 w 6226010"/>
              <a:gd name="connsiteY4780" fmla="*/ 2138743 h 5756219"/>
              <a:gd name="connsiteX4781" fmla="*/ 6215139 w 6226010"/>
              <a:gd name="connsiteY4781" fmla="*/ 2119720 h 5756219"/>
              <a:gd name="connsiteX4782" fmla="*/ 6223292 w 6226010"/>
              <a:gd name="connsiteY4782" fmla="*/ 2133307 h 5756219"/>
              <a:gd name="connsiteX4783" fmla="*/ 6184694 w 6226010"/>
              <a:gd name="connsiteY4783" fmla="*/ 2168084 h 5756219"/>
              <a:gd name="connsiteX4784" fmla="*/ 6169542 w 6226010"/>
              <a:gd name="connsiteY4784" fmla="*/ 2179070 h 5756219"/>
              <a:gd name="connsiteX4785" fmla="*/ 6169074 w 6226010"/>
              <a:gd name="connsiteY4785" fmla="*/ 2178801 h 5756219"/>
              <a:gd name="connsiteX4786" fmla="*/ 6171658 w 6226010"/>
              <a:gd name="connsiteY4786" fmla="*/ 2165240 h 5756219"/>
              <a:gd name="connsiteX4787" fmla="*/ 6182528 w 6226010"/>
              <a:gd name="connsiteY4787" fmla="*/ 2155048 h 5756219"/>
              <a:gd name="connsiteX4788" fmla="*/ 6114588 w 6226010"/>
              <a:gd name="connsiteY4788" fmla="*/ 2146895 h 5756219"/>
              <a:gd name="connsiteX4789" fmla="*/ 6119977 w 6226010"/>
              <a:gd name="connsiteY4789" fmla="*/ 2152982 h 5756219"/>
              <a:gd name="connsiteX4790" fmla="*/ 6098282 w 6226010"/>
              <a:gd name="connsiteY4790" fmla="*/ 2149613 h 5756219"/>
              <a:gd name="connsiteX4791" fmla="*/ 6123760 w 6226010"/>
              <a:gd name="connsiteY4791" fmla="*/ 2166938 h 5756219"/>
              <a:gd name="connsiteX4792" fmla="*/ 6135365 w 6226010"/>
              <a:gd name="connsiteY4792" fmla="*/ 2170361 h 5756219"/>
              <a:gd name="connsiteX4793" fmla="*/ 6143463 w 6226010"/>
              <a:gd name="connsiteY4793" fmla="*/ 2179507 h 5756219"/>
              <a:gd name="connsiteX4794" fmla="*/ 6153300 w 6226010"/>
              <a:gd name="connsiteY4794" fmla="*/ 2184413 h 5756219"/>
              <a:gd name="connsiteX4795" fmla="*/ 6150257 w 6226010"/>
              <a:gd name="connsiteY4795" fmla="*/ 2187659 h 5756219"/>
              <a:gd name="connsiteX4796" fmla="*/ 6147199 w 6226010"/>
              <a:gd name="connsiteY4796" fmla="*/ 2193094 h 5756219"/>
              <a:gd name="connsiteX4797" fmla="*/ 6115830 w 6226010"/>
              <a:gd name="connsiteY4797" fmla="*/ 2173739 h 5756219"/>
              <a:gd name="connsiteX4798" fmla="*/ 6111531 w 6226010"/>
              <a:gd name="connsiteY4798" fmla="*/ 2164857 h 5756219"/>
              <a:gd name="connsiteX4799" fmla="*/ 6090130 w 6226010"/>
              <a:gd name="connsiteY4799" fmla="*/ 2146895 h 5756219"/>
              <a:gd name="connsiteX4800" fmla="*/ 6101000 w 6226010"/>
              <a:gd name="connsiteY4800" fmla="*/ 2133307 h 5756219"/>
              <a:gd name="connsiteX4801" fmla="*/ 6120023 w 6226010"/>
              <a:gd name="connsiteY4801" fmla="*/ 2138743 h 5756219"/>
              <a:gd name="connsiteX4802" fmla="*/ 6087412 w 6226010"/>
              <a:gd name="connsiteY4802" fmla="*/ 2122438 h 5756219"/>
              <a:gd name="connsiteX4803" fmla="*/ 6087412 w 6226010"/>
              <a:gd name="connsiteY4803" fmla="*/ 2138743 h 5756219"/>
              <a:gd name="connsiteX4804" fmla="*/ 6079678 w 6226010"/>
              <a:gd name="connsiteY4804" fmla="*/ 2146479 h 5756219"/>
              <a:gd name="connsiteX4805" fmla="*/ 6074843 w 6226010"/>
              <a:gd name="connsiteY4805" fmla="*/ 2146216 h 5756219"/>
              <a:gd name="connsiteX4806" fmla="*/ 6060236 w 6226010"/>
              <a:gd name="connsiteY4806" fmla="*/ 2149613 h 5756219"/>
              <a:gd name="connsiteX4807" fmla="*/ 6062954 w 6226010"/>
              <a:gd name="connsiteY4807" fmla="*/ 2136025 h 5756219"/>
              <a:gd name="connsiteX4808" fmla="*/ 6022190 w 6226010"/>
              <a:gd name="connsiteY4808" fmla="*/ 2125155 h 5756219"/>
              <a:gd name="connsiteX4809" fmla="*/ 6030343 w 6226010"/>
              <a:gd name="connsiteY4809" fmla="*/ 2144178 h 5756219"/>
              <a:gd name="connsiteX4810" fmla="*/ 6005884 w 6226010"/>
              <a:gd name="connsiteY4810" fmla="*/ 2122438 h 5756219"/>
              <a:gd name="connsiteX4811" fmla="*/ 5958496 w 6226010"/>
              <a:gd name="connsiteY4811" fmla="*/ 2110591 h 5756219"/>
              <a:gd name="connsiteX4812" fmla="*/ 5951273 w 6226010"/>
              <a:gd name="connsiteY4812" fmla="*/ 2103244 h 5756219"/>
              <a:gd name="connsiteX4813" fmla="*/ 5966140 w 6226010"/>
              <a:gd name="connsiteY4813" fmla="*/ 2110124 h 5756219"/>
              <a:gd name="connsiteX4814" fmla="*/ 5984144 w 6226010"/>
              <a:gd name="connsiteY4814" fmla="*/ 2108850 h 5756219"/>
              <a:gd name="connsiteX4815" fmla="*/ 5984238 w 6226010"/>
              <a:gd name="connsiteY4815" fmla="*/ 2107975 h 5756219"/>
              <a:gd name="connsiteX4816" fmla="*/ 5986861 w 6226010"/>
              <a:gd name="connsiteY4816" fmla="*/ 2108850 h 5756219"/>
              <a:gd name="connsiteX4817" fmla="*/ 5998560 w 6226010"/>
              <a:gd name="connsiteY4817" fmla="*/ 2105158 h 5756219"/>
              <a:gd name="connsiteX4818" fmla="*/ 5997732 w 6226010"/>
              <a:gd name="connsiteY4818" fmla="*/ 2106132 h 5756219"/>
              <a:gd name="connsiteX4819" fmla="*/ 6068389 w 6226010"/>
              <a:gd name="connsiteY4819" fmla="*/ 2125155 h 5756219"/>
              <a:gd name="connsiteX4820" fmla="*/ 6071149 w 6226010"/>
              <a:gd name="connsiteY4820" fmla="*/ 2120272 h 5756219"/>
              <a:gd name="connsiteX4821" fmla="*/ 6070097 w 6226010"/>
              <a:gd name="connsiteY4821" fmla="*/ 2114673 h 5756219"/>
              <a:gd name="connsiteX4822" fmla="*/ 6076542 w 6226010"/>
              <a:gd name="connsiteY4822" fmla="*/ 2114285 h 5756219"/>
              <a:gd name="connsiteX4823" fmla="*/ 6069616 w 6226010"/>
              <a:gd name="connsiteY4823" fmla="*/ 2110235 h 5756219"/>
              <a:gd name="connsiteX4824" fmla="*/ 6069536 w 6226010"/>
              <a:gd name="connsiteY4824" fmla="*/ 2109486 h 5756219"/>
              <a:gd name="connsiteX4825" fmla="*/ 6073824 w 6226010"/>
              <a:gd name="connsiteY4825" fmla="*/ 2106132 h 5756219"/>
              <a:gd name="connsiteX4826" fmla="*/ 6065374 w 6226010"/>
              <a:gd name="connsiteY4826" fmla="*/ 2105580 h 5756219"/>
              <a:gd name="connsiteX4827" fmla="*/ 6063676 w 6226010"/>
              <a:gd name="connsiteY4827" fmla="*/ 2106763 h 5756219"/>
              <a:gd name="connsiteX4828" fmla="*/ 6054461 w 6226010"/>
              <a:gd name="connsiteY4828" fmla="*/ 2101376 h 5756219"/>
              <a:gd name="connsiteX4829" fmla="*/ 6050707 w 6226010"/>
              <a:gd name="connsiteY4829" fmla="*/ 2100200 h 5756219"/>
              <a:gd name="connsiteX4830" fmla="*/ 6019132 w 6226010"/>
              <a:gd name="connsiteY4830" fmla="*/ 2088807 h 5756219"/>
              <a:gd name="connsiteX4831" fmla="*/ 5984144 w 6226010"/>
              <a:gd name="connsiteY4831" fmla="*/ 2078956 h 5756219"/>
              <a:gd name="connsiteX4832" fmla="*/ 6014037 w 6226010"/>
              <a:gd name="connsiteY4832" fmla="*/ 2068085 h 5756219"/>
              <a:gd name="connsiteX4833" fmla="*/ 6027625 w 6226010"/>
              <a:gd name="connsiteY4833" fmla="*/ 2084391 h 5756219"/>
              <a:gd name="connsiteX4834" fmla="*/ 6071107 w 6226010"/>
              <a:gd name="connsiteY4834" fmla="*/ 2097980 h 5756219"/>
              <a:gd name="connsiteX4835" fmla="*/ 6111870 w 6226010"/>
              <a:gd name="connsiteY4835" fmla="*/ 2057216 h 5756219"/>
              <a:gd name="connsiteX4836" fmla="*/ 5952551 w 6226010"/>
              <a:gd name="connsiteY4836" fmla="*/ 2055176 h 5756219"/>
              <a:gd name="connsiteX4837" fmla="*/ 5965121 w 6226010"/>
              <a:gd name="connsiteY4837" fmla="*/ 2057216 h 5756219"/>
              <a:gd name="connsiteX4838" fmla="*/ 5961724 w 6226010"/>
              <a:gd name="connsiteY4838" fmla="*/ 2066726 h 5756219"/>
              <a:gd name="connsiteX4839" fmla="*/ 5958178 w 6226010"/>
              <a:gd name="connsiteY4839" fmla="*/ 2071240 h 5756219"/>
              <a:gd name="connsiteX4840" fmla="*/ 5954930 w 6226010"/>
              <a:gd name="connsiteY4840" fmla="*/ 2059593 h 5756219"/>
              <a:gd name="connsiteX4841" fmla="*/ 5952055 w 6226010"/>
              <a:gd name="connsiteY4841" fmla="*/ 2055246 h 5756219"/>
              <a:gd name="connsiteX4842" fmla="*/ 5948680 w 6226010"/>
              <a:gd name="connsiteY4842" fmla="*/ 2050143 h 5756219"/>
              <a:gd name="connsiteX4843" fmla="*/ 5952055 w 6226010"/>
              <a:gd name="connsiteY4843" fmla="*/ 2055246 h 5756219"/>
              <a:gd name="connsiteX4844" fmla="*/ 5937945 w 6226010"/>
              <a:gd name="connsiteY4844" fmla="*/ 2057216 h 5756219"/>
              <a:gd name="connsiteX4845" fmla="*/ 5944144 w 6226010"/>
              <a:gd name="connsiteY4845" fmla="*/ 2050208 h 5756219"/>
              <a:gd name="connsiteX4846" fmla="*/ 5614211 w 6226010"/>
              <a:gd name="connsiteY4846" fmla="*/ 2045112 h 5756219"/>
              <a:gd name="connsiteX4847" fmla="*/ 5606398 w 6226010"/>
              <a:gd name="connsiteY4847" fmla="*/ 2046344 h 5756219"/>
              <a:gd name="connsiteX4848" fmla="*/ 5706949 w 6226010"/>
              <a:gd name="connsiteY4848" fmla="*/ 2127873 h 5756219"/>
              <a:gd name="connsiteX4849" fmla="*/ 5701514 w 6226010"/>
              <a:gd name="connsiteY4849" fmla="*/ 2141460 h 5756219"/>
              <a:gd name="connsiteX4850" fmla="*/ 5791195 w 6226010"/>
              <a:gd name="connsiteY4850" fmla="*/ 2168636 h 5756219"/>
              <a:gd name="connsiteX4851" fmla="*/ 5712384 w 6226010"/>
              <a:gd name="connsiteY4851" fmla="*/ 2100697 h 5756219"/>
              <a:gd name="connsiteX4852" fmla="*/ 5720537 w 6226010"/>
              <a:gd name="connsiteY4852" fmla="*/ 2078956 h 5756219"/>
              <a:gd name="connsiteX4853" fmla="*/ 5753148 w 6226010"/>
              <a:gd name="connsiteY4853" fmla="*/ 2106132 h 5756219"/>
              <a:gd name="connsiteX4854" fmla="*/ 5685208 w 6226010"/>
              <a:gd name="connsiteY4854" fmla="*/ 2076238 h 5756219"/>
              <a:gd name="connsiteX4855" fmla="*/ 5698796 w 6226010"/>
              <a:gd name="connsiteY4855" fmla="*/ 2100697 h 5756219"/>
              <a:gd name="connsiteX4856" fmla="*/ 5655315 w 6226010"/>
              <a:gd name="connsiteY4856" fmla="*/ 2070804 h 5756219"/>
              <a:gd name="connsiteX4857" fmla="*/ 5617268 w 6226010"/>
              <a:gd name="connsiteY4857" fmla="*/ 2065368 h 5756219"/>
              <a:gd name="connsiteX4858" fmla="*/ 5614211 w 6226010"/>
              <a:gd name="connsiteY4858" fmla="*/ 2045112 h 5756219"/>
              <a:gd name="connsiteX4859" fmla="*/ 5926419 w 6226010"/>
              <a:gd name="connsiteY4859" fmla="*/ 2029859 h 5756219"/>
              <a:gd name="connsiteX4860" fmla="*/ 5929792 w 6226010"/>
              <a:gd name="connsiteY4860" fmla="*/ 2038191 h 5756219"/>
              <a:gd name="connsiteX4861" fmla="*/ 5942340 w 6226010"/>
              <a:gd name="connsiteY4861" fmla="*/ 2042896 h 5756219"/>
              <a:gd name="connsiteX4862" fmla="*/ 5939643 w 6226010"/>
              <a:gd name="connsiteY4862" fmla="*/ 2044306 h 5756219"/>
              <a:gd name="connsiteX4863" fmla="*/ 5913486 w 6226010"/>
              <a:gd name="connsiteY4863" fmla="*/ 2035474 h 5756219"/>
              <a:gd name="connsiteX4864" fmla="*/ 5919601 w 6226010"/>
              <a:gd name="connsiteY4864" fmla="*/ 2030676 h 5756219"/>
              <a:gd name="connsiteX4865" fmla="*/ 5024833 w 6226010"/>
              <a:gd name="connsiteY4865" fmla="*/ 2027321 h 5756219"/>
              <a:gd name="connsiteX4866" fmla="*/ 5030268 w 6226010"/>
              <a:gd name="connsiteY4866" fmla="*/ 2038191 h 5756219"/>
              <a:gd name="connsiteX4867" fmla="*/ 5027550 w 6226010"/>
              <a:gd name="connsiteY4867" fmla="*/ 2027321 h 5756219"/>
              <a:gd name="connsiteX4868" fmla="*/ 5913886 w 6226010"/>
              <a:gd name="connsiteY4868" fmla="*/ 2024824 h 5756219"/>
              <a:gd name="connsiteX4869" fmla="*/ 5916204 w 6226010"/>
              <a:gd name="connsiteY4869" fmla="*/ 2030039 h 5756219"/>
              <a:gd name="connsiteX4870" fmla="*/ 5913274 w 6226010"/>
              <a:gd name="connsiteY4870" fmla="*/ 2028808 h 5756219"/>
              <a:gd name="connsiteX4871" fmla="*/ 5912268 w 6226010"/>
              <a:gd name="connsiteY4871" fmla="*/ 2026744 h 5756219"/>
              <a:gd name="connsiteX4872" fmla="*/ 5959685 w 6226010"/>
              <a:gd name="connsiteY4872" fmla="*/ 2024604 h 5756219"/>
              <a:gd name="connsiteX4873" fmla="*/ 5967838 w 6226010"/>
              <a:gd name="connsiteY4873" fmla="*/ 2049062 h 5756219"/>
              <a:gd name="connsiteX4874" fmla="*/ 5952892 w 6226010"/>
              <a:gd name="connsiteY4874" fmla="*/ 2050081 h 5756219"/>
              <a:gd name="connsiteX4875" fmla="*/ 5948680 w 6226010"/>
              <a:gd name="connsiteY4875" fmla="*/ 2050143 h 5756219"/>
              <a:gd name="connsiteX4876" fmla="*/ 5944399 w 6226010"/>
              <a:gd name="connsiteY4876" fmla="*/ 2043670 h 5756219"/>
              <a:gd name="connsiteX4877" fmla="*/ 5942340 w 6226010"/>
              <a:gd name="connsiteY4877" fmla="*/ 2042896 h 5756219"/>
              <a:gd name="connsiteX4878" fmla="*/ 5953613 w 6226010"/>
              <a:gd name="connsiteY4878" fmla="*/ 2037003 h 5756219"/>
              <a:gd name="connsiteX4879" fmla="*/ 5959685 w 6226010"/>
              <a:gd name="connsiteY4879" fmla="*/ 2024604 h 5756219"/>
              <a:gd name="connsiteX4880" fmla="*/ 5530305 w 6226010"/>
              <a:gd name="connsiteY4880" fmla="*/ 2019508 h 5756219"/>
              <a:gd name="connsiteX4881" fmla="*/ 5508565 w 6226010"/>
              <a:gd name="connsiteY4881" fmla="*/ 2027321 h 5756219"/>
              <a:gd name="connsiteX4882" fmla="*/ 5519435 w 6226010"/>
              <a:gd name="connsiteY4882" fmla="*/ 2057216 h 5756219"/>
              <a:gd name="connsiteX4883" fmla="*/ 5535741 w 6226010"/>
              <a:gd name="connsiteY4883" fmla="*/ 2049062 h 5756219"/>
              <a:gd name="connsiteX4884" fmla="*/ 5527588 w 6226010"/>
              <a:gd name="connsiteY4884" fmla="*/ 2038191 h 5756219"/>
              <a:gd name="connsiteX4885" fmla="*/ 5543893 w 6226010"/>
              <a:gd name="connsiteY4885" fmla="*/ 2030039 h 5756219"/>
              <a:gd name="connsiteX4886" fmla="*/ 5530305 w 6226010"/>
              <a:gd name="connsiteY4886" fmla="*/ 2019508 h 5756219"/>
              <a:gd name="connsiteX4887" fmla="*/ 5927457 w 6226010"/>
              <a:gd name="connsiteY4887" fmla="*/ 2017937 h 5756219"/>
              <a:gd name="connsiteX4888" fmla="*/ 5937945 w 6226010"/>
              <a:gd name="connsiteY4888" fmla="*/ 2021886 h 5756219"/>
              <a:gd name="connsiteX4889" fmla="*/ 5927754 w 6226010"/>
              <a:gd name="connsiteY4889" fmla="*/ 2029699 h 5756219"/>
              <a:gd name="connsiteX4890" fmla="*/ 5926419 w 6226010"/>
              <a:gd name="connsiteY4890" fmla="*/ 2029859 h 5756219"/>
              <a:gd name="connsiteX4891" fmla="*/ 5924017 w 6226010"/>
              <a:gd name="connsiteY4891" fmla="*/ 2023924 h 5756219"/>
              <a:gd name="connsiteX4892" fmla="*/ 5920872 w 6226010"/>
              <a:gd name="connsiteY4892" fmla="*/ 2019822 h 5756219"/>
              <a:gd name="connsiteX4893" fmla="*/ 5916204 w 6226010"/>
              <a:gd name="connsiteY4893" fmla="*/ 2013733 h 5756219"/>
              <a:gd name="connsiteX4894" fmla="*/ 5920872 w 6226010"/>
              <a:gd name="connsiteY4894" fmla="*/ 2019822 h 5756219"/>
              <a:gd name="connsiteX4895" fmla="*/ 5917223 w 6226010"/>
              <a:gd name="connsiteY4895" fmla="*/ 2020867 h 5756219"/>
              <a:gd name="connsiteX4896" fmla="*/ 5913886 w 6226010"/>
              <a:gd name="connsiteY4896" fmla="*/ 2024824 h 5756219"/>
              <a:gd name="connsiteX4897" fmla="*/ 5912127 w 6226010"/>
              <a:gd name="connsiteY4897" fmla="*/ 2020867 h 5756219"/>
              <a:gd name="connsiteX4898" fmla="*/ 5916204 w 6226010"/>
              <a:gd name="connsiteY4898" fmla="*/ 2013733 h 5756219"/>
              <a:gd name="connsiteX4899" fmla="*/ 5334639 w 6226010"/>
              <a:gd name="connsiteY4899" fmla="*/ 2011016 h 5756219"/>
              <a:gd name="connsiteX4900" fmla="*/ 5364532 w 6226010"/>
              <a:gd name="connsiteY4900" fmla="*/ 2019168 h 5756219"/>
              <a:gd name="connsiteX4901" fmla="*/ 5416167 w 6226010"/>
              <a:gd name="connsiteY4901" fmla="*/ 2036493 h 5756219"/>
              <a:gd name="connsiteX4902" fmla="*/ 5429537 w 6226010"/>
              <a:gd name="connsiteY4902" fmla="*/ 2041950 h 5756219"/>
              <a:gd name="connsiteX4903" fmla="*/ 5432472 w 6226010"/>
              <a:gd name="connsiteY4903" fmla="*/ 2043627 h 5756219"/>
              <a:gd name="connsiteX4904" fmla="*/ 5358757 w 6226010"/>
              <a:gd name="connsiteY4904" fmla="*/ 2025622 h 5756219"/>
              <a:gd name="connsiteX4905" fmla="*/ 5323565 w 6226010"/>
              <a:gd name="connsiteY4905" fmla="*/ 2018768 h 5756219"/>
              <a:gd name="connsiteX4906" fmla="*/ 5432472 w 6226010"/>
              <a:gd name="connsiteY4906" fmla="*/ 2008298 h 5756219"/>
              <a:gd name="connsiteX4907" fmla="*/ 5440625 w 6226010"/>
              <a:gd name="connsiteY4907" fmla="*/ 2035474 h 5756219"/>
              <a:gd name="connsiteX4908" fmla="*/ 5459648 w 6226010"/>
              <a:gd name="connsiteY4908" fmla="*/ 2016451 h 5756219"/>
              <a:gd name="connsiteX4909" fmla="*/ 5432472 w 6226010"/>
              <a:gd name="connsiteY4909" fmla="*/ 2008298 h 5756219"/>
              <a:gd name="connsiteX4910" fmla="*/ 5696079 w 6226010"/>
              <a:gd name="connsiteY4910" fmla="*/ 2005580 h 5756219"/>
              <a:gd name="connsiteX4911" fmla="*/ 5649879 w 6226010"/>
              <a:gd name="connsiteY4911" fmla="*/ 2021886 h 5756219"/>
              <a:gd name="connsiteX4912" fmla="*/ 5696079 w 6226010"/>
              <a:gd name="connsiteY4912" fmla="*/ 2038191 h 5756219"/>
              <a:gd name="connsiteX4913" fmla="*/ 5717819 w 6226010"/>
              <a:gd name="connsiteY4913" fmla="*/ 2057216 h 5756219"/>
              <a:gd name="connsiteX4914" fmla="*/ 5739560 w 6226010"/>
              <a:gd name="connsiteY4914" fmla="*/ 2046344 h 5756219"/>
              <a:gd name="connsiteX4915" fmla="*/ 5696079 w 6226010"/>
              <a:gd name="connsiteY4915" fmla="*/ 2005580 h 5756219"/>
              <a:gd name="connsiteX4916" fmla="*/ 2296367 w 6226010"/>
              <a:gd name="connsiteY4916" fmla="*/ 2005580 h 5756219"/>
              <a:gd name="connsiteX4917" fmla="*/ 2296367 w 6226010"/>
              <a:gd name="connsiteY4917" fmla="*/ 2027321 h 5756219"/>
              <a:gd name="connsiteX4918" fmla="*/ 2307237 w 6226010"/>
              <a:gd name="connsiteY4918" fmla="*/ 2021886 h 5756219"/>
              <a:gd name="connsiteX4919" fmla="*/ 2307237 w 6226010"/>
              <a:gd name="connsiteY4919" fmla="*/ 2013733 h 5756219"/>
              <a:gd name="connsiteX4920" fmla="*/ 2271909 w 6226010"/>
              <a:gd name="connsiteY4920" fmla="*/ 2002863 h 5756219"/>
              <a:gd name="connsiteX4921" fmla="*/ 2263756 w 6226010"/>
              <a:gd name="connsiteY4921" fmla="*/ 2011016 h 5756219"/>
              <a:gd name="connsiteX4922" fmla="*/ 2266474 w 6226010"/>
              <a:gd name="connsiteY4922" fmla="*/ 2021886 h 5756219"/>
              <a:gd name="connsiteX4923" fmla="*/ 2274626 w 6226010"/>
              <a:gd name="connsiteY4923" fmla="*/ 2027321 h 5756219"/>
              <a:gd name="connsiteX4924" fmla="*/ 5505847 w 6226010"/>
              <a:gd name="connsiteY4924" fmla="*/ 2000145 h 5756219"/>
              <a:gd name="connsiteX4925" fmla="*/ 5500412 w 6226010"/>
              <a:gd name="connsiteY4925" fmla="*/ 2011016 h 5756219"/>
              <a:gd name="connsiteX4926" fmla="*/ 5478671 w 6226010"/>
              <a:gd name="connsiteY4926" fmla="*/ 2008298 h 5756219"/>
              <a:gd name="connsiteX4927" fmla="*/ 5492259 w 6226010"/>
              <a:gd name="connsiteY4927" fmla="*/ 2019168 h 5756219"/>
              <a:gd name="connsiteX4928" fmla="*/ 5470518 w 6226010"/>
              <a:gd name="connsiteY4928" fmla="*/ 2021886 h 5756219"/>
              <a:gd name="connsiteX4929" fmla="*/ 5475954 w 6226010"/>
              <a:gd name="connsiteY4929" fmla="*/ 2035474 h 5756219"/>
              <a:gd name="connsiteX4930" fmla="*/ 5527588 w 6226010"/>
              <a:gd name="connsiteY4930" fmla="*/ 2011016 h 5756219"/>
              <a:gd name="connsiteX4931" fmla="*/ 5505847 w 6226010"/>
              <a:gd name="connsiteY4931" fmla="*/ 2000145 h 5756219"/>
              <a:gd name="connsiteX4932" fmla="*/ 5884425 w 6226010"/>
              <a:gd name="connsiteY4932" fmla="*/ 1997315 h 5756219"/>
              <a:gd name="connsiteX4933" fmla="*/ 5899898 w 6226010"/>
              <a:gd name="connsiteY4933" fmla="*/ 2000145 h 5756219"/>
              <a:gd name="connsiteX4934" fmla="*/ 5909070 w 6226010"/>
              <a:gd name="connsiteY4934" fmla="*/ 2020187 h 5756219"/>
              <a:gd name="connsiteX4935" fmla="*/ 5912268 w 6226010"/>
              <a:gd name="connsiteY4935" fmla="*/ 2026744 h 5756219"/>
              <a:gd name="connsiteX4936" fmla="*/ 5902616 w 6226010"/>
              <a:gd name="connsiteY4936" fmla="*/ 2038191 h 5756219"/>
              <a:gd name="connsiteX4937" fmla="*/ 5891746 w 6226010"/>
              <a:gd name="connsiteY4937" fmla="*/ 2013733 h 5756219"/>
              <a:gd name="connsiteX4938" fmla="*/ 5902616 w 6226010"/>
              <a:gd name="connsiteY4938" fmla="*/ 2008298 h 5756219"/>
              <a:gd name="connsiteX4939" fmla="*/ 5787458 w 6226010"/>
              <a:gd name="connsiteY4939" fmla="*/ 1991653 h 5756219"/>
              <a:gd name="connsiteX4940" fmla="*/ 5766736 w 6226010"/>
              <a:gd name="connsiteY4940" fmla="*/ 2005580 h 5756219"/>
              <a:gd name="connsiteX4941" fmla="*/ 5810218 w 6226010"/>
              <a:gd name="connsiteY4941" fmla="*/ 2008298 h 5756219"/>
              <a:gd name="connsiteX4942" fmla="*/ 5787458 w 6226010"/>
              <a:gd name="connsiteY4942" fmla="*/ 1991653 h 5756219"/>
              <a:gd name="connsiteX4943" fmla="*/ 5623510 w 6226010"/>
              <a:gd name="connsiteY4943" fmla="*/ 1981971 h 5756219"/>
              <a:gd name="connsiteX4944" fmla="*/ 5611833 w 6226010"/>
              <a:gd name="connsiteY4944" fmla="*/ 1983840 h 5756219"/>
              <a:gd name="connsiteX4945" fmla="*/ 5617268 w 6226010"/>
              <a:gd name="connsiteY4945" fmla="*/ 2011016 h 5756219"/>
              <a:gd name="connsiteX4946" fmla="*/ 5652597 w 6226010"/>
              <a:gd name="connsiteY4946" fmla="*/ 2000145 h 5756219"/>
              <a:gd name="connsiteX4947" fmla="*/ 5649879 w 6226010"/>
              <a:gd name="connsiteY4947" fmla="*/ 1986557 h 5756219"/>
              <a:gd name="connsiteX4948" fmla="*/ 5623510 w 6226010"/>
              <a:gd name="connsiteY4948" fmla="*/ 1981971 h 5756219"/>
              <a:gd name="connsiteX4949" fmla="*/ 5472217 w 6226010"/>
              <a:gd name="connsiteY4949" fmla="*/ 1975348 h 5756219"/>
              <a:gd name="connsiteX4950" fmla="*/ 5456930 w 6226010"/>
              <a:gd name="connsiteY4950" fmla="*/ 1975687 h 5756219"/>
              <a:gd name="connsiteX4951" fmla="*/ 5470518 w 6226010"/>
              <a:gd name="connsiteY4951" fmla="*/ 2000145 h 5756219"/>
              <a:gd name="connsiteX4952" fmla="*/ 5481389 w 6226010"/>
              <a:gd name="connsiteY4952" fmla="*/ 1989275 h 5756219"/>
              <a:gd name="connsiteX4953" fmla="*/ 5472217 w 6226010"/>
              <a:gd name="connsiteY4953" fmla="*/ 1975348 h 5756219"/>
              <a:gd name="connsiteX4954" fmla="*/ 883218 w 6226010"/>
              <a:gd name="connsiteY4954" fmla="*/ 1967534 h 5756219"/>
              <a:gd name="connsiteX4955" fmla="*/ 861477 w 6226010"/>
              <a:gd name="connsiteY4955" fmla="*/ 1975687 h 5756219"/>
              <a:gd name="connsiteX4956" fmla="*/ 861477 w 6226010"/>
              <a:gd name="connsiteY4956" fmla="*/ 2008298 h 5756219"/>
              <a:gd name="connsiteX4957" fmla="*/ 831584 w 6226010"/>
              <a:gd name="connsiteY4957" fmla="*/ 2011016 h 5756219"/>
              <a:gd name="connsiteX4958" fmla="*/ 812560 w 6226010"/>
              <a:gd name="connsiteY4958" fmla="*/ 1972969 h 5756219"/>
              <a:gd name="connsiteX4959" fmla="*/ 845172 w 6226010"/>
              <a:gd name="connsiteY4959" fmla="*/ 2117003 h 5756219"/>
              <a:gd name="connsiteX4960" fmla="*/ 796255 w 6226010"/>
              <a:gd name="connsiteY4960" fmla="*/ 2174071 h 5756219"/>
              <a:gd name="connsiteX4961" fmla="*/ 817996 w 6226010"/>
              <a:gd name="connsiteY4961" fmla="*/ 2193094 h 5756219"/>
              <a:gd name="connsiteX4962" fmla="*/ 785385 w 6226010"/>
              <a:gd name="connsiteY4962" fmla="*/ 2217554 h 5756219"/>
              <a:gd name="connsiteX4963" fmla="*/ 891371 w 6226010"/>
              <a:gd name="connsiteY4963" fmla="*/ 2225705 h 5756219"/>
              <a:gd name="connsiteX4964" fmla="*/ 834301 w 6226010"/>
              <a:gd name="connsiteY4964" fmla="*/ 2198531 h 5756219"/>
              <a:gd name="connsiteX4965" fmla="*/ 837019 w 6226010"/>
              <a:gd name="connsiteY4965" fmla="*/ 2157767 h 5756219"/>
              <a:gd name="connsiteX4966" fmla="*/ 864195 w 6226010"/>
              <a:gd name="connsiteY4966" fmla="*/ 2152332 h 5756219"/>
              <a:gd name="connsiteX4967" fmla="*/ 907676 w 6226010"/>
              <a:gd name="connsiteY4967" fmla="*/ 2209400 h 5756219"/>
              <a:gd name="connsiteX4968" fmla="*/ 904959 w 6226010"/>
              <a:gd name="connsiteY4968" fmla="*/ 2179506 h 5756219"/>
              <a:gd name="connsiteX4969" fmla="*/ 858760 w 6226010"/>
              <a:gd name="connsiteY4969" fmla="*/ 2133307 h 5756219"/>
              <a:gd name="connsiteX4970" fmla="*/ 858760 w 6226010"/>
              <a:gd name="connsiteY4970" fmla="*/ 2130590 h 5756219"/>
              <a:gd name="connsiteX4971" fmla="*/ 894088 w 6226010"/>
              <a:gd name="connsiteY4971" fmla="*/ 2125155 h 5756219"/>
              <a:gd name="connsiteX4972" fmla="*/ 913111 w 6226010"/>
              <a:gd name="connsiteY4972" fmla="*/ 2013733 h 5756219"/>
              <a:gd name="connsiteX4973" fmla="*/ 883218 w 6226010"/>
              <a:gd name="connsiteY4973" fmla="*/ 1967534 h 5756219"/>
              <a:gd name="connsiteX4974" fmla="*/ 5546611 w 6226010"/>
              <a:gd name="connsiteY4974" fmla="*/ 1961887 h 5756219"/>
              <a:gd name="connsiteX4975" fmla="*/ 5535741 w 6226010"/>
              <a:gd name="connsiteY4975" fmla="*/ 1964817 h 5756219"/>
              <a:gd name="connsiteX4976" fmla="*/ 5571069 w 6226010"/>
              <a:gd name="connsiteY4976" fmla="*/ 1972969 h 5756219"/>
              <a:gd name="connsiteX4977" fmla="*/ 5546611 w 6226010"/>
              <a:gd name="connsiteY4977" fmla="*/ 1961887 h 5756219"/>
              <a:gd name="connsiteX4978" fmla="*/ 5634240 w 6226010"/>
              <a:gd name="connsiteY4978" fmla="*/ 1937503 h 5756219"/>
              <a:gd name="connsiteX4979" fmla="*/ 5633774 w 6226010"/>
              <a:gd name="connsiteY4979" fmla="*/ 1938271 h 5756219"/>
              <a:gd name="connsiteX4980" fmla="*/ 5633574 w 6226010"/>
              <a:gd name="connsiteY4980" fmla="*/ 1937641 h 5756219"/>
              <a:gd name="connsiteX4981" fmla="*/ 5570899 w 6226010"/>
              <a:gd name="connsiteY4981" fmla="*/ 1930338 h 5756219"/>
              <a:gd name="connsiteX4982" fmla="*/ 5582619 w 6226010"/>
              <a:gd name="connsiteY4982" fmla="*/ 1932885 h 5756219"/>
              <a:gd name="connsiteX4983" fmla="*/ 5592559 w 6226010"/>
              <a:gd name="connsiteY4983" fmla="*/ 1935668 h 5756219"/>
              <a:gd name="connsiteX4984" fmla="*/ 5585506 w 6226010"/>
              <a:gd name="connsiteY4984" fmla="*/ 1938575 h 5756219"/>
              <a:gd name="connsiteX4985" fmla="*/ 5575146 w 6226010"/>
              <a:gd name="connsiteY4985" fmla="*/ 1938320 h 5756219"/>
              <a:gd name="connsiteX4986" fmla="*/ 5570063 w 6226010"/>
              <a:gd name="connsiteY4986" fmla="*/ 1930696 h 5756219"/>
              <a:gd name="connsiteX4987" fmla="*/ 5651520 w 6226010"/>
              <a:gd name="connsiteY4987" fmla="*/ 1914414 h 5756219"/>
              <a:gd name="connsiteX4988" fmla="*/ 5655315 w 6226010"/>
              <a:gd name="connsiteY4988" fmla="*/ 1918617 h 5756219"/>
              <a:gd name="connsiteX4989" fmla="*/ 5648691 w 6226010"/>
              <a:gd name="connsiteY4989" fmla="*/ 1919090 h 5756219"/>
              <a:gd name="connsiteX4990" fmla="*/ 5647162 w 6226010"/>
              <a:gd name="connsiteY4990" fmla="*/ 1915900 h 5756219"/>
              <a:gd name="connsiteX4991" fmla="*/ 5667211 w 6226010"/>
              <a:gd name="connsiteY4991" fmla="*/ 1913045 h 5756219"/>
              <a:gd name="connsiteX4992" fmla="*/ 5670736 w 6226010"/>
              <a:gd name="connsiteY4992" fmla="*/ 1913753 h 5756219"/>
              <a:gd name="connsiteX4993" fmla="*/ 5668903 w 6226010"/>
              <a:gd name="connsiteY4993" fmla="*/ 1915900 h 5756219"/>
              <a:gd name="connsiteX4994" fmla="*/ 5734125 w 6226010"/>
              <a:gd name="connsiteY4994" fmla="*/ 1905029 h 5756219"/>
              <a:gd name="connsiteX4995" fmla="*/ 5739560 w 6226010"/>
              <a:gd name="connsiteY4995" fmla="*/ 1918617 h 5756219"/>
              <a:gd name="connsiteX4996" fmla="*/ 5715102 w 6226010"/>
              <a:gd name="connsiteY4996" fmla="*/ 1915900 h 5756219"/>
              <a:gd name="connsiteX4997" fmla="*/ 5682491 w 6226010"/>
              <a:gd name="connsiteY4997" fmla="*/ 1972969 h 5756219"/>
              <a:gd name="connsiteX4998" fmla="*/ 5693106 w 6226010"/>
              <a:gd name="connsiteY4998" fmla="*/ 1980952 h 5756219"/>
              <a:gd name="connsiteX4999" fmla="*/ 5696082 w 6226010"/>
              <a:gd name="connsiteY4999" fmla="*/ 1981118 h 5756219"/>
              <a:gd name="connsiteX5000" fmla="*/ 5696079 w 6226010"/>
              <a:gd name="connsiteY5000" fmla="*/ 1981122 h 5756219"/>
              <a:gd name="connsiteX5001" fmla="*/ 5696088 w 6226010"/>
              <a:gd name="connsiteY5001" fmla="*/ 1981119 h 5756219"/>
              <a:gd name="connsiteX5002" fmla="*/ 5708308 w 6226010"/>
              <a:gd name="connsiteY5002" fmla="*/ 1981801 h 5756219"/>
              <a:gd name="connsiteX5003" fmla="*/ 5720965 w 6226010"/>
              <a:gd name="connsiteY5003" fmla="*/ 1983598 h 5756219"/>
              <a:gd name="connsiteX5004" fmla="*/ 5720537 w 6226010"/>
              <a:gd name="connsiteY5004" fmla="*/ 1983840 h 5756219"/>
              <a:gd name="connsiteX5005" fmla="*/ 5721627 w 6226010"/>
              <a:gd name="connsiteY5005" fmla="*/ 1984054 h 5756219"/>
              <a:gd name="connsiteX5006" fmla="*/ 5725972 w 6226010"/>
              <a:gd name="connsiteY5006" fmla="*/ 1994710 h 5756219"/>
              <a:gd name="connsiteX5007" fmla="*/ 5761301 w 6226010"/>
              <a:gd name="connsiteY5007" fmla="*/ 1991992 h 5756219"/>
              <a:gd name="connsiteX5008" fmla="*/ 5755866 w 6226010"/>
              <a:gd name="connsiteY5008" fmla="*/ 1983840 h 5756219"/>
              <a:gd name="connsiteX5009" fmla="*/ 5736163 w 6226010"/>
              <a:gd name="connsiteY5009" fmla="*/ 1986897 h 5756219"/>
              <a:gd name="connsiteX5010" fmla="*/ 5721627 w 6226010"/>
              <a:gd name="connsiteY5010" fmla="*/ 1984054 h 5756219"/>
              <a:gd name="connsiteX5011" fmla="*/ 5721471 w 6226010"/>
              <a:gd name="connsiteY5011" fmla="*/ 1983670 h 5756219"/>
              <a:gd name="connsiteX5012" fmla="*/ 5720965 w 6226010"/>
              <a:gd name="connsiteY5012" fmla="*/ 1983598 h 5756219"/>
              <a:gd name="connsiteX5013" fmla="*/ 5728350 w 6226010"/>
              <a:gd name="connsiteY5013" fmla="*/ 1979424 h 5756219"/>
              <a:gd name="connsiteX5014" fmla="*/ 5734125 w 6226010"/>
              <a:gd name="connsiteY5014" fmla="*/ 1972969 h 5756219"/>
              <a:gd name="connsiteX5015" fmla="*/ 5747713 w 6226010"/>
              <a:gd name="connsiteY5015" fmla="*/ 1978405 h 5756219"/>
              <a:gd name="connsiteX5016" fmla="*/ 5772171 w 6226010"/>
              <a:gd name="connsiteY5016" fmla="*/ 1953946 h 5756219"/>
              <a:gd name="connsiteX5017" fmla="*/ 5769454 w 6226010"/>
              <a:gd name="connsiteY5017" fmla="*/ 1945793 h 5756219"/>
              <a:gd name="connsiteX5018" fmla="*/ 5755866 w 6226010"/>
              <a:gd name="connsiteY5018" fmla="*/ 1948511 h 5756219"/>
              <a:gd name="connsiteX5019" fmla="*/ 5758583 w 6226010"/>
              <a:gd name="connsiteY5019" fmla="*/ 1967534 h 5756219"/>
              <a:gd name="connsiteX5020" fmla="*/ 5712724 w 6226010"/>
              <a:gd name="connsiteY5020" fmla="*/ 1974796 h 5756219"/>
              <a:gd name="connsiteX5021" fmla="*/ 5696088 w 6226010"/>
              <a:gd name="connsiteY5021" fmla="*/ 1981119 h 5756219"/>
              <a:gd name="connsiteX5022" fmla="*/ 5696082 w 6226010"/>
              <a:gd name="connsiteY5022" fmla="*/ 1981118 h 5756219"/>
              <a:gd name="connsiteX5023" fmla="*/ 5710686 w 6226010"/>
              <a:gd name="connsiteY5023" fmla="*/ 1963458 h 5756219"/>
              <a:gd name="connsiteX5024" fmla="*/ 5723255 w 6226010"/>
              <a:gd name="connsiteY5024" fmla="*/ 1945793 h 5756219"/>
              <a:gd name="connsiteX5025" fmla="*/ 5712384 w 6226010"/>
              <a:gd name="connsiteY5025" fmla="*/ 1937641 h 5756219"/>
              <a:gd name="connsiteX5026" fmla="*/ 5750431 w 6226010"/>
              <a:gd name="connsiteY5026" fmla="*/ 1910465 h 5756219"/>
              <a:gd name="connsiteX5027" fmla="*/ 5734125 w 6226010"/>
              <a:gd name="connsiteY5027" fmla="*/ 1905029 h 5756219"/>
              <a:gd name="connsiteX5028" fmla="*/ 5684904 w 6226010"/>
              <a:gd name="connsiteY5028" fmla="*/ 1898326 h 5756219"/>
              <a:gd name="connsiteX5029" fmla="*/ 5680792 w 6226010"/>
              <a:gd name="connsiteY5029" fmla="*/ 1901972 h 5756219"/>
              <a:gd name="connsiteX5030" fmla="*/ 5674879 w 6226010"/>
              <a:gd name="connsiteY5030" fmla="*/ 1908899 h 5756219"/>
              <a:gd name="connsiteX5031" fmla="*/ 5671620 w 6226010"/>
              <a:gd name="connsiteY5031" fmla="*/ 1905029 h 5756219"/>
              <a:gd name="connsiteX5032" fmla="*/ 2337132 w 6226010"/>
              <a:gd name="connsiteY5032" fmla="*/ 1896878 h 5756219"/>
              <a:gd name="connsiteX5033" fmla="*/ 2364308 w 6226010"/>
              <a:gd name="connsiteY5033" fmla="*/ 1913182 h 5756219"/>
              <a:gd name="connsiteX5034" fmla="*/ 2358873 w 6226010"/>
              <a:gd name="connsiteY5034" fmla="*/ 1896878 h 5756219"/>
              <a:gd name="connsiteX5035" fmla="*/ 2228427 w 6226010"/>
              <a:gd name="connsiteY5035" fmla="*/ 1896878 h 5756219"/>
              <a:gd name="connsiteX5036" fmla="*/ 2252886 w 6226010"/>
              <a:gd name="connsiteY5036" fmla="*/ 1962099 h 5756219"/>
              <a:gd name="connsiteX5037" fmla="*/ 2266474 w 6226010"/>
              <a:gd name="connsiteY5037" fmla="*/ 1989275 h 5756219"/>
              <a:gd name="connsiteX5038" fmla="*/ 2288214 w 6226010"/>
              <a:gd name="connsiteY5038" fmla="*/ 1964817 h 5756219"/>
              <a:gd name="connsiteX5039" fmla="*/ 2290932 w 6226010"/>
              <a:gd name="connsiteY5039" fmla="*/ 1964817 h 5756219"/>
              <a:gd name="connsiteX5040" fmla="*/ 2307237 w 6226010"/>
              <a:gd name="connsiteY5040" fmla="*/ 1956664 h 5756219"/>
              <a:gd name="connsiteX5041" fmla="*/ 2290932 w 6226010"/>
              <a:gd name="connsiteY5041" fmla="*/ 1951229 h 5756219"/>
              <a:gd name="connsiteX5042" fmla="*/ 2299085 w 6226010"/>
              <a:gd name="connsiteY5042" fmla="*/ 1934923 h 5756219"/>
              <a:gd name="connsiteX5043" fmla="*/ 2274626 w 6226010"/>
              <a:gd name="connsiteY5043" fmla="*/ 1926770 h 5756219"/>
              <a:gd name="connsiteX5044" fmla="*/ 2282779 w 6226010"/>
              <a:gd name="connsiteY5044" fmla="*/ 1905029 h 5756219"/>
              <a:gd name="connsiteX5045" fmla="*/ 2326262 w 6226010"/>
              <a:gd name="connsiteY5045" fmla="*/ 1905029 h 5756219"/>
              <a:gd name="connsiteX5046" fmla="*/ 2301802 w 6226010"/>
              <a:gd name="connsiteY5046" fmla="*/ 1902312 h 5756219"/>
              <a:gd name="connsiteX5047" fmla="*/ 2309955 w 6226010"/>
              <a:gd name="connsiteY5047" fmla="*/ 1896878 h 5756219"/>
              <a:gd name="connsiteX5048" fmla="*/ 1312598 w 6226010"/>
              <a:gd name="connsiteY5048" fmla="*/ 1896878 h 5756219"/>
              <a:gd name="connsiteX5049" fmla="*/ 1328903 w 6226010"/>
              <a:gd name="connsiteY5049" fmla="*/ 1921335 h 5756219"/>
              <a:gd name="connsiteX5050" fmla="*/ 1334339 w 6226010"/>
              <a:gd name="connsiteY5050" fmla="*/ 1896878 h 5756219"/>
              <a:gd name="connsiteX5051" fmla="*/ 1350644 w 6226010"/>
              <a:gd name="connsiteY5051" fmla="*/ 1894159 h 5756219"/>
              <a:gd name="connsiteX5052" fmla="*/ 1353362 w 6226010"/>
              <a:gd name="connsiteY5052" fmla="*/ 1899594 h 5756219"/>
              <a:gd name="connsiteX5053" fmla="*/ 1348833 w 6226010"/>
              <a:gd name="connsiteY5053" fmla="*/ 1923149 h 5756219"/>
              <a:gd name="connsiteX5054" fmla="*/ 1346569 w 6226010"/>
              <a:gd name="connsiteY5054" fmla="*/ 1929486 h 5756219"/>
              <a:gd name="connsiteX5055" fmla="*/ 1337056 w 6226010"/>
              <a:gd name="connsiteY5055" fmla="*/ 1948511 h 5756219"/>
              <a:gd name="connsiteX5056" fmla="*/ 1339774 w 6226010"/>
              <a:gd name="connsiteY5056" fmla="*/ 1948511 h 5756219"/>
              <a:gd name="connsiteX5057" fmla="*/ 1346569 w 6226010"/>
              <a:gd name="connsiteY5057" fmla="*/ 1929486 h 5756219"/>
              <a:gd name="connsiteX5058" fmla="*/ 1348267 w 6226010"/>
              <a:gd name="connsiteY5058" fmla="*/ 1926091 h 5756219"/>
              <a:gd name="connsiteX5059" fmla="*/ 1348833 w 6226010"/>
              <a:gd name="connsiteY5059" fmla="*/ 1923149 h 5756219"/>
              <a:gd name="connsiteX5060" fmla="*/ 1353362 w 6226010"/>
              <a:gd name="connsiteY5060" fmla="*/ 1910465 h 5756219"/>
              <a:gd name="connsiteX5061" fmla="*/ 1366950 w 6226010"/>
              <a:gd name="connsiteY5061" fmla="*/ 1907747 h 5756219"/>
              <a:gd name="connsiteX5062" fmla="*/ 1366950 w 6226010"/>
              <a:gd name="connsiteY5062" fmla="*/ 1894159 h 5756219"/>
              <a:gd name="connsiteX5063" fmla="*/ 5060162 w 6226010"/>
              <a:gd name="connsiteY5063" fmla="*/ 1888724 h 5756219"/>
              <a:gd name="connsiteX5064" fmla="*/ 5060162 w 6226010"/>
              <a:gd name="connsiteY5064" fmla="*/ 1918617 h 5756219"/>
              <a:gd name="connsiteX5065" fmla="*/ 5062879 w 6226010"/>
              <a:gd name="connsiteY5065" fmla="*/ 1894159 h 5756219"/>
              <a:gd name="connsiteX5066" fmla="*/ 5060162 w 6226010"/>
              <a:gd name="connsiteY5066" fmla="*/ 1888724 h 5756219"/>
              <a:gd name="connsiteX5067" fmla="*/ 5647162 w 6226010"/>
              <a:gd name="connsiteY5067" fmla="*/ 1880571 h 5756219"/>
              <a:gd name="connsiteX5068" fmla="*/ 5668903 w 6226010"/>
              <a:gd name="connsiteY5068" fmla="*/ 1888724 h 5756219"/>
              <a:gd name="connsiteX5069" fmla="*/ 5658032 w 6226010"/>
              <a:gd name="connsiteY5069" fmla="*/ 1899594 h 5756219"/>
              <a:gd name="connsiteX5070" fmla="*/ 5663468 w 6226010"/>
              <a:gd name="connsiteY5070" fmla="*/ 1906728 h 5756219"/>
              <a:gd name="connsiteX5071" fmla="*/ 5667211 w 6226010"/>
              <a:gd name="connsiteY5071" fmla="*/ 1913045 h 5756219"/>
              <a:gd name="connsiteX5072" fmla="*/ 5659858 w 6226010"/>
              <a:gd name="connsiteY5072" fmla="*/ 1911569 h 5756219"/>
              <a:gd name="connsiteX5073" fmla="*/ 5651520 w 6226010"/>
              <a:gd name="connsiteY5073" fmla="*/ 1914414 h 5756219"/>
              <a:gd name="connsiteX5074" fmla="*/ 5649412 w 6226010"/>
              <a:gd name="connsiteY5074" fmla="*/ 1912078 h 5756219"/>
              <a:gd name="connsiteX5075" fmla="*/ 5619986 w 6226010"/>
              <a:gd name="connsiteY5075" fmla="*/ 1915900 h 5756219"/>
              <a:gd name="connsiteX5076" fmla="*/ 5647162 w 6226010"/>
              <a:gd name="connsiteY5076" fmla="*/ 1880571 h 5756219"/>
              <a:gd name="connsiteX5077" fmla="*/ 918547 w 6226010"/>
              <a:gd name="connsiteY5077" fmla="*/ 1856113 h 5756219"/>
              <a:gd name="connsiteX5078" fmla="*/ 902241 w 6226010"/>
              <a:gd name="connsiteY5078" fmla="*/ 1913182 h 5756219"/>
              <a:gd name="connsiteX5079" fmla="*/ 929417 w 6226010"/>
              <a:gd name="connsiteY5079" fmla="*/ 1905029 h 5756219"/>
              <a:gd name="connsiteX5080" fmla="*/ 921264 w 6226010"/>
              <a:gd name="connsiteY5080" fmla="*/ 1858830 h 5756219"/>
              <a:gd name="connsiteX5081" fmla="*/ 5046574 w 6226010"/>
              <a:gd name="connsiteY5081" fmla="*/ 1845242 h 5756219"/>
              <a:gd name="connsiteX5082" fmla="*/ 5076467 w 6226010"/>
              <a:gd name="connsiteY5082" fmla="*/ 1858830 h 5756219"/>
              <a:gd name="connsiteX5083" fmla="*/ 5068314 w 6226010"/>
              <a:gd name="connsiteY5083" fmla="*/ 1880571 h 5756219"/>
              <a:gd name="connsiteX5084" fmla="*/ 5052009 w 6226010"/>
              <a:gd name="connsiteY5084" fmla="*/ 1861548 h 5756219"/>
              <a:gd name="connsiteX5085" fmla="*/ 5046574 w 6226010"/>
              <a:gd name="connsiteY5085" fmla="*/ 1869701 h 5756219"/>
              <a:gd name="connsiteX5086" fmla="*/ 5049291 w 6226010"/>
              <a:gd name="connsiteY5086" fmla="*/ 1866984 h 5756219"/>
              <a:gd name="connsiteX5087" fmla="*/ 5060162 w 6226010"/>
              <a:gd name="connsiteY5087" fmla="*/ 1880571 h 5756219"/>
              <a:gd name="connsiteX5088" fmla="*/ 5076467 w 6226010"/>
              <a:gd name="connsiteY5088" fmla="*/ 1891441 h 5756219"/>
              <a:gd name="connsiteX5089" fmla="*/ 5046574 w 6226010"/>
              <a:gd name="connsiteY5089" fmla="*/ 1845242 h 5756219"/>
              <a:gd name="connsiteX5090" fmla="*/ 5725972 w 6226010"/>
              <a:gd name="connsiteY5090" fmla="*/ 1842186 h 5756219"/>
              <a:gd name="connsiteX5091" fmla="*/ 5726459 w 6226010"/>
              <a:gd name="connsiteY5091" fmla="*/ 1842566 h 5756219"/>
              <a:gd name="connsiteX5092" fmla="*/ 5715102 w 6226010"/>
              <a:gd name="connsiteY5092" fmla="*/ 1850678 h 5756219"/>
              <a:gd name="connsiteX5093" fmla="*/ 5711648 w 6226010"/>
              <a:gd name="connsiteY5093" fmla="*/ 1846534 h 5756219"/>
              <a:gd name="connsiteX5094" fmla="*/ 5193324 w 6226010"/>
              <a:gd name="connsiteY5094" fmla="*/ 1780020 h 5756219"/>
              <a:gd name="connsiteX5095" fmla="*/ 5109078 w 6226010"/>
              <a:gd name="connsiteY5095" fmla="*/ 1834372 h 5756219"/>
              <a:gd name="connsiteX5096" fmla="*/ 5122666 w 6226010"/>
              <a:gd name="connsiteY5096" fmla="*/ 1877853 h 5756219"/>
              <a:gd name="connsiteX5097" fmla="*/ 5106361 w 6226010"/>
              <a:gd name="connsiteY5097" fmla="*/ 1858830 h 5756219"/>
              <a:gd name="connsiteX5098" fmla="*/ 5117231 w 6226010"/>
              <a:gd name="connsiteY5098" fmla="*/ 1880571 h 5756219"/>
              <a:gd name="connsiteX5099" fmla="*/ 5174300 w 6226010"/>
              <a:gd name="connsiteY5099" fmla="*/ 1886006 h 5756219"/>
              <a:gd name="connsiteX5100" fmla="*/ 5185171 w 6226010"/>
              <a:gd name="connsiteY5100" fmla="*/ 1875136 h 5756219"/>
              <a:gd name="connsiteX5101" fmla="*/ 5185171 w 6226010"/>
              <a:gd name="connsiteY5101" fmla="*/ 1910465 h 5756219"/>
              <a:gd name="connsiteX5102" fmla="*/ 5179736 w 6226010"/>
              <a:gd name="connsiteY5102" fmla="*/ 1945793 h 5756219"/>
              <a:gd name="connsiteX5103" fmla="*/ 5147124 w 6226010"/>
              <a:gd name="connsiteY5103" fmla="*/ 1913182 h 5756219"/>
              <a:gd name="connsiteX5104" fmla="*/ 5152560 w 6226010"/>
              <a:gd name="connsiteY5104" fmla="*/ 1905029 h 5756219"/>
              <a:gd name="connsiteX5105" fmla="*/ 5100925 w 6226010"/>
              <a:gd name="connsiteY5105" fmla="*/ 1877853 h 5756219"/>
              <a:gd name="connsiteX5106" fmla="*/ 5065597 w 6226010"/>
              <a:gd name="connsiteY5106" fmla="*/ 1948511 h 5756219"/>
              <a:gd name="connsiteX5107" fmla="*/ 5073750 w 6226010"/>
              <a:gd name="connsiteY5107" fmla="*/ 1959381 h 5756219"/>
              <a:gd name="connsiteX5108" fmla="*/ 5060162 w 6226010"/>
              <a:gd name="connsiteY5108" fmla="*/ 1962099 h 5756219"/>
              <a:gd name="connsiteX5109" fmla="*/ 5049291 w 6226010"/>
              <a:gd name="connsiteY5109" fmla="*/ 2024604 h 5756219"/>
              <a:gd name="connsiteX5110" fmla="*/ 5079185 w 6226010"/>
              <a:gd name="connsiteY5110" fmla="*/ 2032756 h 5756219"/>
              <a:gd name="connsiteX5111" fmla="*/ 5060162 w 6226010"/>
              <a:gd name="connsiteY5111" fmla="*/ 2019168 h 5756219"/>
              <a:gd name="connsiteX5112" fmla="*/ 5081902 w 6226010"/>
              <a:gd name="connsiteY5112" fmla="*/ 2019168 h 5756219"/>
              <a:gd name="connsiteX5113" fmla="*/ 5095490 w 6226010"/>
              <a:gd name="connsiteY5113" fmla="*/ 1994710 h 5756219"/>
              <a:gd name="connsiteX5114" fmla="*/ 5103643 w 6226010"/>
              <a:gd name="connsiteY5114" fmla="*/ 2030039 h 5756219"/>
              <a:gd name="connsiteX5115" fmla="*/ 5084620 w 6226010"/>
              <a:gd name="connsiteY5115" fmla="*/ 2032756 h 5756219"/>
              <a:gd name="connsiteX5116" fmla="*/ 5160712 w 6226010"/>
              <a:gd name="connsiteY5116" fmla="*/ 2030039 h 5756219"/>
              <a:gd name="connsiteX5117" fmla="*/ 5155277 w 6226010"/>
              <a:gd name="connsiteY5117" fmla="*/ 2016451 h 5756219"/>
              <a:gd name="connsiteX5118" fmla="*/ 5179736 w 6226010"/>
              <a:gd name="connsiteY5118" fmla="*/ 2019168 h 5756219"/>
              <a:gd name="connsiteX5119" fmla="*/ 5168865 w 6226010"/>
              <a:gd name="connsiteY5119" fmla="*/ 2000145 h 5756219"/>
              <a:gd name="connsiteX5120" fmla="*/ 5201476 w 6226010"/>
              <a:gd name="connsiteY5120" fmla="*/ 2002863 h 5756219"/>
              <a:gd name="connsiteX5121" fmla="*/ 5223217 w 6226010"/>
              <a:gd name="connsiteY5121" fmla="*/ 1975687 h 5756219"/>
              <a:gd name="connsiteX5122" fmla="*/ 5225935 w 6226010"/>
              <a:gd name="connsiteY5122" fmla="*/ 2002863 h 5756219"/>
              <a:gd name="connsiteX5123" fmla="*/ 5239523 w 6226010"/>
              <a:gd name="connsiteY5123" fmla="*/ 2005580 h 5756219"/>
              <a:gd name="connsiteX5124" fmla="*/ 5255828 w 6226010"/>
              <a:gd name="connsiteY5124" fmla="*/ 1981122 h 5756219"/>
              <a:gd name="connsiteX5125" fmla="*/ 5258546 w 6226010"/>
              <a:gd name="connsiteY5125" fmla="*/ 2002863 h 5756219"/>
              <a:gd name="connsiteX5126" fmla="*/ 5285722 w 6226010"/>
              <a:gd name="connsiteY5126" fmla="*/ 1989275 h 5756219"/>
              <a:gd name="connsiteX5127" fmla="*/ 5304745 w 6226010"/>
              <a:gd name="connsiteY5127" fmla="*/ 1994710 h 5756219"/>
              <a:gd name="connsiteX5128" fmla="*/ 5326486 w 6226010"/>
              <a:gd name="connsiteY5128" fmla="*/ 1978405 h 5756219"/>
              <a:gd name="connsiteX5129" fmla="*/ 5337356 w 6226010"/>
              <a:gd name="connsiteY5129" fmla="*/ 1991992 h 5756219"/>
              <a:gd name="connsiteX5130" fmla="*/ 5410731 w 6226010"/>
              <a:gd name="connsiteY5130" fmla="*/ 1948511 h 5756219"/>
              <a:gd name="connsiteX5131" fmla="*/ 5394426 w 6226010"/>
              <a:gd name="connsiteY5131" fmla="*/ 1945793 h 5756219"/>
              <a:gd name="connsiteX5132" fmla="*/ 5413449 w 6226010"/>
              <a:gd name="connsiteY5132" fmla="*/ 1932205 h 5756219"/>
              <a:gd name="connsiteX5133" fmla="*/ 5437907 w 6226010"/>
              <a:gd name="connsiteY5133" fmla="*/ 1948511 h 5756219"/>
              <a:gd name="connsiteX5134" fmla="*/ 5391708 w 6226010"/>
              <a:gd name="connsiteY5134" fmla="*/ 1858830 h 5756219"/>
              <a:gd name="connsiteX5135" fmla="*/ 5378120 w 6226010"/>
              <a:gd name="connsiteY5135" fmla="*/ 1880571 h 5756219"/>
              <a:gd name="connsiteX5136" fmla="*/ 5274852 w 6226010"/>
              <a:gd name="connsiteY5136" fmla="*/ 1807196 h 5756219"/>
              <a:gd name="connsiteX5137" fmla="*/ 5269416 w 6226010"/>
              <a:gd name="connsiteY5137" fmla="*/ 1820785 h 5756219"/>
              <a:gd name="connsiteX5138" fmla="*/ 5193324 w 6226010"/>
              <a:gd name="connsiteY5138" fmla="*/ 1780020 h 5756219"/>
              <a:gd name="connsiteX5139" fmla="*/ 5174300 w 6226010"/>
              <a:gd name="connsiteY5139" fmla="*/ 1780020 h 5756219"/>
              <a:gd name="connsiteX5140" fmla="*/ 5122666 w 6226010"/>
              <a:gd name="connsiteY5140" fmla="*/ 1809914 h 5756219"/>
              <a:gd name="connsiteX5141" fmla="*/ 5174300 w 6226010"/>
              <a:gd name="connsiteY5141" fmla="*/ 1780020 h 5756219"/>
              <a:gd name="connsiteX5142" fmla="*/ 5783641 w 6226010"/>
              <a:gd name="connsiteY5142" fmla="*/ 1779446 h 5756219"/>
              <a:gd name="connsiteX5143" fmla="*/ 5785959 w 6226010"/>
              <a:gd name="connsiteY5143" fmla="*/ 1787730 h 5756219"/>
              <a:gd name="connsiteX5144" fmla="*/ 5777607 w 6226010"/>
              <a:gd name="connsiteY5144" fmla="*/ 1780020 h 5756219"/>
              <a:gd name="connsiteX5145" fmla="*/ 5744443 w 6226010"/>
              <a:gd name="connsiteY5145" fmla="*/ 1766602 h 5756219"/>
              <a:gd name="connsiteX5146" fmla="*/ 5756885 w 6226010"/>
              <a:gd name="connsiteY5146" fmla="*/ 1771189 h 5756219"/>
              <a:gd name="connsiteX5147" fmla="*/ 5762878 w 6226010"/>
              <a:gd name="connsiteY5147" fmla="*/ 1774004 h 5756219"/>
              <a:gd name="connsiteX5148" fmla="*/ 5730680 w 6226010"/>
              <a:gd name="connsiteY5148" fmla="*/ 1777111 h 5756219"/>
              <a:gd name="connsiteX5149" fmla="*/ 5728690 w 6226010"/>
              <a:gd name="connsiteY5149" fmla="*/ 1769150 h 5756219"/>
              <a:gd name="connsiteX5150" fmla="*/ 5744443 w 6226010"/>
              <a:gd name="connsiteY5150" fmla="*/ 1766602 h 5756219"/>
              <a:gd name="connsiteX5151" fmla="*/ 5810218 w 6226010"/>
              <a:gd name="connsiteY5151" fmla="*/ 1763715 h 5756219"/>
              <a:gd name="connsiteX5152" fmla="*/ 5799008 w 6226010"/>
              <a:gd name="connsiteY5152" fmla="*/ 1777983 h 5756219"/>
              <a:gd name="connsiteX5153" fmla="*/ 5783641 w 6226010"/>
              <a:gd name="connsiteY5153" fmla="*/ 1779446 h 5756219"/>
              <a:gd name="connsiteX5154" fmla="*/ 5783042 w 6226010"/>
              <a:gd name="connsiteY5154" fmla="*/ 1777303 h 5756219"/>
              <a:gd name="connsiteX5155" fmla="*/ 5768817 w 6226010"/>
              <a:gd name="connsiteY5155" fmla="*/ 1776794 h 5756219"/>
              <a:gd name="connsiteX5156" fmla="*/ 5762878 w 6226010"/>
              <a:gd name="connsiteY5156" fmla="*/ 1774004 h 5756219"/>
              <a:gd name="connsiteX5157" fmla="*/ 5767416 w 6226010"/>
              <a:gd name="connsiteY5157" fmla="*/ 1773566 h 5756219"/>
              <a:gd name="connsiteX5158" fmla="*/ 5810218 w 6226010"/>
              <a:gd name="connsiteY5158" fmla="*/ 1763715 h 5756219"/>
              <a:gd name="connsiteX5159" fmla="*/ 5032986 w 6226010"/>
              <a:gd name="connsiteY5159" fmla="*/ 1763715 h 5756219"/>
              <a:gd name="connsiteX5160" fmla="*/ 5052009 w 6226010"/>
              <a:gd name="connsiteY5160" fmla="*/ 1799043 h 5756219"/>
              <a:gd name="connsiteX5161" fmla="*/ 5046788 w 6226010"/>
              <a:gd name="connsiteY5161" fmla="*/ 1798077 h 5756219"/>
              <a:gd name="connsiteX5162" fmla="*/ 5031372 w 6226010"/>
              <a:gd name="connsiteY5162" fmla="*/ 1779171 h 5756219"/>
              <a:gd name="connsiteX5163" fmla="*/ 5023594 w 6226010"/>
              <a:gd name="connsiteY5163" fmla="*/ 1770648 h 5756219"/>
              <a:gd name="connsiteX5164" fmla="*/ 4998571 w 6226010"/>
              <a:gd name="connsiteY5164" fmla="*/ 1757494 h 5756219"/>
              <a:gd name="connsiteX5165" fmla="*/ 5003092 w 6226010"/>
              <a:gd name="connsiteY5165" fmla="*/ 1758280 h 5756219"/>
              <a:gd name="connsiteX5166" fmla="*/ 5000375 w 6226010"/>
              <a:gd name="connsiteY5166" fmla="*/ 1762060 h 5756219"/>
              <a:gd name="connsiteX5167" fmla="*/ 5000375 w 6226010"/>
              <a:gd name="connsiteY5167" fmla="*/ 1760997 h 5756219"/>
              <a:gd name="connsiteX5168" fmla="*/ 4992222 w 6226010"/>
              <a:gd name="connsiteY5168" fmla="*/ 1760997 h 5756219"/>
              <a:gd name="connsiteX5169" fmla="*/ 5095788 w 6226010"/>
              <a:gd name="connsiteY5169" fmla="*/ 1755059 h 5756219"/>
              <a:gd name="connsiteX5170" fmla="*/ 5096415 w 6226010"/>
              <a:gd name="connsiteY5170" fmla="*/ 1755532 h 5756219"/>
              <a:gd name="connsiteX5171" fmla="*/ 5095490 w 6226010"/>
              <a:gd name="connsiteY5171" fmla="*/ 1755562 h 5756219"/>
              <a:gd name="connsiteX5172" fmla="*/ 5073750 w 6226010"/>
              <a:gd name="connsiteY5172" fmla="*/ 1750127 h 5756219"/>
              <a:gd name="connsiteX5173" fmla="*/ 5079539 w 6226010"/>
              <a:gd name="connsiteY5173" fmla="*/ 1750250 h 5756219"/>
              <a:gd name="connsiteX5174" fmla="*/ 5074932 w 6226010"/>
              <a:gd name="connsiteY5174" fmla="*/ 1756037 h 5756219"/>
              <a:gd name="connsiteX5175" fmla="*/ 5390470 w 6226010"/>
              <a:gd name="connsiteY5175" fmla="*/ 1739381 h 5756219"/>
              <a:gd name="connsiteX5176" fmla="*/ 5390010 w 6226010"/>
              <a:gd name="connsiteY5176" fmla="*/ 1741296 h 5756219"/>
              <a:gd name="connsiteX5177" fmla="*/ 5384614 w 6226010"/>
              <a:gd name="connsiteY5177" fmla="*/ 1744677 h 5756219"/>
              <a:gd name="connsiteX5178" fmla="*/ 5383556 w 6226010"/>
              <a:gd name="connsiteY5178" fmla="*/ 1741975 h 5756219"/>
              <a:gd name="connsiteX5179" fmla="*/ 5291001 w 6226010"/>
              <a:gd name="connsiteY5179" fmla="*/ 1731559 h 5756219"/>
              <a:gd name="connsiteX5180" fmla="*/ 5291837 w 6226010"/>
              <a:gd name="connsiteY5180" fmla="*/ 1733482 h 5756219"/>
              <a:gd name="connsiteX5181" fmla="*/ 5291157 w 6226010"/>
              <a:gd name="connsiteY5181" fmla="*/ 1739256 h 5756219"/>
              <a:gd name="connsiteX5182" fmla="*/ 5269077 w 6226010"/>
              <a:gd name="connsiteY5182" fmla="*/ 1746730 h 5756219"/>
              <a:gd name="connsiteX5183" fmla="*/ 5262139 w 6226010"/>
              <a:gd name="connsiteY5183" fmla="*/ 1744664 h 5756219"/>
              <a:gd name="connsiteX5184" fmla="*/ 5281306 w 6226010"/>
              <a:gd name="connsiteY5184" fmla="*/ 1734501 h 5756219"/>
              <a:gd name="connsiteX5185" fmla="*/ 5344203 w 6226010"/>
              <a:gd name="connsiteY5185" fmla="*/ 1729868 h 5756219"/>
              <a:gd name="connsiteX5186" fmla="*/ 5347761 w 6226010"/>
              <a:gd name="connsiteY5186" fmla="*/ 1738170 h 5756219"/>
              <a:gd name="connsiteX5187" fmla="*/ 5340074 w 6226010"/>
              <a:gd name="connsiteY5187" fmla="*/ 1736540 h 5756219"/>
              <a:gd name="connsiteX5188" fmla="*/ 5342792 w 6226010"/>
              <a:gd name="connsiteY5188" fmla="*/ 1720233 h 5756219"/>
              <a:gd name="connsiteX5189" fmla="*/ 5344490 w 6226010"/>
              <a:gd name="connsiteY5189" fmla="*/ 1729405 h 5756219"/>
              <a:gd name="connsiteX5190" fmla="*/ 5344203 w 6226010"/>
              <a:gd name="connsiteY5190" fmla="*/ 1729868 h 5756219"/>
              <a:gd name="connsiteX5191" fmla="*/ 5340087 w 6226010"/>
              <a:gd name="connsiteY5191" fmla="*/ 1720263 h 5756219"/>
              <a:gd name="connsiteX5192" fmla="*/ 5340074 w 6226010"/>
              <a:gd name="connsiteY5192" fmla="*/ 1720233 h 5756219"/>
              <a:gd name="connsiteX5193" fmla="*/ 5340087 w 6226010"/>
              <a:gd name="connsiteY5193" fmla="*/ 1720263 h 5756219"/>
              <a:gd name="connsiteX5194" fmla="*/ 5340032 w 6226010"/>
              <a:gd name="connsiteY5194" fmla="*/ 1720264 h 5756219"/>
              <a:gd name="connsiteX5195" fmla="*/ 5448778 w 6226010"/>
              <a:gd name="connsiteY5195" fmla="*/ 1709363 h 5756219"/>
              <a:gd name="connsiteX5196" fmla="*/ 5448778 w 6226010"/>
              <a:gd name="connsiteY5196" fmla="*/ 1717517 h 5756219"/>
              <a:gd name="connsiteX5197" fmla="*/ 5418884 w 6226010"/>
              <a:gd name="connsiteY5197" fmla="*/ 1714798 h 5756219"/>
              <a:gd name="connsiteX5198" fmla="*/ 5418892 w 6226010"/>
              <a:gd name="connsiteY5198" fmla="*/ 1714756 h 5756219"/>
              <a:gd name="connsiteX5199" fmla="*/ 5424659 w 6226010"/>
              <a:gd name="connsiteY5199" fmla="*/ 1714798 h 5756219"/>
              <a:gd name="connsiteX5200" fmla="*/ 5448778 w 6226010"/>
              <a:gd name="connsiteY5200" fmla="*/ 1709363 h 5756219"/>
              <a:gd name="connsiteX5201" fmla="*/ 4796555 w 6226010"/>
              <a:gd name="connsiteY5201" fmla="*/ 1703928 h 5756219"/>
              <a:gd name="connsiteX5202" fmla="*/ 4791120 w 6226010"/>
              <a:gd name="connsiteY5202" fmla="*/ 1712080 h 5756219"/>
              <a:gd name="connsiteX5203" fmla="*/ 4799273 w 6226010"/>
              <a:gd name="connsiteY5203" fmla="*/ 1712080 h 5756219"/>
              <a:gd name="connsiteX5204" fmla="*/ 5323768 w 6226010"/>
              <a:gd name="connsiteY5204" fmla="*/ 1701211 h 5756219"/>
              <a:gd name="connsiteX5205" fmla="*/ 5310180 w 6226010"/>
              <a:gd name="connsiteY5205" fmla="*/ 1725668 h 5756219"/>
              <a:gd name="connsiteX5206" fmla="*/ 5335021 w 6226010"/>
              <a:gd name="connsiteY5206" fmla="*/ 1720319 h 5756219"/>
              <a:gd name="connsiteX5207" fmla="*/ 5340032 w 6226010"/>
              <a:gd name="connsiteY5207" fmla="*/ 1720264 h 5756219"/>
              <a:gd name="connsiteX5208" fmla="*/ 5321051 w 6226010"/>
              <a:gd name="connsiteY5208" fmla="*/ 1733822 h 5756219"/>
              <a:gd name="connsiteX5209" fmla="*/ 5302580 w 6226010"/>
              <a:gd name="connsiteY5209" fmla="*/ 1728047 h 5756219"/>
              <a:gd name="connsiteX5210" fmla="*/ 5291001 w 6226010"/>
              <a:gd name="connsiteY5210" fmla="*/ 1731559 h 5756219"/>
              <a:gd name="connsiteX5211" fmla="*/ 5288440 w 6226010"/>
              <a:gd name="connsiteY5211" fmla="*/ 1725668 h 5756219"/>
              <a:gd name="connsiteX5212" fmla="*/ 5323768 w 6226010"/>
              <a:gd name="connsiteY5212" fmla="*/ 1701211 h 5756219"/>
              <a:gd name="connsiteX5213" fmla="*/ 5106361 w 6226010"/>
              <a:gd name="connsiteY5213" fmla="*/ 1682187 h 5756219"/>
              <a:gd name="connsiteX5214" fmla="*/ 5100925 w 6226010"/>
              <a:gd name="connsiteY5214" fmla="*/ 1701211 h 5756219"/>
              <a:gd name="connsiteX5215" fmla="*/ 5157995 w 6226010"/>
              <a:gd name="connsiteY5215" fmla="*/ 1720233 h 5756219"/>
              <a:gd name="connsiteX5216" fmla="*/ 5104874 w 6226010"/>
              <a:gd name="connsiteY5216" fmla="*/ 1739725 h 5756219"/>
              <a:gd name="connsiteX5217" fmla="*/ 5095788 w 6226010"/>
              <a:gd name="connsiteY5217" fmla="*/ 1755059 h 5756219"/>
              <a:gd name="connsiteX5218" fmla="*/ 5089715 w 6226010"/>
              <a:gd name="connsiteY5218" fmla="*/ 1750466 h 5756219"/>
              <a:gd name="connsiteX5219" fmla="*/ 5079539 w 6226010"/>
              <a:gd name="connsiteY5219" fmla="*/ 1750250 h 5756219"/>
              <a:gd name="connsiteX5220" fmla="*/ 5089375 w 6226010"/>
              <a:gd name="connsiteY5220" fmla="*/ 1737898 h 5756219"/>
              <a:gd name="connsiteX5221" fmla="*/ 5090055 w 6226010"/>
              <a:gd name="connsiteY5221" fmla="*/ 1693058 h 5756219"/>
              <a:gd name="connsiteX5222" fmla="*/ 5106361 w 6226010"/>
              <a:gd name="connsiteY5222" fmla="*/ 1682187 h 5756219"/>
              <a:gd name="connsiteX5223" fmla="*/ 4799273 w 6226010"/>
              <a:gd name="connsiteY5223" fmla="*/ 1668599 h 5756219"/>
              <a:gd name="connsiteX5224" fmla="*/ 4804708 w 6226010"/>
              <a:gd name="connsiteY5224" fmla="*/ 1682187 h 5756219"/>
              <a:gd name="connsiteX5225" fmla="*/ 4795154 w 6226010"/>
              <a:gd name="connsiteY5225" fmla="*/ 1689109 h 5756219"/>
              <a:gd name="connsiteX5226" fmla="*/ 4792076 w 6226010"/>
              <a:gd name="connsiteY5226" fmla="*/ 1695511 h 5756219"/>
              <a:gd name="connsiteX5227" fmla="*/ 4782967 w 6226010"/>
              <a:gd name="connsiteY5227" fmla="*/ 1702230 h 5756219"/>
              <a:gd name="connsiteX5228" fmla="*/ 4779756 w 6226010"/>
              <a:gd name="connsiteY5228" fmla="*/ 1704432 h 5756219"/>
              <a:gd name="connsiteX5229" fmla="*/ 4779230 w 6226010"/>
              <a:gd name="connsiteY5229" fmla="*/ 1699173 h 5756219"/>
              <a:gd name="connsiteX5230" fmla="*/ 4788402 w 6226010"/>
              <a:gd name="connsiteY5230" fmla="*/ 1693058 h 5756219"/>
              <a:gd name="connsiteX5231" fmla="*/ 4782967 w 6226010"/>
              <a:gd name="connsiteY5231" fmla="*/ 1687622 h 5756219"/>
              <a:gd name="connsiteX5232" fmla="*/ 4799273 w 6226010"/>
              <a:gd name="connsiteY5232" fmla="*/ 1668599 h 5756219"/>
              <a:gd name="connsiteX5233" fmla="*/ 4742203 w 6226010"/>
              <a:gd name="connsiteY5233" fmla="*/ 1619682 h 5756219"/>
              <a:gd name="connsiteX5234" fmla="*/ 4739485 w 6226010"/>
              <a:gd name="connsiteY5234" fmla="*/ 1665881 h 5756219"/>
              <a:gd name="connsiteX5235" fmla="*/ 4742203 w 6226010"/>
              <a:gd name="connsiteY5235" fmla="*/ 1619682 h 5756219"/>
              <a:gd name="connsiteX5236" fmla="*/ 1040838 w 6226010"/>
              <a:gd name="connsiteY5236" fmla="*/ 1611529 h 5756219"/>
              <a:gd name="connsiteX5237" fmla="*/ 1040838 w 6226010"/>
              <a:gd name="connsiteY5237" fmla="*/ 1630553 h 5756219"/>
              <a:gd name="connsiteX5238" fmla="*/ 1043556 w 6226010"/>
              <a:gd name="connsiteY5238" fmla="*/ 1630553 h 5756219"/>
              <a:gd name="connsiteX5239" fmla="*/ 1040838 w 6226010"/>
              <a:gd name="connsiteY5239" fmla="*/ 1611529 h 5756219"/>
              <a:gd name="connsiteX5240" fmla="*/ 983769 w 6226010"/>
              <a:gd name="connsiteY5240" fmla="*/ 1606094 h 5756219"/>
              <a:gd name="connsiteX5241" fmla="*/ 986486 w 6226010"/>
              <a:gd name="connsiteY5241" fmla="*/ 1606094 h 5756219"/>
              <a:gd name="connsiteX5242" fmla="*/ 986486 w 6226010"/>
              <a:gd name="connsiteY5242" fmla="*/ 1608812 h 5756219"/>
              <a:gd name="connsiteX5243" fmla="*/ 983769 w 6226010"/>
              <a:gd name="connsiteY5243" fmla="*/ 1606094 h 5756219"/>
              <a:gd name="connsiteX5244" fmla="*/ 4712309 w 6226010"/>
              <a:gd name="connsiteY5244" fmla="*/ 1597941 h 5756219"/>
              <a:gd name="connsiteX5245" fmla="*/ 4696004 w 6226010"/>
              <a:gd name="connsiteY5245" fmla="*/ 1638705 h 5756219"/>
              <a:gd name="connsiteX5246" fmla="*/ 4701439 w 6226010"/>
              <a:gd name="connsiteY5246" fmla="*/ 1644140 h 5756219"/>
              <a:gd name="connsiteX5247" fmla="*/ 4712309 w 6226010"/>
              <a:gd name="connsiteY5247" fmla="*/ 1597941 h 5756219"/>
              <a:gd name="connsiteX5248" fmla="*/ 989204 w 6226010"/>
              <a:gd name="connsiteY5248" fmla="*/ 1589791 h 5756219"/>
              <a:gd name="connsiteX5249" fmla="*/ 989204 w 6226010"/>
              <a:gd name="connsiteY5249" fmla="*/ 1592508 h 5756219"/>
              <a:gd name="connsiteX5250" fmla="*/ 983769 w 6226010"/>
              <a:gd name="connsiteY5250" fmla="*/ 1592508 h 5756219"/>
              <a:gd name="connsiteX5251" fmla="*/ 989204 w 6226010"/>
              <a:gd name="connsiteY5251" fmla="*/ 1589791 h 5756219"/>
              <a:gd name="connsiteX5252" fmla="*/ 983769 w 6226010"/>
              <a:gd name="connsiteY5252" fmla="*/ 1589791 h 5756219"/>
              <a:gd name="connsiteX5253" fmla="*/ 986486 w 6226010"/>
              <a:gd name="connsiteY5253" fmla="*/ 1589791 h 5756219"/>
              <a:gd name="connsiteX5254" fmla="*/ 983769 w 6226010"/>
              <a:gd name="connsiteY5254" fmla="*/ 1592508 h 5756219"/>
              <a:gd name="connsiteX5255" fmla="*/ 983769 w 6226010"/>
              <a:gd name="connsiteY5255" fmla="*/ 1589791 h 5756219"/>
              <a:gd name="connsiteX5256" fmla="*/ 1122366 w 6226010"/>
              <a:gd name="connsiteY5256" fmla="*/ 1581636 h 5756219"/>
              <a:gd name="connsiteX5257" fmla="*/ 1103343 w 6226010"/>
              <a:gd name="connsiteY5257" fmla="*/ 1587071 h 5756219"/>
              <a:gd name="connsiteX5258" fmla="*/ 1106061 w 6226010"/>
              <a:gd name="connsiteY5258" fmla="*/ 1587071 h 5756219"/>
              <a:gd name="connsiteX5259" fmla="*/ 1122366 w 6226010"/>
              <a:gd name="connsiteY5259" fmla="*/ 1581636 h 5756219"/>
              <a:gd name="connsiteX5260" fmla="*/ 1084320 w 6226010"/>
              <a:gd name="connsiteY5260" fmla="*/ 1568049 h 5756219"/>
              <a:gd name="connsiteX5261" fmla="*/ 1084320 w 6226010"/>
              <a:gd name="connsiteY5261" fmla="*/ 1573483 h 5756219"/>
              <a:gd name="connsiteX5262" fmla="*/ 1087038 w 6226010"/>
              <a:gd name="connsiteY5262" fmla="*/ 1568049 h 5756219"/>
              <a:gd name="connsiteX5263" fmla="*/ 1084320 w 6226010"/>
              <a:gd name="connsiteY5263" fmla="*/ 1568049 h 5756219"/>
              <a:gd name="connsiteX5264" fmla="*/ 983769 w 6226010"/>
              <a:gd name="connsiteY5264" fmla="*/ 1565334 h 5756219"/>
              <a:gd name="connsiteX5265" fmla="*/ 983769 w 6226010"/>
              <a:gd name="connsiteY5265" fmla="*/ 1570768 h 5756219"/>
              <a:gd name="connsiteX5266" fmla="*/ 981052 w 6226010"/>
              <a:gd name="connsiteY5266" fmla="*/ 1570768 h 5756219"/>
              <a:gd name="connsiteX5267" fmla="*/ 983769 w 6226010"/>
              <a:gd name="connsiteY5267" fmla="*/ 1565334 h 5756219"/>
              <a:gd name="connsiteX5268" fmla="*/ 4728615 w 6226010"/>
              <a:gd name="connsiteY5268" fmla="*/ 1565330 h 5756219"/>
              <a:gd name="connsiteX5269" fmla="*/ 4709592 w 6226010"/>
              <a:gd name="connsiteY5269" fmla="*/ 1576202 h 5756219"/>
              <a:gd name="connsiteX5270" fmla="*/ 4709592 w 6226010"/>
              <a:gd name="connsiteY5270" fmla="*/ 1587071 h 5756219"/>
              <a:gd name="connsiteX5271" fmla="*/ 4728615 w 6226010"/>
              <a:gd name="connsiteY5271" fmla="*/ 1565330 h 5756219"/>
              <a:gd name="connsiteX5272" fmla="*/ 1084320 w 6226010"/>
              <a:gd name="connsiteY5272" fmla="*/ 1557179 h 5756219"/>
              <a:gd name="connsiteX5273" fmla="*/ 1084320 w 6226010"/>
              <a:gd name="connsiteY5273" fmla="*/ 1562614 h 5756219"/>
              <a:gd name="connsiteX5274" fmla="*/ 1087038 w 6226010"/>
              <a:gd name="connsiteY5274" fmla="*/ 1557179 h 5756219"/>
              <a:gd name="connsiteX5275" fmla="*/ 1084320 w 6226010"/>
              <a:gd name="connsiteY5275" fmla="*/ 1557179 h 5756219"/>
              <a:gd name="connsiteX5276" fmla="*/ 4625345 w 6226010"/>
              <a:gd name="connsiteY5276" fmla="*/ 1543590 h 5756219"/>
              <a:gd name="connsiteX5277" fmla="*/ 4625345 w 6226010"/>
              <a:gd name="connsiteY5277" fmla="*/ 1581636 h 5756219"/>
              <a:gd name="connsiteX5278" fmla="*/ 4625345 w 6226010"/>
              <a:gd name="connsiteY5278" fmla="*/ 1543590 h 5756219"/>
              <a:gd name="connsiteX5279" fmla="*/ 1122366 w 6226010"/>
              <a:gd name="connsiteY5279" fmla="*/ 1543590 h 5756219"/>
              <a:gd name="connsiteX5280" fmla="*/ 1100625 w 6226010"/>
              <a:gd name="connsiteY5280" fmla="*/ 1551742 h 5756219"/>
              <a:gd name="connsiteX5281" fmla="*/ 1122366 w 6226010"/>
              <a:gd name="connsiteY5281" fmla="*/ 1546307 h 5756219"/>
              <a:gd name="connsiteX5282" fmla="*/ 1122366 w 6226010"/>
              <a:gd name="connsiteY5282" fmla="*/ 1543590 h 5756219"/>
              <a:gd name="connsiteX5283" fmla="*/ 1084320 w 6226010"/>
              <a:gd name="connsiteY5283" fmla="*/ 1543590 h 5756219"/>
              <a:gd name="connsiteX5284" fmla="*/ 1084320 w 6226010"/>
              <a:gd name="connsiteY5284" fmla="*/ 1546307 h 5756219"/>
              <a:gd name="connsiteX5285" fmla="*/ 1087038 w 6226010"/>
              <a:gd name="connsiteY5285" fmla="*/ 1546307 h 5756219"/>
              <a:gd name="connsiteX5286" fmla="*/ 1084320 w 6226010"/>
              <a:gd name="connsiteY5286" fmla="*/ 1543590 h 5756219"/>
              <a:gd name="connsiteX5287" fmla="*/ 1084320 w 6226010"/>
              <a:gd name="connsiteY5287" fmla="*/ 1535437 h 5756219"/>
              <a:gd name="connsiteX5288" fmla="*/ 1084320 w 6226010"/>
              <a:gd name="connsiteY5288" fmla="*/ 1540872 h 5756219"/>
              <a:gd name="connsiteX5289" fmla="*/ 1087038 w 6226010"/>
              <a:gd name="connsiteY5289" fmla="*/ 1540872 h 5756219"/>
              <a:gd name="connsiteX5290" fmla="*/ 1084320 w 6226010"/>
              <a:gd name="connsiteY5290" fmla="*/ 1535437 h 5756219"/>
              <a:gd name="connsiteX5291" fmla="*/ 1125084 w 6226010"/>
              <a:gd name="connsiteY5291" fmla="*/ 1532719 h 5756219"/>
              <a:gd name="connsiteX5292" fmla="*/ 1130519 w 6226010"/>
              <a:gd name="connsiteY5292" fmla="*/ 1535437 h 5756219"/>
              <a:gd name="connsiteX5293" fmla="*/ 1130519 w 6226010"/>
              <a:gd name="connsiteY5293" fmla="*/ 1538155 h 5756219"/>
              <a:gd name="connsiteX5294" fmla="*/ 1133237 w 6226010"/>
              <a:gd name="connsiteY5294" fmla="*/ 1538155 h 5756219"/>
              <a:gd name="connsiteX5295" fmla="*/ 1133237 w 6226010"/>
              <a:gd name="connsiteY5295" fmla="*/ 1535437 h 5756219"/>
              <a:gd name="connsiteX5296" fmla="*/ 1157695 w 6226010"/>
              <a:gd name="connsiteY5296" fmla="*/ 1540872 h 5756219"/>
              <a:gd name="connsiteX5297" fmla="*/ 1157695 w 6226010"/>
              <a:gd name="connsiteY5297" fmla="*/ 1538155 h 5756219"/>
              <a:gd name="connsiteX5298" fmla="*/ 1125084 w 6226010"/>
              <a:gd name="connsiteY5298" fmla="*/ 1532719 h 5756219"/>
              <a:gd name="connsiteX5299" fmla="*/ 1133237 w 6226010"/>
              <a:gd name="connsiteY5299" fmla="*/ 1521850 h 5756219"/>
              <a:gd name="connsiteX5300" fmla="*/ 1130519 w 6226010"/>
              <a:gd name="connsiteY5300" fmla="*/ 1530002 h 5756219"/>
              <a:gd name="connsiteX5301" fmla="*/ 1133237 w 6226010"/>
              <a:gd name="connsiteY5301" fmla="*/ 1530002 h 5756219"/>
              <a:gd name="connsiteX5302" fmla="*/ 1133237 w 6226010"/>
              <a:gd name="connsiteY5302" fmla="*/ 1521850 h 5756219"/>
              <a:gd name="connsiteX5303" fmla="*/ 1125084 w 6226010"/>
              <a:gd name="connsiteY5303" fmla="*/ 1513697 h 5756219"/>
              <a:gd name="connsiteX5304" fmla="*/ 1146825 w 6226010"/>
              <a:gd name="connsiteY5304" fmla="*/ 1521850 h 5756219"/>
              <a:gd name="connsiteX5305" fmla="*/ 1149542 w 6226010"/>
              <a:gd name="connsiteY5305" fmla="*/ 1519132 h 5756219"/>
              <a:gd name="connsiteX5306" fmla="*/ 1125084 w 6226010"/>
              <a:gd name="connsiteY5306" fmla="*/ 1513697 h 5756219"/>
              <a:gd name="connsiteX5307" fmla="*/ 4657957 w 6226010"/>
              <a:gd name="connsiteY5307" fmla="*/ 1500108 h 5756219"/>
              <a:gd name="connsiteX5308" fmla="*/ 4622629 w 6226010"/>
              <a:gd name="connsiteY5308" fmla="*/ 1510978 h 5756219"/>
              <a:gd name="connsiteX5309" fmla="*/ 4633499 w 6226010"/>
              <a:gd name="connsiteY5309" fmla="*/ 1513697 h 5756219"/>
              <a:gd name="connsiteX5310" fmla="*/ 4628063 w 6226010"/>
              <a:gd name="connsiteY5310" fmla="*/ 1527284 h 5756219"/>
              <a:gd name="connsiteX5311" fmla="*/ 4630781 w 6226010"/>
              <a:gd name="connsiteY5311" fmla="*/ 1543590 h 5756219"/>
              <a:gd name="connsiteX5312" fmla="*/ 4655239 w 6226010"/>
              <a:gd name="connsiteY5312" fmla="*/ 1535437 h 5756219"/>
              <a:gd name="connsiteX5313" fmla="*/ 4641651 w 6226010"/>
              <a:gd name="connsiteY5313" fmla="*/ 1551742 h 5756219"/>
              <a:gd name="connsiteX5314" fmla="*/ 4647087 w 6226010"/>
              <a:gd name="connsiteY5314" fmla="*/ 1578918 h 5756219"/>
              <a:gd name="connsiteX5315" fmla="*/ 4674263 w 6226010"/>
              <a:gd name="connsiteY5315" fmla="*/ 1505543 h 5756219"/>
              <a:gd name="connsiteX5316" fmla="*/ 4657957 w 6226010"/>
              <a:gd name="connsiteY5316" fmla="*/ 1500108 h 5756219"/>
              <a:gd name="connsiteX5317" fmla="*/ 1125084 w 6226010"/>
              <a:gd name="connsiteY5317" fmla="*/ 1494674 h 5756219"/>
              <a:gd name="connsiteX5318" fmla="*/ 1130519 w 6226010"/>
              <a:gd name="connsiteY5318" fmla="*/ 1497392 h 5756219"/>
              <a:gd name="connsiteX5319" fmla="*/ 1130519 w 6226010"/>
              <a:gd name="connsiteY5319" fmla="*/ 1500108 h 5756219"/>
              <a:gd name="connsiteX5320" fmla="*/ 1133237 w 6226010"/>
              <a:gd name="connsiteY5320" fmla="*/ 1500108 h 5756219"/>
              <a:gd name="connsiteX5321" fmla="*/ 1133237 w 6226010"/>
              <a:gd name="connsiteY5321" fmla="*/ 1497392 h 5756219"/>
              <a:gd name="connsiteX5322" fmla="*/ 1163130 w 6226010"/>
              <a:gd name="connsiteY5322" fmla="*/ 1502826 h 5756219"/>
              <a:gd name="connsiteX5323" fmla="*/ 1160413 w 6226010"/>
              <a:gd name="connsiteY5323" fmla="*/ 1500108 h 5756219"/>
              <a:gd name="connsiteX5324" fmla="*/ 1125084 w 6226010"/>
              <a:gd name="connsiteY5324" fmla="*/ 1494674 h 5756219"/>
              <a:gd name="connsiteX5325" fmla="*/ 4625345 w 6226010"/>
              <a:gd name="connsiteY5325" fmla="*/ 1475653 h 5756219"/>
              <a:gd name="connsiteX5326" fmla="*/ 4628063 w 6226010"/>
              <a:gd name="connsiteY5326" fmla="*/ 1478370 h 5756219"/>
              <a:gd name="connsiteX5327" fmla="*/ 4617193 w 6226010"/>
              <a:gd name="connsiteY5327" fmla="*/ 1478370 h 5756219"/>
              <a:gd name="connsiteX5328" fmla="*/ 4614475 w 6226010"/>
              <a:gd name="connsiteY5328" fmla="*/ 1486520 h 5756219"/>
              <a:gd name="connsiteX5329" fmla="*/ 4622629 w 6226010"/>
              <a:gd name="connsiteY5329" fmla="*/ 1494674 h 5756219"/>
              <a:gd name="connsiteX5330" fmla="*/ 4630781 w 6226010"/>
              <a:gd name="connsiteY5330" fmla="*/ 1491956 h 5756219"/>
              <a:gd name="connsiteX5331" fmla="*/ 4625345 w 6226010"/>
              <a:gd name="connsiteY5331" fmla="*/ 1489238 h 5756219"/>
              <a:gd name="connsiteX5332" fmla="*/ 4625345 w 6226010"/>
              <a:gd name="connsiteY5332" fmla="*/ 1475653 h 5756219"/>
              <a:gd name="connsiteX5333" fmla="*/ 4652521 w 6226010"/>
              <a:gd name="connsiteY5333" fmla="*/ 1462065 h 5756219"/>
              <a:gd name="connsiteX5334" fmla="*/ 4649805 w 6226010"/>
              <a:gd name="connsiteY5334" fmla="*/ 1464782 h 5756219"/>
              <a:gd name="connsiteX5335" fmla="*/ 4644369 w 6226010"/>
              <a:gd name="connsiteY5335" fmla="*/ 1483803 h 5756219"/>
              <a:gd name="connsiteX5336" fmla="*/ 4655239 w 6226010"/>
              <a:gd name="connsiteY5336" fmla="*/ 1462065 h 5756219"/>
              <a:gd name="connsiteX5337" fmla="*/ 4652521 w 6226010"/>
              <a:gd name="connsiteY5337" fmla="*/ 1462065 h 5756219"/>
              <a:gd name="connsiteX5338" fmla="*/ 1130519 w 6226010"/>
              <a:gd name="connsiteY5338" fmla="*/ 1462065 h 5756219"/>
              <a:gd name="connsiteX5339" fmla="*/ 1130519 w 6226010"/>
              <a:gd name="connsiteY5339" fmla="*/ 1467500 h 5756219"/>
              <a:gd name="connsiteX5340" fmla="*/ 1127801 w 6226010"/>
              <a:gd name="connsiteY5340" fmla="*/ 1467500 h 5756219"/>
              <a:gd name="connsiteX5341" fmla="*/ 1127801 w 6226010"/>
              <a:gd name="connsiteY5341" fmla="*/ 1475653 h 5756219"/>
              <a:gd name="connsiteX5342" fmla="*/ 1125084 w 6226010"/>
              <a:gd name="connsiteY5342" fmla="*/ 1475653 h 5756219"/>
              <a:gd name="connsiteX5343" fmla="*/ 1127801 w 6226010"/>
              <a:gd name="connsiteY5343" fmla="*/ 1481085 h 5756219"/>
              <a:gd name="connsiteX5344" fmla="*/ 1130519 w 6226010"/>
              <a:gd name="connsiteY5344" fmla="*/ 1481085 h 5756219"/>
              <a:gd name="connsiteX5345" fmla="*/ 1130519 w 6226010"/>
              <a:gd name="connsiteY5345" fmla="*/ 1483803 h 5756219"/>
              <a:gd name="connsiteX5346" fmla="*/ 1133237 w 6226010"/>
              <a:gd name="connsiteY5346" fmla="*/ 1483803 h 5756219"/>
              <a:gd name="connsiteX5347" fmla="*/ 1133237 w 6226010"/>
              <a:gd name="connsiteY5347" fmla="*/ 1486520 h 5756219"/>
              <a:gd name="connsiteX5348" fmla="*/ 1133237 w 6226010"/>
              <a:gd name="connsiteY5348" fmla="*/ 1494674 h 5756219"/>
              <a:gd name="connsiteX5349" fmla="*/ 1135954 w 6226010"/>
              <a:gd name="connsiteY5349" fmla="*/ 1494674 h 5756219"/>
              <a:gd name="connsiteX5350" fmla="*/ 1135954 w 6226010"/>
              <a:gd name="connsiteY5350" fmla="*/ 1486520 h 5756219"/>
              <a:gd name="connsiteX5351" fmla="*/ 1135954 w 6226010"/>
              <a:gd name="connsiteY5351" fmla="*/ 1483803 h 5756219"/>
              <a:gd name="connsiteX5352" fmla="*/ 1133237 w 6226010"/>
              <a:gd name="connsiteY5352" fmla="*/ 1483803 h 5756219"/>
              <a:gd name="connsiteX5353" fmla="*/ 1133237 w 6226010"/>
              <a:gd name="connsiteY5353" fmla="*/ 1481085 h 5756219"/>
              <a:gd name="connsiteX5354" fmla="*/ 1152260 w 6226010"/>
              <a:gd name="connsiteY5354" fmla="*/ 1483803 h 5756219"/>
              <a:gd name="connsiteX5355" fmla="*/ 1149542 w 6226010"/>
              <a:gd name="connsiteY5355" fmla="*/ 1478370 h 5756219"/>
              <a:gd name="connsiteX5356" fmla="*/ 1133237 w 6226010"/>
              <a:gd name="connsiteY5356" fmla="*/ 1475653 h 5756219"/>
              <a:gd name="connsiteX5357" fmla="*/ 1133237 w 6226010"/>
              <a:gd name="connsiteY5357" fmla="*/ 1470218 h 5756219"/>
              <a:gd name="connsiteX5358" fmla="*/ 1130519 w 6226010"/>
              <a:gd name="connsiteY5358" fmla="*/ 1470218 h 5756219"/>
              <a:gd name="connsiteX5359" fmla="*/ 1130519 w 6226010"/>
              <a:gd name="connsiteY5359" fmla="*/ 1467500 h 5756219"/>
              <a:gd name="connsiteX5360" fmla="*/ 1133237 w 6226010"/>
              <a:gd name="connsiteY5360" fmla="*/ 1467500 h 5756219"/>
              <a:gd name="connsiteX5361" fmla="*/ 1130519 w 6226010"/>
              <a:gd name="connsiteY5361" fmla="*/ 1462065 h 5756219"/>
              <a:gd name="connsiteX5362" fmla="*/ 3274701 w 6226010"/>
              <a:gd name="connsiteY5362" fmla="*/ 1453912 h 5756219"/>
              <a:gd name="connsiteX5363" fmla="*/ 3258395 w 6226010"/>
              <a:gd name="connsiteY5363" fmla="*/ 1456630 h 5756219"/>
              <a:gd name="connsiteX5364" fmla="*/ 3258395 w 6226010"/>
              <a:gd name="connsiteY5364" fmla="*/ 1472935 h 5756219"/>
              <a:gd name="connsiteX5365" fmla="*/ 3269267 w 6226010"/>
              <a:gd name="connsiteY5365" fmla="*/ 1470218 h 5756219"/>
              <a:gd name="connsiteX5366" fmla="*/ 3266549 w 6226010"/>
              <a:gd name="connsiteY5366" fmla="*/ 1464782 h 5756219"/>
              <a:gd name="connsiteX5367" fmla="*/ 1130519 w 6226010"/>
              <a:gd name="connsiteY5367" fmla="*/ 1451194 h 5756219"/>
              <a:gd name="connsiteX5368" fmla="*/ 1130519 w 6226010"/>
              <a:gd name="connsiteY5368" fmla="*/ 1459347 h 5756219"/>
              <a:gd name="connsiteX5369" fmla="*/ 1133237 w 6226010"/>
              <a:gd name="connsiteY5369" fmla="*/ 1451194 h 5756219"/>
              <a:gd name="connsiteX5370" fmla="*/ 1130519 w 6226010"/>
              <a:gd name="connsiteY5370" fmla="*/ 1451194 h 5756219"/>
              <a:gd name="connsiteX5371" fmla="*/ 4744921 w 6226010"/>
              <a:gd name="connsiteY5371" fmla="*/ 1448477 h 5756219"/>
              <a:gd name="connsiteX5372" fmla="*/ 4712309 w 6226010"/>
              <a:gd name="connsiteY5372" fmla="*/ 1508262 h 5756219"/>
              <a:gd name="connsiteX5373" fmla="*/ 4725897 w 6226010"/>
              <a:gd name="connsiteY5373" fmla="*/ 1524567 h 5756219"/>
              <a:gd name="connsiteX5374" fmla="*/ 4761226 w 6226010"/>
              <a:gd name="connsiteY5374" fmla="*/ 1505543 h 5756219"/>
              <a:gd name="connsiteX5375" fmla="*/ 4728615 w 6226010"/>
              <a:gd name="connsiteY5375" fmla="*/ 1505543 h 5756219"/>
              <a:gd name="connsiteX5376" fmla="*/ 4739485 w 6226010"/>
              <a:gd name="connsiteY5376" fmla="*/ 1494674 h 5756219"/>
              <a:gd name="connsiteX5377" fmla="*/ 4788402 w 6226010"/>
              <a:gd name="connsiteY5377" fmla="*/ 1500108 h 5756219"/>
              <a:gd name="connsiteX5378" fmla="*/ 4753073 w 6226010"/>
              <a:gd name="connsiteY5378" fmla="*/ 1486520 h 5756219"/>
              <a:gd name="connsiteX5379" fmla="*/ 4763944 w 6226010"/>
              <a:gd name="connsiteY5379" fmla="*/ 1472935 h 5756219"/>
              <a:gd name="connsiteX5380" fmla="*/ 4744921 w 6226010"/>
              <a:gd name="connsiteY5380" fmla="*/ 1448477 h 5756219"/>
              <a:gd name="connsiteX5381" fmla="*/ 1127801 w 6226010"/>
              <a:gd name="connsiteY5381" fmla="*/ 1443043 h 5756219"/>
              <a:gd name="connsiteX5382" fmla="*/ 1127801 w 6226010"/>
              <a:gd name="connsiteY5382" fmla="*/ 1448477 h 5756219"/>
              <a:gd name="connsiteX5383" fmla="*/ 1130519 w 6226010"/>
              <a:gd name="connsiteY5383" fmla="*/ 1443043 h 5756219"/>
              <a:gd name="connsiteX5384" fmla="*/ 1127801 w 6226010"/>
              <a:gd name="connsiteY5384" fmla="*/ 1443043 h 5756219"/>
              <a:gd name="connsiteX5385" fmla="*/ 4633499 w 6226010"/>
              <a:gd name="connsiteY5385" fmla="*/ 1440324 h 5756219"/>
              <a:gd name="connsiteX5386" fmla="*/ 4625345 w 6226010"/>
              <a:gd name="connsiteY5386" fmla="*/ 1451194 h 5756219"/>
              <a:gd name="connsiteX5387" fmla="*/ 4638933 w 6226010"/>
              <a:gd name="connsiteY5387" fmla="*/ 1451194 h 5756219"/>
              <a:gd name="connsiteX5388" fmla="*/ 4633499 w 6226010"/>
              <a:gd name="connsiteY5388" fmla="*/ 1440324 h 5756219"/>
              <a:gd name="connsiteX5389" fmla="*/ 2214839 w 6226010"/>
              <a:gd name="connsiteY5389" fmla="*/ 1434890 h 5756219"/>
              <a:gd name="connsiteX5390" fmla="*/ 2144182 w 6226010"/>
              <a:gd name="connsiteY5390" fmla="*/ 1448477 h 5756219"/>
              <a:gd name="connsiteX5391" fmla="*/ 2144182 w 6226010"/>
              <a:gd name="connsiteY5391" fmla="*/ 1451194 h 5756219"/>
              <a:gd name="connsiteX5392" fmla="*/ 2146899 w 6226010"/>
              <a:gd name="connsiteY5392" fmla="*/ 1451194 h 5756219"/>
              <a:gd name="connsiteX5393" fmla="*/ 2149617 w 6226010"/>
              <a:gd name="connsiteY5393" fmla="*/ 1451194 h 5756219"/>
              <a:gd name="connsiteX5394" fmla="*/ 2214839 w 6226010"/>
              <a:gd name="connsiteY5394" fmla="*/ 1440324 h 5756219"/>
              <a:gd name="connsiteX5395" fmla="*/ 2214839 w 6226010"/>
              <a:gd name="connsiteY5395" fmla="*/ 1434890 h 5756219"/>
              <a:gd name="connsiteX5396" fmla="*/ 3258395 w 6226010"/>
              <a:gd name="connsiteY5396" fmla="*/ 1424018 h 5756219"/>
              <a:gd name="connsiteX5397" fmla="*/ 3258395 w 6226010"/>
              <a:gd name="connsiteY5397" fmla="*/ 1434890 h 5756219"/>
              <a:gd name="connsiteX5398" fmla="*/ 3266549 w 6226010"/>
              <a:gd name="connsiteY5398" fmla="*/ 1432171 h 5756219"/>
              <a:gd name="connsiteX5399" fmla="*/ 3258395 w 6226010"/>
              <a:gd name="connsiteY5399" fmla="*/ 1424018 h 5756219"/>
              <a:gd name="connsiteX5400" fmla="*/ 4690569 w 6226010"/>
              <a:gd name="connsiteY5400" fmla="*/ 1418583 h 5756219"/>
              <a:gd name="connsiteX5401" fmla="*/ 4674263 w 6226010"/>
              <a:gd name="connsiteY5401" fmla="*/ 1424018 h 5756219"/>
              <a:gd name="connsiteX5402" fmla="*/ 4676981 w 6226010"/>
              <a:gd name="connsiteY5402" fmla="*/ 1443043 h 5756219"/>
              <a:gd name="connsiteX5403" fmla="*/ 4679697 w 6226010"/>
              <a:gd name="connsiteY5403" fmla="*/ 1448477 h 5756219"/>
              <a:gd name="connsiteX5404" fmla="*/ 4696004 w 6226010"/>
              <a:gd name="connsiteY5404" fmla="*/ 1432171 h 5756219"/>
              <a:gd name="connsiteX5405" fmla="*/ 4690569 w 6226010"/>
              <a:gd name="connsiteY5405" fmla="*/ 1418583 h 5756219"/>
              <a:gd name="connsiteX5406" fmla="*/ 1127801 w 6226010"/>
              <a:gd name="connsiteY5406" fmla="*/ 1418583 h 5756219"/>
              <a:gd name="connsiteX5407" fmla="*/ 1127801 w 6226010"/>
              <a:gd name="connsiteY5407" fmla="*/ 1426736 h 5756219"/>
              <a:gd name="connsiteX5408" fmla="*/ 1130519 w 6226010"/>
              <a:gd name="connsiteY5408" fmla="*/ 1426736 h 5756219"/>
              <a:gd name="connsiteX5409" fmla="*/ 1130519 w 6226010"/>
              <a:gd name="connsiteY5409" fmla="*/ 1429454 h 5756219"/>
              <a:gd name="connsiteX5410" fmla="*/ 1127801 w 6226010"/>
              <a:gd name="connsiteY5410" fmla="*/ 1429454 h 5756219"/>
              <a:gd name="connsiteX5411" fmla="*/ 1127801 w 6226010"/>
              <a:gd name="connsiteY5411" fmla="*/ 1432171 h 5756219"/>
              <a:gd name="connsiteX5412" fmla="*/ 1127801 w 6226010"/>
              <a:gd name="connsiteY5412" fmla="*/ 1440324 h 5756219"/>
              <a:gd name="connsiteX5413" fmla="*/ 1130519 w 6226010"/>
              <a:gd name="connsiteY5413" fmla="*/ 1440324 h 5756219"/>
              <a:gd name="connsiteX5414" fmla="*/ 1130519 w 6226010"/>
              <a:gd name="connsiteY5414" fmla="*/ 1434890 h 5756219"/>
              <a:gd name="connsiteX5415" fmla="*/ 1133237 w 6226010"/>
              <a:gd name="connsiteY5415" fmla="*/ 1434890 h 5756219"/>
              <a:gd name="connsiteX5416" fmla="*/ 1133237 w 6226010"/>
              <a:gd name="connsiteY5416" fmla="*/ 1432171 h 5756219"/>
              <a:gd name="connsiteX5417" fmla="*/ 1133237 w 6226010"/>
              <a:gd name="connsiteY5417" fmla="*/ 1426736 h 5756219"/>
              <a:gd name="connsiteX5418" fmla="*/ 1130519 w 6226010"/>
              <a:gd name="connsiteY5418" fmla="*/ 1421302 h 5756219"/>
              <a:gd name="connsiteX5419" fmla="*/ 1130519 w 6226010"/>
              <a:gd name="connsiteY5419" fmla="*/ 1418583 h 5756219"/>
              <a:gd name="connsiteX5420" fmla="*/ 1127801 w 6226010"/>
              <a:gd name="connsiteY5420" fmla="*/ 1418583 h 5756219"/>
              <a:gd name="connsiteX5421" fmla="*/ 5721556 w 6226010"/>
              <a:gd name="connsiteY5421" fmla="*/ 1414168 h 5756219"/>
              <a:gd name="connsiteX5422" fmla="*/ 5731407 w 6226010"/>
              <a:gd name="connsiteY5422" fmla="*/ 1415866 h 5756219"/>
              <a:gd name="connsiteX5423" fmla="*/ 5720507 w 6226010"/>
              <a:gd name="connsiteY5423" fmla="*/ 1414557 h 5756219"/>
              <a:gd name="connsiteX5424" fmla="*/ 4763944 w 6226010"/>
              <a:gd name="connsiteY5424" fmla="*/ 1399561 h 5756219"/>
              <a:gd name="connsiteX5425" fmla="*/ 4761226 w 6226010"/>
              <a:gd name="connsiteY5425" fmla="*/ 1440324 h 5756219"/>
              <a:gd name="connsiteX5426" fmla="*/ 4766661 w 6226010"/>
              <a:gd name="connsiteY5426" fmla="*/ 1478370 h 5756219"/>
              <a:gd name="connsiteX5427" fmla="*/ 4812861 w 6226010"/>
              <a:gd name="connsiteY5427" fmla="*/ 1478370 h 5756219"/>
              <a:gd name="connsiteX5428" fmla="*/ 4796555 w 6226010"/>
              <a:gd name="connsiteY5428" fmla="*/ 1486520 h 5756219"/>
              <a:gd name="connsiteX5429" fmla="*/ 4834601 w 6226010"/>
              <a:gd name="connsiteY5429" fmla="*/ 1481085 h 5756219"/>
              <a:gd name="connsiteX5430" fmla="*/ 4837319 w 6226010"/>
              <a:gd name="connsiteY5430" fmla="*/ 1472935 h 5756219"/>
              <a:gd name="connsiteX5431" fmla="*/ 4823731 w 6226010"/>
              <a:gd name="connsiteY5431" fmla="*/ 1472935 h 5756219"/>
              <a:gd name="connsiteX5432" fmla="*/ 4821013 w 6226010"/>
              <a:gd name="connsiteY5432" fmla="*/ 1451194 h 5756219"/>
              <a:gd name="connsiteX5433" fmla="*/ 4796555 w 6226010"/>
              <a:gd name="connsiteY5433" fmla="*/ 1459347 h 5756219"/>
              <a:gd name="connsiteX5434" fmla="*/ 4812861 w 6226010"/>
              <a:gd name="connsiteY5434" fmla="*/ 1424018 h 5756219"/>
              <a:gd name="connsiteX5435" fmla="*/ 4782967 w 6226010"/>
              <a:gd name="connsiteY5435" fmla="*/ 1424018 h 5756219"/>
              <a:gd name="connsiteX5436" fmla="*/ 4799273 w 6226010"/>
              <a:gd name="connsiteY5436" fmla="*/ 1418583 h 5756219"/>
              <a:gd name="connsiteX5437" fmla="*/ 4763944 w 6226010"/>
              <a:gd name="connsiteY5437" fmla="*/ 1399561 h 5756219"/>
              <a:gd name="connsiteX5438" fmla="*/ 1152260 w 6226010"/>
              <a:gd name="connsiteY5438" fmla="*/ 1385972 h 5756219"/>
              <a:gd name="connsiteX5439" fmla="*/ 1152260 w 6226010"/>
              <a:gd name="connsiteY5439" fmla="*/ 1388691 h 5756219"/>
              <a:gd name="connsiteX5440" fmla="*/ 1187589 w 6226010"/>
              <a:gd name="connsiteY5440" fmla="*/ 1396844 h 5756219"/>
              <a:gd name="connsiteX5441" fmla="*/ 1187589 w 6226010"/>
              <a:gd name="connsiteY5441" fmla="*/ 1394126 h 5756219"/>
              <a:gd name="connsiteX5442" fmla="*/ 1176718 w 6226010"/>
              <a:gd name="connsiteY5442" fmla="*/ 1391407 h 5756219"/>
              <a:gd name="connsiteX5443" fmla="*/ 1152260 w 6226010"/>
              <a:gd name="connsiteY5443" fmla="*/ 1385972 h 5756219"/>
              <a:gd name="connsiteX5444" fmla="*/ 4657957 w 6226010"/>
              <a:gd name="connsiteY5444" fmla="*/ 1383256 h 5756219"/>
              <a:gd name="connsiteX5445" fmla="*/ 4652521 w 6226010"/>
              <a:gd name="connsiteY5445" fmla="*/ 1391407 h 5756219"/>
              <a:gd name="connsiteX5446" fmla="*/ 4666109 w 6226010"/>
              <a:gd name="connsiteY5446" fmla="*/ 1388691 h 5756219"/>
              <a:gd name="connsiteX5447" fmla="*/ 4657957 w 6226010"/>
              <a:gd name="connsiteY5447" fmla="*/ 1383256 h 5756219"/>
              <a:gd name="connsiteX5448" fmla="*/ 1206612 w 6226010"/>
              <a:gd name="connsiteY5448" fmla="*/ 1378800 h 5756219"/>
              <a:gd name="connsiteX5449" fmla="*/ 1208678 w 6226010"/>
              <a:gd name="connsiteY5449" fmla="*/ 1379242 h 5756219"/>
              <a:gd name="connsiteX5450" fmla="*/ 1209330 w 6226010"/>
              <a:gd name="connsiteY5450" fmla="*/ 1380546 h 5756219"/>
              <a:gd name="connsiteX5451" fmla="*/ 1206612 w 6226010"/>
              <a:gd name="connsiteY5451" fmla="*/ 1380546 h 5756219"/>
              <a:gd name="connsiteX5452" fmla="*/ 3271983 w 6226010"/>
              <a:gd name="connsiteY5452" fmla="*/ 1377819 h 5756219"/>
              <a:gd name="connsiteX5453" fmla="*/ 3258395 w 6226010"/>
              <a:gd name="connsiteY5453" fmla="*/ 1380537 h 5756219"/>
              <a:gd name="connsiteX5454" fmla="*/ 3258395 w 6226010"/>
              <a:gd name="connsiteY5454" fmla="*/ 1396844 h 5756219"/>
              <a:gd name="connsiteX5455" fmla="*/ 3274701 w 6226010"/>
              <a:gd name="connsiteY5455" fmla="*/ 1391407 h 5756219"/>
              <a:gd name="connsiteX5456" fmla="*/ 1125084 w 6226010"/>
              <a:gd name="connsiteY5456" fmla="*/ 1375102 h 5756219"/>
              <a:gd name="connsiteX5457" fmla="*/ 1122366 w 6226010"/>
              <a:gd name="connsiteY5457" fmla="*/ 1377819 h 5756219"/>
              <a:gd name="connsiteX5458" fmla="*/ 1125084 w 6226010"/>
              <a:gd name="connsiteY5458" fmla="*/ 1377819 h 5756219"/>
              <a:gd name="connsiteX5459" fmla="*/ 1125084 w 6226010"/>
              <a:gd name="connsiteY5459" fmla="*/ 1375102 h 5756219"/>
              <a:gd name="connsiteX5460" fmla="*/ 1399561 w 6226010"/>
              <a:gd name="connsiteY5460" fmla="*/ 1366950 h 5756219"/>
              <a:gd name="connsiteX5461" fmla="*/ 1399561 w 6226010"/>
              <a:gd name="connsiteY5461" fmla="*/ 1369668 h 5756219"/>
              <a:gd name="connsiteX5462" fmla="*/ 1402278 w 6226010"/>
              <a:gd name="connsiteY5462" fmla="*/ 1369668 h 5756219"/>
              <a:gd name="connsiteX5463" fmla="*/ 1402278 w 6226010"/>
              <a:gd name="connsiteY5463" fmla="*/ 1366950 h 5756219"/>
              <a:gd name="connsiteX5464" fmla="*/ 1399561 w 6226010"/>
              <a:gd name="connsiteY5464" fmla="*/ 1366950 h 5756219"/>
              <a:gd name="connsiteX5465" fmla="*/ 1934927 w 6226010"/>
              <a:gd name="connsiteY5465" fmla="*/ 1364231 h 5756219"/>
              <a:gd name="connsiteX5466" fmla="*/ 1934927 w 6226010"/>
              <a:gd name="connsiteY5466" fmla="*/ 1366950 h 5756219"/>
              <a:gd name="connsiteX5467" fmla="*/ 1959385 w 6226010"/>
              <a:gd name="connsiteY5467" fmla="*/ 1380537 h 5756219"/>
              <a:gd name="connsiteX5468" fmla="*/ 1967538 w 6226010"/>
              <a:gd name="connsiteY5468" fmla="*/ 1380537 h 5756219"/>
              <a:gd name="connsiteX5469" fmla="*/ 1967538 w 6226010"/>
              <a:gd name="connsiteY5469" fmla="*/ 1383256 h 5756219"/>
              <a:gd name="connsiteX5470" fmla="*/ 1997432 w 6226010"/>
              <a:gd name="connsiteY5470" fmla="*/ 1399561 h 5756219"/>
              <a:gd name="connsiteX5471" fmla="*/ 1994714 w 6226010"/>
              <a:gd name="connsiteY5471" fmla="*/ 1391407 h 5756219"/>
              <a:gd name="connsiteX5472" fmla="*/ 1951233 w 6226010"/>
              <a:gd name="connsiteY5472" fmla="*/ 1366950 h 5756219"/>
              <a:gd name="connsiteX5473" fmla="*/ 1934927 w 6226010"/>
              <a:gd name="connsiteY5473" fmla="*/ 1364231 h 5756219"/>
              <a:gd name="connsiteX5474" fmla="*/ 1399561 w 6226010"/>
              <a:gd name="connsiteY5474" fmla="*/ 1350644 h 5756219"/>
              <a:gd name="connsiteX5475" fmla="*/ 1399561 w 6226010"/>
              <a:gd name="connsiteY5475" fmla="*/ 1353362 h 5756219"/>
              <a:gd name="connsiteX5476" fmla="*/ 1402278 w 6226010"/>
              <a:gd name="connsiteY5476" fmla="*/ 1353362 h 5756219"/>
              <a:gd name="connsiteX5477" fmla="*/ 1402278 w 6226010"/>
              <a:gd name="connsiteY5477" fmla="*/ 1350644 h 5756219"/>
              <a:gd name="connsiteX5478" fmla="*/ 1399561 w 6226010"/>
              <a:gd name="connsiteY5478" fmla="*/ 1350644 h 5756219"/>
              <a:gd name="connsiteX5479" fmla="*/ 3258395 w 6226010"/>
              <a:gd name="connsiteY5479" fmla="*/ 1342491 h 5756219"/>
              <a:gd name="connsiteX5480" fmla="*/ 3258395 w 6226010"/>
              <a:gd name="connsiteY5480" fmla="*/ 1361515 h 5756219"/>
              <a:gd name="connsiteX5481" fmla="*/ 3269267 w 6226010"/>
              <a:gd name="connsiteY5481" fmla="*/ 1358797 h 5756219"/>
              <a:gd name="connsiteX5482" fmla="*/ 3266549 w 6226010"/>
              <a:gd name="connsiteY5482" fmla="*/ 1342491 h 5756219"/>
              <a:gd name="connsiteX5483" fmla="*/ 3258395 w 6226010"/>
              <a:gd name="connsiteY5483" fmla="*/ 1342491 h 5756219"/>
              <a:gd name="connsiteX5484" fmla="*/ 1399561 w 6226010"/>
              <a:gd name="connsiteY5484" fmla="*/ 1337055 h 5756219"/>
              <a:gd name="connsiteX5485" fmla="*/ 1399561 w 6226010"/>
              <a:gd name="connsiteY5485" fmla="*/ 1339773 h 5756219"/>
              <a:gd name="connsiteX5486" fmla="*/ 1402278 w 6226010"/>
              <a:gd name="connsiteY5486" fmla="*/ 1339773 h 5756219"/>
              <a:gd name="connsiteX5487" fmla="*/ 1402278 w 6226010"/>
              <a:gd name="connsiteY5487" fmla="*/ 1337055 h 5756219"/>
              <a:gd name="connsiteX5488" fmla="*/ 1399561 w 6226010"/>
              <a:gd name="connsiteY5488" fmla="*/ 1337055 h 5756219"/>
              <a:gd name="connsiteX5489" fmla="*/ 1937645 w 6226010"/>
              <a:gd name="connsiteY5489" fmla="*/ 1331621 h 5756219"/>
              <a:gd name="connsiteX5490" fmla="*/ 1937645 w 6226010"/>
              <a:gd name="connsiteY5490" fmla="*/ 1342491 h 5756219"/>
              <a:gd name="connsiteX5491" fmla="*/ 1943080 w 6226010"/>
              <a:gd name="connsiteY5491" fmla="*/ 1342491 h 5756219"/>
              <a:gd name="connsiteX5492" fmla="*/ 1943080 w 6226010"/>
              <a:gd name="connsiteY5492" fmla="*/ 1331621 h 5756219"/>
              <a:gd name="connsiteX5493" fmla="*/ 1937645 w 6226010"/>
              <a:gd name="connsiteY5493" fmla="*/ 1331621 h 5756219"/>
              <a:gd name="connsiteX5494" fmla="*/ 1353362 w 6226010"/>
              <a:gd name="connsiteY5494" fmla="*/ 1328904 h 5756219"/>
              <a:gd name="connsiteX5495" fmla="*/ 1350644 w 6226010"/>
              <a:gd name="connsiteY5495" fmla="*/ 1334339 h 5756219"/>
              <a:gd name="connsiteX5496" fmla="*/ 1353362 w 6226010"/>
              <a:gd name="connsiteY5496" fmla="*/ 1334339 h 5756219"/>
              <a:gd name="connsiteX5497" fmla="*/ 1350644 w 6226010"/>
              <a:gd name="connsiteY5497" fmla="*/ 1339773 h 5756219"/>
              <a:gd name="connsiteX5498" fmla="*/ 1353362 w 6226010"/>
              <a:gd name="connsiteY5498" fmla="*/ 1339773 h 5756219"/>
              <a:gd name="connsiteX5499" fmla="*/ 1353362 w 6226010"/>
              <a:gd name="connsiteY5499" fmla="*/ 1334339 h 5756219"/>
              <a:gd name="connsiteX5500" fmla="*/ 1353362 w 6226010"/>
              <a:gd name="connsiteY5500" fmla="*/ 1328904 h 5756219"/>
              <a:gd name="connsiteX5501" fmla="*/ 1399561 w 6226010"/>
              <a:gd name="connsiteY5501" fmla="*/ 1323468 h 5756219"/>
              <a:gd name="connsiteX5502" fmla="*/ 1399561 w 6226010"/>
              <a:gd name="connsiteY5502" fmla="*/ 1326186 h 5756219"/>
              <a:gd name="connsiteX5503" fmla="*/ 1402278 w 6226010"/>
              <a:gd name="connsiteY5503" fmla="*/ 1326186 h 5756219"/>
              <a:gd name="connsiteX5504" fmla="*/ 1402278 w 6226010"/>
              <a:gd name="connsiteY5504" fmla="*/ 1323468 h 5756219"/>
              <a:gd name="connsiteX5505" fmla="*/ 1399561 w 6226010"/>
              <a:gd name="connsiteY5505" fmla="*/ 1323468 h 5756219"/>
              <a:gd name="connsiteX5506" fmla="*/ 5166022 w 6226010"/>
              <a:gd name="connsiteY5506" fmla="*/ 1317205 h 5756219"/>
              <a:gd name="connsiteX5507" fmla="*/ 5144280 w 6226010"/>
              <a:gd name="connsiteY5507" fmla="*/ 1325845 h 5756219"/>
              <a:gd name="connsiteX5508" fmla="*/ 5138867 w 6226010"/>
              <a:gd name="connsiteY5508" fmla="*/ 1327365 h 5756219"/>
              <a:gd name="connsiteX5509" fmla="*/ 5155659 w 6226010"/>
              <a:gd name="connsiteY5509" fmla="*/ 1317481 h 5756219"/>
              <a:gd name="connsiteX5510" fmla="*/ 1464783 w 6226010"/>
              <a:gd name="connsiteY5510" fmla="*/ 1309881 h 5756219"/>
              <a:gd name="connsiteX5511" fmla="*/ 1467501 w 6226010"/>
              <a:gd name="connsiteY5511" fmla="*/ 1312597 h 5756219"/>
              <a:gd name="connsiteX5512" fmla="*/ 1467501 w 6226010"/>
              <a:gd name="connsiteY5512" fmla="*/ 1309881 h 5756219"/>
              <a:gd name="connsiteX5513" fmla="*/ 1464783 w 6226010"/>
              <a:gd name="connsiteY5513" fmla="*/ 1309881 h 5756219"/>
              <a:gd name="connsiteX5514" fmla="*/ 1399561 w 6226010"/>
              <a:gd name="connsiteY5514" fmla="*/ 1309881 h 5756219"/>
              <a:gd name="connsiteX5515" fmla="*/ 1399561 w 6226010"/>
              <a:gd name="connsiteY5515" fmla="*/ 1312597 h 5756219"/>
              <a:gd name="connsiteX5516" fmla="*/ 1402278 w 6226010"/>
              <a:gd name="connsiteY5516" fmla="*/ 1312597 h 5756219"/>
              <a:gd name="connsiteX5517" fmla="*/ 1402278 w 6226010"/>
              <a:gd name="connsiteY5517" fmla="*/ 1309881 h 5756219"/>
              <a:gd name="connsiteX5518" fmla="*/ 1399561 w 6226010"/>
              <a:gd name="connsiteY5518" fmla="*/ 1309881 h 5756219"/>
              <a:gd name="connsiteX5519" fmla="*/ 1353362 w 6226010"/>
              <a:gd name="connsiteY5519" fmla="*/ 1309881 h 5756219"/>
              <a:gd name="connsiteX5520" fmla="*/ 1350644 w 6226010"/>
              <a:gd name="connsiteY5520" fmla="*/ 1315315 h 5756219"/>
              <a:gd name="connsiteX5521" fmla="*/ 1353362 w 6226010"/>
              <a:gd name="connsiteY5521" fmla="*/ 1315315 h 5756219"/>
              <a:gd name="connsiteX5522" fmla="*/ 1353362 w 6226010"/>
              <a:gd name="connsiteY5522" fmla="*/ 1309881 h 5756219"/>
              <a:gd name="connsiteX5523" fmla="*/ 3258395 w 6226010"/>
              <a:gd name="connsiteY5523" fmla="*/ 1304444 h 5756219"/>
              <a:gd name="connsiteX5524" fmla="*/ 3258395 w 6226010"/>
              <a:gd name="connsiteY5524" fmla="*/ 1320751 h 5756219"/>
              <a:gd name="connsiteX5525" fmla="*/ 3263831 w 6226010"/>
              <a:gd name="connsiteY5525" fmla="*/ 1320751 h 5756219"/>
              <a:gd name="connsiteX5526" fmla="*/ 3261113 w 6226010"/>
              <a:gd name="connsiteY5526" fmla="*/ 1304444 h 5756219"/>
              <a:gd name="connsiteX5527" fmla="*/ 3258395 w 6226010"/>
              <a:gd name="connsiteY5527" fmla="*/ 1304444 h 5756219"/>
              <a:gd name="connsiteX5528" fmla="*/ 1557181 w 6226010"/>
              <a:gd name="connsiteY5528" fmla="*/ 1304444 h 5756219"/>
              <a:gd name="connsiteX5529" fmla="*/ 1557181 w 6226010"/>
              <a:gd name="connsiteY5529" fmla="*/ 1307163 h 5756219"/>
              <a:gd name="connsiteX5530" fmla="*/ 1568052 w 6226010"/>
              <a:gd name="connsiteY5530" fmla="*/ 1309881 h 5756219"/>
              <a:gd name="connsiteX5531" fmla="*/ 1557181 w 6226010"/>
              <a:gd name="connsiteY5531" fmla="*/ 1304444 h 5756219"/>
              <a:gd name="connsiteX5532" fmla="*/ 1549029 w 6226010"/>
              <a:gd name="connsiteY5532" fmla="*/ 1304444 h 5756219"/>
              <a:gd name="connsiteX5533" fmla="*/ 1549029 w 6226010"/>
              <a:gd name="connsiteY5533" fmla="*/ 1307163 h 5756219"/>
              <a:gd name="connsiteX5534" fmla="*/ 1554464 w 6226010"/>
              <a:gd name="connsiteY5534" fmla="*/ 1307163 h 5756219"/>
              <a:gd name="connsiteX5535" fmla="*/ 1549029 w 6226010"/>
              <a:gd name="connsiteY5535" fmla="*/ 1304444 h 5756219"/>
              <a:gd name="connsiteX5536" fmla="*/ 1937645 w 6226010"/>
              <a:gd name="connsiteY5536" fmla="*/ 1301727 h 5756219"/>
              <a:gd name="connsiteX5537" fmla="*/ 1937645 w 6226010"/>
              <a:gd name="connsiteY5537" fmla="*/ 1315315 h 5756219"/>
              <a:gd name="connsiteX5538" fmla="*/ 1943080 w 6226010"/>
              <a:gd name="connsiteY5538" fmla="*/ 1315315 h 5756219"/>
              <a:gd name="connsiteX5539" fmla="*/ 1943080 w 6226010"/>
              <a:gd name="connsiteY5539" fmla="*/ 1301727 h 5756219"/>
              <a:gd name="connsiteX5540" fmla="*/ 1937645 w 6226010"/>
              <a:gd name="connsiteY5540" fmla="*/ 1301727 h 5756219"/>
              <a:gd name="connsiteX5541" fmla="*/ 1353362 w 6226010"/>
              <a:gd name="connsiteY5541" fmla="*/ 1296292 h 5756219"/>
              <a:gd name="connsiteX5542" fmla="*/ 1350644 w 6226010"/>
              <a:gd name="connsiteY5542" fmla="*/ 1301727 h 5756219"/>
              <a:gd name="connsiteX5543" fmla="*/ 1353362 w 6226010"/>
              <a:gd name="connsiteY5543" fmla="*/ 1301727 h 5756219"/>
              <a:gd name="connsiteX5544" fmla="*/ 1353362 w 6226010"/>
              <a:gd name="connsiteY5544" fmla="*/ 1296292 h 5756219"/>
              <a:gd name="connsiteX5545" fmla="*/ 1399561 w 6226010"/>
              <a:gd name="connsiteY5545" fmla="*/ 1293574 h 5756219"/>
              <a:gd name="connsiteX5546" fmla="*/ 1399561 w 6226010"/>
              <a:gd name="connsiteY5546" fmla="*/ 1296292 h 5756219"/>
              <a:gd name="connsiteX5547" fmla="*/ 1402278 w 6226010"/>
              <a:gd name="connsiteY5547" fmla="*/ 1296292 h 5756219"/>
              <a:gd name="connsiteX5548" fmla="*/ 1402278 w 6226010"/>
              <a:gd name="connsiteY5548" fmla="*/ 1293574 h 5756219"/>
              <a:gd name="connsiteX5549" fmla="*/ 1399561 w 6226010"/>
              <a:gd name="connsiteY5549" fmla="*/ 1293574 h 5756219"/>
              <a:gd name="connsiteX5550" fmla="*/ 1557181 w 6226010"/>
              <a:gd name="connsiteY5550" fmla="*/ 1288140 h 5756219"/>
              <a:gd name="connsiteX5551" fmla="*/ 1557181 w 6226010"/>
              <a:gd name="connsiteY5551" fmla="*/ 1290857 h 5756219"/>
              <a:gd name="connsiteX5552" fmla="*/ 1568052 w 6226010"/>
              <a:gd name="connsiteY5552" fmla="*/ 1293574 h 5756219"/>
              <a:gd name="connsiteX5553" fmla="*/ 1557181 w 6226010"/>
              <a:gd name="connsiteY5553" fmla="*/ 1288140 h 5756219"/>
              <a:gd name="connsiteX5554" fmla="*/ 3003283 w 6226010"/>
              <a:gd name="connsiteY5554" fmla="*/ 1287460 h 5756219"/>
              <a:gd name="connsiteX5555" fmla="*/ 3003168 w 6226010"/>
              <a:gd name="connsiteY5555" fmla="*/ 1288606 h 5756219"/>
              <a:gd name="connsiteX5556" fmla="*/ 2236580 w 6226010"/>
              <a:gd name="connsiteY5556" fmla="*/ 1432171 h 5756219"/>
              <a:gd name="connsiteX5557" fmla="*/ 2239298 w 6226010"/>
              <a:gd name="connsiteY5557" fmla="*/ 1434890 h 5756219"/>
              <a:gd name="connsiteX5558" fmla="*/ 3002943 w 6226010"/>
              <a:gd name="connsiteY5558" fmla="*/ 1290857 h 5756219"/>
              <a:gd name="connsiteX5559" fmla="*/ 3003168 w 6226010"/>
              <a:gd name="connsiteY5559" fmla="*/ 1288606 h 5756219"/>
              <a:gd name="connsiteX5560" fmla="*/ 3005659 w 6226010"/>
              <a:gd name="connsiteY5560" fmla="*/ 1288140 h 5756219"/>
              <a:gd name="connsiteX5561" fmla="*/ 3003283 w 6226010"/>
              <a:gd name="connsiteY5561" fmla="*/ 1287460 h 5756219"/>
              <a:gd name="connsiteX5562" fmla="*/ 1549029 w 6226010"/>
              <a:gd name="connsiteY5562" fmla="*/ 1285421 h 5756219"/>
              <a:gd name="connsiteX5563" fmla="*/ 1549029 w 6226010"/>
              <a:gd name="connsiteY5563" fmla="*/ 1288140 h 5756219"/>
              <a:gd name="connsiteX5564" fmla="*/ 1554464 w 6226010"/>
              <a:gd name="connsiteY5564" fmla="*/ 1288140 h 5756219"/>
              <a:gd name="connsiteX5565" fmla="*/ 1549029 w 6226010"/>
              <a:gd name="connsiteY5565" fmla="*/ 1285421 h 5756219"/>
              <a:gd name="connsiteX5566" fmla="*/ 1353362 w 6226010"/>
              <a:gd name="connsiteY5566" fmla="*/ 1285421 h 5756219"/>
              <a:gd name="connsiteX5567" fmla="*/ 1350644 w 6226010"/>
              <a:gd name="connsiteY5567" fmla="*/ 1293574 h 5756219"/>
              <a:gd name="connsiteX5568" fmla="*/ 1353362 w 6226010"/>
              <a:gd name="connsiteY5568" fmla="*/ 1293574 h 5756219"/>
              <a:gd name="connsiteX5569" fmla="*/ 1353362 w 6226010"/>
              <a:gd name="connsiteY5569" fmla="*/ 1285421 h 5756219"/>
              <a:gd name="connsiteX5570" fmla="*/ 3024683 w 6226010"/>
              <a:gd name="connsiteY5570" fmla="*/ 1279986 h 5756219"/>
              <a:gd name="connsiteX5571" fmla="*/ 3024683 w 6226010"/>
              <a:gd name="connsiteY5571" fmla="*/ 1285421 h 5756219"/>
              <a:gd name="connsiteX5572" fmla="*/ 3032835 w 6226010"/>
              <a:gd name="connsiteY5572" fmla="*/ 1285421 h 5756219"/>
              <a:gd name="connsiteX5573" fmla="*/ 3032835 w 6226010"/>
              <a:gd name="connsiteY5573" fmla="*/ 1279986 h 5756219"/>
              <a:gd name="connsiteX5574" fmla="*/ 3024683 w 6226010"/>
              <a:gd name="connsiteY5574" fmla="*/ 1279986 h 5756219"/>
              <a:gd name="connsiteX5575" fmla="*/ 1505547 w 6226010"/>
              <a:gd name="connsiteY5575" fmla="*/ 1279986 h 5756219"/>
              <a:gd name="connsiteX5576" fmla="*/ 1497394 w 6226010"/>
              <a:gd name="connsiteY5576" fmla="*/ 1282705 h 5756219"/>
              <a:gd name="connsiteX5577" fmla="*/ 1502829 w 6226010"/>
              <a:gd name="connsiteY5577" fmla="*/ 1282705 h 5756219"/>
              <a:gd name="connsiteX5578" fmla="*/ 1510982 w 6226010"/>
              <a:gd name="connsiteY5578" fmla="*/ 1279986 h 5756219"/>
              <a:gd name="connsiteX5579" fmla="*/ 1505547 w 6226010"/>
              <a:gd name="connsiteY5579" fmla="*/ 1279986 h 5756219"/>
              <a:gd name="connsiteX5580" fmla="*/ 1399561 w 6226010"/>
              <a:gd name="connsiteY5580" fmla="*/ 1279986 h 5756219"/>
              <a:gd name="connsiteX5581" fmla="*/ 1399561 w 6226010"/>
              <a:gd name="connsiteY5581" fmla="*/ 1282705 h 5756219"/>
              <a:gd name="connsiteX5582" fmla="*/ 1402278 w 6226010"/>
              <a:gd name="connsiteY5582" fmla="*/ 1282705 h 5756219"/>
              <a:gd name="connsiteX5583" fmla="*/ 1402278 w 6226010"/>
              <a:gd name="connsiteY5583" fmla="*/ 1279986 h 5756219"/>
              <a:gd name="connsiteX5584" fmla="*/ 1399561 w 6226010"/>
              <a:gd name="connsiteY5584" fmla="*/ 1279986 h 5756219"/>
              <a:gd name="connsiteX5585" fmla="*/ 1937645 w 6226010"/>
              <a:gd name="connsiteY5585" fmla="*/ 1271834 h 5756219"/>
              <a:gd name="connsiteX5586" fmla="*/ 1937645 w 6226010"/>
              <a:gd name="connsiteY5586" fmla="*/ 1285421 h 5756219"/>
              <a:gd name="connsiteX5587" fmla="*/ 1943080 w 6226010"/>
              <a:gd name="connsiteY5587" fmla="*/ 1285421 h 5756219"/>
              <a:gd name="connsiteX5588" fmla="*/ 1943080 w 6226010"/>
              <a:gd name="connsiteY5588" fmla="*/ 1271834 h 5756219"/>
              <a:gd name="connsiteX5589" fmla="*/ 1937645 w 6226010"/>
              <a:gd name="connsiteY5589" fmla="*/ 1271834 h 5756219"/>
              <a:gd name="connsiteX5590" fmla="*/ 1557181 w 6226010"/>
              <a:gd name="connsiteY5590" fmla="*/ 1269117 h 5756219"/>
              <a:gd name="connsiteX5591" fmla="*/ 1557181 w 6226010"/>
              <a:gd name="connsiteY5591" fmla="*/ 1271834 h 5756219"/>
              <a:gd name="connsiteX5592" fmla="*/ 1568052 w 6226010"/>
              <a:gd name="connsiteY5592" fmla="*/ 1274552 h 5756219"/>
              <a:gd name="connsiteX5593" fmla="*/ 1557181 w 6226010"/>
              <a:gd name="connsiteY5593" fmla="*/ 1269117 h 5756219"/>
              <a:gd name="connsiteX5594" fmla="*/ 1549029 w 6226010"/>
              <a:gd name="connsiteY5594" fmla="*/ 1266399 h 5756219"/>
              <a:gd name="connsiteX5595" fmla="*/ 1549029 w 6226010"/>
              <a:gd name="connsiteY5595" fmla="*/ 1269117 h 5756219"/>
              <a:gd name="connsiteX5596" fmla="*/ 1554464 w 6226010"/>
              <a:gd name="connsiteY5596" fmla="*/ 1269117 h 5756219"/>
              <a:gd name="connsiteX5597" fmla="*/ 1549029 w 6226010"/>
              <a:gd name="connsiteY5597" fmla="*/ 1266399 h 5756219"/>
              <a:gd name="connsiteX5598" fmla="*/ 3032835 w 6226010"/>
              <a:gd name="connsiteY5598" fmla="*/ 1255528 h 5756219"/>
              <a:gd name="connsiteX5599" fmla="*/ 2155052 w 6226010"/>
              <a:gd name="connsiteY5599" fmla="*/ 1426736 h 5756219"/>
              <a:gd name="connsiteX5600" fmla="*/ 3032835 w 6226010"/>
              <a:gd name="connsiteY5600" fmla="*/ 1260963 h 5756219"/>
              <a:gd name="connsiteX5601" fmla="*/ 3032835 w 6226010"/>
              <a:gd name="connsiteY5601" fmla="*/ 1258246 h 5756219"/>
              <a:gd name="connsiteX5602" fmla="*/ 3032835 w 6226010"/>
              <a:gd name="connsiteY5602" fmla="*/ 1255528 h 5756219"/>
              <a:gd name="connsiteX5603" fmla="*/ 1353362 w 6226010"/>
              <a:gd name="connsiteY5603" fmla="*/ 1255528 h 5756219"/>
              <a:gd name="connsiteX5604" fmla="*/ 1350644 w 6226010"/>
              <a:gd name="connsiteY5604" fmla="*/ 1263681 h 5756219"/>
              <a:gd name="connsiteX5605" fmla="*/ 1353362 w 6226010"/>
              <a:gd name="connsiteY5605" fmla="*/ 1263681 h 5756219"/>
              <a:gd name="connsiteX5606" fmla="*/ 1353362 w 6226010"/>
              <a:gd name="connsiteY5606" fmla="*/ 1255528 h 5756219"/>
              <a:gd name="connsiteX5607" fmla="*/ 5020417 w 6226010"/>
              <a:gd name="connsiteY5607" fmla="*/ 1254849 h 5756219"/>
              <a:gd name="connsiteX5608" fmla="*/ 5000375 w 6226010"/>
              <a:gd name="connsiteY5608" fmla="*/ 1258246 h 5756219"/>
              <a:gd name="connsiteX5609" fmla="*/ 4962328 w 6226010"/>
              <a:gd name="connsiteY5609" fmla="*/ 1301727 h 5756219"/>
              <a:gd name="connsiteX5610" fmla="*/ 4962328 w 6226010"/>
              <a:gd name="connsiteY5610" fmla="*/ 1377819 h 5756219"/>
              <a:gd name="connsiteX5611" fmla="*/ 4986787 w 6226010"/>
              <a:gd name="connsiteY5611" fmla="*/ 1366950 h 5756219"/>
              <a:gd name="connsiteX5612" fmla="*/ 4984069 w 6226010"/>
              <a:gd name="connsiteY5612" fmla="*/ 1312597 h 5756219"/>
              <a:gd name="connsiteX5613" fmla="*/ 5038421 w 6226010"/>
              <a:gd name="connsiteY5613" fmla="*/ 1255528 h 5756219"/>
              <a:gd name="connsiteX5614" fmla="*/ 5020417 w 6226010"/>
              <a:gd name="connsiteY5614" fmla="*/ 1254849 h 5756219"/>
              <a:gd name="connsiteX5615" fmla="*/ 1557181 w 6226010"/>
              <a:gd name="connsiteY5615" fmla="*/ 1250094 h 5756219"/>
              <a:gd name="connsiteX5616" fmla="*/ 1557181 w 6226010"/>
              <a:gd name="connsiteY5616" fmla="*/ 1252811 h 5756219"/>
              <a:gd name="connsiteX5617" fmla="*/ 1568052 w 6226010"/>
              <a:gd name="connsiteY5617" fmla="*/ 1255528 h 5756219"/>
              <a:gd name="connsiteX5618" fmla="*/ 1557181 w 6226010"/>
              <a:gd name="connsiteY5618" fmla="*/ 1250094 h 5756219"/>
              <a:gd name="connsiteX5619" fmla="*/ 1549029 w 6226010"/>
              <a:gd name="connsiteY5619" fmla="*/ 1247376 h 5756219"/>
              <a:gd name="connsiteX5620" fmla="*/ 1549029 w 6226010"/>
              <a:gd name="connsiteY5620" fmla="*/ 1250094 h 5756219"/>
              <a:gd name="connsiteX5621" fmla="*/ 1554464 w 6226010"/>
              <a:gd name="connsiteY5621" fmla="*/ 1250094 h 5756219"/>
              <a:gd name="connsiteX5622" fmla="*/ 1549029 w 6226010"/>
              <a:gd name="connsiteY5622" fmla="*/ 1247376 h 5756219"/>
              <a:gd name="connsiteX5623" fmla="*/ 1307163 w 6226010"/>
              <a:gd name="connsiteY5623" fmla="*/ 1241953 h 5756219"/>
              <a:gd name="connsiteX5624" fmla="*/ 1309880 w 6226010"/>
              <a:gd name="connsiteY5624" fmla="*/ 1241953 h 5756219"/>
              <a:gd name="connsiteX5625" fmla="*/ 1309880 w 6226010"/>
              <a:gd name="connsiteY5625" fmla="*/ 1250104 h 5756219"/>
              <a:gd name="connsiteX5626" fmla="*/ 1307163 w 6226010"/>
              <a:gd name="connsiteY5626" fmla="*/ 1250104 h 5756219"/>
              <a:gd name="connsiteX5627" fmla="*/ 1307163 w 6226010"/>
              <a:gd name="connsiteY5627" fmla="*/ 1241953 h 5756219"/>
              <a:gd name="connsiteX5628" fmla="*/ 4937870 w 6226010"/>
              <a:gd name="connsiteY5628" fmla="*/ 1241941 h 5756219"/>
              <a:gd name="connsiteX5629" fmla="*/ 4850907 w 6226010"/>
              <a:gd name="connsiteY5629" fmla="*/ 1266399 h 5756219"/>
              <a:gd name="connsiteX5630" fmla="*/ 4874601 w 6226010"/>
              <a:gd name="connsiteY5630" fmla="*/ 1282450 h 5756219"/>
              <a:gd name="connsiteX5631" fmla="*/ 4878519 w 6226010"/>
              <a:gd name="connsiteY5631" fmla="*/ 1287762 h 5756219"/>
              <a:gd name="connsiteX5632" fmla="*/ 4878083 w 6226010"/>
              <a:gd name="connsiteY5632" fmla="*/ 1288140 h 5756219"/>
              <a:gd name="connsiteX5633" fmla="*/ 4880202 w 6226010"/>
              <a:gd name="connsiteY5633" fmla="*/ 1290045 h 5756219"/>
              <a:gd name="connsiteX5634" fmla="*/ 4880801 w 6226010"/>
              <a:gd name="connsiteY5634" fmla="*/ 1290857 h 5756219"/>
              <a:gd name="connsiteX5635" fmla="*/ 4834601 w 6226010"/>
              <a:gd name="connsiteY5635" fmla="*/ 1285421 h 5756219"/>
              <a:gd name="connsiteX5636" fmla="*/ 4837319 w 6226010"/>
              <a:gd name="connsiteY5636" fmla="*/ 1296292 h 5756219"/>
              <a:gd name="connsiteX5637" fmla="*/ 4791120 w 6226010"/>
              <a:gd name="connsiteY5637" fmla="*/ 1350644 h 5756219"/>
              <a:gd name="connsiteX5638" fmla="*/ 4812861 w 6226010"/>
              <a:gd name="connsiteY5638" fmla="*/ 1377819 h 5756219"/>
              <a:gd name="connsiteX5639" fmla="*/ 4791120 w 6226010"/>
              <a:gd name="connsiteY5639" fmla="*/ 1385972 h 5756219"/>
              <a:gd name="connsiteX5640" fmla="*/ 4804708 w 6226010"/>
              <a:gd name="connsiteY5640" fmla="*/ 1380537 h 5756219"/>
              <a:gd name="connsiteX5641" fmla="*/ 4793837 w 6226010"/>
              <a:gd name="connsiteY5641" fmla="*/ 1361515 h 5756219"/>
              <a:gd name="connsiteX5642" fmla="*/ 4774814 w 6226010"/>
              <a:gd name="connsiteY5642" fmla="*/ 1394126 h 5756219"/>
              <a:gd name="connsiteX5643" fmla="*/ 4815578 w 6226010"/>
              <a:gd name="connsiteY5643" fmla="*/ 1451194 h 5756219"/>
              <a:gd name="connsiteX5644" fmla="*/ 4834601 w 6226010"/>
              <a:gd name="connsiteY5644" fmla="*/ 1464782 h 5756219"/>
              <a:gd name="connsiteX5645" fmla="*/ 4850907 w 6226010"/>
              <a:gd name="connsiteY5645" fmla="*/ 1456630 h 5756219"/>
              <a:gd name="connsiteX5646" fmla="*/ 4872648 w 6226010"/>
              <a:gd name="connsiteY5646" fmla="*/ 1472935 h 5756219"/>
              <a:gd name="connsiteX5647" fmla="*/ 4924282 w 6226010"/>
              <a:gd name="connsiteY5647" fmla="*/ 1413149 h 5756219"/>
              <a:gd name="connsiteX5648" fmla="*/ 4948740 w 6226010"/>
              <a:gd name="connsiteY5648" fmla="*/ 1402279 h 5756219"/>
              <a:gd name="connsiteX5649" fmla="*/ 4921564 w 6226010"/>
              <a:gd name="connsiteY5649" fmla="*/ 1402279 h 5756219"/>
              <a:gd name="connsiteX5650" fmla="*/ 4927000 w 6226010"/>
              <a:gd name="connsiteY5650" fmla="*/ 1388691 h 5756219"/>
              <a:gd name="connsiteX5651" fmla="*/ 4956893 w 6226010"/>
              <a:gd name="connsiteY5651" fmla="*/ 1375102 h 5756219"/>
              <a:gd name="connsiteX5652" fmla="*/ 4940588 w 6226010"/>
              <a:gd name="connsiteY5652" fmla="*/ 1372385 h 5756219"/>
              <a:gd name="connsiteX5653" fmla="*/ 4943305 w 6226010"/>
              <a:gd name="connsiteY5653" fmla="*/ 1353362 h 5756219"/>
              <a:gd name="connsiteX5654" fmla="*/ 4951458 w 6226010"/>
              <a:gd name="connsiteY5654" fmla="*/ 1315315 h 5756219"/>
              <a:gd name="connsiteX5655" fmla="*/ 4894389 w 6226010"/>
              <a:gd name="connsiteY5655" fmla="*/ 1307163 h 5756219"/>
              <a:gd name="connsiteX5656" fmla="*/ 4927000 w 6226010"/>
              <a:gd name="connsiteY5656" fmla="*/ 1301727 h 5756219"/>
              <a:gd name="connsiteX5657" fmla="*/ 4924282 w 6226010"/>
              <a:gd name="connsiteY5657" fmla="*/ 1282705 h 5756219"/>
              <a:gd name="connsiteX5658" fmla="*/ 4886066 w 6226010"/>
              <a:gd name="connsiteY5658" fmla="*/ 1295315 h 5756219"/>
              <a:gd name="connsiteX5659" fmla="*/ 4880202 w 6226010"/>
              <a:gd name="connsiteY5659" fmla="*/ 1290045 h 5756219"/>
              <a:gd name="connsiteX5660" fmla="*/ 4878519 w 6226010"/>
              <a:gd name="connsiteY5660" fmla="*/ 1287762 h 5756219"/>
              <a:gd name="connsiteX5661" fmla="*/ 4890652 w 6226010"/>
              <a:gd name="connsiteY5661" fmla="*/ 1277269 h 5756219"/>
              <a:gd name="connsiteX5662" fmla="*/ 4905259 w 6226010"/>
              <a:gd name="connsiteY5662" fmla="*/ 1266399 h 5756219"/>
              <a:gd name="connsiteX5663" fmla="*/ 4935152 w 6226010"/>
              <a:gd name="connsiteY5663" fmla="*/ 1274552 h 5756219"/>
              <a:gd name="connsiteX5664" fmla="*/ 4937870 w 6226010"/>
              <a:gd name="connsiteY5664" fmla="*/ 1241941 h 5756219"/>
              <a:gd name="connsiteX5665" fmla="*/ 1937645 w 6226010"/>
              <a:gd name="connsiteY5665" fmla="*/ 1241941 h 5756219"/>
              <a:gd name="connsiteX5666" fmla="*/ 1937645 w 6226010"/>
              <a:gd name="connsiteY5666" fmla="*/ 1255528 h 5756219"/>
              <a:gd name="connsiteX5667" fmla="*/ 1943080 w 6226010"/>
              <a:gd name="connsiteY5667" fmla="*/ 1255528 h 5756219"/>
              <a:gd name="connsiteX5668" fmla="*/ 1943080 w 6226010"/>
              <a:gd name="connsiteY5668" fmla="*/ 1241941 h 5756219"/>
              <a:gd name="connsiteX5669" fmla="*/ 1937645 w 6226010"/>
              <a:gd name="connsiteY5669" fmla="*/ 1241941 h 5756219"/>
              <a:gd name="connsiteX5670" fmla="*/ 1350644 w 6226010"/>
              <a:gd name="connsiteY5670" fmla="*/ 1239223 h 5756219"/>
              <a:gd name="connsiteX5671" fmla="*/ 1350644 w 6226010"/>
              <a:gd name="connsiteY5671" fmla="*/ 1247376 h 5756219"/>
              <a:gd name="connsiteX5672" fmla="*/ 1353362 w 6226010"/>
              <a:gd name="connsiteY5672" fmla="*/ 1239223 h 5756219"/>
              <a:gd name="connsiteX5673" fmla="*/ 1350644 w 6226010"/>
              <a:gd name="connsiteY5673" fmla="*/ 1239223 h 5756219"/>
              <a:gd name="connsiteX5674" fmla="*/ 4965513 w 6226010"/>
              <a:gd name="connsiteY5674" fmla="*/ 1238331 h 5756219"/>
              <a:gd name="connsiteX5675" fmla="*/ 4946023 w 6226010"/>
              <a:gd name="connsiteY5675" fmla="*/ 1250094 h 5756219"/>
              <a:gd name="connsiteX5676" fmla="*/ 4954176 w 6226010"/>
              <a:gd name="connsiteY5676" fmla="*/ 1299009 h 5756219"/>
              <a:gd name="connsiteX5677" fmla="*/ 4948740 w 6226010"/>
              <a:gd name="connsiteY5677" fmla="*/ 1277269 h 5756219"/>
              <a:gd name="connsiteX5678" fmla="*/ 4970481 w 6226010"/>
              <a:gd name="connsiteY5678" fmla="*/ 1279986 h 5756219"/>
              <a:gd name="connsiteX5679" fmla="*/ 4965513 w 6226010"/>
              <a:gd name="connsiteY5679" fmla="*/ 1238331 h 5756219"/>
              <a:gd name="connsiteX5680" fmla="*/ 3168715 w 6226010"/>
              <a:gd name="connsiteY5680" fmla="*/ 1228353 h 5756219"/>
              <a:gd name="connsiteX5681" fmla="*/ 3146975 w 6226010"/>
              <a:gd name="connsiteY5681" fmla="*/ 1233788 h 5756219"/>
              <a:gd name="connsiteX5682" fmla="*/ 3146975 w 6226010"/>
              <a:gd name="connsiteY5682" fmla="*/ 1239223 h 5756219"/>
              <a:gd name="connsiteX5683" fmla="*/ 3171433 w 6226010"/>
              <a:gd name="connsiteY5683" fmla="*/ 1231070 h 5756219"/>
              <a:gd name="connsiteX5684" fmla="*/ 3168715 w 6226010"/>
              <a:gd name="connsiteY5684" fmla="*/ 1228353 h 5756219"/>
              <a:gd name="connsiteX5685" fmla="*/ 1464783 w 6226010"/>
              <a:gd name="connsiteY5685" fmla="*/ 1228353 h 5756219"/>
              <a:gd name="connsiteX5686" fmla="*/ 1467501 w 6226010"/>
              <a:gd name="connsiteY5686" fmla="*/ 1236506 h 5756219"/>
              <a:gd name="connsiteX5687" fmla="*/ 1466482 w 6226010"/>
              <a:gd name="connsiteY5687" fmla="*/ 1236506 h 5756219"/>
              <a:gd name="connsiteX5688" fmla="*/ 1464783 w 6226010"/>
              <a:gd name="connsiteY5688" fmla="*/ 1236506 h 5756219"/>
              <a:gd name="connsiteX5689" fmla="*/ 1467501 w 6226010"/>
              <a:gd name="connsiteY5689" fmla="*/ 1241941 h 5756219"/>
              <a:gd name="connsiteX5690" fmla="*/ 1467501 w 6226010"/>
              <a:gd name="connsiteY5690" fmla="*/ 1236506 h 5756219"/>
              <a:gd name="connsiteX5691" fmla="*/ 1467501 w 6226010"/>
              <a:gd name="connsiteY5691" fmla="*/ 1228353 h 5756219"/>
              <a:gd name="connsiteX5692" fmla="*/ 1464783 w 6226010"/>
              <a:gd name="connsiteY5692" fmla="*/ 1228353 h 5756219"/>
              <a:gd name="connsiteX5693" fmla="*/ 1549029 w 6226010"/>
              <a:gd name="connsiteY5693" fmla="*/ 1225635 h 5756219"/>
              <a:gd name="connsiteX5694" fmla="*/ 1549029 w 6226010"/>
              <a:gd name="connsiteY5694" fmla="*/ 1228353 h 5756219"/>
              <a:gd name="connsiteX5695" fmla="*/ 1568052 w 6226010"/>
              <a:gd name="connsiteY5695" fmla="*/ 1233788 h 5756219"/>
              <a:gd name="connsiteX5696" fmla="*/ 1549029 w 6226010"/>
              <a:gd name="connsiteY5696" fmla="*/ 1225635 h 5756219"/>
              <a:gd name="connsiteX5697" fmla="*/ 1527288 w 6226010"/>
              <a:gd name="connsiteY5697" fmla="*/ 1225635 h 5756219"/>
              <a:gd name="connsiteX5698" fmla="*/ 1491959 w 6226010"/>
              <a:gd name="connsiteY5698" fmla="*/ 1236506 h 5756219"/>
              <a:gd name="connsiteX5699" fmla="*/ 1491959 w 6226010"/>
              <a:gd name="connsiteY5699" fmla="*/ 1239223 h 5756219"/>
              <a:gd name="connsiteX5700" fmla="*/ 1527288 w 6226010"/>
              <a:gd name="connsiteY5700" fmla="*/ 1225635 h 5756219"/>
              <a:gd name="connsiteX5701" fmla="*/ 1394126 w 6226010"/>
              <a:gd name="connsiteY5701" fmla="*/ 1222918 h 5756219"/>
              <a:gd name="connsiteX5702" fmla="*/ 1394126 w 6226010"/>
              <a:gd name="connsiteY5702" fmla="*/ 1225635 h 5756219"/>
              <a:gd name="connsiteX5703" fmla="*/ 1361515 w 6226010"/>
              <a:gd name="connsiteY5703" fmla="*/ 1225635 h 5756219"/>
              <a:gd name="connsiteX5704" fmla="*/ 1361515 w 6226010"/>
              <a:gd name="connsiteY5704" fmla="*/ 1224956 h 5756219"/>
              <a:gd name="connsiteX5705" fmla="*/ 4709592 w 6226010"/>
              <a:gd name="connsiteY5705" fmla="*/ 1220200 h 5756219"/>
              <a:gd name="connsiteX5706" fmla="*/ 4709592 w 6226010"/>
              <a:gd name="connsiteY5706" fmla="*/ 1236506 h 5756219"/>
              <a:gd name="connsiteX5707" fmla="*/ 4725897 w 6226010"/>
              <a:gd name="connsiteY5707" fmla="*/ 1233788 h 5756219"/>
              <a:gd name="connsiteX5708" fmla="*/ 3035553 w 6226010"/>
              <a:gd name="connsiteY5708" fmla="*/ 1220200 h 5756219"/>
              <a:gd name="connsiteX5709" fmla="*/ 2212122 w 6226010"/>
              <a:gd name="connsiteY5709" fmla="*/ 1380537 h 5756219"/>
              <a:gd name="connsiteX5710" fmla="*/ 3035553 w 6226010"/>
              <a:gd name="connsiteY5710" fmla="*/ 1225635 h 5756219"/>
              <a:gd name="connsiteX5711" fmla="*/ 3035553 w 6226010"/>
              <a:gd name="connsiteY5711" fmla="*/ 1220200 h 5756219"/>
              <a:gd name="connsiteX5712" fmla="*/ 1937645 w 6226010"/>
              <a:gd name="connsiteY5712" fmla="*/ 1209330 h 5756219"/>
              <a:gd name="connsiteX5713" fmla="*/ 1937645 w 6226010"/>
              <a:gd name="connsiteY5713" fmla="*/ 1222918 h 5756219"/>
              <a:gd name="connsiteX5714" fmla="*/ 1943080 w 6226010"/>
              <a:gd name="connsiteY5714" fmla="*/ 1222918 h 5756219"/>
              <a:gd name="connsiteX5715" fmla="*/ 1943080 w 6226010"/>
              <a:gd name="connsiteY5715" fmla="*/ 1209330 h 5756219"/>
              <a:gd name="connsiteX5716" fmla="*/ 1937645 w 6226010"/>
              <a:gd name="connsiteY5716" fmla="*/ 1209330 h 5756219"/>
              <a:gd name="connsiteX5717" fmla="*/ 1464783 w 6226010"/>
              <a:gd name="connsiteY5717" fmla="*/ 1206611 h 5756219"/>
              <a:gd name="connsiteX5718" fmla="*/ 1467501 w 6226010"/>
              <a:gd name="connsiteY5718" fmla="*/ 1212047 h 5756219"/>
              <a:gd name="connsiteX5719" fmla="*/ 1467501 w 6226010"/>
              <a:gd name="connsiteY5719" fmla="*/ 1206611 h 5756219"/>
              <a:gd name="connsiteX5720" fmla="*/ 1464783 w 6226010"/>
              <a:gd name="connsiteY5720" fmla="*/ 1206611 h 5756219"/>
              <a:gd name="connsiteX5721" fmla="*/ 1549029 w 6226010"/>
              <a:gd name="connsiteY5721" fmla="*/ 1203895 h 5756219"/>
              <a:gd name="connsiteX5722" fmla="*/ 1565334 w 6226010"/>
              <a:gd name="connsiteY5722" fmla="*/ 1209330 h 5756219"/>
              <a:gd name="connsiteX5723" fmla="*/ 1565334 w 6226010"/>
              <a:gd name="connsiteY5723" fmla="*/ 1206611 h 5756219"/>
              <a:gd name="connsiteX5724" fmla="*/ 1549029 w 6226010"/>
              <a:gd name="connsiteY5724" fmla="*/ 1203895 h 5756219"/>
              <a:gd name="connsiteX5725" fmla="*/ 1464783 w 6226010"/>
              <a:gd name="connsiteY5725" fmla="*/ 1201177 h 5756219"/>
              <a:gd name="connsiteX5726" fmla="*/ 1467501 w 6226010"/>
              <a:gd name="connsiteY5726" fmla="*/ 1203895 h 5756219"/>
              <a:gd name="connsiteX5727" fmla="*/ 1467501 w 6226010"/>
              <a:gd name="connsiteY5727" fmla="*/ 1201177 h 5756219"/>
              <a:gd name="connsiteX5728" fmla="*/ 1464783 w 6226010"/>
              <a:gd name="connsiteY5728" fmla="*/ 1201177 h 5756219"/>
              <a:gd name="connsiteX5729" fmla="*/ 1524570 w 6226010"/>
              <a:gd name="connsiteY5729" fmla="*/ 1198459 h 5756219"/>
              <a:gd name="connsiteX5730" fmla="*/ 1491959 w 6226010"/>
              <a:gd name="connsiteY5730" fmla="*/ 1212047 h 5756219"/>
              <a:gd name="connsiteX5731" fmla="*/ 1491959 w 6226010"/>
              <a:gd name="connsiteY5731" fmla="*/ 1214765 h 5756219"/>
              <a:gd name="connsiteX5732" fmla="*/ 1527288 w 6226010"/>
              <a:gd name="connsiteY5732" fmla="*/ 1201177 h 5756219"/>
              <a:gd name="connsiteX5733" fmla="*/ 1524570 w 6226010"/>
              <a:gd name="connsiteY5733" fmla="*/ 1198459 h 5756219"/>
              <a:gd name="connsiteX5734" fmla="*/ 3168715 w 6226010"/>
              <a:gd name="connsiteY5734" fmla="*/ 1195742 h 5756219"/>
              <a:gd name="connsiteX5735" fmla="*/ 3144257 w 6226010"/>
              <a:gd name="connsiteY5735" fmla="*/ 1201177 h 5756219"/>
              <a:gd name="connsiteX5736" fmla="*/ 3144257 w 6226010"/>
              <a:gd name="connsiteY5736" fmla="*/ 1206611 h 5756219"/>
              <a:gd name="connsiteX5737" fmla="*/ 3171433 w 6226010"/>
              <a:gd name="connsiteY5737" fmla="*/ 1201177 h 5756219"/>
              <a:gd name="connsiteX5738" fmla="*/ 3168715 w 6226010"/>
              <a:gd name="connsiteY5738" fmla="*/ 1195742 h 5756219"/>
              <a:gd name="connsiteX5739" fmla="*/ 1464783 w 6226010"/>
              <a:gd name="connsiteY5739" fmla="*/ 1195742 h 5756219"/>
              <a:gd name="connsiteX5740" fmla="*/ 1467501 w 6226010"/>
              <a:gd name="connsiteY5740" fmla="*/ 1198459 h 5756219"/>
              <a:gd name="connsiteX5741" fmla="*/ 1467501 w 6226010"/>
              <a:gd name="connsiteY5741" fmla="*/ 1195742 h 5756219"/>
              <a:gd name="connsiteX5742" fmla="*/ 1464783 w 6226010"/>
              <a:gd name="connsiteY5742" fmla="*/ 1195742 h 5756219"/>
              <a:gd name="connsiteX5743" fmla="*/ 5410731 w 6226010"/>
              <a:gd name="connsiteY5743" fmla="*/ 1184871 h 5756219"/>
              <a:gd name="connsiteX5744" fmla="*/ 5369968 w 6226010"/>
              <a:gd name="connsiteY5744" fmla="*/ 1193024 h 5756219"/>
              <a:gd name="connsiteX5745" fmla="*/ 5380838 w 6226010"/>
              <a:gd name="connsiteY5745" fmla="*/ 1217482 h 5756219"/>
              <a:gd name="connsiteX5746" fmla="*/ 5399861 w 6226010"/>
              <a:gd name="connsiteY5746" fmla="*/ 1206611 h 5756219"/>
              <a:gd name="connsiteX5747" fmla="*/ 5421602 w 6226010"/>
              <a:gd name="connsiteY5747" fmla="*/ 1222918 h 5756219"/>
              <a:gd name="connsiteX5748" fmla="*/ 5440625 w 6226010"/>
              <a:gd name="connsiteY5748" fmla="*/ 1203895 h 5756219"/>
              <a:gd name="connsiteX5749" fmla="*/ 5410731 w 6226010"/>
              <a:gd name="connsiteY5749" fmla="*/ 1184871 h 5756219"/>
              <a:gd name="connsiteX5750" fmla="*/ 4742203 w 6226010"/>
              <a:gd name="connsiteY5750" fmla="*/ 1179436 h 5756219"/>
              <a:gd name="connsiteX5751" fmla="*/ 4758509 w 6226010"/>
              <a:gd name="connsiteY5751" fmla="*/ 1190306 h 5756219"/>
              <a:gd name="connsiteX5752" fmla="*/ 4758509 w 6226010"/>
              <a:gd name="connsiteY5752" fmla="*/ 1212047 h 5756219"/>
              <a:gd name="connsiteX5753" fmla="*/ 4742203 w 6226010"/>
              <a:gd name="connsiteY5753" fmla="*/ 1220200 h 5756219"/>
              <a:gd name="connsiteX5754" fmla="*/ 4750356 w 6226010"/>
              <a:gd name="connsiteY5754" fmla="*/ 1236506 h 5756219"/>
              <a:gd name="connsiteX5755" fmla="*/ 4734050 w 6226010"/>
              <a:gd name="connsiteY5755" fmla="*/ 1236506 h 5756219"/>
              <a:gd name="connsiteX5756" fmla="*/ 4734050 w 6226010"/>
              <a:gd name="connsiteY5756" fmla="*/ 1258246 h 5756219"/>
              <a:gd name="connsiteX5757" fmla="*/ 4723180 w 6226010"/>
              <a:gd name="connsiteY5757" fmla="*/ 1299009 h 5756219"/>
              <a:gd name="connsiteX5758" fmla="*/ 4717745 w 6226010"/>
              <a:gd name="connsiteY5758" fmla="*/ 1282705 h 5756219"/>
              <a:gd name="connsiteX5759" fmla="*/ 4709592 w 6226010"/>
              <a:gd name="connsiteY5759" fmla="*/ 1304444 h 5756219"/>
              <a:gd name="connsiteX5760" fmla="*/ 4693286 w 6226010"/>
              <a:gd name="connsiteY5760" fmla="*/ 1337055 h 5756219"/>
              <a:gd name="connsiteX5761" fmla="*/ 4663393 w 6226010"/>
              <a:gd name="connsiteY5761" fmla="*/ 1320751 h 5756219"/>
              <a:gd name="connsiteX5762" fmla="*/ 4663393 w 6226010"/>
              <a:gd name="connsiteY5762" fmla="*/ 1350644 h 5756219"/>
              <a:gd name="connsiteX5763" fmla="*/ 4671545 w 6226010"/>
              <a:gd name="connsiteY5763" fmla="*/ 1366950 h 5756219"/>
              <a:gd name="connsiteX5764" fmla="*/ 4663393 w 6226010"/>
              <a:gd name="connsiteY5764" fmla="*/ 1366950 h 5756219"/>
              <a:gd name="connsiteX5765" fmla="*/ 4687851 w 6226010"/>
              <a:gd name="connsiteY5765" fmla="*/ 1369668 h 5756219"/>
              <a:gd name="connsiteX5766" fmla="*/ 4693286 w 6226010"/>
              <a:gd name="connsiteY5766" fmla="*/ 1396844 h 5756219"/>
              <a:gd name="connsiteX5767" fmla="*/ 4701439 w 6226010"/>
              <a:gd name="connsiteY5767" fmla="*/ 1396844 h 5756219"/>
              <a:gd name="connsiteX5768" fmla="*/ 4731333 w 6226010"/>
              <a:gd name="connsiteY5768" fmla="*/ 1391407 h 5756219"/>
              <a:gd name="connsiteX5769" fmla="*/ 4728615 w 6226010"/>
              <a:gd name="connsiteY5769" fmla="*/ 1334339 h 5756219"/>
              <a:gd name="connsiteX5770" fmla="*/ 4742203 w 6226010"/>
              <a:gd name="connsiteY5770" fmla="*/ 1342491 h 5756219"/>
              <a:gd name="connsiteX5771" fmla="*/ 4736768 w 6226010"/>
              <a:gd name="connsiteY5771" fmla="*/ 1377819 h 5756219"/>
              <a:gd name="connsiteX5772" fmla="*/ 4769379 w 6226010"/>
              <a:gd name="connsiteY5772" fmla="*/ 1309881 h 5756219"/>
              <a:gd name="connsiteX5773" fmla="*/ 4744921 w 6226010"/>
              <a:gd name="connsiteY5773" fmla="*/ 1304444 h 5756219"/>
              <a:gd name="connsiteX5774" fmla="*/ 4750356 w 6226010"/>
              <a:gd name="connsiteY5774" fmla="*/ 1293574 h 5756219"/>
              <a:gd name="connsiteX5775" fmla="*/ 4788402 w 6226010"/>
              <a:gd name="connsiteY5775" fmla="*/ 1290857 h 5756219"/>
              <a:gd name="connsiteX5776" fmla="*/ 4845472 w 6226010"/>
              <a:gd name="connsiteY5776" fmla="*/ 1247376 h 5756219"/>
              <a:gd name="connsiteX5777" fmla="*/ 4758509 w 6226010"/>
              <a:gd name="connsiteY5777" fmla="*/ 1179436 h 5756219"/>
              <a:gd name="connsiteX5778" fmla="*/ 4742203 w 6226010"/>
              <a:gd name="connsiteY5778" fmla="*/ 1179436 h 5756219"/>
              <a:gd name="connsiteX5779" fmla="*/ 4717745 w 6226010"/>
              <a:gd name="connsiteY5779" fmla="*/ 1179436 h 5756219"/>
              <a:gd name="connsiteX5780" fmla="*/ 4717745 w 6226010"/>
              <a:gd name="connsiteY5780" fmla="*/ 1206611 h 5756219"/>
              <a:gd name="connsiteX5781" fmla="*/ 4734050 w 6226010"/>
              <a:gd name="connsiteY5781" fmla="*/ 1190306 h 5756219"/>
              <a:gd name="connsiteX5782" fmla="*/ 4725897 w 6226010"/>
              <a:gd name="connsiteY5782" fmla="*/ 1179436 h 5756219"/>
              <a:gd name="connsiteX5783" fmla="*/ 4717745 w 6226010"/>
              <a:gd name="connsiteY5783" fmla="*/ 1179436 h 5756219"/>
              <a:gd name="connsiteX5784" fmla="*/ 1937645 w 6226010"/>
              <a:gd name="connsiteY5784" fmla="*/ 1179436 h 5756219"/>
              <a:gd name="connsiteX5785" fmla="*/ 1937645 w 6226010"/>
              <a:gd name="connsiteY5785" fmla="*/ 1190306 h 5756219"/>
              <a:gd name="connsiteX5786" fmla="*/ 1943080 w 6226010"/>
              <a:gd name="connsiteY5786" fmla="*/ 1190306 h 5756219"/>
              <a:gd name="connsiteX5787" fmla="*/ 1943080 w 6226010"/>
              <a:gd name="connsiteY5787" fmla="*/ 1179436 h 5756219"/>
              <a:gd name="connsiteX5788" fmla="*/ 1937645 w 6226010"/>
              <a:gd name="connsiteY5788" fmla="*/ 1179436 h 5756219"/>
              <a:gd name="connsiteX5789" fmla="*/ 1464783 w 6226010"/>
              <a:gd name="connsiteY5789" fmla="*/ 1179436 h 5756219"/>
              <a:gd name="connsiteX5790" fmla="*/ 1467501 w 6226010"/>
              <a:gd name="connsiteY5790" fmla="*/ 1187589 h 5756219"/>
              <a:gd name="connsiteX5791" fmla="*/ 1467501 w 6226010"/>
              <a:gd name="connsiteY5791" fmla="*/ 1179436 h 5756219"/>
              <a:gd name="connsiteX5792" fmla="*/ 1464783 w 6226010"/>
              <a:gd name="connsiteY5792" fmla="*/ 1179436 h 5756219"/>
              <a:gd name="connsiteX5793" fmla="*/ 2913261 w 6226010"/>
              <a:gd name="connsiteY5793" fmla="*/ 1177256 h 5756219"/>
              <a:gd name="connsiteX5794" fmla="*/ 2913261 w 6226010"/>
              <a:gd name="connsiteY5794" fmla="*/ 1187479 h 5756219"/>
              <a:gd name="connsiteX5795" fmla="*/ 2880651 w 6226010"/>
              <a:gd name="connsiteY5795" fmla="*/ 1193379 h 5756219"/>
              <a:gd name="connsiteX5796" fmla="*/ 2880651 w 6226010"/>
              <a:gd name="connsiteY5796" fmla="*/ 1183255 h 5756219"/>
              <a:gd name="connsiteX5797" fmla="*/ 1527288 w 6226010"/>
              <a:gd name="connsiteY5797" fmla="*/ 1174001 h 5756219"/>
              <a:gd name="connsiteX5798" fmla="*/ 1491959 w 6226010"/>
              <a:gd name="connsiteY5798" fmla="*/ 1184871 h 5756219"/>
              <a:gd name="connsiteX5799" fmla="*/ 1491959 w 6226010"/>
              <a:gd name="connsiteY5799" fmla="*/ 1187589 h 5756219"/>
              <a:gd name="connsiteX5800" fmla="*/ 1527288 w 6226010"/>
              <a:gd name="connsiteY5800" fmla="*/ 1174001 h 5756219"/>
              <a:gd name="connsiteX5801" fmla="*/ 1540876 w 6226010"/>
              <a:gd name="connsiteY5801" fmla="*/ 1169995 h 5756219"/>
              <a:gd name="connsiteX5802" fmla="*/ 1543593 w 6226010"/>
              <a:gd name="connsiteY5802" fmla="*/ 1170711 h 5756219"/>
              <a:gd name="connsiteX5803" fmla="*/ 1543593 w 6226010"/>
              <a:gd name="connsiteY5803" fmla="*/ 1171282 h 5756219"/>
              <a:gd name="connsiteX5804" fmla="*/ 1540876 w 6226010"/>
              <a:gd name="connsiteY5804" fmla="*/ 1171282 h 5756219"/>
              <a:gd name="connsiteX5805" fmla="*/ 5062879 w 6226010"/>
              <a:gd name="connsiteY5805" fmla="*/ 1168565 h 5756219"/>
              <a:gd name="connsiteX5806" fmla="*/ 5106361 w 6226010"/>
              <a:gd name="connsiteY5806" fmla="*/ 1244658 h 5756219"/>
              <a:gd name="connsiteX5807" fmla="*/ 5092773 w 6226010"/>
              <a:gd name="connsiteY5807" fmla="*/ 1206611 h 5756219"/>
              <a:gd name="connsiteX5808" fmla="*/ 5062879 w 6226010"/>
              <a:gd name="connsiteY5808" fmla="*/ 1168565 h 5756219"/>
              <a:gd name="connsiteX5809" fmla="*/ 3242091 w 6226010"/>
              <a:gd name="connsiteY5809" fmla="*/ 1157694 h 5756219"/>
              <a:gd name="connsiteX5810" fmla="*/ 3220349 w 6226010"/>
              <a:gd name="connsiteY5810" fmla="*/ 1160412 h 5756219"/>
              <a:gd name="connsiteX5811" fmla="*/ 3242091 w 6226010"/>
              <a:gd name="connsiteY5811" fmla="*/ 1165848 h 5756219"/>
              <a:gd name="connsiteX5812" fmla="*/ 3242091 w 6226010"/>
              <a:gd name="connsiteY5812" fmla="*/ 1157694 h 5756219"/>
              <a:gd name="connsiteX5813" fmla="*/ 1540876 w 6226010"/>
              <a:gd name="connsiteY5813" fmla="*/ 1154977 h 5756219"/>
              <a:gd name="connsiteX5814" fmla="*/ 1540876 w 6226010"/>
              <a:gd name="connsiteY5814" fmla="*/ 1169995 h 5756219"/>
              <a:gd name="connsiteX5815" fmla="*/ 1535441 w 6226010"/>
              <a:gd name="connsiteY5815" fmla="*/ 1168565 h 5756219"/>
              <a:gd name="connsiteX5816" fmla="*/ 1535441 w 6226010"/>
              <a:gd name="connsiteY5816" fmla="*/ 1171282 h 5756219"/>
              <a:gd name="connsiteX5817" fmla="*/ 1543593 w 6226010"/>
              <a:gd name="connsiteY5817" fmla="*/ 1174001 h 5756219"/>
              <a:gd name="connsiteX5818" fmla="*/ 1543593 w 6226010"/>
              <a:gd name="connsiteY5818" fmla="*/ 1182153 h 5756219"/>
              <a:gd name="connsiteX5819" fmla="*/ 1546311 w 6226010"/>
              <a:gd name="connsiteY5819" fmla="*/ 1182153 h 5756219"/>
              <a:gd name="connsiteX5820" fmla="*/ 1546311 w 6226010"/>
              <a:gd name="connsiteY5820" fmla="*/ 1176719 h 5756219"/>
              <a:gd name="connsiteX5821" fmla="*/ 1584357 w 6226010"/>
              <a:gd name="connsiteY5821" fmla="*/ 1187589 h 5756219"/>
              <a:gd name="connsiteX5822" fmla="*/ 1587075 w 6226010"/>
              <a:gd name="connsiteY5822" fmla="*/ 1182153 h 5756219"/>
              <a:gd name="connsiteX5823" fmla="*/ 1543593 w 6226010"/>
              <a:gd name="connsiteY5823" fmla="*/ 1170711 h 5756219"/>
              <a:gd name="connsiteX5824" fmla="*/ 1543593 w 6226010"/>
              <a:gd name="connsiteY5824" fmla="*/ 1154977 h 5756219"/>
              <a:gd name="connsiteX5825" fmla="*/ 1540876 w 6226010"/>
              <a:gd name="connsiteY5825" fmla="*/ 1154977 h 5756219"/>
              <a:gd name="connsiteX5826" fmla="*/ 1940362 w 6226010"/>
              <a:gd name="connsiteY5826" fmla="*/ 1152259 h 5756219"/>
              <a:gd name="connsiteX5827" fmla="*/ 1937645 w 6226010"/>
              <a:gd name="connsiteY5827" fmla="*/ 1165848 h 5756219"/>
              <a:gd name="connsiteX5828" fmla="*/ 1943080 w 6226010"/>
              <a:gd name="connsiteY5828" fmla="*/ 1165848 h 5756219"/>
              <a:gd name="connsiteX5829" fmla="*/ 1940362 w 6226010"/>
              <a:gd name="connsiteY5829" fmla="*/ 1152259 h 5756219"/>
              <a:gd name="connsiteX5830" fmla="*/ 5139142 w 6226010"/>
              <a:gd name="connsiteY5830" fmla="*/ 1145042 h 5756219"/>
              <a:gd name="connsiteX5831" fmla="*/ 5103643 w 6226010"/>
              <a:gd name="connsiteY5831" fmla="*/ 1154977 h 5756219"/>
              <a:gd name="connsiteX5832" fmla="*/ 5114513 w 6226010"/>
              <a:gd name="connsiteY5832" fmla="*/ 1168565 h 5756219"/>
              <a:gd name="connsiteX5833" fmla="*/ 5144407 w 6226010"/>
              <a:gd name="connsiteY5833" fmla="*/ 1222918 h 5756219"/>
              <a:gd name="connsiteX5834" fmla="*/ 5177018 w 6226010"/>
              <a:gd name="connsiteY5834" fmla="*/ 1165848 h 5756219"/>
              <a:gd name="connsiteX5835" fmla="*/ 5174300 w 6226010"/>
              <a:gd name="connsiteY5835" fmla="*/ 1203895 h 5756219"/>
              <a:gd name="connsiteX5836" fmla="*/ 5139142 w 6226010"/>
              <a:gd name="connsiteY5836" fmla="*/ 1145042 h 5756219"/>
              <a:gd name="connsiteX5837" fmla="*/ 5261264 w 6226010"/>
              <a:gd name="connsiteY5837" fmla="*/ 1141389 h 5756219"/>
              <a:gd name="connsiteX5838" fmla="*/ 5231370 w 6226010"/>
              <a:gd name="connsiteY5838" fmla="*/ 1163130 h 5756219"/>
              <a:gd name="connsiteX5839" fmla="*/ 5266699 w 6226010"/>
              <a:gd name="connsiteY5839" fmla="*/ 1154977 h 5756219"/>
              <a:gd name="connsiteX5840" fmla="*/ 5261264 w 6226010"/>
              <a:gd name="connsiteY5840" fmla="*/ 1141389 h 5756219"/>
              <a:gd name="connsiteX5841" fmla="*/ 4755791 w 6226010"/>
              <a:gd name="connsiteY5841" fmla="*/ 1141389 h 5756219"/>
              <a:gd name="connsiteX5842" fmla="*/ 4755791 w 6226010"/>
              <a:gd name="connsiteY5842" fmla="*/ 1152259 h 5756219"/>
              <a:gd name="connsiteX5843" fmla="*/ 4777532 w 6226010"/>
              <a:gd name="connsiteY5843" fmla="*/ 1152259 h 5756219"/>
              <a:gd name="connsiteX5844" fmla="*/ 4755791 w 6226010"/>
              <a:gd name="connsiteY5844" fmla="*/ 1160412 h 5756219"/>
              <a:gd name="connsiteX5845" fmla="*/ 4739485 w 6226010"/>
              <a:gd name="connsiteY5845" fmla="*/ 1160412 h 5756219"/>
              <a:gd name="connsiteX5846" fmla="*/ 4747638 w 6226010"/>
              <a:gd name="connsiteY5846" fmla="*/ 1144106 h 5756219"/>
              <a:gd name="connsiteX5847" fmla="*/ 4731333 w 6226010"/>
              <a:gd name="connsiteY5847" fmla="*/ 1144106 h 5756219"/>
              <a:gd name="connsiteX5848" fmla="*/ 4739485 w 6226010"/>
              <a:gd name="connsiteY5848" fmla="*/ 1160412 h 5756219"/>
              <a:gd name="connsiteX5849" fmla="*/ 4736768 w 6226010"/>
              <a:gd name="connsiteY5849" fmla="*/ 1165848 h 5756219"/>
              <a:gd name="connsiteX5850" fmla="*/ 4755791 w 6226010"/>
              <a:gd name="connsiteY5850" fmla="*/ 1174001 h 5756219"/>
              <a:gd name="connsiteX5851" fmla="*/ 4826449 w 6226010"/>
              <a:gd name="connsiteY5851" fmla="*/ 1171282 h 5756219"/>
              <a:gd name="connsiteX5852" fmla="*/ 4840037 w 6226010"/>
              <a:gd name="connsiteY5852" fmla="*/ 1184871 h 5756219"/>
              <a:gd name="connsiteX5853" fmla="*/ 4815578 w 6226010"/>
              <a:gd name="connsiteY5853" fmla="*/ 1206611 h 5756219"/>
              <a:gd name="connsiteX5854" fmla="*/ 4834601 w 6226010"/>
              <a:gd name="connsiteY5854" fmla="*/ 1209330 h 5756219"/>
              <a:gd name="connsiteX5855" fmla="*/ 4823731 w 6226010"/>
              <a:gd name="connsiteY5855" fmla="*/ 1149542 h 5756219"/>
              <a:gd name="connsiteX5856" fmla="*/ 4812861 w 6226010"/>
              <a:gd name="connsiteY5856" fmla="*/ 1163130 h 5756219"/>
              <a:gd name="connsiteX5857" fmla="*/ 4755791 w 6226010"/>
              <a:gd name="connsiteY5857" fmla="*/ 1141389 h 5756219"/>
              <a:gd name="connsiteX5858" fmla="*/ 1532723 w 6226010"/>
              <a:gd name="connsiteY5858" fmla="*/ 1141389 h 5756219"/>
              <a:gd name="connsiteX5859" fmla="*/ 1532723 w 6226010"/>
              <a:gd name="connsiteY5859" fmla="*/ 1144106 h 5756219"/>
              <a:gd name="connsiteX5860" fmla="*/ 1600663 w 6226010"/>
              <a:gd name="connsiteY5860" fmla="*/ 1160412 h 5756219"/>
              <a:gd name="connsiteX5861" fmla="*/ 1600663 w 6226010"/>
              <a:gd name="connsiteY5861" fmla="*/ 1157694 h 5756219"/>
              <a:gd name="connsiteX5862" fmla="*/ 1532723 w 6226010"/>
              <a:gd name="connsiteY5862" fmla="*/ 1141389 h 5756219"/>
              <a:gd name="connsiteX5863" fmla="*/ 1527288 w 6226010"/>
              <a:gd name="connsiteY5863" fmla="*/ 1141389 h 5756219"/>
              <a:gd name="connsiteX5864" fmla="*/ 1497394 w 6226010"/>
              <a:gd name="connsiteY5864" fmla="*/ 1149542 h 5756219"/>
              <a:gd name="connsiteX5865" fmla="*/ 1497394 w 6226010"/>
              <a:gd name="connsiteY5865" fmla="*/ 1152259 h 5756219"/>
              <a:gd name="connsiteX5866" fmla="*/ 1527288 w 6226010"/>
              <a:gd name="connsiteY5866" fmla="*/ 1141389 h 5756219"/>
              <a:gd name="connsiteX5867" fmla="*/ 5622703 w 6226010"/>
              <a:gd name="connsiteY5867" fmla="*/ 1119648 h 5756219"/>
              <a:gd name="connsiteX5868" fmla="*/ 5615909 w 6226010"/>
              <a:gd name="connsiteY5868" fmla="*/ 1129839 h 5756219"/>
              <a:gd name="connsiteX5869" fmla="*/ 5612864 w 6226010"/>
              <a:gd name="connsiteY5869" fmla="*/ 1131085 h 5756219"/>
              <a:gd name="connsiteX5870" fmla="*/ 5611833 w 6226010"/>
              <a:gd name="connsiteY5870" fmla="*/ 1130518 h 5756219"/>
              <a:gd name="connsiteX5871" fmla="*/ 5614211 w 6226010"/>
              <a:gd name="connsiteY5871" fmla="*/ 1121555 h 5756219"/>
              <a:gd name="connsiteX5872" fmla="*/ 5032986 w 6226010"/>
              <a:gd name="connsiteY5872" fmla="*/ 1108779 h 5756219"/>
              <a:gd name="connsiteX5873" fmla="*/ 4929717 w 6226010"/>
              <a:gd name="connsiteY5873" fmla="*/ 1138671 h 5756219"/>
              <a:gd name="connsiteX5874" fmla="*/ 4875365 w 6226010"/>
              <a:gd name="connsiteY5874" fmla="*/ 1233788 h 5756219"/>
              <a:gd name="connsiteX5875" fmla="*/ 4940588 w 6226010"/>
              <a:gd name="connsiteY5875" fmla="*/ 1222918 h 5756219"/>
              <a:gd name="connsiteX5876" fmla="*/ 4937870 w 6226010"/>
              <a:gd name="connsiteY5876" fmla="*/ 1165848 h 5756219"/>
              <a:gd name="connsiteX5877" fmla="*/ 4954176 w 6226010"/>
              <a:gd name="connsiteY5877" fmla="*/ 1171282 h 5756219"/>
              <a:gd name="connsiteX5878" fmla="*/ 4951458 w 6226010"/>
              <a:gd name="connsiteY5878" fmla="*/ 1160412 h 5756219"/>
              <a:gd name="connsiteX5879" fmla="*/ 4981351 w 6226010"/>
              <a:gd name="connsiteY5879" fmla="*/ 1146824 h 5756219"/>
              <a:gd name="connsiteX5880" fmla="*/ 4992222 w 6226010"/>
              <a:gd name="connsiteY5880" fmla="*/ 1154977 h 5756219"/>
              <a:gd name="connsiteX5881" fmla="*/ 4946023 w 6226010"/>
              <a:gd name="connsiteY5881" fmla="*/ 1214765 h 5756219"/>
              <a:gd name="connsiteX5882" fmla="*/ 4981351 w 6226010"/>
              <a:gd name="connsiteY5882" fmla="*/ 1214765 h 5756219"/>
              <a:gd name="connsiteX5883" fmla="*/ 4962328 w 6226010"/>
              <a:gd name="connsiteY5883" fmla="*/ 1222918 h 5756219"/>
              <a:gd name="connsiteX5884" fmla="*/ 5011245 w 6226010"/>
              <a:gd name="connsiteY5884" fmla="*/ 1190306 h 5756219"/>
              <a:gd name="connsiteX5885" fmla="*/ 5030268 w 6226010"/>
              <a:gd name="connsiteY5885" fmla="*/ 1187589 h 5756219"/>
              <a:gd name="connsiteX5886" fmla="*/ 4992222 w 6226010"/>
              <a:gd name="connsiteY5886" fmla="*/ 1233788 h 5756219"/>
              <a:gd name="connsiteX5887" fmla="*/ 5046574 w 6226010"/>
              <a:gd name="connsiteY5887" fmla="*/ 1247376 h 5756219"/>
              <a:gd name="connsiteX5888" fmla="*/ 5030268 w 6226010"/>
              <a:gd name="connsiteY5888" fmla="*/ 1203895 h 5756219"/>
              <a:gd name="connsiteX5889" fmla="*/ 5046574 w 6226010"/>
              <a:gd name="connsiteY5889" fmla="*/ 1184871 h 5756219"/>
              <a:gd name="connsiteX5890" fmla="*/ 5060162 w 6226010"/>
              <a:gd name="connsiteY5890" fmla="*/ 1209330 h 5756219"/>
              <a:gd name="connsiteX5891" fmla="*/ 5032986 w 6226010"/>
              <a:gd name="connsiteY5891" fmla="*/ 1135954 h 5756219"/>
              <a:gd name="connsiteX5892" fmla="*/ 5003092 w 6226010"/>
              <a:gd name="connsiteY5892" fmla="*/ 1163130 h 5756219"/>
              <a:gd name="connsiteX5893" fmla="*/ 5008527 w 6226010"/>
              <a:gd name="connsiteY5893" fmla="*/ 1184871 h 5756219"/>
              <a:gd name="connsiteX5894" fmla="*/ 5005810 w 6226010"/>
              <a:gd name="connsiteY5894" fmla="*/ 1133237 h 5756219"/>
              <a:gd name="connsiteX5895" fmla="*/ 4992222 w 6226010"/>
              <a:gd name="connsiteY5895" fmla="*/ 1119648 h 5756219"/>
              <a:gd name="connsiteX5896" fmla="*/ 5008527 w 6226010"/>
              <a:gd name="connsiteY5896" fmla="*/ 1135954 h 5756219"/>
              <a:gd name="connsiteX5897" fmla="*/ 5032986 w 6226010"/>
              <a:gd name="connsiteY5897" fmla="*/ 1108779 h 5756219"/>
              <a:gd name="connsiteX5898" fmla="*/ 5511282 w 6226010"/>
              <a:gd name="connsiteY5898" fmla="*/ 1106060 h 5756219"/>
              <a:gd name="connsiteX5899" fmla="*/ 5514000 w 6226010"/>
              <a:gd name="connsiteY5899" fmla="*/ 1125083 h 5756219"/>
              <a:gd name="connsiteX5900" fmla="*/ 5496336 w 6226010"/>
              <a:gd name="connsiteY5900" fmla="*/ 1121007 h 5756219"/>
              <a:gd name="connsiteX5901" fmla="*/ 5481282 w 6226010"/>
              <a:gd name="connsiteY5901" fmla="*/ 1131428 h 5756219"/>
              <a:gd name="connsiteX5902" fmla="*/ 5474807 w 6226010"/>
              <a:gd name="connsiteY5902" fmla="*/ 1121049 h 5756219"/>
              <a:gd name="connsiteX5903" fmla="*/ 5473569 w 6226010"/>
              <a:gd name="connsiteY5903" fmla="*/ 1120481 h 5756219"/>
              <a:gd name="connsiteX5904" fmla="*/ 5473236 w 6226010"/>
              <a:gd name="connsiteY5904" fmla="*/ 1119648 h 5756219"/>
              <a:gd name="connsiteX5905" fmla="*/ 5472255 w 6226010"/>
              <a:gd name="connsiteY5905" fmla="*/ 1119877 h 5756219"/>
              <a:gd name="connsiteX5906" fmla="*/ 5463943 w 6226010"/>
              <a:gd name="connsiteY5906" fmla="*/ 1116058 h 5756219"/>
              <a:gd name="connsiteX5907" fmla="*/ 5472896 w 6226010"/>
              <a:gd name="connsiteY5907" fmla="*/ 1113194 h 5756219"/>
              <a:gd name="connsiteX5908" fmla="*/ 5511282 w 6226010"/>
              <a:gd name="connsiteY5908" fmla="*/ 1106060 h 5756219"/>
              <a:gd name="connsiteX5909" fmla="*/ 5437694 w 6226010"/>
              <a:gd name="connsiteY5909" fmla="*/ 1098127 h 5756219"/>
              <a:gd name="connsiteX5910" fmla="*/ 5437228 w 6226010"/>
              <a:gd name="connsiteY5910" fmla="*/ 1110476 h 5756219"/>
              <a:gd name="connsiteX5911" fmla="*/ 5437563 w 6226010"/>
              <a:gd name="connsiteY5911" fmla="*/ 1112452 h 5756219"/>
              <a:gd name="connsiteX5912" fmla="*/ 5427037 w 6226010"/>
              <a:gd name="connsiteY5912" fmla="*/ 1111495 h 5756219"/>
              <a:gd name="connsiteX5913" fmla="*/ 5383556 w 6226010"/>
              <a:gd name="connsiteY5913" fmla="*/ 1095190 h 5756219"/>
              <a:gd name="connsiteX5914" fmla="*/ 5353662 w 6226010"/>
              <a:gd name="connsiteY5914" fmla="*/ 1111495 h 5756219"/>
              <a:gd name="connsiteX5915" fmla="*/ 5356380 w 6226010"/>
              <a:gd name="connsiteY5915" fmla="*/ 1125083 h 5756219"/>
              <a:gd name="connsiteX5916" fmla="*/ 5231370 w 6226010"/>
              <a:gd name="connsiteY5916" fmla="*/ 1187589 h 5756219"/>
              <a:gd name="connsiteX5917" fmla="*/ 5236805 w 6226010"/>
              <a:gd name="connsiteY5917" fmla="*/ 1201177 h 5756219"/>
              <a:gd name="connsiteX5918" fmla="*/ 5372685 w 6226010"/>
              <a:gd name="connsiteY5918" fmla="*/ 1152259 h 5756219"/>
              <a:gd name="connsiteX5919" fmla="*/ 5383556 w 6226010"/>
              <a:gd name="connsiteY5919" fmla="*/ 1095190 h 5756219"/>
              <a:gd name="connsiteX5920" fmla="*/ 5255828 w 6226010"/>
              <a:gd name="connsiteY5920" fmla="*/ 1095190 h 5756219"/>
              <a:gd name="connsiteX5921" fmla="*/ 5242240 w 6226010"/>
              <a:gd name="connsiteY5921" fmla="*/ 1133237 h 5756219"/>
              <a:gd name="connsiteX5922" fmla="*/ 5253111 w 6226010"/>
              <a:gd name="connsiteY5922" fmla="*/ 1127802 h 5756219"/>
              <a:gd name="connsiteX5923" fmla="*/ 5266699 w 6226010"/>
              <a:gd name="connsiteY5923" fmla="*/ 1103342 h 5756219"/>
              <a:gd name="connsiteX5924" fmla="*/ 5255828 w 6226010"/>
              <a:gd name="connsiteY5924" fmla="*/ 1095190 h 5756219"/>
              <a:gd name="connsiteX5925" fmla="*/ 1535441 w 6226010"/>
              <a:gd name="connsiteY5925" fmla="*/ 1095190 h 5756219"/>
              <a:gd name="connsiteX5926" fmla="*/ 1535441 w 6226010"/>
              <a:gd name="connsiteY5926" fmla="*/ 1100625 h 5756219"/>
              <a:gd name="connsiteX5927" fmla="*/ 1543593 w 6226010"/>
              <a:gd name="connsiteY5927" fmla="*/ 1103342 h 5756219"/>
              <a:gd name="connsiteX5928" fmla="*/ 1543593 w 6226010"/>
              <a:gd name="connsiteY5928" fmla="*/ 1108779 h 5756219"/>
              <a:gd name="connsiteX5929" fmla="*/ 1546311 w 6226010"/>
              <a:gd name="connsiteY5929" fmla="*/ 1108779 h 5756219"/>
              <a:gd name="connsiteX5930" fmla="*/ 1546311 w 6226010"/>
              <a:gd name="connsiteY5930" fmla="*/ 1106060 h 5756219"/>
              <a:gd name="connsiteX5931" fmla="*/ 1619686 w 6226010"/>
              <a:gd name="connsiteY5931" fmla="*/ 1125083 h 5756219"/>
              <a:gd name="connsiteX5932" fmla="*/ 1622404 w 6226010"/>
              <a:gd name="connsiteY5932" fmla="*/ 1116931 h 5756219"/>
              <a:gd name="connsiteX5933" fmla="*/ 1535441 w 6226010"/>
              <a:gd name="connsiteY5933" fmla="*/ 1095190 h 5756219"/>
              <a:gd name="connsiteX5934" fmla="*/ 5235491 w 6226010"/>
              <a:gd name="connsiteY5934" fmla="*/ 1079498 h 5756219"/>
              <a:gd name="connsiteX5935" fmla="*/ 5234088 w 6226010"/>
              <a:gd name="connsiteY5935" fmla="*/ 1081602 h 5756219"/>
              <a:gd name="connsiteX5936" fmla="*/ 5233828 w 6226010"/>
              <a:gd name="connsiteY5936" fmla="*/ 1080347 h 5756219"/>
              <a:gd name="connsiteX5937" fmla="*/ 5282181 w 6226010"/>
              <a:gd name="connsiteY5937" fmla="*/ 1078675 h 5756219"/>
              <a:gd name="connsiteX5938" fmla="*/ 5291072 w 6226010"/>
              <a:gd name="connsiteY5938" fmla="*/ 1082111 h 5756219"/>
              <a:gd name="connsiteX5939" fmla="*/ 5292260 w 6226010"/>
              <a:gd name="connsiteY5939" fmla="*/ 1084926 h 5756219"/>
              <a:gd name="connsiteX5940" fmla="*/ 4964927 w 6226010"/>
              <a:gd name="connsiteY5940" fmla="*/ 1076384 h 5756219"/>
              <a:gd name="connsiteX5941" fmla="*/ 4974218 w 6226010"/>
              <a:gd name="connsiteY5941" fmla="*/ 1077185 h 5756219"/>
              <a:gd name="connsiteX5942" fmla="*/ 4986999 w 6226010"/>
              <a:gd name="connsiteY5942" fmla="*/ 1079861 h 5756219"/>
              <a:gd name="connsiteX5943" fmla="*/ 4988514 w 6226010"/>
              <a:gd name="connsiteY5943" fmla="*/ 1082267 h 5756219"/>
              <a:gd name="connsiteX5944" fmla="*/ 4984748 w 6226010"/>
              <a:gd name="connsiteY5944" fmla="*/ 1082281 h 5756219"/>
              <a:gd name="connsiteX5945" fmla="*/ 1663168 w 6226010"/>
              <a:gd name="connsiteY5945" fmla="*/ 1076167 h 5756219"/>
              <a:gd name="connsiteX5946" fmla="*/ 1665885 w 6226010"/>
              <a:gd name="connsiteY5946" fmla="*/ 1081602 h 5756219"/>
              <a:gd name="connsiteX5947" fmla="*/ 1665885 w 6226010"/>
              <a:gd name="connsiteY5947" fmla="*/ 1076167 h 5756219"/>
              <a:gd name="connsiteX5948" fmla="*/ 1663168 w 6226010"/>
              <a:gd name="connsiteY5948" fmla="*/ 1076167 h 5756219"/>
              <a:gd name="connsiteX5949" fmla="*/ 4959654 w 6226010"/>
              <a:gd name="connsiteY5949" fmla="*/ 1074961 h 5756219"/>
              <a:gd name="connsiteX5950" fmla="*/ 4961054 w 6226010"/>
              <a:gd name="connsiteY5950" fmla="*/ 1075232 h 5756219"/>
              <a:gd name="connsiteX5951" fmla="*/ 4964927 w 6226010"/>
              <a:gd name="connsiteY5951" fmla="*/ 1076384 h 5756219"/>
              <a:gd name="connsiteX5952" fmla="*/ 4960927 w 6226010"/>
              <a:gd name="connsiteY5952" fmla="*/ 1076040 h 5756219"/>
              <a:gd name="connsiteX5953" fmla="*/ 5340583 w 6226010"/>
              <a:gd name="connsiteY5953" fmla="*/ 1073491 h 5756219"/>
              <a:gd name="connsiteX5954" fmla="*/ 5343431 w 6226010"/>
              <a:gd name="connsiteY5954" fmla="*/ 1075720 h 5756219"/>
              <a:gd name="connsiteX5955" fmla="*/ 5329204 w 6226010"/>
              <a:gd name="connsiteY5955" fmla="*/ 1087037 h 5756219"/>
              <a:gd name="connsiteX5956" fmla="*/ 5333559 w 6226010"/>
              <a:gd name="connsiteY5956" fmla="*/ 1089486 h 5756219"/>
              <a:gd name="connsiteX5957" fmla="*/ 5329925 w 6226010"/>
              <a:gd name="connsiteY5957" fmla="*/ 1096506 h 5756219"/>
              <a:gd name="connsiteX5958" fmla="*/ 5323768 w 6226010"/>
              <a:gd name="connsiteY5958" fmla="*/ 1100625 h 5756219"/>
              <a:gd name="connsiteX5959" fmla="*/ 5340583 w 6226010"/>
              <a:gd name="connsiteY5959" fmla="*/ 1073491 h 5756219"/>
              <a:gd name="connsiteX5960" fmla="*/ 2040913 w 6226010"/>
              <a:gd name="connsiteY5960" fmla="*/ 1070731 h 5756219"/>
              <a:gd name="connsiteX5961" fmla="*/ 2040913 w 6226010"/>
              <a:gd name="connsiteY5961" fmla="*/ 1114213 h 5756219"/>
              <a:gd name="connsiteX5962" fmla="*/ 2046348 w 6226010"/>
              <a:gd name="connsiteY5962" fmla="*/ 1111495 h 5756219"/>
              <a:gd name="connsiteX5963" fmla="*/ 2046348 w 6226010"/>
              <a:gd name="connsiteY5963" fmla="*/ 1070731 h 5756219"/>
              <a:gd name="connsiteX5964" fmla="*/ 2040913 w 6226010"/>
              <a:gd name="connsiteY5964" fmla="*/ 1070731 h 5756219"/>
              <a:gd name="connsiteX5965" fmla="*/ 5133536 w 6226010"/>
              <a:gd name="connsiteY5965" fmla="*/ 1068014 h 5756219"/>
              <a:gd name="connsiteX5966" fmla="*/ 5133536 w 6226010"/>
              <a:gd name="connsiteY5966" fmla="*/ 1092472 h 5756219"/>
              <a:gd name="connsiteX5967" fmla="*/ 5098208 w 6226010"/>
              <a:gd name="connsiteY5967" fmla="*/ 1092472 h 5756219"/>
              <a:gd name="connsiteX5968" fmla="*/ 5081902 w 6226010"/>
              <a:gd name="connsiteY5968" fmla="*/ 1111495 h 5756219"/>
              <a:gd name="connsiteX5969" fmla="*/ 5092773 w 6226010"/>
              <a:gd name="connsiteY5969" fmla="*/ 1130518 h 5756219"/>
              <a:gd name="connsiteX5970" fmla="*/ 5081902 w 6226010"/>
              <a:gd name="connsiteY5970" fmla="*/ 1144106 h 5756219"/>
              <a:gd name="connsiteX5971" fmla="*/ 5174300 w 6226010"/>
              <a:gd name="connsiteY5971" fmla="*/ 1141389 h 5756219"/>
              <a:gd name="connsiteX5972" fmla="*/ 5152560 w 6226010"/>
              <a:gd name="connsiteY5972" fmla="*/ 1114213 h 5756219"/>
              <a:gd name="connsiteX5973" fmla="*/ 5174300 w 6226010"/>
              <a:gd name="connsiteY5973" fmla="*/ 1119648 h 5756219"/>
              <a:gd name="connsiteX5974" fmla="*/ 5177018 w 6226010"/>
              <a:gd name="connsiteY5974" fmla="*/ 1092472 h 5756219"/>
              <a:gd name="connsiteX5975" fmla="*/ 5144407 w 6226010"/>
              <a:gd name="connsiteY5975" fmla="*/ 1114213 h 5756219"/>
              <a:gd name="connsiteX5976" fmla="*/ 5119949 w 6226010"/>
              <a:gd name="connsiteY5976" fmla="*/ 1097906 h 5756219"/>
              <a:gd name="connsiteX5977" fmla="*/ 5160712 w 6226010"/>
              <a:gd name="connsiteY5977" fmla="*/ 1095190 h 5756219"/>
              <a:gd name="connsiteX5978" fmla="*/ 5133536 w 6226010"/>
              <a:gd name="connsiteY5978" fmla="*/ 1068014 h 5756219"/>
              <a:gd name="connsiteX5979" fmla="*/ 4951458 w 6226010"/>
              <a:gd name="connsiteY5979" fmla="*/ 1068014 h 5756219"/>
              <a:gd name="connsiteX5980" fmla="*/ 4959654 w 6226010"/>
              <a:gd name="connsiteY5980" fmla="*/ 1074961 h 5756219"/>
              <a:gd name="connsiteX5981" fmla="*/ 4948199 w 6226010"/>
              <a:gd name="connsiteY5981" fmla="*/ 1072737 h 5756219"/>
              <a:gd name="connsiteX5982" fmla="*/ 2008302 w 6226010"/>
              <a:gd name="connsiteY5982" fmla="*/ 1065296 h 5756219"/>
              <a:gd name="connsiteX5983" fmla="*/ 2011020 w 6226010"/>
              <a:gd name="connsiteY5983" fmla="*/ 1258246 h 5756219"/>
              <a:gd name="connsiteX5984" fmla="*/ 2013737 w 6226010"/>
              <a:gd name="connsiteY5984" fmla="*/ 1176719 h 5756219"/>
              <a:gd name="connsiteX5985" fmla="*/ 2011020 w 6226010"/>
              <a:gd name="connsiteY5985" fmla="*/ 1065296 h 5756219"/>
              <a:gd name="connsiteX5986" fmla="*/ 2008302 w 6226010"/>
              <a:gd name="connsiteY5986" fmla="*/ 1065296 h 5756219"/>
              <a:gd name="connsiteX5987" fmla="*/ 1663168 w 6226010"/>
              <a:gd name="connsiteY5987" fmla="*/ 1062579 h 5756219"/>
              <a:gd name="connsiteX5988" fmla="*/ 1665885 w 6226010"/>
              <a:gd name="connsiteY5988" fmla="*/ 1073449 h 5756219"/>
              <a:gd name="connsiteX5989" fmla="*/ 1665885 w 6226010"/>
              <a:gd name="connsiteY5989" fmla="*/ 1062579 h 5756219"/>
              <a:gd name="connsiteX5990" fmla="*/ 1663168 w 6226010"/>
              <a:gd name="connsiteY5990" fmla="*/ 1062579 h 5756219"/>
              <a:gd name="connsiteX5991" fmla="*/ 1975691 w 6226010"/>
              <a:gd name="connsiteY5991" fmla="*/ 1057143 h 5756219"/>
              <a:gd name="connsiteX5992" fmla="*/ 1975691 w 6226010"/>
              <a:gd name="connsiteY5992" fmla="*/ 1372385 h 5756219"/>
              <a:gd name="connsiteX5993" fmla="*/ 1981126 w 6226010"/>
              <a:gd name="connsiteY5993" fmla="*/ 1057143 h 5756219"/>
              <a:gd name="connsiteX5994" fmla="*/ 1975691 w 6226010"/>
              <a:gd name="connsiteY5994" fmla="*/ 1057143 h 5756219"/>
              <a:gd name="connsiteX5995" fmla="*/ 5198844 w 6226010"/>
              <a:gd name="connsiteY5995" fmla="*/ 1046910 h 5756219"/>
              <a:gd name="connsiteX5996" fmla="*/ 5196041 w 6226010"/>
              <a:gd name="connsiteY5996" fmla="*/ 1048991 h 5756219"/>
              <a:gd name="connsiteX5997" fmla="*/ 5174300 w 6226010"/>
              <a:gd name="connsiteY5997" fmla="*/ 1057143 h 5756219"/>
              <a:gd name="connsiteX5998" fmla="*/ 5187888 w 6226010"/>
              <a:gd name="connsiteY5998" fmla="*/ 1087037 h 5756219"/>
              <a:gd name="connsiteX5999" fmla="*/ 5182453 w 6226010"/>
              <a:gd name="connsiteY5999" fmla="*/ 1059861 h 5756219"/>
              <a:gd name="connsiteX6000" fmla="*/ 5204194 w 6226010"/>
              <a:gd name="connsiteY6000" fmla="*/ 1062579 h 5756219"/>
              <a:gd name="connsiteX6001" fmla="*/ 5198844 w 6226010"/>
              <a:gd name="connsiteY6001" fmla="*/ 1046910 h 5756219"/>
              <a:gd name="connsiteX6002" fmla="*/ 1540876 w 6226010"/>
              <a:gd name="connsiteY6002" fmla="*/ 1043555 h 5756219"/>
              <a:gd name="connsiteX6003" fmla="*/ 1540876 w 6226010"/>
              <a:gd name="connsiteY6003" fmla="*/ 1057143 h 5756219"/>
              <a:gd name="connsiteX6004" fmla="*/ 1535441 w 6226010"/>
              <a:gd name="connsiteY6004" fmla="*/ 1057143 h 5756219"/>
              <a:gd name="connsiteX6005" fmla="*/ 1535441 w 6226010"/>
              <a:gd name="connsiteY6005" fmla="*/ 1065296 h 5756219"/>
              <a:gd name="connsiteX6006" fmla="*/ 1540876 w 6226010"/>
              <a:gd name="connsiteY6006" fmla="*/ 1065296 h 5756219"/>
              <a:gd name="connsiteX6007" fmla="*/ 1540876 w 6226010"/>
              <a:gd name="connsiteY6007" fmla="*/ 1073449 h 5756219"/>
              <a:gd name="connsiteX6008" fmla="*/ 1543593 w 6226010"/>
              <a:gd name="connsiteY6008" fmla="*/ 1073449 h 5756219"/>
              <a:gd name="connsiteX6009" fmla="*/ 1543593 w 6226010"/>
              <a:gd name="connsiteY6009" fmla="*/ 1078884 h 5756219"/>
              <a:gd name="connsiteX6010" fmla="*/ 1543593 w 6226010"/>
              <a:gd name="connsiteY6010" fmla="*/ 1095190 h 5756219"/>
              <a:gd name="connsiteX6011" fmla="*/ 1546311 w 6226010"/>
              <a:gd name="connsiteY6011" fmla="*/ 1095190 h 5756219"/>
              <a:gd name="connsiteX6012" fmla="*/ 1546311 w 6226010"/>
              <a:gd name="connsiteY6012" fmla="*/ 1078884 h 5756219"/>
              <a:gd name="connsiteX6013" fmla="*/ 1546311 w 6226010"/>
              <a:gd name="connsiteY6013" fmla="*/ 1070731 h 5756219"/>
              <a:gd name="connsiteX6014" fmla="*/ 1543593 w 6226010"/>
              <a:gd name="connsiteY6014" fmla="*/ 1070731 h 5756219"/>
              <a:gd name="connsiteX6015" fmla="*/ 1543593 w 6226010"/>
              <a:gd name="connsiteY6015" fmla="*/ 1068014 h 5756219"/>
              <a:gd name="connsiteX6016" fmla="*/ 1649580 w 6226010"/>
              <a:gd name="connsiteY6016" fmla="*/ 1095190 h 5756219"/>
              <a:gd name="connsiteX6017" fmla="*/ 1655015 w 6226010"/>
              <a:gd name="connsiteY6017" fmla="*/ 1087037 h 5756219"/>
              <a:gd name="connsiteX6018" fmla="*/ 1549029 w 6226010"/>
              <a:gd name="connsiteY6018" fmla="*/ 1059861 h 5756219"/>
              <a:gd name="connsiteX6019" fmla="*/ 1549029 w 6226010"/>
              <a:gd name="connsiteY6019" fmla="*/ 1048991 h 5756219"/>
              <a:gd name="connsiteX6020" fmla="*/ 1546311 w 6226010"/>
              <a:gd name="connsiteY6020" fmla="*/ 1048991 h 5756219"/>
              <a:gd name="connsiteX6021" fmla="*/ 1546311 w 6226010"/>
              <a:gd name="connsiteY6021" fmla="*/ 1043555 h 5756219"/>
              <a:gd name="connsiteX6022" fmla="*/ 1540876 w 6226010"/>
              <a:gd name="connsiteY6022" fmla="*/ 1043555 h 5756219"/>
              <a:gd name="connsiteX6023" fmla="*/ 1744695 w 6226010"/>
              <a:gd name="connsiteY6023" fmla="*/ 1040838 h 5756219"/>
              <a:gd name="connsiteX6024" fmla="*/ 1739260 w 6226010"/>
              <a:gd name="connsiteY6024" fmla="*/ 1043555 h 5756219"/>
              <a:gd name="connsiteX6025" fmla="*/ 1739260 w 6226010"/>
              <a:gd name="connsiteY6025" fmla="*/ 1046273 h 5756219"/>
              <a:gd name="connsiteX6026" fmla="*/ 1744695 w 6226010"/>
              <a:gd name="connsiteY6026" fmla="*/ 1046273 h 5756219"/>
              <a:gd name="connsiteX6027" fmla="*/ 1744695 w 6226010"/>
              <a:gd name="connsiteY6027" fmla="*/ 1040838 h 5756219"/>
              <a:gd name="connsiteX6028" fmla="*/ 4753073 w 6226010"/>
              <a:gd name="connsiteY6028" fmla="*/ 1038120 h 5756219"/>
              <a:gd name="connsiteX6029" fmla="*/ 4734050 w 6226010"/>
              <a:gd name="connsiteY6029" fmla="*/ 1065296 h 5756219"/>
              <a:gd name="connsiteX6030" fmla="*/ 4712309 w 6226010"/>
              <a:gd name="connsiteY6030" fmla="*/ 1076167 h 5756219"/>
              <a:gd name="connsiteX6031" fmla="*/ 4709592 w 6226010"/>
              <a:gd name="connsiteY6031" fmla="*/ 1081602 h 5756219"/>
              <a:gd name="connsiteX6032" fmla="*/ 4720462 w 6226010"/>
              <a:gd name="connsiteY6032" fmla="*/ 1095190 h 5756219"/>
              <a:gd name="connsiteX6033" fmla="*/ 4744921 w 6226010"/>
              <a:gd name="connsiteY6033" fmla="*/ 1073449 h 5756219"/>
              <a:gd name="connsiteX6034" fmla="*/ 4782967 w 6226010"/>
              <a:gd name="connsiteY6034" fmla="*/ 1103342 h 5756219"/>
              <a:gd name="connsiteX6035" fmla="*/ 4777532 w 6226010"/>
              <a:gd name="connsiteY6035" fmla="*/ 1114213 h 5756219"/>
              <a:gd name="connsiteX6036" fmla="*/ 4736768 w 6226010"/>
              <a:gd name="connsiteY6036" fmla="*/ 1095190 h 5756219"/>
              <a:gd name="connsiteX6037" fmla="*/ 4734050 w 6226010"/>
              <a:gd name="connsiteY6037" fmla="*/ 1097906 h 5756219"/>
              <a:gd name="connsiteX6038" fmla="*/ 4744921 w 6226010"/>
              <a:gd name="connsiteY6038" fmla="*/ 1097906 h 5756219"/>
              <a:gd name="connsiteX6039" fmla="*/ 4736768 w 6226010"/>
              <a:gd name="connsiteY6039" fmla="*/ 1111495 h 5756219"/>
              <a:gd name="connsiteX6040" fmla="*/ 4753073 w 6226010"/>
              <a:gd name="connsiteY6040" fmla="*/ 1125083 h 5756219"/>
              <a:gd name="connsiteX6041" fmla="*/ 4837319 w 6226010"/>
              <a:gd name="connsiteY6041" fmla="*/ 1092472 h 5756219"/>
              <a:gd name="connsiteX6042" fmla="*/ 4799273 w 6226010"/>
              <a:gd name="connsiteY6042" fmla="*/ 1089755 h 5756219"/>
              <a:gd name="connsiteX6043" fmla="*/ 4812861 w 6226010"/>
              <a:gd name="connsiteY6043" fmla="*/ 1078884 h 5756219"/>
              <a:gd name="connsiteX6044" fmla="*/ 4753073 w 6226010"/>
              <a:gd name="connsiteY6044" fmla="*/ 1038120 h 5756219"/>
              <a:gd name="connsiteX6045" fmla="*/ 1540876 w 6226010"/>
              <a:gd name="connsiteY6045" fmla="*/ 1029968 h 5756219"/>
              <a:gd name="connsiteX6046" fmla="*/ 1540876 w 6226010"/>
              <a:gd name="connsiteY6046" fmla="*/ 1038120 h 5756219"/>
              <a:gd name="connsiteX6047" fmla="*/ 1543593 w 6226010"/>
              <a:gd name="connsiteY6047" fmla="*/ 1038120 h 5756219"/>
              <a:gd name="connsiteX6048" fmla="*/ 1543593 w 6226010"/>
              <a:gd name="connsiteY6048" fmla="*/ 1029968 h 5756219"/>
              <a:gd name="connsiteX6049" fmla="*/ 1540876 w 6226010"/>
              <a:gd name="connsiteY6049" fmla="*/ 1029968 h 5756219"/>
              <a:gd name="connsiteX6050" fmla="*/ 1750131 w 6226010"/>
              <a:gd name="connsiteY6050" fmla="*/ 1024532 h 5756219"/>
              <a:gd name="connsiteX6051" fmla="*/ 1744695 w 6226010"/>
              <a:gd name="connsiteY6051" fmla="*/ 1027250 h 5756219"/>
              <a:gd name="connsiteX6052" fmla="*/ 1744695 w 6226010"/>
              <a:gd name="connsiteY6052" fmla="*/ 1032685 h 5756219"/>
              <a:gd name="connsiteX6053" fmla="*/ 1750131 w 6226010"/>
              <a:gd name="connsiteY6053" fmla="*/ 1029968 h 5756219"/>
              <a:gd name="connsiteX6054" fmla="*/ 1750131 w 6226010"/>
              <a:gd name="connsiteY6054" fmla="*/ 1035403 h 5756219"/>
              <a:gd name="connsiteX6055" fmla="*/ 1758283 w 6226010"/>
              <a:gd name="connsiteY6055" fmla="*/ 1032685 h 5756219"/>
              <a:gd name="connsiteX6056" fmla="*/ 1758283 w 6226010"/>
              <a:gd name="connsiteY6056" fmla="*/ 1027250 h 5756219"/>
              <a:gd name="connsiteX6057" fmla="*/ 1750131 w 6226010"/>
              <a:gd name="connsiteY6057" fmla="*/ 1029968 h 5756219"/>
              <a:gd name="connsiteX6058" fmla="*/ 1750131 w 6226010"/>
              <a:gd name="connsiteY6058" fmla="*/ 1024532 h 5756219"/>
              <a:gd name="connsiteX6059" fmla="*/ 4916129 w 6226010"/>
              <a:gd name="connsiteY6059" fmla="*/ 1019097 h 5756219"/>
              <a:gd name="connsiteX6060" fmla="*/ 4888953 w 6226010"/>
              <a:gd name="connsiteY6060" fmla="*/ 1051708 h 5756219"/>
              <a:gd name="connsiteX6061" fmla="*/ 4897106 w 6226010"/>
              <a:gd name="connsiteY6061" fmla="*/ 1084319 h 5756219"/>
              <a:gd name="connsiteX6062" fmla="*/ 4886236 w 6226010"/>
              <a:gd name="connsiteY6062" fmla="*/ 1057143 h 5756219"/>
              <a:gd name="connsiteX6063" fmla="*/ 4856342 w 6226010"/>
              <a:gd name="connsiteY6063" fmla="*/ 1087037 h 5756219"/>
              <a:gd name="connsiteX6064" fmla="*/ 4867213 w 6226010"/>
              <a:gd name="connsiteY6064" fmla="*/ 1103342 h 5756219"/>
              <a:gd name="connsiteX6065" fmla="*/ 4837319 w 6226010"/>
              <a:gd name="connsiteY6065" fmla="*/ 1141389 h 5756219"/>
              <a:gd name="connsiteX6066" fmla="*/ 4864495 w 6226010"/>
              <a:gd name="connsiteY6066" fmla="*/ 1168565 h 5756219"/>
              <a:gd name="connsiteX6067" fmla="*/ 4853625 w 6226010"/>
              <a:gd name="connsiteY6067" fmla="*/ 1195742 h 5756219"/>
              <a:gd name="connsiteX6068" fmla="*/ 4894389 w 6226010"/>
              <a:gd name="connsiteY6068" fmla="*/ 1163130 h 5756219"/>
              <a:gd name="connsiteX6069" fmla="*/ 4869930 w 6226010"/>
              <a:gd name="connsiteY6069" fmla="*/ 1149542 h 5756219"/>
              <a:gd name="connsiteX6070" fmla="*/ 4910694 w 6226010"/>
              <a:gd name="connsiteY6070" fmla="*/ 1130518 h 5756219"/>
              <a:gd name="connsiteX6071" fmla="*/ 4902541 w 6226010"/>
              <a:gd name="connsiteY6071" fmla="*/ 1116931 h 5756219"/>
              <a:gd name="connsiteX6072" fmla="*/ 4907976 w 6226010"/>
              <a:gd name="connsiteY6072" fmla="*/ 1092472 h 5756219"/>
              <a:gd name="connsiteX6073" fmla="*/ 4891671 w 6226010"/>
              <a:gd name="connsiteY6073" fmla="*/ 1097906 h 5756219"/>
              <a:gd name="connsiteX6074" fmla="*/ 4888953 w 6226010"/>
              <a:gd name="connsiteY6074" fmla="*/ 1078884 h 5756219"/>
              <a:gd name="connsiteX6075" fmla="*/ 4897106 w 6226010"/>
              <a:gd name="connsiteY6075" fmla="*/ 1089755 h 5756219"/>
              <a:gd name="connsiteX6076" fmla="*/ 4916129 w 6226010"/>
              <a:gd name="connsiteY6076" fmla="*/ 1084319 h 5756219"/>
              <a:gd name="connsiteX6077" fmla="*/ 4916129 w 6226010"/>
              <a:gd name="connsiteY6077" fmla="*/ 1019097 h 5756219"/>
              <a:gd name="connsiteX6078" fmla="*/ 1755566 w 6226010"/>
              <a:gd name="connsiteY6078" fmla="*/ 1013662 h 5756219"/>
              <a:gd name="connsiteX6079" fmla="*/ 1755566 w 6226010"/>
              <a:gd name="connsiteY6079" fmla="*/ 1016380 h 5756219"/>
              <a:gd name="connsiteX6080" fmla="*/ 1758283 w 6226010"/>
              <a:gd name="connsiteY6080" fmla="*/ 1016380 h 5756219"/>
              <a:gd name="connsiteX6081" fmla="*/ 1755566 w 6226010"/>
              <a:gd name="connsiteY6081" fmla="*/ 1013662 h 5756219"/>
              <a:gd name="connsiteX6082" fmla="*/ 1741978 w 6226010"/>
              <a:gd name="connsiteY6082" fmla="*/ 1013662 h 5756219"/>
              <a:gd name="connsiteX6083" fmla="*/ 1736543 w 6226010"/>
              <a:gd name="connsiteY6083" fmla="*/ 1016380 h 5756219"/>
              <a:gd name="connsiteX6084" fmla="*/ 1736543 w 6226010"/>
              <a:gd name="connsiteY6084" fmla="*/ 1021815 h 5756219"/>
              <a:gd name="connsiteX6085" fmla="*/ 1741978 w 6226010"/>
              <a:gd name="connsiteY6085" fmla="*/ 1019097 h 5756219"/>
              <a:gd name="connsiteX6086" fmla="*/ 1741978 w 6226010"/>
              <a:gd name="connsiteY6086" fmla="*/ 1013662 h 5756219"/>
              <a:gd name="connsiteX6087" fmla="*/ 1540876 w 6226010"/>
              <a:gd name="connsiteY6087" fmla="*/ 1008228 h 5756219"/>
              <a:gd name="connsiteX6088" fmla="*/ 1540876 w 6226010"/>
              <a:gd name="connsiteY6088" fmla="*/ 1024532 h 5756219"/>
              <a:gd name="connsiteX6089" fmla="*/ 1543593 w 6226010"/>
              <a:gd name="connsiteY6089" fmla="*/ 1024532 h 5756219"/>
              <a:gd name="connsiteX6090" fmla="*/ 1543593 w 6226010"/>
              <a:gd name="connsiteY6090" fmla="*/ 1008228 h 5756219"/>
              <a:gd name="connsiteX6091" fmla="*/ 1540876 w 6226010"/>
              <a:gd name="connsiteY6091" fmla="*/ 1008228 h 5756219"/>
              <a:gd name="connsiteX6092" fmla="*/ 5444393 w 6226010"/>
              <a:gd name="connsiteY6092" fmla="*/ 1003641 h 5756219"/>
              <a:gd name="connsiteX6093" fmla="*/ 5444361 w 6226010"/>
              <a:gd name="connsiteY6093" fmla="*/ 1003811 h 5756219"/>
              <a:gd name="connsiteX6094" fmla="*/ 5440625 w 6226010"/>
              <a:gd name="connsiteY6094" fmla="*/ 1010944 h 5756219"/>
              <a:gd name="connsiteX6095" fmla="*/ 5438227 w 6226010"/>
              <a:gd name="connsiteY6095" fmla="*/ 1011421 h 5756219"/>
              <a:gd name="connsiteX6096" fmla="*/ 5439776 w 6226010"/>
              <a:gd name="connsiteY6096" fmla="*/ 1007505 h 5756219"/>
              <a:gd name="connsiteX6097" fmla="*/ 1660450 w 6226010"/>
              <a:gd name="connsiteY6097" fmla="*/ 997356 h 5756219"/>
              <a:gd name="connsiteX6098" fmla="*/ 1660450 w 6226010"/>
              <a:gd name="connsiteY6098" fmla="*/ 1008228 h 5756219"/>
              <a:gd name="connsiteX6099" fmla="*/ 1663168 w 6226010"/>
              <a:gd name="connsiteY6099" fmla="*/ 1008228 h 5756219"/>
              <a:gd name="connsiteX6100" fmla="*/ 1665885 w 6226010"/>
              <a:gd name="connsiteY6100" fmla="*/ 1010944 h 5756219"/>
              <a:gd name="connsiteX6101" fmla="*/ 1660450 w 6226010"/>
              <a:gd name="connsiteY6101" fmla="*/ 1010944 h 5756219"/>
              <a:gd name="connsiteX6102" fmla="*/ 1660450 w 6226010"/>
              <a:gd name="connsiteY6102" fmla="*/ 1016380 h 5756219"/>
              <a:gd name="connsiteX6103" fmla="*/ 1663168 w 6226010"/>
              <a:gd name="connsiteY6103" fmla="*/ 1016380 h 5756219"/>
              <a:gd name="connsiteX6104" fmla="*/ 1663168 w 6226010"/>
              <a:gd name="connsiteY6104" fmla="*/ 1019097 h 5756219"/>
              <a:gd name="connsiteX6105" fmla="*/ 1663168 w 6226010"/>
              <a:gd name="connsiteY6105" fmla="*/ 1029968 h 5756219"/>
              <a:gd name="connsiteX6106" fmla="*/ 1665885 w 6226010"/>
              <a:gd name="connsiteY6106" fmla="*/ 1035403 h 5756219"/>
              <a:gd name="connsiteX6107" fmla="*/ 1665885 w 6226010"/>
              <a:gd name="connsiteY6107" fmla="*/ 1029968 h 5756219"/>
              <a:gd name="connsiteX6108" fmla="*/ 1665885 w 6226010"/>
              <a:gd name="connsiteY6108" fmla="*/ 1019097 h 5756219"/>
              <a:gd name="connsiteX6109" fmla="*/ 1665885 w 6226010"/>
              <a:gd name="connsiteY6109" fmla="*/ 1010944 h 5756219"/>
              <a:gd name="connsiteX6110" fmla="*/ 1663168 w 6226010"/>
              <a:gd name="connsiteY6110" fmla="*/ 1000074 h 5756219"/>
              <a:gd name="connsiteX6111" fmla="*/ 1663168 w 6226010"/>
              <a:gd name="connsiteY6111" fmla="*/ 997356 h 5756219"/>
              <a:gd name="connsiteX6112" fmla="*/ 1660450 w 6226010"/>
              <a:gd name="connsiteY6112" fmla="*/ 997356 h 5756219"/>
              <a:gd name="connsiteX6113" fmla="*/ 1538158 w 6226010"/>
              <a:gd name="connsiteY6113" fmla="*/ 991922 h 5756219"/>
              <a:gd name="connsiteX6114" fmla="*/ 1538158 w 6226010"/>
              <a:gd name="connsiteY6114" fmla="*/ 1000074 h 5756219"/>
              <a:gd name="connsiteX6115" fmla="*/ 1543593 w 6226010"/>
              <a:gd name="connsiteY6115" fmla="*/ 1000074 h 5756219"/>
              <a:gd name="connsiteX6116" fmla="*/ 1543593 w 6226010"/>
              <a:gd name="connsiteY6116" fmla="*/ 991922 h 5756219"/>
              <a:gd name="connsiteX6117" fmla="*/ 1538158 w 6226010"/>
              <a:gd name="connsiteY6117" fmla="*/ 991922 h 5756219"/>
              <a:gd name="connsiteX6118" fmla="*/ 2217557 w 6226010"/>
              <a:gd name="connsiteY6118" fmla="*/ 989216 h 5756219"/>
              <a:gd name="connsiteX6119" fmla="*/ 2217557 w 6226010"/>
              <a:gd name="connsiteY6119" fmla="*/ 1010956 h 5756219"/>
              <a:gd name="connsiteX6120" fmla="*/ 2214840 w 6226010"/>
              <a:gd name="connsiteY6120" fmla="*/ 1010956 h 5756219"/>
              <a:gd name="connsiteX6121" fmla="*/ 2217557 w 6226010"/>
              <a:gd name="connsiteY6121" fmla="*/ 989216 h 5756219"/>
              <a:gd name="connsiteX6122" fmla="*/ 4701439 w 6226010"/>
              <a:gd name="connsiteY6122" fmla="*/ 989204 h 5756219"/>
              <a:gd name="connsiteX6123" fmla="*/ 4693286 w 6226010"/>
              <a:gd name="connsiteY6123" fmla="*/ 991922 h 5756219"/>
              <a:gd name="connsiteX6124" fmla="*/ 4723180 w 6226010"/>
              <a:gd name="connsiteY6124" fmla="*/ 1013662 h 5756219"/>
              <a:gd name="connsiteX6125" fmla="*/ 4701439 w 6226010"/>
              <a:gd name="connsiteY6125" fmla="*/ 1013662 h 5756219"/>
              <a:gd name="connsiteX6126" fmla="*/ 4701439 w 6226010"/>
              <a:gd name="connsiteY6126" fmla="*/ 1029968 h 5756219"/>
              <a:gd name="connsiteX6127" fmla="*/ 4715027 w 6226010"/>
              <a:gd name="connsiteY6127" fmla="*/ 1029968 h 5756219"/>
              <a:gd name="connsiteX6128" fmla="*/ 4712309 w 6226010"/>
              <a:gd name="connsiteY6128" fmla="*/ 1040838 h 5756219"/>
              <a:gd name="connsiteX6129" fmla="*/ 4728615 w 6226010"/>
              <a:gd name="connsiteY6129" fmla="*/ 1027250 h 5756219"/>
              <a:gd name="connsiteX6130" fmla="*/ 4701439 w 6226010"/>
              <a:gd name="connsiteY6130" fmla="*/ 989204 h 5756219"/>
              <a:gd name="connsiteX6131" fmla="*/ 5484106 w 6226010"/>
              <a:gd name="connsiteY6131" fmla="*/ 986486 h 5756219"/>
              <a:gd name="connsiteX6132" fmla="*/ 5484141 w 6226010"/>
              <a:gd name="connsiteY6132" fmla="*/ 986555 h 5756219"/>
              <a:gd name="connsiteX6133" fmla="*/ 5481389 w 6226010"/>
              <a:gd name="connsiteY6133" fmla="*/ 994639 h 5756219"/>
              <a:gd name="connsiteX6134" fmla="*/ 5467831 w 6226010"/>
              <a:gd name="connsiteY6134" fmla="*/ 992081 h 5756219"/>
              <a:gd name="connsiteX6135" fmla="*/ 1663168 w 6226010"/>
              <a:gd name="connsiteY6135" fmla="*/ 986486 h 5756219"/>
              <a:gd name="connsiteX6136" fmla="*/ 1665885 w 6226010"/>
              <a:gd name="connsiteY6136" fmla="*/ 991922 h 5756219"/>
              <a:gd name="connsiteX6137" fmla="*/ 1665885 w 6226010"/>
              <a:gd name="connsiteY6137" fmla="*/ 986486 h 5756219"/>
              <a:gd name="connsiteX6138" fmla="*/ 1663168 w 6226010"/>
              <a:gd name="connsiteY6138" fmla="*/ 986486 h 5756219"/>
              <a:gd name="connsiteX6139" fmla="*/ 5197472 w 6226010"/>
              <a:gd name="connsiteY6139" fmla="*/ 978479 h 5756219"/>
              <a:gd name="connsiteX6140" fmla="*/ 5201476 w 6226010"/>
              <a:gd name="connsiteY6140" fmla="*/ 983768 h 5756219"/>
              <a:gd name="connsiteX6141" fmla="*/ 5200283 w 6226010"/>
              <a:gd name="connsiteY6141" fmla="*/ 984100 h 5756219"/>
              <a:gd name="connsiteX6142" fmla="*/ 3127951 w 6226010"/>
              <a:gd name="connsiteY6142" fmla="*/ 978345 h 5756219"/>
              <a:gd name="connsiteX6143" fmla="*/ 3152410 w 6226010"/>
              <a:gd name="connsiteY6143" fmla="*/ 983780 h 5756219"/>
              <a:gd name="connsiteX6144" fmla="*/ 3152410 w 6226010"/>
              <a:gd name="connsiteY6144" fmla="*/ 994650 h 5756219"/>
              <a:gd name="connsiteX6145" fmla="*/ 3127951 w 6226010"/>
              <a:gd name="connsiteY6145" fmla="*/ 989216 h 5756219"/>
              <a:gd name="connsiteX6146" fmla="*/ 3127951 w 6226010"/>
              <a:gd name="connsiteY6146" fmla="*/ 978345 h 5756219"/>
              <a:gd name="connsiteX6147" fmla="*/ 5568352 w 6226010"/>
              <a:gd name="connsiteY6147" fmla="*/ 975616 h 5756219"/>
              <a:gd name="connsiteX6148" fmla="*/ 5543893 w 6226010"/>
              <a:gd name="connsiteY6148" fmla="*/ 978333 h 5756219"/>
              <a:gd name="connsiteX6149" fmla="*/ 5543893 w 6226010"/>
              <a:gd name="connsiteY6149" fmla="*/ 997356 h 5756219"/>
              <a:gd name="connsiteX6150" fmla="*/ 5571069 w 6226010"/>
              <a:gd name="connsiteY6150" fmla="*/ 983768 h 5756219"/>
              <a:gd name="connsiteX6151" fmla="*/ 5568352 w 6226010"/>
              <a:gd name="connsiteY6151" fmla="*/ 975616 h 5756219"/>
              <a:gd name="connsiteX6152" fmla="*/ 1663168 w 6226010"/>
              <a:gd name="connsiteY6152" fmla="*/ 972898 h 5756219"/>
              <a:gd name="connsiteX6153" fmla="*/ 1665885 w 6226010"/>
              <a:gd name="connsiteY6153" fmla="*/ 983768 h 5756219"/>
              <a:gd name="connsiteX6154" fmla="*/ 1665885 w 6226010"/>
              <a:gd name="connsiteY6154" fmla="*/ 972898 h 5756219"/>
              <a:gd name="connsiteX6155" fmla="*/ 1663168 w 6226010"/>
              <a:gd name="connsiteY6155" fmla="*/ 972898 h 5756219"/>
              <a:gd name="connsiteX6156" fmla="*/ 1663168 w 6226010"/>
              <a:gd name="connsiteY6156" fmla="*/ 964745 h 5756219"/>
              <a:gd name="connsiteX6157" fmla="*/ 1663168 w 6226010"/>
              <a:gd name="connsiteY6157" fmla="*/ 970180 h 5756219"/>
              <a:gd name="connsiteX6158" fmla="*/ 1665885 w 6226010"/>
              <a:gd name="connsiteY6158" fmla="*/ 970180 h 5756219"/>
              <a:gd name="connsiteX6159" fmla="*/ 1663168 w 6226010"/>
              <a:gd name="connsiteY6159" fmla="*/ 964745 h 5756219"/>
              <a:gd name="connsiteX6160" fmla="*/ 2217557 w 6226010"/>
              <a:gd name="connsiteY6160" fmla="*/ 962040 h 5756219"/>
              <a:gd name="connsiteX6161" fmla="*/ 2220274 w 6226010"/>
              <a:gd name="connsiteY6161" fmla="*/ 962040 h 5756219"/>
              <a:gd name="connsiteX6162" fmla="*/ 2220274 w 6226010"/>
              <a:gd name="connsiteY6162" fmla="*/ 983780 h 5756219"/>
              <a:gd name="connsiteX6163" fmla="*/ 2217557 w 6226010"/>
              <a:gd name="connsiteY6163" fmla="*/ 983780 h 5756219"/>
              <a:gd name="connsiteX6164" fmla="*/ 2217557 w 6226010"/>
              <a:gd name="connsiteY6164" fmla="*/ 962040 h 5756219"/>
              <a:gd name="connsiteX6165" fmla="*/ 5530206 w 6226010"/>
              <a:gd name="connsiteY6165" fmla="*/ 959430 h 5756219"/>
              <a:gd name="connsiteX6166" fmla="*/ 5529966 w 6226010"/>
              <a:gd name="connsiteY6166" fmla="*/ 961009 h 5756219"/>
              <a:gd name="connsiteX6167" fmla="*/ 5529496 w 6226010"/>
              <a:gd name="connsiteY6167" fmla="*/ 971885 h 5756219"/>
              <a:gd name="connsiteX6168" fmla="*/ 5525507 w 6226010"/>
              <a:gd name="connsiteY6168" fmla="*/ 974597 h 5756219"/>
              <a:gd name="connsiteX6169" fmla="*/ 5524870 w 6226010"/>
              <a:gd name="connsiteY6169" fmla="*/ 981051 h 5756219"/>
              <a:gd name="connsiteX6170" fmla="*/ 5500412 w 6226010"/>
              <a:gd name="connsiteY6170" fmla="*/ 978333 h 5756219"/>
              <a:gd name="connsiteX6171" fmla="*/ 5522153 w 6226010"/>
              <a:gd name="connsiteY6171" fmla="*/ 962028 h 5756219"/>
              <a:gd name="connsiteX6172" fmla="*/ 3127951 w 6226010"/>
              <a:gd name="connsiteY6172" fmla="*/ 959323 h 5756219"/>
              <a:gd name="connsiteX6173" fmla="*/ 3152410 w 6226010"/>
              <a:gd name="connsiteY6173" fmla="*/ 964758 h 5756219"/>
              <a:gd name="connsiteX6174" fmla="*/ 3152410 w 6226010"/>
              <a:gd name="connsiteY6174" fmla="*/ 975627 h 5756219"/>
              <a:gd name="connsiteX6175" fmla="*/ 3127951 w 6226010"/>
              <a:gd name="connsiteY6175" fmla="*/ 970193 h 5756219"/>
              <a:gd name="connsiteX6176" fmla="*/ 3127951 w 6226010"/>
              <a:gd name="connsiteY6176" fmla="*/ 959323 h 5756219"/>
              <a:gd name="connsiteX6177" fmla="*/ 4867213 w 6226010"/>
              <a:gd name="connsiteY6177" fmla="*/ 948440 h 5756219"/>
              <a:gd name="connsiteX6178" fmla="*/ 4812861 w 6226010"/>
              <a:gd name="connsiteY6178" fmla="*/ 978333 h 5756219"/>
              <a:gd name="connsiteX6179" fmla="*/ 4845472 w 6226010"/>
              <a:gd name="connsiteY6179" fmla="*/ 975616 h 5756219"/>
              <a:gd name="connsiteX6180" fmla="*/ 4807425 w 6226010"/>
              <a:gd name="connsiteY6180" fmla="*/ 997356 h 5756219"/>
              <a:gd name="connsiteX6181" fmla="*/ 4804708 w 6226010"/>
              <a:gd name="connsiteY6181" fmla="*/ 1021815 h 5756219"/>
              <a:gd name="connsiteX6182" fmla="*/ 4780249 w 6226010"/>
              <a:gd name="connsiteY6182" fmla="*/ 1008228 h 5756219"/>
              <a:gd name="connsiteX6183" fmla="*/ 4791120 w 6226010"/>
              <a:gd name="connsiteY6183" fmla="*/ 994639 h 5756219"/>
              <a:gd name="connsiteX6184" fmla="*/ 4766661 w 6226010"/>
              <a:gd name="connsiteY6184" fmla="*/ 1008228 h 5756219"/>
              <a:gd name="connsiteX6185" fmla="*/ 4796555 w 6226010"/>
              <a:gd name="connsiteY6185" fmla="*/ 1024532 h 5756219"/>
              <a:gd name="connsiteX6186" fmla="*/ 4763944 w 6226010"/>
              <a:gd name="connsiteY6186" fmla="*/ 1032685 h 5756219"/>
              <a:gd name="connsiteX6187" fmla="*/ 4766661 w 6226010"/>
              <a:gd name="connsiteY6187" fmla="*/ 1051708 h 5756219"/>
              <a:gd name="connsiteX6188" fmla="*/ 4848189 w 6226010"/>
              <a:gd name="connsiteY6188" fmla="*/ 1087037 h 5756219"/>
              <a:gd name="connsiteX6189" fmla="*/ 4872648 w 6226010"/>
              <a:gd name="connsiteY6189" fmla="*/ 1046273 h 5756219"/>
              <a:gd name="connsiteX6190" fmla="*/ 4815578 w 6226010"/>
              <a:gd name="connsiteY6190" fmla="*/ 1024532 h 5756219"/>
              <a:gd name="connsiteX6191" fmla="*/ 4875365 w 6226010"/>
              <a:gd name="connsiteY6191" fmla="*/ 1035403 h 5756219"/>
              <a:gd name="connsiteX6192" fmla="*/ 4886236 w 6226010"/>
              <a:gd name="connsiteY6192" fmla="*/ 1019097 h 5756219"/>
              <a:gd name="connsiteX6193" fmla="*/ 4888953 w 6226010"/>
              <a:gd name="connsiteY6193" fmla="*/ 1032685 h 5756219"/>
              <a:gd name="connsiteX6194" fmla="*/ 4880801 w 6226010"/>
              <a:gd name="connsiteY6194" fmla="*/ 989204 h 5756219"/>
              <a:gd name="connsiteX6195" fmla="*/ 4902541 w 6226010"/>
              <a:gd name="connsiteY6195" fmla="*/ 1008228 h 5756219"/>
              <a:gd name="connsiteX6196" fmla="*/ 4869930 w 6226010"/>
              <a:gd name="connsiteY6196" fmla="*/ 986486 h 5756219"/>
              <a:gd name="connsiteX6197" fmla="*/ 4888953 w 6226010"/>
              <a:gd name="connsiteY6197" fmla="*/ 975616 h 5756219"/>
              <a:gd name="connsiteX6198" fmla="*/ 4867213 w 6226010"/>
              <a:gd name="connsiteY6198" fmla="*/ 948440 h 5756219"/>
              <a:gd name="connsiteX6199" fmla="*/ 5587375 w 6226010"/>
              <a:gd name="connsiteY6199" fmla="*/ 945722 h 5756219"/>
              <a:gd name="connsiteX6200" fmla="*/ 5584657 w 6226010"/>
              <a:gd name="connsiteY6200" fmla="*/ 970180 h 5756219"/>
              <a:gd name="connsiteX6201" fmla="*/ 5609115 w 6226010"/>
              <a:gd name="connsiteY6201" fmla="*/ 964745 h 5756219"/>
              <a:gd name="connsiteX6202" fmla="*/ 5609115 w 6226010"/>
              <a:gd name="connsiteY6202" fmla="*/ 948440 h 5756219"/>
              <a:gd name="connsiteX6203" fmla="*/ 5587375 w 6226010"/>
              <a:gd name="connsiteY6203" fmla="*/ 945722 h 5756219"/>
              <a:gd name="connsiteX6204" fmla="*/ 4997657 w 6226010"/>
              <a:gd name="connsiteY6204" fmla="*/ 945722 h 5756219"/>
              <a:gd name="connsiteX6205" fmla="*/ 4927000 w 6226010"/>
              <a:gd name="connsiteY6205" fmla="*/ 986486 h 5756219"/>
              <a:gd name="connsiteX6206" fmla="*/ 4940588 w 6226010"/>
              <a:gd name="connsiteY6206" fmla="*/ 1002792 h 5756219"/>
              <a:gd name="connsiteX6207" fmla="*/ 4937870 w 6226010"/>
              <a:gd name="connsiteY6207" fmla="*/ 1070731 h 5756219"/>
              <a:gd name="connsiteX6208" fmla="*/ 4948199 w 6226010"/>
              <a:gd name="connsiteY6208" fmla="*/ 1072737 h 5756219"/>
              <a:gd name="connsiteX6209" fmla="*/ 4934813 w 6226010"/>
              <a:gd name="connsiteY6209" fmla="*/ 1092132 h 5756219"/>
              <a:gd name="connsiteX6210" fmla="*/ 4940588 w 6226010"/>
              <a:gd name="connsiteY6210" fmla="*/ 1114213 h 5756219"/>
              <a:gd name="connsiteX6211" fmla="*/ 4954176 w 6226010"/>
              <a:gd name="connsiteY6211" fmla="*/ 1084319 h 5756219"/>
              <a:gd name="connsiteX6212" fmla="*/ 4962328 w 6226010"/>
              <a:gd name="connsiteY6212" fmla="*/ 1087037 h 5756219"/>
              <a:gd name="connsiteX6213" fmla="*/ 4959611 w 6226010"/>
              <a:gd name="connsiteY6213" fmla="*/ 1100625 h 5756219"/>
              <a:gd name="connsiteX6214" fmla="*/ 4994939 w 6226010"/>
              <a:gd name="connsiteY6214" fmla="*/ 1092472 h 5756219"/>
              <a:gd name="connsiteX6215" fmla="*/ 4988514 w 6226010"/>
              <a:gd name="connsiteY6215" fmla="*/ 1082267 h 5756219"/>
              <a:gd name="connsiteX6216" fmla="*/ 5007423 w 6226010"/>
              <a:gd name="connsiteY6216" fmla="*/ 1082196 h 5756219"/>
              <a:gd name="connsiteX6217" fmla="*/ 5027550 w 6226010"/>
              <a:gd name="connsiteY6217" fmla="*/ 1065296 h 5756219"/>
              <a:gd name="connsiteX6218" fmla="*/ 5027550 w 6226010"/>
              <a:gd name="connsiteY6218" fmla="*/ 1048991 h 5756219"/>
              <a:gd name="connsiteX6219" fmla="*/ 5057444 w 6226010"/>
              <a:gd name="connsiteY6219" fmla="*/ 1068014 h 5756219"/>
              <a:gd name="connsiteX6220" fmla="*/ 5068314 w 6226010"/>
              <a:gd name="connsiteY6220" fmla="*/ 1062579 h 5756219"/>
              <a:gd name="connsiteX6221" fmla="*/ 5057444 w 6226010"/>
              <a:gd name="connsiteY6221" fmla="*/ 1027250 h 5756219"/>
              <a:gd name="connsiteX6222" fmla="*/ 5092773 w 6226010"/>
              <a:gd name="connsiteY6222" fmla="*/ 1040838 h 5756219"/>
              <a:gd name="connsiteX6223" fmla="*/ 5060162 w 6226010"/>
              <a:gd name="connsiteY6223" fmla="*/ 1019097 h 5756219"/>
              <a:gd name="connsiteX6224" fmla="*/ 5076467 w 6226010"/>
              <a:gd name="connsiteY6224" fmla="*/ 1010944 h 5756219"/>
              <a:gd name="connsiteX6225" fmla="*/ 5111796 w 6226010"/>
              <a:gd name="connsiteY6225" fmla="*/ 1024532 h 5756219"/>
              <a:gd name="connsiteX6226" fmla="*/ 5098208 w 6226010"/>
              <a:gd name="connsiteY6226" fmla="*/ 1008228 h 5756219"/>
              <a:gd name="connsiteX6227" fmla="*/ 5098208 w 6226010"/>
              <a:gd name="connsiteY6227" fmla="*/ 1019097 h 5756219"/>
              <a:gd name="connsiteX6228" fmla="*/ 5035703 w 6226010"/>
              <a:gd name="connsiteY6228" fmla="*/ 967463 h 5756219"/>
              <a:gd name="connsiteX6229" fmla="*/ 5022115 w 6226010"/>
              <a:gd name="connsiteY6229" fmla="*/ 994639 h 5756219"/>
              <a:gd name="connsiteX6230" fmla="*/ 5060162 w 6226010"/>
              <a:gd name="connsiteY6230" fmla="*/ 1019097 h 5756219"/>
              <a:gd name="connsiteX6231" fmla="*/ 5022115 w 6226010"/>
              <a:gd name="connsiteY6231" fmla="*/ 1002792 h 5756219"/>
              <a:gd name="connsiteX6232" fmla="*/ 4997657 w 6226010"/>
              <a:gd name="connsiteY6232" fmla="*/ 1016380 h 5756219"/>
              <a:gd name="connsiteX6233" fmla="*/ 5011245 w 6226010"/>
              <a:gd name="connsiteY6233" fmla="*/ 983768 h 5756219"/>
              <a:gd name="connsiteX6234" fmla="*/ 4973199 w 6226010"/>
              <a:gd name="connsiteY6234" fmla="*/ 989204 h 5756219"/>
              <a:gd name="connsiteX6235" fmla="*/ 4967763 w 6226010"/>
              <a:gd name="connsiteY6235" fmla="*/ 967463 h 5756219"/>
              <a:gd name="connsiteX6236" fmla="*/ 4986787 w 6226010"/>
              <a:gd name="connsiteY6236" fmla="*/ 975616 h 5756219"/>
              <a:gd name="connsiteX6237" fmla="*/ 4997657 w 6226010"/>
              <a:gd name="connsiteY6237" fmla="*/ 945722 h 5756219"/>
              <a:gd name="connsiteX6238" fmla="*/ 1538158 w 6226010"/>
              <a:gd name="connsiteY6238" fmla="*/ 945722 h 5756219"/>
              <a:gd name="connsiteX6239" fmla="*/ 1538158 w 6226010"/>
              <a:gd name="connsiteY6239" fmla="*/ 962028 h 5756219"/>
              <a:gd name="connsiteX6240" fmla="*/ 1540876 w 6226010"/>
              <a:gd name="connsiteY6240" fmla="*/ 962028 h 5756219"/>
              <a:gd name="connsiteX6241" fmla="*/ 1540876 w 6226010"/>
              <a:gd name="connsiteY6241" fmla="*/ 964745 h 5756219"/>
              <a:gd name="connsiteX6242" fmla="*/ 1538158 w 6226010"/>
              <a:gd name="connsiteY6242" fmla="*/ 964745 h 5756219"/>
              <a:gd name="connsiteX6243" fmla="*/ 1538158 w 6226010"/>
              <a:gd name="connsiteY6243" fmla="*/ 972898 h 5756219"/>
              <a:gd name="connsiteX6244" fmla="*/ 1538158 w 6226010"/>
              <a:gd name="connsiteY6244" fmla="*/ 989204 h 5756219"/>
              <a:gd name="connsiteX6245" fmla="*/ 1543593 w 6226010"/>
              <a:gd name="connsiteY6245" fmla="*/ 989204 h 5756219"/>
              <a:gd name="connsiteX6246" fmla="*/ 1543593 w 6226010"/>
              <a:gd name="connsiteY6246" fmla="*/ 981051 h 5756219"/>
              <a:gd name="connsiteX6247" fmla="*/ 1546311 w 6226010"/>
              <a:gd name="connsiteY6247" fmla="*/ 981051 h 5756219"/>
              <a:gd name="connsiteX6248" fmla="*/ 1546311 w 6226010"/>
              <a:gd name="connsiteY6248" fmla="*/ 972898 h 5756219"/>
              <a:gd name="connsiteX6249" fmla="*/ 1543593 w 6226010"/>
              <a:gd name="connsiteY6249" fmla="*/ 972898 h 5756219"/>
              <a:gd name="connsiteX6250" fmla="*/ 1543593 w 6226010"/>
              <a:gd name="connsiteY6250" fmla="*/ 970180 h 5756219"/>
              <a:gd name="connsiteX6251" fmla="*/ 1546311 w 6226010"/>
              <a:gd name="connsiteY6251" fmla="*/ 970180 h 5756219"/>
              <a:gd name="connsiteX6252" fmla="*/ 1546311 w 6226010"/>
              <a:gd name="connsiteY6252" fmla="*/ 953875 h 5756219"/>
              <a:gd name="connsiteX6253" fmla="*/ 1543593 w 6226010"/>
              <a:gd name="connsiteY6253" fmla="*/ 953875 h 5756219"/>
              <a:gd name="connsiteX6254" fmla="*/ 1543593 w 6226010"/>
              <a:gd name="connsiteY6254" fmla="*/ 945722 h 5756219"/>
              <a:gd name="connsiteX6255" fmla="*/ 1538158 w 6226010"/>
              <a:gd name="connsiteY6255" fmla="*/ 945722 h 5756219"/>
              <a:gd name="connsiteX6256" fmla="*/ 3127951 w 6226010"/>
              <a:gd name="connsiteY6256" fmla="*/ 943018 h 5756219"/>
              <a:gd name="connsiteX6257" fmla="*/ 3152410 w 6226010"/>
              <a:gd name="connsiteY6257" fmla="*/ 948452 h 5756219"/>
              <a:gd name="connsiteX6258" fmla="*/ 3152410 w 6226010"/>
              <a:gd name="connsiteY6258" fmla="*/ 959323 h 5756219"/>
              <a:gd name="connsiteX6259" fmla="*/ 3127951 w 6226010"/>
              <a:gd name="connsiteY6259" fmla="*/ 953887 h 5756219"/>
              <a:gd name="connsiteX6260" fmla="*/ 3127951 w 6226010"/>
              <a:gd name="connsiteY6260" fmla="*/ 943018 h 5756219"/>
              <a:gd name="connsiteX6261" fmla="*/ 4774814 w 6226010"/>
              <a:gd name="connsiteY6261" fmla="*/ 937569 h 5756219"/>
              <a:gd name="connsiteX6262" fmla="*/ 4747638 w 6226010"/>
              <a:gd name="connsiteY6262" fmla="*/ 959310 h 5756219"/>
              <a:gd name="connsiteX6263" fmla="*/ 4753073 w 6226010"/>
              <a:gd name="connsiteY6263" fmla="*/ 991922 h 5756219"/>
              <a:gd name="connsiteX6264" fmla="*/ 4774814 w 6226010"/>
              <a:gd name="connsiteY6264" fmla="*/ 937569 h 5756219"/>
              <a:gd name="connsiteX6265" fmla="*/ 3429605 w 6226010"/>
              <a:gd name="connsiteY6265" fmla="*/ 937569 h 5756219"/>
              <a:gd name="connsiteX6266" fmla="*/ 3429605 w 6226010"/>
              <a:gd name="connsiteY6266" fmla="*/ 959310 h 5756219"/>
              <a:gd name="connsiteX6267" fmla="*/ 3451345 w 6226010"/>
              <a:gd name="connsiteY6267" fmla="*/ 959310 h 5756219"/>
              <a:gd name="connsiteX6268" fmla="*/ 3454063 w 6226010"/>
              <a:gd name="connsiteY6268" fmla="*/ 945722 h 5756219"/>
              <a:gd name="connsiteX6269" fmla="*/ 3467651 w 6226010"/>
              <a:gd name="connsiteY6269" fmla="*/ 937569 h 5756219"/>
              <a:gd name="connsiteX6270" fmla="*/ 2217557 w 6226010"/>
              <a:gd name="connsiteY6270" fmla="*/ 932147 h 5756219"/>
              <a:gd name="connsiteX6271" fmla="*/ 2220274 w 6226010"/>
              <a:gd name="connsiteY6271" fmla="*/ 932147 h 5756219"/>
              <a:gd name="connsiteX6272" fmla="*/ 2220274 w 6226010"/>
              <a:gd name="connsiteY6272" fmla="*/ 953887 h 5756219"/>
              <a:gd name="connsiteX6273" fmla="*/ 2217557 w 6226010"/>
              <a:gd name="connsiteY6273" fmla="*/ 953887 h 5756219"/>
              <a:gd name="connsiteX6274" fmla="*/ 2217557 w 6226010"/>
              <a:gd name="connsiteY6274" fmla="*/ 932147 h 5756219"/>
              <a:gd name="connsiteX6275" fmla="*/ 1896881 w 6226010"/>
              <a:gd name="connsiteY6275" fmla="*/ 932147 h 5756219"/>
              <a:gd name="connsiteX6276" fmla="*/ 1902316 w 6226010"/>
              <a:gd name="connsiteY6276" fmla="*/ 932147 h 5756219"/>
              <a:gd name="connsiteX6277" fmla="*/ 1902316 w 6226010"/>
              <a:gd name="connsiteY6277" fmla="*/ 945735 h 5756219"/>
              <a:gd name="connsiteX6278" fmla="*/ 1896881 w 6226010"/>
              <a:gd name="connsiteY6278" fmla="*/ 945735 h 5756219"/>
              <a:gd name="connsiteX6279" fmla="*/ 1896881 w 6226010"/>
              <a:gd name="connsiteY6279" fmla="*/ 932147 h 5756219"/>
              <a:gd name="connsiteX6280" fmla="*/ 1660450 w 6226010"/>
              <a:gd name="connsiteY6280" fmla="*/ 932134 h 5756219"/>
              <a:gd name="connsiteX6281" fmla="*/ 1660450 w 6226010"/>
              <a:gd name="connsiteY6281" fmla="*/ 943004 h 5756219"/>
              <a:gd name="connsiteX6282" fmla="*/ 1663168 w 6226010"/>
              <a:gd name="connsiteY6282" fmla="*/ 943004 h 5756219"/>
              <a:gd name="connsiteX6283" fmla="*/ 1665885 w 6226010"/>
              <a:gd name="connsiteY6283" fmla="*/ 948440 h 5756219"/>
              <a:gd name="connsiteX6284" fmla="*/ 1663168 w 6226010"/>
              <a:gd name="connsiteY6284" fmla="*/ 945722 h 5756219"/>
              <a:gd name="connsiteX6285" fmla="*/ 1663168 w 6226010"/>
              <a:gd name="connsiteY6285" fmla="*/ 951157 h 5756219"/>
              <a:gd name="connsiteX6286" fmla="*/ 1663168 w 6226010"/>
              <a:gd name="connsiteY6286" fmla="*/ 962028 h 5756219"/>
              <a:gd name="connsiteX6287" fmla="*/ 1665885 w 6226010"/>
              <a:gd name="connsiteY6287" fmla="*/ 962028 h 5756219"/>
              <a:gd name="connsiteX6288" fmla="*/ 1665885 w 6226010"/>
              <a:gd name="connsiteY6288" fmla="*/ 956592 h 5756219"/>
              <a:gd name="connsiteX6289" fmla="*/ 1665885 w 6226010"/>
              <a:gd name="connsiteY6289" fmla="*/ 948440 h 5756219"/>
              <a:gd name="connsiteX6290" fmla="*/ 1663168 w 6226010"/>
              <a:gd name="connsiteY6290" fmla="*/ 937569 h 5756219"/>
              <a:gd name="connsiteX6291" fmla="*/ 1663168 w 6226010"/>
              <a:gd name="connsiteY6291" fmla="*/ 932134 h 5756219"/>
              <a:gd name="connsiteX6292" fmla="*/ 1660450 w 6226010"/>
              <a:gd name="connsiteY6292" fmla="*/ 932134 h 5756219"/>
              <a:gd name="connsiteX6293" fmla="*/ 4741184 w 6226010"/>
              <a:gd name="connsiteY6293" fmla="*/ 930435 h 5756219"/>
              <a:gd name="connsiteX6294" fmla="*/ 4723180 w 6226010"/>
              <a:gd name="connsiteY6294" fmla="*/ 932134 h 5756219"/>
              <a:gd name="connsiteX6295" fmla="*/ 4734050 w 6226010"/>
              <a:gd name="connsiteY6295" fmla="*/ 951157 h 5756219"/>
              <a:gd name="connsiteX6296" fmla="*/ 4753073 w 6226010"/>
              <a:gd name="connsiteY6296" fmla="*/ 943004 h 5756219"/>
              <a:gd name="connsiteX6297" fmla="*/ 4741184 w 6226010"/>
              <a:gd name="connsiteY6297" fmla="*/ 930435 h 5756219"/>
              <a:gd name="connsiteX6298" fmla="*/ 3127951 w 6226010"/>
              <a:gd name="connsiteY6298" fmla="*/ 929430 h 5756219"/>
              <a:gd name="connsiteX6299" fmla="*/ 3152410 w 6226010"/>
              <a:gd name="connsiteY6299" fmla="*/ 934865 h 5756219"/>
              <a:gd name="connsiteX6300" fmla="*/ 3152410 w 6226010"/>
              <a:gd name="connsiteY6300" fmla="*/ 943018 h 5756219"/>
              <a:gd name="connsiteX6301" fmla="*/ 3127951 w 6226010"/>
              <a:gd name="connsiteY6301" fmla="*/ 937582 h 5756219"/>
              <a:gd name="connsiteX6302" fmla="*/ 3127951 w 6226010"/>
              <a:gd name="connsiteY6302" fmla="*/ 929430 h 5756219"/>
              <a:gd name="connsiteX6303" fmla="*/ 1888728 w 6226010"/>
              <a:gd name="connsiteY6303" fmla="*/ 929428 h 5756219"/>
              <a:gd name="connsiteX6304" fmla="*/ 1894163 w 6226010"/>
              <a:gd name="connsiteY6304" fmla="*/ 929428 h 5756219"/>
              <a:gd name="connsiteX6305" fmla="*/ 1894163 w 6226010"/>
              <a:gd name="connsiteY6305" fmla="*/ 937580 h 5756219"/>
              <a:gd name="connsiteX6306" fmla="*/ 1888728 w 6226010"/>
              <a:gd name="connsiteY6306" fmla="*/ 937580 h 5756219"/>
              <a:gd name="connsiteX6307" fmla="*/ 1888728 w 6226010"/>
              <a:gd name="connsiteY6307" fmla="*/ 929428 h 5756219"/>
              <a:gd name="connsiteX6308" fmla="*/ 5024833 w 6226010"/>
              <a:gd name="connsiteY6308" fmla="*/ 929417 h 5756219"/>
              <a:gd name="connsiteX6309" fmla="*/ 5005810 w 6226010"/>
              <a:gd name="connsiteY6309" fmla="*/ 953875 h 5756219"/>
              <a:gd name="connsiteX6310" fmla="*/ 5024833 w 6226010"/>
              <a:gd name="connsiteY6310" fmla="*/ 929417 h 5756219"/>
              <a:gd name="connsiteX6311" fmla="*/ 4701439 w 6226010"/>
              <a:gd name="connsiteY6311" fmla="*/ 926699 h 5756219"/>
              <a:gd name="connsiteX6312" fmla="*/ 4709592 w 6226010"/>
              <a:gd name="connsiteY6312" fmla="*/ 953875 h 5756219"/>
              <a:gd name="connsiteX6313" fmla="*/ 4704157 w 6226010"/>
              <a:gd name="connsiteY6313" fmla="*/ 967463 h 5756219"/>
              <a:gd name="connsiteX6314" fmla="*/ 4709592 w 6226010"/>
              <a:gd name="connsiteY6314" fmla="*/ 975616 h 5756219"/>
              <a:gd name="connsiteX6315" fmla="*/ 4709592 w 6226010"/>
              <a:gd name="connsiteY6315" fmla="*/ 978333 h 5756219"/>
              <a:gd name="connsiteX6316" fmla="*/ 4723180 w 6226010"/>
              <a:gd name="connsiteY6316" fmla="*/ 978333 h 5756219"/>
              <a:gd name="connsiteX6317" fmla="*/ 4723180 w 6226010"/>
              <a:gd name="connsiteY6317" fmla="*/ 983768 h 5756219"/>
              <a:gd name="connsiteX6318" fmla="*/ 4717745 w 6226010"/>
              <a:gd name="connsiteY6318" fmla="*/ 986486 h 5756219"/>
              <a:gd name="connsiteX6319" fmla="*/ 4731333 w 6226010"/>
              <a:gd name="connsiteY6319" fmla="*/ 989204 h 5756219"/>
              <a:gd name="connsiteX6320" fmla="*/ 4701439 w 6226010"/>
              <a:gd name="connsiteY6320" fmla="*/ 926699 h 5756219"/>
              <a:gd name="connsiteX6321" fmla="*/ 5092773 w 6226010"/>
              <a:gd name="connsiteY6321" fmla="*/ 923981 h 5756219"/>
              <a:gd name="connsiteX6322" fmla="*/ 5054726 w 6226010"/>
              <a:gd name="connsiteY6322" fmla="*/ 932134 h 5756219"/>
              <a:gd name="connsiteX6323" fmla="*/ 5068314 w 6226010"/>
              <a:gd name="connsiteY6323" fmla="*/ 934852 h 5756219"/>
              <a:gd name="connsiteX6324" fmla="*/ 5057444 w 6226010"/>
              <a:gd name="connsiteY6324" fmla="*/ 953875 h 5756219"/>
              <a:gd name="connsiteX6325" fmla="*/ 5098208 w 6226010"/>
              <a:gd name="connsiteY6325" fmla="*/ 934852 h 5756219"/>
              <a:gd name="connsiteX6326" fmla="*/ 5092773 w 6226010"/>
              <a:gd name="connsiteY6326" fmla="*/ 923981 h 5756219"/>
              <a:gd name="connsiteX6327" fmla="*/ 5454213 w 6226010"/>
              <a:gd name="connsiteY6327" fmla="*/ 918546 h 5756219"/>
              <a:gd name="connsiteX6328" fmla="*/ 5467801 w 6226010"/>
              <a:gd name="connsiteY6328" fmla="*/ 962028 h 5756219"/>
              <a:gd name="connsiteX6329" fmla="*/ 5451495 w 6226010"/>
              <a:gd name="connsiteY6329" fmla="*/ 975616 h 5756219"/>
              <a:gd name="connsiteX6330" fmla="*/ 5463385 w 6226010"/>
              <a:gd name="connsiteY6330" fmla="*/ 991242 h 5756219"/>
              <a:gd name="connsiteX6331" fmla="*/ 5467831 w 6226010"/>
              <a:gd name="connsiteY6331" fmla="*/ 992081 h 5756219"/>
              <a:gd name="connsiteX6332" fmla="*/ 5451496 w 6226010"/>
              <a:gd name="connsiteY6332" fmla="*/ 997696 h 5756219"/>
              <a:gd name="connsiteX6333" fmla="*/ 5444393 w 6226010"/>
              <a:gd name="connsiteY6333" fmla="*/ 1003641 h 5756219"/>
              <a:gd name="connsiteX6334" fmla="*/ 5446060 w 6226010"/>
              <a:gd name="connsiteY6334" fmla="*/ 994639 h 5756219"/>
              <a:gd name="connsiteX6335" fmla="*/ 5427037 w 6226010"/>
              <a:gd name="connsiteY6335" fmla="*/ 1002792 h 5756219"/>
              <a:gd name="connsiteX6336" fmla="*/ 5443342 w 6226010"/>
              <a:gd name="connsiteY6336" fmla="*/ 972898 h 5756219"/>
              <a:gd name="connsiteX6337" fmla="*/ 5454213 w 6226010"/>
              <a:gd name="connsiteY6337" fmla="*/ 918546 h 5756219"/>
              <a:gd name="connsiteX6338" fmla="*/ 1666111 w 6226010"/>
              <a:gd name="connsiteY6338" fmla="*/ 918546 h 5756219"/>
              <a:gd name="connsiteX6339" fmla="*/ 1668603 w 6226010"/>
              <a:gd name="connsiteY6339" fmla="*/ 918546 h 5756219"/>
              <a:gd name="connsiteX6340" fmla="*/ 1666267 w 6226010"/>
              <a:gd name="connsiteY6340" fmla="*/ 927889 h 5756219"/>
              <a:gd name="connsiteX6341" fmla="*/ 1540876 w 6226010"/>
              <a:gd name="connsiteY6341" fmla="*/ 918546 h 5756219"/>
              <a:gd name="connsiteX6342" fmla="*/ 1540876 w 6226010"/>
              <a:gd name="connsiteY6342" fmla="*/ 921264 h 5756219"/>
              <a:gd name="connsiteX6343" fmla="*/ 1538158 w 6226010"/>
              <a:gd name="connsiteY6343" fmla="*/ 921264 h 5756219"/>
              <a:gd name="connsiteX6344" fmla="*/ 1538158 w 6226010"/>
              <a:gd name="connsiteY6344" fmla="*/ 929417 h 5756219"/>
              <a:gd name="connsiteX6345" fmla="*/ 1540876 w 6226010"/>
              <a:gd name="connsiteY6345" fmla="*/ 929417 h 5756219"/>
              <a:gd name="connsiteX6346" fmla="*/ 1540876 w 6226010"/>
              <a:gd name="connsiteY6346" fmla="*/ 934852 h 5756219"/>
              <a:gd name="connsiteX6347" fmla="*/ 1543593 w 6226010"/>
              <a:gd name="connsiteY6347" fmla="*/ 934852 h 5756219"/>
              <a:gd name="connsiteX6348" fmla="*/ 1543593 w 6226010"/>
              <a:gd name="connsiteY6348" fmla="*/ 918546 h 5756219"/>
              <a:gd name="connsiteX6349" fmla="*/ 1540876 w 6226010"/>
              <a:gd name="connsiteY6349" fmla="*/ 918546 h 5756219"/>
              <a:gd name="connsiteX6350" fmla="*/ 4822712 w 6226010"/>
              <a:gd name="connsiteY6350" fmla="*/ 914470 h 5756219"/>
              <a:gd name="connsiteX6351" fmla="*/ 4785685 w 6226010"/>
              <a:gd name="connsiteY6351" fmla="*/ 948440 h 5756219"/>
              <a:gd name="connsiteX6352" fmla="*/ 4853625 w 6226010"/>
              <a:gd name="connsiteY6352" fmla="*/ 937569 h 5756219"/>
              <a:gd name="connsiteX6353" fmla="*/ 4822712 w 6226010"/>
              <a:gd name="connsiteY6353" fmla="*/ 914470 h 5756219"/>
              <a:gd name="connsiteX6354" fmla="*/ 3127951 w 6226010"/>
              <a:gd name="connsiteY6354" fmla="*/ 913124 h 5756219"/>
              <a:gd name="connsiteX6355" fmla="*/ 3152410 w 6226010"/>
              <a:gd name="connsiteY6355" fmla="*/ 918559 h 5756219"/>
              <a:gd name="connsiteX6356" fmla="*/ 3152410 w 6226010"/>
              <a:gd name="connsiteY6356" fmla="*/ 929429 h 5756219"/>
              <a:gd name="connsiteX6357" fmla="*/ 3127951 w 6226010"/>
              <a:gd name="connsiteY6357" fmla="*/ 923994 h 5756219"/>
              <a:gd name="connsiteX6358" fmla="*/ 3127951 w 6226010"/>
              <a:gd name="connsiteY6358" fmla="*/ 913124 h 5756219"/>
              <a:gd name="connsiteX6359" fmla="*/ 5168865 w 6226010"/>
              <a:gd name="connsiteY6359" fmla="*/ 913112 h 5756219"/>
              <a:gd name="connsiteX6360" fmla="*/ 5144407 w 6226010"/>
              <a:gd name="connsiteY6360" fmla="*/ 921264 h 5756219"/>
              <a:gd name="connsiteX6361" fmla="*/ 5174300 w 6226010"/>
              <a:gd name="connsiteY6361" fmla="*/ 923981 h 5756219"/>
              <a:gd name="connsiteX6362" fmla="*/ 5168865 w 6226010"/>
              <a:gd name="connsiteY6362" fmla="*/ 913112 h 5756219"/>
              <a:gd name="connsiteX6363" fmla="*/ 1888728 w 6226010"/>
              <a:gd name="connsiteY6363" fmla="*/ 910406 h 5756219"/>
              <a:gd name="connsiteX6364" fmla="*/ 1894163 w 6226010"/>
              <a:gd name="connsiteY6364" fmla="*/ 910406 h 5756219"/>
              <a:gd name="connsiteX6365" fmla="*/ 1894163 w 6226010"/>
              <a:gd name="connsiteY6365" fmla="*/ 923993 h 5756219"/>
              <a:gd name="connsiteX6366" fmla="*/ 1888728 w 6226010"/>
              <a:gd name="connsiteY6366" fmla="*/ 923993 h 5756219"/>
              <a:gd name="connsiteX6367" fmla="*/ 1888728 w 6226010"/>
              <a:gd name="connsiteY6367" fmla="*/ 910406 h 5756219"/>
              <a:gd name="connsiteX6368" fmla="*/ 2418660 w 6226010"/>
              <a:gd name="connsiteY6368" fmla="*/ 904973 h 5756219"/>
              <a:gd name="connsiteX6369" fmla="*/ 2413225 w 6226010"/>
              <a:gd name="connsiteY6369" fmla="*/ 907248 h 5756219"/>
              <a:gd name="connsiteX6370" fmla="*/ 2413225 w 6226010"/>
              <a:gd name="connsiteY6370" fmla="*/ 913112 h 5756219"/>
              <a:gd name="connsiteX6371" fmla="*/ 2309955 w 6226010"/>
              <a:gd name="connsiteY6371" fmla="*/ 956592 h 5756219"/>
              <a:gd name="connsiteX6372" fmla="*/ 2309955 w 6226010"/>
              <a:gd name="connsiteY6372" fmla="*/ 959310 h 5756219"/>
              <a:gd name="connsiteX6373" fmla="*/ 2413225 w 6226010"/>
              <a:gd name="connsiteY6373" fmla="*/ 915829 h 5756219"/>
              <a:gd name="connsiteX6374" fmla="*/ 2413225 w 6226010"/>
              <a:gd name="connsiteY6374" fmla="*/ 934852 h 5756219"/>
              <a:gd name="connsiteX6375" fmla="*/ 2413225 w 6226010"/>
              <a:gd name="connsiteY6375" fmla="*/ 959310 h 5756219"/>
              <a:gd name="connsiteX6376" fmla="*/ 2413225 w 6226010"/>
              <a:gd name="connsiteY6376" fmla="*/ 983768 h 5756219"/>
              <a:gd name="connsiteX6377" fmla="*/ 2413225 w 6226010"/>
              <a:gd name="connsiteY6377" fmla="*/ 1008228 h 5756219"/>
              <a:gd name="connsiteX6378" fmla="*/ 2413225 w 6226010"/>
              <a:gd name="connsiteY6378" fmla="*/ 1032685 h 5756219"/>
              <a:gd name="connsiteX6379" fmla="*/ 2413225 w 6226010"/>
              <a:gd name="connsiteY6379" fmla="*/ 1260963 h 5756219"/>
              <a:gd name="connsiteX6380" fmla="*/ 2418660 w 6226010"/>
              <a:gd name="connsiteY6380" fmla="*/ 1260963 h 5756219"/>
              <a:gd name="connsiteX6381" fmla="*/ 2217557 w 6226010"/>
              <a:gd name="connsiteY6381" fmla="*/ 902254 h 5756219"/>
              <a:gd name="connsiteX6382" fmla="*/ 2220274 w 6226010"/>
              <a:gd name="connsiteY6382" fmla="*/ 902254 h 5756219"/>
              <a:gd name="connsiteX6383" fmla="*/ 2220274 w 6226010"/>
              <a:gd name="connsiteY6383" fmla="*/ 923994 h 5756219"/>
              <a:gd name="connsiteX6384" fmla="*/ 2217557 w 6226010"/>
              <a:gd name="connsiteY6384" fmla="*/ 923994 h 5756219"/>
              <a:gd name="connsiteX6385" fmla="*/ 2217557 w 6226010"/>
              <a:gd name="connsiteY6385" fmla="*/ 902254 h 5756219"/>
              <a:gd name="connsiteX6386" fmla="*/ 4723180 w 6226010"/>
              <a:gd name="connsiteY6386" fmla="*/ 899524 h 5756219"/>
              <a:gd name="connsiteX6387" fmla="*/ 4763944 w 6226010"/>
              <a:gd name="connsiteY6387" fmla="*/ 926699 h 5756219"/>
              <a:gd name="connsiteX6388" fmla="*/ 4723180 w 6226010"/>
              <a:gd name="connsiteY6388" fmla="*/ 899524 h 5756219"/>
              <a:gd name="connsiteX6389" fmla="*/ 1538158 w 6226010"/>
              <a:gd name="connsiteY6389" fmla="*/ 899524 h 5756219"/>
              <a:gd name="connsiteX6390" fmla="*/ 1538158 w 6226010"/>
              <a:gd name="connsiteY6390" fmla="*/ 915829 h 5756219"/>
              <a:gd name="connsiteX6391" fmla="*/ 1543593 w 6226010"/>
              <a:gd name="connsiteY6391" fmla="*/ 915829 h 5756219"/>
              <a:gd name="connsiteX6392" fmla="*/ 1543593 w 6226010"/>
              <a:gd name="connsiteY6392" fmla="*/ 899524 h 5756219"/>
              <a:gd name="connsiteX6393" fmla="*/ 1538158 w 6226010"/>
              <a:gd name="connsiteY6393" fmla="*/ 899524 h 5756219"/>
              <a:gd name="connsiteX6394" fmla="*/ 4882159 w 6226010"/>
              <a:gd name="connsiteY6394" fmla="*/ 895447 h 5756219"/>
              <a:gd name="connsiteX6395" fmla="*/ 4864495 w 6226010"/>
              <a:gd name="connsiteY6395" fmla="*/ 902241 h 5756219"/>
              <a:gd name="connsiteX6396" fmla="*/ 4869930 w 6226010"/>
              <a:gd name="connsiteY6396" fmla="*/ 915829 h 5756219"/>
              <a:gd name="connsiteX6397" fmla="*/ 4891671 w 6226010"/>
              <a:gd name="connsiteY6397" fmla="*/ 904958 h 5756219"/>
              <a:gd name="connsiteX6398" fmla="*/ 4882159 w 6226010"/>
              <a:gd name="connsiteY6398" fmla="*/ 895447 h 5756219"/>
              <a:gd name="connsiteX6399" fmla="*/ 3127951 w 6226010"/>
              <a:gd name="connsiteY6399" fmla="*/ 894101 h 5756219"/>
              <a:gd name="connsiteX6400" fmla="*/ 3152410 w 6226010"/>
              <a:gd name="connsiteY6400" fmla="*/ 899536 h 5756219"/>
              <a:gd name="connsiteX6401" fmla="*/ 3152410 w 6226010"/>
              <a:gd name="connsiteY6401" fmla="*/ 910406 h 5756219"/>
              <a:gd name="connsiteX6402" fmla="*/ 3127951 w 6226010"/>
              <a:gd name="connsiteY6402" fmla="*/ 904972 h 5756219"/>
              <a:gd name="connsiteX6403" fmla="*/ 3127951 w 6226010"/>
              <a:gd name="connsiteY6403" fmla="*/ 894101 h 5756219"/>
              <a:gd name="connsiteX6404" fmla="*/ 1663167 w 6226010"/>
              <a:gd name="connsiteY6404" fmla="*/ 885946 h 5756219"/>
              <a:gd name="connsiteX6405" fmla="*/ 1665885 w 6226010"/>
              <a:gd name="connsiteY6405" fmla="*/ 891381 h 5756219"/>
              <a:gd name="connsiteX6406" fmla="*/ 1665885 w 6226010"/>
              <a:gd name="connsiteY6406" fmla="*/ 885946 h 5756219"/>
              <a:gd name="connsiteX6407" fmla="*/ 1663167 w 6226010"/>
              <a:gd name="connsiteY6407" fmla="*/ 885946 h 5756219"/>
              <a:gd name="connsiteX6408" fmla="*/ 1896881 w 6226010"/>
              <a:gd name="connsiteY6408" fmla="*/ 885945 h 5756219"/>
              <a:gd name="connsiteX6409" fmla="*/ 1902316 w 6226010"/>
              <a:gd name="connsiteY6409" fmla="*/ 885945 h 5756219"/>
              <a:gd name="connsiteX6410" fmla="*/ 1902316 w 6226010"/>
              <a:gd name="connsiteY6410" fmla="*/ 894097 h 5756219"/>
              <a:gd name="connsiteX6411" fmla="*/ 1896881 w 6226010"/>
              <a:gd name="connsiteY6411" fmla="*/ 894097 h 5756219"/>
              <a:gd name="connsiteX6412" fmla="*/ 1896881 w 6226010"/>
              <a:gd name="connsiteY6412" fmla="*/ 885945 h 5756219"/>
              <a:gd name="connsiteX6413" fmla="*/ 4948740 w 6226010"/>
              <a:gd name="connsiteY6413" fmla="*/ 883217 h 5756219"/>
              <a:gd name="connsiteX6414" fmla="*/ 4949004 w 6226010"/>
              <a:gd name="connsiteY6414" fmla="*/ 883441 h 5756219"/>
              <a:gd name="connsiteX6415" fmla="*/ 4948610 w 6226010"/>
              <a:gd name="connsiteY6415" fmla="*/ 883337 h 5756219"/>
              <a:gd name="connsiteX6416" fmla="*/ 4796555 w 6226010"/>
              <a:gd name="connsiteY6416" fmla="*/ 883217 h 5756219"/>
              <a:gd name="connsiteX6417" fmla="*/ 4793837 w 6226010"/>
              <a:gd name="connsiteY6417" fmla="*/ 902241 h 5756219"/>
              <a:gd name="connsiteX6418" fmla="*/ 4777532 w 6226010"/>
              <a:gd name="connsiteY6418" fmla="*/ 894088 h 5756219"/>
              <a:gd name="connsiteX6419" fmla="*/ 4799273 w 6226010"/>
              <a:gd name="connsiteY6419" fmla="*/ 913112 h 5756219"/>
              <a:gd name="connsiteX6420" fmla="*/ 4815578 w 6226010"/>
              <a:gd name="connsiteY6420" fmla="*/ 896805 h 5756219"/>
              <a:gd name="connsiteX6421" fmla="*/ 4796555 w 6226010"/>
              <a:gd name="connsiteY6421" fmla="*/ 883217 h 5756219"/>
              <a:gd name="connsiteX6422" fmla="*/ 3127951 w 6226010"/>
              <a:gd name="connsiteY6422" fmla="*/ 877795 h 5756219"/>
              <a:gd name="connsiteX6423" fmla="*/ 3152410 w 6226010"/>
              <a:gd name="connsiteY6423" fmla="*/ 883230 h 5756219"/>
              <a:gd name="connsiteX6424" fmla="*/ 3152410 w 6226010"/>
              <a:gd name="connsiteY6424" fmla="*/ 894101 h 5756219"/>
              <a:gd name="connsiteX6425" fmla="*/ 3127951 w 6226010"/>
              <a:gd name="connsiteY6425" fmla="*/ 888666 h 5756219"/>
              <a:gd name="connsiteX6426" fmla="*/ 3127951 w 6226010"/>
              <a:gd name="connsiteY6426" fmla="*/ 877795 h 5756219"/>
              <a:gd name="connsiteX6427" fmla="*/ 2220274 w 6226010"/>
              <a:gd name="connsiteY6427" fmla="*/ 875077 h 5756219"/>
              <a:gd name="connsiteX6428" fmla="*/ 2220274 w 6226010"/>
              <a:gd name="connsiteY6428" fmla="*/ 896819 h 5756219"/>
              <a:gd name="connsiteX6429" fmla="*/ 2217557 w 6226010"/>
              <a:gd name="connsiteY6429" fmla="*/ 896819 h 5756219"/>
              <a:gd name="connsiteX6430" fmla="*/ 2220274 w 6226010"/>
              <a:gd name="connsiteY6430" fmla="*/ 875077 h 5756219"/>
              <a:gd name="connsiteX6431" fmla="*/ 5625421 w 6226010"/>
              <a:gd name="connsiteY6431" fmla="*/ 869630 h 5756219"/>
              <a:gd name="connsiteX6432" fmla="*/ 5611154 w 6226010"/>
              <a:gd name="connsiteY6432" fmla="*/ 892730 h 5756219"/>
              <a:gd name="connsiteX6433" fmla="*/ 5611001 w 6226010"/>
              <a:gd name="connsiteY6433" fmla="*/ 892866 h 5756219"/>
              <a:gd name="connsiteX6434" fmla="*/ 5610814 w 6226010"/>
              <a:gd name="connsiteY6434" fmla="*/ 891370 h 5756219"/>
              <a:gd name="connsiteX6435" fmla="*/ 5603680 w 6226010"/>
              <a:gd name="connsiteY6435" fmla="*/ 891370 h 5756219"/>
              <a:gd name="connsiteX6436" fmla="*/ 5598245 w 6226010"/>
              <a:gd name="connsiteY6436" fmla="*/ 894088 h 5756219"/>
              <a:gd name="connsiteX6437" fmla="*/ 5598118 w 6226010"/>
              <a:gd name="connsiteY6437" fmla="*/ 900075 h 5756219"/>
              <a:gd name="connsiteX6438" fmla="*/ 5601014 w 6226010"/>
              <a:gd name="connsiteY6438" fmla="*/ 901841 h 5756219"/>
              <a:gd name="connsiteX6439" fmla="*/ 5599434 w 6226010"/>
              <a:gd name="connsiteY6439" fmla="*/ 903260 h 5756219"/>
              <a:gd name="connsiteX6440" fmla="*/ 5592810 w 6226010"/>
              <a:gd name="connsiteY6440" fmla="*/ 915829 h 5756219"/>
              <a:gd name="connsiteX6441" fmla="*/ 5625421 w 6226010"/>
              <a:gd name="connsiteY6441" fmla="*/ 869630 h 5756219"/>
              <a:gd name="connsiteX6442" fmla="*/ 4965046 w 6226010"/>
              <a:gd name="connsiteY6442" fmla="*/ 869630 h 5756219"/>
              <a:gd name="connsiteX6443" fmla="*/ 4937870 w 6226010"/>
              <a:gd name="connsiteY6443" fmla="*/ 880500 h 5756219"/>
              <a:gd name="connsiteX6444" fmla="*/ 4948610 w 6226010"/>
              <a:gd name="connsiteY6444" fmla="*/ 883337 h 5756219"/>
              <a:gd name="connsiteX6445" fmla="*/ 4935492 w 6226010"/>
              <a:gd name="connsiteY6445" fmla="*/ 895446 h 5756219"/>
              <a:gd name="connsiteX6446" fmla="*/ 4940588 w 6226010"/>
              <a:gd name="connsiteY6446" fmla="*/ 907676 h 5756219"/>
              <a:gd name="connsiteX6447" fmla="*/ 4951458 w 6226010"/>
              <a:gd name="connsiteY6447" fmla="*/ 896805 h 5756219"/>
              <a:gd name="connsiteX6448" fmla="*/ 4962328 w 6226010"/>
              <a:gd name="connsiteY6448" fmla="*/ 910393 h 5756219"/>
              <a:gd name="connsiteX6449" fmla="*/ 4951458 w 6226010"/>
              <a:gd name="connsiteY6449" fmla="*/ 918546 h 5756219"/>
              <a:gd name="connsiteX6450" fmla="*/ 4965046 w 6226010"/>
              <a:gd name="connsiteY6450" fmla="*/ 921264 h 5756219"/>
              <a:gd name="connsiteX6451" fmla="*/ 4940588 w 6226010"/>
              <a:gd name="connsiteY6451" fmla="*/ 943004 h 5756219"/>
              <a:gd name="connsiteX6452" fmla="*/ 4937870 w 6226010"/>
              <a:gd name="connsiteY6452" fmla="*/ 915829 h 5756219"/>
              <a:gd name="connsiteX6453" fmla="*/ 4916129 w 6226010"/>
              <a:gd name="connsiteY6453" fmla="*/ 926699 h 5756219"/>
              <a:gd name="connsiteX6454" fmla="*/ 4932435 w 6226010"/>
              <a:gd name="connsiteY6454" fmla="*/ 956592 h 5756219"/>
              <a:gd name="connsiteX6455" fmla="*/ 4994939 w 6226010"/>
              <a:gd name="connsiteY6455" fmla="*/ 891370 h 5756219"/>
              <a:gd name="connsiteX6456" fmla="*/ 4966744 w 6226010"/>
              <a:gd name="connsiteY6456" fmla="*/ 898504 h 5756219"/>
              <a:gd name="connsiteX6457" fmla="*/ 4949004 w 6226010"/>
              <a:gd name="connsiteY6457" fmla="*/ 883441 h 5756219"/>
              <a:gd name="connsiteX6458" fmla="*/ 4955874 w 6226010"/>
              <a:gd name="connsiteY6458" fmla="*/ 885256 h 5756219"/>
              <a:gd name="connsiteX6459" fmla="*/ 4975916 w 6226010"/>
              <a:gd name="connsiteY6459" fmla="*/ 885935 h 5756219"/>
              <a:gd name="connsiteX6460" fmla="*/ 4965046 w 6226010"/>
              <a:gd name="connsiteY6460" fmla="*/ 869630 h 5756219"/>
              <a:gd name="connsiteX6461" fmla="*/ 3127951 w 6226010"/>
              <a:gd name="connsiteY6461" fmla="*/ 864206 h 5756219"/>
              <a:gd name="connsiteX6462" fmla="*/ 3152410 w 6226010"/>
              <a:gd name="connsiteY6462" fmla="*/ 869641 h 5756219"/>
              <a:gd name="connsiteX6463" fmla="*/ 3152410 w 6226010"/>
              <a:gd name="connsiteY6463" fmla="*/ 877795 h 5756219"/>
              <a:gd name="connsiteX6464" fmla="*/ 3127951 w 6226010"/>
              <a:gd name="connsiteY6464" fmla="*/ 872359 h 5756219"/>
              <a:gd name="connsiteX6465" fmla="*/ 3127951 w 6226010"/>
              <a:gd name="connsiteY6465" fmla="*/ 864206 h 5756219"/>
              <a:gd name="connsiteX6466" fmla="*/ 1888728 w 6226010"/>
              <a:gd name="connsiteY6466" fmla="*/ 864204 h 5756219"/>
              <a:gd name="connsiteX6467" fmla="*/ 1894163 w 6226010"/>
              <a:gd name="connsiteY6467" fmla="*/ 864204 h 5756219"/>
              <a:gd name="connsiteX6468" fmla="*/ 1894163 w 6226010"/>
              <a:gd name="connsiteY6468" fmla="*/ 872357 h 5756219"/>
              <a:gd name="connsiteX6469" fmla="*/ 1888728 w 6226010"/>
              <a:gd name="connsiteY6469" fmla="*/ 872357 h 5756219"/>
              <a:gd name="connsiteX6470" fmla="*/ 1888728 w 6226010"/>
              <a:gd name="connsiteY6470" fmla="*/ 864204 h 5756219"/>
              <a:gd name="connsiteX6471" fmla="*/ 1896881 w 6226010"/>
              <a:gd name="connsiteY6471" fmla="*/ 861485 h 5756219"/>
              <a:gd name="connsiteX6472" fmla="*/ 1902316 w 6226010"/>
              <a:gd name="connsiteY6472" fmla="*/ 861485 h 5756219"/>
              <a:gd name="connsiteX6473" fmla="*/ 1902316 w 6226010"/>
              <a:gd name="connsiteY6473" fmla="*/ 869639 h 5756219"/>
              <a:gd name="connsiteX6474" fmla="*/ 1902316 w 6226010"/>
              <a:gd name="connsiteY6474" fmla="*/ 883226 h 5756219"/>
              <a:gd name="connsiteX6475" fmla="*/ 1896881 w 6226010"/>
              <a:gd name="connsiteY6475" fmla="*/ 883226 h 5756219"/>
              <a:gd name="connsiteX6476" fmla="*/ 1896881 w 6226010"/>
              <a:gd name="connsiteY6476" fmla="*/ 869639 h 5756219"/>
              <a:gd name="connsiteX6477" fmla="*/ 1896881 w 6226010"/>
              <a:gd name="connsiteY6477" fmla="*/ 861485 h 5756219"/>
              <a:gd name="connsiteX6478" fmla="*/ 1614251 w 6226010"/>
              <a:gd name="connsiteY6478" fmla="*/ 858768 h 5756219"/>
              <a:gd name="connsiteX6479" fmla="*/ 1663167 w 6226010"/>
              <a:gd name="connsiteY6479" fmla="*/ 872357 h 5756219"/>
              <a:gd name="connsiteX6480" fmla="*/ 1663167 w 6226010"/>
              <a:gd name="connsiteY6480" fmla="*/ 883228 h 5756219"/>
              <a:gd name="connsiteX6481" fmla="*/ 1665885 w 6226010"/>
              <a:gd name="connsiteY6481" fmla="*/ 872357 h 5756219"/>
              <a:gd name="connsiteX6482" fmla="*/ 1671320 w 6226010"/>
              <a:gd name="connsiteY6482" fmla="*/ 875074 h 5756219"/>
              <a:gd name="connsiteX6483" fmla="*/ 1671320 w 6226010"/>
              <a:gd name="connsiteY6483" fmla="*/ 896816 h 5756219"/>
              <a:gd name="connsiteX6484" fmla="*/ 1614251 w 6226010"/>
              <a:gd name="connsiteY6484" fmla="*/ 880509 h 5756219"/>
              <a:gd name="connsiteX6485" fmla="*/ 1614251 w 6226010"/>
              <a:gd name="connsiteY6485" fmla="*/ 858768 h 5756219"/>
              <a:gd name="connsiteX6486" fmla="*/ 1663167 w 6226010"/>
              <a:gd name="connsiteY6486" fmla="*/ 853333 h 5756219"/>
              <a:gd name="connsiteX6487" fmla="*/ 1665885 w 6226010"/>
              <a:gd name="connsiteY6487" fmla="*/ 864204 h 5756219"/>
              <a:gd name="connsiteX6488" fmla="*/ 1665885 w 6226010"/>
              <a:gd name="connsiteY6488" fmla="*/ 853333 h 5756219"/>
              <a:gd name="connsiteX6489" fmla="*/ 1663167 w 6226010"/>
              <a:gd name="connsiteY6489" fmla="*/ 853333 h 5756219"/>
              <a:gd name="connsiteX6490" fmla="*/ 4812861 w 6226010"/>
              <a:gd name="connsiteY6490" fmla="*/ 853324 h 5756219"/>
              <a:gd name="connsiteX6491" fmla="*/ 4766661 w 6226010"/>
              <a:gd name="connsiteY6491" fmla="*/ 883217 h 5756219"/>
              <a:gd name="connsiteX6492" fmla="*/ 4782967 w 6226010"/>
              <a:gd name="connsiteY6492" fmla="*/ 888653 h 5756219"/>
              <a:gd name="connsiteX6493" fmla="*/ 4826449 w 6226010"/>
              <a:gd name="connsiteY6493" fmla="*/ 880500 h 5756219"/>
              <a:gd name="connsiteX6494" fmla="*/ 4810143 w 6226010"/>
              <a:gd name="connsiteY6494" fmla="*/ 866912 h 5756219"/>
              <a:gd name="connsiteX6495" fmla="*/ 4821013 w 6226010"/>
              <a:gd name="connsiteY6495" fmla="*/ 864194 h 5756219"/>
              <a:gd name="connsiteX6496" fmla="*/ 4812861 w 6226010"/>
              <a:gd name="connsiteY6496" fmla="*/ 853324 h 5756219"/>
              <a:gd name="connsiteX6497" fmla="*/ 2220274 w 6226010"/>
              <a:gd name="connsiteY6497" fmla="*/ 845182 h 5756219"/>
              <a:gd name="connsiteX6498" fmla="*/ 2220274 w 6226010"/>
              <a:gd name="connsiteY6498" fmla="*/ 866923 h 5756219"/>
              <a:gd name="connsiteX6499" fmla="*/ 2217557 w 6226010"/>
              <a:gd name="connsiteY6499" fmla="*/ 866923 h 5756219"/>
              <a:gd name="connsiteX6500" fmla="*/ 2220274 w 6226010"/>
              <a:gd name="connsiteY6500" fmla="*/ 845182 h 5756219"/>
              <a:gd name="connsiteX6501" fmla="*/ 3127951 w 6226010"/>
              <a:gd name="connsiteY6501" fmla="*/ 845181 h 5756219"/>
              <a:gd name="connsiteX6502" fmla="*/ 3152410 w 6226010"/>
              <a:gd name="connsiteY6502" fmla="*/ 850616 h 5756219"/>
              <a:gd name="connsiteX6503" fmla="*/ 3152410 w 6226010"/>
              <a:gd name="connsiteY6503" fmla="*/ 861487 h 5756219"/>
              <a:gd name="connsiteX6504" fmla="*/ 3127951 w 6226010"/>
              <a:gd name="connsiteY6504" fmla="*/ 856051 h 5756219"/>
              <a:gd name="connsiteX6505" fmla="*/ 3127951 w 6226010"/>
              <a:gd name="connsiteY6505" fmla="*/ 845181 h 5756219"/>
              <a:gd name="connsiteX6506" fmla="*/ 1896881 w 6226010"/>
              <a:gd name="connsiteY6506" fmla="*/ 845179 h 5756219"/>
              <a:gd name="connsiteX6507" fmla="*/ 1902316 w 6226010"/>
              <a:gd name="connsiteY6507" fmla="*/ 845179 h 5756219"/>
              <a:gd name="connsiteX6508" fmla="*/ 1902316 w 6226010"/>
              <a:gd name="connsiteY6508" fmla="*/ 858768 h 5756219"/>
              <a:gd name="connsiteX6509" fmla="*/ 1896881 w 6226010"/>
              <a:gd name="connsiteY6509" fmla="*/ 858768 h 5756219"/>
              <a:gd name="connsiteX6510" fmla="*/ 1896881 w 6226010"/>
              <a:gd name="connsiteY6510" fmla="*/ 845179 h 5756219"/>
              <a:gd name="connsiteX6511" fmla="*/ 1888728 w 6226010"/>
              <a:gd name="connsiteY6511" fmla="*/ 839744 h 5756219"/>
              <a:gd name="connsiteX6512" fmla="*/ 1894163 w 6226010"/>
              <a:gd name="connsiteY6512" fmla="*/ 839744 h 5756219"/>
              <a:gd name="connsiteX6513" fmla="*/ 1894163 w 6226010"/>
              <a:gd name="connsiteY6513" fmla="*/ 847897 h 5756219"/>
              <a:gd name="connsiteX6514" fmla="*/ 1894163 w 6226010"/>
              <a:gd name="connsiteY6514" fmla="*/ 861485 h 5756219"/>
              <a:gd name="connsiteX6515" fmla="*/ 1888728 w 6226010"/>
              <a:gd name="connsiteY6515" fmla="*/ 861485 h 5756219"/>
              <a:gd name="connsiteX6516" fmla="*/ 1888728 w 6226010"/>
              <a:gd name="connsiteY6516" fmla="*/ 847897 h 5756219"/>
              <a:gd name="connsiteX6517" fmla="*/ 1888728 w 6226010"/>
              <a:gd name="connsiteY6517" fmla="*/ 839744 h 5756219"/>
              <a:gd name="connsiteX6518" fmla="*/ 3127951 w 6226010"/>
              <a:gd name="connsiteY6518" fmla="*/ 828878 h 5756219"/>
              <a:gd name="connsiteX6519" fmla="*/ 3152410 w 6226010"/>
              <a:gd name="connsiteY6519" fmla="*/ 834312 h 5756219"/>
              <a:gd name="connsiteX6520" fmla="*/ 3152410 w 6226010"/>
              <a:gd name="connsiteY6520" fmla="*/ 845182 h 5756219"/>
              <a:gd name="connsiteX6521" fmla="*/ 3127951 w 6226010"/>
              <a:gd name="connsiteY6521" fmla="*/ 839747 h 5756219"/>
              <a:gd name="connsiteX6522" fmla="*/ 3127951 w 6226010"/>
              <a:gd name="connsiteY6522" fmla="*/ 828878 h 5756219"/>
              <a:gd name="connsiteX6523" fmla="*/ 1614251 w 6226010"/>
              <a:gd name="connsiteY6523" fmla="*/ 828874 h 5756219"/>
              <a:gd name="connsiteX6524" fmla="*/ 1671320 w 6226010"/>
              <a:gd name="connsiteY6524" fmla="*/ 845180 h 5756219"/>
              <a:gd name="connsiteX6525" fmla="*/ 1671320 w 6226010"/>
              <a:gd name="connsiteY6525" fmla="*/ 866922 h 5756219"/>
              <a:gd name="connsiteX6526" fmla="*/ 1614251 w 6226010"/>
              <a:gd name="connsiteY6526" fmla="*/ 850615 h 5756219"/>
              <a:gd name="connsiteX6527" fmla="*/ 1614251 w 6226010"/>
              <a:gd name="connsiteY6527" fmla="*/ 828874 h 5756219"/>
              <a:gd name="connsiteX6528" fmla="*/ 1888728 w 6226010"/>
              <a:gd name="connsiteY6528" fmla="*/ 823441 h 5756219"/>
              <a:gd name="connsiteX6529" fmla="*/ 1894163 w 6226010"/>
              <a:gd name="connsiteY6529" fmla="*/ 823441 h 5756219"/>
              <a:gd name="connsiteX6530" fmla="*/ 1894163 w 6226010"/>
              <a:gd name="connsiteY6530" fmla="*/ 837028 h 5756219"/>
              <a:gd name="connsiteX6531" fmla="*/ 1888728 w 6226010"/>
              <a:gd name="connsiteY6531" fmla="*/ 837028 h 5756219"/>
              <a:gd name="connsiteX6532" fmla="*/ 1888728 w 6226010"/>
              <a:gd name="connsiteY6532" fmla="*/ 823441 h 5756219"/>
              <a:gd name="connsiteX6533" fmla="*/ 1896881 w 6226010"/>
              <a:gd name="connsiteY6533" fmla="*/ 823439 h 5756219"/>
              <a:gd name="connsiteX6534" fmla="*/ 1902316 w 6226010"/>
              <a:gd name="connsiteY6534" fmla="*/ 823439 h 5756219"/>
              <a:gd name="connsiteX6535" fmla="*/ 1902316 w 6226010"/>
              <a:gd name="connsiteY6535" fmla="*/ 831592 h 5756219"/>
              <a:gd name="connsiteX6536" fmla="*/ 1896881 w 6226010"/>
              <a:gd name="connsiteY6536" fmla="*/ 831592 h 5756219"/>
              <a:gd name="connsiteX6537" fmla="*/ 1896881 w 6226010"/>
              <a:gd name="connsiteY6537" fmla="*/ 823439 h 5756219"/>
              <a:gd name="connsiteX6538" fmla="*/ 4679697 w 6226010"/>
              <a:gd name="connsiteY6538" fmla="*/ 817995 h 5756219"/>
              <a:gd name="connsiteX6539" fmla="*/ 4657957 w 6226010"/>
              <a:gd name="connsiteY6539" fmla="*/ 847889 h 5756219"/>
              <a:gd name="connsiteX6540" fmla="*/ 4655239 w 6226010"/>
              <a:gd name="connsiteY6540" fmla="*/ 853324 h 5756219"/>
              <a:gd name="connsiteX6541" fmla="*/ 4657957 w 6226010"/>
              <a:gd name="connsiteY6541" fmla="*/ 853324 h 5756219"/>
              <a:gd name="connsiteX6542" fmla="*/ 4687851 w 6226010"/>
              <a:gd name="connsiteY6542" fmla="*/ 837018 h 5756219"/>
              <a:gd name="connsiteX6543" fmla="*/ 4679697 w 6226010"/>
              <a:gd name="connsiteY6543" fmla="*/ 817995 h 5756219"/>
              <a:gd name="connsiteX6544" fmla="*/ 4653880 w 6226010"/>
              <a:gd name="connsiteY6544" fmla="*/ 816295 h 5756219"/>
              <a:gd name="connsiteX6545" fmla="*/ 4647087 w 6226010"/>
              <a:gd name="connsiteY6545" fmla="*/ 820713 h 5756219"/>
              <a:gd name="connsiteX6546" fmla="*/ 4660675 w 6226010"/>
              <a:gd name="connsiteY6546" fmla="*/ 817995 h 5756219"/>
              <a:gd name="connsiteX6547" fmla="*/ 4653880 w 6226010"/>
              <a:gd name="connsiteY6547" fmla="*/ 816295 h 5756219"/>
              <a:gd name="connsiteX6548" fmla="*/ 2220274 w 6226010"/>
              <a:gd name="connsiteY6548" fmla="*/ 812570 h 5756219"/>
              <a:gd name="connsiteX6549" fmla="*/ 2220274 w 6226010"/>
              <a:gd name="connsiteY6549" fmla="*/ 837029 h 5756219"/>
              <a:gd name="connsiteX6550" fmla="*/ 2217557 w 6226010"/>
              <a:gd name="connsiteY6550" fmla="*/ 837029 h 5756219"/>
              <a:gd name="connsiteX6551" fmla="*/ 2220274 w 6226010"/>
              <a:gd name="connsiteY6551" fmla="*/ 812570 h 5756219"/>
              <a:gd name="connsiteX6552" fmla="*/ 4638933 w 6226010"/>
              <a:gd name="connsiteY6552" fmla="*/ 812560 h 5756219"/>
              <a:gd name="connsiteX6553" fmla="*/ 4638933 w 6226010"/>
              <a:gd name="connsiteY6553" fmla="*/ 820713 h 5756219"/>
              <a:gd name="connsiteX6554" fmla="*/ 4644369 w 6226010"/>
              <a:gd name="connsiteY6554" fmla="*/ 812560 h 5756219"/>
              <a:gd name="connsiteX6555" fmla="*/ 3127951 w 6226010"/>
              <a:gd name="connsiteY6555" fmla="*/ 809853 h 5756219"/>
              <a:gd name="connsiteX6556" fmla="*/ 3152410 w 6226010"/>
              <a:gd name="connsiteY6556" fmla="*/ 815289 h 5756219"/>
              <a:gd name="connsiteX6557" fmla="*/ 3152410 w 6226010"/>
              <a:gd name="connsiteY6557" fmla="*/ 826159 h 5756219"/>
              <a:gd name="connsiteX6558" fmla="*/ 3127951 w 6226010"/>
              <a:gd name="connsiteY6558" fmla="*/ 820725 h 5756219"/>
              <a:gd name="connsiteX6559" fmla="*/ 3127951 w 6226010"/>
              <a:gd name="connsiteY6559" fmla="*/ 809853 h 5756219"/>
              <a:gd name="connsiteX6560" fmla="*/ 4804708 w 6226010"/>
              <a:gd name="connsiteY6560" fmla="*/ 809841 h 5756219"/>
              <a:gd name="connsiteX6561" fmla="*/ 4791120 w 6226010"/>
              <a:gd name="connsiteY6561" fmla="*/ 847889 h 5756219"/>
              <a:gd name="connsiteX6562" fmla="*/ 4823731 w 6226010"/>
              <a:gd name="connsiteY6562" fmla="*/ 845171 h 5756219"/>
              <a:gd name="connsiteX6563" fmla="*/ 4826449 w 6226010"/>
              <a:gd name="connsiteY6563" fmla="*/ 828866 h 5756219"/>
              <a:gd name="connsiteX6564" fmla="*/ 4804708 w 6226010"/>
              <a:gd name="connsiteY6564" fmla="*/ 809841 h 5756219"/>
              <a:gd name="connsiteX6565" fmla="*/ 1538158 w 6226010"/>
              <a:gd name="connsiteY6565" fmla="*/ 809841 h 5756219"/>
              <a:gd name="connsiteX6566" fmla="*/ 1538158 w 6226010"/>
              <a:gd name="connsiteY6566" fmla="*/ 826148 h 5756219"/>
              <a:gd name="connsiteX6567" fmla="*/ 1543593 w 6226010"/>
              <a:gd name="connsiteY6567" fmla="*/ 826148 h 5756219"/>
              <a:gd name="connsiteX6568" fmla="*/ 1543593 w 6226010"/>
              <a:gd name="connsiteY6568" fmla="*/ 809841 h 5756219"/>
              <a:gd name="connsiteX6569" fmla="*/ 1538158 w 6226010"/>
              <a:gd name="connsiteY6569" fmla="*/ 809841 h 5756219"/>
              <a:gd name="connsiteX6570" fmla="*/ 1896881 w 6226010"/>
              <a:gd name="connsiteY6570" fmla="*/ 807134 h 5756219"/>
              <a:gd name="connsiteX6571" fmla="*/ 1902316 w 6226010"/>
              <a:gd name="connsiteY6571" fmla="*/ 807134 h 5756219"/>
              <a:gd name="connsiteX6572" fmla="*/ 1902316 w 6226010"/>
              <a:gd name="connsiteY6572" fmla="*/ 820722 h 5756219"/>
              <a:gd name="connsiteX6573" fmla="*/ 1896881 w 6226010"/>
              <a:gd name="connsiteY6573" fmla="*/ 820722 h 5756219"/>
              <a:gd name="connsiteX6574" fmla="*/ 1896881 w 6226010"/>
              <a:gd name="connsiteY6574" fmla="*/ 807134 h 5756219"/>
              <a:gd name="connsiteX6575" fmla="*/ 1888728 w 6226010"/>
              <a:gd name="connsiteY6575" fmla="*/ 801696 h 5756219"/>
              <a:gd name="connsiteX6576" fmla="*/ 1894163 w 6226010"/>
              <a:gd name="connsiteY6576" fmla="*/ 801696 h 5756219"/>
              <a:gd name="connsiteX6577" fmla="*/ 1894163 w 6226010"/>
              <a:gd name="connsiteY6577" fmla="*/ 809849 h 5756219"/>
              <a:gd name="connsiteX6578" fmla="*/ 1888728 w 6226010"/>
              <a:gd name="connsiteY6578" fmla="*/ 809849 h 5756219"/>
              <a:gd name="connsiteX6579" fmla="*/ 1888728 w 6226010"/>
              <a:gd name="connsiteY6579" fmla="*/ 801696 h 5756219"/>
              <a:gd name="connsiteX6580" fmla="*/ 4963347 w 6226010"/>
              <a:gd name="connsiteY6580" fmla="*/ 800671 h 5756219"/>
              <a:gd name="connsiteX6581" fmla="*/ 4954176 w 6226010"/>
              <a:gd name="connsiteY6581" fmla="*/ 801691 h 5756219"/>
              <a:gd name="connsiteX6582" fmla="*/ 4951458 w 6226010"/>
              <a:gd name="connsiteY6582" fmla="*/ 861477 h 5756219"/>
              <a:gd name="connsiteX6583" fmla="*/ 4970481 w 6226010"/>
              <a:gd name="connsiteY6583" fmla="*/ 801691 h 5756219"/>
              <a:gd name="connsiteX6584" fmla="*/ 4963347 w 6226010"/>
              <a:gd name="connsiteY6584" fmla="*/ 800671 h 5756219"/>
              <a:gd name="connsiteX6585" fmla="*/ 1614251 w 6226010"/>
              <a:gd name="connsiteY6585" fmla="*/ 796263 h 5756219"/>
              <a:gd name="connsiteX6586" fmla="*/ 1671320 w 6226010"/>
              <a:gd name="connsiteY6586" fmla="*/ 815288 h 5756219"/>
              <a:gd name="connsiteX6587" fmla="*/ 1671320 w 6226010"/>
              <a:gd name="connsiteY6587" fmla="*/ 839746 h 5756219"/>
              <a:gd name="connsiteX6588" fmla="*/ 1614251 w 6226010"/>
              <a:gd name="connsiteY6588" fmla="*/ 820722 h 5756219"/>
              <a:gd name="connsiteX6589" fmla="*/ 1614251 w 6226010"/>
              <a:gd name="connsiteY6589" fmla="*/ 796263 h 5756219"/>
              <a:gd name="connsiteX6590" fmla="*/ 3127951 w 6226010"/>
              <a:gd name="connsiteY6590" fmla="*/ 793546 h 5756219"/>
              <a:gd name="connsiteX6591" fmla="*/ 3152410 w 6226010"/>
              <a:gd name="connsiteY6591" fmla="*/ 798980 h 5756219"/>
              <a:gd name="connsiteX6592" fmla="*/ 3152410 w 6226010"/>
              <a:gd name="connsiteY6592" fmla="*/ 809853 h 5756219"/>
              <a:gd name="connsiteX6593" fmla="*/ 3127951 w 6226010"/>
              <a:gd name="connsiteY6593" fmla="*/ 804416 h 5756219"/>
              <a:gd name="connsiteX6594" fmla="*/ 3127951 w 6226010"/>
              <a:gd name="connsiteY6594" fmla="*/ 793546 h 5756219"/>
              <a:gd name="connsiteX6595" fmla="*/ 2217557 w 6226010"/>
              <a:gd name="connsiteY6595" fmla="*/ 785398 h 5756219"/>
              <a:gd name="connsiteX6596" fmla="*/ 2220274 w 6226010"/>
              <a:gd name="connsiteY6596" fmla="*/ 785398 h 5756219"/>
              <a:gd name="connsiteX6597" fmla="*/ 2220274 w 6226010"/>
              <a:gd name="connsiteY6597" fmla="*/ 807134 h 5756219"/>
              <a:gd name="connsiteX6598" fmla="*/ 2217557 w 6226010"/>
              <a:gd name="connsiteY6598" fmla="*/ 807134 h 5756219"/>
              <a:gd name="connsiteX6599" fmla="*/ 2217557 w 6226010"/>
              <a:gd name="connsiteY6599" fmla="*/ 785398 h 5756219"/>
              <a:gd name="connsiteX6600" fmla="*/ 1888728 w 6226010"/>
              <a:gd name="connsiteY6600" fmla="*/ 785394 h 5756219"/>
              <a:gd name="connsiteX6601" fmla="*/ 1894163 w 6226010"/>
              <a:gd name="connsiteY6601" fmla="*/ 785394 h 5756219"/>
              <a:gd name="connsiteX6602" fmla="*/ 1894163 w 6226010"/>
              <a:gd name="connsiteY6602" fmla="*/ 798980 h 5756219"/>
              <a:gd name="connsiteX6603" fmla="*/ 1888728 w 6226010"/>
              <a:gd name="connsiteY6603" fmla="*/ 798980 h 5756219"/>
              <a:gd name="connsiteX6604" fmla="*/ 1888728 w 6226010"/>
              <a:gd name="connsiteY6604" fmla="*/ 785394 h 5756219"/>
              <a:gd name="connsiteX6605" fmla="*/ 4766661 w 6226010"/>
              <a:gd name="connsiteY6605" fmla="*/ 779949 h 5756219"/>
              <a:gd name="connsiteX6606" fmla="*/ 4717745 w 6226010"/>
              <a:gd name="connsiteY6606" fmla="*/ 856042 h 5756219"/>
              <a:gd name="connsiteX6607" fmla="*/ 4713450 w 6226010"/>
              <a:gd name="connsiteY6607" fmla="*/ 850437 h 5756219"/>
              <a:gd name="connsiteX6608" fmla="*/ 4739443 w 6226010"/>
              <a:gd name="connsiteY6608" fmla="*/ 830989 h 5756219"/>
              <a:gd name="connsiteX6609" fmla="*/ 4756810 w 6226010"/>
              <a:gd name="connsiteY6609" fmla="*/ 805087 h 5756219"/>
              <a:gd name="connsiteX6610" fmla="*/ 4760157 w 6226010"/>
              <a:gd name="connsiteY6610" fmla="*/ 790550 h 5756219"/>
              <a:gd name="connsiteX6611" fmla="*/ 3127951 w 6226010"/>
              <a:gd name="connsiteY6611" fmla="*/ 777246 h 5756219"/>
              <a:gd name="connsiteX6612" fmla="*/ 3152410 w 6226010"/>
              <a:gd name="connsiteY6612" fmla="*/ 782679 h 5756219"/>
              <a:gd name="connsiteX6613" fmla="*/ 3152410 w 6226010"/>
              <a:gd name="connsiteY6613" fmla="*/ 793548 h 5756219"/>
              <a:gd name="connsiteX6614" fmla="*/ 3127951 w 6226010"/>
              <a:gd name="connsiteY6614" fmla="*/ 788115 h 5756219"/>
              <a:gd name="connsiteX6615" fmla="*/ 3127951 w 6226010"/>
              <a:gd name="connsiteY6615" fmla="*/ 777246 h 5756219"/>
              <a:gd name="connsiteX6616" fmla="*/ 1896881 w 6226010"/>
              <a:gd name="connsiteY6616" fmla="*/ 774521 h 5756219"/>
              <a:gd name="connsiteX6617" fmla="*/ 1902316 w 6226010"/>
              <a:gd name="connsiteY6617" fmla="*/ 774521 h 5756219"/>
              <a:gd name="connsiteX6618" fmla="*/ 1902316 w 6226010"/>
              <a:gd name="connsiteY6618" fmla="*/ 782676 h 5756219"/>
              <a:gd name="connsiteX6619" fmla="*/ 1896881 w 6226010"/>
              <a:gd name="connsiteY6619" fmla="*/ 782676 h 5756219"/>
              <a:gd name="connsiteX6620" fmla="*/ 1896881 w 6226010"/>
              <a:gd name="connsiteY6620" fmla="*/ 774521 h 5756219"/>
              <a:gd name="connsiteX6621" fmla="*/ 4647087 w 6226010"/>
              <a:gd name="connsiteY6621" fmla="*/ 771796 h 5756219"/>
              <a:gd name="connsiteX6622" fmla="*/ 4644369 w 6226010"/>
              <a:gd name="connsiteY6622" fmla="*/ 779949 h 5756219"/>
              <a:gd name="connsiteX6623" fmla="*/ 4647087 w 6226010"/>
              <a:gd name="connsiteY6623" fmla="*/ 782667 h 5756219"/>
              <a:gd name="connsiteX6624" fmla="*/ 4647087 w 6226010"/>
              <a:gd name="connsiteY6624" fmla="*/ 771796 h 5756219"/>
              <a:gd name="connsiteX6625" fmla="*/ 3127951 w 6226010"/>
              <a:gd name="connsiteY6625" fmla="*/ 760938 h 5756219"/>
              <a:gd name="connsiteX6626" fmla="*/ 3152410 w 6226010"/>
              <a:gd name="connsiteY6626" fmla="*/ 766373 h 5756219"/>
              <a:gd name="connsiteX6627" fmla="*/ 3152410 w 6226010"/>
              <a:gd name="connsiteY6627" fmla="*/ 777246 h 5756219"/>
              <a:gd name="connsiteX6628" fmla="*/ 3127951 w 6226010"/>
              <a:gd name="connsiteY6628" fmla="*/ 771808 h 5756219"/>
              <a:gd name="connsiteX6629" fmla="*/ 3127951 w 6226010"/>
              <a:gd name="connsiteY6629" fmla="*/ 760938 h 5756219"/>
              <a:gd name="connsiteX6630" fmla="*/ 4649805 w 6226010"/>
              <a:gd name="connsiteY6630" fmla="*/ 760926 h 5756219"/>
              <a:gd name="connsiteX6631" fmla="*/ 4655239 w 6226010"/>
              <a:gd name="connsiteY6631" fmla="*/ 763643 h 5756219"/>
              <a:gd name="connsiteX6632" fmla="*/ 4647087 w 6226010"/>
              <a:gd name="connsiteY6632" fmla="*/ 763643 h 5756219"/>
              <a:gd name="connsiteX6633" fmla="*/ 1896881 w 6226010"/>
              <a:gd name="connsiteY6633" fmla="*/ 758216 h 5756219"/>
              <a:gd name="connsiteX6634" fmla="*/ 1902316 w 6226010"/>
              <a:gd name="connsiteY6634" fmla="*/ 758216 h 5756219"/>
              <a:gd name="connsiteX6635" fmla="*/ 1902316 w 6226010"/>
              <a:gd name="connsiteY6635" fmla="*/ 771804 h 5756219"/>
              <a:gd name="connsiteX6636" fmla="*/ 1896881 w 6226010"/>
              <a:gd name="connsiteY6636" fmla="*/ 771804 h 5756219"/>
              <a:gd name="connsiteX6637" fmla="*/ 1896881 w 6226010"/>
              <a:gd name="connsiteY6637" fmla="*/ 758216 h 5756219"/>
              <a:gd name="connsiteX6638" fmla="*/ 2217557 w 6226010"/>
              <a:gd name="connsiteY6638" fmla="*/ 755502 h 5756219"/>
              <a:gd name="connsiteX6639" fmla="*/ 2220274 w 6226010"/>
              <a:gd name="connsiteY6639" fmla="*/ 755502 h 5756219"/>
              <a:gd name="connsiteX6640" fmla="*/ 2220274 w 6226010"/>
              <a:gd name="connsiteY6640" fmla="*/ 777246 h 5756219"/>
              <a:gd name="connsiteX6641" fmla="*/ 2217557 w 6226010"/>
              <a:gd name="connsiteY6641" fmla="*/ 777246 h 5756219"/>
              <a:gd name="connsiteX6642" fmla="*/ 2217557 w 6226010"/>
              <a:gd name="connsiteY6642" fmla="*/ 755502 h 5756219"/>
              <a:gd name="connsiteX6643" fmla="*/ 1888728 w 6226010"/>
              <a:gd name="connsiteY6643" fmla="*/ 752782 h 5756219"/>
              <a:gd name="connsiteX6644" fmla="*/ 1894163 w 6226010"/>
              <a:gd name="connsiteY6644" fmla="*/ 752782 h 5756219"/>
              <a:gd name="connsiteX6645" fmla="*/ 1894163 w 6226010"/>
              <a:gd name="connsiteY6645" fmla="*/ 760934 h 5756219"/>
              <a:gd name="connsiteX6646" fmla="*/ 1888728 w 6226010"/>
              <a:gd name="connsiteY6646" fmla="*/ 760934 h 5756219"/>
              <a:gd name="connsiteX6647" fmla="*/ 1888728 w 6226010"/>
              <a:gd name="connsiteY6647" fmla="*/ 752782 h 5756219"/>
              <a:gd name="connsiteX6648" fmla="*/ 3127951 w 6226010"/>
              <a:gd name="connsiteY6648" fmla="*/ 747351 h 5756219"/>
              <a:gd name="connsiteX6649" fmla="*/ 3152410 w 6226010"/>
              <a:gd name="connsiteY6649" fmla="*/ 750065 h 5756219"/>
              <a:gd name="connsiteX6650" fmla="*/ 3152410 w 6226010"/>
              <a:gd name="connsiteY6650" fmla="*/ 760938 h 5756219"/>
              <a:gd name="connsiteX6651" fmla="*/ 3127951 w 6226010"/>
              <a:gd name="connsiteY6651" fmla="*/ 755502 h 5756219"/>
              <a:gd name="connsiteX6652" fmla="*/ 3127951 w 6226010"/>
              <a:gd name="connsiteY6652" fmla="*/ 747351 h 5756219"/>
              <a:gd name="connsiteX6653" fmla="*/ 4861777 w 6226010"/>
              <a:gd name="connsiteY6653" fmla="*/ 747338 h 5756219"/>
              <a:gd name="connsiteX6654" fmla="*/ 4848189 w 6226010"/>
              <a:gd name="connsiteY6654" fmla="*/ 793537 h 5756219"/>
              <a:gd name="connsiteX6655" fmla="*/ 4840037 w 6226010"/>
              <a:gd name="connsiteY6655" fmla="*/ 793537 h 5756219"/>
              <a:gd name="connsiteX6656" fmla="*/ 4859060 w 6226010"/>
              <a:gd name="connsiteY6656" fmla="*/ 847889 h 5756219"/>
              <a:gd name="connsiteX6657" fmla="*/ 4867213 w 6226010"/>
              <a:gd name="connsiteY6657" fmla="*/ 872347 h 5756219"/>
              <a:gd name="connsiteX6658" fmla="*/ 4875365 w 6226010"/>
              <a:gd name="connsiteY6658" fmla="*/ 877782 h 5756219"/>
              <a:gd name="connsiteX6659" fmla="*/ 4905259 w 6226010"/>
              <a:gd name="connsiteY6659" fmla="*/ 861477 h 5756219"/>
              <a:gd name="connsiteX6660" fmla="*/ 4897106 w 6226010"/>
              <a:gd name="connsiteY6660" fmla="*/ 817995 h 5756219"/>
              <a:gd name="connsiteX6661" fmla="*/ 4872648 w 6226010"/>
              <a:gd name="connsiteY6661" fmla="*/ 820713 h 5756219"/>
              <a:gd name="connsiteX6662" fmla="*/ 4891671 w 6226010"/>
              <a:gd name="connsiteY6662" fmla="*/ 801691 h 5756219"/>
              <a:gd name="connsiteX6663" fmla="*/ 4864495 w 6226010"/>
              <a:gd name="connsiteY6663" fmla="*/ 798972 h 5756219"/>
              <a:gd name="connsiteX6664" fmla="*/ 4872648 w 6226010"/>
              <a:gd name="connsiteY6664" fmla="*/ 788102 h 5756219"/>
              <a:gd name="connsiteX6665" fmla="*/ 4856342 w 6226010"/>
              <a:gd name="connsiteY6665" fmla="*/ 782667 h 5756219"/>
              <a:gd name="connsiteX6666" fmla="*/ 4894389 w 6226010"/>
              <a:gd name="connsiteY6666" fmla="*/ 763643 h 5756219"/>
              <a:gd name="connsiteX6667" fmla="*/ 4861777 w 6226010"/>
              <a:gd name="connsiteY6667" fmla="*/ 747338 h 5756219"/>
              <a:gd name="connsiteX6668" fmla="*/ 4823731 w 6226010"/>
              <a:gd name="connsiteY6668" fmla="*/ 747338 h 5756219"/>
              <a:gd name="connsiteX6669" fmla="*/ 4823731 w 6226010"/>
              <a:gd name="connsiteY6669" fmla="*/ 785384 h 5756219"/>
              <a:gd name="connsiteX6670" fmla="*/ 4823731 w 6226010"/>
              <a:gd name="connsiteY6670" fmla="*/ 747338 h 5756219"/>
              <a:gd name="connsiteX6671" fmla="*/ 4769474 w 6226010"/>
              <a:gd name="connsiteY6671" fmla="*/ 742506 h 5756219"/>
              <a:gd name="connsiteX6672" fmla="*/ 4769379 w 6226010"/>
              <a:gd name="connsiteY6672" fmla="*/ 750055 h 5756219"/>
              <a:gd name="connsiteX6673" fmla="*/ 4793837 w 6226010"/>
              <a:gd name="connsiteY6673" fmla="*/ 752773 h 5756219"/>
              <a:gd name="connsiteX6674" fmla="*/ 4788402 w 6226010"/>
              <a:gd name="connsiteY6674" fmla="*/ 760926 h 5756219"/>
              <a:gd name="connsiteX6675" fmla="*/ 4767001 w 6226010"/>
              <a:gd name="connsiteY6675" fmla="*/ 753113 h 5756219"/>
              <a:gd name="connsiteX6676" fmla="*/ 4763388 w 6226010"/>
              <a:gd name="connsiteY6676" fmla="*/ 744066 h 5756219"/>
              <a:gd name="connsiteX6677" fmla="*/ 4932435 w 6226010"/>
              <a:gd name="connsiteY6677" fmla="*/ 739185 h 5756219"/>
              <a:gd name="connsiteX6678" fmla="*/ 4927000 w 6226010"/>
              <a:gd name="connsiteY6678" fmla="*/ 798972 h 5756219"/>
              <a:gd name="connsiteX6679" fmla="*/ 4946023 w 6226010"/>
              <a:gd name="connsiteY6679" fmla="*/ 788102 h 5756219"/>
              <a:gd name="connsiteX6680" fmla="*/ 4932435 w 6226010"/>
              <a:gd name="connsiteY6680" fmla="*/ 739185 h 5756219"/>
              <a:gd name="connsiteX6681" fmla="*/ 5032306 w 6226010"/>
              <a:gd name="connsiteY6681" fmla="*/ 737147 h 5756219"/>
              <a:gd name="connsiteX6682" fmla="*/ 5008527 w 6226010"/>
              <a:gd name="connsiteY6682" fmla="*/ 747338 h 5756219"/>
              <a:gd name="connsiteX6683" fmla="*/ 5011245 w 6226010"/>
              <a:gd name="connsiteY6683" fmla="*/ 766361 h 5756219"/>
              <a:gd name="connsiteX6684" fmla="*/ 5052009 w 6226010"/>
              <a:gd name="connsiteY6684" fmla="*/ 739185 h 5756219"/>
              <a:gd name="connsiteX6685" fmla="*/ 5032306 w 6226010"/>
              <a:gd name="connsiteY6685" fmla="*/ 737147 h 5756219"/>
              <a:gd name="connsiteX6686" fmla="*/ 1888728 w 6226010"/>
              <a:gd name="connsiteY6686" fmla="*/ 736476 h 5756219"/>
              <a:gd name="connsiteX6687" fmla="*/ 1894163 w 6226010"/>
              <a:gd name="connsiteY6687" fmla="*/ 736476 h 5756219"/>
              <a:gd name="connsiteX6688" fmla="*/ 1894163 w 6226010"/>
              <a:gd name="connsiteY6688" fmla="*/ 750065 h 5756219"/>
              <a:gd name="connsiteX6689" fmla="*/ 1888728 w 6226010"/>
              <a:gd name="connsiteY6689" fmla="*/ 750065 h 5756219"/>
              <a:gd name="connsiteX6690" fmla="*/ 1888728 w 6226010"/>
              <a:gd name="connsiteY6690" fmla="*/ 736476 h 5756219"/>
              <a:gd name="connsiteX6691" fmla="*/ 4755791 w 6226010"/>
              <a:gd name="connsiteY6691" fmla="*/ 731032 h 5756219"/>
              <a:gd name="connsiteX6692" fmla="*/ 4762033 w 6226010"/>
              <a:gd name="connsiteY6692" fmla="*/ 740671 h 5756219"/>
              <a:gd name="connsiteX6693" fmla="*/ 4763388 w 6226010"/>
              <a:gd name="connsiteY6693" fmla="*/ 744066 h 5756219"/>
              <a:gd name="connsiteX6694" fmla="*/ 4761226 w 6226010"/>
              <a:gd name="connsiteY6694" fmla="*/ 744620 h 5756219"/>
              <a:gd name="connsiteX6695" fmla="*/ 4763477 w 6226010"/>
              <a:gd name="connsiteY6695" fmla="*/ 776127 h 5756219"/>
              <a:gd name="connsiteX6696" fmla="*/ 4760157 w 6226010"/>
              <a:gd name="connsiteY6696" fmla="*/ 790550 h 5756219"/>
              <a:gd name="connsiteX6697" fmla="*/ 4757490 w 6226010"/>
              <a:gd name="connsiteY6697" fmla="*/ 794897 h 5756219"/>
              <a:gd name="connsiteX6698" fmla="*/ 4750356 w 6226010"/>
              <a:gd name="connsiteY6698" fmla="*/ 809841 h 5756219"/>
              <a:gd name="connsiteX6699" fmla="*/ 4739485 w 6226010"/>
              <a:gd name="connsiteY6699" fmla="*/ 769079 h 5756219"/>
              <a:gd name="connsiteX6700" fmla="*/ 4753073 w 6226010"/>
              <a:gd name="connsiteY6700" fmla="*/ 763643 h 5756219"/>
              <a:gd name="connsiteX6701" fmla="*/ 4734050 w 6226010"/>
              <a:gd name="connsiteY6701" fmla="*/ 755491 h 5756219"/>
              <a:gd name="connsiteX6702" fmla="*/ 4755791 w 6226010"/>
              <a:gd name="connsiteY6702" fmla="*/ 731032 h 5756219"/>
              <a:gd name="connsiteX6703" fmla="*/ 3125234 w 6226010"/>
              <a:gd name="connsiteY6703" fmla="*/ 728326 h 5756219"/>
              <a:gd name="connsiteX6704" fmla="*/ 3149693 w 6226010"/>
              <a:gd name="connsiteY6704" fmla="*/ 731044 h 5756219"/>
              <a:gd name="connsiteX6705" fmla="*/ 3149693 w 6226010"/>
              <a:gd name="connsiteY6705" fmla="*/ 744632 h 5756219"/>
              <a:gd name="connsiteX6706" fmla="*/ 3125234 w 6226010"/>
              <a:gd name="connsiteY6706" fmla="*/ 739197 h 5756219"/>
              <a:gd name="connsiteX6707" fmla="*/ 3125234 w 6226010"/>
              <a:gd name="connsiteY6707" fmla="*/ 728326 h 5756219"/>
              <a:gd name="connsiteX6708" fmla="*/ 1896881 w 6226010"/>
              <a:gd name="connsiteY6708" fmla="*/ 728324 h 5756219"/>
              <a:gd name="connsiteX6709" fmla="*/ 1902316 w 6226010"/>
              <a:gd name="connsiteY6709" fmla="*/ 728324 h 5756219"/>
              <a:gd name="connsiteX6710" fmla="*/ 1902316 w 6226010"/>
              <a:gd name="connsiteY6710" fmla="*/ 741911 h 5756219"/>
              <a:gd name="connsiteX6711" fmla="*/ 1896881 w 6226010"/>
              <a:gd name="connsiteY6711" fmla="*/ 741911 h 5756219"/>
              <a:gd name="connsiteX6712" fmla="*/ 1896881 w 6226010"/>
              <a:gd name="connsiteY6712" fmla="*/ 728324 h 5756219"/>
              <a:gd name="connsiteX6713" fmla="*/ 2217557 w 6226010"/>
              <a:gd name="connsiteY6713" fmla="*/ 725608 h 5756219"/>
              <a:gd name="connsiteX6714" fmla="*/ 2220274 w 6226010"/>
              <a:gd name="connsiteY6714" fmla="*/ 725608 h 5756219"/>
              <a:gd name="connsiteX6715" fmla="*/ 2220274 w 6226010"/>
              <a:gd name="connsiteY6715" fmla="*/ 747350 h 5756219"/>
              <a:gd name="connsiteX6716" fmla="*/ 2217557 w 6226010"/>
              <a:gd name="connsiteY6716" fmla="*/ 747350 h 5756219"/>
              <a:gd name="connsiteX6717" fmla="*/ 2217557 w 6226010"/>
              <a:gd name="connsiteY6717" fmla="*/ 725608 h 5756219"/>
              <a:gd name="connsiteX6718" fmla="*/ 4907976 w 6226010"/>
              <a:gd name="connsiteY6718" fmla="*/ 714727 h 5756219"/>
              <a:gd name="connsiteX6719" fmla="*/ 4921564 w 6226010"/>
              <a:gd name="connsiteY6719" fmla="*/ 750055 h 5756219"/>
              <a:gd name="connsiteX6720" fmla="*/ 4907976 w 6226010"/>
              <a:gd name="connsiteY6720" fmla="*/ 714727 h 5756219"/>
              <a:gd name="connsiteX6721" fmla="*/ 4786905 w 6226010"/>
              <a:gd name="connsiteY6721" fmla="*/ 714132 h 5756219"/>
              <a:gd name="connsiteX6722" fmla="*/ 4787340 w 6226010"/>
              <a:gd name="connsiteY6722" fmla="*/ 715109 h 5756219"/>
              <a:gd name="connsiteX6723" fmla="*/ 4785845 w 6226010"/>
              <a:gd name="connsiteY6723" fmla="*/ 717010 h 5756219"/>
              <a:gd name="connsiteX6724" fmla="*/ 3127951 w 6226010"/>
              <a:gd name="connsiteY6724" fmla="*/ 709304 h 5756219"/>
              <a:gd name="connsiteX6725" fmla="*/ 3152410 w 6226010"/>
              <a:gd name="connsiteY6725" fmla="*/ 714740 h 5756219"/>
              <a:gd name="connsiteX6726" fmla="*/ 3152410 w 6226010"/>
              <a:gd name="connsiteY6726" fmla="*/ 725609 h 5756219"/>
              <a:gd name="connsiteX6727" fmla="*/ 3127951 w 6226010"/>
              <a:gd name="connsiteY6727" fmla="*/ 720173 h 5756219"/>
              <a:gd name="connsiteX6728" fmla="*/ 3127951 w 6226010"/>
              <a:gd name="connsiteY6728" fmla="*/ 709304 h 5756219"/>
              <a:gd name="connsiteX6729" fmla="*/ 1888728 w 6226010"/>
              <a:gd name="connsiteY6729" fmla="*/ 709300 h 5756219"/>
              <a:gd name="connsiteX6730" fmla="*/ 1894163 w 6226010"/>
              <a:gd name="connsiteY6730" fmla="*/ 709300 h 5756219"/>
              <a:gd name="connsiteX6731" fmla="*/ 1894163 w 6226010"/>
              <a:gd name="connsiteY6731" fmla="*/ 722889 h 5756219"/>
              <a:gd name="connsiteX6732" fmla="*/ 1888728 w 6226010"/>
              <a:gd name="connsiteY6732" fmla="*/ 722889 h 5756219"/>
              <a:gd name="connsiteX6733" fmla="*/ 1888728 w 6226010"/>
              <a:gd name="connsiteY6733" fmla="*/ 709300 h 5756219"/>
              <a:gd name="connsiteX6734" fmla="*/ 5119949 w 6226010"/>
              <a:gd name="connsiteY6734" fmla="*/ 703856 h 5756219"/>
              <a:gd name="connsiteX6735" fmla="*/ 5114696 w 6226010"/>
              <a:gd name="connsiteY6735" fmla="*/ 716988 h 5756219"/>
              <a:gd name="connsiteX6736" fmla="*/ 5110437 w 6226010"/>
              <a:gd name="connsiteY6736" fmla="*/ 722116 h 5756219"/>
              <a:gd name="connsiteX6737" fmla="*/ 5107965 w 6226010"/>
              <a:gd name="connsiteY6737" fmla="*/ 728326 h 5756219"/>
              <a:gd name="connsiteX6738" fmla="*/ 5090055 w 6226010"/>
              <a:gd name="connsiteY6738" fmla="*/ 741903 h 5756219"/>
              <a:gd name="connsiteX6739" fmla="*/ 5119949 w 6226010"/>
              <a:gd name="connsiteY6739" fmla="*/ 703856 h 5756219"/>
              <a:gd name="connsiteX6740" fmla="*/ 4990010 w 6226010"/>
              <a:gd name="connsiteY6740" fmla="*/ 703688 h 5756219"/>
              <a:gd name="connsiteX6741" fmla="*/ 4989613 w 6226010"/>
              <a:gd name="connsiteY6741" fmla="*/ 704107 h 5756219"/>
              <a:gd name="connsiteX6742" fmla="*/ 4989504 w 6226010"/>
              <a:gd name="connsiteY6742" fmla="*/ 703856 h 5756219"/>
              <a:gd name="connsiteX6743" fmla="*/ 4745048 w 6226010"/>
              <a:gd name="connsiteY6743" fmla="*/ 700418 h 5756219"/>
              <a:gd name="connsiteX6744" fmla="*/ 4777532 w 6226010"/>
              <a:gd name="connsiteY6744" fmla="*/ 703856 h 5756219"/>
              <a:gd name="connsiteX6745" fmla="*/ 4774814 w 6226010"/>
              <a:gd name="connsiteY6745" fmla="*/ 731032 h 5756219"/>
              <a:gd name="connsiteX6746" fmla="*/ 4785845 w 6226010"/>
              <a:gd name="connsiteY6746" fmla="*/ 717010 h 5756219"/>
              <a:gd name="connsiteX6747" fmla="*/ 4785685 w 6226010"/>
              <a:gd name="connsiteY6747" fmla="*/ 717444 h 5756219"/>
              <a:gd name="connsiteX6748" fmla="*/ 4796555 w 6226010"/>
              <a:gd name="connsiteY6748" fmla="*/ 720162 h 5756219"/>
              <a:gd name="connsiteX6749" fmla="*/ 4785685 w 6226010"/>
              <a:gd name="connsiteY6749" fmla="*/ 741903 h 5756219"/>
              <a:gd name="connsiteX6750" fmla="*/ 4774475 w 6226010"/>
              <a:gd name="connsiteY6750" fmla="*/ 741224 h 5756219"/>
              <a:gd name="connsiteX6751" fmla="*/ 4769474 w 6226010"/>
              <a:gd name="connsiteY6751" fmla="*/ 742506 h 5756219"/>
              <a:gd name="connsiteX6752" fmla="*/ 4769591 w 6226010"/>
              <a:gd name="connsiteY6752" fmla="*/ 733240 h 5756219"/>
              <a:gd name="connsiteX6753" fmla="*/ 4734050 w 6226010"/>
              <a:gd name="connsiteY6753" fmla="*/ 701139 h 5756219"/>
              <a:gd name="connsiteX6754" fmla="*/ 4745048 w 6226010"/>
              <a:gd name="connsiteY6754" fmla="*/ 700418 h 5756219"/>
              <a:gd name="connsiteX6755" fmla="*/ 2217557 w 6226010"/>
              <a:gd name="connsiteY6755" fmla="*/ 698434 h 5756219"/>
              <a:gd name="connsiteX6756" fmla="*/ 2220274 w 6226010"/>
              <a:gd name="connsiteY6756" fmla="*/ 698434 h 5756219"/>
              <a:gd name="connsiteX6757" fmla="*/ 2220274 w 6226010"/>
              <a:gd name="connsiteY6757" fmla="*/ 720173 h 5756219"/>
              <a:gd name="connsiteX6758" fmla="*/ 2217557 w 6226010"/>
              <a:gd name="connsiteY6758" fmla="*/ 720173 h 5756219"/>
              <a:gd name="connsiteX6759" fmla="*/ 2217557 w 6226010"/>
              <a:gd name="connsiteY6759" fmla="*/ 698434 h 5756219"/>
              <a:gd name="connsiteX6760" fmla="*/ 3127951 w 6226010"/>
              <a:gd name="connsiteY6760" fmla="*/ 690281 h 5756219"/>
              <a:gd name="connsiteX6761" fmla="*/ 3149693 w 6226010"/>
              <a:gd name="connsiteY6761" fmla="*/ 695715 h 5756219"/>
              <a:gd name="connsiteX6762" fmla="*/ 3149693 w 6226010"/>
              <a:gd name="connsiteY6762" fmla="*/ 706585 h 5756219"/>
              <a:gd name="connsiteX6763" fmla="*/ 3127951 w 6226010"/>
              <a:gd name="connsiteY6763" fmla="*/ 703869 h 5756219"/>
              <a:gd name="connsiteX6764" fmla="*/ 3127951 w 6226010"/>
              <a:gd name="connsiteY6764" fmla="*/ 690281 h 5756219"/>
              <a:gd name="connsiteX6765" fmla="*/ 4865842 w 6226010"/>
              <a:gd name="connsiteY6765" fmla="*/ 690242 h 5756219"/>
              <a:gd name="connsiteX6766" fmla="*/ 4865854 w 6226010"/>
              <a:gd name="connsiteY6766" fmla="*/ 690269 h 5756219"/>
              <a:gd name="connsiteX6767" fmla="*/ 4866300 w 6226010"/>
              <a:gd name="connsiteY6767" fmla="*/ 692434 h 5756219"/>
              <a:gd name="connsiteX6768" fmla="*/ 4864495 w 6226010"/>
              <a:gd name="connsiteY6768" fmla="*/ 690268 h 5756219"/>
              <a:gd name="connsiteX6769" fmla="*/ 5149842 w 6226010"/>
              <a:gd name="connsiteY6769" fmla="*/ 684833 h 5756219"/>
              <a:gd name="connsiteX6770" fmla="*/ 5130819 w 6226010"/>
              <a:gd name="connsiteY6770" fmla="*/ 717444 h 5756219"/>
              <a:gd name="connsiteX6771" fmla="*/ 5149842 w 6226010"/>
              <a:gd name="connsiteY6771" fmla="*/ 684833 h 5756219"/>
              <a:gd name="connsiteX6772" fmla="*/ 1905034 w 6226010"/>
              <a:gd name="connsiteY6772" fmla="*/ 679411 h 5756219"/>
              <a:gd name="connsiteX6773" fmla="*/ 1910469 w 6226010"/>
              <a:gd name="connsiteY6773" fmla="*/ 679411 h 5756219"/>
              <a:gd name="connsiteX6774" fmla="*/ 1910469 w 6226010"/>
              <a:gd name="connsiteY6774" fmla="*/ 722890 h 5756219"/>
              <a:gd name="connsiteX6775" fmla="*/ 1910469 w 6226010"/>
              <a:gd name="connsiteY6775" fmla="*/ 951170 h 5756219"/>
              <a:gd name="connsiteX6776" fmla="*/ 1905034 w 6226010"/>
              <a:gd name="connsiteY6776" fmla="*/ 951170 h 5756219"/>
              <a:gd name="connsiteX6777" fmla="*/ 1905034 w 6226010"/>
              <a:gd name="connsiteY6777" fmla="*/ 948450 h 5756219"/>
              <a:gd name="connsiteX6778" fmla="*/ 1899599 w 6226010"/>
              <a:gd name="connsiteY6778" fmla="*/ 948450 h 5756219"/>
              <a:gd name="connsiteX6779" fmla="*/ 1905034 w 6226010"/>
              <a:gd name="connsiteY6779" fmla="*/ 945732 h 5756219"/>
              <a:gd name="connsiteX6780" fmla="*/ 1905034 w 6226010"/>
              <a:gd name="connsiteY6780" fmla="*/ 722890 h 5756219"/>
              <a:gd name="connsiteX6781" fmla="*/ 3127951 w 6226010"/>
              <a:gd name="connsiteY6781" fmla="*/ 676693 h 5756219"/>
              <a:gd name="connsiteX6782" fmla="*/ 3149693 w 6226010"/>
              <a:gd name="connsiteY6782" fmla="*/ 682128 h 5756219"/>
              <a:gd name="connsiteX6783" fmla="*/ 3149693 w 6226010"/>
              <a:gd name="connsiteY6783" fmla="*/ 690281 h 5756219"/>
              <a:gd name="connsiteX6784" fmla="*/ 3127951 w 6226010"/>
              <a:gd name="connsiteY6784" fmla="*/ 687563 h 5756219"/>
              <a:gd name="connsiteX6785" fmla="*/ 3127951 w 6226010"/>
              <a:gd name="connsiteY6785" fmla="*/ 676693 h 5756219"/>
              <a:gd name="connsiteX6786" fmla="*/ 2217557 w 6226010"/>
              <a:gd name="connsiteY6786" fmla="*/ 668542 h 5756219"/>
              <a:gd name="connsiteX6787" fmla="*/ 2220274 w 6226010"/>
              <a:gd name="connsiteY6787" fmla="*/ 668542 h 5756219"/>
              <a:gd name="connsiteX6788" fmla="*/ 2220274 w 6226010"/>
              <a:gd name="connsiteY6788" fmla="*/ 690281 h 5756219"/>
              <a:gd name="connsiteX6789" fmla="*/ 2217557 w 6226010"/>
              <a:gd name="connsiteY6789" fmla="*/ 690281 h 5756219"/>
              <a:gd name="connsiteX6790" fmla="*/ 2217557 w 6226010"/>
              <a:gd name="connsiteY6790" fmla="*/ 668542 h 5756219"/>
              <a:gd name="connsiteX6791" fmla="*/ 5046574 w 6226010"/>
              <a:gd name="connsiteY6791" fmla="*/ 663092 h 5756219"/>
              <a:gd name="connsiteX6792" fmla="*/ 5051330 w 6226010"/>
              <a:gd name="connsiteY6792" fmla="*/ 667849 h 5756219"/>
              <a:gd name="connsiteX6793" fmla="*/ 5051688 w 6226010"/>
              <a:gd name="connsiteY6793" fmla="*/ 672512 h 5756219"/>
              <a:gd name="connsiteX6794" fmla="*/ 5038421 w 6226010"/>
              <a:gd name="connsiteY6794" fmla="*/ 679399 h 5756219"/>
              <a:gd name="connsiteX6795" fmla="*/ 5040799 w 6226010"/>
              <a:gd name="connsiteY6795" fmla="*/ 670906 h 5756219"/>
              <a:gd name="connsiteX6796" fmla="*/ 5040939 w 6226010"/>
              <a:gd name="connsiteY6796" fmla="*/ 666550 h 5756219"/>
              <a:gd name="connsiteX6797" fmla="*/ 3127951 w 6226010"/>
              <a:gd name="connsiteY6797" fmla="*/ 657669 h 5756219"/>
              <a:gd name="connsiteX6798" fmla="*/ 3149693 w 6226010"/>
              <a:gd name="connsiteY6798" fmla="*/ 663104 h 5756219"/>
              <a:gd name="connsiteX6799" fmla="*/ 3149693 w 6226010"/>
              <a:gd name="connsiteY6799" fmla="*/ 673975 h 5756219"/>
              <a:gd name="connsiteX6800" fmla="*/ 3127951 w 6226010"/>
              <a:gd name="connsiteY6800" fmla="*/ 671257 h 5756219"/>
              <a:gd name="connsiteX6801" fmla="*/ 3127951 w 6226010"/>
              <a:gd name="connsiteY6801" fmla="*/ 657669 h 5756219"/>
              <a:gd name="connsiteX6802" fmla="*/ 2418660 w 6226010"/>
              <a:gd name="connsiteY6802" fmla="*/ 649519 h 5756219"/>
              <a:gd name="connsiteX6803" fmla="*/ 2301804 w 6226010"/>
              <a:gd name="connsiteY6803" fmla="*/ 709305 h 5756219"/>
              <a:gd name="connsiteX6804" fmla="*/ 2301804 w 6226010"/>
              <a:gd name="connsiteY6804" fmla="*/ 706586 h 5756219"/>
              <a:gd name="connsiteX6805" fmla="*/ 3127951 w 6226010"/>
              <a:gd name="connsiteY6805" fmla="*/ 644082 h 5756219"/>
              <a:gd name="connsiteX6806" fmla="*/ 3149693 w 6226010"/>
              <a:gd name="connsiteY6806" fmla="*/ 649518 h 5756219"/>
              <a:gd name="connsiteX6807" fmla="*/ 3149693 w 6226010"/>
              <a:gd name="connsiteY6807" fmla="*/ 660387 h 5756219"/>
              <a:gd name="connsiteX6808" fmla="*/ 3127951 w 6226010"/>
              <a:gd name="connsiteY6808" fmla="*/ 654953 h 5756219"/>
              <a:gd name="connsiteX6809" fmla="*/ 3127951 w 6226010"/>
              <a:gd name="connsiteY6809" fmla="*/ 644082 h 5756219"/>
              <a:gd name="connsiteX6810" fmla="*/ 1891446 w 6226010"/>
              <a:gd name="connsiteY6810" fmla="*/ 641366 h 5756219"/>
              <a:gd name="connsiteX6811" fmla="*/ 1905034 w 6226010"/>
              <a:gd name="connsiteY6811" fmla="*/ 679411 h 5756219"/>
              <a:gd name="connsiteX6812" fmla="*/ 1899599 w 6226010"/>
              <a:gd name="connsiteY6812" fmla="*/ 679411 h 5756219"/>
              <a:gd name="connsiteX6813" fmla="*/ 1891446 w 6226010"/>
              <a:gd name="connsiteY6813" fmla="*/ 641366 h 5756219"/>
              <a:gd name="connsiteX6814" fmla="*/ 3127951 w 6226010"/>
              <a:gd name="connsiteY6814" fmla="*/ 627778 h 5756219"/>
              <a:gd name="connsiteX6815" fmla="*/ 3149693 w 6226010"/>
              <a:gd name="connsiteY6815" fmla="*/ 633212 h 5756219"/>
              <a:gd name="connsiteX6816" fmla="*/ 3149693 w 6226010"/>
              <a:gd name="connsiteY6816" fmla="*/ 644083 h 5756219"/>
              <a:gd name="connsiteX6817" fmla="*/ 3127951 w 6226010"/>
              <a:gd name="connsiteY6817" fmla="*/ 638648 h 5756219"/>
              <a:gd name="connsiteX6818" fmla="*/ 3127951 w 6226010"/>
              <a:gd name="connsiteY6818" fmla="*/ 627778 h 5756219"/>
              <a:gd name="connsiteX6819" fmla="*/ 3127951 w 6226010"/>
              <a:gd name="connsiteY6819" fmla="*/ 611470 h 5756219"/>
              <a:gd name="connsiteX6820" fmla="*/ 3149693 w 6226010"/>
              <a:gd name="connsiteY6820" fmla="*/ 614188 h 5756219"/>
              <a:gd name="connsiteX6821" fmla="*/ 3149693 w 6226010"/>
              <a:gd name="connsiteY6821" fmla="*/ 625059 h 5756219"/>
              <a:gd name="connsiteX6822" fmla="*/ 3127951 w 6226010"/>
              <a:gd name="connsiteY6822" fmla="*/ 619623 h 5756219"/>
              <a:gd name="connsiteX6823" fmla="*/ 3127951 w 6226010"/>
              <a:gd name="connsiteY6823" fmla="*/ 611470 h 5756219"/>
              <a:gd name="connsiteX6824" fmla="*/ 4826449 w 6226010"/>
              <a:gd name="connsiteY6824" fmla="*/ 606024 h 5756219"/>
              <a:gd name="connsiteX6825" fmla="*/ 4853625 w 6226010"/>
              <a:gd name="connsiteY6825" fmla="*/ 622329 h 5756219"/>
              <a:gd name="connsiteX6826" fmla="*/ 4848403 w 6226010"/>
              <a:gd name="connsiteY6826" fmla="*/ 626804 h 5756219"/>
              <a:gd name="connsiteX6827" fmla="*/ 4835246 w 6226010"/>
              <a:gd name="connsiteY6827" fmla="*/ 625817 h 5756219"/>
              <a:gd name="connsiteX6828" fmla="*/ 2214840 w 6226010"/>
              <a:gd name="connsiteY6828" fmla="*/ 595166 h 5756219"/>
              <a:gd name="connsiteX6829" fmla="*/ 2220275 w 6226010"/>
              <a:gd name="connsiteY6829" fmla="*/ 595166 h 5756219"/>
              <a:gd name="connsiteX6830" fmla="*/ 2217557 w 6226010"/>
              <a:gd name="connsiteY6830" fmla="*/ 660388 h 5756219"/>
              <a:gd name="connsiteX6831" fmla="*/ 2214840 w 6226010"/>
              <a:gd name="connsiteY6831" fmla="*/ 660388 h 5756219"/>
              <a:gd name="connsiteX6832" fmla="*/ 2214840 w 6226010"/>
              <a:gd name="connsiteY6832" fmla="*/ 595166 h 5756219"/>
              <a:gd name="connsiteX6833" fmla="*/ 3114363 w 6226010"/>
              <a:gd name="connsiteY6833" fmla="*/ 592447 h 5756219"/>
              <a:gd name="connsiteX6834" fmla="*/ 3149693 w 6226010"/>
              <a:gd name="connsiteY6834" fmla="*/ 597882 h 5756219"/>
              <a:gd name="connsiteX6835" fmla="*/ 3149693 w 6226010"/>
              <a:gd name="connsiteY6835" fmla="*/ 608753 h 5756219"/>
              <a:gd name="connsiteX6836" fmla="*/ 3114363 w 6226010"/>
              <a:gd name="connsiteY6836" fmla="*/ 603318 h 5756219"/>
              <a:gd name="connsiteX6837" fmla="*/ 3114363 w 6226010"/>
              <a:gd name="connsiteY6837" fmla="*/ 592447 h 5756219"/>
              <a:gd name="connsiteX6838" fmla="*/ 4960236 w 6226010"/>
              <a:gd name="connsiteY6838" fmla="*/ 577951 h 5756219"/>
              <a:gd name="connsiteX6839" fmla="*/ 4960620 w 6226010"/>
              <a:gd name="connsiteY6839" fmla="*/ 580112 h 5756219"/>
              <a:gd name="connsiteX6840" fmla="*/ 4959611 w 6226010"/>
              <a:gd name="connsiteY6840" fmla="*/ 581566 h 5756219"/>
              <a:gd name="connsiteX6841" fmla="*/ 3114363 w 6226010"/>
              <a:gd name="connsiteY6841" fmla="*/ 576143 h 5756219"/>
              <a:gd name="connsiteX6842" fmla="*/ 3149693 w 6226010"/>
              <a:gd name="connsiteY6842" fmla="*/ 581578 h 5756219"/>
              <a:gd name="connsiteX6843" fmla="*/ 3149693 w 6226010"/>
              <a:gd name="connsiteY6843" fmla="*/ 592448 h 5756219"/>
              <a:gd name="connsiteX6844" fmla="*/ 3114363 w 6226010"/>
              <a:gd name="connsiteY6844" fmla="*/ 587013 h 5756219"/>
              <a:gd name="connsiteX6845" fmla="*/ 3114363 w 6226010"/>
              <a:gd name="connsiteY6845" fmla="*/ 576143 h 5756219"/>
              <a:gd name="connsiteX6846" fmla="*/ 4942721 w 6226010"/>
              <a:gd name="connsiteY6846" fmla="*/ 567667 h 5756219"/>
              <a:gd name="connsiteX6847" fmla="*/ 4942286 w 6226010"/>
              <a:gd name="connsiteY6847" fmla="*/ 585641 h 5756219"/>
              <a:gd name="connsiteX6848" fmla="*/ 4944155 w 6226010"/>
              <a:gd name="connsiteY6848" fmla="*/ 590185 h 5756219"/>
              <a:gd name="connsiteX6849" fmla="*/ 4935152 w 6226010"/>
              <a:gd name="connsiteY6849" fmla="*/ 592435 h 5756219"/>
              <a:gd name="connsiteX6850" fmla="*/ 4935152 w 6226010"/>
              <a:gd name="connsiteY6850" fmla="*/ 570694 h 5756219"/>
              <a:gd name="connsiteX6851" fmla="*/ 3114363 w 6226010"/>
              <a:gd name="connsiteY6851" fmla="*/ 559836 h 5756219"/>
              <a:gd name="connsiteX6852" fmla="*/ 3149693 w 6226010"/>
              <a:gd name="connsiteY6852" fmla="*/ 565271 h 5756219"/>
              <a:gd name="connsiteX6853" fmla="*/ 3149693 w 6226010"/>
              <a:gd name="connsiteY6853" fmla="*/ 578860 h 5756219"/>
              <a:gd name="connsiteX6854" fmla="*/ 3114363 w 6226010"/>
              <a:gd name="connsiteY6854" fmla="*/ 570706 h 5756219"/>
              <a:gd name="connsiteX6855" fmla="*/ 3114363 w 6226010"/>
              <a:gd name="connsiteY6855" fmla="*/ 559836 h 5756219"/>
              <a:gd name="connsiteX6856" fmla="*/ 3114363 w 6226010"/>
              <a:gd name="connsiteY6856" fmla="*/ 543530 h 5756219"/>
              <a:gd name="connsiteX6857" fmla="*/ 3149693 w 6226010"/>
              <a:gd name="connsiteY6857" fmla="*/ 548966 h 5756219"/>
              <a:gd name="connsiteX6858" fmla="*/ 3149693 w 6226010"/>
              <a:gd name="connsiteY6858" fmla="*/ 557119 h 5756219"/>
              <a:gd name="connsiteX6859" fmla="*/ 3114363 w 6226010"/>
              <a:gd name="connsiteY6859" fmla="*/ 551682 h 5756219"/>
              <a:gd name="connsiteX6860" fmla="*/ 3114363 w 6226010"/>
              <a:gd name="connsiteY6860" fmla="*/ 543530 h 5756219"/>
              <a:gd name="connsiteX6861" fmla="*/ 4943305 w 6226010"/>
              <a:gd name="connsiteY6861" fmla="*/ 543518 h 5756219"/>
              <a:gd name="connsiteX6862" fmla="*/ 4951458 w 6226010"/>
              <a:gd name="connsiteY6862" fmla="*/ 557107 h 5756219"/>
              <a:gd name="connsiteX6863" fmla="*/ 4967763 w 6226010"/>
              <a:gd name="connsiteY6863" fmla="*/ 546236 h 5756219"/>
              <a:gd name="connsiteX6864" fmla="*/ 4962668 w 6226010"/>
              <a:gd name="connsiteY6864" fmla="*/ 563901 h 5756219"/>
              <a:gd name="connsiteX6865" fmla="*/ 4960236 w 6226010"/>
              <a:gd name="connsiteY6865" fmla="*/ 577951 h 5756219"/>
              <a:gd name="connsiteX6866" fmla="*/ 4959611 w 6226010"/>
              <a:gd name="connsiteY6866" fmla="*/ 574431 h 5756219"/>
              <a:gd name="connsiteX6867" fmla="*/ 4948740 w 6226010"/>
              <a:gd name="connsiteY6867" fmla="*/ 565259 h 5756219"/>
              <a:gd name="connsiteX6868" fmla="*/ 4942721 w 6226010"/>
              <a:gd name="connsiteY6868" fmla="*/ 567667 h 5756219"/>
              <a:gd name="connsiteX6869" fmla="*/ 2095265 w 6226010"/>
              <a:gd name="connsiteY6869" fmla="*/ 535379 h 5756219"/>
              <a:gd name="connsiteX6870" fmla="*/ 2220275 w 6226010"/>
              <a:gd name="connsiteY6870" fmla="*/ 535379 h 5756219"/>
              <a:gd name="connsiteX6871" fmla="*/ 2220275 w 6226010"/>
              <a:gd name="connsiteY6871" fmla="*/ 551685 h 5756219"/>
              <a:gd name="connsiteX6872" fmla="*/ 2095265 w 6226010"/>
              <a:gd name="connsiteY6872" fmla="*/ 551685 h 5756219"/>
              <a:gd name="connsiteX6873" fmla="*/ 2095265 w 6226010"/>
              <a:gd name="connsiteY6873" fmla="*/ 535379 h 5756219"/>
              <a:gd name="connsiteX6874" fmla="*/ 3114363 w 6226010"/>
              <a:gd name="connsiteY6874" fmla="*/ 524507 h 5756219"/>
              <a:gd name="connsiteX6875" fmla="*/ 3149693 w 6226010"/>
              <a:gd name="connsiteY6875" fmla="*/ 529942 h 5756219"/>
              <a:gd name="connsiteX6876" fmla="*/ 3149693 w 6226010"/>
              <a:gd name="connsiteY6876" fmla="*/ 540811 h 5756219"/>
              <a:gd name="connsiteX6877" fmla="*/ 3114363 w 6226010"/>
              <a:gd name="connsiteY6877" fmla="*/ 535377 h 5756219"/>
              <a:gd name="connsiteX6878" fmla="*/ 3114363 w 6226010"/>
              <a:gd name="connsiteY6878" fmla="*/ 524507 h 5756219"/>
              <a:gd name="connsiteX6879" fmla="*/ 3114363 w 6226010"/>
              <a:gd name="connsiteY6879" fmla="*/ 508201 h 5756219"/>
              <a:gd name="connsiteX6880" fmla="*/ 3149693 w 6226010"/>
              <a:gd name="connsiteY6880" fmla="*/ 513637 h 5756219"/>
              <a:gd name="connsiteX6881" fmla="*/ 3149693 w 6226010"/>
              <a:gd name="connsiteY6881" fmla="*/ 524507 h 5756219"/>
              <a:gd name="connsiteX6882" fmla="*/ 3114363 w 6226010"/>
              <a:gd name="connsiteY6882" fmla="*/ 519072 h 5756219"/>
              <a:gd name="connsiteX6883" fmla="*/ 3114363 w 6226010"/>
              <a:gd name="connsiteY6883" fmla="*/ 508201 h 5756219"/>
              <a:gd name="connsiteX6884" fmla="*/ 2095265 w 6226010"/>
              <a:gd name="connsiteY6884" fmla="*/ 500050 h 5756219"/>
              <a:gd name="connsiteX6885" fmla="*/ 2220275 w 6226010"/>
              <a:gd name="connsiteY6885" fmla="*/ 500050 h 5756219"/>
              <a:gd name="connsiteX6886" fmla="*/ 2095265 w 6226010"/>
              <a:gd name="connsiteY6886" fmla="*/ 502768 h 5756219"/>
              <a:gd name="connsiteX6887" fmla="*/ 2095265 w 6226010"/>
              <a:gd name="connsiteY6887" fmla="*/ 500050 h 5756219"/>
              <a:gd name="connsiteX6888" fmla="*/ 3114363 w 6226010"/>
              <a:gd name="connsiteY6888" fmla="*/ 462001 h 5756219"/>
              <a:gd name="connsiteX6889" fmla="*/ 3136105 w 6226010"/>
              <a:gd name="connsiteY6889" fmla="*/ 470153 h 5756219"/>
              <a:gd name="connsiteX6890" fmla="*/ 3146975 w 6226010"/>
              <a:gd name="connsiteY6890" fmla="*/ 505484 h 5756219"/>
              <a:gd name="connsiteX6891" fmla="*/ 3114363 w 6226010"/>
              <a:gd name="connsiteY6891" fmla="*/ 500048 h 5756219"/>
              <a:gd name="connsiteX6892" fmla="*/ 3114363 w 6226010"/>
              <a:gd name="connsiteY6892" fmla="*/ 462001 h 5756219"/>
              <a:gd name="connsiteX6893" fmla="*/ 2415942 w 6226010"/>
              <a:gd name="connsiteY6893" fmla="*/ 211972 h 5756219"/>
              <a:gd name="connsiteX6894" fmla="*/ 2426813 w 6226010"/>
              <a:gd name="connsiteY6894" fmla="*/ 211972 h 5756219"/>
              <a:gd name="connsiteX6895" fmla="*/ 2426813 w 6226010"/>
              <a:gd name="connsiteY6895" fmla="*/ 622329 h 5756219"/>
              <a:gd name="connsiteX6896" fmla="*/ 2440401 w 6226010"/>
              <a:gd name="connsiteY6896" fmla="*/ 625046 h 5756219"/>
              <a:gd name="connsiteX6897" fmla="*/ 2440401 w 6226010"/>
              <a:gd name="connsiteY6897" fmla="*/ 1260963 h 5756219"/>
              <a:gd name="connsiteX6898" fmla="*/ 2252886 w 6226010"/>
              <a:gd name="connsiteY6898" fmla="*/ 1296292 h 5756219"/>
              <a:gd name="connsiteX6899" fmla="*/ 2492035 w 6226010"/>
              <a:gd name="connsiteY6899" fmla="*/ 1263681 h 5756219"/>
              <a:gd name="connsiteX6900" fmla="*/ 2880651 w 6226010"/>
              <a:gd name="connsiteY6900" fmla="*/ 1193379 h 5756219"/>
              <a:gd name="connsiteX6901" fmla="*/ 2880651 w 6226010"/>
              <a:gd name="connsiteY6901" fmla="*/ 1201177 h 5756219"/>
              <a:gd name="connsiteX6902" fmla="*/ 2913261 w 6226010"/>
              <a:gd name="connsiteY6902" fmla="*/ 1195742 h 5756219"/>
              <a:gd name="connsiteX6903" fmla="*/ 2913261 w 6226010"/>
              <a:gd name="connsiteY6903" fmla="*/ 1187479 h 5756219"/>
              <a:gd name="connsiteX6904" fmla="*/ 3032835 w 6226010"/>
              <a:gd name="connsiteY6904" fmla="*/ 1165848 h 5756219"/>
              <a:gd name="connsiteX6905" fmla="*/ 3032835 w 6226010"/>
              <a:gd name="connsiteY6905" fmla="*/ 1157694 h 5756219"/>
              <a:gd name="connsiteX6906" fmla="*/ 3049141 w 6226010"/>
              <a:gd name="connsiteY6906" fmla="*/ 1152259 h 5756219"/>
              <a:gd name="connsiteX6907" fmla="*/ 2913261 w 6226010"/>
              <a:gd name="connsiteY6907" fmla="*/ 1177256 h 5756219"/>
              <a:gd name="connsiteX6908" fmla="*/ 2913261 w 6226010"/>
              <a:gd name="connsiteY6908" fmla="*/ 712009 h 5756219"/>
              <a:gd name="connsiteX6909" fmla="*/ 2935003 w 6226010"/>
              <a:gd name="connsiteY6909" fmla="*/ 701139 h 5756219"/>
              <a:gd name="connsiteX6910" fmla="*/ 2932285 w 6226010"/>
              <a:gd name="connsiteY6910" fmla="*/ 461991 h 5756219"/>
              <a:gd name="connsiteX6911" fmla="*/ 2951307 w 6226010"/>
              <a:gd name="connsiteY6911" fmla="*/ 448403 h 5756219"/>
              <a:gd name="connsiteX6912" fmla="*/ 2956743 w 6226010"/>
              <a:gd name="connsiteY6912" fmla="*/ 353287 h 5756219"/>
              <a:gd name="connsiteX6913" fmla="*/ 2997507 w 6226010"/>
              <a:gd name="connsiteY6913" fmla="*/ 320676 h 5756219"/>
              <a:gd name="connsiteX6914" fmla="*/ 3057293 w 6226010"/>
              <a:gd name="connsiteY6914" fmla="*/ 301653 h 5756219"/>
              <a:gd name="connsiteX6915" fmla="*/ 3095341 w 6226010"/>
              <a:gd name="connsiteY6915" fmla="*/ 320676 h 5756219"/>
              <a:gd name="connsiteX6916" fmla="*/ 3098057 w 6226010"/>
              <a:gd name="connsiteY6916" fmla="*/ 451120 h 5756219"/>
              <a:gd name="connsiteX6917" fmla="*/ 3098057 w 6226010"/>
              <a:gd name="connsiteY6917" fmla="*/ 997356 h 5756219"/>
              <a:gd name="connsiteX6918" fmla="*/ 3106211 w 6226010"/>
              <a:gd name="connsiteY6918" fmla="*/ 997356 h 5756219"/>
              <a:gd name="connsiteX6919" fmla="*/ 3106211 w 6226010"/>
              <a:gd name="connsiteY6919" fmla="*/ 1152259 h 5756219"/>
              <a:gd name="connsiteX6920" fmla="*/ 3122517 w 6226010"/>
              <a:gd name="connsiteY6920" fmla="*/ 1152259 h 5756219"/>
              <a:gd name="connsiteX6921" fmla="*/ 3122517 w 6226010"/>
              <a:gd name="connsiteY6921" fmla="*/ 994639 h 5756219"/>
              <a:gd name="connsiteX6922" fmla="*/ 3146975 w 6226010"/>
              <a:gd name="connsiteY6922" fmla="*/ 1000074 h 5756219"/>
              <a:gd name="connsiteX6923" fmla="*/ 3146975 w 6226010"/>
              <a:gd name="connsiteY6923" fmla="*/ 1005509 h 5756219"/>
              <a:gd name="connsiteX6924" fmla="*/ 3176869 w 6226010"/>
              <a:gd name="connsiteY6924" fmla="*/ 1010944 h 5756219"/>
              <a:gd name="connsiteX6925" fmla="*/ 3176869 w 6226010"/>
              <a:gd name="connsiteY6925" fmla="*/ 1027250 h 5756219"/>
              <a:gd name="connsiteX6926" fmla="*/ 3146975 w 6226010"/>
              <a:gd name="connsiteY6926" fmla="*/ 1021815 h 5756219"/>
              <a:gd name="connsiteX6927" fmla="*/ 3146975 w 6226010"/>
              <a:gd name="connsiteY6927" fmla="*/ 1029968 h 5756219"/>
              <a:gd name="connsiteX6928" fmla="*/ 3176869 w 6226010"/>
              <a:gd name="connsiteY6928" fmla="*/ 1035403 h 5756219"/>
              <a:gd name="connsiteX6929" fmla="*/ 3176869 w 6226010"/>
              <a:gd name="connsiteY6929" fmla="*/ 1048991 h 5756219"/>
              <a:gd name="connsiteX6930" fmla="*/ 3146975 w 6226010"/>
              <a:gd name="connsiteY6930" fmla="*/ 1040838 h 5756219"/>
              <a:gd name="connsiteX6931" fmla="*/ 3146975 w 6226010"/>
              <a:gd name="connsiteY6931" fmla="*/ 1048991 h 5756219"/>
              <a:gd name="connsiteX6932" fmla="*/ 3176869 w 6226010"/>
              <a:gd name="connsiteY6932" fmla="*/ 1054426 h 5756219"/>
              <a:gd name="connsiteX6933" fmla="*/ 3176869 w 6226010"/>
              <a:gd name="connsiteY6933" fmla="*/ 1068014 h 5756219"/>
              <a:gd name="connsiteX6934" fmla="*/ 3146975 w 6226010"/>
              <a:gd name="connsiteY6934" fmla="*/ 1062579 h 5756219"/>
              <a:gd name="connsiteX6935" fmla="*/ 3146975 w 6226010"/>
              <a:gd name="connsiteY6935" fmla="*/ 1070731 h 5756219"/>
              <a:gd name="connsiteX6936" fmla="*/ 3176869 w 6226010"/>
              <a:gd name="connsiteY6936" fmla="*/ 1076167 h 5756219"/>
              <a:gd name="connsiteX6937" fmla="*/ 3176869 w 6226010"/>
              <a:gd name="connsiteY6937" fmla="*/ 1089755 h 5756219"/>
              <a:gd name="connsiteX6938" fmla="*/ 3146975 w 6226010"/>
              <a:gd name="connsiteY6938" fmla="*/ 1084319 h 5756219"/>
              <a:gd name="connsiteX6939" fmla="*/ 3146975 w 6226010"/>
              <a:gd name="connsiteY6939" fmla="*/ 1092472 h 5756219"/>
              <a:gd name="connsiteX6940" fmla="*/ 3176869 w 6226010"/>
              <a:gd name="connsiteY6940" fmla="*/ 1097906 h 5756219"/>
              <a:gd name="connsiteX6941" fmla="*/ 3176869 w 6226010"/>
              <a:gd name="connsiteY6941" fmla="*/ 1108779 h 5756219"/>
              <a:gd name="connsiteX6942" fmla="*/ 3146975 w 6226010"/>
              <a:gd name="connsiteY6942" fmla="*/ 1100625 h 5756219"/>
              <a:gd name="connsiteX6943" fmla="*/ 3146975 w 6226010"/>
              <a:gd name="connsiteY6943" fmla="*/ 1108779 h 5756219"/>
              <a:gd name="connsiteX6944" fmla="*/ 3176869 w 6226010"/>
              <a:gd name="connsiteY6944" fmla="*/ 1114213 h 5756219"/>
              <a:gd name="connsiteX6945" fmla="*/ 3176869 w 6226010"/>
              <a:gd name="connsiteY6945" fmla="*/ 1127802 h 5756219"/>
              <a:gd name="connsiteX6946" fmla="*/ 3146975 w 6226010"/>
              <a:gd name="connsiteY6946" fmla="*/ 1122366 h 5756219"/>
              <a:gd name="connsiteX6947" fmla="*/ 3146975 w 6226010"/>
              <a:gd name="connsiteY6947" fmla="*/ 1130518 h 5756219"/>
              <a:gd name="connsiteX6948" fmla="*/ 3176869 w 6226010"/>
              <a:gd name="connsiteY6948" fmla="*/ 1135954 h 5756219"/>
              <a:gd name="connsiteX6949" fmla="*/ 3176869 w 6226010"/>
              <a:gd name="connsiteY6949" fmla="*/ 1146824 h 5756219"/>
              <a:gd name="connsiteX6950" fmla="*/ 3065447 w 6226010"/>
              <a:gd name="connsiteY6950" fmla="*/ 1165848 h 5756219"/>
              <a:gd name="connsiteX6951" fmla="*/ 3095341 w 6226010"/>
              <a:gd name="connsiteY6951" fmla="*/ 1174001 h 5756219"/>
              <a:gd name="connsiteX6952" fmla="*/ 3195891 w 6226010"/>
              <a:gd name="connsiteY6952" fmla="*/ 1154977 h 5756219"/>
              <a:gd name="connsiteX6953" fmla="*/ 3209479 w 6226010"/>
              <a:gd name="connsiteY6953" fmla="*/ 1157694 h 5756219"/>
              <a:gd name="connsiteX6954" fmla="*/ 3209479 w 6226010"/>
              <a:gd name="connsiteY6954" fmla="*/ 1135954 h 5756219"/>
              <a:gd name="connsiteX6955" fmla="*/ 3233937 w 6226010"/>
              <a:gd name="connsiteY6955" fmla="*/ 1133237 h 5756219"/>
              <a:gd name="connsiteX6956" fmla="*/ 3214915 w 6226010"/>
              <a:gd name="connsiteY6956" fmla="*/ 991922 h 5756219"/>
              <a:gd name="connsiteX6957" fmla="*/ 3212197 w 6226010"/>
              <a:gd name="connsiteY6957" fmla="*/ 989204 h 5756219"/>
              <a:gd name="connsiteX6958" fmla="*/ 3399711 w 6226010"/>
              <a:gd name="connsiteY6958" fmla="*/ 1016380 h 5756219"/>
              <a:gd name="connsiteX6959" fmla="*/ 3407863 w 6226010"/>
              <a:gd name="connsiteY6959" fmla="*/ 1013662 h 5756219"/>
              <a:gd name="connsiteX6960" fmla="*/ 3247525 w 6226010"/>
              <a:gd name="connsiteY6960" fmla="*/ 989204 h 5756219"/>
              <a:gd name="connsiteX6961" fmla="*/ 3244809 w 6226010"/>
              <a:gd name="connsiteY6961" fmla="*/ 983768 h 5756219"/>
              <a:gd name="connsiteX6962" fmla="*/ 3405147 w 6226010"/>
              <a:gd name="connsiteY6962" fmla="*/ 1008228 h 5756219"/>
              <a:gd name="connsiteX6963" fmla="*/ 3405147 w 6226010"/>
              <a:gd name="connsiteY6963" fmla="*/ 1005509 h 5756219"/>
              <a:gd name="connsiteX6964" fmla="*/ 3342641 w 6226010"/>
              <a:gd name="connsiteY6964" fmla="*/ 997356 h 5756219"/>
              <a:gd name="connsiteX6965" fmla="*/ 3342641 w 6226010"/>
              <a:gd name="connsiteY6965" fmla="*/ 994639 h 5756219"/>
              <a:gd name="connsiteX6966" fmla="*/ 3405147 w 6226010"/>
              <a:gd name="connsiteY6966" fmla="*/ 1002792 h 5756219"/>
              <a:gd name="connsiteX6967" fmla="*/ 3399711 w 6226010"/>
              <a:gd name="connsiteY6967" fmla="*/ 989204 h 5756219"/>
              <a:gd name="connsiteX6968" fmla="*/ 3416017 w 6226010"/>
              <a:gd name="connsiteY6968" fmla="*/ 967463 h 5756219"/>
              <a:gd name="connsiteX6969" fmla="*/ 3410581 w 6226010"/>
              <a:gd name="connsiteY6969" fmla="*/ 959310 h 5756219"/>
              <a:gd name="connsiteX6970" fmla="*/ 3364383 w 6226010"/>
              <a:gd name="connsiteY6970" fmla="*/ 959310 h 5756219"/>
              <a:gd name="connsiteX6971" fmla="*/ 3410581 w 6226010"/>
              <a:gd name="connsiteY6971" fmla="*/ 948440 h 5756219"/>
              <a:gd name="connsiteX6972" fmla="*/ 3394275 w 6226010"/>
              <a:gd name="connsiteY6972" fmla="*/ 926699 h 5756219"/>
              <a:gd name="connsiteX6973" fmla="*/ 3443193 w 6226010"/>
              <a:gd name="connsiteY6973" fmla="*/ 918546 h 5756219"/>
              <a:gd name="connsiteX6974" fmla="*/ 3426887 w 6226010"/>
              <a:gd name="connsiteY6974" fmla="*/ 904958 h 5756219"/>
              <a:gd name="connsiteX6975" fmla="*/ 3426887 w 6226010"/>
              <a:gd name="connsiteY6975" fmla="*/ 883217 h 5756219"/>
              <a:gd name="connsiteX6976" fmla="*/ 3451345 w 6226010"/>
              <a:gd name="connsiteY6976" fmla="*/ 883217 h 5756219"/>
              <a:gd name="connsiteX6977" fmla="*/ 3443193 w 6226010"/>
              <a:gd name="connsiteY6977" fmla="*/ 853324 h 5756219"/>
              <a:gd name="connsiteX6978" fmla="*/ 3456781 w 6226010"/>
              <a:gd name="connsiteY6978" fmla="*/ 837018 h 5756219"/>
              <a:gd name="connsiteX6979" fmla="*/ 3478521 w 6226010"/>
              <a:gd name="connsiteY6979" fmla="*/ 828866 h 5756219"/>
              <a:gd name="connsiteX6980" fmla="*/ 3456781 w 6226010"/>
              <a:gd name="connsiteY6980" fmla="*/ 828866 h 5756219"/>
              <a:gd name="connsiteX6981" fmla="*/ 3464933 w 6226010"/>
              <a:gd name="connsiteY6981" fmla="*/ 782667 h 5756219"/>
              <a:gd name="connsiteX6982" fmla="*/ 3443193 w 6226010"/>
              <a:gd name="connsiteY6982" fmla="*/ 782667 h 5756219"/>
              <a:gd name="connsiteX6983" fmla="*/ 3464933 w 6226010"/>
              <a:gd name="connsiteY6983" fmla="*/ 774515 h 5756219"/>
              <a:gd name="connsiteX6984" fmla="*/ 3464933 w 6226010"/>
              <a:gd name="connsiteY6984" fmla="*/ 744620 h 5756219"/>
              <a:gd name="connsiteX6985" fmla="*/ 3478521 w 6226010"/>
              <a:gd name="connsiteY6985" fmla="*/ 744620 h 5756219"/>
              <a:gd name="connsiteX6986" fmla="*/ 3483957 w 6226010"/>
              <a:gd name="connsiteY6986" fmla="*/ 782667 h 5756219"/>
              <a:gd name="connsiteX6987" fmla="*/ 3508415 w 6226010"/>
              <a:gd name="connsiteY6987" fmla="*/ 782667 h 5756219"/>
              <a:gd name="connsiteX6988" fmla="*/ 3500261 w 6226010"/>
              <a:gd name="connsiteY6988" fmla="*/ 769079 h 5756219"/>
              <a:gd name="connsiteX6989" fmla="*/ 3522003 w 6226010"/>
              <a:gd name="connsiteY6989" fmla="*/ 769079 h 5756219"/>
              <a:gd name="connsiteX6990" fmla="*/ 3527437 w 6226010"/>
              <a:gd name="connsiteY6990" fmla="*/ 807126 h 5756219"/>
              <a:gd name="connsiteX6991" fmla="*/ 3535591 w 6226010"/>
              <a:gd name="connsiteY6991" fmla="*/ 785384 h 5756219"/>
              <a:gd name="connsiteX6992" fmla="*/ 3535591 w 6226010"/>
              <a:gd name="connsiteY6992" fmla="*/ 747338 h 5756219"/>
              <a:gd name="connsiteX6993" fmla="*/ 3513849 w 6226010"/>
              <a:gd name="connsiteY6993" fmla="*/ 747338 h 5756219"/>
              <a:gd name="connsiteX6994" fmla="*/ 3497545 w 6226010"/>
              <a:gd name="connsiteY6994" fmla="*/ 725597 h 5756219"/>
              <a:gd name="connsiteX6995" fmla="*/ 3535591 w 6226010"/>
              <a:gd name="connsiteY6995" fmla="*/ 725597 h 5756219"/>
              <a:gd name="connsiteX6996" fmla="*/ 3527437 w 6226010"/>
              <a:gd name="connsiteY6996" fmla="*/ 712009 h 5756219"/>
              <a:gd name="connsiteX6997" fmla="*/ 3549179 w 6226010"/>
              <a:gd name="connsiteY6997" fmla="*/ 712009 h 5756219"/>
              <a:gd name="connsiteX6998" fmla="*/ 3557331 w 6226010"/>
              <a:gd name="connsiteY6998" fmla="*/ 665811 h 5756219"/>
              <a:gd name="connsiteX6999" fmla="*/ 3573637 w 6226010"/>
              <a:gd name="connsiteY6999" fmla="*/ 665811 h 5756219"/>
              <a:gd name="connsiteX7000" fmla="*/ 3573637 w 6226010"/>
              <a:gd name="connsiteY7000" fmla="*/ 649505 h 5756219"/>
              <a:gd name="connsiteX7001" fmla="*/ 3595377 w 6226010"/>
              <a:gd name="connsiteY7001" fmla="*/ 649505 h 5756219"/>
              <a:gd name="connsiteX7002" fmla="*/ 3595377 w 6226010"/>
              <a:gd name="connsiteY7002" fmla="*/ 644070 h 5756219"/>
              <a:gd name="connsiteX7003" fmla="*/ 3565485 w 6226010"/>
              <a:gd name="connsiteY7003" fmla="*/ 635916 h 5756219"/>
              <a:gd name="connsiteX7004" fmla="*/ 3565485 w 6226010"/>
              <a:gd name="connsiteY7004" fmla="*/ 619611 h 5756219"/>
              <a:gd name="connsiteX7005" fmla="*/ 3565485 w 6226010"/>
              <a:gd name="connsiteY7005" fmla="*/ 611459 h 5756219"/>
              <a:gd name="connsiteX7006" fmla="*/ 3557331 w 6226010"/>
              <a:gd name="connsiteY7006" fmla="*/ 589718 h 5756219"/>
              <a:gd name="connsiteX7007" fmla="*/ 3595377 w 6226010"/>
              <a:gd name="connsiteY7007" fmla="*/ 589718 h 5756219"/>
              <a:gd name="connsiteX7008" fmla="*/ 3611683 w 6226010"/>
              <a:gd name="connsiteY7008" fmla="*/ 611459 h 5756219"/>
              <a:gd name="connsiteX7009" fmla="*/ 3633423 w 6226010"/>
              <a:gd name="connsiteY7009" fmla="*/ 611459 h 5756219"/>
              <a:gd name="connsiteX7010" fmla="*/ 3625271 w 6226010"/>
              <a:gd name="connsiteY7010" fmla="*/ 587000 h 5756219"/>
              <a:gd name="connsiteX7011" fmla="*/ 3641577 w 6226010"/>
              <a:gd name="connsiteY7011" fmla="*/ 573413 h 5756219"/>
              <a:gd name="connsiteX7012" fmla="*/ 3644295 w 6226010"/>
              <a:gd name="connsiteY7012" fmla="*/ 532648 h 5756219"/>
              <a:gd name="connsiteX7013" fmla="*/ 3674187 w 6226010"/>
              <a:gd name="connsiteY7013" fmla="*/ 565259 h 5756219"/>
              <a:gd name="connsiteX7014" fmla="*/ 3666035 w 6226010"/>
              <a:gd name="connsiteY7014" fmla="*/ 587000 h 5756219"/>
              <a:gd name="connsiteX7015" fmla="*/ 3687775 w 6226010"/>
              <a:gd name="connsiteY7015" fmla="*/ 587000 h 5756219"/>
              <a:gd name="connsiteX7016" fmla="*/ 3693211 w 6226010"/>
              <a:gd name="connsiteY7016" fmla="*/ 603305 h 5756219"/>
              <a:gd name="connsiteX7017" fmla="*/ 3701363 w 6226010"/>
              <a:gd name="connsiteY7017" fmla="*/ 587000 h 5756219"/>
              <a:gd name="connsiteX7018" fmla="*/ 3693211 w 6226010"/>
              <a:gd name="connsiteY7018" fmla="*/ 573413 h 5756219"/>
              <a:gd name="connsiteX7019" fmla="*/ 3701363 w 6226010"/>
              <a:gd name="connsiteY7019" fmla="*/ 562542 h 5756219"/>
              <a:gd name="connsiteX7020" fmla="*/ 3714951 w 6226010"/>
              <a:gd name="connsiteY7020" fmla="*/ 559824 h 5756219"/>
              <a:gd name="connsiteX7021" fmla="*/ 3709517 w 6226010"/>
              <a:gd name="connsiteY7021" fmla="*/ 546236 h 5756219"/>
              <a:gd name="connsiteX7022" fmla="*/ 3731257 w 6226010"/>
              <a:gd name="connsiteY7022" fmla="*/ 521779 h 5756219"/>
              <a:gd name="connsiteX7023" fmla="*/ 3744845 w 6226010"/>
              <a:gd name="connsiteY7023" fmla="*/ 529930 h 5756219"/>
              <a:gd name="connsiteX7024" fmla="*/ 3747563 w 6226010"/>
              <a:gd name="connsiteY7024" fmla="*/ 554389 h 5756219"/>
              <a:gd name="connsiteX7025" fmla="*/ 3761151 w 6226010"/>
              <a:gd name="connsiteY7025" fmla="*/ 538083 h 5756219"/>
              <a:gd name="connsiteX7026" fmla="*/ 3747563 w 6226010"/>
              <a:gd name="connsiteY7026" fmla="*/ 529930 h 5756219"/>
              <a:gd name="connsiteX7027" fmla="*/ 3747563 w 6226010"/>
              <a:gd name="connsiteY7027" fmla="*/ 491884 h 5756219"/>
              <a:gd name="connsiteX7028" fmla="*/ 3769303 w 6226010"/>
              <a:gd name="connsiteY7028" fmla="*/ 500037 h 5756219"/>
              <a:gd name="connsiteX7029" fmla="*/ 3791045 w 6226010"/>
              <a:gd name="connsiteY7029" fmla="*/ 500037 h 5756219"/>
              <a:gd name="connsiteX7030" fmla="*/ 3799197 w 6226010"/>
              <a:gd name="connsiteY7030" fmla="*/ 478297 h 5756219"/>
              <a:gd name="connsiteX7031" fmla="*/ 3807351 w 6226010"/>
              <a:gd name="connsiteY7031" fmla="*/ 500037 h 5756219"/>
              <a:gd name="connsiteX7032" fmla="*/ 3845397 w 6226010"/>
              <a:gd name="connsiteY7032" fmla="*/ 500037 h 5756219"/>
              <a:gd name="connsiteX7033" fmla="*/ 3837243 w 6226010"/>
              <a:gd name="connsiteY7033" fmla="*/ 470143 h 5756219"/>
              <a:gd name="connsiteX7034" fmla="*/ 3869855 w 6226010"/>
              <a:gd name="connsiteY7034" fmla="*/ 500037 h 5756219"/>
              <a:gd name="connsiteX7035" fmla="*/ 3875291 w 6226010"/>
              <a:gd name="connsiteY7035" fmla="*/ 470143 h 5756219"/>
              <a:gd name="connsiteX7036" fmla="*/ 3897031 w 6226010"/>
              <a:gd name="connsiteY7036" fmla="*/ 470143 h 5756219"/>
              <a:gd name="connsiteX7037" fmla="*/ 3897031 w 6226010"/>
              <a:gd name="connsiteY7037" fmla="*/ 486449 h 5756219"/>
              <a:gd name="connsiteX7038" fmla="*/ 3905184 w 6226010"/>
              <a:gd name="connsiteY7038" fmla="*/ 472862 h 5756219"/>
              <a:gd name="connsiteX7039" fmla="*/ 3910619 w 6226010"/>
              <a:gd name="connsiteY7039" fmla="*/ 464708 h 5756219"/>
              <a:gd name="connsiteX7040" fmla="*/ 3918772 w 6226010"/>
              <a:gd name="connsiteY7040" fmla="*/ 472862 h 5756219"/>
              <a:gd name="connsiteX7041" fmla="*/ 3940513 w 6226010"/>
              <a:gd name="connsiteY7041" fmla="*/ 472862 h 5756219"/>
              <a:gd name="connsiteX7042" fmla="*/ 3956818 w 6226010"/>
              <a:gd name="connsiteY7042" fmla="*/ 456555 h 5756219"/>
              <a:gd name="connsiteX7043" fmla="*/ 3981277 w 6226010"/>
              <a:gd name="connsiteY7043" fmla="*/ 472862 h 5756219"/>
              <a:gd name="connsiteX7044" fmla="*/ 3994865 w 6226010"/>
              <a:gd name="connsiteY7044" fmla="*/ 467426 h 5756219"/>
              <a:gd name="connsiteX7045" fmla="*/ 4011170 w 6226010"/>
              <a:gd name="connsiteY7045" fmla="*/ 481014 h 5756219"/>
              <a:gd name="connsiteX7046" fmla="*/ 4027476 w 6226010"/>
              <a:gd name="connsiteY7046" fmla="*/ 459273 h 5756219"/>
              <a:gd name="connsiteX7047" fmla="*/ 4057369 w 6226010"/>
              <a:gd name="connsiteY7047" fmla="*/ 442968 h 5756219"/>
              <a:gd name="connsiteX7048" fmla="*/ 4073675 w 6226010"/>
              <a:gd name="connsiteY7048" fmla="*/ 442968 h 5756219"/>
              <a:gd name="connsiteX7049" fmla="*/ 4111721 w 6226010"/>
              <a:gd name="connsiteY7049" fmla="*/ 459273 h 5756219"/>
              <a:gd name="connsiteX7050" fmla="*/ 4111721 w 6226010"/>
              <a:gd name="connsiteY7050" fmla="*/ 437532 h 5756219"/>
              <a:gd name="connsiteX7051" fmla="*/ 4136179 w 6226010"/>
              <a:gd name="connsiteY7051" fmla="*/ 478297 h 5756219"/>
              <a:gd name="connsiteX7052" fmla="*/ 4166073 w 6226010"/>
              <a:gd name="connsiteY7052" fmla="*/ 453839 h 5756219"/>
              <a:gd name="connsiteX7053" fmla="*/ 4166073 w 6226010"/>
              <a:gd name="connsiteY7053" fmla="*/ 475579 h 5756219"/>
              <a:gd name="connsiteX7054" fmla="*/ 4225859 w 6226010"/>
              <a:gd name="connsiteY7054" fmla="*/ 445685 h 5756219"/>
              <a:gd name="connsiteX7055" fmla="*/ 4217707 w 6226010"/>
              <a:gd name="connsiteY7055" fmla="*/ 470143 h 5756219"/>
              <a:gd name="connsiteX7056" fmla="*/ 4231295 w 6226010"/>
              <a:gd name="connsiteY7056" fmla="*/ 461991 h 5756219"/>
              <a:gd name="connsiteX7057" fmla="*/ 4239447 w 6226010"/>
              <a:gd name="connsiteY7057" fmla="*/ 475579 h 5756219"/>
              <a:gd name="connsiteX7058" fmla="*/ 4223141 w 6226010"/>
              <a:gd name="connsiteY7058" fmla="*/ 491884 h 5756219"/>
              <a:gd name="connsiteX7059" fmla="*/ 4247601 w 6226010"/>
              <a:gd name="connsiteY7059" fmla="*/ 491884 h 5756219"/>
              <a:gd name="connsiteX7060" fmla="*/ 4239447 w 6226010"/>
              <a:gd name="connsiteY7060" fmla="*/ 478297 h 5756219"/>
              <a:gd name="connsiteX7061" fmla="*/ 4255753 w 6226010"/>
              <a:gd name="connsiteY7061" fmla="*/ 478297 h 5756219"/>
              <a:gd name="connsiteX7062" fmla="*/ 4255753 w 6226010"/>
              <a:gd name="connsiteY7062" fmla="*/ 461991 h 5756219"/>
              <a:gd name="connsiteX7063" fmla="*/ 4293799 w 6226010"/>
              <a:gd name="connsiteY7063" fmla="*/ 494602 h 5756219"/>
              <a:gd name="connsiteX7064" fmla="*/ 4310105 w 6226010"/>
              <a:gd name="connsiteY7064" fmla="*/ 494602 h 5756219"/>
              <a:gd name="connsiteX7065" fmla="*/ 4301953 w 6226010"/>
              <a:gd name="connsiteY7065" fmla="*/ 510907 h 5756219"/>
              <a:gd name="connsiteX7066" fmla="*/ 4331845 w 6226010"/>
              <a:gd name="connsiteY7066" fmla="*/ 502754 h 5756219"/>
              <a:gd name="connsiteX7067" fmla="*/ 4372609 w 6226010"/>
              <a:gd name="connsiteY7067" fmla="*/ 538083 h 5756219"/>
              <a:gd name="connsiteX7068" fmla="*/ 4372609 w 6226010"/>
              <a:gd name="connsiteY7068" fmla="*/ 513626 h 5756219"/>
              <a:gd name="connsiteX7069" fmla="*/ 4394351 w 6226010"/>
              <a:gd name="connsiteY7069" fmla="*/ 529930 h 5756219"/>
              <a:gd name="connsiteX7070" fmla="*/ 4388915 w 6226010"/>
              <a:gd name="connsiteY7070" fmla="*/ 543518 h 5756219"/>
              <a:gd name="connsiteX7071" fmla="*/ 4402503 w 6226010"/>
              <a:gd name="connsiteY7071" fmla="*/ 559824 h 5756219"/>
              <a:gd name="connsiteX7072" fmla="*/ 4445985 w 6226010"/>
              <a:gd name="connsiteY7072" fmla="*/ 559824 h 5756219"/>
              <a:gd name="connsiteX7073" fmla="*/ 4470443 w 6226010"/>
              <a:gd name="connsiteY7073" fmla="*/ 592435 h 5756219"/>
              <a:gd name="connsiteX7074" fmla="*/ 4492183 w 6226010"/>
              <a:gd name="connsiteY7074" fmla="*/ 576130 h 5756219"/>
              <a:gd name="connsiteX7075" fmla="*/ 4492183 w 6226010"/>
              <a:gd name="connsiteY7075" fmla="*/ 597871 h 5756219"/>
              <a:gd name="connsiteX7076" fmla="*/ 4516643 w 6226010"/>
              <a:gd name="connsiteY7076" fmla="*/ 597871 h 5756219"/>
              <a:gd name="connsiteX7077" fmla="*/ 4511207 w 6226010"/>
              <a:gd name="connsiteY7077" fmla="*/ 611459 h 5756219"/>
              <a:gd name="connsiteX7078" fmla="*/ 4513925 w 6226010"/>
              <a:gd name="connsiteY7078" fmla="*/ 625046 h 5756219"/>
              <a:gd name="connsiteX7079" fmla="*/ 4522077 w 6226010"/>
              <a:gd name="connsiteY7079" fmla="*/ 622329 h 5756219"/>
              <a:gd name="connsiteX7080" fmla="*/ 4516643 w 6226010"/>
              <a:gd name="connsiteY7080" fmla="*/ 635916 h 5756219"/>
              <a:gd name="connsiteX7081" fmla="*/ 4522077 w 6226010"/>
              <a:gd name="connsiteY7081" fmla="*/ 635916 h 5756219"/>
              <a:gd name="connsiteX7082" fmla="*/ 4522077 w 6226010"/>
              <a:gd name="connsiteY7082" fmla="*/ 622329 h 5756219"/>
              <a:gd name="connsiteX7083" fmla="*/ 4522077 w 6226010"/>
              <a:gd name="connsiteY7083" fmla="*/ 614176 h 5756219"/>
              <a:gd name="connsiteX7084" fmla="*/ 4530231 w 6226010"/>
              <a:gd name="connsiteY7084" fmla="*/ 589718 h 5756219"/>
              <a:gd name="connsiteX7085" fmla="*/ 4551971 w 6226010"/>
              <a:gd name="connsiteY7085" fmla="*/ 606024 h 5756219"/>
              <a:gd name="connsiteX7086" fmla="*/ 4551971 w 6226010"/>
              <a:gd name="connsiteY7086" fmla="*/ 619611 h 5756219"/>
              <a:gd name="connsiteX7087" fmla="*/ 4550952 w 6226010"/>
              <a:gd name="connsiteY7087" fmla="*/ 622669 h 5756219"/>
              <a:gd name="connsiteX7088" fmla="*/ 4527513 w 6226010"/>
              <a:gd name="connsiteY7088" fmla="*/ 630482 h 5756219"/>
              <a:gd name="connsiteX7089" fmla="*/ 4543819 w 6226010"/>
              <a:gd name="connsiteY7089" fmla="*/ 644070 h 5756219"/>
              <a:gd name="connsiteX7090" fmla="*/ 4550952 w 6226010"/>
              <a:gd name="connsiteY7090" fmla="*/ 622669 h 5756219"/>
              <a:gd name="connsiteX7091" fmla="*/ 4551971 w 6226010"/>
              <a:gd name="connsiteY7091" fmla="*/ 622329 h 5756219"/>
              <a:gd name="connsiteX7092" fmla="*/ 4551971 w 6226010"/>
              <a:gd name="connsiteY7092" fmla="*/ 619611 h 5756219"/>
              <a:gd name="connsiteX7093" fmla="*/ 4565559 w 6226010"/>
              <a:gd name="connsiteY7093" fmla="*/ 619611 h 5756219"/>
              <a:gd name="connsiteX7094" fmla="*/ 4590017 w 6226010"/>
              <a:gd name="connsiteY7094" fmla="*/ 649505 h 5756219"/>
              <a:gd name="connsiteX7095" fmla="*/ 4560123 w 6226010"/>
              <a:gd name="connsiteY7095" fmla="*/ 665811 h 5756219"/>
              <a:gd name="connsiteX7096" fmla="*/ 4584583 w 6226010"/>
              <a:gd name="connsiteY7096" fmla="*/ 673964 h 5756219"/>
              <a:gd name="connsiteX7097" fmla="*/ 4606323 w 6226010"/>
              <a:gd name="connsiteY7097" fmla="*/ 720162 h 5756219"/>
              <a:gd name="connsiteX7098" fmla="*/ 4606323 w 6226010"/>
              <a:gd name="connsiteY7098" fmla="*/ 695705 h 5756219"/>
              <a:gd name="connsiteX7099" fmla="*/ 4625345 w 6226010"/>
              <a:gd name="connsiteY7099" fmla="*/ 712009 h 5756219"/>
              <a:gd name="connsiteX7100" fmla="*/ 4628063 w 6226010"/>
              <a:gd name="connsiteY7100" fmla="*/ 701139 h 5756219"/>
              <a:gd name="connsiteX7101" fmla="*/ 4633499 w 6226010"/>
              <a:gd name="connsiteY7101" fmla="*/ 720162 h 5756219"/>
              <a:gd name="connsiteX7102" fmla="*/ 4636217 w 6226010"/>
              <a:gd name="connsiteY7102" fmla="*/ 744620 h 5756219"/>
              <a:gd name="connsiteX7103" fmla="*/ 4666109 w 6226010"/>
              <a:gd name="connsiteY7103" fmla="*/ 722879 h 5756219"/>
              <a:gd name="connsiteX7104" fmla="*/ 4660675 w 6226010"/>
              <a:gd name="connsiteY7104" fmla="*/ 755491 h 5756219"/>
              <a:gd name="connsiteX7105" fmla="*/ 4655239 w 6226010"/>
              <a:gd name="connsiteY7105" fmla="*/ 741903 h 5756219"/>
              <a:gd name="connsiteX7106" fmla="*/ 4638933 w 6226010"/>
              <a:gd name="connsiteY7106" fmla="*/ 755491 h 5756219"/>
              <a:gd name="connsiteX7107" fmla="*/ 4641651 w 6226010"/>
              <a:gd name="connsiteY7107" fmla="*/ 766361 h 5756219"/>
              <a:gd name="connsiteX7108" fmla="*/ 4657957 w 6226010"/>
              <a:gd name="connsiteY7108" fmla="*/ 774515 h 5756219"/>
              <a:gd name="connsiteX7109" fmla="*/ 4682415 w 6226010"/>
              <a:gd name="connsiteY7109" fmla="*/ 769079 h 5756219"/>
              <a:gd name="connsiteX7110" fmla="*/ 4696004 w 6226010"/>
              <a:gd name="connsiteY7110" fmla="*/ 739185 h 5756219"/>
              <a:gd name="connsiteX7111" fmla="*/ 4685133 w 6226010"/>
              <a:gd name="connsiteY7111" fmla="*/ 796254 h 5756219"/>
              <a:gd name="connsiteX7112" fmla="*/ 4712309 w 6226010"/>
              <a:gd name="connsiteY7112" fmla="*/ 807126 h 5756219"/>
              <a:gd name="connsiteX7113" fmla="*/ 4709252 w 6226010"/>
              <a:gd name="connsiteY7113" fmla="*/ 844959 h 5756219"/>
              <a:gd name="connsiteX7114" fmla="*/ 4713450 w 6226010"/>
              <a:gd name="connsiteY7114" fmla="*/ 850437 h 5756219"/>
              <a:gd name="connsiteX7115" fmla="*/ 4709592 w 6226010"/>
              <a:gd name="connsiteY7115" fmla="*/ 853324 h 5756219"/>
              <a:gd name="connsiteX7116" fmla="*/ 4704157 w 6226010"/>
              <a:gd name="connsiteY7116" fmla="*/ 891370 h 5756219"/>
              <a:gd name="connsiteX7117" fmla="*/ 4769379 w 6226010"/>
              <a:gd name="connsiteY7117" fmla="*/ 853324 h 5756219"/>
              <a:gd name="connsiteX7118" fmla="*/ 4782967 w 6226010"/>
              <a:gd name="connsiteY7118" fmla="*/ 807126 h 5756219"/>
              <a:gd name="connsiteX7119" fmla="*/ 4772097 w 6226010"/>
              <a:gd name="connsiteY7119" fmla="*/ 790819 h 5756219"/>
              <a:gd name="connsiteX7120" fmla="*/ 4782967 w 6226010"/>
              <a:gd name="connsiteY7120" fmla="*/ 779949 h 5756219"/>
              <a:gd name="connsiteX7121" fmla="*/ 4788402 w 6226010"/>
              <a:gd name="connsiteY7121" fmla="*/ 793537 h 5756219"/>
              <a:gd name="connsiteX7122" fmla="*/ 4812861 w 6226010"/>
              <a:gd name="connsiteY7122" fmla="*/ 782667 h 5756219"/>
              <a:gd name="connsiteX7123" fmla="*/ 4791120 w 6226010"/>
              <a:gd name="connsiteY7123" fmla="*/ 769079 h 5756219"/>
              <a:gd name="connsiteX7124" fmla="*/ 4821013 w 6226010"/>
              <a:gd name="connsiteY7124" fmla="*/ 769079 h 5756219"/>
              <a:gd name="connsiteX7125" fmla="*/ 4799273 w 6226010"/>
              <a:gd name="connsiteY7125" fmla="*/ 750055 h 5756219"/>
              <a:gd name="connsiteX7126" fmla="*/ 4812861 w 6226010"/>
              <a:gd name="connsiteY7126" fmla="*/ 752773 h 5756219"/>
              <a:gd name="connsiteX7127" fmla="*/ 4823731 w 6226010"/>
              <a:gd name="connsiteY7127" fmla="*/ 733750 h 5756219"/>
              <a:gd name="connsiteX7128" fmla="*/ 4796555 w 6226010"/>
              <a:gd name="connsiteY7128" fmla="*/ 706574 h 5756219"/>
              <a:gd name="connsiteX7129" fmla="*/ 4788063 w 6226010"/>
              <a:gd name="connsiteY7129" fmla="*/ 710990 h 5756219"/>
              <a:gd name="connsiteX7130" fmla="*/ 4786905 w 6226010"/>
              <a:gd name="connsiteY7130" fmla="*/ 714132 h 5756219"/>
              <a:gd name="connsiteX7131" fmla="*/ 4781268 w 6226010"/>
              <a:gd name="connsiteY7131" fmla="*/ 701479 h 5756219"/>
              <a:gd name="connsiteX7132" fmla="*/ 4744921 w 6226010"/>
              <a:gd name="connsiteY7132" fmla="*/ 690268 h 5756219"/>
              <a:gd name="connsiteX7133" fmla="*/ 4753073 w 6226010"/>
              <a:gd name="connsiteY7133" fmla="*/ 660376 h 5756219"/>
              <a:gd name="connsiteX7134" fmla="*/ 4772097 w 6226010"/>
              <a:gd name="connsiteY7134" fmla="*/ 679399 h 5756219"/>
              <a:gd name="connsiteX7135" fmla="*/ 4804708 w 6226010"/>
              <a:gd name="connsiteY7135" fmla="*/ 665811 h 5756219"/>
              <a:gd name="connsiteX7136" fmla="*/ 4859060 w 6226010"/>
              <a:gd name="connsiteY7136" fmla="*/ 736467 h 5756219"/>
              <a:gd name="connsiteX7137" fmla="*/ 4875365 w 6226010"/>
              <a:gd name="connsiteY7137" fmla="*/ 736467 h 5756219"/>
              <a:gd name="connsiteX7138" fmla="*/ 4866300 w 6226010"/>
              <a:gd name="connsiteY7138" fmla="*/ 692434 h 5756219"/>
              <a:gd name="connsiteX7139" fmla="*/ 4871289 w 6226010"/>
              <a:gd name="connsiteY7139" fmla="*/ 698422 h 5756219"/>
              <a:gd name="connsiteX7140" fmla="*/ 4878083 w 6226010"/>
              <a:gd name="connsiteY7140" fmla="*/ 706574 h 5756219"/>
              <a:gd name="connsiteX7141" fmla="*/ 4886236 w 6226010"/>
              <a:gd name="connsiteY7141" fmla="*/ 671246 h 5756219"/>
              <a:gd name="connsiteX7142" fmla="*/ 4881480 w 6226010"/>
              <a:gd name="connsiteY7142" fmla="*/ 689929 h 5756219"/>
              <a:gd name="connsiteX7143" fmla="*/ 4865842 w 6226010"/>
              <a:gd name="connsiteY7143" fmla="*/ 690242 h 5756219"/>
              <a:gd name="connsiteX7144" fmla="*/ 4857022 w 6226010"/>
              <a:gd name="connsiteY7144" fmla="*/ 670736 h 5756219"/>
              <a:gd name="connsiteX7145" fmla="*/ 4840037 w 6226010"/>
              <a:gd name="connsiteY7145" fmla="*/ 660376 h 5756219"/>
              <a:gd name="connsiteX7146" fmla="*/ 4837319 w 6226010"/>
              <a:gd name="connsiteY7146" fmla="*/ 635916 h 5756219"/>
              <a:gd name="connsiteX7147" fmla="*/ 4793837 w 6226010"/>
              <a:gd name="connsiteY7147" fmla="*/ 641352 h 5756219"/>
              <a:gd name="connsiteX7148" fmla="*/ 4829506 w 6226010"/>
              <a:gd name="connsiteY7148" fmla="*/ 625387 h 5756219"/>
              <a:gd name="connsiteX7149" fmla="*/ 4835246 w 6226010"/>
              <a:gd name="connsiteY7149" fmla="*/ 625817 h 5756219"/>
              <a:gd name="connsiteX7150" fmla="*/ 4837319 w 6226010"/>
              <a:gd name="connsiteY7150" fmla="*/ 630482 h 5756219"/>
              <a:gd name="connsiteX7151" fmla="*/ 4846491 w 6226010"/>
              <a:gd name="connsiteY7151" fmla="*/ 628444 h 5756219"/>
              <a:gd name="connsiteX7152" fmla="*/ 4848403 w 6226010"/>
              <a:gd name="connsiteY7152" fmla="*/ 626804 h 5756219"/>
              <a:gd name="connsiteX7153" fmla="*/ 4853837 w 6226010"/>
              <a:gd name="connsiteY7153" fmla="*/ 627212 h 5756219"/>
              <a:gd name="connsiteX7154" fmla="*/ 4875365 w 6226010"/>
              <a:gd name="connsiteY7154" fmla="*/ 627764 h 5756219"/>
              <a:gd name="connsiteX7155" fmla="*/ 4907976 w 6226010"/>
              <a:gd name="connsiteY7155" fmla="*/ 597871 h 5756219"/>
              <a:gd name="connsiteX7156" fmla="*/ 4891671 w 6226010"/>
              <a:gd name="connsiteY7156" fmla="*/ 641352 h 5756219"/>
              <a:gd name="connsiteX7157" fmla="*/ 4899824 w 6226010"/>
              <a:gd name="connsiteY7157" fmla="*/ 616893 h 5756219"/>
              <a:gd name="connsiteX7158" fmla="*/ 4918847 w 6226010"/>
              <a:gd name="connsiteY7158" fmla="*/ 619611 h 5756219"/>
              <a:gd name="connsiteX7159" fmla="*/ 4935152 w 6226010"/>
              <a:gd name="connsiteY7159" fmla="*/ 701139 h 5756219"/>
              <a:gd name="connsiteX7160" fmla="*/ 4951458 w 6226010"/>
              <a:gd name="connsiteY7160" fmla="*/ 695705 h 5756219"/>
              <a:gd name="connsiteX7161" fmla="*/ 4951458 w 6226010"/>
              <a:gd name="connsiteY7161" fmla="*/ 630482 h 5756219"/>
              <a:gd name="connsiteX7162" fmla="*/ 4959611 w 6226010"/>
              <a:gd name="connsiteY7162" fmla="*/ 627764 h 5756219"/>
              <a:gd name="connsiteX7163" fmla="*/ 4944155 w 6226010"/>
              <a:gd name="connsiteY7163" fmla="*/ 590185 h 5756219"/>
              <a:gd name="connsiteX7164" fmla="*/ 4948740 w 6226010"/>
              <a:gd name="connsiteY7164" fmla="*/ 589038 h 5756219"/>
              <a:gd name="connsiteX7165" fmla="*/ 4962328 w 6226010"/>
              <a:gd name="connsiteY7165" fmla="*/ 589718 h 5756219"/>
              <a:gd name="connsiteX7166" fmla="*/ 4960620 w 6226010"/>
              <a:gd name="connsiteY7166" fmla="*/ 580112 h 5756219"/>
              <a:gd name="connsiteX7167" fmla="*/ 4974685 w 6226010"/>
              <a:gd name="connsiteY7167" fmla="*/ 559867 h 5756219"/>
              <a:gd name="connsiteX7168" fmla="*/ 4994939 w 6226010"/>
              <a:gd name="connsiteY7168" fmla="*/ 489166 h 5756219"/>
              <a:gd name="connsiteX7169" fmla="*/ 4992222 w 6226010"/>
              <a:gd name="connsiteY7169" fmla="*/ 502754 h 5756219"/>
              <a:gd name="connsiteX7170" fmla="*/ 5016680 w 6226010"/>
              <a:gd name="connsiteY7170" fmla="*/ 494602 h 5756219"/>
              <a:gd name="connsiteX7171" fmla="*/ 4981351 w 6226010"/>
              <a:gd name="connsiteY7171" fmla="*/ 559824 h 5756219"/>
              <a:gd name="connsiteX7172" fmla="*/ 5024833 w 6226010"/>
              <a:gd name="connsiteY7172" fmla="*/ 535366 h 5756219"/>
              <a:gd name="connsiteX7173" fmla="*/ 5005810 w 6226010"/>
              <a:gd name="connsiteY7173" fmla="*/ 597871 h 5756219"/>
              <a:gd name="connsiteX7174" fmla="*/ 4992222 w 6226010"/>
              <a:gd name="connsiteY7174" fmla="*/ 589718 h 5756219"/>
              <a:gd name="connsiteX7175" fmla="*/ 4986787 w 6226010"/>
              <a:gd name="connsiteY7175" fmla="*/ 625046 h 5756219"/>
              <a:gd name="connsiteX7176" fmla="*/ 4997657 w 6226010"/>
              <a:gd name="connsiteY7176" fmla="*/ 635916 h 5756219"/>
              <a:gd name="connsiteX7177" fmla="*/ 4962328 w 6226010"/>
              <a:gd name="connsiteY7177" fmla="*/ 714727 h 5756219"/>
              <a:gd name="connsiteX7178" fmla="*/ 4987678 w 6226010"/>
              <a:gd name="connsiteY7178" fmla="*/ 706150 h 5756219"/>
              <a:gd name="connsiteX7179" fmla="*/ 4989613 w 6226010"/>
              <a:gd name="connsiteY7179" fmla="*/ 704107 h 5756219"/>
              <a:gd name="connsiteX7180" fmla="*/ 4992901 w 6226010"/>
              <a:gd name="connsiteY7180" fmla="*/ 711670 h 5756219"/>
              <a:gd name="connsiteX7181" fmla="*/ 4992222 w 6226010"/>
              <a:gd name="connsiteY7181" fmla="*/ 717444 h 5756219"/>
              <a:gd name="connsiteX7182" fmla="*/ 4959611 w 6226010"/>
              <a:gd name="connsiteY7182" fmla="*/ 717444 h 5756219"/>
              <a:gd name="connsiteX7183" fmla="*/ 4962328 w 6226010"/>
              <a:gd name="connsiteY7183" fmla="*/ 760926 h 5756219"/>
              <a:gd name="connsiteX7184" fmla="*/ 4994939 w 6226010"/>
              <a:gd name="connsiteY7184" fmla="*/ 739185 h 5756219"/>
              <a:gd name="connsiteX7185" fmla="*/ 4986787 w 6226010"/>
              <a:gd name="connsiteY7185" fmla="*/ 720162 h 5756219"/>
              <a:gd name="connsiteX7186" fmla="*/ 5005810 w 6226010"/>
              <a:gd name="connsiteY7186" fmla="*/ 744620 h 5756219"/>
              <a:gd name="connsiteX7187" fmla="*/ 5022115 w 6226010"/>
              <a:gd name="connsiteY7187" fmla="*/ 720162 h 5756219"/>
              <a:gd name="connsiteX7188" fmla="*/ 5030268 w 6226010"/>
              <a:gd name="connsiteY7188" fmla="*/ 725597 h 5756219"/>
              <a:gd name="connsiteX7189" fmla="*/ 5030268 w 6226010"/>
              <a:gd name="connsiteY7189" fmla="*/ 714727 h 5756219"/>
              <a:gd name="connsiteX7190" fmla="*/ 4997657 w 6226010"/>
              <a:gd name="connsiteY7190" fmla="*/ 722879 h 5756219"/>
              <a:gd name="connsiteX7191" fmla="*/ 5005810 w 6226010"/>
              <a:gd name="connsiteY7191" fmla="*/ 703856 h 5756219"/>
              <a:gd name="connsiteX7192" fmla="*/ 4998676 w 6226010"/>
              <a:gd name="connsiteY7192" fmla="*/ 700799 h 5756219"/>
              <a:gd name="connsiteX7193" fmla="*/ 4990010 w 6226010"/>
              <a:gd name="connsiteY7193" fmla="*/ 703688 h 5756219"/>
              <a:gd name="connsiteX7194" fmla="*/ 5002073 w 6226010"/>
              <a:gd name="connsiteY7194" fmla="*/ 690948 h 5756219"/>
              <a:gd name="connsiteX7195" fmla="*/ 5019398 w 6226010"/>
              <a:gd name="connsiteY7195" fmla="*/ 654940 h 5756219"/>
              <a:gd name="connsiteX7196" fmla="*/ 5041138 w 6226010"/>
              <a:gd name="connsiteY7196" fmla="*/ 660376 h 5756219"/>
              <a:gd name="connsiteX7197" fmla="*/ 5040939 w 6226010"/>
              <a:gd name="connsiteY7197" fmla="*/ 666550 h 5756219"/>
              <a:gd name="connsiteX7198" fmla="*/ 5031627 w 6226010"/>
              <a:gd name="connsiteY7198" fmla="*/ 672265 h 5756219"/>
              <a:gd name="connsiteX7199" fmla="*/ 5016680 w 6226010"/>
              <a:gd name="connsiteY7199" fmla="*/ 671246 h 5756219"/>
              <a:gd name="connsiteX7200" fmla="*/ 5013963 w 6226010"/>
              <a:gd name="connsiteY7200" fmla="*/ 684833 h 5756219"/>
              <a:gd name="connsiteX7201" fmla="*/ 5035703 w 6226010"/>
              <a:gd name="connsiteY7201" fmla="*/ 692986 h 5756219"/>
              <a:gd name="connsiteX7202" fmla="*/ 5027550 w 6226010"/>
              <a:gd name="connsiteY7202" fmla="*/ 679399 h 5756219"/>
              <a:gd name="connsiteX7203" fmla="*/ 5052009 w 6226010"/>
              <a:gd name="connsiteY7203" fmla="*/ 676680 h 5756219"/>
              <a:gd name="connsiteX7204" fmla="*/ 5051688 w 6226010"/>
              <a:gd name="connsiteY7204" fmla="*/ 672512 h 5756219"/>
              <a:gd name="connsiteX7205" fmla="*/ 5052901 w 6226010"/>
              <a:gd name="connsiteY7205" fmla="*/ 671883 h 5756219"/>
              <a:gd name="connsiteX7206" fmla="*/ 5060162 w 6226010"/>
              <a:gd name="connsiteY7206" fmla="*/ 638635 h 5756219"/>
              <a:gd name="connsiteX7207" fmla="*/ 5071032 w 6226010"/>
              <a:gd name="connsiteY7207" fmla="*/ 657658 h 5756219"/>
              <a:gd name="connsiteX7208" fmla="*/ 5073750 w 6226010"/>
              <a:gd name="connsiteY7208" fmla="*/ 592435 h 5756219"/>
              <a:gd name="connsiteX7209" fmla="*/ 5065597 w 6226010"/>
              <a:gd name="connsiteY7209" fmla="*/ 619611 h 5756219"/>
              <a:gd name="connsiteX7210" fmla="*/ 5119949 w 6226010"/>
              <a:gd name="connsiteY7210" fmla="*/ 562542 h 5756219"/>
              <a:gd name="connsiteX7211" fmla="*/ 5133536 w 6226010"/>
              <a:gd name="connsiteY7211" fmla="*/ 573413 h 5756219"/>
              <a:gd name="connsiteX7212" fmla="*/ 5122666 w 6226010"/>
              <a:gd name="connsiteY7212" fmla="*/ 584282 h 5756219"/>
              <a:gd name="connsiteX7213" fmla="*/ 5147124 w 6226010"/>
              <a:gd name="connsiteY7213" fmla="*/ 600588 h 5756219"/>
              <a:gd name="connsiteX7214" fmla="*/ 5166148 w 6226010"/>
              <a:gd name="connsiteY7214" fmla="*/ 584282 h 5756219"/>
              <a:gd name="connsiteX7215" fmla="*/ 5174300 w 6226010"/>
              <a:gd name="connsiteY7215" fmla="*/ 597871 h 5756219"/>
              <a:gd name="connsiteX7216" fmla="*/ 5166148 w 6226010"/>
              <a:gd name="connsiteY7216" fmla="*/ 597871 h 5756219"/>
              <a:gd name="connsiteX7217" fmla="*/ 5171583 w 6226010"/>
              <a:gd name="connsiteY7217" fmla="*/ 616893 h 5756219"/>
              <a:gd name="connsiteX7218" fmla="*/ 5204194 w 6226010"/>
              <a:gd name="connsiteY7218" fmla="*/ 595153 h 5756219"/>
              <a:gd name="connsiteX7219" fmla="*/ 5215064 w 6226010"/>
              <a:gd name="connsiteY7219" fmla="*/ 608741 h 5756219"/>
              <a:gd name="connsiteX7220" fmla="*/ 5187888 w 6226010"/>
              <a:gd name="connsiteY7220" fmla="*/ 608741 h 5756219"/>
              <a:gd name="connsiteX7221" fmla="*/ 5179736 w 6226010"/>
              <a:gd name="connsiteY7221" fmla="*/ 635916 h 5756219"/>
              <a:gd name="connsiteX7222" fmla="*/ 5117231 w 6226010"/>
              <a:gd name="connsiteY7222" fmla="*/ 657658 h 5756219"/>
              <a:gd name="connsiteX7223" fmla="*/ 5090055 w 6226010"/>
              <a:gd name="connsiteY7223" fmla="*/ 741903 h 5756219"/>
              <a:gd name="connsiteX7224" fmla="*/ 5103643 w 6226010"/>
              <a:gd name="connsiteY7224" fmla="*/ 739185 h 5756219"/>
              <a:gd name="connsiteX7225" fmla="*/ 5107965 w 6226010"/>
              <a:gd name="connsiteY7225" fmla="*/ 728326 h 5756219"/>
              <a:gd name="connsiteX7226" fmla="*/ 5111116 w 6226010"/>
              <a:gd name="connsiteY7226" fmla="*/ 725937 h 5756219"/>
              <a:gd name="connsiteX7227" fmla="*/ 5114696 w 6226010"/>
              <a:gd name="connsiteY7227" fmla="*/ 716988 h 5756219"/>
              <a:gd name="connsiteX7228" fmla="*/ 5123346 w 6226010"/>
              <a:gd name="connsiteY7228" fmla="*/ 706574 h 5756219"/>
              <a:gd name="connsiteX7229" fmla="*/ 5147124 w 6226010"/>
              <a:gd name="connsiteY7229" fmla="*/ 673964 h 5756219"/>
              <a:gd name="connsiteX7230" fmla="*/ 5215064 w 6226010"/>
              <a:gd name="connsiteY7230" fmla="*/ 663092 h 5756219"/>
              <a:gd name="connsiteX7231" fmla="*/ 5209629 w 6226010"/>
              <a:gd name="connsiteY7231" fmla="*/ 682117 h 5756219"/>
              <a:gd name="connsiteX7232" fmla="*/ 5236805 w 6226010"/>
              <a:gd name="connsiteY7232" fmla="*/ 679399 h 5756219"/>
              <a:gd name="connsiteX7233" fmla="*/ 5225935 w 6226010"/>
              <a:gd name="connsiteY7233" fmla="*/ 698421 h 5756219"/>
              <a:gd name="connsiteX7234" fmla="*/ 5244958 w 6226010"/>
              <a:gd name="connsiteY7234" fmla="*/ 712009 h 5756219"/>
              <a:gd name="connsiteX7235" fmla="*/ 5190606 w 6226010"/>
              <a:gd name="connsiteY7235" fmla="*/ 709292 h 5756219"/>
              <a:gd name="connsiteX7236" fmla="*/ 5179736 w 6226010"/>
              <a:gd name="connsiteY7236" fmla="*/ 763643 h 5756219"/>
              <a:gd name="connsiteX7237" fmla="*/ 5190606 w 6226010"/>
              <a:gd name="connsiteY7237" fmla="*/ 752773 h 5756219"/>
              <a:gd name="connsiteX7238" fmla="*/ 5187888 w 6226010"/>
              <a:gd name="connsiteY7238" fmla="*/ 788102 h 5756219"/>
              <a:gd name="connsiteX7239" fmla="*/ 5013963 w 6226010"/>
              <a:gd name="connsiteY7239" fmla="*/ 872347 h 5756219"/>
              <a:gd name="connsiteX7240" fmla="*/ 5032986 w 6226010"/>
              <a:gd name="connsiteY7240" fmla="*/ 885935 h 5756219"/>
              <a:gd name="connsiteX7241" fmla="*/ 5190606 w 6226010"/>
              <a:gd name="connsiteY7241" fmla="*/ 828866 h 5756219"/>
              <a:gd name="connsiteX7242" fmla="*/ 5223217 w 6226010"/>
              <a:gd name="connsiteY7242" fmla="*/ 785384 h 5756219"/>
              <a:gd name="connsiteX7243" fmla="*/ 5242240 w 6226010"/>
              <a:gd name="connsiteY7243" fmla="*/ 771796 h 5756219"/>
              <a:gd name="connsiteX7244" fmla="*/ 5255828 w 6226010"/>
              <a:gd name="connsiteY7244" fmla="*/ 779949 h 5756219"/>
              <a:gd name="connsiteX7245" fmla="*/ 5231370 w 6226010"/>
              <a:gd name="connsiteY7245" fmla="*/ 801691 h 5756219"/>
              <a:gd name="connsiteX7246" fmla="*/ 5263981 w 6226010"/>
              <a:gd name="connsiteY7246" fmla="*/ 790819 h 5756219"/>
              <a:gd name="connsiteX7247" fmla="*/ 5266699 w 6226010"/>
              <a:gd name="connsiteY7247" fmla="*/ 820713 h 5756219"/>
              <a:gd name="connsiteX7248" fmla="*/ 5212347 w 6226010"/>
              <a:gd name="connsiteY7248" fmla="*/ 823430 h 5756219"/>
              <a:gd name="connsiteX7249" fmla="*/ 5225935 w 6226010"/>
              <a:gd name="connsiteY7249" fmla="*/ 837018 h 5756219"/>
              <a:gd name="connsiteX7250" fmla="*/ 5244958 w 6226010"/>
              <a:gd name="connsiteY7250" fmla="*/ 823430 h 5756219"/>
              <a:gd name="connsiteX7251" fmla="*/ 5223217 w 6226010"/>
              <a:gd name="connsiteY7251" fmla="*/ 861477 h 5756219"/>
              <a:gd name="connsiteX7252" fmla="*/ 5168865 w 6226010"/>
              <a:gd name="connsiteY7252" fmla="*/ 861477 h 5756219"/>
              <a:gd name="connsiteX7253" fmla="*/ 5065597 w 6226010"/>
              <a:gd name="connsiteY7253" fmla="*/ 910393 h 5756219"/>
              <a:gd name="connsiteX7254" fmla="*/ 5160712 w 6226010"/>
              <a:gd name="connsiteY7254" fmla="*/ 883217 h 5756219"/>
              <a:gd name="connsiteX7255" fmla="*/ 5196041 w 6226010"/>
              <a:gd name="connsiteY7255" fmla="*/ 883217 h 5756219"/>
              <a:gd name="connsiteX7256" fmla="*/ 5244958 w 6226010"/>
              <a:gd name="connsiteY7256" fmla="*/ 891370 h 5756219"/>
              <a:gd name="connsiteX7257" fmla="*/ 5209629 w 6226010"/>
              <a:gd name="connsiteY7257" fmla="*/ 913112 h 5756219"/>
              <a:gd name="connsiteX7258" fmla="*/ 5231370 w 6226010"/>
              <a:gd name="connsiteY7258" fmla="*/ 921264 h 5756219"/>
              <a:gd name="connsiteX7259" fmla="*/ 5193324 w 6226010"/>
              <a:gd name="connsiteY7259" fmla="*/ 929417 h 5756219"/>
              <a:gd name="connsiteX7260" fmla="*/ 5190606 w 6226010"/>
              <a:gd name="connsiteY7260" fmla="*/ 913112 h 5756219"/>
              <a:gd name="connsiteX7261" fmla="*/ 5174300 w 6226010"/>
              <a:gd name="connsiteY7261" fmla="*/ 937569 h 5756219"/>
              <a:gd name="connsiteX7262" fmla="*/ 5198759 w 6226010"/>
              <a:gd name="connsiteY7262" fmla="*/ 940287 h 5756219"/>
              <a:gd name="connsiteX7263" fmla="*/ 5206912 w 6226010"/>
              <a:gd name="connsiteY7263" fmla="*/ 951157 h 5756219"/>
              <a:gd name="connsiteX7264" fmla="*/ 5204194 w 6226010"/>
              <a:gd name="connsiteY7264" fmla="*/ 970180 h 5756219"/>
              <a:gd name="connsiteX7265" fmla="*/ 5231370 w 6226010"/>
              <a:gd name="connsiteY7265" fmla="*/ 951157 h 5756219"/>
              <a:gd name="connsiteX7266" fmla="*/ 5212347 w 6226010"/>
              <a:gd name="connsiteY7266" fmla="*/ 948440 h 5756219"/>
              <a:gd name="connsiteX7267" fmla="*/ 5253111 w 6226010"/>
              <a:gd name="connsiteY7267" fmla="*/ 937569 h 5756219"/>
              <a:gd name="connsiteX7268" fmla="*/ 5291157 w 6226010"/>
              <a:gd name="connsiteY7268" fmla="*/ 904958 h 5756219"/>
              <a:gd name="connsiteX7269" fmla="*/ 5296592 w 6226010"/>
              <a:gd name="connsiteY7269" fmla="*/ 918546 h 5756219"/>
              <a:gd name="connsiteX7270" fmla="*/ 5277569 w 6226010"/>
              <a:gd name="connsiteY7270" fmla="*/ 937569 h 5756219"/>
              <a:gd name="connsiteX7271" fmla="*/ 5196041 w 6226010"/>
              <a:gd name="connsiteY7271" fmla="*/ 975616 h 5756219"/>
              <a:gd name="connsiteX7272" fmla="*/ 5197472 w 6226010"/>
              <a:gd name="connsiteY7272" fmla="*/ 978479 h 5756219"/>
              <a:gd name="connsiteX7273" fmla="*/ 5195659 w 6226010"/>
              <a:gd name="connsiteY7273" fmla="*/ 976083 h 5756219"/>
              <a:gd name="connsiteX7274" fmla="*/ 5171583 w 6226010"/>
              <a:gd name="connsiteY7274" fmla="*/ 981051 h 5756219"/>
              <a:gd name="connsiteX7275" fmla="*/ 5149842 w 6226010"/>
              <a:gd name="connsiteY7275" fmla="*/ 1021815 h 5756219"/>
              <a:gd name="connsiteX7276" fmla="*/ 5184236 w 6226010"/>
              <a:gd name="connsiteY7276" fmla="*/ 988566 h 5756219"/>
              <a:gd name="connsiteX7277" fmla="*/ 5200283 w 6226010"/>
              <a:gd name="connsiteY7277" fmla="*/ 984100 h 5756219"/>
              <a:gd name="connsiteX7278" fmla="*/ 5206912 w 6226010"/>
              <a:gd name="connsiteY7278" fmla="*/ 997356 h 5756219"/>
              <a:gd name="connsiteX7279" fmla="*/ 5228652 w 6226010"/>
              <a:gd name="connsiteY7279" fmla="*/ 986486 h 5756219"/>
              <a:gd name="connsiteX7280" fmla="*/ 5217782 w 6226010"/>
              <a:gd name="connsiteY7280" fmla="*/ 1005509 h 5756219"/>
              <a:gd name="connsiteX7281" fmla="*/ 5231370 w 6226010"/>
              <a:gd name="connsiteY7281" fmla="*/ 1016380 h 5756219"/>
              <a:gd name="connsiteX7282" fmla="*/ 5242240 w 6226010"/>
              <a:gd name="connsiteY7282" fmla="*/ 986486 h 5756219"/>
              <a:gd name="connsiteX7283" fmla="*/ 5225935 w 6226010"/>
              <a:gd name="connsiteY7283" fmla="*/ 975616 h 5756219"/>
              <a:gd name="connsiteX7284" fmla="*/ 5293875 w 6226010"/>
              <a:gd name="connsiteY7284" fmla="*/ 964745 h 5756219"/>
              <a:gd name="connsiteX7285" fmla="*/ 5288440 w 6226010"/>
              <a:gd name="connsiteY7285" fmla="*/ 975616 h 5756219"/>
              <a:gd name="connsiteX7286" fmla="*/ 5255828 w 6226010"/>
              <a:gd name="connsiteY7286" fmla="*/ 989204 h 5756219"/>
              <a:gd name="connsiteX7287" fmla="*/ 5258546 w 6226010"/>
              <a:gd name="connsiteY7287" fmla="*/ 1010944 h 5756219"/>
              <a:gd name="connsiteX7288" fmla="*/ 5288440 w 6226010"/>
              <a:gd name="connsiteY7288" fmla="*/ 1013662 h 5756219"/>
              <a:gd name="connsiteX7289" fmla="*/ 5283004 w 6226010"/>
              <a:gd name="connsiteY7289" fmla="*/ 1002792 h 5756219"/>
              <a:gd name="connsiteX7290" fmla="*/ 5302028 w 6226010"/>
              <a:gd name="connsiteY7290" fmla="*/ 1032685 h 5756219"/>
              <a:gd name="connsiteX7291" fmla="*/ 5266699 w 6226010"/>
              <a:gd name="connsiteY7291" fmla="*/ 1035403 h 5756219"/>
              <a:gd name="connsiteX7292" fmla="*/ 5274852 w 6226010"/>
              <a:gd name="connsiteY7292" fmla="*/ 1074128 h 5756219"/>
              <a:gd name="connsiteX7293" fmla="*/ 5282181 w 6226010"/>
              <a:gd name="connsiteY7293" fmla="*/ 1078675 h 5756219"/>
              <a:gd name="connsiteX7294" fmla="*/ 5280966 w 6226010"/>
              <a:gd name="connsiteY7294" fmla="*/ 1078205 h 5756219"/>
              <a:gd name="connsiteX7295" fmla="*/ 5261264 w 6226010"/>
              <a:gd name="connsiteY7295" fmla="*/ 1065296 h 5756219"/>
              <a:gd name="connsiteX7296" fmla="*/ 5247336 w 6226010"/>
              <a:gd name="connsiteY7296" fmla="*/ 1073449 h 5756219"/>
              <a:gd name="connsiteX7297" fmla="*/ 5235491 w 6226010"/>
              <a:gd name="connsiteY7297" fmla="*/ 1079498 h 5756219"/>
              <a:gd name="connsiteX7298" fmla="*/ 5242920 w 6226010"/>
              <a:gd name="connsiteY7298" fmla="*/ 1068353 h 5756219"/>
              <a:gd name="connsiteX7299" fmla="*/ 5255828 w 6226010"/>
              <a:gd name="connsiteY7299" fmla="*/ 1057143 h 5756219"/>
              <a:gd name="connsiteX7300" fmla="*/ 5223217 w 6226010"/>
              <a:gd name="connsiteY7300" fmla="*/ 1021815 h 5756219"/>
              <a:gd name="connsiteX7301" fmla="*/ 5242240 w 6226010"/>
              <a:gd name="connsiteY7301" fmla="*/ 1046273 h 5756219"/>
              <a:gd name="connsiteX7302" fmla="*/ 5230011 w 6226010"/>
              <a:gd name="connsiteY7302" fmla="*/ 1061899 h 5756219"/>
              <a:gd name="connsiteX7303" fmla="*/ 5233828 w 6226010"/>
              <a:gd name="connsiteY7303" fmla="*/ 1080347 h 5756219"/>
              <a:gd name="connsiteX7304" fmla="*/ 5231370 w 6226010"/>
              <a:gd name="connsiteY7304" fmla="*/ 1081602 h 5756219"/>
              <a:gd name="connsiteX7305" fmla="*/ 5217782 w 6226010"/>
              <a:gd name="connsiteY7305" fmla="*/ 1076167 h 5756219"/>
              <a:gd name="connsiteX7306" fmla="*/ 5217782 w 6226010"/>
              <a:gd name="connsiteY7306" fmla="*/ 1062579 h 5756219"/>
              <a:gd name="connsiteX7307" fmla="*/ 5223217 w 6226010"/>
              <a:gd name="connsiteY7307" fmla="*/ 1097906 h 5756219"/>
              <a:gd name="connsiteX7308" fmla="*/ 5193324 w 6226010"/>
              <a:gd name="connsiteY7308" fmla="*/ 1108779 h 5756219"/>
              <a:gd name="connsiteX7309" fmla="*/ 5231370 w 6226010"/>
              <a:gd name="connsiteY7309" fmla="*/ 1122366 h 5756219"/>
              <a:gd name="connsiteX7310" fmla="*/ 5196041 w 6226010"/>
              <a:gd name="connsiteY7310" fmla="*/ 1138671 h 5756219"/>
              <a:gd name="connsiteX7311" fmla="*/ 5253111 w 6226010"/>
              <a:gd name="connsiteY7311" fmla="*/ 1076167 h 5756219"/>
              <a:gd name="connsiteX7312" fmla="*/ 5261264 w 6226010"/>
              <a:gd name="connsiteY7312" fmla="*/ 1087037 h 5756219"/>
              <a:gd name="connsiteX7313" fmla="*/ 5272134 w 6226010"/>
              <a:gd name="connsiteY7313" fmla="*/ 1078884 h 5756219"/>
              <a:gd name="connsiteX7314" fmla="*/ 5296592 w 6226010"/>
              <a:gd name="connsiteY7314" fmla="*/ 1095190 h 5756219"/>
              <a:gd name="connsiteX7315" fmla="*/ 5292260 w 6226010"/>
              <a:gd name="connsiteY7315" fmla="*/ 1084926 h 5756219"/>
              <a:gd name="connsiteX7316" fmla="*/ 5294979 w 6226010"/>
              <a:gd name="connsiteY7316" fmla="*/ 1086612 h 5756219"/>
              <a:gd name="connsiteX7317" fmla="*/ 5315616 w 6226010"/>
              <a:gd name="connsiteY7317" fmla="*/ 1092472 h 5756219"/>
              <a:gd name="connsiteX7318" fmla="*/ 5302028 w 6226010"/>
              <a:gd name="connsiteY7318" fmla="*/ 1097906 h 5756219"/>
              <a:gd name="connsiteX7319" fmla="*/ 5315616 w 6226010"/>
              <a:gd name="connsiteY7319" fmla="*/ 1119648 h 5756219"/>
              <a:gd name="connsiteX7320" fmla="*/ 5340074 w 6226010"/>
              <a:gd name="connsiteY7320" fmla="*/ 1095190 h 5756219"/>
              <a:gd name="connsiteX7321" fmla="*/ 5334639 w 6226010"/>
              <a:gd name="connsiteY7321" fmla="*/ 1090094 h 5756219"/>
              <a:gd name="connsiteX7322" fmla="*/ 5333559 w 6226010"/>
              <a:gd name="connsiteY7322" fmla="*/ 1089486 h 5756219"/>
              <a:gd name="connsiteX7323" fmla="*/ 5334299 w 6226010"/>
              <a:gd name="connsiteY7323" fmla="*/ 1088056 h 5756219"/>
              <a:gd name="connsiteX7324" fmla="*/ 5350944 w 6226010"/>
              <a:gd name="connsiteY7324" fmla="*/ 1081602 h 5756219"/>
              <a:gd name="connsiteX7325" fmla="*/ 5343431 w 6226010"/>
              <a:gd name="connsiteY7325" fmla="*/ 1075720 h 5756219"/>
              <a:gd name="connsiteX7326" fmla="*/ 5343938 w 6226010"/>
              <a:gd name="connsiteY7326" fmla="*/ 1075318 h 5756219"/>
              <a:gd name="connsiteX7327" fmla="*/ 5367250 w 6226010"/>
              <a:gd name="connsiteY7327" fmla="*/ 1021815 h 5756219"/>
              <a:gd name="connsiteX7328" fmla="*/ 5356380 w 6226010"/>
              <a:gd name="connsiteY7328" fmla="*/ 1084319 h 5756219"/>
              <a:gd name="connsiteX7329" fmla="*/ 5372685 w 6226010"/>
              <a:gd name="connsiteY7329" fmla="*/ 1076167 h 5756219"/>
              <a:gd name="connsiteX7330" fmla="*/ 5416252 w 6226010"/>
              <a:gd name="connsiteY7330" fmla="*/ 1015785 h 5756219"/>
              <a:gd name="connsiteX7331" fmla="*/ 5438227 w 6226010"/>
              <a:gd name="connsiteY7331" fmla="*/ 1011421 h 5756219"/>
              <a:gd name="connsiteX7332" fmla="*/ 5435190 w 6226010"/>
              <a:gd name="connsiteY7332" fmla="*/ 1019097 h 5756219"/>
              <a:gd name="connsiteX7333" fmla="*/ 5446060 w 6226010"/>
              <a:gd name="connsiteY7333" fmla="*/ 1029968 h 5756219"/>
              <a:gd name="connsiteX7334" fmla="*/ 5410731 w 6226010"/>
              <a:gd name="connsiteY7334" fmla="*/ 1054426 h 5756219"/>
              <a:gd name="connsiteX7335" fmla="*/ 5478671 w 6226010"/>
              <a:gd name="connsiteY7335" fmla="*/ 1013662 h 5756219"/>
              <a:gd name="connsiteX7336" fmla="*/ 5475954 w 6226010"/>
              <a:gd name="connsiteY7336" fmla="*/ 1027250 h 5756219"/>
              <a:gd name="connsiteX7337" fmla="*/ 5541176 w 6226010"/>
              <a:gd name="connsiteY7337" fmla="*/ 994639 h 5756219"/>
              <a:gd name="connsiteX7338" fmla="*/ 5484106 w 6226010"/>
              <a:gd name="connsiteY7338" fmla="*/ 1008228 h 5756219"/>
              <a:gd name="connsiteX7339" fmla="*/ 5486781 w 6226010"/>
              <a:gd name="connsiteY7339" fmla="*/ 991794 h 5756219"/>
              <a:gd name="connsiteX7340" fmla="*/ 5484141 w 6226010"/>
              <a:gd name="connsiteY7340" fmla="*/ 986555 h 5756219"/>
              <a:gd name="connsiteX7341" fmla="*/ 5486824 w 6226010"/>
              <a:gd name="connsiteY7341" fmla="*/ 978673 h 5756219"/>
              <a:gd name="connsiteX7342" fmla="*/ 5500412 w 6226010"/>
              <a:gd name="connsiteY7342" fmla="*/ 964745 h 5756219"/>
              <a:gd name="connsiteX7343" fmla="*/ 5492259 w 6226010"/>
              <a:gd name="connsiteY7343" fmla="*/ 991922 h 5756219"/>
              <a:gd name="connsiteX7344" fmla="*/ 5524870 w 6226010"/>
              <a:gd name="connsiteY7344" fmla="*/ 989204 h 5756219"/>
              <a:gd name="connsiteX7345" fmla="*/ 5529329 w 6226010"/>
              <a:gd name="connsiteY7345" fmla="*/ 975743 h 5756219"/>
              <a:gd name="connsiteX7346" fmla="*/ 5529496 w 6226010"/>
              <a:gd name="connsiteY7346" fmla="*/ 971885 h 5756219"/>
              <a:gd name="connsiteX7347" fmla="*/ 5532004 w 6226010"/>
              <a:gd name="connsiteY7347" fmla="*/ 970180 h 5756219"/>
              <a:gd name="connsiteX7348" fmla="*/ 5541176 w 6226010"/>
              <a:gd name="connsiteY7348" fmla="*/ 959310 h 5756219"/>
              <a:gd name="connsiteX7349" fmla="*/ 5532683 w 6226010"/>
              <a:gd name="connsiteY7349" fmla="*/ 958631 h 5756219"/>
              <a:gd name="connsiteX7350" fmla="*/ 5530206 w 6226010"/>
              <a:gd name="connsiteY7350" fmla="*/ 959430 h 5756219"/>
              <a:gd name="connsiteX7351" fmla="*/ 5532132 w 6226010"/>
              <a:gd name="connsiteY7351" fmla="*/ 946784 h 5756219"/>
              <a:gd name="connsiteX7352" fmla="*/ 5541176 w 6226010"/>
              <a:gd name="connsiteY7352" fmla="*/ 934852 h 5756219"/>
              <a:gd name="connsiteX7353" fmla="*/ 5541176 w 6226010"/>
              <a:gd name="connsiteY7353" fmla="*/ 972898 h 5756219"/>
              <a:gd name="connsiteX7354" fmla="*/ 5614551 w 6226010"/>
              <a:gd name="connsiteY7354" fmla="*/ 910393 h 5756219"/>
              <a:gd name="connsiteX7355" fmla="*/ 5603341 w 6226010"/>
              <a:gd name="connsiteY7355" fmla="*/ 903260 h 5756219"/>
              <a:gd name="connsiteX7356" fmla="*/ 5601014 w 6226010"/>
              <a:gd name="connsiteY7356" fmla="*/ 901841 h 5756219"/>
              <a:gd name="connsiteX7357" fmla="*/ 5611001 w 6226010"/>
              <a:gd name="connsiteY7357" fmla="*/ 892866 h 5756219"/>
              <a:gd name="connsiteX7358" fmla="*/ 5611833 w 6226010"/>
              <a:gd name="connsiteY7358" fmla="*/ 899524 h 5756219"/>
              <a:gd name="connsiteX7359" fmla="*/ 5639009 w 6226010"/>
              <a:gd name="connsiteY7359" fmla="*/ 866912 h 5756219"/>
              <a:gd name="connsiteX7360" fmla="*/ 5655315 w 6226010"/>
              <a:gd name="connsiteY7360" fmla="*/ 896805 h 5756219"/>
              <a:gd name="connsiteX7361" fmla="*/ 5611833 w 6226010"/>
              <a:gd name="connsiteY7361" fmla="*/ 956592 h 5756219"/>
              <a:gd name="connsiteX7362" fmla="*/ 5671620 w 6226010"/>
              <a:gd name="connsiteY7362" fmla="*/ 904958 h 5756219"/>
              <a:gd name="connsiteX7363" fmla="*/ 5693361 w 6226010"/>
              <a:gd name="connsiteY7363" fmla="*/ 943004 h 5756219"/>
              <a:gd name="connsiteX7364" fmla="*/ 5674338 w 6226010"/>
              <a:gd name="connsiteY7364" fmla="*/ 937569 h 5756219"/>
              <a:gd name="connsiteX7365" fmla="*/ 5666185 w 6226010"/>
              <a:gd name="connsiteY7365" fmla="*/ 953875 h 5756219"/>
              <a:gd name="connsiteX7366" fmla="*/ 5636291 w 6226010"/>
              <a:gd name="connsiteY7366" fmla="*/ 945722 h 5756219"/>
              <a:gd name="connsiteX7367" fmla="*/ 5644444 w 6226010"/>
              <a:gd name="connsiteY7367" fmla="*/ 989204 h 5756219"/>
              <a:gd name="connsiteX7368" fmla="*/ 5652597 w 6226010"/>
              <a:gd name="connsiteY7368" fmla="*/ 956592 h 5756219"/>
              <a:gd name="connsiteX7369" fmla="*/ 5663467 w 6226010"/>
              <a:gd name="connsiteY7369" fmla="*/ 981051 h 5756219"/>
              <a:gd name="connsiteX7370" fmla="*/ 5701514 w 6226010"/>
              <a:gd name="connsiteY7370" fmla="*/ 972898 h 5756219"/>
              <a:gd name="connsiteX7371" fmla="*/ 5628139 w 6226010"/>
              <a:gd name="connsiteY7371" fmla="*/ 1005509 h 5756219"/>
              <a:gd name="connsiteX7372" fmla="*/ 5674338 w 6226010"/>
              <a:gd name="connsiteY7372" fmla="*/ 1016380 h 5756219"/>
              <a:gd name="connsiteX7373" fmla="*/ 5587375 w 6226010"/>
              <a:gd name="connsiteY7373" fmla="*/ 1027250 h 5756219"/>
              <a:gd name="connsiteX7374" fmla="*/ 5584657 w 6226010"/>
              <a:gd name="connsiteY7374" fmla="*/ 1040838 h 5756219"/>
              <a:gd name="connsiteX7375" fmla="*/ 5571069 w 6226010"/>
              <a:gd name="connsiteY7375" fmla="*/ 1035403 h 5756219"/>
              <a:gd name="connsiteX7376" fmla="*/ 5448396 w 6226010"/>
              <a:gd name="connsiteY7376" fmla="*/ 1084701 h 5756219"/>
              <a:gd name="connsiteX7377" fmla="*/ 5437694 w 6226010"/>
              <a:gd name="connsiteY7377" fmla="*/ 1098127 h 5756219"/>
              <a:gd name="connsiteX7378" fmla="*/ 5437907 w 6226010"/>
              <a:gd name="connsiteY7378" fmla="*/ 1092472 h 5756219"/>
              <a:gd name="connsiteX7379" fmla="*/ 5405296 w 6226010"/>
              <a:gd name="connsiteY7379" fmla="*/ 1122366 h 5756219"/>
              <a:gd name="connsiteX7380" fmla="*/ 5397143 w 6226010"/>
              <a:gd name="connsiteY7380" fmla="*/ 1106060 h 5756219"/>
              <a:gd name="connsiteX7381" fmla="*/ 5394426 w 6226010"/>
              <a:gd name="connsiteY7381" fmla="*/ 1141389 h 5756219"/>
              <a:gd name="connsiteX7382" fmla="*/ 5440625 w 6226010"/>
              <a:gd name="connsiteY7382" fmla="*/ 1130518 h 5756219"/>
              <a:gd name="connsiteX7383" fmla="*/ 5437563 w 6226010"/>
              <a:gd name="connsiteY7383" fmla="*/ 1112452 h 5756219"/>
              <a:gd name="connsiteX7384" fmla="*/ 5460667 w 6226010"/>
              <a:gd name="connsiteY7384" fmla="*/ 1114552 h 5756219"/>
              <a:gd name="connsiteX7385" fmla="*/ 5463943 w 6226010"/>
              <a:gd name="connsiteY7385" fmla="*/ 1116058 h 5756219"/>
              <a:gd name="connsiteX7386" fmla="*/ 5458162 w 6226010"/>
              <a:gd name="connsiteY7386" fmla="*/ 1117907 h 5756219"/>
              <a:gd name="connsiteX7387" fmla="*/ 5456930 w 6226010"/>
              <a:gd name="connsiteY7387" fmla="*/ 1130518 h 5756219"/>
              <a:gd name="connsiteX7388" fmla="*/ 5463045 w 6226010"/>
              <a:gd name="connsiteY7388" fmla="*/ 1122026 h 5756219"/>
              <a:gd name="connsiteX7389" fmla="*/ 5472255 w 6226010"/>
              <a:gd name="connsiteY7389" fmla="*/ 1119877 h 5756219"/>
              <a:gd name="connsiteX7390" fmla="*/ 5473569 w 6226010"/>
              <a:gd name="connsiteY7390" fmla="*/ 1120481 h 5756219"/>
              <a:gd name="connsiteX7391" fmla="*/ 5478671 w 6226010"/>
              <a:gd name="connsiteY7391" fmla="*/ 1133237 h 5756219"/>
              <a:gd name="connsiteX7392" fmla="*/ 5481282 w 6226010"/>
              <a:gd name="connsiteY7392" fmla="*/ 1131428 h 5756219"/>
              <a:gd name="connsiteX7393" fmla="*/ 5484106 w 6226010"/>
              <a:gd name="connsiteY7393" fmla="*/ 1135954 h 5756219"/>
              <a:gd name="connsiteX7394" fmla="*/ 5527588 w 6226010"/>
              <a:gd name="connsiteY7394" fmla="*/ 1127802 h 5756219"/>
              <a:gd name="connsiteX7395" fmla="*/ 5530305 w 6226010"/>
              <a:gd name="connsiteY7395" fmla="*/ 1157694 h 5756219"/>
              <a:gd name="connsiteX7396" fmla="*/ 5446060 w 6226010"/>
              <a:gd name="connsiteY7396" fmla="*/ 1171282 h 5756219"/>
              <a:gd name="connsiteX7397" fmla="*/ 5527588 w 6226010"/>
              <a:gd name="connsiteY7397" fmla="*/ 1174001 h 5756219"/>
              <a:gd name="connsiteX7398" fmla="*/ 5541176 w 6226010"/>
              <a:gd name="connsiteY7398" fmla="*/ 1187589 h 5756219"/>
              <a:gd name="connsiteX7399" fmla="*/ 5568352 w 6226010"/>
              <a:gd name="connsiteY7399" fmla="*/ 1146824 h 5756219"/>
              <a:gd name="connsiteX7400" fmla="*/ 5590092 w 6226010"/>
              <a:gd name="connsiteY7400" fmla="*/ 1135954 h 5756219"/>
              <a:gd name="connsiteX7401" fmla="*/ 5576504 w 6226010"/>
              <a:gd name="connsiteY7401" fmla="*/ 1168565 h 5756219"/>
              <a:gd name="connsiteX7402" fmla="*/ 5609115 w 6226010"/>
              <a:gd name="connsiteY7402" fmla="*/ 1152259 h 5756219"/>
              <a:gd name="connsiteX7403" fmla="*/ 5600963 w 6226010"/>
              <a:gd name="connsiteY7403" fmla="*/ 1135954 h 5756219"/>
              <a:gd name="connsiteX7404" fmla="*/ 5612864 w 6226010"/>
              <a:gd name="connsiteY7404" fmla="*/ 1131085 h 5756219"/>
              <a:gd name="connsiteX7405" fmla="*/ 5618627 w 6226010"/>
              <a:gd name="connsiteY7405" fmla="*/ 1134256 h 5756219"/>
              <a:gd name="connsiteX7406" fmla="*/ 5625421 w 6226010"/>
              <a:gd name="connsiteY7406" fmla="*/ 1135954 h 5756219"/>
              <a:gd name="connsiteX7407" fmla="*/ 5630856 w 6226010"/>
              <a:gd name="connsiteY7407" fmla="*/ 1103342 h 5756219"/>
              <a:gd name="connsiteX7408" fmla="*/ 5616249 w 6226010"/>
              <a:gd name="connsiteY7408" fmla="*/ 1113874 h 5756219"/>
              <a:gd name="connsiteX7409" fmla="*/ 5614211 w 6226010"/>
              <a:gd name="connsiteY7409" fmla="*/ 1121555 h 5756219"/>
              <a:gd name="connsiteX7410" fmla="*/ 5604360 w 6226010"/>
              <a:gd name="connsiteY7410" fmla="*/ 1123767 h 5756219"/>
              <a:gd name="connsiteX7411" fmla="*/ 5549329 w 6226010"/>
              <a:gd name="connsiteY7411" fmla="*/ 1138671 h 5756219"/>
              <a:gd name="connsiteX7412" fmla="*/ 5568352 w 6226010"/>
              <a:gd name="connsiteY7412" fmla="*/ 1116931 h 5756219"/>
              <a:gd name="connsiteX7413" fmla="*/ 5595528 w 6226010"/>
              <a:gd name="connsiteY7413" fmla="*/ 1119648 h 5756219"/>
              <a:gd name="connsiteX7414" fmla="*/ 5660750 w 6226010"/>
              <a:gd name="connsiteY7414" fmla="*/ 1089755 h 5756219"/>
              <a:gd name="connsiteX7415" fmla="*/ 5614551 w 6226010"/>
              <a:gd name="connsiteY7415" fmla="*/ 1078884 h 5756219"/>
              <a:gd name="connsiteX7416" fmla="*/ 5696079 w 6226010"/>
              <a:gd name="connsiteY7416" fmla="*/ 1076167 h 5756219"/>
              <a:gd name="connsiteX7417" fmla="*/ 5687926 w 6226010"/>
              <a:gd name="connsiteY7417" fmla="*/ 1106060 h 5756219"/>
              <a:gd name="connsiteX7418" fmla="*/ 5701514 w 6226010"/>
              <a:gd name="connsiteY7418" fmla="*/ 1106060 h 5756219"/>
              <a:gd name="connsiteX7419" fmla="*/ 5685208 w 6226010"/>
              <a:gd name="connsiteY7419" fmla="*/ 1135954 h 5756219"/>
              <a:gd name="connsiteX7420" fmla="*/ 5687926 w 6226010"/>
              <a:gd name="connsiteY7420" fmla="*/ 1146824 h 5756219"/>
              <a:gd name="connsiteX7421" fmla="*/ 5663467 w 6226010"/>
              <a:gd name="connsiteY7421" fmla="*/ 1141389 h 5756219"/>
              <a:gd name="connsiteX7422" fmla="*/ 5658032 w 6226010"/>
              <a:gd name="connsiteY7422" fmla="*/ 1146824 h 5756219"/>
              <a:gd name="connsiteX7423" fmla="*/ 5690643 w 6226010"/>
              <a:gd name="connsiteY7423" fmla="*/ 1163130 h 5756219"/>
              <a:gd name="connsiteX7424" fmla="*/ 5644444 w 6226010"/>
              <a:gd name="connsiteY7424" fmla="*/ 1163130 h 5756219"/>
              <a:gd name="connsiteX7425" fmla="*/ 5636291 w 6226010"/>
              <a:gd name="connsiteY7425" fmla="*/ 1179436 h 5756219"/>
              <a:gd name="connsiteX7426" fmla="*/ 5658032 w 6226010"/>
              <a:gd name="connsiteY7426" fmla="*/ 1171282 h 5756219"/>
              <a:gd name="connsiteX7427" fmla="*/ 5611833 w 6226010"/>
              <a:gd name="connsiteY7427" fmla="*/ 1212047 h 5756219"/>
              <a:gd name="connsiteX7428" fmla="*/ 5581940 w 6226010"/>
              <a:gd name="connsiteY7428" fmla="*/ 1217482 h 5756219"/>
              <a:gd name="connsiteX7429" fmla="*/ 5663467 w 6226010"/>
              <a:gd name="connsiteY7429" fmla="*/ 1241941 h 5756219"/>
              <a:gd name="connsiteX7430" fmla="*/ 5641727 w 6226010"/>
              <a:gd name="connsiteY7430" fmla="*/ 1260963 h 5756219"/>
              <a:gd name="connsiteX7431" fmla="*/ 5658032 w 6226010"/>
              <a:gd name="connsiteY7431" fmla="*/ 1271834 h 5756219"/>
              <a:gd name="connsiteX7432" fmla="*/ 5633574 w 6226010"/>
              <a:gd name="connsiteY7432" fmla="*/ 1279986 h 5756219"/>
              <a:gd name="connsiteX7433" fmla="*/ 5633574 w 6226010"/>
              <a:gd name="connsiteY7433" fmla="*/ 1255528 h 5756219"/>
              <a:gd name="connsiteX7434" fmla="*/ 5552046 w 6226010"/>
              <a:gd name="connsiteY7434" fmla="*/ 1214765 h 5756219"/>
              <a:gd name="connsiteX7435" fmla="*/ 5533023 w 6226010"/>
              <a:gd name="connsiteY7435" fmla="*/ 1239223 h 5756219"/>
              <a:gd name="connsiteX7436" fmla="*/ 5538458 w 6226010"/>
              <a:gd name="connsiteY7436" fmla="*/ 1220200 h 5756219"/>
              <a:gd name="connsiteX7437" fmla="*/ 5511282 w 6226010"/>
              <a:gd name="connsiteY7437" fmla="*/ 1239223 h 5756219"/>
              <a:gd name="connsiteX7438" fmla="*/ 5500412 w 6226010"/>
              <a:gd name="connsiteY7438" fmla="*/ 1222918 h 5756219"/>
              <a:gd name="connsiteX7439" fmla="*/ 5527588 w 6226010"/>
              <a:gd name="connsiteY7439" fmla="*/ 1203895 h 5756219"/>
              <a:gd name="connsiteX7440" fmla="*/ 5473236 w 6226010"/>
              <a:gd name="connsiteY7440" fmla="*/ 1222918 h 5756219"/>
              <a:gd name="connsiteX7441" fmla="*/ 5500412 w 6226010"/>
              <a:gd name="connsiteY7441" fmla="*/ 1228353 h 5756219"/>
              <a:gd name="connsiteX7442" fmla="*/ 5511282 w 6226010"/>
              <a:gd name="connsiteY7442" fmla="*/ 1274552 h 5756219"/>
              <a:gd name="connsiteX7443" fmla="*/ 5440625 w 6226010"/>
              <a:gd name="connsiteY7443" fmla="*/ 1263681 h 5756219"/>
              <a:gd name="connsiteX7444" fmla="*/ 5364532 w 6226010"/>
              <a:gd name="connsiteY7444" fmla="*/ 1258246 h 5756219"/>
              <a:gd name="connsiteX7445" fmla="*/ 5283004 w 6226010"/>
              <a:gd name="connsiteY7445" fmla="*/ 1299009 h 5756219"/>
              <a:gd name="connsiteX7446" fmla="*/ 5280287 w 6226010"/>
              <a:gd name="connsiteY7446" fmla="*/ 1288140 h 5756219"/>
              <a:gd name="connsiteX7447" fmla="*/ 5285722 w 6226010"/>
              <a:gd name="connsiteY7447" fmla="*/ 1293574 h 5756219"/>
              <a:gd name="connsiteX7448" fmla="*/ 5356380 w 6226010"/>
              <a:gd name="connsiteY7448" fmla="*/ 1252811 h 5756219"/>
              <a:gd name="connsiteX7449" fmla="*/ 5345509 w 6226010"/>
              <a:gd name="connsiteY7449" fmla="*/ 1244658 h 5756219"/>
              <a:gd name="connsiteX7450" fmla="*/ 5369968 w 6226010"/>
              <a:gd name="connsiteY7450" fmla="*/ 1239223 h 5756219"/>
              <a:gd name="connsiteX7451" fmla="*/ 5288440 w 6226010"/>
              <a:gd name="connsiteY7451" fmla="*/ 1252811 h 5756219"/>
              <a:gd name="connsiteX7452" fmla="*/ 5277569 w 6226010"/>
              <a:gd name="connsiteY7452" fmla="*/ 1239223 h 5756219"/>
              <a:gd name="connsiteX7453" fmla="*/ 5223217 w 6226010"/>
              <a:gd name="connsiteY7453" fmla="*/ 1274552 h 5756219"/>
              <a:gd name="connsiteX7454" fmla="*/ 5155277 w 6226010"/>
              <a:gd name="connsiteY7454" fmla="*/ 1290857 h 5756219"/>
              <a:gd name="connsiteX7455" fmla="*/ 5109078 w 6226010"/>
              <a:gd name="connsiteY7455" fmla="*/ 1288140 h 5756219"/>
              <a:gd name="connsiteX7456" fmla="*/ 5073750 w 6226010"/>
              <a:gd name="connsiteY7456" fmla="*/ 1307163 h 5756219"/>
              <a:gd name="connsiteX7457" fmla="*/ 5062879 w 6226010"/>
              <a:gd name="connsiteY7457" fmla="*/ 1342491 h 5756219"/>
              <a:gd name="connsiteX7458" fmla="*/ 5046574 w 6226010"/>
              <a:gd name="connsiteY7458" fmla="*/ 1350644 h 5756219"/>
              <a:gd name="connsiteX7459" fmla="*/ 4967763 w 6226010"/>
              <a:gd name="connsiteY7459" fmla="*/ 1443043 h 5756219"/>
              <a:gd name="connsiteX7460" fmla="*/ 4965046 w 6226010"/>
              <a:gd name="connsiteY7460" fmla="*/ 1459347 h 5756219"/>
              <a:gd name="connsiteX7461" fmla="*/ 5106361 w 6226010"/>
              <a:gd name="connsiteY7461" fmla="*/ 1331621 h 5756219"/>
              <a:gd name="connsiteX7462" fmla="*/ 5123330 w 6226010"/>
              <a:gd name="connsiteY7462" fmla="*/ 1331727 h 5756219"/>
              <a:gd name="connsiteX7463" fmla="*/ 5138867 w 6226010"/>
              <a:gd name="connsiteY7463" fmla="*/ 1327365 h 5756219"/>
              <a:gd name="connsiteX7464" fmla="*/ 5136254 w 6226010"/>
              <a:gd name="connsiteY7464" fmla="*/ 1328904 h 5756219"/>
              <a:gd name="connsiteX7465" fmla="*/ 5138972 w 6226010"/>
              <a:gd name="connsiteY7465" fmla="*/ 1350644 h 5756219"/>
              <a:gd name="connsiteX7466" fmla="*/ 5182453 w 6226010"/>
              <a:gd name="connsiteY7466" fmla="*/ 1347927 h 5756219"/>
              <a:gd name="connsiteX7467" fmla="*/ 5182453 w 6226010"/>
              <a:gd name="connsiteY7467" fmla="*/ 1334339 h 5756219"/>
              <a:gd name="connsiteX7468" fmla="*/ 5204194 w 6226010"/>
              <a:gd name="connsiteY7468" fmla="*/ 1331621 h 5756219"/>
              <a:gd name="connsiteX7469" fmla="*/ 5173281 w 6226010"/>
              <a:gd name="connsiteY7469" fmla="*/ 1317014 h 5756219"/>
              <a:gd name="connsiteX7470" fmla="*/ 5166022 w 6226010"/>
              <a:gd name="connsiteY7470" fmla="*/ 1317205 h 5756219"/>
              <a:gd name="connsiteX7471" fmla="*/ 5189587 w 6226010"/>
              <a:gd name="connsiteY7471" fmla="*/ 1307842 h 5756219"/>
              <a:gd name="connsiteX7472" fmla="*/ 5234088 w 6226010"/>
              <a:gd name="connsiteY7472" fmla="*/ 1328904 h 5756219"/>
              <a:gd name="connsiteX7473" fmla="*/ 5253111 w 6226010"/>
              <a:gd name="connsiteY7473" fmla="*/ 1331621 h 5756219"/>
              <a:gd name="connsiteX7474" fmla="*/ 5244958 w 6226010"/>
              <a:gd name="connsiteY7474" fmla="*/ 1304444 h 5756219"/>
              <a:gd name="connsiteX7475" fmla="*/ 5272134 w 6226010"/>
              <a:gd name="connsiteY7475" fmla="*/ 1320751 h 5756219"/>
              <a:gd name="connsiteX7476" fmla="*/ 5293875 w 6226010"/>
              <a:gd name="connsiteY7476" fmla="*/ 1304444 h 5756219"/>
              <a:gd name="connsiteX7477" fmla="*/ 5307463 w 6226010"/>
              <a:gd name="connsiteY7477" fmla="*/ 1309881 h 5756219"/>
              <a:gd name="connsiteX7478" fmla="*/ 5274852 w 6226010"/>
              <a:gd name="connsiteY7478" fmla="*/ 1353362 h 5756219"/>
              <a:gd name="connsiteX7479" fmla="*/ 5261264 w 6226010"/>
              <a:gd name="connsiteY7479" fmla="*/ 1342491 h 5756219"/>
              <a:gd name="connsiteX7480" fmla="*/ 5258546 w 6226010"/>
              <a:gd name="connsiteY7480" fmla="*/ 1361515 h 5756219"/>
              <a:gd name="connsiteX7481" fmla="*/ 5223217 w 6226010"/>
              <a:gd name="connsiteY7481" fmla="*/ 1372385 h 5756219"/>
              <a:gd name="connsiteX7482" fmla="*/ 5239523 w 6226010"/>
              <a:gd name="connsiteY7482" fmla="*/ 1394126 h 5756219"/>
              <a:gd name="connsiteX7483" fmla="*/ 5250393 w 6226010"/>
              <a:gd name="connsiteY7483" fmla="*/ 1372385 h 5756219"/>
              <a:gd name="connsiteX7484" fmla="*/ 5323768 w 6226010"/>
              <a:gd name="connsiteY7484" fmla="*/ 1410431 h 5756219"/>
              <a:gd name="connsiteX7485" fmla="*/ 5418884 w 6226010"/>
              <a:gd name="connsiteY7485" fmla="*/ 1434890 h 5756219"/>
              <a:gd name="connsiteX7486" fmla="*/ 5378120 w 6226010"/>
              <a:gd name="connsiteY7486" fmla="*/ 1440324 h 5756219"/>
              <a:gd name="connsiteX7487" fmla="*/ 5467801 w 6226010"/>
              <a:gd name="connsiteY7487" fmla="*/ 1445759 h 5756219"/>
              <a:gd name="connsiteX7488" fmla="*/ 5424319 w 6226010"/>
              <a:gd name="connsiteY7488" fmla="*/ 1475653 h 5756219"/>
              <a:gd name="connsiteX7489" fmla="*/ 5440625 w 6226010"/>
              <a:gd name="connsiteY7489" fmla="*/ 1486520 h 5756219"/>
              <a:gd name="connsiteX7490" fmla="*/ 5454213 w 6226010"/>
              <a:gd name="connsiteY7490" fmla="*/ 1481085 h 5756219"/>
              <a:gd name="connsiteX7491" fmla="*/ 5560199 w 6226010"/>
              <a:gd name="connsiteY7491" fmla="*/ 1481085 h 5756219"/>
              <a:gd name="connsiteX7492" fmla="*/ 5619986 w 6226010"/>
              <a:gd name="connsiteY7492" fmla="*/ 1459347 h 5756219"/>
              <a:gd name="connsiteX7493" fmla="*/ 5630856 w 6226010"/>
              <a:gd name="connsiteY7493" fmla="*/ 1472935 h 5756219"/>
              <a:gd name="connsiteX7494" fmla="*/ 5671620 w 6226010"/>
              <a:gd name="connsiteY7494" fmla="*/ 1440324 h 5756219"/>
              <a:gd name="connsiteX7495" fmla="*/ 5649879 w 6226010"/>
              <a:gd name="connsiteY7495" fmla="*/ 1429454 h 5756219"/>
              <a:gd name="connsiteX7496" fmla="*/ 5714082 w 6226010"/>
              <a:gd name="connsiteY7496" fmla="*/ 1413785 h 5756219"/>
              <a:gd name="connsiteX7497" fmla="*/ 5720507 w 6226010"/>
              <a:gd name="connsiteY7497" fmla="*/ 1414557 h 5756219"/>
              <a:gd name="connsiteX7498" fmla="*/ 5709667 w 6226010"/>
              <a:gd name="connsiteY7498" fmla="*/ 1418583 h 5756219"/>
              <a:gd name="connsiteX7499" fmla="*/ 5736843 w 6226010"/>
              <a:gd name="connsiteY7499" fmla="*/ 1443043 h 5756219"/>
              <a:gd name="connsiteX7500" fmla="*/ 5706949 w 6226010"/>
              <a:gd name="connsiteY7500" fmla="*/ 1432171 h 5756219"/>
              <a:gd name="connsiteX7501" fmla="*/ 5701514 w 6226010"/>
              <a:gd name="connsiteY7501" fmla="*/ 1443043 h 5756219"/>
              <a:gd name="connsiteX7502" fmla="*/ 5630856 w 6226010"/>
              <a:gd name="connsiteY7502" fmla="*/ 1494674 h 5756219"/>
              <a:gd name="connsiteX7503" fmla="*/ 5663467 w 6226010"/>
              <a:gd name="connsiteY7503" fmla="*/ 1508262 h 5756219"/>
              <a:gd name="connsiteX7504" fmla="*/ 5685208 w 6226010"/>
              <a:gd name="connsiteY7504" fmla="*/ 1524567 h 5756219"/>
              <a:gd name="connsiteX7505" fmla="*/ 5663467 w 6226010"/>
              <a:gd name="connsiteY7505" fmla="*/ 1519132 h 5756219"/>
              <a:gd name="connsiteX7506" fmla="*/ 5658032 w 6226010"/>
              <a:gd name="connsiteY7506" fmla="*/ 1527284 h 5756219"/>
              <a:gd name="connsiteX7507" fmla="*/ 5690643 w 6226010"/>
              <a:gd name="connsiteY7507" fmla="*/ 1551742 h 5756219"/>
              <a:gd name="connsiteX7508" fmla="*/ 5693361 w 6226010"/>
              <a:gd name="connsiteY7508" fmla="*/ 1524567 h 5756219"/>
              <a:gd name="connsiteX7509" fmla="*/ 5720537 w 6226010"/>
              <a:gd name="connsiteY7509" fmla="*/ 1497392 h 5756219"/>
              <a:gd name="connsiteX7510" fmla="*/ 5723255 w 6226010"/>
              <a:gd name="connsiteY7510" fmla="*/ 1513697 h 5756219"/>
              <a:gd name="connsiteX7511" fmla="*/ 5696079 w 6226010"/>
              <a:gd name="connsiteY7511" fmla="*/ 1570767 h 5756219"/>
              <a:gd name="connsiteX7512" fmla="*/ 5660750 w 6226010"/>
              <a:gd name="connsiteY7512" fmla="*/ 1543590 h 5756219"/>
              <a:gd name="connsiteX7513" fmla="*/ 5603680 w 6226010"/>
              <a:gd name="connsiteY7513" fmla="*/ 1519132 h 5756219"/>
              <a:gd name="connsiteX7514" fmla="*/ 5619986 w 6226010"/>
              <a:gd name="connsiteY7514" fmla="*/ 1508262 h 5756219"/>
              <a:gd name="connsiteX7515" fmla="*/ 5600963 w 6226010"/>
              <a:gd name="connsiteY7515" fmla="*/ 1486520 h 5756219"/>
              <a:gd name="connsiteX7516" fmla="*/ 5446060 w 6226010"/>
              <a:gd name="connsiteY7516" fmla="*/ 1497392 h 5756219"/>
              <a:gd name="connsiteX7517" fmla="*/ 5443342 w 6226010"/>
              <a:gd name="connsiteY7517" fmla="*/ 1516415 h 5756219"/>
              <a:gd name="connsiteX7518" fmla="*/ 5435190 w 6226010"/>
              <a:gd name="connsiteY7518" fmla="*/ 1502826 h 5756219"/>
              <a:gd name="connsiteX7519" fmla="*/ 5375403 w 6226010"/>
              <a:gd name="connsiteY7519" fmla="*/ 1472935 h 5756219"/>
              <a:gd name="connsiteX7520" fmla="*/ 5310180 w 6226010"/>
              <a:gd name="connsiteY7520" fmla="*/ 1445759 h 5756219"/>
              <a:gd name="connsiteX7521" fmla="*/ 5163430 w 6226010"/>
              <a:gd name="connsiteY7521" fmla="*/ 1402279 h 5756219"/>
              <a:gd name="connsiteX7522" fmla="*/ 5152560 w 6226010"/>
              <a:gd name="connsiteY7522" fmla="*/ 1388691 h 5756219"/>
              <a:gd name="connsiteX7523" fmla="*/ 5147124 w 6226010"/>
              <a:gd name="connsiteY7523" fmla="*/ 1399561 h 5756219"/>
              <a:gd name="connsiteX7524" fmla="*/ 5128101 w 6226010"/>
              <a:gd name="connsiteY7524" fmla="*/ 1396844 h 5756219"/>
              <a:gd name="connsiteX7525" fmla="*/ 5062879 w 6226010"/>
              <a:gd name="connsiteY7525" fmla="*/ 1451194 h 5756219"/>
              <a:gd name="connsiteX7526" fmla="*/ 4856342 w 6226010"/>
              <a:gd name="connsiteY7526" fmla="*/ 1581636 h 5756219"/>
              <a:gd name="connsiteX7527" fmla="*/ 4823731 w 6226010"/>
              <a:gd name="connsiteY7527" fmla="*/ 1551742 h 5756219"/>
              <a:gd name="connsiteX7528" fmla="*/ 4744921 w 6226010"/>
              <a:gd name="connsiteY7528" fmla="*/ 1587071 h 5756219"/>
              <a:gd name="connsiteX7529" fmla="*/ 4766661 w 6226010"/>
              <a:gd name="connsiteY7529" fmla="*/ 1649576 h 5756219"/>
              <a:gd name="connsiteX7530" fmla="*/ 4761226 w 6226010"/>
              <a:gd name="connsiteY7530" fmla="*/ 1674034 h 5756219"/>
              <a:gd name="connsiteX7531" fmla="*/ 4755791 w 6226010"/>
              <a:gd name="connsiteY7531" fmla="*/ 1712080 h 5756219"/>
              <a:gd name="connsiteX7532" fmla="*/ 4770398 w 6226010"/>
              <a:gd name="connsiteY7532" fmla="*/ 1710850 h 5756219"/>
              <a:gd name="connsiteX7533" fmla="*/ 4779756 w 6226010"/>
              <a:gd name="connsiteY7533" fmla="*/ 1704432 h 5756219"/>
              <a:gd name="connsiteX7534" fmla="*/ 4780249 w 6226010"/>
              <a:gd name="connsiteY7534" fmla="*/ 1709363 h 5756219"/>
              <a:gd name="connsiteX7535" fmla="*/ 4791460 w 6226010"/>
              <a:gd name="connsiteY7535" fmla="*/ 1696795 h 5756219"/>
              <a:gd name="connsiteX7536" fmla="*/ 4792076 w 6226010"/>
              <a:gd name="connsiteY7536" fmla="*/ 1695511 h 5756219"/>
              <a:gd name="connsiteX7537" fmla="*/ 4810143 w 6226010"/>
              <a:gd name="connsiteY7537" fmla="*/ 1682187 h 5756219"/>
              <a:gd name="connsiteX7538" fmla="*/ 4875365 w 6226010"/>
              <a:gd name="connsiteY7538" fmla="*/ 1709363 h 5756219"/>
              <a:gd name="connsiteX7539" fmla="*/ 4823731 w 6226010"/>
              <a:gd name="connsiteY7539" fmla="*/ 1712080 h 5756219"/>
              <a:gd name="connsiteX7540" fmla="*/ 4812861 w 6226010"/>
              <a:gd name="connsiteY7540" fmla="*/ 1725668 h 5756219"/>
              <a:gd name="connsiteX7541" fmla="*/ 4826449 w 6226010"/>
              <a:gd name="connsiteY7541" fmla="*/ 1731103 h 5756219"/>
              <a:gd name="connsiteX7542" fmla="*/ 4872648 w 6226010"/>
              <a:gd name="connsiteY7542" fmla="*/ 1722951 h 5756219"/>
              <a:gd name="connsiteX7543" fmla="*/ 4894389 w 6226010"/>
              <a:gd name="connsiteY7543" fmla="*/ 1739256 h 5756219"/>
              <a:gd name="connsiteX7544" fmla="*/ 4932435 w 6226010"/>
              <a:gd name="connsiteY7544" fmla="*/ 1739256 h 5756219"/>
              <a:gd name="connsiteX7545" fmla="*/ 4924282 w 6226010"/>
              <a:gd name="connsiteY7545" fmla="*/ 1752844 h 5756219"/>
              <a:gd name="connsiteX7546" fmla="*/ 4935152 w 6226010"/>
              <a:gd name="connsiteY7546" fmla="*/ 1752844 h 5756219"/>
              <a:gd name="connsiteX7547" fmla="*/ 4932435 w 6226010"/>
              <a:gd name="connsiteY7547" fmla="*/ 1747409 h 5756219"/>
              <a:gd name="connsiteX7548" fmla="*/ 4946023 w 6226010"/>
              <a:gd name="connsiteY7548" fmla="*/ 1741975 h 5756219"/>
              <a:gd name="connsiteX7549" fmla="*/ 4937870 w 6226010"/>
              <a:gd name="connsiteY7549" fmla="*/ 1731103 h 5756219"/>
              <a:gd name="connsiteX7550" fmla="*/ 4970481 w 6226010"/>
              <a:gd name="connsiteY7550" fmla="*/ 1758280 h 5756219"/>
              <a:gd name="connsiteX7551" fmla="*/ 4954176 w 6226010"/>
              <a:gd name="connsiteY7551" fmla="*/ 1747409 h 5756219"/>
              <a:gd name="connsiteX7552" fmla="*/ 4951458 w 6226010"/>
              <a:gd name="connsiteY7552" fmla="*/ 1752844 h 5756219"/>
              <a:gd name="connsiteX7553" fmla="*/ 4954176 w 6226010"/>
              <a:gd name="connsiteY7553" fmla="*/ 1752844 h 5756219"/>
              <a:gd name="connsiteX7554" fmla="*/ 4954176 w 6226010"/>
              <a:gd name="connsiteY7554" fmla="*/ 1760997 h 5756219"/>
              <a:gd name="connsiteX7555" fmla="*/ 4975916 w 6226010"/>
              <a:gd name="connsiteY7555" fmla="*/ 1771867 h 5756219"/>
              <a:gd name="connsiteX7556" fmla="*/ 4989504 w 6226010"/>
              <a:gd name="connsiteY7556" fmla="*/ 1780020 h 5756219"/>
              <a:gd name="connsiteX7557" fmla="*/ 4995279 w 6226010"/>
              <a:gd name="connsiteY7557" fmla="*/ 1769150 h 5756219"/>
              <a:gd name="connsiteX7558" fmla="*/ 5000375 w 6226010"/>
              <a:gd name="connsiteY7558" fmla="*/ 1762060 h 5756219"/>
              <a:gd name="connsiteX7559" fmla="*/ 5000375 w 6226010"/>
              <a:gd name="connsiteY7559" fmla="*/ 1782739 h 5756219"/>
              <a:gd name="connsiteX7560" fmla="*/ 5005810 w 6226010"/>
              <a:gd name="connsiteY7560" fmla="*/ 1785455 h 5756219"/>
              <a:gd name="connsiteX7561" fmla="*/ 5005810 w 6226010"/>
              <a:gd name="connsiteY7561" fmla="*/ 1750127 h 5756219"/>
              <a:gd name="connsiteX7562" fmla="*/ 5002073 w 6226010"/>
              <a:gd name="connsiteY7562" fmla="*/ 1755562 h 5756219"/>
              <a:gd name="connsiteX7563" fmla="*/ 4998571 w 6226010"/>
              <a:gd name="connsiteY7563" fmla="*/ 1757494 h 5756219"/>
              <a:gd name="connsiteX7564" fmla="*/ 4983305 w 6226010"/>
              <a:gd name="connsiteY7564" fmla="*/ 1754841 h 5756219"/>
              <a:gd name="connsiteX7565" fmla="*/ 4984069 w 6226010"/>
              <a:gd name="connsiteY7565" fmla="*/ 1709363 h 5756219"/>
              <a:gd name="connsiteX7566" fmla="*/ 4973199 w 6226010"/>
              <a:gd name="connsiteY7566" fmla="*/ 1701211 h 5756219"/>
              <a:gd name="connsiteX7567" fmla="*/ 4997657 w 6226010"/>
              <a:gd name="connsiteY7567" fmla="*/ 1682187 h 5756219"/>
              <a:gd name="connsiteX7568" fmla="*/ 4992222 w 6226010"/>
              <a:gd name="connsiteY7568" fmla="*/ 1701211 h 5756219"/>
              <a:gd name="connsiteX7569" fmla="*/ 5008527 w 6226010"/>
              <a:gd name="connsiteY7569" fmla="*/ 1709363 h 5756219"/>
              <a:gd name="connsiteX7570" fmla="*/ 5016680 w 6226010"/>
              <a:gd name="connsiteY7570" fmla="*/ 1698493 h 5756219"/>
              <a:gd name="connsiteX7571" fmla="*/ 5003092 w 6226010"/>
              <a:gd name="connsiteY7571" fmla="*/ 1701211 h 5756219"/>
              <a:gd name="connsiteX7572" fmla="*/ 5024833 w 6226010"/>
              <a:gd name="connsiteY7572" fmla="*/ 1676752 h 5756219"/>
              <a:gd name="connsiteX7573" fmla="*/ 5054726 w 6226010"/>
              <a:gd name="connsiteY7573" fmla="*/ 1695775 h 5756219"/>
              <a:gd name="connsiteX7574" fmla="*/ 5038421 w 6226010"/>
              <a:gd name="connsiteY7574" fmla="*/ 1703928 h 5756219"/>
              <a:gd name="connsiteX7575" fmla="*/ 5068314 w 6226010"/>
              <a:gd name="connsiteY7575" fmla="*/ 1712080 h 5756219"/>
              <a:gd name="connsiteX7576" fmla="*/ 5079185 w 6226010"/>
              <a:gd name="connsiteY7576" fmla="*/ 1739256 h 5756219"/>
              <a:gd name="connsiteX7577" fmla="*/ 5065597 w 6226010"/>
              <a:gd name="connsiteY7577" fmla="*/ 1741975 h 5756219"/>
              <a:gd name="connsiteX7578" fmla="*/ 5073750 w 6226010"/>
              <a:gd name="connsiteY7578" fmla="*/ 1755562 h 5756219"/>
              <a:gd name="connsiteX7579" fmla="*/ 5049291 w 6226010"/>
              <a:gd name="connsiteY7579" fmla="*/ 1766432 h 5756219"/>
              <a:gd name="connsiteX7580" fmla="*/ 5057444 w 6226010"/>
              <a:gd name="connsiteY7580" fmla="*/ 1728386 h 5756219"/>
              <a:gd name="connsiteX7581" fmla="*/ 5013963 w 6226010"/>
              <a:gd name="connsiteY7581" fmla="*/ 1720233 h 5756219"/>
              <a:gd name="connsiteX7582" fmla="*/ 5030268 w 6226010"/>
              <a:gd name="connsiteY7582" fmla="*/ 1714798 h 5756219"/>
              <a:gd name="connsiteX7583" fmla="*/ 5027550 w 6226010"/>
              <a:gd name="connsiteY7583" fmla="*/ 1701211 h 5756219"/>
              <a:gd name="connsiteX7584" fmla="*/ 5009207 w 6226010"/>
              <a:gd name="connsiteY7584" fmla="*/ 1754883 h 5756219"/>
              <a:gd name="connsiteX7585" fmla="*/ 5023594 w 6226010"/>
              <a:gd name="connsiteY7585" fmla="*/ 1770648 h 5756219"/>
              <a:gd name="connsiteX7586" fmla="*/ 5018718 w 6226010"/>
              <a:gd name="connsiteY7586" fmla="*/ 1774246 h 5756219"/>
              <a:gd name="connsiteX7587" fmla="*/ 5008527 w 6226010"/>
              <a:gd name="connsiteY7587" fmla="*/ 1790891 h 5756219"/>
              <a:gd name="connsiteX7588" fmla="*/ 5030268 w 6226010"/>
              <a:gd name="connsiteY7588" fmla="*/ 1812632 h 5756219"/>
              <a:gd name="connsiteX7589" fmla="*/ 5035703 w 6226010"/>
              <a:gd name="connsiteY7589" fmla="*/ 1809914 h 5756219"/>
              <a:gd name="connsiteX7590" fmla="*/ 5035703 w 6226010"/>
              <a:gd name="connsiteY7590" fmla="*/ 1785455 h 5756219"/>
              <a:gd name="connsiteX7591" fmla="*/ 5042837 w 6226010"/>
              <a:gd name="connsiteY7591" fmla="*/ 1797345 h 5756219"/>
              <a:gd name="connsiteX7592" fmla="*/ 5046788 w 6226010"/>
              <a:gd name="connsiteY7592" fmla="*/ 1798077 h 5756219"/>
              <a:gd name="connsiteX7593" fmla="*/ 5052009 w 6226010"/>
              <a:gd name="connsiteY7593" fmla="*/ 1804479 h 5756219"/>
              <a:gd name="connsiteX7594" fmla="*/ 5068314 w 6226010"/>
              <a:gd name="connsiteY7594" fmla="*/ 1780020 h 5756219"/>
              <a:gd name="connsiteX7595" fmla="*/ 5060162 w 6226010"/>
              <a:gd name="connsiteY7595" fmla="*/ 1774586 h 5756219"/>
              <a:gd name="connsiteX7596" fmla="*/ 5074932 w 6226010"/>
              <a:gd name="connsiteY7596" fmla="*/ 1756037 h 5756219"/>
              <a:gd name="connsiteX7597" fmla="*/ 5076467 w 6226010"/>
              <a:gd name="connsiteY7597" fmla="*/ 1763715 h 5756219"/>
              <a:gd name="connsiteX7598" fmla="*/ 5079185 w 6226010"/>
              <a:gd name="connsiteY7598" fmla="*/ 1777303 h 5756219"/>
              <a:gd name="connsiteX7599" fmla="*/ 5103643 w 6226010"/>
              <a:gd name="connsiteY7599" fmla="*/ 1760997 h 5756219"/>
              <a:gd name="connsiteX7600" fmla="*/ 5096415 w 6226010"/>
              <a:gd name="connsiteY7600" fmla="*/ 1755532 h 5756219"/>
              <a:gd name="connsiteX7601" fmla="*/ 5104577 w 6226010"/>
              <a:gd name="connsiteY7601" fmla="*/ 1755265 h 5756219"/>
              <a:gd name="connsiteX7602" fmla="*/ 5114513 w 6226010"/>
              <a:gd name="connsiteY7602" fmla="*/ 1736540 h 5756219"/>
              <a:gd name="connsiteX7603" fmla="*/ 5155277 w 6226010"/>
              <a:gd name="connsiteY7603" fmla="*/ 1763715 h 5756219"/>
              <a:gd name="connsiteX7604" fmla="*/ 5217782 w 6226010"/>
              <a:gd name="connsiteY7604" fmla="*/ 1733822 h 5756219"/>
              <a:gd name="connsiteX7605" fmla="*/ 5225935 w 6226010"/>
              <a:gd name="connsiteY7605" fmla="*/ 1750127 h 5756219"/>
              <a:gd name="connsiteX7606" fmla="*/ 5212347 w 6226010"/>
              <a:gd name="connsiteY7606" fmla="*/ 1758280 h 5756219"/>
              <a:gd name="connsiteX7607" fmla="*/ 5231370 w 6226010"/>
              <a:gd name="connsiteY7607" fmla="*/ 1766432 h 5756219"/>
              <a:gd name="connsiteX7608" fmla="*/ 5263981 w 6226010"/>
              <a:gd name="connsiteY7608" fmla="*/ 1668599 h 5756219"/>
              <a:gd name="connsiteX7609" fmla="*/ 5253111 w 6226010"/>
              <a:gd name="connsiteY7609" fmla="*/ 1741975 h 5756219"/>
              <a:gd name="connsiteX7610" fmla="*/ 5262139 w 6226010"/>
              <a:gd name="connsiteY7610" fmla="*/ 1744664 h 5756219"/>
              <a:gd name="connsiteX7611" fmla="*/ 5259523 w 6226010"/>
              <a:gd name="connsiteY7611" fmla="*/ 1746050 h 5756219"/>
              <a:gd name="connsiteX7612" fmla="*/ 5239523 w 6226010"/>
              <a:gd name="connsiteY7612" fmla="*/ 1755562 h 5756219"/>
              <a:gd name="connsiteX7613" fmla="*/ 5291157 w 6226010"/>
              <a:gd name="connsiteY7613" fmla="*/ 1771867 h 5756219"/>
              <a:gd name="connsiteX7614" fmla="*/ 5348227 w 6226010"/>
              <a:gd name="connsiteY7614" fmla="*/ 1758280 h 5756219"/>
              <a:gd name="connsiteX7615" fmla="*/ 5326486 w 6226010"/>
              <a:gd name="connsiteY7615" fmla="*/ 1758280 h 5756219"/>
              <a:gd name="connsiteX7616" fmla="*/ 5348227 w 6226010"/>
              <a:gd name="connsiteY7616" fmla="*/ 1739256 h 5756219"/>
              <a:gd name="connsiteX7617" fmla="*/ 5347761 w 6226010"/>
              <a:gd name="connsiteY7617" fmla="*/ 1738170 h 5756219"/>
              <a:gd name="connsiteX7618" fmla="*/ 5351284 w 6226010"/>
              <a:gd name="connsiteY7618" fmla="*/ 1738916 h 5756219"/>
              <a:gd name="connsiteX7619" fmla="*/ 5364532 w 6226010"/>
              <a:gd name="connsiteY7619" fmla="*/ 1739256 h 5756219"/>
              <a:gd name="connsiteX7620" fmla="*/ 5367250 w 6226010"/>
              <a:gd name="connsiteY7620" fmla="*/ 1755562 h 5756219"/>
              <a:gd name="connsiteX7621" fmla="*/ 5384614 w 6226010"/>
              <a:gd name="connsiteY7621" fmla="*/ 1744677 h 5756219"/>
              <a:gd name="connsiteX7622" fmla="*/ 5386231 w 6226010"/>
              <a:gd name="connsiteY7622" fmla="*/ 1748811 h 5756219"/>
              <a:gd name="connsiteX7623" fmla="*/ 5383556 w 6226010"/>
              <a:gd name="connsiteY7623" fmla="*/ 1763715 h 5756219"/>
              <a:gd name="connsiteX7624" fmla="*/ 5408014 w 6226010"/>
              <a:gd name="connsiteY7624" fmla="*/ 1769150 h 5756219"/>
              <a:gd name="connsiteX7625" fmla="*/ 5359097 w 6226010"/>
              <a:gd name="connsiteY7625" fmla="*/ 1774586 h 5756219"/>
              <a:gd name="connsiteX7626" fmla="*/ 5372685 w 6226010"/>
              <a:gd name="connsiteY7626" fmla="*/ 1804479 h 5756219"/>
              <a:gd name="connsiteX7627" fmla="*/ 5427037 w 6226010"/>
              <a:gd name="connsiteY7627" fmla="*/ 1747409 h 5756219"/>
              <a:gd name="connsiteX7628" fmla="*/ 5408014 w 6226010"/>
              <a:gd name="connsiteY7628" fmla="*/ 1744691 h 5756219"/>
              <a:gd name="connsiteX7629" fmla="*/ 5429755 w 6226010"/>
              <a:gd name="connsiteY7629" fmla="*/ 1741975 h 5756219"/>
              <a:gd name="connsiteX7630" fmla="*/ 5410732 w 6226010"/>
              <a:gd name="connsiteY7630" fmla="*/ 1731783 h 5756219"/>
              <a:gd name="connsiteX7631" fmla="*/ 5390470 w 6226010"/>
              <a:gd name="connsiteY7631" fmla="*/ 1739381 h 5756219"/>
              <a:gd name="connsiteX7632" fmla="*/ 5394426 w 6226010"/>
              <a:gd name="connsiteY7632" fmla="*/ 1722951 h 5756219"/>
              <a:gd name="connsiteX7633" fmla="*/ 5348227 w 6226010"/>
              <a:gd name="connsiteY7633" fmla="*/ 1701211 h 5756219"/>
              <a:gd name="connsiteX7634" fmla="*/ 5364532 w 6226010"/>
              <a:gd name="connsiteY7634" fmla="*/ 1687622 h 5756219"/>
              <a:gd name="connsiteX7635" fmla="*/ 5388991 w 6226010"/>
              <a:gd name="connsiteY7635" fmla="*/ 1682187 h 5756219"/>
              <a:gd name="connsiteX7636" fmla="*/ 5418884 w 6226010"/>
              <a:gd name="connsiteY7636" fmla="*/ 1703928 h 5756219"/>
              <a:gd name="connsiteX7637" fmla="*/ 5419903 w 6226010"/>
              <a:gd name="connsiteY7637" fmla="*/ 1709363 h 5756219"/>
              <a:gd name="connsiteX7638" fmla="*/ 5418892 w 6226010"/>
              <a:gd name="connsiteY7638" fmla="*/ 1714756 h 5756219"/>
              <a:gd name="connsiteX7639" fmla="*/ 5413237 w 6226010"/>
              <a:gd name="connsiteY7639" fmla="*/ 1714713 h 5756219"/>
              <a:gd name="connsiteX7640" fmla="*/ 5402579 w 6226010"/>
              <a:gd name="connsiteY7640" fmla="*/ 1720233 h 5756219"/>
              <a:gd name="connsiteX7641" fmla="*/ 5448778 w 6226010"/>
              <a:gd name="connsiteY7641" fmla="*/ 1725668 h 5756219"/>
              <a:gd name="connsiteX7642" fmla="*/ 5448778 w 6226010"/>
              <a:gd name="connsiteY7642" fmla="*/ 1717517 h 5756219"/>
              <a:gd name="connsiteX7643" fmla="*/ 5541176 w 6226010"/>
              <a:gd name="connsiteY7643" fmla="*/ 1595225 h 5756219"/>
              <a:gd name="connsiteX7644" fmla="*/ 5538458 w 6226010"/>
              <a:gd name="connsiteY7644" fmla="*/ 1616965 h 5756219"/>
              <a:gd name="connsiteX7645" fmla="*/ 5565634 w 6226010"/>
              <a:gd name="connsiteY7645" fmla="*/ 1614248 h 5756219"/>
              <a:gd name="connsiteX7646" fmla="*/ 5519435 w 6226010"/>
              <a:gd name="connsiteY7646" fmla="*/ 1663164 h 5756219"/>
              <a:gd name="connsiteX7647" fmla="*/ 5571069 w 6226010"/>
              <a:gd name="connsiteY7647" fmla="*/ 1649576 h 5756219"/>
              <a:gd name="connsiteX7648" fmla="*/ 5538458 w 6226010"/>
              <a:gd name="connsiteY7648" fmla="*/ 1684904 h 5756219"/>
              <a:gd name="connsiteX7649" fmla="*/ 5603680 w 6226010"/>
              <a:gd name="connsiteY7649" fmla="*/ 1671316 h 5756219"/>
              <a:gd name="connsiteX7650" fmla="*/ 5598245 w 6226010"/>
              <a:gd name="connsiteY7650" fmla="*/ 1695775 h 5756219"/>
              <a:gd name="connsiteX7651" fmla="*/ 5668903 w 6226010"/>
              <a:gd name="connsiteY7651" fmla="*/ 1682187 h 5756219"/>
              <a:gd name="connsiteX7652" fmla="*/ 5641727 w 6226010"/>
              <a:gd name="connsiteY7652" fmla="*/ 1714798 h 5756219"/>
              <a:gd name="connsiteX7653" fmla="*/ 5590092 w 6226010"/>
              <a:gd name="connsiteY7653" fmla="*/ 1714798 h 5756219"/>
              <a:gd name="connsiteX7654" fmla="*/ 5630856 w 6226010"/>
              <a:gd name="connsiteY7654" fmla="*/ 1739256 h 5756219"/>
              <a:gd name="connsiteX7655" fmla="*/ 5614551 w 6226010"/>
              <a:gd name="connsiteY7655" fmla="*/ 1747409 h 5756219"/>
              <a:gd name="connsiteX7656" fmla="*/ 5581940 w 6226010"/>
              <a:gd name="connsiteY7656" fmla="*/ 1714798 h 5756219"/>
              <a:gd name="connsiteX7657" fmla="*/ 5584657 w 6226010"/>
              <a:gd name="connsiteY7657" fmla="*/ 1733822 h 5756219"/>
              <a:gd name="connsiteX7658" fmla="*/ 5562916 w 6226010"/>
              <a:gd name="connsiteY7658" fmla="*/ 1728386 h 5756219"/>
              <a:gd name="connsiteX7659" fmla="*/ 5557481 w 6226010"/>
              <a:gd name="connsiteY7659" fmla="*/ 1736540 h 5756219"/>
              <a:gd name="connsiteX7660" fmla="*/ 5568352 w 6226010"/>
              <a:gd name="connsiteY7660" fmla="*/ 1747409 h 5756219"/>
              <a:gd name="connsiteX7661" fmla="*/ 5543893 w 6226010"/>
              <a:gd name="connsiteY7661" fmla="*/ 1758280 h 5756219"/>
              <a:gd name="connsiteX7662" fmla="*/ 5543893 w 6226010"/>
              <a:gd name="connsiteY7662" fmla="*/ 1733822 h 5756219"/>
              <a:gd name="connsiteX7663" fmla="*/ 5524870 w 6226010"/>
              <a:gd name="connsiteY7663" fmla="*/ 1736540 h 5756219"/>
              <a:gd name="connsiteX7664" fmla="*/ 5543893 w 6226010"/>
              <a:gd name="connsiteY7664" fmla="*/ 1717517 h 5756219"/>
              <a:gd name="connsiteX7665" fmla="*/ 5494977 w 6226010"/>
              <a:gd name="connsiteY7665" fmla="*/ 1763715 h 5756219"/>
              <a:gd name="connsiteX7666" fmla="*/ 5524870 w 6226010"/>
              <a:gd name="connsiteY7666" fmla="*/ 1763715 h 5756219"/>
              <a:gd name="connsiteX7667" fmla="*/ 5522153 w 6226010"/>
              <a:gd name="connsiteY7667" fmla="*/ 1780020 h 5756219"/>
              <a:gd name="connsiteX7668" fmla="*/ 5560199 w 6226010"/>
              <a:gd name="connsiteY7668" fmla="*/ 1801761 h 5756219"/>
              <a:gd name="connsiteX7669" fmla="*/ 5584657 w 6226010"/>
              <a:gd name="connsiteY7669" fmla="*/ 1782739 h 5756219"/>
              <a:gd name="connsiteX7670" fmla="*/ 5590092 w 6226010"/>
              <a:gd name="connsiteY7670" fmla="*/ 1796326 h 5756219"/>
              <a:gd name="connsiteX7671" fmla="*/ 5571069 w 6226010"/>
              <a:gd name="connsiteY7671" fmla="*/ 1804479 h 5756219"/>
              <a:gd name="connsiteX7672" fmla="*/ 5600963 w 6226010"/>
              <a:gd name="connsiteY7672" fmla="*/ 1818067 h 5756219"/>
              <a:gd name="connsiteX7673" fmla="*/ 5600963 w 6226010"/>
              <a:gd name="connsiteY7673" fmla="*/ 1842525 h 5756219"/>
              <a:gd name="connsiteX7674" fmla="*/ 5565634 w 6226010"/>
              <a:gd name="connsiteY7674" fmla="*/ 1850678 h 5756219"/>
              <a:gd name="connsiteX7675" fmla="*/ 5576504 w 6226010"/>
              <a:gd name="connsiteY7675" fmla="*/ 1820785 h 5756219"/>
              <a:gd name="connsiteX7676" fmla="*/ 5497694 w 6226010"/>
              <a:gd name="connsiteY7676" fmla="*/ 1777303 h 5756219"/>
              <a:gd name="connsiteX7677" fmla="*/ 5497694 w 6226010"/>
              <a:gd name="connsiteY7677" fmla="*/ 1812632 h 5756219"/>
              <a:gd name="connsiteX7678" fmla="*/ 5462366 w 6226010"/>
              <a:gd name="connsiteY7678" fmla="*/ 1777303 h 5756219"/>
              <a:gd name="connsiteX7679" fmla="*/ 5456930 w 6226010"/>
              <a:gd name="connsiteY7679" fmla="*/ 1796326 h 5756219"/>
              <a:gd name="connsiteX7680" fmla="*/ 5448778 w 6226010"/>
              <a:gd name="connsiteY7680" fmla="*/ 1880571 h 5756219"/>
              <a:gd name="connsiteX7681" fmla="*/ 5459648 w 6226010"/>
              <a:gd name="connsiteY7681" fmla="*/ 1877853 h 5756219"/>
              <a:gd name="connsiteX7682" fmla="*/ 5497694 w 6226010"/>
              <a:gd name="connsiteY7682" fmla="*/ 1823502 h 5756219"/>
              <a:gd name="connsiteX7683" fmla="*/ 5497694 w 6226010"/>
              <a:gd name="connsiteY7683" fmla="*/ 1837090 h 5756219"/>
              <a:gd name="connsiteX7684" fmla="*/ 5527588 w 6226010"/>
              <a:gd name="connsiteY7684" fmla="*/ 1831654 h 5756219"/>
              <a:gd name="connsiteX7685" fmla="*/ 5486824 w 6226010"/>
              <a:gd name="connsiteY7685" fmla="*/ 1850678 h 5756219"/>
              <a:gd name="connsiteX7686" fmla="*/ 5484106 w 6226010"/>
              <a:gd name="connsiteY7686" fmla="*/ 1888724 h 5756219"/>
              <a:gd name="connsiteX7687" fmla="*/ 5516717 w 6226010"/>
              <a:gd name="connsiteY7687" fmla="*/ 1872419 h 5756219"/>
              <a:gd name="connsiteX7688" fmla="*/ 5508565 w 6226010"/>
              <a:gd name="connsiteY7688" fmla="*/ 1858830 h 5756219"/>
              <a:gd name="connsiteX7689" fmla="*/ 5524870 w 6226010"/>
              <a:gd name="connsiteY7689" fmla="*/ 1853396 h 5756219"/>
              <a:gd name="connsiteX7690" fmla="*/ 5535741 w 6226010"/>
              <a:gd name="connsiteY7690" fmla="*/ 1869701 h 5756219"/>
              <a:gd name="connsiteX7691" fmla="*/ 5519435 w 6226010"/>
              <a:gd name="connsiteY7691" fmla="*/ 1888724 h 5756219"/>
              <a:gd name="connsiteX7692" fmla="*/ 5489542 w 6226010"/>
              <a:gd name="connsiteY7692" fmla="*/ 1915900 h 5756219"/>
              <a:gd name="connsiteX7693" fmla="*/ 5494977 w 6226010"/>
              <a:gd name="connsiteY7693" fmla="*/ 1918617 h 5756219"/>
              <a:gd name="connsiteX7694" fmla="*/ 5505847 w 6226010"/>
              <a:gd name="connsiteY7694" fmla="*/ 1902312 h 5756219"/>
              <a:gd name="connsiteX7695" fmla="*/ 5503129 w 6226010"/>
              <a:gd name="connsiteY7695" fmla="*/ 1929488 h 5756219"/>
              <a:gd name="connsiteX7696" fmla="*/ 5565634 w 6226010"/>
              <a:gd name="connsiteY7696" fmla="*/ 1924053 h 5756219"/>
              <a:gd name="connsiteX7697" fmla="*/ 5570063 w 6226010"/>
              <a:gd name="connsiteY7697" fmla="*/ 1930696 h 5756219"/>
              <a:gd name="connsiteX7698" fmla="*/ 5560199 w 6226010"/>
              <a:gd name="connsiteY7698" fmla="*/ 1934923 h 5756219"/>
              <a:gd name="connsiteX7699" fmla="*/ 5598245 w 6226010"/>
              <a:gd name="connsiteY7699" fmla="*/ 1951229 h 5756219"/>
              <a:gd name="connsiteX7700" fmla="*/ 5590092 w 6226010"/>
              <a:gd name="connsiteY7700" fmla="*/ 1943076 h 5756219"/>
              <a:gd name="connsiteX7701" fmla="*/ 5609115 w 6226010"/>
              <a:gd name="connsiteY7701" fmla="*/ 1934923 h 5756219"/>
              <a:gd name="connsiteX7702" fmla="*/ 5595357 w 6226010"/>
              <a:gd name="connsiteY7702" fmla="*/ 1936452 h 5756219"/>
              <a:gd name="connsiteX7703" fmla="*/ 5592559 w 6226010"/>
              <a:gd name="connsiteY7703" fmla="*/ 1935668 h 5756219"/>
              <a:gd name="connsiteX7704" fmla="*/ 5600963 w 6226010"/>
              <a:gd name="connsiteY7704" fmla="*/ 1932205 h 5756219"/>
              <a:gd name="connsiteX7705" fmla="*/ 5587375 w 6226010"/>
              <a:gd name="connsiteY7705" fmla="*/ 1921335 h 5756219"/>
              <a:gd name="connsiteX7706" fmla="*/ 5614551 w 6226010"/>
              <a:gd name="connsiteY7706" fmla="*/ 1934923 h 5756219"/>
              <a:gd name="connsiteX7707" fmla="*/ 5628139 w 6226010"/>
              <a:gd name="connsiteY7707" fmla="*/ 1929488 h 5756219"/>
              <a:gd name="connsiteX7708" fmla="*/ 5619986 w 6226010"/>
              <a:gd name="connsiteY7708" fmla="*/ 1940358 h 5756219"/>
              <a:gd name="connsiteX7709" fmla="*/ 5630856 w 6226010"/>
              <a:gd name="connsiteY7709" fmla="*/ 1943076 h 5756219"/>
              <a:gd name="connsiteX7710" fmla="*/ 5633774 w 6226010"/>
              <a:gd name="connsiteY7710" fmla="*/ 1938271 h 5756219"/>
              <a:gd name="connsiteX7711" fmla="*/ 5636886 w 6226010"/>
              <a:gd name="connsiteY7711" fmla="*/ 1948087 h 5756219"/>
              <a:gd name="connsiteX7712" fmla="*/ 5625421 w 6226010"/>
              <a:gd name="connsiteY7712" fmla="*/ 1970252 h 5756219"/>
              <a:gd name="connsiteX7713" fmla="*/ 5663467 w 6226010"/>
              <a:gd name="connsiteY7713" fmla="*/ 1975687 h 5756219"/>
              <a:gd name="connsiteX7714" fmla="*/ 5687926 w 6226010"/>
              <a:gd name="connsiteY7714" fmla="*/ 1943076 h 5756219"/>
              <a:gd name="connsiteX7715" fmla="*/ 5639009 w 6226010"/>
              <a:gd name="connsiteY7715" fmla="*/ 1945793 h 5756219"/>
              <a:gd name="connsiteX7716" fmla="*/ 5663467 w 6226010"/>
              <a:gd name="connsiteY7716" fmla="*/ 1940358 h 5756219"/>
              <a:gd name="connsiteX7717" fmla="*/ 5651578 w 6226010"/>
              <a:gd name="connsiteY7717" fmla="*/ 1933904 h 5756219"/>
              <a:gd name="connsiteX7718" fmla="*/ 5634240 w 6226010"/>
              <a:gd name="connsiteY7718" fmla="*/ 1937503 h 5756219"/>
              <a:gd name="connsiteX7719" fmla="*/ 5636631 w 6226010"/>
              <a:gd name="connsiteY7719" fmla="*/ 1933565 h 5756219"/>
              <a:gd name="connsiteX7720" fmla="*/ 5636291 w 6226010"/>
              <a:gd name="connsiteY7720" fmla="*/ 1924053 h 5756219"/>
              <a:gd name="connsiteX7721" fmla="*/ 5645803 w 6226010"/>
              <a:gd name="connsiteY7721" fmla="*/ 1919297 h 5756219"/>
              <a:gd name="connsiteX7722" fmla="*/ 5648691 w 6226010"/>
              <a:gd name="connsiteY7722" fmla="*/ 1919090 h 5756219"/>
              <a:gd name="connsiteX7723" fmla="*/ 5654975 w 6226010"/>
              <a:gd name="connsiteY7723" fmla="*/ 1932206 h 5756219"/>
              <a:gd name="connsiteX7724" fmla="*/ 5677055 w 6226010"/>
              <a:gd name="connsiteY7724" fmla="*/ 1932205 h 5756219"/>
              <a:gd name="connsiteX7725" fmla="*/ 5671280 w 6226010"/>
              <a:gd name="connsiteY7725" fmla="*/ 1913862 h 5756219"/>
              <a:gd name="connsiteX7726" fmla="*/ 5670736 w 6226010"/>
              <a:gd name="connsiteY7726" fmla="*/ 1913753 h 5756219"/>
              <a:gd name="connsiteX7727" fmla="*/ 5674879 w 6226010"/>
              <a:gd name="connsiteY7727" fmla="*/ 1908899 h 5756219"/>
              <a:gd name="connsiteX7728" fmla="*/ 5677055 w 6226010"/>
              <a:gd name="connsiteY7728" fmla="*/ 1911484 h 5756219"/>
              <a:gd name="connsiteX7729" fmla="*/ 5682491 w 6226010"/>
              <a:gd name="connsiteY7729" fmla="*/ 1915900 h 5756219"/>
              <a:gd name="connsiteX7730" fmla="*/ 5706949 w 6226010"/>
              <a:gd name="connsiteY7730" fmla="*/ 1907747 h 5756219"/>
              <a:gd name="connsiteX7731" fmla="*/ 5701514 w 6226010"/>
              <a:gd name="connsiteY7731" fmla="*/ 1915900 h 5756219"/>
              <a:gd name="connsiteX7732" fmla="*/ 5717819 w 6226010"/>
              <a:gd name="connsiteY7732" fmla="*/ 1902312 h 5756219"/>
              <a:gd name="connsiteX7733" fmla="*/ 5685335 w 6226010"/>
              <a:gd name="connsiteY7733" fmla="*/ 1898108 h 5756219"/>
              <a:gd name="connsiteX7734" fmla="*/ 5684904 w 6226010"/>
              <a:gd name="connsiteY7734" fmla="*/ 1898326 h 5756219"/>
              <a:gd name="connsiteX7735" fmla="*/ 5698796 w 6226010"/>
              <a:gd name="connsiteY7735" fmla="*/ 1886006 h 5756219"/>
              <a:gd name="connsiteX7736" fmla="*/ 5576504 w 6226010"/>
              <a:gd name="connsiteY7736" fmla="*/ 1913182 h 5756219"/>
              <a:gd name="connsiteX7737" fmla="*/ 5538458 w 6226010"/>
              <a:gd name="connsiteY7737" fmla="*/ 1875136 h 5756219"/>
              <a:gd name="connsiteX7738" fmla="*/ 5568352 w 6226010"/>
              <a:gd name="connsiteY7738" fmla="*/ 1864265 h 5756219"/>
              <a:gd name="connsiteX7739" fmla="*/ 5573787 w 6226010"/>
              <a:gd name="connsiteY7739" fmla="*/ 1877853 h 5756219"/>
              <a:gd name="connsiteX7740" fmla="*/ 5622703 w 6226010"/>
              <a:gd name="connsiteY7740" fmla="*/ 1850678 h 5756219"/>
              <a:gd name="connsiteX7741" fmla="*/ 5603680 w 6226010"/>
              <a:gd name="connsiteY7741" fmla="*/ 1864265 h 5756219"/>
              <a:gd name="connsiteX7742" fmla="*/ 5606398 w 6226010"/>
              <a:gd name="connsiteY7742" fmla="*/ 1834372 h 5756219"/>
              <a:gd name="connsiteX7743" fmla="*/ 5644444 w 6226010"/>
              <a:gd name="connsiteY7743" fmla="*/ 1845242 h 5756219"/>
              <a:gd name="connsiteX7744" fmla="*/ 5663467 w 6226010"/>
              <a:gd name="connsiteY7744" fmla="*/ 1796326 h 5756219"/>
              <a:gd name="connsiteX7745" fmla="*/ 5677055 w 6226010"/>
              <a:gd name="connsiteY7745" fmla="*/ 1812632 h 5756219"/>
              <a:gd name="connsiteX7746" fmla="*/ 5715102 w 6226010"/>
              <a:gd name="connsiteY7746" fmla="*/ 1801761 h 5756219"/>
              <a:gd name="connsiteX7747" fmla="*/ 5712384 w 6226010"/>
              <a:gd name="connsiteY7747" fmla="*/ 1828938 h 5756219"/>
              <a:gd name="connsiteX7748" fmla="*/ 5701514 w 6226010"/>
              <a:gd name="connsiteY7748" fmla="*/ 1834372 h 5756219"/>
              <a:gd name="connsiteX7749" fmla="*/ 5708308 w 6226010"/>
              <a:gd name="connsiteY7749" fmla="*/ 1842525 h 5756219"/>
              <a:gd name="connsiteX7750" fmla="*/ 5711648 w 6226010"/>
              <a:gd name="connsiteY7750" fmla="*/ 1846534 h 5756219"/>
              <a:gd name="connsiteX7751" fmla="*/ 5706949 w 6226010"/>
              <a:gd name="connsiteY7751" fmla="*/ 1847961 h 5756219"/>
              <a:gd name="connsiteX7752" fmla="*/ 5712384 w 6226010"/>
              <a:gd name="connsiteY7752" fmla="*/ 1861548 h 5756219"/>
              <a:gd name="connsiteX7753" fmla="*/ 5693361 w 6226010"/>
              <a:gd name="connsiteY7753" fmla="*/ 1850678 h 5756219"/>
              <a:gd name="connsiteX7754" fmla="*/ 5704231 w 6226010"/>
              <a:gd name="connsiteY7754" fmla="*/ 1875136 h 5756219"/>
              <a:gd name="connsiteX7755" fmla="*/ 5736843 w 6226010"/>
              <a:gd name="connsiteY7755" fmla="*/ 1850678 h 5756219"/>
              <a:gd name="connsiteX7756" fmla="*/ 5726459 w 6226010"/>
              <a:gd name="connsiteY7756" fmla="*/ 1842566 h 5756219"/>
              <a:gd name="connsiteX7757" fmla="*/ 5734125 w 6226010"/>
              <a:gd name="connsiteY7757" fmla="*/ 1837090 h 5756219"/>
              <a:gd name="connsiteX7758" fmla="*/ 5720537 w 6226010"/>
              <a:gd name="connsiteY7758" fmla="*/ 1807196 h 5756219"/>
              <a:gd name="connsiteX7759" fmla="*/ 5728690 w 6226010"/>
              <a:gd name="connsiteY7759" fmla="*/ 1777303 h 5756219"/>
              <a:gd name="connsiteX7760" fmla="*/ 5730680 w 6226010"/>
              <a:gd name="connsiteY7760" fmla="*/ 1777111 h 5756219"/>
              <a:gd name="connsiteX7761" fmla="*/ 5731407 w 6226010"/>
              <a:gd name="connsiteY7761" fmla="*/ 1780020 h 5756219"/>
              <a:gd name="connsiteX7762" fmla="*/ 5761301 w 6226010"/>
              <a:gd name="connsiteY7762" fmla="*/ 1774586 h 5756219"/>
              <a:gd name="connsiteX7763" fmla="*/ 5780324 w 6226010"/>
              <a:gd name="connsiteY7763" fmla="*/ 1788173 h 5756219"/>
              <a:gd name="connsiteX7764" fmla="*/ 5742278 w 6226010"/>
              <a:gd name="connsiteY7764" fmla="*/ 1793609 h 5756219"/>
              <a:gd name="connsiteX7765" fmla="*/ 5753148 w 6226010"/>
              <a:gd name="connsiteY7765" fmla="*/ 1823502 h 5756219"/>
              <a:gd name="connsiteX7766" fmla="*/ 5750431 w 6226010"/>
              <a:gd name="connsiteY7766" fmla="*/ 1807196 h 5756219"/>
              <a:gd name="connsiteX7767" fmla="*/ 5796630 w 6226010"/>
              <a:gd name="connsiteY7767" fmla="*/ 1823502 h 5756219"/>
              <a:gd name="connsiteX7768" fmla="*/ 5834676 w 6226010"/>
              <a:gd name="connsiteY7768" fmla="*/ 1812632 h 5756219"/>
              <a:gd name="connsiteX7769" fmla="*/ 5788435 w 6226010"/>
              <a:gd name="connsiteY7769" fmla="*/ 1796581 h 5756219"/>
              <a:gd name="connsiteX7770" fmla="*/ 5785959 w 6226010"/>
              <a:gd name="connsiteY7770" fmla="*/ 1787730 h 5756219"/>
              <a:gd name="connsiteX7771" fmla="*/ 5786439 w 6226010"/>
              <a:gd name="connsiteY7771" fmla="*/ 1788173 h 5756219"/>
              <a:gd name="connsiteX7772" fmla="*/ 5799347 w 6226010"/>
              <a:gd name="connsiteY7772" fmla="*/ 1788173 h 5756219"/>
              <a:gd name="connsiteX7773" fmla="*/ 5872722 w 6226010"/>
              <a:gd name="connsiteY7773" fmla="*/ 1820785 h 5756219"/>
              <a:gd name="connsiteX7774" fmla="*/ 5899898 w 6226010"/>
              <a:gd name="connsiteY7774" fmla="*/ 1799043 h 5756219"/>
              <a:gd name="connsiteX7775" fmla="*/ 5935227 w 6226010"/>
              <a:gd name="connsiteY7775" fmla="*/ 1812632 h 5756219"/>
              <a:gd name="connsiteX7776" fmla="*/ 5927074 w 6226010"/>
              <a:gd name="connsiteY7776" fmla="*/ 1834372 h 5756219"/>
              <a:gd name="connsiteX7777" fmla="*/ 5946097 w 6226010"/>
              <a:gd name="connsiteY7777" fmla="*/ 1861548 h 5756219"/>
              <a:gd name="connsiteX7778" fmla="*/ 5978708 w 6226010"/>
              <a:gd name="connsiteY7778" fmla="*/ 1839807 h 5756219"/>
              <a:gd name="connsiteX7779" fmla="*/ 5956968 w 6226010"/>
              <a:gd name="connsiteY7779" fmla="*/ 1866984 h 5756219"/>
              <a:gd name="connsiteX7780" fmla="*/ 5929792 w 6226010"/>
              <a:gd name="connsiteY7780" fmla="*/ 1896878 h 5756219"/>
              <a:gd name="connsiteX7781" fmla="*/ 5921639 w 6226010"/>
              <a:gd name="connsiteY7781" fmla="*/ 1883289 h 5756219"/>
              <a:gd name="connsiteX7782" fmla="*/ 5940662 w 6226010"/>
              <a:gd name="connsiteY7782" fmla="*/ 1875136 h 5756219"/>
              <a:gd name="connsiteX7783" fmla="*/ 5927074 w 6226010"/>
              <a:gd name="connsiteY7783" fmla="*/ 1872419 h 5756219"/>
              <a:gd name="connsiteX7784" fmla="*/ 5913486 w 6226010"/>
              <a:gd name="connsiteY7784" fmla="*/ 1837090 h 5756219"/>
              <a:gd name="connsiteX7785" fmla="*/ 5908051 w 6226010"/>
              <a:gd name="connsiteY7785" fmla="*/ 1875136 h 5756219"/>
              <a:gd name="connsiteX7786" fmla="*/ 5872722 w 6226010"/>
              <a:gd name="connsiteY7786" fmla="*/ 1834372 h 5756219"/>
              <a:gd name="connsiteX7787" fmla="*/ 5856417 w 6226010"/>
              <a:gd name="connsiteY7787" fmla="*/ 1856113 h 5756219"/>
              <a:gd name="connsiteX7788" fmla="*/ 5799347 w 6226010"/>
              <a:gd name="connsiteY7788" fmla="*/ 1853396 h 5756219"/>
              <a:gd name="connsiteX7789" fmla="*/ 5807500 w 6226010"/>
              <a:gd name="connsiteY7789" fmla="*/ 1866984 h 5756219"/>
              <a:gd name="connsiteX7790" fmla="*/ 5831959 w 6226010"/>
              <a:gd name="connsiteY7790" fmla="*/ 1853396 h 5756219"/>
              <a:gd name="connsiteX7791" fmla="*/ 5842829 w 6226010"/>
              <a:gd name="connsiteY7791" fmla="*/ 1875136 h 5756219"/>
              <a:gd name="connsiteX7792" fmla="*/ 5859135 w 6226010"/>
              <a:gd name="connsiteY7792" fmla="*/ 1864265 h 5756219"/>
              <a:gd name="connsiteX7793" fmla="*/ 5867287 w 6226010"/>
              <a:gd name="connsiteY7793" fmla="*/ 1875136 h 5756219"/>
              <a:gd name="connsiteX7794" fmla="*/ 5883593 w 6226010"/>
              <a:gd name="connsiteY7794" fmla="*/ 1866984 h 5756219"/>
              <a:gd name="connsiteX7795" fmla="*/ 5880875 w 6226010"/>
              <a:gd name="connsiteY7795" fmla="*/ 1880571 h 5756219"/>
              <a:gd name="connsiteX7796" fmla="*/ 5891746 w 6226010"/>
              <a:gd name="connsiteY7796" fmla="*/ 1883289 h 5756219"/>
              <a:gd name="connsiteX7797" fmla="*/ 5864570 w 6226010"/>
              <a:gd name="connsiteY7797" fmla="*/ 1883289 h 5756219"/>
              <a:gd name="connsiteX7798" fmla="*/ 5872722 w 6226010"/>
              <a:gd name="connsiteY7798" fmla="*/ 1896878 h 5756219"/>
              <a:gd name="connsiteX7799" fmla="*/ 5908051 w 6226010"/>
              <a:gd name="connsiteY7799" fmla="*/ 1877853 h 5756219"/>
              <a:gd name="connsiteX7800" fmla="*/ 5908051 w 6226010"/>
              <a:gd name="connsiteY7800" fmla="*/ 1902312 h 5756219"/>
              <a:gd name="connsiteX7801" fmla="*/ 5927074 w 6226010"/>
              <a:gd name="connsiteY7801" fmla="*/ 1896878 h 5756219"/>
              <a:gd name="connsiteX7802" fmla="*/ 5910769 w 6226010"/>
              <a:gd name="connsiteY7802" fmla="*/ 1929488 h 5756219"/>
              <a:gd name="connsiteX7803" fmla="*/ 5883593 w 6226010"/>
              <a:gd name="connsiteY7803" fmla="*/ 1918617 h 5756219"/>
              <a:gd name="connsiteX7804" fmla="*/ 5894463 w 6226010"/>
              <a:gd name="connsiteY7804" fmla="*/ 1910465 h 5756219"/>
              <a:gd name="connsiteX7805" fmla="*/ 5807500 w 6226010"/>
              <a:gd name="connsiteY7805" fmla="*/ 1869701 h 5756219"/>
              <a:gd name="connsiteX7806" fmla="*/ 5764019 w 6226010"/>
              <a:gd name="connsiteY7806" fmla="*/ 1910465 h 5756219"/>
              <a:gd name="connsiteX7807" fmla="*/ 5821088 w 6226010"/>
              <a:gd name="connsiteY7807" fmla="*/ 1886006 h 5756219"/>
              <a:gd name="connsiteX7808" fmla="*/ 5902616 w 6226010"/>
              <a:gd name="connsiteY7808" fmla="*/ 1940358 h 5756219"/>
              <a:gd name="connsiteX7809" fmla="*/ 5937945 w 6226010"/>
              <a:gd name="connsiteY7809" fmla="*/ 1907747 h 5756219"/>
              <a:gd name="connsiteX7810" fmla="*/ 5913486 w 6226010"/>
              <a:gd name="connsiteY7810" fmla="*/ 1940358 h 5756219"/>
              <a:gd name="connsiteX7811" fmla="*/ 5965121 w 6226010"/>
              <a:gd name="connsiteY7811" fmla="*/ 1921335 h 5756219"/>
              <a:gd name="connsiteX7812" fmla="*/ 5954250 w 6226010"/>
              <a:gd name="connsiteY7812" fmla="*/ 1943076 h 5756219"/>
              <a:gd name="connsiteX7813" fmla="*/ 5937945 w 6226010"/>
              <a:gd name="connsiteY7813" fmla="*/ 1943076 h 5756219"/>
              <a:gd name="connsiteX7814" fmla="*/ 5935227 w 6226010"/>
              <a:gd name="connsiteY7814" fmla="*/ 1962099 h 5756219"/>
              <a:gd name="connsiteX7815" fmla="*/ 5940662 w 6226010"/>
              <a:gd name="connsiteY7815" fmla="*/ 1964817 h 5756219"/>
              <a:gd name="connsiteX7816" fmla="*/ 5978708 w 6226010"/>
              <a:gd name="connsiteY7816" fmla="*/ 1937641 h 5756219"/>
              <a:gd name="connsiteX7817" fmla="*/ 5962403 w 6226010"/>
              <a:gd name="connsiteY7817" fmla="*/ 1962099 h 5756219"/>
              <a:gd name="connsiteX7818" fmla="*/ 6003167 w 6226010"/>
              <a:gd name="connsiteY7818" fmla="*/ 1964817 h 5756219"/>
              <a:gd name="connsiteX7819" fmla="*/ 5992296 w 6226010"/>
              <a:gd name="connsiteY7819" fmla="*/ 2000145 h 5756219"/>
              <a:gd name="connsiteX7820" fmla="*/ 5965121 w 6226010"/>
              <a:gd name="connsiteY7820" fmla="*/ 2002863 h 5756219"/>
              <a:gd name="connsiteX7821" fmla="*/ 5986861 w 6226010"/>
              <a:gd name="connsiteY7821" fmla="*/ 1983840 h 5756219"/>
              <a:gd name="connsiteX7822" fmla="*/ 5902616 w 6226010"/>
              <a:gd name="connsiteY7822" fmla="*/ 1972969 h 5756219"/>
              <a:gd name="connsiteX7823" fmla="*/ 5840111 w 6226010"/>
              <a:gd name="connsiteY7823" fmla="*/ 1943076 h 5756219"/>
              <a:gd name="connsiteX7824" fmla="*/ 5804783 w 6226010"/>
              <a:gd name="connsiteY7824" fmla="*/ 1915900 h 5756219"/>
              <a:gd name="connsiteX7825" fmla="*/ 5834676 w 6226010"/>
              <a:gd name="connsiteY7825" fmla="*/ 1956664 h 5756219"/>
              <a:gd name="connsiteX7826" fmla="*/ 5866608 w 6226010"/>
              <a:gd name="connsiteY7826" fmla="*/ 1986557 h 5756219"/>
              <a:gd name="connsiteX7827" fmla="*/ 5884425 w 6226010"/>
              <a:gd name="connsiteY7827" fmla="*/ 1997315 h 5756219"/>
              <a:gd name="connsiteX7828" fmla="*/ 5872043 w 6226010"/>
              <a:gd name="connsiteY7828" fmla="*/ 1995050 h 5756219"/>
              <a:gd name="connsiteX7829" fmla="*/ 5840111 w 6226010"/>
              <a:gd name="connsiteY7829" fmla="*/ 2000145 h 5756219"/>
              <a:gd name="connsiteX7830" fmla="*/ 5897181 w 6226010"/>
              <a:gd name="connsiteY7830" fmla="*/ 2027321 h 5756219"/>
              <a:gd name="connsiteX7831" fmla="*/ 5918922 w 6226010"/>
              <a:gd name="connsiteY7831" fmla="*/ 2054497 h 5756219"/>
              <a:gd name="connsiteX7832" fmla="*/ 5891746 w 6226010"/>
              <a:gd name="connsiteY7832" fmla="*/ 2049062 h 5756219"/>
              <a:gd name="connsiteX7833" fmla="*/ 5930726 w 6226010"/>
              <a:gd name="connsiteY7833" fmla="*/ 2077343 h 5756219"/>
              <a:gd name="connsiteX7834" fmla="*/ 5935089 w 6226010"/>
              <a:gd name="connsiteY7834" fmla="*/ 2077077 h 5756219"/>
              <a:gd name="connsiteX7835" fmla="*/ 5938284 w 6226010"/>
              <a:gd name="connsiteY7835" fmla="*/ 2088213 h 5756219"/>
              <a:gd name="connsiteX7836" fmla="*/ 5943158 w 6226010"/>
              <a:gd name="connsiteY7836" fmla="*/ 2094167 h 5756219"/>
              <a:gd name="connsiteX7837" fmla="*/ 5938964 w 6226010"/>
              <a:gd name="connsiteY7837" fmla="*/ 2100697 h 5756219"/>
              <a:gd name="connsiteX7838" fmla="*/ 5943380 w 6226010"/>
              <a:gd name="connsiteY7838" fmla="*/ 2125155 h 5756219"/>
              <a:gd name="connsiteX7839" fmla="*/ 5925036 w 6226010"/>
              <a:gd name="connsiteY7839" fmla="*/ 2131269 h 5756219"/>
              <a:gd name="connsiteX7840" fmla="*/ 5913850 w 6226010"/>
              <a:gd name="connsiteY7840" fmla="*/ 2132287 h 5756219"/>
              <a:gd name="connsiteX7841" fmla="*/ 5913614 w 6226010"/>
              <a:gd name="connsiteY7841" fmla="*/ 2130548 h 5756219"/>
              <a:gd name="connsiteX7842" fmla="*/ 5872722 w 6226010"/>
              <a:gd name="connsiteY7842" fmla="*/ 2103415 h 5756219"/>
              <a:gd name="connsiteX7843" fmla="*/ 5871491 w 6226010"/>
              <a:gd name="connsiteY7843" fmla="*/ 2123627 h 5756219"/>
              <a:gd name="connsiteX7844" fmla="*/ 5871782 w 6226010"/>
              <a:gd name="connsiteY7844" fmla="*/ 2124201 h 5756219"/>
              <a:gd name="connsiteX7845" fmla="*/ 5870005 w 6226010"/>
              <a:gd name="connsiteY7845" fmla="*/ 2127873 h 5756219"/>
              <a:gd name="connsiteX7846" fmla="*/ 5835695 w 6226010"/>
              <a:gd name="connsiteY7846" fmla="*/ 2108510 h 5756219"/>
              <a:gd name="connsiteX7847" fmla="*/ 5832067 w 6226010"/>
              <a:gd name="connsiteY7847" fmla="*/ 2107188 h 5756219"/>
              <a:gd name="connsiteX7848" fmla="*/ 5823806 w 6226010"/>
              <a:gd name="connsiteY7848" fmla="*/ 2100697 h 5756219"/>
              <a:gd name="connsiteX7849" fmla="*/ 5824977 w 6226010"/>
              <a:gd name="connsiteY7849" fmla="*/ 2104604 h 5756219"/>
              <a:gd name="connsiteX7850" fmla="*/ 5799347 w 6226010"/>
              <a:gd name="connsiteY7850" fmla="*/ 2095262 h 5756219"/>
              <a:gd name="connsiteX7851" fmla="*/ 5826523 w 6226010"/>
              <a:gd name="connsiteY7851" fmla="*/ 2084391 h 5756219"/>
              <a:gd name="connsiteX7852" fmla="*/ 5802065 w 6226010"/>
              <a:gd name="connsiteY7852" fmla="*/ 2057216 h 5756219"/>
              <a:gd name="connsiteX7853" fmla="*/ 5815653 w 6226010"/>
              <a:gd name="connsiteY7853" fmla="*/ 2051779 h 5756219"/>
              <a:gd name="connsiteX7854" fmla="*/ 5826523 w 6226010"/>
              <a:gd name="connsiteY7854" fmla="*/ 2076238 h 5756219"/>
              <a:gd name="connsiteX7855" fmla="*/ 5845547 w 6226010"/>
              <a:gd name="connsiteY7855" fmla="*/ 2057216 h 5756219"/>
              <a:gd name="connsiteX7856" fmla="*/ 5793912 w 6226010"/>
              <a:gd name="connsiteY7856" fmla="*/ 2051779 h 5756219"/>
              <a:gd name="connsiteX7857" fmla="*/ 5791195 w 6226010"/>
              <a:gd name="connsiteY7857" fmla="*/ 2016451 h 5756219"/>
              <a:gd name="connsiteX7858" fmla="*/ 5766736 w 6226010"/>
              <a:gd name="connsiteY7858" fmla="*/ 2057216 h 5756219"/>
              <a:gd name="connsiteX7859" fmla="*/ 5848264 w 6226010"/>
              <a:gd name="connsiteY7859" fmla="*/ 2141460 h 5756219"/>
              <a:gd name="connsiteX7860" fmla="*/ 5831959 w 6226010"/>
              <a:gd name="connsiteY7860" fmla="*/ 2165919 h 5756219"/>
              <a:gd name="connsiteX7861" fmla="*/ 5842829 w 6226010"/>
              <a:gd name="connsiteY7861" fmla="*/ 2176789 h 5756219"/>
              <a:gd name="connsiteX7862" fmla="*/ 5812935 w 6226010"/>
              <a:gd name="connsiteY7862" fmla="*/ 2157767 h 5756219"/>
              <a:gd name="connsiteX7863" fmla="*/ 5804783 w 6226010"/>
              <a:gd name="connsiteY7863" fmla="*/ 2163202 h 5756219"/>
              <a:gd name="connsiteX7864" fmla="*/ 5815653 w 6226010"/>
              <a:gd name="connsiteY7864" fmla="*/ 2187659 h 5756219"/>
              <a:gd name="connsiteX7865" fmla="*/ 5840111 w 6226010"/>
              <a:gd name="connsiteY7865" fmla="*/ 2193094 h 5756219"/>
              <a:gd name="connsiteX7866" fmla="*/ 5848264 w 6226010"/>
              <a:gd name="connsiteY7866" fmla="*/ 2176789 h 5756219"/>
              <a:gd name="connsiteX7867" fmla="*/ 5859135 w 6226010"/>
              <a:gd name="connsiteY7867" fmla="*/ 2201248 h 5756219"/>
              <a:gd name="connsiteX7868" fmla="*/ 5821088 w 6226010"/>
              <a:gd name="connsiteY7868" fmla="*/ 2195813 h 5756219"/>
              <a:gd name="connsiteX7869" fmla="*/ 5810218 w 6226010"/>
              <a:gd name="connsiteY7869" fmla="*/ 2206683 h 5756219"/>
              <a:gd name="connsiteX7870" fmla="*/ 5848264 w 6226010"/>
              <a:gd name="connsiteY7870" fmla="*/ 2212119 h 5756219"/>
              <a:gd name="connsiteX7871" fmla="*/ 5872722 w 6226010"/>
              <a:gd name="connsiteY7871" fmla="*/ 2184943 h 5756219"/>
              <a:gd name="connsiteX7872" fmla="*/ 5878158 w 6226010"/>
              <a:gd name="connsiteY7872" fmla="*/ 2203965 h 5756219"/>
              <a:gd name="connsiteX7873" fmla="*/ 5962403 w 6226010"/>
              <a:gd name="connsiteY7873" fmla="*/ 2233858 h 5756219"/>
              <a:gd name="connsiteX7874" fmla="*/ 5992296 w 6226010"/>
              <a:gd name="connsiteY7874" fmla="*/ 2225705 h 5756219"/>
              <a:gd name="connsiteX7875" fmla="*/ 5956968 w 6226010"/>
              <a:gd name="connsiteY7875" fmla="*/ 2252882 h 5756219"/>
              <a:gd name="connsiteX7876" fmla="*/ 5878158 w 6226010"/>
              <a:gd name="connsiteY7876" fmla="*/ 2212119 h 5756219"/>
              <a:gd name="connsiteX7877" fmla="*/ 5872722 w 6226010"/>
              <a:gd name="connsiteY7877" fmla="*/ 2236577 h 5756219"/>
              <a:gd name="connsiteX7878" fmla="*/ 5815653 w 6226010"/>
              <a:gd name="connsiteY7878" fmla="*/ 2222988 h 5756219"/>
              <a:gd name="connsiteX7879" fmla="*/ 5848264 w 6226010"/>
              <a:gd name="connsiteY7879" fmla="*/ 2252882 h 5756219"/>
              <a:gd name="connsiteX7880" fmla="*/ 5810218 w 6226010"/>
              <a:gd name="connsiteY7880" fmla="*/ 2258317 h 5756219"/>
              <a:gd name="connsiteX7881" fmla="*/ 5804783 w 6226010"/>
              <a:gd name="connsiteY7881" fmla="*/ 2217554 h 5756219"/>
              <a:gd name="connsiteX7882" fmla="*/ 5796672 w 6226010"/>
              <a:gd name="connsiteY7882" fmla="*/ 2214878 h 5756219"/>
              <a:gd name="connsiteX7883" fmla="*/ 5789604 w 6226010"/>
              <a:gd name="connsiteY7883" fmla="*/ 2218203 h 5756219"/>
              <a:gd name="connsiteX7884" fmla="*/ 5784401 w 6226010"/>
              <a:gd name="connsiteY7884" fmla="*/ 2211438 h 5756219"/>
              <a:gd name="connsiteX7885" fmla="*/ 5777607 w 6226010"/>
              <a:gd name="connsiteY7885" fmla="*/ 2206683 h 5756219"/>
              <a:gd name="connsiteX7886" fmla="*/ 5671620 w 6226010"/>
              <a:gd name="connsiteY7886" fmla="*/ 2152332 h 5756219"/>
              <a:gd name="connsiteX7887" fmla="*/ 5705250 w 6226010"/>
              <a:gd name="connsiteY7887" fmla="*/ 2178149 h 5756219"/>
              <a:gd name="connsiteX7888" fmla="*/ 5712931 w 6226010"/>
              <a:gd name="connsiteY7888" fmla="*/ 2180444 h 5756219"/>
              <a:gd name="connsiteX7889" fmla="*/ 5711110 w 6226010"/>
              <a:gd name="connsiteY7889" fmla="*/ 2182692 h 5756219"/>
              <a:gd name="connsiteX7890" fmla="*/ 5698796 w 6226010"/>
              <a:gd name="connsiteY7890" fmla="*/ 2187659 h 5756219"/>
              <a:gd name="connsiteX7891" fmla="*/ 5731407 w 6226010"/>
              <a:gd name="connsiteY7891" fmla="*/ 2187659 h 5756219"/>
              <a:gd name="connsiteX7892" fmla="*/ 5736843 w 6226010"/>
              <a:gd name="connsiteY7892" fmla="*/ 2206683 h 5756219"/>
              <a:gd name="connsiteX7893" fmla="*/ 5712384 w 6226010"/>
              <a:gd name="connsiteY7893" fmla="*/ 2214835 h 5756219"/>
              <a:gd name="connsiteX7894" fmla="*/ 5742278 w 6226010"/>
              <a:gd name="connsiteY7894" fmla="*/ 2236577 h 5756219"/>
              <a:gd name="connsiteX7895" fmla="*/ 5717819 w 6226010"/>
              <a:gd name="connsiteY7895" fmla="*/ 2222988 h 5756219"/>
              <a:gd name="connsiteX7896" fmla="*/ 5747713 w 6226010"/>
              <a:gd name="connsiteY7896" fmla="*/ 2255600 h 5756219"/>
              <a:gd name="connsiteX7897" fmla="*/ 5785759 w 6226010"/>
              <a:gd name="connsiteY7897" fmla="*/ 2288210 h 5756219"/>
              <a:gd name="connsiteX7898" fmla="*/ 5761301 w 6226010"/>
              <a:gd name="connsiteY7898" fmla="*/ 2285492 h 5756219"/>
              <a:gd name="connsiteX7899" fmla="*/ 5769454 w 6226010"/>
              <a:gd name="connsiteY7899" fmla="*/ 2304516 h 5756219"/>
              <a:gd name="connsiteX7900" fmla="*/ 5742278 w 6226010"/>
              <a:gd name="connsiteY7900" fmla="*/ 2299081 h 5756219"/>
              <a:gd name="connsiteX7901" fmla="*/ 5753148 w 6226010"/>
              <a:gd name="connsiteY7901" fmla="*/ 2280058 h 5756219"/>
              <a:gd name="connsiteX7902" fmla="*/ 5717819 w 6226010"/>
              <a:gd name="connsiteY7902" fmla="*/ 2263752 h 5756219"/>
              <a:gd name="connsiteX7903" fmla="*/ 5736843 w 6226010"/>
              <a:gd name="connsiteY7903" fmla="*/ 2285492 h 5756219"/>
              <a:gd name="connsiteX7904" fmla="*/ 5709667 w 6226010"/>
              <a:gd name="connsiteY7904" fmla="*/ 2282776 h 5756219"/>
              <a:gd name="connsiteX7905" fmla="*/ 5701514 w 6226010"/>
              <a:gd name="connsiteY7905" fmla="*/ 2239293 h 5756219"/>
              <a:gd name="connsiteX7906" fmla="*/ 5701514 w 6226010"/>
              <a:gd name="connsiteY7906" fmla="*/ 2263752 h 5756219"/>
              <a:gd name="connsiteX7907" fmla="*/ 5681472 w 6226010"/>
              <a:gd name="connsiteY7907" fmla="*/ 2258996 h 5756219"/>
              <a:gd name="connsiteX7908" fmla="*/ 5680650 w 6226010"/>
              <a:gd name="connsiteY7908" fmla="*/ 2258215 h 5756219"/>
              <a:gd name="connsiteX7909" fmla="*/ 5682491 w 6226010"/>
              <a:gd name="connsiteY7909" fmla="*/ 2255600 h 5756219"/>
              <a:gd name="connsiteX7910" fmla="*/ 5665845 w 6226010"/>
              <a:gd name="connsiteY7910" fmla="*/ 2238955 h 5756219"/>
              <a:gd name="connsiteX7911" fmla="*/ 5658898 w 6226010"/>
              <a:gd name="connsiteY7911" fmla="*/ 2237070 h 5756219"/>
              <a:gd name="connsiteX7912" fmla="*/ 5656503 w 6226010"/>
              <a:gd name="connsiteY7912" fmla="*/ 2230208 h 5756219"/>
              <a:gd name="connsiteX7913" fmla="*/ 5650786 w 6226010"/>
              <a:gd name="connsiteY7913" fmla="*/ 2224800 h 5756219"/>
              <a:gd name="connsiteX7914" fmla="*/ 5652597 w 6226010"/>
              <a:gd name="connsiteY7914" fmla="*/ 2222988 h 5756219"/>
              <a:gd name="connsiteX7915" fmla="*/ 5674338 w 6226010"/>
              <a:gd name="connsiteY7915" fmla="*/ 2225705 h 5756219"/>
              <a:gd name="connsiteX7916" fmla="*/ 5671620 w 6226010"/>
              <a:gd name="connsiteY7916" fmla="*/ 2209400 h 5756219"/>
              <a:gd name="connsiteX7917" fmla="*/ 5651705 w 6226010"/>
              <a:gd name="connsiteY7917" fmla="*/ 2215176 h 5756219"/>
              <a:gd name="connsiteX7918" fmla="*/ 5639375 w 6226010"/>
              <a:gd name="connsiteY7918" fmla="*/ 2214956 h 5756219"/>
              <a:gd name="connsiteX7919" fmla="*/ 5620020 w 6226010"/>
              <a:gd name="connsiteY7919" fmla="*/ 2202711 h 5756219"/>
              <a:gd name="connsiteX7920" fmla="*/ 5619986 w 6226010"/>
              <a:gd name="connsiteY7920" fmla="*/ 2187659 h 5756219"/>
              <a:gd name="connsiteX7921" fmla="*/ 5630856 w 6226010"/>
              <a:gd name="connsiteY7921" fmla="*/ 2201248 h 5756219"/>
              <a:gd name="connsiteX7922" fmla="*/ 5617268 w 6226010"/>
              <a:gd name="connsiteY7922" fmla="*/ 2149613 h 5756219"/>
              <a:gd name="connsiteX7923" fmla="*/ 5595528 w 6226010"/>
              <a:gd name="connsiteY7923" fmla="*/ 2195813 h 5756219"/>
              <a:gd name="connsiteX7924" fmla="*/ 5599603 w 6226010"/>
              <a:gd name="connsiteY7924" fmla="*/ 2203018 h 5756219"/>
              <a:gd name="connsiteX7925" fmla="*/ 5597905 w 6226010"/>
              <a:gd name="connsiteY7925" fmla="*/ 2204305 h 5756219"/>
              <a:gd name="connsiteX7926" fmla="*/ 5584657 w 6226010"/>
              <a:gd name="connsiteY7926" fmla="*/ 2206683 h 5756219"/>
              <a:gd name="connsiteX7927" fmla="*/ 5589901 w 6226010"/>
              <a:gd name="connsiteY7927" fmla="*/ 2192687 h 5756219"/>
              <a:gd name="connsiteX7928" fmla="*/ 5590092 w 6226010"/>
              <a:gd name="connsiteY7928" fmla="*/ 2193094 h 5756219"/>
              <a:gd name="connsiteX7929" fmla="*/ 5600963 w 6226010"/>
              <a:gd name="connsiteY7929" fmla="*/ 2182224 h 5756219"/>
              <a:gd name="connsiteX7930" fmla="*/ 5590092 w 6226010"/>
              <a:gd name="connsiteY7930" fmla="*/ 2167618 h 5756219"/>
              <a:gd name="connsiteX7931" fmla="*/ 5589448 w 6226010"/>
              <a:gd name="connsiteY7931" fmla="*/ 2167744 h 5756219"/>
              <a:gd name="connsiteX7932" fmla="*/ 5582507 w 6226010"/>
              <a:gd name="connsiteY7932" fmla="*/ 2154466 h 5756219"/>
              <a:gd name="connsiteX7933" fmla="*/ 5584997 w 6226010"/>
              <a:gd name="connsiteY7933" fmla="*/ 2153011 h 5756219"/>
              <a:gd name="connsiteX7934" fmla="*/ 5592810 w 6226010"/>
              <a:gd name="connsiteY7934" fmla="*/ 2136025 h 5756219"/>
              <a:gd name="connsiteX7935" fmla="*/ 5570199 w 6226010"/>
              <a:gd name="connsiteY7935" fmla="*/ 2145447 h 5756219"/>
              <a:gd name="connsiteX7936" fmla="*/ 5562916 w 6226010"/>
              <a:gd name="connsiteY7936" fmla="*/ 2141460 h 5756219"/>
              <a:gd name="connsiteX7937" fmla="*/ 5563256 w 6226010"/>
              <a:gd name="connsiteY7937" fmla="*/ 2146897 h 5756219"/>
              <a:gd name="connsiteX7938" fmla="*/ 5563790 w 6226010"/>
              <a:gd name="connsiteY7938" fmla="*/ 2148117 h 5756219"/>
              <a:gd name="connsiteX7939" fmla="*/ 5560199 w 6226010"/>
              <a:gd name="connsiteY7939" fmla="*/ 2149613 h 5756219"/>
              <a:gd name="connsiteX7940" fmla="*/ 5560275 w 6226010"/>
              <a:gd name="connsiteY7940" fmla="*/ 2151438 h 5756219"/>
              <a:gd name="connsiteX7941" fmla="*/ 5549329 w 6226010"/>
              <a:gd name="connsiteY7941" fmla="*/ 2149613 h 5756219"/>
              <a:gd name="connsiteX7942" fmla="*/ 5543893 w 6226010"/>
              <a:gd name="connsiteY7942" fmla="*/ 2174071 h 5756219"/>
              <a:gd name="connsiteX7943" fmla="*/ 5560199 w 6226010"/>
              <a:gd name="connsiteY7943" fmla="*/ 2174071 h 5756219"/>
              <a:gd name="connsiteX7944" fmla="*/ 5568352 w 6226010"/>
              <a:gd name="connsiteY7944" fmla="*/ 2236577 h 5756219"/>
              <a:gd name="connsiteX7945" fmla="*/ 5535741 w 6226010"/>
              <a:gd name="connsiteY7945" fmla="*/ 2168636 h 5756219"/>
              <a:gd name="connsiteX7946" fmla="*/ 5519435 w 6226010"/>
              <a:gd name="connsiteY7946" fmla="*/ 2176789 h 5756219"/>
              <a:gd name="connsiteX7947" fmla="*/ 5511282 w 6226010"/>
              <a:gd name="connsiteY7947" fmla="*/ 2160484 h 5756219"/>
              <a:gd name="connsiteX7948" fmla="*/ 5527588 w 6226010"/>
              <a:gd name="connsiteY7948" fmla="*/ 2160484 h 5756219"/>
              <a:gd name="connsiteX7949" fmla="*/ 5508565 w 6226010"/>
              <a:gd name="connsiteY7949" fmla="*/ 2157767 h 5756219"/>
              <a:gd name="connsiteX7950" fmla="*/ 5504149 w 6226010"/>
              <a:gd name="connsiteY7950" fmla="*/ 2103415 h 5756219"/>
              <a:gd name="connsiteX7951" fmla="*/ 5498656 w 6226010"/>
              <a:gd name="connsiteY7951" fmla="*/ 2096031 h 5756219"/>
              <a:gd name="connsiteX7952" fmla="*/ 5497694 w 6226010"/>
              <a:gd name="connsiteY7952" fmla="*/ 2078956 h 5756219"/>
              <a:gd name="connsiteX7953" fmla="*/ 5483467 w 6226010"/>
              <a:gd name="connsiteY7953" fmla="*/ 2077375 h 5756219"/>
              <a:gd name="connsiteX7954" fmla="*/ 5465083 w 6226010"/>
              <a:gd name="connsiteY7954" fmla="*/ 2065368 h 5756219"/>
              <a:gd name="connsiteX7955" fmla="*/ 5475954 w 6226010"/>
              <a:gd name="connsiteY7955" fmla="*/ 2087109 h 5756219"/>
              <a:gd name="connsiteX7956" fmla="*/ 5474196 w 6226010"/>
              <a:gd name="connsiteY7956" fmla="*/ 2094432 h 5756219"/>
              <a:gd name="connsiteX7957" fmla="*/ 5473236 w 6226010"/>
              <a:gd name="connsiteY7957" fmla="*/ 2095262 h 5756219"/>
              <a:gd name="connsiteX7958" fmla="*/ 5473798 w 6226010"/>
              <a:gd name="connsiteY7958" fmla="*/ 2096090 h 5756219"/>
              <a:gd name="connsiteX7959" fmla="*/ 5471877 w 6226010"/>
              <a:gd name="connsiteY7959" fmla="*/ 2104095 h 5756219"/>
              <a:gd name="connsiteX7960" fmla="*/ 5475954 w 6226010"/>
              <a:gd name="connsiteY7960" fmla="*/ 2117003 h 5756219"/>
              <a:gd name="connsiteX7961" fmla="*/ 5440625 w 6226010"/>
              <a:gd name="connsiteY7961" fmla="*/ 2136025 h 5756219"/>
              <a:gd name="connsiteX7962" fmla="*/ 5462366 w 6226010"/>
              <a:gd name="connsiteY7962" fmla="*/ 2108850 h 5756219"/>
              <a:gd name="connsiteX7963" fmla="*/ 5448778 w 6226010"/>
              <a:gd name="connsiteY7963" fmla="*/ 2095262 h 5756219"/>
              <a:gd name="connsiteX7964" fmla="*/ 5459648 w 6226010"/>
              <a:gd name="connsiteY7964" fmla="*/ 2087109 h 5756219"/>
              <a:gd name="connsiteX7965" fmla="*/ 5421602 w 6226010"/>
              <a:gd name="connsiteY7965" fmla="*/ 2092544 h 5756219"/>
              <a:gd name="connsiteX7966" fmla="*/ 5440625 w 6226010"/>
              <a:gd name="connsiteY7966" fmla="*/ 2114285 h 5756219"/>
              <a:gd name="connsiteX7967" fmla="*/ 5391708 w 6226010"/>
              <a:gd name="connsiteY7967" fmla="*/ 2117003 h 5756219"/>
              <a:gd name="connsiteX7968" fmla="*/ 5410731 w 6226010"/>
              <a:gd name="connsiteY7968" fmla="*/ 2103415 h 5756219"/>
              <a:gd name="connsiteX7969" fmla="*/ 5405296 w 6226010"/>
              <a:gd name="connsiteY7969" fmla="*/ 2092544 h 5756219"/>
              <a:gd name="connsiteX7970" fmla="*/ 5380838 w 6226010"/>
              <a:gd name="connsiteY7970" fmla="*/ 2097980 h 5756219"/>
              <a:gd name="connsiteX7971" fmla="*/ 5402579 w 6226010"/>
              <a:gd name="connsiteY7971" fmla="*/ 2070804 h 5756219"/>
              <a:gd name="connsiteX7972" fmla="*/ 5408014 w 6226010"/>
              <a:gd name="connsiteY7972" fmla="*/ 2084391 h 5756219"/>
              <a:gd name="connsiteX7973" fmla="*/ 5451495 w 6226010"/>
              <a:gd name="connsiteY7973" fmla="*/ 2051779 h 5756219"/>
              <a:gd name="connsiteX7974" fmla="*/ 5440200 w 6226010"/>
              <a:gd name="connsiteY7974" fmla="*/ 2046302 h 5756219"/>
              <a:gd name="connsiteX7975" fmla="*/ 5429537 w 6226010"/>
              <a:gd name="connsiteY7975" fmla="*/ 2041950 h 5756219"/>
              <a:gd name="connsiteX7976" fmla="*/ 5420583 w 6226010"/>
              <a:gd name="connsiteY7976" fmla="*/ 2036833 h 5756219"/>
              <a:gd name="connsiteX7977" fmla="*/ 5410731 w 6226010"/>
              <a:gd name="connsiteY7977" fmla="*/ 2021886 h 5756219"/>
              <a:gd name="connsiteX7978" fmla="*/ 5435190 w 6226010"/>
              <a:gd name="connsiteY7978" fmla="*/ 1994710 h 5756219"/>
              <a:gd name="connsiteX7979" fmla="*/ 5440625 w 6226010"/>
              <a:gd name="connsiteY7979" fmla="*/ 1953946 h 5756219"/>
              <a:gd name="connsiteX7980" fmla="*/ 5413449 w 6226010"/>
              <a:gd name="connsiteY7980" fmla="*/ 1959381 h 5756219"/>
              <a:gd name="connsiteX7981" fmla="*/ 5410731 w 6226010"/>
              <a:gd name="connsiteY7981" fmla="*/ 1994710 h 5756219"/>
              <a:gd name="connsiteX7982" fmla="*/ 5405296 w 6226010"/>
              <a:gd name="connsiteY7982" fmla="*/ 2019168 h 5756219"/>
              <a:gd name="connsiteX7983" fmla="*/ 5394426 w 6226010"/>
              <a:gd name="connsiteY7983" fmla="*/ 1997428 h 5756219"/>
              <a:gd name="connsiteX7984" fmla="*/ 5318333 w 6226010"/>
              <a:gd name="connsiteY7984" fmla="*/ 2008298 h 5756219"/>
              <a:gd name="connsiteX7985" fmla="*/ 5274852 w 6226010"/>
              <a:gd name="connsiteY7985" fmla="*/ 2021886 h 5756219"/>
              <a:gd name="connsiteX7986" fmla="*/ 5319735 w 6226010"/>
              <a:gd name="connsiteY7986" fmla="*/ 2018022 h 5756219"/>
              <a:gd name="connsiteX7987" fmla="*/ 5323565 w 6226010"/>
              <a:gd name="connsiteY7987" fmla="*/ 2018768 h 5756219"/>
              <a:gd name="connsiteX7988" fmla="*/ 5321051 w 6226010"/>
              <a:gd name="connsiteY7988" fmla="*/ 2020528 h 5756219"/>
              <a:gd name="connsiteX7989" fmla="*/ 5307463 w 6226010"/>
              <a:gd name="connsiteY7989" fmla="*/ 2030039 h 5756219"/>
              <a:gd name="connsiteX7990" fmla="*/ 5378120 w 6226010"/>
              <a:gd name="connsiteY7990" fmla="*/ 2108850 h 5756219"/>
              <a:gd name="connsiteX7991" fmla="*/ 5372685 w 6226010"/>
              <a:gd name="connsiteY7991" fmla="*/ 2122438 h 5756219"/>
              <a:gd name="connsiteX7992" fmla="*/ 5408014 w 6226010"/>
              <a:gd name="connsiteY7992" fmla="*/ 2149613 h 5756219"/>
              <a:gd name="connsiteX7993" fmla="*/ 5394426 w 6226010"/>
              <a:gd name="connsiteY7993" fmla="*/ 2138743 h 5756219"/>
              <a:gd name="connsiteX7994" fmla="*/ 5427037 w 6226010"/>
              <a:gd name="connsiteY7994" fmla="*/ 2160484 h 5756219"/>
              <a:gd name="connsiteX7995" fmla="*/ 5429755 w 6226010"/>
              <a:gd name="connsiteY7995" fmla="*/ 2146895 h 5756219"/>
              <a:gd name="connsiteX7996" fmla="*/ 5448778 w 6226010"/>
              <a:gd name="connsiteY7996" fmla="*/ 2160484 h 5756219"/>
              <a:gd name="connsiteX7997" fmla="*/ 5410731 w 6226010"/>
              <a:gd name="connsiteY7997" fmla="*/ 2171354 h 5756219"/>
              <a:gd name="connsiteX7998" fmla="*/ 5459648 w 6226010"/>
              <a:gd name="connsiteY7998" fmla="*/ 2184943 h 5756219"/>
              <a:gd name="connsiteX7999" fmla="*/ 5435190 w 6226010"/>
              <a:gd name="connsiteY7999" fmla="*/ 2190378 h 5756219"/>
              <a:gd name="connsiteX8000" fmla="*/ 5462366 w 6226010"/>
              <a:gd name="connsiteY8000" fmla="*/ 2209400 h 5756219"/>
              <a:gd name="connsiteX8001" fmla="*/ 5432472 w 6226010"/>
              <a:gd name="connsiteY8001" fmla="*/ 2206683 h 5756219"/>
              <a:gd name="connsiteX8002" fmla="*/ 5427037 w 6226010"/>
              <a:gd name="connsiteY8002" fmla="*/ 2187659 h 5756219"/>
              <a:gd name="connsiteX8003" fmla="*/ 5410731 w 6226010"/>
              <a:gd name="connsiteY8003" fmla="*/ 2206683 h 5756219"/>
              <a:gd name="connsiteX8004" fmla="*/ 5375403 w 6226010"/>
              <a:gd name="connsiteY8004" fmla="*/ 2187659 h 5756219"/>
              <a:gd name="connsiteX8005" fmla="*/ 5388991 w 6226010"/>
              <a:gd name="connsiteY8005" fmla="*/ 2163202 h 5756219"/>
              <a:gd name="connsiteX8006" fmla="*/ 5388991 w 6226010"/>
              <a:gd name="connsiteY8006" fmla="*/ 2174071 h 5756219"/>
              <a:gd name="connsiteX8007" fmla="*/ 5337356 w 6226010"/>
              <a:gd name="connsiteY8007" fmla="*/ 2168636 h 5756219"/>
              <a:gd name="connsiteX8008" fmla="*/ 5330944 w 6226010"/>
              <a:gd name="connsiteY8008" fmla="*/ 2154496 h 5756219"/>
              <a:gd name="connsiteX8009" fmla="*/ 5330056 w 6226010"/>
              <a:gd name="connsiteY8009" fmla="*/ 2153867 h 5756219"/>
              <a:gd name="connsiteX8010" fmla="*/ 5337356 w 6226010"/>
              <a:gd name="connsiteY8010" fmla="*/ 2157767 h 5756219"/>
              <a:gd name="connsiteX8011" fmla="*/ 5364532 w 6226010"/>
              <a:gd name="connsiteY8011" fmla="*/ 2157767 h 5756219"/>
              <a:gd name="connsiteX8012" fmla="*/ 5345509 w 6226010"/>
              <a:gd name="connsiteY8012" fmla="*/ 2122438 h 5756219"/>
              <a:gd name="connsiteX8013" fmla="*/ 5307463 w 6226010"/>
              <a:gd name="connsiteY8013" fmla="*/ 2130590 h 5756219"/>
              <a:gd name="connsiteX8014" fmla="*/ 5323768 w 6226010"/>
              <a:gd name="connsiteY8014" fmla="*/ 2125155 h 5756219"/>
              <a:gd name="connsiteX8015" fmla="*/ 5310180 w 6226010"/>
              <a:gd name="connsiteY8015" fmla="*/ 2111567 h 5756219"/>
              <a:gd name="connsiteX8016" fmla="*/ 5285722 w 6226010"/>
              <a:gd name="connsiteY8016" fmla="*/ 2133307 h 5756219"/>
              <a:gd name="connsiteX8017" fmla="*/ 5312558 w 6226010"/>
              <a:gd name="connsiteY8017" fmla="*/ 2144518 h 5756219"/>
              <a:gd name="connsiteX8018" fmla="*/ 5316814 w 6226010"/>
              <a:gd name="connsiteY8018" fmla="*/ 2146792 h 5756219"/>
              <a:gd name="connsiteX8019" fmla="*/ 5293875 w 6226010"/>
              <a:gd name="connsiteY8019" fmla="*/ 2144178 h 5756219"/>
              <a:gd name="connsiteX8020" fmla="*/ 5278249 w 6226010"/>
              <a:gd name="connsiteY8020" fmla="*/ 2126174 h 5756219"/>
              <a:gd name="connsiteX8021" fmla="*/ 5275474 w 6226010"/>
              <a:gd name="connsiteY8021" fmla="*/ 2124500 h 5756219"/>
              <a:gd name="connsiteX8022" fmla="*/ 5282665 w 6226010"/>
              <a:gd name="connsiteY8022" fmla="*/ 2121418 h 5756219"/>
              <a:gd name="connsiteX8023" fmla="*/ 5293875 w 6226010"/>
              <a:gd name="connsiteY8023" fmla="*/ 2106132 h 5756219"/>
              <a:gd name="connsiteX8024" fmla="*/ 5331921 w 6226010"/>
              <a:gd name="connsiteY8024" fmla="*/ 2111567 h 5756219"/>
              <a:gd name="connsiteX8025" fmla="*/ 5296592 w 6226010"/>
              <a:gd name="connsiteY8025" fmla="*/ 2073521 h 5756219"/>
              <a:gd name="connsiteX8026" fmla="*/ 5293875 w 6226010"/>
              <a:gd name="connsiteY8026" fmla="*/ 2092544 h 5756219"/>
              <a:gd name="connsiteX8027" fmla="*/ 5285722 w 6226010"/>
              <a:gd name="connsiteY8027" fmla="*/ 2068085 h 5756219"/>
              <a:gd name="connsiteX8028" fmla="*/ 5280287 w 6226010"/>
              <a:gd name="connsiteY8028" fmla="*/ 2106132 h 5756219"/>
              <a:gd name="connsiteX8029" fmla="*/ 5266359 w 6226010"/>
              <a:gd name="connsiteY8029" fmla="*/ 2115644 h 5756219"/>
              <a:gd name="connsiteX8030" fmla="*/ 5261486 w 6226010"/>
              <a:gd name="connsiteY8030" fmla="*/ 2116059 h 5756219"/>
              <a:gd name="connsiteX8031" fmla="*/ 5258546 w 6226010"/>
              <a:gd name="connsiteY8031" fmla="*/ 2114285 h 5756219"/>
              <a:gd name="connsiteX8032" fmla="*/ 5253667 w 6226010"/>
              <a:gd name="connsiteY8032" fmla="*/ 2116725 h 5756219"/>
              <a:gd name="connsiteX8033" fmla="*/ 5250393 w 6226010"/>
              <a:gd name="connsiteY8033" fmla="*/ 2117003 h 5756219"/>
              <a:gd name="connsiteX8034" fmla="*/ 5250936 w 6226010"/>
              <a:gd name="connsiteY8034" fmla="*/ 2118089 h 5756219"/>
              <a:gd name="connsiteX8035" fmla="*/ 5242240 w 6226010"/>
              <a:gd name="connsiteY8035" fmla="*/ 2122438 h 5756219"/>
              <a:gd name="connsiteX8036" fmla="*/ 5209629 w 6226010"/>
              <a:gd name="connsiteY8036" fmla="*/ 2117003 h 5756219"/>
              <a:gd name="connsiteX8037" fmla="*/ 5272134 w 6226010"/>
              <a:gd name="connsiteY8037" fmla="*/ 2100697 h 5756219"/>
              <a:gd name="connsiteX8038" fmla="*/ 5263981 w 6226010"/>
              <a:gd name="connsiteY8038" fmla="*/ 2065368 h 5756219"/>
              <a:gd name="connsiteX8039" fmla="*/ 5274852 w 6226010"/>
              <a:gd name="connsiteY8039" fmla="*/ 2046344 h 5756219"/>
              <a:gd name="connsiteX8040" fmla="*/ 5106361 w 6226010"/>
              <a:gd name="connsiteY8040" fmla="*/ 2076238 h 5756219"/>
              <a:gd name="connsiteX8041" fmla="*/ 5079185 w 6226010"/>
              <a:gd name="connsiteY8041" fmla="*/ 2081674 h 5756219"/>
              <a:gd name="connsiteX8042" fmla="*/ 5071032 w 6226010"/>
              <a:gd name="connsiteY8042" fmla="*/ 2073521 h 5756219"/>
              <a:gd name="connsiteX8043" fmla="*/ 5022115 w 6226010"/>
              <a:gd name="connsiteY8043" fmla="*/ 2089827 h 5756219"/>
              <a:gd name="connsiteX8044" fmla="*/ 5090055 w 6226010"/>
              <a:gd name="connsiteY8044" fmla="*/ 2095262 h 5756219"/>
              <a:gd name="connsiteX8045" fmla="*/ 5179736 w 6226010"/>
              <a:gd name="connsiteY8045" fmla="*/ 2100697 h 5756219"/>
              <a:gd name="connsiteX8046" fmla="*/ 5185097 w 6226010"/>
              <a:gd name="connsiteY8046" fmla="*/ 2105012 h 5756219"/>
              <a:gd name="connsiteX8047" fmla="*/ 5179736 w 6226010"/>
              <a:gd name="connsiteY8047" fmla="*/ 2103415 h 5756219"/>
              <a:gd name="connsiteX8048" fmla="*/ 5076467 w 6226010"/>
              <a:gd name="connsiteY8048" fmla="*/ 2111567 h 5756219"/>
              <a:gd name="connsiteX8049" fmla="*/ 5060162 w 6226010"/>
              <a:gd name="connsiteY8049" fmla="*/ 2119720 h 5756219"/>
              <a:gd name="connsiteX8050" fmla="*/ 5138972 w 6226010"/>
              <a:gd name="connsiteY8050" fmla="*/ 2312669 h 5756219"/>
              <a:gd name="connsiteX8051" fmla="*/ 5152560 w 6226010"/>
              <a:gd name="connsiteY8051" fmla="*/ 2307234 h 5756219"/>
              <a:gd name="connsiteX8052" fmla="*/ 5141689 w 6226010"/>
              <a:gd name="connsiteY8052" fmla="*/ 2182224 h 5756219"/>
              <a:gd name="connsiteX8053" fmla="*/ 5160712 w 6226010"/>
              <a:gd name="connsiteY8053" fmla="*/ 2188679 h 5756219"/>
              <a:gd name="connsiteX8054" fmla="*/ 5186963 w 6226010"/>
              <a:gd name="connsiteY8054" fmla="*/ 2177194 h 5756219"/>
              <a:gd name="connsiteX8055" fmla="*/ 5187322 w 6226010"/>
              <a:gd name="connsiteY8055" fmla="*/ 2177895 h 5756219"/>
              <a:gd name="connsiteX8056" fmla="*/ 5180755 w 6226010"/>
              <a:gd name="connsiteY8056" fmla="*/ 2190717 h 5756219"/>
              <a:gd name="connsiteX8057" fmla="*/ 5179736 w 6226010"/>
              <a:gd name="connsiteY8057" fmla="*/ 2206683 h 5756219"/>
              <a:gd name="connsiteX8058" fmla="*/ 5191625 w 6226010"/>
              <a:gd name="connsiteY8058" fmla="*/ 2186301 h 5756219"/>
              <a:gd name="connsiteX8059" fmla="*/ 5187322 w 6226010"/>
              <a:gd name="connsiteY8059" fmla="*/ 2177895 h 5756219"/>
              <a:gd name="connsiteX8060" fmla="*/ 5187888 w 6226010"/>
              <a:gd name="connsiteY8060" fmla="*/ 2176789 h 5756219"/>
              <a:gd name="connsiteX8061" fmla="*/ 5186963 w 6226010"/>
              <a:gd name="connsiteY8061" fmla="*/ 2177194 h 5756219"/>
              <a:gd name="connsiteX8062" fmla="*/ 5177018 w 6226010"/>
              <a:gd name="connsiteY8062" fmla="*/ 2157767 h 5756219"/>
              <a:gd name="connsiteX8063" fmla="*/ 5163430 w 6226010"/>
              <a:gd name="connsiteY8063" fmla="*/ 2160484 h 5756219"/>
              <a:gd name="connsiteX8064" fmla="*/ 5155277 w 6226010"/>
              <a:gd name="connsiteY8064" fmla="*/ 2141460 h 5756219"/>
              <a:gd name="connsiteX8065" fmla="*/ 5190606 w 6226010"/>
              <a:gd name="connsiteY8065" fmla="*/ 2122438 h 5756219"/>
              <a:gd name="connsiteX8066" fmla="*/ 5204194 w 6226010"/>
              <a:gd name="connsiteY8066" fmla="*/ 2133307 h 5756219"/>
              <a:gd name="connsiteX8067" fmla="*/ 5296592 w 6226010"/>
              <a:gd name="connsiteY8067" fmla="*/ 2174071 h 5756219"/>
              <a:gd name="connsiteX8068" fmla="*/ 5312898 w 6226010"/>
              <a:gd name="connsiteY8068" fmla="*/ 2190378 h 5756219"/>
              <a:gd name="connsiteX8069" fmla="*/ 5304745 w 6226010"/>
              <a:gd name="connsiteY8069" fmla="*/ 2195813 h 5756219"/>
              <a:gd name="connsiteX8070" fmla="*/ 5329204 w 6226010"/>
              <a:gd name="connsiteY8070" fmla="*/ 2198531 h 5756219"/>
              <a:gd name="connsiteX8071" fmla="*/ 5299310 w 6226010"/>
              <a:gd name="connsiteY8071" fmla="*/ 2217554 h 5756219"/>
              <a:gd name="connsiteX8072" fmla="*/ 5331921 w 6226010"/>
              <a:gd name="connsiteY8072" fmla="*/ 2242012 h 5756219"/>
              <a:gd name="connsiteX8073" fmla="*/ 5353662 w 6226010"/>
              <a:gd name="connsiteY8073" fmla="*/ 2242012 h 5756219"/>
              <a:gd name="connsiteX8074" fmla="*/ 5331921 w 6226010"/>
              <a:gd name="connsiteY8074" fmla="*/ 2233858 h 5756219"/>
              <a:gd name="connsiteX8075" fmla="*/ 5348227 w 6226010"/>
              <a:gd name="connsiteY8075" fmla="*/ 2220270 h 5756219"/>
              <a:gd name="connsiteX8076" fmla="*/ 5489542 w 6226010"/>
              <a:gd name="connsiteY8076" fmla="*/ 2271904 h 5756219"/>
              <a:gd name="connsiteX8077" fmla="*/ 5418884 w 6226010"/>
              <a:gd name="connsiteY8077" fmla="*/ 2293645 h 5756219"/>
              <a:gd name="connsiteX8078" fmla="*/ 5416167 w 6226010"/>
              <a:gd name="connsiteY8078" fmla="*/ 2271904 h 5756219"/>
              <a:gd name="connsiteX8079" fmla="*/ 5386273 w 6226010"/>
              <a:gd name="connsiteY8079" fmla="*/ 2280058 h 5756219"/>
              <a:gd name="connsiteX8080" fmla="*/ 5361815 w 6226010"/>
              <a:gd name="connsiteY8080" fmla="*/ 2244730 h 5756219"/>
              <a:gd name="connsiteX8081" fmla="*/ 5369968 w 6226010"/>
              <a:gd name="connsiteY8081" fmla="*/ 2269187 h 5756219"/>
              <a:gd name="connsiteX8082" fmla="*/ 5269416 w 6226010"/>
              <a:gd name="connsiteY8082" fmla="*/ 2222988 h 5756219"/>
              <a:gd name="connsiteX8083" fmla="*/ 5291157 w 6226010"/>
              <a:gd name="connsiteY8083" fmla="*/ 2244730 h 5756219"/>
              <a:gd name="connsiteX8084" fmla="*/ 5285722 w 6226010"/>
              <a:gd name="connsiteY8084" fmla="*/ 2296363 h 5756219"/>
              <a:gd name="connsiteX8085" fmla="*/ 5296592 w 6226010"/>
              <a:gd name="connsiteY8085" fmla="*/ 2421372 h 5756219"/>
              <a:gd name="connsiteX8086" fmla="*/ 5296592 w 6226010"/>
              <a:gd name="connsiteY8086" fmla="*/ 2388762 h 5756219"/>
              <a:gd name="connsiteX8087" fmla="*/ 5321051 w 6226010"/>
              <a:gd name="connsiteY8087" fmla="*/ 2402349 h 5756219"/>
              <a:gd name="connsiteX8088" fmla="*/ 5369968 w 6226010"/>
              <a:gd name="connsiteY8088" fmla="*/ 2413220 h 5756219"/>
              <a:gd name="connsiteX8089" fmla="*/ 5399861 w 6226010"/>
              <a:gd name="connsiteY8089" fmla="*/ 2383327 h 5756219"/>
              <a:gd name="connsiteX8090" fmla="*/ 5394426 w 6226010"/>
              <a:gd name="connsiteY8090" fmla="*/ 2415937 h 5756219"/>
              <a:gd name="connsiteX8091" fmla="*/ 5427037 w 6226010"/>
              <a:gd name="connsiteY8091" fmla="*/ 2418655 h 5756219"/>
              <a:gd name="connsiteX8092" fmla="*/ 5440625 w 6226010"/>
              <a:gd name="connsiteY8092" fmla="*/ 2358868 h 5756219"/>
              <a:gd name="connsiteX8093" fmla="*/ 5432472 w 6226010"/>
              <a:gd name="connsiteY8093" fmla="*/ 2402349 h 5756219"/>
              <a:gd name="connsiteX8094" fmla="*/ 5446060 w 6226010"/>
              <a:gd name="connsiteY8094" fmla="*/ 2399632 h 5756219"/>
              <a:gd name="connsiteX8095" fmla="*/ 5443342 w 6226010"/>
              <a:gd name="connsiteY8095" fmla="*/ 2418655 h 5756219"/>
              <a:gd name="connsiteX8096" fmla="*/ 5462366 w 6226010"/>
              <a:gd name="connsiteY8096" fmla="*/ 2415937 h 5756219"/>
              <a:gd name="connsiteX8097" fmla="*/ 5437907 w 6226010"/>
              <a:gd name="connsiteY8097" fmla="*/ 2426807 h 5756219"/>
              <a:gd name="connsiteX8098" fmla="*/ 5413449 w 6226010"/>
              <a:gd name="connsiteY8098" fmla="*/ 2453983 h 5756219"/>
              <a:gd name="connsiteX8099" fmla="*/ 5424319 w 6226010"/>
              <a:gd name="connsiteY8099" fmla="*/ 2432244 h 5756219"/>
              <a:gd name="connsiteX8100" fmla="*/ 5348227 w 6226010"/>
              <a:gd name="connsiteY8100" fmla="*/ 2443113 h 5756219"/>
              <a:gd name="connsiteX8101" fmla="*/ 5372685 w 6226010"/>
              <a:gd name="connsiteY8101" fmla="*/ 2464854 h 5756219"/>
              <a:gd name="connsiteX8102" fmla="*/ 5397143 w 6226010"/>
              <a:gd name="connsiteY8102" fmla="*/ 2448549 h 5756219"/>
              <a:gd name="connsiteX8103" fmla="*/ 5421602 w 6226010"/>
              <a:gd name="connsiteY8103" fmla="*/ 2470290 h 5756219"/>
              <a:gd name="connsiteX8104" fmla="*/ 5402579 w 6226010"/>
              <a:gd name="connsiteY8104" fmla="*/ 2462136 h 5756219"/>
              <a:gd name="connsiteX8105" fmla="*/ 5413449 w 6226010"/>
              <a:gd name="connsiteY8105" fmla="*/ 2470290 h 5756219"/>
              <a:gd name="connsiteX8106" fmla="*/ 5380838 w 6226010"/>
              <a:gd name="connsiteY8106" fmla="*/ 2475725 h 5756219"/>
              <a:gd name="connsiteX8107" fmla="*/ 5375403 w 6226010"/>
              <a:gd name="connsiteY8107" fmla="*/ 2483877 h 5756219"/>
              <a:gd name="connsiteX8108" fmla="*/ 5397143 w 6226010"/>
              <a:gd name="connsiteY8108" fmla="*/ 2494747 h 5756219"/>
              <a:gd name="connsiteX8109" fmla="*/ 5424319 w 6226010"/>
              <a:gd name="connsiteY8109" fmla="*/ 2489312 h 5756219"/>
              <a:gd name="connsiteX8110" fmla="*/ 5408014 w 6226010"/>
              <a:gd name="connsiteY8110" fmla="*/ 2497465 h 5756219"/>
              <a:gd name="connsiteX8111" fmla="*/ 5443342 w 6226010"/>
              <a:gd name="connsiteY8111" fmla="*/ 2489312 h 5756219"/>
              <a:gd name="connsiteX8112" fmla="*/ 5486824 w 6226010"/>
              <a:gd name="connsiteY8112" fmla="*/ 2497465 h 5756219"/>
              <a:gd name="connsiteX8113" fmla="*/ 5467801 w 6226010"/>
              <a:gd name="connsiteY8113" fmla="*/ 2500182 h 5756219"/>
              <a:gd name="connsiteX8114" fmla="*/ 5478671 w 6226010"/>
              <a:gd name="connsiteY8114" fmla="*/ 2459418 h 5756219"/>
              <a:gd name="connsiteX8115" fmla="*/ 5554764 w 6226010"/>
              <a:gd name="connsiteY8115" fmla="*/ 2426807 h 5756219"/>
              <a:gd name="connsiteX8116" fmla="*/ 5511282 w 6226010"/>
              <a:gd name="connsiteY8116" fmla="*/ 2462136 h 5756219"/>
              <a:gd name="connsiteX8117" fmla="*/ 5524870 w 6226010"/>
              <a:gd name="connsiteY8117" fmla="*/ 2475725 h 5756219"/>
              <a:gd name="connsiteX8118" fmla="*/ 5511282 w 6226010"/>
              <a:gd name="connsiteY8118" fmla="*/ 2497465 h 5756219"/>
              <a:gd name="connsiteX8119" fmla="*/ 5492259 w 6226010"/>
              <a:gd name="connsiteY8119" fmla="*/ 2497465 h 5756219"/>
              <a:gd name="connsiteX8120" fmla="*/ 5494977 w 6226010"/>
              <a:gd name="connsiteY8120" fmla="*/ 2516488 h 5756219"/>
              <a:gd name="connsiteX8121" fmla="*/ 5424319 w 6226010"/>
              <a:gd name="connsiteY8121" fmla="*/ 2587145 h 5756219"/>
              <a:gd name="connsiteX8122" fmla="*/ 5503129 w 6226010"/>
              <a:gd name="connsiteY8122" fmla="*/ 2557252 h 5756219"/>
              <a:gd name="connsiteX8123" fmla="*/ 5494977 w 6226010"/>
              <a:gd name="connsiteY8123" fmla="*/ 2543664 h 5756219"/>
              <a:gd name="connsiteX8124" fmla="*/ 5527588 w 6226010"/>
              <a:gd name="connsiteY8124" fmla="*/ 2540946 h 5756219"/>
              <a:gd name="connsiteX8125" fmla="*/ 5505847 w 6226010"/>
              <a:gd name="connsiteY8125" fmla="*/ 2532794 h 5756219"/>
              <a:gd name="connsiteX8126" fmla="*/ 5530305 w 6226010"/>
              <a:gd name="connsiteY8126" fmla="*/ 2513770 h 5756219"/>
              <a:gd name="connsiteX8127" fmla="*/ 5538458 w 6226010"/>
              <a:gd name="connsiteY8127" fmla="*/ 2521923 h 5756219"/>
              <a:gd name="connsiteX8128" fmla="*/ 5549329 w 6226010"/>
              <a:gd name="connsiteY8128" fmla="*/ 2505618 h 5756219"/>
              <a:gd name="connsiteX8129" fmla="*/ 5573787 w 6226010"/>
              <a:gd name="connsiteY8129" fmla="*/ 2519206 h 5756219"/>
              <a:gd name="connsiteX8130" fmla="*/ 5552046 w 6226010"/>
              <a:gd name="connsiteY8130" fmla="*/ 2540946 h 5756219"/>
              <a:gd name="connsiteX8131" fmla="*/ 5606398 w 6226010"/>
              <a:gd name="connsiteY8131" fmla="*/ 2554534 h 5756219"/>
              <a:gd name="connsiteX8132" fmla="*/ 5625421 w 6226010"/>
              <a:gd name="connsiteY8132" fmla="*/ 2540946 h 5756219"/>
              <a:gd name="connsiteX8133" fmla="*/ 5587375 w 6226010"/>
              <a:gd name="connsiteY8133" fmla="*/ 2557252 h 5756219"/>
              <a:gd name="connsiteX8134" fmla="*/ 5595528 w 6226010"/>
              <a:gd name="connsiteY8134" fmla="*/ 2581710 h 5756219"/>
              <a:gd name="connsiteX8135" fmla="*/ 5658032 w 6226010"/>
              <a:gd name="connsiteY8135" fmla="*/ 2600734 h 5756219"/>
              <a:gd name="connsiteX8136" fmla="*/ 5541176 w 6226010"/>
              <a:gd name="connsiteY8136" fmla="*/ 2625192 h 5756219"/>
              <a:gd name="connsiteX8137" fmla="*/ 5500412 w 6226010"/>
              <a:gd name="connsiteY8137" fmla="*/ 2617039 h 5756219"/>
              <a:gd name="connsiteX8138" fmla="*/ 5533023 w 6226010"/>
              <a:gd name="connsiteY8138" fmla="*/ 2581710 h 5756219"/>
              <a:gd name="connsiteX8139" fmla="*/ 5557481 w 6226010"/>
              <a:gd name="connsiteY8139" fmla="*/ 2573557 h 5756219"/>
              <a:gd name="connsiteX8140" fmla="*/ 5524870 w 6226010"/>
              <a:gd name="connsiteY8140" fmla="*/ 2573557 h 5756219"/>
              <a:gd name="connsiteX8141" fmla="*/ 5459648 w 6226010"/>
              <a:gd name="connsiteY8141" fmla="*/ 2603451 h 5756219"/>
              <a:gd name="connsiteX8142" fmla="*/ 5383556 w 6226010"/>
              <a:gd name="connsiteY8142" fmla="*/ 2652368 h 5756219"/>
              <a:gd name="connsiteX8143" fmla="*/ 5459648 w 6226010"/>
              <a:gd name="connsiteY8143" fmla="*/ 2619757 h 5756219"/>
              <a:gd name="connsiteX8144" fmla="*/ 5440625 w 6226010"/>
              <a:gd name="connsiteY8144" fmla="*/ 2633345 h 5756219"/>
              <a:gd name="connsiteX8145" fmla="*/ 5473236 w 6226010"/>
              <a:gd name="connsiteY8145" fmla="*/ 2636062 h 5756219"/>
              <a:gd name="connsiteX8146" fmla="*/ 5492259 w 6226010"/>
              <a:gd name="connsiteY8146" fmla="*/ 2611604 h 5756219"/>
              <a:gd name="connsiteX8147" fmla="*/ 5484106 w 6226010"/>
              <a:gd name="connsiteY8147" fmla="*/ 2630627 h 5756219"/>
              <a:gd name="connsiteX8148" fmla="*/ 5500412 w 6226010"/>
              <a:gd name="connsiteY8148" fmla="*/ 2630627 h 5756219"/>
              <a:gd name="connsiteX8149" fmla="*/ 5451495 w 6226010"/>
              <a:gd name="connsiteY8149" fmla="*/ 2663238 h 5756219"/>
              <a:gd name="connsiteX8150" fmla="*/ 5574551 w 6226010"/>
              <a:gd name="connsiteY8150" fmla="*/ 2674703 h 5756219"/>
              <a:gd name="connsiteX8151" fmla="*/ 5618174 w 6226010"/>
              <a:gd name="connsiteY8151" fmla="*/ 2662542 h 5756219"/>
              <a:gd name="connsiteX8152" fmla="*/ 5617268 w 6226010"/>
              <a:gd name="connsiteY8152" fmla="*/ 2663238 h 5756219"/>
              <a:gd name="connsiteX8153" fmla="*/ 5698796 w 6226010"/>
              <a:gd name="connsiteY8153" fmla="*/ 2668673 h 5756219"/>
              <a:gd name="connsiteX8154" fmla="*/ 5644444 w 6226010"/>
              <a:gd name="connsiteY8154" fmla="*/ 2674108 h 5756219"/>
              <a:gd name="connsiteX8155" fmla="*/ 5658032 w 6226010"/>
              <a:gd name="connsiteY8155" fmla="*/ 2698567 h 5756219"/>
              <a:gd name="connsiteX8156" fmla="*/ 5736843 w 6226010"/>
              <a:gd name="connsiteY8156" fmla="*/ 2644216 h 5756219"/>
              <a:gd name="connsiteX8157" fmla="*/ 5734125 w 6226010"/>
              <a:gd name="connsiteY8157" fmla="*/ 2633345 h 5756219"/>
              <a:gd name="connsiteX8158" fmla="*/ 5753148 w 6226010"/>
              <a:gd name="connsiteY8158" fmla="*/ 2619757 h 5756219"/>
              <a:gd name="connsiteX8159" fmla="*/ 5693361 w 6226010"/>
              <a:gd name="connsiteY8159" fmla="*/ 2617039 h 5756219"/>
              <a:gd name="connsiteX8160" fmla="*/ 5651238 w 6226010"/>
              <a:gd name="connsiteY8160" fmla="*/ 2637082 h 5756219"/>
              <a:gd name="connsiteX8161" fmla="*/ 5623410 w 6226010"/>
              <a:gd name="connsiteY8161" fmla="*/ 2658510 h 5756219"/>
              <a:gd name="connsiteX8162" fmla="*/ 5603680 w 6226010"/>
              <a:gd name="connsiteY8162" fmla="*/ 2638780 h 5756219"/>
              <a:gd name="connsiteX8163" fmla="*/ 5584657 w 6226010"/>
              <a:gd name="connsiteY8163" fmla="*/ 2655086 h 5756219"/>
              <a:gd name="connsiteX8164" fmla="*/ 5581940 w 6226010"/>
              <a:gd name="connsiteY8164" fmla="*/ 2636062 h 5756219"/>
              <a:gd name="connsiteX8165" fmla="*/ 5560199 w 6226010"/>
              <a:gd name="connsiteY8165" fmla="*/ 2638780 h 5756219"/>
              <a:gd name="connsiteX8166" fmla="*/ 5573787 w 6226010"/>
              <a:gd name="connsiteY8166" fmla="*/ 2617039 h 5756219"/>
              <a:gd name="connsiteX8167" fmla="*/ 5554764 w 6226010"/>
              <a:gd name="connsiteY8167" fmla="*/ 2611604 h 5756219"/>
              <a:gd name="connsiteX8168" fmla="*/ 5603680 w 6226010"/>
              <a:gd name="connsiteY8168" fmla="*/ 2603451 h 5756219"/>
              <a:gd name="connsiteX8169" fmla="*/ 5584657 w 6226010"/>
              <a:gd name="connsiteY8169" fmla="*/ 2625192 h 5756219"/>
              <a:gd name="connsiteX8170" fmla="*/ 5590092 w 6226010"/>
              <a:gd name="connsiteY8170" fmla="*/ 2630627 h 5756219"/>
              <a:gd name="connsiteX8171" fmla="*/ 5606398 w 6226010"/>
              <a:gd name="connsiteY8171" fmla="*/ 2617039 h 5756219"/>
              <a:gd name="connsiteX8172" fmla="*/ 5617268 w 6226010"/>
              <a:gd name="connsiteY8172" fmla="*/ 2641497 h 5756219"/>
              <a:gd name="connsiteX8173" fmla="*/ 5704231 w 6226010"/>
              <a:gd name="connsiteY8173" fmla="*/ 2592581 h 5756219"/>
              <a:gd name="connsiteX8174" fmla="*/ 5785759 w 6226010"/>
              <a:gd name="connsiteY8174" fmla="*/ 2595299 h 5756219"/>
              <a:gd name="connsiteX8175" fmla="*/ 5769454 w 6226010"/>
              <a:gd name="connsiteY8175" fmla="*/ 2617039 h 5756219"/>
              <a:gd name="connsiteX8176" fmla="*/ 5793912 w 6226010"/>
              <a:gd name="connsiteY8176" fmla="*/ 2622475 h 5756219"/>
              <a:gd name="connsiteX8177" fmla="*/ 5747713 w 6226010"/>
              <a:gd name="connsiteY8177" fmla="*/ 2668673 h 5756219"/>
              <a:gd name="connsiteX8178" fmla="*/ 5725972 w 6226010"/>
              <a:gd name="connsiteY8178" fmla="*/ 2668673 h 5756219"/>
              <a:gd name="connsiteX8179" fmla="*/ 5766736 w 6226010"/>
              <a:gd name="connsiteY8179" fmla="*/ 2676828 h 5756219"/>
              <a:gd name="connsiteX8180" fmla="*/ 5783042 w 6226010"/>
              <a:gd name="connsiteY8180" fmla="*/ 2733896 h 5756219"/>
              <a:gd name="connsiteX8181" fmla="*/ 5755866 w 6226010"/>
              <a:gd name="connsiteY8181" fmla="*/ 2717591 h 5756219"/>
              <a:gd name="connsiteX8182" fmla="*/ 5731407 w 6226010"/>
              <a:gd name="connsiteY8182" fmla="*/ 2742048 h 5756219"/>
              <a:gd name="connsiteX8183" fmla="*/ 5712384 w 6226010"/>
              <a:gd name="connsiteY8183" fmla="*/ 2728461 h 5756219"/>
              <a:gd name="connsiteX8184" fmla="*/ 5690643 w 6226010"/>
              <a:gd name="connsiteY8184" fmla="*/ 2744766 h 5756219"/>
              <a:gd name="connsiteX8185" fmla="*/ 5701514 w 6226010"/>
              <a:gd name="connsiteY8185" fmla="*/ 2736613 h 5756219"/>
              <a:gd name="connsiteX8186" fmla="*/ 5693361 w 6226010"/>
              <a:gd name="connsiteY8186" fmla="*/ 2717591 h 5756219"/>
              <a:gd name="connsiteX8187" fmla="*/ 5671620 w 6226010"/>
              <a:gd name="connsiteY8187" fmla="*/ 2717591 h 5756219"/>
              <a:gd name="connsiteX8188" fmla="*/ 5685208 w 6226010"/>
              <a:gd name="connsiteY8188" fmla="*/ 2758354 h 5756219"/>
              <a:gd name="connsiteX8189" fmla="*/ 5712384 w 6226010"/>
              <a:gd name="connsiteY8189" fmla="*/ 2750201 h 5756219"/>
              <a:gd name="connsiteX8190" fmla="*/ 5704231 w 6226010"/>
              <a:gd name="connsiteY8190" fmla="*/ 2761071 h 5756219"/>
              <a:gd name="connsiteX8191" fmla="*/ 5750431 w 6226010"/>
              <a:gd name="connsiteY8191" fmla="*/ 2752919 h 5756219"/>
              <a:gd name="connsiteX8192" fmla="*/ 5764019 w 6226010"/>
              <a:gd name="connsiteY8192" fmla="*/ 2763789 h 5756219"/>
              <a:gd name="connsiteX8193" fmla="*/ 5755866 w 6226010"/>
              <a:gd name="connsiteY8193" fmla="*/ 2774659 h 5756219"/>
              <a:gd name="connsiteX8194" fmla="*/ 5774889 w 6226010"/>
              <a:gd name="connsiteY8194" fmla="*/ 2796400 h 5756219"/>
              <a:gd name="connsiteX8195" fmla="*/ 5744995 w 6226010"/>
              <a:gd name="connsiteY8195" fmla="*/ 2777377 h 5756219"/>
              <a:gd name="connsiteX8196" fmla="*/ 5728690 w 6226010"/>
              <a:gd name="connsiteY8196" fmla="*/ 2788247 h 5756219"/>
              <a:gd name="connsiteX8197" fmla="*/ 5780324 w 6226010"/>
              <a:gd name="connsiteY8197" fmla="*/ 2820858 h 5756219"/>
              <a:gd name="connsiteX8198" fmla="*/ 5706949 w 6226010"/>
              <a:gd name="connsiteY8198" fmla="*/ 2780094 h 5756219"/>
              <a:gd name="connsiteX8199" fmla="*/ 5693361 w 6226010"/>
              <a:gd name="connsiteY8199" fmla="*/ 2790965 h 5756219"/>
              <a:gd name="connsiteX8200" fmla="*/ 5709667 w 6226010"/>
              <a:gd name="connsiteY8200" fmla="*/ 2796400 h 5756219"/>
              <a:gd name="connsiteX8201" fmla="*/ 5679773 w 6226010"/>
              <a:gd name="connsiteY8201" fmla="*/ 2804554 h 5756219"/>
              <a:gd name="connsiteX8202" fmla="*/ 5674338 w 6226010"/>
              <a:gd name="connsiteY8202" fmla="*/ 2777377 h 5756219"/>
              <a:gd name="connsiteX8203" fmla="*/ 5639009 w 6226010"/>
              <a:gd name="connsiteY8203" fmla="*/ 2766507 h 5756219"/>
              <a:gd name="connsiteX8204" fmla="*/ 5611833 w 6226010"/>
              <a:gd name="connsiteY8204" fmla="*/ 2780094 h 5756219"/>
              <a:gd name="connsiteX8205" fmla="*/ 5590092 w 6226010"/>
              <a:gd name="connsiteY8205" fmla="*/ 2744766 h 5756219"/>
              <a:gd name="connsiteX8206" fmla="*/ 5647162 w 6226010"/>
              <a:gd name="connsiteY8206" fmla="*/ 2761071 h 5756219"/>
              <a:gd name="connsiteX8207" fmla="*/ 5671620 w 6226010"/>
              <a:gd name="connsiteY8207" fmla="*/ 2739331 h 5756219"/>
              <a:gd name="connsiteX8208" fmla="*/ 5641727 w 6226010"/>
              <a:gd name="connsiteY8208" fmla="*/ 2720307 h 5756219"/>
              <a:gd name="connsiteX8209" fmla="*/ 5617268 w 6226010"/>
              <a:gd name="connsiteY8209" fmla="*/ 2742048 h 5756219"/>
              <a:gd name="connsiteX8210" fmla="*/ 5619986 w 6226010"/>
              <a:gd name="connsiteY8210" fmla="*/ 2725743 h 5756219"/>
              <a:gd name="connsiteX8211" fmla="*/ 5584657 w 6226010"/>
              <a:gd name="connsiteY8211" fmla="*/ 2728461 h 5756219"/>
              <a:gd name="connsiteX8212" fmla="*/ 5611833 w 6226010"/>
              <a:gd name="connsiteY8212" fmla="*/ 2717591 h 5756219"/>
              <a:gd name="connsiteX8213" fmla="*/ 5568352 w 6226010"/>
              <a:gd name="connsiteY8213" fmla="*/ 2695849 h 5756219"/>
              <a:gd name="connsiteX8214" fmla="*/ 5524870 w 6226010"/>
              <a:gd name="connsiteY8214" fmla="*/ 2717591 h 5756219"/>
              <a:gd name="connsiteX8215" fmla="*/ 5554764 w 6226010"/>
              <a:gd name="connsiteY8215" fmla="*/ 2693132 h 5756219"/>
              <a:gd name="connsiteX8216" fmla="*/ 5446060 w 6226010"/>
              <a:gd name="connsiteY8216" fmla="*/ 2679543 h 5756219"/>
              <a:gd name="connsiteX8217" fmla="*/ 5435190 w 6226010"/>
              <a:gd name="connsiteY8217" fmla="*/ 2698567 h 5756219"/>
              <a:gd name="connsiteX8218" fmla="*/ 5475954 w 6226010"/>
              <a:gd name="connsiteY8218" fmla="*/ 2733896 h 5756219"/>
              <a:gd name="connsiteX8219" fmla="*/ 5467801 w 6226010"/>
              <a:gd name="connsiteY8219" fmla="*/ 2706720 h 5756219"/>
              <a:gd name="connsiteX8220" fmla="*/ 5492259 w 6226010"/>
              <a:gd name="connsiteY8220" fmla="*/ 2725743 h 5756219"/>
              <a:gd name="connsiteX8221" fmla="*/ 5494977 w 6226010"/>
              <a:gd name="connsiteY8221" fmla="*/ 2709438 h 5756219"/>
              <a:gd name="connsiteX8222" fmla="*/ 5522153 w 6226010"/>
              <a:gd name="connsiteY8222" fmla="*/ 2709438 h 5756219"/>
              <a:gd name="connsiteX8223" fmla="*/ 5516717 w 6226010"/>
              <a:gd name="connsiteY8223" fmla="*/ 2725743 h 5756219"/>
              <a:gd name="connsiteX8224" fmla="*/ 5552046 w 6226010"/>
              <a:gd name="connsiteY8224" fmla="*/ 2744766 h 5756219"/>
              <a:gd name="connsiteX8225" fmla="*/ 5497694 w 6226010"/>
              <a:gd name="connsiteY8225" fmla="*/ 2755636 h 5756219"/>
              <a:gd name="connsiteX8226" fmla="*/ 5503129 w 6226010"/>
              <a:gd name="connsiteY8226" fmla="*/ 2780094 h 5756219"/>
              <a:gd name="connsiteX8227" fmla="*/ 5516717 w 6226010"/>
              <a:gd name="connsiteY8227" fmla="*/ 2766507 h 5756219"/>
              <a:gd name="connsiteX8228" fmla="*/ 5557481 w 6226010"/>
              <a:gd name="connsiteY8228" fmla="*/ 2807271 h 5756219"/>
              <a:gd name="connsiteX8229" fmla="*/ 5533023 w 6226010"/>
              <a:gd name="connsiteY8229" fmla="*/ 2788247 h 5756219"/>
              <a:gd name="connsiteX8230" fmla="*/ 5533023 w 6226010"/>
              <a:gd name="connsiteY8230" fmla="*/ 2826293 h 5756219"/>
              <a:gd name="connsiteX8231" fmla="*/ 5579222 w 6226010"/>
              <a:gd name="connsiteY8231" fmla="*/ 2812706 h 5756219"/>
              <a:gd name="connsiteX8232" fmla="*/ 5584657 w 6226010"/>
              <a:gd name="connsiteY8232" fmla="*/ 2826293 h 5756219"/>
              <a:gd name="connsiteX8233" fmla="*/ 5600963 w 6226010"/>
              <a:gd name="connsiteY8233" fmla="*/ 2790965 h 5756219"/>
              <a:gd name="connsiteX8234" fmla="*/ 5617268 w 6226010"/>
              <a:gd name="connsiteY8234" fmla="*/ 2809988 h 5756219"/>
              <a:gd name="connsiteX8235" fmla="*/ 5598245 w 6226010"/>
              <a:gd name="connsiteY8235" fmla="*/ 2820858 h 5756219"/>
              <a:gd name="connsiteX8236" fmla="*/ 5595528 w 6226010"/>
              <a:gd name="connsiteY8236" fmla="*/ 2848035 h 5756219"/>
              <a:gd name="connsiteX8237" fmla="*/ 5619986 w 6226010"/>
              <a:gd name="connsiteY8237" fmla="*/ 2837165 h 5756219"/>
              <a:gd name="connsiteX8238" fmla="*/ 5609115 w 6226010"/>
              <a:gd name="connsiteY8238" fmla="*/ 2858905 h 5756219"/>
              <a:gd name="connsiteX8239" fmla="*/ 5630856 w 6226010"/>
              <a:gd name="connsiteY8239" fmla="*/ 2867058 h 5756219"/>
              <a:gd name="connsiteX8240" fmla="*/ 5600963 w 6226010"/>
              <a:gd name="connsiteY8240" fmla="*/ 2883363 h 5756219"/>
              <a:gd name="connsiteX8241" fmla="*/ 5581940 w 6226010"/>
              <a:gd name="connsiteY8241" fmla="*/ 2880645 h 5756219"/>
              <a:gd name="connsiteX8242" fmla="*/ 5600963 w 6226010"/>
              <a:gd name="connsiteY8242" fmla="*/ 2902386 h 5756219"/>
              <a:gd name="connsiteX8243" fmla="*/ 5598245 w 6226010"/>
              <a:gd name="connsiteY8243" fmla="*/ 2924127 h 5756219"/>
              <a:gd name="connsiteX8244" fmla="*/ 5565634 w 6226010"/>
              <a:gd name="connsiteY8244" fmla="*/ 2886081 h 5756219"/>
              <a:gd name="connsiteX8245" fmla="*/ 5576504 w 6226010"/>
              <a:gd name="connsiteY8245" fmla="*/ 2864340 h 5756219"/>
              <a:gd name="connsiteX8246" fmla="*/ 5549329 w 6226010"/>
              <a:gd name="connsiteY8246" fmla="*/ 2886081 h 5756219"/>
              <a:gd name="connsiteX8247" fmla="*/ 5497694 w 6226010"/>
              <a:gd name="connsiteY8247" fmla="*/ 2804554 h 5756219"/>
              <a:gd name="connsiteX8248" fmla="*/ 5494977 w 6226010"/>
              <a:gd name="connsiteY8248" fmla="*/ 2826293 h 5756219"/>
              <a:gd name="connsiteX8249" fmla="*/ 5473236 w 6226010"/>
              <a:gd name="connsiteY8249" fmla="*/ 2809988 h 5756219"/>
              <a:gd name="connsiteX8250" fmla="*/ 5489542 w 6226010"/>
              <a:gd name="connsiteY8250" fmla="*/ 2793682 h 5756219"/>
              <a:gd name="connsiteX8251" fmla="*/ 5467801 w 6226010"/>
              <a:gd name="connsiteY8251" fmla="*/ 2780094 h 5756219"/>
              <a:gd name="connsiteX8252" fmla="*/ 5475954 w 6226010"/>
              <a:gd name="connsiteY8252" fmla="*/ 2769224 h 5756219"/>
              <a:gd name="connsiteX8253" fmla="*/ 5459648 w 6226010"/>
              <a:gd name="connsiteY8253" fmla="*/ 2747483 h 5756219"/>
              <a:gd name="connsiteX8254" fmla="*/ 5443342 w 6226010"/>
              <a:gd name="connsiteY8254" fmla="*/ 2761071 h 5756219"/>
              <a:gd name="connsiteX8255" fmla="*/ 5440625 w 6226010"/>
              <a:gd name="connsiteY8255" fmla="*/ 2733896 h 5756219"/>
              <a:gd name="connsiteX8256" fmla="*/ 5432472 w 6226010"/>
              <a:gd name="connsiteY8256" fmla="*/ 2766507 h 5756219"/>
              <a:gd name="connsiteX8257" fmla="*/ 5462366 w 6226010"/>
              <a:gd name="connsiteY8257" fmla="*/ 2769224 h 5756219"/>
              <a:gd name="connsiteX8258" fmla="*/ 5465083 w 6226010"/>
              <a:gd name="connsiteY8258" fmla="*/ 2782812 h 5756219"/>
              <a:gd name="connsiteX8259" fmla="*/ 5440625 w 6226010"/>
              <a:gd name="connsiteY8259" fmla="*/ 2780094 h 5756219"/>
              <a:gd name="connsiteX8260" fmla="*/ 5462366 w 6226010"/>
              <a:gd name="connsiteY8260" fmla="*/ 2815423 h 5756219"/>
              <a:gd name="connsiteX8261" fmla="*/ 5448778 w 6226010"/>
              <a:gd name="connsiteY8261" fmla="*/ 2820858 h 5756219"/>
              <a:gd name="connsiteX8262" fmla="*/ 5418884 w 6226010"/>
              <a:gd name="connsiteY8262" fmla="*/ 2782812 h 5756219"/>
              <a:gd name="connsiteX8263" fmla="*/ 5410731 w 6226010"/>
              <a:gd name="connsiteY8263" fmla="*/ 2728461 h 5756219"/>
              <a:gd name="connsiteX8264" fmla="*/ 5386273 w 6226010"/>
              <a:gd name="connsiteY8264" fmla="*/ 2733896 h 5756219"/>
              <a:gd name="connsiteX8265" fmla="*/ 5386273 w 6226010"/>
              <a:gd name="connsiteY8265" fmla="*/ 2750201 h 5756219"/>
              <a:gd name="connsiteX8266" fmla="*/ 5359097 w 6226010"/>
              <a:gd name="connsiteY8266" fmla="*/ 2750201 h 5756219"/>
              <a:gd name="connsiteX8267" fmla="*/ 5410731 w 6226010"/>
              <a:gd name="connsiteY8267" fmla="*/ 2771942 h 5756219"/>
              <a:gd name="connsiteX8268" fmla="*/ 5397143 w 6226010"/>
              <a:gd name="connsiteY8268" fmla="*/ 2788247 h 5756219"/>
              <a:gd name="connsiteX8269" fmla="*/ 5342792 w 6226010"/>
              <a:gd name="connsiteY8269" fmla="*/ 2769224 h 5756219"/>
              <a:gd name="connsiteX8270" fmla="*/ 5367250 w 6226010"/>
              <a:gd name="connsiteY8270" fmla="*/ 2796400 h 5756219"/>
              <a:gd name="connsiteX8271" fmla="*/ 5383556 w 6226010"/>
              <a:gd name="connsiteY8271" fmla="*/ 2785530 h 5756219"/>
              <a:gd name="connsiteX8272" fmla="*/ 5410731 w 6226010"/>
              <a:gd name="connsiteY8272" fmla="*/ 2899669 h 5756219"/>
              <a:gd name="connsiteX8273" fmla="*/ 5424319 w 6226010"/>
              <a:gd name="connsiteY8273" fmla="*/ 2850752 h 5756219"/>
              <a:gd name="connsiteX8274" fmla="*/ 5397143 w 6226010"/>
              <a:gd name="connsiteY8274" fmla="*/ 2834447 h 5756219"/>
              <a:gd name="connsiteX8275" fmla="*/ 5418884 w 6226010"/>
              <a:gd name="connsiteY8275" fmla="*/ 2831729 h 5756219"/>
              <a:gd name="connsiteX8276" fmla="*/ 5437907 w 6226010"/>
              <a:gd name="connsiteY8276" fmla="*/ 2864340 h 5756219"/>
              <a:gd name="connsiteX8277" fmla="*/ 5421602 w 6226010"/>
              <a:gd name="connsiteY8277" fmla="*/ 2880645 h 5756219"/>
              <a:gd name="connsiteX8278" fmla="*/ 5440625 w 6226010"/>
              <a:gd name="connsiteY8278" fmla="*/ 2883363 h 5756219"/>
              <a:gd name="connsiteX8279" fmla="*/ 5446060 w 6226010"/>
              <a:gd name="connsiteY8279" fmla="*/ 2872493 h 5756219"/>
              <a:gd name="connsiteX8280" fmla="*/ 5462366 w 6226010"/>
              <a:gd name="connsiteY8280" fmla="*/ 2896951 h 5756219"/>
              <a:gd name="connsiteX8281" fmla="*/ 5448778 w 6226010"/>
              <a:gd name="connsiteY8281" fmla="*/ 2894233 h 5756219"/>
              <a:gd name="connsiteX8282" fmla="*/ 5437907 w 6226010"/>
              <a:gd name="connsiteY8282" fmla="*/ 2902386 h 5756219"/>
              <a:gd name="connsiteX8283" fmla="*/ 5481389 w 6226010"/>
              <a:gd name="connsiteY8283" fmla="*/ 2934997 h 5756219"/>
              <a:gd name="connsiteX8284" fmla="*/ 5454213 w 6226010"/>
              <a:gd name="connsiteY8284" fmla="*/ 2918692 h 5756219"/>
              <a:gd name="connsiteX8285" fmla="*/ 5446060 w 6226010"/>
              <a:gd name="connsiteY8285" fmla="*/ 2997502 h 5756219"/>
              <a:gd name="connsiteX8286" fmla="*/ 5399861 w 6226010"/>
              <a:gd name="connsiteY8286" fmla="*/ 2986632 h 5756219"/>
              <a:gd name="connsiteX8287" fmla="*/ 5418884 w 6226010"/>
              <a:gd name="connsiteY8287" fmla="*/ 2983914 h 5756219"/>
              <a:gd name="connsiteX8288" fmla="*/ 5397143 w 6226010"/>
              <a:gd name="connsiteY8288" fmla="*/ 2943150 h 5756219"/>
              <a:gd name="connsiteX8289" fmla="*/ 5391708 w 6226010"/>
              <a:gd name="connsiteY8289" fmla="*/ 2989349 h 5756219"/>
              <a:gd name="connsiteX8290" fmla="*/ 5375403 w 6226010"/>
              <a:gd name="connsiteY8290" fmla="*/ 2934997 h 5756219"/>
              <a:gd name="connsiteX8291" fmla="*/ 5364532 w 6226010"/>
              <a:gd name="connsiteY8291" fmla="*/ 2951303 h 5756219"/>
              <a:gd name="connsiteX8292" fmla="*/ 5367250 w 6226010"/>
              <a:gd name="connsiteY8292" fmla="*/ 2910539 h 5756219"/>
              <a:gd name="connsiteX8293" fmla="*/ 5383556 w 6226010"/>
              <a:gd name="connsiteY8293" fmla="*/ 2934997 h 5756219"/>
              <a:gd name="connsiteX8294" fmla="*/ 5380838 w 6226010"/>
              <a:gd name="connsiteY8294" fmla="*/ 2880645 h 5756219"/>
              <a:gd name="connsiteX8295" fmla="*/ 5369968 w 6226010"/>
              <a:gd name="connsiteY8295" fmla="*/ 2902386 h 5756219"/>
              <a:gd name="connsiteX8296" fmla="*/ 5348227 w 6226010"/>
              <a:gd name="connsiteY8296" fmla="*/ 2886081 h 5756219"/>
              <a:gd name="connsiteX8297" fmla="*/ 5367250 w 6226010"/>
              <a:gd name="connsiteY8297" fmla="*/ 2880645 h 5756219"/>
              <a:gd name="connsiteX8298" fmla="*/ 5369968 w 6226010"/>
              <a:gd name="connsiteY8298" fmla="*/ 2861623 h 5756219"/>
              <a:gd name="connsiteX8299" fmla="*/ 5356380 w 6226010"/>
              <a:gd name="connsiteY8299" fmla="*/ 2858905 h 5756219"/>
              <a:gd name="connsiteX8300" fmla="*/ 5372685 w 6226010"/>
              <a:gd name="connsiteY8300" fmla="*/ 2831729 h 5756219"/>
              <a:gd name="connsiteX8301" fmla="*/ 5348227 w 6226010"/>
              <a:gd name="connsiteY8301" fmla="*/ 2826293 h 5756219"/>
              <a:gd name="connsiteX8302" fmla="*/ 5263981 w 6226010"/>
              <a:gd name="connsiteY8302" fmla="*/ 2755636 h 5756219"/>
              <a:gd name="connsiteX8303" fmla="*/ 5250393 w 6226010"/>
              <a:gd name="connsiteY8303" fmla="*/ 2785530 h 5756219"/>
              <a:gd name="connsiteX8304" fmla="*/ 5231370 w 6226010"/>
              <a:gd name="connsiteY8304" fmla="*/ 2837165 h 5756219"/>
              <a:gd name="connsiteX8305" fmla="*/ 5239523 w 6226010"/>
              <a:gd name="connsiteY8305" fmla="*/ 2755636 h 5756219"/>
              <a:gd name="connsiteX8306" fmla="*/ 5190606 w 6226010"/>
              <a:gd name="connsiteY8306" fmla="*/ 2807271 h 5756219"/>
              <a:gd name="connsiteX8307" fmla="*/ 5228652 w 6226010"/>
              <a:gd name="connsiteY8307" fmla="*/ 2747483 h 5756219"/>
              <a:gd name="connsiteX8308" fmla="*/ 5215064 w 6226010"/>
              <a:gd name="connsiteY8308" fmla="*/ 2684979 h 5756219"/>
              <a:gd name="connsiteX8309" fmla="*/ 5193324 w 6226010"/>
              <a:gd name="connsiteY8309" fmla="*/ 2701284 h 5756219"/>
              <a:gd name="connsiteX8310" fmla="*/ 5174300 w 6226010"/>
              <a:gd name="connsiteY8310" fmla="*/ 2682262 h 5756219"/>
              <a:gd name="connsiteX8311" fmla="*/ 5196041 w 6226010"/>
              <a:gd name="connsiteY8311" fmla="*/ 2679543 h 5756219"/>
              <a:gd name="connsiteX8312" fmla="*/ 5201476 w 6226010"/>
              <a:gd name="connsiteY8312" fmla="*/ 2665955 h 5756219"/>
              <a:gd name="connsiteX8313" fmla="*/ 5149842 w 6226010"/>
              <a:gd name="connsiteY8313" fmla="*/ 2687697 h 5756219"/>
              <a:gd name="connsiteX8314" fmla="*/ 5147124 w 6226010"/>
              <a:gd name="connsiteY8314" fmla="*/ 2665955 h 5756219"/>
              <a:gd name="connsiteX8315" fmla="*/ 5196041 w 6226010"/>
              <a:gd name="connsiteY8315" fmla="*/ 2657804 h 5756219"/>
              <a:gd name="connsiteX8316" fmla="*/ 5204194 w 6226010"/>
              <a:gd name="connsiteY8316" fmla="*/ 2633345 h 5756219"/>
              <a:gd name="connsiteX8317" fmla="*/ 5182453 w 6226010"/>
              <a:gd name="connsiteY8317" fmla="*/ 2638780 h 5756219"/>
              <a:gd name="connsiteX8318" fmla="*/ 5187888 w 6226010"/>
              <a:gd name="connsiteY8318" fmla="*/ 2614322 h 5756219"/>
              <a:gd name="connsiteX8319" fmla="*/ 5160712 w 6226010"/>
              <a:gd name="connsiteY8319" fmla="*/ 2627910 h 5756219"/>
              <a:gd name="connsiteX8320" fmla="*/ 5152560 w 6226010"/>
              <a:gd name="connsiteY8320" fmla="*/ 2603451 h 5756219"/>
              <a:gd name="connsiteX8321" fmla="*/ 5168865 w 6226010"/>
              <a:gd name="connsiteY8321" fmla="*/ 2606170 h 5756219"/>
              <a:gd name="connsiteX8322" fmla="*/ 5157995 w 6226010"/>
              <a:gd name="connsiteY8322" fmla="*/ 2568122 h 5756219"/>
              <a:gd name="connsiteX8323" fmla="*/ 5144407 w 6226010"/>
              <a:gd name="connsiteY8323" fmla="*/ 2568122 h 5756219"/>
              <a:gd name="connsiteX8324" fmla="*/ 5133536 w 6226010"/>
              <a:gd name="connsiteY8324" fmla="*/ 2565405 h 5756219"/>
              <a:gd name="connsiteX8325" fmla="*/ 5125384 w 6226010"/>
              <a:gd name="connsiteY8325" fmla="*/ 2600734 h 5756219"/>
              <a:gd name="connsiteX8326" fmla="*/ 5111796 w 6226010"/>
              <a:gd name="connsiteY8326" fmla="*/ 2589863 h 5756219"/>
              <a:gd name="connsiteX8327" fmla="*/ 5122666 w 6226010"/>
              <a:gd name="connsiteY8327" fmla="*/ 2570840 h 5756219"/>
              <a:gd name="connsiteX8328" fmla="*/ 5100925 w 6226010"/>
              <a:gd name="connsiteY8328" fmla="*/ 2530076 h 5756219"/>
              <a:gd name="connsiteX8329" fmla="*/ 5084620 w 6226010"/>
              <a:gd name="connsiteY8329" fmla="*/ 2535511 h 5756219"/>
              <a:gd name="connsiteX8330" fmla="*/ 5068314 w 6226010"/>
              <a:gd name="connsiteY8330" fmla="*/ 2530076 h 5756219"/>
              <a:gd name="connsiteX8331" fmla="*/ 5062879 w 6226010"/>
              <a:gd name="connsiteY8331" fmla="*/ 2500182 h 5756219"/>
              <a:gd name="connsiteX8332" fmla="*/ 5049291 w 6226010"/>
              <a:gd name="connsiteY8332" fmla="*/ 2500182 h 5756219"/>
              <a:gd name="connsiteX8333" fmla="*/ 5019398 w 6226010"/>
              <a:gd name="connsiteY8333" fmla="*/ 2459418 h 5756219"/>
              <a:gd name="connsiteX8334" fmla="*/ 4954176 w 6226010"/>
              <a:gd name="connsiteY8334" fmla="*/ 2424090 h 5756219"/>
              <a:gd name="connsiteX8335" fmla="*/ 4921564 w 6226010"/>
              <a:gd name="connsiteY8335" fmla="*/ 2383327 h 5756219"/>
              <a:gd name="connsiteX8336" fmla="*/ 4916129 w 6226010"/>
              <a:gd name="connsiteY8336" fmla="*/ 2388762 h 5756219"/>
              <a:gd name="connsiteX8337" fmla="*/ 4916129 w 6226010"/>
              <a:gd name="connsiteY8337" fmla="*/ 2410502 h 5756219"/>
              <a:gd name="connsiteX8338" fmla="*/ 4910694 w 6226010"/>
              <a:gd name="connsiteY8338" fmla="*/ 2405067 h 5756219"/>
              <a:gd name="connsiteX8339" fmla="*/ 4891671 w 6226010"/>
              <a:gd name="connsiteY8339" fmla="*/ 2443113 h 5756219"/>
              <a:gd name="connsiteX8340" fmla="*/ 4886236 w 6226010"/>
              <a:gd name="connsiteY8340" fmla="*/ 2445830 h 5756219"/>
              <a:gd name="connsiteX8341" fmla="*/ 4878083 w 6226010"/>
              <a:gd name="connsiteY8341" fmla="*/ 2429526 h 5756219"/>
              <a:gd name="connsiteX8342" fmla="*/ 4875365 w 6226010"/>
              <a:gd name="connsiteY8342" fmla="*/ 2459418 h 5756219"/>
              <a:gd name="connsiteX8343" fmla="*/ 4853625 w 6226010"/>
              <a:gd name="connsiteY8343" fmla="*/ 2483877 h 5756219"/>
              <a:gd name="connsiteX8344" fmla="*/ 4878083 w 6226010"/>
              <a:gd name="connsiteY8344" fmla="*/ 2483877 h 5756219"/>
              <a:gd name="connsiteX8345" fmla="*/ 4869930 w 6226010"/>
              <a:gd name="connsiteY8345" fmla="*/ 2497465 h 5756219"/>
              <a:gd name="connsiteX8346" fmla="*/ 4883518 w 6226010"/>
              <a:gd name="connsiteY8346" fmla="*/ 2505618 h 5756219"/>
              <a:gd name="connsiteX8347" fmla="*/ 4891671 w 6226010"/>
              <a:gd name="connsiteY8347" fmla="*/ 2535511 h 5756219"/>
              <a:gd name="connsiteX8348" fmla="*/ 4886236 w 6226010"/>
              <a:gd name="connsiteY8348" fmla="*/ 2543664 h 5756219"/>
              <a:gd name="connsiteX8349" fmla="*/ 4864495 w 6226010"/>
              <a:gd name="connsiteY8349" fmla="*/ 2535511 h 5756219"/>
              <a:gd name="connsiteX8350" fmla="*/ 4856342 w 6226010"/>
              <a:gd name="connsiteY8350" fmla="*/ 2535511 h 5756219"/>
              <a:gd name="connsiteX8351" fmla="*/ 4840037 w 6226010"/>
              <a:gd name="connsiteY8351" fmla="*/ 2543664 h 5756219"/>
              <a:gd name="connsiteX8352" fmla="*/ 4826449 w 6226010"/>
              <a:gd name="connsiteY8352" fmla="*/ 2535511 h 5756219"/>
              <a:gd name="connsiteX8353" fmla="*/ 4818296 w 6226010"/>
              <a:gd name="connsiteY8353" fmla="*/ 2551817 h 5756219"/>
              <a:gd name="connsiteX8354" fmla="*/ 4804708 w 6226010"/>
              <a:gd name="connsiteY8354" fmla="*/ 2546382 h 5756219"/>
              <a:gd name="connsiteX8355" fmla="*/ 4788402 w 6226010"/>
              <a:gd name="connsiteY8355" fmla="*/ 2551817 h 5756219"/>
              <a:gd name="connsiteX8356" fmla="*/ 4796555 w 6226010"/>
              <a:gd name="connsiteY8356" fmla="*/ 2581710 h 5756219"/>
              <a:gd name="connsiteX8357" fmla="*/ 4780249 w 6226010"/>
              <a:gd name="connsiteY8357" fmla="*/ 2589863 h 5756219"/>
              <a:gd name="connsiteX8358" fmla="*/ 4812861 w 6226010"/>
              <a:gd name="connsiteY8358" fmla="*/ 2557252 h 5756219"/>
              <a:gd name="connsiteX8359" fmla="*/ 4848189 w 6226010"/>
              <a:gd name="connsiteY8359" fmla="*/ 2595299 h 5756219"/>
              <a:gd name="connsiteX8360" fmla="*/ 4826449 w 6226010"/>
              <a:gd name="connsiteY8360" fmla="*/ 2603451 h 5756219"/>
              <a:gd name="connsiteX8361" fmla="*/ 4785685 w 6226010"/>
              <a:gd name="connsiteY8361" fmla="*/ 2603451 h 5756219"/>
              <a:gd name="connsiteX8362" fmla="*/ 4801990 w 6226010"/>
              <a:gd name="connsiteY8362" fmla="*/ 2625192 h 5756219"/>
              <a:gd name="connsiteX8363" fmla="*/ 4826449 w 6226010"/>
              <a:gd name="connsiteY8363" fmla="*/ 2646932 h 5756219"/>
              <a:gd name="connsiteX8364" fmla="*/ 4840037 w 6226010"/>
              <a:gd name="connsiteY8364" fmla="*/ 2665955 h 5756219"/>
              <a:gd name="connsiteX8365" fmla="*/ 4810143 w 6226010"/>
              <a:gd name="connsiteY8365" fmla="*/ 2674108 h 5756219"/>
              <a:gd name="connsiteX8366" fmla="*/ 4793837 w 6226010"/>
              <a:gd name="connsiteY8366" fmla="*/ 2693132 h 5756219"/>
              <a:gd name="connsiteX8367" fmla="*/ 4799273 w 6226010"/>
              <a:gd name="connsiteY8367" fmla="*/ 2723026 h 5756219"/>
              <a:gd name="connsiteX8368" fmla="*/ 4829166 w 6226010"/>
              <a:gd name="connsiteY8368" fmla="*/ 2717591 h 5756219"/>
              <a:gd name="connsiteX8369" fmla="*/ 4845472 w 6226010"/>
              <a:gd name="connsiteY8369" fmla="*/ 2731179 h 5756219"/>
              <a:gd name="connsiteX8370" fmla="*/ 4856342 w 6226010"/>
              <a:gd name="connsiteY8370" fmla="*/ 2723026 h 5756219"/>
              <a:gd name="connsiteX8371" fmla="*/ 4840037 w 6226010"/>
              <a:gd name="connsiteY8371" fmla="*/ 2701284 h 5756219"/>
              <a:gd name="connsiteX8372" fmla="*/ 4864495 w 6226010"/>
              <a:gd name="connsiteY8372" fmla="*/ 2723026 h 5756219"/>
              <a:gd name="connsiteX8373" fmla="*/ 4878083 w 6226010"/>
              <a:gd name="connsiteY8373" fmla="*/ 2739331 h 5756219"/>
              <a:gd name="connsiteX8374" fmla="*/ 4899824 w 6226010"/>
              <a:gd name="connsiteY8374" fmla="*/ 2739331 h 5756219"/>
              <a:gd name="connsiteX8375" fmla="*/ 4916129 w 6226010"/>
              <a:gd name="connsiteY8375" fmla="*/ 2761071 h 5756219"/>
              <a:gd name="connsiteX8376" fmla="*/ 4962328 w 6226010"/>
              <a:gd name="connsiteY8376" fmla="*/ 2769224 h 5756219"/>
              <a:gd name="connsiteX8377" fmla="*/ 4986787 w 6226010"/>
              <a:gd name="connsiteY8377" fmla="*/ 2807271 h 5756219"/>
              <a:gd name="connsiteX8378" fmla="*/ 4978634 w 6226010"/>
              <a:gd name="connsiteY8378" fmla="*/ 2820858 h 5756219"/>
              <a:gd name="connsiteX8379" fmla="*/ 5008527 w 6226010"/>
              <a:gd name="connsiteY8379" fmla="*/ 2842599 h 5756219"/>
              <a:gd name="connsiteX8380" fmla="*/ 5008527 w 6226010"/>
              <a:gd name="connsiteY8380" fmla="*/ 2864340 h 5756219"/>
              <a:gd name="connsiteX8381" fmla="*/ 5024833 w 6226010"/>
              <a:gd name="connsiteY8381" fmla="*/ 2872493 h 5756219"/>
              <a:gd name="connsiteX8382" fmla="*/ 5016680 w 6226010"/>
              <a:gd name="connsiteY8382" fmla="*/ 2886081 h 5756219"/>
              <a:gd name="connsiteX8383" fmla="*/ 5027550 w 6226010"/>
              <a:gd name="connsiteY8383" fmla="*/ 2894233 h 5756219"/>
              <a:gd name="connsiteX8384" fmla="*/ 5030268 w 6226010"/>
              <a:gd name="connsiteY8384" fmla="*/ 2978479 h 5756219"/>
              <a:gd name="connsiteX8385" fmla="*/ 5008527 w 6226010"/>
              <a:gd name="connsiteY8385" fmla="*/ 2994784 h 5756219"/>
              <a:gd name="connsiteX8386" fmla="*/ 5013963 w 6226010"/>
              <a:gd name="connsiteY8386" fmla="*/ 3024678 h 5756219"/>
              <a:gd name="connsiteX8387" fmla="*/ 4992222 w 6226010"/>
              <a:gd name="connsiteY8387" fmla="*/ 3040983 h 5756219"/>
              <a:gd name="connsiteX8388" fmla="*/ 5000375 w 6226010"/>
              <a:gd name="connsiteY8388" fmla="*/ 3054571 h 5756219"/>
              <a:gd name="connsiteX8389" fmla="*/ 4984069 w 6226010"/>
              <a:gd name="connsiteY8389" fmla="*/ 3062724 h 5756219"/>
              <a:gd name="connsiteX8390" fmla="*/ 4984069 w 6226010"/>
              <a:gd name="connsiteY8390" fmla="*/ 3079030 h 5756219"/>
              <a:gd name="connsiteX8391" fmla="*/ 4978634 w 6226010"/>
              <a:gd name="connsiteY8391" fmla="*/ 3084465 h 5756219"/>
              <a:gd name="connsiteX8392" fmla="*/ 4967763 w 6226010"/>
              <a:gd name="connsiteY8392" fmla="*/ 3079030 h 5756219"/>
              <a:gd name="connsiteX8393" fmla="*/ 4967763 w 6226010"/>
              <a:gd name="connsiteY8393" fmla="*/ 3095335 h 5756219"/>
              <a:gd name="connsiteX8394" fmla="*/ 4954176 w 6226010"/>
              <a:gd name="connsiteY8394" fmla="*/ 3098053 h 5756219"/>
              <a:gd name="connsiteX8395" fmla="*/ 4929717 w 6226010"/>
              <a:gd name="connsiteY8395" fmla="*/ 3119794 h 5756219"/>
              <a:gd name="connsiteX8396" fmla="*/ 4929717 w 6226010"/>
              <a:gd name="connsiteY8396" fmla="*/ 3138817 h 5756219"/>
              <a:gd name="connsiteX8397" fmla="*/ 4899824 w 6226010"/>
              <a:gd name="connsiteY8397" fmla="*/ 3141534 h 5756219"/>
              <a:gd name="connsiteX8398" fmla="*/ 4894389 w 6226010"/>
              <a:gd name="connsiteY8398" fmla="*/ 3146970 h 5756219"/>
              <a:gd name="connsiteX8399" fmla="*/ 4899824 w 6226010"/>
              <a:gd name="connsiteY8399" fmla="*/ 3157840 h 5756219"/>
              <a:gd name="connsiteX8400" fmla="*/ 4845472 w 6226010"/>
              <a:gd name="connsiteY8400" fmla="*/ 3157840 h 5756219"/>
              <a:gd name="connsiteX8401" fmla="*/ 4829166 w 6226010"/>
              <a:gd name="connsiteY8401" fmla="*/ 3165993 h 5756219"/>
              <a:gd name="connsiteX8402" fmla="*/ 4815578 w 6226010"/>
              <a:gd name="connsiteY8402" fmla="*/ 3157840 h 5756219"/>
              <a:gd name="connsiteX8403" fmla="*/ 4774814 w 6226010"/>
              <a:gd name="connsiteY8403" fmla="*/ 3201321 h 5756219"/>
              <a:gd name="connsiteX8404" fmla="*/ 4742203 w 6226010"/>
              <a:gd name="connsiteY8404" fmla="*/ 3195886 h 5756219"/>
              <a:gd name="connsiteX8405" fmla="*/ 4747638 w 6226010"/>
              <a:gd name="connsiteY8405" fmla="*/ 3209474 h 5756219"/>
              <a:gd name="connsiteX8406" fmla="*/ 4742203 w 6226010"/>
              <a:gd name="connsiteY8406" fmla="*/ 3225780 h 5756219"/>
              <a:gd name="connsiteX8407" fmla="*/ 4750356 w 6226010"/>
              <a:gd name="connsiteY8407" fmla="*/ 3255673 h 5756219"/>
              <a:gd name="connsiteX8408" fmla="*/ 4728615 w 6226010"/>
              <a:gd name="connsiteY8408" fmla="*/ 3225780 h 5756219"/>
              <a:gd name="connsiteX8409" fmla="*/ 4728615 w 6226010"/>
              <a:gd name="connsiteY8409" fmla="*/ 3204039 h 5756219"/>
              <a:gd name="connsiteX8410" fmla="*/ 4728615 w 6226010"/>
              <a:gd name="connsiteY8410" fmla="*/ 3187733 h 5756219"/>
              <a:gd name="connsiteX8411" fmla="*/ 4690569 w 6226010"/>
              <a:gd name="connsiteY8411" fmla="*/ 3171428 h 5756219"/>
              <a:gd name="connsiteX8412" fmla="*/ 4668827 w 6226010"/>
              <a:gd name="connsiteY8412" fmla="*/ 3163275 h 5756219"/>
              <a:gd name="connsiteX8413" fmla="*/ 4676981 w 6226010"/>
              <a:gd name="connsiteY8413" fmla="*/ 3146970 h 5756219"/>
              <a:gd name="connsiteX8414" fmla="*/ 4655239 w 6226010"/>
              <a:gd name="connsiteY8414" fmla="*/ 3146970 h 5756219"/>
              <a:gd name="connsiteX8415" fmla="*/ 4647087 w 6226010"/>
              <a:gd name="connsiteY8415" fmla="*/ 3130664 h 5756219"/>
              <a:gd name="connsiteX8416" fmla="*/ 4638933 w 6226010"/>
              <a:gd name="connsiteY8416" fmla="*/ 3100770 h 5756219"/>
              <a:gd name="connsiteX8417" fmla="*/ 4647087 w 6226010"/>
              <a:gd name="connsiteY8417" fmla="*/ 3130664 h 5756219"/>
              <a:gd name="connsiteX8418" fmla="*/ 4638933 w 6226010"/>
              <a:gd name="connsiteY8418" fmla="*/ 3152405 h 5756219"/>
              <a:gd name="connsiteX8419" fmla="*/ 4614475 w 6226010"/>
              <a:gd name="connsiteY8419" fmla="*/ 3160558 h 5756219"/>
              <a:gd name="connsiteX8420" fmla="*/ 4598169 w 6226010"/>
              <a:gd name="connsiteY8420" fmla="*/ 3152405 h 5756219"/>
              <a:gd name="connsiteX8421" fmla="*/ 4576429 w 6226010"/>
              <a:gd name="connsiteY8421" fmla="*/ 3174145 h 5756219"/>
              <a:gd name="connsiteX8422" fmla="*/ 4584583 w 6226010"/>
              <a:gd name="connsiteY8422" fmla="*/ 3198604 h 5756219"/>
              <a:gd name="connsiteX8423" fmla="*/ 4614475 w 6226010"/>
              <a:gd name="connsiteY8423" fmla="*/ 3182298 h 5756219"/>
              <a:gd name="connsiteX8424" fmla="*/ 4622629 w 6226010"/>
              <a:gd name="connsiteY8424" fmla="*/ 3198604 h 5756219"/>
              <a:gd name="connsiteX8425" fmla="*/ 4606323 w 6226010"/>
              <a:gd name="connsiteY8425" fmla="*/ 3214909 h 5756219"/>
              <a:gd name="connsiteX8426" fmla="*/ 4622629 w 6226010"/>
              <a:gd name="connsiteY8426" fmla="*/ 3214909 h 5756219"/>
              <a:gd name="connsiteX8427" fmla="*/ 4630781 w 6226010"/>
              <a:gd name="connsiteY8427" fmla="*/ 3231215 h 5756219"/>
              <a:gd name="connsiteX8428" fmla="*/ 4622629 w 6226010"/>
              <a:gd name="connsiteY8428" fmla="*/ 3244803 h 5756219"/>
              <a:gd name="connsiteX8429" fmla="*/ 4622629 w 6226010"/>
              <a:gd name="connsiteY8429" fmla="*/ 3261108 h 5756219"/>
              <a:gd name="connsiteX8430" fmla="*/ 4606323 w 6226010"/>
              <a:gd name="connsiteY8430" fmla="*/ 3252956 h 5756219"/>
              <a:gd name="connsiteX8431" fmla="*/ 4606323 w 6226010"/>
              <a:gd name="connsiteY8431" fmla="*/ 3269261 h 5756219"/>
              <a:gd name="connsiteX8432" fmla="*/ 4592735 w 6226010"/>
              <a:gd name="connsiteY8432" fmla="*/ 3269261 h 5756219"/>
              <a:gd name="connsiteX8433" fmla="*/ 4584583 w 6226010"/>
              <a:gd name="connsiteY8433" fmla="*/ 3255673 h 5756219"/>
              <a:gd name="connsiteX8434" fmla="*/ 4576429 w 6226010"/>
              <a:gd name="connsiteY8434" fmla="*/ 3280132 h 5756219"/>
              <a:gd name="connsiteX8435" fmla="*/ 4562841 w 6226010"/>
              <a:gd name="connsiteY8435" fmla="*/ 3271979 h 5756219"/>
              <a:gd name="connsiteX8436" fmla="*/ 4562841 w 6226010"/>
              <a:gd name="connsiteY8436" fmla="*/ 3299155 h 5756219"/>
              <a:gd name="connsiteX8437" fmla="*/ 4562841 w 6226010"/>
              <a:gd name="connsiteY8437" fmla="*/ 3331766 h 5756219"/>
              <a:gd name="connsiteX8438" fmla="*/ 4579147 w 6226010"/>
              <a:gd name="connsiteY8438" fmla="*/ 3323613 h 5756219"/>
              <a:gd name="connsiteX8439" fmla="*/ 4562841 w 6226010"/>
              <a:gd name="connsiteY8439" fmla="*/ 3301872 h 5756219"/>
              <a:gd name="connsiteX8440" fmla="*/ 4579147 w 6226010"/>
              <a:gd name="connsiteY8440" fmla="*/ 3301872 h 5756219"/>
              <a:gd name="connsiteX8441" fmla="*/ 4600887 w 6226010"/>
              <a:gd name="connsiteY8441" fmla="*/ 3282849 h 5756219"/>
              <a:gd name="connsiteX8442" fmla="*/ 4622629 w 6226010"/>
              <a:gd name="connsiteY8442" fmla="*/ 3291002 h 5756219"/>
              <a:gd name="connsiteX8443" fmla="*/ 4633499 w 6226010"/>
              <a:gd name="connsiteY8443" fmla="*/ 3282849 h 5756219"/>
              <a:gd name="connsiteX8444" fmla="*/ 4625345 w 6226010"/>
              <a:gd name="connsiteY8444" fmla="*/ 3269261 h 5756219"/>
              <a:gd name="connsiteX8445" fmla="*/ 4641651 w 6226010"/>
              <a:gd name="connsiteY8445" fmla="*/ 3269261 h 5756219"/>
              <a:gd name="connsiteX8446" fmla="*/ 4641651 w 6226010"/>
              <a:gd name="connsiteY8446" fmla="*/ 3285567 h 5756219"/>
              <a:gd name="connsiteX8447" fmla="*/ 4657957 w 6226010"/>
              <a:gd name="connsiteY8447" fmla="*/ 3277414 h 5756219"/>
              <a:gd name="connsiteX8448" fmla="*/ 4641651 w 6226010"/>
              <a:gd name="connsiteY8448" fmla="*/ 3255673 h 5756219"/>
              <a:gd name="connsiteX8449" fmla="*/ 4663393 w 6226010"/>
              <a:gd name="connsiteY8449" fmla="*/ 3255673 h 5756219"/>
              <a:gd name="connsiteX8450" fmla="*/ 4679697 w 6226010"/>
              <a:gd name="connsiteY8450" fmla="*/ 3217627 h 5756219"/>
              <a:gd name="connsiteX8451" fmla="*/ 4657957 w 6226010"/>
              <a:gd name="connsiteY8451" fmla="*/ 3217627 h 5756219"/>
              <a:gd name="connsiteX8452" fmla="*/ 4696004 w 6226010"/>
              <a:gd name="connsiteY8452" fmla="*/ 3179581 h 5756219"/>
              <a:gd name="connsiteX8453" fmla="*/ 4687851 w 6226010"/>
              <a:gd name="connsiteY8453" fmla="*/ 3209474 h 5756219"/>
              <a:gd name="connsiteX8454" fmla="*/ 4709592 w 6226010"/>
              <a:gd name="connsiteY8454" fmla="*/ 3209474 h 5756219"/>
              <a:gd name="connsiteX8455" fmla="*/ 4709592 w 6226010"/>
              <a:gd name="connsiteY8455" fmla="*/ 3231215 h 5756219"/>
              <a:gd name="connsiteX8456" fmla="*/ 4696004 w 6226010"/>
              <a:gd name="connsiteY8456" fmla="*/ 3233932 h 5756219"/>
              <a:gd name="connsiteX8457" fmla="*/ 4685133 w 6226010"/>
              <a:gd name="connsiteY8457" fmla="*/ 3244803 h 5756219"/>
              <a:gd name="connsiteX8458" fmla="*/ 4693286 w 6226010"/>
              <a:gd name="connsiteY8458" fmla="*/ 3258391 h 5756219"/>
              <a:gd name="connsiteX8459" fmla="*/ 4655239 w 6226010"/>
              <a:gd name="connsiteY8459" fmla="*/ 3296437 h 5756219"/>
              <a:gd name="connsiteX8460" fmla="*/ 4696004 w 6226010"/>
              <a:gd name="connsiteY8460" fmla="*/ 3296437 h 5756219"/>
              <a:gd name="connsiteX8461" fmla="*/ 4679697 w 6226010"/>
              <a:gd name="connsiteY8461" fmla="*/ 3274696 h 5756219"/>
              <a:gd name="connsiteX8462" fmla="*/ 4696004 w 6226010"/>
              <a:gd name="connsiteY8462" fmla="*/ 3266544 h 5756219"/>
              <a:gd name="connsiteX8463" fmla="*/ 4712309 w 6226010"/>
              <a:gd name="connsiteY8463" fmla="*/ 3266544 h 5756219"/>
              <a:gd name="connsiteX8464" fmla="*/ 4720462 w 6226010"/>
              <a:gd name="connsiteY8464" fmla="*/ 3296437 h 5756219"/>
              <a:gd name="connsiteX8465" fmla="*/ 4734050 w 6226010"/>
              <a:gd name="connsiteY8465" fmla="*/ 3312743 h 5756219"/>
              <a:gd name="connsiteX8466" fmla="*/ 4763944 w 6226010"/>
              <a:gd name="connsiteY8466" fmla="*/ 3307308 h 5756219"/>
              <a:gd name="connsiteX8467" fmla="*/ 4763944 w 6226010"/>
              <a:gd name="connsiteY8467" fmla="*/ 3285567 h 5756219"/>
              <a:gd name="connsiteX8468" fmla="*/ 4796555 w 6226010"/>
              <a:gd name="connsiteY8468" fmla="*/ 3304590 h 5756219"/>
              <a:gd name="connsiteX8469" fmla="*/ 4780249 w 6226010"/>
              <a:gd name="connsiteY8469" fmla="*/ 3310025 h 5756219"/>
              <a:gd name="connsiteX8470" fmla="*/ 4788402 w 6226010"/>
              <a:gd name="connsiteY8470" fmla="*/ 3323613 h 5756219"/>
              <a:gd name="connsiteX8471" fmla="*/ 4782967 w 6226010"/>
              <a:gd name="connsiteY8471" fmla="*/ 3331766 h 5756219"/>
              <a:gd name="connsiteX8472" fmla="*/ 4766661 w 6226010"/>
              <a:gd name="connsiteY8472" fmla="*/ 3339919 h 5756219"/>
              <a:gd name="connsiteX8473" fmla="*/ 4766661 w 6226010"/>
              <a:gd name="connsiteY8473" fmla="*/ 3318178 h 5756219"/>
              <a:gd name="connsiteX8474" fmla="*/ 4750356 w 6226010"/>
              <a:gd name="connsiteY8474" fmla="*/ 3318178 h 5756219"/>
              <a:gd name="connsiteX8475" fmla="*/ 4758509 w 6226010"/>
              <a:gd name="connsiteY8475" fmla="*/ 3339919 h 5756219"/>
              <a:gd name="connsiteX8476" fmla="*/ 4750356 w 6226010"/>
              <a:gd name="connsiteY8476" fmla="*/ 3348071 h 5756219"/>
              <a:gd name="connsiteX8477" fmla="*/ 4758509 w 6226010"/>
              <a:gd name="connsiteY8477" fmla="*/ 3369812 h 5756219"/>
              <a:gd name="connsiteX8478" fmla="*/ 4728615 w 6226010"/>
              <a:gd name="connsiteY8478" fmla="*/ 3377965 h 5756219"/>
              <a:gd name="connsiteX8479" fmla="*/ 4758509 w 6226010"/>
              <a:gd name="connsiteY8479" fmla="*/ 3416011 h 5756219"/>
              <a:gd name="connsiteX8480" fmla="*/ 4774814 w 6226010"/>
              <a:gd name="connsiteY8480" fmla="*/ 3407858 h 5756219"/>
              <a:gd name="connsiteX8481" fmla="*/ 4791120 w 6226010"/>
              <a:gd name="connsiteY8481" fmla="*/ 3416011 h 5756219"/>
              <a:gd name="connsiteX8482" fmla="*/ 4804708 w 6226010"/>
              <a:gd name="connsiteY8482" fmla="*/ 3407858 h 5756219"/>
              <a:gd name="connsiteX8483" fmla="*/ 4826449 w 6226010"/>
              <a:gd name="connsiteY8483" fmla="*/ 3424164 h 5756219"/>
              <a:gd name="connsiteX8484" fmla="*/ 4856342 w 6226010"/>
              <a:gd name="connsiteY8484" fmla="*/ 3424164 h 5756219"/>
              <a:gd name="connsiteX8485" fmla="*/ 4842754 w 6226010"/>
              <a:gd name="connsiteY8485" fmla="*/ 3432317 h 5756219"/>
              <a:gd name="connsiteX8486" fmla="*/ 4834601 w 6226010"/>
              <a:gd name="connsiteY8486" fmla="*/ 3448622 h 5756219"/>
              <a:gd name="connsiteX8487" fmla="*/ 4821013 w 6226010"/>
              <a:gd name="connsiteY8487" fmla="*/ 3440469 h 5756219"/>
              <a:gd name="connsiteX8488" fmla="*/ 4812861 w 6226010"/>
              <a:gd name="connsiteY8488" fmla="*/ 3454057 h 5756219"/>
              <a:gd name="connsiteX8489" fmla="*/ 4796555 w 6226010"/>
              <a:gd name="connsiteY8489" fmla="*/ 3483951 h 5756219"/>
              <a:gd name="connsiteX8490" fmla="*/ 4812861 w 6226010"/>
              <a:gd name="connsiteY8490" fmla="*/ 3454057 h 5756219"/>
              <a:gd name="connsiteX8491" fmla="*/ 4837319 w 6226010"/>
              <a:gd name="connsiteY8491" fmla="*/ 3454057 h 5756219"/>
              <a:gd name="connsiteX8492" fmla="*/ 4821013 w 6226010"/>
              <a:gd name="connsiteY8492" fmla="*/ 3475798 h 5756219"/>
              <a:gd name="connsiteX8493" fmla="*/ 4837319 w 6226010"/>
              <a:gd name="connsiteY8493" fmla="*/ 3483951 h 5756219"/>
              <a:gd name="connsiteX8494" fmla="*/ 4861777 w 6226010"/>
              <a:gd name="connsiteY8494" fmla="*/ 3475798 h 5756219"/>
              <a:gd name="connsiteX8495" fmla="*/ 4845472 w 6226010"/>
              <a:gd name="connsiteY8495" fmla="*/ 3451340 h 5756219"/>
              <a:gd name="connsiteX8496" fmla="*/ 4875365 w 6226010"/>
              <a:gd name="connsiteY8496" fmla="*/ 3462210 h 5756219"/>
              <a:gd name="connsiteX8497" fmla="*/ 4891671 w 6226010"/>
              <a:gd name="connsiteY8497" fmla="*/ 3454057 h 5756219"/>
              <a:gd name="connsiteX8498" fmla="*/ 4905259 w 6226010"/>
              <a:gd name="connsiteY8498" fmla="*/ 3462210 h 5756219"/>
              <a:gd name="connsiteX8499" fmla="*/ 4921564 w 6226010"/>
              <a:gd name="connsiteY8499" fmla="*/ 3448622 h 5756219"/>
              <a:gd name="connsiteX8500" fmla="*/ 4959611 w 6226010"/>
              <a:gd name="connsiteY8500" fmla="*/ 3470363 h 5756219"/>
              <a:gd name="connsiteX8501" fmla="*/ 4951458 w 6226010"/>
              <a:gd name="connsiteY8501" fmla="*/ 3456775 h 5756219"/>
              <a:gd name="connsiteX8502" fmla="*/ 4965046 w 6226010"/>
              <a:gd name="connsiteY8502" fmla="*/ 3448622 h 5756219"/>
              <a:gd name="connsiteX8503" fmla="*/ 4978634 w 6226010"/>
              <a:gd name="connsiteY8503" fmla="*/ 3470363 h 5756219"/>
              <a:gd name="connsiteX8504" fmla="*/ 4965046 w 6226010"/>
              <a:gd name="connsiteY8504" fmla="*/ 3486669 h 5756219"/>
              <a:gd name="connsiteX8505" fmla="*/ 4948740 w 6226010"/>
              <a:gd name="connsiteY8505" fmla="*/ 3478516 h 5756219"/>
              <a:gd name="connsiteX8506" fmla="*/ 4932435 w 6226010"/>
              <a:gd name="connsiteY8506" fmla="*/ 3486669 h 5756219"/>
              <a:gd name="connsiteX8507" fmla="*/ 4916129 w 6226010"/>
              <a:gd name="connsiteY8507" fmla="*/ 3494821 h 5756219"/>
              <a:gd name="connsiteX8508" fmla="*/ 4937870 w 6226010"/>
              <a:gd name="connsiteY8508" fmla="*/ 3511127 h 5756219"/>
              <a:gd name="connsiteX8509" fmla="*/ 4975916 w 6226010"/>
              <a:gd name="connsiteY8509" fmla="*/ 3489386 h 5756219"/>
              <a:gd name="connsiteX8510" fmla="*/ 4975916 w 6226010"/>
              <a:gd name="connsiteY8510" fmla="*/ 3521997 h 5756219"/>
              <a:gd name="connsiteX8511" fmla="*/ 4997657 w 6226010"/>
              <a:gd name="connsiteY8511" fmla="*/ 3505692 h 5756219"/>
              <a:gd name="connsiteX8512" fmla="*/ 5027550 w 6226010"/>
              <a:gd name="connsiteY8512" fmla="*/ 3521997 h 5756219"/>
              <a:gd name="connsiteX8513" fmla="*/ 5027550 w 6226010"/>
              <a:gd name="connsiteY8513" fmla="*/ 3530150 h 5756219"/>
              <a:gd name="connsiteX8514" fmla="*/ 5003092 w 6226010"/>
              <a:gd name="connsiteY8514" fmla="*/ 3530150 h 5756219"/>
              <a:gd name="connsiteX8515" fmla="*/ 5011245 w 6226010"/>
              <a:gd name="connsiteY8515" fmla="*/ 3543738 h 5756219"/>
              <a:gd name="connsiteX8516" fmla="*/ 4994939 w 6226010"/>
              <a:gd name="connsiteY8516" fmla="*/ 3551891 h 5756219"/>
              <a:gd name="connsiteX8517" fmla="*/ 5003092 w 6226010"/>
              <a:gd name="connsiteY8517" fmla="*/ 3565479 h 5756219"/>
              <a:gd name="connsiteX8518" fmla="*/ 4986787 w 6226010"/>
              <a:gd name="connsiteY8518" fmla="*/ 3581784 h 5756219"/>
              <a:gd name="connsiteX8519" fmla="*/ 5003092 w 6226010"/>
              <a:gd name="connsiteY8519" fmla="*/ 3581784 h 5756219"/>
              <a:gd name="connsiteX8520" fmla="*/ 5003092 w 6226010"/>
              <a:gd name="connsiteY8520" fmla="*/ 3565479 h 5756219"/>
              <a:gd name="connsiteX8521" fmla="*/ 5041138 w 6226010"/>
              <a:gd name="connsiteY8521" fmla="*/ 3549173 h 5756219"/>
              <a:gd name="connsiteX8522" fmla="*/ 5041138 w 6226010"/>
              <a:gd name="connsiteY8522" fmla="*/ 3570914 h 5756219"/>
              <a:gd name="connsiteX8523" fmla="*/ 5027550 w 6226010"/>
              <a:gd name="connsiteY8523" fmla="*/ 3579067 h 5756219"/>
              <a:gd name="connsiteX8524" fmla="*/ 5019398 w 6226010"/>
              <a:gd name="connsiteY8524" fmla="*/ 3608960 h 5756219"/>
              <a:gd name="connsiteX8525" fmla="*/ 5003092 w 6226010"/>
              <a:gd name="connsiteY8525" fmla="*/ 3600808 h 5756219"/>
              <a:gd name="connsiteX8526" fmla="*/ 4981351 w 6226010"/>
              <a:gd name="connsiteY8526" fmla="*/ 3608960 h 5756219"/>
              <a:gd name="connsiteX8527" fmla="*/ 4973199 w 6226010"/>
              <a:gd name="connsiteY8527" fmla="*/ 3603525 h 5756219"/>
              <a:gd name="connsiteX8528" fmla="*/ 4981351 w 6226010"/>
              <a:gd name="connsiteY8528" fmla="*/ 3587220 h 5756219"/>
              <a:gd name="connsiteX8529" fmla="*/ 4935152 w 6226010"/>
              <a:gd name="connsiteY8529" fmla="*/ 3608960 h 5756219"/>
              <a:gd name="connsiteX8530" fmla="*/ 4937870 w 6226010"/>
              <a:gd name="connsiteY8530" fmla="*/ 3592655 h 5756219"/>
              <a:gd name="connsiteX8531" fmla="*/ 4905259 w 6226010"/>
              <a:gd name="connsiteY8531" fmla="*/ 3562761 h 5756219"/>
              <a:gd name="connsiteX8532" fmla="*/ 4897106 w 6226010"/>
              <a:gd name="connsiteY8532" fmla="*/ 3516562 h 5756219"/>
              <a:gd name="connsiteX8533" fmla="*/ 4880801 w 6226010"/>
              <a:gd name="connsiteY8533" fmla="*/ 3524715 h 5756219"/>
              <a:gd name="connsiteX8534" fmla="*/ 4897106 w 6226010"/>
              <a:gd name="connsiteY8534" fmla="*/ 3546456 h 5756219"/>
              <a:gd name="connsiteX8535" fmla="*/ 4867213 w 6226010"/>
              <a:gd name="connsiteY8535" fmla="*/ 3562761 h 5756219"/>
              <a:gd name="connsiteX8536" fmla="*/ 4883518 w 6226010"/>
              <a:gd name="connsiteY8536" fmla="*/ 3562761 h 5756219"/>
              <a:gd name="connsiteX8537" fmla="*/ 4883518 w 6226010"/>
              <a:gd name="connsiteY8537" fmla="*/ 3579067 h 5756219"/>
              <a:gd name="connsiteX8538" fmla="*/ 4905259 w 6226010"/>
              <a:gd name="connsiteY8538" fmla="*/ 3562761 h 5756219"/>
              <a:gd name="connsiteX8539" fmla="*/ 4905259 w 6226010"/>
              <a:gd name="connsiteY8539" fmla="*/ 3579067 h 5756219"/>
              <a:gd name="connsiteX8540" fmla="*/ 4888953 w 6226010"/>
              <a:gd name="connsiteY8540" fmla="*/ 3603525 h 5756219"/>
              <a:gd name="connsiteX8541" fmla="*/ 4935152 w 6226010"/>
              <a:gd name="connsiteY8541" fmla="*/ 3608960 h 5756219"/>
              <a:gd name="connsiteX8542" fmla="*/ 4897106 w 6226010"/>
              <a:gd name="connsiteY8542" fmla="*/ 3630701 h 5756219"/>
              <a:gd name="connsiteX8543" fmla="*/ 4880801 w 6226010"/>
              <a:gd name="connsiteY8543" fmla="*/ 3608960 h 5756219"/>
              <a:gd name="connsiteX8544" fmla="*/ 4859060 w 6226010"/>
              <a:gd name="connsiteY8544" fmla="*/ 3625266 h 5756219"/>
              <a:gd name="connsiteX8545" fmla="*/ 4837319 w 6226010"/>
              <a:gd name="connsiteY8545" fmla="*/ 3608960 h 5756219"/>
              <a:gd name="connsiteX8546" fmla="*/ 4829166 w 6226010"/>
              <a:gd name="connsiteY8546" fmla="*/ 3570914 h 5756219"/>
              <a:gd name="connsiteX8547" fmla="*/ 4837319 w 6226010"/>
              <a:gd name="connsiteY8547" fmla="*/ 3546456 h 5756219"/>
              <a:gd name="connsiteX8548" fmla="*/ 4821013 w 6226010"/>
              <a:gd name="connsiteY8548" fmla="*/ 3554608 h 5756219"/>
              <a:gd name="connsiteX8549" fmla="*/ 4829166 w 6226010"/>
              <a:gd name="connsiteY8549" fmla="*/ 3568196 h 5756219"/>
              <a:gd name="connsiteX8550" fmla="*/ 4814310 w 6226010"/>
              <a:gd name="connsiteY8550" fmla="*/ 3575625 h 5756219"/>
              <a:gd name="connsiteX8551" fmla="*/ 4812861 w 6226010"/>
              <a:gd name="connsiteY8551" fmla="*/ 3573632 h 5756219"/>
              <a:gd name="connsiteX8552" fmla="*/ 4811502 w 6226010"/>
              <a:gd name="connsiteY8552" fmla="*/ 3573632 h 5756219"/>
              <a:gd name="connsiteX8553" fmla="*/ 4804708 w 6226010"/>
              <a:gd name="connsiteY8553" fmla="*/ 3560044 h 5756219"/>
              <a:gd name="connsiteX8554" fmla="*/ 4812861 w 6226010"/>
              <a:gd name="connsiteY8554" fmla="*/ 3535585 h 5756219"/>
              <a:gd name="connsiteX8555" fmla="*/ 4796555 w 6226010"/>
              <a:gd name="connsiteY8555" fmla="*/ 3543738 h 5756219"/>
              <a:gd name="connsiteX8556" fmla="*/ 4804708 w 6226010"/>
              <a:gd name="connsiteY8556" fmla="*/ 3557326 h 5756219"/>
              <a:gd name="connsiteX8557" fmla="*/ 4796555 w 6226010"/>
              <a:gd name="connsiteY8557" fmla="*/ 3565479 h 5756219"/>
              <a:gd name="connsiteX8558" fmla="*/ 4774814 w 6226010"/>
              <a:gd name="connsiteY8558" fmla="*/ 3570914 h 5756219"/>
              <a:gd name="connsiteX8559" fmla="*/ 4782967 w 6226010"/>
              <a:gd name="connsiteY8559" fmla="*/ 3581784 h 5756219"/>
              <a:gd name="connsiteX8560" fmla="*/ 4796555 w 6226010"/>
              <a:gd name="connsiteY8560" fmla="*/ 3573632 h 5756219"/>
              <a:gd name="connsiteX8561" fmla="*/ 4811502 w 6226010"/>
              <a:gd name="connsiteY8561" fmla="*/ 3573632 h 5756219"/>
              <a:gd name="connsiteX8562" fmla="*/ 4812861 w 6226010"/>
              <a:gd name="connsiteY8562" fmla="*/ 3576349 h 5756219"/>
              <a:gd name="connsiteX8563" fmla="*/ 4814310 w 6226010"/>
              <a:gd name="connsiteY8563" fmla="*/ 3575625 h 5756219"/>
              <a:gd name="connsiteX8564" fmla="*/ 4834601 w 6226010"/>
              <a:gd name="connsiteY8564" fmla="*/ 3603525 h 5756219"/>
              <a:gd name="connsiteX8565" fmla="*/ 4818296 w 6226010"/>
              <a:gd name="connsiteY8565" fmla="*/ 3633419 h 5756219"/>
              <a:gd name="connsiteX8566" fmla="*/ 4848189 w 6226010"/>
              <a:gd name="connsiteY8566" fmla="*/ 3625266 h 5756219"/>
              <a:gd name="connsiteX8567" fmla="*/ 4856342 w 6226010"/>
              <a:gd name="connsiteY8567" fmla="*/ 3641572 h 5756219"/>
              <a:gd name="connsiteX8568" fmla="*/ 4869930 w 6226010"/>
              <a:gd name="connsiteY8568" fmla="*/ 3633419 h 5756219"/>
              <a:gd name="connsiteX8569" fmla="*/ 4869930 w 6226010"/>
              <a:gd name="connsiteY8569" fmla="*/ 3655160 h 5756219"/>
              <a:gd name="connsiteX8570" fmla="*/ 4861777 w 6226010"/>
              <a:gd name="connsiteY8570" fmla="*/ 3671465 h 5756219"/>
              <a:gd name="connsiteX8571" fmla="*/ 4869930 w 6226010"/>
              <a:gd name="connsiteY8571" fmla="*/ 3685053 h 5756219"/>
              <a:gd name="connsiteX8572" fmla="*/ 4840037 w 6226010"/>
              <a:gd name="connsiteY8572" fmla="*/ 3709511 h 5756219"/>
              <a:gd name="connsiteX8573" fmla="*/ 4831884 w 6226010"/>
              <a:gd name="connsiteY8573" fmla="*/ 3693206 h 5756219"/>
              <a:gd name="connsiteX8574" fmla="*/ 4818296 w 6226010"/>
              <a:gd name="connsiteY8574" fmla="*/ 3701359 h 5756219"/>
              <a:gd name="connsiteX8575" fmla="*/ 4801990 w 6226010"/>
              <a:gd name="connsiteY8575" fmla="*/ 3671465 h 5756219"/>
              <a:gd name="connsiteX8576" fmla="*/ 4810143 w 6226010"/>
              <a:gd name="connsiteY8576" fmla="*/ 3701359 h 5756219"/>
              <a:gd name="connsiteX8577" fmla="*/ 4796555 w 6226010"/>
              <a:gd name="connsiteY8577" fmla="*/ 3701359 h 5756219"/>
              <a:gd name="connsiteX8578" fmla="*/ 4788402 w 6226010"/>
              <a:gd name="connsiteY8578" fmla="*/ 3687771 h 5756219"/>
              <a:gd name="connsiteX8579" fmla="*/ 4796555 w 6226010"/>
              <a:gd name="connsiteY8579" fmla="*/ 3657877 h 5756219"/>
              <a:gd name="connsiteX8580" fmla="*/ 4753073 w 6226010"/>
              <a:gd name="connsiteY8580" fmla="*/ 3644289 h 5756219"/>
              <a:gd name="connsiteX8581" fmla="*/ 4744921 w 6226010"/>
              <a:gd name="connsiteY8581" fmla="*/ 3666030 h 5756219"/>
              <a:gd name="connsiteX8582" fmla="*/ 4782967 w 6226010"/>
              <a:gd name="connsiteY8582" fmla="*/ 3666030 h 5756219"/>
              <a:gd name="connsiteX8583" fmla="*/ 4782967 w 6226010"/>
              <a:gd name="connsiteY8583" fmla="*/ 3687771 h 5756219"/>
              <a:gd name="connsiteX8584" fmla="*/ 4774814 w 6226010"/>
              <a:gd name="connsiteY8584" fmla="*/ 3717664 h 5756219"/>
              <a:gd name="connsiteX8585" fmla="*/ 4744921 w 6226010"/>
              <a:gd name="connsiteY8585" fmla="*/ 3695923 h 5756219"/>
              <a:gd name="connsiteX8586" fmla="*/ 4761226 w 6226010"/>
              <a:gd name="connsiteY8586" fmla="*/ 3695923 h 5756219"/>
              <a:gd name="connsiteX8587" fmla="*/ 4761226 w 6226010"/>
              <a:gd name="connsiteY8587" fmla="*/ 3679618 h 5756219"/>
              <a:gd name="connsiteX8588" fmla="*/ 4731333 w 6226010"/>
              <a:gd name="connsiteY8588" fmla="*/ 3709511 h 5756219"/>
              <a:gd name="connsiteX8589" fmla="*/ 4715027 w 6226010"/>
              <a:gd name="connsiteY8589" fmla="*/ 3709511 h 5756219"/>
              <a:gd name="connsiteX8590" fmla="*/ 4731333 w 6226010"/>
              <a:gd name="connsiteY8590" fmla="*/ 3739405 h 5756219"/>
              <a:gd name="connsiteX8591" fmla="*/ 4715027 w 6226010"/>
              <a:gd name="connsiteY8591" fmla="*/ 3747558 h 5756219"/>
              <a:gd name="connsiteX8592" fmla="*/ 4715027 w 6226010"/>
              <a:gd name="connsiteY8592" fmla="*/ 3731252 h 5756219"/>
              <a:gd name="connsiteX8593" fmla="*/ 4698721 w 6226010"/>
              <a:gd name="connsiteY8593" fmla="*/ 3731252 h 5756219"/>
              <a:gd name="connsiteX8594" fmla="*/ 4652521 w 6226010"/>
              <a:gd name="connsiteY8594" fmla="*/ 3777451 h 5756219"/>
              <a:gd name="connsiteX8595" fmla="*/ 4622629 w 6226010"/>
              <a:gd name="connsiteY8595" fmla="*/ 3731252 h 5756219"/>
              <a:gd name="connsiteX8596" fmla="*/ 4614475 w 6226010"/>
              <a:gd name="connsiteY8596" fmla="*/ 3755710 h 5756219"/>
              <a:gd name="connsiteX8597" fmla="*/ 4592735 w 6226010"/>
              <a:gd name="connsiteY8597" fmla="*/ 3763863 h 5756219"/>
              <a:gd name="connsiteX8598" fmla="*/ 4592735 w 6226010"/>
              <a:gd name="connsiteY8598" fmla="*/ 3742122 h 5756219"/>
              <a:gd name="connsiteX8599" fmla="*/ 4584583 w 6226010"/>
              <a:gd name="connsiteY8599" fmla="*/ 3742122 h 5756219"/>
              <a:gd name="connsiteX8600" fmla="*/ 4581865 w 6226010"/>
              <a:gd name="connsiteY8600" fmla="*/ 3782886 h 5756219"/>
              <a:gd name="connsiteX8601" fmla="*/ 4538383 w 6226010"/>
              <a:gd name="connsiteY8601" fmla="*/ 3744840 h 5756219"/>
              <a:gd name="connsiteX8602" fmla="*/ 4527513 w 6226010"/>
              <a:gd name="connsiteY8602" fmla="*/ 3752993 h 5756219"/>
              <a:gd name="connsiteX8603" fmla="*/ 4551971 w 6226010"/>
              <a:gd name="connsiteY8603" fmla="*/ 3774733 h 5756219"/>
              <a:gd name="connsiteX8604" fmla="*/ 4551971 w 6226010"/>
              <a:gd name="connsiteY8604" fmla="*/ 3796474 h 5756219"/>
              <a:gd name="connsiteX8605" fmla="*/ 4532947 w 6226010"/>
              <a:gd name="connsiteY8605" fmla="*/ 3837238 h 5756219"/>
              <a:gd name="connsiteX8606" fmla="*/ 4538383 w 6226010"/>
              <a:gd name="connsiteY8606" fmla="*/ 3818215 h 5756219"/>
              <a:gd name="connsiteX8607" fmla="*/ 4560123 w 6226010"/>
              <a:gd name="connsiteY8607" fmla="*/ 3826368 h 5756219"/>
              <a:gd name="connsiteX8608" fmla="*/ 4614475 w 6226010"/>
              <a:gd name="connsiteY8608" fmla="*/ 3788321 h 5756219"/>
              <a:gd name="connsiteX8609" fmla="*/ 4606323 w 6226010"/>
              <a:gd name="connsiteY8609" fmla="*/ 3804627 h 5756219"/>
              <a:gd name="connsiteX8610" fmla="*/ 4630781 w 6226010"/>
              <a:gd name="connsiteY8610" fmla="*/ 3804627 h 5756219"/>
              <a:gd name="connsiteX8611" fmla="*/ 4622629 w 6226010"/>
              <a:gd name="connsiteY8611" fmla="*/ 3818215 h 5756219"/>
              <a:gd name="connsiteX8612" fmla="*/ 4628063 w 6226010"/>
              <a:gd name="connsiteY8612" fmla="*/ 3826368 h 5756219"/>
              <a:gd name="connsiteX8613" fmla="*/ 4625345 w 6226010"/>
              <a:gd name="connsiteY8613" fmla="*/ 3856261 h 5756219"/>
              <a:gd name="connsiteX8614" fmla="*/ 4611757 w 6226010"/>
              <a:gd name="connsiteY8614" fmla="*/ 3872567 h 5756219"/>
              <a:gd name="connsiteX8615" fmla="*/ 4590017 w 6226010"/>
              <a:gd name="connsiteY8615" fmla="*/ 3878002 h 5756219"/>
              <a:gd name="connsiteX8616" fmla="*/ 4595453 w 6226010"/>
              <a:gd name="connsiteY8616" fmla="*/ 3886155 h 5756219"/>
              <a:gd name="connsiteX8617" fmla="*/ 4619911 w 6226010"/>
              <a:gd name="connsiteY8617" fmla="*/ 3878002 h 5756219"/>
              <a:gd name="connsiteX8618" fmla="*/ 4663393 w 6226010"/>
              <a:gd name="connsiteY8618" fmla="*/ 3926919 h 5756219"/>
              <a:gd name="connsiteX8619" fmla="*/ 4679697 w 6226010"/>
              <a:gd name="connsiteY8619" fmla="*/ 3918766 h 5756219"/>
              <a:gd name="connsiteX8620" fmla="*/ 4687851 w 6226010"/>
              <a:gd name="connsiteY8620" fmla="*/ 3943224 h 5756219"/>
              <a:gd name="connsiteX8621" fmla="*/ 4717745 w 6226010"/>
              <a:gd name="connsiteY8621" fmla="*/ 3943224 h 5756219"/>
              <a:gd name="connsiteX8622" fmla="*/ 4717745 w 6226010"/>
              <a:gd name="connsiteY8622" fmla="*/ 3918766 h 5756219"/>
              <a:gd name="connsiteX8623" fmla="*/ 4731333 w 6226010"/>
              <a:gd name="connsiteY8623" fmla="*/ 3924201 h 5756219"/>
              <a:gd name="connsiteX8624" fmla="*/ 4747638 w 6226010"/>
              <a:gd name="connsiteY8624" fmla="*/ 3921483 h 5756219"/>
              <a:gd name="connsiteX8625" fmla="*/ 4780249 w 6226010"/>
              <a:gd name="connsiteY8625" fmla="*/ 3926919 h 5756219"/>
              <a:gd name="connsiteX8626" fmla="*/ 4772097 w 6226010"/>
              <a:gd name="connsiteY8626" fmla="*/ 3910613 h 5756219"/>
              <a:gd name="connsiteX8627" fmla="*/ 4796555 w 6226010"/>
              <a:gd name="connsiteY8627" fmla="*/ 3918766 h 5756219"/>
              <a:gd name="connsiteX8628" fmla="*/ 4810143 w 6226010"/>
              <a:gd name="connsiteY8628" fmla="*/ 3910613 h 5756219"/>
              <a:gd name="connsiteX8629" fmla="*/ 4818296 w 6226010"/>
              <a:gd name="connsiteY8629" fmla="*/ 3926919 h 5756219"/>
              <a:gd name="connsiteX8630" fmla="*/ 4848189 w 6226010"/>
              <a:gd name="connsiteY8630" fmla="*/ 3924201 h 5756219"/>
              <a:gd name="connsiteX8631" fmla="*/ 4872648 w 6226010"/>
              <a:gd name="connsiteY8631" fmla="*/ 3926919 h 5756219"/>
              <a:gd name="connsiteX8632" fmla="*/ 4864495 w 6226010"/>
              <a:gd name="connsiteY8632" fmla="*/ 3940507 h 5756219"/>
              <a:gd name="connsiteX8633" fmla="*/ 4886236 w 6226010"/>
              <a:gd name="connsiteY8633" fmla="*/ 3940507 h 5756219"/>
              <a:gd name="connsiteX8634" fmla="*/ 4907976 w 6226010"/>
              <a:gd name="connsiteY8634" fmla="*/ 3932354 h 5756219"/>
              <a:gd name="connsiteX8635" fmla="*/ 4916129 w 6226010"/>
              <a:gd name="connsiteY8635" fmla="*/ 3945942 h 5756219"/>
              <a:gd name="connsiteX8636" fmla="*/ 4948740 w 6226010"/>
              <a:gd name="connsiteY8636" fmla="*/ 3956812 h 5756219"/>
              <a:gd name="connsiteX8637" fmla="*/ 4932435 w 6226010"/>
              <a:gd name="connsiteY8637" fmla="*/ 3978553 h 5756219"/>
              <a:gd name="connsiteX8638" fmla="*/ 4907976 w 6226010"/>
              <a:gd name="connsiteY8638" fmla="*/ 3978553 h 5756219"/>
              <a:gd name="connsiteX8639" fmla="*/ 4932435 w 6226010"/>
              <a:gd name="connsiteY8639" fmla="*/ 4008447 h 5756219"/>
              <a:gd name="connsiteX8640" fmla="*/ 4956893 w 6226010"/>
              <a:gd name="connsiteY8640" fmla="*/ 4016599 h 5756219"/>
              <a:gd name="connsiteX8641" fmla="*/ 4924282 w 6226010"/>
              <a:gd name="connsiteY8641" fmla="*/ 4024752 h 5756219"/>
              <a:gd name="connsiteX8642" fmla="*/ 4956893 w 6226010"/>
              <a:gd name="connsiteY8642" fmla="*/ 4062799 h 5756219"/>
              <a:gd name="connsiteX8643" fmla="*/ 4948740 w 6226010"/>
              <a:gd name="connsiteY8643" fmla="*/ 4065516 h 5756219"/>
              <a:gd name="connsiteX8644" fmla="*/ 4927000 w 6226010"/>
              <a:gd name="connsiteY8644" fmla="*/ 4057363 h 5756219"/>
              <a:gd name="connsiteX8645" fmla="*/ 4932435 w 6226010"/>
              <a:gd name="connsiteY8645" fmla="*/ 4070951 h 5756219"/>
              <a:gd name="connsiteX8646" fmla="*/ 4927000 w 6226010"/>
              <a:gd name="connsiteY8646" fmla="*/ 4076386 h 5756219"/>
              <a:gd name="connsiteX8647" fmla="*/ 4929717 w 6226010"/>
              <a:gd name="connsiteY8647" fmla="*/ 4084539 h 5756219"/>
              <a:gd name="connsiteX8648" fmla="*/ 4916129 w 6226010"/>
              <a:gd name="connsiteY8648" fmla="*/ 4100845 h 5756219"/>
              <a:gd name="connsiteX8649" fmla="*/ 4929717 w 6226010"/>
              <a:gd name="connsiteY8649" fmla="*/ 4117150 h 5756219"/>
              <a:gd name="connsiteX8650" fmla="*/ 4897106 w 6226010"/>
              <a:gd name="connsiteY8650" fmla="*/ 4136173 h 5756219"/>
              <a:gd name="connsiteX8651" fmla="*/ 4921564 w 6226010"/>
              <a:gd name="connsiteY8651" fmla="*/ 4149762 h 5756219"/>
              <a:gd name="connsiteX8652" fmla="*/ 4913412 w 6226010"/>
              <a:gd name="connsiteY8652" fmla="*/ 4176937 h 5756219"/>
              <a:gd name="connsiteX8653" fmla="*/ 4910694 w 6226010"/>
              <a:gd name="connsiteY8653" fmla="*/ 4176937 h 5756219"/>
              <a:gd name="connsiteX8654" fmla="*/ 4907976 w 6226010"/>
              <a:gd name="connsiteY8654" fmla="*/ 4163349 h 5756219"/>
              <a:gd name="connsiteX8655" fmla="*/ 4856342 w 6226010"/>
              <a:gd name="connsiteY8655" fmla="*/ 4174220 h 5756219"/>
              <a:gd name="connsiteX8656" fmla="*/ 4848189 w 6226010"/>
              <a:gd name="connsiteY8656" fmla="*/ 4187808 h 5756219"/>
              <a:gd name="connsiteX8657" fmla="*/ 4818296 w 6226010"/>
              <a:gd name="connsiteY8657" fmla="*/ 4179655 h 5756219"/>
              <a:gd name="connsiteX8658" fmla="*/ 4818296 w 6226010"/>
              <a:gd name="connsiteY8658" fmla="*/ 4195961 h 5756219"/>
              <a:gd name="connsiteX8659" fmla="*/ 4801990 w 6226010"/>
              <a:gd name="connsiteY8659" fmla="*/ 4195961 h 5756219"/>
              <a:gd name="connsiteX8660" fmla="*/ 4810143 w 6226010"/>
              <a:gd name="connsiteY8660" fmla="*/ 4212266 h 5756219"/>
              <a:gd name="connsiteX8661" fmla="*/ 4772097 w 6226010"/>
              <a:gd name="connsiteY8661" fmla="*/ 4187808 h 5756219"/>
              <a:gd name="connsiteX8662" fmla="*/ 4758509 w 6226010"/>
              <a:gd name="connsiteY8662" fmla="*/ 4195961 h 5756219"/>
              <a:gd name="connsiteX8663" fmla="*/ 4750356 w 6226010"/>
              <a:gd name="connsiteY8663" fmla="*/ 4179655 h 5756219"/>
              <a:gd name="connsiteX8664" fmla="*/ 4728615 w 6226010"/>
              <a:gd name="connsiteY8664" fmla="*/ 4193243 h 5756219"/>
              <a:gd name="connsiteX8665" fmla="*/ 4712309 w 6226010"/>
              <a:gd name="connsiteY8665" fmla="*/ 4179655 h 5756219"/>
              <a:gd name="connsiteX8666" fmla="*/ 4717745 w 6226010"/>
              <a:gd name="connsiteY8666" fmla="*/ 4166067 h 5756219"/>
              <a:gd name="connsiteX8667" fmla="*/ 4696004 w 6226010"/>
              <a:gd name="connsiteY8667" fmla="*/ 4141609 h 5756219"/>
              <a:gd name="connsiteX8668" fmla="*/ 4671545 w 6226010"/>
              <a:gd name="connsiteY8668" fmla="*/ 4149762 h 5756219"/>
              <a:gd name="connsiteX8669" fmla="*/ 4671545 w 6226010"/>
              <a:gd name="connsiteY8669" fmla="*/ 4133456 h 5756219"/>
              <a:gd name="connsiteX8670" fmla="*/ 4641651 w 6226010"/>
              <a:gd name="connsiteY8670" fmla="*/ 4138891 h 5756219"/>
              <a:gd name="connsiteX8671" fmla="*/ 4617193 w 6226010"/>
              <a:gd name="connsiteY8671" fmla="*/ 4136173 h 5756219"/>
              <a:gd name="connsiteX8672" fmla="*/ 4655239 w 6226010"/>
              <a:gd name="connsiteY8672" fmla="*/ 4128021 h 5756219"/>
              <a:gd name="connsiteX8673" fmla="*/ 4655239 w 6226010"/>
              <a:gd name="connsiteY8673" fmla="*/ 4106280 h 5756219"/>
              <a:gd name="connsiteX8674" fmla="*/ 4663393 w 6226010"/>
              <a:gd name="connsiteY8674" fmla="*/ 4089974 h 5756219"/>
              <a:gd name="connsiteX8675" fmla="*/ 4647087 w 6226010"/>
              <a:gd name="connsiteY8675" fmla="*/ 4089974 h 5756219"/>
              <a:gd name="connsiteX8676" fmla="*/ 4655239 w 6226010"/>
              <a:gd name="connsiteY8676" fmla="*/ 4103562 h 5756219"/>
              <a:gd name="connsiteX8677" fmla="*/ 4641651 w 6226010"/>
              <a:gd name="connsiteY8677" fmla="*/ 4103562 h 5756219"/>
              <a:gd name="connsiteX8678" fmla="*/ 4633499 w 6226010"/>
              <a:gd name="connsiteY8678" fmla="*/ 4087257 h 5756219"/>
              <a:gd name="connsiteX8679" fmla="*/ 4641651 w 6226010"/>
              <a:gd name="connsiteY8679" fmla="*/ 4073669 h 5756219"/>
              <a:gd name="connsiteX8680" fmla="*/ 4619911 w 6226010"/>
              <a:gd name="connsiteY8680" fmla="*/ 4057363 h 5756219"/>
              <a:gd name="connsiteX8681" fmla="*/ 4619911 w 6226010"/>
              <a:gd name="connsiteY8681" fmla="*/ 4079104 h 5756219"/>
              <a:gd name="connsiteX8682" fmla="*/ 4590017 w 6226010"/>
              <a:gd name="connsiteY8682" fmla="*/ 4087257 h 5756219"/>
              <a:gd name="connsiteX8683" fmla="*/ 4573711 w 6226010"/>
              <a:gd name="connsiteY8683" fmla="*/ 4016599 h 5756219"/>
              <a:gd name="connsiteX8684" fmla="*/ 4603605 w 6226010"/>
              <a:gd name="connsiteY8684" fmla="*/ 4011164 h 5756219"/>
              <a:gd name="connsiteX8685" fmla="*/ 4603605 w 6226010"/>
              <a:gd name="connsiteY8685" fmla="*/ 3989423 h 5756219"/>
              <a:gd name="connsiteX8686" fmla="*/ 4570995 w 6226010"/>
              <a:gd name="connsiteY8686" fmla="*/ 4005729 h 5756219"/>
              <a:gd name="connsiteX8687" fmla="*/ 4557407 w 6226010"/>
              <a:gd name="connsiteY8687" fmla="*/ 3989423 h 5756219"/>
              <a:gd name="connsiteX8688" fmla="*/ 4527513 w 6226010"/>
              <a:gd name="connsiteY8688" fmla="*/ 3994859 h 5756219"/>
              <a:gd name="connsiteX8689" fmla="*/ 4527513 w 6226010"/>
              <a:gd name="connsiteY8689" fmla="*/ 4011164 h 5756219"/>
              <a:gd name="connsiteX8690" fmla="*/ 4522077 w 6226010"/>
              <a:gd name="connsiteY8690" fmla="*/ 4016599 h 5756219"/>
              <a:gd name="connsiteX8691" fmla="*/ 4513925 w 6226010"/>
              <a:gd name="connsiteY8691" fmla="*/ 4011164 h 5756219"/>
              <a:gd name="connsiteX8692" fmla="*/ 4497619 w 6226010"/>
              <a:gd name="connsiteY8692" fmla="*/ 4032905 h 5756219"/>
              <a:gd name="connsiteX8693" fmla="*/ 4519359 w 6226010"/>
              <a:gd name="connsiteY8693" fmla="*/ 4032905 h 5756219"/>
              <a:gd name="connsiteX8694" fmla="*/ 4519359 w 6226010"/>
              <a:gd name="connsiteY8694" fmla="*/ 4049211 h 5756219"/>
              <a:gd name="connsiteX8695" fmla="*/ 4541101 w 6226010"/>
              <a:gd name="connsiteY8695" fmla="*/ 4041058 h 5756219"/>
              <a:gd name="connsiteX8696" fmla="*/ 4551971 w 6226010"/>
              <a:gd name="connsiteY8696" fmla="*/ 4049211 h 5756219"/>
              <a:gd name="connsiteX8697" fmla="*/ 4527513 w 6226010"/>
              <a:gd name="connsiteY8697" fmla="*/ 4079104 h 5756219"/>
              <a:gd name="connsiteX8698" fmla="*/ 4511207 w 6226010"/>
              <a:gd name="connsiteY8698" fmla="*/ 4087257 h 5756219"/>
              <a:gd name="connsiteX8699" fmla="*/ 4527513 w 6226010"/>
              <a:gd name="connsiteY8699" fmla="*/ 4100845 h 5756219"/>
              <a:gd name="connsiteX8700" fmla="*/ 4527513 w 6226010"/>
              <a:gd name="connsiteY8700" fmla="*/ 4079104 h 5756219"/>
              <a:gd name="connsiteX8701" fmla="*/ 4535665 w 6226010"/>
              <a:gd name="connsiteY8701" fmla="*/ 4089974 h 5756219"/>
              <a:gd name="connsiteX8702" fmla="*/ 4549253 w 6226010"/>
              <a:gd name="connsiteY8702" fmla="*/ 4092692 h 5756219"/>
              <a:gd name="connsiteX8703" fmla="*/ 4527513 w 6226010"/>
              <a:gd name="connsiteY8703" fmla="*/ 4155197 h 5756219"/>
              <a:gd name="connsiteX8704" fmla="*/ 4549253 w 6226010"/>
              <a:gd name="connsiteY8704" fmla="*/ 4155197 h 5756219"/>
              <a:gd name="connsiteX8705" fmla="*/ 4549253 w 6226010"/>
              <a:gd name="connsiteY8705" fmla="*/ 4176937 h 5756219"/>
              <a:gd name="connsiteX8706" fmla="*/ 4535665 w 6226010"/>
              <a:gd name="connsiteY8706" fmla="*/ 4185090 h 5756219"/>
              <a:gd name="connsiteX8707" fmla="*/ 4532041 w 6226010"/>
              <a:gd name="connsiteY8707" fmla="*/ 4182372 h 5756219"/>
              <a:gd name="connsiteX8708" fmla="*/ 4532947 w 6226010"/>
              <a:gd name="connsiteY8708" fmla="*/ 4179655 h 5756219"/>
              <a:gd name="connsiteX8709" fmla="*/ 4529302 w 6226010"/>
              <a:gd name="connsiteY8709" fmla="*/ 4180318 h 5756219"/>
              <a:gd name="connsiteX8710" fmla="*/ 4524795 w 6226010"/>
              <a:gd name="connsiteY8710" fmla="*/ 4176937 h 5756219"/>
              <a:gd name="connsiteX8711" fmla="*/ 4522077 w 6226010"/>
              <a:gd name="connsiteY8711" fmla="*/ 4163349 h 5756219"/>
              <a:gd name="connsiteX8712" fmla="*/ 4500337 w 6226010"/>
              <a:gd name="connsiteY8712" fmla="*/ 4163349 h 5756219"/>
              <a:gd name="connsiteX8713" fmla="*/ 4508489 w 6226010"/>
              <a:gd name="connsiteY8713" fmla="*/ 4147044 h 5756219"/>
              <a:gd name="connsiteX8714" fmla="*/ 4462291 w 6226010"/>
              <a:gd name="connsiteY8714" fmla="*/ 4125303 h 5756219"/>
              <a:gd name="connsiteX8715" fmla="*/ 4462291 w 6226010"/>
              <a:gd name="connsiteY8715" fmla="*/ 4147044 h 5756219"/>
              <a:gd name="connsiteX8716" fmla="*/ 4456855 w 6226010"/>
              <a:gd name="connsiteY8716" fmla="*/ 4168785 h 5756219"/>
              <a:gd name="connsiteX8717" fmla="*/ 4456855 w 6226010"/>
              <a:gd name="connsiteY8717" fmla="*/ 4171502 h 5756219"/>
              <a:gd name="connsiteX8718" fmla="*/ 4473161 w 6226010"/>
              <a:gd name="connsiteY8718" fmla="*/ 4138891 h 5756219"/>
              <a:gd name="connsiteX8719" fmla="*/ 4494901 w 6226010"/>
              <a:gd name="connsiteY8719" fmla="*/ 4155197 h 5756219"/>
              <a:gd name="connsiteX8720" fmla="*/ 4503055 w 6226010"/>
              <a:gd name="connsiteY8720" fmla="*/ 4185090 h 5756219"/>
              <a:gd name="connsiteX8721" fmla="*/ 4529302 w 6226010"/>
              <a:gd name="connsiteY8721" fmla="*/ 4180318 h 5756219"/>
              <a:gd name="connsiteX8722" fmla="*/ 4532041 w 6226010"/>
              <a:gd name="connsiteY8722" fmla="*/ 4182372 h 5756219"/>
              <a:gd name="connsiteX8723" fmla="*/ 4524795 w 6226010"/>
              <a:gd name="connsiteY8723" fmla="*/ 4204113 h 5756219"/>
              <a:gd name="connsiteX8724" fmla="*/ 4549253 w 6226010"/>
              <a:gd name="connsiteY8724" fmla="*/ 4225854 h 5756219"/>
              <a:gd name="connsiteX8725" fmla="*/ 4549253 w 6226010"/>
              <a:gd name="connsiteY8725" fmla="*/ 4204113 h 5756219"/>
              <a:gd name="connsiteX8726" fmla="*/ 4569117 w 6226010"/>
              <a:gd name="connsiteY8726" fmla="*/ 4211694 h 5756219"/>
              <a:gd name="connsiteX8727" fmla="*/ 4562841 w 6226010"/>
              <a:gd name="connsiteY8727" fmla="*/ 4214984 h 5756219"/>
              <a:gd name="connsiteX8728" fmla="*/ 4570995 w 6226010"/>
              <a:gd name="connsiteY8728" fmla="*/ 4244877 h 5756219"/>
              <a:gd name="connsiteX8729" fmla="*/ 4592735 w 6226010"/>
              <a:gd name="connsiteY8729" fmla="*/ 4269335 h 5756219"/>
              <a:gd name="connsiteX8730" fmla="*/ 4560123 w 6226010"/>
              <a:gd name="connsiteY8730" fmla="*/ 4269335 h 5756219"/>
              <a:gd name="connsiteX8731" fmla="*/ 4560123 w 6226010"/>
              <a:gd name="connsiteY8731" fmla="*/ 4277488 h 5756219"/>
              <a:gd name="connsiteX8732" fmla="*/ 4530231 w 6226010"/>
              <a:gd name="connsiteY8732" fmla="*/ 4277488 h 5756219"/>
              <a:gd name="connsiteX8733" fmla="*/ 4513925 w 6226010"/>
              <a:gd name="connsiteY8733" fmla="*/ 4269335 h 5756219"/>
              <a:gd name="connsiteX8734" fmla="*/ 4500337 w 6226010"/>
              <a:gd name="connsiteY8734" fmla="*/ 4274771 h 5756219"/>
              <a:gd name="connsiteX8735" fmla="*/ 4488800 w 6226010"/>
              <a:gd name="connsiteY8735" fmla="*/ 4270576 h 5756219"/>
              <a:gd name="connsiteX8736" fmla="*/ 4494901 w 6226010"/>
              <a:gd name="connsiteY8736" fmla="*/ 4269335 h 5756219"/>
              <a:gd name="connsiteX8737" fmla="*/ 4511207 w 6226010"/>
              <a:gd name="connsiteY8737" fmla="*/ 4239442 h 5756219"/>
              <a:gd name="connsiteX8738" fmla="*/ 4473161 w 6226010"/>
              <a:gd name="connsiteY8738" fmla="*/ 4231289 h 5756219"/>
              <a:gd name="connsiteX8739" fmla="*/ 4473161 w 6226010"/>
              <a:gd name="connsiteY8739" fmla="*/ 4214984 h 5756219"/>
              <a:gd name="connsiteX8740" fmla="*/ 4494901 w 6226010"/>
              <a:gd name="connsiteY8740" fmla="*/ 4214984 h 5756219"/>
              <a:gd name="connsiteX8741" fmla="*/ 4494901 w 6226010"/>
              <a:gd name="connsiteY8741" fmla="*/ 4193243 h 5756219"/>
              <a:gd name="connsiteX8742" fmla="*/ 4454137 w 6226010"/>
              <a:gd name="connsiteY8742" fmla="*/ 4209548 h 5756219"/>
              <a:gd name="connsiteX8743" fmla="*/ 4443267 w 6226010"/>
              <a:gd name="connsiteY8743" fmla="*/ 4231289 h 5756219"/>
              <a:gd name="connsiteX8744" fmla="*/ 4445985 w 6226010"/>
              <a:gd name="connsiteY8744" fmla="*/ 4163349 h 5756219"/>
              <a:gd name="connsiteX8745" fmla="*/ 4424245 w 6226010"/>
              <a:gd name="connsiteY8745" fmla="*/ 4147044 h 5756219"/>
              <a:gd name="connsiteX8746" fmla="*/ 4421527 w 6226010"/>
              <a:gd name="connsiteY8746" fmla="*/ 4168785 h 5756219"/>
              <a:gd name="connsiteX8747" fmla="*/ 4407939 w 6226010"/>
              <a:gd name="connsiteY8747" fmla="*/ 4185090 h 5756219"/>
              <a:gd name="connsiteX8748" fmla="*/ 4424245 w 6226010"/>
              <a:gd name="connsiteY8748" fmla="*/ 4185090 h 5756219"/>
              <a:gd name="connsiteX8749" fmla="*/ 4416091 w 6226010"/>
              <a:gd name="connsiteY8749" fmla="*/ 4206831 h 5756219"/>
              <a:gd name="connsiteX8750" fmla="*/ 4432397 w 6226010"/>
              <a:gd name="connsiteY8750" fmla="*/ 4214984 h 5756219"/>
              <a:gd name="connsiteX8751" fmla="*/ 4424245 w 6226010"/>
              <a:gd name="connsiteY8751" fmla="*/ 4231289 h 5756219"/>
              <a:gd name="connsiteX8752" fmla="*/ 4440549 w 6226010"/>
              <a:gd name="connsiteY8752" fmla="*/ 4231289 h 5756219"/>
              <a:gd name="connsiteX8753" fmla="*/ 4424245 w 6226010"/>
              <a:gd name="connsiteY8753" fmla="*/ 4253030 h 5756219"/>
              <a:gd name="connsiteX8754" fmla="*/ 4402503 w 6226010"/>
              <a:gd name="connsiteY8754" fmla="*/ 4231289 h 5756219"/>
              <a:gd name="connsiteX8755" fmla="*/ 4402503 w 6226010"/>
              <a:gd name="connsiteY8755" fmla="*/ 4253030 h 5756219"/>
              <a:gd name="connsiteX8756" fmla="*/ 4424245 w 6226010"/>
              <a:gd name="connsiteY8756" fmla="*/ 4253030 h 5756219"/>
              <a:gd name="connsiteX8757" fmla="*/ 4426961 w 6226010"/>
              <a:gd name="connsiteY8757" fmla="*/ 4253030 h 5756219"/>
              <a:gd name="connsiteX8758" fmla="*/ 4421527 w 6226010"/>
              <a:gd name="connsiteY8758" fmla="*/ 4266618 h 5756219"/>
              <a:gd name="connsiteX8759" fmla="*/ 4435115 w 6226010"/>
              <a:gd name="connsiteY8759" fmla="*/ 4282923 h 5756219"/>
              <a:gd name="connsiteX8760" fmla="*/ 4418809 w 6226010"/>
              <a:gd name="connsiteY8760" fmla="*/ 4282923 h 5756219"/>
              <a:gd name="connsiteX8761" fmla="*/ 4435115 w 6226010"/>
              <a:gd name="connsiteY8761" fmla="*/ 4304664 h 5756219"/>
              <a:gd name="connsiteX8762" fmla="*/ 4435115 w 6226010"/>
              <a:gd name="connsiteY8762" fmla="*/ 4303305 h 5756219"/>
              <a:gd name="connsiteX8763" fmla="*/ 4448703 w 6226010"/>
              <a:gd name="connsiteY8763" fmla="*/ 4310099 h 5756219"/>
              <a:gd name="connsiteX8764" fmla="*/ 4426961 w 6226010"/>
              <a:gd name="connsiteY8764" fmla="*/ 4310099 h 5756219"/>
              <a:gd name="connsiteX8765" fmla="*/ 4380763 w 6226010"/>
              <a:gd name="connsiteY8765" fmla="*/ 4326405 h 5756219"/>
              <a:gd name="connsiteX8766" fmla="*/ 4405221 w 6226010"/>
              <a:gd name="connsiteY8766" fmla="*/ 4356298 h 5756219"/>
              <a:gd name="connsiteX8767" fmla="*/ 4418809 w 6226010"/>
              <a:gd name="connsiteY8767" fmla="*/ 4348146 h 5756219"/>
              <a:gd name="connsiteX8768" fmla="*/ 4435115 w 6226010"/>
              <a:gd name="connsiteY8768" fmla="*/ 4361734 h 5756219"/>
              <a:gd name="connsiteX8769" fmla="*/ 4435115 w 6226010"/>
              <a:gd name="connsiteY8769" fmla="*/ 4391627 h 5756219"/>
              <a:gd name="connsiteX8770" fmla="*/ 4451421 w 6226010"/>
              <a:gd name="connsiteY8770" fmla="*/ 4391627 h 5756219"/>
              <a:gd name="connsiteX8771" fmla="*/ 4435115 w 6226010"/>
              <a:gd name="connsiteY8771" fmla="*/ 4413368 h 5756219"/>
              <a:gd name="connsiteX8772" fmla="*/ 4443267 w 6226010"/>
              <a:gd name="connsiteY8772" fmla="*/ 4437826 h 5756219"/>
              <a:gd name="connsiteX8773" fmla="*/ 4465009 w 6226010"/>
              <a:gd name="connsiteY8773" fmla="*/ 4437826 h 5756219"/>
              <a:gd name="connsiteX8774" fmla="*/ 4478597 w 6226010"/>
              <a:gd name="connsiteY8774" fmla="*/ 4459567 h 5756219"/>
              <a:gd name="connsiteX8775" fmla="*/ 4448703 w 6226010"/>
              <a:gd name="connsiteY8775" fmla="*/ 4467720 h 5756219"/>
              <a:gd name="connsiteX8776" fmla="*/ 4448703 w 6226010"/>
              <a:gd name="connsiteY8776" fmla="*/ 4445979 h 5756219"/>
              <a:gd name="connsiteX8777" fmla="*/ 4410657 w 6226010"/>
              <a:gd name="connsiteY8777" fmla="*/ 4484026 h 5756219"/>
              <a:gd name="connsiteX8778" fmla="*/ 4378045 w 6226010"/>
              <a:gd name="connsiteY8778" fmla="*/ 4475873 h 5756219"/>
              <a:gd name="connsiteX8779" fmla="*/ 4402503 w 6226010"/>
              <a:gd name="connsiteY8779" fmla="*/ 4448697 h 5756219"/>
              <a:gd name="connsiteX8780" fmla="*/ 4380763 w 6226010"/>
              <a:gd name="connsiteY8780" fmla="*/ 4440544 h 5756219"/>
              <a:gd name="connsiteX8781" fmla="*/ 4402503 w 6226010"/>
              <a:gd name="connsiteY8781" fmla="*/ 4440544 h 5756219"/>
              <a:gd name="connsiteX8782" fmla="*/ 4380763 w 6226010"/>
              <a:gd name="connsiteY8782" fmla="*/ 4424238 h 5756219"/>
              <a:gd name="connsiteX8783" fmla="*/ 4364457 w 6226010"/>
              <a:gd name="connsiteY8783" fmla="*/ 4416086 h 5756219"/>
              <a:gd name="connsiteX8784" fmla="*/ 4372609 w 6226010"/>
              <a:gd name="connsiteY8784" fmla="*/ 4402498 h 5756219"/>
              <a:gd name="connsiteX8785" fmla="*/ 4348151 w 6226010"/>
              <a:gd name="connsiteY8785" fmla="*/ 4402498 h 5756219"/>
              <a:gd name="connsiteX8786" fmla="*/ 4372609 w 6226010"/>
              <a:gd name="connsiteY8786" fmla="*/ 4372604 h 5756219"/>
              <a:gd name="connsiteX8787" fmla="*/ 4348151 w 6226010"/>
              <a:gd name="connsiteY8787" fmla="*/ 4364451 h 5756219"/>
              <a:gd name="connsiteX8788" fmla="*/ 4348151 w 6226010"/>
              <a:gd name="connsiteY8788" fmla="*/ 4386192 h 5756219"/>
              <a:gd name="connsiteX8789" fmla="*/ 4326411 w 6226010"/>
              <a:gd name="connsiteY8789" fmla="*/ 4394345 h 5756219"/>
              <a:gd name="connsiteX8790" fmla="*/ 4310105 w 6226010"/>
              <a:gd name="connsiteY8790" fmla="*/ 4416086 h 5756219"/>
              <a:gd name="connsiteX8791" fmla="*/ 4318257 w 6226010"/>
              <a:gd name="connsiteY8791" fmla="*/ 4378039 h 5756219"/>
              <a:gd name="connsiteX8792" fmla="*/ 4280211 w 6226010"/>
              <a:gd name="connsiteY8792" fmla="*/ 4378039 h 5756219"/>
              <a:gd name="connsiteX8793" fmla="*/ 4301953 w 6226010"/>
              <a:gd name="connsiteY8793" fmla="*/ 4356298 h 5756219"/>
              <a:gd name="connsiteX8794" fmla="*/ 4331845 w 6226010"/>
              <a:gd name="connsiteY8794" fmla="*/ 4372604 h 5756219"/>
              <a:gd name="connsiteX8795" fmla="*/ 4331845 w 6226010"/>
              <a:gd name="connsiteY8795" fmla="*/ 4353581 h 5756219"/>
              <a:gd name="connsiteX8796" fmla="*/ 4361739 w 6226010"/>
              <a:gd name="connsiteY8796" fmla="*/ 4350863 h 5756219"/>
              <a:gd name="connsiteX8797" fmla="*/ 4369893 w 6226010"/>
              <a:gd name="connsiteY8797" fmla="*/ 4345428 h 5756219"/>
              <a:gd name="connsiteX8798" fmla="*/ 4367175 w 6226010"/>
              <a:gd name="connsiteY8798" fmla="*/ 4337275 h 5756219"/>
              <a:gd name="connsiteX8799" fmla="*/ 4369893 w 6226010"/>
              <a:gd name="connsiteY8799" fmla="*/ 4312817 h 5756219"/>
              <a:gd name="connsiteX8800" fmla="*/ 4391633 w 6226010"/>
              <a:gd name="connsiteY8800" fmla="*/ 4312817 h 5756219"/>
              <a:gd name="connsiteX8801" fmla="*/ 4391633 w 6226010"/>
              <a:gd name="connsiteY8801" fmla="*/ 4307382 h 5756219"/>
              <a:gd name="connsiteX8802" fmla="*/ 4361739 w 6226010"/>
              <a:gd name="connsiteY8802" fmla="*/ 4299229 h 5756219"/>
              <a:gd name="connsiteX8803" fmla="*/ 4345433 w 6226010"/>
              <a:gd name="connsiteY8803" fmla="*/ 4312817 h 5756219"/>
              <a:gd name="connsiteX8804" fmla="*/ 4345433 w 6226010"/>
              <a:gd name="connsiteY8804" fmla="*/ 4337275 h 5756219"/>
              <a:gd name="connsiteX8805" fmla="*/ 4323693 w 6226010"/>
              <a:gd name="connsiteY8805" fmla="*/ 4320970 h 5756219"/>
              <a:gd name="connsiteX8806" fmla="*/ 4339999 w 6226010"/>
              <a:gd name="connsiteY8806" fmla="*/ 4304664 h 5756219"/>
              <a:gd name="connsiteX8807" fmla="*/ 4331845 w 6226010"/>
              <a:gd name="connsiteY8807" fmla="*/ 4274771 h 5756219"/>
              <a:gd name="connsiteX8808" fmla="*/ 4307387 w 6226010"/>
              <a:gd name="connsiteY8808" fmla="*/ 4282923 h 5756219"/>
              <a:gd name="connsiteX8809" fmla="*/ 4285647 w 6226010"/>
              <a:gd name="connsiteY8809" fmla="*/ 4266618 h 5756219"/>
              <a:gd name="connsiteX8810" fmla="*/ 4285647 w 6226010"/>
              <a:gd name="connsiteY8810" fmla="*/ 4300135 h 5756219"/>
              <a:gd name="connsiteX8811" fmla="*/ 4269341 w 6226010"/>
              <a:gd name="connsiteY8811" fmla="*/ 4301946 h 5756219"/>
              <a:gd name="connsiteX8812" fmla="*/ 4285647 w 6226010"/>
              <a:gd name="connsiteY8812" fmla="*/ 4318252 h 5756219"/>
              <a:gd name="connsiteX8813" fmla="*/ 4285647 w 6226010"/>
              <a:gd name="connsiteY8813" fmla="*/ 4320970 h 5756219"/>
              <a:gd name="connsiteX8814" fmla="*/ 4264246 w 6226010"/>
              <a:gd name="connsiteY8814" fmla="*/ 4312945 h 5756219"/>
              <a:gd name="connsiteX8815" fmla="*/ 4257378 w 6226010"/>
              <a:gd name="connsiteY8815" fmla="*/ 4319434 h 5756219"/>
              <a:gd name="connsiteX8816" fmla="*/ 4255753 w 6226010"/>
              <a:gd name="connsiteY8816" fmla="*/ 4318252 h 5756219"/>
              <a:gd name="connsiteX8817" fmla="*/ 4255753 w 6226010"/>
              <a:gd name="connsiteY8817" fmla="*/ 4320970 h 5756219"/>
              <a:gd name="connsiteX8818" fmla="*/ 4247601 w 6226010"/>
              <a:gd name="connsiteY8818" fmla="*/ 4296511 h 5756219"/>
              <a:gd name="connsiteX8819" fmla="*/ 4234013 w 6226010"/>
              <a:gd name="connsiteY8819" fmla="*/ 4312817 h 5756219"/>
              <a:gd name="connsiteX8820" fmla="*/ 4217707 w 6226010"/>
              <a:gd name="connsiteY8820" fmla="*/ 4312817 h 5756219"/>
              <a:gd name="connsiteX8821" fmla="*/ 4209553 w 6226010"/>
              <a:gd name="connsiteY8821" fmla="*/ 4367169 h 5756219"/>
              <a:gd name="connsiteX8822" fmla="*/ 4193249 w 6226010"/>
              <a:gd name="connsiteY8822" fmla="*/ 4361734 h 5756219"/>
              <a:gd name="connsiteX8823" fmla="*/ 4185095 w 6226010"/>
              <a:gd name="connsiteY8823" fmla="*/ 4359016 h 5756219"/>
              <a:gd name="connsiteX8824" fmla="*/ 4172227 w 6226010"/>
              <a:gd name="connsiteY8824" fmla="*/ 4367059 h 5756219"/>
              <a:gd name="connsiteX8825" fmla="*/ 4171508 w 6226010"/>
              <a:gd name="connsiteY8825" fmla="*/ 4369886 h 5756219"/>
              <a:gd name="connsiteX8826" fmla="*/ 4173200 w 6226010"/>
              <a:gd name="connsiteY8826" fmla="*/ 4382911 h 5756219"/>
              <a:gd name="connsiteX8827" fmla="*/ 4179661 w 6226010"/>
              <a:gd name="connsiteY8827" fmla="*/ 4380757 h 5756219"/>
              <a:gd name="connsiteX8828" fmla="*/ 4201401 w 6226010"/>
              <a:gd name="connsiteY8828" fmla="*/ 4397062 h 5756219"/>
              <a:gd name="connsiteX8829" fmla="*/ 4212101 w 6226010"/>
              <a:gd name="connsiteY8829" fmla="*/ 4382923 h 5756219"/>
              <a:gd name="connsiteX8830" fmla="*/ 4214006 w 6226010"/>
              <a:gd name="connsiteY8830" fmla="*/ 4382549 h 5756219"/>
              <a:gd name="connsiteX8831" fmla="*/ 4217707 w 6226010"/>
              <a:gd name="connsiteY8831" fmla="*/ 4383474 h 5756219"/>
              <a:gd name="connsiteX8832" fmla="*/ 4216185 w 6226010"/>
              <a:gd name="connsiteY8832" fmla="*/ 4382122 h 5756219"/>
              <a:gd name="connsiteX8833" fmla="*/ 4223141 w 6226010"/>
              <a:gd name="connsiteY8833" fmla="*/ 4380757 h 5756219"/>
              <a:gd name="connsiteX8834" fmla="*/ 4223141 w 6226010"/>
              <a:gd name="connsiteY8834" fmla="*/ 4350863 h 5756219"/>
              <a:gd name="connsiteX8835" fmla="*/ 4249230 w 6226010"/>
              <a:gd name="connsiteY8835" fmla="*/ 4355211 h 5756219"/>
              <a:gd name="connsiteX8836" fmla="*/ 4255753 w 6226010"/>
              <a:gd name="connsiteY8836" fmla="*/ 4361734 h 5756219"/>
              <a:gd name="connsiteX8837" fmla="*/ 4263905 w 6226010"/>
              <a:gd name="connsiteY8837" fmla="*/ 4342710 h 5756219"/>
              <a:gd name="connsiteX8838" fmla="*/ 4246973 w 6226010"/>
              <a:gd name="connsiteY8838" fmla="*/ 4344592 h 5756219"/>
              <a:gd name="connsiteX8839" fmla="*/ 4239447 w 6226010"/>
              <a:gd name="connsiteY8839" fmla="*/ 4334558 h 5756219"/>
              <a:gd name="connsiteX8840" fmla="*/ 4255753 w 6226010"/>
              <a:gd name="connsiteY8840" fmla="*/ 4334558 h 5756219"/>
              <a:gd name="connsiteX8841" fmla="*/ 4255753 w 6226010"/>
              <a:gd name="connsiteY8841" fmla="*/ 4320970 h 5756219"/>
              <a:gd name="connsiteX8842" fmla="*/ 4257378 w 6226010"/>
              <a:gd name="connsiteY8842" fmla="*/ 4319434 h 5756219"/>
              <a:gd name="connsiteX8843" fmla="*/ 4285647 w 6226010"/>
              <a:gd name="connsiteY8843" fmla="*/ 4339993 h 5756219"/>
              <a:gd name="connsiteX8844" fmla="*/ 4285647 w 6226010"/>
              <a:gd name="connsiteY8844" fmla="*/ 4356298 h 5756219"/>
              <a:gd name="connsiteX8845" fmla="*/ 4223141 w 6226010"/>
              <a:gd name="connsiteY8845" fmla="*/ 4410650 h 5756219"/>
              <a:gd name="connsiteX8846" fmla="*/ 4253035 w 6226010"/>
              <a:gd name="connsiteY8846" fmla="*/ 4410650 h 5756219"/>
              <a:gd name="connsiteX8847" fmla="*/ 4258471 w 6226010"/>
              <a:gd name="connsiteY8847" fmla="*/ 4405215 h 5756219"/>
              <a:gd name="connsiteX8848" fmla="*/ 4253035 w 6226010"/>
              <a:gd name="connsiteY8848" fmla="*/ 4397062 h 5756219"/>
              <a:gd name="connsiteX8849" fmla="*/ 4282929 w 6226010"/>
              <a:gd name="connsiteY8849" fmla="*/ 4388910 h 5756219"/>
              <a:gd name="connsiteX8850" fmla="*/ 4285647 w 6226010"/>
              <a:gd name="connsiteY8850" fmla="*/ 4410650 h 5756219"/>
              <a:gd name="connsiteX8851" fmla="*/ 4299235 w 6226010"/>
              <a:gd name="connsiteY8851" fmla="*/ 4426956 h 5756219"/>
              <a:gd name="connsiteX8852" fmla="*/ 4282929 w 6226010"/>
              <a:gd name="connsiteY8852" fmla="*/ 4435109 h 5756219"/>
              <a:gd name="connsiteX8853" fmla="*/ 4282929 w 6226010"/>
              <a:gd name="connsiteY8853" fmla="*/ 4418803 h 5756219"/>
              <a:gd name="connsiteX8854" fmla="*/ 4274777 w 6226010"/>
              <a:gd name="connsiteY8854" fmla="*/ 4435109 h 5756219"/>
              <a:gd name="connsiteX8855" fmla="*/ 4253035 w 6226010"/>
              <a:gd name="connsiteY8855" fmla="*/ 4437826 h 5756219"/>
              <a:gd name="connsiteX8856" fmla="*/ 4234013 w 6226010"/>
              <a:gd name="connsiteY8856" fmla="*/ 4451414 h 5756219"/>
              <a:gd name="connsiteX8857" fmla="*/ 4250317 w 6226010"/>
              <a:gd name="connsiteY8857" fmla="*/ 4473155 h 5756219"/>
              <a:gd name="connsiteX8858" fmla="*/ 4236729 w 6226010"/>
              <a:gd name="connsiteY8858" fmla="*/ 4481308 h 5756219"/>
              <a:gd name="connsiteX8859" fmla="*/ 4250317 w 6226010"/>
              <a:gd name="connsiteY8859" fmla="*/ 4497614 h 5756219"/>
              <a:gd name="connsiteX8860" fmla="*/ 4253035 w 6226010"/>
              <a:gd name="connsiteY8860" fmla="*/ 4473155 h 5756219"/>
              <a:gd name="connsiteX8861" fmla="*/ 4282929 w 6226010"/>
              <a:gd name="connsiteY8861" fmla="*/ 4494896 h 5756219"/>
              <a:gd name="connsiteX8862" fmla="*/ 4282929 w 6226010"/>
              <a:gd name="connsiteY8862" fmla="*/ 4473155 h 5756219"/>
              <a:gd name="connsiteX8863" fmla="*/ 4296517 w 6226010"/>
              <a:gd name="connsiteY8863" fmla="*/ 4473155 h 5756219"/>
              <a:gd name="connsiteX8864" fmla="*/ 4304669 w 6226010"/>
              <a:gd name="connsiteY8864" fmla="*/ 4489461 h 5756219"/>
              <a:gd name="connsiteX8865" fmla="*/ 4301953 w 6226010"/>
              <a:gd name="connsiteY8865" fmla="*/ 4511201 h 5756219"/>
              <a:gd name="connsiteX8866" fmla="*/ 4288365 w 6226010"/>
              <a:gd name="connsiteY8866" fmla="*/ 4527507 h 5756219"/>
              <a:gd name="connsiteX8867" fmla="*/ 4274777 w 6226010"/>
              <a:gd name="connsiteY8867" fmla="*/ 4519354 h 5756219"/>
              <a:gd name="connsiteX8868" fmla="*/ 4266623 w 6226010"/>
              <a:gd name="connsiteY8868" fmla="*/ 4541095 h 5756219"/>
              <a:gd name="connsiteX8869" fmla="*/ 4266623 w 6226010"/>
              <a:gd name="connsiteY8869" fmla="*/ 4519354 h 5756219"/>
              <a:gd name="connsiteX8870" fmla="*/ 4244883 w 6226010"/>
              <a:gd name="connsiteY8870" fmla="*/ 4503049 h 5756219"/>
              <a:gd name="connsiteX8871" fmla="*/ 4236729 w 6226010"/>
              <a:gd name="connsiteY8871" fmla="*/ 4535660 h 5756219"/>
              <a:gd name="connsiteX8872" fmla="*/ 4247601 w 6226010"/>
              <a:gd name="connsiteY8872" fmla="*/ 4541095 h 5756219"/>
              <a:gd name="connsiteX8873" fmla="*/ 4244883 w 6226010"/>
              <a:gd name="connsiteY8873" fmla="*/ 4560118 h 5756219"/>
              <a:gd name="connsiteX8874" fmla="*/ 4223141 w 6226010"/>
              <a:gd name="connsiteY8874" fmla="*/ 4538377 h 5756219"/>
              <a:gd name="connsiteX8875" fmla="*/ 4223141 w 6226010"/>
              <a:gd name="connsiteY8875" fmla="*/ 4554683 h 5756219"/>
              <a:gd name="connsiteX8876" fmla="*/ 4206837 w 6226010"/>
              <a:gd name="connsiteY8876" fmla="*/ 4541095 h 5756219"/>
              <a:gd name="connsiteX8877" fmla="*/ 4214989 w 6226010"/>
              <a:gd name="connsiteY8877" fmla="*/ 4570988 h 5756219"/>
              <a:gd name="connsiteX8878" fmla="*/ 4201401 w 6226010"/>
              <a:gd name="connsiteY8878" fmla="*/ 4570988 h 5756219"/>
              <a:gd name="connsiteX8879" fmla="*/ 4244883 w 6226010"/>
              <a:gd name="connsiteY8879" fmla="*/ 4587294 h 5756219"/>
              <a:gd name="connsiteX8880" fmla="*/ 4263905 w 6226010"/>
              <a:gd name="connsiteY8880" fmla="*/ 4614470 h 5756219"/>
              <a:gd name="connsiteX8881" fmla="*/ 4250317 w 6226010"/>
              <a:gd name="connsiteY8881" fmla="*/ 4614470 h 5756219"/>
              <a:gd name="connsiteX8882" fmla="*/ 4253035 w 6226010"/>
              <a:gd name="connsiteY8882" fmla="*/ 4606317 h 5756219"/>
              <a:gd name="connsiteX8883" fmla="*/ 4239447 w 6226010"/>
              <a:gd name="connsiteY8883" fmla="*/ 4614470 h 5756219"/>
              <a:gd name="connsiteX8884" fmla="*/ 4231295 w 6226010"/>
              <a:gd name="connsiteY8884" fmla="*/ 4622623 h 5756219"/>
              <a:gd name="connsiteX8885" fmla="*/ 4242165 w 6226010"/>
              <a:gd name="connsiteY8885" fmla="*/ 4619905 h 5756219"/>
              <a:gd name="connsiteX8886" fmla="*/ 4274777 w 6226010"/>
              <a:gd name="connsiteY8886" fmla="*/ 4649798 h 5756219"/>
              <a:gd name="connsiteX8887" fmla="*/ 4277493 w 6226010"/>
              <a:gd name="connsiteY8887" fmla="*/ 4647081 h 5756219"/>
              <a:gd name="connsiteX8888" fmla="*/ 4277493 w 6226010"/>
              <a:gd name="connsiteY8888" fmla="*/ 4660669 h 5756219"/>
              <a:gd name="connsiteX8889" fmla="*/ 4310105 w 6226010"/>
              <a:gd name="connsiteY8889" fmla="*/ 4704150 h 5756219"/>
              <a:gd name="connsiteX8890" fmla="*/ 4307387 w 6226010"/>
              <a:gd name="connsiteY8890" fmla="*/ 4709585 h 5756219"/>
              <a:gd name="connsiteX8891" fmla="*/ 4291081 w 6226010"/>
              <a:gd name="connsiteY8891" fmla="*/ 4709585 h 5756219"/>
              <a:gd name="connsiteX8892" fmla="*/ 4285647 w 6226010"/>
              <a:gd name="connsiteY8892" fmla="*/ 4701433 h 5756219"/>
              <a:gd name="connsiteX8893" fmla="*/ 4277493 w 6226010"/>
              <a:gd name="connsiteY8893" fmla="*/ 4695997 h 5756219"/>
              <a:gd name="connsiteX8894" fmla="*/ 4269341 w 6226010"/>
              <a:gd name="connsiteY8894" fmla="*/ 4682410 h 5756219"/>
              <a:gd name="connsiteX8895" fmla="*/ 4253035 w 6226010"/>
              <a:gd name="connsiteY8895" fmla="*/ 4695997 h 5756219"/>
              <a:gd name="connsiteX8896" fmla="*/ 4263905 w 6226010"/>
              <a:gd name="connsiteY8896" fmla="*/ 4704150 h 5756219"/>
              <a:gd name="connsiteX8897" fmla="*/ 4277493 w 6226010"/>
              <a:gd name="connsiteY8897" fmla="*/ 4698715 h 5756219"/>
              <a:gd name="connsiteX8898" fmla="*/ 4277493 w 6226010"/>
              <a:gd name="connsiteY8898" fmla="*/ 4723173 h 5756219"/>
              <a:gd name="connsiteX8899" fmla="*/ 4293799 w 6226010"/>
              <a:gd name="connsiteY8899" fmla="*/ 4715021 h 5756219"/>
              <a:gd name="connsiteX8900" fmla="*/ 4301953 w 6226010"/>
              <a:gd name="connsiteY8900" fmla="*/ 4731326 h 5756219"/>
              <a:gd name="connsiteX8901" fmla="*/ 4277493 w 6226010"/>
              <a:gd name="connsiteY8901" fmla="*/ 4731326 h 5756219"/>
              <a:gd name="connsiteX8902" fmla="*/ 4285647 w 6226010"/>
              <a:gd name="connsiteY8902" fmla="*/ 4744914 h 5756219"/>
              <a:gd name="connsiteX8903" fmla="*/ 4261189 w 6226010"/>
              <a:gd name="connsiteY8903" fmla="*/ 4744914 h 5756219"/>
              <a:gd name="connsiteX8904" fmla="*/ 4269341 w 6226010"/>
              <a:gd name="connsiteY8904" fmla="*/ 4731326 h 5756219"/>
              <a:gd name="connsiteX8905" fmla="*/ 4236729 w 6226010"/>
              <a:gd name="connsiteY8905" fmla="*/ 4723173 h 5756219"/>
              <a:gd name="connsiteX8906" fmla="*/ 4244883 w 6226010"/>
              <a:gd name="connsiteY8906" fmla="*/ 4744914 h 5756219"/>
              <a:gd name="connsiteX8907" fmla="*/ 4239447 w 6226010"/>
              <a:gd name="connsiteY8907" fmla="*/ 4774808 h 5756219"/>
              <a:gd name="connsiteX8908" fmla="*/ 4277493 w 6226010"/>
              <a:gd name="connsiteY8908" fmla="*/ 4758502 h 5756219"/>
              <a:gd name="connsiteX8909" fmla="*/ 4282929 w 6226010"/>
              <a:gd name="connsiteY8909" fmla="*/ 4772090 h 5756219"/>
              <a:gd name="connsiteX8910" fmla="*/ 4242165 w 6226010"/>
              <a:gd name="connsiteY8910" fmla="*/ 4777525 h 5756219"/>
              <a:gd name="connsiteX8911" fmla="*/ 4234013 w 6226010"/>
              <a:gd name="connsiteY8911" fmla="*/ 4791113 h 5756219"/>
              <a:gd name="connsiteX8912" fmla="*/ 4176943 w 6226010"/>
              <a:gd name="connsiteY8912" fmla="*/ 4791113 h 5756219"/>
              <a:gd name="connsiteX8913" fmla="*/ 4176943 w 6226010"/>
              <a:gd name="connsiteY8913" fmla="*/ 4807419 h 5756219"/>
              <a:gd name="connsiteX8914" fmla="*/ 4155203 w 6226010"/>
              <a:gd name="connsiteY8914" fmla="*/ 4823725 h 5756219"/>
              <a:gd name="connsiteX8915" fmla="*/ 4174225 w 6226010"/>
              <a:gd name="connsiteY8915" fmla="*/ 4826442 h 5756219"/>
              <a:gd name="connsiteX8916" fmla="*/ 4146370 w 6226010"/>
              <a:gd name="connsiteY8916" fmla="*/ 4846485 h 5756219"/>
              <a:gd name="connsiteX8917" fmla="*/ 4121048 w 6226010"/>
              <a:gd name="connsiteY8917" fmla="*/ 4854297 h 5756219"/>
              <a:gd name="connsiteX8918" fmla="*/ 4128027 w 6226010"/>
              <a:gd name="connsiteY8918" fmla="*/ 4859052 h 5756219"/>
              <a:gd name="connsiteX8919" fmla="*/ 4157921 w 6226010"/>
              <a:gd name="connsiteY8919" fmla="*/ 4891664 h 5756219"/>
              <a:gd name="connsiteX8920" fmla="*/ 4144333 w 6226010"/>
              <a:gd name="connsiteY8920" fmla="*/ 4891664 h 5756219"/>
              <a:gd name="connsiteX8921" fmla="*/ 4138897 w 6226010"/>
              <a:gd name="connsiteY8921" fmla="*/ 4897099 h 5756219"/>
              <a:gd name="connsiteX8922" fmla="*/ 4144333 w 6226010"/>
              <a:gd name="connsiteY8922" fmla="*/ 4905252 h 5756219"/>
              <a:gd name="connsiteX8923" fmla="*/ 4138897 w 6226010"/>
              <a:gd name="connsiteY8923" fmla="*/ 4913404 h 5756219"/>
              <a:gd name="connsiteX8924" fmla="*/ 4122592 w 6226010"/>
              <a:gd name="connsiteY8924" fmla="*/ 4897099 h 5756219"/>
              <a:gd name="connsiteX8925" fmla="*/ 4109004 w 6226010"/>
              <a:gd name="connsiteY8925" fmla="*/ 4905252 h 5756219"/>
              <a:gd name="connsiteX8926" fmla="*/ 4109004 w 6226010"/>
              <a:gd name="connsiteY8926" fmla="*/ 4883511 h 5756219"/>
              <a:gd name="connsiteX8927" fmla="*/ 4087263 w 6226010"/>
              <a:gd name="connsiteY8927" fmla="*/ 4886228 h 5756219"/>
              <a:gd name="connsiteX8928" fmla="*/ 4054652 w 6226010"/>
              <a:gd name="connsiteY8928" fmla="*/ 4916122 h 5756219"/>
              <a:gd name="connsiteX8929" fmla="*/ 4054652 w 6226010"/>
              <a:gd name="connsiteY8929" fmla="*/ 4937863 h 5756219"/>
              <a:gd name="connsiteX8930" fmla="*/ 4030194 w 6226010"/>
              <a:gd name="connsiteY8930" fmla="*/ 4954168 h 5756219"/>
              <a:gd name="connsiteX8931" fmla="*/ 4046499 w 6226010"/>
              <a:gd name="connsiteY8931" fmla="*/ 4975909 h 5756219"/>
              <a:gd name="connsiteX8932" fmla="*/ 4030194 w 6226010"/>
              <a:gd name="connsiteY8932" fmla="*/ 4984062 h 5756219"/>
              <a:gd name="connsiteX8933" fmla="*/ 4038347 w 6226010"/>
              <a:gd name="connsiteY8933" fmla="*/ 4997650 h 5756219"/>
              <a:gd name="connsiteX8934" fmla="*/ 4024759 w 6226010"/>
              <a:gd name="connsiteY8934" fmla="*/ 5003085 h 5756219"/>
              <a:gd name="connsiteX8935" fmla="*/ 4016606 w 6226010"/>
              <a:gd name="connsiteY8935" fmla="*/ 4997650 h 5756219"/>
              <a:gd name="connsiteX8936" fmla="*/ 4022041 w 6226010"/>
              <a:gd name="connsiteY8936" fmla="*/ 4967756 h 5756219"/>
              <a:gd name="connsiteX8937" fmla="*/ 4000300 w 6226010"/>
              <a:gd name="connsiteY8937" fmla="*/ 4967756 h 5756219"/>
              <a:gd name="connsiteX8938" fmla="*/ 3992147 w 6226010"/>
              <a:gd name="connsiteY8938" fmla="*/ 4989497 h 5756219"/>
              <a:gd name="connsiteX8939" fmla="*/ 3992147 w 6226010"/>
              <a:gd name="connsiteY8939" fmla="*/ 4967756 h 5756219"/>
              <a:gd name="connsiteX8940" fmla="*/ 3983995 w 6226010"/>
              <a:gd name="connsiteY8940" fmla="*/ 4965039 h 5756219"/>
              <a:gd name="connsiteX8941" fmla="*/ 3992147 w 6226010"/>
              <a:gd name="connsiteY8941" fmla="*/ 4943298 h 5756219"/>
              <a:gd name="connsiteX8942" fmla="*/ 3981277 w 6226010"/>
              <a:gd name="connsiteY8942" fmla="*/ 4932428 h 5756219"/>
              <a:gd name="connsiteX8943" fmla="*/ 4003018 w 6226010"/>
              <a:gd name="connsiteY8943" fmla="*/ 4913404 h 5756219"/>
              <a:gd name="connsiteX8944" fmla="*/ 3992147 w 6226010"/>
              <a:gd name="connsiteY8944" fmla="*/ 4905252 h 5756219"/>
              <a:gd name="connsiteX8945" fmla="*/ 3975842 w 6226010"/>
              <a:gd name="connsiteY8945" fmla="*/ 4916122 h 5756219"/>
              <a:gd name="connsiteX8946" fmla="*/ 3978559 w 6226010"/>
              <a:gd name="connsiteY8946" fmla="*/ 4880793 h 5756219"/>
              <a:gd name="connsiteX8947" fmla="*/ 3978559 w 6226010"/>
              <a:gd name="connsiteY8947" fmla="*/ 4878076 h 5756219"/>
              <a:gd name="connsiteX8948" fmla="*/ 3983995 w 6226010"/>
              <a:gd name="connsiteY8948" fmla="*/ 4815571 h 5756219"/>
              <a:gd name="connsiteX8949" fmla="*/ 3967689 w 6226010"/>
              <a:gd name="connsiteY8949" fmla="*/ 4818288 h 5756219"/>
              <a:gd name="connsiteX8950" fmla="*/ 3967689 w 6226010"/>
              <a:gd name="connsiteY8950" fmla="*/ 4861770 h 5756219"/>
              <a:gd name="connsiteX8951" fmla="*/ 3944972 w 6226010"/>
              <a:gd name="connsiteY8951" fmla="*/ 4819605 h 5756219"/>
              <a:gd name="connsiteX8952" fmla="*/ 3942341 w 6226010"/>
              <a:gd name="connsiteY8952" fmla="*/ 4796251 h 5756219"/>
              <a:gd name="connsiteX8953" fmla="*/ 3926924 w 6226010"/>
              <a:gd name="connsiteY8953" fmla="*/ 4771751 h 5756219"/>
              <a:gd name="connsiteX8954" fmla="*/ 3916054 w 6226010"/>
              <a:gd name="connsiteY8954" fmla="*/ 4739480 h 5756219"/>
              <a:gd name="connsiteX8955" fmla="*/ 3933719 w 6226010"/>
              <a:gd name="connsiteY8955" fmla="*/ 4740456 h 5756219"/>
              <a:gd name="connsiteX8956" fmla="*/ 3938687 w 6226010"/>
              <a:gd name="connsiteY8956" fmla="*/ 4751777 h 5756219"/>
              <a:gd name="connsiteX8957" fmla="*/ 3938263 w 6226010"/>
              <a:gd name="connsiteY8957" fmla="*/ 4707759 h 5756219"/>
              <a:gd name="connsiteX8958" fmla="*/ 3932360 w 6226010"/>
              <a:gd name="connsiteY8958" fmla="*/ 4657951 h 5756219"/>
              <a:gd name="connsiteX8959" fmla="*/ 3926925 w 6226010"/>
              <a:gd name="connsiteY8959" fmla="*/ 4734043 h 5756219"/>
              <a:gd name="connsiteX8960" fmla="*/ 3913337 w 6226010"/>
              <a:gd name="connsiteY8960" fmla="*/ 4682409 h 5756219"/>
              <a:gd name="connsiteX8961" fmla="*/ 3905184 w 6226010"/>
              <a:gd name="connsiteY8961" fmla="*/ 4704150 h 5756219"/>
              <a:gd name="connsiteX8962" fmla="*/ 3886161 w 6226010"/>
              <a:gd name="connsiteY8962" fmla="*/ 4674256 h 5756219"/>
              <a:gd name="connsiteX8963" fmla="*/ 3888879 w 6226010"/>
              <a:gd name="connsiteY8963" fmla="*/ 4695997 h 5756219"/>
              <a:gd name="connsiteX8964" fmla="*/ 3869854 w 6226010"/>
              <a:gd name="connsiteY8964" fmla="*/ 4695997 h 5756219"/>
              <a:gd name="connsiteX8965" fmla="*/ 3913337 w 6226010"/>
              <a:gd name="connsiteY8965" fmla="*/ 4728608 h 5756219"/>
              <a:gd name="connsiteX8966" fmla="*/ 3899749 w 6226010"/>
              <a:gd name="connsiteY8966" fmla="*/ 4731326 h 5756219"/>
              <a:gd name="connsiteX8967" fmla="*/ 3951383 w 6226010"/>
              <a:gd name="connsiteY8967" fmla="*/ 4872640 h 5756219"/>
              <a:gd name="connsiteX8968" fmla="*/ 3951383 w 6226010"/>
              <a:gd name="connsiteY8968" fmla="*/ 4878076 h 5756219"/>
              <a:gd name="connsiteX8969" fmla="*/ 3951383 w 6226010"/>
              <a:gd name="connsiteY8969" fmla="*/ 4883511 h 5756219"/>
              <a:gd name="connsiteX8970" fmla="*/ 3926925 w 6226010"/>
              <a:gd name="connsiteY8970" fmla="*/ 4869923 h 5756219"/>
              <a:gd name="connsiteX8971" fmla="*/ 3935078 w 6226010"/>
              <a:gd name="connsiteY8971" fmla="*/ 4907969 h 5756219"/>
              <a:gd name="connsiteX8972" fmla="*/ 3951383 w 6226010"/>
              <a:gd name="connsiteY8972" fmla="*/ 4902534 h 5756219"/>
              <a:gd name="connsiteX8973" fmla="*/ 3945948 w 6226010"/>
              <a:gd name="connsiteY8973" fmla="*/ 4935145 h 5756219"/>
              <a:gd name="connsiteX8974" fmla="*/ 3924207 w 6226010"/>
              <a:gd name="connsiteY8974" fmla="*/ 4921557 h 5756219"/>
              <a:gd name="connsiteX8975" fmla="*/ 3902467 w 6226010"/>
              <a:gd name="connsiteY8975" fmla="*/ 4907969 h 5756219"/>
              <a:gd name="connsiteX8976" fmla="*/ 3916055 w 6226010"/>
              <a:gd name="connsiteY8976" fmla="*/ 4951451 h 5756219"/>
              <a:gd name="connsiteX8977" fmla="*/ 3886161 w 6226010"/>
              <a:gd name="connsiteY8977" fmla="*/ 4959604 h 5756219"/>
              <a:gd name="connsiteX8978" fmla="*/ 3899749 w 6226010"/>
              <a:gd name="connsiteY8978" fmla="*/ 4940580 h 5756219"/>
              <a:gd name="connsiteX8979" fmla="*/ 3902467 w 6226010"/>
              <a:gd name="connsiteY8979" fmla="*/ 4918840 h 5756219"/>
              <a:gd name="connsiteX8980" fmla="*/ 3886161 w 6226010"/>
              <a:gd name="connsiteY8980" fmla="*/ 4897099 h 5756219"/>
              <a:gd name="connsiteX8981" fmla="*/ 3856266 w 6226010"/>
              <a:gd name="connsiteY8981" fmla="*/ 4913404 h 5756219"/>
              <a:gd name="connsiteX8982" fmla="*/ 3864419 w 6226010"/>
              <a:gd name="connsiteY8982" fmla="*/ 4929710 h 5756219"/>
              <a:gd name="connsiteX8983" fmla="*/ 3864419 w 6226010"/>
              <a:gd name="connsiteY8983" fmla="*/ 4959604 h 5756219"/>
              <a:gd name="connsiteX8984" fmla="*/ 3856266 w 6226010"/>
              <a:gd name="connsiteY8984" fmla="*/ 4984062 h 5756219"/>
              <a:gd name="connsiteX8985" fmla="*/ 3869854 w 6226010"/>
              <a:gd name="connsiteY8985" fmla="*/ 4984062 h 5756219"/>
              <a:gd name="connsiteX8986" fmla="*/ 3869854 w 6226010"/>
              <a:gd name="connsiteY8986" fmla="*/ 5003085 h 5756219"/>
              <a:gd name="connsiteX8987" fmla="*/ 3848114 w 6226010"/>
              <a:gd name="connsiteY8987" fmla="*/ 4994932 h 5756219"/>
              <a:gd name="connsiteX8988" fmla="*/ 3823655 w 6226010"/>
              <a:gd name="connsiteY8988" fmla="*/ 5016673 h 5756219"/>
              <a:gd name="connsiteX8989" fmla="*/ 3834526 w 6226010"/>
              <a:gd name="connsiteY8989" fmla="*/ 5024826 h 5756219"/>
              <a:gd name="connsiteX8990" fmla="*/ 3850831 w 6226010"/>
              <a:gd name="connsiteY8990" fmla="*/ 5011238 h 5756219"/>
              <a:gd name="connsiteX8991" fmla="*/ 3864419 w 6226010"/>
              <a:gd name="connsiteY8991" fmla="*/ 5019391 h 5756219"/>
              <a:gd name="connsiteX8992" fmla="*/ 3872572 w 6226010"/>
              <a:gd name="connsiteY8992" fmla="*/ 5003085 h 5756219"/>
              <a:gd name="connsiteX8993" fmla="*/ 3880725 w 6226010"/>
              <a:gd name="connsiteY8993" fmla="*/ 4997650 h 5756219"/>
              <a:gd name="connsiteX8994" fmla="*/ 3886161 w 6226010"/>
              <a:gd name="connsiteY8994" fmla="*/ 4989497 h 5756219"/>
              <a:gd name="connsiteX8995" fmla="*/ 3899749 w 6226010"/>
              <a:gd name="connsiteY8995" fmla="*/ 4989497 h 5756219"/>
              <a:gd name="connsiteX8996" fmla="*/ 3905184 w 6226010"/>
              <a:gd name="connsiteY8996" fmla="*/ 4989497 h 5756219"/>
              <a:gd name="connsiteX8997" fmla="*/ 3929643 w 6226010"/>
              <a:gd name="connsiteY8997" fmla="*/ 5005803 h 5756219"/>
              <a:gd name="connsiteX8998" fmla="*/ 3913337 w 6226010"/>
              <a:gd name="connsiteY8998" fmla="*/ 5013955 h 5756219"/>
              <a:gd name="connsiteX8999" fmla="*/ 3916055 w 6226010"/>
              <a:gd name="connsiteY8999" fmla="*/ 5016673 h 5756219"/>
              <a:gd name="connsiteX9000" fmla="*/ 3913337 w 6226010"/>
              <a:gd name="connsiteY9000" fmla="*/ 5019391 h 5756219"/>
              <a:gd name="connsiteX9001" fmla="*/ 3932360 w 6226010"/>
              <a:gd name="connsiteY9001" fmla="*/ 5032979 h 5756219"/>
              <a:gd name="connsiteX9002" fmla="*/ 3935078 w 6226010"/>
              <a:gd name="connsiteY9002" fmla="*/ 5035696 h 5756219"/>
              <a:gd name="connsiteX9003" fmla="*/ 3935078 w 6226010"/>
              <a:gd name="connsiteY9003" fmla="*/ 5032979 h 5756219"/>
              <a:gd name="connsiteX9004" fmla="*/ 3943231 w 6226010"/>
              <a:gd name="connsiteY9004" fmla="*/ 5035696 h 5756219"/>
              <a:gd name="connsiteX9005" fmla="*/ 3945948 w 6226010"/>
              <a:gd name="connsiteY9005" fmla="*/ 5054719 h 5756219"/>
              <a:gd name="connsiteX9006" fmla="*/ 3940513 w 6226010"/>
              <a:gd name="connsiteY9006" fmla="*/ 5052002 h 5756219"/>
              <a:gd name="connsiteX9007" fmla="*/ 3899749 w 6226010"/>
              <a:gd name="connsiteY9007" fmla="*/ 5087330 h 5756219"/>
              <a:gd name="connsiteX9008" fmla="*/ 3899749 w 6226010"/>
              <a:gd name="connsiteY9008" fmla="*/ 5065590 h 5756219"/>
              <a:gd name="connsiteX9009" fmla="*/ 3905184 w 6226010"/>
              <a:gd name="connsiteY9009" fmla="*/ 5065590 h 5756219"/>
              <a:gd name="connsiteX9010" fmla="*/ 3916055 w 6226010"/>
              <a:gd name="connsiteY9010" fmla="*/ 5065590 h 5756219"/>
              <a:gd name="connsiteX9011" fmla="*/ 3924207 w 6226010"/>
              <a:gd name="connsiteY9011" fmla="*/ 5041131 h 5756219"/>
              <a:gd name="connsiteX9012" fmla="*/ 3894313 w 6226010"/>
              <a:gd name="connsiteY9012" fmla="*/ 5041131 h 5756219"/>
              <a:gd name="connsiteX9013" fmla="*/ 3888879 w 6226010"/>
              <a:gd name="connsiteY9013" fmla="*/ 5024826 h 5756219"/>
              <a:gd name="connsiteX9014" fmla="*/ 3886161 w 6226010"/>
              <a:gd name="connsiteY9014" fmla="*/ 5049284 h 5756219"/>
              <a:gd name="connsiteX9015" fmla="*/ 3913337 w 6226010"/>
              <a:gd name="connsiteY9015" fmla="*/ 5049284 h 5756219"/>
              <a:gd name="connsiteX9016" fmla="*/ 3905184 w 6226010"/>
              <a:gd name="connsiteY9016" fmla="*/ 5065590 h 5756219"/>
              <a:gd name="connsiteX9017" fmla="*/ 3888879 w 6226010"/>
              <a:gd name="connsiteY9017" fmla="*/ 5057437 h 5756219"/>
              <a:gd name="connsiteX9018" fmla="*/ 3888879 w 6226010"/>
              <a:gd name="connsiteY9018" fmla="*/ 5073742 h 5756219"/>
              <a:gd name="connsiteX9019" fmla="*/ 3880725 w 6226010"/>
              <a:gd name="connsiteY9019" fmla="*/ 5057437 h 5756219"/>
              <a:gd name="connsiteX9020" fmla="*/ 3834526 w 6226010"/>
              <a:gd name="connsiteY9020" fmla="*/ 5057437 h 5756219"/>
              <a:gd name="connsiteX9021" fmla="*/ 3834526 w 6226010"/>
              <a:gd name="connsiteY9021" fmla="*/ 5073742 h 5756219"/>
              <a:gd name="connsiteX9022" fmla="*/ 3810067 w 6226010"/>
              <a:gd name="connsiteY9022" fmla="*/ 5073742 h 5756219"/>
              <a:gd name="connsiteX9023" fmla="*/ 3823655 w 6226010"/>
              <a:gd name="connsiteY9023" fmla="*/ 5052002 h 5756219"/>
              <a:gd name="connsiteX9024" fmla="*/ 3810067 w 6226010"/>
              <a:gd name="connsiteY9024" fmla="*/ 5035696 h 5756219"/>
              <a:gd name="connsiteX9025" fmla="*/ 3793762 w 6226010"/>
              <a:gd name="connsiteY9025" fmla="*/ 5043849 h 5756219"/>
              <a:gd name="connsiteX9026" fmla="*/ 3777456 w 6226010"/>
              <a:gd name="connsiteY9026" fmla="*/ 5027543 h 5756219"/>
              <a:gd name="connsiteX9027" fmla="*/ 3747563 w 6226010"/>
              <a:gd name="connsiteY9027" fmla="*/ 5043849 h 5756219"/>
              <a:gd name="connsiteX9028" fmla="*/ 3723104 w 6226010"/>
              <a:gd name="connsiteY9028" fmla="*/ 5019391 h 5756219"/>
              <a:gd name="connsiteX9029" fmla="*/ 3739410 w 6226010"/>
              <a:gd name="connsiteY9029" fmla="*/ 5005803 h 5756219"/>
              <a:gd name="connsiteX9030" fmla="*/ 3731257 w 6226010"/>
              <a:gd name="connsiteY9030" fmla="*/ 4992215 h 5756219"/>
              <a:gd name="connsiteX9031" fmla="*/ 3747563 w 6226010"/>
              <a:gd name="connsiteY9031" fmla="*/ 4970474 h 5756219"/>
              <a:gd name="connsiteX9032" fmla="*/ 3714952 w 6226010"/>
              <a:gd name="connsiteY9032" fmla="*/ 4954168 h 5756219"/>
              <a:gd name="connsiteX9033" fmla="*/ 3723104 w 6226010"/>
              <a:gd name="connsiteY9033" fmla="*/ 4937863 h 5756219"/>
              <a:gd name="connsiteX9034" fmla="*/ 3698646 w 6226010"/>
              <a:gd name="connsiteY9034" fmla="*/ 4937863 h 5756219"/>
              <a:gd name="connsiteX9035" fmla="*/ 3706799 w 6226010"/>
              <a:gd name="connsiteY9035" fmla="*/ 4962321 h 5756219"/>
              <a:gd name="connsiteX9036" fmla="*/ 3701364 w 6226010"/>
              <a:gd name="connsiteY9036" fmla="*/ 4975909 h 5756219"/>
              <a:gd name="connsiteX9037" fmla="*/ 3723104 w 6226010"/>
              <a:gd name="connsiteY9037" fmla="*/ 5000368 h 5756219"/>
              <a:gd name="connsiteX9038" fmla="*/ 3701364 w 6226010"/>
              <a:gd name="connsiteY9038" fmla="*/ 5000368 h 5756219"/>
              <a:gd name="connsiteX9039" fmla="*/ 3704081 w 6226010"/>
              <a:gd name="connsiteY9039" fmla="*/ 5022108 h 5756219"/>
              <a:gd name="connsiteX9040" fmla="*/ 3717669 w 6226010"/>
              <a:gd name="connsiteY9040" fmla="*/ 5038414 h 5756219"/>
              <a:gd name="connsiteX9041" fmla="*/ 3739410 w 6226010"/>
              <a:gd name="connsiteY9041" fmla="*/ 5038414 h 5756219"/>
              <a:gd name="connsiteX9042" fmla="*/ 3739410 w 6226010"/>
              <a:gd name="connsiteY9042" fmla="*/ 5046567 h 5756219"/>
              <a:gd name="connsiteX9043" fmla="*/ 3714952 w 6226010"/>
              <a:gd name="connsiteY9043" fmla="*/ 5046567 h 5756219"/>
              <a:gd name="connsiteX9044" fmla="*/ 3723104 w 6226010"/>
              <a:gd name="connsiteY9044" fmla="*/ 5062872 h 5756219"/>
              <a:gd name="connsiteX9045" fmla="*/ 3693211 w 6226010"/>
              <a:gd name="connsiteY9045" fmla="*/ 5057437 h 5756219"/>
              <a:gd name="connsiteX9046" fmla="*/ 3668753 w 6226010"/>
              <a:gd name="connsiteY9046" fmla="*/ 5060154 h 5756219"/>
              <a:gd name="connsiteX9047" fmla="*/ 3676905 w 6226010"/>
              <a:gd name="connsiteY9047" fmla="*/ 5046567 h 5756219"/>
              <a:gd name="connsiteX9048" fmla="*/ 3647012 w 6226010"/>
              <a:gd name="connsiteY9048" fmla="*/ 5038414 h 5756219"/>
              <a:gd name="connsiteX9049" fmla="*/ 3647012 w 6226010"/>
              <a:gd name="connsiteY9049" fmla="*/ 5060154 h 5756219"/>
              <a:gd name="connsiteX9050" fmla="*/ 3633424 w 6226010"/>
              <a:gd name="connsiteY9050" fmla="*/ 5060154 h 5756219"/>
              <a:gd name="connsiteX9051" fmla="*/ 3641577 w 6226010"/>
              <a:gd name="connsiteY9051" fmla="*/ 5000368 h 5756219"/>
              <a:gd name="connsiteX9052" fmla="*/ 3657882 w 6226010"/>
              <a:gd name="connsiteY9052" fmla="*/ 4978627 h 5756219"/>
              <a:gd name="connsiteX9053" fmla="*/ 3647012 w 6226010"/>
              <a:gd name="connsiteY9053" fmla="*/ 4973192 h 5756219"/>
              <a:gd name="connsiteX9054" fmla="*/ 3649729 w 6226010"/>
              <a:gd name="connsiteY9054" fmla="*/ 4943298 h 5756219"/>
              <a:gd name="connsiteX9055" fmla="*/ 3666035 w 6226010"/>
              <a:gd name="connsiteY9055" fmla="*/ 4943298 h 5756219"/>
              <a:gd name="connsiteX9056" fmla="*/ 3652447 w 6226010"/>
              <a:gd name="connsiteY9056" fmla="*/ 4913404 h 5756219"/>
              <a:gd name="connsiteX9057" fmla="*/ 3652447 w 6226010"/>
              <a:gd name="connsiteY9057" fmla="*/ 4910687 h 5756219"/>
              <a:gd name="connsiteX9058" fmla="*/ 3668753 w 6226010"/>
              <a:gd name="connsiteY9058" fmla="*/ 4897099 h 5756219"/>
              <a:gd name="connsiteX9059" fmla="*/ 3657882 w 6226010"/>
              <a:gd name="connsiteY9059" fmla="*/ 4888946 h 5756219"/>
              <a:gd name="connsiteX9060" fmla="*/ 3660600 w 6226010"/>
              <a:gd name="connsiteY9060" fmla="*/ 4872640 h 5756219"/>
              <a:gd name="connsiteX9061" fmla="*/ 3690493 w 6226010"/>
              <a:gd name="connsiteY9061" fmla="*/ 4869923 h 5756219"/>
              <a:gd name="connsiteX9062" fmla="*/ 3693211 w 6226010"/>
              <a:gd name="connsiteY9062" fmla="*/ 4872640 h 5756219"/>
              <a:gd name="connsiteX9063" fmla="*/ 3685058 w 6226010"/>
              <a:gd name="connsiteY9063" fmla="*/ 4894381 h 5756219"/>
              <a:gd name="connsiteX9064" fmla="*/ 3701364 w 6226010"/>
              <a:gd name="connsiteY9064" fmla="*/ 4886228 h 5756219"/>
              <a:gd name="connsiteX9065" fmla="*/ 3709516 w 6226010"/>
              <a:gd name="connsiteY9065" fmla="*/ 4902534 h 5756219"/>
              <a:gd name="connsiteX9066" fmla="*/ 3685058 w 6226010"/>
              <a:gd name="connsiteY9066" fmla="*/ 4924275 h 5756219"/>
              <a:gd name="connsiteX9067" fmla="*/ 3717669 w 6226010"/>
              <a:gd name="connsiteY9067" fmla="*/ 4918840 h 5756219"/>
              <a:gd name="connsiteX9068" fmla="*/ 3747563 w 6226010"/>
              <a:gd name="connsiteY9068" fmla="*/ 4910687 h 5756219"/>
              <a:gd name="connsiteX9069" fmla="*/ 3717669 w 6226010"/>
              <a:gd name="connsiteY9069" fmla="*/ 4918840 h 5756219"/>
              <a:gd name="connsiteX9070" fmla="*/ 3709516 w 6226010"/>
              <a:gd name="connsiteY9070" fmla="*/ 4902534 h 5756219"/>
              <a:gd name="connsiteX9071" fmla="*/ 3742128 w 6226010"/>
              <a:gd name="connsiteY9071" fmla="*/ 4872640 h 5756219"/>
              <a:gd name="connsiteX9072" fmla="*/ 3723104 w 6226010"/>
              <a:gd name="connsiteY9072" fmla="*/ 4856335 h 5756219"/>
              <a:gd name="connsiteX9073" fmla="*/ 3717669 w 6226010"/>
              <a:gd name="connsiteY9073" fmla="*/ 4853617 h 5756219"/>
              <a:gd name="connsiteX9074" fmla="*/ 3687776 w 6226010"/>
              <a:gd name="connsiteY9074" fmla="*/ 4826441 h 5756219"/>
              <a:gd name="connsiteX9075" fmla="*/ 3687776 w 6226010"/>
              <a:gd name="connsiteY9075" fmla="*/ 4807418 h 5756219"/>
              <a:gd name="connsiteX9076" fmla="*/ 3668753 w 6226010"/>
              <a:gd name="connsiteY9076" fmla="*/ 4807418 h 5756219"/>
              <a:gd name="connsiteX9077" fmla="*/ 3679623 w 6226010"/>
              <a:gd name="connsiteY9077" fmla="*/ 4600881 h 5756219"/>
              <a:gd name="connsiteX9078" fmla="*/ 3774739 w 6226010"/>
              <a:gd name="connsiteY9078" fmla="*/ 4600881 h 5756219"/>
              <a:gd name="connsiteX9079" fmla="*/ 3878007 w 6226010"/>
              <a:gd name="connsiteY9079" fmla="*/ 4600881 h 5756219"/>
              <a:gd name="connsiteX9080" fmla="*/ 3899536 w 6226010"/>
              <a:gd name="connsiteY9080" fmla="*/ 4597697 h 5756219"/>
              <a:gd name="connsiteX9081" fmla="*/ 3935078 w 6226010"/>
              <a:gd name="connsiteY9081" fmla="*/ 4617187 h 5756219"/>
              <a:gd name="connsiteX9082" fmla="*/ 4003018 w 6226010"/>
              <a:gd name="connsiteY9082" fmla="*/ 4668821 h 5756219"/>
              <a:gd name="connsiteX9083" fmla="*/ 4003018 w 6226010"/>
              <a:gd name="connsiteY9083" fmla="*/ 4676974 h 5756219"/>
              <a:gd name="connsiteX9084" fmla="*/ 4036648 w 6226010"/>
              <a:gd name="connsiteY9084" fmla="*/ 4706528 h 5756219"/>
              <a:gd name="connsiteX9085" fmla="*/ 4050621 w 6226010"/>
              <a:gd name="connsiteY9085" fmla="*/ 4721457 h 5756219"/>
              <a:gd name="connsiteX9086" fmla="*/ 4057225 w 6226010"/>
              <a:gd name="connsiteY9086" fmla="*/ 4700613 h 5756219"/>
              <a:gd name="connsiteX9087" fmla="*/ 4054313 w 6226010"/>
              <a:gd name="connsiteY9087" fmla="*/ 4697357 h 5756219"/>
              <a:gd name="connsiteX9088" fmla="*/ 4005735 w 6226010"/>
              <a:gd name="connsiteY9088" fmla="*/ 4628058 h 5756219"/>
              <a:gd name="connsiteX9089" fmla="*/ 4016606 w 6226010"/>
              <a:gd name="connsiteY9089" fmla="*/ 4611752 h 5756219"/>
              <a:gd name="connsiteX9090" fmla="*/ 3994865 w 6226010"/>
              <a:gd name="connsiteY9090" fmla="*/ 4617188 h 5756219"/>
              <a:gd name="connsiteX9091" fmla="*/ 3929642 w 6226010"/>
              <a:gd name="connsiteY9091" fmla="*/ 4492178 h 5756219"/>
              <a:gd name="connsiteX9092" fmla="*/ 3948665 w 6226010"/>
              <a:gd name="connsiteY9092" fmla="*/ 4497614 h 5756219"/>
              <a:gd name="connsiteX9093" fmla="*/ 3935077 w 6226010"/>
              <a:gd name="connsiteY9093" fmla="*/ 4484026 h 5756219"/>
              <a:gd name="connsiteX9094" fmla="*/ 3989429 w 6226010"/>
              <a:gd name="connsiteY9094" fmla="*/ 4473155 h 5756219"/>
              <a:gd name="connsiteX9095" fmla="*/ 3929642 w 6226010"/>
              <a:gd name="connsiteY9095" fmla="*/ 4473155 h 5756219"/>
              <a:gd name="connsiteX9096" fmla="*/ 3937794 w 6226010"/>
              <a:gd name="connsiteY9096" fmla="*/ 4432391 h 5756219"/>
              <a:gd name="connsiteX9097" fmla="*/ 3975841 w 6226010"/>
              <a:gd name="connsiteY9097" fmla="*/ 4416086 h 5756219"/>
              <a:gd name="connsiteX9098" fmla="*/ 3943230 w 6226010"/>
              <a:gd name="connsiteY9098" fmla="*/ 4416086 h 5756219"/>
              <a:gd name="connsiteX9099" fmla="*/ 3951382 w 6226010"/>
              <a:gd name="connsiteY9099" fmla="*/ 4369886 h 5756219"/>
              <a:gd name="connsiteX9100" fmla="*/ 3916054 w 6226010"/>
              <a:gd name="connsiteY9100" fmla="*/ 4416086 h 5756219"/>
              <a:gd name="connsiteX9101" fmla="*/ 3886160 w 6226010"/>
              <a:gd name="connsiteY9101" fmla="*/ 4391627 h 5756219"/>
              <a:gd name="connsiteX9102" fmla="*/ 3894313 w 6226010"/>
              <a:gd name="connsiteY9102" fmla="*/ 4416086 h 5756219"/>
              <a:gd name="connsiteX9103" fmla="*/ 3861702 w 6226010"/>
              <a:gd name="connsiteY9103" fmla="*/ 4402498 h 5756219"/>
              <a:gd name="connsiteX9104" fmla="*/ 3853549 w 6226010"/>
              <a:gd name="connsiteY9104" fmla="*/ 4369886 h 5756219"/>
              <a:gd name="connsiteX9105" fmla="*/ 3872572 w 6226010"/>
              <a:gd name="connsiteY9105" fmla="*/ 4345428 h 5756219"/>
              <a:gd name="connsiteX9106" fmla="*/ 3858984 w 6226010"/>
              <a:gd name="connsiteY9106" fmla="*/ 4359016 h 5756219"/>
              <a:gd name="connsiteX9107" fmla="*/ 3829090 w 6226010"/>
              <a:gd name="connsiteY9107" fmla="*/ 4244877 h 5756219"/>
              <a:gd name="connsiteX9108" fmla="*/ 3812785 w 6226010"/>
              <a:gd name="connsiteY9108" fmla="*/ 4253030 h 5756219"/>
              <a:gd name="connsiteX9109" fmla="*/ 3801914 w 6226010"/>
              <a:gd name="connsiteY9109" fmla="*/ 4209549 h 5756219"/>
              <a:gd name="connsiteX9110" fmla="*/ 3850831 w 6226010"/>
              <a:gd name="connsiteY9110" fmla="*/ 4171502 h 5756219"/>
              <a:gd name="connsiteX9111" fmla="*/ 3801914 w 6226010"/>
              <a:gd name="connsiteY9111" fmla="*/ 4204113 h 5756219"/>
              <a:gd name="connsiteX9112" fmla="*/ 3793762 w 6226010"/>
              <a:gd name="connsiteY9112" fmla="*/ 4119868 h 5756219"/>
              <a:gd name="connsiteX9113" fmla="*/ 3831808 w 6226010"/>
              <a:gd name="connsiteY9113" fmla="*/ 4106280 h 5756219"/>
              <a:gd name="connsiteX9114" fmla="*/ 3867137 w 6226010"/>
              <a:gd name="connsiteY9114" fmla="*/ 4193243 h 5756219"/>
              <a:gd name="connsiteX9115" fmla="*/ 3861702 w 6226010"/>
              <a:gd name="connsiteY9115" fmla="*/ 4079104 h 5756219"/>
              <a:gd name="connsiteX9116" fmla="*/ 3864419 w 6226010"/>
              <a:gd name="connsiteY9116" fmla="*/ 4032905 h 5756219"/>
              <a:gd name="connsiteX9117" fmla="*/ 3875290 w 6226010"/>
              <a:gd name="connsiteY9117" fmla="*/ 4016599 h 5756219"/>
              <a:gd name="connsiteX9118" fmla="*/ 3888878 w 6226010"/>
              <a:gd name="connsiteY9118" fmla="*/ 4027470 h 5756219"/>
              <a:gd name="connsiteX9119" fmla="*/ 3902466 w 6226010"/>
              <a:gd name="connsiteY9119" fmla="*/ 4008447 h 5756219"/>
              <a:gd name="connsiteX9120" fmla="*/ 3905183 w 6226010"/>
              <a:gd name="connsiteY9120" fmla="*/ 4027470 h 5756219"/>
              <a:gd name="connsiteX9121" fmla="*/ 3918771 w 6226010"/>
              <a:gd name="connsiteY9121" fmla="*/ 4024752 h 5756219"/>
              <a:gd name="connsiteX9122" fmla="*/ 3902466 w 6226010"/>
              <a:gd name="connsiteY9122" fmla="*/ 4098127 h 5756219"/>
              <a:gd name="connsiteX9123" fmla="*/ 3932359 w 6226010"/>
              <a:gd name="connsiteY9123" fmla="*/ 4073669 h 5756219"/>
              <a:gd name="connsiteX9124" fmla="*/ 4005735 w 6226010"/>
              <a:gd name="connsiteY9124" fmla="*/ 4176938 h 5756219"/>
              <a:gd name="connsiteX9125" fmla="*/ 3962253 w 6226010"/>
              <a:gd name="connsiteY9125" fmla="*/ 4060081 h 5756219"/>
              <a:gd name="connsiteX9126" fmla="*/ 3929642 w 6226010"/>
              <a:gd name="connsiteY9126" fmla="*/ 4027470 h 5756219"/>
              <a:gd name="connsiteX9127" fmla="*/ 3951382 w 6226010"/>
              <a:gd name="connsiteY9127" fmla="*/ 4027470 h 5756219"/>
              <a:gd name="connsiteX9128" fmla="*/ 4008453 w 6226010"/>
              <a:gd name="connsiteY9128" fmla="*/ 4081822 h 5756219"/>
              <a:gd name="connsiteX9129" fmla="*/ 3975841 w 6226010"/>
              <a:gd name="connsiteY9129" fmla="*/ 4032905 h 5756219"/>
              <a:gd name="connsiteX9130" fmla="*/ 4103569 w 6226010"/>
              <a:gd name="connsiteY9130" fmla="*/ 4013882 h 5756219"/>
              <a:gd name="connsiteX9131" fmla="*/ 4057370 w 6226010"/>
              <a:gd name="connsiteY9131" fmla="*/ 3989423 h 5756219"/>
              <a:gd name="connsiteX9132" fmla="*/ 4065522 w 6226010"/>
              <a:gd name="connsiteY9132" fmla="*/ 3975835 h 5756219"/>
              <a:gd name="connsiteX9133" fmla="*/ 3959535 w 6226010"/>
              <a:gd name="connsiteY9133" fmla="*/ 3989423 h 5756219"/>
              <a:gd name="connsiteX9134" fmla="*/ 3997583 w 6226010"/>
              <a:gd name="connsiteY9134" fmla="*/ 3848109 h 5756219"/>
              <a:gd name="connsiteX9135" fmla="*/ 3921489 w 6226010"/>
              <a:gd name="connsiteY9135" fmla="*/ 3924201 h 5756219"/>
              <a:gd name="connsiteX9136" fmla="*/ 3910618 w 6226010"/>
              <a:gd name="connsiteY9136" fmla="*/ 3973118 h 5756219"/>
              <a:gd name="connsiteX9137" fmla="*/ 3853549 w 6226010"/>
              <a:gd name="connsiteY9137" fmla="*/ 3932354 h 5756219"/>
              <a:gd name="connsiteX9138" fmla="*/ 3834526 w 6226010"/>
              <a:gd name="connsiteY9138" fmla="*/ 3956812 h 5756219"/>
              <a:gd name="connsiteX9139" fmla="*/ 3826373 w 6226010"/>
              <a:gd name="connsiteY9139" fmla="*/ 3829086 h 5756219"/>
              <a:gd name="connsiteX9140" fmla="*/ 3842678 w 6226010"/>
              <a:gd name="connsiteY9140" fmla="*/ 3834521 h 5756219"/>
              <a:gd name="connsiteX9141" fmla="*/ 3848114 w 6226010"/>
              <a:gd name="connsiteY9141" fmla="*/ 3723100 h 5756219"/>
              <a:gd name="connsiteX9142" fmla="*/ 3926924 w 6226010"/>
              <a:gd name="connsiteY9142" fmla="*/ 3769299 h 5756219"/>
              <a:gd name="connsiteX9143" fmla="*/ 3858984 w 6226010"/>
              <a:gd name="connsiteY9143" fmla="*/ 3682336 h 5756219"/>
              <a:gd name="connsiteX9144" fmla="*/ 3905183 w 6226010"/>
              <a:gd name="connsiteY9144" fmla="*/ 3568196 h 5756219"/>
              <a:gd name="connsiteX9145" fmla="*/ 3888878 w 6226010"/>
              <a:gd name="connsiteY9145" fmla="*/ 3557326 h 5756219"/>
              <a:gd name="connsiteX9146" fmla="*/ 3926924 w 6226010"/>
              <a:gd name="connsiteY9146" fmla="*/ 3456775 h 5756219"/>
              <a:gd name="connsiteX9147" fmla="*/ 3978558 w 6226010"/>
              <a:gd name="connsiteY9147" fmla="*/ 3451340 h 5756219"/>
              <a:gd name="connsiteX9148" fmla="*/ 4095416 w 6226010"/>
              <a:gd name="connsiteY9148" fmla="*/ 3483951 h 5756219"/>
              <a:gd name="connsiteX9149" fmla="*/ 4038346 w 6226010"/>
              <a:gd name="connsiteY9149" fmla="*/ 3421447 h 5756219"/>
              <a:gd name="connsiteX9150" fmla="*/ 4082847 w 6226010"/>
              <a:gd name="connsiteY9150" fmla="*/ 3427222 h 5756219"/>
              <a:gd name="connsiteX9151" fmla="*/ 4087296 w 6226010"/>
              <a:gd name="connsiteY9151" fmla="*/ 3427192 h 5756219"/>
              <a:gd name="connsiteX9152" fmla="*/ 4081827 w 6226010"/>
              <a:gd name="connsiteY9152" fmla="*/ 3402423 h 5756219"/>
              <a:gd name="connsiteX9153" fmla="*/ 4087263 w 6226010"/>
              <a:gd name="connsiteY9153" fmla="*/ 3391553 h 5756219"/>
              <a:gd name="connsiteX9154" fmla="*/ 4073675 w 6226010"/>
              <a:gd name="connsiteY9154" fmla="*/ 3304590 h 5756219"/>
              <a:gd name="connsiteX9155" fmla="*/ 4062804 w 6226010"/>
              <a:gd name="connsiteY9155" fmla="*/ 3310025 h 5756219"/>
              <a:gd name="connsiteX9156" fmla="*/ 4073675 w 6226010"/>
              <a:gd name="connsiteY9156" fmla="*/ 3214909 h 5756219"/>
              <a:gd name="connsiteX9157" fmla="*/ 4051934 w 6226010"/>
              <a:gd name="connsiteY9157" fmla="*/ 3209474 h 5756219"/>
              <a:gd name="connsiteX9158" fmla="*/ 4041064 w 6226010"/>
              <a:gd name="connsiteY9158" fmla="*/ 3060006 h 5756219"/>
              <a:gd name="connsiteX9159" fmla="*/ 4016605 w 6226010"/>
              <a:gd name="connsiteY9159" fmla="*/ 3062724 h 5756219"/>
              <a:gd name="connsiteX9160" fmla="*/ 4027476 w 6226010"/>
              <a:gd name="connsiteY9160" fmla="*/ 3073594 h 5756219"/>
              <a:gd name="connsiteX9161" fmla="*/ 4038346 w 6226010"/>
              <a:gd name="connsiteY9161" fmla="*/ 3282849 h 5756219"/>
              <a:gd name="connsiteX9162" fmla="*/ 4070957 w 6226010"/>
              <a:gd name="connsiteY9162" fmla="*/ 3369812 h 5756219"/>
              <a:gd name="connsiteX9163" fmla="*/ 4038346 w 6226010"/>
              <a:gd name="connsiteY9163" fmla="*/ 3369812 h 5756219"/>
              <a:gd name="connsiteX9164" fmla="*/ 4041064 w 6226010"/>
              <a:gd name="connsiteY9164" fmla="*/ 3358942 h 5756219"/>
              <a:gd name="connsiteX9165" fmla="*/ 3986712 w 6226010"/>
              <a:gd name="connsiteY9165" fmla="*/ 3377965 h 5756219"/>
              <a:gd name="connsiteX9166" fmla="*/ 4005735 w 6226010"/>
              <a:gd name="connsiteY9166" fmla="*/ 3301872 h 5756219"/>
              <a:gd name="connsiteX9167" fmla="*/ 3962253 w 6226010"/>
              <a:gd name="connsiteY9167" fmla="*/ 3377965 h 5756219"/>
              <a:gd name="connsiteX9168" fmla="*/ 3934738 w 6226010"/>
              <a:gd name="connsiteY9168" fmla="*/ 3375927 h 5756219"/>
              <a:gd name="connsiteX9169" fmla="*/ 3931320 w 6226010"/>
              <a:gd name="connsiteY9169" fmla="*/ 3378023 h 5756219"/>
              <a:gd name="connsiteX9170" fmla="*/ 3935417 w 6226010"/>
              <a:gd name="connsiteY9170" fmla="*/ 3384845 h 5756219"/>
              <a:gd name="connsiteX9171" fmla="*/ 3907901 w 6226010"/>
              <a:gd name="connsiteY9171" fmla="*/ 3451341 h 5756219"/>
              <a:gd name="connsiteX9172" fmla="*/ 3911638 w 6226010"/>
              <a:gd name="connsiteY9172" fmla="*/ 3406501 h 5756219"/>
              <a:gd name="connsiteX9173" fmla="*/ 3914814 w 6226010"/>
              <a:gd name="connsiteY9173" fmla="*/ 3392045 h 5756219"/>
              <a:gd name="connsiteX9174" fmla="*/ 3913337 w 6226010"/>
              <a:gd name="connsiteY9174" fmla="*/ 3391553 h 5756219"/>
              <a:gd name="connsiteX9175" fmla="*/ 3899749 w 6226010"/>
              <a:gd name="connsiteY9175" fmla="*/ 3421446 h 5756219"/>
              <a:gd name="connsiteX9176" fmla="*/ 3886161 w 6226010"/>
              <a:gd name="connsiteY9176" fmla="*/ 3410576 h 5756219"/>
              <a:gd name="connsiteX9177" fmla="*/ 3864419 w 6226010"/>
              <a:gd name="connsiteY9177" fmla="*/ 3334484 h 5756219"/>
              <a:gd name="connsiteX9178" fmla="*/ 3937795 w 6226010"/>
              <a:gd name="connsiteY9178" fmla="*/ 3133382 h 5756219"/>
              <a:gd name="connsiteX9179" fmla="*/ 3967689 w 6226010"/>
              <a:gd name="connsiteY9179" fmla="*/ 3152405 h 5756219"/>
              <a:gd name="connsiteX9180" fmla="*/ 3937795 w 6226010"/>
              <a:gd name="connsiteY9180" fmla="*/ 3114358 h 5756219"/>
              <a:gd name="connsiteX9181" fmla="*/ 3962253 w 6226010"/>
              <a:gd name="connsiteY9181" fmla="*/ 3043701 h 5756219"/>
              <a:gd name="connsiteX9182" fmla="*/ 3973124 w 6226010"/>
              <a:gd name="connsiteY9182" fmla="*/ 3046418 h 5756219"/>
              <a:gd name="connsiteX9183" fmla="*/ 3992147 w 6226010"/>
              <a:gd name="connsiteY9183" fmla="*/ 2986632 h 5756219"/>
              <a:gd name="connsiteX9184" fmla="*/ 4000300 w 6226010"/>
              <a:gd name="connsiteY9184" fmla="*/ 2994784 h 5756219"/>
              <a:gd name="connsiteX9185" fmla="*/ 4016605 w 6226010"/>
              <a:gd name="connsiteY9185" fmla="*/ 2937715 h 5756219"/>
              <a:gd name="connsiteX9186" fmla="*/ 4034227 w 6226010"/>
              <a:gd name="connsiteY9186" fmla="*/ 2908033 h 5756219"/>
              <a:gd name="connsiteX9187" fmla="*/ 4047504 w 6226010"/>
              <a:gd name="connsiteY9187" fmla="*/ 2891707 h 5756219"/>
              <a:gd name="connsiteX9188" fmla="*/ 4040044 w 6226010"/>
              <a:gd name="connsiteY9188" fmla="*/ 2892535 h 5756219"/>
              <a:gd name="connsiteX9189" fmla="*/ 4032910 w 6226010"/>
              <a:gd name="connsiteY9189" fmla="*/ 2891516 h 5756219"/>
              <a:gd name="connsiteX9190" fmla="*/ 4035628 w 6226010"/>
              <a:gd name="connsiteY9190" fmla="*/ 2872495 h 5756219"/>
              <a:gd name="connsiteX9191" fmla="*/ 4045479 w 6226010"/>
              <a:gd name="connsiteY9191" fmla="*/ 2877930 h 5756219"/>
              <a:gd name="connsiteX9192" fmla="*/ 4048822 w 6226010"/>
              <a:gd name="connsiteY9192" fmla="*/ 2890085 h 5756219"/>
              <a:gd name="connsiteX9193" fmla="*/ 4055670 w 6226010"/>
              <a:gd name="connsiteY9193" fmla="*/ 2881664 h 5756219"/>
              <a:gd name="connsiteX9194" fmla="*/ 4092698 w 6226010"/>
              <a:gd name="connsiteY9194" fmla="*/ 2823576 h 5756219"/>
              <a:gd name="connsiteX9195" fmla="*/ 4114438 w 6226010"/>
              <a:gd name="connsiteY9195" fmla="*/ 2809988 h 5756219"/>
              <a:gd name="connsiteX9196" fmla="*/ 4103568 w 6226010"/>
              <a:gd name="connsiteY9196" fmla="*/ 2801835 h 5756219"/>
              <a:gd name="connsiteX9197" fmla="*/ 4174225 w 6226010"/>
              <a:gd name="connsiteY9197" fmla="*/ 2704002 h 5756219"/>
              <a:gd name="connsiteX9198" fmla="*/ 4212271 w 6226010"/>
              <a:gd name="connsiteY9198" fmla="*/ 2600734 h 5756219"/>
              <a:gd name="connsiteX9199" fmla="*/ 4234013 w 6226010"/>
              <a:gd name="connsiteY9199" fmla="*/ 2497465 h 5756219"/>
              <a:gd name="connsiteX9200" fmla="*/ 4258471 w 6226010"/>
              <a:gd name="connsiteY9200" fmla="*/ 2489312 h 5756219"/>
              <a:gd name="connsiteX9201" fmla="*/ 4253035 w 6226010"/>
              <a:gd name="connsiteY9201" fmla="*/ 2559970 h 5756219"/>
              <a:gd name="connsiteX9202" fmla="*/ 4301953 w 6226010"/>
              <a:gd name="connsiteY9202" fmla="*/ 2456701 h 5756219"/>
              <a:gd name="connsiteX9203" fmla="*/ 4312823 w 6226010"/>
              <a:gd name="connsiteY9203" fmla="*/ 2464854 h 5756219"/>
              <a:gd name="connsiteX9204" fmla="*/ 4312823 w 6226010"/>
              <a:gd name="connsiteY9204" fmla="*/ 2448549 h 5756219"/>
              <a:gd name="connsiteX9205" fmla="*/ 4329129 w 6226010"/>
              <a:gd name="connsiteY9205" fmla="*/ 2445830 h 5756219"/>
              <a:gd name="connsiteX9206" fmla="*/ 4331845 w 6226010"/>
              <a:gd name="connsiteY9206" fmla="*/ 2462136 h 5756219"/>
              <a:gd name="connsiteX9207" fmla="*/ 4350869 w 6226010"/>
              <a:gd name="connsiteY9207" fmla="*/ 2459418 h 5756219"/>
              <a:gd name="connsiteX9208" fmla="*/ 4353451 w 6226010"/>
              <a:gd name="connsiteY9208" fmla="*/ 2466886 h 5756219"/>
              <a:gd name="connsiteX9209" fmla="*/ 4364457 w 6226010"/>
              <a:gd name="connsiteY9209" fmla="*/ 2467574 h 5756219"/>
              <a:gd name="connsiteX9210" fmla="*/ 4358767 w 6226010"/>
              <a:gd name="connsiteY9210" fmla="*/ 2476151 h 5756219"/>
              <a:gd name="connsiteX9211" fmla="*/ 4356705 w 6226010"/>
              <a:gd name="connsiteY9211" fmla="*/ 2476296 h 5756219"/>
              <a:gd name="connsiteX9212" fmla="*/ 4357153 w 6226010"/>
              <a:gd name="connsiteY9212" fmla="*/ 2477593 h 5756219"/>
              <a:gd name="connsiteX9213" fmla="*/ 4386197 w 6226010"/>
              <a:gd name="connsiteY9213" fmla="*/ 2521923 h 5756219"/>
              <a:gd name="connsiteX9214" fmla="*/ 4448703 w 6226010"/>
              <a:gd name="connsiteY9214" fmla="*/ 2578993 h 5756219"/>
              <a:gd name="connsiteX9215" fmla="*/ 4462291 w 6226010"/>
              <a:gd name="connsiteY9215" fmla="*/ 2568122 h 5756219"/>
              <a:gd name="connsiteX9216" fmla="*/ 4378045 w 6226010"/>
              <a:gd name="connsiteY9216" fmla="*/ 2459418 h 5756219"/>
              <a:gd name="connsiteX9217" fmla="*/ 4397069 w 6226010"/>
              <a:gd name="connsiteY9217" fmla="*/ 2451266 h 5756219"/>
              <a:gd name="connsiteX9218" fmla="*/ 4470443 w 6226010"/>
              <a:gd name="connsiteY9218" fmla="*/ 2500182 h 5756219"/>
              <a:gd name="connsiteX9219" fmla="*/ 4451420 w 6226010"/>
              <a:gd name="connsiteY9219" fmla="*/ 2467572 h 5756219"/>
              <a:gd name="connsiteX9220" fmla="*/ 4445899 w 6226010"/>
              <a:gd name="connsiteY9220" fmla="*/ 2465023 h 5756219"/>
              <a:gd name="connsiteX9221" fmla="*/ 4441569 w 6226010"/>
              <a:gd name="connsiteY9221" fmla="*/ 2473350 h 5756219"/>
              <a:gd name="connsiteX9222" fmla="*/ 4435114 w 6226010"/>
              <a:gd name="connsiteY9222" fmla="*/ 2475727 h 5756219"/>
              <a:gd name="connsiteX9223" fmla="*/ 4437493 w 6226010"/>
              <a:gd name="connsiteY9223" fmla="*/ 2463158 h 5756219"/>
              <a:gd name="connsiteX9224" fmla="*/ 4445197 w 6226010"/>
              <a:gd name="connsiteY9224" fmla="*/ 2464700 h 5756219"/>
              <a:gd name="connsiteX9225" fmla="*/ 4416091 w 6226010"/>
              <a:gd name="connsiteY9225" fmla="*/ 2451266 h 5756219"/>
              <a:gd name="connsiteX9226" fmla="*/ 4448703 w 6226010"/>
              <a:gd name="connsiteY9226" fmla="*/ 2429526 h 5756219"/>
              <a:gd name="connsiteX9227" fmla="*/ 4522077 w 6226010"/>
              <a:gd name="connsiteY9227" fmla="*/ 2391479 h 5756219"/>
              <a:gd name="connsiteX9228" fmla="*/ 4391633 w 6226010"/>
              <a:gd name="connsiteY9228" fmla="*/ 2424090 h 5756219"/>
              <a:gd name="connsiteX9229" fmla="*/ 4413373 w 6226010"/>
              <a:gd name="connsiteY9229" fmla="*/ 2347997 h 5756219"/>
              <a:gd name="connsiteX9230" fmla="*/ 4383481 w 6226010"/>
              <a:gd name="connsiteY9230" fmla="*/ 2421372 h 5756219"/>
              <a:gd name="connsiteX9231" fmla="*/ 4380763 w 6226010"/>
              <a:gd name="connsiteY9231" fmla="*/ 2410502 h 5756219"/>
              <a:gd name="connsiteX9232" fmla="*/ 4320975 w 6226010"/>
              <a:gd name="connsiteY9232" fmla="*/ 2415937 h 5756219"/>
              <a:gd name="connsiteX9233" fmla="*/ 4345433 w 6226010"/>
              <a:gd name="connsiteY9233" fmla="*/ 2345280 h 5756219"/>
              <a:gd name="connsiteX9234" fmla="*/ 4312823 w 6226010"/>
              <a:gd name="connsiteY9234" fmla="*/ 2405067 h 5756219"/>
              <a:gd name="connsiteX9235" fmla="*/ 4263905 w 6226010"/>
              <a:gd name="connsiteY9235" fmla="*/ 2437679 h 5756219"/>
              <a:gd name="connsiteX9236" fmla="*/ 4239447 w 6226010"/>
              <a:gd name="connsiteY9236" fmla="*/ 2437679 h 5756219"/>
              <a:gd name="connsiteX9237" fmla="*/ 4282929 w 6226010"/>
              <a:gd name="connsiteY9237" fmla="*/ 2271904 h 5756219"/>
              <a:gd name="connsiteX9238" fmla="*/ 4272059 w 6226010"/>
              <a:gd name="connsiteY9238" fmla="*/ 2269187 h 5756219"/>
              <a:gd name="connsiteX9239" fmla="*/ 4280211 w 6226010"/>
              <a:gd name="connsiteY9239" fmla="*/ 2228423 h 5756219"/>
              <a:gd name="connsiteX9240" fmla="*/ 4266623 w 6226010"/>
              <a:gd name="connsiteY9240" fmla="*/ 2225705 h 5756219"/>
              <a:gd name="connsiteX9241" fmla="*/ 4255753 w 6226010"/>
              <a:gd name="connsiteY9241" fmla="*/ 2228423 h 5756219"/>
              <a:gd name="connsiteX9242" fmla="*/ 4239447 w 6226010"/>
              <a:gd name="connsiteY9242" fmla="*/ 2375173 h 5756219"/>
              <a:gd name="connsiteX9243" fmla="*/ 4225859 w 6226010"/>
              <a:gd name="connsiteY9243" fmla="*/ 2377891 h 5756219"/>
              <a:gd name="connsiteX9244" fmla="*/ 4187813 w 6226010"/>
              <a:gd name="connsiteY9244" fmla="*/ 2502900 h 5756219"/>
              <a:gd name="connsiteX9245" fmla="*/ 4168791 w 6226010"/>
              <a:gd name="connsiteY9245" fmla="*/ 2492030 h 5756219"/>
              <a:gd name="connsiteX9246" fmla="*/ 4182293 w 6226010"/>
              <a:gd name="connsiteY9246" fmla="*/ 2481627 h 5756219"/>
              <a:gd name="connsiteX9247" fmla="*/ 4189041 w 6226010"/>
              <a:gd name="connsiteY9247" fmla="*/ 2476385 h 5756219"/>
              <a:gd name="connsiteX9248" fmla="*/ 4187814 w 6226010"/>
              <a:gd name="connsiteY9248" fmla="*/ 2473009 h 5756219"/>
              <a:gd name="connsiteX9249" fmla="*/ 4191040 w 6226010"/>
              <a:gd name="connsiteY9249" fmla="*/ 2474832 h 5756219"/>
              <a:gd name="connsiteX9250" fmla="*/ 4197325 w 6226010"/>
              <a:gd name="connsiteY9250" fmla="*/ 2469950 h 5756219"/>
              <a:gd name="connsiteX9251" fmla="*/ 4201401 w 6226010"/>
              <a:gd name="connsiteY9251" fmla="*/ 2437679 h 5756219"/>
              <a:gd name="connsiteX9252" fmla="*/ 4176943 w 6226010"/>
              <a:gd name="connsiteY9252" fmla="*/ 2443113 h 5756219"/>
              <a:gd name="connsiteX9253" fmla="*/ 4171507 w 6226010"/>
              <a:gd name="connsiteY9253" fmla="*/ 2328975 h 5756219"/>
              <a:gd name="connsiteX9254" fmla="*/ 4155203 w 6226010"/>
              <a:gd name="connsiteY9254" fmla="*/ 2483877 h 5756219"/>
              <a:gd name="connsiteX9255" fmla="*/ 4136179 w 6226010"/>
              <a:gd name="connsiteY9255" fmla="*/ 2473007 h 5756219"/>
              <a:gd name="connsiteX9256" fmla="*/ 4119874 w 6226010"/>
              <a:gd name="connsiteY9256" fmla="*/ 2402349 h 5756219"/>
              <a:gd name="connsiteX9257" fmla="*/ 4111721 w 6226010"/>
              <a:gd name="connsiteY9257" fmla="*/ 2453983 h 5756219"/>
              <a:gd name="connsiteX9258" fmla="*/ 4011170 w 6226010"/>
              <a:gd name="connsiteY9258" fmla="*/ 2432244 h 5756219"/>
              <a:gd name="connsiteX9259" fmla="*/ 4081827 w 6226010"/>
              <a:gd name="connsiteY9259" fmla="*/ 2489312 h 5756219"/>
              <a:gd name="connsiteX9260" fmla="*/ 4087263 w 6226010"/>
              <a:gd name="connsiteY9260" fmla="*/ 2500182 h 5756219"/>
              <a:gd name="connsiteX9261" fmla="*/ 4046499 w 6226010"/>
              <a:gd name="connsiteY9261" fmla="*/ 2540946 h 5756219"/>
              <a:gd name="connsiteX9262" fmla="*/ 4125309 w 6226010"/>
              <a:gd name="connsiteY9262" fmla="*/ 2508335 h 5756219"/>
              <a:gd name="connsiteX9263" fmla="*/ 4141615 w 6226010"/>
              <a:gd name="connsiteY9263" fmla="*/ 2527358 h 5756219"/>
              <a:gd name="connsiteX9264" fmla="*/ 4092698 w 6226010"/>
              <a:gd name="connsiteY9264" fmla="*/ 2627910 h 5756219"/>
              <a:gd name="connsiteX9265" fmla="*/ 4138897 w 6226010"/>
              <a:gd name="connsiteY9265" fmla="*/ 2532794 h 5756219"/>
              <a:gd name="connsiteX9266" fmla="*/ 4147049 w 6226010"/>
              <a:gd name="connsiteY9266" fmla="*/ 2592581 h 5756219"/>
              <a:gd name="connsiteX9267" fmla="*/ 4185095 w 6226010"/>
              <a:gd name="connsiteY9267" fmla="*/ 2535511 h 5756219"/>
              <a:gd name="connsiteX9268" fmla="*/ 4119874 w 6226010"/>
              <a:gd name="connsiteY9268" fmla="*/ 2731179 h 5756219"/>
              <a:gd name="connsiteX9269" fmla="*/ 4109003 w 6226010"/>
              <a:gd name="connsiteY9269" fmla="*/ 2723026 h 5756219"/>
              <a:gd name="connsiteX9270" fmla="*/ 4100851 w 6226010"/>
              <a:gd name="connsiteY9270" fmla="*/ 2728461 h 5756219"/>
              <a:gd name="connsiteX9271" fmla="*/ 4008452 w 6226010"/>
              <a:gd name="connsiteY9271" fmla="*/ 2896951 h 5756219"/>
              <a:gd name="connsiteX9272" fmla="*/ 4019323 w 6226010"/>
              <a:gd name="connsiteY9272" fmla="*/ 2853469 h 5756219"/>
              <a:gd name="connsiteX9273" fmla="*/ 4013888 w 6226010"/>
              <a:gd name="connsiteY9273" fmla="*/ 2845317 h 5756219"/>
              <a:gd name="connsiteX9274" fmla="*/ 3978559 w 6226010"/>
              <a:gd name="connsiteY9274" fmla="*/ 2864340 h 5756219"/>
              <a:gd name="connsiteX9275" fmla="*/ 3945948 w 6226010"/>
              <a:gd name="connsiteY9275" fmla="*/ 2763789 h 5756219"/>
              <a:gd name="connsiteX9276" fmla="*/ 3935078 w 6226010"/>
              <a:gd name="connsiteY9276" fmla="*/ 2869775 h 5756219"/>
              <a:gd name="connsiteX9277" fmla="*/ 3823655 w 6226010"/>
              <a:gd name="connsiteY9277" fmla="*/ 2861623 h 5756219"/>
              <a:gd name="connsiteX9278" fmla="*/ 3937795 w 6226010"/>
              <a:gd name="connsiteY9278" fmla="*/ 2902386 h 5756219"/>
              <a:gd name="connsiteX9279" fmla="*/ 3943230 w 6226010"/>
              <a:gd name="connsiteY9279" fmla="*/ 2913257 h 5756219"/>
              <a:gd name="connsiteX9280" fmla="*/ 3888877 w 6226010"/>
              <a:gd name="connsiteY9280" fmla="*/ 2956738 h 5756219"/>
              <a:gd name="connsiteX9281" fmla="*/ 3951383 w 6226010"/>
              <a:gd name="connsiteY9281" fmla="*/ 2915974 h 5756219"/>
              <a:gd name="connsiteX9282" fmla="*/ 3962253 w 6226010"/>
              <a:gd name="connsiteY9282" fmla="*/ 2926845 h 5756219"/>
              <a:gd name="connsiteX9283" fmla="*/ 3937795 w 6226010"/>
              <a:gd name="connsiteY9283" fmla="*/ 3024678 h 5756219"/>
              <a:gd name="connsiteX9284" fmla="*/ 3842679 w 6226010"/>
              <a:gd name="connsiteY9284" fmla="*/ 3271979 h 5756219"/>
              <a:gd name="connsiteX9285" fmla="*/ 3818221 w 6226010"/>
              <a:gd name="connsiteY9285" fmla="*/ 3266544 h 5756219"/>
              <a:gd name="connsiteX9286" fmla="*/ 3819597 w 6226010"/>
              <a:gd name="connsiteY9286" fmla="*/ 3261384 h 5756219"/>
              <a:gd name="connsiteX9287" fmla="*/ 3818221 w 6226010"/>
              <a:gd name="connsiteY9287" fmla="*/ 3261108 h 5756219"/>
              <a:gd name="connsiteX9288" fmla="*/ 3820197 w 6226010"/>
              <a:gd name="connsiteY9288" fmla="*/ 3259132 h 5756219"/>
              <a:gd name="connsiteX9289" fmla="*/ 3823656 w 6226010"/>
              <a:gd name="connsiteY9289" fmla="*/ 3246161 h 5756219"/>
              <a:gd name="connsiteX9290" fmla="*/ 3829091 w 6226010"/>
              <a:gd name="connsiteY9290" fmla="*/ 3225780 h 5756219"/>
              <a:gd name="connsiteX9291" fmla="*/ 3807351 w 6226010"/>
              <a:gd name="connsiteY9291" fmla="*/ 3250238 h 5756219"/>
              <a:gd name="connsiteX9292" fmla="*/ 3769303 w 6226010"/>
              <a:gd name="connsiteY9292" fmla="*/ 3228497 h 5756219"/>
              <a:gd name="connsiteX9293" fmla="*/ 3739411 w 6226010"/>
              <a:gd name="connsiteY9293" fmla="*/ 3108923 h 5756219"/>
              <a:gd name="connsiteX9294" fmla="*/ 3714951 w 6226010"/>
              <a:gd name="connsiteY9294" fmla="*/ 3239368 h 5756219"/>
              <a:gd name="connsiteX9295" fmla="*/ 3712235 w 6226010"/>
              <a:gd name="connsiteY9295" fmla="*/ 3195886 h 5756219"/>
              <a:gd name="connsiteX9296" fmla="*/ 3687775 w 6226010"/>
              <a:gd name="connsiteY9296" fmla="*/ 3125229 h 5756219"/>
              <a:gd name="connsiteX9297" fmla="*/ 3695929 w 6226010"/>
              <a:gd name="connsiteY9297" fmla="*/ 3220344 h 5756219"/>
              <a:gd name="connsiteX9298" fmla="*/ 3568201 w 6226010"/>
              <a:gd name="connsiteY9298" fmla="*/ 3187733 h 5756219"/>
              <a:gd name="connsiteX9299" fmla="*/ 3690493 w 6226010"/>
              <a:gd name="connsiteY9299" fmla="*/ 3252956 h 5756219"/>
              <a:gd name="connsiteX9300" fmla="*/ 3674187 w 6226010"/>
              <a:gd name="connsiteY9300" fmla="*/ 3252956 h 5756219"/>
              <a:gd name="connsiteX9301" fmla="*/ 3589943 w 6226010"/>
              <a:gd name="connsiteY9301" fmla="*/ 3288284 h 5756219"/>
              <a:gd name="connsiteX9302" fmla="*/ 3682341 w 6226010"/>
              <a:gd name="connsiteY9302" fmla="*/ 3271979 h 5756219"/>
              <a:gd name="connsiteX9303" fmla="*/ 3690493 w 6226010"/>
              <a:gd name="connsiteY9303" fmla="*/ 3304590 h 5756219"/>
              <a:gd name="connsiteX9304" fmla="*/ 3712235 w 6226010"/>
              <a:gd name="connsiteY9304" fmla="*/ 3266544 h 5756219"/>
              <a:gd name="connsiteX9305" fmla="*/ 3736693 w 6226010"/>
              <a:gd name="connsiteY9305" fmla="*/ 3261108 h 5756219"/>
              <a:gd name="connsiteX9306" fmla="*/ 3728539 w 6226010"/>
              <a:gd name="connsiteY9306" fmla="*/ 3277414 h 5756219"/>
              <a:gd name="connsiteX9307" fmla="*/ 3739411 w 6226010"/>
              <a:gd name="connsiteY9307" fmla="*/ 3285567 h 5756219"/>
              <a:gd name="connsiteX9308" fmla="*/ 3685059 w 6226010"/>
              <a:gd name="connsiteY9308" fmla="*/ 3391553 h 5756219"/>
              <a:gd name="connsiteX9309" fmla="*/ 3725823 w 6226010"/>
              <a:gd name="connsiteY9309" fmla="*/ 3345354 h 5756219"/>
              <a:gd name="connsiteX9310" fmla="*/ 3750281 w 6226010"/>
              <a:gd name="connsiteY9310" fmla="*/ 3364377 h 5756219"/>
              <a:gd name="connsiteX9311" fmla="*/ 3755715 w 6226010"/>
              <a:gd name="connsiteY9311" fmla="*/ 3291002 h 5756219"/>
              <a:gd name="connsiteX9312" fmla="*/ 3791045 w 6226010"/>
              <a:gd name="connsiteY9312" fmla="*/ 3274696 h 5756219"/>
              <a:gd name="connsiteX9313" fmla="*/ 3812106 w 6226010"/>
              <a:gd name="connsiteY9313" fmla="*/ 3282170 h 5756219"/>
              <a:gd name="connsiteX9314" fmla="*/ 3828036 w 6226010"/>
              <a:gd name="connsiteY9314" fmla="*/ 3293002 h 5756219"/>
              <a:gd name="connsiteX9315" fmla="*/ 3831469 w 6226010"/>
              <a:gd name="connsiteY9315" fmla="*/ 3285907 h 5756219"/>
              <a:gd name="connsiteX9316" fmla="*/ 3842679 w 6226010"/>
              <a:gd name="connsiteY9316" fmla="*/ 3285567 h 5756219"/>
              <a:gd name="connsiteX9317" fmla="*/ 3834526 w 6226010"/>
              <a:gd name="connsiteY9317" fmla="*/ 3294059 h 5756219"/>
              <a:gd name="connsiteX9318" fmla="*/ 3828727 w 6226010"/>
              <a:gd name="connsiteY9318" fmla="*/ 3295751 h 5756219"/>
              <a:gd name="connsiteX9319" fmla="*/ 3804632 w 6226010"/>
              <a:gd name="connsiteY9319" fmla="*/ 3430279 h 5756219"/>
              <a:gd name="connsiteX9320" fmla="*/ 3780175 w 6226010"/>
              <a:gd name="connsiteY9320" fmla="*/ 3562761 h 5756219"/>
              <a:gd name="connsiteX9321" fmla="*/ 3709517 w 6226010"/>
              <a:gd name="connsiteY9321" fmla="*/ 3603525 h 5756219"/>
              <a:gd name="connsiteX9322" fmla="*/ 3742127 w 6226010"/>
              <a:gd name="connsiteY9322" fmla="*/ 3470363 h 5756219"/>
              <a:gd name="connsiteX9323" fmla="*/ 3690493 w 6226010"/>
              <a:gd name="connsiteY9323" fmla="*/ 3541020 h 5756219"/>
              <a:gd name="connsiteX9324" fmla="*/ 3674187 w 6226010"/>
              <a:gd name="connsiteY9324" fmla="*/ 3527432 h 5756219"/>
              <a:gd name="connsiteX9325" fmla="*/ 3676905 w 6226010"/>
              <a:gd name="connsiteY9325" fmla="*/ 3494821 h 5756219"/>
              <a:gd name="connsiteX9326" fmla="*/ 3660599 w 6226010"/>
              <a:gd name="connsiteY9326" fmla="*/ 3516562 h 5756219"/>
              <a:gd name="connsiteX9327" fmla="*/ 3630707 w 6226010"/>
              <a:gd name="connsiteY9327" fmla="*/ 3508409 h 5756219"/>
              <a:gd name="connsiteX9328" fmla="*/ 3625271 w 6226010"/>
              <a:gd name="connsiteY9328" fmla="*/ 3521997 h 5756219"/>
              <a:gd name="connsiteX9329" fmla="*/ 3581789 w 6226010"/>
              <a:gd name="connsiteY9329" fmla="*/ 3486669 h 5756219"/>
              <a:gd name="connsiteX9330" fmla="*/ 3595377 w 6226010"/>
              <a:gd name="connsiteY9330" fmla="*/ 3475798 h 5756219"/>
              <a:gd name="connsiteX9331" fmla="*/ 3570919 w 6226010"/>
              <a:gd name="connsiteY9331" fmla="*/ 3454057 h 5756219"/>
              <a:gd name="connsiteX9332" fmla="*/ 3583828 w 6226010"/>
              <a:gd name="connsiteY9332" fmla="*/ 3444886 h 5756219"/>
              <a:gd name="connsiteX9333" fmla="*/ 3594674 w 6226010"/>
              <a:gd name="connsiteY9333" fmla="*/ 3445537 h 5756219"/>
              <a:gd name="connsiteX9334" fmla="*/ 3596057 w 6226010"/>
              <a:gd name="connsiteY9334" fmla="*/ 3446584 h 5756219"/>
              <a:gd name="connsiteX9335" fmla="*/ 3622553 w 6226010"/>
              <a:gd name="connsiteY9335" fmla="*/ 3443187 h 5756219"/>
              <a:gd name="connsiteX9336" fmla="*/ 3598095 w 6226010"/>
              <a:gd name="connsiteY9336" fmla="*/ 3435374 h 5756219"/>
              <a:gd name="connsiteX9337" fmla="*/ 3591828 w 6226010"/>
              <a:gd name="connsiteY9337" fmla="*/ 3433894 h 5756219"/>
              <a:gd name="connsiteX9338" fmla="*/ 3592659 w 6226010"/>
              <a:gd name="connsiteY9338" fmla="*/ 3432317 h 5756219"/>
              <a:gd name="connsiteX9339" fmla="*/ 3589485 w 6226010"/>
              <a:gd name="connsiteY9339" fmla="*/ 3433341 h 5756219"/>
              <a:gd name="connsiteX9340" fmla="*/ 3580789 w 6226010"/>
              <a:gd name="connsiteY9340" fmla="*/ 3431288 h 5756219"/>
              <a:gd name="connsiteX9341" fmla="*/ 3595037 w 6226010"/>
              <a:gd name="connsiteY9341" fmla="*/ 3423824 h 5756219"/>
              <a:gd name="connsiteX9342" fmla="*/ 3614401 w 6226010"/>
              <a:gd name="connsiteY9342" fmla="*/ 3410576 h 5756219"/>
              <a:gd name="connsiteX9343" fmla="*/ 3565485 w 6226010"/>
              <a:gd name="connsiteY9343" fmla="*/ 3432317 h 5756219"/>
              <a:gd name="connsiteX9344" fmla="*/ 3543743 w 6226010"/>
              <a:gd name="connsiteY9344" fmla="*/ 3372530 h 5756219"/>
              <a:gd name="connsiteX9345" fmla="*/ 3554613 w 6226010"/>
              <a:gd name="connsiteY9345" fmla="*/ 3445905 h 5756219"/>
              <a:gd name="connsiteX9346" fmla="*/ 3541025 w 6226010"/>
              <a:gd name="connsiteY9346" fmla="*/ 3448622 h 5756219"/>
              <a:gd name="connsiteX9347" fmla="*/ 3541025 w 6226010"/>
              <a:gd name="connsiteY9347" fmla="*/ 3478516 h 5756219"/>
              <a:gd name="connsiteX9348" fmla="*/ 3546461 w 6226010"/>
              <a:gd name="connsiteY9348" fmla="*/ 3486669 h 5756219"/>
              <a:gd name="connsiteX9349" fmla="*/ 3560049 w 6226010"/>
              <a:gd name="connsiteY9349" fmla="*/ 3464928 h 5756219"/>
              <a:gd name="connsiteX9350" fmla="*/ 3614401 w 6226010"/>
              <a:gd name="connsiteY9350" fmla="*/ 3570914 h 5756219"/>
              <a:gd name="connsiteX9351" fmla="*/ 3562767 w 6226010"/>
              <a:gd name="connsiteY9351" fmla="*/ 3568196 h 5756219"/>
              <a:gd name="connsiteX9352" fmla="*/ 3641577 w 6226010"/>
              <a:gd name="connsiteY9352" fmla="*/ 3611678 h 5756219"/>
              <a:gd name="connsiteX9353" fmla="*/ 3630707 w 6226010"/>
              <a:gd name="connsiteY9353" fmla="*/ 3633419 h 5756219"/>
              <a:gd name="connsiteX9354" fmla="*/ 3497545 w 6226010"/>
              <a:gd name="connsiteY9354" fmla="*/ 3636136 h 5756219"/>
              <a:gd name="connsiteX9355" fmla="*/ 3511133 w 6226010"/>
              <a:gd name="connsiteY9355" fmla="*/ 3652442 h 5756219"/>
              <a:gd name="connsiteX9356" fmla="*/ 3502979 w 6226010"/>
              <a:gd name="connsiteY9356" fmla="*/ 3660595 h 5756219"/>
              <a:gd name="connsiteX9357" fmla="*/ 3655165 w 6226010"/>
              <a:gd name="connsiteY9357" fmla="*/ 3676900 h 5756219"/>
              <a:gd name="connsiteX9358" fmla="*/ 3649729 w 6226010"/>
              <a:gd name="connsiteY9358" fmla="*/ 3785604 h 5756219"/>
              <a:gd name="connsiteX9359" fmla="*/ 3671471 w 6226010"/>
              <a:gd name="connsiteY9359" fmla="*/ 3772016 h 5756219"/>
              <a:gd name="connsiteX9360" fmla="*/ 3693211 w 6226010"/>
              <a:gd name="connsiteY9360" fmla="*/ 3910613 h 5756219"/>
              <a:gd name="connsiteX9361" fmla="*/ 3676905 w 6226010"/>
              <a:gd name="connsiteY9361" fmla="*/ 3907895 h 5756219"/>
              <a:gd name="connsiteX9362" fmla="*/ 3660599 w 6226010"/>
              <a:gd name="connsiteY9362" fmla="*/ 3940507 h 5756219"/>
              <a:gd name="connsiteX9363" fmla="*/ 3690493 w 6226010"/>
              <a:gd name="connsiteY9363" fmla="*/ 3959530 h 5756219"/>
              <a:gd name="connsiteX9364" fmla="*/ 3641577 w 6226010"/>
              <a:gd name="connsiteY9364" fmla="*/ 4060081 h 5756219"/>
              <a:gd name="connsiteX9365" fmla="*/ 3611683 w 6226010"/>
              <a:gd name="connsiteY9365" fmla="*/ 4049211 h 5756219"/>
              <a:gd name="connsiteX9366" fmla="*/ 3372535 w 6226010"/>
              <a:gd name="connsiteY9366" fmla="*/ 3755710 h 5756219"/>
              <a:gd name="connsiteX9367" fmla="*/ 3369817 w 6226010"/>
              <a:gd name="connsiteY9367" fmla="*/ 3736687 h 5756219"/>
              <a:gd name="connsiteX9368" fmla="*/ 3358947 w 6226010"/>
              <a:gd name="connsiteY9368" fmla="*/ 3742122 h 5756219"/>
              <a:gd name="connsiteX9369" fmla="*/ 3263831 w 6226010"/>
              <a:gd name="connsiteY9369" fmla="*/ 3627984 h 5756219"/>
              <a:gd name="connsiteX9370" fmla="*/ 3209479 w 6226010"/>
              <a:gd name="connsiteY9370" fmla="*/ 3568196 h 5756219"/>
              <a:gd name="connsiteX9371" fmla="*/ 3106211 w 6226010"/>
              <a:gd name="connsiteY9371" fmla="*/ 3454057 h 5756219"/>
              <a:gd name="connsiteX9372" fmla="*/ 3103493 w 6226010"/>
              <a:gd name="connsiteY9372" fmla="*/ 3429599 h 5756219"/>
              <a:gd name="connsiteX9373" fmla="*/ 3087187 w 6226010"/>
              <a:gd name="connsiteY9373" fmla="*/ 3435034 h 5756219"/>
              <a:gd name="connsiteX9374" fmla="*/ 3070881 w 6226010"/>
              <a:gd name="connsiteY9374" fmla="*/ 3416011 h 5756219"/>
              <a:gd name="connsiteX9375" fmla="*/ 3051859 w 6226010"/>
              <a:gd name="connsiteY9375" fmla="*/ 3391553 h 5756219"/>
              <a:gd name="connsiteX9376" fmla="*/ 3046423 w 6226010"/>
              <a:gd name="connsiteY9376" fmla="*/ 3375247 h 5756219"/>
              <a:gd name="connsiteX9377" fmla="*/ 3038202 w 6226010"/>
              <a:gd name="connsiteY9377" fmla="*/ 3377826 h 5756219"/>
              <a:gd name="connsiteX9378" fmla="*/ 3038272 w 6226010"/>
              <a:gd name="connsiteY9378" fmla="*/ 3377966 h 5756219"/>
              <a:gd name="connsiteX9379" fmla="*/ 3029780 w 6226010"/>
              <a:gd name="connsiteY9379" fmla="*/ 3381023 h 5756219"/>
              <a:gd name="connsiteX9380" fmla="*/ 3028861 w 6226010"/>
              <a:gd name="connsiteY9380" fmla="*/ 3380756 h 5756219"/>
              <a:gd name="connsiteX9381" fmla="*/ 3028419 w 6226010"/>
              <a:gd name="connsiteY9381" fmla="*/ 3380895 h 5756219"/>
              <a:gd name="connsiteX9382" fmla="*/ 3025480 w 6226010"/>
              <a:gd name="connsiteY9382" fmla="*/ 3379775 h 5756219"/>
              <a:gd name="connsiteX9383" fmla="*/ 3019249 w 6226010"/>
              <a:gd name="connsiteY9383" fmla="*/ 3377966 h 5756219"/>
              <a:gd name="connsiteX9384" fmla="*/ 3019874 w 6226010"/>
              <a:gd name="connsiteY9384" fmla="*/ 3377638 h 5756219"/>
              <a:gd name="connsiteX9385" fmla="*/ 3014491 w 6226010"/>
              <a:gd name="connsiteY9385" fmla="*/ 3375587 h 5756219"/>
              <a:gd name="connsiteX9386" fmla="*/ 2994789 w 6226010"/>
              <a:gd name="connsiteY9386" fmla="*/ 3345354 h 5756219"/>
              <a:gd name="connsiteX9387" fmla="*/ 2997507 w 6226010"/>
              <a:gd name="connsiteY9387" fmla="*/ 3356224 h 5756219"/>
              <a:gd name="connsiteX9388" fmla="*/ 2975767 w 6226010"/>
              <a:gd name="connsiteY9388" fmla="*/ 3331766 h 5756219"/>
              <a:gd name="connsiteX9389" fmla="*/ 2956743 w 6226010"/>
              <a:gd name="connsiteY9389" fmla="*/ 3364377 h 5756219"/>
              <a:gd name="connsiteX9390" fmla="*/ 2880651 w 6226010"/>
              <a:gd name="connsiteY9390" fmla="*/ 3326331 h 5756219"/>
              <a:gd name="connsiteX9391" fmla="*/ 2877933 w 6226010"/>
              <a:gd name="connsiteY9391" fmla="*/ 3320896 h 5756219"/>
              <a:gd name="connsiteX9392" fmla="*/ 2913261 w 6226010"/>
              <a:gd name="connsiteY9392" fmla="*/ 3358942 h 5756219"/>
              <a:gd name="connsiteX9393" fmla="*/ 2891521 w 6226010"/>
              <a:gd name="connsiteY9393" fmla="*/ 3364377 h 5756219"/>
              <a:gd name="connsiteX9394" fmla="*/ 2921415 w 6226010"/>
              <a:gd name="connsiteY9394" fmla="*/ 3375247 h 5756219"/>
              <a:gd name="connsiteX9395" fmla="*/ 2905109 w 6226010"/>
              <a:gd name="connsiteY9395" fmla="*/ 3391553 h 5756219"/>
              <a:gd name="connsiteX9396" fmla="*/ 2994789 w 6226010"/>
              <a:gd name="connsiteY9396" fmla="*/ 3386118 h 5756219"/>
              <a:gd name="connsiteX9397" fmla="*/ 3000225 w 6226010"/>
              <a:gd name="connsiteY9397" fmla="*/ 3399706 h 5756219"/>
              <a:gd name="connsiteX9398" fmla="*/ 3016531 w 6226010"/>
              <a:gd name="connsiteY9398" fmla="*/ 3388835 h 5756219"/>
              <a:gd name="connsiteX9399" fmla="*/ 3133387 w 6226010"/>
              <a:gd name="connsiteY9399" fmla="*/ 3505692 h 5756219"/>
              <a:gd name="connsiteX9400" fmla="*/ 3130669 w 6226010"/>
              <a:gd name="connsiteY9400" fmla="*/ 3519280 h 5756219"/>
              <a:gd name="connsiteX9401" fmla="*/ 3301877 w 6226010"/>
              <a:gd name="connsiteY9401" fmla="*/ 3695923 h 5756219"/>
              <a:gd name="connsiteX9402" fmla="*/ 3293725 w 6226010"/>
              <a:gd name="connsiteY9402" fmla="*/ 3706794 h 5756219"/>
              <a:gd name="connsiteX9403" fmla="*/ 3405147 w 6226010"/>
              <a:gd name="connsiteY9403" fmla="*/ 3820932 h 5756219"/>
              <a:gd name="connsiteX9404" fmla="*/ 3619835 w 6226010"/>
              <a:gd name="connsiteY9404" fmla="*/ 4073669 h 5756219"/>
              <a:gd name="connsiteX9405" fmla="*/ 3584507 w 6226010"/>
              <a:gd name="connsiteY9405" fmla="*/ 4214984 h 5756219"/>
              <a:gd name="connsiteX9406" fmla="*/ 3402429 w 6226010"/>
              <a:gd name="connsiteY9406" fmla="*/ 4019317 h 5756219"/>
              <a:gd name="connsiteX9407" fmla="*/ 3407863 w 6226010"/>
              <a:gd name="connsiteY9407" fmla="*/ 4008447 h 5756219"/>
              <a:gd name="connsiteX9408" fmla="*/ 3394275 w 6226010"/>
              <a:gd name="connsiteY9408" fmla="*/ 4005729 h 5756219"/>
              <a:gd name="connsiteX9409" fmla="*/ 3388841 w 6226010"/>
              <a:gd name="connsiteY9409" fmla="*/ 3954095 h 5756219"/>
              <a:gd name="connsiteX9410" fmla="*/ 3372535 w 6226010"/>
              <a:gd name="connsiteY9410" fmla="*/ 3951377 h 5756219"/>
              <a:gd name="connsiteX9411" fmla="*/ 3372535 w 6226010"/>
              <a:gd name="connsiteY9411" fmla="*/ 3970400 h 5756219"/>
              <a:gd name="connsiteX9412" fmla="*/ 3288289 w 6226010"/>
              <a:gd name="connsiteY9412" fmla="*/ 3880719 h 5756219"/>
              <a:gd name="connsiteX9413" fmla="*/ 3228503 w 6226010"/>
              <a:gd name="connsiteY9413" fmla="*/ 3818215 h 5756219"/>
              <a:gd name="connsiteX9414" fmla="*/ 3239373 w 6226010"/>
              <a:gd name="connsiteY9414" fmla="*/ 3799192 h 5756219"/>
              <a:gd name="connsiteX9415" fmla="*/ 3225785 w 6226010"/>
              <a:gd name="connsiteY9415" fmla="*/ 3793757 h 5756219"/>
              <a:gd name="connsiteX9416" fmla="*/ 3212197 w 6226010"/>
              <a:gd name="connsiteY9416" fmla="*/ 3796474 h 5756219"/>
              <a:gd name="connsiteX9417" fmla="*/ 3209479 w 6226010"/>
              <a:gd name="connsiteY9417" fmla="*/ 3810062 h 5756219"/>
              <a:gd name="connsiteX9418" fmla="*/ 3369817 w 6226010"/>
              <a:gd name="connsiteY9418" fmla="*/ 3986706 h 5756219"/>
              <a:gd name="connsiteX9419" fmla="*/ 3364383 w 6226010"/>
              <a:gd name="connsiteY9419" fmla="*/ 4000294 h 5756219"/>
              <a:gd name="connsiteX9420" fmla="*/ 3383405 w 6226010"/>
              <a:gd name="connsiteY9420" fmla="*/ 4011164 h 5756219"/>
              <a:gd name="connsiteX9421" fmla="*/ 3380687 w 6226010"/>
              <a:gd name="connsiteY9421" fmla="*/ 4022035 h 5756219"/>
              <a:gd name="connsiteX9422" fmla="*/ 3399711 w 6226010"/>
              <a:gd name="connsiteY9422" fmla="*/ 4019317 h 5756219"/>
              <a:gd name="connsiteX9423" fmla="*/ 3581789 w 6226010"/>
              <a:gd name="connsiteY9423" fmla="*/ 4220419 h 5756219"/>
              <a:gd name="connsiteX9424" fmla="*/ 3478521 w 6226010"/>
              <a:gd name="connsiteY9424" fmla="*/ 4432391 h 5756219"/>
              <a:gd name="connsiteX9425" fmla="*/ 3399711 w 6226010"/>
              <a:gd name="connsiteY9425" fmla="*/ 4530225 h 5756219"/>
              <a:gd name="connsiteX9426" fmla="*/ 3391559 w 6226010"/>
              <a:gd name="connsiteY9426" fmla="*/ 4513919 h 5756219"/>
              <a:gd name="connsiteX9427" fmla="*/ 3388841 w 6226010"/>
              <a:gd name="connsiteY9427" fmla="*/ 4530225 h 5756219"/>
              <a:gd name="connsiteX9428" fmla="*/ 3388841 w 6226010"/>
              <a:gd name="connsiteY9428" fmla="*/ 4465002 h 5756219"/>
              <a:gd name="connsiteX9429" fmla="*/ 3383405 w 6226010"/>
              <a:gd name="connsiteY9429" fmla="*/ 4451414 h 5756219"/>
              <a:gd name="connsiteX9430" fmla="*/ 3445911 w 6226010"/>
              <a:gd name="connsiteY9430" fmla="*/ 4318252 h 5756219"/>
              <a:gd name="connsiteX9431" fmla="*/ 3435039 w 6226010"/>
              <a:gd name="connsiteY9431" fmla="*/ 4312817 h 5756219"/>
              <a:gd name="connsiteX9432" fmla="*/ 3440475 w 6226010"/>
              <a:gd name="connsiteY9432" fmla="*/ 4296511 h 5756219"/>
              <a:gd name="connsiteX9433" fmla="*/ 3367099 w 6226010"/>
              <a:gd name="connsiteY9433" fmla="*/ 4372604 h 5756219"/>
              <a:gd name="connsiteX9434" fmla="*/ 3358947 w 6226010"/>
              <a:gd name="connsiteY9434" fmla="*/ 4405215 h 5756219"/>
              <a:gd name="connsiteX9435" fmla="*/ 3353511 w 6226010"/>
              <a:gd name="connsiteY9435" fmla="*/ 4375322 h 5756219"/>
              <a:gd name="connsiteX9436" fmla="*/ 3375253 w 6226010"/>
              <a:gd name="connsiteY9436" fmla="*/ 4356298 h 5756219"/>
              <a:gd name="connsiteX9437" fmla="*/ 3345359 w 6226010"/>
              <a:gd name="connsiteY9437" fmla="*/ 4367169 h 5756219"/>
              <a:gd name="connsiteX9438" fmla="*/ 3337207 w 6226010"/>
              <a:gd name="connsiteY9438" fmla="*/ 4293794 h 5756219"/>
              <a:gd name="connsiteX9439" fmla="*/ 3318183 w 6226010"/>
              <a:gd name="connsiteY9439" fmla="*/ 4301946 h 5756219"/>
              <a:gd name="connsiteX9440" fmla="*/ 3315465 w 6226010"/>
              <a:gd name="connsiteY9440" fmla="*/ 4356298 h 5756219"/>
              <a:gd name="connsiteX9441" fmla="*/ 3266549 w 6226010"/>
              <a:gd name="connsiteY9441" fmla="*/ 4320970 h 5756219"/>
              <a:gd name="connsiteX9442" fmla="*/ 3326335 w 6226010"/>
              <a:gd name="connsiteY9442" fmla="*/ 4397062 h 5756219"/>
              <a:gd name="connsiteX9443" fmla="*/ 3228503 w 6226010"/>
              <a:gd name="connsiteY9443" fmla="*/ 4334558 h 5756219"/>
              <a:gd name="connsiteX9444" fmla="*/ 3315465 w 6226010"/>
              <a:gd name="connsiteY9444" fmla="*/ 4413368 h 5756219"/>
              <a:gd name="connsiteX9445" fmla="*/ 3331771 w 6226010"/>
              <a:gd name="connsiteY9445" fmla="*/ 4437826 h 5756219"/>
              <a:gd name="connsiteX9446" fmla="*/ 3307313 w 6226010"/>
              <a:gd name="connsiteY9446" fmla="*/ 4435109 h 5756219"/>
              <a:gd name="connsiteX9447" fmla="*/ 3339923 w 6226010"/>
              <a:gd name="connsiteY9447" fmla="*/ 4459567 h 5756219"/>
              <a:gd name="connsiteX9448" fmla="*/ 3348077 w 6226010"/>
              <a:gd name="connsiteY9448" fmla="*/ 4500331 h 5756219"/>
              <a:gd name="connsiteX9449" fmla="*/ 3261113 w 6226010"/>
              <a:gd name="connsiteY9449" fmla="*/ 4503049 h 5756219"/>
              <a:gd name="connsiteX9450" fmla="*/ 3348077 w 6226010"/>
              <a:gd name="connsiteY9450" fmla="*/ 4505766 h 5756219"/>
              <a:gd name="connsiteX9451" fmla="*/ 3345359 w 6226010"/>
              <a:gd name="connsiteY9451" fmla="*/ 4557400 h 5756219"/>
              <a:gd name="connsiteX9452" fmla="*/ 3309690 w 6226010"/>
              <a:gd name="connsiteY9452" fmla="*/ 4561477 h 5756219"/>
              <a:gd name="connsiteX9453" fmla="*/ 3302129 w 6226010"/>
              <a:gd name="connsiteY9453" fmla="*/ 4564606 h 5756219"/>
              <a:gd name="connsiteX9454" fmla="*/ 3280137 w 6226010"/>
              <a:gd name="connsiteY9454" fmla="*/ 4568271 h 5756219"/>
              <a:gd name="connsiteX9455" fmla="*/ 3282388 w 6226010"/>
              <a:gd name="connsiteY9455" fmla="*/ 4572775 h 5756219"/>
              <a:gd name="connsiteX9456" fmla="*/ 3280137 w 6226010"/>
              <a:gd name="connsiteY9456" fmla="*/ 4573706 h 5756219"/>
              <a:gd name="connsiteX9457" fmla="*/ 3283574 w 6226010"/>
              <a:gd name="connsiteY9457" fmla="*/ 4575146 h 5756219"/>
              <a:gd name="connsiteX9458" fmla="*/ 3285571 w 6226010"/>
              <a:gd name="connsiteY9458" fmla="*/ 4579141 h 5756219"/>
              <a:gd name="connsiteX9459" fmla="*/ 3293725 w 6226010"/>
              <a:gd name="connsiteY9459" fmla="*/ 4581859 h 5756219"/>
              <a:gd name="connsiteX9460" fmla="*/ 3296086 w 6226010"/>
              <a:gd name="connsiteY9460" fmla="*/ 4579498 h 5756219"/>
              <a:gd name="connsiteX9461" fmla="*/ 3311729 w 6226010"/>
              <a:gd name="connsiteY9461" fmla="*/ 4577104 h 5756219"/>
              <a:gd name="connsiteX9462" fmla="*/ 3345359 w 6226010"/>
              <a:gd name="connsiteY9462" fmla="*/ 4568271 h 5756219"/>
              <a:gd name="connsiteX9463" fmla="*/ 3356229 w 6226010"/>
              <a:gd name="connsiteY9463" fmla="*/ 4611752 h 5756219"/>
              <a:gd name="connsiteX9464" fmla="*/ 3342641 w 6226010"/>
              <a:gd name="connsiteY9464" fmla="*/ 4611752 h 5756219"/>
              <a:gd name="connsiteX9465" fmla="*/ 3345359 w 6226010"/>
              <a:gd name="connsiteY9465" fmla="*/ 4625340 h 5756219"/>
              <a:gd name="connsiteX9466" fmla="*/ 3329053 w 6226010"/>
              <a:gd name="connsiteY9466" fmla="*/ 4644363 h 5756219"/>
              <a:gd name="connsiteX9467" fmla="*/ 3323619 w 6226010"/>
              <a:gd name="connsiteY9467" fmla="*/ 4644363 h 5756219"/>
              <a:gd name="connsiteX9468" fmla="*/ 3337207 w 6226010"/>
              <a:gd name="connsiteY9468" fmla="*/ 4657951 h 5756219"/>
              <a:gd name="connsiteX9469" fmla="*/ 3342641 w 6226010"/>
              <a:gd name="connsiteY9469" fmla="*/ 4660669 h 5756219"/>
              <a:gd name="connsiteX9470" fmla="*/ 3342641 w 6226010"/>
              <a:gd name="connsiteY9470" fmla="*/ 4663386 h 5756219"/>
              <a:gd name="connsiteX9471" fmla="*/ 3350795 w 6226010"/>
              <a:gd name="connsiteY9471" fmla="*/ 4668822 h 5756219"/>
              <a:gd name="connsiteX9472" fmla="*/ 3358947 w 6226010"/>
              <a:gd name="connsiteY9472" fmla="*/ 4666104 h 5756219"/>
              <a:gd name="connsiteX9473" fmla="*/ 3367099 w 6226010"/>
              <a:gd name="connsiteY9473" fmla="*/ 4674257 h 5756219"/>
              <a:gd name="connsiteX9474" fmla="*/ 3364383 w 6226010"/>
              <a:gd name="connsiteY9474" fmla="*/ 4682410 h 5756219"/>
              <a:gd name="connsiteX9475" fmla="*/ 3386123 w 6226010"/>
              <a:gd name="connsiteY9475" fmla="*/ 4701433 h 5756219"/>
              <a:gd name="connsiteX9476" fmla="*/ 3348077 w 6226010"/>
              <a:gd name="connsiteY9476" fmla="*/ 4723173 h 5756219"/>
              <a:gd name="connsiteX9477" fmla="*/ 3315078 w 6226010"/>
              <a:gd name="connsiteY9477" fmla="*/ 4786399 h 5756219"/>
              <a:gd name="connsiteX9478" fmla="*/ 3296443 w 6226010"/>
              <a:gd name="connsiteY9478" fmla="*/ 4799266 h 5756219"/>
              <a:gd name="connsiteX9479" fmla="*/ 3307995 w 6226010"/>
              <a:gd name="connsiteY9479" fmla="*/ 4799970 h 5756219"/>
              <a:gd name="connsiteX9480" fmla="*/ 3307653 w 6226010"/>
              <a:gd name="connsiteY9480" fmla="*/ 4800625 h 5756219"/>
              <a:gd name="connsiteX9481" fmla="*/ 3273827 w 6226010"/>
              <a:gd name="connsiteY9481" fmla="*/ 4850992 h 5756219"/>
              <a:gd name="connsiteX9482" fmla="*/ 3277420 w 6226010"/>
              <a:gd name="connsiteY9482" fmla="*/ 4861771 h 5756219"/>
              <a:gd name="connsiteX9483" fmla="*/ 3274702 w 6226010"/>
              <a:gd name="connsiteY9483" fmla="*/ 4878077 h 5756219"/>
              <a:gd name="connsiteX9484" fmla="*/ 3272324 w 6226010"/>
              <a:gd name="connsiteY9484" fmla="*/ 4865847 h 5756219"/>
              <a:gd name="connsiteX9485" fmla="*/ 3272119 w 6226010"/>
              <a:gd name="connsiteY9485" fmla="*/ 4853535 h 5756219"/>
              <a:gd name="connsiteX9486" fmla="*/ 3261113 w 6226010"/>
              <a:gd name="connsiteY9486" fmla="*/ 4869924 h 5756219"/>
              <a:gd name="connsiteX9487" fmla="*/ 3239373 w 6226010"/>
              <a:gd name="connsiteY9487" fmla="*/ 4801984 h 5756219"/>
              <a:gd name="connsiteX9488" fmla="*/ 3217633 w 6226010"/>
              <a:gd name="connsiteY9488" fmla="*/ 4823725 h 5756219"/>
              <a:gd name="connsiteX9489" fmla="*/ 3220349 w 6226010"/>
              <a:gd name="connsiteY9489" fmla="*/ 4804701 h 5756219"/>
              <a:gd name="connsiteX9490" fmla="*/ 3206761 w 6226010"/>
              <a:gd name="connsiteY9490" fmla="*/ 4818289 h 5756219"/>
              <a:gd name="connsiteX9491" fmla="*/ 3206761 w 6226010"/>
              <a:gd name="connsiteY9491" fmla="*/ 4834595 h 5756219"/>
              <a:gd name="connsiteX9492" fmla="*/ 3193173 w 6226010"/>
              <a:gd name="connsiteY9492" fmla="*/ 4837313 h 5756219"/>
              <a:gd name="connsiteX9493" fmla="*/ 3190457 w 6226010"/>
              <a:gd name="connsiteY9493" fmla="*/ 4831877 h 5756219"/>
              <a:gd name="connsiteX9494" fmla="*/ 3182303 w 6226010"/>
              <a:gd name="connsiteY9494" fmla="*/ 4840030 h 5756219"/>
              <a:gd name="connsiteX9495" fmla="*/ 3179586 w 6226010"/>
              <a:gd name="connsiteY9495" fmla="*/ 4847164 h 5756219"/>
              <a:gd name="connsiteX9496" fmla="*/ 3172148 w 6226010"/>
              <a:gd name="connsiteY9496" fmla="*/ 4853439 h 5756219"/>
              <a:gd name="connsiteX9497" fmla="*/ 3171433 w 6226010"/>
              <a:gd name="connsiteY9497" fmla="*/ 4853618 h 5756219"/>
              <a:gd name="connsiteX9498" fmla="*/ 3168715 w 6226010"/>
              <a:gd name="connsiteY9498" fmla="*/ 4856336 h 5756219"/>
              <a:gd name="connsiteX9499" fmla="*/ 3172148 w 6226010"/>
              <a:gd name="connsiteY9499" fmla="*/ 4853439 h 5756219"/>
              <a:gd name="connsiteX9500" fmla="*/ 3175510 w 6226010"/>
              <a:gd name="connsiteY9500" fmla="*/ 4852599 h 5756219"/>
              <a:gd name="connsiteX9501" fmla="*/ 3179585 w 6226010"/>
              <a:gd name="connsiteY9501" fmla="*/ 4853618 h 5756219"/>
              <a:gd name="connsiteX9502" fmla="*/ 3179585 w 6226010"/>
              <a:gd name="connsiteY9502" fmla="*/ 4878077 h 5756219"/>
              <a:gd name="connsiteX9503" fmla="*/ 3157845 w 6226010"/>
              <a:gd name="connsiteY9503" fmla="*/ 4886229 h 5756219"/>
              <a:gd name="connsiteX9504" fmla="*/ 3157845 w 6226010"/>
              <a:gd name="connsiteY9504" fmla="*/ 4883512 h 5756219"/>
              <a:gd name="connsiteX9505" fmla="*/ 3155127 w 6226010"/>
              <a:gd name="connsiteY9505" fmla="*/ 4886229 h 5756219"/>
              <a:gd name="connsiteX9506" fmla="*/ 3157845 w 6226010"/>
              <a:gd name="connsiteY9506" fmla="*/ 4886229 h 5756219"/>
              <a:gd name="connsiteX9507" fmla="*/ 3136105 w 6226010"/>
              <a:gd name="connsiteY9507" fmla="*/ 4894382 h 5756219"/>
              <a:gd name="connsiteX9508" fmla="*/ 2834451 w 6226010"/>
              <a:gd name="connsiteY9508" fmla="*/ 5030261 h 5756219"/>
              <a:gd name="connsiteX9509" fmla="*/ 2701290 w 6226010"/>
              <a:gd name="connsiteY9509" fmla="*/ 5114507 h 5756219"/>
              <a:gd name="connsiteX9510" fmla="*/ 2391484 w 6226010"/>
              <a:gd name="connsiteY9510" fmla="*/ 5201470 h 5756219"/>
              <a:gd name="connsiteX9511" fmla="*/ 2062654 w 6226010"/>
              <a:gd name="connsiteY9511" fmla="*/ 5242234 h 5756219"/>
              <a:gd name="connsiteX9512" fmla="*/ 1369667 w 6226010"/>
              <a:gd name="connsiteY9512" fmla="*/ 5138965 h 5756219"/>
              <a:gd name="connsiteX9513" fmla="*/ 1282704 w 6226010"/>
              <a:gd name="connsiteY9513" fmla="*/ 5100919 h 5756219"/>
              <a:gd name="connsiteX9514" fmla="*/ 1198459 w 6226010"/>
              <a:gd name="connsiteY9514" fmla="*/ 5057437 h 5756219"/>
              <a:gd name="connsiteX9515" fmla="*/ 1116931 w 6226010"/>
              <a:gd name="connsiteY9515" fmla="*/ 5008521 h 5756219"/>
              <a:gd name="connsiteX9516" fmla="*/ 1043556 w 6226010"/>
              <a:gd name="connsiteY9516" fmla="*/ 4959604 h 5756219"/>
              <a:gd name="connsiteX9517" fmla="*/ 1540876 w 6226010"/>
              <a:gd name="connsiteY9517" fmla="*/ 5147118 h 5756219"/>
              <a:gd name="connsiteX9518" fmla="*/ 2030043 w 6226010"/>
              <a:gd name="connsiteY9518" fmla="*/ 5204188 h 5756219"/>
              <a:gd name="connsiteX9519" fmla="*/ 2125159 w 6226010"/>
              <a:gd name="connsiteY9519" fmla="*/ 5185164 h 5756219"/>
              <a:gd name="connsiteX9520" fmla="*/ 1540876 w 6226010"/>
              <a:gd name="connsiteY9520" fmla="*/ 5147118 h 5756219"/>
              <a:gd name="connsiteX9521" fmla="*/ 1390049 w 6226010"/>
              <a:gd name="connsiteY9521" fmla="*/ 5084614 h 5756219"/>
              <a:gd name="connsiteX9522" fmla="*/ 1252983 w 6226010"/>
              <a:gd name="connsiteY9522" fmla="*/ 5016733 h 5756219"/>
              <a:gd name="connsiteX9523" fmla="*/ 1368988 w 6226010"/>
              <a:gd name="connsiteY9523" fmla="*/ 5056418 h 5756219"/>
              <a:gd name="connsiteX9524" fmla="*/ 1481498 w 6226010"/>
              <a:gd name="connsiteY9524" fmla="*/ 5087883 h 5756219"/>
              <a:gd name="connsiteX9525" fmla="*/ 1486524 w 6226010"/>
              <a:gd name="connsiteY9525" fmla="*/ 5090048 h 5756219"/>
              <a:gd name="connsiteX9526" fmla="*/ 1493904 w 6226010"/>
              <a:gd name="connsiteY9526" fmla="*/ 5091709 h 5756219"/>
              <a:gd name="connsiteX9527" fmla="*/ 1599898 w 6226010"/>
              <a:gd name="connsiteY9527" fmla="*/ 5129454 h 5756219"/>
              <a:gd name="connsiteX9528" fmla="*/ 1918621 w 6226010"/>
              <a:gd name="connsiteY9528" fmla="*/ 5166141 h 5756219"/>
              <a:gd name="connsiteX9529" fmla="*/ 1964821 w 6226010"/>
              <a:gd name="connsiteY9529" fmla="*/ 5157988 h 5756219"/>
              <a:gd name="connsiteX9530" fmla="*/ 2059936 w 6226010"/>
              <a:gd name="connsiteY9530" fmla="*/ 5141683 h 5756219"/>
              <a:gd name="connsiteX9531" fmla="*/ 1703931 w 6226010"/>
              <a:gd name="connsiteY9531" fmla="*/ 5130812 h 5756219"/>
              <a:gd name="connsiteX9532" fmla="*/ 1649580 w 6226010"/>
              <a:gd name="connsiteY9532" fmla="*/ 5122660 h 5756219"/>
              <a:gd name="connsiteX9533" fmla="*/ 1595228 w 6226010"/>
              <a:gd name="connsiteY9533" fmla="*/ 5114507 h 5756219"/>
              <a:gd name="connsiteX9534" fmla="*/ 1493904 w 6226010"/>
              <a:gd name="connsiteY9534" fmla="*/ 5091709 h 5756219"/>
              <a:gd name="connsiteX9535" fmla="*/ 1489241 w 6226010"/>
              <a:gd name="connsiteY9535" fmla="*/ 5090048 h 5756219"/>
              <a:gd name="connsiteX9536" fmla="*/ 1481498 w 6226010"/>
              <a:gd name="connsiteY9536" fmla="*/ 5087883 h 5756219"/>
              <a:gd name="connsiteX9537" fmla="*/ 1422660 w 6226010"/>
              <a:gd name="connsiteY9537" fmla="*/ 5062533 h 5756219"/>
              <a:gd name="connsiteX9538" fmla="*/ 1358797 w 6226010"/>
              <a:gd name="connsiteY9538" fmla="*/ 5032979 h 5756219"/>
              <a:gd name="connsiteX9539" fmla="*/ 1372385 w 6226010"/>
              <a:gd name="connsiteY9539" fmla="*/ 5032979 h 5756219"/>
              <a:gd name="connsiteX9540" fmla="*/ 1462066 w 6226010"/>
              <a:gd name="connsiteY9540" fmla="*/ 5013956 h 5756219"/>
              <a:gd name="connsiteX9541" fmla="*/ 1483806 w 6226010"/>
              <a:gd name="connsiteY9541" fmla="*/ 4954169 h 5756219"/>
              <a:gd name="connsiteX9542" fmla="*/ 1375102 w 6226010"/>
              <a:gd name="connsiteY9542" fmla="*/ 4916123 h 5756219"/>
              <a:gd name="connsiteX9543" fmla="*/ 1266399 w 6226010"/>
              <a:gd name="connsiteY9543" fmla="*/ 4872641 h 5756219"/>
              <a:gd name="connsiteX9544" fmla="*/ 1070732 w 6226010"/>
              <a:gd name="connsiteY9544" fmla="*/ 4774808 h 5756219"/>
              <a:gd name="connsiteX9545" fmla="*/ 991922 w 6226010"/>
              <a:gd name="connsiteY9545" fmla="*/ 4728609 h 5756219"/>
              <a:gd name="connsiteX9546" fmla="*/ 932135 w 6226010"/>
              <a:gd name="connsiteY9546" fmla="*/ 4690562 h 5756219"/>
              <a:gd name="connsiteX9547" fmla="*/ 894088 w 6226010"/>
              <a:gd name="connsiteY9547" fmla="*/ 4666104 h 5756219"/>
              <a:gd name="connsiteX9548" fmla="*/ 880500 w 6226010"/>
              <a:gd name="connsiteY9548" fmla="*/ 4655234 h 5756219"/>
              <a:gd name="connsiteX9549" fmla="*/ 1073450 w 6226010"/>
              <a:gd name="connsiteY9549" fmla="*/ 4742197 h 5756219"/>
              <a:gd name="connsiteX9550" fmla="*/ 1214764 w 6226010"/>
              <a:gd name="connsiteY9550" fmla="*/ 4801984 h 5756219"/>
              <a:gd name="connsiteX9551" fmla="*/ 1277269 w 6226010"/>
              <a:gd name="connsiteY9551" fmla="*/ 4821007 h 5756219"/>
              <a:gd name="connsiteX9552" fmla="*/ 1206612 w 6226010"/>
              <a:gd name="connsiteY9552" fmla="*/ 4780243 h 5756219"/>
              <a:gd name="connsiteX9553" fmla="*/ 1277269 w 6226010"/>
              <a:gd name="connsiteY9553" fmla="*/ 4796549 h 5756219"/>
              <a:gd name="connsiteX9554" fmla="*/ 1358797 w 6226010"/>
              <a:gd name="connsiteY9554" fmla="*/ 4826442 h 5756219"/>
              <a:gd name="connsiteX9555" fmla="*/ 1432172 w 6226010"/>
              <a:gd name="connsiteY9555" fmla="*/ 4842748 h 5756219"/>
              <a:gd name="connsiteX9556" fmla="*/ 1532723 w 6226010"/>
              <a:gd name="connsiteY9556" fmla="*/ 4848183 h 5756219"/>
              <a:gd name="connsiteX9557" fmla="*/ 1633274 w 6226010"/>
              <a:gd name="connsiteY9557" fmla="*/ 4861771 h 5756219"/>
              <a:gd name="connsiteX9558" fmla="*/ 1684908 w 6226010"/>
              <a:gd name="connsiteY9558" fmla="*/ 4867206 h 5756219"/>
              <a:gd name="connsiteX9559" fmla="*/ 1736543 w 6226010"/>
              <a:gd name="connsiteY9559" fmla="*/ 4869924 h 5756219"/>
              <a:gd name="connsiteX9560" fmla="*/ 1842529 w 6226010"/>
              <a:gd name="connsiteY9560" fmla="*/ 4864489 h 5756219"/>
              <a:gd name="connsiteX9561" fmla="*/ 2133311 w 6226010"/>
              <a:gd name="connsiteY9561" fmla="*/ 4769373 h 5756219"/>
              <a:gd name="connsiteX9562" fmla="*/ 2163205 w 6226010"/>
              <a:gd name="connsiteY9562" fmla="*/ 4739479 h 5756219"/>
              <a:gd name="connsiteX9563" fmla="*/ 2301802 w 6226010"/>
              <a:gd name="connsiteY9563" fmla="*/ 4712303 h 5756219"/>
              <a:gd name="connsiteX9564" fmla="*/ 2357854 w 6226010"/>
              <a:gd name="connsiteY9564" fmla="*/ 4684448 h 5756219"/>
              <a:gd name="connsiteX9565" fmla="*/ 2386398 w 6226010"/>
              <a:gd name="connsiteY9565" fmla="*/ 4650425 h 5756219"/>
              <a:gd name="connsiteX9566" fmla="*/ 2394201 w 6226010"/>
              <a:gd name="connsiteY9566" fmla="*/ 4647081 h 5756219"/>
              <a:gd name="connsiteX9567" fmla="*/ 2395107 w 6226010"/>
              <a:gd name="connsiteY9567" fmla="*/ 4642552 h 5756219"/>
              <a:gd name="connsiteX9568" fmla="*/ 2396919 w 6226010"/>
              <a:gd name="connsiteY9568" fmla="*/ 4641646 h 5756219"/>
              <a:gd name="connsiteX9569" fmla="*/ 2417161 w 6226010"/>
              <a:gd name="connsiteY9569" fmla="*/ 4628995 h 5756219"/>
              <a:gd name="connsiteX9570" fmla="*/ 2421377 w 6226010"/>
              <a:gd name="connsiteY9570" fmla="*/ 4628058 h 5756219"/>
              <a:gd name="connsiteX9571" fmla="*/ 2422692 w 6226010"/>
              <a:gd name="connsiteY9571" fmla="*/ 4626852 h 5756219"/>
              <a:gd name="connsiteX9572" fmla="*/ 2524306 w 6226010"/>
              <a:gd name="connsiteY9572" fmla="*/ 4596466 h 5756219"/>
              <a:gd name="connsiteX9573" fmla="*/ 2611609 w 6226010"/>
              <a:gd name="connsiteY9573" fmla="*/ 4546530 h 5756219"/>
              <a:gd name="connsiteX9574" fmla="*/ 2608891 w 6226010"/>
              <a:gd name="connsiteY9574" fmla="*/ 4546530 h 5756219"/>
              <a:gd name="connsiteX9575" fmla="*/ 2617044 w 6226010"/>
              <a:gd name="connsiteY9575" fmla="*/ 4522072 h 5756219"/>
              <a:gd name="connsiteX9576" fmla="*/ 2611609 w 6226010"/>
              <a:gd name="connsiteY9576" fmla="*/ 4513919 h 5756219"/>
              <a:gd name="connsiteX9577" fmla="*/ 2570845 w 6226010"/>
              <a:gd name="connsiteY9577" fmla="*/ 4538377 h 5756219"/>
              <a:gd name="connsiteX9578" fmla="*/ 2568127 w 6226010"/>
              <a:gd name="connsiteY9578" fmla="*/ 4546530 h 5756219"/>
              <a:gd name="connsiteX9579" fmla="*/ 2565410 w 6226010"/>
              <a:gd name="connsiteY9579" fmla="*/ 4538377 h 5756219"/>
              <a:gd name="connsiteX9580" fmla="*/ 2453989 w 6226010"/>
              <a:gd name="connsiteY9580" fmla="*/ 4598164 h 5756219"/>
              <a:gd name="connsiteX9581" fmla="*/ 2422692 w 6226010"/>
              <a:gd name="connsiteY9581" fmla="*/ 4626852 h 5756219"/>
              <a:gd name="connsiteX9582" fmla="*/ 2418660 w 6226010"/>
              <a:gd name="connsiteY9582" fmla="*/ 4628058 h 5756219"/>
              <a:gd name="connsiteX9583" fmla="*/ 2417161 w 6226010"/>
              <a:gd name="connsiteY9583" fmla="*/ 4628995 h 5756219"/>
              <a:gd name="connsiteX9584" fmla="*/ 2396919 w 6226010"/>
              <a:gd name="connsiteY9584" fmla="*/ 4633493 h 5756219"/>
              <a:gd name="connsiteX9585" fmla="*/ 2395107 w 6226010"/>
              <a:gd name="connsiteY9585" fmla="*/ 4642552 h 5756219"/>
              <a:gd name="connsiteX9586" fmla="*/ 2391484 w 6226010"/>
              <a:gd name="connsiteY9586" fmla="*/ 4644363 h 5756219"/>
              <a:gd name="connsiteX9587" fmla="*/ 2386398 w 6226010"/>
              <a:gd name="connsiteY9587" fmla="*/ 4650425 h 5756219"/>
              <a:gd name="connsiteX9588" fmla="*/ 2313437 w 6226010"/>
              <a:gd name="connsiteY9588" fmla="*/ 4681688 h 5756219"/>
              <a:gd name="connsiteX9589" fmla="*/ 2068089 w 6226010"/>
              <a:gd name="connsiteY9589" fmla="*/ 4758502 h 5756219"/>
              <a:gd name="connsiteX9590" fmla="*/ 1782742 w 6226010"/>
              <a:gd name="connsiteY9590" fmla="*/ 4772090 h 5756219"/>
              <a:gd name="connsiteX9591" fmla="*/ 1497394 w 6226010"/>
              <a:gd name="connsiteY9591" fmla="*/ 4715021 h 5756219"/>
              <a:gd name="connsiteX9592" fmla="*/ 1777307 w 6226010"/>
              <a:gd name="connsiteY9592" fmla="*/ 4720456 h 5756219"/>
              <a:gd name="connsiteX9593" fmla="*/ 1451195 w 6226010"/>
              <a:gd name="connsiteY9593" fmla="*/ 4701433 h 5756219"/>
              <a:gd name="connsiteX9594" fmla="*/ 1404996 w 6226010"/>
              <a:gd name="connsiteY9594" fmla="*/ 4687845 h 5756219"/>
              <a:gd name="connsiteX9595" fmla="*/ 1309880 w 6226010"/>
              <a:gd name="connsiteY9595" fmla="*/ 4655234 h 5756219"/>
              <a:gd name="connsiteX9596" fmla="*/ 1396843 w 6226010"/>
              <a:gd name="connsiteY9596" fmla="*/ 4693280 h 5756219"/>
              <a:gd name="connsiteX9597" fmla="*/ 1350644 w 6226010"/>
              <a:gd name="connsiteY9597" fmla="*/ 4685127 h 5756219"/>
              <a:gd name="connsiteX9598" fmla="*/ 1304445 w 6226010"/>
              <a:gd name="connsiteY9598" fmla="*/ 4674257 h 5756219"/>
              <a:gd name="connsiteX9599" fmla="*/ 1214764 w 6226010"/>
              <a:gd name="connsiteY9599" fmla="*/ 4649798 h 5756219"/>
              <a:gd name="connsiteX9600" fmla="*/ 750056 w 6226010"/>
              <a:gd name="connsiteY9600" fmla="*/ 4432391 h 5756219"/>
              <a:gd name="connsiteX9601" fmla="*/ 298935 w 6226010"/>
              <a:gd name="connsiteY9601" fmla="*/ 4193243 h 5756219"/>
              <a:gd name="connsiteX9602" fmla="*/ 320676 w 6226010"/>
              <a:gd name="connsiteY9602" fmla="*/ 4198678 h 5756219"/>
              <a:gd name="connsiteX9603" fmla="*/ 739185 w 6226010"/>
              <a:gd name="connsiteY9603" fmla="*/ 4386192 h 5756219"/>
              <a:gd name="connsiteX9604" fmla="*/ 513625 w 6226010"/>
              <a:gd name="connsiteY9604" fmla="*/ 4277488 h 5756219"/>
              <a:gd name="connsiteX9605" fmla="*/ 521778 w 6226010"/>
              <a:gd name="connsiteY9605" fmla="*/ 4277488 h 5756219"/>
              <a:gd name="connsiteX9606" fmla="*/ 345134 w 6226010"/>
              <a:gd name="connsiteY9606" fmla="*/ 4204113 h 5756219"/>
              <a:gd name="connsiteX9607" fmla="*/ 413074 w 6226010"/>
              <a:gd name="connsiteY9607" fmla="*/ 4217701 h 5756219"/>
              <a:gd name="connsiteX9608" fmla="*/ 540801 w 6226010"/>
              <a:gd name="connsiteY9608" fmla="*/ 4261183 h 5756219"/>
              <a:gd name="connsiteX9609" fmla="*/ 834301 w 6226010"/>
              <a:gd name="connsiteY9609" fmla="*/ 4388910 h 5756219"/>
              <a:gd name="connsiteX9610" fmla="*/ 1125084 w 6226010"/>
              <a:gd name="connsiteY9610" fmla="*/ 4508484 h 5756219"/>
              <a:gd name="connsiteX9611" fmla="*/ 1385973 w 6226010"/>
              <a:gd name="connsiteY9611" fmla="*/ 4606317 h 5756219"/>
              <a:gd name="connsiteX9612" fmla="*/ 1652297 w 6226010"/>
              <a:gd name="connsiteY9612" fmla="*/ 4663386 h 5756219"/>
              <a:gd name="connsiteX9613" fmla="*/ 1144107 w 6226010"/>
              <a:gd name="connsiteY9613" fmla="*/ 4576424 h 5756219"/>
              <a:gd name="connsiteX9614" fmla="*/ 1404996 w 6226010"/>
              <a:gd name="connsiteY9614" fmla="*/ 4647081 h 5756219"/>
              <a:gd name="connsiteX9615" fmla="*/ 1535441 w 6226010"/>
              <a:gd name="connsiteY9615" fmla="*/ 4663386 h 5756219"/>
              <a:gd name="connsiteX9616" fmla="*/ 1663168 w 6226010"/>
              <a:gd name="connsiteY9616" fmla="*/ 4666104 h 5756219"/>
              <a:gd name="connsiteX9617" fmla="*/ 2225710 w 6226010"/>
              <a:gd name="connsiteY9617" fmla="*/ 4622623 h 5756219"/>
              <a:gd name="connsiteX9618" fmla="*/ 2242015 w 6226010"/>
              <a:gd name="connsiteY9618" fmla="*/ 4611752 h 5756219"/>
              <a:gd name="connsiteX9619" fmla="*/ 2245848 w 6226010"/>
              <a:gd name="connsiteY9619" fmla="*/ 4605044 h 5756219"/>
              <a:gd name="connsiteX9620" fmla="*/ 2244139 w 6226010"/>
              <a:gd name="connsiteY9620" fmla="*/ 4601434 h 5756219"/>
              <a:gd name="connsiteX9621" fmla="*/ 2231145 w 6226010"/>
              <a:gd name="connsiteY9621" fmla="*/ 4538378 h 5756219"/>
              <a:gd name="connsiteX9622" fmla="*/ 2220275 w 6226010"/>
              <a:gd name="connsiteY9622" fmla="*/ 4543813 h 5756219"/>
              <a:gd name="connsiteX9623" fmla="*/ 2225710 w 6226010"/>
              <a:gd name="connsiteY9623" fmla="*/ 4524790 h 5756219"/>
              <a:gd name="connsiteX9624" fmla="*/ 2242016 w 6226010"/>
              <a:gd name="connsiteY9624" fmla="*/ 4524790 h 5756219"/>
              <a:gd name="connsiteX9625" fmla="*/ 2247451 w 6226010"/>
              <a:gd name="connsiteY9625" fmla="*/ 4530225 h 5756219"/>
              <a:gd name="connsiteX9626" fmla="*/ 2266474 w 6226010"/>
              <a:gd name="connsiteY9626" fmla="*/ 4530225 h 5756219"/>
              <a:gd name="connsiteX9627" fmla="*/ 2293650 w 6226010"/>
              <a:gd name="connsiteY9627" fmla="*/ 4530225 h 5756219"/>
              <a:gd name="connsiteX9628" fmla="*/ 2328980 w 6226010"/>
              <a:gd name="connsiteY9628" fmla="*/ 4524790 h 5756219"/>
              <a:gd name="connsiteX9629" fmla="*/ 2323884 w 6226010"/>
              <a:gd name="connsiteY9629" fmla="*/ 4552305 h 5756219"/>
              <a:gd name="connsiteX9630" fmla="*/ 2321561 w 6226010"/>
              <a:gd name="connsiteY9630" fmla="*/ 4556740 h 5756219"/>
              <a:gd name="connsiteX9631" fmla="*/ 2350720 w 6226010"/>
              <a:gd name="connsiteY9631" fmla="*/ 4524789 h 5756219"/>
              <a:gd name="connsiteX9632" fmla="*/ 2352312 w 6226010"/>
              <a:gd name="connsiteY9632" fmla="*/ 4524513 h 5756219"/>
              <a:gd name="connsiteX9633" fmla="*/ 2353436 w 6226010"/>
              <a:gd name="connsiteY9633" fmla="*/ 4516637 h 5756219"/>
              <a:gd name="connsiteX9634" fmla="*/ 2383330 w 6226010"/>
              <a:gd name="connsiteY9634" fmla="*/ 4492178 h 5756219"/>
              <a:gd name="connsiteX9635" fmla="*/ 2396918 w 6226010"/>
              <a:gd name="connsiteY9635" fmla="*/ 4478590 h 5756219"/>
              <a:gd name="connsiteX9636" fmla="*/ 2402353 w 6226010"/>
              <a:gd name="connsiteY9636" fmla="*/ 4478590 h 5756219"/>
              <a:gd name="connsiteX9637" fmla="*/ 2413223 w 6226010"/>
              <a:gd name="connsiteY9637" fmla="*/ 4462285 h 5756219"/>
              <a:gd name="connsiteX9638" fmla="*/ 2421376 w 6226010"/>
              <a:gd name="connsiteY9638" fmla="*/ 4459567 h 5756219"/>
              <a:gd name="connsiteX9639" fmla="*/ 2426811 w 6226010"/>
              <a:gd name="connsiteY9639" fmla="*/ 4454132 h 5756219"/>
              <a:gd name="connsiteX9640" fmla="*/ 2434964 w 6226010"/>
              <a:gd name="connsiteY9640" fmla="*/ 4451414 h 5756219"/>
              <a:gd name="connsiteX9641" fmla="*/ 2434964 w 6226010"/>
              <a:gd name="connsiteY9641" fmla="*/ 4445979 h 5756219"/>
              <a:gd name="connsiteX9642" fmla="*/ 2445834 w 6226010"/>
              <a:gd name="connsiteY9642" fmla="*/ 4443262 h 5756219"/>
              <a:gd name="connsiteX9643" fmla="*/ 2451270 w 6226010"/>
              <a:gd name="connsiteY9643" fmla="*/ 4437826 h 5756219"/>
              <a:gd name="connsiteX9644" fmla="*/ 2459422 w 6226010"/>
              <a:gd name="connsiteY9644" fmla="*/ 4435109 h 5756219"/>
              <a:gd name="connsiteX9645" fmla="*/ 2459422 w 6226010"/>
              <a:gd name="connsiteY9645" fmla="*/ 4432391 h 5756219"/>
              <a:gd name="connsiteX9646" fmla="*/ 2492033 w 6226010"/>
              <a:gd name="connsiteY9646" fmla="*/ 4432391 h 5756219"/>
              <a:gd name="connsiteX9647" fmla="*/ 2494751 w 6226010"/>
              <a:gd name="connsiteY9647" fmla="*/ 4426956 h 5756219"/>
              <a:gd name="connsiteX9648" fmla="*/ 2497469 w 6226010"/>
              <a:gd name="connsiteY9648" fmla="*/ 4429674 h 5756219"/>
              <a:gd name="connsiteX9649" fmla="*/ 2513435 w 6226010"/>
              <a:gd name="connsiteY9649" fmla="*/ 4424918 h 5756219"/>
              <a:gd name="connsiteX9650" fmla="*/ 2525556 w 6226010"/>
              <a:gd name="connsiteY9650" fmla="*/ 4424326 h 5756219"/>
              <a:gd name="connsiteX9651" fmla="*/ 2519211 w 6226010"/>
              <a:gd name="connsiteY9651" fmla="*/ 4416086 h 5756219"/>
              <a:gd name="connsiteX9652" fmla="*/ 2521928 w 6226010"/>
              <a:gd name="connsiteY9652" fmla="*/ 4410650 h 5756219"/>
              <a:gd name="connsiteX9653" fmla="*/ 2524646 w 6226010"/>
              <a:gd name="connsiteY9653" fmla="*/ 4410650 h 5756219"/>
              <a:gd name="connsiteX9654" fmla="*/ 2538234 w 6226010"/>
              <a:gd name="connsiteY9654" fmla="*/ 4418803 h 5756219"/>
              <a:gd name="connsiteX9655" fmla="*/ 2542252 w 6226010"/>
              <a:gd name="connsiteY9655" fmla="*/ 4422821 h 5756219"/>
              <a:gd name="connsiteX9656" fmla="*/ 2549103 w 6226010"/>
              <a:gd name="connsiteY9656" fmla="*/ 4424238 h 5756219"/>
              <a:gd name="connsiteX9657" fmla="*/ 2557256 w 6226010"/>
              <a:gd name="connsiteY9657" fmla="*/ 4416086 h 5756219"/>
              <a:gd name="connsiteX9658" fmla="*/ 2557257 w 6226010"/>
              <a:gd name="connsiteY9658" fmla="*/ 4416086 h 5756219"/>
              <a:gd name="connsiteX9659" fmla="*/ 2578997 w 6226010"/>
              <a:gd name="connsiteY9659" fmla="*/ 4416086 h 5756219"/>
              <a:gd name="connsiteX9660" fmla="*/ 2581714 w 6226010"/>
              <a:gd name="connsiteY9660" fmla="*/ 4421521 h 5756219"/>
              <a:gd name="connsiteX9661" fmla="*/ 2584432 w 6226010"/>
              <a:gd name="connsiteY9661" fmla="*/ 4437826 h 5756219"/>
              <a:gd name="connsiteX9662" fmla="*/ 2582035 w 6226010"/>
              <a:gd name="connsiteY9662" fmla="*/ 4439425 h 5756219"/>
              <a:gd name="connsiteX9663" fmla="*/ 2584433 w 6226010"/>
              <a:gd name="connsiteY9663" fmla="*/ 4451414 h 5756219"/>
              <a:gd name="connsiteX9664" fmla="*/ 2611609 w 6226010"/>
              <a:gd name="connsiteY9664" fmla="*/ 4432391 h 5756219"/>
              <a:gd name="connsiteX9665" fmla="*/ 2608891 w 6226010"/>
              <a:gd name="connsiteY9665" fmla="*/ 4418803 h 5756219"/>
              <a:gd name="connsiteX9666" fmla="*/ 2617044 w 6226010"/>
              <a:gd name="connsiteY9666" fmla="*/ 4402498 h 5756219"/>
              <a:gd name="connsiteX9667" fmla="*/ 2633350 w 6226010"/>
              <a:gd name="connsiteY9667" fmla="*/ 4405215 h 5756219"/>
              <a:gd name="connsiteX9668" fmla="*/ 2635406 w 6226010"/>
              <a:gd name="connsiteY9668" fmla="*/ 4407566 h 5756219"/>
              <a:gd name="connsiteX9669" fmla="*/ 2638785 w 6226010"/>
              <a:gd name="connsiteY9669" fmla="*/ 4402499 h 5756219"/>
              <a:gd name="connsiteX9670" fmla="*/ 2649655 w 6226010"/>
              <a:gd name="connsiteY9670" fmla="*/ 4405216 h 5756219"/>
              <a:gd name="connsiteX9671" fmla="*/ 2654844 w 6226010"/>
              <a:gd name="connsiteY9671" fmla="*/ 4404475 h 5756219"/>
              <a:gd name="connsiteX9672" fmla="*/ 2646938 w 6226010"/>
              <a:gd name="connsiteY9672" fmla="*/ 4402498 h 5756219"/>
              <a:gd name="connsiteX9673" fmla="*/ 2644220 w 6226010"/>
              <a:gd name="connsiteY9673" fmla="*/ 4397062 h 5756219"/>
              <a:gd name="connsiteX9674" fmla="*/ 2630632 w 6226010"/>
              <a:gd name="connsiteY9674" fmla="*/ 4394345 h 5756219"/>
              <a:gd name="connsiteX9675" fmla="*/ 2627914 w 6226010"/>
              <a:gd name="connsiteY9675" fmla="*/ 4388910 h 5756219"/>
              <a:gd name="connsiteX9676" fmla="*/ 2636067 w 6226010"/>
              <a:gd name="connsiteY9676" fmla="*/ 4378039 h 5756219"/>
              <a:gd name="connsiteX9677" fmla="*/ 2636067 w 6226010"/>
              <a:gd name="connsiteY9677" fmla="*/ 4372604 h 5756219"/>
              <a:gd name="connsiteX9678" fmla="*/ 2641502 w 6226010"/>
              <a:gd name="connsiteY9678" fmla="*/ 4369886 h 5756219"/>
              <a:gd name="connsiteX9679" fmla="*/ 2660526 w 6226010"/>
              <a:gd name="connsiteY9679" fmla="*/ 4345428 h 5756219"/>
              <a:gd name="connsiteX9680" fmla="*/ 2644220 w 6226010"/>
              <a:gd name="connsiteY9680" fmla="*/ 4353581 h 5756219"/>
              <a:gd name="connsiteX9681" fmla="*/ 2636067 w 6226010"/>
              <a:gd name="connsiteY9681" fmla="*/ 4364451 h 5756219"/>
              <a:gd name="connsiteX9682" fmla="*/ 2611609 w 6226010"/>
              <a:gd name="connsiteY9682" fmla="*/ 4388910 h 5756219"/>
              <a:gd name="connsiteX9683" fmla="*/ 2592586 w 6226010"/>
              <a:gd name="connsiteY9683" fmla="*/ 4383474 h 5756219"/>
              <a:gd name="connsiteX9684" fmla="*/ 2611609 w 6226010"/>
              <a:gd name="connsiteY9684" fmla="*/ 4359016 h 5756219"/>
              <a:gd name="connsiteX9685" fmla="*/ 2611609 w 6226010"/>
              <a:gd name="connsiteY9685" fmla="*/ 4351883 h 5756219"/>
              <a:gd name="connsiteX9686" fmla="*/ 2611609 w 6226010"/>
              <a:gd name="connsiteY9686" fmla="*/ 4350863 h 5756219"/>
              <a:gd name="connsiteX9687" fmla="*/ 2603456 w 6226010"/>
              <a:gd name="connsiteY9687" fmla="*/ 4350863 h 5756219"/>
              <a:gd name="connsiteX9688" fmla="*/ 2595303 w 6226010"/>
              <a:gd name="connsiteY9688" fmla="*/ 4364451 h 5756219"/>
              <a:gd name="connsiteX9689" fmla="*/ 2578998 w 6226010"/>
              <a:gd name="connsiteY9689" fmla="*/ 4378039 h 5756219"/>
              <a:gd name="connsiteX9690" fmla="*/ 2578998 w 6226010"/>
              <a:gd name="connsiteY9690" fmla="*/ 4380757 h 5756219"/>
              <a:gd name="connsiteX9691" fmla="*/ 2570845 w 6226010"/>
              <a:gd name="connsiteY9691" fmla="*/ 4380757 h 5756219"/>
              <a:gd name="connsiteX9692" fmla="*/ 2568127 w 6226010"/>
              <a:gd name="connsiteY9692" fmla="*/ 4388910 h 5756219"/>
              <a:gd name="connsiteX9693" fmla="*/ 2562692 w 6226010"/>
              <a:gd name="connsiteY9693" fmla="*/ 4388910 h 5756219"/>
              <a:gd name="connsiteX9694" fmla="*/ 2562692 w 6226010"/>
              <a:gd name="connsiteY9694" fmla="*/ 4397062 h 5756219"/>
              <a:gd name="connsiteX9695" fmla="*/ 2565410 w 6226010"/>
              <a:gd name="connsiteY9695" fmla="*/ 4397062 h 5756219"/>
              <a:gd name="connsiteX9696" fmla="*/ 2549104 w 6226010"/>
              <a:gd name="connsiteY9696" fmla="*/ 4413368 h 5756219"/>
              <a:gd name="connsiteX9697" fmla="*/ 2532799 w 6226010"/>
              <a:gd name="connsiteY9697" fmla="*/ 4413368 h 5756219"/>
              <a:gd name="connsiteX9698" fmla="*/ 2532799 w 6226010"/>
              <a:gd name="connsiteY9698" fmla="*/ 4410650 h 5756219"/>
              <a:gd name="connsiteX9699" fmla="*/ 2527364 w 6226010"/>
              <a:gd name="connsiteY9699" fmla="*/ 4407933 h 5756219"/>
              <a:gd name="connsiteX9700" fmla="*/ 2519211 w 6226010"/>
              <a:gd name="connsiteY9700" fmla="*/ 4407933 h 5756219"/>
              <a:gd name="connsiteX9701" fmla="*/ 2511058 w 6226010"/>
              <a:gd name="connsiteY9701" fmla="*/ 4402498 h 5756219"/>
              <a:gd name="connsiteX9702" fmla="*/ 2508341 w 6226010"/>
              <a:gd name="connsiteY9702" fmla="*/ 4402498 h 5756219"/>
              <a:gd name="connsiteX9703" fmla="*/ 2519211 w 6226010"/>
              <a:gd name="connsiteY9703" fmla="*/ 4394345 h 5756219"/>
              <a:gd name="connsiteX9704" fmla="*/ 2543669 w 6226010"/>
              <a:gd name="connsiteY9704" fmla="*/ 4402498 h 5756219"/>
              <a:gd name="connsiteX9705" fmla="*/ 2535516 w 6226010"/>
              <a:gd name="connsiteY9705" fmla="*/ 4378039 h 5756219"/>
              <a:gd name="connsiteX9706" fmla="*/ 2540952 w 6226010"/>
              <a:gd name="connsiteY9706" fmla="*/ 4378039 h 5756219"/>
              <a:gd name="connsiteX9707" fmla="*/ 2549104 w 6226010"/>
              <a:gd name="connsiteY9707" fmla="*/ 4369886 h 5756219"/>
              <a:gd name="connsiteX9708" fmla="*/ 2549104 w 6226010"/>
              <a:gd name="connsiteY9708" fmla="*/ 4367169 h 5756219"/>
              <a:gd name="connsiteX9709" fmla="*/ 2546387 w 6226010"/>
              <a:gd name="connsiteY9709" fmla="*/ 4361734 h 5756219"/>
              <a:gd name="connsiteX9710" fmla="*/ 2530081 w 6226010"/>
              <a:gd name="connsiteY9710" fmla="*/ 4367169 h 5756219"/>
              <a:gd name="connsiteX9711" fmla="*/ 2527364 w 6226010"/>
              <a:gd name="connsiteY9711" fmla="*/ 4364451 h 5756219"/>
              <a:gd name="connsiteX9712" fmla="*/ 2519211 w 6226010"/>
              <a:gd name="connsiteY9712" fmla="*/ 4373623 h 5756219"/>
              <a:gd name="connsiteX9713" fmla="*/ 2519211 w 6226010"/>
              <a:gd name="connsiteY9713" fmla="*/ 4372604 h 5756219"/>
              <a:gd name="connsiteX9714" fmla="*/ 2513776 w 6226010"/>
              <a:gd name="connsiteY9714" fmla="*/ 4378039 h 5756219"/>
              <a:gd name="connsiteX9715" fmla="*/ 2515588 w 6226010"/>
              <a:gd name="connsiteY9715" fmla="*/ 4380757 h 5756219"/>
              <a:gd name="connsiteX9716" fmla="*/ 2513776 w 6226010"/>
              <a:gd name="connsiteY9716" fmla="*/ 4388910 h 5756219"/>
              <a:gd name="connsiteX9717" fmla="*/ 2508341 w 6226010"/>
              <a:gd name="connsiteY9717" fmla="*/ 4394345 h 5756219"/>
              <a:gd name="connsiteX9718" fmla="*/ 2492035 w 6226010"/>
              <a:gd name="connsiteY9718" fmla="*/ 4405215 h 5756219"/>
              <a:gd name="connsiteX9719" fmla="*/ 2489317 w 6226010"/>
              <a:gd name="connsiteY9719" fmla="*/ 4413368 h 5756219"/>
              <a:gd name="connsiteX9720" fmla="*/ 2475729 w 6226010"/>
              <a:gd name="connsiteY9720" fmla="*/ 4416086 h 5756219"/>
              <a:gd name="connsiteX9721" fmla="*/ 2473012 w 6226010"/>
              <a:gd name="connsiteY9721" fmla="*/ 4421521 h 5756219"/>
              <a:gd name="connsiteX9722" fmla="*/ 2451271 w 6226010"/>
              <a:gd name="connsiteY9722" fmla="*/ 4424238 h 5756219"/>
              <a:gd name="connsiteX9723" fmla="*/ 2437683 w 6226010"/>
              <a:gd name="connsiteY9723" fmla="*/ 4424238 h 5756219"/>
              <a:gd name="connsiteX9724" fmla="*/ 2432248 w 6226010"/>
              <a:gd name="connsiteY9724" fmla="*/ 4429674 h 5756219"/>
              <a:gd name="connsiteX9725" fmla="*/ 2413225 w 6226010"/>
              <a:gd name="connsiteY9725" fmla="*/ 4429674 h 5756219"/>
              <a:gd name="connsiteX9726" fmla="*/ 2410507 w 6226010"/>
              <a:gd name="connsiteY9726" fmla="*/ 4429674 h 5756219"/>
              <a:gd name="connsiteX9727" fmla="*/ 2421377 w 6226010"/>
              <a:gd name="connsiteY9727" fmla="*/ 4413368 h 5756219"/>
              <a:gd name="connsiteX9728" fmla="*/ 2421377 w 6226010"/>
              <a:gd name="connsiteY9728" fmla="*/ 4407933 h 5756219"/>
              <a:gd name="connsiteX9729" fmla="*/ 2437683 w 6226010"/>
              <a:gd name="connsiteY9729" fmla="*/ 4388910 h 5756219"/>
              <a:gd name="connsiteX9730" fmla="*/ 2443118 w 6226010"/>
              <a:gd name="connsiteY9730" fmla="*/ 4375322 h 5756219"/>
              <a:gd name="connsiteX9731" fmla="*/ 2451271 w 6226010"/>
              <a:gd name="connsiteY9731" fmla="*/ 4367169 h 5756219"/>
              <a:gd name="connsiteX9732" fmla="*/ 2451271 w 6226010"/>
              <a:gd name="connsiteY9732" fmla="*/ 4361734 h 5756219"/>
              <a:gd name="connsiteX9733" fmla="*/ 2440401 w 6226010"/>
              <a:gd name="connsiteY9733" fmla="*/ 4359016 h 5756219"/>
              <a:gd name="connsiteX9734" fmla="*/ 2429530 w 6226010"/>
              <a:gd name="connsiteY9734" fmla="*/ 4386192 h 5756219"/>
              <a:gd name="connsiteX9735" fmla="*/ 2424095 w 6226010"/>
              <a:gd name="connsiteY9735" fmla="*/ 4388910 h 5756219"/>
              <a:gd name="connsiteX9736" fmla="*/ 2424095 w 6226010"/>
              <a:gd name="connsiteY9736" fmla="*/ 4397062 h 5756219"/>
              <a:gd name="connsiteX9737" fmla="*/ 2407789 w 6226010"/>
              <a:gd name="connsiteY9737" fmla="*/ 4416086 h 5756219"/>
              <a:gd name="connsiteX9738" fmla="*/ 2407789 w 6226010"/>
              <a:gd name="connsiteY9738" fmla="*/ 4418803 h 5756219"/>
              <a:gd name="connsiteX9739" fmla="*/ 2399637 w 6226010"/>
              <a:gd name="connsiteY9739" fmla="*/ 4421521 h 5756219"/>
              <a:gd name="connsiteX9740" fmla="*/ 2377896 w 6226010"/>
              <a:gd name="connsiteY9740" fmla="*/ 4440544 h 5756219"/>
              <a:gd name="connsiteX9741" fmla="*/ 2364308 w 6226010"/>
              <a:gd name="connsiteY9741" fmla="*/ 4448697 h 5756219"/>
              <a:gd name="connsiteX9742" fmla="*/ 2353437 w 6226010"/>
              <a:gd name="connsiteY9742" fmla="*/ 4451414 h 5756219"/>
              <a:gd name="connsiteX9743" fmla="*/ 2353437 w 6226010"/>
              <a:gd name="connsiteY9743" fmla="*/ 4456850 h 5756219"/>
              <a:gd name="connsiteX9744" fmla="*/ 2345285 w 6226010"/>
              <a:gd name="connsiteY9744" fmla="*/ 4459567 h 5756219"/>
              <a:gd name="connsiteX9745" fmla="*/ 2345285 w 6226010"/>
              <a:gd name="connsiteY9745" fmla="*/ 4465002 h 5756219"/>
              <a:gd name="connsiteX9746" fmla="*/ 2337132 w 6226010"/>
              <a:gd name="connsiteY9746" fmla="*/ 4467720 h 5756219"/>
              <a:gd name="connsiteX9747" fmla="*/ 2334414 w 6226010"/>
              <a:gd name="connsiteY9747" fmla="*/ 4473155 h 5756219"/>
              <a:gd name="connsiteX9748" fmla="*/ 2309955 w 6226010"/>
              <a:gd name="connsiteY9748" fmla="*/ 4489461 h 5756219"/>
              <a:gd name="connsiteX9749" fmla="*/ 2304520 w 6226010"/>
              <a:gd name="connsiteY9749" fmla="*/ 4489461 h 5756219"/>
              <a:gd name="connsiteX9750" fmla="*/ 2328979 w 6226010"/>
              <a:gd name="connsiteY9750" fmla="*/ 4456850 h 5756219"/>
              <a:gd name="connsiteX9751" fmla="*/ 2326262 w 6226010"/>
              <a:gd name="connsiteY9751" fmla="*/ 4448697 h 5756219"/>
              <a:gd name="connsiteX9752" fmla="*/ 2309955 w 6226010"/>
              <a:gd name="connsiteY9752" fmla="*/ 4465002 h 5756219"/>
              <a:gd name="connsiteX9753" fmla="*/ 2288214 w 6226010"/>
              <a:gd name="connsiteY9753" fmla="*/ 4489461 h 5756219"/>
              <a:gd name="connsiteX9754" fmla="*/ 2288214 w 6226010"/>
              <a:gd name="connsiteY9754" fmla="*/ 4500331 h 5756219"/>
              <a:gd name="connsiteX9755" fmla="*/ 2282779 w 6226010"/>
              <a:gd name="connsiteY9755" fmla="*/ 4511201 h 5756219"/>
              <a:gd name="connsiteX9756" fmla="*/ 2255603 w 6226010"/>
              <a:gd name="connsiteY9756" fmla="*/ 4513919 h 5756219"/>
              <a:gd name="connsiteX9757" fmla="*/ 2244733 w 6226010"/>
              <a:gd name="connsiteY9757" fmla="*/ 4519354 h 5756219"/>
              <a:gd name="connsiteX9758" fmla="*/ 2231145 w 6226010"/>
              <a:gd name="connsiteY9758" fmla="*/ 4519354 h 5756219"/>
              <a:gd name="connsiteX9759" fmla="*/ 2203969 w 6226010"/>
              <a:gd name="connsiteY9759" fmla="*/ 4519354 h 5756219"/>
              <a:gd name="connsiteX9760" fmla="*/ 2201251 w 6226010"/>
              <a:gd name="connsiteY9760" fmla="*/ 4516637 h 5756219"/>
              <a:gd name="connsiteX9761" fmla="*/ 2187663 w 6226010"/>
              <a:gd name="connsiteY9761" fmla="*/ 4513919 h 5756219"/>
              <a:gd name="connsiteX9762" fmla="*/ 2201251 w 6226010"/>
              <a:gd name="connsiteY9762" fmla="*/ 4481308 h 5756219"/>
              <a:gd name="connsiteX9763" fmla="*/ 2206686 w 6226010"/>
              <a:gd name="connsiteY9763" fmla="*/ 4456850 h 5756219"/>
              <a:gd name="connsiteX9764" fmla="*/ 2201251 w 6226010"/>
              <a:gd name="connsiteY9764" fmla="*/ 4437826 h 5756219"/>
              <a:gd name="connsiteX9765" fmla="*/ 2193098 w 6226010"/>
              <a:gd name="connsiteY9765" fmla="*/ 4443262 h 5756219"/>
              <a:gd name="connsiteX9766" fmla="*/ 2176793 w 6226010"/>
              <a:gd name="connsiteY9766" fmla="*/ 4508484 h 5756219"/>
              <a:gd name="connsiteX9767" fmla="*/ 2176793 w 6226010"/>
              <a:gd name="connsiteY9767" fmla="*/ 4513919 h 5756219"/>
              <a:gd name="connsiteX9768" fmla="*/ 2165922 w 6226010"/>
              <a:gd name="connsiteY9768" fmla="*/ 4522072 h 5756219"/>
              <a:gd name="connsiteX9769" fmla="*/ 2163205 w 6226010"/>
              <a:gd name="connsiteY9769" fmla="*/ 4541095 h 5756219"/>
              <a:gd name="connsiteX9770" fmla="*/ 2157770 w 6226010"/>
              <a:gd name="connsiteY9770" fmla="*/ 4549248 h 5756219"/>
              <a:gd name="connsiteX9771" fmla="*/ 2157770 w 6226010"/>
              <a:gd name="connsiteY9771" fmla="*/ 4557400 h 5756219"/>
              <a:gd name="connsiteX9772" fmla="*/ 2155052 w 6226010"/>
              <a:gd name="connsiteY9772" fmla="*/ 4557400 h 5756219"/>
              <a:gd name="connsiteX9773" fmla="*/ 2155052 w 6226010"/>
              <a:gd name="connsiteY9773" fmla="*/ 4573706 h 5756219"/>
              <a:gd name="connsiteX9774" fmla="*/ 2152334 w 6226010"/>
              <a:gd name="connsiteY9774" fmla="*/ 4576424 h 5756219"/>
              <a:gd name="connsiteX9775" fmla="*/ 2152334 w 6226010"/>
              <a:gd name="connsiteY9775" fmla="*/ 4584576 h 5756219"/>
              <a:gd name="connsiteX9776" fmla="*/ 2138747 w 6226010"/>
              <a:gd name="connsiteY9776" fmla="*/ 4606317 h 5756219"/>
              <a:gd name="connsiteX9777" fmla="*/ 2108853 w 6226010"/>
              <a:gd name="connsiteY9777" fmla="*/ 4570988 h 5756219"/>
              <a:gd name="connsiteX9778" fmla="*/ 2081677 w 6226010"/>
              <a:gd name="connsiteY9778" fmla="*/ 4590012 h 5756219"/>
              <a:gd name="connsiteX9779" fmla="*/ 2024608 w 6226010"/>
              <a:gd name="connsiteY9779" fmla="*/ 4617187 h 5756219"/>
              <a:gd name="connsiteX9780" fmla="*/ 1951233 w 6226010"/>
              <a:gd name="connsiteY9780" fmla="*/ 4663386 h 5756219"/>
              <a:gd name="connsiteX9781" fmla="*/ 1934927 w 6226010"/>
              <a:gd name="connsiteY9781" fmla="*/ 4660669 h 5756219"/>
              <a:gd name="connsiteX9782" fmla="*/ 1921339 w 6226010"/>
              <a:gd name="connsiteY9782" fmla="*/ 4600882 h 5756219"/>
              <a:gd name="connsiteX9783" fmla="*/ 1924057 w 6226010"/>
              <a:gd name="connsiteY9783" fmla="*/ 4576424 h 5756219"/>
              <a:gd name="connsiteX9784" fmla="*/ 1897901 w 6226010"/>
              <a:gd name="connsiteY9784" fmla="*/ 4583897 h 5756219"/>
              <a:gd name="connsiteX9785" fmla="*/ 1869705 w 6226010"/>
              <a:gd name="connsiteY9785" fmla="*/ 4587295 h 5756219"/>
              <a:gd name="connsiteX9786" fmla="*/ 1869705 w 6226010"/>
              <a:gd name="connsiteY9786" fmla="*/ 4579142 h 5756219"/>
              <a:gd name="connsiteX9787" fmla="*/ 1869705 w 6226010"/>
              <a:gd name="connsiteY9787" fmla="*/ 4546531 h 5756219"/>
              <a:gd name="connsiteX9788" fmla="*/ 1913187 w 6226010"/>
              <a:gd name="connsiteY9788" fmla="*/ 4527508 h 5756219"/>
              <a:gd name="connsiteX9789" fmla="*/ 1916190 w 6226010"/>
              <a:gd name="connsiteY9789" fmla="*/ 4527508 h 5756219"/>
              <a:gd name="connsiteX9790" fmla="*/ 1915904 w 6226010"/>
              <a:gd name="connsiteY9790" fmla="*/ 4522072 h 5756219"/>
              <a:gd name="connsiteX9791" fmla="*/ 1932209 w 6226010"/>
              <a:gd name="connsiteY9791" fmla="*/ 4513919 h 5756219"/>
              <a:gd name="connsiteX9792" fmla="*/ 1953950 w 6226010"/>
              <a:gd name="connsiteY9792" fmla="*/ 4511201 h 5756219"/>
              <a:gd name="connsiteX9793" fmla="*/ 1956668 w 6226010"/>
              <a:gd name="connsiteY9793" fmla="*/ 4505766 h 5756219"/>
              <a:gd name="connsiteX9794" fmla="*/ 1970256 w 6226010"/>
              <a:gd name="connsiteY9794" fmla="*/ 4503049 h 5756219"/>
              <a:gd name="connsiteX9795" fmla="*/ 1972973 w 6226010"/>
              <a:gd name="connsiteY9795" fmla="*/ 4497614 h 5756219"/>
              <a:gd name="connsiteX9796" fmla="*/ 1983844 w 6226010"/>
              <a:gd name="connsiteY9796" fmla="*/ 4494896 h 5756219"/>
              <a:gd name="connsiteX9797" fmla="*/ 1989279 w 6226010"/>
              <a:gd name="connsiteY9797" fmla="*/ 4489461 h 5756219"/>
              <a:gd name="connsiteX9798" fmla="*/ 1997432 w 6226010"/>
              <a:gd name="connsiteY9798" fmla="*/ 4489461 h 5756219"/>
              <a:gd name="connsiteX9799" fmla="*/ 1997432 w 6226010"/>
              <a:gd name="connsiteY9799" fmla="*/ 4484026 h 5756219"/>
              <a:gd name="connsiteX9800" fmla="*/ 2002867 w 6226010"/>
              <a:gd name="connsiteY9800" fmla="*/ 4484026 h 5756219"/>
              <a:gd name="connsiteX9801" fmla="*/ 2005584 w 6226010"/>
              <a:gd name="connsiteY9801" fmla="*/ 4475873 h 5756219"/>
              <a:gd name="connsiteX9802" fmla="*/ 2008303 w 6226010"/>
              <a:gd name="connsiteY9802" fmla="*/ 4475873 h 5756219"/>
              <a:gd name="connsiteX9803" fmla="*/ 2013738 w 6226010"/>
              <a:gd name="connsiteY9803" fmla="*/ 4470438 h 5756219"/>
              <a:gd name="connsiteX9804" fmla="*/ 2016455 w 6226010"/>
              <a:gd name="connsiteY9804" fmla="*/ 4465002 h 5756219"/>
              <a:gd name="connsiteX9805" fmla="*/ 2016455 w 6226010"/>
              <a:gd name="connsiteY9805" fmla="*/ 4462285 h 5756219"/>
              <a:gd name="connsiteX9806" fmla="*/ 2011020 w 6226010"/>
              <a:gd name="connsiteY9806" fmla="*/ 4454132 h 5756219"/>
              <a:gd name="connsiteX9807" fmla="*/ 2019173 w 6226010"/>
              <a:gd name="connsiteY9807" fmla="*/ 4440544 h 5756219"/>
              <a:gd name="connsiteX9808" fmla="*/ 2024608 w 6226010"/>
              <a:gd name="connsiteY9808" fmla="*/ 4440544 h 5756219"/>
              <a:gd name="connsiteX9809" fmla="*/ 2043631 w 6226010"/>
              <a:gd name="connsiteY9809" fmla="*/ 4416086 h 5756219"/>
              <a:gd name="connsiteX9810" fmla="*/ 2049066 w 6226010"/>
              <a:gd name="connsiteY9810" fmla="*/ 4388910 h 5756219"/>
              <a:gd name="connsiteX9811" fmla="*/ 2046349 w 6226010"/>
              <a:gd name="connsiteY9811" fmla="*/ 4378039 h 5756219"/>
              <a:gd name="connsiteX9812" fmla="*/ 2035478 w 6226010"/>
              <a:gd name="connsiteY9812" fmla="*/ 4383474 h 5756219"/>
              <a:gd name="connsiteX9813" fmla="*/ 2032761 w 6226010"/>
              <a:gd name="connsiteY9813" fmla="*/ 4405215 h 5756219"/>
              <a:gd name="connsiteX9814" fmla="*/ 2000150 w 6226010"/>
              <a:gd name="connsiteY9814" fmla="*/ 4435109 h 5756219"/>
              <a:gd name="connsiteX9815" fmla="*/ 1994715 w 6226010"/>
              <a:gd name="connsiteY9815" fmla="*/ 4429674 h 5756219"/>
              <a:gd name="connsiteX9816" fmla="*/ 2000150 w 6226010"/>
              <a:gd name="connsiteY9816" fmla="*/ 4367169 h 5756219"/>
              <a:gd name="connsiteX9817" fmla="*/ 2011020 w 6226010"/>
              <a:gd name="connsiteY9817" fmla="*/ 4367169 h 5756219"/>
              <a:gd name="connsiteX9818" fmla="*/ 2040914 w 6226010"/>
              <a:gd name="connsiteY9818" fmla="*/ 4350863 h 5756219"/>
              <a:gd name="connsiteX9819" fmla="*/ 2046349 w 6226010"/>
              <a:gd name="connsiteY9819" fmla="*/ 4342711 h 5756219"/>
              <a:gd name="connsiteX9820" fmla="*/ 2046349 w 6226010"/>
              <a:gd name="connsiteY9820" fmla="*/ 4334558 h 5756219"/>
              <a:gd name="connsiteX9821" fmla="*/ 2016455 w 6226010"/>
              <a:gd name="connsiteY9821" fmla="*/ 4345428 h 5756219"/>
              <a:gd name="connsiteX9822" fmla="*/ 2005585 w 6226010"/>
              <a:gd name="connsiteY9822" fmla="*/ 4342711 h 5756219"/>
              <a:gd name="connsiteX9823" fmla="*/ 2008303 w 6226010"/>
              <a:gd name="connsiteY9823" fmla="*/ 4334558 h 5756219"/>
              <a:gd name="connsiteX9824" fmla="*/ 2008303 w 6226010"/>
              <a:gd name="connsiteY9824" fmla="*/ 4320970 h 5756219"/>
              <a:gd name="connsiteX9825" fmla="*/ 1989279 w 6226010"/>
              <a:gd name="connsiteY9825" fmla="*/ 4364451 h 5756219"/>
              <a:gd name="connsiteX9826" fmla="*/ 1978409 w 6226010"/>
              <a:gd name="connsiteY9826" fmla="*/ 4405215 h 5756219"/>
              <a:gd name="connsiteX9827" fmla="*/ 1981127 w 6226010"/>
              <a:gd name="connsiteY9827" fmla="*/ 4426956 h 5756219"/>
              <a:gd name="connsiteX9828" fmla="*/ 1981127 w 6226010"/>
              <a:gd name="connsiteY9828" fmla="*/ 4432391 h 5756219"/>
              <a:gd name="connsiteX9829" fmla="*/ 1997432 w 6226010"/>
              <a:gd name="connsiteY9829" fmla="*/ 4465002 h 5756219"/>
              <a:gd name="connsiteX9830" fmla="*/ 1981127 w 6226010"/>
              <a:gd name="connsiteY9830" fmla="*/ 4486743 h 5756219"/>
              <a:gd name="connsiteX9831" fmla="*/ 1962103 w 6226010"/>
              <a:gd name="connsiteY9831" fmla="*/ 4486743 h 5756219"/>
              <a:gd name="connsiteX9832" fmla="*/ 1962103 w 6226010"/>
              <a:gd name="connsiteY9832" fmla="*/ 4432391 h 5756219"/>
              <a:gd name="connsiteX9833" fmla="*/ 1959386 w 6226010"/>
              <a:gd name="connsiteY9833" fmla="*/ 4418803 h 5756219"/>
              <a:gd name="connsiteX9834" fmla="*/ 1967539 w 6226010"/>
              <a:gd name="connsiteY9834" fmla="*/ 4312817 h 5756219"/>
              <a:gd name="connsiteX9835" fmla="*/ 2002867 w 6226010"/>
              <a:gd name="connsiteY9835" fmla="*/ 4285641 h 5756219"/>
              <a:gd name="connsiteX9836" fmla="*/ 2011020 w 6226010"/>
              <a:gd name="connsiteY9836" fmla="*/ 4274771 h 5756219"/>
              <a:gd name="connsiteX9837" fmla="*/ 2011020 w 6226010"/>
              <a:gd name="connsiteY9837" fmla="*/ 4277488 h 5756219"/>
              <a:gd name="connsiteX9838" fmla="*/ 2027326 w 6226010"/>
              <a:gd name="connsiteY9838" fmla="*/ 4277488 h 5756219"/>
              <a:gd name="connsiteX9839" fmla="*/ 2078960 w 6226010"/>
              <a:gd name="connsiteY9839" fmla="*/ 4280206 h 5756219"/>
              <a:gd name="connsiteX9840" fmla="*/ 2084395 w 6226010"/>
              <a:gd name="connsiteY9840" fmla="*/ 4282924 h 5756219"/>
              <a:gd name="connsiteX9841" fmla="*/ 2076242 w 6226010"/>
              <a:gd name="connsiteY9841" fmla="*/ 4310099 h 5756219"/>
              <a:gd name="connsiteX9842" fmla="*/ 2076242 w 6226010"/>
              <a:gd name="connsiteY9842" fmla="*/ 4342711 h 5756219"/>
              <a:gd name="connsiteX9843" fmla="*/ 2073525 w 6226010"/>
              <a:gd name="connsiteY9843" fmla="*/ 4364451 h 5756219"/>
              <a:gd name="connsiteX9844" fmla="*/ 2084395 w 6226010"/>
              <a:gd name="connsiteY9844" fmla="*/ 4380757 h 5756219"/>
              <a:gd name="connsiteX9845" fmla="*/ 2089830 w 6226010"/>
              <a:gd name="connsiteY9845" fmla="*/ 4397062 h 5756219"/>
              <a:gd name="connsiteX9846" fmla="*/ 2062654 w 6226010"/>
              <a:gd name="connsiteY9846" fmla="*/ 4429674 h 5756219"/>
              <a:gd name="connsiteX9847" fmla="*/ 2050765 w 6226010"/>
              <a:gd name="connsiteY9847" fmla="*/ 4443602 h 5756219"/>
              <a:gd name="connsiteX9848" fmla="*/ 2048348 w 6226010"/>
              <a:gd name="connsiteY9848" fmla="*/ 4447518 h 5756219"/>
              <a:gd name="connsiteX9849" fmla="*/ 2049066 w 6226010"/>
              <a:gd name="connsiteY9849" fmla="*/ 4447338 h 5756219"/>
              <a:gd name="connsiteX9850" fmla="*/ 2054501 w 6226010"/>
              <a:gd name="connsiteY9850" fmla="*/ 4445979 h 5756219"/>
              <a:gd name="connsiteX9851" fmla="*/ 2065372 w 6226010"/>
              <a:gd name="connsiteY9851" fmla="*/ 4432391 h 5756219"/>
              <a:gd name="connsiteX9852" fmla="*/ 2081677 w 6226010"/>
              <a:gd name="connsiteY9852" fmla="*/ 4421521 h 5756219"/>
              <a:gd name="connsiteX9853" fmla="*/ 2114288 w 6226010"/>
              <a:gd name="connsiteY9853" fmla="*/ 4380757 h 5756219"/>
              <a:gd name="connsiteX9854" fmla="*/ 2121422 w 6226010"/>
              <a:gd name="connsiteY9854" fmla="*/ 4364791 h 5756219"/>
              <a:gd name="connsiteX9855" fmla="*/ 2130422 w 6226010"/>
              <a:gd name="connsiteY9855" fmla="*/ 4351125 h 5756219"/>
              <a:gd name="connsiteX9856" fmla="*/ 2136029 w 6226010"/>
              <a:gd name="connsiteY9856" fmla="*/ 4341012 h 5756219"/>
              <a:gd name="connsiteX9857" fmla="*/ 2163205 w 6226010"/>
              <a:gd name="connsiteY9857" fmla="*/ 4304664 h 5756219"/>
              <a:gd name="connsiteX9858" fmla="*/ 2163205 w 6226010"/>
              <a:gd name="connsiteY9858" fmla="*/ 4296511 h 5756219"/>
              <a:gd name="connsiteX9859" fmla="*/ 2155052 w 6226010"/>
              <a:gd name="connsiteY9859" fmla="*/ 4296511 h 5756219"/>
              <a:gd name="connsiteX9860" fmla="*/ 2106135 w 6226010"/>
              <a:gd name="connsiteY9860" fmla="*/ 4364451 h 5756219"/>
              <a:gd name="connsiteX9861" fmla="*/ 2095265 w 6226010"/>
              <a:gd name="connsiteY9861" fmla="*/ 4361733 h 5756219"/>
              <a:gd name="connsiteX9862" fmla="*/ 2100700 w 6226010"/>
              <a:gd name="connsiteY9862" fmla="*/ 4304664 h 5756219"/>
              <a:gd name="connsiteX9863" fmla="*/ 2106135 w 6226010"/>
              <a:gd name="connsiteY9863" fmla="*/ 4299229 h 5756219"/>
              <a:gd name="connsiteX9864" fmla="*/ 2111570 w 6226010"/>
              <a:gd name="connsiteY9864" fmla="*/ 4277488 h 5756219"/>
              <a:gd name="connsiteX9865" fmla="*/ 2138746 w 6226010"/>
              <a:gd name="connsiteY9865" fmla="*/ 4277488 h 5756219"/>
              <a:gd name="connsiteX9866" fmla="*/ 2144182 w 6226010"/>
              <a:gd name="connsiteY9866" fmla="*/ 4272053 h 5756219"/>
              <a:gd name="connsiteX9867" fmla="*/ 2168640 w 6226010"/>
              <a:gd name="connsiteY9867" fmla="*/ 4269335 h 5756219"/>
              <a:gd name="connsiteX9868" fmla="*/ 2174075 w 6226010"/>
              <a:gd name="connsiteY9868" fmla="*/ 4263900 h 5756219"/>
              <a:gd name="connsiteX9869" fmla="*/ 2203969 w 6226010"/>
              <a:gd name="connsiteY9869" fmla="*/ 4263900 h 5756219"/>
              <a:gd name="connsiteX9870" fmla="*/ 2233862 w 6226010"/>
              <a:gd name="connsiteY9870" fmla="*/ 4253030 h 5756219"/>
              <a:gd name="connsiteX9871" fmla="*/ 2239297 w 6226010"/>
              <a:gd name="connsiteY9871" fmla="*/ 4253030 h 5756219"/>
              <a:gd name="connsiteX9872" fmla="*/ 2234176 w 6226010"/>
              <a:gd name="connsiteY9872" fmla="*/ 4266349 h 5756219"/>
              <a:gd name="connsiteX9873" fmla="*/ 2246431 w 6226010"/>
              <a:gd name="connsiteY9873" fmla="*/ 4265259 h 5756219"/>
              <a:gd name="connsiteX9874" fmla="*/ 2255603 w 6226010"/>
              <a:gd name="connsiteY9874" fmla="*/ 4272053 h 5756219"/>
              <a:gd name="connsiteX9875" fmla="*/ 2299085 w 6226010"/>
              <a:gd name="connsiteY9875" fmla="*/ 4272053 h 5756219"/>
              <a:gd name="connsiteX9876" fmla="*/ 2320826 w 6226010"/>
              <a:gd name="connsiteY9876" fmla="*/ 4280206 h 5756219"/>
              <a:gd name="connsiteX9877" fmla="*/ 2334414 w 6226010"/>
              <a:gd name="connsiteY9877" fmla="*/ 4272053 h 5756219"/>
              <a:gd name="connsiteX9878" fmla="*/ 2348002 w 6226010"/>
              <a:gd name="connsiteY9878" fmla="*/ 4272053 h 5756219"/>
              <a:gd name="connsiteX9879" fmla="*/ 2358873 w 6226010"/>
              <a:gd name="connsiteY9879" fmla="*/ 4263900 h 5756219"/>
              <a:gd name="connsiteX9880" fmla="*/ 2388766 w 6226010"/>
              <a:gd name="connsiteY9880" fmla="*/ 4263900 h 5756219"/>
              <a:gd name="connsiteX9881" fmla="*/ 2402354 w 6226010"/>
              <a:gd name="connsiteY9881" fmla="*/ 4266618 h 5756219"/>
              <a:gd name="connsiteX9882" fmla="*/ 2407789 w 6226010"/>
              <a:gd name="connsiteY9882" fmla="*/ 4274771 h 5756219"/>
              <a:gd name="connsiteX9883" fmla="*/ 2415942 w 6226010"/>
              <a:gd name="connsiteY9883" fmla="*/ 4274771 h 5756219"/>
              <a:gd name="connsiteX9884" fmla="*/ 2418660 w 6226010"/>
              <a:gd name="connsiteY9884" fmla="*/ 4280206 h 5756219"/>
              <a:gd name="connsiteX9885" fmla="*/ 2462141 w 6226010"/>
              <a:gd name="connsiteY9885" fmla="*/ 4280206 h 5756219"/>
              <a:gd name="connsiteX9886" fmla="*/ 2494753 w 6226010"/>
              <a:gd name="connsiteY9886" fmla="*/ 4280206 h 5756219"/>
              <a:gd name="connsiteX9887" fmla="*/ 2500188 w 6226010"/>
              <a:gd name="connsiteY9887" fmla="*/ 4266618 h 5756219"/>
              <a:gd name="connsiteX9888" fmla="*/ 2516493 w 6226010"/>
              <a:gd name="connsiteY9888" fmla="*/ 4247595 h 5756219"/>
              <a:gd name="connsiteX9889" fmla="*/ 2551822 w 6226010"/>
              <a:gd name="connsiteY9889" fmla="*/ 4250312 h 5756219"/>
              <a:gd name="connsiteX9890" fmla="*/ 2557257 w 6226010"/>
              <a:gd name="connsiteY9890" fmla="*/ 4255747 h 5756219"/>
              <a:gd name="connsiteX9891" fmla="*/ 2565037 w 6226010"/>
              <a:gd name="connsiteY9891" fmla="*/ 4257807 h 5756219"/>
              <a:gd name="connsiteX9892" fmla="*/ 2551822 w 6226010"/>
              <a:gd name="connsiteY9892" fmla="*/ 4266618 h 5756219"/>
              <a:gd name="connsiteX9893" fmla="*/ 2551822 w 6226010"/>
              <a:gd name="connsiteY9893" fmla="*/ 4280206 h 5756219"/>
              <a:gd name="connsiteX9894" fmla="*/ 2559975 w 6226010"/>
              <a:gd name="connsiteY9894" fmla="*/ 4320970 h 5756219"/>
              <a:gd name="connsiteX9895" fmla="*/ 2573563 w 6226010"/>
              <a:gd name="connsiteY9895" fmla="*/ 4320970 h 5756219"/>
              <a:gd name="connsiteX9896" fmla="*/ 2565410 w 6226010"/>
              <a:gd name="connsiteY9896" fmla="*/ 4337275 h 5756219"/>
              <a:gd name="connsiteX9897" fmla="*/ 2557257 w 6226010"/>
              <a:gd name="connsiteY9897" fmla="*/ 4339993 h 5756219"/>
              <a:gd name="connsiteX9898" fmla="*/ 2557257 w 6226010"/>
              <a:gd name="connsiteY9898" fmla="*/ 4345428 h 5756219"/>
              <a:gd name="connsiteX9899" fmla="*/ 2554540 w 6226010"/>
              <a:gd name="connsiteY9899" fmla="*/ 4348146 h 5756219"/>
              <a:gd name="connsiteX9900" fmla="*/ 2565410 w 6226010"/>
              <a:gd name="connsiteY9900" fmla="*/ 4359016 h 5756219"/>
              <a:gd name="connsiteX9901" fmla="*/ 2565410 w 6226010"/>
              <a:gd name="connsiteY9901" fmla="*/ 4337275 h 5756219"/>
              <a:gd name="connsiteX9902" fmla="*/ 2581715 w 6226010"/>
              <a:gd name="connsiteY9902" fmla="*/ 4345428 h 5756219"/>
              <a:gd name="connsiteX9903" fmla="*/ 2573563 w 6226010"/>
              <a:gd name="connsiteY9903" fmla="*/ 4323687 h 5756219"/>
              <a:gd name="connsiteX9904" fmla="*/ 2581715 w 6226010"/>
              <a:gd name="connsiteY9904" fmla="*/ 4307382 h 5756219"/>
              <a:gd name="connsiteX9905" fmla="*/ 2606174 w 6226010"/>
              <a:gd name="connsiteY9905" fmla="*/ 4304664 h 5756219"/>
              <a:gd name="connsiteX9906" fmla="*/ 2589868 w 6226010"/>
              <a:gd name="connsiteY9906" fmla="*/ 4291076 h 5756219"/>
              <a:gd name="connsiteX9907" fmla="*/ 2581715 w 6226010"/>
              <a:gd name="connsiteY9907" fmla="*/ 4307382 h 5756219"/>
              <a:gd name="connsiteX9908" fmla="*/ 2557257 w 6226010"/>
              <a:gd name="connsiteY9908" fmla="*/ 4291076 h 5756219"/>
              <a:gd name="connsiteX9909" fmla="*/ 2573563 w 6226010"/>
              <a:gd name="connsiteY9909" fmla="*/ 4269335 h 5756219"/>
              <a:gd name="connsiteX9910" fmla="*/ 2611609 w 6226010"/>
              <a:gd name="connsiteY9910" fmla="*/ 4282923 h 5756219"/>
              <a:gd name="connsiteX9911" fmla="*/ 2625197 w 6226010"/>
              <a:gd name="connsiteY9911" fmla="*/ 4272053 h 5756219"/>
              <a:gd name="connsiteX9912" fmla="*/ 2608891 w 6226010"/>
              <a:gd name="connsiteY9912" fmla="*/ 4253030 h 5756219"/>
              <a:gd name="connsiteX9913" fmla="*/ 2587490 w 6226010"/>
              <a:gd name="connsiteY9913" fmla="*/ 4253370 h 5756219"/>
              <a:gd name="connsiteX9914" fmla="*/ 2584433 w 6226010"/>
              <a:gd name="connsiteY9914" fmla="*/ 4253745 h 5756219"/>
              <a:gd name="connsiteX9915" fmla="*/ 2584433 w 6226010"/>
              <a:gd name="connsiteY9915" fmla="*/ 4250312 h 5756219"/>
              <a:gd name="connsiteX9916" fmla="*/ 2532799 w 6226010"/>
              <a:gd name="connsiteY9916" fmla="*/ 4234007 h 5756219"/>
              <a:gd name="connsiteX9917" fmla="*/ 2530081 w 6226010"/>
              <a:gd name="connsiteY9917" fmla="*/ 4234007 h 5756219"/>
              <a:gd name="connsiteX9918" fmla="*/ 2573563 w 6226010"/>
              <a:gd name="connsiteY9918" fmla="*/ 4209548 h 5756219"/>
              <a:gd name="connsiteX9919" fmla="*/ 2576280 w 6226010"/>
              <a:gd name="connsiteY9919" fmla="*/ 4204113 h 5756219"/>
              <a:gd name="connsiteX9920" fmla="*/ 2576280 w 6226010"/>
              <a:gd name="connsiteY9920" fmla="*/ 4195961 h 5756219"/>
              <a:gd name="connsiteX9921" fmla="*/ 2565410 w 6226010"/>
              <a:gd name="connsiteY9921" fmla="*/ 4199018 h 5756219"/>
              <a:gd name="connsiteX9922" fmla="*/ 2563413 w 6226010"/>
              <a:gd name="connsiteY9922" fmla="*/ 4199955 h 5756219"/>
              <a:gd name="connsiteX9923" fmla="*/ 2562691 w 6226010"/>
              <a:gd name="connsiteY9923" fmla="*/ 4201397 h 5756219"/>
              <a:gd name="connsiteX9924" fmla="*/ 2561155 w 6226010"/>
              <a:gd name="connsiteY9924" fmla="*/ 4201013 h 5756219"/>
              <a:gd name="connsiteX9925" fmla="*/ 2554540 w 6226010"/>
              <a:gd name="connsiteY9925" fmla="*/ 4204113 h 5756219"/>
              <a:gd name="connsiteX9926" fmla="*/ 2554540 w 6226010"/>
              <a:gd name="connsiteY9926" fmla="*/ 4209548 h 5756219"/>
              <a:gd name="connsiteX9927" fmla="*/ 2543669 w 6226010"/>
              <a:gd name="connsiteY9927" fmla="*/ 4212266 h 5756219"/>
              <a:gd name="connsiteX9928" fmla="*/ 2538234 w 6226010"/>
              <a:gd name="connsiteY9928" fmla="*/ 4220419 h 5756219"/>
              <a:gd name="connsiteX9929" fmla="*/ 2532799 w 6226010"/>
              <a:gd name="connsiteY9929" fmla="*/ 4220419 h 5756219"/>
              <a:gd name="connsiteX9930" fmla="*/ 2532799 w 6226010"/>
              <a:gd name="connsiteY9930" fmla="*/ 4225854 h 5756219"/>
              <a:gd name="connsiteX9931" fmla="*/ 2524646 w 6226010"/>
              <a:gd name="connsiteY9931" fmla="*/ 4228572 h 5756219"/>
              <a:gd name="connsiteX9932" fmla="*/ 2521928 w 6226010"/>
              <a:gd name="connsiteY9932" fmla="*/ 4234007 h 5756219"/>
              <a:gd name="connsiteX9933" fmla="*/ 2511058 w 6226010"/>
              <a:gd name="connsiteY9933" fmla="*/ 4236724 h 5756219"/>
              <a:gd name="connsiteX9934" fmla="*/ 2511058 w 6226010"/>
              <a:gd name="connsiteY9934" fmla="*/ 4242160 h 5756219"/>
              <a:gd name="connsiteX9935" fmla="*/ 2489317 w 6226010"/>
              <a:gd name="connsiteY9935" fmla="*/ 4266618 h 5756219"/>
              <a:gd name="connsiteX9936" fmla="*/ 2473012 w 6226010"/>
              <a:gd name="connsiteY9936" fmla="*/ 4272053 h 5756219"/>
              <a:gd name="connsiteX9937" fmla="*/ 2467577 w 6226010"/>
              <a:gd name="connsiteY9937" fmla="*/ 4269335 h 5756219"/>
              <a:gd name="connsiteX9938" fmla="*/ 2459424 w 6226010"/>
              <a:gd name="connsiteY9938" fmla="*/ 4269335 h 5756219"/>
              <a:gd name="connsiteX9939" fmla="*/ 2432248 w 6226010"/>
              <a:gd name="connsiteY9939" fmla="*/ 4261183 h 5756219"/>
              <a:gd name="connsiteX9940" fmla="*/ 2432248 w 6226010"/>
              <a:gd name="connsiteY9940" fmla="*/ 4255747 h 5756219"/>
              <a:gd name="connsiteX9941" fmla="*/ 2458745 w 6226010"/>
              <a:gd name="connsiteY9941" fmla="*/ 4248274 h 5756219"/>
              <a:gd name="connsiteX9942" fmla="*/ 2477263 w 6226010"/>
              <a:gd name="connsiteY9942" fmla="*/ 4238734 h 5756219"/>
              <a:gd name="connsiteX9943" fmla="*/ 2473012 w 6226010"/>
              <a:gd name="connsiteY9943" fmla="*/ 4239443 h 5756219"/>
              <a:gd name="connsiteX9944" fmla="*/ 2464859 w 6226010"/>
              <a:gd name="connsiteY9944" fmla="*/ 4244878 h 5756219"/>
              <a:gd name="connsiteX9945" fmla="*/ 2445836 w 6226010"/>
              <a:gd name="connsiteY9945" fmla="*/ 4239443 h 5756219"/>
              <a:gd name="connsiteX9946" fmla="*/ 2415943 w 6226010"/>
              <a:gd name="connsiteY9946" fmla="*/ 4239443 h 5756219"/>
              <a:gd name="connsiteX9947" fmla="*/ 2443119 w 6226010"/>
              <a:gd name="connsiteY9947" fmla="*/ 4214984 h 5756219"/>
              <a:gd name="connsiteX9948" fmla="*/ 2445836 w 6226010"/>
              <a:gd name="connsiteY9948" fmla="*/ 4209549 h 5756219"/>
              <a:gd name="connsiteX9949" fmla="*/ 2453989 w 6226010"/>
              <a:gd name="connsiteY9949" fmla="*/ 4206831 h 5756219"/>
              <a:gd name="connsiteX9950" fmla="*/ 2470295 w 6226010"/>
              <a:gd name="connsiteY9950" fmla="*/ 4198679 h 5756219"/>
              <a:gd name="connsiteX9951" fmla="*/ 2475730 w 6226010"/>
              <a:gd name="connsiteY9951" fmla="*/ 4206831 h 5756219"/>
              <a:gd name="connsiteX9952" fmla="*/ 2492035 w 6226010"/>
              <a:gd name="connsiteY9952" fmla="*/ 4212267 h 5756219"/>
              <a:gd name="connsiteX9953" fmla="*/ 2492035 w 6226010"/>
              <a:gd name="connsiteY9953" fmla="*/ 4214984 h 5756219"/>
              <a:gd name="connsiteX9954" fmla="*/ 2502906 w 6226010"/>
              <a:gd name="connsiteY9954" fmla="*/ 4217702 h 5756219"/>
              <a:gd name="connsiteX9955" fmla="*/ 2502906 w 6226010"/>
              <a:gd name="connsiteY9955" fmla="*/ 4223136 h 5756219"/>
              <a:gd name="connsiteX9956" fmla="*/ 2505623 w 6226010"/>
              <a:gd name="connsiteY9956" fmla="*/ 4223136 h 5756219"/>
              <a:gd name="connsiteX9957" fmla="*/ 2508341 w 6226010"/>
              <a:gd name="connsiteY9957" fmla="*/ 4217701 h 5756219"/>
              <a:gd name="connsiteX9958" fmla="*/ 2516493 w 6226010"/>
              <a:gd name="connsiteY9958" fmla="*/ 4214984 h 5756219"/>
              <a:gd name="connsiteX9959" fmla="*/ 2516493 w 6226010"/>
              <a:gd name="connsiteY9959" fmla="*/ 4213044 h 5756219"/>
              <a:gd name="connsiteX9960" fmla="*/ 2505622 w 6226010"/>
              <a:gd name="connsiteY9960" fmla="*/ 4206832 h 5756219"/>
              <a:gd name="connsiteX9961" fmla="*/ 2505622 w 6226010"/>
              <a:gd name="connsiteY9961" fmla="*/ 4204114 h 5756219"/>
              <a:gd name="connsiteX9962" fmla="*/ 2492034 w 6226010"/>
              <a:gd name="connsiteY9962" fmla="*/ 4201397 h 5756219"/>
              <a:gd name="connsiteX9963" fmla="*/ 2492034 w 6226010"/>
              <a:gd name="connsiteY9963" fmla="*/ 4195962 h 5756219"/>
              <a:gd name="connsiteX9964" fmla="*/ 2483881 w 6226010"/>
              <a:gd name="connsiteY9964" fmla="*/ 4193244 h 5756219"/>
              <a:gd name="connsiteX9965" fmla="*/ 2481163 w 6226010"/>
              <a:gd name="connsiteY9965" fmla="*/ 4187809 h 5756219"/>
              <a:gd name="connsiteX9966" fmla="*/ 2497469 w 6226010"/>
              <a:gd name="connsiteY9966" fmla="*/ 4185091 h 5756219"/>
              <a:gd name="connsiteX9967" fmla="*/ 2500186 w 6226010"/>
              <a:gd name="connsiteY9967" fmla="*/ 4182374 h 5756219"/>
              <a:gd name="connsiteX9968" fmla="*/ 2532797 w 6226010"/>
              <a:gd name="connsiteY9968" fmla="*/ 4182374 h 5756219"/>
              <a:gd name="connsiteX9969" fmla="*/ 2535515 w 6226010"/>
              <a:gd name="connsiteY9969" fmla="*/ 4182374 h 5756219"/>
              <a:gd name="connsiteX9970" fmla="*/ 2530590 w 6226010"/>
              <a:gd name="connsiteY9970" fmla="*/ 4175806 h 5756219"/>
              <a:gd name="connsiteX9971" fmla="*/ 2538233 w 6226010"/>
              <a:gd name="connsiteY9971" fmla="*/ 4176939 h 5756219"/>
              <a:gd name="connsiteX9972" fmla="*/ 2540950 w 6226010"/>
              <a:gd name="connsiteY9972" fmla="*/ 4182374 h 5756219"/>
              <a:gd name="connsiteX9973" fmla="*/ 2546385 w 6226010"/>
              <a:gd name="connsiteY9973" fmla="*/ 4182374 h 5756219"/>
              <a:gd name="connsiteX9974" fmla="*/ 2554106 w 6226010"/>
              <a:gd name="connsiteY9974" fmla="*/ 4182856 h 5756219"/>
              <a:gd name="connsiteX9975" fmla="*/ 2554540 w 6226010"/>
              <a:gd name="connsiteY9975" fmla="*/ 4182373 h 5756219"/>
              <a:gd name="connsiteX9976" fmla="*/ 2554540 w 6226010"/>
              <a:gd name="connsiteY9976" fmla="*/ 4176937 h 5756219"/>
              <a:gd name="connsiteX9977" fmla="*/ 2565410 w 6226010"/>
              <a:gd name="connsiteY9977" fmla="*/ 4176937 h 5756219"/>
              <a:gd name="connsiteX9978" fmla="*/ 2570845 w 6226010"/>
              <a:gd name="connsiteY9978" fmla="*/ 4171502 h 5756219"/>
              <a:gd name="connsiteX9979" fmla="*/ 2587151 w 6226010"/>
              <a:gd name="connsiteY9979" fmla="*/ 4168785 h 5756219"/>
              <a:gd name="connsiteX9980" fmla="*/ 2589868 w 6226010"/>
              <a:gd name="connsiteY9980" fmla="*/ 4163349 h 5756219"/>
              <a:gd name="connsiteX9981" fmla="*/ 2598021 w 6226010"/>
              <a:gd name="connsiteY9981" fmla="*/ 4163349 h 5756219"/>
              <a:gd name="connsiteX9982" fmla="*/ 2617044 w 6226010"/>
              <a:gd name="connsiteY9982" fmla="*/ 4157914 h 5756219"/>
              <a:gd name="connsiteX9983" fmla="*/ 2603456 w 6226010"/>
              <a:gd name="connsiteY9983" fmla="*/ 4149762 h 5756219"/>
              <a:gd name="connsiteX9984" fmla="*/ 2595303 w 6226010"/>
              <a:gd name="connsiteY9984" fmla="*/ 4144326 h 5756219"/>
              <a:gd name="connsiteX9985" fmla="*/ 2587151 w 6226010"/>
              <a:gd name="connsiteY9985" fmla="*/ 4144326 h 5756219"/>
              <a:gd name="connsiteX9986" fmla="*/ 2578998 w 6226010"/>
              <a:gd name="connsiteY9986" fmla="*/ 4149762 h 5756219"/>
              <a:gd name="connsiteX9987" fmla="*/ 2584433 w 6226010"/>
              <a:gd name="connsiteY9987" fmla="*/ 4138891 h 5756219"/>
              <a:gd name="connsiteX9988" fmla="*/ 2576280 w 6226010"/>
              <a:gd name="connsiteY9988" fmla="*/ 4133456 h 5756219"/>
              <a:gd name="connsiteX9989" fmla="*/ 2543669 w 6226010"/>
              <a:gd name="connsiteY9989" fmla="*/ 4168785 h 5756219"/>
              <a:gd name="connsiteX9990" fmla="*/ 2531652 w 6226010"/>
              <a:gd name="connsiteY9990" fmla="*/ 4170696 h 5756219"/>
              <a:gd name="connsiteX9991" fmla="*/ 2525473 w 6226010"/>
              <a:gd name="connsiteY9991" fmla="*/ 4171116 h 5756219"/>
              <a:gd name="connsiteX9992" fmla="*/ 2527362 w 6226010"/>
              <a:gd name="connsiteY9992" fmla="*/ 4171503 h 5756219"/>
              <a:gd name="connsiteX9993" fmla="*/ 2530590 w 6226010"/>
              <a:gd name="connsiteY9993" fmla="*/ 4175806 h 5756219"/>
              <a:gd name="connsiteX9994" fmla="*/ 2529061 w 6226010"/>
              <a:gd name="connsiteY9994" fmla="*/ 4175580 h 5756219"/>
              <a:gd name="connsiteX9995" fmla="*/ 2521927 w 6226010"/>
              <a:gd name="connsiteY9995" fmla="*/ 4174221 h 5756219"/>
              <a:gd name="connsiteX9996" fmla="*/ 2520542 w 6226010"/>
              <a:gd name="connsiteY9996" fmla="*/ 4171451 h 5756219"/>
              <a:gd name="connsiteX9997" fmla="*/ 2516266 w 6226010"/>
              <a:gd name="connsiteY9997" fmla="*/ 4171742 h 5756219"/>
              <a:gd name="connsiteX9998" fmla="*/ 2515473 w 6226010"/>
              <a:gd name="connsiteY9998" fmla="*/ 4171843 h 5756219"/>
              <a:gd name="connsiteX9999" fmla="*/ 2497469 w 6226010"/>
              <a:gd name="connsiteY9999" fmla="*/ 4174221 h 5756219"/>
              <a:gd name="connsiteX10000" fmla="*/ 2488297 w 6226010"/>
              <a:gd name="connsiteY10000" fmla="*/ 4173201 h 5756219"/>
              <a:gd name="connsiteX10001" fmla="*/ 2484969 w 6226010"/>
              <a:gd name="connsiteY10001" fmla="*/ 4173677 h 5756219"/>
              <a:gd name="connsiteX10002" fmla="*/ 2491675 w 6226010"/>
              <a:gd name="connsiteY10002" fmla="*/ 4170324 h 5756219"/>
              <a:gd name="connsiteX10003" fmla="*/ 2483882 w 6226010"/>
              <a:gd name="connsiteY10003" fmla="*/ 4168785 h 5756219"/>
              <a:gd name="connsiteX10004" fmla="*/ 2481165 w 6226010"/>
              <a:gd name="connsiteY10004" fmla="*/ 4163349 h 5756219"/>
              <a:gd name="connsiteX10005" fmla="*/ 2451271 w 6226010"/>
              <a:gd name="connsiteY10005" fmla="*/ 4155197 h 5756219"/>
              <a:gd name="connsiteX10006" fmla="*/ 2429530 w 6226010"/>
              <a:gd name="connsiteY10006" fmla="*/ 4160632 h 5756219"/>
              <a:gd name="connsiteX10007" fmla="*/ 2407789 w 6226010"/>
              <a:gd name="connsiteY10007" fmla="*/ 4160632 h 5756219"/>
              <a:gd name="connsiteX10008" fmla="*/ 2402354 w 6226010"/>
              <a:gd name="connsiteY10008" fmla="*/ 4166067 h 5756219"/>
              <a:gd name="connsiteX10009" fmla="*/ 2388766 w 6226010"/>
              <a:gd name="connsiteY10009" fmla="*/ 4166067 h 5756219"/>
              <a:gd name="connsiteX10010" fmla="*/ 2383331 w 6226010"/>
              <a:gd name="connsiteY10010" fmla="*/ 4174220 h 5756219"/>
              <a:gd name="connsiteX10011" fmla="*/ 2356155 w 6226010"/>
              <a:gd name="connsiteY10011" fmla="*/ 4174220 h 5756219"/>
              <a:gd name="connsiteX10012" fmla="*/ 2391484 w 6226010"/>
              <a:gd name="connsiteY10012" fmla="*/ 4108998 h 5756219"/>
              <a:gd name="connsiteX10013" fmla="*/ 2410507 w 6226010"/>
              <a:gd name="connsiteY10013" fmla="*/ 4106280 h 5756219"/>
              <a:gd name="connsiteX10014" fmla="*/ 2413225 w 6226010"/>
              <a:gd name="connsiteY10014" fmla="*/ 4100845 h 5756219"/>
              <a:gd name="connsiteX10015" fmla="*/ 2434965 w 6226010"/>
              <a:gd name="connsiteY10015" fmla="*/ 4098127 h 5756219"/>
              <a:gd name="connsiteX10016" fmla="*/ 2440401 w 6226010"/>
              <a:gd name="connsiteY10016" fmla="*/ 4095410 h 5756219"/>
              <a:gd name="connsiteX10017" fmla="*/ 2445836 w 6226010"/>
              <a:gd name="connsiteY10017" fmla="*/ 4098127 h 5756219"/>
              <a:gd name="connsiteX10018" fmla="*/ 2464859 w 6226010"/>
              <a:gd name="connsiteY10018" fmla="*/ 4092692 h 5756219"/>
              <a:gd name="connsiteX10019" fmla="*/ 2481165 w 6226010"/>
              <a:gd name="connsiteY10019" fmla="*/ 4073669 h 5756219"/>
              <a:gd name="connsiteX10020" fmla="*/ 2489317 w 6226010"/>
              <a:gd name="connsiteY10020" fmla="*/ 4065516 h 5756219"/>
              <a:gd name="connsiteX10021" fmla="*/ 2470294 w 6226010"/>
              <a:gd name="connsiteY10021" fmla="*/ 4051928 h 5756219"/>
              <a:gd name="connsiteX10022" fmla="*/ 2443118 w 6226010"/>
              <a:gd name="connsiteY10022" fmla="*/ 4076386 h 5756219"/>
              <a:gd name="connsiteX10023" fmla="*/ 2383331 w 6226010"/>
              <a:gd name="connsiteY10023" fmla="*/ 4081822 h 5756219"/>
              <a:gd name="connsiteX10024" fmla="*/ 2375178 w 6226010"/>
              <a:gd name="connsiteY10024" fmla="*/ 4079104 h 5756219"/>
              <a:gd name="connsiteX10025" fmla="*/ 2388766 w 6226010"/>
              <a:gd name="connsiteY10025" fmla="*/ 4008447 h 5756219"/>
              <a:gd name="connsiteX10026" fmla="*/ 2388766 w 6226010"/>
              <a:gd name="connsiteY10026" fmla="*/ 3989423 h 5756219"/>
              <a:gd name="connsiteX10027" fmla="*/ 2372461 w 6226010"/>
              <a:gd name="connsiteY10027" fmla="*/ 3975835 h 5756219"/>
              <a:gd name="connsiteX10028" fmla="*/ 2372461 w 6226010"/>
              <a:gd name="connsiteY10028" fmla="*/ 3983988 h 5756219"/>
              <a:gd name="connsiteX10029" fmla="*/ 2356155 w 6226010"/>
              <a:gd name="connsiteY10029" fmla="*/ 4057363 h 5756219"/>
              <a:gd name="connsiteX10030" fmla="*/ 2356155 w 6226010"/>
              <a:gd name="connsiteY10030" fmla="*/ 4095410 h 5756219"/>
              <a:gd name="connsiteX10031" fmla="*/ 2331697 w 6226010"/>
              <a:gd name="connsiteY10031" fmla="*/ 4133456 h 5756219"/>
              <a:gd name="connsiteX10032" fmla="*/ 2320826 w 6226010"/>
              <a:gd name="connsiteY10032" fmla="*/ 4160632 h 5756219"/>
              <a:gd name="connsiteX10033" fmla="*/ 2309955 w 6226010"/>
              <a:gd name="connsiteY10033" fmla="*/ 4176937 h 5756219"/>
              <a:gd name="connsiteX10034" fmla="*/ 2290932 w 6226010"/>
              <a:gd name="connsiteY10034" fmla="*/ 4179655 h 5756219"/>
              <a:gd name="connsiteX10035" fmla="*/ 2282779 w 6226010"/>
              <a:gd name="connsiteY10035" fmla="*/ 4185090 h 5756219"/>
              <a:gd name="connsiteX10036" fmla="*/ 2250168 w 6226010"/>
              <a:gd name="connsiteY10036" fmla="*/ 4185090 h 5756219"/>
              <a:gd name="connsiteX10037" fmla="*/ 2266474 w 6226010"/>
              <a:gd name="connsiteY10037" fmla="*/ 4147044 h 5756219"/>
              <a:gd name="connsiteX10038" fmla="*/ 2266474 w 6226010"/>
              <a:gd name="connsiteY10038" fmla="*/ 4136173 h 5756219"/>
              <a:gd name="connsiteX10039" fmla="*/ 2274626 w 6226010"/>
              <a:gd name="connsiteY10039" fmla="*/ 4125303 h 5756219"/>
              <a:gd name="connsiteX10040" fmla="*/ 2290932 w 6226010"/>
              <a:gd name="connsiteY10040" fmla="*/ 4092692 h 5756219"/>
              <a:gd name="connsiteX10041" fmla="*/ 2307237 w 6226010"/>
              <a:gd name="connsiteY10041" fmla="*/ 4062799 h 5756219"/>
              <a:gd name="connsiteX10042" fmla="*/ 2290932 w 6226010"/>
              <a:gd name="connsiteY10042" fmla="*/ 4062799 h 5756219"/>
              <a:gd name="connsiteX10043" fmla="*/ 2285497 w 6226010"/>
              <a:gd name="connsiteY10043" fmla="*/ 4081822 h 5756219"/>
              <a:gd name="connsiteX10044" fmla="*/ 2266474 w 6226010"/>
              <a:gd name="connsiteY10044" fmla="*/ 4111715 h 5756219"/>
              <a:gd name="connsiteX10045" fmla="*/ 2263756 w 6226010"/>
              <a:gd name="connsiteY10045" fmla="*/ 4111715 h 5756219"/>
              <a:gd name="connsiteX10046" fmla="*/ 2261038 w 6226010"/>
              <a:gd name="connsiteY10046" fmla="*/ 4111715 h 5756219"/>
              <a:gd name="connsiteX10047" fmla="*/ 2261038 w 6226010"/>
              <a:gd name="connsiteY10047" fmla="*/ 4087257 h 5756219"/>
              <a:gd name="connsiteX10048" fmla="*/ 2266474 w 6226010"/>
              <a:gd name="connsiteY10048" fmla="*/ 4070951 h 5756219"/>
              <a:gd name="connsiteX10049" fmla="*/ 2266474 w 6226010"/>
              <a:gd name="connsiteY10049" fmla="*/ 4057363 h 5756219"/>
              <a:gd name="connsiteX10050" fmla="*/ 2255603 w 6226010"/>
              <a:gd name="connsiteY10050" fmla="*/ 4057363 h 5756219"/>
              <a:gd name="connsiteX10051" fmla="*/ 2247450 w 6226010"/>
              <a:gd name="connsiteY10051" fmla="*/ 4122585 h 5756219"/>
              <a:gd name="connsiteX10052" fmla="*/ 2250168 w 6226010"/>
              <a:gd name="connsiteY10052" fmla="*/ 4141609 h 5756219"/>
              <a:gd name="connsiteX10053" fmla="*/ 2236580 w 6226010"/>
              <a:gd name="connsiteY10053" fmla="*/ 4174220 h 5756219"/>
              <a:gd name="connsiteX10054" fmla="*/ 2195816 w 6226010"/>
              <a:gd name="connsiteY10054" fmla="*/ 4163349 h 5756219"/>
              <a:gd name="connsiteX10055" fmla="*/ 2195816 w 6226010"/>
              <a:gd name="connsiteY10055" fmla="*/ 4160632 h 5756219"/>
              <a:gd name="connsiteX10056" fmla="*/ 2168640 w 6226010"/>
              <a:gd name="connsiteY10056" fmla="*/ 4157914 h 5756219"/>
              <a:gd name="connsiteX10057" fmla="*/ 2136029 w 6226010"/>
              <a:gd name="connsiteY10057" fmla="*/ 4157914 h 5756219"/>
              <a:gd name="connsiteX10058" fmla="*/ 2111571 w 6226010"/>
              <a:gd name="connsiteY10058" fmla="*/ 4149762 h 5756219"/>
              <a:gd name="connsiteX10059" fmla="*/ 2111571 w 6226010"/>
              <a:gd name="connsiteY10059" fmla="*/ 4147044 h 5756219"/>
              <a:gd name="connsiteX10060" fmla="*/ 2040913 w 6226010"/>
              <a:gd name="connsiteY10060" fmla="*/ 4144326 h 5756219"/>
              <a:gd name="connsiteX10061" fmla="*/ 2030043 w 6226010"/>
              <a:gd name="connsiteY10061" fmla="*/ 4147044 h 5756219"/>
              <a:gd name="connsiteX10062" fmla="*/ 2027325 w 6226010"/>
              <a:gd name="connsiteY10062" fmla="*/ 4149762 h 5756219"/>
              <a:gd name="connsiteX10063" fmla="*/ 2008302 w 6226010"/>
              <a:gd name="connsiteY10063" fmla="*/ 4149762 h 5756219"/>
              <a:gd name="connsiteX10064" fmla="*/ 2000149 w 6226010"/>
              <a:gd name="connsiteY10064" fmla="*/ 4157914 h 5756219"/>
              <a:gd name="connsiteX10065" fmla="*/ 1989279 w 6226010"/>
              <a:gd name="connsiteY10065" fmla="*/ 4157914 h 5756219"/>
              <a:gd name="connsiteX10066" fmla="*/ 1972973 w 6226010"/>
              <a:gd name="connsiteY10066" fmla="*/ 4166067 h 5756219"/>
              <a:gd name="connsiteX10067" fmla="*/ 1940362 w 6226010"/>
              <a:gd name="connsiteY10067" fmla="*/ 4195961 h 5756219"/>
              <a:gd name="connsiteX10068" fmla="*/ 1929492 w 6226010"/>
              <a:gd name="connsiteY10068" fmla="*/ 4195961 h 5756219"/>
              <a:gd name="connsiteX10069" fmla="*/ 1924057 w 6226010"/>
              <a:gd name="connsiteY10069" fmla="*/ 4201396 h 5756219"/>
              <a:gd name="connsiteX10070" fmla="*/ 1913186 w 6226010"/>
              <a:gd name="connsiteY10070" fmla="*/ 4204113 h 5756219"/>
              <a:gd name="connsiteX10071" fmla="*/ 1896881 w 6226010"/>
              <a:gd name="connsiteY10071" fmla="*/ 4220419 h 5756219"/>
              <a:gd name="connsiteX10072" fmla="*/ 1896881 w 6226010"/>
              <a:gd name="connsiteY10072" fmla="*/ 4209548 h 5756219"/>
              <a:gd name="connsiteX10073" fmla="*/ 1926774 w 6226010"/>
              <a:gd name="connsiteY10073" fmla="*/ 4179655 h 5756219"/>
              <a:gd name="connsiteX10074" fmla="*/ 1934927 w 6226010"/>
              <a:gd name="connsiteY10074" fmla="*/ 4166067 h 5756219"/>
              <a:gd name="connsiteX10075" fmla="*/ 1945797 w 6226010"/>
              <a:gd name="connsiteY10075" fmla="*/ 4160632 h 5756219"/>
              <a:gd name="connsiteX10076" fmla="*/ 1953617 w 6226010"/>
              <a:gd name="connsiteY10076" fmla="*/ 4150206 h 5756219"/>
              <a:gd name="connsiteX10077" fmla="*/ 1950214 w 6226010"/>
              <a:gd name="connsiteY10077" fmla="*/ 4127002 h 5756219"/>
              <a:gd name="connsiteX10078" fmla="*/ 1948515 w 6226010"/>
              <a:gd name="connsiteY10078" fmla="*/ 4095410 h 5756219"/>
              <a:gd name="connsiteX10079" fmla="*/ 1948515 w 6226010"/>
              <a:gd name="connsiteY10079" fmla="*/ 4073669 h 5756219"/>
              <a:gd name="connsiteX10080" fmla="*/ 1943547 w 6226010"/>
              <a:gd name="connsiteY10080" fmla="*/ 4026281 h 5756219"/>
              <a:gd name="connsiteX10081" fmla="*/ 1944207 w 6226010"/>
              <a:gd name="connsiteY10081" fmla="*/ 4022643 h 5756219"/>
              <a:gd name="connsiteX10082" fmla="*/ 1937645 w 6226010"/>
              <a:gd name="connsiteY10082" fmla="*/ 4016599 h 5756219"/>
              <a:gd name="connsiteX10083" fmla="*/ 1891445 w 6226010"/>
              <a:gd name="connsiteY10083" fmla="*/ 4005729 h 5756219"/>
              <a:gd name="connsiteX10084" fmla="*/ 1891445 w 6226010"/>
              <a:gd name="connsiteY10084" fmla="*/ 4000294 h 5756219"/>
              <a:gd name="connsiteX10085" fmla="*/ 1940362 w 6226010"/>
              <a:gd name="connsiteY10085" fmla="*/ 3970400 h 5756219"/>
              <a:gd name="connsiteX10086" fmla="*/ 1943080 w 6226010"/>
              <a:gd name="connsiteY10086" fmla="*/ 3948659 h 5756219"/>
              <a:gd name="connsiteX10087" fmla="*/ 1934927 w 6226010"/>
              <a:gd name="connsiteY10087" fmla="*/ 3880719 h 5756219"/>
              <a:gd name="connsiteX10088" fmla="*/ 1924057 w 6226010"/>
              <a:gd name="connsiteY10088" fmla="*/ 3883437 h 5756219"/>
              <a:gd name="connsiteX10089" fmla="*/ 1929492 w 6226010"/>
              <a:gd name="connsiteY10089" fmla="*/ 3907895 h 5756219"/>
              <a:gd name="connsiteX10090" fmla="*/ 1921339 w 6226010"/>
              <a:gd name="connsiteY10090" fmla="*/ 3964965 h 5756219"/>
              <a:gd name="connsiteX10091" fmla="*/ 1913186 w 6226010"/>
              <a:gd name="connsiteY10091" fmla="*/ 3967683 h 5756219"/>
              <a:gd name="connsiteX10092" fmla="*/ 1907400 w 6226010"/>
              <a:gd name="connsiteY10092" fmla="*/ 3972504 h 5756219"/>
              <a:gd name="connsiteX10093" fmla="*/ 1905034 w 6226010"/>
              <a:gd name="connsiteY10093" fmla="*/ 3986705 h 5756219"/>
              <a:gd name="connsiteX10094" fmla="*/ 1896541 w 6226010"/>
              <a:gd name="connsiteY10094" fmla="*/ 3987639 h 5756219"/>
              <a:gd name="connsiteX10095" fmla="*/ 1880890 w 6226010"/>
              <a:gd name="connsiteY10095" fmla="*/ 3989955 h 5756219"/>
              <a:gd name="connsiteX10096" fmla="*/ 1872422 w 6226010"/>
              <a:gd name="connsiteY10096" fmla="*/ 3997576 h 5756219"/>
              <a:gd name="connsiteX10097" fmla="*/ 1866987 w 6226010"/>
              <a:gd name="connsiteY10097" fmla="*/ 3997576 h 5756219"/>
              <a:gd name="connsiteX10098" fmla="*/ 1865607 w 6226010"/>
              <a:gd name="connsiteY10098" fmla="*/ 3992919 h 5756219"/>
              <a:gd name="connsiteX10099" fmla="*/ 1862232 w 6226010"/>
              <a:gd name="connsiteY10099" fmla="*/ 3993584 h 5756219"/>
              <a:gd name="connsiteX10100" fmla="*/ 1850682 w 6226010"/>
              <a:gd name="connsiteY10100" fmla="*/ 3997576 h 5756219"/>
              <a:gd name="connsiteX10101" fmla="*/ 1831659 w 6226010"/>
              <a:gd name="connsiteY10101" fmla="*/ 3997576 h 5756219"/>
              <a:gd name="connsiteX10102" fmla="*/ 1845247 w 6226010"/>
              <a:gd name="connsiteY10102" fmla="*/ 3973117 h 5756219"/>
              <a:gd name="connsiteX10103" fmla="*/ 1837094 w 6226010"/>
              <a:gd name="connsiteY10103" fmla="*/ 3921483 h 5756219"/>
              <a:gd name="connsiteX10104" fmla="*/ 1834376 w 6226010"/>
              <a:gd name="connsiteY10104" fmla="*/ 3918765 h 5756219"/>
              <a:gd name="connsiteX10105" fmla="*/ 1826223 w 6226010"/>
              <a:gd name="connsiteY10105" fmla="*/ 3921483 h 5756219"/>
              <a:gd name="connsiteX10106" fmla="*/ 1831659 w 6226010"/>
              <a:gd name="connsiteY10106" fmla="*/ 3935071 h 5756219"/>
              <a:gd name="connsiteX10107" fmla="*/ 1831659 w 6226010"/>
              <a:gd name="connsiteY10107" fmla="*/ 3967682 h 5756219"/>
              <a:gd name="connsiteX10108" fmla="*/ 1828941 w 6226010"/>
              <a:gd name="connsiteY10108" fmla="*/ 3973117 h 5756219"/>
              <a:gd name="connsiteX10109" fmla="*/ 1818071 w 6226010"/>
              <a:gd name="connsiteY10109" fmla="*/ 3981270 h 5756219"/>
              <a:gd name="connsiteX10110" fmla="*/ 1807200 w 6226010"/>
              <a:gd name="connsiteY10110" fmla="*/ 4013881 h 5756219"/>
              <a:gd name="connsiteX10111" fmla="*/ 1785459 w 6226010"/>
              <a:gd name="connsiteY10111" fmla="*/ 4022034 h 5756219"/>
              <a:gd name="connsiteX10112" fmla="*/ 1753867 w 6226010"/>
              <a:gd name="connsiteY10112" fmla="*/ 4040718 h 5756219"/>
              <a:gd name="connsiteX10113" fmla="*/ 1745141 w 6226010"/>
              <a:gd name="connsiteY10113" fmla="*/ 4049211 h 5756219"/>
              <a:gd name="connsiteX10114" fmla="*/ 1752849 w 6226010"/>
              <a:gd name="connsiteY10114" fmla="*/ 4049211 h 5756219"/>
              <a:gd name="connsiteX10115" fmla="*/ 1761001 w 6226010"/>
              <a:gd name="connsiteY10115" fmla="*/ 4041058 h 5756219"/>
              <a:gd name="connsiteX10116" fmla="*/ 1771872 w 6226010"/>
              <a:gd name="connsiteY10116" fmla="*/ 4041058 h 5756219"/>
              <a:gd name="connsiteX10117" fmla="*/ 1777307 w 6226010"/>
              <a:gd name="connsiteY10117" fmla="*/ 4035623 h 5756219"/>
              <a:gd name="connsiteX10118" fmla="*/ 1788177 w 6226010"/>
              <a:gd name="connsiteY10118" fmla="*/ 4035623 h 5756219"/>
              <a:gd name="connsiteX10119" fmla="*/ 1790895 w 6226010"/>
              <a:gd name="connsiteY10119" fmla="*/ 4030187 h 5756219"/>
              <a:gd name="connsiteX10120" fmla="*/ 1809918 w 6226010"/>
              <a:gd name="connsiteY10120" fmla="*/ 4030187 h 5756219"/>
              <a:gd name="connsiteX10121" fmla="*/ 1823506 w 6226010"/>
              <a:gd name="connsiteY10121" fmla="*/ 4016599 h 5756219"/>
              <a:gd name="connsiteX10122" fmla="*/ 1845247 w 6226010"/>
              <a:gd name="connsiteY10122" fmla="*/ 4013882 h 5756219"/>
              <a:gd name="connsiteX10123" fmla="*/ 1856117 w 6226010"/>
              <a:gd name="connsiteY10123" fmla="*/ 4008447 h 5756219"/>
              <a:gd name="connsiteX10124" fmla="*/ 1880575 w 6226010"/>
              <a:gd name="connsiteY10124" fmla="*/ 4008447 h 5756219"/>
              <a:gd name="connsiteX10125" fmla="*/ 1891446 w 6226010"/>
              <a:gd name="connsiteY10125" fmla="*/ 4011164 h 5756219"/>
              <a:gd name="connsiteX10126" fmla="*/ 1899599 w 6226010"/>
              <a:gd name="connsiteY10126" fmla="*/ 4051928 h 5756219"/>
              <a:gd name="connsiteX10127" fmla="*/ 1913187 w 6226010"/>
              <a:gd name="connsiteY10127" fmla="*/ 4152480 h 5756219"/>
              <a:gd name="connsiteX10128" fmla="*/ 1913187 w 6226010"/>
              <a:gd name="connsiteY10128" fmla="*/ 4176938 h 5756219"/>
              <a:gd name="connsiteX10129" fmla="*/ 1913187 w 6226010"/>
              <a:gd name="connsiteY10129" fmla="*/ 4187809 h 5756219"/>
              <a:gd name="connsiteX10130" fmla="*/ 1910469 w 6226010"/>
              <a:gd name="connsiteY10130" fmla="*/ 4187809 h 5756219"/>
              <a:gd name="connsiteX10131" fmla="*/ 1902316 w 6226010"/>
              <a:gd name="connsiteY10131" fmla="*/ 4195961 h 5756219"/>
              <a:gd name="connsiteX10132" fmla="*/ 1896881 w 6226010"/>
              <a:gd name="connsiteY10132" fmla="*/ 4195961 h 5756219"/>
              <a:gd name="connsiteX10133" fmla="*/ 1894163 w 6226010"/>
              <a:gd name="connsiteY10133" fmla="*/ 4201397 h 5756219"/>
              <a:gd name="connsiteX10134" fmla="*/ 1886011 w 6226010"/>
              <a:gd name="connsiteY10134" fmla="*/ 4204114 h 5756219"/>
              <a:gd name="connsiteX10135" fmla="*/ 1883293 w 6226010"/>
              <a:gd name="connsiteY10135" fmla="*/ 4209549 h 5756219"/>
              <a:gd name="connsiteX10136" fmla="*/ 1872423 w 6226010"/>
              <a:gd name="connsiteY10136" fmla="*/ 4212267 h 5756219"/>
              <a:gd name="connsiteX10137" fmla="*/ 1869705 w 6226010"/>
              <a:gd name="connsiteY10137" fmla="*/ 4217702 h 5756219"/>
              <a:gd name="connsiteX10138" fmla="*/ 1856117 w 6226010"/>
              <a:gd name="connsiteY10138" fmla="*/ 4220420 h 5756219"/>
              <a:gd name="connsiteX10139" fmla="*/ 1842529 w 6226010"/>
              <a:gd name="connsiteY10139" fmla="*/ 4239443 h 5756219"/>
              <a:gd name="connsiteX10140" fmla="*/ 1818071 w 6226010"/>
              <a:gd name="connsiteY10140" fmla="*/ 4280207 h 5756219"/>
              <a:gd name="connsiteX10141" fmla="*/ 1812636 w 6226010"/>
              <a:gd name="connsiteY10141" fmla="*/ 4318253 h 5756219"/>
              <a:gd name="connsiteX10142" fmla="*/ 1807200 w 6226010"/>
              <a:gd name="connsiteY10142" fmla="*/ 4334559 h 5756219"/>
              <a:gd name="connsiteX10143" fmla="*/ 1766437 w 6226010"/>
              <a:gd name="connsiteY10143" fmla="*/ 4318253 h 5756219"/>
              <a:gd name="connsiteX10144" fmla="*/ 1763719 w 6226010"/>
              <a:gd name="connsiteY10144" fmla="*/ 4312818 h 5756219"/>
              <a:gd name="connsiteX10145" fmla="*/ 1736543 w 6226010"/>
              <a:gd name="connsiteY10145" fmla="*/ 4280207 h 5756219"/>
              <a:gd name="connsiteX10146" fmla="*/ 1733825 w 6226010"/>
              <a:gd name="connsiteY10146" fmla="*/ 4263901 h 5756219"/>
              <a:gd name="connsiteX10147" fmla="*/ 1725673 w 6226010"/>
              <a:gd name="connsiteY10147" fmla="*/ 4253031 h 5756219"/>
              <a:gd name="connsiteX10148" fmla="*/ 1725673 w 6226010"/>
              <a:gd name="connsiteY10148" fmla="*/ 4247596 h 5756219"/>
              <a:gd name="connsiteX10149" fmla="*/ 1720237 w 6226010"/>
              <a:gd name="connsiteY10149" fmla="*/ 4244878 h 5756219"/>
              <a:gd name="connsiteX10150" fmla="*/ 1720237 w 6226010"/>
              <a:gd name="connsiteY10150" fmla="*/ 4239443 h 5756219"/>
              <a:gd name="connsiteX10151" fmla="*/ 1714802 w 6226010"/>
              <a:gd name="connsiteY10151" fmla="*/ 4236725 h 5756219"/>
              <a:gd name="connsiteX10152" fmla="*/ 1709367 w 6226010"/>
              <a:gd name="connsiteY10152" fmla="*/ 4225855 h 5756219"/>
              <a:gd name="connsiteX10153" fmla="*/ 1698497 w 6226010"/>
              <a:gd name="connsiteY10153" fmla="*/ 4214985 h 5756219"/>
              <a:gd name="connsiteX10154" fmla="*/ 1698497 w 6226010"/>
              <a:gd name="connsiteY10154" fmla="*/ 4198679 h 5756219"/>
              <a:gd name="connsiteX10155" fmla="*/ 1693061 w 6226010"/>
              <a:gd name="connsiteY10155" fmla="*/ 4190526 h 5756219"/>
              <a:gd name="connsiteX10156" fmla="*/ 1690344 w 6226010"/>
              <a:gd name="connsiteY10156" fmla="*/ 4168786 h 5756219"/>
              <a:gd name="connsiteX10157" fmla="*/ 1676756 w 6226010"/>
              <a:gd name="connsiteY10157" fmla="*/ 4128022 h 5756219"/>
              <a:gd name="connsiteX10158" fmla="*/ 1671321 w 6226010"/>
              <a:gd name="connsiteY10158" fmla="*/ 4106281 h 5756219"/>
              <a:gd name="connsiteX10159" fmla="*/ 1679473 w 6226010"/>
              <a:gd name="connsiteY10159" fmla="*/ 4084540 h 5756219"/>
              <a:gd name="connsiteX10160" fmla="*/ 1687626 w 6226010"/>
              <a:gd name="connsiteY10160" fmla="*/ 4081823 h 5756219"/>
              <a:gd name="connsiteX10161" fmla="*/ 1687626 w 6226010"/>
              <a:gd name="connsiteY10161" fmla="*/ 4079105 h 5756219"/>
              <a:gd name="connsiteX10162" fmla="*/ 1722955 w 6226010"/>
              <a:gd name="connsiteY10162" fmla="*/ 4076388 h 5756219"/>
              <a:gd name="connsiteX10163" fmla="*/ 1733825 w 6226010"/>
              <a:gd name="connsiteY10163" fmla="*/ 4062799 h 5756219"/>
              <a:gd name="connsiteX10164" fmla="*/ 1743131 w 6226010"/>
              <a:gd name="connsiteY10164" fmla="*/ 4051167 h 5756219"/>
              <a:gd name="connsiteX10165" fmla="*/ 1728390 w 6226010"/>
              <a:gd name="connsiteY10165" fmla="*/ 4065515 h 5756219"/>
              <a:gd name="connsiteX10166" fmla="*/ 1714802 w 6226010"/>
              <a:gd name="connsiteY10166" fmla="*/ 4065515 h 5756219"/>
              <a:gd name="connsiteX10167" fmla="*/ 1731108 w 6226010"/>
              <a:gd name="connsiteY10167" fmla="*/ 4038339 h 5756219"/>
              <a:gd name="connsiteX10168" fmla="*/ 1747413 w 6226010"/>
              <a:gd name="connsiteY10168" fmla="*/ 4035622 h 5756219"/>
              <a:gd name="connsiteX10169" fmla="*/ 1766436 w 6226010"/>
              <a:gd name="connsiteY10169" fmla="*/ 3997576 h 5756219"/>
              <a:gd name="connsiteX10170" fmla="*/ 1761001 w 6226010"/>
              <a:gd name="connsiteY10170" fmla="*/ 3973117 h 5756219"/>
              <a:gd name="connsiteX10171" fmla="*/ 1750131 w 6226010"/>
              <a:gd name="connsiteY10171" fmla="*/ 3943224 h 5756219"/>
              <a:gd name="connsiteX10172" fmla="*/ 1747413 w 6226010"/>
              <a:gd name="connsiteY10172" fmla="*/ 3929636 h 5756219"/>
              <a:gd name="connsiteX10173" fmla="*/ 1741978 w 6226010"/>
              <a:gd name="connsiteY10173" fmla="*/ 3929636 h 5756219"/>
              <a:gd name="connsiteX10174" fmla="*/ 1741978 w 6226010"/>
              <a:gd name="connsiteY10174" fmla="*/ 3924201 h 5756219"/>
              <a:gd name="connsiteX10175" fmla="*/ 1736543 w 6226010"/>
              <a:gd name="connsiteY10175" fmla="*/ 3921483 h 5756219"/>
              <a:gd name="connsiteX10176" fmla="*/ 1736543 w 6226010"/>
              <a:gd name="connsiteY10176" fmla="*/ 3918765 h 5756219"/>
              <a:gd name="connsiteX10177" fmla="*/ 1728390 w 6226010"/>
              <a:gd name="connsiteY10177" fmla="*/ 3913330 h 5756219"/>
              <a:gd name="connsiteX10178" fmla="*/ 1720237 w 6226010"/>
              <a:gd name="connsiteY10178" fmla="*/ 3897025 h 5756219"/>
              <a:gd name="connsiteX10179" fmla="*/ 1712084 w 6226010"/>
              <a:gd name="connsiteY10179" fmla="*/ 3886154 h 5756219"/>
              <a:gd name="connsiteX10180" fmla="*/ 1709367 w 6226010"/>
              <a:gd name="connsiteY10180" fmla="*/ 3886154 h 5756219"/>
              <a:gd name="connsiteX10181" fmla="*/ 1709367 w 6226010"/>
              <a:gd name="connsiteY10181" fmla="*/ 3880719 h 5756219"/>
              <a:gd name="connsiteX10182" fmla="*/ 1703932 w 6226010"/>
              <a:gd name="connsiteY10182" fmla="*/ 3878002 h 5756219"/>
              <a:gd name="connsiteX10183" fmla="*/ 1703932 w 6226010"/>
              <a:gd name="connsiteY10183" fmla="*/ 3872566 h 5756219"/>
              <a:gd name="connsiteX10184" fmla="*/ 1693061 w 6226010"/>
              <a:gd name="connsiteY10184" fmla="*/ 3856261 h 5756219"/>
              <a:gd name="connsiteX10185" fmla="*/ 1693061 w 6226010"/>
              <a:gd name="connsiteY10185" fmla="*/ 3842673 h 5756219"/>
              <a:gd name="connsiteX10186" fmla="*/ 1679473 w 6226010"/>
              <a:gd name="connsiteY10186" fmla="*/ 3826367 h 5756219"/>
              <a:gd name="connsiteX10187" fmla="*/ 1674038 w 6226010"/>
              <a:gd name="connsiteY10187" fmla="*/ 3826367 h 5756219"/>
              <a:gd name="connsiteX10188" fmla="*/ 1674038 w 6226010"/>
              <a:gd name="connsiteY10188" fmla="*/ 3820932 h 5756219"/>
              <a:gd name="connsiteX10189" fmla="*/ 1668603 w 6226010"/>
              <a:gd name="connsiteY10189" fmla="*/ 3820932 h 5756219"/>
              <a:gd name="connsiteX10190" fmla="*/ 1668603 w 6226010"/>
              <a:gd name="connsiteY10190" fmla="*/ 3815497 h 5756219"/>
              <a:gd name="connsiteX10191" fmla="*/ 1649580 w 6226010"/>
              <a:gd name="connsiteY10191" fmla="*/ 3804627 h 5756219"/>
              <a:gd name="connsiteX10192" fmla="*/ 1649580 w 6226010"/>
              <a:gd name="connsiteY10192" fmla="*/ 3799191 h 5756219"/>
              <a:gd name="connsiteX10193" fmla="*/ 1663168 w 6226010"/>
              <a:gd name="connsiteY10193" fmla="*/ 3791039 h 5756219"/>
              <a:gd name="connsiteX10194" fmla="*/ 1682191 w 6226010"/>
              <a:gd name="connsiteY10194" fmla="*/ 3788321 h 5756219"/>
              <a:gd name="connsiteX10195" fmla="*/ 1698496 w 6226010"/>
              <a:gd name="connsiteY10195" fmla="*/ 3780168 h 5756219"/>
              <a:gd name="connsiteX10196" fmla="*/ 1736543 w 6226010"/>
              <a:gd name="connsiteY10196" fmla="*/ 3777451 h 5756219"/>
              <a:gd name="connsiteX10197" fmla="*/ 1755566 w 6226010"/>
              <a:gd name="connsiteY10197" fmla="*/ 3793756 h 5756219"/>
              <a:gd name="connsiteX10198" fmla="*/ 1774589 w 6226010"/>
              <a:gd name="connsiteY10198" fmla="*/ 3793756 h 5756219"/>
              <a:gd name="connsiteX10199" fmla="*/ 1826223 w 6226010"/>
              <a:gd name="connsiteY10199" fmla="*/ 3799191 h 5756219"/>
              <a:gd name="connsiteX10200" fmla="*/ 1826223 w 6226010"/>
              <a:gd name="connsiteY10200" fmla="*/ 3801909 h 5756219"/>
              <a:gd name="connsiteX10201" fmla="*/ 1842529 w 6226010"/>
              <a:gd name="connsiteY10201" fmla="*/ 3804627 h 5756219"/>
              <a:gd name="connsiteX10202" fmla="*/ 1850682 w 6226010"/>
              <a:gd name="connsiteY10202" fmla="*/ 3820932 h 5756219"/>
              <a:gd name="connsiteX10203" fmla="*/ 1851832 w 6226010"/>
              <a:gd name="connsiteY10203" fmla="*/ 3821286 h 5756219"/>
              <a:gd name="connsiteX10204" fmla="*/ 1851658 w 6226010"/>
              <a:gd name="connsiteY10204" fmla="*/ 3817111 h 5756219"/>
              <a:gd name="connsiteX10205" fmla="*/ 1855421 w 6226010"/>
              <a:gd name="connsiteY10205" fmla="*/ 3795780 h 5756219"/>
              <a:gd name="connsiteX10206" fmla="*/ 1853399 w 6226010"/>
              <a:gd name="connsiteY10206" fmla="*/ 3793758 h 5756219"/>
              <a:gd name="connsiteX10207" fmla="*/ 1847965 w 6226010"/>
              <a:gd name="connsiteY10207" fmla="*/ 3788323 h 5756219"/>
              <a:gd name="connsiteX10208" fmla="*/ 1826224 w 6226010"/>
              <a:gd name="connsiteY10208" fmla="*/ 3739406 h 5756219"/>
              <a:gd name="connsiteX10209" fmla="*/ 1818071 w 6226010"/>
              <a:gd name="connsiteY10209" fmla="*/ 3736689 h 5756219"/>
              <a:gd name="connsiteX10210" fmla="*/ 1801766 w 6226010"/>
              <a:gd name="connsiteY10210" fmla="*/ 3720383 h 5756219"/>
              <a:gd name="connsiteX10211" fmla="*/ 1796330 w 6226010"/>
              <a:gd name="connsiteY10211" fmla="*/ 3701360 h 5756219"/>
              <a:gd name="connsiteX10212" fmla="*/ 1780025 w 6226010"/>
              <a:gd name="connsiteY10212" fmla="*/ 3657878 h 5756219"/>
              <a:gd name="connsiteX10213" fmla="*/ 1782742 w 6226010"/>
              <a:gd name="connsiteY10213" fmla="*/ 3641573 h 5756219"/>
              <a:gd name="connsiteX10214" fmla="*/ 1782742 w 6226010"/>
              <a:gd name="connsiteY10214" fmla="*/ 3600809 h 5756219"/>
              <a:gd name="connsiteX10215" fmla="*/ 1788178 w 6226010"/>
              <a:gd name="connsiteY10215" fmla="*/ 3570914 h 5756219"/>
              <a:gd name="connsiteX10216" fmla="*/ 1782742 w 6226010"/>
              <a:gd name="connsiteY10216" fmla="*/ 3562761 h 5756219"/>
              <a:gd name="connsiteX10217" fmla="*/ 1780025 w 6226010"/>
              <a:gd name="connsiteY10217" fmla="*/ 3543738 h 5756219"/>
              <a:gd name="connsiteX10218" fmla="*/ 1766437 w 6226010"/>
              <a:gd name="connsiteY10218" fmla="*/ 3508410 h 5756219"/>
              <a:gd name="connsiteX10219" fmla="*/ 1763719 w 6226010"/>
              <a:gd name="connsiteY10219" fmla="*/ 3508410 h 5756219"/>
              <a:gd name="connsiteX10220" fmla="*/ 1758284 w 6226010"/>
              <a:gd name="connsiteY10220" fmla="*/ 3508410 h 5756219"/>
              <a:gd name="connsiteX10221" fmla="*/ 1769154 w 6226010"/>
              <a:gd name="connsiteY10221" fmla="*/ 3543738 h 5756219"/>
              <a:gd name="connsiteX10222" fmla="*/ 1774590 w 6226010"/>
              <a:gd name="connsiteY10222" fmla="*/ 3570914 h 5756219"/>
              <a:gd name="connsiteX10223" fmla="*/ 1780025 w 6226010"/>
              <a:gd name="connsiteY10223" fmla="*/ 3579068 h 5756219"/>
              <a:gd name="connsiteX10224" fmla="*/ 1777307 w 6226010"/>
              <a:gd name="connsiteY10224" fmla="*/ 3598091 h 5756219"/>
              <a:gd name="connsiteX10225" fmla="*/ 1774590 w 6226010"/>
              <a:gd name="connsiteY10225" fmla="*/ 3644290 h 5756219"/>
              <a:gd name="connsiteX10226" fmla="*/ 1771872 w 6226010"/>
              <a:gd name="connsiteY10226" fmla="*/ 3644290 h 5756219"/>
              <a:gd name="connsiteX10227" fmla="*/ 1750131 w 6226010"/>
              <a:gd name="connsiteY10227" fmla="*/ 3619832 h 5756219"/>
              <a:gd name="connsiteX10228" fmla="*/ 1741978 w 6226010"/>
              <a:gd name="connsiteY10228" fmla="*/ 3617114 h 5756219"/>
              <a:gd name="connsiteX10229" fmla="*/ 1725673 w 6226010"/>
              <a:gd name="connsiteY10229" fmla="*/ 3608961 h 5756219"/>
              <a:gd name="connsiteX10230" fmla="*/ 1717520 w 6226010"/>
              <a:gd name="connsiteY10230" fmla="*/ 3592656 h 5756219"/>
              <a:gd name="connsiteX10231" fmla="*/ 1717520 w 6226010"/>
              <a:gd name="connsiteY10231" fmla="*/ 3587221 h 5756219"/>
              <a:gd name="connsiteX10232" fmla="*/ 1712085 w 6226010"/>
              <a:gd name="connsiteY10232" fmla="*/ 3581785 h 5756219"/>
              <a:gd name="connsiteX10233" fmla="*/ 1712085 w 6226010"/>
              <a:gd name="connsiteY10233" fmla="*/ 3546456 h 5756219"/>
              <a:gd name="connsiteX10234" fmla="*/ 1712085 w 6226010"/>
              <a:gd name="connsiteY10234" fmla="*/ 3541021 h 5756219"/>
              <a:gd name="connsiteX10235" fmla="*/ 1709367 w 6226010"/>
              <a:gd name="connsiteY10235" fmla="*/ 3541021 h 5756219"/>
              <a:gd name="connsiteX10236" fmla="*/ 1701214 w 6226010"/>
              <a:gd name="connsiteY10236" fmla="*/ 3541021 h 5756219"/>
              <a:gd name="connsiteX10237" fmla="*/ 1701214 w 6226010"/>
              <a:gd name="connsiteY10237" fmla="*/ 3592656 h 5756219"/>
              <a:gd name="connsiteX10238" fmla="*/ 1709367 w 6226010"/>
              <a:gd name="connsiteY10238" fmla="*/ 3595373 h 5756219"/>
              <a:gd name="connsiteX10239" fmla="*/ 1712085 w 6226010"/>
              <a:gd name="connsiteY10239" fmla="*/ 3608961 h 5756219"/>
              <a:gd name="connsiteX10240" fmla="*/ 1717520 w 6226010"/>
              <a:gd name="connsiteY10240" fmla="*/ 3611679 h 5756219"/>
              <a:gd name="connsiteX10241" fmla="*/ 1717520 w 6226010"/>
              <a:gd name="connsiteY10241" fmla="*/ 3617114 h 5756219"/>
              <a:gd name="connsiteX10242" fmla="*/ 1720238 w 6226010"/>
              <a:gd name="connsiteY10242" fmla="*/ 3617114 h 5756219"/>
              <a:gd name="connsiteX10243" fmla="*/ 1725673 w 6226010"/>
              <a:gd name="connsiteY10243" fmla="*/ 3625267 h 5756219"/>
              <a:gd name="connsiteX10244" fmla="*/ 1739261 w 6226010"/>
              <a:gd name="connsiteY10244" fmla="*/ 3625267 h 5756219"/>
              <a:gd name="connsiteX10245" fmla="*/ 1769154 w 6226010"/>
              <a:gd name="connsiteY10245" fmla="*/ 3660596 h 5756219"/>
              <a:gd name="connsiteX10246" fmla="*/ 1769154 w 6226010"/>
              <a:gd name="connsiteY10246" fmla="*/ 3668749 h 5756219"/>
              <a:gd name="connsiteX10247" fmla="*/ 1777307 w 6226010"/>
              <a:gd name="connsiteY10247" fmla="*/ 3676901 h 5756219"/>
              <a:gd name="connsiteX10248" fmla="*/ 1780025 w 6226010"/>
              <a:gd name="connsiteY10248" fmla="*/ 3690489 h 5756219"/>
              <a:gd name="connsiteX10249" fmla="*/ 1790895 w 6226010"/>
              <a:gd name="connsiteY10249" fmla="*/ 3706795 h 5756219"/>
              <a:gd name="connsiteX10250" fmla="*/ 1790895 w 6226010"/>
              <a:gd name="connsiteY10250" fmla="*/ 3720383 h 5756219"/>
              <a:gd name="connsiteX10251" fmla="*/ 1807201 w 6226010"/>
              <a:gd name="connsiteY10251" fmla="*/ 3736689 h 5756219"/>
              <a:gd name="connsiteX10252" fmla="*/ 1807201 w 6226010"/>
              <a:gd name="connsiteY10252" fmla="*/ 3739406 h 5756219"/>
              <a:gd name="connsiteX10253" fmla="*/ 1812636 w 6226010"/>
              <a:gd name="connsiteY10253" fmla="*/ 3742124 h 5756219"/>
              <a:gd name="connsiteX10254" fmla="*/ 1823506 w 6226010"/>
              <a:gd name="connsiteY10254" fmla="*/ 3758429 h 5756219"/>
              <a:gd name="connsiteX10255" fmla="*/ 1823506 w 6226010"/>
              <a:gd name="connsiteY10255" fmla="*/ 3763865 h 5756219"/>
              <a:gd name="connsiteX10256" fmla="*/ 1823506 w 6226010"/>
              <a:gd name="connsiteY10256" fmla="*/ 3769300 h 5756219"/>
              <a:gd name="connsiteX10257" fmla="*/ 1752849 w 6226010"/>
              <a:gd name="connsiteY10257" fmla="*/ 3752994 h 5756219"/>
              <a:gd name="connsiteX10258" fmla="*/ 1706650 w 6226010"/>
              <a:gd name="connsiteY10258" fmla="*/ 3752994 h 5756219"/>
              <a:gd name="connsiteX10259" fmla="*/ 1703932 w 6226010"/>
              <a:gd name="connsiteY10259" fmla="*/ 3747559 h 5756219"/>
              <a:gd name="connsiteX10260" fmla="*/ 1690344 w 6226010"/>
              <a:gd name="connsiteY10260" fmla="*/ 3742124 h 5756219"/>
              <a:gd name="connsiteX10261" fmla="*/ 1676756 w 6226010"/>
              <a:gd name="connsiteY10261" fmla="*/ 3723101 h 5756219"/>
              <a:gd name="connsiteX10262" fmla="*/ 1684909 w 6226010"/>
              <a:gd name="connsiteY10262" fmla="*/ 3701360 h 5756219"/>
              <a:gd name="connsiteX10263" fmla="*/ 1684909 w 6226010"/>
              <a:gd name="connsiteY10263" fmla="*/ 3655161 h 5756219"/>
              <a:gd name="connsiteX10264" fmla="*/ 1684909 w 6226010"/>
              <a:gd name="connsiteY10264" fmla="*/ 3636137 h 5756219"/>
              <a:gd name="connsiteX10265" fmla="*/ 1684909 w 6226010"/>
              <a:gd name="connsiteY10265" fmla="*/ 3627985 h 5756219"/>
              <a:gd name="connsiteX10266" fmla="*/ 1679474 w 6226010"/>
              <a:gd name="connsiteY10266" fmla="*/ 3627985 h 5756219"/>
              <a:gd name="connsiteX10267" fmla="*/ 1674039 w 6226010"/>
              <a:gd name="connsiteY10267" fmla="*/ 3698642 h 5756219"/>
              <a:gd name="connsiteX10268" fmla="*/ 1665886 w 6226010"/>
              <a:gd name="connsiteY10268" fmla="*/ 3698642 h 5756219"/>
              <a:gd name="connsiteX10269" fmla="*/ 1655015 w 6226010"/>
              <a:gd name="connsiteY10269" fmla="*/ 3676901 h 5756219"/>
              <a:gd name="connsiteX10270" fmla="*/ 1655015 w 6226010"/>
              <a:gd name="connsiteY10270" fmla="*/ 3636137 h 5756219"/>
              <a:gd name="connsiteX10271" fmla="*/ 1655015 w 6226010"/>
              <a:gd name="connsiteY10271" fmla="*/ 3617114 h 5756219"/>
              <a:gd name="connsiteX10272" fmla="*/ 1652298 w 6226010"/>
              <a:gd name="connsiteY10272" fmla="*/ 3608961 h 5756219"/>
              <a:gd name="connsiteX10273" fmla="*/ 1649580 w 6226010"/>
              <a:gd name="connsiteY10273" fmla="*/ 3608961 h 5756219"/>
              <a:gd name="connsiteX10274" fmla="*/ 1646863 w 6226010"/>
              <a:gd name="connsiteY10274" fmla="*/ 3608961 h 5756219"/>
              <a:gd name="connsiteX10275" fmla="*/ 1646863 w 6226010"/>
              <a:gd name="connsiteY10275" fmla="*/ 3663313 h 5756219"/>
              <a:gd name="connsiteX10276" fmla="*/ 1646863 w 6226010"/>
              <a:gd name="connsiteY10276" fmla="*/ 3682337 h 5756219"/>
              <a:gd name="connsiteX10277" fmla="*/ 1655015 w 6226010"/>
              <a:gd name="connsiteY10277" fmla="*/ 3693207 h 5756219"/>
              <a:gd name="connsiteX10278" fmla="*/ 1660451 w 6226010"/>
              <a:gd name="connsiteY10278" fmla="*/ 3706795 h 5756219"/>
              <a:gd name="connsiteX10279" fmla="*/ 1641427 w 6226010"/>
              <a:gd name="connsiteY10279" fmla="*/ 3668749 h 5756219"/>
              <a:gd name="connsiteX10280" fmla="*/ 1630557 w 6226010"/>
              <a:gd name="connsiteY10280" fmla="*/ 3687772 h 5756219"/>
              <a:gd name="connsiteX10281" fmla="*/ 1606099 w 6226010"/>
              <a:gd name="connsiteY10281" fmla="*/ 3679619 h 5756219"/>
              <a:gd name="connsiteX10282" fmla="*/ 1597946 w 6226010"/>
              <a:gd name="connsiteY10282" fmla="*/ 3663313 h 5756219"/>
              <a:gd name="connsiteX10283" fmla="*/ 1587076 w 6226010"/>
              <a:gd name="connsiteY10283" fmla="*/ 3655161 h 5756219"/>
              <a:gd name="connsiteX10284" fmla="*/ 1587076 w 6226010"/>
              <a:gd name="connsiteY10284" fmla="*/ 3625267 h 5756219"/>
              <a:gd name="connsiteX10285" fmla="*/ 1587076 w 6226010"/>
              <a:gd name="connsiteY10285" fmla="*/ 3608961 h 5756219"/>
              <a:gd name="connsiteX10286" fmla="*/ 1619687 w 6226010"/>
              <a:gd name="connsiteY10286" fmla="*/ 3587221 h 5756219"/>
              <a:gd name="connsiteX10287" fmla="*/ 1630557 w 6226010"/>
              <a:gd name="connsiteY10287" fmla="*/ 3568196 h 5756219"/>
              <a:gd name="connsiteX10288" fmla="*/ 1635992 w 6226010"/>
              <a:gd name="connsiteY10288" fmla="*/ 3562761 h 5756219"/>
              <a:gd name="connsiteX10289" fmla="*/ 1638710 w 6226010"/>
              <a:gd name="connsiteY10289" fmla="*/ 3549173 h 5756219"/>
              <a:gd name="connsiteX10290" fmla="*/ 1644145 w 6226010"/>
              <a:gd name="connsiteY10290" fmla="*/ 3543738 h 5756219"/>
              <a:gd name="connsiteX10291" fmla="*/ 1652298 w 6226010"/>
              <a:gd name="connsiteY10291" fmla="*/ 3494822 h 5756219"/>
              <a:gd name="connsiteX10292" fmla="*/ 1674039 w 6226010"/>
              <a:gd name="connsiteY10292" fmla="*/ 3486669 h 5756219"/>
              <a:gd name="connsiteX10293" fmla="*/ 1690344 w 6226010"/>
              <a:gd name="connsiteY10293" fmla="*/ 3492104 h 5756219"/>
              <a:gd name="connsiteX10294" fmla="*/ 1706650 w 6226010"/>
              <a:gd name="connsiteY10294" fmla="*/ 3486669 h 5756219"/>
              <a:gd name="connsiteX10295" fmla="*/ 1741978 w 6226010"/>
              <a:gd name="connsiteY10295" fmla="*/ 3483951 h 5756219"/>
              <a:gd name="connsiteX10296" fmla="*/ 1766437 w 6226010"/>
              <a:gd name="connsiteY10296" fmla="*/ 3481234 h 5756219"/>
              <a:gd name="connsiteX10297" fmla="*/ 1780025 w 6226010"/>
              <a:gd name="connsiteY10297" fmla="*/ 3486669 h 5756219"/>
              <a:gd name="connsiteX10298" fmla="*/ 1804483 w 6226010"/>
              <a:gd name="connsiteY10298" fmla="*/ 3486669 h 5756219"/>
              <a:gd name="connsiteX10299" fmla="*/ 1820789 w 6226010"/>
              <a:gd name="connsiteY10299" fmla="*/ 3505692 h 5756219"/>
              <a:gd name="connsiteX10300" fmla="*/ 1828942 w 6226010"/>
              <a:gd name="connsiteY10300" fmla="*/ 3516562 h 5756219"/>
              <a:gd name="connsiteX10301" fmla="*/ 1828942 w 6226010"/>
              <a:gd name="connsiteY10301" fmla="*/ 3530150 h 5756219"/>
              <a:gd name="connsiteX10302" fmla="*/ 1839812 w 6226010"/>
              <a:gd name="connsiteY10302" fmla="*/ 3546456 h 5756219"/>
              <a:gd name="connsiteX10303" fmla="*/ 1839812 w 6226010"/>
              <a:gd name="connsiteY10303" fmla="*/ 3560044 h 5756219"/>
              <a:gd name="connsiteX10304" fmla="*/ 1847965 w 6226010"/>
              <a:gd name="connsiteY10304" fmla="*/ 3589938 h 5756219"/>
              <a:gd name="connsiteX10305" fmla="*/ 1872423 w 6226010"/>
              <a:gd name="connsiteY10305" fmla="*/ 3598091 h 5756219"/>
              <a:gd name="connsiteX10306" fmla="*/ 1886011 w 6226010"/>
              <a:gd name="connsiteY10306" fmla="*/ 3619832 h 5756219"/>
              <a:gd name="connsiteX10307" fmla="*/ 1894164 w 6226010"/>
              <a:gd name="connsiteY10307" fmla="*/ 3622549 h 5756219"/>
              <a:gd name="connsiteX10308" fmla="*/ 1894164 w 6226010"/>
              <a:gd name="connsiteY10308" fmla="*/ 3627985 h 5756219"/>
              <a:gd name="connsiteX10309" fmla="*/ 1902316 w 6226010"/>
              <a:gd name="connsiteY10309" fmla="*/ 3630702 h 5756219"/>
              <a:gd name="connsiteX10310" fmla="*/ 1905034 w 6226010"/>
              <a:gd name="connsiteY10310" fmla="*/ 3636137 h 5756219"/>
              <a:gd name="connsiteX10311" fmla="*/ 1913187 w 6226010"/>
              <a:gd name="connsiteY10311" fmla="*/ 3636137 h 5756219"/>
              <a:gd name="connsiteX10312" fmla="*/ 1913187 w 6226010"/>
              <a:gd name="connsiteY10312" fmla="*/ 3641573 h 5756219"/>
              <a:gd name="connsiteX10313" fmla="*/ 1921340 w 6226010"/>
              <a:gd name="connsiteY10313" fmla="*/ 3644290 h 5756219"/>
              <a:gd name="connsiteX10314" fmla="*/ 1921340 w 6226010"/>
              <a:gd name="connsiteY10314" fmla="*/ 3649725 h 5756219"/>
              <a:gd name="connsiteX10315" fmla="*/ 1937645 w 6226010"/>
              <a:gd name="connsiteY10315" fmla="*/ 3649725 h 5756219"/>
              <a:gd name="connsiteX10316" fmla="*/ 1940363 w 6226010"/>
              <a:gd name="connsiteY10316" fmla="*/ 3655161 h 5756219"/>
              <a:gd name="connsiteX10317" fmla="*/ 1945798 w 6226010"/>
              <a:gd name="connsiteY10317" fmla="*/ 3657878 h 5756219"/>
              <a:gd name="connsiteX10318" fmla="*/ 1947368 w 6226010"/>
              <a:gd name="connsiteY10318" fmla="*/ 3661804 h 5756219"/>
              <a:gd name="connsiteX10319" fmla="*/ 1956668 w 6226010"/>
              <a:gd name="connsiteY10319" fmla="*/ 3657877 h 5756219"/>
              <a:gd name="connsiteX10320" fmla="*/ 1943080 w 6226010"/>
              <a:gd name="connsiteY10320" fmla="*/ 3636136 h 5756219"/>
              <a:gd name="connsiteX10321" fmla="*/ 1926774 w 6226010"/>
              <a:gd name="connsiteY10321" fmla="*/ 3627984 h 5756219"/>
              <a:gd name="connsiteX10322" fmla="*/ 1915904 w 6226010"/>
              <a:gd name="connsiteY10322" fmla="*/ 3627984 h 5756219"/>
              <a:gd name="connsiteX10323" fmla="*/ 1910468 w 6226010"/>
              <a:gd name="connsiteY10323" fmla="*/ 3622548 h 5756219"/>
              <a:gd name="connsiteX10324" fmla="*/ 1905033 w 6226010"/>
              <a:gd name="connsiteY10324" fmla="*/ 3622548 h 5756219"/>
              <a:gd name="connsiteX10325" fmla="*/ 1905033 w 6226010"/>
              <a:gd name="connsiteY10325" fmla="*/ 3617113 h 5756219"/>
              <a:gd name="connsiteX10326" fmla="*/ 1896881 w 6226010"/>
              <a:gd name="connsiteY10326" fmla="*/ 3614396 h 5756219"/>
              <a:gd name="connsiteX10327" fmla="*/ 1896881 w 6226010"/>
              <a:gd name="connsiteY10327" fmla="*/ 3608960 h 5756219"/>
              <a:gd name="connsiteX10328" fmla="*/ 1888728 w 6226010"/>
              <a:gd name="connsiteY10328" fmla="*/ 3606243 h 5756219"/>
              <a:gd name="connsiteX10329" fmla="*/ 1872422 w 6226010"/>
              <a:gd name="connsiteY10329" fmla="*/ 3581784 h 5756219"/>
              <a:gd name="connsiteX10330" fmla="*/ 1853399 w 6226010"/>
              <a:gd name="connsiteY10330" fmla="*/ 3570914 h 5756219"/>
              <a:gd name="connsiteX10331" fmla="*/ 1847964 w 6226010"/>
              <a:gd name="connsiteY10331" fmla="*/ 3543738 h 5756219"/>
              <a:gd name="connsiteX10332" fmla="*/ 1837093 w 6226010"/>
              <a:gd name="connsiteY10332" fmla="*/ 3527432 h 5756219"/>
              <a:gd name="connsiteX10333" fmla="*/ 1828941 w 6226010"/>
              <a:gd name="connsiteY10333" fmla="*/ 3500256 h 5756219"/>
              <a:gd name="connsiteX10334" fmla="*/ 1820788 w 6226010"/>
              <a:gd name="connsiteY10334" fmla="*/ 3489386 h 5756219"/>
              <a:gd name="connsiteX10335" fmla="*/ 1818070 w 6226010"/>
              <a:gd name="connsiteY10335" fmla="*/ 3475798 h 5756219"/>
              <a:gd name="connsiteX10336" fmla="*/ 1796329 w 6226010"/>
              <a:gd name="connsiteY10336" fmla="*/ 3459493 h 5756219"/>
              <a:gd name="connsiteX10337" fmla="*/ 1780024 w 6226010"/>
              <a:gd name="connsiteY10337" fmla="*/ 3459493 h 5756219"/>
              <a:gd name="connsiteX10338" fmla="*/ 1777306 w 6226010"/>
              <a:gd name="connsiteY10338" fmla="*/ 3454057 h 5756219"/>
              <a:gd name="connsiteX10339" fmla="*/ 1761001 w 6226010"/>
              <a:gd name="connsiteY10339" fmla="*/ 3445905 h 5756219"/>
              <a:gd name="connsiteX10340" fmla="*/ 1761001 w 6226010"/>
              <a:gd name="connsiteY10340" fmla="*/ 3443187 h 5756219"/>
              <a:gd name="connsiteX10341" fmla="*/ 1752848 w 6226010"/>
              <a:gd name="connsiteY10341" fmla="*/ 3440469 h 5756219"/>
              <a:gd name="connsiteX10342" fmla="*/ 1747413 w 6226010"/>
              <a:gd name="connsiteY10342" fmla="*/ 3432317 h 5756219"/>
              <a:gd name="connsiteX10343" fmla="*/ 1733825 w 6226010"/>
              <a:gd name="connsiteY10343" fmla="*/ 3380683 h 5756219"/>
              <a:gd name="connsiteX10344" fmla="*/ 1744695 w 6226010"/>
              <a:gd name="connsiteY10344" fmla="*/ 3356224 h 5756219"/>
              <a:gd name="connsiteX10345" fmla="*/ 1755565 w 6226010"/>
              <a:gd name="connsiteY10345" fmla="*/ 3331766 h 5756219"/>
              <a:gd name="connsiteX10346" fmla="*/ 1771871 w 6226010"/>
              <a:gd name="connsiteY10346" fmla="*/ 3304590 h 5756219"/>
              <a:gd name="connsiteX10347" fmla="*/ 1771871 w 6226010"/>
              <a:gd name="connsiteY10347" fmla="*/ 3282849 h 5756219"/>
              <a:gd name="connsiteX10348" fmla="*/ 1809917 w 6226010"/>
              <a:gd name="connsiteY10348" fmla="*/ 3201321 h 5756219"/>
              <a:gd name="connsiteX10349" fmla="*/ 1856117 w 6226010"/>
              <a:gd name="connsiteY10349" fmla="*/ 3176863 h 5756219"/>
              <a:gd name="connsiteX10350" fmla="*/ 1861552 w 6226010"/>
              <a:gd name="connsiteY10350" fmla="*/ 3168710 h 5756219"/>
              <a:gd name="connsiteX10351" fmla="*/ 1869705 w 6226010"/>
              <a:gd name="connsiteY10351" fmla="*/ 3168710 h 5756219"/>
              <a:gd name="connsiteX10352" fmla="*/ 1872422 w 6226010"/>
              <a:gd name="connsiteY10352" fmla="*/ 3163275 h 5756219"/>
              <a:gd name="connsiteX10353" fmla="*/ 1886010 w 6226010"/>
              <a:gd name="connsiteY10353" fmla="*/ 3160558 h 5756219"/>
              <a:gd name="connsiteX10354" fmla="*/ 1899598 w 6226010"/>
              <a:gd name="connsiteY10354" fmla="*/ 3138817 h 5756219"/>
              <a:gd name="connsiteX10355" fmla="*/ 1905033 w 6226010"/>
              <a:gd name="connsiteY10355" fmla="*/ 3193169 h 5756219"/>
              <a:gd name="connsiteX10356" fmla="*/ 1924056 w 6226010"/>
              <a:gd name="connsiteY10356" fmla="*/ 3206757 h 5756219"/>
              <a:gd name="connsiteX10357" fmla="*/ 1929492 w 6226010"/>
              <a:gd name="connsiteY10357" fmla="*/ 3220345 h 5756219"/>
              <a:gd name="connsiteX10358" fmla="*/ 1937644 w 6226010"/>
              <a:gd name="connsiteY10358" fmla="*/ 3220345 h 5756219"/>
              <a:gd name="connsiteX10359" fmla="*/ 1943080 w 6226010"/>
              <a:gd name="connsiteY10359" fmla="*/ 3225780 h 5756219"/>
              <a:gd name="connsiteX10360" fmla="*/ 1951232 w 6226010"/>
              <a:gd name="connsiteY10360" fmla="*/ 3228497 h 5756219"/>
              <a:gd name="connsiteX10361" fmla="*/ 1951232 w 6226010"/>
              <a:gd name="connsiteY10361" fmla="*/ 3233932 h 5756219"/>
              <a:gd name="connsiteX10362" fmla="*/ 1953950 w 6226010"/>
              <a:gd name="connsiteY10362" fmla="*/ 3233932 h 5756219"/>
              <a:gd name="connsiteX10363" fmla="*/ 1956668 w 6226010"/>
              <a:gd name="connsiteY10363" fmla="*/ 3258391 h 5756219"/>
              <a:gd name="connsiteX10364" fmla="*/ 1962103 w 6226010"/>
              <a:gd name="connsiteY10364" fmla="*/ 3266544 h 5756219"/>
              <a:gd name="connsiteX10365" fmla="*/ 1962103 w 6226010"/>
              <a:gd name="connsiteY10365" fmla="*/ 3271979 h 5756219"/>
              <a:gd name="connsiteX10366" fmla="*/ 1967538 w 6226010"/>
              <a:gd name="connsiteY10366" fmla="*/ 3274696 h 5756219"/>
              <a:gd name="connsiteX10367" fmla="*/ 1967538 w 6226010"/>
              <a:gd name="connsiteY10367" fmla="*/ 3280132 h 5756219"/>
              <a:gd name="connsiteX10368" fmla="*/ 1970255 w 6226010"/>
              <a:gd name="connsiteY10368" fmla="*/ 3291002 h 5756219"/>
              <a:gd name="connsiteX10369" fmla="*/ 1978408 w 6226010"/>
              <a:gd name="connsiteY10369" fmla="*/ 3299155 h 5756219"/>
              <a:gd name="connsiteX10370" fmla="*/ 1978408 w 6226010"/>
              <a:gd name="connsiteY10370" fmla="*/ 3304590 h 5756219"/>
              <a:gd name="connsiteX10371" fmla="*/ 1981126 w 6226010"/>
              <a:gd name="connsiteY10371" fmla="*/ 3304590 h 5756219"/>
              <a:gd name="connsiteX10372" fmla="*/ 1983843 w 6226010"/>
              <a:gd name="connsiteY10372" fmla="*/ 3318178 h 5756219"/>
              <a:gd name="connsiteX10373" fmla="*/ 2016454 w 6226010"/>
              <a:gd name="connsiteY10373" fmla="*/ 3329048 h 5756219"/>
              <a:gd name="connsiteX10374" fmla="*/ 2030042 w 6226010"/>
              <a:gd name="connsiteY10374" fmla="*/ 3329048 h 5756219"/>
              <a:gd name="connsiteX10375" fmla="*/ 2073524 w 6226010"/>
              <a:gd name="connsiteY10375" fmla="*/ 3350789 h 5756219"/>
              <a:gd name="connsiteX10376" fmla="*/ 2078959 w 6226010"/>
              <a:gd name="connsiteY10376" fmla="*/ 3358942 h 5756219"/>
              <a:gd name="connsiteX10377" fmla="*/ 2078027 w 6226010"/>
              <a:gd name="connsiteY10377" fmla="*/ 3367328 h 5756219"/>
              <a:gd name="connsiteX10378" fmla="*/ 2078960 w 6226010"/>
              <a:gd name="connsiteY10378" fmla="*/ 3367095 h 5756219"/>
              <a:gd name="connsiteX10379" fmla="*/ 2081677 w 6226010"/>
              <a:gd name="connsiteY10379" fmla="*/ 3361659 h 5756219"/>
              <a:gd name="connsiteX10380" fmla="*/ 2089830 w 6226010"/>
              <a:gd name="connsiteY10380" fmla="*/ 3357583 h 5756219"/>
              <a:gd name="connsiteX10381" fmla="*/ 2096064 w 6226010"/>
              <a:gd name="connsiteY10381" fmla="*/ 3354466 h 5756219"/>
              <a:gd name="connsiteX10382" fmla="*/ 2096284 w 6226010"/>
              <a:gd name="connsiteY10382" fmla="*/ 3352487 h 5756219"/>
              <a:gd name="connsiteX10383" fmla="*/ 2095265 w 6226010"/>
              <a:gd name="connsiteY10383" fmla="*/ 3345353 h 5756219"/>
              <a:gd name="connsiteX10384" fmla="*/ 2097982 w 6226010"/>
              <a:gd name="connsiteY10384" fmla="*/ 3320895 h 5756219"/>
              <a:gd name="connsiteX10385" fmla="*/ 2103418 w 6226010"/>
              <a:gd name="connsiteY10385" fmla="*/ 3274696 h 5756219"/>
              <a:gd name="connsiteX10386" fmla="*/ 2095265 w 6226010"/>
              <a:gd name="connsiteY10386" fmla="*/ 3244802 h 5756219"/>
              <a:gd name="connsiteX10387" fmla="*/ 2097982 w 6226010"/>
              <a:gd name="connsiteY10387" fmla="*/ 3179580 h 5756219"/>
              <a:gd name="connsiteX10388" fmla="*/ 2097982 w 6226010"/>
              <a:gd name="connsiteY10388" fmla="*/ 3163275 h 5756219"/>
              <a:gd name="connsiteX10389" fmla="*/ 2100700 w 6226010"/>
              <a:gd name="connsiteY10389" fmla="*/ 3146969 h 5756219"/>
              <a:gd name="connsiteX10390" fmla="*/ 2097982 w 6226010"/>
              <a:gd name="connsiteY10390" fmla="*/ 3141534 h 5756219"/>
              <a:gd name="connsiteX10391" fmla="*/ 2100700 w 6226010"/>
              <a:gd name="connsiteY10391" fmla="*/ 3122511 h 5756219"/>
              <a:gd name="connsiteX10392" fmla="*/ 2103418 w 6226010"/>
              <a:gd name="connsiteY10392" fmla="*/ 3122511 h 5756219"/>
              <a:gd name="connsiteX10393" fmla="*/ 2119723 w 6226010"/>
              <a:gd name="connsiteY10393" fmla="*/ 3149687 h 5756219"/>
              <a:gd name="connsiteX10394" fmla="*/ 2119723 w 6226010"/>
              <a:gd name="connsiteY10394" fmla="*/ 3152404 h 5756219"/>
              <a:gd name="connsiteX10395" fmla="*/ 2136029 w 6226010"/>
              <a:gd name="connsiteY10395" fmla="*/ 3155122 h 5756219"/>
              <a:gd name="connsiteX10396" fmla="*/ 2146899 w 6226010"/>
              <a:gd name="connsiteY10396" fmla="*/ 3163275 h 5756219"/>
              <a:gd name="connsiteX10397" fmla="*/ 2141464 w 6226010"/>
              <a:gd name="connsiteY10397" fmla="*/ 3204039 h 5756219"/>
              <a:gd name="connsiteX10398" fmla="*/ 2146899 w 6226010"/>
              <a:gd name="connsiteY10398" fmla="*/ 3242085 h 5756219"/>
              <a:gd name="connsiteX10399" fmla="*/ 2130594 w 6226010"/>
              <a:gd name="connsiteY10399" fmla="*/ 3285566 h 5756219"/>
              <a:gd name="connsiteX10400" fmla="*/ 2135689 w 6226010"/>
              <a:gd name="connsiteY10400" fmla="*/ 3291001 h 5756219"/>
              <a:gd name="connsiteX10401" fmla="*/ 2137409 w 6226010"/>
              <a:gd name="connsiteY10401" fmla="*/ 3294059 h 5756219"/>
              <a:gd name="connsiteX10402" fmla="*/ 2137727 w 6226010"/>
              <a:gd name="connsiteY10402" fmla="*/ 3291002 h 5756219"/>
              <a:gd name="connsiteX10403" fmla="*/ 2141464 w 6226010"/>
              <a:gd name="connsiteY10403" fmla="*/ 3274696 h 5756219"/>
              <a:gd name="connsiteX10404" fmla="*/ 2159808 w 6226010"/>
              <a:gd name="connsiteY10404" fmla="*/ 3235631 h 5756219"/>
              <a:gd name="connsiteX10405" fmla="*/ 2165745 w 6226010"/>
              <a:gd name="connsiteY10405" fmla="*/ 3216828 h 5756219"/>
              <a:gd name="connsiteX10406" fmla="*/ 2162823 w 6226010"/>
              <a:gd name="connsiteY10406" fmla="*/ 3210535 h 5756219"/>
              <a:gd name="connsiteX10407" fmla="*/ 2163205 w 6226010"/>
              <a:gd name="connsiteY10407" fmla="*/ 3179581 h 5756219"/>
              <a:gd name="connsiteX10408" fmla="*/ 2168640 w 6226010"/>
              <a:gd name="connsiteY10408" fmla="*/ 3179581 h 5756219"/>
              <a:gd name="connsiteX10409" fmla="*/ 2168640 w 6226010"/>
              <a:gd name="connsiteY10409" fmla="*/ 3160557 h 5756219"/>
              <a:gd name="connsiteX10410" fmla="*/ 2179510 w 6226010"/>
              <a:gd name="connsiteY10410" fmla="*/ 3125229 h 5756219"/>
              <a:gd name="connsiteX10411" fmla="*/ 2190381 w 6226010"/>
              <a:gd name="connsiteY10411" fmla="*/ 3127946 h 5756219"/>
              <a:gd name="connsiteX10412" fmla="*/ 2198534 w 6226010"/>
              <a:gd name="connsiteY10412" fmla="*/ 3141534 h 5756219"/>
              <a:gd name="connsiteX10413" fmla="*/ 2206686 w 6226010"/>
              <a:gd name="connsiteY10413" fmla="*/ 3141534 h 5756219"/>
              <a:gd name="connsiteX10414" fmla="*/ 2209404 w 6226010"/>
              <a:gd name="connsiteY10414" fmla="*/ 3146970 h 5756219"/>
              <a:gd name="connsiteX10415" fmla="*/ 2217557 w 6226010"/>
              <a:gd name="connsiteY10415" fmla="*/ 3149687 h 5756219"/>
              <a:gd name="connsiteX10416" fmla="*/ 2217557 w 6226010"/>
              <a:gd name="connsiteY10416" fmla="*/ 3152405 h 5756219"/>
              <a:gd name="connsiteX10417" fmla="*/ 2225710 w 6226010"/>
              <a:gd name="connsiteY10417" fmla="*/ 3155122 h 5756219"/>
              <a:gd name="connsiteX10418" fmla="*/ 2226758 w 6226010"/>
              <a:gd name="connsiteY10418" fmla="*/ 3158267 h 5756219"/>
              <a:gd name="connsiteX10419" fmla="*/ 2228427 w 6226010"/>
              <a:gd name="connsiteY10419" fmla="*/ 3150027 h 5756219"/>
              <a:gd name="connsiteX10420" fmla="*/ 2231222 w 6226010"/>
              <a:gd name="connsiteY10420" fmla="*/ 3137272 h 5756219"/>
              <a:gd name="connsiteX10421" fmla="*/ 2221166 w 6226010"/>
              <a:gd name="connsiteY10421" fmla="*/ 3128031 h 5756219"/>
              <a:gd name="connsiteX10422" fmla="*/ 2209404 w 6226010"/>
              <a:gd name="connsiteY10422" fmla="*/ 3122511 h 5756219"/>
              <a:gd name="connsiteX10423" fmla="*/ 2187663 w 6226010"/>
              <a:gd name="connsiteY10423" fmla="*/ 3106206 h 5756219"/>
              <a:gd name="connsiteX10424" fmla="*/ 2198534 w 6226010"/>
              <a:gd name="connsiteY10424" fmla="*/ 3068159 h 5756219"/>
              <a:gd name="connsiteX10425" fmla="*/ 2206686 w 6226010"/>
              <a:gd name="connsiteY10425" fmla="*/ 3065442 h 5756219"/>
              <a:gd name="connsiteX10426" fmla="*/ 2222992 w 6226010"/>
              <a:gd name="connsiteY10426" fmla="*/ 3049136 h 5756219"/>
              <a:gd name="connsiteX10427" fmla="*/ 2222992 w 6226010"/>
              <a:gd name="connsiteY10427" fmla="*/ 3043701 h 5756219"/>
              <a:gd name="connsiteX10428" fmla="*/ 2220274 w 6226010"/>
              <a:gd name="connsiteY10428" fmla="*/ 3038266 h 5756219"/>
              <a:gd name="connsiteX10429" fmla="*/ 2193098 w 6226010"/>
              <a:gd name="connsiteY10429" fmla="*/ 3065442 h 5756219"/>
              <a:gd name="connsiteX10430" fmla="*/ 2184946 w 6226010"/>
              <a:gd name="connsiteY10430" fmla="*/ 3013808 h 5756219"/>
              <a:gd name="connsiteX10431" fmla="*/ 2179510 w 6226010"/>
              <a:gd name="connsiteY10431" fmla="*/ 3005655 h 5756219"/>
              <a:gd name="connsiteX10432" fmla="*/ 2174075 w 6226010"/>
              <a:gd name="connsiteY10432" fmla="*/ 3011090 h 5756219"/>
              <a:gd name="connsiteX10433" fmla="*/ 2176793 w 6226010"/>
              <a:gd name="connsiteY10433" fmla="*/ 3100770 h 5756219"/>
              <a:gd name="connsiteX10434" fmla="*/ 2168640 w 6226010"/>
              <a:gd name="connsiteY10434" fmla="*/ 3095335 h 5756219"/>
              <a:gd name="connsiteX10435" fmla="*/ 2155052 w 6226010"/>
              <a:gd name="connsiteY10435" fmla="*/ 3092618 h 5756219"/>
              <a:gd name="connsiteX10436" fmla="*/ 2149617 w 6226010"/>
              <a:gd name="connsiteY10436" fmla="*/ 3087182 h 5756219"/>
              <a:gd name="connsiteX10437" fmla="*/ 2141464 w 6226010"/>
              <a:gd name="connsiteY10437" fmla="*/ 3084465 h 5756219"/>
              <a:gd name="connsiteX10438" fmla="*/ 2138746 w 6226010"/>
              <a:gd name="connsiteY10438" fmla="*/ 3079030 h 5756219"/>
              <a:gd name="connsiteX10439" fmla="*/ 2130594 w 6226010"/>
              <a:gd name="connsiteY10439" fmla="*/ 3076312 h 5756219"/>
              <a:gd name="connsiteX10440" fmla="*/ 2130594 w 6226010"/>
              <a:gd name="connsiteY10440" fmla="*/ 3073595 h 5756219"/>
              <a:gd name="connsiteX10441" fmla="*/ 2122441 w 6226010"/>
              <a:gd name="connsiteY10441" fmla="*/ 3070877 h 5756219"/>
              <a:gd name="connsiteX10442" fmla="*/ 2122441 w 6226010"/>
              <a:gd name="connsiteY10442" fmla="*/ 3065442 h 5756219"/>
              <a:gd name="connsiteX10443" fmla="*/ 2117006 w 6226010"/>
              <a:gd name="connsiteY10443" fmla="*/ 3062724 h 5756219"/>
              <a:gd name="connsiteX10444" fmla="*/ 2117006 w 6226010"/>
              <a:gd name="connsiteY10444" fmla="*/ 3057289 h 5756219"/>
              <a:gd name="connsiteX10445" fmla="*/ 2111571 w 6226010"/>
              <a:gd name="connsiteY10445" fmla="*/ 3054571 h 5756219"/>
              <a:gd name="connsiteX10446" fmla="*/ 2111571 w 6226010"/>
              <a:gd name="connsiteY10446" fmla="*/ 3040983 h 5756219"/>
              <a:gd name="connsiteX10447" fmla="*/ 2130594 w 6226010"/>
              <a:gd name="connsiteY10447" fmla="*/ 3032831 h 5756219"/>
              <a:gd name="connsiteX10448" fmla="*/ 2149617 w 6226010"/>
              <a:gd name="connsiteY10448" fmla="*/ 3011090 h 5756219"/>
              <a:gd name="connsiteX10449" fmla="*/ 2152334 w 6226010"/>
              <a:gd name="connsiteY10449" fmla="*/ 2973044 h 5756219"/>
              <a:gd name="connsiteX10450" fmla="*/ 2149617 w 6226010"/>
              <a:gd name="connsiteY10450" fmla="*/ 2964891 h 5756219"/>
              <a:gd name="connsiteX10451" fmla="*/ 2146899 w 6226010"/>
              <a:gd name="connsiteY10451" fmla="*/ 2964891 h 5756219"/>
              <a:gd name="connsiteX10452" fmla="*/ 2141464 w 6226010"/>
              <a:gd name="connsiteY10452" fmla="*/ 2948585 h 5756219"/>
              <a:gd name="connsiteX10453" fmla="*/ 2141464 w 6226010"/>
              <a:gd name="connsiteY10453" fmla="*/ 2924127 h 5756219"/>
              <a:gd name="connsiteX10454" fmla="*/ 2141464 w 6226010"/>
              <a:gd name="connsiteY10454" fmla="*/ 2915974 h 5756219"/>
              <a:gd name="connsiteX10455" fmla="*/ 2141464 w 6226010"/>
              <a:gd name="connsiteY10455" fmla="*/ 2913257 h 5756219"/>
              <a:gd name="connsiteX10456" fmla="*/ 2160827 w 6226010"/>
              <a:gd name="connsiteY10456" fmla="*/ 2913257 h 5756219"/>
              <a:gd name="connsiteX10457" fmla="*/ 2164416 w 6226010"/>
              <a:gd name="connsiteY10457" fmla="*/ 2913257 h 5756219"/>
              <a:gd name="connsiteX10458" fmla="*/ 2162525 w 6226010"/>
              <a:gd name="connsiteY10458" fmla="*/ 2912917 h 5756219"/>
              <a:gd name="connsiteX10459" fmla="*/ 2149617 w 6226010"/>
              <a:gd name="connsiteY10459" fmla="*/ 2907821 h 5756219"/>
              <a:gd name="connsiteX10460" fmla="*/ 2152334 w 6226010"/>
              <a:gd name="connsiteY10460" fmla="*/ 2894233 h 5756219"/>
              <a:gd name="connsiteX10461" fmla="*/ 2149617 w 6226010"/>
              <a:gd name="connsiteY10461" fmla="*/ 2894233 h 5756219"/>
              <a:gd name="connsiteX10462" fmla="*/ 2155052 w 6226010"/>
              <a:gd name="connsiteY10462" fmla="*/ 2867058 h 5756219"/>
              <a:gd name="connsiteX10463" fmla="*/ 2155052 w 6226010"/>
              <a:gd name="connsiteY10463" fmla="*/ 2861623 h 5756219"/>
              <a:gd name="connsiteX10464" fmla="*/ 2152334 w 6226010"/>
              <a:gd name="connsiteY10464" fmla="*/ 2861623 h 5756219"/>
              <a:gd name="connsiteX10465" fmla="*/ 2136029 w 6226010"/>
              <a:gd name="connsiteY10465" fmla="*/ 2894233 h 5756219"/>
              <a:gd name="connsiteX10466" fmla="*/ 2133311 w 6226010"/>
              <a:gd name="connsiteY10466" fmla="*/ 2894233 h 5756219"/>
              <a:gd name="connsiteX10467" fmla="*/ 2117006 w 6226010"/>
              <a:gd name="connsiteY10467" fmla="*/ 2894233 h 5756219"/>
              <a:gd name="connsiteX10468" fmla="*/ 2127876 w 6226010"/>
              <a:gd name="connsiteY10468" fmla="*/ 2848035 h 5756219"/>
              <a:gd name="connsiteX10469" fmla="*/ 2133311 w 6226010"/>
              <a:gd name="connsiteY10469" fmla="*/ 2848035 h 5756219"/>
              <a:gd name="connsiteX10470" fmla="*/ 2149617 w 6226010"/>
              <a:gd name="connsiteY10470" fmla="*/ 2839881 h 5756219"/>
              <a:gd name="connsiteX10471" fmla="*/ 2165922 w 6226010"/>
              <a:gd name="connsiteY10471" fmla="*/ 2823576 h 5756219"/>
              <a:gd name="connsiteX10472" fmla="*/ 2168640 w 6226010"/>
              <a:gd name="connsiteY10472" fmla="*/ 2812706 h 5756219"/>
              <a:gd name="connsiteX10473" fmla="*/ 2165922 w 6226010"/>
              <a:gd name="connsiteY10473" fmla="*/ 2809988 h 5756219"/>
              <a:gd name="connsiteX10474" fmla="*/ 2160487 w 6226010"/>
              <a:gd name="connsiteY10474" fmla="*/ 2809988 h 5756219"/>
              <a:gd name="connsiteX10475" fmla="*/ 2152334 w 6226010"/>
              <a:gd name="connsiteY10475" fmla="*/ 2823576 h 5756219"/>
              <a:gd name="connsiteX10476" fmla="*/ 2144182 w 6226010"/>
              <a:gd name="connsiteY10476" fmla="*/ 2826293 h 5756219"/>
              <a:gd name="connsiteX10477" fmla="*/ 2144182 w 6226010"/>
              <a:gd name="connsiteY10477" fmla="*/ 2831729 h 5756219"/>
              <a:gd name="connsiteX10478" fmla="*/ 2133311 w 6226010"/>
              <a:gd name="connsiteY10478" fmla="*/ 2837165 h 5756219"/>
              <a:gd name="connsiteX10479" fmla="*/ 2130594 w 6226010"/>
              <a:gd name="connsiteY10479" fmla="*/ 2785530 h 5756219"/>
              <a:gd name="connsiteX10480" fmla="*/ 2127876 w 6226010"/>
              <a:gd name="connsiteY10480" fmla="*/ 2782812 h 5756219"/>
              <a:gd name="connsiteX10481" fmla="*/ 2125159 w 6226010"/>
              <a:gd name="connsiteY10481" fmla="*/ 2782812 h 5756219"/>
              <a:gd name="connsiteX10482" fmla="*/ 2125159 w 6226010"/>
              <a:gd name="connsiteY10482" fmla="*/ 2820858 h 5756219"/>
              <a:gd name="connsiteX10483" fmla="*/ 2127876 w 6226010"/>
              <a:gd name="connsiteY10483" fmla="*/ 2829011 h 5756219"/>
              <a:gd name="connsiteX10484" fmla="*/ 2108853 w 6226010"/>
              <a:gd name="connsiteY10484" fmla="*/ 2880645 h 5756219"/>
              <a:gd name="connsiteX10485" fmla="*/ 2092547 w 6226010"/>
              <a:gd name="connsiteY10485" fmla="*/ 2845317 h 5756219"/>
              <a:gd name="connsiteX10486" fmla="*/ 2078960 w 6226010"/>
              <a:gd name="connsiteY10486" fmla="*/ 2820858 h 5756219"/>
              <a:gd name="connsiteX10487" fmla="*/ 2070807 w 6226010"/>
              <a:gd name="connsiteY10487" fmla="*/ 2820858 h 5756219"/>
              <a:gd name="connsiteX10488" fmla="*/ 2068089 w 6226010"/>
              <a:gd name="connsiteY10488" fmla="*/ 2823576 h 5756219"/>
              <a:gd name="connsiteX10489" fmla="*/ 2073524 w 6226010"/>
              <a:gd name="connsiteY10489" fmla="*/ 2834447 h 5756219"/>
              <a:gd name="connsiteX10490" fmla="*/ 2078960 w 6226010"/>
              <a:gd name="connsiteY10490" fmla="*/ 2837165 h 5756219"/>
              <a:gd name="connsiteX10491" fmla="*/ 2084395 w 6226010"/>
              <a:gd name="connsiteY10491" fmla="*/ 2856187 h 5756219"/>
              <a:gd name="connsiteX10492" fmla="*/ 2087112 w 6226010"/>
              <a:gd name="connsiteY10492" fmla="*/ 2858905 h 5756219"/>
              <a:gd name="connsiteX10493" fmla="*/ 2087112 w 6226010"/>
              <a:gd name="connsiteY10493" fmla="*/ 2875211 h 5756219"/>
              <a:gd name="connsiteX10494" fmla="*/ 2097983 w 6226010"/>
              <a:gd name="connsiteY10494" fmla="*/ 2894233 h 5756219"/>
              <a:gd name="connsiteX10495" fmla="*/ 2095265 w 6226010"/>
              <a:gd name="connsiteY10495" fmla="*/ 2896951 h 5756219"/>
              <a:gd name="connsiteX10496" fmla="*/ 2081677 w 6226010"/>
              <a:gd name="connsiteY10496" fmla="*/ 2899669 h 5756219"/>
              <a:gd name="connsiteX10497" fmla="*/ 2076242 w 6226010"/>
              <a:gd name="connsiteY10497" fmla="*/ 2905104 h 5756219"/>
              <a:gd name="connsiteX10498" fmla="*/ 2057219 w 6226010"/>
              <a:gd name="connsiteY10498" fmla="*/ 2907821 h 5756219"/>
              <a:gd name="connsiteX10499" fmla="*/ 2059936 w 6226010"/>
              <a:gd name="connsiteY10499" fmla="*/ 2872493 h 5756219"/>
              <a:gd name="connsiteX10500" fmla="*/ 2059936 w 6226010"/>
              <a:gd name="connsiteY10500" fmla="*/ 2864340 h 5756219"/>
              <a:gd name="connsiteX10501" fmla="*/ 2051784 w 6226010"/>
              <a:gd name="connsiteY10501" fmla="*/ 2864340 h 5756219"/>
              <a:gd name="connsiteX10502" fmla="*/ 2049066 w 6226010"/>
              <a:gd name="connsiteY10502" fmla="*/ 2875211 h 5756219"/>
              <a:gd name="connsiteX10503" fmla="*/ 2046348 w 6226010"/>
              <a:gd name="connsiteY10503" fmla="*/ 2902386 h 5756219"/>
              <a:gd name="connsiteX10504" fmla="*/ 2011020 w 6226010"/>
              <a:gd name="connsiteY10504" fmla="*/ 2945868 h 5756219"/>
              <a:gd name="connsiteX10505" fmla="*/ 2002867 w 6226010"/>
              <a:gd name="connsiteY10505" fmla="*/ 2913257 h 5756219"/>
              <a:gd name="connsiteX10506" fmla="*/ 1997432 w 6226010"/>
              <a:gd name="connsiteY10506" fmla="*/ 2913257 h 5756219"/>
              <a:gd name="connsiteX10507" fmla="*/ 1994714 w 6226010"/>
              <a:gd name="connsiteY10507" fmla="*/ 2913257 h 5756219"/>
              <a:gd name="connsiteX10508" fmla="*/ 2000149 w 6226010"/>
              <a:gd name="connsiteY10508" fmla="*/ 2945868 h 5756219"/>
              <a:gd name="connsiteX10509" fmla="*/ 1989279 w 6226010"/>
              <a:gd name="connsiteY10509" fmla="*/ 2954020 h 5756219"/>
              <a:gd name="connsiteX10510" fmla="*/ 1989279 w 6226010"/>
              <a:gd name="connsiteY10510" fmla="*/ 2956738 h 5756219"/>
              <a:gd name="connsiteX10511" fmla="*/ 1983844 w 6226010"/>
              <a:gd name="connsiteY10511" fmla="*/ 2959456 h 5756219"/>
              <a:gd name="connsiteX10512" fmla="*/ 1981126 w 6226010"/>
              <a:gd name="connsiteY10512" fmla="*/ 2926845 h 5756219"/>
              <a:gd name="connsiteX10513" fmla="*/ 2016455 w 6226010"/>
              <a:gd name="connsiteY10513" fmla="*/ 2894233 h 5756219"/>
              <a:gd name="connsiteX10514" fmla="*/ 2016455 w 6226010"/>
              <a:gd name="connsiteY10514" fmla="*/ 2872493 h 5756219"/>
              <a:gd name="connsiteX10515" fmla="*/ 2043631 w 6226010"/>
              <a:gd name="connsiteY10515" fmla="*/ 2801835 h 5756219"/>
              <a:gd name="connsiteX10516" fmla="*/ 2038196 w 6226010"/>
              <a:gd name="connsiteY10516" fmla="*/ 2801835 h 5756219"/>
              <a:gd name="connsiteX10517" fmla="*/ 2032760 w 6226010"/>
              <a:gd name="connsiteY10517" fmla="*/ 2823576 h 5756219"/>
              <a:gd name="connsiteX10518" fmla="*/ 2016455 w 6226010"/>
              <a:gd name="connsiteY10518" fmla="*/ 2856187 h 5756219"/>
              <a:gd name="connsiteX10519" fmla="*/ 2008302 w 6226010"/>
              <a:gd name="connsiteY10519" fmla="*/ 2883363 h 5756219"/>
              <a:gd name="connsiteX10520" fmla="*/ 2008302 w 6226010"/>
              <a:gd name="connsiteY10520" fmla="*/ 2891516 h 5756219"/>
              <a:gd name="connsiteX10521" fmla="*/ 1981126 w 6226010"/>
              <a:gd name="connsiteY10521" fmla="*/ 2910539 h 5756219"/>
              <a:gd name="connsiteX10522" fmla="*/ 1978409 w 6226010"/>
              <a:gd name="connsiteY10522" fmla="*/ 2910539 h 5756219"/>
              <a:gd name="connsiteX10523" fmla="*/ 1978409 w 6226010"/>
              <a:gd name="connsiteY10523" fmla="*/ 2807271 h 5756219"/>
              <a:gd name="connsiteX10524" fmla="*/ 1997432 w 6226010"/>
              <a:gd name="connsiteY10524" fmla="*/ 2790965 h 5756219"/>
              <a:gd name="connsiteX10525" fmla="*/ 1997432 w 6226010"/>
              <a:gd name="connsiteY10525" fmla="*/ 2785530 h 5756219"/>
              <a:gd name="connsiteX10526" fmla="*/ 1981126 w 6226010"/>
              <a:gd name="connsiteY10526" fmla="*/ 2796400 h 5756219"/>
              <a:gd name="connsiteX10527" fmla="*/ 1972973 w 6226010"/>
              <a:gd name="connsiteY10527" fmla="*/ 2774659 h 5756219"/>
              <a:gd name="connsiteX10528" fmla="*/ 1972973 w 6226010"/>
              <a:gd name="connsiteY10528" fmla="*/ 2763789 h 5756219"/>
              <a:gd name="connsiteX10529" fmla="*/ 1967538 w 6226010"/>
              <a:gd name="connsiteY10529" fmla="*/ 2752919 h 5756219"/>
              <a:gd name="connsiteX10530" fmla="*/ 1959385 w 6226010"/>
              <a:gd name="connsiteY10530" fmla="*/ 2755636 h 5756219"/>
              <a:gd name="connsiteX10531" fmla="*/ 1959385 w 6226010"/>
              <a:gd name="connsiteY10531" fmla="*/ 2766507 h 5756219"/>
              <a:gd name="connsiteX10532" fmla="*/ 1964821 w 6226010"/>
              <a:gd name="connsiteY10532" fmla="*/ 2769224 h 5756219"/>
              <a:gd name="connsiteX10533" fmla="*/ 1964821 w 6226010"/>
              <a:gd name="connsiteY10533" fmla="*/ 2782812 h 5756219"/>
              <a:gd name="connsiteX10534" fmla="*/ 1970256 w 6226010"/>
              <a:gd name="connsiteY10534" fmla="*/ 2796400 h 5756219"/>
              <a:gd name="connsiteX10535" fmla="*/ 1967538 w 6226010"/>
              <a:gd name="connsiteY10535" fmla="*/ 2804554 h 5756219"/>
              <a:gd name="connsiteX10536" fmla="*/ 1970256 w 6226010"/>
              <a:gd name="connsiteY10536" fmla="*/ 2818141 h 5756219"/>
              <a:gd name="connsiteX10537" fmla="*/ 1967538 w 6226010"/>
              <a:gd name="connsiteY10537" fmla="*/ 2848035 h 5756219"/>
              <a:gd name="connsiteX10538" fmla="*/ 1956668 w 6226010"/>
              <a:gd name="connsiteY10538" fmla="*/ 2831729 h 5756219"/>
              <a:gd name="connsiteX10539" fmla="*/ 1948515 w 6226010"/>
              <a:gd name="connsiteY10539" fmla="*/ 2829011 h 5756219"/>
              <a:gd name="connsiteX10540" fmla="*/ 1945797 w 6226010"/>
              <a:gd name="connsiteY10540" fmla="*/ 2815423 h 5756219"/>
              <a:gd name="connsiteX10541" fmla="*/ 1943080 w 6226010"/>
              <a:gd name="connsiteY10541" fmla="*/ 2815423 h 5756219"/>
              <a:gd name="connsiteX10542" fmla="*/ 1940362 w 6226010"/>
              <a:gd name="connsiteY10542" fmla="*/ 2801835 h 5756219"/>
              <a:gd name="connsiteX10543" fmla="*/ 1932209 w 6226010"/>
              <a:gd name="connsiteY10543" fmla="*/ 2780094 h 5756219"/>
              <a:gd name="connsiteX10544" fmla="*/ 1929492 w 6226010"/>
              <a:gd name="connsiteY10544" fmla="*/ 2780094 h 5756219"/>
              <a:gd name="connsiteX10545" fmla="*/ 1924057 w 6226010"/>
              <a:gd name="connsiteY10545" fmla="*/ 2780094 h 5756219"/>
              <a:gd name="connsiteX10546" fmla="*/ 1926774 w 6226010"/>
              <a:gd name="connsiteY10546" fmla="*/ 2796400 h 5756219"/>
              <a:gd name="connsiteX10547" fmla="*/ 1926774 w 6226010"/>
              <a:gd name="connsiteY10547" fmla="*/ 2807271 h 5756219"/>
              <a:gd name="connsiteX10548" fmla="*/ 1934927 w 6226010"/>
              <a:gd name="connsiteY10548" fmla="*/ 2820858 h 5756219"/>
              <a:gd name="connsiteX10549" fmla="*/ 1934927 w 6226010"/>
              <a:gd name="connsiteY10549" fmla="*/ 2834447 h 5756219"/>
              <a:gd name="connsiteX10550" fmla="*/ 1940362 w 6226010"/>
              <a:gd name="connsiteY10550" fmla="*/ 2842599 h 5756219"/>
              <a:gd name="connsiteX10551" fmla="*/ 1951233 w 6226010"/>
              <a:gd name="connsiteY10551" fmla="*/ 2845317 h 5756219"/>
              <a:gd name="connsiteX10552" fmla="*/ 1964821 w 6226010"/>
              <a:gd name="connsiteY10552" fmla="*/ 2867058 h 5756219"/>
              <a:gd name="connsiteX10553" fmla="*/ 1964821 w 6226010"/>
              <a:gd name="connsiteY10553" fmla="*/ 2880645 h 5756219"/>
              <a:gd name="connsiteX10554" fmla="*/ 1970256 w 6226010"/>
              <a:gd name="connsiteY10554" fmla="*/ 2913257 h 5756219"/>
              <a:gd name="connsiteX10555" fmla="*/ 1970256 w 6226010"/>
              <a:gd name="connsiteY10555" fmla="*/ 2924127 h 5756219"/>
              <a:gd name="connsiteX10556" fmla="*/ 1975691 w 6226010"/>
              <a:gd name="connsiteY10556" fmla="*/ 2932280 h 5756219"/>
              <a:gd name="connsiteX10557" fmla="*/ 1975691 w 6226010"/>
              <a:gd name="connsiteY10557" fmla="*/ 2940433 h 5756219"/>
              <a:gd name="connsiteX10558" fmla="*/ 1953950 w 6226010"/>
              <a:gd name="connsiteY10558" fmla="*/ 2924127 h 5756219"/>
              <a:gd name="connsiteX10559" fmla="*/ 1953950 w 6226010"/>
              <a:gd name="connsiteY10559" fmla="*/ 2918692 h 5756219"/>
              <a:gd name="connsiteX10560" fmla="*/ 1948515 w 6226010"/>
              <a:gd name="connsiteY10560" fmla="*/ 2915974 h 5756219"/>
              <a:gd name="connsiteX10561" fmla="*/ 1948515 w 6226010"/>
              <a:gd name="connsiteY10561" fmla="*/ 2910539 h 5756219"/>
              <a:gd name="connsiteX10562" fmla="*/ 1932209 w 6226010"/>
              <a:gd name="connsiteY10562" fmla="*/ 2886081 h 5756219"/>
              <a:gd name="connsiteX10563" fmla="*/ 1924057 w 6226010"/>
              <a:gd name="connsiteY10563" fmla="*/ 2886081 h 5756219"/>
              <a:gd name="connsiteX10564" fmla="*/ 1924057 w 6226010"/>
              <a:gd name="connsiteY10564" fmla="*/ 2899669 h 5756219"/>
              <a:gd name="connsiteX10565" fmla="*/ 1937645 w 6226010"/>
              <a:gd name="connsiteY10565" fmla="*/ 2910539 h 5756219"/>
              <a:gd name="connsiteX10566" fmla="*/ 1937645 w 6226010"/>
              <a:gd name="connsiteY10566" fmla="*/ 2915974 h 5756219"/>
              <a:gd name="connsiteX10567" fmla="*/ 1943080 w 6226010"/>
              <a:gd name="connsiteY10567" fmla="*/ 2918692 h 5756219"/>
              <a:gd name="connsiteX10568" fmla="*/ 1943080 w 6226010"/>
              <a:gd name="connsiteY10568" fmla="*/ 2924127 h 5756219"/>
              <a:gd name="connsiteX10569" fmla="*/ 1951233 w 6226010"/>
              <a:gd name="connsiteY10569" fmla="*/ 2926845 h 5756219"/>
              <a:gd name="connsiteX10570" fmla="*/ 1951233 w 6226010"/>
              <a:gd name="connsiteY10570" fmla="*/ 2932280 h 5756219"/>
              <a:gd name="connsiteX10571" fmla="*/ 1956668 w 6226010"/>
              <a:gd name="connsiteY10571" fmla="*/ 2934997 h 5756219"/>
              <a:gd name="connsiteX10572" fmla="*/ 1956668 w 6226010"/>
              <a:gd name="connsiteY10572" fmla="*/ 2940433 h 5756219"/>
              <a:gd name="connsiteX10573" fmla="*/ 1964821 w 6226010"/>
              <a:gd name="connsiteY10573" fmla="*/ 2943150 h 5756219"/>
              <a:gd name="connsiteX10574" fmla="*/ 1978409 w 6226010"/>
              <a:gd name="connsiteY10574" fmla="*/ 2959456 h 5756219"/>
              <a:gd name="connsiteX10575" fmla="*/ 1978409 w 6226010"/>
              <a:gd name="connsiteY10575" fmla="*/ 2981196 h 5756219"/>
              <a:gd name="connsiteX10576" fmla="*/ 1967538 w 6226010"/>
              <a:gd name="connsiteY10576" fmla="*/ 2994784 h 5756219"/>
              <a:gd name="connsiteX10577" fmla="*/ 1959385 w 6226010"/>
              <a:gd name="connsiteY10577" fmla="*/ 2997502 h 5756219"/>
              <a:gd name="connsiteX10578" fmla="*/ 1959385 w 6226010"/>
              <a:gd name="connsiteY10578" fmla="*/ 3002937 h 5756219"/>
              <a:gd name="connsiteX10579" fmla="*/ 1953950 w 6226010"/>
              <a:gd name="connsiteY10579" fmla="*/ 3002937 h 5756219"/>
              <a:gd name="connsiteX10580" fmla="*/ 1953950 w 6226010"/>
              <a:gd name="connsiteY10580" fmla="*/ 3008372 h 5756219"/>
              <a:gd name="connsiteX10581" fmla="*/ 1945797 w 6226010"/>
              <a:gd name="connsiteY10581" fmla="*/ 3013807 h 5756219"/>
              <a:gd name="connsiteX10582" fmla="*/ 1945797 w 6226010"/>
              <a:gd name="connsiteY10582" fmla="*/ 3016525 h 5756219"/>
              <a:gd name="connsiteX10583" fmla="*/ 1934927 w 6226010"/>
              <a:gd name="connsiteY10583" fmla="*/ 3027395 h 5756219"/>
              <a:gd name="connsiteX10584" fmla="*/ 1934927 w 6226010"/>
              <a:gd name="connsiteY10584" fmla="*/ 3032831 h 5756219"/>
              <a:gd name="connsiteX10585" fmla="*/ 1924057 w 6226010"/>
              <a:gd name="connsiteY10585" fmla="*/ 3040983 h 5756219"/>
              <a:gd name="connsiteX10586" fmla="*/ 1913186 w 6226010"/>
              <a:gd name="connsiteY10586" fmla="*/ 3065442 h 5756219"/>
              <a:gd name="connsiteX10587" fmla="*/ 1913186 w 6226010"/>
              <a:gd name="connsiteY10587" fmla="*/ 3070877 h 5756219"/>
              <a:gd name="connsiteX10588" fmla="*/ 1886010 w 6226010"/>
              <a:gd name="connsiteY10588" fmla="*/ 3103488 h 5756219"/>
              <a:gd name="connsiteX10589" fmla="*/ 1883293 w 6226010"/>
              <a:gd name="connsiteY10589" fmla="*/ 3103488 h 5756219"/>
              <a:gd name="connsiteX10590" fmla="*/ 1872422 w 6226010"/>
              <a:gd name="connsiteY10590" fmla="*/ 3095335 h 5756219"/>
              <a:gd name="connsiteX10591" fmla="*/ 1877857 w 6226010"/>
              <a:gd name="connsiteY10591" fmla="*/ 3021960 h 5756219"/>
              <a:gd name="connsiteX10592" fmla="*/ 1880575 w 6226010"/>
              <a:gd name="connsiteY10592" fmla="*/ 2989349 h 5756219"/>
              <a:gd name="connsiteX10593" fmla="*/ 1872422 w 6226010"/>
              <a:gd name="connsiteY10593" fmla="*/ 2934997 h 5756219"/>
              <a:gd name="connsiteX10594" fmla="*/ 1864269 w 6226010"/>
              <a:gd name="connsiteY10594" fmla="*/ 2934997 h 5756219"/>
              <a:gd name="connsiteX10595" fmla="*/ 1872422 w 6226010"/>
              <a:gd name="connsiteY10595" fmla="*/ 3011090 h 5756219"/>
              <a:gd name="connsiteX10596" fmla="*/ 1872422 w 6226010"/>
              <a:gd name="connsiteY10596" fmla="*/ 3111641 h 5756219"/>
              <a:gd name="connsiteX10597" fmla="*/ 1837094 w 6226010"/>
              <a:gd name="connsiteY10597" fmla="*/ 3157840 h 5756219"/>
              <a:gd name="connsiteX10598" fmla="*/ 1826223 w 6226010"/>
              <a:gd name="connsiteY10598" fmla="*/ 3160558 h 5756219"/>
              <a:gd name="connsiteX10599" fmla="*/ 1820788 w 6226010"/>
              <a:gd name="connsiteY10599" fmla="*/ 3165993 h 5756219"/>
              <a:gd name="connsiteX10600" fmla="*/ 1808898 w 6226010"/>
              <a:gd name="connsiteY10600" fmla="*/ 3169050 h 5756219"/>
              <a:gd name="connsiteX10601" fmla="*/ 1804890 w 6226010"/>
              <a:gd name="connsiteY10601" fmla="*/ 3171123 h 5756219"/>
              <a:gd name="connsiteX10602" fmla="*/ 1805163 w 6226010"/>
              <a:gd name="connsiteY10602" fmla="*/ 3178222 h 5756219"/>
              <a:gd name="connsiteX10603" fmla="*/ 1801765 w 6226010"/>
              <a:gd name="connsiteY10603" fmla="*/ 3195886 h 5756219"/>
              <a:gd name="connsiteX10604" fmla="*/ 1771871 w 6226010"/>
              <a:gd name="connsiteY10604" fmla="*/ 3242086 h 5756219"/>
              <a:gd name="connsiteX10605" fmla="*/ 1752848 w 6226010"/>
              <a:gd name="connsiteY10605" fmla="*/ 3315460 h 5756219"/>
              <a:gd name="connsiteX10606" fmla="*/ 1725672 w 6226010"/>
              <a:gd name="connsiteY10606" fmla="*/ 3361660 h 5756219"/>
              <a:gd name="connsiteX10607" fmla="*/ 1722955 w 6226010"/>
              <a:gd name="connsiteY10607" fmla="*/ 3361660 h 5756219"/>
              <a:gd name="connsiteX10608" fmla="*/ 1703932 w 6226010"/>
              <a:gd name="connsiteY10608" fmla="*/ 3339919 h 5756219"/>
              <a:gd name="connsiteX10609" fmla="*/ 1720237 w 6226010"/>
              <a:gd name="connsiteY10609" fmla="*/ 3310025 h 5756219"/>
              <a:gd name="connsiteX10610" fmla="*/ 1728390 w 6226010"/>
              <a:gd name="connsiteY10610" fmla="*/ 3288284 h 5756219"/>
              <a:gd name="connsiteX10611" fmla="*/ 1739260 w 6226010"/>
              <a:gd name="connsiteY10611" fmla="*/ 3280132 h 5756219"/>
              <a:gd name="connsiteX10612" fmla="*/ 1741978 w 6226010"/>
              <a:gd name="connsiteY10612" fmla="*/ 3271979 h 5756219"/>
              <a:gd name="connsiteX10613" fmla="*/ 1747413 w 6226010"/>
              <a:gd name="connsiteY10613" fmla="*/ 3271979 h 5756219"/>
              <a:gd name="connsiteX10614" fmla="*/ 1761001 w 6226010"/>
              <a:gd name="connsiteY10614" fmla="*/ 3255673 h 5756219"/>
              <a:gd name="connsiteX10615" fmla="*/ 1761001 w 6226010"/>
              <a:gd name="connsiteY10615" fmla="*/ 3247521 h 5756219"/>
              <a:gd name="connsiteX10616" fmla="*/ 1763719 w 6226010"/>
              <a:gd name="connsiteY10616" fmla="*/ 3247521 h 5756219"/>
              <a:gd name="connsiteX10617" fmla="*/ 1763719 w 6226010"/>
              <a:gd name="connsiteY10617" fmla="*/ 3242086 h 5756219"/>
              <a:gd name="connsiteX10618" fmla="*/ 1771871 w 6226010"/>
              <a:gd name="connsiteY10618" fmla="*/ 3239368 h 5756219"/>
              <a:gd name="connsiteX10619" fmla="*/ 1777307 w 6226010"/>
              <a:gd name="connsiteY10619" fmla="*/ 3193169 h 5756219"/>
              <a:gd name="connsiteX10620" fmla="*/ 1788517 w 6226010"/>
              <a:gd name="connsiteY10620" fmla="*/ 3175844 h 5756219"/>
              <a:gd name="connsiteX10621" fmla="*/ 1790978 w 6226010"/>
              <a:gd name="connsiteY10621" fmla="*/ 3173005 h 5756219"/>
              <a:gd name="connsiteX10622" fmla="*/ 1793272 w 6226010"/>
              <a:gd name="connsiteY10622" fmla="*/ 3141874 h 5756219"/>
              <a:gd name="connsiteX10623" fmla="*/ 1795854 w 6226010"/>
              <a:gd name="connsiteY10623" fmla="*/ 3132681 h 5756219"/>
              <a:gd name="connsiteX10624" fmla="*/ 1790895 w 6226010"/>
              <a:gd name="connsiteY10624" fmla="*/ 3144252 h 5756219"/>
              <a:gd name="connsiteX10625" fmla="*/ 1777307 w 6226010"/>
              <a:gd name="connsiteY10625" fmla="*/ 3163275 h 5756219"/>
              <a:gd name="connsiteX10626" fmla="*/ 1766437 w 6226010"/>
              <a:gd name="connsiteY10626" fmla="*/ 3163275 h 5756219"/>
              <a:gd name="connsiteX10627" fmla="*/ 1766437 w 6226010"/>
              <a:gd name="connsiteY10627" fmla="*/ 3149687 h 5756219"/>
              <a:gd name="connsiteX10628" fmla="*/ 1769154 w 6226010"/>
              <a:gd name="connsiteY10628" fmla="*/ 3092618 h 5756219"/>
              <a:gd name="connsiteX10629" fmla="*/ 1766437 w 6226010"/>
              <a:gd name="connsiteY10629" fmla="*/ 3089900 h 5756219"/>
              <a:gd name="connsiteX10630" fmla="*/ 1761002 w 6226010"/>
              <a:gd name="connsiteY10630" fmla="*/ 3089900 h 5756219"/>
              <a:gd name="connsiteX10631" fmla="*/ 1755566 w 6226010"/>
              <a:gd name="connsiteY10631" fmla="*/ 3114358 h 5756219"/>
              <a:gd name="connsiteX10632" fmla="*/ 1766437 w 6226010"/>
              <a:gd name="connsiteY10632" fmla="*/ 3179581 h 5756219"/>
              <a:gd name="connsiteX10633" fmla="*/ 1750131 w 6226010"/>
              <a:gd name="connsiteY10633" fmla="*/ 3195886 h 5756219"/>
              <a:gd name="connsiteX10634" fmla="*/ 1741978 w 6226010"/>
              <a:gd name="connsiteY10634" fmla="*/ 3195886 h 5756219"/>
              <a:gd name="connsiteX10635" fmla="*/ 1722955 w 6226010"/>
              <a:gd name="connsiteY10635" fmla="*/ 3204039 h 5756219"/>
              <a:gd name="connsiteX10636" fmla="*/ 1725673 w 6226010"/>
              <a:gd name="connsiteY10636" fmla="*/ 3127946 h 5756219"/>
              <a:gd name="connsiteX10637" fmla="*/ 1725673 w 6226010"/>
              <a:gd name="connsiteY10637" fmla="*/ 3103488 h 5756219"/>
              <a:gd name="connsiteX10638" fmla="*/ 1741978 w 6226010"/>
              <a:gd name="connsiteY10638" fmla="*/ 3089900 h 5756219"/>
              <a:gd name="connsiteX10639" fmla="*/ 1741978 w 6226010"/>
              <a:gd name="connsiteY10639" fmla="*/ 3084465 h 5756219"/>
              <a:gd name="connsiteX10640" fmla="*/ 1747414 w 6226010"/>
              <a:gd name="connsiteY10640" fmla="*/ 3081747 h 5756219"/>
              <a:gd name="connsiteX10641" fmla="*/ 1750131 w 6226010"/>
              <a:gd name="connsiteY10641" fmla="*/ 3076312 h 5756219"/>
              <a:gd name="connsiteX10642" fmla="*/ 1763719 w 6226010"/>
              <a:gd name="connsiteY10642" fmla="*/ 3065442 h 5756219"/>
              <a:gd name="connsiteX10643" fmla="*/ 1774589 w 6226010"/>
              <a:gd name="connsiteY10643" fmla="*/ 3049136 h 5756219"/>
              <a:gd name="connsiteX10644" fmla="*/ 1780025 w 6226010"/>
              <a:gd name="connsiteY10644" fmla="*/ 3049136 h 5756219"/>
              <a:gd name="connsiteX10645" fmla="*/ 1785460 w 6226010"/>
              <a:gd name="connsiteY10645" fmla="*/ 3032831 h 5756219"/>
              <a:gd name="connsiteX10646" fmla="*/ 1793613 w 6226010"/>
              <a:gd name="connsiteY10646" fmla="*/ 3024678 h 5756219"/>
              <a:gd name="connsiteX10647" fmla="*/ 1800870 w 6226010"/>
              <a:gd name="connsiteY10647" fmla="*/ 3012237 h 5756219"/>
              <a:gd name="connsiteX10648" fmla="*/ 1799727 w 6226010"/>
              <a:gd name="connsiteY10648" fmla="*/ 3003276 h 5756219"/>
              <a:gd name="connsiteX10649" fmla="*/ 1801765 w 6226010"/>
              <a:gd name="connsiteY10649" fmla="*/ 2981196 h 5756219"/>
              <a:gd name="connsiteX10650" fmla="*/ 1815353 w 6226010"/>
              <a:gd name="connsiteY10650" fmla="*/ 2948585 h 5756219"/>
              <a:gd name="connsiteX10651" fmla="*/ 1828941 w 6226010"/>
              <a:gd name="connsiteY10651" fmla="*/ 2910539 h 5756219"/>
              <a:gd name="connsiteX10652" fmla="*/ 1826223 w 6226010"/>
              <a:gd name="connsiteY10652" fmla="*/ 2902386 h 5756219"/>
              <a:gd name="connsiteX10653" fmla="*/ 1823506 w 6226010"/>
              <a:gd name="connsiteY10653" fmla="*/ 2902386 h 5756219"/>
              <a:gd name="connsiteX10654" fmla="*/ 1820788 w 6226010"/>
              <a:gd name="connsiteY10654" fmla="*/ 2905104 h 5756219"/>
              <a:gd name="connsiteX10655" fmla="*/ 1801765 w 6226010"/>
              <a:gd name="connsiteY10655" fmla="*/ 2959456 h 5756219"/>
              <a:gd name="connsiteX10656" fmla="*/ 1801765 w 6226010"/>
              <a:gd name="connsiteY10656" fmla="*/ 2937715 h 5756219"/>
              <a:gd name="connsiteX10657" fmla="*/ 1815353 w 6226010"/>
              <a:gd name="connsiteY10657" fmla="*/ 2888798 h 5756219"/>
              <a:gd name="connsiteX10658" fmla="*/ 1812635 w 6226010"/>
              <a:gd name="connsiteY10658" fmla="*/ 2880645 h 5756219"/>
              <a:gd name="connsiteX10659" fmla="*/ 1799047 w 6226010"/>
              <a:gd name="connsiteY10659" fmla="*/ 2905104 h 5756219"/>
              <a:gd name="connsiteX10660" fmla="*/ 1790894 w 6226010"/>
              <a:gd name="connsiteY10660" fmla="*/ 2967608 h 5756219"/>
              <a:gd name="connsiteX10661" fmla="*/ 1774589 w 6226010"/>
              <a:gd name="connsiteY10661" fmla="*/ 2994784 h 5756219"/>
              <a:gd name="connsiteX10662" fmla="*/ 1771871 w 6226010"/>
              <a:gd name="connsiteY10662" fmla="*/ 3002937 h 5756219"/>
              <a:gd name="connsiteX10663" fmla="*/ 1752848 w 6226010"/>
              <a:gd name="connsiteY10663" fmla="*/ 3027395 h 5756219"/>
              <a:gd name="connsiteX10664" fmla="*/ 1752848 w 6226010"/>
              <a:gd name="connsiteY10664" fmla="*/ 3032831 h 5756219"/>
              <a:gd name="connsiteX10665" fmla="*/ 1744695 w 6226010"/>
              <a:gd name="connsiteY10665" fmla="*/ 3038266 h 5756219"/>
              <a:gd name="connsiteX10666" fmla="*/ 1736543 w 6226010"/>
              <a:gd name="connsiteY10666" fmla="*/ 3049136 h 5756219"/>
              <a:gd name="connsiteX10667" fmla="*/ 1731107 w 6226010"/>
              <a:gd name="connsiteY10667" fmla="*/ 3051854 h 5756219"/>
              <a:gd name="connsiteX10668" fmla="*/ 1728390 w 6226010"/>
              <a:gd name="connsiteY10668" fmla="*/ 3057289 h 5756219"/>
              <a:gd name="connsiteX10669" fmla="*/ 1712084 w 6226010"/>
              <a:gd name="connsiteY10669" fmla="*/ 3068159 h 5756219"/>
              <a:gd name="connsiteX10670" fmla="*/ 1709367 w 6226010"/>
              <a:gd name="connsiteY10670" fmla="*/ 3057289 h 5756219"/>
              <a:gd name="connsiteX10671" fmla="*/ 1714802 w 6226010"/>
              <a:gd name="connsiteY10671" fmla="*/ 3051854 h 5756219"/>
              <a:gd name="connsiteX10672" fmla="*/ 1731107 w 6226010"/>
              <a:gd name="connsiteY10672" fmla="*/ 3011090 h 5756219"/>
              <a:gd name="connsiteX10673" fmla="*/ 1731107 w 6226010"/>
              <a:gd name="connsiteY10673" fmla="*/ 3000219 h 5756219"/>
              <a:gd name="connsiteX10674" fmla="*/ 1736543 w 6226010"/>
              <a:gd name="connsiteY10674" fmla="*/ 2981196 h 5756219"/>
              <a:gd name="connsiteX10675" fmla="*/ 1731107 w 6226010"/>
              <a:gd name="connsiteY10675" fmla="*/ 2948585 h 5756219"/>
              <a:gd name="connsiteX10676" fmla="*/ 1731107 w 6226010"/>
              <a:gd name="connsiteY10676" fmla="*/ 2943150 h 5756219"/>
              <a:gd name="connsiteX10677" fmla="*/ 1728390 w 6226010"/>
              <a:gd name="connsiteY10677" fmla="*/ 2921409 h 5756219"/>
              <a:gd name="connsiteX10678" fmla="*/ 1741978 w 6226010"/>
              <a:gd name="connsiteY10678" fmla="*/ 2891516 h 5756219"/>
              <a:gd name="connsiteX10679" fmla="*/ 1736543 w 6226010"/>
              <a:gd name="connsiteY10679" fmla="*/ 2823576 h 5756219"/>
              <a:gd name="connsiteX10680" fmla="*/ 1736543 w 6226010"/>
              <a:gd name="connsiteY10680" fmla="*/ 2820858 h 5756219"/>
              <a:gd name="connsiteX10681" fmla="*/ 1728390 w 6226010"/>
              <a:gd name="connsiteY10681" fmla="*/ 2826293 h 5756219"/>
              <a:gd name="connsiteX10682" fmla="*/ 1733825 w 6226010"/>
              <a:gd name="connsiteY10682" fmla="*/ 2853469 h 5756219"/>
              <a:gd name="connsiteX10683" fmla="*/ 1733825 w 6226010"/>
              <a:gd name="connsiteY10683" fmla="*/ 2864340 h 5756219"/>
              <a:gd name="connsiteX10684" fmla="*/ 1733825 w 6226010"/>
              <a:gd name="connsiteY10684" fmla="*/ 2880645 h 5756219"/>
              <a:gd name="connsiteX10685" fmla="*/ 1725672 w 6226010"/>
              <a:gd name="connsiteY10685" fmla="*/ 2902386 h 5756219"/>
              <a:gd name="connsiteX10686" fmla="*/ 1722955 w 6226010"/>
              <a:gd name="connsiteY10686" fmla="*/ 2899669 h 5756219"/>
              <a:gd name="connsiteX10687" fmla="*/ 1722955 w 6226010"/>
              <a:gd name="connsiteY10687" fmla="*/ 2875211 h 5756219"/>
              <a:gd name="connsiteX10688" fmla="*/ 1720237 w 6226010"/>
              <a:gd name="connsiteY10688" fmla="*/ 2872493 h 5756219"/>
              <a:gd name="connsiteX10689" fmla="*/ 1712084 w 6226010"/>
              <a:gd name="connsiteY10689" fmla="*/ 2872493 h 5756219"/>
              <a:gd name="connsiteX10690" fmla="*/ 1722955 w 6226010"/>
              <a:gd name="connsiteY10690" fmla="*/ 2924127 h 5756219"/>
              <a:gd name="connsiteX10691" fmla="*/ 1722955 w 6226010"/>
              <a:gd name="connsiteY10691" fmla="*/ 2951303 h 5756219"/>
              <a:gd name="connsiteX10692" fmla="*/ 1728390 w 6226010"/>
              <a:gd name="connsiteY10692" fmla="*/ 2978479 h 5756219"/>
              <a:gd name="connsiteX10693" fmla="*/ 1722955 w 6226010"/>
              <a:gd name="connsiteY10693" fmla="*/ 2992067 h 5756219"/>
              <a:gd name="connsiteX10694" fmla="*/ 1717519 w 6226010"/>
              <a:gd name="connsiteY10694" fmla="*/ 3024678 h 5756219"/>
              <a:gd name="connsiteX10695" fmla="*/ 1703931 w 6226010"/>
              <a:gd name="connsiteY10695" fmla="*/ 3049136 h 5756219"/>
              <a:gd name="connsiteX10696" fmla="*/ 1701214 w 6226010"/>
              <a:gd name="connsiteY10696" fmla="*/ 3049136 h 5756219"/>
              <a:gd name="connsiteX10697" fmla="*/ 1693061 w 6226010"/>
              <a:gd name="connsiteY10697" fmla="*/ 3049136 h 5756219"/>
              <a:gd name="connsiteX10698" fmla="*/ 1698496 w 6226010"/>
              <a:gd name="connsiteY10698" fmla="*/ 2973044 h 5756219"/>
              <a:gd name="connsiteX10699" fmla="*/ 1695779 w 6226010"/>
              <a:gd name="connsiteY10699" fmla="*/ 2962173 h 5756219"/>
              <a:gd name="connsiteX10700" fmla="*/ 1693061 w 6226010"/>
              <a:gd name="connsiteY10700" fmla="*/ 2962173 h 5756219"/>
              <a:gd name="connsiteX10701" fmla="*/ 1684908 w 6226010"/>
              <a:gd name="connsiteY10701" fmla="*/ 3051854 h 5756219"/>
              <a:gd name="connsiteX10702" fmla="*/ 1698496 w 6226010"/>
              <a:gd name="connsiteY10702" fmla="*/ 3079030 h 5756219"/>
              <a:gd name="connsiteX10703" fmla="*/ 1698496 w 6226010"/>
              <a:gd name="connsiteY10703" fmla="*/ 3111641 h 5756219"/>
              <a:gd name="connsiteX10704" fmla="*/ 1695779 w 6226010"/>
              <a:gd name="connsiteY10704" fmla="*/ 3130664 h 5756219"/>
              <a:gd name="connsiteX10705" fmla="*/ 1695779 w 6226010"/>
              <a:gd name="connsiteY10705" fmla="*/ 3136099 h 5756219"/>
              <a:gd name="connsiteX10706" fmla="*/ 1695779 w 6226010"/>
              <a:gd name="connsiteY10706" fmla="*/ 3152405 h 5756219"/>
              <a:gd name="connsiteX10707" fmla="*/ 1695779 w 6226010"/>
              <a:gd name="connsiteY10707" fmla="*/ 3204039 h 5756219"/>
              <a:gd name="connsiteX10708" fmla="*/ 1682191 w 6226010"/>
              <a:gd name="connsiteY10708" fmla="*/ 3236650 h 5756219"/>
              <a:gd name="connsiteX10709" fmla="*/ 1676756 w 6226010"/>
              <a:gd name="connsiteY10709" fmla="*/ 3239368 h 5756219"/>
              <a:gd name="connsiteX10710" fmla="*/ 1668603 w 6226010"/>
              <a:gd name="connsiteY10710" fmla="*/ 3271979 h 5756219"/>
              <a:gd name="connsiteX10711" fmla="*/ 1649580 w 6226010"/>
              <a:gd name="connsiteY10711" fmla="*/ 3312743 h 5756219"/>
              <a:gd name="connsiteX10712" fmla="*/ 1646862 w 6226010"/>
              <a:gd name="connsiteY10712" fmla="*/ 3345354 h 5756219"/>
              <a:gd name="connsiteX10713" fmla="*/ 1638709 w 6226010"/>
              <a:gd name="connsiteY10713" fmla="*/ 3353507 h 5756219"/>
              <a:gd name="connsiteX10714" fmla="*/ 1630556 w 6226010"/>
              <a:gd name="connsiteY10714" fmla="*/ 3353507 h 5756219"/>
              <a:gd name="connsiteX10715" fmla="*/ 1635992 w 6226010"/>
              <a:gd name="connsiteY10715" fmla="*/ 3323613 h 5756219"/>
              <a:gd name="connsiteX10716" fmla="*/ 1635992 w 6226010"/>
              <a:gd name="connsiteY10716" fmla="*/ 3307308 h 5756219"/>
              <a:gd name="connsiteX10717" fmla="*/ 1638709 w 6226010"/>
              <a:gd name="connsiteY10717" fmla="*/ 3282849 h 5756219"/>
              <a:gd name="connsiteX10718" fmla="*/ 1638709 w 6226010"/>
              <a:gd name="connsiteY10718" fmla="*/ 3233932 h 5756219"/>
              <a:gd name="connsiteX10719" fmla="*/ 1644144 w 6226010"/>
              <a:gd name="connsiteY10719" fmla="*/ 3217627 h 5756219"/>
              <a:gd name="connsiteX10720" fmla="*/ 1641427 w 6226010"/>
              <a:gd name="connsiteY10720" fmla="*/ 3168710 h 5756219"/>
              <a:gd name="connsiteX10721" fmla="*/ 1649580 w 6226010"/>
              <a:gd name="connsiteY10721" fmla="*/ 3122511 h 5756219"/>
              <a:gd name="connsiteX10722" fmla="*/ 1649580 w 6226010"/>
              <a:gd name="connsiteY10722" fmla="*/ 3111641 h 5756219"/>
              <a:gd name="connsiteX10723" fmla="*/ 1652297 w 6226010"/>
              <a:gd name="connsiteY10723" fmla="*/ 3095335 h 5756219"/>
              <a:gd name="connsiteX10724" fmla="*/ 1652297 w 6226010"/>
              <a:gd name="connsiteY10724" fmla="*/ 3079030 h 5756219"/>
              <a:gd name="connsiteX10725" fmla="*/ 1660450 w 6226010"/>
              <a:gd name="connsiteY10725" fmla="*/ 3057289 h 5756219"/>
              <a:gd name="connsiteX10726" fmla="*/ 1665885 w 6226010"/>
              <a:gd name="connsiteY10726" fmla="*/ 3032831 h 5756219"/>
              <a:gd name="connsiteX10727" fmla="*/ 1674038 w 6226010"/>
              <a:gd name="connsiteY10727" fmla="*/ 3021960 h 5756219"/>
              <a:gd name="connsiteX10728" fmla="*/ 1674038 w 6226010"/>
              <a:gd name="connsiteY10728" fmla="*/ 2945868 h 5756219"/>
              <a:gd name="connsiteX10729" fmla="*/ 1671320 w 6226010"/>
              <a:gd name="connsiteY10729" fmla="*/ 2924127 h 5756219"/>
              <a:gd name="connsiteX10730" fmla="*/ 1665885 w 6226010"/>
              <a:gd name="connsiteY10730" fmla="*/ 2913257 h 5756219"/>
              <a:gd name="connsiteX10731" fmla="*/ 1663168 w 6226010"/>
              <a:gd name="connsiteY10731" fmla="*/ 2915974 h 5756219"/>
              <a:gd name="connsiteX10732" fmla="*/ 1668603 w 6226010"/>
              <a:gd name="connsiteY10732" fmla="*/ 2983914 h 5756219"/>
              <a:gd name="connsiteX10733" fmla="*/ 1668603 w 6226010"/>
              <a:gd name="connsiteY10733" fmla="*/ 3011090 h 5756219"/>
              <a:gd name="connsiteX10734" fmla="*/ 1668603 w 6226010"/>
              <a:gd name="connsiteY10734" fmla="*/ 3013807 h 5756219"/>
              <a:gd name="connsiteX10735" fmla="*/ 1657732 w 6226010"/>
              <a:gd name="connsiteY10735" fmla="*/ 3011090 h 5756219"/>
              <a:gd name="connsiteX10736" fmla="*/ 1625121 w 6226010"/>
              <a:gd name="connsiteY10736" fmla="*/ 2951303 h 5756219"/>
              <a:gd name="connsiteX10737" fmla="*/ 1619686 w 6226010"/>
              <a:gd name="connsiteY10737" fmla="*/ 2954020 h 5756219"/>
              <a:gd name="connsiteX10738" fmla="*/ 1660450 w 6226010"/>
              <a:gd name="connsiteY10738" fmla="*/ 3027395 h 5756219"/>
              <a:gd name="connsiteX10739" fmla="*/ 1646862 w 6226010"/>
              <a:gd name="connsiteY10739" fmla="*/ 3079030 h 5756219"/>
              <a:gd name="connsiteX10740" fmla="*/ 1646862 w 6226010"/>
              <a:gd name="connsiteY10740" fmla="*/ 3108923 h 5756219"/>
              <a:gd name="connsiteX10741" fmla="*/ 1638709 w 6226010"/>
              <a:gd name="connsiteY10741" fmla="*/ 3157840 h 5756219"/>
              <a:gd name="connsiteX10742" fmla="*/ 1638709 w 6226010"/>
              <a:gd name="connsiteY10742" fmla="*/ 3198604 h 5756219"/>
              <a:gd name="connsiteX10743" fmla="*/ 1633274 w 6226010"/>
              <a:gd name="connsiteY10743" fmla="*/ 3231215 h 5756219"/>
              <a:gd name="connsiteX10744" fmla="*/ 1633274 w 6226010"/>
              <a:gd name="connsiteY10744" fmla="*/ 3296437 h 5756219"/>
              <a:gd name="connsiteX10745" fmla="*/ 1633274 w 6226010"/>
              <a:gd name="connsiteY10745" fmla="*/ 3326331 h 5756219"/>
              <a:gd name="connsiteX10746" fmla="*/ 1627839 w 6226010"/>
              <a:gd name="connsiteY10746" fmla="*/ 3342636 h 5756219"/>
              <a:gd name="connsiteX10747" fmla="*/ 1627839 w 6226010"/>
              <a:gd name="connsiteY10747" fmla="*/ 3358942 h 5756219"/>
              <a:gd name="connsiteX10748" fmla="*/ 1611533 w 6226010"/>
              <a:gd name="connsiteY10748" fmla="*/ 3375247 h 5756219"/>
              <a:gd name="connsiteX10749" fmla="*/ 1584357 w 6226010"/>
              <a:gd name="connsiteY10749" fmla="*/ 3377965 h 5756219"/>
              <a:gd name="connsiteX10750" fmla="*/ 1578922 w 6226010"/>
              <a:gd name="connsiteY10750" fmla="*/ 3383400 h 5756219"/>
              <a:gd name="connsiteX10751" fmla="*/ 1554464 w 6226010"/>
              <a:gd name="connsiteY10751" fmla="*/ 3386118 h 5756219"/>
              <a:gd name="connsiteX10752" fmla="*/ 1532723 w 6226010"/>
              <a:gd name="connsiteY10752" fmla="*/ 3391553 h 5756219"/>
              <a:gd name="connsiteX10753" fmla="*/ 1524570 w 6226010"/>
              <a:gd name="connsiteY10753" fmla="*/ 3380683 h 5756219"/>
              <a:gd name="connsiteX10754" fmla="*/ 1524570 w 6226010"/>
              <a:gd name="connsiteY10754" fmla="*/ 3377965 h 5756219"/>
              <a:gd name="connsiteX10755" fmla="*/ 1519135 w 6226010"/>
              <a:gd name="connsiteY10755" fmla="*/ 3375247 h 5756219"/>
              <a:gd name="connsiteX10756" fmla="*/ 1519135 w 6226010"/>
              <a:gd name="connsiteY10756" fmla="*/ 3369812 h 5756219"/>
              <a:gd name="connsiteX10757" fmla="*/ 1500112 w 6226010"/>
              <a:gd name="connsiteY10757" fmla="*/ 3329048 h 5756219"/>
              <a:gd name="connsiteX10758" fmla="*/ 1510982 w 6226010"/>
              <a:gd name="connsiteY10758" fmla="*/ 3315460 h 5756219"/>
              <a:gd name="connsiteX10759" fmla="*/ 1532723 w 6226010"/>
              <a:gd name="connsiteY10759" fmla="*/ 3296437 h 5756219"/>
              <a:gd name="connsiteX10760" fmla="*/ 1543593 w 6226010"/>
              <a:gd name="connsiteY10760" fmla="*/ 3277414 h 5756219"/>
              <a:gd name="connsiteX10761" fmla="*/ 1549029 w 6226010"/>
              <a:gd name="connsiteY10761" fmla="*/ 3274696 h 5756219"/>
              <a:gd name="connsiteX10762" fmla="*/ 1549029 w 6226010"/>
              <a:gd name="connsiteY10762" fmla="*/ 3269261 h 5756219"/>
              <a:gd name="connsiteX10763" fmla="*/ 1562617 w 6226010"/>
              <a:gd name="connsiteY10763" fmla="*/ 3252956 h 5756219"/>
              <a:gd name="connsiteX10764" fmla="*/ 1587075 w 6226010"/>
              <a:gd name="connsiteY10764" fmla="*/ 3204039 h 5756219"/>
              <a:gd name="connsiteX10765" fmla="*/ 1589792 w 6226010"/>
              <a:gd name="connsiteY10765" fmla="*/ 3190451 h 5756219"/>
              <a:gd name="connsiteX10766" fmla="*/ 1606098 w 6226010"/>
              <a:gd name="connsiteY10766" fmla="*/ 3171428 h 5756219"/>
              <a:gd name="connsiteX10767" fmla="*/ 1614251 w 6226010"/>
              <a:gd name="connsiteY10767" fmla="*/ 3141534 h 5756219"/>
              <a:gd name="connsiteX10768" fmla="*/ 1625121 w 6226010"/>
              <a:gd name="connsiteY10768" fmla="*/ 3111641 h 5756219"/>
              <a:gd name="connsiteX10769" fmla="*/ 1616968 w 6226010"/>
              <a:gd name="connsiteY10769" fmla="*/ 3027395 h 5756219"/>
              <a:gd name="connsiteX10770" fmla="*/ 1611533 w 6226010"/>
              <a:gd name="connsiteY10770" fmla="*/ 3024678 h 5756219"/>
              <a:gd name="connsiteX10771" fmla="*/ 1608816 w 6226010"/>
              <a:gd name="connsiteY10771" fmla="*/ 2986632 h 5756219"/>
              <a:gd name="connsiteX10772" fmla="*/ 1603380 w 6226010"/>
              <a:gd name="connsiteY10772" fmla="*/ 2956738 h 5756219"/>
              <a:gd name="connsiteX10773" fmla="*/ 1608816 w 6226010"/>
              <a:gd name="connsiteY10773" fmla="*/ 2905104 h 5756219"/>
              <a:gd name="connsiteX10774" fmla="*/ 1611533 w 6226010"/>
              <a:gd name="connsiteY10774" fmla="*/ 2891516 h 5756219"/>
              <a:gd name="connsiteX10775" fmla="*/ 1638709 w 6226010"/>
              <a:gd name="connsiteY10775" fmla="*/ 2888798 h 5756219"/>
              <a:gd name="connsiteX10776" fmla="*/ 1671320 w 6226010"/>
              <a:gd name="connsiteY10776" fmla="*/ 2858905 h 5756219"/>
              <a:gd name="connsiteX10777" fmla="*/ 1671320 w 6226010"/>
              <a:gd name="connsiteY10777" fmla="*/ 2850752 h 5756219"/>
              <a:gd name="connsiteX10778" fmla="*/ 1668603 w 6226010"/>
              <a:gd name="connsiteY10778" fmla="*/ 2850752 h 5756219"/>
              <a:gd name="connsiteX10779" fmla="*/ 1644144 w 6226010"/>
              <a:gd name="connsiteY10779" fmla="*/ 2875211 h 5756219"/>
              <a:gd name="connsiteX10780" fmla="*/ 1627839 w 6226010"/>
              <a:gd name="connsiteY10780" fmla="*/ 2883363 h 5756219"/>
              <a:gd name="connsiteX10781" fmla="*/ 1614251 w 6226010"/>
              <a:gd name="connsiteY10781" fmla="*/ 2883363 h 5756219"/>
              <a:gd name="connsiteX10782" fmla="*/ 1611533 w 6226010"/>
              <a:gd name="connsiteY10782" fmla="*/ 2864340 h 5756219"/>
              <a:gd name="connsiteX10783" fmla="*/ 1603380 w 6226010"/>
              <a:gd name="connsiteY10783" fmla="*/ 2869775 h 5756219"/>
              <a:gd name="connsiteX10784" fmla="*/ 1600663 w 6226010"/>
              <a:gd name="connsiteY10784" fmla="*/ 2899669 h 5756219"/>
              <a:gd name="connsiteX10785" fmla="*/ 1592510 w 6226010"/>
              <a:gd name="connsiteY10785" fmla="*/ 2915974 h 5756219"/>
              <a:gd name="connsiteX10786" fmla="*/ 1578922 w 6226010"/>
              <a:gd name="connsiteY10786" fmla="*/ 2872493 h 5756219"/>
              <a:gd name="connsiteX10787" fmla="*/ 1576205 w 6226010"/>
              <a:gd name="connsiteY10787" fmla="*/ 2872493 h 5756219"/>
              <a:gd name="connsiteX10788" fmla="*/ 1570769 w 6226010"/>
              <a:gd name="connsiteY10788" fmla="*/ 2872493 h 5756219"/>
              <a:gd name="connsiteX10789" fmla="*/ 1578922 w 6226010"/>
              <a:gd name="connsiteY10789" fmla="*/ 2913257 h 5756219"/>
              <a:gd name="connsiteX10790" fmla="*/ 1578922 w 6226010"/>
              <a:gd name="connsiteY10790" fmla="*/ 2929562 h 5756219"/>
              <a:gd name="connsiteX10791" fmla="*/ 1581640 w 6226010"/>
              <a:gd name="connsiteY10791" fmla="*/ 2929562 h 5756219"/>
              <a:gd name="connsiteX10792" fmla="*/ 1587075 w 6226010"/>
              <a:gd name="connsiteY10792" fmla="*/ 2940433 h 5756219"/>
              <a:gd name="connsiteX10793" fmla="*/ 1587075 w 6226010"/>
              <a:gd name="connsiteY10793" fmla="*/ 2954020 h 5756219"/>
              <a:gd name="connsiteX10794" fmla="*/ 1595228 w 6226010"/>
              <a:gd name="connsiteY10794" fmla="*/ 2986632 h 5756219"/>
              <a:gd name="connsiteX10795" fmla="*/ 1597945 w 6226010"/>
              <a:gd name="connsiteY10795" fmla="*/ 3032831 h 5756219"/>
              <a:gd name="connsiteX10796" fmla="*/ 1614251 w 6226010"/>
              <a:gd name="connsiteY10796" fmla="*/ 3070877 h 5756219"/>
              <a:gd name="connsiteX10797" fmla="*/ 1606098 w 6226010"/>
              <a:gd name="connsiteY10797" fmla="*/ 3133382 h 5756219"/>
              <a:gd name="connsiteX10798" fmla="*/ 1600663 w 6226010"/>
              <a:gd name="connsiteY10798" fmla="*/ 3133382 h 5756219"/>
              <a:gd name="connsiteX10799" fmla="*/ 1584357 w 6226010"/>
              <a:gd name="connsiteY10799" fmla="*/ 3073594 h 5756219"/>
              <a:gd name="connsiteX10800" fmla="*/ 1584357 w 6226010"/>
              <a:gd name="connsiteY10800" fmla="*/ 3051854 h 5756219"/>
              <a:gd name="connsiteX10801" fmla="*/ 1578922 w 6226010"/>
              <a:gd name="connsiteY10801" fmla="*/ 3035548 h 5756219"/>
              <a:gd name="connsiteX10802" fmla="*/ 1581640 w 6226010"/>
              <a:gd name="connsiteY10802" fmla="*/ 3021960 h 5756219"/>
              <a:gd name="connsiteX10803" fmla="*/ 1568052 w 6226010"/>
              <a:gd name="connsiteY10803" fmla="*/ 3002937 h 5756219"/>
              <a:gd name="connsiteX10804" fmla="*/ 1554464 w 6226010"/>
              <a:gd name="connsiteY10804" fmla="*/ 2967608 h 5756219"/>
              <a:gd name="connsiteX10805" fmla="*/ 1535441 w 6226010"/>
              <a:gd name="connsiteY10805" fmla="*/ 2934997 h 5756219"/>
              <a:gd name="connsiteX10806" fmla="*/ 1530005 w 6226010"/>
              <a:gd name="connsiteY10806" fmla="*/ 2934997 h 5756219"/>
              <a:gd name="connsiteX10807" fmla="*/ 1546311 w 6226010"/>
              <a:gd name="connsiteY10807" fmla="*/ 2975761 h 5756219"/>
              <a:gd name="connsiteX10808" fmla="*/ 1549029 w 6226010"/>
              <a:gd name="connsiteY10808" fmla="*/ 2989349 h 5756219"/>
              <a:gd name="connsiteX10809" fmla="*/ 1557181 w 6226010"/>
              <a:gd name="connsiteY10809" fmla="*/ 3000219 h 5756219"/>
              <a:gd name="connsiteX10810" fmla="*/ 1559899 w 6226010"/>
              <a:gd name="connsiteY10810" fmla="*/ 3013807 h 5756219"/>
              <a:gd name="connsiteX10811" fmla="*/ 1565334 w 6226010"/>
              <a:gd name="connsiteY10811" fmla="*/ 3016525 h 5756219"/>
              <a:gd name="connsiteX10812" fmla="*/ 1565334 w 6226010"/>
              <a:gd name="connsiteY10812" fmla="*/ 3038266 h 5756219"/>
              <a:gd name="connsiteX10813" fmla="*/ 1568052 w 6226010"/>
              <a:gd name="connsiteY10813" fmla="*/ 3040983 h 5756219"/>
              <a:gd name="connsiteX10814" fmla="*/ 1573487 w 6226010"/>
              <a:gd name="connsiteY10814" fmla="*/ 3065442 h 5756219"/>
              <a:gd name="connsiteX10815" fmla="*/ 1573487 w 6226010"/>
              <a:gd name="connsiteY10815" fmla="*/ 3079030 h 5756219"/>
              <a:gd name="connsiteX10816" fmla="*/ 1589792 w 6226010"/>
              <a:gd name="connsiteY10816" fmla="*/ 3122511 h 5756219"/>
              <a:gd name="connsiteX10817" fmla="*/ 1589792 w 6226010"/>
              <a:gd name="connsiteY10817" fmla="*/ 3136099 h 5756219"/>
              <a:gd name="connsiteX10818" fmla="*/ 1600663 w 6226010"/>
              <a:gd name="connsiteY10818" fmla="*/ 3160558 h 5756219"/>
              <a:gd name="connsiteX10819" fmla="*/ 1592510 w 6226010"/>
              <a:gd name="connsiteY10819" fmla="*/ 3171428 h 5756219"/>
              <a:gd name="connsiteX10820" fmla="*/ 1573487 w 6226010"/>
              <a:gd name="connsiteY10820" fmla="*/ 3209474 h 5756219"/>
              <a:gd name="connsiteX10821" fmla="*/ 1570769 w 6226010"/>
              <a:gd name="connsiteY10821" fmla="*/ 3209474 h 5756219"/>
              <a:gd name="connsiteX10822" fmla="*/ 1570769 w 6226010"/>
              <a:gd name="connsiteY10822" fmla="*/ 3168710 h 5756219"/>
              <a:gd name="connsiteX10823" fmla="*/ 1570769 w 6226010"/>
              <a:gd name="connsiteY10823" fmla="*/ 3152405 h 5756219"/>
              <a:gd name="connsiteX10824" fmla="*/ 1576205 w 6226010"/>
              <a:gd name="connsiteY10824" fmla="*/ 3130664 h 5756219"/>
              <a:gd name="connsiteX10825" fmla="*/ 1559899 w 6226010"/>
              <a:gd name="connsiteY10825" fmla="*/ 3114358 h 5756219"/>
              <a:gd name="connsiteX10826" fmla="*/ 1559899 w 6226010"/>
              <a:gd name="connsiteY10826" fmla="*/ 3108923 h 5756219"/>
              <a:gd name="connsiteX10827" fmla="*/ 1554464 w 6226010"/>
              <a:gd name="connsiteY10827" fmla="*/ 3106206 h 5756219"/>
              <a:gd name="connsiteX10828" fmla="*/ 1554464 w 6226010"/>
              <a:gd name="connsiteY10828" fmla="*/ 3100770 h 5756219"/>
              <a:gd name="connsiteX10829" fmla="*/ 1549029 w 6226010"/>
              <a:gd name="connsiteY10829" fmla="*/ 3098053 h 5756219"/>
              <a:gd name="connsiteX10830" fmla="*/ 1546311 w 6226010"/>
              <a:gd name="connsiteY10830" fmla="*/ 3089900 h 5756219"/>
              <a:gd name="connsiteX10831" fmla="*/ 1554464 w 6226010"/>
              <a:gd name="connsiteY10831" fmla="*/ 3062724 h 5756219"/>
              <a:gd name="connsiteX10832" fmla="*/ 1559899 w 6226010"/>
              <a:gd name="connsiteY10832" fmla="*/ 3027395 h 5756219"/>
              <a:gd name="connsiteX10833" fmla="*/ 1557181 w 6226010"/>
              <a:gd name="connsiteY10833" fmla="*/ 3024678 h 5756219"/>
              <a:gd name="connsiteX10834" fmla="*/ 1551746 w 6226010"/>
              <a:gd name="connsiteY10834" fmla="*/ 3024678 h 5756219"/>
              <a:gd name="connsiteX10835" fmla="*/ 1538158 w 6226010"/>
              <a:gd name="connsiteY10835" fmla="*/ 3070877 h 5756219"/>
              <a:gd name="connsiteX10836" fmla="*/ 1524570 w 6226010"/>
              <a:gd name="connsiteY10836" fmla="*/ 3049136 h 5756219"/>
              <a:gd name="connsiteX10837" fmla="*/ 1519135 w 6226010"/>
              <a:gd name="connsiteY10837" fmla="*/ 3024678 h 5756219"/>
              <a:gd name="connsiteX10838" fmla="*/ 1516417 w 6226010"/>
              <a:gd name="connsiteY10838" fmla="*/ 3024678 h 5756219"/>
              <a:gd name="connsiteX10839" fmla="*/ 1513700 w 6226010"/>
              <a:gd name="connsiteY10839" fmla="*/ 3024678 h 5756219"/>
              <a:gd name="connsiteX10840" fmla="*/ 1524570 w 6226010"/>
              <a:gd name="connsiteY10840" fmla="*/ 3073594 h 5756219"/>
              <a:gd name="connsiteX10841" fmla="*/ 1530005 w 6226010"/>
              <a:gd name="connsiteY10841" fmla="*/ 3076312 h 5756219"/>
              <a:gd name="connsiteX10842" fmla="*/ 1530005 w 6226010"/>
              <a:gd name="connsiteY10842" fmla="*/ 3081747 h 5756219"/>
              <a:gd name="connsiteX10843" fmla="*/ 1532723 w 6226010"/>
              <a:gd name="connsiteY10843" fmla="*/ 3081747 h 5756219"/>
              <a:gd name="connsiteX10844" fmla="*/ 1532723 w 6226010"/>
              <a:gd name="connsiteY10844" fmla="*/ 3087182 h 5756219"/>
              <a:gd name="connsiteX10845" fmla="*/ 1540876 w 6226010"/>
              <a:gd name="connsiteY10845" fmla="*/ 3098053 h 5756219"/>
              <a:gd name="connsiteX10846" fmla="*/ 1540876 w 6226010"/>
              <a:gd name="connsiteY10846" fmla="*/ 3103488 h 5756219"/>
              <a:gd name="connsiteX10847" fmla="*/ 1549029 w 6226010"/>
              <a:gd name="connsiteY10847" fmla="*/ 3106206 h 5756219"/>
              <a:gd name="connsiteX10848" fmla="*/ 1565334 w 6226010"/>
              <a:gd name="connsiteY10848" fmla="*/ 3130664 h 5756219"/>
              <a:gd name="connsiteX10849" fmla="*/ 1562617 w 6226010"/>
              <a:gd name="connsiteY10849" fmla="*/ 3141534 h 5756219"/>
              <a:gd name="connsiteX10850" fmla="*/ 1559899 w 6226010"/>
              <a:gd name="connsiteY10850" fmla="*/ 3187733 h 5756219"/>
              <a:gd name="connsiteX10851" fmla="*/ 1559899 w 6226010"/>
              <a:gd name="connsiteY10851" fmla="*/ 3217627 h 5756219"/>
              <a:gd name="connsiteX10852" fmla="*/ 1559899 w 6226010"/>
              <a:gd name="connsiteY10852" fmla="*/ 3236650 h 5756219"/>
              <a:gd name="connsiteX10853" fmla="*/ 1549029 w 6226010"/>
              <a:gd name="connsiteY10853" fmla="*/ 3250238 h 5756219"/>
              <a:gd name="connsiteX10854" fmla="*/ 1549029 w 6226010"/>
              <a:gd name="connsiteY10854" fmla="*/ 3255673 h 5756219"/>
              <a:gd name="connsiteX10855" fmla="*/ 1527288 w 6226010"/>
              <a:gd name="connsiteY10855" fmla="*/ 3282849 h 5756219"/>
              <a:gd name="connsiteX10856" fmla="*/ 1513700 w 6226010"/>
              <a:gd name="connsiteY10856" fmla="*/ 3301872 h 5756219"/>
              <a:gd name="connsiteX10857" fmla="*/ 1505547 w 6226010"/>
              <a:gd name="connsiteY10857" fmla="*/ 3304590 h 5756219"/>
              <a:gd name="connsiteX10858" fmla="*/ 1483806 w 6226010"/>
              <a:gd name="connsiteY10858" fmla="*/ 3326331 h 5756219"/>
              <a:gd name="connsiteX10859" fmla="*/ 1472936 w 6226010"/>
              <a:gd name="connsiteY10859" fmla="*/ 3310025 h 5756219"/>
              <a:gd name="connsiteX10860" fmla="*/ 1467501 w 6226010"/>
              <a:gd name="connsiteY10860" fmla="*/ 3310025 h 5756219"/>
              <a:gd name="connsiteX10861" fmla="*/ 1465076 w 6226010"/>
              <a:gd name="connsiteY10861" fmla="*/ 3307773 h 5756219"/>
              <a:gd name="connsiteX10862" fmla="*/ 1464783 w 6226010"/>
              <a:gd name="connsiteY10862" fmla="*/ 3307308 h 5756219"/>
              <a:gd name="connsiteX10863" fmla="*/ 1464518 w 6226010"/>
              <a:gd name="connsiteY10863" fmla="*/ 3307255 h 5756219"/>
              <a:gd name="connsiteX10864" fmla="*/ 1453233 w 6226010"/>
              <a:gd name="connsiteY10864" fmla="*/ 3296777 h 5756219"/>
              <a:gd name="connsiteX10865" fmla="*/ 1434890 w 6226010"/>
              <a:gd name="connsiteY10865" fmla="*/ 3285567 h 5756219"/>
              <a:gd name="connsiteX10866" fmla="*/ 1434890 w 6226010"/>
              <a:gd name="connsiteY10866" fmla="*/ 3271979 h 5756219"/>
              <a:gd name="connsiteX10867" fmla="*/ 1426737 w 6226010"/>
              <a:gd name="connsiteY10867" fmla="*/ 3239368 h 5756219"/>
              <a:gd name="connsiteX10868" fmla="*/ 1445760 w 6226010"/>
              <a:gd name="connsiteY10868" fmla="*/ 3193169 h 5756219"/>
              <a:gd name="connsiteX10869" fmla="*/ 1437607 w 6226010"/>
              <a:gd name="connsiteY10869" fmla="*/ 3195886 h 5756219"/>
              <a:gd name="connsiteX10870" fmla="*/ 1432172 w 6226010"/>
              <a:gd name="connsiteY10870" fmla="*/ 3212192 h 5756219"/>
              <a:gd name="connsiteX10871" fmla="*/ 1429454 w 6226010"/>
              <a:gd name="connsiteY10871" fmla="*/ 3212192 h 5756219"/>
              <a:gd name="connsiteX10872" fmla="*/ 1415866 w 6226010"/>
              <a:gd name="connsiteY10872" fmla="*/ 3195886 h 5756219"/>
              <a:gd name="connsiteX10873" fmla="*/ 1413149 w 6226010"/>
              <a:gd name="connsiteY10873" fmla="*/ 3195886 h 5756219"/>
              <a:gd name="connsiteX10874" fmla="*/ 1407714 w 6226010"/>
              <a:gd name="connsiteY10874" fmla="*/ 3198604 h 5756219"/>
              <a:gd name="connsiteX10875" fmla="*/ 1415866 w 6226010"/>
              <a:gd name="connsiteY10875" fmla="*/ 3214909 h 5756219"/>
              <a:gd name="connsiteX10876" fmla="*/ 1421302 w 6226010"/>
              <a:gd name="connsiteY10876" fmla="*/ 3247520 h 5756219"/>
              <a:gd name="connsiteX10877" fmla="*/ 1421302 w 6226010"/>
              <a:gd name="connsiteY10877" fmla="*/ 3250238 h 5756219"/>
              <a:gd name="connsiteX10878" fmla="*/ 1415866 w 6226010"/>
              <a:gd name="connsiteY10878" fmla="*/ 3250238 h 5756219"/>
              <a:gd name="connsiteX10879" fmla="*/ 1426737 w 6226010"/>
              <a:gd name="connsiteY10879" fmla="*/ 3100770 h 5756219"/>
              <a:gd name="connsiteX10880" fmla="*/ 1424019 w 6226010"/>
              <a:gd name="connsiteY10880" fmla="*/ 3073594 h 5756219"/>
              <a:gd name="connsiteX10881" fmla="*/ 1421302 w 6226010"/>
              <a:gd name="connsiteY10881" fmla="*/ 3070877 h 5756219"/>
              <a:gd name="connsiteX10882" fmla="*/ 1413149 w 6226010"/>
              <a:gd name="connsiteY10882" fmla="*/ 3070877 h 5756219"/>
              <a:gd name="connsiteX10883" fmla="*/ 1415866 w 6226010"/>
              <a:gd name="connsiteY10883" fmla="*/ 3103488 h 5756219"/>
              <a:gd name="connsiteX10884" fmla="*/ 1407714 w 6226010"/>
              <a:gd name="connsiteY10884" fmla="*/ 3127946 h 5756219"/>
              <a:gd name="connsiteX10885" fmla="*/ 1388690 w 6226010"/>
              <a:gd name="connsiteY10885" fmla="*/ 3106206 h 5756219"/>
              <a:gd name="connsiteX10886" fmla="*/ 1380538 w 6226010"/>
              <a:gd name="connsiteY10886" fmla="*/ 3103488 h 5756219"/>
              <a:gd name="connsiteX10887" fmla="*/ 1380538 w 6226010"/>
              <a:gd name="connsiteY10887" fmla="*/ 3098053 h 5756219"/>
              <a:gd name="connsiteX10888" fmla="*/ 1375102 w 6226010"/>
              <a:gd name="connsiteY10888" fmla="*/ 3095335 h 5756219"/>
              <a:gd name="connsiteX10889" fmla="*/ 1372385 w 6226010"/>
              <a:gd name="connsiteY10889" fmla="*/ 3087182 h 5756219"/>
              <a:gd name="connsiteX10890" fmla="*/ 1369667 w 6226010"/>
              <a:gd name="connsiteY10890" fmla="*/ 3087182 h 5756219"/>
              <a:gd name="connsiteX10891" fmla="*/ 1366950 w 6226010"/>
              <a:gd name="connsiteY10891" fmla="*/ 3089900 h 5756219"/>
              <a:gd name="connsiteX10892" fmla="*/ 1366950 w 6226010"/>
              <a:gd name="connsiteY10892" fmla="*/ 3098053 h 5756219"/>
              <a:gd name="connsiteX10893" fmla="*/ 1372385 w 6226010"/>
              <a:gd name="connsiteY10893" fmla="*/ 3106206 h 5756219"/>
              <a:gd name="connsiteX10894" fmla="*/ 1380538 w 6226010"/>
              <a:gd name="connsiteY10894" fmla="*/ 3108923 h 5756219"/>
              <a:gd name="connsiteX10895" fmla="*/ 1399561 w 6226010"/>
              <a:gd name="connsiteY10895" fmla="*/ 3138817 h 5756219"/>
              <a:gd name="connsiteX10896" fmla="*/ 1396843 w 6226010"/>
              <a:gd name="connsiteY10896" fmla="*/ 3182298 h 5756219"/>
              <a:gd name="connsiteX10897" fmla="*/ 1396843 w 6226010"/>
              <a:gd name="connsiteY10897" fmla="*/ 3209474 h 5756219"/>
              <a:gd name="connsiteX10898" fmla="*/ 1396843 w 6226010"/>
              <a:gd name="connsiteY10898" fmla="*/ 3223062 h 5756219"/>
              <a:gd name="connsiteX10899" fmla="*/ 1413149 w 6226010"/>
              <a:gd name="connsiteY10899" fmla="*/ 3258391 h 5756219"/>
              <a:gd name="connsiteX10900" fmla="*/ 1418584 w 6226010"/>
              <a:gd name="connsiteY10900" fmla="*/ 3261108 h 5756219"/>
              <a:gd name="connsiteX10901" fmla="*/ 1432172 w 6226010"/>
              <a:gd name="connsiteY10901" fmla="*/ 3291002 h 5756219"/>
              <a:gd name="connsiteX10902" fmla="*/ 1451195 w 6226010"/>
              <a:gd name="connsiteY10902" fmla="*/ 3301872 h 5756219"/>
              <a:gd name="connsiteX10903" fmla="*/ 1451195 w 6226010"/>
              <a:gd name="connsiteY10903" fmla="*/ 3304590 h 5756219"/>
              <a:gd name="connsiteX10904" fmla="*/ 1464518 w 6226010"/>
              <a:gd name="connsiteY10904" fmla="*/ 3307255 h 5756219"/>
              <a:gd name="connsiteX10905" fmla="*/ 1465076 w 6226010"/>
              <a:gd name="connsiteY10905" fmla="*/ 3307773 h 5756219"/>
              <a:gd name="connsiteX10906" fmla="*/ 1470558 w 6226010"/>
              <a:gd name="connsiteY10906" fmla="*/ 3316479 h 5756219"/>
              <a:gd name="connsiteX10907" fmla="*/ 1478371 w 6226010"/>
              <a:gd name="connsiteY10907" fmla="*/ 3323613 h 5756219"/>
              <a:gd name="connsiteX10908" fmla="*/ 1478371 w 6226010"/>
              <a:gd name="connsiteY10908" fmla="*/ 3334484 h 5756219"/>
              <a:gd name="connsiteX10909" fmla="*/ 1453913 w 6226010"/>
              <a:gd name="connsiteY10909" fmla="*/ 3353507 h 5756219"/>
              <a:gd name="connsiteX10910" fmla="*/ 1443042 w 6226010"/>
              <a:gd name="connsiteY10910" fmla="*/ 3353507 h 5756219"/>
              <a:gd name="connsiteX10911" fmla="*/ 1424019 w 6226010"/>
              <a:gd name="connsiteY10911" fmla="*/ 3331766 h 5756219"/>
              <a:gd name="connsiteX10912" fmla="*/ 1424019 w 6226010"/>
              <a:gd name="connsiteY10912" fmla="*/ 3326331 h 5756219"/>
              <a:gd name="connsiteX10913" fmla="*/ 1418584 w 6226010"/>
              <a:gd name="connsiteY10913" fmla="*/ 3323613 h 5756219"/>
              <a:gd name="connsiteX10914" fmla="*/ 1418584 w 6226010"/>
              <a:gd name="connsiteY10914" fmla="*/ 3318178 h 5756219"/>
              <a:gd name="connsiteX10915" fmla="*/ 1413149 w 6226010"/>
              <a:gd name="connsiteY10915" fmla="*/ 3315460 h 5756219"/>
              <a:gd name="connsiteX10916" fmla="*/ 1413149 w 6226010"/>
              <a:gd name="connsiteY10916" fmla="*/ 3312743 h 5756219"/>
              <a:gd name="connsiteX10917" fmla="*/ 1399561 w 6226010"/>
              <a:gd name="connsiteY10917" fmla="*/ 3293720 h 5756219"/>
              <a:gd name="connsiteX10918" fmla="*/ 1394126 w 6226010"/>
              <a:gd name="connsiteY10918" fmla="*/ 3293720 h 5756219"/>
              <a:gd name="connsiteX10919" fmla="*/ 1394126 w 6226010"/>
              <a:gd name="connsiteY10919" fmla="*/ 3291002 h 5756219"/>
              <a:gd name="connsiteX10920" fmla="*/ 1388690 w 6226010"/>
              <a:gd name="connsiteY10920" fmla="*/ 3288284 h 5756219"/>
              <a:gd name="connsiteX10921" fmla="*/ 1388690 w 6226010"/>
              <a:gd name="connsiteY10921" fmla="*/ 3285567 h 5756219"/>
              <a:gd name="connsiteX10922" fmla="*/ 1370686 w 6226010"/>
              <a:gd name="connsiteY10922" fmla="*/ 3272319 h 5756219"/>
              <a:gd name="connsiteX10923" fmla="*/ 1366721 w 6226010"/>
              <a:gd name="connsiteY10923" fmla="*/ 3270101 h 5756219"/>
              <a:gd name="connsiteX10924" fmla="*/ 1365931 w 6226010"/>
              <a:gd name="connsiteY10924" fmla="*/ 3272998 h 5756219"/>
              <a:gd name="connsiteX10925" fmla="*/ 1366950 w 6226010"/>
              <a:gd name="connsiteY10925" fmla="*/ 3274696 h 5756219"/>
              <a:gd name="connsiteX10926" fmla="*/ 1372385 w 6226010"/>
              <a:gd name="connsiteY10926" fmla="*/ 3274696 h 5756219"/>
              <a:gd name="connsiteX10927" fmla="*/ 1369667 w 6226010"/>
              <a:gd name="connsiteY10927" fmla="*/ 3277414 h 5756219"/>
              <a:gd name="connsiteX10928" fmla="*/ 1385973 w 6226010"/>
              <a:gd name="connsiteY10928" fmla="*/ 3291002 h 5756219"/>
              <a:gd name="connsiteX10929" fmla="*/ 1385973 w 6226010"/>
              <a:gd name="connsiteY10929" fmla="*/ 3293719 h 5756219"/>
              <a:gd name="connsiteX10930" fmla="*/ 1394126 w 6226010"/>
              <a:gd name="connsiteY10930" fmla="*/ 3296437 h 5756219"/>
              <a:gd name="connsiteX10931" fmla="*/ 1394126 w 6226010"/>
              <a:gd name="connsiteY10931" fmla="*/ 3301872 h 5756219"/>
              <a:gd name="connsiteX10932" fmla="*/ 1399561 w 6226010"/>
              <a:gd name="connsiteY10932" fmla="*/ 3304590 h 5756219"/>
              <a:gd name="connsiteX10933" fmla="*/ 1404996 w 6226010"/>
              <a:gd name="connsiteY10933" fmla="*/ 3318178 h 5756219"/>
              <a:gd name="connsiteX10934" fmla="*/ 1410431 w 6226010"/>
              <a:gd name="connsiteY10934" fmla="*/ 3320895 h 5756219"/>
              <a:gd name="connsiteX10935" fmla="*/ 1424020 w 6226010"/>
              <a:gd name="connsiteY10935" fmla="*/ 3342636 h 5756219"/>
              <a:gd name="connsiteX10936" fmla="*/ 1388690 w 6226010"/>
              <a:gd name="connsiteY10936" fmla="*/ 3358942 h 5756219"/>
              <a:gd name="connsiteX10937" fmla="*/ 1375102 w 6226010"/>
              <a:gd name="connsiteY10937" fmla="*/ 3350789 h 5756219"/>
              <a:gd name="connsiteX10938" fmla="*/ 1372385 w 6226010"/>
              <a:gd name="connsiteY10938" fmla="*/ 3345354 h 5756219"/>
              <a:gd name="connsiteX10939" fmla="*/ 1364232 w 6226010"/>
              <a:gd name="connsiteY10939" fmla="*/ 3345354 h 5756219"/>
              <a:gd name="connsiteX10940" fmla="*/ 1364232 w 6226010"/>
              <a:gd name="connsiteY10940" fmla="*/ 3342636 h 5756219"/>
              <a:gd name="connsiteX10941" fmla="*/ 1358797 w 6226010"/>
              <a:gd name="connsiteY10941" fmla="*/ 3342636 h 5756219"/>
              <a:gd name="connsiteX10942" fmla="*/ 1350644 w 6226010"/>
              <a:gd name="connsiteY10942" fmla="*/ 3334483 h 5756219"/>
              <a:gd name="connsiteX10943" fmla="*/ 1345209 w 6226010"/>
              <a:gd name="connsiteY10943" fmla="*/ 3334483 h 5756219"/>
              <a:gd name="connsiteX10944" fmla="*/ 1340192 w 6226010"/>
              <a:gd name="connsiteY10944" fmla="*/ 3326957 h 5756219"/>
              <a:gd name="connsiteX10945" fmla="*/ 1339773 w 6226010"/>
              <a:gd name="connsiteY10945" fmla="*/ 3329048 h 5756219"/>
              <a:gd name="connsiteX10946" fmla="*/ 1337056 w 6226010"/>
              <a:gd name="connsiteY10946" fmla="*/ 3342636 h 5756219"/>
              <a:gd name="connsiteX10947" fmla="*/ 1326186 w 6226010"/>
              <a:gd name="connsiteY10947" fmla="*/ 3339919 h 5756219"/>
              <a:gd name="connsiteX10948" fmla="*/ 1334339 w 6226010"/>
              <a:gd name="connsiteY10948" fmla="*/ 3342636 h 5756219"/>
              <a:gd name="connsiteX10949" fmla="*/ 1334339 w 6226010"/>
              <a:gd name="connsiteY10949" fmla="*/ 3345354 h 5756219"/>
              <a:gd name="connsiteX10950" fmla="*/ 1345209 w 6226010"/>
              <a:gd name="connsiteY10950" fmla="*/ 3348071 h 5756219"/>
              <a:gd name="connsiteX10951" fmla="*/ 1347927 w 6226010"/>
              <a:gd name="connsiteY10951" fmla="*/ 3353507 h 5756219"/>
              <a:gd name="connsiteX10952" fmla="*/ 1358797 w 6226010"/>
              <a:gd name="connsiteY10952" fmla="*/ 3353507 h 5756219"/>
              <a:gd name="connsiteX10953" fmla="*/ 1361515 w 6226010"/>
              <a:gd name="connsiteY10953" fmla="*/ 3358942 h 5756219"/>
              <a:gd name="connsiteX10954" fmla="*/ 1369667 w 6226010"/>
              <a:gd name="connsiteY10954" fmla="*/ 3361659 h 5756219"/>
              <a:gd name="connsiteX10955" fmla="*/ 1380538 w 6226010"/>
              <a:gd name="connsiteY10955" fmla="*/ 3375247 h 5756219"/>
              <a:gd name="connsiteX10956" fmla="*/ 1388690 w 6226010"/>
              <a:gd name="connsiteY10956" fmla="*/ 3377965 h 5756219"/>
              <a:gd name="connsiteX10957" fmla="*/ 1388690 w 6226010"/>
              <a:gd name="connsiteY10957" fmla="*/ 3383400 h 5756219"/>
              <a:gd name="connsiteX10958" fmla="*/ 1404996 w 6226010"/>
              <a:gd name="connsiteY10958" fmla="*/ 3388835 h 5756219"/>
              <a:gd name="connsiteX10959" fmla="*/ 1434890 w 6226010"/>
              <a:gd name="connsiteY10959" fmla="*/ 3402423 h 5756219"/>
              <a:gd name="connsiteX10960" fmla="*/ 1437607 w 6226010"/>
              <a:gd name="connsiteY10960" fmla="*/ 3437752 h 5756219"/>
              <a:gd name="connsiteX10961" fmla="*/ 1372385 w 6226010"/>
              <a:gd name="connsiteY10961" fmla="*/ 3437752 h 5756219"/>
              <a:gd name="connsiteX10962" fmla="*/ 1350644 w 6226010"/>
              <a:gd name="connsiteY10962" fmla="*/ 3432317 h 5756219"/>
              <a:gd name="connsiteX10963" fmla="*/ 1339774 w 6226010"/>
              <a:gd name="connsiteY10963" fmla="*/ 3432317 h 5756219"/>
              <a:gd name="connsiteX10964" fmla="*/ 1339774 w 6226010"/>
              <a:gd name="connsiteY10964" fmla="*/ 3435034 h 5756219"/>
              <a:gd name="connsiteX10965" fmla="*/ 1345209 w 6226010"/>
              <a:gd name="connsiteY10965" fmla="*/ 3445905 h 5756219"/>
              <a:gd name="connsiteX10966" fmla="*/ 1440325 w 6226010"/>
              <a:gd name="connsiteY10966" fmla="*/ 3462210 h 5756219"/>
              <a:gd name="connsiteX10967" fmla="*/ 1443042 w 6226010"/>
              <a:gd name="connsiteY10967" fmla="*/ 3489386 h 5756219"/>
              <a:gd name="connsiteX10968" fmla="*/ 1448478 w 6226010"/>
              <a:gd name="connsiteY10968" fmla="*/ 3497539 h 5756219"/>
              <a:gd name="connsiteX10969" fmla="*/ 1448478 w 6226010"/>
              <a:gd name="connsiteY10969" fmla="*/ 3511127 h 5756219"/>
              <a:gd name="connsiteX10970" fmla="*/ 1456630 w 6226010"/>
              <a:gd name="connsiteY10970" fmla="*/ 3521997 h 5756219"/>
              <a:gd name="connsiteX10971" fmla="*/ 1459348 w 6226010"/>
              <a:gd name="connsiteY10971" fmla="*/ 3535585 h 5756219"/>
              <a:gd name="connsiteX10972" fmla="*/ 1462066 w 6226010"/>
              <a:gd name="connsiteY10972" fmla="*/ 3535585 h 5756219"/>
              <a:gd name="connsiteX10973" fmla="*/ 1464783 w 6226010"/>
              <a:gd name="connsiteY10973" fmla="*/ 3549173 h 5756219"/>
              <a:gd name="connsiteX10974" fmla="*/ 1478371 w 6226010"/>
              <a:gd name="connsiteY10974" fmla="*/ 3570914 h 5756219"/>
              <a:gd name="connsiteX10975" fmla="*/ 1489241 w 6226010"/>
              <a:gd name="connsiteY10975" fmla="*/ 3600808 h 5756219"/>
              <a:gd name="connsiteX10976" fmla="*/ 1489241 w 6226010"/>
              <a:gd name="connsiteY10976" fmla="*/ 3606243 h 5756219"/>
              <a:gd name="connsiteX10977" fmla="*/ 1483806 w 6226010"/>
              <a:gd name="connsiteY10977" fmla="*/ 3611678 h 5756219"/>
              <a:gd name="connsiteX10978" fmla="*/ 1459348 w 6226010"/>
              <a:gd name="connsiteY10978" fmla="*/ 3614396 h 5756219"/>
              <a:gd name="connsiteX10979" fmla="*/ 1457650 w 6226010"/>
              <a:gd name="connsiteY10979" fmla="*/ 3617113 h 5756219"/>
              <a:gd name="connsiteX10980" fmla="*/ 1464784 w 6226010"/>
              <a:gd name="connsiteY10980" fmla="*/ 3617113 h 5756219"/>
              <a:gd name="connsiteX10981" fmla="*/ 1464784 w 6226010"/>
              <a:gd name="connsiteY10981" fmla="*/ 3638854 h 5756219"/>
              <a:gd name="connsiteX10982" fmla="*/ 1467502 w 6226010"/>
              <a:gd name="connsiteY10982" fmla="*/ 3663312 h 5756219"/>
              <a:gd name="connsiteX10983" fmla="*/ 1464784 w 6226010"/>
              <a:gd name="connsiteY10983" fmla="*/ 3666030 h 5756219"/>
              <a:gd name="connsiteX10984" fmla="*/ 1456631 w 6226010"/>
              <a:gd name="connsiteY10984" fmla="*/ 3685053 h 5756219"/>
              <a:gd name="connsiteX10985" fmla="*/ 1434890 w 6226010"/>
              <a:gd name="connsiteY10985" fmla="*/ 3674183 h 5756219"/>
              <a:gd name="connsiteX10986" fmla="*/ 1424020 w 6226010"/>
              <a:gd name="connsiteY10986" fmla="*/ 3679618 h 5756219"/>
              <a:gd name="connsiteX10987" fmla="*/ 1448478 w 6226010"/>
              <a:gd name="connsiteY10987" fmla="*/ 3690488 h 5756219"/>
              <a:gd name="connsiteX10988" fmla="*/ 1459348 w 6226010"/>
              <a:gd name="connsiteY10988" fmla="*/ 3720382 h 5756219"/>
              <a:gd name="connsiteX10989" fmla="*/ 1467502 w 6226010"/>
              <a:gd name="connsiteY10989" fmla="*/ 3720382 h 5756219"/>
              <a:gd name="connsiteX10990" fmla="*/ 1464784 w 6226010"/>
              <a:gd name="connsiteY10990" fmla="*/ 3733970 h 5756219"/>
              <a:gd name="connsiteX10991" fmla="*/ 1464784 w 6226010"/>
              <a:gd name="connsiteY10991" fmla="*/ 3736687 h 5756219"/>
              <a:gd name="connsiteX10992" fmla="*/ 1445760 w 6226010"/>
              <a:gd name="connsiteY10992" fmla="*/ 3720382 h 5756219"/>
              <a:gd name="connsiteX10993" fmla="*/ 1432172 w 6226010"/>
              <a:gd name="connsiteY10993" fmla="*/ 3717664 h 5756219"/>
              <a:gd name="connsiteX10994" fmla="*/ 1432172 w 6226010"/>
              <a:gd name="connsiteY10994" fmla="*/ 3714947 h 5756219"/>
              <a:gd name="connsiteX10995" fmla="*/ 1415867 w 6226010"/>
              <a:gd name="connsiteY10995" fmla="*/ 3712229 h 5756219"/>
              <a:gd name="connsiteX10996" fmla="*/ 1404996 w 6226010"/>
              <a:gd name="connsiteY10996" fmla="*/ 3704076 h 5756219"/>
              <a:gd name="connsiteX10997" fmla="*/ 1399561 w 6226010"/>
              <a:gd name="connsiteY10997" fmla="*/ 3690488 h 5756219"/>
              <a:gd name="connsiteX10998" fmla="*/ 1391408 w 6226010"/>
              <a:gd name="connsiteY10998" fmla="*/ 3682336 h 5756219"/>
              <a:gd name="connsiteX10999" fmla="*/ 1391408 w 6226010"/>
              <a:gd name="connsiteY10999" fmla="*/ 3668748 h 5756219"/>
              <a:gd name="connsiteX11000" fmla="*/ 1383256 w 6226010"/>
              <a:gd name="connsiteY11000" fmla="*/ 3660595 h 5756219"/>
              <a:gd name="connsiteX11001" fmla="*/ 1383256 w 6226010"/>
              <a:gd name="connsiteY11001" fmla="*/ 3641572 h 5756219"/>
              <a:gd name="connsiteX11002" fmla="*/ 1402279 w 6226010"/>
              <a:gd name="connsiteY11002" fmla="*/ 3625266 h 5756219"/>
              <a:gd name="connsiteX11003" fmla="*/ 1413149 w 6226010"/>
              <a:gd name="connsiteY11003" fmla="*/ 3625266 h 5756219"/>
              <a:gd name="connsiteX11004" fmla="*/ 1399561 w 6226010"/>
              <a:gd name="connsiteY11004" fmla="*/ 3614396 h 5756219"/>
              <a:gd name="connsiteX11005" fmla="*/ 1381896 w 6226010"/>
              <a:gd name="connsiteY11005" fmla="*/ 3615415 h 5756219"/>
              <a:gd name="connsiteX11006" fmla="*/ 1379590 w 6226010"/>
              <a:gd name="connsiteY11006" fmla="*/ 3619122 h 5756219"/>
              <a:gd name="connsiteX11007" fmla="*/ 1385973 w 6226010"/>
              <a:gd name="connsiteY11007" fmla="*/ 3619831 h 5756219"/>
              <a:gd name="connsiteX11008" fmla="*/ 1380538 w 6226010"/>
              <a:gd name="connsiteY11008" fmla="*/ 3625267 h 5756219"/>
              <a:gd name="connsiteX11009" fmla="*/ 1375874 w 6226010"/>
              <a:gd name="connsiteY11009" fmla="*/ 3625094 h 5756219"/>
              <a:gd name="connsiteX11010" fmla="*/ 1372385 w 6226010"/>
              <a:gd name="connsiteY11010" fmla="*/ 3630701 h 5756219"/>
              <a:gd name="connsiteX11011" fmla="*/ 1366950 w 6226010"/>
              <a:gd name="connsiteY11011" fmla="*/ 3630701 h 5756219"/>
              <a:gd name="connsiteX11012" fmla="*/ 1366950 w 6226010"/>
              <a:gd name="connsiteY11012" fmla="*/ 3627984 h 5756219"/>
              <a:gd name="connsiteX11013" fmla="*/ 1356079 w 6226010"/>
              <a:gd name="connsiteY11013" fmla="*/ 3625266 h 5756219"/>
              <a:gd name="connsiteX11014" fmla="*/ 1339774 w 6226010"/>
              <a:gd name="connsiteY11014" fmla="*/ 3617113 h 5756219"/>
              <a:gd name="connsiteX11015" fmla="*/ 1318033 w 6226010"/>
              <a:gd name="connsiteY11015" fmla="*/ 3587220 h 5756219"/>
              <a:gd name="connsiteX11016" fmla="*/ 1312598 w 6226010"/>
              <a:gd name="connsiteY11016" fmla="*/ 3573632 h 5756219"/>
              <a:gd name="connsiteX11017" fmla="*/ 1279987 w 6226010"/>
              <a:gd name="connsiteY11017" fmla="*/ 3557326 h 5756219"/>
              <a:gd name="connsiteX11018" fmla="*/ 1267078 w 6226010"/>
              <a:gd name="connsiteY11018" fmla="*/ 3558005 h 5756219"/>
              <a:gd name="connsiteX11019" fmla="*/ 1265787 w 6226010"/>
              <a:gd name="connsiteY11019" fmla="*/ 3558700 h 5756219"/>
              <a:gd name="connsiteX11020" fmla="*/ 1271834 w 6226010"/>
              <a:gd name="connsiteY11020" fmla="*/ 3560044 h 5756219"/>
              <a:gd name="connsiteX11021" fmla="*/ 1274552 w 6226010"/>
              <a:gd name="connsiteY11021" fmla="*/ 3565480 h 5756219"/>
              <a:gd name="connsiteX11022" fmla="*/ 1279987 w 6226010"/>
              <a:gd name="connsiteY11022" fmla="*/ 3565480 h 5756219"/>
              <a:gd name="connsiteX11023" fmla="*/ 1279987 w 6226010"/>
              <a:gd name="connsiteY11023" fmla="*/ 3570915 h 5756219"/>
              <a:gd name="connsiteX11024" fmla="*/ 1285422 w 6226010"/>
              <a:gd name="connsiteY11024" fmla="*/ 3573633 h 5756219"/>
              <a:gd name="connsiteX11025" fmla="*/ 1285422 w 6226010"/>
              <a:gd name="connsiteY11025" fmla="*/ 3579068 h 5756219"/>
              <a:gd name="connsiteX11026" fmla="*/ 1290857 w 6226010"/>
              <a:gd name="connsiteY11026" fmla="*/ 3581785 h 5756219"/>
              <a:gd name="connsiteX11027" fmla="*/ 1290857 w 6226010"/>
              <a:gd name="connsiteY11027" fmla="*/ 3587220 h 5756219"/>
              <a:gd name="connsiteX11028" fmla="*/ 1296293 w 6226010"/>
              <a:gd name="connsiteY11028" fmla="*/ 3587220 h 5756219"/>
              <a:gd name="connsiteX11029" fmla="*/ 1301728 w 6226010"/>
              <a:gd name="connsiteY11029" fmla="*/ 3595373 h 5756219"/>
              <a:gd name="connsiteX11030" fmla="*/ 1307163 w 6226010"/>
              <a:gd name="connsiteY11030" fmla="*/ 3606244 h 5756219"/>
              <a:gd name="connsiteX11031" fmla="*/ 1318033 w 6226010"/>
              <a:gd name="connsiteY11031" fmla="*/ 3608961 h 5756219"/>
              <a:gd name="connsiteX11032" fmla="*/ 1320751 w 6226010"/>
              <a:gd name="connsiteY11032" fmla="*/ 3614396 h 5756219"/>
              <a:gd name="connsiteX11033" fmla="*/ 1328904 w 6226010"/>
              <a:gd name="connsiteY11033" fmla="*/ 3614396 h 5756219"/>
              <a:gd name="connsiteX11034" fmla="*/ 1334340 w 6226010"/>
              <a:gd name="connsiteY11034" fmla="*/ 3622549 h 5756219"/>
              <a:gd name="connsiteX11035" fmla="*/ 1347928 w 6226010"/>
              <a:gd name="connsiteY11035" fmla="*/ 3625267 h 5756219"/>
              <a:gd name="connsiteX11036" fmla="*/ 1347928 w 6226010"/>
              <a:gd name="connsiteY11036" fmla="*/ 3630702 h 5756219"/>
              <a:gd name="connsiteX11037" fmla="*/ 1326186 w 6226010"/>
              <a:gd name="connsiteY11037" fmla="*/ 3641572 h 5756219"/>
              <a:gd name="connsiteX11038" fmla="*/ 1261983 w 6226010"/>
              <a:gd name="connsiteY11038" fmla="*/ 3630872 h 5756219"/>
              <a:gd name="connsiteX11039" fmla="*/ 1249024 w 6226010"/>
              <a:gd name="connsiteY11039" fmla="*/ 3623488 h 5756219"/>
              <a:gd name="connsiteX11040" fmla="*/ 1250093 w 6226010"/>
              <a:gd name="connsiteY11040" fmla="*/ 3630701 h 5756219"/>
              <a:gd name="connsiteX11041" fmla="*/ 1252811 w 6226010"/>
              <a:gd name="connsiteY11041" fmla="*/ 3630701 h 5756219"/>
              <a:gd name="connsiteX11042" fmla="*/ 1255528 w 6226010"/>
              <a:gd name="connsiteY11042" fmla="*/ 3638854 h 5756219"/>
              <a:gd name="connsiteX11043" fmla="*/ 1250772 w 6226010"/>
              <a:gd name="connsiteY11043" fmla="*/ 3648026 h 5756219"/>
              <a:gd name="connsiteX11044" fmla="*/ 1249983 w 6226010"/>
              <a:gd name="connsiteY11044" fmla="*/ 3648664 h 5756219"/>
              <a:gd name="connsiteX11045" fmla="*/ 1249754 w 6226010"/>
              <a:gd name="connsiteY11045" fmla="*/ 3652103 h 5756219"/>
              <a:gd name="connsiteX11046" fmla="*/ 1247376 w 6226010"/>
              <a:gd name="connsiteY11046" fmla="*/ 3655160 h 5756219"/>
              <a:gd name="connsiteX11047" fmla="*/ 1241941 w 6226010"/>
              <a:gd name="connsiteY11047" fmla="*/ 3655160 h 5756219"/>
              <a:gd name="connsiteX11048" fmla="*/ 1241940 w 6226010"/>
              <a:gd name="connsiteY11048" fmla="*/ 3655160 h 5756219"/>
              <a:gd name="connsiteX11049" fmla="*/ 1241939 w 6226010"/>
              <a:gd name="connsiteY11049" fmla="*/ 3655160 h 5756219"/>
              <a:gd name="connsiteX11050" fmla="*/ 1233788 w 6226010"/>
              <a:gd name="connsiteY11050" fmla="*/ 3655160 h 5756219"/>
              <a:gd name="connsiteX11051" fmla="*/ 1237120 w 6226010"/>
              <a:gd name="connsiteY11051" fmla="*/ 3648829 h 5756219"/>
              <a:gd name="connsiteX11052" fmla="*/ 1224616 w 6226010"/>
              <a:gd name="connsiteY11052" fmla="*/ 3632400 h 5756219"/>
              <a:gd name="connsiteX11053" fmla="*/ 1201177 w 6226010"/>
              <a:gd name="connsiteY11053" fmla="*/ 3619831 h 5756219"/>
              <a:gd name="connsiteX11054" fmla="*/ 1201177 w 6226010"/>
              <a:gd name="connsiteY11054" fmla="*/ 3614396 h 5756219"/>
              <a:gd name="connsiteX11055" fmla="*/ 1193024 w 6226010"/>
              <a:gd name="connsiteY11055" fmla="*/ 3614396 h 5756219"/>
              <a:gd name="connsiteX11056" fmla="*/ 1187589 w 6226010"/>
              <a:gd name="connsiteY11056" fmla="*/ 3587220 h 5756219"/>
              <a:gd name="connsiteX11057" fmla="*/ 1184871 w 6226010"/>
              <a:gd name="connsiteY11057" fmla="*/ 3589937 h 5756219"/>
              <a:gd name="connsiteX11058" fmla="*/ 1176718 w 6226010"/>
              <a:gd name="connsiteY11058" fmla="*/ 3573632 h 5756219"/>
              <a:gd name="connsiteX11059" fmla="*/ 1179436 w 6226010"/>
              <a:gd name="connsiteY11059" fmla="*/ 3570914 h 5756219"/>
              <a:gd name="connsiteX11060" fmla="*/ 1176718 w 6226010"/>
              <a:gd name="connsiteY11060" fmla="*/ 3551891 h 5756219"/>
              <a:gd name="connsiteX11061" fmla="*/ 1149542 w 6226010"/>
              <a:gd name="connsiteY11061" fmla="*/ 3551891 h 5756219"/>
              <a:gd name="connsiteX11062" fmla="*/ 1146825 w 6226010"/>
              <a:gd name="connsiteY11062" fmla="*/ 3551891 h 5756219"/>
              <a:gd name="connsiteX11063" fmla="*/ 1160413 w 6226010"/>
              <a:gd name="connsiteY11063" fmla="*/ 3549173 h 5756219"/>
              <a:gd name="connsiteX11064" fmla="*/ 1127801 w 6226010"/>
              <a:gd name="connsiteY11064" fmla="*/ 3549173 h 5756219"/>
              <a:gd name="connsiteX11065" fmla="*/ 1125084 w 6226010"/>
              <a:gd name="connsiteY11065" fmla="*/ 3551891 h 5756219"/>
              <a:gd name="connsiteX11066" fmla="*/ 1125084 w 6226010"/>
              <a:gd name="connsiteY11066" fmla="*/ 3554608 h 5756219"/>
              <a:gd name="connsiteX11067" fmla="*/ 1135954 w 6226010"/>
              <a:gd name="connsiteY11067" fmla="*/ 3557326 h 5756219"/>
              <a:gd name="connsiteX11068" fmla="*/ 1119649 w 6226010"/>
              <a:gd name="connsiteY11068" fmla="*/ 3565479 h 5756219"/>
              <a:gd name="connsiteX11069" fmla="*/ 1120445 w 6226010"/>
              <a:gd name="connsiteY11069" fmla="*/ 3568197 h 5756219"/>
              <a:gd name="connsiteX11070" fmla="*/ 1141390 w 6226010"/>
              <a:gd name="connsiteY11070" fmla="*/ 3568197 h 5756219"/>
              <a:gd name="connsiteX11071" fmla="*/ 1149260 w 6226010"/>
              <a:gd name="connsiteY11071" fmla="*/ 3581970 h 5756219"/>
              <a:gd name="connsiteX11072" fmla="*/ 1139691 w 6226010"/>
              <a:gd name="connsiteY11072" fmla="*/ 3588239 h 5756219"/>
              <a:gd name="connsiteX11073" fmla="*/ 1135954 w 6226010"/>
              <a:gd name="connsiteY11073" fmla="*/ 3600808 h 5756219"/>
              <a:gd name="connsiteX11074" fmla="*/ 1133237 w 6226010"/>
              <a:gd name="connsiteY11074" fmla="*/ 3600808 h 5756219"/>
              <a:gd name="connsiteX11075" fmla="*/ 1130519 w 6226010"/>
              <a:gd name="connsiteY11075" fmla="*/ 3600808 h 5756219"/>
              <a:gd name="connsiteX11076" fmla="*/ 1130518 w 6226010"/>
              <a:gd name="connsiteY11076" fmla="*/ 3600808 h 5756219"/>
              <a:gd name="connsiteX11077" fmla="*/ 1122366 w 6226010"/>
              <a:gd name="connsiteY11077" fmla="*/ 3600808 h 5756219"/>
              <a:gd name="connsiteX11078" fmla="*/ 1114214 w 6226010"/>
              <a:gd name="connsiteY11078" fmla="*/ 3595373 h 5756219"/>
              <a:gd name="connsiteX11079" fmla="*/ 1119649 w 6226010"/>
              <a:gd name="connsiteY11079" fmla="*/ 3595373 h 5756219"/>
              <a:gd name="connsiteX11080" fmla="*/ 1118300 w 6226010"/>
              <a:gd name="connsiteY11080" fmla="*/ 3585027 h 5756219"/>
              <a:gd name="connsiteX11081" fmla="*/ 1114213 w 6226010"/>
              <a:gd name="connsiteY11081" fmla="*/ 3579067 h 5756219"/>
              <a:gd name="connsiteX11082" fmla="*/ 1111496 w 6226010"/>
              <a:gd name="connsiteY11082" fmla="*/ 3565479 h 5756219"/>
              <a:gd name="connsiteX11083" fmla="*/ 1111496 w 6226010"/>
              <a:gd name="connsiteY11083" fmla="*/ 3557326 h 5756219"/>
              <a:gd name="connsiteX11084" fmla="*/ 1108778 w 6226010"/>
              <a:gd name="connsiteY11084" fmla="*/ 3557326 h 5756219"/>
              <a:gd name="connsiteX11085" fmla="*/ 1111496 w 6226010"/>
              <a:gd name="connsiteY11085" fmla="*/ 3535585 h 5756219"/>
              <a:gd name="connsiteX11086" fmla="*/ 1103343 w 6226010"/>
              <a:gd name="connsiteY11086" fmla="*/ 3486669 h 5756219"/>
              <a:gd name="connsiteX11087" fmla="*/ 1103343 w 6226010"/>
              <a:gd name="connsiteY11087" fmla="*/ 3467645 h 5756219"/>
              <a:gd name="connsiteX11088" fmla="*/ 1095190 w 6226010"/>
              <a:gd name="connsiteY11088" fmla="*/ 3421446 h 5756219"/>
              <a:gd name="connsiteX11089" fmla="*/ 1087038 w 6226010"/>
              <a:gd name="connsiteY11089" fmla="*/ 3421446 h 5756219"/>
              <a:gd name="connsiteX11090" fmla="*/ 1087038 w 6226010"/>
              <a:gd name="connsiteY11090" fmla="*/ 3448622 h 5756219"/>
              <a:gd name="connsiteX11091" fmla="*/ 1092473 w 6226010"/>
              <a:gd name="connsiteY11091" fmla="*/ 3473081 h 5756219"/>
              <a:gd name="connsiteX11092" fmla="*/ 1092473 w 6226010"/>
              <a:gd name="connsiteY11092" fmla="*/ 3511127 h 5756219"/>
              <a:gd name="connsiteX11093" fmla="*/ 1095190 w 6226010"/>
              <a:gd name="connsiteY11093" fmla="*/ 3551891 h 5756219"/>
              <a:gd name="connsiteX11094" fmla="*/ 1057144 w 6226010"/>
              <a:gd name="connsiteY11094" fmla="*/ 3500256 h 5756219"/>
              <a:gd name="connsiteX11095" fmla="*/ 1048991 w 6226010"/>
              <a:gd name="connsiteY11095" fmla="*/ 3470363 h 5756219"/>
              <a:gd name="connsiteX11096" fmla="*/ 1040838 w 6226010"/>
              <a:gd name="connsiteY11096" fmla="*/ 3475798 h 5756219"/>
              <a:gd name="connsiteX11097" fmla="*/ 1051709 w 6226010"/>
              <a:gd name="connsiteY11097" fmla="*/ 3524715 h 5756219"/>
              <a:gd name="connsiteX11098" fmla="*/ 1035403 w 6226010"/>
              <a:gd name="connsiteY11098" fmla="*/ 3521997 h 5756219"/>
              <a:gd name="connsiteX11099" fmla="*/ 1016380 w 6226010"/>
              <a:gd name="connsiteY11099" fmla="*/ 3505692 h 5756219"/>
              <a:gd name="connsiteX11100" fmla="*/ 1008227 w 6226010"/>
              <a:gd name="connsiteY11100" fmla="*/ 3502974 h 5756219"/>
              <a:gd name="connsiteX11101" fmla="*/ 1005510 w 6226010"/>
              <a:gd name="connsiteY11101" fmla="*/ 3489386 h 5756219"/>
              <a:gd name="connsiteX11102" fmla="*/ 991922 w 6226010"/>
              <a:gd name="connsiteY11102" fmla="*/ 3454057 h 5756219"/>
              <a:gd name="connsiteX11103" fmla="*/ 986486 w 6226010"/>
              <a:gd name="connsiteY11103" fmla="*/ 3454057 h 5756219"/>
              <a:gd name="connsiteX11104" fmla="*/ 983769 w 6226010"/>
              <a:gd name="connsiteY11104" fmla="*/ 3454057 h 5756219"/>
              <a:gd name="connsiteX11105" fmla="*/ 994639 w 6226010"/>
              <a:gd name="connsiteY11105" fmla="*/ 3489386 h 5756219"/>
              <a:gd name="connsiteX11106" fmla="*/ 994639 w 6226010"/>
              <a:gd name="connsiteY11106" fmla="*/ 3494821 h 5756219"/>
              <a:gd name="connsiteX11107" fmla="*/ 964746 w 6226010"/>
              <a:gd name="connsiteY11107" fmla="*/ 3473081 h 5756219"/>
              <a:gd name="connsiteX11108" fmla="*/ 956593 w 6226010"/>
              <a:gd name="connsiteY11108" fmla="*/ 3473081 h 5756219"/>
              <a:gd name="connsiteX11109" fmla="*/ 972899 w 6226010"/>
              <a:gd name="connsiteY11109" fmla="*/ 3489386 h 5756219"/>
              <a:gd name="connsiteX11110" fmla="*/ 986486 w 6226010"/>
              <a:gd name="connsiteY11110" fmla="*/ 3502974 h 5756219"/>
              <a:gd name="connsiteX11111" fmla="*/ 997357 w 6226010"/>
              <a:gd name="connsiteY11111" fmla="*/ 3505692 h 5756219"/>
              <a:gd name="connsiteX11112" fmla="*/ 997357 w 6226010"/>
              <a:gd name="connsiteY11112" fmla="*/ 3508409 h 5756219"/>
              <a:gd name="connsiteX11113" fmla="*/ 1008227 w 6226010"/>
              <a:gd name="connsiteY11113" fmla="*/ 3508409 h 5756219"/>
              <a:gd name="connsiteX11114" fmla="*/ 1021815 w 6226010"/>
              <a:gd name="connsiteY11114" fmla="*/ 3530150 h 5756219"/>
              <a:gd name="connsiteX11115" fmla="*/ 1043556 w 6226010"/>
              <a:gd name="connsiteY11115" fmla="*/ 3532868 h 5756219"/>
              <a:gd name="connsiteX11116" fmla="*/ 1059862 w 6226010"/>
              <a:gd name="connsiteY11116" fmla="*/ 3549173 h 5756219"/>
              <a:gd name="connsiteX11117" fmla="*/ 1059862 w 6226010"/>
              <a:gd name="connsiteY11117" fmla="*/ 3551891 h 5756219"/>
              <a:gd name="connsiteX11118" fmla="*/ 1068014 w 6226010"/>
              <a:gd name="connsiteY11118" fmla="*/ 3551891 h 5756219"/>
              <a:gd name="connsiteX11119" fmla="*/ 1070732 w 6226010"/>
              <a:gd name="connsiteY11119" fmla="*/ 3546456 h 5756219"/>
              <a:gd name="connsiteX11120" fmla="*/ 1084320 w 6226010"/>
              <a:gd name="connsiteY11120" fmla="*/ 3560044 h 5756219"/>
              <a:gd name="connsiteX11121" fmla="*/ 1097908 w 6226010"/>
              <a:gd name="connsiteY11121" fmla="*/ 3568196 h 5756219"/>
              <a:gd name="connsiteX11122" fmla="*/ 1100625 w 6226010"/>
              <a:gd name="connsiteY11122" fmla="*/ 3581784 h 5756219"/>
              <a:gd name="connsiteX11123" fmla="*/ 1125084 w 6226010"/>
              <a:gd name="connsiteY11123" fmla="*/ 3614396 h 5756219"/>
              <a:gd name="connsiteX11124" fmla="*/ 1095190 w 6226010"/>
              <a:gd name="connsiteY11124" fmla="*/ 3614396 h 5756219"/>
              <a:gd name="connsiteX11125" fmla="*/ 1059862 w 6226010"/>
              <a:gd name="connsiteY11125" fmla="*/ 3573632 h 5756219"/>
              <a:gd name="connsiteX11126" fmla="*/ 1051709 w 6226010"/>
              <a:gd name="connsiteY11126" fmla="*/ 3573632 h 5756219"/>
              <a:gd name="connsiteX11127" fmla="*/ 1051709 w 6226010"/>
              <a:gd name="connsiteY11127" fmla="*/ 3576349 h 5756219"/>
              <a:gd name="connsiteX11128" fmla="*/ 1059862 w 6226010"/>
              <a:gd name="connsiteY11128" fmla="*/ 3589937 h 5756219"/>
              <a:gd name="connsiteX11129" fmla="*/ 1059862 w 6226010"/>
              <a:gd name="connsiteY11129" fmla="*/ 3595372 h 5756219"/>
              <a:gd name="connsiteX11130" fmla="*/ 1070732 w 6226010"/>
              <a:gd name="connsiteY11130" fmla="*/ 3606243 h 5756219"/>
              <a:gd name="connsiteX11131" fmla="*/ 1070732 w 6226010"/>
              <a:gd name="connsiteY11131" fmla="*/ 3608960 h 5756219"/>
              <a:gd name="connsiteX11132" fmla="*/ 1087038 w 6226010"/>
              <a:gd name="connsiteY11132" fmla="*/ 3625266 h 5756219"/>
              <a:gd name="connsiteX11133" fmla="*/ 1095190 w 6226010"/>
              <a:gd name="connsiteY11133" fmla="*/ 3627984 h 5756219"/>
              <a:gd name="connsiteX11134" fmla="*/ 1106061 w 6226010"/>
              <a:gd name="connsiteY11134" fmla="*/ 3622548 h 5756219"/>
              <a:gd name="connsiteX11135" fmla="*/ 1108778 w 6226010"/>
              <a:gd name="connsiteY11135" fmla="*/ 3625266 h 5756219"/>
              <a:gd name="connsiteX11136" fmla="*/ 1135954 w 6226010"/>
              <a:gd name="connsiteY11136" fmla="*/ 3627984 h 5756219"/>
              <a:gd name="connsiteX11137" fmla="*/ 1152260 w 6226010"/>
              <a:gd name="connsiteY11137" fmla="*/ 3636136 h 5756219"/>
              <a:gd name="connsiteX11138" fmla="*/ 1152260 w 6226010"/>
              <a:gd name="connsiteY11138" fmla="*/ 3633419 h 5756219"/>
              <a:gd name="connsiteX11139" fmla="*/ 1179436 w 6226010"/>
              <a:gd name="connsiteY11139" fmla="*/ 3633419 h 5756219"/>
              <a:gd name="connsiteX11140" fmla="*/ 1201177 w 6226010"/>
              <a:gd name="connsiteY11140" fmla="*/ 3647007 h 5756219"/>
              <a:gd name="connsiteX11141" fmla="*/ 1203894 w 6226010"/>
              <a:gd name="connsiteY11141" fmla="*/ 3655160 h 5756219"/>
              <a:gd name="connsiteX11142" fmla="*/ 1209329 w 6226010"/>
              <a:gd name="connsiteY11142" fmla="*/ 3655160 h 5756219"/>
              <a:gd name="connsiteX11143" fmla="*/ 1212047 w 6226010"/>
              <a:gd name="connsiteY11143" fmla="*/ 3660595 h 5756219"/>
              <a:gd name="connsiteX11144" fmla="*/ 1217482 w 6226010"/>
              <a:gd name="connsiteY11144" fmla="*/ 3663312 h 5756219"/>
              <a:gd name="connsiteX11145" fmla="*/ 1220200 w 6226010"/>
              <a:gd name="connsiteY11145" fmla="*/ 3676900 h 5756219"/>
              <a:gd name="connsiteX11146" fmla="*/ 1225635 w 6226010"/>
              <a:gd name="connsiteY11146" fmla="*/ 3679618 h 5756219"/>
              <a:gd name="connsiteX11147" fmla="*/ 1225635 w 6226010"/>
              <a:gd name="connsiteY11147" fmla="*/ 3682335 h 5756219"/>
              <a:gd name="connsiteX11148" fmla="*/ 1231070 w 6226010"/>
              <a:gd name="connsiteY11148" fmla="*/ 3682335 h 5756219"/>
              <a:gd name="connsiteX11149" fmla="*/ 1231070 w 6226010"/>
              <a:gd name="connsiteY11149" fmla="*/ 3687771 h 5756219"/>
              <a:gd name="connsiteX11150" fmla="*/ 1236505 w 6226010"/>
              <a:gd name="connsiteY11150" fmla="*/ 3693206 h 5756219"/>
              <a:gd name="connsiteX11151" fmla="*/ 1244658 w 6226010"/>
              <a:gd name="connsiteY11151" fmla="*/ 3721061 h 5756219"/>
              <a:gd name="connsiteX11152" fmla="*/ 1246726 w 6226010"/>
              <a:gd name="connsiteY11152" fmla="*/ 3727092 h 5756219"/>
              <a:gd name="connsiteX11153" fmla="*/ 1246017 w 6226010"/>
              <a:gd name="connsiteY11153" fmla="*/ 3716646 h 5756219"/>
              <a:gd name="connsiteX11154" fmla="*/ 1260964 w 6226010"/>
              <a:gd name="connsiteY11154" fmla="*/ 3698642 h 5756219"/>
              <a:gd name="connsiteX11155" fmla="*/ 1279987 w 6226010"/>
              <a:gd name="connsiteY11155" fmla="*/ 3709513 h 5756219"/>
              <a:gd name="connsiteX11156" fmla="*/ 1282704 w 6226010"/>
              <a:gd name="connsiteY11156" fmla="*/ 3709513 h 5756219"/>
              <a:gd name="connsiteX11157" fmla="*/ 1290857 w 6226010"/>
              <a:gd name="connsiteY11157" fmla="*/ 3717665 h 5756219"/>
              <a:gd name="connsiteX11158" fmla="*/ 1288140 w 6226010"/>
              <a:gd name="connsiteY11158" fmla="*/ 3709513 h 5756219"/>
              <a:gd name="connsiteX11159" fmla="*/ 1307163 w 6226010"/>
              <a:gd name="connsiteY11159" fmla="*/ 3701360 h 5756219"/>
              <a:gd name="connsiteX11160" fmla="*/ 1309880 w 6226010"/>
              <a:gd name="connsiteY11160" fmla="*/ 3695925 h 5756219"/>
              <a:gd name="connsiteX11161" fmla="*/ 1309880 w 6226010"/>
              <a:gd name="connsiteY11161" fmla="*/ 3712230 h 5756219"/>
              <a:gd name="connsiteX11162" fmla="*/ 1307163 w 6226010"/>
              <a:gd name="connsiteY11162" fmla="*/ 3712230 h 5756219"/>
              <a:gd name="connsiteX11163" fmla="*/ 1299010 w 6226010"/>
              <a:gd name="connsiteY11163" fmla="*/ 3714948 h 5756219"/>
              <a:gd name="connsiteX11164" fmla="*/ 1326186 w 6226010"/>
              <a:gd name="connsiteY11164" fmla="*/ 3736689 h 5756219"/>
              <a:gd name="connsiteX11165" fmla="*/ 1318033 w 6226010"/>
              <a:gd name="connsiteY11165" fmla="*/ 3742124 h 5756219"/>
              <a:gd name="connsiteX11166" fmla="*/ 1285422 w 6226010"/>
              <a:gd name="connsiteY11166" fmla="*/ 3742124 h 5756219"/>
              <a:gd name="connsiteX11167" fmla="*/ 1274552 w 6226010"/>
              <a:gd name="connsiteY11167" fmla="*/ 3736689 h 5756219"/>
              <a:gd name="connsiteX11168" fmla="*/ 1256888 w 6226010"/>
              <a:gd name="connsiteY11168" fmla="*/ 3736688 h 5756219"/>
              <a:gd name="connsiteX11169" fmla="*/ 1250016 w 6226010"/>
              <a:gd name="connsiteY11169" fmla="*/ 3736689 h 5756219"/>
              <a:gd name="connsiteX11170" fmla="*/ 1252811 w 6226010"/>
              <a:gd name="connsiteY11170" fmla="*/ 3744840 h 5756219"/>
              <a:gd name="connsiteX11171" fmla="*/ 1244658 w 6226010"/>
              <a:gd name="connsiteY11171" fmla="*/ 3739405 h 5756219"/>
              <a:gd name="connsiteX11172" fmla="*/ 1228352 w 6226010"/>
              <a:gd name="connsiteY11172" fmla="*/ 3739405 h 5756219"/>
              <a:gd name="connsiteX11173" fmla="*/ 1193024 w 6226010"/>
              <a:gd name="connsiteY11173" fmla="*/ 3704076 h 5756219"/>
              <a:gd name="connsiteX11174" fmla="*/ 1179436 w 6226010"/>
              <a:gd name="connsiteY11174" fmla="*/ 3704076 h 5756219"/>
              <a:gd name="connsiteX11175" fmla="*/ 1184871 w 6226010"/>
              <a:gd name="connsiteY11175" fmla="*/ 3712229 h 5756219"/>
              <a:gd name="connsiteX11176" fmla="*/ 1184871 w 6226010"/>
              <a:gd name="connsiteY11176" fmla="*/ 3717664 h 5756219"/>
              <a:gd name="connsiteX11177" fmla="*/ 1193024 w 6226010"/>
              <a:gd name="connsiteY11177" fmla="*/ 3717664 h 5756219"/>
              <a:gd name="connsiteX11178" fmla="*/ 1193024 w 6226010"/>
              <a:gd name="connsiteY11178" fmla="*/ 3723099 h 5756219"/>
              <a:gd name="connsiteX11179" fmla="*/ 1214764 w 6226010"/>
              <a:gd name="connsiteY11179" fmla="*/ 3739405 h 5756219"/>
              <a:gd name="connsiteX11180" fmla="*/ 1217482 w 6226010"/>
              <a:gd name="connsiteY11180" fmla="*/ 3744840 h 5756219"/>
              <a:gd name="connsiteX11181" fmla="*/ 1233788 w 6226010"/>
              <a:gd name="connsiteY11181" fmla="*/ 3747558 h 5756219"/>
              <a:gd name="connsiteX11182" fmla="*/ 1250093 w 6226010"/>
              <a:gd name="connsiteY11182" fmla="*/ 3752993 h 5756219"/>
              <a:gd name="connsiteX11183" fmla="*/ 1250093 w 6226010"/>
              <a:gd name="connsiteY11183" fmla="*/ 3758428 h 5756219"/>
              <a:gd name="connsiteX11184" fmla="*/ 1220200 w 6226010"/>
              <a:gd name="connsiteY11184" fmla="*/ 3750275 h 5756219"/>
              <a:gd name="connsiteX11185" fmla="*/ 1206612 w 6226010"/>
              <a:gd name="connsiteY11185" fmla="*/ 3807345 h 5756219"/>
              <a:gd name="connsiteX11186" fmla="*/ 1176718 w 6226010"/>
              <a:gd name="connsiteY11186" fmla="*/ 3796474 h 5756219"/>
              <a:gd name="connsiteX11187" fmla="*/ 1176718 w 6226010"/>
              <a:gd name="connsiteY11187" fmla="*/ 3788321 h 5756219"/>
              <a:gd name="connsiteX11188" fmla="*/ 1171283 w 6226010"/>
              <a:gd name="connsiteY11188" fmla="*/ 3788321 h 5756219"/>
              <a:gd name="connsiteX11189" fmla="*/ 1165848 w 6226010"/>
              <a:gd name="connsiteY11189" fmla="*/ 3780169 h 5756219"/>
              <a:gd name="connsiteX11190" fmla="*/ 1157695 w 6226010"/>
              <a:gd name="connsiteY11190" fmla="*/ 3777451 h 5756219"/>
              <a:gd name="connsiteX11191" fmla="*/ 1157695 w 6226010"/>
              <a:gd name="connsiteY11191" fmla="*/ 3766581 h 5756219"/>
              <a:gd name="connsiteX11192" fmla="*/ 1154977 w 6226010"/>
              <a:gd name="connsiteY11192" fmla="*/ 3763863 h 5756219"/>
              <a:gd name="connsiteX11193" fmla="*/ 1152260 w 6226010"/>
              <a:gd name="connsiteY11193" fmla="*/ 3752993 h 5756219"/>
              <a:gd name="connsiteX11194" fmla="*/ 1111496 w 6226010"/>
              <a:gd name="connsiteY11194" fmla="*/ 3693206 h 5756219"/>
              <a:gd name="connsiteX11195" fmla="*/ 1100625 w 6226010"/>
              <a:gd name="connsiteY11195" fmla="*/ 3704076 h 5756219"/>
              <a:gd name="connsiteX11196" fmla="*/ 1108778 w 6226010"/>
              <a:gd name="connsiteY11196" fmla="*/ 3706794 h 5756219"/>
              <a:gd name="connsiteX11197" fmla="*/ 1111496 w 6226010"/>
              <a:gd name="connsiteY11197" fmla="*/ 3712229 h 5756219"/>
              <a:gd name="connsiteX11198" fmla="*/ 1116931 w 6226010"/>
              <a:gd name="connsiteY11198" fmla="*/ 3712229 h 5756219"/>
              <a:gd name="connsiteX11199" fmla="*/ 1116931 w 6226010"/>
              <a:gd name="connsiteY11199" fmla="*/ 3717664 h 5756219"/>
              <a:gd name="connsiteX11200" fmla="*/ 1127801 w 6226010"/>
              <a:gd name="connsiteY11200" fmla="*/ 3728534 h 5756219"/>
              <a:gd name="connsiteX11201" fmla="*/ 1127801 w 6226010"/>
              <a:gd name="connsiteY11201" fmla="*/ 3731252 h 5756219"/>
              <a:gd name="connsiteX11202" fmla="*/ 1133237 w 6226010"/>
              <a:gd name="connsiteY11202" fmla="*/ 3733970 h 5756219"/>
              <a:gd name="connsiteX11203" fmla="*/ 1135954 w 6226010"/>
              <a:gd name="connsiteY11203" fmla="*/ 3747558 h 5756219"/>
              <a:gd name="connsiteX11204" fmla="*/ 1146825 w 6226010"/>
              <a:gd name="connsiteY11204" fmla="*/ 3758428 h 5756219"/>
              <a:gd name="connsiteX11205" fmla="*/ 1149542 w 6226010"/>
              <a:gd name="connsiteY11205" fmla="*/ 3780169 h 5756219"/>
              <a:gd name="connsiteX11206" fmla="*/ 1157695 w 6226010"/>
              <a:gd name="connsiteY11206" fmla="*/ 3793757 h 5756219"/>
              <a:gd name="connsiteX11207" fmla="*/ 1138672 w 6226010"/>
              <a:gd name="connsiteY11207" fmla="*/ 3793757 h 5756219"/>
              <a:gd name="connsiteX11208" fmla="*/ 1087038 w 6226010"/>
              <a:gd name="connsiteY11208" fmla="*/ 3755710 h 5756219"/>
              <a:gd name="connsiteX11209" fmla="*/ 1076167 w 6226010"/>
              <a:gd name="connsiteY11209" fmla="*/ 3723099 h 5756219"/>
              <a:gd name="connsiteX11210" fmla="*/ 1059862 w 6226010"/>
              <a:gd name="connsiteY11210" fmla="*/ 3706794 h 5756219"/>
              <a:gd name="connsiteX11211" fmla="*/ 1057144 w 6226010"/>
              <a:gd name="connsiteY11211" fmla="*/ 3706794 h 5756219"/>
              <a:gd name="connsiteX11212" fmla="*/ 1054426 w 6226010"/>
              <a:gd name="connsiteY11212" fmla="*/ 3709511 h 5756219"/>
              <a:gd name="connsiteX11213" fmla="*/ 1070732 w 6226010"/>
              <a:gd name="connsiteY11213" fmla="*/ 3742122 h 5756219"/>
              <a:gd name="connsiteX11214" fmla="*/ 1016380 w 6226010"/>
              <a:gd name="connsiteY11214" fmla="*/ 3709511 h 5756219"/>
              <a:gd name="connsiteX11215" fmla="*/ 1010945 w 6226010"/>
              <a:gd name="connsiteY11215" fmla="*/ 3712229 h 5756219"/>
              <a:gd name="connsiteX11216" fmla="*/ 1021815 w 6226010"/>
              <a:gd name="connsiteY11216" fmla="*/ 3720382 h 5756219"/>
              <a:gd name="connsiteX11217" fmla="*/ 1021815 w 6226010"/>
              <a:gd name="connsiteY11217" fmla="*/ 3723099 h 5756219"/>
              <a:gd name="connsiteX11218" fmla="*/ 1029968 w 6226010"/>
              <a:gd name="connsiteY11218" fmla="*/ 3725817 h 5756219"/>
              <a:gd name="connsiteX11219" fmla="*/ 1032686 w 6226010"/>
              <a:gd name="connsiteY11219" fmla="*/ 3731252 h 5756219"/>
              <a:gd name="connsiteX11220" fmla="*/ 1054426 w 6226010"/>
              <a:gd name="connsiteY11220" fmla="*/ 3739405 h 5756219"/>
              <a:gd name="connsiteX11221" fmla="*/ 1068014 w 6226010"/>
              <a:gd name="connsiteY11221" fmla="*/ 3747558 h 5756219"/>
              <a:gd name="connsiteX11222" fmla="*/ 1068014 w 6226010"/>
              <a:gd name="connsiteY11222" fmla="*/ 3758428 h 5756219"/>
              <a:gd name="connsiteX11223" fmla="*/ 1084320 w 6226010"/>
              <a:gd name="connsiteY11223" fmla="*/ 3761146 h 5756219"/>
              <a:gd name="connsiteX11224" fmla="*/ 1084320 w 6226010"/>
              <a:gd name="connsiteY11224" fmla="*/ 3763863 h 5756219"/>
              <a:gd name="connsiteX11225" fmla="*/ 1092473 w 6226010"/>
              <a:gd name="connsiteY11225" fmla="*/ 3766581 h 5756219"/>
              <a:gd name="connsiteX11226" fmla="*/ 1095190 w 6226010"/>
              <a:gd name="connsiteY11226" fmla="*/ 3772016 h 5756219"/>
              <a:gd name="connsiteX11227" fmla="*/ 1111496 w 6226010"/>
              <a:gd name="connsiteY11227" fmla="*/ 3780169 h 5756219"/>
              <a:gd name="connsiteX11228" fmla="*/ 1114213 w 6226010"/>
              <a:gd name="connsiteY11228" fmla="*/ 3788321 h 5756219"/>
              <a:gd name="connsiteX11229" fmla="*/ 1119649 w 6226010"/>
              <a:gd name="connsiteY11229" fmla="*/ 3788321 h 5756219"/>
              <a:gd name="connsiteX11230" fmla="*/ 1125084 w 6226010"/>
              <a:gd name="connsiteY11230" fmla="*/ 3793757 h 5756219"/>
              <a:gd name="connsiteX11231" fmla="*/ 1130519 w 6226010"/>
              <a:gd name="connsiteY11231" fmla="*/ 3793757 h 5756219"/>
              <a:gd name="connsiteX11232" fmla="*/ 1133237 w 6226010"/>
              <a:gd name="connsiteY11232" fmla="*/ 3796474 h 5756219"/>
              <a:gd name="connsiteX11233" fmla="*/ 1119649 w 6226010"/>
              <a:gd name="connsiteY11233" fmla="*/ 3801909 h 5756219"/>
              <a:gd name="connsiteX11234" fmla="*/ 1046274 w 6226010"/>
              <a:gd name="connsiteY11234" fmla="*/ 3750275 h 5756219"/>
              <a:gd name="connsiteX11235" fmla="*/ 1059862 w 6226010"/>
              <a:gd name="connsiteY11235" fmla="*/ 3799192 h 5756219"/>
              <a:gd name="connsiteX11236" fmla="*/ 1013662 w 6226010"/>
              <a:gd name="connsiteY11236" fmla="*/ 3766581 h 5756219"/>
              <a:gd name="connsiteX11237" fmla="*/ 1008227 w 6226010"/>
              <a:gd name="connsiteY11237" fmla="*/ 3774733 h 5756219"/>
              <a:gd name="connsiteX11238" fmla="*/ 1005510 w 6226010"/>
              <a:gd name="connsiteY11238" fmla="*/ 3774733 h 5756219"/>
              <a:gd name="connsiteX11239" fmla="*/ 1002792 w 6226010"/>
              <a:gd name="connsiteY11239" fmla="*/ 3774733 h 5756219"/>
              <a:gd name="connsiteX11240" fmla="*/ 1008227 w 6226010"/>
              <a:gd name="connsiteY11240" fmla="*/ 3796474 h 5756219"/>
              <a:gd name="connsiteX11241" fmla="*/ 1008227 w 6226010"/>
              <a:gd name="connsiteY11241" fmla="*/ 3799192 h 5756219"/>
              <a:gd name="connsiteX11242" fmla="*/ 1003699 w 6226010"/>
              <a:gd name="connsiteY11242" fmla="*/ 3796173 h 5756219"/>
              <a:gd name="connsiteX11243" fmla="*/ 1002793 w 6226010"/>
              <a:gd name="connsiteY11243" fmla="*/ 3801910 h 5756219"/>
              <a:gd name="connsiteX11244" fmla="*/ 1002793 w 6226010"/>
              <a:gd name="connsiteY11244" fmla="*/ 3795570 h 5756219"/>
              <a:gd name="connsiteX11245" fmla="*/ 983769 w 6226010"/>
              <a:gd name="connsiteY11245" fmla="*/ 3782886 h 5756219"/>
              <a:gd name="connsiteX11246" fmla="*/ 981051 w 6226010"/>
              <a:gd name="connsiteY11246" fmla="*/ 3782886 h 5756219"/>
              <a:gd name="connsiteX11247" fmla="*/ 978334 w 6226010"/>
              <a:gd name="connsiteY11247" fmla="*/ 3782886 h 5756219"/>
              <a:gd name="connsiteX11248" fmla="*/ 972899 w 6226010"/>
              <a:gd name="connsiteY11248" fmla="*/ 3774733 h 5756219"/>
              <a:gd name="connsiteX11249" fmla="*/ 967463 w 6226010"/>
              <a:gd name="connsiteY11249" fmla="*/ 3774733 h 5756219"/>
              <a:gd name="connsiteX11250" fmla="*/ 964746 w 6226010"/>
              <a:gd name="connsiteY11250" fmla="*/ 3769298 h 5756219"/>
              <a:gd name="connsiteX11251" fmla="*/ 962028 w 6226010"/>
              <a:gd name="connsiteY11251" fmla="*/ 3769298 h 5756219"/>
              <a:gd name="connsiteX11252" fmla="*/ 951158 w 6226010"/>
              <a:gd name="connsiteY11252" fmla="*/ 3704076 h 5756219"/>
              <a:gd name="connsiteX11253" fmla="*/ 899523 w 6226010"/>
              <a:gd name="connsiteY11253" fmla="*/ 3698641 h 5756219"/>
              <a:gd name="connsiteX11254" fmla="*/ 894088 w 6226010"/>
              <a:gd name="connsiteY11254" fmla="*/ 3728534 h 5756219"/>
              <a:gd name="connsiteX11255" fmla="*/ 894088 w 6226010"/>
              <a:gd name="connsiteY11255" fmla="*/ 3731252 h 5756219"/>
              <a:gd name="connsiteX11256" fmla="*/ 888653 w 6226010"/>
              <a:gd name="connsiteY11256" fmla="*/ 3739405 h 5756219"/>
              <a:gd name="connsiteX11257" fmla="*/ 913111 w 6226010"/>
              <a:gd name="connsiteY11257" fmla="*/ 3747558 h 5756219"/>
              <a:gd name="connsiteX11258" fmla="*/ 932135 w 6226010"/>
              <a:gd name="connsiteY11258" fmla="*/ 3769298 h 5756219"/>
              <a:gd name="connsiteX11259" fmla="*/ 932135 w 6226010"/>
              <a:gd name="connsiteY11259" fmla="*/ 3772016 h 5756219"/>
              <a:gd name="connsiteX11260" fmla="*/ 888653 w 6226010"/>
              <a:gd name="connsiteY11260" fmla="*/ 3774733 h 5756219"/>
              <a:gd name="connsiteX11261" fmla="*/ 885935 w 6226010"/>
              <a:gd name="connsiteY11261" fmla="*/ 3769298 h 5756219"/>
              <a:gd name="connsiteX11262" fmla="*/ 869630 w 6226010"/>
              <a:gd name="connsiteY11262" fmla="*/ 3774733 h 5756219"/>
              <a:gd name="connsiteX11263" fmla="*/ 845172 w 6226010"/>
              <a:gd name="connsiteY11263" fmla="*/ 3761146 h 5756219"/>
              <a:gd name="connsiteX11264" fmla="*/ 858760 w 6226010"/>
              <a:gd name="connsiteY11264" fmla="*/ 3758428 h 5756219"/>
              <a:gd name="connsiteX11265" fmla="*/ 804408 w 6226010"/>
              <a:gd name="connsiteY11265" fmla="*/ 3739405 h 5756219"/>
              <a:gd name="connsiteX11266" fmla="*/ 804408 w 6226010"/>
              <a:gd name="connsiteY11266" fmla="*/ 3755710 h 5756219"/>
              <a:gd name="connsiteX11267" fmla="*/ 788102 w 6226010"/>
              <a:gd name="connsiteY11267" fmla="*/ 3752993 h 5756219"/>
              <a:gd name="connsiteX11268" fmla="*/ 782667 w 6226010"/>
              <a:gd name="connsiteY11268" fmla="*/ 3755710 h 5756219"/>
              <a:gd name="connsiteX11269" fmla="*/ 782667 w 6226010"/>
              <a:gd name="connsiteY11269" fmla="*/ 3761146 h 5756219"/>
              <a:gd name="connsiteX11270" fmla="*/ 798972 w 6226010"/>
              <a:gd name="connsiteY11270" fmla="*/ 3763863 h 5756219"/>
              <a:gd name="connsiteX11271" fmla="*/ 798972 w 6226010"/>
              <a:gd name="connsiteY11271" fmla="*/ 3777451 h 5756219"/>
              <a:gd name="connsiteX11272" fmla="*/ 817996 w 6226010"/>
              <a:gd name="connsiteY11272" fmla="*/ 3766581 h 5756219"/>
              <a:gd name="connsiteX11273" fmla="*/ 820713 w 6226010"/>
              <a:gd name="connsiteY11273" fmla="*/ 3785604 h 5756219"/>
              <a:gd name="connsiteX11274" fmla="*/ 834301 w 6226010"/>
              <a:gd name="connsiteY11274" fmla="*/ 3772016 h 5756219"/>
              <a:gd name="connsiteX11275" fmla="*/ 864195 w 6226010"/>
              <a:gd name="connsiteY11275" fmla="*/ 3788321 h 5756219"/>
              <a:gd name="connsiteX11276" fmla="*/ 837019 w 6226010"/>
              <a:gd name="connsiteY11276" fmla="*/ 3815497 h 5756219"/>
              <a:gd name="connsiteX11277" fmla="*/ 793537 w 6226010"/>
              <a:gd name="connsiteY11277" fmla="*/ 3823650 h 5756219"/>
              <a:gd name="connsiteX11278" fmla="*/ 774514 w 6226010"/>
              <a:gd name="connsiteY11278" fmla="*/ 3777451 h 5756219"/>
              <a:gd name="connsiteX11279" fmla="*/ 731033 w 6226010"/>
              <a:gd name="connsiteY11279" fmla="*/ 3826368 h 5756219"/>
              <a:gd name="connsiteX11280" fmla="*/ 722880 w 6226010"/>
              <a:gd name="connsiteY11280" fmla="*/ 3826368 h 5756219"/>
              <a:gd name="connsiteX11281" fmla="*/ 717445 w 6226010"/>
              <a:gd name="connsiteY11281" fmla="*/ 3834520 h 5756219"/>
              <a:gd name="connsiteX11282" fmla="*/ 717445 w 6226010"/>
              <a:gd name="connsiteY11282" fmla="*/ 3837238 h 5756219"/>
              <a:gd name="connsiteX11283" fmla="*/ 733750 w 6226010"/>
              <a:gd name="connsiteY11283" fmla="*/ 3837238 h 5756219"/>
              <a:gd name="connsiteX11284" fmla="*/ 747338 w 6226010"/>
              <a:gd name="connsiteY11284" fmla="*/ 3867131 h 5756219"/>
              <a:gd name="connsiteX11285" fmla="*/ 739185 w 6226010"/>
              <a:gd name="connsiteY11285" fmla="*/ 3872567 h 5756219"/>
              <a:gd name="connsiteX11286" fmla="*/ 731033 w 6226010"/>
              <a:gd name="connsiteY11286" fmla="*/ 3872567 h 5756219"/>
              <a:gd name="connsiteX11287" fmla="*/ 725597 w 6226010"/>
              <a:gd name="connsiteY11287" fmla="*/ 3878002 h 5756219"/>
              <a:gd name="connsiteX11288" fmla="*/ 701139 w 6226010"/>
              <a:gd name="connsiteY11288" fmla="*/ 3878002 h 5756219"/>
              <a:gd name="connsiteX11289" fmla="*/ 687551 w 6226010"/>
              <a:gd name="connsiteY11289" fmla="*/ 3886155 h 5756219"/>
              <a:gd name="connsiteX11290" fmla="*/ 687551 w 6226010"/>
              <a:gd name="connsiteY11290" fmla="*/ 3894307 h 5756219"/>
              <a:gd name="connsiteX11291" fmla="*/ 706574 w 6226010"/>
              <a:gd name="connsiteY11291" fmla="*/ 3888872 h 5756219"/>
              <a:gd name="connsiteX11292" fmla="*/ 728315 w 6226010"/>
              <a:gd name="connsiteY11292" fmla="*/ 3886155 h 5756219"/>
              <a:gd name="connsiteX11293" fmla="*/ 731033 w 6226010"/>
              <a:gd name="connsiteY11293" fmla="*/ 3880719 h 5756219"/>
              <a:gd name="connsiteX11294" fmla="*/ 750056 w 6226010"/>
              <a:gd name="connsiteY11294" fmla="*/ 3869849 h 5756219"/>
              <a:gd name="connsiteX11295" fmla="*/ 790820 w 6226010"/>
              <a:gd name="connsiteY11295" fmla="*/ 3886155 h 5756219"/>
              <a:gd name="connsiteX11296" fmla="*/ 788102 w 6226010"/>
              <a:gd name="connsiteY11296" fmla="*/ 3842673 h 5756219"/>
              <a:gd name="connsiteX11297" fmla="*/ 801690 w 6226010"/>
              <a:gd name="connsiteY11297" fmla="*/ 3829085 h 5756219"/>
              <a:gd name="connsiteX11298" fmla="*/ 826148 w 6226010"/>
              <a:gd name="connsiteY11298" fmla="*/ 3829085 h 5756219"/>
              <a:gd name="connsiteX11299" fmla="*/ 850607 w 6226010"/>
              <a:gd name="connsiteY11299" fmla="*/ 3818215 h 5756219"/>
              <a:gd name="connsiteX11300" fmla="*/ 869630 w 6226010"/>
              <a:gd name="connsiteY11300" fmla="*/ 3788321 h 5756219"/>
              <a:gd name="connsiteX11301" fmla="*/ 880500 w 6226010"/>
              <a:gd name="connsiteY11301" fmla="*/ 3788321 h 5756219"/>
              <a:gd name="connsiteX11302" fmla="*/ 926699 w 6226010"/>
              <a:gd name="connsiteY11302" fmla="*/ 3785604 h 5756219"/>
              <a:gd name="connsiteX11303" fmla="*/ 943005 w 6226010"/>
              <a:gd name="connsiteY11303" fmla="*/ 3782886 h 5756219"/>
              <a:gd name="connsiteX11304" fmla="*/ 978334 w 6226010"/>
              <a:gd name="connsiteY11304" fmla="*/ 3818215 h 5756219"/>
              <a:gd name="connsiteX11305" fmla="*/ 945723 w 6226010"/>
              <a:gd name="connsiteY11305" fmla="*/ 3823650 h 5756219"/>
              <a:gd name="connsiteX11306" fmla="*/ 934852 w 6226010"/>
              <a:gd name="connsiteY11306" fmla="*/ 3829085 h 5756219"/>
              <a:gd name="connsiteX11307" fmla="*/ 934852 w 6226010"/>
              <a:gd name="connsiteY11307" fmla="*/ 3831803 h 5756219"/>
              <a:gd name="connsiteX11308" fmla="*/ 896806 w 6226010"/>
              <a:gd name="connsiteY11308" fmla="*/ 3853544 h 5756219"/>
              <a:gd name="connsiteX11309" fmla="*/ 913111 w 6226010"/>
              <a:gd name="connsiteY11309" fmla="*/ 3937789 h 5756219"/>
              <a:gd name="connsiteX11310" fmla="*/ 910394 w 6226010"/>
              <a:gd name="connsiteY11310" fmla="*/ 3935071 h 5756219"/>
              <a:gd name="connsiteX11311" fmla="*/ 904959 w 6226010"/>
              <a:gd name="connsiteY11311" fmla="*/ 3935071 h 5756219"/>
              <a:gd name="connsiteX11312" fmla="*/ 902241 w 6226010"/>
              <a:gd name="connsiteY11312" fmla="*/ 3937789 h 5756219"/>
              <a:gd name="connsiteX11313" fmla="*/ 904959 w 6226010"/>
              <a:gd name="connsiteY11313" fmla="*/ 3940507 h 5756219"/>
              <a:gd name="connsiteX11314" fmla="*/ 899523 w 6226010"/>
              <a:gd name="connsiteY11314" fmla="*/ 3943224 h 5756219"/>
              <a:gd name="connsiteX11315" fmla="*/ 910394 w 6226010"/>
              <a:gd name="connsiteY11315" fmla="*/ 3945942 h 5756219"/>
              <a:gd name="connsiteX11316" fmla="*/ 923982 w 6226010"/>
              <a:gd name="connsiteY11316" fmla="*/ 3954095 h 5756219"/>
              <a:gd name="connsiteX11317" fmla="*/ 923982 w 6226010"/>
              <a:gd name="connsiteY11317" fmla="*/ 3959530 h 5756219"/>
              <a:gd name="connsiteX11318" fmla="*/ 937570 w 6226010"/>
              <a:gd name="connsiteY11318" fmla="*/ 3970400 h 5756219"/>
              <a:gd name="connsiteX11319" fmla="*/ 937570 w 6226010"/>
              <a:gd name="connsiteY11319" fmla="*/ 3975835 h 5756219"/>
              <a:gd name="connsiteX11320" fmla="*/ 943005 w 6226010"/>
              <a:gd name="connsiteY11320" fmla="*/ 3978553 h 5756219"/>
              <a:gd name="connsiteX11321" fmla="*/ 943005 w 6226010"/>
              <a:gd name="connsiteY11321" fmla="*/ 3981271 h 5756219"/>
              <a:gd name="connsiteX11322" fmla="*/ 951158 w 6226010"/>
              <a:gd name="connsiteY11322" fmla="*/ 3992141 h 5756219"/>
              <a:gd name="connsiteX11323" fmla="*/ 953875 w 6226010"/>
              <a:gd name="connsiteY11323" fmla="*/ 4008447 h 5756219"/>
              <a:gd name="connsiteX11324" fmla="*/ 959311 w 6226010"/>
              <a:gd name="connsiteY11324" fmla="*/ 4024752 h 5756219"/>
              <a:gd name="connsiteX11325" fmla="*/ 972899 w 6226010"/>
              <a:gd name="connsiteY11325" fmla="*/ 4024752 h 5756219"/>
              <a:gd name="connsiteX11326" fmla="*/ 989204 w 6226010"/>
              <a:gd name="connsiteY11326" fmla="*/ 4041058 h 5756219"/>
              <a:gd name="connsiteX11327" fmla="*/ 1016380 w 6226010"/>
              <a:gd name="connsiteY11327" fmla="*/ 4038340 h 5756219"/>
              <a:gd name="connsiteX11328" fmla="*/ 1019098 w 6226010"/>
              <a:gd name="connsiteY11328" fmla="*/ 4041058 h 5756219"/>
              <a:gd name="connsiteX11329" fmla="*/ 1032686 w 6226010"/>
              <a:gd name="connsiteY11329" fmla="*/ 4046493 h 5756219"/>
              <a:gd name="connsiteX11330" fmla="*/ 923982 w 6226010"/>
              <a:gd name="connsiteY11330" fmla="*/ 4062799 h 5756219"/>
              <a:gd name="connsiteX11331" fmla="*/ 845172 w 6226010"/>
              <a:gd name="connsiteY11331" fmla="*/ 3967683 h 5756219"/>
              <a:gd name="connsiteX11332" fmla="*/ 823431 w 6226010"/>
              <a:gd name="connsiteY11332" fmla="*/ 3983988 h 5756219"/>
              <a:gd name="connsiteX11333" fmla="*/ 817996 w 6226010"/>
              <a:gd name="connsiteY11333" fmla="*/ 3981271 h 5756219"/>
              <a:gd name="connsiteX11334" fmla="*/ 817996 w 6226010"/>
              <a:gd name="connsiteY11334" fmla="*/ 3978553 h 5756219"/>
              <a:gd name="connsiteX11335" fmla="*/ 815278 w 6226010"/>
              <a:gd name="connsiteY11335" fmla="*/ 3978553 h 5756219"/>
              <a:gd name="connsiteX11336" fmla="*/ 763644 w 6226010"/>
              <a:gd name="connsiteY11336" fmla="*/ 3935071 h 5756219"/>
              <a:gd name="connsiteX11337" fmla="*/ 774514 w 6226010"/>
              <a:gd name="connsiteY11337" fmla="*/ 3973118 h 5756219"/>
              <a:gd name="connsiteX11338" fmla="*/ 777232 w 6226010"/>
              <a:gd name="connsiteY11338" fmla="*/ 3992141 h 5756219"/>
              <a:gd name="connsiteX11339" fmla="*/ 766361 w 6226010"/>
              <a:gd name="connsiteY11339" fmla="*/ 3978553 h 5756219"/>
              <a:gd name="connsiteX11340" fmla="*/ 755491 w 6226010"/>
              <a:gd name="connsiteY11340" fmla="*/ 4009466 h 5756219"/>
              <a:gd name="connsiteX11341" fmla="*/ 764649 w 6226010"/>
              <a:gd name="connsiteY11341" fmla="*/ 4039917 h 5756219"/>
              <a:gd name="connsiteX11342" fmla="*/ 758209 w 6226010"/>
              <a:gd name="connsiteY11342" fmla="*/ 4035623 h 5756219"/>
              <a:gd name="connsiteX11343" fmla="*/ 750056 w 6226010"/>
              <a:gd name="connsiteY11343" fmla="*/ 4022035 h 5756219"/>
              <a:gd name="connsiteX11344" fmla="*/ 750056 w 6226010"/>
              <a:gd name="connsiteY11344" fmla="*/ 4016599 h 5756219"/>
              <a:gd name="connsiteX11345" fmla="*/ 747338 w 6226010"/>
              <a:gd name="connsiteY11345" fmla="*/ 4016599 h 5756219"/>
              <a:gd name="connsiteX11346" fmla="*/ 744621 w 6226010"/>
              <a:gd name="connsiteY11346" fmla="*/ 4013882 h 5756219"/>
              <a:gd name="connsiteX11347" fmla="*/ 739185 w 6226010"/>
              <a:gd name="connsiteY11347" fmla="*/ 4016599 h 5756219"/>
              <a:gd name="connsiteX11348" fmla="*/ 701139 w 6226010"/>
              <a:gd name="connsiteY11348" fmla="*/ 4022035 h 5756219"/>
              <a:gd name="connsiteX11349" fmla="*/ 690269 w 6226010"/>
              <a:gd name="connsiteY11349" fmla="*/ 4005729 h 5756219"/>
              <a:gd name="connsiteX11350" fmla="*/ 687551 w 6226010"/>
              <a:gd name="connsiteY11350" fmla="*/ 4005729 h 5756219"/>
              <a:gd name="connsiteX11351" fmla="*/ 703857 w 6226010"/>
              <a:gd name="connsiteY11351" fmla="*/ 3975835 h 5756219"/>
              <a:gd name="connsiteX11352" fmla="*/ 635917 w 6226010"/>
              <a:gd name="connsiteY11352" fmla="*/ 4084539 h 5756219"/>
              <a:gd name="connsiteX11353" fmla="*/ 611458 w 6226010"/>
              <a:gd name="connsiteY11353" fmla="*/ 4092692 h 5756219"/>
              <a:gd name="connsiteX11354" fmla="*/ 611458 w 6226010"/>
              <a:gd name="connsiteY11354" fmla="*/ 4100845 h 5756219"/>
              <a:gd name="connsiteX11355" fmla="*/ 603306 w 6226010"/>
              <a:gd name="connsiteY11355" fmla="*/ 4103562 h 5756219"/>
              <a:gd name="connsiteX11356" fmla="*/ 625046 w 6226010"/>
              <a:gd name="connsiteY11356" fmla="*/ 4138891 h 5756219"/>
              <a:gd name="connsiteX11357" fmla="*/ 638634 w 6226010"/>
              <a:gd name="connsiteY11357" fmla="*/ 4190525 h 5756219"/>
              <a:gd name="connsiteX11358" fmla="*/ 627764 w 6226010"/>
              <a:gd name="connsiteY11358" fmla="*/ 4171502 h 5756219"/>
              <a:gd name="connsiteX11359" fmla="*/ 622329 w 6226010"/>
              <a:gd name="connsiteY11359" fmla="*/ 4168785 h 5756219"/>
              <a:gd name="connsiteX11360" fmla="*/ 619611 w 6226010"/>
              <a:gd name="connsiteY11360" fmla="*/ 4155197 h 5756219"/>
              <a:gd name="connsiteX11361" fmla="*/ 608741 w 6226010"/>
              <a:gd name="connsiteY11361" fmla="*/ 4149762 h 5756219"/>
              <a:gd name="connsiteX11362" fmla="*/ 606023 w 6226010"/>
              <a:gd name="connsiteY11362" fmla="*/ 4152479 h 5756219"/>
              <a:gd name="connsiteX11363" fmla="*/ 603306 w 6226010"/>
              <a:gd name="connsiteY11363" fmla="*/ 4157914 h 5756219"/>
              <a:gd name="connsiteX11364" fmla="*/ 603306 w 6226010"/>
              <a:gd name="connsiteY11364" fmla="*/ 4160632 h 5756219"/>
              <a:gd name="connsiteX11365" fmla="*/ 611458 w 6226010"/>
              <a:gd name="connsiteY11365" fmla="*/ 4163349 h 5756219"/>
              <a:gd name="connsiteX11366" fmla="*/ 614176 w 6226010"/>
              <a:gd name="connsiteY11366" fmla="*/ 4176937 h 5756219"/>
              <a:gd name="connsiteX11367" fmla="*/ 592435 w 6226010"/>
              <a:gd name="connsiteY11367" fmla="*/ 4174220 h 5756219"/>
              <a:gd name="connsiteX11368" fmla="*/ 478296 w 6226010"/>
              <a:gd name="connsiteY11368" fmla="*/ 3986706 h 5756219"/>
              <a:gd name="connsiteX11369" fmla="*/ 459273 w 6226010"/>
              <a:gd name="connsiteY11369" fmla="*/ 3989423 h 5756219"/>
              <a:gd name="connsiteX11370" fmla="*/ 481014 w 6226010"/>
              <a:gd name="connsiteY11370" fmla="*/ 3872567 h 5756219"/>
              <a:gd name="connsiteX11371" fmla="*/ 421227 w 6226010"/>
              <a:gd name="connsiteY11371" fmla="*/ 3861696 h 5756219"/>
              <a:gd name="connsiteX11372" fmla="*/ 402204 w 6226010"/>
              <a:gd name="connsiteY11372" fmla="*/ 3839956 h 5756219"/>
              <a:gd name="connsiteX11373" fmla="*/ 364157 w 6226010"/>
              <a:gd name="connsiteY11373" fmla="*/ 3834520 h 5756219"/>
              <a:gd name="connsiteX11374" fmla="*/ 282630 w 6226010"/>
              <a:gd name="connsiteY11374" fmla="*/ 3625266 h 5756219"/>
              <a:gd name="connsiteX11375" fmla="*/ 258171 w 6226010"/>
              <a:gd name="connsiteY11375" fmla="*/ 3551891 h 5756219"/>
              <a:gd name="connsiteX11376" fmla="*/ 290782 w 6226010"/>
              <a:gd name="connsiteY11376" fmla="*/ 3570914 h 5756219"/>
              <a:gd name="connsiteX11377" fmla="*/ 290782 w 6226010"/>
              <a:gd name="connsiteY11377" fmla="*/ 3608960 h 5756219"/>
              <a:gd name="connsiteX11378" fmla="*/ 309805 w 6226010"/>
              <a:gd name="connsiteY11378" fmla="*/ 3589937 h 5756219"/>
              <a:gd name="connsiteX11379" fmla="*/ 301653 w 6226010"/>
              <a:gd name="connsiteY11379" fmla="*/ 3437752 h 5756219"/>
              <a:gd name="connsiteX11380" fmla="*/ 279912 w 6226010"/>
              <a:gd name="connsiteY11380" fmla="*/ 3473081 h 5756219"/>
              <a:gd name="connsiteX11381" fmla="*/ 274477 w 6226010"/>
              <a:gd name="connsiteY11381" fmla="*/ 3437752 h 5756219"/>
              <a:gd name="connsiteX11382" fmla="*/ 263606 w 6226010"/>
              <a:gd name="connsiteY11382" fmla="*/ 3519280 h 5756219"/>
              <a:gd name="connsiteX11383" fmla="*/ 195667 w 6226010"/>
              <a:gd name="connsiteY11383" fmla="*/ 3405141 h 5756219"/>
              <a:gd name="connsiteX11384" fmla="*/ 195667 w 6226010"/>
              <a:gd name="connsiteY11384" fmla="*/ 3361659 h 5756219"/>
              <a:gd name="connsiteX11385" fmla="*/ 165773 w 6226010"/>
              <a:gd name="connsiteY11385" fmla="*/ 3405141 h 5756219"/>
              <a:gd name="connsiteX11386" fmla="*/ 133162 w 6226010"/>
              <a:gd name="connsiteY11386" fmla="*/ 3386118 h 5756219"/>
              <a:gd name="connsiteX11387" fmla="*/ 157620 w 6226010"/>
              <a:gd name="connsiteY11387" fmla="*/ 3375247 h 5756219"/>
              <a:gd name="connsiteX11388" fmla="*/ 111421 w 6226010"/>
              <a:gd name="connsiteY11388" fmla="*/ 3326331 h 5756219"/>
              <a:gd name="connsiteX11389" fmla="*/ 133162 w 6226010"/>
              <a:gd name="connsiteY11389" fmla="*/ 3323613 h 5756219"/>
              <a:gd name="connsiteX11390" fmla="*/ 144032 w 6226010"/>
              <a:gd name="connsiteY11390" fmla="*/ 3280132 h 5756219"/>
              <a:gd name="connsiteX11391" fmla="*/ 198384 w 6226010"/>
              <a:gd name="connsiteY11391" fmla="*/ 3345354 h 5756219"/>
              <a:gd name="connsiteX11392" fmla="*/ 225560 w 6226010"/>
              <a:gd name="connsiteY11392" fmla="*/ 3225780 h 5756219"/>
              <a:gd name="connsiteX11393" fmla="*/ 258171 w 6226010"/>
              <a:gd name="connsiteY11393" fmla="*/ 3204039 h 5756219"/>
              <a:gd name="connsiteX11394" fmla="*/ 239148 w 6226010"/>
              <a:gd name="connsiteY11394" fmla="*/ 3185016 h 5756219"/>
              <a:gd name="connsiteX11395" fmla="*/ 182079 w 6226010"/>
              <a:gd name="connsiteY11395" fmla="*/ 3187733 h 5756219"/>
              <a:gd name="connsiteX11396" fmla="*/ 203819 w 6226010"/>
              <a:gd name="connsiteY11396" fmla="*/ 3171428 h 5756219"/>
              <a:gd name="connsiteX11397" fmla="*/ 209255 w 6226010"/>
              <a:gd name="connsiteY11397" fmla="*/ 3225780 h 5756219"/>
              <a:gd name="connsiteX11398" fmla="*/ 190231 w 6226010"/>
              <a:gd name="connsiteY11398" fmla="*/ 3204039 h 5756219"/>
              <a:gd name="connsiteX11399" fmla="*/ 154903 w 6226010"/>
              <a:gd name="connsiteY11399" fmla="*/ 3247520 h 5756219"/>
              <a:gd name="connsiteX11400" fmla="*/ 149467 w 6226010"/>
              <a:gd name="connsiteY11400" fmla="*/ 3236650 h 5756219"/>
              <a:gd name="connsiteX11401" fmla="*/ 119574 w 6226010"/>
              <a:gd name="connsiteY11401" fmla="*/ 3299155 h 5756219"/>
              <a:gd name="connsiteX11402" fmla="*/ 95116 w 6226010"/>
              <a:gd name="connsiteY11402" fmla="*/ 3304590 h 5756219"/>
              <a:gd name="connsiteX11403" fmla="*/ 76092 w 6226010"/>
              <a:gd name="connsiteY11403" fmla="*/ 3225780 h 5756219"/>
              <a:gd name="connsiteX11404" fmla="*/ 97833 w 6226010"/>
              <a:gd name="connsiteY11404" fmla="*/ 3250238 h 5756219"/>
              <a:gd name="connsiteX11405" fmla="*/ 138597 w 6226010"/>
              <a:gd name="connsiteY11405" fmla="*/ 3193169 h 5756219"/>
              <a:gd name="connsiteX11406" fmla="*/ 54352 w 6226010"/>
              <a:gd name="connsiteY11406" fmla="*/ 3225780 h 5756219"/>
              <a:gd name="connsiteX11407" fmla="*/ 76092 w 6226010"/>
              <a:gd name="connsiteY11407" fmla="*/ 3163275 h 5756219"/>
              <a:gd name="connsiteX11408" fmla="*/ 51634 w 6226010"/>
              <a:gd name="connsiteY11408" fmla="*/ 2992067 h 5756219"/>
              <a:gd name="connsiteX11409" fmla="*/ 62504 w 6226010"/>
              <a:gd name="connsiteY11409" fmla="*/ 3068159 h 5756219"/>
              <a:gd name="connsiteX11410" fmla="*/ 38046 w 6226010"/>
              <a:gd name="connsiteY11410" fmla="*/ 3060006 h 5756219"/>
              <a:gd name="connsiteX11411" fmla="*/ 0 w 6226010"/>
              <a:gd name="connsiteY11411" fmla="*/ 2943150 h 5756219"/>
              <a:gd name="connsiteX11412" fmla="*/ 40764 w 6226010"/>
              <a:gd name="connsiteY11412" fmla="*/ 2921409 h 5756219"/>
              <a:gd name="connsiteX11413" fmla="*/ 67940 w 6226010"/>
              <a:gd name="connsiteY11413" fmla="*/ 2973044 h 5756219"/>
              <a:gd name="connsiteX11414" fmla="*/ 73375 w 6226010"/>
              <a:gd name="connsiteY11414" fmla="*/ 2924127 h 5756219"/>
              <a:gd name="connsiteX11415" fmla="*/ 163055 w 6226010"/>
              <a:gd name="connsiteY11415" fmla="*/ 2940433 h 5756219"/>
              <a:gd name="connsiteX11416" fmla="*/ 144032 w 6226010"/>
              <a:gd name="connsiteY11416" fmla="*/ 2918692 h 5756219"/>
              <a:gd name="connsiteX11417" fmla="*/ 149467 w 6226010"/>
              <a:gd name="connsiteY11417" fmla="*/ 2883363 h 5756219"/>
              <a:gd name="connsiteX11418" fmla="*/ 119574 w 6226010"/>
              <a:gd name="connsiteY11418" fmla="*/ 2907821 h 5756219"/>
              <a:gd name="connsiteX11419" fmla="*/ 97833 w 6226010"/>
              <a:gd name="connsiteY11419" fmla="*/ 2883363 h 5756219"/>
              <a:gd name="connsiteX11420" fmla="*/ 116856 w 6226010"/>
              <a:gd name="connsiteY11420" fmla="*/ 2891516 h 5756219"/>
              <a:gd name="connsiteX11421" fmla="*/ 100551 w 6226010"/>
              <a:gd name="connsiteY11421" fmla="*/ 2861623 h 5756219"/>
              <a:gd name="connsiteX11422" fmla="*/ 114139 w 6226010"/>
              <a:gd name="connsiteY11422" fmla="*/ 2839881 h 5756219"/>
              <a:gd name="connsiteX11423" fmla="*/ 95116 w 6226010"/>
              <a:gd name="connsiteY11423" fmla="*/ 2790965 h 5756219"/>
              <a:gd name="connsiteX11424" fmla="*/ 138597 w 6226010"/>
              <a:gd name="connsiteY11424" fmla="*/ 2823576 h 5756219"/>
              <a:gd name="connsiteX11425" fmla="*/ 141315 w 6226010"/>
              <a:gd name="connsiteY11425" fmla="*/ 2801835 h 5756219"/>
              <a:gd name="connsiteX11426" fmla="*/ 160338 w 6226010"/>
              <a:gd name="connsiteY11426" fmla="*/ 2872493 h 5756219"/>
              <a:gd name="connsiteX11427" fmla="*/ 176643 w 6226010"/>
              <a:gd name="connsiteY11427" fmla="*/ 2782812 h 5756219"/>
              <a:gd name="connsiteX11428" fmla="*/ 92398 w 6226010"/>
              <a:gd name="connsiteY11428" fmla="*/ 2755636 h 5756219"/>
              <a:gd name="connsiteX11429" fmla="*/ 127727 w 6226010"/>
              <a:gd name="connsiteY11429" fmla="*/ 2725743 h 5756219"/>
              <a:gd name="connsiteX11430" fmla="*/ 192949 w 6226010"/>
              <a:gd name="connsiteY11430" fmla="*/ 2758354 h 5756219"/>
              <a:gd name="connsiteX11431" fmla="*/ 192949 w 6226010"/>
              <a:gd name="connsiteY11431" fmla="*/ 2837165 h 5756219"/>
              <a:gd name="connsiteX11432" fmla="*/ 274477 w 6226010"/>
              <a:gd name="connsiteY11432" fmla="*/ 2864340 h 5756219"/>
              <a:gd name="connsiteX11433" fmla="*/ 201102 w 6226010"/>
              <a:gd name="connsiteY11433" fmla="*/ 2780094 h 5756219"/>
              <a:gd name="connsiteX11434" fmla="*/ 228278 w 6226010"/>
              <a:gd name="connsiteY11434" fmla="*/ 2763789 h 5756219"/>
              <a:gd name="connsiteX11435" fmla="*/ 187514 w 6226010"/>
              <a:gd name="connsiteY11435" fmla="*/ 2717591 h 5756219"/>
              <a:gd name="connsiteX11436" fmla="*/ 217407 w 6226010"/>
              <a:gd name="connsiteY11436" fmla="*/ 2739331 h 5756219"/>
              <a:gd name="connsiteX11437" fmla="*/ 220125 w 6226010"/>
              <a:gd name="connsiteY11437" fmla="*/ 2712155 h 5756219"/>
              <a:gd name="connsiteX11438" fmla="*/ 244583 w 6226010"/>
              <a:gd name="connsiteY11438" fmla="*/ 2750201 h 5756219"/>
              <a:gd name="connsiteX11439" fmla="*/ 236430 w 6226010"/>
              <a:gd name="connsiteY11439" fmla="*/ 2687697 h 5756219"/>
              <a:gd name="connsiteX11440" fmla="*/ 255454 w 6226010"/>
              <a:gd name="connsiteY11440" fmla="*/ 2649650 h 5756219"/>
              <a:gd name="connsiteX11441" fmla="*/ 209255 w 6226010"/>
              <a:gd name="connsiteY11441" fmla="*/ 2649650 h 5756219"/>
              <a:gd name="connsiteX11442" fmla="*/ 217407 w 6226010"/>
              <a:gd name="connsiteY11442" fmla="*/ 2630627 h 5756219"/>
              <a:gd name="connsiteX11443" fmla="*/ 195667 w 6226010"/>
              <a:gd name="connsiteY11443" fmla="*/ 2608887 h 5756219"/>
              <a:gd name="connsiteX11444" fmla="*/ 190231 w 6226010"/>
              <a:gd name="connsiteY11444" fmla="*/ 2538229 h 5756219"/>
              <a:gd name="connsiteX11445" fmla="*/ 225560 w 6226010"/>
              <a:gd name="connsiteY11445" fmla="*/ 2581710 h 5756219"/>
              <a:gd name="connsiteX11446" fmla="*/ 203819 w 6226010"/>
              <a:gd name="connsiteY11446" fmla="*/ 2386044 h 5756219"/>
              <a:gd name="connsiteX11447" fmla="*/ 220125 w 6226010"/>
              <a:gd name="connsiteY11447" fmla="*/ 2410502 h 5756219"/>
              <a:gd name="connsiteX11448" fmla="*/ 260889 w 6226010"/>
              <a:gd name="connsiteY11448" fmla="*/ 2418655 h 5756219"/>
              <a:gd name="connsiteX11449" fmla="*/ 225560 w 6226010"/>
              <a:gd name="connsiteY11449" fmla="*/ 2429526 h 5756219"/>
              <a:gd name="connsiteX11450" fmla="*/ 277194 w 6226010"/>
              <a:gd name="connsiteY11450" fmla="*/ 2475725 h 5756219"/>
              <a:gd name="connsiteX11451" fmla="*/ 247301 w 6226010"/>
              <a:gd name="connsiteY11451" fmla="*/ 2508335 h 5756219"/>
              <a:gd name="connsiteX11452" fmla="*/ 263606 w 6226010"/>
              <a:gd name="connsiteY11452" fmla="*/ 2524641 h 5756219"/>
              <a:gd name="connsiteX11453" fmla="*/ 312523 w 6226010"/>
              <a:gd name="connsiteY11453" fmla="*/ 2470290 h 5756219"/>
              <a:gd name="connsiteX11454" fmla="*/ 356005 w 6226010"/>
              <a:gd name="connsiteY11454" fmla="*/ 2508335 h 5756219"/>
              <a:gd name="connsiteX11455" fmla="*/ 375028 w 6226010"/>
              <a:gd name="connsiteY11455" fmla="*/ 2478443 h 5756219"/>
              <a:gd name="connsiteX11456" fmla="*/ 402204 w 6226010"/>
              <a:gd name="connsiteY11456" fmla="*/ 2508335 h 5756219"/>
              <a:gd name="connsiteX11457" fmla="*/ 404921 w 6226010"/>
              <a:gd name="connsiteY11457" fmla="*/ 2443113 h 5756219"/>
              <a:gd name="connsiteX11458" fmla="*/ 429380 w 6226010"/>
              <a:gd name="connsiteY11458" fmla="*/ 2432244 h 5756219"/>
              <a:gd name="connsiteX11459" fmla="*/ 347852 w 6226010"/>
              <a:gd name="connsiteY11459" fmla="*/ 2462136 h 5756219"/>
              <a:gd name="connsiteX11460" fmla="*/ 336981 w 6226010"/>
              <a:gd name="connsiteY11460" fmla="*/ 2424090 h 5756219"/>
              <a:gd name="connsiteX11461" fmla="*/ 323393 w 6226010"/>
              <a:gd name="connsiteY11461" fmla="*/ 2453983 h 5756219"/>
              <a:gd name="connsiteX11462" fmla="*/ 301653 w 6226010"/>
              <a:gd name="connsiteY11462" fmla="*/ 2432244 h 5756219"/>
              <a:gd name="connsiteX11463" fmla="*/ 304370 w 6226010"/>
              <a:gd name="connsiteY11463" fmla="*/ 2339844 h 5756219"/>
              <a:gd name="connsiteX11464" fmla="*/ 328829 w 6226010"/>
              <a:gd name="connsiteY11464" fmla="*/ 2252882 h 5756219"/>
              <a:gd name="connsiteX11465" fmla="*/ 356005 w 6226010"/>
              <a:gd name="connsiteY11465" fmla="*/ 2236577 h 5756219"/>
              <a:gd name="connsiteX11466" fmla="*/ 320676 w 6226010"/>
              <a:gd name="connsiteY11466" fmla="*/ 2198531 h 5756219"/>
              <a:gd name="connsiteX11467" fmla="*/ 394051 w 6226010"/>
              <a:gd name="connsiteY11467" fmla="*/ 2214835 h 5756219"/>
              <a:gd name="connsiteX11468" fmla="*/ 375028 w 6226010"/>
              <a:gd name="connsiteY11468" fmla="*/ 2274623 h 5756219"/>
              <a:gd name="connsiteX11469" fmla="*/ 407639 w 6226010"/>
              <a:gd name="connsiteY11469" fmla="*/ 2290928 h 5756219"/>
              <a:gd name="connsiteX11470" fmla="*/ 421227 w 6226010"/>
              <a:gd name="connsiteY11470" fmla="*/ 2209400 h 5756219"/>
              <a:gd name="connsiteX11471" fmla="*/ 502755 w 6226010"/>
              <a:gd name="connsiteY11471" fmla="*/ 2261035 h 5756219"/>
              <a:gd name="connsiteX11472" fmla="*/ 472861 w 6226010"/>
              <a:gd name="connsiteY11472" fmla="*/ 2097980 h 5756219"/>
              <a:gd name="connsiteX11473" fmla="*/ 497320 w 6226010"/>
              <a:gd name="connsiteY11473" fmla="*/ 2149613 h 5756219"/>
              <a:gd name="connsiteX11474" fmla="*/ 516343 w 6226010"/>
              <a:gd name="connsiteY11474" fmla="*/ 2152332 h 5756219"/>
              <a:gd name="connsiteX11475" fmla="*/ 587000 w 6226010"/>
              <a:gd name="connsiteY11475" fmla="*/ 2255600 h 5756219"/>
              <a:gd name="connsiteX11476" fmla="*/ 529931 w 6226010"/>
              <a:gd name="connsiteY11476" fmla="*/ 2182224 h 5756219"/>
              <a:gd name="connsiteX11477" fmla="*/ 589718 w 6226010"/>
              <a:gd name="connsiteY11477" fmla="*/ 2114285 h 5756219"/>
              <a:gd name="connsiteX11478" fmla="*/ 611458 w 6226010"/>
              <a:gd name="connsiteY11478" fmla="*/ 2133307 h 5756219"/>
              <a:gd name="connsiteX11479" fmla="*/ 595153 w 6226010"/>
              <a:gd name="connsiteY11479" fmla="*/ 2222988 h 5756219"/>
              <a:gd name="connsiteX11480" fmla="*/ 622329 w 6226010"/>
              <a:gd name="connsiteY11480" fmla="*/ 2209400 h 5756219"/>
              <a:gd name="connsiteX11481" fmla="*/ 627764 w 6226010"/>
              <a:gd name="connsiteY11481" fmla="*/ 2160484 h 5756219"/>
              <a:gd name="connsiteX11482" fmla="*/ 660375 w 6226010"/>
              <a:gd name="connsiteY11482" fmla="*/ 2203965 h 5756219"/>
              <a:gd name="connsiteX11483" fmla="*/ 638634 w 6226010"/>
              <a:gd name="connsiteY11483" fmla="*/ 2165919 h 5756219"/>
              <a:gd name="connsiteX11484" fmla="*/ 654940 w 6226010"/>
              <a:gd name="connsiteY11484" fmla="*/ 2152332 h 5756219"/>
              <a:gd name="connsiteX11485" fmla="*/ 703857 w 6226010"/>
              <a:gd name="connsiteY11485" fmla="*/ 2198531 h 5756219"/>
              <a:gd name="connsiteX11486" fmla="*/ 712009 w 6226010"/>
              <a:gd name="connsiteY11486" fmla="*/ 2141460 h 5756219"/>
              <a:gd name="connsiteX11487" fmla="*/ 739185 w 6226010"/>
              <a:gd name="connsiteY11487" fmla="*/ 2146895 h 5756219"/>
              <a:gd name="connsiteX11488" fmla="*/ 731033 w 6226010"/>
              <a:gd name="connsiteY11488" fmla="*/ 2201248 h 5756219"/>
              <a:gd name="connsiteX11489" fmla="*/ 695704 w 6226010"/>
              <a:gd name="connsiteY11489" fmla="*/ 2206683 h 5756219"/>
              <a:gd name="connsiteX11490" fmla="*/ 692986 w 6226010"/>
              <a:gd name="connsiteY11490" fmla="*/ 2312669 h 5756219"/>
              <a:gd name="connsiteX11491" fmla="*/ 722880 w 6226010"/>
              <a:gd name="connsiteY11491" fmla="*/ 2299081 h 5756219"/>
              <a:gd name="connsiteX11492" fmla="*/ 731033 w 6226010"/>
              <a:gd name="connsiteY11492" fmla="*/ 2225705 h 5756219"/>
              <a:gd name="connsiteX11493" fmla="*/ 731033 w 6226010"/>
              <a:gd name="connsiteY11493" fmla="*/ 2252882 h 5756219"/>
              <a:gd name="connsiteX11494" fmla="*/ 750056 w 6226010"/>
              <a:gd name="connsiteY11494" fmla="*/ 2250165 h 5756219"/>
              <a:gd name="connsiteX11495" fmla="*/ 760926 w 6226010"/>
              <a:gd name="connsiteY11495" fmla="*/ 2144178 h 5756219"/>
              <a:gd name="connsiteX11496" fmla="*/ 714727 w 6226010"/>
              <a:gd name="connsiteY11496" fmla="*/ 2108850 h 5756219"/>
              <a:gd name="connsiteX11497" fmla="*/ 763644 w 6226010"/>
              <a:gd name="connsiteY11497" fmla="*/ 2111567 h 5756219"/>
              <a:gd name="connsiteX11498" fmla="*/ 731033 w 6226010"/>
              <a:gd name="connsiteY11498" fmla="*/ 2092544 h 5756219"/>
              <a:gd name="connsiteX11499" fmla="*/ 722880 w 6226010"/>
              <a:gd name="connsiteY11499" fmla="*/ 2051779 h 5756219"/>
              <a:gd name="connsiteX11500" fmla="*/ 779949 w 6226010"/>
              <a:gd name="connsiteY11500" fmla="*/ 2078956 h 5756219"/>
              <a:gd name="connsiteX11501" fmla="*/ 788102 w 6226010"/>
              <a:gd name="connsiteY11501" fmla="*/ 2141460 h 5756219"/>
              <a:gd name="connsiteX11502" fmla="*/ 755491 w 6226010"/>
              <a:gd name="connsiteY11502" fmla="*/ 1997428 h 5756219"/>
              <a:gd name="connsiteX11503" fmla="*/ 823431 w 6226010"/>
              <a:gd name="connsiteY11503" fmla="*/ 1932205 h 5756219"/>
              <a:gd name="connsiteX11504" fmla="*/ 798972 w 6226010"/>
              <a:gd name="connsiteY11504" fmla="*/ 1959381 h 5756219"/>
              <a:gd name="connsiteX11505" fmla="*/ 790820 w 6226010"/>
              <a:gd name="connsiteY11505" fmla="*/ 1907747 h 5756219"/>
              <a:gd name="connsiteX11506" fmla="*/ 812560 w 6226010"/>
              <a:gd name="connsiteY11506" fmla="*/ 1872419 h 5756219"/>
              <a:gd name="connsiteX11507" fmla="*/ 828866 w 6226010"/>
              <a:gd name="connsiteY11507" fmla="*/ 1880571 h 5756219"/>
              <a:gd name="connsiteX11508" fmla="*/ 820713 w 6226010"/>
              <a:gd name="connsiteY11508" fmla="*/ 1847961 h 5756219"/>
              <a:gd name="connsiteX11509" fmla="*/ 869630 w 6226010"/>
              <a:gd name="connsiteY11509" fmla="*/ 1850678 h 5756219"/>
              <a:gd name="connsiteX11510" fmla="*/ 861477 w 6226010"/>
              <a:gd name="connsiteY11510" fmla="*/ 1823502 h 5756219"/>
              <a:gd name="connsiteX11511" fmla="*/ 779949 w 6226010"/>
              <a:gd name="connsiteY11511" fmla="*/ 1782739 h 5756219"/>
              <a:gd name="connsiteX11512" fmla="*/ 779949 w 6226010"/>
              <a:gd name="connsiteY11512" fmla="*/ 1750127 h 5756219"/>
              <a:gd name="connsiteX11513" fmla="*/ 823431 w 6226010"/>
              <a:gd name="connsiteY11513" fmla="*/ 1750127 h 5756219"/>
              <a:gd name="connsiteX11514" fmla="*/ 826148 w 6226010"/>
              <a:gd name="connsiteY11514" fmla="*/ 1695775 h 5756219"/>
              <a:gd name="connsiteX11515" fmla="*/ 883218 w 6226010"/>
              <a:gd name="connsiteY11515" fmla="*/ 1695775 h 5756219"/>
              <a:gd name="connsiteX11516" fmla="*/ 883218 w 6226010"/>
              <a:gd name="connsiteY11516" fmla="*/ 1736540 h 5756219"/>
              <a:gd name="connsiteX11517" fmla="*/ 907676 w 6226010"/>
              <a:gd name="connsiteY11517" fmla="*/ 1736540 h 5756219"/>
              <a:gd name="connsiteX11518" fmla="*/ 910394 w 6226010"/>
              <a:gd name="connsiteY11518" fmla="*/ 1736540 h 5756219"/>
              <a:gd name="connsiteX11519" fmla="*/ 913111 w 6226010"/>
              <a:gd name="connsiteY11519" fmla="*/ 1736540 h 5756219"/>
              <a:gd name="connsiteX11520" fmla="*/ 913111 w 6226010"/>
              <a:gd name="connsiteY11520" fmla="*/ 1671316 h 5756219"/>
              <a:gd name="connsiteX11521" fmla="*/ 986486 w 6226010"/>
              <a:gd name="connsiteY11521" fmla="*/ 1668599 h 5756219"/>
              <a:gd name="connsiteX11522" fmla="*/ 986486 w 6226010"/>
              <a:gd name="connsiteY11522" fmla="*/ 1638705 h 5756219"/>
              <a:gd name="connsiteX11523" fmla="*/ 986486 w 6226010"/>
              <a:gd name="connsiteY11523" fmla="*/ 1635988 h 5756219"/>
              <a:gd name="connsiteX11524" fmla="*/ 989204 w 6226010"/>
              <a:gd name="connsiteY11524" fmla="*/ 1635988 h 5756219"/>
              <a:gd name="connsiteX11525" fmla="*/ 989204 w 6226010"/>
              <a:gd name="connsiteY11525" fmla="*/ 1638705 h 5756219"/>
              <a:gd name="connsiteX11526" fmla="*/ 991922 w 6226010"/>
              <a:gd name="connsiteY11526" fmla="*/ 1635988 h 5756219"/>
              <a:gd name="connsiteX11527" fmla="*/ 991922 w 6226010"/>
              <a:gd name="connsiteY11527" fmla="*/ 1630553 h 5756219"/>
              <a:gd name="connsiteX11528" fmla="*/ 989204 w 6226010"/>
              <a:gd name="connsiteY11528" fmla="*/ 1630553 h 5756219"/>
              <a:gd name="connsiteX11529" fmla="*/ 989204 w 6226010"/>
              <a:gd name="connsiteY11529" fmla="*/ 1627835 h 5756219"/>
              <a:gd name="connsiteX11530" fmla="*/ 989204 w 6226010"/>
              <a:gd name="connsiteY11530" fmla="*/ 1625117 h 5756219"/>
              <a:gd name="connsiteX11531" fmla="*/ 991922 w 6226010"/>
              <a:gd name="connsiteY11531" fmla="*/ 1625117 h 5756219"/>
              <a:gd name="connsiteX11532" fmla="*/ 991922 w 6226010"/>
              <a:gd name="connsiteY11532" fmla="*/ 1622401 h 5756219"/>
              <a:gd name="connsiteX11533" fmla="*/ 989204 w 6226010"/>
              <a:gd name="connsiteY11533" fmla="*/ 1622401 h 5756219"/>
              <a:gd name="connsiteX11534" fmla="*/ 986486 w 6226010"/>
              <a:gd name="connsiteY11534" fmla="*/ 1625118 h 5756219"/>
              <a:gd name="connsiteX11535" fmla="*/ 983769 w 6226010"/>
              <a:gd name="connsiteY11535" fmla="*/ 1622401 h 5756219"/>
              <a:gd name="connsiteX11536" fmla="*/ 986486 w 6226010"/>
              <a:gd name="connsiteY11536" fmla="*/ 1619684 h 5756219"/>
              <a:gd name="connsiteX11537" fmla="*/ 986486 w 6226010"/>
              <a:gd name="connsiteY11537" fmla="*/ 1619682 h 5756219"/>
              <a:gd name="connsiteX11538" fmla="*/ 986486 w 6226010"/>
              <a:gd name="connsiteY11538" fmla="*/ 1616965 h 5756219"/>
              <a:gd name="connsiteX11539" fmla="*/ 986486 w 6226010"/>
              <a:gd name="connsiteY11539" fmla="*/ 1614248 h 5756219"/>
              <a:gd name="connsiteX11540" fmla="*/ 986486 w 6226010"/>
              <a:gd name="connsiteY11540" fmla="*/ 1611529 h 5756219"/>
              <a:gd name="connsiteX11541" fmla="*/ 986486 w 6226010"/>
              <a:gd name="connsiteY11541" fmla="*/ 1608812 h 5756219"/>
              <a:gd name="connsiteX11542" fmla="*/ 989204 w 6226010"/>
              <a:gd name="connsiteY11542" fmla="*/ 1608812 h 5756219"/>
              <a:gd name="connsiteX11543" fmla="*/ 991922 w 6226010"/>
              <a:gd name="connsiteY11543" fmla="*/ 1608812 h 5756219"/>
              <a:gd name="connsiteX11544" fmla="*/ 991922 w 6226010"/>
              <a:gd name="connsiteY11544" fmla="*/ 1603378 h 5756219"/>
              <a:gd name="connsiteX11545" fmla="*/ 994639 w 6226010"/>
              <a:gd name="connsiteY11545" fmla="*/ 1603378 h 5756219"/>
              <a:gd name="connsiteX11546" fmla="*/ 994639 w 6226010"/>
              <a:gd name="connsiteY11546" fmla="*/ 1597941 h 5756219"/>
              <a:gd name="connsiteX11547" fmla="*/ 991922 w 6226010"/>
              <a:gd name="connsiteY11547" fmla="*/ 1597941 h 5756219"/>
              <a:gd name="connsiteX11548" fmla="*/ 991922 w 6226010"/>
              <a:gd name="connsiteY11548" fmla="*/ 1592506 h 5756219"/>
              <a:gd name="connsiteX11549" fmla="*/ 994639 w 6226010"/>
              <a:gd name="connsiteY11549" fmla="*/ 1592506 h 5756219"/>
              <a:gd name="connsiteX11550" fmla="*/ 994639 w 6226010"/>
              <a:gd name="connsiteY11550" fmla="*/ 1587071 h 5756219"/>
              <a:gd name="connsiteX11551" fmla="*/ 991922 w 6226010"/>
              <a:gd name="connsiteY11551" fmla="*/ 1587071 h 5756219"/>
              <a:gd name="connsiteX11552" fmla="*/ 989204 w 6226010"/>
              <a:gd name="connsiteY11552" fmla="*/ 1587071 h 5756219"/>
              <a:gd name="connsiteX11553" fmla="*/ 989204 w 6226010"/>
              <a:gd name="connsiteY11553" fmla="*/ 1584354 h 5756219"/>
              <a:gd name="connsiteX11554" fmla="*/ 989204 w 6226010"/>
              <a:gd name="connsiteY11554" fmla="*/ 1581636 h 5756219"/>
              <a:gd name="connsiteX11555" fmla="*/ 991922 w 6226010"/>
              <a:gd name="connsiteY11555" fmla="*/ 1581636 h 5756219"/>
              <a:gd name="connsiteX11556" fmla="*/ 991922 w 6226010"/>
              <a:gd name="connsiteY11556" fmla="*/ 1584354 h 5756219"/>
              <a:gd name="connsiteX11557" fmla="*/ 994639 w 6226010"/>
              <a:gd name="connsiteY11557" fmla="*/ 1584354 h 5756219"/>
              <a:gd name="connsiteX11558" fmla="*/ 994639 w 6226010"/>
              <a:gd name="connsiteY11558" fmla="*/ 1578918 h 5756219"/>
              <a:gd name="connsiteX11559" fmla="*/ 994639 w 6226010"/>
              <a:gd name="connsiteY11559" fmla="*/ 1568049 h 5756219"/>
              <a:gd name="connsiteX11560" fmla="*/ 1016380 w 6226010"/>
              <a:gd name="connsiteY11560" fmla="*/ 1551742 h 5756219"/>
              <a:gd name="connsiteX11561" fmla="*/ 1048991 w 6226010"/>
              <a:gd name="connsiteY11561" fmla="*/ 1549025 h 5756219"/>
              <a:gd name="connsiteX11562" fmla="*/ 1048991 w 6226010"/>
              <a:gd name="connsiteY11562" fmla="*/ 1557179 h 5756219"/>
              <a:gd name="connsiteX11563" fmla="*/ 1024533 w 6226010"/>
              <a:gd name="connsiteY11563" fmla="*/ 1557179 h 5756219"/>
              <a:gd name="connsiteX11564" fmla="*/ 1024533 w 6226010"/>
              <a:gd name="connsiteY11564" fmla="*/ 1559896 h 5756219"/>
              <a:gd name="connsiteX11565" fmla="*/ 1016380 w 6226010"/>
              <a:gd name="connsiteY11565" fmla="*/ 1559896 h 5756219"/>
              <a:gd name="connsiteX11566" fmla="*/ 1016380 w 6226010"/>
              <a:gd name="connsiteY11566" fmla="*/ 1562614 h 5756219"/>
              <a:gd name="connsiteX11567" fmla="*/ 1043556 w 6226010"/>
              <a:gd name="connsiteY11567" fmla="*/ 1562614 h 5756219"/>
              <a:gd name="connsiteX11568" fmla="*/ 1048991 w 6226010"/>
              <a:gd name="connsiteY11568" fmla="*/ 1562614 h 5756219"/>
              <a:gd name="connsiteX11569" fmla="*/ 1051709 w 6226010"/>
              <a:gd name="connsiteY11569" fmla="*/ 1562614 h 5756219"/>
              <a:gd name="connsiteX11570" fmla="*/ 1051709 w 6226010"/>
              <a:gd name="connsiteY11570" fmla="*/ 1543590 h 5756219"/>
              <a:gd name="connsiteX11571" fmla="*/ 1051709 w 6226010"/>
              <a:gd name="connsiteY11571" fmla="*/ 1538155 h 5756219"/>
              <a:gd name="connsiteX11572" fmla="*/ 1070732 w 6226010"/>
              <a:gd name="connsiteY11572" fmla="*/ 1524567 h 5756219"/>
              <a:gd name="connsiteX11573" fmla="*/ 1070732 w 6226010"/>
              <a:gd name="connsiteY11573" fmla="*/ 1546307 h 5756219"/>
              <a:gd name="connsiteX11574" fmla="*/ 1089755 w 6226010"/>
              <a:gd name="connsiteY11574" fmla="*/ 1524567 h 5756219"/>
              <a:gd name="connsiteX11575" fmla="*/ 1089755 w 6226010"/>
              <a:gd name="connsiteY11575" fmla="*/ 1535437 h 5756219"/>
              <a:gd name="connsiteX11576" fmla="*/ 1092473 w 6226010"/>
              <a:gd name="connsiteY11576" fmla="*/ 1334339 h 5756219"/>
              <a:gd name="connsiteX11577" fmla="*/ 1135954 w 6226010"/>
              <a:gd name="connsiteY11577" fmla="*/ 1312597 h 5756219"/>
              <a:gd name="connsiteX11578" fmla="*/ 1135954 w 6226010"/>
              <a:gd name="connsiteY11578" fmla="*/ 1315315 h 5756219"/>
              <a:gd name="connsiteX11579" fmla="*/ 1179436 w 6226010"/>
              <a:gd name="connsiteY11579" fmla="*/ 1326186 h 5756219"/>
              <a:gd name="connsiteX11580" fmla="*/ 1179436 w 6226010"/>
              <a:gd name="connsiteY11580" fmla="*/ 1328904 h 5756219"/>
              <a:gd name="connsiteX11581" fmla="*/ 1135954 w 6226010"/>
              <a:gd name="connsiteY11581" fmla="*/ 1318033 h 5756219"/>
              <a:gd name="connsiteX11582" fmla="*/ 1135954 w 6226010"/>
              <a:gd name="connsiteY11582" fmla="*/ 1320751 h 5756219"/>
              <a:gd name="connsiteX11583" fmla="*/ 1179436 w 6226010"/>
              <a:gd name="connsiteY11583" fmla="*/ 1331621 h 5756219"/>
              <a:gd name="connsiteX11584" fmla="*/ 1179436 w 6226010"/>
              <a:gd name="connsiteY11584" fmla="*/ 1334339 h 5756219"/>
              <a:gd name="connsiteX11585" fmla="*/ 1135954 w 6226010"/>
              <a:gd name="connsiteY11585" fmla="*/ 1323468 h 5756219"/>
              <a:gd name="connsiteX11586" fmla="*/ 1135954 w 6226010"/>
              <a:gd name="connsiteY11586" fmla="*/ 1331621 h 5756219"/>
              <a:gd name="connsiteX11587" fmla="*/ 1176718 w 6226010"/>
              <a:gd name="connsiteY11587" fmla="*/ 1342491 h 5756219"/>
              <a:gd name="connsiteX11588" fmla="*/ 1176718 w 6226010"/>
              <a:gd name="connsiteY11588" fmla="*/ 1345209 h 5756219"/>
              <a:gd name="connsiteX11589" fmla="*/ 1214764 w 6226010"/>
              <a:gd name="connsiteY11589" fmla="*/ 1356079 h 5756219"/>
              <a:gd name="connsiteX11590" fmla="*/ 1214764 w 6226010"/>
              <a:gd name="connsiteY11590" fmla="*/ 1358797 h 5756219"/>
              <a:gd name="connsiteX11591" fmla="*/ 1212047 w 6226010"/>
              <a:gd name="connsiteY11591" fmla="*/ 1358020 h 5756219"/>
              <a:gd name="connsiteX11592" fmla="*/ 1212047 w 6226010"/>
              <a:gd name="connsiteY11592" fmla="*/ 1369048 h 5756219"/>
              <a:gd name="connsiteX11593" fmla="*/ 1214765 w 6226010"/>
              <a:gd name="connsiteY11593" fmla="*/ 1369675 h 5756219"/>
              <a:gd name="connsiteX11594" fmla="*/ 1214765 w 6226010"/>
              <a:gd name="connsiteY11594" fmla="*/ 1380546 h 5756219"/>
              <a:gd name="connsiteX11595" fmla="*/ 1208678 w 6226010"/>
              <a:gd name="connsiteY11595" fmla="*/ 1379242 h 5756219"/>
              <a:gd name="connsiteX11596" fmla="*/ 1206612 w 6226010"/>
              <a:gd name="connsiteY11596" fmla="*/ 1375111 h 5756219"/>
              <a:gd name="connsiteX11597" fmla="*/ 1206612 w 6226010"/>
              <a:gd name="connsiteY11597" fmla="*/ 1378800 h 5756219"/>
              <a:gd name="connsiteX11598" fmla="*/ 1176719 w 6226010"/>
              <a:gd name="connsiteY11598" fmla="*/ 1372393 h 5756219"/>
              <a:gd name="connsiteX11599" fmla="*/ 1179288 w 6226010"/>
              <a:gd name="connsiteY11599" fmla="*/ 1362117 h 5756219"/>
              <a:gd name="connsiteX11600" fmla="*/ 1176719 w 6226010"/>
              <a:gd name="connsiteY11600" fmla="*/ 1361523 h 5756219"/>
              <a:gd name="connsiteX11601" fmla="*/ 1176719 w 6226010"/>
              <a:gd name="connsiteY11601" fmla="*/ 1347936 h 5756219"/>
              <a:gd name="connsiteX11602" fmla="*/ 1176872 w 6226010"/>
              <a:gd name="connsiteY11602" fmla="*/ 1347971 h 5756219"/>
              <a:gd name="connsiteX11603" fmla="*/ 1176718 w 6226010"/>
              <a:gd name="connsiteY11603" fmla="*/ 1347927 h 5756219"/>
              <a:gd name="connsiteX11604" fmla="*/ 1176718 w 6226010"/>
              <a:gd name="connsiteY11604" fmla="*/ 1350644 h 5756219"/>
              <a:gd name="connsiteX11605" fmla="*/ 1176718 w 6226010"/>
              <a:gd name="connsiteY11605" fmla="*/ 1364231 h 5756219"/>
              <a:gd name="connsiteX11606" fmla="*/ 1127801 w 6226010"/>
              <a:gd name="connsiteY11606" fmla="*/ 1353362 h 5756219"/>
              <a:gd name="connsiteX11607" fmla="*/ 1128779 w 6226010"/>
              <a:gd name="connsiteY11607" fmla="*/ 1356296 h 5756219"/>
              <a:gd name="connsiteX11608" fmla="*/ 1127801 w 6226010"/>
              <a:gd name="connsiteY11608" fmla="*/ 1356079 h 5756219"/>
              <a:gd name="connsiteX11609" fmla="*/ 1127801 w 6226010"/>
              <a:gd name="connsiteY11609" fmla="*/ 1361515 h 5756219"/>
              <a:gd name="connsiteX11610" fmla="*/ 1130519 w 6226010"/>
              <a:gd name="connsiteY11610" fmla="*/ 1361515 h 5756219"/>
              <a:gd name="connsiteX11611" fmla="*/ 1128779 w 6226010"/>
              <a:gd name="connsiteY11611" fmla="*/ 1356296 h 5756219"/>
              <a:gd name="connsiteX11612" fmla="*/ 1176718 w 6226010"/>
              <a:gd name="connsiteY11612" fmla="*/ 1366950 h 5756219"/>
              <a:gd name="connsiteX11613" fmla="*/ 1176718 w 6226010"/>
              <a:gd name="connsiteY11613" fmla="*/ 1377819 h 5756219"/>
              <a:gd name="connsiteX11614" fmla="*/ 1130519 w 6226010"/>
              <a:gd name="connsiteY11614" fmla="*/ 1367553 h 5756219"/>
              <a:gd name="connsiteX11615" fmla="*/ 1130519 w 6226010"/>
              <a:gd name="connsiteY11615" fmla="*/ 1366950 h 5756219"/>
              <a:gd name="connsiteX11616" fmla="*/ 1127801 w 6226010"/>
              <a:gd name="connsiteY11616" fmla="*/ 1366950 h 5756219"/>
              <a:gd name="connsiteX11617" fmla="*/ 1130519 w 6226010"/>
              <a:gd name="connsiteY11617" fmla="*/ 1367553 h 5756219"/>
              <a:gd name="connsiteX11618" fmla="*/ 1130519 w 6226010"/>
              <a:gd name="connsiteY11618" fmla="*/ 1370271 h 5756219"/>
              <a:gd name="connsiteX11619" fmla="*/ 1127801 w 6226010"/>
              <a:gd name="connsiteY11619" fmla="*/ 1369668 h 5756219"/>
              <a:gd name="connsiteX11620" fmla="*/ 1127801 w 6226010"/>
              <a:gd name="connsiteY11620" fmla="*/ 1375102 h 5756219"/>
              <a:gd name="connsiteX11621" fmla="*/ 1127801 w 6226010"/>
              <a:gd name="connsiteY11621" fmla="*/ 1377819 h 5756219"/>
              <a:gd name="connsiteX11622" fmla="*/ 1135954 w 6226010"/>
              <a:gd name="connsiteY11622" fmla="*/ 1377819 h 5756219"/>
              <a:gd name="connsiteX11623" fmla="*/ 1127801 w 6226010"/>
              <a:gd name="connsiteY11623" fmla="*/ 1375102 h 5756219"/>
              <a:gd name="connsiteX11624" fmla="*/ 1130519 w 6226010"/>
              <a:gd name="connsiteY11624" fmla="*/ 1375102 h 5756219"/>
              <a:gd name="connsiteX11625" fmla="*/ 1130519 w 6226010"/>
              <a:gd name="connsiteY11625" fmla="*/ 1370271 h 5756219"/>
              <a:gd name="connsiteX11626" fmla="*/ 1176718 w 6226010"/>
              <a:gd name="connsiteY11626" fmla="*/ 1380537 h 5756219"/>
              <a:gd name="connsiteX11627" fmla="*/ 1187589 w 6226010"/>
              <a:gd name="connsiteY11627" fmla="*/ 1383256 h 5756219"/>
              <a:gd name="connsiteX11628" fmla="*/ 1187589 w 6226010"/>
              <a:gd name="connsiteY11628" fmla="*/ 1380537 h 5756219"/>
              <a:gd name="connsiteX11629" fmla="*/ 1236505 w 6226010"/>
              <a:gd name="connsiteY11629" fmla="*/ 1404996 h 5756219"/>
              <a:gd name="connsiteX11630" fmla="*/ 1247376 w 6226010"/>
              <a:gd name="connsiteY11630" fmla="*/ 1369668 h 5756219"/>
              <a:gd name="connsiteX11631" fmla="*/ 1263681 w 6226010"/>
              <a:gd name="connsiteY11631" fmla="*/ 1380537 h 5756219"/>
              <a:gd name="connsiteX11632" fmla="*/ 1263681 w 6226010"/>
              <a:gd name="connsiteY11632" fmla="*/ 1293574 h 5756219"/>
              <a:gd name="connsiteX11633" fmla="*/ 1282704 w 6226010"/>
              <a:gd name="connsiteY11633" fmla="*/ 1263681 h 5756219"/>
              <a:gd name="connsiteX11634" fmla="*/ 1304445 w 6226010"/>
              <a:gd name="connsiteY11634" fmla="*/ 1263681 h 5756219"/>
              <a:gd name="connsiteX11635" fmla="*/ 1304445 w 6226010"/>
              <a:gd name="connsiteY11635" fmla="*/ 1260963 h 5756219"/>
              <a:gd name="connsiteX11636" fmla="*/ 1307163 w 6226010"/>
              <a:gd name="connsiteY11636" fmla="*/ 1260963 h 5756219"/>
              <a:gd name="connsiteX11637" fmla="*/ 1307163 w 6226010"/>
              <a:gd name="connsiteY11637" fmla="*/ 1263681 h 5756219"/>
              <a:gd name="connsiteX11638" fmla="*/ 1312598 w 6226010"/>
              <a:gd name="connsiteY11638" fmla="*/ 1263681 h 5756219"/>
              <a:gd name="connsiteX11639" fmla="*/ 1312598 w 6226010"/>
              <a:gd name="connsiteY11639" fmla="*/ 1255528 h 5756219"/>
              <a:gd name="connsiteX11640" fmla="*/ 1312598 w 6226010"/>
              <a:gd name="connsiteY11640" fmla="*/ 1236506 h 5756219"/>
              <a:gd name="connsiteX11641" fmla="*/ 1347927 w 6226010"/>
              <a:gd name="connsiteY11641" fmla="*/ 1206611 h 5756219"/>
              <a:gd name="connsiteX11642" fmla="*/ 1399561 w 6226010"/>
              <a:gd name="connsiteY11642" fmla="*/ 1203895 h 5756219"/>
              <a:gd name="connsiteX11643" fmla="*/ 1399561 w 6226010"/>
              <a:gd name="connsiteY11643" fmla="*/ 1217482 h 5756219"/>
              <a:gd name="connsiteX11644" fmla="*/ 1361515 w 6226010"/>
              <a:gd name="connsiteY11644" fmla="*/ 1220200 h 5756219"/>
              <a:gd name="connsiteX11645" fmla="*/ 1361515 w 6226010"/>
              <a:gd name="connsiteY11645" fmla="*/ 1224956 h 5756219"/>
              <a:gd name="connsiteX11646" fmla="*/ 1350644 w 6226010"/>
              <a:gd name="connsiteY11646" fmla="*/ 1225635 h 5756219"/>
              <a:gd name="connsiteX11647" fmla="*/ 1350644 w 6226010"/>
              <a:gd name="connsiteY11647" fmla="*/ 1231070 h 5756219"/>
              <a:gd name="connsiteX11648" fmla="*/ 1399561 w 6226010"/>
              <a:gd name="connsiteY11648" fmla="*/ 1228353 h 5756219"/>
              <a:gd name="connsiteX11649" fmla="*/ 1399561 w 6226010"/>
              <a:gd name="connsiteY11649" fmla="*/ 1244658 h 5756219"/>
              <a:gd name="connsiteX11650" fmla="*/ 1402278 w 6226010"/>
              <a:gd name="connsiteY11650" fmla="*/ 1244658 h 5756219"/>
              <a:gd name="connsiteX11651" fmla="*/ 1404996 w 6226010"/>
              <a:gd name="connsiteY11651" fmla="*/ 1222918 h 5756219"/>
              <a:gd name="connsiteX11652" fmla="*/ 1394126 w 6226010"/>
              <a:gd name="connsiteY11652" fmla="*/ 1222918 h 5756219"/>
              <a:gd name="connsiteX11653" fmla="*/ 1394126 w 6226010"/>
              <a:gd name="connsiteY11653" fmla="*/ 1220200 h 5756219"/>
              <a:gd name="connsiteX11654" fmla="*/ 1404996 w 6226010"/>
              <a:gd name="connsiteY11654" fmla="*/ 1220200 h 5756219"/>
              <a:gd name="connsiteX11655" fmla="*/ 1404996 w 6226010"/>
              <a:gd name="connsiteY11655" fmla="*/ 1203895 h 5756219"/>
              <a:gd name="connsiteX11656" fmla="*/ 1402278 w 6226010"/>
              <a:gd name="connsiteY11656" fmla="*/ 1203895 h 5756219"/>
              <a:gd name="connsiteX11657" fmla="*/ 1399561 w 6226010"/>
              <a:gd name="connsiteY11657" fmla="*/ 1203895 h 5756219"/>
              <a:gd name="connsiteX11658" fmla="*/ 1396843 w 6226010"/>
              <a:gd name="connsiteY11658" fmla="*/ 1203895 h 5756219"/>
              <a:gd name="connsiteX11659" fmla="*/ 1396843 w 6226010"/>
              <a:gd name="connsiteY11659" fmla="*/ 1201177 h 5756219"/>
              <a:gd name="connsiteX11660" fmla="*/ 1407714 w 6226010"/>
              <a:gd name="connsiteY11660" fmla="*/ 1201177 h 5756219"/>
              <a:gd name="connsiteX11661" fmla="*/ 1407714 w 6226010"/>
              <a:gd name="connsiteY11661" fmla="*/ 1193024 h 5756219"/>
              <a:gd name="connsiteX11662" fmla="*/ 1407714 w 6226010"/>
              <a:gd name="connsiteY11662" fmla="*/ 1182153 h 5756219"/>
              <a:gd name="connsiteX11663" fmla="*/ 1437607 w 6226010"/>
              <a:gd name="connsiteY11663" fmla="*/ 1152259 h 5756219"/>
              <a:gd name="connsiteX11664" fmla="*/ 1467420 w 6226010"/>
              <a:gd name="connsiteY11664" fmla="*/ 1152259 h 5756219"/>
              <a:gd name="connsiteX11665" fmla="*/ 1467420 w 6226010"/>
              <a:gd name="connsiteY11665" fmla="*/ 1152266 h 5756219"/>
              <a:gd name="connsiteX11666" fmla="*/ 1437607 w 6226010"/>
              <a:gd name="connsiteY11666" fmla="*/ 1154977 h 5756219"/>
              <a:gd name="connsiteX11667" fmla="*/ 1437607 w 6226010"/>
              <a:gd name="connsiteY11667" fmla="*/ 1198459 h 5756219"/>
              <a:gd name="connsiteX11668" fmla="*/ 1467429 w 6226010"/>
              <a:gd name="connsiteY11668" fmla="*/ 1155081 h 5756219"/>
              <a:gd name="connsiteX11669" fmla="*/ 1467501 w 6226010"/>
              <a:gd name="connsiteY11669" fmla="*/ 1176719 h 5756219"/>
              <a:gd name="connsiteX11670" fmla="*/ 1467501 w 6226010"/>
              <a:gd name="connsiteY11670" fmla="*/ 1154977 h 5756219"/>
              <a:gd name="connsiteX11671" fmla="*/ 1467429 w 6226010"/>
              <a:gd name="connsiteY11671" fmla="*/ 1155081 h 5756219"/>
              <a:gd name="connsiteX11672" fmla="*/ 1467420 w 6226010"/>
              <a:gd name="connsiteY11672" fmla="*/ 1152266 h 5756219"/>
              <a:gd name="connsiteX11673" fmla="*/ 1467501 w 6226010"/>
              <a:gd name="connsiteY11673" fmla="*/ 1152259 h 5756219"/>
              <a:gd name="connsiteX11674" fmla="*/ 1467420 w 6226010"/>
              <a:gd name="connsiteY11674" fmla="*/ 1152259 h 5756219"/>
              <a:gd name="connsiteX11675" fmla="*/ 1466821 w 6226010"/>
              <a:gd name="connsiteY11675" fmla="*/ 971540 h 5756219"/>
              <a:gd name="connsiteX11676" fmla="*/ 1462066 w 6226010"/>
              <a:gd name="connsiteY11676" fmla="*/ 766361 h 5756219"/>
              <a:gd name="connsiteX11677" fmla="*/ 1532723 w 6226010"/>
              <a:gd name="connsiteY11677" fmla="*/ 725597 h 5756219"/>
              <a:gd name="connsiteX11678" fmla="*/ 1532723 w 6226010"/>
              <a:gd name="connsiteY11678" fmla="*/ 728315 h 5756219"/>
              <a:gd name="connsiteX11679" fmla="*/ 1603380 w 6226010"/>
              <a:gd name="connsiteY11679" fmla="*/ 752773 h 5756219"/>
              <a:gd name="connsiteX11680" fmla="*/ 1603380 w 6226010"/>
              <a:gd name="connsiteY11680" fmla="*/ 755491 h 5756219"/>
              <a:gd name="connsiteX11681" fmla="*/ 1535441 w 6226010"/>
              <a:gd name="connsiteY11681" fmla="*/ 731032 h 5756219"/>
              <a:gd name="connsiteX11682" fmla="*/ 1535441 w 6226010"/>
              <a:gd name="connsiteY11682" fmla="*/ 733750 h 5756219"/>
              <a:gd name="connsiteX11683" fmla="*/ 1603380 w 6226010"/>
              <a:gd name="connsiteY11683" fmla="*/ 758208 h 5756219"/>
              <a:gd name="connsiteX11684" fmla="*/ 1603380 w 6226010"/>
              <a:gd name="connsiteY11684" fmla="*/ 760926 h 5756219"/>
              <a:gd name="connsiteX11685" fmla="*/ 1535441 w 6226010"/>
              <a:gd name="connsiteY11685" fmla="*/ 736467 h 5756219"/>
              <a:gd name="connsiteX11686" fmla="*/ 1538158 w 6226010"/>
              <a:gd name="connsiteY11686" fmla="*/ 750055 h 5756219"/>
              <a:gd name="connsiteX11687" fmla="*/ 1603380 w 6226010"/>
              <a:gd name="connsiteY11687" fmla="*/ 771796 h 5756219"/>
              <a:gd name="connsiteX11688" fmla="*/ 1603380 w 6226010"/>
              <a:gd name="connsiteY11688" fmla="*/ 774515 h 5756219"/>
              <a:gd name="connsiteX11689" fmla="*/ 1665885 w 6226010"/>
              <a:gd name="connsiteY11689" fmla="*/ 796254 h 5756219"/>
              <a:gd name="connsiteX11690" fmla="*/ 1665885 w 6226010"/>
              <a:gd name="connsiteY11690" fmla="*/ 804407 h 5756219"/>
              <a:gd name="connsiteX11691" fmla="*/ 1603380 w 6226010"/>
              <a:gd name="connsiteY11691" fmla="*/ 782667 h 5756219"/>
              <a:gd name="connsiteX11692" fmla="*/ 1603380 w 6226010"/>
              <a:gd name="connsiteY11692" fmla="*/ 790819 h 5756219"/>
              <a:gd name="connsiteX11693" fmla="*/ 1603380 w 6226010"/>
              <a:gd name="connsiteY11693" fmla="*/ 817995 h 5756219"/>
              <a:gd name="connsiteX11694" fmla="*/ 1527288 w 6226010"/>
              <a:gd name="connsiteY11694" fmla="*/ 793537 h 5756219"/>
              <a:gd name="connsiteX11695" fmla="*/ 1527288 w 6226010"/>
              <a:gd name="connsiteY11695" fmla="*/ 801691 h 5756219"/>
              <a:gd name="connsiteX11696" fmla="*/ 1603380 w 6226010"/>
              <a:gd name="connsiteY11696" fmla="*/ 826148 h 5756219"/>
              <a:gd name="connsiteX11697" fmla="*/ 1603380 w 6226010"/>
              <a:gd name="connsiteY11697" fmla="*/ 847889 h 5756219"/>
              <a:gd name="connsiteX11698" fmla="*/ 1527288 w 6226010"/>
              <a:gd name="connsiteY11698" fmla="*/ 823430 h 5756219"/>
              <a:gd name="connsiteX11699" fmla="*/ 1527288 w 6226010"/>
              <a:gd name="connsiteY11699" fmla="*/ 831583 h 5756219"/>
              <a:gd name="connsiteX11700" fmla="*/ 1603380 w 6226010"/>
              <a:gd name="connsiteY11700" fmla="*/ 856042 h 5756219"/>
              <a:gd name="connsiteX11701" fmla="*/ 1603380 w 6226010"/>
              <a:gd name="connsiteY11701" fmla="*/ 877782 h 5756219"/>
              <a:gd name="connsiteX11702" fmla="*/ 1535441 w 6226010"/>
              <a:gd name="connsiteY11702" fmla="*/ 858759 h 5756219"/>
              <a:gd name="connsiteX11703" fmla="*/ 1538158 w 6226010"/>
              <a:gd name="connsiteY11703" fmla="*/ 858759 h 5756219"/>
              <a:gd name="connsiteX11704" fmla="*/ 1538158 w 6226010"/>
              <a:gd name="connsiteY11704" fmla="*/ 842454 h 5756219"/>
              <a:gd name="connsiteX11705" fmla="*/ 1532723 w 6226010"/>
              <a:gd name="connsiteY11705" fmla="*/ 842454 h 5756219"/>
              <a:gd name="connsiteX11706" fmla="*/ 1532723 w 6226010"/>
              <a:gd name="connsiteY11706" fmla="*/ 858759 h 5756219"/>
              <a:gd name="connsiteX11707" fmla="*/ 1527288 w 6226010"/>
              <a:gd name="connsiteY11707" fmla="*/ 856042 h 5756219"/>
              <a:gd name="connsiteX11708" fmla="*/ 1527288 w 6226010"/>
              <a:gd name="connsiteY11708" fmla="*/ 864194 h 5756219"/>
              <a:gd name="connsiteX11709" fmla="*/ 1532723 w 6226010"/>
              <a:gd name="connsiteY11709" fmla="*/ 866912 h 5756219"/>
              <a:gd name="connsiteX11710" fmla="*/ 1532723 w 6226010"/>
              <a:gd name="connsiteY11710" fmla="*/ 872347 h 5756219"/>
              <a:gd name="connsiteX11711" fmla="*/ 1538158 w 6226010"/>
              <a:gd name="connsiteY11711" fmla="*/ 872347 h 5756219"/>
              <a:gd name="connsiteX11712" fmla="*/ 1538158 w 6226010"/>
              <a:gd name="connsiteY11712" fmla="*/ 866912 h 5756219"/>
              <a:gd name="connsiteX11713" fmla="*/ 1538159 w 6226010"/>
              <a:gd name="connsiteY11713" fmla="*/ 866913 h 5756219"/>
              <a:gd name="connsiteX11714" fmla="*/ 1538159 w 6226010"/>
              <a:gd name="connsiteY11714" fmla="*/ 864203 h 5756219"/>
              <a:gd name="connsiteX11715" fmla="*/ 1543594 w 6226010"/>
              <a:gd name="connsiteY11715" fmla="*/ 864203 h 5756219"/>
              <a:gd name="connsiteX11716" fmla="*/ 1543594 w 6226010"/>
              <a:gd name="connsiteY11716" fmla="*/ 868531 h 5756219"/>
              <a:gd name="connsiteX11717" fmla="*/ 1665885 w 6226010"/>
              <a:gd name="connsiteY11717" fmla="*/ 904958 h 5756219"/>
              <a:gd name="connsiteX11718" fmla="*/ 1666111 w 6226010"/>
              <a:gd name="connsiteY11718" fmla="*/ 918546 h 5756219"/>
              <a:gd name="connsiteX11719" fmla="*/ 1665885 w 6226010"/>
              <a:gd name="connsiteY11719" fmla="*/ 918546 h 5756219"/>
              <a:gd name="connsiteX11720" fmla="*/ 1663168 w 6226010"/>
              <a:gd name="connsiteY11720" fmla="*/ 907676 h 5756219"/>
              <a:gd name="connsiteX11721" fmla="*/ 1663168 w 6226010"/>
              <a:gd name="connsiteY11721" fmla="*/ 918546 h 5756219"/>
              <a:gd name="connsiteX11722" fmla="*/ 1665885 w 6226010"/>
              <a:gd name="connsiteY11722" fmla="*/ 918546 h 5756219"/>
              <a:gd name="connsiteX11723" fmla="*/ 1665885 w 6226010"/>
              <a:gd name="connsiteY11723" fmla="*/ 921264 h 5756219"/>
              <a:gd name="connsiteX11724" fmla="*/ 1663168 w 6226010"/>
              <a:gd name="connsiteY11724" fmla="*/ 921264 h 5756219"/>
              <a:gd name="connsiteX11725" fmla="*/ 1663168 w 6226010"/>
              <a:gd name="connsiteY11725" fmla="*/ 926699 h 5756219"/>
              <a:gd name="connsiteX11726" fmla="*/ 1665885 w 6226010"/>
              <a:gd name="connsiteY11726" fmla="*/ 929417 h 5756219"/>
              <a:gd name="connsiteX11727" fmla="*/ 1666267 w 6226010"/>
              <a:gd name="connsiteY11727" fmla="*/ 927889 h 5756219"/>
              <a:gd name="connsiteX11728" fmla="*/ 1668603 w 6226010"/>
              <a:gd name="connsiteY11728" fmla="*/ 1068014 h 5756219"/>
              <a:gd name="connsiteX11729" fmla="*/ 1679473 w 6226010"/>
              <a:gd name="connsiteY11729" fmla="*/ 1065296 h 5756219"/>
              <a:gd name="connsiteX11730" fmla="*/ 1679473 w 6226010"/>
              <a:gd name="connsiteY11730" fmla="*/ 1062579 h 5756219"/>
              <a:gd name="connsiteX11731" fmla="*/ 1687626 w 6226010"/>
              <a:gd name="connsiteY11731" fmla="*/ 1062579 h 5756219"/>
              <a:gd name="connsiteX11732" fmla="*/ 1717519 w 6226010"/>
              <a:gd name="connsiteY11732" fmla="*/ 1057143 h 5756219"/>
              <a:gd name="connsiteX11733" fmla="*/ 1717519 w 6226010"/>
              <a:gd name="connsiteY11733" fmla="*/ 989204 h 5756219"/>
              <a:gd name="connsiteX11734" fmla="*/ 1752848 w 6226010"/>
              <a:gd name="connsiteY11734" fmla="*/ 972898 h 5756219"/>
              <a:gd name="connsiteX11735" fmla="*/ 1752848 w 6226010"/>
              <a:gd name="connsiteY11735" fmla="*/ 684833 h 5756219"/>
              <a:gd name="connsiteX11736" fmla="*/ 1780024 w 6226010"/>
              <a:gd name="connsiteY11736" fmla="*/ 625046 h 5756219"/>
              <a:gd name="connsiteX11737" fmla="*/ 1858834 w 6226010"/>
              <a:gd name="connsiteY11737" fmla="*/ 622329 h 5756219"/>
              <a:gd name="connsiteX11738" fmla="*/ 1880575 w 6226010"/>
              <a:gd name="connsiteY11738" fmla="*/ 679399 h 5756219"/>
              <a:gd name="connsiteX11739" fmla="*/ 1880575 w 6226010"/>
              <a:gd name="connsiteY11739" fmla="*/ 940287 h 5756219"/>
              <a:gd name="connsiteX11740" fmla="*/ 1828941 w 6226010"/>
              <a:gd name="connsiteY11740" fmla="*/ 929417 h 5756219"/>
              <a:gd name="connsiteX11741" fmla="*/ 1828941 w 6226010"/>
              <a:gd name="connsiteY11741" fmla="*/ 964745 h 5756219"/>
              <a:gd name="connsiteX11742" fmla="*/ 1866987 w 6226010"/>
              <a:gd name="connsiteY11742" fmla="*/ 959310 h 5756219"/>
              <a:gd name="connsiteX11743" fmla="*/ 1866987 w 6226010"/>
              <a:gd name="connsiteY11743" fmla="*/ 962028 h 5756219"/>
              <a:gd name="connsiteX11744" fmla="*/ 1828941 w 6226010"/>
              <a:gd name="connsiteY11744" fmla="*/ 967463 h 5756219"/>
              <a:gd name="connsiteX11745" fmla="*/ 1828941 w 6226010"/>
              <a:gd name="connsiteY11745" fmla="*/ 970180 h 5756219"/>
              <a:gd name="connsiteX11746" fmla="*/ 1943080 w 6226010"/>
              <a:gd name="connsiteY11746" fmla="*/ 953875 h 5756219"/>
              <a:gd name="connsiteX11747" fmla="*/ 1940362 w 6226010"/>
              <a:gd name="connsiteY11747" fmla="*/ 956592 h 5756219"/>
              <a:gd name="connsiteX11748" fmla="*/ 1828941 w 6226010"/>
              <a:gd name="connsiteY11748" fmla="*/ 972898 h 5756219"/>
              <a:gd name="connsiteX11749" fmla="*/ 1828941 w 6226010"/>
              <a:gd name="connsiteY11749" fmla="*/ 975616 h 5756219"/>
              <a:gd name="connsiteX11750" fmla="*/ 1959385 w 6226010"/>
              <a:gd name="connsiteY11750" fmla="*/ 956592 h 5756219"/>
              <a:gd name="connsiteX11751" fmla="*/ 2073524 w 6226010"/>
              <a:gd name="connsiteY11751" fmla="*/ 956592 h 5756219"/>
              <a:gd name="connsiteX11752" fmla="*/ 2073524 w 6226010"/>
              <a:gd name="connsiteY11752" fmla="*/ 948440 h 5756219"/>
              <a:gd name="connsiteX11753" fmla="*/ 1953950 w 6226010"/>
              <a:gd name="connsiteY11753" fmla="*/ 948440 h 5756219"/>
              <a:gd name="connsiteX11754" fmla="*/ 1953950 w 6226010"/>
              <a:gd name="connsiteY11754" fmla="*/ 926699 h 5756219"/>
              <a:gd name="connsiteX11755" fmla="*/ 2073524 w 6226010"/>
              <a:gd name="connsiteY11755" fmla="*/ 926699 h 5756219"/>
              <a:gd name="connsiteX11756" fmla="*/ 2073524 w 6226010"/>
              <a:gd name="connsiteY11756" fmla="*/ 918546 h 5756219"/>
              <a:gd name="connsiteX11757" fmla="*/ 1953950 w 6226010"/>
              <a:gd name="connsiteY11757" fmla="*/ 918546 h 5756219"/>
              <a:gd name="connsiteX11758" fmla="*/ 1953950 w 6226010"/>
              <a:gd name="connsiteY11758" fmla="*/ 896805 h 5756219"/>
              <a:gd name="connsiteX11759" fmla="*/ 2073524 w 6226010"/>
              <a:gd name="connsiteY11759" fmla="*/ 896805 h 5756219"/>
              <a:gd name="connsiteX11760" fmla="*/ 2073524 w 6226010"/>
              <a:gd name="connsiteY11760" fmla="*/ 888653 h 5756219"/>
              <a:gd name="connsiteX11761" fmla="*/ 1953950 w 6226010"/>
              <a:gd name="connsiteY11761" fmla="*/ 888653 h 5756219"/>
              <a:gd name="connsiteX11762" fmla="*/ 1953950 w 6226010"/>
              <a:gd name="connsiteY11762" fmla="*/ 866912 h 5756219"/>
              <a:gd name="connsiteX11763" fmla="*/ 2073524 w 6226010"/>
              <a:gd name="connsiteY11763" fmla="*/ 866912 h 5756219"/>
              <a:gd name="connsiteX11764" fmla="*/ 2073524 w 6226010"/>
              <a:gd name="connsiteY11764" fmla="*/ 858759 h 5756219"/>
              <a:gd name="connsiteX11765" fmla="*/ 1953950 w 6226010"/>
              <a:gd name="connsiteY11765" fmla="*/ 858759 h 5756219"/>
              <a:gd name="connsiteX11766" fmla="*/ 1953950 w 6226010"/>
              <a:gd name="connsiteY11766" fmla="*/ 837018 h 5756219"/>
              <a:gd name="connsiteX11767" fmla="*/ 2073524 w 6226010"/>
              <a:gd name="connsiteY11767" fmla="*/ 837018 h 5756219"/>
              <a:gd name="connsiteX11768" fmla="*/ 2073524 w 6226010"/>
              <a:gd name="connsiteY11768" fmla="*/ 828866 h 5756219"/>
              <a:gd name="connsiteX11769" fmla="*/ 1953950 w 6226010"/>
              <a:gd name="connsiteY11769" fmla="*/ 828866 h 5756219"/>
              <a:gd name="connsiteX11770" fmla="*/ 1953950 w 6226010"/>
              <a:gd name="connsiteY11770" fmla="*/ 804407 h 5756219"/>
              <a:gd name="connsiteX11771" fmla="*/ 2073524 w 6226010"/>
              <a:gd name="connsiteY11771" fmla="*/ 804407 h 5756219"/>
              <a:gd name="connsiteX11772" fmla="*/ 2073524 w 6226010"/>
              <a:gd name="connsiteY11772" fmla="*/ 796254 h 5756219"/>
              <a:gd name="connsiteX11773" fmla="*/ 1953950 w 6226010"/>
              <a:gd name="connsiteY11773" fmla="*/ 796254 h 5756219"/>
              <a:gd name="connsiteX11774" fmla="*/ 1953950 w 6226010"/>
              <a:gd name="connsiteY11774" fmla="*/ 774515 h 5756219"/>
              <a:gd name="connsiteX11775" fmla="*/ 2073524 w 6226010"/>
              <a:gd name="connsiteY11775" fmla="*/ 774515 h 5756219"/>
              <a:gd name="connsiteX11776" fmla="*/ 2073524 w 6226010"/>
              <a:gd name="connsiteY11776" fmla="*/ 766361 h 5756219"/>
              <a:gd name="connsiteX11777" fmla="*/ 1953950 w 6226010"/>
              <a:gd name="connsiteY11777" fmla="*/ 766361 h 5756219"/>
              <a:gd name="connsiteX11778" fmla="*/ 1953950 w 6226010"/>
              <a:gd name="connsiteY11778" fmla="*/ 744620 h 5756219"/>
              <a:gd name="connsiteX11779" fmla="*/ 2073524 w 6226010"/>
              <a:gd name="connsiteY11779" fmla="*/ 744620 h 5756219"/>
              <a:gd name="connsiteX11780" fmla="*/ 2073524 w 6226010"/>
              <a:gd name="connsiteY11780" fmla="*/ 736467 h 5756219"/>
              <a:gd name="connsiteX11781" fmla="*/ 1953950 w 6226010"/>
              <a:gd name="connsiteY11781" fmla="*/ 736467 h 5756219"/>
              <a:gd name="connsiteX11782" fmla="*/ 1953950 w 6226010"/>
              <a:gd name="connsiteY11782" fmla="*/ 714727 h 5756219"/>
              <a:gd name="connsiteX11783" fmla="*/ 2070807 w 6226010"/>
              <a:gd name="connsiteY11783" fmla="*/ 714727 h 5756219"/>
              <a:gd name="connsiteX11784" fmla="*/ 2070807 w 6226010"/>
              <a:gd name="connsiteY11784" fmla="*/ 706574 h 5756219"/>
              <a:gd name="connsiteX11785" fmla="*/ 1953950 w 6226010"/>
              <a:gd name="connsiteY11785" fmla="*/ 706574 h 5756219"/>
              <a:gd name="connsiteX11786" fmla="*/ 1953950 w 6226010"/>
              <a:gd name="connsiteY11786" fmla="*/ 684833 h 5756219"/>
              <a:gd name="connsiteX11787" fmla="*/ 2070807 w 6226010"/>
              <a:gd name="connsiteY11787" fmla="*/ 684833 h 5756219"/>
              <a:gd name="connsiteX11788" fmla="*/ 2070807 w 6226010"/>
              <a:gd name="connsiteY11788" fmla="*/ 676680 h 5756219"/>
              <a:gd name="connsiteX11789" fmla="*/ 1953950 w 6226010"/>
              <a:gd name="connsiteY11789" fmla="*/ 676680 h 5756219"/>
              <a:gd name="connsiteX11790" fmla="*/ 1953950 w 6226010"/>
              <a:gd name="connsiteY11790" fmla="*/ 654940 h 5756219"/>
              <a:gd name="connsiteX11791" fmla="*/ 2070807 w 6226010"/>
              <a:gd name="connsiteY11791" fmla="*/ 654940 h 5756219"/>
              <a:gd name="connsiteX11792" fmla="*/ 2070807 w 6226010"/>
              <a:gd name="connsiteY11792" fmla="*/ 646787 h 5756219"/>
              <a:gd name="connsiteX11793" fmla="*/ 1953950 w 6226010"/>
              <a:gd name="connsiteY11793" fmla="*/ 646787 h 5756219"/>
              <a:gd name="connsiteX11794" fmla="*/ 1953950 w 6226010"/>
              <a:gd name="connsiteY11794" fmla="*/ 581566 h 5756219"/>
              <a:gd name="connsiteX11795" fmla="*/ 2070807 w 6226010"/>
              <a:gd name="connsiteY11795" fmla="*/ 581566 h 5756219"/>
              <a:gd name="connsiteX11796" fmla="*/ 2070807 w 6226010"/>
              <a:gd name="connsiteY11796" fmla="*/ 538083 h 5756219"/>
              <a:gd name="connsiteX11797" fmla="*/ 1953950 w 6226010"/>
              <a:gd name="connsiteY11797" fmla="*/ 538083 h 5756219"/>
              <a:gd name="connsiteX11798" fmla="*/ 1953950 w 6226010"/>
              <a:gd name="connsiteY11798" fmla="*/ 521779 h 5756219"/>
              <a:gd name="connsiteX11799" fmla="*/ 2070807 w 6226010"/>
              <a:gd name="connsiteY11799" fmla="*/ 521779 h 5756219"/>
              <a:gd name="connsiteX11800" fmla="*/ 2070807 w 6226010"/>
              <a:gd name="connsiteY11800" fmla="*/ 489166 h 5756219"/>
              <a:gd name="connsiteX11801" fmla="*/ 1953950 w 6226010"/>
              <a:gd name="connsiteY11801" fmla="*/ 489166 h 5756219"/>
              <a:gd name="connsiteX11802" fmla="*/ 1953950 w 6226010"/>
              <a:gd name="connsiteY11802" fmla="*/ 486449 h 5756219"/>
              <a:gd name="connsiteX11803" fmla="*/ 2081677 w 6226010"/>
              <a:gd name="connsiteY11803" fmla="*/ 486449 h 5756219"/>
              <a:gd name="connsiteX11804" fmla="*/ 2081677 w 6226010"/>
              <a:gd name="connsiteY11804" fmla="*/ 489166 h 5756219"/>
              <a:gd name="connsiteX11805" fmla="*/ 2081677 w 6226010"/>
              <a:gd name="connsiteY11805" fmla="*/ 521779 h 5756219"/>
              <a:gd name="connsiteX11806" fmla="*/ 2081677 w 6226010"/>
              <a:gd name="connsiteY11806" fmla="*/ 538083 h 5756219"/>
              <a:gd name="connsiteX11807" fmla="*/ 2081677 w 6226010"/>
              <a:gd name="connsiteY11807" fmla="*/ 581566 h 5756219"/>
              <a:gd name="connsiteX11808" fmla="*/ 2081677 w 6226010"/>
              <a:gd name="connsiteY11808" fmla="*/ 646787 h 5756219"/>
              <a:gd name="connsiteX11809" fmla="*/ 2081677 w 6226010"/>
              <a:gd name="connsiteY11809" fmla="*/ 654940 h 5756219"/>
              <a:gd name="connsiteX11810" fmla="*/ 2081677 w 6226010"/>
              <a:gd name="connsiteY11810" fmla="*/ 676680 h 5756219"/>
              <a:gd name="connsiteX11811" fmla="*/ 2081677 w 6226010"/>
              <a:gd name="connsiteY11811" fmla="*/ 684833 h 5756219"/>
              <a:gd name="connsiteX11812" fmla="*/ 2081677 w 6226010"/>
              <a:gd name="connsiteY11812" fmla="*/ 706574 h 5756219"/>
              <a:gd name="connsiteX11813" fmla="*/ 2081677 w 6226010"/>
              <a:gd name="connsiteY11813" fmla="*/ 714727 h 5756219"/>
              <a:gd name="connsiteX11814" fmla="*/ 2081677 w 6226010"/>
              <a:gd name="connsiteY11814" fmla="*/ 736467 h 5756219"/>
              <a:gd name="connsiteX11815" fmla="*/ 2081677 w 6226010"/>
              <a:gd name="connsiteY11815" fmla="*/ 744620 h 5756219"/>
              <a:gd name="connsiteX11816" fmla="*/ 2081677 w 6226010"/>
              <a:gd name="connsiteY11816" fmla="*/ 766361 h 5756219"/>
              <a:gd name="connsiteX11817" fmla="*/ 2081677 w 6226010"/>
              <a:gd name="connsiteY11817" fmla="*/ 774515 h 5756219"/>
              <a:gd name="connsiteX11818" fmla="*/ 2081677 w 6226010"/>
              <a:gd name="connsiteY11818" fmla="*/ 796254 h 5756219"/>
              <a:gd name="connsiteX11819" fmla="*/ 2081677 w 6226010"/>
              <a:gd name="connsiteY11819" fmla="*/ 804407 h 5756219"/>
              <a:gd name="connsiteX11820" fmla="*/ 2081677 w 6226010"/>
              <a:gd name="connsiteY11820" fmla="*/ 828866 h 5756219"/>
              <a:gd name="connsiteX11821" fmla="*/ 2081677 w 6226010"/>
              <a:gd name="connsiteY11821" fmla="*/ 837018 h 5756219"/>
              <a:gd name="connsiteX11822" fmla="*/ 2081677 w 6226010"/>
              <a:gd name="connsiteY11822" fmla="*/ 858759 h 5756219"/>
              <a:gd name="connsiteX11823" fmla="*/ 2081677 w 6226010"/>
              <a:gd name="connsiteY11823" fmla="*/ 866912 h 5756219"/>
              <a:gd name="connsiteX11824" fmla="*/ 2081677 w 6226010"/>
              <a:gd name="connsiteY11824" fmla="*/ 888653 h 5756219"/>
              <a:gd name="connsiteX11825" fmla="*/ 2081677 w 6226010"/>
              <a:gd name="connsiteY11825" fmla="*/ 896805 h 5756219"/>
              <a:gd name="connsiteX11826" fmla="*/ 2081677 w 6226010"/>
              <a:gd name="connsiteY11826" fmla="*/ 918546 h 5756219"/>
              <a:gd name="connsiteX11827" fmla="*/ 2081677 w 6226010"/>
              <a:gd name="connsiteY11827" fmla="*/ 926699 h 5756219"/>
              <a:gd name="connsiteX11828" fmla="*/ 2081677 w 6226010"/>
              <a:gd name="connsiteY11828" fmla="*/ 948440 h 5756219"/>
              <a:gd name="connsiteX11829" fmla="*/ 2081677 w 6226010"/>
              <a:gd name="connsiteY11829" fmla="*/ 956592 h 5756219"/>
              <a:gd name="connsiteX11830" fmla="*/ 2081677 w 6226010"/>
              <a:gd name="connsiteY11830" fmla="*/ 978333 h 5756219"/>
              <a:gd name="connsiteX11831" fmla="*/ 2081677 w 6226010"/>
              <a:gd name="connsiteY11831" fmla="*/ 983768 h 5756219"/>
              <a:gd name="connsiteX11832" fmla="*/ 2070807 w 6226010"/>
              <a:gd name="connsiteY11832" fmla="*/ 981051 h 5756219"/>
              <a:gd name="connsiteX11833" fmla="*/ 2070807 w 6226010"/>
              <a:gd name="connsiteY11833" fmla="*/ 978333 h 5756219"/>
              <a:gd name="connsiteX11834" fmla="*/ 2049066 w 6226010"/>
              <a:gd name="connsiteY11834" fmla="*/ 978333 h 5756219"/>
              <a:gd name="connsiteX11835" fmla="*/ 1959385 w 6226010"/>
              <a:gd name="connsiteY11835" fmla="*/ 959310 h 5756219"/>
              <a:gd name="connsiteX11836" fmla="*/ 1948515 w 6226010"/>
              <a:gd name="connsiteY11836" fmla="*/ 1029968 h 5756219"/>
              <a:gd name="connsiteX11837" fmla="*/ 2078960 w 6226010"/>
              <a:gd name="connsiteY11837" fmla="*/ 1057143 h 5756219"/>
              <a:gd name="connsiteX11838" fmla="*/ 2136029 w 6226010"/>
              <a:gd name="connsiteY11838" fmla="*/ 997356 h 5756219"/>
              <a:gd name="connsiteX11839" fmla="*/ 2089830 w 6226010"/>
              <a:gd name="connsiteY11839" fmla="*/ 986486 h 5756219"/>
              <a:gd name="connsiteX11840" fmla="*/ 2198534 w 6226010"/>
              <a:gd name="connsiteY11840" fmla="*/ 986486 h 5756219"/>
              <a:gd name="connsiteX11841" fmla="*/ 2198534 w 6226010"/>
              <a:gd name="connsiteY11841" fmla="*/ 978333 h 5756219"/>
              <a:gd name="connsiteX11842" fmla="*/ 2089830 w 6226010"/>
              <a:gd name="connsiteY11842" fmla="*/ 978333 h 5756219"/>
              <a:gd name="connsiteX11843" fmla="*/ 2089830 w 6226010"/>
              <a:gd name="connsiteY11843" fmla="*/ 956592 h 5756219"/>
              <a:gd name="connsiteX11844" fmla="*/ 2198534 w 6226010"/>
              <a:gd name="connsiteY11844" fmla="*/ 956592 h 5756219"/>
              <a:gd name="connsiteX11845" fmla="*/ 2198534 w 6226010"/>
              <a:gd name="connsiteY11845" fmla="*/ 948440 h 5756219"/>
              <a:gd name="connsiteX11846" fmla="*/ 2089830 w 6226010"/>
              <a:gd name="connsiteY11846" fmla="*/ 948440 h 5756219"/>
              <a:gd name="connsiteX11847" fmla="*/ 2089830 w 6226010"/>
              <a:gd name="connsiteY11847" fmla="*/ 926699 h 5756219"/>
              <a:gd name="connsiteX11848" fmla="*/ 2198534 w 6226010"/>
              <a:gd name="connsiteY11848" fmla="*/ 926699 h 5756219"/>
              <a:gd name="connsiteX11849" fmla="*/ 2198534 w 6226010"/>
              <a:gd name="connsiteY11849" fmla="*/ 918546 h 5756219"/>
              <a:gd name="connsiteX11850" fmla="*/ 2089830 w 6226010"/>
              <a:gd name="connsiteY11850" fmla="*/ 918546 h 5756219"/>
              <a:gd name="connsiteX11851" fmla="*/ 2089830 w 6226010"/>
              <a:gd name="connsiteY11851" fmla="*/ 896805 h 5756219"/>
              <a:gd name="connsiteX11852" fmla="*/ 2198534 w 6226010"/>
              <a:gd name="connsiteY11852" fmla="*/ 896805 h 5756219"/>
              <a:gd name="connsiteX11853" fmla="*/ 2198534 w 6226010"/>
              <a:gd name="connsiteY11853" fmla="*/ 888653 h 5756219"/>
              <a:gd name="connsiteX11854" fmla="*/ 2089830 w 6226010"/>
              <a:gd name="connsiteY11854" fmla="*/ 888653 h 5756219"/>
              <a:gd name="connsiteX11855" fmla="*/ 2089830 w 6226010"/>
              <a:gd name="connsiteY11855" fmla="*/ 866912 h 5756219"/>
              <a:gd name="connsiteX11856" fmla="*/ 2198534 w 6226010"/>
              <a:gd name="connsiteY11856" fmla="*/ 866912 h 5756219"/>
              <a:gd name="connsiteX11857" fmla="*/ 2198534 w 6226010"/>
              <a:gd name="connsiteY11857" fmla="*/ 858759 h 5756219"/>
              <a:gd name="connsiteX11858" fmla="*/ 2089830 w 6226010"/>
              <a:gd name="connsiteY11858" fmla="*/ 858759 h 5756219"/>
              <a:gd name="connsiteX11859" fmla="*/ 2089830 w 6226010"/>
              <a:gd name="connsiteY11859" fmla="*/ 837018 h 5756219"/>
              <a:gd name="connsiteX11860" fmla="*/ 2198534 w 6226010"/>
              <a:gd name="connsiteY11860" fmla="*/ 837018 h 5756219"/>
              <a:gd name="connsiteX11861" fmla="*/ 2198534 w 6226010"/>
              <a:gd name="connsiteY11861" fmla="*/ 828866 h 5756219"/>
              <a:gd name="connsiteX11862" fmla="*/ 2089830 w 6226010"/>
              <a:gd name="connsiteY11862" fmla="*/ 828866 h 5756219"/>
              <a:gd name="connsiteX11863" fmla="*/ 2089830 w 6226010"/>
              <a:gd name="connsiteY11863" fmla="*/ 804407 h 5756219"/>
              <a:gd name="connsiteX11864" fmla="*/ 2198534 w 6226010"/>
              <a:gd name="connsiteY11864" fmla="*/ 804407 h 5756219"/>
              <a:gd name="connsiteX11865" fmla="*/ 2198534 w 6226010"/>
              <a:gd name="connsiteY11865" fmla="*/ 796254 h 5756219"/>
              <a:gd name="connsiteX11866" fmla="*/ 2089830 w 6226010"/>
              <a:gd name="connsiteY11866" fmla="*/ 796254 h 5756219"/>
              <a:gd name="connsiteX11867" fmla="*/ 2089830 w 6226010"/>
              <a:gd name="connsiteY11867" fmla="*/ 774515 h 5756219"/>
              <a:gd name="connsiteX11868" fmla="*/ 2198534 w 6226010"/>
              <a:gd name="connsiteY11868" fmla="*/ 774515 h 5756219"/>
              <a:gd name="connsiteX11869" fmla="*/ 2198534 w 6226010"/>
              <a:gd name="connsiteY11869" fmla="*/ 766361 h 5756219"/>
              <a:gd name="connsiteX11870" fmla="*/ 2089830 w 6226010"/>
              <a:gd name="connsiteY11870" fmla="*/ 766361 h 5756219"/>
              <a:gd name="connsiteX11871" fmla="*/ 2089830 w 6226010"/>
              <a:gd name="connsiteY11871" fmla="*/ 744620 h 5756219"/>
              <a:gd name="connsiteX11872" fmla="*/ 2198534 w 6226010"/>
              <a:gd name="connsiteY11872" fmla="*/ 744620 h 5756219"/>
              <a:gd name="connsiteX11873" fmla="*/ 2198534 w 6226010"/>
              <a:gd name="connsiteY11873" fmla="*/ 736467 h 5756219"/>
              <a:gd name="connsiteX11874" fmla="*/ 2089830 w 6226010"/>
              <a:gd name="connsiteY11874" fmla="*/ 736467 h 5756219"/>
              <a:gd name="connsiteX11875" fmla="*/ 2089830 w 6226010"/>
              <a:gd name="connsiteY11875" fmla="*/ 714727 h 5756219"/>
              <a:gd name="connsiteX11876" fmla="*/ 2198534 w 6226010"/>
              <a:gd name="connsiteY11876" fmla="*/ 714727 h 5756219"/>
              <a:gd name="connsiteX11877" fmla="*/ 2198534 w 6226010"/>
              <a:gd name="connsiteY11877" fmla="*/ 706574 h 5756219"/>
              <a:gd name="connsiteX11878" fmla="*/ 2089830 w 6226010"/>
              <a:gd name="connsiteY11878" fmla="*/ 706574 h 5756219"/>
              <a:gd name="connsiteX11879" fmla="*/ 2089830 w 6226010"/>
              <a:gd name="connsiteY11879" fmla="*/ 684833 h 5756219"/>
              <a:gd name="connsiteX11880" fmla="*/ 2198534 w 6226010"/>
              <a:gd name="connsiteY11880" fmla="*/ 684833 h 5756219"/>
              <a:gd name="connsiteX11881" fmla="*/ 2198534 w 6226010"/>
              <a:gd name="connsiteY11881" fmla="*/ 676680 h 5756219"/>
              <a:gd name="connsiteX11882" fmla="*/ 2089830 w 6226010"/>
              <a:gd name="connsiteY11882" fmla="*/ 676680 h 5756219"/>
              <a:gd name="connsiteX11883" fmla="*/ 2089830 w 6226010"/>
              <a:gd name="connsiteY11883" fmla="*/ 654940 h 5756219"/>
              <a:gd name="connsiteX11884" fmla="*/ 2198534 w 6226010"/>
              <a:gd name="connsiteY11884" fmla="*/ 654940 h 5756219"/>
              <a:gd name="connsiteX11885" fmla="*/ 2198534 w 6226010"/>
              <a:gd name="connsiteY11885" fmla="*/ 646787 h 5756219"/>
              <a:gd name="connsiteX11886" fmla="*/ 2089830 w 6226010"/>
              <a:gd name="connsiteY11886" fmla="*/ 646787 h 5756219"/>
              <a:gd name="connsiteX11887" fmla="*/ 2089830 w 6226010"/>
              <a:gd name="connsiteY11887" fmla="*/ 581566 h 5756219"/>
              <a:gd name="connsiteX11888" fmla="*/ 2198534 w 6226010"/>
              <a:gd name="connsiteY11888" fmla="*/ 581566 h 5756219"/>
              <a:gd name="connsiteX11889" fmla="*/ 2198534 w 6226010"/>
              <a:gd name="connsiteY11889" fmla="*/ 570694 h 5756219"/>
              <a:gd name="connsiteX11890" fmla="*/ 2203969 w 6226010"/>
              <a:gd name="connsiteY11890" fmla="*/ 570694 h 5756219"/>
              <a:gd name="connsiteX11891" fmla="*/ 2203969 w 6226010"/>
              <a:gd name="connsiteY11891" fmla="*/ 1010944 h 5756219"/>
              <a:gd name="connsiteX11892" fmla="*/ 2141464 w 6226010"/>
              <a:gd name="connsiteY11892" fmla="*/ 1010944 h 5756219"/>
              <a:gd name="connsiteX11893" fmla="*/ 2141464 w 6226010"/>
              <a:gd name="connsiteY11893" fmla="*/ 1013662 h 5756219"/>
              <a:gd name="connsiteX11894" fmla="*/ 2203969 w 6226010"/>
              <a:gd name="connsiteY11894" fmla="*/ 1013662 h 5756219"/>
              <a:gd name="connsiteX11895" fmla="*/ 2203969 w 6226010"/>
              <a:gd name="connsiteY11895" fmla="*/ 1040838 h 5756219"/>
              <a:gd name="connsiteX11896" fmla="*/ 2141464 w 6226010"/>
              <a:gd name="connsiteY11896" fmla="*/ 1040838 h 5756219"/>
              <a:gd name="connsiteX11897" fmla="*/ 2203969 w 6226010"/>
              <a:gd name="connsiteY11897" fmla="*/ 1043555 h 5756219"/>
              <a:gd name="connsiteX11898" fmla="*/ 2203969 w 6226010"/>
              <a:gd name="connsiteY11898" fmla="*/ 1062579 h 5756219"/>
              <a:gd name="connsiteX11899" fmla="*/ 2209404 w 6226010"/>
              <a:gd name="connsiteY11899" fmla="*/ 1065296 h 5756219"/>
              <a:gd name="connsiteX11900" fmla="*/ 2209404 w 6226010"/>
              <a:gd name="connsiteY11900" fmla="*/ 1059861 h 5756219"/>
              <a:gd name="connsiteX11901" fmla="*/ 2212122 w 6226010"/>
              <a:gd name="connsiteY11901" fmla="*/ 1059861 h 5756219"/>
              <a:gd name="connsiteX11902" fmla="*/ 2212122 w 6226010"/>
              <a:gd name="connsiteY11902" fmla="*/ 1065296 h 5756219"/>
              <a:gd name="connsiteX11903" fmla="*/ 2214839 w 6226010"/>
              <a:gd name="connsiteY11903" fmla="*/ 1065296 h 5756219"/>
              <a:gd name="connsiteX11904" fmla="*/ 2214840 w 6226010"/>
              <a:gd name="connsiteY11904" fmla="*/ 1065300 h 5756219"/>
              <a:gd name="connsiteX11905" fmla="*/ 2214840 w 6226010"/>
              <a:gd name="connsiteY11905" fmla="*/ 1043568 h 5756219"/>
              <a:gd name="connsiteX11906" fmla="*/ 2217557 w 6226010"/>
              <a:gd name="connsiteY11906" fmla="*/ 1016392 h 5756219"/>
              <a:gd name="connsiteX11907" fmla="*/ 2217557 w 6226010"/>
              <a:gd name="connsiteY11907" fmla="*/ 1043568 h 5756219"/>
              <a:gd name="connsiteX11908" fmla="*/ 2215273 w 6226010"/>
              <a:gd name="connsiteY11908" fmla="*/ 1066413 h 5756219"/>
              <a:gd name="connsiteX11909" fmla="*/ 2218618 w 6226010"/>
              <a:gd name="connsiteY11909" fmla="*/ 1075020 h 5756219"/>
              <a:gd name="connsiteX11910" fmla="*/ 2236580 w 6226010"/>
              <a:gd name="connsiteY11910" fmla="*/ 1100625 h 5756219"/>
              <a:gd name="connsiteX11911" fmla="*/ 2242015 w 6226010"/>
              <a:gd name="connsiteY11911" fmla="*/ 1095190 h 5756219"/>
              <a:gd name="connsiteX11912" fmla="*/ 2220274 w 6226010"/>
              <a:gd name="connsiteY11912" fmla="*/ 1160412 h 5756219"/>
              <a:gd name="connsiteX11913" fmla="*/ 2228427 w 6226010"/>
              <a:gd name="connsiteY11913" fmla="*/ 1163130 h 5756219"/>
              <a:gd name="connsiteX11914" fmla="*/ 2296367 w 6226010"/>
              <a:gd name="connsiteY11914" fmla="*/ 1266399 h 5756219"/>
              <a:gd name="connsiteX11915" fmla="*/ 2296367 w 6226010"/>
              <a:gd name="connsiteY11915" fmla="*/ 940287 h 5756219"/>
              <a:gd name="connsiteX11916" fmla="*/ 2301804 w 6226010"/>
              <a:gd name="connsiteY11916" fmla="*/ 938012 h 5756219"/>
              <a:gd name="connsiteX11917" fmla="*/ 2301804 w 6226010"/>
              <a:gd name="connsiteY11917" fmla="*/ 932147 h 5756219"/>
              <a:gd name="connsiteX11918" fmla="*/ 2418660 w 6226010"/>
              <a:gd name="connsiteY11918" fmla="*/ 883232 h 5756219"/>
              <a:gd name="connsiteX11919" fmla="*/ 2418660 w 6226010"/>
              <a:gd name="connsiteY11919" fmla="*/ 880514 h 5756219"/>
              <a:gd name="connsiteX11920" fmla="*/ 2301804 w 6226010"/>
              <a:gd name="connsiteY11920" fmla="*/ 929429 h 5756219"/>
              <a:gd name="connsiteX11921" fmla="*/ 2301804 w 6226010"/>
              <a:gd name="connsiteY11921" fmla="*/ 910407 h 5756219"/>
              <a:gd name="connsiteX11922" fmla="*/ 2418660 w 6226010"/>
              <a:gd name="connsiteY11922" fmla="*/ 858771 h 5756219"/>
              <a:gd name="connsiteX11923" fmla="*/ 2418660 w 6226010"/>
              <a:gd name="connsiteY11923" fmla="*/ 856053 h 5756219"/>
              <a:gd name="connsiteX11924" fmla="*/ 2301804 w 6226010"/>
              <a:gd name="connsiteY11924" fmla="*/ 907689 h 5756219"/>
              <a:gd name="connsiteX11925" fmla="*/ 2301804 w 6226010"/>
              <a:gd name="connsiteY11925" fmla="*/ 885948 h 5756219"/>
              <a:gd name="connsiteX11926" fmla="*/ 2418660 w 6226010"/>
              <a:gd name="connsiteY11926" fmla="*/ 834312 h 5756219"/>
              <a:gd name="connsiteX11927" fmla="*/ 2418660 w 6226010"/>
              <a:gd name="connsiteY11927" fmla="*/ 831595 h 5756219"/>
              <a:gd name="connsiteX11928" fmla="*/ 2301804 w 6226010"/>
              <a:gd name="connsiteY11928" fmla="*/ 883233 h 5756219"/>
              <a:gd name="connsiteX11929" fmla="*/ 2301804 w 6226010"/>
              <a:gd name="connsiteY11929" fmla="*/ 864207 h 5756219"/>
              <a:gd name="connsiteX11930" fmla="*/ 2301804 w 6226010"/>
              <a:gd name="connsiteY11930" fmla="*/ 845184 h 5756219"/>
              <a:gd name="connsiteX11931" fmla="*/ 2418660 w 6226010"/>
              <a:gd name="connsiteY11931" fmla="*/ 790832 h 5756219"/>
              <a:gd name="connsiteX11932" fmla="*/ 2418660 w 6226010"/>
              <a:gd name="connsiteY11932" fmla="*/ 788113 h 5756219"/>
              <a:gd name="connsiteX11933" fmla="*/ 2301804 w 6226010"/>
              <a:gd name="connsiteY11933" fmla="*/ 842465 h 5756219"/>
              <a:gd name="connsiteX11934" fmla="*/ 2301804 w 6226010"/>
              <a:gd name="connsiteY11934" fmla="*/ 820725 h 5756219"/>
              <a:gd name="connsiteX11935" fmla="*/ 2418660 w 6226010"/>
              <a:gd name="connsiteY11935" fmla="*/ 766373 h 5756219"/>
              <a:gd name="connsiteX11936" fmla="*/ 2418660 w 6226010"/>
              <a:gd name="connsiteY11936" fmla="*/ 760937 h 5756219"/>
              <a:gd name="connsiteX11937" fmla="*/ 2301804 w 6226010"/>
              <a:gd name="connsiteY11937" fmla="*/ 815288 h 5756219"/>
              <a:gd name="connsiteX11938" fmla="*/ 2301804 w 6226010"/>
              <a:gd name="connsiteY11938" fmla="*/ 798980 h 5756219"/>
              <a:gd name="connsiteX11939" fmla="*/ 2418660 w 6226010"/>
              <a:gd name="connsiteY11939" fmla="*/ 744633 h 5756219"/>
              <a:gd name="connsiteX11940" fmla="*/ 2418660 w 6226010"/>
              <a:gd name="connsiteY11940" fmla="*/ 739197 h 5756219"/>
              <a:gd name="connsiteX11941" fmla="*/ 2301804 w 6226010"/>
              <a:gd name="connsiteY11941" fmla="*/ 793548 h 5756219"/>
              <a:gd name="connsiteX11942" fmla="*/ 2301804 w 6226010"/>
              <a:gd name="connsiteY11942" fmla="*/ 777246 h 5756219"/>
              <a:gd name="connsiteX11943" fmla="*/ 2418660 w 6226010"/>
              <a:gd name="connsiteY11943" fmla="*/ 722892 h 5756219"/>
              <a:gd name="connsiteX11944" fmla="*/ 2418660 w 6226010"/>
              <a:gd name="connsiteY11944" fmla="*/ 717457 h 5756219"/>
              <a:gd name="connsiteX11945" fmla="*/ 2301804 w 6226010"/>
              <a:gd name="connsiteY11945" fmla="*/ 774527 h 5756219"/>
              <a:gd name="connsiteX11946" fmla="*/ 2301804 w 6226010"/>
              <a:gd name="connsiteY11946" fmla="*/ 760938 h 5756219"/>
              <a:gd name="connsiteX11947" fmla="*/ 2418660 w 6226010"/>
              <a:gd name="connsiteY11947" fmla="*/ 703871 h 5756219"/>
              <a:gd name="connsiteX11948" fmla="*/ 2418660 w 6226010"/>
              <a:gd name="connsiteY11948" fmla="*/ 698434 h 5756219"/>
              <a:gd name="connsiteX11949" fmla="*/ 2301804 w 6226010"/>
              <a:gd name="connsiteY11949" fmla="*/ 755503 h 5756219"/>
              <a:gd name="connsiteX11950" fmla="*/ 2301804 w 6226010"/>
              <a:gd name="connsiteY11950" fmla="*/ 731045 h 5756219"/>
              <a:gd name="connsiteX11951" fmla="*/ 2418660 w 6226010"/>
              <a:gd name="connsiteY11951" fmla="*/ 673977 h 5756219"/>
              <a:gd name="connsiteX11952" fmla="*/ 2418660 w 6226010"/>
              <a:gd name="connsiteY11952" fmla="*/ 663105 h 5756219"/>
              <a:gd name="connsiteX11953" fmla="*/ 2301804 w 6226010"/>
              <a:gd name="connsiteY11953" fmla="*/ 720173 h 5756219"/>
              <a:gd name="connsiteX11954" fmla="*/ 2301804 w 6226010"/>
              <a:gd name="connsiteY11954" fmla="*/ 714738 h 5756219"/>
              <a:gd name="connsiteX11955" fmla="*/ 2418660 w 6226010"/>
              <a:gd name="connsiteY11955" fmla="*/ 657671 h 5756219"/>
              <a:gd name="connsiteX11956" fmla="*/ 2418660 w 6226010"/>
              <a:gd name="connsiteY11956" fmla="*/ 649519 h 5756219"/>
              <a:gd name="connsiteX11957" fmla="*/ 2418660 w 6226010"/>
              <a:gd name="connsiteY11957" fmla="*/ 641352 h 5756219"/>
              <a:gd name="connsiteX11958" fmla="*/ 2413225 w 6226010"/>
              <a:gd name="connsiteY11958" fmla="*/ 641352 h 5756219"/>
              <a:gd name="connsiteX11959" fmla="*/ 2413225 w 6226010"/>
              <a:gd name="connsiteY11959" fmla="*/ 625046 h 5756219"/>
              <a:gd name="connsiteX11960" fmla="*/ 2296367 w 6226010"/>
              <a:gd name="connsiteY11960" fmla="*/ 682117 h 5756219"/>
              <a:gd name="connsiteX11961" fmla="*/ 2296367 w 6226010"/>
              <a:gd name="connsiteY11961" fmla="*/ 676680 h 5756219"/>
              <a:gd name="connsiteX11962" fmla="*/ 2413225 w 6226010"/>
              <a:gd name="connsiteY11962" fmla="*/ 622329 h 5756219"/>
              <a:gd name="connsiteX11963" fmla="*/ 2415942 w 6226010"/>
              <a:gd name="connsiteY11963" fmla="*/ 622329 h 5756219"/>
              <a:gd name="connsiteX11964" fmla="*/ 2415942 w 6226010"/>
              <a:gd name="connsiteY11964" fmla="*/ 211972 h 5756219"/>
              <a:gd name="connsiteX11965" fmla="*/ 2867063 w 6226010"/>
              <a:gd name="connsiteY11965" fmla="*/ 0 h 5756219"/>
              <a:gd name="connsiteX11966" fmla="*/ 2864345 w 6226010"/>
              <a:gd name="connsiteY11966" fmla="*/ 2717 h 5756219"/>
              <a:gd name="connsiteX11967" fmla="*/ 2839887 w 6226010"/>
              <a:gd name="connsiteY11967" fmla="*/ 228278 h 5756219"/>
              <a:gd name="connsiteX11968" fmla="*/ 2869779 w 6226010"/>
              <a:gd name="connsiteY11968" fmla="*/ 233713 h 5756219"/>
              <a:gd name="connsiteX11969" fmla="*/ 2869779 w 6226010"/>
              <a:gd name="connsiteY11969" fmla="*/ 271759 h 5756219"/>
              <a:gd name="connsiteX11970" fmla="*/ 2834451 w 6226010"/>
              <a:gd name="connsiteY11970" fmla="*/ 266324 h 5756219"/>
              <a:gd name="connsiteX11971" fmla="*/ 2831733 w 6226010"/>
              <a:gd name="connsiteY11971" fmla="*/ 290782 h 5756219"/>
              <a:gd name="connsiteX11972" fmla="*/ 2869779 w 6226010"/>
              <a:gd name="connsiteY11972" fmla="*/ 298935 h 5756219"/>
              <a:gd name="connsiteX11973" fmla="*/ 2869779 w 6226010"/>
              <a:gd name="connsiteY11973" fmla="*/ 334264 h 5756219"/>
              <a:gd name="connsiteX11974" fmla="*/ 2829017 w 6226010"/>
              <a:gd name="connsiteY11974" fmla="*/ 326111 h 5756219"/>
              <a:gd name="connsiteX11975" fmla="*/ 2826299 w 6226010"/>
              <a:gd name="connsiteY11975" fmla="*/ 350569 h 5756219"/>
              <a:gd name="connsiteX11976" fmla="*/ 2869779 w 6226010"/>
              <a:gd name="connsiteY11976" fmla="*/ 358722 h 5756219"/>
              <a:gd name="connsiteX11977" fmla="*/ 2869779 w 6226010"/>
              <a:gd name="connsiteY11977" fmla="*/ 396768 h 5756219"/>
              <a:gd name="connsiteX11978" fmla="*/ 2823581 w 6226010"/>
              <a:gd name="connsiteY11978" fmla="*/ 388616 h 5756219"/>
              <a:gd name="connsiteX11979" fmla="*/ 2820863 w 6226010"/>
              <a:gd name="connsiteY11979" fmla="*/ 413074 h 5756219"/>
              <a:gd name="connsiteX11980" fmla="*/ 2869779 w 6226010"/>
              <a:gd name="connsiteY11980" fmla="*/ 423944 h 5756219"/>
              <a:gd name="connsiteX11981" fmla="*/ 2869779 w 6226010"/>
              <a:gd name="connsiteY11981" fmla="*/ 459273 h 5756219"/>
              <a:gd name="connsiteX11982" fmla="*/ 2818145 w 6226010"/>
              <a:gd name="connsiteY11982" fmla="*/ 448403 h 5756219"/>
              <a:gd name="connsiteX11983" fmla="*/ 2815429 w 6226010"/>
              <a:gd name="connsiteY11983" fmla="*/ 472862 h 5756219"/>
              <a:gd name="connsiteX11984" fmla="*/ 2869779 w 6226010"/>
              <a:gd name="connsiteY11984" fmla="*/ 483731 h 5756219"/>
              <a:gd name="connsiteX11985" fmla="*/ 2869779 w 6226010"/>
              <a:gd name="connsiteY11985" fmla="*/ 521779 h 5756219"/>
              <a:gd name="connsiteX11986" fmla="*/ 2809993 w 6226010"/>
              <a:gd name="connsiteY11986" fmla="*/ 510907 h 5756219"/>
              <a:gd name="connsiteX11987" fmla="*/ 2807275 w 6226010"/>
              <a:gd name="connsiteY11987" fmla="*/ 535366 h 5756219"/>
              <a:gd name="connsiteX11988" fmla="*/ 2869779 w 6226010"/>
              <a:gd name="connsiteY11988" fmla="*/ 548953 h 5756219"/>
              <a:gd name="connsiteX11989" fmla="*/ 2869779 w 6226010"/>
              <a:gd name="connsiteY11989" fmla="*/ 587000 h 5756219"/>
              <a:gd name="connsiteX11990" fmla="*/ 2804558 w 6226010"/>
              <a:gd name="connsiteY11990" fmla="*/ 573413 h 5756219"/>
              <a:gd name="connsiteX11991" fmla="*/ 2801841 w 6226010"/>
              <a:gd name="connsiteY11991" fmla="*/ 597871 h 5756219"/>
              <a:gd name="connsiteX11992" fmla="*/ 2869779 w 6226010"/>
              <a:gd name="connsiteY11992" fmla="*/ 611459 h 5756219"/>
              <a:gd name="connsiteX11993" fmla="*/ 2869779 w 6226010"/>
              <a:gd name="connsiteY11993" fmla="*/ 649505 h 5756219"/>
              <a:gd name="connsiteX11994" fmla="*/ 2796405 w 6226010"/>
              <a:gd name="connsiteY11994" fmla="*/ 635916 h 5756219"/>
              <a:gd name="connsiteX11995" fmla="*/ 2793688 w 6226010"/>
              <a:gd name="connsiteY11995" fmla="*/ 660376 h 5756219"/>
              <a:gd name="connsiteX11996" fmla="*/ 2869779 w 6226010"/>
              <a:gd name="connsiteY11996" fmla="*/ 673964 h 5756219"/>
              <a:gd name="connsiteX11997" fmla="*/ 2869779 w 6226010"/>
              <a:gd name="connsiteY11997" fmla="*/ 709292 h 5756219"/>
              <a:gd name="connsiteX11998" fmla="*/ 2790970 w 6226010"/>
              <a:gd name="connsiteY11998" fmla="*/ 692986 h 5756219"/>
              <a:gd name="connsiteX11999" fmla="*/ 2788253 w 6226010"/>
              <a:gd name="connsiteY11999" fmla="*/ 717444 h 5756219"/>
              <a:gd name="connsiteX12000" fmla="*/ 2869779 w 6226010"/>
              <a:gd name="connsiteY12000" fmla="*/ 733750 h 5756219"/>
              <a:gd name="connsiteX12001" fmla="*/ 2869779 w 6226010"/>
              <a:gd name="connsiteY12001" fmla="*/ 771796 h 5756219"/>
              <a:gd name="connsiteX12002" fmla="*/ 2785535 w 6226010"/>
              <a:gd name="connsiteY12002" fmla="*/ 755491 h 5756219"/>
              <a:gd name="connsiteX12003" fmla="*/ 2782817 w 6226010"/>
              <a:gd name="connsiteY12003" fmla="*/ 779949 h 5756219"/>
              <a:gd name="connsiteX12004" fmla="*/ 2869779 w 6226010"/>
              <a:gd name="connsiteY12004" fmla="*/ 796254 h 5756219"/>
              <a:gd name="connsiteX12005" fmla="*/ 2869779 w 6226010"/>
              <a:gd name="connsiteY12005" fmla="*/ 834301 h 5756219"/>
              <a:gd name="connsiteX12006" fmla="*/ 2780100 w 6226010"/>
              <a:gd name="connsiteY12006" fmla="*/ 815277 h 5756219"/>
              <a:gd name="connsiteX12007" fmla="*/ 2777382 w 6226010"/>
              <a:gd name="connsiteY12007" fmla="*/ 839736 h 5756219"/>
              <a:gd name="connsiteX12008" fmla="*/ 2869779 w 6226010"/>
              <a:gd name="connsiteY12008" fmla="*/ 858759 h 5756219"/>
              <a:gd name="connsiteX12009" fmla="*/ 2869779 w 6226010"/>
              <a:gd name="connsiteY12009" fmla="*/ 896805 h 5756219"/>
              <a:gd name="connsiteX12010" fmla="*/ 2771947 w 6226010"/>
              <a:gd name="connsiteY12010" fmla="*/ 877782 h 5756219"/>
              <a:gd name="connsiteX12011" fmla="*/ 2769230 w 6226010"/>
              <a:gd name="connsiteY12011" fmla="*/ 902241 h 5756219"/>
              <a:gd name="connsiteX12012" fmla="*/ 2869779 w 6226010"/>
              <a:gd name="connsiteY12012" fmla="*/ 921264 h 5756219"/>
              <a:gd name="connsiteX12013" fmla="*/ 2869779 w 6226010"/>
              <a:gd name="connsiteY12013" fmla="*/ 948440 h 5756219"/>
              <a:gd name="connsiteX12014" fmla="*/ 2766512 w 6226010"/>
              <a:gd name="connsiteY12014" fmla="*/ 929417 h 5756219"/>
              <a:gd name="connsiteX12015" fmla="*/ 2763794 w 6226010"/>
              <a:gd name="connsiteY12015" fmla="*/ 953875 h 5756219"/>
              <a:gd name="connsiteX12016" fmla="*/ 2880651 w 6226010"/>
              <a:gd name="connsiteY12016" fmla="*/ 975616 h 5756219"/>
              <a:gd name="connsiteX12017" fmla="*/ 2880651 w 6226010"/>
              <a:gd name="connsiteY12017" fmla="*/ 1013662 h 5756219"/>
              <a:gd name="connsiteX12018" fmla="*/ 2758359 w 6226010"/>
              <a:gd name="connsiteY12018" fmla="*/ 989204 h 5756219"/>
              <a:gd name="connsiteX12019" fmla="*/ 2755642 w 6226010"/>
              <a:gd name="connsiteY12019" fmla="*/ 1013662 h 5756219"/>
              <a:gd name="connsiteX12020" fmla="*/ 2880651 w 6226010"/>
              <a:gd name="connsiteY12020" fmla="*/ 1038120 h 5756219"/>
              <a:gd name="connsiteX12021" fmla="*/ 2880651 w 6226010"/>
              <a:gd name="connsiteY12021" fmla="*/ 1073449 h 5756219"/>
              <a:gd name="connsiteX12022" fmla="*/ 2752924 w 6226010"/>
              <a:gd name="connsiteY12022" fmla="*/ 1048991 h 5756219"/>
              <a:gd name="connsiteX12023" fmla="*/ 2750206 w 6226010"/>
              <a:gd name="connsiteY12023" fmla="*/ 1073449 h 5756219"/>
              <a:gd name="connsiteX12024" fmla="*/ 2880651 w 6226010"/>
              <a:gd name="connsiteY12024" fmla="*/ 1100625 h 5756219"/>
              <a:gd name="connsiteX12025" fmla="*/ 2880651 w 6226010"/>
              <a:gd name="connsiteY12025" fmla="*/ 1138671 h 5756219"/>
              <a:gd name="connsiteX12026" fmla="*/ 2747489 w 6226010"/>
              <a:gd name="connsiteY12026" fmla="*/ 1111495 h 5756219"/>
              <a:gd name="connsiteX12027" fmla="*/ 2744771 w 6226010"/>
              <a:gd name="connsiteY12027" fmla="*/ 1135954 h 5756219"/>
              <a:gd name="connsiteX12028" fmla="*/ 2880651 w 6226010"/>
              <a:gd name="connsiteY12028" fmla="*/ 1163130 h 5756219"/>
              <a:gd name="connsiteX12029" fmla="*/ 2880651 w 6226010"/>
              <a:gd name="connsiteY12029" fmla="*/ 1183255 h 5756219"/>
              <a:gd name="connsiteX12030" fmla="*/ 2473012 w 6226010"/>
              <a:gd name="connsiteY12030" fmla="*/ 1258246 h 5756219"/>
              <a:gd name="connsiteX12031" fmla="*/ 2478447 w 6226010"/>
              <a:gd name="connsiteY12031" fmla="*/ 548953 h 5756219"/>
              <a:gd name="connsiteX12032" fmla="*/ 2478447 w 6226010"/>
              <a:gd name="connsiteY12032" fmla="*/ 543518 h 5756219"/>
              <a:gd name="connsiteX12033" fmla="*/ 2538234 w 6226010"/>
              <a:gd name="connsiteY12033" fmla="*/ 516342 h 5756219"/>
              <a:gd name="connsiteX12034" fmla="*/ 2538234 w 6226010"/>
              <a:gd name="connsiteY12034" fmla="*/ 451120 h 5756219"/>
              <a:gd name="connsiteX12035" fmla="*/ 2538234 w 6226010"/>
              <a:gd name="connsiteY12035" fmla="*/ 429379 h 5756219"/>
              <a:gd name="connsiteX12036" fmla="*/ 2437683 w 6226010"/>
              <a:gd name="connsiteY12036" fmla="*/ 388616 h 5756219"/>
              <a:gd name="connsiteX12037" fmla="*/ 2437683 w 6226010"/>
              <a:gd name="connsiteY12037" fmla="*/ 385898 h 5756219"/>
              <a:gd name="connsiteX12038" fmla="*/ 2538234 w 6226010"/>
              <a:gd name="connsiteY12038" fmla="*/ 426662 h 5756219"/>
              <a:gd name="connsiteX12039" fmla="*/ 2538234 w 6226010"/>
              <a:gd name="connsiteY12039" fmla="*/ 404921 h 5756219"/>
              <a:gd name="connsiteX12040" fmla="*/ 2437683 w 6226010"/>
              <a:gd name="connsiteY12040" fmla="*/ 364157 h 5756219"/>
              <a:gd name="connsiteX12041" fmla="*/ 2437683 w 6226010"/>
              <a:gd name="connsiteY12041" fmla="*/ 361440 h 5756219"/>
              <a:gd name="connsiteX12042" fmla="*/ 2538234 w 6226010"/>
              <a:gd name="connsiteY12042" fmla="*/ 402203 h 5756219"/>
              <a:gd name="connsiteX12043" fmla="*/ 2538234 w 6226010"/>
              <a:gd name="connsiteY12043" fmla="*/ 383180 h 5756219"/>
              <a:gd name="connsiteX12044" fmla="*/ 2437683 w 6226010"/>
              <a:gd name="connsiteY12044" fmla="*/ 339699 h 5756219"/>
              <a:gd name="connsiteX12045" fmla="*/ 2437683 w 6226010"/>
              <a:gd name="connsiteY12045" fmla="*/ 336981 h 5756219"/>
              <a:gd name="connsiteX12046" fmla="*/ 2538234 w 6226010"/>
              <a:gd name="connsiteY12046" fmla="*/ 380463 h 5756219"/>
              <a:gd name="connsiteX12047" fmla="*/ 2538234 w 6226010"/>
              <a:gd name="connsiteY12047" fmla="*/ 358722 h 5756219"/>
              <a:gd name="connsiteX12048" fmla="*/ 2437683 w 6226010"/>
              <a:gd name="connsiteY12048" fmla="*/ 315241 h 5756219"/>
              <a:gd name="connsiteX12049" fmla="*/ 2437683 w 6226010"/>
              <a:gd name="connsiteY12049" fmla="*/ 312523 h 5756219"/>
              <a:gd name="connsiteX12050" fmla="*/ 2538234 w 6226010"/>
              <a:gd name="connsiteY12050" fmla="*/ 356004 h 5756219"/>
              <a:gd name="connsiteX12051" fmla="*/ 2538234 w 6226010"/>
              <a:gd name="connsiteY12051" fmla="*/ 336981 h 5756219"/>
              <a:gd name="connsiteX12052" fmla="*/ 2437683 w 6226010"/>
              <a:gd name="connsiteY12052" fmla="*/ 290782 h 5756219"/>
              <a:gd name="connsiteX12053" fmla="*/ 2437683 w 6226010"/>
              <a:gd name="connsiteY12053" fmla="*/ 288065 h 5756219"/>
              <a:gd name="connsiteX12054" fmla="*/ 2538234 w 6226010"/>
              <a:gd name="connsiteY12054" fmla="*/ 334264 h 5756219"/>
              <a:gd name="connsiteX12055" fmla="*/ 2538234 w 6226010"/>
              <a:gd name="connsiteY12055" fmla="*/ 315241 h 5756219"/>
              <a:gd name="connsiteX12056" fmla="*/ 2437683 w 6226010"/>
              <a:gd name="connsiteY12056" fmla="*/ 269041 h 5756219"/>
              <a:gd name="connsiteX12057" fmla="*/ 2437683 w 6226010"/>
              <a:gd name="connsiteY12057" fmla="*/ 266324 h 5756219"/>
              <a:gd name="connsiteX12058" fmla="*/ 2538234 w 6226010"/>
              <a:gd name="connsiteY12058" fmla="*/ 312523 h 5756219"/>
              <a:gd name="connsiteX12059" fmla="*/ 2538234 w 6226010"/>
              <a:gd name="connsiteY12059" fmla="*/ 290782 h 5756219"/>
              <a:gd name="connsiteX12060" fmla="*/ 2437683 w 6226010"/>
              <a:gd name="connsiteY12060" fmla="*/ 244583 h 5756219"/>
              <a:gd name="connsiteX12061" fmla="*/ 2437683 w 6226010"/>
              <a:gd name="connsiteY12061" fmla="*/ 239148 h 5756219"/>
              <a:gd name="connsiteX12062" fmla="*/ 2538234 w 6226010"/>
              <a:gd name="connsiteY12062" fmla="*/ 285347 h 5756219"/>
              <a:gd name="connsiteX12063" fmla="*/ 2538234 w 6226010"/>
              <a:gd name="connsiteY12063" fmla="*/ 269041 h 5756219"/>
              <a:gd name="connsiteX12064" fmla="*/ 2437683 w 6226010"/>
              <a:gd name="connsiteY12064" fmla="*/ 222842 h 5756219"/>
              <a:gd name="connsiteX12065" fmla="*/ 2437683 w 6226010"/>
              <a:gd name="connsiteY12065" fmla="*/ 220125 h 5756219"/>
              <a:gd name="connsiteX12066" fmla="*/ 2538234 w 6226010"/>
              <a:gd name="connsiteY12066" fmla="*/ 266324 h 5756219"/>
              <a:gd name="connsiteX12067" fmla="*/ 2538234 w 6226010"/>
              <a:gd name="connsiteY12067" fmla="*/ 59787 h 5756219"/>
              <a:gd name="connsiteX12068" fmla="*/ 2571432 w 6226010"/>
              <a:gd name="connsiteY12068" fmla="*/ 53751 h 5756219"/>
              <a:gd name="connsiteX12069" fmla="*/ 2714877 w 6226010"/>
              <a:gd name="connsiteY12069" fmla="*/ 27186 h 5756219"/>
              <a:gd name="connsiteX12070" fmla="*/ 2714877 w 6226010"/>
              <a:gd name="connsiteY12070" fmla="*/ 27670 h 5756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  <a:cxn ang="0">
                <a:pos x="connsiteX4801" y="connsiteY4801"/>
              </a:cxn>
              <a:cxn ang="0">
                <a:pos x="connsiteX4802" y="connsiteY4802"/>
              </a:cxn>
              <a:cxn ang="0">
                <a:pos x="connsiteX4803" y="connsiteY4803"/>
              </a:cxn>
              <a:cxn ang="0">
                <a:pos x="connsiteX4804" y="connsiteY4804"/>
              </a:cxn>
              <a:cxn ang="0">
                <a:pos x="connsiteX4805" y="connsiteY4805"/>
              </a:cxn>
              <a:cxn ang="0">
                <a:pos x="connsiteX4806" y="connsiteY4806"/>
              </a:cxn>
              <a:cxn ang="0">
                <a:pos x="connsiteX4807" y="connsiteY4807"/>
              </a:cxn>
              <a:cxn ang="0">
                <a:pos x="connsiteX4808" y="connsiteY4808"/>
              </a:cxn>
              <a:cxn ang="0">
                <a:pos x="connsiteX4809" y="connsiteY4809"/>
              </a:cxn>
              <a:cxn ang="0">
                <a:pos x="connsiteX4810" y="connsiteY4810"/>
              </a:cxn>
              <a:cxn ang="0">
                <a:pos x="connsiteX4811" y="connsiteY4811"/>
              </a:cxn>
              <a:cxn ang="0">
                <a:pos x="connsiteX4812" y="connsiteY4812"/>
              </a:cxn>
              <a:cxn ang="0">
                <a:pos x="connsiteX4813" y="connsiteY4813"/>
              </a:cxn>
              <a:cxn ang="0">
                <a:pos x="connsiteX4814" y="connsiteY4814"/>
              </a:cxn>
              <a:cxn ang="0">
                <a:pos x="connsiteX4815" y="connsiteY4815"/>
              </a:cxn>
              <a:cxn ang="0">
                <a:pos x="connsiteX4816" y="connsiteY4816"/>
              </a:cxn>
              <a:cxn ang="0">
                <a:pos x="connsiteX4817" y="connsiteY4817"/>
              </a:cxn>
              <a:cxn ang="0">
                <a:pos x="connsiteX4818" y="connsiteY4818"/>
              </a:cxn>
              <a:cxn ang="0">
                <a:pos x="connsiteX4819" y="connsiteY4819"/>
              </a:cxn>
              <a:cxn ang="0">
                <a:pos x="connsiteX4820" y="connsiteY4820"/>
              </a:cxn>
              <a:cxn ang="0">
                <a:pos x="connsiteX4821" y="connsiteY4821"/>
              </a:cxn>
              <a:cxn ang="0">
                <a:pos x="connsiteX4822" y="connsiteY4822"/>
              </a:cxn>
              <a:cxn ang="0">
                <a:pos x="connsiteX4823" y="connsiteY4823"/>
              </a:cxn>
              <a:cxn ang="0">
                <a:pos x="connsiteX4824" y="connsiteY4824"/>
              </a:cxn>
              <a:cxn ang="0">
                <a:pos x="connsiteX4825" y="connsiteY4825"/>
              </a:cxn>
              <a:cxn ang="0">
                <a:pos x="connsiteX4826" y="connsiteY4826"/>
              </a:cxn>
              <a:cxn ang="0">
                <a:pos x="connsiteX4827" y="connsiteY4827"/>
              </a:cxn>
              <a:cxn ang="0">
                <a:pos x="connsiteX4828" y="connsiteY4828"/>
              </a:cxn>
              <a:cxn ang="0">
                <a:pos x="connsiteX4829" y="connsiteY4829"/>
              </a:cxn>
              <a:cxn ang="0">
                <a:pos x="connsiteX4830" y="connsiteY4830"/>
              </a:cxn>
              <a:cxn ang="0">
                <a:pos x="connsiteX4831" y="connsiteY4831"/>
              </a:cxn>
              <a:cxn ang="0">
                <a:pos x="connsiteX4832" y="connsiteY4832"/>
              </a:cxn>
              <a:cxn ang="0">
                <a:pos x="connsiteX4833" y="connsiteY4833"/>
              </a:cxn>
              <a:cxn ang="0">
                <a:pos x="connsiteX4834" y="connsiteY4834"/>
              </a:cxn>
              <a:cxn ang="0">
                <a:pos x="connsiteX4835" y="connsiteY4835"/>
              </a:cxn>
              <a:cxn ang="0">
                <a:pos x="connsiteX4836" y="connsiteY4836"/>
              </a:cxn>
              <a:cxn ang="0">
                <a:pos x="connsiteX4837" y="connsiteY4837"/>
              </a:cxn>
              <a:cxn ang="0">
                <a:pos x="connsiteX4838" y="connsiteY4838"/>
              </a:cxn>
              <a:cxn ang="0">
                <a:pos x="connsiteX4839" y="connsiteY4839"/>
              </a:cxn>
              <a:cxn ang="0">
                <a:pos x="connsiteX4840" y="connsiteY4840"/>
              </a:cxn>
              <a:cxn ang="0">
                <a:pos x="connsiteX4841" y="connsiteY4841"/>
              </a:cxn>
              <a:cxn ang="0">
                <a:pos x="connsiteX4842" y="connsiteY4842"/>
              </a:cxn>
              <a:cxn ang="0">
                <a:pos x="connsiteX4843" y="connsiteY4843"/>
              </a:cxn>
              <a:cxn ang="0">
                <a:pos x="connsiteX4844" y="connsiteY4844"/>
              </a:cxn>
              <a:cxn ang="0">
                <a:pos x="connsiteX4845" y="connsiteY4845"/>
              </a:cxn>
              <a:cxn ang="0">
                <a:pos x="connsiteX4846" y="connsiteY4846"/>
              </a:cxn>
              <a:cxn ang="0">
                <a:pos x="connsiteX4847" y="connsiteY4847"/>
              </a:cxn>
              <a:cxn ang="0">
                <a:pos x="connsiteX4848" y="connsiteY4848"/>
              </a:cxn>
              <a:cxn ang="0">
                <a:pos x="connsiteX4849" y="connsiteY4849"/>
              </a:cxn>
              <a:cxn ang="0">
                <a:pos x="connsiteX4850" y="connsiteY4850"/>
              </a:cxn>
              <a:cxn ang="0">
                <a:pos x="connsiteX4851" y="connsiteY4851"/>
              </a:cxn>
              <a:cxn ang="0">
                <a:pos x="connsiteX4852" y="connsiteY4852"/>
              </a:cxn>
              <a:cxn ang="0">
                <a:pos x="connsiteX4853" y="connsiteY4853"/>
              </a:cxn>
              <a:cxn ang="0">
                <a:pos x="connsiteX4854" y="connsiteY4854"/>
              </a:cxn>
              <a:cxn ang="0">
                <a:pos x="connsiteX4855" y="connsiteY4855"/>
              </a:cxn>
              <a:cxn ang="0">
                <a:pos x="connsiteX4856" y="connsiteY4856"/>
              </a:cxn>
              <a:cxn ang="0">
                <a:pos x="connsiteX4857" y="connsiteY4857"/>
              </a:cxn>
              <a:cxn ang="0">
                <a:pos x="connsiteX4858" y="connsiteY4858"/>
              </a:cxn>
              <a:cxn ang="0">
                <a:pos x="connsiteX4859" y="connsiteY4859"/>
              </a:cxn>
              <a:cxn ang="0">
                <a:pos x="connsiteX4860" y="connsiteY4860"/>
              </a:cxn>
              <a:cxn ang="0">
                <a:pos x="connsiteX4861" y="connsiteY4861"/>
              </a:cxn>
              <a:cxn ang="0">
                <a:pos x="connsiteX4862" y="connsiteY4862"/>
              </a:cxn>
              <a:cxn ang="0">
                <a:pos x="connsiteX4863" y="connsiteY4863"/>
              </a:cxn>
              <a:cxn ang="0">
                <a:pos x="connsiteX4864" y="connsiteY4864"/>
              </a:cxn>
              <a:cxn ang="0">
                <a:pos x="connsiteX4865" y="connsiteY4865"/>
              </a:cxn>
              <a:cxn ang="0">
                <a:pos x="connsiteX4866" y="connsiteY4866"/>
              </a:cxn>
              <a:cxn ang="0">
                <a:pos x="connsiteX4867" y="connsiteY4867"/>
              </a:cxn>
              <a:cxn ang="0">
                <a:pos x="connsiteX4868" y="connsiteY4868"/>
              </a:cxn>
              <a:cxn ang="0">
                <a:pos x="connsiteX4869" y="connsiteY4869"/>
              </a:cxn>
              <a:cxn ang="0">
                <a:pos x="connsiteX4870" y="connsiteY4870"/>
              </a:cxn>
              <a:cxn ang="0">
                <a:pos x="connsiteX4871" y="connsiteY4871"/>
              </a:cxn>
              <a:cxn ang="0">
                <a:pos x="connsiteX4872" y="connsiteY4872"/>
              </a:cxn>
              <a:cxn ang="0">
                <a:pos x="connsiteX4873" y="connsiteY4873"/>
              </a:cxn>
              <a:cxn ang="0">
                <a:pos x="connsiteX4874" y="connsiteY4874"/>
              </a:cxn>
              <a:cxn ang="0">
                <a:pos x="connsiteX4875" y="connsiteY4875"/>
              </a:cxn>
              <a:cxn ang="0">
                <a:pos x="connsiteX4876" y="connsiteY4876"/>
              </a:cxn>
              <a:cxn ang="0">
                <a:pos x="connsiteX4877" y="connsiteY4877"/>
              </a:cxn>
              <a:cxn ang="0">
                <a:pos x="connsiteX4878" y="connsiteY4878"/>
              </a:cxn>
              <a:cxn ang="0">
                <a:pos x="connsiteX4879" y="connsiteY4879"/>
              </a:cxn>
              <a:cxn ang="0">
                <a:pos x="connsiteX4880" y="connsiteY4880"/>
              </a:cxn>
              <a:cxn ang="0">
                <a:pos x="connsiteX4881" y="connsiteY4881"/>
              </a:cxn>
              <a:cxn ang="0">
                <a:pos x="connsiteX4882" y="connsiteY4882"/>
              </a:cxn>
              <a:cxn ang="0">
                <a:pos x="connsiteX4883" y="connsiteY4883"/>
              </a:cxn>
              <a:cxn ang="0">
                <a:pos x="connsiteX4884" y="connsiteY4884"/>
              </a:cxn>
              <a:cxn ang="0">
                <a:pos x="connsiteX4885" y="connsiteY4885"/>
              </a:cxn>
              <a:cxn ang="0">
                <a:pos x="connsiteX4886" y="connsiteY4886"/>
              </a:cxn>
              <a:cxn ang="0">
                <a:pos x="connsiteX4887" y="connsiteY4887"/>
              </a:cxn>
              <a:cxn ang="0">
                <a:pos x="connsiteX4888" y="connsiteY4888"/>
              </a:cxn>
              <a:cxn ang="0">
                <a:pos x="connsiteX4889" y="connsiteY4889"/>
              </a:cxn>
              <a:cxn ang="0">
                <a:pos x="connsiteX4890" y="connsiteY4890"/>
              </a:cxn>
              <a:cxn ang="0">
                <a:pos x="connsiteX4891" y="connsiteY4891"/>
              </a:cxn>
              <a:cxn ang="0">
                <a:pos x="connsiteX4892" y="connsiteY4892"/>
              </a:cxn>
              <a:cxn ang="0">
                <a:pos x="connsiteX4893" y="connsiteY4893"/>
              </a:cxn>
              <a:cxn ang="0">
                <a:pos x="connsiteX4894" y="connsiteY4894"/>
              </a:cxn>
              <a:cxn ang="0">
                <a:pos x="connsiteX4895" y="connsiteY4895"/>
              </a:cxn>
              <a:cxn ang="0">
                <a:pos x="connsiteX4896" y="connsiteY4896"/>
              </a:cxn>
              <a:cxn ang="0">
                <a:pos x="connsiteX4897" y="connsiteY4897"/>
              </a:cxn>
              <a:cxn ang="0">
                <a:pos x="connsiteX4898" y="connsiteY4898"/>
              </a:cxn>
              <a:cxn ang="0">
                <a:pos x="connsiteX4899" y="connsiteY4899"/>
              </a:cxn>
              <a:cxn ang="0">
                <a:pos x="connsiteX4900" y="connsiteY4900"/>
              </a:cxn>
              <a:cxn ang="0">
                <a:pos x="connsiteX4901" y="connsiteY4901"/>
              </a:cxn>
              <a:cxn ang="0">
                <a:pos x="connsiteX4902" y="connsiteY4902"/>
              </a:cxn>
              <a:cxn ang="0">
                <a:pos x="connsiteX4903" y="connsiteY4903"/>
              </a:cxn>
              <a:cxn ang="0">
                <a:pos x="connsiteX4904" y="connsiteY4904"/>
              </a:cxn>
              <a:cxn ang="0">
                <a:pos x="connsiteX4905" y="connsiteY4905"/>
              </a:cxn>
              <a:cxn ang="0">
                <a:pos x="connsiteX4906" y="connsiteY4906"/>
              </a:cxn>
              <a:cxn ang="0">
                <a:pos x="connsiteX4907" y="connsiteY4907"/>
              </a:cxn>
              <a:cxn ang="0">
                <a:pos x="connsiteX4908" y="connsiteY4908"/>
              </a:cxn>
              <a:cxn ang="0">
                <a:pos x="connsiteX4909" y="connsiteY4909"/>
              </a:cxn>
              <a:cxn ang="0">
                <a:pos x="connsiteX4910" y="connsiteY4910"/>
              </a:cxn>
              <a:cxn ang="0">
                <a:pos x="connsiteX4911" y="connsiteY4911"/>
              </a:cxn>
              <a:cxn ang="0">
                <a:pos x="connsiteX4912" y="connsiteY4912"/>
              </a:cxn>
              <a:cxn ang="0">
                <a:pos x="connsiteX4913" y="connsiteY4913"/>
              </a:cxn>
              <a:cxn ang="0">
                <a:pos x="connsiteX4914" y="connsiteY4914"/>
              </a:cxn>
              <a:cxn ang="0">
                <a:pos x="connsiteX4915" y="connsiteY4915"/>
              </a:cxn>
              <a:cxn ang="0">
                <a:pos x="connsiteX4916" y="connsiteY4916"/>
              </a:cxn>
              <a:cxn ang="0">
                <a:pos x="connsiteX4917" y="connsiteY4917"/>
              </a:cxn>
              <a:cxn ang="0">
                <a:pos x="connsiteX4918" y="connsiteY4918"/>
              </a:cxn>
              <a:cxn ang="0">
                <a:pos x="connsiteX4919" y="connsiteY4919"/>
              </a:cxn>
              <a:cxn ang="0">
                <a:pos x="connsiteX4920" y="connsiteY4920"/>
              </a:cxn>
              <a:cxn ang="0">
                <a:pos x="connsiteX4921" y="connsiteY4921"/>
              </a:cxn>
              <a:cxn ang="0">
                <a:pos x="connsiteX4922" y="connsiteY4922"/>
              </a:cxn>
              <a:cxn ang="0">
                <a:pos x="connsiteX4923" y="connsiteY4923"/>
              </a:cxn>
              <a:cxn ang="0">
                <a:pos x="connsiteX4924" y="connsiteY4924"/>
              </a:cxn>
              <a:cxn ang="0">
                <a:pos x="connsiteX4925" y="connsiteY4925"/>
              </a:cxn>
              <a:cxn ang="0">
                <a:pos x="connsiteX4926" y="connsiteY4926"/>
              </a:cxn>
              <a:cxn ang="0">
                <a:pos x="connsiteX4927" y="connsiteY4927"/>
              </a:cxn>
              <a:cxn ang="0">
                <a:pos x="connsiteX4928" y="connsiteY4928"/>
              </a:cxn>
              <a:cxn ang="0">
                <a:pos x="connsiteX4929" y="connsiteY4929"/>
              </a:cxn>
              <a:cxn ang="0">
                <a:pos x="connsiteX4930" y="connsiteY4930"/>
              </a:cxn>
              <a:cxn ang="0">
                <a:pos x="connsiteX4931" y="connsiteY4931"/>
              </a:cxn>
              <a:cxn ang="0">
                <a:pos x="connsiteX4932" y="connsiteY4932"/>
              </a:cxn>
              <a:cxn ang="0">
                <a:pos x="connsiteX4933" y="connsiteY4933"/>
              </a:cxn>
              <a:cxn ang="0">
                <a:pos x="connsiteX4934" y="connsiteY4934"/>
              </a:cxn>
              <a:cxn ang="0">
                <a:pos x="connsiteX4935" y="connsiteY4935"/>
              </a:cxn>
              <a:cxn ang="0">
                <a:pos x="connsiteX4936" y="connsiteY4936"/>
              </a:cxn>
              <a:cxn ang="0">
                <a:pos x="connsiteX4937" y="connsiteY4937"/>
              </a:cxn>
              <a:cxn ang="0">
                <a:pos x="connsiteX4938" y="connsiteY4938"/>
              </a:cxn>
              <a:cxn ang="0">
                <a:pos x="connsiteX4939" y="connsiteY4939"/>
              </a:cxn>
              <a:cxn ang="0">
                <a:pos x="connsiteX4940" y="connsiteY4940"/>
              </a:cxn>
              <a:cxn ang="0">
                <a:pos x="connsiteX4941" y="connsiteY4941"/>
              </a:cxn>
              <a:cxn ang="0">
                <a:pos x="connsiteX4942" y="connsiteY4942"/>
              </a:cxn>
              <a:cxn ang="0">
                <a:pos x="connsiteX4943" y="connsiteY4943"/>
              </a:cxn>
              <a:cxn ang="0">
                <a:pos x="connsiteX4944" y="connsiteY4944"/>
              </a:cxn>
              <a:cxn ang="0">
                <a:pos x="connsiteX4945" y="connsiteY4945"/>
              </a:cxn>
              <a:cxn ang="0">
                <a:pos x="connsiteX4946" y="connsiteY4946"/>
              </a:cxn>
              <a:cxn ang="0">
                <a:pos x="connsiteX4947" y="connsiteY4947"/>
              </a:cxn>
              <a:cxn ang="0">
                <a:pos x="connsiteX4948" y="connsiteY4948"/>
              </a:cxn>
              <a:cxn ang="0">
                <a:pos x="connsiteX4949" y="connsiteY4949"/>
              </a:cxn>
              <a:cxn ang="0">
                <a:pos x="connsiteX4950" y="connsiteY4950"/>
              </a:cxn>
              <a:cxn ang="0">
                <a:pos x="connsiteX4951" y="connsiteY4951"/>
              </a:cxn>
              <a:cxn ang="0">
                <a:pos x="connsiteX4952" y="connsiteY4952"/>
              </a:cxn>
              <a:cxn ang="0">
                <a:pos x="connsiteX4953" y="connsiteY4953"/>
              </a:cxn>
              <a:cxn ang="0">
                <a:pos x="connsiteX4954" y="connsiteY4954"/>
              </a:cxn>
              <a:cxn ang="0">
                <a:pos x="connsiteX4955" y="connsiteY4955"/>
              </a:cxn>
              <a:cxn ang="0">
                <a:pos x="connsiteX4956" y="connsiteY4956"/>
              </a:cxn>
              <a:cxn ang="0">
                <a:pos x="connsiteX4957" y="connsiteY4957"/>
              </a:cxn>
              <a:cxn ang="0">
                <a:pos x="connsiteX4958" y="connsiteY4958"/>
              </a:cxn>
              <a:cxn ang="0">
                <a:pos x="connsiteX4959" y="connsiteY4959"/>
              </a:cxn>
              <a:cxn ang="0">
                <a:pos x="connsiteX4960" y="connsiteY4960"/>
              </a:cxn>
              <a:cxn ang="0">
                <a:pos x="connsiteX4961" y="connsiteY4961"/>
              </a:cxn>
              <a:cxn ang="0">
                <a:pos x="connsiteX4962" y="connsiteY4962"/>
              </a:cxn>
              <a:cxn ang="0">
                <a:pos x="connsiteX4963" y="connsiteY4963"/>
              </a:cxn>
              <a:cxn ang="0">
                <a:pos x="connsiteX4964" y="connsiteY4964"/>
              </a:cxn>
              <a:cxn ang="0">
                <a:pos x="connsiteX4965" y="connsiteY4965"/>
              </a:cxn>
              <a:cxn ang="0">
                <a:pos x="connsiteX4966" y="connsiteY4966"/>
              </a:cxn>
              <a:cxn ang="0">
                <a:pos x="connsiteX4967" y="connsiteY4967"/>
              </a:cxn>
              <a:cxn ang="0">
                <a:pos x="connsiteX4968" y="connsiteY4968"/>
              </a:cxn>
              <a:cxn ang="0">
                <a:pos x="connsiteX4969" y="connsiteY4969"/>
              </a:cxn>
              <a:cxn ang="0">
                <a:pos x="connsiteX4970" y="connsiteY4970"/>
              </a:cxn>
              <a:cxn ang="0">
                <a:pos x="connsiteX4971" y="connsiteY4971"/>
              </a:cxn>
              <a:cxn ang="0">
                <a:pos x="connsiteX4972" y="connsiteY4972"/>
              </a:cxn>
              <a:cxn ang="0">
                <a:pos x="connsiteX4973" y="connsiteY4973"/>
              </a:cxn>
              <a:cxn ang="0">
                <a:pos x="connsiteX4974" y="connsiteY4974"/>
              </a:cxn>
              <a:cxn ang="0">
                <a:pos x="connsiteX4975" y="connsiteY4975"/>
              </a:cxn>
              <a:cxn ang="0">
                <a:pos x="connsiteX4976" y="connsiteY4976"/>
              </a:cxn>
              <a:cxn ang="0">
                <a:pos x="connsiteX4977" y="connsiteY4977"/>
              </a:cxn>
              <a:cxn ang="0">
                <a:pos x="connsiteX4978" y="connsiteY4978"/>
              </a:cxn>
              <a:cxn ang="0">
                <a:pos x="connsiteX4979" y="connsiteY4979"/>
              </a:cxn>
              <a:cxn ang="0">
                <a:pos x="connsiteX4980" y="connsiteY4980"/>
              </a:cxn>
              <a:cxn ang="0">
                <a:pos x="connsiteX4981" y="connsiteY4981"/>
              </a:cxn>
              <a:cxn ang="0">
                <a:pos x="connsiteX4982" y="connsiteY4982"/>
              </a:cxn>
              <a:cxn ang="0">
                <a:pos x="connsiteX4983" y="connsiteY4983"/>
              </a:cxn>
              <a:cxn ang="0">
                <a:pos x="connsiteX4984" y="connsiteY4984"/>
              </a:cxn>
              <a:cxn ang="0">
                <a:pos x="connsiteX4985" y="connsiteY4985"/>
              </a:cxn>
              <a:cxn ang="0">
                <a:pos x="connsiteX4986" y="connsiteY4986"/>
              </a:cxn>
              <a:cxn ang="0">
                <a:pos x="connsiteX4987" y="connsiteY4987"/>
              </a:cxn>
              <a:cxn ang="0">
                <a:pos x="connsiteX4988" y="connsiteY4988"/>
              </a:cxn>
              <a:cxn ang="0">
                <a:pos x="connsiteX4989" y="connsiteY4989"/>
              </a:cxn>
              <a:cxn ang="0">
                <a:pos x="connsiteX4990" y="connsiteY4990"/>
              </a:cxn>
              <a:cxn ang="0">
                <a:pos x="connsiteX4991" y="connsiteY4991"/>
              </a:cxn>
              <a:cxn ang="0">
                <a:pos x="connsiteX4992" y="connsiteY4992"/>
              </a:cxn>
              <a:cxn ang="0">
                <a:pos x="connsiteX4993" y="connsiteY4993"/>
              </a:cxn>
              <a:cxn ang="0">
                <a:pos x="connsiteX4994" y="connsiteY4994"/>
              </a:cxn>
              <a:cxn ang="0">
                <a:pos x="connsiteX4995" y="connsiteY4995"/>
              </a:cxn>
              <a:cxn ang="0">
                <a:pos x="connsiteX4996" y="connsiteY4996"/>
              </a:cxn>
              <a:cxn ang="0">
                <a:pos x="connsiteX4997" y="connsiteY4997"/>
              </a:cxn>
              <a:cxn ang="0">
                <a:pos x="connsiteX4998" y="connsiteY4998"/>
              </a:cxn>
              <a:cxn ang="0">
                <a:pos x="connsiteX4999" y="connsiteY4999"/>
              </a:cxn>
              <a:cxn ang="0">
                <a:pos x="connsiteX5000" y="connsiteY5000"/>
              </a:cxn>
              <a:cxn ang="0">
                <a:pos x="connsiteX5001" y="connsiteY5001"/>
              </a:cxn>
              <a:cxn ang="0">
                <a:pos x="connsiteX5002" y="connsiteY5002"/>
              </a:cxn>
              <a:cxn ang="0">
                <a:pos x="connsiteX5003" y="connsiteY5003"/>
              </a:cxn>
              <a:cxn ang="0">
                <a:pos x="connsiteX5004" y="connsiteY5004"/>
              </a:cxn>
              <a:cxn ang="0">
                <a:pos x="connsiteX5005" y="connsiteY5005"/>
              </a:cxn>
              <a:cxn ang="0">
                <a:pos x="connsiteX5006" y="connsiteY5006"/>
              </a:cxn>
              <a:cxn ang="0">
                <a:pos x="connsiteX5007" y="connsiteY5007"/>
              </a:cxn>
              <a:cxn ang="0">
                <a:pos x="connsiteX5008" y="connsiteY5008"/>
              </a:cxn>
              <a:cxn ang="0">
                <a:pos x="connsiteX5009" y="connsiteY5009"/>
              </a:cxn>
              <a:cxn ang="0">
                <a:pos x="connsiteX5010" y="connsiteY5010"/>
              </a:cxn>
              <a:cxn ang="0">
                <a:pos x="connsiteX5011" y="connsiteY5011"/>
              </a:cxn>
              <a:cxn ang="0">
                <a:pos x="connsiteX5012" y="connsiteY5012"/>
              </a:cxn>
              <a:cxn ang="0">
                <a:pos x="connsiteX5013" y="connsiteY5013"/>
              </a:cxn>
              <a:cxn ang="0">
                <a:pos x="connsiteX5014" y="connsiteY5014"/>
              </a:cxn>
              <a:cxn ang="0">
                <a:pos x="connsiteX5015" y="connsiteY5015"/>
              </a:cxn>
              <a:cxn ang="0">
                <a:pos x="connsiteX5016" y="connsiteY5016"/>
              </a:cxn>
              <a:cxn ang="0">
                <a:pos x="connsiteX5017" y="connsiteY5017"/>
              </a:cxn>
              <a:cxn ang="0">
                <a:pos x="connsiteX5018" y="connsiteY5018"/>
              </a:cxn>
              <a:cxn ang="0">
                <a:pos x="connsiteX5019" y="connsiteY5019"/>
              </a:cxn>
              <a:cxn ang="0">
                <a:pos x="connsiteX5020" y="connsiteY5020"/>
              </a:cxn>
              <a:cxn ang="0">
                <a:pos x="connsiteX5021" y="connsiteY5021"/>
              </a:cxn>
              <a:cxn ang="0">
                <a:pos x="connsiteX5022" y="connsiteY5022"/>
              </a:cxn>
              <a:cxn ang="0">
                <a:pos x="connsiteX5023" y="connsiteY5023"/>
              </a:cxn>
              <a:cxn ang="0">
                <a:pos x="connsiteX5024" y="connsiteY5024"/>
              </a:cxn>
              <a:cxn ang="0">
                <a:pos x="connsiteX5025" y="connsiteY5025"/>
              </a:cxn>
              <a:cxn ang="0">
                <a:pos x="connsiteX5026" y="connsiteY5026"/>
              </a:cxn>
              <a:cxn ang="0">
                <a:pos x="connsiteX5027" y="connsiteY5027"/>
              </a:cxn>
              <a:cxn ang="0">
                <a:pos x="connsiteX5028" y="connsiteY5028"/>
              </a:cxn>
              <a:cxn ang="0">
                <a:pos x="connsiteX5029" y="connsiteY5029"/>
              </a:cxn>
              <a:cxn ang="0">
                <a:pos x="connsiteX5030" y="connsiteY5030"/>
              </a:cxn>
              <a:cxn ang="0">
                <a:pos x="connsiteX5031" y="connsiteY5031"/>
              </a:cxn>
              <a:cxn ang="0">
                <a:pos x="connsiteX5032" y="connsiteY5032"/>
              </a:cxn>
              <a:cxn ang="0">
                <a:pos x="connsiteX5033" y="connsiteY5033"/>
              </a:cxn>
              <a:cxn ang="0">
                <a:pos x="connsiteX5034" y="connsiteY5034"/>
              </a:cxn>
              <a:cxn ang="0">
                <a:pos x="connsiteX5035" y="connsiteY5035"/>
              </a:cxn>
              <a:cxn ang="0">
                <a:pos x="connsiteX5036" y="connsiteY5036"/>
              </a:cxn>
              <a:cxn ang="0">
                <a:pos x="connsiteX5037" y="connsiteY5037"/>
              </a:cxn>
              <a:cxn ang="0">
                <a:pos x="connsiteX5038" y="connsiteY5038"/>
              </a:cxn>
              <a:cxn ang="0">
                <a:pos x="connsiteX5039" y="connsiteY5039"/>
              </a:cxn>
              <a:cxn ang="0">
                <a:pos x="connsiteX5040" y="connsiteY5040"/>
              </a:cxn>
              <a:cxn ang="0">
                <a:pos x="connsiteX5041" y="connsiteY5041"/>
              </a:cxn>
              <a:cxn ang="0">
                <a:pos x="connsiteX5042" y="connsiteY5042"/>
              </a:cxn>
              <a:cxn ang="0">
                <a:pos x="connsiteX5043" y="connsiteY5043"/>
              </a:cxn>
              <a:cxn ang="0">
                <a:pos x="connsiteX5044" y="connsiteY5044"/>
              </a:cxn>
              <a:cxn ang="0">
                <a:pos x="connsiteX5045" y="connsiteY5045"/>
              </a:cxn>
              <a:cxn ang="0">
                <a:pos x="connsiteX5046" y="connsiteY5046"/>
              </a:cxn>
              <a:cxn ang="0">
                <a:pos x="connsiteX5047" y="connsiteY5047"/>
              </a:cxn>
              <a:cxn ang="0">
                <a:pos x="connsiteX5048" y="connsiteY5048"/>
              </a:cxn>
              <a:cxn ang="0">
                <a:pos x="connsiteX5049" y="connsiteY5049"/>
              </a:cxn>
              <a:cxn ang="0">
                <a:pos x="connsiteX5050" y="connsiteY5050"/>
              </a:cxn>
              <a:cxn ang="0">
                <a:pos x="connsiteX5051" y="connsiteY5051"/>
              </a:cxn>
              <a:cxn ang="0">
                <a:pos x="connsiteX5052" y="connsiteY5052"/>
              </a:cxn>
              <a:cxn ang="0">
                <a:pos x="connsiteX5053" y="connsiteY5053"/>
              </a:cxn>
              <a:cxn ang="0">
                <a:pos x="connsiteX5054" y="connsiteY5054"/>
              </a:cxn>
              <a:cxn ang="0">
                <a:pos x="connsiteX5055" y="connsiteY5055"/>
              </a:cxn>
              <a:cxn ang="0">
                <a:pos x="connsiteX5056" y="connsiteY5056"/>
              </a:cxn>
              <a:cxn ang="0">
                <a:pos x="connsiteX5057" y="connsiteY5057"/>
              </a:cxn>
              <a:cxn ang="0">
                <a:pos x="connsiteX5058" y="connsiteY5058"/>
              </a:cxn>
              <a:cxn ang="0">
                <a:pos x="connsiteX5059" y="connsiteY5059"/>
              </a:cxn>
              <a:cxn ang="0">
                <a:pos x="connsiteX5060" y="connsiteY5060"/>
              </a:cxn>
              <a:cxn ang="0">
                <a:pos x="connsiteX5061" y="connsiteY5061"/>
              </a:cxn>
              <a:cxn ang="0">
                <a:pos x="connsiteX5062" y="connsiteY5062"/>
              </a:cxn>
              <a:cxn ang="0">
                <a:pos x="connsiteX5063" y="connsiteY5063"/>
              </a:cxn>
              <a:cxn ang="0">
                <a:pos x="connsiteX5064" y="connsiteY5064"/>
              </a:cxn>
              <a:cxn ang="0">
                <a:pos x="connsiteX5065" y="connsiteY5065"/>
              </a:cxn>
              <a:cxn ang="0">
                <a:pos x="connsiteX5066" y="connsiteY5066"/>
              </a:cxn>
              <a:cxn ang="0">
                <a:pos x="connsiteX5067" y="connsiteY5067"/>
              </a:cxn>
              <a:cxn ang="0">
                <a:pos x="connsiteX5068" y="connsiteY5068"/>
              </a:cxn>
              <a:cxn ang="0">
                <a:pos x="connsiteX5069" y="connsiteY5069"/>
              </a:cxn>
              <a:cxn ang="0">
                <a:pos x="connsiteX5070" y="connsiteY5070"/>
              </a:cxn>
              <a:cxn ang="0">
                <a:pos x="connsiteX5071" y="connsiteY5071"/>
              </a:cxn>
              <a:cxn ang="0">
                <a:pos x="connsiteX5072" y="connsiteY5072"/>
              </a:cxn>
              <a:cxn ang="0">
                <a:pos x="connsiteX5073" y="connsiteY5073"/>
              </a:cxn>
              <a:cxn ang="0">
                <a:pos x="connsiteX5074" y="connsiteY5074"/>
              </a:cxn>
              <a:cxn ang="0">
                <a:pos x="connsiteX5075" y="connsiteY5075"/>
              </a:cxn>
              <a:cxn ang="0">
                <a:pos x="connsiteX5076" y="connsiteY5076"/>
              </a:cxn>
              <a:cxn ang="0">
                <a:pos x="connsiteX5077" y="connsiteY5077"/>
              </a:cxn>
              <a:cxn ang="0">
                <a:pos x="connsiteX5078" y="connsiteY5078"/>
              </a:cxn>
              <a:cxn ang="0">
                <a:pos x="connsiteX5079" y="connsiteY5079"/>
              </a:cxn>
              <a:cxn ang="0">
                <a:pos x="connsiteX5080" y="connsiteY5080"/>
              </a:cxn>
              <a:cxn ang="0">
                <a:pos x="connsiteX5081" y="connsiteY5081"/>
              </a:cxn>
              <a:cxn ang="0">
                <a:pos x="connsiteX5082" y="connsiteY5082"/>
              </a:cxn>
              <a:cxn ang="0">
                <a:pos x="connsiteX5083" y="connsiteY5083"/>
              </a:cxn>
              <a:cxn ang="0">
                <a:pos x="connsiteX5084" y="connsiteY5084"/>
              </a:cxn>
              <a:cxn ang="0">
                <a:pos x="connsiteX5085" y="connsiteY5085"/>
              </a:cxn>
              <a:cxn ang="0">
                <a:pos x="connsiteX5086" y="connsiteY5086"/>
              </a:cxn>
              <a:cxn ang="0">
                <a:pos x="connsiteX5087" y="connsiteY5087"/>
              </a:cxn>
              <a:cxn ang="0">
                <a:pos x="connsiteX5088" y="connsiteY5088"/>
              </a:cxn>
              <a:cxn ang="0">
                <a:pos x="connsiteX5089" y="connsiteY5089"/>
              </a:cxn>
              <a:cxn ang="0">
                <a:pos x="connsiteX5090" y="connsiteY5090"/>
              </a:cxn>
              <a:cxn ang="0">
                <a:pos x="connsiteX5091" y="connsiteY5091"/>
              </a:cxn>
              <a:cxn ang="0">
                <a:pos x="connsiteX5092" y="connsiteY5092"/>
              </a:cxn>
              <a:cxn ang="0">
                <a:pos x="connsiteX5093" y="connsiteY5093"/>
              </a:cxn>
              <a:cxn ang="0">
                <a:pos x="connsiteX5094" y="connsiteY5094"/>
              </a:cxn>
              <a:cxn ang="0">
                <a:pos x="connsiteX5095" y="connsiteY5095"/>
              </a:cxn>
              <a:cxn ang="0">
                <a:pos x="connsiteX5096" y="connsiteY5096"/>
              </a:cxn>
              <a:cxn ang="0">
                <a:pos x="connsiteX5097" y="connsiteY5097"/>
              </a:cxn>
              <a:cxn ang="0">
                <a:pos x="connsiteX5098" y="connsiteY5098"/>
              </a:cxn>
              <a:cxn ang="0">
                <a:pos x="connsiteX5099" y="connsiteY5099"/>
              </a:cxn>
              <a:cxn ang="0">
                <a:pos x="connsiteX5100" y="connsiteY5100"/>
              </a:cxn>
              <a:cxn ang="0">
                <a:pos x="connsiteX5101" y="connsiteY5101"/>
              </a:cxn>
              <a:cxn ang="0">
                <a:pos x="connsiteX5102" y="connsiteY5102"/>
              </a:cxn>
              <a:cxn ang="0">
                <a:pos x="connsiteX5103" y="connsiteY5103"/>
              </a:cxn>
              <a:cxn ang="0">
                <a:pos x="connsiteX5104" y="connsiteY5104"/>
              </a:cxn>
              <a:cxn ang="0">
                <a:pos x="connsiteX5105" y="connsiteY5105"/>
              </a:cxn>
              <a:cxn ang="0">
                <a:pos x="connsiteX5106" y="connsiteY5106"/>
              </a:cxn>
              <a:cxn ang="0">
                <a:pos x="connsiteX5107" y="connsiteY5107"/>
              </a:cxn>
              <a:cxn ang="0">
                <a:pos x="connsiteX5108" y="connsiteY5108"/>
              </a:cxn>
              <a:cxn ang="0">
                <a:pos x="connsiteX5109" y="connsiteY5109"/>
              </a:cxn>
              <a:cxn ang="0">
                <a:pos x="connsiteX5110" y="connsiteY5110"/>
              </a:cxn>
              <a:cxn ang="0">
                <a:pos x="connsiteX5111" y="connsiteY5111"/>
              </a:cxn>
              <a:cxn ang="0">
                <a:pos x="connsiteX5112" y="connsiteY5112"/>
              </a:cxn>
              <a:cxn ang="0">
                <a:pos x="connsiteX5113" y="connsiteY5113"/>
              </a:cxn>
              <a:cxn ang="0">
                <a:pos x="connsiteX5114" y="connsiteY5114"/>
              </a:cxn>
              <a:cxn ang="0">
                <a:pos x="connsiteX5115" y="connsiteY5115"/>
              </a:cxn>
              <a:cxn ang="0">
                <a:pos x="connsiteX5116" y="connsiteY5116"/>
              </a:cxn>
              <a:cxn ang="0">
                <a:pos x="connsiteX5117" y="connsiteY5117"/>
              </a:cxn>
              <a:cxn ang="0">
                <a:pos x="connsiteX5118" y="connsiteY5118"/>
              </a:cxn>
              <a:cxn ang="0">
                <a:pos x="connsiteX5119" y="connsiteY5119"/>
              </a:cxn>
              <a:cxn ang="0">
                <a:pos x="connsiteX5120" y="connsiteY5120"/>
              </a:cxn>
              <a:cxn ang="0">
                <a:pos x="connsiteX5121" y="connsiteY5121"/>
              </a:cxn>
              <a:cxn ang="0">
                <a:pos x="connsiteX5122" y="connsiteY5122"/>
              </a:cxn>
              <a:cxn ang="0">
                <a:pos x="connsiteX5123" y="connsiteY5123"/>
              </a:cxn>
              <a:cxn ang="0">
                <a:pos x="connsiteX5124" y="connsiteY5124"/>
              </a:cxn>
              <a:cxn ang="0">
                <a:pos x="connsiteX5125" y="connsiteY5125"/>
              </a:cxn>
              <a:cxn ang="0">
                <a:pos x="connsiteX5126" y="connsiteY5126"/>
              </a:cxn>
              <a:cxn ang="0">
                <a:pos x="connsiteX5127" y="connsiteY5127"/>
              </a:cxn>
              <a:cxn ang="0">
                <a:pos x="connsiteX5128" y="connsiteY5128"/>
              </a:cxn>
              <a:cxn ang="0">
                <a:pos x="connsiteX5129" y="connsiteY5129"/>
              </a:cxn>
              <a:cxn ang="0">
                <a:pos x="connsiteX5130" y="connsiteY5130"/>
              </a:cxn>
              <a:cxn ang="0">
                <a:pos x="connsiteX5131" y="connsiteY5131"/>
              </a:cxn>
              <a:cxn ang="0">
                <a:pos x="connsiteX5132" y="connsiteY5132"/>
              </a:cxn>
              <a:cxn ang="0">
                <a:pos x="connsiteX5133" y="connsiteY5133"/>
              </a:cxn>
              <a:cxn ang="0">
                <a:pos x="connsiteX5134" y="connsiteY5134"/>
              </a:cxn>
              <a:cxn ang="0">
                <a:pos x="connsiteX5135" y="connsiteY5135"/>
              </a:cxn>
              <a:cxn ang="0">
                <a:pos x="connsiteX5136" y="connsiteY5136"/>
              </a:cxn>
              <a:cxn ang="0">
                <a:pos x="connsiteX5137" y="connsiteY5137"/>
              </a:cxn>
              <a:cxn ang="0">
                <a:pos x="connsiteX5138" y="connsiteY5138"/>
              </a:cxn>
              <a:cxn ang="0">
                <a:pos x="connsiteX5139" y="connsiteY5139"/>
              </a:cxn>
              <a:cxn ang="0">
                <a:pos x="connsiteX5140" y="connsiteY5140"/>
              </a:cxn>
              <a:cxn ang="0">
                <a:pos x="connsiteX5141" y="connsiteY5141"/>
              </a:cxn>
              <a:cxn ang="0">
                <a:pos x="connsiteX5142" y="connsiteY5142"/>
              </a:cxn>
              <a:cxn ang="0">
                <a:pos x="connsiteX5143" y="connsiteY5143"/>
              </a:cxn>
              <a:cxn ang="0">
                <a:pos x="connsiteX5144" y="connsiteY5144"/>
              </a:cxn>
              <a:cxn ang="0">
                <a:pos x="connsiteX5145" y="connsiteY5145"/>
              </a:cxn>
              <a:cxn ang="0">
                <a:pos x="connsiteX5146" y="connsiteY5146"/>
              </a:cxn>
              <a:cxn ang="0">
                <a:pos x="connsiteX5147" y="connsiteY5147"/>
              </a:cxn>
              <a:cxn ang="0">
                <a:pos x="connsiteX5148" y="connsiteY5148"/>
              </a:cxn>
              <a:cxn ang="0">
                <a:pos x="connsiteX5149" y="connsiteY5149"/>
              </a:cxn>
              <a:cxn ang="0">
                <a:pos x="connsiteX5150" y="connsiteY5150"/>
              </a:cxn>
              <a:cxn ang="0">
                <a:pos x="connsiteX5151" y="connsiteY5151"/>
              </a:cxn>
              <a:cxn ang="0">
                <a:pos x="connsiteX5152" y="connsiteY5152"/>
              </a:cxn>
              <a:cxn ang="0">
                <a:pos x="connsiteX5153" y="connsiteY5153"/>
              </a:cxn>
              <a:cxn ang="0">
                <a:pos x="connsiteX5154" y="connsiteY5154"/>
              </a:cxn>
              <a:cxn ang="0">
                <a:pos x="connsiteX5155" y="connsiteY5155"/>
              </a:cxn>
              <a:cxn ang="0">
                <a:pos x="connsiteX5156" y="connsiteY5156"/>
              </a:cxn>
              <a:cxn ang="0">
                <a:pos x="connsiteX5157" y="connsiteY5157"/>
              </a:cxn>
              <a:cxn ang="0">
                <a:pos x="connsiteX5158" y="connsiteY5158"/>
              </a:cxn>
              <a:cxn ang="0">
                <a:pos x="connsiteX5159" y="connsiteY5159"/>
              </a:cxn>
              <a:cxn ang="0">
                <a:pos x="connsiteX5160" y="connsiteY5160"/>
              </a:cxn>
              <a:cxn ang="0">
                <a:pos x="connsiteX5161" y="connsiteY5161"/>
              </a:cxn>
              <a:cxn ang="0">
                <a:pos x="connsiteX5162" y="connsiteY5162"/>
              </a:cxn>
              <a:cxn ang="0">
                <a:pos x="connsiteX5163" y="connsiteY5163"/>
              </a:cxn>
              <a:cxn ang="0">
                <a:pos x="connsiteX5164" y="connsiteY5164"/>
              </a:cxn>
              <a:cxn ang="0">
                <a:pos x="connsiteX5165" y="connsiteY5165"/>
              </a:cxn>
              <a:cxn ang="0">
                <a:pos x="connsiteX5166" y="connsiteY5166"/>
              </a:cxn>
              <a:cxn ang="0">
                <a:pos x="connsiteX5167" y="connsiteY5167"/>
              </a:cxn>
              <a:cxn ang="0">
                <a:pos x="connsiteX5168" y="connsiteY5168"/>
              </a:cxn>
              <a:cxn ang="0">
                <a:pos x="connsiteX5169" y="connsiteY5169"/>
              </a:cxn>
              <a:cxn ang="0">
                <a:pos x="connsiteX5170" y="connsiteY5170"/>
              </a:cxn>
              <a:cxn ang="0">
                <a:pos x="connsiteX5171" y="connsiteY5171"/>
              </a:cxn>
              <a:cxn ang="0">
                <a:pos x="connsiteX5172" y="connsiteY5172"/>
              </a:cxn>
              <a:cxn ang="0">
                <a:pos x="connsiteX5173" y="connsiteY5173"/>
              </a:cxn>
              <a:cxn ang="0">
                <a:pos x="connsiteX5174" y="connsiteY5174"/>
              </a:cxn>
              <a:cxn ang="0">
                <a:pos x="connsiteX5175" y="connsiteY5175"/>
              </a:cxn>
              <a:cxn ang="0">
                <a:pos x="connsiteX5176" y="connsiteY5176"/>
              </a:cxn>
              <a:cxn ang="0">
                <a:pos x="connsiteX5177" y="connsiteY5177"/>
              </a:cxn>
              <a:cxn ang="0">
                <a:pos x="connsiteX5178" y="connsiteY5178"/>
              </a:cxn>
              <a:cxn ang="0">
                <a:pos x="connsiteX5179" y="connsiteY5179"/>
              </a:cxn>
              <a:cxn ang="0">
                <a:pos x="connsiteX5180" y="connsiteY5180"/>
              </a:cxn>
              <a:cxn ang="0">
                <a:pos x="connsiteX5181" y="connsiteY5181"/>
              </a:cxn>
              <a:cxn ang="0">
                <a:pos x="connsiteX5182" y="connsiteY5182"/>
              </a:cxn>
              <a:cxn ang="0">
                <a:pos x="connsiteX5183" y="connsiteY5183"/>
              </a:cxn>
              <a:cxn ang="0">
                <a:pos x="connsiteX5184" y="connsiteY5184"/>
              </a:cxn>
              <a:cxn ang="0">
                <a:pos x="connsiteX5185" y="connsiteY5185"/>
              </a:cxn>
              <a:cxn ang="0">
                <a:pos x="connsiteX5186" y="connsiteY5186"/>
              </a:cxn>
              <a:cxn ang="0">
                <a:pos x="connsiteX5187" y="connsiteY5187"/>
              </a:cxn>
              <a:cxn ang="0">
                <a:pos x="connsiteX5188" y="connsiteY5188"/>
              </a:cxn>
              <a:cxn ang="0">
                <a:pos x="connsiteX5189" y="connsiteY5189"/>
              </a:cxn>
              <a:cxn ang="0">
                <a:pos x="connsiteX5190" y="connsiteY5190"/>
              </a:cxn>
              <a:cxn ang="0">
                <a:pos x="connsiteX5191" y="connsiteY5191"/>
              </a:cxn>
              <a:cxn ang="0">
                <a:pos x="connsiteX5192" y="connsiteY5192"/>
              </a:cxn>
              <a:cxn ang="0">
                <a:pos x="connsiteX5193" y="connsiteY5193"/>
              </a:cxn>
              <a:cxn ang="0">
                <a:pos x="connsiteX5194" y="connsiteY5194"/>
              </a:cxn>
              <a:cxn ang="0">
                <a:pos x="connsiteX5195" y="connsiteY5195"/>
              </a:cxn>
              <a:cxn ang="0">
                <a:pos x="connsiteX5196" y="connsiteY5196"/>
              </a:cxn>
              <a:cxn ang="0">
                <a:pos x="connsiteX5197" y="connsiteY5197"/>
              </a:cxn>
              <a:cxn ang="0">
                <a:pos x="connsiteX5198" y="connsiteY5198"/>
              </a:cxn>
              <a:cxn ang="0">
                <a:pos x="connsiteX5199" y="connsiteY5199"/>
              </a:cxn>
              <a:cxn ang="0">
                <a:pos x="connsiteX5200" y="connsiteY5200"/>
              </a:cxn>
              <a:cxn ang="0">
                <a:pos x="connsiteX5201" y="connsiteY5201"/>
              </a:cxn>
              <a:cxn ang="0">
                <a:pos x="connsiteX5202" y="connsiteY5202"/>
              </a:cxn>
              <a:cxn ang="0">
                <a:pos x="connsiteX5203" y="connsiteY5203"/>
              </a:cxn>
              <a:cxn ang="0">
                <a:pos x="connsiteX5204" y="connsiteY5204"/>
              </a:cxn>
              <a:cxn ang="0">
                <a:pos x="connsiteX5205" y="connsiteY5205"/>
              </a:cxn>
              <a:cxn ang="0">
                <a:pos x="connsiteX5206" y="connsiteY5206"/>
              </a:cxn>
              <a:cxn ang="0">
                <a:pos x="connsiteX5207" y="connsiteY5207"/>
              </a:cxn>
              <a:cxn ang="0">
                <a:pos x="connsiteX5208" y="connsiteY5208"/>
              </a:cxn>
              <a:cxn ang="0">
                <a:pos x="connsiteX5209" y="connsiteY5209"/>
              </a:cxn>
              <a:cxn ang="0">
                <a:pos x="connsiteX5210" y="connsiteY5210"/>
              </a:cxn>
              <a:cxn ang="0">
                <a:pos x="connsiteX5211" y="connsiteY5211"/>
              </a:cxn>
              <a:cxn ang="0">
                <a:pos x="connsiteX5212" y="connsiteY5212"/>
              </a:cxn>
              <a:cxn ang="0">
                <a:pos x="connsiteX5213" y="connsiteY5213"/>
              </a:cxn>
              <a:cxn ang="0">
                <a:pos x="connsiteX5214" y="connsiteY5214"/>
              </a:cxn>
              <a:cxn ang="0">
                <a:pos x="connsiteX5215" y="connsiteY5215"/>
              </a:cxn>
              <a:cxn ang="0">
                <a:pos x="connsiteX5216" y="connsiteY5216"/>
              </a:cxn>
              <a:cxn ang="0">
                <a:pos x="connsiteX5217" y="connsiteY5217"/>
              </a:cxn>
              <a:cxn ang="0">
                <a:pos x="connsiteX5218" y="connsiteY5218"/>
              </a:cxn>
              <a:cxn ang="0">
                <a:pos x="connsiteX5219" y="connsiteY5219"/>
              </a:cxn>
              <a:cxn ang="0">
                <a:pos x="connsiteX5220" y="connsiteY5220"/>
              </a:cxn>
              <a:cxn ang="0">
                <a:pos x="connsiteX5221" y="connsiteY5221"/>
              </a:cxn>
              <a:cxn ang="0">
                <a:pos x="connsiteX5222" y="connsiteY5222"/>
              </a:cxn>
              <a:cxn ang="0">
                <a:pos x="connsiteX5223" y="connsiteY5223"/>
              </a:cxn>
              <a:cxn ang="0">
                <a:pos x="connsiteX5224" y="connsiteY5224"/>
              </a:cxn>
              <a:cxn ang="0">
                <a:pos x="connsiteX5225" y="connsiteY5225"/>
              </a:cxn>
              <a:cxn ang="0">
                <a:pos x="connsiteX5226" y="connsiteY5226"/>
              </a:cxn>
              <a:cxn ang="0">
                <a:pos x="connsiteX5227" y="connsiteY5227"/>
              </a:cxn>
              <a:cxn ang="0">
                <a:pos x="connsiteX5228" y="connsiteY5228"/>
              </a:cxn>
              <a:cxn ang="0">
                <a:pos x="connsiteX5229" y="connsiteY5229"/>
              </a:cxn>
              <a:cxn ang="0">
                <a:pos x="connsiteX5230" y="connsiteY5230"/>
              </a:cxn>
              <a:cxn ang="0">
                <a:pos x="connsiteX5231" y="connsiteY5231"/>
              </a:cxn>
              <a:cxn ang="0">
                <a:pos x="connsiteX5232" y="connsiteY5232"/>
              </a:cxn>
              <a:cxn ang="0">
                <a:pos x="connsiteX5233" y="connsiteY5233"/>
              </a:cxn>
              <a:cxn ang="0">
                <a:pos x="connsiteX5234" y="connsiteY5234"/>
              </a:cxn>
              <a:cxn ang="0">
                <a:pos x="connsiteX5235" y="connsiteY5235"/>
              </a:cxn>
              <a:cxn ang="0">
                <a:pos x="connsiteX5236" y="connsiteY5236"/>
              </a:cxn>
              <a:cxn ang="0">
                <a:pos x="connsiteX5237" y="connsiteY5237"/>
              </a:cxn>
              <a:cxn ang="0">
                <a:pos x="connsiteX5238" y="connsiteY5238"/>
              </a:cxn>
              <a:cxn ang="0">
                <a:pos x="connsiteX5239" y="connsiteY5239"/>
              </a:cxn>
              <a:cxn ang="0">
                <a:pos x="connsiteX5240" y="connsiteY5240"/>
              </a:cxn>
              <a:cxn ang="0">
                <a:pos x="connsiteX5241" y="connsiteY5241"/>
              </a:cxn>
              <a:cxn ang="0">
                <a:pos x="connsiteX5242" y="connsiteY5242"/>
              </a:cxn>
              <a:cxn ang="0">
                <a:pos x="connsiteX5243" y="connsiteY5243"/>
              </a:cxn>
              <a:cxn ang="0">
                <a:pos x="connsiteX5244" y="connsiteY5244"/>
              </a:cxn>
              <a:cxn ang="0">
                <a:pos x="connsiteX5245" y="connsiteY5245"/>
              </a:cxn>
              <a:cxn ang="0">
                <a:pos x="connsiteX5246" y="connsiteY5246"/>
              </a:cxn>
              <a:cxn ang="0">
                <a:pos x="connsiteX5247" y="connsiteY5247"/>
              </a:cxn>
              <a:cxn ang="0">
                <a:pos x="connsiteX5248" y="connsiteY5248"/>
              </a:cxn>
              <a:cxn ang="0">
                <a:pos x="connsiteX5249" y="connsiteY5249"/>
              </a:cxn>
              <a:cxn ang="0">
                <a:pos x="connsiteX5250" y="connsiteY5250"/>
              </a:cxn>
              <a:cxn ang="0">
                <a:pos x="connsiteX5251" y="connsiteY5251"/>
              </a:cxn>
              <a:cxn ang="0">
                <a:pos x="connsiteX5252" y="connsiteY5252"/>
              </a:cxn>
              <a:cxn ang="0">
                <a:pos x="connsiteX5253" y="connsiteY5253"/>
              </a:cxn>
              <a:cxn ang="0">
                <a:pos x="connsiteX5254" y="connsiteY5254"/>
              </a:cxn>
              <a:cxn ang="0">
                <a:pos x="connsiteX5255" y="connsiteY5255"/>
              </a:cxn>
              <a:cxn ang="0">
                <a:pos x="connsiteX5256" y="connsiteY5256"/>
              </a:cxn>
              <a:cxn ang="0">
                <a:pos x="connsiteX5257" y="connsiteY5257"/>
              </a:cxn>
              <a:cxn ang="0">
                <a:pos x="connsiteX5258" y="connsiteY5258"/>
              </a:cxn>
              <a:cxn ang="0">
                <a:pos x="connsiteX5259" y="connsiteY5259"/>
              </a:cxn>
              <a:cxn ang="0">
                <a:pos x="connsiteX5260" y="connsiteY5260"/>
              </a:cxn>
              <a:cxn ang="0">
                <a:pos x="connsiteX5261" y="connsiteY5261"/>
              </a:cxn>
              <a:cxn ang="0">
                <a:pos x="connsiteX5262" y="connsiteY5262"/>
              </a:cxn>
              <a:cxn ang="0">
                <a:pos x="connsiteX5263" y="connsiteY5263"/>
              </a:cxn>
              <a:cxn ang="0">
                <a:pos x="connsiteX5264" y="connsiteY5264"/>
              </a:cxn>
              <a:cxn ang="0">
                <a:pos x="connsiteX5265" y="connsiteY5265"/>
              </a:cxn>
              <a:cxn ang="0">
                <a:pos x="connsiteX5266" y="connsiteY5266"/>
              </a:cxn>
              <a:cxn ang="0">
                <a:pos x="connsiteX5267" y="connsiteY5267"/>
              </a:cxn>
              <a:cxn ang="0">
                <a:pos x="connsiteX5268" y="connsiteY5268"/>
              </a:cxn>
              <a:cxn ang="0">
                <a:pos x="connsiteX5269" y="connsiteY5269"/>
              </a:cxn>
              <a:cxn ang="0">
                <a:pos x="connsiteX5270" y="connsiteY5270"/>
              </a:cxn>
              <a:cxn ang="0">
                <a:pos x="connsiteX5271" y="connsiteY5271"/>
              </a:cxn>
              <a:cxn ang="0">
                <a:pos x="connsiteX5272" y="connsiteY5272"/>
              </a:cxn>
              <a:cxn ang="0">
                <a:pos x="connsiteX5273" y="connsiteY5273"/>
              </a:cxn>
              <a:cxn ang="0">
                <a:pos x="connsiteX5274" y="connsiteY5274"/>
              </a:cxn>
              <a:cxn ang="0">
                <a:pos x="connsiteX5275" y="connsiteY5275"/>
              </a:cxn>
              <a:cxn ang="0">
                <a:pos x="connsiteX5276" y="connsiteY5276"/>
              </a:cxn>
              <a:cxn ang="0">
                <a:pos x="connsiteX5277" y="connsiteY5277"/>
              </a:cxn>
              <a:cxn ang="0">
                <a:pos x="connsiteX5278" y="connsiteY5278"/>
              </a:cxn>
              <a:cxn ang="0">
                <a:pos x="connsiteX5279" y="connsiteY5279"/>
              </a:cxn>
              <a:cxn ang="0">
                <a:pos x="connsiteX5280" y="connsiteY5280"/>
              </a:cxn>
              <a:cxn ang="0">
                <a:pos x="connsiteX5281" y="connsiteY5281"/>
              </a:cxn>
              <a:cxn ang="0">
                <a:pos x="connsiteX5282" y="connsiteY5282"/>
              </a:cxn>
              <a:cxn ang="0">
                <a:pos x="connsiteX5283" y="connsiteY5283"/>
              </a:cxn>
              <a:cxn ang="0">
                <a:pos x="connsiteX5284" y="connsiteY5284"/>
              </a:cxn>
              <a:cxn ang="0">
                <a:pos x="connsiteX5285" y="connsiteY5285"/>
              </a:cxn>
              <a:cxn ang="0">
                <a:pos x="connsiteX5286" y="connsiteY5286"/>
              </a:cxn>
              <a:cxn ang="0">
                <a:pos x="connsiteX5287" y="connsiteY5287"/>
              </a:cxn>
              <a:cxn ang="0">
                <a:pos x="connsiteX5288" y="connsiteY5288"/>
              </a:cxn>
              <a:cxn ang="0">
                <a:pos x="connsiteX5289" y="connsiteY5289"/>
              </a:cxn>
              <a:cxn ang="0">
                <a:pos x="connsiteX5290" y="connsiteY5290"/>
              </a:cxn>
              <a:cxn ang="0">
                <a:pos x="connsiteX5291" y="connsiteY5291"/>
              </a:cxn>
              <a:cxn ang="0">
                <a:pos x="connsiteX5292" y="connsiteY5292"/>
              </a:cxn>
              <a:cxn ang="0">
                <a:pos x="connsiteX5293" y="connsiteY5293"/>
              </a:cxn>
              <a:cxn ang="0">
                <a:pos x="connsiteX5294" y="connsiteY5294"/>
              </a:cxn>
              <a:cxn ang="0">
                <a:pos x="connsiteX5295" y="connsiteY5295"/>
              </a:cxn>
              <a:cxn ang="0">
                <a:pos x="connsiteX5296" y="connsiteY5296"/>
              </a:cxn>
              <a:cxn ang="0">
                <a:pos x="connsiteX5297" y="connsiteY5297"/>
              </a:cxn>
              <a:cxn ang="0">
                <a:pos x="connsiteX5298" y="connsiteY5298"/>
              </a:cxn>
              <a:cxn ang="0">
                <a:pos x="connsiteX5299" y="connsiteY5299"/>
              </a:cxn>
              <a:cxn ang="0">
                <a:pos x="connsiteX5300" y="connsiteY5300"/>
              </a:cxn>
              <a:cxn ang="0">
                <a:pos x="connsiteX5301" y="connsiteY5301"/>
              </a:cxn>
              <a:cxn ang="0">
                <a:pos x="connsiteX5302" y="connsiteY5302"/>
              </a:cxn>
              <a:cxn ang="0">
                <a:pos x="connsiteX5303" y="connsiteY5303"/>
              </a:cxn>
              <a:cxn ang="0">
                <a:pos x="connsiteX5304" y="connsiteY5304"/>
              </a:cxn>
              <a:cxn ang="0">
                <a:pos x="connsiteX5305" y="connsiteY5305"/>
              </a:cxn>
              <a:cxn ang="0">
                <a:pos x="connsiteX5306" y="connsiteY5306"/>
              </a:cxn>
              <a:cxn ang="0">
                <a:pos x="connsiteX5307" y="connsiteY5307"/>
              </a:cxn>
              <a:cxn ang="0">
                <a:pos x="connsiteX5308" y="connsiteY5308"/>
              </a:cxn>
              <a:cxn ang="0">
                <a:pos x="connsiteX5309" y="connsiteY5309"/>
              </a:cxn>
              <a:cxn ang="0">
                <a:pos x="connsiteX5310" y="connsiteY5310"/>
              </a:cxn>
              <a:cxn ang="0">
                <a:pos x="connsiteX5311" y="connsiteY5311"/>
              </a:cxn>
              <a:cxn ang="0">
                <a:pos x="connsiteX5312" y="connsiteY5312"/>
              </a:cxn>
              <a:cxn ang="0">
                <a:pos x="connsiteX5313" y="connsiteY5313"/>
              </a:cxn>
              <a:cxn ang="0">
                <a:pos x="connsiteX5314" y="connsiteY5314"/>
              </a:cxn>
              <a:cxn ang="0">
                <a:pos x="connsiteX5315" y="connsiteY5315"/>
              </a:cxn>
              <a:cxn ang="0">
                <a:pos x="connsiteX5316" y="connsiteY5316"/>
              </a:cxn>
              <a:cxn ang="0">
                <a:pos x="connsiteX5317" y="connsiteY5317"/>
              </a:cxn>
              <a:cxn ang="0">
                <a:pos x="connsiteX5318" y="connsiteY5318"/>
              </a:cxn>
              <a:cxn ang="0">
                <a:pos x="connsiteX5319" y="connsiteY5319"/>
              </a:cxn>
              <a:cxn ang="0">
                <a:pos x="connsiteX5320" y="connsiteY5320"/>
              </a:cxn>
              <a:cxn ang="0">
                <a:pos x="connsiteX5321" y="connsiteY5321"/>
              </a:cxn>
              <a:cxn ang="0">
                <a:pos x="connsiteX5322" y="connsiteY5322"/>
              </a:cxn>
              <a:cxn ang="0">
                <a:pos x="connsiteX5323" y="connsiteY5323"/>
              </a:cxn>
              <a:cxn ang="0">
                <a:pos x="connsiteX5324" y="connsiteY5324"/>
              </a:cxn>
              <a:cxn ang="0">
                <a:pos x="connsiteX5325" y="connsiteY5325"/>
              </a:cxn>
              <a:cxn ang="0">
                <a:pos x="connsiteX5326" y="connsiteY5326"/>
              </a:cxn>
              <a:cxn ang="0">
                <a:pos x="connsiteX5327" y="connsiteY5327"/>
              </a:cxn>
              <a:cxn ang="0">
                <a:pos x="connsiteX5328" y="connsiteY5328"/>
              </a:cxn>
              <a:cxn ang="0">
                <a:pos x="connsiteX5329" y="connsiteY5329"/>
              </a:cxn>
              <a:cxn ang="0">
                <a:pos x="connsiteX5330" y="connsiteY5330"/>
              </a:cxn>
              <a:cxn ang="0">
                <a:pos x="connsiteX5331" y="connsiteY5331"/>
              </a:cxn>
              <a:cxn ang="0">
                <a:pos x="connsiteX5332" y="connsiteY5332"/>
              </a:cxn>
              <a:cxn ang="0">
                <a:pos x="connsiteX5333" y="connsiteY5333"/>
              </a:cxn>
              <a:cxn ang="0">
                <a:pos x="connsiteX5334" y="connsiteY5334"/>
              </a:cxn>
              <a:cxn ang="0">
                <a:pos x="connsiteX5335" y="connsiteY5335"/>
              </a:cxn>
              <a:cxn ang="0">
                <a:pos x="connsiteX5336" y="connsiteY5336"/>
              </a:cxn>
              <a:cxn ang="0">
                <a:pos x="connsiteX5337" y="connsiteY5337"/>
              </a:cxn>
              <a:cxn ang="0">
                <a:pos x="connsiteX5338" y="connsiteY5338"/>
              </a:cxn>
              <a:cxn ang="0">
                <a:pos x="connsiteX5339" y="connsiteY5339"/>
              </a:cxn>
              <a:cxn ang="0">
                <a:pos x="connsiteX5340" y="connsiteY5340"/>
              </a:cxn>
              <a:cxn ang="0">
                <a:pos x="connsiteX5341" y="connsiteY5341"/>
              </a:cxn>
              <a:cxn ang="0">
                <a:pos x="connsiteX5342" y="connsiteY5342"/>
              </a:cxn>
              <a:cxn ang="0">
                <a:pos x="connsiteX5343" y="connsiteY5343"/>
              </a:cxn>
              <a:cxn ang="0">
                <a:pos x="connsiteX5344" y="connsiteY5344"/>
              </a:cxn>
              <a:cxn ang="0">
                <a:pos x="connsiteX5345" y="connsiteY5345"/>
              </a:cxn>
              <a:cxn ang="0">
                <a:pos x="connsiteX5346" y="connsiteY5346"/>
              </a:cxn>
              <a:cxn ang="0">
                <a:pos x="connsiteX5347" y="connsiteY5347"/>
              </a:cxn>
              <a:cxn ang="0">
                <a:pos x="connsiteX5348" y="connsiteY5348"/>
              </a:cxn>
              <a:cxn ang="0">
                <a:pos x="connsiteX5349" y="connsiteY5349"/>
              </a:cxn>
              <a:cxn ang="0">
                <a:pos x="connsiteX5350" y="connsiteY5350"/>
              </a:cxn>
              <a:cxn ang="0">
                <a:pos x="connsiteX5351" y="connsiteY5351"/>
              </a:cxn>
              <a:cxn ang="0">
                <a:pos x="connsiteX5352" y="connsiteY5352"/>
              </a:cxn>
              <a:cxn ang="0">
                <a:pos x="connsiteX5353" y="connsiteY5353"/>
              </a:cxn>
              <a:cxn ang="0">
                <a:pos x="connsiteX5354" y="connsiteY5354"/>
              </a:cxn>
              <a:cxn ang="0">
                <a:pos x="connsiteX5355" y="connsiteY5355"/>
              </a:cxn>
              <a:cxn ang="0">
                <a:pos x="connsiteX5356" y="connsiteY5356"/>
              </a:cxn>
              <a:cxn ang="0">
                <a:pos x="connsiteX5357" y="connsiteY5357"/>
              </a:cxn>
              <a:cxn ang="0">
                <a:pos x="connsiteX5358" y="connsiteY5358"/>
              </a:cxn>
              <a:cxn ang="0">
                <a:pos x="connsiteX5359" y="connsiteY5359"/>
              </a:cxn>
              <a:cxn ang="0">
                <a:pos x="connsiteX5360" y="connsiteY5360"/>
              </a:cxn>
              <a:cxn ang="0">
                <a:pos x="connsiteX5361" y="connsiteY5361"/>
              </a:cxn>
              <a:cxn ang="0">
                <a:pos x="connsiteX5362" y="connsiteY5362"/>
              </a:cxn>
              <a:cxn ang="0">
                <a:pos x="connsiteX5363" y="connsiteY5363"/>
              </a:cxn>
              <a:cxn ang="0">
                <a:pos x="connsiteX5364" y="connsiteY5364"/>
              </a:cxn>
              <a:cxn ang="0">
                <a:pos x="connsiteX5365" y="connsiteY5365"/>
              </a:cxn>
              <a:cxn ang="0">
                <a:pos x="connsiteX5366" y="connsiteY5366"/>
              </a:cxn>
              <a:cxn ang="0">
                <a:pos x="connsiteX5367" y="connsiteY5367"/>
              </a:cxn>
              <a:cxn ang="0">
                <a:pos x="connsiteX5368" y="connsiteY5368"/>
              </a:cxn>
              <a:cxn ang="0">
                <a:pos x="connsiteX5369" y="connsiteY5369"/>
              </a:cxn>
              <a:cxn ang="0">
                <a:pos x="connsiteX5370" y="connsiteY5370"/>
              </a:cxn>
              <a:cxn ang="0">
                <a:pos x="connsiteX5371" y="connsiteY5371"/>
              </a:cxn>
              <a:cxn ang="0">
                <a:pos x="connsiteX5372" y="connsiteY5372"/>
              </a:cxn>
              <a:cxn ang="0">
                <a:pos x="connsiteX5373" y="connsiteY5373"/>
              </a:cxn>
              <a:cxn ang="0">
                <a:pos x="connsiteX5374" y="connsiteY5374"/>
              </a:cxn>
              <a:cxn ang="0">
                <a:pos x="connsiteX5375" y="connsiteY5375"/>
              </a:cxn>
              <a:cxn ang="0">
                <a:pos x="connsiteX5376" y="connsiteY5376"/>
              </a:cxn>
              <a:cxn ang="0">
                <a:pos x="connsiteX5377" y="connsiteY5377"/>
              </a:cxn>
              <a:cxn ang="0">
                <a:pos x="connsiteX5378" y="connsiteY5378"/>
              </a:cxn>
              <a:cxn ang="0">
                <a:pos x="connsiteX5379" y="connsiteY5379"/>
              </a:cxn>
              <a:cxn ang="0">
                <a:pos x="connsiteX5380" y="connsiteY5380"/>
              </a:cxn>
              <a:cxn ang="0">
                <a:pos x="connsiteX5381" y="connsiteY5381"/>
              </a:cxn>
              <a:cxn ang="0">
                <a:pos x="connsiteX5382" y="connsiteY5382"/>
              </a:cxn>
              <a:cxn ang="0">
                <a:pos x="connsiteX5383" y="connsiteY5383"/>
              </a:cxn>
              <a:cxn ang="0">
                <a:pos x="connsiteX5384" y="connsiteY5384"/>
              </a:cxn>
              <a:cxn ang="0">
                <a:pos x="connsiteX5385" y="connsiteY5385"/>
              </a:cxn>
              <a:cxn ang="0">
                <a:pos x="connsiteX5386" y="connsiteY5386"/>
              </a:cxn>
              <a:cxn ang="0">
                <a:pos x="connsiteX5387" y="connsiteY5387"/>
              </a:cxn>
              <a:cxn ang="0">
                <a:pos x="connsiteX5388" y="connsiteY5388"/>
              </a:cxn>
              <a:cxn ang="0">
                <a:pos x="connsiteX5389" y="connsiteY5389"/>
              </a:cxn>
              <a:cxn ang="0">
                <a:pos x="connsiteX5390" y="connsiteY5390"/>
              </a:cxn>
              <a:cxn ang="0">
                <a:pos x="connsiteX5391" y="connsiteY5391"/>
              </a:cxn>
              <a:cxn ang="0">
                <a:pos x="connsiteX5392" y="connsiteY5392"/>
              </a:cxn>
              <a:cxn ang="0">
                <a:pos x="connsiteX5393" y="connsiteY5393"/>
              </a:cxn>
              <a:cxn ang="0">
                <a:pos x="connsiteX5394" y="connsiteY5394"/>
              </a:cxn>
              <a:cxn ang="0">
                <a:pos x="connsiteX5395" y="connsiteY5395"/>
              </a:cxn>
              <a:cxn ang="0">
                <a:pos x="connsiteX5396" y="connsiteY5396"/>
              </a:cxn>
              <a:cxn ang="0">
                <a:pos x="connsiteX5397" y="connsiteY5397"/>
              </a:cxn>
              <a:cxn ang="0">
                <a:pos x="connsiteX5398" y="connsiteY5398"/>
              </a:cxn>
              <a:cxn ang="0">
                <a:pos x="connsiteX5399" y="connsiteY5399"/>
              </a:cxn>
              <a:cxn ang="0">
                <a:pos x="connsiteX5400" y="connsiteY5400"/>
              </a:cxn>
              <a:cxn ang="0">
                <a:pos x="connsiteX5401" y="connsiteY5401"/>
              </a:cxn>
              <a:cxn ang="0">
                <a:pos x="connsiteX5402" y="connsiteY5402"/>
              </a:cxn>
              <a:cxn ang="0">
                <a:pos x="connsiteX5403" y="connsiteY5403"/>
              </a:cxn>
              <a:cxn ang="0">
                <a:pos x="connsiteX5404" y="connsiteY5404"/>
              </a:cxn>
              <a:cxn ang="0">
                <a:pos x="connsiteX5405" y="connsiteY5405"/>
              </a:cxn>
              <a:cxn ang="0">
                <a:pos x="connsiteX5406" y="connsiteY5406"/>
              </a:cxn>
              <a:cxn ang="0">
                <a:pos x="connsiteX5407" y="connsiteY5407"/>
              </a:cxn>
              <a:cxn ang="0">
                <a:pos x="connsiteX5408" y="connsiteY5408"/>
              </a:cxn>
              <a:cxn ang="0">
                <a:pos x="connsiteX5409" y="connsiteY5409"/>
              </a:cxn>
              <a:cxn ang="0">
                <a:pos x="connsiteX5410" y="connsiteY5410"/>
              </a:cxn>
              <a:cxn ang="0">
                <a:pos x="connsiteX5411" y="connsiteY5411"/>
              </a:cxn>
              <a:cxn ang="0">
                <a:pos x="connsiteX5412" y="connsiteY5412"/>
              </a:cxn>
              <a:cxn ang="0">
                <a:pos x="connsiteX5413" y="connsiteY5413"/>
              </a:cxn>
              <a:cxn ang="0">
                <a:pos x="connsiteX5414" y="connsiteY5414"/>
              </a:cxn>
              <a:cxn ang="0">
                <a:pos x="connsiteX5415" y="connsiteY5415"/>
              </a:cxn>
              <a:cxn ang="0">
                <a:pos x="connsiteX5416" y="connsiteY5416"/>
              </a:cxn>
              <a:cxn ang="0">
                <a:pos x="connsiteX5417" y="connsiteY5417"/>
              </a:cxn>
              <a:cxn ang="0">
                <a:pos x="connsiteX5418" y="connsiteY5418"/>
              </a:cxn>
              <a:cxn ang="0">
                <a:pos x="connsiteX5419" y="connsiteY5419"/>
              </a:cxn>
              <a:cxn ang="0">
                <a:pos x="connsiteX5420" y="connsiteY5420"/>
              </a:cxn>
              <a:cxn ang="0">
                <a:pos x="connsiteX5421" y="connsiteY5421"/>
              </a:cxn>
              <a:cxn ang="0">
                <a:pos x="connsiteX5422" y="connsiteY5422"/>
              </a:cxn>
              <a:cxn ang="0">
                <a:pos x="connsiteX5423" y="connsiteY5423"/>
              </a:cxn>
              <a:cxn ang="0">
                <a:pos x="connsiteX5424" y="connsiteY5424"/>
              </a:cxn>
              <a:cxn ang="0">
                <a:pos x="connsiteX5425" y="connsiteY5425"/>
              </a:cxn>
              <a:cxn ang="0">
                <a:pos x="connsiteX5426" y="connsiteY5426"/>
              </a:cxn>
              <a:cxn ang="0">
                <a:pos x="connsiteX5427" y="connsiteY5427"/>
              </a:cxn>
              <a:cxn ang="0">
                <a:pos x="connsiteX5428" y="connsiteY5428"/>
              </a:cxn>
              <a:cxn ang="0">
                <a:pos x="connsiteX5429" y="connsiteY5429"/>
              </a:cxn>
              <a:cxn ang="0">
                <a:pos x="connsiteX5430" y="connsiteY5430"/>
              </a:cxn>
              <a:cxn ang="0">
                <a:pos x="connsiteX5431" y="connsiteY5431"/>
              </a:cxn>
              <a:cxn ang="0">
                <a:pos x="connsiteX5432" y="connsiteY5432"/>
              </a:cxn>
              <a:cxn ang="0">
                <a:pos x="connsiteX5433" y="connsiteY5433"/>
              </a:cxn>
              <a:cxn ang="0">
                <a:pos x="connsiteX5434" y="connsiteY5434"/>
              </a:cxn>
              <a:cxn ang="0">
                <a:pos x="connsiteX5435" y="connsiteY5435"/>
              </a:cxn>
              <a:cxn ang="0">
                <a:pos x="connsiteX5436" y="connsiteY5436"/>
              </a:cxn>
              <a:cxn ang="0">
                <a:pos x="connsiteX5437" y="connsiteY5437"/>
              </a:cxn>
              <a:cxn ang="0">
                <a:pos x="connsiteX5438" y="connsiteY5438"/>
              </a:cxn>
              <a:cxn ang="0">
                <a:pos x="connsiteX5439" y="connsiteY5439"/>
              </a:cxn>
              <a:cxn ang="0">
                <a:pos x="connsiteX5440" y="connsiteY5440"/>
              </a:cxn>
              <a:cxn ang="0">
                <a:pos x="connsiteX5441" y="connsiteY5441"/>
              </a:cxn>
              <a:cxn ang="0">
                <a:pos x="connsiteX5442" y="connsiteY5442"/>
              </a:cxn>
              <a:cxn ang="0">
                <a:pos x="connsiteX5443" y="connsiteY5443"/>
              </a:cxn>
              <a:cxn ang="0">
                <a:pos x="connsiteX5444" y="connsiteY5444"/>
              </a:cxn>
              <a:cxn ang="0">
                <a:pos x="connsiteX5445" y="connsiteY5445"/>
              </a:cxn>
              <a:cxn ang="0">
                <a:pos x="connsiteX5446" y="connsiteY5446"/>
              </a:cxn>
              <a:cxn ang="0">
                <a:pos x="connsiteX5447" y="connsiteY5447"/>
              </a:cxn>
              <a:cxn ang="0">
                <a:pos x="connsiteX5448" y="connsiteY5448"/>
              </a:cxn>
              <a:cxn ang="0">
                <a:pos x="connsiteX5449" y="connsiteY5449"/>
              </a:cxn>
              <a:cxn ang="0">
                <a:pos x="connsiteX5450" y="connsiteY5450"/>
              </a:cxn>
              <a:cxn ang="0">
                <a:pos x="connsiteX5451" y="connsiteY5451"/>
              </a:cxn>
              <a:cxn ang="0">
                <a:pos x="connsiteX5452" y="connsiteY5452"/>
              </a:cxn>
              <a:cxn ang="0">
                <a:pos x="connsiteX5453" y="connsiteY5453"/>
              </a:cxn>
              <a:cxn ang="0">
                <a:pos x="connsiteX5454" y="connsiteY5454"/>
              </a:cxn>
              <a:cxn ang="0">
                <a:pos x="connsiteX5455" y="connsiteY5455"/>
              </a:cxn>
              <a:cxn ang="0">
                <a:pos x="connsiteX5456" y="connsiteY5456"/>
              </a:cxn>
              <a:cxn ang="0">
                <a:pos x="connsiteX5457" y="connsiteY5457"/>
              </a:cxn>
              <a:cxn ang="0">
                <a:pos x="connsiteX5458" y="connsiteY5458"/>
              </a:cxn>
              <a:cxn ang="0">
                <a:pos x="connsiteX5459" y="connsiteY5459"/>
              </a:cxn>
              <a:cxn ang="0">
                <a:pos x="connsiteX5460" y="connsiteY5460"/>
              </a:cxn>
              <a:cxn ang="0">
                <a:pos x="connsiteX5461" y="connsiteY5461"/>
              </a:cxn>
              <a:cxn ang="0">
                <a:pos x="connsiteX5462" y="connsiteY5462"/>
              </a:cxn>
              <a:cxn ang="0">
                <a:pos x="connsiteX5463" y="connsiteY5463"/>
              </a:cxn>
              <a:cxn ang="0">
                <a:pos x="connsiteX5464" y="connsiteY5464"/>
              </a:cxn>
              <a:cxn ang="0">
                <a:pos x="connsiteX5465" y="connsiteY5465"/>
              </a:cxn>
              <a:cxn ang="0">
                <a:pos x="connsiteX5466" y="connsiteY5466"/>
              </a:cxn>
              <a:cxn ang="0">
                <a:pos x="connsiteX5467" y="connsiteY5467"/>
              </a:cxn>
              <a:cxn ang="0">
                <a:pos x="connsiteX5468" y="connsiteY5468"/>
              </a:cxn>
              <a:cxn ang="0">
                <a:pos x="connsiteX5469" y="connsiteY5469"/>
              </a:cxn>
              <a:cxn ang="0">
                <a:pos x="connsiteX5470" y="connsiteY5470"/>
              </a:cxn>
              <a:cxn ang="0">
                <a:pos x="connsiteX5471" y="connsiteY5471"/>
              </a:cxn>
              <a:cxn ang="0">
                <a:pos x="connsiteX5472" y="connsiteY5472"/>
              </a:cxn>
              <a:cxn ang="0">
                <a:pos x="connsiteX5473" y="connsiteY5473"/>
              </a:cxn>
              <a:cxn ang="0">
                <a:pos x="connsiteX5474" y="connsiteY5474"/>
              </a:cxn>
              <a:cxn ang="0">
                <a:pos x="connsiteX5475" y="connsiteY5475"/>
              </a:cxn>
              <a:cxn ang="0">
                <a:pos x="connsiteX5476" y="connsiteY5476"/>
              </a:cxn>
              <a:cxn ang="0">
                <a:pos x="connsiteX5477" y="connsiteY5477"/>
              </a:cxn>
              <a:cxn ang="0">
                <a:pos x="connsiteX5478" y="connsiteY5478"/>
              </a:cxn>
              <a:cxn ang="0">
                <a:pos x="connsiteX5479" y="connsiteY5479"/>
              </a:cxn>
              <a:cxn ang="0">
                <a:pos x="connsiteX5480" y="connsiteY5480"/>
              </a:cxn>
              <a:cxn ang="0">
                <a:pos x="connsiteX5481" y="connsiteY5481"/>
              </a:cxn>
              <a:cxn ang="0">
                <a:pos x="connsiteX5482" y="connsiteY5482"/>
              </a:cxn>
              <a:cxn ang="0">
                <a:pos x="connsiteX5483" y="connsiteY5483"/>
              </a:cxn>
              <a:cxn ang="0">
                <a:pos x="connsiteX5484" y="connsiteY5484"/>
              </a:cxn>
              <a:cxn ang="0">
                <a:pos x="connsiteX5485" y="connsiteY5485"/>
              </a:cxn>
              <a:cxn ang="0">
                <a:pos x="connsiteX5486" y="connsiteY5486"/>
              </a:cxn>
              <a:cxn ang="0">
                <a:pos x="connsiteX5487" y="connsiteY5487"/>
              </a:cxn>
              <a:cxn ang="0">
                <a:pos x="connsiteX5488" y="connsiteY5488"/>
              </a:cxn>
              <a:cxn ang="0">
                <a:pos x="connsiteX5489" y="connsiteY5489"/>
              </a:cxn>
              <a:cxn ang="0">
                <a:pos x="connsiteX5490" y="connsiteY5490"/>
              </a:cxn>
              <a:cxn ang="0">
                <a:pos x="connsiteX5491" y="connsiteY5491"/>
              </a:cxn>
              <a:cxn ang="0">
                <a:pos x="connsiteX5492" y="connsiteY5492"/>
              </a:cxn>
              <a:cxn ang="0">
                <a:pos x="connsiteX5493" y="connsiteY5493"/>
              </a:cxn>
              <a:cxn ang="0">
                <a:pos x="connsiteX5494" y="connsiteY5494"/>
              </a:cxn>
              <a:cxn ang="0">
                <a:pos x="connsiteX5495" y="connsiteY5495"/>
              </a:cxn>
              <a:cxn ang="0">
                <a:pos x="connsiteX5496" y="connsiteY5496"/>
              </a:cxn>
              <a:cxn ang="0">
                <a:pos x="connsiteX5497" y="connsiteY5497"/>
              </a:cxn>
              <a:cxn ang="0">
                <a:pos x="connsiteX5498" y="connsiteY5498"/>
              </a:cxn>
              <a:cxn ang="0">
                <a:pos x="connsiteX5499" y="connsiteY5499"/>
              </a:cxn>
              <a:cxn ang="0">
                <a:pos x="connsiteX5500" y="connsiteY5500"/>
              </a:cxn>
              <a:cxn ang="0">
                <a:pos x="connsiteX5501" y="connsiteY5501"/>
              </a:cxn>
              <a:cxn ang="0">
                <a:pos x="connsiteX5502" y="connsiteY5502"/>
              </a:cxn>
              <a:cxn ang="0">
                <a:pos x="connsiteX5503" y="connsiteY5503"/>
              </a:cxn>
              <a:cxn ang="0">
                <a:pos x="connsiteX5504" y="connsiteY5504"/>
              </a:cxn>
              <a:cxn ang="0">
                <a:pos x="connsiteX5505" y="connsiteY5505"/>
              </a:cxn>
              <a:cxn ang="0">
                <a:pos x="connsiteX5506" y="connsiteY5506"/>
              </a:cxn>
              <a:cxn ang="0">
                <a:pos x="connsiteX5507" y="connsiteY5507"/>
              </a:cxn>
              <a:cxn ang="0">
                <a:pos x="connsiteX5508" y="connsiteY5508"/>
              </a:cxn>
              <a:cxn ang="0">
                <a:pos x="connsiteX5509" y="connsiteY5509"/>
              </a:cxn>
              <a:cxn ang="0">
                <a:pos x="connsiteX5510" y="connsiteY5510"/>
              </a:cxn>
              <a:cxn ang="0">
                <a:pos x="connsiteX5511" y="connsiteY5511"/>
              </a:cxn>
              <a:cxn ang="0">
                <a:pos x="connsiteX5512" y="connsiteY5512"/>
              </a:cxn>
              <a:cxn ang="0">
                <a:pos x="connsiteX5513" y="connsiteY5513"/>
              </a:cxn>
              <a:cxn ang="0">
                <a:pos x="connsiteX5514" y="connsiteY5514"/>
              </a:cxn>
              <a:cxn ang="0">
                <a:pos x="connsiteX5515" y="connsiteY5515"/>
              </a:cxn>
              <a:cxn ang="0">
                <a:pos x="connsiteX5516" y="connsiteY5516"/>
              </a:cxn>
              <a:cxn ang="0">
                <a:pos x="connsiteX5517" y="connsiteY5517"/>
              </a:cxn>
              <a:cxn ang="0">
                <a:pos x="connsiteX5518" y="connsiteY5518"/>
              </a:cxn>
              <a:cxn ang="0">
                <a:pos x="connsiteX5519" y="connsiteY5519"/>
              </a:cxn>
              <a:cxn ang="0">
                <a:pos x="connsiteX5520" y="connsiteY5520"/>
              </a:cxn>
              <a:cxn ang="0">
                <a:pos x="connsiteX5521" y="connsiteY5521"/>
              </a:cxn>
              <a:cxn ang="0">
                <a:pos x="connsiteX5522" y="connsiteY5522"/>
              </a:cxn>
              <a:cxn ang="0">
                <a:pos x="connsiteX5523" y="connsiteY5523"/>
              </a:cxn>
              <a:cxn ang="0">
                <a:pos x="connsiteX5524" y="connsiteY5524"/>
              </a:cxn>
              <a:cxn ang="0">
                <a:pos x="connsiteX5525" y="connsiteY5525"/>
              </a:cxn>
              <a:cxn ang="0">
                <a:pos x="connsiteX5526" y="connsiteY5526"/>
              </a:cxn>
              <a:cxn ang="0">
                <a:pos x="connsiteX5527" y="connsiteY5527"/>
              </a:cxn>
              <a:cxn ang="0">
                <a:pos x="connsiteX5528" y="connsiteY5528"/>
              </a:cxn>
              <a:cxn ang="0">
                <a:pos x="connsiteX5529" y="connsiteY5529"/>
              </a:cxn>
              <a:cxn ang="0">
                <a:pos x="connsiteX5530" y="connsiteY5530"/>
              </a:cxn>
              <a:cxn ang="0">
                <a:pos x="connsiteX5531" y="connsiteY5531"/>
              </a:cxn>
              <a:cxn ang="0">
                <a:pos x="connsiteX5532" y="connsiteY5532"/>
              </a:cxn>
              <a:cxn ang="0">
                <a:pos x="connsiteX5533" y="connsiteY5533"/>
              </a:cxn>
              <a:cxn ang="0">
                <a:pos x="connsiteX5534" y="connsiteY5534"/>
              </a:cxn>
              <a:cxn ang="0">
                <a:pos x="connsiteX5535" y="connsiteY5535"/>
              </a:cxn>
              <a:cxn ang="0">
                <a:pos x="connsiteX5536" y="connsiteY5536"/>
              </a:cxn>
              <a:cxn ang="0">
                <a:pos x="connsiteX5537" y="connsiteY5537"/>
              </a:cxn>
              <a:cxn ang="0">
                <a:pos x="connsiteX5538" y="connsiteY5538"/>
              </a:cxn>
              <a:cxn ang="0">
                <a:pos x="connsiteX5539" y="connsiteY5539"/>
              </a:cxn>
              <a:cxn ang="0">
                <a:pos x="connsiteX5540" y="connsiteY5540"/>
              </a:cxn>
              <a:cxn ang="0">
                <a:pos x="connsiteX5541" y="connsiteY5541"/>
              </a:cxn>
              <a:cxn ang="0">
                <a:pos x="connsiteX5542" y="connsiteY5542"/>
              </a:cxn>
              <a:cxn ang="0">
                <a:pos x="connsiteX5543" y="connsiteY5543"/>
              </a:cxn>
              <a:cxn ang="0">
                <a:pos x="connsiteX5544" y="connsiteY5544"/>
              </a:cxn>
              <a:cxn ang="0">
                <a:pos x="connsiteX5545" y="connsiteY5545"/>
              </a:cxn>
              <a:cxn ang="0">
                <a:pos x="connsiteX5546" y="connsiteY5546"/>
              </a:cxn>
              <a:cxn ang="0">
                <a:pos x="connsiteX5547" y="connsiteY5547"/>
              </a:cxn>
              <a:cxn ang="0">
                <a:pos x="connsiteX5548" y="connsiteY5548"/>
              </a:cxn>
              <a:cxn ang="0">
                <a:pos x="connsiteX5549" y="connsiteY5549"/>
              </a:cxn>
              <a:cxn ang="0">
                <a:pos x="connsiteX5550" y="connsiteY5550"/>
              </a:cxn>
              <a:cxn ang="0">
                <a:pos x="connsiteX5551" y="connsiteY5551"/>
              </a:cxn>
              <a:cxn ang="0">
                <a:pos x="connsiteX5552" y="connsiteY5552"/>
              </a:cxn>
              <a:cxn ang="0">
                <a:pos x="connsiteX5553" y="connsiteY5553"/>
              </a:cxn>
              <a:cxn ang="0">
                <a:pos x="connsiteX5554" y="connsiteY5554"/>
              </a:cxn>
              <a:cxn ang="0">
                <a:pos x="connsiteX5555" y="connsiteY5555"/>
              </a:cxn>
              <a:cxn ang="0">
                <a:pos x="connsiteX5556" y="connsiteY5556"/>
              </a:cxn>
              <a:cxn ang="0">
                <a:pos x="connsiteX5557" y="connsiteY5557"/>
              </a:cxn>
              <a:cxn ang="0">
                <a:pos x="connsiteX5558" y="connsiteY5558"/>
              </a:cxn>
              <a:cxn ang="0">
                <a:pos x="connsiteX5559" y="connsiteY5559"/>
              </a:cxn>
              <a:cxn ang="0">
                <a:pos x="connsiteX5560" y="connsiteY5560"/>
              </a:cxn>
              <a:cxn ang="0">
                <a:pos x="connsiteX5561" y="connsiteY5561"/>
              </a:cxn>
              <a:cxn ang="0">
                <a:pos x="connsiteX5562" y="connsiteY5562"/>
              </a:cxn>
              <a:cxn ang="0">
                <a:pos x="connsiteX5563" y="connsiteY5563"/>
              </a:cxn>
              <a:cxn ang="0">
                <a:pos x="connsiteX5564" y="connsiteY5564"/>
              </a:cxn>
              <a:cxn ang="0">
                <a:pos x="connsiteX5565" y="connsiteY5565"/>
              </a:cxn>
              <a:cxn ang="0">
                <a:pos x="connsiteX5566" y="connsiteY5566"/>
              </a:cxn>
              <a:cxn ang="0">
                <a:pos x="connsiteX5567" y="connsiteY5567"/>
              </a:cxn>
              <a:cxn ang="0">
                <a:pos x="connsiteX5568" y="connsiteY5568"/>
              </a:cxn>
              <a:cxn ang="0">
                <a:pos x="connsiteX5569" y="connsiteY5569"/>
              </a:cxn>
              <a:cxn ang="0">
                <a:pos x="connsiteX5570" y="connsiteY5570"/>
              </a:cxn>
              <a:cxn ang="0">
                <a:pos x="connsiteX5571" y="connsiteY5571"/>
              </a:cxn>
              <a:cxn ang="0">
                <a:pos x="connsiteX5572" y="connsiteY5572"/>
              </a:cxn>
              <a:cxn ang="0">
                <a:pos x="connsiteX5573" y="connsiteY5573"/>
              </a:cxn>
              <a:cxn ang="0">
                <a:pos x="connsiteX5574" y="connsiteY5574"/>
              </a:cxn>
              <a:cxn ang="0">
                <a:pos x="connsiteX5575" y="connsiteY5575"/>
              </a:cxn>
              <a:cxn ang="0">
                <a:pos x="connsiteX5576" y="connsiteY5576"/>
              </a:cxn>
              <a:cxn ang="0">
                <a:pos x="connsiteX5577" y="connsiteY5577"/>
              </a:cxn>
              <a:cxn ang="0">
                <a:pos x="connsiteX5578" y="connsiteY5578"/>
              </a:cxn>
              <a:cxn ang="0">
                <a:pos x="connsiteX5579" y="connsiteY5579"/>
              </a:cxn>
              <a:cxn ang="0">
                <a:pos x="connsiteX5580" y="connsiteY5580"/>
              </a:cxn>
              <a:cxn ang="0">
                <a:pos x="connsiteX5581" y="connsiteY5581"/>
              </a:cxn>
              <a:cxn ang="0">
                <a:pos x="connsiteX5582" y="connsiteY5582"/>
              </a:cxn>
              <a:cxn ang="0">
                <a:pos x="connsiteX5583" y="connsiteY5583"/>
              </a:cxn>
              <a:cxn ang="0">
                <a:pos x="connsiteX5584" y="connsiteY5584"/>
              </a:cxn>
              <a:cxn ang="0">
                <a:pos x="connsiteX5585" y="connsiteY5585"/>
              </a:cxn>
              <a:cxn ang="0">
                <a:pos x="connsiteX5586" y="connsiteY5586"/>
              </a:cxn>
              <a:cxn ang="0">
                <a:pos x="connsiteX5587" y="connsiteY5587"/>
              </a:cxn>
              <a:cxn ang="0">
                <a:pos x="connsiteX5588" y="connsiteY5588"/>
              </a:cxn>
              <a:cxn ang="0">
                <a:pos x="connsiteX5589" y="connsiteY5589"/>
              </a:cxn>
              <a:cxn ang="0">
                <a:pos x="connsiteX5590" y="connsiteY5590"/>
              </a:cxn>
              <a:cxn ang="0">
                <a:pos x="connsiteX5591" y="connsiteY5591"/>
              </a:cxn>
              <a:cxn ang="0">
                <a:pos x="connsiteX5592" y="connsiteY5592"/>
              </a:cxn>
              <a:cxn ang="0">
                <a:pos x="connsiteX5593" y="connsiteY5593"/>
              </a:cxn>
              <a:cxn ang="0">
                <a:pos x="connsiteX5594" y="connsiteY5594"/>
              </a:cxn>
              <a:cxn ang="0">
                <a:pos x="connsiteX5595" y="connsiteY5595"/>
              </a:cxn>
              <a:cxn ang="0">
                <a:pos x="connsiteX5596" y="connsiteY5596"/>
              </a:cxn>
              <a:cxn ang="0">
                <a:pos x="connsiteX5597" y="connsiteY5597"/>
              </a:cxn>
              <a:cxn ang="0">
                <a:pos x="connsiteX5598" y="connsiteY5598"/>
              </a:cxn>
              <a:cxn ang="0">
                <a:pos x="connsiteX5599" y="connsiteY5599"/>
              </a:cxn>
              <a:cxn ang="0">
                <a:pos x="connsiteX5600" y="connsiteY5600"/>
              </a:cxn>
              <a:cxn ang="0">
                <a:pos x="connsiteX5601" y="connsiteY5601"/>
              </a:cxn>
              <a:cxn ang="0">
                <a:pos x="connsiteX5602" y="connsiteY5602"/>
              </a:cxn>
              <a:cxn ang="0">
                <a:pos x="connsiteX5603" y="connsiteY5603"/>
              </a:cxn>
              <a:cxn ang="0">
                <a:pos x="connsiteX5604" y="connsiteY5604"/>
              </a:cxn>
              <a:cxn ang="0">
                <a:pos x="connsiteX5605" y="connsiteY5605"/>
              </a:cxn>
              <a:cxn ang="0">
                <a:pos x="connsiteX5606" y="connsiteY5606"/>
              </a:cxn>
              <a:cxn ang="0">
                <a:pos x="connsiteX5607" y="connsiteY5607"/>
              </a:cxn>
              <a:cxn ang="0">
                <a:pos x="connsiteX5608" y="connsiteY5608"/>
              </a:cxn>
              <a:cxn ang="0">
                <a:pos x="connsiteX5609" y="connsiteY5609"/>
              </a:cxn>
              <a:cxn ang="0">
                <a:pos x="connsiteX5610" y="connsiteY5610"/>
              </a:cxn>
              <a:cxn ang="0">
                <a:pos x="connsiteX5611" y="connsiteY5611"/>
              </a:cxn>
              <a:cxn ang="0">
                <a:pos x="connsiteX5612" y="connsiteY5612"/>
              </a:cxn>
              <a:cxn ang="0">
                <a:pos x="connsiteX5613" y="connsiteY5613"/>
              </a:cxn>
              <a:cxn ang="0">
                <a:pos x="connsiteX5614" y="connsiteY5614"/>
              </a:cxn>
              <a:cxn ang="0">
                <a:pos x="connsiteX5615" y="connsiteY5615"/>
              </a:cxn>
              <a:cxn ang="0">
                <a:pos x="connsiteX5616" y="connsiteY5616"/>
              </a:cxn>
              <a:cxn ang="0">
                <a:pos x="connsiteX5617" y="connsiteY5617"/>
              </a:cxn>
              <a:cxn ang="0">
                <a:pos x="connsiteX5618" y="connsiteY5618"/>
              </a:cxn>
              <a:cxn ang="0">
                <a:pos x="connsiteX5619" y="connsiteY5619"/>
              </a:cxn>
              <a:cxn ang="0">
                <a:pos x="connsiteX5620" y="connsiteY5620"/>
              </a:cxn>
              <a:cxn ang="0">
                <a:pos x="connsiteX5621" y="connsiteY5621"/>
              </a:cxn>
              <a:cxn ang="0">
                <a:pos x="connsiteX5622" y="connsiteY5622"/>
              </a:cxn>
              <a:cxn ang="0">
                <a:pos x="connsiteX5623" y="connsiteY5623"/>
              </a:cxn>
              <a:cxn ang="0">
                <a:pos x="connsiteX5624" y="connsiteY5624"/>
              </a:cxn>
              <a:cxn ang="0">
                <a:pos x="connsiteX5625" y="connsiteY5625"/>
              </a:cxn>
              <a:cxn ang="0">
                <a:pos x="connsiteX5626" y="connsiteY5626"/>
              </a:cxn>
              <a:cxn ang="0">
                <a:pos x="connsiteX5627" y="connsiteY5627"/>
              </a:cxn>
              <a:cxn ang="0">
                <a:pos x="connsiteX5628" y="connsiteY5628"/>
              </a:cxn>
              <a:cxn ang="0">
                <a:pos x="connsiteX5629" y="connsiteY5629"/>
              </a:cxn>
              <a:cxn ang="0">
                <a:pos x="connsiteX5630" y="connsiteY5630"/>
              </a:cxn>
              <a:cxn ang="0">
                <a:pos x="connsiteX5631" y="connsiteY5631"/>
              </a:cxn>
              <a:cxn ang="0">
                <a:pos x="connsiteX5632" y="connsiteY5632"/>
              </a:cxn>
              <a:cxn ang="0">
                <a:pos x="connsiteX5633" y="connsiteY5633"/>
              </a:cxn>
              <a:cxn ang="0">
                <a:pos x="connsiteX5634" y="connsiteY5634"/>
              </a:cxn>
              <a:cxn ang="0">
                <a:pos x="connsiteX5635" y="connsiteY5635"/>
              </a:cxn>
              <a:cxn ang="0">
                <a:pos x="connsiteX5636" y="connsiteY5636"/>
              </a:cxn>
              <a:cxn ang="0">
                <a:pos x="connsiteX5637" y="connsiteY5637"/>
              </a:cxn>
              <a:cxn ang="0">
                <a:pos x="connsiteX5638" y="connsiteY5638"/>
              </a:cxn>
              <a:cxn ang="0">
                <a:pos x="connsiteX5639" y="connsiteY5639"/>
              </a:cxn>
              <a:cxn ang="0">
                <a:pos x="connsiteX5640" y="connsiteY5640"/>
              </a:cxn>
              <a:cxn ang="0">
                <a:pos x="connsiteX5641" y="connsiteY5641"/>
              </a:cxn>
              <a:cxn ang="0">
                <a:pos x="connsiteX5642" y="connsiteY5642"/>
              </a:cxn>
              <a:cxn ang="0">
                <a:pos x="connsiteX5643" y="connsiteY5643"/>
              </a:cxn>
              <a:cxn ang="0">
                <a:pos x="connsiteX5644" y="connsiteY5644"/>
              </a:cxn>
              <a:cxn ang="0">
                <a:pos x="connsiteX5645" y="connsiteY5645"/>
              </a:cxn>
              <a:cxn ang="0">
                <a:pos x="connsiteX5646" y="connsiteY5646"/>
              </a:cxn>
              <a:cxn ang="0">
                <a:pos x="connsiteX5647" y="connsiteY5647"/>
              </a:cxn>
              <a:cxn ang="0">
                <a:pos x="connsiteX5648" y="connsiteY5648"/>
              </a:cxn>
              <a:cxn ang="0">
                <a:pos x="connsiteX5649" y="connsiteY5649"/>
              </a:cxn>
              <a:cxn ang="0">
                <a:pos x="connsiteX5650" y="connsiteY5650"/>
              </a:cxn>
              <a:cxn ang="0">
                <a:pos x="connsiteX5651" y="connsiteY5651"/>
              </a:cxn>
              <a:cxn ang="0">
                <a:pos x="connsiteX5652" y="connsiteY5652"/>
              </a:cxn>
              <a:cxn ang="0">
                <a:pos x="connsiteX5653" y="connsiteY5653"/>
              </a:cxn>
              <a:cxn ang="0">
                <a:pos x="connsiteX5654" y="connsiteY5654"/>
              </a:cxn>
              <a:cxn ang="0">
                <a:pos x="connsiteX5655" y="connsiteY5655"/>
              </a:cxn>
              <a:cxn ang="0">
                <a:pos x="connsiteX5656" y="connsiteY5656"/>
              </a:cxn>
              <a:cxn ang="0">
                <a:pos x="connsiteX5657" y="connsiteY5657"/>
              </a:cxn>
              <a:cxn ang="0">
                <a:pos x="connsiteX5658" y="connsiteY5658"/>
              </a:cxn>
              <a:cxn ang="0">
                <a:pos x="connsiteX5659" y="connsiteY5659"/>
              </a:cxn>
              <a:cxn ang="0">
                <a:pos x="connsiteX5660" y="connsiteY5660"/>
              </a:cxn>
              <a:cxn ang="0">
                <a:pos x="connsiteX5661" y="connsiteY5661"/>
              </a:cxn>
              <a:cxn ang="0">
                <a:pos x="connsiteX5662" y="connsiteY5662"/>
              </a:cxn>
              <a:cxn ang="0">
                <a:pos x="connsiteX5663" y="connsiteY5663"/>
              </a:cxn>
              <a:cxn ang="0">
                <a:pos x="connsiteX5664" y="connsiteY5664"/>
              </a:cxn>
              <a:cxn ang="0">
                <a:pos x="connsiteX5665" y="connsiteY5665"/>
              </a:cxn>
              <a:cxn ang="0">
                <a:pos x="connsiteX5666" y="connsiteY5666"/>
              </a:cxn>
              <a:cxn ang="0">
                <a:pos x="connsiteX5667" y="connsiteY5667"/>
              </a:cxn>
              <a:cxn ang="0">
                <a:pos x="connsiteX5668" y="connsiteY5668"/>
              </a:cxn>
              <a:cxn ang="0">
                <a:pos x="connsiteX5669" y="connsiteY5669"/>
              </a:cxn>
              <a:cxn ang="0">
                <a:pos x="connsiteX5670" y="connsiteY5670"/>
              </a:cxn>
              <a:cxn ang="0">
                <a:pos x="connsiteX5671" y="connsiteY5671"/>
              </a:cxn>
              <a:cxn ang="0">
                <a:pos x="connsiteX5672" y="connsiteY5672"/>
              </a:cxn>
              <a:cxn ang="0">
                <a:pos x="connsiteX5673" y="connsiteY5673"/>
              </a:cxn>
              <a:cxn ang="0">
                <a:pos x="connsiteX5674" y="connsiteY5674"/>
              </a:cxn>
              <a:cxn ang="0">
                <a:pos x="connsiteX5675" y="connsiteY5675"/>
              </a:cxn>
              <a:cxn ang="0">
                <a:pos x="connsiteX5676" y="connsiteY5676"/>
              </a:cxn>
              <a:cxn ang="0">
                <a:pos x="connsiteX5677" y="connsiteY5677"/>
              </a:cxn>
              <a:cxn ang="0">
                <a:pos x="connsiteX5678" y="connsiteY5678"/>
              </a:cxn>
              <a:cxn ang="0">
                <a:pos x="connsiteX5679" y="connsiteY5679"/>
              </a:cxn>
              <a:cxn ang="0">
                <a:pos x="connsiteX5680" y="connsiteY5680"/>
              </a:cxn>
              <a:cxn ang="0">
                <a:pos x="connsiteX5681" y="connsiteY5681"/>
              </a:cxn>
              <a:cxn ang="0">
                <a:pos x="connsiteX5682" y="connsiteY5682"/>
              </a:cxn>
              <a:cxn ang="0">
                <a:pos x="connsiteX5683" y="connsiteY5683"/>
              </a:cxn>
              <a:cxn ang="0">
                <a:pos x="connsiteX5684" y="connsiteY5684"/>
              </a:cxn>
              <a:cxn ang="0">
                <a:pos x="connsiteX5685" y="connsiteY5685"/>
              </a:cxn>
              <a:cxn ang="0">
                <a:pos x="connsiteX5686" y="connsiteY5686"/>
              </a:cxn>
              <a:cxn ang="0">
                <a:pos x="connsiteX5687" y="connsiteY5687"/>
              </a:cxn>
              <a:cxn ang="0">
                <a:pos x="connsiteX5688" y="connsiteY5688"/>
              </a:cxn>
              <a:cxn ang="0">
                <a:pos x="connsiteX5689" y="connsiteY5689"/>
              </a:cxn>
              <a:cxn ang="0">
                <a:pos x="connsiteX5690" y="connsiteY5690"/>
              </a:cxn>
              <a:cxn ang="0">
                <a:pos x="connsiteX5691" y="connsiteY5691"/>
              </a:cxn>
              <a:cxn ang="0">
                <a:pos x="connsiteX5692" y="connsiteY5692"/>
              </a:cxn>
              <a:cxn ang="0">
                <a:pos x="connsiteX5693" y="connsiteY5693"/>
              </a:cxn>
              <a:cxn ang="0">
                <a:pos x="connsiteX5694" y="connsiteY5694"/>
              </a:cxn>
              <a:cxn ang="0">
                <a:pos x="connsiteX5695" y="connsiteY5695"/>
              </a:cxn>
              <a:cxn ang="0">
                <a:pos x="connsiteX5696" y="connsiteY5696"/>
              </a:cxn>
              <a:cxn ang="0">
                <a:pos x="connsiteX5697" y="connsiteY5697"/>
              </a:cxn>
              <a:cxn ang="0">
                <a:pos x="connsiteX5698" y="connsiteY5698"/>
              </a:cxn>
              <a:cxn ang="0">
                <a:pos x="connsiteX5699" y="connsiteY5699"/>
              </a:cxn>
              <a:cxn ang="0">
                <a:pos x="connsiteX5700" y="connsiteY5700"/>
              </a:cxn>
              <a:cxn ang="0">
                <a:pos x="connsiteX5701" y="connsiteY5701"/>
              </a:cxn>
              <a:cxn ang="0">
                <a:pos x="connsiteX5702" y="connsiteY5702"/>
              </a:cxn>
              <a:cxn ang="0">
                <a:pos x="connsiteX5703" y="connsiteY5703"/>
              </a:cxn>
              <a:cxn ang="0">
                <a:pos x="connsiteX5704" y="connsiteY5704"/>
              </a:cxn>
              <a:cxn ang="0">
                <a:pos x="connsiteX5705" y="connsiteY5705"/>
              </a:cxn>
              <a:cxn ang="0">
                <a:pos x="connsiteX5706" y="connsiteY5706"/>
              </a:cxn>
              <a:cxn ang="0">
                <a:pos x="connsiteX5707" y="connsiteY5707"/>
              </a:cxn>
              <a:cxn ang="0">
                <a:pos x="connsiteX5708" y="connsiteY5708"/>
              </a:cxn>
              <a:cxn ang="0">
                <a:pos x="connsiteX5709" y="connsiteY5709"/>
              </a:cxn>
              <a:cxn ang="0">
                <a:pos x="connsiteX5710" y="connsiteY5710"/>
              </a:cxn>
              <a:cxn ang="0">
                <a:pos x="connsiteX5711" y="connsiteY5711"/>
              </a:cxn>
              <a:cxn ang="0">
                <a:pos x="connsiteX5712" y="connsiteY5712"/>
              </a:cxn>
              <a:cxn ang="0">
                <a:pos x="connsiteX5713" y="connsiteY5713"/>
              </a:cxn>
              <a:cxn ang="0">
                <a:pos x="connsiteX5714" y="connsiteY5714"/>
              </a:cxn>
              <a:cxn ang="0">
                <a:pos x="connsiteX5715" y="connsiteY5715"/>
              </a:cxn>
              <a:cxn ang="0">
                <a:pos x="connsiteX5716" y="connsiteY5716"/>
              </a:cxn>
              <a:cxn ang="0">
                <a:pos x="connsiteX5717" y="connsiteY5717"/>
              </a:cxn>
              <a:cxn ang="0">
                <a:pos x="connsiteX5718" y="connsiteY5718"/>
              </a:cxn>
              <a:cxn ang="0">
                <a:pos x="connsiteX5719" y="connsiteY5719"/>
              </a:cxn>
              <a:cxn ang="0">
                <a:pos x="connsiteX5720" y="connsiteY5720"/>
              </a:cxn>
              <a:cxn ang="0">
                <a:pos x="connsiteX5721" y="connsiteY5721"/>
              </a:cxn>
              <a:cxn ang="0">
                <a:pos x="connsiteX5722" y="connsiteY5722"/>
              </a:cxn>
              <a:cxn ang="0">
                <a:pos x="connsiteX5723" y="connsiteY5723"/>
              </a:cxn>
              <a:cxn ang="0">
                <a:pos x="connsiteX5724" y="connsiteY5724"/>
              </a:cxn>
              <a:cxn ang="0">
                <a:pos x="connsiteX5725" y="connsiteY5725"/>
              </a:cxn>
              <a:cxn ang="0">
                <a:pos x="connsiteX5726" y="connsiteY5726"/>
              </a:cxn>
              <a:cxn ang="0">
                <a:pos x="connsiteX5727" y="connsiteY5727"/>
              </a:cxn>
              <a:cxn ang="0">
                <a:pos x="connsiteX5728" y="connsiteY5728"/>
              </a:cxn>
              <a:cxn ang="0">
                <a:pos x="connsiteX5729" y="connsiteY5729"/>
              </a:cxn>
              <a:cxn ang="0">
                <a:pos x="connsiteX5730" y="connsiteY5730"/>
              </a:cxn>
              <a:cxn ang="0">
                <a:pos x="connsiteX5731" y="connsiteY5731"/>
              </a:cxn>
              <a:cxn ang="0">
                <a:pos x="connsiteX5732" y="connsiteY5732"/>
              </a:cxn>
              <a:cxn ang="0">
                <a:pos x="connsiteX5733" y="connsiteY5733"/>
              </a:cxn>
              <a:cxn ang="0">
                <a:pos x="connsiteX5734" y="connsiteY5734"/>
              </a:cxn>
              <a:cxn ang="0">
                <a:pos x="connsiteX5735" y="connsiteY5735"/>
              </a:cxn>
              <a:cxn ang="0">
                <a:pos x="connsiteX5736" y="connsiteY5736"/>
              </a:cxn>
              <a:cxn ang="0">
                <a:pos x="connsiteX5737" y="connsiteY5737"/>
              </a:cxn>
              <a:cxn ang="0">
                <a:pos x="connsiteX5738" y="connsiteY5738"/>
              </a:cxn>
              <a:cxn ang="0">
                <a:pos x="connsiteX5739" y="connsiteY5739"/>
              </a:cxn>
              <a:cxn ang="0">
                <a:pos x="connsiteX5740" y="connsiteY5740"/>
              </a:cxn>
              <a:cxn ang="0">
                <a:pos x="connsiteX5741" y="connsiteY5741"/>
              </a:cxn>
              <a:cxn ang="0">
                <a:pos x="connsiteX5742" y="connsiteY5742"/>
              </a:cxn>
              <a:cxn ang="0">
                <a:pos x="connsiteX5743" y="connsiteY5743"/>
              </a:cxn>
              <a:cxn ang="0">
                <a:pos x="connsiteX5744" y="connsiteY5744"/>
              </a:cxn>
              <a:cxn ang="0">
                <a:pos x="connsiteX5745" y="connsiteY5745"/>
              </a:cxn>
              <a:cxn ang="0">
                <a:pos x="connsiteX5746" y="connsiteY5746"/>
              </a:cxn>
              <a:cxn ang="0">
                <a:pos x="connsiteX5747" y="connsiteY5747"/>
              </a:cxn>
              <a:cxn ang="0">
                <a:pos x="connsiteX5748" y="connsiteY5748"/>
              </a:cxn>
              <a:cxn ang="0">
                <a:pos x="connsiteX5749" y="connsiteY5749"/>
              </a:cxn>
              <a:cxn ang="0">
                <a:pos x="connsiteX5750" y="connsiteY5750"/>
              </a:cxn>
              <a:cxn ang="0">
                <a:pos x="connsiteX5751" y="connsiteY5751"/>
              </a:cxn>
              <a:cxn ang="0">
                <a:pos x="connsiteX5752" y="connsiteY5752"/>
              </a:cxn>
              <a:cxn ang="0">
                <a:pos x="connsiteX5753" y="connsiteY5753"/>
              </a:cxn>
              <a:cxn ang="0">
                <a:pos x="connsiteX5754" y="connsiteY5754"/>
              </a:cxn>
              <a:cxn ang="0">
                <a:pos x="connsiteX5755" y="connsiteY5755"/>
              </a:cxn>
              <a:cxn ang="0">
                <a:pos x="connsiteX5756" y="connsiteY5756"/>
              </a:cxn>
              <a:cxn ang="0">
                <a:pos x="connsiteX5757" y="connsiteY5757"/>
              </a:cxn>
              <a:cxn ang="0">
                <a:pos x="connsiteX5758" y="connsiteY5758"/>
              </a:cxn>
              <a:cxn ang="0">
                <a:pos x="connsiteX5759" y="connsiteY5759"/>
              </a:cxn>
              <a:cxn ang="0">
                <a:pos x="connsiteX5760" y="connsiteY5760"/>
              </a:cxn>
              <a:cxn ang="0">
                <a:pos x="connsiteX5761" y="connsiteY5761"/>
              </a:cxn>
              <a:cxn ang="0">
                <a:pos x="connsiteX5762" y="connsiteY5762"/>
              </a:cxn>
              <a:cxn ang="0">
                <a:pos x="connsiteX5763" y="connsiteY5763"/>
              </a:cxn>
              <a:cxn ang="0">
                <a:pos x="connsiteX5764" y="connsiteY5764"/>
              </a:cxn>
              <a:cxn ang="0">
                <a:pos x="connsiteX5765" y="connsiteY5765"/>
              </a:cxn>
              <a:cxn ang="0">
                <a:pos x="connsiteX5766" y="connsiteY5766"/>
              </a:cxn>
              <a:cxn ang="0">
                <a:pos x="connsiteX5767" y="connsiteY5767"/>
              </a:cxn>
              <a:cxn ang="0">
                <a:pos x="connsiteX5768" y="connsiteY5768"/>
              </a:cxn>
              <a:cxn ang="0">
                <a:pos x="connsiteX5769" y="connsiteY5769"/>
              </a:cxn>
              <a:cxn ang="0">
                <a:pos x="connsiteX5770" y="connsiteY5770"/>
              </a:cxn>
              <a:cxn ang="0">
                <a:pos x="connsiteX5771" y="connsiteY5771"/>
              </a:cxn>
              <a:cxn ang="0">
                <a:pos x="connsiteX5772" y="connsiteY5772"/>
              </a:cxn>
              <a:cxn ang="0">
                <a:pos x="connsiteX5773" y="connsiteY5773"/>
              </a:cxn>
              <a:cxn ang="0">
                <a:pos x="connsiteX5774" y="connsiteY5774"/>
              </a:cxn>
              <a:cxn ang="0">
                <a:pos x="connsiteX5775" y="connsiteY5775"/>
              </a:cxn>
              <a:cxn ang="0">
                <a:pos x="connsiteX5776" y="connsiteY5776"/>
              </a:cxn>
              <a:cxn ang="0">
                <a:pos x="connsiteX5777" y="connsiteY5777"/>
              </a:cxn>
              <a:cxn ang="0">
                <a:pos x="connsiteX5778" y="connsiteY5778"/>
              </a:cxn>
              <a:cxn ang="0">
                <a:pos x="connsiteX5779" y="connsiteY5779"/>
              </a:cxn>
              <a:cxn ang="0">
                <a:pos x="connsiteX5780" y="connsiteY5780"/>
              </a:cxn>
              <a:cxn ang="0">
                <a:pos x="connsiteX5781" y="connsiteY5781"/>
              </a:cxn>
              <a:cxn ang="0">
                <a:pos x="connsiteX5782" y="connsiteY5782"/>
              </a:cxn>
              <a:cxn ang="0">
                <a:pos x="connsiteX5783" y="connsiteY5783"/>
              </a:cxn>
              <a:cxn ang="0">
                <a:pos x="connsiteX5784" y="connsiteY5784"/>
              </a:cxn>
              <a:cxn ang="0">
                <a:pos x="connsiteX5785" y="connsiteY5785"/>
              </a:cxn>
              <a:cxn ang="0">
                <a:pos x="connsiteX5786" y="connsiteY5786"/>
              </a:cxn>
              <a:cxn ang="0">
                <a:pos x="connsiteX5787" y="connsiteY5787"/>
              </a:cxn>
              <a:cxn ang="0">
                <a:pos x="connsiteX5788" y="connsiteY5788"/>
              </a:cxn>
              <a:cxn ang="0">
                <a:pos x="connsiteX5789" y="connsiteY5789"/>
              </a:cxn>
              <a:cxn ang="0">
                <a:pos x="connsiteX5790" y="connsiteY5790"/>
              </a:cxn>
              <a:cxn ang="0">
                <a:pos x="connsiteX5791" y="connsiteY5791"/>
              </a:cxn>
              <a:cxn ang="0">
                <a:pos x="connsiteX5792" y="connsiteY5792"/>
              </a:cxn>
              <a:cxn ang="0">
                <a:pos x="connsiteX5793" y="connsiteY5793"/>
              </a:cxn>
              <a:cxn ang="0">
                <a:pos x="connsiteX5794" y="connsiteY5794"/>
              </a:cxn>
              <a:cxn ang="0">
                <a:pos x="connsiteX5795" y="connsiteY5795"/>
              </a:cxn>
              <a:cxn ang="0">
                <a:pos x="connsiteX5796" y="connsiteY5796"/>
              </a:cxn>
              <a:cxn ang="0">
                <a:pos x="connsiteX5797" y="connsiteY5797"/>
              </a:cxn>
              <a:cxn ang="0">
                <a:pos x="connsiteX5798" y="connsiteY5798"/>
              </a:cxn>
              <a:cxn ang="0">
                <a:pos x="connsiteX5799" y="connsiteY5799"/>
              </a:cxn>
              <a:cxn ang="0">
                <a:pos x="connsiteX5800" y="connsiteY5800"/>
              </a:cxn>
              <a:cxn ang="0">
                <a:pos x="connsiteX5801" y="connsiteY5801"/>
              </a:cxn>
              <a:cxn ang="0">
                <a:pos x="connsiteX5802" y="connsiteY5802"/>
              </a:cxn>
              <a:cxn ang="0">
                <a:pos x="connsiteX5803" y="connsiteY5803"/>
              </a:cxn>
              <a:cxn ang="0">
                <a:pos x="connsiteX5804" y="connsiteY5804"/>
              </a:cxn>
              <a:cxn ang="0">
                <a:pos x="connsiteX5805" y="connsiteY5805"/>
              </a:cxn>
              <a:cxn ang="0">
                <a:pos x="connsiteX5806" y="connsiteY5806"/>
              </a:cxn>
              <a:cxn ang="0">
                <a:pos x="connsiteX5807" y="connsiteY5807"/>
              </a:cxn>
              <a:cxn ang="0">
                <a:pos x="connsiteX5808" y="connsiteY5808"/>
              </a:cxn>
              <a:cxn ang="0">
                <a:pos x="connsiteX5809" y="connsiteY5809"/>
              </a:cxn>
              <a:cxn ang="0">
                <a:pos x="connsiteX5810" y="connsiteY5810"/>
              </a:cxn>
              <a:cxn ang="0">
                <a:pos x="connsiteX5811" y="connsiteY5811"/>
              </a:cxn>
              <a:cxn ang="0">
                <a:pos x="connsiteX5812" y="connsiteY5812"/>
              </a:cxn>
              <a:cxn ang="0">
                <a:pos x="connsiteX5813" y="connsiteY5813"/>
              </a:cxn>
              <a:cxn ang="0">
                <a:pos x="connsiteX5814" y="connsiteY5814"/>
              </a:cxn>
              <a:cxn ang="0">
                <a:pos x="connsiteX5815" y="connsiteY5815"/>
              </a:cxn>
              <a:cxn ang="0">
                <a:pos x="connsiteX5816" y="connsiteY5816"/>
              </a:cxn>
              <a:cxn ang="0">
                <a:pos x="connsiteX5817" y="connsiteY5817"/>
              </a:cxn>
              <a:cxn ang="0">
                <a:pos x="connsiteX5818" y="connsiteY5818"/>
              </a:cxn>
              <a:cxn ang="0">
                <a:pos x="connsiteX5819" y="connsiteY5819"/>
              </a:cxn>
              <a:cxn ang="0">
                <a:pos x="connsiteX5820" y="connsiteY5820"/>
              </a:cxn>
              <a:cxn ang="0">
                <a:pos x="connsiteX5821" y="connsiteY5821"/>
              </a:cxn>
              <a:cxn ang="0">
                <a:pos x="connsiteX5822" y="connsiteY5822"/>
              </a:cxn>
              <a:cxn ang="0">
                <a:pos x="connsiteX5823" y="connsiteY5823"/>
              </a:cxn>
              <a:cxn ang="0">
                <a:pos x="connsiteX5824" y="connsiteY5824"/>
              </a:cxn>
              <a:cxn ang="0">
                <a:pos x="connsiteX5825" y="connsiteY5825"/>
              </a:cxn>
              <a:cxn ang="0">
                <a:pos x="connsiteX5826" y="connsiteY5826"/>
              </a:cxn>
              <a:cxn ang="0">
                <a:pos x="connsiteX5827" y="connsiteY5827"/>
              </a:cxn>
              <a:cxn ang="0">
                <a:pos x="connsiteX5828" y="connsiteY5828"/>
              </a:cxn>
              <a:cxn ang="0">
                <a:pos x="connsiteX5829" y="connsiteY5829"/>
              </a:cxn>
              <a:cxn ang="0">
                <a:pos x="connsiteX5830" y="connsiteY5830"/>
              </a:cxn>
              <a:cxn ang="0">
                <a:pos x="connsiteX5831" y="connsiteY5831"/>
              </a:cxn>
              <a:cxn ang="0">
                <a:pos x="connsiteX5832" y="connsiteY5832"/>
              </a:cxn>
              <a:cxn ang="0">
                <a:pos x="connsiteX5833" y="connsiteY5833"/>
              </a:cxn>
              <a:cxn ang="0">
                <a:pos x="connsiteX5834" y="connsiteY5834"/>
              </a:cxn>
              <a:cxn ang="0">
                <a:pos x="connsiteX5835" y="connsiteY5835"/>
              </a:cxn>
              <a:cxn ang="0">
                <a:pos x="connsiteX5836" y="connsiteY5836"/>
              </a:cxn>
              <a:cxn ang="0">
                <a:pos x="connsiteX5837" y="connsiteY5837"/>
              </a:cxn>
              <a:cxn ang="0">
                <a:pos x="connsiteX5838" y="connsiteY5838"/>
              </a:cxn>
              <a:cxn ang="0">
                <a:pos x="connsiteX5839" y="connsiteY5839"/>
              </a:cxn>
              <a:cxn ang="0">
                <a:pos x="connsiteX5840" y="connsiteY5840"/>
              </a:cxn>
              <a:cxn ang="0">
                <a:pos x="connsiteX5841" y="connsiteY5841"/>
              </a:cxn>
              <a:cxn ang="0">
                <a:pos x="connsiteX5842" y="connsiteY5842"/>
              </a:cxn>
              <a:cxn ang="0">
                <a:pos x="connsiteX5843" y="connsiteY5843"/>
              </a:cxn>
              <a:cxn ang="0">
                <a:pos x="connsiteX5844" y="connsiteY5844"/>
              </a:cxn>
              <a:cxn ang="0">
                <a:pos x="connsiteX5845" y="connsiteY5845"/>
              </a:cxn>
              <a:cxn ang="0">
                <a:pos x="connsiteX5846" y="connsiteY5846"/>
              </a:cxn>
              <a:cxn ang="0">
                <a:pos x="connsiteX5847" y="connsiteY5847"/>
              </a:cxn>
              <a:cxn ang="0">
                <a:pos x="connsiteX5848" y="connsiteY5848"/>
              </a:cxn>
              <a:cxn ang="0">
                <a:pos x="connsiteX5849" y="connsiteY5849"/>
              </a:cxn>
              <a:cxn ang="0">
                <a:pos x="connsiteX5850" y="connsiteY5850"/>
              </a:cxn>
              <a:cxn ang="0">
                <a:pos x="connsiteX5851" y="connsiteY5851"/>
              </a:cxn>
              <a:cxn ang="0">
                <a:pos x="connsiteX5852" y="connsiteY5852"/>
              </a:cxn>
              <a:cxn ang="0">
                <a:pos x="connsiteX5853" y="connsiteY5853"/>
              </a:cxn>
              <a:cxn ang="0">
                <a:pos x="connsiteX5854" y="connsiteY5854"/>
              </a:cxn>
              <a:cxn ang="0">
                <a:pos x="connsiteX5855" y="connsiteY5855"/>
              </a:cxn>
              <a:cxn ang="0">
                <a:pos x="connsiteX5856" y="connsiteY5856"/>
              </a:cxn>
              <a:cxn ang="0">
                <a:pos x="connsiteX5857" y="connsiteY5857"/>
              </a:cxn>
              <a:cxn ang="0">
                <a:pos x="connsiteX5858" y="connsiteY5858"/>
              </a:cxn>
              <a:cxn ang="0">
                <a:pos x="connsiteX5859" y="connsiteY5859"/>
              </a:cxn>
              <a:cxn ang="0">
                <a:pos x="connsiteX5860" y="connsiteY5860"/>
              </a:cxn>
              <a:cxn ang="0">
                <a:pos x="connsiteX5861" y="connsiteY5861"/>
              </a:cxn>
              <a:cxn ang="0">
                <a:pos x="connsiteX5862" y="connsiteY5862"/>
              </a:cxn>
              <a:cxn ang="0">
                <a:pos x="connsiteX5863" y="connsiteY5863"/>
              </a:cxn>
              <a:cxn ang="0">
                <a:pos x="connsiteX5864" y="connsiteY5864"/>
              </a:cxn>
              <a:cxn ang="0">
                <a:pos x="connsiteX5865" y="connsiteY5865"/>
              </a:cxn>
              <a:cxn ang="0">
                <a:pos x="connsiteX5866" y="connsiteY5866"/>
              </a:cxn>
              <a:cxn ang="0">
                <a:pos x="connsiteX5867" y="connsiteY5867"/>
              </a:cxn>
              <a:cxn ang="0">
                <a:pos x="connsiteX5868" y="connsiteY5868"/>
              </a:cxn>
              <a:cxn ang="0">
                <a:pos x="connsiteX5869" y="connsiteY5869"/>
              </a:cxn>
              <a:cxn ang="0">
                <a:pos x="connsiteX5870" y="connsiteY5870"/>
              </a:cxn>
              <a:cxn ang="0">
                <a:pos x="connsiteX5871" y="connsiteY5871"/>
              </a:cxn>
              <a:cxn ang="0">
                <a:pos x="connsiteX5872" y="connsiteY5872"/>
              </a:cxn>
              <a:cxn ang="0">
                <a:pos x="connsiteX5873" y="connsiteY5873"/>
              </a:cxn>
              <a:cxn ang="0">
                <a:pos x="connsiteX5874" y="connsiteY5874"/>
              </a:cxn>
              <a:cxn ang="0">
                <a:pos x="connsiteX5875" y="connsiteY5875"/>
              </a:cxn>
              <a:cxn ang="0">
                <a:pos x="connsiteX5876" y="connsiteY5876"/>
              </a:cxn>
              <a:cxn ang="0">
                <a:pos x="connsiteX5877" y="connsiteY5877"/>
              </a:cxn>
              <a:cxn ang="0">
                <a:pos x="connsiteX5878" y="connsiteY5878"/>
              </a:cxn>
              <a:cxn ang="0">
                <a:pos x="connsiteX5879" y="connsiteY5879"/>
              </a:cxn>
              <a:cxn ang="0">
                <a:pos x="connsiteX5880" y="connsiteY5880"/>
              </a:cxn>
              <a:cxn ang="0">
                <a:pos x="connsiteX5881" y="connsiteY5881"/>
              </a:cxn>
              <a:cxn ang="0">
                <a:pos x="connsiteX5882" y="connsiteY5882"/>
              </a:cxn>
              <a:cxn ang="0">
                <a:pos x="connsiteX5883" y="connsiteY5883"/>
              </a:cxn>
              <a:cxn ang="0">
                <a:pos x="connsiteX5884" y="connsiteY5884"/>
              </a:cxn>
              <a:cxn ang="0">
                <a:pos x="connsiteX5885" y="connsiteY5885"/>
              </a:cxn>
              <a:cxn ang="0">
                <a:pos x="connsiteX5886" y="connsiteY5886"/>
              </a:cxn>
              <a:cxn ang="0">
                <a:pos x="connsiteX5887" y="connsiteY5887"/>
              </a:cxn>
              <a:cxn ang="0">
                <a:pos x="connsiteX5888" y="connsiteY5888"/>
              </a:cxn>
              <a:cxn ang="0">
                <a:pos x="connsiteX5889" y="connsiteY5889"/>
              </a:cxn>
              <a:cxn ang="0">
                <a:pos x="connsiteX5890" y="connsiteY5890"/>
              </a:cxn>
              <a:cxn ang="0">
                <a:pos x="connsiteX5891" y="connsiteY5891"/>
              </a:cxn>
              <a:cxn ang="0">
                <a:pos x="connsiteX5892" y="connsiteY5892"/>
              </a:cxn>
              <a:cxn ang="0">
                <a:pos x="connsiteX5893" y="connsiteY5893"/>
              </a:cxn>
              <a:cxn ang="0">
                <a:pos x="connsiteX5894" y="connsiteY5894"/>
              </a:cxn>
              <a:cxn ang="0">
                <a:pos x="connsiteX5895" y="connsiteY5895"/>
              </a:cxn>
              <a:cxn ang="0">
                <a:pos x="connsiteX5896" y="connsiteY5896"/>
              </a:cxn>
              <a:cxn ang="0">
                <a:pos x="connsiteX5897" y="connsiteY5897"/>
              </a:cxn>
              <a:cxn ang="0">
                <a:pos x="connsiteX5898" y="connsiteY5898"/>
              </a:cxn>
              <a:cxn ang="0">
                <a:pos x="connsiteX5899" y="connsiteY5899"/>
              </a:cxn>
              <a:cxn ang="0">
                <a:pos x="connsiteX5900" y="connsiteY5900"/>
              </a:cxn>
              <a:cxn ang="0">
                <a:pos x="connsiteX5901" y="connsiteY5901"/>
              </a:cxn>
              <a:cxn ang="0">
                <a:pos x="connsiteX5902" y="connsiteY5902"/>
              </a:cxn>
              <a:cxn ang="0">
                <a:pos x="connsiteX5903" y="connsiteY5903"/>
              </a:cxn>
              <a:cxn ang="0">
                <a:pos x="connsiteX5904" y="connsiteY5904"/>
              </a:cxn>
              <a:cxn ang="0">
                <a:pos x="connsiteX5905" y="connsiteY5905"/>
              </a:cxn>
              <a:cxn ang="0">
                <a:pos x="connsiteX5906" y="connsiteY5906"/>
              </a:cxn>
              <a:cxn ang="0">
                <a:pos x="connsiteX5907" y="connsiteY5907"/>
              </a:cxn>
              <a:cxn ang="0">
                <a:pos x="connsiteX5908" y="connsiteY5908"/>
              </a:cxn>
              <a:cxn ang="0">
                <a:pos x="connsiteX5909" y="connsiteY5909"/>
              </a:cxn>
              <a:cxn ang="0">
                <a:pos x="connsiteX5910" y="connsiteY5910"/>
              </a:cxn>
              <a:cxn ang="0">
                <a:pos x="connsiteX5911" y="connsiteY5911"/>
              </a:cxn>
              <a:cxn ang="0">
                <a:pos x="connsiteX5912" y="connsiteY5912"/>
              </a:cxn>
              <a:cxn ang="0">
                <a:pos x="connsiteX5913" y="connsiteY5913"/>
              </a:cxn>
              <a:cxn ang="0">
                <a:pos x="connsiteX5914" y="connsiteY5914"/>
              </a:cxn>
              <a:cxn ang="0">
                <a:pos x="connsiteX5915" y="connsiteY5915"/>
              </a:cxn>
              <a:cxn ang="0">
                <a:pos x="connsiteX5916" y="connsiteY5916"/>
              </a:cxn>
              <a:cxn ang="0">
                <a:pos x="connsiteX5917" y="connsiteY5917"/>
              </a:cxn>
              <a:cxn ang="0">
                <a:pos x="connsiteX5918" y="connsiteY5918"/>
              </a:cxn>
              <a:cxn ang="0">
                <a:pos x="connsiteX5919" y="connsiteY5919"/>
              </a:cxn>
              <a:cxn ang="0">
                <a:pos x="connsiteX5920" y="connsiteY5920"/>
              </a:cxn>
              <a:cxn ang="0">
                <a:pos x="connsiteX5921" y="connsiteY5921"/>
              </a:cxn>
              <a:cxn ang="0">
                <a:pos x="connsiteX5922" y="connsiteY5922"/>
              </a:cxn>
              <a:cxn ang="0">
                <a:pos x="connsiteX5923" y="connsiteY5923"/>
              </a:cxn>
              <a:cxn ang="0">
                <a:pos x="connsiteX5924" y="connsiteY5924"/>
              </a:cxn>
              <a:cxn ang="0">
                <a:pos x="connsiteX5925" y="connsiteY5925"/>
              </a:cxn>
              <a:cxn ang="0">
                <a:pos x="connsiteX5926" y="connsiteY5926"/>
              </a:cxn>
              <a:cxn ang="0">
                <a:pos x="connsiteX5927" y="connsiteY5927"/>
              </a:cxn>
              <a:cxn ang="0">
                <a:pos x="connsiteX5928" y="connsiteY5928"/>
              </a:cxn>
              <a:cxn ang="0">
                <a:pos x="connsiteX5929" y="connsiteY5929"/>
              </a:cxn>
              <a:cxn ang="0">
                <a:pos x="connsiteX5930" y="connsiteY5930"/>
              </a:cxn>
              <a:cxn ang="0">
                <a:pos x="connsiteX5931" y="connsiteY5931"/>
              </a:cxn>
              <a:cxn ang="0">
                <a:pos x="connsiteX5932" y="connsiteY5932"/>
              </a:cxn>
              <a:cxn ang="0">
                <a:pos x="connsiteX5933" y="connsiteY5933"/>
              </a:cxn>
              <a:cxn ang="0">
                <a:pos x="connsiteX5934" y="connsiteY5934"/>
              </a:cxn>
              <a:cxn ang="0">
                <a:pos x="connsiteX5935" y="connsiteY5935"/>
              </a:cxn>
              <a:cxn ang="0">
                <a:pos x="connsiteX5936" y="connsiteY5936"/>
              </a:cxn>
              <a:cxn ang="0">
                <a:pos x="connsiteX5937" y="connsiteY5937"/>
              </a:cxn>
              <a:cxn ang="0">
                <a:pos x="connsiteX5938" y="connsiteY5938"/>
              </a:cxn>
              <a:cxn ang="0">
                <a:pos x="connsiteX5939" y="connsiteY5939"/>
              </a:cxn>
              <a:cxn ang="0">
                <a:pos x="connsiteX5940" y="connsiteY5940"/>
              </a:cxn>
              <a:cxn ang="0">
                <a:pos x="connsiteX5941" y="connsiteY5941"/>
              </a:cxn>
              <a:cxn ang="0">
                <a:pos x="connsiteX5942" y="connsiteY5942"/>
              </a:cxn>
              <a:cxn ang="0">
                <a:pos x="connsiteX5943" y="connsiteY5943"/>
              </a:cxn>
              <a:cxn ang="0">
                <a:pos x="connsiteX5944" y="connsiteY5944"/>
              </a:cxn>
              <a:cxn ang="0">
                <a:pos x="connsiteX5945" y="connsiteY5945"/>
              </a:cxn>
              <a:cxn ang="0">
                <a:pos x="connsiteX5946" y="connsiteY5946"/>
              </a:cxn>
              <a:cxn ang="0">
                <a:pos x="connsiteX5947" y="connsiteY5947"/>
              </a:cxn>
              <a:cxn ang="0">
                <a:pos x="connsiteX5948" y="connsiteY5948"/>
              </a:cxn>
              <a:cxn ang="0">
                <a:pos x="connsiteX5949" y="connsiteY5949"/>
              </a:cxn>
              <a:cxn ang="0">
                <a:pos x="connsiteX5950" y="connsiteY5950"/>
              </a:cxn>
              <a:cxn ang="0">
                <a:pos x="connsiteX5951" y="connsiteY5951"/>
              </a:cxn>
              <a:cxn ang="0">
                <a:pos x="connsiteX5952" y="connsiteY5952"/>
              </a:cxn>
              <a:cxn ang="0">
                <a:pos x="connsiteX5953" y="connsiteY5953"/>
              </a:cxn>
              <a:cxn ang="0">
                <a:pos x="connsiteX5954" y="connsiteY5954"/>
              </a:cxn>
              <a:cxn ang="0">
                <a:pos x="connsiteX5955" y="connsiteY5955"/>
              </a:cxn>
              <a:cxn ang="0">
                <a:pos x="connsiteX5956" y="connsiteY5956"/>
              </a:cxn>
              <a:cxn ang="0">
                <a:pos x="connsiteX5957" y="connsiteY5957"/>
              </a:cxn>
              <a:cxn ang="0">
                <a:pos x="connsiteX5958" y="connsiteY5958"/>
              </a:cxn>
              <a:cxn ang="0">
                <a:pos x="connsiteX5959" y="connsiteY5959"/>
              </a:cxn>
              <a:cxn ang="0">
                <a:pos x="connsiteX5960" y="connsiteY5960"/>
              </a:cxn>
              <a:cxn ang="0">
                <a:pos x="connsiteX5961" y="connsiteY5961"/>
              </a:cxn>
              <a:cxn ang="0">
                <a:pos x="connsiteX5962" y="connsiteY5962"/>
              </a:cxn>
              <a:cxn ang="0">
                <a:pos x="connsiteX5963" y="connsiteY5963"/>
              </a:cxn>
              <a:cxn ang="0">
                <a:pos x="connsiteX5964" y="connsiteY5964"/>
              </a:cxn>
              <a:cxn ang="0">
                <a:pos x="connsiteX5965" y="connsiteY5965"/>
              </a:cxn>
              <a:cxn ang="0">
                <a:pos x="connsiteX5966" y="connsiteY5966"/>
              </a:cxn>
              <a:cxn ang="0">
                <a:pos x="connsiteX5967" y="connsiteY5967"/>
              </a:cxn>
              <a:cxn ang="0">
                <a:pos x="connsiteX5968" y="connsiteY5968"/>
              </a:cxn>
              <a:cxn ang="0">
                <a:pos x="connsiteX5969" y="connsiteY5969"/>
              </a:cxn>
              <a:cxn ang="0">
                <a:pos x="connsiteX5970" y="connsiteY5970"/>
              </a:cxn>
              <a:cxn ang="0">
                <a:pos x="connsiteX5971" y="connsiteY5971"/>
              </a:cxn>
              <a:cxn ang="0">
                <a:pos x="connsiteX5972" y="connsiteY5972"/>
              </a:cxn>
              <a:cxn ang="0">
                <a:pos x="connsiteX5973" y="connsiteY5973"/>
              </a:cxn>
              <a:cxn ang="0">
                <a:pos x="connsiteX5974" y="connsiteY5974"/>
              </a:cxn>
              <a:cxn ang="0">
                <a:pos x="connsiteX5975" y="connsiteY5975"/>
              </a:cxn>
              <a:cxn ang="0">
                <a:pos x="connsiteX5976" y="connsiteY5976"/>
              </a:cxn>
              <a:cxn ang="0">
                <a:pos x="connsiteX5977" y="connsiteY5977"/>
              </a:cxn>
              <a:cxn ang="0">
                <a:pos x="connsiteX5978" y="connsiteY5978"/>
              </a:cxn>
              <a:cxn ang="0">
                <a:pos x="connsiteX5979" y="connsiteY5979"/>
              </a:cxn>
              <a:cxn ang="0">
                <a:pos x="connsiteX5980" y="connsiteY5980"/>
              </a:cxn>
              <a:cxn ang="0">
                <a:pos x="connsiteX5981" y="connsiteY5981"/>
              </a:cxn>
              <a:cxn ang="0">
                <a:pos x="connsiteX5982" y="connsiteY5982"/>
              </a:cxn>
              <a:cxn ang="0">
                <a:pos x="connsiteX5983" y="connsiteY5983"/>
              </a:cxn>
              <a:cxn ang="0">
                <a:pos x="connsiteX5984" y="connsiteY5984"/>
              </a:cxn>
              <a:cxn ang="0">
                <a:pos x="connsiteX5985" y="connsiteY5985"/>
              </a:cxn>
              <a:cxn ang="0">
                <a:pos x="connsiteX5986" y="connsiteY5986"/>
              </a:cxn>
              <a:cxn ang="0">
                <a:pos x="connsiteX5987" y="connsiteY5987"/>
              </a:cxn>
              <a:cxn ang="0">
                <a:pos x="connsiteX5988" y="connsiteY5988"/>
              </a:cxn>
              <a:cxn ang="0">
                <a:pos x="connsiteX5989" y="connsiteY5989"/>
              </a:cxn>
              <a:cxn ang="0">
                <a:pos x="connsiteX5990" y="connsiteY5990"/>
              </a:cxn>
              <a:cxn ang="0">
                <a:pos x="connsiteX5991" y="connsiteY5991"/>
              </a:cxn>
              <a:cxn ang="0">
                <a:pos x="connsiteX5992" y="connsiteY5992"/>
              </a:cxn>
              <a:cxn ang="0">
                <a:pos x="connsiteX5993" y="connsiteY5993"/>
              </a:cxn>
              <a:cxn ang="0">
                <a:pos x="connsiteX5994" y="connsiteY5994"/>
              </a:cxn>
              <a:cxn ang="0">
                <a:pos x="connsiteX5995" y="connsiteY5995"/>
              </a:cxn>
              <a:cxn ang="0">
                <a:pos x="connsiteX5996" y="connsiteY5996"/>
              </a:cxn>
              <a:cxn ang="0">
                <a:pos x="connsiteX5997" y="connsiteY5997"/>
              </a:cxn>
              <a:cxn ang="0">
                <a:pos x="connsiteX5998" y="connsiteY5998"/>
              </a:cxn>
              <a:cxn ang="0">
                <a:pos x="connsiteX5999" y="connsiteY5999"/>
              </a:cxn>
              <a:cxn ang="0">
                <a:pos x="connsiteX6000" y="connsiteY6000"/>
              </a:cxn>
              <a:cxn ang="0">
                <a:pos x="connsiteX6001" y="connsiteY6001"/>
              </a:cxn>
              <a:cxn ang="0">
                <a:pos x="connsiteX6002" y="connsiteY6002"/>
              </a:cxn>
              <a:cxn ang="0">
                <a:pos x="connsiteX6003" y="connsiteY6003"/>
              </a:cxn>
              <a:cxn ang="0">
                <a:pos x="connsiteX6004" y="connsiteY6004"/>
              </a:cxn>
              <a:cxn ang="0">
                <a:pos x="connsiteX6005" y="connsiteY6005"/>
              </a:cxn>
              <a:cxn ang="0">
                <a:pos x="connsiteX6006" y="connsiteY6006"/>
              </a:cxn>
              <a:cxn ang="0">
                <a:pos x="connsiteX6007" y="connsiteY6007"/>
              </a:cxn>
              <a:cxn ang="0">
                <a:pos x="connsiteX6008" y="connsiteY6008"/>
              </a:cxn>
              <a:cxn ang="0">
                <a:pos x="connsiteX6009" y="connsiteY6009"/>
              </a:cxn>
              <a:cxn ang="0">
                <a:pos x="connsiteX6010" y="connsiteY6010"/>
              </a:cxn>
              <a:cxn ang="0">
                <a:pos x="connsiteX6011" y="connsiteY6011"/>
              </a:cxn>
              <a:cxn ang="0">
                <a:pos x="connsiteX6012" y="connsiteY6012"/>
              </a:cxn>
              <a:cxn ang="0">
                <a:pos x="connsiteX6013" y="connsiteY6013"/>
              </a:cxn>
              <a:cxn ang="0">
                <a:pos x="connsiteX6014" y="connsiteY6014"/>
              </a:cxn>
              <a:cxn ang="0">
                <a:pos x="connsiteX6015" y="connsiteY6015"/>
              </a:cxn>
              <a:cxn ang="0">
                <a:pos x="connsiteX6016" y="connsiteY6016"/>
              </a:cxn>
              <a:cxn ang="0">
                <a:pos x="connsiteX6017" y="connsiteY6017"/>
              </a:cxn>
              <a:cxn ang="0">
                <a:pos x="connsiteX6018" y="connsiteY6018"/>
              </a:cxn>
              <a:cxn ang="0">
                <a:pos x="connsiteX6019" y="connsiteY6019"/>
              </a:cxn>
              <a:cxn ang="0">
                <a:pos x="connsiteX6020" y="connsiteY6020"/>
              </a:cxn>
              <a:cxn ang="0">
                <a:pos x="connsiteX6021" y="connsiteY6021"/>
              </a:cxn>
              <a:cxn ang="0">
                <a:pos x="connsiteX6022" y="connsiteY6022"/>
              </a:cxn>
              <a:cxn ang="0">
                <a:pos x="connsiteX6023" y="connsiteY6023"/>
              </a:cxn>
              <a:cxn ang="0">
                <a:pos x="connsiteX6024" y="connsiteY6024"/>
              </a:cxn>
              <a:cxn ang="0">
                <a:pos x="connsiteX6025" y="connsiteY6025"/>
              </a:cxn>
              <a:cxn ang="0">
                <a:pos x="connsiteX6026" y="connsiteY6026"/>
              </a:cxn>
              <a:cxn ang="0">
                <a:pos x="connsiteX6027" y="connsiteY6027"/>
              </a:cxn>
              <a:cxn ang="0">
                <a:pos x="connsiteX6028" y="connsiteY6028"/>
              </a:cxn>
              <a:cxn ang="0">
                <a:pos x="connsiteX6029" y="connsiteY6029"/>
              </a:cxn>
              <a:cxn ang="0">
                <a:pos x="connsiteX6030" y="connsiteY6030"/>
              </a:cxn>
              <a:cxn ang="0">
                <a:pos x="connsiteX6031" y="connsiteY6031"/>
              </a:cxn>
              <a:cxn ang="0">
                <a:pos x="connsiteX6032" y="connsiteY6032"/>
              </a:cxn>
              <a:cxn ang="0">
                <a:pos x="connsiteX6033" y="connsiteY6033"/>
              </a:cxn>
              <a:cxn ang="0">
                <a:pos x="connsiteX6034" y="connsiteY6034"/>
              </a:cxn>
              <a:cxn ang="0">
                <a:pos x="connsiteX6035" y="connsiteY6035"/>
              </a:cxn>
              <a:cxn ang="0">
                <a:pos x="connsiteX6036" y="connsiteY6036"/>
              </a:cxn>
              <a:cxn ang="0">
                <a:pos x="connsiteX6037" y="connsiteY6037"/>
              </a:cxn>
              <a:cxn ang="0">
                <a:pos x="connsiteX6038" y="connsiteY6038"/>
              </a:cxn>
              <a:cxn ang="0">
                <a:pos x="connsiteX6039" y="connsiteY6039"/>
              </a:cxn>
              <a:cxn ang="0">
                <a:pos x="connsiteX6040" y="connsiteY6040"/>
              </a:cxn>
              <a:cxn ang="0">
                <a:pos x="connsiteX6041" y="connsiteY6041"/>
              </a:cxn>
              <a:cxn ang="0">
                <a:pos x="connsiteX6042" y="connsiteY6042"/>
              </a:cxn>
              <a:cxn ang="0">
                <a:pos x="connsiteX6043" y="connsiteY6043"/>
              </a:cxn>
              <a:cxn ang="0">
                <a:pos x="connsiteX6044" y="connsiteY6044"/>
              </a:cxn>
              <a:cxn ang="0">
                <a:pos x="connsiteX6045" y="connsiteY6045"/>
              </a:cxn>
              <a:cxn ang="0">
                <a:pos x="connsiteX6046" y="connsiteY6046"/>
              </a:cxn>
              <a:cxn ang="0">
                <a:pos x="connsiteX6047" y="connsiteY6047"/>
              </a:cxn>
              <a:cxn ang="0">
                <a:pos x="connsiteX6048" y="connsiteY6048"/>
              </a:cxn>
              <a:cxn ang="0">
                <a:pos x="connsiteX6049" y="connsiteY6049"/>
              </a:cxn>
              <a:cxn ang="0">
                <a:pos x="connsiteX6050" y="connsiteY6050"/>
              </a:cxn>
              <a:cxn ang="0">
                <a:pos x="connsiteX6051" y="connsiteY6051"/>
              </a:cxn>
              <a:cxn ang="0">
                <a:pos x="connsiteX6052" y="connsiteY6052"/>
              </a:cxn>
              <a:cxn ang="0">
                <a:pos x="connsiteX6053" y="connsiteY6053"/>
              </a:cxn>
              <a:cxn ang="0">
                <a:pos x="connsiteX6054" y="connsiteY6054"/>
              </a:cxn>
              <a:cxn ang="0">
                <a:pos x="connsiteX6055" y="connsiteY6055"/>
              </a:cxn>
              <a:cxn ang="0">
                <a:pos x="connsiteX6056" y="connsiteY6056"/>
              </a:cxn>
              <a:cxn ang="0">
                <a:pos x="connsiteX6057" y="connsiteY6057"/>
              </a:cxn>
              <a:cxn ang="0">
                <a:pos x="connsiteX6058" y="connsiteY6058"/>
              </a:cxn>
              <a:cxn ang="0">
                <a:pos x="connsiteX6059" y="connsiteY6059"/>
              </a:cxn>
              <a:cxn ang="0">
                <a:pos x="connsiteX6060" y="connsiteY6060"/>
              </a:cxn>
              <a:cxn ang="0">
                <a:pos x="connsiteX6061" y="connsiteY6061"/>
              </a:cxn>
              <a:cxn ang="0">
                <a:pos x="connsiteX6062" y="connsiteY6062"/>
              </a:cxn>
              <a:cxn ang="0">
                <a:pos x="connsiteX6063" y="connsiteY6063"/>
              </a:cxn>
              <a:cxn ang="0">
                <a:pos x="connsiteX6064" y="connsiteY6064"/>
              </a:cxn>
              <a:cxn ang="0">
                <a:pos x="connsiteX6065" y="connsiteY6065"/>
              </a:cxn>
              <a:cxn ang="0">
                <a:pos x="connsiteX6066" y="connsiteY6066"/>
              </a:cxn>
              <a:cxn ang="0">
                <a:pos x="connsiteX6067" y="connsiteY6067"/>
              </a:cxn>
              <a:cxn ang="0">
                <a:pos x="connsiteX6068" y="connsiteY6068"/>
              </a:cxn>
              <a:cxn ang="0">
                <a:pos x="connsiteX6069" y="connsiteY6069"/>
              </a:cxn>
              <a:cxn ang="0">
                <a:pos x="connsiteX6070" y="connsiteY6070"/>
              </a:cxn>
              <a:cxn ang="0">
                <a:pos x="connsiteX6071" y="connsiteY6071"/>
              </a:cxn>
              <a:cxn ang="0">
                <a:pos x="connsiteX6072" y="connsiteY6072"/>
              </a:cxn>
              <a:cxn ang="0">
                <a:pos x="connsiteX6073" y="connsiteY6073"/>
              </a:cxn>
              <a:cxn ang="0">
                <a:pos x="connsiteX6074" y="connsiteY6074"/>
              </a:cxn>
              <a:cxn ang="0">
                <a:pos x="connsiteX6075" y="connsiteY6075"/>
              </a:cxn>
              <a:cxn ang="0">
                <a:pos x="connsiteX6076" y="connsiteY6076"/>
              </a:cxn>
              <a:cxn ang="0">
                <a:pos x="connsiteX6077" y="connsiteY6077"/>
              </a:cxn>
              <a:cxn ang="0">
                <a:pos x="connsiteX6078" y="connsiteY6078"/>
              </a:cxn>
              <a:cxn ang="0">
                <a:pos x="connsiteX6079" y="connsiteY6079"/>
              </a:cxn>
              <a:cxn ang="0">
                <a:pos x="connsiteX6080" y="connsiteY6080"/>
              </a:cxn>
              <a:cxn ang="0">
                <a:pos x="connsiteX6081" y="connsiteY6081"/>
              </a:cxn>
              <a:cxn ang="0">
                <a:pos x="connsiteX6082" y="connsiteY6082"/>
              </a:cxn>
              <a:cxn ang="0">
                <a:pos x="connsiteX6083" y="connsiteY6083"/>
              </a:cxn>
              <a:cxn ang="0">
                <a:pos x="connsiteX6084" y="connsiteY6084"/>
              </a:cxn>
              <a:cxn ang="0">
                <a:pos x="connsiteX6085" y="connsiteY6085"/>
              </a:cxn>
              <a:cxn ang="0">
                <a:pos x="connsiteX6086" y="connsiteY6086"/>
              </a:cxn>
              <a:cxn ang="0">
                <a:pos x="connsiteX6087" y="connsiteY6087"/>
              </a:cxn>
              <a:cxn ang="0">
                <a:pos x="connsiteX6088" y="connsiteY6088"/>
              </a:cxn>
              <a:cxn ang="0">
                <a:pos x="connsiteX6089" y="connsiteY6089"/>
              </a:cxn>
              <a:cxn ang="0">
                <a:pos x="connsiteX6090" y="connsiteY6090"/>
              </a:cxn>
              <a:cxn ang="0">
                <a:pos x="connsiteX6091" y="connsiteY6091"/>
              </a:cxn>
              <a:cxn ang="0">
                <a:pos x="connsiteX6092" y="connsiteY6092"/>
              </a:cxn>
              <a:cxn ang="0">
                <a:pos x="connsiteX6093" y="connsiteY6093"/>
              </a:cxn>
              <a:cxn ang="0">
                <a:pos x="connsiteX6094" y="connsiteY6094"/>
              </a:cxn>
              <a:cxn ang="0">
                <a:pos x="connsiteX6095" y="connsiteY6095"/>
              </a:cxn>
              <a:cxn ang="0">
                <a:pos x="connsiteX6096" y="connsiteY6096"/>
              </a:cxn>
              <a:cxn ang="0">
                <a:pos x="connsiteX6097" y="connsiteY6097"/>
              </a:cxn>
              <a:cxn ang="0">
                <a:pos x="connsiteX6098" y="connsiteY6098"/>
              </a:cxn>
              <a:cxn ang="0">
                <a:pos x="connsiteX6099" y="connsiteY6099"/>
              </a:cxn>
              <a:cxn ang="0">
                <a:pos x="connsiteX6100" y="connsiteY6100"/>
              </a:cxn>
              <a:cxn ang="0">
                <a:pos x="connsiteX6101" y="connsiteY6101"/>
              </a:cxn>
              <a:cxn ang="0">
                <a:pos x="connsiteX6102" y="connsiteY6102"/>
              </a:cxn>
              <a:cxn ang="0">
                <a:pos x="connsiteX6103" y="connsiteY6103"/>
              </a:cxn>
              <a:cxn ang="0">
                <a:pos x="connsiteX6104" y="connsiteY6104"/>
              </a:cxn>
              <a:cxn ang="0">
                <a:pos x="connsiteX6105" y="connsiteY6105"/>
              </a:cxn>
              <a:cxn ang="0">
                <a:pos x="connsiteX6106" y="connsiteY6106"/>
              </a:cxn>
              <a:cxn ang="0">
                <a:pos x="connsiteX6107" y="connsiteY6107"/>
              </a:cxn>
              <a:cxn ang="0">
                <a:pos x="connsiteX6108" y="connsiteY6108"/>
              </a:cxn>
              <a:cxn ang="0">
                <a:pos x="connsiteX6109" y="connsiteY6109"/>
              </a:cxn>
              <a:cxn ang="0">
                <a:pos x="connsiteX6110" y="connsiteY6110"/>
              </a:cxn>
              <a:cxn ang="0">
                <a:pos x="connsiteX6111" y="connsiteY6111"/>
              </a:cxn>
              <a:cxn ang="0">
                <a:pos x="connsiteX6112" y="connsiteY6112"/>
              </a:cxn>
              <a:cxn ang="0">
                <a:pos x="connsiteX6113" y="connsiteY6113"/>
              </a:cxn>
              <a:cxn ang="0">
                <a:pos x="connsiteX6114" y="connsiteY6114"/>
              </a:cxn>
              <a:cxn ang="0">
                <a:pos x="connsiteX6115" y="connsiteY6115"/>
              </a:cxn>
              <a:cxn ang="0">
                <a:pos x="connsiteX6116" y="connsiteY6116"/>
              </a:cxn>
              <a:cxn ang="0">
                <a:pos x="connsiteX6117" y="connsiteY6117"/>
              </a:cxn>
              <a:cxn ang="0">
                <a:pos x="connsiteX6118" y="connsiteY6118"/>
              </a:cxn>
              <a:cxn ang="0">
                <a:pos x="connsiteX6119" y="connsiteY6119"/>
              </a:cxn>
              <a:cxn ang="0">
                <a:pos x="connsiteX6120" y="connsiteY6120"/>
              </a:cxn>
              <a:cxn ang="0">
                <a:pos x="connsiteX6121" y="connsiteY6121"/>
              </a:cxn>
              <a:cxn ang="0">
                <a:pos x="connsiteX6122" y="connsiteY6122"/>
              </a:cxn>
              <a:cxn ang="0">
                <a:pos x="connsiteX6123" y="connsiteY6123"/>
              </a:cxn>
              <a:cxn ang="0">
                <a:pos x="connsiteX6124" y="connsiteY6124"/>
              </a:cxn>
              <a:cxn ang="0">
                <a:pos x="connsiteX6125" y="connsiteY6125"/>
              </a:cxn>
              <a:cxn ang="0">
                <a:pos x="connsiteX6126" y="connsiteY6126"/>
              </a:cxn>
              <a:cxn ang="0">
                <a:pos x="connsiteX6127" y="connsiteY6127"/>
              </a:cxn>
              <a:cxn ang="0">
                <a:pos x="connsiteX6128" y="connsiteY6128"/>
              </a:cxn>
              <a:cxn ang="0">
                <a:pos x="connsiteX6129" y="connsiteY6129"/>
              </a:cxn>
              <a:cxn ang="0">
                <a:pos x="connsiteX6130" y="connsiteY6130"/>
              </a:cxn>
              <a:cxn ang="0">
                <a:pos x="connsiteX6131" y="connsiteY6131"/>
              </a:cxn>
              <a:cxn ang="0">
                <a:pos x="connsiteX6132" y="connsiteY6132"/>
              </a:cxn>
              <a:cxn ang="0">
                <a:pos x="connsiteX6133" y="connsiteY6133"/>
              </a:cxn>
              <a:cxn ang="0">
                <a:pos x="connsiteX6134" y="connsiteY6134"/>
              </a:cxn>
              <a:cxn ang="0">
                <a:pos x="connsiteX6135" y="connsiteY6135"/>
              </a:cxn>
              <a:cxn ang="0">
                <a:pos x="connsiteX6136" y="connsiteY6136"/>
              </a:cxn>
              <a:cxn ang="0">
                <a:pos x="connsiteX6137" y="connsiteY6137"/>
              </a:cxn>
              <a:cxn ang="0">
                <a:pos x="connsiteX6138" y="connsiteY6138"/>
              </a:cxn>
              <a:cxn ang="0">
                <a:pos x="connsiteX6139" y="connsiteY6139"/>
              </a:cxn>
              <a:cxn ang="0">
                <a:pos x="connsiteX6140" y="connsiteY6140"/>
              </a:cxn>
              <a:cxn ang="0">
                <a:pos x="connsiteX6141" y="connsiteY6141"/>
              </a:cxn>
              <a:cxn ang="0">
                <a:pos x="connsiteX6142" y="connsiteY6142"/>
              </a:cxn>
              <a:cxn ang="0">
                <a:pos x="connsiteX6143" y="connsiteY6143"/>
              </a:cxn>
              <a:cxn ang="0">
                <a:pos x="connsiteX6144" y="connsiteY6144"/>
              </a:cxn>
              <a:cxn ang="0">
                <a:pos x="connsiteX6145" y="connsiteY6145"/>
              </a:cxn>
              <a:cxn ang="0">
                <a:pos x="connsiteX6146" y="connsiteY6146"/>
              </a:cxn>
              <a:cxn ang="0">
                <a:pos x="connsiteX6147" y="connsiteY6147"/>
              </a:cxn>
              <a:cxn ang="0">
                <a:pos x="connsiteX6148" y="connsiteY6148"/>
              </a:cxn>
              <a:cxn ang="0">
                <a:pos x="connsiteX6149" y="connsiteY6149"/>
              </a:cxn>
              <a:cxn ang="0">
                <a:pos x="connsiteX6150" y="connsiteY6150"/>
              </a:cxn>
              <a:cxn ang="0">
                <a:pos x="connsiteX6151" y="connsiteY6151"/>
              </a:cxn>
              <a:cxn ang="0">
                <a:pos x="connsiteX6152" y="connsiteY6152"/>
              </a:cxn>
              <a:cxn ang="0">
                <a:pos x="connsiteX6153" y="connsiteY6153"/>
              </a:cxn>
              <a:cxn ang="0">
                <a:pos x="connsiteX6154" y="connsiteY6154"/>
              </a:cxn>
              <a:cxn ang="0">
                <a:pos x="connsiteX6155" y="connsiteY6155"/>
              </a:cxn>
              <a:cxn ang="0">
                <a:pos x="connsiteX6156" y="connsiteY6156"/>
              </a:cxn>
              <a:cxn ang="0">
                <a:pos x="connsiteX6157" y="connsiteY6157"/>
              </a:cxn>
              <a:cxn ang="0">
                <a:pos x="connsiteX6158" y="connsiteY6158"/>
              </a:cxn>
              <a:cxn ang="0">
                <a:pos x="connsiteX6159" y="connsiteY6159"/>
              </a:cxn>
              <a:cxn ang="0">
                <a:pos x="connsiteX6160" y="connsiteY6160"/>
              </a:cxn>
              <a:cxn ang="0">
                <a:pos x="connsiteX6161" y="connsiteY6161"/>
              </a:cxn>
              <a:cxn ang="0">
                <a:pos x="connsiteX6162" y="connsiteY6162"/>
              </a:cxn>
              <a:cxn ang="0">
                <a:pos x="connsiteX6163" y="connsiteY6163"/>
              </a:cxn>
              <a:cxn ang="0">
                <a:pos x="connsiteX6164" y="connsiteY6164"/>
              </a:cxn>
              <a:cxn ang="0">
                <a:pos x="connsiteX6165" y="connsiteY6165"/>
              </a:cxn>
              <a:cxn ang="0">
                <a:pos x="connsiteX6166" y="connsiteY6166"/>
              </a:cxn>
              <a:cxn ang="0">
                <a:pos x="connsiteX6167" y="connsiteY6167"/>
              </a:cxn>
              <a:cxn ang="0">
                <a:pos x="connsiteX6168" y="connsiteY6168"/>
              </a:cxn>
              <a:cxn ang="0">
                <a:pos x="connsiteX6169" y="connsiteY6169"/>
              </a:cxn>
              <a:cxn ang="0">
                <a:pos x="connsiteX6170" y="connsiteY6170"/>
              </a:cxn>
              <a:cxn ang="0">
                <a:pos x="connsiteX6171" y="connsiteY6171"/>
              </a:cxn>
              <a:cxn ang="0">
                <a:pos x="connsiteX6172" y="connsiteY6172"/>
              </a:cxn>
              <a:cxn ang="0">
                <a:pos x="connsiteX6173" y="connsiteY6173"/>
              </a:cxn>
              <a:cxn ang="0">
                <a:pos x="connsiteX6174" y="connsiteY6174"/>
              </a:cxn>
              <a:cxn ang="0">
                <a:pos x="connsiteX6175" y="connsiteY6175"/>
              </a:cxn>
              <a:cxn ang="0">
                <a:pos x="connsiteX6176" y="connsiteY6176"/>
              </a:cxn>
              <a:cxn ang="0">
                <a:pos x="connsiteX6177" y="connsiteY6177"/>
              </a:cxn>
              <a:cxn ang="0">
                <a:pos x="connsiteX6178" y="connsiteY6178"/>
              </a:cxn>
              <a:cxn ang="0">
                <a:pos x="connsiteX6179" y="connsiteY6179"/>
              </a:cxn>
              <a:cxn ang="0">
                <a:pos x="connsiteX6180" y="connsiteY6180"/>
              </a:cxn>
              <a:cxn ang="0">
                <a:pos x="connsiteX6181" y="connsiteY6181"/>
              </a:cxn>
              <a:cxn ang="0">
                <a:pos x="connsiteX6182" y="connsiteY6182"/>
              </a:cxn>
              <a:cxn ang="0">
                <a:pos x="connsiteX6183" y="connsiteY6183"/>
              </a:cxn>
              <a:cxn ang="0">
                <a:pos x="connsiteX6184" y="connsiteY6184"/>
              </a:cxn>
              <a:cxn ang="0">
                <a:pos x="connsiteX6185" y="connsiteY6185"/>
              </a:cxn>
              <a:cxn ang="0">
                <a:pos x="connsiteX6186" y="connsiteY6186"/>
              </a:cxn>
              <a:cxn ang="0">
                <a:pos x="connsiteX6187" y="connsiteY6187"/>
              </a:cxn>
              <a:cxn ang="0">
                <a:pos x="connsiteX6188" y="connsiteY6188"/>
              </a:cxn>
              <a:cxn ang="0">
                <a:pos x="connsiteX6189" y="connsiteY6189"/>
              </a:cxn>
              <a:cxn ang="0">
                <a:pos x="connsiteX6190" y="connsiteY6190"/>
              </a:cxn>
              <a:cxn ang="0">
                <a:pos x="connsiteX6191" y="connsiteY6191"/>
              </a:cxn>
              <a:cxn ang="0">
                <a:pos x="connsiteX6192" y="connsiteY6192"/>
              </a:cxn>
              <a:cxn ang="0">
                <a:pos x="connsiteX6193" y="connsiteY6193"/>
              </a:cxn>
              <a:cxn ang="0">
                <a:pos x="connsiteX6194" y="connsiteY6194"/>
              </a:cxn>
              <a:cxn ang="0">
                <a:pos x="connsiteX6195" y="connsiteY6195"/>
              </a:cxn>
              <a:cxn ang="0">
                <a:pos x="connsiteX6196" y="connsiteY6196"/>
              </a:cxn>
              <a:cxn ang="0">
                <a:pos x="connsiteX6197" y="connsiteY6197"/>
              </a:cxn>
              <a:cxn ang="0">
                <a:pos x="connsiteX6198" y="connsiteY6198"/>
              </a:cxn>
              <a:cxn ang="0">
                <a:pos x="connsiteX6199" y="connsiteY6199"/>
              </a:cxn>
              <a:cxn ang="0">
                <a:pos x="connsiteX6200" y="connsiteY6200"/>
              </a:cxn>
              <a:cxn ang="0">
                <a:pos x="connsiteX6201" y="connsiteY6201"/>
              </a:cxn>
              <a:cxn ang="0">
                <a:pos x="connsiteX6202" y="connsiteY6202"/>
              </a:cxn>
              <a:cxn ang="0">
                <a:pos x="connsiteX6203" y="connsiteY6203"/>
              </a:cxn>
              <a:cxn ang="0">
                <a:pos x="connsiteX6204" y="connsiteY6204"/>
              </a:cxn>
              <a:cxn ang="0">
                <a:pos x="connsiteX6205" y="connsiteY6205"/>
              </a:cxn>
              <a:cxn ang="0">
                <a:pos x="connsiteX6206" y="connsiteY6206"/>
              </a:cxn>
              <a:cxn ang="0">
                <a:pos x="connsiteX6207" y="connsiteY6207"/>
              </a:cxn>
              <a:cxn ang="0">
                <a:pos x="connsiteX6208" y="connsiteY6208"/>
              </a:cxn>
              <a:cxn ang="0">
                <a:pos x="connsiteX6209" y="connsiteY6209"/>
              </a:cxn>
              <a:cxn ang="0">
                <a:pos x="connsiteX6210" y="connsiteY6210"/>
              </a:cxn>
              <a:cxn ang="0">
                <a:pos x="connsiteX6211" y="connsiteY6211"/>
              </a:cxn>
              <a:cxn ang="0">
                <a:pos x="connsiteX6212" y="connsiteY6212"/>
              </a:cxn>
              <a:cxn ang="0">
                <a:pos x="connsiteX6213" y="connsiteY6213"/>
              </a:cxn>
              <a:cxn ang="0">
                <a:pos x="connsiteX6214" y="connsiteY6214"/>
              </a:cxn>
              <a:cxn ang="0">
                <a:pos x="connsiteX6215" y="connsiteY6215"/>
              </a:cxn>
              <a:cxn ang="0">
                <a:pos x="connsiteX6216" y="connsiteY6216"/>
              </a:cxn>
              <a:cxn ang="0">
                <a:pos x="connsiteX6217" y="connsiteY6217"/>
              </a:cxn>
              <a:cxn ang="0">
                <a:pos x="connsiteX6218" y="connsiteY6218"/>
              </a:cxn>
              <a:cxn ang="0">
                <a:pos x="connsiteX6219" y="connsiteY6219"/>
              </a:cxn>
              <a:cxn ang="0">
                <a:pos x="connsiteX6220" y="connsiteY6220"/>
              </a:cxn>
              <a:cxn ang="0">
                <a:pos x="connsiteX6221" y="connsiteY6221"/>
              </a:cxn>
              <a:cxn ang="0">
                <a:pos x="connsiteX6222" y="connsiteY6222"/>
              </a:cxn>
              <a:cxn ang="0">
                <a:pos x="connsiteX6223" y="connsiteY6223"/>
              </a:cxn>
              <a:cxn ang="0">
                <a:pos x="connsiteX6224" y="connsiteY6224"/>
              </a:cxn>
              <a:cxn ang="0">
                <a:pos x="connsiteX6225" y="connsiteY6225"/>
              </a:cxn>
              <a:cxn ang="0">
                <a:pos x="connsiteX6226" y="connsiteY6226"/>
              </a:cxn>
              <a:cxn ang="0">
                <a:pos x="connsiteX6227" y="connsiteY6227"/>
              </a:cxn>
              <a:cxn ang="0">
                <a:pos x="connsiteX6228" y="connsiteY6228"/>
              </a:cxn>
              <a:cxn ang="0">
                <a:pos x="connsiteX6229" y="connsiteY6229"/>
              </a:cxn>
              <a:cxn ang="0">
                <a:pos x="connsiteX6230" y="connsiteY6230"/>
              </a:cxn>
              <a:cxn ang="0">
                <a:pos x="connsiteX6231" y="connsiteY6231"/>
              </a:cxn>
              <a:cxn ang="0">
                <a:pos x="connsiteX6232" y="connsiteY6232"/>
              </a:cxn>
              <a:cxn ang="0">
                <a:pos x="connsiteX6233" y="connsiteY6233"/>
              </a:cxn>
              <a:cxn ang="0">
                <a:pos x="connsiteX6234" y="connsiteY6234"/>
              </a:cxn>
              <a:cxn ang="0">
                <a:pos x="connsiteX6235" y="connsiteY6235"/>
              </a:cxn>
              <a:cxn ang="0">
                <a:pos x="connsiteX6236" y="connsiteY6236"/>
              </a:cxn>
              <a:cxn ang="0">
                <a:pos x="connsiteX6237" y="connsiteY6237"/>
              </a:cxn>
              <a:cxn ang="0">
                <a:pos x="connsiteX6238" y="connsiteY6238"/>
              </a:cxn>
              <a:cxn ang="0">
                <a:pos x="connsiteX6239" y="connsiteY6239"/>
              </a:cxn>
              <a:cxn ang="0">
                <a:pos x="connsiteX6240" y="connsiteY6240"/>
              </a:cxn>
              <a:cxn ang="0">
                <a:pos x="connsiteX6241" y="connsiteY6241"/>
              </a:cxn>
              <a:cxn ang="0">
                <a:pos x="connsiteX6242" y="connsiteY6242"/>
              </a:cxn>
              <a:cxn ang="0">
                <a:pos x="connsiteX6243" y="connsiteY6243"/>
              </a:cxn>
              <a:cxn ang="0">
                <a:pos x="connsiteX6244" y="connsiteY6244"/>
              </a:cxn>
              <a:cxn ang="0">
                <a:pos x="connsiteX6245" y="connsiteY6245"/>
              </a:cxn>
              <a:cxn ang="0">
                <a:pos x="connsiteX6246" y="connsiteY6246"/>
              </a:cxn>
              <a:cxn ang="0">
                <a:pos x="connsiteX6247" y="connsiteY6247"/>
              </a:cxn>
              <a:cxn ang="0">
                <a:pos x="connsiteX6248" y="connsiteY6248"/>
              </a:cxn>
              <a:cxn ang="0">
                <a:pos x="connsiteX6249" y="connsiteY6249"/>
              </a:cxn>
              <a:cxn ang="0">
                <a:pos x="connsiteX6250" y="connsiteY6250"/>
              </a:cxn>
              <a:cxn ang="0">
                <a:pos x="connsiteX6251" y="connsiteY6251"/>
              </a:cxn>
              <a:cxn ang="0">
                <a:pos x="connsiteX6252" y="connsiteY6252"/>
              </a:cxn>
              <a:cxn ang="0">
                <a:pos x="connsiteX6253" y="connsiteY6253"/>
              </a:cxn>
              <a:cxn ang="0">
                <a:pos x="connsiteX6254" y="connsiteY6254"/>
              </a:cxn>
              <a:cxn ang="0">
                <a:pos x="connsiteX6255" y="connsiteY6255"/>
              </a:cxn>
              <a:cxn ang="0">
                <a:pos x="connsiteX6256" y="connsiteY6256"/>
              </a:cxn>
              <a:cxn ang="0">
                <a:pos x="connsiteX6257" y="connsiteY6257"/>
              </a:cxn>
              <a:cxn ang="0">
                <a:pos x="connsiteX6258" y="connsiteY6258"/>
              </a:cxn>
              <a:cxn ang="0">
                <a:pos x="connsiteX6259" y="connsiteY6259"/>
              </a:cxn>
              <a:cxn ang="0">
                <a:pos x="connsiteX6260" y="connsiteY6260"/>
              </a:cxn>
              <a:cxn ang="0">
                <a:pos x="connsiteX6261" y="connsiteY6261"/>
              </a:cxn>
              <a:cxn ang="0">
                <a:pos x="connsiteX6262" y="connsiteY6262"/>
              </a:cxn>
              <a:cxn ang="0">
                <a:pos x="connsiteX6263" y="connsiteY6263"/>
              </a:cxn>
              <a:cxn ang="0">
                <a:pos x="connsiteX6264" y="connsiteY6264"/>
              </a:cxn>
              <a:cxn ang="0">
                <a:pos x="connsiteX6265" y="connsiteY6265"/>
              </a:cxn>
              <a:cxn ang="0">
                <a:pos x="connsiteX6266" y="connsiteY6266"/>
              </a:cxn>
              <a:cxn ang="0">
                <a:pos x="connsiteX6267" y="connsiteY6267"/>
              </a:cxn>
              <a:cxn ang="0">
                <a:pos x="connsiteX6268" y="connsiteY6268"/>
              </a:cxn>
              <a:cxn ang="0">
                <a:pos x="connsiteX6269" y="connsiteY6269"/>
              </a:cxn>
              <a:cxn ang="0">
                <a:pos x="connsiteX6270" y="connsiteY6270"/>
              </a:cxn>
              <a:cxn ang="0">
                <a:pos x="connsiteX6271" y="connsiteY6271"/>
              </a:cxn>
              <a:cxn ang="0">
                <a:pos x="connsiteX6272" y="connsiteY6272"/>
              </a:cxn>
              <a:cxn ang="0">
                <a:pos x="connsiteX6273" y="connsiteY6273"/>
              </a:cxn>
              <a:cxn ang="0">
                <a:pos x="connsiteX6274" y="connsiteY6274"/>
              </a:cxn>
              <a:cxn ang="0">
                <a:pos x="connsiteX6275" y="connsiteY6275"/>
              </a:cxn>
              <a:cxn ang="0">
                <a:pos x="connsiteX6276" y="connsiteY6276"/>
              </a:cxn>
              <a:cxn ang="0">
                <a:pos x="connsiteX6277" y="connsiteY6277"/>
              </a:cxn>
              <a:cxn ang="0">
                <a:pos x="connsiteX6278" y="connsiteY6278"/>
              </a:cxn>
              <a:cxn ang="0">
                <a:pos x="connsiteX6279" y="connsiteY6279"/>
              </a:cxn>
              <a:cxn ang="0">
                <a:pos x="connsiteX6280" y="connsiteY6280"/>
              </a:cxn>
              <a:cxn ang="0">
                <a:pos x="connsiteX6281" y="connsiteY6281"/>
              </a:cxn>
              <a:cxn ang="0">
                <a:pos x="connsiteX6282" y="connsiteY6282"/>
              </a:cxn>
              <a:cxn ang="0">
                <a:pos x="connsiteX6283" y="connsiteY6283"/>
              </a:cxn>
              <a:cxn ang="0">
                <a:pos x="connsiteX6284" y="connsiteY6284"/>
              </a:cxn>
              <a:cxn ang="0">
                <a:pos x="connsiteX6285" y="connsiteY6285"/>
              </a:cxn>
              <a:cxn ang="0">
                <a:pos x="connsiteX6286" y="connsiteY6286"/>
              </a:cxn>
              <a:cxn ang="0">
                <a:pos x="connsiteX6287" y="connsiteY6287"/>
              </a:cxn>
              <a:cxn ang="0">
                <a:pos x="connsiteX6288" y="connsiteY6288"/>
              </a:cxn>
              <a:cxn ang="0">
                <a:pos x="connsiteX6289" y="connsiteY6289"/>
              </a:cxn>
              <a:cxn ang="0">
                <a:pos x="connsiteX6290" y="connsiteY6290"/>
              </a:cxn>
              <a:cxn ang="0">
                <a:pos x="connsiteX6291" y="connsiteY6291"/>
              </a:cxn>
              <a:cxn ang="0">
                <a:pos x="connsiteX6292" y="connsiteY6292"/>
              </a:cxn>
              <a:cxn ang="0">
                <a:pos x="connsiteX6293" y="connsiteY6293"/>
              </a:cxn>
              <a:cxn ang="0">
                <a:pos x="connsiteX6294" y="connsiteY6294"/>
              </a:cxn>
              <a:cxn ang="0">
                <a:pos x="connsiteX6295" y="connsiteY6295"/>
              </a:cxn>
              <a:cxn ang="0">
                <a:pos x="connsiteX6296" y="connsiteY6296"/>
              </a:cxn>
              <a:cxn ang="0">
                <a:pos x="connsiteX6297" y="connsiteY6297"/>
              </a:cxn>
              <a:cxn ang="0">
                <a:pos x="connsiteX6298" y="connsiteY6298"/>
              </a:cxn>
              <a:cxn ang="0">
                <a:pos x="connsiteX6299" y="connsiteY6299"/>
              </a:cxn>
              <a:cxn ang="0">
                <a:pos x="connsiteX6300" y="connsiteY6300"/>
              </a:cxn>
              <a:cxn ang="0">
                <a:pos x="connsiteX6301" y="connsiteY6301"/>
              </a:cxn>
              <a:cxn ang="0">
                <a:pos x="connsiteX6302" y="connsiteY6302"/>
              </a:cxn>
              <a:cxn ang="0">
                <a:pos x="connsiteX6303" y="connsiteY6303"/>
              </a:cxn>
              <a:cxn ang="0">
                <a:pos x="connsiteX6304" y="connsiteY6304"/>
              </a:cxn>
              <a:cxn ang="0">
                <a:pos x="connsiteX6305" y="connsiteY6305"/>
              </a:cxn>
              <a:cxn ang="0">
                <a:pos x="connsiteX6306" y="connsiteY6306"/>
              </a:cxn>
              <a:cxn ang="0">
                <a:pos x="connsiteX6307" y="connsiteY6307"/>
              </a:cxn>
              <a:cxn ang="0">
                <a:pos x="connsiteX6308" y="connsiteY6308"/>
              </a:cxn>
              <a:cxn ang="0">
                <a:pos x="connsiteX6309" y="connsiteY6309"/>
              </a:cxn>
              <a:cxn ang="0">
                <a:pos x="connsiteX6310" y="connsiteY6310"/>
              </a:cxn>
              <a:cxn ang="0">
                <a:pos x="connsiteX6311" y="connsiteY6311"/>
              </a:cxn>
              <a:cxn ang="0">
                <a:pos x="connsiteX6312" y="connsiteY6312"/>
              </a:cxn>
              <a:cxn ang="0">
                <a:pos x="connsiteX6313" y="connsiteY6313"/>
              </a:cxn>
              <a:cxn ang="0">
                <a:pos x="connsiteX6314" y="connsiteY6314"/>
              </a:cxn>
              <a:cxn ang="0">
                <a:pos x="connsiteX6315" y="connsiteY6315"/>
              </a:cxn>
              <a:cxn ang="0">
                <a:pos x="connsiteX6316" y="connsiteY6316"/>
              </a:cxn>
              <a:cxn ang="0">
                <a:pos x="connsiteX6317" y="connsiteY6317"/>
              </a:cxn>
              <a:cxn ang="0">
                <a:pos x="connsiteX6318" y="connsiteY6318"/>
              </a:cxn>
              <a:cxn ang="0">
                <a:pos x="connsiteX6319" y="connsiteY6319"/>
              </a:cxn>
              <a:cxn ang="0">
                <a:pos x="connsiteX6320" y="connsiteY6320"/>
              </a:cxn>
              <a:cxn ang="0">
                <a:pos x="connsiteX6321" y="connsiteY6321"/>
              </a:cxn>
              <a:cxn ang="0">
                <a:pos x="connsiteX6322" y="connsiteY6322"/>
              </a:cxn>
              <a:cxn ang="0">
                <a:pos x="connsiteX6323" y="connsiteY6323"/>
              </a:cxn>
              <a:cxn ang="0">
                <a:pos x="connsiteX6324" y="connsiteY6324"/>
              </a:cxn>
              <a:cxn ang="0">
                <a:pos x="connsiteX6325" y="connsiteY6325"/>
              </a:cxn>
              <a:cxn ang="0">
                <a:pos x="connsiteX6326" y="connsiteY6326"/>
              </a:cxn>
              <a:cxn ang="0">
                <a:pos x="connsiteX6327" y="connsiteY6327"/>
              </a:cxn>
              <a:cxn ang="0">
                <a:pos x="connsiteX6328" y="connsiteY6328"/>
              </a:cxn>
              <a:cxn ang="0">
                <a:pos x="connsiteX6329" y="connsiteY6329"/>
              </a:cxn>
              <a:cxn ang="0">
                <a:pos x="connsiteX6330" y="connsiteY6330"/>
              </a:cxn>
              <a:cxn ang="0">
                <a:pos x="connsiteX6331" y="connsiteY6331"/>
              </a:cxn>
              <a:cxn ang="0">
                <a:pos x="connsiteX6332" y="connsiteY6332"/>
              </a:cxn>
              <a:cxn ang="0">
                <a:pos x="connsiteX6333" y="connsiteY6333"/>
              </a:cxn>
              <a:cxn ang="0">
                <a:pos x="connsiteX6334" y="connsiteY6334"/>
              </a:cxn>
              <a:cxn ang="0">
                <a:pos x="connsiteX6335" y="connsiteY6335"/>
              </a:cxn>
              <a:cxn ang="0">
                <a:pos x="connsiteX6336" y="connsiteY6336"/>
              </a:cxn>
              <a:cxn ang="0">
                <a:pos x="connsiteX6337" y="connsiteY6337"/>
              </a:cxn>
              <a:cxn ang="0">
                <a:pos x="connsiteX6338" y="connsiteY6338"/>
              </a:cxn>
              <a:cxn ang="0">
                <a:pos x="connsiteX6339" y="connsiteY6339"/>
              </a:cxn>
              <a:cxn ang="0">
                <a:pos x="connsiteX6340" y="connsiteY6340"/>
              </a:cxn>
              <a:cxn ang="0">
                <a:pos x="connsiteX6341" y="connsiteY6341"/>
              </a:cxn>
              <a:cxn ang="0">
                <a:pos x="connsiteX6342" y="connsiteY6342"/>
              </a:cxn>
              <a:cxn ang="0">
                <a:pos x="connsiteX6343" y="connsiteY6343"/>
              </a:cxn>
              <a:cxn ang="0">
                <a:pos x="connsiteX6344" y="connsiteY6344"/>
              </a:cxn>
              <a:cxn ang="0">
                <a:pos x="connsiteX6345" y="connsiteY6345"/>
              </a:cxn>
              <a:cxn ang="0">
                <a:pos x="connsiteX6346" y="connsiteY6346"/>
              </a:cxn>
              <a:cxn ang="0">
                <a:pos x="connsiteX6347" y="connsiteY6347"/>
              </a:cxn>
              <a:cxn ang="0">
                <a:pos x="connsiteX6348" y="connsiteY6348"/>
              </a:cxn>
              <a:cxn ang="0">
                <a:pos x="connsiteX6349" y="connsiteY6349"/>
              </a:cxn>
              <a:cxn ang="0">
                <a:pos x="connsiteX6350" y="connsiteY6350"/>
              </a:cxn>
              <a:cxn ang="0">
                <a:pos x="connsiteX6351" y="connsiteY6351"/>
              </a:cxn>
              <a:cxn ang="0">
                <a:pos x="connsiteX6352" y="connsiteY6352"/>
              </a:cxn>
              <a:cxn ang="0">
                <a:pos x="connsiteX6353" y="connsiteY6353"/>
              </a:cxn>
              <a:cxn ang="0">
                <a:pos x="connsiteX6354" y="connsiteY6354"/>
              </a:cxn>
              <a:cxn ang="0">
                <a:pos x="connsiteX6355" y="connsiteY6355"/>
              </a:cxn>
              <a:cxn ang="0">
                <a:pos x="connsiteX6356" y="connsiteY6356"/>
              </a:cxn>
              <a:cxn ang="0">
                <a:pos x="connsiteX6357" y="connsiteY6357"/>
              </a:cxn>
              <a:cxn ang="0">
                <a:pos x="connsiteX6358" y="connsiteY6358"/>
              </a:cxn>
              <a:cxn ang="0">
                <a:pos x="connsiteX6359" y="connsiteY6359"/>
              </a:cxn>
              <a:cxn ang="0">
                <a:pos x="connsiteX6360" y="connsiteY6360"/>
              </a:cxn>
              <a:cxn ang="0">
                <a:pos x="connsiteX6361" y="connsiteY6361"/>
              </a:cxn>
              <a:cxn ang="0">
                <a:pos x="connsiteX6362" y="connsiteY6362"/>
              </a:cxn>
              <a:cxn ang="0">
                <a:pos x="connsiteX6363" y="connsiteY6363"/>
              </a:cxn>
              <a:cxn ang="0">
                <a:pos x="connsiteX6364" y="connsiteY6364"/>
              </a:cxn>
              <a:cxn ang="0">
                <a:pos x="connsiteX6365" y="connsiteY6365"/>
              </a:cxn>
              <a:cxn ang="0">
                <a:pos x="connsiteX6366" y="connsiteY6366"/>
              </a:cxn>
              <a:cxn ang="0">
                <a:pos x="connsiteX6367" y="connsiteY6367"/>
              </a:cxn>
              <a:cxn ang="0">
                <a:pos x="connsiteX6368" y="connsiteY6368"/>
              </a:cxn>
              <a:cxn ang="0">
                <a:pos x="connsiteX6369" y="connsiteY6369"/>
              </a:cxn>
              <a:cxn ang="0">
                <a:pos x="connsiteX6370" y="connsiteY6370"/>
              </a:cxn>
              <a:cxn ang="0">
                <a:pos x="connsiteX6371" y="connsiteY6371"/>
              </a:cxn>
              <a:cxn ang="0">
                <a:pos x="connsiteX6372" y="connsiteY6372"/>
              </a:cxn>
              <a:cxn ang="0">
                <a:pos x="connsiteX6373" y="connsiteY6373"/>
              </a:cxn>
              <a:cxn ang="0">
                <a:pos x="connsiteX6374" y="connsiteY6374"/>
              </a:cxn>
              <a:cxn ang="0">
                <a:pos x="connsiteX6375" y="connsiteY6375"/>
              </a:cxn>
              <a:cxn ang="0">
                <a:pos x="connsiteX6376" y="connsiteY6376"/>
              </a:cxn>
              <a:cxn ang="0">
                <a:pos x="connsiteX6377" y="connsiteY6377"/>
              </a:cxn>
              <a:cxn ang="0">
                <a:pos x="connsiteX6378" y="connsiteY6378"/>
              </a:cxn>
              <a:cxn ang="0">
                <a:pos x="connsiteX6379" y="connsiteY6379"/>
              </a:cxn>
              <a:cxn ang="0">
                <a:pos x="connsiteX6380" y="connsiteY6380"/>
              </a:cxn>
              <a:cxn ang="0">
                <a:pos x="connsiteX6381" y="connsiteY6381"/>
              </a:cxn>
              <a:cxn ang="0">
                <a:pos x="connsiteX6382" y="connsiteY6382"/>
              </a:cxn>
              <a:cxn ang="0">
                <a:pos x="connsiteX6383" y="connsiteY6383"/>
              </a:cxn>
              <a:cxn ang="0">
                <a:pos x="connsiteX6384" y="connsiteY6384"/>
              </a:cxn>
              <a:cxn ang="0">
                <a:pos x="connsiteX6385" y="connsiteY6385"/>
              </a:cxn>
              <a:cxn ang="0">
                <a:pos x="connsiteX6386" y="connsiteY6386"/>
              </a:cxn>
              <a:cxn ang="0">
                <a:pos x="connsiteX6387" y="connsiteY6387"/>
              </a:cxn>
              <a:cxn ang="0">
                <a:pos x="connsiteX6388" y="connsiteY6388"/>
              </a:cxn>
              <a:cxn ang="0">
                <a:pos x="connsiteX6389" y="connsiteY6389"/>
              </a:cxn>
              <a:cxn ang="0">
                <a:pos x="connsiteX6390" y="connsiteY6390"/>
              </a:cxn>
              <a:cxn ang="0">
                <a:pos x="connsiteX6391" y="connsiteY6391"/>
              </a:cxn>
              <a:cxn ang="0">
                <a:pos x="connsiteX6392" y="connsiteY6392"/>
              </a:cxn>
              <a:cxn ang="0">
                <a:pos x="connsiteX6393" y="connsiteY6393"/>
              </a:cxn>
              <a:cxn ang="0">
                <a:pos x="connsiteX6394" y="connsiteY6394"/>
              </a:cxn>
              <a:cxn ang="0">
                <a:pos x="connsiteX6395" y="connsiteY6395"/>
              </a:cxn>
              <a:cxn ang="0">
                <a:pos x="connsiteX6396" y="connsiteY6396"/>
              </a:cxn>
              <a:cxn ang="0">
                <a:pos x="connsiteX6397" y="connsiteY6397"/>
              </a:cxn>
              <a:cxn ang="0">
                <a:pos x="connsiteX6398" y="connsiteY6398"/>
              </a:cxn>
              <a:cxn ang="0">
                <a:pos x="connsiteX6399" y="connsiteY6399"/>
              </a:cxn>
              <a:cxn ang="0">
                <a:pos x="connsiteX6400" y="connsiteY6400"/>
              </a:cxn>
              <a:cxn ang="0">
                <a:pos x="connsiteX6401" y="connsiteY6401"/>
              </a:cxn>
              <a:cxn ang="0">
                <a:pos x="connsiteX6402" y="connsiteY6402"/>
              </a:cxn>
              <a:cxn ang="0">
                <a:pos x="connsiteX6403" y="connsiteY6403"/>
              </a:cxn>
              <a:cxn ang="0">
                <a:pos x="connsiteX6404" y="connsiteY6404"/>
              </a:cxn>
              <a:cxn ang="0">
                <a:pos x="connsiteX6405" y="connsiteY6405"/>
              </a:cxn>
              <a:cxn ang="0">
                <a:pos x="connsiteX6406" y="connsiteY6406"/>
              </a:cxn>
              <a:cxn ang="0">
                <a:pos x="connsiteX6407" y="connsiteY6407"/>
              </a:cxn>
              <a:cxn ang="0">
                <a:pos x="connsiteX6408" y="connsiteY6408"/>
              </a:cxn>
              <a:cxn ang="0">
                <a:pos x="connsiteX6409" y="connsiteY6409"/>
              </a:cxn>
              <a:cxn ang="0">
                <a:pos x="connsiteX6410" y="connsiteY6410"/>
              </a:cxn>
              <a:cxn ang="0">
                <a:pos x="connsiteX6411" y="connsiteY6411"/>
              </a:cxn>
              <a:cxn ang="0">
                <a:pos x="connsiteX6412" y="connsiteY6412"/>
              </a:cxn>
              <a:cxn ang="0">
                <a:pos x="connsiteX6413" y="connsiteY6413"/>
              </a:cxn>
              <a:cxn ang="0">
                <a:pos x="connsiteX6414" y="connsiteY6414"/>
              </a:cxn>
              <a:cxn ang="0">
                <a:pos x="connsiteX6415" y="connsiteY6415"/>
              </a:cxn>
              <a:cxn ang="0">
                <a:pos x="connsiteX6416" y="connsiteY6416"/>
              </a:cxn>
              <a:cxn ang="0">
                <a:pos x="connsiteX6417" y="connsiteY6417"/>
              </a:cxn>
              <a:cxn ang="0">
                <a:pos x="connsiteX6418" y="connsiteY6418"/>
              </a:cxn>
              <a:cxn ang="0">
                <a:pos x="connsiteX6419" y="connsiteY6419"/>
              </a:cxn>
              <a:cxn ang="0">
                <a:pos x="connsiteX6420" y="connsiteY6420"/>
              </a:cxn>
              <a:cxn ang="0">
                <a:pos x="connsiteX6421" y="connsiteY6421"/>
              </a:cxn>
              <a:cxn ang="0">
                <a:pos x="connsiteX6422" y="connsiteY6422"/>
              </a:cxn>
              <a:cxn ang="0">
                <a:pos x="connsiteX6423" y="connsiteY6423"/>
              </a:cxn>
              <a:cxn ang="0">
                <a:pos x="connsiteX6424" y="connsiteY6424"/>
              </a:cxn>
              <a:cxn ang="0">
                <a:pos x="connsiteX6425" y="connsiteY6425"/>
              </a:cxn>
              <a:cxn ang="0">
                <a:pos x="connsiteX6426" y="connsiteY6426"/>
              </a:cxn>
              <a:cxn ang="0">
                <a:pos x="connsiteX6427" y="connsiteY6427"/>
              </a:cxn>
              <a:cxn ang="0">
                <a:pos x="connsiteX6428" y="connsiteY6428"/>
              </a:cxn>
              <a:cxn ang="0">
                <a:pos x="connsiteX6429" y="connsiteY6429"/>
              </a:cxn>
              <a:cxn ang="0">
                <a:pos x="connsiteX6430" y="connsiteY6430"/>
              </a:cxn>
              <a:cxn ang="0">
                <a:pos x="connsiteX6431" y="connsiteY6431"/>
              </a:cxn>
              <a:cxn ang="0">
                <a:pos x="connsiteX6432" y="connsiteY6432"/>
              </a:cxn>
              <a:cxn ang="0">
                <a:pos x="connsiteX6433" y="connsiteY6433"/>
              </a:cxn>
              <a:cxn ang="0">
                <a:pos x="connsiteX6434" y="connsiteY6434"/>
              </a:cxn>
              <a:cxn ang="0">
                <a:pos x="connsiteX6435" y="connsiteY6435"/>
              </a:cxn>
              <a:cxn ang="0">
                <a:pos x="connsiteX6436" y="connsiteY6436"/>
              </a:cxn>
              <a:cxn ang="0">
                <a:pos x="connsiteX6437" y="connsiteY6437"/>
              </a:cxn>
              <a:cxn ang="0">
                <a:pos x="connsiteX6438" y="connsiteY6438"/>
              </a:cxn>
              <a:cxn ang="0">
                <a:pos x="connsiteX6439" y="connsiteY6439"/>
              </a:cxn>
              <a:cxn ang="0">
                <a:pos x="connsiteX6440" y="connsiteY6440"/>
              </a:cxn>
              <a:cxn ang="0">
                <a:pos x="connsiteX6441" y="connsiteY6441"/>
              </a:cxn>
              <a:cxn ang="0">
                <a:pos x="connsiteX6442" y="connsiteY6442"/>
              </a:cxn>
              <a:cxn ang="0">
                <a:pos x="connsiteX6443" y="connsiteY6443"/>
              </a:cxn>
              <a:cxn ang="0">
                <a:pos x="connsiteX6444" y="connsiteY6444"/>
              </a:cxn>
              <a:cxn ang="0">
                <a:pos x="connsiteX6445" y="connsiteY6445"/>
              </a:cxn>
              <a:cxn ang="0">
                <a:pos x="connsiteX6446" y="connsiteY6446"/>
              </a:cxn>
              <a:cxn ang="0">
                <a:pos x="connsiteX6447" y="connsiteY6447"/>
              </a:cxn>
              <a:cxn ang="0">
                <a:pos x="connsiteX6448" y="connsiteY6448"/>
              </a:cxn>
              <a:cxn ang="0">
                <a:pos x="connsiteX6449" y="connsiteY6449"/>
              </a:cxn>
              <a:cxn ang="0">
                <a:pos x="connsiteX6450" y="connsiteY6450"/>
              </a:cxn>
              <a:cxn ang="0">
                <a:pos x="connsiteX6451" y="connsiteY6451"/>
              </a:cxn>
              <a:cxn ang="0">
                <a:pos x="connsiteX6452" y="connsiteY6452"/>
              </a:cxn>
              <a:cxn ang="0">
                <a:pos x="connsiteX6453" y="connsiteY6453"/>
              </a:cxn>
              <a:cxn ang="0">
                <a:pos x="connsiteX6454" y="connsiteY6454"/>
              </a:cxn>
              <a:cxn ang="0">
                <a:pos x="connsiteX6455" y="connsiteY6455"/>
              </a:cxn>
              <a:cxn ang="0">
                <a:pos x="connsiteX6456" y="connsiteY6456"/>
              </a:cxn>
              <a:cxn ang="0">
                <a:pos x="connsiteX6457" y="connsiteY6457"/>
              </a:cxn>
              <a:cxn ang="0">
                <a:pos x="connsiteX6458" y="connsiteY6458"/>
              </a:cxn>
              <a:cxn ang="0">
                <a:pos x="connsiteX6459" y="connsiteY6459"/>
              </a:cxn>
              <a:cxn ang="0">
                <a:pos x="connsiteX6460" y="connsiteY6460"/>
              </a:cxn>
              <a:cxn ang="0">
                <a:pos x="connsiteX6461" y="connsiteY6461"/>
              </a:cxn>
              <a:cxn ang="0">
                <a:pos x="connsiteX6462" y="connsiteY6462"/>
              </a:cxn>
              <a:cxn ang="0">
                <a:pos x="connsiteX6463" y="connsiteY6463"/>
              </a:cxn>
              <a:cxn ang="0">
                <a:pos x="connsiteX6464" y="connsiteY6464"/>
              </a:cxn>
              <a:cxn ang="0">
                <a:pos x="connsiteX6465" y="connsiteY6465"/>
              </a:cxn>
              <a:cxn ang="0">
                <a:pos x="connsiteX6466" y="connsiteY6466"/>
              </a:cxn>
              <a:cxn ang="0">
                <a:pos x="connsiteX6467" y="connsiteY6467"/>
              </a:cxn>
              <a:cxn ang="0">
                <a:pos x="connsiteX6468" y="connsiteY6468"/>
              </a:cxn>
              <a:cxn ang="0">
                <a:pos x="connsiteX6469" y="connsiteY6469"/>
              </a:cxn>
              <a:cxn ang="0">
                <a:pos x="connsiteX6470" y="connsiteY6470"/>
              </a:cxn>
              <a:cxn ang="0">
                <a:pos x="connsiteX6471" y="connsiteY6471"/>
              </a:cxn>
              <a:cxn ang="0">
                <a:pos x="connsiteX6472" y="connsiteY6472"/>
              </a:cxn>
              <a:cxn ang="0">
                <a:pos x="connsiteX6473" y="connsiteY6473"/>
              </a:cxn>
              <a:cxn ang="0">
                <a:pos x="connsiteX6474" y="connsiteY6474"/>
              </a:cxn>
              <a:cxn ang="0">
                <a:pos x="connsiteX6475" y="connsiteY6475"/>
              </a:cxn>
              <a:cxn ang="0">
                <a:pos x="connsiteX6476" y="connsiteY6476"/>
              </a:cxn>
              <a:cxn ang="0">
                <a:pos x="connsiteX6477" y="connsiteY6477"/>
              </a:cxn>
              <a:cxn ang="0">
                <a:pos x="connsiteX6478" y="connsiteY6478"/>
              </a:cxn>
              <a:cxn ang="0">
                <a:pos x="connsiteX6479" y="connsiteY6479"/>
              </a:cxn>
              <a:cxn ang="0">
                <a:pos x="connsiteX6480" y="connsiteY6480"/>
              </a:cxn>
              <a:cxn ang="0">
                <a:pos x="connsiteX6481" y="connsiteY6481"/>
              </a:cxn>
              <a:cxn ang="0">
                <a:pos x="connsiteX6482" y="connsiteY6482"/>
              </a:cxn>
              <a:cxn ang="0">
                <a:pos x="connsiteX6483" y="connsiteY6483"/>
              </a:cxn>
              <a:cxn ang="0">
                <a:pos x="connsiteX6484" y="connsiteY6484"/>
              </a:cxn>
              <a:cxn ang="0">
                <a:pos x="connsiteX6485" y="connsiteY6485"/>
              </a:cxn>
              <a:cxn ang="0">
                <a:pos x="connsiteX6486" y="connsiteY6486"/>
              </a:cxn>
              <a:cxn ang="0">
                <a:pos x="connsiteX6487" y="connsiteY6487"/>
              </a:cxn>
              <a:cxn ang="0">
                <a:pos x="connsiteX6488" y="connsiteY6488"/>
              </a:cxn>
              <a:cxn ang="0">
                <a:pos x="connsiteX6489" y="connsiteY6489"/>
              </a:cxn>
              <a:cxn ang="0">
                <a:pos x="connsiteX6490" y="connsiteY6490"/>
              </a:cxn>
              <a:cxn ang="0">
                <a:pos x="connsiteX6491" y="connsiteY6491"/>
              </a:cxn>
              <a:cxn ang="0">
                <a:pos x="connsiteX6492" y="connsiteY6492"/>
              </a:cxn>
              <a:cxn ang="0">
                <a:pos x="connsiteX6493" y="connsiteY6493"/>
              </a:cxn>
              <a:cxn ang="0">
                <a:pos x="connsiteX6494" y="connsiteY6494"/>
              </a:cxn>
              <a:cxn ang="0">
                <a:pos x="connsiteX6495" y="connsiteY6495"/>
              </a:cxn>
              <a:cxn ang="0">
                <a:pos x="connsiteX6496" y="connsiteY6496"/>
              </a:cxn>
              <a:cxn ang="0">
                <a:pos x="connsiteX6497" y="connsiteY6497"/>
              </a:cxn>
              <a:cxn ang="0">
                <a:pos x="connsiteX6498" y="connsiteY6498"/>
              </a:cxn>
              <a:cxn ang="0">
                <a:pos x="connsiteX6499" y="connsiteY6499"/>
              </a:cxn>
              <a:cxn ang="0">
                <a:pos x="connsiteX6500" y="connsiteY6500"/>
              </a:cxn>
              <a:cxn ang="0">
                <a:pos x="connsiteX6501" y="connsiteY6501"/>
              </a:cxn>
              <a:cxn ang="0">
                <a:pos x="connsiteX6502" y="connsiteY6502"/>
              </a:cxn>
              <a:cxn ang="0">
                <a:pos x="connsiteX6503" y="connsiteY6503"/>
              </a:cxn>
              <a:cxn ang="0">
                <a:pos x="connsiteX6504" y="connsiteY6504"/>
              </a:cxn>
              <a:cxn ang="0">
                <a:pos x="connsiteX6505" y="connsiteY6505"/>
              </a:cxn>
              <a:cxn ang="0">
                <a:pos x="connsiteX6506" y="connsiteY6506"/>
              </a:cxn>
              <a:cxn ang="0">
                <a:pos x="connsiteX6507" y="connsiteY6507"/>
              </a:cxn>
              <a:cxn ang="0">
                <a:pos x="connsiteX6508" y="connsiteY6508"/>
              </a:cxn>
              <a:cxn ang="0">
                <a:pos x="connsiteX6509" y="connsiteY6509"/>
              </a:cxn>
              <a:cxn ang="0">
                <a:pos x="connsiteX6510" y="connsiteY6510"/>
              </a:cxn>
              <a:cxn ang="0">
                <a:pos x="connsiteX6511" y="connsiteY6511"/>
              </a:cxn>
              <a:cxn ang="0">
                <a:pos x="connsiteX6512" y="connsiteY6512"/>
              </a:cxn>
              <a:cxn ang="0">
                <a:pos x="connsiteX6513" y="connsiteY6513"/>
              </a:cxn>
              <a:cxn ang="0">
                <a:pos x="connsiteX6514" y="connsiteY6514"/>
              </a:cxn>
              <a:cxn ang="0">
                <a:pos x="connsiteX6515" y="connsiteY6515"/>
              </a:cxn>
              <a:cxn ang="0">
                <a:pos x="connsiteX6516" y="connsiteY6516"/>
              </a:cxn>
              <a:cxn ang="0">
                <a:pos x="connsiteX6517" y="connsiteY6517"/>
              </a:cxn>
              <a:cxn ang="0">
                <a:pos x="connsiteX6518" y="connsiteY6518"/>
              </a:cxn>
              <a:cxn ang="0">
                <a:pos x="connsiteX6519" y="connsiteY6519"/>
              </a:cxn>
              <a:cxn ang="0">
                <a:pos x="connsiteX6520" y="connsiteY6520"/>
              </a:cxn>
              <a:cxn ang="0">
                <a:pos x="connsiteX6521" y="connsiteY6521"/>
              </a:cxn>
              <a:cxn ang="0">
                <a:pos x="connsiteX6522" y="connsiteY6522"/>
              </a:cxn>
              <a:cxn ang="0">
                <a:pos x="connsiteX6523" y="connsiteY6523"/>
              </a:cxn>
              <a:cxn ang="0">
                <a:pos x="connsiteX6524" y="connsiteY6524"/>
              </a:cxn>
              <a:cxn ang="0">
                <a:pos x="connsiteX6525" y="connsiteY6525"/>
              </a:cxn>
              <a:cxn ang="0">
                <a:pos x="connsiteX6526" y="connsiteY6526"/>
              </a:cxn>
              <a:cxn ang="0">
                <a:pos x="connsiteX6527" y="connsiteY6527"/>
              </a:cxn>
              <a:cxn ang="0">
                <a:pos x="connsiteX6528" y="connsiteY6528"/>
              </a:cxn>
              <a:cxn ang="0">
                <a:pos x="connsiteX6529" y="connsiteY6529"/>
              </a:cxn>
              <a:cxn ang="0">
                <a:pos x="connsiteX6530" y="connsiteY6530"/>
              </a:cxn>
              <a:cxn ang="0">
                <a:pos x="connsiteX6531" y="connsiteY6531"/>
              </a:cxn>
              <a:cxn ang="0">
                <a:pos x="connsiteX6532" y="connsiteY6532"/>
              </a:cxn>
              <a:cxn ang="0">
                <a:pos x="connsiteX6533" y="connsiteY6533"/>
              </a:cxn>
              <a:cxn ang="0">
                <a:pos x="connsiteX6534" y="connsiteY6534"/>
              </a:cxn>
              <a:cxn ang="0">
                <a:pos x="connsiteX6535" y="connsiteY6535"/>
              </a:cxn>
              <a:cxn ang="0">
                <a:pos x="connsiteX6536" y="connsiteY6536"/>
              </a:cxn>
              <a:cxn ang="0">
                <a:pos x="connsiteX6537" y="connsiteY6537"/>
              </a:cxn>
              <a:cxn ang="0">
                <a:pos x="connsiteX6538" y="connsiteY6538"/>
              </a:cxn>
              <a:cxn ang="0">
                <a:pos x="connsiteX6539" y="connsiteY6539"/>
              </a:cxn>
              <a:cxn ang="0">
                <a:pos x="connsiteX6540" y="connsiteY6540"/>
              </a:cxn>
              <a:cxn ang="0">
                <a:pos x="connsiteX6541" y="connsiteY6541"/>
              </a:cxn>
              <a:cxn ang="0">
                <a:pos x="connsiteX6542" y="connsiteY6542"/>
              </a:cxn>
              <a:cxn ang="0">
                <a:pos x="connsiteX6543" y="connsiteY6543"/>
              </a:cxn>
              <a:cxn ang="0">
                <a:pos x="connsiteX6544" y="connsiteY6544"/>
              </a:cxn>
              <a:cxn ang="0">
                <a:pos x="connsiteX6545" y="connsiteY6545"/>
              </a:cxn>
              <a:cxn ang="0">
                <a:pos x="connsiteX6546" y="connsiteY6546"/>
              </a:cxn>
              <a:cxn ang="0">
                <a:pos x="connsiteX6547" y="connsiteY6547"/>
              </a:cxn>
              <a:cxn ang="0">
                <a:pos x="connsiteX6548" y="connsiteY6548"/>
              </a:cxn>
              <a:cxn ang="0">
                <a:pos x="connsiteX6549" y="connsiteY6549"/>
              </a:cxn>
              <a:cxn ang="0">
                <a:pos x="connsiteX6550" y="connsiteY6550"/>
              </a:cxn>
              <a:cxn ang="0">
                <a:pos x="connsiteX6551" y="connsiteY6551"/>
              </a:cxn>
              <a:cxn ang="0">
                <a:pos x="connsiteX6552" y="connsiteY6552"/>
              </a:cxn>
              <a:cxn ang="0">
                <a:pos x="connsiteX6553" y="connsiteY6553"/>
              </a:cxn>
              <a:cxn ang="0">
                <a:pos x="connsiteX6554" y="connsiteY6554"/>
              </a:cxn>
              <a:cxn ang="0">
                <a:pos x="connsiteX6555" y="connsiteY6555"/>
              </a:cxn>
              <a:cxn ang="0">
                <a:pos x="connsiteX6556" y="connsiteY6556"/>
              </a:cxn>
              <a:cxn ang="0">
                <a:pos x="connsiteX6557" y="connsiteY6557"/>
              </a:cxn>
              <a:cxn ang="0">
                <a:pos x="connsiteX6558" y="connsiteY6558"/>
              </a:cxn>
              <a:cxn ang="0">
                <a:pos x="connsiteX6559" y="connsiteY6559"/>
              </a:cxn>
              <a:cxn ang="0">
                <a:pos x="connsiteX6560" y="connsiteY6560"/>
              </a:cxn>
              <a:cxn ang="0">
                <a:pos x="connsiteX6561" y="connsiteY6561"/>
              </a:cxn>
              <a:cxn ang="0">
                <a:pos x="connsiteX6562" y="connsiteY6562"/>
              </a:cxn>
              <a:cxn ang="0">
                <a:pos x="connsiteX6563" y="connsiteY6563"/>
              </a:cxn>
              <a:cxn ang="0">
                <a:pos x="connsiteX6564" y="connsiteY6564"/>
              </a:cxn>
              <a:cxn ang="0">
                <a:pos x="connsiteX6565" y="connsiteY6565"/>
              </a:cxn>
              <a:cxn ang="0">
                <a:pos x="connsiteX6566" y="connsiteY6566"/>
              </a:cxn>
              <a:cxn ang="0">
                <a:pos x="connsiteX6567" y="connsiteY6567"/>
              </a:cxn>
              <a:cxn ang="0">
                <a:pos x="connsiteX6568" y="connsiteY6568"/>
              </a:cxn>
              <a:cxn ang="0">
                <a:pos x="connsiteX6569" y="connsiteY6569"/>
              </a:cxn>
              <a:cxn ang="0">
                <a:pos x="connsiteX6570" y="connsiteY6570"/>
              </a:cxn>
              <a:cxn ang="0">
                <a:pos x="connsiteX6571" y="connsiteY6571"/>
              </a:cxn>
              <a:cxn ang="0">
                <a:pos x="connsiteX6572" y="connsiteY6572"/>
              </a:cxn>
              <a:cxn ang="0">
                <a:pos x="connsiteX6573" y="connsiteY6573"/>
              </a:cxn>
              <a:cxn ang="0">
                <a:pos x="connsiteX6574" y="connsiteY6574"/>
              </a:cxn>
              <a:cxn ang="0">
                <a:pos x="connsiteX6575" y="connsiteY6575"/>
              </a:cxn>
              <a:cxn ang="0">
                <a:pos x="connsiteX6576" y="connsiteY6576"/>
              </a:cxn>
              <a:cxn ang="0">
                <a:pos x="connsiteX6577" y="connsiteY6577"/>
              </a:cxn>
              <a:cxn ang="0">
                <a:pos x="connsiteX6578" y="connsiteY6578"/>
              </a:cxn>
              <a:cxn ang="0">
                <a:pos x="connsiteX6579" y="connsiteY6579"/>
              </a:cxn>
              <a:cxn ang="0">
                <a:pos x="connsiteX6580" y="connsiteY6580"/>
              </a:cxn>
              <a:cxn ang="0">
                <a:pos x="connsiteX6581" y="connsiteY6581"/>
              </a:cxn>
              <a:cxn ang="0">
                <a:pos x="connsiteX6582" y="connsiteY6582"/>
              </a:cxn>
              <a:cxn ang="0">
                <a:pos x="connsiteX6583" y="connsiteY6583"/>
              </a:cxn>
              <a:cxn ang="0">
                <a:pos x="connsiteX6584" y="connsiteY6584"/>
              </a:cxn>
              <a:cxn ang="0">
                <a:pos x="connsiteX6585" y="connsiteY6585"/>
              </a:cxn>
              <a:cxn ang="0">
                <a:pos x="connsiteX6586" y="connsiteY6586"/>
              </a:cxn>
              <a:cxn ang="0">
                <a:pos x="connsiteX6587" y="connsiteY6587"/>
              </a:cxn>
              <a:cxn ang="0">
                <a:pos x="connsiteX6588" y="connsiteY6588"/>
              </a:cxn>
              <a:cxn ang="0">
                <a:pos x="connsiteX6589" y="connsiteY6589"/>
              </a:cxn>
              <a:cxn ang="0">
                <a:pos x="connsiteX6590" y="connsiteY6590"/>
              </a:cxn>
              <a:cxn ang="0">
                <a:pos x="connsiteX6591" y="connsiteY6591"/>
              </a:cxn>
              <a:cxn ang="0">
                <a:pos x="connsiteX6592" y="connsiteY6592"/>
              </a:cxn>
              <a:cxn ang="0">
                <a:pos x="connsiteX6593" y="connsiteY6593"/>
              </a:cxn>
              <a:cxn ang="0">
                <a:pos x="connsiteX6594" y="connsiteY6594"/>
              </a:cxn>
              <a:cxn ang="0">
                <a:pos x="connsiteX6595" y="connsiteY6595"/>
              </a:cxn>
              <a:cxn ang="0">
                <a:pos x="connsiteX6596" y="connsiteY6596"/>
              </a:cxn>
              <a:cxn ang="0">
                <a:pos x="connsiteX6597" y="connsiteY6597"/>
              </a:cxn>
              <a:cxn ang="0">
                <a:pos x="connsiteX6598" y="connsiteY6598"/>
              </a:cxn>
              <a:cxn ang="0">
                <a:pos x="connsiteX6599" y="connsiteY6599"/>
              </a:cxn>
              <a:cxn ang="0">
                <a:pos x="connsiteX6600" y="connsiteY6600"/>
              </a:cxn>
              <a:cxn ang="0">
                <a:pos x="connsiteX6601" y="connsiteY6601"/>
              </a:cxn>
              <a:cxn ang="0">
                <a:pos x="connsiteX6602" y="connsiteY6602"/>
              </a:cxn>
              <a:cxn ang="0">
                <a:pos x="connsiteX6603" y="connsiteY6603"/>
              </a:cxn>
              <a:cxn ang="0">
                <a:pos x="connsiteX6604" y="connsiteY6604"/>
              </a:cxn>
              <a:cxn ang="0">
                <a:pos x="connsiteX6605" y="connsiteY6605"/>
              </a:cxn>
              <a:cxn ang="0">
                <a:pos x="connsiteX6606" y="connsiteY6606"/>
              </a:cxn>
              <a:cxn ang="0">
                <a:pos x="connsiteX6607" y="connsiteY6607"/>
              </a:cxn>
              <a:cxn ang="0">
                <a:pos x="connsiteX6608" y="connsiteY6608"/>
              </a:cxn>
              <a:cxn ang="0">
                <a:pos x="connsiteX6609" y="connsiteY6609"/>
              </a:cxn>
              <a:cxn ang="0">
                <a:pos x="connsiteX6610" y="connsiteY6610"/>
              </a:cxn>
              <a:cxn ang="0">
                <a:pos x="connsiteX6611" y="connsiteY6611"/>
              </a:cxn>
              <a:cxn ang="0">
                <a:pos x="connsiteX6612" y="connsiteY6612"/>
              </a:cxn>
              <a:cxn ang="0">
                <a:pos x="connsiteX6613" y="connsiteY6613"/>
              </a:cxn>
              <a:cxn ang="0">
                <a:pos x="connsiteX6614" y="connsiteY6614"/>
              </a:cxn>
              <a:cxn ang="0">
                <a:pos x="connsiteX6615" y="connsiteY6615"/>
              </a:cxn>
              <a:cxn ang="0">
                <a:pos x="connsiteX6616" y="connsiteY6616"/>
              </a:cxn>
              <a:cxn ang="0">
                <a:pos x="connsiteX6617" y="connsiteY6617"/>
              </a:cxn>
              <a:cxn ang="0">
                <a:pos x="connsiteX6618" y="connsiteY6618"/>
              </a:cxn>
              <a:cxn ang="0">
                <a:pos x="connsiteX6619" y="connsiteY6619"/>
              </a:cxn>
              <a:cxn ang="0">
                <a:pos x="connsiteX6620" y="connsiteY6620"/>
              </a:cxn>
              <a:cxn ang="0">
                <a:pos x="connsiteX6621" y="connsiteY6621"/>
              </a:cxn>
              <a:cxn ang="0">
                <a:pos x="connsiteX6622" y="connsiteY6622"/>
              </a:cxn>
              <a:cxn ang="0">
                <a:pos x="connsiteX6623" y="connsiteY6623"/>
              </a:cxn>
              <a:cxn ang="0">
                <a:pos x="connsiteX6624" y="connsiteY6624"/>
              </a:cxn>
              <a:cxn ang="0">
                <a:pos x="connsiteX6625" y="connsiteY6625"/>
              </a:cxn>
              <a:cxn ang="0">
                <a:pos x="connsiteX6626" y="connsiteY6626"/>
              </a:cxn>
              <a:cxn ang="0">
                <a:pos x="connsiteX6627" y="connsiteY6627"/>
              </a:cxn>
              <a:cxn ang="0">
                <a:pos x="connsiteX6628" y="connsiteY6628"/>
              </a:cxn>
              <a:cxn ang="0">
                <a:pos x="connsiteX6629" y="connsiteY6629"/>
              </a:cxn>
              <a:cxn ang="0">
                <a:pos x="connsiteX6630" y="connsiteY6630"/>
              </a:cxn>
              <a:cxn ang="0">
                <a:pos x="connsiteX6631" y="connsiteY6631"/>
              </a:cxn>
              <a:cxn ang="0">
                <a:pos x="connsiteX6632" y="connsiteY6632"/>
              </a:cxn>
              <a:cxn ang="0">
                <a:pos x="connsiteX6633" y="connsiteY6633"/>
              </a:cxn>
              <a:cxn ang="0">
                <a:pos x="connsiteX6634" y="connsiteY6634"/>
              </a:cxn>
              <a:cxn ang="0">
                <a:pos x="connsiteX6635" y="connsiteY6635"/>
              </a:cxn>
              <a:cxn ang="0">
                <a:pos x="connsiteX6636" y="connsiteY6636"/>
              </a:cxn>
              <a:cxn ang="0">
                <a:pos x="connsiteX6637" y="connsiteY6637"/>
              </a:cxn>
              <a:cxn ang="0">
                <a:pos x="connsiteX6638" y="connsiteY6638"/>
              </a:cxn>
              <a:cxn ang="0">
                <a:pos x="connsiteX6639" y="connsiteY6639"/>
              </a:cxn>
              <a:cxn ang="0">
                <a:pos x="connsiteX6640" y="connsiteY6640"/>
              </a:cxn>
              <a:cxn ang="0">
                <a:pos x="connsiteX6641" y="connsiteY6641"/>
              </a:cxn>
              <a:cxn ang="0">
                <a:pos x="connsiteX6642" y="connsiteY6642"/>
              </a:cxn>
              <a:cxn ang="0">
                <a:pos x="connsiteX6643" y="connsiteY6643"/>
              </a:cxn>
              <a:cxn ang="0">
                <a:pos x="connsiteX6644" y="connsiteY6644"/>
              </a:cxn>
              <a:cxn ang="0">
                <a:pos x="connsiteX6645" y="connsiteY6645"/>
              </a:cxn>
              <a:cxn ang="0">
                <a:pos x="connsiteX6646" y="connsiteY6646"/>
              </a:cxn>
              <a:cxn ang="0">
                <a:pos x="connsiteX6647" y="connsiteY6647"/>
              </a:cxn>
              <a:cxn ang="0">
                <a:pos x="connsiteX6648" y="connsiteY6648"/>
              </a:cxn>
              <a:cxn ang="0">
                <a:pos x="connsiteX6649" y="connsiteY6649"/>
              </a:cxn>
              <a:cxn ang="0">
                <a:pos x="connsiteX6650" y="connsiteY6650"/>
              </a:cxn>
              <a:cxn ang="0">
                <a:pos x="connsiteX6651" y="connsiteY6651"/>
              </a:cxn>
              <a:cxn ang="0">
                <a:pos x="connsiteX6652" y="connsiteY6652"/>
              </a:cxn>
              <a:cxn ang="0">
                <a:pos x="connsiteX6653" y="connsiteY6653"/>
              </a:cxn>
              <a:cxn ang="0">
                <a:pos x="connsiteX6654" y="connsiteY6654"/>
              </a:cxn>
              <a:cxn ang="0">
                <a:pos x="connsiteX6655" y="connsiteY6655"/>
              </a:cxn>
              <a:cxn ang="0">
                <a:pos x="connsiteX6656" y="connsiteY6656"/>
              </a:cxn>
              <a:cxn ang="0">
                <a:pos x="connsiteX6657" y="connsiteY6657"/>
              </a:cxn>
              <a:cxn ang="0">
                <a:pos x="connsiteX6658" y="connsiteY6658"/>
              </a:cxn>
              <a:cxn ang="0">
                <a:pos x="connsiteX6659" y="connsiteY6659"/>
              </a:cxn>
              <a:cxn ang="0">
                <a:pos x="connsiteX6660" y="connsiteY6660"/>
              </a:cxn>
              <a:cxn ang="0">
                <a:pos x="connsiteX6661" y="connsiteY6661"/>
              </a:cxn>
              <a:cxn ang="0">
                <a:pos x="connsiteX6662" y="connsiteY6662"/>
              </a:cxn>
              <a:cxn ang="0">
                <a:pos x="connsiteX6663" y="connsiteY6663"/>
              </a:cxn>
              <a:cxn ang="0">
                <a:pos x="connsiteX6664" y="connsiteY6664"/>
              </a:cxn>
              <a:cxn ang="0">
                <a:pos x="connsiteX6665" y="connsiteY6665"/>
              </a:cxn>
              <a:cxn ang="0">
                <a:pos x="connsiteX6666" y="connsiteY6666"/>
              </a:cxn>
              <a:cxn ang="0">
                <a:pos x="connsiteX6667" y="connsiteY6667"/>
              </a:cxn>
              <a:cxn ang="0">
                <a:pos x="connsiteX6668" y="connsiteY6668"/>
              </a:cxn>
              <a:cxn ang="0">
                <a:pos x="connsiteX6669" y="connsiteY6669"/>
              </a:cxn>
              <a:cxn ang="0">
                <a:pos x="connsiteX6670" y="connsiteY6670"/>
              </a:cxn>
              <a:cxn ang="0">
                <a:pos x="connsiteX6671" y="connsiteY6671"/>
              </a:cxn>
              <a:cxn ang="0">
                <a:pos x="connsiteX6672" y="connsiteY6672"/>
              </a:cxn>
              <a:cxn ang="0">
                <a:pos x="connsiteX6673" y="connsiteY6673"/>
              </a:cxn>
              <a:cxn ang="0">
                <a:pos x="connsiteX6674" y="connsiteY6674"/>
              </a:cxn>
              <a:cxn ang="0">
                <a:pos x="connsiteX6675" y="connsiteY6675"/>
              </a:cxn>
              <a:cxn ang="0">
                <a:pos x="connsiteX6676" y="connsiteY6676"/>
              </a:cxn>
              <a:cxn ang="0">
                <a:pos x="connsiteX6677" y="connsiteY6677"/>
              </a:cxn>
              <a:cxn ang="0">
                <a:pos x="connsiteX6678" y="connsiteY6678"/>
              </a:cxn>
              <a:cxn ang="0">
                <a:pos x="connsiteX6679" y="connsiteY6679"/>
              </a:cxn>
              <a:cxn ang="0">
                <a:pos x="connsiteX6680" y="connsiteY6680"/>
              </a:cxn>
              <a:cxn ang="0">
                <a:pos x="connsiteX6681" y="connsiteY6681"/>
              </a:cxn>
              <a:cxn ang="0">
                <a:pos x="connsiteX6682" y="connsiteY6682"/>
              </a:cxn>
              <a:cxn ang="0">
                <a:pos x="connsiteX6683" y="connsiteY6683"/>
              </a:cxn>
              <a:cxn ang="0">
                <a:pos x="connsiteX6684" y="connsiteY6684"/>
              </a:cxn>
              <a:cxn ang="0">
                <a:pos x="connsiteX6685" y="connsiteY6685"/>
              </a:cxn>
              <a:cxn ang="0">
                <a:pos x="connsiteX6686" y="connsiteY6686"/>
              </a:cxn>
              <a:cxn ang="0">
                <a:pos x="connsiteX6687" y="connsiteY6687"/>
              </a:cxn>
              <a:cxn ang="0">
                <a:pos x="connsiteX6688" y="connsiteY6688"/>
              </a:cxn>
              <a:cxn ang="0">
                <a:pos x="connsiteX6689" y="connsiteY6689"/>
              </a:cxn>
              <a:cxn ang="0">
                <a:pos x="connsiteX6690" y="connsiteY6690"/>
              </a:cxn>
              <a:cxn ang="0">
                <a:pos x="connsiteX6691" y="connsiteY6691"/>
              </a:cxn>
              <a:cxn ang="0">
                <a:pos x="connsiteX6692" y="connsiteY6692"/>
              </a:cxn>
              <a:cxn ang="0">
                <a:pos x="connsiteX6693" y="connsiteY6693"/>
              </a:cxn>
              <a:cxn ang="0">
                <a:pos x="connsiteX6694" y="connsiteY6694"/>
              </a:cxn>
              <a:cxn ang="0">
                <a:pos x="connsiteX6695" y="connsiteY6695"/>
              </a:cxn>
              <a:cxn ang="0">
                <a:pos x="connsiteX6696" y="connsiteY6696"/>
              </a:cxn>
              <a:cxn ang="0">
                <a:pos x="connsiteX6697" y="connsiteY6697"/>
              </a:cxn>
              <a:cxn ang="0">
                <a:pos x="connsiteX6698" y="connsiteY6698"/>
              </a:cxn>
              <a:cxn ang="0">
                <a:pos x="connsiteX6699" y="connsiteY6699"/>
              </a:cxn>
              <a:cxn ang="0">
                <a:pos x="connsiteX6700" y="connsiteY6700"/>
              </a:cxn>
              <a:cxn ang="0">
                <a:pos x="connsiteX6701" y="connsiteY6701"/>
              </a:cxn>
              <a:cxn ang="0">
                <a:pos x="connsiteX6702" y="connsiteY6702"/>
              </a:cxn>
              <a:cxn ang="0">
                <a:pos x="connsiteX6703" y="connsiteY6703"/>
              </a:cxn>
              <a:cxn ang="0">
                <a:pos x="connsiteX6704" y="connsiteY6704"/>
              </a:cxn>
              <a:cxn ang="0">
                <a:pos x="connsiteX6705" y="connsiteY6705"/>
              </a:cxn>
              <a:cxn ang="0">
                <a:pos x="connsiteX6706" y="connsiteY6706"/>
              </a:cxn>
              <a:cxn ang="0">
                <a:pos x="connsiteX6707" y="connsiteY6707"/>
              </a:cxn>
              <a:cxn ang="0">
                <a:pos x="connsiteX6708" y="connsiteY6708"/>
              </a:cxn>
              <a:cxn ang="0">
                <a:pos x="connsiteX6709" y="connsiteY6709"/>
              </a:cxn>
              <a:cxn ang="0">
                <a:pos x="connsiteX6710" y="connsiteY6710"/>
              </a:cxn>
              <a:cxn ang="0">
                <a:pos x="connsiteX6711" y="connsiteY6711"/>
              </a:cxn>
              <a:cxn ang="0">
                <a:pos x="connsiteX6712" y="connsiteY6712"/>
              </a:cxn>
              <a:cxn ang="0">
                <a:pos x="connsiteX6713" y="connsiteY6713"/>
              </a:cxn>
              <a:cxn ang="0">
                <a:pos x="connsiteX6714" y="connsiteY6714"/>
              </a:cxn>
              <a:cxn ang="0">
                <a:pos x="connsiteX6715" y="connsiteY6715"/>
              </a:cxn>
              <a:cxn ang="0">
                <a:pos x="connsiteX6716" y="connsiteY6716"/>
              </a:cxn>
              <a:cxn ang="0">
                <a:pos x="connsiteX6717" y="connsiteY6717"/>
              </a:cxn>
              <a:cxn ang="0">
                <a:pos x="connsiteX6718" y="connsiteY6718"/>
              </a:cxn>
              <a:cxn ang="0">
                <a:pos x="connsiteX6719" y="connsiteY6719"/>
              </a:cxn>
              <a:cxn ang="0">
                <a:pos x="connsiteX6720" y="connsiteY6720"/>
              </a:cxn>
              <a:cxn ang="0">
                <a:pos x="connsiteX6721" y="connsiteY6721"/>
              </a:cxn>
              <a:cxn ang="0">
                <a:pos x="connsiteX6722" y="connsiteY6722"/>
              </a:cxn>
              <a:cxn ang="0">
                <a:pos x="connsiteX6723" y="connsiteY6723"/>
              </a:cxn>
              <a:cxn ang="0">
                <a:pos x="connsiteX6724" y="connsiteY6724"/>
              </a:cxn>
              <a:cxn ang="0">
                <a:pos x="connsiteX6725" y="connsiteY6725"/>
              </a:cxn>
              <a:cxn ang="0">
                <a:pos x="connsiteX6726" y="connsiteY6726"/>
              </a:cxn>
              <a:cxn ang="0">
                <a:pos x="connsiteX6727" y="connsiteY6727"/>
              </a:cxn>
              <a:cxn ang="0">
                <a:pos x="connsiteX6728" y="connsiteY6728"/>
              </a:cxn>
              <a:cxn ang="0">
                <a:pos x="connsiteX6729" y="connsiteY6729"/>
              </a:cxn>
              <a:cxn ang="0">
                <a:pos x="connsiteX6730" y="connsiteY6730"/>
              </a:cxn>
              <a:cxn ang="0">
                <a:pos x="connsiteX6731" y="connsiteY6731"/>
              </a:cxn>
              <a:cxn ang="0">
                <a:pos x="connsiteX6732" y="connsiteY6732"/>
              </a:cxn>
              <a:cxn ang="0">
                <a:pos x="connsiteX6733" y="connsiteY6733"/>
              </a:cxn>
              <a:cxn ang="0">
                <a:pos x="connsiteX6734" y="connsiteY6734"/>
              </a:cxn>
              <a:cxn ang="0">
                <a:pos x="connsiteX6735" y="connsiteY6735"/>
              </a:cxn>
              <a:cxn ang="0">
                <a:pos x="connsiteX6736" y="connsiteY6736"/>
              </a:cxn>
              <a:cxn ang="0">
                <a:pos x="connsiteX6737" y="connsiteY6737"/>
              </a:cxn>
              <a:cxn ang="0">
                <a:pos x="connsiteX6738" y="connsiteY6738"/>
              </a:cxn>
              <a:cxn ang="0">
                <a:pos x="connsiteX6739" y="connsiteY6739"/>
              </a:cxn>
              <a:cxn ang="0">
                <a:pos x="connsiteX6740" y="connsiteY6740"/>
              </a:cxn>
              <a:cxn ang="0">
                <a:pos x="connsiteX6741" y="connsiteY6741"/>
              </a:cxn>
              <a:cxn ang="0">
                <a:pos x="connsiteX6742" y="connsiteY6742"/>
              </a:cxn>
              <a:cxn ang="0">
                <a:pos x="connsiteX6743" y="connsiteY6743"/>
              </a:cxn>
              <a:cxn ang="0">
                <a:pos x="connsiteX6744" y="connsiteY6744"/>
              </a:cxn>
              <a:cxn ang="0">
                <a:pos x="connsiteX6745" y="connsiteY6745"/>
              </a:cxn>
              <a:cxn ang="0">
                <a:pos x="connsiteX6746" y="connsiteY6746"/>
              </a:cxn>
              <a:cxn ang="0">
                <a:pos x="connsiteX6747" y="connsiteY6747"/>
              </a:cxn>
              <a:cxn ang="0">
                <a:pos x="connsiteX6748" y="connsiteY6748"/>
              </a:cxn>
              <a:cxn ang="0">
                <a:pos x="connsiteX6749" y="connsiteY6749"/>
              </a:cxn>
              <a:cxn ang="0">
                <a:pos x="connsiteX6750" y="connsiteY6750"/>
              </a:cxn>
              <a:cxn ang="0">
                <a:pos x="connsiteX6751" y="connsiteY6751"/>
              </a:cxn>
              <a:cxn ang="0">
                <a:pos x="connsiteX6752" y="connsiteY6752"/>
              </a:cxn>
              <a:cxn ang="0">
                <a:pos x="connsiteX6753" y="connsiteY6753"/>
              </a:cxn>
              <a:cxn ang="0">
                <a:pos x="connsiteX6754" y="connsiteY6754"/>
              </a:cxn>
              <a:cxn ang="0">
                <a:pos x="connsiteX6755" y="connsiteY6755"/>
              </a:cxn>
              <a:cxn ang="0">
                <a:pos x="connsiteX6756" y="connsiteY6756"/>
              </a:cxn>
              <a:cxn ang="0">
                <a:pos x="connsiteX6757" y="connsiteY6757"/>
              </a:cxn>
              <a:cxn ang="0">
                <a:pos x="connsiteX6758" y="connsiteY6758"/>
              </a:cxn>
              <a:cxn ang="0">
                <a:pos x="connsiteX6759" y="connsiteY6759"/>
              </a:cxn>
              <a:cxn ang="0">
                <a:pos x="connsiteX6760" y="connsiteY6760"/>
              </a:cxn>
              <a:cxn ang="0">
                <a:pos x="connsiteX6761" y="connsiteY6761"/>
              </a:cxn>
              <a:cxn ang="0">
                <a:pos x="connsiteX6762" y="connsiteY6762"/>
              </a:cxn>
              <a:cxn ang="0">
                <a:pos x="connsiteX6763" y="connsiteY6763"/>
              </a:cxn>
              <a:cxn ang="0">
                <a:pos x="connsiteX6764" y="connsiteY6764"/>
              </a:cxn>
              <a:cxn ang="0">
                <a:pos x="connsiteX6765" y="connsiteY6765"/>
              </a:cxn>
              <a:cxn ang="0">
                <a:pos x="connsiteX6766" y="connsiteY6766"/>
              </a:cxn>
              <a:cxn ang="0">
                <a:pos x="connsiteX6767" y="connsiteY6767"/>
              </a:cxn>
              <a:cxn ang="0">
                <a:pos x="connsiteX6768" y="connsiteY6768"/>
              </a:cxn>
              <a:cxn ang="0">
                <a:pos x="connsiteX6769" y="connsiteY6769"/>
              </a:cxn>
              <a:cxn ang="0">
                <a:pos x="connsiteX6770" y="connsiteY6770"/>
              </a:cxn>
              <a:cxn ang="0">
                <a:pos x="connsiteX6771" y="connsiteY6771"/>
              </a:cxn>
              <a:cxn ang="0">
                <a:pos x="connsiteX6772" y="connsiteY6772"/>
              </a:cxn>
              <a:cxn ang="0">
                <a:pos x="connsiteX6773" y="connsiteY6773"/>
              </a:cxn>
              <a:cxn ang="0">
                <a:pos x="connsiteX6774" y="connsiteY6774"/>
              </a:cxn>
              <a:cxn ang="0">
                <a:pos x="connsiteX6775" y="connsiteY6775"/>
              </a:cxn>
              <a:cxn ang="0">
                <a:pos x="connsiteX6776" y="connsiteY6776"/>
              </a:cxn>
              <a:cxn ang="0">
                <a:pos x="connsiteX6777" y="connsiteY6777"/>
              </a:cxn>
              <a:cxn ang="0">
                <a:pos x="connsiteX6778" y="connsiteY6778"/>
              </a:cxn>
              <a:cxn ang="0">
                <a:pos x="connsiteX6779" y="connsiteY6779"/>
              </a:cxn>
              <a:cxn ang="0">
                <a:pos x="connsiteX6780" y="connsiteY6780"/>
              </a:cxn>
              <a:cxn ang="0">
                <a:pos x="connsiteX6781" y="connsiteY6781"/>
              </a:cxn>
              <a:cxn ang="0">
                <a:pos x="connsiteX6782" y="connsiteY6782"/>
              </a:cxn>
              <a:cxn ang="0">
                <a:pos x="connsiteX6783" y="connsiteY6783"/>
              </a:cxn>
              <a:cxn ang="0">
                <a:pos x="connsiteX6784" y="connsiteY6784"/>
              </a:cxn>
              <a:cxn ang="0">
                <a:pos x="connsiteX6785" y="connsiteY6785"/>
              </a:cxn>
              <a:cxn ang="0">
                <a:pos x="connsiteX6786" y="connsiteY6786"/>
              </a:cxn>
              <a:cxn ang="0">
                <a:pos x="connsiteX6787" y="connsiteY6787"/>
              </a:cxn>
              <a:cxn ang="0">
                <a:pos x="connsiteX6788" y="connsiteY6788"/>
              </a:cxn>
              <a:cxn ang="0">
                <a:pos x="connsiteX6789" y="connsiteY6789"/>
              </a:cxn>
              <a:cxn ang="0">
                <a:pos x="connsiteX6790" y="connsiteY6790"/>
              </a:cxn>
              <a:cxn ang="0">
                <a:pos x="connsiteX6791" y="connsiteY6791"/>
              </a:cxn>
              <a:cxn ang="0">
                <a:pos x="connsiteX6792" y="connsiteY6792"/>
              </a:cxn>
              <a:cxn ang="0">
                <a:pos x="connsiteX6793" y="connsiteY6793"/>
              </a:cxn>
              <a:cxn ang="0">
                <a:pos x="connsiteX6794" y="connsiteY6794"/>
              </a:cxn>
              <a:cxn ang="0">
                <a:pos x="connsiteX6795" y="connsiteY6795"/>
              </a:cxn>
              <a:cxn ang="0">
                <a:pos x="connsiteX6796" y="connsiteY6796"/>
              </a:cxn>
              <a:cxn ang="0">
                <a:pos x="connsiteX6797" y="connsiteY6797"/>
              </a:cxn>
              <a:cxn ang="0">
                <a:pos x="connsiteX6798" y="connsiteY6798"/>
              </a:cxn>
              <a:cxn ang="0">
                <a:pos x="connsiteX6799" y="connsiteY6799"/>
              </a:cxn>
              <a:cxn ang="0">
                <a:pos x="connsiteX6800" y="connsiteY6800"/>
              </a:cxn>
              <a:cxn ang="0">
                <a:pos x="connsiteX6801" y="connsiteY6801"/>
              </a:cxn>
              <a:cxn ang="0">
                <a:pos x="connsiteX6802" y="connsiteY6802"/>
              </a:cxn>
              <a:cxn ang="0">
                <a:pos x="connsiteX6803" y="connsiteY6803"/>
              </a:cxn>
              <a:cxn ang="0">
                <a:pos x="connsiteX6804" y="connsiteY6804"/>
              </a:cxn>
              <a:cxn ang="0">
                <a:pos x="connsiteX6805" y="connsiteY6805"/>
              </a:cxn>
              <a:cxn ang="0">
                <a:pos x="connsiteX6806" y="connsiteY6806"/>
              </a:cxn>
              <a:cxn ang="0">
                <a:pos x="connsiteX6807" y="connsiteY6807"/>
              </a:cxn>
              <a:cxn ang="0">
                <a:pos x="connsiteX6808" y="connsiteY6808"/>
              </a:cxn>
              <a:cxn ang="0">
                <a:pos x="connsiteX6809" y="connsiteY6809"/>
              </a:cxn>
              <a:cxn ang="0">
                <a:pos x="connsiteX6810" y="connsiteY6810"/>
              </a:cxn>
              <a:cxn ang="0">
                <a:pos x="connsiteX6811" y="connsiteY6811"/>
              </a:cxn>
              <a:cxn ang="0">
                <a:pos x="connsiteX6812" y="connsiteY6812"/>
              </a:cxn>
              <a:cxn ang="0">
                <a:pos x="connsiteX6813" y="connsiteY6813"/>
              </a:cxn>
              <a:cxn ang="0">
                <a:pos x="connsiteX6814" y="connsiteY6814"/>
              </a:cxn>
              <a:cxn ang="0">
                <a:pos x="connsiteX6815" y="connsiteY6815"/>
              </a:cxn>
              <a:cxn ang="0">
                <a:pos x="connsiteX6816" y="connsiteY6816"/>
              </a:cxn>
              <a:cxn ang="0">
                <a:pos x="connsiteX6817" y="connsiteY6817"/>
              </a:cxn>
              <a:cxn ang="0">
                <a:pos x="connsiteX6818" y="connsiteY6818"/>
              </a:cxn>
              <a:cxn ang="0">
                <a:pos x="connsiteX6819" y="connsiteY6819"/>
              </a:cxn>
              <a:cxn ang="0">
                <a:pos x="connsiteX6820" y="connsiteY6820"/>
              </a:cxn>
              <a:cxn ang="0">
                <a:pos x="connsiteX6821" y="connsiteY6821"/>
              </a:cxn>
              <a:cxn ang="0">
                <a:pos x="connsiteX6822" y="connsiteY6822"/>
              </a:cxn>
              <a:cxn ang="0">
                <a:pos x="connsiteX6823" y="connsiteY6823"/>
              </a:cxn>
              <a:cxn ang="0">
                <a:pos x="connsiteX6824" y="connsiteY6824"/>
              </a:cxn>
              <a:cxn ang="0">
                <a:pos x="connsiteX6825" y="connsiteY6825"/>
              </a:cxn>
              <a:cxn ang="0">
                <a:pos x="connsiteX6826" y="connsiteY6826"/>
              </a:cxn>
              <a:cxn ang="0">
                <a:pos x="connsiteX6827" y="connsiteY6827"/>
              </a:cxn>
              <a:cxn ang="0">
                <a:pos x="connsiteX6828" y="connsiteY6828"/>
              </a:cxn>
              <a:cxn ang="0">
                <a:pos x="connsiteX6829" y="connsiteY6829"/>
              </a:cxn>
              <a:cxn ang="0">
                <a:pos x="connsiteX6830" y="connsiteY6830"/>
              </a:cxn>
              <a:cxn ang="0">
                <a:pos x="connsiteX6831" y="connsiteY6831"/>
              </a:cxn>
              <a:cxn ang="0">
                <a:pos x="connsiteX6832" y="connsiteY6832"/>
              </a:cxn>
              <a:cxn ang="0">
                <a:pos x="connsiteX6833" y="connsiteY6833"/>
              </a:cxn>
              <a:cxn ang="0">
                <a:pos x="connsiteX6834" y="connsiteY6834"/>
              </a:cxn>
              <a:cxn ang="0">
                <a:pos x="connsiteX6835" y="connsiteY6835"/>
              </a:cxn>
              <a:cxn ang="0">
                <a:pos x="connsiteX6836" y="connsiteY6836"/>
              </a:cxn>
              <a:cxn ang="0">
                <a:pos x="connsiteX6837" y="connsiteY6837"/>
              </a:cxn>
              <a:cxn ang="0">
                <a:pos x="connsiteX6838" y="connsiteY6838"/>
              </a:cxn>
              <a:cxn ang="0">
                <a:pos x="connsiteX6839" y="connsiteY6839"/>
              </a:cxn>
              <a:cxn ang="0">
                <a:pos x="connsiteX6840" y="connsiteY6840"/>
              </a:cxn>
              <a:cxn ang="0">
                <a:pos x="connsiteX6841" y="connsiteY6841"/>
              </a:cxn>
              <a:cxn ang="0">
                <a:pos x="connsiteX6842" y="connsiteY6842"/>
              </a:cxn>
              <a:cxn ang="0">
                <a:pos x="connsiteX6843" y="connsiteY6843"/>
              </a:cxn>
              <a:cxn ang="0">
                <a:pos x="connsiteX6844" y="connsiteY6844"/>
              </a:cxn>
              <a:cxn ang="0">
                <a:pos x="connsiteX6845" y="connsiteY6845"/>
              </a:cxn>
              <a:cxn ang="0">
                <a:pos x="connsiteX6846" y="connsiteY6846"/>
              </a:cxn>
              <a:cxn ang="0">
                <a:pos x="connsiteX6847" y="connsiteY6847"/>
              </a:cxn>
              <a:cxn ang="0">
                <a:pos x="connsiteX6848" y="connsiteY6848"/>
              </a:cxn>
              <a:cxn ang="0">
                <a:pos x="connsiteX6849" y="connsiteY6849"/>
              </a:cxn>
              <a:cxn ang="0">
                <a:pos x="connsiteX6850" y="connsiteY6850"/>
              </a:cxn>
              <a:cxn ang="0">
                <a:pos x="connsiteX6851" y="connsiteY6851"/>
              </a:cxn>
              <a:cxn ang="0">
                <a:pos x="connsiteX6852" y="connsiteY6852"/>
              </a:cxn>
              <a:cxn ang="0">
                <a:pos x="connsiteX6853" y="connsiteY6853"/>
              </a:cxn>
              <a:cxn ang="0">
                <a:pos x="connsiteX6854" y="connsiteY6854"/>
              </a:cxn>
              <a:cxn ang="0">
                <a:pos x="connsiteX6855" y="connsiteY6855"/>
              </a:cxn>
              <a:cxn ang="0">
                <a:pos x="connsiteX6856" y="connsiteY6856"/>
              </a:cxn>
              <a:cxn ang="0">
                <a:pos x="connsiteX6857" y="connsiteY6857"/>
              </a:cxn>
              <a:cxn ang="0">
                <a:pos x="connsiteX6858" y="connsiteY6858"/>
              </a:cxn>
              <a:cxn ang="0">
                <a:pos x="connsiteX6859" y="connsiteY6859"/>
              </a:cxn>
              <a:cxn ang="0">
                <a:pos x="connsiteX6860" y="connsiteY6860"/>
              </a:cxn>
              <a:cxn ang="0">
                <a:pos x="connsiteX6861" y="connsiteY6861"/>
              </a:cxn>
              <a:cxn ang="0">
                <a:pos x="connsiteX6862" y="connsiteY6862"/>
              </a:cxn>
              <a:cxn ang="0">
                <a:pos x="connsiteX6863" y="connsiteY6863"/>
              </a:cxn>
              <a:cxn ang="0">
                <a:pos x="connsiteX6864" y="connsiteY6864"/>
              </a:cxn>
              <a:cxn ang="0">
                <a:pos x="connsiteX6865" y="connsiteY6865"/>
              </a:cxn>
              <a:cxn ang="0">
                <a:pos x="connsiteX6866" y="connsiteY6866"/>
              </a:cxn>
              <a:cxn ang="0">
                <a:pos x="connsiteX6867" y="connsiteY6867"/>
              </a:cxn>
              <a:cxn ang="0">
                <a:pos x="connsiteX6868" y="connsiteY6868"/>
              </a:cxn>
              <a:cxn ang="0">
                <a:pos x="connsiteX6869" y="connsiteY6869"/>
              </a:cxn>
              <a:cxn ang="0">
                <a:pos x="connsiteX6870" y="connsiteY6870"/>
              </a:cxn>
              <a:cxn ang="0">
                <a:pos x="connsiteX6871" y="connsiteY6871"/>
              </a:cxn>
              <a:cxn ang="0">
                <a:pos x="connsiteX6872" y="connsiteY6872"/>
              </a:cxn>
              <a:cxn ang="0">
                <a:pos x="connsiteX6873" y="connsiteY6873"/>
              </a:cxn>
              <a:cxn ang="0">
                <a:pos x="connsiteX6874" y="connsiteY6874"/>
              </a:cxn>
              <a:cxn ang="0">
                <a:pos x="connsiteX6875" y="connsiteY6875"/>
              </a:cxn>
              <a:cxn ang="0">
                <a:pos x="connsiteX6876" y="connsiteY6876"/>
              </a:cxn>
              <a:cxn ang="0">
                <a:pos x="connsiteX6877" y="connsiteY6877"/>
              </a:cxn>
              <a:cxn ang="0">
                <a:pos x="connsiteX6878" y="connsiteY6878"/>
              </a:cxn>
              <a:cxn ang="0">
                <a:pos x="connsiteX6879" y="connsiteY6879"/>
              </a:cxn>
              <a:cxn ang="0">
                <a:pos x="connsiteX6880" y="connsiteY6880"/>
              </a:cxn>
              <a:cxn ang="0">
                <a:pos x="connsiteX6881" y="connsiteY6881"/>
              </a:cxn>
              <a:cxn ang="0">
                <a:pos x="connsiteX6882" y="connsiteY6882"/>
              </a:cxn>
              <a:cxn ang="0">
                <a:pos x="connsiteX6883" y="connsiteY6883"/>
              </a:cxn>
              <a:cxn ang="0">
                <a:pos x="connsiteX6884" y="connsiteY6884"/>
              </a:cxn>
              <a:cxn ang="0">
                <a:pos x="connsiteX6885" y="connsiteY6885"/>
              </a:cxn>
              <a:cxn ang="0">
                <a:pos x="connsiteX6886" y="connsiteY6886"/>
              </a:cxn>
              <a:cxn ang="0">
                <a:pos x="connsiteX6887" y="connsiteY6887"/>
              </a:cxn>
              <a:cxn ang="0">
                <a:pos x="connsiteX6888" y="connsiteY6888"/>
              </a:cxn>
              <a:cxn ang="0">
                <a:pos x="connsiteX6889" y="connsiteY6889"/>
              </a:cxn>
              <a:cxn ang="0">
                <a:pos x="connsiteX6890" y="connsiteY6890"/>
              </a:cxn>
              <a:cxn ang="0">
                <a:pos x="connsiteX6891" y="connsiteY6891"/>
              </a:cxn>
              <a:cxn ang="0">
                <a:pos x="connsiteX6892" y="connsiteY6892"/>
              </a:cxn>
              <a:cxn ang="0">
                <a:pos x="connsiteX6893" y="connsiteY6893"/>
              </a:cxn>
              <a:cxn ang="0">
                <a:pos x="connsiteX6894" y="connsiteY6894"/>
              </a:cxn>
              <a:cxn ang="0">
                <a:pos x="connsiteX6895" y="connsiteY6895"/>
              </a:cxn>
              <a:cxn ang="0">
                <a:pos x="connsiteX6896" y="connsiteY6896"/>
              </a:cxn>
              <a:cxn ang="0">
                <a:pos x="connsiteX6897" y="connsiteY6897"/>
              </a:cxn>
              <a:cxn ang="0">
                <a:pos x="connsiteX6898" y="connsiteY6898"/>
              </a:cxn>
              <a:cxn ang="0">
                <a:pos x="connsiteX6899" y="connsiteY6899"/>
              </a:cxn>
              <a:cxn ang="0">
                <a:pos x="connsiteX6900" y="connsiteY6900"/>
              </a:cxn>
              <a:cxn ang="0">
                <a:pos x="connsiteX6901" y="connsiteY6901"/>
              </a:cxn>
              <a:cxn ang="0">
                <a:pos x="connsiteX6902" y="connsiteY6902"/>
              </a:cxn>
              <a:cxn ang="0">
                <a:pos x="connsiteX6903" y="connsiteY6903"/>
              </a:cxn>
              <a:cxn ang="0">
                <a:pos x="connsiteX6904" y="connsiteY6904"/>
              </a:cxn>
              <a:cxn ang="0">
                <a:pos x="connsiteX6905" y="connsiteY6905"/>
              </a:cxn>
              <a:cxn ang="0">
                <a:pos x="connsiteX6906" y="connsiteY6906"/>
              </a:cxn>
              <a:cxn ang="0">
                <a:pos x="connsiteX6907" y="connsiteY6907"/>
              </a:cxn>
              <a:cxn ang="0">
                <a:pos x="connsiteX6908" y="connsiteY6908"/>
              </a:cxn>
              <a:cxn ang="0">
                <a:pos x="connsiteX6909" y="connsiteY6909"/>
              </a:cxn>
              <a:cxn ang="0">
                <a:pos x="connsiteX6910" y="connsiteY6910"/>
              </a:cxn>
              <a:cxn ang="0">
                <a:pos x="connsiteX6911" y="connsiteY6911"/>
              </a:cxn>
              <a:cxn ang="0">
                <a:pos x="connsiteX6912" y="connsiteY6912"/>
              </a:cxn>
              <a:cxn ang="0">
                <a:pos x="connsiteX6913" y="connsiteY6913"/>
              </a:cxn>
              <a:cxn ang="0">
                <a:pos x="connsiteX6914" y="connsiteY6914"/>
              </a:cxn>
              <a:cxn ang="0">
                <a:pos x="connsiteX6915" y="connsiteY6915"/>
              </a:cxn>
              <a:cxn ang="0">
                <a:pos x="connsiteX6916" y="connsiteY6916"/>
              </a:cxn>
              <a:cxn ang="0">
                <a:pos x="connsiteX6917" y="connsiteY6917"/>
              </a:cxn>
              <a:cxn ang="0">
                <a:pos x="connsiteX6918" y="connsiteY6918"/>
              </a:cxn>
              <a:cxn ang="0">
                <a:pos x="connsiteX6919" y="connsiteY6919"/>
              </a:cxn>
              <a:cxn ang="0">
                <a:pos x="connsiteX6920" y="connsiteY6920"/>
              </a:cxn>
              <a:cxn ang="0">
                <a:pos x="connsiteX6921" y="connsiteY6921"/>
              </a:cxn>
              <a:cxn ang="0">
                <a:pos x="connsiteX6922" y="connsiteY6922"/>
              </a:cxn>
              <a:cxn ang="0">
                <a:pos x="connsiteX6923" y="connsiteY6923"/>
              </a:cxn>
              <a:cxn ang="0">
                <a:pos x="connsiteX6924" y="connsiteY6924"/>
              </a:cxn>
              <a:cxn ang="0">
                <a:pos x="connsiteX6925" y="connsiteY6925"/>
              </a:cxn>
              <a:cxn ang="0">
                <a:pos x="connsiteX6926" y="connsiteY6926"/>
              </a:cxn>
              <a:cxn ang="0">
                <a:pos x="connsiteX6927" y="connsiteY6927"/>
              </a:cxn>
              <a:cxn ang="0">
                <a:pos x="connsiteX6928" y="connsiteY6928"/>
              </a:cxn>
              <a:cxn ang="0">
                <a:pos x="connsiteX6929" y="connsiteY6929"/>
              </a:cxn>
              <a:cxn ang="0">
                <a:pos x="connsiteX6930" y="connsiteY6930"/>
              </a:cxn>
              <a:cxn ang="0">
                <a:pos x="connsiteX6931" y="connsiteY6931"/>
              </a:cxn>
              <a:cxn ang="0">
                <a:pos x="connsiteX6932" y="connsiteY6932"/>
              </a:cxn>
              <a:cxn ang="0">
                <a:pos x="connsiteX6933" y="connsiteY6933"/>
              </a:cxn>
              <a:cxn ang="0">
                <a:pos x="connsiteX6934" y="connsiteY6934"/>
              </a:cxn>
              <a:cxn ang="0">
                <a:pos x="connsiteX6935" y="connsiteY6935"/>
              </a:cxn>
              <a:cxn ang="0">
                <a:pos x="connsiteX6936" y="connsiteY6936"/>
              </a:cxn>
              <a:cxn ang="0">
                <a:pos x="connsiteX6937" y="connsiteY6937"/>
              </a:cxn>
              <a:cxn ang="0">
                <a:pos x="connsiteX6938" y="connsiteY6938"/>
              </a:cxn>
              <a:cxn ang="0">
                <a:pos x="connsiteX6939" y="connsiteY6939"/>
              </a:cxn>
              <a:cxn ang="0">
                <a:pos x="connsiteX6940" y="connsiteY6940"/>
              </a:cxn>
              <a:cxn ang="0">
                <a:pos x="connsiteX6941" y="connsiteY6941"/>
              </a:cxn>
              <a:cxn ang="0">
                <a:pos x="connsiteX6942" y="connsiteY6942"/>
              </a:cxn>
              <a:cxn ang="0">
                <a:pos x="connsiteX6943" y="connsiteY6943"/>
              </a:cxn>
              <a:cxn ang="0">
                <a:pos x="connsiteX6944" y="connsiteY6944"/>
              </a:cxn>
              <a:cxn ang="0">
                <a:pos x="connsiteX6945" y="connsiteY6945"/>
              </a:cxn>
              <a:cxn ang="0">
                <a:pos x="connsiteX6946" y="connsiteY6946"/>
              </a:cxn>
              <a:cxn ang="0">
                <a:pos x="connsiteX6947" y="connsiteY6947"/>
              </a:cxn>
              <a:cxn ang="0">
                <a:pos x="connsiteX6948" y="connsiteY6948"/>
              </a:cxn>
              <a:cxn ang="0">
                <a:pos x="connsiteX6949" y="connsiteY6949"/>
              </a:cxn>
              <a:cxn ang="0">
                <a:pos x="connsiteX6950" y="connsiteY6950"/>
              </a:cxn>
              <a:cxn ang="0">
                <a:pos x="connsiteX6951" y="connsiteY6951"/>
              </a:cxn>
              <a:cxn ang="0">
                <a:pos x="connsiteX6952" y="connsiteY6952"/>
              </a:cxn>
              <a:cxn ang="0">
                <a:pos x="connsiteX6953" y="connsiteY6953"/>
              </a:cxn>
              <a:cxn ang="0">
                <a:pos x="connsiteX6954" y="connsiteY6954"/>
              </a:cxn>
              <a:cxn ang="0">
                <a:pos x="connsiteX6955" y="connsiteY6955"/>
              </a:cxn>
              <a:cxn ang="0">
                <a:pos x="connsiteX6956" y="connsiteY6956"/>
              </a:cxn>
              <a:cxn ang="0">
                <a:pos x="connsiteX6957" y="connsiteY6957"/>
              </a:cxn>
              <a:cxn ang="0">
                <a:pos x="connsiteX6958" y="connsiteY6958"/>
              </a:cxn>
              <a:cxn ang="0">
                <a:pos x="connsiteX6959" y="connsiteY6959"/>
              </a:cxn>
              <a:cxn ang="0">
                <a:pos x="connsiteX6960" y="connsiteY6960"/>
              </a:cxn>
              <a:cxn ang="0">
                <a:pos x="connsiteX6961" y="connsiteY6961"/>
              </a:cxn>
              <a:cxn ang="0">
                <a:pos x="connsiteX6962" y="connsiteY6962"/>
              </a:cxn>
              <a:cxn ang="0">
                <a:pos x="connsiteX6963" y="connsiteY6963"/>
              </a:cxn>
              <a:cxn ang="0">
                <a:pos x="connsiteX6964" y="connsiteY6964"/>
              </a:cxn>
              <a:cxn ang="0">
                <a:pos x="connsiteX6965" y="connsiteY6965"/>
              </a:cxn>
              <a:cxn ang="0">
                <a:pos x="connsiteX6966" y="connsiteY6966"/>
              </a:cxn>
              <a:cxn ang="0">
                <a:pos x="connsiteX6967" y="connsiteY6967"/>
              </a:cxn>
              <a:cxn ang="0">
                <a:pos x="connsiteX6968" y="connsiteY6968"/>
              </a:cxn>
              <a:cxn ang="0">
                <a:pos x="connsiteX6969" y="connsiteY6969"/>
              </a:cxn>
              <a:cxn ang="0">
                <a:pos x="connsiteX6970" y="connsiteY6970"/>
              </a:cxn>
              <a:cxn ang="0">
                <a:pos x="connsiteX6971" y="connsiteY6971"/>
              </a:cxn>
              <a:cxn ang="0">
                <a:pos x="connsiteX6972" y="connsiteY6972"/>
              </a:cxn>
              <a:cxn ang="0">
                <a:pos x="connsiteX6973" y="connsiteY6973"/>
              </a:cxn>
              <a:cxn ang="0">
                <a:pos x="connsiteX6974" y="connsiteY6974"/>
              </a:cxn>
              <a:cxn ang="0">
                <a:pos x="connsiteX6975" y="connsiteY6975"/>
              </a:cxn>
              <a:cxn ang="0">
                <a:pos x="connsiteX6976" y="connsiteY6976"/>
              </a:cxn>
              <a:cxn ang="0">
                <a:pos x="connsiteX6977" y="connsiteY6977"/>
              </a:cxn>
              <a:cxn ang="0">
                <a:pos x="connsiteX6978" y="connsiteY6978"/>
              </a:cxn>
              <a:cxn ang="0">
                <a:pos x="connsiteX6979" y="connsiteY6979"/>
              </a:cxn>
              <a:cxn ang="0">
                <a:pos x="connsiteX6980" y="connsiteY6980"/>
              </a:cxn>
              <a:cxn ang="0">
                <a:pos x="connsiteX6981" y="connsiteY6981"/>
              </a:cxn>
              <a:cxn ang="0">
                <a:pos x="connsiteX6982" y="connsiteY6982"/>
              </a:cxn>
              <a:cxn ang="0">
                <a:pos x="connsiteX6983" y="connsiteY6983"/>
              </a:cxn>
              <a:cxn ang="0">
                <a:pos x="connsiteX6984" y="connsiteY6984"/>
              </a:cxn>
              <a:cxn ang="0">
                <a:pos x="connsiteX6985" y="connsiteY6985"/>
              </a:cxn>
              <a:cxn ang="0">
                <a:pos x="connsiteX6986" y="connsiteY6986"/>
              </a:cxn>
              <a:cxn ang="0">
                <a:pos x="connsiteX6987" y="connsiteY6987"/>
              </a:cxn>
              <a:cxn ang="0">
                <a:pos x="connsiteX6988" y="connsiteY6988"/>
              </a:cxn>
              <a:cxn ang="0">
                <a:pos x="connsiteX6989" y="connsiteY6989"/>
              </a:cxn>
              <a:cxn ang="0">
                <a:pos x="connsiteX6990" y="connsiteY6990"/>
              </a:cxn>
              <a:cxn ang="0">
                <a:pos x="connsiteX6991" y="connsiteY6991"/>
              </a:cxn>
              <a:cxn ang="0">
                <a:pos x="connsiteX6992" y="connsiteY6992"/>
              </a:cxn>
              <a:cxn ang="0">
                <a:pos x="connsiteX6993" y="connsiteY6993"/>
              </a:cxn>
              <a:cxn ang="0">
                <a:pos x="connsiteX6994" y="connsiteY6994"/>
              </a:cxn>
              <a:cxn ang="0">
                <a:pos x="connsiteX6995" y="connsiteY6995"/>
              </a:cxn>
              <a:cxn ang="0">
                <a:pos x="connsiteX6996" y="connsiteY6996"/>
              </a:cxn>
              <a:cxn ang="0">
                <a:pos x="connsiteX6997" y="connsiteY6997"/>
              </a:cxn>
              <a:cxn ang="0">
                <a:pos x="connsiteX6998" y="connsiteY6998"/>
              </a:cxn>
              <a:cxn ang="0">
                <a:pos x="connsiteX6999" y="connsiteY6999"/>
              </a:cxn>
              <a:cxn ang="0">
                <a:pos x="connsiteX7000" y="connsiteY7000"/>
              </a:cxn>
              <a:cxn ang="0">
                <a:pos x="connsiteX7001" y="connsiteY7001"/>
              </a:cxn>
              <a:cxn ang="0">
                <a:pos x="connsiteX7002" y="connsiteY7002"/>
              </a:cxn>
              <a:cxn ang="0">
                <a:pos x="connsiteX7003" y="connsiteY7003"/>
              </a:cxn>
              <a:cxn ang="0">
                <a:pos x="connsiteX7004" y="connsiteY7004"/>
              </a:cxn>
              <a:cxn ang="0">
                <a:pos x="connsiteX7005" y="connsiteY7005"/>
              </a:cxn>
              <a:cxn ang="0">
                <a:pos x="connsiteX7006" y="connsiteY7006"/>
              </a:cxn>
              <a:cxn ang="0">
                <a:pos x="connsiteX7007" y="connsiteY7007"/>
              </a:cxn>
              <a:cxn ang="0">
                <a:pos x="connsiteX7008" y="connsiteY7008"/>
              </a:cxn>
              <a:cxn ang="0">
                <a:pos x="connsiteX7009" y="connsiteY7009"/>
              </a:cxn>
              <a:cxn ang="0">
                <a:pos x="connsiteX7010" y="connsiteY7010"/>
              </a:cxn>
              <a:cxn ang="0">
                <a:pos x="connsiteX7011" y="connsiteY7011"/>
              </a:cxn>
              <a:cxn ang="0">
                <a:pos x="connsiteX7012" y="connsiteY7012"/>
              </a:cxn>
              <a:cxn ang="0">
                <a:pos x="connsiteX7013" y="connsiteY7013"/>
              </a:cxn>
              <a:cxn ang="0">
                <a:pos x="connsiteX7014" y="connsiteY7014"/>
              </a:cxn>
              <a:cxn ang="0">
                <a:pos x="connsiteX7015" y="connsiteY7015"/>
              </a:cxn>
              <a:cxn ang="0">
                <a:pos x="connsiteX7016" y="connsiteY7016"/>
              </a:cxn>
              <a:cxn ang="0">
                <a:pos x="connsiteX7017" y="connsiteY7017"/>
              </a:cxn>
              <a:cxn ang="0">
                <a:pos x="connsiteX7018" y="connsiteY7018"/>
              </a:cxn>
              <a:cxn ang="0">
                <a:pos x="connsiteX7019" y="connsiteY7019"/>
              </a:cxn>
              <a:cxn ang="0">
                <a:pos x="connsiteX7020" y="connsiteY7020"/>
              </a:cxn>
              <a:cxn ang="0">
                <a:pos x="connsiteX7021" y="connsiteY7021"/>
              </a:cxn>
              <a:cxn ang="0">
                <a:pos x="connsiteX7022" y="connsiteY7022"/>
              </a:cxn>
              <a:cxn ang="0">
                <a:pos x="connsiteX7023" y="connsiteY7023"/>
              </a:cxn>
              <a:cxn ang="0">
                <a:pos x="connsiteX7024" y="connsiteY7024"/>
              </a:cxn>
              <a:cxn ang="0">
                <a:pos x="connsiteX7025" y="connsiteY7025"/>
              </a:cxn>
              <a:cxn ang="0">
                <a:pos x="connsiteX7026" y="connsiteY7026"/>
              </a:cxn>
              <a:cxn ang="0">
                <a:pos x="connsiteX7027" y="connsiteY7027"/>
              </a:cxn>
              <a:cxn ang="0">
                <a:pos x="connsiteX7028" y="connsiteY7028"/>
              </a:cxn>
              <a:cxn ang="0">
                <a:pos x="connsiteX7029" y="connsiteY7029"/>
              </a:cxn>
              <a:cxn ang="0">
                <a:pos x="connsiteX7030" y="connsiteY7030"/>
              </a:cxn>
              <a:cxn ang="0">
                <a:pos x="connsiteX7031" y="connsiteY7031"/>
              </a:cxn>
              <a:cxn ang="0">
                <a:pos x="connsiteX7032" y="connsiteY7032"/>
              </a:cxn>
              <a:cxn ang="0">
                <a:pos x="connsiteX7033" y="connsiteY7033"/>
              </a:cxn>
              <a:cxn ang="0">
                <a:pos x="connsiteX7034" y="connsiteY7034"/>
              </a:cxn>
              <a:cxn ang="0">
                <a:pos x="connsiteX7035" y="connsiteY7035"/>
              </a:cxn>
              <a:cxn ang="0">
                <a:pos x="connsiteX7036" y="connsiteY7036"/>
              </a:cxn>
              <a:cxn ang="0">
                <a:pos x="connsiteX7037" y="connsiteY7037"/>
              </a:cxn>
              <a:cxn ang="0">
                <a:pos x="connsiteX7038" y="connsiteY7038"/>
              </a:cxn>
              <a:cxn ang="0">
                <a:pos x="connsiteX7039" y="connsiteY7039"/>
              </a:cxn>
              <a:cxn ang="0">
                <a:pos x="connsiteX7040" y="connsiteY7040"/>
              </a:cxn>
              <a:cxn ang="0">
                <a:pos x="connsiteX7041" y="connsiteY7041"/>
              </a:cxn>
              <a:cxn ang="0">
                <a:pos x="connsiteX7042" y="connsiteY7042"/>
              </a:cxn>
              <a:cxn ang="0">
                <a:pos x="connsiteX7043" y="connsiteY7043"/>
              </a:cxn>
              <a:cxn ang="0">
                <a:pos x="connsiteX7044" y="connsiteY7044"/>
              </a:cxn>
              <a:cxn ang="0">
                <a:pos x="connsiteX7045" y="connsiteY7045"/>
              </a:cxn>
              <a:cxn ang="0">
                <a:pos x="connsiteX7046" y="connsiteY7046"/>
              </a:cxn>
              <a:cxn ang="0">
                <a:pos x="connsiteX7047" y="connsiteY7047"/>
              </a:cxn>
              <a:cxn ang="0">
                <a:pos x="connsiteX7048" y="connsiteY7048"/>
              </a:cxn>
              <a:cxn ang="0">
                <a:pos x="connsiteX7049" y="connsiteY7049"/>
              </a:cxn>
              <a:cxn ang="0">
                <a:pos x="connsiteX7050" y="connsiteY7050"/>
              </a:cxn>
              <a:cxn ang="0">
                <a:pos x="connsiteX7051" y="connsiteY7051"/>
              </a:cxn>
              <a:cxn ang="0">
                <a:pos x="connsiteX7052" y="connsiteY7052"/>
              </a:cxn>
              <a:cxn ang="0">
                <a:pos x="connsiteX7053" y="connsiteY7053"/>
              </a:cxn>
              <a:cxn ang="0">
                <a:pos x="connsiteX7054" y="connsiteY7054"/>
              </a:cxn>
              <a:cxn ang="0">
                <a:pos x="connsiteX7055" y="connsiteY7055"/>
              </a:cxn>
              <a:cxn ang="0">
                <a:pos x="connsiteX7056" y="connsiteY7056"/>
              </a:cxn>
              <a:cxn ang="0">
                <a:pos x="connsiteX7057" y="connsiteY7057"/>
              </a:cxn>
              <a:cxn ang="0">
                <a:pos x="connsiteX7058" y="connsiteY7058"/>
              </a:cxn>
              <a:cxn ang="0">
                <a:pos x="connsiteX7059" y="connsiteY7059"/>
              </a:cxn>
              <a:cxn ang="0">
                <a:pos x="connsiteX7060" y="connsiteY7060"/>
              </a:cxn>
              <a:cxn ang="0">
                <a:pos x="connsiteX7061" y="connsiteY7061"/>
              </a:cxn>
              <a:cxn ang="0">
                <a:pos x="connsiteX7062" y="connsiteY7062"/>
              </a:cxn>
              <a:cxn ang="0">
                <a:pos x="connsiteX7063" y="connsiteY7063"/>
              </a:cxn>
              <a:cxn ang="0">
                <a:pos x="connsiteX7064" y="connsiteY7064"/>
              </a:cxn>
              <a:cxn ang="0">
                <a:pos x="connsiteX7065" y="connsiteY7065"/>
              </a:cxn>
              <a:cxn ang="0">
                <a:pos x="connsiteX7066" y="connsiteY7066"/>
              </a:cxn>
              <a:cxn ang="0">
                <a:pos x="connsiteX7067" y="connsiteY7067"/>
              </a:cxn>
              <a:cxn ang="0">
                <a:pos x="connsiteX7068" y="connsiteY7068"/>
              </a:cxn>
              <a:cxn ang="0">
                <a:pos x="connsiteX7069" y="connsiteY7069"/>
              </a:cxn>
              <a:cxn ang="0">
                <a:pos x="connsiteX7070" y="connsiteY7070"/>
              </a:cxn>
              <a:cxn ang="0">
                <a:pos x="connsiteX7071" y="connsiteY7071"/>
              </a:cxn>
              <a:cxn ang="0">
                <a:pos x="connsiteX7072" y="connsiteY7072"/>
              </a:cxn>
              <a:cxn ang="0">
                <a:pos x="connsiteX7073" y="connsiteY7073"/>
              </a:cxn>
              <a:cxn ang="0">
                <a:pos x="connsiteX7074" y="connsiteY7074"/>
              </a:cxn>
              <a:cxn ang="0">
                <a:pos x="connsiteX7075" y="connsiteY7075"/>
              </a:cxn>
              <a:cxn ang="0">
                <a:pos x="connsiteX7076" y="connsiteY7076"/>
              </a:cxn>
              <a:cxn ang="0">
                <a:pos x="connsiteX7077" y="connsiteY7077"/>
              </a:cxn>
              <a:cxn ang="0">
                <a:pos x="connsiteX7078" y="connsiteY7078"/>
              </a:cxn>
              <a:cxn ang="0">
                <a:pos x="connsiteX7079" y="connsiteY7079"/>
              </a:cxn>
              <a:cxn ang="0">
                <a:pos x="connsiteX7080" y="connsiteY7080"/>
              </a:cxn>
              <a:cxn ang="0">
                <a:pos x="connsiteX7081" y="connsiteY7081"/>
              </a:cxn>
              <a:cxn ang="0">
                <a:pos x="connsiteX7082" y="connsiteY7082"/>
              </a:cxn>
              <a:cxn ang="0">
                <a:pos x="connsiteX7083" y="connsiteY7083"/>
              </a:cxn>
              <a:cxn ang="0">
                <a:pos x="connsiteX7084" y="connsiteY7084"/>
              </a:cxn>
              <a:cxn ang="0">
                <a:pos x="connsiteX7085" y="connsiteY7085"/>
              </a:cxn>
              <a:cxn ang="0">
                <a:pos x="connsiteX7086" y="connsiteY7086"/>
              </a:cxn>
              <a:cxn ang="0">
                <a:pos x="connsiteX7087" y="connsiteY7087"/>
              </a:cxn>
              <a:cxn ang="0">
                <a:pos x="connsiteX7088" y="connsiteY7088"/>
              </a:cxn>
              <a:cxn ang="0">
                <a:pos x="connsiteX7089" y="connsiteY7089"/>
              </a:cxn>
              <a:cxn ang="0">
                <a:pos x="connsiteX7090" y="connsiteY7090"/>
              </a:cxn>
              <a:cxn ang="0">
                <a:pos x="connsiteX7091" y="connsiteY7091"/>
              </a:cxn>
              <a:cxn ang="0">
                <a:pos x="connsiteX7092" y="connsiteY7092"/>
              </a:cxn>
              <a:cxn ang="0">
                <a:pos x="connsiteX7093" y="connsiteY7093"/>
              </a:cxn>
              <a:cxn ang="0">
                <a:pos x="connsiteX7094" y="connsiteY7094"/>
              </a:cxn>
              <a:cxn ang="0">
                <a:pos x="connsiteX7095" y="connsiteY7095"/>
              </a:cxn>
              <a:cxn ang="0">
                <a:pos x="connsiteX7096" y="connsiteY7096"/>
              </a:cxn>
              <a:cxn ang="0">
                <a:pos x="connsiteX7097" y="connsiteY7097"/>
              </a:cxn>
              <a:cxn ang="0">
                <a:pos x="connsiteX7098" y="connsiteY7098"/>
              </a:cxn>
              <a:cxn ang="0">
                <a:pos x="connsiteX7099" y="connsiteY7099"/>
              </a:cxn>
              <a:cxn ang="0">
                <a:pos x="connsiteX7100" y="connsiteY7100"/>
              </a:cxn>
              <a:cxn ang="0">
                <a:pos x="connsiteX7101" y="connsiteY7101"/>
              </a:cxn>
              <a:cxn ang="0">
                <a:pos x="connsiteX7102" y="connsiteY7102"/>
              </a:cxn>
              <a:cxn ang="0">
                <a:pos x="connsiteX7103" y="connsiteY7103"/>
              </a:cxn>
              <a:cxn ang="0">
                <a:pos x="connsiteX7104" y="connsiteY7104"/>
              </a:cxn>
              <a:cxn ang="0">
                <a:pos x="connsiteX7105" y="connsiteY7105"/>
              </a:cxn>
              <a:cxn ang="0">
                <a:pos x="connsiteX7106" y="connsiteY7106"/>
              </a:cxn>
              <a:cxn ang="0">
                <a:pos x="connsiteX7107" y="connsiteY7107"/>
              </a:cxn>
              <a:cxn ang="0">
                <a:pos x="connsiteX7108" y="connsiteY7108"/>
              </a:cxn>
              <a:cxn ang="0">
                <a:pos x="connsiteX7109" y="connsiteY7109"/>
              </a:cxn>
              <a:cxn ang="0">
                <a:pos x="connsiteX7110" y="connsiteY7110"/>
              </a:cxn>
              <a:cxn ang="0">
                <a:pos x="connsiteX7111" y="connsiteY7111"/>
              </a:cxn>
              <a:cxn ang="0">
                <a:pos x="connsiteX7112" y="connsiteY7112"/>
              </a:cxn>
              <a:cxn ang="0">
                <a:pos x="connsiteX7113" y="connsiteY7113"/>
              </a:cxn>
              <a:cxn ang="0">
                <a:pos x="connsiteX7114" y="connsiteY7114"/>
              </a:cxn>
              <a:cxn ang="0">
                <a:pos x="connsiteX7115" y="connsiteY7115"/>
              </a:cxn>
              <a:cxn ang="0">
                <a:pos x="connsiteX7116" y="connsiteY7116"/>
              </a:cxn>
              <a:cxn ang="0">
                <a:pos x="connsiteX7117" y="connsiteY7117"/>
              </a:cxn>
              <a:cxn ang="0">
                <a:pos x="connsiteX7118" y="connsiteY7118"/>
              </a:cxn>
              <a:cxn ang="0">
                <a:pos x="connsiteX7119" y="connsiteY7119"/>
              </a:cxn>
              <a:cxn ang="0">
                <a:pos x="connsiteX7120" y="connsiteY7120"/>
              </a:cxn>
              <a:cxn ang="0">
                <a:pos x="connsiteX7121" y="connsiteY7121"/>
              </a:cxn>
              <a:cxn ang="0">
                <a:pos x="connsiteX7122" y="connsiteY7122"/>
              </a:cxn>
              <a:cxn ang="0">
                <a:pos x="connsiteX7123" y="connsiteY7123"/>
              </a:cxn>
              <a:cxn ang="0">
                <a:pos x="connsiteX7124" y="connsiteY7124"/>
              </a:cxn>
              <a:cxn ang="0">
                <a:pos x="connsiteX7125" y="connsiteY7125"/>
              </a:cxn>
              <a:cxn ang="0">
                <a:pos x="connsiteX7126" y="connsiteY7126"/>
              </a:cxn>
              <a:cxn ang="0">
                <a:pos x="connsiteX7127" y="connsiteY7127"/>
              </a:cxn>
              <a:cxn ang="0">
                <a:pos x="connsiteX7128" y="connsiteY7128"/>
              </a:cxn>
              <a:cxn ang="0">
                <a:pos x="connsiteX7129" y="connsiteY7129"/>
              </a:cxn>
              <a:cxn ang="0">
                <a:pos x="connsiteX7130" y="connsiteY7130"/>
              </a:cxn>
              <a:cxn ang="0">
                <a:pos x="connsiteX7131" y="connsiteY7131"/>
              </a:cxn>
              <a:cxn ang="0">
                <a:pos x="connsiteX7132" y="connsiteY7132"/>
              </a:cxn>
              <a:cxn ang="0">
                <a:pos x="connsiteX7133" y="connsiteY7133"/>
              </a:cxn>
              <a:cxn ang="0">
                <a:pos x="connsiteX7134" y="connsiteY7134"/>
              </a:cxn>
              <a:cxn ang="0">
                <a:pos x="connsiteX7135" y="connsiteY7135"/>
              </a:cxn>
              <a:cxn ang="0">
                <a:pos x="connsiteX7136" y="connsiteY7136"/>
              </a:cxn>
              <a:cxn ang="0">
                <a:pos x="connsiteX7137" y="connsiteY7137"/>
              </a:cxn>
              <a:cxn ang="0">
                <a:pos x="connsiteX7138" y="connsiteY7138"/>
              </a:cxn>
              <a:cxn ang="0">
                <a:pos x="connsiteX7139" y="connsiteY7139"/>
              </a:cxn>
              <a:cxn ang="0">
                <a:pos x="connsiteX7140" y="connsiteY7140"/>
              </a:cxn>
              <a:cxn ang="0">
                <a:pos x="connsiteX7141" y="connsiteY7141"/>
              </a:cxn>
              <a:cxn ang="0">
                <a:pos x="connsiteX7142" y="connsiteY7142"/>
              </a:cxn>
              <a:cxn ang="0">
                <a:pos x="connsiteX7143" y="connsiteY7143"/>
              </a:cxn>
              <a:cxn ang="0">
                <a:pos x="connsiteX7144" y="connsiteY7144"/>
              </a:cxn>
              <a:cxn ang="0">
                <a:pos x="connsiteX7145" y="connsiteY7145"/>
              </a:cxn>
              <a:cxn ang="0">
                <a:pos x="connsiteX7146" y="connsiteY7146"/>
              </a:cxn>
              <a:cxn ang="0">
                <a:pos x="connsiteX7147" y="connsiteY7147"/>
              </a:cxn>
              <a:cxn ang="0">
                <a:pos x="connsiteX7148" y="connsiteY7148"/>
              </a:cxn>
              <a:cxn ang="0">
                <a:pos x="connsiteX7149" y="connsiteY7149"/>
              </a:cxn>
              <a:cxn ang="0">
                <a:pos x="connsiteX7150" y="connsiteY7150"/>
              </a:cxn>
              <a:cxn ang="0">
                <a:pos x="connsiteX7151" y="connsiteY7151"/>
              </a:cxn>
              <a:cxn ang="0">
                <a:pos x="connsiteX7152" y="connsiteY7152"/>
              </a:cxn>
              <a:cxn ang="0">
                <a:pos x="connsiteX7153" y="connsiteY7153"/>
              </a:cxn>
              <a:cxn ang="0">
                <a:pos x="connsiteX7154" y="connsiteY7154"/>
              </a:cxn>
              <a:cxn ang="0">
                <a:pos x="connsiteX7155" y="connsiteY7155"/>
              </a:cxn>
              <a:cxn ang="0">
                <a:pos x="connsiteX7156" y="connsiteY7156"/>
              </a:cxn>
              <a:cxn ang="0">
                <a:pos x="connsiteX7157" y="connsiteY7157"/>
              </a:cxn>
              <a:cxn ang="0">
                <a:pos x="connsiteX7158" y="connsiteY7158"/>
              </a:cxn>
              <a:cxn ang="0">
                <a:pos x="connsiteX7159" y="connsiteY7159"/>
              </a:cxn>
              <a:cxn ang="0">
                <a:pos x="connsiteX7160" y="connsiteY7160"/>
              </a:cxn>
              <a:cxn ang="0">
                <a:pos x="connsiteX7161" y="connsiteY7161"/>
              </a:cxn>
              <a:cxn ang="0">
                <a:pos x="connsiteX7162" y="connsiteY7162"/>
              </a:cxn>
              <a:cxn ang="0">
                <a:pos x="connsiteX7163" y="connsiteY7163"/>
              </a:cxn>
              <a:cxn ang="0">
                <a:pos x="connsiteX7164" y="connsiteY7164"/>
              </a:cxn>
              <a:cxn ang="0">
                <a:pos x="connsiteX7165" y="connsiteY7165"/>
              </a:cxn>
              <a:cxn ang="0">
                <a:pos x="connsiteX7166" y="connsiteY7166"/>
              </a:cxn>
              <a:cxn ang="0">
                <a:pos x="connsiteX7167" y="connsiteY7167"/>
              </a:cxn>
              <a:cxn ang="0">
                <a:pos x="connsiteX7168" y="connsiteY7168"/>
              </a:cxn>
              <a:cxn ang="0">
                <a:pos x="connsiteX7169" y="connsiteY7169"/>
              </a:cxn>
              <a:cxn ang="0">
                <a:pos x="connsiteX7170" y="connsiteY7170"/>
              </a:cxn>
              <a:cxn ang="0">
                <a:pos x="connsiteX7171" y="connsiteY7171"/>
              </a:cxn>
              <a:cxn ang="0">
                <a:pos x="connsiteX7172" y="connsiteY7172"/>
              </a:cxn>
              <a:cxn ang="0">
                <a:pos x="connsiteX7173" y="connsiteY7173"/>
              </a:cxn>
              <a:cxn ang="0">
                <a:pos x="connsiteX7174" y="connsiteY7174"/>
              </a:cxn>
              <a:cxn ang="0">
                <a:pos x="connsiteX7175" y="connsiteY7175"/>
              </a:cxn>
              <a:cxn ang="0">
                <a:pos x="connsiteX7176" y="connsiteY7176"/>
              </a:cxn>
              <a:cxn ang="0">
                <a:pos x="connsiteX7177" y="connsiteY7177"/>
              </a:cxn>
              <a:cxn ang="0">
                <a:pos x="connsiteX7178" y="connsiteY7178"/>
              </a:cxn>
              <a:cxn ang="0">
                <a:pos x="connsiteX7179" y="connsiteY7179"/>
              </a:cxn>
              <a:cxn ang="0">
                <a:pos x="connsiteX7180" y="connsiteY7180"/>
              </a:cxn>
              <a:cxn ang="0">
                <a:pos x="connsiteX7181" y="connsiteY7181"/>
              </a:cxn>
              <a:cxn ang="0">
                <a:pos x="connsiteX7182" y="connsiteY7182"/>
              </a:cxn>
              <a:cxn ang="0">
                <a:pos x="connsiteX7183" y="connsiteY7183"/>
              </a:cxn>
              <a:cxn ang="0">
                <a:pos x="connsiteX7184" y="connsiteY7184"/>
              </a:cxn>
              <a:cxn ang="0">
                <a:pos x="connsiteX7185" y="connsiteY7185"/>
              </a:cxn>
              <a:cxn ang="0">
                <a:pos x="connsiteX7186" y="connsiteY7186"/>
              </a:cxn>
              <a:cxn ang="0">
                <a:pos x="connsiteX7187" y="connsiteY7187"/>
              </a:cxn>
              <a:cxn ang="0">
                <a:pos x="connsiteX7188" y="connsiteY7188"/>
              </a:cxn>
              <a:cxn ang="0">
                <a:pos x="connsiteX7189" y="connsiteY7189"/>
              </a:cxn>
              <a:cxn ang="0">
                <a:pos x="connsiteX7190" y="connsiteY7190"/>
              </a:cxn>
              <a:cxn ang="0">
                <a:pos x="connsiteX7191" y="connsiteY7191"/>
              </a:cxn>
              <a:cxn ang="0">
                <a:pos x="connsiteX7192" y="connsiteY7192"/>
              </a:cxn>
              <a:cxn ang="0">
                <a:pos x="connsiteX7193" y="connsiteY7193"/>
              </a:cxn>
              <a:cxn ang="0">
                <a:pos x="connsiteX7194" y="connsiteY7194"/>
              </a:cxn>
              <a:cxn ang="0">
                <a:pos x="connsiteX7195" y="connsiteY7195"/>
              </a:cxn>
              <a:cxn ang="0">
                <a:pos x="connsiteX7196" y="connsiteY7196"/>
              </a:cxn>
              <a:cxn ang="0">
                <a:pos x="connsiteX7197" y="connsiteY7197"/>
              </a:cxn>
              <a:cxn ang="0">
                <a:pos x="connsiteX7198" y="connsiteY7198"/>
              </a:cxn>
              <a:cxn ang="0">
                <a:pos x="connsiteX7199" y="connsiteY7199"/>
              </a:cxn>
              <a:cxn ang="0">
                <a:pos x="connsiteX7200" y="connsiteY7200"/>
              </a:cxn>
              <a:cxn ang="0">
                <a:pos x="connsiteX7201" y="connsiteY7201"/>
              </a:cxn>
              <a:cxn ang="0">
                <a:pos x="connsiteX7202" y="connsiteY7202"/>
              </a:cxn>
              <a:cxn ang="0">
                <a:pos x="connsiteX7203" y="connsiteY7203"/>
              </a:cxn>
              <a:cxn ang="0">
                <a:pos x="connsiteX7204" y="connsiteY7204"/>
              </a:cxn>
              <a:cxn ang="0">
                <a:pos x="connsiteX7205" y="connsiteY7205"/>
              </a:cxn>
              <a:cxn ang="0">
                <a:pos x="connsiteX7206" y="connsiteY7206"/>
              </a:cxn>
              <a:cxn ang="0">
                <a:pos x="connsiteX7207" y="connsiteY7207"/>
              </a:cxn>
              <a:cxn ang="0">
                <a:pos x="connsiteX7208" y="connsiteY7208"/>
              </a:cxn>
              <a:cxn ang="0">
                <a:pos x="connsiteX7209" y="connsiteY7209"/>
              </a:cxn>
              <a:cxn ang="0">
                <a:pos x="connsiteX7210" y="connsiteY7210"/>
              </a:cxn>
              <a:cxn ang="0">
                <a:pos x="connsiteX7211" y="connsiteY7211"/>
              </a:cxn>
              <a:cxn ang="0">
                <a:pos x="connsiteX7212" y="connsiteY7212"/>
              </a:cxn>
              <a:cxn ang="0">
                <a:pos x="connsiteX7213" y="connsiteY7213"/>
              </a:cxn>
              <a:cxn ang="0">
                <a:pos x="connsiteX7214" y="connsiteY7214"/>
              </a:cxn>
              <a:cxn ang="0">
                <a:pos x="connsiteX7215" y="connsiteY7215"/>
              </a:cxn>
              <a:cxn ang="0">
                <a:pos x="connsiteX7216" y="connsiteY7216"/>
              </a:cxn>
              <a:cxn ang="0">
                <a:pos x="connsiteX7217" y="connsiteY7217"/>
              </a:cxn>
              <a:cxn ang="0">
                <a:pos x="connsiteX7218" y="connsiteY7218"/>
              </a:cxn>
              <a:cxn ang="0">
                <a:pos x="connsiteX7219" y="connsiteY7219"/>
              </a:cxn>
              <a:cxn ang="0">
                <a:pos x="connsiteX7220" y="connsiteY7220"/>
              </a:cxn>
              <a:cxn ang="0">
                <a:pos x="connsiteX7221" y="connsiteY7221"/>
              </a:cxn>
              <a:cxn ang="0">
                <a:pos x="connsiteX7222" y="connsiteY7222"/>
              </a:cxn>
              <a:cxn ang="0">
                <a:pos x="connsiteX7223" y="connsiteY7223"/>
              </a:cxn>
              <a:cxn ang="0">
                <a:pos x="connsiteX7224" y="connsiteY7224"/>
              </a:cxn>
              <a:cxn ang="0">
                <a:pos x="connsiteX7225" y="connsiteY7225"/>
              </a:cxn>
              <a:cxn ang="0">
                <a:pos x="connsiteX7226" y="connsiteY7226"/>
              </a:cxn>
              <a:cxn ang="0">
                <a:pos x="connsiteX7227" y="connsiteY7227"/>
              </a:cxn>
              <a:cxn ang="0">
                <a:pos x="connsiteX7228" y="connsiteY7228"/>
              </a:cxn>
              <a:cxn ang="0">
                <a:pos x="connsiteX7229" y="connsiteY7229"/>
              </a:cxn>
              <a:cxn ang="0">
                <a:pos x="connsiteX7230" y="connsiteY7230"/>
              </a:cxn>
              <a:cxn ang="0">
                <a:pos x="connsiteX7231" y="connsiteY7231"/>
              </a:cxn>
              <a:cxn ang="0">
                <a:pos x="connsiteX7232" y="connsiteY7232"/>
              </a:cxn>
              <a:cxn ang="0">
                <a:pos x="connsiteX7233" y="connsiteY7233"/>
              </a:cxn>
              <a:cxn ang="0">
                <a:pos x="connsiteX7234" y="connsiteY7234"/>
              </a:cxn>
              <a:cxn ang="0">
                <a:pos x="connsiteX7235" y="connsiteY7235"/>
              </a:cxn>
              <a:cxn ang="0">
                <a:pos x="connsiteX7236" y="connsiteY7236"/>
              </a:cxn>
              <a:cxn ang="0">
                <a:pos x="connsiteX7237" y="connsiteY7237"/>
              </a:cxn>
              <a:cxn ang="0">
                <a:pos x="connsiteX7238" y="connsiteY7238"/>
              </a:cxn>
              <a:cxn ang="0">
                <a:pos x="connsiteX7239" y="connsiteY7239"/>
              </a:cxn>
              <a:cxn ang="0">
                <a:pos x="connsiteX7240" y="connsiteY7240"/>
              </a:cxn>
              <a:cxn ang="0">
                <a:pos x="connsiteX7241" y="connsiteY7241"/>
              </a:cxn>
              <a:cxn ang="0">
                <a:pos x="connsiteX7242" y="connsiteY7242"/>
              </a:cxn>
              <a:cxn ang="0">
                <a:pos x="connsiteX7243" y="connsiteY7243"/>
              </a:cxn>
              <a:cxn ang="0">
                <a:pos x="connsiteX7244" y="connsiteY7244"/>
              </a:cxn>
              <a:cxn ang="0">
                <a:pos x="connsiteX7245" y="connsiteY7245"/>
              </a:cxn>
              <a:cxn ang="0">
                <a:pos x="connsiteX7246" y="connsiteY7246"/>
              </a:cxn>
              <a:cxn ang="0">
                <a:pos x="connsiteX7247" y="connsiteY7247"/>
              </a:cxn>
              <a:cxn ang="0">
                <a:pos x="connsiteX7248" y="connsiteY7248"/>
              </a:cxn>
              <a:cxn ang="0">
                <a:pos x="connsiteX7249" y="connsiteY7249"/>
              </a:cxn>
              <a:cxn ang="0">
                <a:pos x="connsiteX7250" y="connsiteY7250"/>
              </a:cxn>
              <a:cxn ang="0">
                <a:pos x="connsiteX7251" y="connsiteY7251"/>
              </a:cxn>
              <a:cxn ang="0">
                <a:pos x="connsiteX7252" y="connsiteY7252"/>
              </a:cxn>
              <a:cxn ang="0">
                <a:pos x="connsiteX7253" y="connsiteY7253"/>
              </a:cxn>
              <a:cxn ang="0">
                <a:pos x="connsiteX7254" y="connsiteY7254"/>
              </a:cxn>
              <a:cxn ang="0">
                <a:pos x="connsiteX7255" y="connsiteY7255"/>
              </a:cxn>
              <a:cxn ang="0">
                <a:pos x="connsiteX7256" y="connsiteY7256"/>
              </a:cxn>
              <a:cxn ang="0">
                <a:pos x="connsiteX7257" y="connsiteY7257"/>
              </a:cxn>
              <a:cxn ang="0">
                <a:pos x="connsiteX7258" y="connsiteY7258"/>
              </a:cxn>
              <a:cxn ang="0">
                <a:pos x="connsiteX7259" y="connsiteY7259"/>
              </a:cxn>
              <a:cxn ang="0">
                <a:pos x="connsiteX7260" y="connsiteY7260"/>
              </a:cxn>
              <a:cxn ang="0">
                <a:pos x="connsiteX7261" y="connsiteY7261"/>
              </a:cxn>
              <a:cxn ang="0">
                <a:pos x="connsiteX7262" y="connsiteY7262"/>
              </a:cxn>
              <a:cxn ang="0">
                <a:pos x="connsiteX7263" y="connsiteY7263"/>
              </a:cxn>
              <a:cxn ang="0">
                <a:pos x="connsiteX7264" y="connsiteY7264"/>
              </a:cxn>
              <a:cxn ang="0">
                <a:pos x="connsiteX7265" y="connsiteY7265"/>
              </a:cxn>
              <a:cxn ang="0">
                <a:pos x="connsiteX7266" y="connsiteY7266"/>
              </a:cxn>
              <a:cxn ang="0">
                <a:pos x="connsiteX7267" y="connsiteY7267"/>
              </a:cxn>
              <a:cxn ang="0">
                <a:pos x="connsiteX7268" y="connsiteY7268"/>
              </a:cxn>
              <a:cxn ang="0">
                <a:pos x="connsiteX7269" y="connsiteY7269"/>
              </a:cxn>
              <a:cxn ang="0">
                <a:pos x="connsiteX7270" y="connsiteY7270"/>
              </a:cxn>
              <a:cxn ang="0">
                <a:pos x="connsiteX7271" y="connsiteY7271"/>
              </a:cxn>
              <a:cxn ang="0">
                <a:pos x="connsiteX7272" y="connsiteY7272"/>
              </a:cxn>
              <a:cxn ang="0">
                <a:pos x="connsiteX7273" y="connsiteY7273"/>
              </a:cxn>
              <a:cxn ang="0">
                <a:pos x="connsiteX7274" y="connsiteY7274"/>
              </a:cxn>
              <a:cxn ang="0">
                <a:pos x="connsiteX7275" y="connsiteY7275"/>
              </a:cxn>
              <a:cxn ang="0">
                <a:pos x="connsiteX7276" y="connsiteY7276"/>
              </a:cxn>
              <a:cxn ang="0">
                <a:pos x="connsiteX7277" y="connsiteY7277"/>
              </a:cxn>
              <a:cxn ang="0">
                <a:pos x="connsiteX7278" y="connsiteY7278"/>
              </a:cxn>
              <a:cxn ang="0">
                <a:pos x="connsiteX7279" y="connsiteY7279"/>
              </a:cxn>
              <a:cxn ang="0">
                <a:pos x="connsiteX7280" y="connsiteY7280"/>
              </a:cxn>
              <a:cxn ang="0">
                <a:pos x="connsiteX7281" y="connsiteY7281"/>
              </a:cxn>
              <a:cxn ang="0">
                <a:pos x="connsiteX7282" y="connsiteY7282"/>
              </a:cxn>
              <a:cxn ang="0">
                <a:pos x="connsiteX7283" y="connsiteY7283"/>
              </a:cxn>
              <a:cxn ang="0">
                <a:pos x="connsiteX7284" y="connsiteY7284"/>
              </a:cxn>
              <a:cxn ang="0">
                <a:pos x="connsiteX7285" y="connsiteY7285"/>
              </a:cxn>
              <a:cxn ang="0">
                <a:pos x="connsiteX7286" y="connsiteY7286"/>
              </a:cxn>
              <a:cxn ang="0">
                <a:pos x="connsiteX7287" y="connsiteY7287"/>
              </a:cxn>
              <a:cxn ang="0">
                <a:pos x="connsiteX7288" y="connsiteY7288"/>
              </a:cxn>
              <a:cxn ang="0">
                <a:pos x="connsiteX7289" y="connsiteY7289"/>
              </a:cxn>
              <a:cxn ang="0">
                <a:pos x="connsiteX7290" y="connsiteY7290"/>
              </a:cxn>
              <a:cxn ang="0">
                <a:pos x="connsiteX7291" y="connsiteY7291"/>
              </a:cxn>
              <a:cxn ang="0">
                <a:pos x="connsiteX7292" y="connsiteY7292"/>
              </a:cxn>
              <a:cxn ang="0">
                <a:pos x="connsiteX7293" y="connsiteY7293"/>
              </a:cxn>
              <a:cxn ang="0">
                <a:pos x="connsiteX7294" y="connsiteY7294"/>
              </a:cxn>
              <a:cxn ang="0">
                <a:pos x="connsiteX7295" y="connsiteY7295"/>
              </a:cxn>
              <a:cxn ang="0">
                <a:pos x="connsiteX7296" y="connsiteY7296"/>
              </a:cxn>
              <a:cxn ang="0">
                <a:pos x="connsiteX7297" y="connsiteY7297"/>
              </a:cxn>
              <a:cxn ang="0">
                <a:pos x="connsiteX7298" y="connsiteY7298"/>
              </a:cxn>
              <a:cxn ang="0">
                <a:pos x="connsiteX7299" y="connsiteY7299"/>
              </a:cxn>
              <a:cxn ang="0">
                <a:pos x="connsiteX7300" y="connsiteY7300"/>
              </a:cxn>
              <a:cxn ang="0">
                <a:pos x="connsiteX7301" y="connsiteY7301"/>
              </a:cxn>
              <a:cxn ang="0">
                <a:pos x="connsiteX7302" y="connsiteY7302"/>
              </a:cxn>
              <a:cxn ang="0">
                <a:pos x="connsiteX7303" y="connsiteY7303"/>
              </a:cxn>
              <a:cxn ang="0">
                <a:pos x="connsiteX7304" y="connsiteY7304"/>
              </a:cxn>
              <a:cxn ang="0">
                <a:pos x="connsiteX7305" y="connsiteY7305"/>
              </a:cxn>
              <a:cxn ang="0">
                <a:pos x="connsiteX7306" y="connsiteY7306"/>
              </a:cxn>
              <a:cxn ang="0">
                <a:pos x="connsiteX7307" y="connsiteY7307"/>
              </a:cxn>
              <a:cxn ang="0">
                <a:pos x="connsiteX7308" y="connsiteY7308"/>
              </a:cxn>
              <a:cxn ang="0">
                <a:pos x="connsiteX7309" y="connsiteY7309"/>
              </a:cxn>
              <a:cxn ang="0">
                <a:pos x="connsiteX7310" y="connsiteY7310"/>
              </a:cxn>
              <a:cxn ang="0">
                <a:pos x="connsiteX7311" y="connsiteY7311"/>
              </a:cxn>
              <a:cxn ang="0">
                <a:pos x="connsiteX7312" y="connsiteY7312"/>
              </a:cxn>
              <a:cxn ang="0">
                <a:pos x="connsiteX7313" y="connsiteY7313"/>
              </a:cxn>
              <a:cxn ang="0">
                <a:pos x="connsiteX7314" y="connsiteY7314"/>
              </a:cxn>
              <a:cxn ang="0">
                <a:pos x="connsiteX7315" y="connsiteY7315"/>
              </a:cxn>
              <a:cxn ang="0">
                <a:pos x="connsiteX7316" y="connsiteY7316"/>
              </a:cxn>
              <a:cxn ang="0">
                <a:pos x="connsiteX7317" y="connsiteY7317"/>
              </a:cxn>
              <a:cxn ang="0">
                <a:pos x="connsiteX7318" y="connsiteY7318"/>
              </a:cxn>
              <a:cxn ang="0">
                <a:pos x="connsiteX7319" y="connsiteY7319"/>
              </a:cxn>
              <a:cxn ang="0">
                <a:pos x="connsiteX7320" y="connsiteY7320"/>
              </a:cxn>
              <a:cxn ang="0">
                <a:pos x="connsiteX7321" y="connsiteY7321"/>
              </a:cxn>
              <a:cxn ang="0">
                <a:pos x="connsiteX7322" y="connsiteY7322"/>
              </a:cxn>
              <a:cxn ang="0">
                <a:pos x="connsiteX7323" y="connsiteY7323"/>
              </a:cxn>
              <a:cxn ang="0">
                <a:pos x="connsiteX7324" y="connsiteY7324"/>
              </a:cxn>
              <a:cxn ang="0">
                <a:pos x="connsiteX7325" y="connsiteY7325"/>
              </a:cxn>
              <a:cxn ang="0">
                <a:pos x="connsiteX7326" y="connsiteY7326"/>
              </a:cxn>
              <a:cxn ang="0">
                <a:pos x="connsiteX7327" y="connsiteY7327"/>
              </a:cxn>
              <a:cxn ang="0">
                <a:pos x="connsiteX7328" y="connsiteY7328"/>
              </a:cxn>
              <a:cxn ang="0">
                <a:pos x="connsiteX7329" y="connsiteY7329"/>
              </a:cxn>
              <a:cxn ang="0">
                <a:pos x="connsiteX7330" y="connsiteY7330"/>
              </a:cxn>
              <a:cxn ang="0">
                <a:pos x="connsiteX7331" y="connsiteY7331"/>
              </a:cxn>
              <a:cxn ang="0">
                <a:pos x="connsiteX7332" y="connsiteY7332"/>
              </a:cxn>
              <a:cxn ang="0">
                <a:pos x="connsiteX7333" y="connsiteY7333"/>
              </a:cxn>
              <a:cxn ang="0">
                <a:pos x="connsiteX7334" y="connsiteY7334"/>
              </a:cxn>
              <a:cxn ang="0">
                <a:pos x="connsiteX7335" y="connsiteY7335"/>
              </a:cxn>
              <a:cxn ang="0">
                <a:pos x="connsiteX7336" y="connsiteY7336"/>
              </a:cxn>
              <a:cxn ang="0">
                <a:pos x="connsiteX7337" y="connsiteY7337"/>
              </a:cxn>
              <a:cxn ang="0">
                <a:pos x="connsiteX7338" y="connsiteY7338"/>
              </a:cxn>
              <a:cxn ang="0">
                <a:pos x="connsiteX7339" y="connsiteY7339"/>
              </a:cxn>
              <a:cxn ang="0">
                <a:pos x="connsiteX7340" y="connsiteY7340"/>
              </a:cxn>
              <a:cxn ang="0">
                <a:pos x="connsiteX7341" y="connsiteY7341"/>
              </a:cxn>
              <a:cxn ang="0">
                <a:pos x="connsiteX7342" y="connsiteY7342"/>
              </a:cxn>
              <a:cxn ang="0">
                <a:pos x="connsiteX7343" y="connsiteY7343"/>
              </a:cxn>
              <a:cxn ang="0">
                <a:pos x="connsiteX7344" y="connsiteY7344"/>
              </a:cxn>
              <a:cxn ang="0">
                <a:pos x="connsiteX7345" y="connsiteY7345"/>
              </a:cxn>
              <a:cxn ang="0">
                <a:pos x="connsiteX7346" y="connsiteY7346"/>
              </a:cxn>
              <a:cxn ang="0">
                <a:pos x="connsiteX7347" y="connsiteY7347"/>
              </a:cxn>
              <a:cxn ang="0">
                <a:pos x="connsiteX7348" y="connsiteY7348"/>
              </a:cxn>
              <a:cxn ang="0">
                <a:pos x="connsiteX7349" y="connsiteY7349"/>
              </a:cxn>
              <a:cxn ang="0">
                <a:pos x="connsiteX7350" y="connsiteY7350"/>
              </a:cxn>
              <a:cxn ang="0">
                <a:pos x="connsiteX7351" y="connsiteY7351"/>
              </a:cxn>
              <a:cxn ang="0">
                <a:pos x="connsiteX7352" y="connsiteY7352"/>
              </a:cxn>
              <a:cxn ang="0">
                <a:pos x="connsiteX7353" y="connsiteY7353"/>
              </a:cxn>
              <a:cxn ang="0">
                <a:pos x="connsiteX7354" y="connsiteY7354"/>
              </a:cxn>
              <a:cxn ang="0">
                <a:pos x="connsiteX7355" y="connsiteY7355"/>
              </a:cxn>
              <a:cxn ang="0">
                <a:pos x="connsiteX7356" y="connsiteY7356"/>
              </a:cxn>
              <a:cxn ang="0">
                <a:pos x="connsiteX7357" y="connsiteY7357"/>
              </a:cxn>
              <a:cxn ang="0">
                <a:pos x="connsiteX7358" y="connsiteY7358"/>
              </a:cxn>
              <a:cxn ang="0">
                <a:pos x="connsiteX7359" y="connsiteY7359"/>
              </a:cxn>
              <a:cxn ang="0">
                <a:pos x="connsiteX7360" y="connsiteY7360"/>
              </a:cxn>
              <a:cxn ang="0">
                <a:pos x="connsiteX7361" y="connsiteY7361"/>
              </a:cxn>
              <a:cxn ang="0">
                <a:pos x="connsiteX7362" y="connsiteY7362"/>
              </a:cxn>
              <a:cxn ang="0">
                <a:pos x="connsiteX7363" y="connsiteY7363"/>
              </a:cxn>
              <a:cxn ang="0">
                <a:pos x="connsiteX7364" y="connsiteY7364"/>
              </a:cxn>
              <a:cxn ang="0">
                <a:pos x="connsiteX7365" y="connsiteY7365"/>
              </a:cxn>
              <a:cxn ang="0">
                <a:pos x="connsiteX7366" y="connsiteY7366"/>
              </a:cxn>
              <a:cxn ang="0">
                <a:pos x="connsiteX7367" y="connsiteY7367"/>
              </a:cxn>
              <a:cxn ang="0">
                <a:pos x="connsiteX7368" y="connsiteY7368"/>
              </a:cxn>
              <a:cxn ang="0">
                <a:pos x="connsiteX7369" y="connsiteY7369"/>
              </a:cxn>
              <a:cxn ang="0">
                <a:pos x="connsiteX7370" y="connsiteY7370"/>
              </a:cxn>
              <a:cxn ang="0">
                <a:pos x="connsiteX7371" y="connsiteY7371"/>
              </a:cxn>
              <a:cxn ang="0">
                <a:pos x="connsiteX7372" y="connsiteY7372"/>
              </a:cxn>
              <a:cxn ang="0">
                <a:pos x="connsiteX7373" y="connsiteY7373"/>
              </a:cxn>
              <a:cxn ang="0">
                <a:pos x="connsiteX7374" y="connsiteY7374"/>
              </a:cxn>
              <a:cxn ang="0">
                <a:pos x="connsiteX7375" y="connsiteY7375"/>
              </a:cxn>
              <a:cxn ang="0">
                <a:pos x="connsiteX7376" y="connsiteY7376"/>
              </a:cxn>
              <a:cxn ang="0">
                <a:pos x="connsiteX7377" y="connsiteY7377"/>
              </a:cxn>
              <a:cxn ang="0">
                <a:pos x="connsiteX7378" y="connsiteY7378"/>
              </a:cxn>
              <a:cxn ang="0">
                <a:pos x="connsiteX7379" y="connsiteY7379"/>
              </a:cxn>
              <a:cxn ang="0">
                <a:pos x="connsiteX7380" y="connsiteY7380"/>
              </a:cxn>
              <a:cxn ang="0">
                <a:pos x="connsiteX7381" y="connsiteY7381"/>
              </a:cxn>
              <a:cxn ang="0">
                <a:pos x="connsiteX7382" y="connsiteY7382"/>
              </a:cxn>
              <a:cxn ang="0">
                <a:pos x="connsiteX7383" y="connsiteY7383"/>
              </a:cxn>
              <a:cxn ang="0">
                <a:pos x="connsiteX7384" y="connsiteY7384"/>
              </a:cxn>
              <a:cxn ang="0">
                <a:pos x="connsiteX7385" y="connsiteY7385"/>
              </a:cxn>
              <a:cxn ang="0">
                <a:pos x="connsiteX7386" y="connsiteY7386"/>
              </a:cxn>
              <a:cxn ang="0">
                <a:pos x="connsiteX7387" y="connsiteY7387"/>
              </a:cxn>
              <a:cxn ang="0">
                <a:pos x="connsiteX7388" y="connsiteY7388"/>
              </a:cxn>
              <a:cxn ang="0">
                <a:pos x="connsiteX7389" y="connsiteY7389"/>
              </a:cxn>
              <a:cxn ang="0">
                <a:pos x="connsiteX7390" y="connsiteY7390"/>
              </a:cxn>
              <a:cxn ang="0">
                <a:pos x="connsiteX7391" y="connsiteY7391"/>
              </a:cxn>
              <a:cxn ang="0">
                <a:pos x="connsiteX7392" y="connsiteY7392"/>
              </a:cxn>
              <a:cxn ang="0">
                <a:pos x="connsiteX7393" y="connsiteY7393"/>
              </a:cxn>
              <a:cxn ang="0">
                <a:pos x="connsiteX7394" y="connsiteY7394"/>
              </a:cxn>
              <a:cxn ang="0">
                <a:pos x="connsiteX7395" y="connsiteY7395"/>
              </a:cxn>
              <a:cxn ang="0">
                <a:pos x="connsiteX7396" y="connsiteY7396"/>
              </a:cxn>
              <a:cxn ang="0">
                <a:pos x="connsiteX7397" y="connsiteY7397"/>
              </a:cxn>
              <a:cxn ang="0">
                <a:pos x="connsiteX7398" y="connsiteY7398"/>
              </a:cxn>
              <a:cxn ang="0">
                <a:pos x="connsiteX7399" y="connsiteY7399"/>
              </a:cxn>
              <a:cxn ang="0">
                <a:pos x="connsiteX7400" y="connsiteY7400"/>
              </a:cxn>
              <a:cxn ang="0">
                <a:pos x="connsiteX7401" y="connsiteY7401"/>
              </a:cxn>
              <a:cxn ang="0">
                <a:pos x="connsiteX7402" y="connsiteY7402"/>
              </a:cxn>
              <a:cxn ang="0">
                <a:pos x="connsiteX7403" y="connsiteY7403"/>
              </a:cxn>
              <a:cxn ang="0">
                <a:pos x="connsiteX7404" y="connsiteY7404"/>
              </a:cxn>
              <a:cxn ang="0">
                <a:pos x="connsiteX7405" y="connsiteY7405"/>
              </a:cxn>
              <a:cxn ang="0">
                <a:pos x="connsiteX7406" y="connsiteY7406"/>
              </a:cxn>
              <a:cxn ang="0">
                <a:pos x="connsiteX7407" y="connsiteY7407"/>
              </a:cxn>
              <a:cxn ang="0">
                <a:pos x="connsiteX7408" y="connsiteY7408"/>
              </a:cxn>
              <a:cxn ang="0">
                <a:pos x="connsiteX7409" y="connsiteY7409"/>
              </a:cxn>
              <a:cxn ang="0">
                <a:pos x="connsiteX7410" y="connsiteY7410"/>
              </a:cxn>
              <a:cxn ang="0">
                <a:pos x="connsiteX7411" y="connsiteY7411"/>
              </a:cxn>
              <a:cxn ang="0">
                <a:pos x="connsiteX7412" y="connsiteY7412"/>
              </a:cxn>
              <a:cxn ang="0">
                <a:pos x="connsiteX7413" y="connsiteY7413"/>
              </a:cxn>
              <a:cxn ang="0">
                <a:pos x="connsiteX7414" y="connsiteY7414"/>
              </a:cxn>
              <a:cxn ang="0">
                <a:pos x="connsiteX7415" y="connsiteY7415"/>
              </a:cxn>
              <a:cxn ang="0">
                <a:pos x="connsiteX7416" y="connsiteY7416"/>
              </a:cxn>
              <a:cxn ang="0">
                <a:pos x="connsiteX7417" y="connsiteY7417"/>
              </a:cxn>
              <a:cxn ang="0">
                <a:pos x="connsiteX7418" y="connsiteY7418"/>
              </a:cxn>
              <a:cxn ang="0">
                <a:pos x="connsiteX7419" y="connsiteY7419"/>
              </a:cxn>
              <a:cxn ang="0">
                <a:pos x="connsiteX7420" y="connsiteY7420"/>
              </a:cxn>
              <a:cxn ang="0">
                <a:pos x="connsiteX7421" y="connsiteY7421"/>
              </a:cxn>
              <a:cxn ang="0">
                <a:pos x="connsiteX7422" y="connsiteY7422"/>
              </a:cxn>
              <a:cxn ang="0">
                <a:pos x="connsiteX7423" y="connsiteY7423"/>
              </a:cxn>
              <a:cxn ang="0">
                <a:pos x="connsiteX7424" y="connsiteY7424"/>
              </a:cxn>
              <a:cxn ang="0">
                <a:pos x="connsiteX7425" y="connsiteY7425"/>
              </a:cxn>
              <a:cxn ang="0">
                <a:pos x="connsiteX7426" y="connsiteY7426"/>
              </a:cxn>
              <a:cxn ang="0">
                <a:pos x="connsiteX7427" y="connsiteY7427"/>
              </a:cxn>
              <a:cxn ang="0">
                <a:pos x="connsiteX7428" y="connsiteY7428"/>
              </a:cxn>
              <a:cxn ang="0">
                <a:pos x="connsiteX7429" y="connsiteY7429"/>
              </a:cxn>
              <a:cxn ang="0">
                <a:pos x="connsiteX7430" y="connsiteY7430"/>
              </a:cxn>
              <a:cxn ang="0">
                <a:pos x="connsiteX7431" y="connsiteY7431"/>
              </a:cxn>
              <a:cxn ang="0">
                <a:pos x="connsiteX7432" y="connsiteY7432"/>
              </a:cxn>
              <a:cxn ang="0">
                <a:pos x="connsiteX7433" y="connsiteY7433"/>
              </a:cxn>
              <a:cxn ang="0">
                <a:pos x="connsiteX7434" y="connsiteY7434"/>
              </a:cxn>
              <a:cxn ang="0">
                <a:pos x="connsiteX7435" y="connsiteY7435"/>
              </a:cxn>
              <a:cxn ang="0">
                <a:pos x="connsiteX7436" y="connsiteY7436"/>
              </a:cxn>
              <a:cxn ang="0">
                <a:pos x="connsiteX7437" y="connsiteY7437"/>
              </a:cxn>
              <a:cxn ang="0">
                <a:pos x="connsiteX7438" y="connsiteY7438"/>
              </a:cxn>
              <a:cxn ang="0">
                <a:pos x="connsiteX7439" y="connsiteY7439"/>
              </a:cxn>
              <a:cxn ang="0">
                <a:pos x="connsiteX7440" y="connsiteY7440"/>
              </a:cxn>
              <a:cxn ang="0">
                <a:pos x="connsiteX7441" y="connsiteY7441"/>
              </a:cxn>
              <a:cxn ang="0">
                <a:pos x="connsiteX7442" y="connsiteY7442"/>
              </a:cxn>
              <a:cxn ang="0">
                <a:pos x="connsiteX7443" y="connsiteY7443"/>
              </a:cxn>
              <a:cxn ang="0">
                <a:pos x="connsiteX7444" y="connsiteY7444"/>
              </a:cxn>
              <a:cxn ang="0">
                <a:pos x="connsiteX7445" y="connsiteY7445"/>
              </a:cxn>
              <a:cxn ang="0">
                <a:pos x="connsiteX7446" y="connsiteY7446"/>
              </a:cxn>
              <a:cxn ang="0">
                <a:pos x="connsiteX7447" y="connsiteY7447"/>
              </a:cxn>
              <a:cxn ang="0">
                <a:pos x="connsiteX7448" y="connsiteY7448"/>
              </a:cxn>
              <a:cxn ang="0">
                <a:pos x="connsiteX7449" y="connsiteY7449"/>
              </a:cxn>
              <a:cxn ang="0">
                <a:pos x="connsiteX7450" y="connsiteY7450"/>
              </a:cxn>
              <a:cxn ang="0">
                <a:pos x="connsiteX7451" y="connsiteY7451"/>
              </a:cxn>
              <a:cxn ang="0">
                <a:pos x="connsiteX7452" y="connsiteY7452"/>
              </a:cxn>
              <a:cxn ang="0">
                <a:pos x="connsiteX7453" y="connsiteY7453"/>
              </a:cxn>
              <a:cxn ang="0">
                <a:pos x="connsiteX7454" y="connsiteY7454"/>
              </a:cxn>
              <a:cxn ang="0">
                <a:pos x="connsiteX7455" y="connsiteY7455"/>
              </a:cxn>
              <a:cxn ang="0">
                <a:pos x="connsiteX7456" y="connsiteY7456"/>
              </a:cxn>
              <a:cxn ang="0">
                <a:pos x="connsiteX7457" y="connsiteY7457"/>
              </a:cxn>
              <a:cxn ang="0">
                <a:pos x="connsiteX7458" y="connsiteY7458"/>
              </a:cxn>
              <a:cxn ang="0">
                <a:pos x="connsiteX7459" y="connsiteY7459"/>
              </a:cxn>
              <a:cxn ang="0">
                <a:pos x="connsiteX7460" y="connsiteY7460"/>
              </a:cxn>
              <a:cxn ang="0">
                <a:pos x="connsiteX7461" y="connsiteY7461"/>
              </a:cxn>
              <a:cxn ang="0">
                <a:pos x="connsiteX7462" y="connsiteY7462"/>
              </a:cxn>
              <a:cxn ang="0">
                <a:pos x="connsiteX7463" y="connsiteY7463"/>
              </a:cxn>
              <a:cxn ang="0">
                <a:pos x="connsiteX7464" y="connsiteY7464"/>
              </a:cxn>
              <a:cxn ang="0">
                <a:pos x="connsiteX7465" y="connsiteY7465"/>
              </a:cxn>
              <a:cxn ang="0">
                <a:pos x="connsiteX7466" y="connsiteY7466"/>
              </a:cxn>
              <a:cxn ang="0">
                <a:pos x="connsiteX7467" y="connsiteY7467"/>
              </a:cxn>
              <a:cxn ang="0">
                <a:pos x="connsiteX7468" y="connsiteY7468"/>
              </a:cxn>
              <a:cxn ang="0">
                <a:pos x="connsiteX7469" y="connsiteY7469"/>
              </a:cxn>
              <a:cxn ang="0">
                <a:pos x="connsiteX7470" y="connsiteY7470"/>
              </a:cxn>
              <a:cxn ang="0">
                <a:pos x="connsiteX7471" y="connsiteY7471"/>
              </a:cxn>
              <a:cxn ang="0">
                <a:pos x="connsiteX7472" y="connsiteY7472"/>
              </a:cxn>
              <a:cxn ang="0">
                <a:pos x="connsiteX7473" y="connsiteY7473"/>
              </a:cxn>
              <a:cxn ang="0">
                <a:pos x="connsiteX7474" y="connsiteY7474"/>
              </a:cxn>
              <a:cxn ang="0">
                <a:pos x="connsiteX7475" y="connsiteY7475"/>
              </a:cxn>
              <a:cxn ang="0">
                <a:pos x="connsiteX7476" y="connsiteY7476"/>
              </a:cxn>
              <a:cxn ang="0">
                <a:pos x="connsiteX7477" y="connsiteY7477"/>
              </a:cxn>
              <a:cxn ang="0">
                <a:pos x="connsiteX7478" y="connsiteY7478"/>
              </a:cxn>
              <a:cxn ang="0">
                <a:pos x="connsiteX7479" y="connsiteY7479"/>
              </a:cxn>
              <a:cxn ang="0">
                <a:pos x="connsiteX7480" y="connsiteY7480"/>
              </a:cxn>
              <a:cxn ang="0">
                <a:pos x="connsiteX7481" y="connsiteY7481"/>
              </a:cxn>
              <a:cxn ang="0">
                <a:pos x="connsiteX7482" y="connsiteY7482"/>
              </a:cxn>
              <a:cxn ang="0">
                <a:pos x="connsiteX7483" y="connsiteY7483"/>
              </a:cxn>
              <a:cxn ang="0">
                <a:pos x="connsiteX7484" y="connsiteY7484"/>
              </a:cxn>
              <a:cxn ang="0">
                <a:pos x="connsiteX7485" y="connsiteY7485"/>
              </a:cxn>
              <a:cxn ang="0">
                <a:pos x="connsiteX7486" y="connsiteY7486"/>
              </a:cxn>
              <a:cxn ang="0">
                <a:pos x="connsiteX7487" y="connsiteY7487"/>
              </a:cxn>
              <a:cxn ang="0">
                <a:pos x="connsiteX7488" y="connsiteY7488"/>
              </a:cxn>
              <a:cxn ang="0">
                <a:pos x="connsiteX7489" y="connsiteY7489"/>
              </a:cxn>
              <a:cxn ang="0">
                <a:pos x="connsiteX7490" y="connsiteY7490"/>
              </a:cxn>
              <a:cxn ang="0">
                <a:pos x="connsiteX7491" y="connsiteY7491"/>
              </a:cxn>
              <a:cxn ang="0">
                <a:pos x="connsiteX7492" y="connsiteY7492"/>
              </a:cxn>
              <a:cxn ang="0">
                <a:pos x="connsiteX7493" y="connsiteY7493"/>
              </a:cxn>
              <a:cxn ang="0">
                <a:pos x="connsiteX7494" y="connsiteY7494"/>
              </a:cxn>
              <a:cxn ang="0">
                <a:pos x="connsiteX7495" y="connsiteY7495"/>
              </a:cxn>
              <a:cxn ang="0">
                <a:pos x="connsiteX7496" y="connsiteY7496"/>
              </a:cxn>
              <a:cxn ang="0">
                <a:pos x="connsiteX7497" y="connsiteY7497"/>
              </a:cxn>
              <a:cxn ang="0">
                <a:pos x="connsiteX7498" y="connsiteY7498"/>
              </a:cxn>
              <a:cxn ang="0">
                <a:pos x="connsiteX7499" y="connsiteY7499"/>
              </a:cxn>
              <a:cxn ang="0">
                <a:pos x="connsiteX7500" y="connsiteY7500"/>
              </a:cxn>
              <a:cxn ang="0">
                <a:pos x="connsiteX7501" y="connsiteY7501"/>
              </a:cxn>
              <a:cxn ang="0">
                <a:pos x="connsiteX7502" y="connsiteY7502"/>
              </a:cxn>
              <a:cxn ang="0">
                <a:pos x="connsiteX7503" y="connsiteY7503"/>
              </a:cxn>
              <a:cxn ang="0">
                <a:pos x="connsiteX7504" y="connsiteY7504"/>
              </a:cxn>
              <a:cxn ang="0">
                <a:pos x="connsiteX7505" y="connsiteY7505"/>
              </a:cxn>
              <a:cxn ang="0">
                <a:pos x="connsiteX7506" y="connsiteY7506"/>
              </a:cxn>
              <a:cxn ang="0">
                <a:pos x="connsiteX7507" y="connsiteY7507"/>
              </a:cxn>
              <a:cxn ang="0">
                <a:pos x="connsiteX7508" y="connsiteY7508"/>
              </a:cxn>
              <a:cxn ang="0">
                <a:pos x="connsiteX7509" y="connsiteY7509"/>
              </a:cxn>
              <a:cxn ang="0">
                <a:pos x="connsiteX7510" y="connsiteY7510"/>
              </a:cxn>
              <a:cxn ang="0">
                <a:pos x="connsiteX7511" y="connsiteY7511"/>
              </a:cxn>
              <a:cxn ang="0">
                <a:pos x="connsiteX7512" y="connsiteY7512"/>
              </a:cxn>
              <a:cxn ang="0">
                <a:pos x="connsiteX7513" y="connsiteY7513"/>
              </a:cxn>
              <a:cxn ang="0">
                <a:pos x="connsiteX7514" y="connsiteY7514"/>
              </a:cxn>
              <a:cxn ang="0">
                <a:pos x="connsiteX7515" y="connsiteY7515"/>
              </a:cxn>
              <a:cxn ang="0">
                <a:pos x="connsiteX7516" y="connsiteY7516"/>
              </a:cxn>
              <a:cxn ang="0">
                <a:pos x="connsiteX7517" y="connsiteY7517"/>
              </a:cxn>
              <a:cxn ang="0">
                <a:pos x="connsiteX7518" y="connsiteY7518"/>
              </a:cxn>
              <a:cxn ang="0">
                <a:pos x="connsiteX7519" y="connsiteY7519"/>
              </a:cxn>
              <a:cxn ang="0">
                <a:pos x="connsiteX7520" y="connsiteY7520"/>
              </a:cxn>
              <a:cxn ang="0">
                <a:pos x="connsiteX7521" y="connsiteY7521"/>
              </a:cxn>
              <a:cxn ang="0">
                <a:pos x="connsiteX7522" y="connsiteY7522"/>
              </a:cxn>
              <a:cxn ang="0">
                <a:pos x="connsiteX7523" y="connsiteY7523"/>
              </a:cxn>
              <a:cxn ang="0">
                <a:pos x="connsiteX7524" y="connsiteY7524"/>
              </a:cxn>
              <a:cxn ang="0">
                <a:pos x="connsiteX7525" y="connsiteY7525"/>
              </a:cxn>
              <a:cxn ang="0">
                <a:pos x="connsiteX7526" y="connsiteY7526"/>
              </a:cxn>
              <a:cxn ang="0">
                <a:pos x="connsiteX7527" y="connsiteY7527"/>
              </a:cxn>
              <a:cxn ang="0">
                <a:pos x="connsiteX7528" y="connsiteY7528"/>
              </a:cxn>
              <a:cxn ang="0">
                <a:pos x="connsiteX7529" y="connsiteY7529"/>
              </a:cxn>
              <a:cxn ang="0">
                <a:pos x="connsiteX7530" y="connsiteY7530"/>
              </a:cxn>
              <a:cxn ang="0">
                <a:pos x="connsiteX7531" y="connsiteY7531"/>
              </a:cxn>
              <a:cxn ang="0">
                <a:pos x="connsiteX7532" y="connsiteY7532"/>
              </a:cxn>
              <a:cxn ang="0">
                <a:pos x="connsiteX7533" y="connsiteY7533"/>
              </a:cxn>
              <a:cxn ang="0">
                <a:pos x="connsiteX7534" y="connsiteY7534"/>
              </a:cxn>
              <a:cxn ang="0">
                <a:pos x="connsiteX7535" y="connsiteY7535"/>
              </a:cxn>
              <a:cxn ang="0">
                <a:pos x="connsiteX7536" y="connsiteY7536"/>
              </a:cxn>
              <a:cxn ang="0">
                <a:pos x="connsiteX7537" y="connsiteY7537"/>
              </a:cxn>
              <a:cxn ang="0">
                <a:pos x="connsiteX7538" y="connsiteY7538"/>
              </a:cxn>
              <a:cxn ang="0">
                <a:pos x="connsiteX7539" y="connsiteY7539"/>
              </a:cxn>
              <a:cxn ang="0">
                <a:pos x="connsiteX7540" y="connsiteY7540"/>
              </a:cxn>
              <a:cxn ang="0">
                <a:pos x="connsiteX7541" y="connsiteY7541"/>
              </a:cxn>
              <a:cxn ang="0">
                <a:pos x="connsiteX7542" y="connsiteY7542"/>
              </a:cxn>
              <a:cxn ang="0">
                <a:pos x="connsiteX7543" y="connsiteY7543"/>
              </a:cxn>
              <a:cxn ang="0">
                <a:pos x="connsiteX7544" y="connsiteY7544"/>
              </a:cxn>
              <a:cxn ang="0">
                <a:pos x="connsiteX7545" y="connsiteY7545"/>
              </a:cxn>
              <a:cxn ang="0">
                <a:pos x="connsiteX7546" y="connsiteY7546"/>
              </a:cxn>
              <a:cxn ang="0">
                <a:pos x="connsiteX7547" y="connsiteY7547"/>
              </a:cxn>
              <a:cxn ang="0">
                <a:pos x="connsiteX7548" y="connsiteY7548"/>
              </a:cxn>
              <a:cxn ang="0">
                <a:pos x="connsiteX7549" y="connsiteY7549"/>
              </a:cxn>
              <a:cxn ang="0">
                <a:pos x="connsiteX7550" y="connsiteY7550"/>
              </a:cxn>
              <a:cxn ang="0">
                <a:pos x="connsiteX7551" y="connsiteY7551"/>
              </a:cxn>
              <a:cxn ang="0">
                <a:pos x="connsiteX7552" y="connsiteY7552"/>
              </a:cxn>
              <a:cxn ang="0">
                <a:pos x="connsiteX7553" y="connsiteY7553"/>
              </a:cxn>
              <a:cxn ang="0">
                <a:pos x="connsiteX7554" y="connsiteY7554"/>
              </a:cxn>
              <a:cxn ang="0">
                <a:pos x="connsiteX7555" y="connsiteY7555"/>
              </a:cxn>
              <a:cxn ang="0">
                <a:pos x="connsiteX7556" y="connsiteY7556"/>
              </a:cxn>
              <a:cxn ang="0">
                <a:pos x="connsiteX7557" y="connsiteY7557"/>
              </a:cxn>
              <a:cxn ang="0">
                <a:pos x="connsiteX7558" y="connsiteY7558"/>
              </a:cxn>
              <a:cxn ang="0">
                <a:pos x="connsiteX7559" y="connsiteY7559"/>
              </a:cxn>
              <a:cxn ang="0">
                <a:pos x="connsiteX7560" y="connsiteY7560"/>
              </a:cxn>
              <a:cxn ang="0">
                <a:pos x="connsiteX7561" y="connsiteY7561"/>
              </a:cxn>
              <a:cxn ang="0">
                <a:pos x="connsiteX7562" y="connsiteY7562"/>
              </a:cxn>
              <a:cxn ang="0">
                <a:pos x="connsiteX7563" y="connsiteY7563"/>
              </a:cxn>
              <a:cxn ang="0">
                <a:pos x="connsiteX7564" y="connsiteY7564"/>
              </a:cxn>
              <a:cxn ang="0">
                <a:pos x="connsiteX7565" y="connsiteY7565"/>
              </a:cxn>
              <a:cxn ang="0">
                <a:pos x="connsiteX7566" y="connsiteY7566"/>
              </a:cxn>
              <a:cxn ang="0">
                <a:pos x="connsiteX7567" y="connsiteY7567"/>
              </a:cxn>
              <a:cxn ang="0">
                <a:pos x="connsiteX7568" y="connsiteY7568"/>
              </a:cxn>
              <a:cxn ang="0">
                <a:pos x="connsiteX7569" y="connsiteY7569"/>
              </a:cxn>
              <a:cxn ang="0">
                <a:pos x="connsiteX7570" y="connsiteY7570"/>
              </a:cxn>
              <a:cxn ang="0">
                <a:pos x="connsiteX7571" y="connsiteY7571"/>
              </a:cxn>
              <a:cxn ang="0">
                <a:pos x="connsiteX7572" y="connsiteY7572"/>
              </a:cxn>
              <a:cxn ang="0">
                <a:pos x="connsiteX7573" y="connsiteY7573"/>
              </a:cxn>
              <a:cxn ang="0">
                <a:pos x="connsiteX7574" y="connsiteY7574"/>
              </a:cxn>
              <a:cxn ang="0">
                <a:pos x="connsiteX7575" y="connsiteY7575"/>
              </a:cxn>
              <a:cxn ang="0">
                <a:pos x="connsiteX7576" y="connsiteY7576"/>
              </a:cxn>
              <a:cxn ang="0">
                <a:pos x="connsiteX7577" y="connsiteY7577"/>
              </a:cxn>
              <a:cxn ang="0">
                <a:pos x="connsiteX7578" y="connsiteY7578"/>
              </a:cxn>
              <a:cxn ang="0">
                <a:pos x="connsiteX7579" y="connsiteY7579"/>
              </a:cxn>
              <a:cxn ang="0">
                <a:pos x="connsiteX7580" y="connsiteY7580"/>
              </a:cxn>
              <a:cxn ang="0">
                <a:pos x="connsiteX7581" y="connsiteY7581"/>
              </a:cxn>
              <a:cxn ang="0">
                <a:pos x="connsiteX7582" y="connsiteY7582"/>
              </a:cxn>
              <a:cxn ang="0">
                <a:pos x="connsiteX7583" y="connsiteY7583"/>
              </a:cxn>
              <a:cxn ang="0">
                <a:pos x="connsiteX7584" y="connsiteY7584"/>
              </a:cxn>
              <a:cxn ang="0">
                <a:pos x="connsiteX7585" y="connsiteY7585"/>
              </a:cxn>
              <a:cxn ang="0">
                <a:pos x="connsiteX7586" y="connsiteY7586"/>
              </a:cxn>
              <a:cxn ang="0">
                <a:pos x="connsiteX7587" y="connsiteY7587"/>
              </a:cxn>
              <a:cxn ang="0">
                <a:pos x="connsiteX7588" y="connsiteY7588"/>
              </a:cxn>
              <a:cxn ang="0">
                <a:pos x="connsiteX7589" y="connsiteY7589"/>
              </a:cxn>
              <a:cxn ang="0">
                <a:pos x="connsiteX7590" y="connsiteY7590"/>
              </a:cxn>
              <a:cxn ang="0">
                <a:pos x="connsiteX7591" y="connsiteY7591"/>
              </a:cxn>
              <a:cxn ang="0">
                <a:pos x="connsiteX7592" y="connsiteY7592"/>
              </a:cxn>
              <a:cxn ang="0">
                <a:pos x="connsiteX7593" y="connsiteY7593"/>
              </a:cxn>
              <a:cxn ang="0">
                <a:pos x="connsiteX7594" y="connsiteY7594"/>
              </a:cxn>
              <a:cxn ang="0">
                <a:pos x="connsiteX7595" y="connsiteY7595"/>
              </a:cxn>
              <a:cxn ang="0">
                <a:pos x="connsiteX7596" y="connsiteY7596"/>
              </a:cxn>
              <a:cxn ang="0">
                <a:pos x="connsiteX7597" y="connsiteY7597"/>
              </a:cxn>
              <a:cxn ang="0">
                <a:pos x="connsiteX7598" y="connsiteY7598"/>
              </a:cxn>
              <a:cxn ang="0">
                <a:pos x="connsiteX7599" y="connsiteY7599"/>
              </a:cxn>
              <a:cxn ang="0">
                <a:pos x="connsiteX7600" y="connsiteY7600"/>
              </a:cxn>
              <a:cxn ang="0">
                <a:pos x="connsiteX7601" y="connsiteY7601"/>
              </a:cxn>
              <a:cxn ang="0">
                <a:pos x="connsiteX7602" y="connsiteY7602"/>
              </a:cxn>
              <a:cxn ang="0">
                <a:pos x="connsiteX7603" y="connsiteY7603"/>
              </a:cxn>
              <a:cxn ang="0">
                <a:pos x="connsiteX7604" y="connsiteY7604"/>
              </a:cxn>
              <a:cxn ang="0">
                <a:pos x="connsiteX7605" y="connsiteY7605"/>
              </a:cxn>
              <a:cxn ang="0">
                <a:pos x="connsiteX7606" y="connsiteY7606"/>
              </a:cxn>
              <a:cxn ang="0">
                <a:pos x="connsiteX7607" y="connsiteY7607"/>
              </a:cxn>
              <a:cxn ang="0">
                <a:pos x="connsiteX7608" y="connsiteY7608"/>
              </a:cxn>
              <a:cxn ang="0">
                <a:pos x="connsiteX7609" y="connsiteY7609"/>
              </a:cxn>
              <a:cxn ang="0">
                <a:pos x="connsiteX7610" y="connsiteY7610"/>
              </a:cxn>
              <a:cxn ang="0">
                <a:pos x="connsiteX7611" y="connsiteY7611"/>
              </a:cxn>
              <a:cxn ang="0">
                <a:pos x="connsiteX7612" y="connsiteY7612"/>
              </a:cxn>
              <a:cxn ang="0">
                <a:pos x="connsiteX7613" y="connsiteY7613"/>
              </a:cxn>
              <a:cxn ang="0">
                <a:pos x="connsiteX7614" y="connsiteY7614"/>
              </a:cxn>
              <a:cxn ang="0">
                <a:pos x="connsiteX7615" y="connsiteY7615"/>
              </a:cxn>
              <a:cxn ang="0">
                <a:pos x="connsiteX7616" y="connsiteY7616"/>
              </a:cxn>
              <a:cxn ang="0">
                <a:pos x="connsiteX7617" y="connsiteY7617"/>
              </a:cxn>
              <a:cxn ang="0">
                <a:pos x="connsiteX7618" y="connsiteY7618"/>
              </a:cxn>
              <a:cxn ang="0">
                <a:pos x="connsiteX7619" y="connsiteY7619"/>
              </a:cxn>
              <a:cxn ang="0">
                <a:pos x="connsiteX7620" y="connsiteY7620"/>
              </a:cxn>
              <a:cxn ang="0">
                <a:pos x="connsiteX7621" y="connsiteY7621"/>
              </a:cxn>
              <a:cxn ang="0">
                <a:pos x="connsiteX7622" y="connsiteY7622"/>
              </a:cxn>
              <a:cxn ang="0">
                <a:pos x="connsiteX7623" y="connsiteY7623"/>
              </a:cxn>
              <a:cxn ang="0">
                <a:pos x="connsiteX7624" y="connsiteY7624"/>
              </a:cxn>
              <a:cxn ang="0">
                <a:pos x="connsiteX7625" y="connsiteY7625"/>
              </a:cxn>
              <a:cxn ang="0">
                <a:pos x="connsiteX7626" y="connsiteY7626"/>
              </a:cxn>
              <a:cxn ang="0">
                <a:pos x="connsiteX7627" y="connsiteY7627"/>
              </a:cxn>
              <a:cxn ang="0">
                <a:pos x="connsiteX7628" y="connsiteY7628"/>
              </a:cxn>
              <a:cxn ang="0">
                <a:pos x="connsiteX7629" y="connsiteY7629"/>
              </a:cxn>
              <a:cxn ang="0">
                <a:pos x="connsiteX7630" y="connsiteY7630"/>
              </a:cxn>
              <a:cxn ang="0">
                <a:pos x="connsiteX7631" y="connsiteY7631"/>
              </a:cxn>
              <a:cxn ang="0">
                <a:pos x="connsiteX7632" y="connsiteY7632"/>
              </a:cxn>
              <a:cxn ang="0">
                <a:pos x="connsiteX7633" y="connsiteY7633"/>
              </a:cxn>
              <a:cxn ang="0">
                <a:pos x="connsiteX7634" y="connsiteY7634"/>
              </a:cxn>
              <a:cxn ang="0">
                <a:pos x="connsiteX7635" y="connsiteY7635"/>
              </a:cxn>
              <a:cxn ang="0">
                <a:pos x="connsiteX7636" y="connsiteY7636"/>
              </a:cxn>
              <a:cxn ang="0">
                <a:pos x="connsiteX7637" y="connsiteY7637"/>
              </a:cxn>
              <a:cxn ang="0">
                <a:pos x="connsiteX7638" y="connsiteY7638"/>
              </a:cxn>
              <a:cxn ang="0">
                <a:pos x="connsiteX7639" y="connsiteY7639"/>
              </a:cxn>
              <a:cxn ang="0">
                <a:pos x="connsiteX7640" y="connsiteY7640"/>
              </a:cxn>
              <a:cxn ang="0">
                <a:pos x="connsiteX7641" y="connsiteY7641"/>
              </a:cxn>
              <a:cxn ang="0">
                <a:pos x="connsiteX7642" y="connsiteY7642"/>
              </a:cxn>
              <a:cxn ang="0">
                <a:pos x="connsiteX7643" y="connsiteY7643"/>
              </a:cxn>
              <a:cxn ang="0">
                <a:pos x="connsiteX7644" y="connsiteY7644"/>
              </a:cxn>
              <a:cxn ang="0">
                <a:pos x="connsiteX7645" y="connsiteY7645"/>
              </a:cxn>
              <a:cxn ang="0">
                <a:pos x="connsiteX7646" y="connsiteY7646"/>
              </a:cxn>
              <a:cxn ang="0">
                <a:pos x="connsiteX7647" y="connsiteY7647"/>
              </a:cxn>
              <a:cxn ang="0">
                <a:pos x="connsiteX7648" y="connsiteY7648"/>
              </a:cxn>
              <a:cxn ang="0">
                <a:pos x="connsiteX7649" y="connsiteY7649"/>
              </a:cxn>
              <a:cxn ang="0">
                <a:pos x="connsiteX7650" y="connsiteY7650"/>
              </a:cxn>
              <a:cxn ang="0">
                <a:pos x="connsiteX7651" y="connsiteY7651"/>
              </a:cxn>
              <a:cxn ang="0">
                <a:pos x="connsiteX7652" y="connsiteY7652"/>
              </a:cxn>
              <a:cxn ang="0">
                <a:pos x="connsiteX7653" y="connsiteY7653"/>
              </a:cxn>
              <a:cxn ang="0">
                <a:pos x="connsiteX7654" y="connsiteY7654"/>
              </a:cxn>
              <a:cxn ang="0">
                <a:pos x="connsiteX7655" y="connsiteY7655"/>
              </a:cxn>
              <a:cxn ang="0">
                <a:pos x="connsiteX7656" y="connsiteY7656"/>
              </a:cxn>
              <a:cxn ang="0">
                <a:pos x="connsiteX7657" y="connsiteY7657"/>
              </a:cxn>
              <a:cxn ang="0">
                <a:pos x="connsiteX7658" y="connsiteY7658"/>
              </a:cxn>
              <a:cxn ang="0">
                <a:pos x="connsiteX7659" y="connsiteY7659"/>
              </a:cxn>
              <a:cxn ang="0">
                <a:pos x="connsiteX7660" y="connsiteY7660"/>
              </a:cxn>
              <a:cxn ang="0">
                <a:pos x="connsiteX7661" y="connsiteY7661"/>
              </a:cxn>
              <a:cxn ang="0">
                <a:pos x="connsiteX7662" y="connsiteY7662"/>
              </a:cxn>
              <a:cxn ang="0">
                <a:pos x="connsiteX7663" y="connsiteY7663"/>
              </a:cxn>
              <a:cxn ang="0">
                <a:pos x="connsiteX7664" y="connsiteY7664"/>
              </a:cxn>
              <a:cxn ang="0">
                <a:pos x="connsiteX7665" y="connsiteY7665"/>
              </a:cxn>
              <a:cxn ang="0">
                <a:pos x="connsiteX7666" y="connsiteY7666"/>
              </a:cxn>
              <a:cxn ang="0">
                <a:pos x="connsiteX7667" y="connsiteY7667"/>
              </a:cxn>
              <a:cxn ang="0">
                <a:pos x="connsiteX7668" y="connsiteY7668"/>
              </a:cxn>
              <a:cxn ang="0">
                <a:pos x="connsiteX7669" y="connsiteY7669"/>
              </a:cxn>
              <a:cxn ang="0">
                <a:pos x="connsiteX7670" y="connsiteY7670"/>
              </a:cxn>
              <a:cxn ang="0">
                <a:pos x="connsiteX7671" y="connsiteY7671"/>
              </a:cxn>
              <a:cxn ang="0">
                <a:pos x="connsiteX7672" y="connsiteY7672"/>
              </a:cxn>
              <a:cxn ang="0">
                <a:pos x="connsiteX7673" y="connsiteY7673"/>
              </a:cxn>
              <a:cxn ang="0">
                <a:pos x="connsiteX7674" y="connsiteY7674"/>
              </a:cxn>
              <a:cxn ang="0">
                <a:pos x="connsiteX7675" y="connsiteY7675"/>
              </a:cxn>
              <a:cxn ang="0">
                <a:pos x="connsiteX7676" y="connsiteY7676"/>
              </a:cxn>
              <a:cxn ang="0">
                <a:pos x="connsiteX7677" y="connsiteY7677"/>
              </a:cxn>
              <a:cxn ang="0">
                <a:pos x="connsiteX7678" y="connsiteY7678"/>
              </a:cxn>
              <a:cxn ang="0">
                <a:pos x="connsiteX7679" y="connsiteY7679"/>
              </a:cxn>
              <a:cxn ang="0">
                <a:pos x="connsiteX7680" y="connsiteY7680"/>
              </a:cxn>
              <a:cxn ang="0">
                <a:pos x="connsiteX7681" y="connsiteY7681"/>
              </a:cxn>
              <a:cxn ang="0">
                <a:pos x="connsiteX7682" y="connsiteY7682"/>
              </a:cxn>
              <a:cxn ang="0">
                <a:pos x="connsiteX7683" y="connsiteY7683"/>
              </a:cxn>
              <a:cxn ang="0">
                <a:pos x="connsiteX7684" y="connsiteY7684"/>
              </a:cxn>
              <a:cxn ang="0">
                <a:pos x="connsiteX7685" y="connsiteY7685"/>
              </a:cxn>
              <a:cxn ang="0">
                <a:pos x="connsiteX7686" y="connsiteY7686"/>
              </a:cxn>
              <a:cxn ang="0">
                <a:pos x="connsiteX7687" y="connsiteY7687"/>
              </a:cxn>
              <a:cxn ang="0">
                <a:pos x="connsiteX7688" y="connsiteY7688"/>
              </a:cxn>
              <a:cxn ang="0">
                <a:pos x="connsiteX7689" y="connsiteY7689"/>
              </a:cxn>
              <a:cxn ang="0">
                <a:pos x="connsiteX7690" y="connsiteY7690"/>
              </a:cxn>
              <a:cxn ang="0">
                <a:pos x="connsiteX7691" y="connsiteY7691"/>
              </a:cxn>
              <a:cxn ang="0">
                <a:pos x="connsiteX7692" y="connsiteY7692"/>
              </a:cxn>
              <a:cxn ang="0">
                <a:pos x="connsiteX7693" y="connsiteY7693"/>
              </a:cxn>
              <a:cxn ang="0">
                <a:pos x="connsiteX7694" y="connsiteY7694"/>
              </a:cxn>
              <a:cxn ang="0">
                <a:pos x="connsiteX7695" y="connsiteY7695"/>
              </a:cxn>
              <a:cxn ang="0">
                <a:pos x="connsiteX7696" y="connsiteY7696"/>
              </a:cxn>
              <a:cxn ang="0">
                <a:pos x="connsiteX7697" y="connsiteY7697"/>
              </a:cxn>
              <a:cxn ang="0">
                <a:pos x="connsiteX7698" y="connsiteY7698"/>
              </a:cxn>
              <a:cxn ang="0">
                <a:pos x="connsiteX7699" y="connsiteY7699"/>
              </a:cxn>
              <a:cxn ang="0">
                <a:pos x="connsiteX7700" y="connsiteY7700"/>
              </a:cxn>
              <a:cxn ang="0">
                <a:pos x="connsiteX7701" y="connsiteY7701"/>
              </a:cxn>
              <a:cxn ang="0">
                <a:pos x="connsiteX7702" y="connsiteY7702"/>
              </a:cxn>
              <a:cxn ang="0">
                <a:pos x="connsiteX7703" y="connsiteY7703"/>
              </a:cxn>
              <a:cxn ang="0">
                <a:pos x="connsiteX7704" y="connsiteY7704"/>
              </a:cxn>
              <a:cxn ang="0">
                <a:pos x="connsiteX7705" y="connsiteY7705"/>
              </a:cxn>
              <a:cxn ang="0">
                <a:pos x="connsiteX7706" y="connsiteY7706"/>
              </a:cxn>
              <a:cxn ang="0">
                <a:pos x="connsiteX7707" y="connsiteY7707"/>
              </a:cxn>
              <a:cxn ang="0">
                <a:pos x="connsiteX7708" y="connsiteY7708"/>
              </a:cxn>
              <a:cxn ang="0">
                <a:pos x="connsiteX7709" y="connsiteY7709"/>
              </a:cxn>
              <a:cxn ang="0">
                <a:pos x="connsiteX7710" y="connsiteY7710"/>
              </a:cxn>
              <a:cxn ang="0">
                <a:pos x="connsiteX7711" y="connsiteY7711"/>
              </a:cxn>
              <a:cxn ang="0">
                <a:pos x="connsiteX7712" y="connsiteY7712"/>
              </a:cxn>
              <a:cxn ang="0">
                <a:pos x="connsiteX7713" y="connsiteY7713"/>
              </a:cxn>
              <a:cxn ang="0">
                <a:pos x="connsiteX7714" y="connsiteY7714"/>
              </a:cxn>
              <a:cxn ang="0">
                <a:pos x="connsiteX7715" y="connsiteY7715"/>
              </a:cxn>
              <a:cxn ang="0">
                <a:pos x="connsiteX7716" y="connsiteY7716"/>
              </a:cxn>
              <a:cxn ang="0">
                <a:pos x="connsiteX7717" y="connsiteY7717"/>
              </a:cxn>
              <a:cxn ang="0">
                <a:pos x="connsiteX7718" y="connsiteY7718"/>
              </a:cxn>
              <a:cxn ang="0">
                <a:pos x="connsiteX7719" y="connsiteY7719"/>
              </a:cxn>
              <a:cxn ang="0">
                <a:pos x="connsiteX7720" y="connsiteY7720"/>
              </a:cxn>
              <a:cxn ang="0">
                <a:pos x="connsiteX7721" y="connsiteY7721"/>
              </a:cxn>
              <a:cxn ang="0">
                <a:pos x="connsiteX7722" y="connsiteY7722"/>
              </a:cxn>
              <a:cxn ang="0">
                <a:pos x="connsiteX7723" y="connsiteY7723"/>
              </a:cxn>
              <a:cxn ang="0">
                <a:pos x="connsiteX7724" y="connsiteY7724"/>
              </a:cxn>
              <a:cxn ang="0">
                <a:pos x="connsiteX7725" y="connsiteY7725"/>
              </a:cxn>
              <a:cxn ang="0">
                <a:pos x="connsiteX7726" y="connsiteY7726"/>
              </a:cxn>
              <a:cxn ang="0">
                <a:pos x="connsiteX7727" y="connsiteY7727"/>
              </a:cxn>
              <a:cxn ang="0">
                <a:pos x="connsiteX7728" y="connsiteY7728"/>
              </a:cxn>
              <a:cxn ang="0">
                <a:pos x="connsiteX7729" y="connsiteY7729"/>
              </a:cxn>
              <a:cxn ang="0">
                <a:pos x="connsiteX7730" y="connsiteY7730"/>
              </a:cxn>
              <a:cxn ang="0">
                <a:pos x="connsiteX7731" y="connsiteY7731"/>
              </a:cxn>
              <a:cxn ang="0">
                <a:pos x="connsiteX7732" y="connsiteY7732"/>
              </a:cxn>
              <a:cxn ang="0">
                <a:pos x="connsiteX7733" y="connsiteY7733"/>
              </a:cxn>
              <a:cxn ang="0">
                <a:pos x="connsiteX7734" y="connsiteY7734"/>
              </a:cxn>
              <a:cxn ang="0">
                <a:pos x="connsiteX7735" y="connsiteY7735"/>
              </a:cxn>
              <a:cxn ang="0">
                <a:pos x="connsiteX7736" y="connsiteY7736"/>
              </a:cxn>
              <a:cxn ang="0">
                <a:pos x="connsiteX7737" y="connsiteY7737"/>
              </a:cxn>
              <a:cxn ang="0">
                <a:pos x="connsiteX7738" y="connsiteY7738"/>
              </a:cxn>
              <a:cxn ang="0">
                <a:pos x="connsiteX7739" y="connsiteY7739"/>
              </a:cxn>
              <a:cxn ang="0">
                <a:pos x="connsiteX7740" y="connsiteY7740"/>
              </a:cxn>
              <a:cxn ang="0">
                <a:pos x="connsiteX7741" y="connsiteY7741"/>
              </a:cxn>
              <a:cxn ang="0">
                <a:pos x="connsiteX7742" y="connsiteY7742"/>
              </a:cxn>
              <a:cxn ang="0">
                <a:pos x="connsiteX7743" y="connsiteY7743"/>
              </a:cxn>
              <a:cxn ang="0">
                <a:pos x="connsiteX7744" y="connsiteY7744"/>
              </a:cxn>
              <a:cxn ang="0">
                <a:pos x="connsiteX7745" y="connsiteY7745"/>
              </a:cxn>
              <a:cxn ang="0">
                <a:pos x="connsiteX7746" y="connsiteY7746"/>
              </a:cxn>
              <a:cxn ang="0">
                <a:pos x="connsiteX7747" y="connsiteY7747"/>
              </a:cxn>
              <a:cxn ang="0">
                <a:pos x="connsiteX7748" y="connsiteY7748"/>
              </a:cxn>
              <a:cxn ang="0">
                <a:pos x="connsiteX7749" y="connsiteY7749"/>
              </a:cxn>
              <a:cxn ang="0">
                <a:pos x="connsiteX7750" y="connsiteY7750"/>
              </a:cxn>
              <a:cxn ang="0">
                <a:pos x="connsiteX7751" y="connsiteY7751"/>
              </a:cxn>
              <a:cxn ang="0">
                <a:pos x="connsiteX7752" y="connsiteY7752"/>
              </a:cxn>
              <a:cxn ang="0">
                <a:pos x="connsiteX7753" y="connsiteY7753"/>
              </a:cxn>
              <a:cxn ang="0">
                <a:pos x="connsiteX7754" y="connsiteY7754"/>
              </a:cxn>
              <a:cxn ang="0">
                <a:pos x="connsiteX7755" y="connsiteY7755"/>
              </a:cxn>
              <a:cxn ang="0">
                <a:pos x="connsiteX7756" y="connsiteY7756"/>
              </a:cxn>
              <a:cxn ang="0">
                <a:pos x="connsiteX7757" y="connsiteY7757"/>
              </a:cxn>
              <a:cxn ang="0">
                <a:pos x="connsiteX7758" y="connsiteY7758"/>
              </a:cxn>
              <a:cxn ang="0">
                <a:pos x="connsiteX7759" y="connsiteY7759"/>
              </a:cxn>
              <a:cxn ang="0">
                <a:pos x="connsiteX7760" y="connsiteY7760"/>
              </a:cxn>
              <a:cxn ang="0">
                <a:pos x="connsiteX7761" y="connsiteY7761"/>
              </a:cxn>
              <a:cxn ang="0">
                <a:pos x="connsiteX7762" y="connsiteY7762"/>
              </a:cxn>
              <a:cxn ang="0">
                <a:pos x="connsiteX7763" y="connsiteY7763"/>
              </a:cxn>
              <a:cxn ang="0">
                <a:pos x="connsiteX7764" y="connsiteY7764"/>
              </a:cxn>
              <a:cxn ang="0">
                <a:pos x="connsiteX7765" y="connsiteY7765"/>
              </a:cxn>
              <a:cxn ang="0">
                <a:pos x="connsiteX7766" y="connsiteY7766"/>
              </a:cxn>
              <a:cxn ang="0">
                <a:pos x="connsiteX7767" y="connsiteY7767"/>
              </a:cxn>
              <a:cxn ang="0">
                <a:pos x="connsiteX7768" y="connsiteY7768"/>
              </a:cxn>
              <a:cxn ang="0">
                <a:pos x="connsiteX7769" y="connsiteY7769"/>
              </a:cxn>
              <a:cxn ang="0">
                <a:pos x="connsiteX7770" y="connsiteY7770"/>
              </a:cxn>
              <a:cxn ang="0">
                <a:pos x="connsiteX7771" y="connsiteY7771"/>
              </a:cxn>
              <a:cxn ang="0">
                <a:pos x="connsiteX7772" y="connsiteY7772"/>
              </a:cxn>
              <a:cxn ang="0">
                <a:pos x="connsiteX7773" y="connsiteY7773"/>
              </a:cxn>
              <a:cxn ang="0">
                <a:pos x="connsiteX7774" y="connsiteY7774"/>
              </a:cxn>
              <a:cxn ang="0">
                <a:pos x="connsiteX7775" y="connsiteY7775"/>
              </a:cxn>
              <a:cxn ang="0">
                <a:pos x="connsiteX7776" y="connsiteY7776"/>
              </a:cxn>
              <a:cxn ang="0">
                <a:pos x="connsiteX7777" y="connsiteY7777"/>
              </a:cxn>
              <a:cxn ang="0">
                <a:pos x="connsiteX7778" y="connsiteY7778"/>
              </a:cxn>
              <a:cxn ang="0">
                <a:pos x="connsiteX7779" y="connsiteY7779"/>
              </a:cxn>
              <a:cxn ang="0">
                <a:pos x="connsiteX7780" y="connsiteY7780"/>
              </a:cxn>
              <a:cxn ang="0">
                <a:pos x="connsiteX7781" y="connsiteY7781"/>
              </a:cxn>
              <a:cxn ang="0">
                <a:pos x="connsiteX7782" y="connsiteY7782"/>
              </a:cxn>
              <a:cxn ang="0">
                <a:pos x="connsiteX7783" y="connsiteY7783"/>
              </a:cxn>
              <a:cxn ang="0">
                <a:pos x="connsiteX7784" y="connsiteY7784"/>
              </a:cxn>
              <a:cxn ang="0">
                <a:pos x="connsiteX7785" y="connsiteY7785"/>
              </a:cxn>
              <a:cxn ang="0">
                <a:pos x="connsiteX7786" y="connsiteY7786"/>
              </a:cxn>
              <a:cxn ang="0">
                <a:pos x="connsiteX7787" y="connsiteY7787"/>
              </a:cxn>
              <a:cxn ang="0">
                <a:pos x="connsiteX7788" y="connsiteY7788"/>
              </a:cxn>
              <a:cxn ang="0">
                <a:pos x="connsiteX7789" y="connsiteY7789"/>
              </a:cxn>
              <a:cxn ang="0">
                <a:pos x="connsiteX7790" y="connsiteY7790"/>
              </a:cxn>
              <a:cxn ang="0">
                <a:pos x="connsiteX7791" y="connsiteY7791"/>
              </a:cxn>
              <a:cxn ang="0">
                <a:pos x="connsiteX7792" y="connsiteY7792"/>
              </a:cxn>
              <a:cxn ang="0">
                <a:pos x="connsiteX7793" y="connsiteY7793"/>
              </a:cxn>
              <a:cxn ang="0">
                <a:pos x="connsiteX7794" y="connsiteY7794"/>
              </a:cxn>
              <a:cxn ang="0">
                <a:pos x="connsiteX7795" y="connsiteY7795"/>
              </a:cxn>
              <a:cxn ang="0">
                <a:pos x="connsiteX7796" y="connsiteY7796"/>
              </a:cxn>
              <a:cxn ang="0">
                <a:pos x="connsiteX7797" y="connsiteY7797"/>
              </a:cxn>
              <a:cxn ang="0">
                <a:pos x="connsiteX7798" y="connsiteY7798"/>
              </a:cxn>
              <a:cxn ang="0">
                <a:pos x="connsiteX7799" y="connsiteY7799"/>
              </a:cxn>
              <a:cxn ang="0">
                <a:pos x="connsiteX7800" y="connsiteY7800"/>
              </a:cxn>
              <a:cxn ang="0">
                <a:pos x="connsiteX7801" y="connsiteY7801"/>
              </a:cxn>
              <a:cxn ang="0">
                <a:pos x="connsiteX7802" y="connsiteY7802"/>
              </a:cxn>
              <a:cxn ang="0">
                <a:pos x="connsiteX7803" y="connsiteY7803"/>
              </a:cxn>
              <a:cxn ang="0">
                <a:pos x="connsiteX7804" y="connsiteY7804"/>
              </a:cxn>
              <a:cxn ang="0">
                <a:pos x="connsiteX7805" y="connsiteY7805"/>
              </a:cxn>
              <a:cxn ang="0">
                <a:pos x="connsiteX7806" y="connsiteY7806"/>
              </a:cxn>
              <a:cxn ang="0">
                <a:pos x="connsiteX7807" y="connsiteY7807"/>
              </a:cxn>
              <a:cxn ang="0">
                <a:pos x="connsiteX7808" y="connsiteY7808"/>
              </a:cxn>
              <a:cxn ang="0">
                <a:pos x="connsiteX7809" y="connsiteY7809"/>
              </a:cxn>
              <a:cxn ang="0">
                <a:pos x="connsiteX7810" y="connsiteY7810"/>
              </a:cxn>
              <a:cxn ang="0">
                <a:pos x="connsiteX7811" y="connsiteY7811"/>
              </a:cxn>
              <a:cxn ang="0">
                <a:pos x="connsiteX7812" y="connsiteY7812"/>
              </a:cxn>
              <a:cxn ang="0">
                <a:pos x="connsiteX7813" y="connsiteY7813"/>
              </a:cxn>
              <a:cxn ang="0">
                <a:pos x="connsiteX7814" y="connsiteY7814"/>
              </a:cxn>
              <a:cxn ang="0">
                <a:pos x="connsiteX7815" y="connsiteY7815"/>
              </a:cxn>
              <a:cxn ang="0">
                <a:pos x="connsiteX7816" y="connsiteY7816"/>
              </a:cxn>
              <a:cxn ang="0">
                <a:pos x="connsiteX7817" y="connsiteY7817"/>
              </a:cxn>
              <a:cxn ang="0">
                <a:pos x="connsiteX7818" y="connsiteY7818"/>
              </a:cxn>
              <a:cxn ang="0">
                <a:pos x="connsiteX7819" y="connsiteY7819"/>
              </a:cxn>
              <a:cxn ang="0">
                <a:pos x="connsiteX7820" y="connsiteY7820"/>
              </a:cxn>
              <a:cxn ang="0">
                <a:pos x="connsiteX7821" y="connsiteY7821"/>
              </a:cxn>
              <a:cxn ang="0">
                <a:pos x="connsiteX7822" y="connsiteY7822"/>
              </a:cxn>
              <a:cxn ang="0">
                <a:pos x="connsiteX7823" y="connsiteY7823"/>
              </a:cxn>
              <a:cxn ang="0">
                <a:pos x="connsiteX7824" y="connsiteY7824"/>
              </a:cxn>
              <a:cxn ang="0">
                <a:pos x="connsiteX7825" y="connsiteY7825"/>
              </a:cxn>
              <a:cxn ang="0">
                <a:pos x="connsiteX7826" y="connsiteY7826"/>
              </a:cxn>
              <a:cxn ang="0">
                <a:pos x="connsiteX7827" y="connsiteY7827"/>
              </a:cxn>
              <a:cxn ang="0">
                <a:pos x="connsiteX7828" y="connsiteY7828"/>
              </a:cxn>
              <a:cxn ang="0">
                <a:pos x="connsiteX7829" y="connsiteY7829"/>
              </a:cxn>
              <a:cxn ang="0">
                <a:pos x="connsiteX7830" y="connsiteY7830"/>
              </a:cxn>
              <a:cxn ang="0">
                <a:pos x="connsiteX7831" y="connsiteY7831"/>
              </a:cxn>
              <a:cxn ang="0">
                <a:pos x="connsiteX7832" y="connsiteY7832"/>
              </a:cxn>
              <a:cxn ang="0">
                <a:pos x="connsiteX7833" y="connsiteY7833"/>
              </a:cxn>
              <a:cxn ang="0">
                <a:pos x="connsiteX7834" y="connsiteY7834"/>
              </a:cxn>
              <a:cxn ang="0">
                <a:pos x="connsiteX7835" y="connsiteY7835"/>
              </a:cxn>
              <a:cxn ang="0">
                <a:pos x="connsiteX7836" y="connsiteY7836"/>
              </a:cxn>
              <a:cxn ang="0">
                <a:pos x="connsiteX7837" y="connsiteY7837"/>
              </a:cxn>
              <a:cxn ang="0">
                <a:pos x="connsiteX7838" y="connsiteY7838"/>
              </a:cxn>
              <a:cxn ang="0">
                <a:pos x="connsiteX7839" y="connsiteY7839"/>
              </a:cxn>
              <a:cxn ang="0">
                <a:pos x="connsiteX7840" y="connsiteY7840"/>
              </a:cxn>
              <a:cxn ang="0">
                <a:pos x="connsiteX7841" y="connsiteY7841"/>
              </a:cxn>
              <a:cxn ang="0">
                <a:pos x="connsiteX7842" y="connsiteY7842"/>
              </a:cxn>
              <a:cxn ang="0">
                <a:pos x="connsiteX7843" y="connsiteY7843"/>
              </a:cxn>
              <a:cxn ang="0">
                <a:pos x="connsiteX7844" y="connsiteY7844"/>
              </a:cxn>
              <a:cxn ang="0">
                <a:pos x="connsiteX7845" y="connsiteY7845"/>
              </a:cxn>
              <a:cxn ang="0">
                <a:pos x="connsiteX7846" y="connsiteY7846"/>
              </a:cxn>
              <a:cxn ang="0">
                <a:pos x="connsiteX7847" y="connsiteY7847"/>
              </a:cxn>
              <a:cxn ang="0">
                <a:pos x="connsiteX7848" y="connsiteY7848"/>
              </a:cxn>
              <a:cxn ang="0">
                <a:pos x="connsiteX7849" y="connsiteY7849"/>
              </a:cxn>
              <a:cxn ang="0">
                <a:pos x="connsiteX7850" y="connsiteY7850"/>
              </a:cxn>
              <a:cxn ang="0">
                <a:pos x="connsiteX7851" y="connsiteY7851"/>
              </a:cxn>
              <a:cxn ang="0">
                <a:pos x="connsiteX7852" y="connsiteY7852"/>
              </a:cxn>
              <a:cxn ang="0">
                <a:pos x="connsiteX7853" y="connsiteY7853"/>
              </a:cxn>
              <a:cxn ang="0">
                <a:pos x="connsiteX7854" y="connsiteY7854"/>
              </a:cxn>
              <a:cxn ang="0">
                <a:pos x="connsiteX7855" y="connsiteY7855"/>
              </a:cxn>
              <a:cxn ang="0">
                <a:pos x="connsiteX7856" y="connsiteY7856"/>
              </a:cxn>
              <a:cxn ang="0">
                <a:pos x="connsiteX7857" y="connsiteY7857"/>
              </a:cxn>
              <a:cxn ang="0">
                <a:pos x="connsiteX7858" y="connsiteY7858"/>
              </a:cxn>
              <a:cxn ang="0">
                <a:pos x="connsiteX7859" y="connsiteY7859"/>
              </a:cxn>
              <a:cxn ang="0">
                <a:pos x="connsiteX7860" y="connsiteY7860"/>
              </a:cxn>
              <a:cxn ang="0">
                <a:pos x="connsiteX7861" y="connsiteY7861"/>
              </a:cxn>
              <a:cxn ang="0">
                <a:pos x="connsiteX7862" y="connsiteY7862"/>
              </a:cxn>
              <a:cxn ang="0">
                <a:pos x="connsiteX7863" y="connsiteY7863"/>
              </a:cxn>
              <a:cxn ang="0">
                <a:pos x="connsiteX7864" y="connsiteY7864"/>
              </a:cxn>
              <a:cxn ang="0">
                <a:pos x="connsiteX7865" y="connsiteY7865"/>
              </a:cxn>
              <a:cxn ang="0">
                <a:pos x="connsiteX7866" y="connsiteY7866"/>
              </a:cxn>
              <a:cxn ang="0">
                <a:pos x="connsiteX7867" y="connsiteY7867"/>
              </a:cxn>
              <a:cxn ang="0">
                <a:pos x="connsiteX7868" y="connsiteY7868"/>
              </a:cxn>
              <a:cxn ang="0">
                <a:pos x="connsiteX7869" y="connsiteY7869"/>
              </a:cxn>
              <a:cxn ang="0">
                <a:pos x="connsiteX7870" y="connsiteY7870"/>
              </a:cxn>
              <a:cxn ang="0">
                <a:pos x="connsiteX7871" y="connsiteY7871"/>
              </a:cxn>
              <a:cxn ang="0">
                <a:pos x="connsiteX7872" y="connsiteY7872"/>
              </a:cxn>
              <a:cxn ang="0">
                <a:pos x="connsiteX7873" y="connsiteY7873"/>
              </a:cxn>
              <a:cxn ang="0">
                <a:pos x="connsiteX7874" y="connsiteY7874"/>
              </a:cxn>
              <a:cxn ang="0">
                <a:pos x="connsiteX7875" y="connsiteY7875"/>
              </a:cxn>
              <a:cxn ang="0">
                <a:pos x="connsiteX7876" y="connsiteY7876"/>
              </a:cxn>
              <a:cxn ang="0">
                <a:pos x="connsiteX7877" y="connsiteY7877"/>
              </a:cxn>
              <a:cxn ang="0">
                <a:pos x="connsiteX7878" y="connsiteY7878"/>
              </a:cxn>
              <a:cxn ang="0">
                <a:pos x="connsiteX7879" y="connsiteY7879"/>
              </a:cxn>
              <a:cxn ang="0">
                <a:pos x="connsiteX7880" y="connsiteY7880"/>
              </a:cxn>
              <a:cxn ang="0">
                <a:pos x="connsiteX7881" y="connsiteY7881"/>
              </a:cxn>
              <a:cxn ang="0">
                <a:pos x="connsiteX7882" y="connsiteY7882"/>
              </a:cxn>
              <a:cxn ang="0">
                <a:pos x="connsiteX7883" y="connsiteY7883"/>
              </a:cxn>
              <a:cxn ang="0">
                <a:pos x="connsiteX7884" y="connsiteY7884"/>
              </a:cxn>
              <a:cxn ang="0">
                <a:pos x="connsiteX7885" y="connsiteY7885"/>
              </a:cxn>
              <a:cxn ang="0">
                <a:pos x="connsiteX7886" y="connsiteY7886"/>
              </a:cxn>
              <a:cxn ang="0">
                <a:pos x="connsiteX7887" y="connsiteY7887"/>
              </a:cxn>
              <a:cxn ang="0">
                <a:pos x="connsiteX7888" y="connsiteY7888"/>
              </a:cxn>
              <a:cxn ang="0">
                <a:pos x="connsiteX7889" y="connsiteY7889"/>
              </a:cxn>
              <a:cxn ang="0">
                <a:pos x="connsiteX7890" y="connsiteY7890"/>
              </a:cxn>
              <a:cxn ang="0">
                <a:pos x="connsiteX7891" y="connsiteY7891"/>
              </a:cxn>
              <a:cxn ang="0">
                <a:pos x="connsiteX7892" y="connsiteY7892"/>
              </a:cxn>
              <a:cxn ang="0">
                <a:pos x="connsiteX7893" y="connsiteY7893"/>
              </a:cxn>
              <a:cxn ang="0">
                <a:pos x="connsiteX7894" y="connsiteY7894"/>
              </a:cxn>
              <a:cxn ang="0">
                <a:pos x="connsiteX7895" y="connsiteY7895"/>
              </a:cxn>
              <a:cxn ang="0">
                <a:pos x="connsiteX7896" y="connsiteY7896"/>
              </a:cxn>
              <a:cxn ang="0">
                <a:pos x="connsiteX7897" y="connsiteY7897"/>
              </a:cxn>
              <a:cxn ang="0">
                <a:pos x="connsiteX7898" y="connsiteY7898"/>
              </a:cxn>
              <a:cxn ang="0">
                <a:pos x="connsiteX7899" y="connsiteY7899"/>
              </a:cxn>
              <a:cxn ang="0">
                <a:pos x="connsiteX7900" y="connsiteY7900"/>
              </a:cxn>
              <a:cxn ang="0">
                <a:pos x="connsiteX7901" y="connsiteY7901"/>
              </a:cxn>
              <a:cxn ang="0">
                <a:pos x="connsiteX7902" y="connsiteY7902"/>
              </a:cxn>
              <a:cxn ang="0">
                <a:pos x="connsiteX7903" y="connsiteY7903"/>
              </a:cxn>
              <a:cxn ang="0">
                <a:pos x="connsiteX7904" y="connsiteY7904"/>
              </a:cxn>
              <a:cxn ang="0">
                <a:pos x="connsiteX7905" y="connsiteY7905"/>
              </a:cxn>
              <a:cxn ang="0">
                <a:pos x="connsiteX7906" y="connsiteY7906"/>
              </a:cxn>
              <a:cxn ang="0">
                <a:pos x="connsiteX7907" y="connsiteY7907"/>
              </a:cxn>
              <a:cxn ang="0">
                <a:pos x="connsiteX7908" y="connsiteY7908"/>
              </a:cxn>
              <a:cxn ang="0">
                <a:pos x="connsiteX7909" y="connsiteY7909"/>
              </a:cxn>
              <a:cxn ang="0">
                <a:pos x="connsiteX7910" y="connsiteY7910"/>
              </a:cxn>
              <a:cxn ang="0">
                <a:pos x="connsiteX7911" y="connsiteY7911"/>
              </a:cxn>
              <a:cxn ang="0">
                <a:pos x="connsiteX7912" y="connsiteY7912"/>
              </a:cxn>
              <a:cxn ang="0">
                <a:pos x="connsiteX7913" y="connsiteY7913"/>
              </a:cxn>
              <a:cxn ang="0">
                <a:pos x="connsiteX7914" y="connsiteY7914"/>
              </a:cxn>
              <a:cxn ang="0">
                <a:pos x="connsiteX7915" y="connsiteY7915"/>
              </a:cxn>
              <a:cxn ang="0">
                <a:pos x="connsiteX7916" y="connsiteY7916"/>
              </a:cxn>
              <a:cxn ang="0">
                <a:pos x="connsiteX7917" y="connsiteY7917"/>
              </a:cxn>
              <a:cxn ang="0">
                <a:pos x="connsiteX7918" y="connsiteY7918"/>
              </a:cxn>
              <a:cxn ang="0">
                <a:pos x="connsiteX7919" y="connsiteY7919"/>
              </a:cxn>
              <a:cxn ang="0">
                <a:pos x="connsiteX7920" y="connsiteY7920"/>
              </a:cxn>
              <a:cxn ang="0">
                <a:pos x="connsiteX7921" y="connsiteY7921"/>
              </a:cxn>
              <a:cxn ang="0">
                <a:pos x="connsiteX7922" y="connsiteY7922"/>
              </a:cxn>
              <a:cxn ang="0">
                <a:pos x="connsiteX7923" y="connsiteY7923"/>
              </a:cxn>
              <a:cxn ang="0">
                <a:pos x="connsiteX7924" y="connsiteY7924"/>
              </a:cxn>
              <a:cxn ang="0">
                <a:pos x="connsiteX7925" y="connsiteY7925"/>
              </a:cxn>
              <a:cxn ang="0">
                <a:pos x="connsiteX7926" y="connsiteY7926"/>
              </a:cxn>
              <a:cxn ang="0">
                <a:pos x="connsiteX7927" y="connsiteY7927"/>
              </a:cxn>
              <a:cxn ang="0">
                <a:pos x="connsiteX7928" y="connsiteY7928"/>
              </a:cxn>
              <a:cxn ang="0">
                <a:pos x="connsiteX7929" y="connsiteY7929"/>
              </a:cxn>
              <a:cxn ang="0">
                <a:pos x="connsiteX7930" y="connsiteY7930"/>
              </a:cxn>
              <a:cxn ang="0">
                <a:pos x="connsiteX7931" y="connsiteY7931"/>
              </a:cxn>
              <a:cxn ang="0">
                <a:pos x="connsiteX7932" y="connsiteY7932"/>
              </a:cxn>
              <a:cxn ang="0">
                <a:pos x="connsiteX7933" y="connsiteY7933"/>
              </a:cxn>
              <a:cxn ang="0">
                <a:pos x="connsiteX7934" y="connsiteY7934"/>
              </a:cxn>
              <a:cxn ang="0">
                <a:pos x="connsiteX7935" y="connsiteY7935"/>
              </a:cxn>
              <a:cxn ang="0">
                <a:pos x="connsiteX7936" y="connsiteY7936"/>
              </a:cxn>
              <a:cxn ang="0">
                <a:pos x="connsiteX7937" y="connsiteY7937"/>
              </a:cxn>
              <a:cxn ang="0">
                <a:pos x="connsiteX7938" y="connsiteY7938"/>
              </a:cxn>
              <a:cxn ang="0">
                <a:pos x="connsiteX7939" y="connsiteY7939"/>
              </a:cxn>
              <a:cxn ang="0">
                <a:pos x="connsiteX7940" y="connsiteY7940"/>
              </a:cxn>
              <a:cxn ang="0">
                <a:pos x="connsiteX7941" y="connsiteY7941"/>
              </a:cxn>
              <a:cxn ang="0">
                <a:pos x="connsiteX7942" y="connsiteY7942"/>
              </a:cxn>
              <a:cxn ang="0">
                <a:pos x="connsiteX7943" y="connsiteY7943"/>
              </a:cxn>
              <a:cxn ang="0">
                <a:pos x="connsiteX7944" y="connsiteY7944"/>
              </a:cxn>
              <a:cxn ang="0">
                <a:pos x="connsiteX7945" y="connsiteY7945"/>
              </a:cxn>
              <a:cxn ang="0">
                <a:pos x="connsiteX7946" y="connsiteY7946"/>
              </a:cxn>
              <a:cxn ang="0">
                <a:pos x="connsiteX7947" y="connsiteY7947"/>
              </a:cxn>
              <a:cxn ang="0">
                <a:pos x="connsiteX7948" y="connsiteY7948"/>
              </a:cxn>
              <a:cxn ang="0">
                <a:pos x="connsiteX7949" y="connsiteY7949"/>
              </a:cxn>
              <a:cxn ang="0">
                <a:pos x="connsiteX7950" y="connsiteY7950"/>
              </a:cxn>
              <a:cxn ang="0">
                <a:pos x="connsiteX7951" y="connsiteY7951"/>
              </a:cxn>
              <a:cxn ang="0">
                <a:pos x="connsiteX7952" y="connsiteY7952"/>
              </a:cxn>
              <a:cxn ang="0">
                <a:pos x="connsiteX7953" y="connsiteY7953"/>
              </a:cxn>
              <a:cxn ang="0">
                <a:pos x="connsiteX7954" y="connsiteY7954"/>
              </a:cxn>
              <a:cxn ang="0">
                <a:pos x="connsiteX7955" y="connsiteY7955"/>
              </a:cxn>
              <a:cxn ang="0">
                <a:pos x="connsiteX7956" y="connsiteY7956"/>
              </a:cxn>
              <a:cxn ang="0">
                <a:pos x="connsiteX7957" y="connsiteY7957"/>
              </a:cxn>
              <a:cxn ang="0">
                <a:pos x="connsiteX7958" y="connsiteY7958"/>
              </a:cxn>
              <a:cxn ang="0">
                <a:pos x="connsiteX7959" y="connsiteY7959"/>
              </a:cxn>
              <a:cxn ang="0">
                <a:pos x="connsiteX7960" y="connsiteY7960"/>
              </a:cxn>
              <a:cxn ang="0">
                <a:pos x="connsiteX7961" y="connsiteY7961"/>
              </a:cxn>
              <a:cxn ang="0">
                <a:pos x="connsiteX7962" y="connsiteY7962"/>
              </a:cxn>
              <a:cxn ang="0">
                <a:pos x="connsiteX7963" y="connsiteY7963"/>
              </a:cxn>
              <a:cxn ang="0">
                <a:pos x="connsiteX7964" y="connsiteY7964"/>
              </a:cxn>
              <a:cxn ang="0">
                <a:pos x="connsiteX7965" y="connsiteY7965"/>
              </a:cxn>
              <a:cxn ang="0">
                <a:pos x="connsiteX7966" y="connsiteY7966"/>
              </a:cxn>
              <a:cxn ang="0">
                <a:pos x="connsiteX7967" y="connsiteY7967"/>
              </a:cxn>
              <a:cxn ang="0">
                <a:pos x="connsiteX7968" y="connsiteY7968"/>
              </a:cxn>
              <a:cxn ang="0">
                <a:pos x="connsiteX7969" y="connsiteY7969"/>
              </a:cxn>
              <a:cxn ang="0">
                <a:pos x="connsiteX7970" y="connsiteY7970"/>
              </a:cxn>
              <a:cxn ang="0">
                <a:pos x="connsiteX7971" y="connsiteY7971"/>
              </a:cxn>
              <a:cxn ang="0">
                <a:pos x="connsiteX7972" y="connsiteY7972"/>
              </a:cxn>
              <a:cxn ang="0">
                <a:pos x="connsiteX7973" y="connsiteY7973"/>
              </a:cxn>
              <a:cxn ang="0">
                <a:pos x="connsiteX7974" y="connsiteY7974"/>
              </a:cxn>
              <a:cxn ang="0">
                <a:pos x="connsiteX7975" y="connsiteY7975"/>
              </a:cxn>
              <a:cxn ang="0">
                <a:pos x="connsiteX7976" y="connsiteY7976"/>
              </a:cxn>
              <a:cxn ang="0">
                <a:pos x="connsiteX7977" y="connsiteY7977"/>
              </a:cxn>
              <a:cxn ang="0">
                <a:pos x="connsiteX7978" y="connsiteY7978"/>
              </a:cxn>
              <a:cxn ang="0">
                <a:pos x="connsiteX7979" y="connsiteY7979"/>
              </a:cxn>
              <a:cxn ang="0">
                <a:pos x="connsiteX7980" y="connsiteY7980"/>
              </a:cxn>
              <a:cxn ang="0">
                <a:pos x="connsiteX7981" y="connsiteY7981"/>
              </a:cxn>
              <a:cxn ang="0">
                <a:pos x="connsiteX7982" y="connsiteY7982"/>
              </a:cxn>
              <a:cxn ang="0">
                <a:pos x="connsiteX7983" y="connsiteY7983"/>
              </a:cxn>
              <a:cxn ang="0">
                <a:pos x="connsiteX7984" y="connsiteY7984"/>
              </a:cxn>
              <a:cxn ang="0">
                <a:pos x="connsiteX7985" y="connsiteY7985"/>
              </a:cxn>
              <a:cxn ang="0">
                <a:pos x="connsiteX7986" y="connsiteY7986"/>
              </a:cxn>
              <a:cxn ang="0">
                <a:pos x="connsiteX7987" y="connsiteY7987"/>
              </a:cxn>
              <a:cxn ang="0">
                <a:pos x="connsiteX7988" y="connsiteY7988"/>
              </a:cxn>
              <a:cxn ang="0">
                <a:pos x="connsiteX7989" y="connsiteY7989"/>
              </a:cxn>
              <a:cxn ang="0">
                <a:pos x="connsiteX7990" y="connsiteY7990"/>
              </a:cxn>
              <a:cxn ang="0">
                <a:pos x="connsiteX7991" y="connsiteY7991"/>
              </a:cxn>
              <a:cxn ang="0">
                <a:pos x="connsiteX7992" y="connsiteY7992"/>
              </a:cxn>
              <a:cxn ang="0">
                <a:pos x="connsiteX7993" y="connsiteY7993"/>
              </a:cxn>
              <a:cxn ang="0">
                <a:pos x="connsiteX7994" y="connsiteY7994"/>
              </a:cxn>
              <a:cxn ang="0">
                <a:pos x="connsiteX7995" y="connsiteY7995"/>
              </a:cxn>
              <a:cxn ang="0">
                <a:pos x="connsiteX7996" y="connsiteY7996"/>
              </a:cxn>
              <a:cxn ang="0">
                <a:pos x="connsiteX7997" y="connsiteY7997"/>
              </a:cxn>
              <a:cxn ang="0">
                <a:pos x="connsiteX7998" y="connsiteY7998"/>
              </a:cxn>
              <a:cxn ang="0">
                <a:pos x="connsiteX7999" y="connsiteY7999"/>
              </a:cxn>
              <a:cxn ang="0">
                <a:pos x="connsiteX8000" y="connsiteY8000"/>
              </a:cxn>
              <a:cxn ang="0">
                <a:pos x="connsiteX8001" y="connsiteY8001"/>
              </a:cxn>
              <a:cxn ang="0">
                <a:pos x="connsiteX8002" y="connsiteY8002"/>
              </a:cxn>
              <a:cxn ang="0">
                <a:pos x="connsiteX8003" y="connsiteY8003"/>
              </a:cxn>
              <a:cxn ang="0">
                <a:pos x="connsiteX8004" y="connsiteY8004"/>
              </a:cxn>
              <a:cxn ang="0">
                <a:pos x="connsiteX8005" y="connsiteY8005"/>
              </a:cxn>
              <a:cxn ang="0">
                <a:pos x="connsiteX8006" y="connsiteY8006"/>
              </a:cxn>
              <a:cxn ang="0">
                <a:pos x="connsiteX8007" y="connsiteY8007"/>
              </a:cxn>
              <a:cxn ang="0">
                <a:pos x="connsiteX8008" y="connsiteY8008"/>
              </a:cxn>
              <a:cxn ang="0">
                <a:pos x="connsiteX8009" y="connsiteY8009"/>
              </a:cxn>
              <a:cxn ang="0">
                <a:pos x="connsiteX8010" y="connsiteY8010"/>
              </a:cxn>
              <a:cxn ang="0">
                <a:pos x="connsiteX8011" y="connsiteY8011"/>
              </a:cxn>
              <a:cxn ang="0">
                <a:pos x="connsiteX8012" y="connsiteY8012"/>
              </a:cxn>
              <a:cxn ang="0">
                <a:pos x="connsiteX8013" y="connsiteY8013"/>
              </a:cxn>
              <a:cxn ang="0">
                <a:pos x="connsiteX8014" y="connsiteY8014"/>
              </a:cxn>
              <a:cxn ang="0">
                <a:pos x="connsiteX8015" y="connsiteY8015"/>
              </a:cxn>
              <a:cxn ang="0">
                <a:pos x="connsiteX8016" y="connsiteY8016"/>
              </a:cxn>
              <a:cxn ang="0">
                <a:pos x="connsiteX8017" y="connsiteY8017"/>
              </a:cxn>
              <a:cxn ang="0">
                <a:pos x="connsiteX8018" y="connsiteY8018"/>
              </a:cxn>
              <a:cxn ang="0">
                <a:pos x="connsiteX8019" y="connsiteY8019"/>
              </a:cxn>
              <a:cxn ang="0">
                <a:pos x="connsiteX8020" y="connsiteY8020"/>
              </a:cxn>
              <a:cxn ang="0">
                <a:pos x="connsiteX8021" y="connsiteY8021"/>
              </a:cxn>
              <a:cxn ang="0">
                <a:pos x="connsiteX8022" y="connsiteY8022"/>
              </a:cxn>
              <a:cxn ang="0">
                <a:pos x="connsiteX8023" y="connsiteY8023"/>
              </a:cxn>
              <a:cxn ang="0">
                <a:pos x="connsiteX8024" y="connsiteY8024"/>
              </a:cxn>
              <a:cxn ang="0">
                <a:pos x="connsiteX8025" y="connsiteY8025"/>
              </a:cxn>
              <a:cxn ang="0">
                <a:pos x="connsiteX8026" y="connsiteY8026"/>
              </a:cxn>
              <a:cxn ang="0">
                <a:pos x="connsiteX8027" y="connsiteY8027"/>
              </a:cxn>
              <a:cxn ang="0">
                <a:pos x="connsiteX8028" y="connsiteY8028"/>
              </a:cxn>
              <a:cxn ang="0">
                <a:pos x="connsiteX8029" y="connsiteY8029"/>
              </a:cxn>
              <a:cxn ang="0">
                <a:pos x="connsiteX8030" y="connsiteY8030"/>
              </a:cxn>
              <a:cxn ang="0">
                <a:pos x="connsiteX8031" y="connsiteY8031"/>
              </a:cxn>
              <a:cxn ang="0">
                <a:pos x="connsiteX8032" y="connsiteY8032"/>
              </a:cxn>
              <a:cxn ang="0">
                <a:pos x="connsiteX8033" y="connsiteY8033"/>
              </a:cxn>
              <a:cxn ang="0">
                <a:pos x="connsiteX8034" y="connsiteY8034"/>
              </a:cxn>
              <a:cxn ang="0">
                <a:pos x="connsiteX8035" y="connsiteY8035"/>
              </a:cxn>
              <a:cxn ang="0">
                <a:pos x="connsiteX8036" y="connsiteY8036"/>
              </a:cxn>
              <a:cxn ang="0">
                <a:pos x="connsiteX8037" y="connsiteY8037"/>
              </a:cxn>
              <a:cxn ang="0">
                <a:pos x="connsiteX8038" y="connsiteY8038"/>
              </a:cxn>
              <a:cxn ang="0">
                <a:pos x="connsiteX8039" y="connsiteY8039"/>
              </a:cxn>
              <a:cxn ang="0">
                <a:pos x="connsiteX8040" y="connsiteY8040"/>
              </a:cxn>
              <a:cxn ang="0">
                <a:pos x="connsiteX8041" y="connsiteY8041"/>
              </a:cxn>
              <a:cxn ang="0">
                <a:pos x="connsiteX8042" y="connsiteY8042"/>
              </a:cxn>
              <a:cxn ang="0">
                <a:pos x="connsiteX8043" y="connsiteY8043"/>
              </a:cxn>
              <a:cxn ang="0">
                <a:pos x="connsiteX8044" y="connsiteY8044"/>
              </a:cxn>
              <a:cxn ang="0">
                <a:pos x="connsiteX8045" y="connsiteY8045"/>
              </a:cxn>
              <a:cxn ang="0">
                <a:pos x="connsiteX8046" y="connsiteY8046"/>
              </a:cxn>
              <a:cxn ang="0">
                <a:pos x="connsiteX8047" y="connsiteY8047"/>
              </a:cxn>
              <a:cxn ang="0">
                <a:pos x="connsiteX8048" y="connsiteY8048"/>
              </a:cxn>
              <a:cxn ang="0">
                <a:pos x="connsiteX8049" y="connsiteY8049"/>
              </a:cxn>
              <a:cxn ang="0">
                <a:pos x="connsiteX8050" y="connsiteY8050"/>
              </a:cxn>
              <a:cxn ang="0">
                <a:pos x="connsiteX8051" y="connsiteY8051"/>
              </a:cxn>
              <a:cxn ang="0">
                <a:pos x="connsiteX8052" y="connsiteY8052"/>
              </a:cxn>
              <a:cxn ang="0">
                <a:pos x="connsiteX8053" y="connsiteY8053"/>
              </a:cxn>
              <a:cxn ang="0">
                <a:pos x="connsiteX8054" y="connsiteY8054"/>
              </a:cxn>
              <a:cxn ang="0">
                <a:pos x="connsiteX8055" y="connsiteY8055"/>
              </a:cxn>
              <a:cxn ang="0">
                <a:pos x="connsiteX8056" y="connsiteY8056"/>
              </a:cxn>
              <a:cxn ang="0">
                <a:pos x="connsiteX8057" y="connsiteY8057"/>
              </a:cxn>
              <a:cxn ang="0">
                <a:pos x="connsiteX8058" y="connsiteY8058"/>
              </a:cxn>
              <a:cxn ang="0">
                <a:pos x="connsiteX8059" y="connsiteY8059"/>
              </a:cxn>
              <a:cxn ang="0">
                <a:pos x="connsiteX8060" y="connsiteY8060"/>
              </a:cxn>
              <a:cxn ang="0">
                <a:pos x="connsiteX8061" y="connsiteY8061"/>
              </a:cxn>
              <a:cxn ang="0">
                <a:pos x="connsiteX8062" y="connsiteY8062"/>
              </a:cxn>
              <a:cxn ang="0">
                <a:pos x="connsiteX8063" y="connsiteY8063"/>
              </a:cxn>
              <a:cxn ang="0">
                <a:pos x="connsiteX8064" y="connsiteY8064"/>
              </a:cxn>
              <a:cxn ang="0">
                <a:pos x="connsiteX8065" y="connsiteY8065"/>
              </a:cxn>
              <a:cxn ang="0">
                <a:pos x="connsiteX8066" y="connsiteY8066"/>
              </a:cxn>
              <a:cxn ang="0">
                <a:pos x="connsiteX8067" y="connsiteY8067"/>
              </a:cxn>
              <a:cxn ang="0">
                <a:pos x="connsiteX8068" y="connsiteY8068"/>
              </a:cxn>
              <a:cxn ang="0">
                <a:pos x="connsiteX8069" y="connsiteY8069"/>
              </a:cxn>
              <a:cxn ang="0">
                <a:pos x="connsiteX8070" y="connsiteY8070"/>
              </a:cxn>
              <a:cxn ang="0">
                <a:pos x="connsiteX8071" y="connsiteY8071"/>
              </a:cxn>
              <a:cxn ang="0">
                <a:pos x="connsiteX8072" y="connsiteY8072"/>
              </a:cxn>
              <a:cxn ang="0">
                <a:pos x="connsiteX8073" y="connsiteY8073"/>
              </a:cxn>
              <a:cxn ang="0">
                <a:pos x="connsiteX8074" y="connsiteY8074"/>
              </a:cxn>
              <a:cxn ang="0">
                <a:pos x="connsiteX8075" y="connsiteY8075"/>
              </a:cxn>
              <a:cxn ang="0">
                <a:pos x="connsiteX8076" y="connsiteY8076"/>
              </a:cxn>
              <a:cxn ang="0">
                <a:pos x="connsiteX8077" y="connsiteY8077"/>
              </a:cxn>
              <a:cxn ang="0">
                <a:pos x="connsiteX8078" y="connsiteY8078"/>
              </a:cxn>
              <a:cxn ang="0">
                <a:pos x="connsiteX8079" y="connsiteY8079"/>
              </a:cxn>
              <a:cxn ang="0">
                <a:pos x="connsiteX8080" y="connsiteY8080"/>
              </a:cxn>
              <a:cxn ang="0">
                <a:pos x="connsiteX8081" y="connsiteY8081"/>
              </a:cxn>
              <a:cxn ang="0">
                <a:pos x="connsiteX8082" y="connsiteY8082"/>
              </a:cxn>
              <a:cxn ang="0">
                <a:pos x="connsiteX8083" y="connsiteY8083"/>
              </a:cxn>
              <a:cxn ang="0">
                <a:pos x="connsiteX8084" y="connsiteY8084"/>
              </a:cxn>
              <a:cxn ang="0">
                <a:pos x="connsiteX8085" y="connsiteY8085"/>
              </a:cxn>
              <a:cxn ang="0">
                <a:pos x="connsiteX8086" y="connsiteY8086"/>
              </a:cxn>
              <a:cxn ang="0">
                <a:pos x="connsiteX8087" y="connsiteY8087"/>
              </a:cxn>
              <a:cxn ang="0">
                <a:pos x="connsiteX8088" y="connsiteY8088"/>
              </a:cxn>
              <a:cxn ang="0">
                <a:pos x="connsiteX8089" y="connsiteY8089"/>
              </a:cxn>
              <a:cxn ang="0">
                <a:pos x="connsiteX8090" y="connsiteY8090"/>
              </a:cxn>
              <a:cxn ang="0">
                <a:pos x="connsiteX8091" y="connsiteY8091"/>
              </a:cxn>
              <a:cxn ang="0">
                <a:pos x="connsiteX8092" y="connsiteY8092"/>
              </a:cxn>
              <a:cxn ang="0">
                <a:pos x="connsiteX8093" y="connsiteY8093"/>
              </a:cxn>
              <a:cxn ang="0">
                <a:pos x="connsiteX8094" y="connsiteY8094"/>
              </a:cxn>
              <a:cxn ang="0">
                <a:pos x="connsiteX8095" y="connsiteY8095"/>
              </a:cxn>
              <a:cxn ang="0">
                <a:pos x="connsiteX8096" y="connsiteY8096"/>
              </a:cxn>
              <a:cxn ang="0">
                <a:pos x="connsiteX8097" y="connsiteY8097"/>
              </a:cxn>
              <a:cxn ang="0">
                <a:pos x="connsiteX8098" y="connsiteY8098"/>
              </a:cxn>
              <a:cxn ang="0">
                <a:pos x="connsiteX8099" y="connsiteY8099"/>
              </a:cxn>
              <a:cxn ang="0">
                <a:pos x="connsiteX8100" y="connsiteY8100"/>
              </a:cxn>
              <a:cxn ang="0">
                <a:pos x="connsiteX8101" y="connsiteY8101"/>
              </a:cxn>
              <a:cxn ang="0">
                <a:pos x="connsiteX8102" y="connsiteY8102"/>
              </a:cxn>
              <a:cxn ang="0">
                <a:pos x="connsiteX8103" y="connsiteY8103"/>
              </a:cxn>
              <a:cxn ang="0">
                <a:pos x="connsiteX8104" y="connsiteY8104"/>
              </a:cxn>
              <a:cxn ang="0">
                <a:pos x="connsiteX8105" y="connsiteY8105"/>
              </a:cxn>
              <a:cxn ang="0">
                <a:pos x="connsiteX8106" y="connsiteY8106"/>
              </a:cxn>
              <a:cxn ang="0">
                <a:pos x="connsiteX8107" y="connsiteY8107"/>
              </a:cxn>
              <a:cxn ang="0">
                <a:pos x="connsiteX8108" y="connsiteY8108"/>
              </a:cxn>
              <a:cxn ang="0">
                <a:pos x="connsiteX8109" y="connsiteY8109"/>
              </a:cxn>
              <a:cxn ang="0">
                <a:pos x="connsiteX8110" y="connsiteY8110"/>
              </a:cxn>
              <a:cxn ang="0">
                <a:pos x="connsiteX8111" y="connsiteY8111"/>
              </a:cxn>
              <a:cxn ang="0">
                <a:pos x="connsiteX8112" y="connsiteY8112"/>
              </a:cxn>
              <a:cxn ang="0">
                <a:pos x="connsiteX8113" y="connsiteY8113"/>
              </a:cxn>
              <a:cxn ang="0">
                <a:pos x="connsiteX8114" y="connsiteY8114"/>
              </a:cxn>
              <a:cxn ang="0">
                <a:pos x="connsiteX8115" y="connsiteY8115"/>
              </a:cxn>
              <a:cxn ang="0">
                <a:pos x="connsiteX8116" y="connsiteY8116"/>
              </a:cxn>
              <a:cxn ang="0">
                <a:pos x="connsiteX8117" y="connsiteY8117"/>
              </a:cxn>
              <a:cxn ang="0">
                <a:pos x="connsiteX8118" y="connsiteY8118"/>
              </a:cxn>
              <a:cxn ang="0">
                <a:pos x="connsiteX8119" y="connsiteY8119"/>
              </a:cxn>
              <a:cxn ang="0">
                <a:pos x="connsiteX8120" y="connsiteY8120"/>
              </a:cxn>
              <a:cxn ang="0">
                <a:pos x="connsiteX8121" y="connsiteY8121"/>
              </a:cxn>
              <a:cxn ang="0">
                <a:pos x="connsiteX8122" y="connsiteY8122"/>
              </a:cxn>
              <a:cxn ang="0">
                <a:pos x="connsiteX8123" y="connsiteY8123"/>
              </a:cxn>
              <a:cxn ang="0">
                <a:pos x="connsiteX8124" y="connsiteY8124"/>
              </a:cxn>
              <a:cxn ang="0">
                <a:pos x="connsiteX8125" y="connsiteY8125"/>
              </a:cxn>
              <a:cxn ang="0">
                <a:pos x="connsiteX8126" y="connsiteY8126"/>
              </a:cxn>
              <a:cxn ang="0">
                <a:pos x="connsiteX8127" y="connsiteY8127"/>
              </a:cxn>
              <a:cxn ang="0">
                <a:pos x="connsiteX8128" y="connsiteY8128"/>
              </a:cxn>
              <a:cxn ang="0">
                <a:pos x="connsiteX8129" y="connsiteY8129"/>
              </a:cxn>
              <a:cxn ang="0">
                <a:pos x="connsiteX8130" y="connsiteY8130"/>
              </a:cxn>
              <a:cxn ang="0">
                <a:pos x="connsiteX8131" y="connsiteY8131"/>
              </a:cxn>
              <a:cxn ang="0">
                <a:pos x="connsiteX8132" y="connsiteY8132"/>
              </a:cxn>
              <a:cxn ang="0">
                <a:pos x="connsiteX8133" y="connsiteY8133"/>
              </a:cxn>
              <a:cxn ang="0">
                <a:pos x="connsiteX8134" y="connsiteY8134"/>
              </a:cxn>
              <a:cxn ang="0">
                <a:pos x="connsiteX8135" y="connsiteY8135"/>
              </a:cxn>
              <a:cxn ang="0">
                <a:pos x="connsiteX8136" y="connsiteY8136"/>
              </a:cxn>
              <a:cxn ang="0">
                <a:pos x="connsiteX8137" y="connsiteY8137"/>
              </a:cxn>
              <a:cxn ang="0">
                <a:pos x="connsiteX8138" y="connsiteY8138"/>
              </a:cxn>
              <a:cxn ang="0">
                <a:pos x="connsiteX8139" y="connsiteY8139"/>
              </a:cxn>
              <a:cxn ang="0">
                <a:pos x="connsiteX8140" y="connsiteY8140"/>
              </a:cxn>
              <a:cxn ang="0">
                <a:pos x="connsiteX8141" y="connsiteY8141"/>
              </a:cxn>
              <a:cxn ang="0">
                <a:pos x="connsiteX8142" y="connsiteY8142"/>
              </a:cxn>
              <a:cxn ang="0">
                <a:pos x="connsiteX8143" y="connsiteY8143"/>
              </a:cxn>
              <a:cxn ang="0">
                <a:pos x="connsiteX8144" y="connsiteY8144"/>
              </a:cxn>
              <a:cxn ang="0">
                <a:pos x="connsiteX8145" y="connsiteY8145"/>
              </a:cxn>
              <a:cxn ang="0">
                <a:pos x="connsiteX8146" y="connsiteY8146"/>
              </a:cxn>
              <a:cxn ang="0">
                <a:pos x="connsiteX8147" y="connsiteY8147"/>
              </a:cxn>
              <a:cxn ang="0">
                <a:pos x="connsiteX8148" y="connsiteY8148"/>
              </a:cxn>
              <a:cxn ang="0">
                <a:pos x="connsiteX8149" y="connsiteY8149"/>
              </a:cxn>
              <a:cxn ang="0">
                <a:pos x="connsiteX8150" y="connsiteY8150"/>
              </a:cxn>
              <a:cxn ang="0">
                <a:pos x="connsiteX8151" y="connsiteY8151"/>
              </a:cxn>
              <a:cxn ang="0">
                <a:pos x="connsiteX8152" y="connsiteY8152"/>
              </a:cxn>
              <a:cxn ang="0">
                <a:pos x="connsiteX8153" y="connsiteY8153"/>
              </a:cxn>
              <a:cxn ang="0">
                <a:pos x="connsiteX8154" y="connsiteY8154"/>
              </a:cxn>
              <a:cxn ang="0">
                <a:pos x="connsiteX8155" y="connsiteY8155"/>
              </a:cxn>
              <a:cxn ang="0">
                <a:pos x="connsiteX8156" y="connsiteY8156"/>
              </a:cxn>
              <a:cxn ang="0">
                <a:pos x="connsiteX8157" y="connsiteY8157"/>
              </a:cxn>
              <a:cxn ang="0">
                <a:pos x="connsiteX8158" y="connsiteY8158"/>
              </a:cxn>
              <a:cxn ang="0">
                <a:pos x="connsiteX8159" y="connsiteY8159"/>
              </a:cxn>
              <a:cxn ang="0">
                <a:pos x="connsiteX8160" y="connsiteY8160"/>
              </a:cxn>
              <a:cxn ang="0">
                <a:pos x="connsiteX8161" y="connsiteY8161"/>
              </a:cxn>
              <a:cxn ang="0">
                <a:pos x="connsiteX8162" y="connsiteY8162"/>
              </a:cxn>
              <a:cxn ang="0">
                <a:pos x="connsiteX8163" y="connsiteY8163"/>
              </a:cxn>
              <a:cxn ang="0">
                <a:pos x="connsiteX8164" y="connsiteY8164"/>
              </a:cxn>
              <a:cxn ang="0">
                <a:pos x="connsiteX8165" y="connsiteY8165"/>
              </a:cxn>
              <a:cxn ang="0">
                <a:pos x="connsiteX8166" y="connsiteY8166"/>
              </a:cxn>
              <a:cxn ang="0">
                <a:pos x="connsiteX8167" y="connsiteY8167"/>
              </a:cxn>
              <a:cxn ang="0">
                <a:pos x="connsiteX8168" y="connsiteY8168"/>
              </a:cxn>
              <a:cxn ang="0">
                <a:pos x="connsiteX8169" y="connsiteY8169"/>
              </a:cxn>
              <a:cxn ang="0">
                <a:pos x="connsiteX8170" y="connsiteY8170"/>
              </a:cxn>
              <a:cxn ang="0">
                <a:pos x="connsiteX8171" y="connsiteY8171"/>
              </a:cxn>
              <a:cxn ang="0">
                <a:pos x="connsiteX8172" y="connsiteY8172"/>
              </a:cxn>
              <a:cxn ang="0">
                <a:pos x="connsiteX8173" y="connsiteY8173"/>
              </a:cxn>
              <a:cxn ang="0">
                <a:pos x="connsiteX8174" y="connsiteY8174"/>
              </a:cxn>
              <a:cxn ang="0">
                <a:pos x="connsiteX8175" y="connsiteY8175"/>
              </a:cxn>
              <a:cxn ang="0">
                <a:pos x="connsiteX8176" y="connsiteY8176"/>
              </a:cxn>
              <a:cxn ang="0">
                <a:pos x="connsiteX8177" y="connsiteY8177"/>
              </a:cxn>
              <a:cxn ang="0">
                <a:pos x="connsiteX8178" y="connsiteY8178"/>
              </a:cxn>
              <a:cxn ang="0">
                <a:pos x="connsiteX8179" y="connsiteY8179"/>
              </a:cxn>
              <a:cxn ang="0">
                <a:pos x="connsiteX8180" y="connsiteY8180"/>
              </a:cxn>
              <a:cxn ang="0">
                <a:pos x="connsiteX8181" y="connsiteY8181"/>
              </a:cxn>
              <a:cxn ang="0">
                <a:pos x="connsiteX8182" y="connsiteY8182"/>
              </a:cxn>
              <a:cxn ang="0">
                <a:pos x="connsiteX8183" y="connsiteY8183"/>
              </a:cxn>
              <a:cxn ang="0">
                <a:pos x="connsiteX8184" y="connsiteY8184"/>
              </a:cxn>
              <a:cxn ang="0">
                <a:pos x="connsiteX8185" y="connsiteY8185"/>
              </a:cxn>
              <a:cxn ang="0">
                <a:pos x="connsiteX8186" y="connsiteY8186"/>
              </a:cxn>
              <a:cxn ang="0">
                <a:pos x="connsiteX8187" y="connsiteY8187"/>
              </a:cxn>
              <a:cxn ang="0">
                <a:pos x="connsiteX8188" y="connsiteY8188"/>
              </a:cxn>
              <a:cxn ang="0">
                <a:pos x="connsiteX8189" y="connsiteY8189"/>
              </a:cxn>
              <a:cxn ang="0">
                <a:pos x="connsiteX8190" y="connsiteY8190"/>
              </a:cxn>
              <a:cxn ang="0">
                <a:pos x="connsiteX8191" y="connsiteY8191"/>
              </a:cxn>
              <a:cxn ang="0">
                <a:pos x="connsiteX8192" y="connsiteY8192"/>
              </a:cxn>
              <a:cxn ang="0">
                <a:pos x="connsiteX8193" y="connsiteY8193"/>
              </a:cxn>
              <a:cxn ang="0">
                <a:pos x="connsiteX8194" y="connsiteY8194"/>
              </a:cxn>
              <a:cxn ang="0">
                <a:pos x="connsiteX8195" y="connsiteY8195"/>
              </a:cxn>
              <a:cxn ang="0">
                <a:pos x="connsiteX8196" y="connsiteY8196"/>
              </a:cxn>
              <a:cxn ang="0">
                <a:pos x="connsiteX8197" y="connsiteY8197"/>
              </a:cxn>
              <a:cxn ang="0">
                <a:pos x="connsiteX8198" y="connsiteY8198"/>
              </a:cxn>
              <a:cxn ang="0">
                <a:pos x="connsiteX8199" y="connsiteY8199"/>
              </a:cxn>
              <a:cxn ang="0">
                <a:pos x="connsiteX8200" y="connsiteY8200"/>
              </a:cxn>
              <a:cxn ang="0">
                <a:pos x="connsiteX8201" y="connsiteY8201"/>
              </a:cxn>
              <a:cxn ang="0">
                <a:pos x="connsiteX8202" y="connsiteY8202"/>
              </a:cxn>
              <a:cxn ang="0">
                <a:pos x="connsiteX8203" y="connsiteY8203"/>
              </a:cxn>
              <a:cxn ang="0">
                <a:pos x="connsiteX8204" y="connsiteY8204"/>
              </a:cxn>
              <a:cxn ang="0">
                <a:pos x="connsiteX8205" y="connsiteY8205"/>
              </a:cxn>
              <a:cxn ang="0">
                <a:pos x="connsiteX8206" y="connsiteY8206"/>
              </a:cxn>
              <a:cxn ang="0">
                <a:pos x="connsiteX8207" y="connsiteY8207"/>
              </a:cxn>
              <a:cxn ang="0">
                <a:pos x="connsiteX8208" y="connsiteY8208"/>
              </a:cxn>
              <a:cxn ang="0">
                <a:pos x="connsiteX8209" y="connsiteY8209"/>
              </a:cxn>
              <a:cxn ang="0">
                <a:pos x="connsiteX8210" y="connsiteY8210"/>
              </a:cxn>
              <a:cxn ang="0">
                <a:pos x="connsiteX8211" y="connsiteY8211"/>
              </a:cxn>
              <a:cxn ang="0">
                <a:pos x="connsiteX8212" y="connsiteY8212"/>
              </a:cxn>
              <a:cxn ang="0">
                <a:pos x="connsiteX8213" y="connsiteY8213"/>
              </a:cxn>
              <a:cxn ang="0">
                <a:pos x="connsiteX8214" y="connsiteY8214"/>
              </a:cxn>
              <a:cxn ang="0">
                <a:pos x="connsiteX8215" y="connsiteY8215"/>
              </a:cxn>
              <a:cxn ang="0">
                <a:pos x="connsiteX8216" y="connsiteY8216"/>
              </a:cxn>
              <a:cxn ang="0">
                <a:pos x="connsiteX8217" y="connsiteY8217"/>
              </a:cxn>
              <a:cxn ang="0">
                <a:pos x="connsiteX8218" y="connsiteY8218"/>
              </a:cxn>
              <a:cxn ang="0">
                <a:pos x="connsiteX8219" y="connsiteY8219"/>
              </a:cxn>
              <a:cxn ang="0">
                <a:pos x="connsiteX8220" y="connsiteY8220"/>
              </a:cxn>
              <a:cxn ang="0">
                <a:pos x="connsiteX8221" y="connsiteY8221"/>
              </a:cxn>
              <a:cxn ang="0">
                <a:pos x="connsiteX8222" y="connsiteY8222"/>
              </a:cxn>
              <a:cxn ang="0">
                <a:pos x="connsiteX8223" y="connsiteY8223"/>
              </a:cxn>
              <a:cxn ang="0">
                <a:pos x="connsiteX8224" y="connsiteY8224"/>
              </a:cxn>
              <a:cxn ang="0">
                <a:pos x="connsiteX8225" y="connsiteY8225"/>
              </a:cxn>
              <a:cxn ang="0">
                <a:pos x="connsiteX8226" y="connsiteY8226"/>
              </a:cxn>
              <a:cxn ang="0">
                <a:pos x="connsiteX8227" y="connsiteY8227"/>
              </a:cxn>
              <a:cxn ang="0">
                <a:pos x="connsiteX8228" y="connsiteY8228"/>
              </a:cxn>
              <a:cxn ang="0">
                <a:pos x="connsiteX8229" y="connsiteY8229"/>
              </a:cxn>
              <a:cxn ang="0">
                <a:pos x="connsiteX8230" y="connsiteY8230"/>
              </a:cxn>
              <a:cxn ang="0">
                <a:pos x="connsiteX8231" y="connsiteY8231"/>
              </a:cxn>
              <a:cxn ang="0">
                <a:pos x="connsiteX8232" y="connsiteY8232"/>
              </a:cxn>
              <a:cxn ang="0">
                <a:pos x="connsiteX8233" y="connsiteY8233"/>
              </a:cxn>
              <a:cxn ang="0">
                <a:pos x="connsiteX8234" y="connsiteY8234"/>
              </a:cxn>
              <a:cxn ang="0">
                <a:pos x="connsiteX8235" y="connsiteY8235"/>
              </a:cxn>
              <a:cxn ang="0">
                <a:pos x="connsiteX8236" y="connsiteY8236"/>
              </a:cxn>
              <a:cxn ang="0">
                <a:pos x="connsiteX8237" y="connsiteY8237"/>
              </a:cxn>
              <a:cxn ang="0">
                <a:pos x="connsiteX8238" y="connsiteY8238"/>
              </a:cxn>
              <a:cxn ang="0">
                <a:pos x="connsiteX8239" y="connsiteY8239"/>
              </a:cxn>
              <a:cxn ang="0">
                <a:pos x="connsiteX8240" y="connsiteY8240"/>
              </a:cxn>
              <a:cxn ang="0">
                <a:pos x="connsiteX8241" y="connsiteY8241"/>
              </a:cxn>
              <a:cxn ang="0">
                <a:pos x="connsiteX8242" y="connsiteY8242"/>
              </a:cxn>
              <a:cxn ang="0">
                <a:pos x="connsiteX8243" y="connsiteY8243"/>
              </a:cxn>
              <a:cxn ang="0">
                <a:pos x="connsiteX8244" y="connsiteY8244"/>
              </a:cxn>
              <a:cxn ang="0">
                <a:pos x="connsiteX8245" y="connsiteY8245"/>
              </a:cxn>
              <a:cxn ang="0">
                <a:pos x="connsiteX8246" y="connsiteY8246"/>
              </a:cxn>
              <a:cxn ang="0">
                <a:pos x="connsiteX8247" y="connsiteY8247"/>
              </a:cxn>
              <a:cxn ang="0">
                <a:pos x="connsiteX8248" y="connsiteY8248"/>
              </a:cxn>
              <a:cxn ang="0">
                <a:pos x="connsiteX8249" y="connsiteY8249"/>
              </a:cxn>
              <a:cxn ang="0">
                <a:pos x="connsiteX8250" y="connsiteY8250"/>
              </a:cxn>
              <a:cxn ang="0">
                <a:pos x="connsiteX8251" y="connsiteY8251"/>
              </a:cxn>
              <a:cxn ang="0">
                <a:pos x="connsiteX8252" y="connsiteY8252"/>
              </a:cxn>
              <a:cxn ang="0">
                <a:pos x="connsiteX8253" y="connsiteY8253"/>
              </a:cxn>
              <a:cxn ang="0">
                <a:pos x="connsiteX8254" y="connsiteY8254"/>
              </a:cxn>
              <a:cxn ang="0">
                <a:pos x="connsiteX8255" y="connsiteY8255"/>
              </a:cxn>
              <a:cxn ang="0">
                <a:pos x="connsiteX8256" y="connsiteY8256"/>
              </a:cxn>
              <a:cxn ang="0">
                <a:pos x="connsiteX8257" y="connsiteY8257"/>
              </a:cxn>
              <a:cxn ang="0">
                <a:pos x="connsiteX8258" y="connsiteY8258"/>
              </a:cxn>
              <a:cxn ang="0">
                <a:pos x="connsiteX8259" y="connsiteY8259"/>
              </a:cxn>
              <a:cxn ang="0">
                <a:pos x="connsiteX8260" y="connsiteY8260"/>
              </a:cxn>
              <a:cxn ang="0">
                <a:pos x="connsiteX8261" y="connsiteY8261"/>
              </a:cxn>
              <a:cxn ang="0">
                <a:pos x="connsiteX8262" y="connsiteY8262"/>
              </a:cxn>
              <a:cxn ang="0">
                <a:pos x="connsiteX8263" y="connsiteY8263"/>
              </a:cxn>
              <a:cxn ang="0">
                <a:pos x="connsiteX8264" y="connsiteY8264"/>
              </a:cxn>
              <a:cxn ang="0">
                <a:pos x="connsiteX8265" y="connsiteY8265"/>
              </a:cxn>
              <a:cxn ang="0">
                <a:pos x="connsiteX8266" y="connsiteY8266"/>
              </a:cxn>
              <a:cxn ang="0">
                <a:pos x="connsiteX8267" y="connsiteY8267"/>
              </a:cxn>
              <a:cxn ang="0">
                <a:pos x="connsiteX8268" y="connsiteY8268"/>
              </a:cxn>
              <a:cxn ang="0">
                <a:pos x="connsiteX8269" y="connsiteY8269"/>
              </a:cxn>
              <a:cxn ang="0">
                <a:pos x="connsiteX8270" y="connsiteY8270"/>
              </a:cxn>
              <a:cxn ang="0">
                <a:pos x="connsiteX8271" y="connsiteY8271"/>
              </a:cxn>
              <a:cxn ang="0">
                <a:pos x="connsiteX8272" y="connsiteY8272"/>
              </a:cxn>
              <a:cxn ang="0">
                <a:pos x="connsiteX8273" y="connsiteY8273"/>
              </a:cxn>
              <a:cxn ang="0">
                <a:pos x="connsiteX8274" y="connsiteY8274"/>
              </a:cxn>
              <a:cxn ang="0">
                <a:pos x="connsiteX8275" y="connsiteY8275"/>
              </a:cxn>
              <a:cxn ang="0">
                <a:pos x="connsiteX8276" y="connsiteY8276"/>
              </a:cxn>
              <a:cxn ang="0">
                <a:pos x="connsiteX8277" y="connsiteY8277"/>
              </a:cxn>
              <a:cxn ang="0">
                <a:pos x="connsiteX8278" y="connsiteY8278"/>
              </a:cxn>
              <a:cxn ang="0">
                <a:pos x="connsiteX8279" y="connsiteY8279"/>
              </a:cxn>
              <a:cxn ang="0">
                <a:pos x="connsiteX8280" y="connsiteY8280"/>
              </a:cxn>
              <a:cxn ang="0">
                <a:pos x="connsiteX8281" y="connsiteY8281"/>
              </a:cxn>
              <a:cxn ang="0">
                <a:pos x="connsiteX8282" y="connsiteY8282"/>
              </a:cxn>
              <a:cxn ang="0">
                <a:pos x="connsiteX8283" y="connsiteY8283"/>
              </a:cxn>
              <a:cxn ang="0">
                <a:pos x="connsiteX8284" y="connsiteY8284"/>
              </a:cxn>
              <a:cxn ang="0">
                <a:pos x="connsiteX8285" y="connsiteY8285"/>
              </a:cxn>
              <a:cxn ang="0">
                <a:pos x="connsiteX8286" y="connsiteY8286"/>
              </a:cxn>
              <a:cxn ang="0">
                <a:pos x="connsiteX8287" y="connsiteY8287"/>
              </a:cxn>
              <a:cxn ang="0">
                <a:pos x="connsiteX8288" y="connsiteY8288"/>
              </a:cxn>
              <a:cxn ang="0">
                <a:pos x="connsiteX8289" y="connsiteY8289"/>
              </a:cxn>
              <a:cxn ang="0">
                <a:pos x="connsiteX8290" y="connsiteY8290"/>
              </a:cxn>
              <a:cxn ang="0">
                <a:pos x="connsiteX8291" y="connsiteY8291"/>
              </a:cxn>
              <a:cxn ang="0">
                <a:pos x="connsiteX8292" y="connsiteY8292"/>
              </a:cxn>
              <a:cxn ang="0">
                <a:pos x="connsiteX8293" y="connsiteY8293"/>
              </a:cxn>
              <a:cxn ang="0">
                <a:pos x="connsiteX8294" y="connsiteY8294"/>
              </a:cxn>
              <a:cxn ang="0">
                <a:pos x="connsiteX8295" y="connsiteY8295"/>
              </a:cxn>
              <a:cxn ang="0">
                <a:pos x="connsiteX8296" y="connsiteY8296"/>
              </a:cxn>
              <a:cxn ang="0">
                <a:pos x="connsiteX8297" y="connsiteY8297"/>
              </a:cxn>
              <a:cxn ang="0">
                <a:pos x="connsiteX8298" y="connsiteY8298"/>
              </a:cxn>
              <a:cxn ang="0">
                <a:pos x="connsiteX8299" y="connsiteY8299"/>
              </a:cxn>
              <a:cxn ang="0">
                <a:pos x="connsiteX8300" y="connsiteY8300"/>
              </a:cxn>
              <a:cxn ang="0">
                <a:pos x="connsiteX8301" y="connsiteY8301"/>
              </a:cxn>
              <a:cxn ang="0">
                <a:pos x="connsiteX8302" y="connsiteY8302"/>
              </a:cxn>
              <a:cxn ang="0">
                <a:pos x="connsiteX8303" y="connsiteY8303"/>
              </a:cxn>
              <a:cxn ang="0">
                <a:pos x="connsiteX8304" y="connsiteY8304"/>
              </a:cxn>
              <a:cxn ang="0">
                <a:pos x="connsiteX8305" y="connsiteY8305"/>
              </a:cxn>
              <a:cxn ang="0">
                <a:pos x="connsiteX8306" y="connsiteY8306"/>
              </a:cxn>
              <a:cxn ang="0">
                <a:pos x="connsiteX8307" y="connsiteY8307"/>
              </a:cxn>
              <a:cxn ang="0">
                <a:pos x="connsiteX8308" y="connsiteY8308"/>
              </a:cxn>
              <a:cxn ang="0">
                <a:pos x="connsiteX8309" y="connsiteY8309"/>
              </a:cxn>
              <a:cxn ang="0">
                <a:pos x="connsiteX8310" y="connsiteY8310"/>
              </a:cxn>
              <a:cxn ang="0">
                <a:pos x="connsiteX8311" y="connsiteY8311"/>
              </a:cxn>
              <a:cxn ang="0">
                <a:pos x="connsiteX8312" y="connsiteY8312"/>
              </a:cxn>
              <a:cxn ang="0">
                <a:pos x="connsiteX8313" y="connsiteY8313"/>
              </a:cxn>
              <a:cxn ang="0">
                <a:pos x="connsiteX8314" y="connsiteY8314"/>
              </a:cxn>
              <a:cxn ang="0">
                <a:pos x="connsiteX8315" y="connsiteY8315"/>
              </a:cxn>
              <a:cxn ang="0">
                <a:pos x="connsiteX8316" y="connsiteY8316"/>
              </a:cxn>
              <a:cxn ang="0">
                <a:pos x="connsiteX8317" y="connsiteY8317"/>
              </a:cxn>
              <a:cxn ang="0">
                <a:pos x="connsiteX8318" y="connsiteY8318"/>
              </a:cxn>
              <a:cxn ang="0">
                <a:pos x="connsiteX8319" y="connsiteY8319"/>
              </a:cxn>
              <a:cxn ang="0">
                <a:pos x="connsiteX8320" y="connsiteY8320"/>
              </a:cxn>
              <a:cxn ang="0">
                <a:pos x="connsiteX8321" y="connsiteY8321"/>
              </a:cxn>
              <a:cxn ang="0">
                <a:pos x="connsiteX8322" y="connsiteY8322"/>
              </a:cxn>
              <a:cxn ang="0">
                <a:pos x="connsiteX8323" y="connsiteY8323"/>
              </a:cxn>
              <a:cxn ang="0">
                <a:pos x="connsiteX8324" y="connsiteY8324"/>
              </a:cxn>
              <a:cxn ang="0">
                <a:pos x="connsiteX8325" y="connsiteY8325"/>
              </a:cxn>
              <a:cxn ang="0">
                <a:pos x="connsiteX8326" y="connsiteY8326"/>
              </a:cxn>
              <a:cxn ang="0">
                <a:pos x="connsiteX8327" y="connsiteY8327"/>
              </a:cxn>
              <a:cxn ang="0">
                <a:pos x="connsiteX8328" y="connsiteY8328"/>
              </a:cxn>
              <a:cxn ang="0">
                <a:pos x="connsiteX8329" y="connsiteY8329"/>
              </a:cxn>
              <a:cxn ang="0">
                <a:pos x="connsiteX8330" y="connsiteY8330"/>
              </a:cxn>
              <a:cxn ang="0">
                <a:pos x="connsiteX8331" y="connsiteY8331"/>
              </a:cxn>
              <a:cxn ang="0">
                <a:pos x="connsiteX8332" y="connsiteY8332"/>
              </a:cxn>
              <a:cxn ang="0">
                <a:pos x="connsiteX8333" y="connsiteY8333"/>
              </a:cxn>
              <a:cxn ang="0">
                <a:pos x="connsiteX8334" y="connsiteY8334"/>
              </a:cxn>
              <a:cxn ang="0">
                <a:pos x="connsiteX8335" y="connsiteY8335"/>
              </a:cxn>
              <a:cxn ang="0">
                <a:pos x="connsiteX8336" y="connsiteY8336"/>
              </a:cxn>
              <a:cxn ang="0">
                <a:pos x="connsiteX8337" y="connsiteY8337"/>
              </a:cxn>
              <a:cxn ang="0">
                <a:pos x="connsiteX8338" y="connsiteY8338"/>
              </a:cxn>
              <a:cxn ang="0">
                <a:pos x="connsiteX8339" y="connsiteY8339"/>
              </a:cxn>
              <a:cxn ang="0">
                <a:pos x="connsiteX8340" y="connsiteY8340"/>
              </a:cxn>
              <a:cxn ang="0">
                <a:pos x="connsiteX8341" y="connsiteY8341"/>
              </a:cxn>
              <a:cxn ang="0">
                <a:pos x="connsiteX8342" y="connsiteY8342"/>
              </a:cxn>
              <a:cxn ang="0">
                <a:pos x="connsiteX8343" y="connsiteY8343"/>
              </a:cxn>
              <a:cxn ang="0">
                <a:pos x="connsiteX8344" y="connsiteY8344"/>
              </a:cxn>
              <a:cxn ang="0">
                <a:pos x="connsiteX8345" y="connsiteY8345"/>
              </a:cxn>
              <a:cxn ang="0">
                <a:pos x="connsiteX8346" y="connsiteY8346"/>
              </a:cxn>
              <a:cxn ang="0">
                <a:pos x="connsiteX8347" y="connsiteY8347"/>
              </a:cxn>
              <a:cxn ang="0">
                <a:pos x="connsiteX8348" y="connsiteY8348"/>
              </a:cxn>
              <a:cxn ang="0">
                <a:pos x="connsiteX8349" y="connsiteY8349"/>
              </a:cxn>
              <a:cxn ang="0">
                <a:pos x="connsiteX8350" y="connsiteY8350"/>
              </a:cxn>
              <a:cxn ang="0">
                <a:pos x="connsiteX8351" y="connsiteY8351"/>
              </a:cxn>
              <a:cxn ang="0">
                <a:pos x="connsiteX8352" y="connsiteY8352"/>
              </a:cxn>
              <a:cxn ang="0">
                <a:pos x="connsiteX8353" y="connsiteY8353"/>
              </a:cxn>
              <a:cxn ang="0">
                <a:pos x="connsiteX8354" y="connsiteY8354"/>
              </a:cxn>
              <a:cxn ang="0">
                <a:pos x="connsiteX8355" y="connsiteY8355"/>
              </a:cxn>
              <a:cxn ang="0">
                <a:pos x="connsiteX8356" y="connsiteY8356"/>
              </a:cxn>
              <a:cxn ang="0">
                <a:pos x="connsiteX8357" y="connsiteY8357"/>
              </a:cxn>
              <a:cxn ang="0">
                <a:pos x="connsiteX8358" y="connsiteY8358"/>
              </a:cxn>
              <a:cxn ang="0">
                <a:pos x="connsiteX8359" y="connsiteY8359"/>
              </a:cxn>
              <a:cxn ang="0">
                <a:pos x="connsiteX8360" y="connsiteY8360"/>
              </a:cxn>
              <a:cxn ang="0">
                <a:pos x="connsiteX8361" y="connsiteY8361"/>
              </a:cxn>
              <a:cxn ang="0">
                <a:pos x="connsiteX8362" y="connsiteY8362"/>
              </a:cxn>
              <a:cxn ang="0">
                <a:pos x="connsiteX8363" y="connsiteY8363"/>
              </a:cxn>
              <a:cxn ang="0">
                <a:pos x="connsiteX8364" y="connsiteY8364"/>
              </a:cxn>
              <a:cxn ang="0">
                <a:pos x="connsiteX8365" y="connsiteY8365"/>
              </a:cxn>
              <a:cxn ang="0">
                <a:pos x="connsiteX8366" y="connsiteY8366"/>
              </a:cxn>
              <a:cxn ang="0">
                <a:pos x="connsiteX8367" y="connsiteY8367"/>
              </a:cxn>
              <a:cxn ang="0">
                <a:pos x="connsiteX8368" y="connsiteY8368"/>
              </a:cxn>
              <a:cxn ang="0">
                <a:pos x="connsiteX8369" y="connsiteY8369"/>
              </a:cxn>
              <a:cxn ang="0">
                <a:pos x="connsiteX8370" y="connsiteY8370"/>
              </a:cxn>
              <a:cxn ang="0">
                <a:pos x="connsiteX8371" y="connsiteY8371"/>
              </a:cxn>
              <a:cxn ang="0">
                <a:pos x="connsiteX8372" y="connsiteY8372"/>
              </a:cxn>
              <a:cxn ang="0">
                <a:pos x="connsiteX8373" y="connsiteY8373"/>
              </a:cxn>
              <a:cxn ang="0">
                <a:pos x="connsiteX8374" y="connsiteY8374"/>
              </a:cxn>
              <a:cxn ang="0">
                <a:pos x="connsiteX8375" y="connsiteY8375"/>
              </a:cxn>
              <a:cxn ang="0">
                <a:pos x="connsiteX8376" y="connsiteY8376"/>
              </a:cxn>
              <a:cxn ang="0">
                <a:pos x="connsiteX8377" y="connsiteY8377"/>
              </a:cxn>
              <a:cxn ang="0">
                <a:pos x="connsiteX8378" y="connsiteY8378"/>
              </a:cxn>
              <a:cxn ang="0">
                <a:pos x="connsiteX8379" y="connsiteY8379"/>
              </a:cxn>
              <a:cxn ang="0">
                <a:pos x="connsiteX8380" y="connsiteY8380"/>
              </a:cxn>
              <a:cxn ang="0">
                <a:pos x="connsiteX8381" y="connsiteY8381"/>
              </a:cxn>
              <a:cxn ang="0">
                <a:pos x="connsiteX8382" y="connsiteY8382"/>
              </a:cxn>
              <a:cxn ang="0">
                <a:pos x="connsiteX8383" y="connsiteY8383"/>
              </a:cxn>
              <a:cxn ang="0">
                <a:pos x="connsiteX8384" y="connsiteY8384"/>
              </a:cxn>
              <a:cxn ang="0">
                <a:pos x="connsiteX8385" y="connsiteY8385"/>
              </a:cxn>
              <a:cxn ang="0">
                <a:pos x="connsiteX8386" y="connsiteY8386"/>
              </a:cxn>
              <a:cxn ang="0">
                <a:pos x="connsiteX8387" y="connsiteY8387"/>
              </a:cxn>
              <a:cxn ang="0">
                <a:pos x="connsiteX8388" y="connsiteY8388"/>
              </a:cxn>
              <a:cxn ang="0">
                <a:pos x="connsiteX8389" y="connsiteY8389"/>
              </a:cxn>
              <a:cxn ang="0">
                <a:pos x="connsiteX8390" y="connsiteY8390"/>
              </a:cxn>
              <a:cxn ang="0">
                <a:pos x="connsiteX8391" y="connsiteY8391"/>
              </a:cxn>
              <a:cxn ang="0">
                <a:pos x="connsiteX8392" y="connsiteY8392"/>
              </a:cxn>
              <a:cxn ang="0">
                <a:pos x="connsiteX8393" y="connsiteY8393"/>
              </a:cxn>
              <a:cxn ang="0">
                <a:pos x="connsiteX8394" y="connsiteY8394"/>
              </a:cxn>
              <a:cxn ang="0">
                <a:pos x="connsiteX8395" y="connsiteY8395"/>
              </a:cxn>
              <a:cxn ang="0">
                <a:pos x="connsiteX8396" y="connsiteY8396"/>
              </a:cxn>
              <a:cxn ang="0">
                <a:pos x="connsiteX8397" y="connsiteY8397"/>
              </a:cxn>
              <a:cxn ang="0">
                <a:pos x="connsiteX8398" y="connsiteY8398"/>
              </a:cxn>
              <a:cxn ang="0">
                <a:pos x="connsiteX8399" y="connsiteY8399"/>
              </a:cxn>
              <a:cxn ang="0">
                <a:pos x="connsiteX8400" y="connsiteY8400"/>
              </a:cxn>
              <a:cxn ang="0">
                <a:pos x="connsiteX8401" y="connsiteY8401"/>
              </a:cxn>
              <a:cxn ang="0">
                <a:pos x="connsiteX8402" y="connsiteY8402"/>
              </a:cxn>
              <a:cxn ang="0">
                <a:pos x="connsiteX8403" y="connsiteY8403"/>
              </a:cxn>
              <a:cxn ang="0">
                <a:pos x="connsiteX8404" y="connsiteY8404"/>
              </a:cxn>
              <a:cxn ang="0">
                <a:pos x="connsiteX8405" y="connsiteY8405"/>
              </a:cxn>
              <a:cxn ang="0">
                <a:pos x="connsiteX8406" y="connsiteY8406"/>
              </a:cxn>
              <a:cxn ang="0">
                <a:pos x="connsiteX8407" y="connsiteY8407"/>
              </a:cxn>
              <a:cxn ang="0">
                <a:pos x="connsiteX8408" y="connsiteY8408"/>
              </a:cxn>
              <a:cxn ang="0">
                <a:pos x="connsiteX8409" y="connsiteY8409"/>
              </a:cxn>
              <a:cxn ang="0">
                <a:pos x="connsiteX8410" y="connsiteY8410"/>
              </a:cxn>
              <a:cxn ang="0">
                <a:pos x="connsiteX8411" y="connsiteY8411"/>
              </a:cxn>
              <a:cxn ang="0">
                <a:pos x="connsiteX8412" y="connsiteY8412"/>
              </a:cxn>
              <a:cxn ang="0">
                <a:pos x="connsiteX8413" y="connsiteY8413"/>
              </a:cxn>
              <a:cxn ang="0">
                <a:pos x="connsiteX8414" y="connsiteY8414"/>
              </a:cxn>
              <a:cxn ang="0">
                <a:pos x="connsiteX8415" y="connsiteY8415"/>
              </a:cxn>
              <a:cxn ang="0">
                <a:pos x="connsiteX8416" y="connsiteY8416"/>
              </a:cxn>
              <a:cxn ang="0">
                <a:pos x="connsiteX8417" y="connsiteY8417"/>
              </a:cxn>
              <a:cxn ang="0">
                <a:pos x="connsiteX8418" y="connsiteY8418"/>
              </a:cxn>
              <a:cxn ang="0">
                <a:pos x="connsiteX8419" y="connsiteY8419"/>
              </a:cxn>
              <a:cxn ang="0">
                <a:pos x="connsiteX8420" y="connsiteY8420"/>
              </a:cxn>
              <a:cxn ang="0">
                <a:pos x="connsiteX8421" y="connsiteY8421"/>
              </a:cxn>
              <a:cxn ang="0">
                <a:pos x="connsiteX8422" y="connsiteY8422"/>
              </a:cxn>
              <a:cxn ang="0">
                <a:pos x="connsiteX8423" y="connsiteY8423"/>
              </a:cxn>
              <a:cxn ang="0">
                <a:pos x="connsiteX8424" y="connsiteY8424"/>
              </a:cxn>
              <a:cxn ang="0">
                <a:pos x="connsiteX8425" y="connsiteY8425"/>
              </a:cxn>
              <a:cxn ang="0">
                <a:pos x="connsiteX8426" y="connsiteY8426"/>
              </a:cxn>
              <a:cxn ang="0">
                <a:pos x="connsiteX8427" y="connsiteY8427"/>
              </a:cxn>
              <a:cxn ang="0">
                <a:pos x="connsiteX8428" y="connsiteY8428"/>
              </a:cxn>
              <a:cxn ang="0">
                <a:pos x="connsiteX8429" y="connsiteY8429"/>
              </a:cxn>
              <a:cxn ang="0">
                <a:pos x="connsiteX8430" y="connsiteY8430"/>
              </a:cxn>
              <a:cxn ang="0">
                <a:pos x="connsiteX8431" y="connsiteY8431"/>
              </a:cxn>
              <a:cxn ang="0">
                <a:pos x="connsiteX8432" y="connsiteY8432"/>
              </a:cxn>
              <a:cxn ang="0">
                <a:pos x="connsiteX8433" y="connsiteY8433"/>
              </a:cxn>
              <a:cxn ang="0">
                <a:pos x="connsiteX8434" y="connsiteY8434"/>
              </a:cxn>
              <a:cxn ang="0">
                <a:pos x="connsiteX8435" y="connsiteY8435"/>
              </a:cxn>
              <a:cxn ang="0">
                <a:pos x="connsiteX8436" y="connsiteY8436"/>
              </a:cxn>
              <a:cxn ang="0">
                <a:pos x="connsiteX8437" y="connsiteY8437"/>
              </a:cxn>
              <a:cxn ang="0">
                <a:pos x="connsiteX8438" y="connsiteY8438"/>
              </a:cxn>
              <a:cxn ang="0">
                <a:pos x="connsiteX8439" y="connsiteY8439"/>
              </a:cxn>
              <a:cxn ang="0">
                <a:pos x="connsiteX8440" y="connsiteY8440"/>
              </a:cxn>
              <a:cxn ang="0">
                <a:pos x="connsiteX8441" y="connsiteY8441"/>
              </a:cxn>
              <a:cxn ang="0">
                <a:pos x="connsiteX8442" y="connsiteY8442"/>
              </a:cxn>
              <a:cxn ang="0">
                <a:pos x="connsiteX8443" y="connsiteY8443"/>
              </a:cxn>
              <a:cxn ang="0">
                <a:pos x="connsiteX8444" y="connsiteY8444"/>
              </a:cxn>
              <a:cxn ang="0">
                <a:pos x="connsiteX8445" y="connsiteY8445"/>
              </a:cxn>
              <a:cxn ang="0">
                <a:pos x="connsiteX8446" y="connsiteY8446"/>
              </a:cxn>
              <a:cxn ang="0">
                <a:pos x="connsiteX8447" y="connsiteY8447"/>
              </a:cxn>
              <a:cxn ang="0">
                <a:pos x="connsiteX8448" y="connsiteY8448"/>
              </a:cxn>
              <a:cxn ang="0">
                <a:pos x="connsiteX8449" y="connsiteY8449"/>
              </a:cxn>
              <a:cxn ang="0">
                <a:pos x="connsiteX8450" y="connsiteY8450"/>
              </a:cxn>
              <a:cxn ang="0">
                <a:pos x="connsiteX8451" y="connsiteY8451"/>
              </a:cxn>
              <a:cxn ang="0">
                <a:pos x="connsiteX8452" y="connsiteY8452"/>
              </a:cxn>
              <a:cxn ang="0">
                <a:pos x="connsiteX8453" y="connsiteY8453"/>
              </a:cxn>
              <a:cxn ang="0">
                <a:pos x="connsiteX8454" y="connsiteY8454"/>
              </a:cxn>
              <a:cxn ang="0">
                <a:pos x="connsiteX8455" y="connsiteY8455"/>
              </a:cxn>
              <a:cxn ang="0">
                <a:pos x="connsiteX8456" y="connsiteY8456"/>
              </a:cxn>
              <a:cxn ang="0">
                <a:pos x="connsiteX8457" y="connsiteY8457"/>
              </a:cxn>
              <a:cxn ang="0">
                <a:pos x="connsiteX8458" y="connsiteY8458"/>
              </a:cxn>
              <a:cxn ang="0">
                <a:pos x="connsiteX8459" y="connsiteY8459"/>
              </a:cxn>
              <a:cxn ang="0">
                <a:pos x="connsiteX8460" y="connsiteY8460"/>
              </a:cxn>
              <a:cxn ang="0">
                <a:pos x="connsiteX8461" y="connsiteY8461"/>
              </a:cxn>
              <a:cxn ang="0">
                <a:pos x="connsiteX8462" y="connsiteY8462"/>
              </a:cxn>
              <a:cxn ang="0">
                <a:pos x="connsiteX8463" y="connsiteY8463"/>
              </a:cxn>
              <a:cxn ang="0">
                <a:pos x="connsiteX8464" y="connsiteY8464"/>
              </a:cxn>
              <a:cxn ang="0">
                <a:pos x="connsiteX8465" y="connsiteY8465"/>
              </a:cxn>
              <a:cxn ang="0">
                <a:pos x="connsiteX8466" y="connsiteY8466"/>
              </a:cxn>
              <a:cxn ang="0">
                <a:pos x="connsiteX8467" y="connsiteY8467"/>
              </a:cxn>
              <a:cxn ang="0">
                <a:pos x="connsiteX8468" y="connsiteY8468"/>
              </a:cxn>
              <a:cxn ang="0">
                <a:pos x="connsiteX8469" y="connsiteY8469"/>
              </a:cxn>
              <a:cxn ang="0">
                <a:pos x="connsiteX8470" y="connsiteY8470"/>
              </a:cxn>
              <a:cxn ang="0">
                <a:pos x="connsiteX8471" y="connsiteY8471"/>
              </a:cxn>
              <a:cxn ang="0">
                <a:pos x="connsiteX8472" y="connsiteY8472"/>
              </a:cxn>
              <a:cxn ang="0">
                <a:pos x="connsiteX8473" y="connsiteY8473"/>
              </a:cxn>
              <a:cxn ang="0">
                <a:pos x="connsiteX8474" y="connsiteY8474"/>
              </a:cxn>
              <a:cxn ang="0">
                <a:pos x="connsiteX8475" y="connsiteY8475"/>
              </a:cxn>
              <a:cxn ang="0">
                <a:pos x="connsiteX8476" y="connsiteY8476"/>
              </a:cxn>
              <a:cxn ang="0">
                <a:pos x="connsiteX8477" y="connsiteY8477"/>
              </a:cxn>
              <a:cxn ang="0">
                <a:pos x="connsiteX8478" y="connsiteY8478"/>
              </a:cxn>
              <a:cxn ang="0">
                <a:pos x="connsiteX8479" y="connsiteY8479"/>
              </a:cxn>
              <a:cxn ang="0">
                <a:pos x="connsiteX8480" y="connsiteY8480"/>
              </a:cxn>
              <a:cxn ang="0">
                <a:pos x="connsiteX8481" y="connsiteY8481"/>
              </a:cxn>
              <a:cxn ang="0">
                <a:pos x="connsiteX8482" y="connsiteY8482"/>
              </a:cxn>
              <a:cxn ang="0">
                <a:pos x="connsiteX8483" y="connsiteY8483"/>
              </a:cxn>
              <a:cxn ang="0">
                <a:pos x="connsiteX8484" y="connsiteY8484"/>
              </a:cxn>
              <a:cxn ang="0">
                <a:pos x="connsiteX8485" y="connsiteY8485"/>
              </a:cxn>
              <a:cxn ang="0">
                <a:pos x="connsiteX8486" y="connsiteY8486"/>
              </a:cxn>
              <a:cxn ang="0">
                <a:pos x="connsiteX8487" y="connsiteY8487"/>
              </a:cxn>
              <a:cxn ang="0">
                <a:pos x="connsiteX8488" y="connsiteY8488"/>
              </a:cxn>
              <a:cxn ang="0">
                <a:pos x="connsiteX8489" y="connsiteY8489"/>
              </a:cxn>
              <a:cxn ang="0">
                <a:pos x="connsiteX8490" y="connsiteY8490"/>
              </a:cxn>
              <a:cxn ang="0">
                <a:pos x="connsiteX8491" y="connsiteY8491"/>
              </a:cxn>
              <a:cxn ang="0">
                <a:pos x="connsiteX8492" y="connsiteY8492"/>
              </a:cxn>
              <a:cxn ang="0">
                <a:pos x="connsiteX8493" y="connsiteY8493"/>
              </a:cxn>
              <a:cxn ang="0">
                <a:pos x="connsiteX8494" y="connsiteY8494"/>
              </a:cxn>
              <a:cxn ang="0">
                <a:pos x="connsiteX8495" y="connsiteY8495"/>
              </a:cxn>
              <a:cxn ang="0">
                <a:pos x="connsiteX8496" y="connsiteY8496"/>
              </a:cxn>
              <a:cxn ang="0">
                <a:pos x="connsiteX8497" y="connsiteY8497"/>
              </a:cxn>
              <a:cxn ang="0">
                <a:pos x="connsiteX8498" y="connsiteY8498"/>
              </a:cxn>
              <a:cxn ang="0">
                <a:pos x="connsiteX8499" y="connsiteY8499"/>
              </a:cxn>
              <a:cxn ang="0">
                <a:pos x="connsiteX8500" y="connsiteY8500"/>
              </a:cxn>
              <a:cxn ang="0">
                <a:pos x="connsiteX8501" y="connsiteY8501"/>
              </a:cxn>
              <a:cxn ang="0">
                <a:pos x="connsiteX8502" y="connsiteY8502"/>
              </a:cxn>
              <a:cxn ang="0">
                <a:pos x="connsiteX8503" y="connsiteY8503"/>
              </a:cxn>
              <a:cxn ang="0">
                <a:pos x="connsiteX8504" y="connsiteY8504"/>
              </a:cxn>
              <a:cxn ang="0">
                <a:pos x="connsiteX8505" y="connsiteY8505"/>
              </a:cxn>
              <a:cxn ang="0">
                <a:pos x="connsiteX8506" y="connsiteY8506"/>
              </a:cxn>
              <a:cxn ang="0">
                <a:pos x="connsiteX8507" y="connsiteY8507"/>
              </a:cxn>
              <a:cxn ang="0">
                <a:pos x="connsiteX8508" y="connsiteY8508"/>
              </a:cxn>
              <a:cxn ang="0">
                <a:pos x="connsiteX8509" y="connsiteY8509"/>
              </a:cxn>
              <a:cxn ang="0">
                <a:pos x="connsiteX8510" y="connsiteY8510"/>
              </a:cxn>
              <a:cxn ang="0">
                <a:pos x="connsiteX8511" y="connsiteY8511"/>
              </a:cxn>
              <a:cxn ang="0">
                <a:pos x="connsiteX8512" y="connsiteY8512"/>
              </a:cxn>
              <a:cxn ang="0">
                <a:pos x="connsiteX8513" y="connsiteY8513"/>
              </a:cxn>
              <a:cxn ang="0">
                <a:pos x="connsiteX8514" y="connsiteY8514"/>
              </a:cxn>
              <a:cxn ang="0">
                <a:pos x="connsiteX8515" y="connsiteY8515"/>
              </a:cxn>
              <a:cxn ang="0">
                <a:pos x="connsiteX8516" y="connsiteY8516"/>
              </a:cxn>
              <a:cxn ang="0">
                <a:pos x="connsiteX8517" y="connsiteY8517"/>
              </a:cxn>
              <a:cxn ang="0">
                <a:pos x="connsiteX8518" y="connsiteY8518"/>
              </a:cxn>
              <a:cxn ang="0">
                <a:pos x="connsiteX8519" y="connsiteY8519"/>
              </a:cxn>
              <a:cxn ang="0">
                <a:pos x="connsiteX8520" y="connsiteY8520"/>
              </a:cxn>
              <a:cxn ang="0">
                <a:pos x="connsiteX8521" y="connsiteY8521"/>
              </a:cxn>
              <a:cxn ang="0">
                <a:pos x="connsiteX8522" y="connsiteY8522"/>
              </a:cxn>
              <a:cxn ang="0">
                <a:pos x="connsiteX8523" y="connsiteY8523"/>
              </a:cxn>
              <a:cxn ang="0">
                <a:pos x="connsiteX8524" y="connsiteY8524"/>
              </a:cxn>
              <a:cxn ang="0">
                <a:pos x="connsiteX8525" y="connsiteY8525"/>
              </a:cxn>
              <a:cxn ang="0">
                <a:pos x="connsiteX8526" y="connsiteY8526"/>
              </a:cxn>
              <a:cxn ang="0">
                <a:pos x="connsiteX8527" y="connsiteY8527"/>
              </a:cxn>
              <a:cxn ang="0">
                <a:pos x="connsiteX8528" y="connsiteY8528"/>
              </a:cxn>
              <a:cxn ang="0">
                <a:pos x="connsiteX8529" y="connsiteY8529"/>
              </a:cxn>
              <a:cxn ang="0">
                <a:pos x="connsiteX8530" y="connsiteY8530"/>
              </a:cxn>
              <a:cxn ang="0">
                <a:pos x="connsiteX8531" y="connsiteY8531"/>
              </a:cxn>
              <a:cxn ang="0">
                <a:pos x="connsiteX8532" y="connsiteY8532"/>
              </a:cxn>
              <a:cxn ang="0">
                <a:pos x="connsiteX8533" y="connsiteY8533"/>
              </a:cxn>
              <a:cxn ang="0">
                <a:pos x="connsiteX8534" y="connsiteY8534"/>
              </a:cxn>
              <a:cxn ang="0">
                <a:pos x="connsiteX8535" y="connsiteY8535"/>
              </a:cxn>
              <a:cxn ang="0">
                <a:pos x="connsiteX8536" y="connsiteY8536"/>
              </a:cxn>
              <a:cxn ang="0">
                <a:pos x="connsiteX8537" y="connsiteY8537"/>
              </a:cxn>
              <a:cxn ang="0">
                <a:pos x="connsiteX8538" y="connsiteY8538"/>
              </a:cxn>
              <a:cxn ang="0">
                <a:pos x="connsiteX8539" y="connsiteY8539"/>
              </a:cxn>
              <a:cxn ang="0">
                <a:pos x="connsiteX8540" y="connsiteY8540"/>
              </a:cxn>
              <a:cxn ang="0">
                <a:pos x="connsiteX8541" y="connsiteY8541"/>
              </a:cxn>
              <a:cxn ang="0">
                <a:pos x="connsiteX8542" y="connsiteY8542"/>
              </a:cxn>
              <a:cxn ang="0">
                <a:pos x="connsiteX8543" y="connsiteY8543"/>
              </a:cxn>
              <a:cxn ang="0">
                <a:pos x="connsiteX8544" y="connsiteY8544"/>
              </a:cxn>
              <a:cxn ang="0">
                <a:pos x="connsiteX8545" y="connsiteY8545"/>
              </a:cxn>
              <a:cxn ang="0">
                <a:pos x="connsiteX8546" y="connsiteY8546"/>
              </a:cxn>
              <a:cxn ang="0">
                <a:pos x="connsiteX8547" y="connsiteY8547"/>
              </a:cxn>
              <a:cxn ang="0">
                <a:pos x="connsiteX8548" y="connsiteY8548"/>
              </a:cxn>
              <a:cxn ang="0">
                <a:pos x="connsiteX8549" y="connsiteY8549"/>
              </a:cxn>
              <a:cxn ang="0">
                <a:pos x="connsiteX8550" y="connsiteY8550"/>
              </a:cxn>
              <a:cxn ang="0">
                <a:pos x="connsiteX8551" y="connsiteY8551"/>
              </a:cxn>
              <a:cxn ang="0">
                <a:pos x="connsiteX8552" y="connsiteY8552"/>
              </a:cxn>
              <a:cxn ang="0">
                <a:pos x="connsiteX8553" y="connsiteY8553"/>
              </a:cxn>
              <a:cxn ang="0">
                <a:pos x="connsiteX8554" y="connsiteY8554"/>
              </a:cxn>
              <a:cxn ang="0">
                <a:pos x="connsiteX8555" y="connsiteY8555"/>
              </a:cxn>
              <a:cxn ang="0">
                <a:pos x="connsiteX8556" y="connsiteY8556"/>
              </a:cxn>
              <a:cxn ang="0">
                <a:pos x="connsiteX8557" y="connsiteY8557"/>
              </a:cxn>
              <a:cxn ang="0">
                <a:pos x="connsiteX8558" y="connsiteY8558"/>
              </a:cxn>
              <a:cxn ang="0">
                <a:pos x="connsiteX8559" y="connsiteY8559"/>
              </a:cxn>
              <a:cxn ang="0">
                <a:pos x="connsiteX8560" y="connsiteY8560"/>
              </a:cxn>
              <a:cxn ang="0">
                <a:pos x="connsiteX8561" y="connsiteY8561"/>
              </a:cxn>
              <a:cxn ang="0">
                <a:pos x="connsiteX8562" y="connsiteY8562"/>
              </a:cxn>
              <a:cxn ang="0">
                <a:pos x="connsiteX8563" y="connsiteY8563"/>
              </a:cxn>
              <a:cxn ang="0">
                <a:pos x="connsiteX8564" y="connsiteY8564"/>
              </a:cxn>
              <a:cxn ang="0">
                <a:pos x="connsiteX8565" y="connsiteY8565"/>
              </a:cxn>
              <a:cxn ang="0">
                <a:pos x="connsiteX8566" y="connsiteY8566"/>
              </a:cxn>
              <a:cxn ang="0">
                <a:pos x="connsiteX8567" y="connsiteY8567"/>
              </a:cxn>
              <a:cxn ang="0">
                <a:pos x="connsiteX8568" y="connsiteY8568"/>
              </a:cxn>
              <a:cxn ang="0">
                <a:pos x="connsiteX8569" y="connsiteY8569"/>
              </a:cxn>
              <a:cxn ang="0">
                <a:pos x="connsiteX8570" y="connsiteY8570"/>
              </a:cxn>
              <a:cxn ang="0">
                <a:pos x="connsiteX8571" y="connsiteY8571"/>
              </a:cxn>
              <a:cxn ang="0">
                <a:pos x="connsiteX8572" y="connsiteY8572"/>
              </a:cxn>
              <a:cxn ang="0">
                <a:pos x="connsiteX8573" y="connsiteY8573"/>
              </a:cxn>
              <a:cxn ang="0">
                <a:pos x="connsiteX8574" y="connsiteY8574"/>
              </a:cxn>
              <a:cxn ang="0">
                <a:pos x="connsiteX8575" y="connsiteY8575"/>
              </a:cxn>
              <a:cxn ang="0">
                <a:pos x="connsiteX8576" y="connsiteY8576"/>
              </a:cxn>
              <a:cxn ang="0">
                <a:pos x="connsiteX8577" y="connsiteY8577"/>
              </a:cxn>
              <a:cxn ang="0">
                <a:pos x="connsiteX8578" y="connsiteY8578"/>
              </a:cxn>
              <a:cxn ang="0">
                <a:pos x="connsiteX8579" y="connsiteY8579"/>
              </a:cxn>
              <a:cxn ang="0">
                <a:pos x="connsiteX8580" y="connsiteY8580"/>
              </a:cxn>
              <a:cxn ang="0">
                <a:pos x="connsiteX8581" y="connsiteY8581"/>
              </a:cxn>
              <a:cxn ang="0">
                <a:pos x="connsiteX8582" y="connsiteY8582"/>
              </a:cxn>
              <a:cxn ang="0">
                <a:pos x="connsiteX8583" y="connsiteY8583"/>
              </a:cxn>
              <a:cxn ang="0">
                <a:pos x="connsiteX8584" y="connsiteY8584"/>
              </a:cxn>
              <a:cxn ang="0">
                <a:pos x="connsiteX8585" y="connsiteY8585"/>
              </a:cxn>
              <a:cxn ang="0">
                <a:pos x="connsiteX8586" y="connsiteY8586"/>
              </a:cxn>
              <a:cxn ang="0">
                <a:pos x="connsiteX8587" y="connsiteY8587"/>
              </a:cxn>
              <a:cxn ang="0">
                <a:pos x="connsiteX8588" y="connsiteY8588"/>
              </a:cxn>
              <a:cxn ang="0">
                <a:pos x="connsiteX8589" y="connsiteY8589"/>
              </a:cxn>
              <a:cxn ang="0">
                <a:pos x="connsiteX8590" y="connsiteY8590"/>
              </a:cxn>
              <a:cxn ang="0">
                <a:pos x="connsiteX8591" y="connsiteY8591"/>
              </a:cxn>
              <a:cxn ang="0">
                <a:pos x="connsiteX8592" y="connsiteY8592"/>
              </a:cxn>
              <a:cxn ang="0">
                <a:pos x="connsiteX8593" y="connsiteY8593"/>
              </a:cxn>
              <a:cxn ang="0">
                <a:pos x="connsiteX8594" y="connsiteY8594"/>
              </a:cxn>
              <a:cxn ang="0">
                <a:pos x="connsiteX8595" y="connsiteY8595"/>
              </a:cxn>
              <a:cxn ang="0">
                <a:pos x="connsiteX8596" y="connsiteY8596"/>
              </a:cxn>
              <a:cxn ang="0">
                <a:pos x="connsiteX8597" y="connsiteY8597"/>
              </a:cxn>
              <a:cxn ang="0">
                <a:pos x="connsiteX8598" y="connsiteY8598"/>
              </a:cxn>
              <a:cxn ang="0">
                <a:pos x="connsiteX8599" y="connsiteY8599"/>
              </a:cxn>
              <a:cxn ang="0">
                <a:pos x="connsiteX8600" y="connsiteY8600"/>
              </a:cxn>
              <a:cxn ang="0">
                <a:pos x="connsiteX8601" y="connsiteY8601"/>
              </a:cxn>
              <a:cxn ang="0">
                <a:pos x="connsiteX8602" y="connsiteY8602"/>
              </a:cxn>
              <a:cxn ang="0">
                <a:pos x="connsiteX8603" y="connsiteY8603"/>
              </a:cxn>
              <a:cxn ang="0">
                <a:pos x="connsiteX8604" y="connsiteY8604"/>
              </a:cxn>
              <a:cxn ang="0">
                <a:pos x="connsiteX8605" y="connsiteY8605"/>
              </a:cxn>
              <a:cxn ang="0">
                <a:pos x="connsiteX8606" y="connsiteY8606"/>
              </a:cxn>
              <a:cxn ang="0">
                <a:pos x="connsiteX8607" y="connsiteY8607"/>
              </a:cxn>
              <a:cxn ang="0">
                <a:pos x="connsiteX8608" y="connsiteY8608"/>
              </a:cxn>
              <a:cxn ang="0">
                <a:pos x="connsiteX8609" y="connsiteY8609"/>
              </a:cxn>
              <a:cxn ang="0">
                <a:pos x="connsiteX8610" y="connsiteY8610"/>
              </a:cxn>
              <a:cxn ang="0">
                <a:pos x="connsiteX8611" y="connsiteY8611"/>
              </a:cxn>
              <a:cxn ang="0">
                <a:pos x="connsiteX8612" y="connsiteY8612"/>
              </a:cxn>
              <a:cxn ang="0">
                <a:pos x="connsiteX8613" y="connsiteY8613"/>
              </a:cxn>
              <a:cxn ang="0">
                <a:pos x="connsiteX8614" y="connsiteY8614"/>
              </a:cxn>
              <a:cxn ang="0">
                <a:pos x="connsiteX8615" y="connsiteY8615"/>
              </a:cxn>
              <a:cxn ang="0">
                <a:pos x="connsiteX8616" y="connsiteY8616"/>
              </a:cxn>
              <a:cxn ang="0">
                <a:pos x="connsiteX8617" y="connsiteY8617"/>
              </a:cxn>
              <a:cxn ang="0">
                <a:pos x="connsiteX8618" y="connsiteY8618"/>
              </a:cxn>
              <a:cxn ang="0">
                <a:pos x="connsiteX8619" y="connsiteY8619"/>
              </a:cxn>
              <a:cxn ang="0">
                <a:pos x="connsiteX8620" y="connsiteY8620"/>
              </a:cxn>
              <a:cxn ang="0">
                <a:pos x="connsiteX8621" y="connsiteY8621"/>
              </a:cxn>
              <a:cxn ang="0">
                <a:pos x="connsiteX8622" y="connsiteY8622"/>
              </a:cxn>
              <a:cxn ang="0">
                <a:pos x="connsiteX8623" y="connsiteY8623"/>
              </a:cxn>
              <a:cxn ang="0">
                <a:pos x="connsiteX8624" y="connsiteY8624"/>
              </a:cxn>
              <a:cxn ang="0">
                <a:pos x="connsiteX8625" y="connsiteY8625"/>
              </a:cxn>
              <a:cxn ang="0">
                <a:pos x="connsiteX8626" y="connsiteY8626"/>
              </a:cxn>
              <a:cxn ang="0">
                <a:pos x="connsiteX8627" y="connsiteY8627"/>
              </a:cxn>
              <a:cxn ang="0">
                <a:pos x="connsiteX8628" y="connsiteY8628"/>
              </a:cxn>
              <a:cxn ang="0">
                <a:pos x="connsiteX8629" y="connsiteY8629"/>
              </a:cxn>
              <a:cxn ang="0">
                <a:pos x="connsiteX8630" y="connsiteY8630"/>
              </a:cxn>
              <a:cxn ang="0">
                <a:pos x="connsiteX8631" y="connsiteY8631"/>
              </a:cxn>
              <a:cxn ang="0">
                <a:pos x="connsiteX8632" y="connsiteY8632"/>
              </a:cxn>
              <a:cxn ang="0">
                <a:pos x="connsiteX8633" y="connsiteY8633"/>
              </a:cxn>
              <a:cxn ang="0">
                <a:pos x="connsiteX8634" y="connsiteY8634"/>
              </a:cxn>
              <a:cxn ang="0">
                <a:pos x="connsiteX8635" y="connsiteY8635"/>
              </a:cxn>
              <a:cxn ang="0">
                <a:pos x="connsiteX8636" y="connsiteY8636"/>
              </a:cxn>
              <a:cxn ang="0">
                <a:pos x="connsiteX8637" y="connsiteY8637"/>
              </a:cxn>
              <a:cxn ang="0">
                <a:pos x="connsiteX8638" y="connsiteY8638"/>
              </a:cxn>
              <a:cxn ang="0">
                <a:pos x="connsiteX8639" y="connsiteY8639"/>
              </a:cxn>
              <a:cxn ang="0">
                <a:pos x="connsiteX8640" y="connsiteY8640"/>
              </a:cxn>
              <a:cxn ang="0">
                <a:pos x="connsiteX8641" y="connsiteY8641"/>
              </a:cxn>
              <a:cxn ang="0">
                <a:pos x="connsiteX8642" y="connsiteY8642"/>
              </a:cxn>
              <a:cxn ang="0">
                <a:pos x="connsiteX8643" y="connsiteY8643"/>
              </a:cxn>
              <a:cxn ang="0">
                <a:pos x="connsiteX8644" y="connsiteY8644"/>
              </a:cxn>
              <a:cxn ang="0">
                <a:pos x="connsiteX8645" y="connsiteY8645"/>
              </a:cxn>
              <a:cxn ang="0">
                <a:pos x="connsiteX8646" y="connsiteY8646"/>
              </a:cxn>
              <a:cxn ang="0">
                <a:pos x="connsiteX8647" y="connsiteY8647"/>
              </a:cxn>
              <a:cxn ang="0">
                <a:pos x="connsiteX8648" y="connsiteY8648"/>
              </a:cxn>
              <a:cxn ang="0">
                <a:pos x="connsiteX8649" y="connsiteY8649"/>
              </a:cxn>
              <a:cxn ang="0">
                <a:pos x="connsiteX8650" y="connsiteY8650"/>
              </a:cxn>
              <a:cxn ang="0">
                <a:pos x="connsiteX8651" y="connsiteY8651"/>
              </a:cxn>
              <a:cxn ang="0">
                <a:pos x="connsiteX8652" y="connsiteY8652"/>
              </a:cxn>
              <a:cxn ang="0">
                <a:pos x="connsiteX8653" y="connsiteY8653"/>
              </a:cxn>
              <a:cxn ang="0">
                <a:pos x="connsiteX8654" y="connsiteY8654"/>
              </a:cxn>
              <a:cxn ang="0">
                <a:pos x="connsiteX8655" y="connsiteY8655"/>
              </a:cxn>
              <a:cxn ang="0">
                <a:pos x="connsiteX8656" y="connsiteY8656"/>
              </a:cxn>
              <a:cxn ang="0">
                <a:pos x="connsiteX8657" y="connsiteY8657"/>
              </a:cxn>
              <a:cxn ang="0">
                <a:pos x="connsiteX8658" y="connsiteY8658"/>
              </a:cxn>
              <a:cxn ang="0">
                <a:pos x="connsiteX8659" y="connsiteY8659"/>
              </a:cxn>
              <a:cxn ang="0">
                <a:pos x="connsiteX8660" y="connsiteY8660"/>
              </a:cxn>
              <a:cxn ang="0">
                <a:pos x="connsiteX8661" y="connsiteY8661"/>
              </a:cxn>
              <a:cxn ang="0">
                <a:pos x="connsiteX8662" y="connsiteY8662"/>
              </a:cxn>
              <a:cxn ang="0">
                <a:pos x="connsiteX8663" y="connsiteY8663"/>
              </a:cxn>
              <a:cxn ang="0">
                <a:pos x="connsiteX8664" y="connsiteY8664"/>
              </a:cxn>
              <a:cxn ang="0">
                <a:pos x="connsiteX8665" y="connsiteY8665"/>
              </a:cxn>
              <a:cxn ang="0">
                <a:pos x="connsiteX8666" y="connsiteY8666"/>
              </a:cxn>
              <a:cxn ang="0">
                <a:pos x="connsiteX8667" y="connsiteY8667"/>
              </a:cxn>
              <a:cxn ang="0">
                <a:pos x="connsiteX8668" y="connsiteY8668"/>
              </a:cxn>
              <a:cxn ang="0">
                <a:pos x="connsiteX8669" y="connsiteY8669"/>
              </a:cxn>
              <a:cxn ang="0">
                <a:pos x="connsiteX8670" y="connsiteY8670"/>
              </a:cxn>
              <a:cxn ang="0">
                <a:pos x="connsiteX8671" y="connsiteY8671"/>
              </a:cxn>
              <a:cxn ang="0">
                <a:pos x="connsiteX8672" y="connsiteY8672"/>
              </a:cxn>
              <a:cxn ang="0">
                <a:pos x="connsiteX8673" y="connsiteY8673"/>
              </a:cxn>
              <a:cxn ang="0">
                <a:pos x="connsiteX8674" y="connsiteY8674"/>
              </a:cxn>
              <a:cxn ang="0">
                <a:pos x="connsiteX8675" y="connsiteY8675"/>
              </a:cxn>
              <a:cxn ang="0">
                <a:pos x="connsiteX8676" y="connsiteY8676"/>
              </a:cxn>
              <a:cxn ang="0">
                <a:pos x="connsiteX8677" y="connsiteY8677"/>
              </a:cxn>
              <a:cxn ang="0">
                <a:pos x="connsiteX8678" y="connsiteY8678"/>
              </a:cxn>
              <a:cxn ang="0">
                <a:pos x="connsiteX8679" y="connsiteY8679"/>
              </a:cxn>
              <a:cxn ang="0">
                <a:pos x="connsiteX8680" y="connsiteY8680"/>
              </a:cxn>
              <a:cxn ang="0">
                <a:pos x="connsiteX8681" y="connsiteY8681"/>
              </a:cxn>
              <a:cxn ang="0">
                <a:pos x="connsiteX8682" y="connsiteY8682"/>
              </a:cxn>
              <a:cxn ang="0">
                <a:pos x="connsiteX8683" y="connsiteY8683"/>
              </a:cxn>
              <a:cxn ang="0">
                <a:pos x="connsiteX8684" y="connsiteY8684"/>
              </a:cxn>
              <a:cxn ang="0">
                <a:pos x="connsiteX8685" y="connsiteY8685"/>
              </a:cxn>
              <a:cxn ang="0">
                <a:pos x="connsiteX8686" y="connsiteY8686"/>
              </a:cxn>
              <a:cxn ang="0">
                <a:pos x="connsiteX8687" y="connsiteY8687"/>
              </a:cxn>
              <a:cxn ang="0">
                <a:pos x="connsiteX8688" y="connsiteY8688"/>
              </a:cxn>
              <a:cxn ang="0">
                <a:pos x="connsiteX8689" y="connsiteY8689"/>
              </a:cxn>
              <a:cxn ang="0">
                <a:pos x="connsiteX8690" y="connsiteY8690"/>
              </a:cxn>
              <a:cxn ang="0">
                <a:pos x="connsiteX8691" y="connsiteY8691"/>
              </a:cxn>
              <a:cxn ang="0">
                <a:pos x="connsiteX8692" y="connsiteY8692"/>
              </a:cxn>
              <a:cxn ang="0">
                <a:pos x="connsiteX8693" y="connsiteY8693"/>
              </a:cxn>
              <a:cxn ang="0">
                <a:pos x="connsiteX8694" y="connsiteY8694"/>
              </a:cxn>
              <a:cxn ang="0">
                <a:pos x="connsiteX8695" y="connsiteY8695"/>
              </a:cxn>
              <a:cxn ang="0">
                <a:pos x="connsiteX8696" y="connsiteY8696"/>
              </a:cxn>
              <a:cxn ang="0">
                <a:pos x="connsiteX8697" y="connsiteY8697"/>
              </a:cxn>
              <a:cxn ang="0">
                <a:pos x="connsiteX8698" y="connsiteY8698"/>
              </a:cxn>
              <a:cxn ang="0">
                <a:pos x="connsiteX8699" y="connsiteY8699"/>
              </a:cxn>
              <a:cxn ang="0">
                <a:pos x="connsiteX8700" y="connsiteY8700"/>
              </a:cxn>
              <a:cxn ang="0">
                <a:pos x="connsiteX8701" y="connsiteY8701"/>
              </a:cxn>
              <a:cxn ang="0">
                <a:pos x="connsiteX8702" y="connsiteY8702"/>
              </a:cxn>
              <a:cxn ang="0">
                <a:pos x="connsiteX8703" y="connsiteY8703"/>
              </a:cxn>
              <a:cxn ang="0">
                <a:pos x="connsiteX8704" y="connsiteY8704"/>
              </a:cxn>
              <a:cxn ang="0">
                <a:pos x="connsiteX8705" y="connsiteY8705"/>
              </a:cxn>
              <a:cxn ang="0">
                <a:pos x="connsiteX8706" y="connsiteY8706"/>
              </a:cxn>
              <a:cxn ang="0">
                <a:pos x="connsiteX8707" y="connsiteY8707"/>
              </a:cxn>
              <a:cxn ang="0">
                <a:pos x="connsiteX8708" y="connsiteY8708"/>
              </a:cxn>
              <a:cxn ang="0">
                <a:pos x="connsiteX8709" y="connsiteY8709"/>
              </a:cxn>
              <a:cxn ang="0">
                <a:pos x="connsiteX8710" y="connsiteY8710"/>
              </a:cxn>
              <a:cxn ang="0">
                <a:pos x="connsiteX8711" y="connsiteY8711"/>
              </a:cxn>
              <a:cxn ang="0">
                <a:pos x="connsiteX8712" y="connsiteY8712"/>
              </a:cxn>
              <a:cxn ang="0">
                <a:pos x="connsiteX8713" y="connsiteY8713"/>
              </a:cxn>
              <a:cxn ang="0">
                <a:pos x="connsiteX8714" y="connsiteY8714"/>
              </a:cxn>
              <a:cxn ang="0">
                <a:pos x="connsiteX8715" y="connsiteY8715"/>
              </a:cxn>
              <a:cxn ang="0">
                <a:pos x="connsiteX8716" y="connsiteY8716"/>
              </a:cxn>
              <a:cxn ang="0">
                <a:pos x="connsiteX8717" y="connsiteY8717"/>
              </a:cxn>
              <a:cxn ang="0">
                <a:pos x="connsiteX8718" y="connsiteY8718"/>
              </a:cxn>
              <a:cxn ang="0">
                <a:pos x="connsiteX8719" y="connsiteY8719"/>
              </a:cxn>
              <a:cxn ang="0">
                <a:pos x="connsiteX8720" y="connsiteY8720"/>
              </a:cxn>
              <a:cxn ang="0">
                <a:pos x="connsiteX8721" y="connsiteY8721"/>
              </a:cxn>
              <a:cxn ang="0">
                <a:pos x="connsiteX8722" y="connsiteY8722"/>
              </a:cxn>
              <a:cxn ang="0">
                <a:pos x="connsiteX8723" y="connsiteY8723"/>
              </a:cxn>
              <a:cxn ang="0">
                <a:pos x="connsiteX8724" y="connsiteY8724"/>
              </a:cxn>
              <a:cxn ang="0">
                <a:pos x="connsiteX8725" y="connsiteY8725"/>
              </a:cxn>
              <a:cxn ang="0">
                <a:pos x="connsiteX8726" y="connsiteY8726"/>
              </a:cxn>
              <a:cxn ang="0">
                <a:pos x="connsiteX8727" y="connsiteY8727"/>
              </a:cxn>
              <a:cxn ang="0">
                <a:pos x="connsiteX8728" y="connsiteY8728"/>
              </a:cxn>
              <a:cxn ang="0">
                <a:pos x="connsiteX8729" y="connsiteY8729"/>
              </a:cxn>
              <a:cxn ang="0">
                <a:pos x="connsiteX8730" y="connsiteY8730"/>
              </a:cxn>
              <a:cxn ang="0">
                <a:pos x="connsiteX8731" y="connsiteY8731"/>
              </a:cxn>
              <a:cxn ang="0">
                <a:pos x="connsiteX8732" y="connsiteY8732"/>
              </a:cxn>
              <a:cxn ang="0">
                <a:pos x="connsiteX8733" y="connsiteY8733"/>
              </a:cxn>
              <a:cxn ang="0">
                <a:pos x="connsiteX8734" y="connsiteY8734"/>
              </a:cxn>
              <a:cxn ang="0">
                <a:pos x="connsiteX8735" y="connsiteY8735"/>
              </a:cxn>
              <a:cxn ang="0">
                <a:pos x="connsiteX8736" y="connsiteY8736"/>
              </a:cxn>
              <a:cxn ang="0">
                <a:pos x="connsiteX8737" y="connsiteY8737"/>
              </a:cxn>
              <a:cxn ang="0">
                <a:pos x="connsiteX8738" y="connsiteY8738"/>
              </a:cxn>
              <a:cxn ang="0">
                <a:pos x="connsiteX8739" y="connsiteY8739"/>
              </a:cxn>
              <a:cxn ang="0">
                <a:pos x="connsiteX8740" y="connsiteY8740"/>
              </a:cxn>
              <a:cxn ang="0">
                <a:pos x="connsiteX8741" y="connsiteY8741"/>
              </a:cxn>
              <a:cxn ang="0">
                <a:pos x="connsiteX8742" y="connsiteY8742"/>
              </a:cxn>
              <a:cxn ang="0">
                <a:pos x="connsiteX8743" y="connsiteY8743"/>
              </a:cxn>
              <a:cxn ang="0">
                <a:pos x="connsiteX8744" y="connsiteY8744"/>
              </a:cxn>
              <a:cxn ang="0">
                <a:pos x="connsiteX8745" y="connsiteY8745"/>
              </a:cxn>
              <a:cxn ang="0">
                <a:pos x="connsiteX8746" y="connsiteY8746"/>
              </a:cxn>
              <a:cxn ang="0">
                <a:pos x="connsiteX8747" y="connsiteY8747"/>
              </a:cxn>
              <a:cxn ang="0">
                <a:pos x="connsiteX8748" y="connsiteY8748"/>
              </a:cxn>
              <a:cxn ang="0">
                <a:pos x="connsiteX8749" y="connsiteY8749"/>
              </a:cxn>
              <a:cxn ang="0">
                <a:pos x="connsiteX8750" y="connsiteY8750"/>
              </a:cxn>
              <a:cxn ang="0">
                <a:pos x="connsiteX8751" y="connsiteY8751"/>
              </a:cxn>
              <a:cxn ang="0">
                <a:pos x="connsiteX8752" y="connsiteY8752"/>
              </a:cxn>
              <a:cxn ang="0">
                <a:pos x="connsiteX8753" y="connsiteY8753"/>
              </a:cxn>
              <a:cxn ang="0">
                <a:pos x="connsiteX8754" y="connsiteY8754"/>
              </a:cxn>
              <a:cxn ang="0">
                <a:pos x="connsiteX8755" y="connsiteY8755"/>
              </a:cxn>
              <a:cxn ang="0">
                <a:pos x="connsiteX8756" y="connsiteY8756"/>
              </a:cxn>
              <a:cxn ang="0">
                <a:pos x="connsiteX8757" y="connsiteY8757"/>
              </a:cxn>
              <a:cxn ang="0">
                <a:pos x="connsiteX8758" y="connsiteY8758"/>
              </a:cxn>
              <a:cxn ang="0">
                <a:pos x="connsiteX8759" y="connsiteY8759"/>
              </a:cxn>
              <a:cxn ang="0">
                <a:pos x="connsiteX8760" y="connsiteY8760"/>
              </a:cxn>
              <a:cxn ang="0">
                <a:pos x="connsiteX8761" y="connsiteY8761"/>
              </a:cxn>
              <a:cxn ang="0">
                <a:pos x="connsiteX8762" y="connsiteY8762"/>
              </a:cxn>
              <a:cxn ang="0">
                <a:pos x="connsiteX8763" y="connsiteY8763"/>
              </a:cxn>
              <a:cxn ang="0">
                <a:pos x="connsiteX8764" y="connsiteY8764"/>
              </a:cxn>
              <a:cxn ang="0">
                <a:pos x="connsiteX8765" y="connsiteY8765"/>
              </a:cxn>
              <a:cxn ang="0">
                <a:pos x="connsiteX8766" y="connsiteY8766"/>
              </a:cxn>
              <a:cxn ang="0">
                <a:pos x="connsiteX8767" y="connsiteY8767"/>
              </a:cxn>
              <a:cxn ang="0">
                <a:pos x="connsiteX8768" y="connsiteY8768"/>
              </a:cxn>
              <a:cxn ang="0">
                <a:pos x="connsiteX8769" y="connsiteY8769"/>
              </a:cxn>
              <a:cxn ang="0">
                <a:pos x="connsiteX8770" y="connsiteY8770"/>
              </a:cxn>
              <a:cxn ang="0">
                <a:pos x="connsiteX8771" y="connsiteY8771"/>
              </a:cxn>
              <a:cxn ang="0">
                <a:pos x="connsiteX8772" y="connsiteY8772"/>
              </a:cxn>
              <a:cxn ang="0">
                <a:pos x="connsiteX8773" y="connsiteY8773"/>
              </a:cxn>
              <a:cxn ang="0">
                <a:pos x="connsiteX8774" y="connsiteY8774"/>
              </a:cxn>
              <a:cxn ang="0">
                <a:pos x="connsiteX8775" y="connsiteY8775"/>
              </a:cxn>
              <a:cxn ang="0">
                <a:pos x="connsiteX8776" y="connsiteY8776"/>
              </a:cxn>
              <a:cxn ang="0">
                <a:pos x="connsiteX8777" y="connsiteY8777"/>
              </a:cxn>
              <a:cxn ang="0">
                <a:pos x="connsiteX8778" y="connsiteY8778"/>
              </a:cxn>
              <a:cxn ang="0">
                <a:pos x="connsiteX8779" y="connsiteY8779"/>
              </a:cxn>
              <a:cxn ang="0">
                <a:pos x="connsiteX8780" y="connsiteY8780"/>
              </a:cxn>
              <a:cxn ang="0">
                <a:pos x="connsiteX8781" y="connsiteY8781"/>
              </a:cxn>
              <a:cxn ang="0">
                <a:pos x="connsiteX8782" y="connsiteY8782"/>
              </a:cxn>
              <a:cxn ang="0">
                <a:pos x="connsiteX8783" y="connsiteY8783"/>
              </a:cxn>
              <a:cxn ang="0">
                <a:pos x="connsiteX8784" y="connsiteY8784"/>
              </a:cxn>
              <a:cxn ang="0">
                <a:pos x="connsiteX8785" y="connsiteY8785"/>
              </a:cxn>
              <a:cxn ang="0">
                <a:pos x="connsiteX8786" y="connsiteY8786"/>
              </a:cxn>
              <a:cxn ang="0">
                <a:pos x="connsiteX8787" y="connsiteY8787"/>
              </a:cxn>
              <a:cxn ang="0">
                <a:pos x="connsiteX8788" y="connsiteY8788"/>
              </a:cxn>
              <a:cxn ang="0">
                <a:pos x="connsiteX8789" y="connsiteY8789"/>
              </a:cxn>
              <a:cxn ang="0">
                <a:pos x="connsiteX8790" y="connsiteY8790"/>
              </a:cxn>
              <a:cxn ang="0">
                <a:pos x="connsiteX8791" y="connsiteY8791"/>
              </a:cxn>
              <a:cxn ang="0">
                <a:pos x="connsiteX8792" y="connsiteY8792"/>
              </a:cxn>
              <a:cxn ang="0">
                <a:pos x="connsiteX8793" y="connsiteY8793"/>
              </a:cxn>
              <a:cxn ang="0">
                <a:pos x="connsiteX8794" y="connsiteY8794"/>
              </a:cxn>
              <a:cxn ang="0">
                <a:pos x="connsiteX8795" y="connsiteY8795"/>
              </a:cxn>
              <a:cxn ang="0">
                <a:pos x="connsiteX8796" y="connsiteY8796"/>
              </a:cxn>
              <a:cxn ang="0">
                <a:pos x="connsiteX8797" y="connsiteY8797"/>
              </a:cxn>
              <a:cxn ang="0">
                <a:pos x="connsiteX8798" y="connsiteY8798"/>
              </a:cxn>
              <a:cxn ang="0">
                <a:pos x="connsiteX8799" y="connsiteY8799"/>
              </a:cxn>
              <a:cxn ang="0">
                <a:pos x="connsiteX8800" y="connsiteY8800"/>
              </a:cxn>
              <a:cxn ang="0">
                <a:pos x="connsiteX8801" y="connsiteY8801"/>
              </a:cxn>
              <a:cxn ang="0">
                <a:pos x="connsiteX8802" y="connsiteY8802"/>
              </a:cxn>
              <a:cxn ang="0">
                <a:pos x="connsiteX8803" y="connsiteY8803"/>
              </a:cxn>
              <a:cxn ang="0">
                <a:pos x="connsiteX8804" y="connsiteY8804"/>
              </a:cxn>
              <a:cxn ang="0">
                <a:pos x="connsiteX8805" y="connsiteY8805"/>
              </a:cxn>
              <a:cxn ang="0">
                <a:pos x="connsiteX8806" y="connsiteY8806"/>
              </a:cxn>
              <a:cxn ang="0">
                <a:pos x="connsiteX8807" y="connsiteY8807"/>
              </a:cxn>
              <a:cxn ang="0">
                <a:pos x="connsiteX8808" y="connsiteY8808"/>
              </a:cxn>
              <a:cxn ang="0">
                <a:pos x="connsiteX8809" y="connsiteY8809"/>
              </a:cxn>
              <a:cxn ang="0">
                <a:pos x="connsiteX8810" y="connsiteY8810"/>
              </a:cxn>
              <a:cxn ang="0">
                <a:pos x="connsiteX8811" y="connsiteY8811"/>
              </a:cxn>
              <a:cxn ang="0">
                <a:pos x="connsiteX8812" y="connsiteY8812"/>
              </a:cxn>
              <a:cxn ang="0">
                <a:pos x="connsiteX8813" y="connsiteY8813"/>
              </a:cxn>
              <a:cxn ang="0">
                <a:pos x="connsiteX8814" y="connsiteY8814"/>
              </a:cxn>
              <a:cxn ang="0">
                <a:pos x="connsiteX8815" y="connsiteY8815"/>
              </a:cxn>
              <a:cxn ang="0">
                <a:pos x="connsiteX8816" y="connsiteY8816"/>
              </a:cxn>
              <a:cxn ang="0">
                <a:pos x="connsiteX8817" y="connsiteY8817"/>
              </a:cxn>
              <a:cxn ang="0">
                <a:pos x="connsiteX8818" y="connsiteY8818"/>
              </a:cxn>
              <a:cxn ang="0">
                <a:pos x="connsiteX8819" y="connsiteY8819"/>
              </a:cxn>
              <a:cxn ang="0">
                <a:pos x="connsiteX8820" y="connsiteY8820"/>
              </a:cxn>
              <a:cxn ang="0">
                <a:pos x="connsiteX8821" y="connsiteY8821"/>
              </a:cxn>
              <a:cxn ang="0">
                <a:pos x="connsiteX8822" y="connsiteY8822"/>
              </a:cxn>
              <a:cxn ang="0">
                <a:pos x="connsiteX8823" y="connsiteY8823"/>
              </a:cxn>
              <a:cxn ang="0">
                <a:pos x="connsiteX8824" y="connsiteY8824"/>
              </a:cxn>
              <a:cxn ang="0">
                <a:pos x="connsiteX8825" y="connsiteY8825"/>
              </a:cxn>
              <a:cxn ang="0">
                <a:pos x="connsiteX8826" y="connsiteY8826"/>
              </a:cxn>
              <a:cxn ang="0">
                <a:pos x="connsiteX8827" y="connsiteY8827"/>
              </a:cxn>
              <a:cxn ang="0">
                <a:pos x="connsiteX8828" y="connsiteY8828"/>
              </a:cxn>
              <a:cxn ang="0">
                <a:pos x="connsiteX8829" y="connsiteY8829"/>
              </a:cxn>
              <a:cxn ang="0">
                <a:pos x="connsiteX8830" y="connsiteY8830"/>
              </a:cxn>
              <a:cxn ang="0">
                <a:pos x="connsiteX8831" y="connsiteY8831"/>
              </a:cxn>
              <a:cxn ang="0">
                <a:pos x="connsiteX8832" y="connsiteY8832"/>
              </a:cxn>
              <a:cxn ang="0">
                <a:pos x="connsiteX8833" y="connsiteY8833"/>
              </a:cxn>
              <a:cxn ang="0">
                <a:pos x="connsiteX8834" y="connsiteY8834"/>
              </a:cxn>
              <a:cxn ang="0">
                <a:pos x="connsiteX8835" y="connsiteY8835"/>
              </a:cxn>
              <a:cxn ang="0">
                <a:pos x="connsiteX8836" y="connsiteY8836"/>
              </a:cxn>
              <a:cxn ang="0">
                <a:pos x="connsiteX8837" y="connsiteY8837"/>
              </a:cxn>
              <a:cxn ang="0">
                <a:pos x="connsiteX8838" y="connsiteY8838"/>
              </a:cxn>
              <a:cxn ang="0">
                <a:pos x="connsiteX8839" y="connsiteY8839"/>
              </a:cxn>
              <a:cxn ang="0">
                <a:pos x="connsiteX8840" y="connsiteY8840"/>
              </a:cxn>
              <a:cxn ang="0">
                <a:pos x="connsiteX8841" y="connsiteY8841"/>
              </a:cxn>
              <a:cxn ang="0">
                <a:pos x="connsiteX8842" y="connsiteY8842"/>
              </a:cxn>
              <a:cxn ang="0">
                <a:pos x="connsiteX8843" y="connsiteY8843"/>
              </a:cxn>
              <a:cxn ang="0">
                <a:pos x="connsiteX8844" y="connsiteY8844"/>
              </a:cxn>
              <a:cxn ang="0">
                <a:pos x="connsiteX8845" y="connsiteY8845"/>
              </a:cxn>
              <a:cxn ang="0">
                <a:pos x="connsiteX8846" y="connsiteY8846"/>
              </a:cxn>
              <a:cxn ang="0">
                <a:pos x="connsiteX8847" y="connsiteY8847"/>
              </a:cxn>
              <a:cxn ang="0">
                <a:pos x="connsiteX8848" y="connsiteY8848"/>
              </a:cxn>
              <a:cxn ang="0">
                <a:pos x="connsiteX8849" y="connsiteY8849"/>
              </a:cxn>
              <a:cxn ang="0">
                <a:pos x="connsiteX8850" y="connsiteY8850"/>
              </a:cxn>
              <a:cxn ang="0">
                <a:pos x="connsiteX8851" y="connsiteY8851"/>
              </a:cxn>
              <a:cxn ang="0">
                <a:pos x="connsiteX8852" y="connsiteY8852"/>
              </a:cxn>
              <a:cxn ang="0">
                <a:pos x="connsiteX8853" y="connsiteY8853"/>
              </a:cxn>
              <a:cxn ang="0">
                <a:pos x="connsiteX8854" y="connsiteY8854"/>
              </a:cxn>
              <a:cxn ang="0">
                <a:pos x="connsiteX8855" y="connsiteY8855"/>
              </a:cxn>
              <a:cxn ang="0">
                <a:pos x="connsiteX8856" y="connsiteY8856"/>
              </a:cxn>
              <a:cxn ang="0">
                <a:pos x="connsiteX8857" y="connsiteY8857"/>
              </a:cxn>
              <a:cxn ang="0">
                <a:pos x="connsiteX8858" y="connsiteY8858"/>
              </a:cxn>
              <a:cxn ang="0">
                <a:pos x="connsiteX8859" y="connsiteY8859"/>
              </a:cxn>
              <a:cxn ang="0">
                <a:pos x="connsiteX8860" y="connsiteY8860"/>
              </a:cxn>
              <a:cxn ang="0">
                <a:pos x="connsiteX8861" y="connsiteY8861"/>
              </a:cxn>
              <a:cxn ang="0">
                <a:pos x="connsiteX8862" y="connsiteY8862"/>
              </a:cxn>
              <a:cxn ang="0">
                <a:pos x="connsiteX8863" y="connsiteY8863"/>
              </a:cxn>
              <a:cxn ang="0">
                <a:pos x="connsiteX8864" y="connsiteY8864"/>
              </a:cxn>
              <a:cxn ang="0">
                <a:pos x="connsiteX8865" y="connsiteY8865"/>
              </a:cxn>
              <a:cxn ang="0">
                <a:pos x="connsiteX8866" y="connsiteY8866"/>
              </a:cxn>
              <a:cxn ang="0">
                <a:pos x="connsiteX8867" y="connsiteY8867"/>
              </a:cxn>
              <a:cxn ang="0">
                <a:pos x="connsiteX8868" y="connsiteY8868"/>
              </a:cxn>
              <a:cxn ang="0">
                <a:pos x="connsiteX8869" y="connsiteY8869"/>
              </a:cxn>
              <a:cxn ang="0">
                <a:pos x="connsiteX8870" y="connsiteY8870"/>
              </a:cxn>
              <a:cxn ang="0">
                <a:pos x="connsiteX8871" y="connsiteY8871"/>
              </a:cxn>
              <a:cxn ang="0">
                <a:pos x="connsiteX8872" y="connsiteY8872"/>
              </a:cxn>
              <a:cxn ang="0">
                <a:pos x="connsiteX8873" y="connsiteY8873"/>
              </a:cxn>
              <a:cxn ang="0">
                <a:pos x="connsiteX8874" y="connsiteY8874"/>
              </a:cxn>
              <a:cxn ang="0">
                <a:pos x="connsiteX8875" y="connsiteY8875"/>
              </a:cxn>
              <a:cxn ang="0">
                <a:pos x="connsiteX8876" y="connsiteY8876"/>
              </a:cxn>
              <a:cxn ang="0">
                <a:pos x="connsiteX8877" y="connsiteY8877"/>
              </a:cxn>
              <a:cxn ang="0">
                <a:pos x="connsiteX8878" y="connsiteY8878"/>
              </a:cxn>
              <a:cxn ang="0">
                <a:pos x="connsiteX8879" y="connsiteY8879"/>
              </a:cxn>
              <a:cxn ang="0">
                <a:pos x="connsiteX8880" y="connsiteY8880"/>
              </a:cxn>
              <a:cxn ang="0">
                <a:pos x="connsiteX8881" y="connsiteY8881"/>
              </a:cxn>
              <a:cxn ang="0">
                <a:pos x="connsiteX8882" y="connsiteY8882"/>
              </a:cxn>
              <a:cxn ang="0">
                <a:pos x="connsiteX8883" y="connsiteY8883"/>
              </a:cxn>
              <a:cxn ang="0">
                <a:pos x="connsiteX8884" y="connsiteY8884"/>
              </a:cxn>
              <a:cxn ang="0">
                <a:pos x="connsiteX8885" y="connsiteY8885"/>
              </a:cxn>
              <a:cxn ang="0">
                <a:pos x="connsiteX8886" y="connsiteY8886"/>
              </a:cxn>
              <a:cxn ang="0">
                <a:pos x="connsiteX8887" y="connsiteY8887"/>
              </a:cxn>
              <a:cxn ang="0">
                <a:pos x="connsiteX8888" y="connsiteY8888"/>
              </a:cxn>
              <a:cxn ang="0">
                <a:pos x="connsiteX8889" y="connsiteY8889"/>
              </a:cxn>
              <a:cxn ang="0">
                <a:pos x="connsiteX8890" y="connsiteY8890"/>
              </a:cxn>
              <a:cxn ang="0">
                <a:pos x="connsiteX8891" y="connsiteY8891"/>
              </a:cxn>
              <a:cxn ang="0">
                <a:pos x="connsiteX8892" y="connsiteY8892"/>
              </a:cxn>
              <a:cxn ang="0">
                <a:pos x="connsiteX8893" y="connsiteY8893"/>
              </a:cxn>
              <a:cxn ang="0">
                <a:pos x="connsiteX8894" y="connsiteY8894"/>
              </a:cxn>
              <a:cxn ang="0">
                <a:pos x="connsiteX8895" y="connsiteY8895"/>
              </a:cxn>
              <a:cxn ang="0">
                <a:pos x="connsiteX8896" y="connsiteY8896"/>
              </a:cxn>
              <a:cxn ang="0">
                <a:pos x="connsiteX8897" y="connsiteY8897"/>
              </a:cxn>
              <a:cxn ang="0">
                <a:pos x="connsiteX8898" y="connsiteY8898"/>
              </a:cxn>
              <a:cxn ang="0">
                <a:pos x="connsiteX8899" y="connsiteY8899"/>
              </a:cxn>
              <a:cxn ang="0">
                <a:pos x="connsiteX8900" y="connsiteY8900"/>
              </a:cxn>
              <a:cxn ang="0">
                <a:pos x="connsiteX8901" y="connsiteY8901"/>
              </a:cxn>
              <a:cxn ang="0">
                <a:pos x="connsiteX8902" y="connsiteY8902"/>
              </a:cxn>
              <a:cxn ang="0">
                <a:pos x="connsiteX8903" y="connsiteY8903"/>
              </a:cxn>
              <a:cxn ang="0">
                <a:pos x="connsiteX8904" y="connsiteY8904"/>
              </a:cxn>
              <a:cxn ang="0">
                <a:pos x="connsiteX8905" y="connsiteY8905"/>
              </a:cxn>
              <a:cxn ang="0">
                <a:pos x="connsiteX8906" y="connsiteY8906"/>
              </a:cxn>
              <a:cxn ang="0">
                <a:pos x="connsiteX8907" y="connsiteY8907"/>
              </a:cxn>
              <a:cxn ang="0">
                <a:pos x="connsiteX8908" y="connsiteY8908"/>
              </a:cxn>
              <a:cxn ang="0">
                <a:pos x="connsiteX8909" y="connsiteY8909"/>
              </a:cxn>
              <a:cxn ang="0">
                <a:pos x="connsiteX8910" y="connsiteY8910"/>
              </a:cxn>
              <a:cxn ang="0">
                <a:pos x="connsiteX8911" y="connsiteY8911"/>
              </a:cxn>
              <a:cxn ang="0">
                <a:pos x="connsiteX8912" y="connsiteY8912"/>
              </a:cxn>
              <a:cxn ang="0">
                <a:pos x="connsiteX8913" y="connsiteY8913"/>
              </a:cxn>
              <a:cxn ang="0">
                <a:pos x="connsiteX8914" y="connsiteY8914"/>
              </a:cxn>
              <a:cxn ang="0">
                <a:pos x="connsiteX8915" y="connsiteY8915"/>
              </a:cxn>
              <a:cxn ang="0">
                <a:pos x="connsiteX8916" y="connsiteY8916"/>
              </a:cxn>
              <a:cxn ang="0">
                <a:pos x="connsiteX8917" y="connsiteY8917"/>
              </a:cxn>
              <a:cxn ang="0">
                <a:pos x="connsiteX8918" y="connsiteY8918"/>
              </a:cxn>
              <a:cxn ang="0">
                <a:pos x="connsiteX8919" y="connsiteY8919"/>
              </a:cxn>
              <a:cxn ang="0">
                <a:pos x="connsiteX8920" y="connsiteY8920"/>
              </a:cxn>
              <a:cxn ang="0">
                <a:pos x="connsiteX8921" y="connsiteY8921"/>
              </a:cxn>
              <a:cxn ang="0">
                <a:pos x="connsiteX8922" y="connsiteY8922"/>
              </a:cxn>
              <a:cxn ang="0">
                <a:pos x="connsiteX8923" y="connsiteY8923"/>
              </a:cxn>
              <a:cxn ang="0">
                <a:pos x="connsiteX8924" y="connsiteY8924"/>
              </a:cxn>
              <a:cxn ang="0">
                <a:pos x="connsiteX8925" y="connsiteY8925"/>
              </a:cxn>
              <a:cxn ang="0">
                <a:pos x="connsiteX8926" y="connsiteY8926"/>
              </a:cxn>
              <a:cxn ang="0">
                <a:pos x="connsiteX8927" y="connsiteY8927"/>
              </a:cxn>
              <a:cxn ang="0">
                <a:pos x="connsiteX8928" y="connsiteY8928"/>
              </a:cxn>
              <a:cxn ang="0">
                <a:pos x="connsiteX8929" y="connsiteY8929"/>
              </a:cxn>
              <a:cxn ang="0">
                <a:pos x="connsiteX8930" y="connsiteY8930"/>
              </a:cxn>
              <a:cxn ang="0">
                <a:pos x="connsiteX8931" y="connsiteY8931"/>
              </a:cxn>
              <a:cxn ang="0">
                <a:pos x="connsiteX8932" y="connsiteY8932"/>
              </a:cxn>
              <a:cxn ang="0">
                <a:pos x="connsiteX8933" y="connsiteY8933"/>
              </a:cxn>
              <a:cxn ang="0">
                <a:pos x="connsiteX8934" y="connsiteY8934"/>
              </a:cxn>
              <a:cxn ang="0">
                <a:pos x="connsiteX8935" y="connsiteY8935"/>
              </a:cxn>
              <a:cxn ang="0">
                <a:pos x="connsiteX8936" y="connsiteY8936"/>
              </a:cxn>
              <a:cxn ang="0">
                <a:pos x="connsiteX8937" y="connsiteY8937"/>
              </a:cxn>
              <a:cxn ang="0">
                <a:pos x="connsiteX8938" y="connsiteY8938"/>
              </a:cxn>
              <a:cxn ang="0">
                <a:pos x="connsiteX8939" y="connsiteY8939"/>
              </a:cxn>
              <a:cxn ang="0">
                <a:pos x="connsiteX8940" y="connsiteY8940"/>
              </a:cxn>
              <a:cxn ang="0">
                <a:pos x="connsiteX8941" y="connsiteY8941"/>
              </a:cxn>
              <a:cxn ang="0">
                <a:pos x="connsiteX8942" y="connsiteY8942"/>
              </a:cxn>
              <a:cxn ang="0">
                <a:pos x="connsiteX8943" y="connsiteY8943"/>
              </a:cxn>
              <a:cxn ang="0">
                <a:pos x="connsiteX8944" y="connsiteY8944"/>
              </a:cxn>
              <a:cxn ang="0">
                <a:pos x="connsiteX8945" y="connsiteY8945"/>
              </a:cxn>
              <a:cxn ang="0">
                <a:pos x="connsiteX8946" y="connsiteY8946"/>
              </a:cxn>
              <a:cxn ang="0">
                <a:pos x="connsiteX8947" y="connsiteY8947"/>
              </a:cxn>
              <a:cxn ang="0">
                <a:pos x="connsiteX8948" y="connsiteY8948"/>
              </a:cxn>
              <a:cxn ang="0">
                <a:pos x="connsiteX8949" y="connsiteY8949"/>
              </a:cxn>
              <a:cxn ang="0">
                <a:pos x="connsiteX8950" y="connsiteY8950"/>
              </a:cxn>
              <a:cxn ang="0">
                <a:pos x="connsiteX8951" y="connsiteY8951"/>
              </a:cxn>
              <a:cxn ang="0">
                <a:pos x="connsiteX8952" y="connsiteY8952"/>
              </a:cxn>
              <a:cxn ang="0">
                <a:pos x="connsiteX8953" y="connsiteY8953"/>
              </a:cxn>
              <a:cxn ang="0">
                <a:pos x="connsiteX8954" y="connsiteY8954"/>
              </a:cxn>
              <a:cxn ang="0">
                <a:pos x="connsiteX8955" y="connsiteY8955"/>
              </a:cxn>
              <a:cxn ang="0">
                <a:pos x="connsiteX8956" y="connsiteY8956"/>
              </a:cxn>
              <a:cxn ang="0">
                <a:pos x="connsiteX8957" y="connsiteY8957"/>
              </a:cxn>
              <a:cxn ang="0">
                <a:pos x="connsiteX8958" y="connsiteY8958"/>
              </a:cxn>
              <a:cxn ang="0">
                <a:pos x="connsiteX8959" y="connsiteY8959"/>
              </a:cxn>
              <a:cxn ang="0">
                <a:pos x="connsiteX8960" y="connsiteY8960"/>
              </a:cxn>
              <a:cxn ang="0">
                <a:pos x="connsiteX8961" y="connsiteY8961"/>
              </a:cxn>
              <a:cxn ang="0">
                <a:pos x="connsiteX8962" y="connsiteY8962"/>
              </a:cxn>
              <a:cxn ang="0">
                <a:pos x="connsiteX8963" y="connsiteY8963"/>
              </a:cxn>
              <a:cxn ang="0">
                <a:pos x="connsiteX8964" y="connsiteY8964"/>
              </a:cxn>
              <a:cxn ang="0">
                <a:pos x="connsiteX8965" y="connsiteY8965"/>
              </a:cxn>
              <a:cxn ang="0">
                <a:pos x="connsiteX8966" y="connsiteY8966"/>
              </a:cxn>
              <a:cxn ang="0">
                <a:pos x="connsiteX8967" y="connsiteY8967"/>
              </a:cxn>
              <a:cxn ang="0">
                <a:pos x="connsiteX8968" y="connsiteY8968"/>
              </a:cxn>
              <a:cxn ang="0">
                <a:pos x="connsiteX8969" y="connsiteY8969"/>
              </a:cxn>
              <a:cxn ang="0">
                <a:pos x="connsiteX8970" y="connsiteY8970"/>
              </a:cxn>
              <a:cxn ang="0">
                <a:pos x="connsiteX8971" y="connsiteY8971"/>
              </a:cxn>
              <a:cxn ang="0">
                <a:pos x="connsiteX8972" y="connsiteY8972"/>
              </a:cxn>
              <a:cxn ang="0">
                <a:pos x="connsiteX8973" y="connsiteY8973"/>
              </a:cxn>
              <a:cxn ang="0">
                <a:pos x="connsiteX8974" y="connsiteY8974"/>
              </a:cxn>
              <a:cxn ang="0">
                <a:pos x="connsiteX8975" y="connsiteY8975"/>
              </a:cxn>
              <a:cxn ang="0">
                <a:pos x="connsiteX8976" y="connsiteY8976"/>
              </a:cxn>
              <a:cxn ang="0">
                <a:pos x="connsiteX8977" y="connsiteY8977"/>
              </a:cxn>
              <a:cxn ang="0">
                <a:pos x="connsiteX8978" y="connsiteY8978"/>
              </a:cxn>
              <a:cxn ang="0">
                <a:pos x="connsiteX8979" y="connsiteY8979"/>
              </a:cxn>
              <a:cxn ang="0">
                <a:pos x="connsiteX8980" y="connsiteY8980"/>
              </a:cxn>
              <a:cxn ang="0">
                <a:pos x="connsiteX8981" y="connsiteY8981"/>
              </a:cxn>
              <a:cxn ang="0">
                <a:pos x="connsiteX8982" y="connsiteY8982"/>
              </a:cxn>
              <a:cxn ang="0">
                <a:pos x="connsiteX8983" y="connsiteY8983"/>
              </a:cxn>
              <a:cxn ang="0">
                <a:pos x="connsiteX8984" y="connsiteY8984"/>
              </a:cxn>
              <a:cxn ang="0">
                <a:pos x="connsiteX8985" y="connsiteY8985"/>
              </a:cxn>
              <a:cxn ang="0">
                <a:pos x="connsiteX8986" y="connsiteY8986"/>
              </a:cxn>
              <a:cxn ang="0">
                <a:pos x="connsiteX8987" y="connsiteY8987"/>
              </a:cxn>
              <a:cxn ang="0">
                <a:pos x="connsiteX8988" y="connsiteY8988"/>
              </a:cxn>
              <a:cxn ang="0">
                <a:pos x="connsiteX8989" y="connsiteY8989"/>
              </a:cxn>
              <a:cxn ang="0">
                <a:pos x="connsiteX8990" y="connsiteY8990"/>
              </a:cxn>
              <a:cxn ang="0">
                <a:pos x="connsiteX8991" y="connsiteY8991"/>
              </a:cxn>
              <a:cxn ang="0">
                <a:pos x="connsiteX8992" y="connsiteY8992"/>
              </a:cxn>
              <a:cxn ang="0">
                <a:pos x="connsiteX8993" y="connsiteY8993"/>
              </a:cxn>
              <a:cxn ang="0">
                <a:pos x="connsiteX8994" y="connsiteY8994"/>
              </a:cxn>
              <a:cxn ang="0">
                <a:pos x="connsiteX8995" y="connsiteY8995"/>
              </a:cxn>
              <a:cxn ang="0">
                <a:pos x="connsiteX8996" y="connsiteY8996"/>
              </a:cxn>
              <a:cxn ang="0">
                <a:pos x="connsiteX8997" y="connsiteY8997"/>
              </a:cxn>
              <a:cxn ang="0">
                <a:pos x="connsiteX8998" y="connsiteY8998"/>
              </a:cxn>
              <a:cxn ang="0">
                <a:pos x="connsiteX8999" y="connsiteY8999"/>
              </a:cxn>
              <a:cxn ang="0">
                <a:pos x="connsiteX9000" y="connsiteY9000"/>
              </a:cxn>
              <a:cxn ang="0">
                <a:pos x="connsiteX9001" y="connsiteY9001"/>
              </a:cxn>
              <a:cxn ang="0">
                <a:pos x="connsiteX9002" y="connsiteY9002"/>
              </a:cxn>
              <a:cxn ang="0">
                <a:pos x="connsiteX9003" y="connsiteY9003"/>
              </a:cxn>
              <a:cxn ang="0">
                <a:pos x="connsiteX9004" y="connsiteY9004"/>
              </a:cxn>
              <a:cxn ang="0">
                <a:pos x="connsiteX9005" y="connsiteY9005"/>
              </a:cxn>
              <a:cxn ang="0">
                <a:pos x="connsiteX9006" y="connsiteY9006"/>
              </a:cxn>
              <a:cxn ang="0">
                <a:pos x="connsiteX9007" y="connsiteY9007"/>
              </a:cxn>
              <a:cxn ang="0">
                <a:pos x="connsiteX9008" y="connsiteY9008"/>
              </a:cxn>
              <a:cxn ang="0">
                <a:pos x="connsiteX9009" y="connsiteY9009"/>
              </a:cxn>
              <a:cxn ang="0">
                <a:pos x="connsiteX9010" y="connsiteY9010"/>
              </a:cxn>
              <a:cxn ang="0">
                <a:pos x="connsiteX9011" y="connsiteY9011"/>
              </a:cxn>
              <a:cxn ang="0">
                <a:pos x="connsiteX9012" y="connsiteY9012"/>
              </a:cxn>
              <a:cxn ang="0">
                <a:pos x="connsiteX9013" y="connsiteY9013"/>
              </a:cxn>
              <a:cxn ang="0">
                <a:pos x="connsiteX9014" y="connsiteY9014"/>
              </a:cxn>
              <a:cxn ang="0">
                <a:pos x="connsiteX9015" y="connsiteY9015"/>
              </a:cxn>
              <a:cxn ang="0">
                <a:pos x="connsiteX9016" y="connsiteY9016"/>
              </a:cxn>
              <a:cxn ang="0">
                <a:pos x="connsiteX9017" y="connsiteY9017"/>
              </a:cxn>
              <a:cxn ang="0">
                <a:pos x="connsiteX9018" y="connsiteY9018"/>
              </a:cxn>
              <a:cxn ang="0">
                <a:pos x="connsiteX9019" y="connsiteY9019"/>
              </a:cxn>
              <a:cxn ang="0">
                <a:pos x="connsiteX9020" y="connsiteY9020"/>
              </a:cxn>
              <a:cxn ang="0">
                <a:pos x="connsiteX9021" y="connsiteY9021"/>
              </a:cxn>
              <a:cxn ang="0">
                <a:pos x="connsiteX9022" y="connsiteY9022"/>
              </a:cxn>
              <a:cxn ang="0">
                <a:pos x="connsiteX9023" y="connsiteY9023"/>
              </a:cxn>
              <a:cxn ang="0">
                <a:pos x="connsiteX9024" y="connsiteY9024"/>
              </a:cxn>
              <a:cxn ang="0">
                <a:pos x="connsiteX9025" y="connsiteY9025"/>
              </a:cxn>
              <a:cxn ang="0">
                <a:pos x="connsiteX9026" y="connsiteY9026"/>
              </a:cxn>
              <a:cxn ang="0">
                <a:pos x="connsiteX9027" y="connsiteY9027"/>
              </a:cxn>
              <a:cxn ang="0">
                <a:pos x="connsiteX9028" y="connsiteY9028"/>
              </a:cxn>
              <a:cxn ang="0">
                <a:pos x="connsiteX9029" y="connsiteY9029"/>
              </a:cxn>
              <a:cxn ang="0">
                <a:pos x="connsiteX9030" y="connsiteY9030"/>
              </a:cxn>
              <a:cxn ang="0">
                <a:pos x="connsiteX9031" y="connsiteY9031"/>
              </a:cxn>
              <a:cxn ang="0">
                <a:pos x="connsiteX9032" y="connsiteY9032"/>
              </a:cxn>
              <a:cxn ang="0">
                <a:pos x="connsiteX9033" y="connsiteY9033"/>
              </a:cxn>
              <a:cxn ang="0">
                <a:pos x="connsiteX9034" y="connsiteY9034"/>
              </a:cxn>
              <a:cxn ang="0">
                <a:pos x="connsiteX9035" y="connsiteY9035"/>
              </a:cxn>
              <a:cxn ang="0">
                <a:pos x="connsiteX9036" y="connsiteY9036"/>
              </a:cxn>
              <a:cxn ang="0">
                <a:pos x="connsiteX9037" y="connsiteY9037"/>
              </a:cxn>
              <a:cxn ang="0">
                <a:pos x="connsiteX9038" y="connsiteY9038"/>
              </a:cxn>
              <a:cxn ang="0">
                <a:pos x="connsiteX9039" y="connsiteY9039"/>
              </a:cxn>
              <a:cxn ang="0">
                <a:pos x="connsiteX9040" y="connsiteY9040"/>
              </a:cxn>
              <a:cxn ang="0">
                <a:pos x="connsiteX9041" y="connsiteY9041"/>
              </a:cxn>
              <a:cxn ang="0">
                <a:pos x="connsiteX9042" y="connsiteY9042"/>
              </a:cxn>
              <a:cxn ang="0">
                <a:pos x="connsiteX9043" y="connsiteY9043"/>
              </a:cxn>
              <a:cxn ang="0">
                <a:pos x="connsiteX9044" y="connsiteY9044"/>
              </a:cxn>
              <a:cxn ang="0">
                <a:pos x="connsiteX9045" y="connsiteY9045"/>
              </a:cxn>
              <a:cxn ang="0">
                <a:pos x="connsiteX9046" y="connsiteY9046"/>
              </a:cxn>
              <a:cxn ang="0">
                <a:pos x="connsiteX9047" y="connsiteY9047"/>
              </a:cxn>
              <a:cxn ang="0">
                <a:pos x="connsiteX9048" y="connsiteY9048"/>
              </a:cxn>
              <a:cxn ang="0">
                <a:pos x="connsiteX9049" y="connsiteY9049"/>
              </a:cxn>
              <a:cxn ang="0">
                <a:pos x="connsiteX9050" y="connsiteY9050"/>
              </a:cxn>
              <a:cxn ang="0">
                <a:pos x="connsiteX9051" y="connsiteY9051"/>
              </a:cxn>
              <a:cxn ang="0">
                <a:pos x="connsiteX9052" y="connsiteY9052"/>
              </a:cxn>
              <a:cxn ang="0">
                <a:pos x="connsiteX9053" y="connsiteY9053"/>
              </a:cxn>
              <a:cxn ang="0">
                <a:pos x="connsiteX9054" y="connsiteY9054"/>
              </a:cxn>
              <a:cxn ang="0">
                <a:pos x="connsiteX9055" y="connsiteY9055"/>
              </a:cxn>
              <a:cxn ang="0">
                <a:pos x="connsiteX9056" y="connsiteY9056"/>
              </a:cxn>
              <a:cxn ang="0">
                <a:pos x="connsiteX9057" y="connsiteY9057"/>
              </a:cxn>
              <a:cxn ang="0">
                <a:pos x="connsiteX9058" y="connsiteY9058"/>
              </a:cxn>
              <a:cxn ang="0">
                <a:pos x="connsiteX9059" y="connsiteY9059"/>
              </a:cxn>
              <a:cxn ang="0">
                <a:pos x="connsiteX9060" y="connsiteY9060"/>
              </a:cxn>
              <a:cxn ang="0">
                <a:pos x="connsiteX9061" y="connsiteY9061"/>
              </a:cxn>
              <a:cxn ang="0">
                <a:pos x="connsiteX9062" y="connsiteY9062"/>
              </a:cxn>
              <a:cxn ang="0">
                <a:pos x="connsiteX9063" y="connsiteY9063"/>
              </a:cxn>
              <a:cxn ang="0">
                <a:pos x="connsiteX9064" y="connsiteY9064"/>
              </a:cxn>
              <a:cxn ang="0">
                <a:pos x="connsiteX9065" y="connsiteY9065"/>
              </a:cxn>
              <a:cxn ang="0">
                <a:pos x="connsiteX9066" y="connsiteY9066"/>
              </a:cxn>
              <a:cxn ang="0">
                <a:pos x="connsiteX9067" y="connsiteY9067"/>
              </a:cxn>
              <a:cxn ang="0">
                <a:pos x="connsiteX9068" y="connsiteY9068"/>
              </a:cxn>
              <a:cxn ang="0">
                <a:pos x="connsiteX9069" y="connsiteY9069"/>
              </a:cxn>
              <a:cxn ang="0">
                <a:pos x="connsiteX9070" y="connsiteY9070"/>
              </a:cxn>
              <a:cxn ang="0">
                <a:pos x="connsiteX9071" y="connsiteY9071"/>
              </a:cxn>
              <a:cxn ang="0">
                <a:pos x="connsiteX9072" y="connsiteY9072"/>
              </a:cxn>
              <a:cxn ang="0">
                <a:pos x="connsiteX9073" y="connsiteY9073"/>
              </a:cxn>
              <a:cxn ang="0">
                <a:pos x="connsiteX9074" y="connsiteY9074"/>
              </a:cxn>
              <a:cxn ang="0">
                <a:pos x="connsiteX9075" y="connsiteY9075"/>
              </a:cxn>
              <a:cxn ang="0">
                <a:pos x="connsiteX9076" y="connsiteY9076"/>
              </a:cxn>
              <a:cxn ang="0">
                <a:pos x="connsiteX9077" y="connsiteY9077"/>
              </a:cxn>
              <a:cxn ang="0">
                <a:pos x="connsiteX9078" y="connsiteY9078"/>
              </a:cxn>
              <a:cxn ang="0">
                <a:pos x="connsiteX9079" y="connsiteY9079"/>
              </a:cxn>
              <a:cxn ang="0">
                <a:pos x="connsiteX9080" y="connsiteY9080"/>
              </a:cxn>
              <a:cxn ang="0">
                <a:pos x="connsiteX9081" y="connsiteY9081"/>
              </a:cxn>
              <a:cxn ang="0">
                <a:pos x="connsiteX9082" y="connsiteY9082"/>
              </a:cxn>
              <a:cxn ang="0">
                <a:pos x="connsiteX9083" y="connsiteY9083"/>
              </a:cxn>
              <a:cxn ang="0">
                <a:pos x="connsiteX9084" y="connsiteY9084"/>
              </a:cxn>
              <a:cxn ang="0">
                <a:pos x="connsiteX9085" y="connsiteY9085"/>
              </a:cxn>
              <a:cxn ang="0">
                <a:pos x="connsiteX9086" y="connsiteY9086"/>
              </a:cxn>
              <a:cxn ang="0">
                <a:pos x="connsiteX9087" y="connsiteY9087"/>
              </a:cxn>
              <a:cxn ang="0">
                <a:pos x="connsiteX9088" y="connsiteY9088"/>
              </a:cxn>
              <a:cxn ang="0">
                <a:pos x="connsiteX9089" y="connsiteY9089"/>
              </a:cxn>
              <a:cxn ang="0">
                <a:pos x="connsiteX9090" y="connsiteY9090"/>
              </a:cxn>
              <a:cxn ang="0">
                <a:pos x="connsiteX9091" y="connsiteY9091"/>
              </a:cxn>
              <a:cxn ang="0">
                <a:pos x="connsiteX9092" y="connsiteY9092"/>
              </a:cxn>
              <a:cxn ang="0">
                <a:pos x="connsiteX9093" y="connsiteY9093"/>
              </a:cxn>
              <a:cxn ang="0">
                <a:pos x="connsiteX9094" y="connsiteY9094"/>
              </a:cxn>
              <a:cxn ang="0">
                <a:pos x="connsiteX9095" y="connsiteY9095"/>
              </a:cxn>
              <a:cxn ang="0">
                <a:pos x="connsiteX9096" y="connsiteY9096"/>
              </a:cxn>
              <a:cxn ang="0">
                <a:pos x="connsiteX9097" y="connsiteY9097"/>
              </a:cxn>
              <a:cxn ang="0">
                <a:pos x="connsiteX9098" y="connsiteY9098"/>
              </a:cxn>
              <a:cxn ang="0">
                <a:pos x="connsiteX9099" y="connsiteY9099"/>
              </a:cxn>
              <a:cxn ang="0">
                <a:pos x="connsiteX9100" y="connsiteY9100"/>
              </a:cxn>
              <a:cxn ang="0">
                <a:pos x="connsiteX9101" y="connsiteY9101"/>
              </a:cxn>
              <a:cxn ang="0">
                <a:pos x="connsiteX9102" y="connsiteY9102"/>
              </a:cxn>
              <a:cxn ang="0">
                <a:pos x="connsiteX9103" y="connsiteY9103"/>
              </a:cxn>
              <a:cxn ang="0">
                <a:pos x="connsiteX9104" y="connsiteY9104"/>
              </a:cxn>
              <a:cxn ang="0">
                <a:pos x="connsiteX9105" y="connsiteY9105"/>
              </a:cxn>
              <a:cxn ang="0">
                <a:pos x="connsiteX9106" y="connsiteY9106"/>
              </a:cxn>
              <a:cxn ang="0">
                <a:pos x="connsiteX9107" y="connsiteY9107"/>
              </a:cxn>
              <a:cxn ang="0">
                <a:pos x="connsiteX9108" y="connsiteY9108"/>
              </a:cxn>
              <a:cxn ang="0">
                <a:pos x="connsiteX9109" y="connsiteY9109"/>
              </a:cxn>
              <a:cxn ang="0">
                <a:pos x="connsiteX9110" y="connsiteY9110"/>
              </a:cxn>
              <a:cxn ang="0">
                <a:pos x="connsiteX9111" y="connsiteY9111"/>
              </a:cxn>
              <a:cxn ang="0">
                <a:pos x="connsiteX9112" y="connsiteY9112"/>
              </a:cxn>
              <a:cxn ang="0">
                <a:pos x="connsiteX9113" y="connsiteY9113"/>
              </a:cxn>
              <a:cxn ang="0">
                <a:pos x="connsiteX9114" y="connsiteY9114"/>
              </a:cxn>
              <a:cxn ang="0">
                <a:pos x="connsiteX9115" y="connsiteY9115"/>
              </a:cxn>
              <a:cxn ang="0">
                <a:pos x="connsiteX9116" y="connsiteY9116"/>
              </a:cxn>
              <a:cxn ang="0">
                <a:pos x="connsiteX9117" y="connsiteY9117"/>
              </a:cxn>
              <a:cxn ang="0">
                <a:pos x="connsiteX9118" y="connsiteY9118"/>
              </a:cxn>
              <a:cxn ang="0">
                <a:pos x="connsiteX9119" y="connsiteY9119"/>
              </a:cxn>
              <a:cxn ang="0">
                <a:pos x="connsiteX9120" y="connsiteY9120"/>
              </a:cxn>
              <a:cxn ang="0">
                <a:pos x="connsiteX9121" y="connsiteY9121"/>
              </a:cxn>
              <a:cxn ang="0">
                <a:pos x="connsiteX9122" y="connsiteY9122"/>
              </a:cxn>
              <a:cxn ang="0">
                <a:pos x="connsiteX9123" y="connsiteY9123"/>
              </a:cxn>
              <a:cxn ang="0">
                <a:pos x="connsiteX9124" y="connsiteY9124"/>
              </a:cxn>
              <a:cxn ang="0">
                <a:pos x="connsiteX9125" y="connsiteY9125"/>
              </a:cxn>
              <a:cxn ang="0">
                <a:pos x="connsiteX9126" y="connsiteY9126"/>
              </a:cxn>
              <a:cxn ang="0">
                <a:pos x="connsiteX9127" y="connsiteY9127"/>
              </a:cxn>
              <a:cxn ang="0">
                <a:pos x="connsiteX9128" y="connsiteY9128"/>
              </a:cxn>
              <a:cxn ang="0">
                <a:pos x="connsiteX9129" y="connsiteY9129"/>
              </a:cxn>
              <a:cxn ang="0">
                <a:pos x="connsiteX9130" y="connsiteY9130"/>
              </a:cxn>
              <a:cxn ang="0">
                <a:pos x="connsiteX9131" y="connsiteY9131"/>
              </a:cxn>
              <a:cxn ang="0">
                <a:pos x="connsiteX9132" y="connsiteY9132"/>
              </a:cxn>
              <a:cxn ang="0">
                <a:pos x="connsiteX9133" y="connsiteY9133"/>
              </a:cxn>
              <a:cxn ang="0">
                <a:pos x="connsiteX9134" y="connsiteY9134"/>
              </a:cxn>
              <a:cxn ang="0">
                <a:pos x="connsiteX9135" y="connsiteY9135"/>
              </a:cxn>
              <a:cxn ang="0">
                <a:pos x="connsiteX9136" y="connsiteY9136"/>
              </a:cxn>
              <a:cxn ang="0">
                <a:pos x="connsiteX9137" y="connsiteY9137"/>
              </a:cxn>
              <a:cxn ang="0">
                <a:pos x="connsiteX9138" y="connsiteY9138"/>
              </a:cxn>
              <a:cxn ang="0">
                <a:pos x="connsiteX9139" y="connsiteY9139"/>
              </a:cxn>
              <a:cxn ang="0">
                <a:pos x="connsiteX9140" y="connsiteY9140"/>
              </a:cxn>
              <a:cxn ang="0">
                <a:pos x="connsiteX9141" y="connsiteY9141"/>
              </a:cxn>
              <a:cxn ang="0">
                <a:pos x="connsiteX9142" y="connsiteY9142"/>
              </a:cxn>
              <a:cxn ang="0">
                <a:pos x="connsiteX9143" y="connsiteY9143"/>
              </a:cxn>
              <a:cxn ang="0">
                <a:pos x="connsiteX9144" y="connsiteY9144"/>
              </a:cxn>
              <a:cxn ang="0">
                <a:pos x="connsiteX9145" y="connsiteY9145"/>
              </a:cxn>
              <a:cxn ang="0">
                <a:pos x="connsiteX9146" y="connsiteY9146"/>
              </a:cxn>
              <a:cxn ang="0">
                <a:pos x="connsiteX9147" y="connsiteY9147"/>
              </a:cxn>
              <a:cxn ang="0">
                <a:pos x="connsiteX9148" y="connsiteY9148"/>
              </a:cxn>
              <a:cxn ang="0">
                <a:pos x="connsiteX9149" y="connsiteY9149"/>
              </a:cxn>
              <a:cxn ang="0">
                <a:pos x="connsiteX9150" y="connsiteY9150"/>
              </a:cxn>
              <a:cxn ang="0">
                <a:pos x="connsiteX9151" y="connsiteY9151"/>
              </a:cxn>
              <a:cxn ang="0">
                <a:pos x="connsiteX9152" y="connsiteY9152"/>
              </a:cxn>
              <a:cxn ang="0">
                <a:pos x="connsiteX9153" y="connsiteY9153"/>
              </a:cxn>
              <a:cxn ang="0">
                <a:pos x="connsiteX9154" y="connsiteY9154"/>
              </a:cxn>
              <a:cxn ang="0">
                <a:pos x="connsiteX9155" y="connsiteY9155"/>
              </a:cxn>
              <a:cxn ang="0">
                <a:pos x="connsiteX9156" y="connsiteY9156"/>
              </a:cxn>
              <a:cxn ang="0">
                <a:pos x="connsiteX9157" y="connsiteY9157"/>
              </a:cxn>
              <a:cxn ang="0">
                <a:pos x="connsiteX9158" y="connsiteY9158"/>
              </a:cxn>
              <a:cxn ang="0">
                <a:pos x="connsiteX9159" y="connsiteY9159"/>
              </a:cxn>
              <a:cxn ang="0">
                <a:pos x="connsiteX9160" y="connsiteY9160"/>
              </a:cxn>
              <a:cxn ang="0">
                <a:pos x="connsiteX9161" y="connsiteY9161"/>
              </a:cxn>
              <a:cxn ang="0">
                <a:pos x="connsiteX9162" y="connsiteY9162"/>
              </a:cxn>
              <a:cxn ang="0">
                <a:pos x="connsiteX9163" y="connsiteY9163"/>
              </a:cxn>
              <a:cxn ang="0">
                <a:pos x="connsiteX9164" y="connsiteY9164"/>
              </a:cxn>
              <a:cxn ang="0">
                <a:pos x="connsiteX9165" y="connsiteY9165"/>
              </a:cxn>
              <a:cxn ang="0">
                <a:pos x="connsiteX9166" y="connsiteY9166"/>
              </a:cxn>
              <a:cxn ang="0">
                <a:pos x="connsiteX9167" y="connsiteY9167"/>
              </a:cxn>
              <a:cxn ang="0">
                <a:pos x="connsiteX9168" y="connsiteY9168"/>
              </a:cxn>
              <a:cxn ang="0">
                <a:pos x="connsiteX9169" y="connsiteY9169"/>
              </a:cxn>
              <a:cxn ang="0">
                <a:pos x="connsiteX9170" y="connsiteY9170"/>
              </a:cxn>
              <a:cxn ang="0">
                <a:pos x="connsiteX9171" y="connsiteY9171"/>
              </a:cxn>
              <a:cxn ang="0">
                <a:pos x="connsiteX9172" y="connsiteY9172"/>
              </a:cxn>
              <a:cxn ang="0">
                <a:pos x="connsiteX9173" y="connsiteY9173"/>
              </a:cxn>
              <a:cxn ang="0">
                <a:pos x="connsiteX9174" y="connsiteY9174"/>
              </a:cxn>
              <a:cxn ang="0">
                <a:pos x="connsiteX9175" y="connsiteY9175"/>
              </a:cxn>
              <a:cxn ang="0">
                <a:pos x="connsiteX9176" y="connsiteY9176"/>
              </a:cxn>
              <a:cxn ang="0">
                <a:pos x="connsiteX9177" y="connsiteY9177"/>
              </a:cxn>
              <a:cxn ang="0">
                <a:pos x="connsiteX9178" y="connsiteY9178"/>
              </a:cxn>
              <a:cxn ang="0">
                <a:pos x="connsiteX9179" y="connsiteY9179"/>
              </a:cxn>
              <a:cxn ang="0">
                <a:pos x="connsiteX9180" y="connsiteY9180"/>
              </a:cxn>
              <a:cxn ang="0">
                <a:pos x="connsiteX9181" y="connsiteY9181"/>
              </a:cxn>
              <a:cxn ang="0">
                <a:pos x="connsiteX9182" y="connsiteY9182"/>
              </a:cxn>
              <a:cxn ang="0">
                <a:pos x="connsiteX9183" y="connsiteY9183"/>
              </a:cxn>
              <a:cxn ang="0">
                <a:pos x="connsiteX9184" y="connsiteY9184"/>
              </a:cxn>
              <a:cxn ang="0">
                <a:pos x="connsiteX9185" y="connsiteY9185"/>
              </a:cxn>
              <a:cxn ang="0">
                <a:pos x="connsiteX9186" y="connsiteY9186"/>
              </a:cxn>
              <a:cxn ang="0">
                <a:pos x="connsiteX9187" y="connsiteY9187"/>
              </a:cxn>
              <a:cxn ang="0">
                <a:pos x="connsiteX9188" y="connsiteY9188"/>
              </a:cxn>
              <a:cxn ang="0">
                <a:pos x="connsiteX9189" y="connsiteY9189"/>
              </a:cxn>
              <a:cxn ang="0">
                <a:pos x="connsiteX9190" y="connsiteY9190"/>
              </a:cxn>
              <a:cxn ang="0">
                <a:pos x="connsiteX9191" y="connsiteY9191"/>
              </a:cxn>
              <a:cxn ang="0">
                <a:pos x="connsiteX9192" y="connsiteY9192"/>
              </a:cxn>
              <a:cxn ang="0">
                <a:pos x="connsiteX9193" y="connsiteY9193"/>
              </a:cxn>
              <a:cxn ang="0">
                <a:pos x="connsiteX9194" y="connsiteY9194"/>
              </a:cxn>
              <a:cxn ang="0">
                <a:pos x="connsiteX9195" y="connsiteY9195"/>
              </a:cxn>
              <a:cxn ang="0">
                <a:pos x="connsiteX9196" y="connsiteY9196"/>
              </a:cxn>
              <a:cxn ang="0">
                <a:pos x="connsiteX9197" y="connsiteY9197"/>
              </a:cxn>
              <a:cxn ang="0">
                <a:pos x="connsiteX9198" y="connsiteY9198"/>
              </a:cxn>
              <a:cxn ang="0">
                <a:pos x="connsiteX9199" y="connsiteY9199"/>
              </a:cxn>
              <a:cxn ang="0">
                <a:pos x="connsiteX9200" y="connsiteY9200"/>
              </a:cxn>
              <a:cxn ang="0">
                <a:pos x="connsiteX9201" y="connsiteY9201"/>
              </a:cxn>
              <a:cxn ang="0">
                <a:pos x="connsiteX9202" y="connsiteY9202"/>
              </a:cxn>
              <a:cxn ang="0">
                <a:pos x="connsiteX9203" y="connsiteY9203"/>
              </a:cxn>
              <a:cxn ang="0">
                <a:pos x="connsiteX9204" y="connsiteY9204"/>
              </a:cxn>
              <a:cxn ang="0">
                <a:pos x="connsiteX9205" y="connsiteY9205"/>
              </a:cxn>
              <a:cxn ang="0">
                <a:pos x="connsiteX9206" y="connsiteY9206"/>
              </a:cxn>
              <a:cxn ang="0">
                <a:pos x="connsiteX9207" y="connsiteY9207"/>
              </a:cxn>
              <a:cxn ang="0">
                <a:pos x="connsiteX9208" y="connsiteY9208"/>
              </a:cxn>
              <a:cxn ang="0">
                <a:pos x="connsiteX9209" y="connsiteY9209"/>
              </a:cxn>
              <a:cxn ang="0">
                <a:pos x="connsiteX9210" y="connsiteY9210"/>
              </a:cxn>
              <a:cxn ang="0">
                <a:pos x="connsiteX9211" y="connsiteY9211"/>
              </a:cxn>
              <a:cxn ang="0">
                <a:pos x="connsiteX9212" y="connsiteY9212"/>
              </a:cxn>
              <a:cxn ang="0">
                <a:pos x="connsiteX9213" y="connsiteY9213"/>
              </a:cxn>
              <a:cxn ang="0">
                <a:pos x="connsiteX9214" y="connsiteY9214"/>
              </a:cxn>
              <a:cxn ang="0">
                <a:pos x="connsiteX9215" y="connsiteY9215"/>
              </a:cxn>
              <a:cxn ang="0">
                <a:pos x="connsiteX9216" y="connsiteY9216"/>
              </a:cxn>
              <a:cxn ang="0">
                <a:pos x="connsiteX9217" y="connsiteY9217"/>
              </a:cxn>
              <a:cxn ang="0">
                <a:pos x="connsiteX9218" y="connsiteY9218"/>
              </a:cxn>
              <a:cxn ang="0">
                <a:pos x="connsiteX9219" y="connsiteY9219"/>
              </a:cxn>
              <a:cxn ang="0">
                <a:pos x="connsiteX9220" y="connsiteY9220"/>
              </a:cxn>
              <a:cxn ang="0">
                <a:pos x="connsiteX9221" y="connsiteY9221"/>
              </a:cxn>
              <a:cxn ang="0">
                <a:pos x="connsiteX9222" y="connsiteY9222"/>
              </a:cxn>
              <a:cxn ang="0">
                <a:pos x="connsiteX9223" y="connsiteY9223"/>
              </a:cxn>
              <a:cxn ang="0">
                <a:pos x="connsiteX9224" y="connsiteY9224"/>
              </a:cxn>
              <a:cxn ang="0">
                <a:pos x="connsiteX9225" y="connsiteY9225"/>
              </a:cxn>
              <a:cxn ang="0">
                <a:pos x="connsiteX9226" y="connsiteY9226"/>
              </a:cxn>
              <a:cxn ang="0">
                <a:pos x="connsiteX9227" y="connsiteY9227"/>
              </a:cxn>
              <a:cxn ang="0">
                <a:pos x="connsiteX9228" y="connsiteY9228"/>
              </a:cxn>
              <a:cxn ang="0">
                <a:pos x="connsiteX9229" y="connsiteY9229"/>
              </a:cxn>
              <a:cxn ang="0">
                <a:pos x="connsiteX9230" y="connsiteY9230"/>
              </a:cxn>
              <a:cxn ang="0">
                <a:pos x="connsiteX9231" y="connsiteY9231"/>
              </a:cxn>
              <a:cxn ang="0">
                <a:pos x="connsiteX9232" y="connsiteY9232"/>
              </a:cxn>
              <a:cxn ang="0">
                <a:pos x="connsiteX9233" y="connsiteY9233"/>
              </a:cxn>
              <a:cxn ang="0">
                <a:pos x="connsiteX9234" y="connsiteY9234"/>
              </a:cxn>
              <a:cxn ang="0">
                <a:pos x="connsiteX9235" y="connsiteY9235"/>
              </a:cxn>
              <a:cxn ang="0">
                <a:pos x="connsiteX9236" y="connsiteY9236"/>
              </a:cxn>
              <a:cxn ang="0">
                <a:pos x="connsiteX9237" y="connsiteY9237"/>
              </a:cxn>
              <a:cxn ang="0">
                <a:pos x="connsiteX9238" y="connsiteY9238"/>
              </a:cxn>
              <a:cxn ang="0">
                <a:pos x="connsiteX9239" y="connsiteY9239"/>
              </a:cxn>
              <a:cxn ang="0">
                <a:pos x="connsiteX9240" y="connsiteY9240"/>
              </a:cxn>
              <a:cxn ang="0">
                <a:pos x="connsiteX9241" y="connsiteY9241"/>
              </a:cxn>
              <a:cxn ang="0">
                <a:pos x="connsiteX9242" y="connsiteY9242"/>
              </a:cxn>
              <a:cxn ang="0">
                <a:pos x="connsiteX9243" y="connsiteY9243"/>
              </a:cxn>
              <a:cxn ang="0">
                <a:pos x="connsiteX9244" y="connsiteY9244"/>
              </a:cxn>
              <a:cxn ang="0">
                <a:pos x="connsiteX9245" y="connsiteY9245"/>
              </a:cxn>
              <a:cxn ang="0">
                <a:pos x="connsiteX9246" y="connsiteY9246"/>
              </a:cxn>
              <a:cxn ang="0">
                <a:pos x="connsiteX9247" y="connsiteY9247"/>
              </a:cxn>
              <a:cxn ang="0">
                <a:pos x="connsiteX9248" y="connsiteY9248"/>
              </a:cxn>
              <a:cxn ang="0">
                <a:pos x="connsiteX9249" y="connsiteY9249"/>
              </a:cxn>
              <a:cxn ang="0">
                <a:pos x="connsiteX9250" y="connsiteY9250"/>
              </a:cxn>
              <a:cxn ang="0">
                <a:pos x="connsiteX9251" y="connsiteY9251"/>
              </a:cxn>
              <a:cxn ang="0">
                <a:pos x="connsiteX9252" y="connsiteY9252"/>
              </a:cxn>
              <a:cxn ang="0">
                <a:pos x="connsiteX9253" y="connsiteY9253"/>
              </a:cxn>
              <a:cxn ang="0">
                <a:pos x="connsiteX9254" y="connsiteY9254"/>
              </a:cxn>
              <a:cxn ang="0">
                <a:pos x="connsiteX9255" y="connsiteY9255"/>
              </a:cxn>
              <a:cxn ang="0">
                <a:pos x="connsiteX9256" y="connsiteY9256"/>
              </a:cxn>
              <a:cxn ang="0">
                <a:pos x="connsiteX9257" y="connsiteY9257"/>
              </a:cxn>
              <a:cxn ang="0">
                <a:pos x="connsiteX9258" y="connsiteY9258"/>
              </a:cxn>
              <a:cxn ang="0">
                <a:pos x="connsiteX9259" y="connsiteY9259"/>
              </a:cxn>
              <a:cxn ang="0">
                <a:pos x="connsiteX9260" y="connsiteY9260"/>
              </a:cxn>
              <a:cxn ang="0">
                <a:pos x="connsiteX9261" y="connsiteY9261"/>
              </a:cxn>
              <a:cxn ang="0">
                <a:pos x="connsiteX9262" y="connsiteY9262"/>
              </a:cxn>
              <a:cxn ang="0">
                <a:pos x="connsiteX9263" y="connsiteY9263"/>
              </a:cxn>
              <a:cxn ang="0">
                <a:pos x="connsiteX9264" y="connsiteY9264"/>
              </a:cxn>
              <a:cxn ang="0">
                <a:pos x="connsiteX9265" y="connsiteY9265"/>
              </a:cxn>
              <a:cxn ang="0">
                <a:pos x="connsiteX9266" y="connsiteY9266"/>
              </a:cxn>
              <a:cxn ang="0">
                <a:pos x="connsiteX9267" y="connsiteY9267"/>
              </a:cxn>
              <a:cxn ang="0">
                <a:pos x="connsiteX9268" y="connsiteY9268"/>
              </a:cxn>
              <a:cxn ang="0">
                <a:pos x="connsiteX9269" y="connsiteY9269"/>
              </a:cxn>
              <a:cxn ang="0">
                <a:pos x="connsiteX9270" y="connsiteY9270"/>
              </a:cxn>
              <a:cxn ang="0">
                <a:pos x="connsiteX9271" y="connsiteY9271"/>
              </a:cxn>
              <a:cxn ang="0">
                <a:pos x="connsiteX9272" y="connsiteY9272"/>
              </a:cxn>
              <a:cxn ang="0">
                <a:pos x="connsiteX9273" y="connsiteY9273"/>
              </a:cxn>
              <a:cxn ang="0">
                <a:pos x="connsiteX9274" y="connsiteY9274"/>
              </a:cxn>
              <a:cxn ang="0">
                <a:pos x="connsiteX9275" y="connsiteY9275"/>
              </a:cxn>
              <a:cxn ang="0">
                <a:pos x="connsiteX9276" y="connsiteY9276"/>
              </a:cxn>
              <a:cxn ang="0">
                <a:pos x="connsiteX9277" y="connsiteY9277"/>
              </a:cxn>
              <a:cxn ang="0">
                <a:pos x="connsiteX9278" y="connsiteY9278"/>
              </a:cxn>
              <a:cxn ang="0">
                <a:pos x="connsiteX9279" y="connsiteY9279"/>
              </a:cxn>
              <a:cxn ang="0">
                <a:pos x="connsiteX9280" y="connsiteY9280"/>
              </a:cxn>
              <a:cxn ang="0">
                <a:pos x="connsiteX9281" y="connsiteY9281"/>
              </a:cxn>
              <a:cxn ang="0">
                <a:pos x="connsiteX9282" y="connsiteY9282"/>
              </a:cxn>
              <a:cxn ang="0">
                <a:pos x="connsiteX9283" y="connsiteY9283"/>
              </a:cxn>
              <a:cxn ang="0">
                <a:pos x="connsiteX9284" y="connsiteY9284"/>
              </a:cxn>
              <a:cxn ang="0">
                <a:pos x="connsiteX9285" y="connsiteY9285"/>
              </a:cxn>
              <a:cxn ang="0">
                <a:pos x="connsiteX9286" y="connsiteY9286"/>
              </a:cxn>
              <a:cxn ang="0">
                <a:pos x="connsiteX9287" y="connsiteY9287"/>
              </a:cxn>
              <a:cxn ang="0">
                <a:pos x="connsiteX9288" y="connsiteY9288"/>
              </a:cxn>
              <a:cxn ang="0">
                <a:pos x="connsiteX9289" y="connsiteY9289"/>
              </a:cxn>
              <a:cxn ang="0">
                <a:pos x="connsiteX9290" y="connsiteY9290"/>
              </a:cxn>
              <a:cxn ang="0">
                <a:pos x="connsiteX9291" y="connsiteY9291"/>
              </a:cxn>
              <a:cxn ang="0">
                <a:pos x="connsiteX9292" y="connsiteY9292"/>
              </a:cxn>
              <a:cxn ang="0">
                <a:pos x="connsiteX9293" y="connsiteY9293"/>
              </a:cxn>
              <a:cxn ang="0">
                <a:pos x="connsiteX9294" y="connsiteY9294"/>
              </a:cxn>
              <a:cxn ang="0">
                <a:pos x="connsiteX9295" y="connsiteY9295"/>
              </a:cxn>
              <a:cxn ang="0">
                <a:pos x="connsiteX9296" y="connsiteY9296"/>
              </a:cxn>
              <a:cxn ang="0">
                <a:pos x="connsiteX9297" y="connsiteY9297"/>
              </a:cxn>
              <a:cxn ang="0">
                <a:pos x="connsiteX9298" y="connsiteY9298"/>
              </a:cxn>
              <a:cxn ang="0">
                <a:pos x="connsiteX9299" y="connsiteY9299"/>
              </a:cxn>
              <a:cxn ang="0">
                <a:pos x="connsiteX9300" y="connsiteY9300"/>
              </a:cxn>
              <a:cxn ang="0">
                <a:pos x="connsiteX9301" y="connsiteY9301"/>
              </a:cxn>
              <a:cxn ang="0">
                <a:pos x="connsiteX9302" y="connsiteY9302"/>
              </a:cxn>
              <a:cxn ang="0">
                <a:pos x="connsiteX9303" y="connsiteY9303"/>
              </a:cxn>
              <a:cxn ang="0">
                <a:pos x="connsiteX9304" y="connsiteY9304"/>
              </a:cxn>
              <a:cxn ang="0">
                <a:pos x="connsiteX9305" y="connsiteY9305"/>
              </a:cxn>
              <a:cxn ang="0">
                <a:pos x="connsiteX9306" y="connsiteY9306"/>
              </a:cxn>
              <a:cxn ang="0">
                <a:pos x="connsiteX9307" y="connsiteY9307"/>
              </a:cxn>
              <a:cxn ang="0">
                <a:pos x="connsiteX9308" y="connsiteY9308"/>
              </a:cxn>
              <a:cxn ang="0">
                <a:pos x="connsiteX9309" y="connsiteY9309"/>
              </a:cxn>
              <a:cxn ang="0">
                <a:pos x="connsiteX9310" y="connsiteY9310"/>
              </a:cxn>
              <a:cxn ang="0">
                <a:pos x="connsiteX9311" y="connsiteY9311"/>
              </a:cxn>
              <a:cxn ang="0">
                <a:pos x="connsiteX9312" y="connsiteY9312"/>
              </a:cxn>
              <a:cxn ang="0">
                <a:pos x="connsiteX9313" y="connsiteY9313"/>
              </a:cxn>
              <a:cxn ang="0">
                <a:pos x="connsiteX9314" y="connsiteY9314"/>
              </a:cxn>
              <a:cxn ang="0">
                <a:pos x="connsiteX9315" y="connsiteY9315"/>
              </a:cxn>
              <a:cxn ang="0">
                <a:pos x="connsiteX9316" y="connsiteY9316"/>
              </a:cxn>
              <a:cxn ang="0">
                <a:pos x="connsiteX9317" y="connsiteY9317"/>
              </a:cxn>
              <a:cxn ang="0">
                <a:pos x="connsiteX9318" y="connsiteY9318"/>
              </a:cxn>
              <a:cxn ang="0">
                <a:pos x="connsiteX9319" y="connsiteY9319"/>
              </a:cxn>
              <a:cxn ang="0">
                <a:pos x="connsiteX9320" y="connsiteY9320"/>
              </a:cxn>
              <a:cxn ang="0">
                <a:pos x="connsiteX9321" y="connsiteY9321"/>
              </a:cxn>
              <a:cxn ang="0">
                <a:pos x="connsiteX9322" y="connsiteY9322"/>
              </a:cxn>
              <a:cxn ang="0">
                <a:pos x="connsiteX9323" y="connsiteY9323"/>
              </a:cxn>
              <a:cxn ang="0">
                <a:pos x="connsiteX9324" y="connsiteY9324"/>
              </a:cxn>
              <a:cxn ang="0">
                <a:pos x="connsiteX9325" y="connsiteY9325"/>
              </a:cxn>
              <a:cxn ang="0">
                <a:pos x="connsiteX9326" y="connsiteY9326"/>
              </a:cxn>
              <a:cxn ang="0">
                <a:pos x="connsiteX9327" y="connsiteY9327"/>
              </a:cxn>
              <a:cxn ang="0">
                <a:pos x="connsiteX9328" y="connsiteY9328"/>
              </a:cxn>
              <a:cxn ang="0">
                <a:pos x="connsiteX9329" y="connsiteY9329"/>
              </a:cxn>
              <a:cxn ang="0">
                <a:pos x="connsiteX9330" y="connsiteY9330"/>
              </a:cxn>
              <a:cxn ang="0">
                <a:pos x="connsiteX9331" y="connsiteY9331"/>
              </a:cxn>
              <a:cxn ang="0">
                <a:pos x="connsiteX9332" y="connsiteY9332"/>
              </a:cxn>
              <a:cxn ang="0">
                <a:pos x="connsiteX9333" y="connsiteY9333"/>
              </a:cxn>
              <a:cxn ang="0">
                <a:pos x="connsiteX9334" y="connsiteY9334"/>
              </a:cxn>
              <a:cxn ang="0">
                <a:pos x="connsiteX9335" y="connsiteY9335"/>
              </a:cxn>
              <a:cxn ang="0">
                <a:pos x="connsiteX9336" y="connsiteY9336"/>
              </a:cxn>
              <a:cxn ang="0">
                <a:pos x="connsiteX9337" y="connsiteY9337"/>
              </a:cxn>
              <a:cxn ang="0">
                <a:pos x="connsiteX9338" y="connsiteY9338"/>
              </a:cxn>
              <a:cxn ang="0">
                <a:pos x="connsiteX9339" y="connsiteY9339"/>
              </a:cxn>
              <a:cxn ang="0">
                <a:pos x="connsiteX9340" y="connsiteY9340"/>
              </a:cxn>
              <a:cxn ang="0">
                <a:pos x="connsiteX9341" y="connsiteY9341"/>
              </a:cxn>
              <a:cxn ang="0">
                <a:pos x="connsiteX9342" y="connsiteY9342"/>
              </a:cxn>
              <a:cxn ang="0">
                <a:pos x="connsiteX9343" y="connsiteY9343"/>
              </a:cxn>
              <a:cxn ang="0">
                <a:pos x="connsiteX9344" y="connsiteY9344"/>
              </a:cxn>
              <a:cxn ang="0">
                <a:pos x="connsiteX9345" y="connsiteY9345"/>
              </a:cxn>
              <a:cxn ang="0">
                <a:pos x="connsiteX9346" y="connsiteY9346"/>
              </a:cxn>
              <a:cxn ang="0">
                <a:pos x="connsiteX9347" y="connsiteY9347"/>
              </a:cxn>
              <a:cxn ang="0">
                <a:pos x="connsiteX9348" y="connsiteY9348"/>
              </a:cxn>
              <a:cxn ang="0">
                <a:pos x="connsiteX9349" y="connsiteY9349"/>
              </a:cxn>
              <a:cxn ang="0">
                <a:pos x="connsiteX9350" y="connsiteY9350"/>
              </a:cxn>
              <a:cxn ang="0">
                <a:pos x="connsiteX9351" y="connsiteY9351"/>
              </a:cxn>
              <a:cxn ang="0">
                <a:pos x="connsiteX9352" y="connsiteY9352"/>
              </a:cxn>
              <a:cxn ang="0">
                <a:pos x="connsiteX9353" y="connsiteY9353"/>
              </a:cxn>
              <a:cxn ang="0">
                <a:pos x="connsiteX9354" y="connsiteY9354"/>
              </a:cxn>
              <a:cxn ang="0">
                <a:pos x="connsiteX9355" y="connsiteY9355"/>
              </a:cxn>
              <a:cxn ang="0">
                <a:pos x="connsiteX9356" y="connsiteY9356"/>
              </a:cxn>
              <a:cxn ang="0">
                <a:pos x="connsiteX9357" y="connsiteY9357"/>
              </a:cxn>
              <a:cxn ang="0">
                <a:pos x="connsiteX9358" y="connsiteY9358"/>
              </a:cxn>
              <a:cxn ang="0">
                <a:pos x="connsiteX9359" y="connsiteY9359"/>
              </a:cxn>
              <a:cxn ang="0">
                <a:pos x="connsiteX9360" y="connsiteY9360"/>
              </a:cxn>
              <a:cxn ang="0">
                <a:pos x="connsiteX9361" y="connsiteY9361"/>
              </a:cxn>
              <a:cxn ang="0">
                <a:pos x="connsiteX9362" y="connsiteY9362"/>
              </a:cxn>
              <a:cxn ang="0">
                <a:pos x="connsiteX9363" y="connsiteY9363"/>
              </a:cxn>
              <a:cxn ang="0">
                <a:pos x="connsiteX9364" y="connsiteY9364"/>
              </a:cxn>
              <a:cxn ang="0">
                <a:pos x="connsiteX9365" y="connsiteY9365"/>
              </a:cxn>
              <a:cxn ang="0">
                <a:pos x="connsiteX9366" y="connsiteY9366"/>
              </a:cxn>
              <a:cxn ang="0">
                <a:pos x="connsiteX9367" y="connsiteY9367"/>
              </a:cxn>
              <a:cxn ang="0">
                <a:pos x="connsiteX9368" y="connsiteY9368"/>
              </a:cxn>
              <a:cxn ang="0">
                <a:pos x="connsiteX9369" y="connsiteY9369"/>
              </a:cxn>
              <a:cxn ang="0">
                <a:pos x="connsiteX9370" y="connsiteY9370"/>
              </a:cxn>
              <a:cxn ang="0">
                <a:pos x="connsiteX9371" y="connsiteY9371"/>
              </a:cxn>
              <a:cxn ang="0">
                <a:pos x="connsiteX9372" y="connsiteY9372"/>
              </a:cxn>
              <a:cxn ang="0">
                <a:pos x="connsiteX9373" y="connsiteY9373"/>
              </a:cxn>
              <a:cxn ang="0">
                <a:pos x="connsiteX9374" y="connsiteY9374"/>
              </a:cxn>
              <a:cxn ang="0">
                <a:pos x="connsiteX9375" y="connsiteY9375"/>
              </a:cxn>
              <a:cxn ang="0">
                <a:pos x="connsiteX9376" y="connsiteY9376"/>
              </a:cxn>
              <a:cxn ang="0">
                <a:pos x="connsiteX9377" y="connsiteY9377"/>
              </a:cxn>
              <a:cxn ang="0">
                <a:pos x="connsiteX9378" y="connsiteY9378"/>
              </a:cxn>
              <a:cxn ang="0">
                <a:pos x="connsiteX9379" y="connsiteY9379"/>
              </a:cxn>
              <a:cxn ang="0">
                <a:pos x="connsiteX9380" y="connsiteY9380"/>
              </a:cxn>
              <a:cxn ang="0">
                <a:pos x="connsiteX9381" y="connsiteY9381"/>
              </a:cxn>
              <a:cxn ang="0">
                <a:pos x="connsiteX9382" y="connsiteY9382"/>
              </a:cxn>
              <a:cxn ang="0">
                <a:pos x="connsiteX9383" y="connsiteY9383"/>
              </a:cxn>
              <a:cxn ang="0">
                <a:pos x="connsiteX9384" y="connsiteY9384"/>
              </a:cxn>
              <a:cxn ang="0">
                <a:pos x="connsiteX9385" y="connsiteY9385"/>
              </a:cxn>
              <a:cxn ang="0">
                <a:pos x="connsiteX9386" y="connsiteY9386"/>
              </a:cxn>
              <a:cxn ang="0">
                <a:pos x="connsiteX9387" y="connsiteY9387"/>
              </a:cxn>
              <a:cxn ang="0">
                <a:pos x="connsiteX9388" y="connsiteY9388"/>
              </a:cxn>
              <a:cxn ang="0">
                <a:pos x="connsiteX9389" y="connsiteY9389"/>
              </a:cxn>
              <a:cxn ang="0">
                <a:pos x="connsiteX9390" y="connsiteY9390"/>
              </a:cxn>
              <a:cxn ang="0">
                <a:pos x="connsiteX9391" y="connsiteY9391"/>
              </a:cxn>
              <a:cxn ang="0">
                <a:pos x="connsiteX9392" y="connsiteY9392"/>
              </a:cxn>
              <a:cxn ang="0">
                <a:pos x="connsiteX9393" y="connsiteY9393"/>
              </a:cxn>
              <a:cxn ang="0">
                <a:pos x="connsiteX9394" y="connsiteY9394"/>
              </a:cxn>
              <a:cxn ang="0">
                <a:pos x="connsiteX9395" y="connsiteY9395"/>
              </a:cxn>
              <a:cxn ang="0">
                <a:pos x="connsiteX9396" y="connsiteY9396"/>
              </a:cxn>
              <a:cxn ang="0">
                <a:pos x="connsiteX9397" y="connsiteY9397"/>
              </a:cxn>
              <a:cxn ang="0">
                <a:pos x="connsiteX9398" y="connsiteY9398"/>
              </a:cxn>
              <a:cxn ang="0">
                <a:pos x="connsiteX9399" y="connsiteY9399"/>
              </a:cxn>
              <a:cxn ang="0">
                <a:pos x="connsiteX9400" y="connsiteY9400"/>
              </a:cxn>
              <a:cxn ang="0">
                <a:pos x="connsiteX9401" y="connsiteY9401"/>
              </a:cxn>
              <a:cxn ang="0">
                <a:pos x="connsiteX9402" y="connsiteY9402"/>
              </a:cxn>
              <a:cxn ang="0">
                <a:pos x="connsiteX9403" y="connsiteY9403"/>
              </a:cxn>
              <a:cxn ang="0">
                <a:pos x="connsiteX9404" y="connsiteY9404"/>
              </a:cxn>
              <a:cxn ang="0">
                <a:pos x="connsiteX9405" y="connsiteY9405"/>
              </a:cxn>
              <a:cxn ang="0">
                <a:pos x="connsiteX9406" y="connsiteY9406"/>
              </a:cxn>
              <a:cxn ang="0">
                <a:pos x="connsiteX9407" y="connsiteY9407"/>
              </a:cxn>
              <a:cxn ang="0">
                <a:pos x="connsiteX9408" y="connsiteY9408"/>
              </a:cxn>
              <a:cxn ang="0">
                <a:pos x="connsiteX9409" y="connsiteY9409"/>
              </a:cxn>
              <a:cxn ang="0">
                <a:pos x="connsiteX9410" y="connsiteY9410"/>
              </a:cxn>
              <a:cxn ang="0">
                <a:pos x="connsiteX9411" y="connsiteY9411"/>
              </a:cxn>
              <a:cxn ang="0">
                <a:pos x="connsiteX9412" y="connsiteY9412"/>
              </a:cxn>
              <a:cxn ang="0">
                <a:pos x="connsiteX9413" y="connsiteY9413"/>
              </a:cxn>
              <a:cxn ang="0">
                <a:pos x="connsiteX9414" y="connsiteY9414"/>
              </a:cxn>
              <a:cxn ang="0">
                <a:pos x="connsiteX9415" y="connsiteY9415"/>
              </a:cxn>
              <a:cxn ang="0">
                <a:pos x="connsiteX9416" y="connsiteY9416"/>
              </a:cxn>
              <a:cxn ang="0">
                <a:pos x="connsiteX9417" y="connsiteY9417"/>
              </a:cxn>
              <a:cxn ang="0">
                <a:pos x="connsiteX9418" y="connsiteY9418"/>
              </a:cxn>
              <a:cxn ang="0">
                <a:pos x="connsiteX9419" y="connsiteY9419"/>
              </a:cxn>
              <a:cxn ang="0">
                <a:pos x="connsiteX9420" y="connsiteY9420"/>
              </a:cxn>
              <a:cxn ang="0">
                <a:pos x="connsiteX9421" y="connsiteY9421"/>
              </a:cxn>
              <a:cxn ang="0">
                <a:pos x="connsiteX9422" y="connsiteY9422"/>
              </a:cxn>
              <a:cxn ang="0">
                <a:pos x="connsiteX9423" y="connsiteY9423"/>
              </a:cxn>
              <a:cxn ang="0">
                <a:pos x="connsiteX9424" y="connsiteY9424"/>
              </a:cxn>
              <a:cxn ang="0">
                <a:pos x="connsiteX9425" y="connsiteY9425"/>
              </a:cxn>
              <a:cxn ang="0">
                <a:pos x="connsiteX9426" y="connsiteY9426"/>
              </a:cxn>
              <a:cxn ang="0">
                <a:pos x="connsiteX9427" y="connsiteY9427"/>
              </a:cxn>
              <a:cxn ang="0">
                <a:pos x="connsiteX9428" y="connsiteY9428"/>
              </a:cxn>
              <a:cxn ang="0">
                <a:pos x="connsiteX9429" y="connsiteY9429"/>
              </a:cxn>
              <a:cxn ang="0">
                <a:pos x="connsiteX9430" y="connsiteY9430"/>
              </a:cxn>
              <a:cxn ang="0">
                <a:pos x="connsiteX9431" y="connsiteY9431"/>
              </a:cxn>
              <a:cxn ang="0">
                <a:pos x="connsiteX9432" y="connsiteY9432"/>
              </a:cxn>
              <a:cxn ang="0">
                <a:pos x="connsiteX9433" y="connsiteY9433"/>
              </a:cxn>
              <a:cxn ang="0">
                <a:pos x="connsiteX9434" y="connsiteY9434"/>
              </a:cxn>
              <a:cxn ang="0">
                <a:pos x="connsiteX9435" y="connsiteY9435"/>
              </a:cxn>
              <a:cxn ang="0">
                <a:pos x="connsiteX9436" y="connsiteY9436"/>
              </a:cxn>
              <a:cxn ang="0">
                <a:pos x="connsiteX9437" y="connsiteY9437"/>
              </a:cxn>
              <a:cxn ang="0">
                <a:pos x="connsiteX9438" y="connsiteY9438"/>
              </a:cxn>
              <a:cxn ang="0">
                <a:pos x="connsiteX9439" y="connsiteY9439"/>
              </a:cxn>
              <a:cxn ang="0">
                <a:pos x="connsiteX9440" y="connsiteY9440"/>
              </a:cxn>
              <a:cxn ang="0">
                <a:pos x="connsiteX9441" y="connsiteY9441"/>
              </a:cxn>
              <a:cxn ang="0">
                <a:pos x="connsiteX9442" y="connsiteY9442"/>
              </a:cxn>
              <a:cxn ang="0">
                <a:pos x="connsiteX9443" y="connsiteY9443"/>
              </a:cxn>
              <a:cxn ang="0">
                <a:pos x="connsiteX9444" y="connsiteY9444"/>
              </a:cxn>
              <a:cxn ang="0">
                <a:pos x="connsiteX9445" y="connsiteY9445"/>
              </a:cxn>
              <a:cxn ang="0">
                <a:pos x="connsiteX9446" y="connsiteY9446"/>
              </a:cxn>
              <a:cxn ang="0">
                <a:pos x="connsiteX9447" y="connsiteY9447"/>
              </a:cxn>
              <a:cxn ang="0">
                <a:pos x="connsiteX9448" y="connsiteY9448"/>
              </a:cxn>
              <a:cxn ang="0">
                <a:pos x="connsiteX9449" y="connsiteY9449"/>
              </a:cxn>
              <a:cxn ang="0">
                <a:pos x="connsiteX9450" y="connsiteY9450"/>
              </a:cxn>
              <a:cxn ang="0">
                <a:pos x="connsiteX9451" y="connsiteY9451"/>
              </a:cxn>
              <a:cxn ang="0">
                <a:pos x="connsiteX9452" y="connsiteY9452"/>
              </a:cxn>
              <a:cxn ang="0">
                <a:pos x="connsiteX9453" y="connsiteY9453"/>
              </a:cxn>
              <a:cxn ang="0">
                <a:pos x="connsiteX9454" y="connsiteY9454"/>
              </a:cxn>
              <a:cxn ang="0">
                <a:pos x="connsiteX9455" y="connsiteY9455"/>
              </a:cxn>
              <a:cxn ang="0">
                <a:pos x="connsiteX9456" y="connsiteY9456"/>
              </a:cxn>
              <a:cxn ang="0">
                <a:pos x="connsiteX9457" y="connsiteY9457"/>
              </a:cxn>
              <a:cxn ang="0">
                <a:pos x="connsiteX9458" y="connsiteY9458"/>
              </a:cxn>
              <a:cxn ang="0">
                <a:pos x="connsiteX9459" y="connsiteY9459"/>
              </a:cxn>
              <a:cxn ang="0">
                <a:pos x="connsiteX9460" y="connsiteY9460"/>
              </a:cxn>
              <a:cxn ang="0">
                <a:pos x="connsiteX9461" y="connsiteY9461"/>
              </a:cxn>
              <a:cxn ang="0">
                <a:pos x="connsiteX9462" y="connsiteY9462"/>
              </a:cxn>
              <a:cxn ang="0">
                <a:pos x="connsiteX9463" y="connsiteY9463"/>
              </a:cxn>
              <a:cxn ang="0">
                <a:pos x="connsiteX9464" y="connsiteY9464"/>
              </a:cxn>
              <a:cxn ang="0">
                <a:pos x="connsiteX9465" y="connsiteY9465"/>
              </a:cxn>
              <a:cxn ang="0">
                <a:pos x="connsiteX9466" y="connsiteY9466"/>
              </a:cxn>
              <a:cxn ang="0">
                <a:pos x="connsiteX9467" y="connsiteY9467"/>
              </a:cxn>
              <a:cxn ang="0">
                <a:pos x="connsiteX9468" y="connsiteY9468"/>
              </a:cxn>
              <a:cxn ang="0">
                <a:pos x="connsiteX9469" y="connsiteY9469"/>
              </a:cxn>
              <a:cxn ang="0">
                <a:pos x="connsiteX9470" y="connsiteY9470"/>
              </a:cxn>
              <a:cxn ang="0">
                <a:pos x="connsiteX9471" y="connsiteY9471"/>
              </a:cxn>
              <a:cxn ang="0">
                <a:pos x="connsiteX9472" y="connsiteY9472"/>
              </a:cxn>
              <a:cxn ang="0">
                <a:pos x="connsiteX9473" y="connsiteY9473"/>
              </a:cxn>
              <a:cxn ang="0">
                <a:pos x="connsiteX9474" y="connsiteY9474"/>
              </a:cxn>
              <a:cxn ang="0">
                <a:pos x="connsiteX9475" y="connsiteY9475"/>
              </a:cxn>
              <a:cxn ang="0">
                <a:pos x="connsiteX9476" y="connsiteY9476"/>
              </a:cxn>
              <a:cxn ang="0">
                <a:pos x="connsiteX9477" y="connsiteY9477"/>
              </a:cxn>
              <a:cxn ang="0">
                <a:pos x="connsiteX9478" y="connsiteY9478"/>
              </a:cxn>
              <a:cxn ang="0">
                <a:pos x="connsiteX9479" y="connsiteY9479"/>
              </a:cxn>
              <a:cxn ang="0">
                <a:pos x="connsiteX9480" y="connsiteY9480"/>
              </a:cxn>
              <a:cxn ang="0">
                <a:pos x="connsiteX9481" y="connsiteY9481"/>
              </a:cxn>
              <a:cxn ang="0">
                <a:pos x="connsiteX9482" y="connsiteY9482"/>
              </a:cxn>
              <a:cxn ang="0">
                <a:pos x="connsiteX9483" y="connsiteY9483"/>
              </a:cxn>
              <a:cxn ang="0">
                <a:pos x="connsiteX9484" y="connsiteY9484"/>
              </a:cxn>
              <a:cxn ang="0">
                <a:pos x="connsiteX9485" y="connsiteY9485"/>
              </a:cxn>
              <a:cxn ang="0">
                <a:pos x="connsiteX9486" y="connsiteY9486"/>
              </a:cxn>
              <a:cxn ang="0">
                <a:pos x="connsiteX9487" y="connsiteY9487"/>
              </a:cxn>
              <a:cxn ang="0">
                <a:pos x="connsiteX9488" y="connsiteY9488"/>
              </a:cxn>
              <a:cxn ang="0">
                <a:pos x="connsiteX9489" y="connsiteY9489"/>
              </a:cxn>
              <a:cxn ang="0">
                <a:pos x="connsiteX9490" y="connsiteY9490"/>
              </a:cxn>
              <a:cxn ang="0">
                <a:pos x="connsiteX9491" y="connsiteY9491"/>
              </a:cxn>
              <a:cxn ang="0">
                <a:pos x="connsiteX9492" y="connsiteY9492"/>
              </a:cxn>
              <a:cxn ang="0">
                <a:pos x="connsiteX9493" y="connsiteY9493"/>
              </a:cxn>
              <a:cxn ang="0">
                <a:pos x="connsiteX9494" y="connsiteY9494"/>
              </a:cxn>
              <a:cxn ang="0">
                <a:pos x="connsiteX9495" y="connsiteY9495"/>
              </a:cxn>
              <a:cxn ang="0">
                <a:pos x="connsiteX9496" y="connsiteY9496"/>
              </a:cxn>
              <a:cxn ang="0">
                <a:pos x="connsiteX9497" y="connsiteY9497"/>
              </a:cxn>
              <a:cxn ang="0">
                <a:pos x="connsiteX9498" y="connsiteY9498"/>
              </a:cxn>
              <a:cxn ang="0">
                <a:pos x="connsiteX9499" y="connsiteY9499"/>
              </a:cxn>
              <a:cxn ang="0">
                <a:pos x="connsiteX9500" y="connsiteY9500"/>
              </a:cxn>
              <a:cxn ang="0">
                <a:pos x="connsiteX9501" y="connsiteY9501"/>
              </a:cxn>
              <a:cxn ang="0">
                <a:pos x="connsiteX9502" y="connsiteY9502"/>
              </a:cxn>
              <a:cxn ang="0">
                <a:pos x="connsiteX9503" y="connsiteY9503"/>
              </a:cxn>
              <a:cxn ang="0">
                <a:pos x="connsiteX9504" y="connsiteY9504"/>
              </a:cxn>
              <a:cxn ang="0">
                <a:pos x="connsiteX9505" y="connsiteY9505"/>
              </a:cxn>
              <a:cxn ang="0">
                <a:pos x="connsiteX9506" y="connsiteY9506"/>
              </a:cxn>
              <a:cxn ang="0">
                <a:pos x="connsiteX9507" y="connsiteY9507"/>
              </a:cxn>
              <a:cxn ang="0">
                <a:pos x="connsiteX9508" y="connsiteY9508"/>
              </a:cxn>
              <a:cxn ang="0">
                <a:pos x="connsiteX9509" y="connsiteY9509"/>
              </a:cxn>
              <a:cxn ang="0">
                <a:pos x="connsiteX9510" y="connsiteY9510"/>
              </a:cxn>
              <a:cxn ang="0">
                <a:pos x="connsiteX9511" y="connsiteY9511"/>
              </a:cxn>
              <a:cxn ang="0">
                <a:pos x="connsiteX9512" y="connsiteY9512"/>
              </a:cxn>
              <a:cxn ang="0">
                <a:pos x="connsiteX9513" y="connsiteY9513"/>
              </a:cxn>
              <a:cxn ang="0">
                <a:pos x="connsiteX9514" y="connsiteY9514"/>
              </a:cxn>
              <a:cxn ang="0">
                <a:pos x="connsiteX9515" y="connsiteY9515"/>
              </a:cxn>
              <a:cxn ang="0">
                <a:pos x="connsiteX9516" y="connsiteY9516"/>
              </a:cxn>
              <a:cxn ang="0">
                <a:pos x="connsiteX9517" y="connsiteY9517"/>
              </a:cxn>
              <a:cxn ang="0">
                <a:pos x="connsiteX9518" y="connsiteY9518"/>
              </a:cxn>
              <a:cxn ang="0">
                <a:pos x="connsiteX9519" y="connsiteY9519"/>
              </a:cxn>
              <a:cxn ang="0">
                <a:pos x="connsiteX9520" y="connsiteY9520"/>
              </a:cxn>
              <a:cxn ang="0">
                <a:pos x="connsiteX9521" y="connsiteY9521"/>
              </a:cxn>
              <a:cxn ang="0">
                <a:pos x="connsiteX9522" y="connsiteY9522"/>
              </a:cxn>
              <a:cxn ang="0">
                <a:pos x="connsiteX9523" y="connsiteY9523"/>
              </a:cxn>
              <a:cxn ang="0">
                <a:pos x="connsiteX9524" y="connsiteY9524"/>
              </a:cxn>
              <a:cxn ang="0">
                <a:pos x="connsiteX9525" y="connsiteY9525"/>
              </a:cxn>
              <a:cxn ang="0">
                <a:pos x="connsiteX9526" y="connsiteY9526"/>
              </a:cxn>
              <a:cxn ang="0">
                <a:pos x="connsiteX9527" y="connsiteY9527"/>
              </a:cxn>
              <a:cxn ang="0">
                <a:pos x="connsiteX9528" y="connsiteY9528"/>
              </a:cxn>
              <a:cxn ang="0">
                <a:pos x="connsiteX9529" y="connsiteY9529"/>
              </a:cxn>
              <a:cxn ang="0">
                <a:pos x="connsiteX9530" y="connsiteY9530"/>
              </a:cxn>
              <a:cxn ang="0">
                <a:pos x="connsiteX9531" y="connsiteY9531"/>
              </a:cxn>
              <a:cxn ang="0">
                <a:pos x="connsiteX9532" y="connsiteY9532"/>
              </a:cxn>
              <a:cxn ang="0">
                <a:pos x="connsiteX9533" y="connsiteY9533"/>
              </a:cxn>
              <a:cxn ang="0">
                <a:pos x="connsiteX9534" y="connsiteY9534"/>
              </a:cxn>
              <a:cxn ang="0">
                <a:pos x="connsiteX9535" y="connsiteY9535"/>
              </a:cxn>
              <a:cxn ang="0">
                <a:pos x="connsiteX9536" y="connsiteY9536"/>
              </a:cxn>
              <a:cxn ang="0">
                <a:pos x="connsiteX9537" y="connsiteY9537"/>
              </a:cxn>
              <a:cxn ang="0">
                <a:pos x="connsiteX9538" y="connsiteY9538"/>
              </a:cxn>
              <a:cxn ang="0">
                <a:pos x="connsiteX9539" y="connsiteY9539"/>
              </a:cxn>
              <a:cxn ang="0">
                <a:pos x="connsiteX9540" y="connsiteY9540"/>
              </a:cxn>
              <a:cxn ang="0">
                <a:pos x="connsiteX9541" y="connsiteY9541"/>
              </a:cxn>
              <a:cxn ang="0">
                <a:pos x="connsiteX9542" y="connsiteY9542"/>
              </a:cxn>
              <a:cxn ang="0">
                <a:pos x="connsiteX9543" y="connsiteY9543"/>
              </a:cxn>
              <a:cxn ang="0">
                <a:pos x="connsiteX9544" y="connsiteY9544"/>
              </a:cxn>
              <a:cxn ang="0">
                <a:pos x="connsiteX9545" y="connsiteY9545"/>
              </a:cxn>
              <a:cxn ang="0">
                <a:pos x="connsiteX9546" y="connsiteY9546"/>
              </a:cxn>
              <a:cxn ang="0">
                <a:pos x="connsiteX9547" y="connsiteY9547"/>
              </a:cxn>
              <a:cxn ang="0">
                <a:pos x="connsiteX9548" y="connsiteY9548"/>
              </a:cxn>
              <a:cxn ang="0">
                <a:pos x="connsiteX9549" y="connsiteY9549"/>
              </a:cxn>
              <a:cxn ang="0">
                <a:pos x="connsiteX9550" y="connsiteY9550"/>
              </a:cxn>
              <a:cxn ang="0">
                <a:pos x="connsiteX9551" y="connsiteY9551"/>
              </a:cxn>
              <a:cxn ang="0">
                <a:pos x="connsiteX9552" y="connsiteY9552"/>
              </a:cxn>
              <a:cxn ang="0">
                <a:pos x="connsiteX9553" y="connsiteY9553"/>
              </a:cxn>
              <a:cxn ang="0">
                <a:pos x="connsiteX9554" y="connsiteY9554"/>
              </a:cxn>
              <a:cxn ang="0">
                <a:pos x="connsiteX9555" y="connsiteY9555"/>
              </a:cxn>
              <a:cxn ang="0">
                <a:pos x="connsiteX9556" y="connsiteY9556"/>
              </a:cxn>
              <a:cxn ang="0">
                <a:pos x="connsiteX9557" y="connsiteY9557"/>
              </a:cxn>
              <a:cxn ang="0">
                <a:pos x="connsiteX9558" y="connsiteY9558"/>
              </a:cxn>
              <a:cxn ang="0">
                <a:pos x="connsiteX9559" y="connsiteY9559"/>
              </a:cxn>
              <a:cxn ang="0">
                <a:pos x="connsiteX9560" y="connsiteY9560"/>
              </a:cxn>
              <a:cxn ang="0">
                <a:pos x="connsiteX9561" y="connsiteY9561"/>
              </a:cxn>
              <a:cxn ang="0">
                <a:pos x="connsiteX9562" y="connsiteY9562"/>
              </a:cxn>
              <a:cxn ang="0">
                <a:pos x="connsiteX9563" y="connsiteY9563"/>
              </a:cxn>
              <a:cxn ang="0">
                <a:pos x="connsiteX9564" y="connsiteY9564"/>
              </a:cxn>
              <a:cxn ang="0">
                <a:pos x="connsiteX9565" y="connsiteY9565"/>
              </a:cxn>
              <a:cxn ang="0">
                <a:pos x="connsiteX9566" y="connsiteY9566"/>
              </a:cxn>
              <a:cxn ang="0">
                <a:pos x="connsiteX9567" y="connsiteY9567"/>
              </a:cxn>
              <a:cxn ang="0">
                <a:pos x="connsiteX9568" y="connsiteY9568"/>
              </a:cxn>
              <a:cxn ang="0">
                <a:pos x="connsiteX9569" y="connsiteY9569"/>
              </a:cxn>
              <a:cxn ang="0">
                <a:pos x="connsiteX9570" y="connsiteY9570"/>
              </a:cxn>
              <a:cxn ang="0">
                <a:pos x="connsiteX9571" y="connsiteY9571"/>
              </a:cxn>
              <a:cxn ang="0">
                <a:pos x="connsiteX9572" y="connsiteY9572"/>
              </a:cxn>
              <a:cxn ang="0">
                <a:pos x="connsiteX9573" y="connsiteY9573"/>
              </a:cxn>
              <a:cxn ang="0">
                <a:pos x="connsiteX9574" y="connsiteY9574"/>
              </a:cxn>
              <a:cxn ang="0">
                <a:pos x="connsiteX9575" y="connsiteY9575"/>
              </a:cxn>
              <a:cxn ang="0">
                <a:pos x="connsiteX9576" y="connsiteY9576"/>
              </a:cxn>
              <a:cxn ang="0">
                <a:pos x="connsiteX9577" y="connsiteY9577"/>
              </a:cxn>
              <a:cxn ang="0">
                <a:pos x="connsiteX9578" y="connsiteY9578"/>
              </a:cxn>
              <a:cxn ang="0">
                <a:pos x="connsiteX9579" y="connsiteY9579"/>
              </a:cxn>
              <a:cxn ang="0">
                <a:pos x="connsiteX9580" y="connsiteY9580"/>
              </a:cxn>
              <a:cxn ang="0">
                <a:pos x="connsiteX9581" y="connsiteY9581"/>
              </a:cxn>
              <a:cxn ang="0">
                <a:pos x="connsiteX9582" y="connsiteY9582"/>
              </a:cxn>
              <a:cxn ang="0">
                <a:pos x="connsiteX9583" y="connsiteY9583"/>
              </a:cxn>
              <a:cxn ang="0">
                <a:pos x="connsiteX9584" y="connsiteY9584"/>
              </a:cxn>
              <a:cxn ang="0">
                <a:pos x="connsiteX9585" y="connsiteY9585"/>
              </a:cxn>
              <a:cxn ang="0">
                <a:pos x="connsiteX9586" y="connsiteY9586"/>
              </a:cxn>
              <a:cxn ang="0">
                <a:pos x="connsiteX9587" y="connsiteY9587"/>
              </a:cxn>
              <a:cxn ang="0">
                <a:pos x="connsiteX9588" y="connsiteY9588"/>
              </a:cxn>
              <a:cxn ang="0">
                <a:pos x="connsiteX9589" y="connsiteY9589"/>
              </a:cxn>
              <a:cxn ang="0">
                <a:pos x="connsiteX9590" y="connsiteY9590"/>
              </a:cxn>
              <a:cxn ang="0">
                <a:pos x="connsiteX9591" y="connsiteY9591"/>
              </a:cxn>
              <a:cxn ang="0">
                <a:pos x="connsiteX9592" y="connsiteY9592"/>
              </a:cxn>
              <a:cxn ang="0">
                <a:pos x="connsiteX9593" y="connsiteY9593"/>
              </a:cxn>
              <a:cxn ang="0">
                <a:pos x="connsiteX9594" y="connsiteY9594"/>
              </a:cxn>
              <a:cxn ang="0">
                <a:pos x="connsiteX9595" y="connsiteY9595"/>
              </a:cxn>
              <a:cxn ang="0">
                <a:pos x="connsiteX9596" y="connsiteY9596"/>
              </a:cxn>
              <a:cxn ang="0">
                <a:pos x="connsiteX9597" y="connsiteY9597"/>
              </a:cxn>
              <a:cxn ang="0">
                <a:pos x="connsiteX9598" y="connsiteY9598"/>
              </a:cxn>
              <a:cxn ang="0">
                <a:pos x="connsiteX9599" y="connsiteY9599"/>
              </a:cxn>
              <a:cxn ang="0">
                <a:pos x="connsiteX9600" y="connsiteY9600"/>
              </a:cxn>
              <a:cxn ang="0">
                <a:pos x="connsiteX9601" y="connsiteY9601"/>
              </a:cxn>
              <a:cxn ang="0">
                <a:pos x="connsiteX9602" y="connsiteY9602"/>
              </a:cxn>
              <a:cxn ang="0">
                <a:pos x="connsiteX9603" y="connsiteY9603"/>
              </a:cxn>
              <a:cxn ang="0">
                <a:pos x="connsiteX9604" y="connsiteY9604"/>
              </a:cxn>
              <a:cxn ang="0">
                <a:pos x="connsiteX9605" y="connsiteY9605"/>
              </a:cxn>
              <a:cxn ang="0">
                <a:pos x="connsiteX9606" y="connsiteY9606"/>
              </a:cxn>
              <a:cxn ang="0">
                <a:pos x="connsiteX9607" y="connsiteY9607"/>
              </a:cxn>
              <a:cxn ang="0">
                <a:pos x="connsiteX9608" y="connsiteY9608"/>
              </a:cxn>
              <a:cxn ang="0">
                <a:pos x="connsiteX9609" y="connsiteY9609"/>
              </a:cxn>
              <a:cxn ang="0">
                <a:pos x="connsiteX9610" y="connsiteY9610"/>
              </a:cxn>
              <a:cxn ang="0">
                <a:pos x="connsiteX9611" y="connsiteY9611"/>
              </a:cxn>
              <a:cxn ang="0">
                <a:pos x="connsiteX9612" y="connsiteY9612"/>
              </a:cxn>
              <a:cxn ang="0">
                <a:pos x="connsiteX9613" y="connsiteY9613"/>
              </a:cxn>
              <a:cxn ang="0">
                <a:pos x="connsiteX9614" y="connsiteY9614"/>
              </a:cxn>
              <a:cxn ang="0">
                <a:pos x="connsiteX9615" y="connsiteY9615"/>
              </a:cxn>
              <a:cxn ang="0">
                <a:pos x="connsiteX9616" y="connsiteY9616"/>
              </a:cxn>
              <a:cxn ang="0">
                <a:pos x="connsiteX9617" y="connsiteY9617"/>
              </a:cxn>
              <a:cxn ang="0">
                <a:pos x="connsiteX9618" y="connsiteY9618"/>
              </a:cxn>
              <a:cxn ang="0">
                <a:pos x="connsiteX9619" y="connsiteY9619"/>
              </a:cxn>
              <a:cxn ang="0">
                <a:pos x="connsiteX9620" y="connsiteY9620"/>
              </a:cxn>
              <a:cxn ang="0">
                <a:pos x="connsiteX9621" y="connsiteY9621"/>
              </a:cxn>
              <a:cxn ang="0">
                <a:pos x="connsiteX9622" y="connsiteY9622"/>
              </a:cxn>
              <a:cxn ang="0">
                <a:pos x="connsiteX9623" y="connsiteY9623"/>
              </a:cxn>
              <a:cxn ang="0">
                <a:pos x="connsiteX9624" y="connsiteY9624"/>
              </a:cxn>
              <a:cxn ang="0">
                <a:pos x="connsiteX9625" y="connsiteY9625"/>
              </a:cxn>
              <a:cxn ang="0">
                <a:pos x="connsiteX9626" y="connsiteY9626"/>
              </a:cxn>
              <a:cxn ang="0">
                <a:pos x="connsiteX9627" y="connsiteY9627"/>
              </a:cxn>
              <a:cxn ang="0">
                <a:pos x="connsiteX9628" y="connsiteY9628"/>
              </a:cxn>
              <a:cxn ang="0">
                <a:pos x="connsiteX9629" y="connsiteY9629"/>
              </a:cxn>
              <a:cxn ang="0">
                <a:pos x="connsiteX9630" y="connsiteY9630"/>
              </a:cxn>
              <a:cxn ang="0">
                <a:pos x="connsiteX9631" y="connsiteY9631"/>
              </a:cxn>
              <a:cxn ang="0">
                <a:pos x="connsiteX9632" y="connsiteY9632"/>
              </a:cxn>
              <a:cxn ang="0">
                <a:pos x="connsiteX9633" y="connsiteY9633"/>
              </a:cxn>
              <a:cxn ang="0">
                <a:pos x="connsiteX9634" y="connsiteY9634"/>
              </a:cxn>
              <a:cxn ang="0">
                <a:pos x="connsiteX9635" y="connsiteY9635"/>
              </a:cxn>
              <a:cxn ang="0">
                <a:pos x="connsiteX9636" y="connsiteY9636"/>
              </a:cxn>
              <a:cxn ang="0">
                <a:pos x="connsiteX9637" y="connsiteY9637"/>
              </a:cxn>
              <a:cxn ang="0">
                <a:pos x="connsiteX9638" y="connsiteY9638"/>
              </a:cxn>
              <a:cxn ang="0">
                <a:pos x="connsiteX9639" y="connsiteY9639"/>
              </a:cxn>
              <a:cxn ang="0">
                <a:pos x="connsiteX9640" y="connsiteY9640"/>
              </a:cxn>
              <a:cxn ang="0">
                <a:pos x="connsiteX9641" y="connsiteY9641"/>
              </a:cxn>
              <a:cxn ang="0">
                <a:pos x="connsiteX9642" y="connsiteY9642"/>
              </a:cxn>
              <a:cxn ang="0">
                <a:pos x="connsiteX9643" y="connsiteY9643"/>
              </a:cxn>
              <a:cxn ang="0">
                <a:pos x="connsiteX9644" y="connsiteY9644"/>
              </a:cxn>
              <a:cxn ang="0">
                <a:pos x="connsiteX9645" y="connsiteY9645"/>
              </a:cxn>
              <a:cxn ang="0">
                <a:pos x="connsiteX9646" y="connsiteY9646"/>
              </a:cxn>
              <a:cxn ang="0">
                <a:pos x="connsiteX9647" y="connsiteY9647"/>
              </a:cxn>
              <a:cxn ang="0">
                <a:pos x="connsiteX9648" y="connsiteY9648"/>
              </a:cxn>
              <a:cxn ang="0">
                <a:pos x="connsiteX9649" y="connsiteY9649"/>
              </a:cxn>
              <a:cxn ang="0">
                <a:pos x="connsiteX9650" y="connsiteY9650"/>
              </a:cxn>
              <a:cxn ang="0">
                <a:pos x="connsiteX9651" y="connsiteY9651"/>
              </a:cxn>
              <a:cxn ang="0">
                <a:pos x="connsiteX9652" y="connsiteY9652"/>
              </a:cxn>
              <a:cxn ang="0">
                <a:pos x="connsiteX9653" y="connsiteY9653"/>
              </a:cxn>
              <a:cxn ang="0">
                <a:pos x="connsiteX9654" y="connsiteY9654"/>
              </a:cxn>
              <a:cxn ang="0">
                <a:pos x="connsiteX9655" y="connsiteY9655"/>
              </a:cxn>
              <a:cxn ang="0">
                <a:pos x="connsiteX9656" y="connsiteY9656"/>
              </a:cxn>
              <a:cxn ang="0">
                <a:pos x="connsiteX9657" y="connsiteY9657"/>
              </a:cxn>
              <a:cxn ang="0">
                <a:pos x="connsiteX9658" y="connsiteY9658"/>
              </a:cxn>
              <a:cxn ang="0">
                <a:pos x="connsiteX9659" y="connsiteY9659"/>
              </a:cxn>
              <a:cxn ang="0">
                <a:pos x="connsiteX9660" y="connsiteY9660"/>
              </a:cxn>
              <a:cxn ang="0">
                <a:pos x="connsiteX9661" y="connsiteY9661"/>
              </a:cxn>
              <a:cxn ang="0">
                <a:pos x="connsiteX9662" y="connsiteY9662"/>
              </a:cxn>
              <a:cxn ang="0">
                <a:pos x="connsiteX9663" y="connsiteY9663"/>
              </a:cxn>
              <a:cxn ang="0">
                <a:pos x="connsiteX9664" y="connsiteY9664"/>
              </a:cxn>
              <a:cxn ang="0">
                <a:pos x="connsiteX9665" y="connsiteY9665"/>
              </a:cxn>
              <a:cxn ang="0">
                <a:pos x="connsiteX9666" y="connsiteY9666"/>
              </a:cxn>
              <a:cxn ang="0">
                <a:pos x="connsiteX9667" y="connsiteY9667"/>
              </a:cxn>
              <a:cxn ang="0">
                <a:pos x="connsiteX9668" y="connsiteY9668"/>
              </a:cxn>
              <a:cxn ang="0">
                <a:pos x="connsiteX9669" y="connsiteY9669"/>
              </a:cxn>
              <a:cxn ang="0">
                <a:pos x="connsiteX9670" y="connsiteY9670"/>
              </a:cxn>
              <a:cxn ang="0">
                <a:pos x="connsiteX9671" y="connsiteY9671"/>
              </a:cxn>
              <a:cxn ang="0">
                <a:pos x="connsiteX9672" y="connsiteY9672"/>
              </a:cxn>
              <a:cxn ang="0">
                <a:pos x="connsiteX9673" y="connsiteY9673"/>
              </a:cxn>
              <a:cxn ang="0">
                <a:pos x="connsiteX9674" y="connsiteY9674"/>
              </a:cxn>
              <a:cxn ang="0">
                <a:pos x="connsiteX9675" y="connsiteY9675"/>
              </a:cxn>
              <a:cxn ang="0">
                <a:pos x="connsiteX9676" y="connsiteY9676"/>
              </a:cxn>
              <a:cxn ang="0">
                <a:pos x="connsiteX9677" y="connsiteY9677"/>
              </a:cxn>
              <a:cxn ang="0">
                <a:pos x="connsiteX9678" y="connsiteY9678"/>
              </a:cxn>
              <a:cxn ang="0">
                <a:pos x="connsiteX9679" y="connsiteY9679"/>
              </a:cxn>
              <a:cxn ang="0">
                <a:pos x="connsiteX9680" y="connsiteY9680"/>
              </a:cxn>
              <a:cxn ang="0">
                <a:pos x="connsiteX9681" y="connsiteY9681"/>
              </a:cxn>
              <a:cxn ang="0">
                <a:pos x="connsiteX9682" y="connsiteY9682"/>
              </a:cxn>
              <a:cxn ang="0">
                <a:pos x="connsiteX9683" y="connsiteY9683"/>
              </a:cxn>
              <a:cxn ang="0">
                <a:pos x="connsiteX9684" y="connsiteY9684"/>
              </a:cxn>
              <a:cxn ang="0">
                <a:pos x="connsiteX9685" y="connsiteY9685"/>
              </a:cxn>
              <a:cxn ang="0">
                <a:pos x="connsiteX9686" y="connsiteY9686"/>
              </a:cxn>
              <a:cxn ang="0">
                <a:pos x="connsiteX9687" y="connsiteY9687"/>
              </a:cxn>
              <a:cxn ang="0">
                <a:pos x="connsiteX9688" y="connsiteY9688"/>
              </a:cxn>
              <a:cxn ang="0">
                <a:pos x="connsiteX9689" y="connsiteY9689"/>
              </a:cxn>
              <a:cxn ang="0">
                <a:pos x="connsiteX9690" y="connsiteY9690"/>
              </a:cxn>
              <a:cxn ang="0">
                <a:pos x="connsiteX9691" y="connsiteY9691"/>
              </a:cxn>
              <a:cxn ang="0">
                <a:pos x="connsiteX9692" y="connsiteY9692"/>
              </a:cxn>
              <a:cxn ang="0">
                <a:pos x="connsiteX9693" y="connsiteY9693"/>
              </a:cxn>
              <a:cxn ang="0">
                <a:pos x="connsiteX9694" y="connsiteY9694"/>
              </a:cxn>
              <a:cxn ang="0">
                <a:pos x="connsiteX9695" y="connsiteY9695"/>
              </a:cxn>
              <a:cxn ang="0">
                <a:pos x="connsiteX9696" y="connsiteY9696"/>
              </a:cxn>
              <a:cxn ang="0">
                <a:pos x="connsiteX9697" y="connsiteY9697"/>
              </a:cxn>
              <a:cxn ang="0">
                <a:pos x="connsiteX9698" y="connsiteY9698"/>
              </a:cxn>
              <a:cxn ang="0">
                <a:pos x="connsiteX9699" y="connsiteY9699"/>
              </a:cxn>
              <a:cxn ang="0">
                <a:pos x="connsiteX9700" y="connsiteY9700"/>
              </a:cxn>
              <a:cxn ang="0">
                <a:pos x="connsiteX9701" y="connsiteY9701"/>
              </a:cxn>
              <a:cxn ang="0">
                <a:pos x="connsiteX9702" y="connsiteY9702"/>
              </a:cxn>
              <a:cxn ang="0">
                <a:pos x="connsiteX9703" y="connsiteY9703"/>
              </a:cxn>
              <a:cxn ang="0">
                <a:pos x="connsiteX9704" y="connsiteY9704"/>
              </a:cxn>
              <a:cxn ang="0">
                <a:pos x="connsiteX9705" y="connsiteY9705"/>
              </a:cxn>
              <a:cxn ang="0">
                <a:pos x="connsiteX9706" y="connsiteY9706"/>
              </a:cxn>
              <a:cxn ang="0">
                <a:pos x="connsiteX9707" y="connsiteY9707"/>
              </a:cxn>
              <a:cxn ang="0">
                <a:pos x="connsiteX9708" y="connsiteY9708"/>
              </a:cxn>
              <a:cxn ang="0">
                <a:pos x="connsiteX9709" y="connsiteY9709"/>
              </a:cxn>
              <a:cxn ang="0">
                <a:pos x="connsiteX9710" y="connsiteY9710"/>
              </a:cxn>
              <a:cxn ang="0">
                <a:pos x="connsiteX9711" y="connsiteY9711"/>
              </a:cxn>
              <a:cxn ang="0">
                <a:pos x="connsiteX9712" y="connsiteY9712"/>
              </a:cxn>
              <a:cxn ang="0">
                <a:pos x="connsiteX9713" y="connsiteY9713"/>
              </a:cxn>
              <a:cxn ang="0">
                <a:pos x="connsiteX9714" y="connsiteY9714"/>
              </a:cxn>
              <a:cxn ang="0">
                <a:pos x="connsiteX9715" y="connsiteY9715"/>
              </a:cxn>
              <a:cxn ang="0">
                <a:pos x="connsiteX9716" y="connsiteY9716"/>
              </a:cxn>
              <a:cxn ang="0">
                <a:pos x="connsiteX9717" y="connsiteY9717"/>
              </a:cxn>
              <a:cxn ang="0">
                <a:pos x="connsiteX9718" y="connsiteY9718"/>
              </a:cxn>
              <a:cxn ang="0">
                <a:pos x="connsiteX9719" y="connsiteY9719"/>
              </a:cxn>
              <a:cxn ang="0">
                <a:pos x="connsiteX9720" y="connsiteY9720"/>
              </a:cxn>
              <a:cxn ang="0">
                <a:pos x="connsiteX9721" y="connsiteY9721"/>
              </a:cxn>
              <a:cxn ang="0">
                <a:pos x="connsiteX9722" y="connsiteY9722"/>
              </a:cxn>
              <a:cxn ang="0">
                <a:pos x="connsiteX9723" y="connsiteY9723"/>
              </a:cxn>
              <a:cxn ang="0">
                <a:pos x="connsiteX9724" y="connsiteY9724"/>
              </a:cxn>
              <a:cxn ang="0">
                <a:pos x="connsiteX9725" y="connsiteY9725"/>
              </a:cxn>
              <a:cxn ang="0">
                <a:pos x="connsiteX9726" y="connsiteY9726"/>
              </a:cxn>
              <a:cxn ang="0">
                <a:pos x="connsiteX9727" y="connsiteY9727"/>
              </a:cxn>
              <a:cxn ang="0">
                <a:pos x="connsiteX9728" y="connsiteY9728"/>
              </a:cxn>
              <a:cxn ang="0">
                <a:pos x="connsiteX9729" y="connsiteY9729"/>
              </a:cxn>
              <a:cxn ang="0">
                <a:pos x="connsiteX9730" y="connsiteY9730"/>
              </a:cxn>
              <a:cxn ang="0">
                <a:pos x="connsiteX9731" y="connsiteY9731"/>
              </a:cxn>
              <a:cxn ang="0">
                <a:pos x="connsiteX9732" y="connsiteY9732"/>
              </a:cxn>
              <a:cxn ang="0">
                <a:pos x="connsiteX9733" y="connsiteY9733"/>
              </a:cxn>
              <a:cxn ang="0">
                <a:pos x="connsiteX9734" y="connsiteY9734"/>
              </a:cxn>
              <a:cxn ang="0">
                <a:pos x="connsiteX9735" y="connsiteY9735"/>
              </a:cxn>
              <a:cxn ang="0">
                <a:pos x="connsiteX9736" y="connsiteY9736"/>
              </a:cxn>
              <a:cxn ang="0">
                <a:pos x="connsiteX9737" y="connsiteY9737"/>
              </a:cxn>
              <a:cxn ang="0">
                <a:pos x="connsiteX9738" y="connsiteY9738"/>
              </a:cxn>
              <a:cxn ang="0">
                <a:pos x="connsiteX9739" y="connsiteY9739"/>
              </a:cxn>
              <a:cxn ang="0">
                <a:pos x="connsiteX9740" y="connsiteY9740"/>
              </a:cxn>
              <a:cxn ang="0">
                <a:pos x="connsiteX9741" y="connsiteY9741"/>
              </a:cxn>
              <a:cxn ang="0">
                <a:pos x="connsiteX9742" y="connsiteY9742"/>
              </a:cxn>
              <a:cxn ang="0">
                <a:pos x="connsiteX9743" y="connsiteY9743"/>
              </a:cxn>
              <a:cxn ang="0">
                <a:pos x="connsiteX9744" y="connsiteY9744"/>
              </a:cxn>
              <a:cxn ang="0">
                <a:pos x="connsiteX9745" y="connsiteY9745"/>
              </a:cxn>
              <a:cxn ang="0">
                <a:pos x="connsiteX9746" y="connsiteY9746"/>
              </a:cxn>
              <a:cxn ang="0">
                <a:pos x="connsiteX9747" y="connsiteY9747"/>
              </a:cxn>
              <a:cxn ang="0">
                <a:pos x="connsiteX9748" y="connsiteY9748"/>
              </a:cxn>
              <a:cxn ang="0">
                <a:pos x="connsiteX9749" y="connsiteY9749"/>
              </a:cxn>
              <a:cxn ang="0">
                <a:pos x="connsiteX9750" y="connsiteY9750"/>
              </a:cxn>
              <a:cxn ang="0">
                <a:pos x="connsiteX9751" y="connsiteY9751"/>
              </a:cxn>
              <a:cxn ang="0">
                <a:pos x="connsiteX9752" y="connsiteY9752"/>
              </a:cxn>
              <a:cxn ang="0">
                <a:pos x="connsiteX9753" y="connsiteY9753"/>
              </a:cxn>
              <a:cxn ang="0">
                <a:pos x="connsiteX9754" y="connsiteY9754"/>
              </a:cxn>
              <a:cxn ang="0">
                <a:pos x="connsiteX9755" y="connsiteY9755"/>
              </a:cxn>
              <a:cxn ang="0">
                <a:pos x="connsiteX9756" y="connsiteY9756"/>
              </a:cxn>
              <a:cxn ang="0">
                <a:pos x="connsiteX9757" y="connsiteY9757"/>
              </a:cxn>
              <a:cxn ang="0">
                <a:pos x="connsiteX9758" y="connsiteY9758"/>
              </a:cxn>
              <a:cxn ang="0">
                <a:pos x="connsiteX9759" y="connsiteY9759"/>
              </a:cxn>
              <a:cxn ang="0">
                <a:pos x="connsiteX9760" y="connsiteY9760"/>
              </a:cxn>
              <a:cxn ang="0">
                <a:pos x="connsiteX9761" y="connsiteY9761"/>
              </a:cxn>
              <a:cxn ang="0">
                <a:pos x="connsiteX9762" y="connsiteY9762"/>
              </a:cxn>
              <a:cxn ang="0">
                <a:pos x="connsiteX9763" y="connsiteY9763"/>
              </a:cxn>
              <a:cxn ang="0">
                <a:pos x="connsiteX9764" y="connsiteY9764"/>
              </a:cxn>
              <a:cxn ang="0">
                <a:pos x="connsiteX9765" y="connsiteY9765"/>
              </a:cxn>
              <a:cxn ang="0">
                <a:pos x="connsiteX9766" y="connsiteY9766"/>
              </a:cxn>
              <a:cxn ang="0">
                <a:pos x="connsiteX9767" y="connsiteY9767"/>
              </a:cxn>
              <a:cxn ang="0">
                <a:pos x="connsiteX9768" y="connsiteY9768"/>
              </a:cxn>
              <a:cxn ang="0">
                <a:pos x="connsiteX9769" y="connsiteY9769"/>
              </a:cxn>
              <a:cxn ang="0">
                <a:pos x="connsiteX9770" y="connsiteY9770"/>
              </a:cxn>
              <a:cxn ang="0">
                <a:pos x="connsiteX9771" y="connsiteY9771"/>
              </a:cxn>
              <a:cxn ang="0">
                <a:pos x="connsiteX9772" y="connsiteY9772"/>
              </a:cxn>
              <a:cxn ang="0">
                <a:pos x="connsiteX9773" y="connsiteY9773"/>
              </a:cxn>
              <a:cxn ang="0">
                <a:pos x="connsiteX9774" y="connsiteY9774"/>
              </a:cxn>
              <a:cxn ang="0">
                <a:pos x="connsiteX9775" y="connsiteY9775"/>
              </a:cxn>
              <a:cxn ang="0">
                <a:pos x="connsiteX9776" y="connsiteY9776"/>
              </a:cxn>
              <a:cxn ang="0">
                <a:pos x="connsiteX9777" y="connsiteY9777"/>
              </a:cxn>
              <a:cxn ang="0">
                <a:pos x="connsiteX9778" y="connsiteY9778"/>
              </a:cxn>
              <a:cxn ang="0">
                <a:pos x="connsiteX9779" y="connsiteY9779"/>
              </a:cxn>
              <a:cxn ang="0">
                <a:pos x="connsiteX9780" y="connsiteY9780"/>
              </a:cxn>
              <a:cxn ang="0">
                <a:pos x="connsiteX9781" y="connsiteY9781"/>
              </a:cxn>
              <a:cxn ang="0">
                <a:pos x="connsiteX9782" y="connsiteY9782"/>
              </a:cxn>
              <a:cxn ang="0">
                <a:pos x="connsiteX9783" y="connsiteY9783"/>
              </a:cxn>
              <a:cxn ang="0">
                <a:pos x="connsiteX9784" y="connsiteY9784"/>
              </a:cxn>
              <a:cxn ang="0">
                <a:pos x="connsiteX9785" y="connsiteY9785"/>
              </a:cxn>
              <a:cxn ang="0">
                <a:pos x="connsiteX9786" y="connsiteY9786"/>
              </a:cxn>
              <a:cxn ang="0">
                <a:pos x="connsiteX9787" y="connsiteY9787"/>
              </a:cxn>
              <a:cxn ang="0">
                <a:pos x="connsiteX9788" y="connsiteY9788"/>
              </a:cxn>
              <a:cxn ang="0">
                <a:pos x="connsiteX9789" y="connsiteY9789"/>
              </a:cxn>
              <a:cxn ang="0">
                <a:pos x="connsiteX9790" y="connsiteY9790"/>
              </a:cxn>
              <a:cxn ang="0">
                <a:pos x="connsiteX9791" y="connsiteY9791"/>
              </a:cxn>
              <a:cxn ang="0">
                <a:pos x="connsiteX9792" y="connsiteY9792"/>
              </a:cxn>
              <a:cxn ang="0">
                <a:pos x="connsiteX9793" y="connsiteY9793"/>
              </a:cxn>
              <a:cxn ang="0">
                <a:pos x="connsiteX9794" y="connsiteY9794"/>
              </a:cxn>
              <a:cxn ang="0">
                <a:pos x="connsiteX9795" y="connsiteY9795"/>
              </a:cxn>
              <a:cxn ang="0">
                <a:pos x="connsiteX9796" y="connsiteY9796"/>
              </a:cxn>
              <a:cxn ang="0">
                <a:pos x="connsiteX9797" y="connsiteY9797"/>
              </a:cxn>
              <a:cxn ang="0">
                <a:pos x="connsiteX9798" y="connsiteY9798"/>
              </a:cxn>
              <a:cxn ang="0">
                <a:pos x="connsiteX9799" y="connsiteY9799"/>
              </a:cxn>
              <a:cxn ang="0">
                <a:pos x="connsiteX9800" y="connsiteY9800"/>
              </a:cxn>
              <a:cxn ang="0">
                <a:pos x="connsiteX9801" y="connsiteY9801"/>
              </a:cxn>
              <a:cxn ang="0">
                <a:pos x="connsiteX9802" y="connsiteY9802"/>
              </a:cxn>
              <a:cxn ang="0">
                <a:pos x="connsiteX9803" y="connsiteY9803"/>
              </a:cxn>
              <a:cxn ang="0">
                <a:pos x="connsiteX9804" y="connsiteY9804"/>
              </a:cxn>
              <a:cxn ang="0">
                <a:pos x="connsiteX9805" y="connsiteY9805"/>
              </a:cxn>
              <a:cxn ang="0">
                <a:pos x="connsiteX9806" y="connsiteY9806"/>
              </a:cxn>
              <a:cxn ang="0">
                <a:pos x="connsiteX9807" y="connsiteY9807"/>
              </a:cxn>
              <a:cxn ang="0">
                <a:pos x="connsiteX9808" y="connsiteY9808"/>
              </a:cxn>
              <a:cxn ang="0">
                <a:pos x="connsiteX9809" y="connsiteY9809"/>
              </a:cxn>
              <a:cxn ang="0">
                <a:pos x="connsiteX9810" y="connsiteY9810"/>
              </a:cxn>
              <a:cxn ang="0">
                <a:pos x="connsiteX9811" y="connsiteY9811"/>
              </a:cxn>
              <a:cxn ang="0">
                <a:pos x="connsiteX9812" y="connsiteY9812"/>
              </a:cxn>
              <a:cxn ang="0">
                <a:pos x="connsiteX9813" y="connsiteY9813"/>
              </a:cxn>
              <a:cxn ang="0">
                <a:pos x="connsiteX9814" y="connsiteY9814"/>
              </a:cxn>
              <a:cxn ang="0">
                <a:pos x="connsiteX9815" y="connsiteY9815"/>
              </a:cxn>
              <a:cxn ang="0">
                <a:pos x="connsiteX9816" y="connsiteY9816"/>
              </a:cxn>
              <a:cxn ang="0">
                <a:pos x="connsiteX9817" y="connsiteY9817"/>
              </a:cxn>
              <a:cxn ang="0">
                <a:pos x="connsiteX9818" y="connsiteY9818"/>
              </a:cxn>
              <a:cxn ang="0">
                <a:pos x="connsiteX9819" y="connsiteY9819"/>
              </a:cxn>
              <a:cxn ang="0">
                <a:pos x="connsiteX9820" y="connsiteY9820"/>
              </a:cxn>
              <a:cxn ang="0">
                <a:pos x="connsiteX9821" y="connsiteY9821"/>
              </a:cxn>
              <a:cxn ang="0">
                <a:pos x="connsiteX9822" y="connsiteY9822"/>
              </a:cxn>
              <a:cxn ang="0">
                <a:pos x="connsiteX9823" y="connsiteY9823"/>
              </a:cxn>
              <a:cxn ang="0">
                <a:pos x="connsiteX9824" y="connsiteY9824"/>
              </a:cxn>
              <a:cxn ang="0">
                <a:pos x="connsiteX9825" y="connsiteY9825"/>
              </a:cxn>
              <a:cxn ang="0">
                <a:pos x="connsiteX9826" y="connsiteY9826"/>
              </a:cxn>
              <a:cxn ang="0">
                <a:pos x="connsiteX9827" y="connsiteY9827"/>
              </a:cxn>
              <a:cxn ang="0">
                <a:pos x="connsiteX9828" y="connsiteY9828"/>
              </a:cxn>
              <a:cxn ang="0">
                <a:pos x="connsiteX9829" y="connsiteY9829"/>
              </a:cxn>
              <a:cxn ang="0">
                <a:pos x="connsiteX9830" y="connsiteY9830"/>
              </a:cxn>
              <a:cxn ang="0">
                <a:pos x="connsiteX9831" y="connsiteY9831"/>
              </a:cxn>
              <a:cxn ang="0">
                <a:pos x="connsiteX9832" y="connsiteY9832"/>
              </a:cxn>
              <a:cxn ang="0">
                <a:pos x="connsiteX9833" y="connsiteY9833"/>
              </a:cxn>
              <a:cxn ang="0">
                <a:pos x="connsiteX9834" y="connsiteY9834"/>
              </a:cxn>
              <a:cxn ang="0">
                <a:pos x="connsiteX9835" y="connsiteY9835"/>
              </a:cxn>
              <a:cxn ang="0">
                <a:pos x="connsiteX9836" y="connsiteY9836"/>
              </a:cxn>
              <a:cxn ang="0">
                <a:pos x="connsiteX9837" y="connsiteY9837"/>
              </a:cxn>
              <a:cxn ang="0">
                <a:pos x="connsiteX9838" y="connsiteY9838"/>
              </a:cxn>
              <a:cxn ang="0">
                <a:pos x="connsiteX9839" y="connsiteY9839"/>
              </a:cxn>
              <a:cxn ang="0">
                <a:pos x="connsiteX9840" y="connsiteY9840"/>
              </a:cxn>
              <a:cxn ang="0">
                <a:pos x="connsiteX9841" y="connsiteY9841"/>
              </a:cxn>
              <a:cxn ang="0">
                <a:pos x="connsiteX9842" y="connsiteY9842"/>
              </a:cxn>
              <a:cxn ang="0">
                <a:pos x="connsiteX9843" y="connsiteY9843"/>
              </a:cxn>
              <a:cxn ang="0">
                <a:pos x="connsiteX9844" y="connsiteY9844"/>
              </a:cxn>
              <a:cxn ang="0">
                <a:pos x="connsiteX9845" y="connsiteY9845"/>
              </a:cxn>
              <a:cxn ang="0">
                <a:pos x="connsiteX9846" y="connsiteY9846"/>
              </a:cxn>
              <a:cxn ang="0">
                <a:pos x="connsiteX9847" y="connsiteY9847"/>
              </a:cxn>
              <a:cxn ang="0">
                <a:pos x="connsiteX9848" y="connsiteY9848"/>
              </a:cxn>
              <a:cxn ang="0">
                <a:pos x="connsiteX9849" y="connsiteY9849"/>
              </a:cxn>
              <a:cxn ang="0">
                <a:pos x="connsiteX9850" y="connsiteY9850"/>
              </a:cxn>
              <a:cxn ang="0">
                <a:pos x="connsiteX9851" y="connsiteY9851"/>
              </a:cxn>
              <a:cxn ang="0">
                <a:pos x="connsiteX9852" y="connsiteY9852"/>
              </a:cxn>
              <a:cxn ang="0">
                <a:pos x="connsiteX9853" y="connsiteY9853"/>
              </a:cxn>
              <a:cxn ang="0">
                <a:pos x="connsiteX9854" y="connsiteY9854"/>
              </a:cxn>
              <a:cxn ang="0">
                <a:pos x="connsiteX9855" y="connsiteY9855"/>
              </a:cxn>
              <a:cxn ang="0">
                <a:pos x="connsiteX9856" y="connsiteY9856"/>
              </a:cxn>
              <a:cxn ang="0">
                <a:pos x="connsiteX9857" y="connsiteY9857"/>
              </a:cxn>
              <a:cxn ang="0">
                <a:pos x="connsiteX9858" y="connsiteY9858"/>
              </a:cxn>
              <a:cxn ang="0">
                <a:pos x="connsiteX9859" y="connsiteY9859"/>
              </a:cxn>
              <a:cxn ang="0">
                <a:pos x="connsiteX9860" y="connsiteY9860"/>
              </a:cxn>
              <a:cxn ang="0">
                <a:pos x="connsiteX9861" y="connsiteY9861"/>
              </a:cxn>
              <a:cxn ang="0">
                <a:pos x="connsiteX9862" y="connsiteY9862"/>
              </a:cxn>
              <a:cxn ang="0">
                <a:pos x="connsiteX9863" y="connsiteY9863"/>
              </a:cxn>
              <a:cxn ang="0">
                <a:pos x="connsiteX9864" y="connsiteY9864"/>
              </a:cxn>
              <a:cxn ang="0">
                <a:pos x="connsiteX9865" y="connsiteY9865"/>
              </a:cxn>
              <a:cxn ang="0">
                <a:pos x="connsiteX9866" y="connsiteY9866"/>
              </a:cxn>
              <a:cxn ang="0">
                <a:pos x="connsiteX9867" y="connsiteY9867"/>
              </a:cxn>
              <a:cxn ang="0">
                <a:pos x="connsiteX9868" y="connsiteY9868"/>
              </a:cxn>
              <a:cxn ang="0">
                <a:pos x="connsiteX9869" y="connsiteY9869"/>
              </a:cxn>
              <a:cxn ang="0">
                <a:pos x="connsiteX9870" y="connsiteY9870"/>
              </a:cxn>
              <a:cxn ang="0">
                <a:pos x="connsiteX9871" y="connsiteY9871"/>
              </a:cxn>
              <a:cxn ang="0">
                <a:pos x="connsiteX9872" y="connsiteY9872"/>
              </a:cxn>
              <a:cxn ang="0">
                <a:pos x="connsiteX9873" y="connsiteY9873"/>
              </a:cxn>
              <a:cxn ang="0">
                <a:pos x="connsiteX9874" y="connsiteY9874"/>
              </a:cxn>
              <a:cxn ang="0">
                <a:pos x="connsiteX9875" y="connsiteY9875"/>
              </a:cxn>
              <a:cxn ang="0">
                <a:pos x="connsiteX9876" y="connsiteY9876"/>
              </a:cxn>
              <a:cxn ang="0">
                <a:pos x="connsiteX9877" y="connsiteY9877"/>
              </a:cxn>
              <a:cxn ang="0">
                <a:pos x="connsiteX9878" y="connsiteY9878"/>
              </a:cxn>
              <a:cxn ang="0">
                <a:pos x="connsiteX9879" y="connsiteY9879"/>
              </a:cxn>
              <a:cxn ang="0">
                <a:pos x="connsiteX9880" y="connsiteY9880"/>
              </a:cxn>
              <a:cxn ang="0">
                <a:pos x="connsiteX9881" y="connsiteY9881"/>
              </a:cxn>
              <a:cxn ang="0">
                <a:pos x="connsiteX9882" y="connsiteY9882"/>
              </a:cxn>
              <a:cxn ang="0">
                <a:pos x="connsiteX9883" y="connsiteY9883"/>
              </a:cxn>
              <a:cxn ang="0">
                <a:pos x="connsiteX9884" y="connsiteY9884"/>
              </a:cxn>
              <a:cxn ang="0">
                <a:pos x="connsiteX9885" y="connsiteY9885"/>
              </a:cxn>
              <a:cxn ang="0">
                <a:pos x="connsiteX9886" y="connsiteY9886"/>
              </a:cxn>
              <a:cxn ang="0">
                <a:pos x="connsiteX9887" y="connsiteY9887"/>
              </a:cxn>
              <a:cxn ang="0">
                <a:pos x="connsiteX9888" y="connsiteY9888"/>
              </a:cxn>
              <a:cxn ang="0">
                <a:pos x="connsiteX9889" y="connsiteY9889"/>
              </a:cxn>
              <a:cxn ang="0">
                <a:pos x="connsiteX9890" y="connsiteY9890"/>
              </a:cxn>
              <a:cxn ang="0">
                <a:pos x="connsiteX9891" y="connsiteY9891"/>
              </a:cxn>
              <a:cxn ang="0">
                <a:pos x="connsiteX9892" y="connsiteY9892"/>
              </a:cxn>
              <a:cxn ang="0">
                <a:pos x="connsiteX9893" y="connsiteY9893"/>
              </a:cxn>
              <a:cxn ang="0">
                <a:pos x="connsiteX9894" y="connsiteY9894"/>
              </a:cxn>
              <a:cxn ang="0">
                <a:pos x="connsiteX9895" y="connsiteY9895"/>
              </a:cxn>
              <a:cxn ang="0">
                <a:pos x="connsiteX9896" y="connsiteY9896"/>
              </a:cxn>
              <a:cxn ang="0">
                <a:pos x="connsiteX9897" y="connsiteY9897"/>
              </a:cxn>
              <a:cxn ang="0">
                <a:pos x="connsiteX9898" y="connsiteY9898"/>
              </a:cxn>
              <a:cxn ang="0">
                <a:pos x="connsiteX9899" y="connsiteY9899"/>
              </a:cxn>
              <a:cxn ang="0">
                <a:pos x="connsiteX9900" y="connsiteY9900"/>
              </a:cxn>
              <a:cxn ang="0">
                <a:pos x="connsiteX9901" y="connsiteY9901"/>
              </a:cxn>
              <a:cxn ang="0">
                <a:pos x="connsiteX9902" y="connsiteY9902"/>
              </a:cxn>
              <a:cxn ang="0">
                <a:pos x="connsiteX9903" y="connsiteY9903"/>
              </a:cxn>
              <a:cxn ang="0">
                <a:pos x="connsiteX9904" y="connsiteY9904"/>
              </a:cxn>
              <a:cxn ang="0">
                <a:pos x="connsiteX9905" y="connsiteY9905"/>
              </a:cxn>
              <a:cxn ang="0">
                <a:pos x="connsiteX9906" y="connsiteY9906"/>
              </a:cxn>
              <a:cxn ang="0">
                <a:pos x="connsiteX9907" y="connsiteY9907"/>
              </a:cxn>
              <a:cxn ang="0">
                <a:pos x="connsiteX9908" y="connsiteY9908"/>
              </a:cxn>
              <a:cxn ang="0">
                <a:pos x="connsiteX9909" y="connsiteY9909"/>
              </a:cxn>
              <a:cxn ang="0">
                <a:pos x="connsiteX9910" y="connsiteY9910"/>
              </a:cxn>
              <a:cxn ang="0">
                <a:pos x="connsiteX9911" y="connsiteY9911"/>
              </a:cxn>
              <a:cxn ang="0">
                <a:pos x="connsiteX9912" y="connsiteY9912"/>
              </a:cxn>
              <a:cxn ang="0">
                <a:pos x="connsiteX9913" y="connsiteY9913"/>
              </a:cxn>
              <a:cxn ang="0">
                <a:pos x="connsiteX9914" y="connsiteY9914"/>
              </a:cxn>
              <a:cxn ang="0">
                <a:pos x="connsiteX9915" y="connsiteY9915"/>
              </a:cxn>
              <a:cxn ang="0">
                <a:pos x="connsiteX9916" y="connsiteY9916"/>
              </a:cxn>
              <a:cxn ang="0">
                <a:pos x="connsiteX9917" y="connsiteY9917"/>
              </a:cxn>
              <a:cxn ang="0">
                <a:pos x="connsiteX9918" y="connsiteY9918"/>
              </a:cxn>
              <a:cxn ang="0">
                <a:pos x="connsiteX9919" y="connsiteY9919"/>
              </a:cxn>
              <a:cxn ang="0">
                <a:pos x="connsiteX9920" y="connsiteY9920"/>
              </a:cxn>
              <a:cxn ang="0">
                <a:pos x="connsiteX9921" y="connsiteY9921"/>
              </a:cxn>
              <a:cxn ang="0">
                <a:pos x="connsiteX9922" y="connsiteY9922"/>
              </a:cxn>
              <a:cxn ang="0">
                <a:pos x="connsiteX9923" y="connsiteY9923"/>
              </a:cxn>
              <a:cxn ang="0">
                <a:pos x="connsiteX9924" y="connsiteY9924"/>
              </a:cxn>
              <a:cxn ang="0">
                <a:pos x="connsiteX9925" y="connsiteY9925"/>
              </a:cxn>
              <a:cxn ang="0">
                <a:pos x="connsiteX9926" y="connsiteY9926"/>
              </a:cxn>
              <a:cxn ang="0">
                <a:pos x="connsiteX9927" y="connsiteY9927"/>
              </a:cxn>
              <a:cxn ang="0">
                <a:pos x="connsiteX9928" y="connsiteY9928"/>
              </a:cxn>
              <a:cxn ang="0">
                <a:pos x="connsiteX9929" y="connsiteY9929"/>
              </a:cxn>
              <a:cxn ang="0">
                <a:pos x="connsiteX9930" y="connsiteY9930"/>
              </a:cxn>
              <a:cxn ang="0">
                <a:pos x="connsiteX9931" y="connsiteY9931"/>
              </a:cxn>
              <a:cxn ang="0">
                <a:pos x="connsiteX9932" y="connsiteY9932"/>
              </a:cxn>
              <a:cxn ang="0">
                <a:pos x="connsiteX9933" y="connsiteY9933"/>
              </a:cxn>
              <a:cxn ang="0">
                <a:pos x="connsiteX9934" y="connsiteY9934"/>
              </a:cxn>
              <a:cxn ang="0">
                <a:pos x="connsiteX9935" y="connsiteY9935"/>
              </a:cxn>
              <a:cxn ang="0">
                <a:pos x="connsiteX9936" y="connsiteY9936"/>
              </a:cxn>
              <a:cxn ang="0">
                <a:pos x="connsiteX9937" y="connsiteY9937"/>
              </a:cxn>
              <a:cxn ang="0">
                <a:pos x="connsiteX9938" y="connsiteY9938"/>
              </a:cxn>
              <a:cxn ang="0">
                <a:pos x="connsiteX9939" y="connsiteY9939"/>
              </a:cxn>
              <a:cxn ang="0">
                <a:pos x="connsiteX9940" y="connsiteY9940"/>
              </a:cxn>
              <a:cxn ang="0">
                <a:pos x="connsiteX9941" y="connsiteY9941"/>
              </a:cxn>
              <a:cxn ang="0">
                <a:pos x="connsiteX9942" y="connsiteY9942"/>
              </a:cxn>
              <a:cxn ang="0">
                <a:pos x="connsiteX9943" y="connsiteY9943"/>
              </a:cxn>
              <a:cxn ang="0">
                <a:pos x="connsiteX9944" y="connsiteY9944"/>
              </a:cxn>
              <a:cxn ang="0">
                <a:pos x="connsiteX9945" y="connsiteY9945"/>
              </a:cxn>
              <a:cxn ang="0">
                <a:pos x="connsiteX9946" y="connsiteY9946"/>
              </a:cxn>
              <a:cxn ang="0">
                <a:pos x="connsiteX9947" y="connsiteY9947"/>
              </a:cxn>
              <a:cxn ang="0">
                <a:pos x="connsiteX9948" y="connsiteY9948"/>
              </a:cxn>
              <a:cxn ang="0">
                <a:pos x="connsiteX9949" y="connsiteY9949"/>
              </a:cxn>
              <a:cxn ang="0">
                <a:pos x="connsiteX9950" y="connsiteY9950"/>
              </a:cxn>
              <a:cxn ang="0">
                <a:pos x="connsiteX9951" y="connsiteY9951"/>
              </a:cxn>
              <a:cxn ang="0">
                <a:pos x="connsiteX9952" y="connsiteY9952"/>
              </a:cxn>
              <a:cxn ang="0">
                <a:pos x="connsiteX9953" y="connsiteY9953"/>
              </a:cxn>
              <a:cxn ang="0">
                <a:pos x="connsiteX9954" y="connsiteY9954"/>
              </a:cxn>
              <a:cxn ang="0">
                <a:pos x="connsiteX9955" y="connsiteY9955"/>
              </a:cxn>
              <a:cxn ang="0">
                <a:pos x="connsiteX9956" y="connsiteY9956"/>
              </a:cxn>
              <a:cxn ang="0">
                <a:pos x="connsiteX9957" y="connsiteY9957"/>
              </a:cxn>
              <a:cxn ang="0">
                <a:pos x="connsiteX9958" y="connsiteY9958"/>
              </a:cxn>
              <a:cxn ang="0">
                <a:pos x="connsiteX9959" y="connsiteY9959"/>
              </a:cxn>
              <a:cxn ang="0">
                <a:pos x="connsiteX9960" y="connsiteY9960"/>
              </a:cxn>
              <a:cxn ang="0">
                <a:pos x="connsiteX9961" y="connsiteY9961"/>
              </a:cxn>
              <a:cxn ang="0">
                <a:pos x="connsiteX9962" y="connsiteY9962"/>
              </a:cxn>
              <a:cxn ang="0">
                <a:pos x="connsiteX9963" y="connsiteY9963"/>
              </a:cxn>
              <a:cxn ang="0">
                <a:pos x="connsiteX9964" y="connsiteY9964"/>
              </a:cxn>
              <a:cxn ang="0">
                <a:pos x="connsiteX9965" y="connsiteY9965"/>
              </a:cxn>
              <a:cxn ang="0">
                <a:pos x="connsiteX9966" y="connsiteY9966"/>
              </a:cxn>
              <a:cxn ang="0">
                <a:pos x="connsiteX9967" y="connsiteY9967"/>
              </a:cxn>
              <a:cxn ang="0">
                <a:pos x="connsiteX9968" y="connsiteY9968"/>
              </a:cxn>
              <a:cxn ang="0">
                <a:pos x="connsiteX9969" y="connsiteY9969"/>
              </a:cxn>
              <a:cxn ang="0">
                <a:pos x="connsiteX9970" y="connsiteY9970"/>
              </a:cxn>
              <a:cxn ang="0">
                <a:pos x="connsiteX9971" y="connsiteY9971"/>
              </a:cxn>
              <a:cxn ang="0">
                <a:pos x="connsiteX9972" y="connsiteY9972"/>
              </a:cxn>
              <a:cxn ang="0">
                <a:pos x="connsiteX9973" y="connsiteY9973"/>
              </a:cxn>
              <a:cxn ang="0">
                <a:pos x="connsiteX9974" y="connsiteY9974"/>
              </a:cxn>
              <a:cxn ang="0">
                <a:pos x="connsiteX9975" y="connsiteY9975"/>
              </a:cxn>
              <a:cxn ang="0">
                <a:pos x="connsiteX9976" y="connsiteY9976"/>
              </a:cxn>
              <a:cxn ang="0">
                <a:pos x="connsiteX9977" y="connsiteY9977"/>
              </a:cxn>
              <a:cxn ang="0">
                <a:pos x="connsiteX9978" y="connsiteY9978"/>
              </a:cxn>
              <a:cxn ang="0">
                <a:pos x="connsiteX9979" y="connsiteY9979"/>
              </a:cxn>
              <a:cxn ang="0">
                <a:pos x="connsiteX9980" y="connsiteY9980"/>
              </a:cxn>
              <a:cxn ang="0">
                <a:pos x="connsiteX9981" y="connsiteY9981"/>
              </a:cxn>
              <a:cxn ang="0">
                <a:pos x="connsiteX9982" y="connsiteY9982"/>
              </a:cxn>
              <a:cxn ang="0">
                <a:pos x="connsiteX9983" y="connsiteY9983"/>
              </a:cxn>
              <a:cxn ang="0">
                <a:pos x="connsiteX9984" y="connsiteY9984"/>
              </a:cxn>
              <a:cxn ang="0">
                <a:pos x="connsiteX9985" y="connsiteY9985"/>
              </a:cxn>
              <a:cxn ang="0">
                <a:pos x="connsiteX9986" y="connsiteY9986"/>
              </a:cxn>
              <a:cxn ang="0">
                <a:pos x="connsiteX9987" y="connsiteY9987"/>
              </a:cxn>
              <a:cxn ang="0">
                <a:pos x="connsiteX9988" y="connsiteY9988"/>
              </a:cxn>
              <a:cxn ang="0">
                <a:pos x="connsiteX9989" y="connsiteY9989"/>
              </a:cxn>
              <a:cxn ang="0">
                <a:pos x="connsiteX9990" y="connsiteY9990"/>
              </a:cxn>
              <a:cxn ang="0">
                <a:pos x="connsiteX9991" y="connsiteY9991"/>
              </a:cxn>
              <a:cxn ang="0">
                <a:pos x="connsiteX9992" y="connsiteY9992"/>
              </a:cxn>
              <a:cxn ang="0">
                <a:pos x="connsiteX9993" y="connsiteY9993"/>
              </a:cxn>
              <a:cxn ang="0">
                <a:pos x="connsiteX9994" y="connsiteY9994"/>
              </a:cxn>
              <a:cxn ang="0">
                <a:pos x="connsiteX9995" y="connsiteY9995"/>
              </a:cxn>
              <a:cxn ang="0">
                <a:pos x="connsiteX9996" y="connsiteY9996"/>
              </a:cxn>
              <a:cxn ang="0">
                <a:pos x="connsiteX9997" y="connsiteY9997"/>
              </a:cxn>
              <a:cxn ang="0">
                <a:pos x="connsiteX9998" y="connsiteY9998"/>
              </a:cxn>
              <a:cxn ang="0">
                <a:pos x="connsiteX9999" y="connsiteY9999"/>
              </a:cxn>
              <a:cxn ang="0">
                <a:pos x="connsiteX10000" y="connsiteY10000"/>
              </a:cxn>
              <a:cxn ang="0">
                <a:pos x="connsiteX10001" y="connsiteY10001"/>
              </a:cxn>
              <a:cxn ang="0">
                <a:pos x="connsiteX10002" y="connsiteY10002"/>
              </a:cxn>
              <a:cxn ang="0">
                <a:pos x="connsiteX10003" y="connsiteY10003"/>
              </a:cxn>
              <a:cxn ang="0">
                <a:pos x="connsiteX10004" y="connsiteY10004"/>
              </a:cxn>
              <a:cxn ang="0">
                <a:pos x="connsiteX10005" y="connsiteY10005"/>
              </a:cxn>
              <a:cxn ang="0">
                <a:pos x="connsiteX10006" y="connsiteY10006"/>
              </a:cxn>
              <a:cxn ang="0">
                <a:pos x="connsiteX10007" y="connsiteY10007"/>
              </a:cxn>
              <a:cxn ang="0">
                <a:pos x="connsiteX10008" y="connsiteY10008"/>
              </a:cxn>
              <a:cxn ang="0">
                <a:pos x="connsiteX10009" y="connsiteY10009"/>
              </a:cxn>
              <a:cxn ang="0">
                <a:pos x="connsiteX10010" y="connsiteY10010"/>
              </a:cxn>
              <a:cxn ang="0">
                <a:pos x="connsiteX10011" y="connsiteY10011"/>
              </a:cxn>
              <a:cxn ang="0">
                <a:pos x="connsiteX10012" y="connsiteY10012"/>
              </a:cxn>
              <a:cxn ang="0">
                <a:pos x="connsiteX10013" y="connsiteY10013"/>
              </a:cxn>
              <a:cxn ang="0">
                <a:pos x="connsiteX10014" y="connsiteY10014"/>
              </a:cxn>
              <a:cxn ang="0">
                <a:pos x="connsiteX10015" y="connsiteY10015"/>
              </a:cxn>
              <a:cxn ang="0">
                <a:pos x="connsiteX10016" y="connsiteY10016"/>
              </a:cxn>
              <a:cxn ang="0">
                <a:pos x="connsiteX10017" y="connsiteY10017"/>
              </a:cxn>
              <a:cxn ang="0">
                <a:pos x="connsiteX10018" y="connsiteY10018"/>
              </a:cxn>
              <a:cxn ang="0">
                <a:pos x="connsiteX10019" y="connsiteY10019"/>
              </a:cxn>
              <a:cxn ang="0">
                <a:pos x="connsiteX10020" y="connsiteY10020"/>
              </a:cxn>
              <a:cxn ang="0">
                <a:pos x="connsiteX10021" y="connsiteY10021"/>
              </a:cxn>
              <a:cxn ang="0">
                <a:pos x="connsiteX10022" y="connsiteY10022"/>
              </a:cxn>
              <a:cxn ang="0">
                <a:pos x="connsiteX10023" y="connsiteY10023"/>
              </a:cxn>
              <a:cxn ang="0">
                <a:pos x="connsiteX10024" y="connsiteY10024"/>
              </a:cxn>
              <a:cxn ang="0">
                <a:pos x="connsiteX10025" y="connsiteY10025"/>
              </a:cxn>
              <a:cxn ang="0">
                <a:pos x="connsiteX10026" y="connsiteY10026"/>
              </a:cxn>
              <a:cxn ang="0">
                <a:pos x="connsiteX10027" y="connsiteY10027"/>
              </a:cxn>
              <a:cxn ang="0">
                <a:pos x="connsiteX10028" y="connsiteY10028"/>
              </a:cxn>
              <a:cxn ang="0">
                <a:pos x="connsiteX10029" y="connsiteY10029"/>
              </a:cxn>
              <a:cxn ang="0">
                <a:pos x="connsiteX10030" y="connsiteY10030"/>
              </a:cxn>
              <a:cxn ang="0">
                <a:pos x="connsiteX10031" y="connsiteY10031"/>
              </a:cxn>
              <a:cxn ang="0">
                <a:pos x="connsiteX10032" y="connsiteY10032"/>
              </a:cxn>
              <a:cxn ang="0">
                <a:pos x="connsiteX10033" y="connsiteY10033"/>
              </a:cxn>
              <a:cxn ang="0">
                <a:pos x="connsiteX10034" y="connsiteY10034"/>
              </a:cxn>
              <a:cxn ang="0">
                <a:pos x="connsiteX10035" y="connsiteY10035"/>
              </a:cxn>
              <a:cxn ang="0">
                <a:pos x="connsiteX10036" y="connsiteY10036"/>
              </a:cxn>
              <a:cxn ang="0">
                <a:pos x="connsiteX10037" y="connsiteY10037"/>
              </a:cxn>
              <a:cxn ang="0">
                <a:pos x="connsiteX10038" y="connsiteY10038"/>
              </a:cxn>
              <a:cxn ang="0">
                <a:pos x="connsiteX10039" y="connsiteY10039"/>
              </a:cxn>
              <a:cxn ang="0">
                <a:pos x="connsiteX10040" y="connsiteY10040"/>
              </a:cxn>
              <a:cxn ang="0">
                <a:pos x="connsiteX10041" y="connsiteY10041"/>
              </a:cxn>
              <a:cxn ang="0">
                <a:pos x="connsiteX10042" y="connsiteY10042"/>
              </a:cxn>
              <a:cxn ang="0">
                <a:pos x="connsiteX10043" y="connsiteY10043"/>
              </a:cxn>
              <a:cxn ang="0">
                <a:pos x="connsiteX10044" y="connsiteY10044"/>
              </a:cxn>
              <a:cxn ang="0">
                <a:pos x="connsiteX10045" y="connsiteY10045"/>
              </a:cxn>
              <a:cxn ang="0">
                <a:pos x="connsiteX10046" y="connsiteY10046"/>
              </a:cxn>
              <a:cxn ang="0">
                <a:pos x="connsiteX10047" y="connsiteY10047"/>
              </a:cxn>
              <a:cxn ang="0">
                <a:pos x="connsiteX10048" y="connsiteY10048"/>
              </a:cxn>
              <a:cxn ang="0">
                <a:pos x="connsiteX10049" y="connsiteY10049"/>
              </a:cxn>
              <a:cxn ang="0">
                <a:pos x="connsiteX10050" y="connsiteY10050"/>
              </a:cxn>
              <a:cxn ang="0">
                <a:pos x="connsiteX10051" y="connsiteY10051"/>
              </a:cxn>
              <a:cxn ang="0">
                <a:pos x="connsiteX10052" y="connsiteY10052"/>
              </a:cxn>
              <a:cxn ang="0">
                <a:pos x="connsiteX10053" y="connsiteY10053"/>
              </a:cxn>
              <a:cxn ang="0">
                <a:pos x="connsiteX10054" y="connsiteY10054"/>
              </a:cxn>
              <a:cxn ang="0">
                <a:pos x="connsiteX10055" y="connsiteY10055"/>
              </a:cxn>
              <a:cxn ang="0">
                <a:pos x="connsiteX10056" y="connsiteY10056"/>
              </a:cxn>
              <a:cxn ang="0">
                <a:pos x="connsiteX10057" y="connsiteY10057"/>
              </a:cxn>
              <a:cxn ang="0">
                <a:pos x="connsiteX10058" y="connsiteY10058"/>
              </a:cxn>
              <a:cxn ang="0">
                <a:pos x="connsiteX10059" y="connsiteY10059"/>
              </a:cxn>
              <a:cxn ang="0">
                <a:pos x="connsiteX10060" y="connsiteY10060"/>
              </a:cxn>
              <a:cxn ang="0">
                <a:pos x="connsiteX10061" y="connsiteY10061"/>
              </a:cxn>
              <a:cxn ang="0">
                <a:pos x="connsiteX10062" y="connsiteY10062"/>
              </a:cxn>
              <a:cxn ang="0">
                <a:pos x="connsiteX10063" y="connsiteY10063"/>
              </a:cxn>
              <a:cxn ang="0">
                <a:pos x="connsiteX10064" y="connsiteY10064"/>
              </a:cxn>
              <a:cxn ang="0">
                <a:pos x="connsiteX10065" y="connsiteY10065"/>
              </a:cxn>
              <a:cxn ang="0">
                <a:pos x="connsiteX10066" y="connsiteY10066"/>
              </a:cxn>
              <a:cxn ang="0">
                <a:pos x="connsiteX10067" y="connsiteY10067"/>
              </a:cxn>
              <a:cxn ang="0">
                <a:pos x="connsiteX10068" y="connsiteY10068"/>
              </a:cxn>
              <a:cxn ang="0">
                <a:pos x="connsiteX10069" y="connsiteY10069"/>
              </a:cxn>
              <a:cxn ang="0">
                <a:pos x="connsiteX10070" y="connsiteY10070"/>
              </a:cxn>
              <a:cxn ang="0">
                <a:pos x="connsiteX10071" y="connsiteY10071"/>
              </a:cxn>
              <a:cxn ang="0">
                <a:pos x="connsiteX10072" y="connsiteY10072"/>
              </a:cxn>
              <a:cxn ang="0">
                <a:pos x="connsiteX10073" y="connsiteY10073"/>
              </a:cxn>
              <a:cxn ang="0">
                <a:pos x="connsiteX10074" y="connsiteY10074"/>
              </a:cxn>
              <a:cxn ang="0">
                <a:pos x="connsiteX10075" y="connsiteY10075"/>
              </a:cxn>
              <a:cxn ang="0">
                <a:pos x="connsiteX10076" y="connsiteY10076"/>
              </a:cxn>
              <a:cxn ang="0">
                <a:pos x="connsiteX10077" y="connsiteY10077"/>
              </a:cxn>
              <a:cxn ang="0">
                <a:pos x="connsiteX10078" y="connsiteY10078"/>
              </a:cxn>
              <a:cxn ang="0">
                <a:pos x="connsiteX10079" y="connsiteY10079"/>
              </a:cxn>
              <a:cxn ang="0">
                <a:pos x="connsiteX10080" y="connsiteY10080"/>
              </a:cxn>
              <a:cxn ang="0">
                <a:pos x="connsiteX10081" y="connsiteY10081"/>
              </a:cxn>
              <a:cxn ang="0">
                <a:pos x="connsiteX10082" y="connsiteY10082"/>
              </a:cxn>
              <a:cxn ang="0">
                <a:pos x="connsiteX10083" y="connsiteY10083"/>
              </a:cxn>
              <a:cxn ang="0">
                <a:pos x="connsiteX10084" y="connsiteY10084"/>
              </a:cxn>
              <a:cxn ang="0">
                <a:pos x="connsiteX10085" y="connsiteY10085"/>
              </a:cxn>
              <a:cxn ang="0">
                <a:pos x="connsiteX10086" y="connsiteY10086"/>
              </a:cxn>
              <a:cxn ang="0">
                <a:pos x="connsiteX10087" y="connsiteY10087"/>
              </a:cxn>
              <a:cxn ang="0">
                <a:pos x="connsiteX10088" y="connsiteY10088"/>
              </a:cxn>
              <a:cxn ang="0">
                <a:pos x="connsiteX10089" y="connsiteY10089"/>
              </a:cxn>
              <a:cxn ang="0">
                <a:pos x="connsiteX10090" y="connsiteY10090"/>
              </a:cxn>
              <a:cxn ang="0">
                <a:pos x="connsiteX10091" y="connsiteY10091"/>
              </a:cxn>
              <a:cxn ang="0">
                <a:pos x="connsiteX10092" y="connsiteY10092"/>
              </a:cxn>
              <a:cxn ang="0">
                <a:pos x="connsiteX10093" y="connsiteY10093"/>
              </a:cxn>
              <a:cxn ang="0">
                <a:pos x="connsiteX10094" y="connsiteY10094"/>
              </a:cxn>
              <a:cxn ang="0">
                <a:pos x="connsiteX10095" y="connsiteY10095"/>
              </a:cxn>
              <a:cxn ang="0">
                <a:pos x="connsiteX10096" y="connsiteY10096"/>
              </a:cxn>
              <a:cxn ang="0">
                <a:pos x="connsiteX10097" y="connsiteY10097"/>
              </a:cxn>
              <a:cxn ang="0">
                <a:pos x="connsiteX10098" y="connsiteY10098"/>
              </a:cxn>
              <a:cxn ang="0">
                <a:pos x="connsiteX10099" y="connsiteY10099"/>
              </a:cxn>
              <a:cxn ang="0">
                <a:pos x="connsiteX10100" y="connsiteY10100"/>
              </a:cxn>
              <a:cxn ang="0">
                <a:pos x="connsiteX10101" y="connsiteY10101"/>
              </a:cxn>
              <a:cxn ang="0">
                <a:pos x="connsiteX10102" y="connsiteY10102"/>
              </a:cxn>
              <a:cxn ang="0">
                <a:pos x="connsiteX10103" y="connsiteY10103"/>
              </a:cxn>
              <a:cxn ang="0">
                <a:pos x="connsiteX10104" y="connsiteY10104"/>
              </a:cxn>
              <a:cxn ang="0">
                <a:pos x="connsiteX10105" y="connsiteY10105"/>
              </a:cxn>
              <a:cxn ang="0">
                <a:pos x="connsiteX10106" y="connsiteY10106"/>
              </a:cxn>
              <a:cxn ang="0">
                <a:pos x="connsiteX10107" y="connsiteY10107"/>
              </a:cxn>
              <a:cxn ang="0">
                <a:pos x="connsiteX10108" y="connsiteY10108"/>
              </a:cxn>
              <a:cxn ang="0">
                <a:pos x="connsiteX10109" y="connsiteY10109"/>
              </a:cxn>
              <a:cxn ang="0">
                <a:pos x="connsiteX10110" y="connsiteY10110"/>
              </a:cxn>
              <a:cxn ang="0">
                <a:pos x="connsiteX10111" y="connsiteY10111"/>
              </a:cxn>
              <a:cxn ang="0">
                <a:pos x="connsiteX10112" y="connsiteY10112"/>
              </a:cxn>
              <a:cxn ang="0">
                <a:pos x="connsiteX10113" y="connsiteY10113"/>
              </a:cxn>
              <a:cxn ang="0">
                <a:pos x="connsiteX10114" y="connsiteY10114"/>
              </a:cxn>
              <a:cxn ang="0">
                <a:pos x="connsiteX10115" y="connsiteY10115"/>
              </a:cxn>
              <a:cxn ang="0">
                <a:pos x="connsiteX10116" y="connsiteY10116"/>
              </a:cxn>
              <a:cxn ang="0">
                <a:pos x="connsiteX10117" y="connsiteY10117"/>
              </a:cxn>
              <a:cxn ang="0">
                <a:pos x="connsiteX10118" y="connsiteY10118"/>
              </a:cxn>
              <a:cxn ang="0">
                <a:pos x="connsiteX10119" y="connsiteY10119"/>
              </a:cxn>
              <a:cxn ang="0">
                <a:pos x="connsiteX10120" y="connsiteY10120"/>
              </a:cxn>
              <a:cxn ang="0">
                <a:pos x="connsiteX10121" y="connsiteY10121"/>
              </a:cxn>
              <a:cxn ang="0">
                <a:pos x="connsiteX10122" y="connsiteY10122"/>
              </a:cxn>
              <a:cxn ang="0">
                <a:pos x="connsiteX10123" y="connsiteY10123"/>
              </a:cxn>
              <a:cxn ang="0">
                <a:pos x="connsiteX10124" y="connsiteY10124"/>
              </a:cxn>
              <a:cxn ang="0">
                <a:pos x="connsiteX10125" y="connsiteY10125"/>
              </a:cxn>
              <a:cxn ang="0">
                <a:pos x="connsiteX10126" y="connsiteY10126"/>
              </a:cxn>
              <a:cxn ang="0">
                <a:pos x="connsiteX10127" y="connsiteY10127"/>
              </a:cxn>
              <a:cxn ang="0">
                <a:pos x="connsiteX10128" y="connsiteY10128"/>
              </a:cxn>
              <a:cxn ang="0">
                <a:pos x="connsiteX10129" y="connsiteY10129"/>
              </a:cxn>
              <a:cxn ang="0">
                <a:pos x="connsiteX10130" y="connsiteY10130"/>
              </a:cxn>
              <a:cxn ang="0">
                <a:pos x="connsiteX10131" y="connsiteY10131"/>
              </a:cxn>
              <a:cxn ang="0">
                <a:pos x="connsiteX10132" y="connsiteY10132"/>
              </a:cxn>
              <a:cxn ang="0">
                <a:pos x="connsiteX10133" y="connsiteY10133"/>
              </a:cxn>
              <a:cxn ang="0">
                <a:pos x="connsiteX10134" y="connsiteY10134"/>
              </a:cxn>
              <a:cxn ang="0">
                <a:pos x="connsiteX10135" y="connsiteY10135"/>
              </a:cxn>
              <a:cxn ang="0">
                <a:pos x="connsiteX10136" y="connsiteY10136"/>
              </a:cxn>
              <a:cxn ang="0">
                <a:pos x="connsiteX10137" y="connsiteY10137"/>
              </a:cxn>
              <a:cxn ang="0">
                <a:pos x="connsiteX10138" y="connsiteY10138"/>
              </a:cxn>
              <a:cxn ang="0">
                <a:pos x="connsiteX10139" y="connsiteY10139"/>
              </a:cxn>
              <a:cxn ang="0">
                <a:pos x="connsiteX10140" y="connsiteY10140"/>
              </a:cxn>
              <a:cxn ang="0">
                <a:pos x="connsiteX10141" y="connsiteY10141"/>
              </a:cxn>
              <a:cxn ang="0">
                <a:pos x="connsiteX10142" y="connsiteY10142"/>
              </a:cxn>
              <a:cxn ang="0">
                <a:pos x="connsiteX10143" y="connsiteY10143"/>
              </a:cxn>
              <a:cxn ang="0">
                <a:pos x="connsiteX10144" y="connsiteY10144"/>
              </a:cxn>
              <a:cxn ang="0">
                <a:pos x="connsiteX10145" y="connsiteY10145"/>
              </a:cxn>
              <a:cxn ang="0">
                <a:pos x="connsiteX10146" y="connsiteY10146"/>
              </a:cxn>
              <a:cxn ang="0">
                <a:pos x="connsiteX10147" y="connsiteY10147"/>
              </a:cxn>
              <a:cxn ang="0">
                <a:pos x="connsiteX10148" y="connsiteY10148"/>
              </a:cxn>
              <a:cxn ang="0">
                <a:pos x="connsiteX10149" y="connsiteY10149"/>
              </a:cxn>
              <a:cxn ang="0">
                <a:pos x="connsiteX10150" y="connsiteY10150"/>
              </a:cxn>
              <a:cxn ang="0">
                <a:pos x="connsiteX10151" y="connsiteY10151"/>
              </a:cxn>
              <a:cxn ang="0">
                <a:pos x="connsiteX10152" y="connsiteY10152"/>
              </a:cxn>
              <a:cxn ang="0">
                <a:pos x="connsiteX10153" y="connsiteY10153"/>
              </a:cxn>
              <a:cxn ang="0">
                <a:pos x="connsiteX10154" y="connsiteY10154"/>
              </a:cxn>
              <a:cxn ang="0">
                <a:pos x="connsiteX10155" y="connsiteY10155"/>
              </a:cxn>
              <a:cxn ang="0">
                <a:pos x="connsiteX10156" y="connsiteY10156"/>
              </a:cxn>
              <a:cxn ang="0">
                <a:pos x="connsiteX10157" y="connsiteY10157"/>
              </a:cxn>
              <a:cxn ang="0">
                <a:pos x="connsiteX10158" y="connsiteY10158"/>
              </a:cxn>
              <a:cxn ang="0">
                <a:pos x="connsiteX10159" y="connsiteY10159"/>
              </a:cxn>
              <a:cxn ang="0">
                <a:pos x="connsiteX10160" y="connsiteY10160"/>
              </a:cxn>
              <a:cxn ang="0">
                <a:pos x="connsiteX10161" y="connsiteY10161"/>
              </a:cxn>
              <a:cxn ang="0">
                <a:pos x="connsiteX10162" y="connsiteY10162"/>
              </a:cxn>
              <a:cxn ang="0">
                <a:pos x="connsiteX10163" y="connsiteY10163"/>
              </a:cxn>
              <a:cxn ang="0">
                <a:pos x="connsiteX10164" y="connsiteY10164"/>
              </a:cxn>
              <a:cxn ang="0">
                <a:pos x="connsiteX10165" y="connsiteY10165"/>
              </a:cxn>
              <a:cxn ang="0">
                <a:pos x="connsiteX10166" y="connsiteY10166"/>
              </a:cxn>
              <a:cxn ang="0">
                <a:pos x="connsiteX10167" y="connsiteY10167"/>
              </a:cxn>
              <a:cxn ang="0">
                <a:pos x="connsiteX10168" y="connsiteY10168"/>
              </a:cxn>
              <a:cxn ang="0">
                <a:pos x="connsiteX10169" y="connsiteY10169"/>
              </a:cxn>
              <a:cxn ang="0">
                <a:pos x="connsiteX10170" y="connsiteY10170"/>
              </a:cxn>
              <a:cxn ang="0">
                <a:pos x="connsiteX10171" y="connsiteY10171"/>
              </a:cxn>
              <a:cxn ang="0">
                <a:pos x="connsiteX10172" y="connsiteY10172"/>
              </a:cxn>
              <a:cxn ang="0">
                <a:pos x="connsiteX10173" y="connsiteY10173"/>
              </a:cxn>
              <a:cxn ang="0">
                <a:pos x="connsiteX10174" y="connsiteY10174"/>
              </a:cxn>
              <a:cxn ang="0">
                <a:pos x="connsiteX10175" y="connsiteY10175"/>
              </a:cxn>
              <a:cxn ang="0">
                <a:pos x="connsiteX10176" y="connsiteY10176"/>
              </a:cxn>
              <a:cxn ang="0">
                <a:pos x="connsiteX10177" y="connsiteY10177"/>
              </a:cxn>
              <a:cxn ang="0">
                <a:pos x="connsiteX10178" y="connsiteY10178"/>
              </a:cxn>
              <a:cxn ang="0">
                <a:pos x="connsiteX10179" y="connsiteY10179"/>
              </a:cxn>
              <a:cxn ang="0">
                <a:pos x="connsiteX10180" y="connsiteY10180"/>
              </a:cxn>
              <a:cxn ang="0">
                <a:pos x="connsiteX10181" y="connsiteY10181"/>
              </a:cxn>
              <a:cxn ang="0">
                <a:pos x="connsiteX10182" y="connsiteY10182"/>
              </a:cxn>
              <a:cxn ang="0">
                <a:pos x="connsiteX10183" y="connsiteY10183"/>
              </a:cxn>
              <a:cxn ang="0">
                <a:pos x="connsiteX10184" y="connsiteY10184"/>
              </a:cxn>
              <a:cxn ang="0">
                <a:pos x="connsiteX10185" y="connsiteY10185"/>
              </a:cxn>
              <a:cxn ang="0">
                <a:pos x="connsiteX10186" y="connsiteY10186"/>
              </a:cxn>
              <a:cxn ang="0">
                <a:pos x="connsiteX10187" y="connsiteY10187"/>
              </a:cxn>
              <a:cxn ang="0">
                <a:pos x="connsiteX10188" y="connsiteY10188"/>
              </a:cxn>
              <a:cxn ang="0">
                <a:pos x="connsiteX10189" y="connsiteY10189"/>
              </a:cxn>
              <a:cxn ang="0">
                <a:pos x="connsiteX10190" y="connsiteY10190"/>
              </a:cxn>
              <a:cxn ang="0">
                <a:pos x="connsiteX10191" y="connsiteY10191"/>
              </a:cxn>
              <a:cxn ang="0">
                <a:pos x="connsiteX10192" y="connsiteY10192"/>
              </a:cxn>
              <a:cxn ang="0">
                <a:pos x="connsiteX10193" y="connsiteY10193"/>
              </a:cxn>
              <a:cxn ang="0">
                <a:pos x="connsiteX10194" y="connsiteY10194"/>
              </a:cxn>
              <a:cxn ang="0">
                <a:pos x="connsiteX10195" y="connsiteY10195"/>
              </a:cxn>
              <a:cxn ang="0">
                <a:pos x="connsiteX10196" y="connsiteY10196"/>
              </a:cxn>
              <a:cxn ang="0">
                <a:pos x="connsiteX10197" y="connsiteY10197"/>
              </a:cxn>
              <a:cxn ang="0">
                <a:pos x="connsiteX10198" y="connsiteY10198"/>
              </a:cxn>
              <a:cxn ang="0">
                <a:pos x="connsiteX10199" y="connsiteY10199"/>
              </a:cxn>
              <a:cxn ang="0">
                <a:pos x="connsiteX10200" y="connsiteY10200"/>
              </a:cxn>
              <a:cxn ang="0">
                <a:pos x="connsiteX10201" y="connsiteY10201"/>
              </a:cxn>
              <a:cxn ang="0">
                <a:pos x="connsiteX10202" y="connsiteY10202"/>
              </a:cxn>
              <a:cxn ang="0">
                <a:pos x="connsiteX10203" y="connsiteY10203"/>
              </a:cxn>
              <a:cxn ang="0">
                <a:pos x="connsiteX10204" y="connsiteY10204"/>
              </a:cxn>
              <a:cxn ang="0">
                <a:pos x="connsiteX10205" y="connsiteY10205"/>
              </a:cxn>
              <a:cxn ang="0">
                <a:pos x="connsiteX10206" y="connsiteY10206"/>
              </a:cxn>
              <a:cxn ang="0">
                <a:pos x="connsiteX10207" y="connsiteY10207"/>
              </a:cxn>
              <a:cxn ang="0">
                <a:pos x="connsiteX10208" y="connsiteY10208"/>
              </a:cxn>
              <a:cxn ang="0">
                <a:pos x="connsiteX10209" y="connsiteY10209"/>
              </a:cxn>
              <a:cxn ang="0">
                <a:pos x="connsiteX10210" y="connsiteY10210"/>
              </a:cxn>
              <a:cxn ang="0">
                <a:pos x="connsiteX10211" y="connsiteY10211"/>
              </a:cxn>
              <a:cxn ang="0">
                <a:pos x="connsiteX10212" y="connsiteY10212"/>
              </a:cxn>
              <a:cxn ang="0">
                <a:pos x="connsiteX10213" y="connsiteY10213"/>
              </a:cxn>
              <a:cxn ang="0">
                <a:pos x="connsiteX10214" y="connsiteY10214"/>
              </a:cxn>
              <a:cxn ang="0">
                <a:pos x="connsiteX10215" y="connsiteY10215"/>
              </a:cxn>
              <a:cxn ang="0">
                <a:pos x="connsiteX10216" y="connsiteY10216"/>
              </a:cxn>
              <a:cxn ang="0">
                <a:pos x="connsiteX10217" y="connsiteY10217"/>
              </a:cxn>
              <a:cxn ang="0">
                <a:pos x="connsiteX10218" y="connsiteY10218"/>
              </a:cxn>
              <a:cxn ang="0">
                <a:pos x="connsiteX10219" y="connsiteY10219"/>
              </a:cxn>
              <a:cxn ang="0">
                <a:pos x="connsiteX10220" y="connsiteY10220"/>
              </a:cxn>
              <a:cxn ang="0">
                <a:pos x="connsiteX10221" y="connsiteY10221"/>
              </a:cxn>
              <a:cxn ang="0">
                <a:pos x="connsiteX10222" y="connsiteY10222"/>
              </a:cxn>
              <a:cxn ang="0">
                <a:pos x="connsiteX10223" y="connsiteY10223"/>
              </a:cxn>
              <a:cxn ang="0">
                <a:pos x="connsiteX10224" y="connsiteY10224"/>
              </a:cxn>
              <a:cxn ang="0">
                <a:pos x="connsiteX10225" y="connsiteY10225"/>
              </a:cxn>
              <a:cxn ang="0">
                <a:pos x="connsiteX10226" y="connsiteY10226"/>
              </a:cxn>
              <a:cxn ang="0">
                <a:pos x="connsiteX10227" y="connsiteY10227"/>
              </a:cxn>
              <a:cxn ang="0">
                <a:pos x="connsiteX10228" y="connsiteY10228"/>
              </a:cxn>
              <a:cxn ang="0">
                <a:pos x="connsiteX10229" y="connsiteY10229"/>
              </a:cxn>
              <a:cxn ang="0">
                <a:pos x="connsiteX10230" y="connsiteY10230"/>
              </a:cxn>
              <a:cxn ang="0">
                <a:pos x="connsiteX10231" y="connsiteY10231"/>
              </a:cxn>
              <a:cxn ang="0">
                <a:pos x="connsiteX10232" y="connsiteY10232"/>
              </a:cxn>
              <a:cxn ang="0">
                <a:pos x="connsiteX10233" y="connsiteY10233"/>
              </a:cxn>
              <a:cxn ang="0">
                <a:pos x="connsiteX10234" y="connsiteY10234"/>
              </a:cxn>
              <a:cxn ang="0">
                <a:pos x="connsiteX10235" y="connsiteY10235"/>
              </a:cxn>
              <a:cxn ang="0">
                <a:pos x="connsiteX10236" y="connsiteY10236"/>
              </a:cxn>
              <a:cxn ang="0">
                <a:pos x="connsiteX10237" y="connsiteY10237"/>
              </a:cxn>
              <a:cxn ang="0">
                <a:pos x="connsiteX10238" y="connsiteY10238"/>
              </a:cxn>
              <a:cxn ang="0">
                <a:pos x="connsiteX10239" y="connsiteY10239"/>
              </a:cxn>
              <a:cxn ang="0">
                <a:pos x="connsiteX10240" y="connsiteY10240"/>
              </a:cxn>
              <a:cxn ang="0">
                <a:pos x="connsiteX10241" y="connsiteY10241"/>
              </a:cxn>
              <a:cxn ang="0">
                <a:pos x="connsiteX10242" y="connsiteY10242"/>
              </a:cxn>
              <a:cxn ang="0">
                <a:pos x="connsiteX10243" y="connsiteY10243"/>
              </a:cxn>
              <a:cxn ang="0">
                <a:pos x="connsiteX10244" y="connsiteY10244"/>
              </a:cxn>
              <a:cxn ang="0">
                <a:pos x="connsiteX10245" y="connsiteY10245"/>
              </a:cxn>
              <a:cxn ang="0">
                <a:pos x="connsiteX10246" y="connsiteY10246"/>
              </a:cxn>
              <a:cxn ang="0">
                <a:pos x="connsiteX10247" y="connsiteY10247"/>
              </a:cxn>
              <a:cxn ang="0">
                <a:pos x="connsiteX10248" y="connsiteY10248"/>
              </a:cxn>
              <a:cxn ang="0">
                <a:pos x="connsiteX10249" y="connsiteY10249"/>
              </a:cxn>
              <a:cxn ang="0">
                <a:pos x="connsiteX10250" y="connsiteY10250"/>
              </a:cxn>
              <a:cxn ang="0">
                <a:pos x="connsiteX10251" y="connsiteY10251"/>
              </a:cxn>
              <a:cxn ang="0">
                <a:pos x="connsiteX10252" y="connsiteY10252"/>
              </a:cxn>
              <a:cxn ang="0">
                <a:pos x="connsiteX10253" y="connsiteY10253"/>
              </a:cxn>
              <a:cxn ang="0">
                <a:pos x="connsiteX10254" y="connsiteY10254"/>
              </a:cxn>
              <a:cxn ang="0">
                <a:pos x="connsiteX10255" y="connsiteY10255"/>
              </a:cxn>
              <a:cxn ang="0">
                <a:pos x="connsiteX10256" y="connsiteY10256"/>
              </a:cxn>
              <a:cxn ang="0">
                <a:pos x="connsiteX10257" y="connsiteY10257"/>
              </a:cxn>
              <a:cxn ang="0">
                <a:pos x="connsiteX10258" y="connsiteY10258"/>
              </a:cxn>
              <a:cxn ang="0">
                <a:pos x="connsiteX10259" y="connsiteY10259"/>
              </a:cxn>
              <a:cxn ang="0">
                <a:pos x="connsiteX10260" y="connsiteY10260"/>
              </a:cxn>
              <a:cxn ang="0">
                <a:pos x="connsiteX10261" y="connsiteY10261"/>
              </a:cxn>
              <a:cxn ang="0">
                <a:pos x="connsiteX10262" y="connsiteY10262"/>
              </a:cxn>
              <a:cxn ang="0">
                <a:pos x="connsiteX10263" y="connsiteY10263"/>
              </a:cxn>
              <a:cxn ang="0">
                <a:pos x="connsiteX10264" y="connsiteY10264"/>
              </a:cxn>
              <a:cxn ang="0">
                <a:pos x="connsiteX10265" y="connsiteY10265"/>
              </a:cxn>
              <a:cxn ang="0">
                <a:pos x="connsiteX10266" y="connsiteY10266"/>
              </a:cxn>
              <a:cxn ang="0">
                <a:pos x="connsiteX10267" y="connsiteY10267"/>
              </a:cxn>
              <a:cxn ang="0">
                <a:pos x="connsiteX10268" y="connsiteY10268"/>
              </a:cxn>
              <a:cxn ang="0">
                <a:pos x="connsiteX10269" y="connsiteY10269"/>
              </a:cxn>
              <a:cxn ang="0">
                <a:pos x="connsiteX10270" y="connsiteY10270"/>
              </a:cxn>
              <a:cxn ang="0">
                <a:pos x="connsiteX10271" y="connsiteY10271"/>
              </a:cxn>
              <a:cxn ang="0">
                <a:pos x="connsiteX10272" y="connsiteY10272"/>
              </a:cxn>
              <a:cxn ang="0">
                <a:pos x="connsiteX10273" y="connsiteY10273"/>
              </a:cxn>
              <a:cxn ang="0">
                <a:pos x="connsiteX10274" y="connsiteY10274"/>
              </a:cxn>
              <a:cxn ang="0">
                <a:pos x="connsiteX10275" y="connsiteY10275"/>
              </a:cxn>
              <a:cxn ang="0">
                <a:pos x="connsiteX10276" y="connsiteY10276"/>
              </a:cxn>
              <a:cxn ang="0">
                <a:pos x="connsiteX10277" y="connsiteY10277"/>
              </a:cxn>
              <a:cxn ang="0">
                <a:pos x="connsiteX10278" y="connsiteY10278"/>
              </a:cxn>
              <a:cxn ang="0">
                <a:pos x="connsiteX10279" y="connsiteY10279"/>
              </a:cxn>
              <a:cxn ang="0">
                <a:pos x="connsiteX10280" y="connsiteY10280"/>
              </a:cxn>
              <a:cxn ang="0">
                <a:pos x="connsiteX10281" y="connsiteY10281"/>
              </a:cxn>
              <a:cxn ang="0">
                <a:pos x="connsiteX10282" y="connsiteY10282"/>
              </a:cxn>
              <a:cxn ang="0">
                <a:pos x="connsiteX10283" y="connsiteY10283"/>
              </a:cxn>
              <a:cxn ang="0">
                <a:pos x="connsiteX10284" y="connsiteY10284"/>
              </a:cxn>
              <a:cxn ang="0">
                <a:pos x="connsiteX10285" y="connsiteY10285"/>
              </a:cxn>
              <a:cxn ang="0">
                <a:pos x="connsiteX10286" y="connsiteY10286"/>
              </a:cxn>
              <a:cxn ang="0">
                <a:pos x="connsiteX10287" y="connsiteY10287"/>
              </a:cxn>
              <a:cxn ang="0">
                <a:pos x="connsiteX10288" y="connsiteY10288"/>
              </a:cxn>
              <a:cxn ang="0">
                <a:pos x="connsiteX10289" y="connsiteY10289"/>
              </a:cxn>
              <a:cxn ang="0">
                <a:pos x="connsiteX10290" y="connsiteY10290"/>
              </a:cxn>
              <a:cxn ang="0">
                <a:pos x="connsiteX10291" y="connsiteY10291"/>
              </a:cxn>
              <a:cxn ang="0">
                <a:pos x="connsiteX10292" y="connsiteY10292"/>
              </a:cxn>
              <a:cxn ang="0">
                <a:pos x="connsiteX10293" y="connsiteY10293"/>
              </a:cxn>
              <a:cxn ang="0">
                <a:pos x="connsiteX10294" y="connsiteY10294"/>
              </a:cxn>
              <a:cxn ang="0">
                <a:pos x="connsiteX10295" y="connsiteY10295"/>
              </a:cxn>
              <a:cxn ang="0">
                <a:pos x="connsiteX10296" y="connsiteY10296"/>
              </a:cxn>
              <a:cxn ang="0">
                <a:pos x="connsiteX10297" y="connsiteY10297"/>
              </a:cxn>
              <a:cxn ang="0">
                <a:pos x="connsiteX10298" y="connsiteY10298"/>
              </a:cxn>
              <a:cxn ang="0">
                <a:pos x="connsiteX10299" y="connsiteY10299"/>
              </a:cxn>
              <a:cxn ang="0">
                <a:pos x="connsiteX10300" y="connsiteY10300"/>
              </a:cxn>
              <a:cxn ang="0">
                <a:pos x="connsiteX10301" y="connsiteY10301"/>
              </a:cxn>
              <a:cxn ang="0">
                <a:pos x="connsiteX10302" y="connsiteY10302"/>
              </a:cxn>
              <a:cxn ang="0">
                <a:pos x="connsiteX10303" y="connsiteY10303"/>
              </a:cxn>
              <a:cxn ang="0">
                <a:pos x="connsiteX10304" y="connsiteY10304"/>
              </a:cxn>
              <a:cxn ang="0">
                <a:pos x="connsiteX10305" y="connsiteY10305"/>
              </a:cxn>
              <a:cxn ang="0">
                <a:pos x="connsiteX10306" y="connsiteY10306"/>
              </a:cxn>
              <a:cxn ang="0">
                <a:pos x="connsiteX10307" y="connsiteY10307"/>
              </a:cxn>
              <a:cxn ang="0">
                <a:pos x="connsiteX10308" y="connsiteY10308"/>
              </a:cxn>
              <a:cxn ang="0">
                <a:pos x="connsiteX10309" y="connsiteY10309"/>
              </a:cxn>
              <a:cxn ang="0">
                <a:pos x="connsiteX10310" y="connsiteY10310"/>
              </a:cxn>
              <a:cxn ang="0">
                <a:pos x="connsiteX10311" y="connsiteY10311"/>
              </a:cxn>
              <a:cxn ang="0">
                <a:pos x="connsiteX10312" y="connsiteY10312"/>
              </a:cxn>
              <a:cxn ang="0">
                <a:pos x="connsiteX10313" y="connsiteY10313"/>
              </a:cxn>
              <a:cxn ang="0">
                <a:pos x="connsiteX10314" y="connsiteY10314"/>
              </a:cxn>
              <a:cxn ang="0">
                <a:pos x="connsiteX10315" y="connsiteY10315"/>
              </a:cxn>
              <a:cxn ang="0">
                <a:pos x="connsiteX10316" y="connsiteY10316"/>
              </a:cxn>
              <a:cxn ang="0">
                <a:pos x="connsiteX10317" y="connsiteY10317"/>
              </a:cxn>
              <a:cxn ang="0">
                <a:pos x="connsiteX10318" y="connsiteY10318"/>
              </a:cxn>
              <a:cxn ang="0">
                <a:pos x="connsiteX10319" y="connsiteY10319"/>
              </a:cxn>
              <a:cxn ang="0">
                <a:pos x="connsiteX10320" y="connsiteY10320"/>
              </a:cxn>
              <a:cxn ang="0">
                <a:pos x="connsiteX10321" y="connsiteY10321"/>
              </a:cxn>
              <a:cxn ang="0">
                <a:pos x="connsiteX10322" y="connsiteY10322"/>
              </a:cxn>
              <a:cxn ang="0">
                <a:pos x="connsiteX10323" y="connsiteY10323"/>
              </a:cxn>
              <a:cxn ang="0">
                <a:pos x="connsiteX10324" y="connsiteY10324"/>
              </a:cxn>
              <a:cxn ang="0">
                <a:pos x="connsiteX10325" y="connsiteY10325"/>
              </a:cxn>
              <a:cxn ang="0">
                <a:pos x="connsiteX10326" y="connsiteY10326"/>
              </a:cxn>
              <a:cxn ang="0">
                <a:pos x="connsiteX10327" y="connsiteY10327"/>
              </a:cxn>
              <a:cxn ang="0">
                <a:pos x="connsiteX10328" y="connsiteY10328"/>
              </a:cxn>
              <a:cxn ang="0">
                <a:pos x="connsiteX10329" y="connsiteY10329"/>
              </a:cxn>
              <a:cxn ang="0">
                <a:pos x="connsiteX10330" y="connsiteY10330"/>
              </a:cxn>
              <a:cxn ang="0">
                <a:pos x="connsiteX10331" y="connsiteY10331"/>
              </a:cxn>
              <a:cxn ang="0">
                <a:pos x="connsiteX10332" y="connsiteY10332"/>
              </a:cxn>
              <a:cxn ang="0">
                <a:pos x="connsiteX10333" y="connsiteY10333"/>
              </a:cxn>
              <a:cxn ang="0">
                <a:pos x="connsiteX10334" y="connsiteY10334"/>
              </a:cxn>
              <a:cxn ang="0">
                <a:pos x="connsiteX10335" y="connsiteY10335"/>
              </a:cxn>
              <a:cxn ang="0">
                <a:pos x="connsiteX10336" y="connsiteY10336"/>
              </a:cxn>
              <a:cxn ang="0">
                <a:pos x="connsiteX10337" y="connsiteY10337"/>
              </a:cxn>
              <a:cxn ang="0">
                <a:pos x="connsiteX10338" y="connsiteY10338"/>
              </a:cxn>
              <a:cxn ang="0">
                <a:pos x="connsiteX10339" y="connsiteY10339"/>
              </a:cxn>
              <a:cxn ang="0">
                <a:pos x="connsiteX10340" y="connsiteY10340"/>
              </a:cxn>
              <a:cxn ang="0">
                <a:pos x="connsiteX10341" y="connsiteY10341"/>
              </a:cxn>
              <a:cxn ang="0">
                <a:pos x="connsiteX10342" y="connsiteY10342"/>
              </a:cxn>
              <a:cxn ang="0">
                <a:pos x="connsiteX10343" y="connsiteY10343"/>
              </a:cxn>
              <a:cxn ang="0">
                <a:pos x="connsiteX10344" y="connsiteY10344"/>
              </a:cxn>
              <a:cxn ang="0">
                <a:pos x="connsiteX10345" y="connsiteY10345"/>
              </a:cxn>
              <a:cxn ang="0">
                <a:pos x="connsiteX10346" y="connsiteY10346"/>
              </a:cxn>
              <a:cxn ang="0">
                <a:pos x="connsiteX10347" y="connsiteY10347"/>
              </a:cxn>
              <a:cxn ang="0">
                <a:pos x="connsiteX10348" y="connsiteY10348"/>
              </a:cxn>
              <a:cxn ang="0">
                <a:pos x="connsiteX10349" y="connsiteY10349"/>
              </a:cxn>
              <a:cxn ang="0">
                <a:pos x="connsiteX10350" y="connsiteY10350"/>
              </a:cxn>
              <a:cxn ang="0">
                <a:pos x="connsiteX10351" y="connsiteY10351"/>
              </a:cxn>
              <a:cxn ang="0">
                <a:pos x="connsiteX10352" y="connsiteY10352"/>
              </a:cxn>
              <a:cxn ang="0">
                <a:pos x="connsiteX10353" y="connsiteY10353"/>
              </a:cxn>
              <a:cxn ang="0">
                <a:pos x="connsiteX10354" y="connsiteY10354"/>
              </a:cxn>
              <a:cxn ang="0">
                <a:pos x="connsiteX10355" y="connsiteY10355"/>
              </a:cxn>
              <a:cxn ang="0">
                <a:pos x="connsiteX10356" y="connsiteY10356"/>
              </a:cxn>
              <a:cxn ang="0">
                <a:pos x="connsiteX10357" y="connsiteY10357"/>
              </a:cxn>
              <a:cxn ang="0">
                <a:pos x="connsiteX10358" y="connsiteY10358"/>
              </a:cxn>
              <a:cxn ang="0">
                <a:pos x="connsiteX10359" y="connsiteY10359"/>
              </a:cxn>
              <a:cxn ang="0">
                <a:pos x="connsiteX10360" y="connsiteY10360"/>
              </a:cxn>
              <a:cxn ang="0">
                <a:pos x="connsiteX10361" y="connsiteY10361"/>
              </a:cxn>
              <a:cxn ang="0">
                <a:pos x="connsiteX10362" y="connsiteY10362"/>
              </a:cxn>
              <a:cxn ang="0">
                <a:pos x="connsiteX10363" y="connsiteY10363"/>
              </a:cxn>
              <a:cxn ang="0">
                <a:pos x="connsiteX10364" y="connsiteY10364"/>
              </a:cxn>
              <a:cxn ang="0">
                <a:pos x="connsiteX10365" y="connsiteY10365"/>
              </a:cxn>
              <a:cxn ang="0">
                <a:pos x="connsiteX10366" y="connsiteY10366"/>
              </a:cxn>
              <a:cxn ang="0">
                <a:pos x="connsiteX10367" y="connsiteY10367"/>
              </a:cxn>
              <a:cxn ang="0">
                <a:pos x="connsiteX10368" y="connsiteY10368"/>
              </a:cxn>
              <a:cxn ang="0">
                <a:pos x="connsiteX10369" y="connsiteY10369"/>
              </a:cxn>
              <a:cxn ang="0">
                <a:pos x="connsiteX10370" y="connsiteY10370"/>
              </a:cxn>
              <a:cxn ang="0">
                <a:pos x="connsiteX10371" y="connsiteY10371"/>
              </a:cxn>
              <a:cxn ang="0">
                <a:pos x="connsiteX10372" y="connsiteY10372"/>
              </a:cxn>
              <a:cxn ang="0">
                <a:pos x="connsiteX10373" y="connsiteY10373"/>
              </a:cxn>
              <a:cxn ang="0">
                <a:pos x="connsiteX10374" y="connsiteY10374"/>
              </a:cxn>
              <a:cxn ang="0">
                <a:pos x="connsiteX10375" y="connsiteY10375"/>
              </a:cxn>
              <a:cxn ang="0">
                <a:pos x="connsiteX10376" y="connsiteY10376"/>
              </a:cxn>
              <a:cxn ang="0">
                <a:pos x="connsiteX10377" y="connsiteY10377"/>
              </a:cxn>
              <a:cxn ang="0">
                <a:pos x="connsiteX10378" y="connsiteY10378"/>
              </a:cxn>
              <a:cxn ang="0">
                <a:pos x="connsiteX10379" y="connsiteY10379"/>
              </a:cxn>
              <a:cxn ang="0">
                <a:pos x="connsiteX10380" y="connsiteY10380"/>
              </a:cxn>
              <a:cxn ang="0">
                <a:pos x="connsiteX10381" y="connsiteY10381"/>
              </a:cxn>
              <a:cxn ang="0">
                <a:pos x="connsiteX10382" y="connsiteY10382"/>
              </a:cxn>
              <a:cxn ang="0">
                <a:pos x="connsiteX10383" y="connsiteY10383"/>
              </a:cxn>
              <a:cxn ang="0">
                <a:pos x="connsiteX10384" y="connsiteY10384"/>
              </a:cxn>
              <a:cxn ang="0">
                <a:pos x="connsiteX10385" y="connsiteY10385"/>
              </a:cxn>
              <a:cxn ang="0">
                <a:pos x="connsiteX10386" y="connsiteY10386"/>
              </a:cxn>
              <a:cxn ang="0">
                <a:pos x="connsiteX10387" y="connsiteY10387"/>
              </a:cxn>
              <a:cxn ang="0">
                <a:pos x="connsiteX10388" y="connsiteY10388"/>
              </a:cxn>
              <a:cxn ang="0">
                <a:pos x="connsiteX10389" y="connsiteY10389"/>
              </a:cxn>
              <a:cxn ang="0">
                <a:pos x="connsiteX10390" y="connsiteY10390"/>
              </a:cxn>
              <a:cxn ang="0">
                <a:pos x="connsiteX10391" y="connsiteY10391"/>
              </a:cxn>
              <a:cxn ang="0">
                <a:pos x="connsiteX10392" y="connsiteY10392"/>
              </a:cxn>
              <a:cxn ang="0">
                <a:pos x="connsiteX10393" y="connsiteY10393"/>
              </a:cxn>
              <a:cxn ang="0">
                <a:pos x="connsiteX10394" y="connsiteY10394"/>
              </a:cxn>
              <a:cxn ang="0">
                <a:pos x="connsiteX10395" y="connsiteY10395"/>
              </a:cxn>
              <a:cxn ang="0">
                <a:pos x="connsiteX10396" y="connsiteY10396"/>
              </a:cxn>
              <a:cxn ang="0">
                <a:pos x="connsiteX10397" y="connsiteY10397"/>
              </a:cxn>
              <a:cxn ang="0">
                <a:pos x="connsiteX10398" y="connsiteY10398"/>
              </a:cxn>
              <a:cxn ang="0">
                <a:pos x="connsiteX10399" y="connsiteY10399"/>
              </a:cxn>
              <a:cxn ang="0">
                <a:pos x="connsiteX10400" y="connsiteY10400"/>
              </a:cxn>
              <a:cxn ang="0">
                <a:pos x="connsiteX10401" y="connsiteY10401"/>
              </a:cxn>
              <a:cxn ang="0">
                <a:pos x="connsiteX10402" y="connsiteY10402"/>
              </a:cxn>
              <a:cxn ang="0">
                <a:pos x="connsiteX10403" y="connsiteY10403"/>
              </a:cxn>
              <a:cxn ang="0">
                <a:pos x="connsiteX10404" y="connsiteY10404"/>
              </a:cxn>
              <a:cxn ang="0">
                <a:pos x="connsiteX10405" y="connsiteY10405"/>
              </a:cxn>
              <a:cxn ang="0">
                <a:pos x="connsiteX10406" y="connsiteY10406"/>
              </a:cxn>
              <a:cxn ang="0">
                <a:pos x="connsiteX10407" y="connsiteY10407"/>
              </a:cxn>
              <a:cxn ang="0">
                <a:pos x="connsiteX10408" y="connsiteY10408"/>
              </a:cxn>
              <a:cxn ang="0">
                <a:pos x="connsiteX10409" y="connsiteY10409"/>
              </a:cxn>
              <a:cxn ang="0">
                <a:pos x="connsiteX10410" y="connsiteY10410"/>
              </a:cxn>
              <a:cxn ang="0">
                <a:pos x="connsiteX10411" y="connsiteY10411"/>
              </a:cxn>
              <a:cxn ang="0">
                <a:pos x="connsiteX10412" y="connsiteY10412"/>
              </a:cxn>
              <a:cxn ang="0">
                <a:pos x="connsiteX10413" y="connsiteY10413"/>
              </a:cxn>
              <a:cxn ang="0">
                <a:pos x="connsiteX10414" y="connsiteY10414"/>
              </a:cxn>
              <a:cxn ang="0">
                <a:pos x="connsiteX10415" y="connsiteY10415"/>
              </a:cxn>
              <a:cxn ang="0">
                <a:pos x="connsiteX10416" y="connsiteY10416"/>
              </a:cxn>
              <a:cxn ang="0">
                <a:pos x="connsiteX10417" y="connsiteY10417"/>
              </a:cxn>
              <a:cxn ang="0">
                <a:pos x="connsiteX10418" y="connsiteY10418"/>
              </a:cxn>
              <a:cxn ang="0">
                <a:pos x="connsiteX10419" y="connsiteY10419"/>
              </a:cxn>
              <a:cxn ang="0">
                <a:pos x="connsiteX10420" y="connsiteY10420"/>
              </a:cxn>
              <a:cxn ang="0">
                <a:pos x="connsiteX10421" y="connsiteY10421"/>
              </a:cxn>
              <a:cxn ang="0">
                <a:pos x="connsiteX10422" y="connsiteY10422"/>
              </a:cxn>
              <a:cxn ang="0">
                <a:pos x="connsiteX10423" y="connsiteY10423"/>
              </a:cxn>
              <a:cxn ang="0">
                <a:pos x="connsiteX10424" y="connsiteY10424"/>
              </a:cxn>
              <a:cxn ang="0">
                <a:pos x="connsiteX10425" y="connsiteY10425"/>
              </a:cxn>
              <a:cxn ang="0">
                <a:pos x="connsiteX10426" y="connsiteY10426"/>
              </a:cxn>
              <a:cxn ang="0">
                <a:pos x="connsiteX10427" y="connsiteY10427"/>
              </a:cxn>
              <a:cxn ang="0">
                <a:pos x="connsiteX10428" y="connsiteY10428"/>
              </a:cxn>
              <a:cxn ang="0">
                <a:pos x="connsiteX10429" y="connsiteY10429"/>
              </a:cxn>
              <a:cxn ang="0">
                <a:pos x="connsiteX10430" y="connsiteY10430"/>
              </a:cxn>
              <a:cxn ang="0">
                <a:pos x="connsiteX10431" y="connsiteY10431"/>
              </a:cxn>
              <a:cxn ang="0">
                <a:pos x="connsiteX10432" y="connsiteY10432"/>
              </a:cxn>
              <a:cxn ang="0">
                <a:pos x="connsiteX10433" y="connsiteY10433"/>
              </a:cxn>
              <a:cxn ang="0">
                <a:pos x="connsiteX10434" y="connsiteY10434"/>
              </a:cxn>
              <a:cxn ang="0">
                <a:pos x="connsiteX10435" y="connsiteY10435"/>
              </a:cxn>
              <a:cxn ang="0">
                <a:pos x="connsiteX10436" y="connsiteY10436"/>
              </a:cxn>
              <a:cxn ang="0">
                <a:pos x="connsiteX10437" y="connsiteY10437"/>
              </a:cxn>
              <a:cxn ang="0">
                <a:pos x="connsiteX10438" y="connsiteY10438"/>
              </a:cxn>
              <a:cxn ang="0">
                <a:pos x="connsiteX10439" y="connsiteY10439"/>
              </a:cxn>
              <a:cxn ang="0">
                <a:pos x="connsiteX10440" y="connsiteY10440"/>
              </a:cxn>
              <a:cxn ang="0">
                <a:pos x="connsiteX10441" y="connsiteY10441"/>
              </a:cxn>
              <a:cxn ang="0">
                <a:pos x="connsiteX10442" y="connsiteY10442"/>
              </a:cxn>
              <a:cxn ang="0">
                <a:pos x="connsiteX10443" y="connsiteY10443"/>
              </a:cxn>
              <a:cxn ang="0">
                <a:pos x="connsiteX10444" y="connsiteY10444"/>
              </a:cxn>
              <a:cxn ang="0">
                <a:pos x="connsiteX10445" y="connsiteY10445"/>
              </a:cxn>
              <a:cxn ang="0">
                <a:pos x="connsiteX10446" y="connsiteY10446"/>
              </a:cxn>
              <a:cxn ang="0">
                <a:pos x="connsiteX10447" y="connsiteY10447"/>
              </a:cxn>
              <a:cxn ang="0">
                <a:pos x="connsiteX10448" y="connsiteY10448"/>
              </a:cxn>
              <a:cxn ang="0">
                <a:pos x="connsiteX10449" y="connsiteY10449"/>
              </a:cxn>
              <a:cxn ang="0">
                <a:pos x="connsiteX10450" y="connsiteY10450"/>
              </a:cxn>
              <a:cxn ang="0">
                <a:pos x="connsiteX10451" y="connsiteY10451"/>
              </a:cxn>
              <a:cxn ang="0">
                <a:pos x="connsiteX10452" y="connsiteY10452"/>
              </a:cxn>
              <a:cxn ang="0">
                <a:pos x="connsiteX10453" y="connsiteY10453"/>
              </a:cxn>
              <a:cxn ang="0">
                <a:pos x="connsiteX10454" y="connsiteY10454"/>
              </a:cxn>
              <a:cxn ang="0">
                <a:pos x="connsiteX10455" y="connsiteY10455"/>
              </a:cxn>
              <a:cxn ang="0">
                <a:pos x="connsiteX10456" y="connsiteY10456"/>
              </a:cxn>
              <a:cxn ang="0">
                <a:pos x="connsiteX10457" y="connsiteY10457"/>
              </a:cxn>
              <a:cxn ang="0">
                <a:pos x="connsiteX10458" y="connsiteY10458"/>
              </a:cxn>
              <a:cxn ang="0">
                <a:pos x="connsiteX10459" y="connsiteY10459"/>
              </a:cxn>
              <a:cxn ang="0">
                <a:pos x="connsiteX10460" y="connsiteY10460"/>
              </a:cxn>
              <a:cxn ang="0">
                <a:pos x="connsiteX10461" y="connsiteY10461"/>
              </a:cxn>
              <a:cxn ang="0">
                <a:pos x="connsiteX10462" y="connsiteY10462"/>
              </a:cxn>
              <a:cxn ang="0">
                <a:pos x="connsiteX10463" y="connsiteY10463"/>
              </a:cxn>
              <a:cxn ang="0">
                <a:pos x="connsiteX10464" y="connsiteY10464"/>
              </a:cxn>
              <a:cxn ang="0">
                <a:pos x="connsiteX10465" y="connsiteY10465"/>
              </a:cxn>
              <a:cxn ang="0">
                <a:pos x="connsiteX10466" y="connsiteY10466"/>
              </a:cxn>
              <a:cxn ang="0">
                <a:pos x="connsiteX10467" y="connsiteY10467"/>
              </a:cxn>
              <a:cxn ang="0">
                <a:pos x="connsiteX10468" y="connsiteY10468"/>
              </a:cxn>
              <a:cxn ang="0">
                <a:pos x="connsiteX10469" y="connsiteY10469"/>
              </a:cxn>
              <a:cxn ang="0">
                <a:pos x="connsiteX10470" y="connsiteY10470"/>
              </a:cxn>
              <a:cxn ang="0">
                <a:pos x="connsiteX10471" y="connsiteY10471"/>
              </a:cxn>
              <a:cxn ang="0">
                <a:pos x="connsiteX10472" y="connsiteY10472"/>
              </a:cxn>
              <a:cxn ang="0">
                <a:pos x="connsiteX10473" y="connsiteY10473"/>
              </a:cxn>
              <a:cxn ang="0">
                <a:pos x="connsiteX10474" y="connsiteY10474"/>
              </a:cxn>
              <a:cxn ang="0">
                <a:pos x="connsiteX10475" y="connsiteY10475"/>
              </a:cxn>
              <a:cxn ang="0">
                <a:pos x="connsiteX10476" y="connsiteY10476"/>
              </a:cxn>
              <a:cxn ang="0">
                <a:pos x="connsiteX10477" y="connsiteY10477"/>
              </a:cxn>
              <a:cxn ang="0">
                <a:pos x="connsiteX10478" y="connsiteY10478"/>
              </a:cxn>
              <a:cxn ang="0">
                <a:pos x="connsiteX10479" y="connsiteY10479"/>
              </a:cxn>
              <a:cxn ang="0">
                <a:pos x="connsiteX10480" y="connsiteY10480"/>
              </a:cxn>
              <a:cxn ang="0">
                <a:pos x="connsiteX10481" y="connsiteY10481"/>
              </a:cxn>
              <a:cxn ang="0">
                <a:pos x="connsiteX10482" y="connsiteY10482"/>
              </a:cxn>
              <a:cxn ang="0">
                <a:pos x="connsiteX10483" y="connsiteY10483"/>
              </a:cxn>
              <a:cxn ang="0">
                <a:pos x="connsiteX10484" y="connsiteY10484"/>
              </a:cxn>
              <a:cxn ang="0">
                <a:pos x="connsiteX10485" y="connsiteY10485"/>
              </a:cxn>
              <a:cxn ang="0">
                <a:pos x="connsiteX10486" y="connsiteY10486"/>
              </a:cxn>
              <a:cxn ang="0">
                <a:pos x="connsiteX10487" y="connsiteY10487"/>
              </a:cxn>
              <a:cxn ang="0">
                <a:pos x="connsiteX10488" y="connsiteY10488"/>
              </a:cxn>
              <a:cxn ang="0">
                <a:pos x="connsiteX10489" y="connsiteY10489"/>
              </a:cxn>
              <a:cxn ang="0">
                <a:pos x="connsiteX10490" y="connsiteY10490"/>
              </a:cxn>
              <a:cxn ang="0">
                <a:pos x="connsiteX10491" y="connsiteY10491"/>
              </a:cxn>
              <a:cxn ang="0">
                <a:pos x="connsiteX10492" y="connsiteY10492"/>
              </a:cxn>
              <a:cxn ang="0">
                <a:pos x="connsiteX10493" y="connsiteY10493"/>
              </a:cxn>
              <a:cxn ang="0">
                <a:pos x="connsiteX10494" y="connsiteY10494"/>
              </a:cxn>
              <a:cxn ang="0">
                <a:pos x="connsiteX10495" y="connsiteY10495"/>
              </a:cxn>
              <a:cxn ang="0">
                <a:pos x="connsiteX10496" y="connsiteY10496"/>
              </a:cxn>
              <a:cxn ang="0">
                <a:pos x="connsiteX10497" y="connsiteY10497"/>
              </a:cxn>
              <a:cxn ang="0">
                <a:pos x="connsiteX10498" y="connsiteY10498"/>
              </a:cxn>
              <a:cxn ang="0">
                <a:pos x="connsiteX10499" y="connsiteY10499"/>
              </a:cxn>
              <a:cxn ang="0">
                <a:pos x="connsiteX10500" y="connsiteY10500"/>
              </a:cxn>
              <a:cxn ang="0">
                <a:pos x="connsiteX10501" y="connsiteY10501"/>
              </a:cxn>
              <a:cxn ang="0">
                <a:pos x="connsiteX10502" y="connsiteY10502"/>
              </a:cxn>
              <a:cxn ang="0">
                <a:pos x="connsiteX10503" y="connsiteY10503"/>
              </a:cxn>
              <a:cxn ang="0">
                <a:pos x="connsiteX10504" y="connsiteY10504"/>
              </a:cxn>
              <a:cxn ang="0">
                <a:pos x="connsiteX10505" y="connsiteY10505"/>
              </a:cxn>
              <a:cxn ang="0">
                <a:pos x="connsiteX10506" y="connsiteY10506"/>
              </a:cxn>
              <a:cxn ang="0">
                <a:pos x="connsiteX10507" y="connsiteY10507"/>
              </a:cxn>
              <a:cxn ang="0">
                <a:pos x="connsiteX10508" y="connsiteY10508"/>
              </a:cxn>
              <a:cxn ang="0">
                <a:pos x="connsiteX10509" y="connsiteY10509"/>
              </a:cxn>
              <a:cxn ang="0">
                <a:pos x="connsiteX10510" y="connsiteY10510"/>
              </a:cxn>
              <a:cxn ang="0">
                <a:pos x="connsiteX10511" y="connsiteY10511"/>
              </a:cxn>
              <a:cxn ang="0">
                <a:pos x="connsiteX10512" y="connsiteY10512"/>
              </a:cxn>
              <a:cxn ang="0">
                <a:pos x="connsiteX10513" y="connsiteY10513"/>
              </a:cxn>
              <a:cxn ang="0">
                <a:pos x="connsiteX10514" y="connsiteY10514"/>
              </a:cxn>
              <a:cxn ang="0">
                <a:pos x="connsiteX10515" y="connsiteY10515"/>
              </a:cxn>
              <a:cxn ang="0">
                <a:pos x="connsiteX10516" y="connsiteY10516"/>
              </a:cxn>
              <a:cxn ang="0">
                <a:pos x="connsiteX10517" y="connsiteY10517"/>
              </a:cxn>
              <a:cxn ang="0">
                <a:pos x="connsiteX10518" y="connsiteY10518"/>
              </a:cxn>
              <a:cxn ang="0">
                <a:pos x="connsiteX10519" y="connsiteY10519"/>
              </a:cxn>
              <a:cxn ang="0">
                <a:pos x="connsiteX10520" y="connsiteY10520"/>
              </a:cxn>
              <a:cxn ang="0">
                <a:pos x="connsiteX10521" y="connsiteY10521"/>
              </a:cxn>
              <a:cxn ang="0">
                <a:pos x="connsiteX10522" y="connsiteY10522"/>
              </a:cxn>
              <a:cxn ang="0">
                <a:pos x="connsiteX10523" y="connsiteY10523"/>
              </a:cxn>
              <a:cxn ang="0">
                <a:pos x="connsiteX10524" y="connsiteY10524"/>
              </a:cxn>
              <a:cxn ang="0">
                <a:pos x="connsiteX10525" y="connsiteY10525"/>
              </a:cxn>
              <a:cxn ang="0">
                <a:pos x="connsiteX10526" y="connsiteY10526"/>
              </a:cxn>
              <a:cxn ang="0">
                <a:pos x="connsiteX10527" y="connsiteY10527"/>
              </a:cxn>
              <a:cxn ang="0">
                <a:pos x="connsiteX10528" y="connsiteY10528"/>
              </a:cxn>
              <a:cxn ang="0">
                <a:pos x="connsiteX10529" y="connsiteY10529"/>
              </a:cxn>
              <a:cxn ang="0">
                <a:pos x="connsiteX10530" y="connsiteY10530"/>
              </a:cxn>
              <a:cxn ang="0">
                <a:pos x="connsiteX10531" y="connsiteY10531"/>
              </a:cxn>
              <a:cxn ang="0">
                <a:pos x="connsiteX10532" y="connsiteY10532"/>
              </a:cxn>
              <a:cxn ang="0">
                <a:pos x="connsiteX10533" y="connsiteY10533"/>
              </a:cxn>
              <a:cxn ang="0">
                <a:pos x="connsiteX10534" y="connsiteY10534"/>
              </a:cxn>
              <a:cxn ang="0">
                <a:pos x="connsiteX10535" y="connsiteY10535"/>
              </a:cxn>
              <a:cxn ang="0">
                <a:pos x="connsiteX10536" y="connsiteY10536"/>
              </a:cxn>
              <a:cxn ang="0">
                <a:pos x="connsiteX10537" y="connsiteY10537"/>
              </a:cxn>
              <a:cxn ang="0">
                <a:pos x="connsiteX10538" y="connsiteY10538"/>
              </a:cxn>
              <a:cxn ang="0">
                <a:pos x="connsiteX10539" y="connsiteY10539"/>
              </a:cxn>
              <a:cxn ang="0">
                <a:pos x="connsiteX10540" y="connsiteY10540"/>
              </a:cxn>
              <a:cxn ang="0">
                <a:pos x="connsiteX10541" y="connsiteY10541"/>
              </a:cxn>
              <a:cxn ang="0">
                <a:pos x="connsiteX10542" y="connsiteY10542"/>
              </a:cxn>
              <a:cxn ang="0">
                <a:pos x="connsiteX10543" y="connsiteY10543"/>
              </a:cxn>
              <a:cxn ang="0">
                <a:pos x="connsiteX10544" y="connsiteY10544"/>
              </a:cxn>
              <a:cxn ang="0">
                <a:pos x="connsiteX10545" y="connsiteY10545"/>
              </a:cxn>
              <a:cxn ang="0">
                <a:pos x="connsiteX10546" y="connsiteY10546"/>
              </a:cxn>
              <a:cxn ang="0">
                <a:pos x="connsiteX10547" y="connsiteY10547"/>
              </a:cxn>
              <a:cxn ang="0">
                <a:pos x="connsiteX10548" y="connsiteY10548"/>
              </a:cxn>
              <a:cxn ang="0">
                <a:pos x="connsiteX10549" y="connsiteY10549"/>
              </a:cxn>
              <a:cxn ang="0">
                <a:pos x="connsiteX10550" y="connsiteY10550"/>
              </a:cxn>
              <a:cxn ang="0">
                <a:pos x="connsiteX10551" y="connsiteY10551"/>
              </a:cxn>
              <a:cxn ang="0">
                <a:pos x="connsiteX10552" y="connsiteY10552"/>
              </a:cxn>
              <a:cxn ang="0">
                <a:pos x="connsiteX10553" y="connsiteY10553"/>
              </a:cxn>
              <a:cxn ang="0">
                <a:pos x="connsiteX10554" y="connsiteY10554"/>
              </a:cxn>
              <a:cxn ang="0">
                <a:pos x="connsiteX10555" y="connsiteY10555"/>
              </a:cxn>
              <a:cxn ang="0">
                <a:pos x="connsiteX10556" y="connsiteY10556"/>
              </a:cxn>
              <a:cxn ang="0">
                <a:pos x="connsiteX10557" y="connsiteY10557"/>
              </a:cxn>
              <a:cxn ang="0">
                <a:pos x="connsiteX10558" y="connsiteY10558"/>
              </a:cxn>
              <a:cxn ang="0">
                <a:pos x="connsiteX10559" y="connsiteY10559"/>
              </a:cxn>
              <a:cxn ang="0">
                <a:pos x="connsiteX10560" y="connsiteY10560"/>
              </a:cxn>
              <a:cxn ang="0">
                <a:pos x="connsiteX10561" y="connsiteY10561"/>
              </a:cxn>
              <a:cxn ang="0">
                <a:pos x="connsiteX10562" y="connsiteY10562"/>
              </a:cxn>
              <a:cxn ang="0">
                <a:pos x="connsiteX10563" y="connsiteY10563"/>
              </a:cxn>
              <a:cxn ang="0">
                <a:pos x="connsiteX10564" y="connsiteY10564"/>
              </a:cxn>
              <a:cxn ang="0">
                <a:pos x="connsiteX10565" y="connsiteY10565"/>
              </a:cxn>
              <a:cxn ang="0">
                <a:pos x="connsiteX10566" y="connsiteY10566"/>
              </a:cxn>
              <a:cxn ang="0">
                <a:pos x="connsiteX10567" y="connsiteY10567"/>
              </a:cxn>
              <a:cxn ang="0">
                <a:pos x="connsiteX10568" y="connsiteY10568"/>
              </a:cxn>
              <a:cxn ang="0">
                <a:pos x="connsiteX10569" y="connsiteY10569"/>
              </a:cxn>
              <a:cxn ang="0">
                <a:pos x="connsiteX10570" y="connsiteY10570"/>
              </a:cxn>
              <a:cxn ang="0">
                <a:pos x="connsiteX10571" y="connsiteY10571"/>
              </a:cxn>
              <a:cxn ang="0">
                <a:pos x="connsiteX10572" y="connsiteY10572"/>
              </a:cxn>
              <a:cxn ang="0">
                <a:pos x="connsiteX10573" y="connsiteY10573"/>
              </a:cxn>
              <a:cxn ang="0">
                <a:pos x="connsiteX10574" y="connsiteY10574"/>
              </a:cxn>
              <a:cxn ang="0">
                <a:pos x="connsiteX10575" y="connsiteY10575"/>
              </a:cxn>
              <a:cxn ang="0">
                <a:pos x="connsiteX10576" y="connsiteY10576"/>
              </a:cxn>
              <a:cxn ang="0">
                <a:pos x="connsiteX10577" y="connsiteY10577"/>
              </a:cxn>
              <a:cxn ang="0">
                <a:pos x="connsiteX10578" y="connsiteY10578"/>
              </a:cxn>
              <a:cxn ang="0">
                <a:pos x="connsiteX10579" y="connsiteY10579"/>
              </a:cxn>
              <a:cxn ang="0">
                <a:pos x="connsiteX10580" y="connsiteY10580"/>
              </a:cxn>
              <a:cxn ang="0">
                <a:pos x="connsiteX10581" y="connsiteY10581"/>
              </a:cxn>
              <a:cxn ang="0">
                <a:pos x="connsiteX10582" y="connsiteY10582"/>
              </a:cxn>
              <a:cxn ang="0">
                <a:pos x="connsiteX10583" y="connsiteY10583"/>
              </a:cxn>
              <a:cxn ang="0">
                <a:pos x="connsiteX10584" y="connsiteY10584"/>
              </a:cxn>
              <a:cxn ang="0">
                <a:pos x="connsiteX10585" y="connsiteY10585"/>
              </a:cxn>
              <a:cxn ang="0">
                <a:pos x="connsiteX10586" y="connsiteY10586"/>
              </a:cxn>
              <a:cxn ang="0">
                <a:pos x="connsiteX10587" y="connsiteY10587"/>
              </a:cxn>
              <a:cxn ang="0">
                <a:pos x="connsiteX10588" y="connsiteY10588"/>
              </a:cxn>
              <a:cxn ang="0">
                <a:pos x="connsiteX10589" y="connsiteY10589"/>
              </a:cxn>
              <a:cxn ang="0">
                <a:pos x="connsiteX10590" y="connsiteY10590"/>
              </a:cxn>
              <a:cxn ang="0">
                <a:pos x="connsiteX10591" y="connsiteY10591"/>
              </a:cxn>
              <a:cxn ang="0">
                <a:pos x="connsiteX10592" y="connsiteY10592"/>
              </a:cxn>
              <a:cxn ang="0">
                <a:pos x="connsiteX10593" y="connsiteY10593"/>
              </a:cxn>
              <a:cxn ang="0">
                <a:pos x="connsiteX10594" y="connsiteY10594"/>
              </a:cxn>
              <a:cxn ang="0">
                <a:pos x="connsiteX10595" y="connsiteY10595"/>
              </a:cxn>
              <a:cxn ang="0">
                <a:pos x="connsiteX10596" y="connsiteY10596"/>
              </a:cxn>
              <a:cxn ang="0">
                <a:pos x="connsiteX10597" y="connsiteY10597"/>
              </a:cxn>
              <a:cxn ang="0">
                <a:pos x="connsiteX10598" y="connsiteY10598"/>
              </a:cxn>
              <a:cxn ang="0">
                <a:pos x="connsiteX10599" y="connsiteY10599"/>
              </a:cxn>
              <a:cxn ang="0">
                <a:pos x="connsiteX10600" y="connsiteY10600"/>
              </a:cxn>
              <a:cxn ang="0">
                <a:pos x="connsiteX10601" y="connsiteY10601"/>
              </a:cxn>
              <a:cxn ang="0">
                <a:pos x="connsiteX10602" y="connsiteY10602"/>
              </a:cxn>
              <a:cxn ang="0">
                <a:pos x="connsiteX10603" y="connsiteY10603"/>
              </a:cxn>
              <a:cxn ang="0">
                <a:pos x="connsiteX10604" y="connsiteY10604"/>
              </a:cxn>
              <a:cxn ang="0">
                <a:pos x="connsiteX10605" y="connsiteY10605"/>
              </a:cxn>
              <a:cxn ang="0">
                <a:pos x="connsiteX10606" y="connsiteY10606"/>
              </a:cxn>
              <a:cxn ang="0">
                <a:pos x="connsiteX10607" y="connsiteY10607"/>
              </a:cxn>
              <a:cxn ang="0">
                <a:pos x="connsiteX10608" y="connsiteY10608"/>
              </a:cxn>
              <a:cxn ang="0">
                <a:pos x="connsiteX10609" y="connsiteY10609"/>
              </a:cxn>
              <a:cxn ang="0">
                <a:pos x="connsiteX10610" y="connsiteY10610"/>
              </a:cxn>
              <a:cxn ang="0">
                <a:pos x="connsiteX10611" y="connsiteY10611"/>
              </a:cxn>
              <a:cxn ang="0">
                <a:pos x="connsiteX10612" y="connsiteY10612"/>
              </a:cxn>
              <a:cxn ang="0">
                <a:pos x="connsiteX10613" y="connsiteY10613"/>
              </a:cxn>
              <a:cxn ang="0">
                <a:pos x="connsiteX10614" y="connsiteY10614"/>
              </a:cxn>
              <a:cxn ang="0">
                <a:pos x="connsiteX10615" y="connsiteY10615"/>
              </a:cxn>
              <a:cxn ang="0">
                <a:pos x="connsiteX10616" y="connsiteY10616"/>
              </a:cxn>
              <a:cxn ang="0">
                <a:pos x="connsiteX10617" y="connsiteY10617"/>
              </a:cxn>
              <a:cxn ang="0">
                <a:pos x="connsiteX10618" y="connsiteY10618"/>
              </a:cxn>
              <a:cxn ang="0">
                <a:pos x="connsiteX10619" y="connsiteY10619"/>
              </a:cxn>
              <a:cxn ang="0">
                <a:pos x="connsiteX10620" y="connsiteY10620"/>
              </a:cxn>
              <a:cxn ang="0">
                <a:pos x="connsiteX10621" y="connsiteY10621"/>
              </a:cxn>
              <a:cxn ang="0">
                <a:pos x="connsiteX10622" y="connsiteY10622"/>
              </a:cxn>
              <a:cxn ang="0">
                <a:pos x="connsiteX10623" y="connsiteY10623"/>
              </a:cxn>
              <a:cxn ang="0">
                <a:pos x="connsiteX10624" y="connsiteY10624"/>
              </a:cxn>
              <a:cxn ang="0">
                <a:pos x="connsiteX10625" y="connsiteY10625"/>
              </a:cxn>
              <a:cxn ang="0">
                <a:pos x="connsiteX10626" y="connsiteY10626"/>
              </a:cxn>
              <a:cxn ang="0">
                <a:pos x="connsiteX10627" y="connsiteY10627"/>
              </a:cxn>
              <a:cxn ang="0">
                <a:pos x="connsiteX10628" y="connsiteY10628"/>
              </a:cxn>
              <a:cxn ang="0">
                <a:pos x="connsiteX10629" y="connsiteY10629"/>
              </a:cxn>
              <a:cxn ang="0">
                <a:pos x="connsiteX10630" y="connsiteY10630"/>
              </a:cxn>
              <a:cxn ang="0">
                <a:pos x="connsiteX10631" y="connsiteY10631"/>
              </a:cxn>
              <a:cxn ang="0">
                <a:pos x="connsiteX10632" y="connsiteY10632"/>
              </a:cxn>
              <a:cxn ang="0">
                <a:pos x="connsiteX10633" y="connsiteY10633"/>
              </a:cxn>
              <a:cxn ang="0">
                <a:pos x="connsiteX10634" y="connsiteY10634"/>
              </a:cxn>
              <a:cxn ang="0">
                <a:pos x="connsiteX10635" y="connsiteY10635"/>
              </a:cxn>
              <a:cxn ang="0">
                <a:pos x="connsiteX10636" y="connsiteY10636"/>
              </a:cxn>
              <a:cxn ang="0">
                <a:pos x="connsiteX10637" y="connsiteY10637"/>
              </a:cxn>
              <a:cxn ang="0">
                <a:pos x="connsiteX10638" y="connsiteY10638"/>
              </a:cxn>
              <a:cxn ang="0">
                <a:pos x="connsiteX10639" y="connsiteY10639"/>
              </a:cxn>
              <a:cxn ang="0">
                <a:pos x="connsiteX10640" y="connsiteY10640"/>
              </a:cxn>
              <a:cxn ang="0">
                <a:pos x="connsiteX10641" y="connsiteY10641"/>
              </a:cxn>
              <a:cxn ang="0">
                <a:pos x="connsiteX10642" y="connsiteY10642"/>
              </a:cxn>
              <a:cxn ang="0">
                <a:pos x="connsiteX10643" y="connsiteY10643"/>
              </a:cxn>
              <a:cxn ang="0">
                <a:pos x="connsiteX10644" y="connsiteY10644"/>
              </a:cxn>
              <a:cxn ang="0">
                <a:pos x="connsiteX10645" y="connsiteY10645"/>
              </a:cxn>
              <a:cxn ang="0">
                <a:pos x="connsiteX10646" y="connsiteY10646"/>
              </a:cxn>
              <a:cxn ang="0">
                <a:pos x="connsiteX10647" y="connsiteY10647"/>
              </a:cxn>
              <a:cxn ang="0">
                <a:pos x="connsiteX10648" y="connsiteY10648"/>
              </a:cxn>
              <a:cxn ang="0">
                <a:pos x="connsiteX10649" y="connsiteY10649"/>
              </a:cxn>
              <a:cxn ang="0">
                <a:pos x="connsiteX10650" y="connsiteY10650"/>
              </a:cxn>
              <a:cxn ang="0">
                <a:pos x="connsiteX10651" y="connsiteY10651"/>
              </a:cxn>
              <a:cxn ang="0">
                <a:pos x="connsiteX10652" y="connsiteY10652"/>
              </a:cxn>
              <a:cxn ang="0">
                <a:pos x="connsiteX10653" y="connsiteY10653"/>
              </a:cxn>
              <a:cxn ang="0">
                <a:pos x="connsiteX10654" y="connsiteY10654"/>
              </a:cxn>
              <a:cxn ang="0">
                <a:pos x="connsiteX10655" y="connsiteY10655"/>
              </a:cxn>
              <a:cxn ang="0">
                <a:pos x="connsiteX10656" y="connsiteY10656"/>
              </a:cxn>
              <a:cxn ang="0">
                <a:pos x="connsiteX10657" y="connsiteY10657"/>
              </a:cxn>
              <a:cxn ang="0">
                <a:pos x="connsiteX10658" y="connsiteY10658"/>
              </a:cxn>
              <a:cxn ang="0">
                <a:pos x="connsiteX10659" y="connsiteY10659"/>
              </a:cxn>
              <a:cxn ang="0">
                <a:pos x="connsiteX10660" y="connsiteY10660"/>
              </a:cxn>
              <a:cxn ang="0">
                <a:pos x="connsiteX10661" y="connsiteY10661"/>
              </a:cxn>
              <a:cxn ang="0">
                <a:pos x="connsiteX10662" y="connsiteY10662"/>
              </a:cxn>
              <a:cxn ang="0">
                <a:pos x="connsiteX10663" y="connsiteY10663"/>
              </a:cxn>
              <a:cxn ang="0">
                <a:pos x="connsiteX10664" y="connsiteY10664"/>
              </a:cxn>
              <a:cxn ang="0">
                <a:pos x="connsiteX10665" y="connsiteY10665"/>
              </a:cxn>
              <a:cxn ang="0">
                <a:pos x="connsiteX10666" y="connsiteY10666"/>
              </a:cxn>
              <a:cxn ang="0">
                <a:pos x="connsiteX10667" y="connsiteY10667"/>
              </a:cxn>
              <a:cxn ang="0">
                <a:pos x="connsiteX10668" y="connsiteY10668"/>
              </a:cxn>
              <a:cxn ang="0">
                <a:pos x="connsiteX10669" y="connsiteY10669"/>
              </a:cxn>
              <a:cxn ang="0">
                <a:pos x="connsiteX10670" y="connsiteY10670"/>
              </a:cxn>
              <a:cxn ang="0">
                <a:pos x="connsiteX10671" y="connsiteY10671"/>
              </a:cxn>
              <a:cxn ang="0">
                <a:pos x="connsiteX10672" y="connsiteY10672"/>
              </a:cxn>
              <a:cxn ang="0">
                <a:pos x="connsiteX10673" y="connsiteY10673"/>
              </a:cxn>
              <a:cxn ang="0">
                <a:pos x="connsiteX10674" y="connsiteY10674"/>
              </a:cxn>
              <a:cxn ang="0">
                <a:pos x="connsiteX10675" y="connsiteY10675"/>
              </a:cxn>
              <a:cxn ang="0">
                <a:pos x="connsiteX10676" y="connsiteY10676"/>
              </a:cxn>
              <a:cxn ang="0">
                <a:pos x="connsiteX10677" y="connsiteY10677"/>
              </a:cxn>
              <a:cxn ang="0">
                <a:pos x="connsiteX10678" y="connsiteY10678"/>
              </a:cxn>
              <a:cxn ang="0">
                <a:pos x="connsiteX10679" y="connsiteY10679"/>
              </a:cxn>
              <a:cxn ang="0">
                <a:pos x="connsiteX10680" y="connsiteY10680"/>
              </a:cxn>
              <a:cxn ang="0">
                <a:pos x="connsiteX10681" y="connsiteY10681"/>
              </a:cxn>
              <a:cxn ang="0">
                <a:pos x="connsiteX10682" y="connsiteY10682"/>
              </a:cxn>
              <a:cxn ang="0">
                <a:pos x="connsiteX10683" y="connsiteY10683"/>
              </a:cxn>
              <a:cxn ang="0">
                <a:pos x="connsiteX10684" y="connsiteY10684"/>
              </a:cxn>
              <a:cxn ang="0">
                <a:pos x="connsiteX10685" y="connsiteY10685"/>
              </a:cxn>
              <a:cxn ang="0">
                <a:pos x="connsiteX10686" y="connsiteY10686"/>
              </a:cxn>
              <a:cxn ang="0">
                <a:pos x="connsiteX10687" y="connsiteY10687"/>
              </a:cxn>
              <a:cxn ang="0">
                <a:pos x="connsiteX10688" y="connsiteY10688"/>
              </a:cxn>
              <a:cxn ang="0">
                <a:pos x="connsiteX10689" y="connsiteY10689"/>
              </a:cxn>
              <a:cxn ang="0">
                <a:pos x="connsiteX10690" y="connsiteY10690"/>
              </a:cxn>
              <a:cxn ang="0">
                <a:pos x="connsiteX10691" y="connsiteY10691"/>
              </a:cxn>
              <a:cxn ang="0">
                <a:pos x="connsiteX10692" y="connsiteY10692"/>
              </a:cxn>
              <a:cxn ang="0">
                <a:pos x="connsiteX10693" y="connsiteY10693"/>
              </a:cxn>
              <a:cxn ang="0">
                <a:pos x="connsiteX10694" y="connsiteY10694"/>
              </a:cxn>
              <a:cxn ang="0">
                <a:pos x="connsiteX10695" y="connsiteY10695"/>
              </a:cxn>
              <a:cxn ang="0">
                <a:pos x="connsiteX10696" y="connsiteY10696"/>
              </a:cxn>
              <a:cxn ang="0">
                <a:pos x="connsiteX10697" y="connsiteY10697"/>
              </a:cxn>
              <a:cxn ang="0">
                <a:pos x="connsiteX10698" y="connsiteY10698"/>
              </a:cxn>
              <a:cxn ang="0">
                <a:pos x="connsiteX10699" y="connsiteY10699"/>
              </a:cxn>
              <a:cxn ang="0">
                <a:pos x="connsiteX10700" y="connsiteY10700"/>
              </a:cxn>
              <a:cxn ang="0">
                <a:pos x="connsiteX10701" y="connsiteY10701"/>
              </a:cxn>
              <a:cxn ang="0">
                <a:pos x="connsiteX10702" y="connsiteY10702"/>
              </a:cxn>
              <a:cxn ang="0">
                <a:pos x="connsiteX10703" y="connsiteY10703"/>
              </a:cxn>
              <a:cxn ang="0">
                <a:pos x="connsiteX10704" y="connsiteY10704"/>
              </a:cxn>
              <a:cxn ang="0">
                <a:pos x="connsiteX10705" y="connsiteY10705"/>
              </a:cxn>
              <a:cxn ang="0">
                <a:pos x="connsiteX10706" y="connsiteY10706"/>
              </a:cxn>
              <a:cxn ang="0">
                <a:pos x="connsiteX10707" y="connsiteY10707"/>
              </a:cxn>
              <a:cxn ang="0">
                <a:pos x="connsiteX10708" y="connsiteY10708"/>
              </a:cxn>
              <a:cxn ang="0">
                <a:pos x="connsiteX10709" y="connsiteY10709"/>
              </a:cxn>
              <a:cxn ang="0">
                <a:pos x="connsiteX10710" y="connsiteY10710"/>
              </a:cxn>
              <a:cxn ang="0">
                <a:pos x="connsiteX10711" y="connsiteY10711"/>
              </a:cxn>
              <a:cxn ang="0">
                <a:pos x="connsiteX10712" y="connsiteY10712"/>
              </a:cxn>
              <a:cxn ang="0">
                <a:pos x="connsiteX10713" y="connsiteY10713"/>
              </a:cxn>
              <a:cxn ang="0">
                <a:pos x="connsiteX10714" y="connsiteY10714"/>
              </a:cxn>
              <a:cxn ang="0">
                <a:pos x="connsiteX10715" y="connsiteY10715"/>
              </a:cxn>
              <a:cxn ang="0">
                <a:pos x="connsiteX10716" y="connsiteY10716"/>
              </a:cxn>
              <a:cxn ang="0">
                <a:pos x="connsiteX10717" y="connsiteY10717"/>
              </a:cxn>
              <a:cxn ang="0">
                <a:pos x="connsiteX10718" y="connsiteY10718"/>
              </a:cxn>
              <a:cxn ang="0">
                <a:pos x="connsiteX10719" y="connsiteY10719"/>
              </a:cxn>
              <a:cxn ang="0">
                <a:pos x="connsiteX10720" y="connsiteY10720"/>
              </a:cxn>
              <a:cxn ang="0">
                <a:pos x="connsiteX10721" y="connsiteY10721"/>
              </a:cxn>
              <a:cxn ang="0">
                <a:pos x="connsiteX10722" y="connsiteY10722"/>
              </a:cxn>
              <a:cxn ang="0">
                <a:pos x="connsiteX10723" y="connsiteY10723"/>
              </a:cxn>
              <a:cxn ang="0">
                <a:pos x="connsiteX10724" y="connsiteY10724"/>
              </a:cxn>
              <a:cxn ang="0">
                <a:pos x="connsiteX10725" y="connsiteY10725"/>
              </a:cxn>
              <a:cxn ang="0">
                <a:pos x="connsiteX10726" y="connsiteY10726"/>
              </a:cxn>
              <a:cxn ang="0">
                <a:pos x="connsiteX10727" y="connsiteY10727"/>
              </a:cxn>
              <a:cxn ang="0">
                <a:pos x="connsiteX10728" y="connsiteY10728"/>
              </a:cxn>
              <a:cxn ang="0">
                <a:pos x="connsiteX10729" y="connsiteY10729"/>
              </a:cxn>
              <a:cxn ang="0">
                <a:pos x="connsiteX10730" y="connsiteY10730"/>
              </a:cxn>
              <a:cxn ang="0">
                <a:pos x="connsiteX10731" y="connsiteY10731"/>
              </a:cxn>
              <a:cxn ang="0">
                <a:pos x="connsiteX10732" y="connsiteY10732"/>
              </a:cxn>
              <a:cxn ang="0">
                <a:pos x="connsiteX10733" y="connsiteY10733"/>
              </a:cxn>
              <a:cxn ang="0">
                <a:pos x="connsiteX10734" y="connsiteY10734"/>
              </a:cxn>
              <a:cxn ang="0">
                <a:pos x="connsiteX10735" y="connsiteY10735"/>
              </a:cxn>
              <a:cxn ang="0">
                <a:pos x="connsiteX10736" y="connsiteY10736"/>
              </a:cxn>
              <a:cxn ang="0">
                <a:pos x="connsiteX10737" y="connsiteY10737"/>
              </a:cxn>
              <a:cxn ang="0">
                <a:pos x="connsiteX10738" y="connsiteY10738"/>
              </a:cxn>
              <a:cxn ang="0">
                <a:pos x="connsiteX10739" y="connsiteY10739"/>
              </a:cxn>
              <a:cxn ang="0">
                <a:pos x="connsiteX10740" y="connsiteY10740"/>
              </a:cxn>
              <a:cxn ang="0">
                <a:pos x="connsiteX10741" y="connsiteY10741"/>
              </a:cxn>
              <a:cxn ang="0">
                <a:pos x="connsiteX10742" y="connsiteY10742"/>
              </a:cxn>
              <a:cxn ang="0">
                <a:pos x="connsiteX10743" y="connsiteY10743"/>
              </a:cxn>
              <a:cxn ang="0">
                <a:pos x="connsiteX10744" y="connsiteY10744"/>
              </a:cxn>
              <a:cxn ang="0">
                <a:pos x="connsiteX10745" y="connsiteY10745"/>
              </a:cxn>
              <a:cxn ang="0">
                <a:pos x="connsiteX10746" y="connsiteY10746"/>
              </a:cxn>
              <a:cxn ang="0">
                <a:pos x="connsiteX10747" y="connsiteY10747"/>
              </a:cxn>
              <a:cxn ang="0">
                <a:pos x="connsiteX10748" y="connsiteY10748"/>
              </a:cxn>
              <a:cxn ang="0">
                <a:pos x="connsiteX10749" y="connsiteY10749"/>
              </a:cxn>
              <a:cxn ang="0">
                <a:pos x="connsiteX10750" y="connsiteY10750"/>
              </a:cxn>
              <a:cxn ang="0">
                <a:pos x="connsiteX10751" y="connsiteY10751"/>
              </a:cxn>
              <a:cxn ang="0">
                <a:pos x="connsiteX10752" y="connsiteY10752"/>
              </a:cxn>
              <a:cxn ang="0">
                <a:pos x="connsiteX10753" y="connsiteY10753"/>
              </a:cxn>
              <a:cxn ang="0">
                <a:pos x="connsiteX10754" y="connsiteY10754"/>
              </a:cxn>
              <a:cxn ang="0">
                <a:pos x="connsiteX10755" y="connsiteY10755"/>
              </a:cxn>
              <a:cxn ang="0">
                <a:pos x="connsiteX10756" y="connsiteY10756"/>
              </a:cxn>
              <a:cxn ang="0">
                <a:pos x="connsiteX10757" y="connsiteY10757"/>
              </a:cxn>
              <a:cxn ang="0">
                <a:pos x="connsiteX10758" y="connsiteY10758"/>
              </a:cxn>
              <a:cxn ang="0">
                <a:pos x="connsiteX10759" y="connsiteY10759"/>
              </a:cxn>
              <a:cxn ang="0">
                <a:pos x="connsiteX10760" y="connsiteY10760"/>
              </a:cxn>
              <a:cxn ang="0">
                <a:pos x="connsiteX10761" y="connsiteY10761"/>
              </a:cxn>
              <a:cxn ang="0">
                <a:pos x="connsiteX10762" y="connsiteY10762"/>
              </a:cxn>
              <a:cxn ang="0">
                <a:pos x="connsiteX10763" y="connsiteY10763"/>
              </a:cxn>
              <a:cxn ang="0">
                <a:pos x="connsiteX10764" y="connsiteY10764"/>
              </a:cxn>
              <a:cxn ang="0">
                <a:pos x="connsiteX10765" y="connsiteY10765"/>
              </a:cxn>
              <a:cxn ang="0">
                <a:pos x="connsiteX10766" y="connsiteY10766"/>
              </a:cxn>
              <a:cxn ang="0">
                <a:pos x="connsiteX10767" y="connsiteY10767"/>
              </a:cxn>
              <a:cxn ang="0">
                <a:pos x="connsiteX10768" y="connsiteY10768"/>
              </a:cxn>
              <a:cxn ang="0">
                <a:pos x="connsiteX10769" y="connsiteY10769"/>
              </a:cxn>
              <a:cxn ang="0">
                <a:pos x="connsiteX10770" y="connsiteY10770"/>
              </a:cxn>
              <a:cxn ang="0">
                <a:pos x="connsiteX10771" y="connsiteY10771"/>
              </a:cxn>
              <a:cxn ang="0">
                <a:pos x="connsiteX10772" y="connsiteY10772"/>
              </a:cxn>
              <a:cxn ang="0">
                <a:pos x="connsiteX10773" y="connsiteY10773"/>
              </a:cxn>
              <a:cxn ang="0">
                <a:pos x="connsiteX10774" y="connsiteY10774"/>
              </a:cxn>
              <a:cxn ang="0">
                <a:pos x="connsiteX10775" y="connsiteY10775"/>
              </a:cxn>
              <a:cxn ang="0">
                <a:pos x="connsiteX10776" y="connsiteY10776"/>
              </a:cxn>
              <a:cxn ang="0">
                <a:pos x="connsiteX10777" y="connsiteY10777"/>
              </a:cxn>
              <a:cxn ang="0">
                <a:pos x="connsiteX10778" y="connsiteY10778"/>
              </a:cxn>
              <a:cxn ang="0">
                <a:pos x="connsiteX10779" y="connsiteY10779"/>
              </a:cxn>
              <a:cxn ang="0">
                <a:pos x="connsiteX10780" y="connsiteY10780"/>
              </a:cxn>
              <a:cxn ang="0">
                <a:pos x="connsiteX10781" y="connsiteY10781"/>
              </a:cxn>
              <a:cxn ang="0">
                <a:pos x="connsiteX10782" y="connsiteY10782"/>
              </a:cxn>
              <a:cxn ang="0">
                <a:pos x="connsiteX10783" y="connsiteY10783"/>
              </a:cxn>
              <a:cxn ang="0">
                <a:pos x="connsiteX10784" y="connsiteY10784"/>
              </a:cxn>
              <a:cxn ang="0">
                <a:pos x="connsiteX10785" y="connsiteY10785"/>
              </a:cxn>
              <a:cxn ang="0">
                <a:pos x="connsiteX10786" y="connsiteY10786"/>
              </a:cxn>
              <a:cxn ang="0">
                <a:pos x="connsiteX10787" y="connsiteY10787"/>
              </a:cxn>
              <a:cxn ang="0">
                <a:pos x="connsiteX10788" y="connsiteY10788"/>
              </a:cxn>
              <a:cxn ang="0">
                <a:pos x="connsiteX10789" y="connsiteY10789"/>
              </a:cxn>
              <a:cxn ang="0">
                <a:pos x="connsiteX10790" y="connsiteY10790"/>
              </a:cxn>
              <a:cxn ang="0">
                <a:pos x="connsiteX10791" y="connsiteY10791"/>
              </a:cxn>
              <a:cxn ang="0">
                <a:pos x="connsiteX10792" y="connsiteY10792"/>
              </a:cxn>
              <a:cxn ang="0">
                <a:pos x="connsiteX10793" y="connsiteY10793"/>
              </a:cxn>
              <a:cxn ang="0">
                <a:pos x="connsiteX10794" y="connsiteY10794"/>
              </a:cxn>
              <a:cxn ang="0">
                <a:pos x="connsiteX10795" y="connsiteY10795"/>
              </a:cxn>
              <a:cxn ang="0">
                <a:pos x="connsiteX10796" y="connsiteY10796"/>
              </a:cxn>
              <a:cxn ang="0">
                <a:pos x="connsiteX10797" y="connsiteY10797"/>
              </a:cxn>
              <a:cxn ang="0">
                <a:pos x="connsiteX10798" y="connsiteY10798"/>
              </a:cxn>
              <a:cxn ang="0">
                <a:pos x="connsiteX10799" y="connsiteY10799"/>
              </a:cxn>
              <a:cxn ang="0">
                <a:pos x="connsiteX10800" y="connsiteY10800"/>
              </a:cxn>
              <a:cxn ang="0">
                <a:pos x="connsiteX10801" y="connsiteY10801"/>
              </a:cxn>
              <a:cxn ang="0">
                <a:pos x="connsiteX10802" y="connsiteY10802"/>
              </a:cxn>
              <a:cxn ang="0">
                <a:pos x="connsiteX10803" y="connsiteY10803"/>
              </a:cxn>
              <a:cxn ang="0">
                <a:pos x="connsiteX10804" y="connsiteY10804"/>
              </a:cxn>
              <a:cxn ang="0">
                <a:pos x="connsiteX10805" y="connsiteY10805"/>
              </a:cxn>
              <a:cxn ang="0">
                <a:pos x="connsiteX10806" y="connsiteY10806"/>
              </a:cxn>
              <a:cxn ang="0">
                <a:pos x="connsiteX10807" y="connsiteY10807"/>
              </a:cxn>
              <a:cxn ang="0">
                <a:pos x="connsiteX10808" y="connsiteY10808"/>
              </a:cxn>
              <a:cxn ang="0">
                <a:pos x="connsiteX10809" y="connsiteY10809"/>
              </a:cxn>
              <a:cxn ang="0">
                <a:pos x="connsiteX10810" y="connsiteY10810"/>
              </a:cxn>
              <a:cxn ang="0">
                <a:pos x="connsiteX10811" y="connsiteY10811"/>
              </a:cxn>
              <a:cxn ang="0">
                <a:pos x="connsiteX10812" y="connsiteY10812"/>
              </a:cxn>
              <a:cxn ang="0">
                <a:pos x="connsiteX10813" y="connsiteY10813"/>
              </a:cxn>
              <a:cxn ang="0">
                <a:pos x="connsiteX10814" y="connsiteY10814"/>
              </a:cxn>
              <a:cxn ang="0">
                <a:pos x="connsiteX10815" y="connsiteY10815"/>
              </a:cxn>
              <a:cxn ang="0">
                <a:pos x="connsiteX10816" y="connsiteY10816"/>
              </a:cxn>
              <a:cxn ang="0">
                <a:pos x="connsiteX10817" y="connsiteY10817"/>
              </a:cxn>
              <a:cxn ang="0">
                <a:pos x="connsiteX10818" y="connsiteY10818"/>
              </a:cxn>
              <a:cxn ang="0">
                <a:pos x="connsiteX10819" y="connsiteY10819"/>
              </a:cxn>
              <a:cxn ang="0">
                <a:pos x="connsiteX10820" y="connsiteY10820"/>
              </a:cxn>
              <a:cxn ang="0">
                <a:pos x="connsiteX10821" y="connsiteY10821"/>
              </a:cxn>
              <a:cxn ang="0">
                <a:pos x="connsiteX10822" y="connsiteY10822"/>
              </a:cxn>
              <a:cxn ang="0">
                <a:pos x="connsiteX10823" y="connsiteY10823"/>
              </a:cxn>
              <a:cxn ang="0">
                <a:pos x="connsiteX10824" y="connsiteY10824"/>
              </a:cxn>
              <a:cxn ang="0">
                <a:pos x="connsiteX10825" y="connsiteY10825"/>
              </a:cxn>
              <a:cxn ang="0">
                <a:pos x="connsiteX10826" y="connsiteY10826"/>
              </a:cxn>
              <a:cxn ang="0">
                <a:pos x="connsiteX10827" y="connsiteY10827"/>
              </a:cxn>
              <a:cxn ang="0">
                <a:pos x="connsiteX10828" y="connsiteY10828"/>
              </a:cxn>
              <a:cxn ang="0">
                <a:pos x="connsiteX10829" y="connsiteY10829"/>
              </a:cxn>
              <a:cxn ang="0">
                <a:pos x="connsiteX10830" y="connsiteY10830"/>
              </a:cxn>
              <a:cxn ang="0">
                <a:pos x="connsiteX10831" y="connsiteY10831"/>
              </a:cxn>
              <a:cxn ang="0">
                <a:pos x="connsiteX10832" y="connsiteY10832"/>
              </a:cxn>
              <a:cxn ang="0">
                <a:pos x="connsiteX10833" y="connsiteY10833"/>
              </a:cxn>
              <a:cxn ang="0">
                <a:pos x="connsiteX10834" y="connsiteY10834"/>
              </a:cxn>
              <a:cxn ang="0">
                <a:pos x="connsiteX10835" y="connsiteY10835"/>
              </a:cxn>
              <a:cxn ang="0">
                <a:pos x="connsiteX10836" y="connsiteY10836"/>
              </a:cxn>
              <a:cxn ang="0">
                <a:pos x="connsiteX10837" y="connsiteY10837"/>
              </a:cxn>
              <a:cxn ang="0">
                <a:pos x="connsiteX10838" y="connsiteY10838"/>
              </a:cxn>
              <a:cxn ang="0">
                <a:pos x="connsiteX10839" y="connsiteY10839"/>
              </a:cxn>
              <a:cxn ang="0">
                <a:pos x="connsiteX10840" y="connsiteY10840"/>
              </a:cxn>
              <a:cxn ang="0">
                <a:pos x="connsiteX10841" y="connsiteY10841"/>
              </a:cxn>
              <a:cxn ang="0">
                <a:pos x="connsiteX10842" y="connsiteY10842"/>
              </a:cxn>
              <a:cxn ang="0">
                <a:pos x="connsiteX10843" y="connsiteY10843"/>
              </a:cxn>
              <a:cxn ang="0">
                <a:pos x="connsiteX10844" y="connsiteY10844"/>
              </a:cxn>
              <a:cxn ang="0">
                <a:pos x="connsiteX10845" y="connsiteY10845"/>
              </a:cxn>
              <a:cxn ang="0">
                <a:pos x="connsiteX10846" y="connsiteY10846"/>
              </a:cxn>
              <a:cxn ang="0">
                <a:pos x="connsiteX10847" y="connsiteY10847"/>
              </a:cxn>
              <a:cxn ang="0">
                <a:pos x="connsiteX10848" y="connsiteY10848"/>
              </a:cxn>
              <a:cxn ang="0">
                <a:pos x="connsiteX10849" y="connsiteY10849"/>
              </a:cxn>
              <a:cxn ang="0">
                <a:pos x="connsiteX10850" y="connsiteY10850"/>
              </a:cxn>
              <a:cxn ang="0">
                <a:pos x="connsiteX10851" y="connsiteY10851"/>
              </a:cxn>
              <a:cxn ang="0">
                <a:pos x="connsiteX10852" y="connsiteY10852"/>
              </a:cxn>
              <a:cxn ang="0">
                <a:pos x="connsiteX10853" y="connsiteY10853"/>
              </a:cxn>
              <a:cxn ang="0">
                <a:pos x="connsiteX10854" y="connsiteY10854"/>
              </a:cxn>
              <a:cxn ang="0">
                <a:pos x="connsiteX10855" y="connsiteY10855"/>
              </a:cxn>
              <a:cxn ang="0">
                <a:pos x="connsiteX10856" y="connsiteY10856"/>
              </a:cxn>
              <a:cxn ang="0">
                <a:pos x="connsiteX10857" y="connsiteY10857"/>
              </a:cxn>
              <a:cxn ang="0">
                <a:pos x="connsiteX10858" y="connsiteY10858"/>
              </a:cxn>
              <a:cxn ang="0">
                <a:pos x="connsiteX10859" y="connsiteY10859"/>
              </a:cxn>
              <a:cxn ang="0">
                <a:pos x="connsiteX10860" y="connsiteY10860"/>
              </a:cxn>
              <a:cxn ang="0">
                <a:pos x="connsiteX10861" y="connsiteY10861"/>
              </a:cxn>
              <a:cxn ang="0">
                <a:pos x="connsiteX10862" y="connsiteY10862"/>
              </a:cxn>
              <a:cxn ang="0">
                <a:pos x="connsiteX10863" y="connsiteY10863"/>
              </a:cxn>
              <a:cxn ang="0">
                <a:pos x="connsiteX10864" y="connsiteY10864"/>
              </a:cxn>
              <a:cxn ang="0">
                <a:pos x="connsiteX10865" y="connsiteY10865"/>
              </a:cxn>
              <a:cxn ang="0">
                <a:pos x="connsiteX10866" y="connsiteY10866"/>
              </a:cxn>
              <a:cxn ang="0">
                <a:pos x="connsiteX10867" y="connsiteY10867"/>
              </a:cxn>
              <a:cxn ang="0">
                <a:pos x="connsiteX10868" y="connsiteY10868"/>
              </a:cxn>
              <a:cxn ang="0">
                <a:pos x="connsiteX10869" y="connsiteY10869"/>
              </a:cxn>
              <a:cxn ang="0">
                <a:pos x="connsiteX10870" y="connsiteY10870"/>
              </a:cxn>
              <a:cxn ang="0">
                <a:pos x="connsiteX10871" y="connsiteY10871"/>
              </a:cxn>
              <a:cxn ang="0">
                <a:pos x="connsiteX10872" y="connsiteY10872"/>
              </a:cxn>
              <a:cxn ang="0">
                <a:pos x="connsiteX10873" y="connsiteY10873"/>
              </a:cxn>
              <a:cxn ang="0">
                <a:pos x="connsiteX10874" y="connsiteY10874"/>
              </a:cxn>
              <a:cxn ang="0">
                <a:pos x="connsiteX10875" y="connsiteY10875"/>
              </a:cxn>
              <a:cxn ang="0">
                <a:pos x="connsiteX10876" y="connsiteY10876"/>
              </a:cxn>
              <a:cxn ang="0">
                <a:pos x="connsiteX10877" y="connsiteY10877"/>
              </a:cxn>
              <a:cxn ang="0">
                <a:pos x="connsiteX10878" y="connsiteY10878"/>
              </a:cxn>
              <a:cxn ang="0">
                <a:pos x="connsiteX10879" y="connsiteY10879"/>
              </a:cxn>
              <a:cxn ang="0">
                <a:pos x="connsiteX10880" y="connsiteY10880"/>
              </a:cxn>
              <a:cxn ang="0">
                <a:pos x="connsiteX10881" y="connsiteY10881"/>
              </a:cxn>
              <a:cxn ang="0">
                <a:pos x="connsiteX10882" y="connsiteY10882"/>
              </a:cxn>
              <a:cxn ang="0">
                <a:pos x="connsiteX10883" y="connsiteY10883"/>
              </a:cxn>
              <a:cxn ang="0">
                <a:pos x="connsiteX10884" y="connsiteY10884"/>
              </a:cxn>
              <a:cxn ang="0">
                <a:pos x="connsiteX10885" y="connsiteY10885"/>
              </a:cxn>
              <a:cxn ang="0">
                <a:pos x="connsiteX10886" y="connsiteY10886"/>
              </a:cxn>
              <a:cxn ang="0">
                <a:pos x="connsiteX10887" y="connsiteY10887"/>
              </a:cxn>
              <a:cxn ang="0">
                <a:pos x="connsiteX10888" y="connsiteY10888"/>
              </a:cxn>
              <a:cxn ang="0">
                <a:pos x="connsiteX10889" y="connsiteY10889"/>
              </a:cxn>
              <a:cxn ang="0">
                <a:pos x="connsiteX10890" y="connsiteY10890"/>
              </a:cxn>
              <a:cxn ang="0">
                <a:pos x="connsiteX10891" y="connsiteY10891"/>
              </a:cxn>
              <a:cxn ang="0">
                <a:pos x="connsiteX10892" y="connsiteY10892"/>
              </a:cxn>
              <a:cxn ang="0">
                <a:pos x="connsiteX10893" y="connsiteY10893"/>
              </a:cxn>
              <a:cxn ang="0">
                <a:pos x="connsiteX10894" y="connsiteY10894"/>
              </a:cxn>
              <a:cxn ang="0">
                <a:pos x="connsiteX10895" y="connsiteY10895"/>
              </a:cxn>
              <a:cxn ang="0">
                <a:pos x="connsiteX10896" y="connsiteY10896"/>
              </a:cxn>
              <a:cxn ang="0">
                <a:pos x="connsiteX10897" y="connsiteY10897"/>
              </a:cxn>
              <a:cxn ang="0">
                <a:pos x="connsiteX10898" y="connsiteY10898"/>
              </a:cxn>
              <a:cxn ang="0">
                <a:pos x="connsiteX10899" y="connsiteY10899"/>
              </a:cxn>
              <a:cxn ang="0">
                <a:pos x="connsiteX10900" y="connsiteY10900"/>
              </a:cxn>
              <a:cxn ang="0">
                <a:pos x="connsiteX10901" y="connsiteY10901"/>
              </a:cxn>
              <a:cxn ang="0">
                <a:pos x="connsiteX10902" y="connsiteY10902"/>
              </a:cxn>
              <a:cxn ang="0">
                <a:pos x="connsiteX10903" y="connsiteY10903"/>
              </a:cxn>
              <a:cxn ang="0">
                <a:pos x="connsiteX10904" y="connsiteY10904"/>
              </a:cxn>
              <a:cxn ang="0">
                <a:pos x="connsiteX10905" y="connsiteY10905"/>
              </a:cxn>
              <a:cxn ang="0">
                <a:pos x="connsiteX10906" y="connsiteY10906"/>
              </a:cxn>
              <a:cxn ang="0">
                <a:pos x="connsiteX10907" y="connsiteY10907"/>
              </a:cxn>
              <a:cxn ang="0">
                <a:pos x="connsiteX10908" y="connsiteY10908"/>
              </a:cxn>
              <a:cxn ang="0">
                <a:pos x="connsiteX10909" y="connsiteY10909"/>
              </a:cxn>
              <a:cxn ang="0">
                <a:pos x="connsiteX10910" y="connsiteY10910"/>
              </a:cxn>
              <a:cxn ang="0">
                <a:pos x="connsiteX10911" y="connsiteY10911"/>
              </a:cxn>
              <a:cxn ang="0">
                <a:pos x="connsiteX10912" y="connsiteY10912"/>
              </a:cxn>
              <a:cxn ang="0">
                <a:pos x="connsiteX10913" y="connsiteY10913"/>
              </a:cxn>
              <a:cxn ang="0">
                <a:pos x="connsiteX10914" y="connsiteY10914"/>
              </a:cxn>
              <a:cxn ang="0">
                <a:pos x="connsiteX10915" y="connsiteY10915"/>
              </a:cxn>
              <a:cxn ang="0">
                <a:pos x="connsiteX10916" y="connsiteY10916"/>
              </a:cxn>
              <a:cxn ang="0">
                <a:pos x="connsiteX10917" y="connsiteY10917"/>
              </a:cxn>
              <a:cxn ang="0">
                <a:pos x="connsiteX10918" y="connsiteY10918"/>
              </a:cxn>
              <a:cxn ang="0">
                <a:pos x="connsiteX10919" y="connsiteY10919"/>
              </a:cxn>
              <a:cxn ang="0">
                <a:pos x="connsiteX10920" y="connsiteY10920"/>
              </a:cxn>
              <a:cxn ang="0">
                <a:pos x="connsiteX10921" y="connsiteY10921"/>
              </a:cxn>
              <a:cxn ang="0">
                <a:pos x="connsiteX10922" y="connsiteY10922"/>
              </a:cxn>
              <a:cxn ang="0">
                <a:pos x="connsiteX10923" y="connsiteY10923"/>
              </a:cxn>
              <a:cxn ang="0">
                <a:pos x="connsiteX10924" y="connsiteY10924"/>
              </a:cxn>
              <a:cxn ang="0">
                <a:pos x="connsiteX10925" y="connsiteY10925"/>
              </a:cxn>
              <a:cxn ang="0">
                <a:pos x="connsiteX10926" y="connsiteY10926"/>
              </a:cxn>
              <a:cxn ang="0">
                <a:pos x="connsiteX10927" y="connsiteY10927"/>
              </a:cxn>
              <a:cxn ang="0">
                <a:pos x="connsiteX10928" y="connsiteY10928"/>
              </a:cxn>
              <a:cxn ang="0">
                <a:pos x="connsiteX10929" y="connsiteY10929"/>
              </a:cxn>
              <a:cxn ang="0">
                <a:pos x="connsiteX10930" y="connsiteY10930"/>
              </a:cxn>
              <a:cxn ang="0">
                <a:pos x="connsiteX10931" y="connsiteY10931"/>
              </a:cxn>
              <a:cxn ang="0">
                <a:pos x="connsiteX10932" y="connsiteY10932"/>
              </a:cxn>
              <a:cxn ang="0">
                <a:pos x="connsiteX10933" y="connsiteY10933"/>
              </a:cxn>
              <a:cxn ang="0">
                <a:pos x="connsiteX10934" y="connsiteY10934"/>
              </a:cxn>
              <a:cxn ang="0">
                <a:pos x="connsiteX10935" y="connsiteY10935"/>
              </a:cxn>
              <a:cxn ang="0">
                <a:pos x="connsiteX10936" y="connsiteY10936"/>
              </a:cxn>
              <a:cxn ang="0">
                <a:pos x="connsiteX10937" y="connsiteY10937"/>
              </a:cxn>
              <a:cxn ang="0">
                <a:pos x="connsiteX10938" y="connsiteY10938"/>
              </a:cxn>
              <a:cxn ang="0">
                <a:pos x="connsiteX10939" y="connsiteY10939"/>
              </a:cxn>
              <a:cxn ang="0">
                <a:pos x="connsiteX10940" y="connsiteY10940"/>
              </a:cxn>
              <a:cxn ang="0">
                <a:pos x="connsiteX10941" y="connsiteY10941"/>
              </a:cxn>
              <a:cxn ang="0">
                <a:pos x="connsiteX10942" y="connsiteY10942"/>
              </a:cxn>
              <a:cxn ang="0">
                <a:pos x="connsiteX10943" y="connsiteY10943"/>
              </a:cxn>
              <a:cxn ang="0">
                <a:pos x="connsiteX10944" y="connsiteY10944"/>
              </a:cxn>
              <a:cxn ang="0">
                <a:pos x="connsiteX10945" y="connsiteY10945"/>
              </a:cxn>
              <a:cxn ang="0">
                <a:pos x="connsiteX10946" y="connsiteY10946"/>
              </a:cxn>
              <a:cxn ang="0">
                <a:pos x="connsiteX10947" y="connsiteY10947"/>
              </a:cxn>
              <a:cxn ang="0">
                <a:pos x="connsiteX10948" y="connsiteY10948"/>
              </a:cxn>
              <a:cxn ang="0">
                <a:pos x="connsiteX10949" y="connsiteY10949"/>
              </a:cxn>
              <a:cxn ang="0">
                <a:pos x="connsiteX10950" y="connsiteY10950"/>
              </a:cxn>
              <a:cxn ang="0">
                <a:pos x="connsiteX10951" y="connsiteY10951"/>
              </a:cxn>
              <a:cxn ang="0">
                <a:pos x="connsiteX10952" y="connsiteY10952"/>
              </a:cxn>
              <a:cxn ang="0">
                <a:pos x="connsiteX10953" y="connsiteY10953"/>
              </a:cxn>
              <a:cxn ang="0">
                <a:pos x="connsiteX10954" y="connsiteY10954"/>
              </a:cxn>
              <a:cxn ang="0">
                <a:pos x="connsiteX10955" y="connsiteY10955"/>
              </a:cxn>
              <a:cxn ang="0">
                <a:pos x="connsiteX10956" y="connsiteY10956"/>
              </a:cxn>
              <a:cxn ang="0">
                <a:pos x="connsiteX10957" y="connsiteY10957"/>
              </a:cxn>
              <a:cxn ang="0">
                <a:pos x="connsiteX10958" y="connsiteY10958"/>
              </a:cxn>
              <a:cxn ang="0">
                <a:pos x="connsiteX10959" y="connsiteY10959"/>
              </a:cxn>
              <a:cxn ang="0">
                <a:pos x="connsiteX10960" y="connsiteY10960"/>
              </a:cxn>
              <a:cxn ang="0">
                <a:pos x="connsiteX10961" y="connsiteY10961"/>
              </a:cxn>
              <a:cxn ang="0">
                <a:pos x="connsiteX10962" y="connsiteY10962"/>
              </a:cxn>
              <a:cxn ang="0">
                <a:pos x="connsiteX10963" y="connsiteY10963"/>
              </a:cxn>
              <a:cxn ang="0">
                <a:pos x="connsiteX10964" y="connsiteY10964"/>
              </a:cxn>
              <a:cxn ang="0">
                <a:pos x="connsiteX10965" y="connsiteY10965"/>
              </a:cxn>
              <a:cxn ang="0">
                <a:pos x="connsiteX10966" y="connsiteY10966"/>
              </a:cxn>
              <a:cxn ang="0">
                <a:pos x="connsiteX10967" y="connsiteY10967"/>
              </a:cxn>
              <a:cxn ang="0">
                <a:pos x="connsiteX10968" y="connsiteY10968"/>
              </a:cxn>
              <a:cxn ang="0">
                <a:pos x="connsiteX10969" y="connsiteY10969"/>
              </a:cxn>
              <a:cxn ang="0">
                <a:pos x="connsiteX10970" y="connsiteY10970"/>
              </a:cxn>
              <a:cxn ang="0">
                <a:pos x="connsiteX10971" y="connsiteY10971"/>
              </a:cxn>
              <a:cxn ang="0">
                <a:pos x="connsiteX10972" y="connsiteY10972"/>
              </a:cxn>
              <a:cxn ang="0">
                <a:pos x="connsiteX10973" y="connsiteY10973"/>
              </a:cxn>
              <a:cxn ang="0">
                <a:pos x="connsiteX10974" y="connsiteY10974"/>
              </a:cxn>
              <a:cxn ang="0">
                <a:pos x="connsiteX10975" y="connsiteY10975"/>
              </a:cxn>
              <a:cxn ang="0">
                <a:pos x="connsiteX10976" y="connsiteY10976"/>
              </a:cxn>
              <a:cxn ang="0">
                <a:pos x="connsiteX10977" y="connsiteY10977"/>
              </a:cxn>
              <a:cxn ang="0">
                <a:pos x="connsiteX10978" y="connsiteY10978"/>
              </a:cxn>
              <a:cxn ang="0">
                <a:pos x="connsiteX10979" y="connsiteY10979"/>
              </a:cxn>
              <a:cxn ang="0">
                <a:pos x="connsiteX10980" y="connsiteY10980"/>
              </a:cxn>
              <a:cxn ang="0">
                <a:pos x="connsiteX10981" y="connsiteY10981"/>
              </a:cxn>
              <a:cxn ang="0">
                <a:pos x="connsiteX10982" y="connsiteY10982"/>
              </a:cxn>
              <a:cxn ang="0">
                <a:pos x="connsiteX10983" y="connsiteY10983"/>
              </a:cxn>
              <a:cxn ang="0">
                <a:pos x="connsiteX10984" y="connsiteY10984"/>
              </a:cxn>
              <a:cxn ang="0">
                <a:pos x="connsiteX10985" y="connsiteY10985"/>
              </a:cxn>
              <a:cxn ang="0">
                <a:pos x="connsiteX10986" y="connsiteY10986"/>
              </a:cxn>
              <a:cxn ang="0">
                <a:pos x="connsiteX10987" y="connsiteY10987"/>
              </a:cxn>
              <a:cxn ang="0">
                <a:pos x="connsiteX10988" y="connsiteY10988"/>
              </a:cxn>
              <a:cxn ang="0">
                <a:pos x="connsiteX10989" y="connsiteY10989"/>
              </a:cxn>
              <a:cxn ang="0">
                <a:pos x="connsiteX10990" y="connsiteY10990"/>
              </a:cxn>
              <a:cxn ang="0">
                <a:pos x="connsiteX10991" y="connsiteY10991"/>
              </a:cxn>
              <a:cxn ang="0">
                <a:pos x="connsiteX10992" y="connsiteY10992"/>
              </a:cxn>
              <a:cxn ang="0">
                <a:pos x="connsiteX10993" y="connsiteY10993"/>
              </a:cxn>
              <a:cxn ang="0">
                <a:pos x="connsiteX10994" y="connsiteY10994"/>
              </a:cxn>
              <a:cxn ang="0">
                <a:pos x="connsiteX10995" y="connsiteY10995"/>
              </a:cxn>
              <a:cxn ang="0">
                <a:pos x="connsiteX10996" y="connsiteY10996"/>
              </a:cxn>
              <a:cxn ang="0">
                <a:pos x="connsiteX10997" y="connsiteY10997"/>
              </a:cxn>
              <a:cxn ang="0">
                <a:pos x="connsiteX10998" y="connsiteY10998"/>
              </a:cxn>
              <a:cxn ang="0">
                <a:pos x="connsiteX10999" y="connsiteY10999"/>
              </a:cxn>
              <a:cxn ang="0">
                <a:pos x="connsiteX11000" y="connsiteY11000"/>
              </a:cxn>
              <a:cxn ang="0">
                <a:pos x="connsiteX11001" y="connsiteY11001"/>
              </a:cxn>
              <a:cxn ang="0">
                <a:pos x="connsiteX11002" y="connsiteY11002"/>
              </a:cxn>
              <a:cxn ang="0">
                <a:pos x="connsiteX11003" y="connsiteY11003"/>
              </a:cxn>
              <a:cxn ang="0">
                <a:pos x="connsiteX11004" y="connsiteY11004"/>
              </a:cxn>
              <a:cxn ang="0">
                <a:pos x="connsiteX11005" y="connsiteY11005"/>
              </a:cxn>
              <a:cxn ang="0">
                <a:pos x="connsiteX11006" y="connsiteY11006"/>
              </a:cxn>
              <a:cxn ang="0">
                <a:pos x="connsiteX11007" y="connsiteY11007"/>
              </a:cxn>
              <a:cxn ang="0">
                <a:pos x="connsiteX11008" y="connsiteY11008"/>
              </a:cxn>
              <a:cxn ang="0">
                <a:pos x="connsiteX11009" y="connsiteY11009"/>
              </a:cxn>
              <a:cxn ang="0">
                <a:pos x="connsiteX11010" y="connsiteY11010"/>
              </a:cxn>
              <a:cxn ang="0">
                <a:pos x="connsiteX11011" y="connsiteY11011"/>
              </a:cxn>
              <a:cxn ang="0">
                <a:pos x="connsiteX11012" y="connsiteY11012"/>
              </a:cxn>
              <a:cxn ang="0">
                <a:pos x="connsiteX11013" y="connsiteY11013"/>
              </a:cxn>
              <a:cxn ang="0">
                <a:pos x="connsiteX11014" y="connsiteY11014"/>
              </a:cxn>
              <a:cxn ang="0">
                <a:pos x="connsiteX11015" y="connsiteY11015"/>
              </a:cxn>
              <a:cxn ang="0">
                <a:pos x="connsiteX11016" y="connsiteY11016"/>
              </a:cxn>
              <a:cxn ang="0">
                <a:pos x="connsiteX11017" y="connsiteY11017"/>
              </a:cxn>
              <a:cxn ang="0">
                <a:pos x="connsiteX11018" y="connsiteY11018"/>
              </a:cxn>
              <a:cxn ang="0">
                <a:pos x="connsiteX11019" y="connsiteY11019"/>
              </a:cxn>
              <a:cxn ang="0">
                <a:pos x="connsiteX11020" y="connsiteY11020"/>
              </a:cxn>
              <a:cxn ang="0">
                <a:pos x="connsiteX11021" y="connsiteY11021"/>
              </a:cxn>
              <a:cxn ang="0">
                <a:pos x="connsiteX11022" y="connsiteY11022"/>
              </a:cxn>
              <a:cxn ang="0">
                <a:pos x="connsiteX11023" y="connsiteY11023"/>
              </a:cxn>
              <a:cxn ang="0">
                <a:pos x="connsiteX11024" y="connsiteY11024"/>
              </a:cxn>
              <a:cxn ang="0">
                <a:pos x="connsiteX11025" y="connsiteY11025"/>
              </a:cxn>
              <a:cxn ang="0">
                <a:pos x="connsiteX11026" y="connsiteY11026"/>
              </a:cxn>
              <a:cxn ang="0">
                <a:pos x="connsiteX11027" y="connsiteY11027"/>
              </a:cxn>
              <a:cxn ang="0">
                <a:pos x="connsiteX11028" y="connsiteY11028"/>
              </a:cxn>
              <a:cxn ang="0">
                <a:pos x="connsiteX11029" y="connsiteY11029"/>
              </a:cxn>
              <a:cxn ang="0">
                <a:pos x="connsiteX11030" y="connsiteY11030"/>
              </a:cxn>
              <a:cxn ang="0">
                <a:pos x="connsiteX11031" y="connsiteY11031"/>
              </a:cxn>
              <a:cxn ang="0">
                <a:pos x="connsiteX11032" y="connsiteY11032"/>
              </a:cxn>
              <a:cxn ang="0">
                <a:pos x="connsiteX11033" y="connsiteY11033"/>
              </a:cxn>
              <a:cxn ang="0">
                <a:pos x="connsiteX11034" y="connsiteY11034"/>
              </a:cxn>
              <a:cxn ang="0">
                <a:pos x="connsiteX11035" y="connsiteY11035"/>
              </a:cxn>
              <a:cxn ang="0">
                <a:pos x="connsiteX11036" y="connsiteY11036"/>
              </a:cxn>
              <a:cxn ang="0">
                <a:pos x="connsiteX11037" y="connsiteY11037"/>
              </a:cxn>
              <a:cxn ang="0">
                <a:pos x="connsiteX11038" y="connsiteY11038"/>
              </a:cxn>
              <a:cxn ang="0">
                <a:pos x="connsiteX11039" y="connsiteY11039"/>
              </a:cxn>
              <a:cxn ang="0">
                <a:pos x="connsiteX11040" y="connsiteY11040"/>
              </a:cxn>
              <a:cxn ang="0">
                <a:pos x="connsiteX11041" y="connsiteY11041"/>
              </a:cxn>
              <a:cxn ang="0">
                <a:pos x="connsiteX11042" y="connsiteY11042"/>
              </a:cxn>
              <a:cxn ang="0">
                <a:pos x="connsiteX11043" y="connsiteY11043"/>
              </a:cxn>
              <a:cxn ang="0">
                <a:pos x="connsiteX11044" y="connsiteY11044"/>
              </a:cxn>
              <a:cxn ang="0">
                <a:pos x="connsiteX11045" y="connsiteY11045"/>
              </a:cxn>
              <a:cxn ang="0">
                <a:pos x="connsiteX11046" y="connsiteY11046"/>
              </a:cxn>
              <a:cxn ang="0">
                <a:pos x="connsiteX11047" y="connsiteY11047"/>
              </a:cxn>
              <a:cxn ang="0">
                <a:pos x="connsiteX11048" y="connsiteY11048"/>
              </a:cxn>
              <a:cxn ang="0">
                <a:pos x="connsiteX11049" y="connsiteY11049"/>
              </a:cxn>
              <a:cxn ang="0">
                <a:pos x="connsiteX11050" y="connsiteY11050"/>
              </a:cxn>
              <a:cxn ang="0">
                <a:pos x="connsiteX11051" y="connsiteY11051"/>
              </a:cxn>
              <a:cxn ang="0">
                <a:pos x="connsiteX11052" y="connsiteY11052"/>
              </a:cxn>
              <a:cxn ang="0">
                <a:pos x="connsiteX11053" y="connsiteY11053"/>
              </a:cxn>
              <a:cxn ang="0">
                <a:pos x="connsiteX11054" y="connsiteY11054"/>
              </a:cxn>
              <a:cxn ang="0">
                <a:pos x="connsiteX11055" y="connsiteY11055"/>
              </a:cxn>
              <a:cxn ang="0">
                <a:pos x="connsiteX11056" y="connsiteY11056"/>
              </a:cxn>
              <a:cxn ang="0">
                <a:pos x="connsiteX11057" y="connsiteY11057"/>
              </a:cxn>
              <a:cxn ang="0">
                <a:pos x="connsiteX11058" y="connsiteY11058"/>
              </a:cxn>
              <a:cxn ang="0">
                <a:pos x="connsiteX11059" y="connsiteY11059"/>
              </a:cxn>
              <a:cxn ang="0">
                <a:pos x="connsiteX11060" y="connsiteY11060"/>
              </a:cxn>
              <a:cxn ang="0">
                <a:pos x="connsiteX11061" y="connsiteY11061"/>
              </a:cxn>
              <a:cxn ang="0">
                <a:pos x="connsiteX11062" y="connsiteY11062"/>
              </a:cxn>
              <a:cxn ang="0">
                <a:pos x="connsiteX11063" y="connsiteY11063"/>
              </a:cxn>
              <a:cxn ang="0">
                <a:pos x="connsiteX11064" y="connsiteY11064"/>
              </a:cxn>
              <a:cxn ang="0">
                <a:pos x="connsiteX11065" y="connsiteY11065"/>
              </a:cxn>
              <a:cxn ang="0">
                <a:pos x="connsiteX11066" y="connsiteY11066"/>
              </a:cxn>
              <a:cxn ang="0">
                <a:pos x="connsiteX11067" y="connsiteY11067"/>
              </a:cxn>
              <a:cxn ang="0">
                <a:pos x="connsiteX11068" y="connsiteY11068"/>
              </a:cxn>
              <a:cxn ang="0">
                <a:pos x="connsiteX11069" y="connsiteY11069"/>
              </a:cxn>
              <a:cxn ang="0">
                <a:pos x="connsiteX11070" y="connsiteY11070"/>
              </a:cxn>
              <a:cxn ang="0">
                <a:pos x="connsiteX11071" y="connsiteY11071"/>
              </a:cxn>
              <a:cxn ang="0">
                <a:pos x="connsiteX11072" y="connsiteY11072"/>
              </a:cxn>
              <a:cxn ang="0">
                <a:pos x="connsiteX11073" y="connsiteY11073"/>
              </a:cxn>
              <a:cxn ang="0">
                <a:pos x="connsiteX11074" y="connsiteY11074"/>
              </a:cxn>
              <a:cxn ang="0">
                <a:pos x="connsiteX11075" y="connsiteY11075"/>
              </a:cxn>
              <a:cxn ang="0">
                <a:pos x="connsiteX11076" y="connsiteY11076"/>
              </a:cxn>
              <a:cxn ang="0">
                <a:pos x="connsiteX11077" y="connsiteY11077"/>
              </a:cxn>
              <a:cxn ang="0">
                <a:pos x="connsiteX11078" y="connsiteY11078"/>
              </a:cxn>
              <a:cxn ang="0">
                <a:pos x="connsiteX11079" y="connsiteY11079"/>
              </a:cxn>
              <a:cxn ang="0">
                <a:pos x="connsiteX11080" y="connsiteY11080"/>
              </a:cxn>
              <a:cxn ang="0">
                <a:pos x="connsiteX11081" y="connsiteY11081"/>
              </a:cxn>
              <a:cxn ang="0">
                <a:pos x="connsiteX11082" y="connsiteY11082"/>
              </a:cxn>
              <a:cxn ang="0">
                <a:pos x="connsiteX11083" y="connsiteY11083"/>
              </a:cxn>
              <a:cxn ang="0">
                <a:pos x="connsiteX11084" y="connsiteY11084"/>
              </a:cxn>
              <a:cxn ang="0">
                <a:pos x="connsiteX11085" y="connsiteY11085"/>
              </a:cxn>
              <a:cxn ang="0">
                <a:pos x="connsiteX11086" y="connsiteY11086"/>
              </a:cxn>
              <a:cxn ang="0">
                <a:pos x="connsiteX11087" y="connsiteY11087"/>
              </a:cxn>
              <a:cxn ang="0">
                <a:pos x="connsiteX11088" y="connsiteY11088"/>
              </a:cxn>
              <a:cxn ang="0">
                <a:pos x="connsiteX11089" y="connsiteY11089"/>
              </a:cxn>
              <a:cxn ang="0">
                <a:pos x="connsiteX11090" y="connsiteY11090"/>
              </a:cxn>
              <a:cxn ang="0">
                <a:pos x="connsiteX11091" y="connsiteY11091"/>
              </a:cxn>
              <a:cxn ang="0">
                <a:pos x="connsiteX11092" y="connsiteY11092"/>
              </a:cxn>
              <a:cxn ang="0">
                <a:pos x="connsiteX11093" y="connsiteY11093"/>
              </a:cxn>
              <a:cxn ang="0">
                <a:pos x="connsiteX11094" y="connsiteY11094"/>
              </a:cxn>
              <a:cxn ang="0">
                <a:pos x="connsiteX11095" y="connsiteY11095"/>
              </a:cxn>
              <a:cxn ang="0">
                <a:pos x="connsiteX11096" y="connsiteY11096"/>
              </a:cxn>
              <a:cxn ang="0">
                <a:pos x="connsiteX11097" y="connsiteY11097"/>
              </a:cxn>
              <a:cxn ang="0">
                <a:pos x="connsiteX11098" y="connsiteY11098"/>
              </a:cxn>
              <a:cxn ang="0">
                <a:pos x="connsiteX11099" y="connsiteY11099"/>
              </a:cxn>
              <a:cxn ang="0">
                <a:pos x="connsiteX11100" y="connsiteY11100"/>
              </a:cxn>
              <a:cxn ang="0">
                <a:pos x="connsiteX11101" y="connsiteY11101"/>
              </a:cxn>
              <a:cxn ang="0">
                <a:pos x="connsiteX11102" y="connsiteY11102"/>
              </a:cxn>
              <a:cxn ang="0">
                <a:pos x="connsiteX11103" y="connsiteY11103"/>
              </a:cxn>
              <a:cxn ang="0">
                <a:pos x="connsiteX11104" y="connsiteY11104"/>
              </a:cxn>
              <a:cxn ang="0">
                <a:pos x="connsiteX11105" y="connsiteY11105"/>
              </a:cxn>
              <a:cxn ang="0">
                <a:pos x="connsiteX11106" y="connsiteY11106"/>
              </a:cxn>
              <a:cxn ang="0">
                <a:pos x="connsiteX11107" y="connsiteY11107"/>
              </a:cxn>
              <a:cxn ang="0">
                <a:pos x="connsiteX11108" y="connsiteY11108"/>
              </a:cxn>
              <a:cxn ang="0">
                <a:pos x="connsiteX11109" y="connsiteY11109"/>
              </a:cxn>
              <a:cxn ang="0">
                <a:pos x="connsiteX11110" y="connsiteY11110"/>
              </a:cxn>
              <a:cxn ang="0">
                <a:pos x="connsiteX11111" y="connsiteY11111"/>
              </a:cxn>
              <a:cxn ang="0">
                <a:pos x="connsiteX11112" y="connsiteY11112"/>
              </a:cxn>
              <a:cxn ang="0">
                <a:pos x="connsiteX11113" y="connsiteY11113"/>
              </a:cxn>
              <a:cxn ang="0">
                <a:pos x="connsiteX11114" y="connsiteY11114"/>
              </a:cxn>
              <a:cxn ang="0">
                <a:pos x="connsiteX11115" y="connsiteY11115"/>
              </a:cxn>
              <a:cxn ang="0">
                <a:pos x="connsiteX11116" y="connsiteY11116"/>
              </a:cxn>
              <a:cxn ang="0">
                <a:pos x="connsiteX11117" y="connsiteY11117"/>
              </a:cxn>
              <a:cxn ang="0">
                <a:pos x="connsiteX11118" y="connsiteY11118"/>
              </a:cxn>
              <a:cxn ang="0">
                <a:pos x="connsiteX11119" y="connsiteY11119"/>
              </a:cxn>
              <a:cxn ang="0">
                <a:pos x="connsiteX11120" y="connsiteY11120"/>
              </a:cxn>
              <a:cxn ang="0">
                <a:pos x="connsiteX11121" y="connsiteY11121"/>
              </a:cxn>
              <a:cxn ang="0">
                <a:pos x="connsiteX11122" y="connsiteY11122"/>
              </a:cxn>
              <a:cxn ang="0">
                <a:pos x="connsiteX11123" y="connsiteY11123"/>
              </a:cxn>
              <a:cxn ang="0">
                <a:pos x="connsiteX11124" y="connsiteY11124"/>
              </a:cxn>
              <a:cxn ang="0">
                <a:pos x="connsiteX11125" y="connsiteY11125"/>
              </a:cxn>
              <a:cxn ang="0">
                <a:pos x="connsiteX11126" y="connsiteY11126"/>
              </a:cxn>
              <a:cxn ang="0">
                <a:pos x="connsiteX11127" y="connsiteY11127"/>
              </a:cxn>
              <a:cxn ang="0">
                <a:pos x="connsiteX11128" y="connsiteY11128"/>
              </a:cxn>
              <a:cxn ang="0">
                <a:pos x="connsiteX11129" y="connsiteY11129"/>
              </a:cxn>
              <a:cxn ang="0">
                <a:pos x="connsiteX11130" y="connsiteY11130"/>
              </a:cxn>
              <a:cxn ang="0">
                <a:pos x="connsiteX11131" y="connsiteY11131"/>
              </a:cxn>
              <a:cxn ang="0">
                <a:pos x="connsiteX11132" y="connsiteY11132"/>
              </a:cxn>
              <a:cxn ang="0">
                <a:pos x="connsiteX11133" y="connsiteY11133"/>
              </a:cxn>
              <a:cxn ang="0">
                <a:pos x="connsiteX11134" y="connsiteY11134"/>
              </a:cxn>
              <a:cxn ang="0">
                <a:pos x="connsiteX11135" y="connsiteY11135"/>
              </a:cxn>
              <a:cxn ang="0">
                <a:pos x="connsiteX11136" y="connsiteY11136"/>
              </a:cxn>
              <a:cxn ang="0">
                <a:pos x="connsiteX11137" y="connsiteY11137"/>
              </a:cxn>
              <a:cxn ang="0">
                <a:pos x="connsiteX11138" y="connsiteY11138"/>
              </a:cxn>
              <a:cxn ang="0">
                <a:pos x="connsiteX11139" y="connsiteY11139"/>
              </a:cxn>
              <a:cxn ang="0">
                <a:pos x="connsiteX11140" y="connsiteY11140"/>
              </a:cxn>
              <a:cxn ang="0">
                <a:pos x="connsiteX11141" y="connsiteY11141"/>
              </a:cxn>
              <a:cxn ang="0">
                <a:pos x="connsiteX11142" y="connsiteY11142"/>
              </a:cxn>
              <a:cxn ang="0">
                <a:pos x="connsiteX11143" y="connsiteY11143"/>
              </a:cxn>
              <a:cxn ang="0">
                <a:pos x="connsiteX11144" y="connsiteY11144"/>
              </a:cxn>
              <a:cxn ang="0">
                <a:pos x="connsiteX11145" y="connsiteY11145"/>
              </a:cxn>
              <a:cxn ang="0">
                <a:pos x="connsiteX11146" y="connsiteY11146"/>
              </a:cxn>
              <a:cxn ang="0">
                <a:pos x="connsiteX11147" y="connsiteY11147"/>
              </a:cxn>
              <a:cxn ang="0">
                <a:pos x="connsiteX11148" y="connsiteY11148"/>
              </a:cxn>
              <a:cxn ang="0">
                <a:pos x="connsiteX11149" y="connsiteY11149"/>
              </a:cxn>
              <a:cxn ang="0">
                <a:pos x="connsiteX11150" y="connsiteY11150"/>
              </a:cxn>
              <a:cxn ang="0">
                <a:pos x="connsiteX11151" y="connsiteY11151"/>
              </a:cxn>
              <a:cxn ang="0">
                <a:pos x="connsiteX11152" y="connsiteY11152"/>
              </a:cxn>
              <a:cxn ang="0">
                <a:pos x="connsiteX11153" y="connsiteY11153"/>
              </a:cxn>
              <a:cxn ang="0">
                <a:pos x="connsiteX11154" y="connsiteY11154"/>
              </a:cxn>
              <a:cxn ang="0">
                <a:pos x="connsiteX11155" y="connsiteY11155"/>
              </a:cxn>
              <a:cxn ang="0">
                <a:pos x="connsiteX11156" y="connsiteY11156"/>
              </a:cxn>
              <a:cxn ang="0">
                <a:pos x="connsiteX11157" y="connsiteY11157"/>
              </a:cxn>
              <a:cxn ang="0">
                <a:pos x="connsiteX11158" y="connsiteY11158"/>
              </a:cxn>
              <a:cxn ang="0">
                <a:pos x="connsiteX11159" y="connsiteY11159"/>
              </a:cxn>
              <a:cxn ang="0">
                <a:pos x="connsiteX11160" y="connsiteY11160"/>
              </a:cxn>
              <a:cxn ang="0">
                <a:pos x="connsiteX11161" y="connsiteY11161"/>
              </a:cxn>
              <a:cxn ang="0">
                <a:pos x="connsiteX11162" y="connsiteY11162"/>
              </a:cxn>
              <a:cxn ang="0">
                <a:pos x="connsiteX11163" y="connsiteY11163"/>
              </a:cxn>
              <a:cxn ang="0">
                <a:pos x="connsiteX11164" y="connsiteY11164"/>
              </a:cxn>
              <a:cxn ang="0">
                <a:pos x="connsiteX11165" y="connsiteY11165"/>
              </a:cxn>
              <a:cxn ang="0">
                <a:pos x="connsiteX11166" y="connsiteY11166"/>
              </a:cxn>
              <a:cxn ang="0">
                <a:pos x="connsiteX11167" y="connsiteY11167"/>
              </a:cxn>
              <a:cxn ang="0">
                <a:pos x="connsiteX11168" y="connsiteY11168"/>
              </a:cxn>
              <a:cxn ang="0">
                <a:pos x="connsiteX11169" y="connsiteY11169"/>
              </a:cxn>
              <a:cxn ang="0">
                <a:pos x="connsiteX11170" y="connsiteY11170"/>
              </a:cxn>
              <a:cxn ang="0">
                <a:pos x="connsiteX11171" y="connsiteY11171"/>
              </a:cxn>
              <a:cxn ang="0">
                <a:pos x="connsiteX11172" y="connsiteY11172"/>
              </a:cxn>
              <a:cxn ang="0">
                <a:pos x="connsiteX11173" y="connsiteY11173"/>
              </a:cxn>
              <a:cxn ang="0">
                <a:pos x="connsiteX11174" y="connsiteY11174"/>
              </a:cxn>
              <a:cxn ang="0">
                <a:pos x="connsiteX11175" y="connsiteY11175"/>
              </a:cxn>
              <a:cxn ang="0">
                <a:pos x="connsiteX11176" y="connsiteY11176"/>
              </a:cxn>
              <a:cxn ang="0">
                <a:pos x="connsiteX11177" y="connsiteY11177"/>
              </a:cxn>
              <a:cxn ang="0">
                <a:pos x="connsiteX11178" y="connsiteY11178"/>
              </a:cxn>
              <a:cxn ang="0">
                <a:pos x="connsiteX11179" y="connsiteY11179"/>
              </a:cxn>
              <a:cxn ang="0">
                <a:pos x="connsiteX11180" y="connsiteY11180"/>
              </a:cxn>
              <a:cxn ang="0">
                <a:pos x="connsiteX11181" y="connsiteY11181"/>
              </a:cxn>
              <a:cxn ang="0">
                <a:pos x="connsiteX11182" y="connsiteY11182"/>
              </a:cxn>
              <a:cxn ang="0">
                <a:pos x="connsiteX11183" y="connsiteY11183"/>
              </a:cxn>
              <a:cxn ang="0">
                <a:pos x="connsiteX11184" y="connsiteY11184"/>
              </a:cxn>
              <a:cxn ang="0">
                <a:pos x="connsiteX11185" y="connsiteY11185"/>
              </a:cxn>
              <a:cxn ang="0">
                <a:pos x="connsiteX11186" y="connsiteY11186"/>
              </a:cxn>
              <a:cxn ang="0">
                <a:pos x="connsiteX11187" y="connsiteY11187"/>
              </a:cxn>
              <a:cxn ang="0">
                <a:pos x="connsiteX11188" y="connsiteY11188"/>
              </a:cxn>
              <a:cxn ang="0">
                <a:pos x="connsiteX11189" y="connsiteY11189"/>
              </a:cxn>
              <a:cxn ang="0">
                <a:pos x="connsiteX11190" y="connsiteY11190"/>
              </a:cxn>
              <a:cxn ang="0">
                <a:pos x="connsiteX11191" y="connsiteY11191"/>
              </a:cxn>
              <a:cxn ang="0">
                <a:pos x="connsiteX11192" y="connsiteY11192"/>
              </a:cxn>
              <a:cxn ang="0">
                <a:pos x="connsiteX11193" y="connsiteY11193"/>
              </a:cxn>
              <a:cxn ang="0">
                <a:pos x="connsiteX11194" y="connsiteY11194"/>
              </a:cxn>
              <a:cxn ang="0">
                <a:pos x="connsiteX11195" y="connsiteY11195"/>
              </a:cxn>
              <a:cxn ang="0">
                <a:pos x="connsiteX11196" y="connsiteY11196"/>
              </a:cxn>
              <a:cxn ang="0">
                <a:pos x="connsiteX11197" y="connsiteY11197"/>
              </a:cxn>
              <a:cxn ang="0">
                <a:pos x="connsiteX11198" y="connsiteY11198"/>
              </a:cxn>
              <a:cxn ang="0">
                <a:pos x="connsiteX11199" y="connsiteY11199"/>
              </a:cxn>
              <a:cxn ang="0">
                <a:pos x="connsiteX11200" y="connsiteY11200"/>
              </a:cxn>
              <a:cxn ang="0">
                <a:pos x="connsiteX11201" y="connsiteY11201"/>
              </a:cxn>
              <a:cxn ang="0">
                <a:pos x="connsiteX11202" y="connsiteY11202"/>
              </a:cxn>
              <a:cxn ang="0">
                <a:pos x="connsiteX11203" y="connsiteY11203"/>
              </a:cxn>
              <a:cxn ang="0">
                <a:pos x="connsiteX11204" y="connsiteY11204"/>
              </a:cxn>
              <a:cxn ang="0">
                <a:pos x="connsiteX11205" y="connsiteY11205"/>
              </a:cxn>
              <a:cxn ang="0">
                <a:pos x="connsiteX11206" y="connsiteY11206"/>
              </a:cxn>
              <a:cxn ang="0">
                <a:pos x="connsiteX11207" y="connsiteY11207"/>
              </a:cxn>
              <a:cxn ang="0">
                <a:pos x="connsiteX11208" y="connsiteY11208"/>
              </a:cxn>
              <a:cxn ang="0">
                <a:pos x="connsiteX11209" y="connsiteY11209"/>
              </a:cxn>
              <a:cxn ang="0">
                <a:pos x="connsiteX11210" y="connsiteY11210"/>
              </a:cxn>
              <a:cxn ang="0">
                <a:pos x="connsiteX11211" y="connsiteY11211"/>
              </a:cxn>
              <a:cxn ang="0">
                <a:pos x="connsiteX11212" y="connsiteY11212"/>
              </a:cxn>
              <a:cxn ang="0">
                <a:pos x="connsiteX11213" y="connsiteY11213"/>
              </a:cxn>
              <a:cxn ang="0">
                <a:pos x="connsiteX11214" y="connsiteY11214"/>
              </a:cxn>
              <a:cxn ang="0">
                <a:pos x="connsiteX11215" y="connsiteY11215"/>
              </a:cxn>
              <a:cxn ang="0">
                <a:pos x="connsiteX11216" y="connsiteY11216"/>
              </a:cxn>
              <a:cxn ang="0">
                <a:pos x="connsiteX11217" y="connsiteY11217"/>
              </a:cxn>
              <a:cxn ang="0">
                <a:pos x="connsiteX11218" y="connsiteY11218"/>
              </a:cxn>
              <a:cxn ang="0">
                <a:pos x="connsiteX11219" y="connsiteY11219"/>
              </a:cxn>
              <a:cxn ang="0">
                <a:pos x="connsiteX11220" y="connsiteY11220"/>
              </a:cxn>
              <a:cxn ang="0">
                <a:pos x="connsiteX11221" y="connsiteY11221"/>
              </a:cxn>
              <a:cxn ang="0">
                <a:pos x="connsiteX11222" y="connsiteY11222"/>
              </a:cxn>
              <a:cxn ang="0">
                <a:pos x="connsiteX11223" y="connsiteY11223"/>
              </a:cxn>
              <a:cxn ang="0">
                <a:pos x="connsiteX11224" y="connsiteY11224"/>
              </a:cxn>
              <a:cxn ang="0">
                <a:pos x="connsiteX11225" y="connsiteY11225"/>
              </a:cxn>
              <a:cxn ang="0">
                <a:pos x="connsiteX11226" y="connsiteY11226"/>
              </a:cxn>
              <a:cxn ang="0">
                <a:pos x="connsiteX11227" y="connsiteY11227"/>
              </a:cxn>
              <a:cxn ang="0">
                <a:pos x="connsiteX11228" y="connsiteY11228"/>
              </a:cxn>
              <a:cxn ang="0">
                <a:pos x="connsiteX11229" y="connsiteY11229"/>
              </a:cxn>
              <a:cxn ang="0">
                <a:pos x="connsiteX11230" y="connsiteY11230"/>
              </a:cxn>
              <a:cxn ang="0">
                <a:pos x="connsiteX11231" y="connsiteY11231"/>
              </a:cxn>
              <a:cxn ang="0">
                <a:pos x="connsiteX11232" y="connsiteY11232"/>
              </a:cxn>
              <a:cxn ang="0">
                <a:pos x="connsiteX11233" y="connsiteY11233"/>
              </a:cxn>
              <a:cxn ang="0">
                <a:pos x="connsiteX11234" y="connsiteY11234"/>
              </a:cxn>
              <a:cxn ang="0">
                <a:pos x="connsiteX11235" y="connsiteY11235"/>
              </a:cxn>
              <a:cxn ang="0">
                <a:pos x="connsiteX11236" y="connsiteY11236"/>
              </a:cxn>
              <a:cxn ang="0">
                <a:pos x="connsiteX11237" y="connsiteY11237"/>
              </a:cxn>
              <a:cxn ang="0">
                <a:pos x="connsiteX11238" y="connsiteY11238"/>
              </a:cxn>
              <a:cxn ang="0">
                <a:pos x="connsiteX11239" y="connsiteY11239"/>
              </a:cxn>
              <a:cxn ang="0">
                <a:pos x="connsiteX11240" y="connsiteY11240"/>
              </a:cxn>
              <a:cxn ang="0">
                <a:pos x="connsiteX11241" y="connsiteY11241"/>
              </a:cxn>
              <a:cxn ang="0">
                <a:pos x="connsiteX11242" y="connsiteY11242"/>
              </a:cxn>
              <a:cxn ang="0">
                <a:pos x="connsiteX11243" y="connsiteY11243"/>
              </a:cxn>
              <a:cxn ang="0">
                <a:pos x="connsiteX11244" y="connsiteY11244"/>
              </a:cxn>
              <a:cxn ang="0">
                <a:pos x="connsiteX11245" y="connsiteY11245"/>
              </a:cxn>
              <a:cxn ang="0">
                <a:pos x="connsiteX11246" y="connsiteY11246"/>
              </a:cxn>
              <a:cxn ang="0">
                <a:pos x="connsiteX11247" y="connsiteY11247"/>
              </a:cxn>
              <a:cxn ang="0">
                <a:pos x="connsiteX11248" y="connsiteY11248"/>
              </a:cxn>
              <a:cxn ang="0">
                <a:pos x="connsiteX11249" y="connsiteY11249"/>
              </a:cxn>
              <a:cxn ang="0">
                <a:pos x="connsiteX11250" y="connsiteY11250"/>
              </a:cxn>
              <a:cxn ang="0">
                <a:pos x="connsiteX11251" y="connsiteY11251"/>
              </a:cxn>
              <a:cxn ang="0">
                <a:pos x="connsiteX11252" y="connsiteY11252"/>
              </a:cxn>
              <a:cxn ang="0">
                <a:pos x="connsiteX11253" y="connsiteY11253"/>
              </a:cxn>
              <a:cxn ang="0">
                <a:pos x="connsiteX11254" y="connsiteY11254"/>
              </a:cxn>
              <a:cxn ang="0">
                <a:pos x="connsiteX11255" y="connsiteY11255"/>
              </a:cxn>
              <a:cxn ang="0">
                <a:pos x="connsiteX11256" y="connsiteY11256"/>
              </a:cxn>
              <a:cxn ang="0">
                <a:pos x="connsiteX11257" y="connsiteY11257"/>
              </a:cxn>
              <a:cxn ang="0">
                <a:pos x="connsiteX11258" y="connsiteY11258"/>
              </a:cxn>
              <a:cxn ang="0">
                <a:pos x="connsiteX11259" y="connsiteY11259"/>
              </a:cxn>
              <a:cxn ang="0">
                <a:pos x="connsiteX11260" y="connsiteY11260"/>
              </a:cxn>
              <a:cxn ang="0">
                <a:pos x="connsiteX11261" y="connsiteY11261"/>
              </a:cxn>
              <a:cxn ang="0">
                <a:pos x="connsiteX11262" y="connsiteY11262"/>
              </a:cxn>
              <a:cxn ang="0">
                <a:pos x="connsiteX11263" y="connsiteY11263"/>
              </a:cxn>
              <a:cxn ang="0">
                <a:pos x="connsiteX11264" y="connsiteY11264"/>
              </a:cxn>
              <a:cxn ang="0">
                <a:pos x="connsiteX11265" y="connsiteY11265"/>
              </a:cxn>
              <a:cxn ang="0">
                <a:pos x="connsiteX11266" y="connsiteY11266"/>
              </a:cxn>
              <a:cxn ang="0">
                <a:pos x="connsiteX11267" y="connsiteY11267"/>
              </a:cxn>
              <a:cxn ang="0">
                <a:pos x="connsiteX11268" y="connsiteY11268"/>
              </a:cxn>
              <a:cxn ang="0">
                <a:pos x="connsiteX11269" y="connsiteY11269"/>
              </a:cxn>
              <a:cxn ang="0">
                <a:pos x="connsiteX11270" y="connsiteY11270"/>
              </a:cxn>
              <a:cxn ang="0">
                <a:pos x="connsiteX11271" y="connsiteY11271"/>
              </a:cxn>
              <a:cxn ang="0">
                <a:pos x="connsiteX11272" y="connsiteY11272"/>
              </a:cxn>
              <a:cxn ang="0">
                <a:pos x="connsiteX11273" y="connsiteY11273"/>
              </a:cxn>
              <a:cxn ang="0">
                <a:pos x="connsiteX11274" y="connsiteY11274"/>
              </a:cxn>
              <a:cxn ang="0">
                <a:pos x="connsiteX11275" y="connsiteY11275"/>
              </a:cxn>
              <a:cxn ang="0">
                <a:pos x="connsiteX11276" y="connsiteY11276"/>
              </a:cxn>
              <a:cxn ang="0">
                <a:pos x="connsiteX11277" y="connsiteY11277"/>
              </a:cxn>
              <a:cxn ang="0">
                <a:pos x="connsiteX11278" y="connsiteY11278"/>
              </a:cxn>
              <a:cxn ang="0">
                <a:pos x="connsiteX11279" y="connsiteY11279"/>
              </a:cxn>
              <a:cxn ang="0">
                <a:pos x="connsiteX11280" y="connsiteY11280"/>
              </a:cxn>
              <a:cxn ang="0">
                <a:pos x="connsiteX11281" y="connsiteY11281"/>
              </a:cxn>
              <a:cxn ang="0">
                <a:pos x="connsiteX11282" y="connsiteY11282"/>
              </a:cxn>
              <a:cxn ang="0">
                <a:pos x="connsiteX11283" y="connsiteY11283"/>
              </a:cxn>
              <a:cxn ang="0">
                <a:pos x="connsiteX11284" y="connsiteY11284"/>
              </a:cxn>
              <a:cxn ang="0">
                <a:pos x="connsiteX11285" y="connsiteY11285"/>
              </a:cxn>
              <a:cxn ang="0">
                <a:pos x="connsiteX11286" y="connsiteY11286"/>
              </a:cxn>
              <a:cxn ang="0">
                <a:pos x="connsiteX11287" y="connsiteY11287"/>
              </a:cxn>
              <a:cxn ang="0">
                <a:pos x="connsiteX11288" y="connsiteY11288"/>
              </a:cxn>
              <a:cxn ang="0">
                <a:pos x="connsiteX11289" y="connsiteY11289"/>
              </a:cxn>
              <a:cxn ang="0">
                <a:pos x="connsiteX11290" y="connsiteY11290"/>
              </a:cxn>
              <a:cxn ang="0">
                <a:pos x="connsiteX11291" y="connsiteY11291"/>
              </a:cxn>
              <a:cxn ang="0">
                <a:pos x="connsiteX11292" y="connsiteY11292"/>
              </a:cxn>
              <a:cxn ang="0">
                <a:pos x="connsiteX11293" y="connsiteY11293"/>
              </a:cxn>
              <a:cxn ang="0">
                <a:pos x="connsiteX11294" y="connsiteY11294"/>
              </a:cxn>
              <a:cxn ang="0">
                <a:pos x="connsiteX11295" y="connsiteY11295"/>
              </a:cxn>
              <a:cxn ang="0">
                <a:pos x="connsiteX11296" y="connsiteY11296"/>
              </a:cxn>
              <a:cxn ang="0">
                <a:pos x="connsiteX11297" y="connsiteY11297"/>
              </a:cxn>
              <a:cxn ang="0">
                <a:pos x="connsiteX11298" y="connsiteY11298"/>
              </a:cxn>
              <a:cxn ang="0">
                <a:pos x="connsiteX11299" y="connsiteY11299"/>
              </a:cxn>
              <a:cxn ang="0">
                <a:pos x="connsiteX11300" y="connsiteY11300"/>
              </a:cxn>
              <a:cxn ang="0">
                <a:pos x="connsiteX11301" y="connsiteY11301"/>
              </a:cxn>
              <a:cxn ang="0">
                <a:pos x="connsiteX11302" y="connsiteY11302"/>
              </a:cxn>
              <a:cxn ang="0">
                <a:pos x="connsiteX11303" y="connsiteY11303"/>
              </a:cxn>
              <a:cxn ang="0">
                <a:pos x="connsiteX11304" y="connsiteY11304"/>
              </a:cxn>
              <a:cxn ang="0">
                <a:pos x="connsiteX11305" y="connsiteY11305"/>
              </a:cxn>
              <a:cxn ang="0">
                <a:pos x="connsiteX11306" y="connsiteY11306"/>
              </a:cxn>
              <a:cxn ang="0">
                <a:pos x="connsiteX11307" y="connsiteY11307"/>
              </a:cxn>
              <a:cxn ang="0">
                <a:pos x="connsiteX11308" y="connsiteY11308"/>
              </a:cxn>
              <a:cxn ang="0">
                <a:pos x="connsiteX11309" y="connsiteY11309"/>
              </a:cxn>
              <a:cxn ang="0">
                <a:pos x="connsiteX11310" y="connsiteY11310"/>
              </a:cxn>
              <a:cxn ang="0">
                <a:pos x="connsiteX11311" y="connsiteY11311"/>
              </a:cxn>
              <a:cxn ang="0">
                <a:pos x="connsiteX11312" y="connsiteY11312"/>
              </a:cxn>
              <a:cxn ang="0">
                <a:pos x="connsiteX11313" y="connsiteY11313"/>
              </a:cxn>
              <a:cxn ang="0">
                <a:pos x="connsiteX11314" y="connsiteY11314"/>
              </a:cxn>
              <a:cxn ang="0">
                <a:pos x="connsiteX11315" y="connsiteY11315"/>
              </a:cxn>
              <a:cxn ang="0">
                <a:pos x="connsiteX11316" y="connsiteY11316"/>
              </a:cxn>
              <a:cxn ang="0">
                <a:pos x="connsiteX11317" y="connsiteY11317"/>
              </a:cxn>
              <a:cxn ang="0">
                <a:pos x="connsiteX11318" y="connsiteY11318"/>
              </a:cxn>
              <a:cxn ang="0">
                <a:pos x="connsiteX11319" y="connsiteY11319"/>
              </a:cxn>
              <a:cxn ang="0">
                <a:pos x="connsiteX11320" y="connsiteY11320"/>
              </a:cxn>
              <a:cxn ang="0">
                <a:pos x="connsiteX11321" y="connsiteY11321"/>
              </a:cxn>
              <a:cxn ang="0">
                <a:pos x="connsiteX11322" y="connsiteY11322"/>
              </a:cxn>
              <a:cxn ang="0">
                <a:pos x="connsiteX11323" y="connsiteY11323"/>
              </a:cxn>
              <a:cxn ang="0">
                <a:pos x="connsiteX11324" y="connsiteY11324"/>
              </a:cxn>
              <a:cxn ang="0">
                <a:pos x="connsiteX11325" y="connsiteY11325"/>
              </a:cxn>
              <a:cxn ang="0">
                <a:pos x="connsiteX11326" y="connsiteY11326"/>
              </a:cxn>
              <a:cxn ang="0">
                <a:pos x="connsiteX11327" y="connsiteY11327"/>
              </a:cxn>
              <a:cxn ang="0">
                <a:pos x="connsiteX11328" y="connsiteY11328"/>
              </a:cxn>
              <a:cxn ang="0">
                <a:pos x="connsiteX11329" y="connsiteY11329"/>
              </a:cxn>
              <a:cxn ang="0">
                <a:pos x="connsiteX11330" y="connsiteY11330"/>
              </a:cxn>
              <a:cxn ang="0">
                <a:pos x="connsiteX11331" y="connsiteY11331"/>
              </a:cxn>
              <a:cxn ang="0">
                <a:pos x="connsiteX11332" y="connsiteY11332"/>
              </a:cxn>
              <a:cxn ang="0">
                <a:pos x="connsiteX11333" y="connsiteY11333"/>
              </a:cxn>
              <a:cxn ang="0">
                <a:pos x="connsiteX11334" y="connsiteY11334"/>
              </a:cxn>
              <a:cxn ang="0">
                <a:pos x="connsiteX11335" y="connsiteY11335"/>
              </a:cxn>
              <a:cxn ang="0">
                <a:pos x="connsiteX11336" y="connsiteY11336"/>
              </a:cxn>
              <a:cxn ang="0">
                <a:pos x="connsiteX11337" y="connsiteY11337"/>
              </a:cxn>
              <a:cxn ang="0">
                <a:pos x="connsiteX11338" y="connsiteY11338"/>
              </a:cxn>
              <a:cxn ang="0">
                <a:pos x="connsiteX11339" y="connsiteY11339"/>
              </a:cxn>
              <a:cxn ang="0">
                <a:pos x="connsiteX11340" y="connsiteY11340"/>
              </a:cxn>
              <a:cxn ang="0">
                <a:pos x="connsiteX11341" y="connsiteY11341"/>
              </a:cxn>
              <a:cxn ang="0">
                <a:pos x="connsiteX11342" y="connsiteY11342"/>
              </a:cxn>
              <a:cxn ang="0">
                <a:pos x="connsiteX11343" y="connsiteY11343"/>
              </a:cxn>
              <a:cxn ang="0">
                <a:pos x="connsiteX11344" y="connsiteY11344"/>
              </a:cxn>
              <a:cxn ang="0">
                <a:pos x="connsiteX11345" y="connsiteY11345"/>
              </a:cxn>
              <a:cxn ang="0">
                <a:pos x="connsiteX11346" y="connsiteY11346"/>
              </a:cxn>
              <a:cxn ang="0">
                <a:pos x="connsiteX11347" y="connsiteY11347"/>
              </a:cxn>
              <a:cxn ang="0">
                <a:pos x="connsiteX11348" y="connsiteY11348"/>
              </a:cxn>
              <a:cxn ang="0">
                <a:pos x="connsiteX11349" y="connsiteY11349"/>
              </a:cxn>
              <a:cxn ang="0">
                <a:pos x="connsiteX11350" y="connsiteY11350"/>
              </a:cxn>
              <a:cxn ang="0">
                <a:pos x="connsiteX11351" y="connsiteY11351"/>
              </a:cxn>
              <a:cxn ang="0">
                <a:pos x="connsiteX11352" y="connsiteY11352"/>
              </a:cxn>
              <a:cxn ang="0">
                <a:pos x="connsiteX11353" y="connsiteY11353"/>
              </a:cxn>
              <a:cxn ang="0">
                <a:pos x="connsiteX11354" y="connsiteY11354"/>
              </a:cxn>
              <a:cxn ang="0">
                <a:pos x="connsiteX11355" y="connsiteY11355"/>
              </a:cxn>
              <a:cxn ang="0">
                <a:pos x="connsiteX11356" y="connsiteY11356"/>
              </a:cxn>
              <a:cxn ang="0">
                <a:pos x="connsiteX11357" y="connsiteY11357"/>
              </a:cxn>
              <a:cxn ang="0">
                <a:pos x="connsiteX11358" y="connsiteY11358"/>
              </a:cxn>
              <a:cxn ang="0">
                <a:pos x="connsiteX11359" y="connsiteY11359"/>
              </a:cxn>
              <a:cxn ang="0">
                <a:pos x="connsiteX11360" y="connsiteY11360"/>
              </a:cxn>
              <a:cxn ang="0">
                <a:pos x="connsiteX11361" y="connsiteY11361"/>
              </a:cxn>
              <a:cxn ang="0">
                <a:pos x="connsiteX11362" y="connsiteY11362"/>
              </a:cxn>
              <a:cxn ang="0">
                <a:pos x="connsiteX11363" y="connsiteY11363"/>
              </a:cxn>
              <a:cxn ang="0">
                <a:pos x="connsiteX11364" y="connsiteY11364"/>
              </a:cxn>
              <a:cxn ang="0">
                <a:pos x="connsiteX11365" y="connsiteY11365"/>
              </a:cxn>
              <a:cxn ang="0">
                <a:pos x="connsiteX11366" y="connsiteY11366"/>
              </a:cxn>
              <a:cxn ang="0">
                <a:pos x="connsiteX11367" y="connsiteY11367"/>
              </a:cxn>
              <a:cxn ang="0">
                <a:pos x="connsiteX11368" y="connsiteY11368"/>
              </a:cxn>
              <a:cxn ang="0">
                <a:pos x="connsiteX11369" y="connsiteY11369"/>
              </a:cxn>
              <a:cxn ang="0">
                <a:pos x="connsiteX11370" y="connsiteY11370"/>
              </a:cxn>
              <a:cxn ang="0">
                <a:pos x="connsiteX11371" y="connsiteY11371"/>
              </a:cxn>
              <a:cxn ang="0">
                <a:pos x="connsiteX11372" y="connsiteY11372"/>
              </a:cxn>
              <a:cxn ang="0">
                <a:pos x="connsiteX11373" y="connsiteY11373"/>
              </a:cxn>
              <a:cxn ang="0">
                <a:pos x="connsiteX11374" y="connsiteY11374"/>
              </a:cxn>
              <a:cxn ang="0">
                <a:pos x="connsiteX11375" y="connsiteY11375"/>
              </a:cxn>
              <a:cxn ang="0">
                <a:pos x="connsiteX11376" y="connsiteY11376"/>
              </a:cxn>
              <a:cxn ang="0">
                <a:pos x="connsiteX11377" y="connsiteY11377"/>
              </a:cxn>
              <a:cxn ang="0">
                <a:pos x="connsiteX11378" y="connsiteY11378"/>
              </a:cxn>
              <a:cxn ang="0">
                <a:pos x="connsiteX11379" y="connsiteY11379"/>
              </a:cxn>
              <a:cxn ang="0">
                <a:pos x="connsiteX11380" y="connsiteY11380"/>
              </a:cxn>
              <a:cxn ang="0">
                <a:pos x="connsiteX11381" y="connsiteY11381"/>
              </a:cxn>
              <a:cxn ang="0">
                <a:pos x="connsiteX11382" y="connsiteY11382"/>
              </a:cxn>
              <a:cxn ang="0">
                <a:pos x="connsiteX11383" y="connsiteY11383"/>
              </a:cxn>
              <a:cxn ang="0">
                <a:pos x="connsiteX11384" y="connsiteY11384"/>
              </a:cxn>
              <a:cxn ang="0">
                <a:pos x="connsiteX11385" y="connsiteY11385"/>
              </a:cxn>
              <a:cxn ang="0">
                <a:pos x="connsiteX11386" y="connsiteY11386"/>
              </a:cxn>
              <a:cxn ang="0">
                <a:pos x="connsiteX11387" y="connsiteY11387"/>
              </a:cxn>
              <a:cxn ang="0">
                <a:pos x="connsiteX11388" y="connsiteY11388"/>
              </a:cxn>
              <a:cxn ang="0">
                <a:pos x="connsiteX11389" y="connsiteY11389"/>
              </a:cxn>
              <a:cxn ang="0">
                <a:pos x="connsiteX11390" y="connsiteY11390"/>
              </a:cxn>
              <a:cxn ang="0">
                <a:pos x="connsiteX11391" y="connsiteY11391"/>
              </a:cxn>
              <a:cxn ang="0">
                <a:pos x="connsiteX11392" y="connsiteY11392"/>
              </a:cxn>
              <a:cxn ang="0">
                <a:pos x="connsiteX11393" y="connsiteY11393"/>
              </a:cxn>
              <a:cxn ang="0">
                <a:pos x="connsiteX11394" y="connsiteY11394"/>
              </a:cxn>
              <a:cxn ang="0">
                <a:pos x="connsiteX11395" y="connsiteY11395"/>
              </a:cxn>
              <a:cxn ang="0">
                <a:pos x="connsiteX11396" y="connsiteY11396"/>
              </a:cxn>
              <a:cxn ang="0">
                <a:pos x="connsiteX11397" y="connsiteY11397"/>
              </a:cxn>
              <a:cxn ang="0">
                <a:pos x="connsiteX11398" y="connsiteY11398"/>
              </a:cxn>
              <a:cxn ang="0">
                <a:pos x="connsiteX11399" y="connsiteY11399"/>
              </a:cxn>
              <a:cxn ang="0">
                <a:pos x="connsiteX11400" y="connsiteY11400"/>
              </a:cxn>
              <a:cxn ang="0">
                <a:pos x="connsiteX11401" y="connsiteY11401"/>
              </a:cxn>
              <a:cxn ang="0">
                <a:pos x="connsiteX11402" y="connsiteY11402"/>
              </a:cxn>
              <a:cxn ang="0">
                <a:pos x="connsiteX11403" y="connsiteY11403"/>
              </a:cxn>
              <a:cxn ang="0">
                <a:pos x="connsiteX11404" y="connsiteY11404"/>
              </a:cxn>
              <a:cxn ang="0">
                <a:pos x="connsiteX11405" y="connsiteY11405"/>
              </a:cxn>
              <a:cxn ang="0">
                <a:pos x="connsiteX11406" y="connsiteY11406"/>
              </a:cxn>
              <a:cxn ang="0">
                <a:pos x="connsiteX11407" y="connsiteY11407"/>
              </a:cxn>
              <a:cxn ang="0">
                <a:pos x="connsiteX11408" y="connsiteY11408"/>
              </a:cxn>
              <a:cxn ang="0">
                <a:pos x="connsiteX11409" y="connsiteY11409"/>
              </a:cxn>
              <a:cxn ang="0">
                <a:pos x="connsiteX11410" y="connsiteY11410"/>
              </a:cxn>
              <a:cxn ang="0">
                <a:pos x="connsiteX11411" y="connsiteY11411"/>
              </a:cxn>
              <a:cxn ang="0">
                <a:pos x="connsiteX11412" y="connsiteY11412"/>
              </a:cxn>
              <a:cxn ang="0">
                <a:pos x="connsiteX11413" y="connsiteY11413"/>
              </a:cxn>
              <a:cxn ang="0">
                <a:pos x="connsiteX11414" y="connsiteY11414"/>
              </a:cxn>
              <a:cxn ang="0">
                <a:pos x="connsiteX11415" y="connsiteY11415"/>
              </a:cxn>
              <a:cxn ang="0">
                <a:pos x="connsiteX11416" y="connsiteY11416"/>
              </a:cxn>
              <a:cxn ang="0">
                <a:pos x="connsiteX11417" y="connsiteY11417"/>
              </a:cxn>
              <a:cxn ang="0">
                <a:pos x="connsiteX11418" y="connsiteY11418"/>
              </a:cxn>
              <a:cxn ang="0">
                <a:pos x="connsiteX11419" y="connsiteY11419"/>
              </a:cxn>
              <a:cxn ang="0">
                <a:pos x="connsiteX11420" y="connsiteY11420"/>
              </a:cxn>
              <a:cxn ang="0">
                <a:pos x="connsiteX11421" y="connsiteY11421"/>
              </a:cxn>
              <a:cxn ang="0">
                <a:pos x="connsiteX11422" y="connsiteY11422"/>
              </a:cxn>
              <a:cxn ang="0">
                <a:pos x="connsiteX11423" y="connsiteY11423"/>
              </a:cxn>
              <a:cxn ang="0">
                <a:pos x="connsiteX11424" y="connsiteY11424"/>
              </a:cxn>
              <a:cxn ang="0">
                <a:pos x="connsiteX11425" y="connsiteY11425"/>
              </a:cxn>
              <a:cxn ang="0">
                <a:pos x="connsiteX11426" y="connsiteY11426"/>
              </a:cxn>
              <a:cxn ang="0">
                <a:pos x="connsiteX11427" y="connsiteY11427"/>
              </a:cxn>
              <a:cxn ang="0">
                <a:pos x="connsiteX11428" y="connsiteY11428"/>
              </a:cxn>
              <a:cxn ang="0">
                <a:pos x="connsiteX11429" y="connsiteY11429"/>
              </a:cxn>
              <a:cxn ang="0">
                <a:pos x="connsiteX11430" y="connsiteY11430"/>
              </a:cxn>
              <a:cxn ang="0">
                <a:pos x="connsiteX11431" y="connsiteY11431"/>
              </a:cxn>
              <a:cxn ang="0">
                <a:pos x="connsiteX11432" y="connsiteY11432"/>
              </a:cxn>
              <a:cxn ang="0">
                <a:pos x="connsiteX11433" y="connsiteY11433"/>
              </a:cxn>
              <a:cxn ang="0">
                <a:pos x="connsiteX11434" y="connsiteY11434"/>
              </a:cxn>
              <a:cxn ang="0">
                <a:pos x="connsiteX11435" y="connsiteY11435"/>
              </a:cxn>
              <a:cxn ang="0">
                <a:pos x="connsiteX11436" y="connsiteY11436"/>
              </a:cxn>
              <a:cxn ang="0">
                <a:pos x="connsiteX11437" y="connsiteY11437"/>
              </a:cxn>
              <a:cxn ang="0">
                <a:pos x="connsiteX11438" y="connsiteY11438"/>
              </a:cxn>
              <a:cxn ang="0">
                <a:pos x="connsiteX11439" y="connsiteY11439"/>
              </a:cxn>
              <a:cxn ang="0">
                <a:pos x="connsiteX11440" y="connsiteY11440"/>
              </a:cxn>
              <a:cxn ang="0">
                <a:pos x="connsiteX11441" y="connsiteY11441"/>
              </a:cxn>
              <a:cxn ang="0">
                <a:pos x="connsiteX11442" y="connsiteY11442"/>
              </a:cxn>
              <a:cxn ang="0">
                <a:pos x="connsiteX11443" y="connsiteY11443"/>
              </a:cxn>
              <a:cxn ang="0">
                <a:pos x="connsiteX11444" y="connsiteY11444"/>
              </a:cxn>
              <a:cxn ang="0">
                <a:pos x="connsiteX11445" y="connsiteY11445"/>
              </a:cxn>
              <a:cxn ang="0">
                <a:pos x="connsiteX11446" y="connsiteY11446"/>
              </a:cxn>
              <a:cxn ang="0">
                <a:pos x="connsiteX11447" y="connsiteY11447"/>
              </a:cxn>
              <a:cxn ang="0">
                <a:pos x="connsiteX11448" y="connsiteY11448"/>
              </a:cxn>
              <a:cxn ang="0">
                <a:pos x="connsiteX11449" y="connsiteY11449"/>
              </a:cxn>
              <a:cxn ang="0">
                <a:pos x="connsiteX11450" y="connsiteY11450"/>
              </a:cxn>
              <a:cxn ang="0">
                <a:pos x="connsiteX11451" y="connsiteY11451"/>
              </a:cxn>
              <a:cxn ang="0">
                <a:pos x="connsiteX11452" y="connsiteY11452"/>
              </a:cxn>
              <a:cxn ang="0">
                <a:pos x="connsiteX11453" y="connsiteY11453"/>
              </a:cxn>
              <a:cxn ang="0">
                <a:pos x="connsiteX11454" y="connsiteY11454"/>
              </a:cxn>
              <a:cxn ang="0">
                <a:pos x="connsiteX11455" y="connsiteY11455"/>
              </a:cxn>
              <a:cxn ang="0">
                <a:pos x="connsiteX11456" y="connsiteY11456"/>
              </a:cxn>
              <a:cxn ang="0">
                <a:pos x="connsiteX11457" y="connsiteY11457"/>
              </a:cxn>
              <a:cxn ang="0">
                <a:pos x="connsiteX11458" y="connsiteY11458"/>
              </a:cxn>
              <a:cxn ang="0">
                <a:pos x="connsiteX11459" y="connsiteY11459"/>
              </a:cxn>
              <a:cxn ang="0">
                <a:pos x="connsiteX11460" y="connsiteY11460"/>
              </a:cxn>
              <a:cxn ang="0">
                <a:pos x="connsiteX11461" y="connsiteY11461"/>
              </a:cxn>
              <a:cxn ang="0">
                <a:pos x="connsiteX11462" y="connsiteY11462"/>
              </a:cxn>
              <a:cxn ang="0">
                <a:pos x="connsiteX11463" y="connsiteY11463"/>
              </a:cxn>
              <a:cxn ang="0">
                <a:pos x="connsiteX11464" y="connsiteY11464"/>
              </a:cxn>
              <a:cxn ang="0">
                <a:pos x="connsiteX11465" y="connsiteY11465"/>
              </a:cxn>
              <a:cxn ang="0">
                <a:pos x="connsiteX11466" y="connsiteY11466"/>
              </a:cxn>
              <a:cxn ang="0">
                <a:pos x="connsiteX11467" y="connsiteY11467"/>
              </a:cxn>
              <a:cxn ang="0">
                <a:pos x="connsiteX11468" y="connsiteY11468"/>
              </a:cxn>
              <a:cxn ang="0">
                <a:pos x="connsiteX11469" y="connsiteY11469"/>
              </a:cxn>
              <a:cxn ang="0">
                <a:pos x="connsiteX11470" y="connsiteY11470"/>
              </a:cxn>
              <a:cxn ang="0">
                <a:pos x="connsiteX11471" y="connsiteY11471"/>
              </a:cxn>
              <a:cxn ang="0">
                <a:pos x="connsiteX11472" y="connsiteY11472"/>
              </a:cxn>
              <a:cxn ang="0">
                <a:pos x="connsiteX11473" y="connsiteY11473"/>
              </a:cxn>
              <a:cxn ang="0">
                <a:pos x="connsiteX11474" y="connsiteY11474"/>
              </a:cxn>
              <a:cxn ang="0">
                <a:pos x="connsiteX11475" y="connsiteY11475"/>
              </a:cxn>
              <a:cxn ang="0">
                <a:pos x="connsiteX11476" y="connsiteY11476"/>
              </a:cxn>
              <a:cxn ang="0">
                <a:pos x="connsiteX11477" y="connsiteY11477"/>
              </a:cxn>
              <a:cxn ang="0">
                <a:pos x="connsiteX11478" y="connsiteY11478"/>
              </a:cxn>
              <a:cxn ang="0">
                <a:pos x="connsiteX11479" y="connsiteY11479"/>
              </a:cxn>
              <a:cxn ang="0">
                <a:pos x="connsiteX11480" y="connsiteY11480"/>
              </a:cxn>
              <a:cxn ang="0">
                <a:pos x="connsiteX11481" y="connsiteY11481"/>
              </a:cxn>
              <a:cxn ang="0">
                <a:pos x="connsiteX11482" y="connsiteY11482"/>
              </a:cxn>
              <a:cxn ang="0">
                <a:pos x="connsiteX11483" y="connsiteY11483"/>
              </a:cxn>
              <a:cxn ang="0">
                <a:pos x="connsiteX11484" y="connsiteY11484"/>
              </a:cxn>
              <a:cxn ang="0">
                <a:pos x="connsiteX11485" y="connsiteY11485"/>
              </a:cxn>
              <a:cxn ang="0">
                <a:pos x="connsiteX11486" y="connsiteY11486"/>
              </a:cxn>
              <a:cxn ang="0">
                <a:pos x="connsiteX11487" y="connsiteY11487"/>
              </a:cxn>
              <a:cxn ang="0">
                <a:pos x="connsiteX11488" y="connsiteY11488"/>
              </a:cxn>
              <a:cxn ang="0">
                <a:pos x="connsiteX11489" y="connsiteY11489"/>
              </a:cxn>
              <a:cxn ang="0">
                <a:pos x="connsiteX11490" y="connsiteY11490"/>
              </a:cxn>
              <a:cxn ang="0">
                <a:pos x="connsiteX11491" y="connsiteY11491"/>
              </a:cxn>
              <a:cxn ang="0">
                <a:pos x="connsiteX11492" y="connsiteY11492"/>
              </a:cxn>
              <a:cxn ang="0">
                <a:pos x="connsiteX11493" y="connsiteY11493"/>
              </a:cxn>
              <a:cxn ang="0">
                <a:pos x="connsiteX11494" y="connsiteY11494"/>
              </a:cxn>
              <a:cxn ang="0">
                <a:pos x="connsiteX11495" y="connsiteY11495"/>
              </a:cxn>
              <a:cxn ang="0">
                <a:pos x="connsiteX11496" y="connsiteY11496"/>
              </a:cxn>
              <a:cxn ang="0">
                <a:pos x="connsiteX11497" y="connsiteY11497"/>
              </a:cxn>
              <a:cxn ang="0">
                <a:pos x="connsiteX11498" y="connsiteY11498"/>
              </a:cxn>
              <a:cxn ang="0">
                <a:pos x="connsiteX11499" y="connsiteY11499"/>
              </a:cxn>
              <a:cxn ang="0">
                <a:pos x="connsiteX11500" y="connsiteY11500"/>
              </a:cxn>
              <a:cxn ang="0">
                <a:pos x="connsiteX11501" y="connsiteY11501"/>
              </a:cxn>
              <a:cxn ang="0">
                <a:pos x="connsiteX11502" y="connsiteY11502"/>
              </a:cxn>
              <a:cxn ang="0">
                <a:pos x="connsiteX11503" y="connsiteY11503"/>
              </a:cxn>
              <a:cxn ang="0">
                <a:pos x="connsiteX11504" y="connsiteY11504"/>
              </a:cxn>
              <a:cxn ang="0">
                <a:pos x="connsiteX11505" y="connsiteY11505"/>
              </a:cxn>
              <a:cxn ang="0">
                <a:pos x="connsiteX11506" y="connsiteY11506"/>
              </a:cxn>
              <a:cxn ang="0">
                <a:pos x="connsiteX11507" y="connsiteY11507"/>
              </a:cxn>
              <a:cxn ang="0">
                <a:pos x="connsiteX11508" y="connsiteY11508"/>
              </a:cxn>
              <a:cxn ang="0">
                <a:pos x="connsiteX11509" y="connsiteY11509"/>
              </a:cxn>
              <a:cxn ang="0">
                <a:pos x="connsiteX11510" y="connsiteY11510"/>
              </a:cxn>
              <a:cxn ang="0">
                <a:pos x="connsiteX11511" y="connsiteY11511"/>
              </a:cxn>
              <a:cxn ang="0">
                <a:pos x="connsiteX11512" y="connsiteY11512"/>
              </a:cxn>
              <a:cxn ang="0">
                <a:pos x="connsiteX11513" y="connsiteY11513"/>
              </a:cxn>
              <a:cxn ang="0">
                <a:pos x="connsiteX11514" y="connsiteY11514"/>
              </a:cxn>
              <a:cxn ang="0">
                <a:pos x="connsiteX11515" y="connsiteY11515"/>
              </a:cxn>
              <a:cxn ang="0">
                <a:pos x="connsiteX11516" y="connsiteY11516"/>
              </a:cxn>
              <a:cxn ang="0">
                <a:pos x="connsiteX11517" y="connsiteY11517"/>
              </a:cxn>
              <a:cxn ang="0">
                <a:pos x="connsiteX11518" y="connsiteY11518"/>
              </a:cxn>
              <a:cxn ang="0">
                <a:pos x="connsiteX11519" y="connsiteY11519"/>
              </a:cxn>
              <a:cxn ang="0">
                <a:pos x="connsiteX11520" y="connsiteY11520"/>
              </a:cxn>
              <a:cxn ang="0">
                <a:pos x="connsiteX11521" y="connsiteY11521"/>
              </a:cxn>
              <a:cxn ang="0">
                <a:pos x="connsiteX11522" y="connsiteY11522"/>
              </a:cxn>
              <a:cxn ang="0">
                <a:pos x="connsiteX11523" y="connsiteY11523"/>
              </a:cxn>
              <a:cxn ang="0">
                <a:pos x="connsiteX11524" y="connsiteY11524"/>
              </a:cxn>
              <a:cxn ang="0">
                <a:pos x="connsiteX11525" y="connsiteY11525"/>
              </a:cxn>
              <a:cxn ang="0">
                <a:pos x="connsiteX11526" y="connsiteY11526"/>
              </a:cxn>
              <a:cxn ang="0">
                <a:pos x="connsiteX11527" y="connsiteY11527"/>
              </a:cxn>
              <a:cxn ang="0">
                <a:pos x="connsiteX11528" y="connsiteY11528"/>
              </a:cxn>
              <a:cxn ang="0">
                <a:pos x="connsiteX11529" y="connsiteY11529"/>
              </a:cxn>
              <a:cxn ang="0">
                <a:pos x="connsiteX11530" y="connsiteY11530"/>
              </a:cxn>
              <a:cxn ang="0">
                <a:pos x="connsiteX11531" y="connsiteY11531"/>
              </a:cxn>
              <a:cxn ang="0">
                <a:pos x="connsiteX11532" y="connsiteY11532"/>
              </a:cxn>
              <a:cxn ang="0">
                <a:pos x="connsiteX11533" y="connsiteY11533"/>
              </a:cxn>
              <a:cxn ang="0">
                <a:pos x="connsiteX11534" y="connsiteY11534"/>
              </a:cxn>
              <a:cxn ang="0">
                <a:pos x="connsiteX11535" y="connsiteY11535"/>
              </a:cxn>
              <a:cxn ang="0">
                <a:pos x="connsiteX11536" y="connsiteY11536"/>
              </a:cxn>
              <a:cxn ang="0">
                <a:pos x="connsiteX11537" y="connsiteY11537"/>
              </a:cxn>
              <a:cxn ang="0">
                <a:pos x="connsiteX11538" y="connsiteY11538"/>
              </a:cxn>
              <a:cxn ang="0">
                <a:pos x="connsiteX11539" y="connsiteY11539"/>
              </a:cxn>
              <a:cxn ang="0">
                <a:pos x="connsiteX11540" y="connsiteY11540"/>
              </a:cxn>
              <a:cxn ang="0">
                <a:pos x="connsiteX11541" y="connsiteY11541"/>
              </a:cxn>
              <a:cxn ang="0">
                <a:pos x="connsiteX11542" y="connsiteY11542"/>
              </a:cxn>
              <a:cxn ang="0">
                <a:pos x="connsiteX11543" y="connsiteY11543"/>
              </a:cxn>
              <a:cxn ang="0">
                <a:pos x="connsiteX11544" y="connsiteY11544"/>
              </a:cxn>
              <a:cxn ang="0">
                <a:pos x="connsiteX11545" y="connsiteY11545"/>
              </a:cxn>
              <a:cxn ang="0">
                <a:pos x="connsiteX11546" y="connsiteY11546"/>
              </a:cxn>
              <a:cxn ang="0">
                <a:pos x="connsiteX11547" y="connsiteY11547"/>
              </a:cxn>
              <a:cxn ang="0">
                <a:pos x="connsiteX11548" y="connsiteY11548"/>
              </a:cxn>
              <a:cxn ang="0">
                <a:pos x="connsiteX11549" y="connsiteY11549"/>
              </a:cxn>
              <a:cxn ang="0">
                <a:pos x="connsiteX11550" y="connsiteY11550"/>
              </a:cxn>
              <a:cxn ang="0">
                <a:pos x="connsiteX11551" y="connsiteY11551"/>
              </a:cxn>
              <a:cxn ang="0">
                <a:pos x="connsiteX11552" y="connsiteY11552"/>
              </a:cxn>
              <a:cxn ang="0">
                <a:pos x="connsiteX11553" y="connsiteY11553"/>
              </a:cxn>
              <a:cxn ang="0">
                <a:pos x="connsiteX11554" y="connsiteY11554"/>
              </a:cxn>
              <a:cxn ang="0">
                <a:pos x="connsiteX11555" y="connsiteY11555"/>
              </a:cxn>
              <a:cxn ang="0">
                <a:pos x="connsiteX11556" y="connsiteY11556"/>
              </a:cxn>
              <a:cxn ang="0">
                <a:pos x="connsiteX11557" y="connsiteY11557"/>
              </a:cxn>
              <a:cxn ang="0">
                <a:pos x="connsiteX11558" y="connsiteY11558"/>
              </a:cxn>
              <a:cxn ang="0">
                <a:pos x="connsiteX11559" y="connsiteY11559"/>
              </a:cxn>
              <a:cxn ang="0">
                <a:pos x="connsiteX11560" y="connsiteY11560"/>
              </a:cxn>
              <a:cxn ang="0">
                <a:pos x="connsiteX11561" y="connsiteY11561"/>
              </a:cxn>
              <a:cxn ang="0">
                <a:pos x="connsiteX11562" y="connsiteY11562"/>
              </a:cxn>
              <a:cxn ang="0">
                <a:pos x="connsiteX11563" y="connsiteY11563"/>
              </a:cxn>
              <a:cxn ang="0">
                <a:pos x="connsiteX11564" y="connsiteY11564"/>
              </a:cxn>
              <a:cxn ang="0">
                <a:pos x="connsiteX11565" y="connsiteY11565"/>
              </a:cxn>
              <a:cxn ang="0">
                <a:pos x="connsiteX11566" y="connsiteY11566"/>
              </a:cxn>
              <a:cxn ang="0">
                <a:pos x="connsiteX11567" y="connsiteY11567"/>
              </a:cxn>
              <a:cxn ang="0">
                <a:pos x="connsiteX11568" y="connsiteY11568"/>
              </a:cxn>
              <a:cxn ang="0">
                <a:pos x="connsiteX11569" y="connsiteY11569"/>
              </a:cxn>
              <a:cxn ang="0">
                <a:pos x="connsiteX11570" y="connsiteY11570"/>
              </a:cxn>
              <a:cxn ang="0">
                <a:pos x="connsiteX11571" y="connsiteY11571"/>
              </a:cxn>
              <a:cxn ang="0">
                <a:pos x="connsiteX11572" y="connsiteY11572"/>
              </a:cxn>
              <a:cxn ang="0">
                <a:pos x="connsiteX11573" y="connsiteY11573"/>
              </a:cxn>
              <a:cxn ang="0">
                <a:pos x="connsiteX11574" y="connsiteY11574"/>
              </a:cxn>
              <a:cxn ang="0">
                <a:pos x="connsiteX11575" y="connsiteY11575"/>
              </a:cxn>
              <a:cxn ang="0">
                <a:pos x="connsiteX11576" y="connsiteY11576"/>
              </a:cxn>
              <a:cxn ang="0">
                <a:pos x="connsiteX11577" y="connsiteY11577"/>
              </a:cxn>
              <a:cxn ang="0">
                <a:pos x="connsiteX11578" y="connsiteY11578"/>
              </a:cxn>
              <a:cxn ang="0">
                <a:pos x="connsiteX11579" y="connsiteY11579"/>
              </a:cxn>
              <a:cxn ang="0">
                <a:pos x="connsiteX11580" y="connsiteY11580"/>
              </a:cxn>
              <a:cxn ang="0">
                <a:pos x="connsiteX11581" y="connsiteY11581"/>
              </a:cxn>
              <a:cxn ang="0">
                <a:pos x="connsiteX11582" y="connsiteY11582"/>
              </a:cxn>
              <a:cxn ang="0">
                <a:pos x="connsiteX11583" y="connsiteY11583"/>
              </a:cxn>
              <a:cxn ang="0">
                <a:pos x="connsiteX11584" y="connsiteY11584"/>
              </a:cxn>
              <a:cxn ang="0">
                <a:pos x="connsiteX11585" y="connsiteY11585"/>
              </a:cxn>
              <a:cxn ang="0">
                <a:pos x="connsiteX11586" y="connsiteY11586"/>
              </a:cxn>
              <a:cxn ang="0">
                <a:pos x="connsiteX11587" y="connsiteY11587"/>
              </a:cxn>
              <a:cxn ang="0">
                <a:pos x="connsiteX11588" y="connsiteY11588"/>
              </a:cxn>
              <a:cxn ang="0">
                <a:pos x="connsiteX11589" y="connsiteY11589"/>
              </a:cxn>
              <a:cxn ang="0">
                <a:pos x="connsiteX11590" y="connsiteY11590"/>
              </a:cxn>
              <a:cxn ang="0">
                <a:pos x="connsiteX11591" y="connsiteY11591"/>
              </a:cxn>
              <a:cxn ang="0">
                <a:pos x="connsiteX11592" y="connsiteY11592"/>
              </a:cxn>
              <a:cxn ang="0">
                <a:pos x="connsiteX11593" y="connsiteY11593"/>
              </a:cxn>
              <a:cxn ang="0">
                <a:pos x="connsiteX11594" y="connsiteY11594"/>
              </a:cxn>
              <a:cxn ang="0">
                <a:pos x="connsiteX11595" y="connsiteY11595"/>
              </a:cxn>
              <a:cxn ang="0">
                <a:pos x="connsiteX11596" y="connsiteY11596"/>
              </a:cxn>
              <a:cxn ang="0">
                <a:pos x="connsiteX11597" y="connsiteY11597"/>
              </a:cxn>
              <a:cxn ang="0">
                <a:pos x="connsiteX11598" y="connsiteY11598"/>
              </a:cxn>
              <a:cxn ang="0">
                <a:pos x="connsiteX11599" y="connsiteY11599"/>
              </a:cxn>
              <a:cxn ang="0">
                <a:pos x="connsiteX11600" y="connsiteY11600"/>
              </a:cxn>
              <a:cxn ang="0">
                <a:pos x="connsiteX11601" y="connsiteY11601"/>
              </a:cxn>
              <a:cxn ang="0">
                <a:pos x="connsiteX11602" y="connsiteY11602"/>
              </a:cxn>
              <a:cxn ang="0">
                <a:pos x="connsiteX11603" y="connsiteY11603"/>
              </a:cxn>
              <a:cxn ang="0">
                <a:pos x="connsiteX11604" y="connsiteY11604"/>
              </a:cxn>
              <a:cxn ang="0">
                <a:pos x="connsiteX11605" y="connsiteY11605"/>
              </a:cxn>
              <a:cxn ang="0">
                <a:pos x="connsiteX11606" y="connsiteY11606"/>
              </a:cxn>
              <a:cxn ang="0">
                <a:pos x="connsiteX11607" y="connsiteY11607"/>
              </a:cxn>
              <a:cxn ang="0">
                <a:pos x="connsiteX11608" y="connsiteY11608"/>
              </a:cxn>
              <a:cxn ang="0">
                <a:pos x="connsiteX11609" y="connsiteY11609"/>
              </a:cxn>
              <a:cxn ang="0">
                <a:pos x="connsiteX11610" y="connsiteY11610"/>
              </a:cxn>
              <a:cxn ang="0">
                <a:pos x="connsiteX11611" y="connsiteY11611"/>
              </a:cxn>
              <a:cxn ang="0">
                <a:pos x="connsiteX11612" y="connsiteY11612"/>
              </a:cxn>
              <a:cxn ang="0">
                <a:pos x="connsiteX11613" y="connsiteY11613"/>
              </a:cxn>
              <a:cxn ang="0">
                <a:pos x="connsiteX11614" y="connsiteY11614"/>
              </a:cxn>
              <a:cxn ang="0">
                <a:pos x="connsiteX11615" y="connsiteY11615"/>
              </a:cxn>
              <a:cxn ang="0">
                <a:pos x="connsiteX11616" y="connsiteY11616"/>
              </a:cxn>
              <a:cxn ang="0">
                <a:pos x="connsiteX11617" y="connsiteY11617"/>
              </a:cxn>
              <a:cxn ang="0">
                <a:pos x="connsiteX11618" y="connsiteY11618"/>
              </a:cxn>
              <a:cxn ang="0">
                <a:pos x="connsiteX11619" y="connsiteY11619"/>
              </a:cxn>
              <a:cxn ang="0">
                <a:pos x="connsiteX11620" y="connsiteY11620"/>
              </a:cxn>
              <a:cxn ang="0">
                <a:pos x="connsiteX11621" y="connsiteY11621"/>
              </a:cxn>
              <a:cxn ang="0">
                <a:pos x="connsiteX11622" y="connsiteY11622"/>
              </a:cxn>
              <a:cxn ang="0">
                <a:pos x="connsiteX11623" y="connsiteY11623"/>
              </a:cxn>
              <a:cxn ang="0">
                <a:pos x="connsiteX11624" y="connsiteY11624"/>
              </a:cxn>
              <a:cxn ang="0">
                <a:pos x="connsiteX11625" y="connsiteY11625"/>
              </a:cxn>
              <a:cxn ang="0">
                <a:pos x="connsiteX11626" y="connsiteY11626"/>
              </a:cxn>
              <a:cxn ang="0">
                <a:pos x="connsiteX11627" y="connsiteY11627"/>
              </a:cxn>
              <a:cxn ang="0">
                <a:pos x="connsiteX11628" y="connsiteY11628"/>
              </a:cxn>
              <a:cxn ang="0">
                <a:pos x="connsiteX11629" y="connsiteY11629"/>
              </a:cxn>
              <a:cxn ang="0">
                <a:pos x="connsiteX11630" y="connsiteY11630"/>
              </a:cxn>
              <a:cxn ang="0">
                <a:pos x="connsiteX11631" y="connsiteY11631"/>
              </a:cxn>
              <a:cxn ang="0">
                <a:pos x="connsiteX11632" y="connsiteY11632"/>
              </a:cxn>
              <a:cxn ang="0">
                <a:pos x="connsiteX11633" y="connsiteY11633"/>
              </a:cxn>
              <a:cxn ang="0">
                <a:pos x="connsiteX11634" y="connsiteY11634"/>
              </a:cxn>
              <a:cxn ang="0">
                <a:pos x="connsiteX11635" y="connsiteY11635"/>
              </a:cxn>
              <a:cxn ang="0">
                <a:pos x="connsiteX11636" y="connsiteY11636"/>
              </a:cxn>
              <a:cxn ang="0">
                <a:pos x="connsiteX11637" y="connsiteY11637"/>
              </a:cxn>
              <a:cxn ang="0">
                <a:pos x="connsiteX11638" y="connsiteY11638"/>
              </a:cxn>
              <a:cxn ang="0">
                <a:pos x="connsiteX11639" y="connsiteY11639"/>
              </a:cxn>
              <a:cxn ang="0">
                <a:pos x="connsiteX11640" y="connsiteY11640"/>
              </a:cxn>
              <a:cxn ang="0">
                <a:pos x="connsiteX11641" y="connsiteY11641"/>
              </a:cxn>
              <a:cxn ang="0">
                <a:pos x="connsiteX11642" y="connsiteY11642"/>
              </a:cxn>
              <a:cxn ang="0">
                <a:pos x="connsiteX11643" y="connsiteY11643"/>
              </a:cxn>
              <a:cxn ang="0">
                <a:pos x="connsiteX11644" y="connsiteY11644"/>
              </a:cxn>
              <a:cxn ang="0">
                <a:pos x="connsiteX11645" y="connsiteY11645"/>
              </a:cxn>
              <a:cxn ang="0">
                <a:pos x="connsiteX11646" y="connsiteY11646"/>
              </a:cxn>
              <a:cxn ang="0">
                <a:pos x="connsiteX11647" y="connsiteY11647"/>
              </a:cxn>
              <a:cxn ang="0">
                <a:pos x="connsiteX11648" y="connsiteY11648"/>
              </a:cxn>
              <a:cxn ang="0">
                <a:pos x="connsiteX11649" y="connsiteY11649"/>
              </a:cxn>
              <a:cxn ang="0">
                <a:pos x="connsiteX11650" y="connsiteY11650"/>
              </a:cxn>
              <a:cxn ang="0">
                <a:pos x="connsiteX11651" y="connsiteY11651"/>
              </a:cxn>
              <a:cxn ang="0">
                <a:pos x="connsiteX11652" y="connsiteY11652"/>
              </a:cxn>
              <a:cxn ang="0">
                <a:pos x="connsiteX11653" y="connsiteY11653"/>
              </a:cxn>
              <a:cxn ang="0">
                <a:pos x="connsiteX11654" y="connsiteY11654"/>
              </a:cxn>
              <a:cxn ang="0">
                <a:pos x="connsiteX11655" y="connsiteY11655"/>
              </a:cxn>
              <a:cxn ang="0">
                <a:pos x="connsiteX11656" y="connsiteY11656"/>
              </a:cxn>
              <a:cxn ang="0">
                <a:pos x="connsiteX11657" y="connsiteY11657"/>
              </a:cxn>
              <a:cxn ang="0">
                <a:pos x="connsiteX11658" y="connsiteY11658"/>
              </a:cxn>
              <a:cxn ang="0">
                <a:pos x="connsiteX11659" y="connsiteY11659"/>
              </a:cxn>
              <a:cxn ang="0">
                <a:pos x="connsiteX11660" y="connsiteY11660"/>
              </a:cxn>
              <a:cxn ang="0">
                <a:pos x="connsiteX11661" y="connsiteY11661"/>
              </a:cxn>
              <a:cxn ang="0">
                <a:pos x="connsiteX11662" y="connsiteY11662"/>
              </a:cxn>
              <a:cxn ang="0">
                <a:pos x="connsiteX11663" y="connsiteY11663"/>
              </a:cxn>
              <a:cxn ang="0">
                <a:pos x="connsiteX11664" y="connsiteY11664"/>
              </a:cxn>
              <a:cxn ang="0">
                <a:pos x="connsiteX11665" y="connsiteY11665"/>
              </a:cxn>
              <a:cxn ang="0">
                <a:pos x="connsiteX11666" y="connsiteY11666"/>
              </a:cxn>
              <a:cxn ang="0">
                <a:pos x="connsiteX11667" y="connsiteY11667"/>
              </a:cxn>
              <a:cxn ang="0">
                <a:pos x="connsiteX11668" y="connsiteY11668"/>
              </a:cxn>
              <a:cxn ang="0">
                <a:pos x="connsiteX11669" y="connsiteY11669"/>
              </a:cxn>
              <a:cxn ang="0">
                <a:pos x="connsiteX11670" y="connsiteY11670"/>
              </a:cxn>
              <a:cxn ang="0">
                <a:pos x="connsiteX11671" y="connsiteY11671"/>
              </a:cxn>
              <a:cxn ang="0">
                <a:pos x="connsiteX11672" y="connsiteY11672"/>
              </a:cxn>
              <a:cxn ang="0">
                <a:pos x="connsiteX11673" y="connsiteY11673"/>
              </a:cxn>
              <a:cxn ang="0">
                <a:pos x="connsiteX11674" y="connsiteY11674"/>
              </a:cxn>
              <a:cxn ang="0">
                <a:pos x="connsiteX11675" y="connsiteY11675"/>
              </a:cxn>
              <a:cxn ang="0">
                <a:pos x="connsiteX11676" y="connsiteY11676"/>
              </a:cxn>
              <a:cxn ang="0">
                <a:pos x="connsiteX11677" y="connsiteY11677"/>
              </a:cxn>
              <a:cxn ang="0">
                <a:pos x="connsiteX11678" y="connsiteY11678"/>
              </a:cxn>
              <a:cxn ang="0">
                <a:pos x="connsiteX11679" y="connsiteY11679"/>
              </a:cxn>
              <a:cxn ang="0">
                <a:pos x="connsiteX11680" y="connsiteY11680"/>
              </a:cxn>
              <a:cxn ang="0">
                <a:pos x="connsiteX11681" y="connsiteY11681"/>
              </a:cxn>
              <a:cxn ang="0">
                <a:pos x="connsiteX11682" y="connsiteY11682"/>
              </a:cxn>
              <a:cxn ang="0">
                <a:pos x="connsiteX11683" y="connsiteY11683"/>
              </a:cxn>
              <a:cxn ang="0">
                <a:pos x="connsiteX11684" y="connsiteY11684"/>
              </a:cxn>
              <a:cxn ang="0">
                <a:pos x="connsiteX11685" y="connsiteY11685"/>
              </a:cxn>
              <a:cxn ang="0">
                <a:pos x="connsiteX11686" y="connsiteY11686"/>
              </a:cxn>
              <a:cxn ang="0">
                <a:pos x="connsiteX11687" y="connsiteY11687"/>
              </a:cxn>
              <a:cxn ang="0">
                <a:pos x="connsiteX11688" y="connsiteY11688"/>
              </a:cxn>
              <a:cxn ang="0">
                <a:pos x="connsiteX11689" y="connsiteY11689"/>
              </a:cxn>
              <a:cxn ang="0">
                <a:pos x="connsiteX11690" y="connsiteY11690"/>
              </a:cxn>
              <a:cxn ang="0">
                <a:pos x="connsiteX11691" y="connsiteY11691"/>
              </a:cxn>
              <a:cxn ang="0">
                <a:pos x="connsiteX11692" y="connsiteY11692"/>
              </a:cxn>
              <a:cxn ang="0">
                <a:pos x="connsiteX11693" y="connsiteY11693"/>
              </a:cxn>
              <a:cxn ang="0">
                <a:pos x="connsiteX11694" y="connsiteY11694"/>
              </a:cxn>
              <a:cxn ang="0">
                <a:pos x="connsiteX11695" y="connsiteY11695"/>
              </a:cxn>
              <a:cxn ang="0">
                <a:pos x="connsiteX11696" y="connsiteY11696"/>
              </a:cxn>
              <a:cxn ang="0">
                <a:pos x="connsiteX11697" y="connsiteY11697"/>
              </a:cxn>
              <a:cxn ang="0">
                <a:pos x="connsiteX11698" y="connsiteY11698"/>
              </a:cxn>
              <a:cxn ang="0">
                <a:pos x="connsiteX11699" y="connsiteY11699"/>
              </a:cxn>
              <a:cxn ang="0">
                <a:pos x="connsiteX11700" y="connsiteY11700"/>
              </a:cxn>
              <a:cxn ang="0">
                <a:pos x="connsiteX11701" y="connsiteY11701"/>
              </a:cxn>
              <a:cxn ang="0">
                <a:pos x="connsiteX11702" y="connsiteY11702"/>
              </a:cxn>
              <a:cxn ang="0">
                <a:pos x="connsiteX11703" y="connsiteY11703"/>
              </a:cxn>
              <a:cxn ang="0">
                <a:pos x="connsiteX11704" y="connsiteY11704"/>
              </a:cxn>
              <a:cxn ang="0">
                <a:pos x="connsiteX11705" y="connsiteY11705"/>
              </a:cxn>
              <a:cxn ang="0">
                <a:pos x="connsiteX11706" y="connsiteY11706"/>
              </a:cxn>
              <a:cxn ang="0">
                <a:pos x="connsiteX11707" y="connsiteY11707"/>
              </a:cxn>
              <a:cxn ang="0">
                <a:pos x="connsiteX11708" y="connsiteY11708"/>
              </a:cxn>
              <a:cxn ang="0">
                <a:pos x="connsiteX11709" y="connsiteY11709"/>
              </a:cxn>
              <a:cxn ang="0">
                <a:pos x="connsiteX11710" y="connsiteY11710"/>
              </a:cxn>
              <a:cxn ang="0">
                <a:pos x="connsiteX11711" y="connsiteY11711"/>
              </a:cxn>
              <a:cxn ang="0">
                <a:pos x="connsiteX11712" y="connsiteY11712"/>
              </a:cxn>
              <a:cxn ang="0">
                <a:pos x="connsiteX11713" y="connsiteY11713"/>
              </a:cxn>
              <a:cxn ang="0">
                <a:pos x="connsiteX11714" y="connsiteY11714"/>
              </a:cxn>
              <a:cxn ang="0">
                <a:pos x="connsiteX11715" y="connsiteY11715"/>
              </a:cxn>
              <a:cxn ang="0">
                <a:pos x="connsiteX11716" y="connsiteY11716"/>
              </a:cxn>
              <a:cxn ang="0">
                <a:pos x="connsiteX11717" y="connsiteY11717"/>
              </a:cxn>
              <a:cxn ang="0">
                <a:pos x="connsiteX11718" y="connsiteY11718"/>
              </a:cxn>
              <a:cxn ang="0">
                <a:pos x="connsiteX11719" y="connsiteY11719"/>
              </a:cxn>
              <a:cxn ang="0">
                <a:pos x="connsiteX11720" y="connsiteY11720"/>
              </a:cxn>
              <a:cxn ang="0">
                <a:pos x="connsiteX11721" y="connsiteY11721"/>
              </a:cxn>
              <a:cxn ang="0">
                <a:pos x="connsiteX11722" y="connsiteY11722"/>
              </a:cxn>
              <a:cxn ang="0">
                <a:pos x="connsiteX11723" y="connsiteY11723"/>
              </a:cxn>
              <a:cxn ang="0">
                <a:pos x="connsiteX11724" y="connsiteY11724"/>
              </a:cxn>
              <a:cxn ang="0">
                <a:pos x="connsiteX11725" y="connsiteY11725"/>
              </a:cxn>
              <a:cxn ang="0">
                <a:pos x="connsiteX11726" y="connsiteY11726"/>
              </a:cxn>
              <a:cxn ang="0">
                <a:pos x="connsiteX11727" y="connsiteY11727"/>
              </a:cxn>
              <a:cxn ang="0">
                <a:pos x="connsiteX11728" y="connsiteY11728"/>
              </a:cxn>
              <a:cxn ang="0">
                <a:pos x="connsiteX11729" y="connsiteY11729"/>
              </a:cxn>
              <a:cxn ang="0">
                <a:pos x="connsiteX11730" y="connsiteY11730"/>
              </a:cxn>
              <a:cxn ang="0">
                <a:pos x="connsiteX11731" y="connsiteY11731"/>
              </a:cxn>
              <a:cxn ang="0">
                <a:pos x="connsiteX11732" y="connsiteY11732"/>
              </a:cxn>
              <a:cxn ang="0">
                <a:pos x="connsiteX11733" y="connsiteY11733"/>
              </a:cxn>
              <a:cxn ang="0">
                <a:pos x="connsiteX11734" y="connsiteY11734"/>
              </a:cxn>
              <a:cxn ang="0">
                <a:pos x="connsiteX11735" y="connsiteY11735"/>
              </a:cxn>
              <a:cxn ang="0">
                <a:pos x="connsiteX11736" y="connsiteY11736"/>
              </a:cxn>
              <a:cxn ang="0">
                <a:pos x="connsiteX11737" y="connsiteY11737"/>
              </a:cxn>
              <a:cxn ang="0">
                <a:pos x="connsiteX11738" y="connsiteY11738"/>
              </a:cxn>
              <a:cxn ang="0">
                <a:pos x="connsiteX11739" y="connsiteY11739"/>
              </a:cxn>
              <a:cxn ang="0">
                <a:pos x="connsiteX11740" y="connsiteY11740"/>
              </a:cxn>
              <a:cxn ang="0">
                <a:pos x="connsiteX11741" y="connsiteY11741"/>
              </a:cxn>
              <a:cxn ang="0">
                <a:pos x="connsiteX11742" y="connsiteY11742"/>
              </a:cxn>
              <a:cxn ang="0">
                <a:pos x="connsiteX11743" y="connsiteY11743"/>
              </a:cxn>
              <a:cxn ang="0">
                <a:pos x="connsiteX11744" y="connsiteY11744"/>
              </a:cxn>
              <a:cxn ang="0">
                <a:pos x="connsiteX11745" y="connsiteY11745"/>
              </a:cxn>
              <a:cxn ang="0">
                <a:pos x="connsiteX11746" y="connsiteY11746"/>
              </a:cxn>
              <a:cxn ang="0">
                <a:pos x="connsiteX11747" y="connsiteY11747"/>
              </a:cxn>
              <a:cxn ang="0">
                <a:pos x="connsiteX11748" y="connsiteY11748"/>
              </a:cxn>
              <a:cxn ang="0">
                <a:pos x="connsiteX11749" y="connsiteY11749"/>
              </a:cxn>
              <a:cxn ang="0">
                <a:pos x="connsiteX11750" y="connsiteY11750"/>
              </a:cxn>
              <a:cxn ang="0">
                <a:pos x="connsiteX11751" y="connsiteY11751"/>
              </a:cxn>
              <a:cxn ang="0">
                <a:pos x="connsiteX11752" y="connsiteY11752"/>
              </a:cxn>
              <a:cxn ang="0">
                <a:pos x="connsiteX11753" y="connsiteY11753"/>
              </a:cxn>
              <a:cxn ang="0">
                <a:pos x="connsiteX11754" y="connsiteY11754"/>
              </a:cxn>
              <a:cxn ang="0">
                <a:pos x="connsiteX11755" y="connsiteY11755"/>
              </a:cxn>
              <a:cxn ang="0">
                <a:pos x="connsiteX11756" y="connsiteY11756"/>
              </a:cxn>
              <a:cxn ang="0">
                <a:pos x="connsiteX11757" y="connsiteY11757"/>
              </a:cxn>
              <a:cxn ang="0">
                <a:pos x="connsiteX11758" y="connsiteY11758"/>
              </a:cxn>
              <a:cxn ang="0">
                <a:pos x="connsiteX11759" y="connsiteY11759"/>
              </a:cxn>
              <a:cxn ang="0">
                <a:pos x="connsiteX11760" y="connsiteY11760"/>
              </a:cxn>
              <a:cxn ang="0">
                <a:pos x="connsiteX11761" y="connsiteY11761"/>
              </a:cxn>
              <a:cxn ang="0">
                <a:pos x="connsiteX11762" y="connsiteY11762"/>
              </a:cxn>
              <a:cxn ang="0">
                <a:pos x="connsiteX11763" y="connsiteY11763"/>
              </a:cxn>
              <a:cxn ang="0">
                <a:pos x="connsiteX11764" y="connsiteY11764"/>
              </a:cxn>
              <a:cxn ang="0">
                <a:pos x="connsiteX11765" y="connsiteY11765"/>
              </a:cxn>
              <a:cxn ang="0">
                <a:pos x="connsiteX11766" y="connsiteY11766"/>
              </a:cxn>
              <a:cxn ang="0">
                <a:pos x="connsiteX11767" y="connsiteY11767"/>
              </a:cxn>
              <a:cxn ang="0">
                <a:pos x="connsiteX11768" y="connsiteY11768"/>
              </a:cxn>
              <a:cxn ang="0">
                <a:pos x="connsiteX11769" y="connsiteY11769"/>
              </a:cxn>
              <a:cxn ang="0">
                <a:pos x="connsiteX11770" y="connsiteY11770"/>
              </a:cxn>
              <a:cxn ang="0">
                <a:pos x="connsiteX11771" y="connsiteY11771"/>
              </a:cxn>
              <a:cxn ang="0">
                <a:pos x="connsiteX11772" y="connsiteY11772"/>
              </a:cxn>
              <a:cxn ang="0">
                <a:pos x="connsiteX11773" y="connsiteY11773"/>
              </a:cxn>
              <a:cxn ang="0">
                <a:pos x="connsiteX11774" y="connsiteY11774"/>
              </a:cxn>
              <a:cxn ang="0">
                <a:pos x="connsiteX11775" y="connsiteY11775"/>
              </a:cxn>
              <a:cxn ang="0">
                <a:pos x="connsiteX11776" y="connsiteY11776"/>
              </a:cxn>
              <a:cxn ang="0">
                <a:pos x="connsiteX11777" y="connsiteY11777"/>
              </a:cxn>
              <a:cxn ang="0">
                <a:pos x="connsiteX11778" y="connsiteY11778"/>
              </a:cxn>
              <a:cxn ang="0">
                <a:pos x="connsiteX11779" y="connsiteY11779"/>
              </a:cxn>
              <a:cxn ang="0">
                <a:pos x="connsiteX11780" y="connsiteY11780"/>
              </a:cxn>
              <a:cxn ang="0">
                <a:pos x="connsiteX11781" y="connsiteY11781"/>
              </a:cxn>
              <a:cxn ang="0">
                <a:pos x="connsiteX11782" y="connsiteY11782"/>
              </a:cxn>
              <a:cxn ang="0">
                <a:pos x="connsiteX11783" y="connsiteY11783"/>
              </a:cxn>
              <a:cxn ang="0">
                <a:pos x="connsiteX11784" y="connsiteY11784"/>
              </a:cxn>
              <a:cxn ang="0">
                <a:pos x="connsiteX11785" y="connsiteY11785"/>
              </a:cxn>
              <a:cxn ang="0">
                <a:pos x="connsiteX11786" y="connsiteY11786"/>
              </a:cxn>
              <a:cxn ang="0">
                <a:pos x="connsiteX11787" y="connsiteY11787"/>
              </a:cxn>
              <a:cxn ang="0">
                <a:pos x="connsiteX11788" y="connsiteY11788"/>
              </a:cxn>
              <a:cxn ang="0">
                <a:pos x="connsiteX11789" y="connsiteY11789"/>
              </a:cxn>
              <a:cxn ang="0">
                <a:pos x="connsiteX11790" y="connsiteY11790"/>
              </a:cxn>
              <a:cxn ang="0">
                <a:pos x="connsiteX11791" y="connsiteY11791"/>
              </a:cxn>
              <a:cxn ang="0">
                <a:pos x="connsiteX11792" y="connsiteY11792"/>
              </a:cxn>
              <a:cxn ang="0">
                <a:pos x="connsiteX11793" y="connsiteY11793"/>
              </a:cxn>
              <a:cxn ang="0">
                <a:pos x="connsiteX11794" y="connsiteY11794"/>
              </a:cxn>
              <a:cxn ang="0">
                <a:pos x="connsiteX11795" y="connsiteY11795"/>
              </a:cxn>
              <a:cxn ang="0">
                <a:pos x="connsiteX11796" y="connsiteY11796"/>
              </a:cxn>
              <a:cxn ang="0">
                <a:pos x="connsiteX11797" y="connsiteY11797"/>
              </a:cxn>
              <a:cxn ang="0">
                <a:pos x="connsiteX11798" y="connsiteY11798"/>
              </a:cxn>
              <a:cxn ang="0">
                <a:pos x="connsiteX11799" y="connsiteY11799"/>
              </a:cxn>
              <a:cxn ang="0">
                <a:pos x="connsiteX11800" y="connsiteY11800"/>
              </a:cxn>
              <a:cxn ang="0">
                <a:pos x="connsiteX11801" y="connsiteY11801"/>
              </a:cxn>
              <a:cxn ang="0">
                <a:pos x="connsiteX11802" y="connsiteY11802"/>
              </a:cxn>
              <a:cxn ang="0">
                <a:pos x="connsiteX11803" y="connsiteY11803"/>
              </a:cxn>
              <a:cxn ang="0">
                <a:pos x="connsiteX11804" y="connsiteY11804"/>
              </a:cxn>
              <a:cxn ang="0">
                <a:pos x="connsiteX11805" y="connsiteY11805"/>
              </a:cxn>
              <a:cxn ang="0">
                <a:pos x="connsiteX11806" y="connsiteY11806"/>
              </a:cxn>
              <a:cxn ang="0">
                <a:pos x="connsiteX11807" y="connsiteY11807"/>
              </a:cxn>
              <a:cxn ang="0">
                <a:pos x="connsiteX11808" y="connsiteY11808"/>
              </a:cxn>
              <a:cxn ang="0">
                <a:pos x="connsiteX11809" y="connsiteY11809"/>
              </a:cxn>
              <a:cxn ang="0">
                <a:pos x="connsiteX11810" y="connsiteY11810"/>
              </a:cxn>
              <a:cxn ang="0">
                <a:pos x="connsiteX11811" y="connsiteY11811"/>
              </a:cxn>
              <a:cxn ang="0">
                <a:pos x="connsiteX11812" y="connsiteY11812"/>
              </a:cxn>
              <a:cxn ang="0">
                <a:pos x="connsiteX11813" y="connsiteY11813"/>
              </a:cxn>
              <a:cxn ang="0">
                <a:pos x="connsiteX11814" y="connsiteY11814"/>
              </a:cxn>
              <a:cxn ang="0">
                <a:pos x="connsiteX11815" y="connsiteY11815"/>
              </a:cxn>
              <a:cxn ang="0">
                <a:pos x="connsiteX11816" y="connsiteY11816"/>
              </a:cxn>
              <a:cxn ang="0">
                <a:pos x="connsiteX11817" y="connsiteY11817"/>
              </a:cxn>
              <a:cxn ang="0">
                <a:pos x="connsiteX11818" y="connsiteY11818"/>
              </a:cxn>
              <a:cxn ang="0">
                <a:pos x="connsiteX11819" y="connsiteY11819"/>
              </a:cxn>
              <a:cxn ang="0">
                <a:pos x="connsiteX11820" y="connsiteY11820"/>
              </a:cxn>
              <a:cxn ang="0">
                <a:pos x="connsiteX11821" y="connsiteY11821"/>
              </a:cxn>
              <a:cxn ang="0">
                <a:pos x="connsiteX11822" y="connsiteY11822"/>
              </a:cxn>
              <a:cxn ang="0">
                <a:pos x="connsiteX11823" y="connsiteY11823"/>
              </a:cxn>
              <a:cxn ang="0">
                <a:pos x="connsiteX11824" y="connsiteY11824"/>
              </a:cxn>
              <a:cxn ang="0">
                <a:pos x="connsiteX11825" y="connsiteY11825"/>
              </a:cxn>
              <a:cxn ang="0">
                <a:pos x="connsiteX11826" y="connsiteY11826"/>
              </a:cxn>
              <a:cxn ang="0">
                <a:pos x="connsiteX11827" y="connsiteY11827"/>
              </a:cxn>
              <a:cxn ang="0">
                <a:pos x="connsiteX11828" y="connsiteY11828"/>
              </a:cxn>
              <a:cxn ang="0">
                <a:pos x="connsiteX11829" y="connsiteY11829"/>
              </a:cxn>
              <a:cxn ang="0">
                <a:pos x="connsiteX11830" y="connsiteY11830"/>
              </a:cxn>
              <a:cxn ang="0">
                <a:pos x="connsiteX11831" y="connsiteY11831"/>
              </a:cxn>
              <a:cxn ang="0">
                <a:pos x="connsiteX11832" y="connsiteY11832"/>
              </a:cxn>
              <a:cxn ang="0">
                <a:pos x="connsiteX11833" y="connsiteY11833"/>
              </a:cxn>
              <a:cxn ang="0">
                <a:pos x="connsiteX11834" y="connsiteY11834"/>
              </a:cxn>
              <a:cxn ang="0">
                <a:pos x="connsiteX11835" y="connsiteY11835"/>
              </a:cxn>
              <a:cxn ang="0">
                <a:pos x="connsiteX11836" y="connsiteY11836"/>
              </a:cxn>
              <a:cxn ang="0">
                <a:pos x="connsiteX11837" y="connsiteY11837"/>
              </a:cxn>
              <a:cxn ang="0">
                <a:pos x="connsiteX11838" y="connsiteY11838"/>
              </a:cxn>
              <a:cxn ang="0">
                <a:pos x="connsiteX11839" y="connsiteY11839"/>
              </a:cxn>
              <a:cxn ang="0">
                <a:pos x="connsiteX11840" y="connsiteY11840"/>
              </a:cxn>
              <a:cxn ang="0">
                <a:pos x="connsiteX11841" y="connsiteY11841"/>
              </a:cxn>
              <a:cxn ang="0">
                <a:pos x="connsiteX11842" y="connsiteY11842"/>
              </a:cxn>
              <a:cxn ang="0">
                <a:pos x="connsiteX11843" y="connsiteY11843"/>
              </a:cxn>
              <a:cxn ang="0">
                <a:pos x="connsiteX11844" y="connsiteY11844"/>
              </a:cxn>
              <a:cxn ang="0">
                <a:pos x="connsiteX11845" y="connsiteY11845"/>
              </a:cxn>
              <a:cxn ang="0">
                <a:pos x="connsiteX11846" y="connsiteY11846"/>
              </a:cxn>
              <a:cxn ang="0">
                <a:pos x="connsiteX11847" y="connsiteY11847"/>
              </a:cxn>
              <a:cxn ang="0">
                <a:pos x="connsiteX11848" y="connsiteY11848"/>
              </a:cxn>
              <a:cxn ang="0">
                <a:pos x="connsiteX11849" y="connsiteY11849"/>
              </a:cxn>
              <a:cxn ang="0">
                <a:pos x="connsiteX11850" y="connsiteY11850"/>
              </a:cxn>
              <a:cxn ang="0">
                <a:pos x="connsiteX11851" y="connsiteY11851"/>
              </a:cxn>
              <a:cxn ang="0">
                <a:pos x="connsiteX11852" y="connsiteY11852"/>
              </a:cxn>
              <a:cxn ang="0">
                <a:pos x="connsiteX11853" y="connsiteY11853"/>
              </a:cxn>
              <a:cxn ang="0">
                <a:pos x="connsiteX11854" y="connsiteY11854"/>
              </a:cxn>
              <a:cxn ang="0">
                <a:pos x="connsiteX11855" y="connsiteY11855"/>
              </a:cxn>
              <a:cxn ang="0">
                <a:pos x="connsiteX11856" y="connsiteY11856"/>
              </a:cxn>
              <a:cxn ang="0">
                <a:pos x="connsiteX11857" y="connsiteY11857"/>
              </a:cxn>
              <a:cxn ang="0">
                <a:pos x="connsiteX11858" y="connsiteY11858"/>
              </a:cxn>
              <a:cxn ang="0">
                <a:pos x="connsiteX11859" y="connsiteY11859"/>
              </a:cxn>
              <a:cxn ang="0">
                <a:pos x="connsiteX11860" y="connsiteY11860"/>
              </a:cxn>
              <a:cxn ang="0">
                <a:pos x="connsiteX11861" y="connsiteY11861"/>
              </a:cxn>
              <a:cxn ang="0">
                <a:pos x="connsiteX11862" y="connsiteY11862"/>
              </a:cxn>
              <a:cxn ang="0">
                <a:pos x="connsiteX11863" y="connsiteY11863"/>
              </a:cxn>
              <a:cxn ang="0">
                <a:pos x="connsiteX11864" y="connsiteY11864"/>
              </a:cxn>
              <a:cxn ang="0">
                <a:pos x="connsiteX11865" y="connsiteY11865"/>
              </a:cxn>
              <a:cxn ang="0">
                <a:pos x="connsiteX11866" y="connsiteY11866"/>
              </a:cxn>
              <a:cxn ang="0">
                <a:pos x="connsiteX11867" y="connsiteY11867"/>
              </a:cxn>
              <a:cxn ang="0">
                <a:pos x="connsiteX11868" y="connsiteY11868"/>
              </a:cxn>
              <a:cxn ang="0">
                <a:pos x="connsiteX11869" y="connsiteY11869"/>
              </a:cxn>
              <a:cxn ang="0">
                <a:pos x="connsiteX11870" y="connsiteY11870"/>
              </a:cxn>
              <a:cxn ang="0">
                <a:pos x="connsiteX11871" y="connsiteY11871"/>
              </a:cxn>
              <a:cxn ang="0">
                <a:pos x="connsiteX11872" y="connsiteY11872"/>
              </a:cxn>
              <a:cxn ang="0">
                <a:pos x="connsiteX11873" y="connsiteY11873"/>
              </a:cxn>
              <a:cxn ang="0">
                <a:pos x="connsiteX11874" y="connsiteY11874"/>
              </a:cxn>
              <a:cxn ang="0">
                <a:pos x="connsiteX11875" y="connsiteY11875"/>
              </a:cxn>
              <a:cxn ang="0">
                <a:pos x="connsiteX11876" y="connsiteY11876"/>
              </a:cxn>
              <a:cxn ang="0">
                <a:pos x="connsiteX11877" y="connsiteY11877"/>
              </a:cxn>
              <a:cxn ang="0">
                <a:pos x="connsiteX11878" y="connsiteY11878"/>
              </a:cxn>
              <a:cxn ang="0">
                <a:pos x="connsiteX11879" y="connsiteY11879"/>
              </a:cxn>
              <a:cxn ang="0">
                <a:pos x="connsiteX11880" y="connsiteY11880"/>
              </a:cxn>
              <a:cxn ang="0">
                <a:pos x="connsiteX11881" y="connsiteY11881"/>
              </a:cxn>
              <a:cxn ang="0">
                <a:pos x="connsiteX11882" y="connsiteY11882"/>
              </a:cxn>
              <a:cxn ang="0">
                <a:pos x="connsiteX11883" y="connsiteY11883"/>
              </a:cxn>
              <a:cxn ang="0">
                <a:pos x="connsiteX11884" y="connsiteY11884"/>
              </a:cxn>
              <a:cxn ang="0">
                <a:pos x="connsiteX11885" y="connsiteY11885"/>
              </a:cxn>
              <a:cxn ang="0">
                <a:pos x="connsiteX11886" y="connsiteY11886"/>
              </a:cxn>
              <a:cxn ang="0">
                <a:pos x="connsiteX11887" y="connsiteY11887"/>
              </a:cxn>
              <a:cxn ang="0">
                <a:pos x="connsiteX11888" y="connsiteY11888"/>
              </a:cxn>
              <a:cxn ang="0">
                <a:pos x="connsiteX11889" y="connsiteY11889"/>
              </a:cxn>
              <a:cxn ang="0">
                <a:pos x="connsiteX11890" y="connsiteY11890"/>
              </a:cxn>
              <a:cxn ang="0">
                <a:pos x="connsiteX11891" y="connsiteY11891"/>
              </a:cxn>
              <a:cxn ang="0">
                <a:pos x="connsiteX11892" y="connsiteY11892"/>
              </a:cxn>
              <a:cxn ang="0">
                <a:pos x="connsiteX11893" y="connsiteY11893"/>
              </a:cxn>
              <a:cxn ang="0">
                <a:pos x="connsiteX11894" y="connsiteY11894"/>
              </a:cxn>
              <a:cxn ang="0">
                <a:pos x="connsiteX11895" y="connsiteY11895"/>
              </a:cxn>
              <a:cxn ang="0">
                <a:pos x="connsiteX11896" y="connsiteY11896"/>
              </a:cxn>
              <a:cxn ang="0">
                <a:pos x="connsiteX11897" y="connsiteY11897"/>
              </a:cxn>
              <a:cxn ang="0">
                <a:pos x="connsiteX11898" y="connsiteY11898"/>
              </a:cxn>
              <a:cxn ang="0">
                <a:pos x="connsiteX11899" y="connsiteY11899"/>
              </a:cxn>
              <a:cxn ang="0">
                <a:pos x="connsiteX11900" y="connsiteY11900"/>
              </a:cxn>
              <a:cxn ang="0">
                <a:pos x="connsiteX11901" y="connsiteY11901"/>
              </a:cxn>
              <a:cxn ang="0">
                <a:pos x="connsiteX11902" y="connsiteY11902"/>
              </a:cxn>
              <a:cxn ang="0">
                <a:pos x="connsiteX11903" y="connsiteY11903"/>
              </a:cxn>
              <a:cxn ang="0">
                <a:pos x="connsiteX11904" y="connsiteY11904"/>
              </a:cxn>
              <a:cxn ang="0">
                <a:pos x="connsiteX11905" y="connsiteY11905"/>
              </a:cxn>
              <a:cxn ang="0">
                <a:pos x="connsiteX11906" y="connsiteY11906"/>
              </a:cxn>
              <a:cxn ang="0">
                <a:pos x="connsiteX11907" y="connsiteY11907"/>
              </a:cxn>
              <a:cxn ang="0">
                <a:pos x="connsiteX11908" y="connsiteY11908"/>
              </a:cxn>
              <a:cxn ang="0">
                <a:pos x="connsiteX11909" y="connsiteY11909"/>
              </a:cxn>
              <a:cxn ang="0">
                <a:pos x="connsiteX11910" y="connsiteY11910"/>
              </a:cxn>
              <a:cxn ang="0">
                <a:pos x="connsiteX11911" y="connsiteY11911"/>
              </a:cxn>
              <a:cxn ang="0">
                <a:pos x="connsiteX11912" y="connsiteY11912"/>
              </a:cxn>
              <a:cxn ang="0">
                <a:pos x="connsiteX11913" y="connsiteY11913"/>
              </a:cxn>
              <a:cxn ang="0">
                <a:pos x="connsiteX11914" y="connsiteY11914"/>
              </a:cxn>
              <a:cxn ang="0">
                <a:pos x="connsiteX11915" y="connsiteY11915"/>
              </a:cxn>
              <a:cxn ang="0">
                <a:pos x="connsiteX11916" y="connsiteY11916"/>
              </a:cxn>
              <a:cxn ang="0">
                <a:pos x="connsiteX11917" y="connsiteY11917"/>
              </a:cxn>
              <a:cxn ang="0">
                <a:pos x="connsiteX11918" y="connsiteY11918"/>
              </a:cxn>
              <a:cxn ang="0">
                <a:pos x="connsiteX11919" y="connsiteY11919"/>
              </a:cxn>
              <a:cxn ang="0">
                <a:pos x="connsiteX11920" y="connsiteY11920"/>
              </a:cxn>
              <a:cxn ang="0">
                <a:pos x="connsiteX11921" y="connsiteY11921"/>
              </a:cxn>
              <a:cxn ang="0">
                <a:pos x="connsiteX11922" y="connsiteY11922"/>
              </a:cxn>
              <a:cxn ang="0">
                <a:pos x="connsiteX11923" y="connsiteY11923"/>
              </a:cxn>
              <a:cxn ang="0">
                <a:pos x="connsiteX11924" y="connsiteY11924"/>
              </a:cxn>
              <a:cxn ang="0">
                <a:pos x="connsiteX11925" y="connsiteY11925"/>
              </a:cxn>
              <a:cxn ang="0">
                <a:pos x="connsiteX11926" y="connsiteY11926"/>
              </a:cxn>
              <a:cxn ang="0">
                <a:pos x="connsiteX11927" y="connsiteY11927"/>
              </a:cxn>
              <a:cxn ang="0">
                <a:pos x="connsiteX11928" y="connsiteY11928"/>
              </a:cxn>
              <a:cxn ang="0">
                <a:pos x="connsiteX11929" y="connsiteY11929"/>
              </a:cxn>
              <a:cxn ang="0">
                <a:pos x="connsiteX11930" y="connsiteY11930"/>
              </a:cxn>
              <a:cxn ang="0">
                <a:pos x="connsiteX11931" y="connsiteY11931"/>
              </a:cxn>
              <a:cxn ang="0">
                <a:pos x="connsiteX11932" y="connsiteY11932"/>
              </a:cxn>
              <a:cxn ang="0">
                <a:pos x="connsiteX11933" y="connsiteY11933"/>
              </a:cxn>
              <a:cxn ang="0">
                <a:pos x="connsiteX11934" y="connsiteY11934"/>
              </a:cxn>
              <a:cxn ang="0">
                <a:pos x="connsiteX11935" y="connsiteY11935"/>
              </a:cxn>
              <a:cxn ang="0">
                <a:pos x="connsiteX11936" y="connsiteY11936"/>
              </a:cxn>
              <a:cxn ang="0">
                <a:pos x="connsiteX11937" y="connsiteY11937"/>
              </a:cxn>
              <a:cxn ang="0">
                <a:pos x="connsiteX11938" y="connsiteY11938"/>
              </a:cxn>
              <a:cxn ang="0">
                <a:pos x="connsiteX11939" y="connsiteY11939"/>
              </a:cxn>
              <a:cxn ang="0">
                <a:pos x="connsiteX11940" y="connsiteY11940"/>
              </a:cxn>
              <a:cxn ang="0">
                <a:pos x="connsiteX11941" y="connsiteY11941"/>
              </a:cxn>
              <a:cxn ang="0">
                <a:pos x="connsiteX11942" y="connsiteY11942"/>
              </a:cxn>
              <a:cxn ang="0">
                <a:pos x="connsiteX11943" y="connsiteY11943"/>
              </a:cxn>
              <a:cxn ang="0">
                <a:pos x="connsiteX11944" y="connsiteY11944"/>
              </a:cxn>
              <a:cxn ang="0">
                <a:pos x="connsiteX11945" y="connsiteY11945"/>
              </a:cxn>
              <a:cxn ang="0">
                <a:pos x="connsiteX11946" y="connsiteY11946"/>
              </a:cxn>
              <a:cxn ang="0">
                <a:pos x="connsiteX11947" y="connsiteY11947"/>
              </a:cxn>
              <a:cxn ang="0">
                <a:pos x="connsiteX11948" y="connsiteY11948"/>
              </a:cxn>
              <a:cxn ang="0">
                <a:pos x="connsiteX11949" y="connsiteY11949"/>
              </a:cxn>
              <a:cxn ang="0">
                <a:pos x="connsiteX11950" y="connsiteY11950"/>
              </a:cxn>
              <a:cxn ang="0">
                <a:pos x="connsiteX11951" y="connsiteY11951"/>
              </a:cxn>
              <a:cxn ang="0">
                <a:pos x="connsiteX11952" y="connsiteY11952"/>
              </a:cxn>
              <a:cxn ang="0">
                <a:pos x="connsiteX11953" y="connsiteY11953"/>
              </a:cxn>
              <a:cxn ang="0">
                <a:pos x="connsiteX11954" y="connsiteY11954"/>
              </a:cxn>
              <a:cxn ang="0">
                <a:pos x="connsiteX11955" y="connsiteY11955"/>
              </a:cxn>
              <a:cxn ang="0">
                <a:pos x="connsiteX11956" y="connsiteY11956"/>
              </a:cxn>
              <a:cxn ang="0">
                <a:pos x="connsiteX11957" y="connsiteY11957"/>
              </a:cxn>
              <a:cxn ang="0">
                <a:pos x="connsiteX11958" y="connsiteY11958"/>
              </a:cxn>
              <a:cxn ang="0">
                <a:pos x="connsiteX11959" y="connsiteY11959"/>
              </a:cxn>
              <a:cxn ang="0">
                <a:pos x="connsiteX11960" y="connsiteY11960"/>
              </a:cxn>
              <a:cxn ang="0">
                <a:pos x="connsiteX11961" y="connsiteY11961"/>
              </a:cxn>
              <a:cxn ang="0">
                <a:pos x="connsiteX11962" y="connsiteY11962"/>
              </a:cxn>
              <a:cxn ang="0">
                <a:pos x="connsiteX11963" y="connsiteY11963"/>
              </a:cxn>
              <a:cxn ang="0">
                <a:pos x="connsiteX11964" y="connsiteY11964"/>
              </a:cxn>
              <a:cxn ang="0">
                <a:pos x="connsiteX11965" y="connsiteY11965"/>
              </a:cxn>
              <a:cxn ang="0">
                <a:pos x="connsiteX11966" y="connsiteY11966"/>
              </a:cxn>
              <a:cxn ang="0">
                <a:pos x="connsiteX11967" y="connsiteY11967"/>
              </a:cxn>
              <a:cxn ang="0">
                <a:pos x="connsiteX11968" y="connsiteY11968"/>
              </a:cxn>
              <a:cxn ang="0">
                <a:pos x="connsiteX11969" y="connsiteY11969"/>
              </a:cxn>
              <a:cxn ang="0">
                <a:pos x="connsiteX11970" y="connsiteY11970"/>
              </a:cxn>
              <a:cxn ang="0">
                <a:pos x="connsiteX11971" y="connsiteY11971"/>
              </a:cxn>
              <a:cxn ang="0">
                <a:pos x="connsiteX11972" y="connsiteY11972"/>
              </a:cxn>
              <a:cxn ang="0">
                <a:pos x="connsiteX11973" y="connsiteY11973"/>
              </a:cxn>
              <a:cxn ang="0">
                <a:pos x="connsiteX11974" y="connsiteY11974"/>
              </a:cxn>
              <a:cxn ang="0">
                <a:pos x="connsiteX11975" y="connsiteY11975"/>
              </a:cxn>
              <a:cxn ang="0">
                <a:pos x="connsiteX11976" y="connsiteY11976"/>
              </a:cxn>
              <a:cxn ang="0">
                <a:pos x="connsiteX11977" y="connsiteY11977"/>
              </a:cxn>
              <a:cxn ang="0">
                <a:pos x="connsiteX11978" y="connsiteY11978"/>
              </a:cxn>
              <a:cxn ang="0">
                <a:pos x="connsiteX11979" y="connsiteY11979"/>
              </a:cxn>
              <a:cxn ang="0">
                <a:pos x="connsiteX11980" y="connsiteY11980"/>
              </a:cxn>
              <a:cxn ang="0">
                <a:pos x="connsiteX11981" y="connsiteY11981"/>
              </a:cxn>
              <a:cxn ang="0">
                <a:pos x="connsiteX11982" y="connsiteY11982"/>
              </a:cxn>
              <a:cxn ang="0">
                <a:pos x="connsiteX11983" y="connsiteY11983"/>
              </a:cxn>
              <a:cxn ang="0">
                <a:pos x="connsiteX11984" y="connsiteY11984"/>
              </a:cxn>
              <a:cxn ang="0">
                <a:pos x="connsiteX11985" y="connsiteY11985"/>
              </a:cxn>
              <a:cxn ang="0">
                <a:pos x="connsiteX11986" y="connsiteY11986"/>
              </a:cxn>
              <a:cxn ang="0">
                <a:pos x="connsiteX11987" y="connsiteY11987"/>
              </a:cxn>
              <a:cxn ang="0">
                <a:pos x="connsiteX11988" y="connsiteY11988"/>
              </a:cxn>
              <a:cxn ang="0">
                <a:pos x="connsiteX11989" y="connsiteY11989"/>
              </a:cxn>
              <a:cxn ang="0">
                <a:pos x="connsiteX11990" y="connsiteY11990"/>
              </a:cxn>
              <a:cxn ang="0">
                <a:pos x="connsiteX11991" y="connsiteY11991"/>
              </a:cxn>
              <a:cxn ang="0">
                <a:pos x="connsiteX11992" y="connsiteY11992"/>
              </a:cxn>
              <a:cxn ang="0">
                <a:pos x="connsiteX11993" y="connsiteY11993"/>
              </a:cxn>
              <a:cxn ang="0">
                <a:pos x="connsiteX11994" y="connsiteY11994"/>
              </a:cxn>
              <a:cxn ang="0">
                <a:pos x="connsiteX11995" y="connsiteY11995"/>
              </a:cxn>
              <a:cxn ang="0">
                <a:pos x="connsiteX11996" y="connsiteY11996"/>
              </a:cxn>
              <a:cxn ang="0">
                <a:pos x="connsiteX11997" y="connsiteY11997"/>
              </a:cxn>
              <a:cxn ang="0">
                <a:pos x="connsiteX11998" y="connsiteY11998"/>
              </a:cxn>
              <a:cxn ang="0">
                <a:pos x="connsiteX11999" y="connsiteY11999"/>
              </a:cxn>
              <a:cxn ang="0">
                <a:pos x="connsiteX12000" y="connsiteY12000"/>
              </a:cxn>
              <a:cxn ang="0">
                <a:pos x="connsiteX12001" y="connsiteY12001"/>
              </a:cxn>
              <a:cxn ang="0">
                <a:pos x="connsiteX12002" y="connsiteY12002"/>
              </a:cxn>
              <a:cxn ang="0">
                <a:pos x="connsiteX12003" y="connsiteY12003"/>
              </a:cxn>
              <a:cxn ang="0">
                <a:pos x="connsiteX12004" y="connsiteY12004"/>
              </a:cxn>
              <a:cxn ang="0">
                <a:pos x="connsiteX12005" y="connsiteY12005"/>
              </a:cxn>
              <a:cxn ang="0">
                <a:pos x="connsiteX12006" y="connsiteY12006"/>
              </a:cxn>
              <a:cxn ang="0">
                <a:pos x="connsiteX12007" y="connsiteY12007"/>
              </a:cxn>
              <a:cxn ang="0">
                <a:pos x="connsiteX12008" y="connsiteY12008"/>
              </a:cxn>
              <a:cxn ang="0">
                <a:pos x="connsiteX12009" y="connsiteY12009"/>
              </a:cxn>
              <a:cxn ang="0">
                <a:pos x="connsiteX12010" y="connsiteY12010"/>
              </a:cxn>
              <a:cxn ang="0">
                <a:pos x="connsiteX12011" y="connsiteY12011"/>
              </a:cxn>
              <a:cxn ang="0">
                <a:pos x="connsiteX12012" y="connsiteY12012"/>
              </a:cxn>
              <a:cxn ang="0">
                <a:pos x="connsiteX12013" y="connsiteY12013"/>
              </a:cxn>
              <a:cxn ang="0">
                <a:pos x="connsiteX12014" y="connsiteY12014"/>
              </a:cxn>
              <a:cxn ang="0">
                <a:pos x="connsiteX12015" y="connsiteY12015"/>
              </a:cxn>
              <a:cxn ang="0">
                <a:pos x="connsiteX12016" y="connsiteY12016"/>
              </a:cxn>
              <a:cxn ang="0">
                <a:pos x="connsiteX12017" y="connsiteY12017"/>
              </a:cxn>
              <a:cxn ang="0">
                <a:pos x="connsiteX12018" y="connsiteY12018"/>
              </a:cxn>
              <a:cxn ang="0">
                <a:pos x="connsiteX12019" y="connsiteY12019"/>
              </a:cxn>
              <a:cxn ang="0">
                <a:pos x="connsiteX12020" y="connsiteY12020"/>
              </a:cxn>
              <a:cxn ang="0">
                <a:pos x="connsiteX12021" y="connsiteY12021"/>
              </a:cxn>
              <a:cxn ang="0">
                <a:pos x="connsiteX12022" y="connsiteY12022"/>
              </a:cxn>
              <a:cxn ang="0">
                <a:pos x="connsiteX12023" y="connsiteY12023"/>
              </a:cxn>
              <a:cxn ang="0">
                <a:pos x="connsiteX12024" y="connsiteY12024"/>
              </a:cxn>
              <a:cxn ang="0">
                <a:pos x="connsiteX12025" y="connsiteY12025"/>
              </a:cxn>
              <a:cxn ang="0">
                <a:pos x="connsiteX12026" y="connsiteY12026"/>
              </a:cxn>
              <a:cxn ang="0">
                <a:pos x="connsiteX12027" y="connsiteY12027"/>
              </a:cxn>
              <a:cxn ang="0">
                <a:pos x="connsiteX12028" y="connsiteY12028"/>
              </a:cxn>
              <a:cxn ang="0">
                <a:pos x="connsiteX12029" y="connsiteY12029"/>
              </a:cxn>
              <a:cxn ang="0">
                <a:pos x="connsiteX12030" y="connsiteY12030"/>
              </a:cxn>
              <a:cxn ang="0">
                <a:pos x="connsiteX12031" y="connsiteY12031"/>
              </a:cxn>
              <a:cxn ang="0">
                <a:pos x="connsiteX12032" y="connsiteY12032"/>
              </a:cxn>
              <a:cxn ang="0">
                <a:pos x="connsiteX12033" y="connsiteY12033"/>
              </a:cxn>
              <a:cxn ang="0">
                <a:pos x="connsiteX12034" y="connsiteY12034"/>
              </a:cxn>
              <a:cxn ang="0">
                <a:pos x="connsiteX12035" y="connsiteY12035"/>
              </a:cxn>
              <a:cxn ang="0">
                <a:pos x="connsiteX12036" y="connsiteY12036"/>
              </a:cxn>
              <a:cxn ang="0">
                <a:pos x="connsiteX12037" y="connsiteY12037"/>
              </a:cxn>
              <a:cxn ang="0">
                <a:pos x="connsiteX12038" y="connsiteY12038"/>
              </a:cxn>
              <a:cxn ang="0">
                <a:pos x="connsiteX12039" y="connsiteY12039"/>
              </a:cxn>
              <a:cxn ang="0">
                <a:pos x="connsiteX12040" y="connsiteY12040"/>
              </a:cxn>
              <a:cxn ang="0">
                <a:pos x="connsiteX12041" y="connsiteY12041"/>
              </a:cxn>
              <a:cxn ang="0">
                <a:pos x="connsiteX12042" y="connsiteY12042"/>
              </a:cxn>
              <a:cxn ang="0">
                <a:pos x="connsiteX12043" y="connsiteY12043"/>
              </a:cxn>
              <a:cxn ang="0">
                <a:pos x="connsiteX12044" y="connsiteY12044"/>
              </a:cxn>
              <a:cxn ang="0">
                <a:pos x="connsiteX12045" y="connsiteY12045"/>
              </a:cxn>
              <a:cxn ang="0">
                <a:pos x="connsiteX12046" y="connsiteY12046"/>
              </a:cxn>
              <a:cxn ang="0">
                <a:pos x="connsiteX12047" y="connsiteY12047"/>
              </a:cxn>
              <a:cxn ang="0">
                <a:pos x="connsiteX12048" y="connsiteY12048"/>
              </a:cxn>
              <a:cxn ang="0">
                <a:pos x="connsiteX12049" y="connsiteY12049"/>
              </a:cxn>
              <a:cxn ang="0">
                <a:pos x="connsiteX12050" y="connsiteY12050"/>
              </a:cxn>
              <a:cxn ang="0">
                <a:pos x="connsiteX12051" y="connsiteY12051"/>
              </a:cxn>
              <a:cxn ang="0">
                <a:pos x="connsiteX12052" y="connsiteY12052"/>
              </a:cxn>
              <a:cxn ang="0">
                <a:pos x="connsiteX12053" y="connsiteY12053"/>
              </a:cxn>
              <a:cxn ang="0">
                <a:pos x="connsiteX12054" y="connsiteY12054"/>
              </a:cxn>
              <a:cxn ang="0">
                <a:pos x="connsiteX12055" y="connsiteY12055"/>
              </a:cxn>
              <a:cxn ang="0">
                <a:pos x="connsiteX12056" y="connsiteY12056"/>
              </a:cxn>
              <a:cxn ang="0">
                <a:pos x="connsiteX12057" y="connsiteY12057"/>
              </a:cxn>
              <a:cxn ang="0">
                <a:pos x="connsiteX12058" y="connsiteY12058"/>
              </a:cxn>
              <a:cxn ang="0">
                <a:pos x="connsiteX12059" y="connsiteY12059"/>
              </a:cxn>
              <a:cxn ang="0">
                <a:pos x="connsiteX12060" y="connsiteY12060"/>
              </a:cxn>
              <a:cxn ang="0">
                <a:pos x="connsiteX12061" y="connsiteY12061"/>
              </a:cxn>
              <a:cxn ang="0">
                <a:pos x="connsiteX12062" y="connsiteY12062"/>
              </a:cxn>
              <a:cxn ang="0">
                <a:pos x="connsiteX12063" y="connsiteY12063"/>
              </a:cxn>
              <a:cxn ang="0">
                <a:pos x="connsiteX12064" y="connsiteY12064"/>
              </a:cxn>
              <a:cxn ang="0">
                <a:pos x="connsiteX12065" y="connsiteY12065"/>
              </a:cxn>
              <a:cxn ang="0">
                <a:pos x="connsiteX12066" y="connsiteY12066"/>
              </a:cxn>
              <a:cxn ang="0">
                <a:pos x="connsiteX12067" y="connsiteY12067"/>
              </a:cxn>
              <a:cxn ang="0">
                <a:pos x="connsiteX12068" y="connsiteY12068"/>
              </a:cxn>
              <a:cxn ang="0">
                <a:pos x="connsiteX12069" y="connsiteY12069"/>
              </a:cxn>
              <a:cxn ang="0">
                <a:pos x="connsiteX12070" y="connsiteY12070"/>
              </a:cxn>
            </a:cxnLst>
            <a:rect l="l" t="t" r="r" b="b"/>
            <a:pathLst>
              <a:path w="6226010" h="5756219">
                <a:moveTo>
                  <a:pt x="3489392" y="5744990"/>
                </a:moveTo>
                <a:cubicBezTo>
                  <a:pt x="3497545" y="5744990"/>
                  <a:pt x="3492110" y="5758578"/>
                  <a:pt x="3483957" y="5755860"/>
                </a:cubicBezTo>
                <a:cubicBezTo>
                  <a:pt x="3481239" y="5753143"/>
                  <a:pt x="3481239" y="5747707"/>
                  <a:pt x="3478522" y="5747707"/>
                </a:cubicBezTo>
                <a:cubicBezTo>
                  <a:pt x="3478522" y="5742272"/>
                  <a:pt x="3486675" y="5747707"/>
                  <a:pt x="3486675" y="5750425"/>
                </a:cubicBezTo>
                <a:cubicBezTo>
                  <a:pt x="3489392" y="5747707"/>
                  <a:pt x="3489392" y="5744990"/>
                  <a:pt x="3489392" y="5744990"/>
                </a:cubicBezTo>
                <a:close/>
                <a:moveTo>
                  <a:pt x="3755716" y="5573781"/>
                </a:moveTo>
                <a:lnTo>
                  <a:pt x="3704081" y="5628133"/>
                </a:lnTo>
                <a:lnTo>
                  <a:pt x="3687776" y="5622697"/>
                </a:lnTo>
                <a:cubicBezTo>
                  <a:pt x="3685058" y="5609109"/>
                  <a:pt x="3682340" y="5598239"/>
                  <a:pt x="3679623" y="5587369"/>
                </a:cubicBezTo>
                <a:cubicBezTo>
                  <a:pt x="3706799" y="5581934"/>
                  <a:pt x="3731258" y="5579216"/>
                  <a:pt x="3755716" y="5573781"/>
                </a:cubicBezTo>
                <a:close/>
                <a:moveTo>
                  <a:pt x="3530156" y="5560192"/>
                </a:moveTo>
                <a:cubicBezTo>
                  <a:pt x="3535591" y="5576498"/>
                  <a:pt x="3530156" y="5603674"/>
                  <a:pt x="3524721" y="5617262"/>
                </a:cubicBezTo>
                <a:cubicBezTo>
                  <a:pt x="3508414" y="5611827"/>
                  <a:pt x="3511132" y="5587368"/>
                  <a:pt x="3502979" y="5571063"/>
                </a:cubicBezTo>
                <a:cubicBezTo>
                  <a:pt x="3505696" y="5560192"/>
                  <a:pt x="3511132" y="5576498"/>
                  <a:pt x="3513850" y="5576498"/>
                </a:cubicBezTo>
                <a:cubicBezTo>
                  <a:pt x="3522003" y="5573780"/>
                  <a:pt x="3511132" y="5568345"/>
                  <a:pt x="3513850" y="5562910"/>
                </a:cubicBezTo>
                <a:cubicBezTo>
                  <a:pt x="3522003" y="5565628"/>
                  <a:pt x="3522003" y="5557475"/>
                  <a:pt x="3530156" y="5560192"/>
                </a:cubicBezTo>
                <a:close/>
                <a:moveTo>
                  <a:pt x="3682977" y="5487030"/>
                </a:moveTo>
                <a:cubicBezTo>
                  <a:pt x="3690833" y="5484779"/>
                  <a:pt x="3700685" y="5487497"/>
                  <a:pt x="3712235" y="5497688"/>
                </a:cubicBezTo>
                <a:cubicBezTo>
                  <a:pt x="3728540" y="5489536"/>
                  <a:pt x="3750281" y="5489536"/>
                  <a:pt x="3772022" y="5494971"/>
                </a:cubicBezTo>
                <a:lnTo>
                  <a:pt x="3769304" y="5494971"/>
                </a:lnTo>
                <a:lnTo>
                  <a:pt x="3769304" y="5508559"/>
                </a:lnTo>
                <a:cubicBezTo>
                  <a:pt x="3769304" y="5541170"/>
                  <a:pt x="3772022" y="5511276"/>
                  <a:pt x="3761151" y="5524864"/>
                </a:cubicBezTo>
                <a:lnTo>
                  <a:pt x="3769304" y="5538452"/>
                </a:lnTo>
                <a:lnTo>
                  <a:pt x="3747563" y="5554758"/>
                </a:lnTo>
                <a:lnTo>
                  <a:pt x="3750281" y="5562911"/>
                </a:lnTo>
                <a:cubicBezTo>
                  <a:pt x="3725823" y="5568346"/>
                  <a:pt x="3701363" y="5571064"/>
                  <a:pt x="3674187" y="5573781"/>
                </a:cubicBezTo>
                <a:cubicBezTo>
                  <a:pt x="3653805" y="5545246"/>
                  <a:pt x="3659410" y="5493782"/>
                  <a:pt x="3682977" y="5487030"/>
                </a:cubicBezTo>
                <a:close/>
                <a:moveTo>
                  <a:pt x="3638774" y="5466563"/>
                </a:moveTo>
                <a:cubicBezTo>
                  <a:pt x="3646672" y="5466436"/>
                  <a:pt x="3659922" y="5476627"/>
                  <a:pt x="3657883" y="5486818"/>
                </a:cubicBezTo>
                <a:cubicBezTo>
                  <a:pt x="3652448" y="5489535"/>
                  <a:pt x="3649730" y="5478665"/>
                  <a:pt x="3647013" y="5486818"/>
                </a:cubicBezTo>
                <a:cubicBezTo>
                  <a:pt x="3638859" y="5484100"/>
                  <a:pt x="3641577" y="5470512"/>
                  <a:pt x="3633424" y="5470512"/>
                </a:cubicBezTo>
                <a:cubicBezTo>
                  <a:pt x="3634103" y="5467794"/>
                  <a:pt x="3636141" y="5466605"/>
                  <a:pt x="3638774" y="5466563"/>
                </a:cubicBezTo>
                <a:close/>
                <a:moveTo>
                  <a:pt x="3568201" y="5437900"/>
                </a:moveTo>
                <a:cubicBezTo>
                  <a:pt x="3633425" y="5448770"/>
                  <a:pt x="3638860" y="5524863"/>
                  <a:pt x="3657883" y="5584650"/>
                </a:cubicBezTo>
                <a:cubicBezTo>
                  <a:pt x="3617119" y="5590085"/>
                  <a:pt x="3576354" y="5598238"/>
                  <a:pt x="3538308" y="5609108"/>
                </a:cubicBezTo>
                <a:cubicBezTo>
                  <a:pt x="3543743" y="5546603"/>
                  <a:pt x="3554613" y="5492252"/>
                  <a:pt x="3568201" y="5437900"/>
                </a:cubicBezTo>
                <a:close/>
                <a:moveTo>
                  <a:pt x="3420772" y="5399514"/>
                </a:moveTo>
                <a:cubicBezTo>
                  <a:pt x="3424848" y="5401213"/>
                  <a:pt x="3428245" y="5405289"/>
                  <a:pt x="3426886" y="5410724"/>
                </a:cubicBezTo>
                <a:cubicBezTo>
                  <a:pt x="3464933" y="5402571"/>
                  <a:pt x="3492109" y="5424312"/>
                  <a:pt x="3524720" y="5429747"/>
                </a:cubicBezTo>
                <a:cubicBezTo>
                  <a:pt x="3527437" y="5437900"/>
                  <a:pt x="3530155" y="5448770"/>
                  <a:pt x="3538308" y="5451488"/>
                </a:cubicBezTo>
                <a:cubicBezTo>
                  <a:pt x="3546460" y="5451488"/>
                  <a:pt x="3543743" y="5440617"/>
                  <a:pt x="3549178" y="5435182"/>
                </a:cubicBezTo>
                <a:cubicBezTo>
                  <a:pt x="3562766" y="5465076"/>
                  <a:pt x="3538308" y="5511275"/>
                  <a:pt x="3535590" y="5552039"/>
                </a:cubicBezTo>
                <a:cubicBezTo>
                  <a:pt x="3532872" y="5557474"/>
                  <a:pt x="3519285" y="5552039"/>
                  <a:pt x="3519285" y="5560191"/>
                </a:cubicBezTo>
                <a:cubicBezTo>
                  <a:pt x="3511132" y="5554756"/>
                  <a:pt x="3527437" y="5549321"/>
                  <a:pt x="3524720" y="5541168"/>
                </a:cubicBezTo>
                <a:cubicBezTo>
                  <a:pt x="3519285" y="5541168"/>
                  <a:pt x="3505697" y="5541168"/>
                  <a:pt x="3505697" y="5554756"/>
                </a:cubicBezTo>
                <a:cubicBezTo>
                  <a:pt x="3500261" y="5541168"/>
                  <a:pt x="3492109" y="5524863"/>
                  <a:pt x="3492109" y="5503122"/>
                </a:cubicBezTo>
                <a:cubicBezTo>
                  <a:pt x="3475803" y="5497687"/>
                  <a:pt x="3456780" y="5470511"/>
                  <a:pt x="3462215" y="5443335"/>
                </a:cubicBezTo>
                <a:cubicBezTo>
                  <a:pt x="3454062" y="5440617"/>
                  <a:pt x="3456780" y="5451488"/>
                  <a:pt x="3448627" y="5448770"/>
                </a:cubicBezTo>
                <a:cubicBezTo>
                  <a:pt x="3437757" y="5429747"/>
                  <a:pt x="3421451" y="5418877"/>
                  <a:pt x="3410581" y="5402571"/>
                </a:cubicBezTo>
                <a:cubicBezTo>
                  <a:pt x="3411939" y="5398495"/>
                  <a:pt x="3416695" y="5397816"/>
                  <a:pt x="3420772" y="5399514"/>
                </a:cubicBezTo>
                <a:close/>
                <a:moveTo>
                  <a:pt x="3576355" y="5383550"/>
                </a:moveTo>
                <a:cubicBezTo>
                  <a:pt x="3584508" y="5394420"/>
                  <a:pt x="3595379" y="5402573"/>
                  <a:pt x="3598096" y="5418878"/>
                </a:cubicBezTo>
                <a:cubicBezTo>
                  <a:pt x="3587226" y="5427031"/>
                  <a:pt x="3581791" y="5418878"/>
                  <a:pt x="3568202" y="5418878"/>
                </a:cubicBezTo>
                <a:cubicBezTo>
                  <a:pt x="3568202" y="5408008"/>
                  <a:pt x="3570919" y="5397138"/>
                  <a:pt x="3576355" y="5383550"/>
                </a:cubicBezTo>
                <a:close/>
                <a:moveTo>
                  <a:pt x="3364382" y="5378114"/>
                </a:moveTo>
                <a:cubicBezTo>
                  <a:pt x="3383406" y="5383549"/>
                  <a:pt x="3402429" y="5391702"/>
                  <a:pt x="3407864" y="5410725"/>
                </a:cubicBezTo>
                <a:cubicBezTo>
                  <a:pt x="3391559" y="5402572"/>
                  <a:pt x="3364382" y="5405290"/>
                  <a:pt x="3364382" y="5378114"/>
                </a:cubicBezTo>
                <a:close/>
                <a:moveTo>
                  <a:pt x="3329054" y="5369962"/>
                </a:moveTo>
                <a:cubicBezTo>
                  <a:pt x="3337207" y="5369962"/>
                  <a:pt x="3339925" y="5378115"/>
                  <a:pt x="3342642" y="5383550"/>
                </a:cubicBezTo>
                <a:cubicBezTo>
                  <a:pt x="3331772" y="5383550"/>
                  <a:pt x="3326337" y="5378115"/>
                  <a:pt x="3329054" y="5369962"/>
                </a:cubicBezTo>
                <a:close/>
                <a:moveTo>
                  <a:pt x="3546462" y="5353656"/>
                </a:moveTo>
                <a:cubicBezTo>
                  <a:pt x="3554614" y="5359091"/>
                  <a:pt x="3562767" y="5367244"/>
                  <a:pt x="3568202" y="5375396"/>
                </a:cubicBezTo>
                <a:cubicBezTo>
                  <a:pt x="3562767" y="5386267"/>
                  <a:pt x="3562767" y="5402572"/>
                  <a:pt x="3560050" y="5416160"/>
                </a:cubicBezTo>
                <a:cubicBezTo>
                  <a:pt x="3522003" y="5416160"/>
                  <a:pt x="3494826" y="5394420"/>
                  <a:pt x="3464933" y="5391702"/>
                </a:cubicBezTo>
                <a:cubicBezTo>
                  <a:pt x="3478521" y="5359091"/>
                  <a:pt x="3516568" y="5356373"/>
                  <a:pt x="3546462" y="5353656"/>
                </a:cubicBezTo>
                <a:close/>
                <a:moveTo>
                  <a:pt x="3261113" y="5353655"/>
                </a:moveTo>
                <a:cubicBezTo>
                  <a:pt x="3263830" y="5356372"/>
                  <a:pt x="3269266" y="5361807"/>
                  <a:pt x="3271983" y="5367243"/>
                </a:cubicBezTo>
                <a:cubicBezTo>
                  <a:pt x="3291006" y="5364525"/>
                  <a:pt x="3293724" y="5378113"/>
                  <a:pt x="3310030" y="5378113"/>
                </a:cubicBezTo>
                <a:cubicBezTo>
                  <a:pt x="3312747" y="5386266"/>
                  <a:pt x="3304594" y="5386266"/>
                  <a:pt x="3307312" y="5397136"/>
                </a:cubicBezTo>
                <a:cubicBezTo>
                  <a:pt x="3307312" y="5402571"/>
                  <a:pt x="3320900" y="5397136"/>
                  <a:pt x="3315465" y="5408007"/>
                </a:cubicBezTo>
                <a:cubicBezTo>
                  <a:pt x="3326335" y="5408007"/>
                  <a:pt x="3318182" y="5391701"/>
                  <a:pt x="3323618" y="5386266"/>
                </a:cubicBezTo>
                <a:cubicBezTo>
                  <a:pt x="3337206" y="5391701"/>
                  <a:pt x="3353511" y="5397136"/>
                  <a:pt x="3358946" y="5410724"/>
                </a:cubicBezTo>
                <a:cubicBezTo>
                  <a:pt x="3367099" y="5413442"/>
                  <a:pt x="3367099" y="5399854"/>
                  <a:pt x="3372534" y="5408007"/>
                </a:cubicBezTo>
                <a:cubicBezTo>
                  <a:pt x="3413298" y="5424313"/>
                  <a:pt x="3462215" y="5456924"/>
                  <a:pt x="3456780" y="5500406"/>
                </a:cubicBezTo>
                <a:cubicBezTo>
                  <a:pt x="3448627" y="5500406"/>
                  <a:pt x="3454062" y="5484100"/>
                  <a:pt x="3448627" y="5481382"/>
                </a:cubicBezTo>
                <a:cubicBezTo>
                  <a:pt x="3437756" y="5478665"/>
                  <a:pt x="3440474" y="5489535"/>
                  <a:pt x="3432321" y="5486818"/>
                </a:cubicBezTo>
                <a:cubicBezTo>
                  <a:pt x="3435039" y="5492253"/>
                  <a:pt x="3429604" y="5505841"/>
                  <a:pt x="3435039" y="5505841"/>
                </a:cubicBezTo>
                <a:cubicBezTo>
                  <a:pt x="3432321" y="5519429"/>
                  <a:pt x="3426886" y="5500406"/>
                  <a:pt x="3413298" y="5505841"/>
                </a:cubicBezTo>
                <a:cubicBezTo>
                  <a:pt x="3418733" y="5519429"/>
                  <a:pt x="3424168" y="5516711"/>
                  <a:pt x="3410581" y="5527581"/>
                </a:cubicBezTo>
                <a:cubicBezTo>
                  <a:pt x="3413298" y="5535734"/>
                  <a:pt x="3424168" y="5527581"/>
                  <a:pt x="3429604" y="5527581"/>
                </a:cubicBezTo>
                <a:cubicBezTo>
                  <a:pt x="3424168" y="5530299"/>
                  <a:pt x="3424168" y="5543887"/>
                  <a:pt x="3429604" y="5549322"/>
                </a:cubicBezTo>
                <a:cubicBezTo>
                  <a:pt x="3443192" y="5549322"/>
                  <a:pt x="3443192" y="5535734"/>
                  <a:pt x="3448627" y="5524864"/>
                </a:cubicBezTo>
                <a:cubicBezTo>
                  <a:pt x="3459497" y="5524864"/>
                  <a:pt x="3454062" y="5541169"/>
                  <a:pt x="3470368" y="5538452"/>
                </a:cubicBezTo>
                <a:cubicBezTo>
                  <a:pt x="3475803" y="5538452"/>
                  <a:pt x="3470368" y="5524864"/>
                  <a:pt x="3475803" y="5522146"/>
                </a:cubicBezTo>
                <a:cubicBezTo>
                  <a:pt x="3473085" y="5511276"/>
                  <a:pt x="3467650" y="5519429"/>
                  <a:pt x="3459497" y="5519429"/>
                </a:cubicBezTo>
                <a:cubicBezTo>
                  <a:pt x="3456780" y="5508558"/>
                  <a:pt x="3470368" y="5516711"/>
                  <a:pt x="3467650" y="5505841"/>
                </a:cubicBezTo>
                <a:cubicBezTo>
                  <a:pt x="3486673" y="5519429"/>
                  <a:pt x="3486673" y="5554757"/>
                  <a:pt x="3492108" y="5573781"/>
                </a:cubicBezTo>
                <a:cubicBezTo>
                  <a:pt x="3492108" y="5579216"/>
                  <a:pt x="3481238" y="5573781"/>
                  <a:pt x="3478520" y="5579216"/>
                </a:cubicBezTo>
                <a:cubicBezTo>
                  <a:pt x="3497543" y="5600956"/>
                  <a:pt x="3513849" y="5625415"/>
                  <a:pt x="3511131" y="5666179"/>
                </a:cubicBezTo>
                <a:cubicBezTo>
                  <a:pt x="3467650" y="5693355"/>
                  <a:pt x="3416016" y="5715095"/>
                  <a:pt x="3367099" y="5736836"/>
                </a:cubicBezTo>
                <a:lnTo>
                  <a:pt x="3367099" y="5723248"/>
                </a:lnTo>
                <a:lnTo>
                  <a:pt x="3367099" y="5668896"/>
                </a:lnTo>
                <a:lnTo>
                  <a:pt x="3358946" y="5652591"/>
                </a:lnTo>
                <a:lnTo>
                  <a:pt x="3358946" y="5636285"/>
                </a:lnTo>
                <a:lnTo>
                  <a:pt x="3358946" y="5611827"/>
                </a:lnTo>
                <a:lnTo>
                  <a:pt x="3345358" y="5598239"/>
                </a:lnTo>
                <a:lnTo>
                  <a:pt x="3353511" y="5576498"/>
                </a:lnTo>
                <a:lnTo>
                  <a:pt x="3337206" y="5568345"/>
                </a:lnTo>
                <a:lnTo>
                  <a:pt x="3342641" y="5554757"/>
                </a:lnTo>
                <a:lnTo>
                  <a:pt x="3331770" y="5530299"/>
                </a:lnTo>
                <a:cubicBezTo>
                  <a:pt x="3345358" y="5500406"/>
                  <a:pt x="3326335" y="5470512"/>
                  <a:pt x="3339923" y="5437901"/>
                </a:cubicBezTo>
                <a:lnTo>
                  <a:pt x="3318182" y="5446054"/>
                </a:lnTo>
                <a:cubicBezTo>
                  <a:pt x="3299159" y="5437901"/>
                  <a:pt x="3315465" y="5437901"/>
                  <a:pt x="3296442" y="5446054"/>
                </a:cubicBezTo>
                <a:cubicBezTo>
                  <a:pt x="3277418" y="5432466"/>
                  <a:pt x="3269266" y="5440619"/>
                  <a:pt x="3266548" y="5408007"/>
                </a:cubicBezTo>
                <a:cubicBezTo>
                  <a:pt x="3258395" y="5408007"/>
                  <a:pt x="3255678" y="5405289"/>
                  <a:pt x="3252960" y="5405289"/>
                </a:cubicBezTo>
                <a:lnTo>
                  <a:pt x="3251602" y="5403931"/>
                </a:lnTo>
                <a:lnTo>
                  <a:pt x="3242090" y="5394419"/>
                </a:lnTo>
                <a:cubicBezTo>
                  <a:pt x="3250242" y="5375395"/>
                  <a:pt x="3250242" y="5391701"/>
                  <a:pt x="3242090" y="5372678"/>
                </a:cubicBezTo>
                <a:cubicBezTo>
                  <a:pt x="3247525" y="5367243"/>
                  <a:pt x="3255678" y="5359090"/>
                  <a:pt x="3261113" y="5353655"/>
                </a:cubicBezTo>
                <a:close/>
                <a:moveTo>
                  <a:pt x="3269266" y="5340068"/>
                </a:moveTo>
                <a:cubicBezTo>
                  <a:pt x="3277420" y="5342785"/>
                  <a:pt x="3285573" y="5348220"/>
                  <a:pt x="3288290" y="5353656"/>
                </a:cubicBezTo>
                <a:cubicBezTo>
                  <a:pt x="3277420" y="5356373"/>
                  <a:pt x="3271984" y="5350938"/>
                  <a:pt x="3263831" y="5345503"/>
                </a:cubicBezTo>
                <a:cubicBezTo>
                  <a:pt x="3266548" y="5342785"/>
                  <a:pt x="3269266" y="5340068"/>
                  <a:pt x="3269266" y="5340068"/>
                </a:cubicBezTo>
                <a:close/>
                <a:moveTo>
                  <a:pt x="3356229" y="5337351"/>
                </a:moveTo>
                <a:cubicBezTo>
                  <a:pt x="3364383" y="5340068"/>
                  <a:pt x="3367101" y="5353656"/>
                  <a:pt x="3377971" y="5359092"/>
                </a:cubicBezTo>
                <a:cubicBezTo>
                  <a:pt x="3372536" y="5369962"/>
                  <a:pt x="3364383" y="5353656"/>
                  <a:pt x="3353512" y="5356374"/>
                </a:cubicBezTo>
                <a:cubicBezTo>
                  <a:pt x="3364383" y="5350939"/>
                  <a:pt x="3350794" y="5342786"/>
                  <a:pt x="3356229" y="5337351"/>
                </a:cubicBezTo>
                <a:close/>
                <a:moveTo>
                  <a:pt x="3551897" y="5329198"/>
                </a:moveTo>
                <a:cubicBezTo>
                  <a:pt x="3560049" y="5331915"/>
                  <a:pt x="3562767" y="5342786"/>
                  <a:pt x="3562767" y="5353656"/>
                </a:cubicBezTo>
                <a:cubicBezTo>
                  <a:pt x="3554614" y="5348221"/>
                  <a:pt x="3546461" y="5340068"/>
                  <a:pt x="3551897" y="5329198"/>
                </a:cubicBezTo>
                <a:close/>
                <a:moveTo>
                  <a:pt x="3573638" y="5304740"/>
                </a:moveTo>
                <a:cubicBezTo>
                  <a:pt x="3579073" y="5312893"/>
                  <a:pt x="3573638" y="5331916"/>
                  <a:pt x="3576355" y="5340068"/>
                </a:cubicBezTo>
                <a:cubicBezTo>
                  <a:pt x="3565485" y="5340068"/>
                  <a:pt x="3573638" y="5323763"/>
                  <a:pt x="3560050" y="5326481"/>
                </a:cubicBezTo>
                <a:cubicBezTo>
                  <a:pt x="3560050" y="5315610"/>
                  <a:pt x="3570920" y="5315610"/>
                  <a:pt x="3573638" y="5304740"/>
                </a:cubicBezTo>
                <a:close/>
                <a:moveTo>
                  <a:pt x="3326336" y="5304740"/>
                </a:moveTo>
                <a:cubicBezTo>
                  <a:pt x="3339924" y="5307457"/>
                  <a:pt x="3350795" y="5312893"/>
                  <a:pt x="3348077" y="5331916"/>
                </a:cubicBezTo>
                <a:cubicBezTo>
                  <a:pt x="3337207" y="5340068"/>
                  <a:pt x="3320901" y="5337351"/>
                  <a:pt x="3310030" y="5334633"/>
                </a:cubicBezTo>
                <a:lnTo>
                  <a:pt x="3326336" y="5321045"/>
                </a:lnTo>
                <a:lnTo>
                  <a:pt x="3318182" y="5307457"/>
                </a:lnTo>
                <a:cubicBezTo>
                  <a:pt x="3326336" y="5307457"/>
                  <a:pt x="3326336" y="5307457"/>
                  <a:pt x="3326336" y="5304740"/>
                </a:cubicBezTo>
                <a:close/>
                <a:moveTo>
                  <a:pt x="3508415" y="5288434"/>
                </a:moveTo>
                <a:cubicBezTo>
                  <a:pt x="3513850" y="5291151"/>
                  <a:pt x="3524720" y="5299304"/>
                  <a:pt x="3519285" y="5304739"/>
                </a:cubicBezTo>
                <a:cubicBezTo>
                  <a:pt x="3508415" y="5304739"/>
                  <a:pt x="3505697" y="5299304"/>
                  <a:pt x="3508415" y="5288434"/>
                </a:cubicBezTo>
                <a:close/>
                <a:moveTo>
                  <a:pt x="3380009" y="5274505"/>
                </a:moveTo>
                <a:cubicBezTo>
                  <a:pt x="3384086" y="5274166"/>
                  <a:pt x="3388842" y="5274845"/>
                  <a:pt x="3391559" y="5274845"/>
                </a:cubicBezTo>
                <a:cubicBezTo>
                  <a:pt x="3391559" y="5282998"/>
                  <a:pt x="3375253" y="5282998"/>
                  <a:pt x="3372536" y="5280281"/>
                </a:cubicBezTo>
                <a:cubicBezTo>
                  <a:pt x="3372536" y="5276204"/>
                  <a:pt x="3375933" y="5274845"/>
                  <a:pt x="3380009" y="5274505"/>
                </a:cubicBezTo>
                <a:close/>
                <a:moveTo>
                  <a:pt x="3437756" y="5269410"/>
                </a:moveTo>
                <a:cubicBezTo>
                  <a:pt x="3448627" y="5269410"/>
                  <a:pt x="3456780" y="5272127"/>
                  <a:pt x="3459497" y="5280280"/>
                </a:cubicBezTo>
                <a:cubicBezTo>
                  <a:pt x="3470368" y="5282998"/>
                  <a:pt x="3467650" y="5269410"/>
                  <a:pt x="3475803" y="5277563"/>
                </a:cubicBezTo>
                <a:cubicBezTo>
                  <a:pt x="3478520" y="5296586"/>
                  <a:pt x="3494826" y="5302021"/>
                  <a:pt x="3508414" y="5312891"/>
                </a:cubicBezTo>
                <a:cubicBezTo>
                  <a:pt x="3508414" y="5318326"/>
                  <a:pt x="3500261" y="5318326"/>
                  <a:pt x="3497543" y="5323762"/>
                </a:cubicBezTo>
                <a:cubicBezTo>
                  <a:pt x="3500261" y="5337350"/>
                  <a:pt x="3508414" y="5342785"/>
                  <a:pt x="3522002" y="5345502"/>
                </a:cubicBezTo>
                <a:cubicBezTo>
                  <a:pt x="3494826" y="5359090"/>
                  <a:pt x="3462215" y="5364525"/>
                  <a:pt x="3445909" y="5383549"/>
                </a:cubicBezTo>
                <a:cubicBezTo>
                  <a:pt x="3413298" y="5375396"/>
                  <a:pt x="3375252" y="5369961"/>
                  <a:pt x="3383405" y="5318326"/>
                </a:cubicBezTo>
                <a:cubicBezTo>
                  <a:pt x="3396993" y="5321044"/>
                  <a:pt x="3399710" y="5331914"/>
                  <a:pt x="3416016" y="5331914"/>
                </a:cubicBezTo>
                <a:cubicBezTo>
                  <a:pt x="3413298" y="5315609"/>
                  <a:pt x="3399710" y="5312891"/>
                  <a:pt x="3377969" y="5312891"/>
                </a:cubicBezTo>
                <a:cubicBezTo>
                  <a:pt x="3369817" y="5310174"/>
                  <a:pt x="3388840" y="5302021"/>
                  <a:pt x="3377969" y="5293868"/>
                </a:cubicBezTo>
                <a:cubicBezTo>
                  <a:pt x="3375252" y="5293868"/>
                  <a:pt x="3375252" y="5291151"/>
                  <a:pt x="3375252" y="5288433"/>
                </a:cubicBezTo>
                <a:cubicBezTo>
                  <a:pt x="3396993" y="5310174"/>
                  <a:pt x="3421451" y="5280280"/>
                  <a:pt x="3437756" y="5269410"/>
                </a:cubicBezTo>
                <a:close/>
                <a:moveTo>
                  <a:pt x="3402429" y="5263976"/>
                </a:moveTo>
                <a:cubicBezTo>
                  <a:pt x="3413299" y="5266693"/>
                  <a:pt x="3399711" y="5280281"/>
                  <a:pt x="3394276" y="5272129"/>
                </a:cubicBezTo>
                <a:cubicBezTo>
                  <a:pt x="3391558" y="5263976"/>
                  <a:pt x="3402429" y="5269411"/>
                  <a:pt x="3402429" y="5263976"/>
                </a:cubicBezTo>
                <a:close/>
                <a:moveTo>
                  <a:pt x="3356230" y="5261258"/>
                </a:moveTo>
                <a:cubicBezTo>
                  <a:pt x="3364383" y="5258540"/>
                  <a:pt x="3364383" y="5266693"/>
                  <a:pt x="3364383" y="5274846"/>
                </a:cubicBezTo>
                <a:cubicBezTo>
                  <a:pt x="3356230" y="5274846"/>
                  <a:pt x="3356230" y="5269411"/>
                  <a:pt x="3356230" y="5261258"/>
                </a:cubicBezTo>
                <a:close/>
                <a:moveTo>
                  <a:pt x="3326335" y="5258541"/>
                </a:moveTo>
                <a:cubicBezTo>
                  <a:pt x="3337207" y="5263976"/>
                  <a:pt x="3348077" y="5266693"/>
                  <a:pt x="3356230" y="5274846"/>
                </a:cubicBezTo>
                <a:cubicBezTo>
                  <a:pt x="3356230" y="5277564"/>
                  <a:pt x="3350795" y="5277564"/>
                  <a:pt x="3350795" y="5282999"/>
                </a:cubicBezTo>
                <a:cubicBezTo>
                  <a:pt x="3353512" y="5291152"/>
                  <a:pt x="3361665" y="5277564"/>
                  <a:pt x="3364383" y="5285717"/>
                </a:cubicBezTo>
                <a:cubicBezTo>
                  <a:pt x="3350795" y="5302022"/>
                  <a:pt x="3372535" y="5321045"/>
                  <a:pt x="3369818" y="5334633"/>
                </a:cubicBezTo>
                <a:cubicBezTo>
                  <a:pt x="3367100" y="5331916"/>
                  <a:pt x="3348077" y="5312893"/>
                  <a:pt x="3356230" y="5299305"/>
                </a:cubicBezTo>
                <a:cubicBezTo>
                  <a:pt x="3345359" y="5296587"/>
                  <a:pt x="3337207" y="5291152"/>
                  <a:pt x="3329053" y="5285717"/>
                </a:cubicBezTo>
                <a:cubicBezTo>
                  <a:pt x="3326335" y="5282999"/>
                  <a:pt x="3326335" y="5282999"/>
                  <a:pt x="3323618" y="5280281"/>
                </a:cubicBezTo>
                <a:cubicBezTo>
                  <a:pt x="3331770" y="5258541"/>
                  <a:pt x="3318183" y="5280281"/>
                  <a:pt x="3326335" y="5258541"/>
                </a:cubicBezTo>
                <a:close/>
                <a:moveTo>
                  <a:pt x="3606248" y="5253104"/>
                </a:moveTo>
                <a:lnTo>
                  <a:pt x="3619836" y="5266692"/>
                </a:lnTo>
                <a:lnTo>
                  <a:pt x="3619836" y="5288432"/>
                </a:lnTo>
                <a:lnTo>
                  <a:pt x="3636142" y="5296585"/>
                </a:lnTo>
                <a:cubicBezTo>
                  <a:pt x="3622554" y="5326479"/>
                  <a:pt x="3641577" y="5293868"/>
                  <a:pt x="3627989" y="5326479"/>
                </a:cubicBezTo>
                <a:cubicBezTo>
                  <a:pt x="3647012" y="5337349"/>
                  <a:pt x="3638859" y="5326479"/>
                  <a:pt x="3644295" y="5348219"/>
                </a:cubicBezTo>
                <a:lnTo>
                  <a:pt x="3627989" y="5348219"/>
                </a:lnTo>
                <a:cubicBezTo>
                  <a:pt x="3636142" y="5367243"/>
                  <a:pt x="3636142" y="5350937"/>
                  <a:pt x="3627989" y="5369960"/>
                </a:cubicBezTo>
                <a:lnTo>
                  <a:pt x="3666035" y="5369960"/>
                </a:lnTo>
                <a:cubicBezTo>
                  <a:pt x="3682341" y="5369960"/>
                  <a:pt x="3679623" y="5372678"/>
                  <a:pt x="3685058" y="5380831"/>
                </a:cubicBezTo>
                <a:cubicBezTo>
                  <a:pt x="3679623" y="5383548"/>
                  <a:pt x="3676906" y="5386266"/>
                  <a:pt x="3674188" y="5391701"/>
                </a:cubicBezTo>
                <a:cubicBezTo>
                  <a:pt x="3687776" y="5394419"/>
                  <a:pt x="3701364" y="5391701"/>
                  <a:pt x="3714952" y="5391701"/>
                </a:cubicBezTo>
                <a:lnTo>
                  <a:pt x="3720387" y="5397136"/>
                </a:lnTo>
                <a:cubicBezTo>
                  <a:pt x="3704082" y="5397136"/>
                  <a:pt x="3690494" y="5397136"/>
                  <a:pt x="3674188" y="5405289"/>
                </a:cubicBezTo>
                <a:cubicBezTo>
                  <a:pt x="3690494" y="5418877"/>
                  <a:pt x="3720387" y="5421595"/>
                  <a:pt x="3750281" y="5424312"/>
                </a:cubicBezTo>
                <a:lnTo>
                  <a:pt x="3766586" y="5437900"/>
                </a:lnTo>
                <a:lnTo>
                  <a:pt x="3758433" y="5451488"/>
                </a:lnTo>
                <a:lnTo>
                  <a:pt x="3769304" y="5465076"/>
                </a:lnTo>
                <a:lnTo>
                  <a:pt x="3761151" y="5478664"/>
                </a:lnTo>
                <a:cubicBezTo>
                  <a:pt x="3769304" y="5484099"/>
                  <a:pt x="3769304" y="5473229"/>
                  <a:pt x="3769304" y="5484099"/>
                </a:cubicBezTo>
                <a:cubicBezTo>
                  <a:pt x="3736693" y="5481382"/>
                  <a:pt x="3706799" y="5475947"/>
                  <a:pt x="3676906" y="5467794"/>
                </a:cubicBezTo>
                <a:cubicBezTo>
                  <a:pt x="3676906" y="5448771"/>
                  <a:pt x="3695929" y="5446053"/>
                  <a:pt x="3687776" y="5429747"/>
                </a:cubicBezTo>
                <a:cubicBezTo>
                  <a:pt x="3676906" y="5427030"/>
                  <a:pt x="3676906" y="5435183"/>
                  <a:pt x="3671470" y="5440618"/>
                </a:cubicBezTo>
                <a:cubicBezTo>
                  <a:pt x="3663318" y="5435183"/>
                  <a:pt x="3660600" y="5424312"/>
                  <a:pt x="3649730" y="5418877"/>
                </a:cubicBezTo>
                <a:cubicBezTo>
                  <a:pt x="3641577" y="5418877"/>
                  <a:pt x="3644295" y="5429747"/>
                  <a:pt x="3644295" y="5437900"/>
                </a:cubicBezTo>
                <a:cubicBezTo>
                  <a:pt x="3633424" y="5435183"/>
                  <a:pt x="3630707" y="5443335"/>
                  <a:pt x="3622554" y="5443335"/>
                </a:cubicBezTo>
                <a:cubicBezTo>
                  <a:pt x="3611683" y="5408007"/>
                  <a:pt x="3595378" y="5364525"/>
                  <a:pt x="3598095" y="5323761"/>
                </a:cubicBezTo>
                <a:cubicBezTo>
                  <a:pt x="3603531" y="5323761"/>
                  <a:pt x="3600813" y="5331914"/>
                  <a:pt x="3606248" y="5331914"/>
                </a:cubicBezTo>
                <a:cubicBezTo>
                  <a:pt x="3611683" y="5329196"/>
                  <a:pt x="3600813" y="5318326"/>
                  <a:pt x="3611683" y="5315608"/>
                </a:cubicBezTo>
                <a:cubicBezTo>
                  <a:pt x="3608966" y="5312891"/>
                  <a:pt x="3603531" y="5310173"/>
                  <a:pt x="3595378" y="5310173"/>
                </a:cubicBezTo>
                <a:cubicBezTo>
                  <a:pt x="3598095" y="5304738"/>
                  <a:pt x="3606248" y="5304738"/>
                  <a:pt x="3606248" y="5299303"/>
                </a:cubicBezTo>
                <a:cubicBezTo>
                  <a:pt x="3606248" y="5291150"/>
                  <a:pt x="3598095" y="5291150"/>
                  <a:pt x="3598095" y="5280280"/>
                </a:cubicBezTo>
                <a:cubicBezTo>
                  <a:pt x="3600813" y="5272127"/>
                  <a:pt x="3603531" y="5263974"/>
                  <a:pt x="3606248" y="5253104"/>
                </a:cubicBezTo>
                <a:close/>
                <a:moveTo>
                  <a:pt x="3475804" y="5247670"/>
                </a:moveTo>
                <a:cubicBezTo>
                  <a:pt x="3486674" y="5250387"/>
                  <a:pt x="3481239" y="5266693"/>
                  <a:pt x="3489392" y="5269411"/>
                </a:cubicBezTo>
                <a:cubicBezTo>
                  <a:pt x="3481239" y="5277563"/>
                  <a:pt x="3475804" y="5258540"/>
                  <a:pt x="3475804" y="5247670"/>
                </a:cubicBezTo>
                <a:close/>
                <a:moveTo>
                  <a:pt x="3432322" y="5231365"/>
                </a:moveTo>
                <a:cubicBezTo>
                  <a:pt x="3426887" y="5244953"/>
                  <a:pt x="3443193" y="5247670"/>
                  <a:pt x="3437758" y="5255823"/>
                </a:cubicBezTo>
                <a:cubicBezTo>
                  <a:pt x="3416017" y="5253105"/>
                  <a:pt x="3413299" y="5242235"/>
                  <a:pt x="3388840" y="5239517"/>
                </a:cubicBezTo>
                <a:cubicBezTo>
                  <a:pt x="3399710" y="5231365"/>
                  <a:pt x="3418734" y="5234082"/>
                  <a:pt x="3432322" y="5231365"/>
                </a:cubicBezTo>
                <a:close/>
                <a:moveTo>
                  <a:pt x="3584508" y="5225929"/>
                </a:moveTo>
                <a:lnTo>
                  <a:pt x="3595378" y="5236799"/>
                </a:lnTo>
                <a:cubicBezTo>
                  <a:pt x="3595378" y="5244952"/>
                  <a:pt x="3592661" y="5253105"/>
                  <a:pt x="3589943" y="5261257"/>
                </a:cubicBezTo>
                <a:cubicBezTo>
                  <a:pt x="3587225" y="5250387"/>
                  <a:pt x="3584508" y="5236799"/>
                  <a:pt x="3584508" y="5225929"/>
                </a:cubicBezTo>
                <a:close/>
                <a:moveTo>
                  <a:pt x="3462216" y="5225929"/>
                </a:moveTo>
                <a:cubicBezTo>
                  <a:pt x="3464934" y="5225929"/>
                  <a:pt x="3464934" y="5228646"/>
                  <a:pt x="3467651" y="5228646"/>
                </a:cubicBezTo>
                <a:lnTo>
                  <a:pt x="3467651" y="5234082"/>
                </a:lnTo>
                <a:cubicBezTo>
                  <a:pt x="3456781" y="5231364"/>
                  <a:pt x="3464934" y="5242234"/>
                  <a:pt x="3456781" y="5239517"/>
                </a:cubicBezTo>
                <a:cubicBezTo>
                  <a:pt x="3456781" y="5234082"/>
                  <a:pt x="3462216" y="5231364"/>
                  <a:pt x="3462216" y="5225929"/>
                </a:cubicBezTo>
                <a:close/>
                <a:moveTo>
                  <a:pt x="3448629" y="5206906"/>
                </a:moveTo>
                <a:cubicBezTo>
                  <a:pt x="3456781" y="5204188"/>
                  <a:pt x="3456781" y="5212341"/>
                  <a:pt x="3456781" y="5220494"/>
                </a:cubicBezTo>
                <a:cubicBezTo>
                  <a:pt x="3448629" y="5220494"/>
                  <a:pt x="3448629" y="5215059"/>
                  <a:pt x="3448629" y="5206906"/>
                </a:cubicBezTo>
                <a:close/>
                <a:moveTo>
                  <a:pt x="3432323" y="5171577"/>
                </a:moveTo>
                <a:cubicBezTo>
                  <a:pt x="3440475" y="5179730"/>
                  <a:pt x="3445911" y="5190600"/>
                  <a:pt x="3443193" y="5206905"/>
                </a:cubicBezTo>
                <a:cubicBezTo>
                  <a:pt x="3435040" y="5198753"/>
                  <a:pt x="3432323" y="5187882"/>
                  <a:pt x="3432323" y="5171577"/>
                </a:cubicBezTo>
                <a:close/>
                <a:moveTo>
                  <a:pt x="3543744" y="5171576"/>
                </a:moveTo>
                <a:lnTo>
                  <a:pt x="3546461" y="5174293"/>
                </a:lnTo>
                <a:cubicBezTo>
                  <a:pt x="3543744" y="5196034"/>
                  <a:pt x="3527438" y="5228645"/>
                  <a:pt x="3538308" y="5258539"/>
                </a:cubicBezTo>
                <a:cubicBezTo>
                  <a:pt x="3519285" y="5258539"/>
                  <a:pt x="3516568" y="5274844"/>
                  <a:pt x="3502979" y="5277562"/>
                </a:cubicBezTo>
                <a:cubicBezTo>
                  <a:pt x="3492108" y="5261256"/>
                  <a:pt x="3483956" y="5250386"/>
                  <a:pt x="3489391" y="5228645"/>
                </a:cubicBezTo>
                <a:cubicBezTo>
                  <a:pt x="3497544" y="5228645"/>
                  <a:pt x="3505696" y="5228645"/>
                  <a:pt x="3508414" y="5223210"/>
                </a:cubicBezTo>
                <a:cubicBezTo>
                  <a:pt x="3511133" y="5209622"/>
                  <a:pt x="3497544" y="5215057"/>
                  <a:pt x="3497544" y="5204187"/>
                </a:cubicBezTo>
                <a:cubicBezTo>
                  <a:pt x="3513850" y="5193317"/>
                  <a:pt x="3532873" y="5185164"/>
                  <a:pt x="3543744" y="5171576"/>
                </a:cubicBezTo>
                <a:close/>
                <a:moveTo>
                  <a:pt x="3535591" y="5062874"/>
                </a:moveTo>
                <a:cubicBezTo>
                  <a:pt x="3543743" y="5065591"/>
                  <a:pt x="3546462" y="5065591"/>
                  <a:pt x="3549180" y="5065591"/>
                </a:cubicBezTo>
                <a:cubicBezTo>
                  <a:pt x="3549180" y="5068309"/>
                  <a:pt x="3551897" y="5071027"/>
                  <a:pt x="3557332" y="5076462"/>
                </a:cubicBezTo>
                <a:lnTo>
                  <a:pt x="3549180" y="5092767"/>
                </a:lnTo>
                <a:lnTo>
                  <a:pt x="3543743" y="5090050"/>
                </a:lnTo>
                <a:cubicBezTo>
                  <a:pt x="3541026" y="5079179"/>
                  <a:pt x="3538308" y="5071027"/>
                  <a:pt x="3535591" y="5062874"/>
                </a:cubicBezTo>
                <a:close/>
                <a:moveTo>
                  <a:pt x="3956819" y="5032979"/>
                </a:moveTo>
                <a:lnTo>
                  <a:pt x="3964971" y="5032979"/>
                </a:lnTo>
                <a:cubicBezTo>
                  <a:pt x="3964971" y="5035697"/>
                  <a:pt x="3964971" y="5038415"/>
                  <a:pt x="3964971" y="5041132"/>
                </a:cubicBezTo>
                <a:lnTo>
                  <a:pt x="3956819" y="5052003"/>
                </a:lnTo>
                <a:close/>
                <a:moveTo>
                  <a:pt x="4000300" y="5030811"/>
                </a:moveTo>
                <a:lnTo>
                  <a:pt x="4003018" y="5038416"/>
                </a:lnTo>
                <a:lnTo>
                  <a:pt x="3997583" y="5035698"/>
                </a:lnTo>
                <a:cubicBezTo>
                  <a:pt x="3997583" y="5035698"/>
                  <a:pt x="4000300" y="5032980"/>
                  <a:pt x="4000300" y="5032980"/>
                </a:cubicBezTo>
                <a:close/>
                <a:moveTo>
                  <a:pt x="3869854" y="5030261"/>
                </a:moveTo>
                <a:lnTo>
                  <a:pt x="3839961" y="5038414"/>
                </a:lnTo>
                <a:lnTo>
                  <a:pt x="3839961" y="5046567"/>
                </a:lnTo>
                <a:lnTo>
                  <a:pt x="3869854" y="5046567"/>
                </a:lnTo>
                <a:close/>
                <a:moveTo>
                  <a:pt x="4000300" y="5021994"/>
                </a:moveTo>
                <a:lnTo>
                  <a:pt x="4000300" y="5030811"/>
                </a:lnTo>
                <a:lnTo>
                  <a:pt x="3998389" y="5025465"/>
                </a:lnTo>
                <a:cubicBezTo>
                  <a:pt x="3997837" y="5023214"/>
                  <a:pt x="3998092" y="5022620"/>
                  <a:pt x="3998601" y="5022450"/>
                </a:cubicBezTo>
                <a:close/>
                <a:moveTo>
                  <a:pt x="4000300" y="5016675"/>
                </a:moveTo>
                <a:cubicBezTo>
                  <a:pt x="4000979" y="5020072"/>
                  <a:pt x="4000810" y="5021431"/>
                  <a:pt x="4000342" y="5021983"/>
                </a:cubicBezTo>
                <a:lnTo>
                  <a:pt x="4000300" y="5021994"/>
                </a:lnTo>
                <a:close/>
                <a:moveTo>
                  <a:pt x="1247376" y="5013956"/>
                </a:moveTo>
                <a:lnTo>
                  <a:pt x="1252983" y="5016733"/>
                </a:lnTo>
                <a:lnTo>
                  <a:pt x="1252811" y="5016674"/>
                </a:lnTo>
                <a:cubicBezTo>
                  <a:pt x="1250093" y="5016674"/>
                  <a:pt x="1250093" y="5016674"/>
                  <a:pt x="1247376" y="5013956"/>
                </a:cubicBezTo>
                <a:close/>
                <a:moveTo>
                  <a:pt x="3935077" y="5000369"/>
                </a:moveTo>
                <a:cubicBezTo>
                  <a:pt x="3943230" y="5003086"/>
                  <a:pt x="3948666" y="5005804"/>
                  <a:pt x="3956819" y="5008521"/>
                </a:cubicBezTo>
                <a:cubicBezTo>
                  <a:pt x="3951383" y="5011239"/>
                  <a:pt x="3943230" y="5011239"/>
                  <a:pt x="3935077" y="5008521"/>
                </a:cubicBezTo>
                <a:close/>
                <a:moveTo>
                  <a:pt x="3780174" y="4975909"/>
                </a:moveTo>
                <a:lnTo>
                  <a:pt x="3788327" y="5005803"/>
                </a:lnTo>
                <a:cubicBezTo>
                  <a:pt x="3818220" y="4984062"/>
                  <a:pt x="3791044" y="5005803"/>
                  <a:pt x="3801915" y="4975909"/>
                </a:cubicBezTo>
                <a:close/>
                <a:moveTo>
                  <a:pt x="3918771" y="4954170"/>
                </a:moveTo>
                <a:cubicBezTo>
                  <a:pt x="3929642" y="4965040"/>
                  <a:pt x="3940513" y="4975911"/>
                  <a:pt x="3948665" y="4989498"/>
                </a:cubicBezTo>
                <a:cubicBezTo>
                  <a:pt x="3945948" y="4989498"/>
                  <a:pt x="3940513" y="4986781"/>
                  <a:pt x="3937795" y="4984063"/>
                </a:cubicBezTo>
                <a:close/>
                <a:moveTo>
                  <a:pt x="3318183" y="4954170"/>
                </a:moveTo>
                <a:cubicBezTo>
                  <a:pt x="3329054" y="4962323"/>
                  <a:pt x="3348077" y="4959605"/>
                  <a:pt x="3367100" y="4959605"/>
                </a:cubicBezTo>
                <a:cubicBezTo>
                  <a:pt x="3348077" y="4973193"/>
                  <a:pt x="3331772" y="4992216"/>
                  <a:pt x="3301877" y="4997651"/>
                </a:cubicBezTo>
                <a:cubicBezTo>
                  <a:pt x="3307312" y="4986781"/>
                  <a:pt x="3301877" y="4984063"/>
                  <a:pt x="3291007" y="4989498"/>
                </a:cubicBezTo>
                <a:cubicBezTo>
                  <a:pt x="3299160" y="4978628"/>
                  <a:pt x="3312748" y="4970475"/>
                  <a:pt x="3318183" y="4954170"/>
                </a:cubicBezTo>
                <a:close/>
                <a:moveTo>
                  <a:pt x="3201326" y="4937864"/>
                </a:moveTo>
                <a:cubicBezTo>
                  <a:pt x="3214915" y="4954169"/>
                  <a:pt x="3233938" y="4967757"/>
                  <a:pt x="3239373" y="4992216"/>
                </a:cubicBezTo>
                <a:cubicBezTo>
                  <a:pt x="3236656" y="4997651"/>
                  <a:pt x="3236656" y="5000368"/>
                  <a:pt x="3233938" y="5008521"/>
                </a:cubicBezTo>
                <a:cubicBezTo>
                  <a:pt x="3209479" y="5005804"/>
                  <a:pt x="3206761" y="5005804"/>
                  <a:pt x="3204044" y="4978628"/>
                </a:cubicBezTo>
                <a:lnTo>
                  <a:pt x="3190456" y="4962322"/>
                </a:lnTo>
                <a:lnTo>
                  <a:pt x="3206761" y="4954169"/>
                </a:lnTo>
                <a:lnTo>
                  <a:pt x="3201326" y="4940581"/>
                </a:lnTo>
                <a:close/>
                <a:moveTo>
                  <a:pt x="3489391" y="4932428"/>
                </a:moveTo>
                <a:cubicBezTo>
                  <a:pt x="3502979" y="4962321"/>
                  <a:pt x="3502979" y="5005804"/>
                  <a:pt x="3511131" y="5043850"/>
                </a:cubicBezTo>
                <a:cubicBezTo>
                  <a:pt x="3500261" y="5038415"/>
                  <a:pt x="3502979" y="5049285"/>
                  <a:pt x="3497543" y="5052003"/>
                </a:cubicBezTo>
                <a:cubicBezTo>
                  <a:pt x="3519284" y="5065591"/>
                  <a:pt x="3527437" y="5092767"/>
                  <a:pt x="3535590" y="5117225"/>
                </a:cubicBezTo>
                <a:cubicBezTo>
                  <a:pt x="3532872" y="5128095"/>
                  <a:pt x="3535590" y="5136248"/>
                  <a:pt x="3535590" y="5144401"/>
                </a:cubicBezTo>
                <a:cubicBezTo>
                  <a:pt x="3511131" y="5155271"/>
                  <a:pt x="3489391" y="5166141"/>
                  <a:pt x="3481238" y="5193317"/>
                </a:cubicBezTo>
                <a:cubicBezTo>
                  <a:pt x="3470367" y="5193317"/>
                  <a:pt x="3475803" y="5177012"/>
                  <a:pt x="3464932" y="5177012"/>
                </a:cubicBezTo>
                <a:cubicBezTo>
                  <a:pt x="3467650" y="5163424"/>
                  <a:pt x="3478520" y="5157989"/>
                  <a:pt x="3481238" y="5141683"/>
                </a:cubicBezTo>
                <a:cubicBezTo>
                  <a:pt x="3473085" y="5136248"/>
                  <a:pt x="3462215" y="5149836"/>
                  <a:pt x="3456780" y="5157989"/>
                </a:cubicBezTo>
                <a:cubicBezTo>
                  <a:pt x="3443192" y="5147118"/>
                  <a:pt x="3437756" y="5133530"/>
                  <a:pt x="3424168" y="5125378"/>
                </a:cubicBezTo>
                <a:cubicBezTo>
                  <a:pt x="3418733" y="5122660"/>
                  <a:pt x="3416016" y="5138966"/>
                  <a:pt x="3421451" y="5141683"/>
                </a:cubicBezTo>
                <a:cubicBezTo>
                  <a:pt x="3416016" y="5147118"/>
                  <a:pt x="3410580" y="5125378"/>
                  <a:pt x="3402428" y="5125378"/>
                </a:cubicBezTo>
                <a:cubicBezTo>
                  <a:pt x="3388840" y="5136248"/>
                  <a:pt x="3402428" y="5163424"/>
                  <a:pt x="3407863" y="5174294"/>
                </a:cubicBezTo>
                <a:cubicBezTo>
                  <a:pt x="3402428" y="5187882"/>
                  <a:pt x="3396993" y="5166141"/>
                  <a:pt x="3383405" y="5168859"/>
                </a:cubicBezTo>
                <a:cubicBezTo>
                  <a:pt x="3391557" y="5193317"/>
                  <a:pt x="3424168" y="5196035"/>
                  <a:pt x="3429604" y="5223211"/>
                </a:cubicBezTo>
                <a:cubicBezTo>
                  <a:pt x="3413298" y="5217776"/>
                  <a:pt x="3391557" y="5220493"/>
                  <a:pt x="3377969" y="5225928"/>
                </a:cubicBezTo>
                <a:cubicBezTo>
                  <a:pt x="3372534" y="5223211"/>
                  <a:pt x="3377969" y="5209623"/>
                  <a:pt x="3372534" y="5206905"/>
                </a:cubicBezTo>
                <a:cubicBezTo>
                  <a:pt x="3364381" y="5212340"/>
                  <a:pt x="3361664" y="5225928"/>
                  <a:pt x="3358946" y="5236799"/>
                </a:cubicBezTo>
                <a:cubicBezTo>
                  <a:pt x="3342641" y="5236799"/>
                  <a:pt x="3326335" y="5239516"/>
                  <a:pt x="3312747" y="5242234"/>
                </a:cubicBezTo>
                <a:lnTo>
                  <a:pt x="3326335" y="5215058"/>
                </a:lnTo>
                <a:lnTo>
                  <a:pt x="3304594" y="5160706"/>
                </a:lnTo>
                <a:cubicBezTo>
                  <a:pt x="3312747" y="5133530"/>
                  <a:pt x="3299159" y="5138966"/>
                  <a:pt x="3310030" y="5114507"/>
                </a:cubicBezTo>
                <a:lnTo>
                  <a:pt x="3288289" y="5098202"/>
                </a:lnTo>
                <a:lnTo>
                  <a:pt x="3293724" y="5084614"/>
                </a:lnTo>
                <a:lnTo>
                  <a:pt x="3288289" y="5068308"/>
                </a:lnTo>
                <a:cubicBezTo>
                  <a:pt x="3263830" y="5076461"/>
                  <a:pt x="3263830" y="5079179"/>
                  <a:pt x="3250242" y="5100919"/>
                </a:cubicBezTo>
                <a:lnTo>
                  <a:pt x="3228502" y="5081896"/>
                </a:lnTo>
                <a:cubicBezTo>
                  <a:pt x="3233937" y="5071026"/>
                  <a:pt x="3233937" y="5068308"/>
                  <a:pt x="3233937" y="5068308"/>
                </a:cubicBezTo>
                <a:cubicBezTo>
                  <a:pt x="3244807" y="5052003"/>
                  <a:pt x="3263830" y="5046568"/>
                  <a:pt x="3291006" y="5038415"/>
                </a:cubicBezTo>
                <a:cubicBezTo>
                  <a:pt x="3329053" y="5060155"/>
                  <a:pt x="3358946" y="5092767"/>
                  <a:pt x="3418733" y="5092767"/>
                </a:cubicBezTo>
                <a:cubicBezTo>
                  <a:pt x="3418733" y="5013957"/>
                  <a:pt x="3326335" y="5019392"/>
                  <a:pt x="3269266" y="5035697"/>
                </a:cubicBezTo>
                <a:cubicBezTo>
                  <a:pt x="3274701" y="5027544"/>
                  <a:pt x="3271983" y="5022109"/>
                  <a:pt x="3274701" y="5013957"/>
                </a:cubicBezTo>
                <a:cubicBezTo>
                  <a:pt x="3318182" y="4992216"/>
                  <a:pt x="3405145" y="5024827"/>
                  <a:pt x="3448627" y="4989498"/>
                </a:cubicBezTo>
                <a:cubicBezTo>
                  <a:pt x="3459497" y="4997651"/>
                  <a:pt x="3459497" y="5013957"/>
                  <a:pt x="3473085" y="5019392"/>
                </a:cubicBezTo>
                <a:cubicBezTo>
                  <a:pt x="3492108" y="5003086"/>
                  <a:pt x="3486673" y="4959604"/>
                  <a:pt x="3489391" y="4932428"/>
                </a:cubicBezTo>
                <a:close/>
                <a:moveTo>
                  <a:pt x="3826373" y="4929710"/>
                </a:moveTo>
                <a:cubicBezTo>
                  <a:pt x="3834526" y="4948733"/>
                  <a:pt x="3834526" y="4932428"/>
                  <a:pt x="3826373" y="4951451"/>
                </a:cubicBezTo>
                <a:lnTo>
                  <a:pt x="3848114" y="4951451"/>
                </a:lnTo>
                <a:cubicBezTo>
                  <a:pt x="3839961" y="4932428"/>
                  <a:pt x="3839961" y="4948733"/>
                  <a:pt x="3848114" y="4929710"/>
                </a:cubicBezTo>
                <a:close/>
                <a:moveTo>
                  <a:pt x="3739410" y="4929710"/>
                </a:moveTo>
                <a:lnTo>
                  <a:pt x="3742128" y="4946016"/>
                </a:lnTo>
                <a:lnTo>
                  <a:pt x="3755715" y="4932428"/>
                </a:lnTo>
                <a:close/>
                <a:moveTo>
                  <a:pt x="3445910" y="4916124"/>
                </a:moveTo>
                <a:cubicBezTo>
                  <a:pt x="3448628" y="4935147"/>
                  <a:pt x="3440475" y="4943300"/>
                  <a:pt x="3443193" y="4962323"/>
                </a:cubicBezTo>
                <a:cubicBezTo>
                  <a:pt x="3426887" y="4948735"/>
                  <a:pt x="3391557" y="4951452"/>
                  <a:pt x="3372534" y="4962323"/>
                </a:cubicBezTo>
                <a:cubicBezTo>
                  <a:pt x="3367099" y="4954170"/>
                  <a:pt x="3364381" y="4943300"/>
                  <a:pt x="3361664" y="4932429"/>
                </a:cubicBezTo>
                <a:cubicBezTo>
                  <a:pt x="3388840" y="4924277"/>
                  <a:pt x="3416017" y="4916124"/>
                  <a:pt x="3445910" y="4916124"/>
                </a:cubicBezTo>
                <a:close/>
                <a:moveTo>
                  <a:pt x="4030194" y="4907969"/>
                </a:moveTo>
                <a:lnTo>
                  <a:pt x="4046499" y="4924275"/>
                </a:lnTo>
                <a:lnTo>
                  <a:pt x="4054652" y="4907969"/>
                </a:lnTo>
                <a:close/>
                <a:moveTo>
                  <a:pt x="3763868" y="4899816"/>
                </a:moveTo>
                <a:cubicBezTo>
                  <a:pt x="3780174" y="4924275"/>
                  <a:pt x="3777456" y="4905252"/>
                  <a:pt x="3780174" y="4937863"/>
                </a:cubicBezTo>
                <a:lnTo>
                  <a:pt x="3801915" y="4929710"/>
                </a:lnTo>
                <a:lnTo>
                  <a:pt x="3801915" y="4946016"/>
                </a:lnTo>
                <a:cubicBezTo>
                  <a:pt x="3834526" y="4921557"/>
                  <a:pt x="3804632" y="4946016"/>
                  <a:pt x="3818220" y="4916122"/>
                </a:cubicBezTo>
                <a:cubicBezTo>
                  <a:pt x="3774739" y="4910687"/>
                  <a:pt x="3807350" y="4902534"/>
                  <a:pt x="3763868" y="4899816"/>
                </a:cubicBezTo>
                <a:close/>
                <a:moveTo>
                  <a:pt x="3244809" y="4894383"/>
                </a:moveTo>
                <a:cubicBezTo>
                  <a:pt x="3255679" y="4907970"/>
                  <a:pt x="3258397" y="4929711"/>
                  <a:pt x="3274702" y="4935146"/>
                </a:cubicBezTo>
                <a:cubicBezTo>
                  <a:pt x="3266549" y="4954169"/>
                  <a:pt x="3252961" y="4967757"/>
                  <a:pt x="3244809" y="4986781"/>
                </a:cubicBezTo>
                <a:cubicBezTo>
                  <a:pt x="3231221" y="4965040"/>
                  <a:pt x="3223067" y="4937864"/>
                  <a:pt x="3204044" y="4924276"/>
                </a:cubicBezTo>
                <a:lnTo>
                  <a:pt x="3212196" y="4905253"/>
                </a:lnTo>
                <a:lnTo>
                  <a:pt x="3209479" y="4905253"/>
                </a:lnTo>
                <a:cubicBezTo>
                  <a:pt x="3217632" y="4897100"/>
                  <a:pt x="3228503" y="4891665"/>
                  <a:pt x="3244809" y="4894383"/>
                </a:cubicBezTo>
                <a:close/>
                <a:moveTo>
                  <a:pt x="3630706" y="4869925"/>
                </a:moveTo>
                <a:cubicBezTo>
                  <a:pt x="3638860" y="4869925"/>
                  <a:pt x="3649731" y="4869925"/>
                  <a:pt x="3655166" y="4872642"/>
                </a:cubicBezTo>
                <a:cubicBezTo>
                  <a:pt x="3655166" y="4875360"/>
                  <a:pt x="3655166" y="4880795"/>
                  <a:pt x="3655166" y="4883513"/>
                </a:cubicBezTo>
                <a:cubicBezTo>
                  <a:pt x="3652448" y="4883513"/>
                  <a:pt x="3652448" y="4883513"/>
                  <a:pt x="3649731" y="4883513"/>
                </a:cubicBezTo>
                <a:cubicBezTo>
                  <a:pt x="3647013" y="4883513"/>
                  <a:pt x="3641578" y="4888948"/>
                  <a:pt x="3638860" y="4891666"/>
                </a:cubicBezTo>
                <a:cubicBezTo>
                  <a:pt x="3636142" y="4888948"/>
                  <a:pt x="3630706" y="4886230"/>
                  <a:pt x="3627989" y="4883513"/>
                </a:cubicBezTo>
                <a:lnTo>
                  <a:pt x="3633424" y="4875360"/>
                </a:lnTo>
                <a:close/>
                <a:moveTo>
                  <a:pt x="4032911" y="4867205"/>
                </a:moveTo>
                <a:lnTo>
                  <a:pt x="4008453" y="4888946"/>
                </a:lnTo>
                <a:lnTo>
                  <a:pt x="4049217" y="4891664"/>
                </a:lnTo>
                <a:cubicBezTo>
                  <a:pt x="4062805" y="4891664"/>
                  <a:pt x="4062805" y="4888946"/>
                  <a:pt x="4070958" y="4883511"/>
                </a:cubicBezTo>
                <a:cubicBezTo>
                  <a:pt x="4054652" y="4859052"/>
                  <a:pt x="4076393" y="4869923"/>
                  <a:pt x="4041064" y="4867205"/>
                </a:cubicBezTo>
                <a:lnTo>
                  <a:pt x="4041064" y="4883511"/>
                </a:lnTo>
                <a:close/>
                <a:moveTo>
                  <a:pt x="3772021" y="4853617"/>
                </a:moveTo>
                <a:cubicBezTo>
                  <a:pt x="3758433" y="4869923"/>
                  <a:pt x="3747563" y="4875358"/>
                  <a:pt x="3772021" y="4891664"/>
                </a:cubicBezTo>
                <a:lnTo>
                  <a:pt x="3777456" y="4883511"/>
                </a:lnTo>
                <a:close/>
                <a:moveTo>
                  <a:pt x="4106453" y="4848351"/>
                </a:moveTo>
                <a:lnTo>
                  <a:pt x="4104248" y="4849201"/>
                </a:lnTo>
                <a:cubicBezTo>
                  <a:pt x="4096096" y="4852258"/>
                  <a:pt x="4087263" y="4854976"/>
                  <a:pt x="4076393" y="4856335"/>
                </a:cubicBezTo>
                <a:cubicBezTo>
                  <a:pt x="4087263" y="4859053"/>
                  <a:pt x="4097454" y="4855656"/>
                  <a:pt x="4106287" y="4853618"/>
                </a:cubicBezTo>
                <a:lnTo>
                  <a:pt x="4111267" y="4853165"/>
                </a:lnTo>
                <a:close/>
                <a:moveTo>
                  <a:pt x="4253036" y="4848184"/>
                </a:moveTo>
                <a:cubicBezTo>
                  <a:pt x="4255754" y="4848184"/>
                  <a:pt x="4255754" y="4850901"/>
                  <a:pt x="4255754" y="4853619"/>
                </a:cubicBezTo>
                <a:cubicBezTo>
                  <a:pt x="4255754" y="4869925"/>
                  <a:pt x="4239448" y="4867207"/>
                  <a:pt x="4225860" y="4869925"/>
                </a:cubicBezTo>
                <a:lnTo>
                  <a:pt x="4217707" y="4883512"/>
                </a:lnTo>
                <a:cubicBezTo>
                  <a:pt x="4214989" y="4880795"/>
                  <a:pt x="4212271" y="4878077"/>
                  <a:pt x="4209554" y="4878077"/>
                </a:cubicBezTo>
                <a:cubicBezTo>
                  <a:pt x="4223143" y="4867207"/>
                  <a:pt x="4239448" y="4856337"/>
                  <a:pt x="4253036" y="4848184"/>
                </a:cubicBezTo>
                <a:close/>
                <a:moveTo>
                  <a:pt x="4113217" y="4845742"/>
                </a:moveTo>
                <a:lnTo>
                  <a:pt x="4106887" y="4848183"/>
                </a:lnTo>
                <a:lnTo>
                  <a:pt x="4114438" y="4848183"/>
                </a:lnTo>
                <a:close/>
                <a:moveTo>
                  <a:pt x="3532873" y="4842748"/>
                </a:moveTo>
                <a:cubicBezTo>
                  <a:pt x="3535590" y="4842748"/>
                  <a:pt x="3538308" y="4842748"/>
                  <a:pt x="3538308" y="4845465"/>
                </a:cubicBezTo>
                <a:cubicBezTo>
                  <a:pt x="3549178" y="4842748"/>
                  <a:pt x="3541025" y="4850901"/>
                  <a:pt x="3541025" y="4856336"/>
                </a:cubicBezTo>
                <a:cubicBezTo>
                  <a:pt x="3551896" y="4859053"/>
                  <a:pt x="3557331" y="4856336"/>
                  <a:pt x="3565484" y="4867206"/>
                </a:cubicBezTo>
                <a:cubicBezTo>
                  <a:pt x="3562766" y="4886229"/>
                  <a:pt x="3562766" y="4897100"/>
                  <a:pt x="3565484" y="4916123"/>
                </a:cubicBezTo>
                <a:cubicBezTo>
                  <a:pt x="3579072" y="4916123"/>
                  <a:pt x="3579072" y="4899817"/>
                  <a:pt x="3581789" y="4886229"/>
                </a:cubicBezTo>
                <a:cubicBezTo>
                  <a:pt x="3600812" y="4902535"/>
                  <a:pt x="3619836" y="4921558"/>
                  <a:pt x="3644294" y="4935146"/>
                </a:cubicBezTo>
                <a:cubicBezTo>
                  <a:pt x="3647011" y="4946016"/>
                  <a:pt x="3641576" y="4951451"/>
                  <a:pt x="3638859" y="4956887"/>
                </a:cubicBezTo>
                <a:lnTo>
                  <a:pt x="3637953" y="4955830"/>
                </a:lnTo>
                <a:lnTo>
                  <a:pt x="3638859" y="4954169"/>
                </a:lnTo>
                <a:cubicBezTo>
                  <a:pt x="3637500" y="4952810"/>
                  <a:pt x="3636821" y="4953490"/>
                  <a:pt x="3636821" y="4954509"/>
                </a:cubicBezTo>
                <a:lnTo>
                  <a:pt x="3637953" y="4955830"/>
                </a:lnTo>
                <a:lnTo>
                  <a:pt x="3630706" y="4969116"/>
                </a:lnTo>
                <a:cubicBezTo>
                  <a:pt x="3628668" y="4974551"/>
                  <a:pt x="3626630" y="4979986"/>
                  <a:pt x="3622553" y="4984062"/>
                </a:cubicBezTo>
                <a:cubicBezTo>
                  <a:pt x="3625271" y="4989498"/>
                  <a:pt x="3633424" y="4989498"/>
                  <a:pt x="3638859" y="4994933"/>
                </a:cubicBezTo>
                <a:cubicBezTo>
                  <a:pt x="3636141" y="5008521"/>
                  <a:pt x="3636141" y="5022109"/>
                  <a:pt x="3633424" y="5038414"/>
                </a:cubicBezTo>
                <a:lnTo>
                  <a:pt x="3627988" y="5030261"/>
                </a:lnTo>
                <a:lnTo>
                  <a:pt x="3611683" y="5046567"/>
                </a:lnTo>
                <a:lnTo>
                  <a:pt x="3630706" y="5046567"/>
                </a:lnTo>
                <a:cubicBezTo>
                  <a:pt x="3630706" y="5049285"/>
                  <a:pt x="3630706" y="5052002"/>
                  <a:pt x="3630706" y="5054720"/>
                </a:cubicBezTo>
                <a:lnTo>
                  <a:pt x="3627988" y="5054720"/>
                </a:lnTo>
                <a:lnTo>
                  <a:pt x="3627988" y="5057437"/>
                </a:lnTo>
                <a:cubicBezTo>
                  <a:pt x="3627988" y="5062873"/>
                  <a:pt x="3625271" y="5071025"/>
                  <a:pt x="3625271" y="5076460"/>
                </a:cubicBezTo>
                <a:lnTo>
                  <a:pt x="3611683" y="5062873"/>
                </a:lnTo>
                <a:lnTo>
                  <a:pt x="3598095" y="5071025"/>
                </a:lnTo>
                <a:lnTo>
                  <a:pt x="3598095" y="5054720"/>
                </a:lnTo>
                <a:lnTo>
                  <a:pt x="3581789" y="5054720"/>
                </a:lnTo>
                <a:lnTo>
                  <a:pt x="3587224" y="5041132"/>
                </a:lnTo>
                <a:lnTo>
                  <a:pt x="3584507" y="5016673"/>
                </a:lnTo>
                <a:lnTo>
                  <a:pt x="3560049" y="5024826"/>
                </a:lnTo>
                <a:lnTo>
                  <a:pt x="3560049" y="5041132"/>
                </a:lnTo>
                <a:lnTo>
                  <a:pt x="3546461" y="5032979"/>
                </a:lnTo>
                <a:cubicBezTo>
                  <a:pt x="3532873" y="5065590"/>
                  <a:pt x="3551896" y="5032979"/>
                  <a:pt x="3538308" y="5062873"/>
                </a:cubicBezTo>
                <a:cubicBezTo>
                  <a:pt x="3530155" y="5032979"/>
                  <a:pt x="3524720" y="5000368"/>
                  <a:pt x="3527437" y="4967757"/>
                </a:cubicBezTo>
                <a:cubicBezTo>
                  <a:pt x="3483956" y="4935146"/>
                  <a:pt x="3562766" y="4891664"/>
                  <a:pt x="3519285" y="4861771"/>
                </a:cubicBezTo>
                <a:cubicBezTo>
                  <a:pt x="3522002" y="4848183"/>
                  <a:pt x="3527437" y="4867206"/>
                  <a:pt x="3532873" y="4859053"/>
                </a:cubicBezTo>
                <a:cubicBezTo>
                  <a:pt x="3535590" y="4850901"/>
                  <a:pt x="3527437" y="4848183"/>
                  <a:pt x="3532873" y="4842748"/>
                </a:cubicBezTo>
                <a:close/>
                <a:moveTo>
                  <a:pt x="3473086" y="4834596"/>
                </a:moveTo>
                <a:cubicBezTo>
                  <a:pt x="3486674" y="4842749"/>
                  <a:pt x="3481239" y="4867207"/>
                  <a:pt x="3478521" y="4883512"/>
                </a:cubicBezTo>
                <a:cubicBezTo>
                  <a:pt x="3467650" y="4875360"/>
                  <a:pt x="3470367" y="4853619"/>
                  <a:pt x="3462215" y="4842749"/>
                </a:cubicBezTo>
                <a:cubicBezTo>
                  <a:pt x="3464932" y="4831878"/>
                  <a:pt x="3470367" y="4845466"/>
                  <a:pt x="3473086" y="4834596"/>
                </a:cubicBezTo>
                <a:close/>
                <a:moveTo>
                  <a:pt x="3489391" y="4829161"/>
                </a:moveTo>
                <a:cubicBezTo>
                  <a:pt x="3502980" y="4829161"/>
                  <a:pt x="3511133" y="4845466"/>
                  <a:pt x="3508416" y="4853619"/>
                </a:cubicBezTo>
                <a:cubicBezTo>
                  <a:pt x="3502980" y="4853619"/>
                  <a:pt x="3500263" y="4848184"/>
                  <a:pt x="3492109" y="4850902"/>
                </a:cubicBezTo>
                <a:cubicBezTo>
                  <a:pt x="3494827" y="4840031"/>
                  <a:pt x="3483956" y="4834596"/>
                  <a:pt x="3489391" y="4829161"/>
                </a:cubicBezTo>
                <a:close/>
                <a:moveTo>
                  <a:pt x="3918772" y="4826441"/>
                </a:moveTo>
                <a:lnTo>
                  <a:pt x="3902467" y="4842747"/>
                </a:lnTo>
                <a:lnTo>
                  <a:pt x="3926925" y="4845464"/>
                </a:lnTo>
                <a:close/>
                <a:moveTo>
                  <a:pt x="3425895" y="4810810"/>
                </a:moveTo>
                <a:cubicBezTo>
                  <a:pt x="3462641" y="4814934"/>
                  <a:pt x="3463235" y="4877056"/>
                  <a:pt x="3451346" y="4907969"/>
                </a:cubicBezTo>
                <a:cubicBezTo>
                  <a:pt x="3416017" y="4907969"/>
                  <a:pt x="3377970" y="4921557"/>
                  <a:pt x="3353512" y="4921557"/>
                </a:cubicBezTo>
                <a:cubicBezTo>
                  <a:pt x="3350794" y="4902534"/>
                  <a:pt x="3394275" y="4905252"/>
                  <a:pt x="3410582" y="4888946"/>
                </a:cubicBezTo>
                <a:cubicBezTo>
                  <a:pt x="3402428" y="4875358"/>
                  <a:pt x="3375252" y="4880793"/>
                  <a:pt x="3361664" y="4883511"/>
                </a:cubicBezTo>
                <a:cubicBezTo>
                  <a:pt x="3367100" y="4856335"/>
                  <a:pt x="3391558" y="4837312"/>
                  <a:pt x="3407864" y="4812853"/>
                </a:cubicBezTo>
                <a:cubicBezTo>
                  <a:pt x="3414658" y="4810815"/>
                  <a:pt x="3420645" y="4810221"/>
                  <a:pt x="3425895" y="4810810"/>
                </a:cubicBezTo>
                <a:close/>
                <a:moveTo>
                  <a:pt x="3883443" y="4807418"/>
                </a:moveTo>
                <a:lnTo>
                  <a:pt x="3899749" y="4823724"/>
                </a:lnTo>
                <a:lnTo>
                  <a:pt x="3910619" y="4807418"/>
                </a:lnTo>
                <a:close/>
                <a:moveTo>
                  <a:pt x="4350870" y="4799267"/>
                </a:moveTo>
                <a:lnTo>
                  <a:pt x="4386198" y="4837313"/>
                </a:lnTo>
                <a:lnTo>
                  <a:pt x="4369893" y="4837313"/>
                </a:lnTo>
                <a:lnTo>
                  <a:pt x="4369893" y="4867207"/>
                </a:lnTo>
                <a:cubicBezTo>
                  <a:pt x="4337281" y="4864489"/>
                  <a:pt x="4356305" y="4867207"/>
                  <a:pt x="4331845" y="4850901"/>
                </a:cubicBezTo>
                <a:cubicBezTo>
                  <a:pt x="4337281" y="4834595"/>
                  <a:pt x="4337281" y="4829160"/>
                  <a:pt x="4331845" y="4812855"/>
                </a:cubicBezTo>
                <a:cubicBezTo>
                  <a:pt x="4288364" y="4845466"/>
                  <a:pt x="4353587" y="4812855"/>
                  <a:pt x="4310105" y="4842748"/>
                </a:cubicBezTo>
                <a:lnTo>
                  <a:pt x="4301952" y="4837313"/>
                </a:lnTo>
                <a:lnTo>
                  <a:pt x="4312822" y="4812855"/>
                </a:lnTo>
                <a:cubicBezTo>
                  <a:pt x="4326410" y="4807420"/>
                  <a:pt x="4337281" y="4804702"/>
                  <a:pt x="4350870" y="4799267"/>
                </a:cubicBezTo>
                <a:close/>
                <a:moveTo>
                  <a:pt x="3464934" y="4782962"/>
                </a:moveTo>
                <a:cubicBezTo>
                  <a:pt x="3473087" y="4782962"/>
                  <a:pt x="3473087" y="4801985"/>
                  <a:pt x="3470369" y="4807420"/>
                </a:cubicBezTo>
                <a:cubicBezTo>
                  <a:pt x="3462217" y="4807420"/>
                  <a:pt x="3459499" y="4799267"/>
                  <a:pt x="3448628" y="4801985"/>
                </a:cubicBezTo>
                <a:cubicBezTo>
                  <a:pt x="3448628" y="4791114"/>
                  <a:pt x="3467652" y="4796550"/>
                  <a:pt x="3464934" y="4782962"/>
                </a:cubicBezTo>
                <a:close/>
                <a:moveTo>
                  <a:pt x="3649730" y="4777526"/>
                </a:moveTo>
                <a:lnTo>
                  <a:pt x="3633424" y="4785679"/>
                </a:lnTo>
                <a:lnTo>
                  <a:pt x="3641577" y="4799267"/>
                </a:lnTo>
                <a:lnTo>
                  <a:pt x="3657883" y="4791114"/>
                </a:lnTo>
                <a:close/>
                <a:moveTo>
                  <a:pt x="3695928" y="4769372"/>
                </a:moveTo>
                <a:lnTo>
                  <a:pt x="3687776" y="4777525"/>
                </a:lnTo>
                <a:lnTo>
                  <a:pt x="3695928" y="4791113"/>
                </a:lnTo>
                <a:lnTo>
                  <a:pt x="3717669" y="4782960"/>
                </a:lnTo>
                <a:close/>
                <a:moveTo>
                  <a:pt x="3386123" y="4742197"/>
                </a:moveTo>
                <a:cubicBezTo>
                  <a:pt x="3388841" y="4744914"/>
                  <a:pt x="3394275" y="4747632"/>
                  <a:pt x="3396993" y="4750349"/>
                </a:cubicBezTo>
                <a:cubicBezTo>
                  <a:pt x="3382727" y="4770731"/>
                  <a:pt x="3357758" y="4795699"/>
                  <a:pt x="3327822" y="4801177"/>
                </a:cubicBezTo>
                <a:lnTo>
                  <a:pt x="3307995" y="4799970"/>
                </a:lnTo>
                <a:lnTo>
                  <a:pt x="3315078" y="4786399"/>
                </a:lnTo>
                <a:lnTo>
                  <a:pt x="3339245" y="4769712"/>
                </a:lnTo>
                <a:cubicBezTo>
                  <a:pt x="3354191" y="4760541"/>
                  <a:pt x="3369817" y="4751709"/>
                  <a:pt x="3386123" y="4742197"/>
                </a:cubicBezTo>
                <a:close/>
                <a:moveTo>
                  <a:pt x="3660600" y="4731327"/>
                </a:moveTo>
                <a:cubicBezTo>
                  <a:pt x="3666035" y="4761220"/>
                  <a:pt x="3663318" y="4780243"/>
                  <a:pt x="3660600" y="4807419"/>
                </a:cubicBezTo>
                <a:lnTo>
                  <a:pt x="3657883" y="4807419"/>
                </a:lnTo>
                <a:lnTo>
                  <a:pt x="3657883" y="4810137"/>
                </a:lnTo>
                <a:cubicBezTo>
                  <a:pt x="3633424" y="4807419"/>
                  <a:pt x="3584506" y="4818290"/>
                  <a:pt x="3565483" y="4821007"/>
                </a:cubicBezTo>
                <a:cubicBezTo>
                  <a:pt x="3562766" y="4801984"/>
                  <a:pt x="3587224" y="4807419"/>
                  <a:pt x="3595377" y="4804702"/>
                </a:cubicBezTo>
                <a:cubicBezTo>
                  <a:pt x="3625271" y="4793831"/>
                  <a:pt x="3644295" y="4763938"/>
                  <a:pt x="3660600" y="4731327"/>
                </a:cubicBezTo>
                <a:close/>
                <a:moveTo>
                  <a:pt x="3443193" y="4723174"/>
                </a:moveTo>
                <a:cubicBezTo>
                  <a:pt x="3459499" y="4723174"/>
                  <a:pt x="3454064" y="4747632"/>
                  <a:pt x="3464934" y="4753067"/>
                </a:cubicBezTo>
                <a:cubicBezTo>
                  <a:pt x="3459499" y="4763938"/>
                  <a:pt x="3454064" y="4774808"/>
                  <a:pt x="3451346" y="4788396"/>
                </a:cubicBezTo>
                <a:cubicBezTo>
                  <a:pt x="3440476" y="4793831"/>
                  <a:pt x="3429604" y="4793831"/>
                  <a:pt x="3421452" y="4788396"/>
                </a:cubicBezTo>
                <a:cubicBezTo>
                  <a:pt x="3424169" y="4763938"/>
                  <a:pt x="3440476" y="4750350"/>
                  <a:pt x="3443193" y="4723174"/>
                </a:cubicBezTo>
                <a:close/>
                <a:moveTo>
                  <a:pt x="3420773" y="4654894"/>
                </a:moveTo>
                <a:cubicBezTo>
                  <a:pt x="3424849" y="4654554"/>
                  <a:pt x="3428246" y="4656593"/>
                  <a:pt x="3426887" y="4663387"/>
                </a:cubicBezTo>
                <a:cubicBezTo>
                  <a:pt x="3424170" y="4668822"/>
                  <a:pt x="3416017" y="4663387"/>
                  <a:pt x="3410582" y="4660669"/>
                </a:cubicBezTo>
                <a:cubicBezTo>
                  <a:pt x="3411941" y="4657951"/>
                  <a:pt x="3416696" y="4655234"/>
                  <a:pt x="3420773" y="4654894"/>
                </a:cubicBezTo>
                <a:close/>
                <a:moveTo>
                  <a:pt x="4361739" y="4652517"/>
                </a:moveTo>
                <a:cubicBezTo>
                  <a:pt x="4372610" y="4676975"/>
                  <a:pt x="4359021" y="4671540"/>
                  <a:pt x="4369893" y="4690563"/>
                </a:cubicBezTo>
                <a:cubicBezTo>
                  <a:pt x="4388916" y="4701433"/>
                  <a:pt x="4372610" y="4690563"/>
                  <a:pt x="4394351" y="4698716"/>
                </a:cubicBezTo>
                <a:cubicBezTo>
                  <a:pt x="4386198" y="4709586"/>
                  <a:pt x="4386198" y="4709586"/>
                  <a:pt x="4383481" y="4715021"/>
                </a:cubicBezTo>
                <a:cubicBezTo>
                  <a:pt x="4372610" y="4698716"/>
                  <a:pt x="4361739" y="4682410"/>
                  <a:pt x="4356304" y="4657952"/>
                </a:cubicBezTo>
                <a:close/>
                <a:moveTo>
                  <a:pt x="4356304" y="4603600"/>
                </a:moveTo>
                <a:lnTo>
                  <a:pt x="4364457" y="4614470"/>
                </a:lnTo>
                <a:lnTo>
                  <a:pt x="4356304" y="4625341"/>
                </a:lnTo>
                <a:lnTo>
                  <a:pt x="4339998" y="4611753"/>
                </a:lnTo>
                <a:cubicBezTo>
                  <a:pt x="4345433" y="4609035"/>
                  <a:pt x="4350869" y="4606317"/>
                  <a:pt x="4356304" y="4603600"/>
                </a:cubicBezTo>
                <a:close/>
                <a:moveTo>
                  <a:pt x="4331846" y="4590012"/>
                </a:moveTo>
                <a:cubicBezTo>
                  <a:pt x="4337282" y="4595447"/>
                  <a:pt x="4331846" y="4600882"/>
                  <a:pt x="4323694" y="4600882"/>
                </a:cubicBezTo>
                <a:cubicBezTo>
                  <a:pt x="4320976" y="4595447"/>
                  <a:pt x="4323694" y="4590012"/>
                  <a:pt x="4331846" y="4590012"/>
                </a:cubicBezTo>
                <a:close/>
                <a:moveTo>
                  <a:pt x="3926924" y="4587295"/>
                </a:moveTo>
                <a:lnTo>
                  <a:pt x="3948665" y="4587295"/>
                </a:lnTo>
                <a:cubicBezTo>
                  <a:pt x="3964971" y="4609036"/>
                  <a:pt x="3989429" y="4628059"/>
                  <a:pt x="4000300" y="4655235"/>
                </a:cubicBezTo>
                <a:cubicBezTo>
                  <a:pt x="3970406" y="4638929"/>
                  <a:pt x="3943229" y="4617188"/>
                  <a:pt x="3926924" y="4587295"/>
                </a:cubicBezTo>
                <a:close/>
                <a:moveTo>
                  <a:pt x="3038271" y="4587294"/>
                </a:moveTo>
                <a:lnTo>
                  <a:pt x="3021965" y="4595447"/>
                </a:lnTo>
                <a:lnTo>
                  <a:pt x="3019247" y="4592729"/>
                </a:lnTo>
                <a:cubicBezTo>
                  <a:pt x="2845321" y="4742197"/>
                  <a:pt x="2617044" y="4823725"/>
                  <a:pt x="2396919" y="4891665"/>
                </a:cubicBezTo>
                <a:cubicBezTo>
                  <a:pt x="2309955" y="4916123"/>
                  <a:pt x="2214839" y="4918840"/>
                  <a:pt x="2122441" y="4921558"/>
                </a:cubicBezTo>
                <a:cubicBezTo>
                  <a:pt x="2030043" y="4924276"/>
                  <a:pt x="1940362" y="4921558"/>
                  <a:pt x="1856117" y="4940581"/>
                </a:cubicBezTo>
                <a:lnTo>
                  <a:pt x="1853399" y="4965039"/>
                </a:lnTo>
                <a:lnTo>
                  <a:pt x="1872422" y="4959604"/>
                </a:lnTo>
                <a:cubicBezTo>
                  <a:pt x="1934927" y="4973192"/>
                  <a:pt x="1989279" y="4989498"/>
                  <a:pt x="2043631" y="5000368"/>
                </a:cubicBezTo>
                <a:cubicBezTo>
                  <a:pt x="2038196" y="5003086"/>
                  <a:pt x="2035478" y="5003086"/>
                  <a:pt x="2032760" y="5003086"/>
                </a:cubicBezTo>
                <a:cubicBezTo>
                  <a:pt x="2038196" y="5003086"/>
                  <a:pt x="2043631" y="5003086"/>
                  <a:pt x="2049066" y="5003086"/>
                </a:cubicBezTo>
                <a:cubicBezTo>
                  <a:pt x="2087112" y="5008521"/>
                  <a:pt x="2125159" y="5011238"/>
                  <a:pt x="2168640" y="5003086"/>
                </a:cubicBezTo>
                <a:cubicBezTo>
                  <a:pt x="2187663" y="4997650"/>
                  <a:pt x="2209404" y="4994933"/>
                  <a:pt x="2228427" y="4989498"/>
                </a:cubicBezTo>
                <a:cubicBezTo>
                  <a:pt x="2459424" y="4962322"/>
                  <a:pt x="2690419" y="4897100"/>
                  <a:pt x="2858909" y="4772090"/>
                </a:cubicBezTo>
                <a:cubicBezTo>
                  <a:pt x="2880651" y="4758502"/>
                  <a:pt x="2902391" y="4744914"/>
                  <a:pt x="2926849" y="4720456"/>
                </a:cubicBezTo>
                <a:cubicBezTo>
                  <a:pt x="2924131" y="4717738"/>
                  <a:pt x="2921415" y="4717738"/>
                  <a:pt x="2907827" y="4715021"/>
                </a:cubicBezTo>
                <a:lnTo>
                  <a:pt x="2910543" y="4682410"/>
                </a:lnTo>
                <a:lnTo>
                  <a:pt x="2932285" y="4706868"/>
                </a:lnTo>
                <a:lnTo>
                  <a:pt x="2951307" y="4704150"/>
                </a:lnTo>
                <a:cubicBezTo>
                  <a:pt x="2956743" y="4701433"/>
                  <a:pt x="2959461" y="4698715"/>
                  <a:pt x="2962179" y="4695997"/>
                </a:cubicBezTo>
                <a:lnTo>
                  <a:pt x="2956743" y="4687845"/>
                </a:lnTo>
                <a:lnTo>
                  <a:pt x="2973049" y="4679692"/>
                </a:lnTo>
                <a:lnTo>
                  <a:pt x="2956743" y="4655234"/>
                </a:lnTo>
                <a:lnTo>
                  <a:pt x="2986637" y="4663386"/>
                </a:lnTo>
                <a:cubicBezTo>
                  <a:pt x="2994789" y="4644363"/>
                  <a:pt x="2994789" y="4660669"/>
                  <a:pt x="2986637" y="4641646"/>
                </a:cubicBezTo>
                <a:lnTo>
                  <a:pt x="3008377" y="4641646"/>
                </a:lnTo>
                <a:cubicBezTo>
                  <a:pt x="3030119" y="4641646"/>
                  <a:pt x="3021965" y="4636211"/>
                  <a:pt x="3035553" y="4630775"/>
                </a:cubicBezTo>
                <a:cubicBezTo>
                  <a:pt x="3040989" y="4622623"/>
                  <a:pt x="3049141" y="4617187"/>
                  <a:pt x="3057293" y="4609035"/>
                </a:cubicBezTo>
                <a:close/>
                <a:moveTo>
                  <a:pt x="4364456" y="4570989"/>
                </a:moveTo>
                <a:cubicBezTo>
                  <a:pt x="4383480" y="4579142"/>
                  <a:pt x="4367174" y="4579142"/>
                  <a:pt x="4386198" y="4570989"/>
                </a:cubicBezTo>
                <a:lnTo>
                  <a:pt x="4402504" y="4592730"/>
                </a:lnTo>
                <a:cubicBezTo>
                  <a:pt x="4424244" y="4581859"/>
                  <a:pt x="4410656" y="4579142"/>
                  <a:pt x="4426962" y="4600882"/>
                </a:cubicBezTo>
                <a:cubicBezTo>
                  <a:pt x="4426962" y="4600882"/>
                  <a:pt x="4410656" y="4609035"/>
                  <a:pt x="4410656" y="4609035"/>
                </a:cubicBezTo>
                <a:cubicBezTo>
                  <a:pt x="4383480" y="4609035"/>
                  <a:pt x="4399786" y="4592730"/>
                  <a:pt x="4372609" y="4592730"/>
                </a:cubicBezTo>
                <a:lnTo>
                  <a:pt x="4348151" y="4592730"/>
                </a:lnTo>
                <a:lnTo>
                  <a:pt x="4350868" y="4598165"/>
                </a:lnTo>
                <a:cubicBezTo>
                  <a:pt x="4348151" y="4600882"/>
                  <a:pt x="4342716" y="4603600"/>
                  <a:pt x="4342716" y="4606317"/>
                </a:cubicBezTo>
                <a:cubicBezTo>
                  <a:pt x="4337280" y="4600882"/>
                  <a:pt x="4348151" y="4592730"/>
                  <a:pt x="4348151" y="4584577"/>
                </a:cubicBezTo>
                <a:lnTo>
                  <a:pt x="4350868" y="4587294"/>
                </a:lnTo>
                <a:close/>
                <a:moveTo>
                  <a:pt x="3437147" y="4570538"/>
                </a:moveTo>
                <a:cubicBezTo>
                  <a:pt x="3464382" y="4566191"/>
                  <a:pt x="3470030" y="4622963"/>
                  <a:pt x="3448628" y="4644364"/>
                </a:cubicBezTo>
                <a:cubicBezTo>
                  <a:pt x="3413298" y="4636211"/>
                  <a:pt x="3445911" y="4587295"/>
                  <a:pt x="3424169" y="4576424"/>
                </a:cubicBezTo>
                <a:cubicBezTo>
                  <a:pt x="3428925" y="4573027"/>
                  <a:pt x="3433256" y="4571159"/>
                  <a:pt x="3437147" y="4570538"/>
                </a:cubicBezTo>
                <a:close/>
                <a:moveTo>
                  <a:pt x="3312747" y="4562836"/>
                </a:moveTo>
                <a:lnTo>
                  <a:pt x="3296086" y="4579498"/>
                </a:lnTo>
                <a:lnTo>
                  <a:pt x="3294532" y="4579736"/>
                </a:lnTo>
                <a:lnTo>
                  <a:pt x="3283574" y="4575146"/>
                </a:lnTo>
                <a:lnTo>
                  <a:pt x="3282388" y="4572775"/>
                </a:lnTo>
                <a:lnTo>
                  <a:pt x="3302129" y="4564606"/>
                </a:lnTo>
                <a:close/>
                <a:moveTo>
                  <a:pt x="3201327" y="4562836"/>
                </a:moveTo>
                <a:cubicBezTo>
                  <a:pt x="3201327" y="4562836"/>
                  <a:pt x="3201327" y="4565553"/>
                  <a:pt x="3204045" y="4565553"/>
                </a:cubicBezTo>
                <a:lnTo>
                  <a:pt x="3206761" y="4562836"/>
                </a:lnTo>
                <a:close/>
                <a:moveTo>
                  <a:pt x="4329128" y="4554684"/>
                </a:moveTo>
                <a:lnTo>
                  <a:pt x="4334564" y="4560119"/>
                </a:lnTo>
                <a:lnTo>
                  <a:pt x="4345434" y="4576425"/>
                </a:lnTo>
                <a:cubicBezTo>
                  <a:pt x="4339999" y="4579142"/>
                  <a:pt x="4331845" y="4579142"/>
                  <a:pt x="4323693" y="4579142"/>
                </a:cubicBezTo>
                <a:cubicBezTo>
                  <a:pt x="4326410" y="4573707"/>
                  <a:pt x="4329128" y="4565554"/>
                  <a:pt x="4329128" y="4554684"/>
                </a:cubicBezTo>
                <a:close/>
                <a:moveTo>
                  <a:pt x="3108929" y="4549248"/>
                </a:moveTo>
                <a:cubicBezTo>
                  <a:pt x="3103493" y="4549248"/>
                  <a:pt x="3100775" y="4551965"/>
                  <a:pt x="3098057" y="4551965"/>
                </a:cubicBezTo>
                <a:lnTo>
                  <a:pt x="3111645" y="4554683"/>
                </a:lnTo>
                <a:lnTo>
                  <a:pt x="3106211" y="4565553"/>
                </a:lnTo>
                <a:cubicBezTo>
                  <a:pt x="3108929" y="4562836"/>
                  <a:pt x="3111645" y="4560118"/>
                  <a:pt x="3114363" y="4557400"/>
                </a:cubicBezTo>
                <a:lnTo>
                  <a:pt x="3111645" y="4554683"/>
                </a:lnTo>
                <a:close/>
                <a:moveTo>
                  <a:pt x="3424170" y="4546531"/>
                </a:moveTo>
                <a:cubicBezTo>
                  <a:pt x="3432323" y="4546531"/>
                  <a:pt x="3426887" y="4560119"/>
                  <a:pt x="3435040" y="4560119"/>
                </a:cubicBezTo>
                <a:cubicBezTo>
                  <a:pt x="3435040" y="4562836"/>
                  <a:pt x="3429605" y="4565554"/>
                  <a:pt x="3424170" y="4565554"/>
                </a:cubicBezTo>
                <a:close/>
                <a:moveTo>
                  <a:pt x="3136105" y="4538377"/>
                </a:moveTo>
                <a:cubicBezTo>
                  <a:pt x="3133387" y="4538377"/>
                  <a:pt x="3130669" y="4541095"/>
                  <a:pt x="3127951" y="4543813"/>
                </a:cubicBezTo>
                <a:lnTo>
                  <a:pt x="3130669" y="4543813"/>
                </a:lnTo>
                <a:cubicBezTo>
                  <a:pt x="3133387" y="4541095"/>
                  <a:pt x="3133387" y="4541095"/>
                  <a:pt x="3136105" y="4538377"/>
                </a:cubicBezTo>
                <a:close/>
                <a:moveTo>
                  <a:pt x="3432322" y="4527508"/>
                </a:moveTo>
                <a:cubicBezTo>
                  <a:pt x="3435040" y="4530225"/>
                  <a:pt x="3440475" y="4530225"/>
                  <a:pt x="3440475" y="4538378"/>
                </a:cubicBezTo>
                <a:cubicBezTo>
                  <a:pt x="3435040" y="4538378"/>
                  <a:pt x="3432322" y="4535661"/>
                  <a:pt x="3429605" y="4535661"/>
                </a:cubicBezTo>
                <a:cubicBezTo>
                  <a:pt x="3432322" y="4532943"/>
                  <a:pt x="3432322" y="4532943"/>
                  <a:pt x="3432322" y="4527508"/>
                </a:cubicBezTo>
                <a:close/>
                <a:moveTo>
                  <a:pt x="3263831" y="4522072"/>
                </a:moveTo>
                <a:lnTo>
                  <a:pt x="3263831" y="4524790"/>
                </a:lnTo>
                <a:lnTo>
                  <a:pt x="3255679" y="4532942"/>
                </a:lnTo>
                <a:cubicBezTo>
                  <a:pt x="3255679" y="4527507"/>
                  <a:pt x="3261113" y="4524789"/>
                  <a:pt x="3263831" y="4522072"/>
                </a:cubicBezTo>
                <a:close/>
                <a:moveTo>
                  <a:pt x="3236655" y="4511201"/>
                </a:moveTo>
                <a:cubicBezTo>
                  <a:pt x="3236655" y="4519354"/>
                  <a:pt x="3225785" y="4522072"/>
                  <a:pt x="3236655" y="4549248"/>
                </a:cubicBezTo>
                <a:lnTo>
                  <a:pt x="3242091" y="4543813"/>
                </a:lnTo>
                <a:cubicBezTo>
                  <a:pt x="3233937" y="4551965"/>
                  <a:pt x="3225785" y="4562836"/>
                  <a:pt x="3220349" y="4573706"/>
                </a:cubicBezTo>
                <a:cubicBezTo>
                  <a:pt x="3217633" y="4570988"/>
                  <a:pt x="3214915" y="4570988"/>
                  <a:pt x="3212197" y="4570988"/>
                </a:cubicBezTo>
                <a:cubicBezTo>
                  <a:pt x="3212197" y="4573706"/>
                  <a:pt x="3212197" y="4573706"/>
                  <a:pt x="3212197" y="4576424"/>
                </a:cubicBezTo>
                <a:cubicBezTo>
                  <a:pt x="3231221" y="4570988"/>
                  <a:pt x="3247525" y="4570988"/>
                  <a:pt x="3263831" y="4573706"/>
                </a:cubicBezTo>
                <a:lnTo>
                  <a:pt x="3263831" y="4524790"/>
                </a:lnTo>
                <a:lnTo>
                  <a:pt x="3269267" y="4519354"/>
                </a:lnTo>
                <a:close/>
                <a:moveTo>
                  <a:pt x="3187739" y="4508484"/>
                </a:moveTo>
                <a:lnTo>
                  <a:pt x="3209479" y="4530225"/>
                </a:lnTo>
                <a:cubicBezTo>
                  <a:pt x="3206761" y="4505766"/>
                  <a:pt x="3212197" y="4513919"/>
                  <a:pt x="3187739" y="4508484"/>
                </a:cubicBezTo>
                <a:close/>
                <a:moveTo>
                  <a:pt x="3516567" y="4505767"/>
                </a:moveTo>
                <a:cubicBezTo>
                  <a:pt x="3500262" y="4530225"/>
                  <a:pt x="3494827" y="4562836"/>
                  <a:pt x="3473085" y="4581859"/>
                </a:cubicBezTo>
                <a:cubicBezTo>
                  <a:pt x="3451344" y="4546531"/>
                  <a:pt x="3483955" y="4513920"/>
                  <a:pt x="3516567" y="4505767"/>
                </a:cubicBezTo>
                <a:close/>
                <a:moveTo>
                  <a:pt x="3426887" y="4492179"/>
                </a:moveTo>
                <a:cubicBezTo>
                  <a:pt x="3432323" y="4494896"/>
                  <a:pt x="3432323" y="4500332"/>
                  <a:pt x="3432323" y="4508484"/>
                </a:cubicBezTo>
                <a:cubicBezTo>
                  <a:pt x="3424170" y="4508484"/>
                  <a:pt x="3421452" y="4494896"/>
                  <a:pt x="3426887" y="4492179"/>
                </a:cubicBezTo>
                <a:close/>
                <a:moveTo>
                  <a:pt x="3905184" y="4486744"/>
                </a:moveTo>
                <a:cubicBezTo>
                  <a:pt x="3913337" y="4486744"/>
                  <a:pt x="3910619" y="4494897"/>
                  <a:pt x="3910619" y="4503049"/>
                </a:cubicBezTo>
                <a:cubicBezTo>
                  <a:pt x="3905184" y="4500332"/>
                  <a:pt x="3899749" y="4489461"/>
                  <a:pt x="3905184" y="4486744"/>
                </a:cubicBezTo>
                <a:close/>
                <a:moveTo>
                  <a:pt x="3880724" y="4486744"/>
                </a:moveTo>
                <a:cubicBezTo>
                  <a:pt x="3905184" y="4513920"/>
                  <a:pt x="3929642" y="4541096"/>
                  <a:pt x="3940512" y="4579142"/>
                </a:cubicBezTo>
                <a:cubicBezTo>
                  <a:pt x="3899749" y="4598165"/>
                  <a:pt x="3875289" y="4524790"/>
                  <a:pt x="3850831" y="4500332"/>
                </a:cubicBezTo>
                <a:cubicBezTo>
                  <a:pt x="3864419" y="4500332"/>
                  <a:pt x="3872572" y="4492179"/>
                  <a:pt x="3880724" y="4486744"/>
                </a:cubicBezTo>
                <a:close/>
                <a:moveTo>
                  <a:pt x="2421376" y="4470438"/>
                </a:moveTo>
                <a:cubicBezTo>
                  <a:pt x="2421376" y="4475873"/>
                  <a:pt x="2421376" y="4481308"/>
                  <a:pt x="2421376" y="4484026"/>
                </a:cubicBezTo>
                <a:cubicBezTo>
                  <a:pt x="2421376" y="4486743"/>
                  <a:pt x="2424094" y="4486743"/>
                  <a:pt x="2424094" y="4489461"/>
                </a:cubicBezTo>
                <a:cubicBezTo>
                  <a:pt x="2424094" y="4489461"/>
                  <a:pt x="2421376" y="4492178"/>
                  <a:pt x="2421376" y="4492178"/>
                </a:cubicBezTo>
                <a:cubicBezTo>
                  <a:pt x="2421376" y="4494896"/>
                  <a:pt x="2421376" y="4494896"/>
                  <a:pt x="2421376" y="4497614"/>
                </a:cubicBezTo>
                <a:cubicBezTo>
                  <a:pt x="2421376" y="4500331"/>
                  <a:pt x="2415941" y="4500331"/>
                  <a:pt x="2415941" y="4503049"/>
                </a:cubicBezTo>
                <a:lnTo>
                  <a:pt x="2411658" y="4520184"/>
                </a:lnTo>
                <a:lnTo>
                  <a:pt x="2424095" y="4519354"/>
                </a:lnTo>
                <a:lnTo>
                  <a:pt x="2425328" y="4516889"/>
                </a:lnTo>
                <a:lnTo>
                  <a:pt x="2424094" y="4516637"/>
                </a:lnTo>
                <a:cubicBezTo>
                  <a:pt x="2424094" y="4516637"/>
                  <a:pt x="2421376" y="4516637"/>
                  <a:pt x="2421376" y="4516637"/>
                </a:cubicBezTo>
                <a:cubicBezTo>
                  <a:pt x="2426811" y="4505766"/>
                  <a:pt x="2426811" y="4492178"/>
                  <a:pt x="2432246" y="4481308"/>
                </a:cubicBezTo>
                <a:cubicBezTo>
                  <a:pt x="2432246" y="4473155"/>
                  <a:pt x="2429529" y="4467720"/>
                  <a:pt x="2424094" y="4470438"/>
                </a:cubicBezTo>
                <a:cubicBezTo>
                  <a:pt x="2424094" y="4470438"/>
                  <a:pt x="2421376" y="4470438"/>
                  <a:pt x="2421376" y="4470438"/>
                </a:cubicBezTo>
                <a:close/>
                <a:moveTo>
                  <a:pt x="2627235" y="4469079"/>
                </a:moveTo>
                <a:cubicBezTo>
                  <a:pt x="2626555" y="4469758"/>
                  <a:pt x="2626555" y="4471797"/>
                  <a:pt x="2625197" y="4475873"/>
                </a:cubicBezTo>
                <a:cubicBezTo>
                  <a:pt x="2627914" y="4473155"/>
                  <a:pt x="2630632" y="4473155"/>
                  <a:pt x="2633350" y="4470438"/>
                </a:cubicBezTo>
                <a:cubicBezTo>
                  <a:pt x="2629273" y="4469079"/>
                  <a:pt x="2627914" y="4468400"/>
                  <a:pt x="2627235" y="4469079"/>
                </a:cubicBezTo>
                <a:close/>
                <a:moveTo>
                  <a:pt x="3195891" y="4459567"/>
                </a:moveTo>
                <a:cubicBezTo>
                  <a:pt x="3176869" y="4467720"/>
                  <a:pt x="3190457" y="4467720"/>
                  <a:pt x="3176869" y="4462285"/>
                </a:cubicBezTo>
                <a:cubicBezTo>
                  <a:pt x="3179585" y="4473155"/>
                  <a:pt x="3179585" y="4484026"/>
                  <a:pt x="3182303" y="4494896"/>
                </a:cubicBezTo>
                <a:lnTo>
                  <a:pt x="3187739" y="4492178"/>
                </a:lnTo>
                <a:lnTo>
                  <a:pt x="3212197" y="4497614"/>
                </a:lnTo>
                <a:close/>
                <a:moveTo>
                  <a:pt x="3902466" y="4456851"/>
                </a:moveTo>
                <a:cubicBezTo>
                  <a:pt x="3907902" y="4456851"/>
                  <a:pt x="3907902" y="4462286"/>
                  <a:pt x="3907902" y="4467721"/>
                </a:cubicBezTo>
                <a:lnTo>
                  <a:pt x="3899749" y="4467721"/>
                </a:lnTo>
                <a:cubicBezTo>
                  <a:pt x="3899749" y="4462286"/>
                  <a:pt x="3902466" y="4459568"/>
                  <a:pt x="3902466" y="4456851"/>
                </a:cubicBezTo>
                <a:close/>
                <a:moveTo>
                  <a:pt x="2497469" y="4451414"/>
                </a:moveTo>
                <a:cubicBezTo>
                  <a:pt x="2486598" y="4454132"/>
                  <a:pt x="2475728" y="4459567"/>
                  <a:pt x="2470293" y="4470438"/>
                </a:cubicBezTo>
                <a:lnTo>
                  <a:pt x="2473852" y="4485302"/>
                </a:lnTo>
                <a:lnTo>
                  <a:pt x="2478447" y="4486743"/>
                </a:lnTo>
                <a:cubicBezTo>
                  <a:pt x="2478447" y="4497614"/>
                  <a:pt x="2481165" y="4505766"/>
                  <a:pt x="2483882" y="4516637"/>
                </a:cubicBezTo>
                <a:cubicBezTo>
                  <a:pt x="2508341" y="4503049"/>
                  <a:pt x="2530081" y="4486743"/>
                  <a:pt x="2551822" y="4473155"/>
                </a:cubicBezTo>
                <a:lnTo>
                  <a:pt x="2551547" y="4469993"/>
                </a:lnTo>
                <a:lnTo>
                  <a:pt x="2540611" y="4470098"/>
                </a:lnTo>
                <a:cubicBezTo>
                  <a:pt x="2524645" y="4467041"/>
                  <a:pt x="2506980" y="4459567"/>
                  <a:pt x="2492033" y="4459567"/>
                </a:cubicBezTo>
                <a:cubicBezTo>
                  <a:pt x="2494751" y="4454132"/>
                  <a:pt x="2494751" y="4454132"/>
                  <a:pt x="2497469" y="4451414"/>
                </a:cubicBezTo>
                <a:close/>
                <a:moveTo>
                  <a:pt x="3891596" y="4443262"/>
                </a:moveTo>
                <a:cubicBezTo>
                  <a:pt x="3902467" y="4440544"/>
                  <a:pt x="3902467" y="4462285"/>
                  <a:pt x="3888879" y="4456850"/>
                </a:cubicBezTo>
                <a:cubicBezTo>
                  <a:pt x="3888879" y="4451414"/>
                  <a:pt x="3894314" y="4451414"/>
                  <a:pt x="3891596" y="4443262"/>
                </a:cubicBezTo>
                <a:close/>
                <a:moveTo>
                  <a:pt x="4277493" y="4437826"/>
                </a:moveTo>
                <a:lnTo>
                  <a:pt x="4277493" y="4462285"/>
                </a:lnTo>
                <a:lnTo>
                  <a:pt x="4261189" y="4451414"/>
                </a:lnTo>
                <a:close/>
                <a:moveTo>
                  <a:pt x="3176869" y="4437826"/>
                </a:moveTo>
                <a:cubicBezTo>
                  <a:pt x="3176869" y="4440544"/>
                  <a:pt x="3176869" y="4443262"/>
                  <a:pt x="3176869" y="4445979"/>
                </a:cubicBezTo>
                <a:lnTo>
                  <a:pt x="3198609" y="4454132"/>
                </a:lnTo>
                <a:cubicBezTo>
                  <a:pt x="3190457" y="4440544"/>
                  <a:pt x="3195891" y="4437826"/>
                  <a:pt x="3176869" y="4437826"/>
                </a:cubicBezTo>
                <a:close/>
                <a:moveTo>
                  <a:pt x="3902127" y="4417445"/>
                </a:moveTo>
                <a:cubicBezTo>
                  <a:pt x="3905184" y="4419483"/>
                  <a:pt x="3907902" y="4422880"/>
                  <a:pt x="3907902" y="4424239"/>
                </a:cubicBezTo>
                <a:cubicBezTo>
                  <a:pt x="3907902" y="4432392"/>
                  <a:pt x="3899749" y="4429675"/>
                  <a:pt x="3905184" y="4440545"/>
                </a:cubicBezTo>
                <a:cubicBezTo>
                  <a:pt x="3894314" y="4437827"/>
                  <a:pt x="3905184" y="4424239"/>
                  <a:pt x="3894314" y="4418804"/>
                </a:cubicBezTo>
                <a:cubicBezTo>
                  <a:pt x="3895673" y="4414727"/>
                  <a:pt x="3899070" y="4415407"/>
                  <a:pt x="3902127" y="4417445"/>
                </a:cubicBezTo>
                <a:close/>
                <a:moveTo>
                  <a:pt x="3258395" y="4394345"/>
                </a:moveTo>
                <a:lnTo>
                  <a:pt x="3258395" y="4416086"/>
                </a:lnTo>
                <a:lnTo>
                  <a:pt x="3280137" y="4416086"/>
                </a:lnTo>
                <a:close/>
                <a:moveTo>
                  <a:pt x="2918697" y="4383474"/>
                </a:moveTo>
                <a:cubicBezTo>
                  <a:pt x="2913261" y="4386192"/>
                  <a:pt x="2910543" y="4386192"/>
                  <a:pt x="2905109" y="4388910"/>
                </a:cubicBezTo>
                <a:lnTo>
                  <a:pt x="2902391" y="4388910"/>
                </a:lnTo>
                <a:lnTo>
                  <a:pt x="2902391" y="4397062"/>
                </a:lnTo>
                <a:cubicBezTo>
                  <a:pt x="2905109" y="4397062"/>
                  <a:pt x="2905109" y="4394345"/>
                  <a:pt x="2907827" y="4394345"/>
                </a:cubicBezTo>
                <a:close/>
                <a:moveTo>
                  <a:pt x="3171433" y="4378039"/>
                </a:moveTo>
                <a:cubicBezTo>
                  <a:pt x="3171433" y="4394345"/>
                  <a:pt x="3171433" y="4407933"/>
                  <a:pt x="3171433" y="4424238"/>
                </a:cubicBezTo>
                <a:lnTo>
                  <a:pt x="3179585" y="4424238"/>
                </a:lnTo>
                <a:lnTo>
                  <a:pt x="3182303" y="4399780"/>
                </a:lnTo>
                <a:cubicBezTo>
                  <a:pt x="3179585" y="4380757"/>
                  <a:pt x="3179585" y="4397062"/>
                  <a:pt x="3187739" y="4378039"/>
                </a:cubicBezTo>
                <a:close/>
                <a:moveTo>
                  <a:pt x="2519211" y="4373623"/>
                </a:moveTo>
                <a:lnTo>
                  <a:pt x="2519211" y="4386192"/>
                </a:lnTo>
                <a:lnTo>
                  <a:pt x="2515588" y="4380757"/>
                </a:lnTo>
                <a:lnTo>
                  <a:pt x="2516493" y="4376681"/>
                </a:lnTo>
                <a:close/>
                <a:moveTo>
                  <a:pt x="3837245" y="4367170"/>
                </a:moveTo>
                <a:cubicBezTo>
                  <a:pt x="3845397" y="4372605"/>
                  <a:pt x="3842680" y="4383475"/>
                  <a:pt x="3845397" y="4391628"/>
                </a:cubicBezTo>
                <a:cubicBezTo>
                  <a:pt x="3842680" y="4386193"/>
                  <a:pt x="3829091" y="4375323"/>
                  <a:pt x="3837245" y="4367170"/>
                </a:cubicBezTo>
                <a:close/>
                <a:moveTo>
                  <a:pt x="3793761" y="4367169"/>
                </a:moveTo>
                <a:cubicBezTo>
                  <a:pt x="3801914" y="4367169"/>
                  <a:pt x="3804632" y="4372604"/>
                  <a:pt x="3807349" y="4375322"/>
                </a:cubicBezTo>
                <a:lnTo>
                  <a:pt x="3803167" y="4375868"/>
                </a:lnTo>
                <a:lnTo>
                  <a:pt x="3796450" y="4371439"/>
                </a:lnTo>
                <a:close/>
                <a:moveTo>
                  <a:pt x="2720313" y="4367169"/>
                </a:moveTo>
                <a:lnTo>
                  <a:pt x="2704007" y="4383474"/>
                </a:lnTo>
                <a:lnTo>
                  <a:pt x="2723030" y="4383474"/>
                </a:lnTo>
                <a:close/>
                <a:moveTo>
                  <a:pt x="4193249" y="4361734"/>
                </a:moveTo>
                <a:lnTo>
                  <a:pt x="4216185" y="4382122"/>
                </a:lnTo>
                <a:lnTo>
                  <a:pt x="4214006" y="4382549"/>
                </a:lnTo>
                <a:lnTo>
                  <a:pt x="4185095" y="4375322"/>
                </a:lnTo>
                <a:close/>
                <a:moveTo>
                  <a:pt x="4246973" y="4344592"/>
                </a:moveTo>
                <a:lnTo>
                  <a:pt x="4255753" y="4356298"/>
                </a:lnTo>
                <a:lnTo>
                  <a:pt x="4249230" y="4355211"/>
                </a:lnTo>
                <a:lnTo>
                  <a:pt x="4239447" y="4345428"/>
                </a:lnTo>
                <a:close/>
                <a:moveTo>
                  <a:pt x="3815504" y="4342711"/>
                </a:moveTo>
                <a:cubicBezTo>
                  <a:pt x="3826374" y="4339993"/>
                  <a:pt x="3818221" y="4359017"/>
                  <a:pt x="3826374" y="4364452"/>
                </a:cubicBezTo>
                <a:cubicBezTo>
                  <a:pt x="3818221" y="4372604"/>
                  <a:pt x="3815504" y="4353581"/>
                  <a:pt x="3815504" y="4342711"/>
                </a:cubicBezTo>
                <a:close/>
                <a:moveTo>
                  <a:pt x="2820863" y="4337275"/>
                </a:moveTo>
                <a:lnTo>
                  <a:pt x="2820863" y="4342710"/>
                </a:lnTo>
                <a:cubicBezTo>
                  <a:pt x="2823581" y="4342710"/>
                  <a:pt x="2823581" y="4339993"/>
                  <a:pt x="2826299" y="4339993"/>
                </a:cubicBezTo>
                <a:close/>
                <a:moveTo>
                  <a:pt x="1918621" y="4329122"/>
                </a:moveTo>
                <a:cubicBezTo>
                  <a:pt x="1921339" y="4329122"/>
                  <a:pt x="1918621" y="4329122"/>
                  <a:pt x="1921339" y="4331839"/>
                </a:cubicBezTo>
                <a:cubicBezTo>
                  <a:pt x="1924057" y="4334557"/>
                  <a:pt x="1918621" y="4345427"/>
                  <a:pt x="1921339" y="4353580"/>
                </a:cubicBezTo>
                <a:cubicBezTo>
                  <a:pt x="1929493" y="4380756"/>
                  <a:pt x="1921339" y="4413367"/>
                  <a:pt x="1921339" y="4443261"/>
                </a:cubicBezTo>
                <a:cubicBezTo>
                  <a:pt x="1921339" y="4456849"/>
                  <a:pt x="1924057" y="4492177"/>
                  <a:pt x="1918621" y="4500330"/>
                </a:cubicBezTo>
                <a:cubicBezTo>
                  <a:pt x="1905033" y="4508483"/>
                  <a:pt x="1886010" y="4503048"/>
                  <a:pt x="1875140" y="4511201"/>
                </a:cubicBezTo>
                <a:cubicBezTo>
                  <a:pt x="1872422" y="4511201"/>
                  <a:pt x="1872422" y="4511201"/>
                  <a:pt x="1869705" y="4511201"/>
                </a:cubicBezTo>
                <a:cubicBezTo>
                  <a:pt x="1866987" y="4508483"/>
                  <a:pt x="1861552" y="4486742"/>
                  <a:pt x="1864269" y="4478589"/>
                </a:cubicBezTo>
                <a:cubicBezTo>
                  <a:pt x="1864269" y="4475872"/>
                  <a:pt x="1866987" y="4467719"/>
                  <a:pt x="1866987" y="4465001"/>
                </a:cubicBezTo>
                <a:cubicBezTo>
                  <a:pt x="1861552" y="4424237"/>
                  <a:pt x="1899598" y="4356298"/>
                  <a:pt x="1918621" y="4329122"/>
                </a:cubicBezTo>
                <a:close/>
                <a:moveTo>
                  <a:pt x="2641842" y="4323348"/>
                </a:moveTo>
                <a:cubicBezTo>
                  <a:pt x="2640823" y="4323008"/>
                  <a:pt x="2637426" y="4325046"/>
                  <a:pt x="2619762" y="4323687"/>
                </a:cubicBezTo>
                <a:cubicBezTo>
                  <a:pt x="2636067" y="4345428"/>
                  <a:pt x="2614327" y="4334558"/>
                  <a:pt x="2649655" y="4337275"/>
                </a:cubicBezTo>
                <a:cubicBezTo>
                  <a:pt x="2641502" y="4326405"/>
                  <a:pt x="2642861" y="4323687"/>
                  <a:pt x="2641842" y="4323348"/>
                </a:cubicBezTo>
                <a:close/>
                <a:moveTo>
                  <a:pt x="4293799" y="4299229"/>
                </a:moveTo>
                <a:lnTo>
                  <a:pt x="4285647" y="4318252"/>
                </a:lnTo>
                <a:lnTo>
                  <a:pt x="4285647" y="4300135"/>
                </a:lnTo>
                <a:close/>
                <a:moveTo>
                  <a:pt x="4435115" y="4292216"/>
                </a:moveTo>
                <a:lnTo>
                  <a:pt x="4435115" y="4303305"/>
                </a:lnTo>
                <a:lnTo>
                  <a:pt x="4432397" y="4301946"/>
                </a:lnTo>
                <a:close/>
                <a:moveTo>
                  <a:pt x="4436877" y="4282443"/>
                </a:moveTo>
                <a:lnTo>
                  <a:pt x="4437493" y="4284962"/>
                </a:lnTo>
                <a:cubicBezTo>
                  <a:pt x="4437323" y="4285981"/>
                  <a:pt x="4436728" y="4287170"/>
                  <a:pt x="4435837" y="4289632"/>
                </a:cubicBezTo>
                <a:lnTo>
                  <a:pt x="4435115" y="4292216"/>
                </a:lnTo>
                <a:lnTo>
                  <a:pt x="4435115" y="4282923"/>
                </a:lnTo>
                <a:close/>
                <a:moveTo>
                  <a:pt x="4463708" y="4275126"/>
                </a:moveTo>
                <a:lnTo>
                  <a:pt x="4462291" y="4277488"/>
                </a:lnTo>
                <a:lnTo>
                  <a:pt x="4457944" y="4276698"/>
                </a:lnTo>
                <a:close/>
                <a:moveTo>
                  <a:pt x="4432397" y="4272053"/>
                </a:moveTo>
                <a:lnTo>
                  <a:pt x="4457944" y="4276698"/>
                </a:lnTo>
                <a:lnTo>
                  <a:pt x="4436877" y="4282443"/>
                </a:lnTo>
                <a:lnTo>
                  <a:pt x="4436601" y="4281310"/>
                </a:lnTo>
                <a:cubicBezTo>
                  <a:pt x="4435794" y="4279527"/>
                  <a:pt x="4434435" y="4276809"/>
                  <a:pt x="4432397" y="4272053"/>
                </a:cubicBezTo>
                <a:close/>
                <a:moveTo>
                  <a:pt x="3668753" y="4266618"/>
                </a:moveTo>
                <a:cubicBezTo>
                  <a:pt x="3690495" y="4277488"/>
                  <a:pt x="3712235" y="4304664"/>
                  <a:pt x="3712235" y="4326405"/>
                </a:cubicBezTo>
                <a:cubicBezTo>
                  <a:pt x="3733976" y="4361733"/>
                  <a:pt x="3758434" y="4391627"/>
                  <a:pt x="3774740" y="4429673"/>
                </a:cubicBezTo>
                <a:cubicBezTo>
                  <a:pt x="3820939" y="4475872"/>
                  <a:pt x="3856268" y="4535659"/>
                  <a:pt x="3899749" y="4584576"/>
                </a:cubicBezTo>
                <a:cubicBezTo>
                  <a:pt x="3831809" y="4590011"/>
                  <a:pt x="3739411" y="4600881"/>
                  <a:pt x="3676907" y="4584576"/>
                </a:cubicBezTo>
                <a:cubicBezTo>
                  <a:pt x="3693212" y="4524789"/>
                  <a:pt x="3720388" y="4481307"/>
                  <a:pt x="3714953" y="4424238"/>
                </a:cubicBezTo>
                <a:cubicBezTo>
                  <a:pt x="3706800" y="4421520"/>
                  <a:pt x="3709518" y="4432391"/>
                  <a:pt x="3701365" y="4429673"/>
                </a:cubicBezTo>
                <a:cubicBezTo>
                  <a:pt x="3698647" y="4437826"/>
                  <a:pt x="3712235" y="4432391"/>
                  <a:pt x="3709518" y="4445979"/>
                </a:cubicBezTo>
                <a:cubicBezTo>
                  <a:pt x="3704083" y="4445979"/>
                  <a:pt x="3709518" y="4459567"/>
                  <a:pt x="3698647" y="4454131"/>
                </a:cubicBezTo>
                <a:cubicBezTo>
                  <a:pt x="3698647" y="4465002"/>
                  <a:pt x="3709518" y="4478590"/>
                  <a:pt x="3704083" y="4484025"/>
                </a:cubicBezTo>
                <a:cubicBezTo>
                  <a:pt x="3704083" y="4497613"/>
                  <a:pt x="3701365" y="4481307"/>
                  <a:pt x="3693212" y="4484025"/>
                </a:cubicBezTo>
                <a:cubicBezTo>
                  <a:pt x="3706800" y="4516636"/>
                  <a:pt x="3679624" y="4551965"/>
                  <a:pt x="3671471" y="4581858"/>
                </a:cubicBezTo>
                <a:cubicBezTo>
                  <a:pt x="3652447" y="4568270"/>
                  <a:pt x="3679624" y="4554682"/>
                  <a:pt x="3679624" y="4535659"/>
                </a:cubicBezTo>
                <a:cubicBezTo>
                  <a:pt x="3676907" y="4527506"/>
                  <a:pt x="3671471" y="4541094"/>
                  <a:pt x="3668753" y="4546529"/>
                </a:cubicBezTo>
                <a:cubicBezTo>
                  <a:pt x="3660601" y="4543812"/>
                  <a:pt x="3668753" y="4532942"/>
                  <a:pt x="3657883" y="4524789"/>
                </a:cubicBezTo>
                <a:cubicBezTo>
                  <a:pt x="3652447" y="4527506"/>
                  <a:pt x="3649730" y="4532942"/>
                  <a:pt x="3649730" y="4543812"/>
                </a:cubicBezTo>
                <a:cubicBezTo>
                  <a:pt x="3641577" y="4543812"/>
                  <a:pt x="3641577" y="4535659"/>
                  <a:pt x="3633424" y="4535659"/>
                </a:cubicBezTo>
                <a:cubicBezTo>
                  <a:pt x="3633424" y="4565553"/>
                  <a:pt x="3657883" y="4565553"/>
                  <a:pt x="3663319" y="4584576"/>
                </a:cubicBezTo>
                <a:cubicBezTo>
                  <a:pt x="3655165" y="4584576"/>
                  <a:pt x="3652447" y="4573705"/>
                  <a:pt x="3644295" y="4570988"/>
                </a:cubicBezTo>
                <a:cubicBezTo>
                  <a:pt x="3633424" y="4579141"/>
                  <a:pt x="3625271" y="4573705"/>
                  <a:pt x="3614401" y="4570988"/>
                </a:cubicBezTo>
                <a:cubicBezTo>
                  <a:pt x="3625271" y="4590011"/>
                  <a:pt x="3655165" y="4584576"/>
                  <a:pt x="3666035" y="4600881"/>
                </a:cubicBezTo>
                <a:cubicBezTo>
                  <a:pt x="3671471" y="4633493"/>
                  <a:pt x="3663319" y="4690562"/>
                  <a:pt x="3663319" y="4717738"/>
                </a:cubicBezTo>
                <a:cubicBezTo>
                  <a:pt x="3614401" y="4723173"/>
                  <a:pt x="3584507" y="4750349"/>
                  <a:pt x="3568202" y="4791113"/>
                </a:cubicBezTo>
                <a:cubicBezTo>
                  <a:pt x="3560049" y="4793831"/>
                  <a:pt x="3565484" y="4782960"/>
                  <a:pt x="3557331" y="4782960"/>
                </a:cubicBezTo>
                <a:cubicBezTo>
                  <a:pt x="3543743" y="4793831"/>
                  <a:pt x="3543743" y="4829159"/>
                  <a:pt x="3524720" y="4821007"/>
                </a:cubicBezTo>
                <a:cubicBezTo>
                  <a:pt x="3511132" y="4821007"/>
                  <a:pt x="3530155" y="4815571"/>
                  <a:pt x="3527438" y="4807419"/>
                </a:cubicBezTo>
                <a:cubicBezTo>
                  <a:pt x="3511132" y="4796548"/>
                  <a:pt x="3508415" y="4829159"/>
                  <a:pt x="3489391" y="4815571"/>
                </a:cubicBezTo>
                <a:cubicBezTo>
                  <a:pt x="3492109" y="4810136"/>
                  <a:pt x="3489391" y="4801983"/>
                  <a:pt x="3494827" y="4799266"/>
                </a:cubicBezTo>
                <a:cubicBezTo>
                  <a:pt x="3470368" y="4788396"/>
                  <a:pt x="3492109" y="4744914"/>
                  <a:pt x="3478521" y="4725891"/>
                </a:cubicBezTo>
                <a:cubicBezTo>
                  <a:pt x="3473086" y="4717738"/>
                  <a:pt x="3467651" y="4728609"/>
                  <a:pt x="3456780" y="4717738"/>
                </a:cubicBezTo>
                <a:cubicBezTo>
                  <a:pt x="3443192" y="4690562"/>
                  <a:pt x="3478521" y="4638928"/>
                  <a:pt x="3500262" y="4595446"/>
                </a:cubicBezTo>
                <a:cubicBezTo>
                  <a:pt x="3519285" y="4557400"/>
                  <a:pt x="3535591" y="4500330"/>
                  <a:pt x="3560049" y="4478590"/>
                </a:cubicBezTo>
                <a:cubicBezTo>
                  <a:pt x="3581790" y="4459567"/>
                  <a:pt x="3614401" y="4451414"/>
                  <a:pt x="3627989" y="4429673"/>
                </a:cubicBezTo>
                <a:cubicBezTo>
                  <a:pt x="3619836" y="4418803"/>
                  <a:pt x="3603531" y="4418803"/>
                  <a:pt x="3584507" y="4418803"/>
                </a:cubicBezTo>
                <a:cubicBezTo>
                  <a:pt x="3614401" y="4369886"/>
                  <a:pt x="3636142" y="4312817"/>
                  <a:pt x="3668753" y="4266618"/>
                </a:cubicBezTo>
                <a:close/>
                <a:moveTo>
                  <a:pt x="4470443" y="4263900"/>
                </a:moveTo>
                <a:lnTo>
                  <a:pt x="4488800" y="4270576"/>
                </a:lnTo>
                <a:lnTo>
                  <a:pt x="4481950" y="4271968"/>
                </a:lnTo>
                <a:cubicBezTo>
                  <a:pt x="4473671" y="4273752"/>
                  <a:pt x="4477238" y="4274770"/>
                  <a:pt x="4473161" y="4291076"/>
                </a:cubicBezTo>
                <a:lnTo>
                  <a:pt x="4465009" y="4274771"/>
                </a:lnTo>
                <a:lnTo>
                  <a:pt x="4463708" y="4275126"/>
                </a:lnTo>
                <a:close/>
                <a:moveTo>
                  <a:pt x="2641502" y="4261183"/>
                </a:moveTo>
                <a:lnTo>
                  <a:pt x="2627914" y="4274771"/>
                </a:lnTo>
                <a:lnTo>
                  <a:pt x="2644220" y="4277488"/>
                </a:lnTo>
                <a:close/>
                <a:moveTo>
                  <a:pt x="2649655" y="4255747"/>
                </a:moveTo>
                <a:lnTo>
                  <a:pt x="2649655" y="4261183"/>
                </a:lnTo>
                <a:lnTo>
                  <a:pt x="2655090" y="4261183"/>
                </a:lnTo>
                <a:cubicBezTo>
                  <a:pt x="2655090" y="4258465"/>
                  <a:pt x="2652373" y="4258465"/>
                  <a:pt x="2649655" y="4255747"/>
                </a:cubicBezTo>
                <a:close/>
                <a:moveTo>
                  <a:pt x="2584433" y="4253745"/>
                </a:moveTo>
                <a:lnTo>
                  <a:pt x="2584433" y="4258465"/>
                </a:lnTo>
                <a:cubicBezTo>
                  <a:pt x="2581715" y="4261183"/>
                  <a:pt x="2578998" y="4263900"/>
                  <a:pt x="2576280" y="4263900"/>
                </a:cubicBezTo>
                <a:cubicBezTo>
                  <a:pt x="2573562" y="4259824"/>
                  <a:pt x="2571524" y="4259144"/>
                  <a:pt x="2568806" y="4258805"/>
                </a:cubicBezTo>
                <a:lnTo>
                  <a:pt x="2565037" y="4257807"/>
                </a:lnTo>
                <a:lnTo>
                  <a:pt x="2568127" y="4255747"/>
                </a:lnTo>
                <a:close/>
                <a:moveTo>
                  <a:pt x="4554689" y="4239442"/>
                </a:moveTo>
                <a:cubicBezTo>
                  <a:pt x="4532947" y="4247595"/>
                  <a:pt x="4524795" y="4228572"/>
                  <a:pt x="4524795" y="4269335"/>
                </a:cubicBezTo>
                <a:lnTo>
                  <a:pt x="4554689" y="4261183"/>
                </a:lnTo>
                <a:close/>
                <a:moveTo>
                  <a:pt x="1913187" y="4228573"/>
                </a:moveTo>
                <a:cubicBezTo>
                  <a:pt x="1913187" y="4244878"/>
                  <a:pt x="1915904" y="4247596"/>
                  <a:pt x="1913187" y="4261184"/>
                </a:cubicBezTo>
                <a:cubicBezTo>
                  <a:pt x="1899599" y="4269337"/>
                  <a:pt x="1866988" y="4304665"/>
                  <a:pt x="1858835" y="4318253"/>
                </a:cubicBezTo>
                <a:cubicBezTo>
                  <a:pt x="1858835" y="4318253"/>
                  <a:pt x="1856117" y="4318253"/>
                  <a:pt x="1853400" y="4318253"/>
                </a:cubicBezTo>
                <a:cubicBezTo>
                  <a:pt x="1853400" y="4291077"/>
                  <a:pt x="1872423" y="4250314"/>
                  <a:pt x="1888729" y="4239443"/>
                </a:cubicBezTo>
                <a:cubicBezTo>
                  <a:pt x="1894164" y="4234008"/>
                  <a:pt x="1905034" y="4234008"/>
                  <a:pt x="1913187" y="4228573"/>
                </a:cubicBezTo>
                <a:close/>
                <a:moveTo>
                  <a:pt x="3791044" y="4214984"/>
                </a:moveTo>
                <a:cubicBezTo>
                  <a:pt x="3788326" y="4250312"/>
                  <a:pt x="3826372" y="4285641"/>
                  <a:pt x="3801914" y="4315535"/>
                </a:cubicBezTo>
                <a:cubicBezTo>
                  <a:pt x="3810067" y="4320970"/>
                  <a:pt x="3815502" y="4326405"/>
                  <a:pt x="3818220" y="4337275"/>
                </a:cubicBezTo>
                <a:cubicBezTo>
                  <a:pt x="3818220" y="4350863"/>
                  <a:pt x="3812784" y="4334558"/>
                  <a:pt x="3807349" y="4334558"/>
                </a:cubicBezTo>
                <a:cubicBezTo>
                  <a:pt x="3801914" y="4345428"/>
                  <a:pt x="3785609" y="4345428"/>
                  <a:pt x="3777456" y="4356298"/>
                </a:cubicBezTo>
                <a:cubicBezTo>
                  <a:pt x="3781532" y="4361054"/>
                  <a:pt x="3786967" y="4365131"/>
                  <a:pt x="3792742" y="4368995"/>
                </a:cubicBezTo>
                <a:lnTo>
                  <a:pt x="3796450" y="4371439"/>
                </a:lnTo>
                <a:lnTo>
                  <a:pt x="3799536" y="4376341"/>
                </a:lnTo>
                <a:lnTo>
                  <a:pt x="3803167" y="4375868"/>
                </a:lnTo>
                <a:lnTo>
                  <a:pt x="3810067" y="4380417"/>
                </a:lnTo>
                <a:cubicBezTo>
                  <a:pt x="3820937" y="4388230"/>
                  <a:pt x="3829090" y="4397062"/>
                  <a:pt x="3826372" y="4410650"/>
                </a:cubicBezTo>
                <a:cubicBezTo>
                  <a:pt x="3853548" y="4397062"/>
                  <a:pt x="3829090" y="4456850"/>
                  <a:pt x="3864419" y="4451414"/>
                </a:cubicBezTo>
                <a:cubicBezTo>
                  <a:pt x="3858984" y="4459567"/>
                  <a:pt x="3848113" y="4465002"/>
                  <a:pt x="3839960" y="4473155"/>
                </a:cubicBezTo>
                <a:cubicBezTo>
                  <a:pt x="3845396" y="4486743"/>
                  <a:pt x="3875289" y="4473155"/>
                  <a:pt x="3878007" y="4475873"/>
                </a:cubicBezTo>
                <a:cubicBezTo>
                  <a:pt x="3875289" y="4497614"/>
                  <a:pt x="3850831" y="4481308"/>
                  <a:pt x="3839960" y="4497614"/>
                </a:cubicBezTo>
                <a:cubicBezTo>
                  <a:pt x="3796479" y="4432391"/>
                  <a:pt x="3739410" y="4378039"/>
                  <a:pt x="3714951" y="4293794"/>
                </a:cubicBezTo>
                <a:cubicBezTo>
                  <a:pt x="3704081" y="4285641"/>
                  <a:pt x="3693210" y="4277488"/>
                  <a:pt x="3690493" y="4263900"/>
                </a:cubicBezTo>
                <a:cubicBezTo>
                  <a:pt x="3714951" y="4239442"/>
                  <a:pt x="3758433" y="4231289"/>
                  <a:pt x="3791044" y="4214984"/>
                </a:cubicBezTo>
                <a:close/>
                <a:moveTo>
                  <a:pt x="4573712" y="4208870"/>
                </a:moveTo>
                <a:cubicBezTo>
                  <a:pt x="4574052" y="4208870"/>
                  <a:pt x="4574392" y="4209379"/>
                  <a:pt x="4575835" y="4210398"/>
                </a:cubicBezTo>
                <a:lnTo>
                  <a:pt x="4577249" y="4211139"/>
                </a:lnTo>
                <a:lnTo>
                  <a:pt x="4572395" y="4212946"/>
                </a:lnTo>
                <a:lnTo>
                  <a:pt x="4569117" y="4211694"/>
                </a:lnTo>
                <a:lnTo>
                  <a:pt x="4571589" y="4210398"/>
                </a:lnTo>
                <a:cubicBezTo>
                  <a:pt x="4573032" y="4209379"/>
                  <a:pt x="4573372" y="4208870"/>
                  <a:pt x="4573712" y="4208870"/>
                </a:cubicBezTo>
                <a:close/>
                <a:moveTo>
                  <a:pt x="1543593" y="4195962"/>
                </a:moveTo>
                <a:cubicBezTo>
                  <a:pt x="1546311" y="4198679"/>
                  <a:pt x="1543593" y="4201397"/>
                  <a:pt x="1546311" y="4204115"/>
                </a:cubicBezTo>
                <a:cubicBezTo>
                  <a:pt x="1546311" y="4204115"/>
                  <a:pt x="1549029" y="4204115"/>
                  <a:pt x="1551746" y="4204115"/>
                </a:cubicBezTo>
                <a:cubicBezTo>
                  <a:pt x="1551746" y="4206832"/>
                  <a:pt x="1551746" y="4206832"/>
                  <a:pt x="1551746" y="4209550"/>
                </a:cubicBezTo>
                <a:cubicBezTo>
                  <a:pt x="1551746" y="4209550"/>
                  <a:pt x="1554464" y="4209550"/>
                  <a:pt x="1554464" y="4209550"/>
                </a:cubicBezTo>
                <a:cubicBezTo>
                  <a:pt x="1554464" y="4212267"/>
                  <a:pt x="1554464" y="4214985"/>
                  <a:pt x="1554464" y="4217703"/>
                </a:cubicBezTo>
                <a:cubicBezTo>
                  <a:pt x="1554464" y="4217703"/>
                  <a:pt x="1559900" y="4217703"/>
                  <a:pt x="1559900" y="4220420"/>
                </a:cubicBezTo>
                <a:cubicBezTo>
                  <a:pt x="1562618" y="4225855"/>
                  <a:pt x="1559900" y="4228573"/>
                  <a:pt x="1562618" y="4234008"/>
                </a:cubicBezTo>
                <a:cubicBezTo>
                  <a:pt x="1562618" y="4234008"/>
                  <a:pt x="1565335" y="4236726"/>
                  <a:pt x="1565335" y="4236726"/>
                </a:cubicBezTo>
                <a:cubicBezTo>
                  <a:pt x="1535441" y="4234008"/>
                  <a:pt x="1505547" y="4225855"/>
                  <a:pt x="1494677" y="4209550"/>
                </a:cubicBezTo>
                <a:cubicBezTo>
                  <a:pt x="1508265" y="4201397"/>
                  <a:pt x="1524570" y="4198679"/>
                  <a:pt x="1543593" y="4195962"/>
                </a:cubicBezTo>
                <a:close/>
                <a:moveTo>
                  <a:pt x="600589" y="4195962"/>
                </a:moveTo>
                <a:cubicBezTo>
                  <a:pt x="611459" y="4195962"/>
                  <a:pt x="622329" y="4201397"/>
                  <a:pt x="627765" y="4209550"/>
                </a:cubicBezTo>
                <a:cubicBezTo>
                  <a:pt x="627765" y="4209550"/>
                  <a:pt x="627765" y="4212267"/>
                  <a:pt x="625047" y="4214985"/>
                </a:cubicBezTo>
                <a:cubicBezTo>
                  <a:pt x="616894" y="4209550"/>
                  <a:pt x="608741" y="4204115"/>
                  <a:pt x="600589" y="4195962"/>
                </a:cubicBezTo>
                <a:close/>
                <a:moveTo>
                  <a:pt x="4350869" y="4190525"/>
                </a:moveTo>
                <a:lnTo>
                  <a:pt x="4339999" y="4198678"/>
                </a:lnTo>
                <a:lnTo>
                  <a:pt x="4364457" y="4228572"/>
                </a:lnTo>
                <a:lnTo>
                  <a:pt x="4348151" y="4244877"/>
                </a:lnTo>
                <a:lnTo>
                  <a:pt x="4372609" y="4244877"/>
                </a:lnTo>
                <a:lnTo>
                  <a:pt x="4364457" y="4225854"/>
                </a:lnTo>
                <a:lnTo>
                  <a:pt x="4380763" y="4217701"/>
                </a:lnTo>
                <a:close/>
                <a:moveTo>
                  <a:pt x="2141464" y="4179656"/>
                </a:moveTo>
                <a:cubicBezTo>
                  <a:pt x="2163205" y="4179656"/>
                  <a:pt x="2182228" y="4182373"/>
                  <a:pt x="2203969" y="4182373"/>
                </a:cubicBezTo>
                <a:cubicBezTo>
                  <a:pt x="2203969" y="4185091"/>
                  <a:pt x="2206687" y="4185091"/>
                  <a:pt x="2206687" y="4187809"/>
                </a:cubicBezTo>
                <a:cubicBezTo>
                  <a:pt x="2209404" y="4187809"/>
                  <a:pt x="2217557" y="4187809"/>
                  <a:pt x="2217557" y="4187809"/>
                </a:cubicBezTo>
                <a:cubicBezTo>
                  <a:pt x="2236580" y="4193244"/>
                  <a:pt x="2252886" y="4182373"/>
                  <a:pt x="2266474" y="4190526"/>
                </a:cubicBezTo>
                <a:cubicBezTo>
                  <a:pt x="2266474" y="4190526"/>
                  <a:pt x="2266474" y="4190526"/>
                  <a:pt x="2266474" y="4193244"/>
                </a:cubicBezTo>
                <a:cubicBezTo>
                  <a:pt x="2271909" y="4193244"/>
                  <a:pt x="2277344" y="4195961"/>
                  <a:pt x="2282779" y="4195961"/>
                </a:cubicBezTo>
                <a:cubicBezTo>
                  <a:pt x="2277344" y="4212267"/>
                  <a:pt x="2266474" y="4220420"/>
                  <a:pt x="2261038" y="4234008"/>
                </a:cubicBezTo>
                <a:cubicBezTo>
                  <a:pt x="2252886" y="4234008"/>
                  <a:pt x="2242015" y="4231290"/>
                  <a:pt x="2233863" y="4234008"/>
                </a:cubicBezTo>
                <a:cubicBezTo>
                  <a:pt x="2231145" y="4234008"/>
                  <a:pt x="2231145" y="4236725"/>
                  <a:pt x="2228427" y="4239443"/>
                </a:cubicBezTo>
                <a:cubicBezTo>
                  <a:pt x="2222992" y="4242160"/>
                  <a:pt x="2212122" y="4244878"/>
                  <a:pt x="2203969" y="4244878"/>
                </a:cubicBezTo>
                <a:cubicBezTo>
                  <a:pt x="2203969" y="4236725"/>
                  <a:pt x="2201251" y="4225855"/>
                  <a:pt x="2201251" y="4217702"/>
                </a:cubicBezTo>
                <a:cubicBezTo>
                  <a:pt x="2201251" y="4212267"/>
                  <a:pt x="2195816" y="4206832"/>
                  <a:pt x="2195816" y="4201397"/>
                </a:cubicBezTo>
                <a:cubicBezTo>
                  <a:pt x="2193099" y="4201397"/>
                  <a:pt x="2193099" y="4201397"/>
                  <a:pt x="2190381" y="4201397"/>
                </a:cubicBezTo>
                <a:cubicBezTo>
                  <a:pt x="2187663" y="4201397"/>
                  <a:pt x="2187663" y="4201397"/>
                  <a:pt x="2184946" y="4204114"/>
                </a:cubicBezTo>
                <a:cubicBezTo>
                  <a:pt x="2184946" y="4212267"/>
                  <a:pt x="2184946" y="4212267"/>
                  <a:pt x="2190381" y="4214984"/>
                </a:cubicBezTo>
                <a:cubicBezTo>
                  <a:pt x="2190381" y="4228572"/>
                  <a:pt x="2190381" y="4236725"/>
                  <a:pt x="2184946" y="4244878"/>
                </a:cubicBezTo>
                <a:cubicBezTo>
                  <a:pt x="2176793" y="4247596"/>
                  <a:pt x="2174076" y="4250313"/>
                  <a:pt x="2168640" y="4253031"/>
                </a:cubicBezTo>
                <a:cubicBezTo>
                  <a:pt x="2160488" y="4255748"/>
                  <a:pt x="2155052" y="4253031"/>
                  <a:pt x="2146900" y="4255748"/>
                </a:cubicBezTo>
                <a:cubicBezTo>
                  <a:pt x="2144182" y="4255748"/>
                  <a:pt x="2144182" y="4261184"/>
                  <a:pt x="2141464" y="4261184"/>
                </a:cubicBezTo>
                <a:cubicBezTo>
                  <a:pt x="2136029" y="4263901"/>
                  <a:pt x="2130594" y="4261184"/>
                  <a:pt x="2125159" y="4266619"/>
                </a:cubicBezTo>
                <a:cubicBezTo>
                  <a:pt x="2127876" y="4250313"/>
                  <a:pt x="2136029" y="4244878"/>
                  <a:pt x="2138747" y="4234008"/>
                </a:cubicBezTo>
                <a:cubicBezTo>
                  <a:pt x="2138747" y="4231290"/>
                  <a:pt x="2136029" y="4225855"/>
                  <a:pt x="2136029" y="4223137"/>
                </a:cubicBezTo>
                <a:cubicBezTo>
                  <a:pt x="2136029" y="4217702"/>
                  <a:pt x="2138747" y="4185091"/>
                  <a:pt x="2141464" y="4182373"/>
                </a:cubicBezTo>
                <a:cubicBezTo>
                  <a:pt x="2141464" y="4182373"/>
                  <a:pt x="2141464" y="4179656"/>
                  <a:pt x="2141464" y="4179656"/>
                </a:cubicBezTo>
                <a:close/>
                <a:moveTo>
                  <a:pt x="4269341" y="4176937"/>
                </a:moveTo>
                <a:lnTo>
                  <a:pt x="4280211" y="4214984"/>
                </a:lnTo>
                <a:cubicBezTo>
                  <a:pt x="4299235" y="4220419"/>
                  <a:pt x="4293799" y="4223136"/>
                  <a:pt x="4310105" y="4223136"/>
                </a:cubicBezTo>
                <a:cubicBezTo>
                  <a:pt x="4320975" y="4223136"/>
                  <a:pt x="4320975" y="4214984"/>
                  <a:pt x="4323693" y="4206831"/>
                </a:cubicBezTo>
                <a:lnTo>
                  <a:pt x="4285647" y="4206831"/>
                </a:lnTo>
                <a:lnTo>
                  <a:pt x="4293799" y="4193243"/>
                </a:lnTo>
                <a:close/>
                <a:moveTo>
                  <a:pt x="2467575" y="4174221"/>
                </a:moveTo>
                <a:lnTo>
                  <a:pt x="2481163" y="4174221"/>
                </a:lnTo>
                <a:cubicBezTo>
                  <a:pt x="2481163" y="4176939"/>
                  <a:pt x="2481163" y="4176939"/>
                  <a:pt x="2481163" y="4179656"/>
                </a:cubicBezTo>
                <a:cubicBezTo>
                  <a:pt x="2475728" y="4185091"/>
                  <a:pt x="2464858" y="4187809"/>
                  <a:pt x="2459422" y="4190527"/>
                </a:cubicBezTo>
                <a:cubicBezTo>
                  <a:pt x="2456705" y="4190527"/>
                  <a:pt x="2456705" y="4195962"/>
                  <a:pt x="2456705" y="4195962"/>
                </a:cubicBezTo>
                <a:cubicBezTo>
                  <a:pt x="2453987" y="4195962"/>
                  <a:pt x="2448552" y="4198679"/>
                  <a:pt x="2445835" y="4198679"/>
                </a:cubicBezTo>
                <a:cubicBezTo>
                  <a:pt x="2445835" y="4201397"/>
                  <a:pt x="2445835" y="4201397"/>
                  <a:pt x="2445835" y="4204114"/>
                </a:cubicBezTo>
                <a:cubicBezTo>
                  <a:pt x="2443117" y="4209550"/>
                  <a:pt x="2432247" y="4212267"/>
                  <a:pt x="2426811" y="4214985"/>
                </a:cubicBezTo>
                <a:cubicBezTo>
                  <a:pt x="2424094" y="4217702"/>
                  <a:pt x="2421376" y="4225855"/>
                  <a:pt x="2415941" y="4228573"/>
                </a:cubicBezTo>
                <a:cubicBezTo>
                  <a:pt x="2415941" y="4231290"/>
                  <a:pt x="2413223" y="4228573"/>
                  <a:pt x="2410506" y="4231290"/>
                </a:cubicBezTo>
                <a:cubicBezTo>
                  <a:pt x="2407788" y="4236726"/>
                  <a:pt x="2405071" y="4242161"/>
                  <a:pt x="2402353" y="4244878"/>
                </a:cubicBezTo>
                <a:cubicBezTo>
                  <a:pt x="2399635" y="4244878"/>
                  <a:pt x="2394200" y="4244878"/>
                  <a:pt x="2391483" y="4244878"/>
                </a:cubicBezTo>
                <a:cubicBezTo>
                  <a:pt x="2388765" y="4244878"/>
                  <a:pt x="2388765" y="4247596"/>
                  <a:pt x="2386048" y="4250313"/>
                </a:cubicBezTo>
                <a:cubicBezTo>
                  <a:pt x="2380612" y="4253031"/>
                  <a:pt x="2367024" y="4250313"/>
                  <a:pt x="2361589" y="4250313"/>
                </a:cubicBezTo>
                <a:cubicBezTo>
                  <a:pt x="2361589" y="4250313"/>
                  <a:pt x="2361589" y="4247596"/>
                  <a:pt x="2361589" y="4247596"/>
                </a:cubicBezTo>
                <a:cubicBezTo>
                  <a:pt x="2350719" y="4247596"/>
                  <a:pt x="2318108" y="4247596"/>
                  <a:pt x="2309955" y="4244878"/>
                </a:cubicBezTo>
                <a:cubicBezTo>
                  <a:pt x="2309955" y="4244878"/>
                  <a:pt x="2307237" y="4242161"/>
                  <a:pt x="2307237" y="4242161"/>
                </a:cubicBezTo>
                <a:cubicBezTo>
                  <a:pt x="2299084" y="4239443"/>
                  <a:pt x="2285496" y="4244878"/>
                  <a:pt x="2280061" y="4239443"/>
                </a:cubicBezTo>
                <a:cubicBezTo>
                  <a:pt x="2277344" y="4236726"/>
                  <a:pt x="2277344" y="4236726"/>
                  <a:pt x="2277344" y="4234008"/>
                </a:cubicBezTo>
                <a:cubicBezTo>
                  <a:pt x="2280061" y="4228573"/>
                  <a:pt x="2293649" y="4206832"/>
                  <a:pt x="2296367" y="4201397"/>
                </a:cubicBezTo>
                <a:cubicBezTo>
                  <a:pt x="2301802" y="4201397"/>
                  <a:pt x="2312672" y="4204114"/>
                  <a:pt x="2320825" y="4201397"/>
                </a:cubicBezTo>
                <a:cubicBezTo>
                  <a:pt x="2323543" y="4201397"/>
                  <a:pt x="2326260" y="4198679"/>
                  <a:pt x="2328978" y="4198679"/>
                </a:cubicBezTo>
                <a:cubicBezTo>
                  <a:pt x="2331696" y="4198679"/>
                  <a:pt x="2334413" y="4201397"/>
                  <a:pt x="2337131" y="4201397"/>
                </a:cubicBezTo>
                <a:cubicBezTo>
                  <a:pt x="2342566" y="4201397"/>
                  <a:pt x="2345284" y="4198679"/>
                  <a:pt x="2350719" y="4195962"/>
                </a:cubicBezTo>
                <a:cubicBezTo>
                  <a:pt x="2356154" y="4195962"/>
                  <a:pt x="2364307" y="4195962"/>
                  <a:pt x="2369742" y="4195962"/>
                </a:cubicBezTo>
                <a:cubicBezTo>
                  <a:pt x="2375177" y="4195962"/>
                  <a:pt x="2380612" y="4190527"/>
                  <a:pt x="2383330" y="4190527"/>
                </a:cubicBezTo>
                <a:cubicBezTo>
                  <a:pt x="2399635" y="4190527"/>
                  <a:pt x="2418659" y="4190527"/>
                  <a:pt x="2434964" y="4190527"/>
                </a:cubicBezTo>
                <a:cubicBezTo>
                  <a:pt x="2437682" y="4190527"/>
                  <a:pt x="2445835" y="4193244"/>
                  <a:pt x="2451270" y="4190527"/>
                </a:cubicBezTo>
                <a:cubicBezTo>
                  <a:pt x="2456705" y="4187809"/>
                  <a:pt x="2462140" y="4176939"/>
                  <a:pt x="2467575" y="4174221"/>
                </a:cubicBezTo>
                <a:close/>
                <a:moveTo>
                  <a:pt x="2484969" y="4173677"/>
                </a:moveTo>
                <a:lnTo>
                  <a:pt x="2483881" y="4174221"/>
                </a:lnTo>
                <a:lnTo>
                  <a:pt x="2481163" y="4174221"/>
                </a:lnTo>
                <a:close/>
                <a:moveTo>
                  <a:pt x="2119723" y="4166067"/>
                </a:moveTo>
                <a:cubicBezTo>
                  <a:pt x="2119723" y="4166067"/>
                  <a:pt x="2122441" y="4166067"/>
                  <a:pt x="2122441" y="4166067"/>
                </a:cubicBezTo>
                <a:cubicBezTo>
                  <a:pt x="2117006" y="4176938"/>
                  <a:pt x="2119723" y="4193243"/>
                  <a:pt x="2117006" y="4206831"/>
                </a:cubicBezTo>
                <a:cubicBezTo>
                  <a:pt x="2117006" y="4212266"/>
                  <a:pt x="2117006" y="4220419"/>
                  <a:pt x="2117006" y="4225854"/>
                </a:cubicBezTo>
                <a:cubicBezTo>
                  <a:pt x="2114288" y="4236725"/>
                  <a:pt x="2103418" y="4247595"/>
                  <a:pt x="2100700" y="4258465"/>
                </a:cubicBezTo>
                <a:cubicBezTo>
                  <a:pt x="2089830" y="4258465"/>
                  <a:pt x="2078959" y="4261183"/>
                  <a:pt x="2070807" y="4263901"/>
                </a:cubicBezTo>
                <a:cubicBezTo>
                  <a:pt x="2065372" y="4266618"/>
                  <a:pt x="2057219" y="4261183"/>
                  <a:pt x="2054501" y="4261183"/>
                </a:cubicBezTo>
                <a:cubicBezTo>
                  <a:pt x="2046348" y="4261183"/>
                  <a:pt x="2040913" y="4261183"/>
                  <a:pt x="2032760" y="4261183"/>
                </a:cubicBezTo>
                <a:cubicBezTo>
                  <a:pt x="2024608" y="4261183"/>
                  <a:pt x="2016455" y="4258465"/>
                  <a:pt x="2008302" y="4258465"/>
                </a:cubicBezTo>
                <a:cubicBezTo>
                  <a:pt x="2008302" y="4258465"/>
                  <a:pt x="2008302" y="4255748"/>
                  <a:pt x="2008302" y="4255748"/>
                </a:cubicBezTo>
                <a:cubicBezTo>
                  <a:pt x="2002867" y="4255748"/>
                  <a:pt x="1997432" y="4255748"/>
                  <a:pt x="1991997" y="4255748"/>
                </a:cubicBezTo>
                <a:cubicBezTo>
                  <a:pt x="1986561" y="4263901"/>
                  <a:pt x="1975691" y="4266618"/>
                  <a:pt x="1970256" y="4272053"/>
                </a:cubicBezTo>
                <a:cubicBezTo>
                  <a:pt x="1970256" y="4272053"/>
                  <a:pt x="1970256" y="4277488"/>
                  <a:pt x="1967538" y="4277488"/>
                </a:cubicBezTo>
                <a:cubicBezTo>
                  <a:pt x="1962103" y="4280206"/>
                  <a:pt x="1959385" y="4277488"/>
                  <a:pt x="1956668" y="4282924"/>
                </a:cubicBezTo>
                <a:cubicBezTo>
                  <a:pt x="1956668" y="4274771"/>
                  <a:pt x="1956668" y="4263901"/>
                  <a:pt x="1956668" y="4255748"/>
                </a:cubicBezTo>
                <a:cubicBezTo>
                  <a:pt x="1970256" y="4250313"/>
                  <a:pt x="1978409" y="4239442"/>
                  <a:pt x="1989279" y="4231289"/>
                </a:cubicBezTo>
                <a:cubicBezTo>
                  <a:pt x="1991997" y="4228572"/>
                  <a:pt x="1991997" y="4225854"/>
                  <a:pt x="1994714" y="4223137"/>
                </a:cubicBezTo>
                <a:cubicBezTo>
                  <a:pt x="1997432" y="4223137"/>
                  <a:pt x="2000149" y="4223137"/>
                  <a:pt x="2002867" y="4223137"/>
                </a:cubicBezTo>
                <a:cubicBezTo>
                  <a:pt x="2005585" y="4223137"/>
                  <a:pt x="2005585" y="4217701"/>
                  <a:pt x="2005585" y="4217701"/>
                </a:cubicBezTo>
                <a:cubicBezTo>
                  <a:pt x="2011020" y="4217701"/>
                  <a:pt x="2013737" y="4214984"/>
                  <a:pt x="2016455" y="4214984"/>
                </a:cubicBezTo>
                <a:cubicBezTo>
                  <a:pt x="2019172" y="4212266"/>
                  <a:pt x="2016455" y="4209549"/>
                  <a:pt x="2019172" y="4209549"/>
                </a:cubicBezTo>
                <a:cubicBezTo>
                  <a:pt x="2021890" y="4209549"/>
                  <a:pt x="2024608" y="4209549"/>
                  <a:pt x="2027325" y="4206831"/>
                </a:cubicBezTo>
                <a:cubicBezTo>
                  <a:pt x="2027325" y="4206831"/>
                  <a:pt x="2027325" y="4204114"/>
                  <a:pt x="2027325" y="4204114"/>
                </a:cubicBezTo>
                <a:cubicBezTo>
                  <a:pt x="2032760" y="4201396"/>
                  <a:pt x="2038196" y="4204114"/>
                  <a:pt x="2040913" y="4201396"/>
                </a:cubicBezTo>
                <a:cubicBezTo>
                  <a:pt x="2043631" y="4198678"/>
                  <a:pt x="2043631" y="4195961"/>
                  <a:pt x="2046348" y="4193243"/>
                </a:cubicBezTo>
                <a:cubicBezTo>
                  <a:pt x="2054501" y="4187808"/>
                  <a:pt x="2062654" y="4185090"/>
                  <a:pt x="2070807" y="4179655"/>
                </a:cubicBezTo>
                <a:cubicBezTo>
                  <a:pt x="2078959" y="4176938"/>
                  <a:pt x="2111571" y="4163350"/>
                  <a:pt x="2119723" y="4166067"/>
                </a:cubicBezTo>
                <a:close/>
                <a:moveTo>
                  <a:pt x="1646862" y="4152479"/>
                </a:moveTo>
                <a:cubicBezTo>
                  <a:pt x="1649580" y="4152479"/>
                  <a:pt x="1649580" y="4152479"/>
                  <a:pt x="1652297" y="4152479"/>
                </a:cubicBezTo>
                <a:cubicBezTo>
                  <a:pt x="1652297" y="4157914"/>
                  <a:pt x="1657732" y="4163349"/>
                  <a:pt x="1660450" y="4168784"/>
                </a:cubicBezTo>
                <a:cubicBezTo>
                  <a:pt x="1657732" y="4179655"/>
                  <a:pt x="1665885" y="4195960"/>
                  <a:pt x="1668603" y="4201395"/>
                </a:cubicBezTo>
                <a:cubicBezTo>
                  <a:pt x="1671320" y="4206831"/>
                  <a:pt x="1668603" y="4209548"/>
                  <a:pt x="1671320" y="4214984"/>
                </a:cubicBezTo>
                <a:cubicBezTo>
                  <a:pt x="1671320" y="4217702"/>
                  <a:pt x="1676756" y="4223137"/>
                  <a:pt x="1676756" y="4225855"/>
                </a:cubicBezTo>
                <a:cubicBezTo>
                  <a:pt x="1676756" y="4225855"/>
                  <a:pt x="1676756" y="4228572"/>
                  <a:pt x="1676756" y="4231290"/>
                </a:cubicBezTo>
                <a:cubicBezTo>
                  <a:pt x="1679473" y="4234008"/>
                  <a:pt x="1684908" y="4236725"/>
                  <a:pt x="1684908" y="4239443"/>
                </a:cubicBezTo>
                <a:cubicBezTo>
                  <a:pt x="1687626" y="4247595"/>
                  <a:pt x="1684908" y="4250313"/>
                  <a:pt x="1687626" y="4255748"/>
                </a:cubicBezTo>
                <a:cubicBezTo>
                  <a:pt x="1687626" y="4258466"/>
                  <a:pt x="1693061" y="4261183"/>
                  <a:pt x="1693061" y="4263901"/>
                </a:cubicBezTo>
                <a:cubicBezTo>
                  <a:pt x="1693061" y="4266619"/>
                  <a:pt x="1693061" y="4266619"/>
                  <a:pt x="1693061" y="4269336"/>
                </a:cubicBezTo>
                <a:cubicBezTo>
                  <a:pt x="1693061" y="4272054"/>
                  <a:pt x="1698496" y="4277489"/>
                  <a:pt x="1701214" y="4280207"/>
                </a:cubicBezTo>
                <a:cubicBezTo>
                  <a:pt x="1701214" y="4285642"/>
                  <a:pt x="1701214" y="4291077"/>
                  <a:pt x="1701214" y="4293795"/>
                </a:cubicBezTo>
                <a:cubicBezTo>
                  <a:pt x="1701214" y="4296512"/>
                  <a:pt x="1706649" y="4301947"/>
                  <a:pt x="1706649" y="4304665"/>
                </a:cubicBezTo>
                <a:cubicBezTo>
                  <a:pt x="1709367" y="4310100"/>
                  <a:pt x="1706649" y="4315535"/>
                  <a:pt x="1709367" y="4320971"/>
                </a:cubicBezTo>
                <a:cubicBezTo>
                  <a:pt x="1709367" y="4320971"/>
                  <a:pt x="1712084" y="4320971"/>
                  <a:pt x="1712084" y="4320971"/>
                </a:cubicBezTo>
                <a:cubicBezTo>
                  <a:pt x="1712084" y="4320971"/>
                  <a:pt x="1712084" y="4323688"/>
                  <a:pt x="1712084" y="4326406"/>
                </a:cubicBezTo>
                <a:cubicBezTo>
                  <a:pt x="1714802" y="4329123"/>
                  <a:pt x="1725672" y="4331841"/>
                  <a:pt x="1728390" y="4337276"/>
                </a:cubicBezTo>
                <a:cubicBezTo>
                  <a:pt x="1731107" y="4339994"/>
                  <a:pt x="1728390" y="4339994"/>
                  <a:pt x="1731107" y="4342711"/>
                </a:cubicBezTo>
                <a:cubicBezTo>
                  <a:pt x="1731107" y="4342711"/>
                  <a:pt x="1733825" y="4342711"/>
                  <a:pt x="1736543" y="4342711"/>
                </a:cubicBezTo>
                <a:cubicBezTo>
                  <a:pt x="1736543" y="4342711"/>
                  <a:pt x="1736543" y="4345429"/>
                  <a:pt x="1736543" y="4348147"/>
                </a:cubicBezTo>
                <a:cubicBezTo>
                  <a:pt x="1739260" y="4348147"/>
                  <a:pt x="1739260" y="4348147"/>
                  <a:pt x="1741978" y="4348147"/>
                </a:cubicBezTo>
                <a:cubicBezTo>
                  <a:pt x="1744695" y="4348147"/>
                  <a:pt x="1741978" y="4350864"/>
                  <a:pt x="1744695" y="4353582"/>
                </a:cubicBezTo>
                <a:cubicBezTo>
                  <a:pt x="1744695" y="4356299"/>
                  <a:pt x="1750131" y="4353582"/>
                  <a:pt x="1750131" y="4356299"/>
                </a:cubicBezTo>
                <a:cubicBezTo>
                  <a:pt x="1750131" y="4356299"/>
                  <a:pt x="1747413" y="4359017"/>
                  <a:pt x="1750131" y="4361735"/>
                </a:cubicBezTo>
                <a:cubicBezTo>
                  <a:pt x="1750131" y="4361735"/>
                  <a:pt x="1752848" y="4361735"/>
                  <a:pt x="1752848" y="4361735"/>
                </a:cubicBezTo>
                <a:cubicBezTo>
                  <a:pt x="1755566" y="4361735"/>
                  <a:pt x="1755566" y="4364452"/>
                  <a:pt x="1758283" y="4367170"/>
                </a:cubicBezTo>
                <a:cubicBezTo>
                  <a:pt x="1761001" y="4367170"/>
                  <a:pt x="1763719" y="4369887"/>
                  <a:pt x="1766436" y="4369887"/>
                </a:cubicBezTo>
                <a:cubicBezTo>
                  <a:pt x="1766436" y="4369887"/>
                  <a:pt x="1769154" y="4372605"/>
                  <a:pt x="1769154" y="4375323"/>
                </a:cubicBezTo>
                <a:cubicBezTo>
                  <a:pt x="1771871" y="4375323"/>
                  <a:pt x="1774589" y="4375323"/>
                  <a:pt x="1777307" y="4378040"/>
                </a:cubicBezTo>
                <a:cubicBezTo>
                  <a:pt x="1782742" y="4388911"/>
                  <a:pt x="1788177" y="4402499"/>
                  <a:pt x="1790895" y="4416087"/>
                </a:cubicBezTo>
                <a:cubicBezTo>
                  <a:pt x="1790895" y="4421522"/>
                  <a:pt x="1788177" y="4426957"/>
                  <a:pt x="1790895" y="4432392"/>
                </a:cubicBezTo>
                <a:cubicBezTo>
                  <a:pt x="1793612" y="4440545"/>
                  <a:pt x="1801765" y="4451415"/>
                  <a:pt x="1796330" y="4459568"/>
                </a:cubicBezTo>
                <a:cubicBezTo>
                  <a:pt x="1793612" y="4470438"/>
                  <a:pt x="1771871" y="4489461"/>
                  <a:pt x="1761001" y="4500332"/>
                </a:cubicBezTo>
                <a:cubicBezTo>
                  <a:pt x="1736543" y="4494897"/>
                  <a:pt x="1712084" y="4462286"/>
                  <a:pt x="1695779" y="4445980"/>
                </a:cubicBezTo>
                <a:cubicBezTo>
                  <a:pt x="1665885" y="4440545"/>
                  <a:pt x="1652297" y="4454133"/>
                  <a:pt x="1622404" y="4456850"/>
                </a:cubicBezTo>
                <a:cubicBezTo>
                  <a:pt x="1614251" y="4402499"/>
                  <a:pt x="1657732" y="4369887"/>
                  <a:pt x="1655015" y="4326406"/>
                </a:cubicBezTo>
                <a:cubicBezTo>
                  <a:pt x="1652297" y="4334559"/>
                  <a:pt x="1646862" y="4323688"/>
                  <a:pt x="1641427" y="4323688"/>
                </a:cubicBezTo>
                <a:cubicBezTo>
                  <a:pt x="1630556" y="4293795"/>
                  <a:pt x="1641427" y="4247595"/>
                  <a:pt x="1638709" y="4214984"/>
                </a:cubicBezTo>
                <a:cubicBezTo>
                  <a:pt x="1641427" y="4228572"/>
                  <a:pt x="1633274" y="4234008"/>
                  <a:pt x="1625121" y="4236725"/>
                </a:cubicBezTo>
                <a:cubicBezTo>
                  <a:pt x="1622404" y="4236725"/>
                  <a:pt x="1622404" y="4236725"/>
                  <a:pt x="1622404" y="4236725"/>
                </a:cubicBezTo>
                <a:cubicBezTo>
                  <a:pt x="1625121" y="4223137"/>
                  <a:pt x="1627839" y="4212267"/>
                  <a:pt x="1630556" y="4201395"/>
                </a:cubicBezTo>
                <a:cubicBezTo>
                  <a:pt x="1630556" y="4195960"/>
                  <a:pt x="1630556" y="4190525"/>
                  <a:pt x="1630556" y="4185090"/>
                </a:cubicBezTo>
                <a:cubicBezTo>
                  <a:pt x="1635992" y="4174220"/>
                  <a:pt x="1644144" y="4166067"/>
                  <a:pt x="1646862" y="4152479"/>
                </a:cubicBezTo>
                <a:close/>
                <a:moveTo>
                  <a:pt x="4364457" y="4147044"/>
                </a:moveTo>
                <a:lnTo>
                  <a:pt x="4364457" y="4168785"/>
                </a:lnTo>
                <a:lnTo>
                  <a:pt x="4380763" y="4160632"/>
                </a:lnTo>
                <a:close/>
                <a:moveTo>
                  <a:pt x="3271983" y="4147044"/>
                </a:moveTo>
                <a:lnTo>
                  <a:pt x="3288289" y="4163349"/>
                </a:lnTo>
                <a:lnTo>
                  <a:pt x="3296443" y="4147044"/>
                </a:lnTo>
                <a:close/>
                <a:moveTo>
                  <a:pt x="1337057" y="4136175"/>
                </a:moveTo>
                <a:cubicBezTo>
                  <a:pt x="1345210" y="4136175"/>
                  <a:pt x="1353362" y="4136175"/>
                  <a:pt x="1361516" y="4138892"/>
                </a:cubicBezTo>
                <a:cubicBezTo>
                  <a:pt x="1347927" y="4149763"/>
                  <a:pt x="1328904" y="4152480"/>
                  <a:pt x="1318034" y="4141610"/>
                </a:cubicBezTo>
                <a:cubicBezTo>
                  <a:pt x="1323469" y="4141610"/>
                  <a:pt x="1331622" y="4138892"/>
                  <a:pt x="1337057" y="4136175"/>
                </a:cubicBezTo>
                <a:close/>
                <a:moveTo>
                  <a:pt x="2663243" y="4136173"/>
                </a:moveTo>
                <a:cubicBezTo>
                  <a:pt x="2660526" y="4136173"/>
                  <a:pt x="2655090" y="4136173"/>
                  <a:pt x="2655090" y="4138891"/>
                </a:cubicBezTo>
                <a:cubicBezTo>
                  <a:pt x="2660526" y="4141609"/>
                  <a:pt x="2665961" y="4144326"/>
                  <a:pt x="2668678" y="4147044"/>
                </a:cubicBezTo>
                <a:cubicBezTo>
                  <a:pt x="2671396" y="4147044"/>
                  <a:pt x="2674114" y="4147044"/>
                  <a:pt x="2676831" y="4144326"/>
                </a:cubicBezTo>
                <a:cubicBezTo>
                  <a:pt x="2671396" y="4141609"/>
                  <a:pt x="2668678" y="4138891"/>
                  <a:pt x="2663243" y="4136173"/>
                </a:cubicBezTo>
                <a:close/>
                <a:moveTo>
                  <a:pt x="4342717" y="4133456"/>
                </a:moveTo>
                <a:cubicBezTo>
                  <a:pt x="4329129" y="4141609"/>
                  <a:pt x="4318257" y="4141609"/>
                  <a:pt x="4318257" y="4163349"/>
                </a:cubicBezTo>
                <a:lnTo>
                  <a:pt x="4318257" y="4185090"/>
                </a:lnTo>
                <a:lnTo>
                  <a:pt x="4342717" y="4187808"/>
                </a:lnTo>
                <a:lnTo>
                  <a:pt x="4329129" y="4166067"/>
                </a:lnTo>
                <a:lnTo>
                  <a:pt x="4348151" y="4141609"/>
                </a:lnTo>
                <a:close/>
                <a:moveTo>
                  <a:pt x="2674114" y="4130738"/>
                </a:moveTo>
                <a:lnTo>
                  <a:pt x="2695854" y="4144326"/>
                </a:lnTo>
                <a:lnTo>
                  <a:pt x="2701290" y="4147044"/>
                </a:lnTo>
                <a:cubicBezTo>
                  <a:pt x="2693137" y="4141609"/>
                  <a:pt x="2682266" y="4136173"/>
                  <a:pt x="2674114" y="4130738"/>
                </a:cubicBezTo>
                <a:close/>
                <a:moveTo>
                  <a:pt x="4595453" y="4122585"/>
                </a:moveTo>
                <a:lnTo>
                  <a:pt x="4606323" y="4130738"/>
                </a:lnTo>
                <a:lnTo>
                  <a:pt x="4590017" y="4152479"/>
                </a:lnTo>
                <a:lnTo>
                  <a:pt x="4614475" y="4171502"/>
                </a:lnTo>
                <a:lnTo>
                  <a:pt x="4600887" y="4185090"/>
                </a:lnTo>
                <a:lnTo>
                  <a:pt x="4606323" y="4223136"/>
                </a:lnTo>
                <a:lnTo>
                  <a:pt x="4584583" y="4223136"/>
                </a:lnTo>
                <a:lnTo>
                  <a:pt x="4584583" y="4214984"/>
                </a:lnTo>
                <a:lnTo>
                  <a:pt x="4577249" y="4211139"/>
                </a:lnTo>
                <a:lnTo>
                  <a:pt x="4581525" y="4209549"/>
                </a:lnTo>
                <a:cubicBezTo>
                  <a:pt x="4584582" y="4204114"/>
                  <a:pt x="4583223" y="4193243"/>
                  <a:pt x="4587299" y="4182373"/>
                </a:cubicBezTo>
                <a:cubicBezTo>
                  <a:pt x="4579147" y="4176937"/>
                  <a:pt x="4557407" y="4166067"/>
                  <a:pt x="4557407" y="4152479"/>
                </a:cubicBezTo>
                <a:cubicBezTo>
                  <a:pt x="4557407" y="4128021"/>
                  <a:pt x="4568277" y="4133456"/>
                  <a:pt x="4579147" y="4136173"/>
                </a:cubicBezTo>
                <a:close/>
                <a:moveTo>
                  <a:pt x="2638785" y="4119868"/>
                </a:moveTo>
                <a:cubicBezTo>
                  <a:pt x="2636067" y="4119868"/>
                  <a:pt x="2636067" y="4122585"/>
                  <a:pt x="2636067" y="4122585"/>
                </a:cubicBezTo>
                <a:cubicBezTo>
                  <a:pt x="2636067" y="4125303"/>
                  <a:pt x="2633350" y="4125303"/>
                  <a:pt x="2633350" y="4125303"/>
                </a:cubicBezTo>
                <a:cubicBezTo>
                  <a:pt x="2636067" y="4125303"/>
                  <a:pt x="2638785" y="4128021"/>
                  <a:pt x="2644220" y="4130738"/>
                </a:cubicBezTo>
                <a:cubicBezTo>
                  <a:pt x="2644220" y="4128021"/>
                  <a:pt x="2644220" y="4128021"/>
                  <a:pt x="2646938" y="4125303"/>
                </a:cubicBezTo>
                <a:cubicBezTo>
                  <a:pt x="2644220" y="4122585"/>
                  <a:pt x="2641502" y="4122585"/>
                  <a:pt x="2638785" y="4119868"/>
                </a:cubicBezTo>
                <a:close/>
                <a:moveTo>
                  <a:pt x="4402503" y="4108998"/>
                </a:moveTo>
                <a:lnTo>
                  <a:pt x="4402503" y="4125303"/>
                </a:lnTo>
                <a:lnTo>
                  <a:pt x="4418809" y="4122585"/>
                </a:lnTo>
                <a:close/>
                <a:moveTo>
                  <a:pt x="4339999" y="4108998"/>
                </a:moveTo>
                <a:lnTo>
                  <a:pt x="4339999" y="4125303"/>
                </a:lnTo>
                <a:lnTo>
                  <a:pt x="4356305" y="4122585"/>
                </a:lnTo>
                <a:close/>
                <a:moveTo>
                  <a:pt x="4503055" y="4103562"/>
                </a:moveTo>
                <a:lnTo>
                  <a:pt x="4503055" y="4125303"/>
                </a:lnTo>
                <a:lnTo>
                  <a:pt x="4527513" y="4122585"/>
                </a:lnTo>
                <a:close/>
                <a:moveTo>
                  <a:pt x="2766512" y="4092692"/>
                </a:moveTo>
                <a:cubicBezTo>
                  <a:pt x="2755642" y="4092692"/>
                  <a:pt x="2755642" y="4098127"/>
                  <a:pt x="2750206" y="4100845"/>
                </a:cubicBezTo>
                <a:cubicBezTo>
                  <a:pt x="2747489" y="4100845"/>
                  <a:pt x="2744771" y="4100845"/>
                  <a:pt x="2742054" y="4100845"/>
                </a:cubicBezTo>
                <a:cubicBezTo>
                  <a:pt x="2742054" y="4103562"/>
                  <a:pt x="2739336" y="4103562"/>
                  <a:pt x="2739336" y="4106280"/>
                </a:cubicBezTo>
                <a:cubicBezTo>
                  <a:pt x="2736618" y="4108998"/>
                  <a:pt x="2731183" y="4106280"/>
                  <a:pt x="2728466" y="4108998"/>
                </a:cubicBezTo>
                <a:cubicBezTo>
                  <a:pt x="2728466" y="4111715"/>
                  <a:pt x="2725748" y="4111715"/>
                  <a:pt x="2725748" y="4114433"/>
                </a:cubicBezTo>
                <a:cubicBezTo>
                  <a:pt x="2720313" y="4114433"/>
                  <a:pt x="2717595" y="4114433"/>
                  <a:pt x="2714878" y="4114433"/>
                </a:cubicBezTo>
                <a:cubicBezTo>
                  <a:pt x="2714878" y="4117150"/>
                  <a:pt x="2712160" y="4117150"/>
                  <a:pt x="2712160" y="4119868"/>
                </a:cubicBezTo>
                <a:cubicBezTo>
                  <a:pt x="2706725" y="4122585"/>
                  <a:pt x="2704007" y="4122585"/>
                  <a:pt x="2698572" y="4125303"/>
                </a:cubicBezTo>
                <a:cubicBezTo>
                  <a:pt x="2698572" y="4125303"/>
                  <a:pt x="2695854" y="4128021"/>
                  <a:pt x="2695854" y="4128021"/>
                </a:cubicBezTo>
                <a:cubicBezTo>
                  <a:pt x="2701290" y="4130738"/>
                  <a:pt x="2706725" y="4133456"/>
                  <a:pt x="2712160" y="4136173"/>
                </a:cubicBezTo>
                <a:cubicBezTo>
                  <a:pt x="2712160" y="4136173"/>
                  <a:pt x="2714878" y="4136173"/>
                  <a:pt x="2714878" y="4136173"/>
                </a:cubicBezTo>
                <a:cubicBezTo>
                  <a:pt x="2714878" y="4133456"/>
                  <a:pt x="2717595" y="4133456"/>
                  <a:pt x="2717595" y="4130738"/>
                </a:cubicBezTo>
                <a:cubicBezTo>
                  <a:pt x="2720313" y="4128021"/>
                  <a:pt x="2725748" y="4130738"/>
                  <a:pt x="2728466" y="4128021"/>
                </a:cubicBezTo>
                <a:cubicBezTo>
                  <a:pt x="2731183" y="4125303"/>
                  <a:pt x="2728466" y="4122585"/>
                  <a:pt x="2731183" y="4122585"/>
                </a:cubicBezTo>
                <a:cubicBezTo>
                  <a:pt x="2733901" y="4122585"/>
                  <a:pt x="2736618" y="4122585"/>
                  <a:pt x="2739336" y="4122585"/>
                </a:cubicBezTo>
                <a:cubicBezTo>
                  <a:pt x="2742054" y="4122585"/>
                  <a:pt x="2742054" y="4119868"/>
                  <a:pt x="2744771" y="4117150"/>
                </a:cubicBezTo>
                <a:cubicBezTo>
                  <a:pt x="2750206" y="4114433"/>
                  <a:pt x="2755642" y="4111715"/>
                  <a:pt x="2761077" y="4108998"/>
                </a:cubicBezTo>
                <a:cubicBezTo>
                  <a:pt x="2763794" y="4106280"/>
                  <a:pt x="2763794" y="4103562"/>
                  <a:pt x="2766512" y="4100845"/>
                </a:cubicBezTo>
                <a:cubicBezTo>
                  <a:pt x="2766512" y="4098127"/>
                  <a:pt x="2766512" y="4095410"/>
                  <a:pt x="2766512" y="4092692"/>
                </a:cubicBezTo>
                <a:close/>
                <a:moveTo>
                  <a:pt x="2026403" y="4083252"/>
                </a:moveTo>
                <a:lnTo>
                  <a:pt x="2016455" y="4095410"/>
                </a:lnTo>
                <a:lnTo>
                  <a:pt x="2014417" y="4099995"/>
                </a:lnTo>
                <a:lnTo>
                  <a:pt x="2020531" y="4092353"/>
                </a:lnTo>
                <a:close/>
                <a:moveTo>
                  <a:pt x="4454137" y="4073669"/>
                </a:moveTo>
                <a:lnTo>
                  <a:pt x="4440549" y="4089974"/>
                </a:lnTo>
                <a:lnTo>
                  <a:pt x="4456855" y="4098127"/>
                </a:lnTo>
                <a:lnTo>
                  <a:pt x="4448703" y="4114433"/>
                </a:lnTo>
                <a:lnTo>
                  <a:pt x="4473161" y="4111715"/>
                </a:lnTo>
                <a:lnTo>
                  <a:pt x="4456855" y="4098127"/>
                </a:lnTo>
                <a:lnTo>
                  <a:pt x="4462291" y="4084539"/>
                </a:lnTo>
                <a:close/>
                <a:moveTo>
                  <a:pt x="3742128" y="4073668"/>
                </a:moveTo>
                <a:cubicBezTo>
                  <a:pt x="3758434" y="4070950"/>
                  <a:pt x="3761152" y="4084538"/>
                  <a:pt x="3774740" y="4084538"/>
                </a:cubicBezTo>
                <a:cubicBezTo>
                  <a:pt x="3785610" y="4130738"/>
                  <a:pt x="3772022" y="4171502"/>
                  <a:pt x="3788328" y="4206830"/>
                </a:cubicBezTo>
                <a:cubicBezTo>
                  <a:pt x="3755716" y="4223136"/>
                  <a:pt x="3720387" y="4236724"/>
                  <a:pt x="3679623" y="4244877"/>
                </a:cubicBezTo>
                <a:cubicBezTo>
                  <a:pt x="3690493" y="4176937"/>
                  <a:pt x="3714952" y="4125302"/>
                  <a:pt x="3742128" y="4073668"/>
                </a:cubicBezTo>
                <a:close/>
                <a:moveTo>
                  <a:pt x="1432172" y="4065517"/>
                </a:moveTo>
                <a:cubicBezTo>
                  <a:pt x="1432172" y="4065517"/>
                  <a:pt x="1434890" y="4065517"/>
                  <a:pt x="1434890" y="4065517"/>
                </a:cubicBezTo>
                <a:cubicBezTo>
                  <a:pt x="1434890" y="4068234"/>
                  <a:pt x="1437608" y="4070952"/>
                  <a:pt x="1437608" y="4073670"/>
                </a:cubicBezTo>
                <a:cubicBezTo>
                  <a:pt x="1437608" y="4076387"/>
                  <a:pt x="1418584" y="4095410"/>
                  <a:pt x="1415867" y="4098128"/>
                </a:cubicBezTo>
                <a:cubicBezTo>
                  <a:pt x="1418584" y="4092693"/>
                  <a:pt x="1415867" y="4084540"/>
                  <a:pt x="1418584" y="4079105"/>
                </a:cubicBezTo>
                <a:cubicBezTo>
                  <a:pt x="1424020" y="4073670"/>
                  <a:pt x="1429455" y="4073670"/>
                  <a:pt x="1432172" y="4065517"/>
                </a:cubicBezTo>
                <a:close/>
                <a:moveTo>
                  <a:pt x="758209" y="4057364"/>
                </a:moveTo>
                <a:cubicBezTo>
                  <a:pt x="760926" y="4065517"/>
                  <a:pt x="769079" y="4070952"/>
                  <a:pt x="777232" y="4073669"/>
                </a:cubicBezTo>
                <a:cubicBezTo>
                  <a:pt x="779950" y="4089975"/>
                  <a:pt x="774514" y="4100845"/>
                  <a:pt x="760926" y="4106280"/>
                </a:cubicBezTo>
                <a:cubicBezTo>
                  <a:pt x="763644" y="4092692"/>
                  <a:pt x="760926" y="4076387"/>
                  <a:pt x="758209" y="4057364"/>
                </a:cubicBezTo>
                <a:close/>
                <a:moveTo>
                  <a:pt x="4494901" y="4054646"/>
                </a:moveTo>
                <a:lnTo>
                  <a:pt x="4494901" y="4070951"/>
                </a:lnTo>
                <a:cubicBezTo>
                  <a:pt x="4530231" y="4068234"/>
                  <a:pt x="4508489" y="4079104"/>
                  <a:pt x="4524795" y="4054646"/>
                </a:cubicBezTo>
                <a:close/>
                <a:moveTo>
                  <a:pt x="766361" y="4045609"/>
                </a:moveTo>
                <a:lnTo>
                  <a:pt x="769079" y="4054646"/>
                </a:lnTo>
                <a:cubicBezTo>
                  <a:pt x="769079" y="4051928"/>
                  <a:pt x="766361" y="4051928"/>
                  <a:pt x="766361" y="4051928"/>
                </a:cubicBezTo>
                <a:close/>
                <a:moveTo>
                  <a:pt x="764649" y="4039917"/>
                </a:moveTo>
                <a:lnTo>
                  <a:pt x="766361" y="4041058"/>
                </a:lnTo>
                <a:cubicBezTo>
                  <a:pt x="766361" y="4041058"/>
                  <a:pt x="766361" y="4043097"/>
                  <a:pt x="766361" y="4045474"/>
                </a:cubicBezTo>
                <a:lnTo>
                  <a:pt x="766361" y="4045609"/>
                </a:lnTo>
                <a:close/>
                <a:moveTo>
                  <a:pt x="2532799" y="4038340"/>
                </a:moveTo>
                <a:cubicBezTo>
                  <a:pt x="2538234" y="4043775"/>
                  <a:pt x="2546387" y="4049211"/>
                  <a:pt x="2551822" y="4051928"/>
                </a:cubicBezTo>
                <a:cubicBezTo>
                  <a:pt x="2554540" y="4051928"/>
                  <a:pt x="2554540" y="4051928"/>
                  <a:pt x="2554540" y="4051928"/>
                </a:cubicBezTo>
                <a:cubicBezTo>
                  <a:pt x="2549104" y="4046493"/>
                  <a:pt x="2540952" y="4041058"/>
                  <a:pt x="2532799" y="4038340"/>
                </a:cubicBezTo>
                <a:close/>
                <a:moveTo>
                  <a:pt x="2255603" y="4030187"/>
                </a:moveTo>
                <a:cubicBezTo>
                  <a:pt x="2231145" y="4032905"/>
                  <a:pt x="2225710" y="4051928"/>
                  <a:pt x="2209404" y="4060081"/>
                </a:cubicBezTo>
                <a:cubicBezTo>
                  <a:pt x="2201251" y="4065516"/>
                  <a:pt x="2187663" y="4062799"/>
                  <a:pt x="2184946" y="4057363"/>
                </a:cubicBezTo>
                <a:cubicBezTo>
                  <a:pt x="2174075" y="4060081"/>
                  <a:pt x="2174075" y="4065516"/>
                  <a:pt x="2168640" y="4070951"/>
                </a:cubicBezTo>
                <a:cubicBezTo>
                  <a:pt x="2163205" y="4073669"/>
                  <a:pt x="2155052" y="4073669"/>
                  <a:pt x="2146899" y="4079104"/>
                </a:cubicBezTo>
                <a:cubicBezTo>
                  <a:pt x="2146899" y="4079104"/>
                  <a:pt x="2146899" y="4084539"/>
                  <a:pt x="2144182" y="4084539"/>
                </a:cubicBezTo>
                <a:cubicBezTo>
                  <a:pt x="2136029" y="4087257"/>
                  <a:pt x="2125159" y="4081822"/>
                  <a:pt x="2119723" y="4089974"/>
                </a:cubicBezTo>
                <a:cubicBezTo>
                  <a:pt x="2114288" y="4087257"/>
                  <a:pt x="2111571" y="4081822"/>
                  <a:pt x="2108853" y="4079104"/>
                </a:cubicBezTo>
                <a:cubicBezTo>
                  <a:pt x="2103418" y="4079104"/>
                  <a:pt x="2095265" y="4076386"/>
                  <a:pt x="2089830" y="4076386"/>
                </a:cubicBezTo>
                <a:cubicBezTo>
                  <a:pt x="2087112" y="4076386"/>
                  <a:pt x="2087112" y="4070951"/>
                  <a:pt x="2084395" y="4070951"/>
                </a:cubicBezTo>
                <a:cubicBezTo>
                  <a:pt x="2070807" y="4068234"/>
                  <a:pt x="2054501" y="4076386"/>
                  <a:pt x="2046348" y="4070951"/>
                </a:cubicBezTo>
                <a:cubicBezTo>
                  <a:pt x="2042272" y="4070951"/>
                  <a:pt x="2040234" y="4070951"/>
                  <a:pt x="2038536" y="4070612"/>
                </a:cubicBezTo>
                <a:lnTo>
                  <a:pt x="2037196" y="4070060"/>
                </a:lnTo>
                <a:lnTo>
                  <a:pt x="2027573" y="4081822"/>
                </a:lnTo>
                <a:lnTo>
                  <a:pt x="2030043" y="4081822"/>
                </a:lnTo>
                <a:cubicBezTo>
                  <a:pt x="2030043" y="4081822"/>
                  <a:pt x="2030043" y="4084539"/>
                  <a:pt x="2030043" y="4084539"/>
                </a:cubicBezTo>
                <a:cubicBezTo>
                  <a:pt x="2032760" y="4084539"/>
                  <a:pt x="2038196" y="4089974"/>
                  <a:pt x="2040913" y="4089974"/>
                </a:cubicBezTo>
                <a:cubicBezTo>
                  <a:pt x="2043631" y="4089974"/>
                  <a:pt x="2043631" y="4084539"/>
                  <a:pt x="2049066" y="4087257"/>
                </a:cubicBezTo>
                <a:cubicBezTo>
                  <a:pt x="2051784" y="4087257"/>
                  <a:pt x="2054501" y="4092692"/>
                  <a:pt x="2059936" y="4089974"/>
                </a:cubicBezTo>
                <a:cubicBezTo>
                  <a:pt x="2062654" y="4087257"/>
                  <a:pt x="2070807" y="4079104"/>
                  <a:pt x="2078960" y="4084539"/>
                </a:cubicBezTo>
                <a:cubicBezTo>
                  <a:pt x="2078960" y="4087257"/>
                  <a:pt x="2081677" y="4087257"/>
                  <a:pt x="2081677" y="4089974"/>
                </a:cubicBezTo>
                <a:cubicBezTo>
                  <a:pt x="2089830" y="4092692"/>
                  <a:pt x="2097983" y="4092692"/>
                  <a:pt x="2106135" y="4092692"/>
                </a:cubicBezTo>
                <a:cubicBezTo>
                  <a:pt x="2106135" y="4098127"/>
                  <a:pt x="2108853" y="4098127"/>
                  <a:pt x="2111571" y="4103562"/>
                </a:cubicBezTo>
                <a:cubicBezTo>
                  <a:pt x="2119723" y="4103562"/>
                  <a:pt x="2125159" y="4103562"/>
                  <a:pt x="2133311" y="4103562"/>
                </a:cubicBezTo>
                <a:cubicBezTo>
                  <a:pt x="2133311" y="4100845"/>
                  <a:pt x="2136029" y="4098127"/>
                  <a:pt x="2136029" y="4098127"/>
                </a:cubicBezTo>
                <a:cubicBezTo>
                  <a:pt x="2144182" y="4092692"/>
                  <a:pt x="2157770" y="4092692"/>
                  <a:pt x="2165922" y="4087257"/>
                </a:cubicBezTo>
                <a:cubicBezTo>
                  <a:pt x="2171358" y="4084539"/>
                  <a:pt x="2176793" y="4076386"/>
                  <a:pt x="2182228" y="4073669"/>
                </a:cubicBezTo>
                <a:cubicBezTo>
                  <a:pt x="2184946" y="4070951"/>
                  <a:pt x="2203969" y="4073669"/>
                  <a:pt x="2206686" y="4076386"/>
                </a:cubicBezTo>
                <a:cubicBezTo>
                  <a:pt x="2220274" y="4076386"/>
                  <a:pt x="2217557" y="4068234"/>
                  <a:pt x="2225710" y="4060081"/>
                </a:cubicBezTo>
                <a:cubicBezTo>
                  <a:pt x="2231145" y="4057363"/>
                  <a:pt x="2236580" y="4054646"/>
                  <a:pt x="2239298" y="4051928"/>
                </a:cubicBezTo>
                <a:cubicBezTo>
                  <a:pt x="2242015" y="4049211"/>
                  <a:pt x="2242015" y="4046493"/>
                  <a:pt x="2244733" y="4043775"/>
                </a:cubicBezTo>
                <a:cubicBezTo>
                  <a:pt x="2244733" y="4043775"/>
                  <a:pt x="2247450" y="4043775"/>
                  <a:pt x="2250168" y="4043775"/>
                </a:cubicBezTo>
                <a:cubicBezTo>
                  <a:pt x="2252886" y="4041058"/>
                  <a:pt x="2255603" y="4038340"/>
                  <a:pt x="2258321" y="4035623"/>
                </a:cubicBezTo>
                <a:cubicBezTo>
                  <a:pt x="2258321" y="4032905"/>
                  <a:pt x="2258321" y="4032905"/>
                  <a:pt x="2255603" y="4030187"/>
                </a:cubicBezTo>
                <a:close/>
                <a:moveTo>
                  <a:pt x="1475654" y="4027470"/>
                </a:moveTo>
                <a:cubicBezTo>
                  <a:pt x="1478371" y="4030187"/>
                  <a:pt x="1478371" y="4027470"/>
                  <a:pt x="1478371" y="4032905"/>
                </a:cubicBezTo>
                <a:cubicBezTo>
                  <a:pt x="1481089" y="4032905"/>
                  <a:pt x="1483807" y="4035623"/>
                  <a:pt x="1486524" y="4032905"/>
                </a:cubicBezTo>
                <a:cubicBezTo>
                  <a:pt x="1486524" y="4032905"/>
                  <a:pt x="1489242" y="4032905"/>
                  <a:pt x="1491959" y="4032905"/>
                </a:cubicBezTo>
                <a:cubicBezTo>
                  <a:pt x="1494677" y="4046493"/>
                  <a:pt x="1497395" y="4068234"/>
                  <a:pt x="1500112" y="4084539"/>
                </a:cubicBezTo>
                <a:cubicBezTo>
                  <a:pt x="1502830" y="4103562"/>
                  <a:pt x="1491959" y="4122585"/>
                  <a:pt x="1500112" y="4141609"/>
                </a:cubicBezTo>
                <a:cubicBezTo>
                  <a:pt x="1500112" y="4141609"/>
                  <a:pt x="1502830" y="4144326"/>
                  <a:pt x="1502830" y="4144326"/>
                </a:cubicBezTo>
                <a:cubicBezTo>
                  <a:pt x="1502830" y="4147044"/>
                  <a:pt x="1502830" y="4147044"/>
                  <a:pt x="1502830" y="4149761"/>
                </a:cubicBezTo>
                <a:cubicBezTo>
                  <a:pt x="1505547" y="4149761"/>
                  <a:pt x="1508265" y="4152479"/>
                  <a:pt x="1510982" y="4152479"/>
                </a:cubicBezTo>
                <a:cubicBezTo>
                  <a:pt x="1510982" y="4155196"/>
                  <a:pt x="1510982" y="4155196"/>
                  <a:pt x="1510982" y="4157914"/>
                </a:cubicBezTo>
                <a:cubicBezTo>
                  <a:pt x="1510982" y="4157914"/>
                  <a:pt x="1516418" y="4157914"/>
                  <a:pt x="1516418" y="4160632"/>
                </a:cubicBezTo>
                <a:cubicBezTo>
                  <a:pt x="1516418" y="4160632"/>
                  <a:pt x="1516418" y="4163349"/>
                  <a:pt x="1516418" y="4166067"/>
                </a:cubicBezTo>
                <a:cubicBezTo>
                  <a:pt x="1519135" y="4166067"/>
                  <a:pt x="1521853" y="4168784"/>
                  <a:pt x="1524570" y="4168784"/>
                </a:cubicBezTo>
                <a:cubicBezTo>
                  <a:pt x="1524570" y="4171502"/>
                  <a:pt x="1524570" y="4171502"/>
                  <a:pt x="1524570" y="4174220"/>
                </a:cubicBezTo>
                <a:cubicBezTo>
                  <a:pt x="1527288" y="4179655"/>
                  <a:pt x="1532723" y="4182372"/>
                  <a:pt x="1535441" y="4185090"/>
                </a:cubicBezTo>
                <a:cubicBezTo>
                  <a:pt x="1535441" y="4187808"/>
                  <a:pt x="1535441" y="4187808"/>
                  <a:pt x="1535441" y="4190525"/>
                </a:cubicBezTo>
                <a:cubicBezTo>
                  <a:pt x="1538158" y="4193243"/>
                  <a:pt x="1538158" y="4193243"/>
                  <a:pt x="1540876" y="4193243"/>
                </a:cubicBezTo>
                <a:cubicBezTo>
                  <a:pt x="1508265" y="4190525"/>
                  <a:pt x="1456631" y="4198678"/>
                  <a:pt x="1459348" y="4155196"/>
                </a:cubicBezTo>
                <a:cubicBezTo>
                  <a:pt x="1443043" y="4157914"/>
                  <a:pt x="1434890" y="4174220"/>
                  <a:pt x="1410432" y="4166067"/>
                </a:cubicBezTo>
                <a:cubicBezTo>
                  <a:pt x="1407714" y="4160632"/>
                  <a:pt x="1410432" y="4147044"/>
                  <a:pt x="1413149" y="4136173"/>
                </a:cubicBezTo>
                <a:cubicBezTo>
                  <a:pt x="1404996" y="4136173"/>
                  <a:pt x="1396844" y="4133456"/>
                  <a:pt x="1391408" y="4130738"/>
                </a:cubicBezTo>
                <a:lnTo>
                  <a:pt x="1407714" y="4130738"/>
                </a:lnTo>
                <a:cubicBezTo>
                  <a:pt x="1415867" y="4122585"/>
                  <a:pt x="1429455" y="4119868"/>
                  <a:pt x="1434890" y="4111715"/>
                </a:cubicBezTo>
                <a:cubicBezTo>
                  <a:pt x="1443043" y="4100845"/>
                  <a:pt x="1445760" y="4087257"/>
                  <a:pt x="1456631" y="4079104"/>
                </a:cubicBezTo>
                <a:cubicBezTo>
                  <a:pt x="1456631" y="4068234"/>
                  <a:pt x="1453913" y="4060081"/>
                  <a:pt x="1453913" y="4043775"/>
                </a:cubicBezTo>
                <a:cubicBezTo>
                  <a:pt x="1459348" y="4038340"/>
                  <a:pt x="1470219" y="4035623"/>
                  <a:pt x="1475654" y="4027470"/>
                </a:cubicBezTo>
                <a:close/>
                <a:moveTo>
                  <a:pt x="842455" y="4024753"/>
                </a:moveTo>
                <a:cubicBezTo>
                  <a:pt x="847890" y="4032906"/>
                  <a:pt x="856043" y="4038341"/>
                  <a:pt x="858760" y="4046494"/>
                </a:cubicBezTo>
                <a:cubicBezTo>
                  <a:pt x="856043" y="4049211"/>
                  <a:pt x="856043" y="4049211"/>
                  <a:pt x="853325" y="4049211"/>
                </a:cubicBezTo>
                <a:cubicBezTo>
                  <a:pt x="853325" y="4046494"/>
                  <a:pt x="847890" y="4043776"/>
                  <a:pt x="845172" y="4038341"/>
                </a:cubicBezTo>
                <a:cubicBezTo>
                  <a:pt x="845172" y="4038341"/>
                  <a:pt x="845172" y="4035623"/>
                  <a:pt x="845172" y="4032906"/>
                </a:cubicBezTo>
                <a:cubicBezTo>
                  <a:pt x="845172" y="4032906"/>
                  <a:pt x="842455" y="4030188"/>
                  <a:pt x="842455" y="4030188"/>
                </a:cubicBezTo>
                <a:cubicBezTo>
                  <a:pt x="842455" y="4027470"/>
                  <a:pt x="842455" y="4027470"/>
                  <a:pt x="842455" y="4024753"/>
                </a:cubicBezTo>
                <a:close/>
                <a:moveTo>
                  <a:pt x="4454137" y="4024752"/>
                </a:moveTo>
                <a:lnTo>
                  <a:pt x="4462291" y="4038340"/>
                </a:lnTo>
                <a:lnTo>
                  <a:pt x="4454137" y="4046493"/>
                </a:lnTo>
                <a:lnTo>
                  <a:pt x="4440549" y="4038340"/>
                </a:lnTo>
                <a:lnTo>
                  <a:pt x="4440549" y="4060081"/>
                </a:lnTo>
                <a:lnTo>
                  <a:pt x="4470443" y="4068234"/>
                </a:lnTo>
                <a:lnTo>
                  <a:pt x="4462291" y="4038340"/>
                </a:lnTo>
                <a:lnTo>
                  <a:pt x="4478597" y="4024752"/>
                </a:lnTo>
                <a:close/>
                <a:moveTo>
                  <a:pt x="1559305" y="4023648"/>
                </a:moveTo>
                <a:cubicBezTo>
                  <a:pt x="1563466" y="4023733"/>
                  <a:pt x="1566694" y="4024073"/>
                  <a:pt x="1568052" y="4024752"/>
                </a:cubicBezTo>
                <a:cubicBezTo>
                  <a:pt x="1570769" y="4024752"/>
                  <a:pt x="1570769" y="4027470"/>
                  <a:pt x="1573487" y="4030187"/>
                </a:cubicBezTo>
                <a:cubicBezTo>
                  <a:pt x="1584357" y="4030187"/>
                  <a:pt x="1592510" y="4032905"/>
                  <a:pt x="1600663" y="4032905"/>
                </a:cubicBezTo>
                <a:cubicBezTo>
                  <a:pt x="1600663" y="4038340"/>
                  <a:pt x="1603381" y="4038340"/>
                  <a:pt x="1606098" y="4041058"/>
                </a:cubicBezTo>
                <a:cubicBezTo>
                  <a:pt x="1608816" y="4043775"/>
                  <a:pt x="1606098" y="4049211"/>
                  <a:pt x="1608816" y="4051928"/>
                </a:cubicBezTo>
                <a:cubicBezTo>
                  <a:pt x="1611533" y="4051928"/>
                  <a:pt x="1611533" y="4051928"/>
                  <a:pt x="1614251" y="4051928"/>
                </a:cubicBezTo>
                <a:cubicBezTo>
                  <a:pt x="1614251" y="4051928"/>
                  <a:pt x="1614251" y="4054646"/>
                  <a:pt x="1614251" y="4057363"/>
                </a:cubicBezTo>
                <a:cubicBezTo>
                  <a:pt x="1622404" y="4068234"/>
                  <a:pt x="1627840" y="4079104"/>
                  <a:pt x="1630558" y="4095410"/>
                </a:cubicBezTo>
                <a:cubicBezTo>
                  <a:pt x="1625122" y="4098127"/>
                  <a:pt x="1627840" y="4103563"/>
                  <a:pt x="1622404" y="4111715"/>
                </a:cubicBezTo>
                <a:cubicBezTo>
                  <a:pt x="1619686" y="4117151"/>
                  <a:pt x="1608816" y="4125303"/>
                  <a:pt x="1606098" y="4130739"/>
                </a:cubicBezTo>
                <a:cubicBezTo>
                  <a:pt x="1595228" y="4149762"/>
                  <a:pt x="1592510" y="4174220"/>
                  <a:pt x="1581640" y="4193243"/>
                </a:cubicBezTo>
                <a:cubicBezTo>
                  <a:pt x="1578922" y="4193243"/>
                  <a:pt x="1576205" y="4193243"/>
                  <a:pt x="1576205" y="4190526"/>
                </a:cubicBezTo>
                <a:cubicBezTo>
                  <a:pt x="1573487" y="4185090"/>
                  <a:pt x="1568052" y="4179655"/>
                  <a:pt x="1565334" y="4174220"/>
                </a:cubicBezTo>
                <a:cubicBezTo>
                  <a:pt x="1565334" y="4174220"/>
                  <a:pt x="1565334" y="4171503"/>
                  <a:pt x="1565334" y="4171503"/>
                </a:cubicBezTo>
                <a:cubicBezTo>
                  <a:pt x="1565334" y="4168785"/>
                  <a:pt x="1559899" y="4166067"/>
                  <a:pt x="1559899" y="4163350"/>
                </a:cubicBezTo>
                <a:cubicBezTo>
                  <a:pt x="1557181" y="4160632"/>
                  <a:pt x="1554464" y="4160632"/>
                  <a:pt x="1551746" y="4157915"/>
                </a:cubicBezTo>
                <a:cubicBezTo>
                  <a:pt x="1551746" y="4157915"/>
                  <a:pt x="1551746" y="4155197"/>
                  <a:pt x="1551746" y="4155197"/>
                </a:cubicBezTo>
                <a:cubicBezTo>
                  <a:pt x="1549029" y="4152479"/>
                  <a:pt x="1546311" y="4155197"/>
                  <a:pt x="1543593" y="4152479"/>
                </a:cubicBezTo>
                <a:cubicBezTo>
                  <a:pt x="1540876" y="4152479"/>
                  <a:pt x="1543593" y="4149762"/>
                  <a:pt x="1540876" y="4147044"/>
                </a:cubicBezTo>
                <a:cubicBezTo>
                  <a:pt x="1538158" y="4147044"/>
                  <a:pt x="1535441" y="4144327"/>
                  <a:pt x="1532723" y="4144327"/>
                </a:cubicBezTo>
                <a:cubicBezTo>
                  <a:pt x="1530005" y="4141609"/>
                  <a:pt x="1530005" y="4138891"/>
                  <a:pt x="1527288" y="4136174"/>
                </a:cubicBezTo>
                <a:cubicBezTo>
                  <a:pt x="1527288" y="4122586"/>
                  <a:pt x="1527288" y="4111715"/>
                  <a:pt x="1524570" y="4100845"/>
                </a:cubicBezTo>
                <a:cubicBezTo>
                  <a:pt x="1521853" y="4095410"/>
                  <a:pt x="1524570" y="4076387"/>
                  <a:pt x="1524570" y="4068234"/>
                </a:cubicBezTo>
                <a:cubicBezTo>
                  <a:pt x="1521853" y="4054646"/>
                  <a:pt x="1527288" y="4041058"/>
                  <a:pt x="1521853" y="4032905"/>
                </a:cubicBezTo>
                <a:cubicBezTo>
                  <a:pt x="1521853" y="4030187"/>
                  <a:pt x="1521853" y="4030187"/>
                  <a:pt x="1521853" y="4027470"/>
                </a:cubicBezTo>
                <a:cubicBezTo>
                  <a:pt x="1525930" y="4025432"/>
                  <a:pt x="1546821" y="4023394"/>
                  <a:pt x="1559305" y="4023648"/>
                </a:cubicBezTo>
                <a:close/>
                <a:moveTo>
                  <a:pt x="1220200" y="4022036"/>
                </a:moveTo>
                <a:cubicBezTo>
                  <a:pt x="1220200" y="4022036"/>
                  <a:pt x="1222917" y="4024753"/>
                  <a:pt x="1222917" y="4024753"/>
                </a:cubicBezTo>
                <a:cubicBezTo>
                  <a:pt x="1220200" y="4024753"/>
                  <a:pt x="1220200" y="4024753"/>
                  <a:pt x="1220200" y="4024753"/>
                </a:cubicBezTo>
                <a:cubicBezTo>
                  <a:pt x="1220200" y="4024753"/>
                  <a:pt x="1220200" y="4022036"/>
                  <a:pt x="1220200" y="4022036"/>
                </a:cubicBezTo>
                <a:close/>
                <a:moveTo>
                  <a:pt x="4641651" y="4022035"/>
                </a:moveTo>
                <a:lnTo>
                  <a:pt x="4625345" y="4024752"/>
                </a:lnTo>
                <a:lnTo>
                  <a:pt x="4641651" y="4038340"/>
                </a:lnTo>
                <a:lnTo>
                  <a:pt x="4663393" y="4046493"/>
                </a:lnTo>
                <a:lnTo>
                  <a:pt x="4663393" y="4022035"/>
                </a:lnTo>
                <a:lnTo>
                  <a:pt x="4641651" y="4038340"/>
                </a:lnTo>
                <a:close/>
                <a:moveTo>
                  <a:pt x="682116" y="4013883"/>
                </a:moveTo>
                <a:cubicBezTo>
                  <a:pt x="684834" y="4019318"/>
                  <a:pt x="687551" y="4022036"/>
                  <a:pt x="690269" y="4027471"/>
                </a:cubicBezTo>
                <a:cubicBezTo>
                  <a:pt x="687551" y="4030188"/>
                  <a:pt x="682116" y="4030188"/>
                  <a:pt x="679399" y="4030188"/>
                </a:cubicBezTo>
                <a:cubicBezTo>
                  <a:pt x="679399" y="4024753"/>
                  <a:pt x="682116" y="4022036"/>
                  <a:pt x="682116" y="4013883"/>
                </a:cubicBezTo>
                <a:close/>
                <a:moveTo>
                  <a:pt x="3774740" y="4011165"/>
                </a:moveTo>
                <a:cubicBezTo>
                  <a:pt x="3780175" y="4032906"/>
                  <a:pt x="3777458" y="4049211"/>
                  <a:pt x="3777458" y="4073669"/>
                </a:cubicBezTo>
                <a:cubicBezTo>
                  <a:pt x="3761151" y="4073669"/>
                  <a:pt x="3761151" y="4060081"/>
                  <a:pt x="3755716" y="4054646"/>
                </a:cubicBezTo>
                <a:cubicBezTo>
                  <a:pt x="3758433" y="4038341"/>
                  <a:pt x="3769305" y="4027470"/>
                  <a:pt x="3774740" y="4011165"/>
                </a:cubicBezTo>
                <a:close/>
                <a:moveTo>
                  <a:pt x="4315541" y="4008447"/>
                </a:moveTo>
                <a:lnTo>
                  <a:pt x="4331845" y="4024752"/>
                </a:lnTo>
                <a:lnTo>
                  <a:pt x="4339999" y="4008447"/>
                </a:lnTo>
                <a:close/>
                <a:moveTo>
                  <a:pt x="3861702" y="3992142"/>
                </a:moveTo>
                <a:cubicBezTo>
                  <a:pt x="3864420" y="3992142"/>
                  <a:pt x="3867137" y="3994859"/>
                  <a:pt x="3872572" y="3997577"/>
                </a:cubicBezTo>
                <a:cubicBezTo>
                  <a:pt x="3864420" y="4011165"/>
                  <a:pt x="3858984" y="4024753"/>
                  <a:pt x="3842678" y="4027470"/>
                </a:cubicBezTo>
                <a:lnTo>
                  <a:pt x="3842678" y="4011165"/>
                </a:lnTo>
                <a:cubicBezTo>
                  <a:pt x="3850831" y="4005730"/>
                  <a:pt x="3867137" y="4005730"/>
                  <a:pt x="3861702" y="3992142"/>
                </a:cubicBezTo>
                <a:close/>
                <a:moveTo>
                  <a:pt x="4630781" y="3992141"/>
                </a:moveTo>
                <a:lnTo>
                  <a:pt x="4617193" y="4008447"/>
                </a:lnTo>
                <a:lnTo>
                  <a:pt x="4633499" y="4016599"/>
                </a:lnTo>
                <a:close/>
                <a:moveTo>
                  <a:pt x="4432397" y="3992141"/>
                </a:moveTo>
                <a:lnTo>
                  <a:pt x="4407939" y="3994859"/>
                </a:lnTo>
                <a:lnTo>
                  <a:pt x="4424245" y="4008447"/>
                </a:lnTo>
                <a:close/>
                <a:moveTo>
                  <a:pt x="623306" y="3988829"/>
                </a:moveTo>
                <a:cubicBezTo>
                  <a:pt x="618083" y="3986196"/>
                  <a:pt x="611459" y="3986706"/>
                  <a:pt x="603306" y="3992141"/>
                </a:cubicBezTo>
                <a:cubicBezTo>
                  <a:pt x="608741" y="4019317"/>
                  <a:pt x="614176" y="4046493"/>
                  <a:pt x="635917" y="4049211"/>
                </a:cubicBezTo>
                <a:cubicBezTo>
                  <a:pt x="642032" y="4032905"/>
                  <a:pt x="638974" y="3996727"/>
                  <a:pt x="623306" y="3988829"/>
                </a:cubicBezTo>
                <a:close/>
                <a:moveTo>
                  <a:pt x="1478371" y="3986707"/>
                </a:moveTo>
                <a:cubicBezTo>
                  <a:pt x="1481089" y="3992142"/>
                  <a:pt x="1483806" y="3997577"/>
                  <a:pt x="1483806" y="4008448"/>
                </a:cubicBezTo>
                <a:cubicBezTo>
                  <a:pt x="1475654" y="4011165"/>
                  <a:pt x="1464783" y="4016600"/>
                  <a:pt x="1456631" y="4019318"/>
                </a:cubicBezTo>
                <a:cubicBezTo>
                  <a:pt x="1456631" y="4013883"/>
                  <a:pt x="1453913" y="4005730"/>
                  <a:pt x="1456631" y="4003012"/>
                </a:cubicBezTo>
                <a:cubicBezTo>
                  <a:pt x="1459348" y="3997577"/>
                  <a:pt x="1459348" y="4003012"/>
                  <a:pt x="1464783" y="4000295"/>
                </a:cubicBezTo>
                <a:cubicBezTo>
                  <a:pt x="1470219" y="3997577"/>
                  <a:pt x="1472936" y="3989424"/>
                  <a:pt x="1478371" y="3986707"/>
                </a:cubicBezTo>
                <a:close/>
                <a:moveTo>
                  <a:pt x="788103" y="3986707"/>
                </a:moveTo>
                <a:cubicBezTo>
                  <a:pt x="798973" y="3997577"/>
                  <a:pt x="809843" y="4003012"/>
                  <a:pt x="820714" y="4008448"/>
                </a:cubicBezTo>
                <a:cubicBezTo>
                  <a:pt x="826149" y="4022035"/>
                  <a:pt x="837019" y="4035623"/>
                  <a:pt x="842455" y="4049211"/>
                </a:cubicBezTo>
                <a:cubicBezTo>
                  <a:pt x="817996" y="4051929"/>
                  <a:pt x="801691" y="4027471"/>
                  <a:pt x="788103" y="4005730"/>
                </a:cubicBezTo>
                <a:cubicBezTo>
                  <a:pt x="788103" y="4003012"/>
                  <a:pt x="788103" y="3997577"/>
                  <a:pt x="788103" y="3994860"/>
                </a:cubicBezTo>
                <a:cubicBezTo>
                  <a:pt x="788103" y="3994860"/>
                  <a:pt x="788103" y="3989424"/>
                  <a:pt x="788103" y="3986707"/>
                </a:cubicBezTo>
                <a:close/>
                <a:moveTo>
                  <a:pt x="4503055" y="3978553"/>
                </a:moveTo>
                <a:lnTo>
                  <a:pt x="4503055" y="4000294"/>
                </a:lnTo>
                <a:lnTo>
                  <a:pt x="4519359" y="3992141"/>
                </a:lnTo>
                <a:close/>
                <a:moveTo>
                  <a:pt x="4478597" y="3978553"/>
                </a:moveTo>
                <a:lnTo>
                  <a:pt x="4478597" y="3992141"/>
                </a:lnTo>
                <a:lnTo>
                  <a:pt x="4494901" y="3978553"/>
                </a:lnTo>
                <a:close/>
                <a:moveTo>
                  <a:pt x="3791044" y="3978553"/>
                </a:moveTo>
                <a:cubicBezTo>
                  <a:pt x="3804632" y="3981270"/>
                  <a:pt x="3812786" y="3983988"/>
                  <a:pt x="3826374" y="3981270"/>
                </a:cubicBezTo>
                <a:cubicBezTo>
                  <a:pt x="3829091" y="3983988"/>
                  <a:pt x="3818221" y="4005729"/>
                  <a:pt x="3831809" y="3997576"/>
                </a:cubicBezTo>
                <a:cubicBezTo>
                  <a:pt x="3837244" y="4003011"/>
                  <a:pt x="3831809" y="4019317"/>
                  <a:pt x="3834527" y="4027469"/>
                </a:cubicBezTo>
                <a:cubicBezTo>
                  <a:pt x="3807351" y="4035622"/>
                  <a:pt x="3796479" y="4060081"/>
                  <a:pt x="3788326" y="4084539"/>
                </a:cubicBezTo>
                <a:cubicBezTo>
                  <a:pt x="3774738" y="4062798"/>
                  <a:pt x="3799197" y="4041057"/>
                  <a:pt x="3793762" y="4024752"/>
                </a:cubicBezTo>
                <a:cubicBezTo>
                  <a:pt x="3791044" y="4027469"/>
                  <a:pt x="3791044" y="4030187"/>
                  <a:pt x="3788326" y="4032905"/>
                </a:cubicBezTo>
                <a:cubicBezTo>
                  <a:pt x="3782891" y="4013881"/>
                  <a:pt x="3780174" y="3992141"/>
                  <a:pt x="3791044" y="3978553"/>
                </a:cubicBezTo>
                <a:close/>
                <a:moveTo>
                  <a:pt x="4524795" y="3962247"/>
                </a:moveTo>
                <a:lnTo>
                  <a:pt x="4524795" y="3978553"/>
                </a:lnTo>
                <a:lnTo>
                  <a:pt x="4541101" y="3962247"/>
                </a:lnTo>
                <a:close/>
                <a:moveTo>
                  <a:pt x="2432248" y="3956812"/>
                </a:moveTo>
                <a:cubicBezTo>
                  <a:pt x="2432248" y="3959530"/>
                  <a:pt x="2432248" y="3959530"/>
                  <a:pt x="2434965" y="3962247"/>
                </a:cubicBezTo>
                <a:cubicBezTo>
                  <a:pt x="2440401" y="3964965"/>
                  <a:pt x="2443118" y="3970400"/>
                  <a:pt x="2451271" y="3973118"/>
                </a:cubicBezTo>
                <a:cubicBezTo>
                  <a:pt x="2451271" y="3973118"/>
                  <a:pt x="2451271" y="3970400"/>
                  <a:pt x="2451271" y="3970400"/>
                </a:cubicBezTo>
                <a:cubicBezTo>
                  <a:pt x="2443118" y="3967683"/>
                  <a:pt x="2437683" y="3962247"/>
                  <a:pt x="2432248" y="3956812"/>
                </a:cubicBezTo>
                <a:close/>
                <a:moveTo>
                  <a:pt x="3948665" y="3954096"/>
                </a:moveTo>
                <a:cubicBezTo>
                  <a:pt x="3948665" y="3964966"/>
                  <a:pt x="3937795" y="3978554"/>
                  <a:pt x="3943230" y="3986707"/>
                </a:cubicBezTo>
                <a:cubicBezTo>
                  <a:pt x="3940512" y="3992142"/>
                  <a:pt x="3935077" y="3994860"/>
                  <a:pt x="3926924" y="3994860"/>
                </a:cubicBezTo>
                <a:cubicBezTo>
                  <a:pt x="3929642" y="3978554"/>
                  <a:pt x="3916053" y="3992142"/>
                  <a:pt x="3910618" y="3986707"/>
                </a:cubicBezTo>
                <a:cubicBezTo>
                  <a:pt x="3918771" y="3970401"/>
                  <a:pt x="3929642" y="3959531"/>
                  <a:pt x="3948665" y="3954096"/>
                </a:cubicBezTo>
                <a:close/>
                <a:moveTo>
                  <a:pt x="1019098" y="3954096"/>
                </a:moveTo>
                <a:cubicBezTo>
                  <a:pt x="1032686" y="3962248"/>
                  <a:pt x="1048992" y="3973119"/>
                  <a:pt x="1057145" y="3989424"/>
                </a:cubicBezTo>
                <a:cubicBezTo>
                  <a:pt x="1046274" y="3989424"/>
                  <a:pt x="1043557" y="3997577"/>
                  <a:pt x="1029969" y="3997577"/>
                </a:cubicBezTo>
                <a:cubicBezTo>
                  <a:pt x="1038121" y="4022036"/>
                  <a:pt x="1065297" y="4013883"/>
                  <a:pt x="1068015" y="4043776"/>
                </a:cubicBezTo>
                <a:cubicBezTo>
                  <a:pt x="1062580" y="4046494"/>
                  <a:pt x="1059862" y="4046494"/>
                  <a:pt x="1054427" y="4049211"/>
                </a:cubicBezTo>
                <a:cubicBezTo>
                  <a:pt x="1054427" y="4046494"/>
                  <a:pt x="1054427" y="4046494"/>
                  <a:pt x="1054427" y="4043776"/>
                </a:cubicBezTo>
                <a:cubicBezTo>
                  <a:pt x="1051709" y="4041059"/>
                  <a:pt x="1048992" y="4038341"/>
                  <a:pt x="1046274" y="4035624"/>
                </a:cubicBezTo>
                <a:cubicBezTo>
                  <a:pt x="1043557" y="4027471"/>
                  <a:pt x="1040839" y="4022036"/>
                  <a:pt x="1038121" y="4016600"/>
                </a:cubicBezTo>
                <a:cubicBezTo>
                  <a:pt x="1038121" y="4013883"/>
                  <a:pt x="1035404" y="4013883"/>
                  <a:pt x="1032686" y="4011165"/>
                </a:cubicBezTo>
                <a:cubicBezTo>
                  <a:pt x="1027251" y="4003012"/>
                  <a:pt x="1016381" y="3975836"/>
                  <a:pt x="1016381" y="3962248"/>
                </a:cubicBezTo>
                <a:cubicBezTo>
                  <a:pt x="1016381" y="3959531"/>
                  <a:pt x="1016381" y="3956813"/>
                  <a:pt x="1019098" y="3954096"/>
                </a:cubicBezTo>
                <a:close/>
                <a:moveTo>
                  <a:pt x="4194267" y="3951038"/>
                </a:moveTo>
                <a:lnTo>
                  <a:pt x="4194236" y="3951048"/>
                </a:lnTo>
                <a:lnTo>
                  <a:pt x="4195984" y="3960089"/>
                </a:lnTo>
                <a:lnTo>
                  <a:pt x="4201401" y="3954095"/>
                </a:lnTo>
                <a:cubicBezTo>
                  <a:pt x="4200042" y="3950019"/>
                  <a:pt x="4197324" y="3950019"/>
                  <a:pt x="4194267" y="3951038"/>
                </a:cubicBezTo>
                <a:close/>
                <a:moveTo>
                  <a:pt x="4418809" y="3940507"/>
                </a:moveTo>
                <a:cubicBezTo>
                  <a:pt x="4405221" y="3956812"/>
                  <a:pt x="4407939" y="3948659"/>
                  <a:pt x="4402503" y="3970400"/>
                </a:cubicBezTo>
                <a:cubicBezTo>
                  <a:pt x="4424245" y="3964965"/>
                  <a:pt x="4413373" y="3967683"/>
                  <a:pt x="4432397" y="3956812"/>
                </a:cubicBezTo>
                <a:lnTo>
                  <a:pt x="4432397" y="3978553"/>
                </a:lnTo>
                <a:cubicBezTo>
                  <a:pt x="4440549" y="3973118"/>
                  <a:pt x="4440549" y="3970400"/>
                  <a:pt x="4454137" y="3970400"/>
                </a:cubicBezTo>
                <a:lnTo>
                  <a:pt x="4478597" y="3970400"/>
                </a:lnTo>
                <a:lnTo>
                  <a:pt x="4462291" y="3948659"/>
                </a:lnTo>
                <a:lnTo>
                  <a:pt x="4448703" y="3956812"/>
                </a:lnTo>
                <a:lnTo>
                  <a:pt x="4440549" y="3940507"/>
                </a:lnTo>
                <a:cubicBezTo>
                  <a:pt x="4421527" y="3948659"/>
                  <a:pt x="4437833" y="3948659"/>
                  <a:pt x="4418809" y="3940507"/>
                </a:cubicBezTo>
                <a:close/>
                <a:moveTo>
                  <a:pt x="720162" y="3935071"/>
                </a:moveTo>
                <a:cubicBezTo>
                  <a:pt x="720162" y="3935071"/>
                  <a:pt x="720162" y="3937789"/>
                  <a:pt x="720162" y="3937789"/>
                </a:cubicBezTo>
                <a:cubicBezTo>
                  <a:pt x="720162" y="3935071"/>
                  <a:pt x="722880" y="3937789"/>
                  <a:pt x="720162" y="3935071"/>
                </a:cubicBezTo>
                <a:close/>
                <a:moveTo>
                  <a:pt x="2333731" y="3934525"/>
                </a:moveTo>
                <a:lnTo>
                  <a:pt x="2328299" y="3939488"/>
                </a:lnTo>
                <a:lnTo>
                  <a:pt x="2326361" y="3941974"/>
                </a:lnTo>
                <a:lnTo>
                  <a:pt x="2334414" y="3935071"/>
                </a:lnTo>
                <a:close/>
                <a:moveTo>
                  <a:pt x="478296" y="3924201"/>
                </a:moveTo>
                <a:cubicBezTo>
                  <a:pt x="456556" y="3926919"/>
                  <a:pt x="440250" y="3935071"/>
                  <a:pt x="442968" y="3954095"/>
                </a:cubicBezTo>
                <a:cubicBezTo>
                  <a:pt x="453838" y="3962247"/>
                  <a:pt x="464708" y="3967683"/>
                  <a:pt x="483732" y="3959530"/>
                </a:cubicBezTo>
                <a:cubicBezTo>
                  <a:pt x="483732" y="3948659"/>
                  <a:pt x="481014" y="3935071"/>
                  <a:pt x="478296" y="3924201"/>
                </a:cubicBezTo>
                <a:close/>
                <a:moveTo>
                  <a:pt x="2388766" y="3918766"/>
                </a:moveTo>
                <a:cubicBezTo>
                  <a:pt x="2386049" y="3921483"/>
                  <a:pt x="2386049" y="3921483"/>
                  <a:pt x="2386049" y="3921483"/>
                </a:cubicBezTo>
                <a:cubicBezTo>
                  <a:pt x="2391484" y="3924201"/>
                  <a:pt x="2394201" y="3926919"/>
                  <a:pt x="2396919" y="3929636"/>
                </a:cubicBezTo>
                <a:cubicBezTo>
                  <a:pt x="2399637" y="3929636"/>
                  <a:pt x="2399637" y="3932354"/>
                  <a:pt x="2402354" y="3932354"/>
                </a:cubicBezTo>
                <a:cubicBezTo>
                  <a:pt x="2402354" y="3929636"/>
                  <a:pt x="2402354" y="3929636"/>
                  <a:pt x="2402354" y="3929636"/>
                </a:cubicBezTo>
                <a:cubicBezTo>
                  <a:pt x="2396919" y="3926919"/>
                  <a:pt x="2394201" y="3921483"/>
                  <a:pt x="2388766" y="3918766"/>
                </a:cubicBezTo>
                <a:close/>
                <a:moveTo>
                  <a:pt x="4617193" y="3913331"/>
                </a:moveTo>
                <a:cubicBezTo>
                  <a:pt x="4600887" y="3926919"/>
                  <a:pt x="4609041" y="3924201"/>
                  <a:pt x="4587299" y="3929636"/>
                </a:cubicBezTo>
                <a:lnTo>
                  <a:pt x="4587299" y="3945942"/>
                </a:lnTo>
                <a:cubicBezTo>
                  <a:pt x="4562841" y="3962247"/>
                  <a:pt x="4573711" y="3940507"/>
                  <a:pt x="4570995" y="3975835"/>
                </a:cubicBezTo>
                <a:lnTo>
                  <a:pt x="4595453" y="3967683"/>
                </a:lnTo>
                <a:lnTo>
                  <a:pt x="4587299" y="3945942"/>
                </a:lnTo>
                <a:lnTo>
                  <a:pt x="4600887" y="3940507"/>
                </a:lnTo>
                <a:lnTo>
                  <a:pt x="4614475" y="3951377"/>
                </a:lnTo>
                <a:lnTo>
                  <a:pt x="4622629" y="3921483"/>
                </a:lnTo>
                <a:close/>
                <a:moveTo>
                  <a:pt x="1285422" y="3910613"/>
                </a:moveTo>
                <a:cubicBezTo>
                  <a:pt x="1288139" y="3913330"/>
                  <a:pt x="1304445" y="3937789"/>
                  <a:pt x="1304445" y="3940506"/>
                </a:cubicBezTo>
                <a:cubicBezTo>
                  <a:pt x="1304445" y="3943224"/>
                  <a:pt x="1301727" y="3945941"/>
                  <a:pt x="1304445" y="3951377"/>
                </a:cubicBezTo>
                <a:cubicBezTo>
                  <a:pt x="1304445" y="3951377"/>
                  <a:pt x="1307163" y="3951377"/>
                  <a:pt x="1307163" y="3951377"/>
                </a:cubicBezTo>
                <a:cubicBezTo>
                  <a:pt x="1307163" y="3956812"/>
                  <a:pt x="1307163" y="3959529"/>
                  <a:pt x="1307163" y="3964965"/>
                </a:cubicBezTo>
                <a:cubicBezTo>
                  <a:pt x="1309880" y="3967682"/>
                  <a:pt x="1312598" y="3967682"/>
                  <a:pt x="1312598" y="3973117"/>
                </a:cubicBezTo>
                <a:cubicBezTo>
                  <a:pt x="1342491" y="3978553"/>
                  <a:pt x="1353362" y="3973117"/>
                  <a:pt x="1369667" y="3992141"/>
                </a:cubicBezTo>
                <a:cubicBezTo>
                  <a:pt x="1375102" y="3994858"/>
                  <a:pt x="1388690" y="3992141"/>
                  <a:pt x="1394126" y="3994858"/>
                </a:cubicBezTo>
                <a:cubicBezTo>
                  <a:pt x="1396843" y="3997576"/>
                  <a:pt x="1404996" y="4005728"/>
                  <a:pt x="1407714" y="4008446"/>
                </a:cubicBezTo>
                <a:cubicBezTo>
                  <a:pt x="1410431" y="4008446"/>
                  <a:pt x="1410431" y="4008446"/>
                  <a:pt x="1413149" y="4008446"/>
                </a:cubicBezTo>
                <a:cubicBezTo>
                  <a:pt x="1415866" y="4011164"/>
                  <a:pt x="1418584" y="4013881"/>
                  <a:pt x="1421302" y="4016599"/>
                </a:cubicBezTo>
                <a:cubicBezTo>
                  <a:pt x="1426737" y="4024752"/>
                  <a:pt x="1424019" y="4030187"/>
                  <a:pt x="1434890" y="4032904"/>
                </a:cubicBezTo>
                <a:cubicBezTo>
                  <a:pt x="1434890" y="4046492"/>
                  <a:pt x="1426737" y="4043775"/>
                  <a:pt x="1421302" y="4051927"/>
                </a:cubicBezTo>
                <a:cubicBezTo>
                  <a:pt x="1418584" y="4057363"/>
                  <a:pt x="1418584" y="4062798"/>
                  <a:pt x="1415866" y="4065515"/>
                </a:cubicBezTo>
                <a:cubicBezTo>
                  <a:pt x="1413149" y="4068233"/>
                  <a:pt x="1407714" y="4070951"/>
                  <a:pt x="1404996" y="4073668"/>
                </a:cubicBezTo>
                <a:cubicBezTo>
                  <a:pt x="1402278" y="4079103"/>
                  <a:pt x="1404996" y="4084538"/>
                  <a:pt x="1402278" y="4089974"/>
                </a:cubicBezTo>
                <a:cubicBezTo>
                  <a:pt x="1396843" y="4100844"/>
                  <a:pt x="1383255" y="4108997"/>
                  <a:pt x="1377820" y="4117150"/>
                </a:cubicBezTo>
                <a:cubicBezTo>
                  <a:pt x="1364232" y="4117150"/>
                  <a:pt x="1328903" y="4128020"/>
                  <a:pt x="1320751" y="4122585"/>
                </a:cubicBezTo>
                <a:cubicBezTo>
                  <a:pt x="1320751" y="4122585"/>
                  <a:pt x="1320751" y="4119867"/>
                  <a:pt x="1320751" y="4119867"/>
                </a:cubicBezTo>
                <a:cubicBezTo>
                  <a:pt x="1318033" y="4117150"/>
                  <a:pt x="1318033" y="4117150"/>
                  <a:pt x="1315315" y="4117150"/>
                </a:cubicBezTo>
                <a:cubicBezTo>
                  <a:pt x="1318033" y="4100844"/>
                  <a:pt x="1326186" y="4081821"/>
                  <a:pt x="1334338" y="4068233"/>
                </a:cubicBezTo>
                <a:cubicBezTo>
                  <a:pt x="1328903" y="4057363"/>
                  <a:pt x="1326186" y="4049210"/>
                  <a:pt x="1320751" y="4041057"/>
                </a:cubicBezTo>
                <a:cubicBezTo>
                  <a:pt x="1309880" y="4032904"/>
                  <a:pt x="1301727" y="4024752"/>
                  <a:pt x="1290857" y="4019316"/>
                </a:cubicBezTo>
                <a:cubicBezTo>
                  <a:pt x="1290857" y="4005728"/>
                  <a:pt x="1296292" y="4005728"/>
                  <a:pt x="1301727" y="4003011"/>
                </a:cubicBezTo>
                <a:cubicBezTo>
                  <a:pt x="1290857" y="3986705"/>
                  <a:pt x="1299010" y="3967682"/>
                  <a:pt x="1290857" y="3948659"/>
                </a:cubicBezTo>
                <a:cubicBezTo>
                  <a:pt x="1285422" y="3948659"/>
                  <a:pt x="1279987" y="3948659"/>
                  <a:pt x="1271834" y="3948659"/>
                </a:cubicBezTo>
                <a:cubicBezTo>
                  <a:pt x="1277269" y="3956812"/>
                  <a:pt x="1282704" y="3967682"/>
                  <a:pt x="1282704" y="3986705"/>
                </a:cubicBezTo>
                <a:cubicBezTo>
                  <a:pt x="1269116" y="3989423"/>
                  <a:pt x="1263681" y="3983988"/>
                  <a:pt x="1247376" y="3989423"/>
                </a:cubicBezTo>
                <a:cubicBezTo>
                  <a:pt x="1236505" y="3994858"/>
                  <a:pt x="1244658" y="4011164"/>
                  <a:pt x="1239223" y="4022034"/>
                </a:cubicBezTo>
                <a:cubicBezTo>
                  <a:pt x="1239223" y="4022034"/>
                  <a:pt x="1236505" y="4022034"/>
                  <a:pt x="1236505" y="4022034"/>
                </a:cubicBezTo>
                <a:cubicBezTo>
                  <a:pt x="1233788" y="4019316"/>
                  <a:pt x="1233788" y="4019316"/>
                  <a:pt x="1231070" y="4019316"/>
                </a:cubicBezTo>
                <a:cubicBezTo>
                  <a:pt x="1231070" y="4016599"/>
                  <a:pt x="1231070" y="4016599"/>
                  <a:pt x="1231070" y="4013881"/>
                </a:cubicBezTo>
                <a:cubicBezTo>
                  <a:pt x="1225635" y="4011164"/>
                  <a:pt x="1220200" y="4011164"/>
                  <a:pt x="1217482" y="4008446"/>
                </a:cubicBezTo>
                <a:cubicBezTo>
                  <a:pt x="1217482" y="4008446"/>
                  <a:pt x="1214764" y="4008446"/>
                  <a:pt x="1214764" y="4008446"/>
                </a:cubicBezTo>
                <a:cubicBezTo>
                  <a:pt x="1214764" y="4005728"/>
                  <a:pt x="1212047" y="4005728"/>
                  <a:pt x="1212047" y="4005728"/>
                </a:cubicBezTo>
                <a:cubicBezTo>
                  <a:pt x="1222917" y="3986705"/>
                  <a:pt x="1228352" y="3959529"/>
                  <a:pt x="1228352" y="3935071"/>
                </a:cubicBezTo>
                <a:cubicBezTo>
                  <a:pt x="1241940" y="3935071"/>
                  <a:pt x="1239223" y="3924201"/>
                  <a:pt x="1255528" y="3924201"/>
                </a:cubicBezTo>
                <a:cubicBezTo>
                  <a:pt x="1269116" y="3921483"/>
                  <a:pt x="1274551" y="3924201"/>
                  <a:pt x="1285422" y="3910613"/>
                </a:cubicBezTo>
                <a:close/>
                <a:moveTo>
                  <a:pt x="2641502" y="3907896"/>
                </a:moveTo>
                <a:cubicBezTo>
                  <a:pt x="2636067" y="3913331"/>
                  <a:pt x="2627914" y="3910613"/>
                  <a:pt x="2625197" y="3916049"/>
                </a:cubicBezTo>
                <a:cubicBezTo>
                  <a:pt x="2622479" y="3916049"/>
                  <a:pt x="2622479" y="3916049"/>
                  <a:pt x="2619762" y="3916049"/>
                </a:cubicBezTo>
                <a:cubicBezTo>
                  <a:pt x="2619762" y="3913331"/>
                  <a:pt x="2619762" y="3913331"/>
                  <a:pt x="2619762" y="3910613"/>
                </a:cubicBezTo>
                <a:cubicBezTo>
                  <a:pt x="2625197" y="3910613"/>
                  <a:pt x="2633350" y="3910613"/>
                  <a:pt x="2641502" y="3907896"/>
                </a:cubicBezTo>
                <a:close/>
                <a:moveTo>
                  <a:pt x="597871" y="3907895"/>
                </a:moveTo>
                <a:cubicBezTo>
                  <a:pt x="565259" y="3907895"/>
                  <a:pt x="578847" y="3943224"/>
                  <a:pt x="554389" y="3948659"/>
                </a:cubicBezTo>
                <a:cubicBezTo>
                  <a:pt x="540801" y="3945942"/>
                  <a:pt x="532648" y="3937789"/>
                  <a:pt x="516343" y="3943224"/>
                </a:cubicBezTo>
                <a:cubicBezTo>
                  <a:pt x="508190" y="3973118"/>
                  <a:pt x="557107" y="3981271"/>
                  <a:pt x="546236" y="4013882"/>
                </a:cubicBezTo>
                <a:cubicBezTo>
                  <a:pt x="567977" y="4005729"/>
                  <a:pt x="570695" y="4022035"/>
                  <a:pt x="589718" y="4016599"/>
                </a:cubicBezTo>
                <a:cubicBezTo>
                  <a:pt x="589718" y="3978553"/>
                  <a:pt x="627764" y="3964965"/>
                  <a:pt x="608741" y="3913331"/>
                </a:cubicBezTo>
                <a:cubicBezTo>
                  <a:pt x="606023" y="3913331"/>
                  <a:pt x="600588" y="3910613"/>
                  <a:pt x="597871" y="3907895"/>
                </a:cubicBezTo>
                <a:close/>
                <a:moveTo>
                  <a:pt x="2295235" y="3898610"/>
                </a:moveTo>
                <a:lnTo>
                  <a:pt x="2292970" y="3907217"/>
                </a:lnTo>
                <a:cubicBezTo>
                  <a:pt x="2293649" y="3912652"/>
                  <a:pt x="2295008" y="3918767"/>
                  <a:pt x="2293649" y="3924202"/>
                </a:cubicBezTo>
                <a:cubicBezTo>
                  <a:pt x="2292290" y="3930996"/>
                  <a:pt x="2292290" y="3936431"/>
                  <a:pt x="2292290" y="3941526"/>
                </a:cubicBezTo>
                <a:lnTo>
                  <a:pt x="2291176" y="3954068"/>
                </a:lnTo>
                <a:lnTo>
                  <a:pt x="2300318" y="3953052"/>
                </a:lnTo>
                <a:lnTo>
                  <a:pt x="2303501" y="3929297"/>
                </a:lnTo>
                <a:cubicBezTo>
                  <a:pt x="2304010" y="3923353"/>
                  <a:pt x="2304265" y="3917662"/>
                  <a:pt x="2304053" y="3912949"/>
                </a:cubicBezTo>
                <a:lnTo>
                  <a:pt x="2302544" y="3905919"/>
                </a:lnTo>
                <a:close/>
                <a:moveTo>
                  <a:pt x="2551822" y="3897026"/>
                </a:moveTo>
                <a:cubicBezTo>
                  <a:pt x="2557257" y="3897026"/>
                  <a:pt x="2559974" y="3897026"/>
                  <a:pt x="2559974" y="3897026"/>
                </a:cubicBezTo>
                <a:cubicBezTo>
                  <a:pt x="2559974" y="3897026"/>
                  <a:pt x="2562692" y="3897026"/>
                  <a:pt x="2562692" y="3897026"/>
                </a:cubicBezTo>
                <a:cubicBezTo>
                  <a:pt x="2562692" y="3899743"/>
                  <a:pt x="2562692" y="3899743"/>
                  <a:pt x="2559974" y="3902461"/>
                </a:cubicBezTo>
                <a:cubicBezTo>
                  <a:pt x="2557257" y="3899743"/>
                  <a:pt x="2554539" y="3899743"/>
                  <a:pt x="2551822" y="3897026"/>
                </a:cubicBezTo>
                <a:close/>
                <a:moveTo>
                  <a:pt x="4603605" y="3892949"/>
                </a:moveTo>
                <a:cubicBezTo>
                  <a:pt x="4602925" y="3892949"/>
                  <a:pt x="4604963" y="3895666"/>
                  <a:pt x="4598169" y="3907895"/>
                </a:cubicBezTo>
                <a:lnTo>
                  <a:pt x="4576429" y="3899743"/>
                </a:lnTo>
                <a:lnTo>
                  <a:pt x="4576429" y="3916048"/>
                </a:lnTo>
                <a:lnTo>
                  <a:pt x="4551971" y="3916048"/>
                </a:lnTo>
                <a:lnTo>
                  <a:pt x="4560123" y="3902460"/>
                </a:lnTo>
                <a:lnTo>
                  <a:pt x="4535665" y="3902460"/>
                </a:lnTo>
                <a:lnTo>
                  <a:pt x="4543819" y="3918766"/>
                </a:lnTo>
                <a:lnTo>
                  <a:pt x="4522077" y="3918766"/>
                </a:lnTo>
                <a:lnTo>
                  <a:pt x="4522077" y="3924201"/>
                </a:lnTo>
                <a:lnTo>
                  <a:pt x="4543819" y="3932354"/>
                </a:lnTo>
                <a:cubicBezTo>
                  <a:pt x="4519359" y="3937789"/>
                  <a:pt x="4527513" y="3932354"/>
                  <a:pt x="4522077" y="3956812"/>
                </a:cubicBezTo>
                <a:lnTo>
                  <a:pt x="4543819" y="3932354"/>
                </a:lnTo>
                <a:cubicBezTo>
                  <a:pt x="4551971" y="3926919"/>
                  <a:pt x="4551971" y="3924201"/>
                  <a:pt x="4565559" y="3924201"/>
                </a:cubicBezTo>
                <a:lnTo>
                  <a:pt x="4573711" y="3924201"/>
                </a:lnTo>
                <a:lnTo>
                  <a:pt x="4587299" y="3924201"/>
                </a:lnTo>
                <a:lnTo>
                  <a:pt x="4595453" y="3910613"/>
                </a:lnTo>
                <a:cubicBezTo>
                  <a:pt x="4630781" y="3907895"/>
                  <a:pt x="4609041" y="3918766"/>
                  <a:pt x="4625345" y="3894307"/>
                </a:cubicBezTo>
                <a:cubicBezTo>
                  <a:pt x="4607681" y="3895666"/>
                  <a:pt x="4604284" y="3892949"/>
                  <a:pt x="4603605" y="3892949"/>
                </a:cubicBezTo>
                <a:close/>
                <a:moveTo>
                  <a:pt x="1174001" y="3888873"/>
                </a:moveTo>
                <a:cubicBezTo>
                  <a:pt x="1182154" y="3897026"/>
                  <a:pt x="1193024" y="3905178"/>
                  <a:pt x="1203895" y="3910614"/>
                </a:cubicBezTo>
                <a:cubicBezTo>
                  <a:pt x="1209330" y="3918766"/>
                  <a:pt x="1214765" y="3926919"/>
                  <a:pt x="1217483" y="3929637"/>
                </a:cubicBezTo>
                <a:cubicBezTo>
                  <a:pt x="1220200" y="3940507"/>
                  <a:pt x="1214765" y="3948660"/>
                  <a:pt x="1214765" y="3956813"/>
                </a:cubicBezTo>
                <a:cubicBezTo>
                  <a:pt x="1214765" y="3962248"/>
                  <a:pt x="1214765" y="3967683"/>
                  <a:pt x="1212047" y="3973118"/>
                </a:cubicBezTo>
                <a:cubicBezTo>
                  <a:pt x="1206612" y="3967683"/>
                  <a:pt x="1201177" y="3959530"/>
                  <a:pt x="1201177" y="3945942"/>
                </a:cubicBezTo>
                <a:cubicBezTo>
                  <a:pt x="1193024" y="3945942"/>
                  <a:pt x="1206612" y="3962248"/>
                  <a:pt x="1193024" y="3959530"/>
                </a:cubicBezTo>
                <a:cubicBezTo>
                  <a:pt x="1184871" y="3948660"/>
                  <a:pt x="1174001" y="3937789"/>
                  <a:pt x="1163131" y="3924201"/>
                </a:cubicBezTo>
                <a:cubicBezTo>
                  <a:pt x="1163131" y="3924201"/>
                  <a:pt x="1163131" y="3921484"/>
                  <a:pt x="1163131" y="3921484"/>
                </a:cubicBezTo>
                <a:cubicBezTo>
                  <a:pt x="1163131" y="3918766"/>
                  <a:pt x="1168566" y="3910614"/>
                  <a:pt x="1171283" y="3902461"/>
                </a:cubicBezTo>
                <a:cubicBezTo>
                  <a:pt x="1171283" y="3899743"/>
                  <a:pt x="1174001" y="3894308"/>
                  <a:pt x="1174001" y="3888873"/>
                </a:cubicBezTo>
                <a:close/>
                <a:moveTo>
                  <a:pt x="1046274" y="3888873"/>
                </a:moveTo>
                <a:cubicBezTo>
                  <a:pt x="1046274" y="3888873"/>
                  <a:pt x="1048991" y="3888873"/>
                  <a:pt x="1048991" y="3888873"/>
                </a:cubicBezTo>
                <a:cubicBezTo>
                  <a:pt x="1051709" y="3894308"/>
                  <a:pt x="1054426" y="3899743"/>
                  <a:pt x="1057144" y="3905178"/>
                </a:cubicBezTo>
                <a:cubicBezTo>
                  <a:pt x="1051709" y="3910614"/>
                  <a:pt x="1043556" y="3913331"/>
                  <a:pt x="1032686" y="3916049"/>
                </a:cubicBezTo>
                <a:cubicBezTo>
                  <a:pt x="1038121" y="3905178"/>
                  <a:pt x="1043556" y="3897026"/>
                  <a:pt x="1046274" y="3888873"/>
                </a:cubicBezTo>
                <a:close/>
                <a:moveTo>
                  <a:pt x="1040839" y="3888873"/>
                </a:moveTo>
                <a:cubicBezTo>
                  <a:pt x="1035403" y="3897026"/>
                  <a:pt x="1032686" y="3910614"/>
                  <a:pt x="1027251" y="3918766"/>
                </a:cubicBezTo>
                <a:cubicBezTo>
                  <a:pt x="1019098" y="3918766"/>
                  <a:pt x="1010945" y="3921484"/>
                  <a:pt x="1002792" y="3921484"/>
                </a:cubicBezTo>
                <a:cubicBezTo>
                  <a:pt x="1002792" y="3921484"/>
                  <a:pt x="1000075" y="3918766"/>
                  <a:pt x="1000075" y="3918766"/>
                </a:cubicBezTo>
                <a:cubicBezTo>
                  <a:pt x="1000075" y="3916049"/>
                  <a:pt x="1000075" y="3913331"/>
                  <a:pt x="1002792" y="3913331"/>
                </a:cubicBezTo>
                <a:cubicBezTo>
                  <a:pt x="1013663" y="3910614"/>
                  <a:pt x="1024533" y="3897026"/>
                  <a:pt x="1040839" y="3888873"/>
                </a:cubicBezTo>
                <a:close/>
                <a:moveTo>
                  <a:pt x="2350720" y="3883437"/>
                </a:moveTo>
                <a:lnTo>
                  <a:pt x="2376455" y="3907028"/>
                </a:lnTo>
                <a:lnTo>
                  <a:pt x="2374491" y="3907209"/>
                </a:lnTo>
                <a:lnTo>
                  <a:pt x="2364308" y="3897025"/>
                </a:lnTo>
                <a:cubicBezTo>
                  <a:pt x="2358873" y="3891590"/>
                  <a:pt x="2353437" y="3888872"/>
                  <a:pt x="2350720" y="3883437"/>
                </a:cubicBezTo>
                <a:close/>
                <a:moveTo>
                  <a:pt x="622329" y="3875284"/>
                </a:moveTo>
                <a:cubicBezTo>
                  <a:pt x="627764" y="3897025"/>
                  <a:pt x="644070" y="3905178"/>
                  <a:pt x="644070" y="3932354"/>
                </a:cubicBezTo>
                <a:cubicBezTo>
                  <a:pt x="663093" y="3926919"/>
                  <a:pt x="671246" y="3932354"/>
                  <a:pt x="684834" y="3932354"/>
                </a:cubicBezTo>
                <a:cubicBezTo>
                  <a:pt x="684834" y="3929636"/>
                  <a:pt x="687551" y="3926919"/>
                  <a:pt x="690269" y="3924201"/>
                </a:cubicBezTo>
                <a:cubicBezTo>
                  <a:pt x="676681" y="3894307"/>
                  <a:pt x="635917" y="3905178"/>
                  <a:pt x="622329" y="3875284"/>
                </a:cubicBezTo>
                <a:close/>
                <a:moveTo>
                  <a:pt x="1290858" y="3872568"/>
                </a:moveTo>
                <a:cubicBezTo>
                  <a:pt x="1293575" y="3875285"/>
                  <a:pt x="1296293" y="3878003"/>
                  <a:pt x="1299010" y="3880720"/>
                </a:cubicBezTo>
                <a:cubicBezTo>
                  <a:pt x="1296293" y="3880720"/>
                  <a:pt x="1296293" y="3880720"/>
                  <a:pt x="1293575" y="3880720"/>
                </a:cubicBezTo>
                <a:cubicBezTo>
                  <a:pt x="1290858" y="3878003"/>
                  <a:pt x="1290858" y="3875285"/>
                  <a:pt x="1290858" y="3872568"/>
                </a:cubicBezTo>
                <a:close/>
                <a:moveTo>
                  <a:pt x="1271834" y="3872568"/>
                </a:moveTo>
                <a:cubicBezTo>
                  <a:pt x="1277269" y="3878003"/>
                  <a:pt x="1279986" y="3883438"/>
                  <a:pt x="1279986" y="3888873"/>
                </a:cubicBezTo>
                <a:cubicBezTo>
                  <a:pt x="1277269" y="3897026"/>
                  <a:pt x="1274551" y="3897026"/>
                  <a:pt x="1271834" y="3902461"/>
                </a:cubicBezTo>
                <a:cubicBezTo>
                  <a:pt x="1269116" y="3902461"/>
                  <a:pt x="1263681" y="3902461"/>
                  <a:pt x="1258246" y="3905179"/>
                </a:cubicBezTo>
                <a:cubicBezTo>
                  <a:pt x="1260963" y="3894308"/>
                  <a:pt x="1263681" y="3883438"/>
                  <a:pt x="1271834" y="3872568"/>
                </a:cubicBezTo>
                <a:close/>
                <a:moveTo>
                  <a:pt x="4432397" y="3869849"/>
                </a:moveTo>
                <a:lnTo>
                  <a:pt x="4432397" y="3886155"/>
                </a:lnTo>
                <a:lnTo>
                  <a:pt x="4448703" y="3869849"/>
                </a:lnTo>
                <a:close/>
                <a:moveTo>
                  <a:pt x="1002792" y="3853545"/>
                </a:moveTo>
                <a:cubicBezTo>
                  <a:pt x="1008227" y="3869850"/>
                  <a:pt x="1008227" y="3886156"/>
                  <a:pt x="1000075" y="3897026"/>
                </a:cubicBezTo>
                <a:cubicBezTo>
                  <a:pt x="1000075" y="3897026"/>
                  <a:pt x="997357" y="3897026"/>
                  <a:pt x="994639" y="3897026"/>
                </a:cubicBezTo>
                <a:cubicBezTo>
                  <a:pt x="994639" y="3888873"/>
                  <a:pt x="991922" y="3883438"/>
                  <a:pt x="986487" y="3883438"/>
                </a:cubicBezTo>
                <a:cubicBezTo>
                  <a:pt x="989204" y="3872568"/>
                  <a:pt x="997357" y="3864415"/>
                  <a:pt x="1002792" y="3853545"/>
                </a:cubicBezTo>
                <a:close/>
                <a:moveTo>
                  <a:pt x="959310" y="3848109"/>
                </a:moveTo>
                <a:cubicBezTo>
                  <a:pt x="967463" y="3853544"/>
                  <a:pt x="975616" y="3861697"/>
                  <a:pt x="978334" y="3869850"/>
                </a:cubicBezTo>
                <a:cubicBezTo>
                  <a:pt x="981051" y="3878002"/>
                  <a:pt x="983769" y="3886155"/>
                  <a:pt x="986486" y="3894308"/>
                </a:cubicBezTo>
                <a:cubicBezTo>
                  <a:pt x="983769" y="3897025"/>
                  <a:pt x="981051" y="3897025"/>
                  <a:pt x="978334" y="3897025"/>
                </a:cubicBezTo>
                <a:cubicBezTo>
                  <a:pt x="983769" y="3905178"/>
                  <a:pt x="986486" y="3907896"/>
                  <a:pt x="991922" y="3910613"/>
                </a:cubicBezTo>
                <a:cubicBezTo>
                  <a:pt x="991922" y="3913331"/>
                  <a:pt x="991922" y="3916049"/>
                  <a:pt x="991922" y="3921484"/>
                </a:cubicBezTo>
                <a:cubicBezTo>
                  <a:pt x="989204" y="3924201"/>
                  <a:pt x="986486" y="3924201"/>
                  <a:pt x="983769" y="3924201"/>
                </a:cubicBezTo>
                <a:cubicBezTo>
                  <a:pt x="989204" y="3929637"/>
                  <a:pt x="994639" y="3935072"/>
                  <a:pt x="1002792" y="3940507"/>
                </a:cubicBezTo>
                <a:cubicBezTo>
                  <a:pt x="1002792" y="3940507"/>
                  <a:pt x="1002792" y="3943224"/>
                  <a:pt x="1002792" y="3943224"/>
                </a:cubicBezTo>
                <a:cubicBezTo>
                  <a:pt x="1002792" y="3943224"/>
                  <a:pt x="1008227" y="3945942"/>
                  <a:pt x="1008227" y="3945942"/>
                </a:cubicBezTo>
                <a:cubicBezTo>
                  <a:pt x="1008227" y="3948660"/>
                  <a:pt x="1005510" y="3964965"/>
                  <a:pt x="1008227" y="3973118"/>
                </a:cubicBezTo>
                <a:cubicBezTo>
                  <a:pt x="1010945" y="3983988"/>
                  <a:pt x="1013662" y="3997576"/>
                  <a:pt x="1019098" y="4008447"/>
                </a:cubicBezTo>
                <a:cubicBezTo>
                  <a:pt x="1019098" y="4011164"/>
                  <a:pt x="1024533" y="4011164"/>
                  <a:pt x="1024533" y="4011164"/>
                </a:cubicBezTo>
                <a:cubicBezTo>
                  <a:pt x="1024533" y="4013882"/>
                  <a:pt x="1024533" y="4013882"/>
                  <a:pt x="1024533" y="4016599"/>
                </a:cubicBezTo>
                <a:cubicBezTo>
                  <a:pt x="1027251" y="4016599"/>
                  <a:pt x="1027251" y="4019317"/>
                  <a:pt x="1029969" y="4019317"/>
                </a:cubicBezTo>
                <a:cubicBezTo>
                  <a:pt x="1032687" y="4024752"/>
                  <a:pt x="1027251" y="4024752"/>
                  <a:pt x="1032687" y="4027470"/>
                </a:cubicBezTo>
                <a:cubicBezTo>
                  <a:pt x="1032687" y="4030187"/>
                  <a:pt x="1032687" y="4030187"/>
                  <a:pt x="1032687" y="4032905"/>
                </a:cubicBezTo>
                <a:cubicBezTo>
                  <a:pt x="1029969" y="4032905"/>
                  <a:pt x="1027251" y="4032905"/>
                  <a:pt x="1024533" y="4032905"/>
                </a:cubicBezTo>
                <a:cubicBezTo>
                  <a:pt x="1016380" y="4032905"/>
                  <a:pt x="1005510" y="4032905"/>
                  <a:pt x="997357" y="4032905"/>
                </a:cubicBezTo>
                <a:cubicBezTo>
                  <a:pt x="994639" y="4032905"/>
                  <a:pt x="986486" y="4019317"/>
                  <a:pt x="983769" y="4019317"/>
                </a:cubicBezTo>
                <a:cubicBezTo>
                  <a:pt x="981051" y="4016599"/>
                  <a:pt x="975616" y="4019317"/>
                  <a:pt x="972898" y="4016599"/>
                </a:cubicBezTo>
                <a:cubicBezTo>
                  <a:pt x="964746" y="4011164"/>
                  <a:pt x="962028" y="3986706"/>
                  <a:pt x="956593" y="3978553"/>
                </a:cubicBezTo>
                <a:cubicBezTo>
                  <a:pt x="956593" y="3978553"/>
                  <a:pt x="953875" y="3975835"/>
                  <a:pt x="951158" y="3973118"/>
                </a:cubicBezTo>
                <a:cubicBezTo>
                  <a:pt x="951158" y="3970400"/>
                  <a:pt x="951158" y="3970400"/>
                  <a:pt x="951158" y="3967683"/>
                </a:cubicBezTo>
                <a:cubicBezTo>
                  <a:pt x="951158" y="3964965"/>
                  <a:pt x="945722" y="3964965"/>
                  <a:pt x="945722" y="3964965"/>
                </a:cubicBezTo>
                <a:cubicBezTo>
                  <a:pt x="945722" y="3964965"/>
                  <a:pt x="945722" y="3962248"/>
                  <a:pt x="945722" y="3962248"/>
                </a:cubicBezTo>
                <a:cubicBezTo>
                  <a:pt x="943005" y="3962248"/>
                  <a:pt x="940287" y="3962248"/>
                  <a:pt x="937570" y="3959530"/>
                </a:cubicBezTo>
                <a:cubicBezTo>
                  <a:pt x="937570" y="3956812"/>
                  <a:pt x="937570" y="3956812"/>
                  <a:pt x="937570" y="3954095"/>
                </a:cubicBezTo>
                <a:cubicBezTo>
                  <a:pt x="934852" y="3948660"/>
                  <a:pt x="929417" y="3945942"/>
                  <a:pt x="923982" y="3940507"/>
                </a:cubicBezTo>
                <a:cubicBezTo>
                  <a:pt x="937570" y="3932354"/>
                  <a:pt x="951158" y="3916049"/>
                  <a:pt x="970181" y="3924201"/>
                </a:cubicBezTo>
                <a:cubicBezTo>
                  <a:pt x="959310" y="3902461"/>
                  <a:pt x="937570" y="3880720"/>
                  <a:pt x="940287" y="3853544"/>
                </a:cubicBezTo>
                <a:cubicBezTo>
                  <a:pt x="945722" y="3850826"/>
                  <a:pt x="953875" y="3850826"/>
                  <a:pt x="959310" y="3848109"/>
                </a:cubicBezTo>
                <a:close/>
                <a:moveTo>
                  <a:pt x="4361739" y="3845391"/>
                </a:moveTo>
                <a:lnTo>
                  <a:pt x="4345433" y="3861696"/>
                </a:lnTo>
                <a:lnTo>
                  <a:pt x="4361739" y="3869849"/>
                </a:lnTo>
                <a:lnTo>
                  <a:pt x="4372609" y="3861696"/>
                </a:lnTo>
                <a:close/>
                <a:moveTo>
                  <a:pt x="2312673" y="3845391"/>
                </a:moveTo>
                <a:cubicBezTo>
                  <a:pt x="2318109" y="3848108"/>
                  <a:pt x="2323544" y="3853544"/>
                  <a:pt x="2326262" y="3856261"/>
                </a:cubicBezTo>
                <a:cubicBezTo>
                  <a:pt x="2326262" y="3856261"/>
                  <a:pt x="2326262" y="3856261"/>
                  <a:pt x="2323544" y="3856261"/>
                </a:cubicBezTo>
                <a:cubicBezTo>
                  <a:pt x="2320826" y="3853544"/>
                  <a:pt x="2315390" y="3848108"/>
                  <a:pt x="2312673" y="3845391"/>
                </a:cubicBezTo>
                <a:close/>
                <a:moveTo>
                  <a:pt x="1165848" y="3839957"/>
                </a:moveTo>
                <a:cubicBezTo>
                  <a:pt x="1165848" y="3850827"/>
                  <a:pt x="1171283" y="3861698"/>
                  <a:pt x="1168565" y="3872568"/>
                </a:cubicBezTo>
                <a:cubicBezTo>
                  <a:pt x="1168565" y="3875285"/>
                  <a:pt x="1163130" y="3883438"/>
                  <a:pt x="1163130" y="3888873"/>
                </a:cubicBezTo>
                <a:cubicBezTo>
                  <a:pt x="1160412" y="3894309"/>
                  <a:pt x="1163130" y="3897026"/>
                  <a:pt x="1160412" y="3899744"/>
                </a:cubicBezTo>
                <a:cubicBezTo>
                  <a:pt x="1154977" y="3897026"/>
                  <a:pt x="1149542" y="3894309"/>
                  <a:pt x="1146824" y="3888873"/>
                </a:cubicBezTo>
                <a:cubicBezTo>
                  <a:pt x="1144107" y="3883438"/>
                  <a:pt x="1144107" y="3880721"/>
                  <a:pt x="1144107" y="3875285"/>
                </a:cubicBezTo>
                <a:cubicBezTo>
                  <a:pt x="1157695" y="3864415"/>
                  <a:pt x="1160412" y="3850827"/>
                  <a:pt x="1165848" y="3839957"/>
                </a:cubicBezTo>
                <a:close/>
                <a:moveTo>
                  <a:pt x="4407939" y="3837238"/>
                </a:moveTo>
                <a:lnTo>
                  <a:pt x="4391633" y="3839956"/>
                </a:lnTo>
                <a:lnTo>
                  <a:pt x="4405221" y="3853544"/>
                </a:lnTo>
                <a:close/>
                <a:moveTo>
                  <a:pt x="986487" y="3834522"/>
                </a:moveTo>
                <a:cubicBezTo>
                  <a:pt x="989205" y="3837239"/>
                  <a:pt x="991922" y="3839957"/>
                  <a:pt x="994640" y="3839957"/>
                </a:cubicBezTo>
                <a:cubicBezTo>
                  <a:pt x="991922" y="3850827"/>
                  <a:pt x="991922" y="3856263"/>
                  <a:pt x="983769" y="3864415"/>
                </a:cubicBezTo>
                <a:cubicBezTo>
                  <a:pt x="983769" y="3864415"/>
                  <a:pt x="983769" y="3864415"/>
                  <a:pt x="981052" y="3864415"/>
                </a:cubicBezTo>
                <a:cubicBezTo>
                  <a:pt x="981052" y="3858980"/>
                  <a:pt x="972899" y="3853545"/>
                  <a:pt x="967464" y="3848110"/>
                </a:cubicBezTo>
                <a:cubicBezTo>
                  <a:pt x="975617" y="3845392"/>
                  <a:pt x="983769" y="3842675"/>
                  <a:pt x="986487" y="3834522"/>
                </a:cubicBezTo>
                <a:close/>
                <a:moveTo>
                  <a:pt x="1513700" y="3831803"/>
                </a:moveTo>
                <a:cubicBezTo>
                  <a:pt x="1513700" y="3842673"/>
                  <a:pt x="1516418" y="3848108"/>
                  <a:pt x="1519136" y="3856261"/>
                </a:cubicBezTo>
                <a:cubicBezTo>
                  <a:pt x="1521853" y="3864414"/>
                  <a:pt x="1521853" y="3869849"/>
                  <a:pt x="1521853" y="3875284"/>
                </a:cubicBezTo>
                <a:cubicBezTo>
                  <a:pt x="1524571" y="3888872"/>
                  <a:pt x="1530006" y="3902460"/>
                  <a:pt x="1535441" y="3913331"/>
                </a:cubicBezTo>
                <a:cubicBezTo>
                  <a:pt x="1540876" y="3924201"/>
                  <a:pt x="1538159" y="3935071"/>
                  <a:pt x="1543594" y="3948659"/>
                </a:cubicBezTo>
                <a:cubicBezTo>
                  <a:pt x="1546311" y="3954094"/>
                  <a:pt x="1559900" y="3994858"/>
                  <a:pt x="1559900" y="3994858"/>
                </a:cubicBezTo>
                <a:cubicBezTo>
                  <a:pt x="1557183" y="3997576"/>
                  <a:pt x="1524571" y="4000293"/>
                  <a:pt x="1513700" y="4000293"/>
                </a:cubicBezTo>
                <a:cubicBezTo>
                  <a:pt x="1513700" y="3989423"/>
                  <a:pt x="1500112" y="3964965"/>
                  <a:pt x="1502830" y="3954094"/>
                </a:cubicBezTo>
                <a:cubicBezTo>
                  <a:pt x="1505548" y="3948659"/>
                  <a:pt x="1508265" y="3943224"/>
                  <a:pt x="1510983" y="3940506"/>
                </a:cubicBezTo>
                <a:cubicBezTo>
                  <a:pt x="1513700" y="3935071"/>
                  <a:pt x="1513700" y="3929636"/>
                  <a:pt x="1516418" y="3921483"/>
                </a:cubicBezTo>
                <a:cubicBezTo>
                  <a:pt x="1516418" y="3921483"/>
                  <a:pt x="1519136" y="3918766"/>
                  <a:pt x="1519136" y="3918766"/>
                </a:cubicBezTo>
                <a:cubicBezTo>
                  <a:pt x="1519136" y="3913331"/>
                  <a:pt x="1519136" y="3907895"/>
                  <a:pt x="1519136" y="3902460"/>
                </a:cubicBezTo>
                <a:cubicBezTo>
                  <a:pt x="1519136" y="3883437"/>
                  <a:pt x="1510983" y="3864414"/>
                  <a:pt x="1505548" y="3848108"/>
                </a:cubicBezTo>
                <a:cubicBezTo>
                  <a:pt x="1502830" y="3848108"/>
                  <a:pt x="1502830" y="3848108"/>
                  <a:pt x="1502830" y="3848108"/>
                </a:cubicBezTo>
                <a:cubicBezTo>
                  <a:pt x="1500112" y="3848108"/>
                  <a:pt x="1497395" y="3848108"/>
                  <a:pt x="1494677" y="3848108"/>
                </a:cubicBezTo>
                <a:cubicBezTo>
                  <a:pt x="1491960" y="3850826"/>
                  <a:pt x="1500112" y="3864414"/>
                  <a:pt x="1502830" y="3869849"/>
                </a:cubicBezTo>
                <a:cubicBezTo>
                  <a:pt x="1508265" y="3886155"/>
                  <a:pt x="1502830" y="3921483"/>
                  <a:pt x="1494677" y="3929636"/>
                </a:cubicBezTo>
                <a:cubicBezTo>
                  <a:pt x="1494677" y="3932354"/>
                  <a:pt x="1494677" y="3932354"/>
                  <a:pt x="1494677" y="3932354"/>
                </a:cubicBezTo>
                <a:cubicBezTo>
                  <a:pt x="1491960" y="3926918"/>
                  <a:pt x="1475654" y="3899743"/>
                  <a:pt x="1470219" y="3897025"/>
                </a:cubicBezTo>
                <a:cubicBezTo>
                  <a:pt x="1470219" y="3886155"/>
                  <a:pt x="1472936" y="3858979"/>
                  <a:pt x="1478372" y="3850826"/>
                </a:cubicBezTo>
                <a:cubicBezTo>
                  <a:pt x="1478372" y="3848108"/>
                  <a:pt x="1478372" y="3845391"/>
                  <a:pt x="1475654" y="3845391"/>
                </a:cubicBezTo>
                <a:cubicBezTo>
                  <a:pt x="1478372" y="3842673"/>
                  <a:pt x="1508265" y="3831803"/>
                  <a:pt x="1513700" y="3831803"/>
                </a:cubicBezTo>
                <a:close/>
                <a:moveTo>
                  <a:pt x="4299235" y="3829085"/>
                </a:moveTo>
                <a:lnTo>
                  <a:pt x="4285647" y="3842673"/>
                </a:lnTo>
                <a:lnTo>
                  <a:pt x="4301953" y="3845391"/>
                </a:lnTo>
                <a:close/>
                <a:moveTo>
                  <a:pt x="4508489" y="3823650"/>
                </a:moveTo>
                <a:lnTo>
                  <a:pt x="4508489" y="3839956"/>
                </a:lnTo>
                <a:lnTo>
                  <a:pt x="4470443" y="3839956"/>
                </a:lnTo>
                <a:lnTo>
                  <a:pt x="4478597" y="3853544"/>
                </a:lnTo>
                <a:lnTo>
                  <a:pt x="4456855" y="3853544"/>
                </a:lnTo>
                <a:cubicBezTo>
                  <a:pt x="4475879" y="3880719"/>
                  <a:pt x="4467725" y="3861696"/>
                  <a:pt x="4497619" y="3878002"/>
                </a:cubicBezTo>
                <a:lnTo>
                  <a:pt x="4481313" y="3899743"/>
                </a:lnTo>
                <a:lnTo>
                  <a:pt x="4494901" y="3907895"/>
                </a:lnTo>
                <a:cubicBezTo>
                  <a:pt x="4500337" y="3899743"/>
                  <a:pt x="4503055" y="3899743"/>
                  <a:pt x="4503055" y="3886155"/>
                </a:cubicBezTo>
                <a:lnTo>
                  <a:pt x="4503055" y="3878002"/>
                </a:lnTo>
                <a:cubicBezTo>
                  <a:pt x="4503055" y="3850826"/>
                  <a:pt x="4500337" y="3875284"/>
                  <a:pt x="4511207" y="3856261"/>
                </a:cubicBezTo>
                <a:cubicBezTo>
                  <a:pt x="4535665" y="3875284"/>
                  <a:pt x="4524795" y="3853544"/>
                  <a:pt x="4527513" y="3888872"/>
                </a:cubicBezTo>
                <a:lnTo>
                  <a:pt x="4541101" y="3880719"/>
                </a:lnTo>
                <a:lnTo>
                  <a:pt x="4557407" y="3894307"/>
                </a:lnTo>
                <a:cubicBezTo>
                  <a:pt x="4557407" y="3886155"/>
                  <a:pt x="4560123" y="3883437"/>
                  <a:pt x="4560123" y="3880719"/>
                </a:cubicBezTo>
                <a:cubicBezTo>
                  <a:pt x="4562841" y="3878002"/>
                  <a:pt x="4565559" y="3875284"/>
                  <a:pt x="4570995" y="3869849"/>
                </a:cubicBezTo>
                <a:lnTo>
                  <a:pt x="4538383" y="3869849"/>
                </a:lnTo>
                <a:lnTo>
                  <a:pt x="4549253" y="3848108"/>
                </a:lnTo>
                <a:cubicBezTo>
                  <a:pt x="4524795" y="3848108"/>
                  <a:pt x="4519359" y="3853544"/>
                  <a:pt x="4508489" y="3839956"/>
                </a:cubicBezTo>
                <a:lnTo>
                  <a:pt x="4524795" y="3823650"/>
                </a:lnTo>
                <a:close/>
                <a:moveTo>
                  <a:pt x="1201177" y="3815498"/>
                </a:moveTo>
                <a:cubicBezTo>
                  <a:pt x="1201177" y="3820933"/>
                  <a:pt x="1203894" y="3823651"/>
                  <a:pt x="1206612" y="3829086"/>
                </a:cubicBezTo>
                <a:cubicBezTo>
                  <a:pt x="1193024" y="3826368"/>
                  <a:pt x="1198459" y="3839956"/>
                  <a:pt x="1187589" y="3839956"/>
                </a:cubicBezTo>
                <a:cubicBezTo>
                  <a:pt x="1198459" y="3869850"/>
                  <a:pt x="1187589" y="3864414"/>
                  <a:pt x="1179436" y="3869850"/>
                </a:cubicBezTo>
                <a:cubicBezTo>
                  <a:pt x="1182153" y="3856262"/>
                  <a:pt x="1182153" y="3845391"/>
                  <a:pt x="1176718" y="3839956"/>
                </a:cubicBezTo>
                <a:cubicBezTo>
                  <a:pt x="1176718" y="3834521"/>
                  <a:pt x="1176718" y="3834521"/>
                  <a:pt x="1174001" y="3831803"/>
                </a:cubicBezTo>
                <a:cubicBezTo>
                  <a:pt x="1174001" y="3829086"/>
                  <a:pt x="1174001" y="3826368"/>
                  <a:pt x="1176718" y="3826368"/>
                </a:cubicBezTo>
                <a:cubicBezTo>
                  <a:pt x="1182153" y="3826368"/>
                  <a:pt x="1190306" y="3826368"/>
                  <a:pt x="1193024" y="3823651"/>
                </a:cubicBezTo>
                <a:cubicBezTo>
                  <a:pt x="1195741" y="3823651"/>
                  <a:pt x="1195741" y="3818215"/>
                  <a:pt x="1201177" y="3815498"/>
                </a:cubicBezTo>
                <a:close/>
                <a:moveTo>
                  <a:pt x="4609041" y="3815497"/>
                </a:moveTo>
                <a:cubicBezTo>
                  <a:pt x="4581865" y="3818215"/>
                  <a:pt x="4581865" y="3818215"/>
                  <a:pt x="4570995" y="3837238"/>
                </a:cubicBezTo>
                <a:lnTo>
                  <a:pt x="4587299" y="3845391"/>
                </a:lnTo>
                <a:cubicBezTo>
                  <a:pt x="4598169" y="3815497"/>
                  <a:pt x="4587299" y="3845391"/>
                  <a:pt x="4609041" y="3815497"/>
                </a:cubicBezTo>
                <a:close/>
                <a:moveTo>
                  <a:pt x="1309880" y="3815497"/>
                </a:moveTo>
                <a:cubicBezTo>
                  <a:pt x="1309880" y="3820932"/>
                  <a:pt x="1309880" y="3823650"/>
                  <a:pt x="1312598" y="3829085"/>
                </a:cubicBezTo>
                <a:cubicBezTo>
                  <a:pt x="1312598" y="3826367"/>
                  <a:pt x="1315316" y="3823650"/>
                  <a:pt x="1318033" y="3823650"/>
                </a:cubicBezTo>
                <a:cubicBezTo>
                  <a:pt x="1315316" y="3820932"/>
                  <a:pt x="1312598" y="3818214"/>
                  <a:pt x="1309880" y="3815497"/>
                </a:cubicBezTo>
                <a:close/>
                <a:moveTo>
                  <a:pt x="1619686" y="3807345"/>
                </a:moveTo>
                <a:cubicBezTo>
                  <a:pt x="1622403" y="3807345"/>
                  <a:pt x="1619686" y="3807345"/>
                  <a:pt x="1622403" y="3810062"/>
                </a:cubicBezTo>
                <a:cubicBezTo>
                  <a:pt x="1627839" y="3810062"/>
                  <a:pt x="1630556" y="3812780"/>
                  <a:pt x="1635991" y="3812780"/>
                </a:cubicBezTo>
                <a:cubicBezTo>
                  <a:pt x="1644144" y="3818215"/>
                  <a:pt x="1652297" y="3823650"/>
                  <a:pt x="1657732" y="3831803"/>
                </a:cubicBezTo>
                <a:cubicBezTo>
                  <a:pt x="1660450" y="3834521"/>
                  <a:pt x="1663167" y="3834521"/>
                  <a:pt x="1665885" y="3834521"/>
                </a:cubicBezTo>
                <a:cubicBezTo>
                  <a:pt x="1665885" y="3842673"/>
                  <a:pt x="1674038" y="3850826"/>
                  <a:pt x="1676755" y="3856261"/>
                </a:cubicBezTo>
                <a:cubicBezTo>
                  <a:pt x="1676755" y="3858979"/>
                  <a:pt x="1676755" y="3858979"/>
                  <a:pt x="1676755" y="3861697"/>
                </a:cubicBezTo>
                <a:cubicBezTo>
                  <a:pt x="1676755" y="3861697"/>
                  <a:pt x="1682190" y="3861697"/>
                  <a:pt x="1682190" y="3864414"/>
                </a:cubicBezTo>
                <a:cubicBezTo>
                  <a:pt x="1687626" y="3872567"/>
                  <a:pt x="1682190" y="3875285"/>
                  <a:pt x="1687626" y="3883437"/>
                </a:cubicBezTo>
                <a:cubicBezTo>
                  <a:pt x="1687626" y="3883437"/>
                  <a:pt x="1693061" y="3891590"/>
                  <a:pt x="1693061" y="3891590"/>
                </a:cubicBezTo>
                <a:cubicBezTo>
                  <a:pt x="1693061" y="3894308"/>
                  <a:pt x="1698496" y="3891590"/>
                  <a:pt x="1698496" y="3894308"/>
                </a:cubicBezTo>
                <a:cubicBezTo>
                  <a:pt x="1701214" y="3897025"/>
                  <a:pt x="1698496" y="3899743"/>
                  <a:pt x="1701214" y="3905178"/>
                </a:cubicBezTo>
                <a:cubicBezTo>
                  <a:pt x="1703931" y="3905178"/>
                  <a:pt x="1703931" y="3907896"/>
                  <a:pt x="1706649" y="3907896"/>
                </a:cubicBezTo>
                <a:cubicBezTo>
                  <a:pt x="1706649" y="3910613"/>
                  <a:pt x="1706649" y="3910613"/>
                  <a:pt x="1706649" y="3913331"/>
                </a:cubicBezTo>
                <a:cubicBezTo>
                  <a:pt x="1709366" y="3916048"/>
                  <a:pt x="1717519" y="3921484"/>
                  <a:pt x="1717519" y="3924201"/>
                </a:cubicBezTo>
                <a:cubicBezTo>
                  <a:pt x="1717519" y="3926919"/>
                  <a:pt x="1717519" y="3926919"/>
                  <a:pt x="1717519" y="3929636"/>
                </a:cubicBezTo>
                <a:cubicBezTo>
                  <a:pt x="1720237" y="3932354"/>
                  <a:pt x="1725672" y="3935071"/>
                  <a:pt x="1728390" y="3937789"/>
                </a:cubicBezTo>
                <a:cubicBezTo>
                  <a:pt x="1733825" y="3951377"/>
                  <a:pt x="1733825" y="3970400"/>
                  <a:pt x="1741977" y="3981271"/>
                </a:cubicBezTo>
                <a:cubicBezTo>
                  <a:pt x="1741977" y="4016599"/>
                  <a:pt x="1701214" y="4005729"/>
                  <a:pt x="1687626" y="4027470"/>
                </a:cubicBezTo>
                <a:cubicBezTo>
                  <a:pt x="1687626" y="4032905"/>
                  <a:pt x="1687626" y="4035623"/>
                  <a:pt x="1687626" y="4038340"/>
                </a:cubicBezTo>
                <a:cubicBezTo>
                  <a:pt x="1684908" y="4046493"/>
                  <a:pt x="1676755" y="4060081"/>
                  <a:pt x="1668603" y="4062799"/>
                </a:cubicBezTo>
                <a:cubicBezTo>
                  <a:pt x="1665885" y="4062799"/>
                  <a:pt x="1663167" y="4062799"/>
                  <a:pt x="1660450" y="4062799"/>
                </a:cubicBezTo>
                <a:cubicBezTo>
                  <a:pt x="1657732" y="4062799"/>
                  <a:pt x="1657732" y="4062799"/>
                  <a:pt x="1655015" y="4062799"/>
                </a:cubicBezTo>
                <a:cubicBezTo>
                  <a:pt x="1655015" y="4060081"/>
                  <a:pt x="1649579" y="4049211"/>
                  <a:pt x="1649579" y="4046493"/>
                </a:cubicBezTo>
                <a:cubicBezTo>
                  <a:pt x="1646862" y="4043775"/>
                  <a:pt x="1644144" y="4041058"/>
                  <a:pt x="1641427" y="4038340"/>
                </a:cubicBezTo>
                <a:cubicBezTo>
                  <a:pt x="1638709" y="4032905"/>
                  <a:pt x="1635991" y="4027470"/>
                  <a:pt x="1633274" y="4022035"/>
                </a:cubicBezTo>
                <a:cubicBezTo>
                  <a:pt x="1630556" y="4019317"/>
                  <a:pt x="1630556" y="4019317"/>
                  <a:pt x="1627839" y="4019317"/>
                </a:cubicBezTo>
                <a:cubicBezTo>
                  <a:pt x="1622403" y="4016599"/>
                  <a:pt x="1622403" y="4008447"/>
                  <a:pt x="1619686" y="4005729"/>
                </a:cubicBezTo>
                <a:cubicBezTo>
                  <a:pt x="1619686" y="4005729"/>
                  <a:pt x="1616968" y="4003011"/>
                  <a:pt x="1614251" y="4003011"/>
                </a:cubicBezTo>
                <a:cubicBezTo>
                  <a:pt x="1611533" y="3997576"/>
                  <a:pt x="1608815" y="3994859"/>
                  <a:pt x="1606098" y="3989423"/>
                </a:cubicBezTo>
                <a:cubicBezTo>
                  <a:pt x="1603380" y="3989423"/>
                  <a:pt x="1603380" y="3986706"/>
                  <a:pt x="1600663" y="3986706"/>
                </a:cubicBezTo>
                <a:cubicBezTo>
                  <a:pt x="1600663" y="3983988"/>
                  <a:pt x="1600663" y="3983988"/>
                  <a:pt x="1600663" y="3981271"/>
                </a:cubicBezTo>
                <a:cubicBezTo>
                  <a:pt x="1600663" y="3981271"/>
                  <a:pt x="1587075" y="3973118"/>
                  <a:pt x="1587075" y="3973118"/>
                </a:cubicBezTo>
                <a:cubicBezTo>
                  <a:pt x="1584357" y="3967683"/>
                  <a:pt x="1587075" y="3964965"/>
                  <a:pt x="1584357" y="3959530"/>
                </a:cubicBezTo>
                <a:cubicBezTo>
                  <a:pt x="1584357" y="3959530"/>
                  <a:pt x="1581639" y="3959530"/>
                  <a:pt x="1581639" y="3959530"/>
                </a:cubicBezTo>
                <a:cubicBezTo>
                  <a:pt x="1576204" y="3948659"/>
                  <a:pt x="1578922" y="3932354"/>
                  <a:pt x="1573487" y="3918766"/>
                </a:cubicBezTo>
                <a:cubicBezTo>
                  <a:pt x="1568051" y="3902460"/>
                  <a:pt x="1565334" y="3891590"/>
                  <a:pt x="1559899" y="3872567"/>
                </a:cubicBezTo>
                <a:cubicBezTo>
                  <a:pt x="1568051" y="3867132"/>
                  <a:pt x="1576204" y="3858979"/>
                  <a:pt x="1592510" y="3858979"/>
                </a:cubicBezTo>
                <a:cubicBezTo>
                  <a:pt x="1600663" y="3842673"/>
                  <a:pt x="1611533" y="3823650"/>
                  <a:pt x="1619686" y="3807345"/>
                </a:cubicBezTo>
                <a:close/>
                <a:moveTo>
                  <a:pt x="4452863" y="3806198"/>
                </a:moveTo>
                <a:cubicBezTo>
                  <a:pt x="4449381" y="3807175"/>
                  <a:pt x="4445305" y="3810062"/>
                  <a:pt x="4440549" y="3815497"/>
                </a:cubicBezTo>
                <a:lnTo>
                  <a:pt x="4410657" y="3807345"/>
                </a:lnTo>
                <a:lnTo>
                  <a:pt x="4426961" y="3820932"/>
                </a:lnTo>
                <a:lnTo>
                  <a:pt x="4418809" y="3845391"/>
                </a:lnTo>
                <a:lnTo>
                  <a:pt x="4432397" y="3845391"/>
                </a:lnTo>
                <a:lnTo>
                  <a:pt x="4440549" y="3815497"/>
                </a:lnTo>
                <a:cubicBezTo>
                  <a:pt x="4459573" y="3829085"/>
                  <a:pt x="4448703" y="3826368"/>
                  <a:pt x="4470443" y="3831803"/>
                </a:cubicBezTo>
                <a:cubicBezTo>
                  <a:pt x="4468405" y="3817536"/>
                  <a:pt x="4463309" y="3803269"/>
                  <a:pt x="4452863" y="3806198"/>
                </a:cubicBezTo>
                <a:close/>
                <a:moveTo>
                  <a:pt x="2723710" y="3801229"/>
                </a:moveTo>
                <a:lnTo>
                  <a:pt x="2720312" y="3804627"/>
                </a:lnTo>
                <a:cubicBezTo>
                  <a:pt x="2709441" y="3812779"/>
                  <a:pt x="2695853" y="3815497"/>
                  <a:pt x="2690418" y="3826367"/>
                </a:cubicBezTo>
                <a:lnTo>
                  <a:pt x="2687922" y="3820125"/>
                </a:lnTo>
                <a:lnTo>
                  <a:pt x="2684984" y="3823650"/>
                </a:lnTo>
                <a:cubicBezTo>
                  <a:pt x="2684984" y="3823650"/>
                  <a:pt x="2682266" y="3826368"/>
                  <a:pt x="2679549" y="3826368"/>
                </a:cubicBezTo>
                <a:cubicBezTo>
                  <a:pt x="2679549" y="3826368"/>
                  <a:pt x="2679549" y="3829085"/>
                  <a:pt x="2679549" y="3829085"/>
                </a:cubicBezTo>
                <a:cubicBezTo>
                  <a:pt x="2674114" y="3834520"/>
                  <a:pt x="2668678" y="3837238"/>
                  <a:pt x="2665961" y="3845391"/>
                </a:cubicBezTo>
                <a:cubicBezTo>
                  <a:pt x="2660526" y="3845391"/>
                  <a:pt x="2652373" y="3845391"/>
                  <a:pt x="2646938" y="3845391"/>
                </a:cubicBezTo>
                <a:cubicBezTo>
                  <a:pt x="2646938" y="3845391"/>
                  <a:pt x="2646938" y="3842673"/>
                  <a:pt x="2646938" y="3842673"/>
                </a:cubicBezTo>
                <a:cubicBezTo>
                  <a:pt x="2641502" y="3842673"/>
                  <a:pt x="2633350" y="3839956"/>
                  <a:pt x="2630632" y="3842673"/>
                </a:cubicBezTo>
                <a:cubicBezTo>
                  <a:pt x="2627914" y="3842673"/>
                  <a:pt x="2630632" y="3842673"/>
                  <a:pt x="2627914" y="3845391"/>
                </a:cubicBezTo>
                <a:cubicBezTo>
                  <a:pt x="2627914" y="3848109"/>
                  <a:pt x="2629612" y="3851676"/>
                  <a:pt x="2632033" y="3855709"/>
                </a:cubicBezTo>
                <a:lnTo>
                  <a:pt x="2636401" y="3862492"/>
                </a:lnTo>
                <a:lnTo>
                  <a:pt x="2638785" y="3861697"/>
                </a:lnTo>
                <a:cubicBezTo>
                  <a:pt x="2638785" y="3861697"/>
                  <a:pt x="2638785" y="3858980"/>
                  <a:pt x="2638785" y="3858980"/>
                </a:cubicBezTo>
                <a:cubicBezTo>
                  <a:pt x="2641503" y="3858980"/>
                  <a:pt x="2646938" y="3856262"/>
                  <a:pt x="2649656" y="3856262"/>
                </a:cubicBezTo>
                <a:cubicBezTo>
                  <a:pt x="2649656" y="3856262"/>
                  <a:pt x="2649656" y="3853544"/>
                  <a:pt x="2649656" y="3853544"/>
                </a:cubicBezTo>
                <a:cubicBezTo>
                  <a:pt x="2652373" y="3853544"/>
                  <a:pt x="2655091" y="3853544"/>
                  <a:pt x="2657809" y="3853544"/>
                </a:cubicBezTo>
                <a:cubicBezTo>
                  <a:pt x="2660526" y="3853544"/>
                  <a:pt x="2660526" y="3850827"/>
                  <a:pt x="2663244" y="3848109"/>
                </a:cubicBezTo>
                <a:cubicBezTo>
                  <a:pt x="2665961" y="3845392"/>
                  <a:pt x="2668679" y="3848109"/>
                  <a:pt x="2671397" y="3845392"/>
                </a:cubicBezTo>
                <a:lnTo>
                  <a:pt x="2679026" y="3845392"/>
                </a:lnTo>
                <a:lnTo>
                  <a:pt x="2696873" y="3823310"/>
                </a:lnTo>
                <a:cubicBezTo>
                  <a:pt x="2703328" y="3814818"/>
                  <a:pt x="2710801" y="3807345"/>
                  <a:pt x="2723030" y="3804627"/>
                </a:cubicBezTo>
                <a:close/>
                <a:moveTo>
                  <a:pt x="1570770" y="3799193"/>
                </a:moveTo>
                <a:cubicBezTo>
                  <a:pt x="1576205" y="3812781"/>
                  <a:pt x="1573487" y="3829086"/>
                  <a:pt x="1578922" y="3839957"/>
                </a:cubicBezTo>
                <a:cubicBezTo>
                  <a:pt x="1578922" y="3853545"/>
                  <a:pt x="1576205" y="3848109"/>
                  <a:pt x="1565334" y="3853545"/>
                </a:cubicBezTo>
                <a:cubicBezTo>
                  <a:pt x="1559899" y="3856262"/>
                  <a:pt x="1559899" y="3858980"/>
                  <a:pt x="1554464" y="3858980"/>
                </a:cubicBezTo>
                <a:cubicBezTo>
                  <a:pt x="1554464" y="3848109"/>
                  <a:pt x="1549029" y="3829086"/>
                  <a:pt x="1543594" y="3823651"/>
                </a:cubicBezTo>
                <a:cubicBezTo>
                  <a:pt x="1543594" y="3818216"/>
                  <a:pt x="1543594" y="3815498"/>
                  <a:pt x="1543594" y="3810063"/>
                </a:cubicBezTo>
                <a:cubicBezTo>
                  <a:pt x="1546311" y="3810063"/>
                  <a:pt x="1568052" y="3799193"/>
                  <a:pt x="1570770" y="3799193"/>
                </a:cubicBezTo>
                <a:close/>
                <a:moveTo>
                  <a:pt x="1168566" y="3799193"/>
                </a:moveTo>
                <a:cubicBezTo>
                  <a:pt x="1171283" y="3799193"/>
                  <a:pt x="1171283" y="3801910"/>
                  <a:pt x="1174001" y="3801910"/>
                </a:cubicBezTo>
                <a:cubicBezTo>
                  <a:pt x="1176718" y="3804628"/>
                  <a:pt x="1182154" y="3801910"/>
                  <a:pt x="1184871" y="3804628"/>
                </a:cubicBezTo>
                <a:cubicBezTo>
                  <a:pt x="1184871" y="3804628"/>
                  <a:pt x="1187589" y="3804628"/>
                  <a:pt x="1187589" y="3804628"/>
                </a:cubicBezTo>
                <a:cubicBezTo>
                  <a:pt x="1187589" y="3810063"/>
                  <a:pt x="1184871" y="3812781"/>
                  <a:pt x="1182154" y="3815498"/>
                </a:cubicBezTo>
                <a:cubicBezTo>
                  <a:pt x="1182154" y="3815498"/>
                  <a:pt x="1179436" y="3815498"/>
                  <a:pt x="1179436" y="3815498"/>
                </a:cubicBezTo>
                <a:cubicBezTo>
                  <a:pt x="1176718" y="3810063"/>
                  <a:pt x="1171283" y="3804628"/>
                  <a:pt x="1168566" y="3799193"/>
                </a:cubicBezTo>
                <a:close/>
                <a:moveTo>
                  <a:pt x="4478597" y="3799192"/>
                </a:moveTo>
                <a:lnTo>
                  <a:pt x="4478597" y="3815497"/>
                </a:lnTo>
                <a:lnTo>
                  <a:pt x="4494901" y="3812780"/>
                </a:lnTo>
                <a:close/>
                <a:moveTo>
                  <a:pt x="1597267" y="3794776"/>
                </a:moveTo>
                <a:cubicBezTo>
                  <a:pt x="1600664" y="3794437"/>
                  <a:pt x="1603381" y="3795116"/>
                  <a:pt x="1603381" y="3799193"/>
                </a:cubicBezTo>
                <a:cubicBezTo>
                  <a:pt x="1608816" y="3799193"/>
                  <a:pt x="1608816" y="3799193"/>
                  <a:pt x="1611534" y="3799193"/>
                </a:cubicBezTo>
                <a:cubicBezTo>
                  <a:pt x="1611534" y="3815499"/>
                  <a:pt x="1597946" y="3818216"/>
                  <a:pt x="1592511" y="3831804"/>
                </a:cubicBezTo>
                <a:cubicBezTo>
                  <a:pt x="1592511" y="3831804"/>
                  <a:pt x="1589793" y="3831804"/>
                  <a:pt x="1587076" y="3831804"/>
                </a:cubicBezTo>
                <a:cubicBezTo>
                  <a:pt x="1587076" y="3818216"/>
                  <a:pt x="1584358" y="3810063"/>
                  <a:pt x="1587076" y="3796475"/>
                </a:cubicBezTo>
                <a:cubicBezTo>
                  <a:pt x="1589794" y="3796475"/>
                  <a:pt x="1593870" y="3795116"/>
                  <a:pt x="1597267" y="3794776"/>
                </a:cubicBezTo>
                <a:close/>
                <a:moveTo>
                  <a:pt x="2761077" y="3793757"/>
                </a:moveTo>
                <a:cubicBezTo>
                  <a:pt x="2744771" y="3796474"/>
                  <a:pt x="2720313" y="3829085"/>
                  <a:pt x="2709442" y="3839956"/>
                </a:cubicBezTo>
                <a:cubicBezTo>
                  <a:pt x="2706725" y="3845391"/>
                  <a:pt x="2695854" y="3848108"/>
                  <a:pt x="2693137" y="3853544"/>
                </a:cubicBezTo>
                <a:cubicBezTo>
                  <a:pt x="2687702" y="3853544"/>
                  <a:pt x="2682266" y="3853544"/>
                  <a:pt x="2682266" y="3853544"/>
                </a:cubicBezTo>
                <a:lnTo>
                  <a:pt x="2677497" y="3848774"/>
                </a:lnTo>
                <a:lnTo>
                  <a:pt x="2671036" y="3859422"/>
                </a:lnTo>
                <a:lnTo>
                  <a:pt x="2679549" y="3859658"/>
                </a:lnTo>
                <a:cubicBezTo>
                  <a:pt x="2689060" y="3859658"/>
                  <a:pt x="2698572" y="3858979"/>
                  <a:pt x="2704007" y="3856261"/>
                </a:cubicBezTo>
                <a:cubicBezTo>
                  <a:pt x="2714878" y="3853544"/>
                  <a:pt x="2720313" y="3839956"/>
                  <a:pt x="2725748" y="3831803"/>
                </a:cubicBezTo>
                <a:cubicBezTo>
                  <a:pt x="2725748" y="3831803"/>
                  <a:pt x="2728466" y="3829085"/>
                  <a:pt x="2731183" y="3829085"/>
                </a:cubicBezTo>
                <a:cubicBezTo>
                  <a:pt x="2731183" y="3826368"/>
                  <a:pt x="2728466" y="3823650"/>
                  <a:pt x="2731183" y="3823650"/>
                </a:cubicBezTo>
                <a:cubicBezTo>
                  <a:pt x="2733901" y="3823650"/>
                  <a:pt x="2736618" y="3826368"/>
                  <a:pt x="2736618" y="3823650"/>
                </a:cubicBezTo>
                <a:cubicBezTo>
                  <a:pt x="2742054" y="3818215"/>
                  <a:pt x="2742054" y="3812780"/>
                  <a:pt x="2747489" y="3810062"/>
                </a:cubicBezTo>
                <a:cubicBezTo>
                  <a:pt x="2750206" y="3807345"/>
                  <a:pt x="2752924" y="3810062"/>
                  <a:pt x="2755642" y="3807345"/>
                </a:cubicBezTo>
                <a:cubicBezTo>
                  <a:pt x="2758359" y="3804627"/>
                  <a:pt x="2758359" y="3801909"/>
                  <a:pt x="2761077" y="3799192"/>
                </a:cubicBezTo>
                <a:cubicBezTo>
                  <a:pt x="2761077" y="3796474"/>
                  <a:pt x="2761077" y="3796474"/>
                  <a:pt x="2761077" y="3793757"/>
                </a:cubicBezTo>
                <a:close/>
                <a:moveTo>
                  <a:pt x="1361515" y="3777452"/>
                </a:moveTo>
                <a:cubicBezTo>
                  <a:pt x="1361515" y="3780169"/>
                  <a:pt x="1364232" y="3782887"/>
                  <a:pt x="1366950" y="3785605"/>
                </a:cubicBezTo>
                <a:cubicBezTo>
                  <a:pt x="1366950" y="3782887"/>
                  <a:pt x="1366950" y="3780169"/>
                  <a:pt x="1369667" y="3777452"/>
                </a:cubicBezTo>
                <a:cubicBezTo>
                  <a:pt x="1366950" y="3777452"/>
                  <a:pt x="1364232" y="3777452"/>
                  <a:pt x="1361515" y="3777452"/>
                </a:cubicBezTo>
                <a:close/>
                <a:moveTo>
                  <a:pt x="3788328" y="3769298"/>
                </a:moveTo>
                <a:cubicBezTo>
                  <a:pt x="3818221" y="3810062"/>
                  <a:pt x="3788328" y="3858978"/>
                  <a:pt x="3782893" y="3910613"/>
                </a:cubicBezTo>
                <a:cubicBezTo>
                  <a:pt x="3763869" y="3902460"/>
                  <a:pt x="3769305" y="3858978"/>
                  <a:pt x="3772022" y="3837238"/>
                </a:cubicBezTo>
                <a:cubicBezTo>
                  <a:pt x="3761151" y="3823650"/>
                  <a:pt x="3758433" y="3804627"/>
                  <a:pt x="3755716" y="3782886"/>
                </a:cubicBezTo>
                <a:cubicBezTo>
                  <a:pt x="3763869" y="3774733"/>
                  <a:pt x="3769305" y="3766580"/>
                  <a:pt x="3788328" y="3769298"/>
                </a:cubicBezTo>
                <a:close/>
                <a:moveTo>
                  <a:pt x="1293575" y="3769298"/>
                </a:moveTo>
                <a:cubicBezTo>
                  <a:pt x="1293575" y="3769298"/>
                  <a:pt x="1293575" y="3769298"/>
                  <a:pt x="1293575" y="3772015"/>
                </a:cubicBezTo>
                <a:cubicBezTo>
                  <a:pt x="1296292" y="3772015"/>
                  <a:pt x="1299010" y="3772015"/>
                  <a:pt x="1301728" y="3772015"/>
                </a:cubicBezTo>
                <a:cubicBezTo>
                  <a:pt x="1301728" y="3774733"/>
                  <a:pt x="1304445" y="3777451"/>
                  <a:pt x="1304445" y="3777451"/>
                </a:cubicBezTo>
                <a:cubicBezTo>
                  <a:pt x="1307163" y="3777451"/>
                  <a:pt x="1312598" y="3780168"/>
                  <a:pt x="1318033" y="3780168"/>
                </a:cubicBezTo>
                <a:cubicBezTo>
                  <a:pt x="1318033" y="3780168"/>
                  <a:pt x="1318033" y="3782886"/>
                  <a:pt x="1318033" y="3782886"/>
                </a:cubicBezTo>
                <a:cubicBezTo>
                  <a:pt x="1331621" y="3788321"/>
                  <a:pt x="1331621" y="3801909"/>
                  <a:pt x="1342491" y="3807344"/>
                </a:cubicBezTo>
                <a:cubicBezTo>
                  <a:pt x="1342491" y="3810062"/>
                  <a:pt x="1342491" y="3810062"/>
                  <a:pt x="1342491" y="3812779"/>
                </a:cubicBezTo>
                <a:cubicBezTo>
                  <a:pt x="1347927" y="3812779"/>
                  <a:pt x="1347927" y="3815497"/>
                  <a:pt x="1350644" y="3818214"/>
                </a:cubicBezTo>
                <a:cubicBezTo>
                  <a:pt x="1356079" y="3818214"/>
                  <a:pt x="1361515" y="3818214"/>
                  <a:pt x="1366950" y="3818214"/>
                </a:cubicBezTo>
                <a:cubicBezTo>
                  <a:pt x="1375103" y="3820932"/>
                  <a:pt x="1377820" y="3823650"/>
                  <a:pt x="1385973" y="3826367"/>
                </a:cubicBezTo>
                <a:cubicBezTo>
                  <a:pt x="1399561" y="3829085"/>
                  <a:pt x="1418584" y="3820932"/>
                  <a:pt x="1426737" y="3826367"/>
                </a:cubicBezTo>
                <a:cubicBezTo>
                  <a:pt x="1434890" y="3826367"/>
                  <a:pt x="1440325" y="3826367"/>
                  <a:pt x="1448478" y="3826367"/>
                </a:cubicBezTo>
                <a:cubicBezTo>
                  <a:pt x="1448478" y="3826367"/>
                  <a:pt x="1448478" y="3831802"/>
                  <a:pt x="1451195" y="3831802"/>
                </a:cubicBezTo>
                <a:cubicBezTo>
                  <a:pt x="1451195" y="3842673"/>
                  <a:pt x="1445760" y="3850826"/>
                  <a:pt x="1443042" y="3858978"/>
                </a:cubicBezTo>
                <a:cubicBezTo>
                  <a:pt x="1443042" y="3864413"/>
                  <a:pt x="1443042" y="3872566"/>
                  <a:pt x="1443042" y="3880719"/>
                </a:cubicBezTo>
                <a:cubicBezTo>
                  <a:pt x="1443042" y="3883437"/>
                  <a:pt x="1440325" y="3888872"/>
                  <a:pt x="1443042" y="3891589"/>
                </a:cubicBezTo>
                <a:cubicBezTo>
                  <a:pt x="1445760" y="3899742"/>
                  <a:pt x="1451195" y="3902460"/>
                  <a:pt x="1456630" y="3907895"/>
                </a:cubicBezTo>
                <a:cubicBezTo>
                  <a:pt x="1456630" y="3907895"/>
                  <a:pt x="1470218" y="3948659"/>
                  <a:pt x="1472936" y="3951376"/>
                </a:cubicBezTo>
                <a:cubicBezTo>
                  <a:pt x="1472936" y="3973117"/>
                  <a:pt x="1453913" y="3975835"/>
                  <a:pt x="1443042" y="3986705"/>
                </a:cubicBezTo>
                <a:cubicBezTo>
                  <a:pt x="1440325" y="3989423"/>
                  <a:pt x="1440325" y="3997575"/>
                  <a:pt x="1437607" y="4000293"/>
                </a:cubicBezTo>
                <a:cubicBezTo>
                  <a:pt x="1429454" y="3997575"/>
                  <a:pt x="1429454" y="3994858"/>
                  <a:pt x="1424019" y="3992140"/>
                </a:cubicBezTo>
                <a:cubicBezTo>
                  <a:pt x="1421302" y="3992140"/>
                  <a:pt x="1421302" y="3992140"/>
                  <a:pt x="1418584" y="3992140"/>
                </a:cubicBezTo>
                <a:cubicBezTo>
                  <a:pt x="1415866" y="3992140"/>
                  <a:pt x="1418584" y="3986705"/>
                  <a:pt x="1415866" y="3986705"/>
                </a:cubicBezTo>
                <a:cubicBezTo>
                  <a:pt x="1413149" y="3986705"/>
                  <a:pt x="1410431" y="3986705"/>
                  <a:pt x="1407714" y="3986705"/>
                </a:cubicBezTo>
                <a:cubicBezTo>
                  <a:pt x="1404996" y="3986705"/>
                  <a:pt x="1404996" y="3983987"/>
                  <a:pt x="1402278" y="3981270"/>
                </a:cubicBezTo>
                <a:cubicBezTo>
                  <a:pt x="1399561" y="3978552"/>
                  <a:pt x="1394126" y="3981270"/>
                  <a:pt x="1391408" y="3978552"/>
                </a:cubicBezTo>
                <a:cubicBezTo>
                  <a:pt x="1391408" y="3978552"/>
                  <a:pt x="1391408" y="3975835"/>
                  <a:pt x="1391408" y="3975835"/>
                </a:cubicBezTo>
                <a:cubicBezTo>
                  <a:pt x="1388691" y="3975835"/>
                  <a:pt x="1383255" y="3975835"/>
                  <a:pt x="1380538" y="3975835"/>
                </a:cubicBezTo>
                <a:cubicBezTo>
                  <a:pt x="1375103" y="3973117"/>
                  <a:pt x="1372385" y="3970399"/>
                  <a:pt x="1369667" y="3967682"/>
                </a:cubicBezTo>
                <a:cubicBezTo>
                  <a:pt x="1366950" y="3967682"/>
                  <a:pt x="1364232" y="3967682"/>
                  <a:pt x="1361515" y="3967682"/>
                </a:cubicBezTo>
                <a:cubicBezTo>
                  <a:pt x="1361515" y="3964964"/>
                  <a:pt x="1358797" y="3964964"/>
                  <a:pt x="1358797" y="3962247"/>
                </a:cubicBezTo>
                <a:cubicBezTo>
                  <a:pt x="1347927" y="3962247"/>
                  <a:pt x="1339774" y="3959529"/>
                  <a:pt x="1328904" y="3959529"/>
                </a:cubicBezTo>
                <a:cubicBezTo>
                  <a:pt x="1326186" y="3956811"/>
                  <a:pt x="1323468" y="3956811"/>
                  <a:pt x="1318033" y="3959529"/>
                </a:cubicBezTo>
                <a:cubicBezTo>
                  <a:pt x="1318033" y="3956811"/>
                  <a:pt x="1320751" y="3951376"/>
                  <a:pt x="1318033" y="3945941"/>
                </a:cubicBezTo>
                <a:cubicBezTo>
                  <a:pt x="1315316" y="3945941"/>
                  <a:pt x="1315316" y="3943223"/>
                  <a:pt x="1312598" y="3943223"/>
                </a:cubicBezTo>
                <a:cubicBezTo>
                  <a:pt x="1312598" y="3937788"/>
                  <a:pt x="1312598" y="3935071"/>
                  <a:pt x="1312598" y="3929636"/>
                </a:cubicBezTo>
                <a:cubicBezTo>
                  <a:pt x="1309880" y="3929636"/>
                  <a:pt x="1309880" y="3926918"/>
                  <a:pt x="1307163" y="3926918"/>
                </a:cubicBezTo>
                <a:cubicBezTo>
                  <a:pt x="1301728" y="3921483"/>
                  <a:pt x="1299010" y="3913330"/>
                  <a:pt x="1296292" y="3905177"/>
                </a:cubicBezTo>
                <a:cubicBezTo>
                  <a:pt x="1307163" y="3894307"/>
                  <a:pt x="1318033" y="3878001"/>
                  <a:pt x="1323468" y="3861696"/>
                </a:cubicBezTo>
                <a:cubicBezTo>
                  <a:pt x="1326186" y="3856261"/>
                  <a:pt x="1326186" y="3850826"/>
                  <a:pt x="1328904" y="3845390"/>
                </a:cubicBezTo>
                <a:cubicBezTo>
                  <a:pt x="1328904" y="3842673"/>
                  <a:pt x="1328904" y="3839955"/>
                  <a:pt x="1328904" y="3837238"/>
                </a:cubicBezTo>
                <a:cubicBezTo>
                  <a:pt x="1326186" y="3837238"/>
                  <a:pt x="1326186" y="3834520"/>
                  <a:pt x="1323468" y="3837238"/>
                </a:cubicBezTo>
                <a:cubicBezTo>
                  <a:pt x="1323468" y="3837238"/>
                  <a:pt x="1307163" y="3864413"/>
                  <a:pt x="1301728" y="3875284"/>
                </a:cubicBezTo>
                <a:cubicBezTo>
                  <a:pt x="1301728" y="3872566"/>
                  <a:pt x="1301728" y="3869849"/>
                  <a:pt x="1301728" y="3867131"/>
                </a:cubicBezTo>
                <a:cubicBezTo>
                  <a:pt x="1296292" y="3864413"/>
                  <a:pt x="1293575" y="3861696"/>
                  <a:pt x="1290857" y="3858978"/>
                </a:cubicBezTo>
                <a:cubicBezTo>
                  <a:pt x="1290857" y="3853543"/>
                  <a:pt x="1290857" y="3848108"/>
                  <a:pt x="1290857" y="3842673"/>
                </a:cubicBezTo>
                <a:cubicBezTo>
                  <a:pt x="1290857" y="3829085"/>
                  <a:pt x="1288140" y="3820932"/>
                  <a:pt x="1288140" y="3810062"/>
                </a:cubicBezTo>
                <a:cubicBezTo>
                  <a:pt x="1290857" y="3804626"/>
                  <a:pt x="1290857" y="3801909"/>
                  <a:pt x="1293575" y="3799191"/>
                </a:cubicBezTo>
                <a:cubicBezTo>
                  <a:pt x="1288140" y="3793756"/>
                  <a:pt x="1285422" y="3791039"/>
                  <a:pt x="1279987" y="3785603"/>
                </a:cubicBezTo>
                <a:cubicBezTo>
                  <a:pt x="1285422" y="3782886"/>
                  <a:pt x="1288140" y="3774733"/>
                  <a:pt x="1293575" y="3769298"/>
                </a:cubicBezTo>
                <a:close/>
                <a:moveTo>
                  <a:pt x="516343" y="3769298"/>
                </a:moveTo>
                <a:cubicBezTo>
                  <a:pt x="516343" y="3777451"/>
                  <a:pt x="519060" y="3782886"/>
                  <a:pt x="519060" y="3788321"/>
                </a:cubicBezTo>
                <a:cubicBezTo>
                  <a:pt x="535366" y="3780169"/>
                  <a:pt x="540801" y="3810062"/>
                  <a:pt x="562542" y="3810062"/>
                </a:cubicBezTo>
                <a:cubicBezTo>
                  <a:pt x="570695" y="3777451"/>
                  <a:pt x="540801" y="3766581"/>
                  <a:pt x="516343" y="3769298"/>
                </a:cubicBezTo>
                <a:close/>
                <a:moveTo>
                  <a:pt x="2521929" y="3766581"/>
                </a:moveTo>
                <a:cubicBezTo>
                  <a:pt x="2532799" y="3769298"/>
                  <a:pt x="2530081" y="3774734"/>
                  <a:pt x="2535517" y="3780169"/>
                </a:cubicBezTo>
                <a:cubicBezTo>
                  <a:pt x="2535517" y="3780169"/>
                  <a:pt x="2540952" y="3785604"/>
                  <a:pt x="2543669" y="3788322"/>
                </a:cubicBezTo>
                <a:cubicBezTo>
                  <a:pt x="2554540" y="3812780"/>
                  <a:pt x="2524646" y="3848109"/>
                  <a:pt x="2519211" y="3864414"/>
                </a:cubicBezTo>
                <a:cubicBezTo>
                  <a:pt x="2505623" y="3867132"/>
                  <a:pt x="2497470" y="3872567"/>
                  <a:pt x="2481165" y="3872567"/>
                </a:cubicBezTo>
                <a:cubicBezTo>
                  <a:pt x="2481165" y="3861696"/>
                  <a:pt x="2486600" y="3856261"/>
                  <a:pt x="2489317" y="3848109"/>
                </a:cubicBezTo>
                <a:cubicBezTo>
                  <a:pt x="2492035" y="3839956"/>
                  <a:pt x="2492035" y="3831803"/>
                  <a:pt x="2494753" y="3823650"/>
                </a:cubicBezTo>
                <a:cubicBezTo>
                  <a:pt x="2497470" y="3820933"/>
                  <a:pt x="2502905" y="3812780"/>
                  <a:pt x="2505623" y="3807345"/>
                </a:cubicBezTo>
                <a:cubicBezTo>
                  <a:pt x="2508341" y="3799192"/>
                  <a:pt x="2505623" y="3788322"/>
                  <a:pt x="2511058" y="3780169"/>
                </a:cubicBezTo>
                <a:cubicBezTo>
                  <a:pt x="2513776" y="3774734"/>
                  <a:pt x="2519211" y="3772016"/>
                  <a:pt x="2521929" y="3766581"/>
                </a:cubicBezTo>
                <a:close/>
                <a:moveTo>
                  <a:pt x="4438172" y="3762844"/>
                </a:moveTo>
                <a:cubicBezTo>
                  <a:pt x="4435794" y="3762505"/>
                  <a:pt x="4433756" y="3765222"/>
                  <a:pt x="4424245" y="3772016"/>
                </a:cubicBezTo>
                <a:lnTo>
                  <a:pt x="4410657" y="3763863"/>
                </a:lnTo>
                <a:cubicBezTo>
                  <a:pt x="4410657" y="3793757"/>
                  <a:pt x="4413373" y="3788321"/>
                  <a:pt x="4432397" y="3801909"/>
                </a:cubicBezTo>
                <a:cubicBezTo>
                  <a:pt x="4443267" y="3772016"/>
                  <a:pt x="4432397" y="3801909"/>
                  <a:pt x="4454137" y="3772016"/>
                </a:cubicBezTo>
                <a:cubicBezTo>
                  <a:pt x="4443267" y="3766581"/>
                  <a:pt x="4440550" y="3763184"/>
                  <a:pt x="4438172" y="3762844"/>
                </a:cubicBezTo>
                <a:close/>
                <a:moveTo>
                  <a:pt x="3791045" y="3752993"/>
                </a:moveTo>
                <a:lnTo>
                  <a:pt x="3791045" y="3761146"/>
                </a:lnTo>
                <a:cubicBezTo>
                  <a:pt x="3785610" y="3766581"/>
                  <a:pt x="3785610" y="3758429"/>
                  <a:pt x="3777457" y="3761146"/>
                </a:cubicBezTo>
                <a:cubicBezTo>
                  <a:pt x="3780174" y="3755711"/>
                  <a:pt x="3782892" y="3750276"/>
                  <a:pt x="3791045" y="3752993"/>
                </a:cubicBezTo>
                <a:close/>
                <a:moveTo>
                  <a:pt x="1244658" y="3744841"/>
                </a:moveTo>
                <a:cubicBezTo>
                  <a:pt x="1255528" y="3747558"/>
                  <a:pt x="1266398" y="3750276"/>
                  <a:pt x="1277269" y="3750276"/>
                </a:cubicBezTo>
                <a:cubicBezTo>
                  <a:pt x="1279986" y="3755711"/>
                  <a:pt x="1279986" y="3755711"/>
                  <a:pt x="1282704" y="3755711"/>
                </a:cubicBezTo>
                <a:cubicBezTo>
                  <a:pt x="1282704" y="3769299"/>
                  <a:pt x="1277269" y="3772017"/>
                  <a:pt x="1269116" y="3774734"/>
                </a:cubicBezTo>
                <a:cubicBezTo>
                  <a:pt x="1258246" y="3763864"/>
                  <a:pt x="1250093" y="3755711"/>
                  <a:pt x="1244658" y="3744841"/>
                </a:cubicBezTo>
                <a:close/>
                <a:moveTo>
                  <a:pt x="1622404" y="3733971"/>
                </a:moveTo>
                <a:cubicBezTo>
                  <a:pt x="1627839" y="3742124"/>
                  <a:pt x="1630556" y="3747559"/>
                  <a:pt x="1633274" y="3755712"/>
                </a:cubicBezTo>
                <a:cubicBezTo>
                  <a:pt x="1641427" y="3747559"/>
                  <a:pt x="1655015" y="3739406"/>
                  <a:pt x="1665885" y="3739406"/>
                </a:cubicBezTo>
                <a:cubicBezTo>
                  <a:pt x="1665885" y="3739406"/>
                  <a:pt x="1665885" y="3742124"/>
                  <a:pt x="1665885" y="3742124"/>
                </a:cubicBezTo>
                <a:cubicBezTo>
                  <a:pt x="1668603" y="3742124"/>
                  <a:pt x="1674038" y="3742124"/>
                  <a:pt x="1676756" y="3744841"/>
                </a:cubicBezTo>
                <a:cubicBezTo>
                  <a:pt x="1682191" y="3750276"/>
                  <a:pt x="1682191" y="3755712"/>
                  <a:pt x="1690345" y="3758429"/>
                </a:cubicBezTo>
                <a:cubicBezTo>
                  <a:pt x="1690345" y="3774735"/>
                  <a:pt x="1646862" y="3772017"/>
                  <a:pt x="1635992" y="3782887"/>
                </a:cubicBezTo>
                <a:cubicBezTo>
                  <a:pt x="1633274" y="3780170"/>
                  <a:pt x="1630556" y="3780170"/>
                  <a:pt x="1627839" y="3777452"/>
                </a:cubicBezTo>
                <a:cubicBezTo>
                  <a:pt x="1627839" y="3761147"/>
                  <a:pt x="1625121" y="3747559"/>
                  <a:pt x="1622404" y="3733971"/>
                </a:cubicBezTo>
                <a:close/>
                <a:moveTo>
                  <a:pt x="4465009" y="3733970"/>
                </a:moveTo>
                <a:cubicBezTo>
                  <a:pt x="4470443" y="3755710"/>
                  <a:pt x="4459573" y="3750275"/>
                  <a:pt x="4478597" y="3742122"/>
                </a:cubicBezTo>
                <a:lnTo>
                  <a:pt x="4486749" y="3763863"/>
                </a:lnTo>
                <a:lnTo>
                  <a:pt x="4470443" y="3788321"/>
                </a:lnTo>
                <a:lnTo>
                  <a:pt x="4500337" y="3793757"/>
                </a:lnTo>
                <a:lnTo>
                  <a:pt x="4503055" y="3818215"/>
                </a:lnTo>
                <a:lnTo>
                  <a:pt x="4538383" y="3780169"/>
                </a:lnTo>
                <a:lnTo>
                  <a:pt x="4530231" y="3769298"/>
                </a:lnTo>
                <a:lnTo>
                  <a:pt x="4505771" y="3796474"/>
                </a:lnTo>
                <a:lnTo>
                  <a:pt x="4489467" y="3766581"/>
                </a:lnTo>
                <a:lnTo>
                  <a:pt x="4511207" y="3758428"/>
                </a:lnTo>
                <a:cubicBezTo>
                  <a:pt x="4503055" y="3736687"/>
                  <a:pt x="4503055" y="3752993"/>
                  <a:pt x="4511207" y="3733970"/>
                </a:cubicBezTo>
                <a:close/>
                <a:moveTo>
                  <a:pt x="1375103" y="3731253"/>
                </a:moveTo>
                <a:cubicBezTo>
                  <a:pt x="1385973" y="3729894"/>
                  <a:pt x="1398202" y="3729894"/>
                  <a:pt x="1409412" y="3731253"/>
                </a:cubicBezTo>
                <a:cubicBezTo>
                  <a:pt x="1420622" y="3732611"/>
                  <a:pt x="1430813" y="3735329"/>
                  <a:pt x="1437607" y="3739406"/>
                </a:cubicBezTo>
                <a:cubicBezTo>
                  <a:pt x="1443042" y="3742123"/>
                  <a:pt x="1448478" y="3747558"/>
                  <a:pt x="1451195" y="3752994"/>
                </a:cubicBezTo>
                <a:cubicBezTo>
                  <a:pt x="1456630" y="3763864"/>
                  <a:pt x="1462066" y="3799193"/>
                  <a:pt x="1456630" y="3807345"/>
                </a:cubicBezTo>
                <a:cubicBezTo>
                  <a:pt x="1456630" y="3812780"/>
                  <a:pt x="1456630" y="3812780"/>
                  <a:pt x="1453913" y="3818216"/>
                </a:cubicBezTo>
                <a:cubicBezTo>
                  <a:pt x="1451195" y="3818216"/>
                  <a:pt x="1448478" y="3818216"/>
                  <a:pt x="1445760" y="3815498"/>
                </a:cubicBezTo>
                <a:cubicBezTo>
                  <a:pt x="1432172" y="3815498"/>
                  <a:pt x="1413149" y="3780169"/>
                  <a:pt x="1407714" y="3766581"/>
                </a:cubicBezTo>
                <a:cubicBezTo>
                  <a:pt x="1404996" y="3766581"/>
                  <a:pt x="1404996" y="3766581"/>
                  <a:pt x="1402279" y="3766581"/>
                </a:cubicBezTo>
                <a:cubicBezTo>
                  <a:pt x="1402279" y="3772017"/>
                  <a:pt x="1402279" y="3774734"/>
                  <a:pt x="1388691" y="3777452"/>
                </a:cubicBezTo>
                <a:cubicBezTo>
                  <a:pt x="1388691" y="3780169"/>
                  <a:pt x="1394126" y="3780169"/>
                  <a:pt x="1394126" y="3780169"/>
                </a:cubicBezTo>
                <a:cubicBezTo>
                  <a:pt x="1402279" y="3791040"/>
                  <a:pt x="1404996" y="3801910"/>
                  <a:pt x="1410431" y="3810063"/>
                </a:cubicBezTo>
                <a:cubicBezTo>
                  <a:pt x="1410431" y="3812780"/>
                  <a:pt x="1410431" y="3812780"/>
                  <a:pt x="1407714" y="3815498"/>
                </a:cubicBezTo>
                <a:cubicBezTo>
                  <a:pt x="1396843" y="3815498"/>
                  <a:pt x="1375103" y="3820933"/>
                  <a:pt x="1364232" y="3815498"/>
                </a:cubicBezTo>
                <a:cubicBezTo>
                  <a:pt x="1364232" y="3812780"/>
                  <a:pt x="1361515" y="3812780"/>
                  <a:pt x="1361515" y="3810063"/>
                </a:cubicBezTo>
                <a:cubicBezTo>
                  <a:pt x="1356080" y="3810063"/>
                  <a:pt x="1347927" y="3807345"/>
                  <a:pt x="1342492" y="3807345"/>
                </a:cubicBezTo>
                <a:cubicBezTo>
                  <a:pt x="1334339" y="3791040"/>
                  <a:pt x="1320751" y="3780169"/>
                  <a:pt x="1309880" y="3769299"/>
                </a:cubicBezTo>
                <a:cubicBezTo>
                  <a:pt x="1309880" y="3769299"/>
                  <a:pt x="1309880" y="3769299"/>
                  <a:pt x="1309880" y="3766581"/>
                </a:cubicBezTo>
                <a:cubicBezTo>
                  <a:pt x="1309880" y="3766581"/>
                  <a:pt x="1307163" y="3766581"/>
                  <a:pt x="1307163" y="3766581"/>
                </a:cubicBezTo>
                <a:cubicBezTo>
                  <a:pt x="1307163" y="3763864"/>
                  <a:pt x="1307163" y="3763864"/>
                  <a:pt x="1307163" y="3761146"/>
                </a:cubicBezTo>
                <a:cubicBezTo>
                  <a:pt x="1326186" y="3755711"/>
                  <a:pt x="1339774" y="3750276"/>
                  <a:pt x="1364232" y="3750276"/>
                </a:cubicBezTo>
                <a:cubicBezTo>
                  <a:pt x="1366950" y="3744841"/>
                  <a:pt x="1372385" y="3736688"/>
                  <a:pt x="1375103" y="3731253"/>
                </a:cubicBezTo>
                <a:close/>
                <a:moveTo>
                  <a:pt x="1491959" y="3720383"/>
                </a:moveTo>
                <a:cubicBezTo>
                  <a:pt x="1500112" y="3720383"/>
                  <a:pt x="1510982" y="3720383"/>
                  <a:pt x="1527289" y="3720383"/>
                </a:cubicBezTo>
                <a:cubicBezTo>
                  <a:pt x="1521852" y="3739406"/>
                  <a:pt x="1516417" y="3755711"/>
                  <a:pt x="1510982" y="3772017"/>
                </a:cubicBezTo>
                <a:cubicBezTo>
                  <a:pt x="1508265" y="3782887"/>
                  <a:pt x="1521852" y="3793758"/>
                  <a:pt x="1513700" y="3804628"/>
                </a:cubicBezTo>
                <a:cubicBezTo>
                  <a:pt x="1510982" y="3807346"/>
                  <a:pt x="1508265" y="3812781"/>
                  <a:pt x="1502829" y="3812781"/>
                </a:cubicBezTo>
                <a:cubicBezTo>
                  <a:pt x="1497394" y="3815498"/>
                  <a:pt x="1489241" y="3815498"/>
                  <a:pt x="1486524" y="3812781"/>
                </a:cubicBezTo>
                <a:cubicBezTo>
                  <a:pt x="1481089" y="3804628"/>
                  <a:pt x="1483806" y="3788323"/>
                  <a:pt x="1486524" y="3777452"/>
                </a:cubicBezTo>
                <a:cubicBezTo>
                  <a:pt x="1486524" y="3769299"/>
                  <a:pt x="1486524" y="3763864"/>
                  <a:pt x="1486524" y="3755711"/>
                </a:cubicBezTo>
                <a:cubicBezTo>
                  <a:pt x="1486524" y="3750276"/>
                  <a:pt x="1491959" y="3744841"/>
                  <a:pt x="1491959" y="3742124"/>
                </a:cubicBezTo>
                <a:cubicBezTo>
                  <a:pt x="1491959" y="3736688"/>
                  <a:pt x="1491959" y="3728536"/>
                  <a:pt x="1491959" y="3720383"/>
                </a:cubicBezTo>
                <a:close/>
                <a:moveTo>
                  <a:pt x="2576281" y="3709513"/>
                </a:moveTo>
                <a:cubicBezTo>
                  <a:pt x="2578998" y="3709513"/>
                  <a:pt x="2578998" y="3709513"/>
                  <a:pt x="2581716" y="3712230"/>
                </a:cubicBezTo>
                <a:cubicBezTo>
                  <a:pt x="2587151" y="3709513"/>
                  <a:pt x="2592586" y="3709513"/>
                  <a:pt x="2595304" y="3712230"/>
                </a:cubicBezTo>
                <a:cubicBezTo>
                  <a:pt x="2600739" y="3714948"/>
                  <a:pt x="2600739" y="3725818"/>
                  <a:pt x="2598022" y="3731253"/>
                </a:cubicBezTo>
                <a:cubicBezTo>
                  <a:pt x="2595304" y="3733971"/>
                  <a:pt x="2587151" y="3736689"/>
                  <a:pt x="2584434" y="3742124"/>
                </a:cubicBezTo>
                <a:cubicBezTo>
                  <a:pt x="2581716" y="3744841"/>
                  <a:pt x="2581716" y="3752994"/>
                  <a:pt x="2578998" y="3758429"/>
                </a:cubicBezTo>
                <a:cubicBezTo>
                  <a:pt x="2573563" y="3769300"/>
                  <a:pt x="2565410" y="3774735"/>
                  <a:pt x="2562693" y="3788323"/>
                </a:cubicBezTo>
                <a:cubicBezTo>
                  <a:pt x="2559975" y="3788323"/>
                  <a:pt x="2559975" y="3788323"/>
                  <a:pt x="2559975" y="3788323"/>
                </a:cubicBezTo>
                <a:cubicBezTo>
                  <a:pt x="2549105" y="3788323"/>
                  <a:pt x="2551823" y="3780170"/>
                  <a:pt x="2546387" y="3774735"/>
                </a:cubicBezTo>
                <a:cubicBezTo>
                  <a:pt x="2543670" y="3769300"/>
                  <a:pt x="2535517" y="3763865"/>
                  <a:pt x="2532799" y="3758429"/>
                </a:cubicBezTo>
                <a:cubicBezTo>
                  <a:pt x="2530082" y="3750277"/>
                  <a:pt x="2540952" y="3742124"/>
                  <a:pt x="2543670" y="3739406"/>
                </a:cubicBezTo>
                <a:cubicBezTo>
                  <a:pt x="2546387" y="3733971"/>
                  <a:pt x="2549105" y="3725818"/>
                  <a:pt x="2554540" y="3723101"/>
                </a:cubicBezTo>
                <a:cubicBezTo>
                  <a:pt x="2557258" y="3723101"/>
                  <a:pt x="2559975" y="3723101"/>
                  <a:pt x="2562693" y="3723101"/>
                </a:cubicBezTo>
                <a:cubicBezTo>
                  <a:pt x="2565410" y="3720383"/>
                  <a:pt x="2573563" y="3712230"/>
                  <a:pt x="2576281" y="3709513"/>
                </a:cubicBezTo>
                <a:close/>
                <a:moveTo>
                  <a:pt x="3772022" y="3706795"/>
                </a:moveTo>
                <a:cubicBezTo>
                  <a:pt x="3780175" y="3706795"/>
                  <a:pt x="3782892" y="3714948"/>
                  <a:pt x="3782892" y="3723100"/>
                </a:cubicBezTo>
                <a:cubicBezTo>
                  <a:pt x="3766587" y="3720383"/>
                  <a:pt x="3780175" y="3744841"/>
                  <a:pt x="3769304" y="3747559"/>
                </a:cubicBezTo>
                <a:cubicBezTo>
                  <a:pt x="3755715" y="3739406"/>
                  <a:pt x="3777457" y="3725818"/>
                  <a:pt x="3772022" y="3706795"/>
                </a:cubicBezTo>
                <a:close/>
                <a:moveTo>
                  <a:pt x="1600664" y="3706795"/>
                </a:moveTo>
                <a:cubicBezTo>
                  <a:pt x="1606099" y="3717665"/>
                  <a:pt x="1608817" y="3728536"/>
                  <a:pt x="1606099" y="3739406"/>
                </a:cubicBezTo>
                <a:cubicBezTo>
                  <a:pt x="1603382" y="3744841"/>
                  <a:pt x="1608817" y="3752994"/>
                  <a:pt x="1606099" y="3758429"/>
                </a:cubicBezTo>
                <a:cubicBezTo>
                  <a:pt x="1606099" y="3763864"/>
                  <a:pt x="1608817" y="3772017"/>
                  <a:pt x="1606099" y="3774735"/>
                </a:cubicBezTo>
                <a:cubicBezTo>
                  <a:pt x="1600664" y="3777452"/>
                  <a:pt x="1589793" y="3777452"/>
                  <a:pt x="1581640" y="3777452"/>
                </a:cubicBezTo>
                <a:cubicBezTo>
                  <a:pt x="1581640" y="3772017"/>
                  <a:pt x="1581640" y="3763864"/>
                  <a:pt x="1581640" y="3763864"/>
                </a:cubicBezTo>
                <a:cubicBezTo>
                  <a:pt x="1581640" y="3758429"/>
                  <a:pt x="1581640" y="3758429"/>
                  <a:pt x="1578922" y="3755711"/>
                </a:cubicBezTo>
                <a:cubicBezTo>
                  <a:pt x="1576205" y="3755711"/>
                  <a:pt x="1573487" y="3755711"/>
                  <a:pt x="1570769" y="3755711"/>
                </a:cubicBezTo>
                <a:cubicBezTo>
                  <a:pt x="1570769" y="3763864"/>
                  <a:pt x="1570769" y="3777452"/>
                  <a:pt x="1568052" y="3782887"/>
                </a:cubicBezTo>
                <a:cubicBezTo>
                  <a:pt x="1562617" y="3785605"/>
                  <a:pt x="1551746" y="3785605"/>
                  <a:pt x="1546311" y="3791040"/>
                </a:cubicBezTo>
                <a:cubicBezTo>
                  <a:pt x="1543593" y="3791040"/>
                  <a:pt x="1543593" y="3791040"/>
                  <a:pt x="1540876" y="3791040"/>
                </a:cubicBezTo>
                <a:cubicBezTo>
                  <a:pt x="1530006" y="3777452"/>
                  <a:pt x="1540876" y="3755711"/>
                  <a:pt x="1546311" y="3739406"/>
                </a:cubicBezTo>
                <a:cubicBezTo>
                  <a:pt x="1546311" y="3731253"/>
                  <a:pt x="1546311" y="3725818"/>
                  <a:pt x="1546311" y="3714948"/>
                </a:cubicBezTo>
                <a:cubicBezTo>
                  <a:pt x="1562617" y="3712230"/>
                  <a:pt x="1581640" y="3706795"/>
                  <a:pt x="1600664" y="3706795"/>
                </a:cubicBezTo>
                <a:close/>
                <a:moveTo>
                  <a:pt x="4693286" y="3706794"/>
                </a:moveTo>
                <a:lnTo>
                  <a:pt x="4693286" y="3723099"/>
                </a:lnTo>
                <a:lnTo>
                  <a:pt x="4709592" y="3720382"/>
                </a:lnTo>
                <a:close/>
                <a:moveTo>
                  <a:pt x="3810068" y="3695925"/>
                </a:moveTo>
                <a:cubicBezTo>
                  <a:pt x="3812785" y="3695925"/>
                  <a:pt x="3815503" y="3698642"/>
                  <a:pt x="3820938" y="3701360"/>
                </a:cubicBezTo>
                <a:cubicBezTo>
                  <a:pt x="3815503" y="3704077"/>
                  <a:pt x="3818221" y="3714948"/>
                  <a:pt x="3810068" y="3714948"/>
                </a:cubicBezTo>
                <a:close/>
                <a:moveTo>
                  <a:pt x="3739411" y="3690489"/>
                </a:moveTo>
                <a:cubicBezTo>
                  <a:pt x="3744846" y="3690489"/>
                  <a:pt x="3744846" y="3693206"/>
                  <a:pt x="3747563" y="3693206"/>
                </a:cubicBezTo>
                <a:cubicBezTo>
                  <a:pt x="3747563" y="3698642"/>
                  <a:pt x="3747563" y="3704077"/>
                  <a:pt x="3739411" y="3704077"/>
                </a:cubicBezTo>
                <a:cubicBezTo>
                  <a:pt x="3744846" y="3698642"/>
                  <a:pt x="3739411" y="3698642"/>
                  <a:pt x="3739411" y="3690489"/>
                </a:cubicBezTo>
                <a:close/>
                <a:moveTo>
                  <a:pt x="679398" y="3690488"/>
                </a:moveTo>
                <a:cubicBezTo>
                  <a:pt x="684834" y="3704076"/>
                  <a:pt x="679398" y="3709511"/>
                  <a:pt x="682116" y="3720382"/>
                </a:cubicBezTo>
                <a:cubicBezTo>
                  <a:pt x="671246" y="3723099"/>
                  <a:pt x="671246" y="3733970"/>
                  <a:pt x="654940" y="3733970"/>
                </a:cubicBezTo>
                <a:cubicBezTo>
                  <a:pt x="644070" y="3761146"/>
                  <a:pt x="671246" y="3763863"/>
                  <a:pt x="660375" y="3782886"/>
                </a:cubicBezTo>
                <a:cubicBezTo>
                  <a:pt x="682116" y="3782886"/>
                  <a:pt x="695704" y="3752993"/>
                  <a:pt x="712009" y="3763863"/>
                </a:cubicBezTo>
                <a:cubicBezTo>
                  <a:pt x="712009" y="3739405"/>
                  <a:pt x="706574" y="3687771"/>
                  <a:pt x="679398" y="3690488"/>
                </a:cubicBezTo>
                <a:close/>
                <a:moveTo>
                  <a:pt x="4494901" y="3685053"/>
                </a:moveTo>
                <a:lnTo>
                  <a:pt x="4478597" y="3701359"/>
                </a:lnTo>
                <a:lnTo>
                  <a:pt x="4503055" y="3701359"/>
                </a:lnTo>
                <a:close/>
                <a:moveTo>
                  <a:pt x="2117006" y="3685053"/>
                </a:moveTo>
                <a:cubicBezTo>
                  <a:pt x="2111571" y="3690488"/>
                  <a:pt x="2106135" y="3695923"/>
                  <a:pt x="2103418" y="3698641"/>
                </a:cubicBezTo>
                <a:cubicBezTo>
                  <a:pt x="2103418" y="3698641"/>
                  <a:pt x="2100700" y="3698641"/>
                  <a:pt x="2100700" y="3698641"/>
                </a:cubicBezTo>
                <a:cubicBezTo>
                  <a:pt x="2100700" y="3701359"/>
                  <a:pt x="2100700" y="3701359"/>
                  <a:pt x="2100700" y="3704076"/>
                </a:cubicBezTo>
                <a:cubicBezTo>
                  <a:pt x="2097983" y="3712229"/>
                  <a:pt x="2089830" y="3717664"/>
                  <a:pt x="2084395" y="3723099"/>
                </a:cubicBezTo>
                <a:cubicBezTo>
                  <a:pt x="2084395" y="3723099"/>
                  <a:pt x="2084395" y="3725817"/>
                  <a:pt x="2084395" y="3725817"/>
                </a:cubicBezTo>
                <a:cubicBezTo>
                  <a:pt x="2081677" y="3725817"/>
                  <a:pt x="2081677" y="3725817"/>
                  <a:pt x="2078960" y="3725817"/>
                </a:cubicBezTo>
                <a:cubicBezTo>
                  <a:pt x="2076242" y="3731252"/>
                  <a:pt x="2076242" y="3733970"/>
                  <a:pt x="2073524" y="3739405"/>
                </a:cubicBezTo>
                <a:cubicBezTo>
                  <a:pt x="2065372" y="3750275"/>
                  <a:pt x="2057219" y="3763863"/>
                  <a:pt x="2049066" y="3774733"/>
                </a:cubicBezTo>
                <a:cubicBezTo>
                  <a:pt x="2046348" y="3780169"/>
                  <a:pt x="2040913" y="3782886"/>
                  <a:pt x="2038196" y="3788321"/>
                </a:cubicBezTo>
                <a:cubicBezTo>
                  <a:pt x="2035478" y="3796474"/>
                  <a:pt x="2040913" y="3801909"/>
                  <a:pt x="2043631" y="3807345"/>
                </a:cubicBezTo>
                <a:cubicBezTo>
                  <a:pt x="2043631" y="3810062"/>
                  <a:pt x="2043631" y="3820932"/>
                  <a:pt x="2043631" y="3826368"/>
                </a:cubicBezTo>
                <a:cubicBezTo>
                  <a:pt x="2043631" y="3834520"/>
                  <a:pt x="2046348" y="3853544"/>
                  <a:pt x="2043631" y="3867131"/>
                </a:cubicBezTo>
                <a:cubicBezTo>
                  <a:pt x="2038196" y="3883437"/>
                  <a:pt x="2024608" y="3894307"/>
                  <a:pt x="2016455" y="3907895"/>
                </a:cubicBezTo>
                <a:cubicBezTo>
                  <a:pt x="2013737" y="3913331"/>
                  <a:pt x="2016455" y="3916048"/>
                  <a:pt x="2013737" y="3921483"/>
                </a:cubicBezTo>
                <a:cubicBezTo>
                  <a:pt x="2011020" y="3926919"/>
                  <a:pt x="2000149" y="3932354"/>
                  <a:pt x="1997432" y="3940507"/>
                </a:cubicBezTo>
                <a:cubicBezTo>
                  <a:pt x="1994714" y="3945942"/>
                  <a:pt x="2000149" y="3967683"/>
                  <a:pt x="2000149" y="3973118"/>
                </a:cubicBezTo>
                <a:cubicBezTo>
                  <a:pt x="2001508" y="3982630"/>
                  <a:pt x="2000829" y="3995538"/>
                  <a:pt x="1998451" y="4008107"/>
                </a:cubicBezTo>
                <a:lnTo>
                  <a:pt x="1990158" y="4031089"/>
                </a:lnTo>
                <a:lnTo>
                  <a:pt x="2002867" y="4032905"/>
                </a:lnTo>
                <a:cubicBezTo>
                  <a:pt x="2002867" y="4035623"/>
                  <a:pt x="2005584" y="4035623"/>
                  <a:pt x="2005584" y="4038340"/>
                </a:cubicBezTo>
                <a:cubicBezTo>
                  <a:pt x="2008302" y="4041058"/>
                  <a:pt x="2011020" y="4038340"/>
                  <a:pt x="2013737" y="4041058"/>
                </a:cubicBezTo>
                <a:cubicBezTo>
                  <a:pt x="2013737" y="4041058"/>
                  <a:pt x="2013737" y="4043775"/>
                  <a:pt x="2013737" y="4043775"/>
                </a:cubicBezTo>
                <a:cubicBezTo>
                  <a:pt x="2016455" y="4043775"/>
                  <a:pt x="2021890" y="4046493"/>
                  <a:pt x="2024608" y="4046493"/>
                </a:cubicBezTo>
                <a:cubicBezTo>
                  <a:pt x="2024608" y="4049210"/>
                  <a:pt x="2024608" y="4049210"/>
                  <a:pt x="2024608" y="4051928"/>
                </a:cubicBezTo>
                <a:cubicBezTo>
                  <a:pt x="2027326" y="4054646"/>
                  <a:pt x="2029364" y="4056684"/>
                  <a:pt x="2031742" y="4058382"/>
                </a:cubicBezTo>
                <a:lnTo>
                  <a:pt x="2034696" y="4059805"/>
                </a:lnTo>
                <a:lnTo>
                  <a:pt x="2042272" y="4058722"/>
                </a:lnTo>
                <a:cubicBezTo>
                  <a:pt x="2045669" y="4058722"/>
                  <a:pt x="2049066" y="4058722"/>
                  <a:pt x="2051784" y="4057363"/>
                </a:cubicBezTo>
                <a:cubicBezTo>
                  <a:pt x="2068089" y="4051928"/>
                  <a:pt x="2106135" y="4016599"/>
                  <a:pt x="2111571" y="4003011"/>
                </a:cubicBezTo>
                <a:cubicBezTo>
                  <a:pt x="2111571" y="4003011"/>
                  <a:pt x="2111571" y="4003011"/>
                  <a:pt x="2111571" y="4000294"/>
                </a:cubicBezTo>
                <a:cubicBezTo>
                  <a:pt x="2117006" y="4000294"/>
                  <a:pt x="2125159" y="4000294"/>
                  <a:pt x="2130594" y="4000294"/>
                </a:cubicBezTo>
                <a:cubicBezTo>
                  <a:pt x="2133311" y="4000294"/>
                  <a:pt x="2136029" y="4005729"/>
                  <a:pt x="2138747" y="4005729"/>
                </a:cubicBezTo>
                <a:cubicBezTo>
                  <a:pt x="2146899" y="4008447"/>
                  <a:pt x="2182228" y="4003011"/>
                  <a:pt x="2184946" y="4000294"/>
                </a:cubicBezTo>
                <a:cubicBezTo>
                  <a:pt x="2190381" y="4000294"/>
                  <a:pt x="2190381" y="4003011"/>
                  <a:pt x="2193098" y="4005729"/>
                </a:cubicBezTo>
                <a:cubicBezTo>
                  <a:pt x="2201251" y="4003011"/>
                  <a:pt x="2198534" y="4000294"/>
                  <a:pt x="2201251" y="4000294"/>
                </a:cubicBezTo>
                <a:cubicBezTo>
                  <a:pt x="2206686" y="3997576"/>
                  <a:pt x="2214839" y="4005729"/>
                  <a:pt x="2217557" y="4005729"/>
                </a:cubicBezTo>
                <a:cubicBezTo>
                  <a:pt x="2222992" y="4005729"/>
                  <a:pt x="2231145" y="4005729"/>
                  <a:pt x="2236580" y="4005729"/>
                </a:cubicBezTo>
                <a:cubicBezTo>
                  <a:pt x="2242015" y="4005729"/>
                  <a:pt x="2250168" y="4008447"/>
                  <a:pt x="2255603" y="4011164"/>
                </a:cubicBezTo>
                <a:cubicBezTo>
                  <a:pt x="2262397" y="4003012"/>
                  <a:pt x="2267832" y="3992821"/>
                  <a:pt x="2273267" y="3982630"/>
                </a:cubicBezTo>
                <a:lnTo>
                  <a:pt x="2278696" y="3973861"/>
                </a:lnTo>
                <a:lnTo>
                  <a:pt x="2252885" y="3978554"/>
                </a:lnTo>
                <a:cubicBezTo>
                  <a:pt x="2252885" y="3978554"/>
                  <a:pt x="2250168" y="3981271"/>
                  <a:pt x="2250168" y="3981271"/>
                </a:cubicBezTo>
                <a:cubicBezTo>
                  <a:pt x="2239298" y="3983989"/>
                  <a:pt x="2220274" y="3975836"/>
                  <a:pt x="2212122" y="3981271"/>
                </a:cubicBezTo>
                <a:cubicBezTo>
                  <a:pt x="2201251" y="3981271"/>
                  <a:pt x="2195816" y="3981271"/>
                  <a:pt x="2190381" y="3973119"/>
                </a:cubicBezTo>
                <a:cubicBezTo>
                  <a:pt x="2190381" y="3973119"/>
                  <a:pt x="2195816" y="3937790"/>
                  <a:pt x="2198534" y="3935072"/>
                </a:cubicBezTo>
                <a:cubicBezTo>
                  <a:pt x="2201251" y="3929637"/>
                  <a:pt x="2206686" y="3935072"/>
                  <a:pt x="2214839" y="3932355"/>
                </a:cubicBezTo>
                <a:cubicBezTo>
                  <a:pt x="2217557" y="3929637"/>
                  <a:pt x="2220274" y="3926919"/>
                  <a:pt x="2222992" y="3926919"/>
                </a:cubicBezTo>
                <a:cubicBezTo>
                  <a:pt x="2228427" y="3926919"/>
                  <a:pt x="2231145" y="3926919"/>
                  <a:pt x="2233862" y="3926919"/>
                </a:cubicBezTo>
                <a:cubicBezTo>
                  <a:pt x="2239298" y="3921484"/>
                  <a:pt x="2255603" y="3902461"/>
                  <a:pt x="2258321" y="3897026"/>
                </a:cubicBezTo>
                <a:cubicBezTo>
                  <a:pt x="2266473" y="3897026"/>
                  <a:pt x="2282779" y="3902461"/>
                  <a:pt x="2288214" y="3897026"/>
                </a:cubicBezTo>
                <a:lnTo>
                  <a:pt x="2292291" y="3895667"/>
                </a:lnTo>
                <a:lnTo>
                  <a:pt x="2285497" y="3888872"/>
                </a:lnTo>
                <a:cubicBezTo>
                  <a:pt x="2269191" y="3888872"/>
                  <a:pt x="2252886" y="3880719"/>
                  <a:pt x="2242015" y="3872567"/>
                </a:cubicBezTo>
                <a:cubicBezTo>
                  <a:pt x="2236580" y="3872567"/>
                  <a:pt x="2231145" y="3872567"/>
                  <a:pt x="2225710" y="3872567"/>
                </a:cubicBezTo>
                <a:cubicBezTo>
                  <a:pt x="2220274" y="3875284"/>
                  <a:pt x="2220274" y="3880719"/>
                  <a:pt x="2214839" y="3878002"/>
                </a:cubicBezTo>
                <a:cubicBezTo>
                  <a:pt x="2212122" y="3878002"/>
                  <a:pt x="2212122" y="3878002"/>
                  <a:pt x="2209404" y="3878002"/>
                </a:cubicBezTo>
                <a:cubicBezTo>
                  <a:pt x="2214839" y="3867131"/>
                  <a:pt x="2222992" y="3864414"/>
                  <a:pt x="2228427" y="3856261"/>
                </a:cubicBezTo>
                <a:cubicBezTo>
                  <a:pt x="2233862" y="3856261"/>
                  <a:pt x="2247450" y="3858979"/>
                  <a:pt x="2255603" y="3856261"/>
                </a:cubicBezTo>
                <a:cubicBezTo>
                  <a:pt x="2250168" y="3853544"/>
                  <a:pt x="2247450" y="3848108"/>
                  <a:pt x="2242015" y="3842673"/>
                </a:cubicBezTo>
                <a:cubicBezTo>
                  <a:pt x="2236580" y="3842673"/>
                  <a:pt x="2233862" y="3839956"/>
                  <a:pt x="2231145" y="3837238"/>
                </a:cubicBezTo>
                <a:cubicBezTo>
                  <a:pt x="2220274" y="3837238"/>
                  <a:pt x="2217557" y="3839956"/>
                  <a:pt x="2209404" y="3842673"/>
                </a:cubicBezTo>
                <a:cubicBezTo>
                  <a:pt x="2209404" y="3845391"/>
                  <a:pt x="2206686" y="3848108"/>
                  <a:pt x="2206686" y="3848108"/>
                </a:cubicBezTo>
                <a:cubicBezTo>
                  <a:pt x="2206686" y="3850826"/>
                  <a:pt x="2206686" y="3853544"/>
                  <a:pt x="2206686" y="3856261"/>
                </a:cubicBezTo>
                <a:cubicBezTo>
                  <a:pt x="2203969" y="3858979"/>
                  <a:pt x="2198534" y="3861696"/>
                  <a:pt x="2195816" y="3864414"/>
                </a:cubicBezTo>
                <a:cubicBezTo>
                  <a:pt x="2193098" y="3869849"/>
                  <a:pt x="2193098" y="3872567"/>
                  <a:pt x="2190381" y="3878002"/>
                </a:cubicBezTo>
                <a:cubicBezTo>
                  <a:pt x="2190381" y="3878002"/>
                  <a:pt x="2187663" y="3880719"/>
                  <a:pt x="2184946" y="3880719"/>
                </a:cubicBezTo>
                <a:cubicBezTo>
                  <a:pt x="2182228" y="3886155"/>
                  <a:pt x="2179510" y="3891590"/>
                  <a:pt x="2176793" y="3894307"/>
                </a:cubicBezTo>
                <a:cubicBezTo>
                  <a:pt x="2174075" y="3894307"/>
                  <a:pt x="2174075" y="3894307"/>
                  <a:pt x="2171358" y="3894307"/>
                </a:cubicBezTo>
                <a:cubicBezTo>
                  <a:pt x="2168640" y="3897025"/>
                  <a:pt x="2165922" y="3905178"/>
                  <a:pt x="2163205" y="3907895"/>
                </a:cubicBezTo>
                <a:lnTo>
                  <a:pt x="2146899" y="3916048"/>
                </a:lnTo>
                <a:cubicBezTo>
                  <a:pt x="2141464" y="3916048"/>
                  <a:pt x="2136029" y="3913331"/>
                  <a:pt x="2133311" y="3916048"/>
                </a:cubicBezTo>
                <a:cubicBezTo>
                  <a:pt x="2127876" y="3916048"/>
                  <a:pt x="2117006" y="3918766"/>
                  <a:pt x="2111571" y="3916048"/>
                </a:cubicBezTo>
                <a:cubicBezTo>
                  <a:pt x="2111571" y="3910613"/>
                  <a:pt x="2103418" y="3888872"/>
                  <a:pt x="2103418" y="3886155"/>
                </a:cubicBezTo>
                <a:cubicBezTo>
                  <a:pt x="2106135" y="3878002"/>
                  <a:pt x="2117006" y="3864414"/>
                  <a:pt x="2119723" y="3853544"/>
                </a:cubicBezTo>
                <a:cubicBezTo>
                  <a:pt x="2125159" y="3839956"/>
                  <a:pt x="2119723" y="3818215"/>
                  <a:pt x="2127876" y="3807345"/>
                </a:cubicBezTo>
                <a:cubicBezTo>
                  <a:pt x="2127876" y="3801909"/>
                  <a:pt x="2127876" y="3796474"/>
                  <a:pt x="2127876" y="3791039"/>
                </a:cubicBezTo>
                <a:cubicBezTo>
                  <a:pt x="2127876" y="3791039"/>
                  <a:pt x="2141464" y="3785604"/>
                  <a:pt x="2141464" y="3785604"/>
                </a:cubicBezTo>
                <a:cubicBezTo>
                  <a:pt x="2141464" y="3785604"/>
                  <a:pt x="2141464" y="3788321"/>
                  <a:pt x="2141464" y="3788321"/>
                </a:cubicBezTo>
                <a:cubicBezTo>
                  <a:pt x="2157770" y="3785604"/>
                  <a:pt x="2157770" y="3772016"/>
                  <a:pt x="2163205" y="3758428"/>
                </a:cubicBezTo>
                <a:cubicBezTo>
                  <a:pt x="2163205" y="3758428"/>
                  <a:pt x="2165922" y="3755710"/>
                  <a:pt x="2168640" y="3752993"/>
                </a:cubicBezTo>
                <a:cubicBezTo>
                  <a:pt x="2165922" y="3750275"/>
                  <a:pt x="2163205" y="3744840"/>
                  <a:pt x="2160487" y="3742122"/>
                </a:cubicBezTo>
                <a:cubicBezTo>
                  <a:pt x="2152334" y="3750275"/>
                  <a:pt x="2146899" y="3758428"/>
                  <a:pt x="2141464" y="3769298"/>
                </a:cubicBezTo>
                <a:cubicBezTo>
                  <a:pt x="2136029" y="3769298"/>
                  <a:pt x="2111571" y="3774733"/>
                  <a:pt x="2106135" y="3777451"/>
                </a:cubicBezTo>
                <a:cubicBezTo>
                  <a:pt x="2106135" y="3777451"/>
                  <a:pt x="2106135" y="3777451"/>
                  <a:pt x="2103418" y="3780169"/>
                </a:cubicBezTo>
                <a:cubicBezTo>
                  <a:pt x="2103418" y="3785604"/>
                  <a:pt x="2106135" y="3788321"/>
                  <a:pt x="2108853" y="3791039"/>
                </a:cubicBezTo>
                <a:cubicBezTo>
                  <a:pt x="2111571" y="3801909"/>
                  <a:pt x="2103418" y="3834520"/>
                  <a:pt x="2100700" y="3842673"/>
                </a:cubicBezTo>
                <a:cubicBezTo>
                  <a:pt x="2097983" y="3850826"/>
                  <a:pt x="2076242" y="3878002"/>
                  <a:pt x="2078960" y="3886155"/>
                </a:cubicBezTo>
                <a:cubicBezTo>
                  <a:pt x="2078960" y="3886155"/>
                  <a:pt x="2081677" y="3886155"/>
                  <a:pt x="2081677" y="3891590"/>
                </a:cubicBezTo>
                <a:cubicBezTo>
                  <a:pt x="2084395" y="3891590"/>
                  <a:pt x="2087112" y="3891590"/>
                  <a:pt x="2089830" y="3894307"/>
                </a:cubicBezTo>
                <a:cubicBezTo>
                  <a:pt x="2097983" y="3899743"/>
                  <a:pt x="2097983" y="3918766"/>
                  <a:pt x="2100700" y="3929636"/>
                </a:cubicBezTo>
                <a:cubicBezTo>
                  <a:pt x="2108853" y="3970400"/>
                  <a:pt x="2070807" y="4030187"/>
                  <a:pt x="2030043" y="4030187"/>
                </a:cubicBezTo>
                <a:cubicBezTo>
                  <a:pt x="2030043" y="4019317"/>
                  <a:pt x="2030043" y="4008447"/>
                  <a:pt x="2030043" y="4000294"/>
                </a:cubicBezTo>
                <a:cubicBezTo>
                  <a:pt x="2027325" y="3983988"/>
                  <a:pt x="2019172" y="3962247"/>
                  <a:pt x="2024608" y="3948659"/>
                </a:cubicBezTo>
                <a:cubicBezTo>
                  <a:pt x="2027325" y="3943224"/>
                  <a:pt x="2032760" y="3937789"/>
                  <a:pt x="2035478" y="3932354"/>
                </a:cubicBezTo>
                <a:cubicBezTo>
                  <a:pt x="2040913" y="3918766"/>
                  <a:pt x="2043631" y="3907895"/>
                  <a:pt x="2051784" y="3894307"/>
                </a:cubicBezTo>
                <a:cubicBezTo>
                  <a:pt x="2054501" y="3886155"/>
                  <a:pt x="2065372" y="3880719"/>
                  <a:pt x="2068089" y="3869849"/>
                </a:cubicBezTo>
                <a:cubicBezTo>
                  <a:pt x="2070807" y="3864414"/>
                  <a:pt x="2068089" y="3845391"/>
                  <a:pt x="2065372" y="3837238"/>
                </a:cubicBezTo>
                <a:cubicBezTo>
                  <a:pt x="2065372" y="3831803"/>
                  <a:pt x="2065372" y="3823650"/>
                  <a:pt x="2065372" y="3815497"/>
                </a:cubicBezTo>
                <a:cubicBezTo>
                  <a:pt x="2065372" y="3812780"/>
                  <a:pt x="2059936" y="3804627"/>
                  <a:pt x="2062654" y="3796474"/>
                </a:cubicBezTo>
                <a:cubicBezTo>
                  <a:pt x="2070807" y="3772016"/>
                  <a:pt x="2089830" y="3755710"/>
                  <a:pt x="2103418" y="3736687"/>
                </a:cubicBezTo>
                <a:cubicBezTo>
                  <a:pt x="2108853" y="3728534"/>
                  <a:pt x="2117006" y="3725817"/>
                  <a:pt x="2122441" y="3717664"/>
                </a:cubicBezTo>
                <a:cubicBezTo>
                  <a:pt x="2125159" y="3712229"/>
                  <a:pt x="2127876" y="3709511"/>
                  <a:pt x="2130594" y="3704076"/>
                </a:cubicBezTo>
                <a:cubicBezTo>
                  <a:pt x="2125159" y="3698641"/>
                  <a:pt x="2122441" y="3690488"/>
                  <a:pt x="2117006" y="3685053"/>
                </a:cubicBezTo>
                <a:close/>
                <a:moveTo>
                  <a:pt x="4432397" y="3679618"/>
                </a:moveTo>
                <a:lnTo>
                  <a:pt x="4432397" y="3701359"/>
                </a:lnTo>
                <a:cubicBezTo>
                  <a:pt x="4465009" y="3687771"/>
                  <a:pt x="4440549" y="3717664"/>
                  <a:pt x="4462291" y="3687771"/>
                </a:cubicBezTo>
                <a:close/>
                <a:moveTo>
                  <a:pt x="1589560" y="3678977"/>
                </a:moveTo>
                <a:lnTo>
                  <a:pt x="1592511" y="3679619"/>
                </a:lnTo>
                <a:cubicBezTo>
                  <a:pt x="1592511" y="3679619"/>
                  <a:pt x="1589793" y="3679619"/>
                  <a:pt x="1589793" y="3679619"/>
                </a:cubicBezTo>
                <a:close/>
                <a:moveTo>
                  <a:pt x="3736693" y="3676901"/>
                </a:moveTo>
                <a:cubicBezTo>
                  <a:pt x="3744846" y="3674184"/>
                  <a:pt x="3744846" y="3682337"/>
                  <a:pt x="3750281" y="3682337"/>
                </a:cubicBezTo>
                <a:cubicBezTo>
                  <a:pt x="3750281" y="3687772"/>
                  <a:pt x="3731257" y="3687772"/>
                  <a:pt x="3736693" y="3676901"/>
                </a:cubicBezTo>
                <a:close/>
                <a:moveTo>
                  <a:pt x="1288140" y="3666031"/>
                </a:moveTo>
                <a:cubicBezTo>
                  <a:pt x="1296293" y="3663313"/>
                  <a:pt x="1304446" y="3668748"/>
                  <a:pt x="1309882" y="3668748"/>
                </a:cubicBezTo>
                <a:cubicBezTo>
                  <a:pt x="1304446" y="3668748"/>
                  <a:pt x="1296293" y="3679619"/>
                  <a:pt x="1293575" y="3685054"/>
                </a:cubicBezTo>
                <a:cubicBezTo>
                  <a:pt x="1290858" y="3685054"/>
                  <a:pt x="1282705" y="3687772"/>
                  <a:pt x="1277270" y="3685054"/>
                </a:cubicBezTo>
                <a:cubicBezTo>
                  <a:pt x="1277270" y="3685054"/>
                  <a:pt x="1274552" y="3682336"/>
                  <a:pt x="1274552" y="3682336"/>
                </a:cubicBezTo>
                <a:cubicBezTo>
                  <a:pt x="1271834" y="3676901"/>
                  <a:pt x="1266399" y="3674184"/>
                  <a:pt x="1263682" y="3671466"/>
                </a:cubicBezTo>
                <a:cubicBezTo>
                  <a:pt x="1266399" y="3671466"/>
                  <a:pt x="1269117" y="3671466"/>
                  <a:pt x="1269117" y="3671466"/>
                </a:cubicBezTo>
                <a:cubicBezTo>
                  <a:pt x="1274552" y="3671466"/>
                  <a:pt x="1279987" y="3663313"/>
                  <a:pt x="1288140" y="3666031"/>
                </a:cubicBezTo>
                <a:close/>
                <a:moveTo>
                  <a:pt x="3837244" y="3660596"/>
                </a:moveTo>
                <a:lnTo>
                  <a:pt x="3837244" y="3671466"/>
                </a:lnTo>
                <a:cubicBezTo>
                  <a:pt x="3829091" y="3674184"/>
                  <a:pt x="3831809" y="3666031"/>
                  <a:pt x="3826374" y="3666031"/>
                </a:cubicBezTo>
                <a:cubicBezTo>
                  <a:pt x="3826374" y="3660596"/>
                  <a:pt x="3831809" y="3660596"/>
                  <a:pt x="3837244" y="3660596"/>
                </a:cubicBezTo>
                <a:close/>
                <a:moveTo>
                  <a:pt x="4856342" y="3655160"/>
                </a:moveTo>
                <a:lnTo>
                  <a:pt x="4826449" y="3657877"/>
                </a:lnTo>
                <a:lnTo>
                  <a:pt x="4848189" y="3679618"/>
                </a:lnTo>
                <a:close/>
                <a:moveTo>
                  <a:pt x="1361175" y="3654141"/>
                </a:moveTo>
                <a:cubicBezTo>
                  <a:pt x="1363553" y="3653802"/>
                  <a:pt x="1365591" y="3653802"/>
                  <a:pt x="1366950" y="3655161"/>
                </a:cubicBezTo>
                <a:cubicBezTo>
                  <a:pt x="1377820" y="3660596"/>
                  <a:pt x="1383255" y="3693207"/>
                  <a:pt x="1391408" y="3704077"/>
                </a:cubicBezTo>
                <a:cubicBezTo>
                  <a:pt x="1388690" y="3712230"/>
                  <a:pt x="1380538" y="3706795"/>
                  <a:pt x="1372385" y="3712230"/>
                </a:cubicBezTo>
                <a:cubicBezTo>
                  <a:pt x="1372385" y="3712230"/>
                  <a:pt x="1372385" y="3714948"/>
                  <a:pt x="1369667" y="3717665"/>
                </a:cubicBezTo>
                <a:cubicBezTo>
                  <a:pt x="1364232" y="3723100"/>
                  <a:pt x="1358797" y="3720383"/>
                  <a:pt x="1356079" y="3725818"/>
                </a:cubicBezTo>
                <a:cubicBezTo>
                  <a:pt x="1345209" y="3725818"/>
                  <a:pt x="1339774" y="3717665"/>
                  <a:pt x="1323468" y="3717665"/>
                </a:cubicBezTo>
                <a:cubicBezTo>
                  <a:pt x="1323468" y="3717665"/>
                  <a:pt x="1323468" y="3714948"/>
                  <a:pt x="1323468" y="3714948"/>
                </a:cubicBezTo>
                <a:cubicBezTo>
                  <a:pt x="1318033" y="3714948"/>
                  <a:pt x="1315315" y="3714948"/>
                  <a:pt x="1312598" y="3714948"/>
                </a:cubicBezTo>
                <a:cubicBezTo>
                  <a:pt x="1323468" y="3706795"/>
                  <a:pt x="1328903" y="3695924"/>
                  <a:pt x="1334338" y="3685054"/>
                </a:cubicBezTo>
                <a:cubicBezTo>
                  <a:pt x="1339774" y="3679619"/>
                  <a:pt x="1353362" y="3660596"/>
                  <a:pt x="1353362" y="3655161"/>
                </a:cubicBezTo>
                <a:cubicBezTo>
                  <a:pt x="1356080" y="3655161"/>
                  <a:pt x="1358797" y="3654481"/>
                  <a:pt x="1361175" y="3654141"/>
                </a:cubicBezTo>
                <a:close/>
                <a:moveTo>
                  <a:pt x="1201177" y="3638855"/>
                </a:moveTo>
                <a:cubicBezTo>
                  <a:pt x="1206612" y="3638855"/>
                  <a:pt x="1209329" y="3641572"/>
                  <a:pt x="1214765" y="3641572"/>
                </a:cubicBezTo>
                <a:cubicBezTo>
                  <a:pt x="1214765" y="3644290"/>
                  <a:pt x="1214765" y="3644290"/>
                  <a:pt x="1214765" y="3647008"/>
                </a:cubicBezTo>
                <a:cubicBezTo>
                  <a:pt x="1212047" y="3647008"/>
                  <a:pt x="1209329" y="3647008"/>
                  <a:pt x="1206612" y="3647008"/>
                </a:cubicBezTo>
                <a:cubicBezTo>
                  <a:pt x="1203894" y="3644290"/>
                  <a:pt x="1201177" y="3644290"/>
                  <a:pt x="1201177" y="3638855"/>
                </a:cubicBezTo>
                <a:close/>
                <a:moveTo>
                  <a:pt x="1573488" y="3627985"/>
                </a:moveTo>
                <a:cubicBezTo>
                  <a:pt x="1578923" y="3633420"/>
                  <a:pt x="1568052" y="3649725"/>
                  <a:pt x="1573488" y="3663313"/>
                </a:cubicBezTo>
                <a:cubicBezTo>
                  <a:pt x="1573488" y="3663313"/>
                  <a:pt x="1573488" y="3666031"/>
                  <a:pt x="1573488" y="3668748"/>
                </a:cubicBezTo>
                <a:cubicBezTo>
                  <a:pt x="1576205" y="3668748"/>
                  <a:pt x="1578923" y="3671466"/>
                  <a:pt x="1581640" y="3671466"/>
                </a:cubicBezTo>
                <a:cubicBezTo>
                  <a:pt x="1581640" y="3671466"/>
                  <a:pt x="1581640" y="3674184"/>
                  <a:pt x="1581640" y="3674184"/>
                </a:cubicBezTo>
                <a:cubicBezTo>
                  <a:pt x="1584358" y="3674184"/>
                  <a:pt x="1584358" y="3674184"/>
                  <a:pt x="1587076" y="3674184"/>
                </a:cubicBezTo>
                <a:cubicBezTo>
                  <a:pt x="1588435" y="3674184"/>
                  <a:pt x="1588435" y="3674863"/>
                  <a:pt x="1588435" y="3675882"/>
                </a:cubicBezTo>
                <a:lnTo>
                  <a:pt x="1589560" y="3678977"/>
                </a:lnTo>
                <a:lnTo>
                  <a:pt x="1569072" y="3674523"/>
                </a:lnTo>
                <a:cubicBezTo>
                  <a:pt x="1561938" y="3672145"/>
                  <a:pt x="1555824" y="3668748"/>
                  <a:pt x="1551747" y="3663313"/>
                </a:cubicBezTo>
                <a:cubicBezTo>
                  <a:pt x="1557182" y="3649725"/>
                  <a:pt x="1568052" y="3641573"/>
                  <a:pt x="1573488" y="3627985"/>
                </a:cubicBezTo>
                <a:close/>
                <a:moveTo>
                  <a:pt x="3812786" y="3627984"/>
                </a:moveTo>
                <a:cubicBezTo>
                  <a:pt x="3812786" y="3633419"/>
                  <a:pt x="3812786" y="3638854"/>
                  <a:pt x="3810068" y="3641572"/>
                </a:cubicBezTo>
                <a:cubicBezTo>
                  <a:pt x="3801915" y="3641572"/>
                  <a:pt x="3801915" y="3625267"/>
                  <a:pt x="3812786" y="3627984"/>
                </a:cubicBezTo>
                <a:close/>
                <a:moveTo>
                  <a:pt x="1500112" y="3617114"/>
                </a:moveTo>
                <a:cubicBezTo>
                  <a:pt x="1502830" y="3617114"/>
                  <a:pt x="1505548" y="3617114"/>
                  <a:pt x="1508265" y="3619831"/>
                </a:cubicBezTo>
                <a:cubicBezTo>
                  <a:pt x="1508265" y="3619831"/>
                  <a:pt x="1513700" y="3625267"/>
                  <a:pt x="1513700" y="3627984"/>
                </a:cubicBezTo>
                <a:cubicBezTo>
                  <a:pt x="1513700" y="3627984"/>
                  <a:pt x="1513700" y="3630702"/>
                  <a:pt x="1513700" y="3630702"/>
                </a:cubicBezTo>
                <a:cubicBezTo>
                  <a:pt x="1513700" y="3633419"/>
                  <a:pt x="1516418" y="3630702"/>
                  <a:pt x="1519136" y="3633419"/>
                </a:cubicBezTo>
                <a:cubicBezTo>
                  <a:pt x="1519136" y="3633419"/>
                  <a:pt x="1516418" y="3636137"/>
                  <a:pt x="1519136" y="3638855"/>
                </a:cubicBezTo>
                <a:cubicBezTo>
                  <a:pt x="1521853" y="3641572"/>
                  <a:pt x="1527288" y="3644290"/>
                  <a:pt x="1527288" y="3647007"/>
                </a:cubicBezTo>
                <a:cubicBezTo>
                  <a:pt x="1532724" y="3657878"/>
                  <a:pt x="1524571" y="3671466"/>
                  <a:pt x="1524571" y="3679618"/>
                </a:cubicBezTo>
                <a:cubicBezTo>
                  <a:pt x="1524571" y="3685054"/>
                  <a:pt x="1527288" y="3687771"/>
                  <a:pt x="1527288" y="3693206"/>
                </a:cubicBezTo>
                <a:cubicBezTo>
                  <a:pt x="1516418" y="3687771"/>
                  <a:pt x="1508265" y="3679618"/>
                  <a:pt x="1497395" y="3671466"/>
                </a:cubicBezTo>
                <a:cubicBezTo>
                  <a:pt x="1497395" y="3660595"/>
                  <a:pt x="1497395" y="3649725"/>
                  <a:pt x="1497395" y="3644290"/>
                </a:cubicBezTo>
                <a:cubicBezTo>
                  <a:pt x="1500112" y="3638855"/>
                  <a:pt x="1497395" y="3630702"/>
                  <a:pt x="1497395" y="3625267"/>
                </a:cubicBezTo>
                <a:cubicBezTo>
                  <a:pt x="1497395" y="3622549"/>
                  <a:pt x="1500112" y="3622549"/>
                  <a:pt x="1500112" y="3617114"/>
                </a:cubicBezTo>
                <a:close/>
                <a:moveTo>
                  <a:pt x="1457649" y="3617113"/>
                </a:moveTo>
                <a:lnTo>
                  <a:pt x="1457649" y="3617114"/>
                </a:lnTo>
                <a:lnTo>
                  <a:pt x="1458330" y="3617114"/>
                </a:lnTo>
                <a:close/>
                <a:moveTo>
                  <a:pt x="3758434" y="3603526"/>
                </a:moveTo>
                <a:cubicBezTo>
                  <a:pt x="3772022" y="3603526"/>
                  <a:pt x="3777457" y="3622549"/>
                  <a:pt x="3769304" y="3633419"/>
                </a:cubicBezTo>
                <a:cubicBezTo>
                  <a:pt x="3761151" y="3627984"/>
                  <a:pt x="3761151" y="3611679"/>
                  <a:pt x="3758434" y="3603526"/>
                </a:cubicBezTo>
                <a:close/>
                <a:moveTo>
                  <a:pt x="4791120" y="3584502"/>
                </a:moveTo>
                <a:lnTo>
                  <a:pt x="4777532" y="3598090"/>
                </a:lnTo>
                <a:lnTo>
                  <a:pt x="4793837" y="3600808"/>
                </a:lnTo>
                <a:close/>
                <a:moveTo>
                  <a:pt x="1149542" y="3581785"/>
                </a:moveTo>
                <a:cubicBezTo>
                  <a:pt x="1149542" y="3584502"/>
                  <a:pt x="1152260" y="3584502"/>
                  <a:pt x="1152260" y="3587220"/>
                </a:cubicBezTo>
                <a:lnTo>
                  <a:pt x="1149260" y="3581970"/>
                </a:lnTo>
                <a:close/>
                <a:moveTo>
                  <a:pt x="3019247" y="3581784"/>
                </a:moveTo>
                <a:cubicBezTo>
                  <a:pt x="3019247" y="3584502"/>
                  <a:pt x="3013813" y="3587220"/>
                  <a:pt x="3013813" y="3589937"/>
                </a:cubicBezTo>
                <a:cubicBezTo>
                  <a:pt x="3008377" y="3598090"/>
                  <a:pt x="3011095" y="3611678"/>
                  <a:pt x="3008377" y="3619831"/>
                </a:cubicBezTo>
                <a:cubicBezTo>
                  <a:pt x="3008377" y="3619831"/>
                  <a:pt x="3005659" y="3622548"/>
                  <a:pt x="3005659" y="3622548"/>
                </a:cubicBezTo>
                <a:cubicBezTo>
                  <a:pt x="2997507" y="3636136"/>
                  <a:pt x="2989355" y="3652442"/>
                  <a:pt x="2983919" y="3666030"/>
                </a:cubicBezTo>
                <a:cubicBezTo>
                  <a:pt x="2981201" y="3674183"/>
                  <a:pt x="2983919" y="3685053"/>
                  <a:pt x="2981201" y="3693206"/>
                </a:cubicBezTo>
                <a:cubicBezTo>
                  <a:pt x="2978483" y="3701359"/>
                  <a:pt x="2973049" y="3709511"/>
                  <a:pt x="2970331" y="3717664"/>
                </a:cubicBezTo>
                <a:cubicBezTo>
                  <a:pt x="2964895" y="3717664"/>
                  <a:pt x="2959461" y="3717664"/>
                  <a:pt x="2954025" y="3717664"/>
                </a:cubicBezTo>
                <a:cubicBezTo>
                  <a:pt x="2954025" y="3709511"/>
                  <a:pt x="2948591" y="3709511"/>
                  <a:pt x="2945873" y="3704076"/>
                </a:cubicBezTo>
                <a:cubicBezTo>
                  <a:pt x="2943155" y="3704076"/>
                  <a:pt x="2940437" y="3704076"/>
                  <a:pt x="2937719" y="3704076"/>
                </a:cubicBezTo>
                <a:cubicBezTo>
                  <a:pt x="2937719" y="3706794"/>
                  <a:pt x="2937719" y="3706794"/>
                  <a:pt x="2937719" y="3706794"/>
                </a:cubicBezTo>
                <a:cubicBezTo>
                  <a:pt x="2937719" y="3723099"/>
                  <a:pt x="2943155" y="3712229"/>
                  <a:pt x="2948591" y="3717664"/>
                </a:cubicBezTo>
                <a:cubicBezTo>
                  <a:pt x="2948591" y="3717664"/>
                  <a:pt x="2945873" y="3723099"/>
                  <a:pt x="2948591" y="3723099"/>
                </a:cubicBezTo>
                <a:cubicBezTo>
                  <a:pt x="2951307" y="3723099"/>
                  <a:pt x="2954025" y="3723099"/>
                  <a:pt x="2956743" y="3723099"/>
                </a:cubicBezTo>
                <a:cubicBezTo>
                  <a:pt x="2956743" y="3725817"/>
                  <a:pt x="2959461" y="3725817"/>
                  <a:pt x="2959461" y="3728534"/>
                </a:cubicBezTo>
                <a:cubicBezTo>
                  <a:pt x="2959461" y="3731252"/>
                  <a:pt x="2962179" y="3731252"/>
                  <a:pt x="2964895" y="3731252"/>
                </a:cubicBezTo>
                <a:cubicBezTo>
                  <a:pt x="2964895" y="3731252"/>
                  <a:pt x="2964895" y="3731252"/>
                  <a:pt x="2964895" y="3733970"/>
                </a:cubicBezTo>
                <a:cubicBezTo>
                  <a:pt x="2970331" y="3733970"/>
                  <a:pt x="2973049" y="3736687"/>
                  <a:pt x="2978483" y="3736687"/>
                </a:cubicBezTo>
                <a:cubicBezTo>
                  <a:pt x="2981201" y="3739405"/>
                  <a:pt x="2978483" y="3739405"/>
                  <a:pt x="2983919" y="3742122"/>
                </a:cubicBezTo>
                <a:cubicBezTo>
                  <a:pt x="2983919" y="3769298"/>
                  <a:pt x="3002943" y="3801909"/>
                  <a:pt x="2986637" y="3826368"/>
                </a:cubicBezTo>
                <a:cubicBezTo>
                  <a:pt x="2983919" y="3829085"/>
                  <a:pt x="2975767" y="3834520"/>
                  <a:pt x="2973049" y="3837238"/>
                </a:cubicBezTo>
                <a:cubicBezTo>
                  <a:pt x="2970331" y="3837238"/>
                  <a:pt x="2970331" y="3837238"/>
                  <a:pt x="2967613" y="3837238"/>
                </a:cubicBezTo>
                <a:cubicBezTo>
                  <a:pt x="2967613" y="3823650"/>
                  <a:pt x="2973049" y="3801909"/>
                  <a:pt x="2967613" y="3791039"/>
                </a:cubicBezTo>
                <a:cubicBezTo>
                  <a:pt x="2962179" y="3785604"/>
                  <a:pt x="2959461" y="3777451"/>
                  <a:pt x="2956743" y="3763863"/>
                </a:cubicBezTo>
                <a:cubicBezTo>
                  <a:pt x="2951307" y="3766581"/>
                  <a:pt x="2951307" y="3766581"/>
                  <a:pt x="2948591" y="3769298"/>
                </a:cubicBezTo>
                <a:cubicBezTo>
                  <a:pt x="2951307" y="3791039"/>
                  <a:pt x="2967613" y="3799192"/>
                  <a:pt x="2962179" y="3820932"/>
                </a:cubicBezTo>
                <a:cubicBezTo>
                  <a:pt x="2959461" y="3829085"/>
                  <a:pt x="2956743" y="3837238"/>
                  <a:pt x="2954025" y="3842673"/>
                </a:cubicBezTo>
                <a:cubicBezTo>
                  <a:pt x="2951307" y="3848108"/>
                  <a:pt x="2945873" y="3850826"/>
                  <a:pt x="2943155" y="3858979"/>
                </a:cubicBezTo>
                <a:cubicBezTo>
                  <a:pt x="2940437" y="3861696"/>
                  <a:pt x="2940437" y="3858979"/>
                  <a:pt x="2943155" y="3861696"/>
                </a:cubicBezTo>
                <a:cubicBezTo>
                  <a:pt x="2943155" y="3867131"/>
                  <a:pt x="2940437" y="3867131"/>
                  <a:pt x="2937719" y="3869849"/>
                </a:cubicBezTo>
                <a:cubicBezTo>
                  <a:pt x="2937719" y="3869849"/>
                  <a:pt x="2937719" y="3869849"/>
                  <a:pt x="2937719" y="3872567"/>
                </a:cubicBezTo>
                <a:cubicBezTo>
                  <a:pt x="2932285" y="3872567"/>
                  <a:pt x="2929567" y="3872567"/>
                  <a:pt x="2926849" y="3872567"/>
                </a:cubicBezTo>
                <a:cubicBezTo>
                  <a:pt x="2926849" y="3853544"/>
                  <a:pt x="2932285" y="3839956"/>
                  <a:pt x="2935003" y="3823650"/>
                </a:cubicBezTo>
                <a:cubicBezTo>
                  <a:pt x="2937719" y="3810062"/>
                  <a:pt x="2935003" y="3799192"/>
                  <a:pt x="2940437" y="3791039"/>
                </a:cubicBezTo>
                <a:cubicBezTo>
                  <a:pt x="2940437" y="3785604"/>
                  <a:pt x="2940437" y="3785604"/>
                  <a:pt x="2940437" y="3782886"/>
                </a:cubicBezTo>
                <a:cubicBezTo>
                  <a:pt x="2921415" y="3782886"/>
                  <a:pt x="2929567" y="3804627"/>
                  <a:pt x="2926849" y="3818215"/>
                </a:cubicBezTo>
                <a:cubicBezTo>
                  <a:pt x="2924131" y="3834520"/>
                  <a:pt x="2918697" y="3853544"/>
                  <a:pt x="2913261" y="3869849"/>
                </a:cubicBezTo>
                <a:cubicBezTo>
                  <a:pt x="2910543" y="3875284"/>
                  <a:pt x="2913261" y="3878002"/>
                  <a:pt x="2910543" y="3883437"/>
                </a:cubicBezTo>
                <a:cubicBezTo>
                  <a:pt x="2910543" y="3886155"/>
                  <a:pt x="2905109" y="3888872"/>
                  <a:pt x="2902391" y="3891590"/>
                </a:cubicBezTo>
                <a:cubicBezTo>
                  <a:pt x="2891521" y="3888872"/>
                  <a:pt x="2902391" y="3850826"/>
                  <a:pt x="2896955" y="3842673"/>
                </a:cubicBezTo>
                <a:cubicBezTo>
                  <a:pt x="2896955" y="3837238"/>
                  <a:pt x="2896955" y="3839956"/>
                  <a:pt x="2894239" y="3837238"/>
                </a:cubicBezTo>
                <a:cubicBezTo>
                  <a:pt x="2891521" y="3837238"/>
                  <a:pt x="2894239" y="3837238"/>
                  <a:pt x="2891521" y="3837238"/>
                </a:cubicBezTo>
                <a:cubicBezTo>
                  <a:pt x="2891521" y="3842673"/>
                  <a:pt x="2886085" y="3845391"/>
                  <a:pt x="2886085" y="3848108"/>
                </a:cubicBezTo>
                <a:cubicBezTo>
                  <a:pt x="2883367" y="3856261"/>
                  <a:pt x="2888803" y="3861696"/>
                  <a:pt x="2888803" y="3867131"/>
                </a:cubicBezTo>
                <a:cubicBezTo>
                  <a:pt x="2891521" y="3875284"/>
                  <a:pt x="2888803" y="3894307"/>
                  <a:pt x="2883367" y="3902460"/>
                </a:cubicBezTo>
                <a:cubicBezTo>
                  <a:pt x="2880651" y="3907895"/>
                  <a:pt x="2880651" y="3916048"/>
                  <a:pt x="2883367" y="3918766"/>
                </a:cubicBezTo>
                <a:lnTo>
                  <a:pt x="2883367" y="3922390"/>
                </a:lnTo>
                <a:lnTo>
                  <a:pt x="2880651" y="3924201"/>
                </a:lnTo>
                <a:cubicBezTo>
                  <a:pt x="2875215" y="3924201"/>
                  <a:pt x="2869779" y="3918766"/>
                  <a:pt x="2867063" y="3921483"/>
                </a:cubicBezTo>
                <a:lnTo>
                  <a:pt x="2861658" y="3923285"/>
                </a:lnTo>
                <a:lnTo>
                  <a:pt x="2862307" y="3903819"/>
                </a:lnTo>
                <a:cubicBezTo>
                  <a:pt x="2863666" y="3897705"/>
                  <a:pt x="2865704" y="3891590"/>
                  <a:pt x="2867063" y="3883437"/>
                </a:cubicBezTo>
                <a:cubicBezTo>
                  <a:pt x="2869779" y="3869849"/>
                  <a:pt x="2872497" y="3856261"/>
                  <a:pt x="2877933" y="3842673"/>
                </a:cubicBezTo>
                <a:cubicBezTo>
                  <a:pt x="2880651" y="3831803"/>
                  <a:pt x="2877933" y="3820932"/>
                  <a:pt x="2883367" y="3810062"/>
                </a:cubicBezTo>
                <a:cubicBezTo>
                  <a:pt x="2888803" y="3801909"/>
                  <a:pt x="2896955" y="3793757"/>
                  <a:pt x="2902391" y="3785604"/>
                </a:cubicBezTo>
                <a:cubicBezTo>
                  <a:pt x="2905109" y="3780169"/>
                  <a:pt x="2905109" y="3774733"/>
                  <a:pt x="2910543" y="3772016"/>
                </a:cubicBezTo>
                <a:cubicBezTo>
                  <a:pt x="2910543" y="3769298"/>
                  <a:pt x="2910543" y="3769298"/>
                  <a:pt x="2910543" y="3766581"/>
                </a:cubicBezTo>
                <a:cubicBezTo>
                  <a:pt x="2907827" y="3766581"/>
                  <a:pt x="2905109" y="3766581"/>
                  <a:pt x="2905109" y="3766581"/>
                </a:cubicBezTo>
                <a:cubicBezTo>
                  <a:pt x="2899673" y="3769298"/>
                  <a:pt x="2891521" y="3788321"/>
                  <a:pt x="2886085" y="3793757"/>
                </a:cubicBezTo>
                <a:cubicBezTo>
                  <a:pt x="2886085" y="3793757"/>
                  <a:pt x="2883367" y="3796474"/>
                  <a:pt x="2883367" y="3796474"/>
                </a:cubicBezTo>
                <a:cubicBezTo>
                  <a:pt x="2880651" y="3796474"/>
                  <a:pt x="2880651" y="3796474"/>
                  <a:pt x="2877933" y="3796474"/>
                </a:cubicBezTo>
                <a:cubicBezTo>
                  <a:pt x="2877933" y="3793757"/>
                  <a:pt x="2869779" y="3772016"/>
                  <a:pt x="2869779" y="3766581"/>
                </a:cubicBezTo>
                <a:cubicBezTo>
                  <a:pt x="2867063" y="3766581"/>
                  <a:pt x="2864345" y="3763863"/>
                  <a:pt x="2861627" y="3766581"/>
                </a:cubicBezTo>
                <a:cubicBezTo>
                  <a:pt x="2861627" y="3766581"/>
                  <a:pt x="2858909" y="3766581"/>
                  <a:pt x="2858909" y="3766581"/>
                </a:cubicBezTo>
                <a:cubicBezTo>
                  <a:pt x="2858909" y="3777451"/>
                  <a:pt x="2864345" y="3782886"/>
                  <a:pt x="2867063" y="3791039"/>
                </a:cubicBezTo>
                <a:cubicBezTo>
                  <a:pt x="2872497" y="3801909"/>
                  <a:pt x="2867063" y="3810062"/>
                  <a:pt x="2872497" y="3820932"/>
                </a:cubicBezTo>
                <a:cubicBezTo>
                  <a:pt x="2875215" y="3826368"/>
                  <a:pt x="2869779" y="3834520"/>
                  <a:pt x="2869779" y="3837238"/>
                </a:cubicBezTo>
                <a:cubicBezTo>
                  <a:pt x="2864345" y="3856261"/>
                  <a:pt x="2858909" y="3875284"/>
                  <a:pt x="2853475" y="3888872"/>
                </a:cubicBezTo>
                <a:cubicBezTo>
                  <a:pt x="2850757" y="3899743"/>
                  <a:pt x="2848039" y="3910613"/>
                  <a:pt x="2845321" y="3921483"/>
                </a:cubicBezTo>
                <a:lnTo>
                  <a:pt x="2836582" y="3926399"/>
                </a:lnTo>
                <a:lnTo>
                  <a:pt x="2831733" y="3926919"/>
                </a:lnTo>
                <a:lnTo>
                  <a:pt x="2831733" y="3929127"/>
                </a:lnTo>
                <a:lnTo>
                  <a:pt x="2829510" y="3930377"/>
                </a:lnTo>
                <a:lnTo>
                  <a:pt x="2827658" y="3930995"/>
                </a:lnTo>
                <a:cubicBezTo>
                  <a:pt x="2826299" y="3930995"/>
                  <a:pt x="2824940" y="3930995"/>
                  <a:pt x="2823581" y="3932354"/>
                </a:cubicBezTo>
                <a:lnTo>
                  <a:pt x="2822745" y="3933399"/>
                </a:lnTo>
                <a:lnTo>
                  <a:pt x="2812711" y="3937789"/>
                </a:lnTo>
                <a:lnTo>
                  <a:pt x="2812711" y="3939828"/>
                </a:lnTo>
                <a:lnTo>
                  <a:pt x="2809993" y="3940507"/>
                </a:lnTo>
                <a:lnTo>
                  <a:pt x="2809178" y="3941323"/>
                </a:lnTo>
                <a:lnTo>
                  <a:pt x="2799463" y="3943564"/>
                </a:lnTo>
                <a:lnTo>
                  <a:pt x="2794231" y="3945942"/>
                </a:lnTo>
                <a:lnTo>
                  <a:pt x="2789611" y="3945942"/>
                </a:lnTo>
                <a:cubicBezTo>
                  <a:pt x="2784856" y="3945262"/>
                  <a:pt x="2780100" y="3944583"/>
                  <a:pt x="2774665" y="3945942"/>
                </a:cubicBezTo>
                <a:lnTo>
                  <a:pt x="2770246" y="3948309"/>
                </a:lnTo>
                <a:lnTo>
                  <a:pt x="2766512" y="3948659"/>
                </a:lnTo>
                <a:cubicBezTo>
                  <a:pt x="2763794" y="3948659"/>
                  <a:pt x="2758359" y="3948659"/>
                  <a:pt x="2755642" y="3948659"/>
                </a:cubicBezTo>
                <a:cubicBezTo>
                  <a:pt x="2758359" y="3940507"/>
                  <a:pt x="2761077" y="3937789"/>
                  <a:pt x="2763794" y="3932354"/>
                </a:cubicBezTo>
                <a:cubicBezTo>
                  <a:pt x="2769230" y="3918766"/>
                  <a:pt x="2771947" y="3902460"/>
                  <a:pt x="2774665" y="3891590"/>
                </a:cubicBezTo>
                <a:cubicBezTo>
                  <a:pt x="2771947" y="3888872"/>
                  <a:pt x="2769230" y="3886155"/>
                  <a:pt x="2769230" y="3883437"/>
                </a:cubicBezTo>
                <a:cubicBezTo>
                  <a:pt x="2766512" y="3886155"/>
                  <a:pt x="2763794" y="3886155"/>
                  <a:pt x="2761077" y="3888872"/>
                </a:cubicBezTo>
                <a:cubicBezTo>
                  <a:pt x="2758359" y="3891590"/>
                  <a:pt x="2761077" y="3907895"/>
                  <a:pt x="2758359" y="3913331"/>
                </a:cubicBezTo>
                <a:cubicBezTo>
                  <a:pt x="2752924" y="3924201"/>
                  <a:pt x="2750206" y="3937789"/>
                  <a:pt x="2744771" y="3945942"/>
                </a:cubicBezTo>
                <a:cubicBezTo>
                  <a:pt x="2744771" y="3947301"/>
                  <a:pt x="2744092" y="3947980"/>
                  <a:pt x="2743073" y="3948999"/>
                </a:cubicBezTo>
                <a:lnTo>
                  <a:pt x="2740275" y="3952814"/>
                </a:lnTo>
                <a:lnTo>
                  <a:pt x="2737086" y="3952548"/>
                </a:lnTo>
                <a:lnTo>
                  <a:pt x="2733901" y="3950358"/>
                </a:lnTo>
                <a:cubicBezTo>
                  <a:pt x="2732542" y="3949339"/>
                  <a:pt x="2731183" y="3948659"/>
                  <a:pt x="2728466" y="3948659"/>
                </a:cubicBezTo>
                <a:lnTo>
                  <a:pt x="2723978" y="3948949"/>
                </a:lnTo>
                <a:lnTo>
                  <a:pt x="2723030" y="3948659"/>
                </a:lnTo>
                <a:lnTo>
                  <a:pt x="2721587" y="3949103"/>
                </a:lnTo>
                <a:lnTo>
                  <a:pt x="2717935" y="3949339"/>
                </a:lnTo>
                <a:lnTo>
                  <a:pt x="2715582" y="3950657"/>
                </a:lnTo>
                <a:lnTo>
                  <a:pt x="2712160" y="3951377"/>
                </a:lnTo>
                <a:lnTo>
                  <a:pt x="2711333" y="3951377"/>
                </a:lnTo>
                <a:lnTo>
                  <a:pt x="2709961" y="3953805"/>
                </a:lnTo>
                <a:lnTo>
                  <a:pt x="2715582" y="3950657"/>
                </a:lnTo>
                <a:lnTo>
                  <a:pt x="2718614" y="3950018"/>
                </a:lnTo>
                <a:lnTo>
                  <a:pt x="2721587" y="3949103"/>
                </a:lnTo>
                <a:lnTo>
                  <a:pt x="2723978" y="3948949"/>
                </a:lnTo>
                <a:lnTo>
                  <a:pt x="2735260" y="3952396"/>
                </a:lnTo>
                <a:lnTo>
                  <a:pt x="2737086" y="3952548"/>
                </a:lnTo>
                <a:lnTo>
                  <a:pt x="2739336" y="3954095"/>
                </a:lnTo>
                <a:lnTo>
                  <a:pt x="2740275" y="3952814"/>
                </a:lnTo>
                <a:lnTo>
                  <a:pt x="2755642" y="3954095"/>
                </a:lnTo>
                <a:cubicBezTo>
                  <a:pt x="2759718" y="3954095"/>
                  <a:pt x="2762435" y="3952736"/>
                  <a:pt x="2765153" y="3951038"/>
                </a:cubicBezTo>
                <a:lnTo>
                  <a:pt x="2770246" y="3948309"/>
                </a:lnTo>
                <a:lnTo>
                  <a:pt x="2777382" y="3947640"/>
                </a:lnTo>
                <a:cubicBezTo>
                  <a:pt x="2781458" y="3947980"/>
                  <a:pt x="2785535" y="3948659"/>
                  <a:pt x="2788253" y="3948659"/>
                </a:cubicBezTo>
                <a:lnTo>
                  <a:pt x="2794231" y="3945942"/>
                </a:lnTo>
                <a:lnTo>
                  <a:pt x="2804558" y="3945942"/>
                </a:lnTo>
                <a:cubicBezTo>
                  <a:pt x="2805917" y="3945942"/>
                  <a:pt x="2806596" y="3944584"/>
                  <a:pt x="2807275" y="3943225"/>
                </a:cubicBezTo>
                <a:lnTo>
                  <a:pt x="2809178" y="3941323"/>
                </a:lnTo>
                <a:lnTo>
                  <a:pt x="2812711" y="3940507"/>
                </a:lnTo>
                <a:lnTo>
                  <a:pt x="2812711" y="3939828"/>
                </a:lnTo>
                <a:lnTo>
                  <a:pt x="2815428" y="3939148"/>
                </a:lnTo>
                <a:cubicBezTo>
                  <a:pt x="2817466" y="3939148"/>
                  <a:pt x="2819504" y="3939148"/>
                  <a:pt x="2820863" y="3937789"/>
                </a:cubicBezTo>
                <a:cubicBezTo>
                  <a:pt x="2822222" y="3936430"/>
                  <a:pt x="2822222" y="3935071"/>
                  <a:pt x="2822222" y="3934052"/>
                </a:cubicBezTo>
                <a:lnTo>
                  <a:pt x="2822745" y="3933399"/>
                </a:lnTo>
                <a:lnTo>
                  <a:pt x="2829016" y="3930656"/>
                </a:lnTo>
                <a:lnTo>
                  <a:pt x="2829510" y="3930377"/>
                </a:lnTo>
                <a:lnTo>
                  <a:pt x="2831733" y="3929636"/>
                </a:lnTo>
                <a:lnTo>
                  <a:pt x="2831733" y="3929127"/>
                </a:lnTo>
                <a:lnTo>
                  <a:pt x="2836582" y="3926399"/>
                </a:lnTo>
                <a:lnTo>
                  <a:pt x="2841245" y="3925900"/>
                </a:lnTo>
                <a:cubicBezTo>
                  <a:pt x="2844642" y="3926919"/>
                  <a:pt x="2848039" y="3928278"/>
                  <a:pt x="2850757" y="3926919"/>
                </a:cubicBezTo>
                <a:cubicBezTo>
                  <a:pt x="2853474" y="3926919"/>
                  <a:pt x="2856192" y="3925560"/>
                  <a:pt x="2858909" y="3924201"/>
                </a:cubicBezTo>
                <a:lnTo>
                  <a:pt x="2861658" y="3923285"/>
                </a:lnTo>
                <a:lnTo>
                  <a:pt x="2861627" y="3924201"/>
                </a:lnTo>
                <a:lnTo>
                  <a:pt x="2880651" y="3924201"/>
                </a:lnTo>
                <a:lnTo>
                  <a:pt x="2883367" y="3924201"/>
                </a:lnTo>
                <a:lnTo>
                  <a:pt x="2883367" y="3922390"/>
                </a:lnTo>
                <a:lnTo>
                  <a:pt x="2884726" y="3921484"/>
                </a:lnTo>
                <a:cubicBezTo>
                  <a:pt x="2886085" y="3920125"/>
                  <a:pt x="2887444" y="3918766"/>
                  <a:pt x="2888803" y="3918766"/>
                </a:cubicBezTo>
                <a:cubicBezTo>
                  <a:pt x="2894239" y="3918766"/>
                  <a:pt x="2896955" y="3921483"/>
                  <a:pt x="2899673" y="3918766"/>
                </a:cubicBezTo>
                <a:cubicBezTo>
                  <a:pt x="2902391" y="3916048"/>
                  <a:pt x="2899673" y="3905178"/>
                  <a:pt x="2902391" y="3902460"/>
                </a:cubicBezTo>
                <a:cubicBezTo>
                  <a:pt x="2905109" y="3897025"/>
                  <a:pt x="2902391" y="3902460"/>
                  <a:pt x="2907827" y="3899743"/>
                </a:cubicBezTo>
                <a:cubicBezTo>
                  <a:pt x="2907827" y="3899743"/>
                  <a:pt x="2910543" y="3897025"/>
                  <a:pt x="2910543" y="3894307"/>
                </a:cubicBezTo>
                <a:cubicBezTo>
                  <a:pt x="2915979" y="3891590"/>
                  <a:pt x="2921415" y="3894307"/>
                  <a:pt x="2924131" y="3891590"/>
                </a:cubicBezTo>
                <a:cubicBezTo>
                  <a:pt x="2926849" y="3888872"/>
                  <a:pt x="2926849" y="3883437"/>
                  <a:pt x="2929567" y="3880719"/>
                </a:cubicBezTo>
                <a:cubicBezTo>
                  <a:pt x="2932285" y="3880719"/>
                  <a:pt x="2935003" y="3883437"/>
                  <a:pt x="2937719" y="3880719"/>
                </a:cubicBezTo>
                <a:cubicBezTo>
                  <a:pt x="2937719" y="3878002"/>
                  <a:pt x="2937719" y="3875284"/>
                  <a:pt x="2940437" y="3875284"/>
                </a:cubicBezTo>
                <a:cubicBezTo>
                  <a:pt x="2943155" y="3872567"/>
                  <a:pt x="2948591" y="3875284"/>
                  <a:pt x="2951307" y="3872567"/>
                </a:cubicBezTo>
                <a:cubicBezTo>
                  <a:pt x="2954025" y="3869849"/>
                  <a:pt x="2951307" y="3867131"/>
                  <a:pt x="2954025" y="3867131"/>
                </a:cubicBezTo>
                <a:cubicBezTo>
                  <a:pt x="2954025" y="3867131"/>
                  <a:pt x="2956743" y="3867131"/>
                  <a:pt x="2959461" y="3867131"/>
                </a:cubicBezTo>
                <a:cubicBezTo>
                  <a:pt x="2962179" y="3867131"/>
                  <a:pt x="2964895" y="3856261"/>
                  <a:pt x="2967613" y="3853544"/>
                </a:cubicBezTo>
                <a:cubicBezTo>
                  <a:pt x="2967613" y="3850826"/>
                  <a:pt x="2973049" y="3853544"/>
                  <a:pt x="2973049" y="3850826"/>
                </a:cubicBezTo>
                <a:cubicBezTo>
                  <a:pt x="2973049" y="3848108"/>
                  <a:pt x="2973049" y="3848108"/>
                  <a:pt x="2973049" y="3845391"/>
                </a:cubicBezTo>
                <a:cubicBezTo>
                  <a:pt x="2975767" y="3842673"/>
                  <a:pt x="2981201" y="3839956"/>
                  <a:pt x="2983919" y="3837238"/>
                </a:cubicBezTo>
                <a:cubicBezTo>
                  <a:pt x="2986637" y="3837238"/>
                  <a:pt x="2983919" y="3831803"/>
                  <a:pt x="2986637" y="3831803"/>
                </a:cubicBezTo>
                <a:cubicBezTo>
                  <a:pt x="2989355" y="3831803"/>
                  <a:pt x="2992071" y="3834520"/>
                  <a:pt x="2994789" y="3831803"/>
                </a:cubicBezTo>
                <a:cubicBezTo>
                  <a:pt x="3000225" y="3829085"/>
                  <a:pt x="3008377" y="3815497"/>
                  <a:pt x="3013813" y="3812780"/>
                </a:cubicBezTo>
                <a:cubicBezTo>
                  <a:pt x="3016531" y="3812780"/>
                  <a:pt x="3019247" y="3812780"/>
                  <a:pt x="3021965" y="3810062"/>
                </a:cubicBezTo>
                <a:cubicBezTo>
                  <a:pt x="3032835" y="3796474"/>
                  <a:pt x="3038271" y="3761146"/>
                  <a:pt x="3049141" y="3752993"/>
                </a:cubicBezTo>
                <a:cubicBezTo>
                  <a:pt x="3054577" y="3747558"/>
                  <a:pt x="3079035" y="3758428"/>
                  <a:pt x="3089905" y="3752993"/>
                </a:cubicBezTo>
                <a:cubicBezTo>
                  <a:pt x="3095341" y="3752993"/>
                  <a:pt x="3095341" y="3752993"/>
                  <a:pt x="3098057" y="3752993"/>
                </a:cubicBezTo>
                <a:cubicBezTo>
                  <a:pt x="3098057" y="3750275"/>
                  <a:pt x="3098057" y="3750275"/>
                  <a:pt x="3098057" y="3750275"/>
                </a:cubicBezTo>
                <a:cubicBezTo>
                  <a:pt x="3098057" y="3747558"/>
                  <a:pt x="3098057" y="3747558"/>
                  <a:pt x="3098057" y="3747558"/>
                </a:cubicBezTo>
                <a:cubicBezTo>
                  <a:pt x="3089905" y="3742122"/>
                  <a:pt x="3081753" y="3752993"/>
                  <a:pt x="3073599" y="3747558"/>
                </a:cubicBezTo>
                <a:cubicBezTo>
                  <a:pt x="3062729" y="3747558"/>
                  <a:pt x="3062729" y="3744840"/>
                  <a:pt x="3057293" y="3742122"/>
                </a:cubicBezTo>
                <a:cubicBezTo>
                  <a:pt x="3057293" y="3723099"/>
                  <a:pt x="3070881" y="3714947"/>
                  <a:pt x="3073599" y="3695923"/>
                </a:cubicBezTo>
                <a:cubicBezTo>
                  <a:pt x="3070881" y="3695923"/>
                  <a:pt x="3070881" y="3695923"/>
                  <a:pt x="3068165" y="3695923"/>
                </a:cubicBezTo>
                <a:cubicBezTo>
                  <a:pt x="3060011" y="3698641"/>
                  <a:pt x="3057293" y="3723099"/>
                  <a:pt x="3051859" y="3731252"/>
                </a:cubicBezTo>
                <a:cubicBezTo>
                  <a:pt x="3049141" y="3733970"/>
                  <a:pt x="3046423" y="3736687"/>
                  <a:pt x="3043705" y="3739405"/>
                </a:cubicBezTo>
                <a:cubicBezTo>
                  <a:pt x="3043705" y="3744840"/>
                  <a:pt x="3040989" y="3747558"/>
                  <a:pt x="3040989" y="3752993"/>
                </a:cubicBezTo>
                <a:cubicBezTo>
                  <a:pt x="3038271" y="3758428"/>
                  <a:pt x="3030119" y="3761146"/>
                  <a:pt x="3027401" y="3766581"/>
                </a:cubicBezTo>
                <a:cubicBezTo>
                  <a:pt x="3021965" y="3777451"/>
                  <a:pt x="3021965" y="3788321"/>
                  <a:pt x="3016531" y="3796474"/>
                </a:cubicBezTo>
                <a:cubicBezTo>
                  <a:pt x="3013813" y="3801909"/>
                  <a:pt x="3011095" y="3799192"/>
                  <a:pt x="3008377" y="3804627"/>
                </a:cubicBezTo>
                <a:cubicBezTo>
                  <a:pt x="3005659" y="3804627"/>
                  <a:pt x="3005659" y="3804627"/>
                  <a:pt x="3002943" y="3804627"/>
                </a:cubicBezTo>
                <a:cubicBezTo>
                  <a:pt x="3002943" y="3804627"/>
                  <a:pt x="3002943" y="3801909"/>
                  <a:pt x="3002943" y="3801909"/>
                </a:cubicBezTo>
                <a:cubicBezTo>
                  <a:pt x="3002943" y="3796474"/>
                  <a:pt x="2997507" y="3777451"/>
                  <a:pt x="3000225" y="3772016"/>
                </a:cubicBezTo>
                <a:cubicBezTo>
                  <a:pt x="2997507" y="3772016"/>
                  <a:pt x="2997507" y="3769298"/>
                  <a:pt x="2994789" y="3769298"/>
                </a:cubicBezTo>
                <a:cubicBezTo>
                  <a:pt x="2992071" y="3766581"/>
                  <a:pt x="2989355" y="3758428"/>
                  <a:pt x="2989355" y="3755710"/>
                </a:cubicBezTo>
                <a:cubicBezTo>
                  <a:pt x="2986637" y="3752993"/>
                  <a:pt x="2989355" y="3747558"/>
                  <a:pt x="2989355" y="3744840"/>
                </a:cubicBezTo>
                <a:cubicBezTo>
                  <a:pt x="2986637" y="3739405"/>
                  <a:pt x="2981201" y="3731252"/>
                  <a:pt x="2973049" y="3728534"/>
                </a:cubicBezTo>
                <a:cubicBezTo>
                  <a:pt x="2975767" y="3712229"/>
                  <a:pt x="2983919" y="3695923"/>
                  <a:pt x="2986637" y="3682335"/>
                </a:cubicBezTo>
                <a:cubicBezTo>
                  <a:pt x="2989355" y="3674183"/>
                  <a:pt x="2986637" y="3671465"/>
                  <a:pt x="2989355" y="3663312"/>
                </a:cubicBezTo>
                <a:cubicBezTo>
                  <a:pt x="2992071" y="3657877"/>
                  <a:pt x="2994789" y="3655160"/>
                  <a:pt x="2997507" y="3649724"/>
                </a:cubicBezTo>
                <a:cubicBezTo>
                  <a:pt x="3021965" y="3652442"/>
                  <a:pt x="3032835" y="3649724"/>
                  <a:pt x="3051859" y="3641572"/>
                </a:cubicBezTo>
                <a:cubicBezTo>
                  <a:pt x="3051859" y="3638854"/>
                  <a:pt x="3051859" y="3638854"/>
                  <a:pt x="3051859" y="3638854"/>
                </a:cubicBezTo>
                <a:cubicBezTo>
                  <a:pt x="3051859" y="3636136"/>
                  <a:pt x="3051859" y="3636136"/>
                  <a:pt x="3051859" y="3633419"/>
                </a:cubicBezTo>
                <a:cubicBezTo>
                  <a:pt x="3040989" y="3633419"/>
                  <a:pt x="3021965" y="3647007"/>
                  <a:pt x="3008377" y="3638854"/>
                </a:cubicBezTo>
                <a:cubicBezTo>
                  <a:pt x="3008377" y="3638854"/>
                  <a:pt x="3005659" y="3638854"/>
                  <a:pt x="3005659" y="3638854"/>
                </a:cubicBezTo>
                <a:cubicBezTo>
                  <a:pt x="3005659" y="3633419"/>
                  <a:pt x="3019247" y="3592655"/>
                  <a:pt x="3021965" y="3589937"/>
                </a:cubicBezTo>
                <a:cubicBezTo>
                  <a:pt x="3021965" y="3587220"/>
                  <a:pt x="3021965" y="3584502"/>
                  <a:pt x="3019247" y="3581784"/>
                </a:cubicBezTo>
                <a:close/>
                <a:moveTo>
                  <a:pt x="1410431" y="3573632"/>
                </a:moveTo>
                <a:cubicBezTo>
                  <a:pt x="1404996" y="3576349"/>
                  <a:pt x="1404996" y="3579067"/>
                  <a:pt x="1402278" y="3581784"/>
                </a:cubicBezTo>
                <a:cubicBezTo>
                  <a:pt x="1404996" y="3587220"/>
                  <a:pt x="1407714" y="3587220"/>
                  <a:pt x="1410431" y="3592655"/>
                </a:cubicBezTo>
                <a:cubicBezTo>
                  <a:pt x="1415866" y="3603525"/>
                  <a:pt x="1415866" y="3614396"/>
                  <a:pt x="1415866" y="3625266"/>
                </a:cubicBezTo>
                <a:lnTo>
                  <a:pt x="1434890" y="3625266"/>
                </a:lnTo>
                <a:lnTo>
                  <a:pt x="1438790" y="3620767"/>
                </a:lnTo>
                <a:lnTo>
                  <a:pt x="1434890" y="3619831"/>
                </a:lnTo>
                <a:cubicBezTo>
                  <a:pt x="1426737" y="3617113"/>
                  <a:pt x="1429454" y="3608960"/>
                  <a:pt x="1426737" y="3600808"/>
                </a:cubicBezTo>
                <a:cubicBezTo>
                  <a:pt x="1426737" y="3598090"/>
                  <a:pt x="1415866" y="3579067"/>
                  <a:pt x="1415866" y="3579067"/>
                </a:cubicBezTo>
                <a:cubicBezTo>
                  <a:pt x="1413149" y="3576349"/>
                  <a:pt x="1413149" y="3579067"/>
                  <a:pt x="1410431" y="3573632"/>
                </a:cubicBezTo>
                <a:close/>
                <a:moveTo>
                  <a:pt x="4856342" y="3562761"/>
                </a:moveTo>
                <a:lnTo>
                  <a:pt x="4856342" y="3584502"/>
                </a:lnTo>
                <a:lnTo>
                  <a:pt x="4872648" y="3584502"/>
                </a:lnTo>
                <a:cubicBezTo>
                  <a:pt x="4867213" y="3562761"/>
                  <a:pt x="4872648" y="3573632"/>
                  <a:pt x="4856342" y="3562761"/>
                </a:cubicBezTo>
                <a:close/>
                <a:moveTo>
                  <a:pt x="2622479" y="3560044"/>
                </a:moveTo>
                <a:cubicBezTo>
                  <a:pt x="2622479" y="3560044"/>
                  <a:pt x="2625197" y="3560044"/>
                  <a:pt x="2625197" y="3560044"/>
                </a:cubicBezTo>
                <a:cubicBezTo>
                  <a:pt x="2630632" y="3560044"/>
                  <a:pt x="2636067" y="3560044"/>
                  <a:pt x="2641502" y="3560044"/>
                </a:cubicBezTo>
                <a:cubicBezTo>
                  <a:pt x="2638785" y="3570914"/>
                  <a:pt x="2630632" y="3576349"/>
                  <a:pt x="2625197" y="3584502"/>
                </a:cubicBezTo>
                <a:cubicBezTo>
                  <a:pt x="2625197" y="3589937"/>
                  <a:pt x="2622479" y="3598090"/>
                  <a:pt x="2622479" y="3603525"/>
                </a:cubicBezTo>
                <a:cubicBezTo>
                  <a:pt x="2619762" y="3611678"/>
                  <a:pt x="2617044" y="3622548"/>
                  <a:pt x="2614326" y="3630701"/>
                </a:cubicBezTo>
                <a:cubicBezTo>
                  <a:pt x="2614326" y="3636136"/>
                  <a:pt x="2614326" y="3644289"/>
                  <a:pt x="2614326" y="3649724"/>
                </a:cubicBezTo>
                <a:cubicBezTo>
                  <a:pt x="2611609" y="3660595"/>
                  <a:pt x="2608891" y="3668747"/>
                  <a:pt x="2606174" y="3679618"/>
                </a:cubicBezTo>
                <a:cubicBezTo>
                  <a:pt x="2603456" y="3682335"/>
                  <a:pt x="2600738" y="3682335"/>
                  <a:pt x="2598021" y="3685053"/>
                </a:cubicBezTo>
                <a:cubicBezTo>
                  <a:pt x="2589868" y="3685053"/>
                  <a:pt x="2589868" y="3685053"/>
                  <a:pt x="2584433" y="3682335"/>
                </a:cubicBezTo>
                <a:cubicBezTo>
                  <a:pt x="2584433" y="3674183"/>
                  <a:pt x="2589868" y="3674183"/>
                  <a:pt x="2592586" y="3663312"/>
                </a:cubicBezTo>
                <a:cubicBezTo>
                  <a:pt x="2595303" y="3655159"/>
                  <a:pt x="2595303" y="3614396"/>
                  <a:pt x="2592586" y="3606243"/>
                </a:cubicBezTo>
                <a:cubicBezTo>
                  <a:pt x="2595303" y="3598090"/>
                  <a:pt x="2598021" y="3581784"/>
                  <a:pt x="2592586" y="3576349"/>
                </a:cubicBezTo>
                <a:cubicBezTo>
                  <a:pt x="2595303" y="3565479"/>
                  <a:pt x="2598021" y="3570914"/>
                  <a:pt x="2603456" y="3568196"/>
                </a:cubicBezTo>
                <a:cubicBezTo>
                  <a:pt x="2603456" y="3565479"/>
                  <a:pt x="2606174" y="3565479"/>
                  <a:pt x="2606174" y="3562761"/>
                </a:cubicBezTo>
                <a:cubicBezTo>
                  <a:pt x="2608891" y="3560044"/>
                  <a:pt x="2617044" y="3562761"/>
                  <a:pt x="2622479" y="3560044"/>
                </a:cubicBezTo>
                <a:close/>
                <a:moveTo>
                  <a:pt x="540801" y="3543738"/>
                </a:moveTo>
                <a:cubicBezTo>
                  <a:pt x="529931" y="3543738"/>
                  <a:pt x="516343" y="3546456"/>
                  <a:pt x="505472" y="3549173"/>
                </a:cubicBezTo>
                <a:cubicBezTo>
                  <a:pt x="502755" y="3565479"/>
                  <a:pt x="508190" y="3595372"/>
                  <a:pt x="521778" y="3598090"/>
                </a:cubicBezTo>
                <a:cubicBezTo>
                  <a:pt x="519060" y="3573632"/>
                  <a:pt x="562542" y="3570914"/>
                  <a:pt x="540801" y="3543738"/>
                </a:cubicBezTo>
                <a:close/>
                <a:moveTo>
                  <a:pt x="2521929" y="3535586"/>
                </a:moveTo>
                <a:cubicBezTo>
                  <a:pt x="2521929" y="3551891"/>
                  <a:pt x="2513776" y="3551891"/>
                  <a:pt x="2511058" y="3562762"/>
                </a:cubicBezTo>
                <a:cubicBezTo>
                  <a:pt x="2502905" y="3562762"/>
                  <a:pt x="2483882" y="3560044"/>
                  <a:pt x="2481165" y="3557327"/>
                </a:cubicBezTo>
                <a:cubicBezTo>
                  <a:pt x="2481165" y="3554609"/>
                  <a:pt x="2481165" y="3557327"/>
                  <a:pt x="2481165" y="3554609"/>
                </a:cubicBezTo>
                <a:cubicBezTo>
                  <a:pt x="2486600" y="3549174"/>
                  <a:pt x="2494753" y="3546456"/>
                  <a:pt x="2497470" y="3538303"/>
                </a:cubicBezTo>
                <a:cubicBezTo>
                  <a:pt x="2505623" y="3535586"/>
                  <a:pt x="2511058" y="3535586"/>
                  <a:pt x="2521929" y="3535586"/>
                </a:cubicBezTo>
                <a:close/>
                <a:moveTo>
                  <a:pt x="2598020" y="3511127"/>
                </a:moveTo>
                <a:cubicBezTo>
                  <a:pt x="2608891" y="3511127"/>
                  <a:pt x="2611608" y="3524716"/>
                  <a:pt x="2619761" y="3530151"/>
                </a:cubicBezTo>
                <a:cubicBezTo>
                  <a:pt x="2625196" y="3530151"/>
                  <a:pt x="2627914" y="3530151"/>
                  <a:pt x="2633349" y="3530151"/>
                </a:cubicBezTo>
                <a:cubicBezTo>
                  <a:pt x="2636067" y="3530151"/>
                  <a:pt x="2646937" y="3532869"/>
                  <a:pt x="2649654" y="3535586"/>
                </a:cubicBezTo>
                <a:cubicBezTo>
                  <a:pt x="2655090" y="3535586"/>
                  <a:pt x="2657807" y="3535586"/>
                  <a:pt x="2660525" y="3535586"/>
                </a:cubicBezTo>
                <a:cubicBezTo>
                  <a:pt x="2657807" y="3538304"/>
                  <a:pt x="2649654" y="3543739"/>
                  <a:pt x="2646937" y="3549174"/>
                </a:cubicBezTo>
                <a:cubicBezTo>
                  <a:pt x="2638784" y="3549174"/>
                  <a:pt x="2619761" y="3546456"/>
                  <a:pt x="2614326" y="3551892"/>
                </a:cubicBezTo>
                <a:cubicBezTo>
                  <a:pt x="2603455" y="3551892"/>
                  <a:pt x="2606173" y="3549174"/>
                  <a:pt x="2600738" y="3543739"/>
                </a:cubicBezTo>
                <a:cubicBezTo>
                  <a:pt x="2600738" y="3543739"/>
                  <a:pt x="2595303" y="3546456"/>
                  <a:pt x="2592585" y="3549174"/>
                </a:cubicBezTo>
                <a:cubicBezTo>
                  <a:pt x="2589867" y="3551892"/>
                  <a:pt x="2592585" y="3554609"/>
                  <a:pt x="2589867" y="3557327"/>
                </a:cubicBezTo>
                <a:cubicBezTo>
                  <a:pt x="2584432" y="3562762"/>
                  <a:pt x="2570844" y="3570915"/>
                  <a:pt x="2565409" y="3573632"/>
                </a:cubicBezTo>
                <a:cubicBezTo>
                  <a:pt x="2554539" y="3576350"/>
                  <a:pt x="2535516" y="3568197"/>
                  <a:pt x="2527363" y="3565480"/>
                </a:cubicBezTo>
                <a:cubicBezTo>
                  <a:pt x="2527363" y="3551892"/>
                  <a:pt x="2535516" y="3535586"/>
                  <a:pt x="2540951" y="3530151"/>
                </a:cubicBezTo>
                <a:cubicBezTo>
                  <a:pt x="2543668" y="3530151"/>
                  <a:pt x="2546386" y="3527433"/>
                  <a:pt x="2549104" y="3527433"/>
                </a:cubicBezTo>
                <a:cubicBezTo>
                  <a:pt x="2551821" y="3527433"/>
                  <a:pt x="2554539" y="3527433"/>
                  <a:pt x="2557256" y="3527433"/>
                </a:cubicBezTo>
                <a:cubicBezTo>
                  <a:pt x="2562692" y="3524716"/>
                  <a:pt x="2565409" y="3521998"/>
                  <a:pt x="2570844" y="3519281"/>
                </a:cubicBezTo>
                <a:cubicBezTo>
                  <a:pt x="2584432" y="3513845"/>
                  <a:pt x="2587150" y="3521998"/>
                  <a:pt x="2598020" y="3511127"/>
                </a:cubicBezTo>
                <a:close/>
                <a:moveTo>
                  <a:pt x="1520155" y="3505352"/>
                </a:moveTo>
                <a:cubicBezTo>
                  <a:pt x="1521854" y="3506371"/>
                  <a:pt x="1523212" y="3508410"/>
                  <a:pt x="1521853" y="3511127"/>
                </a:cubicBezTo>
                <a:cubicBezTo>
                  <a:pt x="1524571" y="3513844"/>
                  <a:pt x="1538159" y="3530150"/>
                  <a:pt x="1538159" y="3532868"/>
                </a:cubicBezTo>
                <a:cubicBezTo>
                  <a:pt x="1538159" y="3538303"/>
                  <a:pt x="1535441" y="3541020"/>
                  <a:pt x="1538159" y="3546456"/>
                </a:cubicBezTo>
                <a:cubicBezTo>
                  <a:pt x="1540876" y="3551891"/>
                  <a:pt x="1549029" y="3557326"/>
                  <a:pt x="1551747" y="3562761"/>
                </a:cubicBezTo>
                <a:cubicBezTo>
                  <a:pt x="1557182" y="3568196"/>
                  <a:pt x="1551747" y="3573632"/>
                  <a:pt x="1554464" y="3581784"/>
                </a:cubicBezTo>
                <a:cubicBezTo>
                  <a:pt x="1554464" y="3581784"/>
                  <a:pt x="1557182" y="3584502"/>
                  <a:pt x="1557182" y="3584502"/>
                </a:cubicBezTo>
                <a:cubicBezTo>
                  <a:pt x="1557182" y="3584502"/>
                  <a:pt x="1559899" y="3600808"/>
                  <a:pt x="1559899" y="3606243"/>
                </a:cubicBezTo>
                <a:cubicBezTo>
                  <a:pt x="1551747" y="3614396"/>
                  <a:pt x="1546311" y="3630701"/>
                  <a:pt x="1535441" y="3636136"/>
                </a:cubicBezTo>
                <a:cubicBezTo>
                  <a:pt x="1532724" y="3636136"/>
                  <a:pt x="1532724" y="3636136"/>
                  <a:pt x="1530006" y="3636136"/>
                </a:cubicBezTo>
                <a:cubicBezTo>
                  <a:pt x="1530006" y="3633419"/>
                  <a:pt x="1530006" y="3633419"/>
                  <a:pt x="1530006" y="3630701"/>
                </a:cubicBezTo>
                <a:cubicBezTo>
                  <a:pt x="1521853" y="3625266"/>
                  <a:pt x="1519136" y="3614396"/>
                  <a:pt x="1513700" y="3606243"/>
                </a:cubicBezTo>
                <a:cubicBezTo>
                  <a:pt x="1508265" y="3600808"/>
                  <a:pt x="1497395" y="3598090"/>
                  <a:pt x="1491960" y="3595372"/>
                </a:cubicBezTo>
                <a:cubicBezTo>
                  <a:pt x="1486524" y="3592655"/>
                  <a:pt x="1489242" y="3587220"/>
                  <a:pt x="1486524" y="3581784"/>
                </a:cubicBezTo>
                <a:cubicBezTo>
                  <a:pt x="1486524" y="3581784"/>
                  <a:pt x="1483807" y="3579067"/>
                  <a:pt x="1483807" y="3579067"/>
                </a:cubicBezTo>
                <a:cubicBezTo>
                  <a:pt x="1486524" y="3573632"/>
                  <a:pt x="1483807" y="3570914"/>
                  <a:pt x="1483807" y="3565479"/>
                </a:cubicBezTo>
                <a:cubicBezTo>
                  <a:pt x="1483807" y="3560044"/>
                  <a:pt x="1486524" y="3549173"/>
                  <a:pt x="1489242" y="3543738"/>
                </a:cubicBezTo>
                <a:cubicBezTo>
                  <a:pt x="1491960" y="3535585"/>
                  <a:pt x="1500112" y="3527432"/>
                  <a:pt x="1505548" y="3519280"/>
                </a:cubicBezTo>
                <a:cubicBezTo>
                  <a:pt x="1510983" y="3513844"/>
                  <a:pt x="1510983" y="3508409"/>
                  <a:pt x="1516418" y="3505692"/>
                </a:cubicBezTo>
                <a:cubicBezTo>
                  <a:pt x="1516418" y="3504333"/>
                  <a:pt x="1518457" y="3504333"/>
                  <a:pt x="1520155" y="3505352"/>
                </a:cubicBezTo>
                <a:close/>
                <a:moveTo>
                  <a:pt x="4774093" y="3493505"/>
                </a:moveTo>
                <a:cubicBezTo>
                  <a:pt x="4770738" y="3494142"/>
                  <a:pt x="4767341" y="3496180"/>
                  <a:pt x="4763944" y="3500256"/>
                </a:cubicBezTo>
                <a:lnTo>
                  <a:pt x="4772097" y="3513844"/>
                </a:lnTo>
                <a:lnTo>
                  <a:pt x="4801990" y="3508409"/>
                </a:lnTo>
                <a:cubicBezTo>
                  <a:pt x="4793837" y="3502294"/>
                  <a:pt x="4784156" y="3491594"/>
                  <a:pt x="4774093" y="3493505"/>
                </a:cubicBezTo>
                <a:close/>
                <a:moveTo>
                  <a:pt x="2568128" y="3478517"/>
                </a:moveTo>
                <a:cubicBezTo>
                  <a:pt x="2568128" y="3478517"/>
                  <a:pt x="2570845" y="3478517"/>
                  <a:pt x="2570845" y="3478517"/>
                </a:cubicBezTo>
                <a:cubicBezTo>
                  <a:pt x="2573563" y="3486670"/>
                  <a:pt x="2576281" y="3492105"/>
                  <a:pt x="2576281" y="3500257"/>
                </a:cubicBezTo>
                <a:cubicBezTo>
                  <a:pt x="2570845" y="3500257"/>
                  <a:pt x="2565410" y="3502975"/>
                  <a:pt x="2559975" y="3505693"/>
                </a:cubicBezTo>
                <a:cubicBezTo>
                  <a:pt x="2549105" y="3505693"/>
                  <a:pt x="2551822" y="3502975"/>
                  <a:pt x="2549105" y="3502975"/>
                </a:cubicBezTo>
                <a:cubicBezTo>
                  <a:pt x="2554540" y="3492105"/>
                  <a:pt x="2565410" y="3489387"/>
                  <a:pt x="2568128" y="3478517"/>
                </a:cubicBezTo>
                <a:close/>
                <a:moveTo>
                  <a:pt x="4731333" y="3470363"/>
                </a:moveTo>
                <a:lnTo>
                  <a:pt x="4731333" y="3486669"/>
                </a:lnTo>
                <a:lnTo>
                  <a:pt x="4747638" y="3483951"/>
                </a:lnTo>
                <a:close/>
                <a:moveTo>
                  <a:pt x="1451196" y="3467645"/>
                </a:moveTo>
                <a:cubicBezTo>
                  <a:pt x="1453913" y="3467645"/>
                  <a:pt x="1456631" y="3467645"/>
                  <a:pt x="1459348" y="3470363"/>
                </a:cubicBezTo>
                <a:cubicBezTo>
                  <a:pt x="1462066" y="3473081"/>
                  <a:pt x="1459348" y="3473081"/>
                  <a:pt x="1462066" y="3475799"/>
                </a:cubicBezTo>
                <a:cubicBezTo>
                  <a:pt x="1464784" y="3478516"/>
                  <a:pt x="1486524" y="3486669"/>
                  <a:pt x="1489242" y="3486669"/>
                </a:cubicBezTo>
                <a:cubicBezTo>
                  <a:pt x="1489242" y="3486669"/>
                  <a:pt x="1491960" y="3486669"/>
                  <a:pt x="1494677" y="3486669"/>
                </a:cubicBezTo>
                <a:cubicBezTo>
                  <a:pt x="1494677" y="3489387"/>
                  <a:pt x="1497395" y="3492104"/>
                  <a:pt x="1502830" y="3494822"/>
                </a:cubicBezTo>
                <a:cubicBezTo>
                  <a:pt x="1500112" y="3511127"/>
                  <a:pt x="1481089" y="3519280"/>
                  <a:pt x="1475654" y="3535586"/>
                </a:cubicBezTo>
                <a:cubicBezTo>
                  <a:pt x="1472936" y="3535586"/>
                  <a:pt x="1472936" y="3535586"/>
                  <a:pt x="1470219" y="3535586"/>
                </a:cubicBezTo>
                <a:cubicBezTo>
                  <a:pt x="1470219" y="3527433"/>
                  <a:pt x="1464784" y="3524715"/>
                  <a:pt x="1467501" y="3516562"/>
                </a:cubicBezTo>
                <a:cubicBezTo>
                  <a:pt x="1467501" y="3516562"/>
                  <a:pt x="1467501" y="3513845"/>
                  <a:pt x="1467501" y="3513845"/>
                </a:cubicBezTo>
                <a:cubicBezTo>
                  <a:pt x="1467501" y="3513845"/>
                  <a:pt x="1464784" y="3511127"/>
                  <a:pt x="1464784" y="3511127"/>
                </a:cubicBezTo>
                <a:cubicBezTo>
                  <a:pt x="1462066" y="3505692"/>
                  <a:pt x="1459348" y="3494822"/>
                  <a:pt x="1456631" y="3489387"/>
                </a:cubicBezTo>
                <a:cubicBezTo>
                  <a:pt x="1456631" y="3489387"/>
                  <a:pt x="1456631" y="3486669"/>
                  <a:pt x="1456631" y="3483951"/>
                </a:cubicBezTo>
                <a:cubicBezTo>
                  <a:pt x="1456631" y="3483951"/>
                  <a:pt x="1453913" y="3481234"/>
                  <a:pt x="1453913" y="3481234"/>
                </a:cubicBezTo>
                <a:cubicBezTo>
                  <a:pt x="1453913" y="3475799"/>
                  <a:pt x="1451196" y="3473081"/>
                  <a:pt x="1451196" y="3467645"/>
                </a:cubicBezTo>
                <a:close/>
                <a:moveTo>
                  <a:pt x="1530006" y="3462210"/>
                </a:moveTo>
                <a:cubicBezTo>
                  <a:pt x="1535441" y="3462210"/>
                  <a:pt x="1535441" y="3464927"/>
                  <a:pt x="1538158" y="3467645"/>
                </a:cubicBezTo>
                <a:cubicBezTo>
                  <a:pt x="1543594" y="3467645"/>
                  <a:pt x="1546311" y="3467645"/>
                  <a:pt x="1549029" y="3467645"/>
                </a:cubicBezTo>
                <a:cubicBezTo>
                  <a:pt x="1551746" y="3470363"/>
                  <a:pt x="1557181" y="3478515"/>
                  <a:pt x="1559899" y="3481233"/>
                </a:cubicBezTo>
                <a:cubicBezTo>
                  <a:pt x="1565334" y="3478515"/>
                  <a:pt x="1568052" y="3473080"/>
                  <a:pt x="1576205" y="3470363"/>
                </a:cubicBezTo>
                <a:cubicBezTo>
                  <a:pt x="1581640" y="3470363"/>
                  <a:pt x="1584357" y="3473080"/>
                  <a:pt x="1587075" y="3473080"/>
                </a:cubicBezTo>
                <a:cubicBezTo>
                  <a:pt x="1592510" y="3475798"/>
                  <a:pt x="1606098" y="3473080"/>
                  <a:pt x="1616969" y="3475798"/>
                </a:cubicBezTo>
                <a:cubicBezTo>
                  <a:pt x="1622404" y="3478515"/>
                  <a:pt x="1627840" y="3481233"/>
                  <a:pt x="1633275" y="3483951"/>
                </a:cubicBezTo>
                <a:cubicBezTo>
                  <a:pt x="1633275" y="3489386"/>
                  <a:pt x="1627840" y="3494821"/>
                  <a:pt x="1627840" y="3500256"/>
                </a:cubicBezTo>
                <a:cubicBezTo>
                  <a:pt x="1625121" y="3508409"/>
                  <a:pt x="1630558" y="3513844"/>
                  <a:pt x="1627840" y="3524714"/>
                </a:cubicBezTo>
                <a:cubicBezTo>
                  <a:pt x="1622404" y="3546455"/>
                  <a:pt x="1597945" y="3584501"/>
                  <a:pt x="1573487" y="3584501"/>
                </a:cubicBezTo>
                <a:cubicBezTo>
                  <a:pt x="1573487" y="3576349"/>
                  <a:pt x="1565334" y="3549173"/>
                  <a:pt x="1562617" y="3543738"/>
                </a:cubicBezTo>
                <a:cubicBezTo>
                  <a:pt x="1559899" y="3543738"/>
                  <a:pt x="1559899" y="3541020"/>
                  <a:pt x="1557181" y="3541020"/>
                </a:cubicBezTo>
                <a:cubicBezTo>
                  <a:pt x="1554464" y="3535585"/>
                  <a:pt x="1554464" y="3527432"/>
                  <a:pt x="1551746" y="3521997"/>
                </a:cubicBezTo>
                <a:cubicBezTo>
                  <a:pt x="1551746" y="3516562"/>
                  <a:pt x="1546311" y="3513844"/>
                  <a:pt x="1543594" y="3511126"/>
                </a:cubicBezTo>
                <a:cubicBezTo>
                  <a:pt x="1540876" y="3508409"/>
                  <a:pt x="1543594" y="3505691"/>
                  <a:pt x="1540876" y="3500256"/>
                </a:cubicBezTo>
                <a:cubicBezTo>
                  <a:pt x="1535441" y="3492103"/>
                  <a:pt x="1527288" y="3492103"/>
                  <a:pt x="1524570" y="3483951"/>
                </a:cubicBezTo>
                <a:cubicBezTo>
                  <a:pt x="1521853" y="3481233"/>
                  <a:pt x="1530006" y="3467645"/>
                  <a:pt x="1530006" y="3462210"/>
                </a:cubicBezTo>
                <a:close/>
                <a:moveTo>
                  <a:pt x="2646938" y="3443188"/>
                </a:moveTo>
                <a:cubicBezTo>
                  <a:pt x="2652373" y="3445905"/>
                  <a:pt x="2657808" y="3448623"/>
                  <a:pt x="2668678" y="3448623"/>
                </a:cubicBezTo>
                <a:cubicBezTo>
                  <a:pt x="2668678" y="3451340"/>
                  <a:pt x="2668678" y="3451340"/>
                  <a:pt x="2668678" y="3454058"/>
                </a:cubicBezTo>
                <a:cubicBezTo>
                  <a:pt x="2660526" y="3459493"/>
                  <a:pt x="2652373" y="3464928"/>
                  <a:pt x="2644220" y="3470364"/>
                </a:cubicBezTo>
                <a:cubicBezTo>
                  <a:pt x="2638785" y="3470364"/>
                  <a:pt x="2636067" y="3473081"/>
                  <a:pt x="2630632" y="3473081"/>
                </a:cubicBezTo>
                <a:cubicBezTo>
                  <a:pt x="2630632" y="3473081"/>
                  <a:pt x="2630632" y="3475799"/>
                  <a:pt x="2630632" y="3475799"/>
                </a:cubicBezTo>
                <a:cubicBezTo>
                  <a:pt x="2630632" y="3475799"/>
                  <a:pt x="2627914" y="3475799"/>
                  <a:pt x="2625197" y="3475799"/>
                </a:cubicBezTo>
                <a:cubicBezTo>
                  <a:pt x="2622479" y="3475799"/>
                  <a:pt x="2622479" y="3478516"/>
                  <a:pt x="2619762" y="3481234"/>
                </a:cubicBezTo>
                <a:cubicBezTo>
                  <a:pt x="2611609" y="3486669"/>
                  <a:pt x="2608891" y="3481234"/>
                  <a:pt x="2600738" y="3483952"/>
                </a:cubicBezTo>
                <a:cubicBezTo>
                  <a:pt x="2598021" y="3483952"/>
                  <a:pt x="2595303" y="3486669"/>
                  <a:pt x="2592586" y="3489387"/>
                </a:cubicBezTo>
                <a:cubicBezTo>
                  <a:pt x="2589868" y="3486669"/>
                  <a:pt x="2581715" y="3470364"/>
                  <a:pt x="2578998" y="3467646"/>
                </a:cubicBezTo>
                <a:cubicBezTo>
                  <a:pt x="2581715" y="3459493"/>
                  <a:pt x="2589868" y="3462211"/>
                  <a:pt x="2598021" y="3459493"/>
                </a:cubicBezTo>
                <a:cubicBezTo>
                  <a:pt x="2611609" y="3454058"/>
                  <a:pt x="2630632" y="3445905"/>
                  <a:pt x="2646938" y="3445905"/>
                </a:cubicBezTo>
                <a:cubicBezTo>
                  <a:pt x="2649655" y="3445905"/>
                  <a:pt x="2649655" y="3443188"/>
                  <a:pt x="2646938" y="3443188"/>
                </a:cubicBezTo>
                <a:close/>
                <a:moveTo>
                  <a:pt x="1176718" y="3437752"/>
                </a:moveTo>
                <a:cubicBezTo>
                  <a:pt x="1174001" y="3443187"/>
                  <a:pt x="1176718" y="3459493"/>
                  <a:pt x="1182153" y="3464928"/>
                </a:cubicBezTo>
                <a:cubicBezTo>
                  <a:pt x="1184871" y="3464928"/>
                  <a:pt x="1187589" y="3467645"/>
                  <a:pt x="1190306" y="3467645"/>
                </a:cubicBezTo>
                <a:cubicBezTo>
                  <a:pt x="1198459" y="3475798"/>
                  <a:pt x="1212047" y="3505692"/>
                  <a:pt x="1203894" y="3519280"/>
                </a:cubicBezTo>
                <a:cubicBezTo>
                  <a:pt x="1203894" y="3519280"/>
                  <a:pt x="1203894" y="3521997"/>
                  <a:pt x="1203894" y="3521997"/>
                </a:cubicBezTo>
                <a:cubicBezTo>
                  <a:pt x="1198459" y="3524715"/>
                  <a:pt x="1184871" y="3524715"/>
                  <a:pt x="1179436" y="3521997"/>
                </a:cubicBezTo>
                <a:cubicBezTo>
                  <a:pt x="1179436" y="3519280"/>
                  <a:pt x="1176718" y="3519280"/>
                  <a:pt x="1176718" y="3516562"/>
                </a:cubicBezTo>
                <a:cubicBezTo>
                  <a:pt x="1171283" y="3513844"/>
                  <a:pt x="1163130" y="3516562"/>
                  <a:pt x="1157695" y="3513844"/>
                </a:cubicBezTo>
                <a:cubicBezTo>
                  <a:pt x="1141389" y="3513844"/>
                  <a:pt x="1144107" y="3500256"/>
                  <a:pt x="1133237" y="3494821"/>
                </a:cubicBezTo>
                <a:cubicBezTo>
                  <a:pt x="1133237" y="3492104"/>
                  <a:pt x="1133237" y="3492104"/>
                  <a:pt x="1133237" y="3492104"/>
                </a:cubicBezTo>
                <a:cubicBezTo>
                  <a:pt x="1133237" y="3489386"/>
                  <a:pt x="1133237" y="3486669"/>
                  <a:pt x="1133237" y="3483951"/>
                </a:cubicBezTo>
                <a:cubicBezTo>
                  <a:pt x="1127801" y="3483951"/>
                  <a:pt x="1125084" y="3481233"/>
                  <a:pt x="1119649" y="3481233"/>
                </a:cubicBezTo>
                <a:cubicBezTo>
                  <a:pt x="1116931" y="3481233"/>
                  <a:pt x="1119649" y="3481233"/>
                  <a:pt x="1116931" y="3481233"/>
                </a:cubicBezTo>
                <a:cubicBezTo>
                  <a:pt x="1116931" y="3483951"/>
                  <a:pt x="1116931" y="3483951"/>
                  <a:pt x="1116931" y="3486669"/>
                </a:cubicBezTo>
                <a:cubicBezTo>
                  <a:pt x="1122366" y="3500256"/>
                  <a:pt x="1138672" y="3505692"/>
                  <a:pt x="1141389" y="3524715"/>
                </a:cubicBezTo>
                <a:cubicBezTo>
                  <a:pt x="1149542" y="3527432"/>
                  <a:pt x="1160413" y="3521997"/>
                  <a:pt x="1168565" y="3527432"/>
                </a:cubicBezTo>
                <a:cubicBezTo>
                  <a:pt x="1168565" y="3530150"/>
                  <a:pt x="1171283" y="3530150"/>
                  <a:pt x="1171283" y="3532868"/>
                </a:cubicBezTo>
                <a:cubicBezTo>
                  <a:pt x="1176718" y="3532868"/>
                  <a:pt x="1182153" y="3535585"/>
                  <a:pt x="1187589" y="3535585"/>
                </a:cubicBezTo>
                <a:cubicBezTo>
                  <a:pt x="1190306" y="3535585"/>
                  <a:pt x="1193024" y="3538303"/>
                  <a:pt x="1193024" y="3538303"/>
                </a:cubicBezTo>
                <a:cubicBezTo>
                  <a:pt x="1198459" y="3538303"/>
                  <a:pt x="1201177" y="3535585"/>
                  <a:pt x="1209329" y="3538303"/>
                </a:cubicBezTo>
                <a:cubicBezTo>
                  <a:pt x="1212047" y="3538303"/>
                  <a:pt x="1220200" y="3543738"/>
                  <a:pt x="1220200" y="3546456"/>
                </a:cubicBezTo>
                <a:cubicBezTo>
                  <a:pt x="1220200" y="3546456"/>
                  <a:pt x="1220200" y="3549173"/>
                  <a:pt x="1220200" y="3549173"/>
                </a:cubicBezTo>
                <a:cubicBezTo>
                  <a:pt x="1220200" y="3551891"/>
                  <a:pt x="1225635" y="3549173"/>
                  <a:pt x="1225635" y="3551891"/>
                </a:cubicBezTo>
                <a:cubicBezTo>
                  <a:pt x="1229711" y="3557326"/>
                  <a:pt x="1232429" y="3564799"/>
                  <a:pt x="1234807" y="3572273"/>
                </a:cubicBezTo>
                <a:lnTo>
                  <a:pt x="1239855" y="3586698"/>
                </a:lnTo>
                <a:lnTo>
                  <a:pt x="1241474" y="3588537"/>
                </a:lnTo>
                <a:lnTo>
                  <a:pt x="1246313" y="3597320"/>
                </a:lnTo>
                <a:lnTo>
                  <a:pt x="1247036" y="3598090"/>
                </a:lnTo>
                <a:cubicBezTo>
                  <a:pt x="1248734" y="3600128"/>
                  <a:pt x="1250093" y="3602167"/>
                  <a:pt x="1250093" y="3603525"/>
                </a:cubicBezTo>
                <a:lnTo>
                  <a:pt x="1249980" y="3603975"/>
                </a:lnTo>
                <a:lnTo>
                  <a:pt x="1251792" y="3607263"/>
                </a:lnTo>
                <a:cubicBezTo>
                  <a:pt x="1258926" y="3619152"/>
                  <a:pt x="1267758" y="3627984"/>
                  <a:pt x="1285422" y="3622549"/>
                </a:cubicBezTo>
                <a:cubicBezTo>
                  <a:pt x="1288140" y="3607602"/>
                  <a:pt x="1282705" y="3591297"/>
                  <a:pt x="1273533" y="3578388"/>
                </a:cubicBezTo>
                <a:lnTo>
                  <a:pt x="1258301" y="3562954"/>
                </a:lnTo>
                <a:lnTo>
                  <a:pt x="1259605" y="3567517"/>
                </a:lnTo>
                <a:cubicBezTo>
                  <a:pt x="1259605" y="3568196"/>
                  <a:pt x="1259605" y="3568196"/>
                  <a:pt x="1260964" y="3568196"/>
                </a:cubicBezTo>
                <a:cubicBezTo>
                  <a:pt x="1255528" y="3570914"/>
                  <a:pt x="1250093" y="3573632"/>
                  <a:pt x="1247376" y="3579067"/>
                </a:cubicBezTo>
                <a:cubicBezTo>
                  <a:pt x="1244658" y="3579067"/>
                  <a:pt x="1244658" y="3576349"/>
                  <a:pt x="1244658" y="3576349"/>
                </a:cubicBezTo>
                <a:cubicBezTo>
                  <a:pt x="1247376" y="3576349"/>
                  <a:pt x="1247376" y="3568196"/>
                  <a:pt x="1244658" y="3565479"/>
                </a:cubicBezTo>
                <a:cubicBezTo>
                  <a:pt x="1236505" y="3549173"/>
                  <a:pt x="1214764" y="3538303"/>
                  <a:pt x="1217482" y="3513844"/>
                </a:cubicBezTo>
                <a:cubicBezTo>
                  <a:pt x="1233788" y="3513844"/>
                  <a:pt x="1236505" y="3502974"/>
                  <a:pt x="1244658" y="3494821"/>
                </a:cubicBezTo>
                <a:cubicBezTo>
                  <a:pt x="1244658" y="3489386"/>
                  <a:pt x="1244658" y="3486669"/>
                  <a:pt x="1241940" y="3483951"/>
                </a:cubicBezTo>
                <a:cubicBezTo>
                  <a:pt x="1233788" y="3483951"/>
                  <a:pt x="1233788" y="3492104"/>
                  <a:pt x="1231070" y="3497539"/>
                </a:cubicBezTo>
                <a:cubicBezTo>
                  <a:pt x="1225635" y="3500256"/>
                  <a:pt x="1222917" y="3500256"/>
                  <a:pt x="1214764" y="3500256"/>
                </a:cubicBezTo>
                <a:cubicBezTo>
                  <a:pt x="1214764" y="3489386"/>
                  <a:pt x="1214764" y="3481233"/>
                  <a:pt x="1206612" y="3475798"/>
                </a:cubicBezTo>
                <a:cubicBezTo>
                  <a:pt x="1209329" y="3464928"/>
                  <a:pt x="1220200" y="3456775"/>
                  <a:pt x="1212047" y="3443187"/>
                </a:cubicBezTo>
                <a:cubicBezTo>
                  <a:pt x="1206612" y="3443187"/>
                  <a:pt x="1206612" y="3443187"/>
                  <a:pt x="1203894" y="3445905"/>
                </a:cubicBezTo>
                <a:cubicBezTo>
                  <a:pt x="1203894" y="3448622"/>
                  <a:pt x="1201177" y="3448622"/>
                  <a:pt x="1203894" y="3451340"/>
                </a:cubicBezTo>
                <a:cubicBezTo>
                  <a:pt x="1203894" y="3459493"/>
                  <a:pt x="1203894" y="3459493"/>
                  <a:pt x="1201177" y="3464928"/>
                </a:cubicBezTo>
                <a:cubicBezTo>
                  <a:pt x="1195741" y="3464928"/>
                  <a:pt x="1190306" y="3459493"/>
                  <a:pt x="1187589" y="3456775"/>
                </a:cubicBezTo>
                <a:cubicBezTo>
                  <a:pt x="1184871" y="3454057"/>
                  <a:pt x="1182153" y="3445905"/>
                  <a:pt x="1182153" y="3437752"/>
                </a:cubicBezTo>
                <a:cubicBezTo>
                  <a:pt x="1179436" y="3437752"/>
                  <a:pt x="1179436" y="3437752"/>
                  <a:pt x="1176718" y="3437752"/>
                </a:cubicBezTo>
                <a:close/>
                <a:moveTo>
                  <a:pt x="3589485" y="3433341"/>
                </a:moveTo>
                <a:lnTo>
                  <a:pt x="3591828" y="3433894"/>
                </a:lnTo>
                <a:lnTo>
                  <a:pt x="3589729" y="3437879"/>
                </a:lnTo>
                <a:cubicBezTo>
                  <a:pt x="3591131" y="3441319"/>
                  <a:pt x="3602852" y="3439790"/>
                  <a:pt x="3600813" y="3445905"/>
                </a:cubicBezTo>
                <a:lnTo>
                  <a:pt x="3594674" y="3445537"/>
                </a:lnTo>
                <a:lnTo>
                  <a:pt x="3581883" y="3435846"/>
                </a:lnTo>
                <a:lnTo>
                  <a:pt x="3582129" y="3435714"/>
                </a:lnTo>
                <a:close/>
                <a:moveTo>
                  <a:pt x="3577878" y="3432812"/>
                </a:moveTo>
                <a:lnTo>
                  <a:pt x="3581883" y="3435846"/>
                </a:lnTo>
                <a:lnTo>
                  <a:pt x="3578520" y="3437667"/>
                </a:lnTo>
                <a:cubicBezTo>
                  <a:pt x="3577204" y="3437752"/>
                  <a:pt x="3575675" y="3437072"/>
                  <a:pt x="3573637" y="3435034"/>
                </a:cubicBezTo>
                <a:close/>
                <a:moveTo>
                  <a:pt x="4022041" y="3432318"/>
                </a:moveTo>
                <a:cubicBezTo>
                  <a:pt x="4030194" y="3437753"/>
                  <a:pt x="4030194" y="3448623"/>
                  <a:pt x="4041064" y="3451341"/>
                </a:cubicBezTo>
                <a:cubicBezTo>
                  <a:pt x="4030194" y="3459494"/>
                  <a:pt x="4003017" y="3459494"/>
                  <a:pt x="3986711" y="3454058"/>
                </a:cubicBezTo>
                <a:cubicBezTo>
                  <a:pt x="3986711" y="3448623"/>
                  <a:pt x="3994864" y="3440470"/>
                  <a:pt x="3981276" y="3443188"/>
                </a:cubicBezTo>
                <a:cubicBezTo>
                  <a:pt x="3986711" y="3421446"/>
                  <a:pt x="4019323" y="3454058"/>
                  <a:pt x="4022041" y="3432318"/>
                </a:cubicBezTo>
                <a:close/>
                <a:moveTo>
                  <a:pt x="3573637" y="3429599"/>
                </a:moveTo>
                <a:lnTo>
                  <a:pt x="3580789" y="3431288"/>
                </a:lnTo>
                <a:lnTo>
                  <a:pt x="3577878" y="3432812"/>
                </a:lnTo>
                <a:close/>
                <a:moveTo>
                  <a:pt x="4706874" y="3402423"/>
                </a:moveTo>
                <a:lnTo>
                  <a:pt x="4698721" y="3432317"/>
                </a:lnTo>
                <a:lnTo>
                  <a:pt x="4728615" y="3426882"/>
                </a:lnTo>
                <a:lnTo>
                  <a:pt x="4744921" y="3440469"/>
                </a:lnTo>
                <a:lnTo>
                  <a:pt x="4755791" y="3432317"/>
                </a:lnTo>
                <a:lnTo>
                  <a:pt x="4739485" y="3410576"/>
                </a:lnTo>
                <a:close/>
                <a:moveTo>
                  <a:pt x="4541101" y="3402423"/>
                </a:moveTo>
                <a:lnTo>
                  <a:pt x="4541101" y="3424164"/>
                </a:lnTo>
                <a:lnTo>
                  <a:pt x="4557407" y="3416011"/>
                </a:lnTo>
                <a:close/>
                <a:moveTo>
                  <a:pt x="1443043" y="3396988"/>
                </a:moveTo>
                <a:cubicBezTo>
                  <a:pt x="1453913" y="3402423"/>
                  <a:pt x="1459348" y="3410577"/>
                  <a:pt x="1467501" y="3413294"/>
                </a:cubicBezTo>
                <a:cubicBezTo>
                  <a:pt x="1464784" y="3424165"/>
                  <a:pt x="1467501" y="3432317"/>
                  <a:pt x="1467501" y="3440470"/>
                </a:cubicBezTo>
                <a:cubicBezTo>
                  <a:pt x="1472936" y="3440470"/>
                  <a:pt x="1481089" y="3437753"/>
                  <a:pt x="1486524" y="3440470"/>
                </a:cubicBezTo>
                <a:cubicBezTo>
                  <a:pt x="1491959" y="3443188"/>
                  <a:pt x="1508265" y="3448623"/>
                  <a:pt x="1513700" y="3451341"/>
                </a:cubicBezTo>
                <a:cubicBezTo>
                  <a:pt x="1519135" y="3456776"/>
                  <a:pt x="1510983" y="3473081"/>
                  <a:pt x="1508265" y="3478517"/>
                </a:cubicBezTo>
                <a:cubicBezTo>
                  <a:pt x="1502830" y="3475799"/>
                  <a:pt x="1472936" y="3464929"/>
                  <a:pt x="1470219" y="3462211"/>
                </a:cubicBezTo>
                <a:cubicBezTo>
                  <a:pt x="1470219" y="3459493"/>
                  <a:pt x="1464784" y="3451341"/>
                  <a:pt x="1462066" y="3448623"/>
                </a:cubicBezTo>
                <a:cubicBezTo>
                  <a:pt x="1456631" y="3445905"/>
                  <a:pt x="1451196" y="3448623"/>
                  <a:pt x="1448478" y="3445905"/>
                </a:cubicBezTo>
                <a:cubicBezTo>
                  <a:pt x="1445760" y="3445905"/>
                  <a:pt x="1443043" y="3443188"/>
                  <a:pt x="1440325" y="3440470"/>
                </a:cubicBezTo>
                <a:cubicBezTo>
                  <a:pt x="1440325" y="3424165"/>
                  <a:pt x="1437608" y="3410577"/>
                  <a:pt x="1443043" y="3396988"/>
                </a:cubicBezTo>
                <a:close/>
                <a:moveTo>
                  <a:pt x="1720237" y="3391553"/>
                </a:moveTo>
                <a:cubicBezTo>
                  <a:pt x="1736543" y="3399705"/>
                  <a:pt x="1725672" y="3413294"/>
                  <a:pt x="1733825" y="3426882"/>
                </a:cubicBezTo>
                <a:cubicBezTo>
                  <a:pt x="1733825" y="3432318"/>
                  <a:pt x="1733825" y="3435035"/>
                  <a:pt x="1733825" y="3440470"/>
                </a:cubicBezTo>
                <a:cubicBezTo>
                  <a:pt x="1736543" y="3440470"/>
                  <a:pt x="1744695" y="3445906"/>
                  <a:pt x="1747413" y="3448623"/>
                </a:cubicBezTo>
                <a:cubicBezTo>
                  <a:pt x="1752849" y="3454058"/>
                  <a:pt x="1752849" y="3459494"/>
                  <a:pt x="1758284" y="3462211"/>
                </a:cubicBezTo>
                <a:cubicBezTo>
                  <a:pt x="1744695" y="3473082"/>
                  <a:pt x="1725672" y="3464929"/>
                  <a:pt x="1706649" y="3470364"/>
                </a:cubicBezTo>
                <a:cubicBezTo>
                  <a:pt x="1701214" y="3473082"/>
                  <a:pt x="1693061" y="3475799"/>
                  <a:pt x="1690343" y="3475799"/>
                </a:cubicBezTo>
                <a:cubicBezTo>
                  <a:pt x="1682191" y="3475799"/>
                  <a:pt x="1676755" y="3470364"/>
                  <a:pt x="1668603" y="3467646"/>
                </a:cubicBezTo>
                <a:cubicBezTo>
                  <a:pt x="1668603" y="3440470"/>
                  <a:pt x="1690343" y="3429600"/>
                  <a:pt x="1703931" y="3413294"/>
                </a:cubicBezTo>
                <a:cubicBezTo>
                  <a:pt x="1709367" y="3407859"/>
                  <a:pt x="1712084" y="3396988"/>
                  <a:pt x="1720237" y="3391553"/>
                </a:cubicBezTo>
                <a:close/>
                <a:moveTo>
                  <a:pt x="426662" y="3388835"/>
                </a:moveTo>
                <a:cubicBezTo>
                  <a:pt x="434815" y="3410576"/>
                  <a:pt x="429380" y="3424164"/>
                  <a:pt x="404921" y="3426882"/>
                </a:cubicBezTo>
                <a:cubicBezTo>
                  <a:pt x="404921" y="3451340"/>
                  <a:pt x="421227" y="3454057"/>
                  <a:pt x="423944" y="3473081"/>
                </a:cubicBezTo>
                <a:cubicBezTo>
                  <a:pt x="413074" y="3481233"/>
                  <a:pt x="413074" y="3497539"/>
                  <a:pt x="394051" y="3497539"/>
                </a:cubicBezTo>
                <a:cubicBezTo>
                  <a:pt x="377745" y="3467645"/>
                  <a:pt x="388616" y="3421446"/>
                  <a:pt x="358722" y="3410576"/>
                </a:cubicBezTo>
                <a:cubicBezTo>
                  <a:pt x="358722" y="3416011"/>
                  <a:pt x="366875" y="3429599"/>
                  <a:pt x="358722" y="3432317"/>
                </a:cubicBezTo>
                <a:cubicBezTo>
                  <a:pt x="347852" y="3432317"/>
                  <a:pt x="331546" y="3426882"/>
                  <a:pt x="323393" y="3437752"/>
                </a:cubicBezTo>
                <a:cubicBezTo>
                  <a:pt x="323393" y="3440469"/>
                  <a:pt x="326111" y="3445905"/>
                  <a:pt x="326111" y="3451340"/>
                </a:cubicBezTo>
                <a:cubicBezTo>
                  <a:pt x="356005" y="3462210"/>
                  <a:pt x="372310" y="3494821"/>
                  <a:pt x="380463" y="3535585"/>
                </a:cubicBezTo>
                <a:cubicBezTo>
                  <a:pt x="361440" y="3530150"/>
                  <a:pt x="345134" y="3494821"/>
                  <a:pt x="320676" y="3513844"/>
                </a:cubicBezTo>
                <a:cubicBezTo>
                  <a:pt x="317958" y="3538303"/>
                  <a:pt x="342417" y="3527432"/>
                  <a:pt x="356005" y="3532868"/>
                </a:cubicBezTo>
                <a:cubicBezTo>
                  <a:pt x="358722" y="3549173"/>
                  <a:pt x="345134" y="3551891"/>
                  <a:pt x="350569" y="3568196"/>
                </a:cubicBezTo>
                <a:cubicBezTo>
                  <a:pt x="385898" y="3581784"/>
                  <a:pt x="377745" y="3524715"/>
                  <a:pt x="407639" y="3535585"/>
                </a:cubicBezTo>
                <a:cubicBezTo>
                  <a:pt x="413074" y="3576349"/>
                  <a:pt x="358722" y="3576349"/>
                  <a:pt x="364157" y="3617113"/>
                </a:cubicBezTo>
                <a:cubicBezTo>
                  <a:pt x="377745" y="3617113"/>
                  <a:pt x="377745" y="3608960"/>
                  <a:pt x="391333" y="3608960"/>
                </a:cubicBezTo>
                <a:cubicBezTo>
                  <a:pt x="391333" y="3617113"/>
                  <a:pt x="402204" y="3633419"/>
                  <a:pt x="394051" y="3638854"/>
                </a:cubicBezTo>
                <a:cubicBezTo>
                  <a:pt x="380463" y="3636136"/>
                  <a:pt x="375028" y="3622548"/>
                  <a:pt x="353287" y="3630701"/>
                </a:cubicBezTo>
                <a:cubicBezTo>
                  <a:pt x="353287" y="3641572"/>
                  <a:pt x="342417" y="3644289"/>
                  <a:pt x="350569" y="3657877"/>
                </a:cubicBezTo>
                <a:cubicBezTo>
                  <a:pt x="366875" y="3652442"/>
                  <a:pt x="396769" y="3636136"/>
                  <a:pt x="410357" y="3649724"/>
                </a:cubicBezTo>
                <a:cubicBezTo>
                  <a:pt x="429380" y="3698641"/>
                  <a:pt x="383181" y="3709511"/>
                  <a:pt x="402204" y="3742122"/>
                </a:cubicBezTo>
                <a:cubicBezTo>
                  <a:pt x="399486" y="3747558"/>
                  <a:pt x="385898" y="3747558"/>
                  <a:pt x="377745" y="3750275"/>
                </a:cubicBezTo>
                <a:cubicBezTo>
                  <a:pt x="383181" y="3774733"/>
                  <a:pt x="396769" y="3791039"/>
                  <a:pt x="410357" y="3804627"/>
                </a:cubicBezTo>
                <a:cubicBezTo>
                  <a:pt x="426662" y="3791039"/>
                  <a:pt x="451120" y="3791039"/>
                  <a:pt x="467426" y="3801909"/>
                </a:cubicBezTo>
                <a:cubicBezTo>
                  <a:pt x="467426" y="3812780"/>
                  <a:pt x="472861" y="3818215"/>
                  <a:pt x="475579" y="3826368"/>
                </a:cubicBezTo>
                <a:cubicBezTo>
                  <a:pt x="486449" y="3826368"/>
                  <a:pt x="494602" y="3829085"/>
                  <a:pt x="502755" y="3831803"/>
                </a:cubicBezTo>
                <a:cubicBezTo>
                  <a:pt x="510907" y="3848108"/>
                  <a:pt x="494602" y="3864414"/>
                  <a:pt x="505472" y="3872567"/>
                </a:cubicBezTo>
                <a:cubicBezTo>
                  <a:pt x="510907" y="3848108"/>
                  <a:pt x="543519" y="3845391"/>
                  <a:pt x="557107" y="3829085"/>
                </a:cubicBezTo>
                <a:cubicBezTo>
                  <a:pt x="540801" y="3826368"/>
                  <a:pt x="529931" y="3818215"/>
                  <a:pt x="510907" y="3818215"/>
                </a:cubicBezTo>
                <a:cubicBezTo>
                  <a:pt x="489167" y="3804627"/>
                  <a:pt x="491884" y="3747558"/>
                  <a:pt x="467426" y="3733970"/>
                </a:cubicBezTo>
                <a:cubicBezTo>
                  <a:pt x="486449" y="3728534"/>
                  <a:pt x="513625" y="3731252"/>
                  <a:pt x="524495" y="3720382"/>
                </a:cubicBezTo>
                <a:cubicBezTo>
                  <a:pt x="519060" y="3666030"/>
                  <a:pt x="475579" y="3668748"/>
                  <a:pt x="464708" y="3625266"/>
                </a:cubicBezTo>
                <a:cubicBezTo>
                  <a:pt x="456556" y="3627984"/>
                  <a:pt x="445685" y="3627984"/>
                  <a:pt x="437532" y="3630701"/>
                </a:cubicBezTo>
                <a:cubicBezTo>
                  <a:pt x="440250" y="3592655"/>
                  <a:pt x="396769" y="3619831"/>
                  <a:pt x="399486" y="3584502"/>
                </a:cubicBezTo>
                <a:cubicBezTo>
                  <a:pt x="423944" y="3589937"/>
                  <a:pt x="413074" y="3546456"/>
                  <a:pt x="445685" y="3549173"/>
                </a:cubicBezTo>
                <a:cubicBezTo>
                  <a:pt x="442968" y="3565479"/>
                  <a:pt x="437532" y="3576349"/>
                  <a:pt x="432097" y="3589937"/>
                </a:cubicBezTo>
                <a:cubicBezTo>
                  <a:pt x="475579" y="3579067"/>
                  <a:pt x="429380" y="3502974"/>
                  <a:pt x="464708" y="3486669"/>
                </a:cubicBezTo>
                <a:cubicBezTo>
                  <a:pt x="459273" y="3464928"/>
                  <a:pt x="464708" y="3448622"/>
                  <a:pt x="461991" y="3429599"/>
                </a:cubicBezTo>
                <a:cubicBezTo>
                  <a:pt x="418509" y="3437752"/>
                  <a:pt x="448403" y="3394270"/>
                  <a:pt x="426662" y="3388835"/>
                </a:cubicBezTo>
                <a:close/>
                <a:moveTo>
                  <a:pt x="622329" y="3377965"/>
                </a:moveTo>
                <a:cubicBezTo>
                  <a:pt x="608741" y="3380683"/>
                  <a:pt x="592435" y="3383400"/>
                  <a:pt x="581565" y="3388835"/>
                </a:cubicBezTo>
                <a:cubicBezTo>
                  <a:pt x="581565" y="3394270"/>
                  <a:pt x="578847" y="3402423"/>
                  <a:pt x="578847" y="3410576"/>
                </a:cubicBezTo>
                <a:cubicBezTo>
                  <a:pt x="616894" y="3399706"/>
                  <a:pt x="608741" y="3459493"/>
                  <a:pt x="614176" y="3486669"/>
                </a:cubicBezTo>
                <a:cubicBezTo>
                  <a:pt x="627764" y="3483951"/>
                  <a:pt x="614176" y="3462210"/>
                  <a:pt x="619611" y="3456775"/>
                </a:cubicBezTo>
                <a:cubicBezTo>
                  <a:pt x="633199" y="3454057"/>
                  <a:pt x="633199" y="3443187"/>
                  <a:pt x="644070" y="3437752"/>
                </a:cubicBezTo>
                <a:cubicBezTo>
                  <a:pt x="644070" y="3405141"/>
                  <a:pt x="622329" y="3407858"/>
                  <a:pt x="622329" y="3377965"/>
                </a:cubicBezTo>
                <a:close/>
                <a:moveTo>
                  <a:pt x="1641428" y="3375248"/>
                </a:moveTo>
                <a:cubicBezTo>
                  <a:pt x="1644145" y="3375248"/>
                  <a:pt x="1649581" y="3375248"/>
                  <a:pt x="1655016" y="3375248"/>
                </a:cubicBezTo>
                <a:cubicBezTo>
                  <a:pt x="1663168" y="3386118"/>
                  <a:pt x="1655016" y="3399707"/>
                  <a:pt x="1652298" y="3413295"/>
                </a:cubicBezTo>
                <a:cubicBezTo>
                  <a:pt x="1657733" y="3429601"/>
                  <a:pt x="1655016" y="3454059"/>
                  <a:pt x="1641428" y="3467647"/>
                </a:cubicBezTo>
                <a:cubicBezTo>
                  <a:pt x="1633274" y="3473082"/>
                  <a:pt x="1622404" y="3464929"/>
                  <a:pt x="1614251" y="3462212"/>
                </a:cubicBezTo>
                <a:cubicBezTo>
                  <a:pt x="1608816" y="3462212"/>
                  <a:pt x="1600663" y="3462212"/>
                  <a:pt x="1595228" y="3462212"/>
                </a:cubicBezTo>
                <a:cubicBezTo>
                  <a:pt x="1589792" y="3459494"/>
                  <a:pt x="1584357" y="3456777"/>
                  <a:pt x="1581640" y="3456777"/>
                </a:cubicBezTo>
                <a:cubicBezTo>
                  <a:pt x="1573487" y="3454059"/>
                  <a:pt x="1565334" y="3459494"/>
                  <a:pt x="1559899" y="3459494"/>
                </a:cubicBezTo>
                <a:cubicBezTo>
                  <a:pt x="1559899" y="3459494"/>
                  <a:pt x="1557181" y="3456777"/>
                  <a:pt x="1557181" y="3456777"/>
                </a:cubicBezTo>
                <a:cubicBezTo>
                  <a:pt x="1551746" y="3456777"/>
                  <a:pt x="1546311" y="3454059"/>
                  <a:pt x="1540876" y="3454059"/>
                </a:cubicBezTo>
                <a:cubicBezTo>
                  <a:pt x="1538158" y="3451341"/>
                  <a:pt x="1535441" y="3448624"/>
                  <a:pt x="1532723" y="3445906"/>
                </a:cubicBezTo>
                <a:cubicBezTo>
                  <a:pt x="1530005" y="3440471"/>
                  <a:pt x="1530005" y="3426883"/>
                  <a:pt x="1532723" y="3424165"/>
                </a:cubicBezTo>
                <a:cubicBezTo>
                  <a:pt x="1535441" y="3413295"/>
                  <a:pt x="1549029" y="3399707"/>
                  <a:pt x="1559899" y="3396989"/>
                </a:cubicBezTo>
                <a:cubicBezTo>
                  <a:pt x="1565334" y="3396989"/>
                  <a:pt x="1578922" y="3396989"/>
                  <a:pt x="1587075" y="3394272"/>
                </a:cubicBezTo>
                <a:cubicBezTo>
                  <a:pt x="1587075" y="3394272"/>
                  <a:pt x="1587075" y="3391554"/>
                  <a:pt x="1587075" y="3391554"/>
                </a:cubicBezTo>
                <a:cubicBezTo>
                  <a:pt x="1587075" y="3391554"/>
                  <a:pt x="1597945" y="3388837"/>
                  <a:pt x="1597945" y="3388837"/>
                </a:cubicBezTo>
                <a:cubicBezTo>
                  <a:pt x="1608816" y="3388837"/>
                  <a:pt x="1616968" y="3388837"/>
                  <a:pt x="1625121" y="3388837"/>
                </a:cubicBezTo>
                <a:cubicBezTo>
                  <a:pt x="1630556" y="3386118"/>
                  <a:pt x="1635993" y="3377965"/>
                  <a:pt x="1641428" y="3375248"/>
                </a:cubicBezTo>
                <a:close/>
                <a:moveTo>
                  <a:pt x="4622629" y="3372530"/>
                </a:moveTo>
                <a:cubicBezTo>
                  <a:pt x="4579147" y="3375247"/>
                  <a:pt x="4603605" y="3377965"/>
                  <a:pt x="4592735" y="3402423"/>
                </a:cubicBezTo>
                <a:lnTo>
                  <a:pt x="4625345" y="3402423"/>
                </a:lnTo>
                <a:cubicBezTo>
                  <a:pt x="4625345" y="3402423"/>
                  <a:pt x="4617193" y="3386118"/>
                  <a:pt x="4617193" y="3386118"/>
                </a:cubicBezTo>
                <a:cubicBezTo>
                  <a:pt x="4617193" y="3369812"/>
                  <a:pt x="4614475" y="3388835"/>
                  <a:pt x="4622629" y="3372530"/>
                </a:cubicBezTo>
                <a:close/>
                <a:moveTo>
                  <a:pt x="4576429" y="3369812"/>
                </a:moveTo>
                <a:lnTo>
                  <a:pt x="4562841" y="3386118"/>
                </a:lnTo>
                <a:lnTo>
                  <a:pt x="4587299" y="3386118"/>
                </a:lnTo>
                <a:close/>
                <a:moveTo>
                  <a:pt x="866912" y="3358942"/>
                </a:moveTo>
                <a:cubicBezTo>
                  <a:pt x="875065" y="3388835"/>
                  <a:pt x="834301" y="3380683"/>
                  <a:pt x="834301" y="3402423"/>
                </a:cubicBezTo>
                <a:cubicBezTo>
                  <a:pt x="858760" y="3386118"/>
                  <a:pt x="866912" y="3418729"/>
                  <a:pt x="888653" y="3418729"/>
                </a:cubicBezTo>
                <a:cubicBezTo>
                  <a:pt x="896806" y="3402423"/>
                  <a:pt x="891371" y="3353507"/>
                  <a:pt x="866912" y="3358942"/>
                </a:cubicBezTo>
                <a:close/>
                <a:moveTo>
                  <a:pt x="1690344" y="3353507"/>
                </a:moveTo>
                <a:cubicBezTo>
                  <a:pt x="1693061" y="3353507"/>
                  <a:pt x="1693061" y="3353507"/>
                  <a:pt x="1693061" y="3353507"/>
                </a:cubicBezTo>
                <a:cubicBezTo>
                  <a:pt x="1701214" y="3356224"/>
                  <a:pt x="1709367" y="3375249"/>
                  <a:pt x="1714802" y="3380684"/>
                </a:cubicBezTo>
                <a:cubicBezTo>
                  <a:pt x="1709367" y="3399707"/>
                  <a:pt x="1690344" y="3410577"/>
                  <a:pt x="1676756" y="3424165"/>
                </a:cubicBezTo>
                <a:cubicBezTo>
                  <a:pt x="1665885" y="3410577"/>
                  <a:pt x="1676756" y="3377966"/>
                  <a:pt x="1674038" y="3369812"/>
                </a:cubicBezTo>
                <a:cubicBezTo>
                  <a:pt x="1679473" y="3364377"/>
                  <a:pt x="1684908" y="3358942"/>
                  <a:pt x="1690344" y="3353507"/>
                </a:cubicBezTo>
                <a:close/>
                <a:moveTo>
                  <a:pt x="4617193" y="3348071"/>
                </a:moveTo>
                <a:lnTo>
                  <a:pt x="4617193" y="3364377"/>
                </a:lnTo>
                <a:lnTo>
                  <a:pt x="4633499" y="3364377"/>
                </a:lnTo>
                <a:lnTo>
                  <a:pt x="4633499" y="3348071"/>
                </a:lnTo>
                <a:close/>
                <a:moveTo>
                  <a:pt x="1486524" y="3337201"/>
                </a:moveTo>
                <a:cubicBezTo>
                  <a:pt x="1500112" y="3345353"/>
                  <a:pt x="1505547" y="3383401"/>
                  <a:pt x="1516419" y="3388836"/>
                </a:cubicBezTo>
                <a:cubicBezTo>
                  <a:pt x="1516419" y="3402424"/>
                  <a:pt x="1516419" y="3413294"/>
                  <a:pt x="1513701" y="3429600"/>
                </a:cubicBezTo>
                <a:cubicBezTo>
                  <a:pt x="1500112" y="3429600"/>
                  <a:pt x="1494677" y="3424165"/>
                  <a:pt x="1481089" y="3421447"/>
                </a:cubicBezTo>
                <a:cubicBezTo>
                  <a:pt x="1478372" y="3413294"/>
                  <a:pt x="1475654" y="3410577"/>
                  <a:pt x="1475654" y="3402424"/>
                </a:cubicBezTo>
                <a:cubicBezTo>
                  <a:pt x="1467501" y="3399706"/>
                  <a:pt x="1470219" y="3396989"/>
                  <a:pt x="1464784" y="3394271"/>
                </a:cubicBezTo>
                <a:cubicBezTo>
                  <a:pt x="1464784" y="3394271"/>
                  <a:pt x="1462066" y="3394271"/>
                  <a:pt x="1459348" y="3394271"/>
                </a:cubicBezTo>
                <a:cubicBezTo>
                  <a:pt x="1459348" y="3394271"/>
                  <a:pt x="1456631" y="3391554"/>
                  <a:pt x="1456631" y="3388836"/>
                </a:cubicBezTo>
                <a:cubicBezTo>
                  <a:pt x="1453913" y="3388836"/>
                  <a:pt x="1451196" y="3388836"/>
                  <a:pt x="1448478" y="3388836"/>
                </a:cubicBezTo>
                <a:cubicBezTo>
                  <a:pt x="1445760" y="3386118"/>
                  <a:pt x="1445760" y="3383401"/>
                  <a:pt x="1443043" y="3380683"/>
                </a:cubicBezTo>
                <a:cubicBezTo>
                  <a:pt x="1443043" y="3375248"/>
                  <a:pt x="1443043" y="3369812"/>
                  <a:pt x="1445760" y="3367094"/>
                </a:cubicBezTo>
                <a:cubicBezTo>
                  <a:pt x="1448478" y="3364377"/>
                  <a:pt x="1453913" y="3364377"/>
                  <a:pt x="1456631" y="3361659"/>
                </a:cubicBezTo>
                <a:cubicBezTo>
                  <a:pt x="1462066" y="3358941"/>
                  <a:pt x="1464784" y="3348071"/>
                  <a:pt x="1470219" y="3345353"/>
                </a:cubicBezTo>
                <a:cubicBezTo>
                  <a:pt x="1478372" y="3339918"/>
                  <a:pt x="1481089" y="3342636"/>
                  <a:pt x="1486524" y="3337201"/>
                </a:cubicBezTo>
                <a:close/>
                <a:moveTo>
                  <a:pt x="4530231" y="3329048"/>
                </a:moveTo>
                <a:lnTo>
                  <a:pt x="4513925" y="3331766"/>
                </a:lnTo>
                <a:lnTo>
                  <a:pt x="4530231" y="3348071"/>
                </a:lnTo>
                <a:close/>
                <a:moveTo>
                  <a:pt x="4609041" y="3323613"/>
                </a:moveTo>
                <a:lnTo>
                  <a:pt x="4592735" y="3339919"/>
                </a:lnTo>
                <a:lnTo>
                  <a:pt x="4609041" y="3348071"/>
                </a:lnTo>
                <a:lnTo>
                  <a:pt x="4617193" y="3334484"/>
                </a:lnTo>
                <a:close/>
                <a:moveTo>
                  <a:pt x="2386049" y="3320896"/>
                </a:moveTo>
                <a:cubicBezTo>
                  <a:pt x="2391484" y="3320896"/>
                  <a:pt x="2399637" y="3320896"/>
                  <a:pt x="2402354" y="3323613"/>
                </a:cubicBezTo>
                <a:cubicBezTo>
                  <a:pt x="2402354" y="3323613"/>
                  <a:pt x="2402354" y="3326331"/>
                  <a:pt x="2402354" y="3326331"/>
                </a:cubicBezTo>
                <a:cubicBezTo>
                  <a:pt x="2426813" y="3331766"/>
                  <a:pt x="2429530" y="3353507"/>
                  <a:pt x="2426813" y="3372531"/>
                </a:cubicBezTo>
                <a:cubicBezTo>
                  <a:pt x="2426813" y="3377966"/>
                  <a:pt x="2426813" y="3380684"/>
                  <a:pt x="2424095" y="3386119"/>
                </a:cubicBezTo>
                <a:cubicBezTo>
                  <a:pt x="2424095" y="3386119"/>
                  <a:pt x="2424095" y="3388837"/>
                  <a:pt x="2424095" y="3388837"/>
                </a:cubicBezTo>
                <a:cubicBezTo>
                  <a:pt x="2415942" y="3383401"/>
                  <a:pt x="2415942" y="3369813"/>
                  <a:pt x="2410507" y="3358942"/>
                </a:cubicBezTo>
                <a:cubicBezTo>
                  <a:pt x="2405072" y="3348072"/>
                  <a:pt x="2399637" y="3342636"/>
                  <a:pt x="2388766" y="3334484"/>
                </a:cubicBezTo>
                <a:cubicBezTo>
                  <a:pt x="2386049" y="3331766"/>
                  <a:pt x="2388766" y="3326331"/>
                  <a:pt x="2386049" y="3320896"/>
                </a:cubicBezTo>
                <a:close/>
                <a:moveTo>
                  <a:pt x="4693286" y="3310025"/>
                </a:moveTo>
                <a:cubicBezTo>
                  <a:pt x="4679697" y="3342636"/>
                  <a:pt x="4698721" y="3307308"/>
                  <a:pt x="4682415" y="3339919"/>
                </a:cubicBezTo>
                <a:lnTo>
                  <a:pt x="4698721" y="3339919"/>
                </a:lnTo>
                <a:cubicBezTo>
                  <a:pt x="4690569" y="3369812"/>
                  <a:pt x="4696004" y="3361659"/>
                  <a:pt x="4666109" y="3364377"/>
                </a:cubicBezTo>
                <a:lnTo>
                  <a:pt x="4674263" y="3377965"/>
                </a:lnTo>
                <a:lnTo>
                  <a:pt x="4660675" y="3394270"/>
                </a:lnTo>
                <a:cubicBezTo>
                  <a:pt x="4641651" y="3386118"/>
                  <a:pt x="4652521" y="3383400"/>
                  <a:pt x="4638933" y="3402423"/>
                </a:cubicBezTo>
                <a:cubicBezTo>
                  <a:pt x="4674263" y="3405141"/>
                  <a:pt x="4655239" y="3402423"/>
                  <a:pt x="4676981" y="3416011"/>
                </a:cubicBezTo>
                <a:lnTo>
                  <a:pt x="4693286" y="3402423"/>
                </a:lnTo>
                <a:lnTo>
                  <a:pt x="4690569" y="3369812"/>
                </a:lnTo>
                <a:lnTo>
                  <a:pt x="4696004" y="3386118"/>
                </a:lnTo>
                <a:cubicBezTo>
                  <a:pt x="4723180" y="3380683"/>
                  <a:pt x="4715027" y="3386118"/>
                  <a:pt x="4717745" y="3356224"/>
                </a:cubicBezTo>
                <a:lnTo>
                  <a:pt x="4742203" y="3353507"/>
                </a:lnTo>
                <a:close/>
                <a:moveTo>
                  <a:pt x="4628063" y="3310025"/>
                </a:moveTo>
                <a:lnTo>
                  <a:pt x="4652521" y="3331766"/>
                </a:lnTo>
                <a:lnTo>
                  <a:pt x="4655239" y="3356224"/>
                </a:lnTo>
                <a:lnTo>
                  <a:pt x="4676981" y="3331766"/>
                </a:lnTo>
                <a:lnTo>
                  <a:pt x="4655239" y="3331766"/>
                </a:lnTo>
                <a:lnTo>
                  <a:pt x="4663393" y="3315460"/>
                </a:lnTo>
                <a:close/>
                <a:moveTo>
                  <a:pt x="4383481" y="3310025"/>
                </a:moveTo>
                <a:lnTo>
                  <a:pt x="4399785" y="3326331"/>
                </a:lnTo>
                <a:lnTo>
                  <a:pt x="4402503" y="3310025"/>
                </a:lnTo>
                <a:close/>
                <a:moveTo>
                  <a:pt x="4462291" y="3299155"/>
                </a:moveTo>
                <a:lnTo>
                  <a:pt x="4440549" y="3320896"/>
                </a:lnTo>
                <a:lnTo>
                  <a:pt x="4465009" y="3323613"/>
                </a:lnTo>
                <a:close/>
                <a:moveTo>
                  <a:pt x="3024683" y="3293720"/>
                </a:moveTo>
                <a:cubicBezTo>
                  <a:pt x="3021965" y="3299155"/>
                  <a:pt x="3021965" y="3304590"/>
                  <a:pt x="3021965" y="3312743"/>
                </a:cubicBezTo>
                <a:cubicBezTo>
                  <a:pt x="3030119" y="3312743"/>
                  <a:pt x="3035553" y="3315460"/>
                  <a:pt x="3040989" y="3312743"/>
                </a:cubicBezTo>
                <a:cubicBezTo>
                  <a:pt x="3038271" y="3310025"/>
                  <a:pt x="3038271" y="3304590"/>
                  <a:pt x="3035553" y="3301872"/>
                </a:cubicBezTo>
                <a:cubicBezTo>
                  <a:pt x="3032835" y="3299155"/>
                  <a:pt x="3027401" y="3296437"/>
                  <a:pt x="3024683" y="3293720"/>
                </a:cubicBezTo>
                <a:close/>
                <a:moveTo>
                  <a:pt x="4508489" y="3285567"/>
                </a:moveTo>
                <a:lnTo>
                  <a:pt x="4508489" y="3301872"/>
                </a:lnTo>
                <a:lnTo>
                  <a:pt x="4524795" y="3285567"/>
                </a:lnTo>
                <a:close/>
                <a:moveTo>
                  <a:pt x="595153" y="3274696"/>
                </a:moveTo>
                <a:cubicBezTo>
                  <a:pt x="578847" y="3277414"/>
                  <a:pt x="562542" y="3280132"/>
                  <a:pt x="546236" y="3282849"/>
                </a:cubicBezTo>
                <a:cubicBezTo>
                  <a:pt x="557107" y="3312743"/>
                  <a:pt x="540801" y="3326331"/>
                  <a:pt x="540801" y="3348071"/>
                </a:cubicBezTo>
                <a:cubicBezTo>
                  <a:pt x="562542" y="3345354"/>
                  <a:pt x="567977" y="3329048"/>
                  <a:pt x="584283" y="3323613"/>
                </a:cubicBezTo>
                <a:cubicBezTo>
                  <a:pt x="592435" y="3320896"/>
                  <a:pt x="606023" y="3345354"/>
                  <a:pt x="603306" y="3326331"/>
                </a:cubicBezTo>
                <a:cubicBezTo>
                  <a:pt x="600588" y="3307308"/>
                  <a:pt x="597871" y="3291002"/>
                  <a:pt x="595153" y="3274696"/>
                </a:cubicBezTo>
                <a:close/>
                <a:moveTo>
                  <a:pt x="4532947" y="3271979"/>
                </a:moveTo>
                <a:lnTo>
                  <a:pt x="4532947" y="3293720"/>
                </a:lnTo>
                <a:lnTo>
                  <a:pt x="4549253" y="3285567"/>
                </a:lnTo>
                <a:close/>
                <a:moveTo>
                  <a:pt x="4407939" y="3261108"/>
                </a:moveTo>
                <a:lnTo>
                  <a:pt x="4394351" y="3277414"/>
                </a:lnTo>
                <a:lnTo>
                  <a:pt x="4418809" y="3277414"/>
                </a:lnTo>
                <a:close/>
                <a:moveTo>
                  <a:pt x="946062" y="3256692"/>
                </a:moveTo>
                <a:cubicBezTo>
                  <a:pt x="934173" y="3254994"/>
                  <a:pt x="919905" y="3261108"/>
                  <a:pt x="910394" y="3266544"/>
                </a:cubicBezTo>
                <a:cubicBezTo>
                  <a:pt x="926699" y="3280132"/>
                  <a:pt x="940287" y="3299155"/>
                  <a:pt x="967463" y="3293720"/>
                </a:cubicBezTo>
                <a:cubicBezTo>
                  <a:pt x="967463" y="3267902"/>
                  <a:pt x="957951" y="3258391"/>
                  <a:pt x="946062" y="3256692"/>
                </a:cubicBezTo>
                <a:close/>
                <a:moveTo>
                  <a:pt x="4448703" y="3252956"/>
                </a:moveTo>
                <a:lnTo>
                  <a:pt x="4432397" y="3269261"/>
                </a:lnTo>
                <a:lnTo>
                  <a:pt x="4459573" y="3269261"/>
                </a:lnTo>
                <a:close/>
                <a:moveTo>
                  <a:pt x="755491" y="3247520"/>
                </a:moveTo>
                <a:cubicBezTo>
                  <a:pt x="758209" y="3280132"/>
                  <a:pt x="779949" y="3280132"/>
                  <a:pt x="785385" y="3307308"/>
                </a:cubicBezTo>
                <a:cubicBezTo>
                  <a:pt x="760926" y="3296437"/>
                  <a:pt x="777232" y="3339919"/>
                  <a:pt x="758209" y="3342636"/>
                </a:cubicBezTo>
                <a:cubicBezTo>
                  <a:pt x="758209" y="3337201"/>
                  <a:pt x="752773" y="3339919"/>
                  <a:pt x="750056" y="3337201"/>
                </a:cubicBezTo>
                <a:cubicBezTo>
                  <a:pt x="755491" y="3329048"/>
                  <a:pt x="758209" y="3307308"/>
                  <a:pt x="744621" y="3301872"/>
                </a:cubicBezTo>
                <a:cubicBezTo>
                  <a:pt x="755491" y="3326331"/>
                  <a:pt x="725597" y="3323613"/>
                  <a:pt x="722880" y="3339919"/>
                </a:cubicBezTo>
                <a:cubicBezTo>
                  <a:pt x="731033" y="3350789"/>
                  <a:pt x="744621" y="3353507"/>
                  <a:pt x="747338" y="3369812"/>
                </a:cubicBezTo>
                <a:cubicBezTo>
                  <a:pt x="769079" y="3369812"/>
                  <a:pt x="769079" y="3350789"/>
                  <a:pt x="785385" y="3345354"/>
                </a:cubicBezTo>
                <a:cubicBezTo>
                  <a:pt x="788102" y="3350789"/>
                  <a:pt x="793537" y="3353507"/>
                  <a:pt x="796255" y="3358942"/>
                </a:cubicBezTo>
                <a:cubicBezTo>
                  <a:pt x="777232" y="3380683"/>
                  <a:pt x="771797" y="3399706"/>
                  <a:pt x="790820" y="3426882"/>
                </a:cubicBezTo>
                <a:cubicBezTo>
                  <a:pt x="779949" y="3429599"/>
                  <a:pt x="769079" y="3429599"/>
                  <a:pt x="758209" y="3432317"/>
                </a:cubicBezTo>
                <a:cubicBezTo>
                  <a:pt x="752773" y="3410576"/>
                  <a:pt x="744621" y="3394270"/>
                  <a:pt x="731033" y="3388835"/>
                </a:cubicBezTo>
                <a:cubicBezTo>
                  <a:pt x="720162" y="3399706"/>
                  <a:pt x="741903" y="3421446"/>
                  <a:pt x="728315" y="3429599"/>
                </a:cubicBezTo>
                <a:cubicBezTo>
                  <a:pt x="706574" y="3435034"/>
                  <a:pt x="701139" y="3413294"/>
                  <a:pt x="684834" y="3407858"/>
                </a:cubicBezTo>
                <a:cubicBezTo>
                  <a:pt x="684834" y="3418729"/>
                  <a:pt x="692986" y="3432317"/>
                  <a:pt x="682116" y="3435034"/>
                </a:cubicBezTo>
                <a:cubicBezTo>
                  <a:pt x="663093" y="3443187"/>
                  <a:pt x="665810" y="3421446"/>
                  <a:pt x="646787" y="3426882"/>
                </a:cubicBezTo>
                <a:cubicBezTo>
                  <a:pt x="652222" y="3464928"/>
                  <a:pt x="646787" y="3500256"/>
                  <a:pt x="603306" y="3502974"/>
                </a:cubicBezTo>
                <a:cubicBezTo>
                  <a:pt x="595153" y="3502974"/>
                  <a:pt x="608741" y="3519280"/>
                  <a:pt x="595153" y="3516562"/>
                </a:cubicBezTo>
                <a:cubicBezTo>
                  <a:pt x="584283" y="3511127"/>
                  <a:pt x="573412" y="3483951"/>
                  <a:pt x="559824" y="3500256"/>
                </a:cubicBezTo>
                <a:cubicBezTo>
                  <a:pt x="603306" y="3543738"/>
                  <a:pt x="524495" y="3576349"/>
                  <a:pt x="559824" y="3617113"/>
                </a:cubicBezTo>
                <a:cubicBezTo>
                  <a:pt x="543519" y="3633419"/>
                  <a:pt x="524495" y="3622548"/>
                  <a:pt x="502755" y="3622548"/>
                </a:cubicBezTo>
                <a:cubicBezTo>
                  <a:pt x="508190" y="3655160"/>
                  <a:pt x="521778" y="3674183"/>
                  <a:pt x="543519" y="3682335"/>
                </a:cubicBezTo>
                <a:cubicBezTo>
                  <a:pt x="554389" y="3682335"/>
                  <a:pt x="548954" y="3668748"/>
                  <a:pt x="562542" y="3668748"/>
                </a:cubicBezTo>
                <a:cubicBezTo>
                  <a:pt x="567977" y="3695923"/>
                  <a:pt x="551671" y="3728534"/>
                  <a:pt x="576130" y="3742122"/>
                </a:cubicBezTo>
                <a:cubicBezTo>
                  <a:pt x="581565" y="3731252"/>
                  <a:pt x="584283" y="3714947"/>
                  <a:pt x="603306" y="3712229"/>
                </a:cubicBezTo>
                <a:cubicBezTo>
                  <a:pt x="616894" y="3714947"/>
                  <a:pt x="619611" y="3731252"/>
                  <a:pt x="633199" y="3733970"/>
                </a:cubicBezTo>
                <a:cubicBezTo>
                  <a:pt x="641352" y="3693206"/>
                  <a:pt x="603306" y="3687771"/>
                  <a:pt x="600588" y="3649724"/>
                </a:cubicBezTo>
                <a:cubicBezTo>
                  <a:pt x="630482" y="3644289"/>
                  <a:pt x="616894" y="3600808"/>
                  <a:pt x="611458" y="3587220"/>
                </a:cubicBezTo>
                <a:cubicBezTo>
                  <a:pt x="616894" y="3589937"/>
                  <a:pt x="622329" y="3595372"/>
                  <a:pt x="633199" y="3589937"/>
                </a:cubicBezTo>
                <a:cubicBezTo>
                  <a:pt x="646787" y="3570914"/>
                  <a:pt x="646787" y="3541020"/>
                  <a:pt x="671246" y="3530150"/>
                </a:cubicBezTo>
                <a:cubicBezTo>
                  <a:pt x="682116" y="3532868"/>
                  <a:pt x="695704" y="3557326"/>
                  <a:pt x="692986" y="3562761"/>
                </a:cubicBezTo>
                <a:cubicBezTo>
                  <a:pt x="665810" y="3568196"/>
                  <a:pt x="646787" y="3581784"/>
                  <a:pt x="654940" y="3611678"/>
                </a:cubicBezTo>
                <a:cubicBezTo>
                  <a:pt x="684834" y="3608960"/>
                  <a:pt x="717445" y="3589937"/>
                  <a:pt x="722880" y="3581784"/>
                </a:cubicBezTo>
                <a:cubicBezTo>
                  <a:pt x="712009" y="3606243"/>
                  <a:pt x="741903" y="3622548"/>
                  <a:pt x="736468" y="3636136"/>
                </a:cubicBezTo>
                <a:cubicBezTo>
                  <a:pt x="722880" y="3630701"/>
                  <a:pt x="706574" y="3630701"/>
                  <a:pt x="687551" y="3630701"/>
                </a:cubicBezTo>
                <a:cubicBezTo>
                  <a:pt x="692986" y="3652442"/>
                  <a:pt x="714727" y="3649724"/>
                  <a:pt x="717445" y="3671465"/>
                </a:cubicBezTo>
                <a:cubicBezTo>
                  <a:pt x="709292" y="3671465"/>
                  <a:pt x="703857" y="3674183"/>
                  <a:pt x="701139" y="3676900"/>
                </a:cubicBezTo>
                <a:cubicBezTo>
                  <a:pt x="703857" y="3682335"/>
                  <a:pt x="701139" y="3698641"/>
                  <a:pt x="709292" y="3698641"/>
                </a:cubicBezTo>
                <a:cubicBezTo>
                  <a:pt x="752773" y="3685053"/>
                  <a:pt x="788102" y="3641572"/>
                  <a:pt x="755491" y="3592655"/>
                </a:cubicBezTo>
                <a:cubicBezTo>
                  <a:pt x="758209" y="3568196"/>
                  <a:pt x="782667" y="3557326"/>
                  <a:pt x="779949" y="3527432"/>
                </a:cubicBezTo>
                <a:cubicBezTo>
                  <a:pt x="774514" y="3516562"/>
                  <a:pt x="755491" y="3521997"/>
                  <a:pt x="750056" y="3511127"/>
                </a:cubicBezTo>
                <a:cubicBezTo>
                  <a:pt x="747338" y="3500256"/>
                  <a:pt x="747338" y="3492104"/>
                  <a:pt x="744621" y="3481233"/>
                </a:cubicBezTo>
                <a:cubicBezTo>
                  <a:pt x="752773" y="3481233"/>
                  <a:pt x="758209" y="3478516"/>
                  <a:pt x="763644" y="3478516"/>
                </a:cubicBezTo>
                <a:cubicBezTo>
                  <a:pt x="766361" y="3459493"/>
                  <a:pt x="744621" y="3454057"/>
                  <a:pt x="752773" y="3440469"/>
                </a:cubicBezTo>
                <a:cubicBezTo>
                  <a:pt x="771797" y="3467645"/>
                  <a:pt x="826148" y="3502974"/>
                  <a:pt x="842454" y="3451340"/>
                </a:cubicBezTo>
                <a:cubicBezTo>
                  <a:pt x="866912" y="3481233"/>
                  <a:pt x="872347" y="3535585"/>
                  <a:pt x="885935" y="3543738"/>
                </a:cubicBezTo>
                <a:cubicBezTo>
                  <a:pt x="869630" y="3489386"/>
                  <a:pt x="842454" y="3394270"/>
                  <a:pt x="793537" y="3432317"/>
                </a:cubicBezTo>
                <a:cubicBezTo>
                  <a:pt x="774514" y="3383400"/>
                  <a:pt x="820713" y="3372530"/>
                  <a:pt x="801690" y="3334484"/>
                </a:cubicBezTo>
                <a:cubicBezTo>
                  <a:pt x="820713" y="3339919"/>
                  <a:pt x="845172" y="3315460"/>
                  <a:pt x="828866" y="3299155"/>
                </a:cubicBezTo>
                <a:cubicBezTo>
                  <a:pt x="817996" y="3291002"/>
                  <a:pt x="826148" y="3304590"/>
                  <a:pt x="815278" y="3304590"/>
                </a:cubicBezTo>
                <a:cubicBezTo>
                  <a:pt x="809843" y="3293720"/>
                  <a:pt x="807125" y="3282849"/>
                  <a:pt x="798972" y="3274696"/>
                </a:cubicBezTo>
                <a:cubicBezTo>
                  <a:pt x="788102" y="3271979"/>
                  <a:pt x="788102" y="3291002"/>
                  <a:pt x="782667" y="3282849"/>
                </a:cubicBezTo>
                <a:cubicBezTo>
                  <a:pt x="774514" y="3271979"/>
                  <a:pt x="777232" y="3239368"/>
                  <a:pt x="755491" y="3247520"/>
                </a:cubicBezTo>
                <a:close/>
                <a:moveTo>
                  <a:pt x="4532947" y="3242085"/>
                </a:moveTo>
                <a:lnTo>
                  <a:pt x="4524795" y="3255673"/>
                </a:lnTo>
                <a:lnTo>
                  <a:pt x="4538383" y="3263826"/>
                </a:lnTo>
                <a:lnTo>
                  <a:pt x="4549253" y="3255673"/>
                </a:lnTo>
                <a:close/>
                <a:moveTo>
                  <a:pt x="4492183" y="3239368"/>
                </a:moveTo>
                <a:lnTo>
                  <a:pt x="4470443" y="3261108"/>
                </a:lnTo>
                <a:lnTo>
                  <a:pt x="4494901" y="3263826"/>
                </a:lnTo>
                <a:close/>
                <a:moveTo>
                  <a:pt x="4416091" y="3225780"/>
                </a:moveTo>
                <a:cubicBezTo>
                  <a:pt x="4424245" y="3247520"/>
                  <a:pt x="4416091" y="3242085"/>
                  <a:pt x="4437833" y="3247520"/>
                </a:cubicBezTo>
                <a:cubicBezTo>
                  <a:pt x="4421527" y="3214909"/>
                  <a:pt x="4440549" y="3233932"/>
                  <a:pt x="4416091" y="3225780"/>
                </a:cubicBezTo>
                <a:close/>
                <a:moveTo>
                  <a:pt x="1758284" y="3206757"/>
                </a:moveTo>
                <a:cubicBezTo>
                  <a:pt x="1758284" y="3206757"/>
                  <a:pt x="1761002" y="3206757"/>
                  <a:pt x="1761002" y="3206757"/>
                </a:cubicBezTo>
                <a:cubicBezTo>
                  <a:pt x="1761002" y="3217627"/>
                  <a:pt x="1763719" y="3223062"/>
                  <a:pt x="1761002" y="3231215"/>
                </a:cubicBezTo>
                <a:cubicBezTo>
                  <a:pt x="1758284" y="3242085"/>
                  <a:pt x="1733825" y="3266544"/>
                  <a:pt x="1725672" y="3274697"/>
                </a:cubicBezTo>
                <a:cubicBezTo>
                  <a:pt x="1720237" y="3277414"/>
                  <a:pt x="1714802" y="3280132"/>
                  <a:pt x="1712084" y="3282849"/>
                </a:cubicBezTo>
                <a:cubicBezTo>
                  <a:pt x="1706649" y="3288285"/>
                  <a:pt x="1709367" y="3299155"/>
                  <a:pt x="1706649" y="3304590"/>
                </a:cubicBezTo>
                <a:cubicBezTo>
                  <a:pt x="1698496" y="3318178"/>
                  <a:pt x="1684908" y="3329048"/>
                  <a:pt x="1676755" y="3342636"/>
                </a:cubicBezTo>
                <a:cubicBezTo>
                  <a:pt x="1676755" y="3342636"/>
                  <a:pt x="1674038" y="3342636"/>
                  <a:pt x="1674038" y="3342636"/>
                </a:cubicBezTo>
                <a:cubicBezTo>
                  <a:pt x="1679473" y="3301872"/>
                  <a:pt x="1701214" y="3255673"/>
                  <a:pt x="1717519" y="3223062"/>
                </a:cubicBezTo>
                <a:cubicBezTo>
                  <a:pt x="1728390" y="3220345"/>
                  <a:pt x="1750130" y="3214910"/>
                  <a:pt x="1758284" y="3206757"/>
                </a:cubicBezTo>
                <a:close/>
                <a:moveTo>
                  <a:pt x="4432397" y="3201321"/>
                </a:moveTo>
                <a:lnTo>
                  <a:pt x="4432397" y="3217627"/>
                </a:lnTo>
                <a:lnTo>
                  <a:pt x="4448703" y="3214909"/>
                </a:lnTo>
                <a:close/>
                <a:moveTo>
                  <a:pt x="2206686" y="3201321"/>
                </a:moveTo>
                <a:lnTo>
                  <a:pt x="2198534" y="3210078"/>
                </a:lnTo>
                <a:lnTo>
                  <a:pt x="2198534" y="3212192"/>
                </a:lnTo>
                <a:cubicBezTo>
                  <a:pt x="2199892" y="3213550"/>
                  <a:pt x="2201251" y="3213550"/>
                  <a:pt x="2202610" y="3213550"/>
                </a:cubicBezTo>
                <a:lnTo>
                  <a:pt x="2204687" y="3214243"/>
                </a:lnTo>
                <a:lnTo>
                  <a:pt x="2209404" y="3209474"/>
                </a:lnTo>
                <a:cubicBezTo>
                  <a:pt x="2209404" y="3206757"/>
                  <a:pt x="2209404" y="3209474"/>
                  <a:pt x="2209404" y="3206757"/>
                </a:cubicBezTo>
                <a:cubicBezTo>
                  <a:pt x="2209404" y="3201321"/>
                  <a:pt x="2209404" y="3204039"/>
                  <a:pt x="2206686" y="3201321"/>
                </a:cubicBezTo>
                <a:close/>
                <a:moveTo>
                  <a:pt x="4554689" y="3193169"/>
                </a:moveTo>
                <a:cubicBezTo>
                  <a:pt x="4549253" y="3217627"/>
                  <a:pt x="4554689" y="3212192"/>
                  <a:pt x="4532947" y="3217627"/>
                </a:cubicBezTo>
                <a:lnTo>
                  <a:pt x="4532947" y="3233932"/>
                </a:lnTo>
                <a:lnTo>
                  <a:pt x="4554689" y="3233932"/>
                </a:lnTo>
                <a:lnTo>
                  <a:pt x="4554689" y="3255673"/>
                </a:lnTo>
                <a:cubicBezTo>
                  <a:pt x="4573711" y="3242085"/>
                  <a:pt x="4570995" y="3255673"/>
                  <a:pt x="4562841" y="3233932"/>
                </a:cubicBezTo>
                <a:lnTo>
                  <a:pt x="4579147" y="3223062"/>
                </a:lnTo>
                <a:lnTo>
                  <a:pt x="4562841" y="3209474"/>
                </a:lnTo>
                <a:cubicBezTo>
                  <a:pt x="4570995" y="3187733"/>
                  <a:pt x="4576429" y="3201321"/>
                  <a:pt x="4554689" y="3193169"/>
                </a:cubicBezTo>
                <a:close/>
                <a:moveTo>
                  <a:pt x="543519" y="3190451"/>
                </a:moveTo>
                <a:cubicBezTo>
                  <a:pt x="532648" y="3201321"/>
                  <a:pt x="500037" y="3195886"/>
                  <a:pt x="497320" y="3214909"/>
                </a:cubicBezTo>
                <a:cubicBezTo>
                  <a:pt x="508190" y="3214909"/>
                  <a:pt x="513625" y="3223062"/>
                  <a:pt x="513625" y="3231215"/>
                </a:cubicBezTo>
                <a:cubicBezTo>
                  <a:pt x="513625" y="3247520"/>
                  <a:pt x="502755" y="3258391"/>
                  <a:pt x="502755" y="3274696"/>
                </a:cubicBezTo>
                <a:cubicBezTo>
                  <a:pt x="535366" y="3247520"/>
                  <a:pt x="576130" y="3269261"/>
                  <a:pt x="619611" y="3258391"/>
                </a:cubicBezTo>
                <a:cubicBezTo>
                  <a:pt x="625046" y="3250238"/>
                  <a:pt x="619611" y="3231215"/>
                  <a:pt x="616894" y="3217627"/>
                </a:cubicBezTo>
                <a:cubicBezTo>
                  <a:pt x="587000" y="3236650"/>
                  <a:pt x="521778" y="3236650"/>
                  <a:pt x="543519" y="3190451"/>
                </a:cubicBezTo>
                <a:close/>
                <a:moveTo>
                  <a:pt x="1103343" y="3187733"/>
                </a:moveTo>
                <a:cubicBezTo>
                  <a:pt x="1092473" y="3209474"/>
                  <a:pt x="1108778" y="3252956"/>
                  <a:pt x="1130519" y="3250238"/>
                </a:cubicBezTo>
                <a:cubicBezTo>
                  <a:pt x="1144107" y="3242085"/>
                  <a:pt x="1138672" y="3206757"/>
                  <a:pt x="1127801" y="3187733"/>
                </a:cubicBezTo>
                <a:cubicBezTo>
                  <a:pt x="1119649" y="3190451"/>
                  <a:pt x="1114213" y="3190451"/>
                  <a:pt x="1103343" y="3187733"/>
                </a:cubicBezTo>
                <a:close/>
                <a:moveTo>
                  <a:pt x="1231070" y="3179581"/>
                </a:moveTo>
                <a:cubicBezTo>
                  <a:pt x="1228352" y="3190451"/>
                  <a:pt x="1228352" y="3204039"/>
                  <a:pt x="1231070" y="3212192"/>
                </a:cubicBezTo>
                <a:cubicBezTo>
                  <a:pt x="1231070" y="3217627"/>
                  <a:pt x="1228352" y="3223062"/>
                  <a:pt x="1228352" y="3228497"/>
                </a:cubicBezTo>
                <a:cubicBezTo>
                  <a:pt x="1231070" y="3239368"/>
                  <a:pt x="1236505" y="3250238"/>
                  <a:pt x="1241940" y="3261108"/>
                </a:cubicBezTo>
                <a:cubicBezTo>
                  <a:pt x="1244658" y="3263826"/>
                  <a:pt x="1244658" y="3271979"/>
                  <a:pt x="1244658" y="3274696"/>
                </a:cubicBezTo>
                <a:cubicBezTo>
                  <a:pt x="1250093" y="3280132"/>
                  <a:pt x="1258246" y="3285567"/>
                  <a:pt x="1260964" y="3291002"/>
                </a:cubicBezTo>
                <a:cubicBezTo>
                  <a:pt x="1263681" y="3296437"/>
                  <a:pt x="1260964" y="3299155"/>
                  <a:pt x="1263681" y="3304590"/>
                </a:cubicBezTo>
                <a:cubicBezTo>
                  <a:pt x="1263681" y="3307308"/>
                  <a:pt x="1269116" y="3307308"/>
                  <a:pt x="1271834" y="3310025"/>
                </a:cubicBezTo>
                <a:cubicBezTo>
                  <a:pt x="1271834" y="3310025"/>
                  <a:pt x="1269116" y="3312743"/>
                  <a:pt x="1271834" y="3315460"/>
                </a:cubicBezTo>
                <a:cubicBezTo>
                  <a:pt x="1274552" y="3315460"/>
                  <a:pt x="1277269" y="3315460"/>
                  <a:pt x="1279987" y="3315460"/>
                </a:cubicBezTo>
                <a:cubicBezTo>
                  <a:pt x="1279987" y="3315460"/>
                  <a:pt x="1282704" y="3318178"/>
                  <a:pt x="1282704" y="3320896"/>
                </a:cubicBezTo>
                <a:lnTo>
                  <a:pt x="1287868" y="3320896"/>
                </a:lnTo>
                <a:lnTo>
                  <a:pt x="1295982" y="3325166"/>
                </a:lnTo>
                <a:lnTo>
                  <a:pt x="1299010" y="3327690"/>
                </a:lnTo>
                <a:cubicBezTo>
                  <a:pt x="1301728" y="3330407"/>
                  <a:pt x="1304445" y="3333125"/>
                  <a:pt x="1307163" y="3334484"/>
                </a:cubicBezTo>
                <a:cubicBezTo>
                  <a:pt x="1312598" y="3334484"/>
                  <a:pt x="1318033" y="3334484"/>
                  <a:pt x="1323468" y="3334484"/>
                </a:cubicBezTo>
                <a:cubicBezTo>
                  <a:pt x="1316674" y="3333125"/>
                  <a:pt x="1309201" y="3331087"/>
                  <a:pt x="1302067" y="3328369"/>
                </a:cubicBezTo>
                <a:lnTo>
                  <a:pt x="1295982" y="3325166"/>
                </a:lnTo>
                <a:lnTo>
                  <a:pt x="1290857" y="3320896"/>
                </a:lnTo>
                <a:lnTo>
                  <a:pt x="1287868" y="3320896"/>
                </a:lnTo>
                <a:lnTo>
                  <a:pt x="1282704" y="3318178"/>
                </a:lnTo>
                <a:cubicBezTo>
                  <a:pt x="1274552" y="3315460"/>
                  <a:pt x="1260964" y="3274696"/>
                  <a:pt x="1266399" y="3261108"/>
                </a:cubicBezTo>
                <a:cubicBezTo>
                  <a:pt x="1266399" y="3252956"/>
                  <a:pt x="1263681" y="3242085"/>
                  <a:pt x="1266399" y="3236650"/>
                </a:cubicBezTo>
                <a:cubicBezTo>
                  <a:pt x="1269116" y="3233932"/>
                  <a:pt x="1277269" y="3233932"/>
                  <a:pt x="1282704" y="3231215"/>
                </a:cubicBezTo>
                <a:cubicBezTo>
                  <a:pt x="1282704" y="3231215"/>
                  <a:pt x="1285422" y="3225780"/>
                  <a:pt x="1288140" y="3225780"/>
                </a:cubicBezTo>
                <a:cubicBezTo>
                  <a:pt x="1290857" y="3225780"/>
                  <a:pt x="1293575" y="3225780"/>
                  <a:pt x="1296292" y="3225780"/>
                </a:cubicBezTo>
                <a:cubicBezTo>
                  <a:pt x="1301728" y="3220344"/>
                  <a:pt x="1309880" y="3212192"/>
                  <a:pt x="1315315" y="3209474"/>
                </a:cubicBezTo>
                <a:cubicBezTo>
                  <a:pt x="1315315" y="3206757"/>
                  <a:pt x="1315315" y="3206757"/>
                  <a:pt x="1315315" y="3206757"/>
                </a:cubicBezTo>
                <a:cubicBezTo>
                  <a:pt x="1315315" y="3204039"/>
                  <a:pt x="1312598" y="3204039"/>
                  <a:pt x="1312598" y="3201321"/>
                </a:cubicBezTo>
                <a:cubicBezTo>
                  <a:pt x="1307163" y="3201321"/>
                  <a:pt x="1296292" y="3209474"/>
                  <a:pt x="1293575" y="3212192"/>
                </a:cubicBezTo>
                <a:cubicBezTo>
                  <a:pt x="1293575" y="3212192"/>
                  <a:pt x="1293575" y="3214909"/>
                  <a:pt x="1293575" y="3214909"/>
                </a:cubicBezTo>
                <a:cubicBezTo>
                  <a:pt x="1290857" y="3214909"/>
                  <a:pt x="1288140" y="3214909"/>
                  <a:pt x="1285422" y="3214909"/>
                </a:cubicBezTo>
                <a:cubicBezTo>
                  <a:pt x="1277269" y="3217627"/>
                  <a:pt x="1277269" y="3223062"/>
                  <a:pt x="1266399" y="3223062"/>
                </a:cubicBezTo>
                <a:cubicBezTo>
                  <a:pt x="1269116" y="3206757"/>
                  <a:pt x="1266399" y="3195886"/>
                  <a:pt x="1260964" y="3182298"/>
                </a:cubicBezTo>
                <a:cubicBezTo>
                  <a:pt x="1258246" y="3182298"/>
                  <a:pt x="1258246" y="3182298"/>
                  <a:pt x="1255528" y="3185016"/>
                </a:cubicBezTo>
                <a:cubicBezTo>
                  <a:pt x="1255528" y="3193169"/>
                  <a:pt x="1260964" y="3198604"/>
                  <a:pt x="1260964" y="3206757"/>
                </a:cubicBezTo>
                <a:cubicBezTo>
                  <a:pt x="1263681" y="3220344"/>
                  <a:pt x="1258246" y="3239368"/>
                  <a:pt x="1260964" y="3255673"/>
                </a:cubicBezTo>
                <a:cubicBezTo>
                  <a:pt x="1263681" y="3263826"/>
                  <a:pt x="1266399" y="3280132"/>
                  <a:pt x="1263681" y="3282849"/>
                </a:cubicBezTo>
                <a:cubicBezTo>
                  <a:pt x="1260964" y="3285567"/>
                  <a:pt x="1263681" y="3285567"/>
                  <a:pt x="1258246" y="3285567"/>
                </a:cubicBezTo>
                <a:cubicBezTo>
                  <a:pt x="1258246" y="3280132"/>
                  <a:pt x="1255528" y="3280132"/>
                  <a:pt x="1252811" y="3277414"/>
                </a:cubicBezTo>
                <a:cubicBezTo>
                  <a:pt x="1255528" y="3271979"/>
                  <a:pt x="1250093" y="3266544"/>
                  <a:pt x="1247376" y="3261108"/>
                </a:cubicBezTo>
                <a:cubicBezTo>
                  <a:pt x="1247376" y="3252956"/>
                  <a:pt x="1239223" y="3244803"/>
                  <a:pt x="1236505" y="3236650"/>
                </a:cubicBezTo>
                <a:cubicBezTo>
                  <a:pt x="1236505" y="3233932"/>
                  <a:pt x="1236505" y="3223062"/>
                  <a:pt x="1236505" y="3217627"/>
                </a:cubicBezTo>
                <a:cubicBezTo>
                  <a:pt x="1236505" y="3209474"/>
                  <a:pt x="1233788" y="3198604"/>
                  <a:pt x="1236505" y="3193169"/>
                </a:cubicBezTo>
                <a:cubicBezTo>
                  <a:pt x="1236505" y="3187733"/>
                  <a:pt x="1236505" y="3182298"/>
                  <a:pt x="1236505" y="3179581"/>
                </a:cubicBezTo>
                <a:cubicBezTo>
                  <a:pt x="1236505" y="3179581"/>
                  <a:pt x="1233788" y="3179581"/>
                  <a:pt x="1231070" y="3179581"/>
                </a:cubicBezTo>
                <a:close/>
                <a:moveTo>
                  <a:pt x="2383776" y="3176363"/>
                </a:moveTo>
                <a:lnTo>
                  <a:pt x="2384053" y="3186204"/>
                </a:lnTo>
                <a:lnTo>
                  <a:pt x="2385203" y="3197154"/>
                </a:lnTo>
                <a:close/>
                <a:moveTo>
                  <a:pt x="2421377" y="3171428"/>
                </a:moveTo>
                <a:lnTo>
                  <a:pt x="2417671" y="3175133"/>
                </a:lnTo>
                <a:lnTo>
                  <a:pt x="2420836" y="3175985"/>
                </a:lnTo>
                <a:close/>
                <a:moveTo>
                  <a:pt x="4348151" y="3155122"/>
                </a:moveTo>
                <a:lnTo>
                  <a:pt x="4348151" y="3171428"/>
                </a:lnTo>
                <a:lnTo>
                  <a:pt x="4364457" y="3155122"/>
                </a:lnTo>
                <a:close/>
                <a:moveTo>
                  <a:pt x="4503055" y="3149687"/>
                </a:moveTo>
                <a:lnTo>
                  <a:pt x="4486749" y="3171428"/>
                </a:lnTo>
                <a:lnTo>
                  <a:pt x="4494901" y="3179581"/>
                </a:lnTo>
                <a:cubicBezTo>
                  <a:pt x="4503055" y="3174145"/>
                  <a:pt x="4503055" y="3171428"/>
                  <a:pt x="4516643" y="3171428"/>
                </a:cubicBezTo>
                <a:lnTo>
                  <a:pt x="4541101" y="3171428"/>
                </a:lnTo>
                <a:lnTo>
                  <a:pt x="4541101" y="3163275"/>
                </a:lnTo>
                <a:cubicBezTo>
                  <a:pt x="4511207" y="3163275"/>
                  <a:pt x="4522077" y="3163275"/>
                  <a:pt x="4503055" y="3149687"/>
                </a:cubicBezTo>
                <a:close/>
                <a:moveTo>
                  <a:pt x="932135" y="3149687"/>
                </a:moveTo>
                <a:cubicBezTo>
                  <a:pt x="923982" y="3160558"/>
                  <a:pt x="894088" y="3155122"/>
                  <a:pt x="894088" y="3168710"/>
                </a:cubicBezTo>
                <a:cubicBezTo>
                  <a:pt x="910394" y="3168710"/>
                  <a:pt x="910394" y="3190451"/>
                  <a:pt x="929417" y="3185016"/>
                </a:cubicBezTo>
                <a:cubicBezTo>
                  <a:pt x="929417" y="3174145"/>
                  <a:pt x="923982" y="3163275"/>
                  <a:pt x="934852" y="3160558"/>
                </a:cubicBezTo>
                <a:cubicBezTo>
                  <a:pt x="937570" y="3182298"/>
                  <a:pt x="945723" y="3190451"/>
                  <a:pt x="962028" y="3193169"/>
                </a:cubicBezTo>
                <a:cubicBezTo>
                  <a:pt x="959311" y="3168710"/>
                  <a:pt x="940287" y="3168710"/>
                  <a:pt x="932135" y="3149687"/>
                </a:cubicBezTo>
                <a:close/>
                <a:moveTo>
                  <a:pt x="1065297" y="3144252"/>
                </a:moveTo>
                <a:cubicBezTo>
                  <a:pt x="1065297" y="3146970"/>
                  <a:pt x="1062579" y="3152405"/>
                  <a:pt x="1059862" y="3155122"/>
                </a:cubicBezTo>
                <a:cubicBezTo>
                  <a:pt x="1065297" y="3157840"/>
                  <a:pt x="1073450" y="3157840"/>
                  <a:pt x="1081602" y="3157840"/>
                </a:cubicBezTo>
                <a:cubicBezTo>
                  <a:pt x="1076167" y="3155122"/>
                  <a:pt x="1070732" y="3149687"/>
                  <a:pt x="1065297" y="3144252"/>
                </a:cubicBezTo>
                <a:close/>
                <a:moveTo>
                  <a:pt x="4584583" y="3136099"/>
                </a:moveTo>
                <a:cubicBezTo>
                  <a:pt x="4557407" y="3152405"/>
                  <a:pt x="4573711" y="3155122"/>
                  <a:pt x="4546535" y="3165993"/>
                </a:cubicBezTo>
                <a:lnTo>
                  <a:pt x="4554689" y="3179581"/>
                </a:lnTo>
                <a:lnTo>
                  <a:pt x="4549253" y="3187733"/>
                </a:lnTo>
                <a:lnTo>
                  <a:pt x="4532947" y="3204039"/>
                </a:lnTo>
                <a:lnTo>
                  <a:pt x="4549253" y="3204039"/>
                </a:lnTo>
                <a:lnTo>
                  <a:pt x="4549253" y="3187733"/>
                </a:lnTo>
                <a:lnTo>
                  <a:pt x="4570995" y="3187733"/>
                </a:lnTo>
                <a:cubicBezTo>
                  <a:pt x="4573711" y="3141534"/>
                  <a:pt x="4581865" y="3176863"/>
                  <a:pt x="4584583" y="3136099"/>
                </a:cubicBezTo>
                <a:close/>
                <a:moveTo>
                  <a:pt x="410357" y="3111641"/>
                </a:moveTo>
                <a:cubicBezTo>
                  <a:pt x="399486" y="3119794"/>
                  <a:pt x="380463" y="3133382"/>
                  <a:pt x="369593" y="3119794"/>
                </a:cubicBezTo>
                <a:cubicBezTo>
                  <a:pt x="372310" y="3130664"/>
                  <a:pt x="372310" y="3141534"/>
                  <a:pt x="375028" y="3152405"/>
                </a:cubicBezTo>
                <a:cubicBezTo>
                  <a:pt x="388616" y="3152405"/>
                  <a:pt x="391333" y="3144252"/>
                  <a:pt x="402204" y="3141534"/>
                </a:cubicBezTo>
                <a:cubicBezTo>
                  <a:pt x="413074" y="3149687"/>
                  <a:pt x="423944" y="3179581"/>
                  <a:pt x="418509" y="3195886"/>
                </a:cubicBezTo>
                <a:cubicBezTo>
                  <a:pt x="404921" y="3201321"/>
                  <a:pt x="404921" y="3185016"/>
                  <a:pt x="391333" y="3190451"/>
                </a:cubicBezTo>
                <a:cubicBezTo>
                  <a:pt x="410357" y="3209474"/>
                  <a:pt x="413074" y="3255673"/>
                  <a:pt x="445685" y="3255673"/>
                </a:cubicBezTo>
                <a:cubicBezTo>
                  <a:pt x="426662" y="3209474"/>
                  <a:pt x="453838" y="3141534"/>
                  <a:pt x="410357" y="3111641"/>
                </a:cubicBezTo>
                <a:close/>
                <a:moveTo>
                  <a:pt x="4486749" y="3108923"/>
                </a:moveTo>
                <a:lnTo>
                  <a:pt x="4473161" y="3119794"/>
                </a:lnTo>
                <a:lnTo>
                  <a:pt x="4486749" y="3133382"/>
                </a:lnTo>
                <a:lnTo>
                  <a:pt x="4494901" y="3119794"/>
                </a:lnTo>
                <a:close/>
                <a:moveTo>
                  <a:pt x="2111571" y="3073595"/>
                </a:moveTo>
                <a:cubicBezTo>
                  <a:pt x="2111571" y="3073595"/>
                  <a:pt x="2114289" y="3073595"/>
                  <a:pt x="2114289" y="3073595"/>
                </a:cubicBezTo>
                <a:cubicBezTo>
                  <a:pt x="2119724" y="3084465"/>
                  <a:pt x="2130594" y="3087183"/>
                  <a:pt x="2136029" y="3098053"/>
                </a:cubicBezTo>
                <a:cubicBezTo>
                  <a:pt x="2138747" y="3098053"/>
                  <a:pt x="2141465" y="3098053"/>
                  <a:pt x="2144182" y="3100771"/>
                </a:cubicBezTo>
                <a:cubicBezTo>
                  <a:pt x="2144182" y="3100771"/>
                  <a:pt x="2144182" y="3103488"/>
                  <a:pt x="2144182" y="3103488"/>
                </a:cubicBezTo>
                <a:cubicBezTo>
                  <a:pt x="2149617" y="3106206"/>
                  <a:pt x="2155053" y="3106206"/>
                  <a:pt x="2160488" y="3108923"/>
                </a:cubicBezTo>
                <a:cubicBezTo>
                  <a:pt x="2165923" y="3111641"/>
                  <a:pt x="2163205" y="3114359"/>
                  <a:pt x="2171358" y="3114359"/>
                </a:cubicBezTo>
                <a:cubicBezTo>
                  <a:pt x="2165923" y="3127947"/>
                  <a:pt x="2160488" y="3138818"/>
                  <a:pt x="2155053" y="3152406"/>
                </a:cubicBezTo>
                <a:cubicBezTo>
                  <a:pt x="2149617" y="3152406"/>
                  <a:pt x="2130594" y="3138818"/>
                  <a:pt x="2125159" y="3136100"/>
                </a:cubicBezTo>
                <a:cubicBezTo>
                  <a:pt x="2119724" y="3127947"/>
                  <a:pt x="2103418" y="3087183"/>
                  <a:pt x="2111571" y="3076312"/>
                </a:cubicBezTo>
                <a:cubicBezTo>
                  <a:pt x="2111571" y="3076312"/>
                  <a:pt x="2111571" y="3073595"/>
                  <a:pt x="2111571" y="3073595"/>
                </a:cubicBezTo>
                <a:close/>
                <a:moveTo>
                  <a:pt x="4633499" y="3073594"/>
                </a:moveTo>
                <a:lnTo>
                  <a:pt x="4625345" y="3095335"/>
                </a:lnTo>
                <a:lnTo>
                  <a:pt x="4647087" y="3095335"/>
                </a:lnTo>
                <a:close/>
                <a:moveTo>
                  <a:pt x="4492183" y="3070877"/>
                </a:moveTo>
                <a:lnTo>
                  <a:pt x="4475879" y="3087182"/>
                </a:lnTo>
                <a:lnTo>
                  <a:pt x="4500337" y="3095335"/>
                </a:lnTo>
                <a:close/>
                <a:moveTo>
                  <a:pt x="2264250" y="3068159"/>
                </a:moveTo>
                <a:lnTo>
                  <a:pt x="2263756" y="3073595"/>
                </a:lnTo>
                <a:cubicBezTo>
                  <a:pt x="2262397" y="3084465"/>
                  <a:pt x="2262397" y="3092618"/>
                  <a:pt x="2262057" y="3100091"/>
                </a:cubicBezTo>
                <a:lnTo>
                  <a:pt x="2261853" y="3101314"/>
                </a:lnTo>
                <a:lnTo>
                  <a:pt x="2263416" y="3098053"/>
                </a:lnTo>
                <a:cubicBezTo>
                  <a:pt x="2265115" y="3091938"/>
                  <a:pt x="2266473" y="3085823"/>
                  <a:pt x="2269191" y="3081747"/>
                </a:cubicBezTo>
                <a:cubicBezTo>
                  <a:pt x="2269191" y="3076312"/>
                  <a:pt x="2269191" y="3070877"/>
                  <a:pt x="2266474" y="3068159"/>
                </a:cubicBezTo>
                <a:close/>
                <a:moveTo>
                  <a:pt x="4576429" y="3065442"/>
                </a:moveTo>
                <a:cubicBezTo>
                  <a:pt x="4568277" y="3070877"/>
                  <a:pt x="4568277" y="3073594"/>
                  <a:pt x="4554689" y="3073594"/>
                </a:cubicBezTo>
                <a:lnTo>
                  <a:pt x="4546535" y="3073594"/>
                </a:lnTo>
                <a:cubicBezTo>
                  <a:pt x="4530231" y="3073594"/>
                  <a:pt x="4530231" y="3081747"/>
                  <a:pt x="4516643" y="3089900"/>
                </a:cubicBezTo>
                <a:lnTo>
                  <a:pt x="4516643" y="3073594"/>
                </a:lnTo>
                <a:lnTo>
                  <a:pt x="4500337" y="3076312"/>
                </a:lnTo>
                <a:lnTo>
                  <a:pt x="4516643" y="3089900"/>
                </a:lnTo>
                <a:lnTo>
                  <a:pt x="4524795" y="3111641"/>
                </a:lnTo>
                <a:cubicBezTo>
                  <a:pt x="4551971" y="3117076"/>
                  <a:pt x="4541101" y="3119794"/>
                  <a:pt x="4562841" y="3133382"/>
                </a:cubicBezTo>
                <a:cubicBezTo>
                  <a:pt x="4560123" y="3098053"/>
                  <a:pt x="4562841" y="3117076"/>
                  <a:pt x="4546535" y="3092618"/>
                </a:cubicBezTo>
                <a:lnTo>
                  <a:pt x="4592735" y="3100770"/>
                </a:lnTo>
                <a:cubicBezTo>
                  <a:pt x="4598169" y="3141534"/>
                  <a:pt x="4619911" y="3136099"/>
                  <a:pt x="4628063" y="3122511"/>
                </a:cubicBezTo>
                <a:lnTo>
                  <a:pt x="4606323" y="3122511"/>
                </a:lnTo>
                <a:cubicBezTo>
                  <a:pt x="4619911" y="3089900"/>
                  <a:pt x="4600887" y="3122511"/>
                  <a:pt x="4609041" y="3092618"/>
                </a:cubicBezTo>
                <a:lnTo>
                  <a:pt x="4606323" y="3068159"/>
                </a:lnTo>
                <a:cubicBezTo>
                  <a:pt x="4573711" y="3089900"/>
                  <a:pt x="4603605" y="3068159"/>
                  <a:pt x="4590017" y="3098053"/>
                </a:cubicBezTo>
                <a:lnTo>
                  <a:pt x="4568277" y="3089900"/>
                </a:lnTo>
                <a:close/>
                <a:moveTo>
                  <a:pt x="2671396" y="3060006"/>
                </a:moveTo>
                <a:cubicBezTo>
                  <a:pt x="2660526" y="3070877"/>
                  <a:pt x="2636067" y="3095335"/>
                  <a:pt x="2633350" y="3114358"/>
                </a:cubicBezTo>
                <a:cubicBezTo>
                  <a:pt x="2627914" y="3117076"/>
                  <a:pt x="2622479" y="3117076"/>
                  <a:pt x="2619762" y="3119794"/>
                </a:cubicBezTo>
                <a:cubicBezTo>
                  <a:pt x="2619762" y="3119794"/>
                  <a:pt x="2619762" y="3122511"/>
                  <a:pt x="2619762" y="3122511"/>
                </a:cubicBezTo>
                <a:cubicBezTo>
                  <a:pt x="2617044" y="3122511"/>
                  <a:pt x="2611609" y="3125229"/>
                  <a:pt x="2608891" y="3125229"/>
                </a:cubicBezTo>
                <a:cubicBezTo>
                  <a:pt x="2608891" y="3127946"/>
                  <a:pt x="2608891" y="3127946"/>
                  <a:pt x="2608891" y="3130664"/>
                </a:cubicBezTo>
                <a:cubicBezTo>
                  <a:pt x="2598021" y="3136099"/>
                  <a:pt x="2584433" y="3130664"/>
                  <a:pt x="2576280" y="3138817"/>
                </a:cubicBezTo>
                <a:cubicBezTo>
                  <a:pt x="2576280" y="3138817"/>
                  <a:pt x="2573563" y="3138817"/>
                  <a:pt x="2570845" y="3138817"/>
                </a:cubicBezTo>
                <a:cubicBezTo>
                  <a:pt x="2573563" y="3133382"/>
                  <a:pt x="2573563" y="3108923"/>
                  <a:pt x="2578998" y="3103488"/>
                </a:cubicBezTo>
                <a:cubicBezTo>
                  <a:pt x="2578998" y="3100770"/>
                  <a:pt x="2578998" y="3095335"/>
                  <a:pt x="2578998" y="3092618"/>
                </a:cubicBezTo>
                <a:cubicBezTo>
                  <a:pt x="2573563" y="3092618"/>
                  <a:pt x="2573563" y="3092618"/>
                  <a:pt x="2570845" y="3092618"/>
                </a:cubicBezTo>
                <a:cubicBezTo>
                  <a:pt x="2565410" y="3114358"/>
                  <a:pt x="2562692" y="3138817"/>
                  <a:pt x="2557257" y="3160558"/>
                </a:cubicBezTo>
                <a:cubicBezTo>
                  <a:pt x="2557257" y="3171428"/>
                  <a:pt x="2554540" y="3185016"/>
                  <a:pt x="2554540" y="3195886"/>
                </a:cubicBezTo>
                <a:lnTo>
                  <a:pt x="2544712" y="3208086"/>
                </a:lnTo>
                <a:lnTo>
                  <a:pt x="2542990" y="3208795"/>
                </a:lnTo>
                <a:lnTo>
                  <a:pt x="2536022" y="3217029"/>
                </a:lnTo>
                <a:lnTo>
                  <a:pt x="2532799" y="3220344"/>
                </a:lnTo>
                <a:cubicBezTo>
                  <a:pt x="2532799" y="3223062"/>
                  <a:pt x="2530081" y="3220344"/>
                  <a:pt x="2527364" y="3223062"/>
                </a:cubicBezTo>
                <a:cubicBezTo>
                  <a:pt x="2527364" y="3225780"/>
                  <a:pt x="2524646" y="3228497"/>
                  <a:pt x="2524646" y="3228497"/>
                </a:cubicBezTo>
                <a:lnTo>
                  <a:pt x="2520433" y="3230808"/>
                </a:lnTo>
                <a:lnTo>
                  <a:pt x="2519211" y="3231215"/>
                </a:lnTo>
                <a:lnTo>
                  <a:pt x="2519030" y="3231577"/>
                </a:lnTo>
                <a:lnTo>
                  <a:pt x="2514115" y="3234272"/>
                </a:lnTo>
                <a:lnTo>
                  <a:pt x="2511531" y="3236650"/>
                </a:lnTo>
                <a:lnTo>
                  <a:pt x="2511058" y="3236650"/>
                </a:lnTo>
                <a:lnTo>
                  <a:pt x="2509505" y="3238514"/>
                </a:lnTo>
                <a:lnTo>
                  <a:pt x="2505623" y="3242085"/>
                </a:lnTo>
                <a:lnTo>
                  <a:pt x="2505138" y="3243754"/>
                </a:lnTo>
                <a:lnTo>
                  <a:pt x="2502566" y="3246841"/>
                </a:lnTo>
                <a:lnTo>
                  <a:pt x="2502514" y="3246871"/>
                </a:lnTo>
                <a:lnTo>
                  <a:pt x="2503245" y="3247521"/>
                </a:lnTo>
                <a:lnTo>
                  <a:pt x="2503937" y="3247890"/>
                </a:lnTo>
                <a:lnTo>
                  <a:pt x="2505138" y="3243754"/>
                </a:lnTo>
                <a:lnTo>
                  <a:pt x="2509505" y="3238514"/>
                </a:lnTo>
                <a:lnTo>
                  <a:pt x="2511531" y="3236650"/>
                </a:lnTo>
                <a:lnTo>
                  <a:pt x="2516493" y="3236650"/>
                </a:lnTo>
                <a:lnTo>
                  <a:pt x="2519030" y="3231577"/>
                </a:lnTo>
                <a:lnTo>
                  <a:pt x="2520433" y="3230808"/>
                </a:lnTo>
                <a:lnTo>
                  <a:pt x="2527364" y="3228497"/>
                </a:lnTo>
                <a:cubicBezTo>
                  <a:pt x="2527364" y="3225780"/>
                  <a:pt x="2527364" y="3225780"/>
                  <a:pt x="2527364" y="3223062"/>
                </a:cubicBezTo>
                <a:cubicBezTo>
                  <a:pt x="2530081" y="3223062"/>
                  <a:pt x="2530081" y="3223062"/>
                  <a:pt x="2532799" y="3223062"/>
                </a:cubicBezTo>
                <a:cubicBezTo>
                  <a:pt x="2535516" y="3220344"/>
                  <a:pt x="2535516" y="3220344"/>
                  <a:pt x="2535516" y="3217627"/>
                </a:cubicBezTo>
                <a:lnTo>
                  <a:pt x="2536022" y="3217029"/>
                </a:lnTo>
                <a:lnTo>
                  <a:pt x="2544688" y="3208115"/>
                </a:lnTo>
                <a:lnTo>
                  <a:pt x="2544712" y="3208086"/>
                </a:lnTo>
                <a:lnTo>
                  <a:pt x="2546998" y="3207144"/>
                </a:lnTo>
                <a:lnTo>
                  <a:pt x="2549105" y="3204039"/>
                </a:lnTo>
                <a:cubicBezTo>
                  <a:pt x="2549105" y="3204039"/>
                  <a:pt x="2551822" y="3204039"/>
                  <a:pt x="2551822" y="3204039"/>
                </a:cubicBezTo>
                <a:lnTo>
                  <a:pt x="2551478" y="3205300"/>
                </a:lnTo>
                <a:lnTo>
                  <a:pt x="2554540" y="3204039"/>
                </a:lnTo>
                <a:cubicBezTo>
                  <a:pt x="2559975" y="3190451"/>
                  <a:pt x="2557257" y="3157840"/>
                  <a:pt x="2568127" y="3144252"/>
                </a:cubicBezTo>
                <a:cubicBezTo>
                  <a:pt x="2570845" y="3141534"/>
                  <a:pt x="2576280" y="3144252"/>
                  <a:pt x="2581715" y="3141534"/>
                </a:cubicBezTo>
                <a:cubicBezTo>
                  <a:pt x="2584433" y="3141534"/>
                  <a:pt x="2587151" y="3136099"/>
                  <a:pt x="2589868" y="3136099"/>
                </a:cubicBezTo>
                <a:cubicBezTo>
                  <a:pt x="2595303" y="3136099"/>
                  <a:pt x="2600739" y="3136099"/>
                  <a:pt x="2606174" y="3136099"/>
                </a:cubicBezTo>
                <a:cubicBezTo>
                  <a:pt x="2608891" y="3136099"/>
                  <a:pt x="2608891" y="3130664"/>
                  <a:pt x="2611609" y="3130664"/>
                </a:cubicBezTo>
                <a:cubicBezTo>
                  <a:pt x="2617044" y="3130664"/>
                  <a:pt x="2619762" y="3130664"/>
                  <a:pt x="2622479" y="3130664"/>
                </a:cubicBezTo>
                <a:cubicBezTo>
                  <a:pt x="2622479" y="3130664"/>
                  <a:pt x="2622479" y="3125229"/>
                  <a:pt x="2625197" y="3125229"/>
                </a:cubicBezTo>
                <a:cubicBezTo>
                  <a:pt x="2630632" y="3122511"/>
                  <a:pt x="2638785" y="3125229"/>
                  <a:pt x="2644220" y="3125229"/>
                </a:cubicBezTo>
                <a:cubicBezTo>
                  <a:pt x="2649655" y="3133382"/>
                  <a:pt x="2649655" y="3127946"/>
                  <a:pt x="2655090" y="3133382"/>
                </a:cubicBezTo>
                <a:cubicBezTo>
                  <a:pt x="2655090" y="3133382"/>
                  <a:pt x="2655090" y="3133382"/>
                  <a:pt x="2655090" y="3136099"/>
                </a:cubicBezTo>
                <a:cubicBezTo>
                  <a:pt x="2660526" y="3136099"/>
                  <a:pt x="2660526" y="3133382"/>
                  <a:pt x="2663243" y="3130664"/>
                </a:cubicBezTo>
                <a:cubicBezTo>
                  <a:pt x="2663243" y="3127946"/>
                  <a:pt x="2663243" y="3125229"/>
                  <a:pt x="2663243" y="3122511"/>
                </a:cubicBezTo>
                <a:cubicBezTo>
                  <a:pt x="2657808" y="3122511"/>
                  <a:pt x="2655090" y="3122511"/>
                  <a:pt x="2652373" y="3122511"/>
                </a:cubicBezTo>
                <a:cubicBezTo>
                  <a:pt x="2652373" y="3117076"/>
                  <a:pt x="2649655" y="3117076"/>
                  <a:pt x="2644220" y="3114358"/>
                </a:cubicBezTo>
                <a:cubicBezTo>
                  <a:pt x="2638785" y="3103488"/>
                  <a:pt x="2668678" y="3073594"/>
                  <a:pt x="2674114" y="3068159"/>
                </a:cubicBezTo>
                <a:cubicBezTo>
                  <a:pt x="2674114" y="3065442"/>
                  <a:pt x="2674114" y="3062724"/>
                  <a:pt x="2674114" y="3060006"/>
                </a:cubicBezTo>
                <a:cubicBezTo>
                  <a:pt x="2674114" y="3060006"/>
                  <a:pt x="2671396" y="3060006"/>
                  <a:pt x="2671396" y="3060006"/>
                </a:cubicBezTo>
                <a:close/>
                <a:moveTo>
                  <a:pt x="2704007" y="3057289"/>
                </a:moveTo>
                <a:cubicBezTo>
                  <a:pt x="2701290" y="3057289"/>
                  <a:pt x="2701290" y="3060006"/>
                  <a:pt x="2698572" y="3060006"/>
                </a:cubicBezTo>
                <a:cubicBezTo>
                  <a:pt x="2701290" y="3068159"/>
                  <a:pt x="2709442" y="3098053"/>
                  <a:pt x="2709442" y="3111641"/>
                </a:cubicBezTo>
                <a:cubicBezTo>
                  <a:pt x="2709442" y="3114358"/>
                  <a:pt x="2714878" y="3122511"/>
                  <a:pt x="2712160" y="3127946"/>
                </a:cubicBezTo>
                <a:cubicBezTo>
                  <a:pt x="2709442" y="3130664"/>
                  <a:pt x="2704007" y="3138817"/>
                  <a:pt x="2704007" y="3144252"/>
                </a:cubicBezTo>
                <a:cubicBezTo>
                  <a:pt x="2704007" y="3152405"/>
                  <a:pt x="2704007" y="3165993"/>
                  <a:pt x="2704007" y="3174145"/>
                </a:cubicBezTo>
                <a:cubicBezTo>
                  <a:pt x="2704007" y="3179581"/>
                  <a:pt x="2704007" y="3185016"/>
                  <a:pt x="2704007" y="3190451"/>
                </a:cubicBezTo>
                <a:cubicBezTo>
                  <a:pt x="2701290" y="3198604"/>
                  <a:pt x="2701290" y="3209474"/>
                  <a:pt x="2701290" y="3217627"/>
                </a:cubicBezTo>
                <a:cubicBezTo>
                  <a:pt x="2701290" y="3220344"/>
                  <a:pt x="2701290" y="3225780"/>
                  <a:pt x="2701290" y="3231215"/>
                </a:cubicBezTo>
                <a:cubicBezTo>
                  <a:pt x="2695854" y="3247520"/>
                  <a:pt x="2684984" y="3263826"/>
                  <a:pt x="2679549" y="3277414"/>
                </a:cubicBezTo>
                <a:cubicBezTo>
                  <a:pt x="2674114" y="3291002"/>
                  <a:pt x="2674114" y="3307308"/>
                  <a:pt x="2668678" y="3318178"/>
                </a:cubicBezTo>
                <a:cubicBezTo>
                  <a:pt x="2665961" y="3320896"/>
                  <a:pt x="2660526" y="3323613"/>
                  <a:pt x="2657808" y="3329048"/>
                </a:cubicBezTo>
                <a:cubicBezTo>
                  <a:pt x="2644220" y="3358942"/>
                  <a:pt x="2636067" y="3391553"/>
                  <a:pt x="2617044" y="3416011"/>
                </a:cubicBezTo>
                <a:cubicBezTo>
                  <a:pt x="2608891" y="3421446"/>
                  <a:pt x="2595303" y="3413294"/>
                  <a:pt x="2581715" y="3416011"/>
                </a:cubicBezTo>
                <a:cubicBezTo>
                  <a:pt x="2557257" y="3421446"/>
                  <a:pt x="2543669" y="3432317"/>
                  <a:pt x="2513776" y="3432317"/>
                </a:cubicBezTo>
                <a:cubicBezTo>
                  <a:pt x="2519211" y="3396988"/>
                  <a:pt x="2524646" y="3339919"/>
                  <a:pt x="2546387" y="3320896"/>
                </a:cubicBezTo>
                <a:cubicBezTo>
                  <a:pt x="2546387" y="3315460"/>
                  <a:pt x="2546387" y="3312743"/>
                  <a:pt x="2543669" y="3310025"/>
                </a:cubicBezTo>
                <a:lnTo>
                  <a:pt x="2537431" y="3313102"/>
                </a:lnTo>
                <a:lnTo>
                  <a:pt x="2537894" y="3316480"/>
                </a:lnTo>
                <a:cubicBezTo>
                  <a:pt x="2538914" y="3322934"/>
                  <a:pt x="2539593" y="3329049"/>
                  <a:pt x="2538234" y="3331766"/>
                </a:cubicBezTo>
                <a:cubicBezTo>
                  <a:pt x="2535516" y="3337201"/>
                  <a:pt x="2527364" y="3345354"/>
                  <a:pt x="2524646" y="3350789"/>
                </a:cubicBezTo>
                <a:cubicBezTo>
                  <a:pt x="2519211" y="3364378"/>
                  <a:pt x="2516493" y="3375248"/>
                  <a:pt x="2513776" y="3386119"/>
                </a:cubicBezTo>
                <a:lnTo>
                  <a:pt x="2512266" y="3385364"/>
                </a:lnTo>
                <a:lnTo>
                  <a:pt x="2504933" y="3417063"/>
                </a:lnTo>
                <a:lnTo>
                  <a:pt x="2504465" y="3418253"/>
                </a:lnTo>
                <a:lnTo>
                  <a:pt x="2507322" y="3432317"/>
                </a:lnTo>
                <a:cubicBezTo>
                  <a:pt x="2507662" y="3440470"/>
                  <a:pt x="2506982" y="3449981"/>
                  <a:pt x="2505623" y="3462210"/>
                </a:cubicBezTo>
                <a:cubicBezTo>
                  <a:pt x="2502905" y="3475798"/>
                  <a:pt x="2508341" y="3483951"/>
                  <a:pt x="2500188" y="3492104"/>
                </a:cubicBezTo>
                <a:cubicBezTo>
                  <a:pt x="2500188" y="3492104"/>
                  <a:pt x="2500188" y="3492104"/>
                  <a:pt x="2497470" y="3492104"/>
                </a:cubicBezTo>
                <a:cubicBezTo>
                  <a:pt x="2497470" y="3483951"/>
                  <a:pt x="2494753" y="3481233"/>
                  <a:pt x="2492035" y="3475798"/>
                </a:cubicBezTo>
                <a:cubicBezTo>
                  <a:pt x="2489317" y="3475798"/>
                  <a:pt x="2489317" y="3473080"/>
                  <a:pt x="2483882" y="3473080"/>
                </a:cubicBezTo>
                <a:lnTo>
                  <a:pt x="2480339" y="3466879"/>
                </a:lnTo>
                <a:lnTo>
                  <a:pt x="2472793" y="3473876"/>
                </a:lnTo>
                <a:lnTo>
                  <a:pt x="2471992" y="3476817"/>
                </a:lnTo>
                <a:cubicBezTo>
                  <a:pt x="2471652" y="3477836"/>
                  <a:pt x="2471652" y="3478515"/>
                  <a:pt x="2473010" y="3478515"/>
                </a:cubicBezTo>
                <a:cubicBezTo>
                  <a:pt x="2475728" y="3481233"/>
                  <a:pt x="2478445" y="3478515"/>
                  <a:pt x="2481163" y="3481233"/>
                </a:cubicBezTo>
                <a:cubicBezTo>
                  <a:pt x="2486598" y="3489386"/>
                  <a:pt x="2483881" y="3500256"/>
                  <a:pt x="2489316" y="3508409"/>
                </a:cubicBezTo>
                <a:cubicBezTo>
                  <a:pt x="2488637" y="3520638"/>
                  <a:pt x="2482692" y="3532358"/>
                  <a:pt x="2473478" y="3542464"/>
                </a:cubicBezTo>
                <a:lnTo>
                  <a:pt x="2447376" y="3560407"/>
                </a:lnTo>
                <a:lnTo>
                  <a:pt x="2448553" y="3562761"/>
                </a:lnTo>
                <a:cubicBezTo>
                  <a:pt x="2459424" y="3568196"/>
                  <a:pt x="2464859" y="3557326"/>
                  <a:pt x="2473012" y="3570914"/>
                </a:cubicBezTo>
                <a:cubicBezTo>
                  <a:pt x="2475729" y="3570914"/>
                  <a:pt x="2475729" y="3570914"/>
                  <a:pt x="2478447" y="3570914"/>
                </a:cubicBezTo>
                <a:cubicBezTo>
                  <a:pt x="2483882" y="3568196"/>
                  <a:pt x="2483882" y="3562761"/>
                  <a:pt x="2486600" y="3560044"/>
                </a:cubicBezTo>
                <a:cubicBezTo>
                  <a:pt x="2494753" y="3579067"/>
                  <a:pt x="2489317" y="3627984"/>
                  <a:pt x="2483882" y="3644289"/>
                </a:cubicBezTo>
                <a:cubicBezTo>
                  <a:pt x="2481165" y="3655160"/>
                  <a:pt x="2483882" y="3663312"/>
                  <a:pt x="2478447" y="3668748"/>
                </a:cubicBezTo>
                <a:cubicBezTo>
                  <a:pt x="2475729" y="3668748"/>
                  <a:pt x="2475729" y="3671465"/>
                  <a:pt x="2473012" y="3671465"/>
                </a:cubicBezTo>
                <a:cubicBezTo>
                  <a:pt x="2473012" y="3674183"/>
                  <a:pt x="2475729" y="3676900"/>
                  <a:pt x="2473012" y="3676900"/>
                </a:cubicBezTo>
                <a:cubicBezTo>
                  <a:pt x="2473012" y="3676900"/>
                  <a:pt x="2470294" y="3676900"/>
                  <a:pt x="2467577" y="3676900"/>
                </a:cubicBezTo>
                <a:cubicBezTo>
                  <a:pt x="2467577" y="3676900"/>
                  <a:pt x="2464859" y="3679618"/>
                  <a:pt x="2464859" y="3682335"/>
                </a:cubicBezTo>
                <a:cubicBezTo>
                  <a:pt x="2462141" y="3685053"/>
                  <a:pt x="2456706" y="3682335"/>
                  <a:pt x="2453989" y="3685053"/>
                </a:cubicBezTo>
                <a:cubicBezTo>
                  <a:pt x="2453989" y="3685053"/>
                  <a:pt x="2453989" y="3687771"/>
                  <a:pt x="2453989" y="3687771"/>
                </a:cubicBezTo>
                <a:cubicBezTo>
                  <a:pt x="2451271" y="3687771"/>
                  <a:pt x="2448553" y="3690488"/>
                  <a:pt x="2445836" y="3690488"/>
                </a:cubicBezTo>
                <a:cubicBezTo>
                  <a:pt x="2440401" y="3695923"/>
                  <a:pt x="2437683" y="3704076"/>
                  <a:pt x="2426813" y="3706794"/>
                </a:cubicBezTo>
                <a:cubicBezTo>
                  <a:pt x="2426813" y="3706794"/>
                  <a:pt x="2426813" y="3709511"/>
                  <a:pt x="2426813" y="3709511"/>
                </a:cubicBezTo>
                <a:cubicBezTo>
                  <a:pt x="2421377" y="3709511"/>
                  <a:pt x="2418660" y="3709511"/>
                  <a:pt x="2413225" y="3709511"/>
                </a:cubicBezTo>
                <a:cubicBezTo>
                  <a:pt x="2413225" y="3701359"/>
                  <a:pt x="2405072" y="3698641"/>
                  <a:pt x="2402354" y="3693206"/>
                </a:cubicBezTo>
                <a:cubicBezTo>
                  <a:pt x="2399637" y="3687771"/>
                  <a:pt x="2402354" y="3679618"/>
                  <a:pt x="2396919" y="3676900"/>
                </a:cubicBezTo>
                <a:cubicBezTo>
                  <a:pt x="2394201" y="3674183"/>
                  <a:pt x="2391484" y="3674183"/>
                  <a:pt x="2388766" y="3674183"/>
                </a:cubicBezTo>
                <a:cubicBezTo>
                  <a:pt x="2388766" y="3676900"/>
                  <a:pt x="2386049" y="3676900"/>
                  <a:pt x="2383331" y="3679618"/>
                </a:cubicBezTo>
                <a:cubicBezTo>
                  <a:pt x="2383331" y="3682335"/>
                  <a:pt x="2383331" y="3682335"/>
                  <a:pt x="2383331" y="3685053"/>
                </a:cubicBezTo>
                <a:cubicBezTo>
                  <a:pt x="2383331" y="3685053"/>
                  <a:pt x="2386049" y="3685053"/>
                  <a:pt x="2388766" y="3685053"/>
                </a:cubicBezTo>
                <a:cubicBezTo>
                  <a:pt x="2388766" y="3693206"/>
                  <a:pt x="2402354" y="3712229"/>
                  <a:pt x="2407789" y="3714947"/>
                </a:cubicBezTo>
                <a:cubicBezTo>
                  <a:pt x="2407789" y="3736687"/>
                  <a:pt x="2396919" y="3750275"/>
                  <a:pt x="2388766" y="3766581"/>
                </a:cubicBezTo>
                <a:cubicBezTo>
                  <a:pt x="2383331" y="3774733"/>
                  <a:pt x="2383331" y="3782886"/>
                  <a:pt x="2380613" y="3793757"/>
                </a:cubicBezTo>
                <a:cubicBezTo>
                  <a:pt x="2377896" y="3799192"/>
                  <a:pt x="2372461" y="3804627"/>
                  <a:pt x="2369743" y="3810062"/>
                </a:cubicBezTo>
                <a:cubicBezTo>
                  <a:pt x="2369743" y="3810062"/>
                  <a:pt x="2369743" y="3812780"/>
                  <a:pt x="2369743" y="3815497"/>
                </a:cubicBezTo>
                <a:cubicBezTo>
                  <a:pt x="2369743" y="3815497"/>
                  <a:pt x="2367025" y="3818215"/>
                  <a:pt x="2367025" y="3818215"/>
                </a:cubicBezTo>
                <a:cubicBezTo>
                  <a:pt x="2361590" y="3823650"/>
                  <a:pt x="2361590" y="3831803"/>
                  <a:pt x="2358873" y="3837238"/>
                </a:cubicBezTo>
                <a:cubicBezTo>
                  <a:pt x="2356155" y="3842673"/>
                  <a:pt x="2353437" y="3839956"/>
                  <a:pt x="2350720" y="3845391"/>
                </a:cubicBezTo>
                <a:cubicBezTo>
                  <a:pt x="2337132" y="3848108"/>
                  <a:pt x="2328979" y="3845391"/>
                  <a:pt x="2318109" y="3839956"/>
                </a:cubicBezTo>
                <a:cubicBezTo>
                  <a:pt x="2318109" y="3826368"/>
                  <a:pt x="2326262" y="3820932"/>
                  <a:pt x="2328979" y="3810062"/>
                </a:cubicBezTo>
                <a:cubicBezTo>
                  <a:pt x="2328979" y="3799192"/>
                  <a:pt x="2328979" y="3791039"/>
                  <a:pt x="2328979" y="3780169"/>
                </a:cubicBezTo>
                <a:cubicBezTo>
                  <a:pt x="2328979" y="3777451"/>
                  <a:pt x="2345285" y="3752993"/>
                  <a:pt x="2348002" y="3750275"/>
                </a:cubicBezTo>
                <a:cubicBezTo>
                  <a:pt x="2348002" y="3744840"/>
                  <a:pt x="2348002" y="3739405"/>
                  <a:pt x="2348002" y="3736687"/>
                </a:cubicBezTo>
                <a:cubicBezTo>
                  <a:pt x="2331697" y="3736687"/>
                  <a:pt x="2331697" y="3747558"/>
                  <a:pt x="2326262" y="3758428"/>
                </a:cubicBezTo>
                <a:cubicBezTo>
                  <a:pt x="2312673" y="3758428"/>
                  <a:pt x="2315390" y="3752993"/>
                  <a:pt x="2312673" y="3744840"/>
                </a:cubicBezTo>
                <a:cubicBezTo>
                  <a:pt x="2307237" y="3744840"/>
                  <a:pt x="2307237" y="3744840"/>
                  <a:pt x="2301802" y="3744840"/>
                </a:cubicBezTo>
                <a:cubicBezTo>
                  <a:pt x="2301802" y="3763863"/>
                  <a:pt x="2328979" y="3782886"/>
                  <a:pt x="2320826" y="3804627"/>
                </a:cubicBezTo>
                <a:cubicBezTo>
                  <a:pt x="2318109" y="3810062"/>
                  <a:pt x="2309955" y="3820932"/>
                  <a:pt x="2307237" y="3826368"/>
                </a:cubicBezTo>
                <a:cubicBezTo>
                  <a:pt x="2288214" y="3826368"/>
                  <a:pt x="2285497" y="3812780"/>
                  <a:pt x="2274626" y="3810062"/>
                </a:cubicBezTo>
                <a:cubicBezTo>
                  <a:pt x="2263756" y="3807345"/>
                  <a:pt x="2247450" y="3812780"/>
                  <a:pt x="2231145" y="3815497"/>
                </a:cubicBezTo>
                <a:cubicBezTo>
                  <a:pt x="2233862" y="3818215"/>
                  <a:pt x="2239298" y="3823650"/>
                  <a:pt x="2242015" y="3826368"/>
                </a:cubicBezTo>
                <a:cubicBezTo>
                  <a:pt x="2250168" y="3826368"/>
                  <a:pt x="2255603" y="3823650"/>
                  <a:pt x="2263756" y="3823650"/>
                </a:cubicBezTo>
                <a:cubicBezTo>
                  <a:pt x="2263756" y="3829085"/>
                  <a:pt x="2263756" y="3837238"/>
                  <a:pt x="2263756" y="3845391"/>
                </a:cubicBezTo>
                <a:cubicBezTo>
                  <a:pt x="2266474" y="3848108"/>
                  <a:pt x="2271909" y="3853544"/>
                  <a:pt x="2274626" y="3856261"/>
                </a:cubicBezTo>
                <a:cubicBezTo>
                  <a:pt x="2274626" y="3848108"/>
                  <a:pt x="2277344" y="3842673"/>
                  <a:pt x="2277344" y="3834520"/>
                </a:cubicBezTo>
                <a:cubicBezTo>
                  <a:pt x="2288214" y="3834520"/>
                  <a:pt x="2288214" y="3839956"/>
                  <a:pt x="2296367" y="3842673"/>
                </a:cubicBezTo>
                <a:cubicBezTo>
                  <a:pt x="2296367" y="3848108"/>
                  <a:pt x="2290932" y="3853544"/>
                  <a:pt x="2288214" y="3861696"/>
                </a:cubicBezTo>
                <a:cubicBezTo>
                  <a:pt x="2285497" y="3864414"/>
                  <a:pt x="2282779" y="3864414"/>
                  <a:pt x="2280062" y="3864414"/>
                </a:cubicBezTo>
                <a:lnTo>
                  <a:pt x="2315182" y="3897026"/>
                </a:lnTo>
                <a:lnTo>
                  <a:pt x="2319467" y="3897026"/>
                </a:lnTo>
                <a:lnTo>
                  <a:pt x="2320826" y="3894307"/>
                </a:lnTo>
                <a:cubicBezTo>
                  <a:pt x="2323544" y="3894307"/>
                  <a:pt x="2326262" y="3894307"/>
                  <a:pt x="2328979" y="3894307"/>
                </a:cubicBezTo>
                <a:cubicBezTo>
                  <a:pt x="2337132" y="3894307"/>
                  <a:pt x="2337132" y="3897025"/>
                  <a:pt x="2342567" y="3899743"/>
                </a:cubicBezTo>
                <a:lnTo>
                  <a:pt x="2341929" y="3904207"/>
                </a:lnTo>
                <a:lnTo>
                  <a:pt x="2348001" y="3905179"/>
                </a:lnTo>
                <a:cubicBezTo>
                  <a:pt x="2350719" y="3907896"/>
                  <a:pt x="2348001" y="3913332"/>
                  <a:pt x="2348001" y="3921484"/>
                </a:cubicBezTo>
                <a:lnTo>
                  <a:pt x="2345860" y="3923441"/>
                </a:lnTo>
                <a:lnTo>
                  <a:pt x="2364308" y="3937789"/>
                </a:lnTo>
                <a:cubicBezTo>
                  <a:pt x="2364308" y="3935071"/>
                  <a:pt x="2367025" y="3935071"/>
                  <a:pt x="2367025" y="3932354"/>
                </a:cubicBezTo>
                <a:cubicBezTo>
                  <a:pt x="2369743" y="3929636"/>
                  <a:pt x="2367025" y="3913331"/>
                  <a:pt x="2367025" y="3907895"/>
                </a:cubicBezTo>
                <a:lnTo>
                  <a:pt x="2374491" y="3907209"/>
                </a:lnTo>
                <a:lnTo>
                  <a:pt x="2380613" y="3913331"/>
                </a:lnTo>
                <a:cubicBezTo>
                  <a:pt x="2380613" y="3913331"/>
                  <a:pt x="2383331" y="3913331"/>
                  <a:pt x="2383331" y="3913331"/>
                </a:cubicBezTo>
                <a:lnTo>
                  <a:pt x="2376455" y="3907028"/>
                </a:lnTo>
                <a:lnTo>
                  <a:pt x="2396579" y="3905178"/>
                </a:lnTo>
                <a:lnTo>
                  <a:pt x="2401417" y="3902462"/>
                </a:lnTo>
                <a:lnTo>
                  <a:pt x="2399637" y="3902462"/>
                </a:lnTo>
                <a:cubicBezTo>
                  <a:pt x="2399637" y="3899744"/>
                  <a:pt x="2399637" y="3899744"/>
                  <a:pt x="2399637" y="3897026"/>
                </a:cubicBezTo>
                <a:cubicBezTo>
                  <a:pt x="2396919" y="3897026"/>
                  <a:pt x="2396919" y="3897026"/>
                  <a:pt x="2394202" y="3894309"/>
                </a:cubicBezTo>
                <a:cubicBezTo>
                  <a:pt x="2394202" y="3891591"/>
                  <a:pt x="2394202" y="3894309"/>
                  <a:pt x="2394202" y="3891591"/>
                </a:cubicBezTo>
                <a:cubicBezTo>
                  <a:pt x="2394202" y="3888874"/>
                  <a:pt x="2396919" y="3883438"/>
                  <a:pt x="2399637" y="3880721"/>
                </a:cubicBezTo>
                <a:cubicBezTo>
                  <a:pt x="2405072" y="3880721"/>
                  <a:pt x="2410507" y="3883438"/>
                  <a:pt x="2415943" y="3883438"/>
                </a:cubicBezTo>
                <a:cubicBezTo>
                  <a:pt x="2415943" y="3886156"/>
                  <a:pt x="2415943" y="3887515"/>
                  <a:pt x="2415943" y="3888874"/>
                </a:cubicBezTo>
                <a:lnTo>
                  <a:pt x="2415943" y="3894307"/>
                </a:lnTo>
                <a:lnTo>
                  <a:pt x="2425114" y="3892609"/>
                </a:lnTo>
                <a:cubicBezTo>
                  <a:pt x="2428171" y="3892269"/>
                  <a:pt x="2430889" y="3891590"/>
                  <a:pt x="2432248" y="3888872"/>
                </a:cubicBezTo>
                <a:cubicBezTo>
                  <a:pt x="2432248" y="3888872"/>
                  <a:pt x="2432248" y="3886155"/>
                  <a:pt x="2432248" y="3883437"/>
                </a:cubicBezTo>
                <a:cubicBezTo>
                  <a:pt x="2432248" y="3883437"/>
                  <a:pt x="2437683" y="3880719"/>
                  <a:pt x="2437683" y="3878002"/>
                </a:cubicBezTo>
                <a:cubicBezTo>
                  <a:pt x="2443118" y="3878002"/>
                  <a:pt x="2445836" y="3878002"/>
                  <a:pt x="2448553" y="3880719"/>
                </a:cubicBezTo>
                <a:cubicBezTo>
                  <a:pt x="2451271" y="3880719"/>
                  <a:pt x="2456706" y="3888872"/>
                  <a:pt x="2459424" y="3891590"/>
                </a:cubicBezTo>
                <a:cubicBezTo>
                  <a:pt x="2463500" y="3894308"/>
                  <a:pt x="2468936" y="3893628"/>
                  <a:pt x="2474371" y="3892609"/>
                </a:cubicBezTo>
                <a:lnTo>
                  <a:pt x="2475695" y="3892519"/>
                </a:lnTo>
                <a:lnTo>
                  <a:pt x="2477088" y="3891590"/>
                </a:lnTo>
                <a:cubicBezTo>
                  <a:pt x="2478447" y="3890232"/>
                  <a:pt x="2479806" y="3888873"/>
                  <a:pt x="2481165" y="3888873"/>
                </a:cubicBezTo>
                <a:cubicBezTo>
                  <a:pt x="2489318" y="3886156"/>
                  <a:pt x="2492035" y="3891591"/>
                  <a:pt x="2497471" y="3888873"/>
                </a:cubicBezTo>
                <a:cubicBezTo>
                  <a:pt x="2500188" y="3888873"/>
                  <a:pt x="2500188" y="3886156"/>
                  <a:pt x="2505623" y="3886156"/>
                </a:cubicBezTo>
                <a:lnTo>
                  <a:pt x="2501164" y="3893959"/>
                </a:lnTo>
                <a:lnTo>
                  <a:pt x="2502905" y="3894307"/>
                </a:lnTo>
                <a:cubicBezTo>
                  <a:pt x="2502905" y="3894307"/>
                  <a:pt x="2502905" y="3897025"/>
                  <a:pt x="2502905" y="3897025"/>
                </a:cubicBezTo>
                <a:cubicBezTo>
                  <a:pt x="2508341" y="3897025"/>
                  <a:pt x="2516493" y="3899743"/>
                  <a:pt x="2524646" y="3899743"/>
                </a:cubicBezTo>
                <a:cubicBezTo>
                  <a:pt x="2524646" y="3899743"/>
                  <a:pt x="2524646" y="3902460"/>
                  <a:pt x="2524646" y="3902460"/>
                </a:cubicBezTo>
                <a:cubicBezTo>
                  <a:pt x="2530081" y="3905178"/>
                  <a:pt x="2532799" y="3905178"/>
                  <a:pt x="2538234" y="3907895"/>
                </a:cubicBezTo>
                <a:cubicBezTo>
                  <a:pt x="2535516" y="3924201"/>
                  <a:pt x="2513776" y="3940507"/>
                  <a:pt x="2502905" y="3948659"/>
                </a:cubicBezTo>
                <a:cubicBezTo>
                  <a:pt x="2497470" y="3951377"/>
                  <a:pt x="2497470" y="3959530"/>
                  <a:pt x="2494753" y="3962247"/>
                </a:cubicBezTo>
                <a:cubicBezTo>
                  <a:pt x="2494753" y="3962247"/>
                  <a:pt x="2492035" y="3962247"/>
                  <a:pt x="2489317" y="3962247"/>
                </a:cubicBezTo>
                <a:cubicBezTo>
                  <a:pt x="2481165" y="3967683"/>
                  <a:pt x="2470294" y="3986706"/>
                  <a:pt x="2462141" y="3994859"/>
                </a:cubicBezTo>
                <a:cubicBezTo>
                  <a:pt x="2462141" y="3997576"/>
                  <a:pt x="2459424" y="3997576"/>
                  <a:pt x="2456706" y="3997576"/>
                </a:cubicBezTo>
                <a:cubicBezTo>
                  <a:pt x="2464859" y="4003011"/>
                  <a:pt x="2473012" y="4008447"/>
                  <a:pt x="2481165" y="4013882"/>
                </a:cubicBezTo>
                <a:cubicBezTo>
                  <a:pt x="2492035" y="4003011"/>
                  <a:pt x="2500188" y="3989423"/>
                  <a:pt x="2511058" y="3978553"/>
                </a:cubicBezTo>
                <a:cubicBezTo>
                  <a:pt x="2516493" y="3975835"/>
                  <a:pt x="2530081" y="3981271"/>
                  <a:pt x="2538234" y="3978553"/>
                </a:cubicBezTo>
                <a:cubicBezTo>
                  <a:pt x="2559975" y="3973118"/>
                  <a:pt x="2581715" y="3962247"/>
                  <a:pt x="2589868" y="3945942"/>
                </a:cubicBezTo>
                <a:cubicBezTo>
                  <a:pt x="2598021" y="3945942"/>
                  <a:pt x="2619762" y="3943224"/>
                  <a:pt x="2627914" y="3945942"/>
                </a:cubicBezTo>
                <a:cubicBezTo>
                  <a:pt x="2630632" y="3945942"/>
                  <a:pt x="2630632" y="3951377"/>
                  <a:pt x="2636067" y="3948659"/>
                </a:cubicBezTo>
                <a:cubicBezTo>
                  <a:pt x="2636067" y="3948659"/>
                  <a:pt x="2636067" y="3945942"/>
                  <a:pt x="2636067" y="3945942"/>
                </a:cubicBezTo>
                <a:lnTo>
                  <a:pt x="2638314" y="3945774"/>
                </a:lnTo>
                <a:lnTo>
                  <a:pt x="2644220" y="3937790"/>
                </a:lnTo>
                <a:lnTo>
                  <a:pt x="2650418" y="3938353"/>
                </a:lnTo>
                <a:lnTo>
                  <a:pt x="2651014" y="3930316"/>
                </a:lnTo>
                <a:cubicBezTo>
                  <a:pt x="2653731" y="3923522"/>
                  <a:pt x="2657808" y="3917407"/>
                  <a:pt x="2660526" y="3916048"/>
                </a:cubicBezTo>
                <a:cubicBezTo>
                  <a:pt x="2665961" y="3913331"/>
                  <a:pt x="2671396" y="3916048"/>
                  <a:pt x="2676831" y="3913331"/>
                </a:cubicBezTo>
                <a:cubicBezTo>
                  <a:pt x="2679549" y="3910613"/>
                  <a:pt x="2679549" y="3907895"/>
                  <a:pt x="2682266" y="3907895"/>
                </a:cubicBezTo>
                <a:cubicBezTo>
                  <a:pt x="2687702" y="3905178"/>
                  <a:pt x="2690419" y="3907895"/>
                  <a:pt x="2693137" y="3905178"/>
                </a:cubicBezTo>
                <a:cubicBezTo>
                  <a:pt x="2693137" y="3902460"/>
                  <a:pt x="2693137" y="3899743"/>
                  <a:pt x="2695854" y="3899743"/>
                </a:cubicBezTo>
                <a:cubicBezTo>
                  <a:pt x="2701290" y="3899743"/>
                  <a:pt x="2709442" y="3902460"/>
                  <a:pt x="2714878" y="3899743"/>
                </a:cubicBezTo>
                <a:cubicBezTo>
                  <a:pt x="2720313" y="3897025"/>
                  <a:pt x="2723030" y="3888872"/>
                  <a:pt x="2728466" y="3886155"/>
                </a:cubicBezTo>
                <a:cubicBezTo>
                  <a:pt x="2728466" y="3886155"/>
                  <a:pt x="2731183" y="3886155"/>
                  <a:pt x="2733901" y="3886155"/>
                </a:cubicBezTo>
                <a:cubicBezTo>
                  <a:pt x="2733901" y="3886155"/>
                  <a:pt x="2736618" y="3883437"/>
                  <a:pt x="2736618" y="3880719"/>
                </a:cubicBezTo>
                <a:cubicBezTo>
                  <a:pt x="2742054" y="3875284"/>
                  <a:pt x="2750206" y="3869849"/>
                  <a:pt x="2758359" y="3864414"/>
                </a:cubicBezTo>
                <a:cubicBezTo>
                  <a:pt x="2758359" y="3861696"/>
                  <a:pt x="2761077" y="3861696"/>
                  <a:pt x="2761077" y="3858979"/>
                </a:cubicBezTo>
                <a:cubicBezTo>
                  <a:pt x="2763794" y="3858979"/>
                  <a:pt x="2766512" y="3856261"/>
                  <a:pt x="2769230" y="3856261"/>
                </a:cubicBezTo>
                <a:cubicBezTo>
                  <a:pt x="2774665" y="3850826"/>
                  <a:pt x="2780100" y="3842673"/>
                  <a:pt x="2785535" y="3839956"/>
                </a:cubicBezTo>
                <a:cubicBezTo>
                  <a:pt x="2785535" y="3839956"/>
                  <a:pt x="2785535" y="3837238"/>
                  <a:pt x="2785535" y="3834520"/>
                </a:cubicBezTo>
                <a:cubicBezTo>
                  <a:pt x="2782817" y="3834520"/>
                  <a:pt x="2780100" y="3834520"/>
                  <a:pt x="2777382" y="3834520"/>
                </a:cubicBezTo>
                <a:cubicBezTo>
                  <a:pt x="2766512" y="3834520"/>
                  <a:pt x="2758359" y="3848108"/>
                  <a:pt x="2750206" y="3853544"/>
                </a:cubicBezTo>
                <a:cubicBezTo>
                  <a:pt x="2744771" y="3856261"/>
                  <a:pt x="2739336" y="3858979"/>
                  <a:pt x="2733901" y="3861696"/>
                </a:cubicBezTo>
                <a:cubicBezTo>
                  <a:pt x="2733901" y="3861696"/>
                  <a:pt x="2733901" y="3864414"/>
                  <a:pt x="2733901" y="3864414"/>
                </a:cubicBezTo>
                <a:lnTo>
                  <a:pt x="2720313" y="3875284"/>
                </a:lnTo>
                <a:cubicBezTo>
                  <a:pt x="2717595" y="3875284"/>
                  <a:pt x="2712160" y="3875284"/>
                  <a:pt x="2709442" y="3875284"/>
                </a:cubicBezTo>
                <a:cubicBezTo>
                  <a:pt x="2706725" y="3875284"/>
                  <a:pt x="2706725" y="3878002"/>
                  <a:pt x="2704007" y="3880719"/>
                </a:cubicBezTo>
                <a:cubicBezTo>
                  <a:pt x="2698572" y="3880719"/>
                  <a:pt x="2695854" y="3880719"/>
                  <a:pt x="2690419" y="3880719"/>
                </a:cubicBezTo>
                <a:cubicBezTo>
                  <a:pt x="2690419" y="3883437"/>
                  <a:pt x="2690419" y="3886155"/>
                  <a:pt x="2687702" y="3886155"/>
                </a:cubicBezTo>
                <a:cubicBezTo>
                  <a:pt x="2684984" y="3886155"/>
                  <a:pt x="2668678" y="3891590"/>
                  <a:pt x="2665961" y="3891590"/>
                </a:cubicBezTo>
                <a:lnTo>
                  <a:pt x="2659985" y="3876494"/>
                </a:lnTo>
                <a:lnTo>
                  <a:pt x="2647283" y="3885539"/>
                </a:lnTo>
                <a:lnTo>
                  <a:pt x="2646938" y="3894307"/>
                </a:lnTo>
                <a:cubicBezTo>
                  <a:pt x="2644220" y="3902460"/>
                  <a:pt x="2633350" y="3897025"/>
                  <a:pt x="2622479" y="3899743"/>
                </a:cubicBezTo>
                <a:cubicBezTo>
                  <a:pt x="2614327" y="3902460"/>
                  <a:pt x="2592586" y="3913331"/>
                  <a:pt x="2584433" y="3907895"/>
                </a:cubicBezTo>
                <a:cubicBezTo>
                  <a:pt x="2584433" y="3907895"/>
                  <a:pt x="2581715" y="3907895"/>
                  <a:pt x="2581715" y="3907895"/>
                </a:cubicBezTo>
                <a:cubicBezTo>
                  <a:pt x="2581715" y="3894307"/>
                  <a:pt x="2589868" y="3880719"/>
                  <a:pt x="2598021" y="3872567"/>
                </a:cubicBezTo>
                <a:cubicBezTo>
                  <a:pt x="2598021" y="3869849"/>
                  <a:pt x="2603456" y="3872567"/>
                  <a:pt x="2603456" y="3869849"/>
                </a:cubicBezTo>
                <a:cubicBezTo>
                  <a:pt x="2603456" y="3864414"/>
                  <a:pt x="2606174" y="3861696"/>
                  <a:pt x="2606174" y="3856261"/>
                </a:cubicBezTo>
                <a:cubicBezTo>
                  <a:pt x="2608891" y="3850826"/>
                  <a:pt x="2614327" y="3850826"/>
                  <a:pt x="2617044" y="3848108"/>
                </a:cubicBezTo>
                <a:lnTo>
                  <a:pt x="2618131" y="3845935"/>
                </a:lnTo>
                <a:lnTo>
                  <a:pt x="2611608" y="3848108"/>
                </a:lnTo>
                <a:cubicBezTo>
                  <a:pt x="2603455" y="3853543"/>
                  <a:pt x="2600738" y="3864414"/>
                  <a:pt x="2589867" y="3867131"/>
                </a:cubicBezTo>
                <a:cubicBezTo>
                  <a:pt x="2570844" y="3872567"/>
                  <a:pt x="2554539" y="3861696"/>
                  <a:pt x="2540951" y="3858979"/>
                </a:cubicBezTo>
                <a:cubicBezTo>
                  <a:pt x="2540951" y="3856261"/>
                  <a:pt x="2538233" y="3853543"/>
                  <a:pt x="2540951" y="3853543"/>
                </a:cubicBezTo>
                <a:cubicBezTo>
                  <a:pt x="2543668" y="3853543"/>
                  <a:pt x="2546386" y="3853543"/>
                  <a:pt x="2549103" y="3853543"/>
                </a:cubicBezTo>
                <a:cubicBezTo>
                  <a:pt x="2557256" y="3848108"/>
                  <a:pt x="2559974" y="3839955"/>
                  <a:pt x="2565409" y="3837238"/>
                </a:cubicBezTo>
                <a:cubicBezTo>
                  <a:pt x="2565409" y="3837238"/>
                  <a:pt x="2565409" y="3834520"/>
                  <a:pt x="2565409" y="3834520"/>
                </a:cubicBezTo>
                <a:cubicBezTo>
                  <a:pt x="2573562" y="3831803"/>
                  <a:pt x="2573562" y="3829085"/>
                  <a:pt x="2578997" y="3826367"/>
                </a:cubicBezTo>
                <a:cubicBezTo>
                  <a:pt x="2584432" y="3826367"/>
                  <a:pt x="2587150" y="3826367"/>
                  <a:pt x="2589867" y="3826367"/>
                </a:cubicBezTo>
                <a:cubicBezTo>
                  <a:pt x="2592585" y="3826367"/>
                  <a:pt x="2592585" y="3820932"/>
                  <a:pt x="2595302" y="3820932"/>
                </a:cubicBezTo>
                <a:cubicBezTo>
                  <a:pt x="2598020" y="3820932"/>
                  <a:pt x="2600738" y="3820932"/>
                  <a:pt x="2603455" y="3820932"/>
                </a:cubicBezTo>
                <a:cubicBezTo>
                  <a:pt x="2606173" y="3820932"/>
                  <a:pt x="2606173" y="3815497"/>
                  <a:pt x="2608890" y="3815497"/>
                </a:cubicBezTo>
                <a:cubicBezTo>
                  <a:pt x="2614326" y="3812779"/>
                  <a:pt x="2619761" y="3815497"/>
                  <a:pt x="2625196" y="3812779"/>
                </a:cubicBezTo>
                <a:cubicBezTo>
                  <a:pt x="2625196" y="3810062"/>
                  <a:pt x="2625196" y="3807344"/>
                  <a:pt x="2627913" y="3807344"/>
                </a:cubicBezTo>
                <a:cubicBezTo>
                  <a:pt x="2638784" y="3804627"/>
                  <a:pt x="2657807" y="3801909"/>
                  <a:pt x="2663242" y="3793756"/>
                </a:cubicBezTo>
                <a:cubicBezTo>
                  <a:pt x="2663242" y="3788321"/>
                  <a:pt x="2665960" y="3780168"/>
                  <a:pt x="2665960" y="3772015"/>
                </a:cubicBezTo>
                <a:cubicBezTo>
                  <a:pt x="2674113" y="3750275"/>
                  <a:pt x="2690418" y="3731251"/>
                  <a:pt x="2704006" y="3712228"/>
                </a:cubicBezTo>
                <a:cubicBezTo>
                  <a:pt x="2712159" y="3701358"/>
                  <a:pt x="2714877" y="3693205"/>
                  <a:pt x="2728465" y="3690488"/>
                </a:cubicBezTo>
                <a:cubicBezTo>
                  <a:pt x="2728465" y="3685052"/>
                  <a:pt x="2728465" y="3679617"/>
                  <a:pt x="2728465" y="3676900"/>
                </a:cubicBezTo>
                <a:cubicBezTo>
                  <a:pt x="2714877" y="3679617"/>
                  <a:pt x="2712159" y="3695923"/>
                  <a:pt x="2704006" y="3704076"/>
                </a:cubicBezTo>
                <a:cubicBezTo>
                  <a:pt x="2701289" y="3706793"/>
                  <a:pt x="2693136" y="3712228"/>
                  <a:pt x="2690418" y="3714946"/>
                </a:cubicBezTo>
                <a:cubicBezTo>
                  <a:pt x="2682265" y="3728534"/>
                  <a:pt x="2676830" y="3742122"/>
                  <a:pt x="2668677" y="3755710"/>
                </a:cubicBezTo>
                <a:cubicBezTo>
                  <a:pt x="2668677" y="3758427"/>
                  <a:pt x="2663242" y="3758427"/>
                  <a:pt x="2663242" y="3758427"/>
                </a:cubicBezTo>
                <a:cubicBezTo>
                  <a:pt x="2655089" y="3766580"/>
                  <a:pt x="2657807" y="3782886"/>
                  <a:pt x="2649654" y="3791039"/>
                </a:cubicBezTo>
                <a:cubicBezTo>
                  <a:pt x="2646937" y="3793756"/>
                  <a:pt x="2644219" y="3791039"/>
                  <a:pt x="2641501" y="3793756"/>
                </a:cubicBezTo>
                <a:cubicBezTo>
                  <a:pt x="2638784" y="3796474"/>
                  <a:pt x="2641501" y="3799191"/>
                  <a:pt x="2638784" y="3799191"/>
                </a:cubicBezTo>
                <a:cubicBezTo>
                  <a:pt x="2633349" y="3799191"/>
                  <a:pt x="2627913" y="3801909"/>
                  <a:pt x="2622478" y="3801909"/>
                </a:cubicBezTo>
                <a:cubicBezTo>
                  <a:pt x="2622478" y="3801909"/>
                  <a:pt x="2622478" y="3807344"/>
                  <a:pt x="2619761" y="3807344"/>
                </a:cubicBezTo>
                <a:cubicBezTo>
                  <a:pt x="2617043" y="3807344"/>
                  <a:pt x="2611608" y="3807344"/>
                  <a:pt x="2608890" y="3807344"/>
                </a:cubicBezTo>
                <a:cubicBezTo>
                  <a:pt x="2608890" y="3810062"/>
                  <a:pt x="2606173" y="3810062"/>
                  <a:pt x="2606173" y="3812779"/>
                </a:cubicBezTo>
                <a:cubicBezTo>
                  <a:pt x="2600738" y="3812779"/>
                  <a:pt x="2595302" y="3815497"/>
                  <a:pt x="2589867" y="3815497"/>
                </a:cubicBezTo>
                <a:cubicBezTo>
                  <a:pt x="2589867" y="3818215"/>
                  <a:pt x="2587150" y="3818215"/>
                  <a:pt x="2587150" y="3820932"/>
                </a:cubicBezTo>
                <a:cubicBezTo>
                  <a:pt x="2584432" y="3820932"/>
                  <a:pt x="2578997" y="3818215"/>
                  <a:pt x="2576279" y="3820932"/>
                </a:cubicBezTo>
                <a:cubicBezTo>
                  <a:pt x="2573562" y="3820932"/>
                  <a:pt x="2570844" y="3820932"/>
                  <a:pt x="2568126" y="3820932"/>
                </a:cubicBezTo>
                <a:cubicBezTo>
                  <a:pt x="2568126" y="3785603"/>
                  <a:pt x="2568126" y="3774733"/>
                  <a:pt x="2589867" y="3750275"/>
                </a:cubicBezTo>
                <a:cubicBezTo>
                  <a:pt x="2589867" y="3750275"/>
                  <a:pt x="2589867" y="3747557"/>
                  <a:pt x="2589867" y="3744839"/>
                </a:cubicBezTo>
                <a:cubicBezTo>
                  <a:pt x="2592585" y="3739404"/>
                  <a:pt x="2603455" y="3733969"/>
                  <a:pt x="2606173" y="3731251"/>
                </a:cubicBezTo>
                <a:cubicBezTo>
                  <a:pt x="2608890" y="3731251"/>
                  <a:pt x="2611608" y="3731251"/>
                  <a:pt x="2614326" y="3731251"/>
                </a:cubicBezTo>
                <a:cubicBezTo>
                  <a:pt x="2617043" y="3731251"/>
                  <a:pt x="2617043" y="3725816"/>
                  <a:pt x="2619761" y="3725816"/>
                </a:cubicBezTo>
                <a:cubicBezTo>
                  <a:pt x="2625196" y="3725816"/>
                  <a:pt x="2630631" y="3723099"/>
                  <a:pt x="2636066" y="3723099"/>
                </a:cubicBezTo>
                <a:cubicBezTo>
                  <a:pt x="2636066" y="3723099"/>
                  <a:pt x="2636066" y="3720381"/>
                  <a:pt x="2636066" y="3720381"/>
                </a:cubicBezTo>
                <a:cubicBezTo>
                  <a:pt x="2646937" y="3714946"/>
                  <a:pt x="2649654" y="3709511"/>
                  <a:pt x="2657807" y="3704076"/>
                </a:cubicBezTo>
                <a:cubicBezTo>
                  <a:pt x="2657807" y="3704076"/>
                  <a:pt x="2657807" y="3701358"/>
                  <a:pt x="2657807" y="3698640"/>
                </a:cubicBezTo>
                <a:cubicBezTo>
                  <a:pt x="2646937" y="3698640"/>
                  <a:pt x="2641501" y="3701358"/>
                  <a:pt x="2636066" y="3706793"/>
                </a:cubicBezTo>
                <a:cubicBezTo>
                  <a:pt x="2636066" y="3706793"/>
                  <a:pt x="2636066" y="3706793"/>
                  <a:pt x="2636066" y="3709511"/>
                </a:cubicBezTo>
                <a:cubicBezTo>
                  <a:pt x="2627913" y="3709511"/>
                  <a:pt x="2625196" y="3709511"/>
                  <a:pt x="2617043" y="3709511"/>
                </a:cubicBezTo>
                <a:cubicBezTo>
                  <a:pt x="2617043" y="3701358"/>
                  <a:pt x="2617043" y="3695923"/>
                  <a:pt x="2622478" y="3690488"/>
                </a:cubicBezTo>
                <a:cubicBezTo>
                  <a:pt x="2627913" y="3687770"/>
                  <a:pt x="2644219" y="3690488"/>
                  <a:pt x="2649654" y="3687770"/>
                </a:cubicBezTo>
                <a:cubicBezTo>
                  <a:pt x="2649654" y="3687770"/>
                  <a:pt x="2652372" y="3682335"/>
                  <a:pt x="2652372" y="3682335"/>
                </a:cubicBezTo>
                <a:cubicBezTo>
                  <a:pt x="2655089" y="3682335"/>
                  <a:pt x="2657807" y="3679617"/>
                  <a:pt x="2660525" y="3679617"/>
                </a:cubicBezTo>
                <a:cubicBezTo>
                  <a:pt x="2660525" y="3679617"/>
                  <a:pt x="2660525" y="3676900"/>
                  <a:pt x="2660525" y="3676900"/>
                </a:cubicBezTo>
                <a:cubicBezTo>
                  <a:pt x="2668677" y="3674182"/>
                  <a:pt x="2679548" y="3676900"/>
                  <a:pt x="2684983" y="3674182"/>
                </a:cubicBezTo>
                <a:cubicBezTo>
                  <a:pt x="2693136" y="3671464"/>
                  <a:pt x="2695853" y="3663312"/>
                  <a:pt x="2701289" y="3657877"/>
                </a:cubicBezTo>
                <a:cubicBezTo>
                  <a:pt x="2706724" y="3655159"/>
                  <a:pt x="2714877" y="3657877"/>
                  <a:pt x="2720312" y="3655159"/>
                </a:cubicBezTo>
                <a:cubicBezTo>
                  <a:pt x="2723029" y="3655159"/>
                  <a:pt x="2725747" y="3649724"/>
                  <a:pt x="2728465" y="3649724"/>
                </a:cubicBezTo>
                <a:lnTo>
                  <a:pt x="2754153" y="3648034"/>
                </a:lnTo>
                <a:lnTo>
                  <a:pt x="2762732" y="3634523"/>
                </a:lnTo>
                <a:cubicBezTo>
                  <a:pt x="2766512" y="3630532"/>
                  <a:pt x="2771267" y="3627305"/>
                  <a:pt x="2777382" y="3625266"/>
                </a:cubicBezTo>
                <a:cubicBezTo>
                  <a:pt x="2788253" y="3619831"/>
                  <a:pt x="2796405" y="3627984"/>
                  <a:pt x="2799123" y="3630701"/>
                </a:cubicBezTo>
                <a:cubicBezTo>
                  <a:pt x="2807275" y="3633419"/>
                  <a:pt x="2845321" y="3633419"/>
                  <a:pt x="2850757" y="3630701"/>
                </a:cubicBezTo>
                <a:cubicBezTo>
                  <a:pt x="2856191" y="3627984"/>
                  <a:pt x="2858909" y="3619831"/>
                  <a:pt x="2861627" y="3617113"/>
                </a:cubicBezTo>
                <a:cubicBezTo>
                  <a:pt x="2864345" y="3617113"/>
                  <a:pt x="2864345" y="3617113"/>
                  <a:pt x="2867063" y="3617113"/>
                </a:cubicBezTo>
                <a:cubicBezTo>
                  <a:pt x="2867063" y="3617113"/>
                  <a:pt x="2869779" y="3614396"/>
                  <a:pt x="2869779" y="3611678"/>
                </a:cubicBezTo>
                <a:cubicBezTo>
                  <a:pt x="2869779" y="3611678"/>
                  <a:pt x="2872497" y="3611678"/>
                  <a:pt x="2875215" y="3611678"/>
                </a:cubicBezTo>
                <a:cubicBezTo>
                  <a:pt x="2877933" y="3608960"/>
                  <a:pt x="2877933" y="3608960"/>
                  <a:pt x="2877933" y="3606243"/>
                </a:cubicBezTo>
                <a:cubicBezTo>
                  <a:pt x="2877933" y="3603525"/>
                  <a:pt x="2883367" y="3603525"/>
                  <a:pt x="2886085" y="3600808"/>
                </a:cubicBezTo>
                <a:cubicBezTo>
                  <a:pt x="2888803" y="3595372"/>
                  <a:pt x="2888803" y="3592655"/>
                  <a:pt x="2891521" y="3589937"/>
                </a:cubicBezTo>
                <a:cubicBezTo>
                  <a:pt x="2891521" y="3587220"/>
                  <a:pt x="2888803" y="3587220"/>
                  <a:pt x="2888803" y="3584502"/>
                </a:cubicBezTo>
                <a:cubicBezTo>
                  <a:pt x="2886085" y="3584502"/>
                  <a:pt x="2886085" y="3584502"/>
                  <a:pt x="2883367" y="3584502"/>
                </a:cubicBezTo>
                <a:cubicBezTo>
                  <a:pt x="2880651" y="3587220"/>
                  <a:pt x="2877933" y="3595372"/>
                  <a:pt x="2875215" y="3598090"/>
                </a:cubicBezTo>
                <a:cubicBezTo>
                  <a:pt x="2875215" y="3598090"/>
                  <a:pt x="2872497" y="3598090"/>
                  <a:pt x="2869779" y="3598090"/>
                </a:cubicBezTo>
                <a:cubicBezTo>
                  <a:pt x="2861627" y="3603525"/>
                  <a:pt x="2848039" y="3619831"/>
                  <a:pt x="2839887" y="3622548"/>
                </a:cubicBezTo>
                <a:cubicBezTo>
                  <a:pt x="2829017" y="3622548"/>
                  <a:pt x="2820863" y="3619831"/>
                  <a:pt x="2809993" y="3619831"/>
                </a:cubicBezTo>
                <a:cubicBezTo>
                  <a:pt x="2809993" y="3619831"/>
                  <a:pt x="2809993" y="3617113"/>
                  <a:pt x="2809993" y="3617113"/>
                </a:cubicBezTo>
                <a:cubicBezTo>
                  <a:pt x="2807275" y="3617113"/>
                  <a:pt x="2804558" y="3614396"/>
                  <a:pt x="2801841" y="3614396"/>
                </a:cubicBezTo>
                <a:cubicBezTo>
                  <a:pt x="2801841" y="3611678"/>
                  <a:pt x="2812711" y="3600808"/>
                  <a:pt x="2815429" y="3598090"/>
                </a:cubicBezTo>
                <a:cubicBezTo>
                  <a:pt x="2815429" y="3598090"/>
                  <a:pt x="2818145" y="3598090"/>
                  <a:pt x="2818145" y="3598090"/>
                </a:cubicBezTo>
                <a:cubicBezTo>
                  <a:pt x="2818145" y="3598090"/>
                  <a:pt x="2818145" y="3595372"/>
                  <a:pt x="2818145" y="3592655"/>
                </a:cubicBezTo>
                <a:cubicBezTo>
                  <a:pt x="2820863" y="3592655"/>
                  <a:pt x="2820863" y="3592655"/>
                  <a:pt x="2823581" y="3592655"/>
                </a:cubicBezTo>
                <a:cubicBezTo>
                  <a:pt x="2826299" y="3592655"/>
                  <a:pt x="2823581" y="3589937"/>
                  <a:pt x="2826299" y="3587220"/>
                </a:cubicBezTo>
                <a:cubicBezTo>
                  <a:pt x="2829017" y="3584502"/>
                  <a:pt x="2831733" y="3581784"/>
                  <a:pt x="2834451" y="3581784"/>
                </a:cubicBezTo>
                <a:cubicBezTo>
                  <a:pt x="2839887" y="3581784"/>
                  <a:pt x="2842603" y="3579067"/>
                  <a:pt x="2848039" y="3579067"/>
                </a:cubicBezTo>
                <a:cubicBezTo>
                  <a:pt x="2848039" y="3579067"/>
                  <a:pt x="2848039" y="3573632"/>
                  <a:pt x="2850757" y="3573632"/>
                </a:cubicBezTo>
                <a:cubicBezTo>
                  <a:pt x="2856191" y="3573632"/>
                  <a:pt x="2858909" y="3573632"/>
                  <a:pt x="2864345" y="3573632"/>
                </a:cubicBezTo>
                <a:cubicBezTo>
                  <a:pt x="2864345" y="3573632"/>
                  <a:pt x="2867063" y="3568196"/>
                  <a:pt x="2869779" y="3568196"/>
                </a:cubicBezTo>
                <a:cubicBezTo>
                  <a:pt x="2875215" y="3565479"/>
                  <a:pt x="2880651" y="3568196"/>
                  <a:pt x="2883367" y="3565479"/>
                </a:cubicBezTo>
                <a:cubicBezTo>
                  <a:pt x="2888803" y="3562761"/>
                  <a:pt x="2888803" y="3554608"/>
                  <a:pt x="2891521" y="3549173"/>
                </a:cubicBezTo>
                <a:cubicBezTo>
                  <a:pt x="2894239" y="3543738"/>
                  <a:pt x="2899673" y="3541020"/>
                  <a:pt x="2902391" y="3535585"/>
                </a:cubicBezTo>
                <a:cubicBezTo>
                  <a:pt x="2905109" y="3519280"/>
                  <a:pt x="2905109" y="3505692"/>
                  <a:pt x="2907827" y="3492104"/>
                </a:cubicBezTo>
                <a:cubicBezTo>
                  <a:pt x="2899673" y="3492104"/>
                  <a:pt x="2902391" y="3494821"/>
                  <a:pt x="2896955" y="3497539"/>
                </a:cubicBezTo>
                <a:cubicBezTo>
                  <a:pt x="2896955" y="3508409"/>
                  <a:pt x="2899673" y="3521997"/>
                  <a:pt x="2894239" y="3532868"/>
                </a:cubicBezTo>
                <a:cubicBezTo>
                  <a:pt x="2891521" y="3541020"/>
                  <a:pt x="2883367" y="3543738"/>
                  <a:pt x="2880651" y="3554608"/>
                </a:cubicBezTo>
                <a:cubicBezTo>
                  <a:pt x="2875215" y="3557326"/>
                  <a:pt x="2869779" y="3560044"/>
                  <a:pt x="2864345" y="3562761"/>
                </a:cubicBezTo>
                <a:cubicBezTo>
                  <a:pt x="2856191" y="3565479"/>
                  <a:pt x="2853475" y="3562761"/>
                  <a:pt x="2848039" y="3565479"/>
                </a:cubicBezTo>
                <a:cubicBezTo>
                  <a:pt x="2845321" y="3565479"/>
                  <a:pt x="2845321" y="3565479"/>
                  <a:pt x="2842603" y="3565479"/>
                </a:cubicBezTo>
                <a:cubicBezTo>
                  <a:pt x="2839887" y="3562761"/>
                  <a:pt x="2845321" y="3549173"/>
                  <a:pt x="2848039" y="3543738"/>
                </a:cubicBezTo>
                <a:cubicBezTo>
                  <a:pt x="2853475" y="3527432"/>
                  <a:pt x="2845321" y="3519280"/>
                  <a:pt x="2845321" y="3508409"/>
                </a:cubicBezTo>
                <a:cubicBezTo>
                  <a:pt x="2842603" y="3505692"/>
                  <a:pt x="2842603" y="3502974"/>
                  <a:pt x="2839887" y="3500256"/>
                </a:cubicBezTo>
                <a:cubicBezTo>
                  <a:pt x="2837169" y="3500256"/>
                  <a:pt x="2834451" y="3500256"/>
                  <a:pt x="2831733" y="3500256"/>
                </a:cubicBezTo>
                <a:cubicBezTo>
                  <a:pt x="2829017" y="3500256"/>
                  <a:pt x="2826299" y="3497539"/>
                  <a:pt x="2823581" y="3494821"/>
                </a:cubicBezTo>
                <a:cubicBezTo>
                  <a:pt x="2815429" y="3494821"/>
                  <a:pt x="2812711" y="3500256"/>
                  <a:pt x="2818145" y="3502974"/>
                </a:cubicBezTo>
                <a:cubicBezTo>
                  <a:pt x="2820863" y="3508409"/>
                  <a:pt x="2834451" y="3511127"/>
                  <a:pt x="2839887" y="3519280"/>
                </a:cubicBezTo>
                <a:cubicBezTo>
                  <a:pt x="2845321" y="3527432"/>
                  <a:pt x="2834451" y="3565479"/>
                  <a:pt x="2829017" y="3573632"/>
                </a:cubicBezTo>
                <a:cubicBezTo>
                  <a:pt x="2826299" y="3579067"/>
                  <a:pt x="2818145" y="3581784"/>
                  <a:pt x="2815429" y="3584502"/>
                </a:cubicBezTo>
                <a:cubicBezTo>
                  <a:pt x="2815429" y="3587220"/>
                  <a:pt x="2812711" y="3592655"/>
                  <a:pt x="2812711" y="3595372"/>
                </a:cubicBezTo>
                <a:cubicBezTo>
                  <a:pt x="2809993" y="3600808"/>
                  <a:pt x="2804558" y="3608960"/>
                  <a:pt x="2799123" y="3611678"/>
                </a:cubicBezTo>
                <a:cubicBezTo>
                  <a:pt x="2793688" y="3614396"/>
                  <a:pt x="2780100" y="3611678"/>
                  <a:pt x="2774665" y="3614396"/>
                </a:cubicBezTo>
                <a:cubicBezTo>
                  <a:pt x="2769230" y="3617113"/>
                  <a:pt x="2766512" y="3625266"/>
                  <a:pt x="2763794" y="3630701"/>
                </a:cubicBezTo>
                <a:cubicBezTo>
                  <a:pt x="2757000" y="3632060"/>
                  <a:pt x="2750206" y="3632060"/>
                  <a:pt x="2744091" y="3631041"/>
                </a:cubicBezTo>
                <a:lnTo>
                  <a:pt x="2736535" y="3628248"/>
                </a:lnTo>
                <a:lnTo>
                  <a:pt x="2735897" y="3632357"/>
                </a:lnTo>
                <a:cubicBezTo>
                  <a:pt x="2734750" y="3636816"/>
                  <a:pt x="2733222" y="3640212"/>
                  <a:pt x="2731183" y="3641571"/>
                </a:cubicBezTo>
                <a:cubicBezTo>
                  <a:pt x="2725748" y="3641571"/>
                  <a:pt x="2720312" y="3644289"/>
                  <a:pt x="2714877" y="3644289"/>
                </a:cubicBezTo>
                <a:cubicBezTo>
                  <a:pt x="2714877" y="3647006"/>
                  <a:pt x="2712160" y="3647006"/>
                  <a:pt x="2712160" y="3649724"/>
                </a:cubicBezTo>
                <a:cubicBezTo>
                  <a:pt x="2704007" y="3649724"/>
                  <a:pt x="2698572" y="3652442"/>
                  <a:pt x="2690419" y="3652442"/>
                </a:cubicBezTo>
                <a:cubicBezTo>
                  <a:pt x="2690419" y="3652442"/>
                  <a:pt x="2687701" y="3655159"/>
                  <a:pt x="2687701" y="3655159"/>
                </a:cubicBezTo>
                <a:cubicBezTo>
                  <a:pt x="2682266" y="3657877"/>
                  <a:pt x="2679549" y="3655159"/>
                  <a:pt x="2674113" y="3657877"/>
                </a:cubicBezTo>
                <a:cubicBezTo>
                  <a:pt x="2674113" y="3660594"/>
                  <a:pt x="2671396" y="3660594"/>
                  <a:pt x="2671396" y="3663312"/>
                </a:cubicBezTo>
                <a:cubicBezTo>
                  <a:pt x="2665961" y="3663312"/>
                  <a:pt x="2663243" y="3663312"/>
                  <a:pt x="2660525" y="3663312"/>
                </a:cubicBezTo>
                <a:cubicBezTo>
                  <a:pt x="2655090" y="3666030"/>
                  <a:pt x="2641502" y="3674182"/>
                  <a:pt x="2638785" y="3676900"/>
                </a:cubicBezTo>
                <a:cubicBezTo>
                  <a:pt x="2630632" y="3676900"/>
                  <a:pt x="2630632" y="3674182"/>
                  <a:pt x="2625197" y="3671465"/>
                </a:cubicBezTo>
                <a:cubicBezTo>
                  <a:pt x="2625197" y="3647006"/>
                  <a:pt x="2622479" y="3617113"/>
                  <a:pt x="2633350" y="3595372"/>
                </a:cubicBezTo>
                <a:cubicBezTo>
                  <a:pt x="2636067" y="3587220"/>
                  <a:pt x="2652373" y="3568196"/>
                  <a:pt x="2655090" y="3560044"/>
                </a:cubicBezTo>
                <a:lnTo>
                  <a:pt x="2672975" y="3559319"/>
                </a:lnTo>
                <a:lnTo>
                  <a:pt x="2671396" y="3551891"/>
                </a:lnTo>
                <a:cubicBezTo>
                  <a:pt x="2671396" y="3549174"/>
                  <a:pt x="2674793" y="3547135"/>
                  <a:pt x="2678869" y="3545437"/>
                </a:cubicBezTo>
                <a:lnTo>
                  <a:pt x="2688215" y="3541863"/>
                </a:lnTo>
                <a:lnTo>
                  <a:pt x="2674114" y="3541021"/>
                </a:lnTo>
                <a:cubicBezTo>
                  <a:pt x="2671396" y="3541021"/>
                  <a:pt x="2671396" y="3538304"/>
                  <a:pt x="2665961" y="3535586"/>
                </a:cubicBezTo>
                <a:lnTo>
                  <a:pt x="2694495" y="3535586"/>
                </a:lnTo>
                <a:lnTo>
                  <a:pt x="2698572" y="3530150"/>
                </a:lnTo>
                <a:lnTo>
                  <a:pt x="2705287" y="3524075"/>
                </a:lnTo>
                <a:lnTo>
                  <a:pt x="2704006" y="3524715"/>
                </a:lnTo>
                <a:cubicBezTo>
                  <a:pt x="2676830" y="3530150"/>
                  <a:pt x="2649654" y="3516562"/>
                  <a:pt x="2627913" y="3516562"/>
                </a:cubicBezTo>
                <a:cubicBezTo>
                  <a:pt x="2625196" y="3511127"/>
                  <a:pt x="2622478" y="3508409"/>
                  <a:pt x="2619761" y="3502974"/>
                </a:cubicBezTo>
                <a:cubicBezTo>
                  <a:pt x="2633349" y="3494821"/>
                  <a:pt x="2657807" y="3473080"/>
                  <a:pt x="2674113" y="3473080"/>
                </a:cubicBezTo>
                <a:cubicBezTo>
                  <a:pt x="2679548" y="3464928"/>
                  <a:pt x="2684983" y="3459493"/>
                  <a:pt x="2687701" y="3451340"/>
                </a:cubicBezTo>
                <a:cubicBezTo>
                  <a:pt x="2695853" y="3451340"/>
                  <a:pt x="2706724" y="3451340"/>
                  <a:pt x="2714877" y="3451340"/>
                </a:cubicBezTo>
                <a:cubicBezTo>
                  <a:pt x="2717594" y="3451340"/>
                  <a:pt x="2725747" y="3448622"/>
                  <a:pt x="2731182" y="3448622"/>
                </a:cubicBezTo>
                <a:cubicBezTo>
                  <a:pt x="2736617" y="3448622"/>
                  <a:pt x="2744770" y="3454057"/>
                  <a:pt x="2752923" y="3451340"/>
                </a:cubicBezTo>
                <a:cubicBezTo>
                  <a:pt x="2755640" y="3451340"/>
                  <a:pt x="2758358" y="3448622"/>
                  <a:pt x="2761076" y="3445905"/>
                </a:cubicBezTo>
                <a:cubicBezTo>
                  <a:pt x="2766511" y="3445905"/>
                  <a:pt x="2771946" y="3443187"/>
                  <a:pt x="2777381" y="3443187"/>
                </a:cubicBezTo>
                <a:cubicBezTo>
                  <a:pt x="2777381" y="3443187"/>
                  <a:pt x="2780099" y="3437752"/>
                  <a:pt x="2782816" y="3437752"/>
                </a:cubicBezTo>
                <a:lnTo>
                  <a:pt x="2782817" y="3437752"/>
                </a:lnTo>
                <a:cubicBezTo>
                  <a:pt x="2785535" y="3435034"/>
                  <a:pt x="2790970" y="3432317"/>
                  <a:pt x="2793688" y="3429599"/>
                </a:cubicBezTo>
                <a:cubicBezTo>
                  <a:pt x="2804558" y="3410576"/>
                  <a:pt x="2818145" y="3388835"/>
                  <a:pt x="2823581" y="3364377"/>
                </a:cubicBezTo>
                <a:cubicBezTo>
                  <a:pt x="2845321" y="3358942"/>
                  <a:pt x="2856191" y="3345354"/>
                  <a:pt x="2875215" y="3337201"/>
                </a:cubicBezTo>
                <a:cubicBezTo>
                  <a:pt x="2875215" y="3334484"/>
                  <a:pt x="2875215" y="3334484"/>
                  <a:pt x="2875215" y="3334484"/>
                </a:cubicBezTo>
                <a:cubicBezTo>
                  <a:pt x="2875215" y="3329048"/>
                  <a:pt x="2875215" y="3329048"/>
                  <a:pt x="2872497" y="3326331"/>
                </a:cubicBezTo>
                <a:cubicBezTo>
                  <a:pt x="2872497" y="3326331"/>
                  <a:pt x="2839887" y="3348071"/>
                  <a:pt x="2837169" y="3350789"/>
                </a:cubicBezTo>
                <a:cubicBezTo>
                  <a:pt x="2837169" y="3350789"/>
                  <a:pt x="2834451" y="3350789"/>
                  <a:pt x="2831733" y="3350789"/>
                </a:cubicBezTo>
                <a:cubicBezTo>
                  <a:pt x="2831733" y="3334484"/>
                  <a:pt x="2831733" y="3318178"/>
                  <a:pt x="2837169" y="3301872"/>
                </a:cubicBezTo>
                <a:cubicBezTo>
                  <a:pt x="2837169" y="3299155"/>
                  <a:pt x="2842603" y="3293720"/>
                  <a:pt x="2842603" y="3285567"/>
                </a:cubicBezTo>
                <a:cubicBezTo>
                  <a:pt x="2850757" y="3288284"/>
                  <a:pt x="2872497" y="3291002"/>
                  <a:pt x="2877933" y="3285567"/>
                </a:cubicBezTo>
                <a:cubicBezTo>
                  <a:pt x="2886085" y="3285567"/>
                  <a:pt x="2888803" y="3280132"/>
                  <a:pt x="2894239" y="3277414"/>
                </a:cubicBezTo>
                <a:cubicBezTo>
                  <a:pt x="2894239" y="3274696"/>
                  <a:pt x="2894239" y="3274696"/>
                  <a:pt x="2894239" y="3271979"/>
                </a:cubicBezTo>
                <a:cubicBezTo>
                  <a:pt x="2886085" y="3271979"/>
                  <a:pt x="2883367" y="3271979"/>
                  <a:pt x="2880651" y="3277414"/>
                </a:cubicBezTo>
                <a:cubicBezTo>
                  <a:pt x="2869779" y="3277414"/>
                  <a:pt x="2858909" y="3277414"/>
                  <a:pt x="2848039" y="3277414"/>
                </a:cubicBezTo>
                <a:cubicBezTo>
                  <a:pt x="2850757" y="3269261"/>
                  <a:pt x="2850757" y="3258391"/>
                  <a:pt x="2856191" y="3250238"/>
                </a:cubicBezTo>
                <a:cubicBezTo>
                  <a:pt x="2861627" y="3242085"/>
                  <a:pt x="2864345" y="3239368"/>
                  <a:pt x="2864345" y="3225780"/>
                </a:cubicBezTo>
                <a:cubicBezTo>
                  <a:pt x="2861627" y="3225780"/>
                  <a:pt x="2858909" y="3225780"/>
                  <a:pt x="2856191" y="3225780"/>
                </a:cubicBezTo>
                <a:cubicBezTo>
                  <a:pt x="2853475" y="3233932"/>
                  <a:pt x="2850757" y="3236650"/>
                  <a:pt x="2848039" y="3242085"/>
                </a:cubicBezTo>
                <a:cubicBezTo>
                  <a:pt x="2845321" y="3250238"/>
                  <a:pt x="2845321" y="3261108"/>
                  <a:pt x="2842603" y="3269261"/>
                </a:cubicBezTo>
                <a:cubicBezTo>
                  <a:pt x="2842603" y="3274696"/>
                  <a:pt x="2834451" y="3277414"/>
                  <a:pt x="2834451" y="3280132"/>
                </a:cubicBezTo>
                <a:cubicBezTo>
                  <a:pt x="2834451" y="3280132"/>
                  <a:pt x="2834451" y="3282849"/>
                  <a:pt x="2834451" y="3285567"/>
                </a:cubicBezTo>
                <a:cubicBezTo>
                  <a:pt x="2831733" y="3293720"/>
                  <a:pt x="2826299" y="3301872"/>
                  <a:pt x="2823581" y="3310025"/>
                </a:cubicBezTo>
                <a:cubicBezTo>
                  <a:pt x="2818145" y="3320896"/>
                  <a:pt x="2823581" y="3334484"/>
                  <a:pt x="2818145" y="3345354"/>
                </a:cubicBezTo>
                <a:cubicBezTo>
                  <a:pt x="2818145" y="3345354"/>
                  <a:pt x="2818145" y="3348071"/>
                  <a:pt x="2818145" y="3348071"/>
                </a:cubicBezTo>
                <a:cubicBezTo>
                  <a:pt x="2818145" y="3348071"/>
                  <a:pt x="2815429" y="3348071"/>
                  <a:pt x="2815429" y="3348071"/>
                </a:cubicBezTo>
                <a:cubicBezTo>
                  <a:pt x="2809993" y="3334484"/>
                  <a:pt x="2804558" y="3301872"/>
                  <a:pt x="2807275" y="3288284"/>
                </a:cubicBezTo>
                <a:cubicBezTo>
                  <a:pt x="2801841" y="3288284"/>
                  <a:pt x="2801841" y="3288284"/>
                  <a:pt x="2793688" y="3288284"/>
                </a:cubicBezTo>
                <a:cubicBezTo>
                  <a:pt x="2793688" y="3296437"/>
                  <a:pt x="2796405" y="3299155"/>
                  <a:pt x="2799123" y="3304590"/>
                </a:cubicBezTo>
                <a:cubicBezTo>
                  <a:pt x="2799123" y="3310025"/>
                  <a:pt x="2796405" y="3315460"/>
                  <a:pt x="2799123" y="3318178"/>
                </a:cubicBezTo>
                <a:cubicBezTo>
                  <a:pt x="2799123" y="3318178"/>
                  <a:pt x="2801841" y="3320896"/>
                  <a:pt x="2801841" y="3320896"/>
                </a:cubicBezTo>
                <a:cubicBezTo>
                  <a:pt x="2801841" y="3320896"/>
                  <a:pt x="2801841" y="3329048"/>
                  <a:pt x="2801841" y="3329048"/>
                </a:cubicBezTo>
                <a:cubicBezTo>
                  <a:pt x="2801841" y="3334484"/>
                  <a:pt x="2804558" y="3342636"/>
                  <a:pt x="2801841" y="3348071"/>
                </a:cubicBezTo>
                <a:cubicBezTo>
                  <a:pt x="2801841" y="3350789"/>
                  <a:pt x="2801841" y="3350789"/>
                  <a:pt x="2801841" y="3353507"/>
                </a:cubicBezTo>
                <a:cubicBezTo>
                  <a:pt x="2801841" y="3353507"/>
                  <a:pt x="2796405" y="3350789"/>
                  <a:pt x="2793688" y="3353507"/>
                </a:cubicBezTo>
                <a:cubicBezTo>
                  <a:pt x="2790970" y="3353507"/>
                  <a:pt x="2788253" y="3356224"/>
                  <a:pt x="2785535" y="3358942"/>
                </a:cubicBezTo>
                <a:cubicBezTo>
                  <a:pt x="2780100" y="3364377"/>
                  <a:pt x="2782817" y="3369812"/>
                  <a:pt x="2780100" y="3375247"/>
                </a:cubicBezTo>
                <a:cubicBezTo>
                  <a:pt x="2777382" y="3380683"/>
                  <a:pt x="2769230" y="3383400"/>
                  <a:pt x="2769230" y="3391553"/>
                </a:cubicBezTo>
                <a:cubicBezTo>
                  <a:pt x="2766512" y="3391553"/>
                  <a:pt x="2766512" y="3391553"/>
                  <a:pt x="2766512" y="3391553"/>
                </a:cubicBezTo>
                <a:cubicBezTo>
                  <a:pt x="2755642" y="3394270"/>
                  <a:pt x="2744771" y="3407858"/>
                  <a:pt x="2736618" y="3413294"/>
                </a:cubicBezTo>
                <a:cubicBezTo>
                  <a:pt x="2733901" y="3413294"/>
                  <a:pt x="2731183" y="3413294"/>
                  <a:pt x="2728466" y="3413294"/>
                </a:cubicBezTo>
                <a:cubicBezTo>
                  <a:pt x="2725748" y="3413294"/>
                  <a:pt x="2723030" y="3418729"/>
                  <a:pt x="2720313" y="3418729"/>
                </a:cubicBezTo>
                <a:cubicBezTo>
                  <a:pt x="2714878" y="3421446"/>
                  <a:pt x="2709442" y="3418729"/>
                  <a:pt x="2704007" y="3421446"/>
                </a:cubicBezTo>
                <a:cubicBezTo>
                  <a:pt x="2704007" y="3421446"/>
                  <a:pt x="2704007" y="3424164"/>
                  <a:pt x="2704007" y="3424164"/>
                </a:cubicBezTo>
                <a:cubicBezTo>
                  <a:pt x="2695854" y="3429599"/>
                  <a:pt x="2687702" y="3424164"/>
                  <a:pt x="2682266" y="3432317"/>
                </a:cubicBezTo>
                <a:cubicBezTo>
                  <a:pt x="2676831" y="3435034"/>
                  <a:pt x="2671396" y="3435034"/>
                  <a:pt x="2668678" y="3432317"/>
                </a:cubicBezTo>
                <a:cubicBezTo>
                  <a:pt x="2671396" y="3421446"/>
                  <a:pt x="2684984" y="3418729"/>
                  <a:pt x="2690419" y="3410576"/>
                </a:cubicBezTo>
                <a:cubicBezTo>
                  <a:pt x="2695854" y="3399706"/>
                  <a:pt x="2704007" y="3391553"/>
                  <a:pt x="2709442" y="3383400"/>
                </a:cubicBezTo>
                <a:cubicBezTo>
                  <a:pt x="2709442" y="3380683"/>
                  <a:pt x="2714878" y="3383400"/>
                  <a:pt x="2714878" y="3380683"/>
                </a:cubicBezTo>
                <a:cubicBezTo>
                  <a:pt x="2717595" y="3377965"/>
                  <a:pt x="2714878" y="3375247"/>
                  <a:pt x="2717595" y="3372530"/>
                </a:cubicBezTo>
                <a:cubicBezTo>
                  <a:pt x="2717595" y="3367095"/>
                  <a:pt x="2717595" y="3367095"/>
                  <a:pt x="2714878" y="3364377"/>
                </a:cubicBezTo>
                <a:cubicBezTo>
                  <a:pt x="2701290" y="3367095"/>
                  <a:pt x="2709442" y="3372530"/>
                  <a:pt x="2704007" y="3380683"/>
                </a:cubicBezTo>
                <a:cubicBezTo>
                  <a:pt x="2701290" y="3386118"/>
                  <a:pt x="2671396" y="3416011"/>
                  <a:pt x="2665961" y="3418729"/>
                </a:cubicBezTo>
                <a:cubicBezTo>
                  <a:pt x="2663243" y="3418729"/>
                  <a:pt x="2660526" y="3418729"/>
                  <a:pt x="2657808" y="3418729"/>
                </a:cubicBezTo>
                <a:cubicBezTo>
                  <a:pt x="2655090" y="3421446"/>
                  <a:pt x="2652373" y="3426882"/>
                  <a:pt x="2644220" y="3424164"/>
                </a:cubicBezTo>
                <a:cubicBezTo>
                  <a:pt x="2638785" y="3424164"/>
                  <a:pt x="2630632" y="3424164"/>
                  <a:pt x="2625197" y="3424164"/>
                </a:cubicBezTo>
                <a:cubicBezTo>
                  <a:pt x="2630632" y="3416011"/>
                  <a:pt x="2636067" y="3405141"/>
                  <a:pt x="2641502" y="3396988"/>
                </a:cubicBezTo>
                <a:cubicBezTo>
                  <a:pt x="2646938" y="3394270"/>
                  <a:pt x="2652373" y="3396988"/>
                  <a:pt x="2655090" y="3394270"/>
                </a:cubicBezTo>
                <a:cubicBezTo>
                  <a:pt x="2655090" y="3394270"/>
                  <a:pt x="2655090" y="3391553"/>
                  <a:pt x="2655090" y="3391553"/>
                </a:cubicBezTo>
                <a:cubicBezTo>
                  <a:pt x="2657808" y="3388835"/>
                  <a:pt x="2663243" y="3391553"/>
                  <a:pt x="2668678" y="3388835"/>
                </a:cubicBezTo>
                <a:cubicBezTo>
                  <a:pt x="2671396" y="3388835"/>
                  <a:pt x="2671396" y="3383400"/>
                  <a:pt x="2671396" y="3383400"/>
                </a:cubicBezTo>
                <a:cubicBezTo>
                  <a:pt x="2674114" y="3383400"/>
                  <a:pt x="2676831" y="3383400"/>
                  <a:pt x="2679549" y="3383400"/>
                </a:cubicBezTo>
                <a:cubicBezTo>
                  <a:pt x="2684984" y="3383400"/>
                  <a:pt x="2684984" y="3380683"/>
                  <a:pt x="2687702" y="3377965"/>
                </a:cubicBezTo>
                <a:cubicBezTo>
                  <a:pt x="2690419" y="3375247"/>
                  <a:pt x="2693137" y="3377965"/>
                  <a:pt x="2695854" y="3375247"/>
                </a:cubicBezTo>
                <a:cubicBezTo>
                  <a:pt x="2695854" y="3372530"/>
                  <a:pt x="2695854" y="3372530"/>
                  <a:pt x="2695854" y="3369812"/>
                </a:cubicBezTo>
                <a:cubicBezTo>
                  <a:pt x="2698572" y="3369812"/>
                  <a:pt x="2704007" y="3367095"/>
                  <a:pt x="2706725" y="3367095"/>
                </a:cubicBezTo>
                <a:cubicBezTo>
                  <a:pt x="2709442" y="3364377"/>
                  <a:pt x="2714878" y="3356224"/>
                  <a:pt x="2717595" y="3353507"/>
                </a:cubicBezTo>
                <a:cubicBezTo>
                  <a:pt x="2720313" y="3353507"/>
                  <a:pt x="2723030" y="3353507"/>
                  <a:pt x="2725748" y="3350789"/>
                </a:cubicBezTo>
                <a:cubicBezTo>
                  <a:pt x="2731183" y="3345354"/>
                  <a:pt x="2731183" y="3334484"/>
                  <a:pt x="2733901" y="3326331"/>
                </a:cubicBezTo>
                <a:cubicBezTo>
                  <a:pt x="2742054" y="3310025"/>
                  <a:pt x="2752924" y="3288284"/>
                  <a:pt x="2761077" y="3269261"/>
                </a:cubicBezTo>
                <a:cubicBezTo>
                  <a:pt x="2763794" y="3261108"/>
                  <a:pt x="2763794" y="3255673"/>
                  <a:pt x="2769230" y="3250238"/>
                </a:cubicBezTo>
                <a:cubicBezTo>
                  <a:pt x="2771947" y="3247520"/>
                  <a:pt x="2780100" y="3250238"/>
                  <a:pt x="2782817" y="3247520"/>
                </a:cubicBezTo>
                <a:cubicBezTo>
                  <a:pt x="2782817" y="3244803"/>
                  <a:pt x="2782817" y="3244803"/>
                  <a:pt x="2782817" y="3242085"/>
                </a:cubicBezTo>
                <a:cubicBezTo>
                  <a:pt x="2785535" y="3239368"/>
                  <a:pt x="2788253" y="3242085"/>
                  <a:pt x="2790970" y="3239368"/>
                </a:cubicBezTo>
                <a:cubicBezTo>
                  <a:pt x="2793688" y="3236650"/>
                  <a:pt x="2793688" y="3233932"/>
                  <a:pt x="2799123" y="3231215"/>
                </a:cubicBezTo>
                <a:cubicBezTo>
                  <a:pt x="2799123" y="3228497"/>
                  <a:pt x="2799123" y="3217627"/>
                  <a:pt x="2799123" y="3214909"/>
                </a:cubicBezTo>
                <a:cubicBezTo>
                  <a:pt x="2799123" y="3214909"/>
                  <a:pt x="2809993" y="3206757"/>
                  <a:pt x="2809993" y="3206757"/>
                </a:cubicBezTo>
                <a:cubicBezTo>
                  <a:pt x="2812711" y="3204039"/>
                  <a:pt x="2815429" y="3190451"/>
                  <a:pt x="2818145" y="3190451"/>
                </a:cubicBezTo>
                <a:cubicBezTo>
                  <a:pt x="2823581" y="3190451"/>
                  <a:pt x="2829017" y="3190451"/>
                  <a:pt x="2834451" y="3190451"/>
                </a:cubicBezTo>
                <a:cubicBezTo>
                  <a:pt x="2845321" y="3187733"/>
                  <a:pt x="2864345" y="3190451"/>
                  <a:pt x="2877933" y="3190451"/>
                </a:cubicBezTo>
                <a:cubicBezTo>
                  <a:pt x="2877933" y="3185016"/>
                  <a:pt x="2877933" y="3185016"/>
                  <a:pt x="2877933" y="3182298"/>
                </a:cubicBezTo>
                <a:cubicBezTo>
                  <a:pt x="2877933" y="3182298"/>
                  <a:pt x="2861627" y="3179581"/>
                  <a:pt x="2861627" y="3179581"/>
                </a:cubicBezTo>
                <a:cubicBezTo>
                  <a:pt x="2858909" y="3179581"/>
                  <a:pt x="2853475" y="3182298"/>
                  <a:pt x="2850757" y="3182298"/>
                </a:cubicBezTo>
                <a:cubicBezTo>
                  <a:pt x="2845321" y="3182298"/>
                  <a:pt x="2842603" y="3179581"/>
                  <a:pt x="2831733" y="3179581"/>
                </a:cubicBezTo>
                <a:cubicBezTo>
                  <a:pt x="2834451" y="3171428"/>
                  <a:pt x="2839887" y="3163275"/>
                  <a:pt x="2842603" y="3155122"/>
                </a:cubicBezTo>
                <a:cubicBezTo>
                  <a:pt x="2845321" y="3149687"/>
                  <a:pt x="2842603" y="3144252"/>
                  <a:pt x="2845321" y="3141534"/>
                </a:cubicBezTo>
                <a:cubicBezTo>
                  <a:pt x="2845321" y="3136099"/>
                  <a:pt x="2842603" y="3133382"/>
                  <a:pt x="2839887" y="3130664"/>
                </a:cubicBezTo>
                <a:cubicBezTo>
                  <a:pt x="2837169" y="3138817"/>
                  <a:pt x="2831733" y="3152405"/>
                  <a:pt x="2829017" y="3160558"/>
                </a:cubicBezTo>
                <a:cubicBezTo>
                  <a:pt x="2829017" y="3163275"/>
                  <a:pt x="2829017" y="3165993"/>
                  <a:pt x="2829017" y="3168710"/>
                </a:cubicBezTo>
                <a:cubicBezTo>
                  <a:pt x="2823581" y="3176863"/>
                  <a:pt x="2812711" y="3195886"/>
                  <a:pt x="2807275" y="3201321"/>
                </a:cubicBezTo>
                <a:cubicBezTo>
                  <a:pt x="2807275" y="3201321"/>
                  <a:pt x="2807275" y="3201321"/>
                  <a:pt x="2804558" y="3201321"/>
                </a:cubicBezTo>
                <a:cubicBezTo>
                  <a:pt x="2804558" y="3195886"/>
                  <a:pt x="2804558" y="3182298"/>
                  <a:pt x="2804558" y="3179581"/>
                </a:cubicBezTo>
                <a:cubicBezTo>
                  <a:pt x="2804558" y="3176863"/>
                  <a:pt x="2804558" y="3176863"/>
                  <a:pt x="2801841" y="3174145"/>
                </a:cubicBezTo>
                <a:cubicBezTo>
                  <a:pt x="2799123" y="3174145"/>
                  <a:pt x="2799123" y="3174145"/>
                  <a:pt x="2796405" y="3176863"/>
                </a:cubicBezTo>
                <a:cubicBezTo>
                  <a:pt x="2796405" y="3185016"/>
                  <a:pt x="2799123" y="3201321"/>
                  <a:pt x="2796405" y="3206757"/>
                </a:cubicBezTo>
                <a:cubicBezTo>
                  <a:pt x="2796405" y="3209474"/>
                  <a:pt x="2793688" y="3209474"/>
                  <a:pt x="2793688" y="3214909"/>
                </a:cubicBezTo>
                <a:cubicBezTo>
                  <a:pt x="2793688" y="3217627"/>
                  <a:pt x="2796405" y="3223062"/>
                  <a:pt x="2793688" y="3228497"/>
                </a:cubicBezTo>
                <a:cubicBezTo>
                  <a:pt x="2788253" y="3236650"/>
                  <a:pt x="2771947" y="3239368"/>
                  <a:pt x="2763794" y="3247520"/>
                </a:cubicBezTo>
                <a:cubicBezTo>
                  <a:pt x="2755642" y="3236650"/>
                  <a:pt x="2752924" y="3214909"/>
                  <a:pt x="2752924" y="3201321"/>
                </a:cubicBezTo>
                <a:cubicBezTo>
                  <a:pt x="2747489" y="3201321"/>
                  <a:pt x="2747489" y="3204039"/>
                  <a:pt x="2742054" y="3206757"/>
                </a:cubicBezTo>
                <a:cubicBezTo>
                  <a:pt x="2742054" y="3209474"/>
                  <a:pt x="2742054" y="3209474"/>
                  <a:pt x="2742054" y="3209474"/>
                </a:cubicBezTo>
                <a:cubicBezTo>
                  <a:pt x="2744771" y="3212192"/>
                  <a:pt x="2747489" y="3212192"/>
                  <a:pt x="2747489" y="3214909"/>
                </a:cubicBezTo>
                <a:cubicBezTo>
                  <a:pt x="2752924" y="3225780"/>
                  <a:pt x="2750206" y="3244803"/>
                  <a:pt x="2761077" y="3252956"/>
                </a:cubicBezTo>
                <a:cubicBezTo>
                  <a:pt x="2755642" y="3274696"/>
                  <a:pt x="2739336" y="3296437"/>
                  <a:pt x="2731183" y="3318178"/>
                </a:cubicBezTo>
                <a:cubicBezTo>
                  <a:pt x="2725748" y="3329048"/>
                  <a:pt x="2725748" y="3345354"/>
                  <a:pt x="2717595" y="3350789"/>
                </a:cubicBezTo>
                <a:cubicBezTo>
                  <a:pt x="2714878" y="3350789"/>
                  <a:pt x="2712160" y="3353507"/>
                  <a:pt x="2709442" y="3353507"/>
                </a:cubicBezTo>
                <a:cubicBezTo>
                  <a:pt x="2709442" y="3353507"/>
                  <a:pt x="2709442" y="3356224"/>
                  <a:pt x="2709442" y="3356224"/>
                </a:cubicBezTo>
                <a:cubicBezTo>
                  <a:pt x="2706725" y="3356224"/>
                  <a:pt x="2704007" y="3358942"/>
                  <a:pt x="2701290" y="3358942"/>
                </a:cubicBezTo>
                <a:cubicBezTo>
                  <a:pt x="2701290" y="3358942"/>
                  <a:pt x="2701290" y="3364377"/>
                  <a:pt x="2698572" y="3364377"/>
                </a:cubicBezTo>
                <a:cubicBezTo>
                  <a:pt x="2695854" y="3364377"/>
                  <a:pt x="2693137" y="3364377"/>
                  <a:pt x="2690419" y="3364377"/>
                </a:cubicBezTo>
                <a:cubicBezTo>
                  <a:pt x="2687702" y="3364377"/>
                  <a:pt x="2687702" y="3367095"/>
                  <a:pt x="2684984" y="3369812"/>
                </a:cubicBezTo>
                <a:cubicBezTo>
                  <a:pt x="2679549" y="3369812"/>
                  <a:pt x="2676831" y="3372530"/>
                  <a:pt x="2671396" y="3372530"/>
                </a:cubicBezTo>
                <a:cubicBezTo>
                  <a:pt x="2671396" y="3372530"/>
                  <a:pt x="2671396" y="3375247"/>
                  <a:pt x="2671396" y="3375247"/>
                </a:cubicBezTo>
                <a:cubicBezTo>
                  <a:pt x="2665961" y="3380683"/>
                  <a:pt x="2657808" y="3377965"/>
                  <a:pt x="2652373" y="3383400"/>
                </a:cubicBezTo>
                <a:cubicBezTo>
                  <a:pt x="2652373" y="3383400"/>
                  <a:pt x="2649655" y="3383400"/>
                  <a:pt x="2649655" y="3383400"/>
                </a:cubicBezTo>
                <a:cubicBezTo>
                  <a:pt x="2649655" y="3361659"/>
                  <a:pt x="2665961" y="3345354"/>
                  <a:pt x="2674114" y="3329048"/>
                </a:cubicBezTo>
                <a:cubicBezTo>
                  <a:pt x="2682266" y="3315460"/>
                  <a:pt x="2682266" y="3299155"/>
                  <a:pt x="2687702" y="3285567"/>
                </a:cubicBezTo>
                <a:cubicBezTo>
                  <a:pt x="2695854" y="3269261"/>
                  <a:pt x="2706725" y="3252956"/>
                  <a:pt x="2712160" y="3236650"/>
                </a:cubicBezTo>
                <a:cubicBezTo>
                  <a:pt x="2714878" y="3233932"/>
                  <a:pt x="2712160" y="3228497"/>
                  <a:pt x="2712160" y="3223062"/>
                </a:cubicBezTo>
                <a:cubicBezTo>
                  <a:pt x="2712160" y="3209474"/>
                  <a:pt x="2714878" y="3198604"/>
                  <a:pt x="2714878" y="3187733"/>
                </a:cubicBezTo>
                <a:cubicBezTo>
                  <a:pt x="2717595" y="3176863"/>
                  <a:pt x="2712160" y="3168710"/>
                  <a:pt x="2714878" y="3157840"/>
                </a:cubicBezTo>
                <a:cubicBezTo>
                  <a:pt x="2720313" y="3136099"/>
                  <a:pt x="2728466" y="3125229"/>
                  <a:pt x="2739336" y="3111641"/>
                </a:cubicBezTo>
                <a:cubicBezTo>
                  <a:pt x="2742054" y="3108923"/>
                  <a:pt x="2744771" y="3108923"/>
                  <a:pt x="2747489" y="3106206"/>
                </a:cubicBezTo>
                <a:cubicBezTo>
                  <a:pt x="2752924" y="3095335"/>
                  <a:pt x="2761077" y="3079030"/>
                  <a:pt x="2771947" y="3073594"/>
                </a:cubicBezTo>
                <a:cubicBezTo>
                  <a:pt x="2771947" y="3070877"/>
                  <a:pt x="2771947" y="3070877"/>
                  <a:pt x="2771947" y="3068159"/>
                </a:cubicBezTo>
                <a:cubicBezTo>
                  <a:pt x="2763794" y="3068159"/>
                  <a:pt x="2755642" y="3076312"/>
                  <a:pt x="2755642" y="3084465"/>
                </a:cubicBezTo>
                <a:cubicBezTo>
                  <a:pt x="2750206" y="3084465"/>
                  <a:pt x="2728466" y="3111641"/>
                  <a:pt x="2725748" y="3117076"/>
                </a:cubicBezTo>
                <a:cubicBezTo>
                  <a:pt x="2723030" y="3117076"/>
                  <a:pt x="2723030" y="3117076"/>
                  <a:pt x="2720313" y="3117076"/>
                </a:cubicBezTo>
                <a:cubicBezTo>
                  <a:pt x="2720313" y="3098053"/>
                  <a:pt x="2706725" y="3081747"/>
                  <a:pt x="2714878" y="3062724"/>
                </a:cubicBezTo>
                <a:cubicBezTo>
                  <a:pt x="2712160" y="3060006"/>
                  <a:pt x="2706725" y="3060006"/>
                  <a:pt x="2704007" y="3057289"/>
                </a:cubicBezTo>
                <a:close/>
                <a:moveTo>
                  <a:pt x="4500337" y="3046418"/>
                </a:moveTo>
                <a:lnTo>
                  <a:pt x="4486749" y="3062724"/>
                </a:lnTo>
                <a:lnTo>
                  <a:pt x="4511207" y="3062724"/>
                </a:lnTo>
                <a:close/>
                <a:moveTo>
                  <a:pt x="4345433" y="3030113"/>
                </a:moveTo>
                <a:lnTo>
                  <a:pt x="4331845" y="3046418"/>
                </a:lnTo>
                <a:lnTo>
                  <a:pt x="4348151" y="3054571"/>
                </a:lnTo>
                <a:lnTo>
                  <a:pt x="4356305" y="3046418"/>
                </a:lnTo>
                <a:close/>
                <a:moveTo>
                  <a:pt x="1323468" y="3021960"/>
                </a:moveTo>
                <a:cubicBezTo>
                  <a:pt x="1320751" y="3024678"/>
                  <a:pt x="1320751" y="3024678"/>
                  <a:pt x="1320751" y="3027395"/>
                </a:cubicBezTo>
                <a:cubicBezTo>
                  <a:pt x="1315315" y="3038266"/>
                  <a:pt x="1326186" y="3051854"/>
                  <a:pt x="1326186" y="3060006"/>
                </a:cubicBezTo>
                <a:cubicBezTo>
                  <a:pt x="1323468" y="3065442"/>
                  <a:pt x="1331621" y="3079030"/>
                  <a:pt x="1331621" y="3081747"/>
                </a:cubicBezTo>
                <a:cubicBezTo>
                  <a:pt x="1331621" y="3087182"/>
                  <a:pt x="1331621" y="3092618"/>
                  <a:pt x="1331621" y="3098053"/>
                </a:cubicBezTo>
                <a:cubicBezTo>
                  <a:pt x="1334339" y="3111641"/>
                  <a:pt x="1337056" y="3146970"/>
                  <a:pt x="1326186" y="3160558"/>
                </a:cubicBezTo>
                <a:cubicBezTo>
                  <a:pt x="1323468" y="3160558"/>
                  <a:pt x="1323468" y="3160558"/>
                  <a:pt x="1318033" y="3160558"/>
                </a:cubicBezTo>
                <a:cubicBezTo>
                  <a:pt x="1318033" y="3149687"/>
                  <a:pt x="1288140" y="3141534"/>
                  <a:pt x="1279987" y="3136099"/>
                </a:cubicBezTo>
                <a:cubicBezTo>
                  <a:pt x="1279987" y="3133382"/>
                  <a:pt x="1279987" y="3125229"/>
                  <a:pt x="1277269" y="3122511"/>
                </a:cubicBezTo>
                <a:cubicBezTo>
                  <a:pt x="1274552" y="3122511"/>
                  <a:pt x="1274552" y="3119794"/>
                  <a:pt x="1271834" y="3119794"/>
                </a:cubicBezTo>
                <a:cubicBezTo>
                  <a:pt x="1271834" y="3117076"/>
                  <a:pt x="1271834" y="3084465"/>
                  <a:pt x="1271834" y="3084465"/>
                </a:cubicBezTo>
                <a:cubicBezTo>
                  <a:pt x="1271834" y="3081747"/>
                  <a:pt x="1271834" y="3081747"/>
                  <a:pt x="1269116" y="3079030"/>
                </a:cubicBezTo>
                <a:cubicBezTo>
                  <a:pt x="1266399" y="3079030"/>
                  <a:pt x="1263681" y="3079030"/>
                  <a:pt x="1260964" y="3079030"/>
                </a:cubicBezTo>
                <a:cubicBezTo>
                  <a:pt x="1260964" y="3095335"/>
                  <a:pt x="1263681" y="3108923"/>
                  <a:pt x="1260964" y="3122511"/>
                </a:cubicBezTo>
                <a:cubicBezTo>
                  <a:pt x="1258246" y="3122511"/>
                  <a:pt x="1258246" y="3122511"/>
                  <a:pt x="1255528" y="3122511"/>
                </a:cubicBezTo>
                <a:cubicBezTo>
                  <a:pt x="1244658" y="3122511"/>
                  <a:pt x="1244658" y="3117076"/>
                  <a:pt x="1239223" y="3114358"/>
                </a:cubicBezTo>
                <a:cubicBezTo>
                  <a:pt x="1239223" y="3098053"/>
                  <a:pt x="1236505" y="3089900"/>
                  <a:pt x="1236505" y="3076312"/>
                </a:cubicBezTo>
                <a:cubicBezTo>
                  <a:pt x="1236505" y="3076312"/>
                  <a:pt x="1233788" y="3076312"/>
                  <a:pt x="1231070" y="3076312"/>
                </a:cubicBezTo>
                <a:cubicBezTo>
                  <a:pt x="1231070" y="3087182"/>
                  <a:pt x="1231070" y="3100770"/>
                  <a:pt x="1231070" y="3108923"/>
                </a:cubicBezTo>
                <a:cubicBezTo>
                  <a:pt x="1231070" y="3108923"/>
                  <a:pt x="1228352" y="3108923"/>
                  <a:pt x="1228352" y="3108923"/>
                </a:cubicBezTo>
                <a:cubicBezTo>
                  <a:pt x="1222917" y="3100770"/>
                  <a:pt x="1217482" y="3098053"/>
                  <a:pt x="1212047" y="3092618"/>
                </a:cubicBezTo>
                <a:cubicBezTo>
                  <a:pt x="1209329" y="3092618"/>
                  <a:pt x="1209329" y="3092618"/>
                  <a:pt x="1206612" y="3092618"/>
                </a:cubicBezTo>
                <a:cubicBezTo>
                  <a:pt x="1206612" y="3095335"/>
                  <a:pt x="1206612" y="3095335"/>
                  <a:pt x="1206612" y="3095335"/>
                </a:cubicBezTo>
                <a:cubicBezTo>
                  <a:pt x="1209329" y="3106206"/>
                  <a:pt x="1217482" y="3106206"/>
                  <a:pt x="1222917" y="3111641"/>
                </a:cubicBezTo>
                <a:cubicBezTo>
                  <a:pt x="1222917" y="3111641"/>
                  <a:pt x="1222917" y="3114358"/>
                  <a:pt x="1222917" y="3114358"/>
                </a:cubicBezTo>
                <a:cubicBezTo>
                  <a:pt x="1225635" y="3117076"/>
                  <a:pt x="1228352" y="3117076"/>
                  <a:pt x="1231070" y="3119794"/>
                </a:cubicBezTo>
                <a:cubicBezTo>
                  <a:pt x="1231070" y="3122511"/>
                  <a:pt x="1228352" y="3122511"/>
                  <a:pt x="1231070" y="3125229"/>
                </a:cubicBezTo>
                <a:cubicBezTo>
                  <a:pt x="1233788" y="3125229"/>
                  <a:pt x="1236505" y="3122511"/>
                  <a:pt x="1239223" y="3125229"/>
                </a:cubicBezTo>
                <a:cubicBezTo>
                  <a:pt x="1241940" y="3127946"/>
                  <a:pt x="1241940" y="3130664"/>
                  <a:pt x="1244658" y="3133382"/>
                </a:cubicBezTo>
                <a:cubicBezTo>
                  <a:pt x="1250093" y="3133382"/>
                  <a:pt x="1252811" y="3133382"/>
                  <a:pt x="1258246" y="3133382"/>
                </a:cubicBezTo>
                <a:cubicBezTo>
                  <a:pt x="1258246" y="3136099"/>
                  <a:pt x="1260964" y="3136099"/>
                  <a:pt x="1260964" y="3138817"/>
                </a:cubicBezTo>
                <a:cubicBezTo>
                  <a:pt x="1266399" y="3138817"/>
                  <a:pt x="1269116" y="3141534"/>
                  <a:pt x="1274552" y="3141534"/>
                </a:cubicBezTo>
                <a:cubicBezTo>
                  <a:pt x="1274552" y="3144252"/>
                  <a:pt x="1274552" y="3144252"/>
                  <a:pt x="1274552" y="3146970"/>
                </a:cubicBezTo>
                <a:cubicBezTo>
                  <a:pt x="1277269" y="3146970"/>
                  <a:pt x="1282704" y="3149687"/>
                  <a:pt x="1282704" y="3149687"/>
                </a:cubicBezTo>
                <a:cubicBezTo>
                  <a:pt x="1282704" y="3149687"/>
                  <a:pt x="1282704" y="3152405"/>
                  <a:pt x="1282704" y="3152405"/>
                </a:cubicBezTo>
                <a:cubicBezTo>
                  <a:pt x="1304445" y="3152405"/>
                  <a:pt x="1326186" y="3168710"/>
                  <a:pt x="1331621" y="3185016"/>
                </a:cubicBezTo>
                <a:lnTo>
                  <a:pt x="1331969" y="3188848"/>
                </a:lnTo>
                <a:lnTo>
                  <a:pt x="1331621" y="3190451"/>
                </a:lnTo>
                <a:lnTo>
                  <a:pt x="1332441" y="3194040"/>
                </a:lnTo>
                <a:lnTo>
                  <a:pt x="1332979" y="3199962"/>
                </a:lnTo>
                <a:cubicBezTo>
                  <a:pt x="1332300" y="3204718"/>
                  <a:pt x="1331621" y="3209474"/>
                  <a:pt x="1334339" y="3214909"/>
                </a:cubicBezTo>
                <a:cubicBezTo>
                  <a:pt x="1334339" y="3217627"/>
                  <a:pt x="1339774" y="3214909"/>
                  <a:pt x="1339774" y="3217627"/>
                </a:cubicBezTo>
                <a:cubicBezTo>
                  <a:pt x="1342491" y="3223062"/>
                  <a:pt x="1345209" y="3244803"/>
                  <a:pt x="1339774" y="3252956"/>
                </a:cubicBezTo>
                <a:cubicBezTo>
                  <a:pt x="1339774" y="3258391"/>
                  <a:pt x="1339774" y="3255673"/>
                  <a:pt x="1345209" y="3258391"/>
                </a:cubicBezTo>
                <a:lnTo>
                  <a:pt x="1350542" y="3260557"/>
                </a:lnTo>
                <a:lnTo>
                  <a:pt x="1348946" y="3251936"/>
                </a:lnTo>
                <a:cubicBezTo>
                  <a:pt x="1347927" y="3249559"/>
                  <a:pt x="1346568" y="3247520"/>
                  <a:pt x="1345209" y="3244803"/>
                </a:cubicBezTo>
                <a:cubicBezTo>
                  <a:pt x="1342491" y="3233932"/>
                  <a:pt x="1347927" y="3225780"/>
                  <a:pt x="1342491" y="3214909"/>
                </a:cubicBezTo>
                <a:cubicBezTo>
                  <a:pt x="1342491" y="3214909"/>
                  <a:pt x="1339774" y="3212192"/>
                  <a:pt x="1337056" y="3212192"/>
                </a:cubicBezTo>
                <a:cubicBezTo>
                  <a:pt x="1337056" y="3210833"/>
                  <a:pt x="1335697" y="3206756"/>
                  <a:pt x="1334338" y="3202340"/>
                </a:cubicBezTo>
                <a:lnTo>
                  <a:pt x="1332441" y="3194040"/>
                </a:lnTo>
                <a:lnTo>
                  <a:pt x="1331969" y="3188848"/>
                </a:lnTo>
                <a:lnTo>
                  <a:pt x="1333319" y="3182638"/>
                </a:lnTo>
                <a:cubicBezTo>
                  <a:pt x="1335018" y="3180939"/>
                  <a:pt x="1337056" y="3179580"/>
                  <a:pt x="1337056" y="3176863"/>
                </a:cubicBezTo>
                <a:cubicBezTo>
                  <a:pt x="1339774" y="3174145"/>
                  <a:pt x="1334339" y="3163275"/>
                  <a:pt x="1337056" y="3155122"/>
                </a:cubicBezTo>
                <a:cubicBezTo>
                  <a:pt x="1339774" y="3144252"/>
                  <a:pt x="1339774" y="3130664"/>
                  <a:pt x="1342491" y="3122511"/>
                </a:cubicBezTo>
                <a:cubicBezTo>
                  <a:pt x="1345209" y="3114358"/>
                  <a:pt x="1342491" y="3103488"/>
                  <a:pt x="1339774" y="3100770"/>
                </a:cubicBezTo>
                <a:cubicBezTo>
                  <a:pt x="1339774" y="3089900"/>
                  <a:pt x="1356079" y="3089900"/>
                  <a:pt x="1364232" y="3084465"/>
                </a:cubicBezTo>
                <a:cubicBezTo>
                  <a:pt x="1364232" y="3084465"/>
                  <a:pt x="1366950" y="3081747"/>
                  <a:pt x="1366950" y="3079030"/>
                </a:cubicBezTo>
                <a:cubicBezTo>
                  <a:pt x="1377820" y="3068159"/>
                  <a:pt x="1383255" y="3068159"/>
                  <a:pt x="1380538" y="3046418"/>
                </a:cubicBezTo>
                <a:cubicBezTo>
                  <a:pt x="1380538" y="3046418"/>
                  <a:pt x="1377820" y="3046418"/>
                  <a:pt x="1377820" y="3046418"/>
                </a:cubicBezTo>
                <a:cubicBezTo>
                  <a:pt x="1375102" y="3051854"/>
                  <a:pt x="1364232" y="3073594"/>
                  <a:pt x="1358797" y="3076312"/>
                </a:cubicBezTo>
                <a:cubicBezTo>
                  <a:pt x="1353362" y="3081747"/>
                  <a:pt x="1347927" y="3079030"/>
                  <a:pt x="1342491" y="3084465"/>
                </a:cubicBezTo>
                <a:cubicBezTo>
                  <a:pt x="1331621" y="3079030"/>
                  <a:pt x="1331621" y="3035548"/>
                  <a:pt x="1326186" y="3021960"/>
                </a:cubicBezTo>
                <a:cubicBezTo>
                  <a:pt x="1326186" y="3021960"/>
                  <a:pt x="1323468" y="3021960"/>
                  <a:pt x="1323468" y="3021960"/>
                </a:cubicBezTo>
                <a:close/>
                <a:moveTo>
                  <a:pt x="4255753" y="3011090"/>
                </a:moveTo>
                <a:lnTo>
                  <a:pt x="4255753" y="3032831"/>
                </a:lnTo>
                <a:lnTo>
                  <a:pt x="4272059" y="3024678"/>
                </a:lnTo>
                <a:close/>
                <a:moveTo>
                  <a:pt x="2119724" y="3005655"/>
                </a:moveTo>
                <a:cubicBezTo>
                  <a:pt x="2119724" y="3005655"/>
                  <a:pt x="2122441" y="3005655"/>
                  <a:pt x="2122441" y="3005655"/>
                </a:cubicBezTo>
                <a:cubicBezTo>
                  <a:pt x="2122441" y="3008372"/>
                  <a:pt x="2122441" y="3011090"/>
                  <a:pt x="2122441" y="3013808"/>
                </a:cubicBezTo>
                <a:cubicBezTo>
                  <a:pt x="2122441" y="3019244"/>
                  <a:pt x="2119724" y="3019244"/>
                  <a:pt x="2117006" y="3021961"/>
                </a:cubicBezTo>
                <a:lnTo>
                  <a:pt x="2107155" y="3021961"/>
                </a:lnTo>
                <a:cubicBezTo>
                  <a:pt x="2106816" y="3021961"/>
                  <a:pt x="2106136" y="3021961"/>
                  <a:pt x="2106136" y="3021961"/>
                </a:cubicBezTo>
                <a:cubicBezTo>
                  <a:pt x="2106136" y="3016526"/>
                  <a:pt x="2106136" y="3016526"/>
                  <a:pt x="2108853" y="3013808"/>
                </a:cubicBezTo>
                <a:cubicBezTo>
                  <a:pt x="2111571" y="3008372"/>
                  <a:pt x="2114289" y="3008372"/>
                  <a:pt x="2119724" y="3005655"/>
                </a:cubicBezTo>
                <a:close/>
                <a:moveTo>
                  <a:pt x="4503055" y="3002937"/>
                </a:moveTo>
                <a:cubicBezTo>
                  <a:pt x="4475879" y="3019243"/>
                  <a:pt x="4489467" y="2997502"/>
                  <a:pt x="4497619" y="3040983"/>
                </a:cubicBezTo>
                <a:lnTo>
                  <a:pt x="4519359" y="3040983"/>
                </a:lnTo>
                <a:cubicBezTo>
                  <a:pt x="4503055" y="3016525"/>
                  <a:pt x="4505771" y="3035548"/>
                  <a:pt x="4503055" y="3002937"/>
                </a:cubicBezTo>
                <a:close/>
                <a:moveTo>
                  <a:pt x="415792" y="3000219"/>
                </a:moveTo>
                <a:cubicBezTo>
                  <a:pt x="404921" y="2994784"/>
                  <a:pt x="399486" y="3008372"/>
                  <a:pt x="385898" y="3002937"/>
                </a:cubicBezTo>
                <a:cubicBezTo>
                  <a:pt x="399486" y="3016525"/>
                  <a:pt x="391333" y="3060006"/>
                  <a:pt x="404921" y="3062724"/>
                </a:cubicBezTo>
                <a:cubicBezTo>
                  <a:pt x="407639" y="3040983"/>
                  <a:pt x="423944" y="3030113"/>
                  <a:pt x="415792" y="3000219"/>
                </a:cubicBezTo>
                <a:close/>
                <a:moveTo>
                  <a:pt x="2617044" y="2989349"/>
                </a:moveTo>
                <a:cubicBezTo>
                  <a:pt x="2606174" y="2992067"/>
                  <a:pt x="2608891" y="2997502"/>
                  <a:pt x="2603456" y="3005655"/>
                </a:cubicBezTo>
                <a:cubicBezTo>
                  <a:pt x="2600739" y="3013807"/>
                  <a:pt x="2592586" y="3021960"/>
                  <a:pt x="2587151" y="3030113"/>
                </a:cubicBezTo>
                <a:cubicBezTo>
                  <a:pt x="2584433" y="3035548"/>
                  <a:pt x="2587151" y="3040983"/>
                  <a:pt x="2584433" y="3046418"/>
                </a:cubicBezTo>
                <a:cubicBezTo>
                  <a:pt x="2581715" y="3051854"/>
                  <a:pt x="2576280" y="3054571"/>
                  <a:pt x="2573563" y="3057289"/>
                </a:cubicBezTo>
                <a:cubicBezTo>
                  <a:pt x="2562692" y="3070877"/>
                  <a:pt x="2546387" y="3087182"/>
                  <a:pt x="2527364" y="3087182"/>
                </a:cubicBezTo>
                <a:cubicBezTo>
                  <a:pt x="2527364" y="3073594"/>
                  <a:pt x="2524646" y="3051854"/>
                  <a:pt x="2530081" y="3046418"/>
                </a:cubicBezTo>
                <a:cubicBezTo>
                  <a:pt x="2530081" y="3040983"/>
                  <a:pt x="2530081" y="3040983"/>
                  <a:pt x="2530081" y="3038266"/>
                </a:cubicBezTo>
                <a:cubicBezTo>
                  <a:pt x="2527364" y="3038266"/>
                  <a:pt x="2524646" y="3038266"/>
                  <a:pt x="2521928" y="3038266"/>
                </a:cubicBezTo>
                <a:cubicBezTo>
                  <a:pt x="2519211" y="3040983"/>
                  <a:pt x="2513776" y="3054571"/>
                  <a:pt x="2516493" y="3062724"/>
                </a:cubicBezTo>
                <a:cubicBezTo>
                  <a:pt x="2516493" y="3065442"/>
                  <a:pt x="2519211" y="3062724"/>
                  <a:pt x="2519211" y="3065442"/>
                </a:cubicBezTo>
                <a:cubicBezTo>
                  <a:pt x="2519211" y="3076312"/>
                  <a:pt x="2516493" y="3092618"/>
                  <a:pt x="2516493" y="3106206"/>
                </a:cubicBezTo>
                <a:cubicBezTo>
                  <a:pt x="2516493" y="3114358"/>
                  <a:pt x="2524646" y="3119794"/>
                  <a:pt x="2521928" y="3127946"/>
                </a:cubicBezTo>
                <a:cubicBezTo>
                  <a:pt x="2519211" y="3138817"/>
                  <a:pt x="2519211" y="3149687"/>
                  <a:pt x="2513776" y="3157840"/>
                </a:cubicBezTo>
                <a:cubicBezTo>
                  <a:pt x="2511058" y="3160558"/>
                  <a:pt x="2508341" y="3163275"/>
                  <a:pt x="2505623" y="3168710"/>
                </a:cubicBezTo>
                <a:cubicBezTo>
                  <a:pt x="2502905" y="3165993"/>
                  <a:pt x="2500188" y="3157840"/>
                  <a:pt x="2500188" y="3155122"/>
                </a:cubicBezTo>
                <a:cubicBezTo>
                  <a:pt x="2500188" y="3155122"/>
                  <a:pt x="2500188" y="3152405"/>
                  <a:pt x="2500188" y="3152405"/>
                </a:cubicBezTo>
                <a:cubicBezTo>
                  <a:pt x="2494753" y="3138817"/>
                  <a:pt x="2486600" y="3133382"/>
                  <a:pt x="2483882" y="3119794"/>
                </a:cubicBezTo>
                <a:cubicBezTo>
                  <a:pt x="2481165" y="3119794"/>
                  <a:pt x="2478447" y="3119794"/>
                  <a:pt x="2475729" y="3119794"/>
                </a:cubicBezTo>
                <a:cubicBezTo>
                  <a:pt x="2475729" y="3125229"/>
                  <a:pt x="2475729" y="3130664"/>
                  <a:pt x="2475729" y="3136099"/>
                </a:cubicBezTo>
                <a:cubicBezTo>
                  <a:pt x="2478447" y="3136099"/>
                  <a:pt x="2478447" y="3136099"/>
                  <a:pt x="2481165" y="3136099"/>
                </a:cubicBezTo>
                <a:cubicBezTo>
                  <a:pt x="2492035" y="3144252"/>
                  <a:pt x="2494753" y="3171428"/>
                  <a:pt x="2494753" y="3187733"/>
                </a:cubicBezTo>
                <a:cubicBezTo>
                  <a:pt x="2487959" y="3194527"/>
                  <a:pt x="2482524" y="3202680"/>
                  <a:pt x="2477428" y="3210493"/>
                </a:cubicBezTo>
                <a:lnTo>
                  <a:pt x="2464384" y="3228174"/>
                </a:lnTo>
                <a:lnTo>
                  <a:pt x="2464859" y="3228498"/>
                </a:lnTo>
                <a:cubicBezTo>
                  <a:pt x="2467577" y="3228498"/>
                  <a:pt x="2470294" y="3228498"/>
                  <a:pt x="2473012" y="3228498"/>
                </a:cubicBezTo>
                <a:cubicBezTo>
                  <a:pt x="2473012" y="3231215"/>
                  <a:pt x="2473012" y="3231215"/>
                  <a:pt x="2473012" y="3233933"/>
                </a:cubicBezTo>
                <a:cubicBezTo>
                  <a:pt x="2475729" y="3236650"/>
                  <a:pt x="2483882" y="3236650"/>
                  <a:pt x="2486600" y="3239368"/>
                </a:cubicBezTo>
                <a:cubicBezTo>
                  <a:pt x="2486600" y="3239368"/>
                  <a:pt x="2486600" y="3239368"/>
                  <a:pt x="2486600" y="3242086"/>
                </a:cubicBezTo>
                <a:lnTo>
                  <a:pt x="2492544" y="3243274"/>
                </a:lnTo>
                <a:lnTo>
                  <a:pt x="2496451" y="3231555"/>
                </a:lnTo>
                <a:cubicBezTo>
                  <a:pt x="2499508" y="3225100"/>
                  <a:pt x="2502905" y="3218986"/>
                  <a:pt x="2505623" y="3212192"/>
                </a:cubicBezTo>
                <a:cubicBezTo>
                  <a:pt x="2505623" y="3206757"/>
                  <a:pt x="2508341" y="3198604"/>
                  <a:pt x="2508341" y="3190451"/>
                </a:cubicBezTo>
                <a:cubicBezTo>
                  <a:pt x="2508341" y="3187733"/>
                  <a:pt x="2502905" y="3185016"/>
                  <a:pt x="2505623" y="3179581"/>
                </a:cubicBezTo>
                <a:cubicBezTo>
                  <a:pt x="2508341" y="3165993"/>
                  <a:pt x="2519211" y="3155122"/>
                  <a:pt x="2524646" y="3144252"/>
                </a:cubicBezTo>
                <a:cubicBezTo>
                  <a:pt x="2524646" y="3136099"/>
                  <a:pt x="2527364" y="3114358"/>
                  <a:pt x="2524646" y="3108923"/>
                </a:cubicBezTo>
                <a:cubicBezTo>
                  <a:pt x="2524646" y="3108923"/>
                  <a:pt x="2521928" y="3108923"/>
                  <a:pt x="2521928" y="3108923"/>
                </a:cubicBezTo>
                <a:cubicBezTo>
                  <a:pt x="2521928" y="3103488"/>
                  <a:pt x="2524646" y="3098053"/>
                  <a:pt x="2524646" y="3092618"/>
                </a:cubicBezTo>
                <a:cubicBezTo>
                  <a:pt x="2551822" y="3092618"/>
                  <a:pt x="2568127" y="3070877"/>
                  <a:pt x="2581715" y="3054571"/>
                </a:cubicBezTo>
                <a:cubicBezTo>
                  <a:pt x="2587151" y="3054571"/>
                  <a:pt x="2584433" y="3057289"/>
                  <a:pt x="2587151" y="3060006"/>
                </a:cubicBezTo>
                <a:cubicBezTo>
                  <a:pt x="2592586" y="3062724"/>
                  <a:pt x="2611609" y="3062724"/>
                  <a:pt x="2617044" y="3060006"/>
                </a:cubicBezTo>
                <a:cubicBezTo>
                  <a:pt x="2627914" y="3057289"/>
                  <a:pt x="2636067" y="3049136"/>
                  <a:pt x="2649655" y="3049136"/>
                </a:cubicBezTo>
                <a:cubicBezTo>
                  <a:pt x="2649655" y="3040983"/>
                  <a:pt x="2649655" y="3040983"/>
                  <a:pt x="2649655" y="3035548"/>
                </a:cubicBezTo>
                <a:cubicBezTo>
                  <a:pt x="2641502" y="3035548"/>
                  <a:pt x="2646938" y="3038266"/>
                  <a:pt x="2641502" y="3040983"/>
                </a:cubicBezTo>
                <a:cubicBezTo>
                  <a:pt x="2633350" y="3046418"/>
                  <a:pt x="2630632" y="3040983"/>
                  <a:pt x="2625197" y="3049136"/>
                </a:cubicBezTo>
                <a:cubicBezTo>
                  <a:pt x="2614327" y="3049136"/>
                  <a:pt x="2606174" y="3049136"/>
                  <a:pt x="2595303" y="3049136"/>
                </a:cubicBezTo>
                <a:cubicBezTo>
                  <a:pt x="2595303" y="3049136"/>
                  <a:pt x="2595303" y="3043701"/>
                  <a:pt x="2592586" y="3043701"/>
                </a:cubicBezTo>
                <a:cubicBezTo>
                  <a:pt x="2595303" y="3024678"/>
                  <a:pt x="2608891" y="3005655"/>
                  <a:pt x="2619762" y="2992067"/>
                </a:cubicBezTo>
                <a:cubicBezTo>
                  <a:pt x="2619762" y="2992067"/>
                  <a:pt x="2619762" y="2989349"/>
                  <a:pt x="2619762" y="2989349"/>
                </a:cubicBezTo>
                <a:cubicBezTo>
                  <a:pt x="2617044" y="2989349"/>
                  <a:pt x="2617044" y="2989349"/>
                  <a:pt x="2617044" y="2989349"/>
                </a:cubicBezTo>
                <a:close/>
                <a:moveTo>
                  <a:pt x="2002867" y="2989349"/>
                </a:moveTo>
                <a:cubicBezTo>
                  <a:pt x="2008302" y="2997502"/>
                  <a:pt x="2005584" y="3013807"/>
                  <a:pt x="2008302" y="3019242"/>
                </a:cubicBezTo>
                <a:cubicBezTo>
                  <a:pt x="2008302" y="3019242"/>
                  <a:pt x="2011019" y="3021960"/>
                  <a:pt x="2013737" y="3021960"/>
                </a:cubicBezTo>
                <a:cubicBezTo>
                  <a:pt x="2013737" y="3024677"/>
                  <a:pt x="2013737" y="3027395"/>
                  <a:pt x="2013737" y="3030113"/>
                </a:cubicBezTo>
                <a:cubicBezTo>
                  <a:pt x="2013737" y="3030113"/>
                  <a:pt x="2016455" y="3030113"/>
                  <a:pt x="2016455" y="3030113"/>
                </a:cubicBezTo>
                <a:cubicBezTo>
                  <a:pt x="2027325" y="3046418"/>
                  <a:pt x="2038195" y="3060006"/>
                  <a:pt x="2038195" y="3084464"/>
                </a:cubicBezTo>
                <a:cubicBezTo>
                  <a:pt x="2043630" y="3084464"/>
                  <a:pt x="2043630" y="3087182"/>
                  <a:pt x="2049066" y="3087182"/>
                </a:cubicBezTo>
                <a:cubicBezTo>
                  <a:pt x="2051783" y="3100770"/>
                  <a:pt x="2070806" y="3138816"/>
                  <a:pt x="2084394" y="3144252"/>
                </a:cubicBezTo>
                <a:cubicBezTo>
                  <a:pt x="2084394" y="3163275"/>
                  <a:pt x="2081677" y="3174145"/>
                  <a:pt x="2081677" y="3187733"/>
                </a:cubicBezTo>
                <a:cubicBezTo>
                  <a:pt x="2081677" y="3195886"/>
                  <a:pt x="2084394" y="3204039"/>
                  <a:pt x="2084394" y="3212192"/>
                </a:cubicBezTo>
                <a:cubicBezTo>
                  <a:pt x="2084394" y="3220345"/>
                  <a:pt x="2081677" y="3236651"/>
                  <a:pt x="2081677" y="3242086"/>
                </a:cubicBezTo>
                <a:cubicBezTo>
                  <a:pt x="2081677" y="3247521"/>
                  <a:pt x="2087112" y="3252956"/>
                  <a:pt x="2089830" y="3258391"/>
                </a:cubicBezTo>
                <a:cubicBezTo>
                  <a:pt x="2092547" y="3269262"/>
                  <a:pt x="2087112" y="3323614"/>
                  <a:pt x="2084394" y="3329049"/>
                </a:cubicBezTo>
                <a:cubicBezTo>
                  <a:pt x="2084394" y="3329049"/>
                  <a:pt x="2084394" y="3331766"/>
                  <a:pt x="2084394" y="3331766"/>
                </a:cubicBezTo>
                <a:cubicBezTo>
                  <a:pt x="2078959" y="3331766"/>
                  <a:pt x="2073524" y="3331766"/>
                  <a:pt x="2068089" y="3331766"/>
                </a:cubicBezTo>
                <a:cubicBezTo>
                  <a:pt x="2068089" y="3331766"/>
                  <a:pt x="2065371" y="3329049"/>
                  <a:pt x="2065371" y="3326331"/>
                </a:cubicBezTo>
                <a:cubicBezTo>
                  <a:pt x="2062654" y="3326331"/>
                  <a:pt x="2059936" y="3326331"/>
                  <a:pt x="2057218" y="3326331"/>
                </a:cubicBezTo>
                <a:cubicBezTo>
                  <a:pt x="2057218" y="3326331"/>
                  <a:pt x="2054501" y="3320896"/>
                  <a:pt x="2054501" y="3320896"/>
                </a:cubicBezTo>
                <a:cubicBezTo>
                  <a:pt x="2049066" y="3320896"/>
                  <a:pt x="2046348" y="3318178"/>
                  <a:pt x="2040913" y="3318178"/>
                </a:cubicBezTo>
                <a:cubicBezTo>
                  <a:pt x="2040913" y="3318178"/>
                  <a:pt x="2038195" y="3312743"/>
                  <a:pt x="2038195" y="3312743"/>
                </a:cubicBezTo>
                <a:cubicBezTo>
                  <a:pt x="2035478" y="3310026"/>
                  <a:pt x="2008302" y="3310026"/>
                  <a:pt x="2002867" y="3310026"/>
                </a:cubicBezTo>
                <a:cubicBezTo>
                  <a:pt x="2002867" y="3304590"/>
                  <a:pt x="2000149" y="3307308"/>
                  <a:pt x="1997431" y="3304590"/>
                </a:cubicBezTo>
                <a:cubicBezTo>
                  <a:pt x="1994714" y="3299155"/>
                  <a:pt x="1997431" y="3296438"/>
                  <a:pt x="1994714" y="3291002"/>
                </a:cubicBezTo>
                <a:cubicBezTo>
                  <a:pt x="1994714" y="3291002"/>
                  <a:pt x="1983843" y="3280132"/>
                  <a:pt x="1983843" y="3280132"/>
                </a:cubicBezTo>
                <a:cubicBezTo>
                  <a:pt x="1983843" y="3280132"/>
                  <a:pt x="1983843" y="3277415"/>
                  <a:pt x="1983843" y="3274697"/>
                </a:cubicBezTo>
                <a:cubicBezTo>
                  <a:pt x="1983843" y="3271979"/>
                  <a:pt x="1978408" y="3269262"/>
                  <a:pt x="1975691" y="3263827"/>
                </a:cubicBezTo>
                <a:cubicBezTo>
                  <a:pt x="1972973" y="3258391"/>
                  <a:pt x="1975691" y="3247521"/>
                  <a:pt x="1978408" y="3242086"/>
                </a:cubicBezTo>
                <a:cubicBezTo>
                  <a:pt x="1983843" y="3228498"/>
                  <a:pt x="1986561" y="3214910"/>
                  <a:pt x="1989279" y="3201321"/>
                </a:cubicBezTo>
                <a:cubicBezTo>
                  <a:pt x="1991996" y="3187733"/>
                  <a:pt x="1983843" y="3174145"/>
                  <a:pt x="1983843" y="3165992"/>
                </a:cubicBezTo>
                <a:cubicBezTo>
                  <a:pt x="1978408" y="3165992"/>
                  <a:pt x="1975691" y="3165992"/>
                  <a:pt x="1972973" y="3168710"/>
                </a:cubicBezTo>
                <a:cubicBezTo>
                  <a:pt x="1972973" y="3176863"/>
                  <a:pt x="1978408" y="3182298"/>
                  <a:pt x="1981126" y="3190451"/>
                </a:cubicBezTo>
                <a:cubicBezTo>
                  <a:pt x="1983843" y="3198604"/>
                  <a:pt x="1972973" y="3228498"/>
                  <a:pt x="1970255" y="3233933"/>
                </a:cubicBezTo>
                <a:cubicBezTo>
                  <a:pt x="1970255" y="3233933"/>
                  <a:pt x="1970255" y="3233933"/>
                  <a:pt x="1967538" y="3233933"/>
                </a:cubicBezTo>
                <a:cubicBezTo>
                  <a:pt x="1967538" y="3231216"/>
                  <a:pt x="1959385" y="3220345"/>
                  <a:pt x="1959385" y="3220345"/>
                </a:cubicBezTo>
                <a:cubicBezTo>
                  <a:pt x="1956668" y="3220345"/>
                  <a:pt x="1953950" y="3220345"/>
                  <a:pt x="1951232" y="3220345"/>
                </a:cubicBezTo>
                <a:cubicBezTo>
                  <a:pt x="1951232" y="3217628"/>
                  <a:pt x="1951232" y="3217628"/>
                  <a:pt x="1951232" y="3214910"/>
                </a:cubicBezTo>
                <a:cubicBezTo>
                  <a:pt x="1948515" y="3212192"/>
                  <a:pt x="1940362" y="3206756"/>
                  <a:pt x="1937644" y="3204039"/>
                </a:cubicBezTo>
                <a:cubicBezTo>
                  <a:pt x="1940362" y="3182298"/>
                  <a:pt x="1956668" y="3149687"/>
                  <a:pt x="1967538" y="3136099"/>
                </a:cubicBezTo>
                <a:cubicBezTo>
                  <a:pt x="1972973" y="3133381"/>
                  <a:pt x="1975691" y="3133381"/>
                  <a:pt x="1978408" y="3127946"/>
                </a:cubicBezTo>
                <a:cubicBezTo>
                  <a:pt x="1978408" y="3125228"/>
                  <a:pt x="1975691" y="3125228"/>
                  <a:pt x="1975691" y="3119793"/>
                </a:cubicBezTo>
                <a:cubicBezTo>
                  <a:pt x="1962103" y="3122511"/>
                  <a:pt x="1945797" y="3160557"/>
                  <a:pt x="1937644" y="3174145"/>
                </a:cubicBezTo>
                <a:cubicBezTo>
                  <a:pt x="1932209" y="3182298"/>
                  <a:pt x="1934927" y="3190451"/>
                  <a:pt x="1929492" y="3195886"/>
                </a:cubicBezTo>
                <a:cubicBezTo>
                  <a:pt x="1926774" y="3195886"/>
                  <a:pt x="1929492" y="3195886"/>
                  <a:pt x="1926774" y="3195886"/>
                </a:cubicBezTo>
                <a:cubicBezTo>
                  <a:pt x="1924056" y="3193168"/>
                  <a:pt x="1918621" y="3190451"/>
                  <a:pt x="1915904" y="3187733"/>
                </a:cubicBezTo>
                <a:cubicBezTo>
                  <a:pt x="1915904" y="3171428"/>
                  <a:pt x="1913186" y="3138816"/>
                  <a:pt x="1907751" y="3130664"/>
                </a:cubicBezTo>
                <a:cubicBezTo>
                  <a:pt x="1910468" y="3111640"/>
                  <a:pt x="1937644" y="3092617"/>
                  <a:pt x="1943080" y="3076312"/>
                </a:cubicBezTo>
                <a:cubicBezTo>
                  <a:pt x="1945797" y="3070877"/>
                  <a:pt x="1943080" y="3068159"/>
                  <a:pt x="1945797" y="3062724"/>
                </a:cubicBezTo>
                <a:cubicBezTo>
                  <a:pt x="1948515" y="3054571"/>
                  <a:pt x="1959385" y="3038265"/>
                  <a:pt x="1964820" y="3030113"/>
                </a:cubicBezTo>
                <a:cubicBezTo>
                  <a:pt x="1967538" y="3027395"/>
                  <a:pt x="1970255" y="3030113"/>
                  <a:pt x="1970255" y="3027395"/>
                </a:cubicBezTo>
                <a:cubicBezTo>
                  <a:pt x="1972973" y="3021960"/>
                  <a:pt x="1972973" y="3019242"/>
                  <a:pt x="1975691" y="3013807"/>
                </a:cubicBezTo>
                <a:cubicBezTo>
                  <a:pt x="1975691" y="3013807"/>
                  <a:pt x="1978408" y="3011090"/>
                  <a:pt x="1981126" y="3011090"/>
                </a:cubicBezTo>
                <a:cubicBezTo>
                  <a:pt x="1983843" y="3011090"/>
                  <a:pt x="1981126" y="3005654"/>
                  <a:pt x="1983843" y="3005654"/>
                </a:cubicBezTo>
                <a:cubicBezTo>
                  <a:pt x="1989279" y="3000219"/>
                  <a:pt x="1997431" y="2997502"/>
                  <a:pt x="2002867" y="2989349"/>
                </a:cubicBezTo>
                <a:close/>
                <a:moveTo>
                  <a:pt x="263606" y="2986632"/>
                </a:moveTo>
                <a:cubicBezTo>
                  <a:pt x="258171" y="3030113"/>
                  <a:pt x="217407" y="3046418"/>
                  <a:pt x="217407" y="3092618"/>
                </a:cubicBezTo>
                <a:cubicBezTo>
                  <a:pt x="269042" y="3070877"/>
                  <a:pt x="263606" y="3130664"/>
                  <a:pt x="298935" y="3133382"/>
                </a:cubicBezTo>
                <a:cubicBezTo>
                  <a:pt x="309805" y="3114358"/>
                  <a:pt x="317958" y="3092618"/>
                  <a:pt x="312523" y="3062724"/>
                </a:cubicBezTo>
                <a:cubicBezTo>
                  <a:pt x="301653" y="3068159"/>
                  <a:pt x="307088" y="3051854"/>
                  <a:pt x="296218" y="3057289"/>
                </a:cubicBezTo>
                <a:cubicBezTo>
                  <a:pt x="288065" y="3068159"/>
                  <a:pt x="279912" y="3079030"/>
                  <a:pt x="263606" y="3084465"/>
                </a:cubicBezTo>
                <a:cubicBezTo>
                  <a:pt x="266324" y="3054571"/>
                  <a:pt x="312523" y="3002937"/>
                  <a:pt x="263606" y="2986632"/>
                </a:cubicBezTo>
                <a:close/>
                <a:moveTo>
                  <a:pt x="97833" y="2981196"/>
                </a:moveTo>
                <a:cubicBezTo>
                  <a:pt x="111421" y="3027395"/>
                  <a:pt x="173926" y="3057289"/>
                  <a:pt x="152185" y="3117076"/>
                </a:cubicBezTo>
                <a:cubicBezTo>
                  <a:pt x="144032" y="3084465"/>
                  <a:pt x="127727" y="3068159"/>
                  <a:pt x="92398" y="3076312"/>
                </a:cubicBezTo>
                <a:cubicBezTo>
                  <a:pt x="92398" y="3081747"/>
                  <a:pt x="86963" y="3084465"/>
                  <a:pt x="86963" y="3089900"/>
                </a:cubicBezTo>
                <a:cubicBezTo>
                  <a:pt x="108704" y="3100770"/>
                  <a:pt x="119574" y="3122511"/>
                  <a:pt x="138597" y="3133382"/>
                </a:cubicBezTo>
                <a:cubicBezTo>
                  <a:pt x="214690" y="3119794"/>
                  <a:pt x="157620" y="3035548"/>
                  <a:pt x="163055" y="2983914"/>
                </a:cubicBezTo>
                <a:cubicBezTo>
                  <a:pt x="146750" y="3011090"/>
                  <a:pt x="114139" y="2992067"/>
                  <a:pt x="97833" y="2981196"/>
                </a:cubicBezTo>
                <a:close/>
                <a:moveTo>
                  <a:pt x="2043631" y="2959456"/>
                </a:moveTo>
                <a:cubicBezTo>
                  <a:pt x="2049066" y="2964891"/>
                  <a:pt x="2057219" y="2975761"/>
                  <a:pt x="2057219" y="2983914"/>
                </a:cubicBezTo>
                <a:cubicBezTo>
                  <a:pt x="2057219" y="2983914"/>
                  <a:pt x="2062654" y="2983914"/>
                  <a:pt x="2062654" y="2986632"/>
                </a:cubicBezTo>
                <a:cubicBezTo>
                  <a:pt x="2062654" y="2992067"/>
                  <a:pt x="2062654" y="3000220"/>
                  <a:pt x="2065372" y="3002937"/>
                </a:cubicBezTo>
                <a:cubicBezTo>
                  <a:pt x="2065372" y="3005655"/>
                  <a:pt x="2070807" y="3002937"/>
                  <a:pt x="2070807" y="3005655"/>
                </a:cubicBezTo>
                <a:cubicBezTo>
                  <a:pt x="2070807" y="3008372"/>
                  <a:pt x="2070807" y="3008372"/>
                  <a:pt x="2070807" y="3011090"/>
                </a:cubicBezTo>
                <a:cubicBezTo>
                  <a:pt x="2070807" y="3013808"/>
                  <a:pt x="2076242" y="3011090"/>
                  <a:pt x="2076242" y="3013808"/>
                </a:cubicBezTo>
                <a:cubicBezTo>
                  <a:pt x="2076242" y="3016525"/>
                  <a:pt x="2073524" y="3016525"/>
                  <a:pt x="2076242" y="3019243"/>
                </a:cubicBezTo>
                <a:cubicBezTo>
                  <a:pt x="2076242" y="3019243"/>
                  <a:pt x="2078959" y="3019243"/>
                  <a:pt x="2078959" y="3019243"/>
                </a:cubicBezTo>
                <a:cubicBezTo>
                  <a:pt x="2081677" y="3024678"/>
                  <a:pt x="2078959" y="3027396"/>
                  <a:pt x="2081677" y="3032831"/>
                </a:cubicBezTo>
                <a:cubicBezTo>
                  <a:pt x="2081677" y="3035548"/>
                  <a:pt x="2087112" y="3035548"/>
                  <a:pt x="2087112" y="3035548"/>
                </a:cubicBezTo>
                <a:cubicBezTo>
                  <a:pt x="2087112" y="3038266"/>
                  <a:pt x="2087112" y="3038266"/>
                  <a:pt x="2087112" y="3040984"/>
                </a:cubicBezTo>
                <a:cubicBezTo>
                  <a:pt x="2087112" y="3040984"/>
                  <a:pt x="2092547" y="3040984"/>
                  <a:pt x="2092547" y="3043701"/>
                </a:cubicBezTo>
                <a:cubicBezTo>
                  <a:pt x="2095265" y="3049136"/>
                  <a:pt x="2089830" y="3049136"/>
                  <a:pt x="2095265" y="3051854"/>
                </a:cubicBezTo>
                <a:cubicBezTo>
                  <a:pt x="2095265" y="3057289"/>
                  <a:pt x="2095265" y="3068159"/>
                  <a:pt x="2092547" y="3073595"/>
                </a:cubicBezTo>
                <a:cubicBezTo>
                  <a:pt x="2089830" y="3073595"/>
                  <a:pt x="2092547" y="3073595"/>
                  <a:pt x="2089830" y="3073595"/>
                </a:cubicBezTo>
                <a:cubicBezTo>
                  <a:pt x="2087112" y="3070877"/>
                  <a:pt x="2087112" y="3068159"/>
                  <a:pt x="2084395" y="3065442"/>
                </a:cubicBezTo>
                <a:cubicBezTo>
                  <a:pt x="2078959" y="3065442"/>
                  <a:pt x="2081677" y="3065442"/>
                  <a:pt x="2078959" y="3065442"/>
                </a:cubicBezTo>
                <a:cubicBezTo>
                  <a:pt x="2076242" y="3065442"/>
                  <a:pt x="2076242" y="3065442"/>
                  <a:pt x="2073524" y="3068159"/>
                </a:cubicBezTo>
                <a:cubicBezTo>
                  <a:pt x="2076242" y="3076312"/>
                  <a:pt x="2084395" y="3081747"/>
                  <a:pt x="2089830" y="3084465"/>
                </a:cubicBezTo>
                <a:cubicBezTo>
                  <a:pt x="2089830" y="3098053"/>
                  <a:pt x="2087112" y="3111641"/>
                  <a:pt x="2081677" y="3117076"/>
                </a:cubicBezTo>
                <a:cubicBezTo>
                  <a:pt x="2081677" y="3117076"/>
                  <a:pt x="2078959" y="3117076"/>
                  <a:pt x="2076242" y="3114358"/>
                </a:cubicBezTo>
                <a:cubicBezTo>
                  <a:pt x="2076242" y="3114358"/>
                  <a:pt x="2078959" y="3111641"/>
                  <a:pt x="2076242" y="3108923"/>
                </a:cubicBezTo>
                <a:cubicBezTo>
                  <a:pt x="2073524" y="3108923"/>
                  <a:pt x="2073524" y="3108923"/>
                  <a:pt x="2070807" y="3108923"/>
                </a:cubicBezTo>
                <a:cubicBezTo>
                  <a:pt x="2068089" y="3106206"/>
                  <a:pt x="2068089" y="3095335"/>
                  <a:pt x="2068089" y="3095335"/>
                </a:cubicBezTo>
                <a:cubicBezTo>
                  <a:pt x="2065372" y="3095335"/>
                  <a:pt x="2065372" y="3092618"/>
                  <a:pt x="2062654" y="3092618"/>
                </a:cubicBezTo>
                <a:cubicBezTo>
                  <a:pt x="2062654" y="3092618"/>
                  <a:pt x="2065372" y="3081747"/>
                  <a:pt x="2062654" y="3079030"/>
                </a:cubicBezTo>
                <a:cubicBezTo>
                  <a:pt x="2059936" y="3076312"/>
                  <a:pt x="2051784" y="3076312"/>
                  <a:pt x="2051784" y="3076312"/>
                </a:cubicBezTo>
                <a:cubicBezTo>
                  <a:pt x="2046348" y="3070877"/>
                  <a:pt x="2049066" y="3062724"/>
                  <a:pt x="2046348" y="3057289"/>
                </a:cubicBezTo>
                <a:cubicBezTo>
                  <a:pt x="2043631" y="3057289"/>
                  <a:pt x="2043631" y="3054571"/>
                  <a:pt x="2040913" y="3054571"/>
                </a:cubicBezTo>
                <a:cubicBezTo>
                  <a:pt x="2040913" y="3051854"/>
                  <a:pt x="2040913" y="3051854"/>
                  <a:pt x="2040913" y="3049136"/>
                </a:cubicBezTo>
                <a:cubicBezTo>
                  <a:pt x="2040913" y="3046419"/>
                  <a:pt x="2035478" y="3040984"/>
                  <a:pt x="2032760" y="3038266"/>
                </a:cubicBezTo>
                <a:cubicBezTo>
                  <a:pt x="2032760" y="3035548"/>
                  <a:pt x="2032760" y="3035548"/>
                  <a:pt x="2032760" y="3032831"/>
                </a:cubicBezTo>
                <a:cubicBezTo>
                  <a:pt x="2032760" y="3032831"/>
                  <a:pt x="2030043" y="3030113"/>
                  <a:pt x="2027325" y="3030113"/>
                </a:cubicBezTo>
                <a:cubicBezTo>
                  <a:pt x="2024608" y="3024678"/>
                  <a:pt x="2027325" y="3021960"/>
                  <a:pt x="2024608" y="3016525"/>
                </a:cubicBezTo>
                <a:cubicBezTo>
                  <a:pt x="2021890" y="3016525"/>
                  <a:pt x="2021890" y="3013808"/>
                  <a:pt x="2019172" y="3013808"/>
                </a:cubicBezTo>
                <a:cubicBezTo>
                  <a:pt x="2019172" y="3008372"/>
                  <a:pt x="2021890" y="2994784"/>
                  <a:pt x="2016455" y="2989349"/>
                </a:cubicBezTo>
                <a:cubicBezTo>
                  <a:pt x="2016455" y="2973044"/>
                  <a:pt x="2032760" y="2973044"/>
                  <a:pt x="2043631" y="2959456"/>
                </a:cubicBezTo>
                <a:close/>
                <a:moveTo>
                  <a:pt x="2191460" y="2939613"/>
                </a:moveTo>
                <a:lnTo>
                  <a:pt x="2193500" y="2942433"/>
                </a:lnTo>
                <a:lnTo>
                  <a:pt x="2193099" y="2940432"/>
                </a:lnTo>
                <a:close/>
                <a:moveTo>
                  <a:pt x="4448703" y="2932280"/>
                </a:moveTo>
                <a:lnTo>
                  <a:pt x="4416091" y="2940433"/>
                </a:lnTo>
                <a:lnTo>
                  <a:pt x="4426961" y="2959456"/>
                </a:lnTo>
                <a:close/>
                <a:moveTo>
                  <a:pt x="2451271" y="2932280"/>
                </a:moveTo>
                <a:cubicBezTo>
                  <a:pt x="2445836" y="2934997"/>
                  <a:pt x="2443118" y="2940433"/>
                  <a:pt x="2440401" y="2945868"/>
                </a:cubicBezTo>
                <a:cubicBezTo>
                  <a:pt x="2440401" y="2948585"/>
                  <a:pt x="2437683" y="2945868"/>
                  <a:pt x="2434965" y="2948585"/>
                </a:cubicBezTo>
                <a:cubicBezTo>
                  <a:pt x="2432248" y="2948585"/>
                  <a:pt x="2434965" y="2951303"/>
                  <a:pt x="2432248" y="2954020"/>
                </a:cubicBezTo>
                <a:cubicBezTo>
                  <a:pt x="2429530" y="2954020"/>
                  <a:pt x="2429530" y="2954020"/>
                  <a:pt x="2426813" y="2954020"/>
                </a:cubicBezTo>
                <a:cubicBezTo>
                  <a:pt x="2410507" y="2967608"/>
                  <a:pt x="2410507" y="2978479"/>
                  <a:pt x="2380613" y="2975761"/>
                </a:cubicBezTo>
                <a:cubicBezTo>
                  <a:pt x="2380613" y="2964891"/>
                  <a:pt x="2380613" y="2948585"/>
                  <a:pt x="2386049" y="2943150"/>
                </a:cubicBezTo>
                <a:cubicBezTo>
                  <a:pt x="2386049" y="2937715"/>
                  <a:pt x="2386049" y="2940433"/>
                  <a:pt x="2383331" y="2937715"/>
                </a:cubicBezTo>
                <a:cubicBezTo>
                  <a:pt x="2380613" y="2937715"/>
                  <a:pt x="2383331" y="2937715"/>
                  <a:pt x="2380613" y="2937715"/>
                </a:cubicBezTo>
                <a:cubicBezTo>
                  <a:pt x="2380613" y="2937715"/>
                  <a:pt x="2380613" y="2940433"/>
                  <a:pt x="2377896" y="2940433"/>
                </a:cubicBezTo>
                <a:cubicBezTo>
                  <a:pt x="2377896" y="2954020"/>
                  <a:pt x="2375178" y="2967608"/>
                  <a:pt x="2375178" y="2981196"/>
                </a:cubicBezTo>
                <a:cubicBezTo>
                  <a:pt x="2375178" y="2986632"/>
                  <a:pt x="2380613" y="2994784"/>
                  <a:pt x="2377896" y="3002937"/>
                </a:cubicBezTo>
                <a:cubicBezTo>
                  <a:pt x="2369743" y="3032831"/>
                  <a:pt x="2358873" y="3065442"/>
                  <a:pt x="2345285" y="3092618"/>
                </a:cubicBezTo>
                <a:cubicBezTo>
                  <a:pt x="2339850" y="3092618"/>
                  <a:pt x="2331697" y="3092618"/>
                  <a:pt x="2331697" y="3092618"/>
                </a:cubicBezTo>
                <a:cubicBezTo>
                  <a:pt x="2328979" y="3089900"/>
                  <a:pt x="2320826" y="3057289"/>
                  <a:pt x="2318109" y="3051854"/>
                </a:cubicBezTo>
                <a:cubicBezTo>
                  <a:pt x="2315390" y="3046418"/>
                  <a:pt x="2318109" y="3040983"/>
                  <a:pt x="2320826" y="3038266"/>
                </a:cubicBezTo>
                <a:cubicBezTo>
                  <a:pt x="2320826" y="3035548"/>
                  <a:pt x="2320826" y="3035548"/>
                  <a:pt x="2320826" y="3032831"/>
                </a:cubicBezTo>
                <a:cubicBezTo>
                  <a:pt x="2315390" y="3032831"/>
                  <a:pt x="2315390" y="3032831"/>
                  <a:pt x="2312673" y="3038266"/>
                </a:cubicBezTo>
                <a:cubicBezTo>
                  <a:pt x="2307237" y="3046418"/>
                  <a:pt x="2315390" y="3060006"/>
                  <a:pt x="2318109" y="3070877"/>
                </a:cubicBezTo>
                <a:cubicBezTo>
                  <a:pt x="2323544" y="3081747"/>
                  <a:pt x="2326262" y="3092618"/>
                  <a:pt x="2328979" y="3103488"/>
                </a:cubicBezTo>
                <a:cubicBezTo>
                  <a:pt x="2328979" y="3103488"/>
                  <a:pt x="2328979" y="3106206"/>
                  <a:pt x="2328979" y="3108923"/>
                </a:cubicBezTo>
                <a:cubicBezTo>
                  <a:pt x="2331697" y="3114358"/>
                  <a:pt x="2337132" y="3117076"/>
                  <a:pt x="2339850" y="3119794"/>
                </a:cubicBezTo>
                <a:cubicBezTo>
                  <a:pt x="2345285" y="3127946"/>
                  <a:pt x="2342567" y="3133382"/>
                  <a:pt x="2342567" y="3144252"/>
                </a:cubicBezTo>
                <a:cubicBezTo>
                  <a:pt x="2337132" y="3144252"/>
                  <a:pt x="2323544" y="3141534"/>
                  <a:pt x="2318109" y="3144252"/>
                </a:cubicBezTo>
                <a:cubicBezTo>
                  <a:pt x="2318109" y="3144252"/>
                  <a:pt x="2315390" y="3144252"/>
                  <a:pt x="2315390" y="3144252"/>
                </a:cubicBezTo>
                <a:cubicBezTo>
                  <a:pt x="2315390" y="3138817"/>
                  <a:pt x="2315390" y="3133382"/>
                  <a:pt x="2315390" y="3127946"/>
                </a:cubicBezTo>
                <a:cubicBezTo>
                  <a:pt x="2312673" y="3127946"/>
                  <a:pt x="2309955" y="3127946"/>
                  <a:pt x="2307237" y="3127946"/>
                </a:cubicBezTo>
                <a:cubicBezTo>
                  <a:pt x="2304520" y="3130664"/>
                  <a:pt x="2299085" y="3133382"/>
                  <a:pt x="2301802" y="3136099"/>
                </a:cubicBezTo>
                <a:cubicBezTo>
                  <a:pt x="2301802" y="3146970"/>
                  <a:pt x="2304520" y="3138817"/>
                  <a:pt x="2307237" y="3144252"/>
                </a:cubicBezTo>
                <a:cubicBezTo>
                  <a:pt x="2307237" y="3149687"/>
                  <a:pt x="2307237" y="3155122"/>
                  <a:pt x="2307237" y="3160558"/>
                </a:cubicBezTo>
                <a:cubicBezTo>
                  <a:pt x="2309955" y="3171428"/>
                  <a:pt x="2315390" y="3179581"/>
                  <a:pt x="2318109" y="3193169"/>
                </a:cubicBezTo>
                <a:cubicBezTo>
                  <a:pt x="2320826" y="3206757"/>
                  <a:pt x="2312673" y="3220344"/>
                  <a:pt x="2312673" y="3231215"/>
                </a:cubicBezTo>
                <a:cubicBezTo>
                  <a:pt x="2304520" y="3231215"/>
                  <a:pt x="2309955" y="3228497"/>
                  <a:pt x="2304520" y="3225780"/>
                </a:cubicBezTo>
                <a:cubicBezTo>
                  <a:pt x="2299085" y="3225780"/>
                  <a:pt x="2293650" y="3223062"/>
                  <a:pt x="2288214" y="3223062"/>
                </a:cubicBezTo>
                <a:cubicBezTo>
                  <a:pt x="2285497" y="3223062"/>
                  <a:pt x="2285497" y="3217627"/>
                  <a:pt x="2282779" y="3217627"/>
                </a:cubicBezTo>
                <a:cubicBezTo>
                  <a:pt x="2277344" y="3217627"/>
                  <a:pt x="2271909" y="3217627"/>
                  <a:pt x="2266474" y="3217627"/>
                </a:cubicBezTo>
                <a:cubicBezTo>
                  <a:pt x="2263756" y="3217627"/>
                  <a:pt x="2263756" y="3212192"/>
                  <a:pt x="2261038" y="3212192"/>
                </a:cubicBezTo>
                <a:cubicBezTo>
                  <a:pt x="2258321" y="3209474"/>
                  <a:pt x="2252886" y="3212192"/>
                  <a:pt x="2250168" y="3209474"/>
                </a:cubicBezTo>
                <a:cubicBezTo>
                  <a:pt x="2247450" y="3209474"/>
                  <a:pt x="2247450" y="3204039"/>
                  <a:pt x="2247450" y="3204039"/>
                </a:cubicBezTo>
                <a:lnTo>
                  <a:pt x="2241848" y="3202171"/>
                </a:lnTo>
                <a:lnTo>
                  <a:pt x="2240997" y="3207436"/>
                </a:lnTo>
                <a:cubicBezTo>
                  <a:pt x="2239808" y="3213211"/>
                  <a:pt x="2238364" y="3218816"/>
                  <a:pt x="2236708" y="3223486"/>
                </a:cubicBezTo>
                <a:lnTo>
                  <a:pt x="2234988" y="3226717"/>
                </a:lnTo>
                <a:lnTo>
                  <a:pt x="2247450" y="3228497"/>
                </a:lnTo>
                <a:cubicBezTo>
                  <a:pt x="2252886" y="3236650"/>
                  <a:pt x="2261038" y="3236650"/>
                  <a:pt x="2263756" y="3244803"/>
                </a:cubicBezTo>
                <a:cubicBezTo>
                  <a:pt x="2263756" y="3244803"/>
                  <a:pt x="2266474" y="3244803"/>
                  <a:pt x="2269191" y="3244803"/>
                </a:cubicBezTo>
                <a:cubicBezTo>
                  <a:pt x="2271909" y="3252956"/>
                  <a:pt x="2274626" y="3247520"/>
                  <a:pt x="2277344" y="3252956"/>
                </a:cubicBezTo>
                <a:cubicBezTo>
                  <a:pt x="2280062" y="3255673"/>
                  <a:pt x="2277344" y="3258391"/>
                  <a:pt x="2280062" y="3263826"/>
                </a:cubicBezTo>
                <a:cubicBezTo>
                  <a:pt x="2285497" y="3274696"/>
                  <a:pt x="2288214" y="3280132"/>
                  <a:pt x="2288214" y="3296437"/>
                </a:cubicBezTo>
                <a:cubicBezTo>
                  <a:pt x="2271909" y="3296437"/>
                  <a:pt x="2258321" y="3288284"/>
                  <a:pt x="2247450" y="3282849"/>
                </a:cubicBezTo>
                <a:cubicBezTo>
                  <a:pt x="2242015" y="3280132"/>
                  <a:pt x="2233862" y="3282849"/>
                  <a:pt x="2231145" y="3280132"/>
                </a:cubicBezTo>
                <a:cubicBezTo>
                  <a:pt x="2231145" y="3280132"/>
                  <a:pt x="2231145" y="3280132"/>
                  <a:pt x="2231145" y="3277414"/>
                </a:cubicBezTo>
                <a:cubicBezTo>
                  <a:pt x="2224351" y="3276055"/>
                  <a:pt x="2219595" y="3274017"/>
                  <a:pt x="2215179" y="3271979"/>
                </a:cubicBezTo>
                <a:lnTo>
                  <a:pt x="2210732" y="3270243"/>
                </a:lnTo>
                <a:lnTo>
                  <a:pt x="2209405" y="3272318"/>
                </a:lnTo>
                <a:lnTo>
                  <a:pt x="2211421" y="3280132"/>
                </a:lnTo>
                <a:lnTo>
                  <a:pt x="2222992" y="3280132"/>
                </a:lnTo>
                <a:cubicBezTo>
                  <a:pt x="2222992" y="3280132"/>
                  <a:pt x="2225710" y="3282849"/>
                  <a:pt x="2225710" y="3285567"/>
                </a:cubicBezTo>
                <a:cubicBezTo>
                  <a:pt x="2228427" y="3285567"/>
                  <a:pt x="2233862" y="3285567"/>
                  <a:pt x="2236580" y="3285567"/>
                </a:cubicBezTo>
                <a:cubicBezTo>
                  <a:pt x="2239298" y="3285567"/>
                  <a:pt x="2239298" y="3291002"/>
                  <a:pt x="2242015" y="3291002"/>
                </a:cubicBezTo>
                <a:cubicBezTo>
                  <a:pt x="2247450" y="3296437"/>
                  <a:pt x="2250168" y="3291002"/>
                  <a:pt x="2258321" y="3299155"/>
                </a:cubicBezTo>
                <a:cubicBezTo>
                  <a:pt x="2261038" y="3296437"/>
                  <a:pt x="2285497" y="3307308"/>
                  <a:pt x="2288214" y="3310025"/>
                </a:cubicBezTo>
                <a:cubicBezTo>
                  <a:pt x="2290932" y="3315460"/>
                  <a:pt x="2290932" y="3323613"/>
                  <a:pt x="2293650" y="3329048"/>
                </a:cubicBezTo>
                <a:cubicBezTo>
                  <a:pt x="2296367" y="3331766"/>
                  <a:pt x="2301802" y="3331766"/>
                  <a:pt x="2304520" y="3334484"/>
                </a:cubicBezTo>
                <a:cubicBezTo>
                  <a:pt x="2304520" y="3334484"/>
                  <a:pt x="2304520" y="3337201"/>
                  <a:pt x="2304520" y="3337201"/>
                </a:cubicBezTo>
                <a:cubicBezTo>
                  <a:pt x="2307237" y="3337201"/>
                  <a:pt x="2307237" y="3337201"/>
                  <a:pt x="2309955" y="3337201"/>
                </a:cubicBezTo>
                <a:cubicBezTo>
                  <a:pt x="2312673" y="3337201"/>
                  <a:pt x="2309955" y="3339919"/>
                  <a:pt x="2312673" y="3342636"/>
                </a:cubicBezTo>
                <a:cubicBezTo>
                  <a:pt x="2312673" y="3345354"/>
                  <a:pt x="2318109" y="3345354"/>
                  <a:pt x="2318109" y="3345354"/>
                </a:cubicBezTo>
                <a:cubicBezTo>
                  <a:pt x="2323544" y="3353507"/>
                  <a:pt x="2323544" y="3369812"/>
                  <a:pt x="2323544" y="3375247"/>
                </a:cubicBezTo>
                <a:cubicBezTo>
                  <a:pt x="2318109" y="3375247"/>
                  <a:pt x="2312673" y="3372530"/>
                  <a:pt x="2307237" y="3372530"/>
                </a:cubicBezTo>
                <a:cubicBezTo>
                  <a:pt x="2307237" y="3372530"/>
                  <a:pt x="2307237" y="3369812"/>
                  <a:pt x="2307237" y="3369812"/>
                </a:cubicBezTo>
                <a:cubicBezTo>
                  <a:pt x="2299085" y="3367095"/>
                  <a:pt x="2288214" y="3358942"/>
                  <a:pt x="2277344" y="3358942"/>
                </a:cubicBezTo>
                <a:cubicBezTo>
                  <a:pt x="2277344" y="3358942"/>
                  <a:pt x="2277344" y="3356224"/>
                  <a:pt x="2277344" y="3356224"/>
                </a:cubicBezTo>
                <a:cubicBezTo>
                  <a:pt x="2263756" y="3350789"/>
                  <a:pt x="2252886" y="3339919"/>
                  <a:pt x="2239298" y="3337201"/>
                </a:cubicBezTo>
                <a:cubicBezTo>
                  <a:pt x="2239298" y="3337201"/>
                  <a:pt x="2239298" y="3334484"/>
                  <a:pt x="2239298" y="3334484"/>
                </a:cubicBezTo>
                <a:cubicBezTo>
                  <a:pt x="2231145" y="3330407"/>
                  <a:pt x="2220274" y="3323613"/>
                  <a:pt x="2210423" y="3315460"/>
                </a:cubicBezTo>
                <a:lnTo>
                  <a:pt x="2209404" y="3314244"/>
                </a:lnTo>
                <a:lnTo>
                  <a:pt x="2209404" y="3318178"/>
                </a:lnTo>
                <a:lnTo>
                  <a:pt x="2206481" y="3323441"/>
                </a:lnTo>
                <a:lnTo>
                  <a:pt x="2206686" y="3323613"/>
                </a:lnTo>
                <a:cubicBezTo>
                  <a:pt x="2209404" y="3326331"/>
                  <a:pt x="2212122" y="3326331"/>
                  <a:pt x="2214839" y="3326331"/>
                </a:cubicBezTo>
                <a:cubicBezTo>
                  <a:pt x="2214839" y="3337201"/>
                  <a:pt x="2239298" y="3345354"/>
                  <a:pt x="2247450" y="3350789"/>
                </a:cubicBezTo>
                <a:cubicBezTo>
                  <a:pt x="2247450" y="3350789"/>
                  <a:pt x="2247450" y="3350789"/>
                  <a:pt x="2247450" y="3353507"/>
                </a:cubicBezTo>
                <a:cubicBezTo>
                  <a:pt x="2252886" y="3353507"/>
                  <a:pt x="2258321" y="3353507"/>
                  <a:pt x="2261038" y="3356224"/>
                </a:cubicBezTo>
                <a:cubicBezTo>
                  <a:pt x="2261038" y="3356224"/>
                  <a:pt x="2261038" y="3358942"/>
                  <a:pt x="2261038" y="3358942"/>
                </a:cubicBezTo>
                <a:cubicBezTo>
                  <a:pt x="2263756" y="3358942"/>
                  <a:pt x="2269191" y="3361659"/>
                  <a:pt x="2271909" y="3361659"/>
                </a:cubicBezTo>
                <a:cubicBezTo>
                  <a:pt x="2271909" y="3361659"/>
                  <a:pt x="2274626" y="3364377"/>
                  <a:pt x="2274626" y="3367095"/>
                </a:cubicBezTo>
                <a:cubicBezTo>
                  <a:pt x="2277344" y="3369812"/>
                  <a:pt x="2282779" y="3367095"/>
                  <a:pt x="2285497" y="3369812"/>
                </a:cubicBezTo>
                <a:cubicBezTo>
                  <a:pt x="2290932" y="3372530"/>
                  <a:pt x="2288214" y="3375247"/>
                  <a:pt x="2296367" y="3375247"/>
                </a:cubicBezTo>
                <a:cubicBezTo>
                  <a:pt x="2296367" y="3375247"/>
                  <a:pt x="2296367" y="3377965"/>
                  <a:pt x="2296367" y="3380683"/>
                </a:cubicBezTo>
                <a:cubicBezTo>
                  <a:pt x="2315390" y="3383400"/>
                  <a:pt x="2320826" y="3396988"/>
                  <a:pt x="2337132" y="3396988"/>
                </a:cubicBezTo>
                <a:cubicBezTo>
                  <a:pt x="2337132" y="3410576"/>
                  <a:pt x="2331697" y="3410576"/>
                  <a:pt x="2326262" y="3418729"/>
                </a:cubicBezTo>
                <a:cubicBezTo>
                  <a:pt x="2323544" y="3424164"/>
                  <a:pt x="2323544" y="3435034"/>
                  <a:pt x="2318109" y="3440469"/>
                </a:cubicBezTo>
                <a:cubicBezTo>
                  <a:pt x="2312673" y="3445905"/>
                  <a:pt x="2309955" y="3454057"/>
                  <a:pt x="2304520" y="3459493"/>
                </a:cubicBezTo>
                <a:cubicBezTo>
                  <a:pt x="2304520" y="3459493"/>
                  <a:pt x="2301802" y="3459493"/>
                  <a:pt x="2301802" y="3459493"/>
                </a:cubicBezTo>
                <a:cubicBezTo>
                  <a:pt x="2299085" y="3464928"/>
                  <a:pt x="2299085" y="3470363"/>
                  <a:pt x="2296367" y="3473081"/>
                </a:cubicBezTo>
                <a:cubicBezTo>
                  <a:pt x="2288214" y="3483951"/>
                  <a:pt x="2280062" y="3494821"/>
                  <a:pt x="2274626" y="3505692"/>
                </a:cubicBezTo>
                <a:cubicBezTo>
                  <a:pt x="2271909" y="3511127"/>
                  <a:pt x="2271909" y="3516562"/>
                  <a:pt x="2269191" y="3519280"/>
                </a:cubicBezTo>
                <a:cubicBezTo>
                  <a:pt x="2263756" y="3527432"/>
                  <a:pt x="2252886" y="3530150"/>
                  <a:pt x="2244733" y="3535585"/>
                </a:cubicBezTo>
                <a:cubicBezTo>
                  <a:pt x="2239298" y="3538303"/>
                  <a:pt x="2239298" y="3546456"/>
                  <a:pt x="2233862" y="3549173"/>
                </a:cubicBezTo>
                <a:cubicBezTo>
                  <a:pt x="2225710" y="3554608"/>
                  <a:pt x="2217557" y="3557326"/>
                  <a:pt x="2209404" y="3565479"/>
                </a:cubicBezTo>
                <a:cubicBezTo>
                  <a:pt x="2209404" y="3565479"/>
                  <a:pt x="2209404" y="3565479"/>
                  <a:pt x="2209404" y="3568196"/>
                </a:cubicBezTo>
                <a:cubicBezTo>
                  <a:pt x="2198534" y="3570914"/>
                  <a:pt x="2195816" y="3579067"/>
                  <a:pt x="2187663" y="3584502"/>
                </a:cubicBezTo>
                <a:cubicBezTo>
                  <a:pt x="2182228" y="3587220"/>
                  <a:pt x="2176793" y="3584502"/>
                  <a:pt x="2171358" y="3587220"/>
                </a:cubicBezTo>
                <a:cubicBezTo>
                  <a:pt x="2165922" y="3589937"/>
                  <a:pt x="2157770" y="3603525"/>
                  <a:pt x="2155052" y="3608960"/>
                </a:cubicBezTo>
                <a:cubicBezTo>
                  <a:pt x="2138747" y="3627984"/>
                  <a:pt x="2122441" y="3647007"/>
                  <a:pt x="2108853" y="3666030"/>
                </a:cubicBezTo>
                <a:cubicBezTo>
                  <a:pt x="2108853" y="3666030"/>
                  <a:pt x="2111571" y="3668748"/>
                  <a:pt x="2111571" y="3668748"/>
                </a:cubicBezTo>
                <a:cubicBezTo>
                  <a:pt x="2114288" y="3674183"/>
                  <a:pt x="2119723" y="3679618"/>
                  <a:pt x="2122441" y="3685053"/>
                </a:cubicBezTo>
                <a:cubicBezTo>
                  <a:pt x="2125159" y="3682335"/>
                  <a:pt x="2125159" y="3679618"/>
                  <a:pt x="2127876" y="3676900"/>
                </a:cubicBezTo>
                <a:cubicBezTo>
                  <a:pt x="2130594" y="3674183"/>
                  <a:pt x="2136029" y="3671465"/>
                  <a:pt x="2138747" y="3668748"/>
                </a:cubicBezTo>
                <a:cubicBezTo>
                  <a:pt x="2146899" y="3660595"/>
                  <a:pt x="2146899" y="3649724"/>
                  <a:pt x="2155052" y="3641572"/>
                </a:cubicBezTo>
                <a:cubicBezTo>
                  <a:pt x="2155052" y="3641572"/>
                  <a:pt x="2157770" y="3641572"/>
                  <a:pt x="2157770" y="3641572"/>
                </a:cubicBezTo>
                <a:cubicBezTo>
                  <a:pt x="2157770" y="3636136"/>
                  <a:pt x="2157770" y="3630701"/>
                  <a:pt x="2160487" y="3627984"/>
                </a:cubicBezTo>
                <a:cubicBezTo>
                  <a:pt x="2160487" y="3627984"/>
                  <a:pt x="2163205" y="3625266"/>
                  <a:pt x="2165922" y="3625266"/>
                </a:cubicBezTo>
                <a:cubicBezTo>
                  <a:pt x="2165922" y="3625266"/>
                  <a:pt x="2165922" y="3622548"/>
                  <a:pt x="2165922" y="3622548"/>
                </a:cubicBezTo>
                <a:cubicBezTo>
                  <a:pt x="2165922" y="3622548"/>
                  <a:pt x="2168640" y="3622548"/>
                  <a:pt x="2171358" y="3622548"/>
                </a:cubicBezTo>
                <a:cubicBezTo>
                  <a:pt x="2174075" y="3619831"/>
                  <a:pt x="2179510" y="3611678"/>
                  <a:pt x="2182228" y="3608960"/>
                </a:cubicBezTo>
                <a:cubicBezTo>
                  <a:pt x="2184946" y="3606243"/>
                  <a:pt x="2187663" y="3608960"/>
                  <a:pt x="2190381" y="3606243"/>
                </a:cubicBezTo>
                <a:cubicBezTo>
                  <a:pt x="2190381" y="3603525"/>
                  <a:pt x="2193098" y="3603525"/>
                  <a:pt x="2193098" y="3600808"/>
                </a:cubicBezTo>
                <a:cubicBezTo>
                  <a:pt x="2195816" y="3598090"/>
                  <a:pt x="2201251" y="3600808"/>
                  <a:pt x="2203969" y="3598090"/>
                </a:cubicBezTo>
                <a:cubicBezTo>
                  <a:pt x="2206686" y="3598090"/>
                  <a:pt x="2203969" y="3592655"/>
                  <a:pt x="2206686" y="3592655"/>
                </a:cubicBezTo>
                <a:cubicBezTo>
                  <a:pt x="2212122" y="3587220"/>
                  <a:pt x="2214839" y="3587220"/>
                  <a:pt x="2220274" y="3584502"/>
                </a:cubicBezTo>
                <a:cubicBezTo>
                  <a:pt x="2222992" y="3581784"/>
                  <a:pt x="2222992" y="3579067"/>
                  <a:pt x="2225710" y="3576349"/>
                </a:cubicBezTo>
                <a:cubicBezTo>
                  <a:pt x="2233862" y="3570914"/>
                  <a:pt x="2244733" y="3562761"/>
                  <a:pt x="2255603" y="3557326"/>
                </a:cubicBezTo>
                <a:cubicBezTo>
                  <a:pt x="2255603" y="3557326"/>
                  <a:pt x="2255603" y="3557326"/>
                  <a:pt x="2258321" y="3557326"/>
                </a:cubicBezTo>
                <a:cubicBezTo>
                  <a:pt x="2258321" y="3560044"/>
                  <a:pt x="2261038" y="3560044"/>
                  <a:pt x="2261038" y="3562761"/>
                </a:cubicBezTo>
                <a:cubicBezTo>
                  <a:pt x="2266474" y="3565479"/>
                  <a:pt x="2274626" y="3562761"/>
                  <a:pt x="2280062" y="3565479"/>
                </a:cubicBezTo>
                <a:cubicBezTo>
                  <a:pt x="2282779" y="3565479"/>
                  <a:pt x="2282779" y="3568196"/>
                  <a:pt x="2285497" y="3570914"/>
                </a:cubicBezTo>
                <a:cubicBezTo>
                  <a:pt x="2288214" y="3570914"/>
                  <a:pt x="2293650" y="3568196"/>
                  <a:pt x="2296367" y="3570914"/>
                </a:cubicBezTo>
                <a:cubicBezTo>
                  <a:pt x="2296367" y="3573632"/>
                  <a:pt x="2299085" y="3573632"/>
                  <a:pt x="2299085" y="3576349"/>
                </a:cubicBezTo>
                <a:cubicBezTo>
                  <a:pt x="2307237" y="3579067"/>
                  <a:pt x="2320826" y="3573632"/>
                  <a:pt x="2326262" y="3576349"/>
                </a:cubicBezTo>
                <a:cubicBezTo>
                  <a:pt x="2326262" y="3576349"/>
                  <a:pt x="2328979" y="3576349"/>
                  <a:pt x="2331697" y="3576349"/>
                </a:cubicBezTo>
                <a:cubicBezTo>
                  <a:pt x="2328979" y="3579067"/>
                  <a:pt x="2328979" y="3579067"/>
                  <a:pt x="2328979" y="3581784"/>
                </a:cubicBezTo>
                <a:cubicBezTo>
                  <a:pt x="2320826" y="3581784"/>
                  <a:pt x="2320826" y="3595372"/>
                  <a:pt x="2315390" y="3600808"/>
                </a:cubicBezTo>
                <a:cubicBezTo>
                  <a:pt x="2315390" y="3603525"/>
                  <a:pt x="2299085" y="3611678"/>
                  <a:pt x="2296367" y="3611678"/>
                </a:cubicBezTo>
                <a:cubicBezTo>
                  <a:pt x="2290932" y="3611678"/>
                  <a:pt x="2288214" y="3611678"/>
                  <a:pt x="2285497" y="3611678"/>
                </a:cubicBezTo>
                <a:cubicBezTo>
                  <a:pt x="2282779" y="3611678"/>
                  <a:pt x="2285497" y="3614396"/>
                  <a:pt x="2282779" y="3617113"/>
                </a:cubicBezTo>
                <a:cubicBezTo>
                  <a:pt x="2280062" y="3617113"/>
                  <a:pt x="2277344" y="3617113"/>
                  <a:pt x="2274626" y="3617113"/>
                </a:cubicBezTo>
                <a:cubicBezTo>
                  <a:pt x="2271909" y="3617113"/>
                  <a:pt x="2271909" y="3619831"/>
                  <a:pt x="2269191" y="3622548"/>
                </a:cubicBezTo>
                <a:cubicBezTo>
                  <a:pt x="2266474" y="3625266"/>
                  <a:pt x="2261038" y="3622548"/>
                  <a:pt x="2258321" y="3625266"/>
                </a:cubicBezTo>
                <a:cubicBezTo>
                  <a:pt x="2252886" y="3627984"/>
                  <a:pt x="2247450" y="3636136"/>
                  <a:pt x="2242015" y="3638854"/>
                </a:cubicBezTo>
                <a:cubicBezTo>
                  <a:pt x="2233862" y="3641572"/>
                  <a:pt x="2225710" y="3641572"/>
                  <a:pt x="2217557" y="3647007"/>
                </a:cubicBezTo>
                <a:cubicBezTo>
                  <a:pt x="2214839" y="3647007"/>
                  <a:pt x="2214839" y="3649724"/>
                  <a:pt x="2212122" y="3652442"/>
                </a:cubicBezTo>
                <a:cubicBezTo>
                  <a:pt x="2209404" y="3652442"/>
                  <a:pt x="2206686" y="3652442"/>
                  <a:pt x="2203969" y="3652442"/>
                </a:cubicBezTo>
                <a:cubicBezTo>
                  <a:pt x="2203969" y="3652442"/>
                  <a:pt x="2203969" y="3657877"/>
                  <a:pt x="2201251" y="3657877"/>
                </a:cubicBezTo>
                <a:cubicBezTo>
                  <a:pt x="2198534" y="3657877"/>
                  <a:pt x="2195816" y="3657877"/>
                  <a:pt x="2193098" y="3657877"/>
                </a:cubicBezTo>
                <a:cubicBezTo>
                  <a:pt x="2190381" y="3660595"/>
                  <a:pt x="2187663" y="3668748"/>
                  <a:pt x="2184946" y="3671465"/>
                </a:cubicBezTo>
                <a:cubicBezTo>
                  <a:pt x="2182228" y="3671465"/>
                  <a:pt x="2182228" y="3671465"/>
                  <a:pt x="2179510" y="3671465"/>
                </a:cubicBezTo>
                <a:cubicBezTo>
                  <a:pt x="2179510" y="3674183"/>
                  <a:pt x="2179510" y="3674183"/>
                  <a:pt x="2179510" y="3676900"/>
                </a:cubicBezTo>
                <a:cubicBezTo>
                  <a:pt x="2176793" y="3682335"/>
                  <a:pt x="2171358" y="3687771"/>
                  <a:pt x="2168640" y="3693206"/>
                </a:cubicBezTo>
                <a:cubicBezTo>
                  <a:pt x="2165922" y="3693206"/>
                  <a:pt x="2165922" y="3695923"/>
                  <a:pt x="2163205" y="3695923"/>
                </a:cubicBezTo>
                <a:cubicBezTo>
                  <a:pt x="2163205" y="3698641"/>
                  <a:pt x="2163205" y="3698641"/>
                  <a:pt x="2163205" y="3701359"/>
                </a:cubicBezTo>
                <a:cubicBezTo>
                  <a:pt x="2160487" y="3704076"/>
                  <a:pt x="2152334" y="3706794"/>
                  <a:pt x="2149617" y="3712229"/>
                </a:cubicBezTo>
                <a:cubicBezTo>
                  <a:pt x="2149617" y="3712229"/>
                  <a:pt x="2149617" y="3714947"/>
                  <a:pt x="2149617" y="3714947"/>
                </a:cubicBezTo>
                <a:cubicBezTo>
                  <a:pt x="2146899" y="3714947"/>
                  <a:pt x="2146899" y="3714947"/>
                  <a:pt x="2144182" y="3714947"/>
                </a:cubicBezTo>
                <a:cubicBezTo>
                  <a:pt x="2146899" y="3720382"/>
                  <a:pt x="2152334" y="3723099"/>
                  <a:pt x="2155052" y="3728534"/>
                </a:cubicBezTo>
                <a:cubicBezTo>
                  <a:pt x="2157770" y="3720382"/>
                  <a:pt x="2160487" y="3714947"/>
                  <a:pt x="2165922" y="3709511"/>
                </a:cubicBezTo>
                <a:cubicBezTo>
                  <a:pt x="2168640" y="3706794"/>
                  <a:pt x="2174075" y="3704076"/>
                  <a:pt x="2176793" y="3701359"/>
                </a:cubicBezTo>
                <a:cubicBezTo>
                  <a:pt x="2179510" y="3695923"/>
                  <a:pt x="2179510" y="3690488"/>
                  <a:pt x="2182228" y="3687771"/>
                </a:cubicBezTo>
                <a:cubicBezTo>
                  <a:pt x="2182228" y="3685053"/>
                  <a:pt x="2187663" y="3687771"/>
                  <a:pt x="2187663" y="3685053"/>
                </a:cubicBezTo>
                <a:lnTo>
                  <a:pt x="2188549" y="3683576"/>
                </a:lnTo>
                <a:lnTo>
                  <a:pt x="2195816" y="3671465"/>
                </a:lnTo>
                <a:cubicBezTo>
                  <a:pt x="2198534" y="3671465"/>
                  <a:pt x="2201251" y="3668748"/>
                  <a:pt x="2203969" y="3668748"/>
                </a:cubicBezTo>
                <a:cubicBezTo>
                  <a:pt x="2206686" y="3668748"/>
                  <a:pt x="2203969" y="3663312"/>
                  <a:pt x="2206686" y="3663312"/>
                </a:cubicBezTo>
                <a:cubicBezTo>
                  <a:pt x="2212122" y="3657877"/>
                  <a:pt x="2217557" y="3657877"/>
                  <a:pt x="2222992" y="3655160"/>
                </a:cubicBezTo>
                <a:cubicBezTo>
                  <a:pt x="2222992" y="3652442"/>
                  <a:pt x="2225710" y="3652442"/>
                  <a:pt x="2225710" y="3649724"/>
                </a:cubicBezTo>
                <a:cubicBezTo>
                  <a:pt x="2231145" y="3649724"/>
                  <a:pt x="2233862" y="3647007"/>
                  <a:pt x="2239298" y="3647007"/>
                </a:cubicBezTo>
                <a:cubicBezTo>
                  <a:pt x="2239298" y="3647007"/>
                  <a:pt x="2239298" y="3644289"/>
                  <a:pt x="2239298" y="3644289"/>
                </a:cubicBezTo>
                <a:cubicBezTo>
                  <a:pt x="2242015" y="3641572"/>
                  <a:pt x="2247450" y="3644289"/>
                  <a:pt x="2250168" y="3641572"/>
                </a:cubicBezTo>
                <a:cubicBezTo>
                  <a:pt x="2250168" y="3638854"/>
                  <a:pt x="2252886" y="3638854"/>
                  <a:pt x="2252886" y="3636136"/>
                </a:cubicBezTo>
                <a:cubicBezTo>
                  <a:pt x="2258321" y="3633419"/>
                  <a:pt x="2261038" y="3636136"/>
                  <a:pt x="2263756" y="3633419"/>
                </a:cubicBezTo>
                <a:cubicBezTo>
                  <a:pt x="2263756" y="3630701"/>
                  <a:pt x="2266474" y="3630701"/>
                  <a:pt x="2266474" y="3627984"/>
                </a:cubicBezTo>
                <a:cubicBezTo>
                  <a:pt x="2269191" y="3627984"/>
                  <a:pt x="2271909" y="3630701"/>
                  <a:pt x="2274626" y="3627984"/>
                </a:cubicBezTo>
                <a:cubicBezTo>
                  <a:pt x="2277344" y="3625266"/>
                  <a:pt x="2280062" y="3619831"/>
                  <a:pt x="2282779" y="3619831"/>
                </a:cubicBezTo>
                <a:cubicBezTo>
                  <a:pt x="2288214" y="3619831"/>
                  <a:pt x="2290932" y="3619831"/>
                  <a:pt x="2296367" y="3619831"/>
                </a:cubicBezTo>
                <a:lnTo>
                  <a:pt x="2312673" y="3611678"/>
                </a:lnTo>
                <a:cubicBezTo>
                  <a:pt x="2320826" y="3608960"/>
                  <a:pt x="2334414" y="3579067"/>
                  <a:pt x="2339850" y="3573632"/>
                </a:cubicBezTo>
                <a:cubicBezTo>
                  <a:pt x="2342567" y="3568196"/>
                  <a:pt x="2350720" y="3568196"/>
                  <a:pt x="2353437" y="3560044"/>
                </a:cubicBezTo>
                <a:lnTo>
                  <a:pt x="2356154" y="3559591"/>
                </a:lnTo>
                <a:lnTo>
                  <a:pt x="2356154" y="3558684"/>
                </a:lnTo>
                <a:cubicBezTo>
                  <a:pt x="2356154" y="3558684"/>
                  <a:pt x="2356154" y="3558684"/>
                  <a:pt x="2356154" y="3557325"/>
                </a:cubicBezTo>
                <a:cubicBezTo>
                  <a:pt x="2364307" y="3549173"/>
                  <a:pt x="2372459" y="3538302"/>
                  <a:pt x="2377895" y="3527432"/>
                </a:cubicBezTo>
                <a:cubicBezTo>
                  <a:pt x="2380612" y="3521997"/>
                  <a:pt x="2380612" y="3513844"/>
                  <a:pt x="2383330" y="3508409"/>
                </a:cubicBezTo>
                <a:cubicBezTo>
                  <a:pt x="2386047" y="3500256"/>
                  <a:pt x="2394200" y="3497539"/>
                  <a:pt x="2402353" y="3492103"/>
                </a:cubicBezTo>
                <a:cubicBezTo>
                  <a:pt x="2415941" y="3473080"/>
                  <a:pt x="2426811" y="3451339"/>
                  <a:pt x="2437682" y="3429599"/>
                </a:cubicBezTo>
                <a:cubicBezTo>
                  <a:pt x="2440399" y="3443187"/>
                  <a:pt x="2443117" y="3437751"/>
                  <a:pt x="2451270" y="3443187"/>
                </a:cubicBezTo>
                <a:lnTo>
                  <a:pt x="2451271" y="3443188"/>
                </a:lnTo>
                <a:lnTo>
                  <a:pt x="2451271" y="3443187"/>
                </a:lnTo>
                <a:lnTo>
                  <a:pt x="2455116" y="3435498"/>
                </a:lnTo>
                <a:lnTo>
                  <a:pt x="2450252" y="3430278"/>
                </a:lnTo>
                <a:cubicBezTo>
                  <a:pt x="2446006" y="3426032"/>
                  <a:pt x="2442439" y="3422805"/>
                  <a:pt x="2440401" y="3421446"/>
                </a:cubicBezTo>
                <a:cubicBezTo>
                  <a:pt x="2440401" y="3410576"/>
                  <a:pt x="2443118" y="3407858"/>
                  <a:pt x="2445836" y="3402423"/>
                </a:cubicBezTo>
                <a:cubicBezTo>
                  <a:pt x="2445836" y="3396988"/>
                  <a:pt x="2445836" y="3391553"/>
                  <a:pt x="2445836" y="3386117"/>
                </a:cubicBezTo>
                <a:cubicBezTo>
                  <a:pt x="2445836" y="3380682"/>
                  <a:pt x="2448553" y="3377965"/>
                  <a:pt x="2448553" y="3369812"/>
                </a:cubicBezTo>
                <a:cubicBezTo>
                  <a:pt x="2453989" y="3367094"/>
                  <a:pt x="2453989" y="3364377"/>
                  <a:pt x="2459424" y="3361659"/>
                </a:cubicBezTo>
                <a:lnTo>
                  <a:pt x="2461956" y="3361659"/>
                </a:lnTo>
                <a:lnTo>
                  <a:pt x="2462141" y="3358942"/>
                </a:lnTo>
                <a:cubicBezTo>
                  <a:pt x="2463500" y="3356224"/>
                  <a:pt x="2466218" y="3352827"/>
                  <a:pt x="2468935" y="3349430"/>
                </a:cubicBezTo>
                <a:lnTo>
                  <a:pt x="2473331" y="3343276"/>
                </a:lnTo>
                <a:lnTo>
                  <a:pt x="2473012" y="3342636"/>
                </a:lnTo>
                <a:cubicBezTo>
                  <a:pt x="2473012" y="3338560"/>
                  <a:pt x="2475729" y="3333804"/>
                  <a:pt x="2479126" y="3329728"/>
                </a:cubicBezTo>
                <a:lnTo>
                  <a:pt x="2481165" y="3323613"/>
                </a:lnTo>
                <a:cubicBezTo>
                  <a:pt x="2483882" y="3320896"/>
                  <a:pt x="2486600" y="3320896"/>
                  <a:pt x="2486600" y="3318178"/>
                </a:cubicBezTo>
                <a:cubicBezTo>
                  <a:pt x="2487958" y="3311384"/>
                  <a:pt x="2485241" y="3303910"/>
                  <a:pt x="2483542" y="3296437"/>
                </a:cubicBezTo>
                <a:lnTo>
                  <a:pt x="2483357" y="3294639"/>
                </a:lnTo>
                <a:lnTo>
                  <a:pt x="2478447" y="3303231"/>
                </a:lnTo>
                <a:cubicBezTo>
                  <a:pt x="2477088" y="3306628"/>
                  <a:pt x="2475729" y="3310025"/>
                  <a:pt x="2473012" y="3312743"/>
                </a:cubicBezTo>
                <a:cubicBezTo>
                  <a:pt x="2470294" y="3312743"/>
                  <a:pt x="2470294" y="3315460"/>
                  <a:pt x="2467577" y="3315460"/>
                </a:cubicBezTo>
                <a:cubicBezTo>
                  <a:pt x="2464859" y="3318178"/>
                  <a:pt x="2462141" y="3323613"/>
                  <a:pt x="2459424" y="3329048"/>
                </a:cubicBezTo>
                <a:cubicBezTo>
                  <a:pt x="2451271" y="3329048"/>
                  <a:pt x="2445836" y="3329048"/>
                  <a:pt x="2437683" y="3329048"/>
                </a:cubicBezTo>
                <a:cubicBezTo>
                  <a:pt x="2434965" y="3326331"/>
                  <a:pt x="2429530" y="3323613"/>
                  <a:pt x="2426813" y="3320896"/>
                </a:cubicBezTo>
                <a:cubicBezTo>
                  <a:pt x="2426813" y="3318178"/>
                  <a:pt x="2426813" y="3312743"/>
                  <a:pt x="2424095" y="3307308"/>
                </a:cubicBezTo>
                <a:cubicBezTo>
                  <a:pt x="2424095" y="3307308"/>
                  <a:pt x="2418660" y="3301873"/>
                  <a:pt x="2418660" y="3299155"/>
                </a:cubicBezTo>
                <a:cubicBezTo>
                  <a:pt x="2418660" y="3293720"/>
                  <a:pt x="2421377" y="3285567"/>
                  <a:pt x="2418660" y="3282849"/>
                </a:cubicBezTo>
                <a:cubicBezTo>
                  <a:pt x="2418660" y="3269261"/>
                  <a:pt x="2432248" y="3266544"/>
                  <a:pt x="2437683" y="3258391"/>
                </a:cubicBezTo>
                <a:cubicBezTo>
                  <a:pt x="2440400" y="3254314"/>
                  <a:pt x="2441759" y="3246841"/>
                  <a:pt x="2442778" y="3239707"/>
                </a:cubicBezTo>
                <a:lnTo>
                  <a:pt x="2444772" y="3228852"/>
                </a:lnTo>
                <a:lnTo>
                  <a:pt x="2440400" y="3226119"/>
                </a:lnTo>
                <a:cubicBezTo>
                  <a:pt x="2437683" y="3225779"/>
                  <a:pt x="2434965" y="3225779"/>
                  <a:pt x="2432248" y="3223062"/>
                </a:cubicBezTo>
                <a:cubicBezTo>
                  <a:pt x="2429530" y="3223062"/>
                  <a:pt x="2429530" y="3217627"/>
                  <a:pt x="2426813" y="3217627"/>
                </a:cubicBezTo>
                <a:lnTo>
                  <a:pt x="2424722" y="3217627"/>
                </a:lnTo>
                <a:lnTo>
                  <a:pt x="2424095" y="3236650"/>
                </a:lnTo>
                <a:cubicBezTo>
                  <a:pt x="2421377" y="3242085"/>
                  <a:pt x="2429530" y="3242085"/>
                  <a:pt x="2426813" y="3247520"/>
                </a:cubicBezTo>
                <a:cubicBezTo>
                  <a:pt x="2426813" y="3247520"/>
                  <a:pt x="2421377" y="3250238"/>
                  <a:pt x="2421377" y="3250238"/>
                </a:cubicBezTo>
                <a:cubicBezTo>
                  <a:pt x="2415942" y="3258390"/>
                  <a:pt x="2413225" y="3269261"/>
                  <a:pt x="2405072" y="3271978"/>
                </a:cubicBezTo>
                <a:cubicBezTo>
                  <a:pt x="2405072" y="3285566"/>
                  <a:pt x="2407789" y="3291001"/>
                  <a:pt x="2407789" y="3304589"/>
                </a:cubicBezTo>
                <a:cubicBezTo>
                  <a:pt x="2402354" y="3304589"/>
                  <a:pt x="2394201" y="3304589"/>
                  <a:pt x="2386049" y="3304589"/>
                </a:cubicBezTo>
                <a:cubicBezTo>
                  <a:pt x="2386049" y="3282849"/>
                  <a:pt x="2394201" y="3271978"/>
                  <a:pt x="2396919" y="3250238"/>
                </a:cubicBezTo>
                <a:cubicBezTo>
                  <a:pt x="2399636" y="3242085"/>
                  <a:pt x="2400316" y="3231894"/>
                  <a:pt x="2399976" y="3222043"/>
                </a:cubicBezTo>
                <a:lnTo>
                  <a:pt x="2397922" y="3204467"/>
                </a:lnTo>
                <a:lnTo>
                  <a:pt x="2391484" y="3209474"/>
                </a:lnTo>
                <a:lnTo>
                  <a:pt x="2386497" y="3209474"/>
                </a:lnTo>
                <a:lnTo>
                  <a:pt x="2387068" y="3214909"/>
                </a:lnTo>
                <a:cubicBezTo>
                  <a:pt x="2388767" y="3233932"/>
                  <a:pt x="2388767" y="3251596"/>
                  <a:pt x="2380614" y="3261108"/>
                </a:cubicBezTo>
                <a:cubicBezTo>
                  <a:pt x="2380614" y="3261108"/>
                  <a:pt x="2377896" y="3263825"/>
                  <a:pt x="2377896" y="3263825"/>
                </a:cubicBezTo>
                <a:cubicBezTo>
                  <a:pt x="2377896" y="3263825"/>
                  <a:pt x="2375179" y="3263825"/>
                  <a:pt x="2375179" y="3263825"/>
                </a:cubicBezTo>
                <a:cubicBezTo>
                  <a:pt x="2369743" y="3255673"/>
                  <a:pt x="2367026" y="3250237"/>
                  <a:pt x="2364308" y="3242085"/>
                </a:cubicBezTo>
                <a:cubicBezTo>
                  <a:pt x="2367026" y="3231214"/>
                  <a:pt x="2367026" y="3185015"/>
                  <a:pt x="2364308" y="3179580"/>
                </a:cubicBezTo>
                <a:cubicBezTo>
                  <a:pt x="2361591" y="3179580"/>
                  <a:pt x="2361591" y="3176863"/>
                  <a:pt x="2358873" y="3176863"/>
                </a:cubicBezTo>
                <a:cubicBezTo>
                  <a:pt x="2358873" y="3174145"/>
                  <a:pt x="2358873" y="3174145"/>
                  <a:pt x="2358873" y="3171427"/>
                </a:cubicBezTo>
                <a:cubicBezTo>
                  <a:pt x="2358873" y="3171427"/>
                  <a:pt x="2353438" y="3165992"/>
                  <a:pt x="2353438" y="3163275"/>
                </a:cubicBezTo>
                <a:cubicBezTo>
                  <a:pt x="2358873" y="3160557"/>
                  <a:pt x="2361591" y="3160557"/>
                  <a:pt x="2364308" y="3155122"/>
                </a:cubicBezTo>
                <a:cubicBezTo>
                  <a:pt x="2368384" y="3155122"/>
                  <a:pt x="2370423" y="3156481"/>
                  <a:pt x="2372800" y="3157839"/>
                </a:cubicBezTo>
                <a:lnTo>
                  <a:pt x="2379427" y="3159550"/>
                </a:lnTo>
                <a:lnTo>
                  <a:pt x="2375178" y="3144252"/>
                </a:lnTo>
                <a:cubicBezTo>
                  <a:pt x="2372461" y="3136099"/>
                  <a:pt x="2388766" y="3098053"/>
                  <a:pt x="2388766" y="3087182"/>
                </a:cubicBezTo>
                <a:cubicBezTo>
                  <a:pt x="2405072" y="3081747"/>
                  <a:pt x="2413225" y="3070877"/>
                  <a:pt x="2424095" y="3062724"/>
                </a:cubicBezTo>
                <a:cubicBezTo>
                  <a:pt x="2424095" y="3060006"/>
                  <a:pt x="2426813" y="3057289"/>
                  <a:pt x="2429530" y="3054571"/>
                </a:cubicBezTo>
                <a:cubicBezTo>
                  <a:pt x="2434965" y="3051854"/>
                  <a:pt x="2440401" y="3049136"/>
                  <a:pt x="2443118" y="3043701"/>
                </a:cubicBezTo>
                <a:cubicBezTo>
                  <a:pt x="2448553" y="3038266"/>
                  <a:pt x="2448553" y="3030113"/>
                  <a:pt x="2453989" y="3027395"/>
                </a:cubicBezTo>
                <a:cubicBezTo>
                  <a:pt x="2453989" y="3021960"/>
                  <a:pt x="2453989" y="3024678"/>
                  <a:pt x="2453989" y="3021960"/>
                </a:cubicBezTo>
                <a:cubicBezTo>
                  <a:pt x="2453989" y="3021960"/>
                  <a:pt x="2453989" y="3019243"/>
                  <a:pt x="2453989" y="3019243"/>
                </a:cubicBezTo>
                <a:cubicBezTo>
                  <a:pt x="2451271" y="3019243"/>
                  <a:pt x="2448553" y="3019243"/>
                  <a:pt x="2445836" y="3019243"/>
                </a:cubicBezTo>
                <a:cubicBezTo>
                  <a:pt x="2443118" y="3040983"/>
                  <a:pt x="2410507" y="3060006"/>
                  <a:pt x="2396919" y="3070877"/>
                </a:cubicBezTo>
                <a:cubicBezTo>
                  <a:pt x="2396919" y="3070877"/>
                  <a:pt x="2394201" y="3070877"/>
                  <a:pt x="2394201" y="3070877"/>
                </a:cubicBezTo>
                <a:cubicBezTo>
                  <a:pt x="2394201" y="3054571"/>
                  <a:pt x="2396919" y="3035548"/>
                  <a:pt x="2402354" y="3021960"/>
                </a:cubicBezTo>
                <a:cubicBezTo>
                  <a:pt x="2399637" y="3021960"/>
                  <a:pt x="2399637" y="3021960"/>
                  <a:pt x="2399637" y="3019243"/>
                </a:cubicBezTo>
                <a:cubicBezTo>
                  <a:pt x="2396919" y="3019243"/>
                  <a:pt x="2396919" y="3019243"/>
                  <a:pt x="2394201" y="3019243"/>
                </a:cubicBezTo>
                <a:cubicBezTo>
                  <a:pt x="2383331" y="3024678"/>
                  <a:pt x="2388766" y="3043701"/>
                  <a:pt x="2386049" y="3057289"/>
                </a:cubicBezTo>
                <a:cubicBezTo>
                  <a:pt x="2386049" y="3057289"/>
                  <a:pt x="2388766" y="3068159"/>
                  <a:pt x="2386049" y="3073594"/>
                </a:cubicBezTo>
                <a:cubicBezTo>
                  <a:pt x="2383331" y="3079030"/>
                  <a:pt x="2375178" y="3087182"/>
                  <a:pt x="2372461" y="3095335"/>
                </a:cubicBezTo>
                <a:cubicBezTo>
                  <a:pt x="2372461" y="3103488"/>
                  <a:pt x="2375178" y="3117076"/>
                  <a:pt x="2372461" y="3125229"/>
                </a:cubicBezTo>
                <a:cubicBezTo>
                  <a:pt x="2369743" y="3136099"/>
                  <a:pt x="2364308" y="3144252"/>
                  <a:pt x="2364308" y="3155122"/>
                </a:cubicBezTo>
                <a:cubicBezTo>
                  <a:pt x="2356155" y="3155122"/>
                  <a:pt x="2353437" y="3152405"/>
                  <a:pt x="2348002" y="3149687"/>
                </a:cubicBezTo>
                <a:cubicBezTo>
                  <a:pt x="2348002" y="3144252"/>
                  <a:pt x="2350720" y="3130664"/>
                  <a:pt x="2348002" y="3119794"/>
                </a:cubicBezTo>
                <a:cubicBezTo>
                  <a:pt x="2345285" y="3103488"/>
                  <a:pt x="2356155" y="3087182"/>
                  <a:pt x="2361590" y="3073594"/>
                </a:cubicBezTo>
                <a:cubicBezTo>
                  <a:pt x="2369743" y="3060006"/>
                  <a:pt x="2372461" y="3040983"/>
                  <a:pt x="2377896" y="3027395"/>
                </a:cubicBezTo>
                <a:cubicBezTo>
                  <a:pt x="2377896" y="3024678"/>
                  <a:pt x="2377896" y="3021960"/>
                  <a:pt x="2377896" y="3019243"/>
                </a:cubicBezTo>
                <a:cubicBezTo>
                  <a:pt x="2377896" y="3013807"/>
                  <a:pt x="2386049" y="3002937"/>
                  <a:pt x="2386049" y="2997502"/>
                </a:cubicBezTo>
                <a:cubicBezTo>
                  <a:pt x="2386049" y="2994784"/>
                  <a:pt x="2383331" y="2992067"/>
                  <a:pt x="2383331" y="2989349"/>
                </a:cubicBezTo>
                <a:cubicBezTo>
                  <a:pt x="2415942" y="2994784"/>
                  <a:pt x="2434965" y="2956738"/>
                  <a:pt x="2456706" y="2937715"/>
                </a:cubicBezTo>
                <a:cubicBezTo>
                  <a:pt x="2456706" y="2934997"/>
                  <a:pt x="2456706" y="2934997"/>
                  <a:pt x="2456706" y="2932280"/>
                </a:cubicBezTo>
                <a:cubicBezTo>
                  <a:pt x="2453989" y="2932280"/>
                  <a:pt x="2453989" y="2932280"/>
                  <a:pt x="2451271" y="2932280"/>
                </a:cubicBezTo>
                <a:close/>
                <a:moveTo>
                  <a:pt x="649505" y="2929562"/>
                </a:moveTo>
                <a:cubicBezTo>
                  <a:pt x="630482" y="2929562"/>
                  <a:pt x="622329" y="2937715"/>
                  <a:pt x="611458" y="2943150"/>
                </a:cubicBezTo>
                <a:cubicBezTo>
                  <a:pt x="608741" y="2967608"/>
                  <a:pt x="619611" y="3002937"/>
                  <a:pt x="608741" y="3021960"/>
                </a:cubicBezTo>
                <a:cubicBezTo>
                  <a:pt x="595153" y="3021960"/>
                  <a:pt x="592435" y="3005655"/>
                  <a:pt x="578847" y="3005655"/>
                </a:cubicBezTo>
                <a:cubicBezTo>
                  <a:pt x="578847" y="3051854"/>
                  <a:pt x="633199" y="3054571"/>
                  <a:pt x="660375" y="3032831"/>
                </a:cubicBezTo>
                <a:cubicBezTo>
                  <a:pt x="654940" y="3016525"/>
                  <a:pt x="644070" y="3005655"/>
                  <a:pt x="630482" y="3000219"/>
                </a:cubicBezTo>
                <a:cubicBezTo>
                  <a:pt x="635917" y="2978479"/>
                  <a:pt x="671246" y="2978479"/>
                  <a:pt x="668528" y="2951303"/>
                </a:cubicBezTo>
                <a:cubicBezTo>
                  <a:pt x="657658" y="2948585"/>
                  <a:pt x="649505" y="2948585"/>
                  <a:pt x="649505" y="2929562"/>
                </a:cubicBezTo>
                <a:close/>
                <a:moveTo>
                  <a:pt x="2100700" y="2921409"/>
                </a:moveTo>
                <a:cubicBezTo>
                  <a:pt x="2106135" y="2921409"/>
                  <a:pt x="2114288" y="2921409"/>
                  <a:pt x="2119723" y="2921409"/>
                </a:cubicBezTo>
                <a:cubicBezTo>
                  <a:pt x="2119723" y="2940432"/>
                  <a:pt x="2119723" y="2951302"/>
                  <a:pt x="2117006" y="2964890"/>
                </a:cubicBezTo>
                <a:cubicBezTo>
                  <a:pt x="2117006" y="2975761"/>
                  <a:pt x="2127876" y="2978478"/>
                  <a:pt x="2122441" y="2986631"/>
                </a:cubicBezTo>
                <a:cubicBezTo>
                  <a:pt x="2122441" y="2992066"/>
                  <a:pt x="2119723" y="2992066"/>
                  <a:pt x="2117006" y="2997501"/>
                </a:cubicBezTo>
                <a:cubicBezTo>
                  <a:pt x="2114288" y="2997501"/>
                  <a:pt x="2114288" y="2997501"/>
                  <a:pt x="2111570" y="2997501"/>
                </a:cubicBezTo>
                <a:cubicBezTo>
                  <a:pt x="2111570" y="2981196"/>
                  <a:pt x="2111570" y="2948585"/>
                  <a:pt x="2103418" y="2943150"/>
                </a:cubicBezTo>
                <a:cubicBezTo>
                  <a:pt x="2100700" y="2943150"/>
                  <a:pt x="2100700" y="2943150"/>
                  <a:pt x="2097982" y="2945867"/>
                </a:cubicBezTo>
                <a:cubicBezTo>
                  <a:pt x="2097982" y="2959455"/>
                  <a:pt x="2100700" y="2967608"/>
                  <a:pt x="2103418" y="2975761"/>
                </a:cubicBezTo>
                <a:cubicBezTo>
                  <a:pt x="2103418" y="2975761"/>
                  <a:pt x="2103418" y="2978478"/>
                  <a:pt x="2103418" y="2981196"/>
                </a:cubicBezTo>
                <a:cubicBezTo>
                  <a:pt x="2100700" y="3000219"/>
                  <a:pt x="2097982" y="3013807"/>
                  <a:pt x="2097982" y="3027395"/>
                </a:cubicBezTo>
                <a:cubicBezTo>
                  <a:pt x="2097982" y="3024677"/>
                  <a:pt x="2092547" y="3024677"/>
                  <a:pt x="2089830" y="3021960"/>
                </a:cubicBezTo>
                <a:cubicBezTo>
                  <a:pt x="2087112" y="3016524"/>
                  <a:pt x="2087112" y="3011089"/>
                  <a:pt x="2084394" y="3008372"/>
                </a:cubicBezTo>
                <a:cubicBezTo>
                  <a:pt x="2081677" y="3008372"/>
                  <a:pt x="2078959" y="3005654"/>
                  <a:pt x="2076242" y="3005654"/>
                </a:cubicBezTo>
                <a:cubicBezTo>
                  <a:pt x="2076242" y="3005654"/>
                  <a:pt x="2076242" y="3002937"/>
                  <a:pt x="2076242" y="3000219"/>
                </a:cubicBezTo>
                <a:cubicBezTo>
                  <a:pt x="2076242" y="3000219"/>
                  <a:pt x="2073524" y="3000219"/>
                  <a:pt x="2073524" y="3000219"/>
                </a:cubicBezTo>
                <a:cubicBezTo>
                  <a:pt x="2073524" y="2997501"/>
                  <a:pt x="2073524" y="2994784"/>
                  <a:pt x="2073524" y="2992066"/>
                </a:cubicBezTo>
                <a:cubicBezTo>
                  <a:pt x="2070806" y="2989349"/>
                  <a:pt x="2065371" y="2983913"/>
                  <a:pt x="2062654" y="2981196"/>
                </a:cubicBezTo>
                <a:cubicBezTo>
                  <a:pt x="2057218" y="2975761"/>
                  <a:pt x="2057218" y="2962173"/>
                  <a:pt x="2049066" y="2959455"/>
                </a:cubicBezTo>
                <a:cubicBezTo>
                  <a:pt x="2049066" y="2956737"/>
                  <a:pt x="2049066" y="2956737"/>
                  <a:pt x="2049066" y="2954020"/>
                </a:cubicBezTo>
                <a:cubicBezTo>
                  <a:pt x="2054501" y="2951302"/>
                  <a:pt x="2070806" y="2945867"/>
                  <a:pt x="2073524" y="2943150"/>
                </a:cubicBezTo>
                <a:cubicBezTo>
                  <a:pt x="2073524" y="2940432"/>
                  <a:pt x="2073524" y="2940432"/>
                  <a:pt x="2073524" y="2937714"/>
                </a:cubicBezTo>
                <a:cubicBezTo>
                  <a:pt x="2078959" y="2934997"/>
                  <a:pt x="2087112" y="2937714"/>
                  <a:pt x="2089830" y="2934997"/>
                </a:cubicBezTo>
                <a:cubicBezTo>
                  <a:pt x="2095265" y="2932279"/>
                  <a:pt x="2100700" y="2924126"/>
                  <a:pt x="2100700" y="2921409"/>
                </a:cubicBezTo>
                <a:close/>
                <a:moveTo>
                  <a:pt x="5405296" y="2918692"/>
                </a:moveTo>
                <a:cubicBezTo>
                  <a:pt x="5402579" y="2932280"/>
                  <a:pt x="5402579" y="2954020"/>
                  <a:pt x="5418884" y="2964891"/>
                </a:cubicBezTo>
                <a:cubicBezTo>
                  <a:pt x="5418884" y="2948585"/>
                  <a:pt x="5435190" y="2915974"/>
                  <a:pt x="5405296" y="2918692"/>
                </a:cubicBezTo>
                <a:close/>
                <a:moveTo>
                  <a:pt x="1842529" y="2915974"/>
                </a:moveTo>
                <a:cubicBezTo>
                  <a:pt x="1828941" y="2926845"/>
                  <a:pt x="1834376" y="2978479"/>
                  <a:pt x="1834376" y="3002937"/>
                </a:cubicBezTo>
                <a:cubicBezTo>
                  <a:pt x="1834376" y="3011090"/>
                  <a:pt x="1826223" y="3019243"/>
                  <a:pt x="1823506" y="3024678"/>
                </a:cubicBezTo>
                <a:lnTo>
                  <a:pt x="1815897" y="3042068"/>
                </a:lnTo>
                <a:lnTo>
                  <a:pt x="1816373" y="3047777"/>
                </a:lnTo>
                <a:cubicBezTo>
                  <a:pt x="1816033" y="3051854"/>
                  <a:pt x="1815354" y="3055930"/>
                  <a:pt x="1815354" y="3060007"/>
                </a:cubicBezTo>
                <a:lnTo>
                  <a:pt x="1814477" y="3077537"/>
                </a:lnTo>
                <a:lnTo>
                  <a:pt x="1815353" y="3076312"/>
                </a:lnTo>
                <a:cubicBezTo>
                  <a:pt x="1820788" y="3065442"/>
                  <a:pt x="1820788" y="3054571"/>
                  <a:pt x="1826223" y="3043701"/>
                </a:cubicBezTo>
                <a:cubicBezTo>
                  <a:pt x="1826223" y="3043701"/>
                  <a:pt x="1828941" y="3040983"/>
                  <a:pt x="1828941" y="3040983"/>
                </a:cubicBezTo>
                <a:cubicBezTo>
                  <a:pt x="1831658" y="3035548"/>
                  <a:pt x="1831658" y="3027395"/>
                  <a:pt x="1834376" y="3021960"/>
                </a:cubicBezTo>
                <a:cubicBezTo>
                  <a:pt x="1834376" y="3016525"/>
                  <a:pt x="1839811" y="3011090"/>
                  <a:pt x="1842529" y="3008372"/>
                </a:cubicBezTo>
                <a:cubicBezTo>
                  <a:pt x="1842529" y="3002937"/>
                  <a:pt x="1839811" y="2994784"/>
                  <a:pt x="1839811" y="2989349"/>
                </a:cubicBezTo>
                <a:cubicBezTo>
                  <a:pt x="1839811" y="2978479"/>
                  <a:pt x="1837094" y="2937715"/>
                  <a:pt x="1845246" y="2926845"/>
                </a:cubicBezTo>
                <a:cubicBezTo>
                  <a:pt x="1845246" y="2921409"/>
                  <a:pt x="1845246" y="2918692"/>
                  <a:pt x="1842529" y="2915974"/>
                </a:cubicBezTo>
                <a:close/>
                <a:moveTo>
                  <a:pt x="4407939" y="2907821"/>
                </a:moveTo>
                <a:lnTo>
                  <a:pt x="4391633" y="2924127"/>
                </a:lnTo>
                <a:lnTo>
                  <a:pt x="4407939" y="2932280"/>
                </a:lnTo>
                <a:lnTo>
                  <a:pt x="4418809" y="2924127"/>
                </a:lnTo>
                <a:close/>
                <a:moveTo>
                  <a:pt x="983769" y="2899669"/>
                </a:moveTo>
                <a:cubicBezTo>
                  <a:pt x="986486" y="2902386"/>
                  <a:pt x="989204" y="2905104"/>
                  <a:pt x="991922" y="2905104"/>
                </a:cubicBezTo>
                <a:cubicBezTo>
                  <a:pt x="991922" y="2902386"/>
                  <a:pt x="991922" y="2902386"/>
                  <a:pt x="991922" y="2899669"/>
                </a:cubicBezTo>
                <a:cubicBezTo>
                  <a:pt x="989204" y="2899669"/>
                  <a:pt x="986486" y="2899669"/>
                  <a:pt x="983769" y="2899669"/>
                </a:cubicBezTo>
                <a:close/>
                <a:moveTo>
                  <a:pt x="505472" y="2899669"/>
                </a:moveTo>
                <a:cubicBezTo>
                  <a:pt x="494602" y="2902386"/>
                  <a:pt x="494602" y="2918692"/>
                  <a:pt x="472861" y="2915974"/>
                </a:cubicBezTo>
                <a:cubicBezTo>
                  <a:pt x="467426" y="2959456"/>
                  <a:pt x="505472" y="2940433"/>
                  <a:pt x="527213" y="2943150"/>
                </a:cubicBezTo>
                <a:cubicBezTo>
                  <a:pt x="524495" y="2924127"/>
                  <a:pt x="516343" y="2907821"/>
                  <a:pt x="505472" y="2899669"/>
                </a:cubicBezTo>
                <a:close/>
                <a:moveTo>
                  <a:pt x="845172" y="2869775"/>
                </a:moveTo>
                <a:cubicBezTo>
                  <a:pt x="823431" y="2877929"/>
                  <a:pt x="801690" y="2883363"/>
                  <a:pt x="796255" y="2902386"/>
                </a:cubicBezTo>
                <a:cubicBezTo>
                  <a:pt x="837019" y="2891516"/>
                  <a:pt x="856042" y="2956738"/>
                  <a:pt x="837019" y="2983914"/>
                </a:cubicBezTo>
                <a:cubicBezTo>
                  <a:pt x="826148" y="2981196"/>
                  <a:pt x="826148" y="2964891"/>
                  <a:pt x="823431" y="2951303"/>
                </a:cubicBezTo>
                <a:cubicBezTo>
                  <a:pt x="796255" y="2967608"/>
                  <a:pt x="785385" y="3000219"/>
                  <a:pt x="779949" y="3032831"/>
                </a:cubicBezTo>
                <a:cubicBezTo>
                  <a:pt x="790820" y="3040983"/>
                  <a:pt x="826148" y="3013807"/>
                  <a:pt x="837019" y="3030113"/>
                </a:cubicBezTo>
                <a:cubicBezTo>
                  <a:pt x="837019" y="3043701"/>
                  <a:pt x="839736" y="3065442"/>
                  <a:pt x="839736" y="3070877"/>
                </a:cubicBezTo>
                <a:cubicBezTo>
                  <a:pt x="823431" y="3065442"/>
                  <a:pt x="809843" y="3060006"/>
                  <a:pt x="796255" y="3051854"/>
                </a:cubicBezTo>
                <a:cubicBezTo>
                  <a:pt x="755491" y="3095335"/>
                  <a:pt x="885935" y="3119794"/>
                  <a:pt x="866912" y="3054571"/>
                </a:cubicBezTo>
                <a:cubicBezTo>
                  <a:pt x="880500" y="3057289"/>
                  <a:pt x="888653" y="3051854"/>
                  <a:pt x="907676" y="3046418"/>
                </a:cubicBezTo>
                <a:cubicBezTo>
                  <a:pt x="907676" y="3038266"/>
                  <a:pt x="913111" y="3027395"/>
                  <a:pt x="907676" y="3013807"/>
                </a:cubicBezTo>
                <a:cubicBezTo>
                  <a:pt x="896806" y="3016525"/>
                  <a:pt x="885935" y="3016525"/>
                  <a:pt x="875065" y="3019243"/>
                </a:cubicBezTo>
                <a:cubicBezTo>
                  <a:pt x="872347" y="3008372"/>
                  <a:pt x="872347" y="2997502"/>
                  <a:pt x="869630" y="2986632"/>
                </a:cubicBezTo>
                <a:cubicBezTo>
                  <a:pt x="877783" y="2981196"/>
                  <a:pt x="877783" y="2970326"/>
                  <a:pt x="891371" y="2970326"/>
                </a:cubicBezTo>
                <a:cubicBezTo>
                  <a:pt x="888653" y="2959456"/>
                  <a:pt x="888653" y="2948585"/>
                  <a:pt x="885935" y="2937715"/>
                </a:cubicBezTo>
                <a:cubicBezTo>
                  <a:pt x="850607" y="2948585"/>
                  <a:pt x="842454" y="2899669"/>
                  <a:pt x="845172" y="2869775"/>
                </a:cubicBezTo>
                <a:close/>
                <a:moveTo>
                  <a:pt x="747338" y="2867058"/>
                </a:moveTo>
                <a:cubicBezTo>
                  <a:pt x="747338" y="2891516"/>
                  <a:pt x="712009" y="2891516"/>
                  <a:pt x="725597" y="2924127"/>
                </a:cubicBezTo>
                <a:cubicBezTo>
                  <a:pt x="747338" y="2921409"/>
                  <a:pt x="744621" y="2907821"/>
                  <a:pt x="763644" y="2905104"/>
                </a:cubicBezTo>
                <a:cubicBezTo>
                  <a:pt x="760926" y="2888798"/>
                  <a:pt x="758209" y="2872493"/>
                  <a:pt x="747338" y="2867058"/>
                </a:cubicBezTo>
                <a:close/>
                <a:moveTo>
                  <a:pt x="4312823" y="2864340"/>
                </a:moveTo>
                <a:lnTo>
                  <a:pt x="4304669" y="2894233"/>
                </a:lnTo>
                <a:lnTo>
                  <a:pt x="4318257" y="2894233"/>
                </a:lnTo>
                <a:lnTo>
                  <a:pt x="4318257" y="2864340"/>
                </a:lnTo>
                <a:close/>
                <a:moveTo>
                  <a:pt x="4331845" y="2856187"/>
                </a:moveTo>
                <a:lnTo>
                  <a:pt x="4348151" y="2872493"/>
                </a:lnTo>
                <a:lnTo>
                  <a:pt x="4356305" y="2856187"/>
                </a:lnTo>
                <a:close/>
                <a:moveTo>
                  <a:pt x="2231145" y="2829011"/>
                </a:moveTo>
                <a:cubicBezTo>
                  <a:pt x="2220274" y="2831729"/>
                  <a:pt x="2225710" y="2837165"/>
                  <a:pt x="2220274" y="2845317"/>
                </a:cubicBezTo>
                <a:cubicBezTo>
                  <a:pt x="2214839" y="2858905"/>
                  <a:pt x="2195816" y="2867058"/>
                  <a:pt x="2190381" y="2877929"/>
                </a:cubicBezTo>
                <a:cubicBezTo>
                  <a:pt x="2184946" y="2877929"/>
                  <a:pt x="2179510" y="2880645"/>
                  <a:pt x="2176793" y="2877929"/>
                </a:cubicBezTo>
                <a:cubicBezTo>
                  <a:pt x="2174075" y="2875211"/>
                  <a:pt x="2171358" y="2850752"/>
                  <a:pt x="2171358" y="2839881"/>
                </a:cubicBezTo>
                <a:cubicBezTo>
                  <a:pt x="2168640" y="2839881"/>
                  <a:pt x="2168640" y="2839881"/>
                  <a:pt x="2168640" y="2839881"/>
                </a:cubicBezTo>
                <a:cubicBezTo>
                  <a:pt x="2165922" y="2839881"/>
                  <a:pt x="2165922" y="2839881"/>
                  <a:pt x="2163205" y="2839881"/>
                </a:cubicBezTo>
                <a:cubicBezTo>
                  <a:pt x="2155052" y="2848035"/>
                  <a:pt x="2165922" y="2856187"/>
                  <a:pt x="2165922" y="2864340"/>
                </a:cubicBezTo>
                <a:cubicBezTo>
                  <a:pt x="2165922" y="2872493"/>
                  <a:pt x="2163205" y="2883363"/>
                  <a:pt x="2168640" y="2894233"/>
                </a:cubicBezTo>
                <a:cubicBezTo>
                  <a:pt x="2169999" y="2898309"/>
                  <a:pt x="2172716" y="2901027"/>
                  <a:pt x="2175094" y="2904085"/>
                </a:cubicBezTo>
                <a:lnTo>
                  <a:pt x="2178501" y="2913257"/>
                </a:lnTo>
                <a:lnTo>
                  <a:pt x="2182228" y="2913257"/>
                </a:lnTo>
                <a:cubicBezTo>
                  <a:pt x="2182228" y="2918692"/>
                  <a:pt x="2182228" y="2924127"/>
                  <a:pt x="2182228" y="2926845"/>
                </a:cubicBezTo>
                <a:lnTo>
                  <a:pt x="2187664" y="2934363"/>
                </a:lnTo>
                <a:lnTo>
                  <a:pt x="2187664" y="2924127"/>
                </a:lnTo>
                <a:cubicBezTo>
                  <a:pt x="2190381" y="2924127"/>
                  <a:pt x="2206687" y="2926844"/>
                  <a:pt x="2209405" y="2929562"/>
                </a:cubicBezTo>
                <a:cubicBezTo>
                  <a:pt x="2214840" y="2926844"/>
                  <a:pt x="2225710" y="2926844"/>
                  <a:pt x="2228428" y="2929562"/>
                </a:cubicBezTo>
                <a:lnTo>
                  <a:pt x="2230680" y="2940985"/>
                </a:lnTo>
                <a:lnTo>
                  <a:pt x="2250168" y="2943150"/>
                </a:lnTo>
                <a:cubicBezTo>
                  <a:pt x="2250168" y="2943150"/>
                  <a:pt x="2250168" y="2948585"/>
                  <a:pt x="2252886" y="2948585"/>
                </a:cubicBezTo>
                <a:cubicBezTo>
                  <a:pt x="2258321" y="2948585"/>
                  <a:pt x="2263756" y="2951303"/>
                  <a:pt x="2269191" y="2951303"/>
                </a:cubicBezTo>
                <a:cubicBezTo>
                  <a:pt x="2271909" y="2951303"/>
                  <a:pt x="2271909" y="2956738"/>
                  <a:pt x="2274626" y="2956738"/>
                </a:cubicBezTo>
                <a:cubicBezTo>
                  <a:pt x="2282779" y="2956738"/>
                  <a:pt x="2290932" y="2959456"/>
                  <a:pt x="2299085" y="2959456"/>
                </a:cubicBezTo>
                <a:cubicBezTo>
                  <a:pt x="2299085" y="2959456"/>
                  <a:pt x="2299085" y="2962173"/>
                  <a:pt x="2299085" y="2962173"/>
                </a:cubicBezTo>
                <a:cubicBezTo>
                  <a:pt x="2309955" y="2964891"/>
                  <a:pt x="2339850" y="2978479"/>
                  <a:pt x="2348002" y="2970326"/>
                </a:cubicBezTo>
                <a:cubicBezTo>
                  <a:pt x="2350720" y="2970326"/>
                  <a:pt x="2350720" y="2967608"/>
                  <a:pt x="2353437" y="2964891"/>
                </a:cubicBezTo>
                <a:cubicBezTo>
                  <a:pt x="2353437" y="2956738"/>
                  <a:pt x="2350720" y="2954020"/>
                  <a:pt x="2345285" y="2956738"/>
                </a:cubicBezTo>
                <a:cubicBezTo>
                  <a:pt x="2342567" y="2956738"/>
                  <a:pt x="2342567" y="2959456"/>
                  <a:pt x="2339850" y="2962173"/>
                </a:cubicBezTo>
                <a:cubicBezTo>
                  <a:pt x="2337132" y="2962173"/>
                  <a:pt x="2309955" y="2956738"/>
                  <a:pt x="2307237" y="2954020"/>
                </a:cubicBezTo>
                <a:cubicBezTo>
                  <a:pt x="2304520" y="2951303"/>
                  <a:pt x="2307237" y="2948585"/>
                  <a:pt x="2296367" y="2948585"/>
                </a:cubicBezTo>
                <a:cubicBezTo>
                  <a:pt x="2299085" y="2945868"/>
                  <a:pt x="2299085" y="2943150"/>
                  <a:pt x="2301802" y="2943150"/>
                </a:cubicBezTo>
                <a:cubicBezTo>
                  <a:pt x="2307237" y="2943150"/>
                  <a:pt x="2312673" y="2943150"/>
                  <a:pt x="2318109" y="2943150"/>
                </a:cubicBezTo>
                <a:cubicBezTo>
                  <a:pt x="2320826" y="2943150"/>
                  <a:pt x="2323544" y="2937715"/>
                  <a:pt x="2323544" y="2937715"/>
                </a:cubicBezTo>
                <a:cubicBezTo>
                  <a:pt x="2328979" y="2934997"/>
                  <a:pt x="2337132" y="2937715"/>
                  <a:pt x="2342567" y="2934997"/>
                </a:cubicBezTo>
                <a:cubicBezTo>
                  <a:pt x="2342567" y="2929562"/>
                  <a:pt x="2342567" y="2929562"/>
                  <a:pt x="2339850" y="2926845"/>
                </a:cubicBezTo>
                <a:cubicBezTo>
                  <a:pt x="2318109" y="2926845"/>
                  <a:pt x="2288214" y="2934997"/>
                  <a:pt x="2280062" y="2945868"/>
                </a:cubicBezTo>
                <a:cubicBezTo>
                  <a:pt x="2263756" y="2943150"/>
                  <a:pt x="2258321" y="2934997"/>
                  <a:pt x="2239298" y="2934997"/>
                </a:cubicBezTo>
                <a:cubicBezTo>
                  <a:pt x="2242015" y="2915974"/>
                  <a:pt x="2261038" y="2910539"/>
                  <a:pt x="2271909" y="2896951"/>
                </a:cubicBezTo>
                <a:cubicBezTo>
                  <a:pt x="2271909" y="2894233"/>
                  <a:pt x="2274626" y="2891516"/>
                  <a:pt x="2274626" y="2888798"/>
                </a:cubicBezTo>
                <a:cubicBezTo>
                  <a:pt x="2290932" y="2869775"/>
                  <a:pt x="2285497" y="2869775"/>
                  <a:pt x="2285497" y="2842599"/>
                </a:cubicBezTo>
                <a:cubicBezTo>
                  <a:pt x="2282779" y="2842599"/>
                  <a:pt x="2282779" y="2842599"/>
                  <a:pt x="2280062" y="2842599"/>
                </a:cubicBezTo>
                <a:cubicBezTo>
                  <a:pt x="2280062" y="2848035"/>
                  <a:pt x="2277344" y="2850752"/>
                  <a:pt x="2277344" y="2856187"/>
                </a:cubicBezTo>
                <a:cubicBezTo>
                  <a:pt x="2277344" y="2858905"/>
                  <a:pt x="2282779" y="2864340"/>
                  <a:pt x="2280062" y="2869775"/>
                </a:cubicBezTo>
                <a:cubicBezTo>
                  <a:pt x="2274626" y="2880645"/>
                  <a:pt x="2263756" y="2888798"/>
                  <a:pt x="2255603" y="2896951"/>
                </a:cubicBezTo>
                <a:cubicBezTo>
                  <a:pt x="2255603" y="2880645"/>
                  <a:pt x="2255603" y="2875211"/>
                  <a:pt x="2252886" y="2864340"/>
                </a:cubicBezTo>
                <a:cubicBezTo>
                  <a:pt x="2252886" y="2861623"/>
                  <a:pt x="2252886" y="2861623"/>
                  <a:pt x="2252886" y="2858905"/>
                </a:cubicBezTo>
                <a:cubicBezTo>
                  <a:pt x="2252886" y="2853469"/>
                  <a:pt x="2250168" y="2856187"/>
                  <a:pt x="2250168" y="2850752"/>
                </a:cubicBezTo>
                <a:cubicBezTo>
                  <a:pt x="2244733" y="2850752"/>
                  <a:pt x="2244733" y="2850752"/>
                  <a:pt x="2239298" y="2850752"/>
                </a:cubicBezTo>
                <a:cubicBezTo>
                  <a:pt x="2239298" y="2858905"/>
                  <a:pt x="2242015" y="2856187"/>
                  <a:pt x="2244733" y="2861623"/>
                </a:cubicBezTo>
                <a:cubicBezTo>
                  <a:pt x="2247450" y="2867058"/>
                  <a:pt x="2250168" y="2902386"/>
                  <a:pt x="2247450" y="2907821"/>
                </a:cubicBezTo>
                <a:cubicBezTo>
                  <a:pt x="2244733" y="2913257"/>
                  <a:pt x="2239298" y="2918692"/>
                  <a:pt x="2236580" y="2924127"/>
                </a:cubicBezTo>
                <a:cubicBezTo>
                  <a:pt x="2228427" y="2921409"/>
                  <a:pt x="2222992" y="2918692"/>
                  <a:pt x="2217557" y="2915974"/>
                </a:cubicBezTo>
                <a:cubicBezTo>
                  <a:pt x="2212122" y="2913257"/>
                  <a:pt x="2206686" y="2915974"/>
                  <a:pt x="2201251" y="2913257"/>
                </a:cubicBezTo>
                <a:cubicBezTo>
                  <a:pt x="2195816" y="2913257"/>
                  <a:pt x="2187663" y="2891516"/>
                  <a:pt x="2184946" y="2886081"/>
                </a:cubicBezTo>
                <a:cubicBezTo>
                  <a:pt x="2187663" y="2883363"/>
                  <a:pt x="2193098" y="2883363"/>
                  <a:pt x="2198534" y="2880645"/>
                </a:cubicBezTo>
                <a:cubicBezTo>
                  <a:pt x="2198534" y="2880645"/>
                  <a:pt x="2198534" y="2877929"/>
                  <a:pt x="2198534" y="2877929"/>
                </a:cubicBezTo>
                <a:cubicBezTo>
                  <a:pt x="2201251" y="2875211"/>
                  <a:pt x="2203969" y="2877929"/>
                  <a:pt x="2206686" y="2875211"/>
                </a:cubicBezTo>
                <a:cubicBezTo>
                  <a:pt x="2206686" y="2875211"/>
                  <a:pt x="2209404" y="2872493"/>
                  <a:pt x="2209404" y="2869775"/>
                </a:cubicBezTo>
                <a:cubicBezTo>
                  <a:pt x="2209404" y="2867058"/>
                  <a:pt x="2212122" y="2869775"/>
                  <a:pt x="2214839" y="2867058"/>
                </a:cubicBezTo>
                <a:cubicBezTo>
                  <a:pt x="2220274" y="2856187"/>
                  <a:pt x="2225710" y="2845317"/>
                  <a:pt x="2233862" y="2837165"/>
                </a:cubicBezTo>
                <a:cubicBezTo>
                  <a:pt x="2233862" y="2834447"/>
                  <a:pt x="2233862" y="2831729"/>
                  <a:pt x="2233862" y="2829011"/>
                </a:cubicBezTo>
                <a:cubicBezTo>
                  <a:pt x="2231145" y="2829011"/>
                  <a:pt x="2231145" y="2829011"/>
                  <a:pt x="2231145" y="2829011"/>
                </a:cubicBezTo>
                <a:close/>
                <a:moveTo>
                  <a:pt x="4416091" y="2750201"/>
                </a:moveTo>
                <a:lnTo>
                  <a:pt x="4416091" y="2766507"/>
                </a:lnTo>
                <a:lnTo>
                  <a:pt x="4432397" y="2750201"/>
                </a:lnTo>
                <a:close/>
                <a:moveTo>
                  <a:pt x="304370" y="2731179"/>
                </a:moveTo>
                <a:cubicBezTo>
                  <a:pt x="309805" y="2747483"/>
                  <a:pt x="301653" y="2755636"/>
                  <a:pt x="304370" y="2771942"/>
                </a:cubicBezTo>
                <a:cubicBezTo>
                  <a:pt x="320676" y="2761071"/>
                  <a:pt x="315241" y="2788247"/>
                  <a:pt x="320676" y="2799118"/>
                </a:cubicBezTo>
                <a:cubicBezTo>
                  <a:pt x="336981" y="2799118"/>
                  <a:pt x="339699" y="2826293"/>
                  <a:pt x="358722" y="2807271"/>
                </a:cubicBezTo>
                <a:cubicBezTo>
                  <a:pt x="350569" y="2763789"/>
                  <a:pt x="342417" y="2728461"/>
                  <a:pt x="304370" y="2731179"/>
                </a:cubicBezTo>
                <a:close/>
                <a:moveTo>
                  <a:pt x="4747638" y="2704002"/>
                </a:moveTo>
                <a:lnTo>
                  <a:pt x="4763944" y="2725743"/>
                </a:lnTo>
                <a:lnTo>
                  <a:pt x="4788402" y="2704002"/>
                </a:lnTo>
                <a:close/>
                <a:moveTo>
                  <a:pt x="1263681" y="2698567"/>
                </a:moveTo>
                <a:cubicBezTo>
                  <a:pt x="1258246" y="2709438"/>
                  <a:pt x="1260964" y="2723026"/>
                  <a:pt x="1266399" y="2733896"/>
                </a:cubicBezTo>
                <a:cubicBezTo>
                  <a:pt x="1274552" y="2733896"/>
                  <a:pt x="1285422" y="2731179"/>
                  <a:pt x="1293575" y="2731179"/>
                </a:cubicBezTo>
                <a:cubicBezTo>
                  <a:pt x="1293575" y="2725743"/>
                  <a:pt x="1293575" y="2725743"/>
                  <a:pt x="1296292" y="2723026"/>
                </a:cubicBezTo>
                <a:cubicBezTo>
                  <a:pt x="1309880" y="2725743"/>
                  <a:pt x="1323468" y="2733896"/>
                  <a:pt x="1334339" y="2739331"/>
                </a:cubicBezTo>
                <a:cubicBezTo>
                  <a:pt x="1334339" y="2728461"/>
                  <a:pt x="1339774" y="2723026"/>
                  <a:pt x="1339774" y="2712155"/>
                </a:cubicBezTo>
                <a:cubicBezTo>
                  <a:pt x="1337056" y="2709438"/>
                  <a:pt x="1334339" y="2706720"/>
                  <a:pt x="1334339" y="2704002"/>
                </a:cubicBezTo>
                <a:cubicBezTo>
                  <a:pt x="1331621" y="2704002"/>
                  <a:pt x="1326186" y="2704002"/>
                  <a:pt x="1323468" y="2704002"/>
                </a:cubicBezTo>
                <a:cubicBezTo>
                  <a:pt x="1320751" y="2704002"/>
                  <a:pt x="1320751" y="2706720"/>
                  <a:pt x="1318033" y="2706720"/>
                </a:cubicBezTo>
                <a:cubicBezTo>
                  <a:pt x="1315315" y="2706720"/>
                  <a:pt x="1312598" y="2704002"/>
                  <a:pt x="1309880" y="2704002"/>
                </a:cubicBezTo>
                <a:cubicBezTo>
                  <a:pt x="1293575" y="2704002"/>
                  <a:pt x="1277269" y="2704002"/>
                  <a:pt x="1263681" y="2698567"/>
                </a:cubicBezTo>
                <a:close/>
                <a:moveTo>
                  <a:pt x="5588564" y="2697421"/>
                </a:moveTo>
                <a:cubicBezTo>
                  <a:pt x="5586186" y="2697548"/>
                  <a:pt x="5583978" y="2698567"/>
                  <a:pt x="5581940" y="2701284"/>
                </a:cubicBezTo>
                <a:cubicBezTo>
                  <a:pt x="5595528" y="2698567"/>
                  <a:pt x="5600963" y="2720307"/>
                  <a:pt x="5617268" y="2712155"/>
                </a:cubicBezTo>
                <a:cubicBezTo>
                  <a:pt x="5614551" y="2706720"/>
                  <a:pt x="5614551" y="2701284"/>
                  <a:pt x="5614551" y="2698567"/>
                </a:cubicBezTo>
                <a:cubicBezTo>
                  <a:pt x="5604360" y="2704681"/>
                  <a:pt x="5595697" y="2697039"/>
                  <a:pt x="5588564" y="2697421"/>
                </a:cubicBezTo>
                <a:close/>
                <a:moveTo>
                  <a:pt x="4734050" y="2695849"/>
                </a:moveTo>
                <a:cubicBezTo>
                  <a:pt x="4715027" y="2706720"/>
                  <a:pt x="4715027" y="2695849"/>
                  <a:pt x="4725897" y="2717591"/>
                </a:cubicBezTo>
                <a:lnTo>
                  <a:pt x="4717745" y="2739331"/>
                </a:lnTo>
                <a:cubicBezTo>
                  <a:pt x="4723180" y="2736613"/>
                  <a:pt x="4739485" y="2728461"/>
                  <a:pt x="4739485" y="2717591"/>
                </a:cubicBezTo>
                <a:cubicBezTo>
                  <a:pt x="4739485" y="2687697"/>
                  <a:pt x="4742203" y="2714872"/>
                  <a:pt x="4734050" y="2695849"/>
                </a:cubicBezTo>
                <a:close/>
                <a:moveTo>
                  <a:pt x="4655239" y="2693132"/>
                </a:moveTo>
                <a:lnTo>
                  <a:pt x="4638933" y="2709438"/>
                </a:lnTo>
                <a:lnTo>
                  <a:pt x="4666109" y="2709438"/>
                </a:lnTo>
                <a:close/>
                <a:moveTo>
                  <a:pt x="5350944" y="2687697"/>
                </a:moveTo>
                <a:cubicBezTo>
                  <a:pt x="5345509" y="2693132"/>
                  <a:pt x="5340074" y="2698567"/>
                  <a:pt x="5331921" y="2704002"/>
                </a:cubicBezTo>
                <a:cubicBezTo>
                  <a:pt x="5329204" y="2701284"/>
                  <a:pt x="5329204" y="2698567"/>
                  <a:pt x="5326486" y="2693132"/>
                </a:cubicBezTo>
                <a:cubicBezTo>
                  <a:pt x="5315616" y="2695849"/>
                  <a:pt x="5304745" y="2698567"/>
                  <a:pt x="5293875" y="2704002"/>
                </a:cubicBezTo>
                <a:cubicBezTo>
                  <a:pt x="5302028" y="2714872"/>
                  <a:pt x="5321051" y="2704002"/>
                  <a:pt x="5326486" y="2720307"/>
                </a:cubicBezTo>
                <a:cubicBezTo>
                  <a:pt x="5310180" y="2728461"/>
                  <a:pt x="5302028" y="2714872"/>
                  <a:pt x="5285722" y="2725743"/>
                </a:cubicBezTo>
                <a:cubicBezTo>
                  <a:pt x="5288440" y="2733896"/>
                  <a:pt x="5291157" y="2742048"/>
                  <a:pt x="5288440" y="2747483"/>
                </a:cubicBezTo>
                <a:cubicBezTo>
                  <a:pt x="5285722" y="2731179"/>
                  <a:pt x="5269416" y="2728461"/>
                  <a:pt x="5258546" y="2736613"/>
                </a:cubicBezTo>
                <a:cubicBezTo>
                  <a:pt x="5261264" y="2750201"/>
                  <a:pt x="5277569" y="2766507"/>
                  <a:pt x="5293875" y="2763789"/>
                </a:cubicBezTo>
                <a:cubicBezTo>
                  <a:pt x="5296592" y="2755636"/>
                  <a:pt x="5291157" y="2744766"/>
                  <a:pt x="5302028" y="2742048"/>
                </a:cubicBezTo>
                <a:cubicBezTo>
                  <a:pt x="5302028" y="2752919"/>
                  <a:pt x="5312898" y="2742048"/>
                  <a:pt x="5312898" y="2750201"/>
                </a:cubicBezTo>
                <a:cubicBezTo>
                  <a:pt x="5312898" y="2758354"/>
                  <a:pt x="5307463" y="2763789"/>
                  <a:pt x="5315616" y="2771942"/>
                </a:cubicBezTo>
                <a:cubicBezTo>
                  <a:pt x="5345509" y="2763789"/>
                  <a:pt x="5310180" y="2744766"/>
                  <a:pt x="5315616" y="2731179"/>
                </a:cubicBezTo>
                <a:cubicBezTo>
                  <a:pt x="5318333" y="2728461"/>
                  <a:pt x="5323768" y="2731179"/>
                  <a:pt x="5326486" y="2733896"/>
                </a:cubicBezTo>
                <a:cubicBezTo>
                  <a:pt x="5331921" y="2744766"/>
                  <a:pt x="5329204" y="2750201"/>
                  <a:pt x="5334639" y="2761071"/>
                </a:cubicBezTo>
                <a:cubicBezTo>
                  <a:pt x="5342792" y="2755636"/>
                  <a:pt x="5348227" y="2752919"/>
                  <a:pt x="5356380" y="2750201"/>
                </a:cubicBezTo>
                <a:cubicBezTo>
                  <a:pt x="5356380" y="2736613"/>
                  <a:pt x="5345509" y="2744766"/>
                  <a:pt x="5340074" y="2739331"/>
                </a:cubicBezTo>
                <a:cubicBezTo>
                  <a:pt x="5348227" y="2736613"/>
                  <a:pt x="5350944" y="2733896"/>
                  <a:pt x="5353662" y="2731179"/>
                </a:cubicBezTo>
                <a:cubicBezTo>
                  <a:pt x="5356380" y="2742048"/>
                  <a:pt x="5364532" y="2739331"/>
                  <a:pt x="5372685" y="2736613"/>
                </a:cubicBezTo>
                <a:cubicBezTo>
                  <a:pt x="5367250" y="2720307"/>
                  <a:pt x="5359097" y="2714872"/>
                  <a:pt x="5348227" y="2712155"/>
                </a:cubicBezTo>
                <a:cubicBezTo>
                  <a:pt x="5356380" y="2709438"/>
                  <a:pt x="5364532" y="2704002"/>
                  <a:pt x="5372685" y="2701284"/>
                </a:cubicBezTo>
                <a:cubicBezTo>
                  <a:pt x="5369968" y="2687697"/>
                  <a:pt x="5359097" y="2687697"/>
                  <a:pt x="5350944" y="2687697"/>
                </a:cubicBezTo>
                <a:close/>
                <a:moveTo>
                  <a:pt x="4777532" y="2676828"/>
                </a:moveTo>
                <a:lnTo>
                  <a:pt x="4761226" y="2693132"/>
                </a:lnTo>
                <a:lnTo>
                  <a:pt x="4780249" y="2693132"/>
                </a:lnTo>
                <a:close/>
                <a:moveTo>
                  <a:pt x="5623410" y="2658510"/>
                </a:moveTo>
                <a:lnTo>
                  <a:pt x="5625421" y="2660520"/>
                </a:lnTo>
                <a:lnTo>
                  <a:pt x="5618174" y="2662542"/>
                </a:lnTo>
                <a:close/>
                <a:moveTo>
                  <a:pt x="4693286" y="2638780"/>
                </a:moveTo>
                <a:lnTo>
                  <a:pt x="4676981" y="2655086"/>
                </a:lnTo>
                <a:lnTo>
                  <a:pt x="4696004" y="2663238"/>
                </a:lnTo>
                <a:close/>
                <a:moveTo>
                  <a:pt x="4793837" y="2633345"/>
                </a:moveTo>
                <a:lnTo>
                  <a:pt x="4774814" y="2652368"/>
                </a:lnTo>
                <a:lnTo>
                  <a:pt x="4758509" y="2652368"/>
                </a:lnTo>
                <a:lnTo>
                  <a:pt x="4742203" y="2644216"/>
                </a:lnTo>
                <a:lnTo>
                  <a:pt x="4742203" y="2660520"/>
                </a:lnTo>
                <a:lnTo>
                  <a:pt x="4755791" y="2652368"/>
                </a:lnTo>
                <a:cubicBezTo>
                  <a:pt x="4774814" y="2676828"/>
                  <a:pt x="4763944" y="2660520"/>
                  <a:pt x="4793837" y="2674108"/>
                </a:cubicBezTo>
                <a:cubicBezTo>
                  <a:pt x="4801990" y="2657804"/>
                  <a:pt x="4801990" y="2649650"/>
                  <a:pt x="4793837" y="2633345"/>
                </a:cubicBezTo>
                <a:close/>
                <a:moveTo>
                  <a:pt x="4753073" y="2611604"/>
                </a:moveTo>
                <a:lnTo>
                  <a:pt x="4761226" y="2633345"/>
                </a:lnTo>
                <a:lnTo>
                  <a:pt x="4777532" y="2617039"/>
                </a:lnTo>
                <a:close/>
                <a:moveTo>
                  <a:pt x="885935" y="2608887"/>
                </a:moveTo>
                <a:cubicBezTo>
                  <a:pt x="853324" y="2614322"/>
                  <a:pt x="850607" y="2636062"/>
                  <a:pt x="856042" y="2663238"/>
                </a:cubicBezTo>
                <a:cubicBezTo>
                  <a:pt x="883218" y="2657804"/>
                  <a:pt x="883218" y="2633345"/>
                  <a:pt x="885935" y="2608887"/>
                </a:cubicBezTo>
                <a:close/>
                <a:moveTo>
                  <a:pt x="4744921" y="2578993"/>
                </a:moveTo>
                <a:lnTo>
                  <a:pt x="4761226" y="2595299"/>
                </a:lnTo>
                <a:lnTo>
                  <a:pt x="4763944" y="2578993"/>
                </a:lnTo>
                <a:close/>
                <a:moveTo>
                  <a:pt x="5266699" y="2562687"/>
                </a:moveTo>
                <a:cubicBezTo>
                  <a:pt x="5258546" y="2576275"/>
                  <a:pt x="5242240" y="2559970"/>
                  <a:pt x="5225935" y="2570840"/>
                </a:cubicBezTo>
                <a:cubicBezTo>
                  <a:pt x="5244958" y="2598016"/>
                  <a:pt x="5263981" y="2619757"/>
                  <a:pt x="5291157" y="2622475"/>
                </a:cubicBezTo>
                <a:cubicBezTo>
                  <a:pt x="5285722" y="2600734"/>
                  <a:pt x="5253111" y="2592581"/>
                  <a:pt x="5261264" y="2570840"/>
                </a:cubicBezTo>
                <a:cubicBezTo>
                  <a:pt x="5269416" y="2584429"/>
                  <a:pt x="5283004" y="2589863"/>
                  <a:pt x="5291157" y="2600734"/>
                </a:cubicBezTo>
                <a:cubicBezTo>
                  <a:pt x="5296592" y="2598016"/>
                  <a:pt x="5304745" y="2595299"/>
                  <a:pt x="5310180" y="2592581"/>
                </a:cubicBezTo>
                <a:cubicBezTo>
                  <a:pt x="5310180" y="2587145"/>
                  <a:pt x="5302028" y="2581710"/>
                  <a:pt x="5307463" y="2578993"/>
                </a:cubicBezTo>
                <a:cubicBezTo>
                  <a:pt x="5312898" y="2584429"/>
                  <a:pt x="5326486" y="2595299"/>
                  <a:pt x="5331921" y="2584429"/>
                </a:cubicBezTo>
                <a:cubicBezTo>
                  <a:pt x="5318333" y="2562687"/>
                  <a:pt x="5283004" y="2581710"/>
                  <a:pt x="5266699" y="2562687"/>
                </a:cubicBezTo>
                <a:close/>
                <a:moveTo>
                  <a:pt x="941646" y="2552157"/>
                </a:moveTo>
                <a:cubicBezTo>
                  <a:pt x="924661" y="2553176"/>
                  <a:pt x="911752" y="2561328"/>
                  <a:pt x="913111" y="2587145"/>
                </a:cubicBezTo>
                <a:cubicBezTo>
                  <a:pt x="948440" y="2584429"/>
                  <a:pt x="997357" y="2636062"/>
                  <a:pt x="1019098" y="2592581"/>
                </a:cubicBezTo>
                <a:cubicBezTo>
                  <a:pt x="1016380" y="2587145"/>
                  <a:pt x="1000074" y="2598016"/>
                  <a:pt x="997357" y="2589863"/>
                </a:cubicBezTo>
                <a:cubicBezTo>
                  <a:pt x="991922" y="2576275"/>
                  <a:pt x="997357" y="2570840"/>
                  <a:pt x="994639" y="2559970"/>
                </a:cubicBezTo>
                <a:cubicBezTo>
                  <a:pt x="979692" y="2557252"/>
                  <a:pt x="958631" y="2551137"/>
                  <a:pt x="941646" y="2552157"/>
                </a:cubicBezTo>
                <a:close/>
                <a:moveTo>
                  <a:pt x="1168565" y="2540946"/>
                </a:moveTo>
                <a:cubicBezTo>
                  <a:pt x="1165848" y="2540946"/>
                  <a:pt x="1165848" y="2543664"/>
                  <a:pt x="1163130" y="2546382"/>
                </a:cubicBezTo>
                <a:cubicBezTo>
                  <a:pt x="1165848" y="2549099"/>
                  <a:pt x="1165848" y="2549099"/>
                  <a:pt x="1168565" y="2549099"/>
                </a:cubicBezTo>
                <a:cubicBezTo>
                  <a:pt x="1171283" y="2549099"/>
                  <a:pt x="1171283" y="2546382"/>
                  <a:pt x="1168565" y="2540946"/>
                </a:cubicBezTo>
                <a:close/>
                <a:moveTo>
                  <a:pt x="5402579" y="2530076"/>
                </a:moveTo>
                <a:cubicBezTo>
                  <a:pt x="5397143" y="2530076"/>
                  <a:pt x="5378120" y="2535511"/>
                  <a:pt x="5378120" y="2540946"/>
                </a:cubicBezTo>
                <a:cubicBezTo>
                  <a:pt x="5386273" y="2546382"/>
                  <a:pt x="5394426" y="2551817"/>
                  <a:pt x="5402579" y="2557252"/>
                </a:cubicBezTo>
                <a:cubicBezTo>
                  <a:pt x="5388991" y="2562687"/>
                  <a:pt x="5394426" y="2570840"/>
                  <a:pt x="5386273" y="2576275"/>
                </a:cubicBezTo>
                <a:cubicBezTo>
                  <a:pt x="5380838" y="2570840"/>
                  <a:pt x="5378120" y="2568122"/>
                  <a:pt x="5369968" y="2570840"/>
                </a:cubicBezTo>
                <a:cubicBezTo>
                  <a:pt x="5364532" y="2578993"/>
                  <a:pt x="5353662" y="2581710"/>
                  <a:pt x="5342792" y="2581710"/>
                </a:cubicBezTo>
                <a:cubicBezTo>
                  <a:pt x="5348227" y="2619757"/>
                  <a:pt x="5304745" y="2627910"/>
                  <a:pt x="5266699" y="2638780"/>
                </a:cubicBezTo>
                <a:cubicBezTo>
                  <a:pt x="5258546" y="2633345"/>
                  <a:pt x="5253111" y="2622475"/>
                  <a:pt x="5239523" y="2625192"/>
                </a:cubicBezTo>
                <a:cubicBezTo>
                  <a:pt x="5242240" y="2641497"/>
                  <a:pt x="5253111" y="2660520"/>
                  <a:pt x="5255828" y="2676828"/>
                </a:cubicBezTo>
                <a:cubicBezTo>
                  <a:pt x="5288440" y="2665955"/>
                  <a:pt x="5304745" y="2665955"/>
                  <a:pt x="5334639" y="2646932"/>
                </a:cubicBezTo>
                <a:cubicBezTo>
                  <a:pt x="5321051" y="2608887"/>
                  <a:pt x="5391708" y="2622475"/>
                  <a:pt x="5386273" y="2587145"/>
                </a:cubicBezTo>
                <a:cubicBezTo>
                  <a:pt x="5383556" y="2578993"/>
                  <a:pt x="5372685" y="2595299"/>
                  <a:pt x="5372685" y="2587145"/>
                </a:cubicBezTo>
                <a:cubicBezTo>
                  <a:pt x="5372685" y="2581710"/>
                  <a:pt x="5372685" y="2578993"/>
                  <a:pt x="5375403" y="2576275"/>
                </a:cubicBezTo>
                <a:cubicBezTo>
                  <a:pt x="5386273" y="2573557"/>
                  <a:pt x="5388991" y="2587145"/>
                  <a:pt x="5402579" y="2578993"/>
                </a:cubicBezTo>
                <a:cubicBezTo>
                  <a:pt x="5402579" y="2570840"/>
                  <a:pt x="5397143" y="2551817"/>
                  <a:pt x="5413449" y="2557252"/>
                </a:cubicBezTo>
                <a:cubicBezTo>
                  <a:pt x="5416167" y="2565405"/>
                  <a:pt x="5410731" y="2568122"/>
                  <a:pt x="5410731" y="2573557"/>
                </a:cubicBezTo>
                <a:cubicBezTo>
                  <a:pt x="5440625" y="2576275"/>
                  <a:pt x="5416167" y="2549099"/>
                  <a:pt x="5440625" y="2543664"/>
                </a:cubicBezTo>
                <a:cubicBezTo>
                  <a:pt x="5440625" y="2540946"/>
                  <a:pt x="5437907" y="2535511"/>
                  <a:pt x="5435190" y="2530076"/>
                </a:cubicBezTo>
                <a:cubicBezTo>
                  <a:pt x="5427037" y="2535511"/>
                  <a:pt x="5421602" y="2532794"/>
                  <a:pt x="5416167" y="2532794"/>
                </a:cubicBezTo>
                <a:cubicBezTo>
                  <a:pt x="5418884" y="2543664"/>
                  <a:pt x="5416167" y="2549099"/>
                  <a:pt x="5408014" y="2554534"/>
                </a:cubicBezTo>
                <a:cubicBezTo>
                  <a:pt x="5405296" y="2551817"/>
                  <a:pt x="5402579" y="2554534"/>
                  <a:pt x="5399861" y="2551817"/>
                </a:cubicBezTo>
                <a:cubicBezTo>
                  <a:pt x="5394426" y="2543664"/>
                  <a:pt x="5410731" y="2540946"/>
                  <a:pt x="5402579" y="2530076"/>
                </a:cubicBezTo>
                <a:close/>
                <a:moveTo>
                  <a:pt x="5340074" y="2524641"/>
                </a:moveTo>
                <a:cubicBezTo>
                  <a:pt x="5329204" y="2532794"/>
                  <a:pt x="5321051" y="2546382"/>
                  <a:pt x="5302028" y="2543664"/>
                </a:cubicBezTo>
                <a:cubicBezTo>
                  <a:pt x="5302028" y="2551817"/>
                  <a:pt x="5296592" y="2557252"/>
                  <a:pt x="5296592" y="2562687"/>
                </a:cubicBezTo>
                <a:cubicBezTo>
                  <a:pt x="5307463" y="2559970"/>
                  <a:pt x="5312898" y="2570840"/>
                  <a:pt x="5321051" y="2573557"/>
                </a:cubicBezTo>
                <a:cubicBezTo>
                  <a:pt x="5326486" y="2573557"/>
                  <a:pt x="5323768" y="2568122"/>
                  <a:pt x="5326486" y="2565405"/>
                </a:cubicBezTo>
                <a:cubicBezTo>
                  <a:pt x="5329204" y="2570840"/>
                  <a:pt x="5334639" y="2570840"/>
                  <a:pt x="5334639" y="2578993"/>
                </a:cubicBezTo>
                <a:cubicBezTo>
                  <a:pt x="5337356" y="2562687"/>
                  <a:pt x="5353662" y="2554534"/>
                  <a:pt x="5353662" y="2538229"/>
                </a:cubicBezTo>
                <a:cubicBezTo>
                  <a:pt x="5342792" y="2546382"/>
                  <a:pt x="5342792" y="2530076"/>
                  <a:pt x="5340074" y="2524641"/>
                </a:cubicBezTo>
                <a:close/>
                <a:moveTo>
                  <a:pt x="4282930" y="2519207"/>
                </a:moveTo>
                <a:cubicBezTo>
                  <a:pt x="4280212" y="2530077"/>
                  <a:pt x="4277494" y="2532795"/>
                  <a:pt x="4269342" y="2527359"/>
                </a:cubicBezTo>
                <a:cubicBezTo>
                  <a:pt x="4272059" y="2521924"/>
                  <a:pt x="4274777" y="2519207"/>
                  <a:pt x="4282930" y="2519207"/>
                </a:cubicBezTo>
                <a:close/>
                <a:moveTo>
                  <a:pt x="315241" y="2500182"/>
                </a:moveTo>
                <a:cubicBezTo>
                  <a:pt x="279912" y="2513770"/>
                  <a:pt x="285347" y="2606170"/>
                  <a:pt x="334264" y="2600734"/>
                </a:cubicBezTo>
                <a:cubicBezTo>
                  <a:pt x="331546" y="2565405"/>
                  <a:pt x="309805" y="2532794"/>
                  <a:pt x="315241" y="2500182"/>
                </a:cubicBezTo>
                <a:close/>
                <a:moveTo>
                  <a:pt x="5122666" y="2481159"/>
                </a:moveTo>
                <a:cubicBezTo>
                  <a:pt x="5138972" y="2521923"/>
                  <a:pt x="5182453" y="2519206"/>
                  <a:pt x="5198759" y="2540946"/>
                </a:cubicBezTo>
                <a:cubicBezTo>
                  <a:pt x="5193324" y="2532794"/>
                  <a:pt x="5201476" y="2527358"/>
                  <a:pt x="5196041" y="2516488"/>
                </a:cubicBezTo>
                <a:cubicBezTo>
                  <a:pt x="5187888" y="2516488"/>
                  <a:pt x="5179736" y="2524641"/>
                  <a:pt x="5177018" y="2511053"/>
                </a:cubicBezTo>
                <a:cubicBezTo>
                  <a:pt x="5185171" y="2505618"/>
                  <a:pt x="5185171" y="2513770"/>
                  <a:pt x="5190606" y="2511053"/>
                </a:cubicBezTo>
                <a:cubicBezTo>
                  <a:pt x="5187888" y="2502900"/>
                  <a:pt x="5177018" y="2500182"/>
                  <a:pt x="5182453" y="2492030"/>
                </a:cubicBezTo>
                <a:cubicBezTo>
                  <a:pt x="5166148" y="2497465"/>
                  <a:pt x="5177018" y="2511053"/>
                  <a:pt x="5160712" y="2513770"/>
                </a:cubicBezTo>
                <a:cubicBezTo>
                  <a:pt x="5149842" y="2502900"/>
                  <a:pt x="5141689" y="2483877"/>
                  <a:pt x="5122666" y="2481159"/>
                </a:cubicBezTo>
                <a:close/>
                <a:moveTo>
                  <a:pt x="5330053" y="2479631"/>
                </a:moveTo>
                <a:cubicBezTo>
                  <a:pt x="5316804" y="2477083"/>
                  <a:pt x="5295913" y="2491350"/>
                  <a:pt x="5285722" y="2481159"/>
                </a:cubicBezTo>
                <a:cubicBezTo>
                  <a:pt x="5285722" y="2497465"/>
                  <a:pt x="5312898" y="2483877"/>
                  <a:pt x="5307463" y="2500182"/>
                </a:cubicBezTo>
                <a:cubicBezTo>
                  <a:pt x="5299310" y="2500182"/>
                  <a:pt x="5293875" y="2492030"/>
                  <a:pt x="5283004" y="2497465"/>
                </a:cubicBezTo>
                <a:cubicBezTo>
                  <a:pt x="5291157" y="2508335"/>
                  <a:pt x="5302028" y="2508335"/>
                  <a:pt x="5302028" y="2527358"/>
                </a:cubicBezTo>
                <a:cubicBezTo>
                  <a:pt x="5318333" y="2519206"/>
                  <a:pt x="5331921" y="2516488"/>
                  <a:pt x="5345509" y="2513770"/>
                </a:cubicBezTo>
                <a:cubicBezTo>
                  <a:pt x="5340074" y="2508335"/>
                  <a:pt x="5334639" y="2500182"/>
                  <a:pt x="5331921" y="2489312"/>
                </a:cubicBezTo>
                <a:cubicBezTo>
                  <a:pt x="5334639" y="2489312"/>
                  <a:pt x="5337356" y="2489312"/>
                  <a:pt x="5340074" y="2489312"/>
                </a:cubicBezTo>
                <a:cubicBezTo>
                  <a:pt x="5338036" y="2483198"/>
                  <a:pt x="5334469" y="2480481"/>
                  <a:pt x="5330053" y="2479631"/>
                </a:cubicBezTo>
                <a:close/>
                <a:moveTo>
                  <a:pt x="883218" y="2478443"/>
                </a:moveTo>
                <a:cubicBezTo>
                  <a:pt x="869630" y="2481159"/>
                  <a:pt x="872347" y="2492030"/>
                  <a:pt x="864195" y="2497465"/>
                </a:cubicBezTo>
                <a:cubicBezTo>
                  <a:pt x="864195" y="2494747"/>
                  <a:pt x="861477" y="2489312"/>
                  <a:pt x="861477" y="2483877"/>
                </a:cubicBezTo>
                <a:cubicBezTo>
                  <a:pt x="834301" y="2497465"/>
                  <a:pt x="826148" y="2524641"/>
                  <a:pt x="823431" y="2557252"/>
                </a:cubicBezTo>
                <a:cubicBezTo>
                  <a:pt x="842454" y="2549099"/>
                  <a:pt x="845172" y="2568122"/>
                  <a:pt x="864195" y="2559970"/>
                </a:cubicBezTo>
                <a:cubicBezTo>
                  <a:pt x="869630" y="2535511"/>
                  <a:pt x="877783" y="2516488"/>
                  <a:pt x="880500" y="2492030"/>
                </a:cubicBezTo>
                <a:cubicBezTo>
                  <a:pt x="907676" y="2489312"/>
                  <a:pt x="904959" y="2527358"/>
                  <a:pt x="932135" y="2527358"/>
                </a:cubicBezTo>
                <a:cubicBezTo>
                  <a:pt x="934852" y="2521923"/>
                  <a:pt x="937570" y="2516488"/>
                  <a:pt x="937570" y="2511053"/>
                </a:cubicBezTo>
                <a:cubicBezTo>
                  <a:pt x="918547" y="2497465"/>
                  <a:pt x="904959" y="2483877"/>
                  <a:pt x="883218" y="2478443"/>
                </a:cubicBezTo>
                <a:close/>
                <a:moveTo>
                  <a:pt x="5266699" y="2470290"/>
                </a:moveTo>
                <a:cubicBezTo>
                  <a:pt x="5261264" y="2494747"/>
                  <a:pt x="5223217" y="2505618"/>
                  <a:pt x="5239523" y="2535511"/>
                </a:cubicBezTo>
                <a:cubicBezTo>
                  <a:pt x="5253111" y="2530076"/>
                  <a:pt x="5258546" y="2524641"/>
                  <a:pt x="5272134" y="2519206"/>
                </a:cubicBezTo>
                <a:cubicBezTo>
                  <a:pt x="5269416" y="2502900"/>
                  <a:pt x="5285722" y="2483877"/>
                  <a:pt x="5266699" y="2470290"/>
                </a:cubicBezTo>
                <a:close/>
                <a:moveTo>
                  <a:pt x="5305425" y="2451266"/>
                </a:moveTo>
                <a:cubicBezTo>
                  <a:pt x="5297951" y="2450586"/>
                  <a:pt x="5288439" y="2453983"/>
                  <a:pt x="5283004" y="2462136"/>
                </a:cubicBezTo>
                <a:cubicBezTo>
                  <a:pt x="5291157" y="2459418"/>
                  <a:pt x="5296592" y="2467571"/>
                  <a:pt x="5302028" y="2475725"/>
                </a:cubicBezTo>
                <a:cubicBezTo>
                  <a:pt x="5318333" y="2473007"/>
                  <a:pt x="5329204" y="2464854"/>
                  <a:pt x="5329204" y="2453983"/>
                </a:cubicBezTo>
                <a:cubicBezTo>
                  <a:pt x="5321051" y="2456701"/>
                  <a:pt x="5323768" y="2462136"/>
                  <a:pt x="5315616" y="2464854"/>
                </a:cubicBezTo>
                <a:cubicBezTo>
                  <a:pt x="5318334" y="2456701"/>
                  <a:pt x="5312898" y="2451946"/>
                  <a:pt x="5305425" y="2451266"/>
                </a:cubicBezTo>
                <a:close/>
                <a:moveTo>
                  <a:pt x="1146825" y="2451266"/>
                </a:moveTo>
                <a:cubicBezTo>
                  <a:pt x="1144107" y="2456701"/>
                  <a:pt x="1141389" y="2462136"/>
                  <a:pt x="1138672" y="2467571"/>
                </a:cubicBezTo>
                <a:cubicBezTo>
                  <a:pt x="1144107" y="2464854"/>
                  <a:pt x="1149542" y="2459418"/>
                  <a:pt x="1154977" y="2456701"/>
                </a:cubicBezTo>
                <a:cubicBezTo>
                  <a:pt x="1152260" y="2453983"/>
                  <a:pt x="1149542" y="2453983"/>
                  <a:pt x="1146825" y="2451266"/>
                </a:cubicBezTo>
                <a:close/>
                <a:moveTo>
                  <a:pt x="1068014" y="2437679"/>
                </a:moveTo>
                <a:cubicBezTo>
                  <a:pt x="1059862" y="2445830"/>
                  <a:pt x="1046274" y="2456701"/>
                  <a:pt x="1054426" y="2475725"/>
                </a:cubicBezTo>
                <a:cubicBezTo>
                  <a:pt x="1048991" y="2475725"/>
                  <a:pt x="1046274" y="2475725"/>
                  <a:pt x="1040838" y="2475725"/>
                </a:cubicBezTo>
                <a:cubicBezTo>
                  <a:pt x="1051709" y="2478443"/>
                  <a:pt x="1062579" y="2481159"/>
                  <a:pt x="1073450" y="2486594"/>
                </a:cubicBezTo>
                <a:cubicBezTo>
                  <a:pt x="1076167" y="2483877"/>
                  <a:pt x="1076167" y="2483877"/>
                  <a:pt x="1078885" y="2483877"/>
                </a:cubicBezTo>
                <a:cubicBezTo>
                  <a:pt x="1081602" y="2486594"/>
                  <a:pt x="1081602" y="2486594"/>
                  <a:pt x="1084320" y="2489312"/>
                </a:cubicBezTo>
                <a:cubicBezTo>
                  <a:pt x="1097908" y="2492030"/>
                  <a:pt x="1111496" y="2497465"/>
                  <a:pt x="1125084" y="2505618"/>
                </a:cubicBezTo>
                <a:cubicBezTo>
                  <a:pt x="1125084" y="2502900"/>
                  <a:pt x="1125084" y="2500182"/>
                  <a:pt x="1125084" y="2497465"/>
                </a:cubicBezTo>
                <a:cubicBezTo>
                  <a:pt x="1122366" y="2494747"/>
                  <a:pt x="1119649" y="2492030"/>
                  <a:pt x="1116931" y="2489312"/>
                </a:cubicBezTo>
                <a:cubicBezTo>
                  <a:pt x="1119649" y="2486594"/>
                  <a:pt x="1119649" y="2486594"/>
                  <a:pt x="1122366" y="2483877"/>
                </a:cubicBezTo>
                <a:cubicBezTo>
                  <a:pt x="1119649" y="2478443"/>
                  <a:pt x="1116931" y="2475725"/>
                  <a:pt x="1114213" y="2470290"/>
                </a:cubicBezTo>
                <a:cubicBezTo>
                  <a:pt x="1097908" y="2464854"/>
                  <a:pt x="1070732" y="2478443"/>
                  <a:pt x="1065297" y="2456701"/>
                </a:cubicBezTo>
                <a:cubicBezTo>
                  <a:pt x="1062579" y="2448549"/>
                  <a:pt x="1065297" y="2443113"/>
                  <a:pt x="1068014" y="2437679"/>
                </a:cubicBezTo>
                <a:close/>
                <a:moveTo>
                  <a:pt x="972899" y="2437679"/>
                </a:moveTo>
                <a:cubicBezTo>
                  <a:pt x="970181" y="2448549"/>
                  <a:pt x="967463" y="2462136"/>
                  <a:pt x="970181" y="2475725"/>
                </a:cubicBezTo>
                <a:cubicBezTo>
                  <a:pt x="991922" y="2467571"/>
                  <a:pt x="1010945" y="2467571"/>
                  <a:pt x="1024533" y="2470290"/>
                </a:cubicBezTo>
                <a:cubicBezTo>
                  <a:pt x="1005510" y="2464854"/>
                  <a:pt x="991922" y="2445830"/>
                  <a:pt x="972899" y="2437679"/>
                </a:cubicBezTo>
                <a:close/>
                <a:moveTo>
                  <a:pt x="532648" y="2437679"/>
                </a:moveTo>
                <a:cubicBezTo>
                  <a:pt x="527213" y="2445830"/>
                  <a:pt x="535366" y="2448549"/>
                  <a:pt x="540801" y="2453983"/>
                </a:cubicBezTo>
                <a:cubicBezTo>
                  <a:pt x="529931" y="2459418"/>
                  <a:pt x="521778" y="2467571"/>
                  <a:pt x="524495" y="2483877"/>
                </a:cubicBezTo>
                <a:cubicBezTo>
                  <a:pt x="538083" y="2492030"/>
                  <a:pt x="546236" y="2478443"/>
                  <a:pt x="557107" y="2475725"/>
                </a:cubicBezTo>
                <a:cubicBezTo>
                  <a:pt x="559824" y="2492030"/>
                  <a:pt x="565259" y="2502900"/>
                  <a:pt x="576130" y="2505618"/>
                </a:cubicBezTo>
                <a:cubicBezTo>
                  <a:pt x="584283" y="2489312"/>
                  <a:pt x="589718" y="2451266"/>
                  <a:pt x="616894" y="2467571"/>
                </a:cubicBezTo>
                <a:cubicBezTo>
                  <a:pt x="616894" y="2456701"/>
                  <a:pt x="611458" y="2453983"/>
                  <a:pt x="608741" y="2445830"/>
                </a:cubicBezTo>
                <a:cubicBezTo>
                  <a:pt x="589718" y="2448549"/>
                  <a:pt x="570695" y="2451266"/>
                  <a:pt x="562542" y="2462136"/>
                </a:cubicBezTo>
                <a:cubicBezTo>
                  <a:pt x="554389" y="2453983"/>
                  <a:pt x="546236" y="2437679"/>
                  <a:pt x="532648" y="2437679"/>
                </a:cubicBezTo>
                <a:close/>
                <a:moveTo>
                  <a:pt x="4897701" y="2407955"/>
                </a:moveTo>
                <a:cubicBezTo>
                  <a:pt x="4893879" y="2408464"/>
                  <a:pt x="4892351" y="2416616"/>
                  <a:pt x="4886236" y="2418655"/>
                </a:cubicBezTo>
                <a:lnTo>
                  <a:pt x="4894389" y="2426807"/>
                </a:lnTo>
                <a:cubicBezTo>
                  <a:pt x="4899824" y="2421372"/>
                  <a:pt x="4905259" y="2415937"/>
                  <a:pt x="4902541" y="2410502"/>
                </a:cubicBezTo>
                <a:cubicBezTo>
                  <a:pt x="4900503" y="2408464"/>
                  <a:pt x="4898975" y="2407785"/>
                  <a:pt x="4897701" y="2407955"/>
                </a:cubicBezTo>
                <a:close/>
                <a:moveTo>
                  <a:pt x="5244958" y="2405067"/>
                </a:moveTo>
                <a:cubicBezTo>
                  <a:pt x="5234088" y="2410502"/>
                  <a:pt x="5225935" y="2413220"/>
                  <a:pt x="5215064" y="2418655"/>
                </a:cubicBezTo>
                <a:cubicBezTo>
                  <a:pt x="5217782" y="2426807"/>
                  <a:pt x="5223217" y="2437679"/>
                  <a:pt x="5225935" y="2445830"/>
                </a:cubicBezTo>
                <a:cubicBezTo>
                  <a:pt x="5217782" y="2448549"/>
                  <a:pt x="5223217" y="2453983"/>
                  <a:pt x="5217782" y="2456701"/>
                </a:cubicBezTo>
                <a:cubicBezTo>
                  <a:pt x="5209629" y="2451266"/>
                  <a:pt x="5217782" y="2437679"/>
                  <a:pt x="5209629" y="2437679"/>
                </a:cubicBezTo>
                <a:cubicBezTo>
                  <a:pt x="5206912" y="2453983"/>
                  <a:pt x="5177018" y="2459418"/>
                  <a:pt x="5185171" y="2478443"/>
                </a:cubicBezTo>
                <a:cubicBezTo>
                  <a:pt x="5196041" y="2475725"/>
                  <a:pt x="5206912" y="2464854"/>
                  <a:pt x="5212347" y="2475725"/>
                </a:cubicBezTo>
                <a:cubicBezTo>
                  <a:pt x="5206912" y="2483877"/>
                  <a:pt x="5198759" y="2470290"/>
                  <a:pt x="5185171" y="2481159"/>
                </a:cubicBezTo>
                <a:cubicBezTo>
                  <a:pt x="5190606" y="2492030"/>
                  <a:pt x="5193324" y="2497465"/>
                  <a:pt x="5198759" y="2502900"/>
                </a:cubicBezTo>
                <a:cubicBezTo>
                  <a:pt x="5225935" y="2494747"/>
                  <a:pt x="5212347" y="2473007"/>
                  <a:pt x="5231370" y="2459418"/>
                </a:cubicBezTo>
                <a:cubicBezTo>
                  <a:pt x="5236805" y="2467571"/>
                  <a:pt x="5231370" y="2473007"/>
                  <a:pt x="5234088" y="2481159"/>
                </a:cubicBezTo>
                <a:cubicBezTo>
                  <a:pt x="5244958" y="2478443"/>
                  <a:pt x="5242240" y="2473007"/>
                  <a:pt x="5250393" y="2470290"/>
                </a:cubicBezTo>
                <a:cubicBezTo>
                  <a:pt x="5250393" y="2459418"/>
                  <a:pt x="5234088" y="2440395"/>
                  <a:pt x="5250393" y="2434961"/>
                </a:cubicBezTo>
                <a:cubicBezTo>
                  <a:pt x="5261264" y="2440395"/>
                  <a:pt x="5250393" y="2448549"/>
                  <a:pt x="5258546" y="2459418"/>
                </a:cubicBezTo>
                <a:cubicBezTo>
                  <a:pt x="5285722" y="2445830"/>
                  <a:pt x="5239523" y="2426807"/>
                  <a:pt x="5244958" y="2405067"/>
                </a:cubicBezTo>
                <a:close/>
                <a:moveTo>
                  <a:pt x="475579" y="2405067"/>
                </a:moveTo>
                <a:cubicBezTo>
                  <a:pt x="472861" y="2434961"/>
                  <a:pt x="475579" y="2475725"/>
                  <a:pt x="505472" y="2475725"/>
                </a:cubicBezTo>
                <a:cubicBezTo>
                  <a:pt x="497320" y="2440395"/>
                  <a:pt x="538083" y="2443113"/>
                  <a:pt x="532648" y="2410502"/>
                </a:cubicBezTo>
                <a:cubicBezTo>
                  <a:pt x="502755" y="2424090"/>
                  <a:pt x="497320" y="2402349"/>
                  <a:pt x="475579" y="2405067"/>
                </a:cubicBezTo>
                <a:close/>
                <a:moveTo>
                  <a:pt x="5111796" y="2383327"/>
                </a:moveTo>
                <a:cubicBezTo>
                  <a:pt x="5109078" y="2394197"/>
                  <a:pt x="5109078" y="2410502"/>
                  <a:pt x="5092773" y="2405067"/>
                </a:cubicBezTo>
                <a:cubicBezTo>
                  <a:pt x="5095490" y="2418655"/>
                  <a:pt x="5109078" y="2410502"/>
                  <a:pt x="5117231" y="2410502"/>
                </a:cubicBezTo>
                <a:cubicBezTo>
                  <a:pt x="5106361" y="2396914"/>
                  <a:pt x="5125384" y="2394197"/>
                  <a:pt x="5119949" y="2383327"/>
                </a:cubicBezTo>
                <a:cubicBezTo>
                  <a:pt x="5117231" y="2383327"/>
                  <a:pt x="5114513" y="2383327"/>
                  <a:pt x="5111796" y="2383327"/>
                </a:cubicBezTo>
                <a:close/>
                <a:moveTo>
                  <a:pt x="4867213" y="2372456"/>
                </a:moveTo>
                <a:lnTo>
                  <a:pt x="4853625" y="2386044"/>
                </a:lnTo>
                <a:lnTo>
                  <a:pt x="4861777" y="2386044"/>
                </a:lnTo>
                <a:cubicBezTo>
                  <a:pt x="4864495" y="2383327"/>
                  <a:pt x="4867213" y="2377891"/>
                  <a:pt x="4867213" y="2372456"/>
                </a:cubicBezTo>
                <a:close/>
                <a:moveTo>
                  <a:pt x="4994939" y="2367020"/>
                </a:moveTo>
                <a:cubicBezTo>
                  <a:pt x="5022115" y="2407784"/>
                  <a:pt x="5057444" y="2451266"/>
                  <a:pt x="5092773" y="2459418"/>
                </a:cubicBezTo>
                <a:cubicBezTo>
                  <a:pt x="5081902" y="2448549"/>
                  <a:pt x="5060162" y="2432244"/>
                  <a:pt x="5071032" y="2413220"/>
                </a:cubicBezTo>
                <a:cubicBezTo>
                  <a:pt x="5062879" y="2415937"/>
                  <a:pt x="5054726" y="2418655"/>
                  <a:pt x="5049291" y="2415937"/>
                </a:cubicBezTo>
                <a:cubicBezTo>
                  <a:pt x="5057444" y="2413220"/>
                  <a:pt x="5054726" y="2407784"/>
                  <a:pt x="5060162" y="2405067"/>
                </a:cubicBezTo>
                <a:cubicBezTo>
                  <a:pt x="5054726" y="2396914"/>
                  <a:pt x="5046574" y="2388762"/>
                  <a:pt x="5041138" y="2372456"/>
                </a:cubicBezTo>
                <a:cubicBezTo>
                  <a:pt x="5027550" y="2367020"/>
                  <a:pt x="5011245" y="2369738"/>
                  <a:pt x="4994939" y="2367020"/>
                </a:cubicBezTo>
                <a:close/>
                <a:moveTo>
                  <a:pt x="904959" y="2364303"/>
                </a:moveTo>
                <a:cubicBezTo>
                  <a:pt x="902241" y="2383327"/>
                  <a:pt x="899523" y="2410502"/>
                  <a:pt x="918547" y="2415937"/>
                </a:cubicBezTo>
                <a:cubicBezTo>
                  <a:pt x="921264" y="2402349"/>
                  <a:pt x="932135" y="2391479"/>
                  <a:pt x="937570" y="2380608"/>
                </a:cubicBezTo>
                <a:cubicBezTo>
                  <a:pt x="926699" y="2377891"/>
                  <a:pt x="915829" y="2375173"/>
                  <a:pt x="904959" y="2377891"/>
                </a:cubicBezTo>
                <a:cubicBezTo>
                  <a:pt x="907676" y="2372456"/>
                  <a:pt x="907676" y="2369738"/>
                  <a:pt x="904959" y="2364303"/>
                </a:cubicBezTo>
                <a:close/>
                <a:moveTo>
                  <a:pt x="638634" y="2361585"/>
                </a:moveTo>
                <a:cubicBezTo>
                  <a:pt x="641352" y="2394197"/>
                  <a:pt x="654940" y="2405067"/>
                  <a:pt x="676681" y="2410502"/>
                </a:cubicBezTo>
                <a:cubicBezTo>
                  <a:pt x="676681" y="2421372"/>
                  <a:pt x="652222" y="2418655"/>
                  <a:pt x="652222" y="2432244"/>
                </a:cubicBezTo>
                <a:cubicBezTo>
                  <a:pt x="665810" y="2429526"/>
                  <a:pt x="673963" y="2434961"/>
                  <a:pt x="679398" y="2445830"/>
                </a:cubicBezTo>
                <a:cubicBezTo>
                  <a:pt x="676681" y="2462136"/>
                  <a:pt x="673963" y="2489312"/>
                  <a:pt x="679398" y="2502900"/>
                </a:cubicBezTo>
                <a:cubicBezTo>
                  <a:pt x="671246" y="2494747"/>
                  <a:pt x="652222" y="2502900"/>
                  <a:pt x="649505" y="2511053"/>
                </a:cubicBezTo>
                <a:cubicBezTo>
                  <a:pt x="654940" y="2532794"/>
                  <a:pt x="676681" y="2546382"/>
                  <a:pt x="673963" y="2559970"/>
                </a:cubicBezTo>
                <a:cubicBezTo>
                  <a:pt x="668528" y="2557252"/>
                  <a:pt x="649505" y="2551817"/>
                  <a:pt x="649505" y="2565405"/>
                </a:cubicBezTo>
                <a:cubicBezTo>
                  <a:pt x="676681" y="2570840"/>
                  <a:pt x="652222" y="2598016"/>
                  <a:pt x="654940" y="2614322"/>
                </a:cubicBezTo>
                <a:cubicBezTo>
                  <a:pt x="673963" y="2608887"/>
                  <a:pt x="671246" y="2584429"/>
                  <a:pt x="690269" y="2573557"/>
                </a:cubicBezTo>
                <a:cubicBezTo>
                  <a:pt x="714727" y="2562687"/>
                  <a:pt x="739185" y="2570840"/>
                  <a:pt x="763644" y="2570840"/>
                </a:cubicBezTo>
                <a:cubicBezTo>
                  <a:pt x="774514" y="2559970"/>
                  <a:pt x="774514" y="2559970"/>
                  <a:pt x="793537" y="2562687"/>
                </a:cubicBezTo>
                <a:cubicBezTo>
                  <a:pt x="809843" y="2546382"/>
                  <a:pt x="812560" y="2521923"/>
                  <a:pt x="831584" y="2508335"/>
                </a:cubicBezTo>
                <a:cubicBezTo>
                  <a:pt x="823431" y="2489312"/>
                  <a:pt x="817996" y="2464854"/>
                  <a:pt x="798972" y="2462136"/>
                </a:cubicBezTo>
                <a:cubicBezTo>
                  <a:pt x="801690" y="2483877"/>
                  <a:pt x="826148" y="2513770"/>
                  <a:pt x="796255" y="2530076"/>
                </a:cubicBezTo>
                <a:cubicBezTo>
                  <a:pt x="788102" y="2511053"/>
                  <a:pt x="777232" y="2500182"/>
                  <a:pt x="771797" y="2481159"/>
                </a:cubicBezTo>
                <a:cubicBezTo>
                  <a:pt x="760926" y="2486594"/>
                  <a:pt x="752773" y="2492030"/>
                  <a:pt x="744621" y="2497465"/>
                </a:cubicBezTo>
                <a:cubicBezTo>
                  <a:pt x="741903" y="2478443"/>
                  <a:pt x="733750" y="2470290"/>
                  <a:pt x="720162" y="2464854"/>
                </a:cubicBezTo>
                <a:cubicBezTo>
                  <a:pt x="722880" y="2483877"/>
                  <a:pt x="725597" y="2500182"/>
                  <a:pt x="728315" y="2516488"/>
                </a:cubicBezTo>
                <a:cubicBezTo>
                  <a:pt x="720162" y="2516488"/>
                  <a:pt x="717445" y="2494747"/>
                  <a:pt x="709292" y="2508335"/>
                </a:cubicBezTo>
                <a:cubicBezTo>
                  <a:pt x="701139" y="2521923"/>
                  <a:pt x="701139" y="2540946"/>
                  <a:pt x="682116" y="2543664"/>
                </a:cubicBezTo>
                <a:cubicBezTo>
                  <a:pt x="687551" y="2505618"/>
                  <a:pt x="706574" y="2478443"/>
                  <a:pt x="709292" y="2437679"/>
                </a:cubicBezTo>
                <a:cubicBezTo>
                  <a:pt x="695704" y="2437679"/>
                  <a:pt x="684834" y="2432244"/>
                  <a:pt x="679398" y="2421372"/>
                </a:cubicBezTo>
                <a:cubicBezTo>
                  <a:pt x="692986" y="2402349"/>
                  <a:pt x="665810" y="2391479"/>
                  <a:pt x="679398" y="2364303"/>
                </a:cubicBezTo>
                <a:cubicBezTo>
                  <a:pt x="660375" y="2369738"/>
                  <a:pt x="649505" y="2367020"/>
                  <a:pt x="638634" y="2361585"/>
                </a:cubicBezTo>
                <a:close/>
                <a:moveTo>
                  <a:pt x="4965046" y="2334409"/>
                </a:moveTo>
                <a:cubicBezTo>
                  <a:pt x="4962328" y="2339844"/>
                  <a:pt x="4959611" y="2345280"/>
                  <a:pt x="4956893" y="2350715"/>
                </a:cubicBezTo>
                <a:cubicBezTo>
                  <a:pt x="4954176" y="2347997"/>
                  <a:pt x="4951458" y="2342562"/>
                  <a:pt x="4943305" y="2347997"/>
                </a:cubicBezTo>
                <a:cubicBezTo>
                  <a:pt x="4948740" y="2361585"/>
                  <a:pt x="4962328" y="2358868"/>
                  <a:pt x="4978634" y="2347997"/>
                </a:cubicBezTo>
                <a:cubicBezTo>
                  <a:pt x="4973199" y="2342562"/>
                  <a:pt x="4973199" y="2331692"/>
                  <a:pt x="4965046" y="2334409"/>
                </a:cubicBezTo>
                <a:close/>
                <a:moveTo>
                  <a:pt x="5011245" y="2328975"/>
                </a:moveTo>
                <a:cubicBezTo>
                  <a:pt x="5000375" y="2337127"/>
                  <a:pt x="4992222" y="2326256"/>
                  <a:pt x="4978634" y="2331692"/>
                </a:cubicBezTo>
                <a:cubicBezTo>
                  <a:pt x="4981351" y="2339844"/>
                  <a:pt x="4986787" y="2350715"/>
                  <a:pt x="4989504" y="2358868"/>
                </a:cubicBezTo>
                <a:cubicBezTo>
                  <a:pt x="5000375" y="2350715"/>
                  <a:pt x="5011245" y="2342562"/>
                  <a:pt x="5011245" y="2328975"/>
                </a:cubicBezTo>
                <a:close/>
                <a:moveTo>
                  <a:pt x="486449" y="2326256"/>
                </a:moveTo>
                <a:cubicBezTo>
                  <a:pt x="472861" y="2323539"/>
                  <a:pt x="472861" y="2334409"/>
                  <a:pt x="467426" y="2339844"/>
                </a:cubicBezTo>
                <a:cubicBezTo>
                  <a:pt x="442968" y="2318105"/>
                  <a:pt x="410357" y="2377891"/>
                  <a:pt x="388616" y="2342562"/>
                </a:cubicBezTo>
                <a:cubicBezTo>
                  <a:pt x="372310" y="2350715"/>
                  <a:pt x="369593" y="2369738"/>
                  <a:pt x="375028" y="2394197"/>
                </a:cubicBezTo>
                <a:cubicBezTo>
                  <a:pt x="429380" y="2405067"/>
                  <a:pt x="491884" y="2377891"/>
                  <a:pt x="486449" y="2326256"/>
                </a:cubicBezTo>
                <a:close/>
                <a:moveTo>
                  <a:pt x="5225935" y="2312669"/>
                </a:moveTo>
                <a:cubicBezTo>
                  <a:pt x="5193324" y="2323539"/>
                  <a:pt x="5196041" y="2350715"/>
                  <a:pt x="5193324" y="2372456"/>
                </a:cubicBezTo>
                <a:cubicBezTo>
                  <a:pt x="5193324" y="2369738"/>
                  <a:pt x="5190606" y="2367020"/>
                  <a:pt x="5187888" y="2367020"/>
                </a:cubicBezTo>
                <a:cubicBezTo>
                  <a:pt x="5185171" y="2375173"/>
                  <a:pt x="5185171" y="2383327"/>
                  <a:pt x="5179736" y="2388762"/>
                </a:cubicBezTo>
                <a:cubicBezTo>
                  <a:pt x="5171583" y="2391479"/>
                  <a:pt x="5171583" y="2380608"/>
                  <a:pt x="5163430" y="2383327"/>
                </a:cubicBezTo>
                <a:cubicBezTo>
                  <a:pt x="5166148" y="2405067"/>
                  <a:pt x="5152560" y="2421372"/>
                  <a:pt x="5130819" y="2434961"/>
                </a:cubicBezTo>
                <a:cubicBezTo>
                  <a:pt x="5125384" y="2456701"/>
                  <a:pt x="5136254" y="2464854"/>
                  <a:pt x="5160712" y="2462136"/>
                </a:cubicBezTo>
                <a:cubicBezTo>
                  <a:pt x="5198759" y="2437679"/>
                  <a:pt x="5201476" y="2391479"/>
                  <a:pt x="5236805" y="2372456"/>
                </a:cubicBezTo>
                <a:cubicBezTo>
                  <a:pt x="5223217" y="2350715"/>
                  <a:pt x="5255828" y="2323539"/>
                  <a:pt x="5225935" y="2312669"/>
                </a:cubicBezTo>
                <a:close/>
                <a:moveTo>
                  <a:pt x="5160712" y="2301799"/>
                </a:moveTo>
                <a:cubicBezTo>
                  <a:pt x="5138972" y="2326256"/>
                  <a:pt x="5174300" y="2353432"/>
                  <a:pt x="5163430" y="2375173"/>
                </a:cubicBezTo>
                <a:cubicBezTo>
                  <a:pt x="5166148" y="2369738"/>
                  <a:pt x="5174300" y="2364303"/>
                  <a:pt x="5179736" y="2358868"/>
                </a:cubicBezTo>
                <a:cubicBezTo>
                  <a:pt x="5179736" y="2353432"/>
                  <a:pt x="5174300" y="2345280"/>
                  <a:pt x="5177018" y="2339844"/>
                </a:cubicBezTo>
                <a:cubicBezTo>
                  <a:pt x="5201476" y="2347997"/>
                  <a:pt x="5163430" y="2318105"/>
                  <a:pt x="5160712" y="2301799"/>
                </a:cubicBezTo>
                <a:close/>
                <a:moveTo>
                  <a:pt x="4997657" y="2277341"/>
                </a:moveTo>
                <a:cubicBezTo>
                  <a:pt x="5000375" y="2288210"/>
                  <a:pt x="4986787" y="2293645"/>
                  <a:pt x="4994939" y="2307234"/>
                </a:cubicBezTo>
                <a:cubicBezTo>
                  <a:pt x="5016680" y="2304516"/>
                  <a:pt x="5019398" y="2271904"/>
                  <a:pt x="4997657" y="2277341"/>
                </a:cubicBezTo>
                <a:close/>
                <a:moveTo>
                  <a:pt x="552648" y="2277086"/>
                </a:moveTo>
                <a:cubicBezTo>
                  <a:pt x="538253" y="2280398"/>
                  <a:pt x="532648" y="2305876"/>
                  <a:pt x="516343" y="2309952"/>
                </a:cubicBezTo>
                <a:cubicBezTo>
                  <a:pt x="538083" y="2342562"/>
                  <a:pt x="519060" y="2369738"/>
                  <a:pt x="508190" y="2391479"/>
                </a:cubicBezTo>
                <a:cubicBezTo>
                  <a:pt x="521778" y="2396914"/>
                  <a:pt x="535366" y="2399632"/>
                  <a:pt x="557107" y="2394197"/>
                </a:cubicBezTo>
                <a:cubicBezTo>
                  <a:pt x="559824" y="2350715"/>
                  <a:pt x="587000" y="2331692"/>
                  <a:pt x="570695" y="2282776"/>
                </a:cubicBezTo>
                <a:cubicBezTo>
                  <a:pt x="563221" y="2277341"/>
                  <a:pt x="557446" y="2275982"/>
                  <a:pt x="552648" y="2277086"/>
                </a:cubicBezTo>
                <a:close/>
                <a:moveTo>
                  <a:pt x="5052009" y="2274623"/>
                </a:moveTo>
                <a:cubicBezTo>
                  <a:pt x="5038421" y="2285492"/>
                  <a:pt x="5027550" y="2307234"/>
                  <a:pt x="5041138" y="2320822"/>
                </a:cubicBezTo>
                <a:cubicBezTo>
                  <a:pt x="5022115" y="2328975"/>
                  <a:pt x="5030268" y="2345280"/>
                  <a:pt x="5005810" y="2350715"/>
                </a:cubicBezTo>
                <a:cubicBezTo>
                  <a:pt x="5005810" y="2367020"/>
                  <a:pt x="5027550" y="2372456"/>
                  <a:pt x="5030268" y="2356150"/>
                </a:cubicBezTo>
                <a:cubicBezTo>
                  <a:pt x="5024833" y="2356150"/>
                  <a:pt x="5016680" y="2358868"/>
                  <a:pt x="5016680" y="2350715"/>
                </a:cubicBezTo>
                <a:cubicBezTo>
                  <a:pt x="5030268" y="2350715"/>
                  <a:pt x="5038421" y="2334409"/>
                  <a:pt x="5043856" y="2337127"/>
                </a:cubicBezTo>
                <a:cubicBezTo>
                  <a:pt x="5041138" y="2347997"/>
                  <a:pt x="5068314" y="2342562"/>
                  <a:pt x="5062879" y="2356150"/>
                </a:cubicBezTo>
                <a:cubicBezTo>
                  <a:pt x="5057444" y="2358868"/>
                  <a:pt x="5057444" y="2350715"/>
                  <a:pt x="5052009" y="2353432"/>
                </a:cubicBezTo>
                <a:cubicBezTo>
                  <a:pt x="5054726" y="2358868"/>
                  <a:pt x="5054726" y="2364303"/>
                  <a:pt x="5046574" y="2367020"/>
                </a:cubicBezTo>
                <a:cubicBezTo>
                  <a:pt x="5052009" y="2375173"/>
                  <a:pt x="5057444" y="2383327"/>
                  <a:pt x="5065597" y="2386044"/>
                </a:cubicBezTo>
                <a:cubicBezTo>
                  <a:pt x="5076467" y="2375173"/>
                  <a:pt x="5084620" y="2356150"/>
                  <a:pt x="5106361" y="2356150"/>
                </a:cubicBezTo>
                <a:cubicBezTo>
                  <a:pt x="5103643" y="2318105"/>
                  <a:pt x="5068314" y="2307234"/>
                  <a:pt x="5043856" y="2299081"/>
                </a:cubicBezTo>
                <a:cubicBezTo>
                  <a:pt x="5052009" y="2296363"/>
                  <a:pt x="5046574" y="2290928"/>
                  <a:pt x="5052009" y="2288210"/>
                </a:cubicBezTo>
                <a:cubicBezTo>
                  <a:pt x="5062879" y="2293645"/>
                  <a:pt x="5068314" y="2307234"/>
                  <a:pt x="5084620" y="2301799"/>
                </a:cubicBezTo>
                <a:cubicBezTo>
                  <a:pt x="5081902" y="2288210"/>
                  <a:pt x="5062879" y="2280058"/>
                  <a:pt x="5052009" y="2274623"/>
                </a:cubicBezTo>
                <a:close/>
                <a:moveTo>
                  <a:pt x="4943305" y="2261035"/>
                </a:moveTo>
                <a:lnTo>
                  <a:pt x="4943305" y="2263752"/>
                </a:lnTo>
                <a:lnTo>
                  <a:pt x="4946023" y="2277341"/>
                </a:lnTo>
                <a:cubicBezTo>
                  <a:pt x="4948740" y="2271904"/>
                  <a:pt x="4951458" y="2266470"/>
                  <a:pt x="4946023" y="2261035"/>
                </a:cubicBezTo>
                <a:cubicBezTo>
                  <a:pt x="4946023" y="2261035"/>
                  <a:pt x="4943305" y="2261035"/>
                  <a:pt x="4943305" y="2261035"/>
                </a:cubicBezTo>
                <a:close/>
                <a:moveTo>
                  <a:pt x="444623" y="2250844"/>
                </a:moveTo>
                <a:cubicBezTo>
                  <a:pt x="437702" y="2250165"/>
                  <a:pt x="431418" y="2251522"/>
                  <a:pt x="426662" y="2255600"/>
                </a:cubicBezTo>
                <a:cubicBezTo>
                  <a:pt x="445685" y="2274623"/>
                  <a:pt x="464708" y="2296363"/>
                  <a:pt x="500037" y="2293645"/>
                </a:cubicBezTo>
                <a:cubicBezTo>
                  <a:pt x="491884" y="2273263"/>
                  <a:pt x="465388" y="2252882"/>
                  <a:pt x="444623" y="2250844"/>
                </a:cubicBezTo>
                <a:close/>
                <a:moveTo>
                  <a:pt x="899523" y="2244730"/>
                </a:moveTo>
                <a:cubicBezTo>
                  <a:pt x="915829" y="2288210"/>
                  <a:pt x="880500" y="2309952"/>
                  <a:pt x="869630" y="2320822"/>
                </a:cubicBezTo>
                <a:cubicBezTo>
                  <a:pt x="875065" y="2299081"/>
                  <a:pt x="885935" y="2277341"/>
                  <a:pt x="885935" y="2252882"/>
                </a:cubicBezTo>
                <a:cubicBezTo>
                  <a:pt x="869630" y="2250165"/>
                  <a:pt x="861477" y="2258317"/>
                  <a:pt x="845172" y="2263752"/>
                </a:cubicBezTo>
                <a:cubicBezTo>
                  <a:pt x="847889" y="2282776"/>
                  <a:pt x="839736" y="2296363"/>
                  <a:pt x="823431" y="2301799"/>
                </a:cubicBezTo>
                <a:cubicBezTo>
                  <a:pt x="807125" y="2299081"/>
                  <a:pt x="798972" y="2280058"/>
                  <a:pt x="774514" y="2288210"/>
                </a:cubicBezTo>
                <a:cubicBezTo>
                  <a:pt x="782667" y="2320822"/>
                  <a:pt x="839736" y="2337127"/>
                  <a:pt x="796255" y="2369738"/>
                </a:cubicBezTo>
                <a:cubicBezTo>
                  <a:pt x="769079" y="2350715"/>
                  <a:pt x="774514" y="2282776"/>
                  <a:pt x="733750" y="2280058"/>
                </a:cubicBezTo>
                <a:cubicBezTo>
                  <a:pt x="733750" y="2301799"/>
                  <a:pt x="755491" y="2315387"/>
                  <a:pt x="750056" y="2328975"/>
                </a:cubicBezTo>
                <a:cubicBezTo>
                  <a:pt x="736468" y="2331692"/>
                  <a:pt x="744621" y="2301799"/>
                  <a:pt x="731033" y="2307234"/>
                </a:cubicBezTo>
                <a:cubicBezTo>
                  <a:pt x="712009" y="2309952"/>
                  <a:pt x="722880" y="2331692"/>
                  <a:pt x="692986" y="2328975"/>
                </a:cubicBezTo>
                <a:cubicBezTo>
                  <a:pt x="695704" y="2369738"/>
                  <a:pt x="725597" y="2388762"/>
                  <a:pt x="760926" y="2369738"/>
                </a:cubicBezTo>
                <a:cubicBezTo>
                  <a:pt x="793537" y="2375173"/>
                  <a:pt x="801690" y="2413220"/>
                  <a:pt x="823431" y="2429526"/>
                </a:cubicBezTo>
                <a:cubicBezTo>
                  <a:pt x="828866" y="2421372"/>
                  <a:pt x="828866" y="2410502"/>
                  <a:pt x="834301" y="2405067"/>
                </a:cubicBezTo>
                <a:cubicBezTo>
                  <a:pt x="847889" y="2421372"/>
                  <a:pt x="834301" y="2453983"/>
                  <a:pt x="858760" y="2453983"/>
                </a:cubicBezTo>
                <a:cubicBezTo>
                  <a:pt x="856042" y="2443113"/>
                  <a:pt x="856042" y="2432244"/>
                  <a:pt x="861477" y="2426807"/>
                </a:cubicBezTo>
                <a:cubicBezTo>
                  <a:pt x="866912" y="2437679"/>
                  <a:pt x="875065" y="2440395"/>
                  <a:pt x="885935" y="2437679"/>
                </a:cubicBezTo>
                <a:cubicBezTo>
                  <a:pt x="894088" y="2399632"/>
                  <a:pt x="869630" y="2334409"/>
                  <a:pt x="904959" y="2318105"/>
                </a:cubicBezTo>
                <a:cubicBezTo>
                  <a:pt x="918547" y="2312669"/>
                  <a:pt x="929417" y="2312669"/>
                  <a:pt x="937570" y="2315387"/>
                </a:cubicBezTo>
                <a:cubicBezTo>
                  <a:pt x="934852" y="2312669"/>
                  <a:pt x="929417" y="2307234"/>
                  <a:pt x="932135" y="2299081"/>
                </a:cubicBezTo>
                <a:cubicBezTo>
                  <a:pt x="934852" y="2296363"/>
                  <a:pt x="937570" y="2293645"/>
                  <a:pt x="943005" y="2293645"/>
                </a:cubicBezTo>
                <a:cubicBezTo>
                  <a:pt x="929417" y="2277341"/>
                  <a:pt x="915829" y="2258317"/>
                  <a:pt x="899523" y="2244730"/>
                </a:cubicBezTo>
                <a:close/>
                <a:moveTo>
                  <a:pt x="5041138" y="2233858"/>
                </a:moveTo>
                <a:cubicBezTo>
                  <a:pt x="5024833" y="2242012"/>
                  <a:pt x="5024833" y="2255600"/>
                  <a:pt x="5005810" y="2263752"/>
                </a:cubicBezTo>
                <a:cubicBezTo>
                  <a:pt x="5008527" y="2280058"/>
                  <a:pt x="5022115" y="2280058"/>
                  <a:pt x="5035703" y="2271904"/>
                </a:cubicBezTo>
                <a:cubicBezTo>
                  <a:pt x="5022115" y="2252882"/>
                  <a:pt x="5049291" y="2247447"/>
                  <a:pt x="5041138" y="2233858"/>
                </a:cubicBezTo>
                <a:close/>
                <a:moveTo>
                  <a:pt x="4943305" y="2231141"/>
                </a:moveTo>
                <a:cubicBezTo>
                  <a:pt x="4940588" y="2239293"/>
                  <a:pt x="4940588" y="2236577"/>
                  <a:pt x="4929717" y="2250165"/>
                </a:cubicBezTo>
                <a:lnTo>
                  <a:pt x="4943305" y="2250165"/>
                </a:lnTo>
                <a:cubicBezTo>
                  <a:pt x="4948740" y="2247447"/>
                  <a:pt x="4951458" y="2242012"/>
                  <a:pt x="4948740" y="2236577"/>
                </a:cubicBezTo>
                <a:cubicBezTo>
                  <a:pt x="4946023" y="2233858"/>
                  <a:pt x="4946023" y="2233858"/>
                  <a:pt x="4943305" y="2231141"/>
                </a:cubicBezTo>
                <a:close/>
                <a:moveTo>
                  <a:pt x="663093" y="2231141"/>
                </a:moveTo>
                <a:cubicBezTo>
                  <a:pt x="649505" y="2242012"/>
                  <a:pt x="614176" y="2236577"/>
                  <a:pt x="606023" y="2252882"/>
                </a:cubicBezTo>
                <a:cubicBezTo>
                  <a:pt x="608741" y="2261035"/>
                  <a:pt x="608741" y="2271904"/>
                  <a:pt x="619611" y="2269187"/>
                </a:cubicBezTo>
                <a:cubicBezTo>
                  <a:pt x="616894" y="2258317"/>
                  <a:pt x="611458" y="2244730"/>
                  <a:pt x="625046" y="2244730"/>
                </a:cubicBezTo>
                <a:cubicBezTo>
                  <a:pt x="630482" y="2269187"/>
                  <a:pt x="660375" y="2277341"/>
                  <a:pt x="652222" y="2307234"/>
                </a:cubicBezTo>
                <a:cubicBezTo>
                  <a:pt x="641352" y="2315387"/>
                  <a:pt x="641352" y="2285492"/>
                  <a:pt x="635917" y="2301799"/>
                </a:cubicBezTo>
                <a:cubicBezTo>
                  <a:pt x="644070" y="2307234"/>
                  <a:pt x="646787" y="2318105"/>
                  <a:pt x="657658" y="2318105"/>
                </a:cubicBezTo>
                <a:cubicBezTo>
                  <a:pt x="668528" y="2296363"/>
                  <a:pt x="671246" y="2266470"/>
                  <a:pt x="663093" y="2231141"/>
                </a:cubicBezTo>
                <a:close/>
                <a:moveTo>
                  <a:pt x="5190606" y="2225705"/>
                </a:moveTo>
                <a:cubicBezTo>
                  <a:pt x="5177018" y="2231141"/>
                  <a:pt x="5174300" y="2242012"/>
                  <a:pt x="5166148" y="2252882"/>
                </a:cubicBezTo>
                <a:cubicBezTo>
                  <a:pt x="5171583" y="2252882"/>
                  <a:pt x="5177018" y="2252882"/>
                  <a:pt x="5182453" y="2255600"/>
                </a:cubicBezTo>
                <a:cubicBezTo>
                  <a:pt x="5171583" y="2266470"/>
                  <a:pt x="5196041" y="2269187"/>
                  <a:pt x="5190606" y="2282776"/>
                </a:cubicBezTo>
                <a:cubicBezTo>
                  <a:pt x="5171583" y="2293645"/>
                  <a:pt x="5185171" y="2258317"/>
                  <a:pt x="5168865" y="2263752"/>
                </a:cubicBezTo>
                <a:cubicBezTo>
                  <a:pt x="5160712" y="2277341"/>
                  <a:pt x="5174300" y="2296363"/>
                  <a:pt x="5182453" y="2315387"/>
                </a:cubicBezTo>
                <a:cubicBezTo>
                  <a:pt x="5196041" y="2296363"/>
                  <a:pt x="5212347" y="2304516"/>
                  <a:pt x="5234088" y="2296363"/>
                </a:cubicBezTo>
                <a:cubicBezTo>
                  <a:pt x="5231370" y="2280058"/>
                  <a:pt x="5244958" y="2269187"/>
                  <a:pt x="5239523" y="2252882"/>
                </a:cubicBezTo>
                <a:cubicBezTo>
                  <a:pt x="5236805" y="2250165"/>
                  <a:pt x="5231370" y="2252882"/>
                  <a:pt x="5225935" y="2255600"/>
                </a:cubicBezTo>
                <a:cubicBezTo>
                  <a:pt x="5220500" y="2263752"/>
                  <a:pt x="5234088" y="2280058"/>
                  <a:pt x="5231370" y="2288210"/>
                </a:cubicBezTo>
                <a:cubicBezTo>
                  <a:pt x="5228652" y="2290928"/>
                  <a:pt x="5223217" y="2293645"/>
                  <a:pt x="5220500" y="2290928"/>
                </a:cubicBezTo>
                <a:cubicBezTo>
                  <a:pt x="5217782" y="2274623"/>
                  <a:pt x="5206912" y="2255600"/>
                  <a:pt x="5193324" y="2252882"/>
                </a:cubicBezTo>
                <a:cubicBezTo>
                  <a:pt x="5198759" y="2250165"/>
                  <a:pt x="5201476" y="2250165"/>
                  <a:pt x="5206912" y="2247447"/>
                </a:cubicBezTo>
                <a:cubicBezTo>
                  <a:pt x="5204194" y="2233858"/>
                  <a:pt x="5193324" y="2236577"/>
                  <a:pt x="5190606" y="2225705"/>
                </a:cubicBezTo>
                <a:close/>
                <a:moveTo>
                  <a:pt x="5760470" y="2221198"/>
                </a:moveTo>
                <a:lnTo>
                  <a:pt x="5761428" y="2222564"/>
                </a:lnTo>
                <a:lnTo>
                  <a:pt x="5765159" y="2224599"/>
                </a:lnTo>
                <a:lnTo>
                  <a:pt x="5765038" y="2224688"/>
                </a:lnTo>
                <a:cubicBezTo>
                  <a:pt x="5763340" y="2227744"/>
                  <a:pt x="5762660" y="2231141"/>
                  <a:pt x="5761301" y="2233858"/>
                </a:cubicBezTo>
                <a:cubicBezTo>
                  <a:pt x="5769454" y="2244730"/>
                  <a:pt x="5769454" y="2222988"/>
                  <a:pt x="5777607" y="2228423"/>
                </a:cubicBezTo>
                <a:cubicBezTo>
                  <a:pt x="5780324" y="2242012"/>
                  <a:pt x="5755866" y="2247447"/>
                  <a:pt x="5747713" y="2242012"/>
                </a:cubicBezTo>
                <a:cubicBezTo>
                  <a:pt x="5750431" y="2236577"/>
                  <a:pt x="5752469" y="2230463"/>
                  <a:pt x="5756205" y="2224688"/>
                </a:cubicBezTo>
                <a:close/>
                <a:moveTo>
                  <a:pt x="5774889" y="2217554"/>
                </a:moveTo>
                <a:cubicBezTo>
                  <a:pt x="5778965" y="2224347"/>
                  <a:pt x="5783721" y="2221630"/>
                  <a:pt x="5788817" y="2218573"/>
                </a:cubicBezTo>
                <a:lnTo>
                  <a:pt x="5789604" y="2218203"/>
                </a:lnTo>
                <a:lnTo>
                  <a:pt x="5791195" y="2220270"/>
                </a:lnTo>
                <a:cubicBezTo>
                  <a:pt x="5788477" y="2228423"/>
                  <a:pt x="5780324" y="2222988"/>
                  <a:pt x="5772171" y="2228423"/>
                </a:cubicBezTo>
                <a:lnTo>
                  <a:pt x="5765159" y="2224599"/>
                </a:lnTo>
                <a:close/>
                <a:moveTo>
                  <a:pt x="956593" y="2214835"/>
                </a:moveTo>
                <a:cubicBezTo>
                  <a:pt x="956593" y="2222988"/>
                  <a:pt x="953875" y="2228423"/>
                  <a:pt x="951158" y="2236577"/>
                </a:cubicBezTo>
                <a:cubicBezTo>
                  <a:pt x="962028" y="2233858"/>
                  <a:pt x="962028" y="2228423"/>
                  <a:pt x="972899" y="2228423"/>
                </a:cubicBezTo>
                <a:cubicBezTo>
                  <a:pt x="972899" y="2233858"/>
                  <a:pt x="972899" y="2236577"/>
                  <a:pt x="975616" y="2242012"/>
                </a:cubicBezTo>
                <a:cubicBezTo>
                  <a:pt x="981051" y="2239293"/>
                  <a:pt x="983769" y="2239293"/>
                  <a:pt x="989204" y="2239293"/>
                </a:cubicBezTo>
                <a:cubicBezTo>
                  <a:pt x="989204" y="2239293"/>
                  <a:pt x="989204" y="2236577"/>
                  <a:pt x="989204" y="2233858"/>
                </a:cubicBezTo>
                <a:cubicBezTo>
                  <a:pt x="978334" y="2228423"/>
                  <a:pt x="967463" y="2220270"/>
                  <a:pt x="956593" y="2214835"/>
                </a:cubicBezTo>
                <a:close/>
                <a:moveTo>
                  <a:pt x="4989504" y="2201248"/>
                </a:moveTo>
                <a:cubicBezTo>
                  <a:pt x="4967763" y="2209400"/>
                  <a:pt x="4965046" y="2222988"/>
                  <a:pt x="4962328" y="2236577"/>
                </a:cubicBezTo>
                <a:cubicBezTo>
                  <a:pt x="4970481" y="2233858"/>
                  <a:pt x="4978634" y="2228423"/>
                  <a:pt x="4981351" y="2233858"/>
                </a:cubicBezTo>
                <a:cubicBezTo>
                  <a:pt x="4973199" y="2239293"/>
                  <a:pt x="4975916" y="2247447"/>
                  <a:pt x="4965046" y="2252882"/>
                </a:cubicBezTo>
                <a:cubicBezTo>
                  <a:pt x="4962328" y="2247447"/>
                  <a:pt x="4959611" y="2244730"/>
                  <a:pt x="4951458" y="2247447"/>
                </a:cubicBezTo>
                <a:cubicBezTo>
                  <a:pt x="4956893" y="2258317"/>
                  <a:pt x="4954176" y="2274623"/>
                  <a:pt x="4946023" y="2282776"/>
                </a:cubicBezTo>
                <a:lnTo>
                  <a:pt x="4965046" y="2282776"/>
                </a:lnTo>
                <a:cubicBezTo>
                  <a:pt x="4956893" y="2301799"/>
                  <a:pt x="4956893" y="2285492"/>
                  <a:pt x="4965046" y="2304516"/>
                </a:cubicBezTo>
                <a:cubicBezTo>
                  <a:pt x="4959611" y="2309952"/>
                  <a:pt x="4946023" y="2320822"/>
                  <a:pt x="4943305" y="2320822"/>
                </a:cubicBezTo>
                <a:cubicBezTo>
                  <a:pt x="4927000" y="2320822"/>
                  <a:pt x="4927000" y="2312669"/>
                  <a:pt x="4913412" y="2304516"/>
                </a:cubicBezTo>
                <a:cubicBezTo>
                  <a:pt x="4921564" y="2285492"/>
                  <a:pt x="4924282" y="2280058"/>
                  <a:pt x="4907976" y="2266470"/>
                </a:cubicBezTo>
                <a:lnTo>
                  <a:pt x="4899824" y="2288210"/>
                </a:lnTo>
                <a:cubicBezTo>
                  <a:pt x="4907976" y="2307234"/>
                  <a:pt x="4907976" y="2290928"/>
                  <a:pt x="4899824" y="2309952"/>
                </a:cubicBezTo>
                <a:cubicBezTo>
                  <a:pt x="4910694" y="2309952"/>
                  <a:pt x="4907976" y="2307234"/>
                  <a:pt x="4907976" y="2318105"/>
                </a:cubicBezTo>
                <a:cubicBezTo>
                  <a:pt x="4907976" y="2323539"/>
                  <a:pt x="4907976" y="2326256"/>
                  <a:pt x="4907976" y="2328975"/>
                </a:cubicBezTo>
                <a:cubicBezTo>
                  <a:pt x="4921564" y="2334409"/>
                  <a:pt x="4932435" y="2347997"/>
                  <a:pt x="4954176" y="2337127"/>
                </a:cubicBezTo>
                <a:cubicBezTo>
                  <a:pt x="4959611" y="2331692"/>
                  <a:pt x="4959611" y="2323539"/>
                  <a:pt x="4965046" y="2318105"/>
                </a:cubicBezTo>
                <a:cubicBezTo>
                  <a:pt x="4973199" y="2318105"/>
                  <a:pt x="4978634" y="2320822"/>
                  <a:pt x="4989504" y="2315387"/>
                </a:cubicBezTo>
                <a:cubicBezTo>
                  <a:pt x="5000375" y="2293645"/>
                  <a:pt x="4954176" y="2252882"/>
                  <a:pt x="4997657" y="2239293"/>
                </a:cubicBezTo>
                <a:cubicBezTo>
                  <a:pt x="5000375" y="2247447"/>
                  <a:pt x="4984069" y="2252882"/>
                  <a:pt x="4989504" y="2261035"/>
                </a:cubicBezTo>
                <a:cubicBezTo>
                  <a:pt x="4997657" y="2258317"/>
                  <a:pt x="5000375" y="2266470"/>
                  <a:pt x="5008527" y="2261035"/>
                </a:cubicBezTo>
                <a:cubicBezTo>
                  <a:pt x="4992222" y="2244730"/>
                  <a:pt x="5019398" y="2222988"/>
                  <a:pt x="5011245" y="2209400"/>
                </a:cubicBezTo>
                <a:cubicBezTo>
                  <a:pt x="5011245" y="2214835"/>
                  <a:pt x="5000375" y="2214835"/>
                  <a:pt x="4997657" y="2217554"/>
                </a:cubicBezTo>
                <a:cubicBezTo>
                  <a:pt x="4994939" y="2212119"/>
                  <a:pt x="4992222" y="2206683"/>
                  <a:pt x="4989504" y="2201248"/>
                </a:cubicBezTo>
                <a:close/>
                <a:moveTo>
                  <a:pt x="5609115" y="2195813"/>
                </a:moveTo>
                <a:lnTo>
                  <a:pt x="5620020" y="2202711"/>
                </a:lnTo>
                <a:lnTo>
                  <a:pt x="5620028" y="2206343"/>
                </a:lnTo>
                <a:cubicBezTo>
                  <a:pt x="5622449" y="2210759"/>
                  <a:pt x="5626950" y="2213476"/>
                  <a:pt x="5632555" y="2214835"/>
                </a:cubicBezTo>
                <a:lnTo>
                  <a:pt x="5639375" y="2214956"/>
                </a:lnTo>
                <a:lnTo>
                  <a:pt x="5642406" y="2216874"/>
                </a:lnTo>
                <a:lnTo>
                  <a:pt x="5650786" y="2224800"/>
                </a:lnTo>
                <a:lnTo>
                  <a:pt x="5647162" y="2228423"/>
                </a:lnTo>
                <a:cubicBezTo>
                  <a:pt x="5649200" y="2232501"/>
                  <a:pt x="5652088" y="2234709"/>
                  <a:pt x="5655357" y="2236109"/>
                </a:cubicBezTo>
                <a:lnTo>
                  <a:pt x="5658898" y="2237070"/>
                </a:lnTo>
                <a:lnTo>
                  <a:pt x="5663467" y="2250165"/>
                </a:lnTo>
                <a:cubicBezTo>
                  <a:pt x="5667543" y="2248806"/>
                  <a:pt x="5670771" y="2249655"/>
                  <a:pt x="5673616" y="2251523"/>
                </a:cubicBezTo>
                <a:lnTo>
                  <a:pt x="5680650" y="2258215"/>
                </a:lnTo>
                <a:lnTo>
                  <a:pt x="5676036" y="2264771"/>
                </a:lnTo>
                <a:cubicBezTo>
                  <a:pt x="5672979" y="2267828"/>
                  <a:pt x="5668902" y="2270546"/>
                  <a:pt x="5663467" y="2271904"/>
                </a:cubicBezTo>
                <a:cubicBezTo>
                  <a:pt x="5663467" y="2269187"/>
                  <a:pt x="5660750" y="2269187"/>
                  <a:pt x="5658032" y="2269187"/>
                </a:cubicBezTo>
                <a:cubicBezTo>
                  <a:pt x="5649879" y="2258317"/>
                  <a:pt x="5666185" y="2255600"/>
                  <a:pt x="5660750" y="2244730"/>
                </a:cubicBezTo>
                <a:cubicBezTo>
                  <a:pt x="5647162" y="2250165"/>
                  <a:pt x="5641727" y="2236577"/>
                  <a:pt x="5628139" y="2239293"/>
                </a:cubicBezTo>
                <a:cubicBezTo>
                  <a:pt x="5628139" y="2231141"/>
                  <a:pt x="5639009" y="2236577"/>
                  <a:pt x="5644444" y="2231141"/>
                </a:cubicBezTo>
                <a:cubicBezTo>
                  <a:pt x="5634253" y="2220951"/>
                  <a:pt x="5616419" y="2222988"/>
                  <a:pt x="5604699" y="2212033"/>
                </a:cubicBezTo>
                <a:lnTo>
                  <a:pt x="5599603" y="2203018"/>
                </a:lnTo>
                <a:close/>
                <a:moveTo>
                  <a:pt x="5231922" y="2183371"/>
                </a:moveTo>
                <a:cubicBezTo>
                  <a:pt x="5229501" y="2182564"/>
                  <a:pt x="5226614" y="2182904"/>
                  <a:pt x="5223217" y="2184943"/>
                </a:cubicBezTo>
                <a:cubicBezTo>
                  <a:pt x="5215064" y="2190378"/>
                  <a:pt x="5236805" y="2190378"/>
                  <a:pt x="5228652" y="2198531"/>
                </a:cubicBezTo>
                <a:cubicBezTo>
                  <a:pt x="5215064" y="2201248"/>
                  <a:pt x="5206912" y="2182224"/>
                  <a:pt x="5196041" y="2195813"/>
                </a:cubicBezTo>
                <a:cubicBezTo>
                  <a:pt x="5206912" y="2217554"/>
                  <a:pt x="5209629" y="2252882"/>
                  <a:pt x="5234088" y="2247447"/>
                </a:cubicBezTo>
                <a:cubicBezTo>
                  <a:pt x="5242240" y="2233858"/>
                  <a:pt x="5223217" y="2231141"/>
                  <a:pt x="5217782" y="2220270"/>
                </a:cubicBezTo>
                <a:cubicBezTo>
                  <a:pt x="5220500" y="2214835"/>
                  <a:pt x="5234088" y="2212119"/>
                  <a:pt x="5242240" y="2206683"/>
                </a:cubicBezTo>
                <a:cubicBezTo>
                  <a:pt x="5242240" y="2198530"/>
                  <a:pt x="5239183" y="2185791"/>
                  <a:pt x="5231922" y="2183371"/>
                </a:cubicBezTo>
                <a:close/>
                <a:moveTo>
                  <a:pt x="6186483" y="2181698"/>
                </a:moveTo>
                <a:lnTo>
                  <a:pt x="6187330" y="2181744"/>
                </a:lnTo>
                <a:lnTo>
                  <a:pt x="6187199" y="2182055"/>
                </a:lnTo>
                <a:lnTo>
                  <a:pt x="6187222" y="2182224"/>
                </a:lnTo>
                <a:lnTo>
                  <a:pt x="6186944" y="2182224"/>
                </a:lnTo>
                <a:close/>
                <a:moveTo>
                  <a:pt x="6184176" y="2179061"/>
                </a:moveTo>
                <a:lnTo>
                  <a:pt x="6186483" y="2181698"/>
                </a:lnTo>
                <a:lnTo>
                  <a:pt x="6184686" y="2181600"/>
                </a:lnTo>
                <a:lnTo>
                  <a:pt x="6184227" y="2179507"/>
                </a:lnTo>
                <a:close/>
                <a:moveTo>
                  <a:pt x="6186253" y="2172676"/>
                </a:moveTo>
                <a:lnTo>
                  <a:pt x="6183675" y="2174666"/>
                </a:lnTo>
                <a:lnTo>
                  <a:pt x="6184176" y="2179061"/>
                </a:lnTo>
                <a:lnTo>
                  <a:pt x="6179810" y="2174071"/>
                </a:lnTo>
                <a:close/>
                <a:moveTo>
                  <a:pt x="6193526" y="2171099"/>
                </a:moveTo>
                <a:cubicBezTo>
                  <a:pt x="6205118" y="2175430"/>
                  <a:pt x="6211742" y="2195812"/>
                  <a:pt x="6226010" y="2179506"/>
                </a:cubicBezTo>
                <a:cubicBezTo>
                  <a:pt x="6198834" y="2203965"/>
                  <a:pt x="6193398" y="2193094"/>
                  <a:pt x="6187963" y="2187659"/>
                </a:cubicBezTo>
                <a:lnTo>
                  <a:pt x="6187222" y="2182224"/>
                </a:lnTo>
                <a:lnTo>
                  <a:pt x="6196116" y="2182224"/>
                </a:lnTo>
                <a:lnTo>
                  <a:pt x="6187330" y="2181744"/>
                </a:lnTo>
                <a:lnTo>
                  <a:pt x="6190001" y="2175430"/>
                </a:lnTo>
                <a:lnTo>
                  <a:pt x="6191517" y="2171534"/>
                </a:lnTo>
                <a:close/>
                <a:moveTo>
                  <a:pt x="6191785" y="2170845"/>
                </a:moveTo>
                <a:lnTo>
                  <a:pt x="6191517" y="2171534"/>
                </a:lnTo>
                <a:lnTo>
                  <a:pt x="6186253" y="2172676"/>
                </a:lnTo>
                <a:lnTo>
                  <a:pt x="6187963" y="2171354"/>
                </a:lnTo>
                <a:cubicBezTo>
                  <a:pt x="6190681" y="2169995"/>
                  <a:pt x="6191700" y="2169995"/>
                  <a:pt x="6191785" y="2170845"/>
                </a:cubicBezTo>
                <a:close/>
                <a:moveTo>
                  <a:pt x="5589448" y="2167744"/>
                </a:moveTo>
                <a:lnTo>
                  <a:pt x="5590092" y="2168975"/>
                </a:lnTo>
                <a:cubicBezTo>
                  <a:pt x="5591791" y="2175600"/>
                  <a:pt x="5592130" y="2182649"/>
                  <a:pt x="5591196" y="2189231"/>
                </a:cubicBezTo>
                <a:lnTo>
                  <a:pt x="5589901" y="2192687"/>
                </a:lnTo>
                <a:lnTo>
                  <a:pt x="5586356" y="2185111"/>
                </a:lnTo>
                <a:cubicBezTo>
                  <a:pt x="5581260" y="2180526"/>
                  <a:pt x="5573107" y="2183583"/>
                  <a:pt x="5571069" y="2171354"/>
                </a:cubicBezTo>
                <a:close/>
                <a:moveTo>
                  <a:pt x="5728690" y="2163202"/>
                </a:moveTo>
                <a:cubicBezTo>
                  <a:pt x="5736843" y="2193094"/>
                  <a:pt x="5764019" y="2184943"/>
                  <a:pt x="5774889" y="2209400"/>
                </a:cubicBezTo>
                <a:lnTo>
                  <a:pt x="5760470" y="2221198"/>
                </a:lnTo>
                <a:lnTo>
                  <a:pt x="5755526" y="2214157"/>
                </a:lnTo>
                <a:cubicBezTo>
                  <a:pt x="5752469" y="2208041"/>
                  <a:pt x="5750431" y="2201248"/>
                  <a:pt x="5744995" y="2195813"/>
                </a:cubicBezTo>
                <a:cubicBezTo>
                  <a:pt x="5739560" y="2190378"/>
                  <a:pt x="5733106" y="2186980"/>
                  <a:pt x="5726269" y="2184433"/>
                </a:cubicBezTo>
                <a:lnTo>
                  <a:pt x="5712931" y="2180444"/>
                </a:lnTo>
                <a:lnTo>
                  <a:pt x="5717819" y="2174411"/>
                </a:lnTo>
                <a:cubicBezTo>
                  <a:pt x="5721216" y="2168637"/>
                  <a:pt x="5723255" y="2163202"/>
                  <a:pt x="5728690" y="2163202"/>
                </a:cubicBezTo>
                <a:close/>
                <a:moveTo>
                  <a:pt x="4359021" y="2160484"/>
                </a:moveTo>
                <a:cubicBezTo>
                  <a:pt x="4359021" y="2165919"/>
                  <a:pt x="4359021" y="2171354"/>
                  <a:pt x="4359021" y="2176789"/>
                </a:cubicBezTo>
                <a:cubicBezTo>
                  <a:pt x="4364457" y="2179506"/>
                  <a:pt x="4367175" y="2179506"/>
                  <a:pt x="4372609" y="2182224"/>
                </a:cubicBezTo>
                <a:cubicBezTo>
                  <a:pt x="4372609" y="2174071"/>
                  <a:pt x="4372609" y="2168636"/>
                  <a:pt x="4372609" y="2160484"/>
                </a:cubicBezTo>
                <a:close/>
                <a:moveTo>
                  <a:pt x="6119977" y="2152982"/>
                </a:moveTo>
                <a:lnTo>
                  <a:pt x="6126180" y="2153945"/>
                </a:lnTo>
                <a:cubicBezTo>
                  <a:pt x="6134715" y="2157596"/>
                  <a:pt x="6142613" y="2162862"/>
                  <a:pt x="6150256" y="2167957"/>
                </a:cubicBezTo>
                <a:lnTo>
                  <a:pt x="6169074" y="2178801"/>
                </a:lnTo>
                <a:lnTo>
                  <a:pt x="6168940" y="2179506"/>
                </a:lnTo>
                <a:lnTo>
                  <a:pt x="6169542" y="2179070"/>
                </a:lnTo>
                <a:lnTo>
                  <a:pt x="6172804" y="2180950"/>
                </a:lnTo>
                <a:lnTo>
                  <a:pt x="6184686" y="2181600"/>
                </a:lnTo>
                <a:lnTo>
                  <a:pt x="6185288" y="2184347"/>
                </a:lnTo>
                <a:cubicBezTo>
                  <a:pt x="6185246" y="2185791"/>
                  <a:pt x="6184566" y="2186980"/>
                  <a:pt x="6182528" y="2187659"/>
                </a:cubicBezTo>
                <a:cubicBezTo>
                  <a:pt x="6174375" y="2189698"/>
                  <a:pt x="6167242" y="2189698"/>
                  <a:pt x="6160830" y="2188169"/>
                </a:cubicBezTo>
                <a:lnTo>
                  <a:pt x="6153300" y="2184413"/>
                </a:lnTo>
                <a:lnTo>
                  <a:pt x="6155352" y="2182224"/>
                </a:lnTo>
                <a:cubicBezTo>
                  <a:pt x="6151955" y="2177468"/>
                  <a:pt x="6147029" y="2174411"/>
                  <a:pt x="6141467" y="2172161"/>
                </a:cubicBezTo>
                <a:lnTo>
                  <a:pt x="6135365" y="2170361"/>
                </a:lnTo>
                <a:close/>
                <a:moveTo>
                  <a:pt x="5316814" y="2146792"/>
                </a:moveTo>
                <a:lnTo>
                  <a:pt x="5320711" y="2147235"/>
                </a:lnTo>
                <a:lnTo>
                  <a:pt x="5330056" y="2153867"/>
                </a:lnTo>
                <a:close/>
                <a:moveTo>
                  <a:pt x="6079678" y="2146479"/>
                </a:moveTo>
                <a:lnTo>
                  <a:pt x="6087412" y="2146895"/>
                </a:lnTo>
                <a:cubicBezTo>
                  <a:pt x="6090130" y="2152332"/>
                  <a:pt x="6076542" y="2152332"/>
                  <a:pt x="6079259" y="2157767"/>
                </a:cubicBezTo>
                <a:cubicBezTo>
                  <a:pt x="6092847" y="2160484"/>
                  <a:pt x="6104397" y="2166598"/>
                  <a:pt x="6115267" y="2173392"/>
                </a:cubicBezTo>
                <a:lnTo>
                  <a:pt x="6115830" y="2173739"/>
                </a:lnTo>
                <a:lnTo>
                  <a:pt x="6117306" y="2176789"/>
                </a:lnTo>
                <a:cubicBezTo>
                  <a:pt x="6095565" y="2174071"/>
                  <a:pt x="6079259" y="2174071"/>
                  <a:pt x="6071107" y="2155048"/>
                </a:cubicBezTo>
                <a:close/>
                <a:moveTo>
                  <a:pt x="5570199" y="2145447"/>
                </a:moveTo>
                <a:lnTo>
                  <a:pt x="5580835" y="2151269"/>
                </a:lnTo>
                <a:lnTo>
                  <a:pt x="5582507" y="2154466"/>
                </a:lnTo>
                <a:lnTo>
                  <a:pt x="5562916" y="2165919"/>
                </a:lnTo>
                <a:cubicBezTo>
                  <a:pt x="5560198" y="2163202"/>
                  <a:pt x="5560198" y="2160484"/>
                  <a:pt x="5560538" y="2157767"/>
                </a:cubicBezTo>
                <a:lnTo>
                  <a:pt x="5560275" y="2151438"/>
                </a:lnTo>
                <a:lnTo>
                  <a:pt x="5565634" y="2152332"/>
                </a:lnTo>
                <a:lnTo>
                  <a:pt x="5563790" y="2148117"/>
                </a:lnTo>
                <a:close/>
                <a:moveTo>
                  <a:pt x="4994939" y="2138743"/>
                </a:moveTo>
                <a:cubicBezTo>
                  <a:pt x="4986787" y="2144178"/>
                  <a:pt x="4975916" y="2152332"/>
                  <a:pt x="4965046" y="2155048"/>
                </a:cubicBezTo>
                <a:cubicBezTo>
                  <a:pt x="4962328" y="2160484"/>
                  <a:pt x="4959611" y="2160484"/>
                  <a:pt x="4946023" y="2168636"/>
                </a:cubicBezTo>
                <a:lnTo>
                  <a:pt x="4959611" y="2187659"/>
                </a:lnTo>
                <a:lnTo>
                  <a:pt x="4935152" y="2214835"/>
                </a:lnTo>
                <a:cubicBezTo>
                  <a:pt x="4943305" y="2212119"/>
                  <a:pt x="4946023" y="2222988"/>
                  <a:pt x="4956893" y="2217554"/>
                </a:cubicBezTo>
                <a:cubicBezTo>
                  <a:pt x="4951458" y="2209400"/>
                  <a:pt x="4962328" y="2206683"/>
                  <a:pt x="4970481" y="2203965"/>
                </a:cubicBezTo>
                <a:cubicBezTo>
                  <a:pt x="4962328" y="2190378"/>
                  <a:pt x="4954176" y="2179506"/>
                  <a:pt x="4965046" y="2168636"/>
                </a:cubicBezTo>
                <a:cubicBezTo>
                  <a:pt x="4970481" y="2165919"/>
                  <a:pt x="4975916" y="2171354"/>
                  <a:pt x="4984069" y="2165919"/>
                </a:cubicBezTo>
                <a:cubicBezTo>
                  <a:pt x="4970481" y="2152332"/>
                  <a:pt x="5003092" y="2152332"/>
                  <a:pt x="4994939" y="2138743"/>
                </a:cubicBezTo>
                <a:close/>
                <a:moveTo>
                  <a:pt x="1149542" y="2138743"/>
                </a:moveTo>
                <a:cubicBezTo>
                  <a:pt x="1138672" y="2138743"/>
                  <a:pt x="1122366" y="2144178"/>
                  <a:pt x="1106061" y="2149613"/>
                </a:cubicBezTo>
                <a:cubicBezTo>
                  <a:pt x="1127801" y="2155048"/>
                  <a:pt x="1144107" y="2165919"/>
                  <a:pt x="1152260" y="2184943"/>
                </a:cubicBezTo>
                <a:cubicBezTo>
                  <a:pt x="1154977" y="2182224"/>
                  <a:pt x="1157695" y="2182224"/>
                  <a:pt x="1160413" y="2182224"/>
                </a:cubicBezTo>
                <a:cubicBezTo>
                  <a:pt x="1171283" y="2168636"/>
                  <a:pt x="1184871" y="2157767"/>
                  <a:pt x="1193024" y="2144178"/>
                </a:cubicBezTo>
                <a:cubicBezTo>
                  <a:pt x="1174001" y="2127873"/>
                  <a:pt x="1165848" y="2155048"/>
                  <a:pt x="1157695" y="2165919"/>
                </a:cubicBezTo>
                <a:cubicBezTo>
                  <a:pt x="1154977" y="2157767"/>
                  <a:pt x="1154977" y="2144178"/>
                  <a:pt x="1149542" y="2138743"/>
                </a:cubicBezTo>
                <a:close/>
                <a:moveTo>
                  <a:pt x="5652003" y="2138107"/>
                </a:moveTo>
                <a:cubicBezTo>
                  <a:pt x="5648181" y="2136705"/>
                  <a:pt x="5642406" y="2137385"/>
                  <a:pt x="5633574" y="2141460"/>
                </a:cubicBezTo>
                <a:cubicBezTo>
                  <a:pt x="5636291" y="2146895"/>
                  <a:pt x="5644444" y="2152332"/>
                  <a:pt x="5641727" y="2160484"/>
                </a:cubicBezTo>
                <a:cubicBezTo>
                  <a:pt x="5647162" y="2157767"/>
                  <a:pt x="5652597" y="2155048"/>
                  <a:pt x="5652597" y="2157767"/>
                </a:cubicBezTo>
                <a:cubicBezTo>
                  <a:pt x="5652597" y="2163202"/>
                  <a:pt x="5639009" y="2165919"/>
                  <a:pt x="5644444" y="2174071"/>
                </a:cubicBezTo>
                <a:cubicBezTo>
                  <a:pt x="5649879" y="2174071"/>
                  <a:pt x="5660750" y="2179506"/>
                  <a:pt x="5663467" y="2171354"/>
                </a:cubicBezTo>
                <a:cubicBezTo>
                  <a:pt x="5657353" y="2165240"/>
                  <a:pt x="5663468" y="2142310"/>
                  <a:pt x="5652003" y="2138107"/>
                </a:cubicBezTo>
                <a:close/>
                <a:moveTo>
                  <a:pt x="5560199" y="2125155"/>
                </a:moveTo>
                <a:cubicBezTo>
                  <a:pt x="5552046" y="2125155"/>
                  <a:pt x="5541176" y="2130590"/>
                  <a:pt x="5533023" y="2130590"/>
                </a:cubicBezTo>
                <a:cubicBezTo>
                  <a:pt x="5541176" y="2138743"/>
                  <a:pt x="5533023" y="2144178"/>
                  <a:pt x="5535741" y="2155048"/>
                </a:cubicBezTo>
                <a:cubicBezTo>
                  <a:pt x="5554764" y="2149613"/>
                  <a:pt x="5557481" y="2136025"/>
                  <a:pt x="5560199" y="2125155"/>
                </a:cubicBezTo>
                <a:close/>
                <a:moveTo>
                  <a:pt x="4940588" y="2125155"/>
                </a:moveTo>
                <a:cubicBezTo>
                  <a:pt x="4943305" y="2127873"/>
                  <a:pt x="4943305" y="2127873"/>
                  <a:pt x="4946023" y="2130590"/>
                </a:cubicBezTo>
                <a:cubicBezTo>
                  <a:pt x="4935152" y="2136025"/>
                  <a:pt x="4937870" y="2141460"/>
                  <a:pt x="4943305" y="2146895"/>
                </a:cubicBezTo>
                <a:lnTo>
                  <a:pt x="4954176" y="2133307"/>
                </a:lnTo>
                <a:lnTo>
                  <a:pt x="4959611" y="2133307"/>
                </a:lnTo>
                <a:cubicBezTo>
                  <a:pt x="4959611" y="2133307"/>
                  <a:pt x="4956893" y="2130590"/>
                  <a:pt x="4956893" y="2130590"/>
                </a:cubicBezTo>
                <a:cubicBezTo>
                  <a:pt x="4956893" y="2130590"/>
                  <a:pt x="4954176" y="2130590"/>
                  <a:pt x="4954176" y="2133307"/>
                </a:cubicBezTo>
                <a:close/>
                <a:moveTo>
                  <a:pt x="5261486" y="2116059"/>
                </a:moveTo>
                <a:lnTo>
                  <a:pt x="5275474" y="2124500"/>
                </a:lnTo>
                <a:lnTo>
                  <a:pt x="5261264" y="2130590"/>
                </a:lnTo>
                <a:cubicBezTo>
                  <a:pt x="5259905" y="2127873"/>
                  <a:pt x="5257187" y="2127193"/>
                  <a:pt x="5254809" y="2125835"/>
                </a:cubicBezTo>
                <a:lnTo>
                  <a:pt x="5250936" y="2118089"/>
                </a:lnTo>
                <a:lnTo>
                  <a:pt x="5253667" y="2116725"/>
                </a:lnTo>
                <a:close/>
                <a:moveTo>
                  <a:pt x="6041289" y="2111271"/>
                </a:moveTo>
                <a:lnTo>
                  <a:pt x="6052026" y="2115506"/>
                </a:lnTo>
                <a:lnTo>
                  <a:pt x="6046648" y="2119720"/>
                </a:lnTo>
                <a:cubicBezTo>
                  <a:pt x="6046648" y="2115644"/>
                  <a:pt x="6045289" y="2114286"/>
                  <a:pt x="6043591" y="2113267"/>
                </a:cubicBezTo>
                <a:close/>
                <a:moveTo>
                  <a:pt x="5886310" y="2108850"/>
                </a:moveTo>
                <a:cubicBezTo>
                  <a:pt x="5889028" y="2122438"/>
                  <a:pt x="5905334" y="2117003"/>
                  <a:pt x="5902616" y="2133307"/>
                </a:cubicBezTo>
                <a:lnTo>
                  <a:pt x="5913850" y="2132287"/>
                </a:lnTo>
                <a:lnTo>
                  <a:pt x="5916204" y="2149613"/>
                </a:lnTo>
                <a:cubicBezTo>
                  <a:pt x="5903975" y="2159125"/>
                  <a:pt x="5890387" y="2153690"/>
                  <a:pt x="5881215" y="2142819"/>
                </a:cubicBezTo>
                <a:lnTo>
                  <a:pt x="5871782" y="2124201"/>
                </a:lnTo>
                <a:lnTo>
                  <a:pt x="5875101" y="2117342"/>
                </a:lnTo>
                <a:cubicBezTo>
                  <a:pt x="5878158" y="2114285"/>
                  <a:pt x="5882234" y="2111567"/>
                  <a:pt x="5886310" y="2108850"/>
                </a:cubicBezTo>
                <a:close/>
                <a:moveTo>
                  <a:pt x="6063676" y="2106763"/>
                </a:moveTo>
                <a:lnTo>
                  <a:pt x="6069616" y="2110235"/>
                </a:lnTo>
                <a:lnTo>
                  <a:pt x="6070088" y="2114624"/>
                </a:lnTo>
                <a:lnTo>
                  <a:pt x="6070097" y="2114673"/>
                </a:lnTo>
                <a:lnTo>
                  <a:pt x="6052593" y="2115728"/>
                </a:lnTo>
                <a:lnTo>
                  <a:pt x="6052026" y="2115506"/>
                </a:lnTo>
                <a:lnTo>
                  <a:pt x="6059217" y="2109869"/>
                </a:lnTo>
                <a:close/>
                <a:moveTo>
                  <a:pt x="5185097" y="2105012"/>
                </a:moveTo>
                <a:lnTo>
                  <a:pt x="5195701" y="2108170"/>
                </a:lnTo>
                <a:cubicBezTo>
                  <a:pt x="5201476" y="2108850"/>
                  <a:pt x="5206912" y="2110208"/>
                  <a:pt x="5209629" y="2117003"/>
                </a:cubicBezTo>
                <a:cubicBezTo>
                  <a:pt x="5205552" y="2114286"/>
                  <a:pt x="5199438" y="2113605"/>
                  <a:pt x="5193663" y="2111907"/>
                </a:cubicBezTo>
                <a:close/>
                <a:moveTo>
                  <a:pt x="5824977" y="2104604"/>
                </a:moveTo>
                <a:lnTo>
                  <a:pt x="5832067" y="2107188"/>
                </a:lnTo>
                <a:lnTo>
                  <a:pt x="5861852" y="2130590"/>
                </a:lnTo>
                <a:cubicBezTo>
                  <a:pt x="5857776" y="2142819"/>
                  <a:pt x="5838413" y="2133648"/>
                  <a:pt x="5828986" y="2117979"/>
                </a:cubicBezTo>
                <a:close/>
                <a:moveTo>
                  <a:pt x="1078885" y="2100697"/>
                </a:moveTo>
                <a:cubicBezTo>
                  <a:pt x="1070732" y="2103415"/>
                  <a:pt x="1073450" y="2114285"/>
                  <a:pt x="1070732" y="2122438"/>
                </a:cubicBezTo>
                <a:cubicBezTo>
                  <a:pt x="1070732" y="2136025"/>
                  <a:pt x="1062579" y="2133307"/>
                  <a:pt x="1062579" y="2144178"/>
                </a:cubicBezTo>
                <a:cubicBezTo>
                  <a:pt x="1068014" y="2144178"/>
                  <a:pt x="1073450" y="2144178"/>
                  <a:pt x="1078885" y="2144178"/>
                </a:cubicBezTo>
                <a:cubicBezTo>
                  <a:pt x="1076167" y="2141460"/>
                  <a:pt x="1073450" y="2138743"/>
                  <a:pt x="1073450" y="2133307"/>
                </a:cubicBezTo>
                <a:cubicBezTo>
                  <a:pt x="1076167" y="2125155"/>
                  <a:pt x="1097908" y="2127873"/>
                  <a:pt x="1103343" y="2119720"/>
                </a:cubicBezTo>
                <a:cubicBezTo>
                  <a:pt x="1103343" y="2111567"/>
                  <a:pt x="1100625" y="2106132"/>
                  <a:pt x="1100625" y="2100697"/>
                </a:cubicBezTo>
                <a:cubicBezTo>
                  <a:pt x="1095190" y="2097980"/>
                  <a:pt x="1087038" y="2097980"/>
                  <a:pt x="1078885" y="2100697"/>
                </a:cubicBezTo>
                <a:close/>
                <a:moveTo>
                  <a:pt x="5947192" y="2099094"/>
                </a:moveTo>
                <a:lnTo>
                  <a:pt x="5951273" y="2103244"/>
                </a:lnTo>
                <a:lnTo>
                  <a:pt x="5950174" y="2102735"/>
                </a:lnTo>
                <a:close/>
                <a:moveTo>
                  <a:pt x="5946097" y="2097980"/>
                </a:moveTo>
                <a:lnTo>
                  <a:pt x="5946317" y="2098025"/>
                </a:lnTo>
                <a:lnTo>
                  <a:pt x="5947192" y="2099094"/>
                </a:lnTo>
                <a:close/>
                <a:moveTo>
                  <a:pt x="5993995" y="2089826"/>
                </a:moveTo>
                <a:cubicBezTo>
                  <a:pt x="6005205" y="2089486"/>
                  <a:pt x="6016075" y="2090506"/>
                  <a:pt x="6026266" y="2092545"/>
                </a:cubicBezTo>
                <a:lnTo>
                  <a:pt x="6050707" y="2100200"/>
                </a:lnTo>
                <a:lnTo>
                  <a:pt x="6052083" y="2100697"/>
                </a:lnTo>
                <a:cubicBezTo>
                  <a:pt x="6049366" y="2103415"/>
                  <a:pt x="6046648" y="2106132"/>
                  <a:pt x="6038495" y="2108850"/>
                </a:cubicBezTo>
                <a:lnTo>
                  <a:pt x="6041289" y="2111271"/>
                </a:lnTo>
                <a:lnTo>
                  <a:pt x="6031702" y="2107491"/>
                </a:lnTo>
                <a:cubicBezTo>
                  <a:pt x="6024908" y="2104434"/>
                  <a:pt x="6018114" y="2101716"/>
                  <a:pt x="6010810" y="2101292"/>
                </a:cubicBezTo>
                <a:lnTo>
                  <a:pt x="5998560" y="2105158"/>
                </a:lnTo>
                <a:lnTo>
                  <a:pt x="6003506" y="2099338"/>
                </a:lnTo>
                <a:cubicBezTo>
                  <a:pt x="6005205" y="2097300"/>
                  <a:pt x="6005885" y="2095262"/>
                  <a:pt x="6003167" y="2092544"/>
                </a:cubicBezTo>
                <a:lnTo>
                  <a:pt x="5993438" y="2089915"/>
                </a:lnTo>
                <a:close/>
                <a:moveTo>
                  <a:pt x="5990598" y="2089147"/>
                </a:moveTo>
                <a:lnTo>
                  <a:pt x="5993438" y="2089915"/>
                </a:lnTo>
                <a:lnTo>
                  <a:pt x="5978377" y="2092301"/>
                </a:lnTo>
                <a:lnTo>
                  <a:pt x="5975991" y="2089827"/>
                </a:lnTo>
                <a:cubicBezTo>
                  <a:pt x="5981426" y="2088467"/>
                  <a:pt x="5986182" y="2088467"/>
                  <a:pt x="5990598" y="2089147"/>
                </a:cubicBezTo>
                <a:close/>
                <a:moveTo>
                  <a:pt x="5490498" y="2085065"/>
                </a:moveTo>
                <a:lnTo>
                  <a:pt x="5498656" y="2096031"/>
                </a:lnTo>
                <a:lnTo>
                  <a:pt x="5499053" y="2103076"/>
                </a:lnTo>
                <a:cubicBezTo>
                  <a:pt x="5501771" y="2111567"/>
                  <a:pt x="5505847" y="2119720"/>
                  <a:pt x="5508565" y="2125155"/>
                </a:cubicBezTo>
                <a:cubicBezTo>
                  <a:pt x="5497694" y="2127873"/>
                  <a:pt x="5491580" y="2122438"/>
                  <a:pt x="5486824" y="2115305"/>
                </a:cubicBezTo>
                <a:lnTo>
                  <a:pt x="5473798" y="2096090"/>
                </a:lnTo>
                <a:lnTo>
                  <a:pt x="5474196" y="2094432"/>
                </a:lnTo>
                <a:lnTo>
                  <a:pt x="5480709" y="2088807"/>
                </a:lnTo>
                <a:close/>
                <a:moveTo>
                  <a:pt x="5488515" y="2082399"/>
                </a:moveTo>
                <a:lnTo>
                  <a:pt x="5492259" y="2084391"/>
                </a:lnTo>
                <a:lnTo>
                  <a:pt x="5490498" y="2085065"/>
                </a:lnTo>
                <a:close/>
                <a:moveTo>
                  <a:pt x="5473236" y="2076238"/>
                </a:moveTo>
                <a:lnTo>
                  <a:pt x="5483467" y="2077375"/>
                </a:lnTo>
                <a:lnTo>
                  <a:pt x="5486017" y="2079041"/>
                </a:lnTo>
                <a:lnTo>
                  <a:pt x="5488515" y="2082399"/>
                </a:lnTo>
                <a:lnTo>
                  <a:pt x="5486994" y="2081589"/>
                </a:lnTo>
                <a:cubicBezTo>
                  <a:pt x="5480879" y="2081334"/>
                  <a:pt x="5473236" y="2086429"/>
                  <a:pt x="5473236" y="2076238"/>
                </a:cubicBezTo>
                <a:close/>
                <a:moveTo>
                  <a:pt x="991922" y="2070804"/>
                </a:moveTo>
                <a:cubicBezTo>
                  <a:pt x="1000074" y="2084391"/>
                  <a:pt x="1002792" y="2095262"/>
                  <a:pt x="1002792" y="2108850"/>
                </a:cubicBezTo>
                <a:cubicBezTo>
                  <a:pt x="1021815" y="2114285"/>
                  <a:pt x="1040838" y="2119720"/>
                  <a:pt x="1057144" y="2122438"/>
                </a:cubicBezTo>
                <a:cubicBezTo>
                  <a:pt x="1043556" y="2092544"/>
                  <a:pt x="1008227" y="2078956"/>
                  <a:pt x="991922" y="2070804"/>
                </a:cubicBezTo>
                <a:close/>
                <a:moveTo>
                  <a:pt x="5932509" y="2068085"/>
                </a:moveTo>
                <a:cubicBezTo>
                  <a:pt x="5940662" y="2070804"/>
                  <a:pt x="5948815" y="2070804"/>
                  <a:pt x="5954250" y="2076238"/>
                </a:cubicBezTo>
                <a:lnTo>
                  <a:pt x="5958178" y="2071240"/>
                </a:lnTo>
                <a:lnTo>
                  <a:pt x="5960365" y="2079084"/>
                </a:lnTo>
                <a:cubicBezTo>
                  <a:pt x="5961214" y="2085410"/>
                  <a:pt x="5961044" y="2091185"/>
                  <a:pt x="5959685" y="2095262"/>
                </a:cubicBezTo>
                <a:lnTo>
                  <a:pt x="5978377" y="2092301"/>
                </a:lnTo>
                <a:lnTo>
                  <a:pt x="5985163" y="2099338"/>
                </a:lnTo>
                <a:lnTo>
                  <a:pt x="5984238" y="2107975"/>
                </a:lnTo>
                <a:lnTo>
                  <a:pt x="5967498" y="2102396"/>
                </a:lnTo>
                <a:lnTo>
                  <a:pt x="5946317" y="2098025"/>
                </a:lnTo>
                <a:lnTo>
                  <a:pt x="5943158" y="2094167"/>
                </a:lnTo>
                <a:lnTo>
                  <a:pt x="5946819" y="2088467"/>
                </a:lnTo>
                <a:cubicBezTo>
                  <a:pt x="5948985" y="2084391"/>
                  <a:pt x="5950174" y="2080315"/>
                  <a:pt x="5948815" y="2076238"/>
                </a:cubicBezTo>
                <a:lnTo>
                  <a:pt x="5935089" y="2077077"/>
                </a:lnTo>
                <a:close/>
                <a:moveTo>
                  <a:pt x="5562917" y="2067745"/>
                </a:moveTo>
                <a:cubicBezTo>
                  <a:pt x="5554764" y="2069444"/>
                  <a:pt x="5547970" y="2073521"/>
                  <a:pt x="5546611" y="2081674"/>
                </a:cubicBezTo>
                <a:cubicBezTo>
                  <a:pt x="5557481" y="2087109"/>
                  <a:pt x="5568352" y="2059932"/>
                  <a:pt x="5576504" y="2076238"/>
                </a:cubicBezTo>
                <a:cubicBezTo>
                  <a:pt x="5568352" y="2081674"/>
                  <a:pt x="5562916" y="2084391"/>
                  <a:pt x="5554764" y="2087109"/>
                </a:cubicBezTo>
                <a:cubicBezTo>
                  <a:pt x="5554764" y="2092544"/>
                  <a:pt x="5562916" y="2097980"/>
                  <a:pt x="5557481" y="2100697"/>
                </a:cubicBezTo>
                <a:cubicBezTo>
                  <a:pt x="5535741" y="2114285"/>
                  <a:pt x="5535741" y="2076238"/>
                  <a:pt x="5514000" y="2087109"/>
                </a:cubicBezTo>
                <a:cubicBezTo>
                  <a:pt x="5519435" y="2097980"/>
                  <a:pt x="5522153" y="2114285"/>
                  <a:pt x="5530305" y="2119720"/>
                </a:cubicBezTo>
                <a:cubicBezTo>
                  <a:pt x="5524870" y="2114285"/>
                  <a:pt x="5535741" y="2103415"/>
                  <a:pt x="5538458" y="2108850"/>
                </a:cubicBezTo>
                <a:cubicBezTo>
                  <a:pt x="5543893" y="2117003"/>
                  <a:pt x="5530305" y="2125155"/>
                  <a:pt x="5541176" y="2127873"/>
                </a:cubicBezTo>
                <a:cubicBezTo>
                  <a:pt x="5552046" y="2122438"/>
                  <a:pt x="5546611" y="2111567"/>
                  <a:pt x="5557481" y="2108850"/>
                </a:cubicBezTo>
                <a:cubicBezTo>
                  <a:pt x="5560199" y="2117003"/>
                  <a:pt x="5565634" y="2125155"/>
                  <a:pt x="5568352" y="2133307"/>
                </a:cubicBezTo>
                <a:cubicBezTo>
                  <a:pt x="5579222" y="2127873"/>
                  <a:pt x="5579222" y="2122438"/>
                  <a:pt x="5584657" y="2117003"/>
                </a:cubicBezTo>
                <a:cubicBezTo>
                  <a:pt x="5581940" y="2103415"/>
                  <a:pt x="5571069" y="2100697"/>
                  <a:pt x="5581940" y="2092544"/>
                </a:cubicBezTo>
                <a:cubicBezTo>
                  <a:pt x="5587375" y="2087109"/>
                  <a:pt x="5587375" y="2097980"/>
                  <a:pt x="5592810" y="2095262"/>
                </a:cubicBezTo>
                <a:cubicBezTo>
                  <a:pt x="5584657" y="2084391"/>
                  <a:pt x="5595528" y="2078956"/>
                  <a:pt x="5587375" y="2068085"/>
                </a:cubicBezTo>
                <a:cubicBezTo>
                  <a:pt x="5580581" y="2066726"/>
                  <a:pt x="5571069" y="2066047"/>
                  <a:pt x="5562917" y="2067745"/>
                </a:cubicBezTo>
                <a:close/>
                <a:moveTo>
                  <a:pt x="6111870" y="2057216"/>
                </a:moveTo>
                <a:cubicBezTo>
                  <a:pt x="6103718" y="2068085"/>
                  <a:pt x="6111870" y="2087109"/>
                  <a:pt x="6090130" y="2095262"/>
                </a:cubicBezTo>
                <a:cubicBezTo>
                  <a:pt x="6098282" y="2108850"/>
                  <a:pt x="6120023" y="2103415"/>
                  <a:pt x="6136329" y="2103415"/>
                </a:cubicBezTo>
                <a:cubicBezTo>
                  <a:pt x="6141764" y="2114285"/>
                  <a:pt x="6144482" y="2122438"/>
                  <a:pt x="6149917" y="2133307"/>
                </a:cubicBezTo>
                <a:cubicBezTo>
                  <a:pt x="6155352" y="2138743"/>
                  <a:pt x="6168940" y="2127873"/>
                  <a:pt x="6171658" y="2141460"/>
                </a:cubicBezTo>
                <a:cubicBezTo>
                  <a:pt x="6185246" y="2136025"/>
                  <a:pt x="6171658" y="2119720"/>
                  <a:pt x="6187963" y="2114285"/>
                </a:cubicBezTo>
                <a:cubicBezTo>
                  <a:pt x="6196116" y="2125155"/>
                  <a:pt x="6179810" y="2127873"/>
                  <a:pt x="6185246" y="2138743"/>
                </a:cubicBezTo>
                <a:cubicBezTo>
                  <a:pt x="6196116" y="2141460"/>
                  <a:pt x="6201551" y="2125155"/>
                  <a:pt x="6215139" y="2119720"/>
                </a:cubicBezTo>
                <a:cubicBezTo>
                  <a:pt x="6217857" y="2122438"/>
                  <a:pt x="6220574" y="2127873"/>
                  <a:pt x="6223292" y="2133307"/>
                </a:cubicBezTo>
                <a:cubicBezTo>
                  <a:pt x="6200871" y="2135346"/>
                  <a:pt x="6196795" y="2154200"/>
                  <a:pt x="6184694" y="2168084"/>
                </a:cubicBezTo>
                <a:lnTo>
                  <a:pt x="6169542" y="2179070"/>
                </a:lnTo>
                <a:lnTo>
                  <a:pt x="6169074" y="2178801"/>
                </a:lnTo>
                <a:lnTo>
                  <a:pt x="6171658" y="2165240"/>
                </a:lnTo>
                <a:cubicBezTo>
                  <a:pt x="6173696" y="2161163"/>
                  <a:pt x="6177093" y="2157765"/>
                  <a:pt x="6182528" y="2155048"/>
                </a:cubicBezTo>
                <a:cubicBezTo>
                  <a:pt x="6168940" y="2136025"/>
                  <a:pt x="6136329" y="2155048"/>
                  <a:pt x="6114588" y="2146895"/>
                </a:cubicBezTo>
                <a:lnTo>
                  <a:pt x="6119977" y="2152982"/>
                </a:lnTo>
                <a:lnTo>
                  <a:pt x="6098282" y="2149613"/>
                </a:lnTo>
                <a:cubicBezTo>
                  <a:pt x="6101000" y="2160484"/>
                  <a:pt x="6111870" y="2163881"/>
                  <a:pt x="6123760" y="2166938"/>
                </a:cubicBezTo>
                <a:lnTo>
                  <a:pt x="6135365" y="2170361"/>
                </a:lnTo>
                <a:lnTo>
                  <a:pt x="6143463" y="2179507"/>
                </a:lnTo>
                <a:lnTo>
                  <a:pt x="6153300" y="2184413"/>
                </a:lnTo>
                <a:lnTo>
                  <a:pt x="6150257" y="2187659"/>
                </a:lnTo>
                <a:cubicBezTo>
                  <a:pt x="6147879" y="2189018"/>
                  <a:pt x="6145841" y="2190377"/>
                  <a:pt x="6147199" y="2193094"/>
                </a:cubicBezTo>
                <a:lnTo>
                  <a:pt x="6115830" y="2173739"/>
                </a:lnTo>
                <a:lnTo>
                  <a:pt x="6111531" y="2164857"/>
                </a:lnTo>
                <a:cubicBezTo>
                  <a:pt x="6104397" y="2156577"/>
                  <a:pt x="6094206" y="2157087"/>
                  <a:pt x="6090130" y="2146895"/>
                </a:cubicBezTo>
                <a:cubicBezTo>
                  <a:pt x="6092847" y="2141460"/>
                  <a:pt x="6092847" y="2136025"/>
                  <a:pt x="6101000" y="2133307"/>
                </a:cubicBezTo>
                <a:cubicBezTo>
                  <a:pt x="6106435" y="2136025"/>
                  <a:pt x="6111870" y="2144178"/>
                  <a:pt x="6120023" y="2138743"/>
                </a:cubicBezTo>
                <a:cubicBezTo>
                  <a:pt x="6111870" y="2127873"/>
                  <a:pt x="6101000" y="2119720"/>
                  <a:pt x="6087412" y="2122438"/>
                </a:cubicBezTo>
                <a:cubicBezTo>
                  <a:pt x="6094206" y="2127873"/>
                  <a:pt x="6092168" y="2133308"/>
                  <a:pt x="6087412" y="2138743"/>
                </a:cubicBezTo>
                <a:lnTo>
                  <a:pt x="6079678" y="2146479"/>
                </a:lnTo>
                <a:lnTo>
                  <a:pt x="6074843" y="2146216"/>
                </a:lnTo>
                <a:cubicBezTo>
                  <a:pt x="6069748" y="2147575"/>
                  <a:pt x="6064312" y="2149613"/>
                  <a:pt x="6060236" y="2149613"/>
                </a:cubicBezTo>
                <a:cubicBezTo>
                  <a:pt x="6060236" y="2144178"/>
                  <a:pt x="6065671" y="2141460"/>
                  <a:pt x="6062954" y="2136025"/>
                </a:cubicBezTo>
                <a:cubicBezTo>
                  <a:pt x="6052083" y="2127873"/>
                  <a:pt x="6038495" y="2122438"/>
                  <a:pt x="6022190" y="2125155"/>
                </a:cubicBezTo>
                <a:cubicBezTo>
                  <a:pt x="6011320" y="2133307"/>
                  <a:pt x="6027625" y="2133307"/>
                  <a:pt x="6030343" y="2144178"/>
                </a:cubicBezTo>
                <a:cubicBezTo>
                  <a:pt x="6019472" y="2146895"/>
                  <a:pt x="6003167" y="2133307"/>
                  <a:pt x="6005884" y="2122438"/>
                </a:cubicBezTo>
                <a:cubicBezTo>
                  <a:pt x="5991617" y="2114286"/>
                  <a:pt x="5972763" y="2118361"/>
                  <a:pt x="5958496" y="2110591"/>
                </a:cubicBezTo>
                <a:lnTo>
                  <a:pt x="5951273" y="2103244"/>
                </a:lnTo>
                <a:lnTo>
                  <a:pt x="5966140" y="2110124"/>
                </a:lnTo>
                <a:cubicBezTo>
                  <a:pt x="5971915" y="2111227"/>
                  <a:pt x="5978029" y="2110888"/>
                  <a:pt x="5984144" y="2108850"/>
                </a:cubicBezTo>
                <a:lnTo>
                  <a:pt x="5984238" y="2107975"/>
                </a:lnTo>
                <a:lnTo>
                  <a:pt x="5986861" y="2108850"/>
                </a:lnTo>
                <a:lnTo>
                  <a:pt x="5998560" y="2105158"/>
                </a:lnTo>
                <a:lnTo>
                  <a:pt x="5997732" y="2106132"/>
                </a:lnTo>
                <a:cubicBezTo>
                  <a:pt x="6016755" y="2119720"/>
                  <a:pt x="6041213" y="2127873"/>
                  <a:pt x="6068389" y="2125155"/>
                </a:cubicBezTo>
                <a:cubicBezTo>
                  <a:pt x="6070427" y="2123797"/>
                  <a:pt x="6071107" y="2122098"/>
                  <a:pt x="6071149" y="2120272"/>
                </a:cubicBezTo>
                <a:lnTo>
                  <a:pt x="6070097" y="2114673"/>
                </a:lnTo>
                <a:lnTo>
                  <a:pt x="6076542" y="2114285"/>
                </a:lnTo>
                <a:lnTo>
                  <a:pt x="6069616" y="2110235"/>
                </a:lnTo>
                <a:lnTo>
                  <a:pt x="6069536" y="2109486"/>
                </a:lnTo>
                <a:cubicBezTo>
                  <a:pt x="6069918" y="2108001"/>
                  <a:pt x="6071107" y="2106811"/>
                  <a:pt x="6073824" y="2106132"/>
                </a:cubicBezTo>
                <a:cubicBezTo>
                  <a:pt x="6070427" y="2104773"/>
                  <a:pt x="6067709" y="2104773"/>
                  <a:pt x="6065374" y="2105580"/>
                </a:cubicBezTo>
                <a:lnTo>
                  <a:pt x="6063676" y="2106763"/>
                </a:lnTo>
                <a:lnTo>
                  <a:pt x="6054461" y="2101376"/>
                </a:lnTo>
                <a:lnTo>
                  <a:pt x="6050707" y="2100200"/>
                </a:lnTo>
                <a:lnTo>
                  <a:pt x="6019132" y="2088807"/>
                </a:lnTo>
                <a:cubicBezTo>
                  <a:pt x="6007243" y="2086429"/>
                  <a:pt x="5995014" y="2084391"/>
                  <a:pt x="5984144" y="2078956"/>
                </a:cubicBezTo>
                <a:cubicBezTo>
                  <a:pt x="5989579" y="2070804"/>
                  <a:pt x="6000449" y="2078956"/>
                  <a:pt x="6014037" y="2068085"/>
                </a:cubicBezTo>
                <a:cubicBezTo>
                  <a:pt x="6016755" y="2076238"/>
                  <a:pt x="6024908" y="2073521"/>
                  <a:pt x="6027625" y="2084391"/>
                </a:cubicBezTo>
                <a:cubicBezTo>
                  <a:pt x="6043931" y="2059932"/>
                  <a:pt x="6054801" y="2095262"/>
                  <a:pt x="6071107" y="2097980"/>
                </a:cubicBezTo>
                <a:cubicBezTo>
                  <a:pt x="6092847" y="2087109"/>
                  <a:pt x="6092847" y="2068085"/>
                  <a:pt x="6111870" y="2057216"/>
                </a:cubicBezTo>
                <a:close/>
                <a:moveTo>
                  <a:pt x="5952551" y="2055176"/>
                </a:moveTo>
                <a:cubicBezTo>
                  <a:pt x="5957647" y="2053818"/>
                  <a:pt x="5962403" y="2053138"/>
                  <a:pt x="5965121" y="2057216"/>
                </a:cubicBezTo>
                <a:cubicBezTo>
                  <a:pt x="5966479" y="2061292"/>
                  <a:pt x="5964441" y="2064009"/>
                  <a:pt x="5961724" y="2066726"/>
                </a:cubicBezTo>
                <a:lnTo>
                  <a:pt x="5958178" y="2071240"/>
                </a:lnTo>
                <a:lnTo>
                  <a:pt x="5954930" y="2059593"/>
                </a:lnTo>
                <a:lnTo>
                  <a:pt x="5952055" y="2055246"/>
                </a:lnTo>
                <a:close/>
                <a:moveTo>
                  <a:pt x="5948680" y="2050143"/>
                </a:moveTo>
                <a:lnTo>
                  <a:pt x="5952055" y="2055246"/>
                </a:lnTo>
                <a:lnTo>
                  <a:pt x="5937945" y="2057216"/>
                </a:lnTo>
                <a:cubicBezTo>
                  <a:pt x="5939304" y="2053138"/>
                  <a:pt x="5941512" y="2051100"/>
                  <a:pt x="5944144" y="2050208"/>
                </a:cubicBezTo>
                <a:close/>
                <a:moveTo>
                  <a:pt x="5614211" y="2045112"/>
                </a:moveTo>
                <a:cubicBezTo>
                  <a:pt x="5612343" y="2044136"/>
                  <a:pt x="5609795" y="2044306"/>
                  <a:pt x="5606398" y="2046344"/>
                </a:cubicBezTo>
                <a:cubicBezTo>
                  <a:pt x="5622703" y="2092544"/>
                  <a:pt x="5655315" y="2163202"/>
                  <a:pt x="5706949" y="2127873"/>
                </a:cubicBezTo>
                <a:cubicBezTo>
                  <a:pt x="5709667" y="2133307"/>
                  <a:pt x="5698796" y="2136025"/>
                  <a:pt x="5701514" y="2141460"/>
                </a:cubicBezTo>
                <a:cubicBezTo>
                  <a:pt x="5736843" y="2138743"/>
                  <a:pt x="5753148" y="2174071"/>
                  <a:pt x="5791195" y="2168636"/>
                </a:cubicBezTo>
                <a:cubicBezTo>
                  <a:pt x="5755866" y="2155048"/>
                  <a:pt x="5747713" y="2114285"/>
                  <a:pt x="5712384" y="2100697"/>
                </a:cubicBezTo>
                <a:cubicBezTo>
                  <a:pt x="5709667" y="2089827"/>
                  <a:pt x="5712384" y="2084391"/>
                  <a:pt x="5720537" y="2078956"/>
                </a:cubicBezTo>
                <a:cubicBezTo>
                  <a:pt x="5736843" y="2081674"/>
                  <a:pt x="5734125" y="2114285"/>
                  <a:pt x="5753148" y="2106132"/>
                </a:cubicBezTo>
                <a:cubicBezTo>
                  <a:pt x="5739560" y="2070804"/>
                  <a:pt x="5712384" y="2070804"/>
                  <a:pt x="5685208" y="2076238"/>
                </a:cubicBezTo>
                <a:cubicBezTo>
                  <a:pt x="5677055" y="2089827"/>
                  <a:pt x="5704231" y="2092544"/>
                  <a:pt x="5698796" y="2100697"/>
                </a:cubicBezTo>
                <a:cubicBezTo>
                  <a:pt x="5677055" y="2103415"/>
                  <a:pt x="5655315" y="2087109"/>
                  <a:pt x="5655315" y="2070804"/>
                </a:cubicBezTo>
                <a:cubicBezTo>
                  <a:pt x="5630856" y="2081674"/>
                  <a:pt x="5636291" y="2062650"/>
                  <a:pt x="5617268" y="2065368"/>
                </a:cubicBezTo>
                <a:cubicBezTo>
                  <a:pt x="5619307" y="2061291"/>
                  <a:pt x="5619816" y="2048042"/>
                  <a:pt x="5614211" y="2045112"/>
                </a:cubicBezTo>
                <a:close/>
                <a:moveTo>
                  <a:pt x="5926419" y="2029859"/>
                </a:moveTo>
                <a:lnTo>
                  <a:pt x="5929792" y="2038191"/>
                </a:lnTo>
                <a:lnTo>
                  <a:pt x="5942340" y="2042896"/>
                </a:lnTo>
                <a:lnTo>
                  <a:pt x="5939643" y="2044306"/>
                </a:lnTo>
                <a:cubicBezTo>
                  <a:pt x="5929112" y="2047024"/>
                  <a:pt x="5917563" y="2044985"/>
                  <a:pt x="5913486" y="2035474"/>
                </a:cubicBezTo>
                <a:cubicBezTo>
                  <a:pt x="5914845" y="2032756"/>
                  <a:pt x="5917053" y="2031398"/>
                  <a:pt x="5919601" y="2030676"/>
                </a:cubicBezTo>
                <a:close/>
                <a:moveTo>
                  <a:pt x="5024833" y="2027321"/>
                </a:moveTo>
                <a:lnTo>
                  <a:pt x="5030268" y="2038191"/>
                </a:lnTo>
                <a:cubicBezTo>
                  <a:pt x="5030268" y="2032756"/>
                  <a:pt x="5027550" y="2030039"/>
                  <a:pt x="5027550" y="2027321"/>
                </a:cubicBezTo>
                <a:close/>
                <a:moveTo>
                  <a:pt x="5913886" y="2024824"/>
                </a:moveTo>
                <a:lnTo>
                  <a:pt x="5916204" y="2030039"/>
                </a:lnTo>
                <a:cubicBezTo>
                  <a:pt x="5915524" y="2031398"/>
                  <a:pt x="5914505" y="2030718"/>
                  <a:pt x="5913274" y="2028808"/>
                </a:cubicBezTo>
                <a:lnTo>
                  <a:pt x="5912268" y="2026744"/>
                </a:lnTo>
                <a:close/>
                <a:moveTo>
                  <a:pt x="5959685" y="2024604"/>
                </a:moveTo>
                <a:cubicBezTo>
                  <a:pt x="5973273" y="2027321"/>
                  <a:pt x="5956968" y="2049062"/>
                  <a:pt x="5967838" y="2049062"/>
                </a:cubicBezTo>
                <a:cubicBezTo>
                  <a:pt x="5965120" y="2053138"/>
                  <a:pt x="5959006" y="2051100"/>
                  <a:pt x="5952892" y="2050081"/>
                </a:cubicBezTo>
                <a:lnTo>
                  <a:pt x="5948680" y="2050143"/>
                </a:lnTo>
                <a:lnTo>
                  <a:pt x="5944399" y="2043670"/>
                </a:lnTo>
                <a:lnTo>
                  <a:pt x="5942340" y="2042896"/>
                </a:lnTo>
                <a:lnTo>
                  <a:pt x="5953613" y="2037003"/>
                </a:lnTo>
                <a:cubicBezTo>
                  <a:pt x="5957307" y="2033606"/>
                  <a:pt x="5959685" y="2029360"/>
                  <a:pt x="5959685" y="2024604"/>
                </a:cubicBezTo>
                <a:close/>
                <a:moveTo>
                  <a:pt x="5530305" y="2019508"/>
                </a:moveTo>
                <a:cubicBezTo>
                  <a:pt x="5524191" y="2019847"/>
                  <a:pt x="5516717" y="2023244"/>
                  <a:pt x="5508565" y="2027321"/>
                </a:cubicBezTo>
                <a:cubicBezTo>
                  <a:pt x="5516717" y="2038191"/>
                  <a:pt x="5516717" y="2040909"/>
                  <a:pt x="5519435" y="2057216"/>
                </a:cubicBezTo>
                <a:cubicBezTo>
                  <a:pt x="5524870" y="2054497"/>
                  <a:pt x="5530305" y="2051779"/>
                  <a:pt x="5535741" y="2049062"/>
                </a:cubicBezTo>
                <a:cubicBezTo>
                  <a:pt x="5541176" y="2040909"/>
                  <a:pt x="5530305" y="2046344"/>
                  <a:pt x="5527588" y="2038191"/>
                </a:cubicBezTo>
                <a:cubicBezTo>
                  <a:pt x="5533023" y="2032756"/>
                  <a:pt x="5535741" y="2027321"/>
                  <a:pt x="5543893" y="2030039"/>
                </a:cubicBezTo>
                <a:cubicBezTo>
                  <a:pt x="5541176" y="2021886"/>
                  <a:pt x="5536420" y="2019168"/>
                  <a:pt x="5530305" y="2019508"/>
                </a:cubicBezTo>
                <a:close/>
                <a:moveTo>
                  <a:pt x="5927457" y="2017937"/>
                </a:moveTo>
                <a:cubicBezTo>
                  <a:pt x="5930981" y="2017980"/>
                  <a:pt x="5934548" y="2019168"/>
                  <a:pt x="5937945" y="2021886"/>
                </a:cubicBezTo>
                <a:cubicBezTo>
                  <a:pt x="5937945" y="2028680"/>
                  <a:pt x="5933189" y="2029359"/>
                  <a:pt x="5927754" y="2029699"/>
                </a:cubicBezTo>
                <a:lnTo>
                  <a:pt x="5926419" y="2029859"/>
                </a:lnTo>
                <a:lnTo>
                  <a:pt x="5924017" y="2023924"/>
                </a:lnTo>
                <a:lnTo>
                  <a:pt x="5920872" y="2019822"/>
                </a:lnTo>
                <a:close/>
                <a:moveTo>
                  <a:pt x="5916204" y="2013733"/>
                </a:moveTo>
                <a:lnTo>
                  <a:pt x="5920872" y="2019822"/>
                </a:lnTo>
                <a:lnTo>
                  <a:pt x="5917223" y="2020867"/>
                </a:lnTo>
                <a:lnTo>
                  <a:pt x="5913886" y="2024824"/>
                </a:lnTo>
                <a:lnTo>
                  <a:pt x="5912127" y="2020867"/>
                </a:lnTo>
                <a:cubicBezTo>
                  <a:pt x="5911448" y="2017810"/>
                  <a:pt x="5912127" y="2015092"/>
                  <a:pt x="5916204" y="2013733"/>
                </a:cubicBezTo>
                <a:close/>
                <a:moveTo>
                  <a:pt x="5334639" y="2011016"/>
                </a:moveTo>
                <a:cubicBezTo>
                  <a:pt x="5340074" y="2027321"/>
                  <a:pt x="5353662" y="2016451"/>
                  <a:pt x="5364532" y="2019168"/>
                </a:cubicBezTo>
                <a:cubicBezTo>
                  <a:pt x="5376761" y="2021886"/>
                  <a:pt x="5397823" y="2029359"/>
                  <a:pt x="5416167" y="2036493"/>
                </a:cubicBezTo>
                <a:lnTo>
                  <a:pt x="5429537" y="2041950"/>
                </a:lnTo>
                <a:lnTo>
                  <a:pt x="5432472" y="2043627"/>
                </a:lnTo>
                <a:cubicBezTo>
                  <a:pt x="5406655" y="2042268"/>
                  <a:pt x="5383555" y="2032756"/>
                  <a:pt x="5358757" y="2025622"/>
                </a:cubicBezTo>
                <a:lnTo>
                  <a:pt x="5323565" y="2018768"/>
                </a:lnTo>
                <a:close/>
                <a:moveTo>
                  <a:pt x="5432472" y="2008298"/>
                </a:moveTo>
                <a:cubicBezTo>
                  <a:pt x="5429755" y="2013733"/>
                  <a:pt x="5437907" y="2027321"/>
                  <a:pt x="5440625" y="2035474"/>
                </a:cubicBezTo>
                <a:cubicBezTo>
                  <a:pt x="5448778" y="2027321"/>
                  <a:pt x="5454213" y="2016451"/>
                  <a:pt x="5459648" y="2016451"/>
                </a:cubicBezTo>
                <a:cubicBezTo>
                  <a:pt x="5446060" y="2021886"/>
                  <a:pt x="5443342" y="2005580"/>
                  <a:pt x="5432472" y="2008298"/>
                </a:cubicBezTo>
                <a:close/>
                <a:moveTo>
                  <a:pt x="5696079" y="2005580"/>
                </a:moveTo>
                <a:cubicBezTo>
                  <a:pt x="5682491" y="2019168"/>
                  <a:pt x="5668903" y="2011016"/>
                  <a:pt x="5649879" y="2021886"/>
                </a:cubicBezTo>
                <a:cubicBezTo>
                  <a:pt x="5660750" y="2040909"/>
                  <a:pt x="5682491" y="2030039"/>
                  <a:pt x="5696079" y="2038191"/>
                </a:cubicBezTo>
                <a:cubicBezTo>
                  <a:pt x="5698796" y="2051779"/>
                  <a:pt x="5709667" y="2049062"/>
                  <a:pt x="5717819" y="2057216"/>
                </a:cubicBezTo>
                <a:cubicBezTo>
                  <a:pt x="5728690" y="2054497"/>
                  <a:pt x="5734125" y="2051779"/>
                  <a:pt x="5739560" y="2046344"/>
                </a:cubicBezTo>
                <a:cubicBezTo>
                  <a:pt x="5734125" y="2013733"/>
                  <a:pt x="5715102" y="2011016"/>
                  <a:pt x="5696079" y="2005580"/>
                </a:cubicBezTo>
                <a:close/>
                <a:moveTo>
                  <a:pt x="2296367" y="2005580"/>
                </a:moveTo>
                <a:lnTo>
                  <a:pt x="2296367" y="2027321"/>
                </a:lnTo>
                <a:lnTo>
                  <a:pt x="2307237" y="2021886"/>
                </a:lnTo>
                <a:cubicBezTo>
                  <a:pt x="2309955" y="2016451"/>
                  <a:pt x="2307237" y="2013733"/>
                  <a:pt x="2307237" y="2013733"/>
                </a:cubicBezTo>
                <a:close/>
                <a:moveTo>
                  <a:pt x="2271909" y="2002863"/>
                </a:moveTo>
                <a:lnTo>
                  <a:pt x="2263756" y="2011016"/>
                </a:lnTo>
                <a:cubicBezTo>
                  <a:pt x="2263756" y="2013733"/>
                  <a:pt x="2266474" y="2019168"/>
                  <a:pt x="2266474" y="2021886"/>
                </a:cubicBezTo>
                <a:lnTo>
                  <a:pt x="2274626" y="2027321"/>
                </a:lnTo>
                <a:close/>
                <a:moveTo>
                  <a:pt x="5505847" y="2000145"/>
                </a:moveTo>
                <a:cubicBezTo>
                  <a:pt x="5500412" y="2002863"/>
                  <a:pt x="5505847" y="2008298"/>
                  <a:pt x="5500412" y="2011016"/>
                </a:cubicBezTo>
                <a:cubicBezTo>
                  <a:pt x="5492259" y="2008298"/>
                  <a:pt x="5489542" y="2002863"/>
                  <a:pt x="5478671" y="2008298"/>
                </a:cubicBezTo>
                <a:cubicBezTo>
                  <a:pt x="5470518" y="2019168"/>
                  <a:pt x="5497694" y="2011016"/>
                  <a:pt x="5492259" y="2019168"/>
                </a:cubicBezTo>
                <a:cubicBezTo>
                  <a:pt x="5484106" y="2021886"/>
                  <a:pt x="5478671" y="2016451"/>
                  <a:pt x="5470518" y="2021886"/>
                </a:cubicBezTo>
                <a:cubicBezTo>
                  <a:pt x="5470518" y="2024604"/>
                  <a:pt x="5473236" y="2030039"/>
                  <a:pt x="5475954" y="2035474"/>
                </a:cubicBezTo>
                <a:cubicBezTo>
                  <a:pt x="5497694" y="2030039"/>
                  <a:pt x="5500412" y="2016451"/>
                  <a:pt x="5527588" y="2011016"/>
                </a:cubicBezTo>
                <a:cubicBezTo>
                  <a:pt x="5522153" y="2005580"/>
                  <a:pt x="5516717" y="1994710"/>
                  <a:pt x="5505847" y="2000145"/>
                </a:cubicBezTo>
                <a:close/>
                <a:moveTo>
                  <a:pt x="5884425" y="1997315"/>
                </a:moveTo>
                <a:lnTo>
                  <a:pt x="5899898" y="2000145"/>
                </a:lnTo>
                <a:cubicBezTo>
                  <a:pt x="5902616" y="2004222"/>
                  <a:pt x="5906013" y="2013054"/>
                  <a:pt x="5909070" y="2020187"/>
                </a:cubicBezTo>
                <a:lnTo>
                  <a:pt x="5912268" y="2026744"/>
                </a:lnTo>
                <a:lnTo>
                  <a:pt x="5902616" y="2038191"/>
                </a:lnTo>
                <a:cubicBezTo>
                  <a:pt x="5899898" y="2030039"/>
                  <a:pt x="5894463" y="2021886"/>
                  <a:pt x="5891746" y="2013733"/>
                </a:cubicBezTo>
                <a:cubicBezTo>
                  <a:pt x="5897181" y="2008298"/>
                  <a:pt x="5905334" y="2016451"/>
                  <a:pt x="5902616" y="2008298"/>
                </a:cubicBezTo>
                <a:close/>
                <a:moveTo>
                  <a:pt x="5787458" y="1991653"/>
                </a:moveTo>
                <a:cubicBezTo>
                  <a:pt x="5777607" y="1991313"/>
                  <a:pt x="5768095" y="1996068"/>
                  <a:pt x="5766736" y="2005580"/>
                </a:cubicBezTo>
                <a:cubicBezTo>
                  <a:pt x="5788477" y="1994710"/>
                  <a:pt x="5791195" y="2019168"/>
                  <a:pt x="5810218" y="2008298"/>
                </a:cubicBezTo>
                <a:cubicBezTo>
                  <a:pt x="5807500" y="1997427"/>
                  <a:pt x="5797309" y="1991992"/>
                  <a:pt x="5787458" y="1991653"/>
                </a:cubicBezTo>
                <a:close/>
                <a:moveTo>
                  <a:pt x="5623510" y="1981971"/>
                </a:moveTo>
                <a:cubicBezTo>
                  <a:pt x="5620325" y="1981462"/>
                  <a:pt x="5616589" y="1981802"/>
                  <a:pt x="5611833" y="1983840"/>
                </a:cubicBezTo>
                <a:cubicBezTo>
                  <a:pt x="5622703" y="1994710"/>
                  <a:pt x="5609115" y="2008298"/>
                  <a:pt x="5617268" y="2011016"/>
                </a:cubicBezTo>
                <a:cubicBezTo>
                  <a:pt x="5628139" y="2000145"/>
                  <a:pt x="5641727" y="1989275"/>
                  <a:pt x="5652597" y="2000145"/>
                </a:cubicBezTo>
                <a:cubicBezTo>
                  <a:pt x="5649879" y="1994710"/>
                  <a:pt x="5655315" y="1991992"/>
                  <a:pt x="5649879" y="1986557"/>
                </a:cubicBezTo>
                <a:cubicBezTo>
                  <a:pt x="5637650" y="1992672"/>
                  <a:pt x="5633064" y="1983500"/>
                  <a:pt x="5623510" y="1981971"/>
                </a:cubicBezTo>
                <a:close/>
                <a:moveTo>
                  <a:pt x="5472217" y="1975348"/>
                </a:moveTo>
                <a:cubicBezTo>
                  <a:pt x="5468480" y="1972970"/>
                  <a:pt x="5463724" y="1972970"/>
                  <a:pt x="5456930" y="1975687"/>
                </a:cubicBezTo>
                <a:cubicBezTo>
                  <a:pt x="5462366" y="1983840"/>
                  <a:pt x="5462366" y="1994710"/>
                  <a:pt x="5470518" y="2000145"/>
                </a:cubicBezTo>
                <a:cubicBezTo>
                  <a:pt x="5475954" y="1997428"/>
                  <a:pt x="5475954" y="1991992"/>
                  <a:pt x="5481389" y="1989275"/>
                </a:cubicBezTo>
                <a:cubicBezTo>
                  <a:pt x="5478672" y="1982481"/>
                  <a:pt x="5475954" y="1977725"/>
                  <a:pt x="5472217" y="1975348"/>
                </a:cubicBezTo>
                <a:close/>
                <a:moveTo>
                  <a:pt x="883218" y="1967534"/>
                </a:moveTo>
                <a:cubicBezTo>
                  <a:pt x="869630" y="1967534"/>
                  <a:pt x="869630" y="1975687"/>
                  <a:pt x="861477" y="1975687"/>
                </a:cubicBezTo>
                <a:cubicBezTo>
                  <a:pt x="864195" y="1986557"/>
                  <a:pt x="872347" y="2005580"/>
                  <a:pt x="861477" y="2008298"/>
                </a:cubicBezTo>
                <a:cubicBezTo>
                  <a:pt x="847889" y="2002863"/>
                  <a:pt x="837019" y="2011016"/>
                  <a:pt x="831584" y="2011016"/>
                </a:cubicBezTo>
                <a:cubicBezTo>
                  <a:pt x="826148" y="1994710"/>
                  <a:pt x="826148" y="1972969"/>
                  <a:pt x="812560" y="1972969"/>
                </a:cubicBezTo>
                <a:cubicBezTo>
                  <a:pt x="826148" y="2013733"/>
                  <a:pt x="834301" y="2087109"/>
                  <a:pt x="845172" y="2117003"/>
                </a:cubicBezTo>
                <a:cubicBezTo>
                  <a:pt x="812560" y="2111567"/>
                  <a:pt x="809843" y="2155048"/>
                  <a:pt x="796255" y="2174071"/>
                </a:cubicBezTo>
                <a:cubicBezTo>
                  <a:pt x="804408" y="2176789"/>
                  <a:pt x="817996" y="2176789"/>
                  <a:pt x="817996" y="2193094"/>
                </a:cubicBezTo>
                <a:cubicBezTo>
                  <a:pt x="801690" y="2198531"/>
                  <a:pt x="782667" y="2203965"/>
                  <a:pt x="785385" y="2217554"/>
                </a:cubicBezTo>
                <a:cubicBezTo>
                  <a:pt x="817996" y="2220270"/>
                  <a:pt x="869630" y="2280058"/>
                  <a:pt x="891371" y="2225705"/>
                </a:cubicBezTo>
                <a:cubicBezTo>
                  <a:pt x="864195" y="2228423"/>
                  <a:pt x="853324" y="2206683"/>
                  <a:pt x="834301" y="2198531"/>
                </a:cubicBezTo>
                <a:cubicBezTo>
                  <a:pt x="839736" y="2190378"/>
                  <a:pt x="826148" y="2163202"/>
                  <a:pt x="837019" y="2157767"/>
                </a:cubicBezTo>
                <a:cubicBezTo>
                  <a:pt x="845172" y="2155048"/>
                  <a:pt x="856042" y="2155048"/>
                  <a:pt x="864195" y="2152332"/>
                </a:cubicBezTo>
                <a:cubicBezTo>
                  <a:pt x="880500" y="2168636"/>
                  <a:pt x="888653" y="2217554"/>
                  <a:pt x="907676" y="2209400"/>
                </a:cubicBezTo>
                <a:cubicBezTo>
                  <a:pt x="899523" y="2198531"/>
                  <a:pt x="902241" y="2187659"/>
                  <a:pt x="904959" y="2179506"/>
                </a:cubicBezTo>
                <a:cubicBezTo>
                  <a:pt x="885935" y="2165919"/>
                  <a:pt x="866912" y="2155048"/>
                  <a:pt x="858760" y="2133307"/>
                </a:cubicBezTo>
                <a:cubicBezTo>
                  <a:pt x="858760" y="2133307"/>
                  <a:pt x="858760" y="2130590"/>
                  <a:pt x="858760" y="2130590"/>
                </a:cubicBezTo>
                <a:cubicBezTo>
                  <a:pt x="869630" y="2122438"/>
                  <a:pt x="880500" y="2122438"/>
                  <a:pt x="894088" y="2125155"/>
                </a:cubicBezTo>
                <a:cubicBezTo>
                  <a:pt x="904959" y="2089827"/>
                  <a:pt x="907676" y="2051779"/>
                  <a:pt x="913111" y="2013733"/>
                </a:cubicBezTo>
                <a:cubicBezTo>
                  <a:pt x="891371" y="2016451"/>
                  <a:pt x="869630" y="1989275"/>
                  <a:pt x="883218" y="1967534"/>
                </a:cubicBezTo>
                <a:close/>
                <a:moveTo>
                  <a:pt x="5546611" y="1961887"/>
                </a:moveTo>
                <a:cubicBezTo>
                  <a:pt x="5543894" y="1960911"/>
                  <a:pt x="5540497" y="1961420"/>
                  <a:pt x="5535741" y="1964817"/>
                </a:cubicBezTo>
                <a:cubicBezTo>
                  <a:pt x="5530305" y="1986557"/>
                  <a:pt x="5571069" y="1994710"/>
                  <a:pt x="5571069" y="1972969"/>
                </a:cubicBezTo>
                <a:cubicBezTo>
                  <a:pt x="5556802" y="1981122"/>
                  <a:pt x="5554764" y="1964817"/>
                  <a:pt x="5546611" y="1961887"/>
                </a:cubicBezTo>
                <a:close/>
                <a:moveTo>
                  <a:pt x="5634240" y="1937503"/>
                </a:moveTo>
                <a:lnTo>
                  <a:pt x="5633774" y="1938271"/>
                </a:lnTo>
                <a:lnTo>
                  <a:pt x="5633574" y="1937641"/>
                </a:lnTo>
                <a:close/>
                <a:moveTo>
                  <a:pt x="5570899" y="1930338"/>
                </a:moveTo>
                <a:cubicBezTo>
                  <a:pt x="5574636" y="1930338"/>
                  <a:pt x="5578543" y="1931527"/>
                  <a:pt x="5582619" y="1932885"/>
                </a:cubicBezTo>
                <a:lnTo>
                  <a:pt x="5592559" y="1935668"/>
                </a:lnTo>
                <a:lnTo>
                  <a:pt x="5585506" y="1938575"/>
                </a:lnTo>
                <a:cubicBezTo>
                  <a:pt x="5581260" y="1939509"/>
                  <a:pt x="5577863" y="1939339"/>
                  <a:pt x="5575146" y="1938320"/>
                </a:cubicBezTo>
                <a:lnTo>
                  <a:pt x="5570063" y="1930696"/>
                </a:lnTo>
                <a:close/>
                <a:moveTo>
                  <a:pt x="5651520" y="1914414"/>
                </a:moveTo>
                <a:lnTo>
                  <a:pt x="5655315" y="1918617"/>
                </a:lnTo>
                <a:lnTo>
                  <a:pt x="5648691" y="1919090"/>
                </a:lnTo>
                <a:lnTo>
                  <a:pt x="5647162" y="1915900"/>
                </a:lnTo>
                <a:close/>
                <a:moveTo>
                  <a:pt x="5667211" y="1913045"/>
                </a:moveTo>
                <a:lnTo>
                  <a:pt x="5670736" y="1913753"/>
                </a:lnTo>
                <a:lnTo>
                  <a:pt x="5668903" y="1915900"/>
                </a:lnTo>
                <a:close/>
                <a:moveTo>
                  <a:pt x="5734125" y="1905029"/>
                </a:moveTo>
                <a:cubicBezTo>
                  <a:pt x="5734125" y="1910465"/>
                  <a:pt x="5747713" y="1913182"/>
                  <a:pt x="5739560" y="1918617"/>
                </a:cubicBezTo>
                <a:cubicBezTo>
                  <a:pt x="5731407" y="1913182"/>
                  <a:pt x="5723255" y="1913182"/>
                  <a:pt x="5715102" y="1915900"/>
                </a:cubicBezTo>
                <a:cubicBezTo>
                  <a:pt x="5704231" y="1934923"/>
                  <a:pt x="5701514" y="1956664"/>
                  <a:pt x="5682491" y="1972969"/>
                </a:cubicBezTo>
                <a:cubicBezTo>
                  <a:pt x="5684529" y="1977725"/>
                  <a:pt x="5688435" y="1979933"/>
                  <a:pt x="5693106" y="1980952"/>
                </a:cubicBezTo>
                <a:lnTo>
                  <a:pt x="5696082" y="1981118"/>
                </a:lnTo>
                <a:lnTo>
                  <a:pt x="5696079" y="1981122"/>
                </a:lnTo>
                <a:lnTo>
                  <a:pt x="5696088" y="1981119"/>
                </a:lnTo>
                <a:lnTo>
                  <a:pt x="5708308" y="1981801"/>
                </a:lnTo>
                <a:lnTo>
                  <a:pt x="5720965" y="1983598"/>
                </a:lnTo>
                <a:lnTo>
                  <a:pt x="5720537" y="1983840"/>
                </a:lnTo>
                <a:lnTo>
                  <a:pt x="5721627" y="1984054"/>
                </a:lnTo>
                <a:lnTo>
                  <a:pt x="5725972" y="1994710"/>
                </a:lnTo>
                <a:cubicBezTo>
                  <a:pt x="5742278" y="1983840"/>
                  <a:pt x="5747713" y="2000145"/>
                  <a:pt x="5761301" y="1991992"/>
                </a:cubicBezTo>
                <a:cubicBezTo>
                  <a:pt x="5761301" y="1986557"/>
                  <a:pt x="5761301" y="1983840"/>
                  <a:pt x="5755866" y="1983840"/>
                </a:cubicBezTo>
                <a:cubicBezTo>
                  <a:pt x="5749072" y="1985199"/>
                  <a:pt x="5742278" y="1986557"/>
                  <a:pt x="5736163" y="1986897"/>
                </a:cubicBezTo>
                <a:lnTo>
                  <a:pt x="5721627" y="1984054"/>
                </a:lnTo>
                <a:lnTo>
                  <a:pt x="5721471" y="1983670"/>
                </a:lnTo>
                <a:lnTo>
                  <a:pt x="5720965" y="1983598"/>
                </a:lnTo>
                <a:lnTo>
                  <a:pt x="5728350" y="1979424"/>
                </a:lnTo>
                <a:cubicBezTo>
                  <a:pt x="5729369" y="1977046"/>
                  <a:pt x="5730048" y="1974328"/>
                  <a:pt x="5734125" y="1972969"/>
                </a:cubicBezTo>
                <a:cubicBezTo>
                  <a:pt x="5736843" y="1981122"/>
                  <a:pt x="5744995" y="1972969"/>
                  <a:pt x="5747713" y="1978405"/>
                </a:cubicBezTo>
                <a:cubicBezTo>
                  <a:pt x="5761301" y="1972969"/>
                  <a:pt x="5772171" y="1964817"/>
                  <a:pt x="5772171" y="1953946"/>
                </a:cubicBezTo>
                <a:cubicBezTo>
                  <a:pt x="5772171" y="1951229"/>
                  <a:pt x="5769454" y="1948511"/>
                  <a:pt x="5769454" y="1945793"/>
                </a:cubicBezTo>
                <a:cubicBezTo>
                  <a:pt x="5764019" y="1951229"/>
                  <a:pt x="5761301" y="1945793"/>
                  <a:pt x="5755866" y="1948511"/>
                </a:cubicBezTo>
                <a:cubicBezTo>
                  <a:pt x="5750431" y="1953946"/>
                  <a:pt x="5764019" y="1962099"/>
                  <a:pt x="5758583" y="1967534"/>
                </a:cubicBezTo>
                <a:cubicBezTo>
                  <a:pt x="5746354" y="1951228"/>
                  <a:pt x="5729539" y="1965497"/>
                  <a:pt x="5712724" y="1974796"/>
                </a:cubicBezTo>
                <a:lnTo>
                  <a:pt x="5696088" y="1981119"/>
                </a:lnTo>
                <a:lnTo>
                  <a:pt x="5696082" y="1981118"/>
                </a:lnTo>
                <a:lnTo>
                  <a:pt x="5710686" y="1963458"/>
                </a:lnTo>
                <a:cubicBezTo>
                  <a:pt x="5716461" y="1958023"/>
                  <a:pt x="5721896" y="1952587"/>
                  <a:pt x="5723255" y="1945793"/>
                </a:cubicBezTo>
                <a:cubicBezTo>
                  <a:pt x="5717819" y="1945793"/>
                  <a:pt x="5715102" y="1943076"/>
                  <a:pt x="5712384" y="1937641"/>
                </a:cubicBezTo>
                <a:cubicBezTo>
                  <a:pt x="5723255" y="1926770"/>
                  <a:pt x="5753148" y="1929488"/>
                  <a:pt x="5750431" y="1910465"/>
                </a:cubicBezTo>
                <a:cubicBezTo>
                  <a:pt x="5739560" y="1915900"/>
                  <a:pt x="5739560" y="1902312"/>
                  <a:pt x="5734125" y="1905029"/>
                </a:cubicBezTo>
                <a:close/>
                <a:moveTo>
                  <a:pt x="5684904" y="1898326"/>
                </a:moveTo>
                <a:lnTo>
                  <a:pt x="5680792" y="1901972"/>
                </a:lnTo>
                <a:lnTo>
                  <a:pt x="5674879" y="1908899"/>
                </a:lnTo>
                <a:lnTo>
                  <a:pt x="5671620" y="1905029"/>
                </a:lnTo>
                <a:close/>
                <a:moveTo>
                  <a:pt x="2337132" y="1896878"/>
                </a:moveTo>
                <a:cubicBezTo>
                  <a:pt x="2339850" y="1902312"/>
                  <a:pt x="2348002" y="1902312"/>
                  <a:pt x="2364308" y="1913182"/>
                </a:cubicBezTo>
                <a:lnTo>
                  <a:pt x="2358873" y="1896878"/>
                </a:lnTo>
                <a:close/>
                <a:moveTo>
                  <a:pt x="2228427" y="1896878"/>
                </a:moveTo>
                <a:cubicBezTo>
                  <a:pt x="2236580" y="1915900"/>
                  <a:pt x="2247450" y="1937641"/>
                  <a:pt x="2252886" y="1962099"/>
                </a:cubicBezTo>
                <a:cubicBezTo>
                  <a:pt x="2261038" y="1967534"/>
                  <a:pt x="2261038" y="1972969"/>
                  <a:pt x="2266474" y="1989275"/>
                </a:cubicBezTo>
                <a:cubicBezTo>
                  <a:pt x="2274626" y="1978405"/>
                  <a:pt x="2280062" y="1970252"/>
                  <a:pt x="2288214" y="1964817"/>
                </a:cubicBezTo>
                <a:cubicBezTo>
                  <a:pt x="2288214" y="1964817"/>
                  <a:pt x="2290932" y="1964817"/>
                  <a:pt x="2290932" y="1964817"/>
                </a:cubicBezTo>
                <a:cubicBezTo>
                  <a:pt x="2293650" y="1962099"/>
                  <a:pt x="2299085" y="1959381"/>
                  <a:pt x="2307237" y="1956664"/>
                </a:cubicBezTo>
                <a:lnTo>
                  <a:pt x="2290932" y="1951229"/>
                </a:lnTo>
                <a:lnTo>
                  <a:pt x="2299085" y="1934923"/>
                </a:lnTo>
                <a:lnTo>
                  <a:pt x="2274626" y="1926770"/>
                </a:lnTo>
                <a:lnTo>
                  <a:pt x="2282779" y="1905029"/>
                </a:lnTo>
                <a:cubicBezTo>
                  <a:pt x="2309955" y="1918617"/>
                  <a:pt x="2315390" y="1924053"/>
                  <a:pt x="2326262" y="1905029"/>
                </a:cubicBezTo>
                <a:lnTo>
                  <a:pt x="2301802" y="1902312"/>
                </a:lnTo>
                <a:lnTo>
                  <a:pt x="2309955" y="1896878"/>
                </a:lnTo>
                <a:close/>
                <a:moveTo>
                  <a:pt x="1312598" y="1896878"/>
                </a:moveTo>
                <a:cubicBezTo>
                  <a:pt x="1312598" y="1907747"/>
                  <a:pt x="1315315" y="1918617"/>
                  <a:pt x="1328903" y="1921335"/>
                </a:cubicBezTo>
                <a:cubicBezTo>
                  <a:pt x="1334339" y="1915900"/>
                  <a:pt x="1331621" y="1905029"/>
                  <a:pt x="1334339" y="1896878"/>
                </a:cubicBezTo>
                <a:close/>
                <a:moveTo>
                  <a:pt x="1350644" y="1894159"/>
                </a:moveTo>
                <a:cubicBezTo>
                  <a:pt x="1353362" y="1896878"/>
                  <a:pt x="1353362" y="1896878"/>
                  <a:pt x="1353362" y="1899594"/>
                </a:cubicBezTo>
                <a:lnTo>
                  <a:pt x="1348833" y="1923149"/>
                </a:lnTo>
                <a:lnTo>
                  <a:pt x="1346569" y="1929486"/>
                </a:lnTo>
                <a:lnTo>
                  <a:pt x="1337056" y="1948511"/>
                </a:lnTo>
                <a:cubicBezTo>
                  <a:pt x="1337056" y="1948511"/>
                  <a:pt x="1339774" y="1948511"/>
                  <a:pt x="1339774" y="1948511"/>
                </a:cubicBezTo>
                <a:lnTo>
                  <a:pt x="1346569" y="1929486"/>
                </a:lnTo>
                <a:lnTo>
                  <a:pt x="1348267" y="1926091"/>
                </a:lnTo>
                <a:lnTo>
                  <a:pt x="1348833" y="1923149"/>
                </a:lnTo>
                <a:lnTo>
                  <a:pt x="1353362" y="1910465"/>
                </a:lnTo>
                <a:cubicBezTo>
                  <a:pt x="1358797" y="1910465"/>
                  <a:pt x="1361515" y="1907747"/>
                  <a:pt x="1366950" y="1907747"/>
                </a:cubicBezTo>
                <a:cubicBezTo>
                  <a:pt x="1366950" y="1905029"/>
                  <a:pt x="1369667" y="1899594"/>
                  <a:pt x="1366950" y="1894159"/>
                </a:cubicBezTo>
                <a:close/>
                <a:moveTo>
                  <a:pt x="5060162" y="1888724"/>
                </a:moveTo>
                <a:cubicBezTo>
                  <a:pt x="5057444" y="1902312"/>
                  <a:pt x="5060162" y="1910465"/>
                  <a:pt x="5060162" y="1918617"/>
                </a:cubicBezTo>
                <a:cubicBezTo>
                  <a:pt x="5060162" y="1910465"/>
                  <a:pt x="5062879" y="1902312"/>
                  <a:pt x="5062879" y="1894159"/>
                </a:cubicBezTo>
                <a:cubicBezTo>
                  <a:pt x="5062879" y="1891441"/>
                  <a:pt x="5062879" y="1891441"/>
                  <a:pt x="5060162" y="1888724"/>
                </a:cubicBezTo>
                <a:close/>
                <a:moveTo>
                  <a:pt x="5647162" y="1880571"/>
                </a:moveTo>
                <a:cubicBezTo>
                  <a:pt x="5649879" y="1894159"/>
                  <a:pt x="5660750" y="1888724"/>
                  <a:pt x="5668903" y="1888724"/>
                </a:cubicBezTo>
                <a:cubicBezTo>
                  <a:pt x="5671620" y="1894159"/>
                  <a:pt x="5658032" y="1894159"/>
                  <a:pt x="5658032" y="1899594"/>
                </a:cubicBezTo>
                <a:cubicBezTo>
                  <a:pt x="5659391" y="1903671"/>
                  <a:pt x="5661429" y="1905030"/>
                  <a:pt x="5663468" y="1906728"/>
                </a:cubicBezTo>
                <a:lnTo>
                  <a:pt x="5667211" y="1913045"/>
                </a:lnTo>
                <a:lnTo>
                  <a:pt x="5659858" y="1911569"/>
                </a:lnTo>
                <a:lnTo>
                  <a:pt x="5651520" y="1914414"/>
                </a:lnTo>
                <a:lnTo>
                  <a:pt x="5649412" y="1912078"/>
                </a:lnTo>
                <a:cubicBezTo>
                  <a:pt x="5641896" y="1908766"/>
                  <a:pt x="5630177" y="1913862"/>
                  <a:pt x="5619986" y="1915900"/>
                </a:cubicBezTo>
                <a:cubicBezTo>
                  <a:pt x="5619986" y="1902312"/>
                  <a:pt x="5633574" y="1891441"/>
                  <a:pt x="5647162" y="1880571"/>
                </a:cubicBezTo>
                <a:close/>
                <a:moveTo>
                  <a:pt x="918547" y="1856113"/>
                </a:moveTo>
                <a:cubicBezTo>
                  <a:pt x="894088" y="1858830"/>
                  <a:pt x="885935" y="1899594"/>
                  <a:pt x="902241" y="1913182"/>
                </a:cubicBezTo>
                <a:cubicBezTo>
                  <a:pt x="899523" y="1894159"/>
                  <a:pt x="918547" y="1905029"/>
                  <a:pt x="929417" y="1905029"/>
                </a:cubicBezTo>
                <a:cubicBezTo>
                  <a:pt x="926699" y="1888724"/>
                  <a:pt x="923982" y="1875136"/>
                  <a:pt x="921264" y="1858830"/>
                </a:cubicBezTo>
                <a:close/>
                <a:moveTo>
                  <a:pt x="5046574" y="1845242"/>
                </a:moveTo>
                <a:cubicBezTo>
                  <a:pt x="5052009" y="1861548"/>
                  <a:pt x="5071032" y="1845242"/>
                  <a:pt x="5076467" y="1858830"/>
                </a:cubicBezTo>
                <a:cubicBezTo>
                  <a:pt x="5073750" y="1866984"/>
                  <a:pt x="5073750" y="1875136"/>
                  <a:pt x="5068314" y="1880571"/>
                </a:cubicBezTo>
                <a:cubicBezTo>
                  <a:pt x="5065597" y="1869701"/>
                  <a:pt x="5060162" y="1864265"/>
                  <a:pt x="5052009" y="1861548"/>
                </a:cubicBezTo>
                <a:lnTo>
                  <a:pt x="5046574" y="1869701"/>
                </a:lnTo>
                <a:cubicBezTo>
                  <a:pt x="5046574" y="1869701"/>
                  <a:pt x="5049291" y="1866984"/>
                  <a:pt x="5049291" y="1866984"/>
                </a:cubicBezTo>
                <a:cubicBezTo>
                  <a:pt x="5052009" y="1872419"/>
                  <a:pt x="5057444" y="1877853"/>
                  <a:pt x="5060162" y="1880571"/>
                </a:cubicBezTo>
                <a:cubicBezTo>
                  <a:pt x="5065597" y="1886006"/>
                  <a:pt x="5071032" y="1888724"/>
                  <a:pt x="5076467" y="1891441"/>
                </a:cubicBezTo>
                <a:cubicBezTo>
                  <a:pt x="5098208" y="1869701"/>
                  <a:pt x="5081902" y="1839807"/>
                  <a:pt x="5046574" y="1845242"/>
                </a:cubicBezTo>
                <a:close/>
                <a:moveTo>
                  <a:pt x="5725972" y="1842186"/>
                </a:moveTo>
                <a:lnTo>
                  <a:pt x="5726459" y="1842566"/>
                </a:lnTo>
                <a:lnTo>
                  <a:pt x="5715102" y="1850678"/>
                </a:lnTo>
                <a:lnTo>
                  <a:pt x="5711648" y="1846534"/>
                </a:lnTo>
                <a:close/>
                <a:moveTo>
                  <a:pt x="5193324" y="1780020"/>
                </a:moveTo>
                <a:cubicBezTo>
                  <a:pt x="5177018" y="1801761"/>
                  <a:pt x="5133536" y="1812632"/>
                  <a:pt x="5109078" y="1834372"/>
                </a:cubicBezTo>
                <a:cubicBezTo>
                  <a:pt x="5111796" y="1853396"/>
                  <a:pt x="5147124" y="1864265"/>
                  <a:pt x="5122666" y="1877853"/>
                </a:cubicBezTo>
                <a:cubicBezTo>
                  <a:pt x="5125384" y="1869701"/>
                  <a:pt x="5114513" y="1856113"/>
                  <a:pt x="5106361" y="1858830"/>
                </a:cubicBezTo>
                <a:cubicBezTo>
                  <a:pt x="5111796" y="1866984"/>
                  <a:pt x="5114513" y="1872419"/>
                  <a:pt x="5117231" y="1880571"/>
                </a:cubicBezTo>
                <a:cubicBezTo>
                  <a:pt x="5136254" y="1883289"/>
                  <a:pt x="5152560" y="1891441"/>
                  <a:pt x="5174300" y="1886006"/>
                </a:cubicBezTo>
                <a:cubicBezTo>
                  <a:pt x="5177018" y="1880571"/>
                  <a:pt x="5174300" y="1872419"/>
                  <a:pt x="5185171" y="1875136"/>
                </a:cubicBezTo>
                <a:cubicBezTo>
                  <a:pt x="5182453" y="1888724"/>
                  <a:pt x="5171583" y="1896878"/>
                  <a:pt x="5185171" y="1910465"/>
                </a:cubicBezTo>
                <a:cubicBezTo>
                  <a:pt x="5177018" y="1921335"/>
                  <a:pt x="5174300" y="1937641"/>
                  <a:pt x="5179736" y="1945793"/>
                </a:cubicBezTo>
                <a:cubicBezTo>
                  <a:pt x="5166148" y="1945793"/>
                  <a:pt x="5157995" y="1932205"/>
                  <a:pt x="5147124" y="1913182"/>
                </a:cubicBezTo>
                <a:cubicBezTo>
                  <a:pt x="5149842" y="1910465"/>
                  <a:pt x="5155277" y="1910465"/>
                  <a:pt x="5152560" y="1905029"/>
                </a:cubicBezTo>
                <a:cubicBezTo>
                  <a:pt x="5141689" y="1883289"/>
                  <a:pt x="5109078" y="1905029"/>
                  <a:pt x="5100925" y="1877853"/>
                </a:cubicBezTo>
                <a:cubicBezTo>
                  <a:pt x="5087337" y="1899594"/>
                  <a:pt x="5073750" y="1924053"/>
                  <a:pt x="5065597" y="1948511"/>
                </a:cubicBezTo>
                <a:lnTo>
                  <a:pt x="5073750" y="1959381"/>
                </a:lnTo>
                <a:cubicBezTo>
                  <a:pt x="5068314" y="1959381"/>
                  <a:pt x="5062879" y="1962099"/>
                  <a:pt x="5060162" y="1962099"/>
                </a:cubicBezTo>
                <a:cubicBezTo>
                  <a:pt x="5054726" y="1981122"/>
                  <a:pt x="5049291" y="2002863"/>
                  <a:pt x="5049291" y="2024604"/>
                </a:cubicBezTo>
                <a:cubicBezTo>
                  <a:pt x="5060162" y="2027321"/>
                  <a:pt x="5065597" y="2038191"/>
                  <a:pt x="5079185" y="2032756"/>
                </a:cubicBezTo>
                <a:cubicBezTo>
                  <a:pt x="5076467" y="2021886"/>
                  <a:pt x="5062879" y="2030039"/>
                  <a:pt x="5060162" y="2019168"/>
                </a:cubicBezTo>
                <a:cubicBezTo>
                  <a:pt x="5068314" y="2016451"/>
                  <a:pt x="5071032" y="2024604"/>
                  <a:pt x="5081902" y="2019168"/>
                </a:cubicBezTo>
                <a:cubicBezTo>
                  <a:pt x="5076467" y="2008298"/>
                  <a:pt x="5084620" y="1991992"/>
                  <a:pt x="5095490" y="1994710"/>
                </a:cubicBezTo>
                <a:cubicBezTo>
                  <a:pt x="5092773" y="2011016"/>
                  <a:pt x="5095490" y="2027321"/>
                  <a:pt x="5103643" y="2030039"/>
                </a:cubicBezTo>
                <a:cubicBezTo>
                  <a:pt x="5095490" y="2035474"/>
                  <a:pt x="5092773" y="2024604"/>
                  <a:pt x="5084620" y="2032756"/>
                </a:cubicBezTo>
                <a:cubicBezTo>
                  <a:pt x="5103643" y="2043627"/>
                  <a:pt x="5130819" y="2038191"/>
                  <a:pt x="5160712" y="2030039"/>
                </a:cubicBezTo>
                <a:cubicBezTo>
                  <a:pt x="5157995" y="2024604"/>
                  <a:pt x="5144407" y="2024604"/>
                  <a:pt x="5155277" y="2016451"/>
                </a:cubicBezTo>
                <a:cubicBezTo>
                  <a:pt x="5160712" y="2027321"/>
                  <a:pt x="5168865" y="2024604"/>
                  <a:pt x="5179736" y="2019168"/>
                </a:cubicBezTo>
                <a:cubicBezTo>
                  <a:pt x="5179736" y="2008298"/>
                  <a:pt x="5163430" y="2008298"/>
                  <a:pt x="5168865" y="2000145"/>
                </a:cubicBezTo>
                <a:cubicBezTo>
                  <a:pt x="5179736" y="2002863"/>
                  <a:pt x="5185171" y="2013733"/>
                  <a:pt x="5201476" y="2002863"/>
                </a:cubicBezTo>
                <a:cubicBezTo>
                  <a:pt x="5201476" y="1991992"/>
                  <a:pt x="5212347" y="1975687"/>
                  <a:pt x="5223217" y="1975687"/>
                </a:cubicBezTo>
                <a:cubicBezTo>
                  <a:pt x="5223217" y="1983840"/>
                  <a:pt x="5220500" y="1991992"/>
                  <a:pt x="5225935" y="2002863"/>
                </a:cubicBezTo>
                <a:cubicBezTo>
                  <a:pt x="5236805" y="1994710"/>
                  <a:pt x="5239523" y="1991992"/>
                  <a:pt x="5239523" y="2005580"/>
                </a:cubicBezTo>
                <a:cubicBezTo>
                  <a:pt x="5258546" y="2002863"/>
                  <a:pt x="5244958" y="1978405"/>
                  <a:pt x="5255828" y="1981122"/>
                </a:cubicBezTo>
                <a:cubicBezTo>
                  <a:pt x="5261264" y="1989275"/>
                  <a:pt x="5253111" y="1994710"/>
                  <a:pt x="5258546" y="2002863"/>
                </a:cubicBezTo>
                <a:cubicBezTo>
                  <a:pt x="5269416" y="2005580"/>
                  <a:pt x="5277569" y="1994710"/>
                  <a:pt x="5285722" y="1989275"/>
                </a:cubicBezTo>
                <a:cubicBezTo>
                  <a:pt x="5293875" y="1989275"/>
                  <a:pt x="5296592" y="1994710"/>
                  <a:pt x="5304745" y="1994710"/>
                </a:cubicBezTo>
                <a:cubicBezTo>
                  <a:pt x="5315616" y="1989275"/>
                  <a:pt x="5312898" y="1981122"/>
                  <a:pt x="5326486" y="1978405"/>
                </a:cubicBezTo>
                <a:cubicBezTo>
                  <a:pt x="5326486" y="1989275"/>
                  <a:pt x="5331921" y="1989275"/>
                  <a:pt x="5337356" y="1991992"/>
                </a:cubicBezTo>
                <a:cubicBezTo>
                  <a:pt x="5369968" y="1978405"/>
                  <a:pt x="5397143" y="1972969"/>
                  <a:pt x="5410731" y="1948511"/>
                </a:cubicBezTo>
                <a:cubicBezTo>
                  <a:pt x="5405296" y="1951229"/>
                  <a:pt x="5397143" y="1953946"/>
                  <a:pt x="5394426" y="1945793"/>
                </a:cubicBezTo>
                <a:cubicBezTo>
                  <a:pt x="5408014" y="1945793"/>
                  <a:pt x="5408014" y="1929488"/>
                  <a:pt x="5413449" y="1932205"/>
                </a:cubicBezTo>
                <a:cubicBezTo>
                  <a:pt x="5418884" y="1948511"/>
                  <a:pt x="5427037" y="1948511"/>
                  <a:pt x="5437907" y="1948511"/>
                </a:cubicBezTo>
                <a:cubicBezTo>
                  <a:pt x="5421602" y="1918617"/>
                  <a:pt x="5402579" y="1888724"/>
                  <a:pt x="5391708" y="1858830"/>
                </a:cubicBezTo>
                <a:cubicBezTo>
                  <a:pt x="5369968" y="1858830"/>
                  <a:pt x="5388991" y="1875136"/>
                  <a:pt x="5378120" y="1880571"/>
                </a:cubicBezTo>
                <a:cubicBezTo>
                  <a:pt x="5364532" y="1823502"/>
                  <a:pt x="5315616" y="1818067"/>
                  <a:pt x="5274852" y="1807196"/>
                </a:cubicBezTo>
                <a:cubicBezTo>
                  <a:pt x="5269416" y="1809914"/>
                  <a:pt x="5277569" y="1818067"/>
                  <a:pt x="5269416" y="1820785"/>
                </a:cubicBezTo>
                <a:cubicBezTo>
                  <a:pt x="5253111" y="1788173"/>
                  <a:pt x="5220500" y="1788173"/>
                  <a:pt x="5193324" y="1780020"/>
                </a:cubicBezTo>
                <a:close/>
                <a:moveTo>
                  <a:pt x="5174300" y="1780020"/>
                </a:moveTo>
                <a:cubicBezTo>
                  <a:pt x="5152560" y="1788173"/>
                  <a:pt x="5125384" y="1788173"/>
                  <a:pt x="5122666" y="1809914"/>
                </a:cubicBezTo>
                <a:cubicBezTo>
                  <a:pt x="5138972" y="1804479"/>
                  <a:pt x="5168865" y="1793609"/>
                  <a:pt x="5174300" y="1780020"/>
                </a:cubicBezTo>
                <a:close/>
                <a:moveTo>
                  <a:pt x="5783641" y="1779446"/>
                </a:moveTo>
                <a:lnTo>
                  <a:pt x="5785959" y="1787730"/>
                </a:lnTo>
                <a:lnTo>
                  <a:pt x="5777607" y="1780020"/>
                </a:lnTo>
                <a:close/>
                <a:moveTo>
                  <a:pt x="5744443" y="1766602"/>
                </a:moveTo>
                <a:cubicBezTo>
                  <a:pt x="5748987" y="1767282"/>
                  <a:pt x="5752978" y="1769150"/>
                  <a:pt x="5756885" y="1771189"/>
                </a:cubicBezTo>
                <a:lnTo>
                  <a:pt x="5762878" y="1774004"/>
                </a:lnTo>
                <a:lnTo>
                  <a:pt x="5730680" y="1777111"/>
                </a:lnTo>
                <a:lnTo>
                  <a:pt x="5728690" y="1769150"/>
                </a:lnTo>
                <a:cubicBezTo>
                  <a:pt x="5734805" y="1766433"/>
                  <a:pt x="5739900" y="1765923"/>
                  <a:pt x="5744443" y="1766602"/>
                </a:cubicBezTo>
                <a:close/>
                <a:moveTo>
                  <a:pt x="5810218" y="1763715"/>
                </a:moveTo>
                <a:cubicBezTo>
                  <a:pt x="5808859" y="1771867"/>
                  <a:pt x="5804782" y="1775944"/>
                  <a:pt x="5799008" y="1777983"/>
                </a:cubicBezTo>
                <a:lnTo>
                  <a:pt x="5783641" y="1779446"/>
                </a:lnTo>
                <a:lnTo>
                  <a:pt x="5783042" y="1777303"/>
                </a:lnTo>
                <a:cubicBezTo>
                  <a:pt x="5777607" y="1778662"/>
                  <a:pt x="5773021" y="1778153"/>
                  <a:pt x="5768817" y="1776794"/>
                </a:cubicBezTo>
                <a:lnTo>
                  <a:pt x="5762878" y="1774004"/>
                </a:lnTo>
                <a:lnTo>
                  <a:pt x="5767416" y="1773566"/>
                </a:lnTo>
                <a:cubicBezTo>
                  <a:pt x="5780325" y="1773226"/>
                  <a:pt x="5793913" y="1771867"/>
                  <a:pt x="5810218" y="1763715"/>
                </a:cubicBezTo>
                <a:close/>
                <a:moveTo>
                  <a:pt x="5032986" y="1763715"/>
                </a:moveTo>
                <a:cubicBezTo>
                  <a:pt x="5038421" y="1771867"/>
                  <a:pt x="5062879" y="1785455"/>
                  <a:pt x="5052009" y="1799043"/>
                </a:cubicBezTo>
                <a:lnTo>
                  <a:pt x="5046788" y="1798077"/>
                </a:lnTo>
                <a:lnTo>
                  <a:pt x="5031372" y="1779171"/>
                </a:lnTo>
                <a:lnTo>
                  <a:pt x="5023594" y="1770648"/>
                </a:lnTo>
                <a:close/>
                <a:moveTo>
                  <a:pt x="4998571" y="1757494"/>
                </a:moveTo>
                <a:lnTo>
                  <a:pt x="5003092" y="1758280"/>
                </a:lnTo>
                <a:lnTo>
                  <a:pt x="5000375" y="1762060"/>
                </a:lnTo>
                <a:lnTo>
                  <a:pt x="5000375" y="1760997"/>
                </a:lnTo>
                <a:cubicBezTo>
                  <a:pt x="4997657" y="1760997"/>
                  <a:pt x="4994939" y="1760997"/>
                  <a:pt x="4992222" y="1760997"/>
                </a:cubicBezTo>
                <a:close/>
                <a:moveTo>
                  <a:pt x="5095788" y="1755059"/>
                </a:moveTo>
                <a:lnTo>
                  <a:pt x="5096415" y="1755532"/>
                </a:lnTo>
                <a:lnTo>
                  <a:pt x="5095490" y="1755562"/>
                </a:lnTo>
                <a:close/>
                <a:moveTo>
                  <a:pt x="5073750" y="1750127"/>
                </a:moveTo>
                <a:lnTo>
                  <a:pt x="5079539" y="1750250"/>
                </a:lnTo>
                <a:lnTo>
                  <a:pt x="5074932" y="1756037"/>
                </a:lnTo>
                <a:close/>
                <a:moveTo>
                  <a:pt x="5390470" y="1739381"/>
                </a:moveTo>
                <a:lnTo>
                  <a:pt x="5390010" y="1741296"/>
                </a:lnTo>
                <a:lnTo>
                  <a:pt x="5384614" y="1744677"/>
                </a:lnTo>
                <a:lnTo>
                  <a:pt x="5383556" y="1741975"/>
                </a:lnTo>
                <a:close/>
                <a:moveTo>
                  <a:pt x="5291001" y="1731559"/>
                </a:moveTo>
                <a:lnTo>
                  <a:pt x="5291837" y="1733482"/>
                </a:lnTo>
                <a:cubicBezTo>
                  <a:pt x="5293195" y="1735860"/>
                  <a:pt x="5293875" y="1737898"/>
                  <a:pt x="5291157" y="1739256"/>
                </a:cubicBezTo>
                <a:cubicBezTo>
                  <a:pt x="5283004" y="1743334"/>
                  <a:pt x="5275531" y="1746050"/>
                  <a:pt x="5269077" y="1746730"/>
                </a:cubicBezTo>
                <a:lnTo>
                  <a:pt x="5262139" y="1744664"/>
                </a:lnTo>
                <a:lnTo>
                  <a:pt x="5281306" y="1734501"/>
                </a:lnTo>
                <a:close/>
                <a:moveTo>
                  <a:pt x="5344203" y="1729868"/>
                </a:moveTo>
                <a:lnTo>
                  <a:pt x="5347761" y="1738170"/>
                </a:lnTo>
                <a:lnTo>
                  <a:pt x="5340074" y="1736540"/>
                </a:lnTo>
                <a:close/>
                <a:moveTo>
                  <a:pt x="5342792" y="1720233"/>
                </a:moveTo>
                <a:cubicBezTo>
                  <a:pt x="5346868" y="1724310"/>
                  <a:pt x="5346189" y="1727028"/>
                  <a:pt x="5344490" y="1729405"/>
                </a:cubicBezTo>
                <a:lnTo>
                  <a:pt x="5344203" y="1729868"/>
                </a:lnTo>
                <a:lnTo>
                  <a:pt x="5340087" y="1720263"/>
                </a:lnTo>
                <a:close/>
                <a:moveTo>
                  <a:pt x="5340074" y="1720233"/>
                </a:moveTo>
                <a:lnTo>
                  <a:pt x="5340087" y="1720263"/>
                </a:lnTo>
                <a:lnTo>
                  <a:pt x="5340032" y="1720264"/>
                </a:lnTo>
                <a:close/>
                <a:moveTo>
                  <a:pt x="5448778" y="1709363"/>
                </a:moveTo>
                <a:lnTo>
                  <a:pt x="5448778" y="1717517"/>
                </a:lnTo>
                <a:cubicBezTo>
                  <a:pt x="5437907" y="1717517"/>
                  <a:pt x="5424319" y="1722951"/>
                  <a:pt x="5418884" y="1714798"/>
                </a:cubicBezTo>
                <a:lnTo>
                  <a:pt x="5418892" y="1714756"/>
                </a:lnTo>
                <a:lnTo>
                  <a:pt x="5424659" y="1714798"/>
                </a:lnTo>
                <a:cubicBezTo>
                  <a:pt x="5432472" y="1715478"/>
                  <a:pt x="5440625" y="1716157"/>
                  <a:pt x="5448778" y="1709363"/>
                </a:cubicBezTo>
                <a:close/>
                <a:moveTo>
                  <a:pt x="4796555" y="1703928"/>
                </a:moveTo>
                <a:cubicBezTo>
                  <a:pt x="4793837" y="1706646"/>
                  <a:pt x="4793837" y="1709363"/>
                  <a:pt x="4791120" y="1712080"/>
                </a:cubicBezTo>
                <a:cubicBezTo>
                  <a:pt x="4793837" y="1712080"/>
                  <a:pt x="4799273" y="1712080"/>
                  <a:pt x="4799273" y="1712080"/>
                </a:cubicBezTo>
                <a:close/>
                <a:moveTo>
                  <a:pt x="5323768" y="1701211"/>
                </a:moveTo>
                <a:cubicBezTo>
                  <a:pt x="5326486" y="1712080"/>
                  <a:pt x="5318333" y="1717517"/>
                  <a:pt x="5310180" y="1725668"/>
                </a:cubicBezTo>
                <a:cubicBezTo>
                  <a:pt x="5314257" y="1733822"/>
                  <a:pt x="5325977" y="1723630"/>
                  <a:pt x="5335021" y="1720319"/>
                </a:cubicBezTo>
                <a:lnTo>
                  <a:pt x="5340032" y="1720264"/>
                </a:lnTo>
                <a:lnTo>
                  <a:pt x="5321051" y="1733822"/>
                </a:lnTo>
                <a:cubicBezTo>
                  <a:pt x="5315616" y="1729066"/>
                  <a:pt x="5309331" y="1727538"/>
                  <a:pt x="5302580" y="1728047"/>
                </a:cubicBezTo>
                <a:lnTo>
                  <a:pt x="5291001" y="1731559"/>
                </a:lnTo>
                <a:lnTo>
                  <a:pt x="5288440" y="1725668"/>
                </a:lnTo>
                <a:cubicBezTo>
                  <a:pt x="5307463" y="1720233"/>
                  <a:pt x="5310180" y="1709363"/>
                  <a:pt x="5323768" y="1701211"/>
                </a:cubicBezTo>
                <a:close/>
                <a:moveTo>
                  <a:pt x="5106361" y="1682187"/>
                </a:moveTo>
                <a:cubicBezTo>
                  <a:pt x="5106361" y="1690340"/>
                  <a:pt x="5095490" y="1693058"/>
                  <a:pt x="5100925" y="1701211"/>
                </a:cubicBezTo>
                <a:cubicBezTo>
                  <a:pt x="5114513" y="1717517"/>
                  <a:pt x="5141689" y="1706646"/>
                  <a:pt x="5157995" y="1720233"/>
                </a:cubicBezTo>
                <a:cubicBezTo>
                  <a:pt x="5143728" y="1726348"/>
                  <a:pt x="5118760" y="1727877"/>
                  <a:pt x="5104874" y="1739725"/>
                </a:cubicBezTo>
                <a:lnTo>
                  <a:pt x="5095788" y="1755059"/>
                </a:lnTo>
                <a:lnTo>
                  <a:pt x="5089715" y="1750466"/>
                </a:lnTo>
                <a:lnTo>
                  <a:pt x="5079539" y="1750250"/>
                </a:lnTo>
                <a:lnTo>
                  <a:pt x="5089375" y="1737898"/>
                </a:lnTo>
                <a:cubicBezTo>
                  <a:pt x="5094811" y="1724309"/>
                  <a:pt x="5095490" y="1709363"/>
                  <a:pt x="5090055" y="1693058"/>
                </a:cubicBezTo>
                <a:cubicBezTo>
                  <a:pt x="5098208" y="1687622"/>
                  <a:pt x="5098208" y="1684904"/>
                  <a:pt x="5106361" y="1682187"/>
                </a:cubicBezTo>
                <a:close/>
                <a:moveTo>
                  <a:pt x="4799273" y="1668599"/>
                </a:moveTo>
                <a:cubicBezTo>
                  <a:pt x="4801990" y="1674034"/>
                  <a:pt x="4804708" y="1679470"/>
                  <a:pt x="4804708" y="1682187"/>
                </a:cubicBezTo>
                <a:cubicBezTo>
                  <a:pt x="4799952" y="1684226"/>
                  <a:pt x="4797065" y="1686604"/>
                  <a:pt x="4795154" y="1689109"/>
                </a:cubicBezTo>
                <a:lnTo>
                  <a:pt x="4792076" y="1695511"/>
                </a:lnTo>
                <a:lnTo>
                  <a:pt x="4782967" y="1702230"/>
                </a:lnTo>
                <a:lnTo>
                  <a:pt x="4779756" y="1704432"/>
                </a:lnTo>
                <a:lnTo>
                  <a:pt x="4779230" y="1699173"/>
                </a:lnTo>
                <a:cubicBezTo>
                  <a:pt x="4780929" y="1696455"/>
                  <a:pt x="4784325" y="1694416"/>
                  <a:pt x="4788402" y="1693058"/>
                </a:cubicBezTo>
                <a:cubicBezTo>
                  <a:pt x="4793837" y="1690340"/>
                  <a:pt x="4785685" y="1684904"/>
                  <a:pt x="4782967" y="1687622"/>
                </a:cubicBezTo>
                <a:cubicBezTo>
                  <a:pt x="4782967" y="1679470"/>
                  <a:pt x="4788402" y="1674034"/>
                  <a:pt x="4799273" y="1668599"/>
                </a:cubicBezTo>
                <a:close/>
                <a:moveTo>
                  <a:pt x="4742203" y="1619682"/>
                </a:moveTo>
                <a:cubicBezTo>
                  <a:pt x="4720462" y="1627835"/>
                  <a:pt x="4731333" y="1655011"/>
                  <a:pt x="4739485" y="1665881"/>
                </a:cubicBezTo>
                <a:cubicBezTo>
                  <a:pt x="4753073" y="1655011"/>
                  <a:pt x="4750356" y="1638705"/>
                  <a:pt x="4742203" y="1619682"/>
                </a:cubicBezTo>
                <a:close/>
                <a:moveTo>
                  <a:pt x="1040838" y="1611529"/>
                </a:moveTo>
                <a:cubicBezTo>
                  <a:pt x="1040838" y="1619682"/>
                  <a:pt x="1040838" y="1625117"/>
                  <a:pt x="1040838" y="1630553"/>
                </a:cubicBezTo>
                <a:cubicBezTo>
                  <a:pt x="1043556" y="1630553"/>
                  <a:pt x="1043556" y="1630553"/>
                  <a:pt x="1043556" y="1630553"/>
                </a:cubicBezTo>
                <a:cubicBezTo>
                  <a:pt x="1043556" y="1625117"/>
                  <a:pt x="1043556" y="1619682"/>
                  <a:pt x="1040838" y="1611529"/>
                </a:cubicBezTo>
                <a:close/>
                <a:moveTo>
                  <a:pt x="983769" y="1606094"/>
                </a:moveTo>
                <a:cubicBezTo>
                  <a:pt x="983769" y="1606094"/>
                  <a:pt x="986486" y="1606094"/>
                  <a:pt x="986486" y="1606094"/>
                </a:cubicBezTo>
                <a:cubicBezTo>
                  <a:pt x="986486" y="1606094"/>
                  <a:pt x="986486" y="1608812"/>
                  <a:pt x="986486" y="1608812"/>
                </a:cubicBezTo>
                <a:cubicBezTo>
                  <a:pt x="983769" y="1608812"/>
                  <a:pt x="983769" y="1606094"/>
                  <a:pt x="983769" y="1606094"/>
                </a:cubicBezTo>
                <a:close/>
                <a:moveTo>
                  <a:pt x="4712309" y="1597941"/>
                </a:moveTo>
                <a:cubicBezTo>
                  <a:pt x="4701439" y="1608812"/>
                  <a:pt x="4701439" y="1625117"/>
                  <a:pt x="4696004" y="1638705"/>
                </a:cubicBezTo>
                <a:lnTo>
                  <a:pt x="4701439" y="1644140"/>
                </a:lnTo>
                <a:cubicBezTo>
                  <a:pt x="4709592" y="1627835"/>
                  <a:pt x="4720462" y="1611529"/>
                  <a:pt x="4712309" y="1597941"/>
                </a:cubicBezTo>
                <a:close/>
                <a:moveTo>
                  <a:pt x="989204" y="1589791"/>
                </a:moveTo>
                <a:cubicBezTo>
                  <a:pt x="989204" y="1589791"/>
                  <a:pt x="989204" y="1592508"/>
                  <a:pt x="989204" y="1592508"/>
                </a:cubicBezTo>
                <a:cubicBezTo>
                  <a:pt x="986486" y="1592508"/>
                  <a:pt x="986486" y="1592508"/>
                  <a:pt x="983769" y="1592508"/>
                </a:cubicBezTo>
                <a:cubicBezTo>
                  <a:pt x="986486" y="1589791"/>
                  <a:pt x="986486" y="1589791"/>
                  <a:pt x="989204" y="1589791"/>
                </a:cubicBezTo>
                <a:close/>
                <a:moveTo>
                  <a:pt x="983769" y="1589791"/>
                </a:moveTo>
                <a:cubicBezTo>
                  <a:pt x="983769" y="1589791"/>
                  <a:pt x="986486" y="1589791"/>
                  <a:pt x="986486" y="1589791"/>
                </a:cubicBezTo>
                <a:cubicBezTo>
                  <a:pt x="986486" y="1589791"/>
                  <a:pt x="986486" y="1589791"/>
                  <a:pt x="983769" y="1592508"/>
                </a:cubicBezTo>
                <a:cubicBezTo>
                  <a:pt x="983769" y="1592508"/>
                  <a:pt x="983769" y="1589791"/>
                  <a:pt x="983769" y="1589791"/>
                </a:cubicBezTo>
                <a:close/>
                <a:moveTo>
                  <a:pt x="1122366" y="1581636"/>
                </a:moveTo>
                <a:cubicBezTo>
                  <a:pt x="1116931" y="1581636"/>
                  <a:pt x="1111496" y="1584354"/>
                  <a:pt x="1103343" y="1587071"/>
                </a:cubicBezTo>
                <a:cubicBezTo>
                  <a:pt x="1106061" y="1587071"/>
                  <a:pt x="1106061" y="1587071"/>
                  <a:pt x="1106061" y="1587071"/>
                </a:cubicBezTo>
                <a:cubicBezTo>
                  <a:pt x="1111496" y="1587071"/>
                  <a:pt x="1116931" y="1584354"/>
                  <a:pt x="1122366" y="1581636"/>
                </a:cubicBezTo>
                <a:close/>
                <a:moveTo>
                  <a:pt x="1084320" y="1568049"/>
                </a:moveTo>
                <a:cubicBezTo>
                  <a:pt x="1084320" y="1570767"/>
                  <a:pt x="1084320" y="1570767"/>
                  <a:pt x="1084320" y="1573483"/>
                </a:cubicBezTo>
                <a:cubicBezTo>
                  <a:pt x="1084320" y="1570767"/>
                  <a:pt x="1084320" y="1570767"/>
                  <a:pt x="1087038" y="1568049"/>
                </a:cubicBezTo>
                <a:cubicBezTo>
                  <a:pt x="1084320" y="1568049"/>
                  <a:pt x="1084320" y="1568049"/>
                  <a:pt x="1084320" y="1568049"/>
                </a:cubicBezTo>
                <a:close/>
                <a:moveTo>
                  <a:pt x="983769" y="1565334"/>
                </a:moveTo>
                <a:cubicBezTo>
                  <a:pt x="983769" y="1568049"/>
                  <a:pt x="983769" y="1568049"/>
                  <a:pt x="983769" y="1570768"/>
                </a:cubicBezTo>
                <a:cubicBezTo>
                  <a:pt x="981052" y="1570768"/>
                  <a:pt x="981052" y="1570768"/>
                  <a:pt x="981052" y="1570768"/>
                </a:cubicBezTo>
                <a:cubicBezTo>
                  <a:pt x="981052" y="1568049"/>
                  <a:pt x="981052" y="1568049"/>
                  <a:pt x="983769" y="1565334"/>
                </a:cubicBezTo>
                <a:close/>
                <a:moveTo>
                  <a:pt x="4728615" y="1565330"/>
                </a:moveTo>
                <a:cubicBezTo>
                  <a:pt x="4717745" y="1568049"/>
                  <a:pt x="4717745" y="1573483"/>
                  <a:pt x="4709592" y="1576202"/>
                </a:cubicBezTo>
                <a:cubicBezTo>
                  <a:pt x="4715027" y="1581636"/>
                  <a:pt x="4723180" y="1581636"/>
                  <a:pt x="4709592" y="1587071"/>
                </a:cubicBezTo>
                <a:cubicBezTo>
                  <a:pt x="4720462" y="1603378"/>
                  <a:pt x="4739485" y="1581636"/>
                  <a:pt x="4728615" y="1565330"/>
                </a:cubicBezTo>
                <a:close/>
                <a:moveTo>
                  <a:pt x="1084320" y="1557179"/>
                </a:moveTo>
                <a:cubicBezTo>
                  <a:pt x="1084320" y="1557179"/>
                  <a:pt x="1084320" y="1559896"/>
                  <a:pt x="1084320" y="1562614"/>
                </a:cubicBezTo>
                <a:cubicBezTo>
                  <a:pt x="1084320" y="1559896"/>
                  <a:pt x="1084320" y="1559896"/>
                  <a:pt x="1087038" y="1557179"/>
                </a:cubicBezTo>
                <a:cubicBezTo>
                  <a:pt x="1084320" y="1557179"/>
                  <a:pt x="1084320" y="1557179"/>
                  <a:pt x="1084320" y="1557179"/>
                </a:cubicBezTo>
                <a:close/>
                <a:moveTo>
                  <a:pt x="4625345" y="1543590"/>
                </a:moveTo>
                <a:cubicBezTo>
                  <a:pt x="4606323" y="1557179"/>
                  <a:pt x="4606323" y="1568049"/>
                  <a:pt x="4625345" y="1581636"/>
                </a:cubicBezTo>
                <a:cubicBezTo>
                  <a:pt x="4630781" y="1565330"/>
                  <a:pt x="4630781" y="1559896"/>
                  <a:pt x="4625345" y="1543590"/>
                </a:cubicBezTo>
                <a:close/>
                <a:moveTo>
                  <a:pt x="1122366" y="1543590"/>
                </a:moveTo>
                <a:cubicBezTo>
                  <a:pt x="1116931" y="1546307"/>
                  <a:pt x="1108778" y="1549025"/>
                  <a:pt x="1100625" y="1551742"/>
                </a:cubicBezTo>
                <a:cubicBezTo>
                  <a:pt x="1106061" y="1549025"/>
                  <a:pt x="1114213" y="1546307"/>
                  <a:pt x="1122366" y="1546307"/>
                </a:cubicBezTo>
                <a:cubicBezTo>
                  <a:pt x="1122366" y="1543590"/>
                  <a:pt x="1122366" y="1543590"/>
                  <a:pt x="1122366" y="1543590"/>
                </a:cubicBezTo>
                <a:close/>
                <a:moveTo>
                  <a:pt x="1084320" y="1543590"/>
                </a:moveTo>
                <a:cubicBezTo>
                  <a:pt x="1084320" y="1543590"/>
                  <a:pt x="1084320" y="1546307"/>
                  <a:pt x="1084320" y="1546307"/>
                </a:cubicBezTo>
                <a:cubicBezTo>
                  <a:pt x="1084320" y="1546307"/>
                  <a:pt x="1087038" y="1546307"/>
                  <a:pt x="1087038" y="1546307"/>
                </a:cubicBezTo>
                <a:cubicBezTo>
                  <a:pt x="1087038" y="1546307"/>
                  <a:pt x="1087038" y="1543590"/>
                  <a:pt x="1084320" y="1543590"/>
                </a:cubicBezTo>
                <a:close/>
                <a:moveTo>
                  <a:pt x="1084320" y="1535437"/>
                </a:moveTo>
                <a:cubicBezTo>
                  <a:pt x="1084320" y="1535437"/>
                  <a:pt x="1084320" y="1538155"/>
                  <a:pt x="1084320" y="1540872"/>
                </a:cubicBezTo>
                <a:cubicBezTo>
                  <a:pt x="1084320" y="1540872"/>
                  <a:pt x="1087038" y="1540872"/>
                  <a:pt x="1087038" y="1540872"/>
                </a:cubicBezTo>
                <a:cubicBezTo>
                  <a:pt x="1087038" y="1538155"/>
                  <a:pt x="1087038" y="1538155"/>
                  <a:pt x="1084320" y="1535437"/>
                </a:cubicBezTo>
                <a:close/>
                <a:moveTo>
                  <a:pt x="1125084" y="1532719"/>
                </a:moveTo>
                <a:cubicBezTo>
                  <a:pt x="1127801" y="1532719"/>
                  <a:pt x="1130519" y="1532719"/>
                  <a:pt x="1130519" y="1535437"/>
                </a:cubicBezTo>
                <a:cubicBezTo>
                  <a:pt x="1130519" y="1535437"/>
                  <a:pt x="1130519" y="1538155"/>
                  <a:pt x="1130519" y="1538155"/>
                </a:cubicBezTo>
                <a:cubicBezTo>
                  <a:pt x="1130519" y="1538155"/>
                  <a:pt x="1133237" y="1538155"/>
                  <a:pt x="1133237" y="1538155"/>
                </a:cubicBezTo>
                <a:cubicBezTo>
                  <a:pt x="1133237" y="1538155"/>
                  <a:pt x="1133237" y="1535437"/>
                  <a:pt x="1133237" y="1535437"/>
                </a:cubicBezTo>
                <a:cubicBezTo>
                  <a:pt x="1141389" y="1538155"/>
                  <a:pt x="1149542" y="1540872"/>
                  <a:pt x="1157695" y="1540872"/>
                </a:cubicBezTo>
                <a:cubicBezTo>
                  <a:pt x="1157695" y="1540872"/>
                  <a:pt x="1157695" y="1538155"/>
                  <a:pt x="1157695" y="1538155"/>
                </a:cubicBezTo>
                <a:cubicBezTo>
                  <a:pt x="1146825" y="1535437"/>
                  <a:pt x="1135954" y="1535437"/>
                  <a:pt x="1125084" y="1532719"/>
                </a:cubicBezTo>
                <a:close/>
                <a:moveTo>
                  <a:pt x="1133237" y="1521850"/>
                </a:moveTo>
                <a:cubicBezTo>
                  <a:pt x="1130519" y="1524567"/>
                  <a:pt x="1130519" y="1530002"/>
                  <a:pt x="1130519" y="1530002"/>
                </a:cubicBezTo>
                <a:cubicBezTo>
                  <a:pt x="1130519" y="1530002"/>
                  <a:pt x="1133237" y="1530002"/>
                  <a:pt x="1133237" y="1530002"/>
                </a:cubicBezTo>
                <a:cubicBezTo>
                  <a:pt x="1133237" y="1527284"/>
                  <a:pt x="1133237" y="1524567"/>
                  <a:pt x="1133237" y="1521850"/>
                </a:cubicBezTo>
                <a:close/>
                <a:moveTo>
                  <a:pt x="1125084" y="1513697"/>
                </a:moveTo>
                <a:cubicBezTo>
                  <a:pt x="1133237" y="1516415"/>
                  <a:pt x="1138672" y="1519132"/>
                  <a:pt x="1146825" y="1521850"/>
                </a:cubicBezTo>
                <a:cubicBezTo>
                  <a:pt x="1149542" y="1519132"/>
                  <a:pt x="1149542" y="1519132"/>
                  <a:pt x="1149542" y="1519132"/>
                </a:cubicBezTo>
                <a:cubicBezTo>
                  <a:pt x="1141389" y="1516415"/>
                  <a:pt x="1133237" y="1516415"/>
                  <a:pt x="1125084" y="1513697"/>
                </a:cubicBezTo>
                <a:close/>
                <a:moveTo>
                  <a:pt x="4657957" y="1500108"/>
                </a:moveTo>
                <a:cubicBezTo>
                  <a:pt x="4641651" y="1500108"/>
                  <a:pt x="4630781" y="1502826"/>
                  <a:pt x="4622629" y="1510978"/>
                </a:cubicBezTo>
                <a:lnTo>
                  <a:pt x="4633499" y="1513697"/>
                </a:lnTo>
                <a:lnTo>
                  <a:pt x="4628063" y="1527284"/>
                </a:lnTo>
                <a:lnTo>
                  <a:pt x="4630781" y="1543590"/>
                </a:lnTo>
                <a:lnTo>
                  <a:pt x="4655239" y="1535437"/>
                </a:lnTo>
                <a:lnTo>
                  <a:pt x="4641651" y="1551742"/>
                </a:lnTo>
                <a:lnTo>
                  <a:pt x="4647087" y="1578918"/>
                </a:lnTo>
                <a:cubicBezTo>
                  <a:pt x="4668827" y="1559896"/>
                  <a:pt x="4679697" y="1535437"/>
                  <a:pt x="4674263" y="1505543"/>
                </a:cubicBezTo>
                <a:cubicBezTo>
                  <a:pt x="4660675" y="1508262"/>
                  <a:pt x="4666109" y="1500108"/>
                  <a:pt x="4657957" y="1500108"/>
                </a:cubicBezTo>
                <a:close/>
                <a:moveTo>
                  <a:pt x="1125084" y="1494674"/>
                </a:moveTo>
                <a:cubicBezTo>
                  <a:pt x="1127801" y="1497392"/>
                  <a:pt x="1130519" y="1497392"/>
                  <a:pt x="1130519" y="1497392"/>
                </a:cubicBezTo>
                <a:cubicBezTo>
                  <a:pt x="1130519" y="1500108"/>
                  <a:pt x="1130519" y="1500108"/>
                  <a:pt x="1130519" y="1500108"/>
                </a:cubicBezTo>
                <a:cubicBezTo>
                  <a:pt x="1130519" y="1500108"/>
                  <a:pt x="1133237" y="1500108"/>
                  <a:pt x="1133237" y="1500108"/>
                </a:cubicBezTo>
                <a:cubicBezTo>
                  <a:pt x="1133237" y="1500108"/>
                  <a:pt x="1133237" y="1497392"/>
                  <a:pt x="1133237" y="1497392"/>
                </a:cubicBezTo>
                <a:cubicBezTo>
                  <a:pt x="1144107" y="1500108"/>
                  <a:pt x="1152260" y="1500108"/>
                  <a:pt x="1163130" y="1502826"/>
                </a:cubicBezTo>
                <a:cubicBezTo>
                  <a:pt x="1163130" y="1502826"/>
                  <a:pt x="1160413" y="1500108"/>
                  <a:pt x="1160413" y="1500108"/>
                </a:cubicBezTo>
                <a:cubicBezTo>
                  <a:pt x="1149542" y="1497392"/>
                  <a:pt x="1135954" y="1497392"/>
                  <a:pt x="1125084" y="1494674"/>
                </a:cubicBezTo>
                <a:close/>
                <a:moveTo>
                  <a:pt x="4625345" y="1475653"/>
                </a:moveTo>
                <a:cubicBezTo>
                  <a:pt x="4625345" y="1478370"/>
                  <a:pt x="4628063" y="1478370"/>
                  <a:pt x="4628063" y="1478370"/>
                </a:cubicBezTo>
                <a:cubicBezTo>
                  <a:pt x="4625345" y="1478370"/>
                  <a:pt x="4619911" y="1478370"/>
                  <a:pt x="4617193" y="1478370"/>
                </a:cubicBezTo>
                <a:cubicBezTo>
                  <a:pt x="4614475" y="1481085"/>
                  <a:pt x="4614475" y="1483803"/>
                  <a:pt x="4614475" y="1486520"/>
                </a:cubicBezTo>
                <a:cubicBezTo>
                  <a:pt x="4617193" y="1489238"/>
                  <a:pt x="4619911" y="1489238"/>
                  <a:pt x="4622629" y="1494674"/>
                </a:cubicBezTo>
                <a:cubicBezTo>
                  <a:pt x="4625345" y="1494674"/>
                  <a:pt x="4628063" y="1491956"/>
                  <a:pt x="4630781" y="1491956"/>
                </a:cubicBezTo>
                <a:lnTo>
                  <a:pt x="4625345" y="1489238"/>
                </a:lnTo>
                <a:cubicBezTo>
                  <a:pt x="4633499" y="1470218"/>
                  <a:pt x="4638933" y="1478370"/>
                  <a:pt x="4625345" y="1475653"/>
                </a:cubicBezTo>
                <a:close/>
                <a:moveTo>
                  <a:pt x="4652521" y="1462065"/>
                </a:moveTo>
                <a:lnTo>
                  <a:pt x="4649805" y="1464782"/>
                </a:lnTo>
                <a:lnTo>
                  <a:pt x="4644369" y="1483803"/>
                </a:lnTo>
                <a:cubicBezTo>
                  <a:pt x="4652521" y="1481085"/>
                  <a:pt x="4657957" y="1475653"/>
                  <a:pt x="4655239" y="1462065"/>
                </a:cubicBezTo>
                <a:cubicBezTo>
                  <a:pt x="4652521" y="1462065"/>
                  <a:pt x="4652521" y="1462065"/>
                  <a:pt x="4652521" y="1462065"/>
                </a:cubicBezTo>
                <a:close/>
                <a:moveTo>
                  <a:pt x="1130519" y="1462065"/>
                </a:moveTo>
                <a:cubicBezTo>
                  <a:pt x="1130519" y="1462065"/>
                  <a:pt x="1130519" y="1464782"/>
                  <a:pt x="1130519" y="1467500"/>
                </a:cubicBezTo>
                <a:cubicBezTo>
                  <a:pt x="1130519" y="1467500"/>
                  <a:pt x="1127801" y="1467500"/>
                  <a:pt x="1127801" y="1467500"/>
                </a:cubicBezTo>
                <a:cubicBezTo>
                  <a:pt x="1127801" y="1470218"/>
                  <a:pt x="1127801" y="1472935"/>
                  <a:pt x="1127801" y="1475653"/>
                </a:cubicBezTo>
                <a:cubicBezTo>
                  <a:pt x="1127801" y="1475653"/>
                  <a:pt x="1125084" y="1475653"/>
                  <a:pt x="1125084" y="1475653"/>
                </a:cubicBezTo>
                <a:cubicBezTo>
                  <a:pt x="1125084" y="1478370"/>
                  <a:pt x="1125084" y="1478370"/>
                  <a:pt x="1127801" y="1481085"/>
                </a:cubicBezTo>
                <a:cubicBezTo>
                  <a:pt x="1127801" y="1481085"/>
                  <a:pt x="1130519" y="1481085"/>
                  <a:pt x="1130519" y="1481085"/>
                </a:cubicBezTo>
                <a:cubicBezTo>
                  <a:pt x="1130519" y="1481085"/>
                  <a:pt x="1130519" y="1483803"/>
                  <a:pt x="1130519" y="1483803"/>
                </a:cubicBezTo>
                <a:cubicBezTo>
                  <a:pt x="1130519" y="1483803"/>
                  <a:pt x="1133237" y="1483803"/>
                  <a:pt x="1133237" y="1483803"/>
                </a:cubicBezTo>
                <a:cubicBezTo>
                  <a:pt x="1133237" y="1483803"/>
                  <a:pt x="1133237" y="1486520"/>
                  <a:pt x="1133237" y="1486520"/>
                </a:cubicBezTo>
                <a:cubicBezTo>
                  <a:pt x="1133237" y="1489238"/>
                  <a:pt x="1133237" y="1491956"/>
                  <a:pt x="1133237" y="1494674"/>
                </a:cubicBezTo>
                <a:cubicBezTo>
                  <a:pt x="1133237" y="1494674"/>
                  <a:pt x="1135954" y="1494674"/>
                  <a:pt x="1135954" y="1494674"/>
                </a:cubicBezTo>
                <a:cubicBezTo>
                  <a:pt x="1135954" y="1491956"/>
                  <a:pt x="1135954" y="1489238"/>
                  <a:pt x="1135954" y="1486520"/>
                </a:cubicBezTo>
                <a:cubicBezTo>
                  <a:pt x="1135954" y="1486520"/>
                  <a:pt x="1135954" y="1483803"/>
                  <a:pt x="1135954" y="1483803"/>
                </a:cubicBezTo>
                <a:cubicBezTo>
                  <a:pt x="1133237" y="1483803"/>
                  <a:pt x="1133237" y="1483803"/>
                  <a:pt x="1133237" y="1483803"/>
                </a:cubicBezTo>
                <a:cubicBezTo>
                  <a:pt x="1133237" y="1481085"/>
                  <a:pt x="1133237" y="1481085"/>
                  <a:pt x="1133237" y="1481085"/>
                </a:cubicBezTo>
                <a:cubicBezTo>
                  <a:pt x="1138672" y="1481085"/>
                  <a:pt x="1146825" y="1483803"/>
                  <a:pt x="1152260" y="1483803"/>
                </a:cubicBezTo>
                <a:cubicBezTo>
                  <a:pt x="1149542" y="1481085"/>
                  <a:pt x="1149542" y="1481085"/>
                  <a:pt x="1149542" y="1478370"/>
                </a:cubicBezTo>
                <a:cubicBezTo>
                  <a:pt x="1144107" y="1478370"/>
                  <a:pt x="1138672" y="1475653"/>
                  <a:pt x="1133237" y="1475653"/>
                </a:cubicBezTo>
                <a:cubicBezTo>
                  <a:pt x="1133237" y="1472935"/>
                  <a:pt x="1133237" y="1470218"/>
                  <a:pt x="1133237" y="1470218"/>
                </a:cubicBezTo>
                <a:cubicBezTo>
                  <a:pt x="1130519" y="1470218"/>
                  <a:pt x="1130519" y="1470218"/>
                  <a:pt x="1130519" y="1470218"/>
                </a:cubicBezTo>
                <a:cubicBezTo>
                  <a:pt x="1130519" y="1470218"/>
                  <a:pt x="1130519" y="1467500"/>
                  <a:pt x="1130519" y="1467500"/>
                </a:cubicBezTo>
                <a:cubicBezTo>
                  <a:pt x="1130519" y="1467500"/>
                  <a:pt x="1133237" y="1467500"/>
                  <a:pt x="1133237" y="1467500"/>
                </a:cubicBezTo>
                <a:cubicBezTo>
                  <a:pt x="1133237" y="1464782"/>
                  <a:pt x="1133237" y="1462065"/>
                  <a:pt x="1130519" y="1462065"/>
                </a:cubicBezTo>
                <a:close/>
                <a:moveTo>
                  <a:pt x="3274701" y="1453912"/>
                </a:moveTo>
                <a:cubicBezTo>
                  <a:pt x="3269267" y="1453912"/>
                  <a:pt x="3263831" y="1456630"/>
                  <a:pt x="3258395" y="1456630"/>
                </a:cubicBezTo>
                <a:cubicBezTo>
                  <a:pt x="3258395" y="1462065"/>
                  <a:pt x="3258395" y="1467500"/>
                  <a:pt x="3258395" y="1472935"/>
                </a:cubicBezTo>
                <a:cubicBezTo>
                  <a:pt x="3261113" y="1470218"/>
                  <a:pt x="3266549" y="1470218"/>
                  <a:pt x="3269267" y="1470218"/>
                </a:cubicBezTo>
                <a:lnTo>
                  <a:pt x="3266549" y="1464782"/>
                </a:lnTo>
                <a:close/>
                <a:moveTo>
                  <a:pt x="1130519" y="1451194"/>
                </a:moveTo>
                <a:cubicBezTo>
                  <a:pt x="1130519" y="1453912"/>
                  <a:pt x="1130519" y="1456630"/>
                  <a:pt x="1130519" y="1459347"/>
                </a:cubicBezTo>
                <a:cubicBezTo>
                  <a:pt x="1133237" y="1456630"/>
                  <a:pt x="1133237" y="1453912"/>
                  <a:pt x="1133237" y="1451194"/>
                </a:cubicBezTo>
                <a:cubicBezTo>
                  <a:pt x="1130519" y="1451194"/>
                  <a:pt x="1130519" y="1451194"/>
                  <a:pt x="1130519" y="1451194"/>
                </a:cubicBezTo>
                <a:close/>
                <a:moveTo>
                  <a:pt x="4744921" y="1448477"/>
                </a:moveTo>
                <a:cubicBezTo>
                  <a:pt x="4734050" y="1467500"/>
                  <a:pt x="4734050" y="1491956"/>
                  <a:pt x="4712309" y="1508262"/>
                </a:cubicBezTo>
                <a:cubicBezTo>
                  <a:pt x="4717745" y="1513697"/>
                  <a:pt x="4723180" y="1513697"/>
                  <a:pt x="4725897" y="1524567"/>
                </a:cubicBezTo>
                <a:cubicBezTo>
                  <a:pt x="4734050" y="1510978"/>
                  <a:pt x="4758509" y="1521850"/>
                  <a:pt x="4761226" y="1505543"/>
                </a:cubicBezTo>
                <a:cubicBezTo>
                  <a:pt x="4753073" y="1502826"/>
                  <a:pt x="4739485" y="1505543"/>
                  <a:pt x="4728615" y="1505543"/>
                </a:cubicBezTo>
                <a:cubicBezTo>
                  <a:pt x="4731333" y="1502826"/>
                  <a:pt x="4728615" y="1497392"/>
                  <a:pt x="4739485" y="1494674"/>
                </a:cubicBezTo>
                <a:cubicBezTo>
                  <a:pt x="4753073" y="1497392"/>
                  <a:pt x="4766661" y="1505543"/>
                  <a:pt x="4788402" y="1500108"/>
                </a:cubicBezTo>
                <a:cubicBezTo>
                  <a:pt x="4782967" y="1481085"/>
                  <a:pt x="4761226" y="1500108"/>
                  <a:pt x="4753073" y="1486520"/>
                </a:cubicBezTo>
                <a:cubicBezTo>
                  <a:pt x="4753073" y="1481085"/>
                  <a:pt x="4761226" y="1478370"/>
                  <a:pt x="4763944" y="1472935"/>
                </a:cubicBezTo>
                <a:cubicBezTo>
                  <a:pt x="4758509" y="1462065"/>
                  <a:pt x="4758509" y="1443043"/>
                  <a:pt x="4744921" y="1448477"/>
                </a:cubicBezTo>
                <a:close/>
                <a:moveTo>
                  <a:pt x="1127801" y="1443043"/>
                </a:moveTo>
                <a:cubicBezTo>
                  <a:pt x="1127801" y="1445759"/>
                  <a:pt x="1127801" y="1448477"/>
                  <a:pt x="1127801" y="1448477"/>
                </a:cubicBezTo>
                <a:cubicBezTo>
                  <a:pt x="1130519" y="1445759"/>
                  <a:pt x="1130519" y="1445759"/>
                  <a:pt x="1130519" y="1443043"/>
                </a:cubicBezTo>
                <a:cubicBezTo>
                  <a:pt x="1130519" y="1443043"/>
                  <a:pt x="1127801" y="1443043"/>
                  <a:pt x="1127801" y="1443043"/>
                </a:cubicBezTo>
                <a:close/>
                <a:moveTo>
                  <a:pt x="4633499" y="1440324"/>
                </a:moveTo>
                <a:lnTo>
                  <a:pt x="4625345" y="1451194"/>
                </a:lnTo>
                <a:lnTo>
                  <a:pt x="4638933" y="1451194"/>
                </a:lnTo>
                <a:cubicBezTo>
                  <a:pt x="4636217" y="1448477"/>
                  <a:pt x="4636217" y="1445759"/>
                  <a:pt x="4633499" y="1440324"/>
                </a:cubicBezTo>
                <a:close/>
                <a:moveTo>
                  <a:pt x="2214839" y="1434890"/>
                </a:moveTo>
                <a:cubicBezTo>
                  <a:pt x="2190381" y="1440324"/>
                  <a:pt x="2168640" y="1443043"/>
                  <a:pt x="2144182" y="1448477"/>
                </a:cubicBezTo>
                <a:cubicBezTo>
                  <a:pt x="2144182" y="1448477"/>
                  <a:pt x="2144182" y="1451194"/>
                  <a:pt x="2144182" y="1451194"/>
                </a:cubicBezTo>
                <a:cubicBezTo>
                  <a:pt x="2146899" y="1451194"/>
                  <a:pt x="2146899" y="1451194"/>
                  <a:pt x="2146899" y="1451194"/>
                </a:cubicBezTo>
                <a:cubicBezTo>
                  <a:pt x="2146899" y="1451194"/>
                  <a:pt x="2149617" y="1451194"/>
                  <a:pt x="2149617" y="1451194"/>
                </a:cubicBezTo>
                <a:cubicBezTo>
                  <a:pt x="2171358" y="1445759"/>
                  <a:pt x="2193098" y="1443043"/>
                  <a:pt x="2214839" y="1440324"/>
                </a:cubicBezTo>
                <a:cubicBezTo>
                  <a:pt x="2214839" y="1437606"/>
                  <a:pt x="2214839" y="1437606"/>
                  <a:pt x="2214839" y="1434890"/>
                </a:cubicBezTo>
                <a:close/>
                <a:moveTo>
                  <a:pt x="3258395" y="1424018"/>
                </a:moveTo>
                <a:cubicBezTo>
                  <a:pt x="3258395" y="1426736"/>
                  <a:pt x="3258395" y="1429454"/>
                  <a:pt x="3258395" y="1434890"/>
                </a:cubicBezTo>
                <a:cubicBezTo>
                  <a:pt x="3261113" y="1432171"/>
                  <a:pt x="3263831" y="1432171"/>
                  <a:pt x="3266549" y="1432171"/>
                </a:cubicBezTo>
                <a:cubicBezTo>
                  <a:pt x="3263831" y="1426736"/>
                  <a:pt x="3269267" y="1429454"/>
                  <a:pt x="3258395" y="1424018"/>
                </a:cubicBezTo>
                <a:close/>
                <a:moveTo>
                  <a:pt x="4690569" y="1418583"/>
                </a:moveTo>
                <a:cubicBezTo>
                  <a:pt x="4685133" y="1421302"/>
                  <a:pt x="4679697" y="1424018"/>
                  <a:pt x="4674263" y="1424018"/>
                </a:cubicBezTo>
                <a:lnTo>
                  <a:pt x="4676981" y="1443043"/>
                </a:lnTo>
                <a:cubicBezTo>
                  <a:pt x="4676981" y="1445759"/>
                  <a:pt x="4679697" y="1445759"/>
                  <a:pt x="4679697" y="1448477"/>
                </a:cubicBezTo>
                <a:cubicBezTo>
                  <a:pt x="4687851" y="1443043"/>
                  <a:pt x="4693286" y="1437606"/>
                  <a:pt x="4696004" y="1432171"/>
                </a:cubicBezTo>
                <a:cubicBezTo>
                  <a:pt x="4696004" y="1429454"/>
                  <a:pt x="4693286" y="1424018"/>
                  <a:pt x="4690569" y="1418583"/>
                </a:cubicBezTo>
                <a:close/>
                <a:moveTo>
                  <a:pt x="1127801" y="1418583"/>
                </a:moveTo>
                <a:cubicBezTo>
                  <a:pt x="1127801" y="1421302"/>
                  <a:pt x="1127801" y="1424018"/>
                  <a:pt x="1127801" y="1426736"/>
                </a:cubicBezTo>
                <a:cubicBezTo>
                  <a:pt x="1127801" y="1426736"/>
                  <a:pt x="1130519" y="1426736"/>
                  <a:pt x="1130519" y="1426736"/>
                </a:cubicBezTo>
                <a:cubicBezTo>
                  <a:pt x="1130519" y="1426736"/>
                  <a:pt x="1130519" y="1429454"/>
                  <a:pt x="1130519" y="1429454"/>
                </a:cubicBezTo>
                <a:cubicBezTo>
                  <a:pt x="1130519" y="1429454"/>
                  <a:pt x="1127801" y="1429454"/>
                  <a:pt x="1127801" y="1429454"/>
                </a:cubicBezTo>
                <a:cubicBezTo>
                  <a:pt x="1127801" y="1429454"/>
                  <a:pt x="1127801" y="1432171"/>
                  <a:pt x="1127801" y="1432171"/>
                </a:cubicBezTo>
                <a:cubicBezTo>
                  <a:pt x="1127801" y="1434890"/>
                  <a:pt x="1127801" y="1437606"/>
                  <a:pt x="1127801" y="1440324"/>
                </a:cubicBezTo>
                <a:cubicBezTo>
                  <a:pt x="1127801" y="1440324"/>
                  <a:pt x="1130519" y="1440324"/>
                  <a:pt x="1130519" y="1440324"/>
                </a:cubicBezTo>
                <a:cubicBezTo>
                  <a:pt x="1130519" y="1437606"/>
                  <a:pt x="1130519" y="1437606"/>
                  <a:pt x="1130519" y="1434890"/>
                </a:cubicBezTo>
                <a:cubicBezTo>
                  <a:pt x="1133237" y="1434890"/>
                  <a:pt x="1133237" y="1434890"/>
                  <a:pt x="1133237" y="1434890"/>
                </a:cubicBezTo>
                <a:cubicBezTo>
                  <a:pt x="1133237" y="1434890"/>
                  <a:pt x="1133237" y="1432171"/>
                  <a:pt x="1133237" y="1432171"/>
                </a:cubicBezTo>
                <a:cubicBezTo>
                  <a:pt x="1133237" y="1429454"/>
                  <a:pt x="1133237" y="1429454"/>
                  <a:pt x="1133237" y="1426736"/>
                </a:cubicBezTo>
                <a:cubicBezTo>
                  <a:pt x="1130519" y="1426736"/>
                  <a:pt x="1130519" y="1424018"/>
                  <a:pt x="1130519" y="1421302"/>
                </a:cubicBezTo>
                <a:cubicBezTo>
                  <a:pt x="1130519" y="1418583"/>
                  <a:pt x="1130519" y="1418583"/>
                  <a:pt x="1130519" y="1418583"/>
                </a:cubicBezTo>
                <a:cubicBezTo>
                  <a:pt x="1130519" y="1418583"/>
                  <a:pt x="1127801" y="1418583"/>
                  <a:pt x="1127801" y="1418583"/>
                </a:cubicBezTo>
                <a:close/>
                <a:moveTo>
                  <a:pt x="5721556" y="1414168"/>
                </a:moveTo>
                <a:cubicBezTo>
                  <a:pt x="5725293" y="1413828"/>
                  <a:pt x="5728690" y="1414507"/>
                  <a:pt x="5731407" y="1415866"/>
                </a:cubicBezTo>
                <a:lnTo>
                  <a:pt x="5720507" y="1414557"/>
                </a:lnTo>
                <a:close/>
                <a:moveTo>
                  <a:pt x="4763944" y="1399561"/>
                </a:moveTo>
                <a:cubicBezTo>
                  <a:pt x="4780249" y="1407713"/>
                  <a:pt x="4777532" y="1429454"/>
                  <a:pt x="4761226" y="1440324"/>
                </a:cubicBezTo>
                <a:cubicBezTo>
                  <a:pt x="4769379" y="1453912"/>
                  <a:pt x="4763944" y="1464782"/>
                  <a:pt x="4766661" y="1478370"/>
                </a:cubicBezTo>
                <a:cubicBezTo>
                  <a:pt x="4785685" y="1497392"/>
                  <a:pt x="4796555" y="1456630"/>
                  <a:pt x="4812861" y="1478370"/>
                </a:cubicBezTo>
                <a:cubicBezTo>
                  <a:pt x="4804708" y="1486520"/>
                  <a:pt x="4799273" y="1481085"/>
                  <a:pt x="4796555" y="1486520"/>
                </a:cubicBezTo>
                <a:cubicBezTo>
                  <a:pt x="4801990" y="1497392"/>
                  <a:pt x="4823731" y="1481085"/>
                  <a:pt x="4834601" y="1481085"/>
                </a:cubicBezTo>
                <a:cubicBezTo>
                  <a:pt x="4831884" y="1478370"/>
                  <a:pt x="4837319" y="1475653"/>
                  <a:pt x="4837319" y="1472935"/>
                </a:cubicBezTo>
                <a:cubicBezTo>
                  <a:pt x="4831884" y="1475653"/>
                  <a:pt x="4826449" y="1475653"/>
                  <a:pt x="4823731" y="1472935"/>
                </a:cubicBezTo>
                <a:cubicBezTo>
                  <a:pt x="4826449" y="1464782"/>
                  <a:pt x="4829166" y="1456630"/>
                  <a:pt x="4821013" y="1451194"/>
                </a:cubicBezTo>
                <a:cubicBezTo>
                  <a:pt x="4810143" y="1453912"/>
                  <a:pt x="4804708" y="1467500"/>
                  <a:pt x="4796555" y="1459347"/>
                </a:cubicBezTo>
                <a:cubicBezTo>
                  <a:pt x="4799273" y="1448477"/>
                  <a:pt x="4818296" y="1440324"/>
                  <a:pt x="4812861" y="1424018"/>
                </a:cubicBezTo>
                <a:cubicBezTo>
                  <a:pt x="4801990" y="1426736"/>
                  <a:pt x="4788402" y="1432171"/>
                  <a:pt x="4782967" y="1424018"/>
                </a:cubicBezTo>
                <a:cubicBezTo>
                  <a:pt x="4788402" y="1418583"/>
                  <a:pt x="4791120" y="1424018"/>
                  <a:pt x="4799273" y="1418583"/>
                </a:cubicBezTo>
                <a:cubicBezTo>
                  <a:pt x="4793837" y="1399561"/>
                  <a:pt x="4777532" y="1399561"/>
                  <a:pt x="4763944" y="1399561"/>
                </a:cubicBezTo>
                <a:close/>
                <a:moveTo>
                  <a:pt x="1152260" y="1385972"/>
                </a:moveTo>
                <a:cubicBezTo>
                  <a:pt x="1152260" y="1385972"/>
                  <a:pt x="1152260" y="1388691"/>
                  <a:pt x="1152260" y="1388691"/>
                </a:cubicBezTo>
                <a:cubicBezTo>
                  <a:pt x="1165848" y="1391407"/>
                  <a:pt x="1176718" y="1394126"/>
                  <a:pt x="1187589" y="1396844"/>
                </a:cubicBezTo>
                <a:cubicBezTo>
                  <a:pt x="1187589" y="1396844"/>
                  <a:pt x="1187589" y="1394126"/>
                  <a:pt x="1187589" y="1394126"/>
                </a:cubicBezTo>
                <a:cubicBezTo>
                  <a:pt x="1182153" y="1394126"/>
                  <a:pt x="1179436" y="1391407"/>
                  <a:pt x="1176718" y="1391407"/>
                </a:cubicBezTo>
                <a:cubicBezTo>
                  <a:pt x="1168565" y="1388691"/>
                  <a:pt x="1160413" y="1388691"/>
                  <a:pt x="1152260" y="1385972"/>
                </a:cubicBezTo>
                <a:close/>
                <a:moveTo>
                  <a:pt x="4657957" y="1383256"/>
                </a:moveTo>
                <a:lnTo>
                  <a:pt x="4652521" y="1391407"/>
                </a:lnTo>
                <a:cubicBezTo>
                  <a:pt x="4657957" y="1396844"/>
                  <a:pt x="4666109" y="1399561"/>
                  <a:pt x="4666109" y="1388691"/>
                </a:cubicBezTo>
                <a:cubicBezTo>
                  <a:pt x="4663393" y="1391407"/>
                  <a:pt x="4660675" y="1388691"/>
                  <a:pt x="4657957" y="1383256"/>
                </a:cubicBezTo>
                <a:close/>
                <a:moveTo>
                  <a:pt x="1206612" y="1378800"/>
                </a:moveTo>
                <a:lnTo>
                  <a:pt x="1208678" y="1379242"/>
                </a:lnTo>
                <a:lnTo>
                  <a:pt x="1209330" y="1380546"/>
                </a:lnTo>
                <a:cubicBezTo>
                  <a:pt x="1209330" y="1380546"/>
                  <a:pt x="1209330" y="1380546"/>
                  <a:pt x="1206612" y="1380546"/>
                </a:cubicBezTo>
                <a:close/>
                <a:moveTo>
                  <a:pt x="3271983" y="1377819"/>
                </a:moveTo>
                <a:cubicBezTo>
                  <a:pt x="3266549" y="1380537"/>
                  <a:pt x="3263831" y="1380537"/>
                  <a:pt x="3258395" y="1380537"/>
                </a:cubicBezTo>
                <a:cubicBezTo>
                  <a:pt x="3258395" y="1385972"/>
                  <a:pt x="3258395" y="1391407"/>
                  <a:pt x="3258395" y="1396844"/>
                </a:cubicBezTo>
                <a:cubicBezTo>
                  <a:pt x="3263831" y="1394126"/>
                  <a:pt x="3269267" y="1394126"/>
                  <a:pt x="3274701" y="1391407"/>
                </a:cubicBezTo>
                <a:close/>
                <a:moveTo>
                  <a:pt x="1125084" y="1375102"/>
                </a:moveTo>
                <a:cubicBezTo>
                  <a:pt x="1125084" y="1377819"/>
                  <a:pt x="1125084" y="1377819"/>
                  <a:pt x="1122366" y="1377819"/>
                </a:cubicBezTo>
                <a:cubicBezTo>
                  <a:pt x="1122366" y="1377819"/>
                  <a:pt x="1125084" y="1377819"/>
                  <a:pt x="1125084" y="1377819"/>
                </a:cubicBezTo>
                <a:cubicBezTo>
                  <a:pt x="1125084" y="1375102"/>
                  <a:pt x="1125084" y="1375102"/>
                  <a:pt x="1125084" y="1375102"/>
                </a:cubicBezTo>
                <a:close/>
                <a:moveTo>
                  <a:pt x="1399561" y="1366950"/>
                </a:moveTo>
                <a:cubicBezTo>
                  <a:pt x="1399561" y="1366950"/>
                  <a:pt x="1399561" y="1369668"/>
                  <a:pt x="1399561" y="1369668"/>
                </a:cubicBezTo>
                <a:cubicBezTo>
                  <a:pt x="1399561" y="1369668"/>
                  <a:pt x="1402278" y="1369668"/>
                  <a:pt x="1402278" y="1369668"/>
                </a:cubicBezTo>
                <a:cubicBezTo>
                  <a:pt x="1402278" y="1369668"/>
                  <a:pt x="1402278" y="1366950"/>
                  <a:pt x="1402278" y="1366950"/>
                </a:cubicBezTo>
                <a:cubicBezTo>
                  <a:pt x="1402278" y="1366950"/>
                  <a:pt x="1399561" y="1366950"/>
                  <a:pt x="1399561" y="1366950"/>
                </a:cubicBezTo>
                <a:close/>
                <a:moveTo>
                  <a:pt x="1934927" y="1364231"/>
                </a:moveTo>
                <a:cubicBezTo>
                  <a:pt x="1934927" y="1366950"/>
                  <a:pt x="1934927" y="1366950"/>
                  <a:pt x="1934927" y="1366950"/>
                </a:cubicBezTo>
                <a:cubicBezTo>
                  <a:pt x="1940362" y="1369668"/>
                  <a:pt x="1948515" y="1375102"/>
                  <a:pt x="1959385" y="1380537"/>
                </a:cubicBezTo>
                <a:cubicBezTo>
                  <a:pt x="1962103" y="1380537"/>
                  <a:pt x="1964821" y="1380537"/>
                  <a:pt x="1967538" y="1380537"/>
                </a:cubicBezTo>
                <a:cubicBezTo>
                  <a:pt x="1967538" y="1380537"/>
                  <a:pt x="1967538" y="1383256"/>
                  <a:pt x="1967538" y="1383256"/>
                </a:cubicBezTo>
                <a:cubicBezTo>
                  <a:pt x="1978409" y="1388691"/>
                  <a:pt x="1986561" y="1394126"/>
                  <a:pt x="1997432" y="1399561"/>
                </a:cubicBezTo>
                <a:cubicBezTo>
                  <a:pt x="1997432" y="1396844"/>
                  <a:pt x="1997432" y="1391407"/>
                  <a:pt x="1994714" y="1391407"/>
                </a:cubicBezTo>
                <a:cubicBezTo>
                  <a:pt x="1981126" y="1383256"/>
                  <a:pt x="1967538" y="1375102"/>
                  <a:pt x="1951233" y="1366950"/>
                </a:cubicBezTo>
                <a:cubicBezTo>
                  <a:pt x="1945797" y="1366950"/>
                  <a:pt x="1940362" y="1364231"/>
                  <a:pt x="1934927" y="1364231"/>
                </a:cubicBezTo>
                <a:close/>
                <a:moveTo>
                  <a:pt x="1399561" y="1350644"/>
                </a:moveTo>
                <a:cubicBezTo>
                  <a:pt x="1399561" y="1350644"/>
                  <a:pt x="1399561" y="1353362"/>
                  <a:pt x="1399561" y="1353362"/>
                </a:cubicBezTo>
                <a:cubicBezTo>
                  <a:pt x="1399561" y="1353362"/>
                  <a:pt x="1402278" y="1353362"/>
                  <a:pt x="1402278" y="1353362"/>
                </a:cubicBezTo>
                <a:cubicBezTo>
                  <a:pt x="1402278" y="1353362"/>
                  <a:pt x="1402278" y="1350644"/>
                  <a:pt x="1402278" y="1350644"/>
                </a:cubicBezTo>
                <a:cubicBezTo>
                  <a:pt x="1402278" y="1350644"/>
                  <a:pt x="1399561" y="1350644"/>
                  <a:pt x="1399561" y="1350644"/>
                </a:cubicBezTo>
                <a:close/>
                <a:moveTo>
                  <a:pt x="3258395" y="1342491"/>
                </a:moveTo>
                <a:cubicBezTo>
                  <a:pt x="3258395" y="1347927"/>
                  <a:pt x="3258395" y="1353362"/>
                  <a:pt x="3258395" y="1361515"/>
                </a:cubicBezTo>
                <a:cubicBezTo>
                  <a:pt x="3261113" y="1358797"/>
                  <a:pt x="3266549" y="1358797"/>
                  <a:pt x="3269267" y="1358797"/>
                </a:cubicBezTo>
                <a:cubicBezTo>
                  <a:pt x="3266549" y="1353362"/>
                  <a:pt x="3266549" y="1347927"/>
                  <a:pt x="3266549" y="1342491"/>
                </a:cubicBezTo>
                <a:cubicBezTo>
                  <a:pt x="3263831" y="1342491"/>
                  <a:pt x="3261113" y="1342491"/>
                  <a:pt x="3258395" y="1342491"/>
                </a:cubicBezTo>
                <a:close/>
                <a:moveTo>
                  <a:pt x="1399561" y="1337055"/>
                </a:moveTo>
                <a:cubicBezTo>
                  <a:pt x="1399561" y="1337055"/>
                  <a:pt x="1399561" y="1339773"/>
                  <a:pt x="1399561" y="1339773"/>
                </a:cubicBezTo>
                <a:cubicBezTo>
                  <a:pt x="1399561" y="1339773"/>
                  <a:pt x="1402278" y="1339773"/>
                  <a:pt x="1402278" y="1339773"/>
                </a:cubicBezTo>
                <a:cubicBezTo>
                  <a:pt x="1402278" y="1339773"/>
                  <a:pt x="1402278" y="1337055"/>
                  <a:pt x="1402278" y="1337055"/>
                </a:cubicBezTo>
                <a:cubicBezTo>
                  <a:pt x="1402278" y="1337055"/>
                  <a:pt x="1399561" y="1337055"/>
                  <a:pt x="1399561" y="1337055"/>
                </a:cubicBezTo>
                <a:close/>
                <a:moveTo>
                  <a:pt x="1937645" y="1331621"/>
                </a:moveTo>
                <a:cubicBezTo>
                  <a:pt x="1937645" y="1334339"/>
                  <a:pt x="1937645" y="1339773"/>
                  <a:pt x="1937645" y="1342491"/>
                </a:cubicBezTo>
                <a:cubicBezTo>
                  <a:pt x="1937645" y="1342491"/>
                  <a:pt x="1940362" y="1342491"/>
                  <a:pt x="1943080" y="1342491"/>
                </a:cubicBezTo>
                <a:cubicBezTo>
                  <a:pt x="1943080" y="1339773"/>
                  <a:pt x="1943080" y="1334339"/>
                  <a:pt x="1943080" y="1331621"/>
                </a:cubicBezTo>
                <a:cubicBezTo>
                  <a:pt x="1943080" y="1331621"/>
                  <a:pt x="1940362" y="1331621"/>
                  <a:pt x="1937645" y="1331621"/>
                </a:cubicBezTo>
                <a:close/>
                <a:moveTo>
                  <a:pt x="1353362" y="1328904"/>
                </a:moveTo>
                <a:cubicBezTo>
                  <a:pt x="1350644" y="1328904"/>
                  <a:pt x="1350644" y="1331621"/>
                  <a:pt x="1350644" y="1334339"/>
                </a:cubicBezTo>
                <a:cubicBezTo>
                  <a:pt x="1353362" y="1334339"/>
                  <a:pt x="1353362" y="1334339"/>
                  <a:pt x="1353362" y="1334339"/>
                </a:cubicBezTo>
                <a:cubicBezTo>
                  <a:pt x="1350644" y="1337055"/>
                  <a:pt x="1350644" y="1337055"/>
                  <a:pt x="1350644" y="1339773"/>
                </a:cubicBezTo>
                <a:cubicBezTo>
                  <a:pt x="1353362" y="1339773"/>
                  <a:pt x="1353362" y="1339773"/>
                  <a:pt x="1353362" y="1339773"/>
                </a:cubicBezTo>
                <a:cubicBezTo>
                  <a:pt x="1353362" y="1337055"/>
                  <a:pt x="1353362" y="1337055"/>
                  <a:pt x="1353362" y="1334339"/>
                </a:cubicBezTo>
                <a:cubicBezTo>
                  <a:pt x="1353362" y="1331621"/>
                  <a:pt x="1353362" y="1331621"/>
                  <a:pt x="1353362" y="1328904"/>
                </a:cubicBezTo>
                <a:close/>
                <a:moveTo>
                  <a:pt x="1399561" y="1323468"/>
                </a:moveTo>
                <a:cubicBezTo>
                  <a:pt x="1399561" y="1323468"/>
                  <a:pt x="1399561" y="1326186"/>
                  <a:pt x="1399561" y="1326186"/>
                </a:cubicBezTo>
                <a:cubicBezTo>
                  <a:pt x="1399561" y="1326186"/>
                  <a:pt x="1402278" y="1326186"/>
                  <a:pt x="1402278" y="1326186"/>
                </a:cubicBezTo>
                <a:cubicBezTo>
                  <a:pt x="1402278" y="1323468"/>
                  <a:pt x="1402278" y="1323468"/>
                  <a:pt x="1402278" y="1323468"/>
                </a:cubicBezTo>
                <a:cubicBezTo>
                  <a:pt x="1402278" y="1323468"/>
                  <a:pt x="1399561" y="1323468"/>
                  <a:pt x="1399561" y="1323468"/>
                </a:cubicBezTo>
                <a:close/>
                <a:moveTo>
                  <a:pt x="5166022" y="1317205"/>
                </a:moveTo>
                <a:lnTo>
                  <a:pt x="5144280" y="1325845"/>
                </a:lnTo>
                <a:lnTo>
                  <a:pt x="5138867" y="1327365"/>
                </a:lnTo>
                <a:lnTo>
                  <a:pt x="5155659" y="1317481"/>
                </a:lnTo>
                <a:close/>
                <a:moveTo>
                  <a:pt x="1464783" y="1309881"/>
                </a:moveTo>
                <a:cubicBezTo>
                  <a:pt x="1464783" y="1309881"/>
                  <a:pt x="1464783" y="1312597"/>
                  <a:pt x="1467501" y="1312597"/>
                </a:cubicBezTo>
                <a:cubicBezTo>
                  <a:pt x="1467501" y="1309881"/>
                  <a:pt x="1467501" y="1309881"/>
                  <a:pt x="1467501" y="1309881"/>
                </a:cubicBezTo>
                <a:cubicBezTo>
                  <a:pt x="1464783" y="1309881"/>
                  <a:pt x="1464783" y="1309881"/>
                  <a:pt x="1464783" y="1309881"/>
                </a:cubicBezTo>
                <a:close/>
                <a:moveTo>
                  <a:pt x="1399561" y="1309881"/>
                </a:moveTo>
                <a:cubicBezTo>
                  <a:pt x="1399561" y="1309881"/>
                  <a:pt x="1399561" y="1312597"/>
                  <a:pt x="1399561" y="1312597"/>
                </a:cubicBezTo>
                <a:cubicBezTo>
                  <a:pt x="1399561" y="1312597"/>
                  <a:pt x="1402278" y="1312597"/>
                  <a:pt x="1402278" y="1312597"/>
                </a:cubicBezTo>
                <a:cubicBezTo>
                  <a:pt x="1402278" y="1309881"/>
                  <a:pt x="1402278" y="1309881"/>
                  <a:pt x="1402278" y="1309881"/>
                </a:cubicBezTo>
                <a:cubicBezTo>
                  <a:pt x="1402278" y="1309881"/>
                  <a:pt x="1399561" y="1309881"/>
                  <a:pt x="1399561" y="1309881"/>
                </a:cubicBezTo>
                <a:close/>
                <a:moveTo>
                  <a:pt x="1353362" y="1309881"/>
                </a:moveTo>
                <a:cubicBezTo>
                  <a:pt x="1350644" y="1312597"/>
                  <a:pt x="1350644" y="1312597"/>
                  <a:pt x="1350644" y="1315315"/>
                </a:cubicBezTo>
                <a:cubicBezTo>
                  <a:pt x="1353362" y="1315315"/>
                  <a:pt x="1353362" y="1315315"/>
                  <a:pt x="1353362" y="1315315"/>
                </a:cubicBezTo>
                <a:cubicBezTo>
                  <a:pt x="1353362" y="1312597"/>
                  <a:pt x="1353362" y="1312597"/>
                  <a:pt x="1353362" y="1309881"/>
                </a:cubicBezTo>
                <a:close/>
                <a:moveTo>
                  <a:pt x="3258395" y="1304444"/>
                </a:moveTo>
                <a:cubicBezTo>
                  <a:pt x="3258395" y="1309881"/>
                  <a:pt x="3258395" y="1315315"/>
                  <a:pt x="3258395" y="1320751"/>
                </a:cubicBezTo>
                <a:cubicBezTo>
                  <a:pt x="3261113" y="1320751"/>
                  <a:pt x="3261113" y="1320751"/>
                  <a:pt x="3263831" y="1320751"/>
                </a:cubicBezTo>
                <a:cubicBezTo>
                  <a:pt x="3263831" y="1315315"/>
                  <a:pt x="3261113" y="1309881"/>
                  <a:pt x="3261113" y="1304444"/>
                </a:cubicBezTo>
                <a:cubicBezTo>
                  <a:pt x="3261113" y="1304444"/>
                  <a:pt x="3258395" y="1304444"/>
                  <a:pt x="3258395" y="1304444"/>
                </a:cubicBezTo>
                <a:close/>
                <a:moveTo>
                  <a:pt x="1557181" y="1304444"/>
                </a:moveTo>
                <a:cubicBezTo>
                  <a:pt x="1557181" y="1307163"/>
                  <a:pt x="1557181" y="1307163"/>
                  <a:pt x="1557181" y="1307163"/>
                </a:cubicBezTo>
                <a:cubicBezTo>
                  <a:pt x="1559899" y="1307163"/>
                  <a:pt x="1565334" y="1309881"/>
                  <a:pt x="1568052" y="1309881"/>
                </a:cubicBezTo>
                <a:cubicBezTo>
                  <a:pt x="1565334" y="1307163"/>
                  <a:pt x="1559899" y="1307163"/>
                  <a:pt x="1557181" y="1304444"/>
                </a:cubicBezTo>
                <a:close/>
                <a:moveTo>
                  <a:pt x="1549029" y="1304444"/>
                </a:moveTo>
                <a:cubicBezTo>
                  <a:pt x="1549029" y="1307163"/>
                  <a:pt x="1549029" y="1307163"/>
                  <a:pt x="1549029" y="1307163"/>
                </a:cubicBezTo>
                <a:cubicBezTo>
                  <a:pt x="1551746" y="1307163"/>
                  <a:pt x="1551746" y="1307163"/>
                  <a:pt x="1554464" y="1307163"/>
                </a:cubicBezTo>
                <a:cubicBezTo>
                  <a:pt x="1554464" y="1304444"/>
                  <a:pt x="1551746" y="1304444"/>
                  <a:pt x="1549029" y="1304444"/>
                </a:cubicBezTo>
                <a:close/>
                <a:moveTo>
                  <a:pt x="1937645" y="1301727"/>
                </a:moveTo>
                <a:cubicBezTo>
                  <a:pt x="1937645" y="1304444"/>
                  <a:pt x="1937645" y="1309881"/>
                  <a:pt x="1937645" y="1315315"/>
                </a:cubicBezTo>
                <a:cubicBezTo>
                  <a:pt x="1937645" y="1315315"/>
                  <a:pt x="1940362" y="1315315"/>
                  <a:pt x="1943080" y="1315315"/>
                </a:cubicBezTo>
                <a:cubicBezTo>
                  <a:pt x="1943080" y="1309881"/>
                  <a:pt x="1943080" y="1307163"/>
                  <a:pt x="1943080" y="1301727"/>
                </a:cubicBezTo>
                <a:cubicBezTo>
                  <a:pt x="1943080" y="1301727"/>
                  <a:pt x="1940362" y="1301727"/>
                  <a:pt x="1937645" y="1301727"/>
                </a:cubicBezTo>
                <a:close/>
                <a:moveTo>
                  <a:pt x="1353362" y="1296292"/>
                </a:moveTo>
                <a:cubicBezTo>
                  <a:pt x="1350644" y="1299009"/>
                  <a:pt x="1350644" y="1301727"/>
                  <a:pt x="1350644" y="1301727"/>
                </a:cubicBezTo>
                <a:cubicBezTo>
                  <a:pt x="1353362" y="1301727"/>
                  <a:pt x="1353362" y="1301727"/>
                  <a:pt x="1353362" y="1301727"/>
                </a:cubicBezTo>
                <a:cubicBezTo>
                  <a:pt x="1353362" y="1299009"/>
                  <a:pt x="1353362" y="1299009"/>
                  <a:pt x="1353362" y="1296292"/>
                </a:cubicBezTo>
                <a:close/>
                <a:moveTo>
                  <a:pt x="1399561" y="1293574"/>
                </a:moveTo>
                <a:cubicBezTo>
                  <a:pt x="1399561" y="1293574"/>
                  <a:pt x="1399561" y="1296292"/>
                  <a:pt x="1399561" y="1296292"/>
                </a:cubicBezTo>
                <a:cubicBezTo>
                  <a:pt x="1399561" y="1296292"/>
                  <a:pt x="1402278" y="1296292"/>
                  <a:pt x="1402278" y="1296292"/>
                </a:cubicBezTo>
                <a:cubicBezTo>
                  <a:pt x="1402278" y="1296292"/>
                  <a:pt x="1402278" y="1293574"/>
                  <a:pt x="1402278" y="1293574"/>
                </a:cubicBezTo>
                <a:cubicBezTo>
                  <a:pt x="1402278" y="1293574"/>
                  <a:pt x="1399561" y="1293574"/>
                  <a:pt x="1399561" y="1293574"/>
                </a:cubicBezTo>
                <a:close/>
                <a:moveTo>
                  <a:pt x="1557181" y="1288140"/>
                </a:moveTo>
                <a:cubicBezTo>
                  <a:pt x="1557181" y="1290857"/>
                  <a:pt x="1557181" y="1290857"/>
                  <a:pt x="1557181" y="1290857"/>
                </a:cubicBezTo>
                <a:cubicBezTo>
                  <a:pt x="1562617" y="1290857"/>
                  <a:pt x="1565334" y="1293574"/>
                  <a:pt x="1568052" y="1293574"/>
                </a:cubicBezTo>
                <a:cubicBezTo>
                  <a:pt x="1565334" y="1290857"/>
                  <a:pt x="1562617" y="1288140"/>
                  <a:pt x="1557181" y="1288140"/>
                </a:cubicBezTo>
                <a:close/>
                <a:moveTo>
                  <a:pt x="3003283" y="1287460"/>
                </a:moveTo>
                <a:lnTo>
                  <a:pt x="3003168" y="1288606"/>
                </a:lnTo>
                <a:lnTo>
                  <a:pt x="2236580" y="1432171"/>
                </a:lnTo>
                <a:cubicBezTo>
                  <a:pt x="2236580" y="1432171"/>
                  <a:pt x="2239298" y="1432171"/>
                  <a:pt x="2239298" y="1434890"/>
                </a:cubicBezTo>
                <a:cubicBezTo>
                  <a:pt x="2494753" y="1385972"/>
                  <a:pt x="2747489" y="1339773"/>
                  <a:pt x="3002943" y="1290857"/>
                </a:cubicBezTo>
                <a:lnTo>
                  <a:pt x="3003168" y="1288606"/>
                </a:lnTo>
                <a:lnTo>
                  <a:pt x="3005659" y="1288140"/>
                </a:lnTo>
                <a:cubicBezTo>
                  <a:pt x="3004301" y="1286781"/>
                  <a:pt x="3003622" y="1286781"/>
                  <a:pt x="3003283" y="1287460"/>
                </a:cubicBezTo>
                <a:close/>
                <a:moveTo>
                  <a:pt x="1549029" y="1285421"/>
                </a:moveTo>
                <a:cubicBezTo>
                  <a:pt x="1549029" y="1288140"/>
                  <a:pt x="1549029" y="1288140"/>
                  <a:pt x="1549029" y="1288140"/>
                </a:cubicBezTo>
                <a:cubicBezTo>
                  <a:pt x="1551746" y="1288140"/>
                  <a:pt x="1551746" y="1288140"/>
                  <a:pt x="1554464" y="1288140"/>
                </a:cubicBezTo>
                <a:cubicBezTo>
                  <a:pt x="1554464" y="1288140"/>
                  <a:pt x="1551746" y="1285421"/>
                  <a:pt x="1549029" y="1285421"/>
                </a:cubicBezTo>
                <a:close/>
                <a:moveTo>
                  <a:pt x="1353362" y="1285421"/>
                </a:moveTo>
                <a:cubicBezTo>
                  <a:pt x="1350644" y="1288140"/>
                  <a:pt x="1350644" y="1293574"/>
                  <a:pt x="1350644" y="1293574"/>
                </a:cubicBezTo>
                <a:cubicBezTo>
                  <a:pt x="1353362" y="1293574"/>
                  <a:pt x="1353362" y="1293574"/>
                  <a:pt x="1353362" y="1293574"/>
                </a:cubicBezTo>
                <a:cubicBezTo>
                  <a:pt x="1353362" y="1290857"/>
                  <a:pt x="1353362" y="1288140"/>
                  <a:pt x="1353362" y="1285421"/>
                </a:cubicBezTo>
                <a:close/>
                <a:moveTo>
                  <a:pt x="3024683" y="1279986"/>
                </a:moveTo>
                <a:cubicBezTo>
                  <a:pt x="3024683" y="1282705"/>
                  <a:pt x="3024683" y="1282705"/>
                  <a:pt x="3024683" y="1285421"/>
                </a:cubicBezTo>
                <a:cubicBezTo>
                  <a:pt x="3027401" y="1285421"/>
                  <a:pt x="3030119" y="1285421"/>
                  <a:pt x="3032835" y="1285421"/>
                </a:cubicBezTo>
                <a:cubicBezTo>
                  <a:pt x="3032835" y="1282705"/>
                  <a:pt x="3032835" y="1282705"/>
                  <a:pt x="3032835" y="1279986"/>
                </a:cubicBezTo>
                <a:cubicBezTo>
                  <a:pt x="3032835" y="1279986"/>
                  <a:pt x="3030119" y="1279986"/>
                  <a:pt x="3024683" y="1279986"/>
                </a:cubicBezTo>
                <a:close/>
                <a:moveTo>
                  <a:pt x="1505547" y="1279986"/>
                </a:moveTo>
                <a:cubicBezTo>
                  <a:pt x="1502829" y="1279986"/>
                  <a:pt x="1500112" y="1282705"/>
                  <a:pt x="1497394" y="1282705"/>
                </a:cubicBezTo>
                <a:cubicBezTo>
                  <a:pt x="1500112" y="1282705"/>
                  <a:pt x="1500112" y="1282705"/>
                  <a:pt x="1502829" y="1282705"/>
                </a:cubicBezTo>
                <a:cubicBezTo>
                  <a:pt x="1508265" y="1282705"/>
                  <a:pt x="1510982" y="1279986"/>
                  <a:pt x="1510982" y="1279986"/>
                </a:cubicBezTo>
                <a:cubicBezTo>
                  <a:pt x="1508265" y="1279986"/>
                  <a:pt x="1508265" y="1279986"/>
                  <a:pt x="1505547" y="1279986"/>
                </a:cubicBezTo>
                <a:close/>
                <a:moveTo>
                  <a:pt x="1399561" y="1279986"/>
                </a:moveTo>
                <a:cubicBezTo>
                  <a:pt x="1399561" y="1279986"/>
                  <a:pt x="1399561" y="1282705"/>
                  <a:pt x="1399561" y="1282705"/>
                </a:cubicBezTo>
                <a:cubicBezTo>
                  <a:pt x="1399561" y="1282705"/>
                  <a:pt x="1402278" y="1282705"/>
                  <a:pt x="1402278" y="1282705"/>
                </a:cubicBezTo>
                <a:cubicBezTo>
                  <a:pt x="1402278" y="1282705"/>
                  <a:pt x="1402278" y="1279986"/>
                  <a:pt x="1402278" y="1279986"/>
                </a:cubicBezTo>
                <a:cubicBezTo>
                  <a:pt x="1402278" y="1279986"/>
                  <a:pt x="1399561" y="1279986"/>
                  <a:pt x="1399561" y="1279986"/>
                </a:cubicBezTo>
                <a:close/>
                <a:moveTo>
                  <a:pt x="1937645" y="1271834"/>
                </a:moveTo>
                <a:cubicBezTo>
                  <a:pt x="1937645" y="1274552"/>
                  <a:pt x="1937645" y="1279986"/>
                  <a:pt x="1937645" y="1285421"/>
                </a:cubicBezTo>
                <a:cubicBezTo>
                  <a:pt x="1937645" y="1285421"/>
                  <a:pt x="1940362" y="1285421"/>
                  <a:pt x="1943080" y="1285421"/>
                </a:cubicBezTo>
                <a:cubicBezTo>
                  <a:pt x="1943080" y="1279986"/>
                  <a:pt x="1943080" y="1277269"/>
                  <a:pt x="1943080" y="1271834"/>
                </a:cubicBezTo>
                <a:cubicBezTo>
                  <a:pt x="1943080" y="1271834"/>
                  <a:pt x="1940362" y="1271834"/>
                  <a:pt x="1937645" y="1271834"/>
                </a:cubicBezTo>
                <a:close/>
                <a:moveTo>
                  <a:pt x="1557181" y="1269117"/>
                </a:moveTo>
                <a:cubicBezTo>
                  <a:pt x="1557181" y="1271834"/>
                  <a:pt x="1557181" y="1271834"/>
                  <a:pt x="1557181" y="1271834"/>
                </a:cubicBezTo>
                <a:cubicBezTo>
                  <a:pt x="1562617" y="1271834"/>
                  <a:pt x="1565334" y="1274552"/>
                  <a:pt x="1568052" y="1274552"/>
                </a:cubicBezTo>
                <a:cubicBezTo>
                  <a:pt x="1565334" y="1271834"/>
                  <a:pt x="1562617" y="1269117"/>
                  <a:pt x="1557181" y="1269117"/>
                </a:cubicBezTo>
                <a:close/>
                <a:moveTo>
                  <a:pt x="1549029" y="1266399"/>
                </a:moveTo>
                <a:cubicBezTo>
                  <a:pt x="1549029" y="1269117"/>
                  <a:pt x="1549029" y="1269117"/>
                  <a:pt x="1549029" y="1269117"/>
                </a:cubicBezTo>
                <a:cubicBezTo>
                  <a:pt x="1551746" y="1269117"/>
                  <a:pt x="1551746" y="1269117"/>
                  <a:pt x="1554464" y="1269117"/>
                </a:cubicBezTo>
                <a:cubicBezTo>
                  <a:pt x="1554464" y="1269117"/>
                  <a:pt x="1551746" y="1266399"/>
                  <a:pt x="1549029" y="1266399"/>
                </a:cubicBezTo>
                <a:close/>
                <a:moveTo>
                  <a:pt x="3032835" y="1255528"/>
                </a:moveTo>
                <a:cubicBezTo>
                  <a:pt x="2752924" y="1309881"/>
                  <a:pt x="2155052" y="1424018"/>
                  <a:pt x="2155052" y="1426736"/>
                </a:cubicBezTo>
                <a:cubicBezTo>
                  <a:pt x="2448553" y="1372385"/>
                  <a:pt x="2742054" y="1318033"/>
                  <a:pt x="3032835" y="1260963"/>
                </a:cubicBezTo>
                <a:cubicBezTo>
                  <a:pt x="3032835" y="1258246"/>
                  <a:pt x="3032835" y="1258246"/>
                  <a:pt x="3032835" y="1258246"/>
                </a:cubicBezTo>
                <a:cubicBezTo>
                  <a:pt x="3032835" y="1255528"/>
                  <a:pt x="3032835" y="1255528"/>
                  <a:pt x="3032835" y="1255528"/>
                </a:cubicBezTo>
                <a:close/>
                <a:moveTo>
                  <a:pt x="1353362" y="1255528"/>
                </a:moveTo>
                <a:cubicBezTo>
                  <a:pt x="1350644" y="1258246"/>
                  <a:pt x="1350644" y="1260963"/>
                  <a:pt x="1350644" y="1263681"/>
                </a:cubicBezTo>
                <a:cubicBezTo>
                  <a:pt x="1353362" y="1263681"/>
                  <a:pt x="1353362" y="1263681"/>
                  <a:pt x="1353362" y="1263681"/>
                </a:cubicBezTo>
                <a:cubicBezTo>
                  <a:pt x="1353362" y="1260963"/>
                  <a:pt x="1353362" y="1258246"/>
                  <a:pt x="1353362" y="1255528"/>
                </a:cubicBezTo>
                <a:close/>
                <a:moveTo>
                  <a:pt x="5020417" y="1254849"/>
                </a:moveTo>
                <a:cubicBezTo>
                  <a:pt x="5013963" y="1255528"/>
                  <a:pt x="5007169" y="1256888"/>
                  <a:pt x="5000375" y="1258246"/>
                </a:cubicBezTo>
                <a:cubicBezTo>
                  <a:pt x="4997657" y="1277269"/>
                  <a:pt x="4975916" y="1288140"/>
                  <a:pt x="4962328" y="1301727"/>
                </a:cubicBezTo>
                <a:cubicBezTo>
                  <a:pt x="4956893" y="1326186"/>
                  <a:pt x="4967763" y="1353362"/>
                  <a:pt x="4962328" y="1377819"/>
                </a:cubicBezTo>
                <a:cubicBezTo>
                  <a:pt x="4970481" y="1377819"/>
                  <a:pt x="4984069" y="1375102"/>
                  <a:pt x="4986787" y="1366950"/>
                </a:cubicBezTo>
                <a:cubicBezTo>
                  <a:pt x="4984069" y="1353362"/>
                  <a:pt x="4965046" y="1323468"/>
                  <a:pt x="4984069" y="1312597"/>
                </a:cubicBezTo>
                <a:cubicBezTo>
                  <a:pt x="5016680" y="1350644"/>
                  <a:pt x="5041138" y="1279986"/>
                  <a:pt x="5038421" y="1255528"/>
                </a:cubicBezTo>
                <a:cubicBezTo>
                  <a:pt x="5032986" y="1254170"/>
                  <a:pt x="5026871" y="1254170"/>
                  <a:pt x="5020417" y="1254849"/>
                </a:cubicBezTo>
                <a:close/>
                <a:moveTo>
                  <a:pt x="1557181" y="1250094"/>
                </a:moveTo>
                <a:cubicBezTo>
                  <a:pt x="1557181" y="1252811"/>
                  <a:pt x="1557181" y="1252811"/>
                  <a:pt x="1557181" y="1252811"/>
                </a:cubicBezTo>
                <a:cubicBezTo>
                  <a:pt x="1562617" y="1252811"/>
                  <a:pt x="1565334" y="1255528"/>
                  <a:pt x="1568052" y="1255528"/>
                </a:cubicBezTo>
                <a:cubicBezTo>
                  <a:pt x="1565334" y="1252811"/>
                  <a:pt x="1562617" y="1250094"/>
                  <a:pt x="1557181" y="1250094"/>
                </a:cubicBezTo>
                <a:close/>
                <a:moveTo>
                  <a:pt x="1549029" y="1247376"/>
                </a:moveTo>
                <a:cubicBezTo>
                  <a:pt x="1549029" y="1250094"/>
                  <a:pt x="1549029" y="1250094"/>
                  <a:pt x="1549029" y="1250094"/>
                </a:cubicBezTo>
                <a:cubicBezTo>
                  <a:pt x="1551746" y="1250094"/>
                  <a:pt x="1551746" y="1250094"/>
                  <a:pt x="1554464" y="1250094"/>
                </a:cubicBezTo>
                <a:cubicBezTo>
                  <a:pt x="1554464" y="1250094"/>
                  <a:pt x="1551746" y="1250094"/>
                  <a:pt x="1549029" y="1247376"/>
                </a:cubicBezTo>
                <a:close/>
                <a:moveTo>
                  <a:pt x="1307163" y="1241953"/>
                </a:moveTo>
                <a:cubicBezTo>
                  <a:pt x="1307163" y="1241953"/>
                  <a:pt x="1309880" y="1241953"/>
                  <a:pt x="1309880" y="1241953"/>
                </a:cubicBezTo>
                <a:cubicBezTo>
                  <a:pt x="1309880" y="1244669"/>
                  <a:pt x="1309880" y="1247388"/>
                  <a:pt x="1309880" y="1250104"/>
                </a:cubicBezTo>
                <a:cubicBezTo>
                  <a:pt x="1309880" y="1250104"/>
                  <a:pt x="1307163" y="1250104"/>
                  <a:pt x="1307163" y="1250104"/>
                </a:cubicBezTo>
                <a:cubicBezTo>
                  <a:pt x="1307163" y="1247388"/>
                  <a:pt x="1307163" y="1244669"/>
                  <a:pt x="1307163" y="1241953"/>
                </a:cubicBezTo>
                <a:close/>
                <a:moveTo>
                  <a:pt x="4937870" y="1241941"/>
                </a:moveTo>
                <a:cubicBezTo>
                  <a:pt x="4910694" y="1266399"/>
                  <a:pt x="4883518" y="1252811"/>
                  <a:pt x="4850907" y="1266399"/>
                </a:cubicBezTo>
                <a:cubicBezTo>
                  <a:pt x="4854983" y="1278628"/>
                  <a:pt x="4866703" y="1277099"/>
                  <a:pt x="4874601" y="1282450"/>
                </a:cubicBezTo>
                <a:lnTo>
                  <a:pt x="4878519" y="1287762"/>
                </a:lnTo>
                <a:lnTo>
                  <a:pt x="4878083" y="1288140"/>
                </a:lnTo>
                <a:lnTo>
                  <a:pt x="4880202" y="1290045"/>
                </a:lnTo>
                <a:lnTo>
                  <a:pt x="4880801" y="1290857"/>
                </a:lnTo>
                <a:cubicBezTo>
                  <a:pt x="4861777" y="1296292"/>
                  <a:pt x="4856342" y="1271834"/>
                  <a:pt x="4834601" y="1285421"/>
                </a:cubicBezTo>
                <a:cubicBezTo>
                  <a:pt x="4837319" y="1288140"/>
                  <a:pt x="4840037" y="1293574"/>
                  <a:pt x="4837319" y="1296292"/>
                </a:cubicBezTo>
                <a:cubicBezTo>
                  <a:pt x="4815578" y="1312597"/>
                  <a:pt x="4796555" y="1328904"/>
                  <a:pt x="4791120" y="1350644"/>
                </a:cubicBezTo>
                <a:cubicBezTo>
                  <a:pt x="4799273" y="1361515"/>
                  <a:pt x="4807425" y="1366950"/>
                  <a:pt x="4812861" y="1377819"/>
                </a:cubicBezTo>
                <a:cubicBezTo>
                  <a:pt x="4804708" y="1383256"/>
                  <a:pt x="4796555" y="1394126"/>
                  <a:pt x="4791120" y="1385972"/>
                </a:cubicBezTo>
                <a:cubicBezTo>
                  <a:pt x="4796555" y="1383256"/>
                  <a:pt x="4799273" y="1383256"/>
                  <a:pt x="4804708" y="1380537"/>
                </a:cubicBezTo>
                <a:cubicBezTo>
                  <a:pt x="4801990" y="1372385"/>
                  <a:pt x="4788402" y="1372385"/>
                  <a:pt x="4793837" y="1361515"/>
                </a:cubicBezTo>
                <a:cubicBezTo>
                  <a:pt x="4772097" y="1366950"/>
                  <a:pt x="4785685" y="1383256"/>
                  <a:pt x="4774814" y="1394126"/>
                </a:cubicBezTo>
                <a:cubicBezTo>
                  <a:pt x="4801990" y="1385972"/>
                  <a:pt x="4826449" y="1426736"/>
                  <a:pt x="4815578" y="1451194"/>
                </a:cubicBezTo>
                <a:cubicBezTo>
                  <a:pt x="4826449" y="1443043"/>
                  <a:pt x="4826449" y="1462065"/>
                  <a:pt x="4834601" y="1464782"/>
                </a:cubicBezTo>
                <a:cubicBezTo>
                  <a:pt x="4840037" y="1462065"/>
                  <a:pt x="4845472" y="1459347"/>
                  <a:pt x="4850907" y="1456630"/>
                </a:cubicBezTo>
                <a:cubicBezTo>
                  <a:pt x="4856342" y="1464782"/>
                  <a:pt x="4864495" y="1470218"/>
                  <a:pt x="4872648" y="1472935"/>
                </a:cubicBezTo>
                <a:cubicBezTo>
                  <a:pt x="4913412" y="1462065"/>
                  <a:pt x="4924282" y="1440324"/>
                  <a:pt x="4924282" y="1413149"/>
                </a:cubicBezTo>
                <a:cubicBezTo>
                  <a:pt x="4932435" y="1410431"/>
                  <a:pt x="4940588" y="1404996"/>
                  <a:pt x="4948740" y="1402279"/>
                </a:cubicBezTo>
                <a:cubicBezTo>
                  <a:pt x="4946023" y="1385972"/>
                  <a:pt x="4927000" y="1394126"/>
                  <a:pt x="4921564" y="1402279"/>
                </a:cubicBezTo>
                <a:cubicBezTo>
                  <a:pt x="4921564" y="1396844"/>
                  <a:pt x="4924282" y="1394126"/>
                  <a:pt x="4927000" y="1388691"/>
                </a:cubicBezTo>
                <a:cubicBezTo>
                  <a:pt x="4932435" y="1388691"/>
                  <a:pt x="4959611" y="1388691"/>
                  <a:pt x="4956893" y="1375102"/>
                </a:cubicBezTo>
                <a:cubicBezTo>
                  <a:pt x="4954176" y="1369668"/>
                  <a:pt x="4943305" y="1377819"/>
                  <a:pt x="4940588" y="1372385"/>
                </a:cubicBezTo>
                <a:cubicBezTo>
                  <a:pt x="4946023" y="1366950"/>
                  <a:pt x="4954176" y="1356079"/>
                  <a:pt x="4943305" y="1353362"/>
                </a:cubicBezTo>
                <a:cubicBezTo>
                  <a:pt x="4962328" y="1342491"/>
                  <a:pt x="4948740" y="1331621"/>
                  <a:pt x="4951458" y="1315315"/>
                </a:cubicBezTo>
                <a:cubicBezTo>
                  <a:pt x="4932435" y="1307163"/>
                  <a:pt x="4907976" y="1320751"/>
                  <a:pt x="4894389" y="1307163"/>
                </a:cubicBezTo>
                <a:cubicBezTo>
                  <a:pt x="4905259" y="1293574"/>
                  <a:pt x="4910694" y="1315315"/>
                  <a:pt x="4927000" y="1301727"/>
                </a:cubicBezTo>
                <a:cubicBezTo>
                  <a:pt x="4927000" y="1296292"/>
                  <a:pt x="4924282" y="1288140"/>
                  <a:pt x="4924282" y="1282705"/>
                </a:cubicBezTo>
                <a:cubicBezTo>
                  <a:pt x="4910015" y="1288819"/>
                  <a:pt x="4895748" y="1297990"/>
                  <a:pt x="4886066" y="1295315"/>
                </a:cubicBezTo>
                <a:lnTo>
                  <a:pt x="4880202" y="1290045"/>
                </a:lnTo>
                <a:lnTo>
                  <a:pt x="4878519" y="1287762"/>
                </a:lnTo>
                <a:lnTo>
                  <a:pt x="4890652" y="1277269"/>
                </a:lnTo>
                <a:cubicBezTo>
                  <a:pt x="4894389" y="1273193"/>
                  <a:pt x="4898465" y="1269117"/>
                  <a:pt x="4905259" y="1266399"/>
                </a:cubicBezTo>
                <a:cubicBezTo>
                  <a:pt x="4902541" y="1282705"/>
                  <a:pt x="4921564" y="1279986"/>
                  <a:pt x="4935152" y="1274552"/>
                </a:cubicBezTo>
                <a:cubicBezTo>
                  <a:pt x="4924282" y="1260963"/>
                  <a:pt x="4948740" y="1258246"/>
                  <a:pt x="4937870" y="1241941"/>
                </a:cubicBezTo>
                <a:close/>
                <a:moveTo>
                  <a:pt x="1937645" y="1241941"/>
                </a:moveTo>
                <a:cubicBezTo>
                  <a:pt x="1937645" y="1244658"/>
                  <a:pt x="1937645" y="1250094"/>
                  <a:pt x="1937645" y="1255528"/>
                </a:cubicBezTo>
                <a:cubicBezTo>
                  <a:pt x="1937645" y="1255528"/>
                  <a:pt x="1940362" y="1255528"/>
                  <a:pt x="1943080" y="1255528"/>
                </a:cubicBezTo>
                <a:cubicBezTo>
                  <a:pt x="1943080" y="1250094"/>
                  <a:pt x="1943080" y="1247376"/>
                  <a:pt x="1943080" y="1241941"/>
                </a:cubicBezTo>
                <a:cubicBezTo>
                  <a:pt x="1943080" y="1241941"/>
                  <a:pt x="1940362" y="1241941"/>
                  <a:pt x="1937645" y="1241941"/>
                </a:cubicBezTo>
                <a:close/>
                <a:moveTo>
                  <a:pt x="1350644" y="1239223"/>
                </a:moveTo>
                <a:cubicBezTo>
                  <a:pt x="1350644" y="1241941"/>
                  <a:pt x="1350644" y="1244658"/>
                  <a:pt x="1350644" y="1247376"/>
                </a:cubicBezTo>
                <a:cubicBezTo>
                  <a:pt x="1353362" y="1244658"/>
                  <a:pt x="1353362" y="1241941"/>
                  <a:pt x="1353362" y="1239223"/>
                </a:cubicBezTo>
                <a:cubicBezTo>
                  <a:pt x="1350644" y="1239223"/>
                  <a:pt x="1350644" y="1239223"/>
                  <a:pt x="1350644" y="1239223"/>
                </a:cubicBezTo>
                <a:close/>
                <a:moveTo>
                  <a:pt x="4965513" y="1238331"/>
                </a:moveTo>
                <a:cubicBezTo>
                  <a:pt x="4959101" y="1238544"/>
                  <a:pt x="4952137" y="1241941"/>
                  <a:pt x="4946023" y="1250094"/>
                </a:cubicBezTo>
                <a:cubicBezTo>
                  <a:pt x="4965046" y="1252811"/>
                  <a:pt x="4913412" y="1301727"/>
                  <a:pt x="4954176" y="1299009"/>
                </a:cubicBezTo>
                <a:cubicBezTo>
                  <a:pt x="4965046" y="1288140"/>
                  <a:pt x="4943305" y="1285421"/>
                  <a:pt x="4948740" y="1277269"/>
                </a:cubicBezTo>
                <a:cubicBezTo>
                  <a:pt x="4956893" y="1279986"/>
                  <a:pt x="4962328" y="1279986"/>
                  <a:pt x="4970481" y="1279986"/>
                </a:cubicBezTo>
                <a:cubicBezTo>
                  <a:pt x="4999016" y="1265719"/>
                  <a:pt x="4984748" y="1237695"/>
                  <a:pt x="4965513" y="1238331"/>
                </a:cubicBezTo>
                <a:close/>
                <a:moveTo>
                  <a:pt x="3168715" y="1228353"/>
                </a:moveTo>
                <a:cubicBezTo>
                  <a:pt x="3163281" y="1231070"/>
                  <a:pt x="3157845" y="1231070"/>
                  <a:pt x="3146975" y="1233788"/>
                </a:cubicBezTo>
                <a:cubicBezTo>
                  <a:pt x="3146975" y="1236506"/>
                  <a:pt x="3146975" y="1236506"/>
                  <a:pt x="3146975" y="1239223"/>
                </a:cubicBezTo>
                <a:cubicBezTo>
                  <a:pt x="3155127" y="1239223"/>
                  <a:pt x="3163281" y="1236506"/>
                  <a:pt x="3171433" y="1231070"/>
                </a:cubicBezTo>
                <a:cubicBezTo>
                  <a:pt x="3171433" y="1231070"/>
                  <a:pt x="3168715" y="1231070"/>
                  <a:pt x="3168715" y="1228353"/>
                </a:cubicBezTo>
                <a:close/>
                <a:moveTo>
                  <a:pt x="1464783" y="1228353"/>
                </a:moveTo>
                <a:cubicBezTo>
                  <a:pt x="1464783" y="1231070"/>
                  <a:pt x="1464783" y="1233788"/>
                  <a:pt x="1467501" y="1236506"/>
                </a:cubicBezTo>
                <a:cubicBezTo>
                  <a:pt x="1466142" y="1236506"/>
                  <a:pt x="1466142" y="1236506"/>
                  <a:pt x="1466482" y="1236506"/>
                </a:cubicBezTo>
                <a:lnTo>
                  <a:pt x="1464783" y="1236506"/>
                </a:lnTo>
                <a:cubicBezTo>
                  <a:pt x="1464783" y="1239223"/>
                  <a:pt x="1464783" y="1239223"/>
                  <a:pt x="1467501" y="1241941"/>
                </a:cubicBezTo>
                <a:cubicBezTo>
                  <a:pt x="1467501" y="1239223"/>
                  <a:pt x="1467501" y="1239223"/>
                  <a:pt x="1467501" y="1236506"/>
                </a:cubicBezTo>
                <a:cubicBezTo>
                  <a:pt x="1467501" y="1231070"/>
                  <a:pt x="1467501" y="1228353"/>
                  <a:pt x="1467501" y="1228353"/>
                </a:cubicBezTo>
                <a:cubicBezTo>
                  <a:pt x="1464783" y="1228353"/>
                  <a:pt x="1464783" y="1228353"/>
                  <a:pt x="1464783" y="1228353"/>
                </a:cubicBezTo>
                <a:close/>
                <a:moveTo>
                  <a:pt x="1549029" y="1225635"/>
                </a:moveTo>
                <a:cubicBezTo>
                  <a:pt x="1549029" y="1225635"/>
                  <a:pt x="1549029" y="1228353"/>
                  <a:pt x="1549029" y="1228353"/>
                </a:cubicBezTo>
                <a:cubicBezTo>
                  <a:pt x="1554464" y="1231070"/>
                  <a:pt x="1562617" y="1231070"/>
                  <a:pt x="1568052" y="1233788"/>
                </a:cubicBezTo>
                <a:cubicBezTo>
                  <a:pt x="1562617" y="1231070"/>
                  <a:pt x="1554464" y="1228353"/>
                  <a:pt x="1549029" y="1225635"/>
                </a:cubicBezTo>
                <a:close/>
                <a:moveTo>
                  <a:pt x="1527288" y="1225635"/>
                </a:moveTo>
                <a:cubicBezTo>
                  <a:pt x="1513700" y="1228353"/>
                  <a:pt x="1502829" y="1233788"/>
                  <a:pt x="1491959" y="1236506"/>
                </a:cubicBezTo>
                <a:cubicBezTo>
                  <a:pt x="1491959" y="1236506"/>
                  <a:pt x="1491959" y="1239223"/>
                  <a:pt x="1491959" y="1239223"/>
                </a:cubicBezTo>
                <a:cubicBezTo>
                  <a:pt x="1502829" y="1236506"/>
                  <a:pt x="1516417" y="1231070"/>
                  <a:pt x="1527288" y="1225635"/>
                </a:cubicBezTo>
                <a:close/>
                <a:moveTo>
                  <a:pt x="1394126" y="1222918"/>
                </a:moveTo>
                <a:lnTo>
                  <a:pt x="1394126" y="1225635"/>
                </a:lnTo>
                <a:cubicBezTo>
                  <a:pt x="1383255" y="1225635"/>
                  <a:pt x="1372385" y="1225635"/>
                  <a:pt x="1361515" y="1225635"/>
                </a:cubicBezTo>
                <a:lnTo>
                  <a:pt x="1361515" y="1224956"/>
                </a:lnTo>
                <a:close/>
                <a:moveTo>
                  <a:pt x="4709592" y="1220200"/>
                </a:moveTo>
                <a:lnTo>
                  <a:pt x="4709592" y="1236506"/>
                </a:lnTo>
                <a:lnTo>
                  <a:pt x="4725897" y="1233788"/>
                </a:lnTo>
                <a:close/>
                <a:moveTo>
                  <a:pt x="3035553" y="1220200"/>
                </a:moveTo>
                <a:cubicBezTo>
                  <a:pt x="2766512" y="1271834"/>
                  <a:pt x="2209404" y="1380537"/>
                  <a:pt x="2212122" y="1380537"/>
                </a:cubicBezTo>
                <a:cubicBezTo>
                  <a:pt x="2486600" y="1328904"/>
                  <a:pt x="2761077" y="1277269"/>
                  <a:pt x="3035553" y="1225635"/>
                </a:cubicBezTo>
                <a:cubicBezTo>
                  <a:pt x="3035553" y="1225635"/>
                  <a:pt x="3035553" y="1222918"/>
                  <a:pt x="3035553" y="1220200"/>
                </a:cubicBezTo>
                <a:close/>
                <a:moveTo>
                  <a:pt x="1937645" y="1209330"/>
                </a:moveTo>
                <a:cubicBezTo>
                  <a:pt x="1937645" y="1214765"/>
                  <a:pt x="1937645" y="1217482"/>
                  <a:pt x="1937645" y="1222918"/>
                </a:cubicBezTo>
                <a:cubicBezTo>
                  <a:pt x="1937645" y="1222918"/>
                  <a:pt x="1940362" y="1222918"/>
                  <a:pt x="1943080" y="1222918"/>
                </a:cubicBezTo>
                <a:cubicBezTo>
                  <a:pt x="1943080" y="1217482"/>
                  <a:pt x="1943080" y="1214765"/>
                  <a:pt x="1943080" y="1209330"/>
                </a:cubicBezTo>
                <a:cubicBezTo>
                  <a:pt x="1943080" y="1209330"/>
                  <a:pt x="1940362" y="1209330"/>
                  <a:pt x="1937645" y="1209330"/>
                </a:cubicBezTo>
                <a:close/>
                <a:moveTo>
                  <a:pt x="1464783" y="1206611"/>
                </a:moveTo>
                <a:cubicBezTo>
                  <a:pt x="1464783" y="1209330"/>
                  <a:pt x="1464783" y="1209330"/>
                  <a:pt x="1467501" y="1212047"/>
                </a:cubicBezTo>
                <a:cubicBezTo>
                  <a:pt x="1467501" y="1209330"/>
                  <a:pt x="1467501" y="1206611"/>
                  <a:pt x="1467501" y="1206611"/>
                </a:cubicBezTo>
                <a:cubicBezTo>
                  <a:pt x="1464783" y="1206611"/>
                  <a:pt x="1464783" y="1206611"/>
                  <a:pt x="1464783" y="1206611"/>
                </a:cubicBezTo>
                <a:close/>
                <a:moveTo>
                  <a:pt x="1549029" y="1203895"/>
                </a:moveTo>
                <a:cubicBezTo>
                  <a:pt x="1554464" y="1206611"/>
                  <a:pt x="1559899" y="1206611"/>
                  <a:pt x="1565334" y="1209330"/>
                </a:cubicBezTo>
                <a:cubicBezTo>
                  <a:pt x="1565334" y="1206611"/>
                  <a:pt x="1565334" y="1206611"/>
                  <a:pt x="1565334" y="1206611"/>
                </a:cubicBezTo>
                <a:cubicBezTo>
                  <a:pt x="1559899" y="1206611"/>
                  <a:pt x="1554464" y="1203895"/>
                  <a:pt x="1549029" y="1203895"/>
                </a:cubicBezTo>
                <a:close/>
                <a:moveTo>
                  <a:pt x="1464783" y="1201177"/>
                </a:moveTo>
                <a:cubicBezTo>
                  <a:pt x="1464783" y="1201177"/>
                  <a:pt x="1464783" y="1203895"/>
                  <a:pt x="1467501" y="1203895"/>
                </a:cubicBezTo>
                <a:cubicBezTo>
                  <a:pt x="1467501" y="1203895"/>
                  <a:pt x="1467501" y="1201177"/>
                  <a:pt x="1467501" y="1201177"/>
                </a:cubicBezTo>
                <a:cubicBezTo>
                  <a:pt x="1464783" y="1201177"/>
                  <a:pt x="1464783" y="1201177"/>
                  <a:pt x="1464783" y="1201177"/>
                </a:cubicBezTo>
                <a:close/>
                <a:moveTo>
                  <a:pt x="1524570" y="1198459"/>
                </a:moveTo>
                <a:cubicBezTo>
                  <a:pt x="1513700" y="1203895"/>
                  <a:pt x="1502829" y="1209330"/>
                  <a:pt x="1491959" y="1212047"/>
                </a:cubicBezTo>
                <a:cubicBezTo>
                  <a:pt x="1491959" y="1214765"/>
                  <a:pt x="1491959" y="1214765"/>
                  <a:pt x="1491959" y="1214765"/>
                </a:cubicBezTo>
                <a:cubicBezTo>
                  <a:pt x="1502829" y="1209330"/>
                  <a:pt x="1516417" y="1206611"/>
                  <a:pt x="1527288" y="1201177"/>
                </a:cubicBezTo>
                <a:cubicBezTo>
                  <a:pt x="1527288" y="1201177"/>
                  <a:pt x="1524570" y="1201177"/>
                  <a:pt x="1524570" y="1198459"/>
                </a:cubicBezTo>
                <a:close/>
                <a:moveTo>
                  <a:pt x="3168715" y="1195742"/>
                </a:moveTo>
                <a:cubicBezTo>
                  <a:pt x="3163281" y="1198459"/>
                  <a:pt x="3155127" y="1198459"/>
                  <a:pt x="3144257" y="1201177"/>
                </a:cubicBezTo>
                <a:cubicBezTo>
                  <a:pt x="3144257" y="1201177"/>
                  <a:pt x="3144257" y="1203895"/>
                  <a:pt x="3144257" y="1206611"/>
                </a:cubicBezTo>
                <a:cubicBezTo>
                  <a:pt x="3155127" y="1203895"/>
                  <a:pt x="3163281" y="1203895"/>
                  <a:pt x="3171433" y="1201177"/>
                </a:cubicBezTo>
                <a:cubicBezTo>
                  <a:pt x="3171433" y="1201177"/>
                  <a:pt x="3168715" y="1198459"/>
                  <a:pt x="3168715" y="1195742"/>
                </a:cubicBezTo>
                <a:close/>
                <a:moveTo>
                  <a:pt x="1464783" y="1195742"/>
                </a:moveTo>
                <a:cubicBezTo>
                  <a:pt x="1464783" y="1195742"/>
                  <a:pt x="1464783" y="1198459"/>
                  <a:pt x="1467501" y="1198459"/>
                </a:cubicBezTo>
                <a:cubicBezTo>
                  <a:pt x="1467501" y="1198459"/>
                  <a:pt x="1467501" y="1195742"/>
                  <a:pt x="1467501" y="1195742"/>
                </a:cubicBezTo>
                <a:cubicBezTo>
                  <a:pt x="1467501" y="1195742"/>
                  <a:pt x="1464783" y="1195742"/>
                  <a:pt x="1464783" y="1195742"/>
                </a:cubicBezTo>
                <a:close/>
                <a:moveTo>
                  <a:pt x="5410731" y="1184871"/>
                </a:moveTo>
                <a:cubicBezTo>
                  <a:pt x="5405296" y="1201177"/>
                  <a:pt x="5380838" y="1195742"/>
                  <a:pt x="5369968" y="1193024"/>
                </a:cubicBezTo>
                <a:cubicBezTo>
                  <a:pt x="5378120" y="1198459"/>
                  <a:pt x="5378120" y="1206611"/>
                  <a:pt x="5380838" y="1217482"/>
                </a:cubicBezTo>
                <a:cubicBezTo>
                  <a:pt x="5391708" y="1220200"/>
                  <a:pt x="5386273" y="1209330"/>
                  <a:pt x="5399861" y="1206611"/>
                </a:cubicBezTo>
                <a:cubicBezTo>
                  <a:pt x="5408014" y="1212047"/>
                  <a:pt x="5416167" y="1214765"/>
                  <a:pt x="5421602" y="1222918"/>
                </a:cubicBezTo>
                <a:cubicBezTo>
                  <a:pt x="5437907" y="1220200"/>
                  <a:pt x="5440625" y="1212047"/>
                  <a:pt x="5440625" y="1203895"/>
                </a:cubicBezTo>
                <a:cubicBezTo>
                  <a:pt x="5427037" y="1206611"/>
                  <a:pt x="5427037" y="1179436"/>
                  <a:pt x="5410731" y="1184871"/>
                </a:cubicBezTo>
                <a:close/>
                <a:moveTo>
                  <a:pt x="4742203" y="1179436"/>
                </a:moveTo>
                <a:lnTo>
                  <a:pt x="4758509" y="1190306"/>
                </a:lnTo>
                <a:cubicBezTo>
                  <a:pt x="4750356" y="1209330"/>
                  <a:pt x="4750356" y="1193024"/>
                  <a:pt x="4758509" y="1212047"/>
                </a:cubicBezTo>
                <a:lnTo>
                  <a:pt x="4742203" y="1220200"/>
                </a:lnTo>
                <a:lnTo>
                  <a:pt x="4750356" y="1236506"/>
                </a:lnTo>
                <a:lnTo>
                  <a:pt x="4734050" y="1236506"/>
                </a:lnTo>
                <a:lnTo>
                  <a:pt x="4734050" y="1258246"/>
                </a:lnTo>
                <a:cubicBezTo>
                  <a:pt x="4734050" y="1279986"/>
                  <a:pt x="4731333" y="1279986"/>
                  <a:pt x="4723180" y="1299009"/>
                </a:cubicBezTo>
                <a:lnTo>
                  <a:pt x="4717745" y="1282705"/>
                </a:lnTo>
                <a:cubicBezTo>
                  <a:pt x="4696004" y="1296292"/>
                  <a:pt x="4701439" y="1282705"/>
                  <a:pt x="4709592" y="1304444"/>
                </a:cubicBezTo>
                <a:cubicBezTo>
                  <a:pt x="4685133" y="1323468"/>
                  <a:pt x="4696004" y="1299009"/>
                  <a:pt x="4693286" y="1337055"/>
                </a:cubicBezTo>
                <a:cubicBezTo>
                  <a:pt x="4676981" y="1323468"/>
                  <a:pt x="4685133" y="1326186"/>
                  <a:pt x="4663393" y="1320751"/>
                </a:cubicBezTo>
                <a:cubicBezTo>
                  <a:pt x="4671545" y="1361515"/>
                  <a:pt x="4663393" y="1328904"/>
                  <a:pt x="4663393" y="1350644"/>
                </a:cubicBezTo>
                <a:cubicBezTo>
                  <a:pt x="4663393" y="1369668"/>
                  <a:pt x="4660675" y="1347927"/>
                  <a:pt x="4671545" y="1366950"/>
                </a:cubicBezTo>
                <a:lnTo>
                  <a:pt x="4663393" y="1366950"/>
                </a:lnTo>
                <a:cubicBezTo>
                  <a:pt x="4671545" y="1369668"/>
                  <a:pt x="4679697" y="1369668"/>
                  <a:pt x="4687851" y="1369668"/>
                </a:cubicBezTo>
                <a:cubicBezTo>
                  <a:pt x="4679697" y="1377819"/>
                  <a:pt x="4693286" y="1385972"/>
                  <a:pt x="4693286" y="1396844"/>
                </a:cubicBezTo>
                <a:cubicBezTo>
                  <a:pt x="4696004" y="1396844"/>
                  <a:pt x="4698721" y="1396844"/>
                  <a:pt x="4701439" y="1396844"/>
                </a:cubicBezTo>
                <a:cubicBezTo>
                  <a:pt x="4712309" y="1394126"/>
                  <a:pt x="4720462" y="1396844"/>
                  <a:pt x="4731333" y="1391407"/>
                </a:cubicBezTo>
                <a:cubicBezTo>
                  <a:pt x="4720462" y="1369668"/>
                  <a:pt x="4728615" y="1353362"/>
                  <a:pt x="4728615" y="1334339"/>
                </a:cubicBezTo>
                <a:cubicBezTo>
                  <a:pt x="4731333" y="1339773"/>
                  <a:pt x="4739485" y="1334339"/>
                  <a:pt x="4742203" y="1342491"/>
                </a:cubicBezTo>
                <a:cubicBezTo>
                  <a:pt x="4742203" y="1353362"/>
                  <a:pt x="4723180" y="1369668"/>
                  <a:pt x="4736768" y="1377819"/>
                </a:cubicBezTo>
                <a:cubicBezTo>
                  <a:pt x="4736768" y="1353362"/>
                  <a:pt x="4769379" y="1337055"/>
                  <a:pt x="4769379" y="1309881"/>
                </a:cubicBezTo>
                <a:cubicBezTo>
                  <a:pt x="4761226" y="1312597"/>
                  <a:pt x="4750356" y="1312597"/>
                  <a:pt x="4744921" y="1304444"/>
                </a:cubicBezTo>
                <a:cubicBezTo>
                  <a:pt x="4753073" y="1301727"/>
                  <a:pt x="4744921" y="1296292"/>
                  <a:pt x="4750356" y="1293574"/>
                </a:cubicBezTo>
                <a:cubicBezTo>
                  <a:pt x="4763944" y="1290857"/>
                  <a:pt x="4782967" y="1285421"/>
                  <a:pt x="4788402" y="1290857"/>
                </a:cubicBezTo>
                <a:cubicBezTo>
                  <a:pt x="4812861" y="1279986"/>
                  <a:pt x="4815578" y="1258246"/>
                  <a:pt x="4845472" y="1247376"/>
                </a:cubicBezTo>
                <a:cubicBezTo>
                  <a:pt x="4821013" y="1212047"/>
                  <a:pt x="4788402" y="1203895"/>
                  <a:pt x="4758509" y="1179436"/>
                </a:cubicBezTo>
                <a:cubicBezTo>
                  <a:pt x="4753073" y="1179436"/>
                  <a:pt x="4747638" y="1179436"/>
                  <a:pt x="4742203" y="1179436"/>
                </a:cubicBezTo>
                <a:close/>
                <a:moveTo>
                  <a:pt x="4717745" y="1179436"/>
                </a:moveTo>
                <a:lnTo>
                  <a:pt x="4717745" y="1206611"/>
                </a:lnTo>
                <a:lnTo>
                  <a:pt x="4734050" y="1190306"/>
                </a:lnTo>
                <a:lnTo>
                  <a:pt x="4725897" y="1179436"/>
                </a:lnTo>
                <a:cubicBezTo>
                  <a:pt x="4723180" y="1179436"/>
                  <a:pt x="4720462" y="1179436"/>
                  <a:pt x="4717745" y="1179436"/>
                </a:cubicBezTo>
                <a:close/>
                <a:moveTo>
                  <a:pt x="1937645" y="1179436"/>
                </a:moveTo>
                <a:cubicBezTo>
                  <a:pt x="1937645" y="1184871"/>
                  <a:pt x="1937645" y="1187589"/>
                  <a:pt x="1937645" y="1190306"/>
                </a:cubicBezTo>
                <a:cubicBezTo>
                  <a:pt x="1937645" y="1190306"/>
                  <a:pt x="1940362" y="1190306"/>
                  <a:pt x="1943080" y="1190306"/>
                </a:cubicBezTo>
                <a:cubicBezTo>
                  <a:pt x="1943080" y="1187589"/>
                  <a:pt x="1943080" y="1182153"/>
                  <a:pt x="1943080" y="1179436"/>
                </a:cubicBezTo>
                <a:cubicBezTo>
                  <a:pt x="1943080" y="1179436"/>
                  <a:pt x="1940362" y="1179436"/>
                  <a:pt x="1937645" y="1179436"/>
                </a:cubicBezTo>
                <a:close/>
                <a:moveTo>
                  <a:pt x="1464783" y="1179436"/>
                </a:moveTo>
                <a:cubicBezTo>
                  <a:pt x="1464783" y="1182153"/>
                  <a:pt x="1464783" y="1184871"/>
                  <a:pt x="1467501" y="1187589"/>
                </a:cubicBezTo>
                <a:cubicBezTo>
                  <a:pt x="1467501" y="1182153"/>
                  <a:pt x="1467501" y="1179436"/>
                  <a:pt x="1467501" y="1179436"/>
                </a:cubicBezTo>
                <a:cubicBezTo>
                  <a:pt x="1467501" y="1179436"/>
                  <a:pt x="1464783" y="1179436"/>
                  <a:pt x="1464783" y="1179436"/>
                </a:cubicBezTo>
                <a:close/>
                <a:moveTo>
                  <a:pt x="2913261" y="1177256"/>
                </a:moveTo>
                <a:lnTo>
                  <a:pt x="2913261" y="1187479"/>
                </a:lnTo>
                <a:lnTo>
                  <a:pt x="2880651" y="1193379"/>
                </a:lnTo>
                <a:lnTo>
                  <a:pt x="2880651" y="1183255"/>
                </a:lnTo>
                <a:close/>
                <a:moveTo>
                  <a:pt x="1527288" y="1174001"/>
                </a:moveTo>
                <a:cubicBezTo>
                  <a:pt x="1516417" y="1176719"/>
                  <a:pt x="1502829" y="1182153"/>
                  <a:pt x="1491959" y="1184871"/>
                </a:cubicBezTo>
                <a:cubicBezTo>
                  <a:pt x="1491959" y="1187589"/>
                  <a:pt x="1491959" y="1187589"/>
                  <a:pt x="1491959" y="1187589"/>
                </a:cubicBezTo>
                <a:cubicBezTo>
                  <a:pt x="1502829" y="1182153"/>
                  <a:pt x="1516417" y="1179436"/>
                  <a:pt x="1527288" y="1174001"/>
                </a:cubicBezTo>
                <a:close/>
                <a:moveTo>
                  <a:pt x="1540876" y="1169995"/>
                </a:moveTo>
                <a:lnTo>
                  <a:pt x="1543593" y="1170711"/>
                </a:lnTo>
                <a:lnTo>
                  <a:pt x="1543593" y="1171282"/>
                </a:lnTo>
                <a:cubicBezTo>
                  <a:pt x="1543593" y="1171282"/>
                  <a:pt x="1543593" y="1171282"/>
                  <a:pt x="1540876" y="1171282"/>
                </a:cubicBezTo>
                <a:close/>
                <a:moveTo>
                  <a:pt x="5062879" y="1168565"/>
                </a:moveTo>
                <a:cubicBezTo>
                  <a:pt x="5071032" y="1190306"/>
                  <a:pt x="5081902" y="1252811"/>
                  <a:pt x="5106361" y="1244658"/>
                </a:cubicBezTo>
                <a:cubicBezTo>
                  <a:pt x="5130819" y="1236506"/>
                  <a:pt x="5109078" y="1209330"/>
                  <a:pt x="5092773" y="1206611"/>
                </a:cubicBezTo>
                <a:cubicBezTo>
                  <a:pt x="5098208" y="1187589"/>
                  <a:pt x="5079185" y="1168565"/>
                  <a:pt x="5062879" y="1168565"/>
                </a:cubicBezTo>
                <a:close/>
                <a:moveTo>
                  <a:pt x="3242091" y="1157694"/>
                </a:moveTo>
                <a:cubicBezTo>
                  <a:pt x="3233937" y="1157694"/>
                  <a:pt x="3228503" y="1157694"/>
                  <a:pt x="3220349" y="1160412"/>
                </a:cubicBezTo>
                <a:cubicBezTo>
                  <a:pt x="3228503" y="1160412"/>
                  <a:pt x="3233937" y="1163130"/>
                  <a:pt x="3242091" y="1165848"/>
                </a:cubicBezTo>
                <a:cubicBezTo>
                  <a:pt x="3242091" y="1163130"/>
                  <a:pt x="3242091" y="1160412"/>
                  <a:pt x="3242091" y="1157694"/>
                </a:cubicBezTo>
                <a:close/>
                <a:moveTo>
                  <a:pt x="1540876" y="1154977"/>
                </a:moveTo>
                <a:lnTo>
                  <a:pt x="1540876" y="1169995"/>
                </a:lnTo>
                <a:lnTo>
                  <a:pt x="1535441" y="1168565"/>
                </a:lnTo>
                <a:cubicBezTo>
                  <a:pt x="1535441" y="1168565"/>
                  <a:pt x="1535441" y="1168565"/>
                  <a:pt x="1535441" y="1171282"/>
                </a:cubicBezTo>
                <a:cubicBezTo>
                  <a:pt x="1538158" y="1174001"/>
                  <a:pt x="1540876" y="1174001"/>
                  <a:pt x="1543593" y="1174001"/>
                </a:cubicBezTo>
                <a:cubicBezTo>
                  <a:pt x="1543593" y="1176719"/>
                  <a:pt x="1543593" y="1179436"/>
                  <a:pt x="1543593" y="1182153"/>
                </a:cubicBezTo>
                <a:cubicBezTo>
                  <a:pt x="1543593" y="1182153"/>
                  <a:pt x="1546311" y="1182153"/>
                  <a:pt x="1546311" y="1182153"/>
                </a:cubicBezTo>
                <a:cubicBezTo>
                  <a:pt x="1546311" y="1182153"/>
                  <a:pt x="1546311" y="1179436"/>
                  <a:pt x="1546311" y="1176719"/>
                </a:cubicBezTo>
                <a:cubicBezTo>
                  <a:pt x="1557181" y="1182153"/>
                  <a:pt x="1570769" y="1184871"/>
                  <a:pt x="1584357" y="1187589"/>
                </a:cubicBezTo>
                <a:cubicBezTo>
                  <a:pt x="1584357" y="1187589"/>
                  <a:pt x="1584357" y="1184871"/>
                  <a:pt x="1587075" y="1182153"/>
                </a:cubicBezTo>
                <a:lnTo>
                  <a:pt x="1543593" y="1170711"/>
                </a:lnTo>
                <a:lnTo>
                  <a:pt x="1543593" y="1154977"/>
                </a:lnTo>
                <a:cubicBezTo>
                  <a:pt x="1543593" y="1154977"/>
                  <a:pt x="1543593" y="1154977"/>
                  <a:pt x="1540876" y="1154977"/>
                </a:cubicBezTo>
                <a:close/>
                <a:moveTo>
                  <a:pt x="1940362" y="1152259"/>
                </a:moveTo>
                <a:cubicBezTo>
                  <a:pt x="1940362" y="1154977"/>
                  <a:pt x="1940362" y="1160412"/>
                  <a:pt x="1937645" y="1165848"/>
                </a:cubicBezTo>
                <a:cubicBezTo>
                  <a:pt x="1940362" y="1165848"/>
                  <a:pt x="1940362" y="1165848"/>
                  <a:pt x="1943080" y="1165848"/>
                </a:cubicBezTo>
                <a:cubicBezTo>
                  <a:pt x="1943080" y="1160412"/>
                  <a:pt x="1943080" y="1157694"/>
                  <a:pt x="1940362" y="1152259"/>
                </a:cubicBezTo>
                <a:close/>
                <a:moveTo>
                  <a:pt x="5139142" y="1145042"/>
                </a:moveTo>
                <a:cubicBezTo>
                  <a:pt x="5126573" y="1145126"/>
                  <a:pt x="5113834" y="1148183"/>
                  <a:pt x="5103643" y="1154977"/>
                </a:cubicBezTo>
                <a:cubicBezTo>
                  <a:pt x="5106361" y="1160412"/>
                  <a:pt x="5109078" y="1165848"/>
                  <a:pt x="5114513" y="1168565"/>
                </a:cubicBezTo>
                <a:cubicBezTo>
                  <a:pt x="5095490" y="1187589"/>
                  <a:pt x="5128101" y="1222918"/>
                  <a:pt x="5144407" y="1222918"/>
                </a:cubicBezTo>
                <a:cubicBezTo>
                  <a:pt x="5177018" y="1212047"/>
                  <a:pt x="5160712" y="1174001"/>
                  <a:pt x="5177018" y="1165848"/>
                </a:cubicBezTo>
                <a:cubicBezTo>
                  <a:pt x="5177018" y="1176719"/>
                  <a:pt x="5171583" y="1190306"/>
                  <a:pt x="5174300" y="1203895"/>
                </a:cubicBezTo>
                <a:cubicBezTo>
                  <a:pt x="5213026" y="1171282"/>
                  <a:pt x="5176848" y="1144786"/>
                  <a:pt x="5139142" y="1145042"/>
                </a:cubicBezTo>
                <a:close/>
                <a:moveTo>
                  <a:pt x="5261264" y="1141389"/>
                </a:moveTo>
                <a:cubicBezTo>
                  <a:pt x="5266699" y="1157694"/>
                  <a:pt x="5231370" y="1154977"/>
                  <a:pt x="5231370" y="1163130"/>
                </a:cubicBezTo>
                <a:cubicBezTo>
                  <a:pt x="5239523" y="1171282"/>
                  <a:pt x="5255828" y="1157694"/>
                  <a:pt x="5266699" y="1154977"/>
                </a:cubicBezTo>
                <a:cubicBezTo>
                  <a:pt x="5261264" y="1152259"/>
                  <a:pt x="5272134" y="1141389"/>
                  <a:pt x="5261264" y="1141389"/>
                </a:cubicBezTo>
                <a:close/>
                <a:moveTo>
                  <a:pt x="4755791" y="1141389"/>
                </a:moveTo>
                <a:lnTo>
                  <a:pt x="4755791" y="1152259"/>
                </a:lnTo>
                <a:lnTo>
                  <a:pt x="4777532" y="1152259"/>
                </a:lnTo>
                <a:cubicBezTo>
                  <a:pt x="4763944" y="1174001"/>
                  <a:pt x="4777532" y="1168565"/>
                  <a:pt x="4755791" y="1160412"/>
                </a:cubicBezTo>
                <a:lnTo>
                  <a:pt x="4739485" y="1160412"/>
                </a:lnTo>
                <a:lnTo>
                  <a:pt x="4747638" y="1144106"/>
                </a:lnTo>
                <a:lnTo>
                  <a:pt x="4731333" y="1144106"/>
                </a:lnTo>
                <a:lnTo>
                  <a:pt x="4739485" y="1160412"/>
                </a:lnTo>
                <a:lnTo>
                  <a:pt x="4736768" y="1165848"/>
                </a:lnTo>
                <a:cubicBezTo>
                  <a:pt x="4742203" y="1165848"/>
                  <a:pt x="4750356" y="1168565"/>
                  <a:pt x="4755791" y="1174001"/>
                </a:cubicBezTo>
                <a:cubicBezTo>
                  <a:pt x="4782967" y="1163130"/>
                  <a:pt x="4804708" y="1214765"/>
                  <a:pt x="4826449" y="1171282"/>
                </a:cubicBezTo>
                <a:cubicBezTo>
                  <a:pt x="4826449" y="1182153"/>
                  <a:pt x="4842754" y="1179436"/>
                  <a:pt x="4840037" y="1184871"/>
                </a:cubicBezTo>
                <a:cubicBezTo>
                  <a:pt x="4823731" y="1190306"/>
                  <a:pt x="4812861" y="1195742"/>
                  <a:pt x="4815578" y="1206611"/>
                </a:cubicBezTo>
                <a:cubicBezTo>
                  <a:pt x="4834601" y="1193024"/>
                  <a:pt x="4823731" y="1214765"/>
                  <a:pt x="4834601" y="1209330"/>
                </a:cubicBezTo>
                <a:cubicBezTo>
                  <a:pt x="4850907" y="1198459"/>
                  <a:pt x="4859060" y="1149542"/>
                  <a:pt x="4823731" y="1149542"/>
                </a:cubicBezTo>
                <a:cubicBezTo>
                  <a:pt x="4812861" y="1152259"/>
                  <a:pt x="4823731" y="1160412"/>
                  <a:pt x="4812861" y="1163130"/>
                </a:cubicBezTo>
                <a:cubicBezTo>
                  <a:pt x="4799273" y="1152259"/>
                  <a:pt x="4777532" y="1144106"/>
                  <a:pt x="4755791" y="1141389"/>
                </a:cubicBezTo>
                <a:close/>
                <a:moveTo>
                  <a:pt x="1532723" y="1141389"/>
                </a:moveTo>
                <a:cubicBezTo>
                  <a:pt x="1532723" y="1141389"/>
                  <a:pt x="1532723" y="1144106"/>
                  <a:pt x="1532723" y="1144106"/>
                </a:cubicBezTo>
                <a:cubicBezTo>
                  <a:pt x="1554464" y="1149542"/>
                  <a:pt x="1578922" y="1154977"/>
                  <a:pt x="1600663" y="1160412"/>
                </a:cubicBezTo>
                <a:cubicBezTo>
                  <a:pt x="1600663" y="1157694"/>
                  <a:pt x="1600663" y="1157694"/>
                  <a:pt x="1600663" y="1157694"/>
                </a:cubicBezTo>
                <a:cubicBezTo>
                  <a:pt x="1578922" y="1152259"/>
                  <a:pt x="1554464" y="1146824"/>
                  <a:pt x="1532723" y="1141389"/>
                </a:cubicBezTo>
                <a:close/>
                <a:moveTo>
                  <a:pt x="1527288" y="1141389"/>
                </a:moveTo>
                <a:cubicBezTo>
                  <a:pt x="1519135" y="1144106"/>
                  <a:pt x="1508265" y="1146824"/>
                  <a:pt x="1497394" y="1149542"/>
                </a:cubicBezTo>
                <a:cubicBezTo>
                  <a:pt x="1497394" y="1152259"/>
                  <a:pt x="1497394" y="1152259"/>
                  <a:pt x="1497394" y="1152259"/>
                </a:cubicBezTo>
                <a:cubicBezTo>
                  <a:pt x="1508265" y="1149542"/>
                  <a:pt x="1519135" y="1144106"/>
                  <a:pt x="1527288" y="1141389"/>
                </a:cubicBezTo>
                <a:close/>
                <a:moveTo>
                  <a:pt x="5622703" y="1119648"/>
                </a:moveTo>
                <a:cubicBezTo>
                  <a:pt x="5622703" y="1125083"/>
                  <a:pt x="5619986" y="1127801"/>
                  <a:pt x="5615909" y="1129839"/>
                </a:cubicBezTo>
                <a:lnTo>
                  <a:pt x="5612864" y="1131085"/>
                </a:lnTo>
                <a:lnTo>
                  <a:pt x="5611833" y="1130518"/>
                </a:lnTo>
                <a:lnTo>
                  <a:pt x="5614211" y="1121555"/>
                </a:lnTo>
                <a:close/>
                <a:moveTo>
                  <a:pt x="5032986" y="1108779"/>
                </a:moveTo>
                <a:cubicBezTo>
                  <a:pt x="5000375" y="1103342"/>
                  <a:pt x="4965046" y="1125083"/>
                  <a:pt x="4929717" y="1138671"/>
                </a:cubicBezTo>
                <a:cubicBezTo>
                  <a:pt x="4921564" y="1174001"/>
                  <a:pt x="4888953" y="1201177"/>
                  <a:pt x="4875365" y="1233788"/>
                </a:cubicBezTo>
                <a:cubicBezTo>
                  <a:pt x="4894389" y="1233788"/>
                  <a:pt x="4924282" y="1233788"/>
                  <a:pt x="4940588" y="1222918"/>
                </a:cubicBezTo>
                <a:cubicBezTo>
                  <a:pt x="4929717" y="1198459"/>
                  <a:pt x="4943305" y="1176719"/>
                  <a:pt x="4937870" y="1165848"/>
                </a:cubicBezTo>
                <a:cubicBezTo>
                  <a:pt x="4946023" y="1163130"/>
                  <a:pt x="4948740" y="1171282"/>
                  <a:pt x="4954176" y="1171282"/>
                </a:cubicBezTo>
                <a:cubicBezTo>
                  <a:pt x="4951458" y="1168565"/>
                  <a:pt x="4948740" y="1163130"/>
                  <a:pt x="4951458" y="1160412"/>
                </a:cubicBezTo>
                <a:cubicBezTo>
                  <a:pt x="4959611" y="1165848"/>
                  <a:pt x="4978634" y="1154977"/>
                  <a:pt x="4981351" y="1146824"/>
                </a:cubicBezTo>
                <a:cubicBezTo>
                  <a:pt x="4984069" y="1154977"/>
                  <a:pt x="4989504" y="1149542"/>
                  <a:pt x="4992222" y="1154977"/>
                </a:cubicBezTo>
                <a:cubicBezTo>
                  <a:pt x="4967763" y="1171282"/>
                  <a:pt x="4937870" y="1187589"/>
                  <a:pt x="4946023" y="1214765"/>
                </a:cubicBezTo>
                <a:cubicBezTo>
                  <a:pt x="4959611" y="1214765"/>
                  <a:pt x="4975916" y="1203895"/>
                  <a:pt x="4981351" y="1214765"/>
                </a:cubicBezTo>
                <a:cubicBezTo>
                  <a:pt x="4973199" y="1220200"/>
                  <a:pt x="4962328" y="1214765"/>
                  <a:pt x="4962328" y="1222918"/>
                </a:cubicBezTo>
                <a:cubicBezTo>
                  <a:pt x="4984069" y="1236506"/>
                  <a:pt x="5008527" y="1206611"/>
                  <a:pt x="5011245" y="1190306"/>
                </a:cubicBezTo>
                <a:cubicBezTo>
                  <a:pt x="5019398" y="1193024"/>
                  <a:pt x="5024833" y="1179436"/>
                  <a:pt x="5030268" y="1187589"/>
                </a:cubicBezTo>
                <a:cubicBezTo>
                  <a:pt x="5041138" y="1212047"/>
                  <a:pt x="4992222" y="1214765"/>
                  <a:pt x="4992222" y="1233788"/>
                </a:cubicBezTo>
                <a:cubicBezTo>
                  <a:pt x="5013963" y="1231070"/>
                  <a:pt x="5024833" y="1250094"/>
                  <a:pt x="5046574" y="1247376"/>
                </a:cubicBezTo>
                <a:cubicBezTo>
                  <a:pt x="5052009" y="1236506"/>
                  <a:pt x="5038421" y="1212047"/>
                  <a:pt x="5030268" y="1203895"/>
                </a:cubicBezTo>
                <a:cubicBezTo>
                  <a:pt x="5046574" y="1206611"/>
                  <a:pt x="5027550" y="1190306"/>
                  <a:pt x="5046574" y="1184871"/>
                </a:cubicBezTo>
                <a:cubicBezTo>
                  <a:pt x="5052009" y="1193024"/>
                  <a:pt x="5046574" y="1214765"/>
                  <a:pt x="5060162" y="1209330"/>
                </a:cubicBezTo>
                <a:cubicBezTo>
                  <a:pt x="5054726" y="1187589"/>
                  <a:pt x="5054726" y="1149542"/>
                  <a:pt x="5032986" y="1135954"/>
                </a:cubicBezTo>
                <a:cubicBezTo>
                  <a:pt x="5011245" y="1141389"/>
                  <a:pt x="5024833" y="1157694"/>
                  <a:pt x="5003092" y="1163130"/>
                </a:cubicBezTo>
                <a:cubicBezTo>
                  <a:pt x="5003092" y="1171282"/>
                  <a:pt x="5013963" y="1179436"/>
                  <a:pt x="5008527" y="1184871"/>
                </a:cubicBezTo>
                <a:cubicBezTo>
                  <a:pt x="4984069" y="1179436"/>
                  <a:pt x="4992222" y="1146824"/>
                  <a:pt x="5005810" y="1133237"/>
                </a:cubicBezTo>
                <a:cubicBezTo>
                  <a:pt x="5003092" y="1127802"/>
                  <a:pt x="4986787" y="1125083"/>
                  <a:pt x="4992222" y="1119648"/>
                </a:cubicBezTo>
                <a:cubicBezTo>
                  <a:pt x="5000375" y="1116931"/>
                  <a:pt x="5005810" y="1125083"/>
                  <a:pt x="5008527" y="1135954"/>
                </a:cubicBezTo>
                <a:cubicBezTo>
                  <a:pt x="5024833" y="1133237"/>
                  <a:pt x="5038421" y="1125083"/>
                  <a:pt x="5032986" y="1108779"/>
                </a:cubicBezTo>
                <a:close/>
                <a:moveTo>
                  <a:pt x="5511282" y="1106060"/>
                </a:moveTo>
                <a:cubicBezTo>
                  <a:pt x="5516717" y="1114213"/>
                  <a:pt x="5508565" y="1116931"/>
                  <a:pt x="5514000" y="1125083"/>
                </a:cubicBezTo>
                <a:cubicBezTo>
                  <a:pt x="5507206" y="1122365"/>
                  <a:pt x="5501771" y="1120327"/>
                  <a:pt x="5496336" y="1121007"/>
                </a:cubicBezTo>
                <a:lnTo>
                  <a:pt x="5481282" y="1131428"/>
                </a:lnTo>
                <a:lnTo>
                  <a:pt x="5474807" y="1121049"/>
                </a:lnTo>
                <a:lnTo>
                  <a:pt x="5473569" y="1120481"/>
                </a:lnTo>
                <a:lnTo>
                  <a:pt x="5473236" y="1119648"/>
                </a:lnTo>
                <a:lnTo>
                  <a:pt x="5472255" y="1119877"/>
                </a:lnTo>
                <a:lnTo>
                  <a:pt x="5463943" y="1116058"/>
                </a:lnTo>
                <a:lnTo>
                  <a:pt x="5472896" y="1113194"/>
                </a:lnTo>
                <a:cubicBezTo>
                  <a:pt x="5485465" y="1111495"/>
                  <a:pt x="5501770" y="1111495"/>
                  <a:pt x="5511282" y="1106060"/>
                </a:cubicBezTo>
                <a:close/>
                <a:moveTo>
                  <a:pt x="5437694" y="1098127"/>
                </a:moveTo>
                <a:lnTo>
                  <a:pt x="5437228" y="1110476"/>
                </a:lnTo>
                <a:lnTo>
                  <a:pt x="5437563" y="1112452"/>
                </a:lnTo>
                <a:lnTo>
                  <a:pt x="5427037" y="1111495"/>
                </a:lnTo>
                <a:close/>
                <a:moveTo>
                  <a:pt x="5383556" y="1095190"/>
                </a:moveTo>
                <a:cubicBezTo>
                  <a:pt x="5375403" y="1106060"/>
                  <a:pt x="5369968" y="1111495"/>
                  <a:pt x="5353662" y="1111495"/>
                </a:cubicBezTo>
                <a:cubicBezTo>
                  <a:pt x="5353662" y="1116931"/>
                  <a:pt x="5361815" y="1122366"/>
                  <a:pt x="5356380" y="1125083"/>
                </a:cubicBezTo>
                <a:cubicBezTo>
                  <a:pt x="5310180" y="1144106"/>
                  <a:pt x="5277569" y="1184871"/>
                  <a:pt x="5231370" y="1187589"/>
                </a:cubicBezTo>
                <a:cubicBezTo>
                  <a:pt x="5231370" y="1190306"/>
                  <a:pt x="5234088" y="1195742"/>
                  <a:pt x="5236805" y="1201177"/>
                </a:cubicBezTo>
                <a:cubicBezTo>
                  <a:pt x="5277569" y="1195742"/>
                  <a:pt x="5326486" y="1174001"/>
                  <a:pt x="5372685" y="1152259"/>
                </a:cubicBezTo>
                <a:cubicBezTo>
                  <a:pt x="5375403" y="1133237"/>
                  <a:pt x="5388991" y="1116931"/>
                  <a:pt x="5383556" y="1095190"/>
                </a:cubicBezTo>
                <a:close/>
                <a:moveTo>
                  <a:pt x="5255828" y="1095190"/>
                </a:moveTo>
                <a:cubicBezTo>
                  <a:pt x="5239523" y="1103342"/>
                  <a:pt x="5242240" y="1119648"/>
                  <a:pt x="5242240" y="1133237"/>
                </a:cubicBezTo>
                <a:cubicBezTo>
                  <a:pt x="5244958" y="1130518"/>
                  <a:pt x="5250393" y="1130518"/>
                  <a:pt x="5253111" y="1127802"/>
                </a:cubicBezTo>
                <a:cubicBezTo>
                  <a:pt x="5247676" y="1114213"/>
                  <a:pt x="5253111" y="1106060"/>
                  <a:pt x="5266699" y="1103342"/>
                </a:cubicBezTo>
                <a:cubicBezTo>
                  <a:pt x="5261264" y="1103342"/>
                  <a:pt x="5258546" y="1100625"/>
                  <a:pt x="5255828" y="1095190"/>
                </a:cubicBezTo>
                <a:close/>
                <a:moveTo>
                  <a:pt x="1535441" y="1095190"/>
                </a:moveTo>
                <a:cubicBezTo>
                  <a:pt x="1535441" y="1097906"/>
                  <a:pt x="1535441" y="1097906"/>
                  <a:pt x="1535441" y="1100625"/>
                </a:cubicBezTo>
                <a:cubicBezTo>
                  <a:pt x="1538158" y="1100625"/>
                  <a:pt x="1540876" y="1103342"/>
                  <a:pt x="1543593" y="1103342"/>
                </a:cubicBezTo>
                <a:cubicBezTo>
                  <a:pt x="1543593" y="1106060"/>
                  <a:pt x="1543593" y="1108779"/>
                  <a:pt x="1543593" y="1108779"/>
                </a:cubicBezTo>
                <a:cubicBezTo>
                  <a:pt x="1543593" y="1108779"/>
                  <a:pt x="1546311" y="1108779"/>
                  <a:pt x="1546311" y="1108779"/>
                </a:cubicBezTo>
                <a:cubicBezTo>
                  <a:pt x="1546311" y="1108779"/>
                  <a:pt x="1546311" y="1106060"/>
                  <a:pt x="1546311" y="1106060"/>
                </a:cubicBezTo>
                <a:cubicBezTo>
                  <a:pt x="1570769" y="1111495"/>
                  <a:pt x="1595228" y="1119648"/>
                  <a:pt x="1619686" y="1125083"/>
                </a:cubicBezTo>
                <a:cubicBezTo>
                  <a:pt x="1619686" y="1122366"/>
                  <a:pt x="1619686" y="1122366"/>
                  <a:pt x="1622404" y="1116931"/>
                </a:cubicBezTo>
                <a:cubicBezTo>
                  <a:pt x="1592510" y="1108779"/>
                  <a:pt x="1565334" y="1103342"/>
                  <a:pt x="1535441" y="1095190"/>
                </a:cubicBezTo>
                <a:close/>
                <a:moveTo>
                  <a:pt x="5235491" y="1079498"/>
                </a:moveTo>
                <a:lnTo>
                  <a:pt x="5234088" y="1081602"/>
                </a:lnTo>
                <a:lnTo>
                  <a:pt x="5233828" y="1080347"/>
                </a:lnTo>
                <a:close/>
                <a:moveTo>
                  <a:pt x="5282181" y="1078675"/>
                </a:moveTo>
                <a:lnTo>
                  <a:pt x="5291072" y="1082111"/>
                </a:lnTo>
                <a:lnTo>
                  <a:pt x="5292260" y="1084926"/>
                </a:lnTo>
                <a:close/>
                <a:moveTo>
                  <a:pt x="4964927" y="1076384"/>
                </a:moveTo>
                <a:lnTo>
                  <a:pt x="4974218" y="1077185"/>
                </a:lnTo>
                <a:cubicBezTo>
                  <a:pt x="4978804" y="1077356"/>
                  <a:pt x="4983305" y="1077780"/>
                  <a:pt x="4986999" y="1079861"/>
                </a:cubicBezTo>
                <a:lnTo>
                  <a:pt x="4988514" y="1082267"/>
                </a:lnTo>
                <a:lnTo>
                  <a:pt x="4984748" y="1082281"/>
                </a:lnTo>
                <a:close/>
                <a:moveTo>
                  <a:pt x="1663168" y="1076167"/>
                </a:moveTo>
                <a:cubicBezTo>
                  <a:pt x="1663168" y="1078884"/>
                  <a:pt x="1663168" y="1078884"/>
                  <a:pt x="1665885" y="1081602"/>
                </a:cubicBezTo>
                <a:cubicBezTo>
                  <a:pt x="1665885" y="1078884"/>
                  <a:pt x="1665885" y="1076167"/>
                  <a:pt x="1665885" y="1076167"/>
                </a:cubicBezTo>
                <a:cubicBezTo>
                  <a:pt x="1665885" y="1076167"/>
                  <a:pt x="1663168" y="1076167"/>
                  <a:pt x="1663168" y="1076167"/>
                </a:cubicBezTo>
                <a:close/>
                <a:moveTo>
                  <a:pt x="4959654" y="1074961"/>
                </a:moveTo>
                <a:lnTo>
                  <a:pt x="4961054" y="1075232"/>
                </a:lnTo>
                <a:lnTo>
                  <a:pt x="4964927" y="1076384"/>
                </a:lnTo>
                <a:lnTo>
                  <a:pt x="4960927" y="1076040"/>
                </a:lnTo>
                <a:close/>
                <a:moveTo>
                  <a:pt x="5340583" y="1073491"/>
                </a:moveTo>
                <a:lnTo>
                  <a:pt x="5343431" y="1075720"/>
                </a:lnTo>
                <a:lnTo>
                  <a:pt x="5329204" y="1087037"/>
                </a:lnTo>
                <a:lnTo>
                  <a:pt x="5333559" y="1089486"/>
                </a:lnTo>
                <a:lnTo>
                  <a:pt x="5329925" y="1096506"/>
                </a:lnTo>
                <a:cubicBezTo>
                  <a:pt x="5328354" y="1098926"/>
                  <a:pt x="5326486" y="1100625"/>
                  <a:pt x="5323768" y="1100625"/>
                </a:cubicBezTo>
                <a:cubicBezTo>
                  <a:pt x="5315615" y="1090434"/>
                  <a:pt x="5328864" y="1072600"/>
                  <a:pt x="5340583" y="1073491"/>
                </a:cubicBezTo>
                <a:close/>
                <a:moveTo>
                  <a:pt x="2040913" y="1070731"/>
                </a:moveTo>
                <a:cubicBezTo>
                  <a:pt x="2040913" y="1087037"/>
                  <a:pt x="2040913" y="1100625"/>
                  <a:pt x="2040913" y="1114213"/>
                </a:cubicBezTo>
                <a:cubicBezTo>
                  <a:pt x="2043631" y="1114213"/>
                  <a:pt x="2043631" y="1111495"/>
                  <a:pt x="2046348" y="1111495"/>
                </a:cubicBezTo>
                <a:cubicBezTo>
                  <a:pt x="2046348" y="1100625"/>
                  <a:pt x="2046348" y="1087037"/>
                  <a:pt x="2046348" y="1070731"/>
                </a:cubicBezTo>
                <a:cubicBezTo>
                  <a:pt x="2043631" y="1070731"/>
                  <a:pt x="2043631" y="1070731"/>
                  <a:pt x="2040913" y="1070731"/>
                </a:cubicBezTo>
                <a:close/>
                <a:moveTo>
                  <a:pt x="5133536" y="1068014"/>
                </a:moveTo>
                <a:cubicBezTo>
                  <a:pt x="5125384" y="1076167"/>
                  <a:pt x="5138972" y="1087037"/>
                  <a:pt x="5133536" y="1092472"/>
                </a:cubicBezTo>
                <a:cubicBezTo>
                  <a:pt x="5122666" y="1089755"/>
                  <a:pt x="5111796" y="1087037"/>
                  <a:pt x="5098208" y="1092472"/>
                </a:cubicBezTo>
                <a:cubicBezTo>
                  <a:pt x="5103643" y="1103342"/>
                  <a:pt x="5092773" y="1106060"/>
                  <a:pt x="5081902" y="1111495"/>
                </a:cubicBezTo>
                <a:cubicBezTo>
                  <a:pt x="5084620" y="1116931"/>
                  <a:pt x="5090055" y="1122366"/>
                  <a:pt x="5092773" y="1130518"/>
                </a:cubicBezTo>
                <a:cubicBezTo>
                  <a:pt x="5084620" y="1133237"/>
                  <a:pt x="5079185" y="1138671"/>
                  <a:pt x="5081902" y="1144106"/>
                </a:cubicBezTo>
                <a:cubicBezTo>
                  <a:pt x="5109078" y="1146824"/>
                  <a:pt x="5144407" y="1135954"/>
                  <a:pt x="5174300" y="1141389"/>
                </a:cubicBezTo>
                <a:cubicBezTo>
                  <a:pt x="5171583" y="1125083"/>
                  <a:pt x="5149842" y="1125083"/>
                  <a:pt x="5152560" y="1114213"/>
                </a:cubicBezTo>
                <a:cubicBezTo>
                  <a:pt x="5163430" y="1106060"/>
                  <a:pt x="5163430" y="1127802"/>
                  <a:pt x="5174300" y="1119648"/>
                </a:cubicBezTo>
                <a:cubicBezTo>
                  <a:pt x="5174300" y="1111495"/>
                  <a:pt x="5179736" y="1103342"/>
                  <a:pt x="5177018" y="1092472"/>
                </a:cubicBezTo>
                <a:cubicBezTo>
                  <a:pt x="5160712" y="1097906"/>
                  <a:pt x="5157995" y="1106060"/>
                  <a:pt x="5144407" y="1114213"/>
                </a:cubicBezTo>
                <a:cubicBezTo>
                  <a:pt x="5138972" y="1100625"/>
                  <a:pt x="5114513" y="1114213"/>
                  <a:pt x="5119949" y="1097906"/>
                </a:cubicBezTo>
                <a:cubicBezTo>
                  <a:pt x="5130819" y="1100625"/>
                  <a:pt x="5141689" y="1106060"/>
                  <a:pt x="5160712" y="1095190"/>
                </a:cubicBezTo>
                <a:cubicBezTo>
                  <a:pt x="5149842" y="1081602"/>
                  <a:pt x="5152560" y="1062579"/>
                  <a:pt x="5133536" y="1068014"/>
                </a:cubicBezTo>
                <a:close/>
                <a:moveTo>
                  <a:pt x="4951458" y="1068014"/>
                </a:moveTo>
                <a:lnTo>
                  <a:pt x="4959654" y="1074961"/>
                </a:lnTo>
                <a:lnTo>
                  <a:pt x="4948199" y="1072737"/>
                </a:lnTo>
                <a:close/>
                <a:moveTo>
                  <a:pt x="2008302" y="1065296"/>
                </a:moveTo>
                <a:cubicBezTo>
                  <a:pt x="2008302" y="1084319"/>
                  <a:pt x="2005584" y="1236506"/>
                  <a:pt x="2011020" y="1258246"/>
                </a:cubicBezTo>
                <a:cubicBezTo>
                  <a:pt x="2011020" y="1231070"/>
                  <a:pt x="2011020" y="1203895"/>
                  <a:pt x="2013737" y="1176719"/>
                </a:cubicBezTo>
                <a:cubicBezTo>
                  <a:pt x="2013737" y="1138671"/>
                  <a:pt x="2013737" y="1100625"/>
                  <a:pt x="2011020" y="1065296"/>
                </a:cubicBezTo>
                <a:cubicBezTo>
                  <a:pt x="2011020" y="1065296"/>
                  <a:pt x="2008302" y="1065296"/>
                  <a:pt x="2008302" y="1065296"/>
                </a:cubicBezTo>
                <a:close/>
                <a:moveTo>
                  <a:pt x="1663168" y="1062579"/>
                </a:moveTo>
                <a:cubicBezTo>
                  <a:pt x="1663168" y="1068014"/>
                  <a:pt x="1663168" y="1070731"/>
                  <a:pt x="1665885" y="1073449"/>
                </a:cubicBezTo>
                <a:cubicBezTo>
                  <a:pt x="1665885" y="1068014"/>
                  <a:pt x="1665885" y="1065296"/>
                  <a:pt x="1665885" y="1062579"/>
                </a:cubicBezTo>
                <a:cubicBezTo>
                  <a:pt x="1665885" y="1062579"/>
                  <a:pt x="1663168" y="1062579"/>
                  <a:pt x="1663168" y="1062579"/>
                </a:cubicBezTo>
                <a:close/>
                <a:moveTo>
                  <a:pt x="1975691" y="1057143"/>
                </a:moveTo>
                <a:cubicBezTo>
                  <a:pt x="1975691" y="1163130"/>
                  <a:pt x="1975691" y="1269117"/>
                  <a:pt x="1975691" y="1372385"/>
                </a:cubicBezTo>
                <a:cubicBezTo>
                  <a:pt x="1986561" y="1372385"/>
                  <a:pt x="1981126" y="1089755"/>
                  <a:pt x="1981126" y="1057143"/>
                </a:cubicBezTo>
                <a:cubicBezTo>
                  <a:pt x="1981126" y="1057143"/>
                  <a:pt x="1978409" y="1057143"/>
                  <a:pt x="1975691" y="1057143"/>
                </a:cubicBezTo>
                <a:close/>
                <a:moveTo>
                  <a:pt x="5198844" y="1046910"/>
                </a:moveTo>
                <a:cubicBezTo>
                  <a:pt x="5198249" y="1046443"/>
                  <a:pt x="5197400" y="1046952"/>
                  <a:pt x="5196041" y="1048991"/>
                </a:cubicBezTo>
                <a:cubicBezTo>
                  <a:pt x="5193324" y="1059861"/>
                  <a:pt x="5182453" y="1054426"/>
                  <a:pt x="5174300" y="1057143"/>
                </a:cubicBezTo>
                <a:cubicBezTo>
                  <a:pt x="5174300" y="1065296"/>
                  <a:pt x="5174300" y="1087037"/>
                  <a:pt x="5187888" y="1087037"/>
                </a:cubicBezTo>
                <a:cubicBezTo>
                  <a:pt x="5190606" y="1078884"/>
                  <a:pt x="5179736" y="1068014"/>
                  <a:pt x="5182453" y="1059861"/>
                </a:cubicBezTo>
                <a:cubicBezTo>
                  <a:pt x="5190606" y="1057143"/>
                  <a:pt x="5193324" y="1070731"/>
                  <a:pt x="5204194" y="1062579"/>
                </a:cubicBezTo>
                <a:cubicBezTo>
                  <a:pt x="5200118" y="1058502"/>
                  <a:pt x="5200627" y="1048311"/>
                  <a:pt x="5198844" y="1046910"/>
                </a:cubicBezTo>
                <a:close/>
                <a:moveTo>
                  <a:pt x="1540876" y="1043555"/>
                </a:moveTo>
                <a:cubicBezTo>
                  <a:pt x="1540876" y="1048991"/>
                  <a:pt x="1540876" y="1051708"/>
                  <a:pt x="1540876" y="1057143"/>
                </a:cubicBezTo>
                <a:cubicBezTo>
                  <a:pt x="1538158" y="1057143"/>
                  <a:pt x="1538158" y="1057143"/>
                  <a:pt x="1535441" y="1057143"/>
                </a:cubicBezTo>
                <a:cubicBezTo>
                  <a:pt x="1535441" y="1059861"/>
                  <a:pt x="1535441" y="1062579"/>
                  <a:pt x="1535441" y="1065296"/>
                </a:cubicBezTo>
                <a:cubicBezTo>
                  <a:pt x="1538158" y="1065296"/>
                  <a:pt x="1538158" y="1065296"/>
                  <a:pt x="1540876" y="1065296"/>
                </a:cubicBezTo>
                <a:cubicBezTo>
                  <a:pt x="1540876" y="1068014"/>
                  <a:pt x="1540876" y="1070731"/>
                  <a:pt x="1540876" y="1073449"/>
                </a:cubicBezTo>
                <a:cubicBezTo>
                  <a:pt x="1540876" y="1073449"/>
                  <a:pt x="1543593" y="1073449"/>
                  <a:pt x="1543593" y="1073449"/>
                </a:cubicBezTo>
                <a:cubicBezTo>
                  <a:pt x="1543593" y="1076167"/>
                  <a:pt x="1543593" y="1076167"/>
                  <a:pt x="1543593" y="1078884"/>
                </a:cubicBezTo>
                <a:cubicBezTo>
                  <a:pt x="1543593" y="1084319"/>
                  <a:pt x="1543593" y="1089755"/>
                  <a:pt x="1543593" y="1095190"/>
                </a:cubicBezTo>
                <a:cubicBezTo>
                  <a:pt x="1543593" y="1095190"/>
                  <a:pt x="1546311" y="1095190"/>
                  <a:pt x="1546311" y="1095190"/>
                </a:cubicBezTo>
                <a:cubicBezTo>
                  <a:pt x="1546311" y="1089755"/>
                  <a:pt x="1546311" y="1084319"/>
                  <a:pt x="1546311" y="1078884"/>
                </a:cubicBezTo>
                <a:cubicBezTo>
                  <a:pt x="1546311" y="1076167"/>
                  <a:pt x="1546311" y="1073449"/>
                  <a:pt x="1546311" y="1070731"/>
                </a:cubicBezTo>
                <a:cubicBezTo>
                  <a:pt x="1543593" y="1070731"/>
                  <a:pt x="1543593" y="1070731"/>
                  <a:pt x="1543593" y="1070731"/>
                </a:cubicBezTo>
                <a:cubicBezTo>
                  <a:pt x="1543593" y="1070731"/>
                  <a:pt x="1543593" y="1068014"/>
                  <a:pt x="1543593" y="1068014"/>
                </a:cubicBezTo>
                <a:cubicBezTo>
                  <a:pt x="1578922" y="1076167"/>
                  <a:pt x="1614251" y="1087037"/>
                  <a:pt x="1649580" y="1095190"/>
                </a:cubicBezTo>
                <a:cubicBezTo>
                  <a:pt x="1649580" y="1092472"/>
                  <a:pt x="1649580" y="1092472"/>
                  <a:pt x="1655015" y="1087037"/>
                </a:cubicBezTo>
                <a:cubicBezTo>
                  <a:pt x="1619686" y="1076167"/>
                  <a:pt x="1584357" y="1068014"/>
                  <a:pt x="1549029" y="1059861"/>
                </a:cubicBezTo>
                <a:cubicBezTo>
                  <a:pt x="1549029" y="1054426"/>
                  <a:pt x="1549029" y="1051708"/>
                  <a:pt x="1549029" y="1048991"/>
                </a:cubicBezTo>
                <a:cubicBezTo>
                  <a:pt x="1546311" y="1048991"/>
                  <a:pt x="1546311" y="1048991"/>
                  <a:pt x="1546311" y="1048991"/>
                </a:cubicBezTo>
                <a:cubicBezTo>
                  <a:pt x="1546311" y="1048991"/>
                  <a:pt x="1546311" y="1046273"/>
                  <a:pt x="1546311" y="1043555"/>
                </a:cubicBezTo>
                <a:cubicBezTo>
                  <a:pt x="1543593" y="1043555"/>
                  <a:pt x="1543593" y="1043555"/>
                  <a:pt x="1540876" y="1043555"/>
                </a:cubicBezTo>
                <a:close/>
                <a:moveTo>
                  <a:pt x="1744695" y="1040838"/>
                </a:moveTo>
                <a:cubicBezTo>
                  <a:pt x="1741978" y="1043555"/>
                  <a:pt x="1741978" y="1043555"/>
                  <a:pt x="1739260" y="1043555"/>
                </a:cubicBezTo>
                <a:cubicBezTo>
                  <a:pt x="1739260" y="1043555"/>
                  <a:pt x="1739260" y="1046273"/>
                  <a:pt x="1739260" y="1046273"/>
                </a:cubicBezTo>
                <a:cubicBezTo>
                  <a:pt x="1741978" y="1046273"/>
                  <a:pt x="1741978" y="1046273"/>
                  <a:pt x="1744695" y="1046273"/>
                </a:cubicBezTo>
                <a:cubicBezTo>
                  <a:pt x="1744695" y="1043555"/>
                  <a:pt x="1744695" y="1043555"/>
                  <a:pt x="1744695" y="1040838"/>
                </a:cubicBezTo>
                <a:close/>
                <a:moveTo>
                  <a:pt x="4753073" y="1038120"/>
                </a:moveTo>
                <a:cubicBezTo>
                  <a:pt x="4736768" y="1046273"/>
                  <a:pt x="4736768" y="1057143"/>
                  <a:pt x="4734050" y="1065296"/>
                </a:cubicBezTo>
                <a:cubicBezTo>
                  <a:pt x="4725897" y="1070731"/>
                  <a:pt x="4720462" y="1073449"/>
                  <a:pt x="4712309" y="1076167"/>
                </a:cubicBezTo>
                <a:cubicBezTo>
                  <a:pt x="4712309" y="1078884"/>
                  <a:pt x="4709592" y="1078884"/>
                  <a:pt x="4709592" y="1081602"/>
                </a:cubicBezTo>
                <a:lnTo>
                  <a:pt x="4720462" y="1095190"/>
                </a:lnTo>
                <a:cubicBezTo>
                  <a:pt x="4725897" y="1087037"/>
                  <a:pt x="4734050" y="1078884"/>
                  <a:pt x="4744921" y="1073449"/>
                </a:cubicBezTo>
                <a:cubicBezTo>
                  <a:pt x="4753073" y="1092472"/>
                  <a:pt x="4769379" y="1092472"/>
                  <a:pt x="4782967" y="1103342"/>
                </a:cubicBezTo>
                <a:cubicBezTo>
                  <a:pt x="4780249" y="1106060"/>
                  <a:pt x="4785685" y="1111495"/>
                  <a:pt x="4777532" y="1114213"/>
                </a:cubicBezTo>
                <a:cubicBezTo>
                  <a:pt x="4763944" y="1106060"/>
                  <a:pt x="4755791" y="1092472"/>
                  <a:pt x="4736768" y="1095190"/>
                </a:cubicBezTo>
                <a:cubicBezTo>
                  <a:pt x="4736768" y="1095190"/>
                  <a:pt x="4734050" y="1097906"/>
                  <a:pt x="4734050" y="1097906"/>
                </a:cubicBezTo>
                <a:lnTo>
                  <a:pt x="4744921" y="1097906"/>
                </a:lnTo>
                <a:lnTo>
                  <a:pt x="4736768" y="1111495"/>
                </a:lnTo>
                <a:lnTo>
                  <a:pt x="4753073" y="1125083"/>
                </a:lnTo>
                <a:cubicBezTo>
                  <a:pt x="4785685" y="1125083"/>
                  <a:pt x="4829166" y="1133237"/>
                  <a:pt x="4837319" y="1092472"/>
                </a:cubicBezTo>
                <a:cubicBezTo>
                  <a:pt x="4823731" y="1089755"/>
                  <a:pt x="4804708" y="1103342"/>
                  <a:pt x="4799273" y="1089755"/>
                </a:cubicBezTo>
                <a:cubicBezTo>
                  <a:pt x="4804708" y="1087037"/>
                  <a:pt x="4818296" y="1087037"/>
                  <a:pt x="4812861" y="1078884"/>
                </a:cubicBezTo>
                <a:cubicBezTo>
                  <a:pt x="4796555" y="1059861"/>
                  <a:pt x="4766661" y="1068014"/>
                  <a:pt x="4753073" y="1038120"/>
                </a:cubicBezTo>
                <a:close/>
                <a:moveTo>
                  <a:pt x="1540876" y="1029968"/>
                </a:moveTo>
                <a:cubicBezTo>
                  <a:pt x="1540876" y="1032685"/>
                  <a:pt x="1540876" y="1035403"/>
                  <a:pt x="1540876" y="1038120"/>
                </a:cubicBezTo>
                <a:cubicBezTo>
                  <a:pt x="1540876" y="1038120"/>
                  <a:pt x="1543593" y="1038120"/>
                  <a:pt x="1543593" y="1038120"/>
                </a:cubicBezTo>
                <a:cubicBezTo>
                  <a:pt x="1543593" y="1035403"/>
                  <a:pt x="1543593" y="1032685"/>
                  <a:pt x="1543593" y="1029968"/>
                </a:cubicBezTo>
                <a:cubicBezTo>
                  <a:pt x="1543593" y="1029968"/>
                  <a:pt x="1543593" y="1029968"/>
                  <a:pt x="1540876" y="1029968"/>
                </a:cubicBezTo>
                <a:close/>
                <a:moveTo>
                  <a:pt x="1750131" y="1024532"/>
                </a:moveTo>
                <a:cubicBezTo>
                  <a:pt x="1747413" y="1027250"/>
                  <a:pt x="1747413" y="1027250"/>
                  <a:pt x="1744695" y="1027250"/>
                </a:cubicBezTo>
                <a:cubicBezTo>
                  <a:pt x="1744695" y="1029968"/>
                  <a:pt x="1744695" y="1029968"/>
                  <a:pt x="1744695" y="1032685"/>
                </a:cubicBezTo>
                <a:cubicBezTo>
                  <a:pt x="1747413" y="1029968"/>
                  <a:pt x="1747413" y="1029968"/>
                  <a:pt x="1750131" y="1029968"/>
                </a:cubicBezTo>
                <a:cubicBezTo>
                  <a:pt x="1750131" y="1029968"/>
                  <a:pt x="1750131" y="1032685"/>
                  <a:pt x="1750131" y="1035403"/>
                </a:cubicBezTo>
                <a:cubicBezTo>
                  <a:pt x="1752848" y="1035403"/>
                  <a:pt x="1755566" y="1032685"/>
                  <a:pt x="1758283" y="1032685"/>
                </a:cubicBezTo>
                <a:cubicBezTo>
                  <a:pt x="1758283" y="1029968"/>
                  <a:pt x="1758283" y="1029968"/>
                  <a:pt x="1758283" y="1027250"/>
                </a:cubicBezTo>
                <a:cubicBezTo>
                  <a:pt x="1755566" y="1027250"/>
                  <a:pt x="1752848" y="1029968"/>
                  <a:pt x="1750131" y="1029968"/>
                </a:cubicBezTo>
                <a:cubicBezTo>
                  <a:pt x="1750131" y="1027250"/>
                  <a:pt x="1750131" y="1027250"/>
                  <a:pt x="1750131" y="1024532"/>
                </a:cubicBezTo>
                <a:close/>
                <a:moveTo>
                  <a:pt x="4916129" y="1019097"/>
                </a:moveTo>
                <a:cubicBezTo>
                  <a:pt x="4899824" y="1027250"/>
                  <a:pt x="4897106" y="1040838"/>
                  <a:pt x="4888953" y="1051708"/>
                </a:cubicBezTo>
                <a:cubicBezTo>
                  <a:pt x="4897106" y="1059861"/>
                  <a:pt x="4907976" y="1078884"/>
                  <a:pt x="4897106" y="1084319"/>
                </a:cubicBezTo>
                <a:cubicBezTo>
                  <a:pt x="4894389" y="1076167"/>
                  <a:pt x="4888953" y="1065296"/>
                  <a:pt x="4886236" y="1057143"/>
                </a:cubicBezTo>
                <a:cubicBezTo>
                  <a:pt x="4869930" y="1065296"/>
                  <a:pt x="4867213" y="1076167"/>
                  <a:pt x="4856342" y="1087037"/>
                </a:cubicBezTo>
                <a:cubicBezTo>
                  <a:pt x="4859060" y="1097906"/>
                  <a:pt x="4864495" y="1095190"/>
                  <a:pt x="4867213" y="1103342"/>
                </a:cubicBezTo>
                <a:cubicBezTo>
                  <a:pt x="4848189" y="1097906"/>
                  <a:pt x="4842754" y="1127802"/>
                  <a:pt x="4837319" y="1141389"/>
                </a:cubicBezTo>
                <a:cubicBezTo>
                  <a:pt x="4845472" y="1152259"/>
                  <a:pt x="4859060" y="1152259"/>
                  <a:pt x="4864495" y="1168565"/>
                </a:cubicBezTo>
                <a:cubicBezTo>
                  <a:pt x="4864495" y="1176719"/>
                  <a:pt x="4850907" y="1184871"/>
                  <a:pt x="4853625" y="1195742"/>
                </a:cubicBezTo>
                <a:cubicBezTo>
                  <a:pt x="4872648" y="1187589"/>
                  <a:pt x="4875365" y="1171282"/>
                  <a:pt x="4894389" y="1163130"/>
                </a:cubicBezTo>
                <a:cubicBezTo>
                  <a:pt x="4891671" y="1146824"/>
                  <a:pt x="4875365" y="1160412"/>
                  <a:pt x="4869930" y="1149542"/>
                </a:cubicBezTo>
                <a:cubicBezTo>
                  <a:pt x="4883518" y="1152259"/>
                  <a:pt x="4899824" y="1138671"/>
                  <a:pt x="4910694" y="1130518"/>
                </a:cubicBezTo>
                <a:cubicBezTo>
                  <a:pt x="4910694" y="1122366"/>
                  <a:pt x="4905259" y="1122366"/>
                  <a:pt x="4902541" y="1116931"/>
                </a:cubicBezTo>
                <a:cubicBezTo>
                  <a:pt x="4916129" y="1116931"/>
                  <a:pt x="4907976" y="1103342"/>
                  <a:pt x="4907976" y="1092472"/>
                </a:cubicBezTo>
                <a:cubicBezTo>
                  <a:pt x="4902541" y="1095190"/>
                  <a:pt x="4894389" y="1103342"/>
                  <a:pt x="4891671" y="1097906"/>
                </a:cubicBezTo>
                <a:cubicBezTo>
                  <a:pt x="4888953" y="1092472"/>
                  <a:pt x="4880801" y="1081602"/>
                  <a:pt x="4888953" y="1078884"/>
                </a:cubicBezTo>
                <a:cubicBezTo>
                  <a:pt x="4891671" y="1084319"/>
                  <a:pt x="4894389" y="1087037"/>
                  <a:pt x="4897106" y="1089755"/>
                </a:cubicBezTo>
                <a:cubicBezTo>
                  <a:pt x="4902541" y="1081602"/>
                  <a:pt x="4905259" y="1087037"/>
                  <a:pt x="4916129" y="1084319"/>
                </a:cubicBezTo>
                <a:cubicBezTo>
                  <a:pt x="4907976" y="1059861"/>
                  <a:pt x="4916129" y="1038120"/>
                  <a:pt x="4916129" y="1019097"/>
                </a:cubicBezTo>
                <a:close/>
                <a:moveTo>
                  <a:pt x="1755566" y="1013662"/>
                </a:moveTo>
                <a:cubicBezTo>
                  <a:pt x="1755566" y="1016380"/>
                  <a:pt x="1755566" y="1016380"/>
                  <a:pt x="1755566" y="1016380"/>
                </a:cubicBezTo>
                <a:cubicBezTo>
                  <a:pt x="1755566" y="1016380"/>
                  <a:pt x="1758283" y="1016380"/>
                  <a:pt x="1758283" y="1016380"/>
                </a:cubicBezTo>
                <a:cubicBezTo>
                  <a:pt x="1758283" y="1016380"/>
                  <a:pt x="1755566" y="1016380"/>
                  <a:pt x="1755566" y="1013662"/>
                </a:cubicBezTo>
                <a:close/>
                <a:moveTo>
                  <a:pt x="1741978" y="1013662"/>
                </a:moveTo>
                <a:cubicBezTo>
                  <a:pt x="1739260" y="1016380"/>
                  <a:pt x="1739260" y="1016380"/>
                  <a:pt x="1736543" y="1016380"/>
                </a:cubicBezTo>
                <a:cubicBezTo>
                  <a:pt x="1736543" y="1019097"/>
                  <a:pt x="1736543" y="1019097"/>
                  <a:pt x="1736543" y="1021815"/>
                </a:cubicBezTo>
                <a:cubicBezTo>
                  <a:pt x="1739260" y="1021815"/>
                  <a:pt x="1739260" y="1021815"/>
                  <a:pt x="1741978" y="1019097"/>
                </a:cubicBezTo>
                <a:cubicBezTo>
                  <a:pt x="1741978" y="1016380"/>
                  <a:pt x="1741978" y="1016380"/>
                  <a:pt x="1741978" y="1013662"/>
                </a:cubicBezTo>
                <a:close/>
                <a:moveTo>
                  <a:pt x="1540876" y="1008228"/>
                </a:moveTo>
                <a:cubicBezTo>
                  <a:pt x="1540876" y="1013662"/>
                  <a:pt x="1540876" y="1019097"/>
                  <a:pt x="1540876" y="1024532"/>
                </a:cubicBezTo>
                <a:cubicBezTo>
                  <a:pt x="1543593" y="1024532"/>
                  <a:pt x="1543593" y="1024532"/>
                  <a:pt x="1543593" y="1024532"/>
                </a:cubicBezTo>
                <a:cubicBezTo>
                  <a:pt x="1543593" y="1019097"/>
                  <a:pt x="1543593" y="1013662"/>
                  <a:pt x="1543593" y="1008228"/>
                </a:cubicBezTo>
                <a:cubicBezTo>
                  <a:pt x="1543593" y="1008228"/>
                  <a:pt x="1543593" y="1008228"/>
                  <a:pt x="1540876" y="1008228"/>
                </a:cubicBezTo>
                <a:close/>
                <a:moveTo>
                  <a:pt x="5444393" y="1003641"/>
                </a:moveTo>
                <a:lnTo>
                  <a:pt x="5444361" y="1003811"/>
                </a:lnTo>
                <a:cubicBezTo>
                  <a:pt x="5444022" y="1006868"/>
                  <a:pt x="5443343" y="1009586"/>
                  <a:pt x="5440625" y="1010944"/>
                </a:cubicBezTo>
                <a:lnTo>
                  <a:pt x="5438227" y="1011421"/>
                </a:lnTo>
                <a:lnTo>
                  <a:pt x="5439776" y="1007505"/>
                </a:lnTo>
                <a:close/>
                <a:moveTo>
                  <a:pt x="1660450" y="997356"/>
                </a:moveTo>
                <a:cubicBezTo>
                  <a:pt x="1660450" y="1000074"/>
                  <a:pt x="1660450" y="1005509"/>
                  <a:pt x="1660450" y="1008228"/>
                </a:cubicBezTo>
                <a:cubicBezTo>
                  <a:pt x="1660450" y="1008228"/>
                  <a:pt x="1663168" y="1008228"/>
                  <a:pt x="1663168" y="1008228"/>
                </a:cubicBezTo>
                <a:cubicBezTo>
                  <a:pt x="1663168" y="1008228"/>
                  <a:pt x="1663168" y="1008228"/>
                  <a:pt x="1665885" y="1010944"/>
                </a:cubicBezTo>
                <a:cubicBezTo>
                  <a:pt x="1663168" y="1008228"/>
                  <a:pt x="1663168" y="1008228"/>
                  <a:pt x="1660450" y="1010944"/>
                </a:cubicBezTo>
                <a:cubicBezTo>
                  <a:pt x="1660450" y="1013662"/>
                  <a:pt x="1660450" y="1013662"/>
                  <a:pt x="1660450" y="1016380"/>
                </a:cubicBezTo>
                <a:cubicBezTo>
                  <a:pt x="1660450" y="1016380"/>
                  <a:pt x="1663168" y="1016380"/>
                  <a:pt x="1663168" y="1016380"/>
                </a:cubicBezTo>
                <a:cubicBezTo>
                  <a:pt x="1663168" y="1016380"/>
                  <a:pt x="1663168" y="1019097"/>
                  <a:pt x="1663168" y="1019097"/>
                </a:cubicBezTo>
                <a:cubicBezTo>
                  <a:pt x="1663168" y="1024532"/>
                  <a:pt x="1663168" y="1027250"/>
                  <a:pt x="1663168" y="1029968"/>
                </a:cubicBezTo>
                <a:cubicBezTo>
                  <a:pt x="1663168" y="1032685"/>
                  <a:pt x="1663168" y="1032685"/>
                  <a:pt x="1665885" y="1035403"/>
                </a:cubicBezTo>
                <a:cubicBezTo>
                  <a:pt x="1665885" y="1032685"/>
                  <a:pt x="1665885" y="1029968"/>
                  <a:pt x="1665885" y="1029968"/>
                </a:cubicBezTo>
                <a:cubicBezTo>
                  <a:pt x="1665885" y="1024532"/>
                  <a:pt x="1665885" y="1021815"/>
                  <a:pt x="1665885" y="1019097"/>
                </a:cubicBezTo>
                <a:cubicBezTo>
                  <a:pt x="1665885" y="1016380"/>
                  <a:pt x="1665885" y="1013662"/>
                  <a:pt x="1665885" y="1010944"/>
                </a:cubicBezTo>
                <a:cubicBezTo>
                  <a:pt x="1665885" y="1008228"/>
                  <a:pt x="1665885" y="1002792"/>
                  <a:pt x="1663168" y="1000074"/>
                </a:cubicBezTo>
                <a:cubicBezTo>
                  <a:pt x="1663168" y="1000074"/>
                  <a:pt x="1663168" y="1000074"/>
                  <a:pt x="1663168" y="997356"/>
                </a:cubicBezTo>
                <a:cubicBezTo>
                  <a:pt x="1663168" y="997356"/>
                  <a:pt x="1660450" y="997356"/>
                  <a:pt x="1660450" y="997356"/>
                </a:cubicBezTo>
                <a:close/>
                <a:moveTo>
                  <a:pt x="1538158" y="991922"/>
                </a:moveTo>
                <a:cubicBezTo>
                  <a:pt x="1538158" y="994639"/>
                  <a:pt x="1538158" y="1000074"/>
                  <a:pt x="1538158" y="1000074"/>
                </a:cubicBezTo>
                <a:cubicBezTo>
                  <a:pt x="1540876" y="1000074"/>
                  <a:pt x="1540876" y="1000074"/>
                  <a:pt x="1543593" y="1000074"/>
                </a:cubicBezTo>
                <a:cubicBezTo>
                  <a:pt x="1543593" y="997356"/>
                  <a:pt x="1543593" y="994639"/>
                  <a:pt x="1543593" y="991922"/>
                </a:cubicBezTo>
                <a:cubicBezTo>
                  <a:pt x="1540876" y="991922"/>
                  <a:pt x="1540876" y="991922"/>
                  <a:pt x="1538158" y="991922"/>
                </a:cubicBezTo>
                <a:close/>
                <a:moveTo>
                  <a:pt x="2217557" y="989216"/>
                </a:moveTo>
                <a:cubicBezTo>
                  <a:pt x="2217557" y="997369"/>
                  <a:pt x="2217557" y="1005521"/>
                  <a:pt x="2217557" y="1010956"/>
                </a:cubicBezTo>
                <a:cubicBezTo>
                  <a:pt x="2217557" y="1010956"/>
                  <a:pt x="2214840" y="1010956"/>
                  <a:pt x="2214840" y="1010956"/>
                </a:cubicBezTo>
                <a:cubicBezTo>
                  <a:pt x="2214840" y="1002804"/>
                  <a:pt x="2214840" y="997369"/>
                  <a:pt x="2217557" y="989216"/>
                </a:cubicBezTo>
                <a:close/>
                <a:moveTo>
                  <a:pt x="4701439" y="989204"/>
                </a:moveTo>
                <a:lnTo>
                  <a:pt x="4693286" y="991922"/>
                </a:lnTo>
                <a:cubicBezTo>
                  <a:pt x="4723180" y="1035403"/>
                  <a:pt x="4690569" y="970180"/>
                  <a:pt x="4723180" y="1013662"/>
                </a:cubicBezTo>
                <a:lnTo>
                  <a:pt x="4701439" y="1013662"/>
                </a:lnTo>
                <a:lnTo>
                  <a:pt x="4701439" y="1029968"/>
                </a:lnTo>
                <a:lnTo>
                  <a:pt x="4715027" y="1029968"/>
                </a:lnTo>
                <a:lnTo>
                  <a:pt x="4712309" y="1040838"/>
                </a:lnTo>
                <a:cubicBezTo>
                  <a:pt x="4717745" y="1035403"/>
                  <a:pt x="4723180" y="1029968"/>
                  <a:pt x="4728615" y="1027250"/>
                </a:cubicBezTo>
                <a:cubicBezTo>
                  <a:pt x="4725897" y="1005509"/>
                  <a:pt x="4715027" y="994639"/>
                  <a:pt x="4701439" y="989204"/>
                </a:cubicBezTo>
                <a:close/>
                <a:moveTo>
                  <a:pt x="5484106" y="986486"/>
                </a:moveTo>
                <a:lnTo>
                  <a:pt x="5484141" y="986555"/>
                </a:lnTo>
                <a:lnTo>
                  <a:pt x="5481389" y="994639"/>
                </a:lnTo>
                <a:lnTo>
                  <a:pt x="5467831" y="992081"/>
                </a:lnTo>
                <a:close/>
                <a:moveTo>
                  <a:pt x="1663168" y="986486"/>
                </a:moveTo>
                <a:cubicBezTo>
                  <a:pt x="1663168" y="989204"/>
                  <a:pt x="1663168" y="989204"/>
                  <a:pt x="1665885" y="991922"/>
                </a:cubicBezTo>
                <a:cubicBezTo>
                  <a:pt x="1665885" y="989204"/>
                  <a:pt x="1665885" y="989204"/>
                  <a:pt x="1665885" y="986486"/>
                </a:cubicBezTo>
                <a:cubicBezTo>
                  <a:pt x="1665885" y="986486"/>
                  <a:pt x="1663168" y="986486"/>
                  <a:pt x="1663168" y="986486"/>
                </a:cubicBezTo>
                <a:close/>
                <a:moveTo>
                  <a:pt x="5197472" y="978479"/>
                </a:moveTo>
                <a:lnTo>
                  <a:pt x="5201476" y="983768"/>
                </a:lnTo>
                <a:lnTo>
                  <a:pt x="5200283" y="984100"/>
                </a:lnTo>
                <a:close/>
                <a:moveTo>
                  <a:pt x="3127951" y="978345"/>
                </a:moveTo>
                <a:cubicBezTo>
                  <a:pt x="3136104" y="981062"/>
                  <a:pt x="3144257" y="981062"/>
                  <a:pt x="3152410" y="983780"/>
                </a:cubicBezTo>
                <a:cubicBezTo>
                  <a:pt x="3152410" y="989216"/>
                  <a:pt x="3152410" y="991934"/>
                  <a:pt x="3152410" y="994650"/>
                </a:cubicBezTo>
                <a:cubicBezTo>
                  <a:pt x="3144257" y="991934"/>
                  <a:pt x="3136104" y="991934"/>
                  <a:pt x="3127951" y="989216"/>
                </a:cubicBezTo>
                <a:cubicBezTo>
                  <a:pt x="3127951" y="983780"/>
                  <a:pt x="3127951" y="981062"/>
                  <a:pt x="3127951" y="978345"/>
                </a:cubicBezTo>
                <a:close/>
                <a:moveTo>
                  <a:pt x="5568352" y="975616"/>
                </a:moveTo>
                <a:cubicBezTo>
                  <a:pt x="5560199" y="978333"/>
                  <a:pt x="5552046" y="981051"/>
                  <a:pt x="5543893" y="978333"/>
                </a:cubicBezTo>
                <a:cubicBezTo>
                  <a:pt x="5543893" y="983768"/>
                  <a:pt x="5541176" y="989204"/>
                  <a:pt x="5543893" y="997356"/>
                </a:cubicBezTo>
                <a:cubicBezTo>
                  <a:pt x="5554764" y="1000074"/>
                  <a:pt x="5565634" y="989204"/>
                  <a:pt x="5571069" y="983768"/>
                </a:cubicBezTo>
                <a:cubicBezTo>
                  <a:pt x="5571069" y="981051"/>
                  <a:pt x="5568352" y="978333"/>
                  <a:pt x="5568352" y="975616"/>
                </a:cubicBezTo>
                <a:close/>
                <a:moveTo>
                  <a:pt x="1663168" y="972898"/>
                </a:moveTo>
                <a:cubicBezTo>
                  <a:pt x="1663168" y="978333"/>
                  <a:pt x="1663168" y="981051"/>
                  <a:pt x="1665885" y="983768"/>
                </a:cubicBezTo>
                <a:cubicBezTo>
                  <a:pt x="1665885" y="981051"/>
                  <a:pt x="1665885" y="978333"/>
                  <a:pt x="1665885" y="972898"/>
                </a:cubicBezTo>
                <a:cubicBezTo>
                  <a:pt x="1665885" y="972898"/>
                  <a:pt x="1663168" y="972898"/>
                  <a:pt x="1663168" y="972898"/>
                </a:cubicBezTo>
                <a:close/>
                <a:moveTo>
                  <a:pt x="1663168" y="964745"/>
                </a:moveTo>
                <a:cubicBezTo>
                  <a:pt x="1663168" y="964745"/>
                  <a:pt x="1663168" y="967463"/>
                  <a:pt x="1663168" y="970180"/>
                </a:cubicBezTo>
                <a:cubicBezTo>
                  <a:pt x="1663168" y="970180"/>
                  <a:pt x="1665885" y="970180"/>
                  <a:pt x="1665885" y="970180"/>
                </a:cubicBezTo>
                <a:cubicBezTo>
                  <a:pt x="1665885" y="967463"/>
                  <a:pt x="1665885" y="967463"/>
                  <a:pt x="1663168" y="964745"/>
                </a:cubicBezTo>
                <a:close/>
                <a:moveTo>
                  <a:pt x="2217557" y="962040"/>
                </a:moveTo>
                <a:cubicBezTo>
                  <a:pt x="2217557" y="962040"/>
                  <a:pt x="2217557" y="962040"/>
                  <a:pt x="2220274" y="962040"/>
                </a:cubicBezTo>
                <a:cubicBezTo>
                  <a:pt x="2220274" y="967475"/>
                  <a:pt x="2217557" y="975628"/>
                  <a:pt x="2220274" y="983780"/>
                </a:cubicBezTo>
                <a:cubicBezTo>
                  <a:pt x="2220274" y="983780"/>
                  <a:pt x="2217557" y="983780"/>
                  <a:pt x="2217557" y="983780"/>
                </a:cubicBezTo>
                <a:cubicBezTo>
                  <a:pt x="2217557" y="975628"/>
                  <a:pt x="2217557" y="970193"/>
                  <a:pt x="2217557" y="962040"/>
                </a:cubicBezTo>
                <a:close/>
                <a:moveTo>
                  <a:pt x="5530206" y="959430"/>
                </a:moveTo>
                <a:lnTo>
                  <a:pt x="5529966" y="961009"/>
                </a:lnTo>
                <a:lnTo>
                  <a:pt x="5529496" y="971885"/>
                </a:lnTo>
                <a:lnTo>
                  <a:pt x="5525507" y="974597"/>
                </a:lnTo>
                <a:cubicBezTo>
                  <a:pt x="5524021" y="976295"/>
                  <a:pt x="5523511" y="978333"/>
                  <a:pt x="5524870" y="981051"/>
                </a:cubicBezTo>
                <a:cubicBezTo>
                  <a:pt x="5514000" y="983768"/>
                  <a:pt x="5503129" y="989204"/>
                  <a:pt x="5500412" y="978333"/>
                </a:cubicBezTo>
                <a:cubicBezTo>
                  <a:pt x="5511282" y="972898"/>
                  <a:pt x="5533023" y="978333"/>
                  <a:pt x="5522153" y="962028"/>
                </a:cubicBezTo>
                <a:close/>
                <a:moveTo>
                  <a:pt x="3127951" y="959323"/>
                </a:moveTo>
                <a:cubicBezTo>
                  <a:pt x="3136104" y="962039"/>
                  <a:pt x="3144257" y="964758"/>
                  <a:pt x="3152410" y="964758"/>
                </a:cubicBezTo>
                <a:cubicBezTo>
                  <a:pt x="3152410" y="970193"/>
                  <a:pt x="3152410" y="972910"/>
                  <a:pt x="3152410" y="975627"/>
                </a:cubicBezTo>
                <a:cubicBezTo>
                  <a:pt x="3144257" y="972910"/>
                  <a:pt x="3136104" y="972910"/>
                  <a:pt x="3127951" y="970193"/>
                </a:cubicBezTo>
                <a:cubicBezTo>
                  <a:pt x="3127951" y="964758"/>
                  <a:pt x="3127951" y="962039"/>
                  <a:pt x="3127951" y="959323"/>
                </a:cubicBezTo>
                <a:close/>
                <a:moveTo>
                  <a:pt x="4867213" y="948440"/>
                </a:moveTo>
                <a:cubicBezTo>
                  <a:pt x="4850907" y="956592"/>
                  <a:pt x="4821013" y="951157"/>
                  <a:pt x="4812861" y="978333"/>
                </a:cubicBezTo>
                <a:cubicBezTo>
                  <a:pt x="4823731" y="978333"/>
                  <a:pt x="4837319" y="967463"/>
                  <a:pt x="4845472" y="975616"/>
                </a:cubicBezTo>
                <a:cubicBezTo>
                  <a:pt x="4834601" y="983768"/>
                  <a:pt x="4826449" y="991922"/>
                  <a:pt x="4807425" y="997356"/>
                </a:cubicBezTo>
                <a:cubicBezTo>
                  <a:pt x="4804708" y="1005509"/>
                  <a:pt x="4810143" y="1013662"/>
                  <a:pt x="4804708" y="1021815"/>
                </a:cubicBezTo>
                <a:cubicBezTo>
                  <a:pt x="4801990" y="1005509"/>
                  <a:pt x="4788402" y="1010944"/>
                  <a:pt x="4780249" y="1008228"/>
                </a:cubicBezTo>
                <a:cubicBezTo>
                  <a:pt x="4788402" y="1005509"/>
                  <a:pt x="4796555" y="1002792"/>
                  <a:pt x="4791120" y="994639"/>
                </a:cubicBezTo>
                <a:cubicBezTo>
                  <a:pt x="4782967" y="991922"/>
                  <a:pt x="4782967" y="1005509"/>
                  <a:pt x="4766661" y="1008228"/>
                </a:cubicBezTo>
                <a:cubicBezTo>
                  <a:pt x="4772097" y="1024532"/>
                  <a:pt x="4791120" y="1008228"/>
                  <a:pt x="4796555" y="1024532"/>
                </a:cubicBezTo>
                <a:cubicBezTo>
                  <a:pt x="4785685" y="1024532"/>
                  <a:pt x="4777532" y="1027250"/>
                  <a:pt x="4763944" y="1032685"/>
                </a:cubicBezTo>
                <a:cubicBezTo>
                  <a:pt x="4763944" y="1038120"/>
                  <a:pt x="4761226" y="1043555"/>
                  <a:pt x="4766661" y="1051708"/>
                </a:cubicBezTo>
                <a:cubicBezTo>
                  <a:pt x="4793837" y="1065296"/>
                  <a:pt x="4821013" y="1076167"/>
                  <a:pt x="4848189" y="1087037"/>
                </a:cubicBezTo>
                <a:cubicBezTo>
                  <a:pt x="4842754" y="1068014"/>
                  <a:pt x="4875365" y="1062579"/>
                  <a:pt x="4872648" y="1046273"/>
                </a:cubicBezTo>
                <a:cubicBezTo>
                  <a:pt x="4850907" y="1048991"/>
                  <a:pt x="4834601" y="1032685"/>
                  <a:pt x="4815578" y="1024532"/>
                </a:cubicBezTo>
                <a:cubicBezTo>
                  <a:pt x="4837319" y="1021815"/>
                  <a:pt x="4850907" y="1043555"/>
                  <a:pt x="4875365" y="1035403"/>
                </a:cubicBezTo>
                <a:cubicBezTo>
                  <a:pt x="4867213" y="1027250"/>
                  <a:pt x="4878083" y="1024532"/>
                  <a:pt x="4886236" y="1019097"/>
                </a:cubicBezTo>
                <a:cubicBezTo>
                  <a:pt x="4891671" y="1027250"/>
                  <a:pt x="4880801" y="1029968"/>
                  <a:pt x="4888953" y="1032685"/>
                </a:cubicBezTo>
                <a:cubicBezTo>
                  <a:pt x="4916129" y="1021815"/>
                  <a:pt x="4924282" y="970180"/>
                  <a:pt x="4880801" y="989204"/>
                </a:cubicBezTo>
                <a:cubicBezTo>
                  <a:pt x="4883518" y="1002792"/>
                  <a:pt x="4897106" y="997356"/>
                  <a:pt x="4902541" y="1008228"/>
                </a:cubicBezTo>
                <a:cubicBezTo>
                  <a:pt x="4883518" y="1016380"/>
                  <a:pt x="4880801" y="991922"/>
                  <a:pt x="4869930" y="986486"/>
                </a:cubicBezTo>
                <a:cubicBezTo>
                  <a:pt x="4872648" y="981051"/>
                  <a:pt x="4880801" y="978333"/>
                  <a:pt x="4888953" y="975616"/>
                </a:cubicBezTo>
                <a:cubicBezTo>
                  <a:pt x="4883518" y="959310"/>
                  <a:pt x="4875365" y="956592"/>
                  <a:pt x="4867213" y="948440"/>
                </a:cubicBezTo>
                <a:close/>
                <a:moveTo>
                  <a:pt x="5587375" y="945722"/>
                </a:moveTo>
                <a:cubicBezTo>
                  <a:pt x="5587375" y="951157"/>
                  <a:pt x="5595528" y="964745"/>
                  <a:pt x="5584657" y="970180"/>
                </a:cubicBezTo>
                <a:cubicBezTo>
                  <a:pt x="5592810" y="964745"/>
                  <a:pt x="5598245" y="970180"/>
                  <a:pt x="5609115" y="964745"/>
                </a:cubicBezTo>
                <a:cubicBezTo>
                  <a:pt x="5606398" y="959310"/>
                  <a:pt x="5609115" y="953875"/>
                  <a:pt x="5609115" y="948440"/>
                </a:cubicBezTo>
                <a:cubicBezTo>
                  <a:pt x="5598245" y="953875"/>
                  <a:pt x="5595528" y="943004"/>
                  <a:pt x="5587375" y="945722"/>
                </a:cubicBezTo>
                <a:close/>
                <a:moveTo>
                  <a:pt x="4997657" y="945722"/>
                </a:moveTo>
                <a:cubicBezTo>
                  <a:pt x="4970481" y="948440"/>
                  <a:pt x="4946023" y="967463"/>
                  <a:pt x="4927000" y="986486"/>
                </a:cubicBezTo>
                <a:cubicBezTo>
                  <a:pt x="4929717" y="994639"/>
                  <a:pt x="4935152" y="997356"/>
                  <a:pt x="4940588" y="1002792"/>
                </a:cubicBezTo>
                <a:cubicBezTo>
                  <a:pt x="4924282" y="1019097"/>
                  <a:pt x="4943305" y="1048991"/>
                  <a:pt x="4937870" y="1070731"/>
                </a:cubicBezTo>
                <a:lnTo>
                  <a:pt x="4948199" y="1072737"/>
                </a:lnTo>
                <a:lnTo>
                  <a:pt x="4934813" y="1092132"/>
                </a:lnTo>
                <a:cubicBezTo>
                  <a:pt x="4931076" y="1101304"/>
                  <a:pt x="4931076" y="1110136"/>
                  <a:pt x="4940588" y="1114213"/>
                </a:cubicBezTo>
                <a:cubicBezTo>
                  <a:pt x="4943305" y="1103342"/>
                  <a:pt x="4943305" y="1092472"/>
                  <a:pt x="4954176" y="1084319"/>
                </a:cubicBezTo>
                <a:cubicBezTo>
                  <a:pt x="4956893" y="1087037"/>
                  <a:pt x="4959611" y="1084319"/>
                  <a:pt x="4962328" y="1087037"/>
                </a:cubicBezTo>
                <a:cubicBezTo>
                  <a:pt x="4965046" y="1095190"/>
                  <a:pt x="4956893" y="1097906"/>
                  <a:pt x="4959611" y="1100625"/>
                </a:cubicBezTo>
                <a:cubicBezTo>
                  <a:pt x="4970481" y="1097906"/>
                  <a:pt x="4981351" y="1100625"/>
                  <a:pt x="4994939" y="1092472"/>
                </a:cubicBezTo>
                <a:lnTo>
                  <a:pt x="4988514" y="1082267"/>
                </a:lnTo>
                <a:lnTo>
                  <a:pt x="5007423" y="1082196"/>
                </a:lnTo>
                <a:cubicBezTo>
                  <a:pt x="5014642" y="1079904"/>
                  <a:pt x="5021436" y="1074807"/>
                  <a:pt x="5027550" y="1065296"/>
                </a:cubicBezTo>
                <a:cubicBezTo>
                  <a:pt x="5024833" y="1059861"/>
                  <a:pt x="5019398" y="1051708"/>
                  <a:pt x="5027550" y="1048991"/>
                </a:cubicBezTo>
                <a:cubicBezTo>
                  <a:pt x="5046574" y="1035403"/>
                  <a:pt x="5046574" y="1065296"/>
                  <a:pt x="5057444" y="1068014"/>
                </a:cubicBezTo>
                <a:cubicBezTo>
                  <a:pt x="5060162" y="1065296"/>
                  <a:pt x="5065597" y="1065296"/>
                  <a:pt x="5068314" y="1062579"/>
                </a:cubicBezTo>
                <a:cubicBezTo>
                  <a:pt x="5076467" y="1046273"/>
                  <a:pt x="5041138" y="1040838"/>
                  <a:pt x="5057444" y="1027250"/>
                </a:cubicBezTo>
                <a:cubicBezTo>
                  <a:pt x="5065597" y="1040838"/>
                  <a:pt x="5076467" y="1048991"/>
                  <a:pt x="5092773" y="1040838"/>
                </a:cubicBezTo>
                <a:cubicBezTo>
                  <a:pt x="5084620" y="1024532"/>
                  <a:pt x="5068314" y="1029968"/>
                  <a:pt x="5060162" y="1019097"/>
                </a:cubicBezTo>
                <a:cubicBezTo>
                  <a:pt x="5065597" y="1016380"/>
                  <a:pt x="5071032" y="1013662"/>
                  <a:pt x="5076467" y="1010944"/>
                </a:cubicBezTo>
                <a:cubicBezTo>
                  <a:pt x="5087337" y="1019097"/>
                  <a:pt x="5095490" y="1029968"/>
                  <a:pt x="5111796" y="1024532"/>
                </a:cubicBezTo>
                <a:cubicBezTo>
                  <a:pt x="5109078" y="1019097"/>
                  <a:pt x="5106361" y="1005509"/>
                  <a:pt x="5098208" y="1008228"/>
                </a:cubicBezTo>
                <a:cubicBezTo>
                  <a:pt x="5103643" y="1010944"/>
                  <a:pt x="5103643" y="1016380"/>
                  <a:pt x="5098208" y="1019097"/>
                </a:cubicBezTo>
                <a:cubicBezTo>
                  <a:pt x="5090055" y="981051"/>
                  <a:pt x="5071032" y="964745"/>
                  <a:pt x="5035703" y="967463"/>
                </a:cubicBezTo>
                <a:cubicBezTo>
                  <a:pt x="5032986" y="978333"/>
                  <a:pt x="5038421" y="989204"/>
                  <a:pt x="5022115" y="994639"/>
                </a:cubicBezTo>
                <a:cubicBezTo>
                  <a:pt x="5030268" y="1008228"/>
                  <a:pt x="5062879" y="997356"/>
                  <a:pt x="5060162" y="1019097"/>
                </a:cubicBezTo>
                <a:cubicBezTo>
                  <a:pt x="5046574" y="1019097"/>
                  <a:pt x="5032986" y="1010944"/>
                  <a:pt x="5022115" y="1002792"/>
                </a:cubicBezTo>
                <a:cubicBezTo>
                  <a:pt x="5005810" y="1005509"/>
                  <a:pt x="5008527" y="1024532"/>
                  <a:pt x="4997657" y="1016380"/>
                </a:cubicBezTo>
                <a:cubicBezTo>
                  <a:pt x="5003092" y="1005509"/>
                  <a:pt x="5019398" y="997356"/>
                  <a:pt x="5011245" y="983768"/>
                </a:cubicBezTo>
                <a:cubicBezTo>
                  <a:pt x="4997657" y="978333"/>
                  <a:pt x="4975916" y="981051"/>
                  <a:pt x="4973199" y="989204"/>
                </a:cubicBezTo>
                <a:cubicBezTo>
                  <a:pt x="4978634" y="975616"/>
                  <a:pt x="4967763" y="975616"/>
                  <a:pt x="4967763" y="967463"/>
                </a:cubicBezTo>
                <a:cubicBezTo>
                  <a:pt x="4978634" y="959310"/>
                  <a:pt x="4978634" y="975616"/>
                  <a:pt x="4986787" y="975616"/>
                </a:cubicBezTo>
                <a:cubicBezTo>
                  <a:pt x="4992222" y="967463"/>
                  <a:pt x="5005810" y="959310"/>
                  <a:pt x="4997657" y="945722"/>
                </a:cubicBezTo>
                <a:close/>
                <a:moveTo>
                  <a:pt x="1538158" y="945722"/>
                </a:moveTo>
                <a:cubicBezTo>
                  <a:pt x="1538158" y="951157"/>
                  <a:pt x="1538158" y="956592"/>
                  <a:pt x="1538158" y="962028"/>
                </a:cubicBezTo>
                <a:cubicBezTo>
                  <a:pt x="1538158" y="962028"/>
                  <a:pt x="1540876" y="962028"/>
                  <a:pt x="1540876" y="962028"/>
                </a:cubicBezTo>
                <a:cubicBezTo>
                  <a:pt x="1540876" y="962028"/>
                  <a:pt x="1540876" y="964745"/>
                  <a:pt x="1540876" y="964745"/>
                </a:cubicBezTo>
                <a:cubicBezTo>
                  <a:pt x="1540876" y="964745"/>
                  <a:pt x="1540876" y="964745"/>
                  <a:pt x="1538158" y="964745"/>
                </a:cubicBezTo>
                <a:cubicBezTo>
                  <a:pt x="1538158" y="967463"/>
                  <a:pt x="1538158" y="970180"/>
                  <a:pt x="1538158" y="972898"/>
                </a:cubicBezTo>
                <a:cubicBezTo>
                  <a:pt x="1538158" y="978333"/>
                  <a:pt x="1538158" y="983768"/>
                  <a:pt x="1538158" y="989204"/>
                </a:cubicBezTo>
                <a:cubicBezTo>
                  <a:pt x="1540876" y="989204"/>
                  <a:pt x="1540876" y="989204"/>
                  <a:pt x="1543593" y="989204"/>
                </a:cubicBezTo>
                <a:cubicBezTo>
                  <a:pt x="1543593" y="986486"/>
                  <a:pt x="1543593" y="983768"/>
                  <a:pt x="1543593" y="981051"/>
                </a:cubicBezTo>
                <a:cubicBezTo>
                  <a:pt x="1543593" y="981051"/>
                  <a:pt x="1546311" y="981051"/>
                  <a:pt x="1546311" y="981051"/>
                </a:cubicBezTo>
                <a:cubicBezTo>
                  <a:pt x="1546311" y="978333"/>
                  <a:pt x="1546311" y="975616"/>
                  <a:pt x="1546311" y="972898"/>
                </a:cubicBezTo>
                <a:cubicBezTo>
                  <a:pt x="1543593" y="972898"/>
                  <a:pt x="1543593" y="972898"/>
                  <a:pt x="1543593" y="972898"/>
                </a:cubicBezTo>
                <a:cubicBezTo>
                  <a:pt x="1543593" y="972898"/>
                  <a:pt x="1543593" y="970180"/>
                  <a:pt x="1543593" y="970180"/>
                </a:cubicBezTo>
                <a:cubicBezTo>
                  <a:pt x="1543593" y="970180"/>
                  <a:pt x="1546311" y="970180"/>
                  <a:pt x="1546311" y="970180"/>
                </a:cubicBezTo>
                <a:cubicBezTo>
                  <a:pt x="1546311" y="964745"/>
                  <a:pt x="1546311" y="959310"/>
                  <a:pt x="1546311" y="953875"/>
                </a:cubicBezTo>
                <a:cubicBezTo>
                  <a:pt x="1543593" y="953875"/>
                  <a:pt x="1543593" y="953875"/>
                  <a:pt x="1543593" y="953875"/>
                </a:cubicBezTo>
                <a:cubicBezTo>
                  <a:pt x="1543593" y="951157"/>
                  <a:pt x="1543593" y="948440"/>
                  <a:pt x="1543593" y="945722"/>
                </a:cubicBezTo>
                <a:cubicBezTo>
                  <a:pt x="1540876" y="945722"/>
                  <a:pt x="1540876" y="945722"/>
                  <a:pt x="1538158" y="945722"/>
                </a:cubicBezTo>
                <a:close/>
                <a:moveTo>
                  <a:pt x="3127951" y="943018"/>
                </a:moveTo>
                <a:cubicBezTo>
                  <a:pt x="3136104" y="945735"/>
                  <a:pt x="3144257" y="948452"/>
                  <a:pt x="3152410" y="948452"/>
                </a:cubicBezTo>
                <a:cubicBezTo>
                  <a:pt x="3152410" y="951170"/>
                  <a:pt x="3152410" y="956605"/>
                  <a:pt x="3152410" y="959323"/>
                </a:cubicBezTo>
                <a:cubicBezTo>
                  <a:pt x="3144257" y="956605"/>
                  <a:pt x="3136104" y="953887"/>
                  <a:pt x="3127951" y="953887"/>
                </a:cubicBezTo>
                <a:cubicBezTo>
                  <a:pt x="3127951" y="951170"/>
                  <a:pt x="3127951" y="945735"/>
                  <a:pt x="3127951" y="943018"/>
                </a:cubicBezTo>
                <a:close/>
                <a:moveTo>
                  <a:pt x="4774814" y="937569"/>
                </a:moveTo>
                <a:cubicBezTo>
                  <a:pt x="4761226" y="943004"/>
                  <a:pt x="4763944" y="953875"/>
                  <a:pt x="4747638" y="959310"/>
                </a:cubicBezTo>
                <a:cubicBezTo>
                  <a:pt x="4750356" y="970180"/>
                  <a:pt x="4747638" y="981051"/>
                  <a:pt x="4753073" y="991922"/>
                </a:cubicBezTo>
                <a:cubicBezTo>
                  <a:pt x="4796555" y="978333"/>
                  <a:pt x="4782967" y="962028"/>
                  <a:pt x="4774814" y="937569"/>
                </a:cubicBezTo>
                <a:close/>
                <a:moveTo>
                  <a:pt x="3429605" y="937569"/>
                </a:moveTo>
                <a:lnTo>
                  <a:pt x="3429605" y="959310"/>
                </a:lnTo>
                <a:cubicBezTo>
                  <a:pt x="3448627" y="951157"/>
                  <a:pt x="3432323" y="951157"/>
                  <a:pt x="3451345" y="959310"/>
                </a:cubicBezTo>
                <a:cubicBezTo>
                  <a:pt x="3451345" y="951157"/>
                  <a:pt x="3454063" y="948440"/>
                  <a:pt x="3454063" y="945722"/>
                </a:cubicBezTo>
                <a:cubicBezTo>
                  <a:pt x="3456781" y="945722"/>
                  <a:pt x="3459499" y="943004"/>
                  <a:pt x="3467651" y="937569"/>
                </a:cubicBezTo>
                <a:close/>
                <a:moveTo>
                  <a:pt x="2217557" y="932147"/>
                </a:moveTo>
                <a:cubicBezTo>
                  <a:pt x="2217557" y="932147"/>
                  <a:pt x="2220274" y="932147"/>
                  <a:pt x="2220274" y="932147"/>
                </a:cubicBezTo>
                <a:cubicBezTo>
                  <a:pt x="2220274" y="940299"/>
                  <a:pt x="2220274" y="945735"/>
                  <a:pt x="2220274" y="953887"/>
                </a:cubicBezTo>
                <a:cubicBezTo>
                  <a:pt x="2220274" y="953887"/>
                  <a:pt x="2217557" y="953887"/>
                  <a:pt x="2217557" y="953887"/>
                </a:cubicBezTo>
                <a:cubicBezTo>
                  <a:pt x="2217557" y="945735"/>
                  <a:pt x="2217557" y="940299"/>
                  <a:pt x="2217557" y="932147"/>
                </a:cubicBezTo>
                <a:close/>
                <a:moveTo>
                  <a:pt x="1896881" y="932147"/>
                </a:moveTo>
                <a:cubicBezTo>
                  <a:pt x="1899598" y="932147"/>
                  <a:pt x="1899598" y="932147"/>
                  <a:pt x="1902316" y="932147"/>
                </a:cubicBezTo>
                <a:cubicBezTo>
                  <a:pt x="1902316" y="937582"/>
                  <a:pt x="1902316" y="943016"/>
                  <a:pt x="1902316" y="945735"/>
                </a:cubicBezTo>
                <a:cubicBezTo>
                  <a:pt x="1899598" y="945735"/>
                  <a:pt x="1896881" y="945735"/>
                  <a:pt x="1896881" y="945735"/>
                </a:cubicBezTo>
                <a:cubicBezTo>
                  <a:pt x="1896881" y="943016"/>
                  <a:pt x="1896881" y="937582"/>
                  <a:pt x="1896881" y="932147"/>
                </a:cubicBezTo>
                <a:close/>
                <a:moveTo>
                  <a:pt x="1660450" y="932134"/>
                </a:moveTo>
                <a:cubicBezTo>
                  <a:pt x="1660450" y="934852"/>
                  <a:pt x="1660450" y="940287"/>
                  <a:pt x="1660450" y="943004"/>
                </a:cubicBezTo>
                <a:cubicBezTo>
                  <a:pt x="1660450" y="943004"/>
                  <a:pt x="1663168" y="943004"/>
                  <a:pt x="1663168" y="943004"/>
                </a:cubicBezTo>
                <a:cubicBezTo>
                  <a:pt x="1663168" y="945722"/>
                  <a:pt x="1663168" y="945722"/>
                  <a:pt x="1665885" y="948440"/>
                </a:cubicBezTo>
                <a:cubicBezTo>
                  <a:pt x="1663168" y="945722"/>
                  <a:pt x="1663168" y="945722"/>
                  <a:pt x="1663168" y="945722"/>
                </a:cubicBezTo>
                <a:cubicBezTo>
                  <a:pt x="1663168" y="948440"/>
                  <a:pt x="1663168" y="948440"/>
                  <a:pt x="1663168" y="951157"/>
                </a:cubicBezTo>
                <a:cubicBezTo>
                  <a:pt x="1663168" y="956592"/>
                  <a:pt x="1663168" y="959310"/>
                  <a:pt x="1663168" y="962028"/>
                </a:cubicBezTo>
                <a:cubicBezTo>
                  <a:pt x="1663168" y="962028"/>
                  <a:pt x="1665885" y="962028"/>
                  <a:pt x="1665885" y="962028"/>
                </a:cubicBezTo>
                <a:cubicBezTo>
                  <a:pt x="1665885" y="959310"/>
                  <a:pt x="1665885" y="959310"/>
                  <a:pt x="1665885" y="956592"/>
                </a:cubicBezTo>
                <a:cubicBezTo>
                  <a:pt x="1665885" y="953875"/>
                  <a:pt x="1665885" y="951157"/>
                  <a:pt x="1665885" y="948440"/>
                </a:cubicBezTo>
                <a:cubicBezTo>
                  <a:pt x="1665885" y="945722"/>
                  <a:pt x="1665885" y="943004"/>
                  <a:pt x="1663168" y="937569"/>
                </a:cubicBezTo>
                <a:cubicBezTo>
                  <a:pt x="1663168" y="934852"/>
                  <a:pt x="1663168" y="932134"/>
                  <a:pt x="1663168" y="932134"/>
                </a:cubicBezTo>
                <a:cubicBezTo>
                  <a:pt x="1663168" y="932134"/>
                  <a:pt x="1660450" y="932134"/>
                  <a:pt x="1660450" y="932134"/>
                </a:cubicBezTo>
                <a:close/>
                <a:moveTo>
                  <a:pt x="4741184" y="930435"/>
                </a:moveTo>
                <a:cubicBezTo>
                  <a:pt x="4735409" y="930096"/>
                  <a:pt x="4728615" y="932134"/>
                  <a:pt x="4723180" y="932134"/>
                </a:cubicBezTo>
                <a:cubicBezTo>
                  <a:pt x="4725897" y="943004"/>
                  <a:pt x="4736768" y="940287"/>
                  <a:pt x="4734050" y="951157"/>
                </a:cubicBezTo>
                <a:cubicBezTo>
                  <a:pt x="4742203" y="948440"/>
                  <a:pt x="4747638" y="945722"/>
                  <a:pt x="4753073" y="943004"/>
                </a:cubicBezTo>
                <a:cubicBezTo>
                  <a:pt x="4751714" y="933493"/>
                  <a:pt x="4746959" y="930775"/>
                  <a:pt x="4741184" y="930435"/>
                </a:cubicBezTo>
                <a:close/>
                <a:moveTo>
                  <a:pt x="3127951" y="929430"/>
                </a:moveTo>
                <a:cubicBezTo>
                  <a:pt x="3136104" y="932147"/>
                  <a:pt x="3144257" y="934865"/>
                  <a:pt x="3152410" y="934865"/>
                </a:cubicBezTo>
                <a:cubicBezTo>
                  <a:pt x="3152410" y="937582"/>
                  <a:pt x="3152410" y="940299"/>
                  <a:pt x="3152410" y="943018"/>
                </a:cubicBezTo>
                <a:cubicBezTo>
                  <a:pt x="3144257" y="940299"/>
                  <a:pt x="3136104" y="937582"/>
                  <a:pt x="3127951" y="937582"/>
                </a:cubicBezTo>
                <a:cubicBezTo>
                  <a:pt x="3127951" y="934865"/>
                  <a:pt x="3127951" y="932147"/>
                  <a:pt x="3127951" y="929430"/>
                </a:cubicBezTo>
                <a:close/>
                <a:moveTo>
                  <a:pt x="1888728" y="929428"/>
                </a:moveTo>
                <a:cubicBezTo>
                  <a:pt x="1891445" y="929428"/>
                  <a:pt x="1891445" y="929428"/>
                  <a:pt x="1894163" y="929428"/>
                </a:cubicBezTo>
                <a:cubicBezTo>
                  <a:pt x="1894163" y="932145"/>
                  <a:pt x="1894163" y="934863"/>
                  <a:pt x="1894163" y="937580"/>
                </a:cubicBezTo>
                <a:cubicBezTo>
                  <a:pt x="1891445" y="937580"/>
                  <a:pt x="1891445" y="937580"/>
                  <a:pt x="1888728" y="937580"/>
                </a:cubicBezTo>
                <a:cubicBezTo>
                  <a:pt x="1888728" y="934863"/>
                  <a:pt x="1888728" y="932145"/>
                  <a:pt x="1888728" y="929428"/>
                </a:cubicBezTo>
                <a:close/>
                <a:moveTo>
                  <a:pt x="5024833" y="929417"/>
                </a:moveTo>
                <a:cubicBezTo>
                  <a:pt x="5011245" y="934852"/>
                  <a:pt x="5003092" y="943004"/>
                  <a:pt x="5005810" y="953875"/>
                </a:cubicBezTo>
                <a:cubicBezTo>
                  <a:pt x="5022115" y="956592"/>
                  <a:pt x="5032986" y="943004"/>
                  <a:pt x="5024833" y="929417"/>
                </a:cubicBezTo>
                <a:close/>
                <a:moveTo>
                  <a:pt x="4701439" y="926699"/>
                </a:moveTo>
                <a:lnTo>
                  <a:pt x="4709592" y="953875"/>
                </a:lnTo>
                <a:lnTo>
                  <a:pt x="4704157" y="967463"/>
                </a:lnTo>
                <a:cubicBezTo>
                  <a:pt x="4706874" y="970180"/>
                  <a:pt x="4706874" y="972898"/>
                  <a:pt x="4709592" y="975616"/>
                </a:cubicBezTo>
                <a:lnTo>
                  <a:pt x="4709592" y="978333"/>
                </a:lnTo>
                <a:lnTo>
                  <a:pt x="4723180" y="978333"/>
                </a:lnTo>
                <a:lnTo>
                  <a:pt x="4723180" y="983768"/>
                </a:lnTo>
                <a:lnTo>
                  <a:pt x="4717745" y="986486"/>
                </a:lnTo>
                <a:cubicBezTo>
                  <a:pt x="4720462" y="986486"/>
                  <a:pt x="4725897" y="989204"/>
                  <a:pt x="4731333" y="989204"/>
                </a:cubicBezTo>
                <a:cubicBezTo>
                  <a:pt x="4717745" y="967463"/>
                  <a:pt x="4728615" y="929417"/>
                  <a:pt x="4701439" y="926699"/>
                </a:cubicBezTo>
                <a:close/>
                <a:moveTo>
                  <a:pt x="5092773" y="923981"/>
                </a:moveTo>
                <a:cubicBezTo>
                  <a:pt x="5079185" y="929417"/>
                  <a:pt x="5062879" y="915829"/>
                  <a:pt x="5054726" y="932134"/>
                </a:cubicBezTo>
                <a:cubicBezTo>
                  <a:pt x="5054726" y="943004"/>
                  <a:pt x="5065597" y="926699"/>
                  <a:pt x="5068314" y="934852"/>
                </a:cubicBezTo>
                <a:cubicBezTo>
                  <a:pt x="5071032" y="943004"/>
                  <a:pt x="5054726" y="945722"/>
                  <a:pt x="5057444" y="953875"/>
                </a:cubicBezTo>
                <a:cubicBezTo>
                  <a:pt x="5073750" y="943004"/>
                  <a:pt x="5090055" y="948440"/>
                  <a:pt x="5098208" y="934852"/>
                </a:cubicBezTo>
                <a:cubicBezTo>
                  <a:pt x="5095490" y="929417"/>
                  <a:pt x="5095490" y="926699"/>
                  <a:pt x="5092773" y="923981"/>
                </a:cubicBezTo>
                <a:close/>
                <a:moveTo>
                  <a:pt x="5454213" y="918546"/>
                </a:moveTo>
                <a:cubicBezTo>
                  <a:pt x="5456930" y="934852"/>
                  <a:pt x="5440625" y="959310"/>
                  <a:pt x="5467801" y="962028"/>
                </a:cubicBezTo>
                <a:cubicBezTo>
                  <a:pt x="5456930" y="964745"/>
                  <a:pt x="5456930" y="970180"/>
                  <a:pt x="5451495" y="975616"/>
                </a:cubicBezTo>
                <a:cubicBezTo>
                  <a:pt x="5452854" y="985128"/>
                  <a:pt x="5457610" y="989204"/>
                  <a:pt x="5463385" y="991242"/>
                </a:cubicBezTo>
                <a:lnTo>
                  <a:pt x="5467831" y="992081"/>
                </a:lnTo>
                <a:lnTo>
                  <a:pt x="5451496" y="997696"/>
                </a:lnTo>
                <a:lnTo>
                  <a:pt x="5444393" y="1003641"/>
                </a:lnTo>
                <a:lnTo>
                  <a:pt x="5446060" y="994639"/>
                </a:lnTo>
                <a:cubicBezTo>
                  <a:pt x="5437907" y="997356"/>
                  <a:pt x="5435190" y="1005509"/>
                  <a:pt x="5427037" y="1002792"/>
                </a:cubicBezTo>
                <a:cubicBezTo>
                  <a:pt x="5427037" y="991922"/>
                  <a:pt x="5440625" y="983768"/>
                  <a:pt x="5443342" y="972898"/>
                </a:cubicBezTo>
                <a:cubicBezTo>
                  <a:pt x="5440625" y="953875"/>
                  <a:pt x="5432472" y="932134"/>
                  <a:pt x="5454213" y="918546"/>
                </a:cubicBezTo>
                <a:close/>
                <a:moveTo>
                  <a:pt x="1666111" y="918546"/>
                </a:moveTo>
                <a:lnTo>
                  <a:pt x="1668603" y="918546"/>
                </a:lnTo>
                <a:lnTo>
                  <a:pt x="1666267" y="927889"/>
                </a:lnTo>
                <a:close/>
                <a:moveTo>
                  <a:pt x="1540876" y="918546"/>
                </a:moveTo>
                <a:cubicBezTo>
                  <a:pt x="1540876" y="918546"/>
                  <a:pt x="1540876" y="921264"/>
                  <a:pt x="1540876" y="921264"/>
                </a:cubicBezTo>
                <a:cubicBezTo>
                  <a:pt x="1540876" y="921264"/>
                  <a:pt x="1540876" y="921264"/>
                  <a:pt x="1538158" y="921264"/>
                </a:cubicBezTo>
                <a:cubicBezTo>
                  <a:pt x="1538158" y="923981"/>
                  <a:pt x="1538158" y="926699"/>
                  <a:pt x="1538158" y="929417"/>
                </a:cubicBezTo>
                <a:cubicBezTo>
                  <a:pt x="1538158" y="929417"/>
                  <a:pt x="1540876" y="929417"/>
                  <a:pt x="1540876" y="929417"/>
                </a:cubicBezTo>
                <a:cubicBezTo>
                  <a:pt x="1540876" y="932134"/>
                  <a:pt x="1540876" y="932134"/>
                  <a:pt x="1540876" y="934852"/>
                </a:cubicBezTo>
                <a:cubicBezTo>
                  <a:pt x="1540876" y="934852"/>
                  <a:pt x="1543593" y="934852"/>
                  <a:pt x="1543593" y="934852"/>
                </a:cubicBezTo>
                <a:cubicBezTo>
                  <a:pt x="1543593" y="929417"/>
                  <a:pt x="1543593" y="923981"/>
                  <a:pt x="1543593" y="918546"/>
                </a:cubicBezTo>
                <a:cubicBezTo>
                  <a:pt x="1543593" y="918546"/>
                  <a:pt x="1543593" y="918546"/>
                  <a:pt x="1540876" y="918546"/>
                </a:cubicBezTo>
                <a:close/>
                <a:moveTo>
                  <a:pt x="4822712" y="914470"/>
                </a:moveTo>
                <a:cubicBezTo>
                  <a:pt x="4802670" y="919226"/>
                  <a:pt x="4781608" y="933493"/>
                  <a:pt x="4785685" y="948440"/>
                </a:cubicBezTo>
                <a:cubicBezTo>
                  <a:pt x="4799273" y="964745"/>
                  <a:pt x="4829166" y="948440"/>
                  <a:pt x="4853625" y="937569"/>
                </a:cubicBezTo>
                <a:cubicBezTo>
                  <a:pt x="4861778" y="914470"/>
                  <a:pt x="4842754" y="909714"/>
                  <a:pt x="4822712" y="914470"/>
                </a:cubicBezTo>
                <a:close/>
                <a:moveTo>
                  <a:pt x="3127951" y="913124"/>
                </a:moveTo>
                <a:cubicBezTo>
                  <a:pt x="3136104" y="915841"/>
                  <a:pt x="3144257" y="918559"/>
                  <a:pt x="3152410" y="918559"/>
                </a:cubicBezTo>
                <a:cubicBezTo>
                  <a:pt x="3152410" y="921276"/>
                  <a:pt x="3152410" y="926712"/>
                  <a:pt x="3152410" y="929429"/>
                </a:cubicBezTo>
                <a:cubicBezTo>
                  <a:pt x="3144257" y="926712"/>
                  <a:pt x="3136104" y="923994"/>
                  <a:pt x="3127951" y="923994"/>
                </a:cubicBezTo>
                <a:cubicBezTo>
                  <a:pt x="3127951" y="921276"/>
                  <a:pt x="3127951" y="915841"/>
                  <a:pt x="3127951" y="913124"/>
                </a:cubicBezTo>
                <a:close/>
                <a:moveTo>
                  <a:pt x="5168865" y="913112"/>
                </a:moveTo>
                <a:cubicBezTo>
                  <a:pt x="5163430" y="910393"/>
                  <a:pt x="5152560" y="918546"/>
                  <a:pt x="5144407" y="921264"/>
                </a:cubicBezTo>
                <a:cubicBezTo>
                  <a:pt x="5152560" y="937569"/>
                  <a:pt x="5163430" y="937569"/>
                  <a:pt x="5174300" y="923981"/>
                </a:cubicBezTo>
                <a:cubicBezTo>
                  <a:pt x="5171583" y="918546"/>
                  <a:pt x="5171583" y="915829"/>
                  <a:pt x="5168865" y="913112"/>
                </a:cubicBezTo>
                <a:close/>
                <a:moveTo>
                  <a:pt x="1888728" y="910406"/>
                </a:moveTo>
                <a:cubicBezTo>
                  <a:pt x="1891445" y="910406"/>
                  <a:pt x="1891445" y="910406"/>
                  <a:pt x="1894163" y="910406"/>
                </a:cubicBezTo>
                <a:cubicBezTo>
                  <a:pt x="1894163" y="915841"/>
                  <a:pt x="1894163" y="921275"/>
                  <a:pt x="1894163" y="923993"/>
                </a:cubicBezTo>
                <a:cubicBezTo>
                  <a:pt x="1891445" y="923993"/>
                  <a:pt x="1891445" y="923993"/>
                  <a:pt x="1888728" y="923993"/>
                </a:cubicBezTo>
                <a:cubicBezTo>
                  <a:pt x="1888728" y="918559"/>
                  <a:pt x="1888728" y="915841"/>
                  <a:pt x="1888728" y="910406"/>
                </a:cubicBezTo>
                <a:close/>
                <a:moveTo>
                  <a:pt x="2418660" y="904973"/>
                </a:moveTo>
                <a:lnTo>
                  <a:pt x="2413225" y="907248"/>
                </a:lnTo>
                <a:lnTo>
                  <a:pt x="2413225" y="913112"/>
                </a:lnTo>
                <a:cubicBezTo>
                  <a:pt x="2377896" y="926699"/>
                  <a:pt x="2345285" y="943004"/>
                  <a:pt x="2309955" y="956592"/>
                </a:cubicBezTo>
                <a:cubicBezTo>
                  <a:pt x="2309955" y="956592"/>
                  <a:pt x="2309955" y="959310"/>
                  <a:pt x="2309955" y="959310"/>
                </a:cubicBezTo>
                <a:cubicBezTo>
                  <a:pt x="2345285" y="945722"/>
                  <a:pt x="2377896" y="929417"/>
                  <a:pt x="2413225" y="915829"/>
                </a:cubicBezTo>
                <a:cubicBezTo>
                  <a:pt x="2413225" y="921264"/>
                  <a:pt x="2413225" y="929417"/>
                  <a:pt x="2413225" y="934852"/>
                </a:cubicBezTo>
                <a:cubicBezTo>
                  <a:pt x="2413225" y="943004"/>
                  <a:pt x="2413225" y="951157"/>
                  <a:pt x="2413225" y="959310"/>
                </a:cubicBezTo>
                <a:cubicBezTo>
                  <a:pt x="2413225" y="967463"/>
                  <a:pt x="2413225" y="975616"/>
                  <a:pt x="2413225" y="983768"/>
                </a:cubicBezTo>
                <a:cubicBezTo>
                  <a:pt x="2413225" y="991922"/>
                  <a:pt x="2413225" y="1000074"/>
                  <a:pt x="2413225" y="1008228"/>
                </a:cubicBezTo>
                <a:cubicBezTo>
                  <a:pt x="2413225" y="1016380"/>
                  <a:pt x="2413225" y="1024532"/>
                  <a:pt x="2413225" y="1032685"/>
                </a:cubicBezTo>
                <a:cubicBezTo>
                  <a:pt x="2413225" y="1108779"/>
                  <a:pt x="2413225" y="1184871"/>
                  <a:pt x="2413225" y="1260963"/>
                </a:cubicBezTo>
                <a:cubicBezTo>
                  <a:pt x="2415942" y="1260963"/>
                  <a:pt x="2415942" y="1260963"/>
                  <a:pt x="2418660" y="1260963"/>
                </a:cubicBezTo>
                <a:close/>
                <a:moveTo>
                  <a:pt x="2217557" y="902254"/>
                </a:moveTo>
                <a:cubicBezTo>
                  <a:pt x="2217557" y="902254"/>
                  <a:pt x="2220274" y="902254"/>
                  <a:pt x="2220274" y="902254"/>
                </a:cubicBezTo>
                <a:cubicBezTo>
                  <a:pt x="2220274" y="910406"/>
                  <a:pt x="2220274" y="918559"/>
                  <a:pt x="2220274" y="923994"/>
                </a:cubicBezTo>
                <a:cubicBezTo>
                  <a:pt x="2220274" y="923994"/>
                  <a:pt x="2220274" y="923994"/>
                  <a:pt x="2217557" y="923994"/>
                </a:cubicBezTo>
                <a:cubicBezTo>
                  <a:pt x="2217557" y="915842"/>
                  <a:pt x="2217557" y="910406"/>
                  <a:pt x="2217557" y="902254"/>
                </a:cubicBezTo>
                <a:close/>
                <a:moveTo>
                  <a:pt x="4723180" y="899524"/>
                </a:moveTo>
                <a:cubicBezTo>
                  <a:pt x="4720462" y="921264"/>
                  <a:pt x="4742203" y="932134"/>
                  <a:pt x="4763944" y="926699"/>
                </a:cubicBezTo>
                <a:cubicBezTo>
                  <a:pt x="4769379" y="902241"/>
                  <a:pt x="4742203" y="891370"/>
                  <a:pt x="4723180" y="899524"/>
                </a:cubicBezTo>
                <a:close/>
                <a:moveTo>
                  <a:pt x="1538158" y="899524"/>
                </a:moveTo>
                <a:cubicBezTo>
                  <a:pt x="1538158" y="904958"/>
                  <a:pt x="1538158" y="910393"/>
                  <a:pt x="1538158" y="915829"/>
                </a:cubicBezTo>
                <a:cubicBezTo>
                  <a:pt x="1540876" y="915829"/>
                  <a:pt x="1540876" y="915829"/>
                  <a:pt x="1543593" y="915829"/>
                </a:cubicBezTo>
                <a:cubicBezTo>
                  <a:pt x="1543593" y="910393"/>
                  <a:pt x="1543593" y="904958"/>
                  <a:pt x="1543593" y="899524"/>
                </a:cubicBezTo>
                <a:cubicBezTo>
                  <a:pt x="1540876" y="899524"/>
                  <a:pt x="1540876" y="899524"/>
                  <a:pt x="1538158" y="899524"/>
                </a:cubicBezTo>
                <a:close/>
                <a:moveTo>
                  <a:pt x="4882159" y="895447"/>
                </a:moveTo>
                <a:cubicBezTo>
                  <a:pt x="4877404" y="895447"/>
                  <a:pt x="4871289" y="898165"/>
                  <a:pt x="4864495" y="902241"/>
                </a:cubicBezTo>
                <a:cubicBezTo>
                  <a:pt x="4867213" y="907676"/>
                  <a:pt x="4867213" y="913112"/>
                  <a:pt x="4869930" y="915829"/>
                </a:cubicBezTo>
                <a:cubicBezTo>
                  <a:pt x="4880801" y="918546"/>
                  <a:pt x="4878083" y="907676"/>
                  <a:pt x="4891671" y="904958"/>
                </a:cubicBezTo>
                <a:cubicBezTo>
                  <a:pt x="4890312" y="898164"/>
                  <a:pt x="4886915" y="895447"/>
                  <a:pt x="4882159" y="895447"/>
                </a:cubicBezTo>
                <a:close/>
                <a:moveTo>
                  <a:pt x="3127951" y="894101"/>
                </a:moveTo>
                <a:cubicBezTo>
                  <a:pt x="3136104" y="896819"/>
                  <a:pt x="3144257" y="899536"/>
                  <a:pt x="3152410" y="899536"/>
                </a:cubicBezTo>
                <a:cubicBezTo>
                  <a:pt x="3152410" y="902254"/>
                  <a:pt x="3152410" y="907689"/>
                  <a:pt x="3152410" y="910406"/>
                </a:cubicBezTo>
                <a:cubicBezTo>
                  <a:pt x="3144257" y="907689"/>
                  <a:pt x="3136104" y="907689"/>
                  <a:pt x="3127951" y="904972"/>
                </a:cubicBezTo>
                <a:cubicBezTo>
                  <a:pt x="3127951" y="902254"/>
                  <a:pt x="3127951" y="899536"/>
                  <a:pt x="3127951" y="894101"/>
                </a:cubicBezTo>
                <a:close/>
                <a:moveTo>
                  <a:pt x="1663167" y="885946"/>
                </a:moveTo>
                <a:cubicBezTo>
                  <a:pt x="1663167" y="888663"/>
                  <a:pt x="1663167" y="888663"/>
                  <a:pt x="1665885" y="891381"/>
                </a:cubicBezTo>
                <a:cubicBezTo>
                  <a:pt x="1665885" y="888663"/>
                  <a:pt x="1665885" y="885946"/>
                  <a:pt x="1665885" y="885946"/>
                </a:cubicBezTo>
                <a:cubicBezTo>
                  <a:pt x="1665885" y="885946"/>
                  <a:pt x="1663167" y="885946"/>
                  <a:pt x="1663167" y="885946"/>
                </a:cubicBezTo>
                <a:close/>
                <a:moveTo>
                  <a:pt x="1896881" y="885945"/>
                </a:moveTo>
                <a:cubicBezTo>
                  <a:pt x="1899598" y="885945"/>
                  <a:pt x="1899598" y="885945"/>
                  <a:pt x="1902316" y="885945"/>
                </a:cubicBezTo>
                <a:cubicBezTo>
                  <a:pt x="1902316" y="888662"/>
                  <a:pt x="1902316" y="891380"/>
                  <a:pt x="1902316" y="894097"/>
                </a:cubicBezTo>
                <a:cubicBezTo>
                  <a:pt x="1899598" y="894097"/>
                  <a:pt x="1896881" y="894097"/>
                  <a:pt x="1896881" y="894097"/>
                </a:cubicBezTo>
                <a:cubicBezTo>
                  <a:pt x="1896881" y="891380"/>
                  <a:pt x="1896881" y="888662"/>
                  <a:pt x="1896881" y="885945"/>
                </a:cubicBezTo>
                <a:close/>
                <a:moveTo>
                  <a:pt x="4948740" y="883217"/>
                </a:moveTo>
                <a:lnTo>
                  <a:pt x="4949004" y="883441"/>
                </a:lnTo>
                <a:lnTo>
                  <a:pt x="4948610" y="883337"/>
                </a:lnTo>
                <a:close/>
                <a:moveTo>
                  <a:pt x="4796555" y="883217"/>
                </a:moveTo>
                <a:cubicBezTo>
                  <a:pt x="4799273" y="891370"/>
                  <a:pt x="4804708" y="896805"/>
                  <a:pt x="4793837" y="902241"/>
                </a:cubicBezTo>
                <a:cubicBezTo>
                  <a:pt x="4791120" y="894088"/>
                  <a:pt x="4785685" y="891370"/>
                  <a:pt x="4777532" y="894088"/>
                </a:cubicBezTo>
                <a:cubicBezTo>
                  <a:pt x="4782967" y="902241"/>
                  <a:pt x="4788402" y="913112"/>
                  <a:pt x="4799273" y="913112"/>
                </a:cubicBezTo>
                <a:cubicBezTo>
                  <a:pt x="4796555" y="904958"/>
                  <a:pt x="4807425" y="902241"/>
                  <a:pt x="4815578" y="896805"/>
                </a:cubicBezTo>
                <a:cubicBezTo>
                  <a:pt x="4812861" y="885935"/>
                  <a:pt x="4807425" y="877782"/>
                  <a:pt x="4796555" y="883217"/>
                </a:cubicBezTo>
                <a:close/>
                <a:moveTo>
                  <a:pt x="3127951" y="877795"/>
                </a:moveTo>
                <a:cubicBezTo>
                  <a:pt x="3136104" y="880512"/>
                  <a:pt x="3144257" y="880512"/>
                  <a:pt x="3152410" y="883230"/>
                </a:cubicBezTo>
                <a:cubicBezTo>
                  <a:pt x="3152410" y="885948"/>
                  <a:pt x="3152410" y="891384"/>
                  <a:pt x="3152410" y="894101"/>
                </a:cubicBezTo>
                <a:cubicBezTo>
                  <a:pt x="3144257" y="891384"/>
                  <a:pt x="3136104" y="891384"/>
                  <a:pt x="3127951" y="888666"/>
                </a:cubicBezTo>
                <a:cubicBezTo>
                  <a:pt x="3127951" y="885948"/>
                  <a:pt x="3127951" y="883230"/>
                  <a:pt x="3127951" y="877795"/>
                </a:cubicBezTo>
                <a:close/>
                <a:moveTo>
                  <a:pt x="2220274" y="875077"/>
                </a:moveTo>
                <a:cubicBezTo>
                  <a:pt x="2220274" y="880513"/>
                  <a:pt x="2220274" y="888667"/>
                  <a:pt x="2220274" y="896819"/>
                </a:cubicBezTo>
                <a:cubicBezTo>
                  <a:pt x="2220274" y="896819"/>
                  <a:pt x="2220274" y="896819"/>
                  <a:pt x="2217557" y="896819"/>
                </a:cubicBezTo>
                <a:cubicBezTo>
                  <a:pt x="2217557" y="888667"/>
                  <a:pt x="2217557" y="883230"/>
                  <a:pt x="2220274" y="875077"/>
                </a:cubicBezTo>
                <a:close/>
                <a:moveTo>
                  <a:pt x="5625421" y="869630"/>
                </a:moveTo>
                <a:cubicBezTo>
                  <a:pt x="5626780" y="879142"/>
                  <a:pt x="5619307" y="885935"/>
                  <a:pt x="5611154" y="892730"/>
                </a:cubicBezTo>
                <a:lnTo>
                  <a:pt x="5611001" y="892866"/>
                </a:lnTo>
                <a:lnTo>
                  <a:pt x="5610814" y="891370"/>
                </a:lnTo>
                <a:cubicBezTo>
                  <a:pt x="5610474" y="889332"/>
                  <a:pt x="5609115" y="888653"/>
                  <a:pt x="5603680" y="891370"/>
                </a:cubicBezTo>
                <a:cubicBezTo>
                  <a:pt x="5600963" y="891370"/>
                  <a:pt x="5600963" y="894088"/>
                  <a:pt x="5598245" y="894088"/>
                </a:cubicBezTo>
                <a:cubicBezTo>
                  <a:pt x="5596886" y="896806"/>
                  <a:pt x="5597056" y="898674"/>
                  <a:pt x="5598118" y="900075"/>
                </a:cubicBezTo>
                <a:lnTo>
                  <a:pt x="5601014" y="901841"/>
                </a:lnTo>
                <a:lnTo>
                  <a:pt x="5599434" y="903260"/>
                </a:lnTo>
                <a:cubicBezTo>
                  <a:pt x="5596037" y="906997"/>
                  <a:pt x="5593489" y="911074"/>
                  <a:pt x="5592810" y="915829"/>
                </a:cubicBezTo>
                <a:cubicBezTo>
                  <a:pt x="5576504" y="899524"/>
                  <a:pt x="5609115" y="883217"/>
                  <a:pt x="5625421" y="869630"/>
                </a:cubicBezTo>
                <a:close/>
                <a:moveTo>
                  <a:pt x="4965046" y="869630"/>
                </a:moveTo>
                <a:cubicBezTo>
                  <a:pt x="4956893" y="872347"/>
                  <a:pt x="4946023" y="877782"/>
                  <a:pt x="4937870" y="880500"/>
                </a:cubicBezTo>
                <a:lnTo>
                  <a:pt x="4948610" y="883337"/>
                </a:lnTo>
                <a:lnTo>
                  <a:pt x="4935492" y="895446"/>
                </a:lnTo>
                <a:cubicBezTo>
                  <a:pt x="4934473" y="900882"/>
                  <a:pt x="4936511" y="906317"/>
                  <a:pt x="4940588" y="907676"/>
                </a:cubicBezTo>
                <a:cubicBezTo>
                  <a:pt x="4940588" y="902241"/>
                  <a:pt x="4946023" y="899524"/>
                  <a:pt x="4951458" y="896805"/>
                </a:cubicBezTo>
                <a:cubicBezTo>
                  <a:pt x="4951458" y="907676"/>
                  <a:pt x="4959611" y="904958"/>
                  <a:pt x="4962328" y="910393"/>
                </a:cubicBezTo>
                <a:cubicBezTo>
                  <a:pt x="4956893" y="913112"/>
                  <a:pt x="4951458" y="915829"/>
                  <a:pt x="4951458" y="918546"/>
                </a:cubicBezTo>
                <a:cubicBezTo>
                  <a:pt x="4954176" y="918546"/>
                  <a:pt x="4962328" y="915829"/>
                  <a:pt x="4965046" y="921264"/>
                </a:cubicBezTo>
                <a:cubicBezTo>
                  <a:pt x="4948740" y="921264"/>
                  <a:pt x="4948740" y="934852"/>
                  <a:pt x="4940588" y="943004"/>
                </a:cubicBezTo>
                <a:cubicBezTo>
                  <a:pt x="4929717" y="937569"/>
                  <a:pt x="4940588" y="926699"/>
                  <a:pt x="4937870" y="915829"/>
                </a:cubicBezTo>
                <a:cubicBezTo>
                  <a:pt x="4927000" y="923981"/>
                  <a:pt x="4907976" y="915829"/>
                  <a:pt x="4916129" y="926699"/>
                </a:cubicBezTo>
                <a:cubicBezTo>
                  <a:pt x="4935152" y="923981"/>
                  <a:pt x="4921564" y="943004"/>
                  <a:pt x="4932435" y="956592"/>
                </a:cubicBezTo>
                <a:cubicBezTo>
                  <a:pt x="4973199" y="953875"/>
                  <a:pt x="4984069" y="915829"/>
                  <a:pt x="4994939" y="891370"/>
                </a:cubicBezTo>
                <a:cubicBezTo>
                  <a:pt x="4982710" y="899524"/>
                  <a:pt x="4973878" y="900882"/>
                  <a:pt x="4966744" y="898504"/>
                </a:cubicBezTo>
                <a:lnTo>
                  <a:pt x="4949004" y="883441"/>
                </a:lnTo>
                <a:lnTo>
                  <a:pt x="4955874" y="885256"/>
                </a:lnTo>
                <a:cubicBezTo>
                  <a:pt x="4963008" y="885256"/>
                  <a:pt x="4970481" y="884576"/>
                  <a:pt x="4975916" y="885935"/>
                </a:cubicBezTo>
                <a:cubicBezTo>
                  <a:pt x="4973199" y="877782"/>
                  <a:pt x="4965046" y="877782"/>
                  <a:pt x="4965046" y="869630"/>
                </a:cubicBezTo>
                <a:close/>
                <a:moveTo>
                  <a:pt x="3127951" y="864206"/>
                </a:moveTo>
                <a:cubicBezTo>
                  <a:pt x="3136104" y="866923"/>
                  <a:pt x="3144257" y="866923"/>
                  <a:pt x="3152410" y="869641"/>
                </a:cubicBezTo>
                <a:cubicBezTo>
                  <a:pt x="3152410" y="872359"/>
                  <a:pt x="3152410" y="875077"/>
                  <a:pt x="3152410" y="877795"/>
                </a:cubicBezTo>
                <a:cubicBezTo>
                  <a:pt x="3144257" y="875077"/>
                  <a:pt x="3136104" y="875077"/>
                  <a:pt x="3127951" y="872359"/>
                </a:cubicBezTo>
                <a:cubicBezTo>
                  <a:pt x="3127951" y="869641"/>
                  <a:pt x="3127951" y="866923"/>
                  <a:pt x="3127951" y="864206"/>
                </a:cubicBezTo>
                <a:close/>
                <a:moveTo>
                  <a:pt x="1888728" y="864204"/>
                </a:moveTo>
                <a:cubicBezTo>
                  <a:pt x="1891445" y="864204"/>
                  <a:pt x="1891445" y="864204"/>
                  <a:pt x="1894163" y="864204"/>
                </a:cubicBezTo>
                <a:cubicBezTo>
                  <a:pt x="1894163" y="866921"/>
                  <a:pt x="1894163" y="869640"/>
                  <a:pt x="1894163" y="872357"/>
                </a:cubicBezTo>
                <a:cubicBezTo>
                  <a:pt x="1891445" y="872357"/>
                  <a:pt x="1891445" y="872357"/>
                  <a:pt x="1888728" y="872357"/>
                </a:cubicBezTo>
                <a:cubicBezTo>
                  <a:pt x="1888728" y="869640"/>
                  <a:pt x="1888728" y="866921"/>
                  <a:pt x="1888728" y="864204"/>
                </a:cubicBezTo>
                <a:close/>
                <a:moveTo>
                  <a:pt x="1896881" y="861485"/>
                </a:moveTo>
                <a:cubicBezTo>
                  <a:pt x="1899598" y="861485"/>
                  <a:pt x="1899598" y="861485"/>
                  <a:pt x="1902316" y="861485"/>
                </a:cubicBezTo>
                <a:cubicBezTo>
                  <a:pt x="1902316" y="864203"/>
                  <a:pt x="1902316" y="866921"/>
                  <a:pt x="1902316" y="869639"/>
                </a:cubicBezTo>
                <a:cubicBezTo>
                  <a:pt x="1902316" y="872355"/>
                  <a:pt x="1902316" y="877792"/>
                  <a:pt x="1902316" y="883226"/>
                </a:cubicBezTo>
                <a:cubicBezTo>
                  <a:pt x="1899598" y="883226"/>
                  <a:pt x="1896881" y="883226"/>
                  <a:pt x="1896881" y="883226"/>
                </a:cubicBezTo>
                <a:cubicBezTo>
                  <a:pt x="1896881" y="877792"/>
                  <a:pt x="1896881" y="875074"/>
                  <a:pt x="1896881" y="869639"/>
                </a:cubicBezTo>
                <a:cubicBezTo>
                  <a:pt x="1896881" y="866921"/>
                  <a:pt x="1896881" y="864203"/>
                  <a:pt x="1896881" y="861485"/>
                </a:cubicBezTo>
                <a:close/>
                <a:moveTo>
                  <a:pt x="1614251" y="858768"/>
                </a:moveTo>
                <a:cubicBezTo>
                  <a:pt x="1630556" y="861485"/>
                  <a:pt x="1646862" y="866921"/>
                  <a:pt x="1663167" y="872357"/>
                </a:cubicBezTo>
                <a:cubicBezTo>
                  <a:pt x="1663167" y="877792"/>
                  <a:pt x="1663167" y="880509"/>
                  <a:pt x="1663167" y="883228"/>
                </a:cubicBezTo>
                <a:cubicBezTo>
                  <a:pt x="1665885" y="880509"/>
                  <a:pt x="1665885" y="877792"/>
                  <a:pt x="1665885" y="872357"/>
                </a:cubicBezTo>
                <a:cubicBezTo>
                  <a:pt x="1665885" y="875074"/>
                  <a:pt x="1668603" y="875074"/>
                  <a:pt x="1671320" y="875074"/>
                </a:cubicBezTo>
                <a:cubicBezTo>
                  <a:pt x="1671320" y="883228"/>
                  <a:pt x="1671320" y="888663"/>
                  <a:pt x="1671320" y="896816"/>
                </a:cubicBezTo>
                <a:cubicBezTo>
                  <a:pt x="1652297" y="891381"/>
                  <a:pt x="1633274" y="885946"/>
                  <a:pt x="1614251" y="880509"/>
                </a:cubicBezTo>
                <a:cubicBezTo>
                  <a:pt x="1614251" y="872357"/>
                  <a:pt x="1614251" y="866921"/>
                  <a:pt x="1614251" y="858768"/>
                </a:cubicBezTo>
                <a:close/>
                <a:moveTo>
                  <a:pt x="1663167" y="853333"/>
                </a:moveTo>
                <a:cubicBezTo>
                  <a:pt x="1663167" y="856051"/>
                  <a:pt x="1663167" y="861487"/>
                  <a:pt x="1665885" y="864204"/>
                </a:cubicBezTo>
                <a:cubicBezTo>
                  <a:pt x="1665885" y="858769"/>
                  <a:pt x="1665885" y="856051"/>
                  <a:pt x="1665885" y="853333"/>
                </a:cubicBezTo>
                <a:cubicBezTo>
                  <a:pt x="1665885" y="853333"/>
                  <a:pt x="1663167" y="853333"/>
                  <a:pt x="1663167" y="853333"/>
                </a:cubicBezTo>
                <a:close/>
                <a:moveTo>
                  <a:pt x="4812861" y="853324"/>
                </a:moveTo>
                <a:cubicBezTo>
                  <a:pt x="4804708" y="866912"/>
                  <a:pt x="4772097" y="869630"/>
                  <a:pt x="4766661" y="883217"/>
                </a:cubicBezTo>
                <a:cubicBezTo>
                  <a:pt x="4774814" y="880500"/>
                  <a:pt x="4774814" y="891370"/>
                  <a:pt x="4782967" y="888653"/>
                </a:cubicBezTo>
                <a:cubicBezTo>
                  <a:pt x="4785685" y="861477"/>
                  <a:pt x="4812861" y="883217"/>
                  <a:pt x="4826449" y="880500"/>
                </a:cubicBezTo>
                <a:cubicBezTo>
                  <a:pt x="4821013" y="872347"/>
                  <a:pt x="4812861" y="875065"/>
                  <a:pt x="4810143" y="866912"/>
                </a:cubicBezTo>
                <a:cubicBezTo>
                  <a:pt x="4812861" y="858759"/>
                  <a:pt x="4815578" y="864194"/>
                  <a:pt x="4821013" y="864194"/>
                </a:cubicBezTo>
                <a:cubicBezTo>
                  <a:pt x="4818296" y="858759"/>
                  <a:pt x="4815578" y="856042"/>
                  <a:pt x="4812861" y="853324"/>
                </a:cubicBezTo>
                <a:close/>
                <a:moveTo>
                  <a:pt x="2220274" y="845182"/>
                </a:moveTo>
                <a:cubicBezTo>
                  <a:pt x="2220274" y="853336"/>
                  <a:pt x="2220274" y="861487"/>
                  <a:pt x="2220274" y="866923"/>
                </a:cubicBezTo>
                <a:cubicBezTo>
                  <a:pt x="2220274" y="866923"/>
                  <a:pt x="2217557" y="866923"/>
                  <a:pt x="2217557" y="866923"/>
                </a:cubicBezTo>
                <a:cubicBezTo>
                  <a:pt x="2217557" y="858771"/>
                  <a:pt x="2217557" y="853336"/>
                  <a:pt x="2220274" y="845182"/>
                </a:cubicBezTo>
                <a:close/>
                <a:moveTo>
                  <a:pt x="3127951" y="845181"/>
                </a:moveTo>
                <a:cubicBezTo>
                  <a:pt x="3136104" y="847898"/>
                  <a:pt x="3144257" y="847898"/>
                  <a:pt x="3152410" y="850616"/>
                </a:cubicBezTo>
                <a:cubicBezTo>
                  <a:pt x="3152410" y="853333"/>
                  <a:pt x="3152410" y="856051"/>
                  <a:pt x="3152410" y="861487"/>
                </a:cubicBezTo>
                <a:cubicBezTo>
                  <a:pt x="3144257" y="858769"/>
                  <a:pt x="3136104" y="858769"/>
                  <a:pt x="3127951" y="856051"/>
                </a:cubicBezTo>
                <a:cubicBezTo>
                  <a:pt x="3127951" y="850616"/>
                  <a:pt x="3127951" y="847898"/>
                  <a:pt x="3127951" y="845181"/>
                </a:cubicBezTo>
                <a:close/>
                <a:moveTo>
                  <a:pt x="1896881" y="845179"/>
                </a:moveTo>
                <a:cubicBezTo>
                  <a:pt x="1899598" y="845179"/>
                  <a:pt x="1899598" y="845179"/>
                  <a:pt x="1902316" y="845179"/>
                </a:cubicBezTo>
                <a:cubicBezTo>
                  <a:pt x="1902316" y="847896"/>
                  <a:pt x="1902316" y="853332"/>
                  <a:pt x="1902316" y="858768"/>
                </a:cubicBezTo>
                <a:cubicBezTo>
                  <a:pt x="1899598" y="858768"/>
                  <a:pt x="1896881" y="858768"/>
                  <a:pt x="1896881" y="858768"/>
                </a:cubicBezTo>
                <a:cubicBezTo>
                  <a:pt x="1896881" y="853332"/>
                  <a:pt x="1896881" y="850615"/>
                  <a:pt x="1896881" y="845179"/>
                </a:cubicBezTo>
                <a:close/>
                <a:moveTo>
                  <a:pt x="1888728" y="839744"/>
                </a:moveTo>
                <a:cubicBezTo>
                  <a:pt x="1891445" y="839744"/>
                  <a:pt x="1891445" y="839744"/>
                  <a:pt x="1894163" y="839744"/>
                </a:cubicBezTo>
                <a:cubicBezTo>
                  <a:pt x="1894163" y="842463"/>
                  <a:pt x="1894163" y="845179"/>
                  <a:pt x="1894163" y="847897"/>
                </a:cubicBezTo>
                <a:cubicBezTo>
                  <a:pt x="1894163" y="853333"/>
                  <a:pt x="1894163" y="856049"/>
                  <a:pt x="1894163" y="861485"/>
                </a:cubicBezTo>
                <a:cubicBezTo>
                  <a:pt x="1891445" y="861485"/>
                  <a:pt x="1891445" y="861485"/>
                  <a:pt x="1888728" y="861485"/>
                </a:cubicBezTo>
                <a:cubicBezTo>
                  <a:pt x="1888728" y="856049"/>
                  <a:pt x="1888728" y="853333"/>
                  <a:pt x="1888728" y="847897"/>
                </a:cubicBezTo>
                <a:cubicBezTo>
                  <a:pt x="1888728" y="845179"/>
                  <a:pt x="1888728" y="842463"/>
                  <a:pt x="1888728" y="839744"/>
                </a:cubicBezTo>
                <a:close/>
                <a:moveTo>
                  <a:pt x="3127951" y="828878"/>
                </a:moveTo>
                <a:cubicBezTo>
                  <a:pt x="3136104" y="831594"/>
                  <a:pt x="3144257" y="831594"/>
                  <a:pt x="3152410" y="834312"/>
                </a:cubicBezTo>
                <a:cubicBezTo>
                  <a:pt x="3152410" y="837029"/>
                  <a:pt x="3152410" y="842466"/>
                  <a:pt x="3152410" y="845182"/>
                </a:cubicBezTo>
                <a:cubicBezTo>
                  <a:pt x="3144257" y="842466"/>
                  <a:pt x="3136104" y="842466"/>
                  <a:pt x="3127951" y="839747"/>
                </a:cubicBezTo>
                <a:cubicBezTo>
                  <a:pt x="3127951" y="834312"/>
                  <a:pt x="3127951" y="831594"/>
                  <a:pt x="3127951" y="828878"/>
                </a:cubicBezTo>
                <a:close/>
                <a:moveTo>
                  <a:pt x="1614251" y="828874"/>
                </a:moveTo>
                <a:cubicBezTo>
                  <a:pt x="1633274" y="834310"/>
                  <a:pt x="1652297" y="839745"/>
                  <a:pt x="1671320" y="845180"/>
                </a:cubicBezTo>
                <a:cubicBezTo>
                  <a:pt x="1671320" y="853333"/>
                  <a:pt x="1671320" y="861487"/>
                  <a:pt x="1671320" y="866922"/>
                </a:cubicBezTo>
                <a:cubicBezTo>
                  <a:pt x="1652297" y="861487"/>
                  <a:pt x="1633274" y="856051"/>
                  <a:pt x="1614251" y="850615"/>
                </a:cubicBezTo>
                <a:cubicBezTo>
                  <a:pt x="1614251" y="842463"/>
                  <a:pt x="1614251" y="837027"/>
                  <a:pt x="1614251" y="828874"/>
                </a:cubicBezTo>
                <a:close/>
                <a:moveTo>
                  <a:pt x="1888728" y="823441"/>
                </a:moveTo>
                <a:cubicBezTo>
                  <a:pt x="1891445" y="823441"/>
                  <a:pt x="1891445" y="823441"/>
                  <a:pt x="1894163" y="823441"/>
                </a:cubicBezTo>
                <a:cubicBezTo>
                  <a:pt x="1894163" y="828874"/>
                  <a:pt x="1894163" y="831594"/>
                  <a:pt x="1894163" y="837028"/>
                </a:cubicBezTo>
                <a:cubicBezTo>
                  <a:pt x="1891445" y="837028"/>
                  <a:pt x="1891445" y="837028"/>
                  <a:pt x="1888728" y="837028"/>
                </a:cubicBezTo>
                <a:cubicBezTo>
                  <a:pt x="1888728" y="831594"/>
                  <a:pt x="1888728" y="828874"/>
                  <a:pt x="1888728" y="823441"/>
                </a:cubicBezTo>
                <a:close/>
                <a:moveTo>
                  <a:pt x="1896881" y="823439"/>
                </a:moveTo>
                <a:cubicBezTo>
                  <a:pt x="1899598" y="823439"/>
                  <a:pt x="1899598" y="823439"/>
                  <a:pt x="1902316" y="823439"/>
                </a:cubicBezTo>
                <a:cubicBezTo>
                  <a:pt x="1902316" y="826156"/>
                  <a:pt x="1902316" y="828874"/>
                  <a:pt x="1902316" y="831592"/>
                </a:cubicBezTo>
                <a:cubicBezTo>
                  <a:pt x="1899598" y="831592"/>
                  <a:pt x="1896881" y="831592"/>
                  <a:pt x="1896881" y="831592"/>
                </a:cubicBezTo>
                <a:cubicBezTo>
                  <a:pt x="1896881" y="828874"/>
                  <a:pt x="1896881" y="826156"/>
                  <a:pt x="1896881" y="823439"/>
                </a:cubicBezTo>
                <a:close/>
                <a:moveTo>
                  <a:pt x="4679697" y="817995"/>
                </a:moveTo>
                <a:cubicBezTo>
                  <a:pt x="4679697" y="828866"/>
                  <a:pt x="4671545" y="837018"/>
                  <a:pt x="4657957" y="847889"/>
                </a:cubicBezTo>
                <a:cubicBezTo>
                  <a:pt x="4657957" y="847889"/>
                  <a:pt x="4655239" y="850606"/>
                  <a:pt x="4655239" y="853324"/>
                </a:cubicBezTo>
                <a:cubicBezTo>
                  <a:pt x="4655239" y="853324"/>
                  <a:pt x="4657957" y="853324"/>
                  <a:pt x="4657957" y="853324"/>
                </a:cubicBezTo>
                <a:cubicBezTo>
                  <a:pt x="4666109" y="850606"/>
                  <a:pt x="4676981" y="842454"/>
                  <a:pt x="4687851" y="837018"/>
                </a:cubicBezTo>
                <a:cubicBezTo>
                  <a:pt x="4685133" y="828866"/>
                  <a:pt x="4687851" y="820713"/>
                  <a:pt x="4679697" y="817995"/>
                </a:cubicBezTo>
                <a:close/>
                <a:moveTo>
                  <a:pt x="4653880" y="816295"/>
                </a:moveTo>
                <a:cubicBezTo>
                  <a:pt x="4651842" y="817316"/>
                  <a:pt x="4649804" y="819354"/>
                  <a:pt x="4647087" y="820713"/>
                </a:cubicBezTo>
                <a:lnTo>
                  <a:pt x="4660675" y="817995"/>
                </a:lnTo>
                <a:cubicBezTo>
                  <a:pt x="4657957" y="815276"/>
                  <a:pt x="4655919" y="815276"/>
                  <a:pt x="4653880" y="816295"/>
                </a:cubicBezTo>
                <a:close/>
                <a:moveTo>
                  <a:pt x="2220274" y="812570"/>
                </a:moveTo>
                <a:cubicBezTo>
                  <a:pt x="2220274" y="820723"/>
                  <a:pt x="2220274" y="828875"/>
                  <a:pt x="2220274" y="837029"/>
                </a:cubicBezTo>
                <a:cubicBezTo>
                  <a:pt x="2220274" y="837029"/>
                  <a:pt x="2217557" y="837029"/>
                  <a:pt x="2217557" y="837029"/>
                </a:cubicBezTo>
                <a:cubicBezTo>
                  <a:pt x="2217557" y="828875"/>
                  <a:pt x="2217557" y="820723"/>
                  <a:pt x="2220274" y="812570"/>
                </a:cubicBezTo>
                <a:close/>
                <a:moveTo>
                  <a:pt x="4638933" y="812560"/>
                </a:moveTo>
                <a:lnTo>
                  <a:pt x="4638933" y="820713"/>
                </a:lnTo>
                <a:cubicBezTo>
                  <a:pt x="4638933" y="817995"/>
                  <a:pt x="4641651" y="815277"/>
                  <a:pt x="4644369" y="812560"/>
                </a:cubicBezTo>
                <a:close/>
                <a:moveTo>
                  <a:pt x="3127951" y="809853"/>
                </a:moveTo>
                <a:cubicBezTo>
                  <a:pt x="3136104" y="812570"/>
                  <a:pt x="3144257" y="812570"/>
                  <a:pt x="3152410" y="815289"/>
                </a:cubicBezTo>
                <a:cubicBezTo>
                  <a:pt x="3152410" y="818008"/>
                  <a:pt x="3152410" y="823442"/>
                  <a:pt x="3152410" y="826159"/>
                </a:cubicBezTo>
                <a:cubicBezTo>
                  <a:pt x="3144257" y="823442"/>
                  <a:pt x="3136104" y="823442"/>
                  <a:pt x="3127951" y="820725"/>
                </a:cubicBezTo>
                <a:cubicBezTo>
                  <a:pt x="3127951" y="818008"/>
                  <a:pt x="3127951" y="815289"/>
                  <a:pt x="3127951" y="809853"/>
                </a:cubicBezTo>
                <a:close/>
                <a:moveTo>
                  <a:pt x="4804708" y="809841"/>
                </a:moveTo>
                <a:cubicBezTo>
                  <a:pt x="4785685" y="820713"/>
                  <a:pt x="4785685" y="834301"/>
                  <a:pt x="4791120" y="847889"/>
                </a:cubicBezTo>
                <a:cubicBezTo>
                  <a:pt x="4807425" y="837018"/>
                  <a:pt x="4810143" y="850606"/>
                  <a:pt x="4823731" y="845171"/>
                </a:cubicBezTo>
                <a:cubicBezTo>
                  <a:pt x="4821013" y="839736"/>
                  <a:pt x="4829166" y="837018"/>
                  <a:pt x="4826449" y="828866"/>
                </a:cubicBezTo>
                <a:cubicBezTo>
                  <a:pt x="4815578" y="831583"/>
                  <a:pt x="4801990" y="820713"/>
                  <a:pt x="4804708" y="809841"/>
                </a:cubicBezTo>
                <a:close/>
                <a:moveTo>
                  <a:pt x="1538158" y="809841"/>
                </a:moveTo>
                <a:cubicBezTo>
                  <a:pt x="1538158" y="815277"/>
                  <a:pt x="1538158" y="820713"/>
                  <a:pt x="1538158" y="826148"/>
                </a:cubicBezTo>
                <a:cubicBezTo>
                  <a:pt x="1540876" y="826148"/>
                  <a:pt x="1540876" y="826148"/>
                  <a:pt x="1543593" y="826148"/>
                </a:cubicBezTo>
                <a:cubicBezTo>
                  <a:pt x="1543593" y="820713"/>
                  <a:pt x="1543593" y="815277"/>
                  <a:pt x="1543593" y="809841"/>
                </a:cubicBezTo>
                <a:cubicBezTo>
                  <a:pt x="1540876" y="809841"/>
                  <a:pt x="1540876" y="809841"/>
                  <a:pt x="1538158" y="809841"/>
                </a:cubicBezTo>
                <a:close/>
                <a:moveTo>
                  <a:pt x="1896881" y="807134"/>
                </a:moveTo>
                <a:cubicBezTo>
                  <a:pt x="1899598" y="807134"/>
                  <a:pt x="1899598" y="807134"/>
                  <a:pt x="1902316" y="807134"/>
                </a:cubicBezTo>
                <a:cubicBezTo>
                  <a:pt x="1902316" y="812568"/>
                  <a:pt x="1902316" y="815285"/>
                  <a:pt x="1902316" y="820722"/>
                </a:cubicBezTo>
                <a:cubicBezTo>
                  <a:pt x="1899598" y="820722"/>
                  <a:pt x="1896881" y="820722"/>
                  <a:pt x="1896881" y="820722"/>
                </a:cubicBezTo>
                <a:cubicBezTo>
                  <a:pt x="1896881" y="818004"/>
                  <a:pt x="1896881" y="812568"/>
                  <a:pt x="1896881" y="807134"/>
                </a:cubicBezTo>
                <a:close/>
                <a:moveTo>
                  <a:pt x="1888728" y="801696"/>
                </a:moveTo>
                <a:cubicBezTo>
                  <a:pt x="1891445" y="801696"/>
                  <a:pt x="1891445" y="801696"/>
                  <a:pt x="1894163" y="801696"/>
                </a:cubicBezTo>
                <a:cubicBezTo>
                  <a:pt x="1894163" y="804415"/>
                  <a:pt x="1894163" y="807134"/>
                  <a:pt x="1894163" y="809849"/>
                </a:cubicBezTo>
                <a:cubicBezTo>
                  <a:pt x="1891445" y="809849"/>
                  <a:pt x="1891445" y="809849"/>
                  <a:pt x="1888728" y="809849"/>
                </a:cubicBezTo>
                <a:cubicBezTo>
                  <a:pt x="1888728" y="807134"/>
                  <a:pt x="1888728" y="804415"/>
                  <a:pt x="1888728" y="801696"/>
                </a:cubicBezTo>
                <a:close/>
                <a:moveTo>
                  <a:pt x="4963347" y="800671"/>
                </a:moveTo>
                <a:cubicBezTo>
                  <a:pt x="4960969" y="800332"/>
                  <a:pt x="4958252" y="800332"/>
                  <a:pt x="4954176" y="801691"/>
                </a:cubicBezTo>
                <a:cubicBezTo>
                  <a:pt x="4959611" y="823430"/>
                  <a:pt x="4932435" y="842454"/>
                  <a:pt x="4951458" y="861477"/>
                </a:cubicBezTo>
                <a:cubicBezTo>
                  <a:pt x="4978634" y="847889"/>
                  <a:pt x="4962328" y="820713"/>
                  <a:pt x="4970481" y="801691"/>
                </a:cubicBezTo>
                <a:cubicBezTo>
                  <a:pt x="4967764" y="801691"/>
                  <a:pt x="4965725" y="801010"/>
                  <a:pt x="4963347" y="800671"/>
                </a:cubicBezTo>
                <a:close/>
                <a:moveTo>
                  <a:pt x="1614251" y="796263"/>
                </a:moveTo>
                <a:cubicBezTo>
                  <a:pt x="1633274" y="801699"/>
                  <a:pt x="1652297" y="809851"/>
                  <a:pt x="1671320" y="815288"/>
                </a:cubicBezTo>
                <a:cubicBezTo>
                  <a:pt x="1671320" y="823441"/>
                  <a:pt x="1671320" y="831592"/>
                  <a:pt x="1671320" y="839746"/>
                </a:cubicBezTo>
                <a:cubicBezTo>
                  <a:pt x="1652297" y="831592"/>
                  <a:pt x="1633274" y="826156"/>
                  <a:pt x="1614251" y="820722"/>
                </a:cubicBezTo>
                <a:cubicBezTo>
                  <a:pt x="1614251" y="812568"/>
                  <a:pt x="1614251" y="804415"/>
                  <a:pt x="1614251" y="796263"/>
                </a:cubicBezTo>
                <a:close/>
                <a:moveTo>
                  <a:pt x="3127951" y="793546"/>
                </a:moveTo>
                <a:cubicBezTo>
                  <a:pt x="3136104" y="796263"/>
                  <a:pt x="3144257" y="798980"/>
                  <a:pt x="3152410" y="798980"/>
                </a:cubicBezTo>
                <a:cubicBezTo>
                  <a:pt x="3152410" y="804416"/>
                  <a:pt x="3152410" y="807135"/>
                  <a:pt x="3152410" y="809853"/>
                </a:cubicBezTo>
                <a:cubicBezTo>
                  <a:pt x="3144257" y="807135"/>
                  <a:pt x="3136104" y="807135"/>
                  <a:pt x="3127951" y="804416"/>
                </a:cubicBezTo>
                <a:cubicBezTo>
                  <a:pt x="3127951" y="801700"/>
                  <a:pt x="3127951" y="798980"/>
                  <a:pt x="3127951" y="793546"/>
                </a:cubicBezTo>
                <a:close/>
                <a:moveTo>
                  <a:pt x="2217557" y="785398"/>
                </a:moveTo>
                <a:cubicBezTo>
                  <a:pt x="2217557" y="785398"/>
                  <a:pt x="2217557" y="785398"/>
                  <a:pt x="2220274" y="785398"/>
                </a:cubicBezTo>
                <a:cubicBezTo>
                  <a:pt x="2220274" y="790829"/>
                  <a:pt x="2220274" y="798980"/>
                  <a:pt x="2220274" y="807134"/>
                </a:cubicBezTo>
                <a:cubicBezTo>
                  <a:pt x="2220274" y="807134"/>
                  <a:pt x="2217557" y="807134"/>
                  <a:pt x="2217557" y="807134"/>
                </a:cubicBezTo>
                <a:cubicBezTo>
                  <a:pt x="2217557" y="798980"/>
                  <a:pt x="2217557" y="793546"/>
                  <a:pt x="2217557" y="785398"/>
                </a:cubicBezTo>
                <a:close/>
                <a:moveTo>
                  <a:pt x="1888728" y="785394"/>
                </a:moveTo>
                <a:cubicBezTo>
                  <a:pt x="1891445" y="785394"/>
                  <a:pt x="1891445" y="785394"/>
                  <a:pt x="1894163" y="785394"/>
                </a:cubicBezTo>
                <a:cubicBezTo>
                  <a:pt x="1894163" y="790827"/>
                  <a:pt x="1894163" y="793544"/>
                  <a:pt x="1894163" y="798980"/>
                </a:cubicBezTo>
                <a:cubicBezTo>
                  <a:pt x="1891445" y="798980"/>
                  <a:pt x="1891445" y="798980"/>
                  <a:pt x="1888728" y="798980"/>
                </a:cubicBezTo>
                <a:cubicBezTo>
                  <a:pt x="1888728" y="793544"/>
                  <a:pt x="1888728" y="790827"/>
                  <a:pt x="1888728" y="785394"/>
                </a:cubicBezTo>
                <a:close/>
                <a:moveTo>
                  <a:pt x="4766661" y="779949"/>
                </a:moveTo>
                <a:cubicBezTo>
                  <a:pt x="4793837" y="809841"/>
                  <a:pt x="4736768" y="834301"/>
                  <a:pt x="4717745" y="856042"/>
                </a:cubicBezTo>
                <a:lnTo>
                  <a:pt x="4713450" y="850437"/>
                </a:lnTo>
                <a:lnTo>
                  <a:pt x="4739443" y="830989"/>
                </a:lnTo>
                <a:cubicBezTo>
                  <a:pt x="4747214" y="822921"/>
                  <a:pt x="4752904" y="814257"/>
                  <a:pt x="4756810" y="805087"/>
                </a:cubicBezTo>
                <a:lnTo>
                  <a:pt x="4760157" y="790550"/>
                </a:lnTo>
                <a:close/>
                <a:moveTo>
                  <a:pt x="3127951" y="777246"/>
                </a:moveTo>
                <a:cubicBezTo>
                  <a:pt x="3136104" y="779961"/>
                  <a:pt x="3144257" y="782679"/>
                  <a:pt x="3152410" y="782679"/>
                </a:cubicBezTo>
                <a:cubicBezTo>
                  <a:pt x="3152410" y="785398"/>
                  <a:pt x="3152410" y="790832"/>
                  <a:pt x="3152410" y="793548"/>
                </a:cubicBezTo>
                <a:cubicBezTo>
                  <a:pt x="3144257" y="790832"/>
                  <a:pt x="3136104" y="788115"/>
                  <a:pt x="3127951" y="788115"/>
                </a:cubicBezTo>
                <a:cubicBezTo>
                  <a:pt x="3127951" y="785398"/>
                  <a:pt x="3127951" y="782679"/>
                  <a:pt x="3127951" y="777246"/>
                </a:cubicBezTo>
                <a:close/>
                <a:moveTo>
                  <a:pt x="1896881" y="774521"/>
                </a:moveTo>
                <a:cubicBezTo>
                  <a:pt x="1899598" y="774521"/>
                  <a:pt x="1899598" y="774521"/>
                  <a:pt x="1902316" y="774521"/>
                </a:cubicBezTo>
                <a:cubicBezTo>
                  <a:pt x="1902316" y="777240"/>
                  <a:pt x="1902316" y="779959"/>
                  <a:pt x="1902316" y="782676"/>
                </a:cubicBezTo>
                <a:cubicBezTo>
                  <a:pt x="1899598" y="782676"/>
                  <a:pt x="1896881" y="782676"/>
                  <a:pt x="1896881" y="782676"/>
                </a:cubicBezTo>
                <a:cubicBezTo>
                  <a:pt x="1896881" y="779959"/>
                  <a:pt x="1896881" y="777240"/>
                  <a:pt x="1896881" y="774521"/>
                </a:cubicBezTo>
                <a:close/>
                <a:moveTo>
                  <a:pt x="4647087" y="771796"/>
                </a:moveTo>
                <a:lnTo>
                  <a:pt x="4644369" y="779949"/>
                </a:lnTo>
                <a:cubicBezTo>
                  <a:pt x="4647087" y="779949"/>
                  <a:pt x="4647087" y="782667"/>
                  <a:pt x="4647087" y="782667"/>
                </a:cubicBezTo>
                <a:cubicBezTo>
                  <a:pt x="4652521" y="777231"/>
                  <a:pt x="4649805" y="774515"/>
                  <a:pt x="4647087" y="771796"/>
                </a:cubicBezTo>
                <a:close/>
                <a:moveTo>
                  <a:pt x="3127951" y="760938"/>
                </a:moveTo>
                <a:cubicBezTo>
                  <a:pt x="3136104" y="763656"/>
                  <a:pt x="3144257" y="763656"/>
                  <a:pt x="3152410" y="766373"/>
                </a:cubicBezTo>
                <a:cubicBezTo>
                  <a:pt x="3152410" y="769091"/>
                  <a:pt x="3152410" y="774527"/>
                  <a:pt x="3152410" y="777246"/>
                </a:cubicBezTo>
                <a:cubicBezTo>
                  <a:pt x="3144257" y="774527"/>
                  <a:pt x="3136104" y="771808"/>
                  <a:pt x="3127951" y="771808"/>
                </a:cubicBezTo>
                <a:cubicBezTo>
                  <a:pt x="3127951" y="769091"/>
                  <a:pt x="3127951" y="766373"/>
                  <a:pt x="3127951" y="760938"/>
                </a:cubicBezTo>
                <a:close/>
                <a:moveTo>
                  <a:pt x="4649805" y="760926"/>
                </a:moveTo>
                <a:cubicBezTo>
                  <a:pt x="4652521" y="760926"/>
                  <a:pt x="4655239" y="763643"/>
                  <a:pt x="4655239" y="763643"/>
                </a:cubicBezTo>
                <a:cubicBezTo>
                  <a:pt x="4652521" y="763643"/>
                  <a:pt x="4649805" y="763643"/>
                  <a:pt x="4647087" y="763643"/>
                </a:cubicBezTo>
                <a:close/>
                <a:moveTo>
                  <a:pt x="1896881" y="758216"/>
                </a:moveTo>
                <a:cubicBezTo>
                  <a:pt x="1899598" y="758216"/>
                  <a:pt x="1899598" y="758216"/>
                  <a:pt x="1902316" y="758216"/>
                </a:cubicBezTo>
                <a:cubicBezTo>
                  <a:pt x="1902316" y="760934"/>
                  <a:pt x="1902316" y="766369"/>
                  <a:pt x="1902316" y="771804"/>
                </a:cubicBezTo>
                <a:cubicBezTo>
                  <a:pt x="1899598" y="771804"/>
                  <a:pt x="1896881" y="771804"/>
                  <a:pt x="1896881" y="771804"/>
                </a:cubicBezTo>
                <a:cubicBezTo>
                  <a:pt x="1896881" y="766369"/>
                  <a:pt x="1896881" y="763652"/>
                  <a:pt x="1896881" y="758216"/>
                </a:cubicBezTo>
                <a:close/>
                <a:moveTo>
                  <a:pt x="2217557" y="755502"/>
                </a:moveTo>
                <a:cubicBezTo>
                  <a:pt x="2217557" y="755502"/>
                  <a:pt x="2217557" y="755502"/>
                  <a:pt x="2220274" y="755502"/>
                </a:cubicBezTo>
                <a:cubicBezTo>
                  <a:pt x="2220274" y="763657"/>
                  <a:pt x="2220274" y="769091"/>
                  <a:pt x="2220274" y="777246"/>
                </a:cubicBezTo>
                <a:cubicBezTo>
                  <a:pt x="2220274" y="777246"/>
                  <a:pt x="2217557" y="777246"/>
                  <a:pt x="2217557" y="777246"/>
                </a:cubicBezTo>
                <a:cubicBezTo>
                  <a:pt x="2217557" y="769091"/>
                  <a:pt x="2217557" y="763657"/>
                  <a:pt x="2217557" y="755502"/>
                </a:cubicBezTo>
                <a:close/>
                <a:moveTo>
                  <a:pt x="1888728" y="752782"/>
                </a:moveTo>
                <a:cubicBezTo>
                  <a:pt x="1891445" y="752782"/>
                  <a:pt x="1891445" y="752782"/>
                  <a:pt x="1894163" y="752782"/>
                </a:cubicBezTo>
                <a:cubicBezTo>
                  <a:pt x="1894163" y="755498"/>
                  <a:pt x="1894163" y="758216"/>
                  <a:pt x="1894163" y="760934"/>
                </a:cubicBezTo>
                <a:cubicBezTo>
                  <a:pt x="1891445" y="760934"/>
                  <a:pt x="1891445" y="760934"/>
                  <a:pt x="1888728" y="760934"/>
                </a:cubicBezTo>
                <a:cubicBezTo>
                  <a:pt x="1888728" y="758216"/>
                  <a:pt x="1888728" y="755498"/>
                  <a:pt x="1888728" y="752782"/>
                </a:cubicBezTo>
                <a:close/>
                <a:moveTo>
                  <a:pt x="3127951" y="747351"/>
                </a:moveTo>
                <a:cubicBezTo>
                  <a:pt x="3136104" y="747351"/>
                  <a:pt x="3144257" y="750065"/>
                  <a:pt x="3152410" y="750065"/>
                </a:cubicBezTo>
                <a:cubicBezTo>
                  <a:pt x="3152410" y="752784"/>
                  <a:pt x="3152410" y="758221"/>
                  <a:pt x="3152410" y="760938"/>
                </a:cubicBezTo>
                <a:cubicBezTo>
                  <a:pt x="3144257" y="758221"/>
                  <a:pt x="3136104" y="758221"/>
                  <a:pt x="3127951" y="755502"/>
                </a:cubicBezTo>
                <a:cubicBezTo>
                  <a:pt x="3127951" y="750065"/>
                  <a:pt x="3127951" y="747351"/>
                  <a:pt x="3127951" y="747351"/>
                </a:cubicBezTo>
                <a:close/>
                <a:moveTo>
                  <a:pt x="4861777" y="747338"/>
                </a:moveTo>
                <a:cubicBezTo>
                  <a:pt x="4869930" y="766361"/>
                  <a:pt x="4842754" y="774515"/>
                  <a:pt x="4848189" y="793537"/>
                </a:cubicBezTo>
                <a:cubicBezTo>
                  <a:pt x="4845472" y="793537"/>
                  <a:pt x="4845472" y="790819"/>
                  <a:pt x="4840037" y="793537"/>
                </a:cubicBezTo>
                <a:cubicBezTo>
                  <a:pt x="4831884" y="809841"/>
                  <a:pt x="4837319" y="850606"/>
                  <a:pt x="4859060" y="847889"/>
                </a:cubicBezTo>
                <a:cubicBezTo>
                  <a:pt x="4859060" y="853324"/>
                  <a:pt x="4861777" y="864194"/>
                  <a:pt x="4867213" y="872347"/>
                </a:cubicBezTo>
                <a:cubicBezTo>
                  <a:pt x="4872648" y="869630"/>
                  <a:pt x="4875365" y="872347"/>
                  <a:pt x="4875365" y="877782"/>
                </a:cubicBezTo>
                <a:cubicBezTo>
                  <a:pt x="4886236" y="877782"/>
                  <a:pt x="4902541" y="869630"/>
                  <a:pt x="4905259" y="861477"/>
                </a:cubicBezTo>
                <a:cubicBezTo>
                  <a:pt x="4894389" y="842454"/>
                  <a:pt x="4907976" y="834301"/>
                  <a:pt x="4897106" y="817995"/>
                </a:cubicBezTo>
                <a:cubicBezTo>
                  <a:pt x="4891671" y="815277"/>
                  <a:pt x="4878083" y="826148"/>
                  <a:pt x="4872648" y="820713"/>
                </a:cubicBezTo>
                <a:cubicBezTo>
                  <a:pt x="4886236" y="817995"/>
                  <a:pt x="4897106" y="812560"/>
                  <a:pt x="4891671" y="801691"/>
                </a:cubicBezTo>
                <a:cubicBezTo>
                  <a:pt x="4886236" y="796254"/>
                  <a:pt x="4872648" y="801691"/>
                  <a:pt x="4864495" y="798972"/>
                </a:cubicBezTo>
                <a:cubicBezTo>
                  <a:pt x="4864495" y="793537"/>
                  <a:pt x="4875365" y="793537"/>
                  <a:pt x="4872648" y="788102"/>
                </a:cubicBezTo>
                <a:cubicBezTo>
                  <a:pt x="4867213" y="785384"/>
                  <a:pt x="4861777" y="782667"/>
                  <a:pt x="4856342" y="782667"/>
                </a:cubicBezTo>
                <a:cubicBezTo>
                  <a:pt x="4867213" y="777231"/>
                  <a:pt x="4880801" y="763643"/>
                  <a:pt x="4894389" y="763643"/>
                </a:cubicBezTo>
                <a:cubicBezTo>
                  <a:pt x="4886236" y="752773"/>
                  <a:pt x="4875365" y="744620"/>
                  <a:pt x="4861777" y="747338"/>
                </a:cubicBezTo>
                <a:close/>
                <a:moveTo>
                  <a:pt x="4823731" y="747338"/>
                </a:moveTo>
                <a:cubicBezTo>
                  <a:pt x="4829166" y="760926"/>
                  <a:pt x="4826449" y="774515"/>
                  <a:pt x="4823731" y="785384"/>
                </a:cubicBezTo>
                <a:cubicBezTo>
                  <a:pt x="4840037" y="779949"/>
                  <a:pt x="4840037" y="752773"/>
                  <a:pt x="4823731" y="747338"/>
                </a:cubicBezTo>
                <a:close/>
                <a:moveTo>
                  <a:pt x="4769474" y="742506"/>
                </a:moveTo>
                <a:lnTo>
                  <a:pt x="4769379" y="750055"/>
                </a:lnTo>
                <a:cubicBezTo>
                  <a:pt x="4780249" y="739185"/>
                  <a:pt x="4782967" y="747338"/>
                  <a:pt x="4793837" y="752773"/>
                </a:cubicBezTo>
                <a:cubicBezTo>
                  <a:pt x="4791120" y="755491"/>
                  <a:pt x="4791120" y="758208"/>
                  <a:pt x="4788402" y="760926"/>
                </a:cubicBezTo>
                <a:cubicBezTo>
                  <a:pt x="4776173" y="766361"/>
                  <a:pt x="4770738" y="760926"/>
                  <a:pt x="4767001" y="753113"/>
                </a:cubicBezTo>
                <a:lnTo>
                  <a:pt x="4763388" y="744066"/>
                </a:lnTo>
                <a:close/>
                <a:moveTo>
                  <a:pt x="4932435" y="739185"/>
                </a:moveTo>
                <a:cubicBezTo>
                  <a:pt x="4927000" y="755491"/>
                  <a:pt x="4940588" y="782667"/>
                  <a:pt x="4927000" y="798972"/>
                </a:cubicBezTo>
                <a:cubicBezTo>
                  <a:pt x="4935152" y="796254"/>
                  <a:pt x="4943305" y="793537"/>
                  <a:pt x="4946023" y="788102"/>
                </a:cubicBezTo>
                <a:cubicBezTo>
                  <a:pt x="4927000" y="774515"/>
                  <a:pt x="4948740" y="750055"/>
                  <a:pt x="4932435" y="739185"/>
                </a:cubicBezTo>
                <a:close/>
                <a:moveTo>
                  <a:pt x="5032306" y="737147"/>
                </a:moveTo>
                <a:cubicBezTo>
                  <a:pt x="5024833" y="739185"/>
                  <a:pt x="5016680" y="743262"/>
                  <a:pt x="5008527" y="747338"/>
                </a:cubicBezTo>
                <a:cubicBezTo>
                  <a:pt x="5016680" y="755491"/>
                  <a:pt x="5000375" y="763643"/>
                  <a:pt x="5011245" y="766361"/>
                </a:cubicBezTo>
                <a:cubicBezTo>
                  <a:pt x="5027550" y="755491"/>
                  <a:pt x="5049291" y="755491"/>
                  <a:pt x="5052009" y="739185"/>
                </a:cubicBezTo>
                <a:cubicBezTo>
                  <a:pt x="5046573" y="735108"/>
                  <a:pt x="5039780" y="735108"/>
                  <a:pt x="5032306" y="737147"/>
                </a:cubicBezTo>
                <a:close/>
                <a:moveTo>
                  <a:pt x="1888728" y="736476"/>
                </a:moveTo>
                <a:cubicBezTo>
                  <a:pt x="1891445" y="736476"/>
                  <a:pt x="1891445" y="736476"/>
                  <a:pt x="1894163" y="736476"/>
                </a:cubicBezTo>
                <a:cubicBezTo>
                  <a:pt x="1894163" y="741911"/>
                  <a:pt x="1894163" y="744627"/>
                  <a:pt x="1894163" y="750065"/>
                </a:cubicBezTo>
                <a:cubicBezTo>
                  <a:pt x="1891445" y="750065"/>
                  <a:pt x="1891445" y="750065"/>
                  <a:pt x="1888728" y="750065"/>
                </a:cubicBezTo>
                <a:cubicBezTo>
                  <a:pt x="1888728" y="747347"/>
                  <a:pt x="1888728" y="741911"/>
                  <a:pt x="1888728" y="736476"/>
                </a:cubicBezTo>
                <a:close/>
                <a:moveTo>
                  <a:pt x="4755791" y="731032"/>
                </a:moveTo>
                <a:cubicBezTo>
                  <a:pt x="4758509" y="733070"/>
                  <a:pt x="4760377" y="736637"/>
                  <a:pt x="4762033" y="740671"/>
                </a:cubicBezTo>
                <a:lnTo>
                  <a:pt x="4763388" y="744066"/>
                </a:lnTo>
                <a:lnTo>
                  <a:pt x="4761226" y="744620"/>
                </a:lnTo>
                <a:cubicBezTo>
                  <a:pt x="4763264" y="755491"/>
                  <a:pt x="4764114" y="766022"/>
                  <a:pt x="4763477" y="776127"/>
                </a:cubicBezTo>
                <a:lnTo>
                  <a:pt x="4760157" y="790550"/>
                </a:lnTo>
                <a:lnTo>
                  <a:pt x="4757490" y="794897"/>
                </a:lnTo>
                <a:cubicBezTo>
                  <a:pt x="4755791" y="800332"/>
                  <a:pt x="4754432" y="805767"/>
                  <a:pt x="4750356" y="809841"/>
                </a:cubicBezTo>
                <a:cubicBezTo>
                  <a:pt x="4739485" y="793537"/>
                  <a:pt x="4761226" y="777231"/>
                  <a:pt x="4739485" y="769079"/>
                </a:cubicBezTo>
                <a:cubicBezTo>
                  <a:pt x="4744921" y="766361"/>
                  <a:pt x="4747638" y="766361"/>
                  <a:pt x="4753073" y="763643"/>
                </a:cubicBezTo>
                <a:cubicBezTo>
                  <a:pt x="4750356" y="752773"/>
                  <a:pt x="4736768" y="766361"/>
                  <a:pt x="4734050" y="755491"/>
                </a:cubicBezTo>
                <a:cubicBezTo>
                  <a:pt x="4753073" y="750055"/>
                  <a:pt x="4763944" y="739185"/>
                  <a:pt x="4755791" y="731032"/>
                </a:cubicBezTo>
                <a:close/>
                <a:moveTo>
                  <a:pt x="3125234" y="728326"/>
                </a:moveTo>
                <a:cubicBezTo>
                  <a:pt x="3133387" y="728326"/>
                  <a:pt x="3141540" y="731044"/>
                  <a:pt x="3149693" y="731044"/>
                </a:cubicBezTo>
                <a:cubicBezTo>
                  <a:pt x="3149693" y="733760"/>
                  <a:pt x="3149693" y="736479"/>
                  <a:pt x="3149693" y="744632"/>
                </a:cubicBezTo>
                <a:cubicBezTo>
                  <a:pt x="3141540" y="741916"/>
                  <a:pt x="3133387" y="741916"/>
                  <a:pt x="3125234" y="739197"/>
                </a:cubicBezTo>
                <a:cubicBezTo>
                  <a:pt x="3125234" y="733760"/>
                  <a:pt x="3125234" y="731044"/>
                  <a:pt x="3125234" y="728326"/>
                </a:cubicBezTo>
                <a:close/>
                <a:moveTo>
                  <a:pt x="1896881" y="728324"/>
                </a:moveTo>
                <a:cubicBezTo>
                  <a:pt x="1899598" y="728324"/>
                  <a:pt x="1899598" y="728324"/>
                  <a:pt x="1902316" y="728324"/>
                </a:cubicBezTo>
                <a:cubicBezTo>
                  <a:pt x="1902316" y="733758"/>
                  <a:pt x="1902316" y="739193"/>
                  <a:pt x="1902316" y="741911"/>
                </a:cubicBezTo>
                <a:cubicBezTo>
                  <a:pt x="1899598" y="741911"/>
                  <a:pt x="1896881" y="741911"/>
                  <a:pt x="1896881" y="741911"/>
                </a:cubicBezTo>
                <a:cubicBezTo>
                  <a:pt x="1896881" y="739193"/>
                  <a:pt x="1896881" y="733758"/>
                  <a:pt x="1896881" y="728324"/>
                </a:cubicBezTo>
                <a:close/>
                <a:moveTo>
                  <a:pt x="2217557" y="725608"/>
                </a:moveTo>
                <a:cubicBezTo>
                  <a:pt x="2217557" y="725608"/>
                  <a:pt x="2220274" y="725608"/>
                  <a:pt x="2220274" y="725608"/>
                </a:cubicBezTo>
                <a:cubicBezTo>
                  <a:pt x="2220274" y="733761"/>
                  <a:pt x="2220274" y="739197"/>
                  <a:pt x="2220274" y="747350"/>
                </a:cubicBezTo>
                <a:cubicBezTo>
                  <a:pt x="2220274" y="747350"/>
                  <a:pt x="2217557" y="747350"/>
                  <a:pt x="2217557" y="747350"/>
                </a:cubicBezTo>
                <a:cubicBezTo>
                  <a:pt x="2217557" y="739197"/>
                  <a:pt x="2217557" y="733761"/>
                  <a:pt x="2217557" y="725608"/>
                </a:cubicBezTo>
                <a:close/>
                <a:moveTo>
                  <a:pt x="4907976" y="714727"/>
                </a:moveTo>
                <a:cubicBezTo>
                  <a:pt x="4910694" y="728315"/>
                  <a:pt x="4916129" y="739185"/>
                  <a:pt x="4921564" y="750055"/>
                </a:cubicBezTo>
                <a:cubicBezTo>
                  <a:pt x="4929717" y="739185"/>
                  <a:pt x="4924282" y="712009"/>
                  <a:pt x="4907976" y="714727"/>
                </a:cubicBezTo>
                <a:close/>
                <a:moveTo>
                  <a:pt x="4786905" y="714132"/>
                </a:moveTo>
                <a:lnTo>
                  <a:pt x="4787340" y="715109"/>
                </a:lnTo>
                <a:lnTo>
                  <a:pt x="4785845" y="717010"/>
                </a:lnTo>
                <a:close/>
                <a:moveTo>
                  <a:pt x="3127951" y="709304"/>
                </a:moveTo>
                <a:cubicBezTo>
                  <a:pt x="3133386" y="712021"/>
                  <a:pt x="3141540" y="712021"/>
                  <a:pt x="3152410" y="714740"/>
                </a:cubicBezTo>
                <a:cubicBezTo>
                  <a:pt x="3152410" y="720173"/>
                  <a:pt x="3152410" y="722892"/>
                  <a:pt x="3152410" y="725609"/>
                </a:cubicBezTo>
                <a:cubicBezTo>
                  <a:pt x="3144257" y="722892"/>
                  <a:pt x="3136104" y="720173"/>
                  <a:pt x="3127951" y="720173"/>
                </a:cubicBezTo>
                <a:cubicBezTo>
                  <a:pt x="3127951" y="714740"/>
                  <a:pt x="3127951" y="712021"/>
                  <a:pt x="3127951" y="709304"/>
                </a:cubicBezTo>
                <a:close/>
                <a:moveTo>
                  <a:pt x="1888728" y="709300"/>
                </a:moveTo>
                <a:cubicBezTo>
                  <a:pt x="1891445" y="709300"/>
                  <a:pt x="1891445" y="709300"/>
                  <a:pt x="1894163" y="709300"/>
                </a:cubicBezTo>
                <a:cubicBezTo>
                  <a:pt x="1894163" y="712017"/>
                  <a:pt x="1894163" y="717452"/>
                  <a:pt x="1894163" y="722889"/>
                </a:cubicBezTo>
                <a:cubicBezTo>
                  <a:pt x="1891445" y="722889"/>
                  <a:pt x="1891445" y="722889"/>
                  <a:pt x="1888728" y="722889"/>
                </a:cubicBezTo>
                <a:cubicBezTo>
                  <a:pt x="1888728" y="717452"/>
                  <a:pt x="1888728" y="714735"/>
                  <a:pt x="1888728" y="709300"/>
                </a:cubicBezTo>
                <a:close/>
                <a:moveTo>
                  <a:pt x="5119949" y="703856"/>
                </a:moveTo>
                <a:lnTo>
                  <a:pt x="5114696" y="716988"/>
                </a:lnTo>
                <a:lnTo>
                  <a:pt x="5110437" y="722116"/>
                </a:lnTo>
                <a:lnTo>
                  <a:pt x="5107965" y="728326"/>
                </a:lnTo>
                <a:lnTo>
                  <a:pt x="5090055" y="741903"/>
                </a:lnTo>
                <a:cubicBezTo>
                  <a:pt x="5098208" y="728315"/>
                  <a:pt x="5109078" y="717444"/>
                  <a:pt x="5119949" y="703856"/>
                </a:cubicBezTo>
                <a:close/>
                <a:moveTo>
                  <a:pt x="4990010" y="703688"/>
                </a:moveTo>
                <a:lnTo>
                  <a:pt x="4989613" y="704107"/>
                </a:lnTo>
                <a:lnTo>
                  <a:pt x="4989504" y="703856"/>
                </a:lnTo>
                <a:close/>
                <a:moveTo>
                  <a:pt x="4745048" y="700418"/>
                </a:moveTo>
                <a:cubicBezTo>
                  <a:pt x="4755112" y="702328"/>
                  <a:pt x="4763265" y="709971"/>
                  <a:pt x="4777532" y="703856"/>
                </a:cubicBezTo>
                <a:cubicBezTo>
                  <a:pt x="4777532" y="714727"/>
                  <a:pt x="4769379" y="720162"/>
                  <a:pt x="4774814" y="731032"/>
                </a:cubicBezTo>
                <a:lnTo>
                  <a:pt x="4785845" y="717010"/>
                </a:lnTo>
                <a:lnTo>
                  <a:pt x="4785685" y="717444"/>
                </a:lnTo>
                <a:cubicBezTo>
                  <a:pt x="4788402" y="717444"/>
                  <a:pt x="4796555" y="712009"/>
                  <a:pt x="4796555" y="720162"/>
                </a:cubicBezTo>
                <a:cubicBezTo>
                  <a:pt x="4796555" y="728315"/>
                  <a:pt x="4791120" y="733750"/>
                  <a:pt x="4785685" y="741903"/>
                </a:cubicBezTo>
                <a:cubicBezTo>
                  <a:pt x="4781608" y="741903"/>
                  <a:pt x="4778212" y="741224"/>
                  <a:pt x="4774475" y="741224"/>
                </a:cubicBezTo>
                <a:lnTo>
                  <a:pt x="4769474" y="742506"/>
                </a:lnTo>
                <a:lnTo>
                  <a:pt x="4769591" y="733240"/>
                </a:lnTo>
                <a:cubicBezTo>
                  <a:pt x="4764623" y="717954"/>
                  <a:pt x="4746279" y="707254"/>
                  <a:pt x="4734050" y="701139"/>
                </a:cubicBezTo>
                <a:cubicBezTo>
                  <a:pt x="4738126" y="699781"/>
                  <a:pt x="4741693" y="699781"/>
                  <a:pt x="4745048" y="700418"/>
                </a:cubicBezTo>
                <a:close/>
                <a:moveTo>
                  <a:pt x="2217557" y="698434"/>
                </a:moveTo>
                <a:cubicBezTo>
                  <a:pt x="2217557" y="698434"/>
                  <a:pt x="2220274" y="698434"/>
                  <a:pt x="2220274" y="698434"/>
                </a:cubicBezTo>
                <a:cubicBezTo>
                  <a:pt x="2220274" y="703868"/>
                  <a:pt x="2220274" y="712021"/>
                  <a:pt x="2220274" y="720173"/>
                </a:cubicBezTo>
                <a:cubicBezTo>
                  <a:pt x="2220274" y="720173"/>
                  <a:pt x="2217557" y="720173"/>
                  <a:pt x="2217557" y="720173"/>
                </a:cubicBezTo>
                <a:cubicBezTo>
                  <a:pt x="2217557" y="712021"/>
                  <a:pt x="2217557" y="706586"/>
                  <a:pt x="2217557" y="698434"/>
                </a:cubicBezTo>
                <a:close/>
                <a:moveTo>
                  <a:pt x="3127951" y="690281"/>
                </a:moveTo>
                <a:cubicBezTo>
                  <a:pt x="3133386" y="692998"/>
                  <a:pt x="3141540" y="692998"/>
                  <a:pt x="3149693" y="695715"/>
                </a:cubicBezTo>
                <a:cubicBezTo>
                  <a:pt x="3149693" y="701150"/>
                  <a:pt x="3149693" y="703869"/>
                  <a:pt x="3149693" y="706585"/>
                </a:cubicBezTo>
                <a:cubicBezTo>
                  <a:pt x="3144257" y="706585"/>
                  <a:pt x="3136104" y="703869"/>
                  <a:pt x="3127951" y="703869"/>
                </a:cubicBezTo>
                <a:cubicBezTo>
                  <a:pt x="3127951" y="701150"/>
                  <a:pt x="3127951" y="695715"/>
                  <a:pt x="3127951" y="690281"/>
                </a:cubicBezTo>
                <a:close/>
                <a:moveTo>
                  <a:pt x="4865842" y="690242"/>
                </a:moveTo>
                <a:lnTo>
                  <a:pt x="4865854" y="690269"/>
                </a:lnTo>
                <a:lnTo>
                  <a:pt x="4866300" y="692434"/>
                </a:lnTo>
                <a:lnTo>
                  <a:pt x="4864495" y="690268"/>
                </a:lnTo>
                <a:close/>
                <a:moveTo>
                  <a:pt x="5149842" y="684833"/>
                </a:moveTo>
                <a:cubicBezTo>
                  <a:pt x="5133536" y="692986"/>
                  <a:pt x="5133536" y="706574"/>
                  <a:pt x="5130819" y="717444"/>
                </a:cubicBezTo>
                <a:cubicBezTo>
                  <a:pt x="5149842" y="709292"/>
                  <a:pt x="5157995" y="701139"/>
                  <a:pt x="5149842" y="684833"/>
                </a:cubicBezTo>
                <a:close/>
                <a:moveTo>
                  <a:pt x="1905034" y="679411"/>
                </a:moveTo>
                <a:cubicBezTo>
                  <a:pt x="1907751" y="679411"/>
                  <a:pt x="1907751" y="679411"/>
                  <a:pt x="1910469" y="679411"/>
                </a:cubicBezTo>
                <a:cubicBezTo>
                  <a:pt x="1910469" y="692998"/>
                  <a:pt x="1910469" y="709302"/>
                  <a:pt x="1910469" y="722890"/>
                </a:cubicBezTo>
                <a:cubicBezTo>
                  <a:pt x="1910469" y="798980"/>
                  <a:pt x="1910469" y="875076"/>
                  <a:pt x="1910469" y="951170"/>
                </a:cubicBezTo>
                <a:cubicBezTo>
                  <a:pt x="1910469" y="951170"/>
                  <a:pt x="1907751" y="951170"/>
                  <a:pt x="1905034" y="951170"/>
                </a:cubicBezTo>
                <a:lnTo>
                  <a:pt x="1905034" y="948450"/>
                </a:lnTo>
                <a:cubicBezTo>
                  <a:pt x="1902316" y="948450"/>
                  <a:pt x="1899599" y="948450"/>
                  <a:pt x="1899599" y="948450"/>
                </a:cubicBezTo>
                <a:cubicBezTo>
                  <a:pt x="1899599" y="948450"/>
                  <a:pt x="1902316" y="948450"/>
                  <a:pt x="1905034" y="945732"/>
                </a:cubicBezTo>
                <a:lnTo>
                  <a:pt x="1905034" y="722890"/>
                </a:lnTo>
                <a:close/>
                <a:moveTo>
                  <a:pt x="3127951" y="676693"/>
                </a:moveTo>
                <a:cubicBezTo>
                  <a:pt x="3133386" y="679410"/>
                  <a:pt x="3141540" y="679410"/>
                  <a:pt x="3149693" y="682128"/>
                </a:cubicBezTo>
                <a:cubicBezTo>
                  <a:pt x="3149693" y="684845"/>
                  <a:pt x="3149693" y="687563"/>
                  <a:pt x="3149693" y="690281"/>
                </a:cubicBezTo>
                <a:cubicBezTo>
                  <a:pt x="3144257" y="690281"/>
                  <a:pt x="3136104" y="687563"/>
                  <a:pt x="3127951" y="687563"/>
                </a:cubicBezTo>
                <a:cubicBezTo>
                  <a:pt x="3127951" y="684845"/>
                  <a:pt x="3127951" y="682128"/>
                  <a:pt x="3127951" y="676693"/>
                </a:cubicBezTo>
                <a:close/>
                <a:moveTo>
                  <a:pt x="2217557" y="668542"/>
                </a:moveTo>
                <a:cubicBezTo>
                  <a:pt x="2217557" y="668542"/>
                  <a:pt x="2220274" y="668542"/>
                  <a:pt x="2220274" y="668542"/>
                </a:cubicBezTo>
                <a:cubicBezTo>
                  <a:pt x="2220274" y="676694"/>
                  <a:pt x="2220274" y="682129"/>
                  <a:pt x="2220274" y="690281"/>
                </a:cubicBezTo>
                <a:cubicBezTo>
                  <a:pt x="2220274" y="690281"/>
                  <a:pt x="2217557" y="690281"/>
                  <a:pt x="2217557" y="690281"/>
                </a:cubicBezTo>
                <a:cubicBezTo>
                  <a:pt x="2217557" y="682129"/>
                  <a:pt x="2217557" y="676694"/>
                  <a:pt x="2217557" y="668542"/>
                </a:cubicBezTo>
                <a:close/>
                <a:moveTo>
                  <a:pt x="5046574" y="663092"/>
                </a:moveTo>
                <a:cubicBezTo>
                  <a:pt x="5049291" y="661734"/>
                  <a:pt x="5050650" y="664452"/>
                  <a:pt x="5051330" y="667849"/>
                </a:cubicBezTo>
                <a:lnTo>
                  <a:pt x="5051688" y="672512"/>
                </a:lnTo>
                <a:lnTo>
                  <a:pt x="5038421" y="679399"/>
                </a:lnTo>
                <a:cubicBezTo>
                  <a:pt x="5038421" y="676681"/>
                  <a:pt x="5039780" y="673964"/>
                  <a:pt x="5040799" y="670906"/>
                </a:cubicBezTo>
                <a:lnTo>
                  <a:pt x="5040939" y="666550"/>
                </a:lnTo>
                <a:close/>
                <a:moveTo>
                  <a:pt x="3127951" y="657669"/>
                </a:moveTo>
                <a:cubicBezTo>
                  <a:pt x="3133386" y="660387"/>
                  <a:pt x="3141540" y="660387"/>
                  <a:pt x="3149693" y="663104"/>
                </a:cubicBezTo>
                <a:cubicBezTo>
                  <a:pt x="3149693" y="668540"/>
                  <a:pt x="3149693" y="671257"/>
                  <a:pt x="3149693" y="673975"/>
                </a:cubicBezTo>
                <a:cubicBezTo>
                  <a:pt x="3144257" y="673975"/>
                  <a:pt x="3136104" y="671257"/>
                  <a:pt x="3127951" y="671257"/>
                </a:cubicBezTo>
                <a:cubicBezTo>
                  <a:pt x="3127951" y="668540"/>
                  <a:pt x="3127951" y="665823"/>
                  <a:pt x="3127951" y="657669"/>
                </a:cubicBezTo>
                <a:close/>
                <a:moveTo>
                  <a:pt x="2418660" y="649519"/>
                </a:moveTo>
                <a:lnTo>
                  <a:pt x="2301804" y="709305"/>
                </a:lnTo>
                <a:cubicBezTo>
                  <a:pt x="2301804" y="706586"/>
                  <a:pt x="2301804" y="706586"/>
                  <a:pt x="2301804" y="706586"/>
                </a:cubicBezTo>
                <a:close/>
                <a:moveTo>
                  <a:pt x="3127951" y="644082"/>
                </a:moveTo>
                <a:cubicBezTo>
                  <a:pt x="3133386" y="646799"/>
                  <a:pt x="3141540" y="646799"/>
                  <a:pt x="3149693" y="649518"/>
                </a:cubicBezTo>
                <a:cubicBezTo>
                  <a:pt x="3149693" y="654953"/>
                  <a:pt x="3149693" y="657671"/>
                  <a:pt x="3149693" y="660387"/>
                </a:cubicBezTo>
                <a:cubicBezTo>
                  <a:pt x="3144257" y="657671"/>
                  <a:pt x="3136104" y="657671"/>
                  <a:pt x="3127951" y="654953"/>
                </a:cubicBezTo>
                <a:cubicBezTo>
                  <a:pt x="3127951" y="652235"/>
                  <a:pt x="3127951" y="646799"/>
                  <a:pt x="3127951" y="644082"/>
                </a:cubicBezTo>
                <a:close/>
                <a:moveTo>
                  <a:pt x="1891446" y="641366"/>
                </a:moveTo>
                <a:cubicBezTo>
                  <a:pt x="1902316" y="641366"/>
                  <a:pt x="1902316" y="668542"/>
                  <a:pt x="1905034" y="679411"/>
                </a:cubicBezTo>
                <a:cubicBezTo>
                  <a:pt x="1905034" y="679411"/>
                  <a:pt x="1905034" y="679411"/>
                  <a:pt x="1899599" y="679411"/>
                </a:cubicBezTo>
                <a:cubicBezTo>
                  <a:pt x="1896881" y="668542"/>
                  <a:pt x="1894163" y="654954"/>
                  <a:pt x="1891446" y="641366"/>
                </a:cubicBezTo>
                <a:close/>
                <a:moveTo>
                  <a:pt x="3127951" y="627778"/>
                </a:moveTo>
                <a:cubicBezTo>
                  <a:pt x="3133386" y="630495"/>
                  <a:pt x="3141540" y="630495"/>
                  <a:pt x="3149693" y="633212"/>
                </a:cubicBezTo>
                <a:cubicBezTo>
                  <a:pt x="3149693" y="635929"/>
                  <a:pt x="3149693" y="641367"/>
                  <a:pt x="3149693" y="644083"/>
                </a:cubicBezTo>
                <a:cubicBezTo>
                  <a:pt x="3144257" y="641367"/>
                  <a:pt x="3136104" y="641367"/>
                  <a:pt x="3127951" y="638648"/>
                </a:cubicBezTo>
                <a:cubicBezTo>
                  <a:pt x="3127951" y="635929"/>
                  <a:pt x="3127951" y="630495"/>
                  <a:pt x="3127951" y="627778"/>
                </a:cubicBezTo>
                <a:close/>
                <a:moveTo>
                  <a:pt x="3127951" y="611470"/>
                </a:moveTo>
                <a:cubicBezTo>
                  <a:pt x="3133386" y="611470"/>
                  <a:pt x="3141540" y="614188"/>
                  <a:pt x="3149693" y="614188"/>
                </a:cubicBezTo>
                <a:cubicBezTo>
                  <a:pt x="3149693" y="619623"/>
                  <a:pt x="3149693" y="622341"/>
                  <a:pt x="3149693" y="625059"/>
                </a:cubicBezTo>
                <a:cubicBezTo>
                  <a:pt x="3141540" y="622341"/>
                  <a:pt x="3136104" y="622341"/>
                  <a:pt x="3127951" y="619623"/>
                </a:cubicBezTo>
                <a:cubicBezTo>
                  <a:pt x="3127951" y="616906"/>
                  <a:pt x="3127951" y="614188"/>
                  <a:pt x="3127951" y="611470"/>
                </a:cubicBezTo>
                <a:close/>
                <a:moveTo>
                  <a:pt x="4826449" y="606024"/>
                </a:moveTo>
                <a:cubicBezTo>
                  <a:pt x="4840037" y="600588"/>
                  <a:pt x="4848189" y="611459"/>
                  <a:pt x="4853625" y="622329"/>
                </a:cubicBezTo>
                <a:lnTo>
                  <a:pt x="4848403" y="626804"/>
                </a:lnTo>
                <a:lnTo>
                  <a:pt x="4835246" y="625817"/>
                </a:lnTo>
                <a:close/>
                <a:moveTo>
                  <a:pt x="2214840" y="595166"/>
                </a:moveTo>
                <a:cubicBezTo>
                  <a:pt x="2217557" y="595166"/>
                  <a:pt x="2217557" y="595166"/>
                  <a:pt x="2220275" y="595166"/>
                </a:cubicBezTo>
                <a:cubicBezTo>
                  <a:pt x="2220275" y="616906"/>
                  <a:pt x="2220275" y="638648"/>
                  <a:pt x="2217557" y="660388"/>
                </a:cubicBezTo>
                <a:cubicBezTo>
                  <a:pt x="2217557" y="660388"/>
                  <a:pt x="2214840" y="660388"/>
                  <a:pt x="2214840" y="660388"/>
                </a:cubicBezTo>
                <a:cubicBezTo>
                  <a:pt x="2214840" y="638648"/>
                  <a:pt x="2214840" y="616906"/>
                  <a:pt x="2214840" y="595166"/>
                </a:cubicBezTo>
                <a:close/>
                <a:moveTo>
                  <a:pt x="3114363" y="592447"/>
                </a:moveTo>
                <a:cubicBezTo>
                  <a:pt x="3127952" y="595165"/>
                  <a:pt x="3138822" y="595165"/>
                  <a:pt x="3149693" y="597882"/>
                </a:cubicBezTo>
                <a:cubicBezTo>
                  <a:pt x="3149693" y="600601"/>
                  <a:pt x="3149693" y="606036"/>
                  <a:pt x="3149693" y="608753"/>
                </a:cubicBezTo>
                <a:cubicBezTo>
                  <a:pt x="3138822" y="606036"/>
                  <a:pt x="3125234" y="606036"/>
                  <a:pt x="3114363" y="603318"/>
                </a:cubicBezTo>
                <a:cubicBezTo>
                  <a:pt x="3114363" y="600601"/>
                  <a:pt x="3114363" y="595165"/>
                  <a:pt x="3114363" y="592447"/>
                </a:cubicBezTo>
                <a:close/>
                <a:moveTo>
                  <a:pt x="4960236" y="577951"/>
                </a:moveTo>
                <a:lnTo>
                  <a:pt x="4960620" y="580112"/>
                </a:lnTo>
                <a:lnTo>
                  <a:pt x="4959611" y="581566"/>
                </a:lnTo>
                <a:close/>
                <a:moveTo>
                  <a:pt x="3114363" y="576143"/>
                </a:moveTo>
                <a:cubicBezTo>
                  <a:pt x="3127952" y="578860"/>
                  <a:pt x="3138822" y="578860"/>
                  <a:pt x="3149693" y="581578"/>
                </a:cubicBezTo>
                <a:cubicBezTo>
                  <a:pt x="3149693" y="584296"/>
                  <a:pt x="3149693" y="587013"/>
                  <a:pt x="3149693" y="592448"/>
                </a:cubicBezTo>
                <a:cubicBezTo>
                  <a:pt x="3138822" y="589730"/>
                  <a:pt x="3125234" y="589730"/>
                  <a:pt x="3114363" y="587013"/>
                </a:cubicBezTo>
                <a:cubicBezTo>
                  <a:pt x="3114363" y="584296"/>
                  <a:pt x="3114363" y="578860"/>
                  <a:pt x="3114363" y="576143"/>
                </a:cubicBezTo>
                <a:close/>
                <a:moveTo>
                  <a:pt x="4942721" y="567667"/>
                </a:moveTo>
                <a:lnTo>
                  <a:pt x="4942286" y="585641"/>
                </a:lnTo>
                <a:lnTo>
                  <a:pt x="4944155" y="590185"/>
                </a:lnTo>
                <a:lnTo>
                  <a:pt x="4935152" y="592435"/>
                </a:lnTo>
                <a:cubicBezTo>
                  <a:pt x="4932435" y="584282"/>
                  <a:pt x="4935152" y="578848"/>
                  <a:pt x="4935152" y="570694"/>
                </a:cubicBezTo>
                <a:close/>
                <a:moveTo>
                  <a:pt x="3114363" y="559836"/>
                </a:moveTo>
                <a:cubicBezTo>
                  <a:pt x="3127952" y="559836"/>
                  <a:pt x="3138822" y="562553"/>
                  <a:pt x="3149693" y="565271"/>
                </a:cubicBezTo>
                <a:cubicBezTo>
                  <a:pt x="3149693" y="567988"/>
                  <a:pt x="3149693" y="570706"/>
                  <a:pt x="3149693" y="578860"/>
                </a:cubicBezTo>
                <a:cubicBezTo>
                  <a:pt x="3138822" y="576142"/>
                  <a:pt x="3125234" y="573424"/>
                  <a:pt x="3114363" y="570706"/>
                </a:cubicBezTo>
                <a:cubicBezTo>
                  <a:pt x="3114363" y="567988"/>
                  <a:pt x="3114363" y="562553"/>
                  <a:pt x="3114363" y="559836"/>
                </a:cubicBezTo>
                <a:close/>
                <a:moveTo>
                  <a:pt x="3114363" y="543530"/>
                </a:moveTo>
                <a:cubicBezTo>
                  <a:pt x="3127952" y="543530"/>
                  <a:pt x="3138822" y="546247"/>
                  <a:pt x="3149693" y="548966"/>
                </a:cubicBezTo>
                <a:cubicBezTo>
                  <a:pt x="3149693" y="551682"/>
                  <a:pt x="3149693" y="554401"/>
                  <a:pt x="3149693" y="557119"/>
                </a:cubicBezTo>
                <a:cubicBezTo>
                  <a:pt x="3136105" y="557119"/>
                  <a:pt x="3125234" y="554401"/>
                  <a:pt x="3114363" y="551682"/>
                </a:cubicBezTo>
                <a:cubicBezTo>
                  <a:pt x="3114363" y="548966"/>
                  <a:pt x="3114363" y="546247"/>
                  <a:pt x="3114363" y="543530"/>
                </a:cubicBezTo>
                <a:close/>
                <a:moveTo>
                  <a:pt x="4943305" y="543518"/>
                </a:moveTo>
                <a:cubicBezTo>
                  <a:pt x="4951458" y="543518"/>
                  <a:pt x="4940588" y="557107"/>
                  <a:pt x="4951458" y="557107"/>
                </a:cubicBezTo>
                <a:cubicBezTo>
                  <a:pt x="4962328" y="554389"/>
                  <a:pt x="4959611" y="548953"/>
                  <a:pt x="4967763" y="546236"/>
                </a:cubicBezTo>
                <a:cubicBezTo>
                  <a:pt x="4967763" y="553031"/>
                  <a:pt x="4965046" y="558466"/>
                  <a:pt x="4962668" y="563901"/>
                </a:cubicBezTo>
                <a:lnTo>
                  <a:pt x="4960236" y="577951"/>
                </a:lnTo>
                <a:lnTo>
                  <a:pt x="4959611" y="574431"/>
                </a:lnTo>
                <a:cubicBezTo>
                  <a:pt x="4957572" y="570015"/>
                  <a:pt x="4954175" y="566618"/>
                  <a:pt x="4948740" y="565259"/>
                </a:cubicBezTo>
                <a:lnTo>
                  <a:pt x="4942721" y="567667"/>
                </a:lnTo>
                <a:close/>
                <a:moveTo>
                  <a:pt x="2095265" y="535379"/>
                </a:moveTo>
                <a:cubicBezTo>
                  <a:pt x="2136029" y="535379"/>
                  <a:pt x="2179510" y="535379"/>
                  <a:pt x="2220275" y="535379"/>
                </a:cubicBezTo>
                <a:cubicBezTo>
                  <a:pt x="2220275" y="540814"/>
                  <a:pt x="2220275" y="546249"/>
                  <a:pt x="2220275" y="551685"/>
                </a:cubicBezTo>
                <a:cubicBezTo>
                  <a:pt x="2179510" y="551685"/>
                  <a:pt x="2136029" y="551685"/>
                  <a:pt x="2095265" y="551685"/>
                </a:cubicBezTo>
                <a:cubicBezTo>
                  <a:pt x="2095265" y="546249"/>
                  <a:pt x="2095265" y="540814"/>
                  <a:pt x="2095265" y="535379"/>
                </a:cubicBezTo>
                <a:close/>
                <a:moveTo>
                  <a:pt x="3114363" y="524507"/>
                </a:moveTo>
                <a:cubicBezTo>
                  <a:pt x="3127952" y="524507"/>
                  <a:pt x="3138822" y="527223"/>
                  <a:pt x="3149693" y="529942"/>
                </a:cubicBezTo>
                <a:cubicBezTo>
                  <a:pt x="3149693" y="535377"/>
                  <a:pt x="3149693" y="538095"/>
                  <a:pt x="3149693" y="540811"/>
                </a:cubicBezTo>
                <a:cubicBezTo>
                  <a:pt x="3136105" y="540811"/>
                  <a:pt x="3125234" y="538095"/>
                  <a:pt x="3114363" y="535377"/>
                </a:cubicBezTo>
                <a:cubicBezTo>
                  <a:pt x="3114363" y="529942"/>
                  <a:pt x="3114363" y="527223"/>
                  <a:pt x="3114363" y="524507"/>
                </a:cubicBezTo>
                <a:close/>
                <a:moveTo>
                  <a:pt x="3114363" y="508201"/>
                </a:moveTo>
                <a:cubicBezTo>
                  <a:pt x="3127952" y="510919"/>
                  <a:pt x="3138822" y="510919"/>
                  <a:pt x="3149693" y="513637"/>
                </a:cubicBezTo>
                <a:cubicBezTo>
                  <a:pt x="3149693" y="516355"/>
                  <a:pt x="3149693" y="521790"/>
                  <a:pt x="3149693" y="524507"/>
                </a:cubicBezTo>
                <a:cubicBezTo>
                  <a:pt x="3136105" y="524507"/>
                  <a:pt x="3125234" y="521790"/>
                  <a:pt x="3114363" y="519072"/>
                </a:cubicBezTo>
                <a:cubicBezTo>
                  <a:pt x="3114363" y="516355"/>
                  <a:pt x="3114363" y="510919"/>
                  <a:pt x="3114363" y="508201"/>
                </a:cubicBezTo>
                <a:close/>
                <a:moveTo>
                  <a:pt x="2095265" y="500050"/>
                </a:moveTo>
                <a:cubicBezTo>
                  <a:pt x="2136029" y="500050"/>
                  <a:pt x="2179510" y="500050"/>
                  <a:pt x="2220275" y="500050"/>
                </a:cubicBezTo>
                <a:cubicBezTo>
                  <a:pt x="2179510" y="502768"/>
                  <a:pt x="2138746" y="502768"/>
                  <a:pt x="2095265" y="502768"/>
                </a:cubicBezTo>
                <a:cubicBezTo>
                  <a:pt x="2095265" y="502768"/>
                  <a:pt x="2095265" y="502768"/>
                  <a:pt x="2095265" y="500050"/>
                </a:cubicBezTo>
                <a:close/>
                <a:moveTo>
                  <a:pt x="3114363" y="462001"/>
                </a:moveTo>
                <a:cubicBezTo>
                  <a:pt x="3122516" y="464718"/>
                  <a:pt x="3127952" y="467437"/>
                  <a:pt x="3136105" y="470153"/>
                </a:cubicBezTo>
                <a:cubicBezTo>
                  <a:pt x="3138822" y="483742"/>
                  <a:pt x="3144257" y="494614"/>
                  <a:pt x="3146975" y="505484"/>
                </a:cubicBezTo>
                <a:cubicBezTo>
                  <a:pt x="3136105" y="502768"/>
                  <a:pt x="3125234" y="502768"/>
                  <a:pt x="3114363" y="500048"/>
                </a:cubicBezTo>
                <a:cubicBezTo>
                  <a:pt x="3114363" y="486460"/>
                  <a:pt x="3114363" y="475589"/>
                  <a:pt x="3114363" y="462001"/>
                </a:cubicBezTo>
                <a:close/>
                <a:moveTo>
                  <a:pt x="2415942" y="211972"/>
                </a:moveTo>
                <a:cubicBezTo>
                  <a:pt x="2418660" y="211972"/>
                  <a:pt x="2424095" y="211972"/>
                  <a:pt x="2426813" y="211972"/>
                </a:cubicBezTo>
                <a:cubicBezTo>
                  <a:pt x="2426813" y="347852"/>
                  <a:pt x="2426813" y="486449"/>
                  <a:pt x="2426813" y="622329"/>
                </a:cubicBezTo>
                <a:cubicBezTo>
                  <a:pt x="2432248" y="622329"/>
                  <a:pt x="2434965" y="625046"/>
                  <a:pt x="2440401" y="625046"/>
                </a:cubicBezTo>
                <a:cubicBezTo>
                  <a:pt x="2440401" y="837018"/>
                  <a:pt x="2440401" y="1048991"/>
                  <a:pt x="2440401" y="1260963"/>
                </a:cubicBezTo>
                <a:cubicBezTo>
                  <a:pt x="2377896" y="1274552"/>
                  <a:pt x="2315390" y="1285421"/>
                  <a:pt x="2252886" y="1296292"/>
                </a:cubicBezTo>
                <a:cubicBezTo>
                  <a:pt x="2285497" y="1307163"/>
                  <a:pt x="2459424" y="1269117"/>
                  <a:pt x="2492035" y="1263681"/>
                </a:cubicBezTo>
                <a:lnTo>
                  <a:pt x="2880651" y="1193379"/>
                </a:lnTo>
                <a:lnTo>
                  <a:pt x="2880651" y="1201177"/>
                </a:lnTo>
                <a:cubicBezTo>
                  <a:pt x="2891521" y="1201177"/>
                  <a:pt x="2902391" y="1198459"/>
                  <a:pt x="2913261" y="1195742"/>
                </a:cubicBezTo>
                <a:lnTo>
                  <a:pt x="2913261" y="1187479"/>
                </a:lnTo>
                <a:lnTo>
                  <a:pt x="3032835" y="1165848"/>
                </a:lnTo>
                <a:cubicBezTo>
                  <a:pt x="3032835" y="1163130"/>
                  <a:pt x="3032835" y="1160412"/>
                  <a:pt x="3032835" y="1157694"/>
                </a:cubicBezTo>
                <a:cubicBezTo>
                  <a:pt x="3038271" y="1157694"/>
                  <a:pt x="3043705" y="1154977"/>
                  <a:pt x="3049141" y="1152259"/>
                </a:cubicBezTo>
                <a:lnTo>
                  <a:pt x="2913261" y="1177256"/>
                </a:lnTo>
                <a:lnTo>
                  <a:pt x="2913261" y="712009"/>
                </a:lnTo>
                <a:cubicBezTo>
                  <a:pt x="2921415" y="709292"/>
                  <a:pt x="2926849" y="703856"/>
                  <a:pt x="2935003" y="701139"/>
                </a:cubicBezTo>
                <a:cubicBezTo>
                  <a:pt x="2935003" y="622329"/>
                  <a:pt x="2932285" y="540801"/>
                  <a:pt x="2932285" y="461991"/>
                </a:cubicBezTo>
                <a:cubicBezTo>
                  <a:pt x="2937719" y="456555"/>
                  <a:pt x="2945873" y="451120"/>
                  <a:pt x="2951307" y="448403"/>
                </a:cubicBezTo>
                <a:cubicBezTo>
                  <a:pt x="2954025" y="415791"/>
                  <a:pt x="2954025" y="385898"/>
                  <a:pt x="2956743" y="353287"/>
                </a:cubicBezTo>
                <a:cubicBezTo>
                  <a:pt x="2970331" y="342416"/>
                  <a:pt x="2983919" y="331546"/>
                  <a:pt x="2997507" y="320676"/>
                </a:cubicBezTo>
                <a:cubicBezTo>
                  <a:pt x="3019247" y="312523"/>
                  <a:pt x="3038271" y="307088"/>
                  <a:pt x="3057293" y="301653"/>
                </a:cubicBezTo>
                <a:cubicBezTo>
                  <a:pt x="3070881" y="307088"/>
                  <a:pt x="3084469" y="312523"/>
                  <a:pt x="3095341" y="320676"/>
                </a:cubicBezTo>
                <a:cubicBezTo>
                  <a:pt x="3095341" y="364157"/>
                  <a:pt x="3098057" y="407639"/>
                  <a:pt x="3098057" y="451120"/>
                </a:cubicBezTo>
                <a:cubicBezTo>
                  <a:pt x="3098057" y="633199"/>
                  <a:pt x="3098057" y="815277"/>
                  <a:pt x="3098057" y="997356"/>
                </a:cubicBezTo>
                <a:cubicBezTo>
                  <a:pt x="3100775" y="997356"/>
                  <a:pt x="3103493" y="997356"/>
                  <a:pt x="3106211" y="997356"/>
                </a:cubicBezTo>
                <a:cubicBezTo>
                  <a:pt x="3106211" y="1048991"/>
                  <a:pt x="3106211" y="1100625"/>
                  <a:pt x="3106211" y="1152259"/>
                </a:cubicBezTo>
                <a:cubicBezTo>
                  <a:pt x="3111645" y="1152259"/>
                  <a:pt x="3117081" y="1152259"/>
                  <a:pt x="3122517" y="1152259"/>
                </a:cubicBezTo>
                <a:cubicBezTo>
                  <a:pt x="3122517" y="1100625"/>
                  <a:pt x="3122517" y="1046273"/>
                  <a:pt x="3122517" y="994639"/>
                </a:cubicBezTo>
                <a:cubicBezTo>
                  <a:pt x="3130669" y="997356"/>
                  <a:pt x="3138821" y="997356"/>
                  <a:pt x="3146975" y="1000074"/>
                </a:cubicBezTo>
                <a:cubicBezTo>
                  <a:pt x="3146975" y="1000074"/>
                  <a:pt x="3146975" y="1002792"/>
                  <a:pt x="3146975" y="1005509"/>
                </a:cubicBezTo>
                <a:cubicBezTo>
                  <a:pt x="3155127" y="1008228"/>
                  <a:pt x="3165997" y="1008228"/>
                  <a:pt x="3176869" y="1010944"/>
                </a:cubicBezTo>
                <a:cubicBezTo>
                  <a:pt x="3176869" y="1016380"/>
                  <a:pt x="3176869" y="1021815"/>
                  <a:pt x="3176869" y="1027250"/>
                </a:cubicBezTo>
                <a:cubicBezTo>
                  <a:pt x="3165997" y="1027250"/>
                  <a:pt x="3157845" y="1024532"/>
                  <a:pt x="3146975" y="1021815"/>
                </a:cubicBezTo>
                <a:cubicBezTo>
                  <a:pt x="3146975" y="1024532"/>
                  <a:pt x="3146975" y="1027250"/>
                  <a:pt x="3146975" y="1029968"/>
                </a:cubicBezTo>
                <a:cubicBezTo>
                  <a:pt x="3157845" y="1029968"/>
                  <a:pt x="3165997" y="1032685"/>
                  <a:pt x="3176869" y="1035403"/>
                </a:cubicBezTo>
                <a:cubicBezTo>
                  <a:pt x="3176869" y="1040838"/>
                  <a:pt x="3176869" y="1043555"/>
                  <a:pt x="3176869" y="1048991"/>
                </a:cubicBezTo>
                <a:cubicBezTo>
                  <a:pt x="3165997" y="1046273"/>
                  <a:pt x="3157845" y="1043555"/>
                  <a:pt x="3146975" y="1040838"/>
                </a:cubicBezTo>
                <a:cubicBezTo>
                  <a:pt x="3146975" y="1043555"/>
                  <a:pt x="3146975" y="1046273"/>
                  <a:pt x="3146975" y="1048991"/>
                </a:cubicBezTo>
                <a:cubicBezTo>
                  <a:pt x="3157845" y="1048991"/>
                  <a:pt x="3165997" y="1051708"/>
                  <a:pt x="3176869" y="1054426"/>
                </a:cubicBezTo>
                <a:cubicBezTo>
                  <a:pt x="3176869" y="1059861"/>
                  <a:pt x="3176869" y="1062579"/>
                  <a:pt x="3176869" y="1068014"/>
                </a:cubicBezTo>
                <a:cubicBezTo>
                  <a:pt x="3165997" y="1065296"/>
                  <a:pt x="3157845" y="1065296"/>
                  <a:pt x="3146975" y="1062579"/>
                </a:cubicBezTo>
                <a:cubicBezTo>
                  <a:pt x="3146975" y="1065296"/>
                  <a:pt x="3146975" y="1068014"/>
                  <a:pt x="3146975" y="1070731"/>
                </a:cubicBezTo>
                <a:cubicBezTo>
                  <a:pt x="3157845" y="1070731"/>
                  <a:pt x="3165997" y="1073449"/>
                  <a:pt x="3176869" y="1076167"/>
                </a:cubicBezTo>
                <a:cubicBezTo>
                  <a:pt x="3176869" y="1081602"/>
                  <a:pt x="3176869" y="1084319"/>
                  <a:pt x="3176869" y="1089755"/>
                </a:cubicBezTo>
                <a:cubicBezTo>
                  <a:pt x="3165997" y="1089755"/>
                  <a:pt x="3157845" y="1087037"/>
                  <a:pt x="3146975" y="1084319"/>
                </a:cubicBezTo>
                <a:cubicBezTo>
                  <a:pt x="3146975" y="1087037"/>
                  <a:pt x="3146975" y="1089755"/>
                  <a:pt x="3146975" y="1092472"/>
                </a:cubicBezTo>
                <a:cubicBezTo>
                  <a:pt x="3157845" y="1092472"/>
                  <a:pt x="3165997" y="1095190"/>
                  <a:pt x="3176869" y="1097906"/>
                </a:cubicBezTo>
                <a:cubicBezTo>
                  <a:pt x="3176869" y="1103342"/>
                  <a:pt x="3176869" y="1106060"/>
                  <a:pt x="3176869" y="1108779"/>
                </a:cubicBezTo>
                <a:cubicBezTo>
                  <a:pt x="3165997" y="1106060"/>
                  <a:pt x="3157845" y="1103342"/>
                  <a:pt x="3146975" y="1100625"/>
                </a:cubicBezTo>
                <a:cubicBezTo>
                  <a:pt x="3146975" y="1103342"/>
                  <a:pt x="3146975" y="1106060"/>
                  <a:pt x="3146975" y="1108779"/>
                </a:cubicBezTo>
                <a:cubicBezTo>
                  <a:pt x="3157845" y="1108779"/>
                  <a:pt x="3165997" y="1111495"/>
                  <a:pt x="3176869" y="1114213"/>
                </a:cubicBezTo>
                <a:cubicBezTo>
                  <a:pt x="3176869" y="1119648"/>
                  <a:pt x="3176869" y="1122366"/>
                  <a:pt x="3176869" y="1127802"/>
                </a:cubicBezTo>
                <a:cubicBezTo>
                  <a:pt x="3165997" y="1125083"/>
                  <a:pt x="3157845" y="1125083"/>
                  <a:pt x="3146975" y="1122366"/>
                </a:cubicBezTo>
                <a:cubicBezTo>
                  <a:pt x="3146975" y="1125083"/>
                  <a:pt x="3146975" y="1127802"/>
                  <a:pt x="3146975" y="1130518"/>
                </a:cubicBezTo>
                <a:cubicBezTo>
                  <a:pt x="3157845" y="1130518"/>
                  <a:pt x="3165997" y="1133237"/>
                  <a:pt x="3176869" y="1135954"/>
                </a:cubicBezTo>
                <a:cubicBezTo>
                  <a:pt x="3176869" y="1138671"/>
                  <a:pt x="3176869" y="1141389"/>
                  <a:pt x="3176869" y="1146824"/>
                </a:cubicBezTo>
                <a:cubicBezTo>
                  <a:pt x="3138821" y="1152259"/>
                  <a:pt x="3103493" y="1160412"/>
                  <a:pt x="3065447" y="1165848"/>
                </a:cubicBezTo>
                <a:cubicBezTo>
                  <a:pt x="3076317" y="1168565"/>
                  <a:pt x="3084469" y="1171282"/>
                  <a:pt x="3095341" y="1174001"/>
                </a:cubicBezTo>
                <a:cubicBezTo>
                  <a:pt x="3130669" y="1165848"/>
                  <a:pt x="3163281" y="1160412"/>
                  <a:pt x="3195891" y="1154977"/>
                </a:cubicBezTo>
                <a:cubicBezTo>
                  <a:pt x="3198609" y="1154977"/>
                  <a:pt x="3204045" y="1157694"/>
                  <a:pt x="3209479" y="1157694"/>
                </a:cubicBezTo>
                <a:cubicBezTo>
                  <a:pt x="3209479" y="1149542"/>
                  <a:pt x="3209479" y="1141389"/>
                  <a:pt x="3209479" y="1135954"/>
                </a:cubicBezTo>
                <a:cubicBezTo>
                  <a:pt x="3217633" y="1135954"/>
                  <a:pt x="3225785" y="1133237"/>
                  <a:pt x="3233937" y="1133237"/>
                </a:cubicBezTo>
                <a:cubicBezTo>
                  <a:pt x="3228503" y="1087037"/>
                  <a:pt x="3220349" y="1038120"/>
                  <a:pt x="3214915" y="991922"/>
                </a:cubicBezTo>
                <a:cubicBezTo>
                  <a:pt x="3212197" y="989204"/>
                  <a:pt x="3212197" y="989204"/>
                  <a:pt x="3212197" y="989204"/>
                </a:cubicBezTo>
                <a:cubicBezTo>
                  <a:pt x="3274701" y="1000074"/>
                  <a:pt x="3337207" y="1008228"/>
                  <a:pt x="3399711" y="1016380"/>
                </a:cubicBezTo>
                <a:cubicBezTo>
                  <a:pt x="3402429" y="1016380"/>
                  <a:pt x="3405147" y="1013662"/>
                  <a:pt x="3407863" y="1013662"/>
                </a:cubicBezTo>
                <a:cubicBezTo>
                  <a:pt x="3353511" y="1005509"/>
                  <a:pt x="3301877" y="997356"/>
                  <a:pt x="3247525" y="989204"/>
                </a:cubicBezTo>
                <a:cubicBezTo>
                  <a:pt x="3244809" y="986486"/>
                  <a:pt x="3244809" y="986486"/>
                  <a:pt x="3244809" y="983768"/>
                </a:cubicBezTo>
                <a:cubicBezTo>
                  <a:pt x="3299159" y="991922"/>
                  <a:pt x="3350795" y="1000074"/>
                  <a:pt x="3405147" y="1008228"/>
                </a:cubicBezTo>
                <a:lnTo>
                  <a:pt x="3405147" y="1005509"/>
                </a:lnTo>
                <a:cubicBezTo>
                  <a:pt x="3386123" y="1002792"/>
                  <a:pt x="3364383" y="1000074"/>
                  <a:pt x="3342641" y="997356"/>
                </a:cubicBezTo>
                <a:cubicBezTo>
                  <a:pt x="3342641" y="997356"/>
                  <a:pt x="3342641" y="994639"/>
                  <a:pt x="3342641" y="994639"/>
                </a:cubicBezTo>
                <a:cubicBezTo>
                  <a:pt x="3361665" y="997356"/>
                  <a:pt x="3383405" y="1000074"/>
                  <a:pt x="3405147" y="1002792"/>
                </a:cubicBezTo>
                <a:lnTo>
                  <a:pt x="3399711" y="989204"/>
                </a:lnTo>
                <a:lnTo>
                  <a:pt x="3416017" y="967463"/>
                </a:lnTo>
                <a:lnTo>
                  <a:pt x="3410581" y="959310"/>
                </a:lnTo>
                <a:cubicBezTo>
                  <a:pt x="3383405" y="972898"/>
                  <a:pt x="3377971" y="978333"/>
                  <a:pt x="3364383" y="959310"/>
                </a:cubicBezTo>
                <a:lnTo>
                  <a:pt x="3410581" y="948440"/>
                </a:lnTo>
                <a:lnTo>
                  <a:pt x="3394275" y="926699"/>
                </a:lnTo>
                <a:cubicBezTo>
                  <a:pt x="3421451" y="918546"/>
                  <a:pt x="3416017" y="929417"/>
                  <a:pt x="3443193" y="918546"/>
                </a:cubicBezTo>
                <a:lnTo>
                  <a:pt x="3426887" y="904958"/>
                </a:lnTo>
                <a:cubicBezTo>
                  <a:pt x="3435039" y="885935"/>
                  <a:pt x="3435039" y="902241"/>
                  <a:pt x="3426887" y="883217"/>
                </a:cubicBezTo>
                <a:lnTo>
                  <a:pt x="3451345" y="883217"/>
                </a:lnTo>
                <a:lnTo>
                  <a:pt x="3443193" y="853324"/>
                </a:lnTo>
                <a:lnTo>
                  <a:pt x="3456781" y="837018"/>
                </a:lnTo>
                <a:cubicBezTo>
                  <a:pt x="3475803" y="845171"/>
                  <a:pt x="3464933" y="847889"/>
                  <a:pt x="3478521" y="828866"/>
                </a:cubicBezTo>
                <a:lnTo>
                  <a:pt x="3456781" y="828866"/>
                </a:lnTo>
                <a:cubicBezTo>
                  <a:pt x="3467651" y="804407"/>
                  <a:pt x="3454063" y="807126"/>
                  <a:pt x="3464933" y="782667"/>
                </a:cubicBezTo>
                <a:lnTo>
                  <a:pt x="3443193" y="782667"/>
                </a:lnTo>
                <a:cubicBezTo>
                  <a:pt x="3456781" y="760926"/>
                  <a:pt x="3443193" y="766361"/>
                  <a:pt x="3464933" y="774515"/>
                </a:cubicBezTo>
                <a:lnTo>
                  <a:pt x="3464933" y="744620"/>
                </a:lnTo>
                <a:lnTo>
                  <a:pt x="3478521" y="744620"/>
                </a:lnTo>
                <a:lnTo>
                  <a:pt x="3483957" y="782667"/>
                </a:lnTo>
                <a:lnTo>
                  <a:pt x="3508415" y="782667"/>
                </a:lnTo>
                <a:lnTo>
                  <a:pt x="3500261" y="769079"/>
                </a:lnTo>
                <a:lnTo>
                  <a:pt x="3522003" y="769079"/>
                </a:lnTo>
                <a:cubicBezTo>
                  <a:pt x="3508415" y="796254"/>
                  <a:pt x="3508415" y="790819"/>
                  <a:pt x="3527437" y="807126"/>
                </a:cubicBezTo>
                <a:lnTo>
                  <a:pt x="3535591" y="785384"/>
                </a:lnTo>
                <a:cubicBezTo>
                  <a:pt x="3530155" y="769079"/>
                  <a:pt x="3530155" y="763643"/>
                  <a:pt x="3535591" y="747338"/>
                </a:cubicBezTo>
                <a:lnTo>
                  <a:pt x="3513849" y="747338"/>
                </a:lnTo>
                <a:lnTo>
                  <a:pt x="3497545" y="725597"/>
                </a:lnTo>
                <a:lnTo>
                  <a:pt x="3535591" y="725597"/>
                </a:lnTo>
                <a:lnTo>
                  <a:pt x="3527437" y="712009"/>
                </a:lnTo>
                <a:lnTo>
                  <a:pt x="3549179" y="712009"/>
                </a:lnTo>
                <a:lnTo>
                  <a:pt x="3557331" y="665811"/>
                </a:lnTo>
                <a:lnTo>
                  <a:pt x="3573637" y="665811"/>
                </a:lnTo>
                <a:lnTo>
                  <a:pt x="3573637" y="649505"/>
                </a:lnTo>
                <a:lnTo>
                  <a:pt x="3595377" y="649505"/>
                </a:lnTo>
                <a:lnTo>
                  <a:pt x="3595377" y="644070"/>
                </a:lnTo>
                <a:lnTo>
                  <a:pt x="3565485" y="635916"/>
                </a:lnTo>
                <a:lnTo>
                  <a:pt x="3565485" y="619611"/>
                </a:lnTo>
                <a:lnTo>
                  <a:pt x="3565485" y="611459"/>
                </a:lnTo>
                <a:cubicBezTo>
                  <a:pt x="3565485" y="584282"/>
                  <a:pt x="3568201" y="608741"/>
                  <a:pt x="3557331" y="589718"/>
                </a:cubicBezTo>
                <a:lnTo>
                  <a:pt x="3595377" y="589718"/>
                </a:lnTo>
                <a:cubicBezTo>
                  <a:pt x="3622553" y="589718"/>
                  <a:pt x="3617119" y="597871"/>
                  <a:pt x="3611683" y="611459"/>
                </a:cubicBezTo>
                <a:lnTo>
                  <a:pt x="3633423" y="611459"/>
                </a:lnTo>
                <a:lnTo>
                  <a:pt x="3625271" y="587000"/>
                </a:lnTo>
                <a:lnTo>
                  <a:pt x="3641577" y="573413"/>
                </a:lnTo>
                <a:cubicBezTo>
                  <a:pt x="3636141" y="557107"/>
                  <a:pt x="3636141" y="548953"/>
                  <a:pt x="3644295" y="532648"/>
                </a:cubicBezTo>
                <a:lnTo>
                  <a:pt x="3674187" y="565259"/>
                </a:lnTo>
                <a:lnTo>
                  <a:pt x="3666035" y="587000"/>
                </a:lnTo>
                <a:lnTo>
                  <a:pt x="3687775" y="587000"/>
                </a:lnTo>
                <a:cubicBezTo>
                  <a:pt x="3676905" y="608741"/>
                  <a:pt x="3674187" y="597871"/>
                  <a:pt x="3693211" y="603305"/>
                </a:cubicBezTo>
                <a:lnTo>
                  <a:pt x="3701363" y="587000"/>
                </a:lnTo>
                <a:lnTo>
                  <a:pt x="3693211" y="573413"/>
                </a:lnTo>
                <a:cubicBezTo>
                  <a:pt x="3698647" y="567977"/>
                  <a:pt x="3701363" y="565259"/>
                  <a:pt x="3701363" y="562542"/>
                </a:cubicBezTo>
                <a:cubicBezTo>
                  <a:pt x="3704081" y="562542"/>
                  <a:pt x="3706799" y="562542"/>
                  <a:pt x="3714951" y="559824"/>
                </a:cubicBezTo>
                <a:lnTo>
                  <a:pt x="3709517" y="546236"/>
                </a:lnTo>
                <a:lnTo>
                  <a:pt x="3731257" y="521779"/>
                </a:lnTo>
                <a:lnTo>
                  <a:pt x="3744845" y="529930"/>
                </a:lnTo>
                <a:lnTo>
                  <a:pt x="3747563" y="554389"/>
                </a:lnTo>
                <a:lnTo>
                  <a:pt x="3761151" y="538083"/>
                </a:lnTo>
                <a:lnTo>
                  <a:pt x="3747563" y="529930"/>
                </a:lnTo>
                <a:lnTo>
                  <a:pt x="3747563" y="491884"/>
                </a:lnTo>
                <a:cubicBezTo>
                  <a:pt x="3755715" y="497320"/>
                  <a:pt x="3755715" y="500037"/>
                  <a:pt x="3769303" y="500037"/>
                </a:cubicBezTo>
                <a:lnTo>
                  <a:pt x="3791045" y="500037"/>
                </a:lnTo>
                <a:cubicBezTo>
                  <a:pt x="3788327" y="494602"/>
                  <a:pt x="3780175" y="478297"/>
                  <a:pt x="3799197" y="478297"/>
                </a:cubicBezTo>
                <a:cubicBezTo>
                  <a:pt x="3818221" y="478297"/>
                  <a:pt x="3810067" y="491884"/>
                  <a:pt x="3807351" y="500037"/>
                </a:cubicBezTo>
                <a:lnTo>
                  <a:pt x="3845397" y="500037"/>
                </a:lnTo>
                <a:lnTo>
                  <a:pt x="3837243" y="470143"/>
                </a:lnTo>
                <a:cubicBezTo>
                  <a:pt x="3891595" y="483731"/>
                  <a:pt x="3831809" y="472862"/>
                  <a:pt x="3869855" y="500037"/>
                </a:cubicBezTo>
                <a:lnTo>
                  <a:pt x="3875291" y="470143"/>
                </a:lnTo>
                <a:lnTo>
                  <a:pt x="3897031" y="470143"/>
                </a:lnTo>
                <a:lnTo>
                  <a:pt x="3897031" y="486449"/>
                </a:lnTo>
                <a:cubicBezTo>
                  <a:pt x="3918772" y="481014"/>
                  <a:pt x="3910619" y="489166"/>
                  <a:pt x="3905184" y="472862"/>
                </a:cubicBezTo>
                <a:lnTo>
                  <a:pt x="3910619" y="464708"/>
                </a:lnTo>
                <a:lnTo>
                  <a:pt x="3918772" y="472862"/>
                </a:lnTo>
                <a:cubicBezTo>
                  <a:pt x="3937795" y="464708"/>
                  <a:pt x="3921490" y="464708"/>
                  <a:pt x="3940513" y="472862"/>
                </a:cubicBezTo>
                <a:cubicBezTo>
                  <a:pt x="3945948" y="464708"/>
                  <a:pt x="3945948" y="456555"/>
                  <a:pt x="3956818" y="456555"/>
                </a:cubicBezTo>
                <a:cubicBezTo>
                  <a:pt x="3978559" y="456555"/>
                  <a:pt x="3973124" y="459273"/>
                  <a:pt x="3981277" y="472862"/>
                </a:cubicBezTo>
                <a:lnTo>
                  <a:pt x="3994865" y="467426"/>
                </a:lnTo>
                <a:lnTo>
                  <a:pt x="4011170" y="481014"/>
                </a:lnTo>
                <a:lnTo>
                  <a:pt x="4027476" y="459273"/>
                </a:lnTo>
                <a:cubicBezTo>
                  <a:pt x="4062804" y="456555"/>
                  <a:pt x="4041064" y="467426"/>
                  <a:pt x="4057369" y="442968"/>
                </a:cubicBezTo>
                <a:lnTo>
                  <a:pt x="4073675" y="442968"/>
                </a:lnTo>
                <a:cubicBezTo>
                  <a:pt x="4098133" y="459273"/>
                  <a:pt x="4079110" y="456555"/>
                  <a:pt x="4111721" y="459273"/>
                </a:cubicBezTo>
                <a:lnTo>
                  <a:pt x="4111721" y="437532"/>
                </a:lnTo>
                <a:cubicBezTo>
                  <a:pt x="4136179" y="456555"/>
                  <a:pt x="4119874" y="445685"/>
                  <a:pt x="4136179" y="478297"/>
                </a:cubicBezTo>
                <a:lnTo>
                  <a:pt x="4166073" y="453839"/>
                </a:lnTo>
                <a:lnTo>
                  <a:pt x="4166073" y="475579"/>
                </a:lnTo>
                <a:cubicBezTo>
                  <a:pt x="4206837" y="472862"/>
                  <a:pt x="4195965" y="456555"/>
                  <a:pt x="4225859" y="445685"/>
                </a:cubicBezTo>
                <a:lnTo>
                  <a:pt x="4217707" y="470143"/>
                </a:lnTo>
                <a:lnTo>
                  <a:pt x="4231295" y="461991"/>
                </a:lnTo>
                <a:lnTo>
                  <a:pt x="4239447" y="475579"/>
                </a:lnTo>
                <a:lnTo>
                  <a:pt x="4223141" y="491884"/>
                </a:lnTo>
                <a:lnTo>
                  <a:pt x="4247601" y="491884"/>
                </a:lnTo>
                <a:lnTo>
                  <a:pt x="4239447" y="478297"/>
                </a:lnTo>
                <a:lnTo>
                  <a:pt x="4255753" y="478297"/>
                </a:lnTo>
                <a:lnTo>
                  <a:pt x="4255753" y="461991"/>
                </a:lnTo>
                <a:lnTo>
                  <a:pt x="4293799" y="494602"/>
                </a:lnTo>
                <a:lnTo>
                  <a:pt x="4310105" y="494602"/>
                </a:lnTo>
                <a:lnTo>
                  <a:pt x="4301953" y="510907"/>
                </a:lnTo>
                <a:lnTo>
                  <a:pt x="4331845" y="502754"/>
                </a:lnTo>
                <a:lnTo>
                  <a:pt x="4372609" y="538083"/>
                </a:lnTo>
                <a:lnTo>
                  <a:pt x="4372609" y="513626"/>
                </a:lnTo>
                <a:lnTo>
                  <a:pt x="4394351" y="529930"/>
                </a:lnTo>
                <a:lnTo>
                  <a:pt x="4388915" y="543518"/>
                </a:lnTo>
                <a:lnTo>
                  <a:pt x="4402503" y="559824"/>
                </a:lnTo>
                <a:lnTo>
                  <a:pt x="4445985" y="559824"/>
                </a:lnTo>
                <a:cubicBezTo>
                  <a:pt x="4467725" y="589718"/>
                  <a:pt x="4459573" y="559824"/>
                  <a:pt x="4470443" y="592435"/>
                </a:cubicBezTo>
                <a:lnTo>
                  <a:pt x="4492183" y="576130"/>
                </a:lnTo>
                <a:cubicBezTo>
                  <a:pt x="4500337" y="595153"/>
                  <a:pt x="4500337" y="578848"/>
                  <a:pt x="4492183" y="597871"/>
                </a:cubicBezTo>
                <a:lnTo>
                  <a:pt x="4516643" y="597871"/>
                </a:lnTo>
                <a:lnTo>
                  <a:pt x="4511207" y="611459"/>
                </a:lnTo>
                <a:lnTo>
                  <a:pt x="4513925" y="625046"/>
                </a:lnTo>
                <a:cubicBezTo>
                  <a:pt x="4516643" y="625046"/>
                  <a:pt x="4519359" y="622329"/>
                  <a:pt x="4522077" y="622329"/>
                </a:cubicBezTo>
                <a:cubicBezTo>
                  <a:pt x="4522077" y="625046"/>
                  <a:pt x="4519359" y="630482"/>
                  <a:pt x="4516643" y="635916"/>
                </a:cubicBezTo>
                <a:lnTo>
                  <a:pt x="4522077" y="635916"/>
                </a:lnTo>
                <a:lnTo>
                  <a:pt x="4522077" y="622329"/>
                </a:lnTo>
                <a:lnTo>
                  <a:pt x="4522077" y="614176"/>
                </a:lnTo>
                <a:cubicBezTo>
                  <a:pt x="4522077" y="584282"/>
                  <a:pt x="4519359" y="611459"/>
                  <a:pt x="4530231" y="589718"/>
                </a:cubicBezTo>
                <a:lnTo>
                  <a:pt x="4551971" y="606024"/>
                </a:lnTo>
                <a:lnTo>
                  <a:pt x="4551971" y="619611"/>
                </a:lnTo>
                <a:lnTo>
                  <a:pt x="4550952" y="622669"/>
                </a:lnTo>
                <a:lnTo>
                  <a:pt x="4527513" y="630482"/>
                </a:lnTo>
                <a:lnTo>
                  <a:pt x="4543819" y="644070"/>
                </a:lnTo>
                <a:lnTo>
                  <a:pt x="4550952" y="622669"/>
                </a:lnTo>
                <a:lnTo>
                  <a:pt x="4551971" y="622329"/>
                </a:lnTo>
                <a:lnTo>
                  <a:pt x="4551971" y="619611"/>
                </a:lnTo>
                <a:lnTo>
                  <a:pt x="4565559" y="619611"/>
                </a:lnTo>
                <a:lnTo>
                  <a:pt x="4590017" y="649505"/>
                </a:lnTo>
                <a:cubicBezTo>
                  <a:pt x="4560123" y="663092"/>
                  <a:pt x="4581865" y="635916"/>
                  <a:pt x="4560123" y="665811"/>
                </a:cubicBezTo>
                <a:lnTo>
                  <a:pt x="4584583" y="673964"/>
                </a:lnTo>
                <a:cubicBezTo>
                  <a:pt x="4590017" y="703856"/>
                  <a:pt x="4587299" y="706574"/>
                  <a:pt x="4606323" y="720162"/>
                </a:cubicBezTo>
                <a:lnTo>
                  <a:pt x="4606323" y="695705"/>
                </a:lnTo>
                <a:lnTo>
                  <a:pt x="4625345" y="712009"/>
                </a:lnTo>
                <a:cubicBezTo>
                  <a:pt x="4625345" y="709292"/>
                  <a:pt x="4625345" y="703856"/>
                  <a:pt x="4628063" y="701139"/>
                </a:cubicBezTo>
                <a:cubicBezTo>
                  <a:pt x="4633499" y="706574"/>
                  <a:pt x="4633499" y="712009"/>
                  <a:pt x="4633499" y="720162"/>
                </a:cubicBezTo>
                <a:lnTo>
                  <a:pt x="4636217" y="744620"/>
                </a:lnTo>
                <a:cubicBezTo>
                  <a:pt x="4647087" y="739185"/>
                  <a:pt x="4649805" y="725597"/>
                  <a:pt x="4666109" y="722879"/>
                </a:cubicBezTo>
                <a:cubicBezTo>
                  <a:pt x="4657957" y="731032"/>
                  <a:pt x="4668827" y="747338"/>
                  <a:pt x="4660675" y="755491"/>
                </a:cubicBezTo>
                <a:cubicBezTo>
                  <a:pt x="4647087" y="760926"/>
                  <a:pt x="4657957" y="747338"/>
                  <a:pt x="4655239" y="741903"/>
                </a:cubicBezTo>
                <a:cubicBezTo>
                  <a:pt x="4649805" y="747338"/>
                  <a:pt x="4641651" y="750055"/>
                  <a:pt x="4638933" y="755491"/>
                </a:cubicBezTo>
                <a:lnTo>
                  <a:pt x="4641651" y="766361"/>
                </a:lnTo>
                <a:cubicBezTo>
                  <a:pt x="4647087" y="771796"/>
                  <a:pt x="4652521" y="771796"/>
                  <a:pt x="4657957" y="774515"/>
                </a:cubicBezTo>
                <a:lnTo>
                  <a:pt x="4682415" y="769079"/>
                </a:lnTo>
                <a:cubicBezTo>
                  <a:pt x="4682415" y="755491"/>
                  <a:pt x="4682415" y="741903"/>
                  <a:pt x="4696004" y="739185"/>
                </a:cubicBezTo>
                <a:cubicBezTo>
                  <a:pt x="4709592" y="758208"/>
                  <a:pt x="4693286" y="777231"/>
                  <a:pt x="4685133" y="796254"/>
                </a:cubicBezTo>
                <a:cubicBezTo>
                  <a:pt x="4690569" y="804407"/>
                  <a:pt x="4698721" y="809841"/>
                  <a:pt x="4712309" y="807126"/>
                </a:cubicBezTo>
                <a:cubicBezTo>
                  <a:pt x="4714347" y="819354"/>
                  <a:pt x="4705685" y="833112"/>
                  <a:pt x="4709252" y="844959"/>
                </a:cubicBezTo>
                <a:lnTo>
                  <a:pt x="4713450" y="850437"/>
                </a:lnTo>
                <a:lnTo>
                  <a:pt x="4709592" y="853324"/>
                </a:lnTo>
                <a:cubicBezTo>
                  <a:pt x="4709592" y="866912"/>
                  <a:pt x="4693286" y="875065"/>
                  <a:pt x="4704157" y="891370"/>
                </a:cubicBezTo>
                <a:cubicBezTo>
                  <a:pt x="4728615" y="877782"/>
                  <a:pt x="4744921" y="864194"/>
                  <a:pt x="4769379" y="853324"/>
                </a:cubicBezTo>
                <a:cubicBezTo>
                  <a:pt x="4774814" y="837018"/>
                  <a:pt x="4763944" y="817995"/>
                  <a:pt x="4782967" y="807126"/>
                </a:cubicBezTo>
                <a:cubicBezTo>
                  <a:pt x="4780249" y="801691"/>
                  <a:pt x="4774814" y="798972"/>
                  <a:pt x="4772097" y="790819"/>
                </a:cubicBezTo>
                <a:cubicBezTo>
                  <a:pt x="4780249" y="788102"/>
                  <a:pt x="4774814" y="782667"/>
                  <a:pt x="4782967" y="779949"/>
                </a:cubicBezTo>
                <a:cubicBezTo>
                  <a:pt x="4788402" y="779949"/>
                  <a:pt x="4785685" y="788102"/>
                  <a:pt x="4788402" y="793537"/>
                </a:cubicBezTo>
                <a:cubicBezTo>
                  <a:pt x="4796555" y="785384"/>
                  <a:pt x="4801990" y="788102"/>
                  <a:pt x="4812861" y="782667"/>
                </a:cubicBezTo>
                <a:cubicBezTo>
                  <a:pt x="4810143" y="769079"/>
                  <a:pt x="4796555" y="779949"/>
                  <a:pt x="4791120" y="769079"/>
                </a:cubicBezTo>
                <a:cubicBezTo>
                  <a:pt x="4804708" y="760926"/>
                  <a:pt x="4807425" y="779949"/>
                  <a:pt x="4821013" y="769079"/>
                </a:cubicBezTo>
                <a:cubicBezTo>
                  <a:pt x="4815578" y="758208"/>
                  <a:pt x="4804708" y="758208"/>
                  <a:pt x="4799273" y="750055"/>
                </a:cubicBezTo>
                <a:cubicBezTo>
                  <a:pt x="4804708" y="747338"/>
                  <a:pt x="4807425" y="755491"/>
                  <a:pt x="4812861" y="752773"/>
                </a:cubicBezTo>
                <a:cubicBezTo>
                  <a:pt x="4818296" y="744620"/>
                  <a:pt x="4807425" y="725597"/>
                  <a:pt x="4823731" y="733750"/>
                </a:cubicBezTo>
                <a:cubicBezTo>
                  <a:pt x="4810143" y="720162"/>
                  <a:pt x="4807425" y="717444"/>
                  <a:pt x="4796555" y="706574"/>
                </a:cubicBezTo>
                <a:cubicBezTo>
                  <a:pt x="4793838" y="707933"/>
                  <a:pt x="4790441" y="709292"/>
                  <a:pt x="4788063" y="710990"/>
                </a:cubicBezTo>
                <a:lnTo>
                  <a:pt x="4786905" y="714132"/>
                </a:lnTo>
                <a:lnTo>
                  <a:pt x="4781268" y="701479"/>
                </a:lnTo>
                <a:cubicBezTo>
                  <a:pt x="4772776" y="693666"/>
                  <a:pt x="4757150" y="688910"/>
                  <a:pt x="4744921" y="690268"/>
                </a:cubicBezTo>
                <a:cubicBezTo>
                  <a:pt x="4753073" y="682117"/>
                  <a:pt x="4753073" y="671246"/>
                  <a:pt x="4753073" y="660376"/>
                </a:cubicBezTo>
                <a:cubicBezTo>
                  <a:pt x="4766661" y="654940"/>
                  <a:pt x="4772097" y="668528"/>
                  <a:pt x="4772097" y="679399"/>
                </a:cubicBezTo>
                <a:cubicBezTo>
                  <a:pt x="4780249" y="671246"/>
                  <a:pt x="4791120" y="673964"/>
                  <a:pt x="4804708" y="665811"/>
                </a:cubicBezTo>
                <a:cubicBezTo>
                  <a:pt x="4826449" y="684833"/>
                  <a:pt x="4856342" y="695705"/>
                  <a:pt x="4859060" y="736467"/>
                </a:cubicBezTo>
                <a:cubicBezTo>
                  <a:pt x="4864495" y="739185"/>
                  <a:pt x="4869930" y="739185"/>
                  <a:pt x="4875365" y="736467"/>
                </a:cubicBezTo>
                <a:lnTo>
                  <a:pt x="4866300" y="692434"/>
                </a:lnTo>
                <a:lnTo>
                  <a:pt x="4871289" y="698422"/>
                </a:lnTo>
                <a:cubicBezTo>
                  <a:pt x="4874006" y="699781"/>
                  <a:pt x="4876724" y="701139"/>
                  <a:pt x="4878083" y="706574"/>
                </a:cubicBezTo>
                <a:cubicBezTo>
                  <a:pt x="4899824" y="701139"/>
                  <a:pt x="4907976" y="671246"/>
                  <a:pt x="4886236" y="671246"/>
                </a:cubicBezTo>
                <a:cubicBezTo>
                  <a:pt x="4888954" y="679399"/>
                  <a:pt x="4886236" y="686192"/>
                  <a:pt x="4881480" y="689929"/>
                </a:cubicBezTo>
                <a:lnTo>
                  <a:pt x="4865842" y="690242"/>
                </a:lnTo>
                <a:lnTo>
                  <a:pt x="4857022" y="670736"/>
                </a:lnTo>
                <a:cubicBezTo>
                  <a:pt x="4852945" y="665471"/>
                  <a:pt x="4847510" y="661734"/>
                  <a:pt x="4840037" y="660376"/>
                </a:cubicBezTo>
                <a:cubicBezTo>
                  <a:pt x="4842754" y="649505"/>
                  <a:pt x="4831884" y="646787"/>
                  <a:pt x="4837319" y="635916"/>
                </a:cubicBezTo>
                <a:cubicBezTo>
                  <a:pt x="4823731" y="635916"/>
                  <a:pt x="4810143" y="633199"/>
                  <a:pt x="4793837" y="641352"/>
                </a:cubicBezTo>
                <a:cubicBezTo>
                  <a:pt x="4799272" y="627764"/>
                  <a:pt x="4813540" y="625047"/>
                  <a:pt x="4829506" y="625387"/>
                </a:cubicBezTo>
                <a:lnTo>
                  <a:pt x="4835246" y="625817"/>
                </a:lnTo>
                <a:lnTo>
                  <a:pt x="4837319" y="630482"/>
                </a:lnTo>
                <a:cubicBezTo>
                  <a:pt x="4842754" y="630482"/>
                  <a:pt x="4844792" y="629802"/>
                  <a:pt x="4846491" y="628444"/>
                </a:cubicBezTo>
                <a:lnTo>
                  <a:pt x="4848403" y="626804"/>
                </a:lnTo>
                <a:lnTo>
                  <a:pt x="4853837" y="627212"/>
                </a:lnTo>
                <a:cubicBezTo>
                  <a:pt x="4861777" y="627934"/>
                  <a:pt x="4869250" y="628444"/>
                  <a:pt x="4875365" y="627764"/>
                </a:cubicBezTo>
                <a:cubicBezTo>
                  <a:pt x="4878083" y="614176"/>
                  <a:pt x="4886236" y="597871"/>
                  <a:pt x="4907976" y="597871"/>
                </a:cubicBezTo>
                <a:cubicBezTo>
                  <a:pt x="4899824" y="611459"/>
                  <a:pt x="4878083" y="627764"/>
                  <a:pt x="4891671" y="641352"/>
                </a:cubicBezTo>
                <a:cubicBezTo>
                  <a:pt x="4894389" y="633199"/>
                  <a:pt x="4894389" y="625046"/>
                  <a:pt x="4899824" y="616893"/>
                </a:cubicBezTo>
                <a:cubicBezTo>
                  <a:pt x="4907976" y="619611"/>
                  <a:pt x="4910694" y="633199"/>
                  <a:pt x="4918847" y="619611"/>
                </a:cubicBezTo>
                <a:cubicBezTo>
                  <a:pt x="4910694" y="644070"/>
                  <a:pt x="4918847" y="671246"/>
                  <a:pt x="4935152" y="701139"/>
                </a:cubicBezTo>
                <a:cubicBezTo>
                  <a:pt x="4937870" y="706574"/>
                  <a:pt x="4946023" y="695705"/>
                  <a:pt x="4951458" y="695705"/>
                </a:cubicBezTo>
                <a:cubicBezTo>
                  <a:pt x="4954176" y="673964"/>
                  <a:pt x="4959611" y="654940"/>
                  <a:pt x="4951458" y="630482"/>
                </a:cubicBezTo>
                <a:cubicBezTo>
                  <a:pt x="4956893" y="633199"/>
                  <a:pt x="4956893" y="630482"/>
                  <a:pt x="4959611" y="627764"/>
                </a:cubicBezTo>
                <a:lnTo>
                  <a:pt x="4944155" y="590185"/>
                </a:lnTo>
                <a:lnTo>
                  <a:pt x="4948740" y="589038"/>
                </a:lnTo>
                <a:cubicBezTo>
                  <a:pt x="4953496" y="588359"/>
                  <a:pt x="4958252" y="588359"/>
                  <a:pt x="4962328" y="589718"/>
                </a:cubicBezTo>
                <a:lnTo>
                  <a:pt x="4960620" y="580112"/>
                </a:lnTo>
                <a:lnTo>
                  <a:pt x="4974685" y="559867"/>
                </a:lnTo>
                <a:cubicBezTo>
                  <a:pt x="4980672" y="535536"/>
                  <a:pt x="4966405" y="505472"/>
                  <a:pt x="4994939" y="489166"/>
                </a:cubicBezTo>
                <a:cubicBezTo>
                  <a:pt x="4997657" y="494602"/>
                  <a:pt x="4989504" y="497320"/>
                  <a:pt x="4992222" y="502754"/>
                </a:cubicBezTo>
                <a:cubicBezTo>
                  <a:pt x="4992222" y="505472"/>
                  <a:pt x="5008527" y="491884"/>
                  <a:pt x="5016680" y="494602"/>
                </a:cubicBezTo>
                <a:cubicBezTo>
                  <a:pt x="5005810" y="516342"/>
                  <a:pt x="4981351" y="535366"/>
                  <a:pt x="4981351" y="559824"/>
                </a:cubicBezTo>
                <a:cubicBezTo>
                  <a:pt x="4997657" y="554389"/>
                  <a:pt x="5003092" y="540801"/>
                  <a:pt x="5024833" y="535366"/>
                </a:cubicBezTo>
                <a:cubicBezTo>
                  <a:pt x="5016680" y="554389"/>
                  <a:pt x="5024833" y="581566"/>
                  <a:pt x="5005810" y="597871"/>
                </a:cubicBezTo>
                <a:cubicBezTo>
                  <a:pt x="5003092" y="592435"/>
                  <a:pt x="4997657" y="589718"/>
                  <a:pt x="4992222" y="589718"/>
                </a:cubicBezTo>
                <a:cubicBezTo>
                  <a:pt x="4989504" y="600588"/>
                  <a:pt x="5000375" y="625046"/>
                  <a:pt x="4986787" y="625046"/>
                </a:cubicBezTo>
                <a:cubicBezTo>
                  <a:pt x="4989504" y="630482"/>
                  <a:pt x="4994939" y="630482"/>
                  <a:pt x="4997657" y="635916"/>
                </a:cubicBezTo>
                <a:cubicBezTo>
                  <a:pt x="4989504" y="663092"/>
                  <a:pt x="4959611" y="684833"/>
                  <a:pt x="4962328" y="714727"/>
                </a:cubicBezTo>
                <a:cubicBezTo>
                  <a:pt x="4973198" y="713368"/>
                  <a:pt x="4981351" y="710311"/>
                  <a:pt x="4987678" y="706150"/>
                </a:cubicBezTo>
                <a:lnTo>
                  <a:pt x="4989613" y="704107"/>
                </a:lnTo>
                <a:lnTo>
                  <a:pt x="4992901" y="711670"/>
                </a:lnTo>
                <a:cubicBezTo>
                  <a:pt x="4994260" y="714048"/>
                  <a:pt x="4994940" y="716086"/>
                  <a:pt x="4992222" y="717444"/>
                </a:cubicBezTo>
                <a:cubicBezTo>
                  <a:pt x="4978634" y="722879"/>
                  <a:pt x="4970481" y="714727"/>
                  <a:pt x="4959611" y="717444"/>
                </a:cubicBezTo>
                <a:cubicBezTo>
                  <a:pt x="4975916" y="731032"/>
                  <a:pt x="4978634" y="747338"/>
                  <a:pt x="4962328" y="760926"/>
                </a:cubicBezTo>
                <a:cubicBezTo>
                  <a:pt x="4984069" y="766361"/>
                  <a:pt x="4973199" y="736467"/>
                  <a:pt x="4994939" y="739185"/>
                </a:cubicBezTo>
                <a:cubicBezTo>
                  <a:pt x="4992222" y="731032"/>
                  <a:pt x="4975916" y="731032"/>
                  <a:pt x="4986787" y="720162"/>
                </a:cubicBezTo>
                <a:cubicBezTo>
                  <a:pt x="4994939" y="725597"/>
                  <a:pt x="5003092" y="731032"/>
                  <a:pt x="5005810" y="744620"/>
                </a:cubicBezTo>
                <a:cubicBezTo>
                  <a:pt x="5022115" y="739185"/>
                  <a:pt x="5013963" y="728315"/>
                  <a:pt x="5022115" y="720162"/>
                </a:cubicBezTo>
                <a:cubicBezTo>
                  <a:pt x="5022115" y="725597"/>
                  <a:pt x="5024833" y="728315"/>
                  <a:pt x="5030268" y="725597"/>
                </a:cubicBezTo>
                <a:cubicBezTo>
                  <a:pt x="5032986" y="725597"/>
                  <a:pt x="5032986" y="720162"/>
                  <a:pt x="5030268" y="714727"/>
                </a:cubicBezTo>
                <a:cubicBezTo>
                  <a:pt x="5019398" y="712009"/>
                  <a:pt x="5008527" y="731032"/>
                  <a:pt x="4997657" y="722879"/>
                </a:cubicBezTo>
                <a:cubicBezTo>
                  <a:pt x="5000375" y="714727"/>
                  <a:pt x="5011245" y="712009"/>
                  <a:pt x="5005810" y="703856"/>
                </a:cubicBezTo>
                <a:cubicBezTo>
                  <a:pt x="5004451" y="701139"/>
                  <a:pt x="5001733" y="700459"/>
                  <a:pt x="4998676" y="700799"/>
                </a:cubicBezTo>
                <a:lnTo>
                  <a:pt x="4990010" y="703688"/>
                </a:lnTo>
                <a:lnTo>
                  <a:pt x="5002073" y="690948"/>
                </a:lnTo>
                <a:cubicBezTo>
                  <a:pt x="5009207" y="679399"/>
                  <a:pt x="5012604" y="665811"/>
                  <a:pt x="5019398" y="654940"/>
                </a:cubicBezTo>
                <a:cubicBezTo>
                  <a:pt x="5030268" y="646787"/>
                  <a:pt x="5032986" y="660376"/>
                  <a:pt x="5041138" y="660376"/>
                </a:cubicBezTo>
                <a:lnTo>
                  <a:pt x="5040939" y="666550"/>
                </a:lnTo>
                <a:lnTo>
                  <a:pt x="5031627" y="672265"/>
                </a:lnTo>
                <a:cubicBezTo>
                  <a:pt x="5025512" y="673284"/>
                  <a:pt x="5019397" y="672604"/>
                  <a:pt x="5016680" y="671246"/>
                </a:cubicBezTo>
                <a:cubicBezTo>
                  <a:pt x="5016680" y="676680"/>
                  <a:pt x="5019398" y="682117"/>
                  <a:pt x="5013963" y="684833"/>
                </a:cubicBezTo>
                <a:cubicBezTo>
                  <a:pt x="5019398" y="690268"/>
                  <a:pt x="5024833" y="695705"/>
                  <a:pt x="5035703" y="692986"/>
                </a:cubicBezTo>
                <a:cubicBezTo>
                  <a:pt x="5035703" y="684833"/>
                  <a:pt x="5016680" y="690268"/>
                  <a:pt x="5027550" y="679399"/>
                </a:cubicBezTo>
                <a:cubicBezTo>
                  <a:pt x="5035703" y="679399"/>
                  <a:pt x="5041138" y="684833"/>
                  <a:pt x="5052009" y="676680"/>
                </a:cubicBezTo>
                <a:lnTo>
                  <a:pt x="5051688" y="672512"/>
                </a:lnTo>
                <a:lnTo>
                  <a:pt x="5052901" y="671883"/>
                </a:lnTo>
                <a:cubicBezTo>
                  <a:pt x="5057614" y="661565"/>
                  <a:pt x="5039780" y="644749"/>
                  <a:pt x="5060162" y="638635"/>
                </a:cubicBezTo>
                <a:cubicBezTo>
                  <a:pt x="5062879" y="646787"/>
                  <a:pt x="5065597" y="654940"/>
                  <a:pt x="5071032" y="657658"/>
                </a:cubicBezTo>
                <a:cubicBezTo>
                  <a:pt x="5068314" y="633199"/>
                  <a:pt x="5049291" y="606024"/>
                  <a:pt x="5073750" y="592435"/>
                </a:cubicBezTo>
                <a:cubicBezTo>
                  <a:pt x="5079185" y="603305"/>
                  <a:pt x="5062879" y="608741"/>
                  <a:pt x="5065597" y="619611"/>
                </a:cubicBezTo>
                <a:cubicBezTo>
                  <a:pt x="5095490" y="622329"/>
                  <a:pt x="5106361" y="581566"/>
                  <a:pt x="5119949" y="562542"/>
                </a:cubicBezTo>
                <a:cubicBezTo>
                  <a:pt x="5125384" y="559824"/>
                  <a:pt x="5128101" y="567977"/>
                  <a:pt x="5133536" y="573413"/>
                </a:cubicBezTo>
                <a:cubicBezTo>
                  <a:pt x="5128101" y="570694"/>
                  <a:pt x="5125384" y="578848"/>
                  <a:pt x="5122666" y="584282"/>
                </a:cubicBezTo>
                <a:cubicBezTo>
                  <a:pt x="5128101" y="597871"/>
                  <a:pt x="5138972" y="595153"/>
                  <a:pt x="5147124" y="600588"/>
                </a:cubicBezTo>
                <a:cubicBezTo>
                  <a:pt x="5155277" y="595153"/>
                  <a:pt x="5155277" y="589718"/>
                  <a:pt x="5166148" y="584282"/>
                </a:cubicBezTo>
                <a:cubicBezTo>
                  <a:pt x="5168865" y="587000"/>
                  <a:pt x="5171583" y="592435"/>
                  <a:pt x="5174300" y="597871"/>
                </a:cubicBezTo>
                <a:cubicBezTo>
                  <a:pt x="5171583" y="600588"/>
                  <a:pt x="5168865" y="597871"/>
                  <a:pt x="5166148" y="597871"/>
                </a:cubicBezTo>
                <a:cubicBezTo>
                  <a:pt x="5163430" y="600588"/>
                  <a:pt x="5177018" y="611459"/>
                  <a:pt x="5171583" y="616893"/>
                </a:cubicBezTo>
                <a:cubicBezTo>
                  <a:pt x="5182453" y="611459"/>
                  <a:pt x="5185171" y="600588"/>
                  <a:pt x="5204194" y="595153"/>
                </a:cubicBezTo>
                <a:cubicBezTo>
                  <a:pt x="5206912" y="600588"/>
                  <a:pt x="5212347" y="600588"/>
                  <a:pt x="5215064" y="608741"/>
                </a:cubicBezTo>
                <a:cubicBezTo>
                  <a:pt x="5201476" y="614176"/>
                  <a:pt x="5198759" y="606024"/>
                  <a:pt x="5187888" y="608741"/>
                </a:cubicBezTo>
                <a:cubicBezTo>
                  <a:pt x="5187888" y="619611"/>
                  <a:pt x="5174300" y="630482"/>
                  <a:pt x="5179736" y="635916"/>
                </a:cubicBezTo>
                <a:cubicBezTo>
                  <a:pt x="5163430" y="649505"/>
                  <a:pt x="5141689" y="641352"/>
                  <a:pt x="5117231" y="657658"/>
                </a:cubicBezTo>
                <a:cubicBezTo>
                  <a:pt x="5106361" y="684833"/>
                  <a:pt x="5090055" y="709292"/>
                  <a:pt x="5090055" y="741903"/>
                </a:cubicBezTo>
                <a:cubicBezTo>
                  <a:pt x="5090055" y="747338"/>
                  <a:pt x="5098208" y="739185"/>
                  <a:pt x="5103643" y="739185"/>
                </a:cubicBezTo>
                <a:lnTo>
                  <a:pt x="5107965" y="728326"/>
                </a:lnTo>
                <a:lnTo>
                  <a:pt x="5111116" y="725937"/>
                </a:lnTo>
                <a:lnTo>
                  <a:pt x="5114696" y="716988"/>
                </a:lnTo>
                <a:lnTo>
                  <a:pt x="5123346" y="706574"/>
                </a:lnTo>
                <a:cubicBezTo>
                  <a:pt x="5132857" y="696384"/>
                  <a:pt x="5143048" y="686192"/>
                  <a:pt x="5147124" y="673964"/>
                </a:cubicBezTo>
                <a:cubicBezTo>
                  <a:pt x="5177018" y="668528"/>
                  <a:pt x="5190606" y="663092"/>
                  <a:pt x="5215064" y="663092"/>
                </a:cubicBezTo>
                <a:cubicBezTo>
                  <a:pt x="5212347" y="668528"/>
                  <a:pt x="5209629" y="673964"/>
                  <a:pt x="5209629" y="682117"/>
                </a:cubicBezTo>
                <a:cubicBezTo>
                  <a:pt x="5215064" y="692986"/>
                  <a:pt x="5231370" y="687552"/>
                  <a:pt x="5236805" y="679399"/>
                </a:cubicBezTo>
                <a:cubicBezTo>
                  <a:pt x="5244958" y="690268"/>
                  <a:pt x="5228652" y="692986"/>
                  <a:pt x="5225935" y="698421"/>
                </a:cubicBezTo>
                <a:cubicBezTo>
                  <a:pt x="5228652" y="712009"/>
                  <a:pt x="5242240" y="701139"/>
                  <a:pt x="5244958" y="712009"/>
                </a:cubicBezTo>
                <a:cubicBezTo>
                  <a:pt x="5220500" y="722879"/>
                  <a:pt x="5212347" y="701139"/>
                  <a:pt x="5190606" y="709292"/>
                </a:cubicBezTo>
                <a:cubicBezTo>
                  <a:pt x="5196041" y="728315"/>
                  <a:pt x="5168865" y="739185"/>
                  <a:pt x="5179736" y="763643"/>
                </a:cubicBezTo>
                <a:cubicBezTo>
                  <a:pt x="5182453" y="766361"/>
                  <a:pt x="5187888" y="755491"/>
                  <a:pt x="5190606" y="752773"/>
                </a:cubicBezTo>
                <a:cubicBezTo>
                  <a:pt x="5204194" y="758208"/>
                  <a:pt x="5182453" y="782667"/>
                  <a:pt x="5187888" y="788102"/>
                </a:cubicBezTo>
                <a:cubicBezTo>
                  <a:pt x="5128101" y="817995"/>
                  <a:pt x="5060162" y="839736"/>
                  <a:pt x="5013963" y="872347"/>
                </a:cubicBezTo>
                <a:cubicBezTo>
                  <a:pt x="5016680" y="885935"/>
                  <a:pt x="5027550" y="877782"/>
                  <a:pt x="5032986" y="885935"/>
                </a:cubicBezTo>
                <a:cubicBezTo>
                  <a:pt x="5087337" y="847889"/>
                  <a:pt x="5130819" y="856042"/>
                  <a:pt x="5190606" y="828866"/>
                </a:cubicBezTo>
                <a:cubicBezTo>
                  <a:pt x="5187888" y="804407"/>
                  <a:pt x="5223217" y="804407"/>
                  <a:pt x="5223217" y="785384"/>
                </a:cubicBezTo>
                <a:cubicBezTo>
                  <a:pt x="5231370" y="785384"/>
                  <a:pt x="5247676" y="782667"/>
                  <a:pt x="5242240" y="771796"/>
                </a:cubicBezTo>
                <a:cubicBezTo>
                  <a:pt x="5247676" y="769079"/>
                  <a:pt x="5250393" y="782667"/>
                  <a:pt x="5255828" y="779949"/>
                </a:cubicBezTo>
                <a:cubicBezTo>
                  <a:pt x="5247676" y="788102"/>
                  <a:pt x="5244958" y="796254"/>
                  <a:pt x="5231370" y="801691"/>
                </a:cubicBezTo>
                <a:cubicBezTo>
                  <a:pt x="5239523" y="809841"/>
                  <a:pt x="5261264" y="798972"/>
                  <a:pt x="5263981" y="790819"/>
                </a:cubicBezTo>
                <a:cubicBezTo>
                  <a:pt x="5266699" y="793537"/>
                  <a:pt x="5266699" y="812560"/>
                  <a:pt x="5266699" y="820713"/>
                </a:cubicBezTo>
                <a:cubicBezTo>
                  <a:pt x="5247676" y="826148"/>
                  <a:pt x="5236805" y="809841"/>
                  <a:pt x="5212347" y="823430"/>
                </a:cubicBezTo>
                <a:cubicBezTo>
                  <a:pt x="5217782" y="831583"/>
                  <a:pt x="5228652" y="823430"/>
                  <a:pt x="5225935" y="837018"/>
                </a:cubicBezTo>
                <a:cubicBezTo>
                  <a:pt x="5239523" y="834301"/>
                  <a:pt x="5234088" y="820713"/>
                  <a:pt x="5244958" y="823430"/>
                </a:cubicBezTo>
                <a:cubicBezTo>
                  <a:pt x="5269416" y="837018"/>
                  <a:pt x="5217782" y="845171"/>
                  <a:pt x="5223217" y="861477"/>
                </a:cubicBezTo>
                <a:cubicBezTo>
                  <a:pt x="5204194" y="866912"/>
                  <a:pt x="5182453" y="869630"/>
                  <a:pt x="5168865" y="861477"/>
                </a:cubicBezTo>
                <a:cubicBezTo>
                  <a:pt x="5125384" y="888653"/>
                  <a:pt x="5081902" y="872347"/>
                  <a:pt x="5065597" y="910393"/>
                </a:cubicBezTo>
                <a:cubicBezTo>
                  <a:pt x="5092773" y="899524"/>
                  <a:pt x="5125384" y="915829"/>
                  <a:pt x="5160712" y="883217"/>
                </a:cubicBezTo>
                <a:cubicBezTo>
                  <a:pt x="5171583" y="888653"/>
                  <a:pt x="5179736" y="891370"/>
                  <a:pt x="5196041" y="883217"/>
                </a:cubicBezTo>
                <a:cubicBezTo>
                  <a:pt x="5204194" y="896805"/>
                  <a:pt x="5220500" y="899524"/>
                  <a:pt x="5244958" y="891370"/>
                </a:cubicBezTo>
                <a:cubicBezTo>
                  <a:pt x="5253111" y="910393"/>
                  <a:pt x="5220500" y="910393"/>
                  <a:pt x="5209629" y="913112"/>
                </a:cubicBezTo>
                <a:cubicBezTo>
                  <a:pt x="5212347" y="926699"/>
                  <a:pt x="5220500" y="926699"/>
                  <a:pt x="5231370" y="921264"/>
                </a:cubicBezTo>
                <a:cubicBezTo>
                  <a:pt x="5225935" y="940287"/>
                  <a:pt x="5209629" y="915829"/>
                  <a:pt x="5193324" y="929417"/>
                </a:cubicBezTo>
                <a:cubicBezTo>
                  <a:pt x="5187888" y="921264"/>
                  <a:pt x="5196041" y="918546"/>
                  <a:pt x="5190606" y="913112"/>
                </a:cubicBezTo>
                <a:cubicBezTo>
                  <a:pt x="5174300" y="918546"/>
                  <a:pt x="5179736" y="929417"/>
                  <a:pt x="5174300" y="937569"/>
                </a:cubicBezTo>
                <a:cubicBezTo>
                  <a:pt x="5179736" y="945722"/>
                  <a:pt x="5190606" y="937569"/>
                  <a:pt x="5198759" y="940287"/>
                </a:cubicBezTo>
                <a:cubicBezTo>
                  <a:pt x="5201476" y="945722"/>
                  <a:pt x="5204194" y="948440"/>
                  <a:pt x="5206912" y="951157"/>
                </a:cubicBezTo>
                <a:cubicBezTo>
                  <a:pt x="5209629" y="959310"/>
                  <a:pt x="5196041" y="962028"/>
                  <a:pt x="5204194" y="970180"/>
                </a:cubicBezTo>
                <a:cubicBezTo>
                  <a:pt x="5212347" y="970180"/>
                  <a:pt x="5212347" y="953875"/>
                  <a:pt x="5231370" y="951157"/>
                </a:cubicBezTo>
                <a:cubicBezTo>
                  <a:pt x="5228652" y="943004"/>
                  <a:pt x="5217782" y="951157"/>
                  <a:pt x="5212347" y="948440"/>
                </a:cubicBezTo>
                <a:cubicBezTo>
                  <a:pt x="5220500" y="937569"/>
                  <a:pt x="5242240" y="937569"/>
                  <a:pt x="5253111" y="937569"/>
                </a:cubicBezTo>
                <a:cubicBezTo>
                  <a:pt x="5261264" y="926699"/>
                  <a:pt x="5277569" y="915829"/>
                  <a:pt x="5291157" y="904958"/>
                </a:cubicBezTo>
                <a:cubicBezTo>
                  <a:pt x="5299310" y="907676"/>
                  <a:pt x="5285722" y="913112"/>
                  <a:pt x="5296592" y="918546"/>
                </a:cubicBezTo>
                <a:cubicBezTo>
                  <a:pt x="5280287" y="915829"/>
                  <a:pt x="5285722" y="932134"/>
                  <a:pt x="5277569" y="937569"/>
                </a:cubicBezTo>
                <a:cubicBezTo>
                  <a:pt x="5247676" y="940287"/>
                  <a:pt x="5228652" y="972898"/>
                  <a:pt x="5196041" y="975616"/>
                </a:cubicBezTo>
                <a:lnTo>
                  <a:pt x="5197472" y="978479"/>
                </a:lnTo>
                <a:lnTo>
                  <a:pt x="5195659" y="976083"/>
                </a:lnTo>
                <a:cubicBezTo>
                  <a:pt x="5188398" y="972389"/>
                  <a:pt x="5177698" y="979013"/>
                  <a:pt x="5171583" y="981051"/>
                </a:cubicBezTo>
                <a:cubicBezTo>
                  <a:pt x="5179736" y="1000074"/>
                  <a:pt x="5149842" y="1005509"/>
                  <a:pt x="5149842" y="1021815"/>
                </a:cubicBezTo>
                <a:cubicBezTo>
                  <a:pt x="5174300" y="1015700"/>
                  <a:pt x="5172772" y="997356"/>
                  <a:pt x="5184236" y="988566"/>
                </a:cubicBezTo>
                <a:lnTo>
                  <a:pt x="5200283" y="984100"/>
                </a:lnTo>
                <a:lnTo>
                  <a:pt x="5206912" y="997356"/>
                </a:lnTo>
                <a:cubicBezTo>
                  <a:pt x="5212347" y="991922"/>
                  <a:pt x="5220500" y="983768"/>
                  <a:pt x="5228652" y="986486"/>
                </a:cubicBezTo>
                <a:cubicBezTo>
                  <a:pt x="5225935" y="991922"/>
                  <a:pt x="5217782" y="997356"/>
                  <a:pt x="5217782" y="1005509"/>
                </a:cubicBezTo>
                <a:cubicBezTo>
                  <a:pt x="5220500" y="1013662"/>
                  <a:pt x="5225935" y="1016380"/>
                  <a:pt x="5231370" y="1016380"/>
                </a:cubicBezTo>
                <a:cubicBezTo>
                  <a:pt x="5236805" y="1008228"/>
                  <a:pt x="5236805" y="994639"/>
                  <a:pt x="5242240" y="986486"/>
                </a:cubicBezTo>
                <a:cubicBezTo>
                  <a:pt x="5239523" y="978333"/>
                  <a:pt x="5234088" y="972898"/>
                  <a:pt x="5225935" y="975616"/>
                </a:cubicBezTo>
                <a:cubicBezTo>
                  <a:pt x="5244958" y="964745"/>
                  <a:pt x="5274852" y="962028"/>
                  <a:pt x="5293875" y="964745"/>
                </a:cubicBezTo>
                <a:cubicBezTo>
                  <a:pt x="5291157" y="970180"/>
                  <a:pt x="5274852" y="970180"/>
                  <a:pt x="5288440" y="975616"/>
                </a:cubicBezTo>
                <a:cubicBezTo>
                  <a:pt x="5285722" y="983768"/>
                  <a:pt x="5263981" y="989204"/>
                  <a:pt x="5255828" y="989204"/>
                </a:cubicBezTo>
                <a:cubicBezTo>
                  <a:pt x="5247676" y="991922"/>
                  <a:pt x="5255828" y="1002792"/>
                  <a:pt x="5258546" y="1010944"/>
                </a:cubicBezTo>
                <a:cubicBezTo>
                  <a:pt x="5266699" y="1016380"/>
                  <a:pt x="5280287" y="1010944"/>
                  <a:pt x="5288440" y="1013662"/>
                </a:cubicBezTo>
                <a:cubicBezTo>
                  <a:pt x="5296592" y="1005509"/>
                  <a:pt x="5274852" y="1008228"/>
                  <a:pt x="5283004" y="1002792"/>
                </a:cubicBezTo>
                <a:cubicBezTo>
                  <a:pt x="5299310" y="1000074"/>
                  <a:pt x="5296592" y="1021815"/>
                  <a:pt x="5302028" y="1032685"/>
                </a:cubicBezTo>
                <a:cubicBezTo>
                  <a:pt x="5285722" y="1040838"/>
                  <a:pt x="5277569" y="1032685"/>
                  <a:pt x="5266699" y="1035403"/>
                </a:cubicBezTo>
                <a:cubicBezTo>
                  <a:pt x="5257188" y="1050349"/>
                  <a:pt x="5263302" y="1063937"/>
                  <a:pt x="5274852" y="1074128"/>
                </a:cubicBezTo>
                <a:lnTo>
                  <a:pt x="5282181" y="1078675"/>
                </a:lnTo>
                <a:lnTo>
                  <a:pt x="5280966" y="1078205"/>
                </a:lnTo>
                <a:cubicBezTo>
                  <a:pt x="5273493" y="1076846"/>
                  <a:pt x="5265340" y="1076166"/>
                  <a:pt x="5261264" y="1065296"/>
                </a:cubicBezTo>
                <a:cubicBezTo>
                  <a:pt x="5255828" y="1068013"/>
                  <a:pt x="5251752" y="1070731"/>
                  <a:pt x="5247336" y="1073449"/>
                </a:cubicBezTo>
                <a:lnTo>
                  <a:pt x="5235491" y="1079498"/>
                </a:lnTo>
                <a:lnTo>
                  <a:pt x="5242920" y="1068353"/>
                </a:lnTo>
                <a:cubicBezTo>
                  <a:pt x="5244958" y="1063937"/>
                  <a:pt x="5247675" y="1059861"/>
                  <a:pt x="5255828" y="1057143"/>
                </a:cubicBezTo>
                <a:cubicBezTo>
                  <a:pt x="5244958" y="1038120"/>
                  <a:pt x="5239523" y="1019097"/>
                  <a:pt x="5223217" y="1021815"/>
                </a:cubicBezTo>
                <a:cubicBezTo>
                  <a:pt x="5228652" y="1032685"/>
                  <a:pt x="5234088" y="1040838"/>
                  <a:pt x="5242240" y="1046273"/>
                </a:cubicBezTo>
                <a:cubicBezTo>
                  <a:pt x="5232729" y="1050349"/>
                  <a:pt x="5230011" y="1055785"/>
                  <a:pt x="5230011" y="1061899"/>
                </a:cubicBezTo>
                <a:lnTo>
                  <a:pt x="5233828" y="1080347"/>
                </a:lnTo>
                <a:lnTo>
                  <a:pt x="5231370" y="1081602"/>
                </a:lnTo>
                <a:cubicBezTo>
                  <a:pt x="5225935" y="1078884"/>
                  <a:pt x="5223217" y="1078884"/>
                  <a:pt x="5217782" y="1076167"/>
                </a:cubicBezTo>
                <a:cubicBezTo>
                  <a:pt x="5220500" y="1073449"/>
                  <a:pt x="5223217" y="1068014"/>
                  <a:pt x="5217782" y="1062579"/>
                </a:cubicBezTo>
                <a:cubicBezTo>
                  <a:pt x="5196041" y="1073449"/>
                  <a:pt x="5217782" y="1092472"/>
                  <a:pt x="5223217" y="1097906"/>
                </a:cubicBezTo>
                <a:cubicBezTo>
                  <a:pt x="5215064" y="1108779"/>
                  <a:pt x="5206912" y="1100625"/>
                  <a:pt x="5193324" y="1108779"/>
                </a:cubicBezTo>
                <a:cubicBezTo>
                  <a:pt x="5147124" y="1146824"/>
                  <a:pt x="5247676" y="1176719"/>
                  <a:pt x="5231370" y="1122366"/>
                </a:cubicBezTo>
                <a:cubicBezTo>
                  <a:pt x="5215064" y="1119648"/>
                  <a:pt x="5209629" y="1141389"/>
                  <a:pt x="5196041" y="1138671"/>
                </a:cubicBezTo>
                <a:cubicBezTo>
                  <a:pt x="5215064" y="1116931"/>
                  <a:pt x="5242240" y="1100625"/>
                  <a:pt x="5253111" y="1076167"/>
                </a:cubicBezTo>
                <a:cubicBezTo>
                  <a:pt x="5255828" y="1081602"/>
                  <a:pt x="5253111" y="1089755"/>
                  <a:pt x="5261264" y="1087037"/>
                </a:cubicBezTo>
                <a:cubicBezTo>
                  <a:pt x="5261264" y="1084319"/>
                  <a:pt x="5272134" y="1073449"/>
                  <a:pt x="5272134" y="1078884"/>
                </a:cubicBezTo>
                <a:cubicBezTo>
                  <a:pt x="5277569" y="1089755"/>
                  <a:pt x="5288440" y="1092472"/>
                  <a:pt x="5296592" y="1095190"/>
                </a:cubicBezTo>
                <a:lnTo>
                  <a:pt x="5292260" y="1084926"/>
                </a:lnTo>
                <a:lnTo>
                  <a:pt x="5294979" y="1086612"/>
                </a:lnTo>
                <a:cubicBezTo>
                  <a:pt x="5302198" y="1089754"/>
                  <a:pt x="5309501" y="1091793"/>
                  <a:pt x="5315616" y="1092472"/>
                </a:cubicBezTo>
                <a:cubicBezTo>
                  <a:pt x="5315616" y="1100625"/>
                  <a:pt x="5307463" y="1092472"/>
                  <a:pt x="5302028" y="1097906"/>
                </a:cubicBezTo>
                <a:cubicBezTo>
                  <a:pt x="5307463" y="1103342"/>
                  <a:pt x="5312898" y="1111495"/>
                  <a:pt x="5315616" y="1119648"/>
                </a:cubicBezTo>
                <a:cubicBezTo>
                  <a:pt x="5323768" y="1111495"/>
                  <a:pt x="5334639" y="1103342"/>
                  <a:pt x="5340074" y="1095190"/>
                </a:cubicBezTo>
                <a:cubicBezTo>
                  <a:pt x="5337357" y="1095190"/>
                  <a:pt x="5335998" y="1092472"/>
                  <a:pt x="5334639" y="1090094"/>
                </a:cubicBezTo>
                <a:lnTo>
                  <a:pt x="5333559" y="1089486"/>
                </a:lnTo>
                <a:lnTo>
                  <a:pt x="5334299" y="1088056"/>
                </a:lnTo>
                <a:cubicBezTo>
                  <a:pt x="5337356" y="1082281"/>
                  <a:pt x="5341432" y="1077526"/>
                  <a:pt x="5350944" y="1081602"/>
                </a:cubicBezTo>
                <a:lnTo>
                  <a:pt x="5343431" y="1075720"/>
                </a:lnTo>
                <a:lnTo>
                  <a:pt x="5343938" y="1075318"/>
                </a:lnTo>
                <a:cubicBezTo>
                  <a:pt x="5355531" y="1060540"/>
                  <a:pt x="5359098" y="1038120"/>
                  <a:pt x="5367250" y="1021815"/>
                </a:cubicBezTo>
                <a:cubicBezTo>
                  <a:pt x="5375403" y="1046273"/>
                  <a:pt x="5356380" y="1062579"/>
                  <a:pt x="5356380" y="1084319"/>
                </a:cubicBezTo>
                <a:cubicBezTo>
                  <a:pt x="5361815" y="1089755"/>
                  <a:pt x="5364532" y="1057143"/>
                  <a:pt x="5372685" y="1076167"/>
                </a:cubicBezTo>
                <a:cubicBezTo>
                  <a:pt x="5384915" y="1059861"/>
                  <a:pt x="5395615" y="1028269"/>
                  <a:pt x="5416252" y="1015785"/>
                </a:cubicBezTo>
                <a:lnTo>
                  <a:pt x="5438227" y="1011421"/>
                </a:lnTo>
                <a:lnTo>
                  <a:pt x="5435190" y="1019097"/>
                </a:lnTo>
                <a:cubicBezTo>
                  <a:pt x="5435190" y="1029968"/>
                  <a:pt x="5451495" y="1024532"/>
                  <a:pt x="5446060" y="1029968"/>
                </a:cubicBezTo>
                <a:cubicBezTo>
                  <a:pt x="5429755" y="1029968"/>
                  <a:pt x="5405296" y="1043555"/>
                  <a:pt x="5410731" y="1054426"/>
                </a:cubicBezTo>
                <a:cubicBezTo>
                  <a:pt x="5443342" y="1046273"/>
                  <a:pt x="5465083" y="1021815"/>
                  <a:pt x="5478671" y="1013662"/>
                </a:cubicBezTo>
                <a:cubicBezTo>
                  <a:pt x="5486824" y="1021815"/>
                  <a:pt x="5475954" y="1021815"/>
                  <a:pt x="5475954" y="1027250"/>
                </a:cubicBezTo>
                <a:cubicBezTo>
                  <a:pt x="5500412" y="1016380"/>
                  <a:pt x="5533023" y="1013662"/>
                  <a:pt x="5541176" y="994639"/>
                </a:cubicBezTo>
                <a:cubicBezTo>
                  <a:pt x="5524870" y="986486"/>
                  <a:pt x="5500412" y="1013662"/>
                  <a:pt x="5484106" y="1008228"/>
                </a:cubicBezTo>
                <a:cubicBezTo>
                  <a:pt x="5480030" y="1000074"/>
                  <a:pt x="5486654" y="996507"/>
                  <a:pt x="5486781" y="991794"/>
                </a:cubicBezTo>
                <a:lnTo>
                  <a:pt x="5484141" y="986555"/>
                </a:lnTo>
                <a:lnTo>
                  <a:pt x="5486824" y="978673"/>
                </a:lnTo>
                <a:cubicBezTo>
                  <a:pt x="5489541" y="973577"/>
                  <a:pt x="5493618" y="968821"/>
                  <a:pt x="5500412" y="964745"/>
                </a:cubicBezTo>
                <a:cubicBezTo>
                  <a:pt x="5511282" y="972898"/>
                  <a:pt x="5486824" y="981051"/>
                  <a:pt x="5492259" y="991922"/>
                </a:cubicBezTo>
                <a:cubicBezTo>
                  <a:pt x="5503129" y="994639"/>
                  <a:pt x="5514000" y="994639"/>
                  <a:pt x="5524870" y="989204"/>
                </a:cubicBezTo>
                <a:cubicBezTo>
                  <a:pt x="5527588" y="985128"/>
                  <a:pt x="5528777" y="980541"/>
                  <a:pt x="5529329" y="975743"/>
                </a:cubicBezTo>
                <a:lnTo>
                  <a:pt x="5529496" y="971885"/>
                </a:lnTo>
                <a:lnTo>
                  <a:pt x="5532004" y="970180"/>
                </a:lnTo>
                <a:cubicBezTo>
                  <a:pt x="5537099" y="967463"/>
                  <a:pt x="5542534" y="964745"/>
                  <a:pt x="5541176" y="959310"/>
                </a:cubicBezTo>
                <a:cubicBezTo>
                  <a:pt x="5538459" y="959310"/>
                  <a:pt x="5535741" y="958631"/>
                  <a:pt x="5532683" y="958631"/>
                </a:cubicBezTo>
                <a:lnTo>
                  <a:pt x="5530206" y="959430"/>
                </a:lnTo>
                <a:lnTo>
                  <a:pt x="5532132" y="946784"/>
                </a:lnTo>
                <a:cubicBezTo>
                  <a:pt x="5533703" y="942326"/>
                  <a:pt x="5536420" y="938249"/>
                  <a:pt x="5541176" y="934852"/>
                </a:cubicBezTo>
                <a:cubicBezTo>
                  <a:pt x="5546611" y="948440"/>
                  <a:pt x="5543893" y="962028"/>
                  <a:pt x="5541176" y="972898"/>
                </a:cubicBezTo>
                <a:cubicBezTo>
                  <a:pt x="5571069" y="962028"/>
                  <a:pt x="5584657" y="926699"/>
                  <a:pt x="5614551" y="910393"/>
                </a:cubicBezTo>
                <a:cubicBezTo>
                  <a:pt x="5613192" y="906317"/>
                  <a:pt x="5607757" y="904958"/>
                  <a:pt x="5603341" y="903260"/>
                </a:cubicBezTo>
                <a:lnTo>
                  <a:pt x="5601014" y="901841"/>
                </a:lnTo>
                <a:lnTo>
                  <a:pt x="5611001" y="892866"/>
                </a:lnTo>
                <a:lnTo>
                  <a:pt x="5611833" y="899524"/>
                </a:lnTo>
                <a:cubicBezTo>
                  <a:pt x="5630856" y="891370"/>
                  <a:pt x="5611833" y="872347"/>
                  <a:pt x="5639009" y="866912"/>
                </a:cubicBezTo>
                <a:cubicBezTo>
                  <a:pt x="5639009" y="877782"/>
                  <a:pt x="5644444" y="894088"/>
                  <a:pt x="5655315" y="896805"/>
                </a:cubicBezTo>
                <a:cubicBezTo>
                  <a:pt x="5652597" y="921264"/>
                  <a:pt x="5611833" y="932134"/>
                  <a:pt x="5611833" y="956592"/>
                </a:cubicBezTo>
                <a:cubicBezTo>
                  <a:pt x="5628139" y="945722"/>
                  <a:pt x="5658032" y="923981"/>
                  <a:pt x="5671620" y="904958"/>
                </a:cubicBezTo>
                <a:cubicBezTo>
                  <a:pt x="5679773" y="913112"/>
                  <a:pt x="5687926" y="926699"/>
                  <a:pt x="5693361" y="943004"/>
                </a:cubicBezTo>
                <a:cubicBezTo>
                  <a:pt x="5687926" y="943004"/>
                  <a:pt x="5679773" y="940287"/>
                  <a:pt x="5674338" y="937569"/>
                </a:cubicBezTo>
                <a:cubicBezTo>
                  <a:pt x="5668903" y="943004"/>
                  <a:pt x="5668903" y="948440"/>
                  <a:pt x="5666185" y="953875"/>
                </a:cubicBezTo>
                <a:cubicBezTo>
                  <a:pt x="5658032" y="945722"/>
                  <a:pt x="5647162" y="945722"/>
                  <a:pt x="5636291" y="945722"/>
                </a:cubicBezTo>
                <a:cubicBezTo>
                  <a:pt x="5625421" y="956592"/>
                  <a:pt x="5628139" y="983768"/>
                  <a:pt x="5644444" y="989204"/>
                </a:cubicBezTo>
                <a:cubicBezTo>
                  <a:pt x="5660750" y="983768"/>
                  <a:pt x="5633574" y="962028"/>
                  <a:pt x="5652597" y="956592"/>
                </a:cubicBezTo>
                <a:cubicBezTo>
                  <a:pt x="5655315" y="964745"/>
                  <a:pt x="5660750" y="972898"/>
                  <a:pt x="5663467" y="981051"/>
                </a:cubicBezTo>
                <a:cubicBezTo>
                  <a:pt x="5671620" y="986486"/>
                  <a:pt x="5690643" y="970180"/>
                  <a:pt x="5701514" y="972898"/>
                </a:cubicBezTo>
                <a:cubicBezTo>
                  <a:pt x="5690643" y="994639"/>
                  <a:pt x="5649879" y="997356"/>
                  <a:pt x="5628139" y="1005509"/>
                </a:cubicBezTo>
                <a:cubicBezTo>
                  <a:pt x="5636291" y="1024532"/>
                  <a:pt x="5658032" y="1010944"/>
                  <a:pt x="5674338" y="1016380"/>
                </a:cubicBezTo>
                <a:cubicBezTo>
                  <a:pt x="5647162" y="1032685"/>
                  <a:pt x="5619986" y="1010944"/>
                  <a:pt x="5587375" y="1027250"/>
                </a:cubicBezTo>
                <a:cubicBezTo>
                  <a:pt x="5579222" y="1032685"/>
                  <a:pt x="5592810" y="1035403"/>
                  <a:pt x="5584657" y="1040838"/>
                </a:cubicBezTo>
                <a:cubicBezTo>
                  <a:pt x="5576504" y="1048991"/>
                  <a:pt x="5576504" y="1035403"/>
                  <a:pt x="5571069" y="1035403"/>
                </a:cubicBezTo>
                <a:cubicBezTo>
                  <a:pt x="5534382" y="1059861"/>
                  <a:pt x="5479351" y="1064447"/>
                  <a:pt x="5448396" y="1084701"/>
                </a:cubicBezTo>
                <a:lnTo>
                  <a:pt x="5437694" y="1098127"/>
                </a:lnTo>
                <a:lnTo>
                  <a:pt x="5437907" y="1092472"/>
                </a:lnTo>
                <a:cubicBezTo>
                  <a:pt x="5427037" y="1100625"/>
                  <a:pt x="5416167" y="1119648"/>
                  <a:pt x="5405296" y="1122366"/>
                </a:cubicBezTo>
                <a:cubicBezTo>
                  <a:pt x="5410731" y="1119648"/>
                  <a:pt x="5405296" y="1103342"/>
                  <a:pt x="5397143" y="1106060"/>
                </a:cubicBezTo>
                <a:cubicBezTo>
                  <a:pt x="5399861" y="1119648"/>
                  <a:pt x="5378120" y="1133237"/>
                  <a:pt x="5394426" y="1141389"/>
                </a:cubicBezTo>
                <a:cubicBezTo>
                  <a:pt x="5410731" y="1133237"/>
                  <a:pt x="5421602" y="1141389"/>
                  <a:pt x="5440625" y="1130518"/>
                </a:cubicBezTo>
                <a:lnTo>
                  <a:pt x="5437563" y="1112452"/>
                </a:lnTo>
                <a:lnTo>
                  <a:pt x="5460667" y="1114552"/>
                </a:lnTo>
                <a:lnTo>
                  <a:pt x="5463943" y="1116058"/>
                </a:lnTo>
                <a:lnTo>
                  <a:pt x="5458162" y="1117907"/>
                </a:lnTo>
                <a:cubicBezTo>
                  <a:pt x="5455062" y="1120497"/>
                  <a:pt x="5454212" y="1124403"/>
                  <a:pt x="5456930" y="1130518"/>
                </a:cubicBezTo>
                <a:cubicBezTo>
                  <a:pt x="5458289" y="1126442"/>
                  <a:pt x="5460327" y="1123724"/>
                  <a:pt x="5463045" y="1122026"/>
                </a:cubicBezTo>
                <a:lnTo>
                  <a:pt x="5472255" y="1119877"/>
                </a:lnTo>
                <a:lnTo>
                  <a:pt x="5473569" y="1120481"/>
                </a:lnTo>
                <a:lnTo>
                  <a:pt x="5478671" y="1133237"/>
                </a:lnTo>
                <a:lnTo>
                  <a:pt x="5481282" y="1131428"/>
                </a:lnTo>
                <a:lnTo>
                  <a:pt x="5484106" y="1135954"/>
                </a:lnTo>
                <a:cubicBezTo>
                  <a:pt x="5494977" y="1141389"/>
                  <a:pt x="5516717" y="1122366"/>
                  <a:pt x="5527588" y="1127802"/>
                </a:cubicBezTo>
                <a:cubicBezTo>
                  <a:pt x="5538458" y="1141389"/>
                  <a:pt x="5527588" y="1152259"/>
                  <a:pt x="5530305" y="1157694"/>
                </a:cubicBezTo>
                <a:cubicBezTo>
                  <a:pt x="5505847" y="1154977"/>
                  <a:pt x="5475954" y="1163130"/>
                  <a:pt x="5446060" y="1171282"/>
                </a:cubicBezTo>
                <a:cubicBezTo>
                  <a:pt x="5448778" y="1201177"/>
                  <a:pt x="5497694" y="1198459"/>
                  <a:pt x="5527588" y="1174001"/>
                </a:cubicBezTo>
                <a:cubicBezTo>
                  <a:pt x="5530305" y="1179436"/>
                  <a:pt x="5538458" y="1176719"/>
                  <a:pt x="5541176" y="1187589"/>
                </a:cubicBezTo>
                <a:cubicBezTo>
                  <a:pt x="5565634" y="1179436"/>
                  <a:pt x="5568352" y="1163130"/>
                  <a:pt x="5568352" y="1146824"/>
                </a:cubicBezTo>
                <a:cubicBezTo>
                  <a:pt x="5576504" y="1141389"/>
                  <a:pt x="5581940" y="1138671"/>
                  <a:pt x="5590092" y="1135954"/>
                </a:cubicBezTo>
                <a:cubicBezTo>
                  <a:pt x="5595528" y="1149542"/>
                  <a:pt x="5576504" y="1154977"/>
                  <a:pt x="5576504" y="1168565"/>
                </a:cubicBezTo>
                <a:cubicBezTo>
                  <a:pt x="5587375" y="1168565"/>
                  <a:pt x="5590092" y="1152259"/>
                  <a:pt x="5609115" y="1152259"/>
                </a:cubicBezTo>
                <a:cubicBezTo>
                  <a:pt x="5611833" y="1149542"/>
                  <a:pt x="5600963" y="1144106"/>
                  <a:pt x="5600963" y="1135954"/>
                </a:cubicBezTo>
                <a:lnTo>
                  <a:pt x="5612864" y="1131085"/>
                </a:lnTo>
                <a:lnTo>
                  <a:pt x="5618627" y="1134256"/>
                </a:lnTo>
                <a:cubicBezTo>
                  <a:pt x="5619986" y="1136633"/>
                  <a:pt x="5621345" y="1138672"/>
                  <a:pt x="5625421" y="1135954"/>
                </a:cubicBezTo>
                <a:cubicBezTo>
                  <a:pt x="5633574" y="1127802"/>
                  <a:pt x="5639009" y="1116931"/>
                  <a:pt x="5630856" y="1103342"/>
                </a:cubicBezTo>
                <a:cubicBezTo>
                  <a:pt x="5624062" y="1106060"/>
                  <a:pt x="5619306" y="1109458"/>
                  <a:pt x="5616249" y="1113874"/>
                </a:cubicBezTo>
                <a:lnTo>
                  <a:pt x="5614211" y="1121555"/>
                </a:lnTo>
                <a:lnTo>
                  <a:pt x="5604360" y="1123767"/>
                </a:lnTo>
                <a:cubicBezTo>
                  <a:pt x="5584488" y="1131028"/>
                  <a:pt x="5561558" y="1144786"/>
                  <a:pt x="5549329" y="1138671"/>
                </a:cubicBezTo>
                <a:cubicBezTo>
                  <a:pt x="5557481" y="1141389"/>
                  <a:pt x="5565634" y="1119648"/>
                  <a:pt x="5568352" y="1116931"/>
                </a:cubicBezTo>
                <a:cubicBezTo>
                  <a:pt x="5573787" y="1114213"/>
                  <a:pt x="5587375" y="1122366"/>
                  <a:pt x="5595528" y="1119648"/>
                </a:cubicBezTo>
                <a:cubicBezTo>
                  <a:pt x="5617268" y="1111495"/>
                  <a:pt x="5636291" y="1081602"/>
                  <a:pt x="5660750" y="1089755"/>
                </a:cubicBezTo>
                <a:cubicBezTo>
                  <a:pt x="5655315" y="1065296"/>
                  <a:pt x="5628139" y="1089755"/>
                  <a:pt x="5614551" y="1078884"/>
                </a:cubicBezTo>
                <a:cubicBezTo>
                  <a:pt x="5647162" y="1051708"/>
                  <a:pt x="5666185" y="1084319"/>
                  <a:pt x="5696079" y="1076167"/>
                </a:cubicBezTo>
                <a:cubicBezTo>
                  <a:pt x="5685208" y="1081602"/>
                  <a:pt x="5696079" y="1097906"/>
                  <a:pt x="5687926" y="1106060"/>
                </a:cubicBezTo>
                <a:cubicBezTo>
                  <a:pt x="5690643" y="1111495"/>
                  <a:pt x="5698796" y="1103342"/>
                  <a:pt x="5701514" y="1106060"/>
                </a:cubicBezTo>
                <a:cubicBezTo>
                  <a:pt x="5715102" y="1125083"/>
                  <a:pt x="5704231" y="1144106"/>
                  <a:pt x="5685208" y="1135954"/>
                </a:cubicBezTo>
                <a:cubicBezTo>
                  <a:pt x="5682491" y="1138671"/>
                  <a:pt x="5687926" y="1144106"/>
                  <a:pt x="5687926" y="1146824"/>
                </a:cubicBezTo>
                <a:cubicBezTo>
                  <a:pt x="5677055" y="1149542"/>
                  <a:pt x="5674338" y="1135954"/>
                  <a:pt x="5663467" y="1141389"/>
                </a:cubicBezTo>
                <a:cubicBezTo>
                  <a:pt x="5660750" y="1144106"/>
                  <a:pt x="5660750" y="1146824"/>
                  <a:pt x="5658032" y="1146824"/>
                </a:cubicBezTo>
                <a:cubicBezTo>
                  <a:pt x="5663467" y="1160412"/>
                  <a:pt x="5677055" y="1160412"/>
                  <a:pt x="5690643" y="1163130"/>
                </a:cubicBezTo>
                <a:cubicBezTo>
                  <a:pt x="5677055" y="1174001"/>
                  <a:pt x="5660750" y="1160412"/>
                  <a:pt x="5644444" y="1163130"/>
                </a:cubicBezTo>
                <a:cubicBezTo>
                  <a:pt x="5639009" y="1168565"/>
                  <a:pt x="5639009" y="1174001"/>
                  <a:pt x="5636291" y="1179436"/>
                </a:cubicBezTo>
                <a:cubicBezTo>
                  <a:pt x="5641727" y="1187589"/>
                  <a:pt x="5647162" y="1174001"/>
                  <a:pt x="5658032" y="1171282"/>
                </a:cubicBezTo>
                <a:cubicBezTo>
                  <a:pt x="5658032" y="1190306"/>
                  <a:pt x="5595528" y="1187589"/>
                  <a:pt x="5611833" y="1212047"/>
                </a:cubicBezTo>
                <a:cubicBezTo>
                  <a:pt x="5600963" y="1203895"/>
                  <a:pt x="5573787" y="1193024"/>
                  <a:pt x="5581940" y="1217482"/>
                </a:cubicBezTo>
                <a:cubicBezTo>
                  <a:pt x="5587375" y="1239223"/>
                  <a:pt x="5649879" y="1239223"/>
                  <a:pt x="5663467" y="1241941"/>
                </a:cubicBezTo>
                <a:cubicBezTo>
                  <a:pt x="5658032" y="1250094"/>
                  <a:pt x="5652597" y="1255528"/>
                  <a:pt x="5641727" y="1260963"/>
                </a:cubicBezTo>
                <a:cubicBezTo>
                  <a:pt x="5644444" y="1271834"/>
                  <a:pt x="5658032" y="1258246"/>
                  <a:pt x="5658032" y="1271834"/>
                </a:cubicBezTo>
                <a:cubicBezTo>
                  <a:pt x="5649879" y="1274552"/>
                  <a:pt x="5639009" y="1282705"/>
                  <a:pt x="5633574" y="1279986"/>
                </a:cubicBezTo>
                <a:cubicBezTo>
                  <a:pt x="5630856" y="1269117"/>
                  <a:pt x="5633574" y="1263681"/>
                  <a:pt x="5633574" y="1255528"/>
                </a:cubicBezTo>
                <a:cubicBezTo>
                  <a:pt x="5600963" y="1252811"/>
                  <a:pt x="5587375" y="1212047"/>
                  <a:pt x="5552046" y="1214765"/>
                </a:cubicBezTo>
                <a:cubicBezTo>
                  <a:pt x="5543893" y="1220200"/>
                  <a:pt x="5543893" y="1233788"/>
                  <a:pt x="5533023" y="1239223"/>
                </a:cubicBezTo>
                <a:cubicBezTo>
                  <a:pt x="5522153" y="1228353"/>
                  <a:pt x="5541176" y="1228353"/>
                  <a:pt x="5538458" y="1220200"/>
                </a:cubicBezTo>
                <a:cubicBezTo>
                  <a:pt x="5524870" y="1212047"/>
                  <a:pt x="5530305" y="1236506"/>
                  <a:pt x="5511282" y="1239223"/>
                </a:cubicBezTo>
                <a:cubicBezTo>
                  <a:pt x="5514000" y="1231070"/>
                  <a:pt x="5505847" y="1225635"/>
                  <a:pt x="5500412" y="1222918"/>
                </a:cubicBezTo>
                <a:cubicBezTo>
                  <a:pt x="5505847" y="1217482"/>
                  <a:pt x="5524870" y="1217482"/>
                  <a:pt x="5527588" y="1203895"/>
                </a:cubicBezTo>
                <a:cubicBezTo>
                  <a:pt x="5511282" y="1201177"/>
                  <a:pt x="5492259" y="1225635"/>
                  <a:pt x="5473236" y="1222918"/>
                </a:cubicBezTo>
                <a:cubicBezTo>
                  <a:pt x="5475954" y="1233788"/>
                  <a:pt x="5486824" y="1236506"/>
                  <a:pt x="5500412" y="1228353"/>
                </a:cubicBezTo>
                <a:cubicBezTo>
                  <a:pt x="5497694" y="1247376"/>
                  <a:pt x="5533023" y="1260963"/>
                  <a:pt x="5511282" y="1274552"/>
                </a:cubicBezTo>
                <a:cubicBezTo>
                  <a:pt x="5516717" y="1241941"/>
                  <a:pt x="5446060" y="1222918"/>
                  <a:pt x="5440625" y="1263681"/>
                </a:cubicBezTo>
                <a:cubicBezTo>
                  <a:pt x="5424319" y="1244658"/>
                  <a:pt x="5386273" y="1271834"/>
                  <a:pt x="5364532" y="1258246"/>
                </a:cubicBezTo>
                <a:cubicBezTo>
                  <a:pt x="5342792" y="1274552"/>
                  <a:pt x="5312898" y="1293574"/>
                  <a:pt x="5283004" y="1299009"/>
                </a:cubicBezTo>
                <a:cubicBezTo>
                  <a:pt x="5280287" y="1293574"/>
                  <a:pt x="5283004" y="1293574"/>
                  <a:pt x="5280287" y="1288140"/>
                </a:cubicBezTo>
                <a:cubicBezTo>
                  <a:pt x="5288440" y="1282705"/>
                  <a:pt x="5285722" y="1290857"/>
                  <a:pt x="5285722" y="1293574"/>
                </a:cubicBezTo>
                <a:cubicBezTo>
                  <a:pt x="5307463" y="1279986"/>
                  <a:pt x="5323768" y="1263681"/>
                  <a:pt x="5356380" y="1252811"/>
                </a:cubicBezTo>
                <a:cubicBezTo>
                  <a:pt x="5361815" y="1244658"/>
                  <a:pt x="5345509" y="1252811"/>
                  <a:pt x="5345509" y="1244658"/>
                </a:cubicBezTo>
                <a:cubicBezTo>
                  <a:pt x="5353662" y="1236506"/>
                  <a:pt x="5361815" y="1233788"/>
                  <a:pt x="5369968" y="1239223"/>
                </a:cubicBezTo>
                <a:cubicBezTo>
                  <a:pt x="5361815" y="1217482"/>
                  <a:pt x="5312898" y="1241941"/>
                  <a:pt x="5288440" y="1252811"/>
                </a:cubicBezTo>
                <a:cubicBezTo>
                  <a:pt x="5288440" y="1241941"/>
                  <a:pt x="5283004" y="1241941"/>
                  <a:pt x="5277569" y="1239223"/>
                </a:cubicBezTo>
                <a:cubicBezTo>
                  <a:pt x="5244958" y="1250094"/>
                  <a:pt x="5234088" y="1255528"/>
                  <a:pt x="5223217" y="1274552"/>
                </a:cubicBezTo>
                <a:cubicBezTo>
                  <a:pt x="5204194" y="1271834"/>
                  <a:pt x="5177018" y="1288140"/>
                  <a:pt x="5155277" y="1290857"/>
                </a:cubicBezTo>
                <a:cubicBezTo>
                  <a:pt x="5149842" y="1271834"/>
                  <a:pt x="5122666" y="1293574"/>
                  <a:pt x="5109078" y="1288140"/>
                </a:cubicBezTo>
                <a:cubicBezTo>
                  <a:pt x="5111796" y="1301727"/>
                  <a:pt x="5081902" y="1309881"/>
                  <a:pt x="5073750" y="1307163"/>
                </a:cubicBezTo>
                <a:cubicBezTo>
                  <a:pt x="5073750" y="1320751"/>
                  <a:pt x="5060162" y="1328904"/>
                  <a:pt x="5062879" y="1342491"/>
                </a:cubicBezTo>
                <a:cubicBezTo>
                  <a:pt x="5057444" y="1345209"/>
                  <a:pt x="5052009" y="1347927"/>
                  <a:pt x="5046574" y="1350644"/>
                </a:cubicBezTo>
                <a:cubicBezTo>
                  <a:pt x="5030268" y="1385972"/>
                  <a:pt x="5005810" y="1415866"/>
                  <a:pt x="4967763" y="1443043"/>
                </a:cubicBezTo>
                <a:cubicBezTo>
                  <a:pt x="4962328" y="1448477"/>
                  <a:pt x="4962328" y="1453912"/>
                  <a:pt x="4965046" y="1459347"/>
                </a:cubicBezTo>
                <a:cubicBezTo>
                  <a:pt x="5052009" y="1445759"/>
                  <a:pt x="5087337" y="1380537"/>
                  <a:pt x="5106361" y="1331621"/>
                </a:cubicBezTo>
                <a:cubicBezTo>
                  <a:pt x="5111117" y="1332979"/>
                  <a:pt x="5116892" y="1332852"/>
                  <a:pt x="5123330" y="1331727"/>
                </a:cubicBezTo>
                <a:lnTo>
                  <a:pt x="5138867" y="1327365"/>
                </a:lnTo>
                <a:lnTo>
                  <a:pt x="5136254" y="1328904"/>
                </a:lnTo>
                <a:cubicBezTo>
                  <a:pt x="5141689" y="1337055"/>
                  <a:pt x="5133536" y="1342491"/>
                  <a:pt x="5138972" y="1350644"/>
                </a:cubicBezTo>
                <a:cubicBezTo>
                  <a:pt x="5155277" y="1342491"/>
                  <a:pt x="5166148" y="1350644"/>
                  <a:pt x="5182453" y="1347927"/>
                </a:cubicBezTo>
                <a:cubicBezTo>
                  <a:pt x="5190606" y="1347927"/>
                  <a:pt x="5174300" y="1337055"/>
                  <a:pt x="5182453" y="1334339"/>
                </a:cubicBezTo>
                <a:cubicBezTo>
                  <a:pt x="5187888" y="1334339"/>
                  <a:pt x="5201476" y="1342491"/>
                  <a:pt x="5204194" y="1331621"/>
                </a:cubicBezTo>
                <a:cubicBezTo>
                  <a:pt x="5194683" y="1326186"/>
                  <a:pt x="5184492" y="1319392"/>
                  <a:pt x="5173281" y="1317014"/>
                </a:cubicBezTo>
                <a:lnTo>
                  <a:pt x="5166022" y="1317205"/>
                </a:lnTo>
                <a:lnTo>
                  <a:pt x="5189587" y="1307842"/>
                </a:lnTo>
                <a:cubicBezTo>
                  <a:pt x="5218462" y="1296971"/>
                  <a:pt x="5240882" y="1293574"/>
                  <a:pt x="5234088" y="1328904"/>
                </a:cubicBezTo>
                <a:cubicBezTo>
                  <a:pt x="5239523" y="1331621"/>
                  <a:pt x="5247676" y="1331621"/>
                  <a:pt x="5253111" y="1331621"/>
                </a:cubicBezTo>
                <a:cubicBezTo>
                  <a:pt x="5263981" y="1323468"/>
                  <a:pt x="5244958" y="1318033"/>
                  <a:pt x="5244958" y="1304444"/>
                </a:cubicBezTo>
                <a:cubicBezTo>
                  <a:pt x="5258546" y="1304444"/>
                  <a:pt x="5261264" y="1323468"/>
                  <a:pt x="5272134" y="1320751"/>
                </a:cubicBezTo>
                <a:cubicBezTo>
                  <a:pt x="5280287" y="1315315"/>
                  <a:pt x="5280287" y="1307163"/>
                  <a:pt x="5293875" y="1304444"/>
                </a:cubicBezTo>
                <a:cubicBezTo>
                  <a:pt x="5299310" y="1304444"/>
                  <a:pt x="5302028" y="1309881"/>
                  <a:pt x="5307463" y="1309881"/>
                </a:cubicBezTo>
                <a:cubicBezTo>
                  <a:pt x="5293875" y="1323468"/>
                  <a:pt x="5255828" y="1328904"/>
                  <a:pt x="5274852" y="1353362"/>
                </a:cubicBezTo>
                <a:cubicBezTo>
                  <a:pt x="5269416" y="1356079"/>
                  <a:pt x="5266699" y="1342491"/>
                  <a:pt x="5261264" y="1342491"/>
                </a:cubicBezTo>
                <a:cubicBezTo>
                  <a:pt x="5253111" y="1347927"/>
                  <a:pt x="5255828" y="1353362"/>
                  <a:pt x="5258546" y="1361515"/>
                </a:cubicBezTo>
                <a:cubicBezTo>
                  <a:pt x="5239523" y="1342491"/>
                  <a:pt x="5242240" y="1383256"/>
                  <a:pt x="5223217" y="1372385"/>
                </a:cubicBezTo>
                <a:cubicBezTo>
                  <a:pt x="5212347" y="1380537"/>
                  <a:pt x="5231370" y="1396844"/>
                  <a:pt x="5239523" y="1394126"/>
                </a:cubicBezTo>
                <a:cubicBezTo>
                  <a:pt x="5253111" y="1391407"/>
                  <a:pt x="5239523" y="1377819"/>
                  <a:pt x="5250393" y="1372385"/>
                </a:cubicBezTo>
                <a:cubicBezTo>
                  <a:pt x="5269416" y="1396844"/>
                  <a:pt x="5291157" y="1415866"/>
                  <a:pt x="5323768" y="1410431"/>
                </a:cubicBezTo>
                <a:cubicBezTo>
                  <a:pt x="5342792" y="1443043"/>
                  <a:pt x="5394426" y="1407713"/>
                  <a:pt x="5418884" y="1434890"/>
                </a:cubicBezTo>
                <a:cubicBezTo>
                  <a:pt x="5405296" y="1434890"/>
                  <a:pt x="5394426" y="1432171"/>
                  <a:pt x="5378120" y="1440324"/>
                </a:cubicBezTo>
                <a:cubicBezTo>
                  <a:pt x="5394426" y="1470218"/>
                  <a:pt x="5424319" y="1472935"/>
                  <a:pt x="5467801" y="1445759"/>
                </a:cubicBezTo>
                <a:cubicBezTo>
                  <a:pt x="5456930" y="1456630"/>
                  <a:pt x="5437907" y="1464782"/>
                  <a:pt x="5424319" y="1475653"/>
                </a:cubicBezTo>
                <a:cubicBezTo>
                  <a:pt x="5427037" y="1486520"/>
                  <a:pt x="5435190" y="1481085"/>
                  <a:pt x="5440625" y="1486520"/>
                </a:cubicBezTo>
                <a:cubicBezTo>
                  <a:pt x="5446060" y="1483803"/>
                  <a:pt x="5448778" y="1483803"/>
                  <a:pt x="5454213" y="1481085"/>
                </a:cubicBezTo>
                <a:cubicBezTo>
                  <a:pt x="5486824" y="1486520"/>
                  <a:pt x="5530305" y="1467500"/>
                  <a:pt x="5560199" y="1481085"/>
                </a:cubicBezTo>
                <a:cubicBezTo>
                  <a:pt x="5579222" y="1475653"/>
                  <a:pt x="5595528" y="1459347"/>
                  <a:pt x="5619986" y="1459347"/>
                </a:cubicBezTo>
                <a:cubicBezTo>
                  <a:pt x="5622703" y="1464782"/>
                  <a:pt x="5628139" y="1464782"/>
                  <a:pt x="5630856" y="1472935"/>
                </a:cubicBezTo>
                <a:cubicBezTo>
                  <a:pt x="5649879" y="1464782"/>
                  <a:pt x="5658032" y="1443043"/>
                  <a:pt x="5671620" y="1440324"/>
                </a:cubicBezTo>
                <a:cubicBezTo>
                  <a:pt x="5668903" y="1426736"/>
                  <a:pt x="5652597" y="1440324"/>
                  <a:pt x="5649879" y="1429454"/>
                </a:cubicBezTo>
                <a:cubicBezTo>
                  <a:pt x="5668223" y="1431492"/>
                  <a:pt x="5694210" y="1416715"/>
                  <a:pt x="5714082" y="1413785"/>
                </a:cubicBezTo>
                <a:lnTo>
                  <a:pt x="5720507" y="1414557"/>
                </a:lnTo>
                <a:lnTo>
                  <a:pt x="5709667" y="1418583"/>
                </a:lnTo>
                <a:cubicBezTo>
                  <a:pt x="5717819" y="1432171"/>
                  <a:pt x="5731407" y="1426736"/>
                  <a:pt x="5736843" y="1443043"/>
                </a:cubicBezTo>
                <a:cubicBezTo>
                  <a:pt x="5723255" y="1448477"/>
                  <a:pt x="5717819" y="1432171"/>
                  <a:pt x="5706949" y="1432171"/>
                </a:cubicBezTo>
                <a:cubicBezTo>
                  <a:pt x="5701514" y="1434890"/>
                  <a:pt x="5706949" y="1440324"/>
                  <a:pt x="5701514" y="1443043"/>
                </a:cubicBezTo>
                <a:cubicBezTo>
                  <a:pt x="5660750" y="1451194"/>
                  <a:pt x="5655315" y="1478370"/>
                  <a:pt x="5630856" y="1494674"/>
                </a:cubicBezTo>
                <a:cubicBezTo>
                  <a:pt x="5639009" y="1510978"/>
                  <a:pt x="5649879" y="1513697"/>
                  <a:pt x="5663467" y="1508262"/>
                </a:cubicBezTo>
                <a:cubicBezTo>
                  <a:pt x="5668903" y="1519132"/>
                  <a:pt x="5679773" y="1519132"/>
                  <a:pt x="5685208" y="1524567"/>
                </a:cubicBezTo>
                <a:cubicBezTo>
                  <a:pt x="5674338" y="1530002"/>
                  <a:pt x="5668903" y="1521850"/>
                  <a:pt x="5663467" y="1519132"/>
                </a:cubicBezTo>
                <a:cubicBezTo>
                  <a:pt x="5660750" y="1521850"/>
                  <a:pt x="5660750" y="1524567"/>
                  <a:pt x="5658032" y="1527284"/>
                </a:cubicBezTo>
                <a:cubicBezTo>
                  <a:pt x="5666185" y="1543590"/>
                  <a:pt x="5685208" y="1532719"/>
                  <a:pt x="5690643" y="1551742"/>
                </a:cubicBezTo>
                <a:cubicBezTo>
                  <a:pt x="5698796" y="1543590"/>
                  <a:pt x="5690643" y="1532719"/>
                  <a:pt x="5693361" y="1524567"/>
                </a:cubicBezTo>
                <a:cubicBezTo>
                  <a:pt x="5706949" y="1516415"/>
                  <a:pt x="5701514" y="1502826"/>
                  <a:pt x="5720537" y="1497392"/>
                </a:cubicBezTo>
                <a:cubicBezTo>
                  <a:pt x="5723255" y="1502826"/>
                  <a:pt x="5712384" y="1513697"/>
                  <a:pt x="5723255" y="1513697"/>
                </a:cubicBezTo>
                <a:cubicBezTo>
                  <a:pt x="5704231" y="1530002"/>
                  <a:pt x="5709667" y="1554460"/>
                  <a:pt x="5696079" y="1570767"/>
                </a:cubicBezTo>
                <a:cubicBezTo>
                  <a:pt x="5685208" y="1559896"/>
                  <a:pt x="5677055" y="1543590"/>
                  <a:pt x="5660750" y="1543590"/>
                </a:cubicBezTo>
                <a:cubicBezTo>
                  <a:pt x="5652597" y="1508262"/>
                  <a:pt x="5630856" y="1508262"/>
                  <a:pt x="5603680" y="1519132"/>
                </a:cubicBezTo>
                <a:cubicBezTo>
                  <a:pt x="5603680" y="1510978"/>
                  <a:pt x="5614551" y="1510978"/>
                  <a:pt x="5619986" y="1508262"/>
                </a:cubicBezTo>
                <a:cubicBezTo>
                  <a:pt x="5617268" y="1494674"/>
                  <a:pt x="5606398" y="1491956"/>
                  <a:pt x="5600963" y="1486520"/>
                </a:cubicBezTo>
                <a:cubicBezTo>
                  <a:pt x="5546611" y="1494674"/>
                  <a:pt x="5500412" y="1483803"/>
                  <a:pt x="5446060" y="1497392"/>
                </a:cubicBezTo>
                <a:cubicBezTo>
                  <a:pt x="5437907" y="1502826"/>
                  <a:pt x="5443342" y="1510978"/>
                  <a:pt x="5443342" y="1516415"/>
                </a:cubicBezTo>
                <a:cubicBezTo>
                  <a:pt x="5437907" y="1519132"/>
                  <a:pt x="5437907" y="1505543"/>
                  <a:pt x="5435190" y="1502826"/>
                </a:cubicBezTo>
                <a:cubicBezTo>
                  <a:pt x="5416167" y="1491956"/>
                  <a:pt x="5394426" y="1486520"/>
                  <a:pt x="5375403" y="1472935"/>
                </a:cubicBezTo>
                <a:cubicBezTo>
                  <a:pt x="5369968" y="1445759"/>
                  <a:pt x="5337356" y="1440324"/>
                  <a:pt x="5310180" y="1445759"/>
                </a:cubicBezTo>
                <a:cubicBezTo>
                  <a:pt x="5266699" y="1418583"/>
                  <a:pt x="5220500" y="1402279"/>
                  <a:pt x="5163430" y="1402279"/>
                </a:cubicBezTo>
                <a:cubicBezTo>
                  <a:pt x="5163430" y="1391407"/>
                  <a:pt x="5155277" y="1394126"/>
                  <a:pt x="5152560" y="1388691"/>
                </a:cubicBezTo>
                <a:cubicBezTo>
                  <a:pt x="5144407" y="1391407"/>
                  <a:pt x="5149842" y="1396844"/>
                  <a:pt x="5147124" y="1399561"/>
                </a:cubicBezTo>
                <a:cubicBezTo>
                  <a:pt x="5141689" y="1396844"/>
                  <a:pt x="5133536" y="1399561"/>
                  <a:pt x="5128101" y="1396844"/>
                </a:cubicBezTo>
                <a:cubicBezTo>
                  <a:pt x="5092773" y="1404996"/>
                  <a:pt x="5090055" y="1434890"/>
                  <a:pt x="5062879" y="1451194"/>
                </a:cubicBezTo>
                <a:cubicBezTo>
                  <a:pt x="5008527" y="1483803"/>
                  <a:pt x="4853625" y="1530002"/>
                  <a:pt x="4856342" y="1581636"/>
                </a:cubicBezTo>
                <a:cubicBezTo>
                  <a:pt x="4840037" y="1581636"/>
                  <a:pt x="4831884" y="1568049"/>
                  <a:pt x="4823731" y="1551742"/>
                </a:cubicBezTo>
                <a:cubicBezTo>
                  <a:pt x="4793837" y="1570767"/>
                  <a:pt x="4763944" y="1565330"/>
                  <a:pt x="4744921" y="1587071"/>
                </a:cubicBezTo>
                <a:cubicBezTo>
                  <a:pt x="4742203" y="1616965"/>
                  <a:pt x="4747638" y="1619682"/>
                  <a:pt x="4766661" y="1649576"/>
                </a:cubicBezTo>
                <a:cubicBezTo>
                  <a:pt x="4769379" y="1660446"/>
                  <a:pt x="4761226" y="1665881"/>
                  <a:pt x="4761226" y="1674034"/>
                </a:cubicBezTo>
                <a:cubicBezTo>
                  <a:pt x="4774814" y="1687622"/>
                  <a:pt x="4772097" y="1703928"/>
                  <a:pt x="4755791" y="1712080"/>
                </a:cubicBezTo>
                <a:cubicBezTo>
                  <a:pt x="4761226" y="1713439"/>
                  <a:pt x="4765982" y="1712760"/>
                  <a:pt x="4770398" y="1710850"/>
                </a:cubicBezTo>
                <a:lnTo>
                  <a:pt x="4779756" y="1704432"/>
                </a:lnTo>
                <a:lnTo>
                  <a:pt x="4780249" y="1709363"/>
                </a:lnTo>
                <a:cubicBezTo>
                  <a:pt x="4788402" y="1706646"/>
                  <a:pt x="4789761" y="1701891"/>
                  <a:pt x="4791460" y="1696795"/>
                </a:cubicBezTo>
                <a:lnTo>
                  <a:pt x="4792076" y="1695511"/>
                </a:lnTo>
                <a:lnTo>
                  <a:pt x="4810143" y="1682187"/>
                </a:lnTo>
                <a:cubicBezTo>
                  <a:pt x="4821013" y="1714798"/>
                  <a:pt x="4848189" y="1714798"/>
                  <a:pt x="4875365" y="1709363"/>
                </a:cubicBezTo>
                <a:cubicBezTo>
                  <a:pt x="4867213" y="1728386"/>
                  <a:pt x="4837319" y="1714798"/>
                  <a:pt x="4823731" y="1712080"/>
                </a:cubicBezTo>
                <a:cubicBezTo>
                  <a:pt x="4821013" y="1717517"/>
                  <a:pt x="4815578" y="1720233"/>
                  <a:pt x="4812861" y="1725668"/>
                </a:cubicBezTo>
                <a:lnTo>
                  <a:pt x="4826449" y="1731103"/>
                </a:lnTo>
                <a:cubicBezTo>
                  <a:pt x="4850907" y="1720233"/>
                  <a:pt x="4848189" y="1733822"/>
                  <a:pt x="4872648" y="1722951"/>
                </a:cubicBezTo>
                <a:cubicBezTo>
                  <a:pt x="4880801" y="1736540"/>
                  <a:pt x="4872648" y="1739256"/>
                  <a:pt x="4894389" y="1739256"/>
                </a:cubicBezTo>
                <a:lnTo>
                  <a:pt x="4932435" y="1739256"/>
                </a:lnTo>
                <a:lnTo>
                  <a:pt x="4924282" y="1752844"/>
                </a:lnTo>
                <a:lnTo>
                  <a:pt x="4935152" y="1752844"/>
                </a:lnTo>
                <a:cubicBezTo>
                  <a:pt x="4935152" y="1752844"/>
                  <a:pt x="4932435" y="1750127"/>
                  <a:pt x="4932435" y="1747409"/>
                </a:cubicBezTo>
                <a:cubicBezTo>
                  <a:pt x="4937870" y="1744691"/>
                  <a:pt x="4940588" y="1744691"/>
                  <a:pt x="4946023" y="1741975"/>
                </a:cubicBezTo>
                <a:cubicBezTo>
                  <a:pt x="4946023" y="1733822"/>
                  <a:pt x="4937870" y="1736540"/>
                  <a:pt x="4937870" y="1731103"/>
                </a:cubicBezTo>
                <a:cubicBezTo>
                  <a:pt x="4956893" y="1725668"/>
                  <a:pt x="4965046" y="1741975"/>
                  <a:pt x="4970481" y="1758280"/>
                </a:cubicBezTo>
                <a:cubicBezTo>
                  <a:pt x="4962328" y="1760997"/>
                  <a:pt x="4962328" y="1747409"/>
                  <a:pt x="4954176" y="1747409"/>
                </a:cubicBezTo>
                <a:cubicBezTo>
                  <a:pt x="4951458" y="1750127"/>
                  <a:pt x="4951458" y="1750127"/>
                  <a:pt x="4951458" y="1752844"/>
                </a:cubicBezTo>
                <a:lnTo>
                  <a:pt x="4954176" y="1752844"/>
                </a:lnTo>
                <a:lnTo>
                  <a:pt x="4954176" y="1760997"/>
                </a:lnTo>
                <a:cubicBezTo>
                  <a:pt x="4959611" y="1763715"/>
                  <a:pt x="4970481" y="1766432"/>
                  <a:pt x="4975916" y="1771867"/>
                </a:cubicBezTo>
                <a:cubicBezTo>
                  <a:pt x="4984069" y="1774586"/>
                  <a:pt x="4981351" y="1777303"/>
                  <a:pt x="4989504" y="1780020"/>
                </a:cubicBezTo>
                <a:cubicBezTo>
                  <a:pt x="4993580" y="1777303"/>
                  <a:pt x="4994260" y="1773226"/>
                  <a:pt x="4995279" y="1769150"/>
                </a:cubicBezTo>
                <a:lnTo>
                  <a:pt x="5000375" y="1762060"/>
                </a:lnTo>
                <a:lnTo>
                  <a:pt x="5000375" y="1782739"/>
                </a:lnTo>
                <a:cubicBezTo>
                  <a:pt x="5003092" y="1782739"/>
                  <a:pt x="5003092" y="1785455"/>
                  <a:pt x="5005810" y="1785455"/>
                </a:cubicBezTo>
                <a:cubicBezTo>
                  <a:pt x="5011245" y="1774586"/>
                  <a:pt x="5016680" y="1758280"/>
                  <a:pt x="5005810" y="1750127"/>
                </a:cubicBezTo>
                <a:cubicBezTo>
                  <a:pt x="5007169" y="1754203"/>
                  <a:pt x="5005130" y="1754883"/>
                  <a:pt x="5002073" y="1755562"/>
                </a:cubicBezTo>
                <a:lnTo>
                  <a:pt x="4998571" y="1757494"/>
                </a:lnTo>
                <a:lnTo>
                  <a:pt x="4983305" y="1754841"/>
                </a:lnTo>
                <a:cubicBezTo>
                  <a:pt x="4968273" y="1746560"/>
                  <a:pt x="4967763" y="1725668"/>
                  <a:pt x="4984069" y="1709363"/>
                </a:cubicBezTo>
                <a:cubicBezTo>
                  <a:pt x="4978634" y="1709363"/>
                  <a:pt x="4978634" y="1698493"/>
                  <a:pt x="4973199" y="1701211"/>
                </a:cubicBezTo>
                <a:cubicBezTo>
                  <a:pt x="4981351" y="1701211"/>
                  <a:pt x="4986787" y="1687622"/>
                  <a:pt x="4997657" y="1682187"/>
                </a:cubicBezTo>
                <a:cubicBezTo>
                  <a:pt x="5000375" y="1690340"/>
                  <a:pt x="4992222" y="1695775"/>
                  <a:pt x="4992222" y="1701211"/>
                </a:cubicBezTo>
                <a:cubicBezTo>
                  <a:pt x="4997657" y="1706646"/>
                  <a:pt x="5003092" y="1706646"/>
                  <a:pt x="5008527" y="1709363"/>
                </a:cubicBezTo>
                <a:cubicBezTo>
                  <a:pt x="5011245" y="1706646"/>
                  <a:pt x="5016680" y="1703928"/>
                  <a:pt x="5016680" y="1698493"/>
                </a:cubicBezTo>
                <a:cubicBezTo>
                  <a:pt x="5016680" y="1693058"/>
                  <a:pt x="5008527" y="1701211"/>
                  <a:pt x="5003092" y="1701211"/>
                </a:cubicBezTo>
                <a:cubicBezTo>
                  <a:pt x="5000375" y="1690340"/>
                  <a:pt x="5011245" y="1682187"/>
                  <a:pt x="5024833" y="1676752"/>
                </a:cubicBezTo>
                <a:cubicBezTo>
                  <a:pt x="5027550" y="1695775"/>
                  <a:pt x="5043856" y="1690340"/>
                  <a:pt x="5054726" y="1695775"/>
                </a:cubicBezTo>
                <a:cubicBezTo>
                  <a:pt x="5060162" y="1709363"/>
                  <a:pt x="5046574" y="1695775"/>
                  <a:pt x="5038421" y="1703928"/>
                </a:cubicBezTo>
                <a:cubicBezTo>
                  <a:pt x="5046574" y="1714798"/>
                  <a:pt x="5057444" y="1709363"/>
                  <a:pt x="5068314" y="1712080"/>
                </a:cubicBezTo>
                <a:cubicBezTo>
                  <a:pt x="5071032" y="1720233"/>
                  <a:pt x="5076467" y="1731103"/>
                  <a:pt x="5079185" y="1739256"/>
                </a:cubicBezTo>
                <a:cubicBezTo>
                  <a:pt x="5073750" y="1741975"/>
                  <a:pt x="5073750" y="1736540"/>
                  <a:pt x="5065597" y="1741975"/>
                </a:cubicBezTo>
                <a:cubicBezTo>
                  <a:pt x="5065597" y="1750127"/>
                  <a:pt x="5071032" y="1750127"/>
                  <a:pt x="5073750" y="1755562"/>
                </a:cubicBezTo>
                <a:cubicBezTo>
                  <a:pt x="5065597" y="1758280"/>
                  <a:pt x="5057444" y="1763715"/>
                  <a:pt x="5049291" y="1766432"/>
                </a:cubicBezTo>
                <a:cubicBezTo>
                  <a:pt x="5054726" y="1755562"/>
                  <a:pt x="5052009" y="1741975"/>
                  <a:pt x="5057444" y="1728386"/>
                </a:cubicBezTo>
                <a:cubicBezTo>
                  <a:pt x="5043856" y="1720233"/>
                  <a:pt x="5022115" y="1736540"/>
                  <a:pt x="5013963" y="1720233"/>
                </a:cubicBezTo>
                <a:cubicBezTo>
                  <a:pt x="5019398" y="1714798"/>
                  <a:pt x="5022115" y="1720233"/>
                  <a:pt x="5030268" y="1714798"/>
                </a:cubicBezTo>
                <a:cubicBezTo>
                  <a:pt x="5035703" y="1712080"/>
                  <a:pt x="5027550" y="1706646"/>
                  <a:pt x="5027550" y="1701211"/>
                </a:cubicBezTo>
                <a:cubicBezTo>
                  <a:pt x="4996298" y="1721592"/>
                  <a:pt x="4997657" y="1738578"/>
                  <a:pt x="5009207" y="1754883"/>
                </a:cubicBezTo>
                <a:lnTo>
                  <a:pt x="5023594" y="1770648"/>
                </a:lnTo>
                <a:lnTo>
                  <a:pt x="5018718" y="1774246"/>
                </a:lnTo>
                <a:cubicBezTo>
                  <a:pt x="5014642" y="1778662"/>
                  <a:pt x="5011245" y="1784097"/>
                  <a:pt x="5008527" y="1790891"/>
                </a:cubicBezTo>
                <a:cubicBezTo>
                  <a:pt x="5022115" y="1799043"/>
                  <a:pt x="5027550" y="1804479"/>
                  <a:pt x="5030268" y="1812632"/>
                </a:cubicBezTo>
                <a:cubicBezTo>
                  <a:pt x="5032986" y="1809914"/>
                  <a:pt x="5032986" y="1809914"/>
                  <a:pt x="5035703" y="1809914"/>
                </a:cubicBezTo>
                <a:cubicBezTo>
                  <a:pt x="5041138" y="1799043"/>
                  <a:pt x="5019398" y="1790891"/>
                  <a:pt x="5035703" y="1785455"/>
                </a:cubicBezTo>
                <a:cubicBezTo>
                  <a:pt x="5038420" y="1789532"/>
                  <a:pt x="5040459" y="1794288"/>
                  <a:pt x="5042837" y="1797345"/>
                </a:cubicBezTo>
                <a:lnTo>
                  <a:pt x="5046788" y="1798077"/>
                </a:lnTo>
                <a:lnTo>
                  <a:pt x="5052009" y="1804479"/>
                </a:lnTo>
                <a:cubicBezTo>
                  <a:pt x="5071032" y="1801761"/>
                  <a:pt x="5057444" y="1785455"/>
                  <a:pt x="5068314" y="1780020"/>
                </a:cubicBezTo>
                <a:cubicBezTo>
                  <a:pt x="5065597" y="1777303"/>
                  <a:pt x="5060162" y="1780020"/>
                  <a:pt x="5060162" y="1774586"/>
                </a:cubicBezTo>
                <a:lnTo>
                  <a:pt x="5074932" y="1756037"/>
                </a:lnTo>
                <a:lnTo>
                  <a:pt x="5076467" y="1763715"/>
                </a:lnTo>
                <a:cubicBezTo>
                  <a:pt x="5078505" y="1768471"/>
                  <a:pt x="5080544" y="1773227"/>
                  <a:pt x="5079185" y="1777303"/>
                </a:cubicBezTo>
                <a:cubicBezTo>
                  <a:pt x="5092773" y="1771867"/>
                  <a:pt x="5087337" y="1760997"/>
                  <a:pt x="5103643" y="1760997"/>
                </a:cubicBezTo>
                <a:lnTo>
                  <a:pt x="5096415" y="1755532"/>
                </a:lnTo>
                <a:lnTo>
                  <a:pt x="5104577" y="1755265"/>
                </a:lnTo>
                <a:cubicBezTo>
                  <a:pt x="5109418" y="1751315"/>
                  <a:pt x="5104322" y="1738577"/>
                  <a:pt x="5114513" y="1736540"/>
                </a:cubicBezTo>
                <a:cubicBezTo>
                  <a:pt x="5114513" y="1758280"/>
                  <a:pt x="5136254" y="1782739"/>
                  <a:pt x="5155277" y="1763715"/>
                </a:cubicBezTo>
                <a:cubicBezTo>
                  <a:pt x="5174300" y="1777303"/>
                  <a:pt x="5223217" y="1758280"/>
                  <a:pt x="5217782" y="1733822"/>
                </a:cubicBezTo>
                <a:cubicBezTo>
                  <a:pt x="5225935" y="1733822"/>
                  <a:pt x="5223217" y="1744691"/>
                  <a:pt x="5225935" y="1750127"/>
                </a:cubicBezTo>
                <a:cubicBezTo>
                  <a:pt x="5223217" y="1752844"/>
                  <a:pt x="5217782" y="1755562"/>
                  <a:pt x="5212347" y="1758280"/>
                </a:cubicBezTo>
                <a:cubicBezTo>
                  <a:pt x="5215064" y="1769150"/>
                  <a:pt x="5225935" y="1763715"/>
                  <a:pt x="5231370" y="1766432"/>
                </a:cubicBezTo>
                <a:cubicBezTo>
                  <a:pt x="5263981" y="1741975"/>
                  <a:pt x="5242240" y="1698493"/>
                  <a:pt x="5263981" y="1668599"/>
                </a:cubicBezTo>
                <a:cubicBezTo>
                  <a:pt x="5269416" y="1695775"/>
                  <a:pt x="5255828" y="1717517"/>
                  <a:pt x="5253111" y="1741975"/>
                </a:cubicBezTo>
                <a:lnTo>
                  <a:pt x="5262139" y="1744664"/>
                </a:lnTo>
                <a:lnTo>
                  <a:pt x="5259523" y="1746050"/>
                </a:lnTo>
                <a:cubicBezTo>
                  <a:pt x="5252431" y="1749957"/>
                  <a:pt x="5245637" y="1753524"/>
                  <a:pt x="5239523" y="1755562"/>
                </a:cubicBezTo>
                <a:cubicBezTo>
                  <a:pt x="5242240" y="1771867"/>
                  <a:pt x="5272134" y="1763715"/>
                  <a:pt x="5291157" y="1771867"/>
                </a:cubicBezTo>
                <a:cubicBezTo>
                  <a:pt x="5312898" y="1780020"/>
                  <a:pt x="5342792" y="1801761"/>
                  <a:pt x="5348227" y="1758280"/>
                </a:cubicBezTo>
                <a:cubicBezTo>
                  <a:pt x="5340074" y="1760997"/>
                  <a:pt x="5331921" y="1763715"/>
                  <a:pt x="5326486" y="1758280"/>
                </a:cubicBezTo>
                <a:cubicBezTo>
                  <a:pt x="5334639" y="1750127"/>
                  <a:pt x="5340074" y="1744691"/>
                  <a:pt x="5348227" y="1739256"/>
                </a:cubicBezTo>
                <a:lnTo>
                  <a:pt x="5347761" y="1738170"/>
                </a:lnTo>
                <a:lnTo>
                  <a:pt x="5351284" y="1738916"/>
                </a:lnTo>
                <a:cubicBezTo>
                  <a:pt x="5355700" y="1739256"/>
                  <a:pt x="5360456" y="1739256"/>
                  <a:pt x="5364532" y="1739256"/>
                </a:cubicBezTo>
                <a:cubicBezTo>
                  <a:pt x="5369968" y="1744691"/>
                  <a:pt x="5367250" y="1747409"/>
                  <a:pt x="5367250" y="1755562"/>
                </a:cubicBezTo>
                <a:lnTo>
                  <a:pt x="5384614" y="1744677"/>
                </a:lnTo>
                <a:lnTo>
                  <a:pt x="5386231" y="1748811"/>
                </a:lnTo>
                <a:cubicBezTo>
                  <a:pt x="5386103" y="1754543"/>
                  <a:pt x="5379479" y="1757600"/>
                  <a:pt x="5383556" y="1763715"/>
                </a:cubicBezTo>
                <a:cubicBezTo>
                  <a:pt x="5394426" y="1758280"/>
                  <a:pt x="5402579" y="1758280"/>
                  <a:pt x="5408014" y="1769150"/>
                </a:cubicBezTo>
                <a:cubicBezTo>
                  <a:pt x="5388991" y="1771867"/>
                  <a:pt x="5375403" y="1760997"/>
                  <a:pt x="5359097" y="1774586"/>
                </a:cubicBezTo>
                <a:cubicBezTo>
                  <a:pt x="5359097" y="1785455"/>
                  <a:pt x="5364532" y="1799043"/>
                  <a:pt x="5372685" y="1804479"/>
                </a:cubicBezTo>
                <a:cubicBezTo>
                  <a:pt x="5416167" y="1812632"/>
                  <a:pt x="5427037" y="1771867"/>
                  <a:pt x="5427037" y="1747409"/>
                </a:cubicBezTo>
                <a:cubicBezTo>
                  <a:pt x="5418884" y="1750127"/>
                  <a:pt x="5402579" y="1750127"/>
                  <a:pt x="5408014" y="1744691"/>
                </a:cubicBezTo>
                <a:cubicBezTo>
                  <a:pt x="5418884" y="1739256"/>
                  <a:pt x="5418884" y="1750127"/>
                  <a:pt x="5429755" y="1741975"/>
                </a:cubicBezTo>
                <a:cubicBezTo>
                  <a:pt x="5425679" y="1732463"/>
                  <a:pt x="5418885" y="1730425"/>
                  <a:pt x="5410732" y="1731783"/>
                </a:cubicBezTo>
                <a:lnTo>
                  <a:pt x="5390470" y="1739381"/>
                </a:lnTo>
                <a:lnTo>
                  <a:pt x="5394426" y="1722951"/>
                </a:lnTo>
                <a:cubicBezTo>
                  <a:pt x="5380838" y="1709363"/>
                  <a:pt x="5356380" y="1720233"/>
                  <a:pt x="5348227" y="1701211"/>
                </a:cubicBezTo>
                <a:cubicBezTo>
                  <a:pt x="5356380" y="1693058"/>
                  <a:pt x="5372685" y="1701211"/>
                  <a:pt x="5364532" y="1687622"/>
                </a:cubicBezTo>
                <a:cubicBezTo>
                  <a:pt x="5375403" y="1682187"/>
                  <a:pt x="5388991" y="1698493"/>
                  <a:pt x="5388991" y="1682187"/>
                </a:cubicBezTo>
                <a:cubicBezTo>
                  <a:pt x="5402579" y="1687622"/>
                  <a:pt x="5394426" y="1717517"/>
                  <a:pt x="5418884" y="1703928"/>
                </a:cubicBezTo>
                <a:cubicBezTo>
                  <a:pt x="5421601" y="1706646"/>
                  <a:pt x="5420922" y="1708004"/>
                  <a:pt x="5419903" y="1709363"/>
                </a:cubicBezTo>
                <a:lnTo>
                  <a:pt x="5418892" y="1714756"/>
                </a:lnTo>
                <a:lnTo>
                  <a:pt x="5413237" y="1714713"/>
                </a:lnTo>
                <a:cubicBezTo>
                  <a:pt x="5409543" y="1715308"/>
                  <a:pt x="5405976" y="1716836"/>
                  <a:pt x="5402579" y="1720233"/>
                </a:cubicBezTo>
                <a:cubicBezTo>
                  <a:pt x="5416167" y="1725668"/>
                  <a:pt x="5432472" y="1728386"/>
                  <a:pt x="5448778" y="1725668"/>
                </a:cubicBezTo>
                <a:lnTo>
                  <a:pt x="5448778" y="1717517"/>
                </a:lnTo>
                <a:cubicBezTo>
                  <a:pt x="5497694" y="1682187"/>
                  <a:pt x="5514000" y="1635988"/>
                  <a:pt x="5541176" y="1595225"/>
                </a:cubicBezTo>
                <a:cubicBezTo>
                  <a:pt x="5546611" y="1603378"/>
                  <a:pt x="5538458" y="1608812"/>
                  <a:pt x="5538458" y="1616965"/>
                </a:cubicBezTo>
                <a:cubicBezTo>
                  <a:pt x="5543893" y="1625117"/>
                  <a:pt x="5554764" y="1619682"/>
                  <a:pt x="5565634" y="1614248"/>
                </a:cubicBezTo>
                <a:cubicBezTo>
                  <a:pt x="5554764" y="1630553"/>
                  <a:pt x="5511282" y="1638705"/>
                  <a:pt x="5519435" y="1663164"/>
                </a:cubicBezTo>
                <a:cubicBezTo>
                  <a:pt x="5527588" y="1676752"/>
                  <a:pt x="5557481" y="1657728"/>
                  <a:pt x="5571069" y="1649576"/>
                </a:cubicBezTo>
                <a:cubicBezTo>
                  <a:pt x="5579222" y="1668599"/>
                  <a:pt x="5557481" y="1671316"/>
                  <a:pt x="5538458" y="1684904"/>
                </a:cubicBezTo>
                <a:cubicBezTo>
                  <a:pt x="5549329" y="1709363"/>
                  <a:pt x="5587375" y="1684904"/>
                  <a:pt x="5603680" y="1671316"/>
                </a:cubicBezTo>
                <a:cubicBezTo>
                  <a:pt x="5600963" y="1679470"/>
                  <a:pt x="5590092" y="1684904"/>
                  <a:pt x="5598245" y="1695775"/>
                </a:cubicBezTo>
                <a:cubicBezTo>
                  <a:pt x="5617268" y="1701211"/>
                  <a:pt x="5649879" y="1701211"/>
                  <a:pt x="5668903" y="1682187"/>
                </a:cubicBezTo>
                <a:cubicBezTo>
                  <a:pt x="5682491" y="1701211"/>
                  <a:pt x="5649879" y="1703928"/>
                  <a:pt x="5641727" y="1714798"/>
                </a:cubicBezTo>
                <a:cubicBezTo>
                  <a:pt x="5630856" y="1701211"/>
                  <a:pt x="5609115" y="1712080"/>
                  <a:pt x="5590092" y="1714798"/>
                </a:cubicBezTo>
                <a:cubicBezTo>
                  <a:pt x="5598245" y="1736540"/>
                  <a:pt x="5622703" y="1720233"/>
                  <a:pt x="5630856" y="1739256"/>
                </a:cubicBezTo>
                <a:cubicBezTo>
                  <a:pt x="5625421" y="1741975"/>
                  <a:pt x="5619986" y="1744691"/>
                  <a:pt x="5614551" y="1747409"/>
                </a:cubicBezTo>
                <a:cubicBezTo>
                  <a:pt x="5606398" y="1731103"/>
                  <a:pt x="5590092" y="1733822"/>
                  <a:pt x="5581940" y="1714798"/>
                </a:cubicBezTo>
                <a:cubicBezTo>
                  <a:pt x="5565634" y="1722951"/>
                  <a:pt x="5590092" y="1728386"/>
                  <a:pt x="5584657" y="1733822"/>
                </a:cubicBezTo>
                <a:cubicBezTo>
                  <a:pt x="5576504" y="1733822"/>
                  <a:pt x="5568352" y="1733822"/>
                  <a:pt x="5562916" y="1728386"/>
                </a:cubicBezTo>
                <a:cubicBezTo>
                  <a:pt x="5560199" y="1731103"/>
                  <a:pt x="5562916" y="1733822"/>
                  <a:pt x="5557481" y="1736540"/>
                </a:cubicBezTo>
                <a:cubicBezTo>
                  <a:pt x="5557481" y="1747409"/>
                  <a:pt x="5568352" y="1739256"/>
                  <a:pt x="5568352" y="1747409"/>
                </a:cubicBezTo>
                <a:cubicBezTo>
                  <a:pt x="5562916" y="1752844"/>
                  <a:pt x="5552046" y="1760997"/>
                  <a:pt x="5543893" y="1758280"/>
                </a:cubicBezTo>
                <a:cubicBezTo>
                  <a:pt x="5549329" y="1750127"/>
                  <a:pt x="5549329" y="1744691"/>
                  <a:pt x="5543893" y="1733822"/>
                </a:cubicBezTo>
                <a:cubicBezTo>
                  <a:pt x="5538458" y="1731103"/>
                  <a:pt x="5533023" y="1733822"/>
                  <a:pt x="5524870" y="1736540"/>
                </a:cubicBezTo>
                <a:cubicBezTo>
                  <a:pt x="5527588" y="1728386"/>
                  <a:pt x="5535741" y="1722951"/>
                  <a:pt x="5543893" y="1717517"/>
                </a:cubicBezTo>
                <a:cubicBezTo>
                  <a:pt x="5522153" y="1703928"/>
                  <a:pt x="5465083" y="1733822"/>
                  <a:pt x="5494977" y="1763715"/>
                </a:cubicBezTo>
                <a:cubicBezTo>
                  <a:pt x="5505847" y="1760997"/>
                  <a:pt x="5514000" y="1760997"/>
                  <a:pt x="5524870" y="1763715"/>
                </a:cubicBezTo>
                <a:cubicBezTo>
                  <a:pt x="5533023" y="1771867"/>
                  <a:pt x="5522153" y="1774586"/>
                  <a:pt x="5522153" y="1780020"/>
                </a:cubicBezTo>
                <a:cubicBezTo>
                  <a:pt x="5535741" y="1788173"/>
                  <a:pt x="5554764" y="1780020"/>
                  <a:pt x="5560199" y="1801761"/>
                </a:cubicBezTo>
                <a:cubicBezTo>
                  <a:pt x="5573787" y="1799043"/>
                  <a:pt x="5579222" y="1790891"/>
                  <a:pt x="5584657" y="1782739"/>
                </a:cubicBezTo>
                <a:cubicBezTo>
                  <a:pt x="5592810" y="1780020"/>
                  <a:pt x="5581940" y="1790891"/>
                  <a:pt x="5590092" y="1796326"/>
                </a:cubicBezTo>
                <a:cubicBezTo>
                  <a:pt x="5584657" y="1801761"/>
                  <a:pt x="5579222" y="1804479"/>
                  <a:pt x="5571069" y="1804479"/>
                </a:cubicBezTo>
                <a:cubicBezTo>
                  <a:pt x="5581940" y="1809914"/>
                  <a:pt x="5590092" y="1815350"/>
                  <a:pt x="5600963" y="1818067"/>
                </a:cubicBezTo>
                <a:cubicBezTo>
                  <a:pt x="5609115" y="1828938"/>
                  <a:pt x="5590092" y="1831654"/>
                  <a:pt x="5600963" y="1842525"/>
                </a:cubicBezTo>
                <a:cubicBezTo>
                  <a:pt x="5590092" y="1845242"/>
                  <a:pt x="5579222" y="1845242"/>
                  <a:pt x="5565634" y="1850678"/>
                </a:cubicBezTo>
                <a:cubicBezTo>
                  <a:pt x="5565634" y="1847961"/>
                  <a:pt x="5560199" y="1826220"/>
                  <a:pt x="5576504" y="1820785"/>
                </a:cubicBezTo>
                <a:cubicBezTo>
                  <a:pt x="5552046" y="1799043"/>
                  <a:pt x="5524870" y="1790891"/>
                  <a:pt x="5497694" y="1777303"/>
                </a:cubicBezTo>
                <a:cubicBezTo>
                  <a:pt x="5481389" y="1782739"/>
                  <a:pt x="5508565" y="1804479"/>
                  <a:pt x="5497694" y="1812632"/>
                </a:cubicBezTo>
                <a:cubicBezTo>
                  <a:pt x="5486824" y="1801761"/>
                  <a:pt x="5478671" y="1788173"/>
                  <a:pt x="5462366" y="1777303"/>
                </a:cubicBezTo>
                <a:cubicBezTo>
                  <a:pt x="5451495" y="1780020"/>
                  <a:pt x="5446060" y="1793609"/>
                  <a:pt x="5456930" y="1796326"/>
                </a:cubicBezTo>
                <a:cubicBezTo>
                  <a:pt x="5443342" y="1820785"/>
                  <a:pt x="5440625" y="1847961"/>
                  <a:pt x="5448778" y="1880571"/>
                </a:cubicBezTo>
                <a:cubicBezTo>
                  <a:pt x="5448778" y="1883289"/>
                  <a:pt x="5454213" y="1877853"/>
                  <a:pt x="5459648" y="1877853"/>
                </a:cubicBezTo>
                <a:cubicBezTo>
                  <a:pt x="5451495" y="1853396"/>
                  <a:pt x="5475954" y="1839807"/>
                  <a:pt x="5497694" y="1823502"/>
                </a:cubicBezTo>
                <a:cubicBezTo>
                  <a:pt x="5497694" y="1826220"/>
                  <a:pt x="5497694" y="1831654"/>
                  <a:pt x="5497694" y="1837090"/>
                </a:cubicBezTo>
                <a:cubicBezTo>
                  <a:pt x="5503129" y="1845242"/>
                  <a:pt x="5516717" y="1837090"/>
                  <a:pt x="5527588" y="1831654"/>
                </a:cubicBezTo>
                <a:cubicBezTo>
                  <a:pt x="5524870" y="1847961"/>
                  <a:pt x="5497694" y="1853396"/>
                  <a:pt x="5486824" y="1850678"/>
                </a:cubicBezTo>
                <a:cubicBezTo>
                  <a:pt x="5489542" y="1864265"/>
                  <a:pt x="5489542" y="1877853"/>
                  <a:pt x="5484106" y="1888724"/>
                </a:cubicBezTo>
                <a:cubicBezTo>
                  <a:pt x="5500412" y="1891441"/>
                  <a:pt x="5500412" y="1875136"/>
                  <a:pt x="5516717" y="1872419"/>
                </a:cubicBezTo>
                <a:cubicBezTo>
                  <a:pt x="5522153" y="1866984"/>
                  <a:pt x="5508565" y="1866984"/>
                  <a:pt x="5508565" y="1858830"/>
                </a:cubicBezTo>
                <a:cubicBezTo>
                  <a:pt x="5514000" y="1853396"/>
                  <a:pt x="5516717" y="1858830"/>
                  <a:pt x="5524870" y="1853396"/>
                </a:cubicBezTo>
                <a:cubicBezTo>
                  <a:pt x="5527588" y="1866984"/>
                  <a:pt x="5527588" y="1861548"/>
                  <a:pt x="5535741" y="1869701"/>
                </a:cubicBezTo>
                <a:cubicBezTo>
                  <a:pt x="5524870" y="1875136"/>
                  <a:pt x="5511282" y="1877853"/>
                  <a:pt x="5519435" y="1888724"/>
                </a:cubicBezTo>
                <a:cubicBezTo>
                  <a:pt x="5500412" y="1886006"/>
                  <a:pt x="5486824" y="1899594"/>
                  <a:pt x="5489542" y="1915900"/>
                </a:cubicBezTo>
                <a:cubicBezTo>
                  <a:pt x="5492259" y="1915900"/>
                  <a:pt x="5494977" y="1915900"/>
                  <a:pt x="5494977" y="1918617"/>
                </a:cubicBezTo>
                <a:cubicBezTo>
                  <a:pt x="5503129" y="1915900"/>
                  <a:pt x="5503129" y="1907747"/>
                  <a:pt x="5505847" y="1902312"/>
                </a:cubicBezTo>
                <a:cubicBezTo>
                  <a:pt x="5514000" y="1907747"/>
                  <a:pt x="5497694" y="1918617"/>
                  <a:pt x="5503129" y="1929488"/>
                </a:cubicBezTo>
                <a:cubicBezTo>
                  <a:pt x="5514000" y="1945793"/>
                  <a:pt x="5546611" y="1937641"/>
                  <a:pt x="5565634" y="1924053"/>
                </a:cubicBezTo>
                <a:lnTo>
                  <a:pt x="5570063" y="1930696"/>
                </a:lnTo>
                <a:lnTo>
                  <a:pt x="5560199" y="1934923"/>
                </a:lnTo>
                <a:cubicBezTo>
                  <a:pt x="5571069" y="1940358"/>
                  <a:pt x="5581940" y="1970252"/>
                  <a:pt x="5598245" y="1951229"/>
                </a:cubicBezTo>
                <a:cubicBezTo>
                  <a:pt x="5592810" y="1953946"/>
                  <a:pt x="5592810" y="1945793"/>
                  <a:pt x="5590092" y="1943076"/>
                </a:cubicBezTo>
                <a:cubicBezTo>
                  <a:pt x="5595528" y="1940358"/>
                  <a:pt x="5614551" y="1945793"/>
                  <a:pt x="5609115" y="1934923"/>
                </a:cubicBezTo>
                <a:cubicBezTo>
                  <a:pt x="5604359" y="1936961"/>
                  <a:pt x="5599773" y="1937132"/>
                  <a:pt x="5595357" y="1936452"/>
                </a:cubicBezTo>
                <a:lnTo>
                  <a:pt x="5592559" y="1935668"/>
                </a:lnTo>
                <a:lnTo>
                  <a:pt x="5600963" y="1932205"/>
                </a:lnTo>
                <a:cubicBezTo>
                  <a:pt x="5600963" y="1921335"/>
                  <a:pt x="5590092" y="1932205"/>
                  <a:pt x="5587375" y="1921335"/>
                </a:cubicBezTo>
                <a:cubicBezTo>
                  <a:pt x="5600963" y="1918617"/>
                  <a:pt x="5609115" y="1921335"/>
                  <a:pt x="5614551" y="1934923"/>
                </a:cubicBezTo>
                <a:cubicBezTo>
                  <a:pt x="5617268" y="1940358"/>
                  <a:pt x="5619986" y="1929488"/>
                  <a:pt x="5628139" y="1929488"/>
                </a:cubicBezTo>
                <a:cubicBezTo>
                  <a:pt x="5625421" y="1932205"/>
                  <a:pt x="5622703" y="1937641"/>
                  <a:pt x="5619986" y="1940358"/>
                </a:cubicBezTo>
                <a:cubicBezTo>
                  <a:pt x="5619986" y="1945793"/>
                  <a:pt x="5628139" y="1937641"/>
                  <a:pt x="5630856" y="1943076"/>
                </a:cubicBezTo>
                <a:lnTo>
                  <a:pt x="5633774" y="1938271"/>
                </a:lnTo>
                <a:lnTo>
                  <a:pt x="5636886" y="1948087"/>
                </a:lnTo>
                <a:cubicBezTo>
                  <a:pt x="5636121" y="1957004"/>
                  <a:pt x="5625421" y="1962099"/>
                  <a:pt x="5625421" y="1970252"/>
                </a:cubicBezTo>
                <a:cubicBezTo>
                  <a:pt x="5641727" y="1964817"/>
                  <a:pt x="5647162" y="1981122"/>
                  <a:pt x="5663467" y="1975687"/>
                </a:cubicBezTo>
                <a:cubicBezTo>
                  <a:pt x="5658032" y="1956664"/>
                  <a:pt x="5693361" y="1962099"/>
                  <a:pt x="5687926" y="1943076"/>
                </a:cubicBezTo>
                <a:cubicBezTo>
                  <a:pt x="5668903" y="1953946"/>
                  <a:pt x="5639009" y="1962099"/>
                  <a:pt x="5639009" y="1945793"/>
                </a:cubicBezTo>
                <a:cubicBezTo>
                  <a:pt x="5649879" y="1940358"/>
                  <a:pt x="5655315" y="1943076"/>
                  <a:pt x="5663467" y="1940358"/>
                </a:cubicBezTo>
                <a:cubicBezTo>
                  <a:pt x="5660749" y="1936282"/>
                  <a:pt x="5656673" y="1934244"/>
                  <a:pt x="5651578" y="1933904"/>
                </a:cubicBezTo>
                <a:lnTo>
                  <a:pt x="5634240" y="1937503"/>
                </a:lnTo>
                <a:lnTo>
                  <a:pt x="5636631" y="1933565"/>
                </a:lnTo>
                <a:cubicBezTo>
                  <a:pt x="5636971" y="1930168"/>
                  <a:pt x="5636291" y="1926771"/>
                  <a:pt x="5636291" y="1924053"/>
                </a:cubicBezTo>
                <a:cubicBezTo>
                  <a:pt x="5639009" y="1922694"/>
                  <a:pt x="5642406" y="1920656"/>
                  <a:pt x="5645803" y="1919297"/>
                </a:cubicBezTo>
                <a:lnTo>
                  <a:pt x="5648691" y="1919090"/>
                </a:lnTo>
                <a:lnTo>
                  <a:pt x="5654975" y="1932206"/>
                </a:lnTo>
                <a:cubicBezTo>
                  <a:pt x="5660750" y="1935603"/>
                  <a:pt x="5668903" y="1936282"/>
                  <a:pt x="5677055" y="1932205"/>
                </a:cubicBezTo>
                <a:cubicBezTo>
                  <a:pt x="5681132" y="1924053"/>
                  <a:pt x="5677734" y="1917259"/>
                  <a:pt x="5671280" y="1913862"/>
                </a:cubicBezTo>
                <a:lnTo>
                  <a:pt x="5670736" y="1913753"/>
                </a:lnTo>
                <a:lnTo>
                  <a:pt x="5674879" y="1908899"/>
                </a:lnTo>
                <a:lnTo>
                  <a:pt x="5677055" y="1911484"/>
                </a:lnTo>
                <a:cubicBezTo>
                  <a:pt x="5679094" y="1912503"/>
                  <a:pt x="5681132" y="1913183"/>
                  <a:pt x="5682491" y="1915900"/>
                </a:cubicBezTo>
                <a:cubicBezTo>
                  <a:pt x="5690643" y="1913182"/>
                  <a:pt x="5698796" y="1899594"/>
                  <a:pt x="5706949" y="1907747"/>
                </a:cubicBezTo>
                <a:cubicBezTo>
                  <a:pt x="5704231" y="1910465"/>
                  <a:pt x="5701514" y="1913182"/>
                  <a:pt x="5701514" y="1915900"/>
                </a:cubicBezTo>
                <a:cubicBezTo>
                  <a:pt x="5709667" y="1913182"/>
                  <a:pt x="5706949" y="1905029"/>
                  <a:pt x="5717819" y="1902312"/>
                </a:cubicBezTo>
                <a:cubicBezTo>
                  <a:pt x="5709666" y="1879892"/>
                  <a:pt x="5698456" y="1889574"/>
                  <a:pt x="5685335" y="1898108"/>
                </a:cubicBezTo>
                <a:lnTo>
                  <a:pt x="5684904" y="1898326"/>
                </a:lnTo>
                <a:lnTo>
                  <a:pt x="5698796" y="1886006"/>
                </a:lnTo>
                <a:cubicBezTo>
                  <a:pt x="5671620" y="1847961"/>
                  <a:pt x="5600963" y="1883289"/>
                  <a:pt x="5576504" y="1913182"/>
                </a:cubicBezTo>
                <a:cubicBezTo>
                  <a:pt x="5562916" y="1899594"/>
                  <a:pt x="5560199" y="1877853"/>
                  <a:pt x="5538458" y="1875136"/>
                </a:cubicBezTo>
                <a:cubicBezTo>
                  <a:pt x="5543893" y="1864265"/>
                  <a:pt x="5560199" y="1869701"/>
                  <a:pt x="5568352" y="1864265"/>
                </a:cubicBezTo>
                <a:cubicBezTo>
                  <a:pt x="5568352" y="1866984"/>
                  <a:pt x="5571069" y="1872419"/>
                  <a:pt x="5573787" y="1877853"/>
                </a:cubicBezTo>
                <a:cubicBezTo>
                  <a:pt x="5590092" y="1880571"/>
                  <a:pt x="5633574" y="1864265"/>
                  <a:pt x="5622703" y="1850678"/>
                </a:cubicBezTo>
                <a:cubicBezTo>
                  <a:pt x="5614551" y="1845242"/>
                  <a:pt x="5614551" y="1861548"/>
                  <a:pt x="5603680" y="1864265"/>
                </a:cubicBezTo>
                <a:cubicBezTo>
                  <a:pt x="5592810" y="1850678"/>
                  <a:pt x="5617268" y="1847961"/>
                  <a:pt x="5606398" y="1834372"/>
                </a:cubicBezTo>
                <a:cubicBezTo>
                  <a:pt x="5625421" y="1831654"/>
                  <a:pt x="5630856" y="1847961"/>
                  <a:pt x="5644444" y="1845242"/>
                </a:cubicBezTo>
                <a:cubicBezTo>
                  <a:pt x="5679773" y="1834372"/>
                  <a:pt x="5652597" y="1818067"/>
                  <a:pt x="5663467" y="1796326"/>
                </a:cubicBezTo>
                <a:cubicBezTo>
                  <a:pt x="5674338" y="1788173"/>
                  <a:pt x="5679773" y="1807196"/>
                  <a:pt x="5677055" y="1812632"/>
                </a:cubicBezTo>
                <a:cubicBezTo>
                  <a:pt x="5685208" y="1809914"/>
                  <a:pt x="5701514" y="1807196"/>
                  <a:pt x="5715102" y="1801761"/>
                </a:cubicBezTo>
                <a:cubicBezTo>
                  <a:pt x="5715102" y="1809914"/>
                  <a:pt x="5698796" y="1823502"/>
                  <a:pt x="5712384" y="1828938"/>
                </a:cubicBezTo>
                <a:cubicBezTo>
                  <a:pt x="5715102" y="1837090"/>
                  <a:pt x="5706949" y="1828938"/>
                  <a:pt x="5701514" y="1834372"/>
                </a:cubicBezTo>
                <a:cubicBezTo>
                  <a:pt x="5704231" y="1835731"/>
                  <a:pt x="5706270" y="1839128"/>
                  <a:pt x="5708308" y="1842525"/>
                </a:cubicBezTo>
                <a:lnTo>
                  <a:pt x="5711648" y="1846534"/>
                </a:lnTo>
                <a:lnTo>
                  <a:pt x="5706949" y="1847961"/>
                </a:lnTo>
                <a:cubicBezTo>
                  <a:pt x="5704231" y="1856113"/>
                  <a:pt x="5717819" y="1856113"/>
                  <a:pt x="5712384" y="1861548"/>
                </a:cubicBezTo>
                <a:cubicBezTo>
                  <a:pt x="5706949" y="1856113"/>
                  <a:pt x="5701514" y="1853396"/>
                  <a:pt x="5693361" y="1850678"/>
                </a:cubicBezTo>
                <a:cubicBezTo>
                  <a:pt x="5698796" y="1858830"/>
                  <a:pt x="5693361" y="1872419"/>
                  <a:pt x="5704231" y="1875136"/>
                </a:cubicBezTo>
                <a:cubicBezTo>
                  <a:pt x="5709667" y="1864265"/>
                  <a:pt x="5723255" y="1858830"/>
                  <a:pt x="5736843" y="1850678"/>
                </a:cubicBezTo>
                <a:lnTo>
                  <a:pt x="5726459" y="1842566"/>
                </a:lnTo>
                <a:lnTo>
                  <a:pt x="5734125" y="1837090"/>
                </a:lnTo>
                <a:cubicBezTo>
                  <a:pt x="5723255" y="1826220"/>
                  <a:pt x="5736843" y="1807196"/>
                  <a:pt x="5720537" y="1807196"/>
                </a:cubicBezTo>
                <a:cubicBezTo>
                  <a:pt x="5723255" y="1796326"/>
                  <a:pt x="5734125" y="1788173"/>
                  <a:pt x="5728690" y="1777303"/>
                </a:cubicBezTo>
                <a:lnTo>
                  <a:pt x="5730680" y="1777111"/>
                </a:lnTo>
                <a:lnTo>
                  <a:pt x="5731407" y="1780020"/>
                </a:lnTo>
                <a:cubicBezTo>
                  <a:pt x="5739560" y="1780020"/>
                  <a:pt x="5750431" y="1777303"/>
                  <a:pt x="5761301" y="1774586"/>
                </a:cubicBezTo>
                <a:cubicBezTo>
                  <a:pt x="5764019" y="1790891"/>
                  <a:pt x="5774889" y="1782739"/>
                  <a:pt x="5780324" y="1788173"/>
                </a:cubicBezTo>
                <a:cubicBezTo>
                  <a:pt x="5764019" y="1799043"/>
                  <a:pt x="5753148" y="1796326"/>
                  <a:pt x="5742278" y="1793609"/>
                </a:cubicBezTo>
                <a:cubicBezTo>
                  <a:pt x="5742278" y="1799043"/>
                  <a:pt x="5731407" y="1828938"/>
                  <a:pt x="5753148" y="1823502"/>
                </a:cubicBezTo>
                <a:cubicBezTo>
                  <a:pt x="5764019" y="1818067"/>
                  <a:pt x="5742278" y="1812632"/>
                  <a:pt x="5750431" y="1807196"/>
                </a:cubicBezTo>
                <a:cubicBezTo>
                  <a:pt x="5766736" y="1812632"/>
                  <a:pt x="5783042" y="1812632"/>
                  <a:pt x="5796630" y="1823502"/>
                </a:cubicBezTo>
                <a:cubicBezTo>
                  <a:pt x="5812935" y="1812632"/>
                  <a:pt x="5821088" y="1818067"/>
                  <a:pt x="5834676" y="1812632"/>
                </a:cubicBezTo>
                <a:cubicBezTo>
                  <a:pt x="5820409" y="1806517"/>
                  <a:pt x="5798498" y="1809574"/>
                  <a:pt x="5788435" y="1796581"/>
                </a:cubicBezTo>
                <a:lnTo>
                  <a:pt x="5785959" y="1787730"/>
                </a:lnTo>
                <a:lnTo>
                  <a:pt x="5786439" y="1788173"/>
                </a:lnTo>
                <a:cubicBezTo>
                  <a:pt x="5789836" y="1789532"/>
                  <a:pt x="5793912" y="1789532"/>
                  <a:pt x="5799347" y="1788173"/>
                </a:cubicBezTo>
                <a:cubicBezTo>
                  <a:pt x="5821088" y="1807196"/>
                  <a:pt x="5842829" y="1820785"/>
                  <a:pt x="5872722" y="1820785"/>
                </a:cubicBezTo>
                <a:cubicBezTo>
                  <a:pt x="5886310" y="1812632"/>
                  <a:pt x="5889028" y="1799043"/>
                  <a:pt x="5899898" y="1799043"/>
                </a:cubicBezTo>
                <a:cubicBezTo>
                  <a:pt x="5908051" y="1809914"/>
                  <a:pt x="5921639" y="1828938"/>
                  <a:pt x="5935227" y="1812632"/>
                </a:cubicBezTo>
                <a:cubicBezTo>
                  <a:pt x="5935227" y="1820785"/>
                  <a:pt x="5940662" y="1831654"/>
                  <a:pt x="5927074" y="1834372"/>
                </a:cubicBezTo>
                <a:cubicBezTo>
                  <a:pt x="5932509" y="1847961"/>
                  <a:pt x="5943380" y="1847961"/>
                  <a:pt x="5946097" y="1861548"/>
                </a:cubicBezTo>
                <a:cubicBezTo>
                  <a:pt x="5965121" y="1856113"/>
                  <a:pt x="5965121" y="1845242"/>
                  <a:pt x="5978708" y="1839807"/>
                </a:cubicBezTo>
                <a:cubicBezTo>
                  <a:pt x="5984144" y="1853396"/>
                  <a:pt x="5962403" y="1858830"/>
                  <a:pt x="5956968" y="1866984"/>
                </a:cubicBezTo>
                <a:cubicBezTo>
                  <a:pt x="5948815" y="1877853"/>
                  <a:pt x="5948815" y="1891441"/>
                  <a:pt x="5929792" y="1896878"/>
                </a:cubicBezTo>
                <a:cubicBezTo>
                  <a:pt x="5929792" y="1886006"/>
                  <a:pt x="5916204" y="1891441"/>
                  <a:pt x="5921639" y="1883289"/>
                </a:cubicBezTo>
                <a:cubicBezTo>
                  <a:pt x="5927074" y="1877853"/>
                  <a:pt x="5940662" y="1883289"/>
                  <a:pt x="5940662" y="1875136"/>
                </a:cubicBezTo>
                <a:cubicBezTo>
                  <a:pt x="5937945" y="1864265"/>
                  <a:pt x="5932509" y="1880571"/>
                  <a:pt x="5927074" y="1872419"/>
                </a:cubicBezTo>
                <a:cubicBezTo>
                  <a:pt x="5929792" y="1858830"/>
                  <a:pt x="5927074" y="1842525"/>
                  <a:pt x="5913486" y="1837090"/>
                </a:cubicBezTo>
                <a:cubicBezTo>
                  <a:pt x="5910769" y="1847961"/>
                  <a:pt x="5897181" y="1858830"/>
                  <a:pt x="5908051" y="1875136"/>
                </a:cubicBezTo>
                <a:cubicBezTo>
                  <a:pt x="5886310" y="1880571"/>
                  <a:pt x="5889028" y="1834372"/>
                  <a:pt x="5872722" y="1834372"/>
                </a:cubicBezTo>
                <a:cubicBezTo>
                  <a:pt x="5870005" y="1842525"/>
                  <a:pt x="5853699" y="1845242"/>
                  <a:pt x="5856417" y="1856113"/>
                </a:cubicBezTo>
                <a:cubicBezTo>
                  <a:pt x="5837394" y="1850678"/>
                  <a:pt x="5818371" y="1837090"/>
                  <a:pt x="5799347" y="1853396"/>
                </a:cubicBezTo>
                <a:cubicBezTo>
                  <a:pt x="5799347" y="1861548"/>
                  <a:pt x="5804783" y="1861548"/>
                  <a:pt x="5807500" y="1866984"/>
                </a:cubicBezTo>
                <a:cubicBezTo>
                  <a:pt x="5821088" y="1864265"/>
                  <a:pt x="5823806" y="1856113"/>
                  <a:pt x="5831959" y="1853396"/>
                </a:cubicBezTo>
                <a:cubicBezTo>
                  <a:pt x="5829241" y="1861548"/>
                  <a:pt x="5840111" y="1866984"/>
                  <a:pt x="5842829" y="1875136"/>
                </a:cubicBezTo>
                <a:cubicBezTo>
                  <a:pt x="5848264" y="1877853"/>
                  <a:pt x="5853699" y="1866984"/>
                  <a:pt x="5859135" y="1864265"/>
                </a:cubicBezTo>
                <a:cubicBezTo>
                  <a:pt x="5861852" y="1869701"/>
                  <a:pt x="5867287" y="1866984"/>
                  <a:pt x="5867287" y="1875136"/>
                </a:cubicBezTo>
                <a:cubicBezTo>
                  <a:pt x="5875440" y="1877853"/>
                  <a:pt x="5875440" y="1864265"/>
                  <a:pt x="5883593" y="1866984"/>
                </a:cubicBezTo>
                <a:cubicBezTo>
                  <a:pt x="5891746" y="1869701"/>
                  <a:pt x="5889028" y="1877853"/>
                  <a:pt x="5880875" y="1880571"/>
                </a:cubicBezTo>
                <a:cubicBezTo>
                  <a:pt x="5880875" y="1886006"/>
                  <a:pt x="5891746" y="1872419"/>
                  <a:pt x="5891746" y="1883289"/>
                </a:cubicBezTo>
                <a:cubicBezTo>
                  <a:pt x="5883593" y="1894159"/>
                  <a:pt x="5872722" y="1883289"/>
                  <a:pt x="5864570" y="1883289"/>
                </a:cubicBezTo>
                <a:cubicBezTo>
                  <a:pt x="5856417" y="1891441"/>
                  <a:pt x="5870005" y="1894159"/>
                  <a:pt x="5872722" y="1896878"/>
                </a:cubicBezTo>
                <a:cubicBezTo>
                  <a:pt x="5889028" y="1891441"/>
                  <a:pt x="5894463" y="1883289"/>
                  <a:pt x="5908051" y="1877853"/>
                </a:cubicBezTo>
                <a:cubicBezTo>
                  <a:pt x="5908051" y="1886006"/>
                  <a:pt x="5908051" y="1894159"/>
                  <a:pt x="5908051" y="1902312"/>
                </a:cubicBezTo>
                <a:cubicBezTo>
                  <a:pt x="5913486" y="1907747"/>
                  <a:pt x="5918922" y="1891441"/>
                  <a:pt x="5927074" y="1896878"/>
                </a:cubicBezTo>
                <a:cubicBezTo>
                  <a:pt x="5924357" y="1910465"/>
                  <a:pt x="5902616" y="1913182"/>
                  <a:pt x="5910769" y="1929488"/>
                </a:cubicBezTo>
                <a:cubicBezTo>
                  <a:pt x="5899898" y="1932205"/>
                  <a:pt x="5889028" y="1929488"/>
                  <a:pt x="5883593" y="1918617"/>
                </a:cubicBezTo>
                <a:cubicBezTo>
                  <a:pt x="5894463" y="1915900"/>
                  <a:pt x="5891746" y="1918617"/>
                  <a:pt x="5894463" y="1910465"/>
                </a:cubicBezTo>
                <a:cubicBezTo>
                  <a:pt x="5861852" y="1902312"/>
                  <a:pt x="5834676" y="1886006"/>
                  <a:pt x="5807500" y="1869701"/>
                </a:cubicBezTo>
                <a:cubicBezTo>
                  <a:pt x="5785759" y="1861548"/>
                  <a:pt x="5725972" y="1877853"/>
                  <a:pt x="5764019" y="1910465"/>
                </a:cubicBezTo>
                <a:cubicBezTo>
                  <a:pt x="5783042" y="1902312"/>
                  <a:pt x="5802065" y="1894159"/>
                  <a:pt x="5821088" y="1886006"/>
                </a:cubicBezTo>
                <a:cubicBezTo>
                  <a:pt x="5848264" y="1902312"/>
                  <a:pt x="5870005" y="1932205"/>
                  <a:pt x="5902616" y="1940358"/>
                </a:cubicBezTo>
                <a:cubicBezTo>
                  <a:pt x="5921639" y="1932205"/>
                  <a:pt x="5924357" y="1918617"/>
                  <a:pt x="5937945" y="1907747"/>
                </a:cubicBezTo>
                <a:cubicBezTo>
                  <a:pt x="5932509" y="1918617"/>
                  <a:pt x="5929792" y="1932205"/>
                  <a:pt x="5913486" y="1940358"/>
                </a:cubicBezTo>
                <a:cubicBezTo>
                  <a:pt x="5929792" y="1948511"/>
                  <a:pt x="5946097" y="1910465"/>
                  <a:pt x="5965121" y="1921335"/>
                </a:cubicBezTo>
                <a:cubicBezTo>
                  <a:pt x="5959685" y="1929488"/>
                  <a:pt x="5948815" y="1932205"/>
                  <a:pt x="5954250" y="1943076"/>
                </a:cubicBezTo>
                <a:cubicBezTo>
                  <a:pt x="5948815" y="1943076"/>
                  <a:pt x="5946097" y="1937641"/>
                  <a:pt x="5937945" y="1943076"/>
                </a:cubicBezTo>
                <a:cubicBezTo>
                  <a:pt x="5932509" y="1948511"/>
                  <a:pt x="5929792" y="1953946"/>
                  <a:pt x="5935227" y="1962099"/>
                </a:cubicBezTo>
                <a:cubicBezTo>
                  <a:pt x="5937945" y="1962099"/>
                  <a:pt x="5940662" y="1962099"/>
                  <a:pt x="5940662" y="1964817"/>
                </a:cubicBezTo>
                <a:cubicBezTo>
                  <a:pt x="5962403" y="1959381"/>
                  <a:pt x="5956968" y="1943076"/>
                  <a:pt x="5978708" y="1937641"/>
                </a:cubicBezTo>
                <a:cubicBezTo>
                  <a:pt x="5981426" y="1948511"/>
                  <a:pt x="5959685" y="1951229"/>
                  <a:pt x="5962403" y="1962099"/>
                </a:cubicBezTo>
                <a:cubicBezTo>
                  <a:pt x="5970556" y="1975687"/>
                  <a:pt x="5992296" y="1967534"/>
                  <a:pt x="6003167" y="1964817"/>
                </a:cubicBezTo>
                <a:cubicBezTo>
                  <a:pt x="6011320" y="1978405"/>
                  <a:pt x="5989579" y="1986557"/>
                  <a:pt x="5992296" y="2000145"/>
                </a:cubicBezTo>
                <a:cubicBezTo>
                  <a:pt x="5984144" y="1997428"/>
                  <a:pt x="5973273" y="1991992"/>
                  <a:pt x="5965121" y="2002863"/>
                </a:cubicBezTo>
                <a:cubicBezTo>
                  <a:pt x="5959685" y="1986557"/>
                  <a:pt x="5984144" y="1994710"/>
                  <a:pt x="5986861" y="1983840"/>
                </a:cubicBezTo>
                <a:cubicBezTo>
                  <a:pt x="5954250" y="1989275"/>
                  <a:pt x="5932509" y="1970252"/>
                  <a:pt x="5902616" y="1972969"/>
                </a:cubicBezTo>
                <a:cubicBezTo>
                  <a:pt x="5880875" y="1967534"/>
                  <a:pt x="5870005" y="1932205"/>
                  <a:pt x="5840111" y="1943076"/>
                </a:cubicBezTo>
                <a:cubicBezTo>
                  <a:pt x="5826523" y="1934923"/>
                  <a:pt x="5812935" y="1932205"/>
                  <a:pt x="5804783" y="1915900"/>
                </a:cubicBezTo>
                <a:cubicBezTo>
                  <a:pt x="5766736" y="1932205"/>
                  <a:pt x="5818371" y="1964817"/>
                  <a:pt x="5834676" y="1956664"/>
                </a:cubicBezTo>
                <a:cubicBezTo>
                  <a:pt x="5842829" y="1971610"/>
                  <a:pt x="5854379" y="1979763"/>
                  <a:pt x="5866608" y="1986557"/>
                </a:cubicBezTo>
                <a:lnTo>
                  <a:pt x="5884425" y="1997315"/>
                </a:lnTo>
                <a:lnTo>
                  <a:pt x="5872043" y="1995050"/>
                </a:lnTo>
                <a:cubicBezTo>
                  <a:pt x="5862531" y="1994031"/>
                  <a:pt x="5852340" y="1994710"/>
                  <a:pt x="5840111" y="2000145"/>
                </a:cubicBezTo>
                <a:cubicBezTo>
                  <a:pt x="5856417" y="2016451"/>
                  <a:pt x="5878158" y="2016451"/>
                  <a:pt x="5897181" y="2027321"/>
                </a:cubicBezTo>
                <a:cubicBezTo>
                  <a:pt x="5897181" y="2049062"/>
                  <a:pt x="5916204" y="2040909"/>
                  <a:pt x="5918922" y="2054497"/>
                </a:cubicBezTo>
                <a:cubicBezTo>
                  <a:pt x="5908051" y="2057216"/>
                  <a:pt x="5902616" y="2046344"/>
                  <a:pt x="5891746" y="2049062"/>
                </a:cubicBezTo>
                <a:cubicBezTo>
                  <a:pt x="5903975" y="2059254"/>
                  <a:pt x="5914675" y="2074030"/>
                  <a:pt x="5930726" y="2077343"/>
                </a:cubicBezTo>
                <a:lnTo>
                  <a:pt x="5935089" y="2077077"/>
                </a:lnTo>
                <a:lnTo>
                  <a:pt x="5938284" y="2088213"/>
                </a:lnTo>
                <a:lnTo>
                  <a:pt x="5943158" y="2094167"/>
                </a:lnTo>
                <a:lnTo>
                  <a:pt x="5938964" y="2100697"/>
                </a:lnTo>
                <a:cubicBezTo>
                  <a:pt x="5933869" y="2108850"/>
                  <a:pt x="5931151" y="2117003"/>
                  <a:pt x="5943380" y="2125155"/>
                </a:cubicBezTo>
                <a:cubicBezTo>
                  <a:pt x="5939303" y="2129231"/>
                  <a:pt x="5932509" y="2130590"/>
                  <a:pt x="5925036" y="2131269"/>
                </a:cubicBezTo>
                <a:lnTo>
                  <a:pt x="5913850" y="2132287"/>
                </a:lnTo>
                <a:lnTo>
                  <a:pt x="5913614" y="2130548"/>
                </a:lnTo>
                <a:cubicBezTo>
                  <a:pt x="5906862" y="2113095"/>
                  <a:pt x="5889028" y="2101376"/>
                  <a:pt x="5872722" y="2103415"/>
                </a:cubicBezTo>
                <a:cubicBezTo>
                  <a:pt x="5870005" y="2109529"/>
                  <a:pt x="5869835" y="2116663"/>
                  <a:pt x="5871491" y="2123627"/>
                </a:cubicBezTo>
                <a:lnTo>
                  <a:pt x="5871782" y="2124201"/>
                </a:lnTo>
                <a:lnTo>
                  <a:pt x="5870005" y="2127873"/>
                </a:lnTo>
                <a:cubicBezTo>
                  <a:pt x="5857776" y="2122438"/>
                  <a:pt x="5846906" y="2114964"/>
                  <a:pt x="5835695" y="2108510"/>
                </a:cubicBezTo>
                <a:lnTo>
                  <a:pt x="5832067" y="2107188"/>
                </a:lnTo>
                <a:lnTo>
                  <a:pt x="5823806" y="2100697"/>
                </a:lnTo>
                <a:lnTo>
                  <a:pt x="5824977" y="2104604"/>
                </a:lnTo>
                <a:lnTo>
                  <a:pt x="5799347" y="2095262"/>
                </a:lnTo>
                <a:cubicBezTo>
                  <a:pt x="5812935" y="2092544"/>
                  <a:pt x="5815653" y="2092544"/>
                  <a:pt x="5826523" y="2084391"/>
                </a:cubicBezTo>
                <a:cubicBezTo>
                  <a:pt x="5821088" y="2070804"/>
                  <a:pt x="5799347" y="2076238"/>
                  <a:pt x="5802065" y="2057216"/>
                </a:cubicBezTo>
                <a:cubicBezTo>
                  <a:pt x="5807500" y="2054497"/>
                  <a:pt x="5810218" y="2054497"/>
                  <a:pt x="5815653" y="2051779"/>
                </a:cubicBezTo>
                <a:cubicBezTo>
                  <a:pt x="5823806" y="2054497"/>
                  <a:pt x="5826523" y="2068085"/>
                  <a:pt x="5826523" y="2076238"/>
                </a:cubicBezTo>
                <a:cubicBezTo>
                  <a:pt x="5840111" y="2073521"/>
                  <a:pt x="5845547" y="2065368"/>
                  <a:pt x="5845547" y="2057216"/>
                </a:cubicBezTo>
                <a:cubicBezTo>
                  <a:pt x="5834676" y="2043627"/>
                  <a:pt x="5818371" y="2038191"/>
                  <a:pt x="5793912" y="2051779"/>
                </a:cubicBezTo>
                <a:cubicBezTo>
                  <a:pt x="5780324" y="2035474"/>
                  <a:pt x="5796630" y="2030039"/>
                  <a:pt x="5791195" y="2016451"/>
                </a:cubicBezTo>
                <a:cubicBezTo>
                  <a:pt x="5785759" y="2030039"/>
                  <a:pt x="5780324" y="2046344"/>
                  <a:pt x="5766736" y="2057216"/>
                </a:cubicBezTo>
                <a:cubicBezTo>
                  <a:pt x="5783042" y="2106132"/>
                  <a:pt x="5807500" y="2138743"/>
                  <a:pt x="5848264" y="2141460"/>
                </a:cubicBezTo>
                <a:cubicBezTo>
                  <a:pt x="5842829" y="2149613"/>
                  <a:pt x="5840111" y="2157767"/>
                  <a:pt x="5831959" y="2165919"/>
                </a:cubicBezTo>
                <a:cubicBezTo>
                  <a:pt x="5837394" y="2168636"/>
                  <a:pt x="5848264" y="2168636"/>
                  <a:pt x="5842829" y="2176789"/>
                </a:cubicBezTo>
                <a:cubicBezTo>
                  <a:pt x="5826523" y="2184943"/>
                  <a:pt x="5829241" y="2155048"/>
                  <a:pt x="5812935" y="2157767"/>
                </a:cubicBezTo>
                <a:cubicBezTo>
                  <a:pt x="5810218" y="2160484"/>
                  <a:pt x="5807500" y="2160484"/>
                  <a:pt x="5804783" y="2163202"/>
                </a:cubicBezTo>
                <a:cubicBezTo>
                  <a:pt x="5810218" y="2171354"/>
                  <a:pt x="5823806" y="2176789"/>
                  <a:pt x="5815653" y="2187659"/>
                </a:cubicBezTo>
                <a:cubicBezTo>
                  <a:pt x="5818371" y="2195813"/>
                  <a:pt x="5840111" y="2174071"/>
                  <a:pt x="5840111" y="2193094"/>
                </a:cubicBezTo>
                <a:cubicBezTo>
                  <a:pt x="5850982" y="2190378"/>
                  <a:pt x="5845547" y="2182224"/>
                  <a:pt x="5848264" y="2176789"/>
                </a:cubicBezTo>
                <a:cubicBezTo>
                  <a:pt x="5864570" y="2171354"/>
                  <a:pt x="5861852" y="2195813"/>
                  <a:pt x="5859135" y="2201248"/>
                </a:cubicBezTo>
                <a:cubicBezTo>
                  <a:pt x="5842829" y="2209400"/>
                  <a:pt x="5834676" y="2195813"/>
                  <a:pt x="5821088" y="2195813"/>
                </a:cubicBezTo>
                <a:cubicBezTo>
                  <a:pt x="5812935" y="2198531"/>
                  <a:pt x="5818371" y="2203965"/>
                  <a:pt x="5810218" y="2206683"/>
                </a:cubicBezTo>
                <a:cubicBezTo>
                  <a:pt x="5815653" y="2222988"/>
                  <a:pt x="5842829" y="2195813"/>
                  <a:pt x="5848264" y="2212119"/>
                </a:cubicBezTo>
                <a:cubicBezTo>
                  <a:pt x="5867287" y="2206683"/>
                  <a:pt x="5859135" y="2193094"/>
                  <a:pt x="5872722" y="2184943"/>
                </a:cubicBezTo>
                <a:cubicBezTo>
                  <a:pt x="5883593" y="2187659"/>
                  <a:pt x="5875440" y="2195813"/>
                  <a:pt x="5878158" y="2203965"/>
                </a:cubicBezTo>
                <a:cubicBezTo>
                  <a:pt x="5902616" y="2222988"/>
                  <a:pt x="5943380" y="2206683"/>
                  <a:pt x="5962403" y="2233858"/>
                </a:cubicBezTo>
                <a:cubicBezTo>
                  <a:pt x="5973273" y="2231141"/>
                  <a:pt x="5981426" y="2231141"/>
                  <a:pt x="5992296" y="2225705"/>
                </a:cubicBezTo>
                <a:cubicBezTo>
                  <a:pt x="5992296" y="2239293"/>
                  <a:pt x="5967838" y="2244730"/>
                  <a:pt x="5956968" y="2252882"/>
                </a:cubicBezTo>
                <a:cubicBezTo>
                  <a:pt x="5943380" y="2214835"/>
                  <a:pt x="5899898" y="2236577"/>
                  <a:pt x="5878158" y="2212119"/>
                </a:cubicBezTo>
                <a:cubicBezTo>
                  <a:pt x="5864570" y="2214835"/>
                  <a:pt x="5875440" y="2228423"/>
                  <a:pt x="5872722" y="2236577"/>
                </a:cubicBezTo>
                <a:cubicBezTo>
                  <a:pt x="5848264" y="2242012"/>
                  <a:pt x="5834676" y="2225705"/>
                  <a:pt x="5815653" y="2222988"/>
                </a:cubicBezTo>
                <a:cubicBezTo>
                  <a:pt x="5815653" y="2236577"/>
                  <a:pt x="5834676" y="2252882"/>
                  <a:pt x="5848264" y="2252882"/>
                </a:cubicBezTo>
                <a:cubicBezTo>
                  <a:pt x="5834676" y="2258317"/>
                  <a:pt x="5823806" y="2252882"/>
                  <a:pt x="5810218" y="2258317"/>
                </a:cubicBezTo>
                <a:cubicBezTo>
                  <a:pt x="5804783" y="2244730"/>
                  <a:pt x="5796630" y="2228423"/>
                  <a:pt x="5804783" y="2217554"/>
                </a:cubicBezTo>
                <a:cubicBezTo>
                  <a:pt x="5802065" y="2214836"/>
                  <a:pt x="5799348" y="2214326"/>
                  <a:pt x="5796672" y="2214878"/>
                </a:cubicBezTo>
                <a:lnTo>
                  <a:pt x="5789604" y="2218203"/>
                </a:lnTo>
                <a:lnTo>
                  <a:pt x="5784401" y="2211438"/>
                </a:lnTo>
                <a:cubicBezTo>
                  <a:pt x="5781683" y="2210079"/>
                  <a:pt x="5778966" y="2209400"/>
                  <a:pt x="5777607" y="2206683"/>
                </a:cubicBezTo>
                <a:cubicBezTo>
                  <a:pt x="5769454" y="2146895"/>
                  <a:pt x="5709667" y="2160484"/>
                  <a:pt x="5671620" y="2152332"/>
                </a:cubicBezTo>
                <a:cubicBezTo>
                  <a:pt x="5678414" y="2168637"/>
                  <a:pt x="5691323" y="2174071"/>
                  <a:pt x="5705250" y="2178149"/>
                </a:cubicBezTo>
                <a:lnTo>
                  <a:pt x="5712931" y="2180444"/>
                </a:lnTo>
                <a:lnTo>
                  <a:pt x="5711110" y="2182692"/>
                </a:lnTo>
                <a:cubicBezTo>
                  <a:pt x="5708138" y="2185111"/>
                  <a:pt x="5704231" y="2186980"/>
                  <a:pt x="5698796" y="2187659"/>
                </a:cubicBezTo>
                <a:cubicBezTo>
                  <a:pt x="5706949" y="2193094"/>
                  <a:pt x="5720537" y="2187659"/>
                  <a:pt x="5731407" y="2187659"/>
                </a:cubicBezTo>
                <a:cubicBezTo>
                  <a:pt x="5734125" y="2195813"/>
                  <a:pt x="5739560" y="2201248"/>
                  <a:pt x="5736843" y="2206683"/>
                </a:cubicBezTo>
                <a:cubicBezTo>
                  <a:pt x="5728690" y="2212119"/>
                  <a:pt x="5720537" y="2214835"/>
                  <a:pt x="5712384" y="2214835"/>
                </a:cubicBezTo>
                <a:cubicBezTo>
                  <a:pt x="5720537" y="2228423"/>
                  <a:pt x="5744995" y="2217554"/>
                  <a:pt x="5742278" y="2236577"/>
                </a:cubicBezTo>
                <a:cubicBezTo>
                  <a:pt x="5728690" y="2242012"/>
                  <a:pt x="5725972" y="2225705"/>
                  <a:pt x="5717819" y="2222988"/>
                </a:cubicBezTo>
                <a:cubicBezTo>
                  <a:pt x="5690643" y="2239293"/>
                  <a:pt x="5725972" y="2280058"/>
                  <a:pt x="5747713" y="2255600"/>
                </a:cubicBezTo>
                <a:cubicBezTo>
                  <a:pt x="5753148" y="2282776"/>
                  <a:pt x="5777607" y="2266470"/>
                  <a:pt x="5785759" y="2288210"/>
                </a:cubicBezTo>
                <a:cubicBezTo>
                  <a:pt x="5774889" y="2293645"/>
                  <a:pt x="5769454" y="2282776"/>
                  <a:pt x="5761301" y="2285492"/>
                </a:cubicBezTo>
                <a:cubicBezTo>
                  <a:pt x="5755866" y="2293645"/>
                  <a:pt x="5783042" y="2293645"/>
                  <a:pt x="5769454" y="2304516"/>
                </a:cubicBezTo>
                <a:cubicBezTo>
                  <a:pt x="5758583" y="2307234"/>
                  <a:pt x="5755866" y="2290928"/>
                  <a:pt x="5742278" y="2299081"/>
                </a:cubicBezTo>
                <a:cubicBezTo>
                  <a:pt x="5736843" y="2290928"/>
                  <a:pt x="5753148" y="2288210"/>
                  <a:pt x="5753148" y="2280058"/>
                </a:cubicBezTo>
                <a:cubicBezTo>
                  <a:pt x="5744995" y="2269187"/>
                  <a:pt x="5728690" y="2271904"/>
                  <a:pt x="5717819" y="2263752"/>
                </a:cubicBezTo>
                <a:cubicBezTo>
                  <a:pt x="5706949" y="2277341"/>
                  <a:pt x="5736843" y="2269187"/>
                  <a:pt x="5736843" y="2285492"/>
                </a:cubicBezTo>
                <a:cubicBezTo>
                  <a:pt x="5725972" y="2290928"/>
                  <a:pt x="5717819" y="2285492"/>
                  <a:pt x="5709667" y="2282776"/>
                </a:cubicBezTo>
                <a:cubicBezTo>
                  <a:pt x="5706949" y="2266470"/>
                  <a:pt x="5712384" y="2255600"/>
                  <a:pt x="5701514" y="2239293"/>
                </a:cubicBezTo>
                <a:cubicBezTo>
                  <a:pt x="5701514" y="2247447"/>
                  <a:pt x="5693361" y="2252882"/>
                  <a:pt x="5701514" y="2263752"/>
                </a:cubicBezTo>
                <a:cubicBezTo>
                  <a:pt x="5692002" y="2269187"/>
                  <a:pt x="5686567" y="2264432"/>
                  <a:pt x="5681472" y="2258996"/>
                </a:cubicBezTo>
                <a:lnTo>
                  <a:pt x="5680650" y="2258215"/>
                </a:lnTo>
                <a:lnTo>
                  <a:pt x="5682491" y="2255600"/>
                </a:lnTo>
                <a:cubicBezTo>
                  <a:pt x="5679773" y="2243371"/>
                  <a:pt x="5672979" y="2240653"/>
                  <a:pt x="5665845" y="2238955"/>
                </a:cubicBezTo>
                <a:lnTo>
                  <a:pt x="5658898" y="2237070"/>
                </a:lnTo>
                <a:lnTo>
                  <a:pt x="5656503" y="2230208"/>
                </a:lnTo>
                <a:lnTo>
                  <a:pt x="5650786" y="2224800"/>
                </a:lnTo>
                <a:lnTo>
                  <a:pt x="5652597" y="2222988"/>
                </a:lnTo>
                <a:cubicBezTo>
                  <a:pt x="5663467" y="2217554"/>
                  <a:pt x="5666185" y="2228423"/>
                  <a:pt x="5674338" y="2225705"/>
                </a:cubicBezTo>
                <a:cubicBezTo>
                  <a:pt x="5671620" y="2220270"/>
                  <a:pt x="5677055" y="2214835"/>
                  <a:pt x="5671620" y="2209400"/>
                </a:cubicBezTo>
                <a:cubicBezTo>
                  <a:pt x="5665505" y="2212118"/>
                  <a:pt x="5658542" y="2214157"/>
                  <a:pt x="5651705" y="2215176"/>
                </a:cubicBezTo>
                <a:lnTo>
                  <a:pt x="5639375" y="2214956"/>
                </a:lnTo>
                <a:lnTo>
                  <a:pt x="5620020" y="2202711"/>
                </a:lnTo>
                <a:lnTo>
                  <a:pt x="5619986" y="2187659"/>
                </a:lnTo>
                <a:cubicBezTo>
                  <a:pt x="5622703" y="2195813"/>
                  <a:pt x="5622703" y="2203965"/>
                  <a:pt x="5630856" y="2201248"/>
                </a:cubicBezTo>
                <a:cubicBezTo>
                  <a:pt x="5625421" y="2184943"/>
                  <a:pt x="5625421" y="2160484"/>
                  <a:pt x="5617268" y="2149613"/>
                </a:cubicBezTo>
                <a:cubicBezTo>
                  <a:pt x="5606398" y="2163202"/>
                  <a:pt x="5625421" y="2201248"/>
                  <a:pt x="5595528" y="2195813"/>
                </a:cubicBezTo>
                <a:lnTo>
                  <a:pt x="5599603" y="2203018"/>
                </a:lnTo>
                <a:lnTo>
                  <a:pt x="5597905" y="2204305"/>
                </a:lnTo>
                <a:cubicBezTo>
                  <a:pt x="5593489" y="2206683"/>
                  <a:pt x="5588733" y="2208041"/>
                  <a:pt x="5584657" y="2206683"/>
                </a:cubicBezTo>
                <a:lnTo>
                  <a:pt x="5589901" y="2192687"/>
                </a:lnTo>
                <a:lnTo>
                  <a:pt x="5590092" y="2193094"/>
                </a:lnTo>
                <a:cubicBezTo>
                  <a:pt x="5598245" y="2190378"/>
                  <a:pt x="5598245" y="2184943"/>
                  <a:pt x="5600963" y="2182224"/>
                </a:cubicBezTo>
                <a:cubicBezTo>
                  <a:pt x="5599604" y="2174071"/>
                  <a:pt x="5595527" y="2169317"/>
                  <a:pt x="5590092" y="2167618"/>
                </a:cubicBezTo>
                <a:lnTo>
                  <a:pt x="5589448" y="2167744"/>
                </a:lnTo>
                <a:lnTo>
                  <a:pt x="5582507" y="2154466"/>
                </a:lnTo>
                <a:lnTo>
                  <a:pt x="5584997" y="2153011"/>
                </a:lnTo>
                <a:cubicBezTo>
                  <a:pt x="5590772" y="2148255"/>
                  <a:pt x="5594169" y="2142819"/>
                  <a:pt x="5592810" y="2136025"/>
                </a:cubicBezTo>
                <a:lnTo>
                  <a:pt x="5570199" y="2145447"/>
                </a:lnTo>
                <a:lnTo>
                  <a:pt x="5562916" y="2141460"/>
                </a:lnTo>
                <a:cubicBezTo>
                  <a:pt x="5561557" y="2142819"/>
                  <a:pt x="5562237" y="2144858"/>
                  <a:pt x="5563256" y="2146897"/>
                </a:cubicBezTo>
                <a:lnTo>
                  <a:pt x="5563790" y="2148117"/>
                </a:lnTo>
                <a:lnTo>
                  <a:pt x="5560199" y="2149613"/>
                </a:lnTo>
                <a:lnTo>
                  <a:pt x="5560275" y="2151438"/>
                </a:lnTo>
                <a:lnTo>
                  <a:pt x="5549329" y="2149613"/>
                </a:lnTo>
                <a:cubicBezTo>
                  <a:pt x="5543893" y="2155048"/>
                  <a:pt x="5541176" y="2163202"/>
                  <a:pt x="5543893" y="2174071"/>
                </a:cubicBezTo>
                <a:cubicBezTo>
                  <a:pt x="5546611" y="2179506"/>
                  <a:pt x="5554764" y="2176789"/>
                  <a:pt x="5560199" y="2174071"/>
                </a:cubicBezTo>
                <a:cubicBezTo>
                  <a:pt x="5552046" y="2190378"/>
                  <a:pt x="5571069" y="2217554"/>
                  <a:pt x="5568352" y="2236577"/>
                </a:cubicBezTo>
                <a:cubicBezTo>
                  <a:pt x="5549329" y="2220270"/>
                  <a:pt x="5554764" y="2184943"/>
                  <a:pt x="5535741" y="2168636"/>
                </a:cubicBezTo>
                <a:cubicBezTo>
                  <a:pt x="5530305" y="2165919"/>
                  <a:pt x="5530305" y="2174071"/>
                  <a:pt x="5519435" y="2176789"/>
                </a:cubicBezTo>
                <a:cubicBezTo>
                  <a:pt x="5516717" y="2171354"/>
                  <a:pt x="5514000" y="2165919"/>
                  <a:pt x="5511282" y="2160484"/>
                </a:cubicBezTo>
                <a:cubicBezTo>
                  <a:pt x="5519435" y="2157767"/>
                  <a:pt x="5522153" y="2160484"/>
                  <a:pt x="5527588" y="2160484"/>
                </a:cubicBezTo>
                <a:cubicBezTo>
                  <a:pt x="5522153" y="2155048"/>
                  <a:pt x="5516717" y="2157767"/>
                  <a:pt x="5508565" y="2157767"/>
                </a:cubicBezTo>
                <a:cubicBezTo>
                  <a:pt x="5518076" y="2142819"/>
                  <a:pt x="5514000" y="2121758"/>
                  <a:pt x="5504149" y="2103415"/>
                </a:cubicBezTo>
                <a:lnTo>
                  <a:pt x="5498656" y="2096031"/>
                </a:lnTo>
                <a:lnTo>
                  <a:pt x="5497694" y="2078956"/>
                </a:lnTo>
                <a:lnTo>
                  <a:pt x="5483467" y="2077375"/>
                </a:lnTo>
                <a:lnTo>
                  <a:pt x="5465083" y="2065368"/>
                </a:lnTo>
                <a:cubicBezTo>
                  <a:pt x="5459648" y="2073521"/>
                  <a:pt x="5470518" y="2081674"/>
                  <a:pt x="5475954" y="2087109"/>
                </a:cubicBezTo>
                <a:lnTo>
                  <a:pt x="5474196" y="2094432"/>
                </a:lnTo>
                <a:lnTo>
                  <a:pt x="5473236" y="2095262"/>
                </a:lnTo>
                <a:lnTo>
                  <a:pt x="5473798" y="2096090"/>
                </a:lnTo>
                <a:lnTo>
                  <a:pt x="5471877" y="2104095"/>
                </a:lnTo>
                <a:cubicBezTo>
                  <a:pt x="5471198" y="2108850"/>
                  <a:pt x="5471877" y="2112926"/>
                  <a:pt x="5475954" y="2117003"/>
                </a:cubicBezTo>
                <a:cubicBezTo>
                  <a:pt x="5451495" y="2119720"/>
                  <a:pt x="5456930" y="2133307"/>
                  <a:pt x="5440625" y="2136025"/>
                </a:cubicBezTo>
                <a:cubicBezTo>
                  <a:pt x="5440625" y="2125155"/>
                  <a:pt x="5454213" y="2117003"/>
                  <a:pt x="5462366" y="2108850"/>
                </a:cubicBezTo>
                <a:cubicBezTo>
                  <a:pt x="5459648" y="2100697"/>
                  <a:pt x="5451495" y="2103415"/>
                  <a:pt x="5448778" y="2095262"/>
                </a:cubicBezTo>
                <a:cubicBezTo>
                  <a:pt x="5451495" y="2092544"/>
                  <a:pt x="5454213" y="2089827"/>
                  <a:pt x="5459648" y="2087109"/>
                </a:cubicBezTo>
                <a:cubicBezTo>
                  <a:pt x="5448778" y="2084391"/>
                  <a:pt x="5432472" y="2078956"/>
                  <a:pt x="5421602" y="2092544"/>
                </a:cubicBezTo>
                <a:cubicBezTo>
                  <a:pt x="5427037" y="2103415"/>
                  <a:pt x="5437907" y="2097980"/>
                  <a:pt x="5440625" y="2114285"/>
                </a:cubicBezTo>
                <a:cubicBezTo>
                  <a:pt x="5421602" y="2117003"/>
                  <a:pt x="5405296" y="2119720"/>
                  <a:pt x="5391708" y="2117003"/>
                </a:cubicBezTo>
                <a:cubicBezTo>
                  <a:pt x="5388991" y="2108850"/>
                  <a:pt x="5402579" y="2108850"/>
                  <a:pt x="5410731" y="2103415"/>
                </a:cubicBezTo>
                <a:cubicBezTo>
                  <a:pt x="5408014" y="2097980"/>
                  <a:pt x="5408014" y="2095262"/>
                  <a:pt x="5405296" y="2092544"/>
                </a:cubicBezTo>
                <a:cubicBezTo>
                  <a:pt x="5399861" y="2087109"/>
                  <a:pt x="5388991" y="2095262"/>
                  <a:pt x="5380838" y="2097980"/>
                </a:cubicBezTo>
                <a:cubicBezTo>
                  <a:pt x="5386273" y="2087109"/>
                  <a:pt x="5402579" y="2081674"/>
                  <a:pt x="5402579" y="2070804"/>
                </a:cubicBezTo>
                <a:cubicBezTo>
                  <a:pt x="5402579" y="2073521"/>
                  <a:pt x="5405296" y="2078956"/>
                  <a:pt x="5408014" y="2084391"/>
                </a:cubicBezTo>
                <a:cubicBezTo>
                  <a:pt x="5435190" y="2073521"/>
                  <a:pt x="5462366" y="2073521"/>
                  <a:pt x="5451495" y="2051779"/>
                </a:cubicBezTo>
                <a:cubicBezTo>
                  <a:pt x="5450816" y="2051100"/>
                  <a:pt x="5446570" y="2049062"/>
                  <a:pt x="5440200" y="2046302"/>
                </a:cubicBezTo>
                <a:lnTo>
                  <a:pt x="5429537" y="2041950"/>
                </a:lnTo>
                <a:lnTo>
                  <a:pt x="5420583" y="2036833"/>
                </a:lnTo>
                <a:cubicBezTo>
                  <a:pt x="5416167" y="2034794"/>
                  <a:pt x="5412090" y="2031397"/>
                  <a:pt x="5410731" y="2021886"/>
                </a:cubicBezTo>
                <a:cubicBezTo>
                  <a:pt x="5427037" y="2013733"/>
                  <a:pt x="5424319" y="2000145"/>
                  <a:pt x="5435190" y="1994710"/>
                </a:cubicBezTo>
                <a:cubicBezTo>
                  <a:pt x="5416167" y="1981122"/>
                  <a:pt x="5448778" y="1967534"/>
                  <a:pt x="5440625" y="1953946"/>
                </a:cubicBezTo>
                <a:cubicBezTo>
                  <a:pt x="5429755" y="1959381"/>
                  <a:pt x="5424319" y="1953946"/>
                  <a:pt x="5413449" y="1959381"/>
                </a:cubicBezTo>
                <a:cubicBezTo>
                  <a:pt x="5410731" y="1970252"/>
                  <a:pt x="5440625" y="1986557"/>
                  <a:pt x="5410731" y="1994710"/>
                </a:cubicBezTo>
                <a:cubicBezTo>
                  <a:pt x="5416167" y="2005580"/>
                  <a:pt x="5421602" y="2016451"/>
                  <a:pt x="5405296" y="2019168"/>
                </a:cubicBezTo>
                <a:cubicBezTo>
                  <a:pt x="5399861" y="2011016"/>
                  <a:pt x="5397143" y="2005580"/>
                  <a:pt x="5394426" y="1997428"/>
                </a:cubicBezTo>
                <a:cubicBezTo>
                  <a:pt x="5369968" y="2000145"/>
                  <a:pt x="5342792" y="1991992"/>
                  <a:pt x="5318333" y="2008298"/>
                </a:cubicBezTo>
                <a:cubicBezTo>
                  <a:pt x="5312898" y="1994710"/>
                  <a:pt x="5277569" y="2011016"/>
                  <a:pt x="5274852" y="2021886"/>
                </a:cubicBezTo>
                <a:cubicBezTo>
                  <a:pt x="5291157" y="2017809"/>
                  <a:pt x="5305934" y="2016960"/>
                  <a:pt x="5319735" y="2018022"/>
                </a:cubicBezTo>
                <a:lnTo>
                  <a:pt x="5323565" y="2018768"/>
                </a:lnTo>
                <a:lnTo>
                  <a:pt x="5321051" y="2020528"/>
                </a:lnTo>
                <a:cubicBezTo>
                  <a:pt x="5317654" y="2023924"/>
                  <a:pt x="5314257" y="2027321"/>
                  <a:pt x="5307463" y="2030039"/>
                </a:cubicBezTo>
                <a:cubicBezTo>
                  <a:pt x="5345509" y="2035474"/>
                  <a:pt x="5353662" y="2089827"/>
                  <a:pt x="5378120" y="2108850"/>
                </a:cubicBezTo>
                <a:cubicBezTo>
                  <a:pt x="5380838" y="2114285"/>
                  <a:pt x="5369968" y="2117003"/>
                  <a:pt x="5372685" y="2122438"/>
                </a:cubicBezTo>
                <a:cubicBezTo>
                  <a:pt x="5383556" y="2136025"/>
                  <a:pt x="5410731" y="2127873"/>
                  <a:pt x="5408014" y="2149613"/>
                </a:cubicBezTo>
                <a:cubicBezTo>
                  <a:pt x="5397143" y="2155048"/>
                  <a:pt x="5408014" y="2136025"/>
                  <a:pt x="5394426" y="2138743"/>
                </a:cubicBezTo>
                <a:cubicBezTo>
                  <a:pt x="5386273" y="2155048"/>
                  <a:pt x="5410731" y="2171354"/>
                  <a:pt x="5427037" y="2160484"/>
                </a:cubicBezTo>
                <a:cubicBezTo>
                  <a:pt x="5437907" y="2155048"/>
                  <a:pt x="5416167" y="2152332"/>
                  <a:pt x="5429755" y="2146895"/>
                </a:cubicBezTo>
                <a:cubicBezTo>
                  <a:pt x="5440625" y="2138743"/>
                  <a:pt x="5437907" y="2165919"/>
                  <a:pt x="5448778" y="2160484"/>
                </a:cubicBezTo>
                <a:cubicBezTo>
                  <a:pt x="5440625" y="2171354"/>
                  <a:pt x="5418884" y="2155048"/>
                  <a:pt x="5410731" y="2171354"/>
                </a:cubicBezTo>
                <a:cubicBezTo>
                  <a:pt x="5418884" y="2193094"/>
                  <a:pt x="5451495" y="2163202"/>
                  <a:pt x="5459648" y="2184943"/>
                </a:cubicBezTo>
                <a:cubicBezTo>
                  <a:pt x="5454213" y="2195813"/>
                  <a:pt x="5446060" y="2184943"/>
                  <a:pt x="5435190" y="2190378"/>
                </a:cubicBezTo>
                <a:cubicBezTo>
                  <a:pt x="5421602" y="2206683"/>
                  <a:pt x="5456930" y="2195813"/>
                  <a:pt x="5462366" y="2209400"/>
                </a:cubicBezTo>
                <a:cubicBezTo>
                  <a:pt x="5451495" y="2212119"/>
                  <a:pt x="5443342" y="2206683"/>
                  <a:pt x="5432472" y="2206683"/>
                </a:cubicBezTo>
                <a:cubicBezTo>
                  <a:pt x="5429755" y="2198531"/>
                  <a:pt x="5424319" y="2193094"/>
                  <a:pt x="5427037" y="2187659"/>
                </a:cubicBezTo>
                <a:cubicBezTo>
                  <a:pt x="5416167" y="2193094"/>
                  <a:pt x="5408014" y="2198531"/>
                  <a:pt x="5410731" y="2206683"/>
                </a:cubicBezTo>
                <a:cubicBezTo>
                  <a:pt x="5397143" y="2206683"/>
                  <a:pt x="5386273" y="2195813"/>
                  <a:pt x="5375403" y="2187659"/>
                </a:cubicBezTo>
                <a:cubicBezTo>
                  <a:pt x="5391708" y="2187659"/>
                  <a:pt x="5394426" y="2174071"/>
                  <a:pt x="5388991" y="2163202"/>
                </a:cubicBezTo>
                <a:cubicBezTo>
                  <a:pt x="5386273" y="2165919"/>
                  <a:pt x="5386273" y="2168636"/>
                  <a:pt x="5388991" y="2174071"/>
                </a:cubicBezTo>
                <a:cubicBezTo>
                  <a:pt x="5369968" y="2176789"/>
                  <a:pt x="5359097" y="2160484"/>
                  <a:pt x="5337356" y="2168636"/>
                </a:cubicBezTo>
                <a:cubicBezTo>
                  <a:pt x="5335997" y="2162522"/>
                  <a:pt x="5333789" y="2157937"/>
                  <a:pt x="5330944" y="2154496"/>
                </a:cubicBezTo>
                <a:lnTo>
                  <a:pt x="5330056" y="2153867"/>
                </a:lnTo>
                <a:lnTo>
                  <a:pt x="5337356" y="2157767"/>
                </a:lnTo>
                <a:cubicBezTo>
                  <a:pt x="5348227" y="2152332"/>
                  <a:pt x="5367250" y="2171354"/>
                  <a:pt x="5364532" y="2157767"/>
                </a:cubicBezTo>
                <a:cubicBezTo>
                  <a:pt x="5353662" y="2152332"/>
                  <a:pt x="5348227" y="2138743"/>
                  <a:pt x="5345509" y="2122438"/>
                </a:cubicBezTo>
                <a:cubicBezTo>
                  <a:pt x="5334639" y="2125155"/>
                  <a:pt x="5312898" y="2144178"/>
                  <a:pt x="5307463" y="2130590"/>
                </a:cubicBezTo>
                <a:cubicBezTo>
                  <a:pt x="5312898" y="2125155"/>
                  <a:pt x="5318333" y="2127873"/>
                  <a:pt x="5323768" y="2125155"/>
                </a:cubicBezTo>
                <a:cubicBezTo>
                  <a:pt x="5321051" y="2117003"/>
                  <a:pt x="5315616" y="2114285"/>
                  <a:pt x="5310180" y="2111567"/>
                </a:cubicBezTo>
                <a:cubicBezTo>
                  <a:pt x="5293875" y="2117003"/>
                  <a:pt x="5293875" y="2125155"/>
                  <a:pt x="5285722" y="2133307"/>
                </a:cubicBezTo>
                <a:cubicBezTo>
                  <a:pt x="5293875" y="2138743"/>
                  <a:pt x="5303387" y="2141460"/>
                  <a:pt x="5312558" y="2144518"/>
                </a:cubicBezTo>
                <a:lnTo>
                  <a:pt x="5316814" y="2146792"/>
                </a:lnTo>
                <a:lnTo>
                  <a:pt x="5293875" y="2144178"/>
                </a:lnTo>
                <a:cubicBezTo>
                  <a:pt x="5289798" y="2136025"/>
                  <a:pt x="5284363" y="2130590"/>
                  <a:pt x="5278249" y="2126174"/>
                </a:cubicBezTo>
                <a:lnTo>
                  <a:pt x="5275474" y="2124500"/>
                </a:lnTo>
                <a:lnTo>
                  <a:pt x="5282665" y="2121418"/>
                </a:lnTo>
                <a:cubicBezTo>
                  <a:pt x="5287081" y="2117002"/>
                  <a:pt x="5289798" y="2111567"/>
                  <a:pt x="5293875" y="2106132"/>
                </a:cubicBezTo>
                <a:cubicBezTo>
                  <a:pt x="5307463" y="2103415"/>
                  <a:pt x="5312898" y="2122438"/>
                  <a:pt x="5331921" y="2111567"/>
                </a:cubicBezTo>
                <a:cubicBezTo>
                  <a:pt x="5329204" y="2095262"/>
                  <a:pt x="5321051" y="2057216"/>
                  <a:pt x="5296592" y="2073521"/>
                </a:cubicBezTo>
                <a:cubicBezTo>
                  <a:pt x="5302028" y="2081674"/>
                  <a:pt x="5304745" y="2089827"/>
                  <a:pt x="5293875" y="2092544"/>
                </a:cubicBezTo>
                <a:cubicBezTo>
                  <a:pt x="5283004" y="2087109"/>
                  <a:pt x="5291157" y="2076238"/>
                  <a:pt x="5285722" y="2068085"/>
                </a:cubicBezTo>
                <a:cubicBezTo>
                  <a:pt x="5266699" y="2076238"/>
                  <a:pt x="5288440" y="2095262"/>
                  <a:pt x="5280287" y="2106132"/>
                </a:cubicBezTo>
                <a:cubicBezTo>
                  <a:pt x="5277569" y="2111567"/>
                  <a:pt x="5272134" y="2114286"/>
                  <a:pt x="5266359" y="2115644"/>
                </a:cubicBezTo>
                <a:lnTo>
                  <a:pt x="5261486" y="2116059"/>
                </a:lnTo>
                <a:lnTo>
                  <a:pt x="5258546" y="2114285"/>
                </a:lnTo>
                <a:lnTo>
                  <a:pt x="5253667" y="2116725"/>
                </a:lnTo>
                <a:lnTo>
                  <a:pt x="5250393" y="2117003"/>
                </a:lnTo>
                <a:lnTo>
                  <a:pt x="5250936" y="2118089"/>
                </a:lnTo>
                <a:lnTo>
                  <a:pt x="5242240" y="2122438"/>
                </a:lnTo>
                <a:cubicBezTo>
                  <a:pt x="5234088" y="2114285"/>
                  <a:pt x="5225935" y="2108850"/>
                  <a:pt x="5209629" y="2117003"/>
                </a:cubicBezTo>
                <a:cubicBezTo>
                  <a:pt x="5242240" y="2100697"/>
                  <a:pt x="5239523" y="2106132"/>
                  <a:pt x="5272134" y="2100697"/>
                </a:cubicBezTo>
                <a:cubicBezTo>
                  <a:pt x="5274852" y="2084391"/>
                  <a:pt x="5266699" y="2076238"/>
                  <a:pt x="5263981" y="2065368"/>
                </a:cubicBezTo>
                <a:cubicBezTo>
                  <a:pt x="5266699" y="2059932"/>
                  <a:pt x="5280287" y="2054497"/>
                  <a:pt x="5274852" y="2046344"/>
                </a:cubicBezTo>
                <a:cubicBezTo>
                  <a:pt x="5223217" y="2051779"/>
                  <a:pt x="5152560" y="2070804"/>
                  <a:pt x="5106361" y="2076238"/>
                </a:cubicBezTo>
                <a:cubicBezTo>
                  <a:pt x="5098208" y="2076238"/>
                  <a:pt x="5087337" y="2081674"/>
                  <a:pt x="5079185" y="2081674"/>
                </a:cubicBezTo>
                <a:cubicBezTo>
                  <a:pt x="5076467" y="2081674"/>
                  <a:pt x="5073750" y="2073521"/>
                  <a:pt x="5071032" y="2073521"/>
                </a:cubicBezTo>
                <a:cubicBezTo>
                  <a:pt x="5057444" y="2070804"/>
                  <a:pt x="5027550" y="2073521"/>
                  <a:pt x="5022115" y="2089827"/>
                </a:cubicBezTo>
                <a:cubicBezTo>
                  <a:pt x="5043856" y="2095262"/>
                  <a:pt x="5062879" y="2100697"/>
                  <a:pt x="5090055" y="2095262"/>
                </a:cubicBezTo>
                <a:cubicBezTo>
                  <a:pt x="5111796" y="2114285"/>
                  <a:pt x="5147124" y="2103415"/>
                  <a:pt x="5179736" y="2100697"/>
                </a:cubicBezTo>
                <a:lnTo>
                  <a:pt x="5185097" y="2105012"/>
                </a:lnTo>
                <a:lnTo>
                  <a:pt x="5179736" y="2103415"/>
                </a:lnTo>
                <a:cubicBezTo>
                  <a:pt x="5133536" y="2130590"/>
                  <a:pt x="5103643" y="2122438"/>
                  <a:pt x="5076467" y="2111567"/>
                </a:cubicBezTo>
                <a:cubicBezTo>
                  <a:pt x="5071032" y="2114285"/>
                  <a:pt x="5065597" y="2117003"/>
                  <a:pt x="5060162" y="2119720"/>
                </a:cubicBezTo>
                <a:cubicBezTo>
                  <a:pt x="5076467" y="2179506"/>
                  <a:pt x="5106361" y="2261035"/>
                  <a:pt x="5138972" y="2312669"/>
                </a:cubicBezTo>
                <a:cubicBezTo>
                  <a:pt x="5144407" y="2309952"/>
                  <a:pt x="5147124" y="2309952"/>
                  <a:pt x="5152560" y="2307234"/>
                </a:cubicBezTo>
                <a:cubicBezTo>
                  <a:pt x="5144407" y="2263752"/>
                  <a:pt x="5136254" y="2220270"/>
                  <a:pt x="5141689" y="2182224"/>
                </a:cubicBezTo>
                <a:cubicBezTo>
                  <a:pt x="5145766" y="2190378"/>
                  <a:pt x="5152560" y="2191057"/>
                  <a:pt x="5160712" y="2188679"/>
                </a:cubicBezTo>
                <a:lnTo>
                  <a:pt x="5186963" y="2177194"/>
                </a:lnTo>
                <a:lnTo>
                  <a:pt x="5187322" y="2177895"/>
                </a:lnTo>
                <a:lnTo>
                  <a:pt x="5180755" y="2190717"/>
                </a:lnTo>
                <a:cubicBezTo>
                  <a:pt x="5177697" y="2195132"/>
                  <a:pt x="5175659" y="2199888"/>
                  <a:pt x="5179736" y="2206683"/>
                </a:cubicBezTo>
                <a:cubicBezTo>
                  <a:pt x="5189248" y="2205324"/>
                  <a:pt x="5192645" y="2196493"/>
                  <a:pt x="5191625" y="2186301"/>
                </a:cubicBezTo>
                <a:lnTo>
                  <a:pt x="5187322" y="2177895"/>
                </a:lnTo>
                <a:lnTo>
                  <a:pt x="5187888" y="2176789"/>
                </a:lnTo>
                <a:lnTo>
                  <a:pt x="5186963" y="2177194"/>
                </a:lnTo>
                <a:lnTo>
                  <a:pt x="5177018" y="2157767"/>
                </a:lnTo>
                <a:cubicBezTo>
                  <a:pt x="5177018" y="2152332"/>
                  <a:pt x="5168865" y="2160484"/>
                  <a:pt x="5163430" y="2160484"/>
                </a:cubicBezTo>
                <a:cubicBezTo>
                  <a:pt x="5160712" y="2155048"/>
                  <a:pt x="5157995" y="2146895"/>
                  <a:pt x="5155277" y="2141460"/>
                </a:cubicBezTo>
                <a:cubicBezTo>
                  <a:pt x="5166148" y="2133307"/>
                  <a:pt x="5185171" y="2130590"/>
                  <a:pt x="5190606" y="2122438"/>
                </a:cubicBezTo>
                <a:cubicBezTo>
                  <a:pt x="5196041" y="2122438"/>
                  <a:pt x="5201476" y="2127873"/>
                  <a:pt x="5204194" y="2133307"/>
                </a:cubicBezTo>
                <a:cubicBezTo>
                  <a:pt x="5242240" y="2127873"/>
                  <a:pt x="5263981" y="2165919"/>
                  <a:pt x="5296592" y="2174071"/>
                </a:cubicBezTo>
                <a:cubicBezTo>
                  <a:pt x="5299310" y="2184943"/>
                  <a:pt x="5299310" y="2195813"/>
                  <a:pt x="5312898" y="2190378"/>
                </a:cubicBezTo>
                <a:cubicBezTo>
                  <a:pt x="5312898" y="2193094"/>
                  <a:pt x="5307463" y="2193094"/>
                  <a:pt x="5304745" y="2195813"/>
                </a:cubicBezTo>
                <a:cubicBezTo>
                  <a:pt x="5312898" y="2201248"/>
                  <a:pt x="5318333" y="2206683"/>
                  <a:pt x="5329204" y="2198531"/>
                </a:cubicBezTo>
                <a:cubicBezTo>
                  <a:pt x="5329204" y="2206683"/>
                  <a:pt x="5310180" y="2217554"/>
                  <a:pt x="5299310" y="2217554"/>
                </a:cubicBezTo>
                <a:cubicBezTo>
                  <a:pt x="5307463" y="2231141"/>
                  <a:pt x="5326486" y="2220270"/>
                  <a:pt x="5331921" y="2242012"/>
                </a:cubicBezTo>
                <a:cubicBezTo>
                  <a:pt x="5337356" y="2247447"/>
                  <a:pt x="5342792" y="2247447"/>
                  <a:pt x="5353662" y="2242012"/>
                </a:cubicBezTo>
                <a:cubicBezTo>
                  <a:pt x="5350944" y="2231141"/>
                  <a:pt x="5334639" y="2247447"/>
                  <a:pt x="5331921" y="2233858"/>
                </a:cubicBezTo>
                <a:cubicBezTo>
                  <a:pt x="5334639" y="2228423"/>
                  <a:pt x="5342792" y="2225705"/>
                  <a:pt x="5348227" y="2220270"/>
                </a:cubicBezTo>
                <a:cubicBezTo>
                  <a:pt x="5383556" y="2263752"/>
                  <a:pt x="5440625" y="2258317"/>
                  <a:pt x="5489542" y="2271904"/>
                </a:cubicBezTo>
                <a:cubicBezTo>
                  <a:pt x="5478671" y="2271904"/>
                  <a:pt x="5440625" y="2285492"/>
                  <a:pt x="5418884" y="2293645"/>
                </a:cubicBezTo>
                <a:cubicBezTo>
                  <a:pt x="5413449" y="2285492"/>
                  <a:pt x="5418884" y="2280058"/>
                  <a:pt x="5416167" y="2271904"/>
                </a:cubicBezTo>
                <a:cubicBezTo>
                  <a:pt x="5405296" y="2269187"/>
                  <a:pt x="5383556" y="2263752"/>
                  <a:pt x="5386273" y="2280058"/>
                </a:cubicBezTo>
                <a:cubicBezTo>
                  <a:pt x="5372685" y="2274623"/>
                  <a:pt x="5380838" y="2242012"/>
                  <a:pt x="5361815" y="2244730"/>
                </a:cubicBezTo>
                <a:cubicBezTo>
                  <a:pt x="5356380" y="2250165"/>
                  <a:pt x="5364532" y="2263752"/>
                  <a:pt x="5369968" y="2269187"/>
                </a:cubicBezTo>
                <a:cubicBezTo>
                  <a:pt x="5334639" y="2258317"/>
                  <a:pt x="5312898" y="2217554"/>
                  <a:pt x="5269416" y="2222988"/>
                </a:cubicBezTo>
                <a:cubicBezTo>
                  <a:pt x="5274852" y="2233858"/>
                  <a:pt x="5288440" y="2228423"/>
                  <a:pt x="5291157" y="2244730"/>
                </a:cubicBezTo>
                <a:cubicBezTo>
                  <a:pt x="5263981" y="2247447"/>
                  <a:pt x="5266699" y="2285492"/>
                  <a:pt x="5285722" y="2296363"/>
                </a:cubicBezTo>
                <a:cubicBezTo>
                  <a:pt x="5258546" y="2328975"/>
                  <a:pt x="5272134" y="2372456"/>
                  <a:pt x="5296592" y="2421372"/>
                </a:cubicBezTo>
                <a:cubicBezTo>
                  <a:pt x="5321051" y="2413220"/>
                  <a:pt x="5310180" y="2394197"/>
                  <a:pt x="5296592" y="2388762"/>
                </a:cubicBezTo>
                <a:cubicBezTo>
                  <a:pt x="5307463" y="2388762"/>
                  <a:pt x="5323768" y="2388762"/>
                  <a:pt x="5321051" y="2402349"/>
                </a:cubicBezTo>
                <a:cubicBezTo>
                  <a:pt x="5334639" y="2407784"/>
                  <a:pt x="5350944" y="2413220"/>
                  <a:pt x="5369968" y="2413220"/>
                </a:cubicBezTo>
                <a:cubicBezTo>
                  <a:pt x="5378120" y="2402349"/>
                  <a:pt x="5380838" y="2388762"/>
                  <a:pt x="5399861" y="2383327"/>
                </a:cubicBezTo>
                <a:cubicBezTo>
                  <a:pt x="5405296" y="2396914"/>
                  <a:pt x="5408014" y="2410502"/>
                  <a:pt x="5394426" y="2415937"/>
                </a:cubicBezTo>
                <a:cubicBezTo>
                  <a:pt x="5399861" y="2429526"/>
                  <a:pt x="5416167" y="2415937"/>
                  <a:pt x="5427037" y="2418655"/>
                </a:cubicBezTo>
                <a:cubicBezTo>
                  <a:pt x="5435190" y="2399632"/>
                  <a:pt x="5416167" y="2372456"/>
                  <a:pt x="5440625" y="2358868"/>
                </a:cubicBezTo>
                <a:cubicBezTo>
                  <a:pt x="5437907" y="2372456"/>
                  <a:pt x="5435190" y="2388762"/>
                  <a:pt x="5432472" y="2402349"/>
                </a:cubicBezTo>
                <a:cubicBezTo>
                  <a:pt x="5432472" y="2407784"/>
                  <a:pt x="5440625" y="2399632"/>
                  <a:pt x="5446060" y="2399632"/>
                </a:cubicBezTo>
                <a:cubicBezTo>
                  <a:pt x="5446060" y="2407784"/>
                  <a:pt x="5440625" y="2410502"/>
                  <a:pt x="5443342" y="2418655"/>
                </a:cubicBezTo>
                <a:cubicBezTo>
                  <a:pt x="5448778" y="2421372"/>
                  <a:pt x="5454213" y="2418655"/>
                  <a:pt x="5462366" y="2415937"/>
                </a:cubicBezTo>
                <a:cubicBezTo>
                  <a:pt x="5462366" y="2429526"/>
                  <a:pt x="5446060" y="2424090"/>
                  <a:pt x="5437907" y="2426807"/>
                </a:cubicBezTo>
                <a:cubicBezTo>
                  <a:pt x="5432472" y="2437679"/>
                  <a:pt x="5435190" y="2448549"/>
                  <a:pt x="5413449" y="2453983"/>
                </a:cubicBezTo>
                <a:cubicBezTo>
                  <a:pt x="5408014" y="2443113"/>
                  <a:pt x="5427037" y="2440395"/>
                  <a:pt x="5424319" y="2432244"/>
                </a:cubicBezTo>
                <a:cubicBezTo>
                  <a:pt x="5410731" y="2415937"/>
                  <a:pt x="5367250" y="2434961"/>
                  <a:pt x="5348227" y="2443113"/>
                </a:cubicBezTo>
                <a:cubicBezTo>
                  <a:pt x="5350944" y="2459418"/>
                  <a:pt x="5367250" y="2451266"/>
                  <a:pt x="5372685" y="2464854"/>
                </a:cubicBezTo>
                <a:cubicBezTo>
                  <a:pt x="5378120" y="2459418"/>
                  <a:pt x="5383556" y="2451266"/>
                  <a:pt x="5397143" y="2448549"/>
                </a:cubicBezTo>
                <a:cubicBezTo>
                  <a:pt x="5402579" y="2456701"/>
                  <a:pt x="5424319" y="2459418"/>
                  <a:pt x="5421602" y="2470290"/>
                </a:cubicBezTo>
                <a:cubicBezTo>
                  <a:pt x="5413449" y="2475725"/>
                  <a:pt x="5413449" y="2459418"/>
                  <a:pt x="5402579" y="2462136"/>
                </a:cubicBezTo>
                <a:cubicBezTo>
                  <a:pt x="5394426" y="2467571"/>
                  <a:pt x="5402579" y="2478443"/>
                  <a:pt x="5413449" y="2470290"/>
                </a:cubicBezTo>
                <a:cubicBezTo>
                  <a:pt x="5410731" y="2486594"/>
                  <a:pt x="5391708" y="2470290"/>
                  <a:pt x="5380838" y="2475725"/>
                </a:cubicBezTo>
                <a:cubicBezTo>
                  <a:pt x="5380838" y="2478443"/>
                  <a:pt x="5375403" y="2481159"/>
                  <a:pt x="5375403" y="2483877"/>
                </a:cubicBezTo>
                <a:cubicBezTo>
                  <a:pt x="5378120" y="2497465"/>
                  <a:pt x="5394426" y="2478443"/>
                  <a:pt x="5397143" y="2494747"/>
                </a:cubicBezTo>
                <a:cubicBezTo>
                  <a:pt x="5408014" y="2492030"/>
                  <a:pt x="5418884" y="2475725"/>
                  <a:pt x="5424319" y="2489312"/>
                </a:cubicBezTo>
                <a:cubicBezTo>
                  <a:pt x="5418884" y="2492030"/>
                  <a:pt x="5413449" y="2494747"/>
                  <a:pt x="5408014" y="2497465"/>
                </a:cubicBezTo>
                <a:cubicBezTo>
                  <a:pt x="5416167" y="2511053"/>
                  <a:pt x="5429755" y="2492030"/>
                  <a:pt x="5443342" y="2489312"/>
                </a:cubicBezTo>
                <a:cubicBezTo>
                  <a:pt x="5435190" y="2513770"/>
                  <a:pt x="5470518" y="2513770"/>
                  <a:pt x="5486824" y="2497465"/>
                </a:cubicBezTo>
                <a:cubicBezTo>
                  <a:pt x="5484106" y="2492030"/>
                  <a:pt x="5475954" y="2497465"/>
                  <a:pt x="5467801" y="2500182"/>
                </a:cubicBezTo>
                <a:cubicBezTo>
                  <a:pt x="5467801" y="2486594"/>
                  <a:pt x="5481389" y="2475725"/>
                  <a:pt x="5478671" y="2459418"/>
                </a:cubicBezTo>
                <a:cubicBezTo>
                  <a:pt x="5505847" y="2462136"/>
                  <a:pt x="5524870" y="2418655"/>
                  <a:pt x="5554764" y="2426807"/>
                </a:cubicBezTo>
                <a:cubicBezTo>
                  <a:pt x="5549329" y="2440395"/>
                  <a:pt x="5524870" y="2451266"/>
                  <a:pt x="5511282" y="2462136"/>
                </a:cubicBezTo>
                <a:cubicBezTo>
                  <a:pt x="5514000" y="2470290"/>
                  <a:pt x="5522153" y="2464854"/>
                  <a:pt x="5524870" y="2475725"/>
                </a:cubicBezTo>
                <a:cubicBezTo>
                  <a:pt x="5514000" y="2475725"/>
                  <a:pt x="5500412" y="2483877"/>
                  <a:pt x="5511282" y="2497465"/>
                </a:cubicBezTo>
                <a:cubicBezTo>
                  <a:pt x="5505847" y="2500182"/>
                  <a:pt x="5503129" y="2492030"/>
                  <a:pt x="5492259" y="2497465"/>
                </a:cubicBezTo>
                <a:cubicBezTo>
                  <a:pt x="5484106" y="2500182"/>
                  <a:pt x="5492259" y="2508335"/>
                  <a:pt x="5494977" y="2516488"/>
                </a:cubicBezTo>
                <a:cubicBezTo>
                  <a:pt x="5448778" y="2524641"/>
                  <a:pt x="5448778" y="2565405"/>
                  <a:pt x="5424319" y="2587145"/>
                </a:cubicBezTo>
                <a:cubicBezTo>
                  <a:pt x="5448778" y="2592581"/>
                  <a:pt x="5478671" y="2565405"/>
                  <a:pt x="5503129" y="2557252"/>
                </a:cubicBezTo>
                <a:cubicBezTo>
                  <a:pt x="5508565" y="2549099"/>
                  <a:pt x="5497694" y="2551817"/>
                  <a:pt x="5494977" y="2543664"/>
                </a:cubicBezTo>
                <a:cubicBezTo>
                  <a:pt x="5508565" y="2538229"/>
                  <a:pt x="5514000" y="2549099"/>
                  <a:pt x="5527588" y="2540946"/>
                </a:cubicBezTo>
                <a:cubicBezTo>
                  <a:pt x="5527588" y="2524641"/>
                  <a:pt x="5511282" y="2540946"/>
                  <a:pt x="5505847" y="2532794"/>
                </a:cubicBezTo>
                <a:cubicBezTo>
                  <a:pt x="5503129" y="2521923"/>
                  <a:pt x="5524870" y="2521923"/>
                  <a:pt x="5530305" y="2513770"/>
                </a:cubicBezTo>
                <a:cubicBezTo>
                  <a:pt x="5535741" y="2513770"/>
                  <a:pt x="5535741" y="2516488"/>
                  <a:pt x="5538458" y="2521923"/>
                </a:cubicBezTo>
                <a:cubicBezTo>
                  <a:pt x="5538458" y="2516488"/>
                  <a:pt x="5554764" y="2513770"/>
                  <a:pt x="5549329" y="2505618"/>
                </a:cubicBezTo>
                <a:cubicBezTo>
                  <a:pt x="5560199" y="2505618"/>
                  <a:pt x="5562916" y="2519206"/>
                  <a:pt x="5573787" y="2519206"/>
                </a:cubicBezTo>
                <a:cubicBezTo>
                  <a:pt x="5562916" y="2524641"/>
                  <a:pt x="5554764" y="2530076"/>
                  <a:pt x="5552046" y="2540946"/>
                </a:cubicBezTo>
                <a:cubicBezTo>
                  <a:pt x="5565634" y="2554534"/>
                  <a:pt x="5595528" y="2530076"/>
                  <a:pt x="5606398" y="2554534"/>
                </a:cubicBezTo>
                <a:cubicBezTo>
                  <a:pt x="5611833" y="2549099"/>
                  <a:pt x="5614551" y="2543664"/>
                  <a:pt x="5625421" y="2540946"/>
                </a:cubicBezTo>
                <a:cubicBezTo>
                  <a:pt x="5633574" y="2559970"/>
                  <a:pt x="5595528" y="2559970"/>
                  <a:pt x="5587375" y="2557252"/>
                </a:cubicBezTo>
                <a:cubicBezTo>
                  <a:pt x="5579222" y="2565405"/>
                  <a:pt x="5592810" y="2570840"/>
                  <a:pt x="5595528" y="2581710"/>
                </a:cubicBezTo>
                <a:cubicBezTo>
                  <a:pt x="5614551" y="2587145"/>
                  <a:pt x="5641727" y="2584429"/>
                  <a:pt x="5658032" y="2600734"/>
                </a:cubicBezTo>
                <a:cubicBezTo>
                  <a:pt x="5630856" y="2606170"/>
                  <a:pt x="5519435" y="2557252"/>
                  <a:pt x="5541176" y="2625192"/>
                </a:cubicBezTo>
                <a:cubicBezTo>
                  <a:pt x="5524870" y="2627910"/>
                  <a:pt x="5522153" y="2603451"/>
                  <a:pt x="5500412" y="2617039"/>
                </a:cubicBezTo>
                <a:cubicBezTo>
                  <a:pt x="5489542" y="2598016"/>
                  <a:pt x="5541176" y="2600734"/>
                  <a:pt x="5533023" y="2581710"/>
                </a:cubicBezTo>
                <a:cubicBezTo>
                  <a:pt x="5538458" y="2581710"/>
                  <a:pt x="5546611" y="2578993"/>
                  <a:pt x="5557481" y="2573557"/>
                </a:cubicBezTo>
                <a:cubicBezTo>
                  <a:pt x="5554764" y="2557252"/>
                  <a:pt x="5538458" y="2568122"/>
                  <a:pt x="5524870" y="2573557"/>
                </a:cubicBezTo>
                <a:cubicBezTo>
                  <a:pt x="5505847" y="2568122"/>
                  <a:pt x="5473236" y="2589863"/>
                  <a:pt x="5459648" y="2603451"/>
                </a:cubicBezTo>
                <a:cubicBezTo>
                  <a:pt x="5429755" y="2598016"/>
                  <a:pt x="5383556" y="2625192"/>
                  <a:pt x="5383556" y="2652368"/>
                </a:cubicBezTo>
                <a:cubicBezTo>
                  <a:pt x="5413449" y="2652368"/>
                  <a:pt x="5427037" y="2614322"/>
                  <a:pt x="5459648" y="2619757"/>
                </a:cubicBezTo>
                <a:cubicBezTo>
                  <a:pt x="5503129" y="2603451"/>
                  <a:pt x="5451495" y="2625192"/>
                  <a:pt x="5440625" y="2633345"/>
                </a:cubicBezTo>
                <a:cubicBezTo>
                  <a:pt x="5446060" y="2646932"/>
                  <a:pt x="5465083" y="2630627"/>
                  <a:pt x="5473236" y="2636062"/>
                </a:cubicBezTo>
                <a:cubicBezTo>
                  <a:pt x="5462366" y="2627910"/>
                  <a:pt x="5486824" y="2619757"/>
                  <a:pt x="5492259" y="2611604"/>
                </a:cubicBezTo>
                <a:cubicBezTo>
                  <a:pt x="5497694" y="2619757"/>
                  <a:pt x="5489542" y="2625192"/>
                  <a:pt x="5484106" y="2630627"/>
                </a:cubicBezTo>
                <a:cubicBezTo>
                  <a:pt x="5489542" y="2633345"/>
                  <a:pt x="5494977" y="2633345"/>
                  <a:pt x="5500412" y="2630627"/>
                </a:cubicBezTo>
                <a:cubicBezTo>
                  <a:pt x="5500412" y="2646932"/>
                  <a:pt x="5462366" y="2652368"/>
                  <a:pt x="5451495" y="2663238"/>
                </a:cubicBezTo>
                <a:cubicBezTo>
                  <a:pt x="5490221" y="2669355"/>
                  <a:pt x="5527418" y="2681583"/>
                  <a:pt x="5574551" y="2674703"/>
                </a:cubicBezTo>
                <a:lnTo>
                  <a:pt x="5618174" y="2662542"/>
                </a:lnTo>
                <a:lnTo>
                  <a:pt x="5617268" y="2663238"/>
                </a:lnTo>
                <a:cubicBezTo>
                  <a:pt x="5647162" y="2657804"/>
                  <a:pt x="5693361" y="2638780"/>
                  <a:pt x="5698796" y="2668673"/>
                </a:cubicBezTo>
                <a:cubicBezTo>
                  <a:pt x="5685208" y="2660520"/>
                  <a:pt x="5658032" y="2652368"/>
                  <a:pt x="5644444" y="2674108"/>
                </a:cubicBezTo>
                <a:cubicBezTo>
                  <a:pt x="5647162" y="2684979"/>
                  <a:pt x="5655315" y="2687697"/>
                  <a:pt x="5658032" y="2698567"/>
                </a:cubicBezTo>
                <a:cubicBezTo>
                  <a:pt x="5701514" y="2690415"/>
                  <a:pt x="5701514" y="2660520"/>
                  <a:pt x="5736843" y="2644216"/>
                </a:cubicBezTo>
                <a:cubicBezTo>
                  <a:pt x="5734125" y="2644216"/>
                  <a:pt x="5728690" y="2633345"/>
                  <a:pt x="5734125" y="2633345"/>
                </a:cubicBezTo>
                <a:cubicBezTo>
                  <a:pt x="5742278" y="2630627"/>
                  <a:pt x="5755866" y="2627910"/>
                  <a:pt x="5753148" y="2619757"/>
                </a:cubicBezTo>
                <a:cubicBezTo>
                  <a:pt x="5734125" y="2619757"/>
                  <a:pt x="5706949" y="2641497"/>
                  <a:pt x="5693361" y="2617039"/>
                </a:cubicBezTo>
                <a:cubicBezTo>
                  <a:pt x="5678414" y="2621116"/>
                  <a:pt x="5664146" y="2628589"/>
                  <a:pt x="5651238" y="2637082"/>
                </a:cubicBezTo>
                <a:lnTo>
                  <a:pt x="5623410" y="2658510"/>
                </a:lnTo>
                <a:lnTo>
                  <a:pt x="5603680" y="2638780"/>
                </a:lnTo>
                <a:cubicBezTo>
                  <a:pt x="5598245" y="2644216"/>
                  <a:pt x="5592810" y="2649650"/>
                  <a:pt x="5584657" y="2655086"/>
                </a:cubicBezTo>
                <a:cubicBezTo>
                  <a:pt x="5584657" y="2649650"/>
                  <a:pt x="5587375" y="2644216"/>
                  <a:pt x="5581940" y="2636062"/>
                </a:cubicBezTo>
                <a:cubicBezTo>
                  <a:pt x="5579222" y="2627910"/>
                  <a:pt x="5568352" y="2636062"/>
                  <a:pt x="5560199" y="2638780"/>
                </a:cubicBezTo>
                <a:cubicBezTo>
                  <a:pt x="5560199" y="2630627"/>
                  <a:pt x="5573787" y="2625192"/>
                  <a:pt x="5573787" y="2617039"/>
                </a:cubicBezTo>
                <a:cubicBezTo>
                  <a:pt x="5571069" y="2608887"/>
                  <a:pt x="5562916" y="2606170"/>
                  <a:pt x="5554764" y="2611604"/>
                </a:cubicBezTo>
                <a:cubicBezTo>
                  <a:pt x="5568352" y="2598016"/>
                  <a:pt x="5587375" y="2622475"/>
                  <a:pt x="5603680" y="2603451"/>
                </a:cubicBezTo>
                <a:cubicBezTo>
                  <a:pt x="5606398" y="2611604"/>
                  <a:pt x="5581940" y="2614322"/>
                  <a:pt x="5584657" y="2625192"/>
                </a:cubicBezTo>
                <a:cubicBezTo>
                  <a:pt x="5584657" y="2627910"/>
                  <a:pt x="5587375" y="2627910"/>
                  <a:pt x="5590092" y="2630627"/>
                </a:cubicBezTo>
                <a:cubicBezTo>
                  <a:pt x="5600963" y="2627910"/>
                  <a:pt x="5595528" y="2619757"/>
                  <a:pt x="5606398" y="2617039"/>
                </a:cubicBezTo>
                <a:cubicBezTo>
                  <a:pt x="5603680" y="2625192"/>
                  <a:pt x="5611833" y="2636062"/>
                  <a:pt x="5617268" y="2641497"/>
                </a:cubicBezTo>
                <a:cubicBezTo>
                  <a:pt x="5652597" y="2630627"/>
                  <a:pt x="5658032" y="2600734"/>
                  <a:pt x="5704231" y="2592581"/>
                </a:cubicBezTo>
                <a:cubicBezTo>
                  <a:pt x="5731407" y="2611604"/>
                  <a:pt x="5744995" y="2614322"/>
                  <a:pt x="5785759" y="2595299"/>
                </a:cubicBezTo>
                <a:cubicBezTo>
                  <a:pt x="5788477" y="2606170"/>
                  <a:pt x="5764019" y="2606170"/>
                  <a:pt x="5769454" y="2617039"/>
                </a:cubicBezTo>
                <a:cubicBezTo>
                  <a:pt x="5774889" y="2625192"/>
                  <a:pt x="5783042" y="2625192"/>
                  <a:pt x="5793912" y="2622475"/>
                </a:cubicBezTo>
                <a:cubicBezTo>
                  <a:pt x="5774889" y="2636062"/>
                  <a:pt x="5739560" y="2644216"/>
                  <a:pt x="5747713" y="2668673"/>
                </a:cubicBezTo>
                <a:cubicBezTo>
                  <a:pt x="5736843" y="2674108"/>
                  <a:pt x="5734125" y="2668673"/>
                  <a:pt x="5725972" y="2668673"/>
                </a:cubicBezTo>
                <a:cubicBezTo>
                  <a:pt x="5734125" y="2684979"/>
                  <a:pt x="5753148" y="2674108"/>
                  <a:pt x="5766736" y="2676828"/>
                </a:cubicBezTo>
                <a:cubicBezTo>
                  <a:pt x="5753148" y="2695849"/>
                  <a:pt x="5772171" y="2714872"/>
                  <a:pt x="5783042" y="2733896"/>
                </a:cubicBezTo>
                <a:cubicBezTo>
                  <a:pt x="5772171" y="2733896"/>
                  <a:pt x="5764019" y="2723026"/>
                  <a:pt x="5755866" y="2717591"/>
                </a:cubicBezTo>
                <a:cubicBezTo>
                  <a:pt x="5744995" y="2725743"/>
                  <a:pt x="5731407" y="2731179"/>
                  <a:pt x="5731407" y="2742048"/>
                </a:cubicBezTo>
                <a:cubicBezTo>
                  <a:pt x="5720537" y="2744766"/>
                  <a:pt x="5720537" y="2728461"/>
                  <a:pt x="5712384" y="2728461"/>
                </a:cubicBezTo>
                <a:cubicBezTo>
                  <a:pt x="5704231" y="2731179"/>
                  <a:pt x="5704231" y="2755636"/>
                  <a:pt x="5690643" y="2744766"/>
                </a:cubicBezTo>
                <a:cubicBezTo>
                  <a:pt x="5685208" y="2733896"/>
                  <a:pt x="5696079" y="2739331"/>
                  <a:pt x="5701514" y="2736613"/>
                </a:cubicBezTo>
                <a:cubicBezTo>
                  <a:pt x="5698796" y="2731179"/>
                  <a:pt x="5696079" y="2723026"/>
                  <a:pt x="5693361" y="2717591"/>
                </a:cubicBezTo>
                <a:cubicBezTo>
                  <a:pt x="5687926" y="2712155"/>
                  <a:pt x="5677055" y="2720307"/>
                  <a:pt x="5671620" y="2717591"/>
                </a:cubicBezTo>
                <a:cubicBezTo>
                  <a:pt x="5682491" y="2725743"/>
                  <a:pt x="5693361" y="2747483"/>
                  <a:pt x="5685208" y="2758354"/>
                </a:cubicBezTo>
                <a:cubicBezTo>
                  <a:pt x="5693361" y="2763789"/>
                  <a:pt x="5704231" y="2747483"/>
                  <a:pt x="5712384" y="2750201"/>
                </a:cubicBezTo>
                <a:cubicBezTo>
                  <a:pt x="5715102" y="2755636"/>
                  <a:pt x="5712384" y="2758354"/>
                  <a:pt x="5704231" y="2761071"/>
                </a:cubicBezTo>
                <a:cubicBezTo>
                  <a:pt x="5720537" y="2777377"/>
                  <a:pt x="5725972" y="2755636"/>
                  <a:pt x="5750431" y="2752919"/>
                </a:cubicBezTo>
                <a:cubicBezTo>
                  <a:pt x="5750431" y="2763789"/>
                  <a:pt x="5747713" y="2774659"/>
                  <a:pt x="5764019" y="2763789"/>
                </a:cubicBezTo>
                <a:cubicBezTo>
                  <a:pt x="5766736" y="2769224"/>
                  <a:pt x="5761301" y="2771942"/>
                  <a:pt x="5755866" y="2774659"/>
                </a:cubicBezTo>
                <a:cubicBezTo>
                  <a:pt x="5764019" y="2780094"/>
                  <a:pt x="5769454" y="2785530"/>
                  <a:pt x="5774889" y="2796400"/>
                </a:cubicBezTo>
                <a:cubicBezTo>
                  <a:pt x="5761301" y="2799118"/>
                  <a:pt x="5755866" y="2780094"/>
                  <a:pt x="5744995" y="2777377"/>
                </a:cubicBezTo>
                <a:cubicBezTo>
                  <a:pt x="5736843" y="2780094"/>
                  <a:pt x="5736843" y="2785530"/>
                  <a:pt x="5728690" y="2788247"/>
                </a:cubicBezTo>
                <a:cubicBezTo>
                  <a:pt x="5739560" y="2815423"/>
                  <a:pt x="5774889" y="2804554"/>
                  <a:pt x="5780324" y="2820858"/>
                </a:cubicBezTo>
                <a:cubicBezTo>
                  <a:pt x="5747713" y="2826293"/>
                  <a:pt x="5725972" y="2807271"/>
                  <a:pt x="5706949" y="2780094"/>
                </a:cubicBezTo>
                <a:cubicBezTo>
                  <a:pt x="5696079" y="2780094"/>
                  <a:pt x="5701514" y="2788247"/>
                  <a:pt x="5693361" y="2790965"/>
                </a:cubicBezTo>
                <a:cubicBezTo>
                  <a:pt x="5698796" y="2796400"/>
                  <a:pt x="5706949" y="2788247"/>
                  <a:pt x="5709667" y="2796400"/>
                </a:cubicBezTo>
                <a:cubicBezTo>
                  <a:pt x="5698796" y="2801835"/>
                  <a:pt x="5690643" y="2796400"/>
                  <a:pt x="5679773" y="2804554"/>
                </a:cubicBezTo>
                <a:cubicBezTo>
                  <a:pt x="5677055" y="2796400"/>
                  <a:pt x="5682491" y="2788247"/>
                  <a:pt x="5674338" y="2777377"/>
                </a:cubicBezTo>
                <a:cubicBezTo>
                  <a:pt x="5660750" y="2774659"/>
                  <a:pt x="5647162" y="2774659"/>
                  <a:pt x="5639009" y="2766507"/>
                </a:cubicBezTo>
                <a:cubicBezTo>
                  <a:pt x="5625421" y="2769224"/>
                  <a:pt x="5622703" y="2777377"/>
                  <a:pt x="5611833" y="2780094"/>
                </a:cubicBezTo>
                <a:cubicBezTo>
                  <a:pt x="5606398" y="2761071"/>
                  <a:pt x="5595528" y="2761071"/>
                  <a:pt x="5590092" y="2744766"/>
                </a:cubicBezTo>
                <a:cubicBezTo>
                  <a:pt x="5614551" y="2736613"/>
                  <a:pt x="5622703" y="2763789"/>
                  <a:pt x="5647162" y="2761071"/>
                </a:cubicBezTo>
                <a:cubicBezTo>
                  <a:pt x="5655315" y="2750201"/>
                  <a:pt x="5658032" y="2744766"/>
                  <a:pt x="5671620" y="2739331"/>
                </a:cubicBezTo>
                <a:cubicBezTo>
                  <a:pt x="5666185" y="2725743"/>
                  <a:pt x="5649879" y="2731179"/>
                  <a:pt x="5641727" y="2720307"/>
                </a:cubicBezTo>
                <a:cubicBezTo>
                  <a:pt x="5633574" y="2728461"/>
                  <a:pt x="5633574" y="2742048"/>
                  <a:pt x="5617268" y="2742048"/>
                </a:cubicBezTo>
                <a:cubicBezTo>
                  <a:pt x="5609115" y="2733896"/>
                  <a:pt x="5622703" y="2731179"/>
                  <a:pt x="5619986" y="2725743"/>
                </a:cubicBezTo>
                <a:cubicBezTo>
                  <a:pt x="5611833" y="2717591"/>
                  <a:pt x="5595528" y="2731179"/>
                  <a:pt x="5584657" y="2728461"/>
                </a:cubicBezTo>
                <a:cubicBezTo>
                  <a:pt x="5579222" y="2712155"/>
                  <a:pt x="5603680" y="2720307"/>
                  <a:pt x="5611833" y="2717591"/>
                </a:cubicBezTo>
                <a:cubicBezTo>
                  <a:pt x="5592810" y="2717591"/>
                  <a:pt x="5581940" y="2704002"/>
                  <a:pt x="5568352" y="2695849"/>
                </a:cubicBezTo>
                <a:cubicBezTo>
                  <a:pt x="5552046" y="2704002"/>
                  <a:pt x="5535741" y="2709438"/>
                  <a:pt x="5524870" y="2717591"/>
                </a:cubicBezTo>
                <a:cubicBezTo>
                  <a:pt x="5519435" y="2704002"/>
                  <a:pt x="5541176" y="2698567"/>
                  <a:pt x="5554764" y="2693132"/>
                </a:cubicBezTo>
                <a:cubicBezTo>
                  <a:pt x="5530305" y="2679543"/>
                  <a:pt x="5481389" y="2682262"/>
                  <a:pt x="5446060" y="2679543"/>
                </a:cubicBezTo>
                <a:cubicBezTo>
                  <a:pt x="5437907" y="2684979"/>
                  <a:pt x="5454213" y="2695849"/>
                  <a:pt x="5435190" y="2698567"/>
                </a:cubicBezTo>
                <a:cubicBezTo>
                  <a:pt x="5451495" y="2704002"/>
                  <a:pt x="5454213" y="2736613"/>
                  <a:pt x="5475954" y="2733896"/>
                </a:cubicBezTo>
                <a:cubicBezTo>
                  <a:pt x="5489542" y="2723026"/>
                  <a:pt x="5470518" y="2720307"/>
                  <a:pt x="5467801" y="2706720"/>
                </a:cubicBezTo>
                <a:cubicBezTo>
                  <a:pt x="5478671" y="2709438"/>
                  <a:pt x="5484106" y="2717591"/>
                  <a:pt x="5492259" y="2725743"/>
                </a:cubicBezTo>
                <a:cubicBezTo>
                  <a:pt x="5500412" y="2723026"/>
                  <a:pt x="5497694" y="2714872"/>
                  <a:pt x="5494977" y="2709438"/>
                </a:cubicBezTo>
                <a:cubicBezTo>
                  <a:pt x="5505847" y="2709438"/>
                  <a:pt x="5508565" y="2720307"/>
                  <a:pt x="5522153" y="2709438"/>
                </a:cubicBezTo>
                <a:cubicBezTo>
                  <a:pt x="5524870" y="2714872"/>
                  <a:pt x="5519435" y="2720307"/>
                  <a:pt x="5516717" y="2725743"/>
                </a:cubicBezTo>
                <a:cubicBezTo>
                  <a:pt x="5527588" y="2733896"/>
                  <a:pt x="5543893" y="2728461"/>
                  <a:pt x="5552046" y="2744766"/>
                </a:cubicBezTo>
                <a:cubicBezTo>
                  <a:pt x="5530305" y="2755636"/>
                  <a:pt x="5511282" y="2766507"/>
                  <a:pt x="5497694" y="2755636"/>
                </a:cubicBezTo>
                <a:cubicBezTo>
                  <a:pt x="5486824" y="2763789"/>
                  <a:pt x="5500412" y="2769224"/>
                  <a:pt x="5503129" y="2780094"/>
                </a:cubicBezTo>
                <a:cubicBezTo>
                  <a:pt x="5505847" y="2774659"/>
                  <a:pt x="5505847" y="2769224"/>
                  <a:pt x="5516717" y="2766507"/>
                </a:cubicBezTo>
                <a:cubicBezTo>
                  <a:pt x="5524870" y="2788247"/>
                  <a:pt x="5549329" y="2782812"/>
                  <a:pt x="5557481" y="2807271"/>
                </a:cubicBezTo>
                <a:cubicBezTo>
                  <a:pt x="5541176" y="2818141"/>
                  <a:pt x="5538458" y="2799118"/>
                  <a:pt x="5533023" y="2788247"/>
                </a:cubicBezTo>
                <a:cubicBezTo>
                  <a:pt x="5516717" y="2796400"/>
                  <a:pt x="5524870" y="2812706"/>
                  <a:pt x="5533023" y="2826293"/>
                </a:cubicBezTo>
                <a:cubicBezTo>
                  <a:pt x="5541176" y="2823576"/>
                  <a:pt x="5565634" y="2815423"/>
                  <a:pt x="5579222" y="2812706"/>
                </a:cubicBezTo>
                <a:cubicBezTo>
                  <a:pt x="5579222" y="2815423"/>
                  <a:pt x="5581940" y="2820858"/>
                  <a:pt x="5584657" y="2826293"/>
                </a:cubicBezTo>
                <a:cubicBezTo>
                  <a:pt x="5606398" y="2820858"/>
                  <a:pt x="5598245" y="2804554"/>
                  <a:pt x="5600963" y="2790965"/>
                </a:cubicBezTo>
                <a:cubicBezTo>
                  <a:pt x="5617268" y="2782812"/>
                  <a:pt x="5609115" y="2812706"/>
                  <a:pt x="5617268" y="2809988"/>
                </a:cubicBezTo>
                <a:cubicBezTo>
                  <a:pt x="5617268" y="2815423"/>
                  <a:pt x="5603680" y="2818141"/>
                  <a:pt x="5598245" y="2820858"/>
                </a:cubicBezTo>
                <a:cubicBezTo>
                  <a:pt x="5603680" y="2831729"/>
                  <a:pt x="5614551" y="2842599"/>
                  <a:pt x="5595528" y="2848035"/>
                </a:cubicBezTo>
                <a:cubicBezTo>
                  <a:pt x="5606398" y="2853469"/>
                  <a:pt x="5614551" y="2834447"/>
                  <a:pt x="5619986" y="2837165"/>
                </a:cubicBezTo>
                <a:cubicBezTo>
                  <a:pt x="5622703" y="2848035"/>
                  <a:pt x="5619986" y="2853469"/>
                  <a:pt x="5609115" y="2858905"/>
                </a:cubicBezTo>
                <a:cubicBezTo>
                  <a:pt x="5614551" y="2867058"/>
                  <a:pt x="5628139" y="2856187"/>
                  <a:pt x="5630856" y="2867058"/>
                </a:cubicBezTo>
                <a:cubicBezTo>
                  <a:pt x="5633574" y="2875211"/>
                  <a:pt x="5603680" y="2867058"/>
                  <a:pt x="5600963" y="2883363"/>
                </a:cubicBezTo>
                <a:cubicBezTo>
                  <a:pt x="5592810" y="2888798"/>
                  <a:pt x="5587375" y="2886081"/>
                  <a:pt x="5581940" y="2880645"/>
                </a:cubicBezTo>
                <a:cubicBezTo>
                  <a:pt x="5576504" y="2894233"/>
                  <a:pt x="5592810" y="2899669"/>
                  <a:pt x="5600963" y="2902386"/>
                </a:cubicBezTo>
                <a:cubicBezTo>
                  <a:pt x="5600963" y="2910539"/>
                  <a:pt x="5600963" y="2915974"/>
                  <a:pt x="5598245" y="2924127"/>
                </a:cubicBezTo>
                <a:cubicBezTo>
                  <a:pt x="5598245" y="2905104"/>
                  <a:pt x="5571069" y="2907821"/>
                  <a:pt x="5565634" y="2886081"/>
                </a:cubicBezTo>
                <a:cubicBezTo>
                  <a:pt x="5568352" y="2877929"/>
                  <a:pt x="5576504" y="2872493"/>
                  <a:pt x="5576504" y="2864340"/>
                </a:cubicBezTo>
                <a:cubicBezTo>
                  <a:pt x="5557481" y="2853469"/>
                  <a:pt x="5560199" y="2880645"/>
                  <a:pt x="5549329" y="2886081"/>
                </a:cubicBezTo>
                <a:cubicBezTo>
                  <a:pt x="5527588" y="2869775"/>
                  <a:pt x="5511282" y="2842599"/>
                  <a:pt x="5497694" y="2804554"/>
                </a:cubicBezTo>
                <a:cubicBezTo>
                  <a:pt x="5486824" y="2807271"/>
                  <a:pt x="5508565" y="2823576"/>
                  <a:pt x="5494977" y="2826293"/>
                </a:cubicBezTo>
                <a:cubicBezTo>
                  <a:pt x="5473236" y="2831729"/>
                  <a:pt x="5497694" y="2796400"/>
                  <a:pt x="5473236" y="2809988"/>
                </a:cubicBezTo>
                <a:cubicBezTo>
                  <a:pt x="5470518" y="2801835"/>
                  <a:pt x="5486824" y="2799118"/>
                  <a:pt x="5489542" y="2793682"/>
                </a:cubicBezTo>
                <a:cubicBezTo>
                  <a:pt x="5484106" y="2785530"/>
                  <a:pt x="5473236" y="2788247"/>
                  <a:pt x="5467801" y="2780094"/>
                </a:cubicBezTo>
                <a:cubicBezTo>
                  <a:pt x="5467801" y="2774659"/>
                  <a:pt x="5478671" y="2774659"/>
                  <a:pt x="5475954" y="2769224"/>
                </a:cubicBezTo>
                <a:cubicBezTo>
                  <a:pt x="5473236" y="2758354"/>
                  <a:pt x="5462366" y="2758354"/>
                  <a:pt x="5459648" y="2747483"/>
                </a:cubicBezTo>
                <a:cubicBezTo>
                  <a:pt x="5454213" y="2744766"/>
                  <a:pt x="5456930" y="2761071"/>
                  <a:pt x="5443342" y="2761071"/>
                </a:cubicBezTo>
                <a:cubicBezTo>
                  <a:pt x="5448778" y="2755636"/>
                  <a:pt x="5446060" y="2744766"/>
                  <a:pt x="5440625" y="2733896"/>
                </a:cubicBezTo>
                <a:cubicBezTo>
                  <a:pt x="5418884" y="2739331"/>
                  <a:pt x="5424319" y="2752919"/>
                  <a:pt x="5432472" y="2766507"/>
                </a:cubicBezTo>
                <a:cubicBezTo>
                  <a:pt x="5437907" y="2774659"/>
                  <a:pt x="5451495" y="2769224"/>
                  <a:pt x="5462366" y="2769224"/>
                </a:cubicBezTo>
                <a:cubicBezTo>
                  <a:pt x="5467801" y="2774659"/>
                  <a:pt x="5462366" y="2777377"/>
                  <a:pt x="5465083" y="2782812"/>
                </a:cubicBezTo>
                <a:cubicBezTo>
                  <a:pt x="5454213" y="2785530"/>
                  <a:pt x="5448778" y="2780094"/>
                  <a:pt x="5440625" y="2780094"/>
                </a:cubicBezTo>
                <a:cubicBezTo>
                  <a:pt x="5437907" y="2799118"/>
                  <a:pt x="5467801" y="2796400"/>
                  <a:pt x="5462366" y="2815423"/>
                </a:cubicBezTo>
                <a:cubicBezTo>
                  <a:pt x="5456930" y="2818141"/>
                  <a:pt x="5454213" y="2818141"/>
                  <a:pt x="5448778" y="2820858"/>
                </a:cubicBezTo>
                <a:cubicBezTo>
                  <a:pt x="5440625" y="2807271"/>
                  <a:pt x="5437907" y="2777377"/>
                  <a:pt x="5418884" y="2782812"/>
                </a:cubicBezTo>
                <a:cubicBezTo>
                  <a:pt x="5427037" y="2769224"/>
                  <a:pt x="5413449" y="2747483"/>
                  <a:pt x="5410731" y="2728461"/>
                </a:cubicBezTo>
                <a:cubicBezTo>
                  <a:pt x="5405296" y="2725743"/>
                  <a:pt x="5397143" y="2728461"/>
                  <a:pt x="5386273" y="2733896"/>
                </a:cubicBezTo>
                <a:cubicBezTo>
                  <a:pt x="5380838" y="2736613"/>
                  <a:pt x="5383556" y="2744766"/>
                  <a:pt x="5386273" y="2750201"/>
                </a:cubicBezTo>
                <a:cubicBezTo>
                  <a:pt x="5375403" y="2752919"/>
                  <a:pt x="5369968" y="2744766"/>
                  <a:pt x="5359097" y="2750201"/>
                </a:cubicBezTo>
                <a:cubicBezTo>
                  <a:pt x="5361815" y="2766507"/>
                  <a:pt x="5391708" y="2771942"/>
                  <a:pt x="5410731" y="2771942"/>
                </a:cubicBezTo>
                <a:cubicBezTo>
                  <a:pt x="5408014" y="2777377"/>
                  <a:pt x="5402579" y="2782812"/>
                  <a:pt x="5397143" y="2788247"/>
                </a:cubicBezTo>
                <a:cubicBezTo>
                  <a:pt x="5378120" y="2785530"/>
                  <a:pt x="5367250" y="2758354"/>
                  <a:pt x="5342792" y="2769224"/>
                </a:cubicBezTo>
                <a:cubicBezTo>
                  <a:pt x="5348227" y="2785530"/>
                  <a:pt x="5361815" y="2777377"/>
                  <a:pt x="5367250" y="2796400"/>
                </a:cubicBezTo>
                <a:cubicBezTo>
                  <a:pt x="5372685" y="2799118"/>
                  <a:pt x="5372685" y="2785530"/>
                  <a:pt x="5383556" y="2785530"/>
                </a:cubicBezTo>
                <a:cubicBezTo>
                  <a:pt x="5399861" y="2826293"/>
                  <a:pt x="5372685" y="2872493"/>
                  <a:pt x="5410731" y="2899669"/>
                </a:cubicBezTo>
                <a:cubicBezTo>
                  <a:pt x="5410731" y="2883363"/>
                  <a:pt x="5410731" y="2864340"/>
                  <a:pt x="5424319" y="2850752"/>
                </a:cubicBezTo>
                <a:cubicBezTo>
                  <a:pt x="5416167" y="2842599"/>
                  <a:pt x="5399861" y="2850752"/>
                  <a:pt x="5397143" y="2834447"/>
                </a:cubicBezTo>
                <a:cubicBezTo>
                  <a:pt x="5405296" y="2831729"/>
                  <a:pt x="5410731" y="2831729"/>
                  <a:pt x="5418884" y="2831729"/>
                </a:cubicBezTo>
                <a:cubicBezTo>
                  <a:pt x="5424319" y="2845317"/>
                  <a:pt x="5432472" y="2850752"/>
                  <a:pt x="5437907" y="2864340"/>
                </a:cubicBezTo>
                <a:cubicBezTo>
                  <a:pt x="5435190" y="2869775"/>
                  <a:pt x="5429755" y="2875211"/>
                  <a:pt x="5421602" y="2880645"/>
                </a:cubicBezTo>
                <a:cubicBezTo>
                  <a:pt x="5427037" y="2883363"/>
                  <a:pt x="5435190" y="2883363"/>
                  <a:pt x="5440625" y="2883363"/>
                </a:cubicBezTo>
                <a:cubicBezTo>
                  <a:pt x="5446060" y="2880645"/>
                  <a:pt x="5448778" y="2877929"/>
                  <a:pt x="5446060" y="2872493"/>
                </a:cubicBezTo>
                <a:cubicBezTo>
                  <a:pt x="5454213" y="2875211"/>
                  <a:pt x="5465083" y="2886081"/>
                  <a:pt x="5462366" y="2896951"/>
                </a:cubicBezTo>
                <a:cubicBezTo>
                  <a:pt x="5454213" y="2902386"/>
                  <a:pt x="5454213" y="2894233"/>
                  <a:pt x="5448778" y="2894233"/>
                </a:cubicBezTo>
                <a:cubicBezTo>
                  <a:pt x="5443342" y="2896951"/>
                  <a:pt x="5443342" y="2899669"/>
                  <a:pt x="5437907" y="2902386"/>
                </a:cubicBezTo>
                <a:cubicBezTo>
                  <a:pt x="5448778" y="2926845"/>
                  <a:pt x="5473236" y="2910539"/>
                  <a:pt x="5481389" y="2934997"/>
                </a:cubicBezTo>
                <a:cubicBezTo>
                  <a:pt x="5467801" y="2940433"/>
                  <a:pt x="5465083" y="2921409"/>
                  <a:pt x="5454213" y="2918692"/>
                </a:cubicBezTo>
                <a:cubicBezTo>
                  <a:pt x="5413449" y="2932280"/>
                  <a:pt x="5427037" y="2973044"/>
                  <a:pt x="5446060" y="2997502"/>
                </a:cubicBezTo>
                <a:cubicBezTo>
                  <a:pt x="5421602" y="3013807"/>
                  <a:pt x="5416167" y="2989349"/>
                  <a:pt x="5399861" y="2986632"/>
                </a:cubicBezTo>
                <a:cubicBezTo>
                  <a:pt x="5408014" y="2981196"/>
                  <a:pt x="5413449" y="2983914"/>
                  <a:pt x="5418884" y="2983914"/>
                </a:cubicBezTo>
                <a:cubicBezTo>
                  <a:pt x="5410731" y="2970326"/>
                  <a:pt x="5397143" y="2959456"/>
                  <a:pt x="5397143" y="2943150"/>
                </a:cubicBezTo>
                <a:cubicBezTo>
                  <a:pt x="5383556" y="2945868"/>
                  <a:pt x="5378120" y="2970326"/>
                  <a:pt x="5391708" y="2989349"/>
                </a:cubicBezTo>
                <a:cubicBezTo>
                  <a:pt x="5364532" y="2983914"/>
                  <a:pt x="5383556" y="2954020"/>
                  <a:pt x="5375403" y="2934997"/>
                </a:cubicBezTo>
                <a:cubicBezTo>
                  <a:pt x="5364532" y="2929562"/>
                  <a:pt x="5375403" y="2948585"/>
                  <a:pt x="5364532" y="2951303"/>
                </a:cubicBezTo>
                <a:cubicBezTo>
                  <a:pt x="5356380" y="2934997"/>
                  <a:pt x="5367250" y="2924127"/>
                  <a:pt x="5367250" y="2910539"/>
                </a:cubicBezTo>
                <a:cubicBezTo>
                  <a:pt x="5380838" y="2902386"/>
                  <a:pt x="5383556" y="2926845"/>
                  <a:pt x="5383556" y="2934997"/>
                </a:cubicBezTo>
                <a:cubicBezTo>
                  <a:pt x="5408014" y="2924127"/>
                  <a:pt x="5378120" y="2894233"/>
                  <a:pt x="5380838" y="2880645"/>
                </a:cubicBezTo>
                <a:cubicBezTo>
                  <a:pt x="5367250" y="2886081"/>
                  <a:pt x="5369968" y="2894233"/>
                  <a:pt x="5369968" y="2902386"/>
                </a:cubicBezTo>
                <a:cubicBezTo>
                  <a:pt x="5359097" y="2905104"/>
                  <a:pt x="5353662" y="2896951"/>
                  <a:pt x="5348227" y="2886081"/>
                </a:cubicBezTo>
                <a:cubicBezTo>
                  <a:pt x="5359097" y="2883363"/>
                  <a:pt x="5356380" y="2888798"/>
                  <a:pt x="5367250" y="2880645"/>
                </a:cubicBezTo>
                <a:cubicBezTo>
                  <a:pt x="5372685" y="2872493"/>
                  <a:pt x="5348227" y="2867058"/>
                  <a:pt x="5369968" y="2861623"/>
                </a:cubicBezTo>
                <a:cubicBezTo>
                  <a:pt x="5367250" y="2858905"/>
                  <a:pt x="5361815" y="2858905"/>
                  <a:pt x="5356380" y="2858905"/>
                </a:cubicBezTo>
                <a:cubicBezTo>
                  <a:pt x="5359097" y="2848035"/>
                  <a:pt x="5375403" y="2842599"/>
                  <a:pt x="5372685" y="2831729"/>
                </a:cubicBezTo>
                <a:cubicBezTo>
                  <a:pt x="5369968" y="2823576"/>
                  <a:pt x="5356380" y="2829011"/>
                  <a:pt x="5348227" y="2826293"/>
                </a:cubicBezTo>
                <a:cubicBezTo>
                  <a:pt x="5345509" y="2782812"/>
                  <a:pt x="5293875" y="2769224"/>
                  <a:pt x="5263981" y="2755636"/>
                </a:cubicBezTo>
                <a:cubicBezTo>
                  <a:pt x="5250393" y="2763789"/>
                  <a:pt x="5244958" y="2771942"/>
                  <a:pt x="5250393" y="2785530"/>
                </a:cubicBezTo>
                <a:cubicBezTo>
                  <a:pt x="5228652" y="2796400"/>
                  <a:pt x="5239523" y="2820858"/>
                  <a:pt x="5231370" y="2837165"/>
                </a:cubicBezTo>
                <a:cubicBezTo>
                  <a:pt x="5204194" y="2809988"/>
                  <a:pt x="5255828" y="2788247"/>
                  <a:pt x="5239523" y="2755636"/>
                </a:cubicBezTo>
                <a:cubicBezTo>
                  <a:pt x="5220500" y="2771942"/>
                  <a:pt x="5215064" y="2801835"/>
                  <a:pt x="5190606" y="2807271"/>
                </a:cubicBezTo>
                <a:cubicBezTo>
                  <a:pt x="5201476" y="2788247"/>
                  <a:pt x="5212347" y="2766507"/>
                  <a:pt x="5228652" y="2747483"/>
                </a:cubicBezTo>
                <a:cubicBezTo>
                  <a:pt x="5215064" y="2723026"/>
                  <a:pt x="5223217" y="2706720"/>
                  <a:pt x="5215064" y="2684979"/>
                </a:cubicBezTo>
                <a:cubicBezTo>
                  <a:pt x="5204194" y="2690415"/>
                  <a:pt x="5204194" y="2695849"/>
                  <a:pt x="5193324" y="2701284"/>
                </a:cubicBezTo>
                <a:cubicBezTo>
                  <a:pt x="5187888" y="2690415"/>
                  <a:pt x="5182453" y="2682262"/>
                  <a:pt x="5174300" y="2682262"/>
                </a:cubicBezTo>
                <a:cubicBezTo>
                  <a:pt x="5177018" y="2671393"/>
                  <a:pt x="5187888" y="2687697"/>
                  <a:pt x="5196041" y="2679543"/>
                </a:cubicBezTo>
                <a:cubicBezTo>
                  <a:pt x="5201476" y="2676828"/>
                  <a:pt x="5198759" y="2671393"/>
                  <a:pt x="5201476" y="2665955"/>
                </a:cubicBezTo>
                <a:cubicBezTo>
                  <a:pt x="5179736" y="2657804"/>
                  <a:pt x="5163430" y="2674108"/>
                  <a:pt x="5149842" y="2687697"/>
                </a:cubicBezTo>
                <a:cubicBezTo>
                  <a:pt x="5144407" y="2679543"/>
                  <a:pt x="5155277" y="2676828"/>
                  <a:pt x="5147124" y="2665955"/>
                </a:cubicBezTo>
                <a:cubicBezTo>
                  <a:pt x="5160712" y="2671393"/>
                  <a:pt x="5182453" y="2655086"/>
                  <a:pt x="5196041" y="2657804"/>
                </a:cubicBezTo>
                <a:cubicBezTo>
                  <a:pt x="5204194" y="2652368"/>
                  <a:pt x="5206912" y="2644216"/>
                  <a:pt x="5204194" y="2633345"/>
                </a:cubicBezTo>
                <a:cubicBezTo>
                  <a:pt x="5196041" y="2627910"/>
                  <a:pt x="5185171" y="2630627"/>
                  <a:pt x="5182453" y="2638780"/>
                </a:cubicBezTo>
                <a:cubicBezTo>
                  <a:pt x="5174300" y="2636062"/>
                  <a:pt x="5187888" y="2622475"/>
                  <a:pt x="5187888" y="2614322"/>
                </a:cubicBezTo>
                <a:cubicBezTo>
                  <a:pt x="5177018" y="2603451"/>
                  <a:pt x="5174300" y="2625192"/>
                  <a:pt x="5160712" y="2627910"/>
                </a:cubicBezTo>
                <a:cubicBezTo>
                  <a:pt x="5166148" y="2619757"/>
                  <a:pt x="5147124" y="2614322"/>
                  <a:pt x="5152560" y="2603451"/>
                </a:cubicBezTo>
                <a:cubicBezTo>
                  <a:pt x="5160712" y="2598016"/>
                  <a:pt x="5166148" y="2600734"/>
                  <a:pt x="5168865" y="2606170"/>
                </a:cubicBezTo>
                <a:cubicBezTo>
                  <a:pt x="5174300" y="2595299"/>
                  <a:pt x="5166148" y="2578993"/>
                  <a:pt x="5157995" y="2568122"/>
                </a:cubicBezTo>
                <a:cubicBezTo>
                  <a:pt x="5155277" y="2562687"/>
                  <a:pt x="5149842" y="2568122"/>
                  <a:pt x="5144407" y="2568122"/>
                </a:cubicBezTo>
                <a:cubicBezTo>
                  <a:pt x="5138972" y="2568122"/>
                  <a:pt x="5138972" y="2562687"/>
                  <a:pt x="5133536" y="2565405"/>
                </a:cubicBezTo>
                <a:cubicBezTo>
                  <a:pt x="5117231" y="2576275"/>
                  <a:pt x="5147124" y="2589863"/>
                  <a:pt x="5125384" y="2600734"/>
                </a:cubicBezTo>
                <a:cubicBezTo>
                  <a:pt x="5119949" y="2608887"/>
                  <a:pt x="5125384" y="2573557"/>
                  <a:pt x="5111796" y="2589863"/>
                </a:cubicBezTo>
                <a:cubicBezTo>
                  <a:pt x="5100925" y="2587145"/>
                  <a:pt x="5117231" y="2576275"/>
                  <a:pt x="5122666" y="2570840"/>
                </a:cubicBezTo>
                <a:cubicBezTo>
                  <a:pt x="5111796" y="2557252"/>
                  <a:pt x="5106361" y="2538229"/>
                  <a:pt x="5100925" y="2530076"/>
                </a:cubicBezTo>
                <a:cubicBezTo>
                  <a:pt x="5098208" y="2524641"/>
                  <a:pt x="5090055" y="2535511"/>
                  <a:pt x="5084620" y="2535511"/>
                </a:cubicBezTo>
                <a:cubicBezTo>
                  <a:pt x="5081902" y="2527358"/>
                  <a:pt x="5076467" y="2524641"/>
                  <a:pt x="5068314" y="2530076"/>
                </a:cubicBezTo>
                <a:cubicBezTo>
                  <a:pt x="5071032" y="2521923"/>
                  <a:pt x="5068314" y="2511053"/>
                  <a:pt x="5062879" y="2500182"/>
                </a:cubicBezTo>
                <a:cubicBezTo>
                  <a:pt x="5060162" y="2497465"/>
                  <a:pt x="5054726" y="2497465"/>
                  <a:pt x="5049291" y="2500182"/>
                </a:cubicBezTo>
                <a:cubicBezTo>
                  <a:pt x="5041138" y="2486594"/>
                  <a:pt x="5027550" y="2475725"/>
                  <a:pt x="5019398" y="2459418"/>
                </a:cubicBezTo>
                <a:cubicBezTo>
                  <a:pt x="4989504" y="2467571"/>
                  <a:pt x="4981351" y="2421372"/>
                  <a:pt x="4954176" y="2424090"/>
                </a:cubicBezTo>
                <a:cubicBezTo>
                  <a:pt x="4951458" y="2407784"/>
                  <a:pt x="4935152" y="2394197"/>
                  <a:pt x="4921564" y="2383327"/>
                </a:cubicBezTo>
                <a:cubicBezTo>
                  <a:pt x="4918847" y="2386044"/>
                  <a:pt x="4916129" y="2386044"/>
                  <a:pt x="4916129" y="2388762"/>
                </a:cubicBezTo>
                <a:cubicBezTo>
                  <a:pt x="4916129" y="2391479"/>
                  <a:pt x="4916129" y="2396914"/>
                  <a:pt x="4916129" y="2410502"/>
                </a:cubicBezTo>
                <a:lnTo>
                  <a:pt x="4910694" y="2405067"/>
                </a:lnTo>
                <a:cubicBezTo>
                  <a:pt x="4907976" y="2421372"/>
                  <a:pt x="4913412" y="2440395"/>
                  <a:pt x="4891671" y="2443113"/>
                </a:cubicBezTo>
                <a:lnTo>
                  <a:pt x="4886236" y="2445830"/>
                </a:lnTo>
                <a:lnTo>
                  <a:pt x="4878083" y="2429526"/>
                </a:lnTo>
                <a:lnTo>
                  <a:pt x="4875365" y="2459418"/>
                </a:lnTo>
                <a:lnTo>
                  <a:pt x="4853625" y="2483877"/>
                </a:lnTo>
                <a:lnTo>
                  <a:pt x="4878083" y="2483877"/>
                </a:lnTo>
                <a:lnTo>
                  <a:pt x="4869930" y="2497465"/>
                </a:lnTo>
                <a:lnTo>
                  <a:pt x="4883518" y="2505618"/>
                </a:lnTo>
                <a:lnTo>
                  <a:pt x="4891671" y="2535511"/>
                </a:lnTo>
                <a:lnTo>
                  <a:pt x="4886236" y="2543664"/>
                </a:lnTo>
                <a:cubicBezTo>
                  <a:pt x="4878083" y="2538229"/>
                  <a:pt x="4878083" y="2535511"/>
                  <a:pt x="4864495" y="2535511"/>
                </a:cubicBezTo>
                <a:lnTo>
                  <a:pt x="4856342" y="2535511"/>
                </a:lnTo>
                <a:cubicBezTo>
                  <a:pt x="4823731" y="2535511"/>
                  <a:pt x="4853625" y="2532794"/>
                  <a:pt x="4840037" y="2543664"/>
                </a:cubicBezTo>
                <a:lnTo>
                  <a:pt x="4826449" y="2535511"/>
                </a:lnTo>
                <a:lnTo>
                  <a:pt x="4818296" y="2551817"/>
                </a:lnTo>
                <a:lnTo>
                  <a:pt x="4804708" y="2546382"/>
                </a:lnTo>
                <a:lnTo>
                  <a:pt x="4788402" y="2551817"/>
                </a:lnTo>
                <a:lnTo>
                  <a:pt x="4796555" y="2581710"/>
                </a:lnTo>
                <a:lnTo>
                  <a:pt x="4780249" y="2589863"/>
                </a:lnTo>
                <a:cubicBezTo>
                  <a:pt x="4823731" y="2587145"/>
                  <a:pt x="4801990" y="2584429"/>
                  <a:pt x="4812861" y="2557252"/>
                </a:cubicBezTo>
                <a:lnTo>
                  <a:pt x="4848189" y="2595299"/>
                </a:lnTo>
                <a:lnTo>
                  <a:pt x="4826449" y="2603451"/>
                </a:lnTo>
                <a:cubicBezTo>
                  <a:pt x="4810143" y="2595299"/>
                  <a:pt x="4801990" y="2595299"/>
                  <a:pt x="4785685" y="2603451"/>
                </a:cubicBezTo>
                <a:lnTo>
                  <a:pt x="4801990" y="2625192"/>
                </a:lnTo>
                <a:cubicBezTo>
                  <a:pt x="4831884" y="2627910"/>
                  <a:pt x="4834601" y="2627910"/>
                  <a:pt x="4826449" y="2646932"/>
                </a:cubicBezTo>
                <a:lnTo>
                  <a:pt x="4840037" y="2665955"/>
                </a:lnTo>
                <a:lnTo>
                  <a:pt x="4810143" y="2674108"/>
                </a:lnTo>
                <a:lnTo>
                  <a:pt x="4793837" y="2693132"/>
                </a:lnTo>
                <a:lnTo>
                  <a:pt x="4799273" y="2723026"/>
                </a:lnTo>
                <a:cubicBezTo>
                  <a:pt x="4831884" y="2709438"/>
                  <a:pt x="4799273" y="2728461"/>
                  <a:pt x="4829166" y="2717591"/>
                </a:cubicBezTo>
                <a:lnTo>
                  <a:pt x="4845472" y="2731179"/>
                </a:lnTo>
                <a:lnTo>
                  <a:pt x="4856342" y="2723026"/>
                </a:lnTo>
                <a:lnTo>
                  <a:pt x="4840037" y="2701284"/>
                </a:lnTo>
                <a:cubicBezTo>
                  <a:pt x="4869930" y="2704002"/>
                  <a:pt x="4872648" y="2704002"/>
                  <a:pt x="4864495" y="2723026"/>
                </a:cubicBezTo>
                <a:lnTo>
                  <a:pt x="4878083" y="2739331"/>
                </a:lnTo>
                <a:lnTo>
                  <a:pt x="4899824" y="2739331"/>
                </a:lnTo>
                <a:lnTo>
                  <a:pt x="4916129" y="2761071"/>
                </a:lnTo>
                <a:lnTo>
                  <a:pt x="4962328" y="2769224"/>
                </a:lnTo>
                <a:cubicBezTo>
                  <a:pt x="4954176" y="2788247"/>
                  <a:pt x="4948740" y="2804554"/>
                  <a:pt x="4986787" y="2807271"/>
                </a:cubicBezTo>
                <a:lnTo>
                  <a:pt x="4978634" y="2820858"/>
                </a:lnTo>
                <a:cubicBezTo>
                  <a:pt x="5008527" y="2831729"/>
                  <a:pt x="4978634" y="2820858"/>
                  <a:pt x="5008527" y="2842599"/>
                </a:cubicBezTo>
                <a:lnTo>
                  <a:pt x="5008527" y="2864340"/>
                </a:lnTo>
                <a:lnTo>
                  <a:pt x="5024833" y="2872493"/>
                </a:lnTo>
                <a:lnTo>
                  <a:pt x="5016680" y="2886081"/>
                </a:lnTo>
                <a:lnTo>
                  <a:pt x="5027550" y="2894233"/>
                </a:lnTo>
                <a:lnTo>
                  <a:pt x="5030268" y="2978479"/>
                </a:lnTo>
                <a:lnTo>
                  <a:pt x="5008527" y="2994784"/>
                </a:lnTo>
                <a:cubicBezTo>
                  <a:pt x="5019398" y="3027395"/>
                  <a:pt x="5000375" y="2994784"/>
                  <a:pt x="5013963" y="3024678"/>
                </a:cubicBezTo>
                <a:lnTo>
                  <a:pt x="4992222" y="3040983"/>
                </a:lnTo>
                <a:lnTo>
                  <a:pt x="5000375" y="3054571"/>
                </a:lnTo>
                <a:lnTo>
                  <a:pt x="4984069" y="3062724"/>
                </a:lnTo>
                <a:cubicBezTo>
                  <a:pt x="4994939" y="3084465"/>
                  <a:pt x="4986787" y="3073594"/>
                  <a:pt x="4984069" y="3079030"/>
                </a:cubicBezTo>
                <a:cubicBezTo>
                  <a:pt x="4981351" y="3081747"/>
                  <a:pt x="4978634" y="3084465"/>
                  <a:pt x="4978634" y="3084465"/>
                </a:cubicBezTo>
                <a:cubicBezTo>
                  <a:pt x="4975916" y="3081747"/>
                  <a:pt x="4973199" y="3081747"/>
                  <a:pt x="4967763" y="3079030"/>
                </a:cubicBezTo>
                <a:lnTo>
                  <a:pt x="4967763" y="3095335"/>
                </a:lnTo>
                <a:lnTo>
                  <a:pt x="4954176" y="3098053"/>
                </a:lnTo>
                <a:lnTo>
                  <a:pt x="4929717" y="3119794"/>
                </a:lnTo>
                <a:cubicBezTo>
                  <a:pt x="4940588" y="3141534"/>
                  <a:pt x="4932435" y="3127946"/>
                  <a:pt x="4929717" y="3138817"/>
                </a:cubicBezTo>
                <a:lnTo>
                  <a:pt x="4899824" y="3141534"/>
                </a:lnTo>
                <a:cubicBezTo>
                  <a:pt x="4897106" y="3144252"/>
                  <a:pt x="4894389" y="3146970"/>
                  <a:pt x="4894389" y="3146970"/>
                </a:cubicBezTo>
                <a:cubicBezTo>
                  <a:pt x="4897106" y="3149687"/>
                  <a:pt x="4897106" y="3152405"/>
                  <a:pt x="4899824" y="3157840"/>
                </a:cubicBezTo>
                <a:lnTo>
                  <a:pt x="4845472" y="3157840"/>
                </a:lnTo>
                <a:cubicBezTo>
                  <a:pt x="4812861" y="3157840"/>
                  <a:pt x="4842754" y="3155122"/>
                  <a:pt x="4829166" y="3165993"/>
                </a:cubicBezTo>
                <a:lnTo>
                  <a:pt x="4815578" y="3157840"/>
                </a:lnTo>
                <a:lnTo>
                  <a:pt x="4774814" y="3201321"/>
                </a:lnTo>
                <a:lnTo>
                  <a:pt x="4742203" y="3195886"/>
                </a:lnTo>
                <a:lnTo>
                  <a:pt x="4747638" y="3209474"/>
                </a:lnTo>
                <a:lnTo>
                  <a:pt x="4742203" y="3225780"/>
                </a:lnTo>
                <a:lnTo>
                  <a:pt x="4750356" y="3255673"/>
                </a:lnTo>
                <a:cubicBezTo>
                  <a:pt x="4739485" y="3247520"/>
                  <a:pt x="4728615" y="3247520"/>
                  <a:pt x="4728615" y="3225780"/>
                </a:cubicBezTo>
                <a:lnTo>
                  <a:pt x="4728615" y="3204039"/>
                </a:lnTo>
                <a:lnTo>
                  <a:pt x="4728615" y="3187733"/>
                </a:lnTo>
                <a:lnTo>
                  <a:pt x="4690569" y="3171428"/>
                </a:lnTo>
                <a:lnTo>
                  <a:pt x="4668827" y="3163275"/>
                </a:lnTo>
                <a:lnTo>
                  <a:pt x="4676981" y="3146970"/>
                </a:lnTo>
                <a:lnTo>
                  <a:pt x="4655239" y="3146970"/>
                </a:lnTo>
                <a:lnTo>
                  <a:pt x="4647087" y="3130664"/>
                </a:lnTo>
                <a:cubicBezTo>
                  <a:pt x="4676981" y="3130664"/>
                  <a:pt x="4644369" y="3103488"/>
                  <a:pt x="4638933" y="3100770"/>
                </a:cubicBezTo>
                <a:lnTo>
                  <a:pt x="4647087" y="3130664"/>
                </a:lnTo>
                <a:lnTo>
                  <a:pt x="4638933" y="3152405"/>
                </a:lnTo>
                <a:lnTo>
                  <a:pt x="4614475" y="3160558"/>
                </a:lnTo>
                <a:lnTo>
                  <a:pt x="4598169" y="3152405"/>
                </a:lnTo>
                <a:cubicBezTo>
                  <a:pt x="4581865" y="3185016"/>
                  <a:pt x="4600887" y="3165993"/>
                  <a:pt x="4576429" y="3174145"/>
                </a:cubicBezTo>
                <a:lnTo>
                  <a:pt x="4584583" y="3198604"/>
                </a:lnTo>
                <a:cubicBezTo>
                  <a:pt x="4606323" y="3190451"/>
                  <a:pt x="4595453" y="3195886"/>
                  <a:pt x="4614475" y="3182298"/>
                </a:cubicBezTo>
                <a:lnTo>
                  <a:pt x="4622629" y="3198604"/>
                </a:lnTo>
                <a:lnTo>
                  <a:pt x="4606323" y="3214909"/>
                </a:lnTo>
                <a:lnTo>
                  <a:pt x="4622629" y="3214909"/>
                </a:lnTo>
                <a:lnTo>
                  <a:pt x="4630781" y="3231215"/>
                </a:lnTo>
                <a:lnTo>
                  <a:pt x="4622629" y="3244803"/>
                </a:lnTo>
                <a:lnTo>
                  <a:pt x="4622629" y="3261108"/>
                </a:lnTo>
                <a:lnTo>
                  <a:pt x="4606323" y="3252956"/>
                </a:lnTo>
                <a:lnTo>
                  <a:pt x="4606323" y="3269261"/>
                </a:lnTo>
                <a:lnTo>
                  <a:pt x="4592735" y="3269261"/>
                </a:lnTo>
                <a:lnTo>
                  <a:pt x="4584583" y="3255673"/>
                </a:lnTo>
                <a:lnTo>
                  <a:pt x="4576429" y="3280132"/>
                </a:lnTo>
                <a:lnTo>
                  <a:pt x="4562841" y="3271979"/>
                </a:lnTo>
                <a:lnTo>
                  <a:pt x="4562841" y="3299155"/>
                </a:lnTo>
                <a:cubicBezTo>
                  <a:pt x="4543819" y="3299155"/>
                  <a:pt x="4560123" y="3326331"/>
                  <a:pt x="4562841" y="3331766"/>
                </a:cubicBezTo>
                <a:lnTo>
                  <a:pt x="4579147" y="3323613"/>
                </a:lnTo>
                <a:lnTo>
                  <a:pt x="4562841" y="3301872"/>
                </a:lnTo>
                <a:lnTo>
                  <a:pt x="4579147" y="3301872"/>
                </a:lnTo>
                <a:lnTo>
                  <a:pt x="4600887" y="3282849"/>
                </a:lnTo>
                <a:lnTo>
                  <a:pt x="4622629" y="3291002"/>
                </a:lnTo>
                <a:lnTo>
                  <a:pt x="4633499" y="3282849"/>
                </a:lnTo>
                <a:lnTo>
                  <a:pt x="4625345" y="3269261"/>
                </a:lnTo>
                <a:lnTo>
                  <a:pt x="4641651" y="3269261"/>
                </a:lnTo>
                <a:lnTo>
                  <a:pt x="4641651" y="3285567"/>
                </a:lnTo>
                <a:lnTo>
                  <a:pt x="4657957" y="3277414"/>
                </a:lnTo>
                <a:lnTo>
                  <a:pt x="4641651" y="3255673"/>
                </a:lnTo>
                <a:cubicBezTo>
                  <a:pt x="4660675" y="3247520"/>
                  <a:pt x="4644369" y="3247520"/>
                  <a:pt x="4663393" y="3255673"/>
                </a:cubicBezTo>
                <a:cubicBezTo>
                  <a:pt x="4679697" y="3231215"/>
                  <a:pt x="4676981" y="3250238"/>
                  <a:pt x="4679697" y="3217627"/>
                </a:cubicBezTo>
                <a:lnTo>
                  <a:pt x="4657957" y="3217627"/>
                </a:lnTo>
                <a:cubicBezTo>
                  <a:pt x="4671545" y="3195886"/>
                  <a:pt x="4679697" y="3198604"/>
                  <a:pt x="4696004" y="3179581"/>
                </a:cubicBezTo>
                <a:lnTo>
                  <a:pt x="4687851" y="3209474"/>
                </a:lnTo>
                <a:lnTo>
                  <a:pt x="4709592" y="3209474"/>
                </a:lnTo>
                <a:cubicBezTo>
                  <a:pt x="4701439" y="3228497"/>
                  <a:pt x="4701439" y="3212192"/>
                  <a:pt x="4709592" y="3231215"/>
                </a:cubicBezTo>
                <a:cubicBezTo>
                  <a:pt x="4701439" y="3231215"/>
                  <a:pt x="4698721" y="3233932"/>
                  <a:pt x="4696004" y="3233932"/>
                </a:cubicBezTo>
                <a:cubicBezTo>
                  <a:pt x="4693286" y="3236650"/>
                  <a:pt x="4690569" y="3239368"/>
                  <a:pt x="4685133" y="3244803"/>
                </a:cubicBezTo>
                <a:lnTo>
                  <a:pt x="4693286" y="3258391"/>
                </a:lnTo>
                <a:cubicBezTo>
                  <a:pt x="4660675" y="3261108"/>
                  <a:pt x="4663393" y="3263826"/>
                  <a:pt x="4655239" y="3296437"/>
                </a:cubicBezTo>
                <a:lnTo>
                  <a:pt x="4696004" y="3296437"/>
                </a:lnTo>
                <a:lnTo>
                  <a:pt x="4679697" y="3274696"/>
                </a:lnTo>
                <a:cubicBezTo>
                  <a:pt x="4679697" y="3274696"/>
                  <a:pt x="4696004" y="3266544"/>
                  <a:pt x="4696004" y="3266544"/>
                </a:cubicBezTo>
                <a:lnTo>
                  <a:pt x="4712309" y="3266544"/>
                </a:lnTo>
                <a:lnTo>
                  <a:pt x="4720462" y="3296437"/>
                </a:lnTo>
                <a:lnTo>
                  <a:pt x="4734050" y="3312743"/>
                </a:lnTo>
                <a:lnTo>
                  <a:pt x="4763944" y="3307308"/>
                </a:lnTo>
                <a:lnTo>
                  <a:pt x="4763944" y="3285567"/>
                </a:lnTo>
                <a:cubicBezTo>
                  <a:pt x="4782967" y="3299155"/>
                  <a:pt x="4772097" y="3296437"/>
                  <a:pt x="4796555" y="3304590"/>
                </a:cubicBezTo>
                <a:lnTo>
                  <a:pt x="4780249" y="3310025"/>
                </a:lnTo>
                <a:lnTo>
                  <a:pt x="4788402" y="3323613"/>
                </a:lnTo>
                <a:lnTo>
                  <a:pt x="4782967" y="3331766"/>
                </a:lnTo>
                <a:lnTo>
                  <a:pt x="4766661" y="3339919"/>
                </a:lnTo>
                <a:lnTo>
                  <a:pt x="4766661" y="3318178"/>
                </a:lnTo>
                <a:lnTo>
                  <a:pt x="4750356" y="3318178"/>
                </a:lnTo>
                <a:lnTo>
                  <a:pt x="4758509" y="3339919"/>
                </a:lnTo>
                <a:cubicBezTo>
                  <a:pt x="4747638" y="3339919"/>
                  <a:pt x="4750356" y="3337201"/>
                  <a:pt x="4750356" y="3348071"/>
                </a:cubicBezTo>
                <a:cubicBezTo>
                  <a:pt x="4750356" y="3377965"/>
                  <a:pt x="4747638" y="3350789"/>
                  <a:pt x="4758509" y="3369812"/>
                </a:cubicBezTo>
                <a:lnTo>
                  <a:pt x="4728615" y="3377965"/>
                </a:lnTo>
                <a:cubicBezTo>
                  <a:pt x="4750356" y="3410576"/>
                  <a:pt x="4753073" y="3358942"/>
                  <a:pt x="4758509" y="3416011"/>
                </a:cubicBezTo>
                <a:cubicBezTo>
                  <a:pt x="4758509" y="3416011"/>
                  <a:pt x="4774814" y="3407858"/>
                  <a:pt x="4774814" y="3407858"/>
                </a:cubicBezTo>
                <a:cubicBezTo>
                  <a:pt x="4807425" y="3407858"/>
                  <a:pt x="4777532" y="3405141"/>
                  <a:pt x="4791120" y="3416011"/>
                </a:cubicBezTo>
                <a:lnTo>
                  <a:pt x="4804708" y="3407858"/>
                </a:lnTo>
                <a:cubicBezTo>
                  <a:pt x="4812861" y="3421446"/>
                  <a:pt x="4804708" y="3424164"/>
                  <a:pt x="4826449" y="3424164"/>
                </a:cubicBezTo>
                <a:lnTo>
                  <a:pt x="4856342" y="3424164"/>
                </a:lnTo>
                <a:cubicBezTo>
                  <a:pt x="4850907" y="3445905"/>
                  <a:pt x="4861777" y="3440469"/>
                  <a:pt x="4842754" y="3432317"/>
                </a:cubicBezTo>
                <a:lnTo>
                  <a:pt x="4834601" y="3448622"/>
                </a:lnTo>
                <a:lnTo>
                  <a:pt x="4821013" y="3440469"/>
                </a:lnTo>
                <a:lnTo>
                  <a:pt x="4812861" y="3454057"/>
                </a:lnTo>
                <a:cubicBezTo>
                  <a:pt x="4788402" y="3470363"/>
                  <a:pt x="4799273" y="3448622"/>
                  <a:pt x="4796555" y="3483951"/>
                </a:cubicBezTo>
                <a:cubicBezTo>
                  <a:pt x="4821013" y="3467645"/>
                  <a:pt x="4810143" y="3489386"/>
                  <a:pt x="4812861" y="3454057"/>
                </a:cubicBezTo>
                <a:lnTo>
                  <a:pt x="4837319" y="3454057"/>
                </a:lnTo>
                <a:lnTo>
                  <a:pt x="4821013" y="3475798"/>
                </a:lnTo>
                <a:cubicBezTo>
                  <a:pt x="4821013" y="3475798"/>
                  <a:pt x="4837319" y="3483951"/>
                  <a:pt x="4837319" y="3483951"/>
                </a:cubicBezTo>
                <a:cubicBezTo>
                  <a:pt x="4867213" y="3483951"/>
                  <a:pt x="4840037" y="3486669"/>
                  <a:pt x="4861777" y="3475798"/>
                </a:cubicBezTo>
                <a:lnTo>
                  <a:pt x="4845472" y="3451340"/>
                </a:lnTo>
                <a:lnTo>
                  <a:pt x="4875365" y="3462210"/>
                </a:lnTo>
                <a:lnTo>
                  <a:pt x="4891671" y="3454057"/>
                </a:lnTo>
                <a:lnTo>
                  <a:pt x="4905259" y="3462210"/>
                </a:lnTo>
                <a:lnTo>
                  <a:pt x="4921564" y="3448622"/>
                </a:lnTo>
                <a:cubicBezTo>
                  <a:pt x="4927000" y="3470363"/>
                  <a:pt x="4927000" y="3467645"/>
                  <a:pt x="4959611" y="3470363"/>
                </a:cubicBezTo>
                <a:lnTo>
                  <a:pt x="4951458" y="3456775"/>
                </a:lnTo>
                <a:lnTo>
                  <a:pt x="4965046" y="3448622"/>
                </a:lnTo>
                <a:lnTo>
                  <a:pt x="4978634" y="3470363"/>
                </a:lnTo>
                <a:lnTo>
                  <a:pt x="4965046" y="3486669"/>
                </a:lnTo>
                <a:cubicBezTo>
                  <a:pt x="4965046" y="3486669"/>
                  <a:pt x="4948740" y="3478516"/>
                  <a:pt x="4948740" y="3478516"/>
                </a:cubicBezTo>
                <a:cubicBezTo>
                  <a:pt x="4916129" y="3478516"/>
                  <a:pt x="4943305" y="3478516"/>
                  <a:pt x="4932435" y="3486669"/>
                </a:cubicBezTo>
                <a:cubicBezTo>
                  <a:pt x="4910694" y="3478516"/>
                  <a:pt x="4924282" y="3473081"/>
                  <a:pt x="4916129" y="3494821"/>
                </a:cubicBezTo>
                <a:cubicBezTo>
                  <a:pt x="4937870" y="3500256"/>
                  <a:pt x="4927000" y="3494821"/>
                  <a:pt x="4937870" y="3511127"/>
                </a:cubicBezTo>
                <a:cubicBezTo>
                  <a:pt x="4962328" y="3500256"/>
                  <a:pt x="4956893" y="3511127"/>
                  <a:pt x="4975916" y="3489386"/>
                </a:cubicBezTo>
                <a:lnTo>
                  <a:pt x="4975916" y="3521997"/>
                </a:lnTo>
                <a:lnTo>
                  <a:pt x="4997657" y="3505692"/>
                </a:lnTo>
                <a:cubicBezTo>
                  <a:pt x="5011245" y="3527432"/>
                  <a:pt x="4994939" y="3521997"/>
                  <a:pt x="5027550" y="3521997"/>
                </a:cubicBezTo>
                <a:lnTo>
                  <a:pt x="5027550" y="3530150"/>
                </a:lnTo>
                <a:lnTo>
                  <a:pt x="5003092" y="3530150"/>
                </a:lnTo>
                <a:lnTo>
                  <a:pt x="5011245" y="3543738"/>
                </a:lnTo>
                <a:lnTo>
                  <a:pt x="4994939" y="3551891"/>
                </a:lnTo>
                <a:lnTo>
                  <a:pt x="5003092" y="3565479"/>
                </a:lnTo>
                <a:lnTo>
                  <a:pt x="4986787" y="3581784"/>
                </a:lnTo>
                <a:lnTo>
                  <a:pt x="5003092" y="3581784"/>
                </a:lnTo>
                <a:lnTo>
                  <a:pt x="5003092" y="3565479"/>
                </a:lnTo>
                <a:cubicBezTo>
                  <a:pt x="5027550" y="3549173"/>
                  <a:pt x="5008527" y="3551891"/>
                  <a:pt x="5041138" y="3549173"/>
                </a:cubicBezTo>
                <a:cubicBezTo>
                  <a:pt x="5032986" y="3568196"/>
                  <a:pt x="5032986" y="3551891"/>
                  <a:pt x="5041138" y="3570914"/>
                </a:cubicBezTo>
                <a:lnTo>
                  <a:pt x="5027550" y="3579067"/>
                </a:lnTo>
                <a:lnTo>
                  <a:pt x="5019398" y="3608960"/>
                </a:lnTo>
                <a:lnTo>
                  <a:pt x="5003092" y="3600808"/>
                </a:lnTo>
                <a:lnTo>
                  <a:pt x="4981351" y="3608960"/>
                </a:lnTo>
                <a:lnTo>
                  <a:pt x="4973199" y="3603525"/>
                </a:lnTo>
                <a:lnTo>
                  <a:pt x="4981351" y="3587220"/>
                </a:lnTo>
                <a:cubicBezTo>
                  <a:pt x="4956893" y="3592655"/>
                  <a:pt x="4951458" y="3598090"/>
                  <a:pt x="4935152" y="3608960"/>
                </a:cubicBezTo>
                <a:lnTo>
                  <a:pt x="4937870" y="3592655"/>
                </a:lnTo>
                <a:lnTo>
                  <a:pt x="4905259" y="3562761"/>
                </a:lnTo>
                <a:lnTo>
                  <a:pt x="4897106" y="3516562"/>
                </a:lnTo>
                <a:lnTo>
                  <a:pt x="4880801" y="3524715"/>
                </a:lnTo>
                <a:lnTo>
                  <a:pt x="4897106" y="3546456"/>
                </a:lnTo>
                <a:cubicBezTo>
                  <a:pt x="4867213" y="3560044"/>
                  <a:pt x="4888953" y="3532868"/>
                  <a:pt x="4867213" y="3562761"/>
                </a:cubicBezTo>
                <a:lnTo>
                  <a:pt x="4883518" y="3562761"/>
                </a:lnTo>
                <a:lnTo>
                  <a:pt x="4883518" y="3579067"/>
                </a:lnTo>
                <a:lnTo>
                  <a:pt x="4905259" y="3562761"/>
                </a:lnTo>
                <a:lnTo>
                  <a:pt x="4905259" y="3579067"/>
                </a:lnTo>
                <a:lnTo>
                  <a:pt x="4888953" y="3603525"/>
                </a:lnTo>
                <a:lnTo>
                  <a:pt x="4935152" y="3608960"/>
                </a:lnTo>
                <a:cubicBezTo>
                  <a:pt x="4924282" y="3617113"/>
                  <a:pt x="4910694" y="3622548"/>
                  <a:pt x="4897106" y="3630701"/>
                </a:cubicBezTo>
                <a:lnTo>
                  <a:pt x="4880801" y="3608960"/>
                </a:lnTo>
                <a:cubicBezTo>
                  <a:pt x="4875365" y="3614396"/>
                  <a:pt x="4861777" y="3625266"/>
                  <a:pt x="4859060" y="3625266"/>
                </a:cubicBezTo>
                <a:cubicBezTo>
                  <a:pt x="4840037" y="3625266"/>
                  <a:pt x="4845472" y="3619831"/>
                  <a:pt x="4837319" y="3608960"/>
                </a:cubicBezTo>
                <a:cubicBezTo>
                  <a:pt x="4861777" y="3608960"/>
                  <a:pt x="4831884" y="3573632"/>
                  <a:pt x="4829166" y="3570914"/>
                </a:cubicBezTo>
                <a:lnTo>
                  <a:pt x="4837319" y="3546456"/>
                </a:lnTo>
                <a:lnTo>
                  <a:pt x="4821013" y="3554608"/>
                </a:lnTo>
                <a:lnTo>
                  <a:pt x="4829166" y="3568196"/>
                </a:lnTo>
                <a:lnTo>
                  <a:pt x="4814310" y="3575625"/>
                </a:lnTo>
                <a:lnTo>
                  <a:pt x="4812861" y="3573632"/>
                </a:lnTo>
                <a:lnTo>
                  <a:pt x="4811502" y="3573632"/>
                </a:lnTo>
                <a:lnTo>
                  <a:pt x="4804708" y="3560044"/>
                </a:lnTo>
                <a:lnTo>
                  <a:pt x="4812861" y="3535585"/>
                </a:lnTo>
                <a:lnTo>
                  <a:pt x="4796555" y="3543738"/>
                </a:lnTo>
                <a:lnTo>
                  <a:pt x="4804708" y="3557326"/>
                </a:lnTo>
                <a:lnTo>
                  <a:pt x="4796555" y="3565479"/>
                </a:lnTo>
                <a:cubicBezTo>
                  <a:pt x="4774814" y="3554608"/>
                  <a:pt x="4788402" y="3551891"/>
                  <a:pt x="4774814" y="3570914"/>
                </a:cubicBezTo>
                <a:lnTo>
                  <a:pt x="4782967" y="3581784"/>
                </a:lnTo>
                <a:lnTo>
                  <a:pt x="4796555" y="3573632"/>
                </a:lnTo>
                <a:lnTo>
                  <a:pt x="4811502" y="3573632"/>
                </a:lnTo>
                <a:lnTo>
                  <a:pt x="4812861" y="3576349"/>
                </a:lnTo>
                <a:lnTo>
                  <a:pt x="4814310" y="3575625"/>
                </a:lnTo>
                <a:lnTo>
                  <a:pt x="4834601" y="3603525"/>
                </a:lnTo>
                <a:cubicBezTo>
                  <a:pt x="4810143" y="3619831"/>
                  <a:pt x="4821013" y="3598090"/>
                  <a:pt x="4818296" y="3633419"/>
                </a:cubicBezTo>
                <a:cubicBezTo>
                  <a:pt x="4850907" y="3619831"/>
                  <a:pt x="4815578" y="3638854"/>
                  <a:pt x="4848189" y="3625266"/>
                </a:cubicBezTo>
                <a:lnTo>
                  <a:pt x="4856342" y="3641572"/>
                </a:lnTo>
                <a:lnTo>
                  <a:pt x="4869930" y="3633419"/>
                </a:lnTo>
                <a:lnTo>
                  <a:pt x="4869930" y="3655160"/>
                </a:lnTo>
                <a:cubicBezTo>
                  <a:pt x="4869930" y="3687771"/>
                  <a:pt x="4872648" y="3657877"/>
                  <a:pt x="4861777" y="3671465"/>
                </a:cubicBezTo>
                <a:lnTo>
                  <a:pt x="4869930" y="3685053"/>
                </a:lnTo>
                <a:lnTo>
                  <a:pt x="4840037" y="3709511"/>
                </a:lnTo>
                <a:lnTo>
                  <a:pt x="4831884" y="3693206"/>
                </a:lnTo>
                <a:lnTo>
                  <a:pt x="4818296" y="3701359"/>
                </a:lnTo>
                <a:cubicBezTo>
                  <a:pt x="4815578" y="3666030"/>
                  <a:pt x="4826449" y="3687771"/>
                  <a:pt x="4801990" y="3671465"/>
                </a:cubicBezTo>
                <a:lnTo>
                  <a:pt x="4810143" y="3701359"/>
                </a:lnTo>
                <a:lnTo>
                  <a:pt x="4796555" y="3701359"/>
                </a:lnTo>
                <a:lnTo>
                  <a:pt x="4788402" y="3687771"/>
                </a:lnTo>
                <a:cubicBezTo>
                  <a:pt x="4801990" y="3657877"/>
                  <a:pt x="4782967" y="3690488"/>
                  <a:pt x="4796555" y="3657877"/>
                </a:cubicBezTo>
                <a:cubicBezTo>
                  <a:pt x="4758509" y="3655160"/>
                  <a:pt x="4788402" y="3652442"/>
                  <a:pt x="4753073" y="3644289"/>
                </a:cubicBezTo>
                <a:lnTo>
                  <a:pt x="4744921" y="3666030"/>
                </a:lnTo>
                <a:lnTo>
                  <a:pt x="4782967" y="3666030"/>
                </a:lnTo>
                <a:cubicBezTo>
                  <a:pt x="4774814" y="3685053"/>
                  <a:pt x="4774814" y="3668748"/>
                  <a:pt x="4782967" y="3687771"/>
                </a:cubicBezTo>
                <a:cubicBezTo>
                  <a:pt x="4772097" y="3701359"/>
                  <a:pt x="4774814" y="3685053"/>
                  <a:pt x="4774814" y="3717664"/>
                </a:cubicBezTo>
                <a:cubicBezTo>
                  <a:pt x="4739485" y="3714947"/>
                  <a:pt x="4763944" y="3728534"/>
                  <a:pt x="4744921" y="3695923"/>
                </a:cubicBezTo>
                <a:lnTo>
                  <a:pt x="4761226" y="3695923"/>
                </a:lnTo>
                <a:lnTo>
                  <a:pt x="4761226" y="3679618"/>
                </a:lnTo>
                <a:cubicBezTo>
                  <a:pt x="4734050" y="3693206"/>
                  <a:pt x="4717745" y="3679618"/>
                  <a:pt x="4731333" y="3709511"/>
                </a:cubicBezTo>
                <a:lnTo>
                  <a:pt x="4715027" y="3709511"/>
                </a:lnTo>
                <a:cubicBezTo>
                  <a:pt x="4723180" y="3731252"/>
                  <a:pt x="4717745" y="3720382"/>
                  <a:pt x="4731333" y="3739405"/>
                </a:cubicBezTo>
                <a:lnTo>
                  <a:pt x="4715027" y="3747558"/>
                </a:lnTo>
                <a:lnTo>
                  <a:pt x="4715027" y="3731252"/>
                </a:lnTo>
                <a:lnTo>
                  <a:pt x="4698721" y="3731252"/>
                </a:lnTo>
                <a:cubicBezTo>
                  <a:pt x="4690569" y="3763863"/>
                  <a:pt x="4687851" y="3774733"/>
                  <a:pt x="4652521" y="3777451"/>
                </a:cubicBezTo>
                <a:cubicBezTo>
                  <a:pt x="4647087" y="3747558"/>
                  <a:pt x="4644369" y="3747558"/>
                  <a:pt x="4622629" y="3731252"/>
                </a:cubicBezTo>
                <a:lnTo>
                  <a:pt x="4614475" y="3755710"/>
                </a:lnTo>
                <a:lnTo>
                  <a:pt x="4592735" y="3763863"/>
                </a:lnTo>
                <a:lnTo>
                  <a:pt x="4592735" y="3742122"/>
                </a:lnTo>
                <a:lnTo>
                  <a:pt x="4584583" y="3742122"/>
                </a:lnTo>
                <a:lnTo>
                  <a:pt x="4581865" y="3782886"/>
                </a:lnTo>
                <a:lnTo>
                  <a:pt x="4538383" y="3744840"/>
                </a:lnTo>
                <a:lnTo>
                  <a:pt x="4527513" y="3752993"/>
                </a:lnTo>
                <a:lnTo>
                  <a:pt x="4551971" y="3774733"/>
                </a:lnTo>
                <a:cubicBezTo>
                  <a:pt x="4543819" y="3793757"/>
                  <a:pt x="4543819" y="3777451"/>
                  <a:pt x="4551971" y="3796474"/>
                </a:cubicBezTo>
                <a:cubicBezTo>
                  <a:pt x="4532947" y="3810062"/>
                  <a:pt x="4532947" y="3804627"/>
                  <a:pt x="4532947" y="3837238"/>
                </a:cubicBezTo>
                <a:lnTo>
                  <a:pt x="4538383" y="3818215"/>
                </a:lnTo>
                <a:lnTo>
                  <a:pt x="4560123" y="3826368"/>
                </a:lnTo>
                <a:cubicBezTo>
                  <a:pt x="4570995" y="3810062"/>
                  <a:pt x="4587299" y="3791039"/>
                  <a:pt x="4614475" y="3788321"/>
                </a:cubicBezTo>
                <a:lnTo>
                  <a:pt x="4606323" y="3804627"/>
                </a:lnTo>
                <a:lnTo>
                  <a:pt x="4630781" y="3804627"/>
                </a:lnTo>
                <a:lnTo>
                  <a:pt x="4622629" y="3818215"/>
                </a:lnTo>
                <a:lnTo>
                  <a:pt x="4628063" y="3826368"/>
                </a:lnTo>
                <a:cubicBezTo>
                  <a:pt x="4606323" y="3826368"/>
                  <a:pt x="4625345" y="3853544"/>
                  <a:pt x="4625345" y="3856261"/>
                </a:cubicBezTo>
                <a:lnTo>
                  <a:pt x="4611757" y="3872567"/>
                </a:lnTo>
                <a:cubicBezTo>
                  <a:pt x="4590017" y="3861696"/>
                  <a:pt x="4603605" y="3858979"/>
                  <a:pt x="4590017" y="3878002"/>
                </a:cubicBezTo>
                <a:lnTo>
                  <a:pt x="4595453" y="3886155"/>
                </a:lnTo>
                <a:lnTo>
                  <a:pt x="4619911" y="3878002"/>
                </a:lnTo>
                <a:lnTo>
                  <a:pt x="4663393" y="3926919"/>
                </a:lnTo>
                <a:lnTo>
                  <a:pt x="4679697" y="3918766"/>
                </a:lnTo>
                <a:lnTo>
                  <a:pt x="4687851" y="3943224"/>
                </a:lnTo>
                <a:lnTo>
                  <a:pt x="4717745" y="3943224"/>
                </a:lnTo>
                <a:lnTo>
                  <a:pt x="4717745" y="3918766"/>
                </a:lnTo>
                <a:lnTo>
                  <a:pt x="4731333" y="3924201"/>
                </a:lnTo>
                <a:lnTo>
                  <a:pt x="4747638" y="3921483"/>
                </a:lnTo>
                <a:lnTo>
                  <a:pt x="4780249" y="3926919"/>
                </a:lnTo>
                <a:lnTo>
                  <a:pt x="4772097" y="3910613"/>
                </a:lnTo>
                <a:lnTo>
                  <a:pt x="4796555" y="3918766"/>
                </a:lnTo>
                <a:lnTo>
                  <a:pt x="4810143" y="3910613"/>
                </a:lnTo>
                <a:lnTo>
                  <a:pt x="4818296" y="3926919"/>
                </a:lnTo>
                <a:cubicBezTo>
                  <a:pt x="4850907" y="3913331"/>
                  <a:pt x="4818296" y="3932354"/>
                  <a:pt x="4848189" y="3924201"/>
                </a:cubicBezTo>
                <a:lnTo>
                  <a:pt x="4872648" y="3926919"/>
                </a:lnTo>
                <a:lnTo>
                  <a:pt x="4864495" y="3940507"/>
                </a:lnTo>
                <a:lnTo>
                  <a:pt x="4886236" y="3940507"/>
                </a:lnTo>
                <a:cubicBezTo>
                  <a:pt x="4916129" y="3940507"/>
                  <a:pt x="4888953" y="3943224"/>
                  <a:pt x="4907976" y="3932354"/>
                </a:cubicBezTo>
                <a:lnTo>
                  <a:pt x="4916129" y="3945942"/>
                </a:lnTo>
                <a:lnTo>
                  <a:pt x="4948740" y="3956812"/>
                </a:lnTo>
                <a:lnTo>
                  <a:pt x="4932435" y="3978553"/>
                </a:lnTo>
                <a:lnTo>
                  <a:pt x="4907976" y="3978553"/>
                </a:lnTo>
                <a:lnTo>
                  <a:pt x="4932435" y="4008447"/>
                </a:lnTo>
                <a:cubicBezTo>
                  <a:pt x="4954176" y="3997576"/>
                  <a:pt x="4940588" y="3994859"/>
                  <a:pt x="4956893" y="4016599"/>
                </a:cubicBezTo>
                <a:lnTo>
                  <a:pt x="4924282" y="4024752"/>
                </a:lnTo>
                <a:lnTo>
                  <a:pt x="4956893" y="4062799"/>
                </a:lnTo>
                <a:cubicBezTo>
                  <a:pt x="4951458" y="4062799"/>
                  <a:pt x="4951458" y="4065516"/>
                  <a:pt x="4948740" y="4065516"/>
                </a:cubicBezTo>
                <a:cubicBezTo>
                  <a:pt x="4940588" y="4062799"/>
                  <a:pt x="4937870" y="4057363"/>
                  <a:pt x="4927000" y="4057363"/>
                </a:cubicBezTo>
                <a:cubicBezTo>
                  <a:pt x="4927000" y="4062799"/>
                  <a:pt x="4929717" y="4065516"/>
                  <a:pt x="4932435" y="4070951"/>
                </a:cubicBezTo>
                <a:cubicBezTo>
                  <a:pt x="4929717" y="4073669"/>
                  <a:pt x="4929717" y="4076386"/>
                  <a:pt x="4927000" y="4076386"/>
                </a:cubicBezTo>
                <a:cubicBezTo>
                  <a:pt x="4927000" y="4079104"/>
                  <a:pt x="4927000" y="4079104"/>
                  <a:pt x="4929717" y="4084539"/>
                </a:cubicBezTo>
                <a:lnTo>
                  <a:pt x="4916129" y="4100845"/>
                </a:lnTo>
                <a:lnTo>
                  <a:pt x="4929717" y="4117150"/>
                </a:lnTo>
                <a:cubicBezTo>
                  <a:pt x="4910694" y="4130738"/>
                  <a:pt x="4921564" y="4128021"/>
                  <a:pt x="4897106" y="4136173"/>
                </a:cubicBezTo>
                <a:lnTo>
                  <a:pt x="4921564" y="4149762"/>
                </a:lnTo>
                <a:lnTo>
                  <a:pt x="4913412" y="4176937"/>
                </a:lnTo>
                <a:cubicBezTo>
                  <a:pt x="4913412" y="4176937"/>
                  <a:pt x="4910694" y="4176937"/>
                  <a:pt x="4910694" y="4176937"/>
                </a:cubicBezTo>
                <a:lnTo>
                  <a:pt x="4907976" y="4163349"/>
                </a:lnTo>
                <a:lnTo>
                  <a:pt x="4856342" y="4174220"/>
                </a:lnTo>
                <a:lnTo>
                  <a:pt x="4848189" y="4187808"/>
                </a:lnTo>
                <a:cubicBezTo>
                  <a:pt x="4818296" y="4174220"/>
                  <a:pt x="4850907" y="4193243"/>
                  <a:pt x="4818296" y="4179655"/>
                </a:cubicBezTo>
                <a:lnTo>
                  <a:pt x="4818296" y="4195961"/>
                </a:lnTo>
                <a:lnTo>
                  <a:pt x="4801990" y="4195961"/>
                </a:lnTo>
                <a:lnTo>
                  <a:pt x="4810143" y="4212266"/>
                </a:lnTo>
                <a:cubicBezTo>
                  <a:pt x="4780249" y="4209548"/>
                  <a:pt x="4785685" y="4209548"/>
                  <a:pt x="4772097" y="4187808"/>
                </a:cubicBezTo>
                <a:lnTo>
                  <a:pt x="4758509" y="4195961"/>
                </a:lnTo>
                <a:lnTo>
                  <a:pt x="4750356" y="4179655"/>
                </a:lnTo>
                <a:lnTo>
                  <a:pt x="4728615" y="4193243"/>
                </a:lnTo>
                <a:lnTo>
                  <a:pt x="4712309" y="4179655"/>
                </a:lnTo>
                <a:lnTo>
                  <a:pt x="4717745" y="4166067"/>
                </a:lnTo>
                <a:lnTo>
                  <a:pt x="4696004" y="4141609"/>
                </a:lnTo>
                <a:lnTo>
                  <a:pt x="4671545" y="4149762"/>
                </a:lnTo>
                <a:lnTo>
                  <a:pt x="4671545" y="4133456"/>
                </a:lnTo>
                <a:lnTo>
                  <a:pt x="4641651" y="4138891"/>
                </a:lnTo>
                <a:lnTo>
                  <a:pt x="4617193" y="4136173"/>
                </a:lnTo>
                <a:cubicBezTo>
                  <a:pt x="4633499" y="4114433"/>
                  <a:pt x="4628063" y="4114433"/>
                  <a:pt x="4655239" y="4128021"/>
                </a:cubicBezTo>
                <a:lnTo>
                  <a:pt x="4655239" y="4106280"/>
                </a:lnTo>
                <a:lnTo>
                  <a:pt x="4663393" y="4089974"/>
                </a:lnTo>
                <a:lnTo>
                  <a:pt x="4647087" y="4089974"/>
                </a:lnTo>
                <a:lnTo>
                  <a:pt x="4655239" y="4103562"/>
                </a:lnTo>
                <a:lnTo>
                  <a:pt x="4641651" y="4103562"/>
                </a:lnTo>
                <a:lnTo>
                  <a:pt x="4633499" y="4087257"/>
                </a:lnTo>
                <a:lnTo>
                  <a:pt x="4641651" y="4073669"/>
                </a:lnTo>
                <a:lnTo>
                  <a:pt x="4619911" y="4057363"/>
                </a:lnTo>
                <a:lnTo>
                  <a:pt x="4619911" y="4079104"/>
                </a:lnTo>
                <a:lnTo>
                  <a:pt x="4590017" y="4087257"/>
                </a:lnTo>
                <a:lnTo>
                  <a:pt x="4573711" y="4016599"/>
                </a:lnTo>
                <a:lnTo>
                  <a:pt x="4603605" y="4011164"/>
                </a:lnTo>
                <a:cubicBezTo>
                  <a:pt x="4595453" y="3992141"/>
                  <a:pt x="4595453" y="4008447"/>
                  <a:pt x="4603605" y="3989423"/>
                </a:cubicBezTo>
                <a:cubicBezTo>
                  <a:pt x="4568277" y="3992141"/>
                  <a:pt x="4590017" y="3981271"/>
                  <a:pt x="4570995" y="4005729"/>
                </a:cubicBezTo>
                <a:lnTo>
                  <a:pt x="4557407" y="3989423"/>
                </a:lnTo>
                <a:lnTo>
                  <a:pt x="4527513" y="3994859"/>
                </a:lnTo>
                <a:cubicBezTo>
                  <a:pt x="4538383" y="4016599"/>
                  <a:pt x="4530231" y="4003011"/>
                  <a:pt x="4527513" y="4011164"/>
                </a:cubicBezTo>
                <a:cubicBezTo>
                  <a:pt x="4524795" y="4013882"/>
                  <a:pt x="4522077" y="4016599"/>
                  <a:pt x="4522077" y="4016599"/>
                </a:cubicBezTo>
                <a:cubicBezTo>
                  <a:pt x="4522077" y="4013882"/>
                  <a:pt x="4519359" y="4013882"/>
                  <a:pt x="4513925" y="4011164"/>
                </a:cubicBezTo>
                <a:lnTo>
                  <a:pt x="4497619" y="4032905"/>
                </a:lnTo>
                <a:cubicBezTo>
                  <a:pt x="4516643" y="4041058"/>
                  <a:pt x="4500337" y="4041058"/>
                  <a:pt x="4519359" y="4032905"/>
                </a:cubicBezTo>
                <a:lnTo>
                  <a:pt x="4519359" y="4049211"/>
                </a:lnTo>
                <a:lnTo>
                  <a:pt x="4541101" y="4041058"/>
                </a:lnTo>
                <a:lnTo>
                  <a:pt x="4551971" y="4049211"/>
                </a:lnTo>
                <a:lnTo>
                  <a:pt x="4527513" y="4079104"/>
                </a:lnTo>
                <a:lnTo>
                  <a:pt x="4511207" y="4087257"/>
                </a:lnTo>
                <a:lnTo>
                  <a:pt x="4527513" y="4100845"/>
                </a:lnTo>
                <a:lnTo>
                  <a:pt x="4527513" y="4079104"/>
                </a:lnTo>
                <a:cubicBezTo>
                  <a:pt x="4530231" y="4084539"/>
                  <a:pt x="4532947" y="4087257"/>
                  <a:pt x="4535665" y="4089974"/>
                </a:cubicBezTo>
                <a:cubicBezTo>
                  <a:pt x="4538383" y="4089974"/>
                  <a:pt x="4541101" y="4089974"/>
                  <a:pt x="4549253" y="4092692"/>
                </a:cubicBezTo>
                <a:cubicBezTo>
                  <a:pt x="4549253" y="4130738"/>
                  <a:pt x="4541101" y="4133456"/>
                  <a:pt x="4527513" y="4155197"/>
                </a:cubicBezTo>
                <a:lnTo>
                  <a:pt x="4549253" y="4155197"/>
                </a:lnTo>
                <a:cubicBezTo>
                  <a:pt x="4541101" y="4174220"/>
                  <a:pt x="4541101" y="4157914"/>
                  <a:pt x="4549253" y="4176937"/>
                </a:cubicBezTo>
                <a:lnTo>
                  <a:pt x="4535665" y="4185090"/>
                </a:lnTo>
                <a:lnTo>
                  <a:pt x="4532041" y="4182372"/>
                </a:lnTo>
                <a:lnTo>
                  <a:pt x="4532947" y="4179655"/>
                </a:lnTo>
                <a:lnTo>
                  <a:pt x="4529302" y="4180318"/>
                </a:lnTo>
                <a:lnTo>
                  <a:pt x="4524795" y="4176937"/>
                </a:lnTo>
                <a:cubicBezTo>
                  <a:pt x="4524795" y="4174220"/>
                  <a:pt x="4524795" y="4171502"/>
                  <a:pt x="4522077" y="4163349"/>
                </a:cubicBezTo>
                <a:lnTo>
                  <a:pt x="4500337" y="4163349"/>
                </a:lnTo>
                <a:lnTo>
                  <a:pt x="4508489" y="4147044"/>
                </a:lnTo>
                <a:cubicBezTo>
                  <a:pt x="4484031" y="4130738"/>
                  <a:pt x="4497619" y="4128021"/>
                  <a:pt x="4462291" y="4125303"/>
                </a:cubicBezTo>
                <a:lnTo>
                  <a:pt x="4462291" y="4147044"/>
                </a:lnTo>
                <a:cubicBezTo>
                  <a:pt x="4462291" y="4176937"/>
                  <a:pt x="4465009" y="4149762"/>
                  <a:pt x="4456855" y="4168785"/>
                </a:cubicBezTo>
                <a:lnTo>
                  <a:pt x="4456855" y="4171502"/>
                </a:lnTo>
                <a:cubicBezTo>
                  <a:pt x="4486749" y="4149762"/>
                  <a:pt x="4459573" y="4171502"/>
                  <a:pt x="4473161" y="4138891"/>
                </a:cubicBezTo>
                <a:lnTo>
                  <a:pt x="4494901" y="4155197"/>
                </a:lnTo>
                <a:lnTo>
                  <a:pt x="4503055" y="4185090"/>
                </a:lnTo>
                <a:lnTo>
                  <a:pt x="4529302" y="4180318"/>
                </a:lnTo>
                <a:lnTo>
                  <a:pt x="4532041" y="4182372"/>
                </a:lnTo>
                <a:lnTo>
                  <a:pt x="4524795" y="4204113"/>
                </a:lnTo>
                <a:lnTo>
                  <a:pt x="4549253" y="4225854"/>
                </a:lnTo>
                <a:lnTo>
                  <a:pt x="4549253" y="4204113"/>
                </a:lnTo>
                <a:lnTo>
                  <a:pt x="4569117" y="4211694"/>
                </a:lnTo>
                <a:lnTo>
                  <a:pt x="4562841" y="4214984"/>
                </a:lnTo>
                <a:lnTo>
                  <a:pt x="4570995" y="4244877"/>
                </a:lnTo>
                <a:lnTo>
                  <a:pt x="4592735" y="4269335"/>
                </a:lnTo>
                <a:lnTo>
                  <a:pt x="4560123" y="4269335"/>
                </a:lnTo>
                <a:lnTo>
                  <a:pt x="4560123" y="4277488"/>
                </a:lnTo>
                <a:lnTo>
                  <a:pt x="4530231" y="4277488"/>
                </a:lnTo>
                <a:cubicBezTo>
                  <a:pt x="4497619" y="4277488"/>
                  <a:pt x="4527513" y="4280206"/>
                  <a:pt x="4513925" y="4269335"/>
                </a:cubicBezTo>
                <a:lnTo>
                  <a:pt x="4500337" y="4274771"/>
                </a:lnTo>
                <a:lnTo>
                  <a:pt x="4488800" y="4270576"/>
                </a:lnTo>
                <a:lnTo>
                  <a:pt x="4494901" y="4269335"/>
                </a:lnTo>
                <a:cubicBezTo>
                  <a:pt x="4503055" y="4244877"/>
                  <a:pt x="4500337" y="4255747"/>
                  <a:pt x="4511207" y="4239442"/>
                </a:cubicBezTo>
                <a:lnTo>
                  <a:pt x="4473161" y="4231289"/>
                </a:lnTo>
                <a:lnTo>
                  <a:pt x="4473161" y="4214984"/>
                </a:lnTo>
                <a:lnTo>
                  <a:pt x="4494901" y="4214984"/>
                </a:lnTo>
                <a:lnTo>
                  <a:pt x="4494901" y="4193243"/>
                </a:lnTo>
                <a:cubicBezTo>
                  <a:pt x="4470443" y="4209548"/>
                  <a:pt x="4489467" y="4204113"/>
                  <a:pt x="4454137" y="4209548"/>
                </a:cubicBezTo>
                <a:cubicBezTo>
                  <a:pt x="4462291" y="4228572"/>
                  <a:pt x="4467725" y="4217701"/>
                  <a:pt x="4443267" y="4231289"/>
                </a:cubicBezTo>
                <a:lnTo>
                  <a:pt x="4445985" y="4163349"/>
                </a:lnTo>
                <a:lnTo>
                  <a:pt x="4424245" y="4147044"/>
                </a:lnTo>
                <a:cubicBezTo>
                  <a:pt x="4413373" y="4166067"/>
                  <a:pt x="4416091" y="4149762"/>
                  <a:pt x="4421527" y="4168785"/>
                </a:cubicBezTo>
                <a:lnTo>
                  <a:pt x="4407939" y="4185090"/>
                </a:lnTo>
                <a:lnTo>
                  <a:pt x="4424245" y="4185090"/>
                </a:lnTo>
                <a:lnTo>
                  <a:pt x="4416091" y="4206831"/>
                </a:lnTo>
                <a:lnTo>
                  <a:pt x="4432397" y="4214984"/>
                </a:lnTo>
                <a:lnTo>
                  <a:pt x="4424245" y="4231289"/>
                </a:lnTo>
                <a:lnTo>
                  <a:pt x="4440549" y="4231289"/>
                </a:lnTo>
                <a:cubicBezTo>
                  <a:pt x="4435115" y="4253030"/>
                  <a:pt x="4440549" y="4242160"/>
                  <a:pt x="4424245" y="4253030"/>
                </a:cubicBezTo>
                <a:lnTo>
                  <a:pt x="4402503" y="4231289"/>
                </a:lnTo>
                <a:lnTo>
                  <a:pt x="4402503" y="4253030"/>
                </a:lnTo>
                <a:lnTo>
                  <a:pt x="4424245" y="4253030"/>
                </a:lnTo>
                <a:lnTo>
                  <a:pt x="4426961" y="4253030"/>
                </a:lnTo>
                <a:lnTo>
                  <a:pt x="4421527" y="4266618"/>
                </a:lnTo>
                <a:lnTo>
                  <a:pt x="4435115" y="4282923"/>
                </a:lnTo>
                <a:lnTo>
                  <a:pt x="4418809" y="4282923"/>
                </a:lnTo>
                <a:cubicBezTo>
                  <a:pt x="4424245" y="4304664"/>
                  <a:pt x="4418809" y="4293794"/>
                  <a:pt x="4435115" y="4304664"/>
                </a:cubicBezTo>
                <a:lnTo>
                  <a:pt x="4435115" y="4303305"/>
                </a:lnTo>
                <a:lnTo>
                  <a:pt x="4448703" y="4310099"/>
                </a:lnTo>
                <a:lnTo>
                  <a:pt x="4426961" y="4310099"/>
                </a:lnTo>
                <a:cubicBezTo>
                  <a:pt x="4443267" y="4348146"/>
                  <a:pt x="4410657" y="4326405"/>
                  <a:pt x="4380763" y="4326405"/>
                </a:cubicBezTo>
                <a:lnTo>
                  <a:pt x="4405221" y="4356298"/>
                </a:lnTo>
                <a:lnTo>
                  <a:pt x="4418809" y="4348146"/>
                </a:lnTo>
                <a:lnTo>
                  <a:pt x="4435115" y="4361734"/>
                </a:lnTo>
                <a:lnTo>
                  <a:pt x="4435115" y="4391627"/>
                </a:lnTo>
                <a:lnTo>
                  <a:pt x="4451421" y="4391627"/>
                </a:lnTo>
                <a:lnTo>
                  <a:pt x="4435115" y="4413368"/>
                </a:lnTo>
                <a:lnTo>
                  <a:pt x="4443267" y="4437826"/>
                </a:lnTo>
                <a:lnTo>
                  <a:pt x="4465009" y="4437826"/>
                </a:lnTo>
                <a:lnTo>
                  <a:pt x="4478597" y="4459567"/>
                </a:lnTo>
                <a:lnTo>
                  <a:pt x="4448703" y="4467720"/>
                </a:lnTo>
                <a:cubicBezTo>
                  <a:pt x="4440549" y="4448697"/>
                  <a:pt x="4440549" y="4465002"/>
                  <a:pt x="4448703" y="4445979"/>
                </a:cubicBezTo>
                <a:cubicBezTo>
                  <a:pt x="4416091" y="4454132"/>
                  <a:pt x="4413373" y="4451414"/>
                  <a:pt x="4410657" y="4484026"/>
                </a:cubicBezTo>
                <a:lnTo>
                  <a:pt x="4378045" y="4475873"/>
                </a:lnTo>
                <a:lnTo>
                  <a:pt x="4402503" y="4448697"/>
                </a:lnTo>
                <a:lnTo>
                  <a:pt x="4380763" y="4440544"/>
                </a:lnTo>
                <a:lnTo>
                  <a:pt x="4402503" y="4440544"/>
                </a:lnTo>
                <a:cubicBezTo>
                  <a:pt x="4391633" y="4424238"/>
                  <a:pt x="4402503" y="4429674"/>
                  <a:pt x="4380763" y="4424238"/>
                </a:cubicBezTo>
                <a:lnTo>
                  <a:pt x="4364457" y="4416086"/>
                </a:lnTo>
                <a:lnTo>
                  <a:pt x="4372609" y="4402498"/>
                </a:lnTo>
                <a:lnTo>
                  <a:pt x="4348151" y="4402498"/>
                </a:lnTo>
                <a:lnTo>
                  <a:pt x="4372609" y="4372604"/>
                </a:lnTo>
                <a:lnTo>
                  <a:pt x="4348151" y="4364451"/>
                </a:lnTo>
                <a:lnTo>
                  <a:pt x="4348151" y="4386192"/>
                </a:lnTo>
                <a:lnTo>
                  <a:pt x="4326411" y="4394345"/>
                </a:lnTo>
                <a:cubicBezTo>
                  <a:pt x="4334563" y="4413368"/>
                  <a:pt x="4342717" y="4407933"/>
                  <a:pt x="4310105" y="4416086"/>
                </a:cubicBezTo>
                <a:lnTo>
                  <a:pt x="4318257" y="4378039"/>
                </a:lnTo>
                <a:lnTo>
                  <a:pt x="4280211" y="4378039"/>
                </a:lnTo>
                <a:cubicBezTo>
                  <a:pt x="4288365" y="4353581"/>
                  <a:pt x="4269341" y="4372604"/>
                  <a:pt x="4301953" y="4356298"/>
                </a:cubicBezTo>
                <a:cubicBezTo>
                  <a:pt x="4318257" y="4380757"/>
                  <a:pt x="4296517" y="4369886"/>
                  <a:pt x="4331845" y="4372604"/>
                </a:cubicBezTo>
                <a:cubicBezTo>
                  <a:pt x="4320975" y="4350863"/>
                  <a:pt x="4329129" y="4364451"/>
                  <a:pt x="4331845" y="4353581"/>
                </a:cubicBezTo>
                <a:lnTo>
                  <a:pt x="4361739" y="4350863"/>
                </a:lnTo>
                <a:cubicBezTo>
                  <a:pt x="4367175" y="4345428"/>
                  <a:pt x="4367175" y="4345428"/>
                  <a:pt x="4369893" y="4345428"/>
                </a:cubicBezTo>
                <a:cubicBezTo>
                  <a:pt x="4369893" y="4345428"/>
                  <a:pt x="4367175" y="4342710"/>
                  <a:pt x="4367175" y="4337275"/>
                </a:cubicBezTo>
                <a:lnTo>
                  <a:pt x="4369893" y="4312817"/>
                </a:lnTo>
                <a:lnTo>
                  <a:pt x="4391633" y="4312817"/>
                </a:lnTo>
                <a:lnTo>
                  <a:pt x="4391633" y="4307382"/>
                </a:lnTo>
                <a:lnTo>
                  <a:pt x="4361739" y="4299229"/>
                </a:lnTo>
                <a:lnTo>
                  <a:pt x="4345433" y="4312817"/>
                </a:lnTo>
                <a:cubicBezTo>
                  <a:pt x="4353587" y="4331840"/>
                  <a:pt x="4353587" y="4315534"/>
                  <a:pt x="4345433" y="4337275"/>
                </a:cubicBezTo>
                <a:lnTo>
                  <a:pt x="4323693" y="4320970"/>
                </a:lnTo>
                <a:lnTo>
                  <a:pt x="4339999" y="4304664"/>
                </a:lnTo>
                <a:cubicBezTo>
                  <a:pt x="4326411" y="4272053"/>
                  <a:pt x="4345433" y="4307382"/>
                  <a:pt x="4331845" y="4274771"/>
                </a:cubicBezTo>
                <a:lnTo>
                  <a:pt x="4307387" y="4282923"/>
                </a:lnTo>
                <a:lnTo>
                  <a:pt x="4285647" y="4266618"/>
                </a:lnTo>
                <a:lnTo>
                  <a:pt x="4285647" y="4300135"/>
                </a:lnTo>
                <a:lnTo>
                  <a:pt x="4269341" y="4301946"/>
                </a:lnTo>
                <a:lnTo>
                  <a:pt x="4285647" y="4318252"/>
                </a:lnTo>
                <a:lnTo>
                  <a:pt x="4285647" y="4320970"/>
                </a:lnTo>
                <a:cubicBezTo>
                  <a:pt x="4275456" y="4314856"/>
                  <a:pt x="4271379" y="4308741"/>
                  <a:pt x="4264246" y="4312945"/>
                </a:cubicBezTo>
                <a:lnTo>
                  <a:pt x="4257378" y="4319434"/>
                </a:lnTo>
                <a:lnTo>
                  <a:pt x="4255753" y="4318252"/>
                </a:lnTo>
                <a:lnTo>
                  <a:pt x="4255753" y="4320970"/>
                </a:lnTo>
                <a:lnTo>
                  <a:pt x="4247601" y="4296511"/>
                </a:lnTo>
                <a:lnTo>
                  <a:pt x="4234013" y="4312817"/>
                </a:lnTo>
                <a:cubicBezTo>
                  <a:pt x="4212271" y="4301946"/>
                  <a:pt x="4223141" y="4310099"/>
                  <a:pt x="4217707" y="4312817"/>
                </a:cubicBezTo>
                <a:cubicBezTo>
                  <a:pt x="4206837" y="4334558"/>
                  <a:pt x="4220425" y="4342710"/>
                  <a:pt x="4209553" y="4367169"/>
                </a:cubicBezTo>
                <a:lnTo>
                  <a:pt x="4193249" y="4361734"/>
                </a:lnTo>
                <a:lnTo>
                  <a:pt x="4185095" y="4359016"/>
                </a:lnTo>
                <a:lnTo>
                  <a:pt x="4172227" y="4367059"/>
                </a:lnTo>
                <a:lnTo>
                  <a:pt x="4171508" y="4369886"/>
                </a:lnTo>
                <a:lnTo>
                  <a:pt x="4173200" y="4382911"/>
                </a:lnTo>
                <a:lnTo>
                  <a:pt x="4179661" y="4380757"/>
                </a:lnTo>
                <a:lnTo>
                  <a:pt x="4201401" y="4397062"/>
                </a:lnTo>
                <a:cubicBezTo>
                  <a:pt x="4209553" y="4382795"/>
                  <a:pt x="4205477" y="4383814"/>
                  <a:pt x="4212101" y="4382923"/>
                </a:cubicBezTo>
                <a:lnTo>
                  <a:pt x="4214006" y="4382549"/>
                </a:lnTo>
                <a:lnTo>
                  <a:pt x="4217707" y="4383474"/>
                </a:lnTo>
                <a:lnTo>
                  <a:pt x="4216185" y="4382122"/>
                </a:lnTo>
                <a:lnTo>
                  <a:pt x="4223141" y="4380757"/>
                </a:lnTo>
                <a:lnTo>
                  <a:pt x="4223141" y="4350863"/>
                </a:lnTo>
                <a:lnTo>
                  <a:pt x="4249230" y="4355211"/>
                </a:lnTo>
                <a:lnTo>
                  <a:pt x="4255753" y="4361734"/>
                </a:lnTo>
                <a:lnTo>
                  <a:pt x="4263905" y="4342710"/>
                </a:lnTo>
                <a:lnTo>
                  <a:pt x="4246973" y="4344592"/>
                </a:lnTo>
                <a:lnTo>
                  <a:pt x="4239447" y="4334558"/>
                </a:lnTo>
                <a:lnTo>
                  <a:pt x="4255753" y="4334558"/>
                </a:lnTo>
                <a:lnTo>
                  <a:pt x="4255753" y="4320970"/>
                </a:lnTo>
                <a:lnTo>
                  <a:pt x="4257378" y="4319434"/>
                </a:lnTo>
                <a:lnTo>
                  <a:pt x="4285647" y="4339993"/>
                </a:lnTo>
                <a:lnTo>
                  <a:pt x="4285647" y="4356298"/>
                </a:lnTo>
                <a:cubicBezTo>
                  <a:pt x="4255753" y="4364451"/>
                  <a:pt x="4236729" y="4388910"/>
                  <a:pt x="4223141" y="4410650"/>
                </a:cubicBezTo>
                <a:cubicBezTo>
                  <a:pt x="4242165" y="4418803"/>
                  <a:pt x="4242165" y="4416086"/>
                  <a:pt x="4253035" y="4410650"/>
                </a:cubicBezTo>
                <a:cubicBezTo>
                  <a:pt x="4255753" y="4407933"/>
                  <a:pt x="4258471" y="4405215"/>
                  <a:pt x="4258471" y="4405215"/>
                </a:cubicBezTo>
                <a:cubicBezTo>
                  <a:pt x="4255753" y="4402498"/>
                  <a:pt x="4255753" y="4402498"/>
                  <a:pt x="4253035" y="4397062"/>
                </a:cubicBezTo>
                <a:lnTo>
                  <a:pt x="4282929" y="4388910"/>
                </a:lnTo>
                <a:cubicBezTo>
                  <a:pt x="4293799" y="4407933"/>
                  <a:pt x="4291081" y="4391627"/>
                  <a:pt x="4285647" y="4410650"/>
                </a:cubicBezTo>
                <a:lnTo>
                  <a:pt x="4299235" y="4426956"/>
                </a:lnTo>
                <a:lnTo>
                  <a:pt x="4282929" y="4435109"/>
                </a:lnTo>
                <a:lnTo>
                  <a:pt x="4282929" y="4418803"/>
                </a:lnTo>
                <a:cubicBezTo>
                  <a:pt x="4261189" y="4426956"/>
                  <a:pt x="4266623" y="4416086"/>
                  <a:pt x="4274777" y="4435109"/>
                </a:cubicBezTo>
                <a:lnTo>
                  <a:pt x="4253035" y="4437826"/>
                </a:lnTo>
                <a:lnTo>
                  <a:pt x="4234013" y="4451414"/>
                </a:lnTo>
                <a:lnTo>
                  <a:pt x="4250317" y="4473155"/>
                </a:lnTo>
                <a:lnTo>
                  <a:pt x="4236729" y="4481308"/>
                </a:lnTo>
                <a:lnTo>
                  <a:pt x="4250317" y="4497614"/>
                </a:lnTo>
                <a:lnTo>
                  <a:pt x="4253035" y="4473155"/>
                </a:lnTo>
                <a:lnTo>
                  <a:pt x="4282929" y="4494896"/>
                </a:lnTo>
                <a:lnTo>
                  <a:pt x="4282929" y="4473155"/>
                </a:lnTo>
                <a:lnTo>
                  <a:pt x="4296517" y="4473155"/>
                </a:lnTo>
                <a:lnTo>
                  <a:pt x="4304669" y="4489461"/>
                </a:lnTo>
                <a:cubicBezTo>
                  <a:pt x="4293799" y="4508484"/>
                  <a:pt x="4296517" y="4492178"/>
                  <a:pt x="4301953" y="4511201"/>
                </a:cubicBezTo>
                <a:lnTo>
                  <a:pt x="4288365" y="4527507"/>
                </a:lnTo>
                <a:lnTo>
                  <a:pt x="4274777" y="4519354"/>
                </a:lnTo>
                <a:lnTo>
                  <a:pt x="4266623" y="4541095"/>
                </a:lnTo>
                <a:lnTo>
                  <a:pt x="4266623" y="4519354"/>
                </a:lnTo>
                <a:lnTo>
                  <a:pt x="4244883" y="4503049"/>
                </a:lnTo>
                <a:lnTo>
                  <a:pt x="4236729" y="4535660"/>
                </a:lnTo>
                <a:cubicBezTo>
                  <a:pt x="4247601" y="4541095"/>
                  <a:pt x="4244883" y="4543813"/>
                  <a:pt x="4247601" y="4541095"/>
                </a:cubicBezTo>
                <a:cubicBezTo>
                  <a:pt x="4247601" y="4549248"/>
                  <a:pt x="4247601" y="4557400"/>
                  <a:pt x="4244883" y="4560118"/>
                </a:cubicBezTo>
                <a:cubicBezTo>
                  <a:pt x="4236729" y="4557400"/>
                  <a:pt x="4231295" y="4546530"/>
                  <a:pt x="4223141" y="4538377"/>
                </a:cubicBezTo>
                <a:cubicBezTo>
                  <a:pt x="4214989" y="4541095"/>
                  <a:pt x="4223141" y="4549248"/>
                  <a:pt x="4223141" y="4554683"/>
                </a:cubicBezTo>
                <a:cubicBezTo>
                  <a:pt x="4217707" y="4551965"/>
                  <a:pt x="4214989" y="4543813"/>
                  <a:pt x="4206837" y="4541095"/>
                </a:cubicBezTo>
                <a:cubicBezTo>
                  <a:pt x="4198683" y="4551965"/>
                  <a:pt x="4212271" y="4560118"/>
                  <a:pt x="4214989" y="4570988"/>
                </a:cubicBezTo>
                <a:lnTo>
                  <a:pt x="4201401" y="4570988"/>
                </a:lnTo>
                <a:cubicBezTo>
                  <a:pt x="4204119" y="4587294"/>
                  <a:pt x="4225859" y="4584576"/>
                  <a:pt x="4244883" y="4587294"/>
                </a:cubicBezTo>
                <a:cubicBezTo>
                  <a:pt x="4250317" y="4595447"/>
                  <a:pt x="4258471" y="4603599"/>
                  <a:pt x="4263905" y="4614470"/>
                </a:cubicBezTo>
                <a:lnTo>
                  <a:pt x="4250317" y="4614470"/>
                </a:lnTo>
                <a:cubicBezTo>
                  <a:pt x="4250317" y="4611752"/>
                  <a:pt x="4250317" y="4609035"/>
                  <a:pt x="4253035" y="4606317"/>
                </a:cubicBezTo>
                <a:cubicBezTo>
                  <a:pt x="4247601" y="4606317"/>
                  <a:pt x="4242165" y="4611752"/>
                  <a:pt x="4239447" y="4614470"/>
                </a:cubicBezTo>
                <a:cubicBezTo>
                  <a:pt x="4236729" y="4617187"/>
                  <a:pt x="4234013" y="4619905"/>
                  <a:pt x="4231295" y="4622623"/>
                </a:cubicBezTo>
                <a:cubicBezTo>
                  <a:pt x="4236729" y="4622623"/>
                  <a:pt x="4239447" y="4622623"/>
                  <a:pt x="4242165" y="4619905"/>
                </a:cubicBezTo>
                <a:cubicBezTo>
                  <a:pt x="4261189" y="4666104"/>
                  <a:pt x="4236729" y="4633493"/>
                  <a:pt x="4274777" y="4649798"/>
                </a:cubicBezTo>
                <a:lnTo>
                  <a:pt x="4277493" y="4647081"/>
                </a:lnTo>
                <a:cubicBezTo>
                  <a:pt x="4280211" y="4649798"/>
                  <a:pt x="4280211" y="4655234"/>
                  <a:pt x="4277493" y="4660669"/>
                </a:cubicBezTo>
                <a:cubicBezTo>
                  <a:pt x="4291081" y="4671539"/>
                  <a:pt x="4301953" y="4687845"/>
                  <a:pt x="4310105" y="4704150"/>
                </a:cubicBezTo>
                <a:cubicBezTo>
                  <a:pt x="4307387" y="4704150"/>
                  <a:pt x="4307387" y="4706868"/>
                  <a:pt x="4307387" y="4709585"/>
                </a:cubicBezTo>
                <a:lnTo>
                  <a:pt x="4291081" y="4709585"/>
                </a:lnTo>
                <a:lnTo>
                  <a:pt x="4285647" y="4701433"/>
                </a:lnTo>
                <a:lnTo>
                  <a:pt x="4277493" y="4695997"/>
                </a:lnTo>
                <a:lnTo>
                  <a:pt x="4269341" y="4682410"/>
                </a:lnTo>
                <a:lnTo>
                  <a:pt x="4253035" y="4695997"/>
                </a:lnTo>
                <a:lnTo>
                  <a:pt x="4263905" y="4704150"/>
                </a:lnTo>
                <a:lnTo>
                  <a:pt x="4277493" y="4698715"/>
                </a:lnTo>
                <a:lnTo>
                  <a:pt x="4277493" y="4723173"/>
                </a:lnTo>
                <a:lnTo>
                  <a:pt x="4293799" y="4715021"/>
                </a:lnTo>
                <a:lnTo>
                  <a:pt x="4301953" y="4731326"/>
                </a:lnTo>
                <a:lnTo>
                  <a:pt x="4277493" y="4731326"/>
                </a:lnTo>
                <a:lnTo>
                  <a:pt x="4285647" y="4744914"/>
                </a:lnTo>
                <a:lnTo>
                  <a:pt x="4261189" y="4744914"/>
                </a:lnTo>
                <a:lnTo>
                  <a:pt x="4269341" y="4731326"/>
                </a:lnTo>
                <a:lnTo>
                  <a:pt x="4236729" y="4723173"/>
                </a:lnTo>
                <a:lnTo>
                  <a:pt x="4244883" y="4744914"/>
                </a:lnTo>
                <a:lnTo>
                  <a:pt x="4239447" y="4774808"/>
                </a:lnTo>
                <a:lnTo>
                  <a:pt x="4277493" y="4758502"/>
                </a:lnTo>
                <a:cubicBezTo>
                  <a:pt x="4282929" y="4772090"/>
                  <a:pt x="4282929" y="4769373"/>
                  <a:pt x="4282929" y="4772090"/>
                </a:cubicBezTo>
                <a:cubicBezTo>
                  <a:pt x="4269341" y="4777525"/>
                  <a:pt x="4255753" y="4782961"/>
                  <a:pt x="4242165" y="4777525"/>
                </a:cubicBezTo>
                <a:cubicBezTo>
                  <a:pt x="4236729" y="4780243"/>
                  <a:pt x="4236729" y="4788396"/>
                  <a:pt x="4234013" y="4791113"/>
                </a:cubicBezTo>
                <a:lnTo>
                  <a:pt x="4176943" y="4791113"/>
                </a:lnTo>
                <a:lnTo>
                  <a:pt x="4176943" y="4807419"/>
                </a:lnTo>
                <a:cubicBezTo>
                  <a:pt x="4157919" y="4799266"/>
                  <a:pt x="4163355" y="4793831"/>
                  <a:pt x="4155203" y="4823725"/>
                </a:cubicBezTo>
                <a:cubicBezTo>
                  <a:pt x="4160637" y="4823725"/>
                  <a:pt x="4168791" y="4823725"/>
                  <a:pt x="4174225" y="4826442"/>
                </a:cubicBezTo>
                <a:cubicBezTo>
                  <a:pt x="4164714" y="4834595"/>
                  <a:pt x="4155882" y="4841389"/>
                  <a:pt x="4146370" y="4846485"/>
                </a:cubicBezTo>
                <a:lnTo>
                  <a:pt x="4121048" y="4854297"/>
                </a:lnTo>
                <a:lnTo>
                  <a:pt x="4128027" y="4859052"/>
                </a:lnTo>
                <a:cubicBezTo>
                  <a:pt x="4138897" y="4869923"/>
                  <a:pt x="4149768" y="4880793"/>
                  <a:pt x="4157921" y="4891664"/>
                </a:cubicBezTo>
                <a:cubicBezTo>
                  <a:pt x="4138897" y="4880793"/>
                  <a:pt x="4149768" y="4888946"/>
                  <a:pt x="4144333" y="4891664"/>
                </a:cubicBezTo>
                <a:cubicBezTo>
                  <a:pt x="4141615" y="4894381"/>
                  <a:pt x="4141615" y="4897099"/>
                  <a:pt x="4138897" y="4897099"/>
                </a:cubicBezTo>
                <a:cubicBezTo>
                  <a:pt x="4141615" y="4899816"/>
                  <a:pt x="4141615" y="4899816"/>
                  <a:pt x="4144333" y="4905252"/>
                </a:cubicBezTo>
                <a:lnTo>
                  <a:pt x="4138897" y="4913404"/>
                </a:lnTo>
                <a:lnTo>
                  <a:pt x="4122592" y="4897099"/>
                </a:lnTo>
                <a:lnTo>
                  <a:pt x="4109004" y="4905252"/>
                </a:lnTo>
                <a:lnTo>
                  <a:pt x="4109004" y="4883511"/>
                </a:lnTo>
                <a:cubicBezTo>
                  <a:pt x="4087263" y="4894381"/>
                  <a:pt x="4106286" y="4891664"/>
                  <a:pt x="4087263" y="4886228"/>
                </a:cubicBezTo>
                <a:lnTo>
                  <a:pt x="4054652" y="4916122"/>
                </a:lnTo>
                <a:lnTo>
                  <a:pt x="4054652" y="4937863"/>
                </a:lnTo>
                <a:lnTo>
                  <a:pt x="4030194" y="4954168"/>
                </a:lnTo>
                <a:lnTo>
                  <a:pt x="4046499" y="4975909"/>
                </a:lnTo>
                <a:lnTo>
                  <a:pt x="4030194" y="4984062"/>
                </a:lnTo>
                <a:lnTo>
                  <a:pt x="4038347" y="4997650"/>
                </a:lnTo>
                <a:lnTo>
                  <a:pt x="4024759" y="5003085"/>
                </a:lnTo>
                <a:lnTo>
                  <a:pt x="4016606" y="4997650"/>
                </a:lnTo>
                <a:lnTo>
                  <a:pt x="4022041" y="4967756"/>
                </a:lnTo>
                <a:lnTo>
                  <a:pt x="4000300" y="4967756"/>
                </a:lnTo>
                <a:cubicBezTo>
                  <a:pt x="4008453" y="4986780"/>
                  <a:pt x="4011171" y="4975909"/>
                  <a:pt x="3992147" y="4989497"/>
                </a:cubicBezTo>
                <a:lnTo>
                  <a:pt x="3992147" y="4967756"/>
                </a:lnTo>
                <a:lnTo>
                  <a:pt x="3983995" y="4965039"/>
                </a:lnTo>
                <a:cubicBezTo>
                  <a:pt x="3986712" y="4959604"/>
                  <a:pt x="3992147" y="4951451"/>
                  <a:pt x="3992147" y="4943298"/>
                </a:cubicBezTo>
                <a:cubicBezTo>
                  <a:pt x="3986712" y="4940580"/>
                  <a:pt x="3983995" y="4935145"/>
                  <a:pt x="3981277" y="4932428"/>
                </a:cubicBezTo>
                <a:lnTo>
                  <a:pt x="4003018" y="4913404"/>
                </a:lnTo>
                <a:lnTo>
                  <a:pt x="3992147" y="4905252"/>
                </a:lnTo>
                <a:lnTo>
                  <a:pt x="3975842" y="4916122"/>
                </a:lnTo>
                <a:cubicBezTo>
                  <a:pt x="3975842" y="4905252"/>
                  <a:pt x="3975842" y="4894381"/>
                  <a:pt x="3978559" y="4880793"/>
                </a:cubicBezTo>
                <a:lnTo>
                  <a:pt x="3978559" y="4878076"/>
                </a:lnTo>
                <a:cubicBezTo>
                  <a:pt x="3981277" y="4853617"/>
                  <a:pt x="3989430" y="4829159"/>
                  <a:pt x="3983995" y="4815571"/>
                </a:cubicBezTo>
                <a:cubicBezTo>
                  <a:pt x="3978559" y="4815571"/>
                  <a:pt x="3975842" y="4821006"/>
                  <a:pt x="3967689" y="4818288"/>
                </a:cubicBezTo>
                <a:cubicBezTo>
                  <a:pt x="3962254" y="4837312"/>
                  <a:pt x="3973124" y="4848182"/>
                  <a:pt x="3967689" y="4861770"/>
                </a:cubicBezTo>
                <a:cubicBezTo>
                  <a:pt x="3956139" y="4850900"/>
                  <a:pt x="3949175" y="4836293"/>
                  <a:pt x="3944972" y="4819605"/>
                </a:cubicBezTo>
                <a:lnTo>
                  <a:pt x="3942341" y="4796251"/>
                </a:lnTo>
                <a:lnTo>
                  <a:pt x="3926924" y="4771751"/>
                </a:lnTo>
                <a:cubicBezTo>
                  <a:pt x="3921489" y="4760541"/>
                  <a:pt x="3917413" y="4748991"/>
                  <a:pt x="3916054" y="4739480"/>
                </a:cubicBezTo>
                <a:cubicBezTo>
                  <a:pt x="3924207" y="4736083"/>
                  <a:pt x="3929812" y="4736932"/>
                  <a:pt x="3933719" y="4740456"/>
                </a:cubicBezTo>
                <a:lnTo>
                  <a:pt x="3938687" y="4751777"/>
                </a:lnTo>
                <a:lnTo>
                  <a:pt x="3938263" y="4707759"/>
                </a:lnTo>
                <a:cubicBezTo>
                  <a:pt x="3937795" y="4689373"/>
                  <a:pt x="3936436" y="4672218"/>
                  <a:pt x="3932360" y="4657951"/>
                </a:cubicBezTo>
                <a:cubicBezTo>
                  <a:pt x="3924207" y="4674256"/>
                  <a:pt x="3943231" y="4706867"/>
                  <a:pt x="3926925" y="4734043"/>
                </a:cubicBezTo>
                <a:cubicBezTo>
                  <a:pt x="3913337" y="4725890"/>
                  <a:pt x="3921490" y="4693279"/>
                  <a:pt x="3913337" y="4682409"/>
                </a:cubicBezTo>
                <a:cubicBezTo>
                  <a:pt x="3905184" y="4685127"/>
                  <a:pt x="3905184" y="4693279"/>
                  <a:pt x="3905184" y="4704150"/>
                </a:cubicBezTo>
                <a:cubicBezTo>
                  <a:pt x="3897031" y="4695997"/>
                  <a:pt x="3894313" y="4682409"/>
                  <a:pt x="3886161" y="4674256"/>
                </a:cubicBezTo>
                <a:cubicBezTo>
                  <a:pt x="3875290" y="4674256"/>
                  <a:pt x="3883443" y="4693279"/>
                  <a:pt x="3888879" y="4695997"/>
                </a:cubicBezTo>
                <a:cubicBezTo>
                  <a:pt x="3886161" y="4704150"/>
                  <a:pt x="3875290" y="4687844"/>
                  <a:pt x="3869854" y="4695997"/>
                </a:cubicBezTo>
                <a:cubicBezTo>
                  <a:pt x="3878007" y="4723173"/>
                  <a:pt x="3891595" y="4723173"/>
                  <a:pt x="3913337" y="4728608"/>
                </a:cubicBezTo>
                <a:cubicBezTo>
                  <a:pt x="3913337" y="4736761"/>
                  <a:pt x="3905184" y="4731326"/>
                  <a:pt x="3899749" y="4731326"/>
                </a:cubicBezTo>
                <a:cubicBezTo>
                  <a:pt x="3910619" y="4785677"/>
                  <a:pt x="3943231" y="4823724"/>
                  <a:pt x="3951383" y="4872640"/>
                </a:cubicBezTo>
                <a:lnTo>
                  <a:pt x="3951383" y="4878076"/>
                </a:lnTo>
                <a:cubicBezTo>
                  <a:pt x="3951383" y="4878076"/>
                  <a:pt x="3951383" y="4880793"/>
                  <a:pt x="3951383" y="4883511"/>
                </a:cubicBezTo>
                <a:cubicBezTo>
                  <a:pt x="3940513" y="4883511"/>
                  <a:pt x="3948666" y="4883511"/>
                  <a:pt x="3926925" y="4869923"/>
                </a:cubicBezTo>
                <a:lnTo>
                  <a:pt x="3935078" y="4907969"/>
                </a:lnTo>
                <a:cubicBezTo>
                  <a:pt x="3943231" y="4905252"/>
                  <a:pt x="3948666" y="4902534"/>
                  <a:pt x="3951383" y="4902534"/>
                </a:cubicBezTo>
                <a:cubicBezTo>
                  <a:pt x="3951383" y="4913404"/>
                  <a:pt x="3948666" y="4924275"/>
                  <a:pt x="3945948" y="4935145"/>
                </a:cubicBezTo>
                <a:cubicBezTo>
                  <a:pt x="3937795" y="4932428"/>
                  <a:pt x="3929643" y="4926992"/>
                  <a:pt x="3924207" y="4921557"/>
                </a:cubicBezTo>
                <a:cubicBezTo>
                  <a:pt x="3918772" y="4916122"/>
                  <a:pt x="3910619" y="4910687"/>
                  <a:pt x="3902467" y="4907969"/>
                </a:cubicBezTo>
                <a:cubicBezTo>
                  <a:pt x="3897031" y="4924275"/>
                  <a:pt x="3905184" y="4937863"/>
                  <a:pt x="3916055" y="4951451"/>
                </a:cubicBezTo>
                <a:lnTo>
                  <a:pt x="3886161" y="4959604"/>
                </a:lnTo>
                <a:lnTo>
                  <a:pt x="3899749" y="4940580"/>
                </a:lnTo>
                <a:cubicBezTo>
                  <a:pt x="3894313" y="4921557"/>
                  <a:pt x="3894313" y="4937863"/>
                  <a:pt x="3902467" y="4918840"/>
                </a:cubicBezTo>
                <a:cubicBezTo>
                  <a:pt x="3886161" y="4907969"/>
                  <a:pt x="3891595" y="4918840"/>
                  <a:pt x="3886161" y="4897099"/>
                </a:cubicBezTo>
                <a:cubicBezTo>
                  <a:pt x="3864419" y="4905252"/>
                  <a:pt x="3875290" y="4899816"/>
                  <a:pt x="3856266" y="4913404"/>
                </a:cubicBezTo>
                <a:lnTo>
                  <a:pt x="3864419" y="4929710"/>
                </a:lnTo>
                <a:cubicBezTo>
                  <a:pt x="3848114" y="4940580"/>
                  <a:pt x="3856266" y="4943298"/>
                  <a:pt x="3864419" y="4959604"/>
                </a:cubicBezTo>
                <a:lnTo>
                  <a:pt x="3856266" y="4984062"/>
                </a:lnTo>
                <a:lnTo>
                  <a:pt x="3869854" y="4984062"/>
                </a:lnTo>
                <a:lnTo>
                  <a:pt x="3869854" y="5003085"/>
                </a:lnTo>
                <a:lnTo>
                  <a:pt x="3848114" y="4994932"/>
                </a:lnTo>
                <a:lnTo>
                  <a:pt x="3823655" y="5016673"/>
                </a:lnTo>
                <a:lnTo>
                  <a:pt x="3834526" y="5024826"/>
                </a:lnTo>
                <a:lnTo>
                  <a:pt x="3850831" y="5011238"/>
                </a:lnTo>
                <a:lnTo>
                  <a:pt x="3864419" y="5019391"/>
                </a:lnTo>
                <a:lnTo>
                  <a:pt x="3872572" y="5003085"/>
                </a:lnTo>
                <a:lnTo>
                  <a:pt x="3880725" y="4997650"/>
                </a:lnTo>
                <a:lnTo>
                  <a:pt x="3886161" y="4989497"/>
                </a:lnTo>
                <a:lnTo>
                  <a:pt x="3899749" y="4989497"/>
                </a:lnTo>
                <a:lnTo>
                  <a:pt x="3905184" y="4989497"/>
                </a:lnTo>
                <a:cubicBezTo>
                  <a:pt x="3910619" y="4997650"/>
                  <a:pt x="3918772" y="5003085"/>
                  <a:pt x="3929643" y="5005803"/>
                </a:cubicBezTo>
                <a:lnTo>
                  <a:pt x="3913337" y="5013955"/>
                </a:lnTo>
                <a:lnTo>
                  <a:pt x="3916055" y="5016673"/>
                </a:lnTo>
                <a:cubicBezTo>
                  <a:pt x="3916055" y="5016673"/>
                  <a:pt x="3913337" y="5019391"/>
                  <a:pt x="3913337" y="5019391"/>
                </a:cubicBezTo>
                <a:cubicBezTo>
                  <a:pt x="3913337" y="5030261"/>
                  <a:pt x="3921490" y="5030261"/>
                  <a:pt x="3932360" y="5032979"/>
                </a:cubicBezTo>
                <a:lnTo>
                  <a:pt x="3935078" y="5035696"/>
                </a:lnTo>
                <a:lnTo>
                  <a:pt x="3935078" y="5032979"/>
                </a:lnTo>
                <a:cubicBezTo>
                  <a:pt x="3937795" y="5032979"/>
                  <a:pt x="3940513" y="5032979"/>
                  <a:pt x="3943231" y="5035696"/>
                </a:cubicBezTo>
                <a:cubicBezTo>
                  <a:pt x="3945948" y="5041131"/>
                  <a:pt x="3945948" y="5049284"/>
                  <a:pt x="3945948" y="5054719"/>
                </a:cubicBezTo>
                <a:lnTo>
                  <a:pt x="3940513" y="5052002"/>
                </a:lnTo>
                <a:lnTo>
                  <a:pt x="3899749" y="5087330"/>
                </a:lnTo>
                <a:lnTo>
                  <a:pt x="3899749" y="5065590"/>
                </a:lnTo>
                <a:lnTo>
                  <a:pt x="3905184" y="5065590"/>
                </a:lnTo>
                <a:lnTo>
                  <a:pt x="3916055" y="5065590"/>
                </a:lnTo>
                <a:lnTo>
                  <a:pt x="3924207" y="5041131"/>
                </a:lnTo>
                <a:lnTo>
                  <a:pt x="3894313" y="5041131"/>
                </a:lnTo>
                <a:lnTo>
                  <a:pt x="3888879" y="5024826"/>
                </a:lnTo>
                <a:lnTo>
                  <a:pt x="3886161" y="5049284"/>
                </a:lnTo>
                <a:lnTo>
                  <a:pt x="3913337" y="5049284"/>
                </a:lnTo>
                <a:lnTo>
                  <a:pt x="3905184" y="5065590"/>
                </a:lnTo>
                <a:lnTo>
                  <a:pt x="3888879" y="5057437"/>
                </a:lnTo>
                <a:lnTo>
                  <a:pt x="3888879" y="5073742"/>
                </a:lnTo>
                <a:cubicBezTo>
                  <a:pt x="3867137" y="5065590"/>
                  <a:pt x="3872572" y="5076460"/>
                  <a:pt x="3880725" y="5057437"/>
                </a:cubicBezTo>
                <a:lnTo>
                  <a:pt x="3834526" y="5057437"/>
                </a:lnTo>
                <a:lnTo>
                  <a:pt x="3834526" y="5073742"/>
                </a:lnTo>
                <a:lnTo>
                  <a:pt x="3810067" y="5073742"/>
                </a:lnTo>
                <a:lnTo>
                  <a:pt x="3823655" y="5052002"/>
                </a:lnTo>
                <a:lnTo>
                  <a:pt x="3810067" y="5035696"/>
                </a:lnTo>
                <a:lnTo>
                  <a:pt x="3793762" y="5043849"/>
                </a:lnTo>
                <a:cubicBezTo>
                  <a:pt x="3788327" y="5035696"/>
                  <a:pt x="3788327" y="5027543"/>
                  <a:pt x="3777456" y="5027543"/>
                </a:cubicBezTo>
                <a:cubicBezTo>
                  <a:pt x="3761151" y="5027543"/>
                  <a:pt x="3761151" y="5035696"/>
                  <a:pt x="3747563" y="5043849"/>
                </a:cubicBezTo>
                <a:cubicBezTo>
                  <a:pt x="3739410" y="5019391"/>
                  <a:pt x="3758433" y="5038414"/>
                  <a:pt x="3723104" y="5019391"/>
                </a:cubicBezTo>
                <a:lnTo>
                  <a:pt x="3739410" y="5005803"/>
                </a:lnTo>
                <a:lnTo>
                  <a:pt x="3731257" y="4992215"/>
                </a:lnTo>
                <a:cubicBezTo>
                  <a:pt x="3750280" y="4981344"/>
                  <a:pt x="3742128" y="4992215"/>
                  <a:pt x="3747563" y="4970474"/>
                </a:cubicBezTo>
                <a:cubicBezTo>
                  <a:pt x="3723104" y="4965039"/>
                  <a:pt x="3733975" y="4967756"/>
                  <a:pt x="3714952" y="4954168"/>
                </a:cubicBezTo>
                <a:lnTo>
                  <a:pt x="3723104" y="4937863"/>
                </a:lnTo>
                <a:lnTo>
                  <a:pt x="3698646" y="4937863"/>
                </a:lnTo>
                <a:lnTo>
                  <a:pt x="3706799" y="4962321"/>
                </a:lnTo>
                <a:lnTo>
                  <a:pt x="3701364" y="4975909"/>
                </a:lnTo>
                <a:lnTo>
                  <a:pt x="3723104" y="5000368"/>
                </a:lnTo>
                <a:lnTo>
                  <a:pt x="3701364" y="5000368"/>
                </a:lnTo>
                <a:cubicBezTo>
                  <a:pt x="3712234" y="5019391"/>
                  <a:pt x="3709516" y="5003085"/>
                  <a:pt x="3704081" y="5022108"/>
                </a:cubicBezTo>
                <a:lnTo>
                  <a:pt x="3717669" y="5038414"/>
                </a:lnTo>
                <a:lnTo>
                  <a:pt x="3739410" y="5038414"/>
                </a:lnTo>
                <a:lnTo>
                  <a:pt x="3739410" y="5046567"/>
                </a:lnTo>
                <a:lnTo>
                  <a:pt x="3714952" y="5046567"/>
                </a:lnTo>
                <a:lnTo>
                  <a:pt x="3723104" y="5062872"/>
                </a:lnTo>
                <a:lnTo>
                  <a:pt x="3693211" y="5057437"/>
                </a:lnTo>
                <a:lnTo>
                  <a:pt x="3668753" y="5060154"/>
                </a:lnTo>
                <a:lnTo>
                  <a:pt x="3676905" y="5046567"/>
                </a:lnTo>
                <a:lnTo>
                  <a:pt x="3647012" y="5038414"/>
                </a:lnTo>
                <a:lnTo>
                  <a:pt x="3647012" y="5060154"/>
                </a:lnTo>
                <a:lnTo>
                  <a:pt x="3633424" y="5060154"/>
                </a:lnTo>
                <a:cubicBezTo>
                  <a:pt x="3636141" y="5038414"/>
                  <a:pt x="3638859" y="5019391"/>
                  <a:pt x="3641577" y="5000368"/>
                </a:cubicBezTo>
                <a:cubicBezTo>
                  <a:pt x="3649729" y="4997650"/>
                  <a:pt x="3649729" y="4989497"/>
                  <a:pt x="3657882" y="4978627"/>
                </a:cubicBezTo>
                <a:cubicBezTo>
                  <a:pt x="3657882" y="4970474"/>
                  <a:pt x="3649729" y="4962321"/>
                  <a:pt x="3647012" y="4973192"/>
                </a:cubicBezTo>
                <a:cubicBezTo>
                  <a:pt x="3638859" y="4965039"/>
                  <a:pt x="3652447" y="4956886"/>
                  <a:pt x="3649729" y="4943298"/>
                </a:cubicBezTo>
                <a:cubicBezTo>
                  <a:pt x="3652447" y="4946016"/>
                  <a:pt x="3663317" y="4946016"/>
                  <a:pt x="3666035" y="4943298"/>
                </a:cubicBezTo>
                <a:cubicBezTo>
                  <a:pt x="3668753" y="4926992"/>
                  <a:pt x="3655165" y="4926992"/>
                  <a:pt x="3652447" y="4913404"/>
                </a:cubicBezTo>
                <a:cubicBezTo>
                  <a:pt x="3652447" y="4913404"/>
                  <a:pt x="3652447" y="4910687"/>
                  <a:pt x="3652447" y="4910687"/>
                </a:cubicBezTo>
                <a:cubicBezTo>
                  <a:pt x="3663317" y="4913404"/>
                  <a:pt x="3655165" y="4913404"/>
                  <a:pt x="3668753" y="4897099"/>
                </a:cubicBezTo>
                <a:cubicBezTo>
                  <a:pt x="3652447" y="4888946"/>
                  <a:pt x="3663317" y="4888946"/>
                  <a:pt x="3657882" y="4888946"/>
                </a:cubicBezTo>
                <a:cubicBezTo>
                  <a:pt x="3657882" y="4883511"/>
                  <a:pt x="3660600" y="4878076"/>
                  <a:pt x="3660600" y="4872640"/>
                </a:cubicBezTo>
                <a:cubicBezTo>
                  <a:pt x="3671470" y="4872640"/>
                  <a:pt x="3682341" y="4872640"/>
                  <a:pt x="3690493" y="4869923"/>
                </a:cubicBezTo>
                <a:lnTo>
                  <a:pt x="3693211" y="4872640"/>
                </a:lnTo>
                <a:lnTo>
                  <a:pt x="3685058" y="4894381"/>
                </a:lnTo>
                <a:lnTo>
                  <a:pt x="3701364" y="4886228"/>
                </a:lnTo>
                <a:lnTo>
                  <a:pt x="3709516" y="4902534"/>
                </a:lnTo>
                <a:lnTo>
                  <a:pt x="3685058" y="4924275"/>
                </a:lnTo>
                <a:lnTo>
                  <a:pt x="3717669" y="4918840"/>
                </a:lnTo>
                <a:cubicBezTo>
                  <a:pt x="3733975" y="4937863"/>
                  <a:pt x="3739410" y="4921557"/>
                  <a:pt x="3747563" y="4910687"/>
                </a:cubicBezTo>
                <a:lnTo>
                  <a:pt x="3717669" y="4918840"/>
                </a:lnTo>
                <a:lnTo>
                  <a:pt x="3709516" y="4902534"/>
                </a:lnTo>
                <a:lnTo>
                  <a:pt x="3742128" y="4872640"/>
                </a:lnTo>
                <a:lnTo>
                  <a:pt x="3723104" y="4856335"/>
                </a:lnTo>
                <a:lnTo>
                  <a:pt x="3717669" y="4853617"/>
                </a:lnTo>
                <a:cubicBezTo>
                  <a:pt x="3712234" y="4840029"/>
                  <a:pt x="3701364" y="4831876"/>
                  <a:pt x="3687776" y="4826441"/>
                </a:cubicBezTo>
                <a:lnTo>
                  <a:pt x="3687776" y="4807418"/>
                </a:lnTo>
                <a:lnTo>
                  <a:pt x="3668753" y="4807418"/>
                </a:lnTo>
                <a:cubicBezTo>
                  <a:pt x="3676905" y="4747631"/>
                  <a:pt x="3663317" y="4660668"/>
                  <a:pt x="3679623" y="4600881"/>
                </a:cubicBezTo>
                <a:cubicBezTo>
                  <a:pt x="3709516" y="4606317"/>
                  <a:pt x="3742128" y="4598164"/>
                  <a:pt x="3774739" y="4600881"/>
                </a:cubicBezTo>
                <a:cubicBezTo>
                  <a:pt x="3791044" y="4600881"/>
                  <a:pt x="3834526" y="4603599"/>
                  <a:pt x="3878007" y="4600881"/>
                </a:cubicBezTo>
                <a:cubicBezTo>
                  <a:pt x="3887519" y="4599522"/>
                  <a:pt x="3894313" y="4598334"/>
                  <a:pt x="3899536" y="4597697"/>
                </a:cubicBezTo>
                <a:cubicBezTo>
                  <a:pt x="3915205" y="4595786"/>
                  <a:pt x="3916734" y="4598844"/>
                  <a:pt x="3935078" y="4617187"/>
                </a:cubicBezTo>
                <a:cubicBezTo>
                  <a:pt x="3954101" y="4638928"/>
                  <a:pt x="3983995" y="4652516"/>
                  <a:pt x="4003018" y="4668821"/>
                </a:cubicBezTo>
                <a:cubicBezTo>
                  <a:pt x="4005735" y="4668821"/>
                  <a:pt x="4003018" y="4674256"/>
                  <a:pt x="4003018" y="4676974"/>
                </a:cubicBezTo>
                <a:cubicBezTo>
                  <a:pt x="4012530" y="4687845"/>
                  <a:pt x="4025438" y="4696677"/>
                  <a:pt x="4036648" y="4706528"/>
                </a:cubicBezTo>
                <a:lnTo>
                  <a:pt x="4050621" y="4721457"/>
                </a:lnTo>
                <a:lnTo>
                  <a:pt x="4057225" y="4700613"/>
                </a:lnTo>
                <a:lnTo>
                  <a:pt x="4054313" y="4697357"/>
                </a:lnTo>
                <a:cubicBezTo>
                  <a:pt x="4036988" y="4675616"/>
                  <a:pt x="4020682" y="4652517"/>
                  <a:pt x="4005735" y="4628058"/>
                </a:cubicBezTo>
                <a:cubicBezTo>
                  <a:pt x="4005735" y="4619905"/>
                  <a:pt x="4013888" y="4617188"/>
                  <a:pt x="4016606" y="4611752"/>
                </a:cubicBezTo>
                <a:cubicBezTo>
                  <a:pt x="4011171" y="4614470"/>
                  <a:pt x="4003018" y="4617188"/>
                  <a:pt x="3994865" y="4617188"/>
                </a:cubicBezTo>
                <a:cubicBezTo>
                  <a:pt x="3970406" y="4579141"/>
                  <a:pt x="3929642" y="4543813"/>
                  <a:pt x="3929642" y="4492178"/>
                </a:cubicBezTo>
                <a:cubicBezTo>
                  <a:pt x="3940512" y="4489461"/>
                  <a:pt x="3935077" y="4503049"/>
                  <a:pt x="3948665" y="4497614"/>
                </a:cubicBezTo>
                <a:cubicBezTo>
                  <a:pt x="3956818" y="4489461"/>
                  <a:pt x="3940512" y="4486743"/>
                  <a:pt x="3935077" y="4484026"/>
                </a:cubicBezTo>
                <a:cubicBezTo>
                  <a:pt x="3937794" y="4456850"/>
                  <a:pt x="3975841" y="4478590"/>
                  <a:pt x="3989429" y="4473155"/>
                </a:cubicBezTo>
                <a:cubicBezTo>
                  <a:pt x="3978558" y="4454132"/>
                  <a:pt x="3943230" y="4465002"/>
                  <a:pt x="3929642" y="4473155"/>
                </a:cubicBezTo>
                <a:cubicBezTo>
                  <a:pt x="3921489" y="4456850"/>
                  <a:pt x="3943230" y="4448697"/>
                  <a:pt x="3937794" y="4432391"/>
                </a:cubicBezTo>
                <a:cubicBezTo>
                  <a:pt x="3951382" y="4429674"/>
                  <a:pt x="3970406" y="4426956"/>
                  <a:pt x="3975841" y="4416086"/>
                </a:cubicBezTo>
                <a:cubicBezTo>
                  <a:pt x="3967688" y="4407933"/>
                  <a:pt x="3954100" y="4418803"/>
                  <a:pt x="3943230" y="4416086"/>
                </a:cubicBezTo>
                <a:cubicBezTo>
                  <a:pt x="3948665" y="4405215"/>
                  <a:pt x="3951382" y="4388910"/>
                  <a:pt x="3951382" y="4369886"/>
                </a:cubicBezTo>
                <a:cubicBezTo>
                  <a:pt x="3935077" y="4380757"/>
                  <a:pt x="3921489" y="4397062"/>
                  <a:pt x="3916054" y="4416086"/>
                </a:cubicBezTo>
                <a:cubicBezTo>
                  <a:pt x="3905183" y="4407933"/>
                  <a:pt x="3899748" y="4394345"/>
                  <a:pt x="3886160" y="4391627"/>
                </a:cubicBezTo>
                <a:cubicBezTo>
                  <a:pt x="3875290" y="4399780"/>
                  <a:pt x="3902466" y="4407933"/>
                  <a:pt x="3894313" y="4416086"/>
                </a:cubicBezTo>
                <a:cubicBezTo>
                  <a:pt x="3883442" y="4410650"/>
                  <a:pt x="3872572" y="4405215"/>
                  <a:pt x="3861702" y="4402498"/>
                </a:cubicBezTo>
                <a:cubicBezTo>
                  <a:pt x="3861702" y="4388910"/>
                  <a:pt x="3856266" y="4380757"/>
                  <a:pt x="3853549" y="4369886"/>
                </a:cubicBezTo>
                <a:cubicBezTo>
                  <a:pt x="3856266" y="4359016"/>
                  <a:pt x="3869854" y="4359016"/>
                  <a:pt x="3872572" y="4345428"/>
                </a:cubicBezTo>
                <a:cubicBezTo>
                  <a:pt x="3867137" y="4348146"/>
                  <a:pt x="3864419" y="4353581"/>
                  <a:pt x="3858984" y="4359016"/>
                </a:cubicBezTo>
                <a:cubicBezTo>
                  <a:pt x="3826373" y="4345428"/>
                  <a:pt x="3810067" y="4274771"/>
                  <a:pt x="3829090" y="4244877"/>
                </a:cubicBezTo>
                <a:cubicBezTo>
                  <a:pt x="3826373" y="4236724"/>
                  <a:pt x="3823655" y="4258465"/>
                  <a:pt x="3812785" y="4253030"/>
                </a:cubicBezTo>
                <a:cubicBezTo>
                  <a:pt x="3810067" y="4239442"/>
                  <a:pt x="3804632" y="4225854"/>
                  <a:pt x="3801914" y="4209549"/>
                </a:cubicBezTo>
                <a:cubicBezTo>
                  <a:pt x="3815502" y="4193243"/>
                  <a:pt x="3842678" y="4193243"/>
                  <a:pt x="3850831" y="4171502"/>
                </a:cubicBezTo>
                <a:cubicBezTo>
                  <a:pt x="3831808" y="4179655"/>
                  <a:pt x="3815502" y="4190525"/>
                  <a:pt x="3801914" y="4204113"/>
                </a:cubicBezTo>
                <a:cubicBezTo>
                  <a:pt x="3788326" y="4185090"/>
                  <a:pt x="3796479" y="4133456"/>
                  <a:pt x="3793762" y="4119868"/>
                </a:cubicBezTo>
                <a:cubicBezTo>
                  <a:pt x="3815502" y="4125303"/>
                  <a:pt x="3820938" y="4100845"/>
                  <a:pt x="3831808" y="4106280"/>
                </a:cubicBezTo>
                <a:cubicBezTo>
                  <a:pt x="3831808" y="4149762"/>
                  <a:pt x="3853549" y="4166067"/>
                  <a:pt x="3867137" y="4193243"/>
                </a:cubicBezTo>
                <a:cubicBezTo>
                  <a:pt x="3897030" y="4168785"/>
                  <a:pt x="3875290" y="4103563"/>
                  <a:pt x="3861702" y="4079104"/>
                </a:cubicBezTo>
                <a:cubicBezTo>
                  <a:pt x="3869854" y="4065516"/>
                  <a:pt x="3872572" y="4049211"/>
                  <a:pt x="3864419" y="4032905"/>
                </a:cubicBezTo>
                <a:cubicBezTo>
                  <a:pt x="3867137" y="4027470"/>
                  <a:pt x="3875290" y="4024752"/>
                  <a:pt x="3875290" y="4016599"/>
                </a:cubicBezTo>
                <a:cubicBezTo>
                  <a:pt x="3886160" y="4013882"/>
                  <a:pt x="3880725" y="4027470"/>
                  <a:pt x="3888878" y="4027470"/>
                </a:cubicBezTo>
                <a:cubicBezTo>
                  <a:pt x="3899748" y="4027470"/>
                  <a:pt x="3891595" y="4008447"/>
                  <a:pt x="3902466" y="4008447"/>
                </a:cubicBezTo>
                <a:cubicBezTo>
                  <a:pt x="3905183" y="4011164"/>
                  <a:pt x="3905183" y="4019317"/>
                  <a:pt x="3905183" y="4027470"/>
                </a:cubicBezTo>
                <a:cubicBezTo>
                  <a:pt x="3910618" y="4035623"/>
                  <a:pt x="3910618" y="4022035"/>
                  <a:pt x="3918771" y="4024752"/>
                </a:cubicBezTo>
                <a:cubicBezTo>
                  <a:pt x="3913336" y="4046493"/>
                  <a:pt x="3894313" y="4070951"/>
                  <a:pt x="3902466" y="4098127"/>
                </a:cubicBezTo>
                <a:cubicBezTo>
                  <a:pt x="3913336" y="4098127"/>
                  <a:pt x="3926924" y="4087257"/>
                  <a:pt x="3932359" y="4073669"/>
                </a:cubicBezTo>
                <a:cubicBezTo>
                  <a:pt x="3951382" y="4111715"/>
                  <a:pt x="3964970" y="4160632"/>
                  <a:pt x="4005735" y="4176938"/>
                </a:cubicBezTo>
                <a:cubicBezTo>
                  <a:pt x="4016606" y="4133456"/>
                  <a:pt x="3978558" y="4092692"/>
                  <a:pt x="3962253" y="4060081"/>
                </a:cubicBezTo>
                <a:cubicBezTo>
                  <a:pt x="3948665" y="4051928"/>
                  <a:pt x="3932359" y="4046493"/>
                  <a:pt x="3929642" y="4027470"/>
                </a:cubicBezTo>
                <a:cubicBezTo>
                  <a:pt x="3937794" y="4035623"/>
                  <a:pt x="3940512" y="4032905"/>
                  <a:pt x="3951382" y="4027470"/>
                </a:cubicBezTo>
                <a:cubicBezTo>
                  <a:pt x="3964970" y="4049211"/>
                  <a:pt x="3981276" y="4070951"/>
                  <a:pt x="4008453" y="4081822"/>
                </a:cubicBezTo>
                <a:cubicBezTo>
                  <a:pt x="4011171" y="4060081"/>
                  <a:pt x="3989429" y="4043775"/>
                  <a:pt x="3975841" y="4032905"/>
                </a:cubicBezTo>
                <a:cubicBezTo>
                  <a:pt x="3992147" y="4046493"/>
                  <a:pt x="4100851" y="4035623"/>
                  <a:pt x="4103569" y="4013882"/>
                </a:cubicBezTo>
                <a:cubicBezTo>
                  <a:pt x="4103569" y="4000294"/>
                  <a:pt x="4070958" y="3994859"/>
                  <a:pt x="4057370" y="3989423"/>
                </a:cubicBezTo>
                <a:cubicBezTo>
                  <a:pt x="4054652" y="3981271"/>
                  <a:pt x="4065522" y="3981271"/>
                  <a:pt x="4065522" y="3975835"/>
                </a:cubicBezTo>
                <a:cubicBezTo>
                  <a:pt x="4035629" y="3954095"/>
                  <a:pt x="3986711" y="3981271"/>
                  <a:pt x="3959535" y="3989423"/>
                </a:cubicBezTo>
                <a:cubicBezTo>
                  <a:pt x="3967688" y="3937789"/>
                  <a:pt x="4005735" y="3902460"/>
                  <a:pt x="3997583" y="3848109"/>
                </a:cubicBezTo>
                <a:cubicBezTo>
                  <a:pt x="3959535" y="3858979"/>
                  <a:pt x="3943230" y="3894308"/>
                  <a:pt x="3921489" y="3924201"/>
                </a:cubicBezTo>
                <a:cubicBezTo>
                  <a:pt x="3924206" y="3945942"/>
                  <a:pt x="3921489" y="3964965"/>
                  <a:pt x="3910618" y="3973118"/>
                </a:cubicBezTo>
                <a:cubicBezTo>
                  <a:pt x="3902466" y="3948659"/>
                  <a:pt x="3880725" y="3937789"/>
                  <a:pt x="3853549" y="3932354"/>
                </a:cubicBezTo>
                <a:cubicBezTo>
                  <a:pt x="3839961" y="3932354"/>
                  <a:pt x="3845396" y="3954095"/>
                  <a:pt x="3834526" y="3956812"/>
                </a:cubicBezTo>
                <a:cubicBezTo>
                  <a:pt x="3777456" y="3943224"/>
                  <a:pt x="3820938" y="3880720"/>
                  <a:pt x="3826373" y="3829086"/>
                </a:cubicBezTo>
                <a:cubicBezTo>
                  <a:pt x="3834526" y="3820933"/>
                  <a:pt x="3831808" y="3837238"/>
                  <a:pt x="3842678" y="3834521"/>
                </a:cubicBezTo>
                <a:cubicBezTo>
                  <a:pt x="3845396" y="3796474"/>
                  <a:pt x="3837243" y="3763863"/>
                  <a:pt x="3848114" y="3723100"/>
                </a:cubicBezTo>
                <a:cubicBezTo>
                  <a:pt x="3861702" y="3747558"/>
                  <a:pt x="3888878" y="3774734"/>
                  <a:pt x="3926924" y="3769299"/>
                </a:cubicBezTo>
                <a:cubicBezTo>
                  <a:pt x="3918771" y="3725817"/>
                  <a:pt x="3880725" y="3712229"/>
                  <a:pt x="3858984" y="3682336"/>
                </a:cubicBezTo>
                <a:cubicBezTo>
                  <a:pt x="3861702" y="3630701"/>
                  <a:pt x="3888878" y="3606243"/>
                  <a:pt x="3905183" y="3568196"/>
                </a:cubicBezTo>
                <a:cubicBezTo>
                  <a:pt x="3905183" y="3560044"/>
                  <a:pt x="3894313" y="3562761"/>
                  <a:pt x="3888878" y="3557326"/>
                </a:cubicBezTo>
                <a:cubicBezTo>
                  <a:pt x="3899748" y="3521997"/>
                  <a:pt x="3894313" y="3470363"/>
                  <a:pt x="3926924" y="3456775"/>
                </a:cubicBezTo>
                <a:cubicBezTo>
                  <a:pt x="3945947" y="3448622"/>
                  <a:pt x="3964970" y="3462210"/>
                  <a:pt x="3978558" y="3451340"/>
                </a:cubicBezTo>
                <a:cubicBezTo>
                  <a:pt x="4011171" y="3462210"/>
                  <a:pt x="4051934" y="3511127"/>
                  <a:pt x="4095416" y="3483951"/>
                </a:cubicBezTo>
                <a:cubicBezTo>
                  <a:pt x="4084546" y="3454058"/>
                  <a:pt x="4057370" y="3443187"/>
                  <a:pt x="4038346" y="3421447"/>
                </a:cubicBezTo>
                <a:cubicBezTo>
                  <a:pt x="4053293" y="3425523"/>
                  <a:pt x="4067561" y="3426882"/>
                  <a:pt x="4082847" y="3427222"/>
                </a:cubicBezTo>
                <a:lnTo>
                  <a:pt x="4087296" y="3427192"/>
                </a:lnTo>
                <a:lnTo>
                  <a:pt x="4081827" y="3402423"/>
                </a:lnTo>
                <a:cubicBezTo>
                  <a:pt x="4079110" y="3394270"/>
                  <a:pt x="4087263" y="3396988"/>
                  <a:pt x="4087263" y="3391553"/>
                </a:cubicBezTo>
                <a:cubicBezTo>
                  <a:pt x="4073675" y="3369812"/>
                  <a:pt x="4057369" y="3329048"/>
                  <a:pt x="4073675" y="3304590"/>
                </a:cubicBezTo>
                <a:cubicBezTo>
                  <a:pt x="4070957" y="3299155"/>
                  <a:pt x="4062804" y="3301872"/>
                  <a:pt x="4062804" y="3310025"/>
                </a:cubicBezTo>
                <a:cubicBezTo>
                  <a:pt x="4032911" y="3277414"/>
                  <a:pt x="4065522" y="3233932"/>
                  <a:pt x="4073675" y="3214909"/>
                </a:cubicBezTo>
                <a:cubicBezTo>
                  <a:pt x="4068239" y="3214909"/>
                  <a:pt x="4057369" y="3198604"/>
                  <a:pt x="4051934" y="3209474"/>
                </a:cubicBezTo>
                <a:cubicBezTo>
                  <a:pt x="4046499" y="3163275"/>
                  <a:pt x="4027476" y="3098053"/>
                  <a:pt x="4041064" y="3060006"/>
                </a:cubicBezTo>
                <a:cubicBezTo>
                  <a:pt x="4038346" y="3054571"/>
                  <a:pt x="4024758" y="3062724"/>
                  <a:pt x="4016605" y="3062724"/>
                </a:cubicBezTo>
                <a:cubicBezTo>
                  <a:pt x="4019323" y="3068159"/>
                  <a:pt x="4022040" y="3070877"/>
                  <a:pt x="4027476" y="3073594"/>
                </a:cubicBezTo>
                <a:cubicBezTo>
                  <a:pt x="4030193" y="3127946"/>
                  <a:pt x="4060087" y="3231215"/>
                  <a:pt x="4038346" y="3282849"/>
                </a:cubicBezTo>
                <a:cubicBezTo>
                  <a:pt x="4060087" y="3304590"/>
                  <a:pt x="4062804" y="3337201"/>
                  <a:pt x="4070957" y="3369812"/>
                </a:cubicBezTo>
                <a:cubicBezTo>
                  <a:pt x="4054652" y="3372530"/>
                  <a:pt x="4049216" y="3364377"/>
                  <a:pt x="4038346" y="3369812"/>
                </a:cubicBezTo>
                <a:cubicBezTo>
                  <a:pt x="4032911" y="3364377"/>
                  <a:pt x="4038346" y="3364377"/>
                  <a:pt x="4041064" y="3358942"/>
                </a:cubicBezTo>
                <a:cubicBezTo>
                  <a:pt x="4024758" y="3342636"/>
                  <a:pt x="3992147" y="3361659"/>
                  <a:pt x="3986712" y="3377965"/>
                </a:cubicBezTo>
                <a:cubicBezTo>
                  <a:pt x="3978559" y="3361659"/>
                  <a:pt x="4022040" y="3334484"/>
                  <a:pt x="4005735" y="3301872"/>
                </a:cubicBezTo>
                <a:cubicBezTo>
                  <a:pt x="3973124" y="3310025"/>
                  <a:pt x="3973124" y="3348071"/>
                  <a:pt x="3962253" y="3377965"/>
                </a:cubicBezTo>
                <a:cubicBezTo>
                  <a:pt x="3952741" y="3375248"/>
                  <a:pt x="3942551" y="3373889"/>
                  <a:pt x="3934738" y="3375927"/>
                </a:cubicBezTo>
                <a:lnTo>
                  <a:pt x="3931320" y="3378023"/>
                </a:lnTo>
                <a:lnTo>
                  <a:pt x="3935417" y="3384845"/>
                </a:lnTo>
                <a:cubicBezTo>
                  <a:pt x="3947646" y="3413124"/>
                  <a:pt x="3950703" y="3451341"/>
                  <a:pt x="3907901" y="3451341"/>
                </a:cubicBezTo>
                <a:cubicBezTo>
                  <a:pt x="3906542" y="3437753"/>
                  <a:pt x="3908580" y="3422127"/>
                  <a:pt x="3911638" y="3406501"/>
                </a:cubicBezTo>
                <a:lnTo>
                  <a:pt x="3914814" y="3392045"/>
                </a:lnTo>
                <a:lnTo>
                  <a:pt x="3913337" y="3391553"/>
                </a:lnTo>
                <a:cubicBezTo>
                  <a:pt x="3910619" y="3405141"/>
                  <a:pt x="3907902" y="3416011"/>
                  <a:pt x="3899749" y="3421446"/>
                </a:cubicBezTo>
                <a:cubicBezTo>
                  <a:pt x="3894313" y="3416011"/>
                  <a:pt x="3899749" y="3402423"/>
                  <a:pt x="3886161" y="3410576"/>
                </a:cubicBezTo>
                <a:cubicBezTo>
                  <a:pt x="3897031" y="3377965"/>
                  <a:pt x="3891595" y="3342636"/>
                  <a:pt x="3864419" y="3334484"/>
                </a:cubicBezTo>
                <a:cubicBezTo>
                  <a:pt x="3878007" y="3266544"/>
                  <a:pt x="3910619" y="3195886"/>
                  <a:pt x="3937795" y="3133382"/>
                </a:cubicBezTo>
                <a:cubicBezTo>
                  <a:pt x="3951383" y="3136099"/>
                  <a:pt x="3954101" y="3149687"/>
                  <a:pt x="3967689" y="3152405"/>
                </a:cubicBezTo>
                <a:cubicBezTo>
                  <a:pt x="3962253" y="3133382"/>
                  <a:pt x="3945948" y="3127946"/>
                  <a:pt x="3937795" y="3114358"/>
                </a:cubicBezTo>
                <a:cubicBezTo>
                  <a:pt x="3943230" y="3089900"/>
                  <a:pt x="3954101" y="3068159"/>
                  <a:pt x="3962253" y="3043701"/>
                </a:cubicBezTo>
                <a:cubicBezTo>
                  <a:pt x="3967689" y="3043701"/>
                  <a:pt x="3967689" y="3046418"/>
                  <a:pt x="3973124" y="3046418"/>
                </a:cubicBezTo>
                <a:cubicBezTo>
                  <a:pt x="3967689" y="3016525"/>
                  <a:pt x="3983994" y="3005655"/>
                  <a:pt x="3992147" y="2986632"/>
                </a:cubicBezTo>
                <a:cubicBezTo>
                  <a:pt x="3997582" y="2986632"/>
                  <a:pt x="3994865" y="2994784"/>
                  <a:pt x="4000300" y="2994784"/>
                </a:cubicBezTo>
                <a:cubicBezTo>
                  <a:pt x="4016605" y="2986632"/>
                  <a:pt x="4016605" y="2962173"/>
                  <a:pt x="4016605" y="2937715"/>
                </a:cubicBezTo>
                <a:cubicBezTo>
                  <a:pt x="4021361" y="2926844"/>
                  <a:pt x="4027475" y="2917163"/>
                  <a:pt x="4034227" y="2908033"/>
                </a:cubicBezTo>
                <a:lnTo>
                  <a:pt x="4047504" y="2891707"/>
                </a:lnTo>
                <a:lnTo>
                  <a:pt x="4040044" y="2892535"/>
                </a:lnTo>
                <a:cubicBezTo>
                  <a:pt x="4038345" y="2892875"/>
                  <a:pt x="4036986" y="2892875"/>
                  <a:pt x="4032910" y="2891516"/>
                </a:cubicBezTo>
                <a:cubicBezTo>
                  <a:pt x="4030193" y="2883364"/>
                  <a:pt x="4038346" y="2883364"/>
                  <a:pt x="4035628" y="2872495"/>
                </a:cubicBezTo>
                <a:cubicBezTo>
                  <a:pt x="4039705" y="2872495"/>
                  <a:pt x="4043101" y="2874533"/>
                  <a:pt x="4045479" y="2877930"/>
                </a:cubicBezTo>
                <a:lnTo>
                  <a:pt x="4048822" y="2890085"/>
                </a:lnTo>
                <a:lnTo>
                  <a:pt x="4055670" y="2881664"/>
                </a:lnTo>
                <a:cubicBezTo>
                  <a:pt x="4070278" y="2864340"/>
                  <a:pt x="4084545" y="2846676"/>
                  <a:pt x="4092698" y="2823576"/>
                </a:cubicBezTo>
                <a:cubicBezTo>
                  <a:pt x="4103568" y="2823576"/>
                  <a:pt x="4111721" y="2820858"/>
                  <a:pt x="4114438" y="2809988"/>
                </a:cubicBezTo>
                <a:cubicBezTo>
                  <a:pt x="4117156" y="2801835"/>
                  <a:pt x="4111721" y="2801835"/>
                  <a:pt x="4103568" y="2801835"/>
                </a:cubicBezTo>
                <a:cubicBezTo>
                  <a:pt x="4119874" y="2763789"/>
                  <a:pt x="4138897" y="2723026"/>
                  <a:pt x="4174225" y="2704002"/>
                </a:cubicBezTo>
                <a:cubicBezTo>
                  <a:pt x="4171507" y="2663238"/>
                  <a:pt x="4195965" y="2630627"/>
                  <a:pt x="4212271" y="2600734"/>
                </a:cubicBezTo>
                <a:cubicBezTo>
                  <a:pt x="4201401" y="2565405"/>
                  <a:pt x="4220425" y="2524641"/>
                  <a:pt x="4234013" y="2497465"/>
                </a:cubicBezTo>
                <a:cubicBezTo>
                  <a:pt x="4244883" y="2497465"/>
                  <a:pt x="4255753" y="2500182"/>
                  <a:pt x="4258471" y="2489312"/>
                </a:cubicBezTo>
                <a:cubicBezTo>
                  <a:pt x="4263905" y="2505618"/>
                  <a:pt x="4239447" y="2535511"/>
                  <a:pt x="4253035" y="2559970"/>
                </a:cubicBezTo>
                <a:cubicBezTo>
                  <a:pt x="4296517" y="2549099"/>
                  <a:pt x="4299235" y="2500182"/>
                  <a:pt x="4301953" y="2456701"/>
                </a:cubicBezTo>
                <a:cubicBezTo>
                  <a:pt x="4307387" y="2456701"/>
                  <a:pt x="4304669" y="2467571"/>
                  <a:pt x="4312823" y="2464854"/>
                </a:cubicBezTo>
                <a:cubicBezTo>
                  <a:pt x="4320975" y="2462136"/>
                  <a:pt x="4312823" y="2453983"/>
                  <a:pt x="4312823" y="2448549"/>
                </a:cubicBezTo>
                <a:cubicBezTo>
                  <a:pt x="4318257" y="2445830"/>
                  <a:pt x="4320975" y="2451266"/>
                  <a:pt x="4329129" y="2445830"/>
                </a:cubicBezTo>
                <a:cubicBezTo>
                  <a:pt x="4329129" y="2451266"/>
                  <a:pt x="4329129" y="2459418"/>
                  <a:pt x="4331845" y="2462136"/>
                </a:cubicBezTo>
                <a:cubicBezTo>
                  <a:pt x="4334563" y="2459418"/>
                  <a:pt x="4342717" y="2459418"/>
                  <a:pt x="4350869" y="2459418"/>
                </a:cubicBezTo>
                <a:lnTo>
                  <a:pt x="4353451" y="2466886"/>
                </a:lnTo>
                <a:lnTo>
                  <a:pt x="4364457" y="2467574"/>
                </a:lnTo>
                <a:cubicBezTo>
                  <a:pt x="4364457" y="2472329"/>
                  <a:pt x="4362249" y="2474878"/>
                  <a:pt x="4358767" y="2476151"/>
                </a:cubicBezTo>
                <a:lnTo>
                  <a:pt x="4356705" y="2476296"/>
                </a:lnTo>
                <a:lnTo>
                  <a:pt x="4357153" y="2477593"/>
                </a:lnTo>
                <a:cubicBezTo>
                  <a:pt x="4360720" y="2498485"/>
                  <a:pt x="4359701" y="2523961"/>
                  <a:pt x="4386197" y="2521923"/>
                </a:cubicBezTo>
                <a:cubicBezTo>
                  <a:pt x="4397069" y="2549099"/>
                  <a:pt x="4424245" y="2565405"/>
                  <a:pt x="4448703" y="2578993"/>
                </a:cubicBezTo>
                <a:cubicBezTo>
                  <a:pt x="4456855" y="2581710"/>
                  <a:pt x="4456855" y="2570840"/>
                  <a:pt x="4462291" y="2568122"/>
                </a:cubicBezTo>
                <a:cubicBezTo>
                  <a:pt x="4451421" y="2513770"/>
                  <a:pt x="4405221" y="2494747"/>
                  <a:pt x="4378045" y="2459418"/>
                </a:cubicBezTo>
                <a:cubicBezTo>
                  <a:pt x="4380763" y="2456701"/>
                  <a:pt x="4391633" y="2459418"/>
                  <a:pt x="4397069" y="2451266"/>
                </a:cubicBezTo>
                <a:cubicBezTo>
                  <a:pt x="4418809" y="2470290"/>
                  <a:pt x="4435115" y="2494747"/>
                  <a:pt x="4470443" y="2500182"/>
                </a:cubicBezTo>
                <a:cubicBezTo>
                  <a:pt x="4466367" y="2486594"/>
                  <a:pt x="4460253" y="2475724"/>
                  <a:pt x="4451420" y="2467572"/>
                </a:cubicBezTo>
                <a:lnTo>
                  <a:pt x="4445899" y="2465023"/>
                </a:lnTo>
                <a:lnTo>
                  <a:pt x="4441569" y="2473350"/>
                </a:lnTo>
                <a:cubicBezTo>
                  <a:pt x="4440550" y="2475727"/>
                  <a:pt x="4439191" y="2477086"/>
                  <a:pt x="4435114" y="2475727"/>
                </a:cubicBezTo>
                <a:cubicBezTo>
                  <a:pt x="4433756" y="2470291"/>
                  <a:pt x="4435115" y="2465536"/>
                  <a:pt x="4437493" y="2463158"/>
                </a:cubicBezTo>
                <a:lnTo>
                  <a:pt x="4445197" y="2464700"/>
                </a:lnTo>
                <a:lnTo>
                  <a:pt x="4416091" y="2451266"/>
                </a:lnTo>
                <a:cubicBezTo>
                  <a:pt x="4424245" y="2443113"/>
                  <a:pt x="4451421" y="2451266"/>
                  <a:pt x="4448703" y="2429526"/>
                </a:cubicBezTo>
                <a:cubicBezTo>
                  <a:pt x="4478597" y="2421372"/>
                  <a:pt x="4505771" y="2413220"/>
                  <a:pt x="4522077" y="2391479"/>
                </a:cubicBezTo>
                <a:cubicBezTo>
                  <a:pt x="4481313" y="2361585"/>
                  <a:pt x="4421527" y="2415937"/>
                  <a:pt x="4391633" y="2424090"/>
                </a:cubicBezTo>
                <a:cubicBezTo>
                  <a:pt x="4407939" y="2410502"/>
                  <a:pt x="4424245" y="2380608"/>
                  <a:pt x="4413373" y="2347997"/>
                </a:cubicBezTo>
                <a:cubicBezTo>
                  <a:pt x="4391633" y="2361585"/>
                  <a:pt x="4386197" y="2388762"/>
                  <a:pt x="4383481" y="2421372"/>
                </a:cubicBezTo>
                <a:cubicBezTo>
                  <a:pt x="4372609" y="2424090"/>
                  <a:pt x="4380763" y="2415937"/>
                  <a:pt x="4380763" y="2410502"/>
                </a:cubicBezTo>
                <a:cubicBezTo>
                  <a:pt x="4364457" y="2405067"/>
                  <a:pt x="4342717" y="2424090"/>
                  <a:pt x="4320975" y="2415937"/>
                </a:cubicBezTo>
                <a:cubicBezTo>
                  <a:pt x="4318257" y="2386044"/>
                  <a:pt x="4388915" y="2372456"/>
                  <a:pt x="4345433" y="2345280"/>
                </a:cubicBezTo>
                <a:cubicBezTo>
                  <a:pt x="4318257" y="2350715"/>
                  <a:pt x="4312823" y="2383327"/>
                  <a:pt x="4312823" y="2405067"/>
                </a:cubicBezTo>
                <a:cubicBezTo>
                  <a:pt x="4282929" y="2383327"/>
                  <a:pt x="4250317" y="2402349"/>
                  <a:pt x="4263905" y="2437679"/>
                </a:cubicBezTo>
                <a:cubicBezTo>
                  <a:pt x="4253035" y="2426807"/>
                  <a:pt x="4255753" y="2434961"/>
                  <a:pt x="4239447" y="2437679"/>
                </a:cubicBezTo>
                <a:cubicBezTo>
                  <a:pt x="4253035" y="2380608"/>
                  <a:pt x="4258471" y="2318105"/>
                  <a:pt x="4282929" y="2271904"/>
                </a:cubicBezTo>
                <a:cubicBezTo>
                  <a:pt x="4282929" y="2269187"/>
                  <a:pt x="4277493" y="2269187"/>
                  <a:pt x="4272059" y="2269187"/>
                </a:cubicBezTo>
                <a:cubicBezTo>
                  <a:pt x="4274777" y="2255600"/>
                  <a:pt x="4277493" y="2242012"/>
                  <a:pt x="4280211" y="2228423"/>
                </a:cubicBezTo>
                <a:cubicBezTo>
                  <a:pt x="4274777" y="2228423"/>
                  <a:pt x="4272059" y="2225705"/>
                  <a:pt x="4266623" y="2225705"/>
                </a:cubicBezTo>
                <a:cubicBezTo>
                  <a:pt x="4261189" y="2228423"/>
                  <a:pt x="4258471" y="2228423"/>
                  <a:pt x="4255753" y="2228423"/>
                </a:cubicBezTo>
                <a:cubicBezTo>
                  <a:pt x="4266623" y="2277341"/>
                  <a:pt x="4244883" y="2328975"/>
                  <a:pt x="4239447" y="2375173"/>
                </a:cubicBezTo>
                <a:cubicBezTo>
                  <a:pt x="4234013" y="2375173"/>
                  <a:pt x="4228577" y="2375173"/>
                  <a:pt x="4225859" y="2377891"/>
                </a:cubicBezTo>
                <a:cubicBezTo>
                  <a:pt x="4231295" y="2421372"/>
                  <a:pt x="4225859" y="2486594"/>
                  <a:pt x="4187813" y="2502900"/>
                </a:cubicBezTo>
                <a:cubicBezTo>
                  <a:pt x="4185095" y="2492030"/>
                  <a:pt x="4182377" y="2494747"/>
                  <a:pt x="4168791" y="2492030"/>
                </a:cubicBezTo>
                <a:cubicBezTo>
                  <a:pt x="4172187" y="2488633"/>
                  <a:pt x="4177113" y="2485236"/>
                  <a:pt x="4182293" y="2481627"/>
                </a:cubicBezTo>
                <a:lnTo>
                  <a:pt x="4189041" y="2476385"/>
                </a:lnTo>
                <a:lnTo>
                  <a:pt x="4187814" y="2473009"/>
                </a:lnTo>
                <a:lnTo>
                  <a:pt x="4191040" y="2474832"/>
                </a:lnTo>
                <a:lnTo>
                  <a:pt x="4197325" y="2469950"/>
                </a:lnTo>
                <a:cubicBezTo>
                  <a:pt x="4206157" y="2461457"/>
                  <a:pt x="4210913" y="2451266"/>
                  <a:pt x="4201401" y="2437679"/>
                </a:cubicBezTo>
                <a:cubicBezTo>
                  <a:pt x="4190531" y="2434961"/>
                  <a:pt x="4185095" y="2440395"/>
                  <a:pt x="4176943" y="2443113"/>
                </a:cubicBezTo>
                <a:cubicBezTo>
                  <a:pt x="4195965" y="2410502"/>
                  <a:pt x="4185095" y="2361585"/>
                  <a:pt x="4171507" y="2328975"/>
                </a:cubicBezTo>
                <a:cubicBezTo>
                  <a:pt x="4122591" y="2361585"/>
                  <a:pt x="4149767" y="2437679"/>
                  <a:pt x="4155203" y="2483877"/>
                </a:cubicBezTo>
                <a:cubicBezTo>
                  <a:pt x="4149767" y="2478443"/>
                  <a:pt x="4149767" y="2464854"/>
                  <a:pt x="4136179" y="2473007"/>
                </a:cubicBezTo>
                <a:cubicBezTo>
                  <a:pt x="4138897" y="2443113"/>
                  <a:pt x="4128026" y="2421372"/>
                  <a:pt x="4119874" y="2402349"/>
                </a:cubicBezTo>
                <a:cubicBezTo>
                  <a:pt x="4100851" y="2402349"/>
                  <a:pt x="4103568" y="2443113"/>
                  <a:pt x="4111721" y="2453983"/>
                </a:cubicBezTo>
                <a:cubicBezTo>
                  <a:pt x="4092698" y="2448549"/>
                  <a:pt x="4043781" y="2405067"/>
                  <a:pt x="4011170" y="2432244"/>
                </a:cubicBezTo>
                <a:cubicBezTo>
                  <a:pt x="4022040" y="2462136"/>
                  <a:pt x="4046499" y="2483877"/>
                  <a:pt x="4081827" y="2489312"/>
                </a:cubicBezTo>
                <a:cubicBezTo>
                  <a:pt x="4076392" y="2492030"/>
                  <a:pt x="4079110" y="2500182"/>
                  <a:pt x="4087263" y="2500182"/>
                </a:cubicBezTo>
                <a:cubicBezTo>
                  <a:pt x="4070957" y="2511053"/>
                  <a:pt x="4057369" y="2524641"/>
                  <a:pt x="4046499" y="2540946"/>
                </a:cubicBezTo>
                <a:cubicBezTo>
                  <a:pt x="4076392" y="2557252"/>
                  <a:pt x="4100851" y="2519206"/>
                  <a:pt x="4125309" y="2508335"/>
                </a:cubicBezTo>
                <a:cubicBezTo>
                  <a:pt x="4133462" y="2511053"/>
                  <a:pt x="4136179" y="2519206"/>
                  <a:pt x="4141615" y="2527358"/>
                </a:cubicBezTo>
                <a:cubicBezTo>
                  <a:pt x="4109003" y="2543664"/>
                  <a:pt x="4068239" y="2584429"/>
                  <a:pt x="4092698" y="2627910"/>
                </a:cubicBezTo>
                <a:cubicBezTo>
                  <a:pt x="4117156" y="2606170"/>
                  <a:pt x="4117156" y="2557252"/>
                  <a:pt x="4138897" y="2532794"/>
                </a:cubicBezTo>
                <a:cubicBezTo>
                  <a:pt x="4130744" y="2546382"/>
                  <a:pt x="4122591" y="2589863"/>
                  <a:pt x="4147049" y="2592581"/>
                </a:cubicBezTo>
                <a:cubicBezTo>
                  <a:pt x="4171507" y="2595299"/>
                  <a:pt x="4179661" y="2559970"/>
                  <a:pt x="4185095" y="2535511"/>
                </a:cubicBezTo>
                <a:cubicBezTo>
                  <a:pt x="4193249" y="2608887"/>
                  <a:pt x="4155203" y="2682262"/>
                  <a:pt x="4119874" y="2731179"/>
                </a:cubicBezTo>
                <a:cubicBezTo>
                  <a:pt x="4111721" y="2733896"/>
                  <a:pt x="4117156" y="2723026"/>
                  <a:pt x="4109003" y="2723026"/>
                </a:cubicBezTo>
                <a:cubicBezTo>
                  <a:pt x="4106286" y="2723026"/>
                  <a:pt x="4106286" y="2728461"/>
                  <a:pt x="4100851" y="2728461"/>
                </a:cubicBezTo>
                <a:cubicBezTo>
                  <a:pt x="4100851" y="2804554"/>
                  <a:pt x="4046499" y="2848035"/>
                  <a:pt x="4008452" y="2896951"/>
                </a:cubicBezTo>
                <a:cubicBezTo>
                  <a:pt x="4003017" y="2883363"/>
                  <a:pt x="4019323" y="2869775"/>
                  <a:pt x="4019323" y="2853469"/>
                </a:cubicBezTo>
                <a:cubicBezTo>
                  <a:pt x="4019323" y="2850752"/>
                  <a:pt x="4013888" y="2850752"/>
                  <a:pt x="4013888" y="2845317"/>
                </a:cubicBezTo>
                <a:cubicBezTo>
                  <a:pt x="3994865" y="2845317"/>
                  <a:pt x="3983994" y="2850752"/>
                  <a:pt x="3978559" y="2864340"/>
                </a:cubicBezTo>
                <a:cubicBezTo>
                  <a:pt x="3975841" y="2834447"/>
                  <a:pt x="3981277" y="2774659"/>
                  <a:pt x="3945948" y="2763789"/>
                </a:cubicBezTo>
                <a:cubicBezTo>
                  <a:pt x="3918772" y="2771942"/>
                  <a:pt x="3916054" y="2850752"/>
                  <a:pt x="3935078" y="2869775"/>
                </a:cubicBezTo>
                <a:cubicBezTo>
                  <a:pt x="3902466" y="2877929"/>
                  <a:pt x="3858985" y="2831729"/>
                  <a:pt x="3823655" y="2861623"/>
                </a:cubicBezTo>
                <a:cubicBezTo>
                  <a:pt x="3831809" y="2905104"/>
                  <a:pt x="3888877" y="2915974"/>
                  <a:pt x="3937795" y="2902386"/>
                </a:cubicBezTo>
                <a:cubicBezTo>
                  <a:pt x="3937795" y="2907821"/>
                  <a:pt x="3937795" y="2913257"/>
                  <a:pt x="3943230" y="2913257"/>
                </a:cubicBezTo>
                <a:cubicBezTo>
                  <a:pt x="3916054" y="2918692"/>
                  <a:pt x="3891595" y="2929562"/>
                  <a:pt x="3888877" y="2956738"/>
                </a:cubicBezTo>
                <a:cubicBezTo>
                  <a:pt x="3913337" y="2967608"/>
                  <a:pt x="3951383" y="2948585"/>
                  <a:pt x="3951383" y="2915974"/>
                </a:cubicBezTo>
                <a:cubicBezTo>
                  <a:pt x="3962253" y="2913257"/>
                  <a:pt x="3954101" y="2929562"/>
                  <a:pt x="3962253" y="2926845"/>
                </a:cubicBezTo>
                <a:cubicBezTo>
                  <a:pt x="3948665" y="2954020"/>
                  <a:pt x="3924207" y="2989349"/>
                  <a:pt x="3937795" y="3024678"/>
                </a:cubicBezTo>
                <a:cubicBezTo>
                  <a:pt x="3899749" y="3100770"/>
                  <a:pt x="3880725" y="3198604"/>
                  <a:pt x="3842679" y="3271979"/>
                </a:cubicBezTo>
                <a:cubicBezTo>
                  <a:pt x="3834527" y="3269261"/>
                  <a:pt x="3826373" y="3269261"/>
                  <a:pt x="3818221" y="3266544"/>
                </a:cubicBezTo>
                <a:lnTo>
                  <a:pt x="3819597" y="3261384"/>
                </a:lnTo>
                <a:lnTo>
                  <a:pt x="3818221" y="3261108"/>
                </a:lnTo>
                <a:lnTo>
                  <a:pt x="3820197" y="3259132"/>
                </a:lnTo>
                <a:lnTo>
                  <a:pt x="3823656" y="3246161"/>
                </a:lnTo>
                <a:cubicBezTo>
                  <a:pt x="3826374" y="3240047"/>
                  <a:pt x="3829091" y="3233932"/>
                  <a:pt x="3829091" y="3225780"/>
                </a:cubicBezTo>
                <a:cubicBezTo>
                  <a:pt x="3815503" y="3225780"/>
                  <a:pt x="3815503" y="3242085"/>
                  <a:pt x="3807351" y="3250238"/>
                </a:cubicBezTo>
                <a:cubicBezTo>
                  <a:pt x="3791045" y="3247520"/>
                  <a:pt x="3788327" y="3228497"/>
                  <a:pt x="3769303" y="3228497"/>
                </a:cubicBezTo>
                <a:cubicBezTo>
                  <a:pt x="3772021" y="3185016"/>
                  <a:pt x="3777457" y="3127946"/>
                  <a:pt x="3739411" y="3108923"/>
                </a:cubicBezTo>
                <a:cubicBezTo>
                  <a:pt x="3704081" y="3138817"/>
                  <a:pt x="3755715" y="3212192"/>
                  <a:pt x="3714951" y="3239368"/>
                </a:cubicBezTo>
                <a:cubicBezTo>
                  <a:pt x="3714951" y="3233932"/>
                  <a:pt x="3695929" y="3209474"/>
                  <a:pt x="3712235" y="3195886"/>
                </a:cubicBezTo>
                <a:cubicBezTo>
                  <a:pt x="3695929" y="3182298"/>
                  <a:pt x="3709517" y="3136099"/>
                  <a:pt x="3687775" y="3125229"/>
                </a:cubicBezTo>
                <a:cubicBezTo>
                  <a:pt x="3663317" y="3149687"/>
                  <a:pt x="3671471" y="3204039"/>
                  <a:pt x="3695929" y="3220344"/>
                </a:cubicBezTo>
                <a:cubicBezTo>
                  <a:pt x="3663317" y="3204039"/>
                  <a:pt x="3614401" y="3155122"/>
                  <a:pt x="3568201" y="3187733"/>
                </a:cubicBezTo>
                <a:cubicBezTo>
                  <a:pt x="3584507" y="3231215"/>
                  <a:pt x="3641577" y="3239368"/>
                  <a:pt x="3690493" y="3252956"/>
                </a:cubicBezTo>
                <a:cubicBezTo>
                  <a:pt x="3685059" y="3263826"/>
                  <a:pt x="3679623" y="3252956"/>
                  <a:pt x="3674187" y="3252956"/>
                </a:cubicBezTo>
                <a:cubicBezTo>
                  <a:pt x="3638859" y="3250238"/>
                  <a:pt x="3606247" y="3269261"/>
                  <a:pt x="3589943" y="3288284"/>
                </a:cubicBezTo>
                <a:cubicBezTo>
                  <a:pt x="3611683" y="3312743"/>
                  <a:pt x="3668753" y="3296437"/>
                  <a:pt x="3682341" y="3271979"/>
                </a:cubicBezTo>
                <a:cubicBezTo>
                  <a:pt x="3687775" y="3280132"/>
                  <a:pt x="3682341" y="3299155"/>
                  <a:pt x="3690493" y="3304590"/>
                </a:cubicBezTo>
                <a:cubicBezTo>
                  <a:pt x="3704081" y="3299155"/>
                  <a:pt x="3709517" y="3282849"/>
                  <a:pt x="3712235" y="3266544"/>
                </a:cubicBezTo>
                <a:cubicBezTo>
                  <a:pt x="3723105" y="3269261"/>
                  <a:pt x="3728539" y="3263826"/>
                  <a:pt x="3736693" y="3261108"/>
                </a:cubicBezTo>
                <a:cubicBezTo>
                  <a:pt x="3739411" y="3269261"/>
                  <a:pt x="3731257" y="3271979"/>
                  <a:pt x="3728539" y="3277414"/>
                </a:cubicBezTo>
                <a:cubicBezTo>
                  <a:pt x="3725823" y="3285567"/>
                  <a:pt x="3739411" y="3280132"/>
                  <a:pt x="3739411" y="3285567"/>
                </a:cubicBezTo>
                <a:cubicBezTo>
                  <a:pt x="3717669" y="3315460"/>
                  <a:pt x="3668753" y="3334484"/>
                  <a:pt x="3685059" y="3391553"/>
                </a:cubicBezTo>
                <a:cubicBezTo>
                  <a:pt x="3704081" y="3380683"/>
                  <a:pt x="3717669" y="3364377"/>
                  <a:pt x="3725823" y="3345354"/>
                </a:cubicBezTo>
                <a:cubicBezTo>
                  <a:pt x="3733975" y="3350789"/>
                  <a:pt x="3736693" y="3361659"/>
                  <a:pt x="3750281" y="3364377"/>
                </a:cubicBezTo>
                <a:cubicBezTo>
                  <a:pt x="3763869" y="3348071"/>
                  <a:pt x="3755715" y="3315460"/>
                  <a:pt x="3755715" y="3291002"/>
                </a:cubicBezTo>
                <a:cubicBezTo>
                  <a:pt x="3763869" y="3282849"/>
                  <a:pt x="3788327" y="3288284"/>
                  <a:pt x="3791045" y="3274696"/>
                </a:cubicBezTo>
                <a:cubicBezTo>
                  <a:pt x="3797839" y="3277414"/>
                  <a:pt x="3805312" y="3279452"/>
                  <a:pt x="3812106" y="3282170"/>
                </a:cubicBezTo>
                <a:lnTo>
                  <a:pt x="3828036" y="3293002"/>
                </a:lnTo>
                <a:lnTo>
                  <a:pt x="3831469" y="3285907"/>
                </a:lnTo>
                <a:cubicBezTo>
                  <a:pt x="3834527" y="3283529"/>
                  <a:pt x="3838603" y="3282849"/>
                  <a:pt x="3842679" y="3285567"/>
                </a:cubicBezTo>
                <a:cubicBezTo>
                  <a:pt x="3839961" y="3289643"/>
                  <a:pt x="3837244" y="3292361"/>
                  <a:pt x="3834526" y="3294059"/>
                </a:cubicBezTo>
                <a:lnTo>
                  <a:pt x="3828727" y="3295751"/>
                </a:lnTo>
                <a:lnTo>
                  <a:pt x="3804632" y="3430279"/>
                </a:lnTo>
                <a:cubicBezTo>
                  <a:pt x="3796480" y="3473760"/>
                  <a:pt x="3788327" y="3516562"/>
                  <a:pt x="3780175" y="3562761"/>
                </a:cubicBezTo>
                <a:cubicBezTo>
                  <a:pt x="3752999" y="3576349"/>
                  <a:pt x="3731257" y="3576349"/>
                  <a:pt x="3709517" y="3603525"/>
                </a:cubicBezTo>
                <a:cubicBezTo>
                  <a:pt x="3733975" y="3573632"/>
                  <a:pt x="3750281" y="3524715"/>
                  <a:pt x="3742127" y="3470363"/>
                </a:cubicBezTo>
                <a:cubicBezTo>
                  <a:pt x="3714951" y="3483951"/>
                  <a:pt x="3698647" y="3508409"/>
                  <a:pt x="3690493" y="3541020"/>
                </a:cubicBezTo>
                <a:cubicBezTo>
                  <a:pt x="3682341" y="3541020"/>
                  <a:pt x="3679623" y="3532868"/>
                  <a:pt x="3674187" y="3527432"/>
                </a:cubicBezTo>
                <a:cubicBezTo>
                  <a:pt x="3674187" y="3516562"/>
                  <a:pt x="3679623" y="3508409"/>
                  <a:pt x="3676905" y="3494821"/>
                </a:cubicBezTo>
                <a:cubicBezTo>
                  <a:pt x="3671471" y="3492104"/>
                  <a:pt x="3660599" y="3502974"/>
                  <a:pt x="3660599" y="3516562"/>
                </a:cubicBezTo>
                <a:cubicBezTo>
                  <a:pt x="3649729" y="3516562"/>
                  <a:pt x="3644295" y="3508409"/>
                  <a:pt x="3630707" y="3508409"/>
                </a:cubicBezTo>
                <a:cubicBezTo>
                  <a:pt x="3625271" y="3508409"/>
                  <a:pt x="3625271" y="3513844"/>
                  <a:pt x="3625271" y="3521997"/>
                </a:cubicBezTo>
                <a:cubicBezTo>
                  <a:pt x="3608965" y="3511127"/>
                  <a:pt x="3592659" y="3502974"/>
                  <a:pt x="3581789" y="3486669"/>
                </a:cubicBezTo>
                <a:cubicBezTo>
                  <a:pt x="3581789" y="3478516"/>
                  <a:pt x="3592659" y="3481233"/>
                  <a:pt x="3595377" y="3475798"/>
                </a:cubicBezTo>
                <a:cubicBezTo>
                  <a:pt x="3592659" y="3464928"/>
                  <a:pt x="3589943" y="3451340"/>
                  <a:pt x="3570919" y="3454057"/>
                </a:cubicBezTo>
                <a:cubicBezTo>
                  <a:pt x="3574995" y="3448622"/>
                  <a:pt x="3579072" y="3445905"/>
                  <a:pt x="3583828" y="3444886"/>
                </a:cubicBezTo>
                <a:lnTo>
                  <a:pt x="3594674" y="3445537"/>
                </a:lnTo>
                <a:lnTo>
                  <a:pt x="3596057" y="3446584"/>
                </a:lnTo>
                <a:cubicBezTo>
                  <a:pt x="3605568" y="3449302"/>
                  <a:pt x="3615759" y="3448622"/>
                  <a:pt x="3622553" y="3443187"/>
                </a:cubicBezTo>
                <a:cubicBezTo>
                  <a:pt x="3611683" y="3440470"/>
                  <a:pt x="3604889" y="3437752"/>
                  <a:pt x="3598095" y="3435374"/>
                </a:cubicBezTo>
                <a:lnTo>
                  <a:pt x="3591828" y="3433894"/>
                </a:lnTo>
                <a:lnTo>
                  <a:pt x="3592659" y="3432317"/>
                </a:lnTo>
                <a:lnTo>
                  <a:pt x="3589485" y="3433341"/>
                </a:lnTo>
                <a:lnTo>
                  <a:pt x="3580789" y="3431288"/>
                </a:lnTo>
                <a:lnTo>
                  <a:pt x="3595037" y="3423824"/>
                </a:lnTo>
                <a:cubicBezTo>
                  <a:pt x="3602850" y="3420767"/>
                  <a:pt x="3610324" y="3417370"/>
                  <a:pt x="3614401" y="3410576"/>
                </a:cubicBezTo>
                <a:cubicBezTo>
                  <a:pt x="3598095" y="3405141"/>
                  <a:pt x="3581789" y="3426882"/>
                  <a:pt x="3565485" y="3432317"/>
                </a:cubicBezTo>
                <a:cubicBezTo>
                  <a:pt x="3560049" y="3413294"/>
                  <a:pt x="3560049" y="3383400"/>
                  <a:pt x="3543743" y="3372530"/>
                </a:cubicBezTo>
                <a:cubicBezTo>
                  <a:pt x="3527437" y="3396988"/>
                  <a:pt x="3560049" y="3421446"/>
                  <a:pt x="3554613" y="3445905"/>
                </a:cubicBezTo>
                <a:cubicBezTo>
                  <a:pt x="3551897" y="3451340"/>
                  <a:pt x="3549179" y="3451340"/>
                  <a:pt x="3541025" y="3448622"/>
                </a:cubicBezTo>
                <a:cubicBezTo>
                  <a:pt x="3546461" y="3459493"/>
                  <a:pt x="3546461" y="3467645"/>
                  <a:pt x="3541025" y="3478516"/>
                </a:cubicBezTo>
                <a:cubicBezTo>
                  <a:pt x="3541025" y="3481233"/>
                  <a:pt x="3546461" y="3481233"/>
                  <a:pt x="3546461" y="3486669"/>
                </a:cubicBezTo>
                <a:cubicBezTo>
                  <a:pt x="3557331" y="3486669"/>
                  <a:pt x="3562767" y="3478516"/>
                  <a:pt x="3560049" y="3464928"/>
                </a:cubicBezTo>
                <a:cubicBezTo>
                  <a:pt x="3589943" y="3486669"/>
                  <a:pt x="3587225" y="3543738"/>
                  <a:pt x="3614401" y="3570914"/>
                </a:cubicBezTo>
                <a:cubicBezTo>
                  <a:pt x="3608965" y="3579067"/>
                  <a:pt x="3579071" y="3568196"/>
                  <a:pt x="3562767" y="3568196"/>
                </a:cubicBezTo>
                <a:cubicBezTo>
                  <a:pt x="3576355" y="3595372"/>
                  <a:pt x="3627989" y="3584502"/>
                  <a:pt x="3641577" y="3611678"/>
                </a:cubicBezTo>
                <a:cubicBezTo>
                  <a:pt x="3633423" y="3614396"/>
                  <a:pt x="3630707" y="3622548"/>
                  <a:pt x="3630707" y="3633419"/>
                </a:cubicBezTo>
                <a:cubicBezTo>
                  <a:pt x="3600813" y="3619831"/>
                  <a:pt x="3530155" y="3617113"/>
                  <a:pt x="3497545" y="3636136"/>
                </a:cubicBezTo>
                <a:cubicBezTo>
                  <a:pt x="3497545" y="3644289"/>
                  <a:pt x="3502979" y="3649724"/>
                  <a:pt x="3511133" y="3652442"/>
                </a:cubicBezTo>
                <a:cubicBezTo>
                  <a:pt x="3511133" y="3657877"/>
                  <a:pt x="3502979" y="3655160"/>
                  <a:pt x="3502979" y="3660595"/>
                </a:cubicBezTo>
                <a:cubicBezTo>
                  <a:pt x="3527437" y="3698641"/>
                  <a:pt x="3614401" y="3676900"/>
                  <a:pt x="3655165" y="3676900"/>
                </a:cubicBezTo>
                <a:cubicBezTo>
                  <a:pt x="3674187" y="3709511"/>
                  <a:pt x="3627989" y="3747558"/>
                  <a:pt x="3649729" y="3785604"/>
                </a:cubicBezTo>
                <a:cubicBezTo>
                  <a:pt x="3660599" y="3785604"/>
                  <a:pt x="3668753" y="3780169"/>
                  <a:pt x="3671471" y="3772016"/>
                </a:cubicBezTo>
                <a:cubicBezTo>
                  <a:pt x="3687775" y="3812780"/>
                  <a:pt x="3685059" y="3864414"/>
                  <a:pt x="3693211" y="3910613"/>
                </a:cubicBezTo>
                <a:cubicBezTo>
                  <a:pt x="3690493" y="3916048"/>
                  <a:pt x="3682341" y="3910613"/>
                  <a:pt x="3676905" y="3907895"/>
                </a:cubicBezTo>
                <a:cubicBezTo>
                  <a:pt x="3679623" y="3921483"/>
                  <a:pt x="3666035" y="3926919"/>
                  <a:pt x="3660599" y="3940507"/>
                </a:cubicBezTo>
                <a:cubicBezTo>
                  <a:pt x="3666035" y="3951377"/>
                  <a:pt x="3676905" y="3956812"/>
                  <a:pt x="3690493" y="3959530"/>
                </a:cubicBezTo>
                <a:cubicBezTo>
                  <a:pt x="3679623" y="3997576"/>
                  <a:pt x="3657883" y="4027470"/>
                  <a:pt x="3641577" y="4060081"/>
                </a:cubicBezTo>
                <a:cubicBezTo>
                  <a:pt x="3633423" y="4054646"/>
                  <a:pt x="3625271" y="4041058"/>
                  <a:pt x="3611683" y="4049211"/>
                </a:cubicBezTo>
                <a:cubicBezTo>
                  <a:pt x="3532873" y="3951377"/>
                  <a:pt x="3456781" y="3850826"/>
                  <a:pt x="3372535" y="3755710"/>
                </a:cubicBezTo>
                <a:cubicBezTo>
                  <a:pt x="3375253" y="3747558"/>
                  <a:pt x="3367099" y="3744840"/>
                  <a:pt x="3369817" y="3736687"/>
                </a:cubicBezTo>
                <a:cubicBezTo>
                  <a:pt x="3364383" y="3736687"/>
                  <a:pt x="3358947" y="3736687"/>
                  <a:pt x="3358947" y="3742122"/>
                </a:cubicBezTo>
                <a:cubicBezTo>
                  <a:pt x="3320901" y="3709511"/>
                  <a:pt x="3285571" y="3674183"/>
                  <a:pt x="3263831" y="3627984"/>
                </a:cubicBezTo>
                <a:cubicBezTo>
                  <a:pt x="3239373" y="3614396"/>
                  <a:pt x="3217633" y="3598090"/>
                  <a:pt x="3209479" y="3568196"/>
                </a:cubicBezTo>
                <a:cubicBezTo>
                  <a:pt x="3163281" y="3543738"/>
                  <a:pt x="3136105" y="3494821"/>
                  <a:pt x="3106211" y="3454057"/>
                </a:cubicBezTo>
                <a:cubicBezTo>
                  <a:pt x="3106211" y="3445905"/>
                  <a:pt x="3108929" y="3435034"/>
                  <a:pt x="3103493" y="3429599"/>
                </a:cubicBezTo>
                <a:cubicBezTo>
                  <a:pt x="3092623" y="3426882"/>
                  <a:pt x="3095341" y="3437752"/>
                  <a:pt x="3087187" y="3435034"/>
                </a:cubicBezTo>
                <a:cubicBezTo>
                  <a:pt x="3081753" y="3429599"/>
                  <a:pt x="3076317" y="3421446"/>
                  <a:pt x="3070881" y="3416011"/>
                </a:cubicBezTo>
                <a:cubicBezTo>
                  <a:pt x="3062729" y="3407858"/>
                  <a:pt x="3057293" y="3399706"/>
                  <a:pt x="3051859" y="3391553"/>
                </a:cubicBezTo>
                <a:cubicBezTo>
                  <a:pt x="3049141" y="3386118"/>
                  <a:pt x="3049141" y="3380683"/>
                  <a:pt x="3046423" y="3375247"/>
                </a:cubicBezTo>
                <a:lnTo>
                  <a:pt x="3038202" y="3377826"/>
                </a:lnTo>
                <a:lnTo>
                  <a:pt x="3038272" y="3377966"/>
                </a:lnTo>
                <a:cubicBezTo>
                  <a:pt x="3038272" y="3380683"/>
                  <a:pt x="3034196" y="3381363"/>
                  <a:pt x="3029780" y="3381023"/>
                </a:cubicBezTo>
                <a:lnTo>
                  <a:pt x="3028861" y="3380756"/>
                </a:lnTo>
                <a:lnTo>
                  <a:pt x="3028419" y="3380895"/>
                </a:lnTo>
                <a:lnTo>
                  <a:pt x="3025480" y="3379775"/>
                </a:lnTo>
                <a:lnTo>
                  <a:pt x="3019249" y="3377966"/>
                </a:lnTo>
                <a:lnTo>
                  <a:pt x="3019874" y="3377638"/>
                </a:lnTo>
                <a:lnTo>
                  <a:pt x="3014491" y="3375587"/>
                </a:lnTo>
                <a:cubicBezTo>
                  <a:pt x="3006339" y="3369133"/>
                  <a:pt x="3000224" y="3357583"/>
                  <a:pt x="2994789" y="3345354"/>
                </a:cubicBezTo>
                <a:cubicBezTo>
                  <a:pt x="2994789" y="3348071"/>
                  <a:pt x="2997507" y="3353507"/>
                  <a:pt x="2997507" y="3356224"/>
                </a:cubicBezTo>
                <a:cubicBezTo>
                  <a:pt x="2983919" y="3353507"/>
                  <a:pt x="2978483" y="3342636"/>
                  <a:pt x="2975767" y="3331766"/>
                </a:cubicBezTo>
                <a:cubicBezTo>
                  <a:pt x="2973049" y="3345354"/>
                  <a:pt x="2964895" y="3358942"/>
                  <a:pt x="2956743" y="3364377"/>
                </a:cubicBezTo>
                <a:cubicBezTo>
                  <a:pt x="2924131" y="3358942"/>
                  <a:pt x="2907827" y="3339919"/>
                  <a:pt x="2880651" y="3326331"/>
                </a:cubicBezTo>
                <a:cubicBezTo>
                  <a:pt x="2880651" y="3323613"/>
                  <a:pt x="2877933" y="3323613"/>
                  <a:pt x="2877933" y="3320896"/>
                </a:cubicBezTo>
                <a:cubicBezTo>
                  <a:pt x="2875215" y="3348071"/>
                  <a:pt x="2902391" y="3345354"/>
                  <a:pt x="2913261" y="3358942"/>
                </a:cubicBezTo>
                <a:cubicBezTo>
                  <a:pt x="2902391" y="3356224"/>
                  <a:pt x="2899673" y="3364377"/>
                  <a:pt x="2891521" y="3364377"/>
                </a:cubicBezTo>
                <a:cubicBezTo>
                  <a:pt x="2891521" y="3377965"/>
                  <a:pt x="2907827" y="3375247"/>
                  <a:pt x="2921415" y="3375247"/>
                </a:cubicBezTo>
                <a:cubicBezTo>
                  <a:pt x="2918697" y="3383400"/>
                  <a:pt x="2905109" y="3380683"/>
                  <a:pt x="2905109" y="3391553"/>
                </a:cubicBezTo>
                <a:cubicBezTo>
                  <a:pt x="2921415" y="3407858"/>
                  <a:pt x="2975767" y="3399706"/>
                  <a:pt x="2994789" y="3386118"/>
                </a:cubicBezTo>
                <a:cubicBezTo>
                  <a:pt x="3000225" y="3386118"/>
                  <a:pt x="2994789" y="3396988"/>
                  <a:pt x="3000225" y="3399706"/>
                </a:cubicBezTo>
                <a:cubicBezTo>
                  <a:pt x="3008377" y="3399706"/>
                  <a:pt x="3008377" y="3391553"/>
                  <a:pt x="3016531" y="3388835"/>
                </a:cubicBezTo>
                <a:cubicBezTo>
                  <a:pt x="3068165" y="3402423"/>
                  <a:pt x="3095341" y="3470363"/>
                  <a:pt x="3133387" y="3505692"/>
                </a:cubicBezTo>
                <a:cubicBezTo>
                  <a:pt x="3136105" y="3513844"/>
                  <a:pt x="3130669" y="3511127"/>
                  <a:pt x="3130669" y="3519280"/>
                </a:cubicBezTo>
                <a:cubicBezTo>
                  <a:pt x="3198609" y="3565479"/>
                  <a:pt x="3244809" y="3636136"/>
                  <a:pt x="3301877" y="3695923"/>
                </a:cubicBezTo>
                <a:cubicBezTo>
                  <a:pt x="3304595" y="3704076"/>
                  <a:pt x="3293725" y="3701359"/>
                  <a:pt x="3293725" y="3706794"/>
                </a:cubicBezTo>
                <a:cubicBezTo>
                  <a:pt x="3339923" y="3736687"/>
                  <a:pt x="3383405" y="3769298"/>
                  <a:pt x="3405147" y="3820932"/>
                </a:cubicBezTo>
                <a:cubicBezTo>
                  <a:pt x="3494827" y="3888872"/>
                  <a:pt x="3532873" y="4005729"/>
                  <a:pt x="3619835" y="4073669"/>
                </a:cubicBezTo>
                <a:cubicBezTo>
                  <a:pt x="3627989" y="4130738"/>
                  <a:pt x="3595377" y="4168785"/>
                  <a:pt x="3584507" y="4214984"/>
                </a:cubicBezTo>
                <a:cubicBezTo>
                  <a:pt x="3522003" y="4149762"/>
                  <a:pt x="3459499" y="4087257"/>
                  <a:pt x="3402429" y="4019317"/>
                </a:cubicBezTo>
                <a:cubicBezTo>
                  <a:pt x="3399711" y="4011164"/>
                  <a:pt x="3407863" y="4013882"/>
                  <a:pt x="3407863" y="4008447"/>
                </a:cubicBezTo>
                <a:cubicBezTo>
                  <a:pt x="3407863" y="4003011"/>
                  <a:pt x="3399711" y="4008447"/>
                  <a:pt x="3394275" y="4005729"/>
                </a:cubicBezTo>
                <a:cubicBezTo>
                  <a:pt x="3407863" y="3973118"/>
                  <a:pt x="3377971" y="3981271"/>
                  <a:pt x="3388841" y="3954095"/>
                </a:cubicBezTo>
                <a:cubicBezTo>
                  <a:pt x="3383405" y="3964965"/>
                  <a:pt x="3377971" y="3954095"/>
                  <a:pt x="3372535" y="3951377"/>
                </a:cubicBezTo>
                <a:cubicBezTo>
                  <a:pt x="3364383" y="3951377"/>
                  <a:pt x="3367099" y="3967683"/>
                  <a:pt x="3372535" y="3970400"/>
                </a:cubicBezTo>
                <a:cubicBezTo>
                  <a:pt x="3339923" y="3954095"/>
                  <a:pt x="3310031" y="3913331"/>
                  <a:pt x="3288289" y="3880719"/>
                </a:cubicBezTo>
                <a:cubicBezTo>
                  <a:pt x="3263831" y="3864414"/>
                  <a:pt x="3247525" y="3839956"/>
                  <a:pt x="3228503" y="3818215"/>
                </a:cubicBezTo>
                <a:cubicBezTo>
                  <a:pt x="3225785" y="3807345"/>
                  <a:pt x="3236655" y="3807345"/>
                  <a:pt x="3239373" y="3799192"/>
                </a:cubicBezTo>
                <a:cubicBezTo>
                  <a:pt x="3239373" y="3791039"/>
                  <a:pt x="3223067" y="3812780"/>
                  <a:pt x="3225785" y="3793757"/>
                </a:cubicBezTo>
                <a:cubicBezTo>
                  <a:pt x="3220349" y="3796474"/>
                  <a:pt x="3217633" y="3801909"/>
                  <a:pt x="3212197" y="3796474"/>
                </a:cubicBezTo>
                <a:cubicBezTo>
                  <a:pt x="3209479" y="3799192"/>
                  <a:pt x="3214915" y="3810062"/>
                  <a:pt x="3209479" y="3810062"/>
                </a:cubicBezTo>
                <a:cubicBezTo>
                  <a:pt x="3261113" y="3861696"/>
                  <a:pt x="3318183" y="3926919"/>
                  <a:pt x="3369817" y="3986706"/>
                </a:cubicBezTo>
                <a:cubicBezTo>
                  <a:pt x="3372535" y="3994859"/>
                  <a:pt x="3361665" y="3992141"/>
                  <a:pt x="3364383" y="4000294"/>
                </a:cubicBezTo>
                <a:cubicBezTo>
                  <a:pt x="3369817" y="4003011"/>
                  <a:pt x="3372535" y="4011164"/>
                  <a:pt x="3383405" y="4011164"/>
                </a:cubicBezTo>
                <a:cubicBezTo>
                  <a:pt x="3380687" y="4013882"/>
                  <a:pt x="3380687" y="4016599"/>
                  <a:pt x="3380687" y="4022035"/>
                </a:cubicBezTo>
                <a:cubicBezTo>
                  <a:pt x="3391559" y="4019317"/>
                  <a:pt x="3386123" y="4016599"/>
                  <a:pt x="3399711" y="4019317"/>
                </a:cubicBezTo>
                <a:cubicBezTo>
                  <a:pt x="3454063" y="4092692"/>
                  <a:pt x="3519285" y="4155197"/>
                  <a:pt x="3581789" y="4220419"/>
                </a:cubicBezTo>
                <a:cubicBezTo>
                  <a:pt x="3554613" y="4296511"/>
                  <a:pt x="3516567" y="4364451"/>
                  <a:pt x="3478521" y="4432391"/>
                </a:cubicBezTo>
                <a:cubicBezTo>
                  <a:pt x="3437757" y="4451414"/>
                  <a:pt x="3426887" y="4500331"/>
                  <a:pt x="3399711" y="4530225"/>
                </a:cubicBezTo>
                <a:cubicBezTo>
                  <a:pt x="3394275" y="4530225"/>
                  <a:pt x="3402429" y="4513919"/>
                  <a:pt x="3391559" y="4513919"/>
                </a:cubicBezTo>
                <a:cubicBezTo>
                  <a:pt x="3386123" y="4513919"/>
                  <a:pt x="3391559" y="4524789"/>
                  <a:pt x="3388841" y="4530225"/>
                </a:cubicBezTo>
                <a:cubicBezTo>
                  <a:pt x="3377971" y="4516637"/>
                  <a:pt x="3369817" y="4475873"/>
                  <a:pt x="3388841" y="4465002"/>
                </a:cubicBezTo>
                <a:cubicBezTo>
                  <a:pt x="3391559" y="4456850"/>
                  <a:pt x="3380687" y="4459567"/>
                  <a:pt x="3383405" y="4451414"/>
                </a:cubicBezTo>
                <a:cubicBezTo>
                  <a:pt x="3416017" y="4418803"/>
                  <a:pt x="3437757" y="4375322"/>
                  <a:pt x="3445911" y="4318252"/>
                </a:cubicBezTo>
                <a:cubicBezTo>
                  <a:pt x="3445911" y="4312817"/>
                  <a:pt x="3440475" y="4312817"/>
                  <a:pt x="3435039" y="4312817"/>
                </a:cubicBezTo>
                <a:cubicBezTo>
                  <a:pt x="3437757" y="4307382"/>
                  <a:pt x="3443193" y="4304664"/>
                  <a:pt x="3440475" y="4296511"/>
                </a:cubicBezTo>
                <a:cubicBezTo>
                  <a:pt x="3410581" y="4315534"/>
                  <a:pt x="3388841" y="4342710"/>
                  <a:pt x="3367099" y="4372604"/>
                </a:cubicBezTo>
                <a:cubicBezTo>
                  <a:pt x="3367099" y="4386192"/>
                  <a:pt x="3372535" y="4405215"/>
                  <a:pt x="3358947" y="4405215"/>
                </a:cubicBezTo>
                <a:cubicBezTo>
                  <a:pt x="3358947" y="4391627"/>
                  <a:pt x="3353511" y="4386192"/>
                  <a:pt x="3353511" y="4375322"/>
                </a:cubicBezTo>
                <a:cubicBezTo>
                  <a:pt x="3361665" y="4372604"/>
                  <a:pt x="3369817" y="4364451"/>
                  <a:pt x="3375253" y="4356298"/>
                </a:cubicBezTo>
                <a:cubicBezTo>
                  <a:pt x="3361665" y="4345428"/>
                  <a:pt x="3356229" y="4367169"/>
                  <a:pt x="3345359" y="4367169"/>
                </a:cubicBezTo>
                <a:cubicBezTo>
                  <a:pt x="3337207" y="4342710"/>
                  <a:pt x="3350795" y="4312817"/>
                  <a:pt x="3337207" y="4293794"/>
                </a:cubicBezTo>
                <a:cubicBezTo>
                  <a:pt x="3329053" y="4293794"/>
                  <a:pt x="3326335" y="4315534"/>
                  <a:pt x="3318183" y="4301946"/>
                </a:cubicBezTo>
                <a:cubicBezTo>
                  <a:pt x="3307313" y="4312817"/>
                  <a:pt x="3315465" y="4339993"/>
                  <a:pt x="3315465" y="4356298"/>
                </a:cubicBezTo>
                <a:cubicBezTo>
                  <a:pt x="3301877" y="4339993"/>
                  <a:pt x="3288289" y="4326405"/>
                  <a:pt x="3266549" y="4320970"/>
                </a:cubicBezTo>
                <a:cubicBezTo>
                  <a:pt x="3277419" y="4353581"/>
                  <a:pt x="3320901" y="4356298"/>
                  <a:pt x="3326335" y="4397062"/>
                </a:cubicBezTo>
                <a:cubicBezTo>
                  <a:pt x="3299159" y="4372604"/>
                  <a:pt x="3271983" y="4334558"/>
                  <a:pt x="3228503" y="4334558"/>
                </a:cubicBezTo>
                <a:cubicBezTo>
                  <a:pt x="3239373" y="4372604"/>
                  <a:pt x="3277419" y="4391627"/>
                  <a:pt x="3315465" y="4413368"/>
                </a:cubicBezTo>
                <a:cubicBezTo>
                  <a:pt x="3304595" y="4424238"/>
                  <a:pt x="3323619" y="4432391"/>
                  <a:pt x="3331771" y="4437826"/>
                </a:cubicBezTo>
                <a:cubicBezTo>
                  <a:pt x="3326335" y="4454132"/>
                  <a:pt x="3318183" y="4421521"/>
                  <a:pt x="3307313" y="4435109"/>
                </a:cubicBezTo>
                <a:cubicBezTo>
                  <a:pt x="3312747" y="4448697"/>
                  <a:pt x="3329053" y="4451414"/>
                  <a:pt x="3339923" y="4459567"/>
                </a:cubicBezTo>
                <a:cubicBezTo>
                  <a:pt x="3339923" y="4481308"/>
                  <a:pt x="3345359" y="4486743"/>
                  <a:pt x="3348077" y="4500331"/>
                </a:cubicBezTo>
                <a:cubicBezTo>
                  <a:pt x="3318183" y="4494896"/>
                  <a:pt x="3282855" y="4481308"/>
                  <a:pt x="3261113" y="4503049"/>
                </a:cubicBezTo>
                <a:cubicBezTo>
                  <a:pt x="3285571" y="4524789"/>
                  <a:pt x="3323619" y="4503049"/>
                  <a:pt x="3348077" y="4505766"/>
                </a:cubicBezTo>
                <a:cubicBezTo>
                  <a:pt x="3350795" y="4524789"/>
                  <a:pt x="3350795" y="4541095"/>
                  <a:pt x="3345359" y="4557400"/>
                </a:cubicBezTo>
                <a:cubicBezTo>
                  <a:pt x="3330412" y="4554683"/>
                  <a:pt x="3319541" y="4557401"/>
                  <a:pt x="3309690" y="4561477"/>
                </a:cubicBezTo>
                <a:lnTo>
                  <a:pt x="3302129" y="4564606"/>
                </a:lnTo>
                <a:lnTo>
                  <a:pt x="3280137" y="4568271"/>
                </a:lnTo>
                <a:lnTo>
                  <a:pt x="3282388" y="4572775"/>
                </a:lnTo>
                <a:lnTo>
                  <a:pt x="3280137" y="4573706"/>
                </a:lnTo>
                <a:lnTo>
                  <a:pt x="3283574" y="4575146"/>
                </a:lnTo>
                <a:lnTo>
                  <a:pt x="3285571" y="4579141"/>
                </a:lnTo>
                <a:cubicBezTo>
                  <a:pt x="3288289" y="4579141"/>
                  <a:pt x="3291007" y="4581859"/>
                  <a:pt x="3293725" y="4581859"/>
                </a:cubicBezTo>
                <a:lnTo>
                  <a:pt x="3296086" y="4579498"/>
                </a:lnTo>
                <a:lnTo>
                  <a:pt x="3311729" y="4577104"/>
                </a:lnTo>
                <a:cubicBezTo>
                  <a:pt x="3323618" y="4573706"/>
                  <a:pt x="3335847" y="4568271"/>
                  <a:pt x="3345359" y="4568271"/>
                </a:cubicBezTo>
                <a:cubicBezTo>
                  <a:pt x="3345359" y="4584576"/>
                  <a:pt x="3348077" y="4600882"/>
                  <a:pt x="3356229" y="4611752"/>
                </a:cubicBezTo>
                <a:cubicBezTo>
                  <a:pt x="3356229" y="4617187"/>
                  <a:pt x="3345359" y="4614470"/>
                  <a:pt x="3342641" y="4611752"/>
                </a:cubicBezTo>
                <a:cubicBezTo>
                  <a:pt x="3342641" y="4617187"/>
                  <a:pt x="3348077" y="4617187"/>
                  <a:pt x="3345359" y="4625340"/>
                </a:cubicBezTo>
                <a:cubicBezTo>
                  <a:pt x="3329053" y="4619905"/>
                  <a:pt x="3334489" y="4636211"/>
                  <a:pt x="3329053" y="4644363"/>
                </a:cubicBezTo>
                <a:cubicBezTo>
                  <a:pt x="3326335" y="4644363"/>
                  <a:pt x="3326335" y="4644363"/>
                  <a:pt x="3323619" y="4644363"/>
                </a:cubicBezTo>
                <a:cubicBezTo>
                  <a:pt x="3326335" y="4649798"/>
                  <a:pt x="3331771" y="4652516"/>
                  <a:pt x="3337207" y="4657951"/>
                </a:cubicBezTo>
                <a:cubicBezTo>
                  <a:pt x="3339923" y="4660669"/>
                  <a:pt x="3339923" y="4660669"/>
                  <a:pt x="3342641" y="4660669"/>
                </a:cubicBezTo>
                <a:cubicBezTo>
                  <a:pt x="3342641" y="4663386"/>
                  <a:pt x="3342641" y="4663386"/>
                  <a:pt x="3342641" y="4663386"/>
                </a:cubicBezTo>
                <a:cubicBezTo>
                  <a:pt x="3345359" y="4663386"/>
                  <a:pt x="3348077" y="4666104"/>
                  <a:pt x="3350795" y="4668822"/>
                </a:cubicBezTo>
                <a:cubicBezTo>
                  <a:pt x="3353511" y="4666104"/>
                  <a:pt x="3353511" y="4666104"/>
                  <a:pt x="3358947" y="4666104"/>
                </a:cubicBezTo>
                <a:cubicBezTo>
                  <a:pt x="3358947" y="4671539"/>
                  <a:pt x="3361665" y="4674257"/>
                  <a:pt x="3367099" y="4674257"/>
                </a:cubicBezTo>
                <a:cubicBezTo>
                  <a:pt x="3367099" y="4676974"/>
                  <a:pt x="3364383" y="4679692"/>
                  <a:pt x="3364383" y="4682410"/>
                </a:cubicBezTo>
                <a:cubicBezTo>
                  <a:pt x="3369817" y="4690562"/>
                  <a:pt x="3377971" y="4695997"/>
                  <a:pt x="3386123" y="4701433"/>
                </a:cubicBezTo>
                <a:cubicBezTo>
                  <a:pt x="3372535" y="4709585"/>
                  <a:pt x="3361665" y="4715021"/>
                  <a:pt x="3348077" y="4723173"/>
                </a:cubicBezTo>
                <a:lnTo>
                  <a:pt x="3315078" y="4786399"/>
                </a:lnTo>
                <a:lnTo>
                  <a:pt x="3296443" y="4799266"/>
                </a:lnTo>
                <a:lnTo>
                  <a:pt x="3307995" y="4799970"/>
                </a:lnTo>
                <a:lnTo>
                  <a:pt x="3307653" y="4800625"/>
                </a:lnTo>
                <a:lnTo>
                  <a:pt x="3273827" y="4850992"/>
                </a:lnTo>
                <a:lnTo>
                  <a:pt x="3277420" y="4861771"/>
                </a:lnTo>
                <a:cubicBezTo>
                  <a:pt x="3276740" y="4868565"/>
                  <a:pt x="3274702" y="4875359"/>
                  <a:pt x="3274702" y="4878077"/>
                </a:cubicBezTo>
                <a:cubicBezTo>
                  <a:pt x="3270625" y="4876718"/>
                  <a:pt x="3271305" y="4871962"/>
                  <a:pt x="3272324" y="4865847"/>
                </a:cubicBezTo>
                <a:lnTo>
                  <a:pt x="3272119" y="4853535"/>
                </a:lnTo>
                <a:lnTo>
                  <a:pt x="3261113" y="4869924"/>
                </a:lnTo>
                <a:cubicBezTo>
                  <a:pt x="3250243" y="4850901"/>
                  <a:pt x="3258395" y="4812854"/>
                  <a:pt x="3239373" y="4801984"/>
                </a:cubicBezTo>
                <a:cubicBezTo>
                  <a:pt x="3225785" y="4801984"/>
                  <a:pt x="3228503" y="4821007"/>
                  <a:pt x="3217633" y="4823725"/>
                </a:cubicBezTo>
                <a:cubicBezTo>
                  <a:pt x="3217633" y="4815572"/>
                  <a:pt x="3217633" y="4810137"/>
                  <a:pt x="3220349" y="4804701"/>
                </a:cubicBezTo>
                <a:cubicBezTo>
                  <a:pt x="3217633" y="4810137"/>
                  <a:pt x="3212197" y="4812854"/>
                  <a:pt x="3206761" y="4818289"/>
                </a:cubicBezTo>
                <a:cubicBezTo>
                  <a:pt x="3206761" y="4821007"/>
                  <a:pt x="3206761" y="4826442"/>
                  <a:pt x="3206761" y="4834595"/>
                </a:cubicBezTo>
                <a:cubicBezTo>
                  <a:pt x="3198609" y="4831877"/>
                  <a:pt x="3201327" y="4837313"/>
                  <a:pt x="3193173" y="4837313"/>
                </a:cubicBezTo>
                <a:cubicBezTo>
                  <a:pt x="3193173" y="4834595"/>
                  <a:pt x="3190457" y="4834595"/>
                  <a:pt x="3190457" y="4831877"/>
                </a:cubicBezTo>
                <a:cubicBezTo>
                  <a:pt x="3187739" y="4834595"/>
                  <a:pt x="3185021" y="4837313"/>
                  <a:pt x="3182303" y="4840030"/>
                </a:cubicBezTo>
                <a:cubicBezTo>
                  <a:pt x="3183662" y="4841389"/>
                  <a:pt x="3182304" y="4844107"/>
                  <a:pt x="3179586" y="4847164"/>
                </a:cubicBezTo>
                <a:lnTo>
                  <a:pt x="3172148" y="4853439"/>
                </a:lnTo>
                <a:lnTo>
                  <a:pt x="3171433" y="4853618"/>
                </a:lnTo>
                <a:cubicBezTo>
                  <a:pt x="3171433" y="4853618"/>
                  <a:pt x="3168715" y="4853618"/>
                  <a:pt x="3168715" y="4856336"/>
                </a:cubicBezTo>
                <a:lnTo>
                  <a:pt x="3172148" y="4853439"/>
                </a:lnTo>
                <a:lnTo>
                  <a:pt x="3175510" y="4852599"/>
                </a:lnTo>
                <a:cubicBezTo>
                  <a:pt x="3176868" y="4852260"/>
                  <a:pt x="3178227" y="4852260"/>
                  <a:pt x="3179585" y="4853618"/>
                </a:cubicBezTo>
                <a:cubicBezTo>
                  <a:pt x="3174151" y="4859053"/>
                  <a:pt x="3165997" y="4872641"/>
                  <a:pt x="3179585" y="4878077"/>
                </a:cubicBezTo>
                <a:cubicBezTo>
                  <a:pt x="3171433" y="4880794"/>
                  <a:pt x="3165997" y="4883512"/>
                  <a:pt x="3157845" y="4886229"/>
                </a:cubicBezTo>
                <a:lnTo>
                  <a:pt x="3157845" y="4883512"/>
                </a:lnTo>
                <a:cubicBezTo>
                  <a:pt x="3157845" y="4886229"/>
                  <a:pt x="3155127" y="4886229"/>
                  <a:pt x="3155127" y="4886229"/>
                </a:cubicBezTo>
                <a:cubicBezTo>
                  <a:pt x="3157845" y="4886229"/>
                  <a:pt x="3157845" y="4886229"/>
                  <a:pt x="3157845" y="4886229"/>
                </a:cubicBezTo>
                <a:cubicBezTo>
                  <a:pt x="3149693" y="4888947"/>
                  <a:pt x="3141539" y="4891665"/>
                  <a:pt x="3136105" y="4894382"/>
                </a:cubicBezTo>
                <a:cubicBezTo>
                  <a:pt x="3043705" y="4943299"/>
                  <a:pt x="2929567" y="4984062"/>
                  <a:pt x="2834451" y="5030261"/>
                </a:cubicBezTo>
                <a:cubicBezTo>
                  <a:pt x="2788253" y="5052002"/>
                  <a:pt x="2744771" y="5079178"/>
                  <a:pt x="2701290" y="5114507"/>
                </a:cubicBezTo>
                <a:cubicBezTo>
                  <a:pt x="2600739" y="5149836"/>
                  <a:pt x="2497470" y="5177012"/>
                  <a:pt x="2391484" y="5201470"/>
                </a:cubicBezTo>
                <a:cubicBezTo>
                  <a:pt x="2285497" y="5223211"/>
                  <a:pt x="2176793" y="5236799"/>
                  <a:pt x="2062654" y="5242234"/>
                </a:cubicBezTo>
                <a:cubicBezTo>
                  <a:pt x="1837094" y="5253104"/>
                  <a:pt x="1597945" y="5223211"/>
                  <a:pt x="1369667" y="5138965"/>
                </a:cubicBezTo>
                <a:cubicBezTo>
                  <a:pt x="1339774" y="5128095"/>
                  <a:pt x="1309880" y="5114507"/>
                  <a:pt x="1282704" y="5100919"/>
                </a:cubicBezTo>
                <a:cubicBezTo>
                  <a:pt x="1255528" y="5087331"/>
                  <a:pt x="1225635" y="5073743"/>
                  <a:pt x="1198459" y="5057437"/>
                </a:cubicBezTo>
                <a:cubicBezTo>
                  <a:pt x="1171283" y="5041132"/>
                  <a:pt x="1141389" y="5024826"/>
                  <a:pt x="1116931" y="5008521"/>
                </a:cubicBezTo>
                <a:cubicBezTo>
                  <a:pt x="1092473" y="4992215"/>
                  <a:pt x="1068014" y="4975910"/>
                  <a:pt x="1043556" y="4959604"/>
                </a:cubicBezTo>
                <a:cubicBezTo>
                  <a:pt x="1187589" y="5035697"/>
                  <a:pt x="1358797" y="5106354"/>
                  <a:pt x="1540876" y="5147118"/>
                </a:cubicBezTo>
                <a:cubicBezTo>
                  <a:pt x="1712084" y="5209623"/>
                  <a:pt x="1891445" y="5239516"/>
                  <a:pt x="2030043" y="5204188"/>
                </a:cubicBezTo>
                <a:cubicBezTo>
                  <a:pt x="2062654" y="5198752"/>
                  <a:pt x="2092547" y="5193317"/>
                  <a:pt x="2125159" y="5185164"/>
                </a:cubicBezTo>
                <a:cubicBezTo>
                  <a:pt x="1932209" y="5201470"/>
                  <a:pt x="1731107" y="5187882"/>
                  <a:pt x="1540876" y="5147118"/>
                </a:cubicBezTo>
                <a:cubicBezTo>
                  <a:pt x="1489241" y="5128095"/>
                  <a:pt x="1438966" y="5107034"/>
                  <a:pt x="1390049" y="5084614"/>
                </a:cubicBezTo>
                <a:lnTo>
                  <a:pt x="1252983" y="5016733"/>
                </a:lnTo>
                <a:lnTo>
                  <a:pt x="1368988" y="5056418"/>
                </a:lnTo>
                <a:lnTo>
                  <a:pt x="1481498" y="5087883"/>
                </a:lnTo>
                <a:lnTo>
                  <a:pt x="1486524" y="5090048"/>
                </a:lnTo>
                <a:lnTo>
                  <a:pt x="1493904" y="5091709"/>
                </a:lnTo>
                <a:lnTo>
                  <a:pt x="1599898" y="5129454"/>
                </a:lnTo>
                <a:cubicBezTo>
                  <a:pt x="1710726" y="5163084"/>
                  <a:pt x="1820788" y="5178371"/>
                  <a:pt x="1918621" y="5166141"/>
                </a:cubicBezTo>
                <a:cubicBezTo>
                  <a:pt x="1934927" y="5163424"/>
                  <a:pt x="1948515" y="5160706"/>
                  <a:pt x="1964821" y="5157988"/>
                </a:cubicBezTo>
                <a:cubicBezTo>
                  <a:pt x="1997432" y="5152553"/>
                  <a:pt x="2027325" y="5147118"/>
                  <a:pt x="2059936" y="5141683"/>
                </a:cubicBezTo>
                <a:cubicBezTo>
                  <a:pt x="1940362" y="5149836"/>
                  <a:pt x="1820788" y="5144400"/>
                  <a:pt x="1703931" y="5130812"/>
                </a:cubicBezTo>
                <a:lnTo>
                  <a:pt x="1649580" y="5122660"/>
                </a:lnTo>
                <a:lnTo>
                  <a:pt x="1595228" y="5114507"/>
                </a:lnTo>
                <a:lnTo>
                  <a:pt x="1493904" y="5091709"/>
                </a:lnTo>
                <a:lnTo>
                  <a:pt x="1489241" y="5090048"/>
                </a:lnTo>
                <a:lnTo>
                  <a:pt x="1481498" y="5087883"/>
                </a:lnTo>
                <a:lnTo>
                  <a:pt x="1422660" y="5062533"/>
                </a:lnTo>
                <a:cubicBezTo>
                  <a:pt x="1401599" y="5052682"/>
                  <a:pt x="1380537" y="5042491"/>
                  <a:pt x="1358797" y="5032979"/>
                </a:cubicBezTo>
                <a:cubicBezTo>
                  <a:pt x="1361515" y="5032979"/>
                  <a:pt x="1366950" y="5032979"/>
                  <a:pt x="1372385" y="5032979"/>
                </a:cubicBezTo>
                <a:cubicBezTo>
                  <a:pt x="1391408" y="5038414"/>
                  <a:pt x="1432172" y="5030261"/>
                  <a:pt x="1462066" y="5013956"/>
                </a:cubicBezTo>
                <a:cubicBezTo>
                  <a:pt x="1491959" y="4997650"/>
                  <a:pt x="1508265" y="4973192"/>
                  <a:pt x="1483806" y="4954169"/>
                </a:cubicBezTo>
                <a:cubicBezTo>
                  <a:pt x="1448478" y="4943299"/>
                  <a:pt x="1413149" y="4929711"/>
                  <a:pt x="1375102" y="4916123"/>
                </a:cubicBezTo>
                <a:cubicBezTo>
                  <a:pt x="1339774" y="4902535"/>
                  <a:pt x="1301728" y="4888947"/>
                  <a:pt x="1266399" y="4872641"/>
                </a:cubicBezTo>
                <a:cubicBezTo>
                  <a:pt x="1195741" y="4840030"/>
                  <a:pt x="1127801" y="4807419"/>
                  <a:pt x="1070732" y="4774808"/>
                </a:cubicBezTo>
                <a:cubicBezTo>
                  <a:pt x="1040838" y="4758502"/>
                  <a:pt x="1013662" y="4742197"/>
                  <a:pt x="991922" y="4728609"/>
                </a:cubicBezTo>
                <a:cubicBezTo>
                  <a:pt x="970181" y="4715021"/>
                  <a:pt x="948440" y="4701433"/>
                  <a:pt x="932135" y="4690562"/>
                </a:cubicBezTo>
                <a:cubicBezTo>
                  <a:pt x="915829" y="4679692"/>
                  <a:pt x="902241" y="4671539"/>
                  <a:pt x="894088" y="4666104"/>
                </a:cubicBezTo>
                <a:cubicBezTo>
                  <a:pt x="885935" y="4660669"/>
                  <a:pt x="880500" y="4655234"/>
                  <a:pt x="880500" y="4655234"/>
                </a:cubicBezTo>
                <a:cubicBezTo>
                  <a:pt x="877783" y="4641646"/>
                  <a:pt x="970181" y="4695997"/>
                  <a:pt x="1073450" y="4742197"/>
                </a:cubicBezTo>
                <a:cubicBezTo>
                  <a:pt x="1122366" y="4763937"/>
                  <a:pt x="1176718" y="4788396"/>
                  <a:pt x="1214764" y="4801984"/>
                </a:cubicBezTo>
                <a:cubicBezTo>
                  <a:pt x="1255528" y="4815572"/>
                  <a:pt x="1279987" y="4823725"/>
                  <a:pt x="1277269" y="4821007"/>
                </a:cubicBezTo>
                <a:cubicBezTo>
                  <a:pt x="1252811" y="4807419"/>
                  <a:pt x="1231070" y="4793831"/>
                  <a:pt x="1206612" y="4780243"/>
                </a:cubicBezTo>
                <a:cubicBezTo>
                  <a:pt x="1231070" y="4788396"/>
                  <a:pt x="1255528" y="4793831"/>
                  <a:pt x="1277269" y="4796549"/>
                </a:cubicBezTo>
                <a:cubicBezTo>
                  <a:pt x="1301728" y="4804701"/>
                  <a:pt x="1331621" y="4815572"/>
                  <a:pt x="1358797" y="4826442"/>
                </a:cubicBezTo>
                <a:cubicBezTo>
                  <a:pt x="1385973" y="4837313"/>
                  <a:pt x="1413149" y="4842748"/>
                  <a:pt x="1432172" y="4842748"/>
                </a:cubicBezTo>
                <a:cubicBezTo>
                  <a:pt x="1467501" y="4842748"/>
                  <a:pt x="1500112" y="4845465"/>
                  <a:pt x="1532723" y="4848183"/>
                </a:cubicBezTo>
                <a:cubicBezTo>
                  <a:pt x="1565334" y="4853618"/>
                  <a:pt x="1597945" y="4856336"/>
                  <a:pt x="1633274" y="4861771"/>
                </a:cubicBezTo>
                <a:cubicBezTo>
                  <a:pt x="1649580" y="4861771"/>
                  <a:pt x="1668603" y="4864489"/>
                  <a:pt x="1684908" y="4867206"/>
                </a:cubicBezTo>
                <a:cubicBezTo>
                  <a:pt x="1701214" y="4867206"/>
                  <a:pt x="1717519" y="4869924"/>
                  <a:pt x="1736543" y="4869924"/>
                </a:cubicBezTo>
                <a:cubicBezTo>
                  <a:pt x="1771871" y="4872641"/>
                  <a:pt x="1807200" y="4869924"/>
                  <a:pt x="1842529" y="4864489"/>
                </a:cubicBezTo>
                <a:cubicBezTo>
                  <a:pt x="1932209" y="4848183"/>
                  <a:pt x="2035478" y="4815572"/>
                  <a:pt x="2133311" y="4769373"/>
                </a:cubicBezTo>
                <a:cubicBezTo>
                  <a:pt x="2130594" y="4753067"/>
                  <a:pt x="2182228" y="4755785"/>
                  <a:pt x="2163205" y="4739479"/>
                </a:cubicBezTo>
                <a:cubicBezTo>
                  <a:pt x="2209404" y="4734044"/>
                  <a:pt x="2258321" y="4725891"/>
                  <a:pt x="2301802" y="4712303"/>
                </a:cubicBezTo>
                <a:cubicBezTo>
                  <a:pt x="2323544" y="4704150"/>
                  <a:pt x="2342567" y="4695318"/>
                  <a:pt x="2357854" y="4684448"/>
                </a:cubicBezTo>
                <a:lnTo>
                  <a:pt x="2386398" y="4650425"/>
                </a:lnTo>
                <a:lnTo>
                  <a:pt x="2394201" y="4647081"/>
                </a:lnTo>
                <a:lnTo>
                  <a:pt x="2395107" y="4642552"/>
                </a:lnTo>
                <a:lnTo>
                  <a:pt x="2396919" y="4641646"/>
                </a:lnTo>
                <a:lnTo>
                  <a:pt x="2417161" y="4628995"/>
                </a:lnTo>
                <a:lnTo>
                  <a:pt x="2421377" y="4628058"/>
                </a:lnTo>
                <a:lnTo>
                  <a:pt x="2422692" y="4626852"/>
                </a:lnTo>
                <a:lnTo>
                  <a:pt x="2524306" y="4596466"/>
                </a:lnTo>
                <a:cubicBezTo>
                  <a:pt x="2555898" y="4582538"/>
                  <a:pt x="2584433" y="4565553"/>
                  <a:pt x="2611609" y="4546530"/>
                </a:cubicBezTo>
                <a:cubicBezTo>
                  <a:pt x="2611609" y="4546530"/>
                  <a:pt x="2608891" y="4546530"/>
                  <a:pt x="2608891" y="4546530"/>
                </a:cubicBezTo>
                <a:lnTo>
                  <a:pt x="2617044" y="4522072"/>
                </a:lnTo>
                <a:lnTo>
                  <a:pt x="2611609" y="4513919"/>
                </a:lnTo>
                <a:cubicBezTo>
                  <a:pt x="2598021" y="4522072"/>
                  <a:pt x="2584433" y="4530225"/>
                  <a:pt x="2570845" y="4538377"/>
                </a:cubicBezTo>
                <a:lnTo>
                  <a:pt x="2568127" y="4546530"/>
                </a:lnTo>
                <a:lnTo>
                  <a:pt x="2565410" y="4538377"/>
                </a:lnTo>
                <a:cubicBezTo>
                  <a:pt x="2530081" y="4560118"/>
                  <a:pt x="2492035" y="4579141"/>
                  <a:pt x="2453989" y="4598164"/>
                </a:cubicBezTo>
                <a:lnTo>
                  <a:pt x="2422692" y="4626852"/>
                </a:lnTo>
                <a:lnTo>
                  <a:pt x="2418660" y="4628058"/>
                </a:lnTo>
                <a:lnTo>
                  <a:pt x="2417161" y="4628995"/>
                </a:lnTo>
                <a:lnTo>
                  <a:pt x="2396919" y="4633493"/>
                </a:lnTo>
                <a:lnTo>
                  <a:pt x="2395107" y="4642552"/>
                </a:lnTo>
                <a:lnTo>
                  <a:pt x="2391484" y="4644363"/>
                </a:lnTo>
                <a:lnTo>
                  <a:pt x="2386398" y="4650425"/>
                </a:lnTo>
                <a:lnTo>
                  <a:pt x="2313437" y="4681688"/>
                </a:lnTo>
                <a:cubicBezTo>
                  <a:pt x="2230125" y="4712643"/>
                  <a:pt x="2141464" y="4734044"/>
                  <a:pt x="2068089" y="4758502"/>
                </a:cubicBezTo>
                <a:cubicBezTo>
                  <a:pt x="1978409" y="4780243"/>
                  <a:pt x="1880575" y="4780243"/>
                  <a:pt x="1782742" y="4772090"/>
                </a:cubicBezTo>
                <a:cubicBezTo>
                  <a:pt x="1684908" y="4761220"/>
                  <a:pt x="1589792" y="4739479"/>
                  <a:pt x="1497394" y="4715021"/>
                </a:cubicBezTo>
                <a:cubicBezTo>
                  <a:pt x="1592510" y="4725891"/>
                  <a:pt x="1687626" y="4728609"/>
                  <a:pt x="1777307" y="4720456"/>
                </a:cubicBezTo>
                <a:cubicBezTo>
                  <a:pt x="1663168" y="4723173"/>
                  <a:pt x="1554464" y="4717738"/>
                  <a:pt x="1451195" y="4701433"/>
                </a:cubicBezTo>
                <a:cubicBezTo>
                  <a:pt x="1434890" y="4698715"/>
                  <a:pt x="1421302" y="4693280"/>
                  <a:pt x="1404996" y="4687845"/>
                </a:cubicBezTo>
                <a:cubicBezTo>
                  <a:pt x="1372385" y="4676974"/>
                  <a:pt x="1342491" y="4668822"/>
                  <a:pt x="1309880" y="4655234"/>
                </a:cubicBezTo>
                <a:cubicBezTo>
                  <a:pt x="1339774" y="4668822"/>
                  <a:pt x="1366950" y="4682410"/>
                  <a:pt x="1396843" y="4693280"/>
                </a:cubicBezTo>
                <a:cubicBezTo>
                  <a:pt x="1380538" y="4690562"/>
                  <a:pt x="1366950" y="4687845"/>
                  <a:pt x="1350644" y="4685127"/>
                </a:cubicBezTo>
                <a:cubicBezTo>
                  <a:pt x="1334339" y="4682410"/>
                  <a:pt x="1320751" y="4676974"/>
                  <a:pt x="1304445" y="4674257"/>
                </a:cubicBezTo>
                <a:cubicBezTo>
                  <a:pt x="1274552" y="4666104"/>
                  <a:pt x="1244658" y="4657951"/>
                  <a:pt x="1214764" y="4649798"/>
                </a:cubicBezTo>
                <a:cubicBezTo>
                  <a:pt x="1051709" y="4595447"/>
                  <a:pt x="899523" y="4513919"/>
                  <a:pt x="750056" y="4432391"/>
                </a:cubicBezTo>
                <a:cubicBezTo>
                  <a:pt x="600588" y="4350863"/>
                  <a:pt x="453838" y="4261183"/>
                  <a:pt x="298935" y="4193243"/>
                </a:cubicBezTo>
                <a:cubicBezTo>
                  <a:pt x="304370" y="4195961"/>
                  <a:pt x="312523" y="4195961"/>
                  <a:pt x="320676" y="4198678"/>
                </a:cubicBezTo>
                <a:cubicBezTo>
                  <a:pt x="470144" y="4261183"/>
                  <a:pt x="611458" y="4342710"/>
                  <a:pt x="739185" y="4386192"/>
                </a:cubicBezTo>
                <a:cubicBezTo>
                  <a:pt x="654940" y="4342710"/>
                  <a:pt x="595153" y="4315534"/>
                  <a:pt x="513625" y="4277488"/>
                </a:cubicBezTo>
                <a:cubicBezTo>
                  <a:pt x="513625" y="4277488"/>
                  <a:pt x="513625" y="4274771"/>
                  <a:pt x="521778" y="4277488"/>
                </a:cubicBezTo>
                <a:cubicBezTo>
                  <a:pt x="470144" y="4255747"/>
                  <a:pt x="404921" y="4228572"/>
                  <a:pt x="345134" y="4204113"/>
                </a:cubicBezTo>
                <a:cubicBezTo>
                  <a:pt x="364157" y="4209548"/>
                  <a:pt x="388616" y="4214984"/>
                  <a:pt x="413074" y="4217701"/>
                </a:cubicBezTo>
                <a:cubicBezTo>
                  <a:pt x="445685" y="4225854"/>
                  <a:pt x="494602" y="4242160"/>
                  <a:pt x="540801" y="4261183"/>
                </a:cubicBezTo>
                <a:cubicBezTo>
                  <a:pt x="641352" y="4301946"/>
                  <a:pt x="739185" y="4345428"/>
                  <a:pt x="834301" y="4388910"/>
                </a:cubicBezTo>
                <a:cubicBezTo>
                  <a:pt x="929417" y="4432391"/>
                  <a:pt x="1024533" y="4473155"/>
                  <a:pt x="1125084" y="4508484"/>
                </a:cubicBezTo>
                <a:cubicBezTo>
                  <a:pt x="1212047" y="4543813"/>
                  <a:pt x="1299010" y="4579141"/>
                  <a:pt x="1385973" y="4606317"/>
                </a:cubicBezTo>
                <a:cubicBezTo>
                  <a:pt x="1472936" y="4633493"/>
                  <a:pt x="1562617" y="4649798"/>
                  <a:pt x="1652297" y="4663386"/>
                </a:cubicBezTo>
                <a:cubicBezTo>
                  <a:pt x="1472936" y="4660669"/>
                  <a:pt x="1304445" y="4625340"/>
                  <a:pt x="1144107" y="4576424"/>
                </a:cubicBezTo>
                <a:cubicBezTo>
                  <a:pt x="1231070" y="4609035"/>
                  <a:pt x="1318033" y="4633493"/>
                  <a:pt x="1404996" y="4647081"/>
                </a:cubicBezTo>
                <a:cubicBezTo>
                  <a:pt x="1448478" y="4655234"/>
                  <a:pt x="1491959" y="4657951"/>
                  <a:pt x="1535441" y="4663386"/>
                </a:cubicBezTo>
                <a:cubicBezTo>
                  <a:pt x="1578922" y="4666104"/>
                  <a:pt x="1619686" y="4668822"/>
                  <a:pt x="1663168" y="4666104"/>
                </a:cubicBezTo>
                <a:cubicBezTo>
                  <a:pt x="1858834" y="4690562"/>
                  <a:pt x="2051784" y="4674257"/>
                  <a:pt x="2225710" y="4622623"/>
                </a:cubicBezTo>
                <a:cubicBezTo>
                  <a:pt x="2231145" y="4619905"/>
                  <a:pt x="2239298" y="4617187"/>
                  <a:pt x="2242015" y="4611752"/>
                </a:cubicBezTo>
                <a:lnTo>
                  <a:pt x="2245848" y="4605044"/>
                </a:lnTo>
                <a:lnTo>
                  <a:pt x="2244139" y="4601434"/>
                </a:lnTo>
                <a:cubicBezTo>
                  <a:pt x="2238279" y="4581180"/>
                  <a:pt x="2239299" y="4556721"/>
                  <a:pt x="2231145" y="4538378"/>
                </a:cubicBezTo>
                <a:cubicBezTo>
                  <a:pt x="2228428" y="4541095"/>
                  <a:pt x="2222992" y="4541095"/>
                  <a:pt x="2220275" y="4543813"/>
                </a:cubicBezTo>
                <a:cubicBezTo>
                  <a:pt x="2220275" y="4538378"/>
                  <a:pt x="2225710" y="4530225"/>
                  <a:pt x="2225710" y="4524790"/>
                </a:cubicBezTo>
                <a:cubicBezTo>
                  <a:pt x="2231145" y="4524790"/>
                  <a:pt x="2236580" y="4524790"/>
                  <a:pt x="2242016" y="4524790"/>
                </a:cubicBezTo>
                <a:cubicBezTo>
                  <a:pt x="2244733" y="4524790"/>
                  <a:pt x="2244733" y="4530225"/>
                  <a:pt x="2247451" y="4530225"/>
                </a:cubicBezTo>
                <a:cubicBezTo>
                  <a:pt x="2252886" y="4530225"/>
                  <a:pt x="2261039" y="4530225"/>
                  <a:pt x="2266474" y="4530225"/>
                </a:cubicBezTo>
                <a:cubicBezTo>
                  <a:pt x="2271909" y="4530225"/>
                  <a:pt x="2285497" y="4532942"/>
                  <a:pt x="2293650" y="4530225"/>
                </a:cubicBezTo>
                <a:cubicBezTo>
                  <a:pt x="2304521" y="4527507"/>
                  <a:pt x="2312674" y="4524790"/>
                  <a:pt x="2328980" y="4524790"/>
                </a:cubicBezTo>
                <a:cubicBezTo>
                  <a:pt x="2328980" y="4535660"/>
                  <a:pt x="2326942" y="4544492"/>
                  <a:pt x="2323884" y="4552305"/>
                </a:cubicBezTo>
                <a:lnTo>
                  <a:pt x="2321561" y="4556740"/>
                </a:lnTo>
                <a:lnTo>
                  <a:pt x="2350720" y="4524789"/>
                </a:lnTo>
                <a:lnTo>
                  <a:pt x="2352312" y="4524513"/>
                </a:lnTo>
                <a:lnTo>
                  <a:pt x="2353436" y="4516637"/>
                </a:lnTo>
                <a:cubicBezTo>
                  <a:pt x="2358871" y="4505766"/>
                  <a:pt x="2375177" y="4500331"/>
                  <a:pt x="2383330" y="4492178"/>
                </a:cubicBezTo>
                <a:cubicBezTo>
                  <a:pt x="2388765" y="4489461"/>
                  <a:pt x="2391483" y="4481308"/>
                  <a:pt x="2396918" y="4478590"/>
                </a:cubicBezTo>
                <a:cubicBezTo>
                  <a:pt x="2396918" y="4478590"/>
                  <a:pt x="2399635" y="4478590"/>
                  <a:pt x="2402353" y="4478590"/>
                </a:cubicBezTo>
                <a:cubicBezTo>
                  <a:pt x="2407788" y="4475873"/>
                  <a:pt x="2410506" y="4465002"/>
                  <a:pt x="2413223" y="4462285"/>
                </a:cubicBezTo>
                <a:cubicBezTo>
                  <a:pt x="2415941" y="4459567"/>
                  <a:pt x="2418658" y="4462285"/>
                  <a:pt x="2421376" y="4459567"/>
                </a:cubicBezTo>
                <a:cubicBezTo>
                  <a:pt x="2424094" y="4459567"/>
                  <a:pt x="2424094" y="4456850"/>
                  <a:pt x="2426811" y="4454132"/>
                </a:cubicBezTo>
                <a:cubicBezTo>
                  <a:pt x="2429529" y="4454132"/>
                  <a:pt x="2432246" y="4451414"/>
                  <a:pt x="2434964" y="4451414"/>
                </a:cubicBezTo>
                <a:cubicBezTo>
                  <a:pt x="2434964" y="4448697"/>
                  <a:pt x="2434964" y="4448697"/>
                  <a:pt x="2434964" y="4445979"/>
                </a:cubicBezTo>
                <a:cubicBezTo>
                  <a:pt x="2437682" y="4445979"/>
                  <a:pt x="2443117" y="4443262"/>
                  <a:pt x="2445834" y="4443262"/>
                </a:cubicBezTo>
                <a:cubicBezTo>
                  <a:pt x="2448552" y="4443262"/>
                  <a:pt x="2448552" y="4440544"/>
                  <a:pt x="2451270" y="4437826"/>
                </a:cubicBezTo>
                <a:cubicBezTo>
                  <a:pt x="2453987" y="4435109"/>
                  <a:pt x="2456705" y="4437826"/>
                  <a:pt x="2459422" y="4435109"/>
                </a:cubicBezTo>
                <a:cubicBezTo>
                  <a:pt x="2459422" y="4435109"/>
                  <a:pt x="2459422" y="4432391"/>
                  <a:pt x="2459422" y="4432391"/>
                </a:cubicBezTo>
                <a:cubicBezTo>
                  <a:pt x="2470293" y="4432391"/>
                  <a:pt x="2481163" y="4432391"/>
                  <a:pt x="2492033" y="4432391"/>
                </a:cubicBezTo>
                <a:cubicBezTo>
                  <a:pt x="2492033" y="4432391"/>
                  <a:pt x="2494751" y="4426956"/>
                  <a:pt x="2494751" y="4426956"/>
                </a:cubicBezTo>
                <a:cubicBezTo>
                  <a:pt x="2497469" y="4426956"/>
                  <a:pt x="2494751" y="4429674"/>
                  <a:pt x="2497469" y="4429674"/>
                </a:cubicBezTo>
                <a:cubicBezTo>
                  <a:pt x="2501545" y="4426956"/>
                  <a:pt x="2507660" y="4425597"/>
                  <a:pt x="2513435" y="4424918"/>
                </a:cubicBezTo>
                <a:lnTo>
                  <a:pt x="2525556" y="4424326"/>
                </a:lnTo>
                <a:lnTo>
                  <a:pt x="2519211" y="4416086"/>
                </a:lnTo>
                <a:lnTo>
                  <a:pt x="2521928" y="4410650"/>
                </a:lnTo>
                <a:cubicBezTo>
                  <a:pt x="2524646" y="4410650"/>
                  <a:pt x="2524646" y="4410650"/>
                  <a:pt x="2524646" y="4410650"/>
                </a:cubicBezTo>
                <a:cubicBezTo>
                  <a:pt x="2530081" y="4413368"/>
                  <a:pt x="2527364" y="4416086"/>
                  <a:pt x="2538234" y="4418803"/>
                </a:cubicBezTo>
                <a:lnTo>
                  <a:pt x="2542252" y="4422821"/>
                </a:lnTo>
                <a:lnTo>
                  <a:pt x="2549103" y="4424238"/>
                </a:lnTo>
                <a:cubicBezTo>
                  <a:pt x="2554538" y="4421521"/>
                  <a:pt x="2554538" y="4418803"/>
                  <a:pt x="2557256" y="4416086"/>
                </a:cubicBezTo>
                <a:lnTo>
                  <a:pt x="2557257" y="4416086"/>
                </a:lnTo>
                <a:lnTo>
                  <a:pt x="2578997" y="4416086"/>
                </a:lnTo>
                <a:lnTo>
                  <a:pt x="2581714" y="4421521"/>
                </a:lnTo>
                <a:lnTo>
                  <a:pt x="2584432" y="4437826"/>
                </a:lnTo>
                <a:lnTo>
                  <a:pt x="2582035" y="4439425"/>
                </a:lnTo>
                <a:lnTo>
                  <a:pt x="2584433" y="4451414"/>
                </a:lnTo>
                <a:cubicBezTo>
                  <a:pt x="2592586" y="4445979"/>
                  <a:pt x="2600739" y="4437826"/>
                  <a:pt x="2611609" y="4432391"/>
                </a:cubicBezTo>
                <a:cubicBezTo>
                  <a:pt x="2608891" y="4429674"/>
                  <a:pt x="2606174" y="4424238"/>
                  <a:pt x="2608891" y="4418803"/>
                </a:cubicBezTo>
                <a:cubicBezTo>
                  <a:pt x="2611609" y="4413368"/>
                  <a:pt x="2614327" y="4407933"/>
                  <a:pt x="2617044" y="4402498"/>
                </a:cubicBezTo>
                <a:cubicBezTo>
                  <a:pt x="2622479" y="4402498"/>
                  <a:pt x="2630632" y="4402498"/>
                  <a:pt x="2633350" y="4405215"/>
                </a:cubicBezTo>
                <a:lnTo>
                  <a:pt x="2635406" y="4407566"/>
                </a:lnTo>
                <a:lnTo>
                  <a:pt x="2638785" y="4402499"/>
                </a:lnTo>
                <a:lnTo>
                  <a:pt x="2649655" y="4405216"/>
                </a:lnTo>
                <a:lnTo>
                  <a:pt x="2654844" y="4404475"/>
                </a:lnTo>
                <a:lnTo>
                  <a:pt x="2646938" y="4402498"/>
                </a:lnTo>
                <a:cubicBezTo>
                  <a:pt x="2646938" y="4399780"/>
                  <a:pt x="2644220" y="4397062"/>
                  <a:pt x="2644220" y="4397062"/>
                </a:cubicBezTo>
                <a:cubicBezTo>
                  <a:pt x="2641502" y="4397062"/>
                  <a:pt x="2636067" y="4394345"/>
                  <a:pt x="2630632" y="4394345"/>
                </a:cubicBezTo>
                <a:cubicBezTo>
                  <a:pt x="2630632" y="4388910"/>
                  <a:pt x="2630632" y="4391627"/>
                  <a:pt x="2627914" y="4388910"/>
                </a:cubicBezTo>
                <a:cubicBezTo>
                  <a:pt x="2627914" y="4378039"/>
                  <a:pt x="2633350" y="4383474"/>
                  <a:pt x="2636067" y="4378039"/>
                </a:cubicBezTo>
                <a:cubicBezTo>
                  <a:pt x="2636067" y="4378039"/>
                  <a:pt x="2636067" y="4375322"/>
                  <a:pt x="2636067" y="4372604"/>
                </a:cubicBezTo>
                <a:cubicBezTo>
                  <a:pt x="2638785" y="4369886"/>
                  <a:pt x="2641502" y="4372604"/>
                  <a:pt x="2641502" y="4369886"/>
                </a:cubicBezTo>
                <a:cubicBezTo>
                  <a:pt x="2646938" y="4361734"/>
                  <a:pt x="2652373" y="4353581"/>
                  <a:pt x="2660526" y="4345428"/>
                </a:cubicBezTo>
                <a:cubicBezTo>
                  <a:pt x="2655090" y="4348146"/>
                  <a:pt x="2649655" y="4350863"/>
                  <a:pt x="2644220" y="4353581"/>
                </a:cubicBezTo>
                <a:cubicBezTo>
                  <a:pt x="2641502" y="4359016"/>
                  <a:pt x="2638785" y="4361734"/>
                  <a:pt x="2636067" y="4364451"/>
                </a:cubicBezTo>
                <a:cubicBezTo>
                  <a:pt x="2630632" y="4369886"/>
                  <a:pt x="2614327" y="4380757"/>
                  <a:pt x="2611609" y="4388910"/>
                </a:cubicBezTo>
                <a:cubicBezTo>
                  <a:pt x="2603456" y="4388910"/>
                  <a:pt x="2600739" y="4386192"/>
                  <a:pt x="2592586" y="4383474"/>
                </a:cubicBezTo>
                <a:cubicBezTo>
                  <a:pt x="2592586" y="4375322"/>
                  <a:pt x="2603456" y="4361734"/>
                  <a:pt x="2611609" y="4359016"/>
                </a:cubicBezTo>
                <a:lnTo>
                  <a:pt x="2611609" y="4351883"/>
                </a:lnTo>
                <a:cubicBezTo>
                  <a:pt x="2611609" y="4352222"/>
                  <a:pt x="2611609" y="4352222"/>
                  <a:pt x="2611609" y="4350863"/>
                </a:cubicBezTo>
                <a:cubicBezTo>
                  <a:pt x="2608891" y="4350863"/>
                  <a:pt x="2606174" y="4350863"/>
                  <a:pt x="2603456" y="4350863"/>
                </a:cubicBezTo>
                <a:cubicBezTo>
                  <a:pt x="2600739" y="4353581"/>
                  <a:pt x="2598021" y="4361734"/>
                  <a:pt x="2595303" y="4364451"/>
                </a:cubicBezTo>
                <a:cubicBezTo>
                  <a:pt x="2592586" y="4367169"/>
                  <a:pt x="2581715" y="4375322"/>
                  <a:pt x="2578998" y="4378039"/>
                </a:cubicBezTo>
                <a:cubicBezTo>
                  <a:pt x="2578998" y="4378039"/>
                  <a:pt x="2578998" y="4380757"/>
                  <a:pt x="2578998" y="4380757"/>
                </a:cubicBezTo>
                <a:cubicBezTo>
                  <a:pt x="2576280" y="4380757"/>
                  <a:pt x="2573563" y="4380757"/>
                  <a:pt x="2570845" y="4380757"/>
                </a:cubicBezTo>
                <a:cubicBezTo>
                  <a:pt x="2570845" y="4383474"/>
                  <a:pt x="2568127" y="4386192"/>
                  <a:pt x="2568127" y="4388910"/>
                </a:cubicBezTo>
                <a:lnTo>
                  <a:pt x="2562692" y="4388910"/>
                </a:lnTo>
                <a:lnTo>
                  <a:pt x="2562692" y="4397062"/>
                </a:lnTo>
                <a:lnTo>
                  <a:pt x="2565410" y="4397062"/>
                </a:lnTo>
                <a:cubicBezTo>
                  <a:pt x="2559975" y="4402498"/>
                  <a:pt x="2551822" y="4405215"/>
                  <a:pt x="2549104" y="4413368"/>
                </a:cubicBezTo>
                <a:cubicBezTo>
                  <a:pt x="2543669" y="4416086"/>
                  <a:pt x="2535516" y="4416086"/>
                  <a:pt x="2532799" y="4413368"/>
                </a:cubicBezTo>
                <a:cubicBezTo>
                  <a:pt x="2532799" y="4413368"/>
                  <a:pt x="2532799" y="4410650"/>
                  <a:pt x="2532799" y="4410650"/>
                </a:cubicBezTo>
                <a:cubicBezTo>
                  <a:pt x="2532799" y="4407933"/>
                  <a:pt x="2530081" y="4407933"/>
                  <a:pt x="2527364" y="4407933"/>
                </a:cubicBezTo>
                <a:lnTo>
                  <a:pt x="2519211" y="4407933"/>
                </a:lnTo>
                <a:cubicBezTo>
                  <a:pt x="2516493" y="4407933"/>
                  <a:pt x="2513776" y="4405215"/>
                  <a:pt x="2511058" y="4402498"/>
                </a:cubicBezTo>
                <a:cubicBezTo>
                  <a:pt x="2508341" y="4402498"/>
                  <a:pt x="2508341" y="4402498"/>
                  <a:pt x="2508341" y="4402498"/>
                </a:cubicBezTo>
                <a:cubicBezTo>
                  <a:pt x="2513776" y="4402498"/>
                  <a:pt x="2516493" y="4397062"/>
                  <a:pt x="2519211" y="4394345"/>
                </a:cubicBezTo>
                <a:cubicBezTo>
                  <a:pt x="2524646" y="4399780"/>
                  <a:pt x="2532799" y="4402498"/>
                  <a:pt x="2543669" y="4402498"/>
                </a:cubicBezTo>
                <a:lnTo>
                  <a:pt x="2535516" y="4378039"/>
                </a:lnTo>
                <a:cubicBezTo>
                  <a:pt x="2538234" y="4378039"/>
                  <a:pt x="2538234" y="4378039"/>
                  <a:pt x="2540952" y="4378039"/>
                </a:cubicBezTo>
                <a:cubicBezTo>
                  <a:pt x="2546387" y="4375322"/>
                  <a:pt x="2540952" y="4372604"/>
                  <a:pt x="2549104" y="4369886"/>
                </a:cubicBezTo>
                <a:cubicBezTo>
                  <a:pt x="2549104" y="4367169"/>
                  <a:pt x="2549104" y="4367169"/>
                  <a:pt x="2549104" y="4367169"/>
                </a:cubicBezTo>
                <a:cubicBezTo>
                  <a:pt x="2549104" y="4364451"/>
                  <a:pt x="2546387" y="4364451"/>
                  <a:pt x="2546387" y="4361734"/>
                </a:cubicBezTo>
                <a:cubicBezTo>
                  <a:pt x="2538234" y="4361734"/>
                  <a:pt x="2535516" y="4364451"/>
                  <a:pt x="2530081" y="4367169"/>
                </a:cubicBezTo>
                <a:lnTo>
                  <a:pt x="2527364" y="4364451"/>
                </a:lnTo>
                <a:lnTo>
                  <a:pt x="2519211" y="4373623"/>
                </a:lnTo>
                <a:lnTo>
                  <a:pt x="2519211" y="4372604"/>
                </a:lnTo>
                <a:cubicBezTo>
                  <a:pt x="2516493" y="4375322"/>
                  <a:pt x="2516493" y="4375322"/>
                  <a:pt x="2513776" y="4378039"/>
                </a:cubicBezTo>
                <a:lnTo>
                  <a:pt x="2515588" y="4380757"/>
                </a:lnTo>
                <a:lnTo>
                  <a:pt x="2513776" y="4388910"/>
                </a:lnTo>
                <a:cubicBezTo>
                  <a:pt x="2511058" y="4391627"/>
                  <a:pt x="2511058" y="4391627"/>
                  <a:pt x="2508341" y="4394345"/>
                </a:cubicBezTo>
                <a:cubicBezTo>
                  <a:pt x="2505623" y="4399780"/>
                  <a:pt x="2497470" y="4402498"/>
                  <a:pt x="2492035" y="4405215"/>
                </a:cubicBezTo>
                <a:cubicBezTo>
                  <a:pt x="2492035" y="4407933"/>
                  <a:pt x="2492035" y="4413368"/>
                  <a:pt x="2489317" y="4413368"/>
                </a:cubicBezTo>
                <a:cubicBezTo>
                  <a:pt x="2483882" y="4413368"/>
                  <a:pt x="2481165" y="4416086"/>
                  <a:pt x="2475729" y="4416086"/>
                </a:cubicBezTo>
                <a:cubicBezTo>
                  <a:pt x="2475729" y="4418803"/>
                  <a:pt x="2473012" y="4418803"/>
                  <a:pt x="2473012" y="4421521"/>
                </a:cubicBezTo>
                <a:cubicBezTo>
                  <a:pt x="2470294" y="4424238"/>
                  <a:pt x="2456706" y="4424238"/>
                  <a:pt x="2451271" y="4424238"/>
                </a:cubicBezTo>
                <a:cubicBezTo>
                  <a:pt x="2445836" y="4424238"/>
                  <a:pt x="2443118" y="4424238"/>
                  <a:pt x="2437683" y="4424238"/>
                </a:cubicBezTo>
                <a:cubicBezTo>
                  <a:pt x="2434965" y="4424238"/>
                  <a:pt x="2434965" y="4429674"/>
                  <a:pt x="2432248" y="4429674"/>
                </a:cubicBezTo>
                <a:cubicBezTo>
                  <a:pt x="2432248" y="4432391"/>
                  <a:pt x="2415942" y="4429674"/>
                  <a:pt x="2413225" y="4429674"/>
                </a:cubicBezTo>
                <a:cubicBezTo>
                  <a:pt x="2413225" y="4429674"/>
                  <a:pt x="2410507" y="4429674"/>
                  <a:pt x="2410507" y="4429674"/>
                </a:cubicBezTo>
                <a:cubicBezTo>
                  <a:pt x="2413225" y="4418803"/>
                  <a:pt x="2418660" y="4418803"/>
                  <a:pt x="2421377" y="4413368"/>
                </a:cubicBezTo>
                <a:cubicBezTo>
                  <a:pt x="2421377" y="4410650"/>
                  <a:pt x="2421377" y="4410650"/>
                  <a:pt x="2421377" y="4407933"/>
                </a:cubicBezTo>
                <a:cubicBezTo>
                  <a:pt x="2426813" y="4402498"/>
                  <a:pt x="2434965" y="4394345"/>
                  <a:pt x="2437683" y="4388910"/>
                </a:cubicBezTo>
                <a:cubicBezTo>
                  <a:pt x="2440401" y="4383474"/>
                  <a:pt x="2440401" y="4380757"/>
                  <a:pt x="2443118" y="4375322"/>
                </a:cubicBezTo>
                <a:cubicBezTo>
                  <a:pt x="2445836" y="4372604"/>
                  <a:pt x="2448553" y="4372604"/>
                  <a:pt x="2451271" y="4367169"/>
                </a:cubicBezTo>
                <a:cubicBezTo>
                  <a:pt x="2451271" y="4364451"/>
                  <a:pt x="2451271" y="4364451"/>
                  <a:pt x="2451271" y="4361734"/>
                </a:cubicBezTo>
                <a:cubicBezTo>
                  <a:pt x="2448553" y="4361734"/>
                  <a:pt x="2443118" y="4359016"/>
                  <a:pt x="2440401" y="4359016"/>
                </a:cubicBezTo>
                <a:cubicBezTo>
                  <a:pt x="2432248" y="4367169"/>
                  <a:pt x="2434965" y="4375322"/>
                  <a:pt x="2429530" y="4386192"/>
                </a:cubicBezTo>
                <a:cubicBezTo>
                  <a:pt x="2429530" y="4388910"/>
                  <a:pt x="2426813" y="4386192"/>
                  <a:pt x="2424095" y="4388910"/>
                </a:cubicBezTo>
                <a:cubicBezTo>
                  <a:pt x="2424095" y="4391627"/>
                  <a:pt x="2424095" y="4394345"/>
                  <a:pt x="2424095" y="4397062"/>
                </a:cubicBezTo>
                <a:cubicBezTo>
                  <a:pt x="2421377" y="4402498"/>
                  <a:pt x="2413225" y="4410650"/>
                  <a:pt x="2407789" y="4416086"/>
                </a:cubicBezTo>
                <a:cubicBezTo>
                  <a:pt x="2407789" y="4416086"/>
                  <a:pt x="2407789" y="4418803"/>
                  <a:pt x="2407789" y="4418803"/>
                </a:cubicBezTo>
                <a:cubicBezTo>
                  <a:pt x="2402354" y="4418803"/>
                  <a:pt x="2402354" y="4418803"/>
                  <a:pt x="2399637" y="4421521"/>
                </a:cubicBezTo>
                <a:cubicBezTo>
                  <a:pt x="2388766" y="4421521"/>
                  <a:pt x="2386049" y="4435109"/>
                  <a:pt x="2377896" y="4440544"/>
                </a:cubicBezTo>
                <a:cubicBezTo>
                  <a:pt x="2375178" y="4443262"/>
                  <a:pt x="2367025" y="4445979"/>
                  <a:pt x="2364308" y="4448697"/>
                </a:cubicBezTo>
                <a:cubicBezTo>
                  <a:pt x="2358873" y="4451414"/>
                  <a:pt x="2356155" y="4448697"/>
                  <a:pt x="2353437" y="4451414"/>
                </a:cubicBezTo>
                <a:cubicBezTo>
                  <a:pt x="2353437" y="4454132"/>
                  <a:pt x="2353437" y="4456850"/>
                  <a:pt x="2353437" y="4456850"/>
                </a:cubicBezTo>
                <a:cubicBezTo>
                  <a:pt x="2350720" y="4456850"/>
                  <a:pt x="2348002" y="4459567"/>
                  <a:pt x="2345285" y="4459567"/>
                </a:cubicBezTo>
                <a:cubicBezTo>
                  <a:pt x="2345285" y="4459567"/>
                  <a:pt x="2348002" y="4462285"/>
                  <a:pt x="2345285" y="4465002"/>
                </a:cubicBezTo>
                <a:cubicBezTo>
                  <a:pt x="2342567" y="4465002"/>
                  <a:pt x="2339850" y="4467720"/>
                  <a:pt x="2337132" y="4467720"/>
                </a:cubicBezTo>
                <a:cubicBezTo>
                  <a:pt x="2334414" y="4467720"/>
                  <a:pt x="2337132" y="4473155"/>
                  <a:pt x="2334414" y="4473155"/>
                </a:cubicBezTo>
                <a:cubicBezTo>
                  <a:pt x="2326262" y="4478590"/>
                  <a:pt x="2318109" y="4484026"/>
                  <a:pt x="2309955" y="4489461"/>
                </a:cubicBezTo>
                <a:cubicBezTo>
                  <a:pt x="2309955" y="4489461"/>
                  <a:pt x="2307237" y="4489461"/>
                  <a:pt x="2304520" y="4489461"/>
                </a:cubicBezTo>
                <a:cubicBezTo>
                  <a:pt x="2307237" y="4481308"/>
                  <a:pt x="2320826" y="4462285"/>
                  <a:pt x="2328979" y="4456850"/>
                </a:cubicBezTo>
                <a:cubicBezTo>
                  <a:pt x="2328979" y="4451414"/>
                  <a:pt x="2328979" y="4451414"/>
                  <a:pt x="2326262" y="4448697"/>
                </a:cubicBezTo>
                <a:cubicBezTo>
                  <a:pt x="2312673" y="4448697"/>
                  <a:pt x="2315390" y="4456850"/>
                  <a:pt x="2309955" y="4465002"/>
                </a:cubicBezTo>
                <a:cubicBezTo>
                  <a:pt x="2304520" y="4473155"/>
                  <a:pt x="2290932" y="4478590"/>
                  <a:pt x="2288214" y="4489461"/>
                </a:cubicBezTo>
                <a:cubicBezTo>
                  <a:pt x="2285497" y="4492178"/>
                  <a:pt x="2288214" y="4497614"/>
                  <a:pt x="2288214" y="4500331"/>
                </a:cubicBezTo>
                <a:cubicBezTo>
                  <a:pt x="2288214" y="4505766"/>
                  <a:pt x="2282779" y="4505766"/>
                  <a:pt x="2282779" y="4511201"/>
                </a:cubicBezTo>
                <a:cubicBezTo>
                  <a:pt x="2274626" y="4511201"/>
                  <a:pt x="2263756" y="4511201"/>
                  <a:pt x="2255603" y="4513919"/>
                </a:cubicBezTo>
                <a:cubicBezTo>
                  <a:pt x="2252886" y="4516637"/>
                  <a:pt x="2247450" y="4519354"/>
                  <a:pt x="2244733" y="4519354"/>
                </a:cubicBezTo>
                <a:cubicBezTo>
                  <a:pt x="2239298" y="4519354"/>
                  <a:pt x="2236580" y="4519354"/>
                  <a:pt x="2231145" y="4519354"/>
                </a:cubicBezTo>
                <a:cubicBezTo>
                  <a:pt x="2222992" y="4519354"/>
                  <a:pt x="2212122" y="4522072"/>
                  <a:pt x="2203969" y="4519354"/>
                </a:cubicBezTo>
                <a:cubicBezTo>
                  <a:pt x="2201251" y="4519354"/>
                  <a:pt x="2201251" y="4516637"/>
                  <a:pt x="2201251" y="4516637"/>
                </a:cubicBezTo>
                <a:cubicBezTo>
                  <a:pt x="2195816" y="4516637"/>
                  <a:pt x="2193098" y="4513919"/>
                  <a:pt x="2187663" y="4513919"/>
                </a:cubicBezTo>
                <a:cubicBezTo>
                  <a:pt x="2187663" y="4500331"/>
                  <a:pt x="2198534" y="4492178"/>
                  <a:pt x="2201251" y="4481308"/>
                </a:cubicBezTo>
                <a:cubicBezTo>
                  <a:pt x="2203969" y="4470438"/>
                  <a:pt x="2201251" y="4462285"/>
                  <a:pt x="2206686" y="4456850"/>
                </a:cubicBezTo>
                <a:cubicBezTo>
                  <a:pt x="2206686" y="4443262"/>
                  <a:pt x="2203969" y="4443262"/>
                  <a:pt x="2201251" y="4437826"/>
                </a:cubicBezTo>
                <a:cubicBezTo>
                  <a:pt x="2195816" y="4440544"/>
                  <a:pt x="2195816" y="4440544"/>
                  <a:pt x="2193098" y="4443262"/>
                </a:cubicBezTo>
                <a:cubicBezTo>
                  <a:pt x="2195816" y="4473155"/>
                  <a:pt x="2187663" y="4489461"/>
                  <a:pt x="2176793" y="4508484"/>
                </a:cubicBezTo>
                <a:cubicBezTo>
                  <a:pt x="2176793" y="4508484"/>
                  <a:pt x="2176793" y="4511201"/>
                  <a:pt x="2176793" y="4513919"/>
                </a:cubicBezTo>
                <a:cubicBezTo>
                  <a:pt x="2174075" y="4516637"/>
                  <a:pt x="2168640" y="4519354"/>
                  <a:pt x="2165922" y="4522072"/>
                </a:cubicBezTo>
                <a:cubicBezTo>
                  <a:pt x="2160487" y="4530225"/>
                  <a:pt x="2165922" y="4535660"/>
                  <a:pt x="2163205" y="4541095"/>
                </a:cubicBezTo>
                <a:cubicBezTo>
                  <a:pt x="2163205" y="4543813"/>
                  <a:pt x="2157770" y="4546530"/>
                  <a:pt x="2157770" y="4549248"/>
                </a:cubicBezTo>
                <a:cubicBezTo>
                  <a:pt x="2157770" y="4551965"/>
                  <a:pt x="2157770" y="4554683"/>
                  <a:pt x="2157770" y="4557400"/>
                </a:cubicBezTo>
                <a:cubicBezTo>
                  <a:pt x="2155052" y="4557400"/>
                  <a:pt x="2155052" y="4557400"/>
                  <a:pt x="2155052" y="4557400"/>
                </a:cubicBezTo>
                <a:cubicBezTo>
                  <a:pt x="2157770" y="4562836"/>
                  <a:pt x="2155052" y="4568271"/>
                  <a:pt x="2155052" y="4573706"/>
                </a:cubicBezTo>
                <a:cubicBezTo>
                  <a:pt x="2152334" y="4573706"/>
                  <a:pt x="2152334" y="4576424"/>
                  <a:pt x="2152334" y="4576424"/>
                </a:cubicBezTo>
                <a:cubicBezTo>
                  <a:pt x="2152334" y="4579141"/>
                  <a:pt x="2152334" y="4581859"/>
                  <a:pt x="2152334" y="4584576"/>
                </a:cubicBezTo>
                <a:cubicBezTo>
                  <a:pt x="2149617" y="4592729"/>
                  <a:pt x="2141464" y="4598164"/>
                  <a:pt x="2138747" y="4606317"/>
                </a:cubicBezTo>
                <a:cubicBezTo>
                  <a:pt x="2125159" y="4606317"/>
                  <a:pt x="2111571" y="4587294"/>
                  <a:pt x="2108853" y="4570988"/>
                </a:cubicBezTo>
                <a:cubicBezTo>
                  <a:pt x="2106135" y="4587294"/>
                  <a:pt x="2095265" y="4590012"/>
                  <a:pt x="2081677" y="4590012"/>
                </a:cubicBezTo>
                <a:cubicBezTo>
                  <a:pt x="2087112" y="4614470"/>
                  <a:pt x="2043631" y="4636211"/>
                  <a:pt x="2024608" y="4617187"/>
                </a:cubicBezTo>
                <a:cubicBezTo>
                  <a:pt x="2005584" y="4641646"/>
                  <a:pt x="1981126" y="4655234"/>
                  <a:pt x="1951233" y="4663386"/>
                </a:cubicBezTo>
                <a:cubicBezTo>
                  <a:pt x="1945797" y="4663386"/>
                  <a:pt x="1940362" y="4660669"/>
                  <a:pt x="1934927" y="4660669"/>
                </a:cubicBezTo>
                <a:cubicBezTo>
                  <a:pt x="1929492" y="4641646"/>
                  <a:pt x="1924057" y="4619905"/>
                  <a:pt x="1921339" y="4600882"/>
                </a:cubicBezTo>
                <a:cubicBezTo>
                  <a:pt x="1921339" y="4592729"/>
                  <a:pt x="1924057" y="4584576"/>
                  <a:pt x="1924057" y="4576424"/>
                </a:cubicBezTo>
                <a:lnTo>
                  <a:pt x="1897901" y="4583897"/>
                </a:lnTo>
                <a:cubicBezTo>
                  <a:pt x="1889408" y="4586615"/>
                  <a:pt x="1880576" y="4588653"/>
                  <a:pt x="1869705" y="4587295"/>
                </a:cubicBezTo>
                <a:cubicBezTo>
                  <a:pt x="1869705" y="4584577"/>
                  <a:pt x="1869705" y="4581860"/>
                  <a:pt x="1869705" y="4579142"/>
                </a:cubicBezTo>
                <a:cubicBezTo>
                  <a:pt x="1872423" y="4568272"/>
                  <a:pt x="1866988" y="4551966"/>
                  <a:pt x="1869705" y="4546531"/>
                </a:cubicBezTo>
                <a:cubicBezTo>
                  <a:pt x="1875140" y="4535661"/>
                  <a:pt x="1902316" y="4532943"/>
                  <a:pt x="1913187" y="4527508"/>
                </a:cubicBezTo>
                <a:lnTo>
                  <a:pt x="1916190" y="4527508"/>
                </a:lnTo>
                <a:lnTo>
                  <a:pt x="1915904" y="4522072"/>
                </a:lnTo>
                <a:cubicBezTo>
                  <a:pt x="1924057" y="4519354"/>
                  <a:pt x="1926774" y="4516637"/>
                  <a:pt x="1932209" y="4513919"/>
                </a:cubicBezTo>
                <a:cubicBezTo>
                  <a:pt x="1940362" y="4513919"/>
                  <a:pt x="1945797" y="4511201"/>
                  <a:pt x="1953950" y="4511201"/>
                </a:cubicBezTo>
                <a:cubicBezTo>
                  <a:pt x="1953950" y="4508484"/>
                  <a:pt x="1956668" y="4508484"/>
                  <a:pt x="1956668" y="4505766"/>
                </a:cubicBezTo>
                <a:cubicBezTo>
                  <a:pt x="1962103" y="4505766"/>
                  <a:pt x="1964821" y="4503049"/>
                  <a:pt x="1970256" y="4503049"/>
                </a:cubicBezTo>
                <a:cubicBezTo>
                  <a:pt x="1972973" y="4500331"/>
                  <a:pt x="1970256" y="4497614"/>
                  <a:pt x="1972973" y="4497614"/>
                </a:cubicBezTo>
                <a:cubicBezTo>
                  <a:pt x="1975691" y="4497614"/>
                  <a:pt x="1981126" y="4494896"/>
                  <a:pt x="1983844" y="4494896"/>
                </a:cubicBezTo>
                <a:cubicBezTo>
                  <a:pt x="1986561" y="4494896"/>
                  <a:pt x="1986561" y="4492178"/>
                  <a:pt x="1989279" y="4489461"/>
                </a:cubicBezTo>
                <a:cubicBezTo>
                  <a:pt x="1991997" y="4489461"/>
                  <a:pt x="1994714" y="4489461"/>
                  <a:pt x="1997432" y="4489461"/>
                </a:cubicBezTo>
                <a:cubicBezTo>
                  <a:pt x="1997432" y="4486743"/>
                  <a:pt x="1997432" y="4486743"/>
                  <a:pt x="1997432" y="4484026"/>
                </a:cubicBezTo>
                <a:cubicBezTo>
                  <a:pt x="2000149" y="4484026"/>
                  <a:pt x="2000149" y="4484026"/>
                  <a:pt x="2002867" y="4484026"/>
                </a:cubicBezTo>
                <a:cubicBezTo>
                  <a:pt x="2002867" y="4481308"/>
                  <a:pt x="2002867" y="4478590"/>
                  <a:pt x="2005584" y="4475873"/>
                </a:cubicBezTo>
                <a:lnTo>
                  <a:pt x="2008303" y="4475873"/>
                </a:lnTo>
                <a:cubicBezTo>
                  <a:pt x="2008303" y="4470438"/>
                  <a:pt x="2008303" y="4473155"/>
                  <a:pt x="2013738" y="4470438"/>
                </a:cubicBezTo>
                <a:cubicBezTo>
                  <a:pt x="2013738" y="4470438"/>
                  <a:pt x="2013738" y="4467720"/>
                  <a:pt x="2016455" y="4465002"/>
                </a:cubicBezTo>
                <a:cubicBezTo>
                  <a:pt x="2016455" y="4462285"/>
                  <a:pt x="2016455" y="4462285"/>
                  <a:pt x="2016455" y="4462285"/>
                </a:cubicBezTo>
                <a:cubicBezTo>
                  <a:pt x="2016455" y="4456850"/>
                  <a:pt x="2013738" y="4456850"/>
                  <a:pt x="2011020" y="4454132"/>
                </a:cubicBezTo>
                <a:cubicBezTo>
                  <a:pt x="2011020" y="4451414"/>
                  <a:pt x="2016455" y="4443262"/>
                  <a:pt x="2019173" y="4440544"/>
                </a:cubicBezTo>
                <a:cubicBezTo>
                  <a:pt x="2021890" y="4440544"/>
                  <a:pt x="2021890" y="4440544"/>
                  <a:pt x="2024608" y="4440544"/>
                </a:cubicBezTo>
                <a:cubicBezTo>
                  <a:pt x="2030043" y="4435109"/>
                  <a:pt x="2038196" y="4424238"/>
                  <a:pt x="2043631" y="4416086"/>
                </a:cubicBezTo>
                <a:cubicBezTo>
                  <a:pt x="2046349" y="4407933"/>
                  <a:pt x="2043631" y="4397062"/>
                  <a:pt x="2049066" y="4388910"/>
                </a:cubicBezTo>
                <a:cubicBezTo>
                  <a:pt x="2049066" y="4383474"/>
                  <a:pt x="2046349" y="4383474"/>
                  <a:pt x="2046349" y="4378039"/>
                </a:cubicBezTo>
                <a:cubicBezTo>
                  <a:pt x="2040914" y="4380757"/>
                  <a:pt x="2038196" y="4380757"/>
                  <a:pt x="2035478" y="4383474"/>
                </a:cubicBezTo>
                <a:cubicBezTo>
                  <a:pt x="2035478" y="4388910"/>
                  <a:pt x="2032761" y="4397062"/>
                  <a:pt x="2032761" y="4405215"/>
                </a:cubicBezTo>
                <a:cubicBezTo>
                  <a:pt x="2030043" y="4418803"/>
                  <a:pt x="2013738" y="4432391"/>
                  <a:pt x="2000150" y="4435109"/>
                </a:cubicBezTo>
                <a:cubicBezTo>
                  <a:pt x="2000150" y="4432391"/>
                  <a:pt x="1997432" y="4432391"/>
                  <a:pt x="1994715" y="4429674"/>
                </a:cubicBezTo>
                <a:cubicBezTo>
                  <a:pt x="1994715" y="4407933"/>
                  <a:pt x="1986562" y="4380757"/>
                  <a:pt x="2000150" y="4367169"/>
                </a:cubicBezTo>
                <a:cubicBezTo>
                  <a:pt x="2002867" y="4367169"/>
                  <a:pt x="2008303" y="4369886"/>
                  <a:pt x="2011020" y="4367169"/>
                </a:cubicBezTo>
                <a:cubicBezTo>
                  <a:pt x="2024608" y="4367169"/>
                  <a:pt x="2024608" y="4350863"/>
                  <a:pt x="2040914" y="4350863"/>
                </a:cubicBezTo>
                <a:cubicBezTo>
                  <a:pt x="2043631" y="4348146"/>
                  <a:pt x="2043631" y="4345428"/>
                  <a:pt x="2046349" y="4342711"/>
                </a:cubicBezTo>
                <a:cubicBezTo>
                  <a:pt x="2046349" y="4337275"/>
                  <a:pt x="2046349" y="4337275"/>
                  <a:pt x="2046349" y="4334558"/>
                </a:cubicBezTo>
                <a:cubicBezTo>
                  <a:pt x="2032761" y="4331840"/>
                  <a:pt x="2024608" y="4339993"/>
                  <a:pt x="2016455" y="4345428"/>
                </a:cubicBezTo>
                <a:cubicBezTo>
                  <a:pt x="2011020" y="4345428"/>
                  <a:pt x="2008303" y="4345428"/>
                  <a:pt x="2005585" y="4342711"/>
                </a:cubicBezTo>
                <a:cubicBezTo>
                  <a:pt x="2005585" y="4339993"/>
                  <a:pt x="2005585" y="4337275"/>
                  <a:pt x="2008303" y="4334558"/>
                </a:cubicBezTo>
                <a:cubicBezTo>
                  <a:pt x="2008303" y="4329123"/>
                  <a:pt x="2008303" y="4323687"/>
                  <a:pt x="2008303" y="4320970"/>
                </a:cubicBezTo>
                <a:cubicBezTo>
                  <a:pt x="1989279" y="4320970"/>
                  <a:pt x="1994715" y="4348146"/>
                  <a:pt x="1989279" y="4364451"/>
                </a:cubicBezTo>
                <a:cubicBezTo>
                  <a:pt x="1986562" y="4375322"/>
                  <a:pt x="1978409" y="4391627"/>
                  <a:pt x="1978409" y="4405215"/>
                </a:cubicBezTo>
                <a:cubicBezTo>
                  <a:pt x="1978409" y="4413368"/>
                  <a:pt x="1981127" y="4421521"/>
                  <a:pt x="1981127" y="4426956"/>
                </a:cubicBezTo>
                <a:cubicBezTo>
                  <a:pt x="1981127" y="4429674"/>
                  <a:pt x="1981127" y="4429674"/>
                  <a:pt x="1981127" y="4432391"/>
                </a:cubicBezTo>
                <a:cubicBezTo>
                  <a:pt x="1986562" y="4440544"/>
                  <a:pt x="1997432" y="4456850"/>
                  <a:pt x="1997432" y="4465002"/>
                </a:cubicBezTo>
                <a:cubicBezTo>
                  <a:pt x="1994715" y="4473155"/>
                  <a:pt x="1986562" y="4478590"/>
                  <a:pt x="1981127" y="4486743"/>
                </a:cubicBezTo>
                <a:cubicBezTo>
                  <a:pt x="1975691" y="4486743"/>
                  <a:pt x="1967539" y="4486743"/>
                  <a:pt x="1962103" y="4486743"/>
                </a:cubicBezTo>
                <a:cubicBezTo>
                  <a:pt x="1962103" y="4467720"/>
                  <a:pt x="1964821" y="4448697"/>
                  <a:pt x="1962103" y="4432391"/>
                </a:cubicBezTo>
                <a:cubicBezTo>
                  <a:pt x="1962103" y="4432391"/>
                  <a:pt x="1959386" y="4424238"/>
                  <a:pt x="1959386" y="4418803"/>
                </a:cubicBezTo>
                <a:cubicBezTo>
                  <a:pt x="1964821" y="4391627"/>
                  <a:pt x="1967539" y="4345428"/>
                  <a:pt x="1967539" y="4312817"/>
                </a:cubicBezTo>
                <a:cubicBezTo>
                  <a:pt x="1978409" y="4304664"/>
                  <a:pt x="1989279" y="4293794"/>
                  <a:pt x="2002867" y="4285641"/>
                </a:cubicBezTo>
                <a:cubicBezTo>
                  <a:pt x="2005585" y="4282924"/>
                  <a:pt x="2008303" y="4277488"/>
                  <a:pt x="2011020" y="4274771"/>
                </a:cubicBezTo>
                <a:cubicBezTo>
                  <a:pt x="2011020" y="4274771"/>
                  <a:pt x="2011020" y="4277488"/>
                  <a:pt x="2011020" y="4277488"/>
                </a:cubicBezTo>
                <a:cubicBezTo>
                  <a:pt x="2013738" y="4280206"/>
                  <a:pt x="2021890" y="4274771"/>
                  <a:pt x="2027326" y="4277488"/>
                </a:cubicBezTo>
                <a:cubicBezTo>
                  <a:pt x="2040914" y="4280206"/>
                  <a:pt x="2070807" y="4285641"/>
                  <a:pt x="2078960" y="4280206"/>
                </a:cubicBezTo>
                <a:cubicBezTo>
                  <a:pt x="2084395" y="4280206"/>
                  <a:pt x="2081677" y="4280206"/>
                  <a:pt x="2084395" y="4282924"/>
                </a:cubicBezTo>
                <a:cubicBezTo>
                  <a:pt x="2087113" y="4282924"/>
                  <a:pt x="2076242" y="4304664"/>
                  <a:pt x="2076242" y="4310099"/>
                </a:cubicBezTo>
                <a:cubicBezTo>
                  <a:pt x="2076242" y="4315535"/>
                  <a:pt x="2078960" y="4334558"/>
                  <a:pt x="2076242" y="4342711"/>
                </a:cubicBezTo>
                <a:cubicBezTo>
                  <a:pt x="2076242" y="4348146"/>
                  <a:pt x="2070807" y="4356299"/>
                  <a:pt x="2073525" y="4364451"/>
                </a:cubicBezTo>
                <a:cubicBezTo>
                  <a:pt x="2076242" y="4372604"/>
                  <a:pt x="2081677" y="4375322"/>
                  <a:pt x="2084395" y="4380757"/>
                </a:cubicBezTo>
                <a:cubicBezTo>
                  <a:pt x="2087113" y="4386192"/>
                  <a:pt x="2087113" y="4394345"/>
                  <a:pt x="2089830" y="4397062"/>
                </a:cubicBezTo>
                <a:cubicBezTo>
                  <a:pt x="2089830" y="4418803"/>
                  <a:pt x="2073525" y="4421521"/>
                  <a:pt x="2062654" y="4429674"/>
                </a:cubicBezTo>
                <a:cubicBezTo>
                  <a:pt x="2057219" y="4432392"/>
                  <a:pt x="2053822" y="4437827"/>
                  <a:pt x="2050765" y="4443602"/>
                </a:cubicBezTo>
                <a:lnTo>
                  <a:pt x="2048348" y="4447518"/>
                </a:lnTo>
                <a:lnTo>
                  <a:pt x="2049066" y="4447338"/>
                </a:lnTo>
                <a:cubicBezTo>
                  <a:pt x="2051104" y="4447338"/>
                  <a:pt x="2053142" y="4447338"/>
                  <a:pt x="2054501" y="4445979"/>
                </a:cubicBezTo>
                <a:cubicBezTo>
                  <a:pt x="2059936" y="4443262"/>
                  <a:pt x="2059936" y="4435109"/>
                  <a:pt x="2065372" y="4432391"/>
                </a:cubicBezTo>
                <a:cubicBezTo>
                  <a:pt x="2070807" y="4429674"/>
                  <a:pt x="2078960" y="4426956"/>
                  <a:pt x="2081677" y="4421521"/>
                </a:cubicBezTo>
                <a:cubicBezTo>
                  <a:pt x="2092547" y="4407933"/>
                  <a:pt x="2106135" y="4394345"/>
                  <a:pt x="2114288" y="4380757"/>
                </a:cubicBezTo>
                <a:cubicBezTo>
                  <a:pt x="2117005" y="4375322"/>
                  <a:pt x="2119044" y="4369886"/>
                  <a:pt x="2121422" y="4364791"/>
                </a:cubicBezTo>
                <a:lnTo>
                  <a:pt x="2130422" y="4351125"/>
                </a:lnTo>
                <a:lnTo>
                  <a:pt x="2136029" y="4341012"/>
                </a:lnTo>
                <a:cubicBezTo>
                  <a:pt x="2143502" y="4329802"/>
                  <a:pt x="2152334" y="4318252"/>
                  <a:pt x="2163205" y="4304664"/>
                </a:cubicBezTo>
                <a:cubicBezTo>
                  <a:pt x="2163205" y="4301946"/>
                  <a:pt x="2163205" y="4299229"/>
                  <a:pt x="2163205" y="4296511"/>
                </a:cubicBezTo>
                <a:cubicBezTo>
                  <a:pt x="2160487" y="4296511"/>
                  <a:pt x="2157770" y="4296511"/>
                  <a:pt x="2155052" y="4296511"/>
                </a:cubicBezTo>
                <a:cubicBezTo>
                  <a:pt x="2136029" y="4318252"/>
                  <a:pt x="2119723" y="4339993"/>
                  <a:pt x="2106135" y="4364451"/>
                </a:cubicBezTo>
                <a:cubicBezTo>
                  <a:pt x="2100700" y="4364451"/>
                  <a:pt x="2097982" y="4361733"/>
                  <a:pt x="2095265" y="4361733"/>
                </a:cubicBezTo>
                <a:cubicBezTo>
                  <a:pt x="2092547" y="4353581"/>
                  <a:pt x="2095265" y="4315534"/>
                  <a:pt x="2100700" y="4304664"/>
                </a:cubicBezTo>
                <a:cubicBezTo>
                  <a:pt x="2100700" y="4301946"/>
                  <a:pt x="2106135" y="4301946"/>
                  <a:pt x="2106135" y="4299229"/>
                </a:cubicBezTo>
                <a:cubicBezTo>
                  <a:pt x="2106135" y="4293794"/>
                  <a:pt x="2108853" y="4285641"/>
                  <a:pt x="2111570" y="4277488"/>
                </a:cubicBezTo>
                <a:cubicBezTo>
                  <a:pt x="2119723" y="4277488"/>
                  <a:pt x="2133311" y="4280206"/>
                  <a:pt x="2138746" y="4277488"/>
                </a:cubicBezTo>
                <a:cubicBezTo>
                  <a:pt x="2141464" y="4277488"/>
                  <a:pt x="2141464" y="4272053"/>
                  <a:pt x="2144182" y="4272053"/>
                </a:cubicBezTo>
                <a:cubicBezTo>
                  <a:pt x="2152334" y="4269335"/>
                  <a:pt x="2163205" y="4274770"/>
                  <a:pt x="2168640" y="4269335"/>
                </a:cubicBezTo>
                <a:cubicBezTo>
                  <a:pt x="2171358" y="4269335"/>
                  <a:pt x="2171358" y="4263900"/>
                  <a:pt x="2174075" y="4263900"/>
                </a:cubicBezTo>
                <a:cubicBezTo>
                  <a:pt x="2179510" y="4261182"/>
                  <a:pt x="2193098" y="4266618"/>
                  <a:pt x="2203969" y="4263900"/>
                </a:cubicBezTo>
                <a:cubicBezTo>
                  <a:pt x="2214839" y="4261182"/>
                  <a:pt x="2225709" y="4258465"/>
                  <a:pt x="2233862" y="4253030"/>
                </a:cubicBezTo>
                <a:cubicBezTo>
                  <a:pt x="2233862" y="4253030"/>
                  <a:pt x="2236580" y="4253030"/>
                  <a:pt x="2239297" y="4253030"/>
                </a:cubicBezTo>
                <a:lnTo>
                  <a:pt x="2234176" y="4266349"/>
                </a:lnTo>
                <a:lnTo>
                  <a:pt x="2246431" y="4265259"/>
                </a:lnTo>
                <a:cubicBezTo>
                  <a:pt x="2250847" y="4265938"/>
                  <a:pt x="2254244" y="4267977"/>
                  <a:pt x="2255603" y="4272053"/>
                </a:cubicBezTo>
                <a:cubicBezTo>
                  <a:pt x="2269191" y="4272053"/>
                  <a:pt x="2285497" y="4272053"/>
                  <a:pt x="2299085" y="4272053"/>
                </a:cubicBezTo>
                <a:cubicBezTo>
                  <a:pt x="2307237" y="4274771"/>
                  <a:pt x="2307237" y="4282923"/>
                  <a:pt x="2320826" y="4280206"/>
                </a:cubicBezTo>
                <a:cubicBezTo>
                  <a:pt x="2331697" y="4277488"/>
                  <a:pt x="2328979" y="4274771"/>
                  <a:pt x="2334414" y="4272053"/>
                </a:cubicBezTo>
                <a:cubicBezTo>
                  <a:pt x="2339850" y="4272053"/>
                  <a:pt x="2342567" y="4272053"/>
                  <a:pt x="2348002" y="4272053"/>
                </a:cubicBezTo>
                <a:cubicBezTo>
                  <a:pt x="2353437" y="4269335"/>
                  <a:pt x="2356155" y="4263900"/>
                  <a:pt x="2358873" y="4263900"/>
                </a:cubicBezTo>
                <a:cubicBezTo>
                  <a:pt x="2369743" y="4263900"/>
                  <a:pt x="2377896" y="4263900"/>
                  <a:pt x="2388766" y="4263900"/>
                </a:cubicBezTo>
                <a:cubicBezTo>
                  <a:pt x="2391484" y="4263900"/>
                  <a:pt x="2399637" y="4263900"/>
                  <a:pt x="2402354" y="4266618"/>
                </a:cubicBezTo>
                <a:cubicBezTo>
                  <a:pt x="2405072" y="4269335"/>
                  <a:pt x="2405072" y="4272053"/>
                  <a:pt x="2407789" y="4274771"/>
                </a:cubicBezTo>
                <a:cubicBezTo>
                  <a:pt x="2410507" y="4274771"/>
                  <a:pt x="2413225" y="4274771"/>
                  <a:pt x="2415942" y="4274771"/>
                </a:cubicBezTo>
                <a:cubicBezTo>
                  <a:pt x="2415942" y="4274771"/>
                  <a:pt x="2415942" y="4280206"/>
                  <a:pt x="2418660" y="4280206"/>
                </a:cubicBezTo>
                <a:cubicBezTo>
                  <a:pt x="2424095" y="4282923"/>
                  <a:pt x="2459424" y="4280206"/>
                  <a:pt x="2462141" y="4280206"/>
                </a:cubicBezTo>
                <a:cubicBezTo>
                  <a:pt x="2470294" y="4277488"/>
                  <a:pt x="2489317" y="4282923"/>
                  <a:pt x="2494753" y="4280206"/>
                </a:cubicBezTo>
                <a:cubicBezTo>
                  <a:pt x="2500188" y="4277488"/>
                  <a:pt x="2497470" y="4272053"/>
                  <a:pt x="2500188" y="4266618"/>
                </a:cubicBezTo>
                <a:cubicBezTo>
                  <a:pt x="2502905" y="4261183"/>
                  <a:pt x="2511058" y="4255747"/>
                  <a:pt x="2516493" y="4247595"/>
                </a:cubicBezTo>
                <a:cubicBezTo>
                  <a:pt x="2519211" y="4247595"/>
                  <a:pt x="2549104" y="4247595"/>
                  <a:pt x="2551822" y="4250312"/>
                </a:cubicBezTo>
                <a:cubicBezTo>
                  <a:pt x="2554540" y="4250312"/>
                  <a:pt x="2554540" y="4255747"/>
                  <a:pt x="2557257" y="4255747"/>
                </a:cubicBezTo>
                <a:lnTo>
                  <a:pt x="2565037" y="4257807"/>
                </a:lnTo>
                <a:lnTo>
                  <a:pt x="2551822" y="4266618"/>
                </a:lnTo>
                <a:lnTo>
                  <a:pt x="2551822" y="4280206"/>
                </a:lnTo>
                <a:cubicBezTo>
                  <a:pt x="2554540" y="4293794"/>
                  <a:pt x="2559975" y="4304664"/>
                  <a:pt x="2559975" y="4320970"/>
                </a:cubicBezTo>
                <a:lnTo>
                  <a:pt x="2573563" y="4320970"/>
                </a:lnTo>
                <a:lnTo>
                  <a:pt x="2565410" y="4337275"/>
                </a:lnTo>
                <a:lnTo>
                  <a:pt x="2557257" y="4339993"/>
                </a:lnTo>
                <a:cubicBezTo>
                  <a:pt x="2557257" y="4339993"/>
                  <a:pt x="2557257" y="4342710"/>
                  <a:pt x="2557257" y="4345428"/>
                </a:cubicBezTo>
                <a:cubicBezTo>
                  <a:pt x="2557257" y="4345428"/>
                  <a:pt x="2554540" y="4348146"/>
                  <a:pt x="2554540" y="4348146"/>
                </a:cubicBezTo>
                <a:lnTo>
                  <a:pt x="2565410" y="4359016"/>
                </a:lnTo>
                <a:lnTo>
                  <a:pt x="2565410" y="4337275"/>
                </a:lnTo>
                <a:lnTo>
                  <a:pt x="2581715" y="4345428"/>
                </a:lnTo>
                <a:lnTo>
                  <a:pt x="2573563" y="4323687"/>
                </a:lnTo>
                <a:lnTo>
                  <a:pt x="2581715" y="4307382"/>
                </a:lnTo>
                <a:lnTo>
                  <a:pt x="2606174" y="4304664"/>
                </a:lnTo>
                <a:lnTo>
                  <a:pt x="2589868" y="4291076"/>
                </a:lnTo>
                <a:lnTo>
                  <a:pt x="2581715" y="4307382"/>
                </a:lnTo>
                <a:lnTo>
                  <a:pt x="2557257" y="4291076"/>
                </a:lnTo>
                <a:lnTo>
                  <a:pt x="2573563" y="4269335"/>
                </a:lnTo>
                <a:lnTo>
                  <a:pt x="2611609" y="4282923"/>
                </a:lnTo>
                <a:lnTo>
                  <a:pt x="2625197" y="4272053"/>
                </a:lnTo>
                <a:lnTo>
                  <a:pt x="2608891" y="4253030"/>
                </a:lnTo>
                <a:cubicBezTo>
                  <a:pt x="2600738" y="4253030"/>
                  <a:pt x="2593944" y="4253030"/>
                  <a:pt x="2587490" y="4253370"/>
                </a:cubicBezTo>
                <a:lnTo>
                  <a:pt x="2584433" y="4253745"/>
                </a:lnTo>
                <a:lnTo>
                  <a:pt x="2584433" y="4250312"/>
                </a:lnTo>
                <a:cubicBezTo>
                  <a:pt x="2570845" y="4247595"/>
                  <a:pt x="2540952" y="4242160"/>
                  <a:pt x="2532799" y="4234007"/>
                </a:cubicBezTo>
                <a:cubicBezTo>
                  <a:pt x="2530081" y="4234007"/>
                  <a:pt x="2530081" y="4234007"/>
                  <a:pt x="2530081" y="4234007"/>
                </a:cubicBezTo>
                <a:cubicBezTo>
                  <a:pt x="2546387" y="4225854"/>
                  <a:pt x="2549104" y="4209548"/>
                  <a:pt x="2573563" y="4209548"/>
                </a:cubicBezTo>
                <a:cubicBezTo>
                  <a:pt x="2573563" y="4206831"/>
                  <a:pt x="2573563" y="4206831"/>
                  <a:pt x="2576280" y="4204113"/>
                </a:cubicBezTo>
                <a:cubicBezTo>
                  <a:pt x="2576280" y="4201396"/>
                  <a:pt x="2576280" y="4198678"/>
                  <a:pt x="2576280" y="4195961"/>
                </a:cubicBezTo>
                <a:cubicBezTo>
                  <a:pt x="2574921" y="4195961"/>
                  <a:pt x="2570166" y="4197320"/>
                  <a:pt x="2565410" y="4199018"/>
                </a:cubicBezTo>
                <a:lnTo>
                  <a:pt x="2563413" y="4199955"/>
                </a:lnTo>
                <a:lnTo>
                  <a:pt x="2562691" y="4201397"/>
                </a:lnTo>
                <a:lnTo>
                  <a:pt x="2561155" y="4201013"/>
                </a:lnTo>
                <a:lnTo>
                  <a:pt x="2554540" y="4204113"/>
                </a:lnTo>
                <a:cubicBezTo>
                  <a:pt x="2554540" y="4206831"/>
                  <a:pt x="2554540" y="4206831"/>
                  <a:pt x="2554540" y="4209548"/>
                </a:cubicBezTo>
                <a:cubicBezTo>
                  <a:pt x="2551822" y="4209548"/>
                  <a:pt x="2546387" y="4212266"/>
                  <a:pt x="2543669" y="4212266"/>
                </a:cubicBezTo>
                <a:cubicBezTo>
                  <a:pt x="2540952" y="4214984"/>
                  <a:pt x="2540952" y="4217701"/>
                  <a:pt x="2538234" y="4220419"/>
                </a:cubicBezTo>
                <a:cubicBezTo>
                  <a:pt x="2538234" y="4220419"/>
                  <a:pt x="2535516" y="4220419"/>
                  <a:pt x="2532799" y="4220419"/>
                </a:cubicBezTo>
                <a:cubicBezTo>
                  <a:pt x="2532799" y="4223136"/>
                  <a:pt x="2532799" y="4223136"/>
                  <a:pt x="2532799" y="4225854"/>
                </a:cubicBezTo>
                <a:cubicBezTo>
                  <a:pt x="2530081" y="4225854"/>
                  <a:pt x="2527364" y="4228572"/>
                  <a:pt x="2524646" y="4228572"/>
                </a:cubicBezTo>
                <a:cubicBezTo>
                  <a:pt x="2521928" y="4228572"/>
                  <a:pt x="2521928" y="4234007"/>
                  <a:pt x="2521928" y="4234007"/>
                </a:cubicBezTo>
                <a:cubicBezTo>
                  <a:pt x="2519211" y="4234007"/>
                  <a:pt x="2513776" y="4236724"/>
                  <a:pt x="2511058" y="4236724"/>
                </a:cubicBezTo>
                <a:cubicBezTo>
                  <a:pt x="2511058" y="4236724"/>
                  <a:pt x="2511058" y="4239442"/>
                  <a:pt x="2511058" y="4242160"/>
                </a:cubicBezTo>
                <a:cubicBezTo>
                  <a:pt x="2505623" y="4250312"/>
                  <a:pt x="2494753" y="4258465"/>
                  <a:pt x="2489317" y="4266618"/>
                </a:cubicBezTo>
                <a:cubicBezTo>
                  <a:pt x="2483882" y="4269335"/>
                  <a:pt x="2478447" y="4269335"/>
                  <a:pt x="2473012" y="4272053"/>
                </a:cubicBezTo>
                <a:cubicBezTo>
                  <a:pt x="2470294" y="4272053"/>
                  <a:pt x="2470294" y="4269335"/>
                  <a:pt x="2467577" y="4269335"/>
                </a:cubicBezTo>
                <a:cubicBezTo>
                  <a:pt x="2462141" y="4269335"/>
                  <a:pt x="2462141" y="4274771"/>
                  <a:pt x="2459424" y="4269335"/>
                </a:cubicBezTo>
                <a:cubicBezTo>
                  <a:pt x="2448553" y="4266618"/>
                  <a:pt x="2443118" y="4266618"/>
                  <a:pt x="2432248" y="4261183"/>
                </a:cubicBezTo>
                <a:cubicBezTo>
                  <a:pt x="2432248" y="4258465"/>
                  <a:pt x="2432248" y="4258465"/>
                  <a:pt x="2432248" y="4255747"/>
                </a:cubicBezTo>
                <a:cubicBezTo>
                  <a:pt x="2441759" y="4253030"/>
                  <a:pt x="2450592" y="4250992"/>
                  <a:pt x="2458745" y="4248274"/>
                </a:cubicBezTo>
                <a:lnTo>
                  <a:pt x="2477263" y="4238734"/>
                </a:lnTo>
                <a:lnTo>
                  <a:pt x="2473012" y="4239443"/>
                </a:lnTo>
                <a:cubicBezTo>
                  <a:pt x="2470295" y="4239443"/>
                  <a:pt x="2467577" y="4244878"/>
                  <a:pt x="2464859" y="4244878"/>
                </a:cubicBezTo>
                <a:cubicBezTo>
                  <a:pt x="2453989" y="4247595"/>
                  <a:pt x="2451271" y="4242160"/>
                  <a:pt x="2445836" y="4239443"/>
                </a:cubicBezTo>
                <a:cubicBezTo>
                  <a:pt x="2434966" y="4236725"/>
                  <a:pt x="2424095" y="4239443"/>
                  <a:pt x="2415943" y="4239443"/>
                </a:cubicBezTo>
                <a:cubicBezTo>
                  <a:pt x="2421378" y="4225855"/>
                  <a:pt x="2432248" y="4223137"/>
                  <a:pt x="2443119" y="4214984"/>
                </a:cubicBezTo>
                <a:cubicBezTo>
                  <a:pt x="2443119" y="4214984"/>
                  <a:pt x="2445836" y="4212267"/>
                  <a:pt x="2445836" y="4209549"/>
                </a:cubicBezTo>
                <a:cubicBezTo>
                  <a:pt x="2448554" y="4209549"/>
                  <a:pt x="2451271" y="4206831"/>
                  <a:pt x="2453989" y="4206831"/>
                </a:cubicBezTo>
                <a:cubicBezTo>
                  <a:pt x="2456707" y="4204114"/>
                  <a:pt x="2462142" y="4195961"/>
                  <a:pt x="2470295" y="4198679"/>
                </a:cubicBezTo>
                <a:cubicBezTo>
                  <a:pt x="2473012" y="4201396"/>
                  <a:pt x="2473012" y="4204114"/>
                  <a:pt x="2475730" y="4206831"/>
                </a:cubicBezTo>
                <a:cubicBezTo>
                  <a:pt x="2481165" y="4209549"/>
                  <a:pt x="2486600" y="4209549"/>
                  <a:pt x="2492035" y="4212267"/>
                </a:cubicBezTo>
                <a:cubicBezTo>
                  <a:pt x="2492035" y="4212267"/>
                  <a:pt x="2492035" y="4214984"/>
                  <a:pt x="2492035" y="4214984"/>
                </a:cubicBezTo>
                <a:cubicBezTo>
                  <a:pt x="2494753" y="4214984"/>
                  <a:pt x="2500188" y="4217702"/>
                  <a:pt x="2502906" y="4217702"/>
                </a:cubicBezTo>
                <a:lnTo>
                  <a:pt x="2502906" y="4223136"/>
                </a:lnTo>
                <a:lnTo>
                  <a:pt x="2505623" y="4223136"/>
                </a:lnTo>
                <a:cubicBezTo>
                  <a:pt x="2505623" y="4223136"/>
                  <a:pt x="2508341" y="4220419"/>
                  <a:pt x="2508341" y="4217701"/>
                </a:cubicBezTo>
                <a:cubicBezTo>
                  <a:pt x="2511058" y="4214984"/>
                  <a:pt x="2513776" y="4217701"/>
                  <a:pt x="2516493" y="4214984"/>
                </a:cubicBezTo>
                <a:lnTo>
                  <a:pt x="2516493" y="4213044"/>
                </a:lnTo>
                <a:lnTo>
                  <a:pt x="2505622" y="4206832"/>
                </a:lnTo>
                <a:cubicBezTo>
                  <a:pt x="2505622" y="4206832"/>
                  <a:pt x="2505622" y="4204114"/>
                  <a:pt x="2505622" y="4204114"/>
                </a:cubicBezTo>
                <a:cubicBezTo>
                  <a:pt x="2500186" y="4204114"/>
                  <a:pt x="2497469" y="4201397"/>
                  <a:pt x="2492034" y="4201397"/>
                </a:cubicBezTo>
                <a:cubicBezTo>
                  <a:pt x="2492034" y="4198679"/>
                  <a:pt x="2492034" y="4198679"/>
                  <a:pt x="2492034" y="4195962"/>
                </a:cubicBezTo>
                <a:cubicBezTo>
                  <a:pt x="2489316" y="4195962"/>
                  <a:pt x="2486598" y="4193244"/>
                  <a:pt x="2483881" y="4193244"/>
                </a:cubicBezTo>
                <a:cubicBezTo>
                  <a:pt x="2481163" y="4190527"/>
                  <a:pt x="2481163" y="4190527"/>
                  <a:pt x="2481163" y="4187809"/>
                </a:cubicBezTo>
                <a:cubicBezTo>
                  <a:pt x="2486598" y="4187809"/>
                  <a:pt x="2492034" y="4187809"/>
                  <a:pt x="2497469" y="4185091"/>
                </a:cubicBezTo>
                <a:cubicBezTo>
                  <a:pt x="2497469" y="4185091"/>
                  <a:pt x="2500186" y="4182374"/>
                  <a:pt x="2500186" y="4182374"/>
                </a:cubicBezTo>
                <a:cubicBezTo>
                  <a:pt x="2511057" y="4179656"/>
                  <a:pt x="2527362" y="4185091"/>
                  <a:pt x="2532797" y="4182374"/>
                </a:cubicBezTo>
                <a:cubicBezTo>
                  <a:pt x="2532797" y="4182374"/>
                  <a:pt x="2535515" y="4182374"/>
                  <a:pt x="2535515" y="4182374"/>
                </a:cubicBezTo>
                <a:lnTo>
                  <a:pt x="2530590" y="4175806"/>
                </a:lnTo>
                <a:lnTo>
                  <a:pt x="2538233" y="4176939"/>
                </a:lnTo>
                <a:cubicBezTo>
                  <a:pt x="2538233" y="4179656"/>
                  <a:pt x="2540950" y="4179656"/>
                  <a:pt x="2540950" y="4182374"/>
                </a:cubicBezTo>
                <a:cubicBezTo>
                  <a:pt x="2540950" y="4182374"/>
                  <a:pt x="2543668" y="4182374"/>
                  <a:pt x="2546385" y="4182374"/>
                </a:cubicBezTo>
                <a:lnTo>
                  <a:pt x="2554106" y="4182856"/>
                </a:lnTo>
                <a:lnTo>
                  <a:pt x="2554540" y="4182373"/>
                </a:lnTo>
                <a:cubicBezTo>
                  <a:pt x="2554540" y="4179655"/>
                  <a:pt x="2554540" y="4179655"/>
                  <a:pt x="2554540" y="4176937"/>
                </a:cubicBezTo>
                <a:cubicBezTo>
                  <a:pt x="2559975" y="4176937"/>
                  <a:pt x="2562692" y="4176937"/>
                  <a:pt x="2565410" y="4176937"/>
                </a:cubicBezTo>
                <a:cubicBezTo>
                  <a:pt x="2568127" y="4176937"/>
                  <a:pt x="2568127" y="4171502"/>
                  <a:pt x="2570845" y="4171502"/>
                </a:cubicBezTo>
                <a:cubicBezTo>
                  <a:pt x="2576280" y="4171502"/>
                  <a:pt x="2581715" y="4168785"/>
                  <a:pt x="2587151" y="4168785"/>
                </a:cubicBezTo>
                <a:cubicBezTo>
                  <a:pt x="2587151" y="4166067"/>
                  <a:pt x="2589868" y="4166067"/>
                  <a:pt x="2589868" y="4163349"/>
                </a:cubicBezTo>
                <a:cubicBezTo>
                  <a:pt x="2592586" y="4163349"/>
                  <a:pt x="2595303" y="4163349"/>
                  <a:pt x="2598021" y="4163349"/>
                </a:cubicBezTo>
                <a:cubicBezTo>
                  <a:pt x="2606174" y="4163349"/>
                  <a:pt x="2611609" y="4160632"/>
                  <a:pt x="2617044" y="4157914"/>
                </a:cubicBezTo>
                <a:cubicBezTo>
                  <a:pt x="2611609" y="4155197"/>
                  <a:pt x="2606174" y="4152479"/>
                  <a:pt x="2603456" y="4149762"/>
                </a:cubicBezTo>
                <a:cubicBezTo>
                  <a:pt x="2600739" y="4147044"/>
                  <a:pt x="2598021" y="4147044"/>
                  <a:pt x="2595303" y="4144326"/>
                </a:cubicBezTo>
                <a:cubicBezTo>
                  <a:pt x="2592586" y="4144326"/>
                  <a:pt x="2589868" y="4144326"/>
                  <a:pt x="2587151" y="4144326"/>
                </a:cubicBezTo>
                <a:cubicBezTo>
                  <a:pt x="2584433" y="4147044"/>
                  <a:pt x="2584433" y="4149762"/>
                  <a:pt x="2578998" y="4149762"/>
                </a:cubicBezTo>
                <a:cubicBezTo>
                  <a:pt x="2578998" y="4147044"/>
                  <a:pt x="2581715" y="4144326"/>
                  <a:pt x="2584433" y="4138891"/>
                </a:cubicBezTo>
                <a:cubicBezTo>
                  <a:pt x="2581715" y="4136173"/>
                  <a:pt x="2578998" y="4136173"/>
                  <a:pt x="2576280" y="4133456"/>
                </a:cubicBezTo>
                <a:cubicBezTo>
                  <a:pt x="2568127" y="4147044"/>
                  <a:pt x="2559975" y="4163349"/>
                  <a:pt x="2543669" y="4168785"/>
                </a:cubicBezTo>
                <a:cubicBezTo>
                  <a:pt x="2540951" y="4169464"/>
                  <a:pt x="2536705" y="4170144"/>
                  <a:pt x="2531652" y="4170696"/>
                </a:cubicBezTo>
                <a:lnTo>
                  <a:pt x="2525473" y="4171116"/>
                </a:lnTo>
                <a:lnTo>
                  <a:pt x="2527362" y="4171503"/>
                </a:lnTo>
                <a:lnTo>
                  <a:pt x="2530590" y="4175806"/>
                </a:lnTo>
                <a:lnTo>
                  <a:pt x="2529061" y="4175580"/>
                </a:lnTo>
                <a:cubicBezTo>
                  <a:pt x="2526004" y="4175580"/>
                  <a:pt x="2523286" y="4175580"/>
                  <a:pt x="2521927" y="4174221"/>
                </a:cubicBezTo>
                <a:lnTo>
                  <a:pt x="2520542" y="4171451"/>
                </a:lnTo>
                <a:lnTo>
                  <a:pt x="2516266" y="4171742"/>
                </a:lnTo>
                <a:lnTo>
                  <a:pt x="2515473" y="4171843"/>
                </a:lnTo>
                <a:cubicBezTo>
                  <a:pt x="2509019" y="4172862"/>
                  <a:pt x="2501546" y="4174221"/>
                  <a:pt x="2497469" y="4174221"/>
                </a:cubicBezTo>
                <a:cubicBezTo>
                  <a:pt x="2494752" y="4174221"/>
                  <a:pt x="2491355" y="4173541"/>
                  <a:pt x="2488297" y="4173201"/>
                </a:cubicBezTo>
                <a:lnTo>
                  <a:pt x="2484969" y="4173677"/>
                </a:lnTo>
                <a:lnTo>
                  <a:pt x="2491675" y="4170324"/>
                </a:lnTo>
                <a:lnTo>
                  <a:pt x="2483882" y="4168785"/>
                </a:lnTo>
                <a:cubicBezTo>
                  <a:pt x="2483882" y="4168785"/>
                  <a:pt x="2483882" y="4163349"/>
                  <a:pt x="2481165" y="4163349"/>
                </a:cubicBezTo>
                <a:cubicBezTo>
                  <a:pt x="2481165" y="4163349"/>
                  <a:pt x="2451271" y="4155197"/>
                  <a:pt x="2451271" y="4155197"/>
                </a:cubicBezTo>
                <a:cubicBezTo>
                  <a:pt x="2443118" y="4155197"/>
                  <a:pt x="2437683" y="4157914"/>
                  <a:pt x="2429530" y="4160632"/>
                </a:cubicBezTo>
                <a:cubicBezTo>
                  <a:pt x="2424095" y="4160632"/>
                  <a:pt x="2415942" y="4160632"/>
                  <a:pt x="2407789" y="4160632"/>
                </a:cubicBezTo>
                <a:cubicBezTo>
                  <a:pt x="2405072" y="4160632"/>
                  <a:pt x="2405072" y="4166067"/>
                  <a:pt x="2402354" y="4166067"/>
                </a:cubicBezTo>
                <a:cubicBezTo>
                  <a:pt x="2396919" y="4166067"/>
                  <a:pt x="2394201" y="4166067"/>
                  <a:pt x="2388766" y="4166067"/>
                </a:cubicBezTo>
                <a:cubicBezTo>
                  <a:pt x="2386049" y="4168785"/>
                  <a:pt x="2386049" y="4174220"/>
                  <a:pt x="2383331" y="4174220"/>
                </a:cubicBezTo>
                <a:cubicBezTo>
                  <a:pt x="2372461" y="4174220"/>
                  <a:pt x="2364308" y="4174220"/>
                  <a:pt x="2356155" y="4174220"/>
                </a:cubicBezTo>
                <a:cubicBezTo>
                  <a:pt x="2356155" y="4152479"/>
                  <a:pt x="2380613" y="4119868"/>
                  <a:pt x="2391484" y="4108998"/>
                </a:cubicBezTo>
                <a:cubicBezTo>
                  <a:pt x="2396919" y="4106280"/>
                  <a:pt x="2405072" y="4108998"/>
                  <a:pt x="2410507" y="4106280"/>
                </a:cubicBezTo>
                <a:cubicBezTo>
                  <a:pt x="2410507" y="4106280"/>
                  <a:pt x="2410507" y="4100845"/>
                  <a:pt x="2413225" y="4100845"/>
                </a:cubicBezTo>
                <a:cubicBezTo>
                  <a:pt x="2418660" y="4098127"/>
                  <a:pt x="2426813" y="4100845"/>
                  <a:pt x="2434965" y="4098127"/>
                </a:cubicBezTo>
                <a:cubicBezTo>
                  <a:pt x="2434965" y="4098127"/>
                  <a:pt x="2440401" y="4095410"/>
                  <a:pt x="2440401" y="4095410"/>
                </a:cubicBezTo>
                <a:cubicBezTo>
                  <a:pt x="2443118" y="4095410"/>
                  <a:pt x="2443118" y="4098127"/>
                  <a:pt x="2445836" y="4098127"/>
                </a:cubicBezTo>
                <a:cubicBezTo>
                  <a:pt x="2451271" y="4098127"/>
                  <a:pt x="2462141" y="4095410"/>
                  <a:pt x="2464859" y="4092692"/>
                </a:cubicBezTo>
                <a:cubicBezTo>
                  <a:pt x="2473012" y="4089974"/>
                  <a:pt x="2475729" y="4079104"/>
                  <a:pt x="2481165" y="4073669"/>
                </a:cubicBezTo>
                <a:cubicBezTo>
                  <a:pt x="2483882" y="4070951"/>
                  <a:pt x="2486600" y="4068234"/>
                  <a:pt x="2489317" y="4065516"/>
                </a:cubicBezTo>
                <a:cubicBezTo>
                  <a:pt x="2483882" y="4060081"/>
                  <a:pt x="2475729" y="4057363"/>
                  <a:pt x="2470294" y="4051928"/>
                </a:cubicBezTo>
                <a:cubicBezTo>
                  <a:pt x="2462141" y="4060081"/>
                  <a:pt x="2453989" y="4068234"/>
                  <a:pt x="2443118" y="4076386"/>
                </a:cubicBezTo>
                <a:cubicBezTo>
                  <a:pt x="2432248" y="4081822"/>
                  <a:pt x="2391484" y="4073669"/>
                  <a:pt x="2383331" y="4081822"/>
                </a:cubicBezTo>
                <a:cubicBezTo>
                  <a:pt x="2377896" y="4081822"/>
                  <a:pt x="2377896" y="4081822"/>
                  <a:pt x="2375178" y="4079104"/>
                </a:cubicBezTo>
                <a:cubicBezTo>
                  <a:pt x="2375178" y="4051928"/>
                  <a:pt x="2383331" y="4030187"/>
                  <a:pt x="2388766" y="4008447"/>
                </a:cubicBezTo>
                <a:cubicBezTo>
                  <a:pt x="2388766" y="4003011"/>
                  <a:pt x="2388766" y="3994859"/>
                  <a:pt x="2388766" y="3989423"/>
                </a:cubicBezTo>
                <a:cubicBezTo>
                  <a:pt x="2383331" y="3983988"/>
                  <a:pt x="2377896" y="3981271"/>
                  <a:pt x="2372461" y="3975835"/>
                </a:cubicBezTo>
                <a:cubicBezTo>
                  <a:pt x="2372461" y="3978553"/>
                  <a:pt x="2372461" y="3981271"/>
                  <a:pt x="2372461" y="3983988"/>
                </a:cubicBezTo>
                <a:cubicBezTo>
                  <a:pt x="2367025" y="4008447"/>
                  <a:pt x="2361590" y="4032905"/>
                  <a:pt x="2356155" y="4057363"/>
                </a:cubicBezTo>
                <a:cubicBezTo>
                  <a:pt x="2353437" y="4070951"/>
                  <a:pt x="2361590" y="4081822"/>
                  <a:pt x="2356155" y="4095410"/>
                </a:cubicBezTo>
                <a:cubicBezTo>
                  <a:pt x="2353437" y="4111715"/>
                  <a:pt x="2339850" y="4122585"/>
                  <a:pt x="2331697" y="4133456"/>
                </a:cubicBezTo>
                <a:cubicBezTo>
                  <a:pt x="2326262" y="4141609"/>
                  <a:pt x="2326262" y="4152479"/>
                  <a:pt x="2320826" y="4160632"/>
                </a:cubicBezTo>
                <a:cubicBezTo>
                  <a:pt x="2318109" y="4166067"/>
                  <a:pt x="2312673" y="4168785"/>
                  <a:pt x="2309955" y="4176937"/>
                </a:cubicBezTo>
                <a:cubicBezTo>
                  <a:pt x="2304520" y="4176937"/>
                  <a:pt x="2296367" y="4179655"/>
                  <a:pt x="2290932" y="4179655"/>
                </a:cubicBezTo>
                <a:cubicBezTo>
                  <a:pt x="2288214" y="4179655"/>
                  <a:pt x="2285497" y="4185090"/>
                  <a:pt x="2282779" y="4185090"/>
                </a:cubicBezTo>
                <a:cubicBezTo>
                  <a:pt x="2271909" y="4185090"/>
                  <a:pt x="2261038" y="4185090"/>
                  <a:pt x="2250168" y="4185090"/>
                </a:cubicBezTo>
                <a:cubicBezTo>
                  <a:pt x="2250168" y="4168785"/>
                  <a:pt x="2261038" y="4157914"/>
                  <a:pt x="2266474" y="4147044"/>
                </a:cubicBezTo>
                <a:cubicBezTo>
                  <a:pt x="2269191" y="4141609"/>
                  <a:pt x="2263756" y="4141609"/>
                  <a:pt x="2266474" y="4136173"/>
                </a:cubicBezTo>
                <a:cubicBezTo>
                  <a:pt x="2269191" y="4133456"/>
                  <a:pt x="2271909" y="4128021"/>
                  <a:pt x="2274626" y="4125303"/>
                </a:cubicBezTo>
                <a:cubicBezTo>
                  <a:pt x="2282779" y="4114433"/>
                  <a:pt x="2285497" y="4103562"/>
                  <a:pt x="2290932" y="4092692"/>
                </a:cubicBezTo>
                <a:cubicBezTo>
                  <a:pt x="2296367" y="4084539"/>
                  <a:pt x="2309955" y="4070951"/>
                  <a:pt x="2307237" y="4062799"/>
                </a:cubicBezTo>
                <a:cubicBezTo>
                  <a:pt x="2304520" y="4060081"/>
                  <a:pt x="2296367" y="4060081"/>
                  <a:pt x="2290932" y="4062799"/>
                </a:cubicBezTo>
                <a:cubicBezTo>
                  <a:pt x="2288214" y="4068234"/>
                  <a:pt x="2290932" y="4076386"/>
                  <a:pt x="2285497" y="4081822"/>
                </a:cubicBezTo>
                <a:cubicBezTo>
                  <a:pt x="2280062" y="4092692"/>
                  <a:pt x="2271909" y="4098127"/>
                  <a:pt x="2266474" y="4111715"/>
                </a:cubicBezTo>
                <a:cubicBezTo>
                  <a:pt x="2263756" y="4111715"/>
                  <a:pt x="2263756" y="4111715"/>
                  <a:pt x="2263756" y="4111715"/>
                </a:cubicBezTo>
                <a:cubicBezTo>
                  <a:pt x="2263756" y="4111715"/>
                  <a:pt x="2261038" y="4111715"/>
                  <a:pt x="2261038" y="4111715"/>
                </a:cubicBezTo>
                <a:cubicBezTo>
                  <a:pt x="2261038" y="4103562"/>
                  <a:pt x="2261038" y="4095410"/>
                  <a:pt x="2261038" y="4087257"/>
                </a:cubicBezTo>
                <a:cubicBezTo>
                  <a:pt x="2261038" y="4081822"/>
                  <a:pt x="2271909" y="4079104"/>
                  <a:pt x="2266474" y="4070951"/>
                </a:cubicBezTo>
                <a:cubicBezTo>
                  <a:pt x="2269191" y="4065516"/>
                  <a:pt x="2269191" y="4060081"/>
                  <a:pt x="2266474" y="4057363"/>
                </a:cubicBezTo>
                <a:cubicBezTo>
                  <a:pt x="2263756" y="4054646"/>
                  <a:pt x="2258321" y="4054646"/>
                  <a:pt x="2255603" y="4057363"/>
                </a:cubicBezTo>
                <a:cubicBezTo>
                  <a:pt x="2250168" y="4065516"/>
                  <a:pt x="2244733" y="4111715"/>
                  <a:pt x="2247450" y="4122585"/>
                </a:cubicBezTo>
                <a:cubicBezTo>
                  <a:pt x="2247450" y="4125303"/>
                  <a:pt x="2250168" y="4136173"/>
                  <a:pt x="2250168" y="4141609"/>
                </a:cubicBezTo>
                <a:cubicBezTo>
                  <a:pt x="2247450" y="4152479"/>
                  <a:pt x="2239298" y="4163349"/>
                  <a:pt x="2236580" y="4174220"/>
                </a:cubicBezTo>
                <a:cubicBezTo>
                  <a:pt x="2220274" y="4176937"/>
                  <a:pt x="2203969" y="4171502"/>
                  <a:pt x="2195816" y="4163349"/>
                </a:cubicBezTo>
                <a:cubicBezTo>
                  <a:pt x="2195816" y="4163349"/>
                  <a:pt x="2195816" y="4160632"/>
                  <a:pt x="2195816" y="4160632"/>
                </a:cubicBezTo>
                <a:cubicBezTo>
                  <a:pt x="2190381" y="4155197"/>
                  <a:pt x="2179510" y="4160632"/>
                  <a:pt x="2168640" y="4157914"/>
                </a:cubicBezTo>
                <a:cubicBezTo>
                  <a:pt x="2160487" y="4155197"/>
                  <a:pt x="2146899" y="4160632"/>
                  <a:pt x="2136029" y="4157914"/>
                </a:cubicBezTo>
                <a:cubicBezTo>
                  <a:pt x="2127876" y="4155197"/>
                  <a:pt x="2122441" y="4149762"/>
                  <a:pt x="2111571" y="4149762"/>
                </a:cubicBezTo>
                <a:cubicBezTo>
                  <a:pt x="2111571" y="4149762"/>
                  <a:pt x="2111571" y="4147044"/>
                  <a:pt x="2111571" y="4147044"/>
                </a:cubicBezTo>
                <a:cubicBezTo>
                  <a:pt x="2103418" y="4141609"/>
                  <a:pt x="2057219" y="4141609"/>
                  <a:pt x="2040913" y="4144326"/>
                </a:cubicBezTo>
                <a:cubicBezTo>
                  <a:pt x="2038196" y="4144326"/>
                  <a:pt x="2032760" y="4147044"/>
                  <a:pt x="2030043" y="4147044"/>
                </a:cubicBezTo>
                <a:cubicBezTo>
                  <a:pt x="2030043" y="4147044"/>
                  <a:pt x="2027325" y="4149762"/>
                  <a:pt x="2027325" y="4149762"/>
                </a:cubicBezTo>
                <a:cubicBezTo>
                  <a:pt x="2021890" y="4149762"/>
                  <a:pt x="2013737" y="4149762"/>
                  <a:pt x="2008302" y="4149762"/>
                </a:cubicBezTo>
                <a:cubicBezTo>
                  <a:pt x="2005584" y="4152479"/>
                  <a:pt x="2002867" y="4155197"/>
                  <a:pt x="2000149" y="4157914"/>
                </a:cubicBezTo>
                <a:cubicBezTo>
                  <a:pt x="1994714" y="4157914"/>
                  <a:pt x="1991997" y="4157914"/>
                  <a:pt x="1989279" y="4157914"/>
                </a:cubicBezTo>
                <a:cubicBezTo>
                  <a:pt x="1986561" y="4157914"/>
                  <a:pt x="1975691" y="4163349"/>
                  <a:pt x="1972973" y="4166067"/>
                </a:cubicBezTo>
                <a:cubicBezTo>
                  <a:pt x="1962103" y="4174220"/>
                  <a:pt x="1953950" y="4187808"/>
                  <a:pt x="1940362" y="4195961"/>
                </a:cubicBezTo>
                <a:cubicBezTo>
                  <a:pt x="1934927" y="4195961"/>
                  <a:pt x="1932209" y="4195961"/>
                  <a:pt x="1929492" y="4195961"/>
                </a:cubicBezTo>
                <a:cubicBezTo>
                  <a:pt x="1926774" y="4195961"/>
                  <a:pt x="1926774" y="4198678"/>
                  <a:pt x="1924057" y="4201396"/>
                </a:cubicBezTo>
                <a:cubicBezTo>
                  <a:pt x="1921339" y="4204113"/>
                  <a:pt x="1915904" y="4201396"/>
                  <a:pt x="1913186" y="4204113"/>
                </a:cubicBezTo>
                <a:cubicBezTo>
                  <a:pt x="1907751" y="4209548"/>
                  <a:pt x="1902316" y="4217701"/>
                  <a:pt x="1896881" y="4220419"/>
                </a:cubicBezTo>
                <a:cubicBezTo>
                  <a:pt x="1896881" y="4217701"/>
                  <a:pt x="1894163" y="4212266"/>
                  <a:pt x="1896881" y="4209548"/>
                </a:cubicBezTo>
                <a:cubicBezTo>
                  <a:pt x="1896881" y="4195961"/>
                  <a:pt x="1918621" y="4185090"/>
                  <a:pt x="1926774" y="4179655"/>
                </a:cubicBezTo>
                <a:cubicBezTo>
                  <a:pt x="1929492" y="4176937"/>
                  <a:pt x="1932209" y="4168785"/>
                  <a:pt x="1934927" y="4166067"/>
                </a:cubicBezTo>
                <a:cubicBezTo>
                  <a:pt x="1937645" y="4163349"/>
                  <a:pt x="1943080" y="4163349"/>
                  <a:pt x="1945797" y="4160632"/>
                </a:cubicBezTo>
                <a:lnTo>
                  <a:pt x="1953617" y="4150206"/>
                </a:lnTo>
                <a:lnTo>
                  <a:pt x="1950214" y="4127002"/>
                </a:lnTo>
                <a:cubicBezTo>
                  <a:pt x="1950553" y="4117151"/>
                  <a:pt x="1951233" y="4106280"/>
                  <a:pt x="1948515" y="4095410"/>
                </a:cubicBezTo>
                <a:cubicBezTo>
                  <a:pt x="1948515" y="4089974"/>
                  <a:pt x="1951233" y="4081822"/>
                  <a:pt x="1948515" y="4073669"/>
                </a:cubicBezTo>
                <a:cubicBezTo>
                  <a:pt x="1946477" y="4065516"/>
                  <a:pt x="1942910" y="4042077"/>
                  <a:pt x="1943547" y="4026281"/>
                </a:cubicBezTo>
                <a:lnTo>
                  <a:pt x="1944207" y="4022643"/>
                </a:lnTo>
                <a:lnTo>
                  <a:pt x="1937645" y="4016599"/>
                </a:lnTo>
                <a:cubicBezTo>
                  <a:pt x="1921339" y="4016599"/>
                  <a:pt x="1899598" y="4013882"/>
                  <a:pt x="1891445" y="4005729"/>
                </a:cubicBezTo>
                <a:cubicBezTo>
                  <a:pt x="1891445" y="4003011"/>
                  <a:pt x="1891445" y="4003011"/>
                  <a:pt x="1891445" y="4000294"/>
                </a:cubicBezTo>
                <a:cubicBezTo>
                  <a:pt x="1902316" y="3989423"/>
                  <a:pt x="1921339" y="3973118"/>
                  <a:pt x="1940362" y="3970400"/>
                </a:cubicBezTo>
                <a:cubicBezTo>
                  <a:pt x="1940362" y="3962247"/>
                  <a:pt x="1940362" y="3954095"/>
                  <a:pt x="1943080" y="3948659"/>
                </a:cubicBezTo>
                <a:cubicBezTo>
                  <a:pt x="1951233" y="3924201"/>
                  <a:pt x="1943080" y="3897025"/>
                  <a:pt x="1934927" y="3880719"/>
                </a:cubicBezTo>
                <a:cubicBezTo>
                  <a:pt x="1929492" y="3880719"/>
                  <a:pt x="1926774" y="3880719"/>
                  <a:pt x="1924057" y="3883437"/>
                </a:cubicBezTo>
                <a:cubicBezTo>
                  <a:pt x="1924057" y="3891590"/>
                  <a:pt x="1926774" y="3899743"/>
                  <a:pt x="1929492" y="3907895"/>
                </a:cubicBezTo>
                <a:cubicBezTo>
                  <a:pt x="1932209" y="3921483"/>
                  <a:pt x="1926774" y="3959530"/>
                  <a:pt x="1921339" y="3964965"/>
                </a:cubicBezTo>
                <a:cubicBezTo>
                  <a:pt x="1918621" y="3964965"/>
                  <a:pt x="1915904" y="3967683"/>
                  <a:pt x="1913186" y="3967683"/>
                </a:cubicBezTo>
                <a:lnTo>
                  <a:pt x="1907400" y="3972504"/>
                </a:lnTo>
                <a:lnTo>
                  <a:pt x="1905034" y="3986705"/>
                </a:lnTo>
                <a:cubicBezTo>
                  <a:pt x="1904354" y="3986705"/>
                  <a:pt x="1901127" y="3987045"/>
                  <a:pt x="1896541" y="3987639"/>
                </a:cubicBezTo>
                <a:lnTo>
                  <a:pt x="1880890" y="3989955"/>
                </a:lnTo>
                <a:lnTo>
                  <a:pt x="1872422" y="3997576"/>
                </a:lnTo>
                <a:cubicBezTo>
                  <a:pt x="1872422" y="3997576"/>
                  <a:pt x="1869705" y="3997576"/>
                  <a:pt x="1866987" y="3997576"/>
                </a:cubicBezTo>
                <a:lnTo>
                  <a:pt x="1865607" y="3992919"/>
                </a:lnTo>
                <a:lnTo>
                  <a:pt x="1862232" y="3993584"/>
                </a:lnTo>
                <a:cubicBezTo>
                  <a:pt x="1856966" y="3994858"/>
                  <a:pt x="1852720" y="3996217"/>
                  <a:pt x="1850682" y="3997576"/>
                </a:cubicBezTo>
                <a:cubicBezTo>
                  <a:pt x="1845247" y="4000293"/>
                  <a:pt x="1834376" y="4000293"/>
                  <a:pt x="1831659" y="3997576"/>
                </a:cubicBezTo>
                <a:cubicBezTo>
                  <a:pt x="1828941" y="3989423"/>
                  <a:pt x="1842529" y="3981270"/>
                  <a:pt x="1845247" y="3973117"/>
                </a:cubicBezTo>
                <a:cubicBezTo>
                  <a:pt x="1850682" y="3962247"/>
                  <a:pt x="1842529" y="3926918"/>
                  <a:pt x="1837094" y="3921483"/>
                </a:cubicBezTo>
                <a:cubicBezTo>
                  <a:pt x="1837094" y="3921483"/>
                  <a:pt x="1834376" y="3918765"/>
                  <a:pt x="1834376" y="3918765"/>
                </a:cubicBezTo>
                <a:cubicBezTo>
                  <a:pt x="1828941" y="3918765"/>
                  <a:pt x="1828941" y="3918765"/>
                  <a:pt x="1826223" y="3921483"/>
                </a:cubicBezTo>
                <a:cubicBezTo>
                  <a:pt x="1826223" y="3929636"/>
                  <a:pt x="1828941" y="3929636"/>
                  <a:pt x="1831659" y="3935071"/>
                </a:cubicBezTo>
                <a:cubicBezTo>
                  <a:pt x="1834376" y="3943224"/>
                  <a:pt x="1831659" y="3956812"/>
                  <a:pt x="1831659" y="3967682"/>
                </a:cubicBezTo>
                <a:cubicBezTo>
                  <a:pt x="1831659" y="3967682"/>
                  <a:pt x="1831659" y="3970400"/>
                  <a:pt x="1828941" y="3973117"/>
                </a:cubicBezTo>
                <a:cubicBezTo>
                  <a:pt x="1826223" y="3975835"/>
                  <a:pt x="1820788" y="3978552"/>
                  <a:pt x="1818071" y="3981270"/>
                </a:cubicBezTo>
                <a:cubicBezTo>
                  <a:pt x="1812635" y="3992140"/>
                  <a:pt x="1818071" y="4005728"/>
                  <a:pt x="1807200" y="4013881"/>
                </a:cubicBezTo>
                <a:cubicBezTo>
                  <a:pt x="1801765" y="4019316"/>
                  <a:pt x="1793612" y="4019316"/>
                  <a:pt x="1785459" y="4022034"/>
                </a:cubicBezTo>
                <a:cubicBezTo>
                  <a:pt x="1775947" y="4026111"/>
                  <a:pt x="1764398" y="4032905"/>
                  <a:pt x="1753867" y="4040718"/>
                </a:cubicBezTo>
                <a:lnTo>
                  <a:pt x="1745141" y="4049211"/>
                </a:lnTo>
                <a:lnTo>
                  <a:pt x="1752849" y="4049211"/>
                </a:lnTo>
                <a:cubicBezTo>
                  <a:pt x="1755566" y="4046493"/>
                  <a:pt x="1758284" y="4041058"/>
                  <a:pt x="1761001" y="4041058"/>
                </a:cubicBezTo>
                <a:cubicBezTo>
                  <a:pt x="1766437" y="4041058"/>
                  <a:pt x="1769154" y="4041058"/>
                  <a:pt x="1771872" y="4041058"/>
                </a:cubicBezTo>
                <a:cubicBezTo>
                  <a:pt x="1771872" y="4041058"/>
                  <a:pt x="1774589" y="4035623"/>
                  <a:pt x="1777307" y="4035623"/>
                </a:cubicBezTo>
                <a:cubicBezTo>
                  <a:pt x="1782742" y="4035623"/>
                  <a:pt x="1785460" y="4035623"/>
                  <a:pt x="1788177" y="4035623"/>
                </a:cubicBezTo>
                <a:cubicBezTo>
                  <a:pt x="1788177" y="4032905"/>
                  <a:pt x="1790895" y="4032905"/>
                  <a:pt x="1790895" y="4030187"/>
                </a:cubicBezTo>
                <a:cubicBezTo>
                  <a:pt x="1796330" y="4030187"/>
                  <a:pt x="1804483" y="4030187"/>
                  <a:pt x="1809918" y="4030187"/>
                </a:cubicBezTo>
                <a:cubicBezTo>
                  <a:pt x="1812636" y="4027470"/>
                  <a:pt x="1820788" y="4019317"/>
                  <a:pt x="1823506" y="4016599"/>
                </a:cubicBezTo>
                <a:cubicBezTo>
                  <a:pt x="1831659" y="4016599"/>
                  <a:pt x="1837094" y="4013882"/>
                  <a:pt x="1845247" y="4013882"/>
                </a:cubicBezTo>
                <a:cubicBezTo>
                  <a:pt x="1850682" y="4013882"/>
                  <a:pt x="1850682" y="4008447"/>
                  <a:pt x="1856117" y="4008447"/>
                </a:cubicBezTo>
                <a:cubicBezTo>
                  <a:pt x="1864270" y="4008447"/>
                  <a:pt x="1875140" y="4011164"/>
                  <a:pt x="1880575" y="4008447"/>
                </a:cubicBezTo>
                <a:cubicBezTo>
                  <a:pt x="1886011" y="4008447"/>
                  <a:pt x="1888728" y="4008447"/>
                  <a:pt x="1891446" y="4011164"/>
                </a:cubicBezTo>
                <a:cubicBezTo>
                  <a:pt x="1902316" y="4016599"/>
                  <a:pt x="1894163" y="4038340"/>
                  <a:pt x="1899599" y="4051928"/>
                </a:cubicBezTo>
                <a:cubicBezTo>
                  <a:pt x="1910469" y="4079105"/>
                  <a:pt x="1915904" y="4122587"/>
                  <a:pt x="1913187" y="4152480"/>
                </a:cubicBezTo>
                <a:cubicBezTo>
                  <a:pt x="1913187" y="4157915"/>
                  <a:pt x="1915904" y="4171503"/>
                  <a:pt x="1913187" y="4176938"/>
                </a:cubicBezTo>
                <a:cubicBezTo>
                  <a:pt x="1913187" y="4179656"/>
                  <a:pt x="1913187" y="4185091"/>
                  <a:pt x="1913187" y="4187809"/>
                </a:cubicBezTo>
                <a:cubicBezTo>
                  <a:pt x="1913187" y="4187809"/>
                  <a:pt x="1910469" y="4187809"/>
                  <a:pt x="1910469" y="4187809"/>
                </a:cubicBezTo>
                <a:cubicBezTo>
                  <a:pt x="1907751" y="4190526"/>
                  <a:pt x="1907751" y="4193244"/>
                  <a:pt x="1902316" y="4195961"/>
                </a:cubicBezTo>
                <a:cubicBezTo>
                  <a:pt x="1899599" y="4195961"/>
                  <a:pt x="1899599" y="4195961"/>
                  <a:pt x="1896881" y="4195961"/>
                </a:cubicBezTo>
                <a:cubicBezTo>
                  <a:pt x="1896881" y="4195961"/>
                  <a:pt x="1896881" y="4198679"/>
                  <a:pt x="1894163" y="4201397"/>
                </a:cubicBezTo>
                <a:cubicBezTo>
                  <a:pt x="1891446" y="4201397"/>
                  <a:pt x="1888728" y="4204114"/>
                  <a:pt x="1886011" y="4204114"/>
                </a:cubicBezTo>
                <a:cubicBezTo>
                  <a:pt x="1886011" y="4204114"/>
                  <a:pt x="1886011" y="4206832"/>
                  <a:pt x="1883293" y="4209549"/>
                </a:cubicBezTo>
                <a:cubicBezTo>
                  <a:pt x="1880575" y="4209549"/>
                  <a:pt x="1875140" y="4212267"/>
                  <a:pt x="1872423" y="4212267"/>
                </a:cubicBezTo>
                <a:cubicBezTo>
                  <a:pt x="1872423" y="4214985"/>
                  <a:pt x="1872423" y="4217702"/>
                  <a:pt x="1869705" y="4217702"/>
                </a:cubicBezTo>
                <a:cubicBezTo>
                  <a:pt x="1864270" y="4220420"/>
                  <a:pt x="1858835" y="4217702"/>
                  <a:pt x="1856117" y="4220420"/>
                </a:cubicBezTo>
                <a:cubicBezTo>
                  <a:pt x="1847964" y="4223137"/>
                  <a:pt x="1847964" y="4231290"/>
                  <a:pt x="1842529" y="4239443"/>
                </a:cubicBezTo>
                <a:cubicBezTo>
                  <a:pt x="1834376" y="4250313"/>
                  <a:pt x="1823506" y="4266619"/>
                  <a:pt x="1818071" y="4280207"/>
                </a:cubicBezTo>
                <a:cubicBezTo>
                  <a:pt x="1812636" y="4291077"/>
                  <a:pt x="1815353" y="4304665"/>
                  <a:pt x="1812636" y="4318253"/>
                </a:cubicBezTo>
                <a:cubicBezTo>
                  <a:pt x="1812636" y="4323688"/>
                  <a:pt x="1809918" y="4329123"/>
                  <a:pt x="1807200" y="4334559"/>
                </a:cubicBezTo>
                <a:cubicBezTo>
                  <a:pt x="1796330" y="4337276"/>
                  <a:pt x="1780025" y="4323688"/>
                  <a:pt x="1766437" y="4318253"/>
                </a:cubicBezTo>
                <a:cubicBezTo>
                  <a:pt x="1763719" y="4318253"/>
                  <a:pt x="1766437" y="4315535"/>
                  <a:pt x="1763719" y="4312818"/>
                </a:cubicBezTo>
                <a:cubicBezTo>
                  <a:pt x="1755566" y="4307383"/>
                  <a:pt x="1741978" y="4291077"/>
                  <a:pt x="1736543" y="4280207"/>
                </a:cubicBezTo>
                <a:cubicBezTo>
                  <a:pt x="1736543" y="4274772"/>
                  <a:pt x="1736543" y="4269336"/>
                  <a:pt x="1733825" y="4263901"/>
                </a:cubicBezTo>
                <a:cubicBezTo>
                  <a:pt x="1731108" y="4261184"/>
                  <a:pt x="1725673" y="4255748"/>
                  <a:pt x="1725673" y="4253031"/>
                </a:cubicBezTo>
                <a:cubicBezTo>
                  <a:pt x="1725673" y="4253031"/>
                  <a:pt x="1725673" y="4250313"/>
                  <a:pt x="1725673" y="4247596"/>
                </a:cubicBezTo>
                <a:cubicBezTo>
                  <a:pt x="1725673" y="4244878"/>
                  <a:pt x="1720237" y="4244878"/>
                  <a:pt x="1720237" y="4244878"/>
                </a:cubicBezTo>
                <a:cubicBezTo>
                  <a:pt x="1720237" y="4242160"/>
                  <a:pt x="1720237" y="4242160"/>
                  <a:pt x="1720237" y="4239443"/>
                </a:cubicBezTo>
                <a:cubicBezTo>
                  <a:pt x="1720237" y="4236725"/>
                  <a:pt x="1714802" y="4239443"/>
                  <a:pt x="1714802" y="4236725"/>
                </a:cubicBezTo>
                <a:cubicBezTo>
                  <a:pt x="1712085" y="4234008"/>
                  <a:pt x="1712085" y="4228573"/>
                  <a:pt x="1709367" y="4225855"/>
                </a:cubicBezTo>
                <a:cubicBezTo>
                  <a:pt x="1706649" y="4223137"/>
                  <a:pt x="1701214" y="4220420"/>
                  <a:pt x="1698497" y="4214985"/>
                </a:cubicBezTo>
                <a:cubicBezTo>
                  <a:pt x="1698497" y="4209549"/>
                  <a:pt x="1698497" y="4204114"/>
                  <a:pt x="1698497" y="4198679"/>
                </a:cubicBezTo>
                <a:cubicBezTo>
                  <a:pt x="1695779" y="4195961"/>
                  <a:pt x="1695779" y="4193244"/>
                  <a:pt x="1693061" y="4190526"/>
                </a:cubicBezTo>
                <a:cubicBezTo>
                  <a:pt x="1693061" y="4182373"/>
                  <a:pt x="1690344" y="4176938"/>
                  <a:pt x="1690344" y="4168786"/>
                </a:cubicBezTo>
                <a:cubicBezTo>
                  <a:pt x="1684909" y="4155198"/>
                  <a:pt x="1682191" y="4141610"/>
                  <a:pt x="1676756" y="4128022"/>
                </a:cubicBezTo>
                <a:cubicBezTo>
                  <a:pt x="1674038" y="4119869"/>
                  <a:pt x="1676756" y="4111716"/>
                  <a:pt x="1671321" y="4106281"/>
                </a:cubicBezTo>
                <a:cubicBezTo>
                  <a:pt x="1671321" y="4095411"/>
                  <a:pt x="1676756" y="4092693"/>
                  <a:pt x="1679473" y="4084540"/>
                </a:cubicBezTo>
                <a:cubicBezTo>
                  <a:pt x="1682191" y="4084540"/>
                  <a:pt x="1684909" y="4081823"/>
                  <a:pt x="1687626" y="4081823"/>
                </a:cubicBezTo>
                <a:cubicBezTo>
                  <a:pt x="1687626" y="4081823"/>
                  <a:pt x="1687626" y="4079105"/>
                  <a:pt x="1687626" y="4079105"/>
                </a:cubicBezTo>
                <a:cubicBezTo>
                  <a:pt x="1693061" y="4076388"/>
                  <a:pt x="1714802" y="4081823"/>
                  <a:pt x="1722955" y="4076388"/>
                </a:cubicBezTo>
                <a:cubicBezTo>
                  <a:pt x="1727031" y="4073670"/>
                  <a:pt x="1730428" y="4068234"/>
                  <a:pt x="1733825" y="4062799"/>
                </a:cubicBezTo>
                <a:lnTo>
                  <a:pt x="1743131" y="4051167"/>
                </a:lnTo>
                <a:lnTo>
                  <a:pt x="1728390" y="4065515"/>
                </a:lnTo>
                <a:cubicBezTo>
                  <a:pt x="1722955" y="4065515"/>
                  <a:pt x="1720237" y="4065515"/>
                  <a:pt x="1714802" y="4065515"/>
                </a:cubicBezTo>
                <a:cubicBezTo>
                  <a:pt x="1714802" y="4051927"/>
                  <a:pt x="1720237" y="4041057"/>
                  <a:pt x="1731108" y="4038339"/>
                </a:cubicBezTo>
                <a:cubicBezTo>
                  <a:pt x="1736543" y="4035622"/>
                  <a:pt x="1741978" y="4038339"/>
                  <a:pt x="1747413" y="4035622"/>
                </a:cubicBezTo>
                <a:cubicBezTo>
                  <a:pt x="1755566" y="4032904"/>
                  <a:pt x="1763719" y="4005728"/>
                  <a:pt x="1766436" y="3997576"/>
                </a:cubicBezTo>
                <a:cubicBezTo>
                  <a:pt x="1769154" y="3992140"/>
                  <a:pt x="1763719" y="3975835"/>
                  <a:pt x="1761001" y="3973117"/>
                </a:cubicBezTo>
                <a:cubicBezTo>
                  <a:pt x="1758283" y="3967682"/>
                  <a:pt x="1752848" y="3951376"/>
                  <a:pt x="1750131" y="3943224"/>
                </a:cubicBezTo>
                <a:cubicBezTo>
                  <a:pt x="1747413" y="3937789"/>
                  <a:pt x="1750131" y="3932353"/>
                  <a:pt x="1747413" y="3929636"/>
                </a:cubicBezTo>
                <a:cubicBezTo>
                  <a:pt x="1744695" y="3929636"/>
                  <a:pt x="1744695" y="3929636"/>
                  <a:pt x="1741978" y="3929636"/>
                </a:cubicBezTo>
                <a:cubicBezTo>
                  <a:pt x="1741978" y="3926918"/>
                  <a:pt x="1741978" y="3926918"/>
                  <a:pt x="1741978" y="3924201"/>
                </a:cubicBezTo>
                <a:cubicBezTo>
                  <a:pt x="1739260" y="3924201"/>
                  <a:pt x="1739260" y="3921483"/>
                  <a:pt x="1736543" y="3921483"/>
                </a:cubicBezTo>
                <a:cubicBezTo>
                  <a:pt x="1736543" y="3921483"/>
                  <a:pt x="1736543" y="3918765"/>
                  <a:pt x="1736543" y="3918765"/>
                </a:cubicBezTo>
                <a:cubicBezTo>
                  <a:pt x="1736543" y="3916048"/>
                  <a:pt x="1731108" y="3916048"/>
                  <a:pt x="1728390" y="3913330"/>
                </a:cubicBezTo>
                <a:cubicBezTo>
                  <a:pt x="1722955" y="3910613"/>
                  <a:pt x="1722955" y="3902460"/>
                  <a:pt x="1720237" y="3897025"/>
                </a:cubicBezTo>
                <a:cubicBezTo>
                  <a:pt x="1717520" y="3894307"/>
                  <a:pt x="1714802" y="3888872"/>
                  <a:pt x="1712084" y="3886154"/>
                </a:cubicBezTo>
                <a:cubicBezTo>
                  <a:pt x="1712084" y="3886154"/>
                  <a:pt x="1709367" y="3886154"/>
                  <a:pt x="1709367" y="3886154"/>
                </a:cubicBezTo>
                <a:cubicBezTo>
                  <a:pt x="1709367" y="3883437"/>
                  <a:pt x="1709367" y="3883437"/>
                  <a:pt x="1709367" y="3880719"/>
                </a:cubicBezTo>
                <a:cubicBezTo>
                  <a:pt x="1709367" y="3878002"/>
                  <a:pt x="1703932" y="3878002"/>
                  <a:pt x="1703932" y="3878002"/>
                </a:cubicBezTo>
                <a:cubicBezTo>
                  <a:pt x="1703932" y="3878002"/>
                  <a:pt x="1703932" y="3875284"/>
                  <a:pt x="1703932" y="3872566"/>
                </a:cubicBezTo>
                <a:cubicBezTo>
                  <a:pt x="1701214" y="3867131"/>
                  <a:pt x="1695779" y="3861696"/>
                  <a:pt x="1693061" y="3856261"/>
                </a:cubicBezTo>
                <a:cubicBezTo>
                  <a:pt x="1693061" y="3850826"/>
                  <a:pt x="1693061" y="3845391"/>
                  <a:pt x="1693061" y="3842673"/>
                </a:cubicBezTo>
                <a:cubicBezTo>
                  <a:pt x="1690344" y="3839955"/>
                  <a:pt x="1682191" y="3829085"/>
                  <a:pt x="1679473" y="3826367"/>
                </a:cubicBezTo>
                <a:cubicBezTo>
                  <a:pt x="1679473" y="3826367"/>
                  <a:pt x="1676756" y="3826367"/>
                  <a:pt x="1674038" y="3826367"/>
                </a:cubicBezTo>
                <a:cubicBezTo>
                  <a:pt x="1674038" y="3823650"/>
                  <a:pt x="1674038" y="3823650"/>
                  <a:pt x="1674038" y="3820932"/>
                </a:cubicBezTo>
                <a:cubicBezTo>
                  <a:pt x="1671320" y="3820932"/>
                  <a:pt x="1671320" y="3820932"/>
                  <a:pt x="1668603" y="3820932"/>
                </a:cubicBezTo>
                <a:cubicBezTo>
                  <a:pt x="1668603" y="3820932"/>
                  <a:pt x="1671320" y="3818215"/>
                  <a:pt x="1668603" y="3815497"/>
                </a:cubicBezTo>
                <a:cubicBezTo>
                  <a:pt x="1668603" y="3812779"/>
                  <a:pt x="1655015" y="3804627"/>
                  <a:pt x="1649580" y="3804627"/>
                </a:cubicBezTo>
                <a:cubicBezTo>
                  <a:pt x="1649580" y="3801909"/>
                  <a:pt x="1649580" y="3801909"/>
                  <a:pt x="1649580" y="3799191"/>
                </a:cubicBezTo>
                <a:cubicBezTo>
                  <a:pt x="1655015" y="3796474"/>
                  <a:pt x="1657732" y="3793756"/>
                  <a:pt x="1663168" y="3791039"/>
                </a:cubicBezTo>
                <a:cubicBezTo>
                  <a:pt x="1668603" y="3791039"/>
                  <a:pt x="1676756" y="3788321"/>
                  <a:pt x="1682191" y="3788321"/>
                </a:cubicBezTo>
                <a:cubicBezTo>
                  <a:pt x="1684908" y="3785603"/>
                  <a:pt x="1693061" y="3782886"/>
                  <a:pt x="1698496" y="3780168"/>
                </a:cubicBezTo>
                <a:cubicBezTo>
                  <a:pt x="1709367" y="3777451"/>
                  <a:pt x="1731108" y="3782886"/>
                  <a:pt x="1736543" y="3777451"/>
                </a:cubicBezTo>
                <a:cubicBezTo>
                  <a:pt x="1744695" y="3780168"/>
                  <a:pt x="1747413" y="3788321"/>
                  <a:pt x="1755566" y="3793756"/>
                </a:cubicBezTo>
                <a:cubicBezTo>
                  <a:pt x="1758283" y="3793756"/>
                  <a:pt x="1769154" y="3793756"/>
                  <a:pt x="1774589" y="3793756"/>
                </a:cubicBezTo>
                <a:cubicBezTo>
                  <a:pt x="1790895" y="3793756"/>
                  <a:pt x="1807200" y="3793756"/>
                  <a:pt x="1826223" y="3799191"/>
                </a:cubicBezTo>
                <a:cubicBezTo>
                  <a:pt x="1826223" y="3799191"/>
                  <a:pt x="1826223" y="3801909"/>
                  <a:pt x="1826223" y="3801909"/>
                </a:cubicBezTo>
                <a:cubicBezTo>
                  <a:pt x="1831659" y="3801909"/>
                  <a:pt x="1839811" y="3804627"/>
                  <a:pt x="1842529" y="3804627"/>
                </a:cubicBezTo>
                <a:cubicBezTo>
                  <a:pt x="1842529" y="3807344"/>
                  <a:pt x="1847964" y="3815497"/>
                  <a:pt x="1850682" y="3820932"/>
                </a:cubicBezTo>
                <a:lnTo>
                  <a:pt x="1851832" y="3821286"/>
                </a:lnTo>
                <a:lnTo>
                  <a:pt x="1851658" y="3817111"/>
                </a:lnTo>
                <a:lnTo>
                  <a:pt x="1855421" y="3795780"/>
                </a:lnTo>
                <a:lnTo>
                  <a:pt x="1853399" y="3793758"/>
                </a:lnTo>
                <a:cubicBezTo>
                  <a:pt x="1851361" y="3792399"/>
                  <a:pt x="1849323" y="3791041"/>
                  <a:pt x="1847965" y="3788323"/>
                </a:cubicBezTo>
                <a:cubicBezTo>
                  <a:pt x="1839812" y="3772017"/>
                  <a:pt x="1834377" y="3752994"/>
                  <a:pt x="1826224" y="3739406"/>
                </a:cubicBezTo>
                <a:cubicBezTo>
                  <a:pt x="1823506" y="3739406"/>
                  <a:pt x="1823506" y="3736689"/>
                  <a:pt x="1818071" y="3736689"/>
                </a:cubicBezTo>
                <a:cubicBezTo>
                  <a:pt x="1815354" y="3728536"/>
                  <a:pt x="1804483" y="3725818"/>
                  <a:pt x="1801766" y="3720383"/>
                </a:cubicBezTo>
                <a:cubicBezTo>
                  <a:pt x="1796330" y="3714948"/>
                  <a:pt x="1799048" y="3706795"/>
                  <a:pt x="1796330" y="3701360"/>
                </a:cubicBezTo>
                <a:cubicBezTo>
                  <a:pt x="1790895" y="3687772"/>
                  <a:pt x="1782742" y="3674184"/>
                  <a:pt x="1780025" y="3657878"/>
                </a:cubicBezTo>
                <a:cubicBezTo>
                  <a:pt x="1780025" y="3652443"/>
                  <a:pt x="1782742" y="3647008"/>
                  <a:pt x="1782742" y="3641573"/>
                </a:cubicBezTo>
                <a:cubicBezTo>
                  <a:pt x="1782742" y="3627985"/>
                  <a:pt x="1780025" y="3611679"/>
                  <a:pt x="1782742" y="3600809"/>
                </a:cubicBezTo>
                <a:cubicBezTo>
                  <a:pt x="1785460" y="3592656"/>
                  <a:pt x="1790895" y="3576349"/>
                  <a:pt x="1788178" y="3570914"/>
                </a:cubicBezTo>
                <a:cubicBezTo>
                  <a:pt x="1788178" y="3560044"/>
                  <a:pt x="1785460" y="3568196"/>
                  <a:pt x="1782742" y="3562761"/>
                </a:cubicBezTo>
                <a:cubicBezTo>
                  <a:pt x="1780025" y="3557326"/>
                  <a:pt x="1782742" y="3551891"/>
                  <a:pt x="1780025" y="3543738"/>
                </a:cubicBezTo>
                <a:cubicBezTo>
                  <a:pt x="1774590" y="3532868"/>
                  <a:pt x="1766437" y="3524715"/>
                  <a:pt x="1766437" y="3508410"/>
                </a:cubicBezTo>
                <a:cubicBezTo>
                  <a:pt x="1763719" y="3508410"/>
                  <a:pt x="1763719" y="3508410"/>
                  <a:pt x="1763719" y="3508410"/>
                </a:cubicBezTo>
                <a:cubicBezTo>
                  <a:pt x="1761002" y="3508410"/>
                  <a:pt x="1761002" y="3508410"/>
                  <a:pt x="1758284" y="3508410"/>
                </a:cubicBezTo>
                <a:cubicBezTo>
                  <a:pt x="1755566" y="3524715"/>
                  <a:pt x="1763719" y="3532868"/>
                  <a:pt x="1769154" y="3543738"/>
                </a:cubicBezTo>
                <a:cubicBezTo>
                  <a:pt x="1771872" y="3551891"/>
                  <a:pt x="1771872" y="3562761"/>
                  <a:pt x="1774590" y="3570914"/>
                </a:cubicBezTo>
                <a:cubicBezTo>
                  <a:pt x="1774590" y="3573632"/>
                  <a:pt x="1780025" y="3576349"/>
                  <a:pt x="1780025" y="3579068"/>
                </a:cubicBezTo>
                <a:cubicBezTo>
                  <a:pt x="1782742" y="3581785"/>
                  <a:pt x="1777307" y="3595373"/>
                  <a:pt x="1777307" y="3598091"/>
                </a:cubicBezTo>
                <a:cubicBezTo>
                  <a:pt x="1777307" y="3606244"/>
                  <a:pt x="1774590" y="3633420"/>
                  <a:pt x="1774590" y="3644290"/>
                </a:cubicBezTo>
                <a:cubicBezTo>
                  <a:pt x="1774590" y="3644290"/>
                  <a:pt x="1771872" y="3644290"/>
                  <a:pt x="1771872" y="3644290"/>
                </a:cubicBezTo>
                <a:cubicBezTo>
                  <a:pt x="1766437" y="3638855"/>
                  <a:pt x="1752849" y="3627985"/>
                  <a:pt x="1750131" y="3619832"/>
                </a:cubicBezTo>
                <a:cubicBezTo>
                  <a:pt x="1747414" y="3619832"/>
                  <a:pt x="1744696" y="3617114"/>
                  <a:pt x="1741978" y="3617114"/>
                </a:cubicBezTo>
                <a:cubicBezTo>
                  <a:pt x="1736543" y="3617114"/>
                  <a:pt x="1728390" y="3611679"/>
                  <a:pt x="1725673" y="3608961"/>
                </a:cubicBezTo>
                <a:cubicBezTo>
                  <a:pt x="1728390" y="3603526"/>
                  <a:pt x="1720238" y="3595373"/>
                  <a:pt x="1717520" y="3592656"/>
                </a:cubicBezTo>
                <a:cubicBezTo>
                  <a:pt x="1717520" y="3589938"/>
                  <a:pt x="1717520" y="3589938"/>
                  <a:pt x="1717520" y="3587221"/>
                </a:cubicBezTo>
                <a:cubicBezTo>
                  <a:pt x="1717520" y="3584503"/>
                  <a:pt x="1712085" y="3584503"/>
                  <a:pt x="1712085" y="3581785"/>
                </a:cubicBezTo>
                <a:cubicBezTo>
                  <a:pt x="1709367" y="3576349"/>
                  <a:pt x="1709367" y="3551891"/>
                  <a:pt x="1712085" y="3546456"/>
                </a:cubicBezTo>
                <a:cubicBezTo>
                  <a:pt x="1712085" y="3543738"/>
                  <a:pt x="1712085" y="3543738"/>
                  <a:pt x="1712085" y="3541021"/>
                </a:cubicBezTo>
                <a:cubicBezTo>
                  <a:pt x="1709367" y="3541021"/>
                  <a:pt x="1709367" y="3541021"/>
                  <a:pt x="1709367" y="3541021"/>
                </a:cubicBezTo>
                <a:cubicBezTo>
                  <a:pt x="1703932" y="3541021"/>
                  <a:pt x="1703932" y="3541021"/>
                  <a:pt x="1701214" y="3541021"/>
                </a:cubicBezTo>
                <a:cubicBezTo>
                  <a:pt x="1701214" y="3557326"/>
                  <a:pt x="1698497" y="3573632"/>
                  <a:pt x="1701214" y="3592656"/>
                </a:cubicBezTo>
                <a:cubicBezTo>
                  <a:pt x="1703932" y="3592656"/>
                  <a:pt x="1706650" y="3595373"/>
                  <a:pt x="1709367" y="3595373"/>
                </a:cubicBezTo>
                <a:cubicBezTo>
                  <a:pt x="1709367" y="3598091"/>
                  <a:pt x="1709367" y="3606244"/>
                  <a:pt x="1712085" y="3608961"/>
                </a:cubicBezTo>
                <a:cubicBezTo>
                  <a:pt x="1712085" y="3608961"/>
                  <a:pt x="1717520" y="3611679"/>
                  <a:pt x="1717520" y="3611679"/>
                </a:cubicBezTo>
                <a:cubicBezTo>
                  <a:pt x="1717520" y="3614397"/>
                  <a:pt x="1717520" y="3614397"/>
                  <a:pt x="1717520" y="3617114"/>
                </a:cubicBezTo>
                <a:cubicBezTo>
                  <a:pt x="1717520" y="3617114"/>
                  <a:pt x="1720238" y="3617114"/>
                  <a:pt x="1720238" y="3617114"/>
                </a:cubicBezTo>
                <a:cubicBezTo>
                  <a:pt x="1722955" y="3619832"/>
                  <a:pt x="1722955" y="3622549"/>
                  <a:pt x="1725673" y="3625267"/>
                </a:cubicBezTo>
                <a:cubicBezTo>
                  <a:pt x="1728390" y="3625267"/>
                  <a:pt x="1736543" y="3622549"/>
                  <a:pt x="1739261" y="3625267"/>
                </a:cubicBezTo>
                <a:cubicBezTo>
                  <a:pt x="1744696" y="3627985"/>
                  <a:pt x="1766437" y="3655161"/>
                  <a:pt x="1769154" y="3660596"/>
                </a:cubicBezTo>
                <a:cubicBezTo>
                  <a:pt x="1771872" y="3666031"/>
                  <a:pt x="1766437" y="3666031"/>
                  <a:pt x="1769154" y="3668749"/>
                </a:cubicBezTo>
                <a:cubicBezTo>
                  <a:pt x="1769154" y="3671466"/>
                  <a:pt x="1774590" y="3674184"/>
                  <a:pt x="1777307" y="3676901"/>
                </a:cubicBezTo>
                <a:cubicBezTo>
                  <a:pt x="1780025" y="3682337"/>
                  <a:pt x="1777307" y="3685054"/>
                  <a:pt x="1780025" y="3690489"/>
                </a:cubicBezTo>
                <a:cubicBezTo>
                  <a:pt x="1782742" y="3693207"/>
                  <a:pt x="1788178" y="3701360"/>
                  <a:pt x="1790895" y="3706795"/>
                </a:cubicBezTo>
                <a:cubicBezTo>
                  <a:pt x="1790895" y="3709513"/>
                  <a:pt x="1788178" y="3717665"/>
                  <a:pt x="1790895" y="3720383"/>
                </a:cubicBezTo>
                <a:cubicBezTo>
                  <a:pt x="1790895" y="3733971"/>
                  <a:pt x="1801766" y="3731253"/>
                  <a:pt x="1807201" y="3736689"/>
                </a:cubicBezTo>
                <a:cubicBezTo>
                  <a:pt x="1807201" y="3736689"/>
                  <a:pt x="1807201" y="3739406"/>
                  <a:pt x="1807201" y="3739406"/>
                </a:cubicBezTo>
                <a:cubicBezTo>
                  <a:pt x="1807201" y="3742124"/>
                  <a:pt x="1809918" y="3739406"/>
                  <a:pt x="1812636" y="3742124"/>
                </a:cubicBezTo>
                <a:cubicBezTo>
                  <a:pt x="1818071" y="3747559"/>
                  <a:pt x="1818071" y="3755712"/>
                  <a:pt x="1823506" y="3758429"/>
                </a:cubicBezTo>
                <a:cubicBezTo>
                  <a:pt x="1823506" y="3763865"/>
                  <a:pt x="1823506" y="3761147"/>
                  <a:pt x="1823506" y="3763865"/>
                </a:cubicBezTo>
                <a:cubicBezTo>
                  <a:pt x="1823506" y="3766582"/>
                  <a:pt x="1823506" y="3766582"/>
                  <a:pt x="1823506" y="3769300"/>
                </a:cubicBezTo>
                <a:cubicBezTo>
                  <a:pt x="1793613" y="3777452"/>
                  <a:pt x="1763719" y="3772017"/>
                  <a:pt x="1752849" y="3752994"/>
                </a:cubicBezTo>
                <a:cubicBezTo>
                  <a:pt x="1741978" y="3752994"/>
                  <a:pt x="1714802" y="3758429"/>
                  <a:pt x="1706650" y="3752994"/>
                </a:cubicBezTo>
                <a:cubicBezTo>
                  <a:pt x="1706650" y="3752994"/>
                  <a:pt x="1703932" y="3750277"/>
                  <a:pt x="1703932" y="3747559"/>
                </a:cubicBezTo>
                <a:cubicBezTo>
                  <a:pt x="1701214" y="3747559"/>
                  <a:pt x="1695779" y="3744841"/>
                  <a:pt x="1690344" y="3742124"/>
                </a:cubicBezTo>
                <a:cubicBezTo>
                  <a:pt x="1687626" y="3736689"/>
                  <a:pt x="1682191" y="3728536"/>
                  <a:pt x="1676756" y="3723101"/>
                </a:cubicBezTo>
                <a:cubicBezTo>
                  <a:pt x="1679474" y="3717665"/>
                  <a:pt x="1682191" y="3709513"/>
                  <a:pt x="1684909" y="3701360"/>
                </a:cubicBezTo>
                <a:cubicBezTo>
                  <a:pt x="1684909" y="3687772"/>
                  <a:pt x="1684909" y="3674184"/>
                  <a:pt x="1684909" y="3655161"/>
                </a:cubicBezTo>
                <a:cubicBezTo>
                  <a:pt x="1684909" y="3652443"/>
                  <a:pt x="1687626" y="3638855"/>
                  <a:pt x="1684909" y="3636137"/>
                </a:cubicBezTo>
                <a:cubicBezTo>
                  <a:pt x="1684909" y="3633420"/>
                  <a:pt x="1684909" y="3630702"/>
                  <a:pt x="1684909" y="3627985"/>
                </a:cubicBezTo>
                <a:cubicBezTo>
                  <a:pt x="1682191" y="3627985"/>
                  <a:pt x="1682191" y="3627985"/>
                  <a:pt x="1679474" y="3627985"/>
                </a:cubicBezTo>
                <a:cubicBezTo>
                  <a:pt x="1674039" y="3652443"/>
                  <a:pt x="1676756" y="3674184"/>
                  <a:pt x="1674039" y="3698642"/>
                </a:cubicBezTo>
                <a:cubicBezTo>
                  <a:pt x="1671321" y="3698642"/>
                  <a:pt x="1668603" y="3698642"/>
                  <a:pt x="1665886" y="3698642"/>
                </a:cubicBezTo>
                <a:cubicBezTo>
                  <a:pt x="1663168" y="3690489"/>
                  <a:pt x="1657733" y="3682337"/>
                  <a:pt x="1655015" y="3676901"/>
                </a:cubicBezTo>
                <a:cubicBezTo>
                  <a:pt x="1652298" y="3671466"/>
                  <a:pt x="1655015" y="3638855"/>
                  <a:pt x="1655015" y="3636137"/>
                </a:cubicBezTo>
                <a:cubicBezTo>
                  <a:pt x="1655015" y="3630702"/>
                  <a:pt x="1652298" y="3622549"/>
                  <a:pt x="1655015" y="3617114"/>
                </a:cubicBezTo>
                <a:cubicBezTo>
                  <a:pt x="1655015" y="3611679"/>
                  <a:pt x="1657733" y="3611679"/>
                  <a:pt x="1652298" y="3608961"/>
                </a:cubicBezTo>
                <a:cubicBezTo>
                  <a:pt x="1649580" y="3608961"/>
                  <a:pt x="1652298" y="3608961"/>
                  <a:pt x="1649580" y="3608961"/>
                </a:cubicBezTo>
                <a:cubicBezTo>
                  <a:pt x="1646863" y="3608961"/>
                  <a:pt x="1649580" y="3608961"/>
                  <a:pt x="1646863" y="3608961"/>
                </a:cubicBezTo>
                <a:cubicBezTo>
                  <a:pt x="1644145" y="3630702"/>
                  <a:pt x="1644145" y="3644290"/>
                  <a:pt x="1646863" y="3663313"/>
                </a:cubicBezTo>
                <a:cubicBezTo>
                  <a:pt x="1649580" y="3668749"/>
                  <a:pt x="1644145" y="3676901"/>
                  <a:pt x="1646863" y="3682337"/>
                </a:cubicBezTo>
                <a:cubicBezTo>
                  <a:pt x="1646863" y="3685054"/>
                  <a:pt x="1652298" y="3690489"/>
                  <a:pt x="1655015" y="3693207"/>
                </a:cubicBezTo>
                <a:cubicBezTo>
                  <a:pt x="1657733" y="3698642"/>
                  <a:pt x="1657733" y="3701360"/>
                  <a:pt x="1660451" y="3706795"/>
                </a:cubicBezTo>
                <a:cubicBezTo>
                  <a:pt x="1652298" y="3693207"/>
                  <a:pt x="1641427" y="3682337"/>
                  <a:pt x="1641427" y="3668749"/>
                </a:cubicBezTo>
                <a:cubicBezTo>
                  <a:pt x="1641427" y="3679619"/>
                  <a:pt x="1635992" y="3685054"/>
                  <a:pt x="1630557" y="3687772"/>
                </a:cubicBezTo>
                <a:cubicBezTo>
                  <a:pt x="1622404" y="3682337"/>
                  <a:pt x="1614252" y="3679619"/>
                  <a:pt x="1606099" y="3679619"/>
                </a:cubicBezTo>
                <a:cubicBezTo>
                  <a:pt x="1603381" y="3674184"/>
                  <a:pt x="1600664" y="3668749"/>
                  <a:pt x="1597946" y="3663313"/>
                </a:cubicBezTo>
                <a:cubicBezTo>
                  <a:pt x="1595228" y="3663313"/>
                  <a:pt x="1587076" y="3657878"/>
                  <a:pt x="1587076" y="3655161"/>
                </a:cubicBezTo>
                <a:cubicBezTo>
                  <a:pt x="1584358" y="3649725"/>
                  <a:pt x="1589793" y="3633420"/>
                  <a:pt x="1587076" y="3625267"/>
                </a:cubicBezTo>
                <a:cubicBezTo>
                  <a:pt x="1587076" y="3619832"/>
                  <a:pt x="1584358" y="3611679"/>
                  <a:pt x="1587076" y="3608961"/>
                </a:cubicBezTo>
                <a:cubicBezTo>
                  <a:pt x="1592511" y="3598091"/>
                  <a:pt x="1611534" y="3595373"/>
                  <a:pt x="1619687" y="3587221"/>
                </a:cubicBezTo>
                <a:cubicBezTo>
                  <a:pt x="1625122" y="3581785"/>
                  <a:pt x="1625122" y="3573632"/>
                  <a:pt x="1630557" y="3568196"/>
                </a:cubicBezTo>
                <a:cubicBezTo>
                  <a:pt x="1630557" y="3565479"/>
                  <a:pt x="1633275" y="3565479"/>
                  <a:pt x="1635992" y="3562761"/>
                </a:cubicBezTo>
                <a:cubicBezTo>
                  <a:pt x="1635992" y="3557326"/>
                  <a:pt x="1638710" y="3554609"/>
                  <a:pt x="1638710" y="3549173"/>
                </a:cubicBezTo>
                <a:cubicBezTo>
                  <a:pt x="1638710" y="3549173"/>
                  <a:pt x="1644145" y="3546456"/>
                  <a:pt x="1644145" y="3543738"/>
                </a:cubicBezTo>
                <a:cubicBezTo>
                  <a:pt x="1652298" y="3530150"/>
                  <a:pt x="1641427" y="3505692"/>
                  <a:pt x="1652298" y="3494822"/>
                </a:cubicBezTo>
                <a:cubicBezTo>
                  <a:pt x="1655015" y="3489386"/>
                  <a:pt x="1663168" y="3489386"/>
                  <a:pt x="1674039" y="3486669"/>
                </a:cubicBezTo>
                <a:cubicBezTo>
                  <a:pt x="1682191" y="3486669"/>
                  <a:pt x="1684909" y="3486669"/>
                  <a:pt x="1690344" y="3492104"/>
                </a:cubicBezTo>
                <a:cubicBezTo>
                  <a:pt x="1701214" y="3492104"/>
                  <a:pt x="1701214" y="3489386"/>
                  <a:pt x="1706650" y="3486669"/>
                </a:cubicBezTo>
                <a:cubicBezTo>
                  <a:pt x="1717520" y="3486669"/>
                  <a:pt x="1731108" y="3483951"/>
                  <a:pt x="1741978" y="3483951"/>
                </a:cubicBezTo>
                <a:cubicBezTo>
                  <a:pt x="1747414" y="3483951"/>
                  <a:pt x="1758284" y="3478516"/>
                  <a:pt x="1766437" y="3481234"/>
                </a:cubicBezTo>
                <a:cubicBezTo>
                  <a:pt x="1769154" y="3481234"/>
                  <a:pt x="1774590" y="3486669"/>
                  <a:pt x="1780025" y="3486669"/>
                </a:cubicBezTo>
                <a:cubicBezTo>
                  <a:pt x="1790895" y="3489386"/>
                  <a:pt x="1799048" y="3481234"/>
                  <a:pt x="1804483" y="3486669"/>
                </a:cubicBezTo>
                <a:cubicBezTo>
                  <a:pt x="1812636" y="3489386"/>
                  <a:pt x="1818071" y="3500257"/>
                  <a:pt x="1820789" y="3505692"/>
                </a:cubicBezTo>
                <a:cubicBezTo>
                  <a:pt x="1823506" y="3508410"/>
                  <a:pt x="1828942" y="3513845"/>
                  <a:pt x="1828942" y="3516562"/>
                </a:cubicBezTo>
                <a:cubicBezTo>
                  <a:pt x="1828942" y="3521997"/>
                  <a:pt x="1826224" y="3524715"/>
                  <a:pt x="1828942" y="3530150"/>
                </a:cubicBezTo>
                <a:cubicBezTo>
                  <a:pt x="1831659" y="3535585"/>
                  <a:pt x="1837094" y="3541021"/>
                  <a:pt x="1839812" y="3546456"/>
                </a:cubicBezTo>
                <a:cubicBezTo>
                  <a:pt x="1842530" y="3551891"/>
                  <a:pt x="1839812" y="3560044"/>
                  <a:pt x="1839812" y="3560044"/>
                </a:cubicBezTo>
                <a:cubicBezTo>
                  <a:pt x="1842530" y="3568196"/>
                  <a:pt x="1847965" y="3576349"/>
                  <a:pt x="1847965" y="3589938"/>
                </a:cubicBezTo>
                <a:cubicBezTo>
                  <a:pt x="1856117" y="3592656"/>
                  <a:pt x="1864270" y="3592656"/>
                  <a:pt x="1872423" y="3598091"/>
                </a:cubicBezTo>
                <a:cubicBezTo>
                  <a:pt x="1880576" y="3600809"/>
                  <a:pt x="1880576" y="3614397"/>
                  <a:pt x="1886011" y="3619832"/>
                </a:cubicBezTo>
                <a:cubicBezTo>
                  <a:pt x="1886011" y="3622549"/>
                  <a:pt x="1891446" y="3619832"/>
                  <a:pt x="1894164" y="3622549"/>
                </a:cubicBezTo>
                <a:cubicBezTo>
                  <a:pt x="1894164" y="3625267"/>
                  <a:pt x="1894164" y="3625267"/>
                  <a:pt x="1894164" y="3627985"/>
                </a:cubicBezTo>
                <a:cubicBezTo>
                  <a:pt x="1896881" y="3627985"/>
                  <a:pt x="1899599" y="3630702"/>
                  <a:pt x="1902316" y="3630702"/>
                </a:cubicBezTo>
                <a:cubicBezTo>
                  <a:pt x="1902316" y="3630702"/>
                  <a:pt x="1905034" y="3633420"/>
                  <a:pt x="1905034" y="3636137"/>
                </a:cubicBezTo>
                <a:cubicBezTo>
                  <a:pt x="1907752" y="3636137"/>
                  <a:pt x="1910469" y="3636137"/>
                  <a:pt x="1913187" y="3636137"/>
                </a:cubicBezTo>
                <a:cubicBezTo>
                  <a:pt x="1913187" y="3638855"/>
                  <a:pt x="1913187" y="3638855"/>
                  <a:pt x="1913187" y="3641573"/>
                </a:cubicBezTo>
                <a:cubicBezTo>
                  <a:pt x="1915904" y="3641573"/>
                  <a:pt x="1918622" y="3644290"/>
                  <a:pt x="1921340" y="3644290"/>
                </a:cubicBezTo>
                <a:cubicBezTo>
                  <a:pt x="1921340" y="3647008"/>
                  <a:pt x="1918622" y="3649725"/>
                  <a:pt x="1921340" y="3649725"/>
                </a:cubicBezTo>
                <a:cubicBezTo>
                  <a:pt x="1926775" y="3649725"/>
                  <a:pt x="1932210" y="3649725"/>
                  <a:pt x="1937645" y="3649725"/>
                </a:cubicBezTo>
                <a:cubicBezTo>
                  <a:pt x="1940363" y="3649725"/>
                  <a:pt x="1937645" y="3652443"/>
                  <a:pt x="1940363" y="3655161"/>
                </a:cubicBezTo>
                <a:cubicBezTo>
                  <a:pt x="1943080" y="3657878"/>
                  <a:pt x="1943080" y="3655161"/>
                  <a:pt x="1945798" y="3657878"/>
                </a:cubicBezTo>
                <a:lnTo>
                  <a:pt x="1947368" y="3661804"/>
                </a:lnTo>
                <a:lnTo>
                  <a:pt x="1956668" y="3657877"/>
                </a:lnTo>
                <a:cubicBezTo>
                  <a:pt x="1951232" y="3655160"/>
                  <a:pt x="1948515" y="3638854"/>
                  <a:pt x="1943080" y="3636136"/>
                </a:cubicBezTo>
                <a:cubicBezTo>
                  <a:pt x="1943080" y="3636136"/>
                  <a:pt x="1929492" y="3627984"/>
                  <a:pt x="1926774" y="3627984"/>
                </a:cubicBezTo>
                <a:cubicBezTo>
                  <a:pt x="1921339" y="3627984"/>
                  <a:pt x="1918621" y="3627984"/>
                  <a:pt x="1915904" y="3627984"/>
                </a:cubicBezTo>
                <a:cubicBezTo>
                  <a:pt x="1913186" y="3627984"/>
                  <a:pt x="1913186" y="3622548"/>
                  <a:pt x="1910468" y="3622548"/>
                </a:cubicBezTo>
                <a:cubicBezTo>
                  <a:pt x="1910468" y="3622548"/>
                  <a:pt x="1907751" y="3622548"/>
                  <a:pt x="1905033" y="3622548"/>
                </a:cubicBezTo>
                <a:cubicBezTo>
                  <a:pt x="1905033" y="3619831"/>
                  <a:pt x="1905033" y="3619831"/>
                  <a:pt x="1905033" y="3617113"/>
                </a:cubicBezTo>
                <a:cubicBezTo>
                  <a:pt x="1905033" y="3614396"/>
                  <a:pt x="1899598" y="3617113"/>
                  <a:pt x="1896881" y="3614396"/>
                </a:cubicBezTo>
                <a:cubicBezTo>
                  <a:pt x="1896881" y="3611678"/>
                  <a:pt x="1896881" y="3611678"/>
                  <a:pt x="1896881" y="3608960"/>
                </a:cubicBezTo>
                <a:cubicBezTo>
                  <a:pt x="1894163" y="3608960"/>
                  <a:pt x="1891445" y="3606243"/>
                  <a:pt x="1888728" y="3606243"/>
                </a:cubicBezTo>
                <a:cubicBezTo>
                  <a:pt x="1883293" y="3598090"/>
                  <a:pt x="1880575" y="3589937"/>
                  <a:pt x="1872422" y="3581784"/>
                </a:cubicBezTo>
                <a:cubicBezTo>
                  <a:pt x="1866987" y="3576349"/>
                  <a:pt x="1856117" y="3576349"/>
                  <a:pt x="1853399" y="3570914"/>
                </a:cubicBezTo>
                <a:cubicBezTo>
                  <a:pt x="1850681" y="3562761"/>
                  <a:pt x="1850681" y="3551891"/>
                  <a:pt x="1847964" y="3543738"/>
                </a:cubicBezTo>
                <a:cubicBezTo>
                  <a:pt x="1845246" y="3538303"/>
                  <a:pt x="1839811" y="3532868"/>
                  <a:pt x="1837093" y="3527432"/>
                </a:cubicBezTo>
                <a:cubicBezTo>
                  <a:pt x="1834376" y="3516562"/>
                  <a:pt x="1834376" y="3508409"/>
                  <a:pt x="1828941" y="3500256"/>
                </a:cubicBezTo>
                <a:cubicBezTo>
                  <a:pt x="1828941" y="3497539"/>
                  <a:pt x="1823505" y="3492104"/>
                  <a:pt x="1820788" y="3489386"/>
                </a:cubicBezTo>
                <a:cubicBezTo>
                  <a:pt x="1820788" y="3483951"/>
                  <a:pt x="1820788" y="3478516"/>
                  <a:pt x="1818070" y="3475798"/>
                </a:cubicBezTo>
                <a:cubicBezTo>
                  <a:pt x="1818070" y="3473081"/>
                  <a:pt x="1799047" y="3459493"/>
                  <a:pt x="1796329" y="3459493"/>
                </a:cubicBezTo>
                <a:cubicBezTo>
                  <a:pt x="1790894" y="3459493"/>
                  <a:pt x="1782741" y="3462210"/>
                  <a:pt x="1780024" y="3459493"/>
                </a:cubicBezTo>
                <a:cubicBezTo>
                  <a:pt x="1780024" y="3459493"/>
                  <a:pt x="1780024" y="3454057"/>
                  <a:pt x="1777306" y="3454057"/>
                </a:cubicBezTo>
                <a:cubicBezTo>
                  <a:pt x="1771871" y="3451340"/>
                  <a:pt x="1763718" y="3448622"/>
                  <a:pt x="1761001" y="3445905"/>
                </a:cubicBezTo>
                <a:cubicBezTo>
                  <a:pt x="1761001" y="3445905"/>
                  <a:pt x="1761001" y="3443187"/>
                  <a:pt x="1761001" y="3443187"/>
                </a:cubicBezTo>
                <a:cubicBezTo>
                  <a:pt x="1758283" y="3443187"/>
                  <a:pt x="1755565" y="3440469"/>
                  <a:pt x="1752848" y="3440469"/>
                </a:cubicBezTo>
                <a:cubicBezTo>
                  <a:pt x="1750130" y="3437752"/>
                  <a:pt x="1750130" y="3435034"/>
                  <a:pt x="1747413" y="3432317"/>
                </a:cubicBezTo>
                <a:cubicBezTo>
                  <a:pt x="1747413" y="3416011"/>
                  <a:pt x="1741977" y="3386118"/>
                  <a:pt x="1733825" y="3380683"/>
                </a:cubicBezTo>
                <a:cubicBezTo>
                  <a:pt x="1733825" y="3369812"/>
                  <a:pt x="1741977" y="3364377"/>
                  <a:pt x="1744695" y="3356224"/>
                </a:cubicBezTo>
                <a:cubicBezTo>
                  <a:pt x="1750130" y="3348072"/>
                  <a:pt x="1750130" y="3339919"/>
                  <a:pt x="1755565" y="3331766"/>
                </a:cubicBezTo>
                <a:cubicBezTo>
                  <a:pt x="1761001" y="3323613"/>
                  <a:pt x="1769153" y="3312743"/>
                  <a:pt x="1771871" y="3304590"/>
                </a:cubicBezTo>
                <a:cubicBezTo>
                  <a:pt x="1771871" y="3296437"/>
                  <a:pt x="1771871" y="3291002"/>
                  <a:pt x="1771871" y="3282849"/>
                </a:cubicBezTo>
                <a:cubicBezTo>
                  <a:pt x="1777306" y="3263826"/>
                  <a:pt x="1796329" y="3209474"/>
                  <a:pt x="1809917" y="3201321"/>
                </a:cubicBezTo>
                <a:cubicBezTo>
                  <a:pt x="1823505" y="3190451"/>
                  <a:pt x="1839811" y="3185016"/>
                  <a:pt x="1856117" y="3176863"/>
                </a:cubicBezTo>
                <a:cubicBezTo>
                  <a:pt x="1856117" y="3174145"/>
                  <a:pt x="1858834" y="3171428"/>
                  <a:pt x="1861552" y="3168710"/>
                </a:cubicBezTo>
                <a:cubicBezTo>
                  <a:pt x="1864269" y="3168710"/>
                  <a:pt x="1866987" y="3168710"/>
                  <a:pt x="1869705" y="3168710"/>
                </a:cubicBezTo>
                <a:cubicBezTo>
                  <a:pt x="1869705" y="3165993"/>
                  <a:pt x="1872422" y="3165993"/>
                  <a:pt x="1872422" y="3163275"/>
                </a:cubicBezTo>
                <a:cubicBezTo>
                  <a:pt x="1877857" y="3163275"/>
                  <a:pt x="1880575" y="3160558"/>
                  <a:pt x="1886010" y="3160558"/>
                </a:cubicBezTo>
                <a:cubicBezTo>
                  <a:pt x="1886010" y="3152405"/>
                  <a:pt x="1894163" y="3144252"/>
                  <a:pt x="1899598" y="3138817"/>
                </a:cubicBezTo>
                <a:cubicBezTo>
                  <a:pt x="1905033" y="3155122"/>
                  <a:pt x="1899598" y="3182298"/>
                  <a:pt x="1905033" y="3193169"/>
                </a:cubicBezTo>
                <a:cubicBezTo>
                  <a:pt x="1907751" y="3204039"/>
                  <a:pt x="1918621" y="3201321"/>
                  <a:pt x="1924056" y="3206757"/>
                </a:cubicBezTo>
                <a:cubicBezTo>
                  <a:pt x="1924056" y="3209474"/>
                  <a:pt x="1926774" y="3220345"/>
                  <a:pt x="1929492" y="3220345"/>
                </a:cubicBezTo>
                <a:cubicBezTo>
                  <a:pt x="1932209" y="3220345"/>
                  <a:pt x="1934927" y="3220345"/>
                  <a:pt x="1937644" y="3220345"/>
                </a:cubicBezTo>
                <a:cubicBezTo>
                  <a:pt x="1940362" y="3220345"/>
                  <a:pt x="1940362" y="3223062"/>
                  <a:pt x="1943080" y="3225780"/>
                </a:cubicBezTo>
                <a:cubicBezTo>
                  <a:pt x="1945797" y="3225780"/>
                  <a:pt x="1948515" y="3225780"/>
                  <a:pt x="1951232" y="3228497"/>
                </a:cubicBezTo>
                <a:cubicBezTo>
                  <a:pt x="1951232" y="3231215"/>
                  <a:pt x="1948515" y="3231215"/>
                  <a:pt x="1951232" y="3233932"/>
                </a:cubicBezTo>
                <a:cubicBezTo>
                  <a:pt x="1951232" y="3233932"/>
                  <a:pt x="1953950" y="3233932"/>
                  <a:pt x="1953950" y="3233932"/>
                </a:cubicBezTo>
                <a:cubicBezTo>
                  <a:pt x="1959385" y="3242085"/>
                  <a:pt x="1959385" y="3252956"/>
                  <a:pt x="1956668" y="3258391"/>
                </a:cubicBezTo>
                <a:cubicBezTo>
                  <a:pt x="1956668" y="3261108"/>
                  <a:pt x="1962103" y="3263826"/>
                  <a:pt x="1962103" y="3266544"/>
                </a:cubicBezTo>
                <a:cubicBezTo>
                  <a:pt x="1962103" y="3269261"/>
                  <a:pt x="1962103" y="3269261"/>
                  <a:pt x="1962103" y="3271979"/>
                </a:cubicBezTo>
                <a:cubicBezTo>
                  <a:pt x="1962103" y="3274696"/>
                  <a:pt x="1967538" y="3274696"/>
                  <a:pt x="1967538" y="3274696"/>
                </a:cubicBezTo>
                <a:cubicBezTo>
                  <a:pt x="1970255" y="3277414"/>
                  <a:pt x="1967538" y="3280132"/>
                  <a:pt x="1967538" y="3280132"/>
                </a:cubicBezTo>
                <a:lnTo>
                  <a:pt x="1970255" y="3291002"/>
                </a:lnTo>
                <a:cubicBezTo>
                  <a:pt x="1970255" y="3291002"/>
                  <a:pt x="1978408" y="3296437"/>
                  <a:pt x="1978408" y="3299155"/>
                </a:cubicBezTo>
                <a:cubicBezTo>
                  <a:pt x="1978408" y="3299155"/>
                  <a:pt x="1978408" y="3301872"/>
                  <a:pt x="1978408" y="3304590"/>
                </a:cubicBezTo>
                <a:cubicBezTo>
                  <a:pt x="1978408" y="3304590"/>
                  <a:pt x="1981126" y="3304590"/>
                  <a:pt x="1981126" y="3304590"/>
                </a:cubicBezTo>
                <a:cubicBezTo>
                  <a:pt x="1983843" y="3310025"/>
                  <a:pt x="1981126" y="3312743"/>
                  <a:pt x="1983843" y="3318178"/>
                </a:cubicBezTo>
                <a:cubicBezTo>
                  <a:pt x="1989279" y="3323613"/>
                  <a:pt x="2008302" y="3326331"/>
                  <a:pt x="2016454" y="3329048"/>
                </a:cubicBezTo>
                <a:cubicBezTo>
                  <a:pt x="2021890" y="3329048"/>
                  <a:pt x="2024607" y="3329048"/>
                  <a:pt x="2030042" y="3329048"/>
                </a:cubicBezTo>
                <a:cubicBezTo>
                  <a:pt x="2046348" y="3331766"/>
                  <a:pt x="2054501" y="3350789"/>
                  <a:pt x="2073524" y="3350789"/>
                </a:cubicBezTo>
                <a:cubicBezTo>
                  <a:pt x="2073524" y="3353507"/>
                  <a:pt x="2076242" y="3356224"/>
                  <a:pt x="2078959" y="3358942"/>
                </a:cubicBezTo>
                <a:lnTo>
                  <a:pt x="2078027" y="3367328"/>
                </a:lnTo>
                <a:lnTo>
                  <a:pt x="2078960" y="3367095"/>
                </a:lnTo>
                <a:cubicBezTo>
                  <a:pt x="2081677" y="3364377"/>
                  <a:pt x="2078960" y="3361659"/>
                  <a:pt x="2081677" y="3361659"/>
                </a:cubicBezTo>
                <a:cubicBezTo>
                  <a:pt x="2083036" y="3361659"/>
                  <a:pt x="2086433" y="3359621"/>
                  <a:pt x="2089830" y="3357583"/>
                </a:cubicBezTo>
                <a:lnTo>
                  <a:pt x="2096064" y="3354466"/>
                </a:lnTo>
                <a:lnTo>
                  <a:pt x="2096284" y="3352487"/>
                </a:lnTo>
                <a:cubicBezTo>
                  <a:pt x="2095945" y="3349430"/>
                  <a:pt x="2095265" y="3346712"/>
                  <a:pt x="2095265" y="3345353"/>
                </a:cubicBezTo>
                <a:lnTo>
                  <a:pt x="2097982" y="3320895"/>
                </a:lnTo>
                <a:cubicBezTo>
                  <a:pt x="2100700" y="3312742"/>
                  <a:pt x="2106135" y="3288284"/>
                  <a:pt x="2103418" y="3274696"/>
                </a:cubicBezTo>
                <a:cubicBezTo>
                  <a:pt x="2100700" y="3261108"/>
                  <a:pt x="2097982" y="3255673"/>
                  <a:pt x="2095265" y="3244802"/>
                </a:cubicBezTo>
                <a:cubicBezTo>
                  <a:pt x="2092547" y="3228497"/>
                  <a:pt x="2095265" y="3190451"/>
                  <a:pt x="2097982" y="3179580"/>
                </a:cubicBezTo>
                <a:cubicBezTo>
                  <a:pt x="2100700" y="3174145"/>
                  <a:pt x="2097982" y="3165992"/>
                  <a:pt x="2097982" y="3163275"/>
                </a:cubicBezTo>
                <a:cubicBezTo>
                  <a:pt x="2097982" y="3155122"/>
                  <a:pt x="2100700" y="3149687"/>
                  <a:pt x="2100700" y="3146969"/>
                </a:cubicBezTo>
                <a:cubicBezTo>
                  <a:pt x="2100700" y="3146969"/>
                  <a:pt x="2097982" y="3141534"/>
                  <a:pt x="2097982" y="3141534"/>
                </a:cubicBezTo>
                <a:cubicBezTo>
                  <a:pt x="2097982" y="3136099"/>
                  <a:pt x="2100700" y="3127946"/>
                  <a:pt x="2100700" y="3122511"/>
                </a:cubicBezTo>
                <a:cubicBezTo>
                  <a:pt x="2100700" y="3122511"/>
                  <a:pt x="2103418" y="3122511"/>
                  <a:pt x="2103418" y="3122511"/>
                </a:cubicBezTo>
                <a:cubicBezTo>
                  <a:pt x="2106135" y="3133381"/>
                  <a:pt x="2108853" y="3146969"/>
                  <a:pt x="2119723" y="3149687"/>
                </a:cubicBezTo>
                <a:cubicBezTo>
                  <a:pt x="2119723" y="3149687"/>
                  <a:pt x="2119723" y="3152404"/>
                  <a:pt x="2119723" y="3152404"/>
                </a:cubicBezTo>
                <a:cubicBezTo>
                  <a:pt x="2125158" y="3152404"/>
                  <a:pt x="2133311" y="3152404"/>
                  <a:pt x="2136029" y="3155122"/>
                </a:cubicBezTo>
                <a:cubicBezTo>
                  <a:pt x="2141464" y="3157839"/>
                  <a:pt x="2138746" y="3163275"/>
                  <a:pt x="2146899" y="3163275"/>
                </a:cubicBezTo>
                <a:cubicBezTo>
                  <a:pt x="2146899" y="3176863"/>
                  <a:pt x="2138746" y="3190451"/>
                  <a:pt x="2141464" y="3204039"/>
                </a:cubicBezTo>
                <a:cubicBezTo>
                  <a:pt x="2144182" y="3212191"/>
                  <a:pt x="2152334" y="3228497"/>
                  <a:pt x="2146899" y="3242085"/>
                </a:cubicBezTo>
                <a:cubicBezTo>
                  <a:pt x="2141464" y="3255673"/>
                  <a:pt x="2138746" y="3274696"/>
                  <a:pt x="2130594" y="3285566"/>
                </a:cubicBezTo>
                <a:cubicBezTo>
                  <a:pt x="2131953" y="3286925"/>
                  <a:pt x="2133991" y="3288963"/>
                  <a:pt x="2135689" y="3291001"/>
                </a:cubicBezTo>
                <a:lnTo>
                  <a:pt x="2137409" y="3294059"/>
                </a:lnTo>
                <a:lnTo>
                  <a:pt x="2137727" y="3291002"/>
                </a:lnTo>
                <a:cubicBezTo>
                  <a:pt x="2138067" y="3285567"/>
                  <a:pt x="2138746" y="3280131"/>
                  <a:pt x="2141464" y="3274696"/>
                </a:cubicBezTo>
                <a:cubicBezTo>
                  <a:pt x="2145540" y="3261108"/>
                  <a:pt x="2153014" y="3248879"/>
                  <a:pt x="2159808" y="3235631"/>
                </a:cubicBezTo>
                <a:lnTo>
                  <a:pt x="2165745" y="3216828"/>
                </a:lnTo>
                <a:lnTo>
                  <a:pt x="2162823" y="3210535"/>
                </a:lnTo>
                <a:cubicBezTo>
                  <a:pt x="2159129" y="3200981"/>
                  <a:pt x="2161167" y="3197924"/>
                  <a:pt x="2163205" y="3179581"/>
                </a:cubicBezTo>
                <a:cubicBezTo>
                  <a:pt x="2165922" y="3179581"/>
                  <a:pt x="2165922" y="3179581"/>
                  <a:pt x="2168640" y="3179581"/>
                </a:cubicBezTo>
                <a:cubicBezTo>
                  <a:pt x="2171358" y="3176863"/>
                  <a:pt x="2165922" y="3165993"/>
                  <a:pt x="2168640" y="3160557"/>
                </a:cubicBezTo>
                <a:cubicBezTo>
                  <a:pt x="2171358" y="3149687"/>
                  <a:pt x="2179510" y="3138817"/>
                  <a:pt x="2179510" y="3125229"/>
                </a:cubicBezTo>
                <a:cubicBezTo>
                  <a:pt x="2184946" y="3125229"/>
                  <a:pt x="2187663" y="3125229"/>
                  <a:pt x="2190381" y="3127946"/>
                </a:cubicBezTo>
                <a:cubicBezTo>
                  <a:pt x="2195816" y="3130664"/>
                  <a:pt x="2195816" y="3138817"/>
                  <a:pt x="2198534" y="3141534"/>
                </a:cubicBezTo>
                <a:cubicBezTo>
                  <a:pt x="2201251" y="3141534"/>
                  <a:pt x="2203969" y="3141534"/>
                  <a:pt x="2206686" y="3141534"/>
                </a:cubicBezTo>
                <a:cubicBezTo>
                  <a:pt x="2206686" y="3141534"/>
                  <a:pt x="2209404" y="3144252"/>
                  <a:pt x="2209404" y="3146970"/>
                </a:cubicBezTo>
                <a:cubicBezTo>
                  <a:pt x="2212122" y="3146970"/>
                  <a:pt x="2214839" y="3149687"/>
                  <a:pt x="2217557" y="3149687"/>
                </a:cubicBezTo>
                <a:cubicBezTo>
                  <a:pt x="2217557" y="3149687"/>
                  <a:pt x="2217557" y="3152405"/>
                  <a:pt x="2217557" y="3152405"/>
                </a:cubicBezTo>
                <a:cubicBezTo>
                  <a:pt x="2220274" y="3155122"/>
                  <a:pt x="2222992" y="3152405"/>
                  <a:pt x="2225710" y="3155122"/>
                </a:cubicBezTo>
                <a:lnTo>
                  <a:pt x="2226758" y="3158267"/>
                </a:lnTo>
                <a:lnTo>
                  <a:pt x="2228427" y="3150027"/>
                </a:lnTo>
                <a:lnTo>
                  <a:pt x="2231222" y="3137272"/>
                </a:lnTo>
                <a:lnTo>
                  <a:pt x="2221166" y="3128031"/>
                </a:lnTo>
                <a:cubicBezTo>
                  <a:pt x="2217387" y="3125229"/>
                  <a:pt x="2213480" y="3123190"/>
                  <a:pt x="2209404" y="3122511"/>
                </a:cubicBezTo>
                <a:cubicBezTo>
                  <a:pt x="2209404" y="3117076"/>
                  <a:pt x="2195816" y="3108923"/>
                  <a:pt x="2187663" y="3106206"/>
                </a:cubicBezTo>
                <a:cubicBezTo>
                  <a:pt x="2187663" y="3092618"/>
                  <a:pt x="2193098" y="3073595"/>
                  <a:pt x="2198534" y="3068159"/>
                </a:cubicBezTo>
                <a:cubicBezTo>
                  <a:pt x="2201251" y="3068159"/>
                  <a:pt x="2203969" y="3068159"/>
                  <a:pt x="2206686" y="3065442"/>
                </a:cubicBezTo>
                <a:cubicBezTo>
                  <a:pt x="2212122" y="3057289"/>
                  <a:pt x="2214839" y="3051854"/>
                  <a:pt x="2222992" y="3049136"/>
                </a:cubicBezTo>
                <a:cubicBezTo>
                  <a:pt x="2222992" y="3046419"/>
                  <a:pt x="2222992" y="3046419"/>
                  <a:pt x="2222992" y="3043701"/>
                </a:cubicBezTo>
                <a:cubicBezTo>
                  <a:pt x="2222992" y="3040983"/>
                  <a:pt x="2222992" y="3040983"/>
                  <a:pt x="2220274" y="3038266"/>
                </a:cubicBezTo>
                <a:cubicBezTo>
                  <a:pt x="2214839" y="3046419"/>
                  <a:pt x="2195816" y="3060007"/>
                  <a:pt x="2193098" y="3065442"/>
                </a:cubicBezTo>
                <a:cubicBezTo>
                  <a:pt x="2184946" y="3054571"/>
                  <a:pt x="2176793" y="3021960"/>
                  <a:pt x="2184946" y="3013808"/>
                </a:cubicBezTo>
                <a:cubicBezTo>
                  <a:pt x="2184946" y="3008372"/>
                  <a:pt x="2182228" y="3008372"/>
                  <a:pt x="2179510" y="3005655"/>
                </a:cubicBezTo>
                <a:cubicBezTo>
                  <a:pt x="2176793" y="3008372"/>
                  <a:pt x="2176793" y="3008372"/>
                  <a:pt x="2174075" y="3011090"/>
                </a:cubicBezTo>
                <a:cubicBezTo>
                  <a:pt x="2168640" y="3051854"/>
                  <a:pt x="2187663" y="3062724"/>
                  <a:pt x="2176793" y="3100770"/>
                </a:cubicBezTo>
                <a:cubicBezTo>
                  <a:pt x="2168640" y="3100770"/>
                  <a:pt x="2171358" y="3098053"/>
                  <a:pt x="2168640" y="3095335"/>
                </a:cubicBezTo>
                <a:cubicBezTo>
                  <a:pt x="2163205" y="3095335"/>
                  <a:pt x="2160487" y="3092618"/>
                  <a:pt x="2155052" y="3092618"/>
                </a:cubicBezTo>
                <a:cubicBezTo>
                  <a:pt x="2152334" y="3089900"/>
                  <a:pt x="2152334" y="3089900"/>
                  <a:pt x="2149617" y="3087182"/>
                </a:cubicBezTo>
                <a:cubicBezTo>
                  <a:pt x="2146899" y="3087182"/>
                  <a:pt x="2144182" y="3084465"/>
                  <a:pt x="2141464" y="3084465"/>
                </a:cubicBezTo>
                <a:cubicBezTo>
                  <a:pt x="2138746" y="3084465"/>
                  <a:pt x="2141464" y="3079030"/>
                  <a:pt x="2138746" y="3079030"/>
                </a:cubicBezTo>
                <a:cubicBezTo>
                  <a:pt x="2136029" y="3079030"/>
                  <a:pt x="2133311" y="3079030"/>
                  <a:pt x="2130594" y="3076312"/>
                </a:cubicBezTo>
                <a:cubicBezTo>
                  <a:pt x="2130594" y="3076312"/>
                  <a:pt x="2130594" y="3073595"/>
                  <a:pt x="2130594" y="3073595"/>
                </a:cubicBezTo>
                <a:cubicBezTo>
                  <a:pt x="2127876" y="3073595"/>
                  <a:pt x="2125159" y="3070877"/>
                  <a:pt x="2122441" y="3070877"/>
                </a:cubicBezTo>
                <a:cubicBezTo>
                  <a:pt x="2122441" y="3068159"/>
                  <a:pt x="2122441" y="3068159"/>
                  <a:pt x="2122441" y="3065442"/>
                </a:cubicBezTo>
                <a:cubicBezTo>
                  <a:pt x="2119723" y="3065442"/>
                  <a:pt x="2119723" y="3062724"/>
                  <a:pt x="2117006" y="3062724"/>
                </a:cubicBezTo>
                <a:cubicBezTo>
                  <a:pt x="2117006" y="3062724"/>
                  <a:pt x="2117006" y="3060007"/>
                  <a:pt x="2117006" y="3057289"/>
                </a:cubicBezTo>
                <a:cubicBezTo>
                  <a:pt x="2114288" y="3057289"/>
                  <a:pt x="2114288" y="3054571"/>
                  <a:pt x="2111571" y="3054571"/>
                </a:cubicBezTo>
                <a:cubicBezTo>
                  <a:pt x="2108853" y="3051854"/>
                  <a:pt x="2111571" y="3043701"/>
                  <a:pt x="2111571" y="3040983"/>
                </a:cubicBezTo>
                <a:cubicBezTo>
                  <a:pt x="2117006" y="3038266"/>
                  <a:pt x="2125159" y="3035548"/>
                  <a:pt x="2130594" y="3032831"/>
                </a:cubicBezTo>
                <a:cubicBezTo>
                  <a:pt x="2133311" y="3030113"/>
                  <a:pt x="2136029" y="3024678"/>
                  <a:pt x="2149617" y="3011090"/>
                </a:cubicBezTo>
                <a:cubicBezTo>
                  <a:pt x="2149617" y="3002937"/>
                  <a:pt x="2144182" y="2978479"/>
                  <a:pt x="2152334" y="2973044"/>
                </a:cubicBezTo>
                <a:cubicBezTo>
                  <a:pt x="2152334" y="2967609"/>
                  <a:pt x="2152334" y="2967609"/>
                  <a:pt x="2149617" y="2964891"/>
                </a:cubicBezTo>
                <a:cubicBezTo>
                  <a:pt x="2149617" y="2964891"/>
                  <a:pt x="2146899" y="2964891"/>
                  <a:pt x="2146899" y="2964891"/>
                </a:cubicBezTo>
                <a:cubicBezTo>
                  <a:pt x="2146899" y="2956738"/>
                  <a:pt x="2144182" y="2954021"/>
                  <a:pt x="2141464" y="2948585"/>
                </a:cubicBezTo>
                <a:cubicBezTo>
                  <a:pt x="2138746" y="2943150"/>
                  <a:pt x="2141464" y="2929562"/>
                  <a:pt x="2141464" y="2924127"/>
                </a:cubicBezTo>
                <a:cubicBezTo>
                  <a:pt x="2141464" y="2918692"/>
                  <a:pt x="2138746" y="2918692"/>
                  <a:pt x="2141464" y="2915974"/>
                </a:cubicBezTo>
                <a:cubicBezTo>
                  <a:pt x="2141464" y="2915974"/>
                  <a:pt x="2141464" y="2913257"/>
                  <a:pt x="2141464" y="2913257"/>
                </a:cubicBezTo>
                <a:cubicBezTo>
                  <a:pt x="2148258" y="2913257"/>
                  <a:pt x="2154372" y="2913257"/>
                  <a:pt x="2160827" y="2913257"/>
                </a:cubicBezTo>
                <a:lnTo>
                  <a:pt x="2164416" y="2913257"/>
                </a:lnTo>
                <a:lnTo>
                  <a:pt x="2162525" y="2912917"/>
                </a:lnTo>
                <a:cubicBezTo>
                  <a:pt x="2156411" y="2911218"/>
                  <a:pt x="2150975" y="2909180"/>
                  <a:pt x="2149617" y="2907821"/>
                </a:cubicBezTo>
                <a:cubicBezTo>
                  <a:pt x="2146899" y="2905104"/>
                  <a:pt x="2155052" y="2899669"/>
                  <a:pt x="2152334" y="2894233"/>
                </a:cubicBezTo>
                <a:cubicBezTo>
                  <a:pt x="2152334" y="2894233"/>
                  <a:pt x="2149617" y="2894233"/>
                  <a:pt x="2149617" y="2894233"/>
                </a:cubicBezTo>
                <a:cubicBezTo>
                  <a:pt x="2149617" y="2891516"/>
                  <a:pt x="2155052" y="2867058"/>
                  <a:pt x="2155052" y="2867058"/>
                </a:cubicBezTo>
                <a:cubicBezTo>
                  <a:pt x="2155052" y="2864340"/>
                  <a:pt x="2155052" y="2864340"/>
                  <a:pt x="2155052" y="2861623"/>
                </a:cubicBezTo>
                <a:cubicBezTo>
                  <a:pt x="2152334" y="2861623"/>
                  <a:pt x="2152334" y="2861623"/>
                  <a:pt x="2152334" y="2861623"/>
                </a:cubicBezTo>
                <a:cubicBezTo>
                  <a:pt x="2141464" y="2864340"/>
                  <a:pt x="2138747" y="2883363"/>
                  <a:pt x="2136029" y="2894233"/>
                </a:cubicBezTo>
                <a:cubicBezTo>
                  <a:pt x="2133311" y="2894233"/>
                  <a:pt x="2133311" y="2894233"/>
                  <a:pt x="2133311" y="2894233"/>
                </a:cubicBezTo>
                <a:cubicBezTo>
                  <a:pt x="2127876" y="2894233"/>
                  <a:pt x="2119723" y="2896951"/>
                  <a:pt x="2117006" y="2894233"/>
                </a:cubicBezTo>
                <a:cubicBezTo>
                  <a:pt x="2119723" y="2877929"/>
                  <a:pt x="2127876" y="2864340"/>
                  <a:pt x="2127876" y="2848035"/>
                </a:cubicBezTo>
                <a:cubicBezTo>
                  <a:pt x="2130594" y="2848035"/>
                  <a:pt x="2130594" y="2848035"/>
                  <a:pt x="2133311" y="2848035"/>
                </a:cubicBezTo>
                <a:cubicBezTo>
                  <a:pt x="2141464" y="2848035"/>
                  <a:pt x="2141464" y="2842599"/>
                  <a:pt x="2149617" y="2839881"/>
                </a:cubicBezTo>
                <a:cubicBezTo>
                  <a:pt x="2152334" y="2831729"/>
                  <a:pt x="2160487" y="2829011"/>
                  <a:pt x="2165922" y="2823576"/>
                </a:cubicBezTo>
                <a:cubicBezTo>
                  <a:pt x="2165922" y="2820858"/>
                  <a:pt x="2168640" y="2815423"/>
                  <a:pt x="2168640" y="2812706"/>
                </a:cubicBezTo>
                <a:cubicBezTo>
                  <a:pt x="2165922" y="2812706"/>
                  <a:pt x="2165922" y="2812706"/>
                  <a:pt x="2165922" y="2809988"/>
                </a:cubicBezTo>
                <a:cubicBezTo>
                  <a:pt x="2163205" y="2809988"/>
                  <a:pt x="2163205" y="2809988"/>
                  <a:pt x="2160487" y="2809988"/>
                </a:cubicBezTo>
                <a:cubicBezTo>
                  <a:pt x="2155052" y="2812706"/>
                  <a:pt x="2155052" y="2820858"/>
                  <a:pt x="2152334" y="2823576"/>
                </a:cubicBezTo>
                <a:cubicBezTo>
                  <a:pt x="2149617" y="2823576"/>
                  <a:pt x="2146899" y="2826293"/>
                  <a:pt x="2144182" y="2826293"/>
                </a:cubicBezTo>
                <a:cubicBezTo>
                  <a:pt x="2144182" y="2826293"/>
                  <a:pt x="2144182" y="2829011"/>
                  <a:pt x="2144182" y="2831729"/>
                </a:cubicBezTo>
                <a:cubicBezTo>
                  <a:pt x="2141464" y="2831729"/>
                  <a:pt x="2136029" y="2834447"/>
                  <a:pt x="2133311" y="2837165"/>
                </a:cubicBezTo>
                <a:cubicBezTo>
                  <a:pt x="2133311" y="2834447"/>
                  <a:pt x="2133311" y="2790965"/>
                  <a:pt x="2130594" y="2785530"/>
                </a:cubicBezTo>
                <a:cubicBezTo>
                  <a:pt x="2130594" y="2782812"/>
                  <a:pt x="2130594" y="2785530"/>
                  <a:pt x="2127876" y="2782812"/>
                </a:cubicBezTo>
                <a:cubicBezTo>
                  <a:pt x="2125159" y="2782812"/>
                  <a:pt x="2125159" y="2782812"/>
                  <a:pt x="2125159" y="2782812"/>
                </a:cubicBezTo>
                <a:cubicBezTo>
                  <a:pt x="2122441" y="2785530"/>
                  <a:pt x="2122441" y="2812706"/>
                  <a:pt x="2125159" y="2820858"/>
                </a:cubicBezTo>
                <a:cubicBezTo>
                  <a:pt x="2125159" y="2823576"/>
                  <a:pt x="2127876" y="2823576"/>
                  <a:pt x="2127876" y="2829011"/>
                </a:cubicBezTo>
                <a:cubicBezTo>
                  <a:pt x="2127876" y="2839881"/>
                  <a:pt x="2114288" y="2875211"/>
                  <a:pt x="2108853" y="2880645"/>
                </a:cubicBezTo>
                <a:cubicBezTo>
                  <a:pt x="2095265" y="2875211"/>
                  <a:pt x="2097983" y="2858905"/>
                  <a:pt x="2092547" y="2845317"/>
                </a:cubicBezTo>
                <a:cubicBezTo>
                  <a:pt x="2087112" y="2834447"/>
                  <a:pt x="2081677" y="2831729"/>
                  <a:pt x="2078960" y="2820858"/>
                </a:cubicBezTo>
                <a:cubicBezTo>
                  <a:pt x="2076242" y="2820858"/>
                  <a:pt x="2073524" y="2820858"/>
                  <a:pt x="2070807" y="2820858"/>
                </a:cubicBezTo>
                <a:cubicBezTo>
                  <a:pt x="2070807" y="2820858"/>
                  <a:pt x="2068089" y="2823576"/>
                  <a:pt x="2068089" y="2823576"/>
                </a:cubicBezTo>
                <a:cubicBezTo>
                  <a:pt x="2068089" y="2826293"/>
                  <a:pt x="2070807" y="2831729"/>
                  <a:pt x="2073524" y="2834447"/>
                </a:cubicBezTo>
                <a:cubicBezTo>
                  <a:pt x="2076242" y="2837165"/>
                  <a:pt x="2078960" y="2834447"/>
                  <a:pt x="2078960" y="2837165"/>
                </a:cubicBezTo>
                <a:cubicBezTo>
                  <a:pt x="2081677" y="2842599"/>
                  <a:pt x="2084395" y="2850752"/>
                  <a:pt x="2084395" y="2856187"/>
                </a:cubicBezTo>
                <a:cubicBezTo>
                  <a:pt x="2084395" y="2856187"/>
                  <a:pt x="2087112" y="2858905"/>
                  <a:pt x="2087112" y="2858905"/>
                </a:cubicBezTo>
                <a:cubicBezTo>
                  <a:pt x="2087112" y="2861623"/>
                  <a:pt x="2084395" y="2869775"/>
                  <a:pt x="2087112" y="2875211"/>
                </a:cubicBezTo>
                <a:cubicBezTo>
                  <a:pt x="2089830" y="2880645"/>
                  <a:pt x="2095265" y="2886081"/>
                  <a:pt x="2097983" y="2894233"/>
                </a:cubicBezTo>
                <a:cubicBezTo>
                  <a:pt x="2097983" y="2894233"/>
                  <a:pt x="2095265" y="2896951"/>
                  <a:pt x="2095265" y="2896951"/>
                </a:cubicBezTo>
                <a:cubicBezTo>
                  <a:pt x="2092547" y="2896951"/>
                  <a:pt x="2084395" y="2896951"/>
                  <a:pt x="2081677" y="2899669"/>
                </a:cubicBezTo>
                <a:cubicBezTo>
                  <a:pt x="2078960" y="2899669"/>
                  <a:pt x="2078960" y="2905104"/>
                  <a:pt x="2076242" y="2905104"/>
                </a:cubicBezTo>
                <a:cubicBezTo>
                  <a:pt x="2068089" y="2907821"/>
                  <a:pt x="2062654" y="2905104"/>
                  <a:pt x="2057219" y="2907821"/>
                </a:cubicBezTo>
                <a:cubicBezTo>
                  <a:pt x="2054501" y="2899669"/>
                  <a:pt x="2054501" y="2880645"/>
                  <a:pt x="2059936" y="2872493"/>
                </a:cubicBezTo>
                <a:cubicBezTo>
                  <a:pt x="2059936" y="2867058"/>
                  <a:pt x="2059936" y="2867058"/>
                  <a:pt x="2059936" y="2864340"/>
                </a:cubicBezTo>
                <a:cubicBezTo>
                  <a:pt x="2057219" y="2864340"/>
                  <a:pt x="2054501" y="2864340"/>
                  <a:pt x="2051784" y="2864340"/>
                </a:cubicBezTo>
                <a:cubicBezTo>
                  <a:pt x="2051784" y="2869775"/>
                  <a:pt x="2049066" y="2872493"/>
                  <a:pt x="2049066" y="2875211"/>
                </a:cubicBezTo>
                <a:cubicBezTo>
                  <a:pt x="2046348" y="2886081"/>
                  <a:pt x="2051784" y="2894233"/>
                  <a:pt x="2046348" y="2902386"/>
                </a:cubicBezTo>
                <a:cubicBezTo>
                  <a:pt x="2049066" y="2934997"/>
                  <a:pt x="2027325" y="2932280"/>
                  <a:pt x="2011020" y="2945868"/>
                </a:cubicBezTo>
                <a:cubicBezTo>
                  <a:pt x="2005584" y="2937715"/>
                  <a:pt x="2005584" y="2924127"/>
                  <a:pt x="2002867" y="2913257"/>
                </a:cubicBezTo>
                <a:cubicBezTo>
                  <a:pt x="2000149" y="2913257"/>
                  <a:pt x="2000149" y="2910539"/>
                  <a:pt x="1997432" y="2913257"/>
                </a:cubicBezTo>
                <a:cubicBezTo>
                  <a:pt x="1997432" y="2913257"/>
                  <a:pt x="1994714" y="2913257"/>
                  <a:pt x="1994714" y="2913257"/>
                </a:cubicBezTo>
                <a:cubicBezTo>
                  <a:pt x="1994714" y="2921409"/>
                  <a:pt x="1997432" y="2940433"/>
                  <a:pt x="2000149" y="2945868"/>
                </a:cubicBezTo>
                <a:cubicBezTo>
                  <a:pt x="1997432" y="2951303"/>
                  <a:pt x="1994714" y="2954020"/>
                  <a:pt x="1989279" y="2954020"/>
                </a:cubicBezTo>
                <a:cubicBezTo>
                  <a:pt x="1989279" y="2954020"/>
                  <a:pt x="1989279" y="2956738"/>
                  <a:pt x="1989279" y="2956738"/>
                </a:cubicBezTo>
                <a:cubicBezTo>
                  <a:pt x="1983844" y="2956738"/>
                  <a:pt x="1986561" y="2956738"/>
                  <a:pt x="1983844" y="2959456"/>
                </a:cubicBezTo>
                <a:cubicBezTo>
                  <a:pt x="1986561" y="2956738"/>
                  <a:pt x="1986561" y="2932280"/>
                  <a:pt x="1981126" y="2926845"/>
                </a:cubicBezTo>
                <a:cubicBezTo>
                  <a:pt x="1981126" y="2918692"/>
                  <a:pt x="2008302" y="2896951"/>
                  <a:pt x="2016455" y="2894233"/>
                </a:cubicBezTo>
                <a:cubicBezTo>
                  <a:pt x="2016455" y="2886081"/>
                  <a:pt x="2013737" y="2880645"/>
                  <a:pt x="2016455" y="2872493"/>
                </a:cubicBezTo>
                <a:cubicBezTo>
                  <a:pt x="2024608" y="2850752"/>
                  <a:pt x="2046348" y="2829011"/>
                  <a:pt x="2043631" y="2801835"/>
                </a:cubicBezTo>
                <a:cubicBezTo>
                  <a:pt x="2040913" y="2801835"/>
                  <a:pt x="2040913" y="2801835"/>
                  <a:pt x="2038196" y="2801835"/>
                </a:cubicBezTo>
                <a:cubicBezTo>
                  <a:pt x="2032760" y="2807271"/>
                  <a:pt x="2035478" y="2815423"/>
                  <a:pt x="2032760" y="2823576"/>
                </a:cubicBezTo>
                <a:cubicBezTo>
                  <a:pt x="2030043" y="2834447"/>
                  <a:pt x="2021890" y="2845317"/>
                  <a:pt x="2016455" y="2856187"/>
                </a:cubicBezTo>
                <a:cubicBezTo>
                  <a:pt x="2011020" y="2864340"/>
                  <a:pt x="2011020" y="2877929"/>
                  <a:pt x="2008302" y="2883363"/>
                </a:cubicBezTo>
                <a:cubicBezTo>
                  <a:pt x="2008302" y="2886081"/>
                  <a:pt x="2008302" y="2888798"/>
                  <a:pt x="2008302" y="2891516"/>
                </a:cubicBezTo>
                <a:cubicBezTo>
                  <a:pt x="2008302" y="2891516"/>
                  <a:pt x="1981126" y="2910539"/>
                  <a:pt x="1981126" y="2910539"/>
                </a:cubicBezTo>
                <a:cubicBezTo>
                  <a:pt x="1978409" y="2910539"/>
                  <a:pt x="1981126" y="2910539"/>
                  <a:pt x="1978409" y="2910539"/>
                </a:cubicBezTo>
                <a:cubicBezTo>
                  <a:pt x="1964821" y="2875211"/>
                  <a:pt x="1986561" y="2839881"/>
                  <a:pt x="1978409" y="2807271"/>
                </a:cubicBezTo>
                <a:cubicBezTo>
                  <a:pt x="1986561" y="2804554"/>
                  <a:pt x="1991997" y="2796400"/>
                  <a:pt x="1997432" y="2790965"/>
                </a:cubicBezTo>
                <a:cubicBezTo>
                  <a:pt x="1997432" y="2788247"/>
                  <a:pt x="1997432" y="2788247"/>
                  <a:pt x="1997432" y="2785530"/>
                </a:cubicBezTo>
                <a:cubicBezTo>
                  <a:pt x="1989279" y="2785530"/>
                  <a:pt x="1983844" y="2790965"/>
                  <a:pt x="1981126" y="2796400"/>
                </a:cubicBezTo>
                <a:cubicBezTo>
                  <a:pt x="1978409" y="2790965"/>
                  <a:pt x="1975691" y="2780094"/>
                  <a:pt x="1972973" y="2774659"/>
                </a:cubicBezTo>
                <a:cubicBezTo>
                  <a:pt x="1972973" y="2771942"/>
                  <a:pt x="1975691" y="2769224"/>
                  <a:pt x="1972973" y="2763789"/>
                </a:cubicBezTo>
                <a:cubicBezTo>
                  <a:pt x="1972973" y="2761071"/>
                  <a:pt x="1970256" y="2758354"/>
                  <a:pt x="1967538" y="2752919"/>
                </a:cubicBezTo>
                <a:cubicBezTo>
                  <a:pt x="1962103" y="2752919"/>
                  <a:pt x="1962103" y="2752919"/>
                  <a:pt x="1959385" y="2755636"/>
                </a:cubicBezTo>
                <a:cubicBezTo>
                  <a:pt x="1959385" y="2758354"/>
                  <a:pt x="1959385" y="2766507"/>
                  <a:pt x="1959385" y="2766507"/>
                </a:cubicBezTo>
                <a:cubicBezTo>
                  <a:pt x="1962103" y="2766507"/>
                  <a:pt x="1962103" y="2769224"/>
                  <a:pt x="1964821" y="2769224"/>
                </a:cubicBezTo>
                <a:cubicBezTo>
                  <a:pt x="1964821" y="2774659"/>
                  <a:pt x="1964821" y="2777377"/>
                  <a:pt x="1964821" y="2782812"/>
                </a:cubicBezTo>
                <a:cubicBezTo>
                  <a:pt x="1964821" y="2785530"/>
                  <a:pt x="1970256" y="2793682"/>
                  <a:pt x="1970256" y="2796400"/>
                </a:cubicBezTo>
                <a:cubicBezTo>
                  <a:pt x="1970256" y="2799118"/>
                  <a:pt x="1967538" y="2801835"/>
                  <a:pt x="1967538" y="2804554"/>
                </a:cubicBezTo>
                <a:cubicBezTo>
                  <a:pt x="1967538" y="2809988"/>
                  <a:pt x="1970256" y="2815423"/>
                  <a:pt x="1970256" y="2818141"/>
                </a:cubicBezTo>
                <a:cubicBezTo>
                  <a:pt x="1970256" y="2829011"/>
                  <a:pt x="1972973" y="2839881"/>
                  <a:pt x="1967538" y="2848035"/>
                </a:cubicBezTo>
                <a:cubicBezTo>
                  <a:pt x="1959385" y="2845317"/>
                  <a:pt x="1959385" y="2837165"/>
                  <a:pt x="1956668" y="2831729"/>
                </a:cubicBezTo>
                <a:cubicBezTo>
                  <a:pt x="1953950" y="2831729"/>
                  <a:pt x="1951233" y="2831729"/>
                  <a:pt x="1948515" y="2829011"/>
                </a:cubicBezTo>
                <a:cubicBezTo>
                  <a:pt x="1943080" y="2826293"/>
                  <a:pt x="1948515" y="2820858"/>
                  <a:pt x="1945797" y="2815423"/>
                </a:cubicBezTo>
                <a:cubicBezTo>
                  <a:pt x="1945797" y="2815423"/>
                  <a:pt x="1943080" y="2815423"/>
                  <a:pt x="1943080" y="2815423"/>
                </a:cubicBezTo>
                <a:cubicBezTo>
                  <a:pt x="1940362" y="2809988"/>
                  <a:pt x="1943080" y="2807271"/>
                  <a:pt x="1940362" y="2801835"/>
                </a:cubicBezTo>
                <a:cubicBezTo>
                  <a:pt x="1937645" y="2796400"/>
                  <a:pt x="1932209" y="2790965"/>
                  <a:pt x="1932209" y="2780094"/>
                </a:cubicBezTo>
                <a:cubicBezTo>
                  <a:pt x="1929492" y="2780094"/>
                  <a:pt x="1929492" y="2780094"/>
                  <a:pt x="1929492" y="2780094"/>
                </a:cubicBezTo>
                <a:cubicBezTo>
                  <a:pt x="1926774" y="2780094"/>
                  <a:pt x="1926774" y="2780094"/>
                  <a:pt x="1924057" y="2780094"/>
                </a:cubicBezTo>
                <a:cubicBezTo>
                  <a:pt x="1921339" y="2793682"/>
                  <a:pt x="1924057" y="2788247"/>
                  <a:pt x="1926774" y="2796400"/>
                </a:cubicBezTo>
                <a:cubicBezTo>
                  <a:pt x="1929492" y="2799118"/>
                  <a:pt x="1926774" y="2804554"/>
                  <a:pt x="1926774" y="2807271"/>
                </a:cubicBezTo>
                <a:cubicBezTo>
                  <a:pt x="1926774" y="2812706"/>
                  <a:pt x="1932209" y="2818141"/>
                  <a:pt x="1934927" y="2820858"/>
                </a:cubicBezTo>
                <a:cubicBezTo>
                  <a:pt x="1934927" y="2823576"/>
                  <a:pt x="1932209" y="2831729"/>
                  <a:pt x="1934927" y="2834447"/>
                </a:cubicBezTo>
                <a:cubicBezTo>
                  <a:pt x="1937645" y="2839881"/>
                  <a:pt x="1940362" y="2834447"/>
                  <a:pt x="1940362" y="2842599"/>
                </a:cubicBezTo>
                <a:cubicBezTo>
                  <a:pt x="1945797" y="2842599"/>
                  <a:pt x="1945797" y="2845317"/>
                  <a:pt x="1951233" y="2845317"/>
                </a:cubicBezTo>
                <a:cubicBezTo>
                  <a:pt x="1953950" y="2853469"/>
                  <a:pt x="1962103" y="2861623"/>
                  <a:pt x="1964821" y="2867058"/>
                </a:cubicBezTo>
                <a:cubicBezTo>
                  <a:pt x="1967538" y="2869775"/>
                  <a:pt x="1964821" y="2877929"/>
                  <a:pt x="1964821" y="2880645"/>
                </a:cubicBezTo>
                <a:cubicBezTo>
                  <a:pt x="1967538" y="2888798"/>
                  <a:pt x="1967538" y="2905104"/>
                  <a:pt x="1970256" y="2913257"/>
                </a:cubicBezTo>
                <a:cubicBezTo>
                  <a:pt x="1972973" y="2918692"/>
                  <a:pt x="1970256" y="2921409"/>
                  <a:pt x="1970256" y="2924127"/>
                </a:cubicBezTo>
                <a:cubicBezTo>
                  <a:pt x="1970256" y="2932280"/>
                  <a:pt x="1970256" y="2929562"/>
                  <a:pt x="1975691" y="2932280"/>
                </a:cubicBezTo>
                <a:cubicBezTo>
                  <a:pt x="1975691" y="2934997"/>
                  <a:pt x="1975691" y="2937715"/>
                  <a:pt x="1975691" y="2940433"/>
                </a:cubicBezTo>
                <a:cubicBezTo>
                  <a:pt x="1972973" y="2940433"/>
                  <a:pt x="1956668" y="2926845"/>
                  <a:pt x="1953950" y="2924127"/>
                </a:cubicBezTo>
                <a:cubicBezTo>
                  <a:pt x="1953950" y="2924127"/>
                  <a:pt x="1953950" y="2921409"/>
                  <a:pt x="1953950" y="2918692"/>
                </a:cubicBezTo>
                <a:cubicBezTo>
                  <a:pt x="1953950" y="2915974"/>
                  <a:pt x="1951233" y="2918692"/>
                  <a:pt x="1948515" y="2915974"/>
                </a:cubicBezTo>
                <a:cubicBezTo>
                  <a:pt x="1948515" y="2913257"/>
                  <a:pt x="1951233" y="2913257"/>
                  <a:pt x="1948515" y="2910539"/>
                </a:cubicBezTo>
                <a:cubicBezTo>
                  <a:pt x="1940362" y="2902386"/>
                  <a:pt x="1929492" y="2896951"/>
                  <a:pt x="1932209" y="2886081"/>
                </a:cubicBezTo>
                <a:cubicBezTo>
                  <a:pt x="1926774" y="2886081"/>
                  <a:pt x="1926774" y="2886081"/>
                  <a:pt x="1924057" y="2886081"/>
                </a:cubicBezTo>
                <a:cubicBezTo>
                  <a:pt x="1924057" y="2891516"/>
                  <a:pt x="1924057" y="2894233"/>
                  <a:pt x="1924057" y="2899669"/>
                </a:cubicBezTo>
                <a:cubicBezTo>
                  <a:pt x="1926774" y="2899669"/>
                  <a:pt x="1937645" y="2910539"/>
                  <a:pt x="1937645" y="2910539"/>
                </a:cubicBezTo>
                <a:cubicBezTo>
                  <a:pt x="1937645" y="2913257"/>
                  <a:pt x="1937645" y="2913257"/>
                  <a:pt x="1937645" y="2915974"/>
                </a:cubicBezTo>
                <a:cubicBezTo>
                  <a:pt x="1937645" y="2918692"/>
                  <a:pt x="1943080" y="2915974"/>
                  <a:pt x="1943080" y="2918692"/>
                </a:cubicBezTo>
                <a:cubicBezTo>
                  <a:pt x="1943080" y="2921409"/>
                  <a:pt x="1943080" y="2921409"/>
                  <a:pt x="1943080" y="2924127"/>
                </a:cubicBezTo>
                <a:cubicBezTo>
                  <a:pt x="1945797" y="2924127"/>
                  <a:pt x="1948515" y="2924127"/>
                  <a:pt x="1951233" y="2926845"/>
                </a:cubicBezTo>
                <a:cubicBezTo>
                  <a:pt x="1951233" y="2929562"/>
                  <a:pt x="1951233" y="2929562"/>
                  <a:pt x="1951233" y="2932280"/>
                </a:cubicBezTo>
                <a:cubicBezTo>
                  <a:pt x="1951233" y="2934997"/>
                  <a:pt x="1956668" y="2932280"/>
                  <a:pt x="1956668" y="2934997"/>
                </a:cubicBezTo>
                <a:cubicBezTo>
                  <a:pt x="1956668" y="2937715"/>
                  <a:pt x="1956668" y="2937715"/>
                  <a:pt x="1956668" y="2940433"/>
                </a:cubicBezTo>
                <a:cubicBezTo>
                  <a:pt x="1959385" y="2943150"/>
                  <a:pt x="1962103" y="2940433"/>
                  <a:pt x="1964821" y="2943150"/>
                </a:cubicBezTo>
                <a:cubicBezTo>
                  <a:pt x="1967538" y="2943150"/>
                  <a:pt x="1975691" y="2956738"/>
                  <a:pt x="1978409" y="2959456"/>
                </a:cubicBezTo>
                <a:cubicBezTo>
                  <a:pt x="1981126" y="2962173"/>
                  <a:pt x="1978409" y="2973044"/>
                  <a:pt x="1978409" y="2981196"/>
                </a:cubicBezTo>
                <a:cubicBezTo>
                  <a:pt x="1975691" y="2983914"/>
                  <a:pt x="1972973" y="2992067"/>
                  <a:pt x="1967538" y="2994784"/>
                </a:cubicBezTo>
                <a:cubicBezTo>
                  <a:pt x="1964821" y="2994784"/>
                  <a:pt x="1962103" y="2994784"/>
                  <a:pt x="1959385" y="2997502"/>
                </a:cubicBezTo>
                <a:cubicBezTo>
                  <a:pt x="1959385" y="3000219"/>
                  <a:pt x="1959385" y="3000219"/>
                  <a:pt x="1959385" y="3002937"/>
                </a:cubicBezTo>
                <a:cubicBezTo>
                  <a:pt x="1959385" y="3002937"/>
                  <a:pt x="1956668" y="3002937"/>
                  <a:pt x="1953950" y="3002937"/>
                </a:cubicBezTo>
                <a:cubicBezTo>
                  <a:pt x="1953950" y="3005655"/>
                  <a:pt x="1953950" y="3005655"/>
                  <a:pt x="1953950" y="3008372"/>
                </a:cubicBezTo>
                <a:cubicBezTo>
                  <a:pt x="1951233" y="3011090"/>
                  <a:pt x="1948515" y="3011090"/>
                  <a:pt x="1945797" y="3013807"/>
                </a:cubicBezTo>
                <a:cubicBezTo>
                  <a:pt x="1945797" y="3013807"/>
                  <a:pt x="1945797" y="3016525"/>
                  <a:pt x="1945797" y="3016525"/>
                </a:cubicBezTo>
                <a:cubicBezTo>
                  <a:pt x="1943080" y="3019243"/>
                  <a:pt x="1937645" y="3024678"/>
                  <a:pt x="1934927" y="3027395"/>
                </a:cubicBezTo>
                <a:cubicBezTo>
                  <a:pt x="1934927" y="3027395"/>
                  <a:pt x="1934927" y="3030113"/>
                  <a:pt x="1934927" y="3032831"/>
                </a:cubicBezTo>
                <a:cubicBezTo>
                  <a:pt x="1932209" y="3032831"/>
                  <a:pt x="1926774" y="3038266"/>
                  <a:pt x="1924057" y="3040983"/>
                </a:cubicBezTo>
                <a:cubicBezTo>
                  <a:pt x="1918621" y="3046418"/>
                  <a:pt x="1915904" y="3057289"/>
                  <a:pt x="1913186" y="3065442"/>
                </a:cubicBezTo>
                <a:cubicBezTo>
                  <a:pt x="1913186" y="3065442"/>
                  <a:pt x="1913186" y="3068159"/>
                  <a:pt x="1913186" y="3070877"/>
                </a:cubicBezTo>
                <a:cubicBezTo>
                  <a:pt x="1907751" y="3081747"/>
                  <a:pt x="1888728" y="3092618"/>
                  <a:pt x="1886010" y="3103488"/>
                </a:cubicBezTo>
                <a:cubicBezTo>
                  <a:pt x="1883293" y="3103488"/>
                  <a:pt x="1883293" y="3103488"/>
                  <a:pt x="1883293" y="3103488"/>
                </a:cubicBezTo>
                <a:cubicBezTo>
                  <a:pt x="1875140" y="3100770"/>
                  <a:pt x="1877857" y="3098053"/>
                  <a:pt x="1872422" y="3095335"/>
                </a:cubicBezTo>
                <a:cubicBezTo>
                  <a:pt x="1872422" y="3073594"/>
                  <a:pt x="1875140" y="3040983"/>
                  <a:pt x="1877857" y="3021960"/>
                </a:cubicBezTo>
                <a:cubicBezTo>
                  <a:pt x="1877857" y="3011090"/>
                  <a:pt x="1883293" y="2997502"/>
                  <a:pt x="1880575" y="2989349"/>
                </a:cubicBezTo>
                <a:cubicBezTo>
                  <a:pt x="1877857" y="2975761"/>
                  <a:pt x="1872422" y="2954020"/>
                  <a:pt x="1872422" y="2934997"/>
                </a:cubicBezTo>
                <a:cubicBezTo>
                  <a:pt x="1866987" y="2934997"/>
                  <a:pt x="1866987" y="2934997"/>
                  <a:pt x="1864269" y="2934997"/>
                </a:cubicBezTo>
                <a:cubicBezTo>
                  <a:pt x="1864269" y="2956738"/>
                  <a:pt x="1877857" y="2986632"/>
                  <a:pt x="1872422" y="3011090"/>
                </a:cubicBezTo>
                <a:cubicBezTo>
                  <a:pt x="1869705" y="3030113"/>
                  <a:pt x="1856117" y="3092618"/>
                  <a:pt x="1872422" y="3111641"/>
                </a:cubicBezTo>
                <a:cubicBezTo>
                  <a:pt x="1872422" y="3130664"/>
                  <a:pt x="1847964" y="3146970"/>
                  <a:pt x="1837094" y="3157840"/>
                </a:cubicBezTo>
                <a:cubicBezTo>
                  <a:pt x="1831658" y="3157840"/>
                  <a:pt x="1828941" y="3160558"/>
                  <a:pt x="1826223" y="3160558"/>
                </a:cubicBezTo>
                <a:cubicBezTo>
                  <a:pt x="1823506" y="3160558"/>
                  <a:pt x="1823506" y="3163275"/>
                  <a:pt x="1820788" y="3165993"/>
                </a:cubicBezTo>
                <a:cubicBezTo>
                  <a:pt x="1816711" y="3167351"/>
                  <a:pt x="1812635" y="3168031"/>
                  <a:pt x="1808898" y="3169050"/>
                </a:cubicBezTo>
                <a:lnTo>
                  <a:pt x="1804890" y="3171123"/>
                </a:lnTo>
                <a:lnTo>
                  <a:pt x="1805163" y="3178222"/>
                </a:lnTo>
                <a:cubicBezTo>
                  <a:pt x="1805163" y="3184336"/>
                  <a:pt x="1804483" y="3190451"/>
                  <a:pt x="1801765" y="3195886"/>
                </a:cubicBezTo>
                <a:cubicBezTo>
                  <a:pt x="1793612" y="3212192"/>
                  <a:pt x="1777307" y="3225780"/>
                  <a:pt x="1771871" y="3242086"/>
                </a:cubicBezTo>
                <a:cubicBezTo>
                  <a:pt x="1763719" y="3266544"/>
                  <a:pt x="1763719" y="3293720"/>
                  <a:pt x="1752848" y="3315460"/>
                </a:cubicBezTo>
                <a:cubicBezTo>
                  <a:pt x="1747413" y="3329048"/>
                  <a:pt x="1728390" y="3350789"/>
                  <a:pt x="1725672" y="3361660"/>
                </a:cubicBezTo>
                <a:cubicBezTo>
                  <a:pt x="1725672" y="3361660"/>
                  <a:pt x="1722955" y="3361660"/>
                  <a:pt x="1722955" y="3361660"/>
                </a:cubicBezTo>
                <a:cubicBezTo>
                  <a:pt x="1720237" y="3356224"/>
                  <a:pt x="1709367" y="3345354"/>
                  <a:pt x="1703932" y="3339919"/>
                </a:cubicBezTo>
                <a:cubicBezTo>
                  <a:pt x="1703932" y="3326331"/>
                  <a:pt x="1714802" y="3318178"/>
                  <a:pt x="1720237" y="3310025"/>
                </a:cubicBezTo>
                <a:cubicBezTo>
                  <a:pt x="1725672" y="3304590"/>
                  <a:pt x="1722955" y="3296437"/>
                  <a:pt x="1728390" y="3288284"/>
                </a:cubicBezTo>
                <a:cubicBezTo>
                  <a:pt x="1731108" y="3282849"/>
                  <a:pt x="1736543" y="3282849"/>
                  <a:pt x="1739260" y="3280132"/>
                </a:cubicBezTo>
                <a:cubicBezTo>
                  <a:pt x="1739260" y="3277414"/>
                  <a:pt x="1739260" y="3274697"/>
                  <a:pt x="1741978" y="3271979"/>
                </a:cubicBezTo>
                <a:cubicBezTo>
                  <a:pt x="1744696" y="3271979"/>
                  <a:pt x="1744696" y="3271979"/>
                  <a:pt x="1747413" y="3271979"/>
                </a:cubicBezTo>
                <a:cubicBezTo>
                  <a:pt x="1750131" y="3269261"/>
                  <a:pt x="1761001" y="3258391"/>
                  <a:pt x="1761001" y="3255673"/>
                </a:cubicBezTo>
                <a:cubicBezTo>
                  <a:pt x="1761001" y="3252956"/>
                  <a:pt x="1761001" y="3250238"/>
                  <a:pt x="1761001" y="3247521"/>
                </a:cubicBezTo>
                <a:cubicBezTo>
                  <a:pt x="1761001" y="3247521"/>
                  <a:pt x="1763719" y="3247521"/>
                  <a:pt x="1763719" y="3247521"/>
                </a:cubicBezTo>
                <a:cubicBezTo>
                  <a:pt x="1763719" y="3247521"/>
                  <a:pt x="1763719" y="3244803"/>
                  <a:pt x="1763719" y="3242086"/>
                </a:cubicBezTo>
                <a:cubicBezTo>
                  <a:pt x="1766436" y="3242086"/>
                  <a:pt x="1766436" y="3242086"/>
                  <a:pt x="1771871" y="3239368"/>
                </a:cubicBezTo>
                <a:cubicBezTo>
                  <a:pt x="1780024" y="3225780"/>
                  <a:pt x="1774589" y="3206757"/>
                  <a:pt x="1777307" y="3193169"/>
                </a:cubicBezTo>
                <a:cubicBezTo>
                  <a:pt x="1778666" y="3189092"/>
                  <a:pt x="1783422" y="3182298"/>
                  <a:pt x="1788517" y="3175844"/>
                </a:cubicBezTo>
                <a:lnTo>
                  <a:pt x="1790978" y="3173005"/>
                </a:lnTo>
                <a:lnTo>
                  <a:pt x="1793272" y="3141874"/>
                </a:lnTo>
                <a:lnTo>
                  <a:pt x="1795854" y="3132681"/>
                </a:lnTo>
                <a:lnTo>
                  <a:pt x="1790895" y="3144252"/>
                </a:lnTo>
                <a:cubicBezTo>
                  <a:pt x="1785460" y="3149687"/>
                  <a:pt x="1780025" y="3157840"/>
                  <a:pt x="1777307" y="3163275"/>
                </a:cubicBezTo>
                <a:cubicBezTo>
                  <a:pt x="1771872" y="3163275"/>
                  <a:pt x="1769154" y="3165993"/>
                  <a:pt x="1766437" y="3163275"/>
                </a:cubicBezTo>
                <a:cubicBezTo>
                  <a:pt x="1766437" y="3157840"/>
                  <a:pt x="1766437" y="3152405"/>
                  <a:pt x="1766437" y="3149687"/>
                </a:cubicBezTo>
                <a:cubicBezTo>
                  <a:pt x="1758284" y="3133382"/>
                  <a:pt x="1761002" y="3108923"/>
                  <a:pt x="1769154" y="3092618"/>
                </a:cubicBezTo>
                <a:cubicBezTo>
                  <a:pt x="1766437" y="3092618"/>
                  <a:pt x="1766437" y="3092618"/>
                  <a:pt x="1766437" y="3089900"/>
                </a:cubicBezTo>
                <a:cubicBezTo>
                  <a:pt x="1763719" y="3089900"/>
                  <a:pt x="1763719" y="3089900"/>
                  <a:pt x="1761002" y="3089900"/>
                </a:cubicBezTo>
                <a:cubicBezTo>
                  <a:pt x="1755566" y="3095335"/>
                  <a:pt x="1758284" y="3103488"/>
                  <a:pt x="1755566" y="3114358"/>
                </a:cubicBezTo>
                <a:cubicBezTo>
                  <a:pt x="1752849" y="3133382"/>
                  <a:pt x="1755566" y="3165993"/>
                  <a:pt x="1766437" y="3179581"/>
                </a:cubicBezTo>
                <a:cubicBezTo>
                  <a:pt x="1763719" y="3185016"/>
                  <a:pt x="1755566" y="3193169"/>
                  <a:pt x="1750131" y="3195886"/>
                </a:cubicBezTo>
                <a:cubicBezTo>
                  <a:pt x="1747414" y="3195886"/>
                  <a:pt x="1744696" y="3193169"/>
                  <a:pt x="1741978" y="3195886"/>
                </a:cubicBezTo>
                <a:cubicBezTo>
                  <a:pt x="1736543" y="3198604"/>
                  <a:pt x="1736543" y="3204039"/>
                  <a:pt x="1722955" y="3204039"/>
                </a:cubicBezTo>
                <a:cubicBezTo>
                  <a:pt x="1722955" y="3185016"/>
                  <a:pt x="1720238" y="3146970"/>
                  <a:pt x="1725673" y="3127946"/>
                </a:cubicBezTo>
                <a:cubicBezTo>
                  <a:pt x="1728390" y="3119794"/>
                  <a:pt x="1720238" y="3111641"/>
                  <a:pt x="1725673" y="3103488"/>
                </a:cubicBezTo>
                <a:cubicBezTo>
                  <a:pt x="1728390" y="3095335"/>
                  <a:pt x="1736543" y="3095335"/>
                  <a:pt x="1741978" y="3089900"/>
                </a:cubicBezTo>
                <a:cubicBezTo>
                  <a:pt x="1741978" y="3087182"/>
                  <a:pt x="1741978" y="3087182"/>
                  <a:pt x="1741978" y="3084465"/>
                </a:cubicBezTo>
                <a:cubicBezTo>
                  <a:pt x="1741978" y="3081747"/>
                  <a:pt x="1744696" y="3084465"/>
                  <a:pt x="1747414" y="3081747"/>
                </a:cubicBezTo>
                <a:cubicBezTo>
                  <a:pt x="1750131" y="3081747"/>
                  <a:pt x="1747414" y="3079030"/>
                  <a:pt x="1750131" y="3076312"/>
                </a:cubicBezTo>
                <a:cubicBezTo>
                  <a:pt x="1752849" y="3070877"/>
                  <a:pt x="1761002" y="3068159"/>
                  <a:pt x="1763719" y="3065442"/>
                </a:cubicBezTo>
                <a:cubicBezTo>
                  <a:pt x="1766437" y="3060007"/>
                  <a:pt x="1771872" y="3051854"/>
                  <a:pt x="1774589" y="3049136"/>
                </a:cubicBezTo>
                <a:cubicBezTo>
                  <a:pt x="1774589" y="3049136"/>
                  <a:pt x="1777307" y="3049136"/>
                  <a:pt x="1780025" y="3049136"/>
                </a:cubicBezTo>
                <a:cubicBezTo>
                  <a:pt x="1782742" y="3043701"/>
                  <a:pt x="1782742" y="3038266"/>
                  <a:pt x="1785460" y="3032831"/>
                </a:cubicBezTo>
                <a:cubicBezTo>
                  <a:pt x="1788177" y="3030113"/>
                  <a:pt x="1790895" y="3027395"/>
                  <a:pt x="1793613" y="3024678"/>
                </a:cubicBezTo>
                <a:lnTo>
                  <a:pt x="1800870" y="3012237"/>
                </a:lnTo>
                <a:lnTo>
                  <a:pt x="1799727" y="3003276"/>
                </a:lnTo>
                <a:cubicBezTo>
                  <a:pt x="1799047" y="2996143"/>
                  <a:pt x="1799047" y="2987990"/>
                  <a:pt x="1801765" y="2981196"/>
                </a:cubicBezTo>
                <a:cubicBezTo>
                  <a:pt x="1804482" y="2970326"/>
                  <a:pt x="1812635" y="2959456"/>
                  <a:pt x="1815353" y="2948585"/>
                </a:cubicBezTo>
                <a:cubicBezTo>
                  <a:pt x="1820788" y="2937715"/>
                  <a:pt x="1820788" y="2918692"/>
                  <a:pt x="1828941" y="2910539"/>
                </a:cubicBezTo>
                <a:cubicBezTo>
                  <a:pt x="1828941" y="2905104"/>
                  <a:pt x="1828941" y="2905104"/>
                  <a:pt x="1826223" y="2902386"/>
                </a:cubicBezTo>
                <a:cubicBezTo>
                  <a:pt x="1823506" y="2902386"/>
                  <a:pt x="1826223" y="2902386"/>
                  <a:pt x="1823506" y="2902386"/>
                </a:cubicBezTo>
                <a:cubicBezTo>
                  <a:pt x="1823506" y="2902386"/>
                  <a:pt x="1820788" y="2905104"/>
                  <a:pt x="1820788" y="2905104"/>
                </a:cubicBezTo>
                <a:cubicBezTo>
                  <a:pt x="1809918" y="2918692"/>
                  <a:pt x="1812635" y="2945868"/>
                  <a:pt x="1801765" y="2959456"/>
                </a:cubicBezTo>
                <a:cubicBezTo>
                  <a:pt x="1799047" y="2956738"/>
                  <a:pt x="1799047" y="2943150"/>
                  <a:pt x="1801765" y="2937715"/>
                </a:cubicBezTo>
                <a:cubicBezTo>
                  <a:pt x="1807200" y="2924127"/>
                  <a:pt x="1804482" y="2896951"/>
                  <a:pt x="1815353" y="2888798"/>
                </a:cubicBezTo>
                <a:cubicBezTo>
                  <a:pt x="1815353" y="2883363"/>
                  <a:pt x="1815353" y="2883363"/>
                  <a:pt x="1812635" y="2880645"/>
                </a:cubicBezTo>
                <a:cubicBezTo>
                  <a:pt x="1801765" y="2883363"/>
                  <a:pt x="1801765" y="2894233"/>
                  <a:pt x="1799047" y="2905104"/>
                </a:cubicBezTo>
                <a:cubicBezTo>
                  <a:pt x="1796330" y="2924127"/>
                  <a:pt x="1788177" y="2948585"/>
                  <a:pt x="1790894" y="2967608"/>
                </a:cubicBezTo>
                <a:cubicBezTo>
                  <a:pt x="1790894" y="2975761"/>
                  <a:pt x="1780024" y="2989349"/>
                  <a:pt x="1774589" y="2994784"/>
                </a:cubicBezTo>
                <a:cubicBezTo>
                  <a:pt x="1774589" y="2997502"/>
                  <a:pt x="1771871" y="3000219"/>
                  <a:pt x="1771871" y="3002937"/>
                </a:cubicBezTo>
                <a:cubicBezTo>
                  <a:pt x="1766436" y="3011090"/>
                  <a:pt x="1758283" y="3019243"/>
                  <a:pt x="1752848" y="3027395"/>
                </a:cubicBezTo>
                <a:cubicBezTo>
                  <a:pt x="1752848" y="3027395"/>
                  <a:pt x="1752848" y="3030113"/>
                  <a:pt x="1752848" y="3032831"/>
                </a:cubicBezTo>
                <a:cubicBezTo>
                  <a:pt x="1750131" y="3035548"/>
                  <a:pt x="1747413" y="3035548"/>
                  <a:pt x="1744695" y="3038266"/>
                </a:cubicBezTo>
                <a:cubicBezTo>
                  <a:pt x="1741978" y="3040983"/>
                  <a:pt x="1739260" y="3046418"/>
                  <a:pt x="1736543" y="3049136"/>
                </a:cubicBezTo>
                <a:cubicBezTo>
                  <a:pt x="1736543" y="3051854"/>
                  <a:pt x="1733825" y="3049136"/>
                  <a:pt x="1731107" y="3051854"/>
                </a:cubicBezTo>
                <a:cubicBezTo>
                  <a:pt x="1728390" y="3051854"/>
                  <a:pt x="1731107" y="3057289"/>
                  <a:pt x="1728390" y="3057289"/>
                </a:cubicBezTo>
                <a:cubicBezTo>
                  <a:pt x="1722955" y="3062724"/>
                  <a:pt x="1717519" y="3062724"/>
                  <a:pt x="1712084" y="3068159"/>
                </a:cubicBezTo>
                <a:cubicBezTo>
                  <a:pt x="1712084" y="3065442"/>
                  <a:pt x="1709367" y="3060006"/>
                  <a:pt x="1709367" y="3057289"/>
                </a:cubicBezTo>
                <a:cubicBezTo>
                  <a:pt x="1709367" y="3057289"/>
                  <a:pt x="1714802" y="3054571"/>
                  <a:pt x="1714802" y="3051854"/>
                </a:cubicBezTo>
                <a:cubicBezTo>
                  <a:pt x="1722955" y="3040983"/>
                  <a:pt x="1728390" y="3024678"/>
                  <a:pt x="1731107" y="3011090"/>
                </a:cubicBezTo>
                <a:cubicBezTo>
                  <a:pt x="1731107" y="3008372"/>
                  <a:pt x="1731107" y="3002937"/>
                  <a:pt x="1731107" y="3000219"/>
                </a:cubicBezTo>
                <a:cubicBezTo>
                  <a:pt x="1731107" y="2994784"/>
                  <a:pt x="1736543" y="2986632"/>
                  <a:pt x="1736543" y="2981196"/>
                </a:cubicBezTo>
                <a:cubicBezTo>
                  <a:pt x="1736543" y="2973044"/>
                  <a:pt x="1733825" y="2954020"/>
                  <a:pt x="1731107" y="2948585"/>
                </a:cubicBezTo>
                <a:cubicBezTo>
                  <a:pt x="1728390" y="2945868"/>
                  <a:pt x="1731107" y="2943150"/>
                  <a:pt x="1731107" y="2943150"/>
                </a:cubicBezTo>
                <a:cubicBezTo>
                  <a:pt x="1731107" y="2934997"/>
                  <a:pt x="1725672" y="2929562"/>
                  <a:pt x="1728390" y="2921409"/>
                </a:cubicBezTo>
                <a:cubicBezTo>
                  <a:pt x="1731107" y="2910539"/>
                  <a:pt x="1739260" y="2902386"/>
                  <a:pt x="1741978" y="2891516"/>
                </a:cubicBezTo>
                <a:cubicBezTo>
                  <a:pt x="1747413" y="2875211"/>
                  <a:pt x="1741978" y="2831729"/>
                  <a:pt x="1736543" y="2823576"/>
                </a:cubicBezTo>
                <a:cubicBezTo>
                  <a:pt x="1736543" y="2823576"/>
                  <a:pt x="1736543" y="2820858"/>
                  <a:pt x="1736543" y="2820858"/>
                </a:cubicBezTo>
                <a:cubicBezTo>
                  <a:pt x="1731107" y="2820858"/>
                  <a:pt x="1728390" y="2820858"/>
                  <a:pt x="1728390" y="2826293"/>
                </a:cubicBezTo>
                <a:cubicBezTo>
                  <a:pt x="1725672" y="2831729"/>
                  <a:pt x="1731107" y="2845317"/>
                  <a:pt x="1733825" y="2853469"/>
                </a:cubicBezTo>
                <a:cubicBezTo>
                  <a:pt x="1736543" y="2856187"/>
                  <a:pt x="1733825" y="2861623"/>
                  <a:pt x="1733825" y="2864340"/>
                </a:cubicBezTo>
                <a:cubicBezTo>
                  <a:pt x="1733825" y="2869775"/>
                  <a:pt x="1733825" y="2875211"/>
                  <a:pt x="1733825" y="2880645"/>
                </a:cubicBezTo>
                <a:cubicBezTo>
                  <a:pt x="1731107" y="2888798"/>
                  <a:pt x="1728390" y="2896951"/>
                  <a:pt x="1725672" y="2902386"/>
                </a:cubicBezTo>
                <a:cubicBezTo>
                  <a:pt x="1725672" y="2899669"/>
                  <a:pt x="1725672" y="2899669"/>
                  <a:pt x="1722955" y="2899669"/>
                </a:cubicBezTo>
                <a:cubicBezTo>
                  <a:pt x="1722955" y="2888798"/>
                  <a:pt x="1722955" y="2883363"/>
                  <a:pt x="1722955" y="2875211"/>
                </a:cubicBezTo>
                <a:cubicBezTo>
                  <a:pt x="1722955" y="2875211"/>
                  <a:pt x="1720237" y="2872493"/>
                  <a:pt x="1720237" y="2872493"/>
                </a:cubicBezTo>
                <a:cubicBezTo>
                  <a:pt x="1714802" y="2872493"/>
                  <a:pt x="1714802" y="2872493"/>
                  <a:pt x="1712084" y="2872493"/>
                </a:cubicBezTo>
                <a:cubicBezTo>
                  <a:pt x="1712084" y="2896951"/>
                  <a:pt x="1717519" y="2910539"/>
                  <a:pt x="1722955" y="2924127"/>
                </a:cubicBezTo>
                <a:cubicBezTo>
                  <a:pt x="1725672" y="2934997"/>
                  <a:pt x="1720237" y="2943150"/>
                  <a:pt x="1722955" y="2951303"/>
                </a:cubicBezTo>
                <a:cubicBezTo>
                  <a:pt x="1725672" y="2959456"/>
                  <a:pt x="1728390" y="2970326"/>
                  <a:pt x="1728390" y="2978479"/>
                </a:cubicBezTo>
                <a:cubicBezTo>
                  <a:pt x="1728390" y="2981196"/>
                  <a:pt x="1722955" y="2989349"/>
                  <a:pt x="1722955" y="2992067"/>
                </a:cubicBezTo>
                <a:cubicBezTo>
                  <a:pt x="1722955" y="3000219"/>
                  <a:pt x="1722955" y="3016525"/>
                  <a:pt x="1717519" y="3024678"/>
                </a:cubicBezTo>
                <a:cubicBezTo>
                  <a:pt x="1714802" y="3032831"/>
                  <a:pt x="1706649" y="3040983"/>
                  <a:pt x="1703931" y="3049136"/>
                </a:cubicBezTo>
                <a:cubicBezTo>
                  <a:pt x="1701214" y="3049136"/>
                  <a:pt x="1701214" y="3049136"/>
                  <a:pt x="1701214" y="3049136"/>
                </a:cubicBezTo>
                <a:cubicBezTo>
                  <a:pt x="1695779" y="3049136"/>
                  <a:pt x="1695779" y="3049136"/>
                  <a:pt x="1693061" y="3049136"/>
                </a:cubicBezTo>
                <a:cubicBezTo>
                  <a:pt x="1693061" y="3030113"/>
                  <a:pt x="1687626" y="2986632"/>
                  <a:pt x="1698496" y="2973044"/>
                </a:cubicBezTo>
                <a:cubicBezTo>
                  <a:pt x="1698496" y="2967608"/>
                  <a:pt x="1698496" y="2964891"/>
                  <a:pt x="1695779" y="2962173"/>
                </a:cubicBezTo>
                <a:cubicBezTo>
                  <a:pt x="1695779" y="2962173"/>
                  <a:pt x="1693061" y="2962173"/>
                  <a:pt x="1693061" y="2962173"/>
                </a:cubicBezTo>
                <a:cubicBezTo>
                  <a:pt x="1684908" y="2981196"/>
                  <a:pt x="1679473" y="3030113"/>
                  <a:pt x="1684908" y="3051854"/>
                </a:cubicBezTo>
                <a:cubicBezTo>
                  <a:pt x="1687626" y="3057289"/>
                  <a:pt x="1698496" y="3079030"/>
                  <a:pt x="1698496" y="3079030"/>
                </a:cubicBezTo>
                <a:cubicBezTo>
                  <a:pt x="1695779" y="3089900"/>
                  <a:pt x="1698496" y="3100770"/>
                  <a:pt x="1698496" y="3111641"/>
                </a:cubicBezTo>
                <a:cubicBezTo>
                  <a:pt x="1701214" y="3119794"/>
                  <a:pt x="1698496" y="3125229"/>
                  <a:pt x="1695779" y="3130664"/>
                </a:cubicBezTo>
                <a:cubicBezTo>
                  <a:pt x="1693061" y="3133382"/>
                  <a:pt x="1695779" y="3133382"/>
                  <a:pt x="1695779" y="3136099"/>
                </a:cubicBezTo>
                <a:cubicBezTo>
                  <a:pt x="1698496" y="3138817"/>
                  <a:pt x="1695779" y="3152405"/>
                  <a:pt x="1695779" y="3152405"/>
                </a:cubicBezTo>
                <a:cubicBezTo>
                  <a:pt x="1695779" y="3171428"/>
                  <a:pt x="1701214" y="3190451"/>
                  <a:pt x="1695779" y="3204039"/>
                </a:cubicBezTo>
                <a:cubicBezTo>
                  <a:pt x="1693061" y="3214909"/>
                  <a:pt x="1687626" y="3228497"/>
                  <a:pt x="1682191" y="3236650"/>
                </a:cubicBezTo>
                <a:cubicBezTo>
                  <a:pt x="1682191" y="3239368"/>
                  <a:pt x="1676756" y="3239368"/>
                  <a:pt x="1676756" y="3239368"/>
                </a:cubicBezTo>
                <a:cubicBezTo>
                  <a:pt x="1671320" y="3244803"/>
                  <a:pt x="1671320" y="3261108"/>
                  <a:pt x="1668603" y="3271979"/>
                </a:cubicBezTo>
                <a:cubicBezTo>
                  <a:pt x="1663168" y="3285567"/>
                  <a:pt x="1655015" y="3299155"/>
                  <a:pt x="1649580" y="3312743"/>
                </a:cubicBezTo>
                <a:cubicBezTo>
                  <a:pt x="1644144" y="3320896"/>
                  <a:pt x="1649580" y="3337201"/>
                  <a:pt x="1646862" y="3345354"/>
                </a:cubicBezTo>
                <a:cubicBezTo>
                  <a:pt x="1644144" y="3350789"/>
                  <a:pt x="1641427" y="3350789"/>
                  <a:pt x="1638709" y="3353507"/>
                </a:cubicBezTo>
                <a:cubicBezTo>
                  <a:pt x="1633274" y="3353507"/>
                  <a:pt x="1633274" y="3353507"/>
                  <a:pt x="1630556" y="3353507"/>
                </a:cubicBezTo>
                <a:cubicBezTo>
                  <a:pt x="1630556" y="3342636"/>
                  <a:pt x="1633274" y="3334484"/>
                  <a:pt x="1635992" y="3323613"/>
                </a:cubicBezTo>
                <a:cubicBezTo>
                  <a:pt x="1638709" y="3318178"/>
                  <a:pt x="1635992" y="3310025"/>
                  <a:pt x="1635992" y="3307308"/>
                </a:cubicBezTo>
                <a:cubicBezTo>
                  <a:pt x="1635992" y="3301872"/>
                  <a:pt x="1638709" y="3288284"/>
                  <a:pt x="1638709" y="3282849"/>
                </a:cubicBezTo>
                <a:cubicBezTo>
                  <a:pt x="1644144" y="3261108"/>
                  <a:pt x="1635992" y="3250238"/>
                  <a:pt x="1638709" y="3233932"/>
                </a:cubicBezTo>
                <a:cubicBezTo>
                  <a:pt x="1638709" y="3231215"/>
                  <a:pt x="1644144" y="3217627"/>
                  <a:pt x="1644144" y="3217627"/>
                </a:cubicBezTo>
                <a:cubicBezTo>
                  <a:pt x="1644144" y="3204039"/>
                  <a:pt x="1638709" y="3185016"/>
                  <a:pt x="1641427" y="3168710"/>
                </a:cubicBezTo>
                <a:cubicBezTo>
                  <a:pt x="1644144" y="3152405"/>
                  <a:pt x="1646862" y="3138817"/>
                  <a:pt x="1649580" y="3122511"/>
                </a:cubicBezTo>
                <a:cubicBezTo>
                  <a:pt x="1649580" y="3117076"/>
                  <a:pt x="1649580" y="3114358"/>
                  <a:pt x="1649580" y="3111641"/>
                </a:cubicBezTo>
                <a:cubicBezTo>
                  <a:pt x="1649580" y="3106206"/>
                  <a:pt x="1652297" y="3098053"/>
                  <a:pt x="1652297" y="3095335"/>
                </a:cubicBezTo>
                <a:cubicBezTo>
                  <a:pt x="1655015" y="3089900"/>
                  <a:pt x="1649580" y="3087182"/>
                  <a:pt x="1652297" y="3079030"/>
                </a:cubicBezTo>
                <a:cubicBezTo>
                  <a:pt x="1652297" y="3070877"/>
                  <a:pt x="1657732" y="3062724"/>
                  <a:pt x="1660450" y="3057289"/>
                </a:cubicBezTo>
                <a:cubicBezTo>
                  <a:pt x="1663168" y="3049136"/>
                  <a:pt x="1663168" y="3040983"/>
                  <a:pt x="1665885" y="3032831"/>
                </a:cubicBezTo>
                <a:cubicBezTo>
                  <a:pt x="1668603" y="3030113"/>
                  <a:pt x="1674038" y="3024678"/>
                  <a:pt x="1674038" y="3021960"/>
                </a:cubicBezTo>
                <a:cubicBezTo>
                  <a:pt x="1679473" y="3008372"/>
                  <a:pt x="1676756" y="2959456"/>
                  <a:pt x="1674038" y="2945868"/>
                </a:cubicBezTo>
                <a:cubicBezTo>
                  <a:pt x="1671320" y="2937715"/>
                  <a:pt x="1676756" y="2929562"/>
                  <a:pt x="1671320" y="2924127"/>
                </a:cubicBezTo>
                <a:cubicBezTo>
                  <a:pt x="1671320" y="2915974"/>
                  <a:pt x="1671320" y="2915974"/>
                  <a:pt x="1665885" y="2913257"/>
                </a:cubicBezTo>
                <a:cubicBezTo>
                  <a:pt x="1665885" y="2913257"/>
                  <a:pt x="1665885" y="2915974"/>
                  <a:pt x="1663168" y="2915974"/>
                </a:cubicBezTo>
                <a:cubicBezTo>
                  <a:pt x="1663168" y="2943150"/>
                  <a:pt x="1671320" y="2962173"/>
                  <a:pt x="1668603" y="2983914"/>
                </a:cubicBezTo>
                <a:cubicBezTo>
                  <a:pt x="1668603" y="2992067"/>
                  <a:pt x="1674038" y="3002937"/>
                  <a:pt x="1668603" y="3011090"/>
                </a:cubicBezTo>
                <a:cubicBezTo>
                  <a:pt x="1668603" y="3011090"/>
                  <a:pt x="1668603" y="3013807"/>
                  <a:pt x="1668603" y="3013807"/>
                </a:cubicBezTo>
                <a:cubicBezTo>
                  <a:pt x="1665885" y="3013807"/>
                  <a:pt x="1660450" y="3013807"/>
                  <a:pt x="1657732" y="3011090"/>
                </a:cubicBezTo>
                <a:cubicBezTo>
                  <a:pt x="1641427" y="2997502"/>
                  <a:pt x="1638709" y="2964891"/>
                  <a:pt x="1625121" y="2951303"/>
                </a:cubicBezTo>
                <a:cubicBezTo>
                  <a:pt x="1622404" y="2951303"/>
                  <a:pt x="1622404" y="2954020"/>
                  <a:pt x="1619686" y="2954020"/>
                </a:cubicBezTo>
                <a:cubicBezTo>
                  <a:pt x="1619686" y="2978479"/>
                  <a:pt x="1646862" y="3013807"/>
                  <a:pt x="1660450" y="3027395"/>
                </a:cubicBezTo>
                <a:cubicBezTo>
                  <a:pt x="1660450" y="3046418"/>
                  <a:pt x="1652297" y="3065442"/>
                  <a:pt x="1646862" y="3079030"/>
                </a:cubicBezTo>
                <a:cubicBezTo>
                  <a:pt x="1644144" y="3089900"/>
                  <a:pt x="1649580" y="3098053"/>
                  <a:pt x="1646862" y="3108923"/>
                </a:cubicBezTo>
                <a:cubicBezTo>
                  <a:pt x="1644144" y="3125229"/>
                  <a:pt x="1641427" y="3141534"/>
                  <a:pt x="1638709" y="3157840"/>
                </a:cubicBezTo>
                <a:cubicBezTo>
                  <a:pt x="1633274" y="3171428"/>
                  <a:pt x="1641427" y="3187733"/>
                  <a:pt x="1638709" y="3198604"/>
                </a:cubicBezTo>
                <a:cubicBezTo>
                  <a:pt x="1638709" y="3209474"/>
                  <a:pt x="1633274" y="3223062"/>
                  <a:pt x="1633274" y="3231215"/>
                </a:cubicBezTo>
                <a:cubicBezTo>
                  <a:pt x="1630556" y="3255673"/>
                  <a:pt x="1635992" y="3277414"/>
                  <a:pt x="1633274" y="3296437"/>
                </a:cubicBezTo>
                <a:cubicBezTo>
                  <a:pt x="1630556" y="3310025"/>
                  <a:pt x="1635992" y="3315460"/>
                  <a:pt x="1633274" y="3326331"/>
                </a:cubicBezTo>
                <a:cubicBezTo>
                  <a:pt x="1633274" y="3329048"/>
                  <a:pt x="1627839" y="3337201"/>
                  <a:pt x="1627839" y="3342636"/>
                </a:cubicBezTo>
                <a:cubicBezTo>
                  <a:pt x="1627839" y="3348071"/>
                  <a:pt x="1627839" y="3353507"/>
                  <a:pt x="1627839" y="3358942"/>
                </a:cubicBezTo>
                <a:cubicBezTo>
                  <a:pt x="1625121" y="3367095"/>
                  <a:pt x="1616968" y="3367095"/>
                  <a:pt x="1611533" y="3375247"/>
                </a:cubicBezTo>
                <a:cubicBezTo>
                  <a:pt x="1600663" y="3375247"/>
                  <a:pt x="1592510" y="3375247"/>
                  <a:pt x="1584357" y="3377965"/>
                </a:cubicBezTo>
                <a:cubicBezTo>
                  <a:pt x="1584357" y="3377965"/>
                  <a:pt x="1581640" y="3383400"/>
                  <a:pt x="1578922" y="3383400"/>
                </a:cubicBezTo>
                <a:cubicBezTo>
                  <a:pt x="1570769" y="3383400"/>
                  <a:pt x="1562617" y="3386118"/>
                  <a:pt x="1554464" y="3386118"/>
                </a:cubicBezTo>
                <a:cubicBezTo>
                  <a:pt x="1549029" y="3386118"/>
                  <a:pt x="1538158" y="3394270"/>
                  <a:pt x="1532723" y="3391553"/>
                </a:cubicBezTo>
                <a:cubicBezTo>
                  <a:pt x="1530005" y="3388835"/>
                  <a:pt x="1524570" y="3383400"/>
                  <a:pt x="1524570" y="3380683"/>
                </a:cubicBezTo>
                <a:cubicBezTo>
                  <a:pt x="1524570" y="3380683"/>
                  <a:pt x="1524570" y="3377965"/>
                  <a:pt x="1524570" y="3377965"/>
                </a:cubicBezTo>
                <a:cubicBezTo>
                  <a:pt x="1524570" y="3377965"/>
                  <a:pt x="1521853" y="3375247"/>
                  <a:pt x="1519135" y="3375247"/>
                </a:cubicBezTo>
                <a:cubicBezTo>
                  <a:pt x="1519135" y="3372530"/>
                  <a:pt x="1519135" y="3372530"/>
                  <a:pt x="1519135" y="3369812"/>
                </a:cubicBezTo>
                <a:cubicBezTo>
                  <a:pt x="1513700" y="3358942"/>
                  <a:pt x="1502829" y="3345354"/>
                  <a:pt x="1500112" y="3329048"/>
                </a:cubicBezTo>
                <a:cubicBezTo>
                  <a:pt x="1505547" y="3323613"/>
                  <a:pt x="1508265" y="3318178"/>
                  <a:pt x="1510982" y="3315460"/>
                </a:cubicBezTo>
                <a:cubicBezTo>
                  <a:pt x="1519135" y="3310025"/>
                  <a:pt x="1527288" y="3304590"/>
                  <a:pt x="1532723" y="3296437"/>
                </a:cubicBezTo>
                <a:cubicBezTo>
                  <a:pt x="1538158" y="3288284"/>
                  <a:pt x="1538158" y="3282849"/>
                  <a:pt x="1543593" y="3277414"/>
                </a:cubicBezTo>
                <a:cubicBezTo>
                  <a:pt x="1543593" y="3274696"/>
                  <a:pt x="1546311" y="3277414"/>
                  <a:pt x="1549029" y="3274696"/>
                </a:cubicBezTo>
                <a:cubicBezTo>
                  <a:pt x="1549029" y="3274696"/>
                  <a:pt x="1549029" y="3271979"/>
                  <a:pt x="1549029" y="3269261"/>
                </a:cubicBezTo>
                <a:cubicBezTo>
                  <a:pt x="1551746" y="3263826"/>
                  <a:pt x="1559899" y="3258391"/>
                  <a:pt x="1562617" y="3252956"/>
                </a:cubicBezTo>
                <a:cubicBezTo>
                  <a:pt x="1570769" y="3236650"/>
                  <a:pt x="1578922" y="3220344"/>
                  <a:pt x="1587075" y="3204039"/>
                </a:cubicBezTo>
                <a:cubicBezTo>
                  <a:pt x="1587075" y="3198604"/>
                  <a:pt x="1587075" y="3195886"/>
                  <a:pt x="1589792" y="3190451"/>
                </a:cubicBezTo>
                <a:cubicBezTo>
                  <a:pt x="1595228" y="3185016"/>
                  <a:pt x="1600663" y="3176863"/>
                  <a:pt x="1606098" y="3171428"/>
                </a:cubicBezTo>
                <a:cubicBezTo>
                  <a:pt x="1611533" y="3160558"/>
                  <a:pt x="1611533" y="3152405"/>
                  <a:pt x="1614251" y="3141534"/>
                </a:cubicBezTo>
                <a:cubicBezTo>
                  <a:pt x="1616968" y="3130664"/>
                  <a:pt x="1622404" y="3122511"/>
                  <a:pt x="1625121" y="3111641"/>
                </a:cubicBezTo>
                <a:cubicBezTo>
                  <a:pt x="1633274" y="3087182"/>
                  <a:pt x="1625121" y="3043701"/>
                  <a:pt x="1616968" y="3027395"/>
                </a:cubicBezTo>
                <a:cubicBezTo>
                  <a:pt x="1614251" y="3027395"/>
                  <a:pt x="1614251" y="3024678"/>
                  <a:pt x="1611533" y="3024678"/>
                </a:cubicBezTo>
                <a:cubicBezTo>
                  <a:pt x="1606098" y="3013807"/>
                  <a:pt x="1611533" y="3000219"/>
                  <a:pt x="1608816" y="2986632"/>
                </a:cubicBezTo>
                <a:cubicBezTo>
                  <a:pt x="1606098" y="2973044"/>
                  <a:pt x="1606098" y="2964891"/>
                  <a:pt x="1603380" y="2956738"/>
                </a:cubicBezTo>
                <a:cubicBezTo>
                  <a:pt x="1597945" y="2934997"/>
                  <a:pt x="1603380" y="2921409"/>
                  <a:pt x="1608816" y="2905104"/>
                </a:cubicBezTo>
                <a:cubicBezTo>
                  <a:pt x="1608816" y="2899669"/>
                  <a:pt x="1611533" y="2896951"/>
                  <a:pt x="1611533" y="2891516"/>
                </a:cubicBezTo>
                <a:cubicBezTo>
                  <a:pt x="1619686" y="2891516"/>
                  <a:pt x="1630556" y="2888798"/>
                  <a:pt x="1638709" y="2888798"/>
                </a:cubicBezTo>
                <a:cubicBezTo>
                  <a:pt x="1652297" y="2880645"/>
                  <a:pt x="1660450" y="2867058"/>
                  <a:pt x="1671320" y="2858905"/>
                </a:cubicBezTo>
                <a:cubicBezTo>
                  <a:pt x="1671320" y="2856187"/>
                  <a:pt x="1671320" y="2853469"/>
                  <a:pt x="1671320" y="2850752"/>
                </a:cubicBezTo>
                <a:cubicBezTo>
                  <a:pt x="1668603" y="2850752"/>
                  <a:pt x="1668603" y="2850752"/>
                  <a:pt x="1668603" y="2850752"/>
                </a:cubicBezTo>
                <a:cubicBezTo>
                  <a:pt x="1657732" y="2853469"/>
                  <a:pt x="1652297" y="2869775"/>
                  <a:pt x="1644144" y="2875211"/>
                </a:cubicBezTo>
                <a:cubicBezTo>
                  <a:pt x="1635992" y="2880645"/>
                  <a:pt x="1633274" y="2877929"/>
                  <a:pt x="1627839" y="2883363"/>
                </a:cubicBezTo>
                <a:cubicBezTo>
                  <a:pt x="1622404" y="2886081"/>
                  <a:pt x="1616968" y="2886081"/>
                  <a:pt x="1614251" y="2883363"/>
                </a:cubicBezTo>
                <a:cubicBezTo>
                  <a:pt x="1614251" y="2880645"/>
                  <a:pt x="1611533" y="2869775"/>
                  <a:pt x="1611533" y="2864340"/>
                </a:cubicBezTo>
                <a:cubicBezTo>
                  <a:pt x="1606098" y="2864340"/>
                  <a:pt x="1606098" y="2867058"/>
                  <a:pt x="1603380" y="2869775"/>
                </a:cubicBezTo>
                <a:cubicBezTo>
                  <a:pt x="1603380" y="2880645"/>
                  <a:pt x="1603380" y="2891516"/>
                  <a:pt x="1600663" y="2899669"/>
                </a:cubicBezTo>
                <a:cubicBezTo>
                  <a:pt x="1597945" y="2905104"/>
                  <a:pt x="1592510" y="2910539"/>
                  <a:pt x="1592510" y="2915974"/>
                </a:cubicBezTo>
                <a:cubicBezTo>
                  <a:pt x="1587075" y="2913257"/>
                  <a:pt x="1578922" y="2883363"/>
                  <a:pt x="1578922" y="2872493"/>
                </a:cubicBezTo>
                <a:cubicBezTo>
                  <a:pt x="1576205" y="2872493"/>
                  <a:pt x="1576205" y="2872493"/>
                  <a:pt x="1576205" y="2872493"/>
                </a:cubicBezTo>
                <a:cubicBezTo>
                  <a:pt x="1573487" y="2872493"/>
                  <a:pt x="1573487" y="2872493"/>
                  <a:pt x="1570769" y="2872493"/>
                </a:cubicBezTo>
                <a:cubicBezTo>
                  <a:pt x="1568052" y="2888798"/>
                  <a:pt x="1576205" y="2905104"/>
                  <a:pt x="1578922" y="2913257"/>
                </a:cubicBezTo>
                <a:cubicBezTo>
                  <a:pt x="1578922" y="2918692"/>
                  <a:pt x="1578922" y="2924127"/>
                  <a:pt x="1578922" y="2929562"/>
                </a:cubicBezTo>
                <a:cubicBezTo>
                  <a:pt x="1578922" y="2929562"/>
                  <a:pt x="1581640" y="2929562"/>
                  <a:pt x="1581640" y="2929562"/>
                </a:cubicBezTo>
                <a:cubicBezTo>
                  <a:pt x="1581640" y="2932280"/>
                  <a:pt x="1587075" y="2937715"/>
                  <a:pt x="1587075" y="2940433"/>
                </a:cubicBezTo>
                <a:cubicBezTo>
                  <a:pt x="1587075" y="2945868"/>
                  <a:pt x="1587075" y="2948585"/>
                  <a:pt x="1587075" y="2954020"/>
                </a:cubicBezTo>
                <a:cubicBezTo>
                  <a:pt x="1589792" y="2962173"/>
                  <a:pt x="1592510" y="2975761"/>
                  <a:pt x="1595228" y="2986632"/>
                </a:cubicBezTo>
                <a:cubicBezTo>
                  <a:pt x="1595228" y="3000219"/>
                  <a:pt x="1595228" y="3024678"/>
                  <a:pt x="1597945" y="3032831"/>
                </a:cubicBezTo>
                <a:cubicBezTo>
                  <a:pt x="1603380" y="3043701"/>
                  <a:pt x="1614251" y="3057289"/>
                  <a:pt x="1614251" y="3070877"/>
                </a:cubicBezTo>
                <a:cubicBezTo>
                  <a:pt x="1614251" y="3089900"/>
                  <a:pt x="1619686" y="3122511"/>
                  <a:pt x="1606098" y="3133382"/>
                </a:cubicBezTo>
                <a:cubicBezTo>
                  <a:pt x="1606098" y="3133382"/>
                  <a:pt x="1603380" y="3133382"/>
                  <a:pt x="1600663" y="3133382"/>
                </a:cubicBezTo>
                <a:cubicBezTo>
                  <a:pt x="1597945" y="3114358"/>
                  <a:pt x="1589792" y="3095335"/>
                  <a:pt x="1584357" y="3073594"/>
                </a:cubicBezTo>
                <a:cubicBezTo>
                  <a:pt x="1584357" y="3068159"/>
                  <a:pt x="1587075" y="3060006"/>
                  <a:pt x="1584357" y="3051854"/>
                </a:cubicBezTo>
                <a:cubicBezTo>
                  <a:pt x="1584357" y="3049136"/>
                  <a:pt x="1581640" y="3040983"/>
                  <a:pt x="1578922" y="3035548"/>
                </a:cubicBezTo>
                <a:cubicBezTo>
                  <a:pt x="1576205" y="3030113"/>
                  <a:pt x="1581640" y="3024678"/>
                  <a:pt x="1581640" y="3021960"/>
                </a:cubicBezTo>
                <a:cubicBezTo>
                  <a:pt x="1581640" y="3016525"/>
                  <a:pt x="1570769" y="3008372"/>
                  <a:pt x="1568052" y="3002937"/>
                </a:cubicBezTo>
                <a:cubicBezTo>
                  <a:pt x="1562617" y="2992067"/>
                  <a:pt x="1559899" y="2981196"/>
                  <a:pt x="1554464" y="2967608"/>
                </a:cubicBezTo>
                <a:cubicBezTo>
                  <a:pt x="1549029" y="2956738"/>
                  <a:pt x="1540876" y="2948585"/>
                  <a:pt x="1535441" y="2934997"/>
                </a:cubicBezTo>
                <a:cubicBezTo>
                  <a:pt x="1532723" y="2934997"/>
                  <a:pt x="1532723" y="2934997"/>
                  <a:pt x="1530005" y="2934997"/>
                </a:cubicBezTo>
                <a:cubicBezTo>
                  <a:pt x="1527288" y="2948585"/>
                  <a:pt x="1540876" y="2964891"/>
                  <a:pt x="1546311" y="2975761"/>
                </a:cubicBezTo>
                <a:cubicBezTo>
                  <a:pt x="1549029" y="2981196"/>
                  <a:pt x="1546311" y="2983914"/>
                  <a:pt x="1549029" y="2989349"/>
                </a:cubicBezTo>
                <a:cubicBezTo>
                  <a:pt x="1551746" y="2992067"/>
                  <a:pt x="1557181" y="2997502"/>
                  <a:pt x="1557181" y="3000219"/>
                </a:cubicBezTo>
                <a:cubicBezTo>
                  <a:pt x="1557181" y="3002937"/>
                  <a:pt x="1557181" y="3011090"/>
                  <a:pt x="1559899" y="3013807"/>
                </a:cubicBezTo>
                <a:cubicBezTo>
                  <a:pt x="1562617" y="3013807"/>
                  <a:pt x="1562617" y="3016525"/>
                  <a:pt x="1565334" y="3016525"/>
                </a:cubicBezTo>
                <a:cubicBezTo>
                  <a:pt x="1570769" y="3024678"/>
                  <a:pt x="1562617" y="3032831"/>
                  <a:pt x="1565334" y="3038266"/>
                </a:cubicBezTo>
                <a:cubicBezTo>
                  <a:pt x="1565334" y="3038266"/>
                  <a:pt x="1568052" y="3040983"/>
                  <a:pt x="1568052" y="3040983"/>
                </a:cubicBezTo>
                <a:cubicBezTo>
                  <a:pt x="1565334" y="3049136"/>
                  <a:pt x="1573487" y="3060006"/>
                  <a:pt x="1573487" y="3065442"/>
                </a:cubicBezTo>
                <a:cubicBezTo>
                  <a:pt x="1573487" y="3070877"/>
                  <a:pt x="1570769" y="3073594"/>
                  <a:pt x="1573487" y="3079030"/>
                </a:cubicBezTo>
                <a:cubicBezTo>
                  <a:pt x="1578922" y="3095335"/>
                  <a:pt x="1584357" y="3111641"/>
                  <a:pt x="1589792" y="3122511"/>
                </a:cubicBezTo>
                <a:cubicBezTo>
                  <a:pt x="1587075" y="3125229"/>
                  <a:pt x="1587075" y="3130664"/>
                  <a:pt x="1589792" y="3136099"/>
                </a:cubicBezTo>
                <a:cubicBezTo>
                  <a:pt x="1592510" y="3141534"/>
                  <a:pt x="1600663" y="3155122"/>
                  <a:pt x="1600663" y="3160558"/>
                </a:cubicBezTo>
                <a:cubicBezTo>
                  <a:pt x="1597945" y="3165993"/>
                  <a:pt x="1595228" y="3168710"/>
                  <a:pt x="1592510" y="3171428"/>
                </a:cubicBezTo>
                <a:cubicBezTo>
                  <a:pt x="1587075" y="3185016"/>
                  <a:pt x="1581640" y="3195886"/>
                  <a:pt x="1573487" y="3209474"/>
                </a:cubicBezTo>
                <a:cubicBezTo>
                  <a:pt x="1570769" y="3209474"/>
                  <a:pt x="1570769" y="3209474"/>
                  <a:pt x="1570769" y="3209474"/>
                </a:cubicBezTo>
                <a:cubicBezTo>
                  <a:pt x="1568052" y="3206757"/>
                  <a:pt x="1570769" y="3171428"/>
                  <a:pt x="1570769" y="3168710"/>
                </a:cubicBezTo>
                <a:cubicBezTo>
                  <a:pt x="1570769" y="3163275"/>
                  <a:pt x="1570769" y="3157840"/>
                  <a:pt x="1570769" y="3152405"/>
                </a:cubicBezTo>
                <a:cubicBezTo>
                  <a:pt x="1570769" y="3146970"/>
                  <a:pt x="1578922" y="3136099"/>
                  <a:pt x="1576205" y="3130664"/>
                </a:cubicBezTo>
                <a:cubicBezTo>
                  <a:pt x="1573487" y="3122511"/>
                  <a:pt x="1562617" y="3119794"/>
                  <a:pt x="1559899" y="3114358"/>
                </a:cubicBezTo>
                <a:cubicBezTo>
                  <a:pt x="1559899" y="3111641"/>
                  <a:pt x="1559899" y="3111641"/>
                  <a:pt x="1559899" y="3108923"/>
                </a:cubicBezTo>
                <a:cubicBezTo>
                  <a:pt x="1559899" y="3106206"/>
                  <a:pt x="1554464" y="3106206"/>
                  <a:pt x="1554464" y="3106206"/>
                </a:cubicBezTo>
                <a:cubicBezTo>
                  <a:pt x="1554464" y="3103488"/>
                  <a:pt x="1554464" y="3103488"/>
                  <a:pt x="1554464" y="3100770"/>
                </a:cubicBezTo>
                <a:cubicBezTo>
                  <a:pt x="1554464" y="3100770"/>
                  <a:pt x="1549029" y="3100770"/>
                  <a:pt x="1549029" y="3098053"/>
                </a:cubicBezTo>
                <a:cubicBezTo>
                  <a:pt x="1546311" y="3092618"/>
                  <a:pt x="1551746" y="3092618"/>
                  <a:pt x="1546311" y="3089900"/>
                </a:cubicBezTo>
                <a:cubicBezTo>
                  <a:pt x="1546311" y="3079030"/>
                  <a:pt x="1551746" y="3070877"/>
                  <a:pt x="1554464" y="3062724"/>
                </a:cubicBezTo>
                <a:cubicBezTo>
                  <a:pt x="1557181" y="3051854"/>
                  <a:pt x="1557181" y="3038266"/>
                  <a:pt x="1559899" y="3027395"/>
                </a:cubicBezTo>
                <a:cubicBezTo>
                  <a:pt x="1557181" y="3027395"/>
                  <a:pt x="1557181" y="3027395"/>
                  <a:pt x="1557181" y="3024678"/>
                </a:cubicBezTo>
                <a:cubicBezTo>
                  <a:pt x="1554464" y="3024678"/>
                  <a:pt x="1554464" y="3024678"/>
                  <a:pt x="1551746" y="3024678"/>
                </a:cubicBezTo>
                <a:cubicBezTo>
                  <a:pt x="1543593" y="3032831"/>
                  <a:pt x="1549029" y="3060006"/>
                  <a:pt x="1538158" y="3070877"/>
                </a:cubicBezTo>
                <a:cubicBezTo>
                  <a:pt x="1532723" y="3062724"/>
                  <a:pt x="1527288" y="3054571"/>
                  <a:pt x="1524570" y="3049136"/>
                </a:cubicBezTo>
                <a:cubicBezTo>
                  <a:pt x="1521853" y="3040983"/>
                  <a:pt x="1524570" y="3030113"/>
                  <a:pt x="1519135" y="3024678"/>
                </a:cubicBezTo>
                <a:cubicBezTo>
                  <a:pt x="1516417" y="3024678"/>
                  <a:pt x="1519135" y="3024678"/>
                  <a:pt x="1516417" y="3024678"/>
                </a:cubicBezTo>
                <a:cubicBezTo>
                  <a:pt x="1513700" y="3024678"/>
                  <a:pt x="1516417" y="3024678"/>
                  <a:pt x="1513700" y="3024678"/>
                </a:cubicBezTo>
                <a:cubicBezTo>
                  <a:pt x="1513700" y="3043701"/>
                  <a:pt x="1519135" y="3062724"/>
                  <a:pt x="1524570" y="3073594"/>
                </a:cubicBezTo>
                <a:cubicBezTo>
                  <a:pt x="1524570" y="3073594"/>
                  <a:pt x="1527288" y="3076312"/>
                  <a:pt x="1530005" y="3076312"/>
                </a:cubicBezTo>
                <a:cubicBezTo>
                  <a:pt x="1530005" y="3079030"/>
                  <a:pt x="1527288" y="3079030"/>
                  <a:pt x="1530005" y="3081747"/>
                </a:cubicBezTo>
                <a:cubicBezTo>
                  <a:pt x="1530005" y="3081747"/>
                  <a:pt x="1532723" y="3081747"/>
                  <a:pt x="1532723" y="3081747"/>
                </a:cubicBezTo>
                <a:cubicBezTo>
                  <a:pt x="1532723" y="3081747"/>
                  <a:pt x="1532723" y="3084465"/>
                  <a:pt x="1532723" y="3087182"/>
                </a:cubicBezTo>
                <a:cubicBezTo>
                  <a:pt x="1535441" y="3092618"/>
                  <a:pt x="1538158" y="3095335"/>
                  <a:pt x="1540876" y="3098053"/>
                </a:cubicBezTo>
                <a:cubicBezTo>
                  <a:pt x="1540876" y="3100770"/>
                  <a:pt x="1540876" y="3100770"/>
                  <a:pt x="1540876" y="3103488"/>
                </a:cubicBezTo>
                <a:cubicBezTo>
                  <a:pt x="1543593" y="3103488"/>
                  <a:pt x="1546311" y="3106206"/>
                  <a:pt x="1549029" y="3106206"/>
                </a:cubicBezTo>
                <a:cubicBezTo>
                  <a:pt x="1549029" y="3106206"/>
                  <a:pt x="1565334" y="3130664"/>
                  <a:pt x="1565334" y="3130664"/>
                </a:cubicBezTo>
                <a:cubicBezTo>
                  <a:pt x="1565334" y="3133382"/>
                  <a:pt x="1562617" y="3138817"/>
                  <a:pt x="1562617" y="3141534"/>
                </a:cubicBezTo>
                <a:cubicBezTo>
                  <a:pt x="1562617" y="3157840"/>
                  <a:pt x="1559899" y="3171428"/>
                  <a:pt x="1559899" y="3187733"/>
                </a:cubicBezTo>
                <a:cubicBezTo>
                  <a:pt x="1559899" y="3195886"/>
                  <a:pt x="1559899" y="3206757"/>
                  <a:pt x="1559899" y="3217627"/>
                </a:cubicBezTo>
                <a:cubicBezTo>
                  <a:pt x="1559899" y="3223062"/>
                  <a:pt x="1559899" y="3231215"/>
                  <a:pt x="1559899" y="3236650"/>
                </a:cubicBezTo>
                <a:cubicBezTo>
                  <a:pt x="1557181" y="3239368"/>
                  <a:pt x="1551746" y="3244803"/>
                  <a:pt x="1549029" y="3250238"/>
                </a:cubicBezTo>
                <a:cubicBezTo>
                  <a:pt x="1549029" y="3250238"/>
                  <a:pt x="1549029" y="3252956"/>
                  <a:pt x="1549029" y="3255673"/>
                </a:cubicBezTo>
                <a:cubicBezTo>
                  <a:pt x="1546311" y="3266544"/>
                  <a:pt x="1532723" y="3274696"/>
                  <a:pt x="1527288" y="3282849"/>
                </a:cubicBezTo>
                <a:cubicBezTo>
                  <a:pt x="1521853" y="3288284"/>
                  <a:pt x="1519135" y="3296437"/>
                  <a:pt x="1513700" y="3301872"/>
                </a:cubicBezTo>
                <a:cubicBezTo>
                  <a:pt x="1510982" y="3301872"/>
                  <a:pt x="1508265" y="3304590"/>
                  <a:pt x="1505547" y="3304590"/>
                </a:cubicBezTo>
                <a:cubicBezTo>
                  <a:pt x="1500112" y="3312743"/>
                  <a:pt x="1494677" y="3320896"/>
                  <a:pt x="1483806" y="3326331"/>
                </a:cubicBezTo>
                <a:cubicBezTo>
                  <a:pt x="1481089" y="3318178"/>
                  <a:pt x="1475653" y="3318178"/>
                  <a:pt x="1472936" y="3310025"/>
                </a:cubicBezTo>
                <a:cubicBezTo>
                  <a:pt x="1472936" y="3310025"/>
                  <a:pt x="1470218" y="3310025"/>
                  <a:pt x="1467501" y="3310025"/>
                </a:cubicBezTo>
                <a:lnTo>
                  <a:pt x="1465076" y="3307773"/>
                </a:lnTo>
                <a:lnTo>
                  <a:pt x="1464783" y="3307308"/>
                </a:lnTo>
                <a:lnTo>
                  <a:pt x="1464518" y="3307255"/>
                </a:lnTo>
                <a:lnTo>
                  <a:pt x="1453233" y="3296777"/>
                </a:lnTo>
                <a:cubicBezTo>
                  <a:pt x="1446439" y="3293040"/>
                  <a:pt x="1438966" y="3289643"/>
                  <a:pt x="1434890" y="3285567"/>
                </a:cubicBezTo>
                <a:cubicBezTo>
                  <a:pt x="1434890" y="3282849"/>
                  <a:pt x="1437607" y="3274696"/>
                  <a:pt x="1434890" y="3271979"/>
                </a:cubicBezTo>
                <a:cubicBezTo>
                  <a:pt x="1429454" y="3263826"/>
                  <a:pt x="1429454" y="3242085"/>
                  <a:pt x="1426737" y="3239368"/>
                </a:cubicBezTo>
                <a:cubicBezTo>
                  <a:pt x="1429454" y="3223062"/>
                  <a:pt x="1448478" y="3214909"/>
                  <a:pt x="1445760" y="3193169"/>
                </a:cubicBezTo>
                <a:cubicBezTo>
                  <a:pt x="1440325" y="3193169"/>
                  <a:pt x="1440325" y="3193169"/>
                  <a:pt x="1437607" y="3195886"/>
                </a:cubicBezTo>
                <a:cubicBezTo>
                  <a:pt x="1434890" y="3201321"/>
                  <a:pt x="1432172" y="3204039"/>
                  <a:pt x="1432172" y="3212192"/>
                </a:cubicBezTo>
                <a:cubicBezTo>
                  <a:pt x="1429454" y="3212192"/>
                  <a:pt x="1429454" y="3212192"/>
                  <a:pt x="1429454" y="3212192"/>
                </a:cubicBezTo>
                <a:cubicBezTo>
                  <a:pt x="1424019" y="3212192"/>
                  <a:pt x="1418584" y="3201321"/>
                  <a:pt x="1415866" y="3195886"/>
                </a:cubicBezTo>
                <a:cubicBezTo>
                  <a:pt x="1413149" y="3195886"/>
                  <a:pt x="1413149" y="3195886"/>
                  <a:pt x="1413149" y="3195886"/>
                </a:cubicBezTo>
                <a:cubicBezTo>
                  <a:pt x="1410431" y="3195886"/>
                  <a:pt x="1410431" y="3195886"/>
                  <a:pt x="1407714" y="3198604"/>
                </a:cubicBezTo>
                <a:cubicBezTo>
                  <a:pt x="1407714" y="3209474"/>
                  <a:pt x="1413149" y="3209474"/>
                  <a:pt x="1415866" y="3214909"/>
                </a:cubicBezTo>
                <a:cubicBezTo>
                  <a:pt x="1418584" y="3220344"/>
                  <a:pt x="1418584" y="3239368"/>
                  <a:pt x="1421302" y="3247520"/>
                </a:cubicBezTo>
                <a:cubicBezTo>
                  <a:pt x="1421302" y="3250238"/>
                  <a:pt x="1421302" y="3247520"/>
                  <a:pt x="1421302" y="3250238"/>
                </a:cubicBezTo>
                <a:cubicBezTo>
                  <a:pt x="1418584" y="3250238"/>
                  <a:pt x="1415866" y="3250238"/>
                  <a:pt x="1415866" y="3250238"/>
                </a:cubicBezTo>
                <a:cubicBezTo>
                  <a:pt x="1383255" y="3214909"/>
                  <a:pt x="1421302" y="3144252"/>
                  <a:pt x="1426737" y="3100770"/>
                </a:cubicBezTo>
                <a:cubicBezTo>
                  <a:pt x="1426737" y="3092618"/>
                  <a:pt x="1424019" y="3081747"/>
                  <a:pt x="1424019" y="3073594"/>
                </a:cubicBezTo>
                <a:cubicBezTo>
                  <a:pt x="1421302" y="3073594"/>
                  <a:pt x="1421302" y="3073594"/>
                  <a:pt x="1421302" y="3070877"/>
                </a:cubicBezTo>
                <a:cubicBezTo>
                  <a:pt x="1418584" y="3070877"/>
                  <a:pt x="1415866" y="3070877"/>
                  <a:pt x="1413149" y="3070877"/>
                </a:cubicBezTo>
                <a:cubicBezTo>
                  <a:pt x="1413149" y="3081747"/>
                  <a:pt x="1418584" y="3092618"/>
                  <a:pt x="1415866" y="3103488"/>
                </a:cubicBezTo>
                <a:cubicBezTo>
                  <a:pt x="1413149" y="3111641"/>
                  <a:pt x="1410431" y="3119794"/>
                  <a:pt x="1407714" y="3127946"/>
                </a:cubicBezTo>
                <a:cubicBezTo>
                  <a:pt x="1396843" y="3127946"/>
                  <a:pt x="1394126" y="3111641"/>
                  <a:pt x="1388690" y="3106206"/>
                </a:cubicBezTo>
                <a:cubicBezTo>
                  <a:pt x="1388690" y="3103488"/>
                  <a:pt x="1383255" y="3106206"/>
                  <a:pt x="1380538" y="3103488"/>
                </a:cubicBezTo>
                <a:cubicBezTo>
                  <a:pt x="1380538" y="3100770"/>
                  <a:pt x="1380538" y="3100770"/>
                  <a:pt x="1380538" y="3098053"/>
                </a:cubicBezTo>
                <a:cubicBezTo>
                  <a:pt x="1380538" y="3098053"/>
                  <a:pt x="1377820" y="3095335"/>
                  <a:pt x="1375102" y="3095335"/>
                </a:cubicBezTo>
                <a:cubicBezTo>
                  <a:pt x="1372385" y="3089900"/>
                  <a:pt x="1377820" y="3089900"/>
                  <a:pt x="1372385" y="3087182"/>
                </a:cubicBezTo>
                <a:cubicBezTo>
                  <a:pt x="1369667" y="3087182"/>
                  <a:pt x="1372385" y="3087182"/>
                  <a:pt x="1369667" y="3087182"/>
                </a:cubicBezTo>
                <a:cubicBezTo>
                  <a:pt x="1369667" y="3087182"/>
                  <a:pt x="1369667" y="3089900"/>
                  <a:pt x="1366950" y="3089900"/>
                </a:cubicBezTo>
                <a:cubicBezTo>
                  <a:pt x="1366950" y="3095335"/>
                  <a:pt x="1366950" y="3092618"/>
                  <a:pt x="1366950" y="3098053"/>
                </a:cubicBezTo>
                <a:cubicBezTo>
                  <a:pt x="1372385" y="3100770"/>
                  <a:pt x="1369667" y="3103488"/>
                  <a:pt x="1372385" y="3106206"/>
                </a:cubicBezTo>
                <a:cubicBezTo>
                  <a:pt x="1375102" y="3106206"/>
                  <a:pt x="1377820" y="3106206"/>
                  <a:pt x="1380538" y="3108923"/>
                </a:cubicBezTo>
                <a:cubicBezTo>
                  <a:pt x="1385973" y="3119794"/>
                  <a:pt x="1396843" y="3127946"/>
                  <a:pt x="1399561" y="3138817"/>
                </a:cubicBezTo>
                <a:cubicBezTo>
                  <a:pt x="1404996" y="3155122"/>
                  <a:pt x="1399561" y="3171428"/>
                  <a:pt x="1396843" y="3182298"/>
                </a:cubicBezTo>
                <a:cubicBezTo>
                  <a:pt x="1396843" y="3193169"/>
                  <a:pt x="1396843" y="3201321"/>
                  <a:pt x="1396843" y="3209474"/>
                </a:cubicBezTo>
                <a:cubicBezTo>
                  <a:pt x="1396843" y="3212192"/>
                  <a:pt x="1396843" y="3217627"/>
                  <a:pt x="1396843" y="3223062"/>
                </a:cubicBezTo>
                <a:cubicBezTo>
                  <a:pt x="1399561" y="3233932"/>
                  <a:pt x="1404996" y="3247520"/>
                  <a:pt x="1413149" y="3258391"/>
                </a:cubicBezTo>
                <a:cubicBezTo>
                  <a:pt x="1415866" y="3258391"/>
                  <a:pt x="1418584" y="3261108"/>
                  <a:pt x="1418584" y="3261108"/>
                </a:cubicBezTo>
                <a:cubicBezTo>
                  <a:pt x="1426737" y="3266544"/>
                  <a:pt x="1426737" y="3282849"/>
                  <a:pt x="1432172" y="3291002"/>
                </a:cubicBezTo>
                <a:cubicBezTo>
                  <a:pt x="1434890" y="3293720"/>
                  <a:pt x="1448478" y="3299155"/>
                  <a:pt x="1451195" y="3301872"/>
                </a:cubicBezTo>
                <a:cubicBezTo>
                  <a:pt x="1451195" y="3301872"/>
                  <a:pt x="1451195" y="3304590"/>
                  <a:pt x="1451195" y="3304590"/>
                </a:cubicBezTo>
                <a:lnTo>
                  <a:pt x="1464518" y="3307255"/>
                </a:lnTo>
                <a:lnTo>
                  <a:pt x="1465076" y="3307773"/>
                </a:lnTo>
                <a:lnTo>
                  <a:pt x="1470558" y="3316479"/>
                </a:lnTo>
                <a:cubicBezTo>
                  <a:pt x="1473615" y="3320216"/>
                  <a:pt x="1477012" y="3323613"/>
                  <a:pt x="1478371" y="3323613"/>
                </a:cubicBezTo>
                <a:cubicBezTo>
                  <a:pt x="1478371" y="3329048"/>
                  <a:pt x="1481089" y="3331766"/>
                  <a:pt x="1478371" y="3334484"/>
                </a:cubicBezTo>
                <a:cubicBezTo>
                  <a:pt x="1475653" y="3339919"/>
                  <a:pt x="1459348" y="3348071"/>
                  <a:pt x="1453913" y="3353507"/>
                </a:cubicBezTo>
                <a:cubicBezTo>
                  <a:pt x="1448478" y="3353507"/>
                  <a:pt x="1445760" y="3353507"/>
                  <a:pt x="1443042" y="3353507"/>
                </a:cubicBezTo>
                <a:cubicBezTo>
                  <a:pt x="1440325" y="3342636"/>
                  <a:pt x="1429454" y="3339919"/>
                  <a:pt x="1424019" y="3331766"/>
                </a:cubicBezTo>
                <a:cubicBezTo>
                  <a:pt x="1424019" y="3329048"/>
                  <a:pt x="1424019" y="3329048"/>
                  <a:pt x="1424019" y="3326331"/>
                </a:cubicBezTo>
                <a:cubicBezTo>
                  <a:pt x="1424019" y="3323613"/>
                  <a:pt x="1418584" y="3323613"/>
                  <a:pt x="1418584" y="3323613"/>
                </a:cubicBezTo>
                <a:cubicBezTo>
                  <a:pt x="1418584" y="3323613"/>
                  <a:pt x="1418584" y="3320896"/>
                  <a:pt x="1418584" y="3318178"/>
                </a:cubicBezTo>
                <a:cubicBezTo>
                  <a:pt x="1415866" y="3315460"/>
                  <a:pt x="1413149" y="3318178"/>
                  <a:pt x="1413149" y="3315460"/>
                </a:cubicBezTo>
                <a:cubicBezTo>
                  <a:pt x="1413149" y="3315460"/>
                  <a:pt x="1413149" y="3312743"/>
                  <a:pt x="1413149" y="3312743"/>
                </a:cubicBezTo>
                <a:cubicBezTo>
                  <a:pt x="1410431" y="3310025"/>
                  <a:pt x="1399561" y="3293720"/>
                  <a:pt x="1399561" y="3293720"/>
                </a:cubicBezTo>
                <a:cubicBezTo>
                  <a:pt x="1399561" y="3293720"/>
                  <a:pt x="1396843" y="3293720"/>
                  <a:pt x="1394126" y="3293720"/>
                </a:cubicBezTo>
                <a:cubicBezTo>
                  <a:pt x="1394126" y="3293720"/>
                  <a:pt x="1394126" y="3291002"/>
                  <a:pt x="1394126" y="3291002"/>
                </a:cubicBezTo>
                <a:cubicBezTo>
                  <a:pt x="1394126" y="3291002"/>
                  <a:pt x="1391408" y="3288284"/>
                  <a:pt x="1388690" y="3288284"/>
                </a:cubicBezTo>
                <a:cubicBezTo>
                  <a:pt x="1388690" y="3288284"/>
                  <a:pt x="1388690" y="3285567"/>
                  <a:pt x="1388690" y="3285567"/>
                </a:cubicBezTo>
                <a:cubicBezTo>
                  <a:pt x="1385972" y="3282849"/>
                  <a:pt x="1378499" y="3277414"/>
                  <a:pt x="1370686" y="3272319"/>
                </a:cubicBezTo>
                <a:lnTo>
                  <a:pt x="1366721" y="3270101"/>
                </a:lnTo>
                <a:lnTo>
                  <a:pt x="1365931" y="3272998"/>
                </a:lnTo>
                <a:cubicBezTo>
                  <a:pt x="1365591" y="3274017"/>
                  <a:pt x="1365591" y="3274696"/>
                  <a:pt x="1366950" y="3274696"/>
                </a:cubicBezTo>
                <a:cubicBezTo>
                  <a:pt x="1366950" y="3274696"/>
                  <a:pt x="1369667" y="3274696"/>
                  <a:pt x="1372385" y="3274696"/>
                </a:cubicBezTo>
                <a:cubicBezTo>
                  <a:pt x="1375102" y="3277414"/>
                  <a:pt x="1372385" y="3280132"/>
                  <a:pt x="1369667" y="3277414"/>
                </a:cubicBezTo>
                <a:cubicBezTo>
                  <a:pt x="1375102" y="3282849"/>
                  <a:pt x="1383255" y="3285567"/>
                  <a:pt x="1385973" y="3291002"/>
                </a:cubicBezTo>
                <a:cubicBezTo>
                  <a:pt x="1385973" y="3291002"/>
                  <a:pt x="1385973" y="3293719"/>
                  <a:pt x="1385973" y="3293719"/>
                </a:cubicBezTo>
                <a:cubicBezTo>
                  <a:pt x="1388690" y="3293719"/>
                  <a:pt x="1391408" y="3296437"/>
                  <a:pt x="1394126" y="3296437"/>
                </a:cubicBezTo>
                <a:cubicBezTo>
                  <a:pt x="1394126" y="3299155"/>
                  <a:pt x="1394126" y="3299155"/>
                  <a:pt x="1394126" y="3301872"/>
                </a:cubicBezTo>
                <a:cubicBezTo>
                  <a:pt x="1396843" y="3301872"/>
                  <a:pt x="1396843" y="3304590"/>
                  <a:pt x="1399561" y="3304590"/>
                </a:cubicBezTo>
                <a:cubicBezTo>
                  <a:pt x="1402278" y="3310025"/>
                  <a:pt x="1402278" y="3315460"/>
                  <a:pt x="1404996" y="3318178"/>
                </a:cubicBezTo>
                <a:cubicBezTo>
                  <a:pt x="1407714" y="3318178"/>
                  <a:pt x="1407714" y="3320895"/>
                  <a:pt x="1410431" y="3320895"/>
                </a:cubicBezTo>
                <a:cubicBezTo>
                  <a:pt x="1415866" y="3326331"/>
                  <a:pt x="1418584" y="3337201"/>
                  <a:pt x="1424020" y="3342636"/>
                </a:cubicBezTo>
                <a:cubicBezTo>
                  <a:pt x="1421302" y="3364377"/>
                  <a:pt x="1410431" y="3367094"/>
                  <a:pt x="1388690" y="3358942"/>
                </a:cubicBezTo>
                <a:cubicBezTo>
                  <a:pt x="1385973" y="3356224"/>
                  <a:pt x="1377820" y="3353506"/>
                  <a:pt x="1375102" y="3350789"/>
                </a:cubicBezTo>
                <a:cubicBezTo>
                  <a:pt x="1372385" y="3348071"/>
                  <a:pt x="1375102" y="3345354"/>
                  <a:pt x="1372385" y="3345354"/>
                </a:cubicBezTo>
                <a:cubicBezTo>
                  <a:pt x="1369667" y="3345354"/>
                  <a:pt x="1366950" y="3345354"/>
                  <a:pt x="1364232" y="3345354"/>
                </a:cubicBezTo>
                <a:cubicBezTo>
                  <a:pt x="1364232" y="3345354"/>
                  <a:pt x="1364232" y="3342636"/>
                  <a:pt x="1364232" y="3342636"/>
                </a:cubicBezTo>
                <a:cubicBezTo>
                  <a:pt x="1364232" y="3342636"/>
                  <a:pt x="1361514" y="3342636"/>
                  <a:pt x="1358797" y="3342636"/>
                </a:cubicBezTo>
                <a:cubicBezTo>
                  <a:pt x="1353362" y="3339919"/>
                  <a:pt x="1353362" y="3337201"/>
                  <a:pt x="1350644" y="3334483"/>
                </a:cubicBezTo>
                <a:cubicBezTo>
                  <a:pt x="1350644" y="3334483"/>
                  <a:pt x="1347926" y="3334483"/>
                  <a:pt x="1345209" y="3334483"/>
                </a:cubicBezTo>
                <a:lnTo>
                  <a:pt x="1340192" y="3326957"/>
                </a:lnTo>
                <a:lnTo>
                  <a:pt x="1339773" y="3329048"/>
                </a:lnTo>
                <a:cubicBezTo>
                  <a:pt x="1338415" y="3333804"/>
                  <a:pt x="1337056" y="3338560"/>
                  <a:pt x="1337056" y="3342636"/>
                </a:cubicBezTo>
                <a:cubicBezTo>
                  <a:pt x="1334339" y="3342636"/>
                  <a:pt x="1328903" y="3339919"/>
                  <a:pt x="1326186" y="3339919"/>
                </a:cubicBezTo>
                <a:cubicBezTo>
                  <a:pt x="1328903" y="3342636"/>
                  <a:pt x="1331621" y="3339919"/>
                  <a:pt x="1334339" y="3342636"/>
                </a:cubicBezTo>
                <a:cubicBezTo>
                  <a:pt x="1334339" y="3342636"/>
                  <a:pt x="1334339" y="3345354"/>
                  <a:pt x="1334339" y="3345354"/>
                </a:cubicBezTo>
                <a:cubicBezTo>
                  <a:pt x="1339774" y="3345354"/>
                  <a:pt x="1342491" y="3348071"/>
                  <a:pt x="1345209" y="3348071"/>
                </a:cubicBezTo>
                <a:cubicBezTo>
                  <a:pt x="1345209" y="3348071"/>
                  <a:pt x="1345209" y="3353507"/>
                  <a:pt x="1347927" y="3353507"/>
                </a:cubicBezTo>
                <a:cubicBezTo>
                  <a:pt x="1353362" y="3353507"/>
                  <a:pt x="1356079" y="3353507"/>
                  <a:pt x="1358797" y="3353507"/>
                </a:cubicBezTo>
                <a:cubicBezTo>
                  <a:pt x="1358797" y="3356224"/>
                  <a:pt x="1361515" y="3356224"/>
                  <a:pt x="1361515" y="3358942"/>
                </a:cubicBezTo>
                <a:cubicBezTo>
                  <a:pt x="1364232" y="3358942"/>
                  <a:pt x="1366950" y="3361659"/>
                  <a:pt x="1369667" y="3361659"/>
                </a:cubicBezTo>
                <a:cubicBezTo>
                  <a:pt x="1372385" y="3364377"/>
                  <a:pt x="1377820" y="3372530"/>
                  <a:pt x="1380538" y="3375247"/>
                </a:cubicBezTo>
                <a:cubicBezTo>
                  <a:pt x="1383255" y="3375247"/>
                  <a:pt x="1385973" y="3377965"/>
                  <a:pt x="1388690" y="3377965"/>
                </a:cubicBezTo>
                <a:cubicBezTo>
                  <a:pt x="1388690" y="3380683"/>
                  <a:pt x="1388690" y="3380683"/>
                  <a:pt x="1388690" y="3383400"/>
                </a:cubicBezTo>
                <a:cubicBezTo>
                  <a:pt x="1391408" y="3388835"/>
                  <a:pt x="1399561" y="3386118"/>
                  <a:pt x="1404996" y="3388835"/>
                </a:cubicBezTo>
                <a:cubicBezTo>
                  <a:pt x="1413149" y="3394270"/>
                  <a:pt x="1424019" y="3402423"/>
                  <a:pt x="1434890" y="3402423"/>
                </a:cubicBezTo>
                <a:cubicBezTo>
                  <a:pt x="1434890" y="3416011"/>
                  <a:pt x="1440325" y="3424164"/>
                  <a:pt x="1437607" y="3437752"/>
                </a:cubicBezTo>
                <a:cubicBezTo>
                  <a:pt x="1413149" y="3440469"/>
                  <a:pt x="1385973" y="3435034"/>
                  <a:pt x="1372385" y="3437752"/>
                </a:cubicBezTo>
                <a:cubicBezTo>
                  <a:pt x="1364232" y="3440469"/>
                  <a:pt x="1353362" y="3437752"/>
                  <a:pt x="1350644" y="3432317"/>
                </a:cubicBezTo>
                <a:cubicBezTo>
                  <a:pt x="1345209" y="3432317"/>
                  <a:pt x="1342491" y="3432317"/>
                  <a:pt x="1339774" y="3432317"/>
                </a:cubicBezTo>
                <a:cubicBezTo>
                  <a:pt x="1339774" y="3435034"/>
                  <a:pt x="1339774" y="3435034"/>
                  <a:pt x="1339774" y="3435034"/>
                </a:cubicBezTo>
                <a:cubicBezTo>
                  <a:pt x="1339774" y="3443187"/>
                  <a:pt x="1342491" y="3440469"/>
                  <a:pt x="1345209" y="3445905"/>
                </a:cubicBezTo>
                <a:cubicBezTo>
                  <a:pt x="1375102" y="3451340"/>
                  <a:pt x="1418584" y="3443187"/>
                  <a:pt x="1440325" y="3462210"/>
                </a:cubicBezTo>
                <a:cubicBezTo>
                  <a:pt x="1445760" y="3470363"/>
                  <a:pt x="1440325" y="3481233"/>
                  <a:pt x="1443042" y="3489386"/>
                </a:cubicBezTo>
                <a:cubicBezTo>
                  <a:pt x="1443042" y="3492104"/>
                  <a:pt x="1448478" y="3494821"/>
                  <a:pt x="1448478" y="3497539"/>
                </a:cubicBezTo>
                <a:cubicBezTo>
                  <a:pt x="1451195" y="3502974"/>
                  <a:pt x="1448478" y="3508409"/>
                  <a:pt x="1448478" y="3511127"/>
                </a:cubicBezTo>
                <a:cubicBezTo>
                  <a:pt x="1448478" y="3513844"/>
                  <a:pt x="1453913" y="3519280"/>
                  <a:pt x="1456630" y="3521997"/>
                </a:cubicBezTo>
                <a:cubicBezTo>
                  <a:pt x="1456630" y="3527432"/>
                  <a:pt x="1456630" y="3532868"/>
                  <a:pt x="1459348" y="3535585"/>
                </a:cubicBezTo>
                <a:cubicBezTo>
                  <a:pt x="1459348" y="3535585"/>
                  <a:pt x="1462066" y="3535585"/>
                  <a:pt x="1462066" y="3535585"/>
                </a:cubicBezTo>
                <a:cubicBezTo>
                  <a:pt x="1464783" y="3541020"/>
                  <a:pt x="1462066" y="3543738"/>
                  <a:pt x="1464783" y="3549173"/>
                </a:cubicBezTo>
                <a:cubicBezTo>
                  <a:pt x="1467501" y="3557326"/>
                  <a:pt x="1472936" y="3562761"/>
                  <a:pt x="1478371" y="3570914"/>
                </a:cubicBezTo>
                <a:cubicBezTo>
                  <a:pt x="1483806" y="3581784"/>
                  <a:pt x="1483806" y="3595372"/>
                  <a:pt x="1489241" y="3600808"/>
                </a:cubicBezTo>
                <a:cubicBezTo>
                  <a:pt x="1489241" y="3600808"/>
                  <a:pt x="1489241" y="3603525"/>
                  <a:pt x="1489241" y="3606243"/>
                </a:cubicBezTo>
                <a:cubicBezTo>
                  <a:pt x="1486524" y="3608960"/>
                  <a:pt x="1486524" y="3611678"/>
                  <a:pt x="1483806" y="3611678"/>
                </a:cubicBezTo>
                <a:cubicBezTo>
                  <a:pt x="1475653" y="3611678"/>
                  <a:pt x="1467501" y="3614396"/>
                  <a:pt x="1459348" y="3614396"/>
                </a:cubicBezTo>
                <a:lnTo>
                  <a:pt x="1457650" y="3617113"/>
                </a:lnTo>
                <a:lnTo>
                  <a:pt x="1464784" y="3617113"/>
                </a:lnTo>
                <a:cubicBezTo>
                  <a:pt x="1467502" y="3622548"/>
                  <a:pt x="1464784" y="3633419"/>
                  <a:pt x="1464784" y="3638854"/>
                </a:cubicBezTo>
                <a:cubicBezTo>
                  <a:pt x="1467502" y="3647007"/>
                  <a:pt x="1467502" y="3655160"/>
                  <a:pt x="1467502" y="3663312"/>
                </a:cubicBezTo>
                <a:cubicBezTo>
                  <a:pt x="1467502" y="3666030"/>
                  <a:pt x="1464784" y="3666030"/>
                  <a:pt x="1464784" y="3666030"/>
                </a:cubicBezTo>
                <a:cubicBezTo>
                  <a:pt x="1462066" y="3674183"/>
                  <a:pt x="1464784" y="3679618"/>
                  <a:pt x="1456631" y="3685053"/>
                </a:cubicBezTo>
                <a:cubicBezTo>
                  <a:pt x="1448478" y="3682336"/>
                  <a:pt x="1443043" y="3676900"/>
                  <a:pt x="1434890" y="3674183"/>
                </a:cubicBezTo>
                <a:cubicBezTo>
                  <a:pt x="1432172" y="3676900"/>
                  <a:pt x="1426737" y="3676900"/>
                  <a:pt x="1424020" y="3679618"/>
                </a:cubicBezTo>
                <a:cubicBezTo>
                  <a:pt x="1429455" y="3687771"/>
                  <a:pt x="1434890" y="3695924"/>
                  <a:pt x="1448478" y="3690488"/>
                </a:cubicBezTo>
                <a:cubicBezTo>
                  <a:pt x="1451196" y="3701359"/>
                  <a:pt x="1456631" y="3712229"/>
                  <a:pt x="1459348" y="3720382"/>
                </a:cubicBezTo>
                <a:cubicBezTo>
                  <a:pt x="1462066" y="3720382"/>
                  <a:pt x="1464784" y="3720382"/>
                  <a:pt x="1467502" y="3720382"/>
                </a:cubicBezTo>
                <a:cubicBezTo>
                  <a:pt x="1467502" y="3725817"/>
                  <a:pt x="1467502" y="3731252"/>
                  <a:pt x="1464784" y="3733970"/>
                </a:cubicBezTo>
                <a:cubicBezTo>
                  <a:pt x="1464784" y="3733970"/>
                  <a:pt x="1464784" y="3736687"/>
                  <a:pt x="1464784" y="3736687"/>
                </a:cubicBezTo>
                <a:cubicBezTo>
                  <a:pt x="1453913" y="3733970"/>
                  <a:pt x="1451196" y="3725817"/>
                  <a:pt x="1445760" y="3720382"/>
                </a:cubicBezTo>
                <a:cubicBezTo>
                  <a:pt x="1443043" y="3717664"/>
                  <a:pt x="1437608" y="3720382"/>
                  <a:pt x="1432172" y="3717664"/>
                </a:cubicBezTo>
                <a:cubicBezTo>
                  <a:pt x="1432172" y="3717664"/>
                  <a:pt x="1432172" y="3714947"/>
                  <a:pt x="1432172" y="3714947"/>
                </a:cubicBezTo>
                <a:cubicBezTo>
                  <a:pt x="1429455" y="3712229"/>
                  <a:pt x="1421302" y="3714947"/>
                  <a:pt x="1415867" y="3712229"/>
                </a:cubicBezTo>
                <a:cubicBezTo>
                  <a:pt x="1413149" y="3709512"/>
                  <a:pt x="1410432" y="3706794"/>
                  <a:pt x="1404996" y="3704076"/>
                </a:cubicBezTo>
                <a:cubicBezTo>
                  <a:pt x="1402279" y="3698641"/>
                  <a:pt x="1402279" y="3695924"/>
                  <a:pt x="1399561" y="3690488"/>
                </a:cubicBezTo>
                <a:cubicBezTo>
                  <a:pt x="1399561" y="3687771"/>
                  <a:pt x="1394126" y="3685053"/>
                  <a:pt x="1391408" y="3682336"/>
                </a:cubicBezTo>
                <a:cubicBezTo>
                  <a:pt x="1391408" y="3676900"/>
                  <a:pt x="1391408" y="3674183"/>
                  <a:pt x="1391408" y="3668748"/>
                </a:cubicBezTo>
                <a:cubicBezTo>
                  <a:pt x="1388691" y="3666030"/>
                  <a:pt x="1385973" y="3666030"/>
                  <a:pt x="1383256" y="3660595"/>
                </a:cubicBezTo>
                <a:cubicBezTo>
                  <a:pt x="1383256" y="3657877"/>
                  <a:pt x="1383256" y="3644289"/>
                  <a:pt x="1383256" y="3641572"/>
                </a:cubicBezTo>
                <a:cubicBezTo>
                  <a:pt x="1391408" y="3638854"/>
                  <a:pt x="1399561" y="3633419"/>
                  <a:pt x="1402279" y="3625266"/>
                </a:cubicBezTo>
                <a:lnTo>
                  <a:pt x="1413149" y="3625266"/>
                </a:lnTo>
                <a:cubicBezTo>
                  <a:pt x="1407714" y="3622548"/>
                  <a:pt x="1402278" y="3619831"/>
                  <a:pt x="1399561" y="3614396"/>
                </a:cubicBezTo>
                <a:cubicBezTo>
                  <a:pt x="1392767" y="3611678"/>
                  <a:pt x="1386652" y="3612358"/>
                  <a:pt x="1381896" y="3615415"/>
                </a:cubicBezTo>
                <a:lnTo>
                  <a:pt x="1379590" y="3619122"/>
                </a:lnTo>
                <a:lnTo>
                  <a:pt x="1385973" y="3619831"/>
                </a:lnTo>
                <a:cubicBezTo>
                  <a:pt x="1383256" y="3619831"/>
                  <a:pt x="1383256" y="3622549"/>
                  <a:pt x="1380538" y="3625267"/>
                </a:cubicBezTo>
                <a:lnTo>
                  <a:pt x="1375874" y="3625094"/>
                </a:lnTo>
                <a:lnTo>
                  <a:pt x="1372385" y="3630701"/>
                </a:lnTo>
                <a:cubicBezTo>
                  <a:pt x="1369667" y="3630701"/>
                  <a:pt x="1369667" y="3630701"/>
                  <a:pt x="1366950" y="3630701"/>
                </a:cubicBezTo>
                <a:cubicBezTo>
                  <a:pt x="1366950" y="3630701"/>
                  <a:pt x="1366950" y="3627984"/>
                  <a:pt x="1366950" y="3627984"/>
                </a:cubicBezTo>
                <a:cubicBezTo>
                  <a:pt x="1364232" y="3625266"/>
                  <a:pt x="1358797" y="3627984"/>
                  <a:pt x="1356079" y="3625266"/>
                </a:cubicBezTo>
                <a:cubicBezTo>
                  <a:pt x="1350644" y="3622548"/>
                  <a:pt x="1350644" y="3619831"/>
                  <a:pt x="1339774" y="3617113"/>
                </a:cubicBezTo>
                <a:cubicBezTo>
                  <a:pt x="1337056" y="3600808"/>
                  <a:pt x="1323468" y="3598090"/>
                  <a:pt x="1318033" y="3587220"/>
                </a:cubicBezTo>
                <a:cubicBezTo>
                  <a:pt x="1315315" y="3581784"/>
                  <a:pt x="1315315" y="3576349"/>
                  <a:pt x="1312598" y="3573632"/>
                </a:cubicBezTo>
                <a:cubicBezTo>
                  <a:pt x="1304445" y="3565479"/>
                  <a:pt x="1288140" y="3565479"/>
                  <a:pt x="1279987" y="3557326"/>
                </a:cubicBezTo>
                <a:cubicBezTo>
                  <a:pt x="1274551" y="3557326"/>
                  <a:pt x="1270475" y="3557326"/>
                  <a:pt x="1267078" y="3558005"/>
                </a:cubicBezTo>
                <a:lnTo>
                  <a:pt x="1265787" y="3558700"/>
                </a:lnTo>
                <a:lnTo>
                  <a:pt x="1271834" y="3560044"/>
                </a:lnTo>
                <a:cubicBezTo>
                  <a:pt x="1274552" y="3562761"/>
                  <a:pt x="1271834" y="3565480"/>
                  <a:pt x="1274552" y="3565480"/>
                </a:cubicBezTo>
                <a:cubicBezTo>
                  <a:pt x="1277269" y="3565480"/>
                  <a:pt x="1277269" y="3562761"/>
                  <a:pt x="1279987" y="3565480"/>
                </a:cubicBezTo>
                <a:cubicBezTo>
                  <a:pt x="1279987" y="3568197"/>
                  <a:pt x="1279987" y="3568197"/>
                  <a:pt x="1279987" y="3570915"/>
                </a:cubicBezTo>
                <a:cubicBezTo>
                  <a:pt x="1279987" y="3573633"/>
                  <a:pt x="1285422" y="3573633"/>
                  <a:pt x="1285422" y="3573633"/>
                </a:cubicBezTo>
                <a:cubicBezTo>
                  <a:pt x="1285422" y="3576350"/>
                  <a:pt x="1285422" y="3576350"/>
                  <a:pt x="1285422" y="3579068"/>
                </a:cubicBezTo>
                <a:cubicBezTo>
                  <a:pt x="1285422" y="3579068"/>
                  <a:pt x="1290857" y="3579068"/>
                  <a:pt x="1290857" y="3581785"/>
                </a:cubicBezTo>
                <a:cubicBezTo>
                  <a:pt x="1290857" y="3584503"/>
                  <a:pt x="1290857" y="3584503"/>
                  <a:pt x="1290857" y="3587220"/>
                </a:cubicBezTo>
                <a:cubicBezTo>
                  <a:pt x="1293575" y="3587220"/>
                  <a:pt x="1293575" y="3587220"/>
                  <a:pt x="1296293" y="3587220"/>
                </a:cubicBezTo>
                <a:cubicBezTo>
                  <a:pt x="1296293" y="3587220"/>
                  <a:pt x="1301728" y="3595373"/>
                  <a:pt x="1301728" y="3595373"/>
                </a:cubicBezTo>
                <a:cubicBezTo>
                  <a:pt x="1304445" y="3600808"/>
                  <a:pt x="1304445" y="3603526"/>
                  <a:pt x="1307163" y="3606244"/>
                </a:cubicBezTo>
                <a:cubicBezTo>
                  <a:pt x="1309881" y="3608961"/>
                  <a:pt x="1315316" y="3606244"/>
                  <a:pt x="1318033" y="3608961"/>
                </a:cubicBezTo>
                <a:cubicBezTo>
                  <a:pt x="1318033" y="3608961"/>
                  <a:pt x="1320751" y="3611679"/>
                  <a:pt x="1320751" y="3614396"/>
                </a:cubicBezTo>
                <a:cubicBezTo>
                  <a:pt x="1323469" y="3614396"/>
                  <a:pt x="1326186" y="3614396"/>
                  <a:pt x="1328904" y="3614396"/>
                </a:cubicBezTo>
                <a:cubicBezTo>
                  <a:pt x="1331622" y="3617114"/>
                  <a:pt x="1331622" y="3619832"/>
                  <a:pt x="1334340" y="3622549"/>
                </a:cubicBezTo>
                <a:cubicBezTo>
                  <a:pt x="1339775" y="3622549"/>
                  <a:pt x="1342493" y="3625267"/>
                  <a:pt x="1347928" y="3625267"/>
                </a:cubicBezTo>
                <a:cubicBezTo>
                  <a:pt x="1347928" y="3627984"/>
                  <a:pt x="1347928" y="3627984"/>
                  <a:pt x="1347928" y="3630702"/>
                </a:cubicBezTo>
                <a:cubicBezTo>
                  <a:pt x="1334340" y="3633420"/>
                  <a:pt x="1334340" y="3638855"/>
                  <a:pt x="1326186" y="3641572"/>
                </a:cubicBezTo>
                <a:cubicBezTo>
                  <a:pt x="1313958" y="3645649"/>
                  <a:pt x="1281856" y="3639025"/>
                  <a:pt x="1261983" y="3630872"/>
                </a:cubicBezTo>
                <a:lnTo>
                  <a:pt x="1249024" y="3623488"/>
                </a:lnTo>
                <a:lnTo>
                  <a:pt x="1250093" y="3630701"/>
                </a:lnTo>
                <a:cubicBezTo>
                  <a:pt x="1250093" y="3630701"/>
                  <a:pt x="1252811" y="3630701"/>
                  <a:pt x="1252811" y="3630701"/>
                </a:cubicBezTo>
                <a:cubicBezTo>
                  <a:pt x="1255528" y="3633419"/>
                  <a:pt x="1255528" y="3636136"/>
                  <a:pt x="1255528" y="3638854"/>
                </a:cubicBezTo>
                <a:cubicBezTo>
                  <a:pt x="1252810" y="3641572"/>
                  <a:pt x="1252131" y="3644969"/>
                  <a:pt x="1250772" y="3648026"/>
                </a:cubicBezTo>
                <a:lnTo>
                  <a:pt x="1249983" y="3648664"/>
                </a:lnTo>
                <a:lnTo>
                  <a:pt x="1249754" y="3652103"/>
                </a:lnTo>
                <a:cubicBezTo>
                  <a:pt x="1249414" y="3653122"/>
                  <a:pt x="1248735" y="3653801"/>
                  <a:pt x="1247376" y="3655160"/>
                </a:cubicBezTo>
                <a:lnTo>
                  <a:pt x="1241941" y="3655160"/>
                </a:lnTo>
                <a:lnTo>
                  <a:pt x="1241940" y="3655160"/>
                </a:lnTo>
                <a:lnTo>
                  <a:pt x="1241939" y="3655160"/>
                </a:lnTo>
                <a:lnTo>
                  <a:pt x="1233788" y="3655160"/>
                </a:lnTo>
                <a:lnTo>
                  <a:pt x="1237120" y="3648829"/>
                </a:lnTo>
                <a:lnTo>
                  <a:pt x="1224616" y="3632400"/>
                </a:lnTo>
                <a:cubicBezTo>
                  <a:pt x="1217482" y="3627305"/>
                  <a:pt x="1209329" y="3623908"/>
                  <a:pt x="1201177" y="3619831"/>
                </a:cubicBezTo>
                <a:cubicBezTo>
                  <a:pt x="1201177" y="3619831"/>
                  <a:pt x="1201177" y="3617113"/>
                  <a:pt x="1201177" y="3614396"/>
                </a:cubicBezTo>
                <a:cubicBezTo>
                  <a:pt x="1198459" y="3614396"/>
                  <a:pt x="1195741" y="3614396"/>
                  <a:pt x="1193024" y="3614396"/>
                </a:cubicBezTo>
                <a:cubicBezTo>
                  <a:pt x="1190306" y="3600808"/>
                  <a:pt x="1187589" y="3600808"/>
                  <a:pt x="1187589" y="3587220"/>
                </a:cubicBezTo>
                <a:cubicBezTo>
                  <a:pt x="1187589" y="3587220"/>
                  <a:pt x="1187589" y="3589937"/>
                  <a:pt x="1184871" y="3589937"/>
                </a:cubicBezTo>
                <a:cubicBezTo>
                  <a:pt x="1182153" y="3581784"/>
                  <a:pt x="1179436" y="3579067"/>
                  <a:pt x="1176718" y="3573632"/>
                </a:cubicBezTo>
                <a:cubicBezTo>
                  <a:pt x="1176718" y="3573632"/>
                  <a:pt x="1179436" y="3573632"/>
                  <a:pt x="1179436" y="3570914"/>
                </a:cubicBezTo>
                <a:cubicBezTo>
                  <a:pt x="1179436" y="3562761"/>
                  <a:pt x="1176718" y="3557326"/>
                  <a:pt x="1176718" y="3551891"/>
                </a:cubicBezTo>
                <a:cubicBezTo>
                  <a:pt x="1168565" y="3549173"/>
                  <a:pt x="1160413" y="3549173"/>
                  <a:pt x="1149542" y="3551891"/>
                </a:cubicBezTo>
                <a:cubicBezTo>
                  <a:pt x="1149542" y="3551891"/>
                  <a:pt x="1149542" y="3551891"/>
                  <a:pt x="1146825" y="3551891"/>
                </a:cubicBezTo>
                <a:cubicBezTo>
                  <a:pt x="1149542" y="3549173"/>
                  <a:pt x="1154977" y="3549173"/>
                  <a:pt x="1160413" y="3549173"/>
                </a:cubicBezTo>
                <a:cubicBezTo>
                  <a:pt x="1154977" y="3549173"/>
                  <a:pt x="1130519" y="3546456"/>
                  <a:pt x="1127801" y="3549173"/>
                </a:cubicBezTo>
                <a:cubicBezTo>
                  <a:pt x="1125084" y="3549173"/>
                  <a:pt x="1127801" y="3549173"/>
                  <a:pt x="1125084" y="3551891"/>
                </a:cubicBezTo>
                <a:cubicBezTo>
                  <a:pt x="1125084" y="3551891"/>
                  <a:pt x="1125084" y="3554608"/>
                  <a:pt x="1125084" y="3554608"/>
                </a:cubicBezTo>
                <a:cubicBezTo>
                  <a:pt x="1127801" y="3554608"/>
                  <a:pt x="1133237" y="3554608"/>
                  <a:pt x="1135954" y="3557326"/>
                </a:cubicBezTo>
                <a:cubicBezTo>
                  <a:pt x="1130519" y="3560044"/>
                  <a:pt x="1122366" y="3562761"/>
                  <a:pt x="1119649" y="3565479"/>
                </a:cubicBezTo>
                <a:lnTo>
                  <a:pt x="1120445" y="3568197"/>
                </a:lnTo>
                <a:lnTo>
                  <a:pt x="1141390" y="3568197"/>
                </a:lnTo>
                <a:lnTo>
                  <a:pt x="1149260" y="3581970"/>
                </a:lnTo>
                <a:lnTo>
                  <a:pt x="1139691" y="3588239"/>
                </a:lnTo>
                <a:cubicBezTo>
                  <a:pt x="1137313" y="3591297"/>
                  <a:pt x="1135954" y="3595373"/>
                  <a:pt x="1135954" y="3600808"/>
                </a:cubicBezTo>
                <a:lnTo>
                  <a:pt x="1133237" y="3600808"/>
                </a:lnTo>
                <a:cubicBezTo>
                  <a:pt x="1133237" y="3600808"/>
                  <a:pt x="1130519" y="3600808"/>
                  <a:pt x="1130519" y="3600808"/>
                </a:cubicBezTo>
                <a:lnTo>
                  <a:pt x="1130518" y="3600808"/>
                </a:lnTo>
                <a:lnTo>
                  <a:pt x="1122366" y="3600808"/>
                </a:lnTo>
                <a:cubicBezTo>
                  <a:pt x="1122366" y="3600808"/>
                  <a:pt x="1119649" y="3598090"/>
                  <a:pt x="1114214" y="3595373"/>
                </a:cubicBezTo>
                <a:cubicBezTo>
                  <a:pt x="1116931" y="3595373"/>
                  <a:pt x="1116931" y="3595373"/>
                  <a:pt x="1119649" y="3595373"/>
                </a:cubicBezTo>
                <a:lnTo>
                  <a:pt x="1118300" y="3585027"/>
                </a:lnTo>
                <a:lnTo>
                  <a:pt x="1114213" y="3579067"/>
                </a:lnTo>
                <a:cubicBezTo>
                  <a:pt x="1114213" y="3576349"/>
                  <a:pt x="1111496" y="3565479"/>
                  <a:pt x="1111496" y="3565479"/>
                </a:cubicBezTo>
                <a:cubicBezTo>
                  <a:pt x="1108778" y="3562761"/>
                  <a:pt x="1114213" y="3560044"/>
                  <a:pt x="1111496" y="3557326"/>
                </a:cubicBezTo>
                <a:cubicBezTo>
                  <a:pt x="1111496" y="3557326"/>
                  <a:pt x="1108778" y="3557326"/>
                  <a:pt x="1108778" y="3557326"/>
                </a:cubicBezTo>
                <a:cubicBezTo>
                  <a:pt x="1108778" y="3551891"/>
                  <a:pt x="1111496" y="3543738"/>
                  <a:pt x="1111496" y="3535585"/>
                </a:cubicBezTo>
                <a:cubicBezTo>
                  <a:pt x="1106061" y="3521997"/>
                  <a:pt x="1106061" y="3505692"/>
                  <a:pt x="1103343" y="3486669"/>
                </a:cubicBezTo>
                <a:cubicBezTo>
                  <a:pt x="1100625" y="3481233"/>
                  <a:pt x="1103343" y="3473081"/>
                  <a:pt x="1103343" y="3467645"/>
                </a:cubicBezTo>
                <a:cubicBezTo>
                  <a:pt x="1097908" y="3451340"/>
                  <a:pt x="1095190" y="3437752"/>
                  <a:pt x="1095190" y="3421446"/>
                </a:cubicBezTo>
                <a:cubicBezTo>
                  <a:pt x="1092473" y="3421446"/>
                  <a:pt x="1089755" y="3421446"/>
                  <a:pt x="1087038" y="3421446"/>
                </a:cubicBezTo>
                <a:cubicBezTo>
                  <a:pt x="1078885" y="3429599"/>
                  <a:pt x="1087038" y="3440469"/>
                  <a:pt x="1087038" y="3448622"/>
                </a:cubicBezTo>
                <a:cubicBezTo>
                  <a:pt x="1084320" y="3456775"/>
                  <a:pt x="1089755" y="3464928"/>
                  <a:pt x="1092473" y="3473081"/>
                </a:cubicBezTo>
                <a:cubicBezTo>
                  <a:pt x="1095190" y="3483951"/>
                  <a:pt x="1089755" y="3494821"/>
                  <a:pt x="1092473" y="3511127"/>
                </a:cubicBezTo>
                <a:cubicBezTo>
                  <a:pt x="1095190" y="3519280"/>
                  <a:pt x="1097908" y="3538303"/>
                  <a:pt x="1095190" y="3551891"/>
                </a:cubicBezTo>
                <a:cubicBezTo>
                  <a:pt x="1073450" y="3541020"/>
                  <a:pt x="1062579" y="3521997"/>
                  <a:pt x="1057144" y="3500256"/>
                </a:cubicBezTo>
                <a:cubicBezTo>
                  <a:pt x="1054426" y="3489386"/>
                  <a:pt x="1057144" y="3481233"/>
                  <a:pt x="1048991" y="3470363"/>
                </a:cubicBezTo>
                <a:cubicBezTo>
                  <a:pt x="1043556" y="3470363"/>
                  <a:pt x="1043556" y="3473081"/>
                  <a:pt x="1040838" y="3475798"/>
                </a:cubicBezTo>
                <a:cubicBezTo>
                  <a:pt x="1046274" y="3492104"/>
                  <a:pt x="1051709" y="3508409"/>
                  <a:pt x="1051709" y="3524715"/>
                </a:cubicBezTo>
                <a:cubicBezTo>
                  <a:pt x="1046274" y="3521997"/>
                  <a:pt x="1040838" y="3519280"/>
                  <a:pt x="1035403" y="3521997"/>
                </a:cubicBezTo>
                <a:cubicBezTo>
                  <a:pt x="1021815" y="3521997"/>
                  <a:pt x="1021815" y="3513844"/>
                  <a:pt x="1016380" y="3505692"/>
                </a:cubicBezTo>
                <a:cubicBezTo>
                  <a:pt x="1013662" y="3505692"/>
                  <a:pt x="1010945" y="3505692"/>
                  <a:pt x="1008227" y="3502974"/>
                </a:cubicBezTo>
                <a:cubicBezTo>
                  <a:pt x="1005510" y="3497539"/>
                  <a:pt x="1008227" y="3494821"/>
                  <a:pt x="1005510" y="3489386"/>
                </a:cubicBezTo>
                <a:cubicBezTo>
                  <a:pt x="1000074" y="3481233"/>
                  <a:pt x="991922" y="3467645"/>
                  <a:pt x="991922" y="3454057"/>
                </a:cubicBezTo>
                <a:cubicBezTo>
                  <a:pt x="989204" y="3454057"/>
                  <a:pt x="989204" y="3454057"/>
                  <a:pt x="986486" y="3454057"/>
                </a:cubicBezTo>
                <a:cubicBezTo>
                  <a:pt x="986486" y="3454057"/>
                  <a:pt x="983769" y="3454057"/>
                  <a:pt x="983769" y="3454057"/>
                </a:cubicBezTo>
                <a:cubicBezTo>
                  <a:pt x="983769" y="3464928"/>
                  <a:pt x="989204" y="3483951"/>
                  <a:pt x="994639" y="3489386"/>
                </a:cubicBezTo>
                <a:cubicBezTo>
                  <a:pt x="994639" y="3489386"/>
                  <a:pt x="994639" y="3492104"/>
                  <a:pt x="994639" y="3494821"/>
                </a:cubicBezTo>
                <a:cubicBezTo>
                  <a:pt x="989204" y="3483951"/>
                  <a:pt x="972899" y="3481233"/>
                  <a:pt x="964746" y="3473081"/>
                </a:cubicBezTo>
                <a:cubicBezTo>
                  <a:pt x="959311" y="3473081"/>
                  <a:pt x="959311" y="3473081"/>
                  <a:pt x="956593" y="3473081"/>
                </a:cubicBezTo>
                <a:cubicBezTo>
                  <a:pt x="956593" y="3489386"/>
                  <a:pt x="964746" y="3483951"/>
                  <a:pt x="972899" y="3489386"/>
                </a:cubicBezTo>
                <a:cubicBezTo>
                  <a:pt x="978334" y="3492104"/>
                  <a:pt x="981051" y="3500256"/>
                  <a:pt x="986486" y="3502974"/>
                </a:cubicBezTo>
                <a:cubicBezTo>
                  <a:pt x="989204" y="3502974"/>
                  <a:pt x="994639" y="3505692"/>
                  <a:pt x="997357" y="3505692"/>
                </a:cubicBezTo>
                <a:cubicBezTo>
                  <a:pt x="997357" y="3505692"/>
                  <a:pt x="997357" y="3508409"/>
                  <a:pt x="997357" y="3508409"/>
                </a:cubicBezTo>
                <a:cubicBezTo>
                  <a:pt x="1002792" y="3508409"/>
                  <a:pt x="1005510" y="3508409"/>
                  <a:pt x="1008227" y="3508409"/>
                </a:cubicBezTo>
                <a:cubicBezTo>
                  <a:pt x="1010945" y="3508409"/>
                  <a:pt x="1021815" y="3527432"/>
                  <a:pt x="1021815" y="3530150"/>
                </a:cubicBezTo>
                <a:cubicBezTo>
                  <a:pt x="1027250" y="3530150"/>
                  <a:pt x="1040838" y="3532868"/>
                  <a:pt x="1043556" y="3532868"/>
                </a:cubicBezTo>
                <a:cubicBezTo>
                  <a:pt x="1048991" y="3538303"/>
                  <a:pt x="1051709" y="3546456"/>
                  <a:pt x="1059862" y="3549173"/>
                </a:cubicBezTo>
                <a:cubicBezTo>
                  <a:pt x="1059862" y="3549173"/>
                  <a:pt x="1059862" y="3551891"/>
                  <a:pt x="1059862" y="3551891"/>
                </a:cubicBezTo>
                <a:cubicBezTo>
                  <a:pt x="1062579" y="3551891"/>
                  <a:pt x="1065297" y="3551891"/>
                  <a:pt x="1068014" y="3551891"/>
                </a:cubicBezTo>
                <a:cubicBezTo>
                  <a:pt x="1068014" y="3549173"/>
                  <a:pt x="1070732" y="3549173"/>
                  <a:pt x="1070732" y="3546456"/>
                </a:cubicBezTo>
                <a:cubicBezTo>
                  <a:pt x="1078885" y="3549173"/>
                  <a:pt x="1078885" y="3554608"/>
                  <a:pt x="1084320" y="3560044"/>
                </a:cubicBezTo>
                <a:cubicBezTo>
                  <a:pt x="1087038" y="3562761"/>
                  <a:pt x="1095190" y="3565479"/>
                  <a:pt x="1097908" y="3568196"/>
                </a:cubicBezTo>
                <a:cubicBezTo>
                  <a:pt x="1100625" y="3573632"/>
                  <a:pt x="1097908" y="3576349"/>
                  <a:pt x="1100625" y="3581784"/>
                </a:cubicBezTo>
                <a:cubicBezTo>
                  <a:pt x="1106061" y="3592655"/>
                  <a:pt x="1111496" y="3606243"/>
                  <a:pt x="1125084" y="3614396"/>
                </a:cubicBezTo>
                <a:cubicBezTo>
                  <a:pt x="1116931" y="3611678"/>
                  <a:pt x="1097908" y="3606243"/>
                  <a:pt x="1095190" y="3614396"/>
                </a:cubicBezTo>
                <a:cubicBezTo>
                  <a:pt x="1081602" y="3608960"/>
                  <a:pt x="1065297" y="3587220"/>
                  <a:pt x="1059862" y="3573632"/>
                </a:cubicBezTo>
                <a:cubicBezTo>
                  <a:pt x="1057144" y="3573632"/>
                  <a:pt x="1054426" y="3573632"/>
                  <a:pt x="1051709" y="3573632"/>
                </a:cubicBezTo>
                <a:cubicBezTo>
                  <a:pt x="1051709" y="3576349"/>
                  <a:pt x="1051709" y="3576349"/>
                  <a:pt x="1051709" y="3576349"/>
                </a:cubicBezTo>
                <a:cubicBezTo>
                  <a:pt x="1051709" y="3584502"/>
                  <a:pt x="1057144" y="3584502"/>
                  <a:pt x="1059862" y="3589937"/>
                </a:cubicBezTo>
                <a:cubicBezTo>
                  <a:pt x="1059862" y="3592655"/>
                  <a:pt x="1059862" y="3592655"/>
                  <a:pt x="1059862" y="3595372"/>
                </a:cubicBezTo>
                <a:cubicBezTo>
                  <a:pt x="1062579" y="3598090"/>
                  <a:pt x="1068014" y="3603525"/>
                  <a:pt x="1070732" y="3606243"/>
                </a:cubicBezTo>
                <a:cubicBezTo>
                  <a:pt x="1070732" y="3606243"/>
                  <a:pt x="1070732" y="3608960"/>
                  <a:pt x="1070732" y="3608960"/>
                </a:cubicBezTo>
                <a:cubicBezTo>
                  <a:pt x="1073450" y="3614396"/>
                  <a:pt x="1084320" y="3617113"/>
                  <a:pt x="1087038" y="3625266"/>
                </a:cubicBezTo>
                <a:cubicBezTo>
                  <a:pt x="1089755" y="3625266"/>
                  <a:pt x="1092473" y="3627984"/>
                  <a:pt x="1095190" y="3627984"/>
                </a:cubicBezTo>
                <a:cubicBezTo>
                  <a:pt x="1100625" y="3627984"/>
                  <a:pt x="1100625" y="3622548"/>
                  <a:pt x="1106061" y="3622548"/>
                </a:cubicBezTo>
                <a:lnTo>
                  <a:pt x="1108778" y="3625266"/>
                </a:lnTo>
                <a:cubicBezTo>
                  <a:pt x="1116931" y="3625266"/>
                  <a:pt x="1127801" y="3627984"/>
                  <a:pt x="1135954" y="3627984"/>
                </a:cubicBezTo>
                <a:cubicBezTo>
                  <a:pt x="1138672" y="3627984"/>
                  <a:pt x="1144107" y="3638854"/>
                  <a:pt x="1152260" y="3636136"/>
                </a:cubicBezTo>
                <a:cubicBezTo>
                  <a:pt x="1152260" y="3636136"/>
                  <a:pt x="1152260" y="3633419"/>
                  <a:pt x="1152260" y="3633419"/>
                </a:cubicBezTo>
                <a:cubicBezTo>
                  <a:pt x="1163130" y="3630701"/>
                  <a:pt x="1171283" y="3633419"/>
                  <a:pt x="1179436" y="3633419"/>
                </a:cubicBezTo>
                <a:cubicBezTo>
                  <a:pt x="1187589" y="3636136"/>
                  <a:pt x="1193024" y="3641572"/>
                  <a:pt x="1201177" y="3647007"/>
                </a:cubicBezTo>
                <a:cubicBezTo>
                  <a:pt x="1201177" y="3649724"/>
                  <a:pt x="1203894" y="3652442"/>
                  <a:pt x="1203894" y="3655160"/>
                </a:cubicBezTo>
                <a:cubicBezTo>
                  <a:pt x="1206612" y="3655160"/>
                  <a:pt x="1206612" y="3655160"/>
                  <a:pt x="1209329" y="3655160"/>
                </a:cubicBezTo>
                <a:cubicBezTo>
                  <a:pt x="1212047" y="3655160"/>
                  <a:pt x="1209329" y="3657877"/>
                  <a:pt x="1212047" y="3660595"/>
                </a:cubicBezTo>
                <a:cubicBezTo>
                  <a:pt x="1214764" y="3660595"/>
                  <a:pt x="1214764" y="3663312"/>
                  <a:pt x="1217482" y="3663312"/>
                </a:cubicBezTo>
                <a:cubicBezTo>
                  <a:pt x="1220200" y="3668748"/>
                  <a:pt x="1217482" y="3671465"/>
                  <a:pt x="1220200" y="3676900"/>
                </a:cubicBezTo>
                <a:cubicBezTo>
                  <a:pt x="1220200" y="3679618"/>
                  <a:pt x="1222917" y="3676900"/>
                  <a:pt x="1225635" y="3679618"/>
                </a:cubicBezTo>
                <a:cubicBezTo>
                  <a:pt x="1225635" y="3679618"/>
                  <a:pt x="1225635" y="3682335"/>
                  <a:pt x="1225635" y="3682335"/>
                </a:cubicBezTo>
                <a:cubicBezTo>
                  <a:pt x="1225635" y="3682335"/>
                  <a:pt x="1228352" y="3682335"/>
                  <a:pt x="1231070" y="3682335"/>
                </a:cubicBezTo>
                <a:cubicBezTo>
                  <a:pt x="1231070" y="3685053"/>
                  <a:pt x="1231070" y="3685053"/>
                  <a:pt x="1231070" y="3687771"/>
                </a:cubicBezTo>
                <a:lnTo>
                  <a:pt x="1236505" y="3693206"/>
                </a:lnTo>
                <a:cubicBezTo>
                  <a:pt x="1239222" y="3702718"/>
                  <a:pt x="1241940" y="3712229"/>
                  <a:pt x="1244658" y="3721061"/>
                </a:cubicBezTo>
                <a:lnTo>
                  <a:pt x="1246726" y="3727092"/>
                </a:lnTo>
                <a:lnTo>
                  <a:pt x="1246017" y="3716646"/>
                </a:lnTo>
                <a:cubicBezTo>
                  <a:pt x="1248055" y="3710192"/>
                  <a:pt x="1252811" y="3704077"/>
                  <a:pt x="1260964" y="3698642"/>
                </a:cubicBezTo>
                <a:cubicBezTo>
                  <a:pt x="1269116" y="3701360"/>
                  <a:pt x="1277269" y="3704077"/>
                  <a:pt x="1279987" y="3709513"/>
                </a:cubicBezTo>
                <a:cubicBezTo>
                  <a:pt x="1279987" y="3709513"/>
                  <a:pt x="1282704" y="3709513"/>
                  <a:pt x="1282704" y="3709513"/>
                </a:cubicBezTo>
                <a:cubicBezTo>
                  <a:pt x="1285422" y="3712230"/>
                  <a:pt x="1288140" y="3714948"/>
                  <a:pt x="1290857" y="3717665"/>
                </a:cubicBezTo>
                <a:cubicBezTo>
                  <a:pt x="1290857" y="3714948"/>
                  <a:pt x="1288140" y="3712230"/>
                  <a:pt x="1288140" y="3709513"/>
                </a:cubicBezTo>
                <a:cubicBezTo>
                  <a:pt x="1296292" y="3706795"/>
                  <a:pt x="1301728" y="3706795"/>
                  <a:pt x="1307163" y="3701360"/>
                </a:cubicBezTo>
                <a:cubicBezTo>
                  <a:pt x="1307163" y="3698642"/>
                  <a:pt x="1309880" y="3698642"/>
                  <a:pt x="1309880" y="3695925"/>
                </a:cubicBezTo>
                <a:cubicBezTo>
                  <a:pt x="1309880" y="3701360"/>
                  <a:pt x="1309880" y="3706795"/>
                  <a:pt x="1309880" y="3712230"/>
                </a:cubicBezTo>
                <a:cubicBezTo>
                  <a:pt x="1307163" y="3712230"/>
                  <a:pt x="1307163" y="3712230"/>
                  <a:pt x="1307163" y="3712230"/>
                </a:cubicBezTo>
                <a:cubicBezTo>
                  <a:pt x="1301728" y="3712230"/>
                  <a:pt x="1301728" y="3712230"/>
                  <a:pt x="1299010" y="3714948"/>
                </a:cubicBezTo>
                <a:cubicBezTo>
                  <a:pt x="1299010" y="3728536"/>
                  <a:pt x="1318033" y="3728536"/>
                  <a:pt x="1326186" y="3736689"/>
                </a:cubicBezTo>
                <a:cubicBezTo>
                  <a:pt x="1320751" y="3736689"/>
                  <a:pt x="1320751" y="3739406"/>
                  <a:pt x="1318033" y="3742124"/>
                </a:cubicBezTo>
                <a:cubicBezTo>
                  <a:pt x="1304445" y="3742124"/>
                  <a:pt x="1293575" y="3744841"/>
                  <a:pt x="1285422" y="3742124"/>
                </a:cubicBezTo>
                <a:cubicBezTo>
                  <a:pt x="1282704" y="3742124"/>
                  <a:pt x="1277269" y="3736689"/>
                  <a:pt x="1274552" y="3736689"/>
                </a:cubicBezTo>
                <a:cubicBezTo>
                  <a:pt x="1267758" y="3735330"/>
                  <a:pt x="1261644" y="3736009"/>
                  <a:pt x="1256888" y="3736688"/>
                </a:cubicBezTo>
                <a:lnTo>
                  <a:pt x="1250016" y="3736689"/>
                </a:lnTo>
                <a:lnTo>
                  <a:pt x="1252811" y="3744840"/>
                </a:lnTo>
                <a:cubicBezTo>
                  <a:pt x="1250093" y="3742122"/>
                  <a:pt x="1247376" y="3739405"/>
                  <a:pt x="1244658" y="3739405"/>
                </a:cubicBezTo>
                <a:cubicBezTo>
                  <a:pt x="1239223" y="3739405"/>
                  <a:pt x="1233788" y="3739405"/>
                  <a:pt x="1228352" y="3739405"/>
                </a:cubicBezTo>
                <a:cubicBezTo>
                  <a:pt x="1220200" y="3736687"/>
                  <a:pt x="1195741" y="3712229"/>
                  <a:pt x="1193024" y="3704076"/>
                </a:cubicBezTo>
                <a:cubicBezTo>
                  <a:pt x="1187589" y="3704076"/>
                  <a:pt x="1182153" y="3704076"/>
                  <a:pt x="1179436" y="3704076"/>
                </a:cubicBezTo>
                <a:cubicBezTo>
                  <a:pt x="1179436" y="3712229"/>
                  <a:pt x="1182153" y="3706794"/>
                  <a:pt x="1184871" y="3712229"/>
                </a:cubicBezTo>
                <a:cubicBezTo>
                  <a:pt x="1184871" y="3714947"/>
                  <a:pt x="1182153" y="3717664"/>
                  <a:pt x="1184871" y="3717664"/>
                </a:cubicBezTo>
                <a:cubicBezTo>
                  <a:pt x="1187589" y="3717664"/>
                  <a:pt x="1190306" y="3717664"/>
                  <a:pt x="1193024" y="3717664"/>
                </a:cubicBezTo>
                <a:cubicBezTo>
                  <a:pt x="1193024" y="3720382"/>
                  <a:pt x="1193024" y="3720382"/>
                  <a:pt x="1193024" y="3723099"/>
                </a:cubicBezTo>
                <a:cubicBezTo>
                  <a:pt x="1198459" y="3728534"/>
                  <a:pt x="1206612" y="3733970"/>
                  <a:pt x="1214764" y="3739405"/>
                </a:cubicBezTo>
                <a:cubicBezTo>
                  <a:pt x="1214764" y="3742122"/>
                  <a:pt x="1217482" y="3742122"/>
                  <a:pt x="1217482" y="3744840"/>
                </a:cubicBezTo>
                <a:cubicBezTo>
                  <a:pt x="1222917" y="3747558"/>
                  <a:pt x="1228352" y="3744840"/>
                  <a:pt x="1233788" y="3747558"/>
                </a:cubicBezTo>
                <a:cubicBezTo>
                  <a:pt x="1239223" y="3750275"/>
                  <a:pt x="1244658" y="3750275"/>
                  <a:pt x="1250093" y="3752993"/>
                </a:cubicBezTo>
                <a:cubicBezTo>
                  <a:pt x="1250093" y="3755710"/>
                  <a:pt x="1250093" y="3758428"/>
                  <a:pt x="1250093" y="3758428"/>
                </a:cubicBezTo>
                <a:cubicBezTo>
                  <a:pt x="1239223" y="3758428"/>
                  <a:pt x="1233788" y="3747558"/>
                  <a:pt x="1220200" y="3750275"/>
                </a:cubicBezTo>
                <a:cubicBezTo>
                  <a:pt x="1198459" y="3758428"/>
                  <a:pt x="1198459" y="3782886"/>
                  <a:pt x="1206612" y="3807345"/>
                </a:cubicBezTo>
                <a:cubicBezTo>
                  <a:pt x="1195741" y="3801909"/>
                  <a:pt x="1184871" y="3796474"/>
                  <a:pt x="1176718" y="3796474"/>
                </a:cubicBezTo>
                <a:cubicBezTo>
                  <a:pt x="1176718" y="3793757"/>
                  <a:pt x="1176718" y="3791039"/>
                  <a:pt x="1176718" y="3788321"/>
                </a:cubicBezTo>
                <a:cubicBezTo>
                  <a:pt x="1174001" y="3788321"/>
                  <a:pt x="1174001" y="3788321"/>
                  <a:pt x="1171283" y="3788321"/>
                </a:cubicBezTo>
                <a:cubicBezTo>
                  <a:pt x="1171283" y="3785604"/>
                  <a:pt x="1168565" y="3780169"/>
                  <a:pt x="1165848" y="3780169"/>
                </a:cubicBezTo>
                <a:cubicBezTo>
                  <a:pt x="1163130" y="3780169"/>
                  <a:pt x="1160413" y="3780169"/>
                  <a:pt x="1157695" y="3777451"/>
                </a:cubicBezTo>
                <a:cubicBezTo>
                  <a:pt x="1157695" y="3774733"/>
                  <a:pt x="1157695" y="3769298"/>
                  <a:pt x="1157695" y="3766581"/>
                </a:cubicBezTo>
                <a:cubicBezTo>
                  <a:pt x="1157695" y="3766581"/>
                  <a:pt x="1154977" y="3763863"/>
                  <a:pt x="1154977" y="3763863"/>
                </a:cubicBezTo>
                <a:cubicBezTo>
                  <a:pt x="1154977" y="3761146"/>
                  <a:pt x="1154977" y="3758428"/>
                  <a:pt x="1152260" y="3752993"/>
                </a:cubicBezTo>
                <a:cubicBezTo>
                  <a:pt x="1141389" y="3731252"/>
                  <a:pt x="1122366" y="3712229"/>
                  <a:pt x="1111496" y="3693206"/>
                </a:cubicBezTo>
                <a:cubicBezTo>
                  <a:pt x="1106061" y="3695923"/>
                  <a:pt x="1103343" y="3698641"/>
                  <a:pt x="1100625" y="3704076"/>
                </a:cubicBezTo>
                <a:cubicBezTo>
                  <a:pt x="1103343" y="3709511"/>
                  <a:pt x="1106061" y="3704076"/>
                  <a:pt x="1108778" y="3706794"/>
                </a:cubicBezTo>
                <a:cubicBezTo>
                  <a:pt x="1111496" y="3706794"/>
                  <a:pt x="1108778" y="3709511"/>
                  <a:pt x="1111496" y="3712229"/>
                </a:cubicBezTo>
                <a:cubicBezTo>
                  <a:pt x="1114213" y="3712229"/>
                  <a:pt x="1114213" y="3712229"/>
                  <a:pt x="1116931" y="3712229"/>
                </a:cubicBezTo>
                <a:cubicBezTo>
                  <a:pt x="1116931" y="3712229"/>
                  <a:pt x="1116931" y="3714947"/>
                  <a:pt x="1116931" y="3717664"/>
                </a:cubicBezTo>
                <a:cubicBezTo>
                  <a:pt x="1119649" y="3720382"/>
                  <a:pt x="1125084" y="3725817"/>
                  <a:pt x="1127801" y="3728534"/>
                </a:cubicBezTo>
                <a:cubicBezTo>
                  <a:pt x="1127801" y="3728534"/>
                  <a:pt x="1127801" y="3731252"/>
                  <a:pt x="1127801" y="3731252"/>
                </a:cubicBezTo>
                <a:cubicBezTo>
                  <a:pt x="1127801" y="3733970"/>
                  <a:pt x="1133237" y="3733970"/>
                  <a:pt x="1133237" y="3733970"/>
                </a:cubicBezTo>
                <a:cubicBezTo>
                  <a:pt x="1135954" y="3739405"/>
                  <a:pt x="1133237" y="3742122"/>
                  <a:pt x="1135954" y="3747558"/>
                </a:cubicBezTo>
                <a:cubicBezTo>
                  <a:pt x="1138672" y="3750275"/>
                  <a:pt x="1146825" y="3758428"/>
                  <a:pt x="1146825" y="3758428"/>
                </a:cubicBezTo>
                <a:cubicBezTo>
                  <a:pt x="1149542" y="3763863"/>
                  <a:pt x="1146825" y="3772016"/>
                  <a:pt x="1149542" y="3780169"/>
                </a:cubicBezTo>
                <a:cubicBezTo>
                  <a:pt x="1152260" y="3788321"/>
                  <a:pt x="1157695" y="3785604"/>
                  <a:pt x="1157695" y="3793757"/>
                </a:cubicBezTo>
                <a:cubicBezTo>
                  <a:pt x="1152260" y="3793757"/>
                  <a:pt x="1144107" y="3793757"/>
                  <a:pt x="1138672" y="3793757"/>
                </a:cubicBezTo>
                <a:cubicBezTo>
                  <a:pt x="1125084" y="3777451"/>
                  <a:pt x="1100625" y="3769298"/>
                  <a:pt x="1087038" y="3755710"/>
                </a:cubicBezTo>
                <a:cubicBezTo>
                  <a:pt x="1081602" y="3750275"/>
                  <a:pt x="1081602" y="3733970"/>
                  <a:pt x="1076167" y="3723099"/>
                </a:cubicBezTo>
                <a:cubicBezTo>
                  <a:pt x="1073450" y="3717664"/>
                  <a:pt x="1065297" y="3712229"/>
                  <a:pt x="1059862" y="3706794"/>
                </a:cubicBezTo>
                <a:cubicBezTo>
                  <a:pt x="1057144" y="3706794"/>
                  <a:pt x="1059862" y="3706794"/>
                  <a:pt x="1057144" y="3706794"/>
                </a:cubicBezTo>
                <a:cubicBezTo>
                  <a:pt x="1057144" y="3706794"/>
                  <a:pt x="1054426" y="3709511"/>
                  <a:pt x="1054426" y="3709511"/>
                </a:cubicBezTo>
                <a:cubicBezTo>
                  <a:pt x="1057144" y="3723099"/>
                  <a:pt x="1070732" y="3723099"/>
                  <a:pt x="1070732" y="3742122"/>
                </a:cubicBezTo>
                <a:cubicBezTo>
                  <a:pt x="1059862" y="3739405"/>
                  <a:pt x="1021815" y="3717664"/>
                  <a:pt x="1016380" y="3709511"/>
                </a:cubicBezTo>
                <a:cubicBezTo>
                  <a:pt x="1013662" y="3709511"/>
                  <a:pt x="1013662" y="3709511"/>
                  <a:pt x="1010945" y="3712229"/>
                </a:cubicBezTo>
                <a:cubicBezTo>
                  <a:pt x="1010945" y="3720382"/>
                  <a:pt x="1016380" y="3717664"/>
                  <a:pt x="1021815" y="3720382"/>
                </a:cubicBezTo>
                <a:cubicBezTo>
                  <a:pt x="1021815" y="3720382"/>
                  <a:pt x="1021815" y="3723099"/>
                  <a:pt x="1021815" y="3723099"/>
                </a:cubicBezTo>
                <a:cubicBezTo>
                  <a:pt x="1024533" y="3723099"/>
                  <a:pt x="1027250" y="3725817"/>
                  <a:pt x="1029968" y="3725817"/>
                </a:cubicBezTo>
                <a:cubicBezTo>
                  <a:pt x="1029968" y="3725817"/>
                  <a:pt x="1032686" y="3728534"/>
                  <a:pt x="1032686" y="3731252"/>
                </a:cubicBezTo>
                <a:cubicBezTo>
                  <a:pt x="1038121" y="3733970"/>
                  <a:pt x="1046274" y="3736687"/>
                  <a:pt x="1054426" y="3739405"/>
                </a:cubicBezTo>
                <a:cubicBezTo>
                  <a:pt x="1059862" y="3742122"/>
                  <a:pt x="1062579" y="3744840"/>
                  <a:pt x="1068014" y="3747558"/>
                </a:cubicBezTo>
                <a:cubicBezTo>
                  <a:pt x="1068014" y="3750275"/>
                  <a:pt x="1068014" y="3755710"/>
                  <a:pt x="1068014" y="3758428"/>
                </a:cubicBezTo>
                <a:cubicBezTo>
                  <a:pt x="1073450" y="3758428"/>
                  <a:pt x="1081602" y="3758428"/>
                  <a:pt x="1084320" y="3761146"/>
                </a:cubicBezTo>
                <a:cubicBezTo>
                  <a:pt x="1084320" y="3761146"/>
                  <a:pt x="1084320" y="3763863"/>
                  <a:pt x="1084320" y="3763863"/>
                </a:cubicBezTo>
                <a:cubicBezTo>
                  <a:pt x="1087038" y="3766581"/>
                  <a:pt x="1089755" y="3763863"/>
                  <a:pt x="1092473" y="3766581"/>
                </a:cubicBezTo>
                <a:cubicBezTo>
                  <a:pt x="1092473" y="3766581"/>
                  <a:pt x="1095190" y="3769298"/>
                  <a:pt x="1095190" y="3772016"/>
                </a:cubicBezTo>
                <a:cubicBezTo>
                  <a:pt x="1100625" y="3777451"/>
                  <a:pt x="1106061" y="3774733"/>
                  <a:pt x="1111496" y="3780169"/>
                </a:cubicBezTo>
                <a:cubicBezTo>
                  <a:pt x="1111496" y="3782886"/>
                  <a:pt x="1111496" y="3785604"/>
                  <a:pt x="1114213" y="3788321"/>
                </a:cubicBezTo>
                <a:cubicBezTo>
                  <a:pt x="1114213" y="3788321"/>
                  <a:pt x="1116931" y="3788321"/>
                  <a:pt x="1119649" y="3788321"/>
                </a:cubicBezTo>
                <a:cubicBezTo>
                  <a:pt x="1122366" y="3788321"/>
                  <a:pt x="1122366" y="3793757"/>
                  <a:pt x="1125084" y="3793757"/>
                </a:cubicBezTo>
                <a:cubicBezTo>
                  <a:pt x="1127801" y="3793757"/>
                  <a:pt x="1127801" y="3793757"/>
                  <a:pt x="1130519" y="3793757"/>
                </a:cubicBezTo>
                <a:cubicBezTo>
                  <a:pt x="1130519" y="3793757"/>
                  <a:pt x="1133237" y="3793757"/>
                  <a:pt x="1133237" y="3796474"/>
                </a:cubicBezTo>
                <a:cubicBezTo>
                  <a:pt x="1130519" y="3799192"/>
                  <a:pt x="1125084" y="3801909"/>
                  <a:pt x="1119649" y="3801909"/>
                </a:cubicBezTo>
                <a:cubicBezTo>
                  <a:pt x="1108778" y="3766581"/>
                  <a:pt x="1065297" y="3774733"/>
                  <a:pt x="1046274" y="3750275"/>
                </a:cubicBezTo>
                <a:cubicBezTo>
                  <a:pt x="1029968" y="3766581"/>
                  <a:pt x="1062579" y="3772016"/>
                  <a:pt x="1059862" y="3799192"/>
                </a:cubicBezTo>
                <a:cubicBezTo>
                  <a:pt x="1040838" y="3796474"/>
                  <a:pt x="1032686" y="3772016"/>
                  <a:pt x="1013662" y="3766581"/>
                </a:cubicBezTo>
                <a:cubicBezTo>
                  <a:pt x="1010945" y="3769298"/>
                  <a:pt x="1008227" y="3772016"/>
                  <a:pt x="1008227" y="3774733"/>
                </a:cubicBezTo>
                <a:cubicBezTo>
                  <a:pt x="1008227" y="3774733"/>
                  <a:pt x="1005510" y="3774733"/>
                  <a:pt x="1005510" y="3774733"/>
                </a:cubicBezTo>
                <a:cubicBezTo>
                  <a:pt x="1005510" y="3774733"/>
                  <a:pt x="1002792" y="3774733"/>
                  <a:pt x="1002792" y="3774733"/>
                </a:cubicBezTo>
                <a:cubicBezTo>
                  <a:pt x="1002792" y="3777451"/>
                  <a:pt x="1005510" y="3793757"/>
                  <a:pt x="1008227" y="3796474"/>
                </a:cubicBezTo>
                <a:cubicBezTo>
                  <a:pt x="1008227" y="3799192"/>
                  <a:pt x="1008227" y="3799192"/>
                  <a:pt x="1008227" y="3799192"/>
                </a:cubicBezTo>
                <a:lnTo>
                  <a:pt x="1003699" y="3796173"/>
                </a:lnTo>
                <a:lnTo>
                  <a:pt x="1002793" y="3801910"/>
                </a:lnTo>
                <a:lnTo>
                  <a:pt x="1002793" y="3795570"/>
                </a:lnTo>
                <a:lnTo>
                  <a:pt x="983769" y="3782886"/>
                </a:lnTo>
                <a:cubicBezTo>
                  <a:pt x="983769" y="3782886"/>
                  <a:pt x="981051" y="3782886"/>
                  <a:pt x="981051" y="3782886"/>
                </a:cubicBezTo>
                <a:cubicBezTo>
                  <a:pt x="978334" y="3782886"/>
                  <a:pt x="978334" y="3782886"/>
                  <a:pt x="978334" y="3782886"/>
                </a:cubicBezTo>
                <a:cubicBezTo>
                  <a:pt x="975616" y="3777451"/>
                  <a:pt x="975616" y="3777451"/>
                  <a:pt x="972899" y="3774733"/>
                </a:cubicBezTo>
                <a:cubicBezTo>
                  <a:pt x="970181" y="3774733"/>
                  <a:pt x="970181" y="3774733"/>
                  <a:pt x="967463" y="3774733"/>
                </a:cubicBezTo>
                <a:cubicBezTo>
                  <a:pt x="967463" y="3772016"/>
                  <a:pt x="964746" y="3772016"/>
                  <a:pt x="964746" y="3769298"/>
                </a:cubicBezTo>
                <a:cubicBezTo>
                  <a:pt x="964746" y="3769298"/>
                  <a:pt x="962028" y="3769298"/>
                  <a:pt x="962028" y="3769298"/>
                </a:cubicBezTo>
                <a:cubicBezTo>
                  <a:pt x="959311" y="3747558"/>
                  <a:pt x="953875" y="3725817"/>
                  <a:pt x="951158" y="3704076"/>
                </a:cubicBezTo>
                <a:cubicBezTo>
                  <a:pt x="932135" y="3720382"/>
                  <a:pt x="907676" y="3720382"/>
                  <a:pt x="899523" y="3698641"/>
                </a:cubicBezTo>
                <a:cubicBezTo>
                  <a:pt x="894088" y="3706794"/>
                  <a:pt x="896806" y="3717664"/>
                  <a:pt x="894088" y="3728534"/>
                </a:cubicBezTo>
                <a:cubicBezTo>
                  <a:pt x="894088" y="3731252"/>
                  <a:pt x="894088" y="3731252"/>
                  <a:pt x="894088" y="3731252"/>
                </a:cubicBezTo>
                <a:cubicBezTo>
                  <a:pt x="894088" y="3733970"/>
                  <a:pt x="891371" y="3736687"/>
                  <a:pt x="888653" y="3739405"/>
                </a:cubicBezTo>
                <a:cubicBezTo>
                  <a:pt x="896806" y="3739405"/>
                  <a:pt x="904959" y="3742122"/>
                  <a:pt x="913111" y="3747558"/>
                </a:cubicBezTo>
                <a:cubicBezTo>
                  <a:pt x="918547" y="3755710"/>
                  <a:pt x="923982" y="3763863"/>
                  <a:pt x="932135" y="3769298"/>
                </a:cubicBezTo>
                <a:cubicBezTo>
                  <a:pt x="932135" y="3769298"/>
                  <a:pt x="932135" y="3772016"/>
                  <a:pt x="932135" y="3772016"/>
                </a:cubicBezTo>
                <a:cubicBezTo>
                  <a:pt x="926699" y="3772016"/>
                  <a:pt x="894088" y="3777451"/>
                  <a:pt x="888653" y="3774733"/>
                </a:cubicBezTo>
                <a:cubicBezTo>
                  <a:pt x="885935" y="3772016"/>
                  <a:pt x="885935" y="3772016"/>
                  <a:pt x="885935" y="3769298"/>
                </a:cubicBezTo>
                <a:cubicBezTo>
                  <a:pt x="877783" y="3769298"/>
                  <a:pt x="875065" y="3774733"/>
                  <a:pt x="869630" y="3774733"/>
                </a:cubicBezTo>
                <a:cubicBezTo>
                  <a:pt x="864195" y="3774733"/>
                  <a:pt x="850607" y="3763863"/>
                  <a:pt x="845172" y="3761146"/>
                </a:cubicBezTo>
                <a:cubicBezTo>
                  <a:pt x="850607" y="3761146"/>
                  <a:pt x="853324" y="3758428"/>
                  <a:pt x="858760" y="3758428"/>
                </a:cubicBezTo>
                <a:cubicBezTo>
                  <a:pt x="845172" y="3744840"/>
                  <a:pt x="826148" y="3742122"/>
                  <a:pt x="804408" y="3739405"/>
                </a:cubicBezTo>
                <a:cubicBezTo>
                  <a:pt x="807125" y="3747558"/>
                  <a:pt x="807125" y="3750275"/>
                  <a:pt x="804408" y="3755710"/>
                </a:cubicBezTo>
                <a:cubicBezTo>
                  <a:pt x="796255" y="3752993"/>
                  <a:pt x="793537" y="3747558"/>
                  <a:pt x="788102" y="3752993"/>
                </a:cubicBezTo>
                <a:cubicBezTo>
                  <a:pt x="785385" y="3752993"/>
                  <a:pt x="785385" y="3752993"/>
                  <a:pt x="782667" y="3755710"/>
                </a:cubicBezTo>
                <a:cubicBezTo>
                  <a:pt x="782667" y="3758428"/>
                  <a:pt x="782667" y="3758428"/>
                  <a:pt x="782667" y="3761146"/>
                </a:cubicBezTo>
                <a:cubicBezTo>
                  <a:pt x="788102" y="3763863"/>
                  <a:pt x="793537" y="3763863"/>
                  <a:pt x="798972" y="3763863"/>
                </a:cubicBezTo>
                <a:cubicBezTo>
                  <a:pt x="798972" y="3766581"/>
                  <a:pt x="796255" y="3772016"/>
                  <a:pt x="798972" y="3777451"/>
                </a:cubicBezTo>
                <a:cubicBezTo>
                  <a:pt x="812560" y="3780169"/>
                  <a:pt x="804408" y="3763863"/>
                  <a:pt x="817996" y="3766581"/>
                </a:cubicBezTo>
                <a:cubicBezTo>
                  <a:pt x="817996" y="3774733"/>
                  <a:pt x="820713" y="3780169"/>
                  <a:pt x="820713" y="3785604"/>
                </a:cubicBezTo>
                <a:cubicBezTo>
                  <a:pt x="826148" y="3780169"/>
                  <a:pt x="828866" y="3777451"/>
                  <a:pt x="834301" y="3772016"/>
                </a:cubicBezTo>
                <a:cubicBezTo>
                  <a:pt x="845172" y="3777451"/>
                  <a:pt x="856042" y="3782886"/>
                  <a:pt x="864195" y="3788321"/>
                </a:cubicBezTo>
                <a:cubicBezTo>
                  <a:pt x="858760" y="3799192"/>
                  <a:pt x="847889" y="3812780"/>
                  <a:pt x="837019" y="3815497"/>
                </a:cubicBezTo>
                <a:cubicBezTo>
                  <a:pt x="820713" y="3818215"/>
                  <a:pt x="801690" y="3810062"/>
                  <a:pt x="793537" y="3823650"/>
                </a:cubicBezTo>
                <a:cubicBezTo>
                  <a:pt x="793537" y="3804627"/>
                  <a:pt x="790820" y="3788321"/>
                  <a:pt x="774514" y="3777451"/>
                </a:cubicBezTo>
                <a:cubicBezTo>
                  <a:pt x="739185" y="3777451"/>
                  <a:pt x="728315" y="3801909"/>
                  <a:pt x="731033" y="3826368"/>
                </a:cubicBezTo>
                <a:cubicBezTo>
                  <a:pt x="728315" y="3826368"/>
                  <a:pt x="725597" y="3826368"/>
                  <a:pt x="722880" y="3826368"/>
                </a:cubicBezTo>
                <a:cubicBezTo>
                  <a:pt x="720162" y="3829085"/>
                  <a:pt x="720162" y="3831803"/>
                  <a:pt x="717445" y="3834520"/>
                </a:cubicBezTo>
                <a:cubicBezTo>
                  <a:pt x="717445" y="3834520"/>
                  <a:pt x="717445" y="3837238"/>
                  <a:pt x="717445" y="3837238"/>
                </a:cubicBezTo>
                <a:cubicBezTo>
                  <a:pt x="722880" y="3837238"/>
                  <a:pt x="728315" y="3837238"/>
                  <a:pt x="733750" y="3837238"/>
                </a:cubicBezTo>
                <a:cubicBezTo>
                  <a:pt x="736468" y="3848108"/>
                  <a:pt x="741903" y="3858979"/>
                  <a:pt x="747338" y="3867131"/>
                </a:cubicBezTo>
                <a:cubicBezTo>
                  <a:pt x="744621" y="3869849"/>
                  <a:pt x="741903" y="3869849"/>
                  <a:pt x="739185" y="3872567"/>
                </a:cubicBezTo>
                <a:cubicBezTo>
                  <a:pt x="736468" y="3872567"/>
                  <a:pt x="733750" y="3872567"/>
                  <a:pt x="731033" y="3872567"/>
                </a:cubicBezTo>
                <a:cubicBezTo>
                  <a:pt x="731033" y="3872567"/>
                  <a:pt x="728315" y="3878002"/>
                  <a:pt x="725597" y="3878002"/>
                </a:cubicBezTo>
                <a:cubicBezTo>
                  <a:pt x="717445" y="3880719"/>
                  <a:pt x="706574" y="3875284"/>
                  <a:pt x="701139" y="3878002"/>
                </a:cubicBezTo>
                <a:cubicBezTo>
                  <a:pt x="695704" y="3880719"/>
                  <a:pt x="692986" y="3883437"/>
                  <a:pt x="687551" y="3886155"/>
                </a:cubicBezTo>
                <a:cubicBezTo>
                  <a:pt x="687551" y="3888872"/>
                  <a:pt x="687551" y="3891590"/>
                  <a:pt x="687551" y="3894307"/>
                </a:cubicBezTo>
                <a:cubicBezTo>
                  <a:pt x="698422" y="3894307"/>
                  <a:pt x="701139" y="3891590"/>
                  <a:pt x="706574" y="3888872"/>
                </a:cubicBezTo>
                <a:cubicBezTo>
                  <a:pt x="714727" y="3886155"/>
                  <a:pt x="722880" y="3888872"/>
                  <a:pt x="728315" y="3886155"/>
                </a:cubicBezTo>
                <a:cubicBezTo>
                  <a:pt x="728315" y="3883437"/>
                  <a:pt x="731033" y="3883437"/>
                  <a:pt x="731033" y="3880719"/>
                </a:cubicBezTo>
                <a:cubicBezTo>
                  <a:pt x="739185" y="3875284"/>
                  <a:pt x="744621" y="3875284"/>
                  <a:pt x="750056" y="3869849"/>
                </a:cubicBezTo>
                <a:cubicBezTo>
                  <a:pt x="760926" y="3883437"/>
                  <a:pt x="774514" y="3888872"/>
                  <a:pt x="790820" y="3886155"/>
                </a:cubicBezTo>
                <a:cubicBezTo>
                  <a:pt x="785385" y="3872567"/>
                  <a:pt x="788102" y="3856261"/>
                  <a:pt x="788102" y="3842673"/>
                </a:cubicBezTo>
                <a:cubicBezTo>
                  <a:pt x="790820" y="3839956"/>
                  <a:pt x="798972" y="3831803"/>
                  <a:pt x="801690" y="3829085"/>
                </a:cubicBezTo>
                <a:cubicBezTo>
                  <a:pt x="809843" y="3829085"/>
                  <a:pt x="817996" y="3829085"/>
                  <a:pt x="826148" y="3829085"/>
                </a:cubicBezTo>
                <a:cubicBezTo>
                  <a:pt x="834301" y="3826368"/>
                  <a:pt x="842454" y="3823650"/>
                  <a:pt x="850607" y="3818215"/>
                </a:cubicBezTo>
                <a:cubicBezTo>
                  <a:pt x="858760" y="3810062"/>
                  <a:pt x="858760" y="3796474"/>
                  <a:pt x="869630" y="3788321"/>
                </a:cubicBezTo>
                <a:cubicBezTo>
                  <a:pt x="872347" y="3788321"/>
                  <a:pt x="875065" y="3788321"/>
                  <a:pt x="880500" y="3788321"/>
                </a:cubicBezTo>
                <a:cubicBezTo>
                  <a:pt x="896806" y="3782886"/>
                  <a:pt x="907676" y="3782886"/>
                  <a:pt x="926699" y="3785604"/>
                </a:cubicBezTo>
                <a:cubicBezTo>
                  <a:pt x="934852" y="3788321"/>
                  <a:pt x="937570" y="3782886"/>
                  <a:pt x="943005" y="3782886"/>
                </a:cubicBezTo>
                <a:cubicBezTo>
                  <a:pt x="953875" y="3796474"/>
                  <a:pt x="964746" y="3810062"/>
                  <a:pt x="978334" y="3818215"/>
                </a:cubicBezTo>
                <a:cubicBezTo>
                  <a:pt x="964746" y="3812780"/>
                  <a:pt x="956593" y="3818215"/>
                  <a:pt x="945723" y="3823650"/>
                </a:cubicBezTo>
                <a:cubicBezTo>
                  <a:pt x="940287" y="3823650"/>
                  <a:pt x="937570" y="3823650"/>
                  <a:pt x="934852" y="3829085"/>
                </a:cubicBezTo>
                <a:cubicBezTo>
                  <a:pt x="934852" y="3831803"/>
                  <a:pt x="934852" y="3831803"/>
                  <a:pt x="934852" y="3831803"/>
                </a:cubicBezTo>
                <a:cubicBezTo>
                  <a:pt x="923982" y="3842673"/>
                  <a:pt x="913111" y="3850826"/>
                  <a:pt x="896806" y="3853544"/>
                </a:cubicBezTo>
                <a:cubicBezTo>
                  <a:pt x="907676" y="3875284"/>
                  <a:pt x="929417" y="3916048"/>
                  <a:pt x="913111" y="3937789"/>
                </a:cubicBezTo>
                <a:cubicBezTo>
                  <a:pt x="913111" y="3937789"/>
                  <a:pt x="910394" y="3935071"/>
                  <a:pt x="910394" y="3935071"/>
                </a:cubicBezTo>
                <a:cubicBezTo>
                  <a:pt x="907676" y="3935071"/>
                  <a:pt x="907676" y="3935071"/>
                  <a:pt x="904959" y="3935071"/>
                </a:cubicBezTo>
                <a:cubicBezTo>
                  <a:pt x="904959" y="3935071"/>
                  <a:pt x="902241" y="3937789"/>
                  <a:pt x="902241" y="3937789"/>
                </a:cubicBezTo>
                <a:cubicBezTo>
                  <a:pt x="902241" y="3937789"/>
                  <a:pt x="902241" y="3937789"/>
                  <a:pt x="904959" y="3940507"/>
                </a:cubicBezTo>
                <a:cubicBezTo>
                  <a:pt x="902241" y="3940507"/>
                  <a:pt x="902241" y="3943224"/>
                  <a:pt x="899523" y="3943224"/>
                </a:cubicBezTo>
                <a:cubicBezTo>
                  <a:pt x="902241" y="3945942"/>
                  <a:pt x="907676" y="3945942"/>
                  <a:pt x="910394" y="3945942"/>
                </a:cubicBezTo>
                <a:cubicBezTo>
                  <a:pt x="915829" y="3948659"/>
                  <a:pt x="921264" y="3951377"/>
                  <a:pt x="923982" y="3954095"/>
                </a:cubicBezTo>
                <a:cubicBezTo>
                  <a:pt x="923982" y="3956812"/>
                  <a:pt x="923982" y="3956812"/>
                  <a:pt x="923982" y="3959530"/>
                </a:cubicBezTo>
                <a:cubicBezTo>
                  <a:pt x="923982" y="3962247"/>
                  <a:pt x="937570" y="3967683"/>
                  <a:pt x="937570" y="3970400"/>
                </a:cubicBezTo>
                <a:cubicBezTo>
                  <a:pt x="937570" y="3973118"/>
                  <a:pt x="937570" y="3973118"/>
                  <a:pt x="937570" y="3975835"/>
                </a:cubicBezTo>
                <a:cubicBezTo>
                  <a:pt x="937570" y="3975835"/>
                  <a:pt x="940287" y="3978553"/>
                  <a:pt x="943005" y="3978553"/>
                </a:cubicBezTo>
                <a:cubicBezTo>
                  <a:pt x="943005" y="3978553"/>
                  <a:pt x="943005" y="3981271"/>
                  <a:pt x="943005" y="3981271"/>
                </a:cubicBezTo>
                <a:cubicBezTo>
                  <a:pt x="945723" y="3983988"/>
                  <a:pt x="948440" y="3989423"/>
                  <a:pt x="951158" y="3992141"/>
                </a:cubicBezTo>
                <a:cubicBezTo>
                  <a:pt x="951158" y="3992141"/>
                  <a:pt x="951158" y="4005729"/>
                  <a:pt x="953875" y="4008447"/>
                </a:cubicBezTo>
                <a:cubicBezTo>
                  <a:pt x="956593" y="4013882"/>
                  <a:pt x="959311" y="4016599"/>
                  <a:pt x="959311" y="4024752"/>
                </a:cubicBezTo>
                <a:cubicBezTo>
                  <a:pt x="964746" y="4024752"/>
                  <a:pt x="967463" y="4024752"/>
                  <a:pt x="972899" y="4024752"/>
                </a:cubicBezTo>
                <a:cubicBezTo>
                  <a:pt x="975616" y="4032905"/>
                  <a:pt x="986486" y="4032905"/>
                  <a:pt x="989204" y="4041058"/>
                </a:cubicBezTo>
                <a:cubicBezTo>
                  <a:pt x="997357" y="4041058"/>
                  <a:pt x="1008227" y="4035623"/>
                  <a:pt x="1016380" y="4038340"/>
                </a:cubicBezTo>
                <a:cubicBezTo>
                  <a:pt x="1016380" y="4038340"/>
                  <a:pt x="1019098" y="4041058"/>
                  <a:pt x="1019098" y="4041058"/>
                </a:cubicBezTo>
                <a:cubicBezTo>
                  <a:pt x="1021815" y="4043775"/>
                  <a:pt x="1027250" y="4043775"/>
                  <a:pt x="1032686" y="4046493"/>
                </a:cubicBezTo>
                <a:cubicBezTo>
                  <a:pt x="997357" y="4057363"/>
                  <a:pt x="959311" y="4065516"/>
                  <a:pt x="923982" y="4062799"/>
                </a:cubicBezTo>
                <a:cubicBezTo>
                  <a:pt x="907676" y="4013882"/>
                  <a:pt x="888653" y="3975835"/>
                  <a:pt x="845172" y="3967683"/>
                </a:cubicBezTo>
                <a:cubicBezTo>
                  <a:pt x="828866" y="3967683"/>
                  <a:pt x="837019" y="3983988"/>
                  <a:pt x="823431" y="3983988"/>
                </a:cubicBezTo>
                <a:cubicBezTo>
                  <a:pt x="820713" y="3983988"/>
                  <a:pt x="820713" y="3981271"/>
                  <a:pt x="817996" y="3981271"/>
                </a:cubicBezTo>
                <a:cubicBezTo>
                  <a:pt x="817996" y="3981271"/>
                  <a:pt x="817996" y="3978553"/>
                  <a:pt x="817996" y="3978553"/>
                </a:cubicBezTo>
                <a:cubicBezTo>
                  <a:pt x="817996" y="3978553"/>
                  <a:pt x="815278" y="3978553"/>
                  <a:pt x="815278" y="3978553"/>
                </a:cubicBezTo>
                <a:cubicBezTo>
                  <a:pt x="796255" y="3967683"/>
                  <a:pt x="779949" y="3951377"/>
                  <a:pt x="763644" y="3935071"/>
                </a:cubicBezTo>
                <a:cubicBezTo>
                  <a:pt x="763644" y="3951377"/>
                  <a:pt x="766361" y="3962247"/>
                  <a:pt x="774514" y="3973118"/>
                </a:cubicBezTo>
                <a:cubicBezTo>
                  <a:pt x="777232" y="3981271"/>
                  <a:pt x="777232" y="3986706"/>
                  <a:pt x="777232" y="3992141"/>
                </a:cubicBezTo>
                <a:cubicBezTo>
                  <a:pt x="774514" y="3986706"/>
                  <a:pt x="769079" y="3981271"/>
                  <a:pt x="766361" y="3978553"/>
                </a:cubicBezTo>
                <a:cubicBezTo>
                  <a:pt x="754132" y="3983988"/>
                  <a:pt x="752773" y="3995538"/>
                  <a:pt x="755491" y="4009466"/>
                </a:cubicBezTo>
                <a:lnTo>
                  <a:pt x="764649" y="4039917"/>
                </a:lnTo>
                <a:lnTo>
                  <a:pt x="758209" y="4035623"/>
                </a:lnTo>
                <a:cubicBezTo>
                  <a:pt x="755491" y="4030187"/>
                  <a:pt x="752773" y="4024752"/>
                  <a:pt x="750056" y="4022035"/>
                </a:cubicBezTo>
                <a:cubicBezTo>
                  <a:pt x="750056" y="4022035"/>
                  <a:pt x="750056" y="4019317"/>
                  <a:pt x="750056" y="4016599"/>
                </a:cubicBezTo>
                <a:cubicBezTo>
                  <a:pt x="750056" y="4016599"/>
                  <a:pt x="747338" y="4016599"/>
                  <a:pt x="747338" y="4016599"/>
                </a:cubicBezTo>
                <a:cubicBezTo>
                  <a:pt x="747338" y="4016599"/>
                  <a:pt x="744621" y="4013882"/>
                  <a:pt x="744621" y="4013882"/>
                </a:cubicBezTo>
                <a:cubicBezTo>
                  <a:pt x="741903" y="4013882"/>
                  <a:pt x="741903" y="4013882"/>
                  <a:pt x="739185" y="4016599"/>
                </a:cubicBezTo>
                <a:cubicBezTo>
                  <a:pt x="728315" y="4016599"/>
                  <a:pt x="714727" y="4019317"/>
                  <a:pt x="701139" y="4022035"/>
                </a:cubicBezTo>
                <a:cubicBezTo>
                  <a:pt x="695704" y="4016599"/>
                  <a:pt x="692986" y="4011164"/>
                  <a:pt x="690269" y="4005729"/>
                </a:cubicBezTo>
                <a:cubicBezTo>
                  <a:pt x="690269" y="4005729"/>
                  <a:pt x="687551" y="4005729"/>
                  <a:pt x="687551" y="4005729"/>
                </a:cubicBezTo>
                <a:cubicBezTo>
                  <a:pt x="695704" y="3994859"/>
                  <a:pt x="701139" y="3989423"/>
                  <a:pt x="703857" y="3975835"/>
                </a:cubicBezTo>
                <a:cubicBezTo>
                  <a:pt x="665810" y="3986706"/>
                  <a:pt x="649505" y="4043775"/>
                  <a:pt x="635917" y="4084539"/>
                </a:cubicBezTo>
                <a:cubicBezTo>
                  <a:pt x="625046" y="4084539"/>
                  <a:pt x="619611" y="4089974"/>
                  <a:pt x="611458" y="4092692"/>
                </a:cubicBezTo>
                <a:cubicBezTo>
                  <a:pt x="611458" y="4095410"/>
                  <a:pt x="611458" y="4098127"/>
                  <a:pt x="611458" y="4100845"/>
                </a:cubicBezTo>
                <a:cubicBezTo>
                  <a:pt x="606023" y="4100845"/>
                  <a:pt x="606023" y="4100845"/>
                  <a:pt x="603306" y="4103562"/>
                </a:cubicBezTo>
                <a:cubicBezTo>
                  <a:pt x="606023" y="4114433"/>
                  <a:pt x="616894" y="4128021"/>
                  <a:pt x="625046" y="4138891"/>
                </a:cubicBezTo>
                <a:cubicBezTo>
                  <a:pt x="633199" y="4157914"/>
                  <a:pt x="641352" y="4174220"/>
                  <a:pt x="638634" y="4190525"/>
                </a:cubicBezTo>
                <a:cubicBezTo>
                  <a:pt x="635917" y="4185090"/>
                  <a:pt x="633199" y="4179655"/>
                  <a:pt x="627764" y="4171502"/>
                </a:cubicBezTo>
                <a:cubicBezTo>
                  <a:pt x="625046" y="4171502"/>
                  <a:pt x="625046" y="4168785"/>
                  <a:pt x="622329" y="4168785"/>
                </a:cubicBezTo>
                <a:cubicBezTo>
                  <a:pt x="619611" y="4163349"/>
                  <a:pt x="622329" y="4160632"/>
                  <a:pt x="619611" y="4155197"/>
                </a:cubicBezTo>
                <a:cubicBezTo>
                  <a:pt x="619611" y="4152479"/>
                  <a:pt x="611458" y="4149762"/>
                  <a:pt x="608741" y="4149762"/>
                </a:cubicBezTo>
                <a:cubicBezTo>
                  <a:pt x="608741" y="4149762"/>
                  <a:pt x="606023" y="4152479"/>
                  <a:pt x="606023" y="4152479"/>
                </a:cubicBezTo>
                <a:cubicBezTo>
                  <a:pt x="606023" y="4155197"/>
                  <a:pt x="603306" y="4157914"/>
                  <a:pt x="603306" y="4157914"/>
                </a:cubicBezTo>
                <a:cubicBezTo>
                  <a:pt x="603306" y="4160632"/>
                  <a:pt x="603306" y="4160632"/>
                  <a:pt x="603306" y="4160632"/>
                </a:cubicBezTo>
                <a:cubicBezTo>
                  <a:pt x="606023" y="4163349"/>
                  <a:pt x="608741" y="4163349"/>
                  <a:pt x="611458" y="4163349"/>
                </a:cubicBezTo>
                <a:cubicBezTo>
                  <a:pt x="611458" y="4171502"/>
                  <a:pt x="614176" y="4168785"/>
                  <a:pt x="614176" y="4176937"/>
                </a:cubicBezTo>
                <a:cubicBezTo>
                  <a:pt x="606023" y="4176937"/>
                  <a:pt x="597871" y="4176937"/>
                  <a:pt x="592435" y="4174220"/>
                </a:cubicBezTo>
                <a:cubicBezTo>
                  <a:pt x="546236" y="4119868"/>
                  <a:pt x="524495" y="4038340"/>
                  <a:pt x="478296" y="3986706"/>
                </a:cubicBezTo>
                <a:cubicBezTo>
                  <a:pt x="470144" y="3981271"/>
                  <a:pt x="470144" y="3989423"/>
                  <a:pt x="459273" y="3989423"/>
                </a:cubicBezTo>
                <a:cubicBezTo>
                  <a:pt x="426662" y="3954095"/>
                  <a:pt x="421227" y="3856261"/>
                  <a:pt x="481014" y="3872567"/>
                </a:cubicBezTo>
                <a:cubicBezTo>
                  <a:pt x="478296" y="3831803"/>
                  <a:pt x="434815" y="3839956"/>
                  <a:pt x="421227" y="3861696"/>
                </a:cubicBezTo>
                <a:cubicBezTo>
                  <a:pt x="415792" y="3853544"/>
                  <a:pt x="404921" y="3853544"/>
                  <a:pt x="402204" y="3839956"/>
                </a:cubicBezTo>
                <a:cubicBezTo>
                  <a:pt x="388616" y="3839956"/>
                  <a:pt x="377745" y="3845391"/>
                  <a:pt x="364157" y="3834520"/>
                </a:cubicBezTo>
                <a:cubicBezTo>
                  <a:pt x="347852" y="3763863"/>
                  <a:pt x="369593" y="3622548"/>
                  <a:pt x="282630" y="3625266"/>
                </a:cubicBezTo>
                <a:cubicBezTo>
                  <a:pt x="285347" y="3595372"/>
                  <a:pt x="263606" y="3581784"/>
                  <a:pt x="258171" y="3551891"/>
                </a:cubicBezTo>
                <a:cubicBezTo>
                  <a:pt x="274477" y="3549173"/>
                  <a:pt x="279912" y="3565479"/>
                  <a:pt x="290782" y="3570914"/>
                </a:cubicBezTo>
                <a:cubicBezTo>
                  <a:pt x="296218" y="3587220"/>
                  <a:pt x="285347" y="3592655"/>
                  <a:pt x="290782" y="3608960"/>
                </a:cubicBezTo>
                <a:cubicBezTo>
                  <a:pt x="301653" y="3606243"/>
                  <a:pt x="304370" y="3595372"/>
                  <a:pt x="309805" y="3589937"/>
                </a:cubicBezTo>
                <a:cubicBezTo>
                  <a:pt x="296218" y="3530150"/>
                  <a:pt x="317958" y="3497539"/>
                  <a:pt x="301653" y="3437752"/>
                </a:cubicBezTo>
                <a:cubicBezTo>
                  <a:pt x="293500" y="3448622"/>
                  <a:pt x="293500" y="3467645"/>
                  <a:pt x="279912" y="3473081"/>
                </a:cubicBezTo>
                <a:cubicBezTo>
                  <a:pt x="279912" y="3462210"/>
                  <a:pt x="277194" y="3448622"/>
                  <a:pt x="274477" y="3437752"/>
                </a:cubicBezTo>
                <a:cubicBezTo>
                  <a:pt x="250018" y="3451340"/>
                  <a:pt x="288065" y="3505692"/>
                  <a:pt x="263606" y="3519280"/>
                </a:cubicBezTo>
                <a:cubicBezTo>
                  <a:pt x="255454" y="3459493"/>
                  <a:pt x="241866" y="3407858"/>
                  <a:pt x="195667" y="3405141"/>
                </a:cubicBezTo>
                <a:cubicBezTo>
                  <a:pt x="190231" y="3388835"/>
                  <a:pt x="192949" y="3375247"/>
                  <a:pt x="195667" y="3361659"/>
                </a:cubicBezTo>
                <a:cubicBezTo>
                  <a:pt x="168491" y="3364377"/>
                  <a:pt x="168491" y="3386118"/>
                  <a:pt x="165773" y="3405141"/>
                </a:cubicBezTo>
                <a:cubicBezTo>
                  <a:pt x="146750" y="3413294"/>
                  <a:pt x="138597" y="3402423"/>
                  <a:pt x="133162" y="3386118"/>
                </a:cubicBezTo>
                <a:cubicBezTo>
                  <a:pt x="144032" y="3383400"/>
                  <a:pt x="152185" y="3380683"/>
                  <a:pt x="157620" y="3375247"/>
                </a:cubicBezTo>
                <a:cubicBezTo>
                  <a:pt x="146750" y="3350789"/>
                  <a:pt x="114139" y="3358942"/>
                  <a:pt x="111421" y="3326331"/>
                </a:cubicBezTo>
                <a:cubicBezTo>
                  <a:pt x="125009" y="3326331"/>
                  <a:pt x="122291" y="3329048"/>
                  <a:pt x="133162" y="3323613"/>
                </a:cubicBezTo>
                <a:cubicBezTo>
                  <a:pt x="141315" y="3310025"/>
                  <a:pt x="127727" y="3285567"/>
                  <a:pt x="144032" y="3280132"/>
                </a:cubicBezTo>
                <a:cubicBezTo>
                  <a:pt x="146750" y="3323613"/>
                  <a:pt x="173926" y="3334484"/>
                  <a:pt x="198384" y="3345354"/>
                </a:cubicBezTo>
                <a:cubicBezTo>
                  <a:pt x="206537" y="3304590"/>
                  <a:pt x="233713" y="3277414"/>
                  <a:pt x="225560" y="3225780"/>
                </a:cubicBezTo>
                <a:cubicBezTo>
                  <a:pt x="239148" y="3231215"/>
                  <a:pt x="258171" y="3217627"/>
                  <a:pt x="258171" y="3204039"/>
                </a:cubicBezTo>
                <a:cubicBezTo>
                  <a:pt x="258171" y="3187733"/>
                  <a:pt x="244583" y="3190451"/>
                  <a:pt x="239148" y="3185016"/>
                </a:cubicBezTo>
                <a:cubicBezTo>
                  <a:pt x="250018" y="3122511"/>
                  <a:pt x="160338" y="3133382"/>
                  <a:pt x="182079" y="3187733"/>
                </a:cubicBezTo>
                <a:cubicBezTo>
                  <a:pt x="195667" y="3198604"/>
                  <a:pt x="190231" y="3160558"/>
                  <a:pt x="203819" y="3171428"/>
                </a:cubicBezTo>
                <a:cubicBezTo>
                  <a:pt x="203819" y="3187733"/>
                  <a:pt x="214690" y="3212192"/>
                  <a:pt x="209255" y="3225780"/>
                </a:cubicBezTo>
                <a:cubicBezTo>
                  <a:pt x="195667" y="3228497"/>
                  <a:pt x="198384" y="3206757"/>
                  <a:pt x="190231" y="3204039"/>
                </a:cubicBezTo>
                <a:cubicBezTo>
                  <a:pt x="165773" y="3209474"/>
                  <a:pt x="176643" y="3242085"/>
                  <a:pt x="154903" y="3247520"/>
                </a:cubicBezTo>
                <a:cubicBezTo>
                  <a:pt x="154903" y="3242085"/>
                  <a:pt x="154903" y="3236650"/>
                  <a:pt x="149467" y="3236650"/>
                </a:cubicBezTo>
                <a:cubicBezTo>
                  <a:pt x="122291" y="3244803"/>
                  <a:pt x="133162" y="3282849"/>
                  <a:pt x="119574" y="3299155"/>
                </a:cubicBezTo>
                <a:cubicBezTo>
                  <a:pt x="111421" y="3301872"/>
                  <a:pt x="103268" y="3301872"/>
                  <a:pt x="95116" y="3304590"/>
                </a:cubicBezTo>
                <a:cubicBezTo>
                  <a:pt x="103268" y="3271979"/>
                  <a:pt x="59787" y="3252956"/>
                  <a:pt x="76092" y="3225780"/>
                </a:cubicBezTo>
                <a:cubicBezTo>
                  <a:pt x="84245" y="3231215"/>
                  <a:pt x="84245" y="3250238"/>
                  <a:pt x="97833" y="3250238"/>
                </a:cubicBezTo>
                <a:cubicBezTo>
                  <a:pt x="122291" y="3239368"/>
                  <a:pt x="138597" y="3220344"/>
                  <a:pt x="138597" y="3193169"/>
                </a:cubicBezTo>
                <a:cubicBezTo>
                  <a:pt x="108704" y="3187733"/>
                  <a:pt x="78810" y="3214909"/>
                  <a:pt x="54352" y="3225780"/>
                </a:cubicBezTo>
                <a:cubicBezTo>
                  <a:pt x="43481" y="3193169"/>
                  <a:pt x="59787" y="3176863"/>
                  <a:pt x="76092" y="3163275"/>
                </a:cubicBezTo>
                <a:cubicBezTo>
                  <a:pt x="57069" y="3092618"/>
                  <a:pt x="119574" y="3027395"/>
                  <a:pt x="51634" y="2992067"/>
                </a:cubicBezTo>
                <a:cubicBezTo>
                  <a:pt x="35328" y="3016525"/>
                  <a:pt x="78810" y="3046418"/>
                  <a:pt x="62504" y="3068159"/>
                </a:cubicBezTo>
                <a:cubicBezTo>
                  <a:pt x="48916" y="3070877"/>
                  <a:pt x="54352" y="3049136"/>
                  <a:pt x="38046" y="3060006"/>
                </a:cubicBezTo>
                <a:cubicBezTo>
                  <a:pt x="46199" y="3005655"/>
                  <a:pt x="19023" y="2981196"/>
                  <a:pt x="0" y="2943150"/>
                </a:cubicBezTo>
                <a:cubicBezTo>
                  <a:pt x="19023" y="2934997"/>
                  <a:pt x="35328" y="2940433"/>
                  <a:pt x="40764" y="2921409"/>
                </a:cubicBezTo>
                <a:cubicBezTo>
                  <a:pt x="59787" y="2924127"/>
                  <a:pt x="65222" y="2948585"/>
                  <a:pt x="67940" y="2973044"/>
                </a:cubicBezTo>
                <a:cubicBezTo>
                  <a:pt x="78810" y="2964891"/>
                  <a:pt x="67940" y="2937715"/>
                  <a:pt x="73375" y="2924127"/>
                </a:cubicBezTo>
                <a:cubicBezTo>
                  <a:pt x="89680" y="2948585"/>
                  <a:pt x="130444" y="2937715"/>
                  <a:pt x="163055" y="2940433"/>
                </a:cubicBezTo>
                <a:cubicBezTo>
                  <a:pt x="157620" y="2932280"/>
                  <a:pt x="144032" y="2934997"/>
                  <a:pt x="144032" y="2918692"/>
                </a:cubicBezTo>
                <a:cubicBezTo>
                  <a:pt x="163055" y="2918692"/>
                  <a:pt x="157620" y="2891516"/>
                  <a:pt x="149467" y="2883363"/>
                </a:cubicBezTo>
                <a:cubicBezTo>
                  <a:pt x="130444" y="2886081"/>
                  <a:pt x="130444" y="2902386"/>
                  <a:pt x="119574" y="2907821"/>
                </a:cubicBezTo>
                <a:cubicBezTo>
                  <a:pt x="105986" y="2910539"/>
                  <a:pt x="100551" y="2899669"/>
                  <a:pt x="97833" y="2883363"/>
                </a:cubicBezTo>
                <a:cubicBezTo>
                  <a:pt x="108704" y="2877929"/>
                  <a:pt x="108704" y="2891516"/>
                  <a:pt x="116856" y="2891516"/>
                </a:cubicBezTo>
                <a:cubicBezTo>
                  <a:pt x="114139" y="2880645"/>
                  <a:pt x="105986" y="2875211"/>
                  <a:pt x="100551" y="2861623"/>
                </a:cubicBezTo>
                <a:cubicBezTo>
                  <a:pt x="111421" y="2858905"/>
                  <a:pt x="108704" y="2845317"/>
                  <a:pt x="114139" y="2839881"/>
                </a:cubicBezTo>
                <a:cubicBezTo>
                  <a:pt x="111421" y="2818141"/>
                  <a:pt x="81528" y="2812706"/>
                  <a:pt x="95116" y="2790965"/>
                </a:cubicBezTo>
                <a:cubicBezTo>
                  <a:pt x="114139" y="2796400"/>
                  <a:pt x="127727" y="2809988"/>
                  <a:pt x="138597" y="2823576"/>
                </a:cubicBezTo>
                <a:cubicBezTo>
                  <a:pt x="141315" y="2818141"/>
                  <a:pt x="141315" y="2809988"/>
                  <a:pt x="141315" y="2801835"/>
                </a:cubicBezTo>
                <a:cubicBezTo>
                  <a:pt x="165773" y="2809988"/>
                  <a:pt x="141315" y="2850752"/>
                  <a:pt x="160338" y="2872493"/>
                </a:cubicBezTo>
                <a:cubicBezTo>
                  <a:pt x="163055" y="2842599"/>
                  <a:pt x="173926" y="2815423"/>
                  <a:pt x="176643" y="2782812"/>
                </a:cubicBezTo>
                <a:cubicBezTo>
                  <a:pt x="163055" y="2752919"/>
                  <a:pt x="130444" y="2750201"/>
                  <a:pt x="92398" y="2755636"/>
                </a:cubicBezTo>
                <a:cubicBezTo>
                  <a:pt x="86963" y="2731179"/>
                  <a:pt x="111421" y="2731179"/>
                  <a:pt x="127727" y="2725743"/>
                </a:cubicBezTo>
                <a:cubicBezTo>
                  <a:pt x="138597" y="2752919"/>
                  <a:pt x="165773" y="2755636"/>
                  <a:pt x="192949" y="2758354"/>
                </a:cubicBezTo>
                <a:cubicBezTo>
                  <a:pt x="182079" y="2777377"/>
                  <a:pt x="206537" y="2820858"/>
                  <a:pt x="192949" y="2837165"/>
                </a:cubicBezTo>
                <a:cubicBezTo>
                  <a:pt x="211972" y="2853469"/>
                  <a:pt x="250018" y="2899669"/>
                  <a:pt x="274477" y="2864340"/>
                </a:cubicBezTo>
                <a:cubicBezTo>
                  <a:pt x="239148" y="2850752"/>
                  <a:pt x="239148" y="2788247"/>
                  <a:pt x="201102" y="2780094"/>
                </a:cubicBezTo>
                <a:cubicBezTo>
                  <a:pt x="201102" y="2769224"/>
                  <a:pt x="222842" y="2771942"/>
                  <a:pt x="228278" y="2763789"/>
                </a:cubicBezTo>
                <a:cubicBezTo>
                  <a:pt x="220125" y="2739331"/>
                  <a:pt x="173926" y="2747483"/>
                  <a:pt x="187514" y="2717591"/>
                </a:cubicBezTo>
                <a:cubicBezTo>
                  <a:pt x="201102" y="2720307"/>
                  <a:pt x="206537" y="2731179"/>
                  <a:pt x="217407" y="2739331"/>
                </a:cubicBezTo>
                <a:cubicBezTo>
                  <a:pt x="228278" y="2736613"/>
                  <a:pt x="220125" y="2723026"/>
                  <a:pt x="220125" y="2712155"/>
                </a:cubicBezTo>
                <a:cubicBezTo>
                  <a:pt x="233713" y="2717591"/>
                  <a:pt x="230995" y="2747483"/>
                  <a:pt x="244583" y="2750201"/>
                </a:cubicBezTo>
                <a:cubicBezTo>
                  <a:pt x="269042" y="2736613"/>
                  <a:pt x="241866" y="2706720"/>
                  <a:pt x="236430" y="2687697"/>
                </a:cubicBezTo>
                <a:cubicBezTo>
                  <a:pt x="236430" y="2668673"/>
                  <a:pt x="252736" y="2663238"/>
                  <a:pt x="255454" y="2649650"/>
                </a:cubicBezTo>
                <a:cubicBezTo>
                  <a:pt x="250018" y="2627910"/>
                  <a:pt x="222842" y="2641497"/>
                  <a:pt x="209255" y="2649650"/>
                </a:cubicBezTo>
                <a:cubicBezTo>
                  <a:pt x="214690" y="2644216"/>
                  <a:pt x="211972" y="2636062"/>
                  <a:pt x="217407" y="2630627"/>
                </a:cubicBezTo>
                <a:cubicBezTo>
                  <a:pt x="211972" y="2619757"/>
                  <a:pt x="201102" y="2617039"/>
                  <a:pt x="195667" y="2608887"/>
                </a:cubicBezTo>
                <a:cubicBezTo>
                  <a:pt x="198384" y="2589863"/>
                  <a:pt x="195667" y="2565405"/>
                  <a:pt x="190231" y="2538229"/>
                </a:cubicBezTo>
                <a:cubicBezTo>
                  <a:pt x="217407" y="2530076"/>
                  <a:pt x="222842" y="2557252"/>
                  <a:pt x="225560" y="2581710"/>
                </a:cubicBezTo>
                <a:cubicBezTo>
                  <a:pt x="236430" y="2516488"/>
                  <a:pt x="206537" y="2453983"/>
                  <a:pt x="203819" y="2386044"/>
                </a:cubicBezTo>
                <a:cubicBezTo>
                  <a:pt x="211972" y="2391479"/>
                  <a:pt x="217407" y="2399632"/>
                  <a:pt x="220125" y="2410502"/>
                </a:cubicBezTo>
                <a:cubicBezTo>
                  <a:pt x="230995" y="2418655"/>
                  <a:pt x="258171" y="2399632"/>
                  <a:pt x="260889" y="2418655"/>
                </a:cubicBezTo>
                <a:cubicBezTo>
                  <a:pt x="244583" y="2421372"/>
                  <a:pt x="230995" y="2415937"/>
                  <a:pt x="225560" y="2429526"/>
                </a:cubicBezTo>
                <a:cubicBezTo>
                  <a:pt x="233713" y="2462136"/>
                  <a:pt x="252736" y="2478443"/>
                  <a:pt x="277194" y="2475725"/>
                </a:cubicBezTo>
                <a:cubicBezTo>
                  <a:pt x="282630" y="2497465"/>
                  <a:pt x="269042" y="2505618"/>
                  <a:pt x="247301" y="2508335"/>
                </a:cubicBezTo>
                <a:cubicBezTo>
                  <a:pt x="250018" y="2516488"/>
                  <a:pt x="255454" y="2524641"/>
                  <a:pt x="263606" y="2524641"/>
                </a:cubicBezTo>
                <a:cubicBezTo>
                  <a:pt x="290782" y="2513770"/>
                  <a:pt x="288065" y="2481159"/>
                  <a:pt x="312523" y="2470290"/>
                </a:cubicBezTo>
                <a:cubicBezTo>
                  <a:pt x="328829" y="2481159"/>
                  <a:pt x="342417" y="2494747"/>
                  <a:pt x="356005" y="2508335"/>
                </a:cubicBezTo>
                <a:cubicBezTo>
                  <a:pt x="369593" y="2505618"/>
                  <a:pt x="377745" y="2494747"/>
                  <a:pt x="375028" y="2478443"/>
                </a:cubicBezTo>
                <a:cubicBezTo>
                  <a:pt x="391333" y="2478443"/>
                  <a:pt x="391333" y="2500182"/>
                  <a:pt x="402204" y="2508335"/>
                </a:cubicBezTo>
                <a:cubicBezTo>
                  <a:pt x="410357" y="2492030"/>
                  <a:pt x="399486" y="2462136"/>
                  <a:pt x="404921" y="2443113"/>
                </a:cubicBezTo>
                <a:cubicBezTo>
                  <a:pt x="418509" y="2443113"/>
                  <a:pt x="415792" y="2432244"/>
                  <a:pt x="429380" y="2432244"/>
                </a:cubicBezTo>
                <a:cubicBezTo>
                  <a:pt x="396769" y="2386044"/>
                  <a:pt x="372310" y="2443113"/>
                  <a:pt x="347852" y="2462136"/>
                </a:cubicBezTo>
                <a:cubicBezTo>
                  <a:pt x="336981" y="2459418"/>
                  <a:pt x="334264" y="2437679"/>
                  <a:pt x="336981" y="2424090"/>
                </a:cubicBezTo>
                <a:cubicBezTo>
                  <a:pt x="320676" y="2426807"/>
                  <a:pt x="317958" y="2437679"/>
                  <a:pt x="323393" y="2453983"/>
                </a:cubicBezTo>
                <a:cubicBezTo>
                  <a:pt x="315241" y="2448549"/>
                  <a:pt x="304370" y="2445830"/>
                  <a:pt x="301653" y="2432244"/>
                </a:cubicBezTo>
                <a:cubicBezTo>
                  <a:pt x="315241" y="2407784"/>
                  <a:pt x="347852" y="2358868"/>
                  <a:pt x="304370" y="2339844"/>
                </a:cubicBezTo>
                <a:cubicBezTo>
                  <a:pt x="320676" y="2315387"/>
                  <a:pt x="331546" y="2288210"/>
                  <a:pt x="328829" y="2252882"/>
                </a:cubicBezTo>
                <a:cubicBezTo>
                  <a:pt x="345134" y="2252882"/>
                  <a:pt x="345134" y="2242012"/>
                  <a:pt x="356005" y="2236577"/>
                </a:cubicBezTo>
                <a:cubicBezTo>
                  <a:pt x="358722" y="2203965"/>
                  <a:pt x="331546" y="2212119"/>
                  <a:pt x="320676" y="2198531"/>
                </a:cubicBezTo>
                <a:cubicBezTo>
                  <a:pt x="350569" y="2182224"/>
                  <a:pt x="375028" y="2203965"/>
                  <a:pt x="394051" y="2214835"/>
                </a:cubicBezTo>
                <a:cubicBezTo>
                  <a:pt x="402204" y="2244730"/>
                  <a:pt x="383181" y="2255600"/>
                  <a:pt x="375028" y="2274623"/>
                </a:cubicBezTo>
                <a:cubicBezTo>
                  <a:pt x="377745" y="2290928"/>
                  <a:pt x="404921" y="2274623"/>
                  <a:pt x="407639" y="2290928"/>
                </a:cubicBezTo>
                <a:cubicBezTo>
                  <a:pt x="415792" y="2266470"/>
                  <a:pt x="399486" y="2225705"/>
                  <a:pt x="421227" y="2209400"/>
                </a:cubicBezTo>
                <a:cubicBezTo>
                  <a:pt x="426662" y="2255600"/>
                  <a:pt x="491884" y="2217554"/>
                  <a:pt x="502755" y="2261035"/>
                </a:cubicBezTo>
                <a:cubicBezTo>
                  <a:pt x="535366" y="2209400"/>
                  <a:pt x="451120" y="2160484"/>
                  <a:pt x="472861" y="2097980"/>
                </a:cubicBezTo>
                <a:cubicBezTo>
                  <a:pt x="497320" y="2095262"/>
                  <a:pt x="497320" y="2127873"/>
                  <a:pt x="497320" y="2149613"/>
                </a:cubicBezTo>
                <a:cubicBezTo>
                  <a:pt x="500037" y="2155048"/>
                  <a:pt x="508190" y="2155048"/>
                  <a:pt x="516343" y="2152332"/>
                </a:cubicBezTo>
                <a:cubicBezTo>
                  <a:pt x="510907" y="2201248"/>
                  <a:pt x="527213" y="2274623"/>
                  <a:pt x="587000" y="2255600"/>
                </a:cubicBezTo>
                <a:cubicBezTo>
                  <a:pt x="581565" y="2212119"/>
                  <a:pt x="548954" y="2206683"/>
                  <a:pt x="529931" y="2182224"/>
                </a:cubicBezTo>
                <a:cubicBezTo>
                  <a:pt x="527213" y="2141460"/>
                  <a:pt x="589718" y="2152332"/>
                  <a:pt x="589718" y="2114285"/>
                </a:cubicBezTo>
                <a:cubicBezTo>
                  <a:pt x="600588" y="2117003"/>
                  <a:pt x="608741" y="2122438"/>
                  <a:pt x="611458" y="2133307"/>
                </a:cubicBezTo>
                <a:cubicBezTo>
                  <a:pt x="578847" y="2144178"/>
                  <a:pt x="581565" y="2187659"/>
                  <a:pt x="595153" y="2222988"/>
                </a:cubicBezTo>
                <a:cubicBezTo>
                  <a:pt x="611458" y="2231141"/>
                  <a:pt x="606023" y="2190378"/>
                  <a:pt x="622329" y="2209400"/>
                </a:cubicBezTo>
                <a:cubicBezTo>
                  <a:pt x="616894" y="2190378"/>
                  <a:pt x="614176" y="2168636"/>
                  <a:pt x="627764" y="2160484"/>
                </a:cubicBezTo>
                <a:cubicBezTo>
                  <a:pt x="638634" y="2176789"/>
                  <a:pt x="638634" y="2206683"/>
                  <a:pt x="660375" y="2203965"/>
                </a:cubicBezTo>
                <a:cubicBezTo>
                  <a:pt x="671246" y="2195813"/>
                  <a:pt x="663093" y="2152332"/>
                  <a:pt x="638634" y="2165919"/>
                </a:cubicBezTo>
                <a:cubicBezTo>
                  <a:pt x="635917" y="2155048"/>
                  <a:pt x="654940" y="2160484"/>
                  <a:pt x="654940" y="2152332"/>
                </a:cubicBezTo>
                <a:cubicBezTo>
                  <a:pt x="673963" y="2163202"/>
                  <a:pt x="682116" y="2190378"/>
                  <a:pt x="703857" y="2198531"/>
                </a:cubicBezTo>
                <a:cubicBezTo>
                  <a:pt x="722880" y="2184943"/>
                  <a:pt x="701139" y="2157767"/>
                  <a:pt x="712009" y="2141460"/>
                </a:cubicBezTo>
                <a:cubicBezTo>
                  <a:pt x="722880" y="2138743"/>
                  <a:pt x="731033" y="2146895"/>
                  <a:pt x="739185" y="2146895"/>
                </a:cubicBezTo>
                <a:cubicBezTo>
                  <a:pt x="731033" y="2160484"/>
                  <a:pt x="731033" y="2179506"/>
                  <a:pt x="731033" y="2201248"/>
                </a:cubicBezTo>
                <a:cubicBezTo>
                  <a:pt x="720162" y="2201248"/>
                  <a:pt x="706574" y="2203965"/>
                  <a:pt x="695704" y="2206683"/>
                </a:cubicBezTo>
                <a:cubicBezTo>
                  <a:pt x="671246" y="2225705"/>
                  <a:pt x="695704" y="2280058"/>
                  <a:pt x="692986" y="2312669"/>
                </a:cubicBezTo>
                <a:cubicBezTo>
                  <a:pt x="701139" y="2318105"/>
                  <a:pt x="706574" y="2296363"/>
                  <a:pt x="722880" y="2299081"/>
                </a:cubicBezTo>
                <a:cubicBezTo>
                  <a:pt x="709292" y="2274623"/>
                  <a:pt x="695704" y="2231141"/>
                  <a:pt x="731033" y="2225705"/>
                </a:cubicBezTo>
                <a:cubicBezTo>
                  <a:pt x="733750" y="2239293"/>
                  <a:pt x="725597" y="2242012"/>
                  <a:pt x="731033" y="2252882"/>
                </a:cubicBezTo>
                <a:cubicBezTo>
                  <a:pt x="741903" y="2250165"/>
                  <a:pt x="744621" y="2258317"/>
                  <a:pt x="750056" y="2250165"/>
                </a:cubicBezTo>
                <a:cubicBezTo>
                  <a:pt x="763644" y="2222988"/>
                  <a:pt x="750056" y="2174071"/>
                  <a:pt x="760926" y="2144178"/>
                </a:cubicBezTo>
                <a:cubicBezTo>
                  <a:pt x="747338" y="2130590"/>
                  <a:pt x="722880" y="2130590"/>
                  <a:pt x="714727" y="2108850"/>
                </a:cubicBezTo>
                <a:cubicBezTo>
                  <a:pt x="733750" y="2106132"/>
                  <a:pt x="741903" y="2119720"/>
                  <a:pt x="763644" y="2111567"/>
                </a:cubicBezTo>
                <a:cubicBezTo>
                  <a:pt x="755491" y="2100697"/>
                  <a:pt x="744621" y="2095262"/>
                  <a:pt x="731033" y="2092544"/>
                </a:cubicBezTo>
                <a:cubicBezTo>
                  <a:pt x="728315" y="2078956"/>
                  <a:pt x="725597" y="2065368"/>
                  <a:pt x="722880" y="2051779"/>
                </a:cubicBezTo>
                <a:cubicBezTo>
                  <a:pt x="744621" y="2059932"/>
                  <a:pt x="747338" y="2089827"/>
                  <a:pt x="779949" y="2078956"/>
                </a:cubicBezTo>
                <a:cubicBezTo>
                  <a:pt x="785385" y="2100697"/>
                  <a:pt x="774514" y="2122438"/>
                  <a:pt x="788102" y="2141460"/>
                </a:cubicBezTo>
                <a:cubicBezTo>
                  <a:pt x="847889" y="2089827"/>
                  <a:pt x="744621" y="2068085"/>
                  <a:pt x="755491" y="1997428"/>
                </a:cubicBezTo>
                <a:cubicBezTo>
                  <a:pt x="796255" y="1989275"/>
                  <a:pt x="809843" y="1959381"/>
                  <a:pt x="823431" y="1932205"/>
                </a:cubicBezTo>
                <a:cubicBezTo>
                  <a:pt x="807125" y="1924053"/>
                  <a:pt x="798972" y="1945793"/>
                  <a:pt x="798972" y="1959381"/>
                </a:cubicBezTo>
                <a:cubicBezTo>
                  <a:pt x="777232" y="1945793"/>
                  <a:pt x="796255" y="1932205"/>
                  <a:pt x="790820" y="1907747"/>
                </a:cubicBezTo>
                <a:cubicBezTo>
                  <a:pt x="812560" y="1907747"/>
                  <a:pt x="807125" y="1886006"/>
                  <a:pt x="812560" y="1872419"/>
                </a:cubicBezTo>
                <a:cubicBezTo>
                  <a:pt x="823431" y="1866984"/>
                  <a:pt x="820713" y="1883289"/>
                  <a:pt x="828866" y="1880571"/>
                </a:cubicBezTo>
                <a:cubicBezTo>
                  <a:pt x="837019" y="1869701"/>
                  <a:pt x="817996" y="1864265"/>
                  <a:pt x="820713" y="1847961"/>
                </a:cubicBezTo>
                <a:cubicBezTo>
                  <a:pt x="834301" y="1834372"/>
                  <a:pt x="861477" y="1831654"/>
                  <a:pt x="869630" y="1850678"/>
                </a:cubicBezTo>
                <a:cubicBezTo>
                  <a:pt x="880500" y="1839807"/>
                  <a:pt x="869630" y="1831654"/>
                  <a:pt x="861477" y="1823502"/>
                </a:cubicBezTo>
                <a:lnTo>
                  <a:pt x="779949" y="1782739"/>
                </a:lnTo>
                <a:lnTo>
                  <a:pt x="779949" y="1750127"/>
                </a:lnTo>
                <a:lnTo>
                  <a:pt x="823431" y="1750127"/>
                </a:lnTo>
                <a:lnTo>
                  <a:pt x="826148" y="1695775"/>
                </a:lnTo>
                <a:lnTo>
                  <a:pt x="883218" y="1695775"/>
                </a:lnTo>
                <a:lnTo>
                  <a:pt x="883218" y="1736540"/>
                </a:lnTo>
                <a:lnTo>
                  <a:pt x="907676" y="1736540"/>
                </a:lnTo>
                <a:cubicBezTo>
                  <a:pt x="910394" y="1736540"/>
                  <a:pt x="910394" y="1736540"/>
                  <a:pt x="910394" y="1736540"/>
                </a:cubicBezTo>
                <a:lnTo>
                  <a:pt x="913111" y="1736540"/>
                </a:lnTo>
                <a:lnTo>
                  <a:pt x="913111" y="1671316"/>
                </a:lnTo>
                <a:lnTo>
                  <a:pt x="986486" y="1668599"/>
                </a:lnTo>
                <a:lnTo>
                  <a:pt x="986486" y="1638705"/>
                </a:lnTo>
                <a:cubicBezTo>
                  <a:pt x="986486" y="1638705"/>
                  <a:pt x="986486" y="1635988"/>
                  <a:pt x="986486" y="1635988"/>
                </a:cubicBezTo>
                <a:cubicBezTo>
                  <a:pt x="986486" y="1635988"/>
                  <a:pt x="989204" y="1635988"/>
                  <a:pt x="989204" y="1635988"/>
                </a:cubicBezTo>
                <a:cubicBezTo>
                  <a:pt x="989204" y="1635988"/>
                  <a:pt x="989204" y="1638705"/>
                  <a:pt x="989204" y="1638705"/>
                </a:cubicBezTo>
                <a:cubicBezTo>
                  <a:pt x="989204" y="1638705"/>
                  <a:pt x="991922" y="1635988"/>
                  <a:pt x="991922" y="1635988"/>
                </a:cubicBezTo>
                <a:cubicBezTo>
                  <a:pt x="991922" y="1633270"/>
                  <a:pt x="991922" y="1633270"/>
                  <a:pt x="991922" y="1630553"/>
                </a:cubicBezTo>
                <a:cubicBezTo>
                  <a:pt x="991922" y="1630553"/>
                  <a:pt x="989204" y="1630553"/>
                  <a:pt x="989204" y="1630553"/>
                </a:cubicBezTo>
                <a:cubicBezTo>
                  <a:pt x="989204" y="1630553"/>
                  <a:pt x="989204" y="1630553"/>
                  <a:pt x="989204" y="1627835"/>
                </a:cubicBezTo>
                <a:cubicBezTo>
                  <a:pt x="989204" y="1625117"/>
                  <a:pt x="989204" y="1625117"/>
                  <a:pt x="989204" y="1625117"/>
                </a:cubicBezTo>
                <a:cubicBezTo>
                  <a:pt x="991922" y="1625117"/>
                  <a:pt x="991922" y="1625117"/>
                  <a:pt x="991922" y="1625117"/>
                </a:cubicBezTo>
                <a:cubicBezTo>
                  <a:pt x="991922" y="1622401"/>
                  <a:pt x="991922" y="1622401"/>
                  <a:pt x="991922" y="1622401"/>
                </a:cubicBezTo>
                <a:lnTo>
                  <a:pt x="989204" y="1622401"/>
                </a:lnTo>
                <a:cubicBezTo>
                  <a:pt x="989204" y="1623902"/>
                  <a:pt x="987987" y="1625118"/>
                  <a:pt x="986486" y="1625118"/>
                </a:cubicBezTo>
                <a:cubicBezTo>
                  <a:pt x="984986" y="1625118"/>
                  <a:pt x="983769" y="1623902"/>
                  <a:pt x="983769" y="1622401"/>
                </a:cubicBezTo>
                <a:lnTo>
                  <a:pt x="986486" y="1619684"/>
                </a:lnTo>
                <a:lnTo>
                  <a:pt x="986486" y="1619682"/>
                </a:lnTo>
                <a:lnTo>
                  <a:pt x="986486" y="1616965"/>
                </a:lnTo>
                <a:lnTo>
                  <a:pt x="986486" y="1614248"/>
                </a:lnTo>
                <a:cubicBezTo>
                  <a:pt x="986486" y="1614248"/>
                  <a:pt x="986486" y="1611529"/>
                  <a:pt x="986486" y="1611529"/>
                </a:cubicBezTo>
                <a:cubicBezTo>
                  <a:pt x="986486" y="1611529"/>
                  <a:pt x="986486" y="1608812"/>
                  <a:pt x="986486" y="1608812"/>
                </a:cubicBezTo>
                <a:cubicBezTo>
                  <a:pt x="986486" y="1608812"/>
                  <a:pt x="989204" y="1608812"/>
                  <a:pt x="989204" y="1608812"/>
                </a:cubicBezTo>
                <a:cubicBezTo>
                  <a:pt x="991922" y="1608812"/>
                  <a:pt x="991922" y="1608812"/>
                  <a:pt x="991922" y="1608812"/>
                </a:cubicBezTo>
                <a:cubicBezTo>
                  <a:pt x="991922" y="1606094"/>
                  <a:pt x="991922" y="1606094"/>
                  <a:pt x="991922" y="1603378"/>
                </a:cubicBezTo>
                <a:cubicBezTo>
                  <a:pt x="994639" y="1603378"/>
                  <a:pt x="994639" y="1603378"/>
                  <a:pt x="994639" y="1603378"/>
                </a:cubicBezTo>
                <a:lnTo>
                  <a:pt x="994639" y="1597941"/>
                </a:lnTo>
                <a:cubicBezTo>
                  <a:pt x="994639" y="1597941"/>
                  <a:pt x="991922" y="1597941"/>
                  <a:pt x="991922" y="1597941"/>
                </a:cubicBezTo>
                <a:cubicBezTo>
                  <a:pt x="991922" y="1595225"/>
                  <a:pt x="991922" y="1592506"/>
                  <a:pt x="991922" y="1592506"/>
                </a:cubicBezTo>
                <a:cubicBezTo>
                  <a:pt x="994639" y="1592506"/>
                  <a:pt x="994639" y="1592506"/>
                  <a:pt x="994639" y="1592506"/>
                </a:cubicBezTo>
                <a:cubicBezTo>
                  <a:pt x="994639" y="1589790"/>
                  <a:pt x="994639" y="1589790"/>
                  <a:pt x="994639" y="1587071"/>
                </a:cubicBezTo>
                <a:cubicBezTo>
                  <a:pt x="994639" y="1587071"/>
                  <a:pt x="991922" y="1587071"/>
                  <a:pt x="991922" y="1587071"/>
                </a:cubicBezTo>
                <a:cubicBezTo>
                  <a:pt x="989204" y="1587071"/>
                  <a:pt x="989204" y="1587071"/>
                  <a:pt x="989204" y="1587071"/>
                </a:cubicBezTo>
                <a:cubicBezTo>
                  <a:pt x="989204" y="1587071"/>
                  <a:pt x="989204" y="1584354"/>
                  <a:pt x="989204" y="1584354"/>
                </a:cubicBezTo>
                <a:cubicBezTo>
                  <a:pt x="989204" y="1584354"/>
                  <a:pt x="989204" y="1581636"/>
                  <a:pt x="989204" y="1581636"/>
                </a:cubicBezTo>
                <a:cubicBezTo>
                  <a:pt x="989204" y="1581636"/>
                  <a:pt x="991922" y="1581636"/>
                  <a:pt x="991922" y="1581636"/>
                </a:cubicBezTo>
                <a:cubicBezTo>
                  <a:pt x="991922" y="1581636"/>
                  <a:pt x="991922" y="1584354"/>
                  <a:pt x="991922" y="1584354"/>
                </a:cubicBezTo>
                <a:cubicBezTo>
                  <a:pt x="994639" y="1584354"/>
                  <a:pt x="994639" y="1584354"/>
                  <a:pt x="994639" y="1584354"/>
                </a:cubicBezTo>
                <a:cubicBezTo>
                  <a:pt x="994639" y="1581636"/>
                  <a:pt x="994639" y="1581636"/>
                  <a:pt x="994639" y="1578918"/>
                </a:cubicBezTo>
                <a:cubicBezTo>
                  <a:pt x="994639" y="1573483"/>
                  <a:pt x="994639" y="1570767"/>
                  <a:pt x="994639" y="1568049"/>
                </a:cubicBezTo>
                <a:cubicBezTo>
                  <a:pt x="1002792" y="1562614"/>
                  <a:pt x="1008227" y="1557179"/>
                  <a:pt x="1016380" y="1551742"/>
                </a:cubicBezTo>
                <a:cubicBezTo>
                  <a:pt x="1027250" y="1551742"/>
                  <a:pt x="1038121" y="1549025"/>
                  <a:pt x="1048991" y="1549025"/>
                </a:cubicBezTo>
                <a:cubicBezTo>
                  <a:pt x="1048991" y="1551742"/>
                  <a:pt x="1048991" y="1554460"/>
                  <a:pt x="1048991" y="1557179"/>
                </a:cubicBezTo>
                <a:cubicBezTo>
                  <a:pt x="1040838" y="1557179"/>
                  <a:pt x="1032686" y="1557179"/>
                  <a:pt x="1024533" y="1557179"/>
                </a:cubicBezTo>
                <a:cubicBezTo>
                  <a:pt x="1024533" y="1557179"/>
                  <a:pt x="1024533" y="1559896"/>
                  <a:pt x="1024533" y="1559896"/>
                </a:cubicBezTo>
                <a:lnTo>
                  <a:pt x="1016380" y="1559896"/>
                </a:lnTo>
                <a:cubicBezTo>
                  <a:pt x="1016380" y="1559896"/>
                  <a:pt x="1016380" y="1562614"/>
                  <a:pt x="1016380" y="1562614"/>
                </a:cubicBezTo>
                <a:cubicBezTo>
                  <a:pt x="1027250" y="1562614"/>
                  <a:pt x="1035403" y="1562614"/>
                  <a:pt x="1043556" y="1562614"/>
                </a:cubicBezTo>
                <a:cubicBezTo>
                  <a:pt x="1046274" y="1562614"/>
                  <a:pt x="1046274" y="1562614"/>
                  <a:pt x="1048991" y="1562614"/>
                </a:cubicBezTo>
                <a:cubicBezTo>
                  <a:pt x="1051709" y="1562614"/>
                  <a:pt x="1051709" y="1562614"/>
                  <a:pt x="1051709" y="1562614"/>
                </a:cubicBezTo>
                <a:cubicBezTo>
                  <a:pt x="1051709" y="1557179"/>
                  <a:pt x="1051709" y="1549025"/>
                  <a:pt x="1051709" y="1543590"/>
                </a:cubicBezTo>
                <a:cubicBezTo>
                  <a:pt x="1051709" y="1540872"/>
                  <a:pt x="1051709" y="1540872"/>
                  <a:pt x="1051709" y="1538155"/>
                </a:cubicBezTo>
                <a:cubicBezTo>
                  <a:pt x="1057144" y="1532719"/>
                  <a:pt x="1065297" y="1530002"/>
                  <a:pt x="1070732" y="1524567"/>
                </a:cubicBezTo>
                <a:cubicBezTo>
                  <a:pt x="1070732" y="1530002"/>
                  <a:pt x="1070732" y="1538155"/>
                  <a:pt x="1070732" y="1546307"/>
                </a:cubicBezTo>
                <a:cubicBezTo>
                  <a:pt x="1076167" y="1538155"/>
                  <a:pt x="1084320" y="1532719"/>
                  <a:pt x="1089755" y="1524567"/>
                </a:cubicBezTo>
                <a:cubicBezTo>
                  <a:pt x="1089755" y="1530002"/>
                  <a:pt x="1089755" y="1530002"/>
                  <a:pt x="1089755" y="1535437"/>
                </a:cubicBezTo>
                <a:cubicBezTo>
                  <a:pt x="1092473" y="1467500"/>
                  <a:pt x="1092473" y="1402279"/>
                  <a:pt x="1092473" y="1334339"/>
                </a:cubicBezTo>
                <a:cubicBezTo>
                  <a:pt x="1106061" y="1326186"/>
                  <a:pt x="1122366" y="1320751"/>
                  <a:pt x="1135954" y="1312597"/>
                </a:cubicBezTo>
                <a:cubicBezTo>
                  <a:pt x="1135954" y="1315315"/>
                  <a:pt x="1135954" y="1315315"/>
                  <a:pt x="1135954" y="1315315"/>
                </a:cubicBezTo>
                <a:cubicBezTo>
                  <a:pt x="1149542" y="1318033"/>
                  <a:pt x="1163130" y="1323468"/>
                  <a:pt x="1179436" y="1326186"/>
                </a:cubicBezTo>
                <a:cubicBezTo>
                  <a:pt x="1179436" y="1328904"/>
                  <a:pt x="1179436" y="1328904"/>
                  <a:pt x="1179436" y="1328904"/>
                </a:cubicBezTo>
                <a:cubicBezTo>
                  <a:pt x="1165848" y="1326186"/>
                  <a:pt x="1149542" y="1320751"/>
                  <a:pt x="1135954" y="1318033"/>
                </a:cubicBezTo>
                <a:cubicBezTo>
                  <a:pt x="1135954" y="1320751"/>
                  <a:pt x="1135954" y="1320751"/>
                  <a:pt x="1135954" y="1320751"/>
                </a:cubicBezTo>
                <a:cubicBezTo>
                  <a:pt x="1149542" y="1323468"/>
                  <a:pt x="1163130" y="1328904"/>
                  <a:pt x="1179436" y="1331621"/>
                </a:cubicBezTo>
                <a:cubicBezTo>
                  <a:pt x="1179436" y="1334339"/>
                  <a:pt x="1179436" y="1334339"/>
                  <a:pt x="1179436" y="1334339"/>
                </a:cubicBezTo>
                <a:cubicBezTo>
                  <a:pt x="1165848" y="1331621"/>
                  <a:pt x="1149542" y="1328904"/>
                  <a:pt x="1135954" y="1323468"/>
                </a:cubicBezTo>
                <a:cubicBezTo>
                  <a:pt x="1135954" y="1326186"/>
                  <a:pt x="1135954" y="1328904"/>
                  <a:pt x="1135954" y="1331621"/>
                </a:cubicBezTo>
                <a:cubicBezTo>
                  <a:pt x="1149542" y="1334339"/>
                  <a:pt x="1163130" y="1339773"/>
                  <a:pt x="1176718" y="1342491"/>
                </a:cubicBezTo>
                <a:cubicBezTo>
                  <a:pt x="1176718" y="1345209"/>
                  <a:pt x="1176718" y="1345209"/>
                  <a:pt x="1176718" y="1345209"/>
                </a:cubicBezTo>
                <a:cubicBezTo>
                  <a:pt x="1187589" y="1347927"/>
                  <a:pt x="1201177" y="1353362"/>
                  <a:pt x="1214764" y="1356079"/>
                </a:cubicBezTo>
                <a:cubicBezTo>
                  <a:pt x="1214764" y="1356079"/>
                  <a:pt x="1214764" y="1358797"/>
                  <a:pt x="1214764" y="1358797"/>
                </a:cubicBezTo>
                <a:lnTo>
                  <a:pt x="1212047" y="1358020"/>
                </a:lnTo>
                <a:lnTo>
                  <a:pt x="1212047" y="1369048"/>
                </a:lnTo>
                <a:lnTo>
                  <a:pt x="1214765" y="1369675"/>
                </a:lnTo>
                <a:cubicBezTo>
                  <a:pt x="1214765" y="1372393"/>
                  <a:pt x="1214765" y="1377828"/>
                  <a:pt x="1214765" y="1380546"/>
                </a:cubicBezTo>
                <a:lnTo>
                  <a:pt x="1208678" y="1379242"/>
                </a:lnTo>
                <a:lnTo>
                  <a:pt x="1206612" y="1375111"/>
                </a:lnTo>
                <a:lnTo>
                  <a:pt x="1206612" y="1378800"/>
                </a:lnTo>
                <a:lnTo>
                  <a:pt x="1176719" y="1372393"/>
                </a:lnTo>
                <a:lnTo>
                  <a:pt x="1179288" y="1362117"/>
                </a:lnTo>
                <a:lnTo>
                  <a:pt x="1176719" y="1361523"/>
                </a:lnTo>
                <a:cubicBezTo>
                  <a:pt x="1176719" y="1356087"/>
                  <a:pt x="1176719" y="1350652"/>
                  <a:pt x="1176719" y="1347936"/>
                </a:cubicBezTo>
                <a:lnTo>
                  <a:pt x="1176872" y="1347971"/>
                </a:lnTo>
                <a:lnTo>
                  <a:pt x="1176718" y="1347927"/>
                </a:lnTo>
                <a:cubicBezTo>
                  <a:pt x="1176718" y="1347927"/>
                  <a:pt x="1176718" y="1350644"/>
                  <a:pt x="1176718" y="1350644"/>
                </a:cubicBezTo>
                <a:cubicBezTo>
                  <a:pt x="1176718" y="1356079"/>
                  <a:pt x="1176718" y="1358797"/>
                  <a:pt x="1176718" y="1364231"/>
                </a:cubicBezTo>
                <a:cubicBezTo>
                  <a:pt x="1160413" y="1361515"/>
                  <a:pt x="1144107" y="1356079"/>
                  <a:pt x="1127801" y="1353362"/>
                </a:cubicBezTo>
                <a:lnTo>
                  <a:pt x="1128779" y="1356296"/>
                </a:lnTo>
                <a:lnTo>
                  <a:pt x="1127801" y="1356079"/>
                </a:lnTo>
                <a:lnTo>
                  <a:pt x="1127801" y="1361515"/>
                </a:lnTo>
                <a:cubicBezTo>
                  <a:pt x="1127801" y="1361515"/>
                  <a:pt x="1130519" y="1361515"/>
                  <a:pt x="1130519" y="1361515"/>
                </a:cubicBezTo>
                <a:lnTo>
                  <a:pt x="1128779" y="1356296"/>
                </a:lnTo>
                <a:lnTo>
                  <a:pt x="1176718" y="1366950"/>
                </a:lnTo>
                <a:cubicBezTo>
                  <a:pt x="1176718" y="1369668"/>
                  <a:pt x="1176718" y="1375102"/>
                  <a:pt x="1176718" y="1377819"/>
                </a:cubicBezTo>
                <a:lnTo>
                  <a:pt x="1130519" y="1367553"/>
                </a:lnTo>
                <a:lnTo>
                  <a:pt x="1130519" y="1366950"/>
                </a:lnTo>
                <a:cubicBezTo>
                  <a:pt x="1130519" y="1366950"/>
                  <a:pt x="1127801" y="1366950"/>
                  <a:pt x="1127801" y="1366950"/>
                </a:cubicBezTo>
                <a:lnTo>
                  <a:pt x="1130519" y="1367553"/>
                </a:lnTo>
                <a:lnTo>
                  <a:pt x="1130519" y="1370271"/>
                </a:lnTo>
                <a:lnTo>
                  <a:pt x="1127801" y="1369668"/>
                </a:lnTo>
                <a:lnTo>
                  <a:pt x="1127801" y="1375102"/>
                </a:lnTo>
                <a:cubicBezTo>
                  <a:pt x="1127801" y="1377819"/>
                  <a:pt x="1127801" y="1377819"/>
                  <a:pt x="1127801" y="1377819"/>
                </a:cubicBezTo>
                <a:cubicBezTo>
                  <a:pt x="1130519" y="1377819"/>
                  <a:pt x="1133237" y="1377819"/>
                  <a:pt x="1135954" y="1377819"/>
                </a:cubicBezTo>
                <a:cubicBezTo>
                  <a:pt x="1133237" y="1377819"/>
                  <a:pt x="1130519" y="1375102"/>
                  <a:pt x="1127801" y="1375102"/>
                </a:cubicBezTo>
                <a:cubicBezTo>
                  <a:pt x="1127801" y="1375102"/>
                  <a:pt x="1130519" y="1375102"/>
                  <a:pt x="1130519" y="1375102"/>
                </a:cubicBezTo>
                <a:lnTo>
                  <a:pt x="1130519" y="1370271"/>
                </a:lnTo>
                <a:lnTo>
                  <a:pt x="1176718" y="1380537"/>
                </a:lnTo>
                <a:cubicBezTo>
                  <a:pt x="1179436" y="1380537"/>
                  <a:pt x="1184871" y="1383256"/>
                  <a:pt x="1187589" y="1383256"/>
                </a:cubicBezTo>
                <a:cubicBezTo>
                  <a:pt x="1187589" y="1383256"/>
                  <a:pt x="1187589" y="1380537"/>
                  <a:pt x="1187589" y="1380537"/>
                </a:cubicBezTo>
                <a:cubicBezTo>
                  <a:pt x="1209329" y="1380537"/>
                  <a:pt x="1220200" y="1396844"/>
                  <a:pt x="1236505" y="1404996"/>
                </a:cubicBezTo>
                <a:cubicBezTo>
                  <a:pt x="1250093" y="1399561"/>
                  <a:pt x="1247376" y="1385972"/>
                  <a:pt x="1247376" y="1369668"/>
                </a:cubicBezTo>
                <a:cubicBezTo>
                  <a:pt x="1252811" y="1372385"/>
                  <a:pt x="1258246" y="1375102"/>
                  <a:pt x="1263681" y="1380537"/>
                </a:cubicBezTo>
                <a:cubicBezTo>
                  <a:pt x="1263681" y="1350644"/>
                  <a:pt x="1263681" y="1320751"/>
                  <a:pt x="1263681" y="1293574"/>
                </a:cubicBezTo>
                <a:cubicBezTo>
                  <a:pt x="1271834" y="1282705"/>
                  <a:pt x="1277269" y="1274552"/>
                  <a:pt x="1282704" y="1263681"/>
                </a:cubicBezTo>
                <a:cubicBezTo>
                  <a:pt x="1290857" y="1263681"/>
                  <a:pt x="1296292" y="1263681"/>
                  <a:pt x="1304445" y="1263681"/>
                </a:cubicBezTo>
                <a:cubicBezTo>
                  <a:pt x="1304445" y="1263681"/>
                  <a:pt x="1304445" y="1260963"/>
                  <a:pt x="1304445" y="1260963"/>
                </a:cubicBezTo>
                <a:cubicBezTo>
                  <a:pt x="1304445" y="1260963"/>
                  <a:pt x="1307163" y="1260963"/>
                  <a:pt x="1307163" y="1260963"/>
                </a:cubicBezTo>
                <a:cubicBezTo>
                  <a:pt x="1307163" y="1260963"/>
                  <a:pt x="1307163" y="1260963"/>
                  <a:pt x="1307163" y="1263681"/>
                </a:cubicBezTo>
                <a:cubicBezTo>
                  <a:pt x="1309880" y="1263681"/>
                  <a:pt x="1309880" y="1263681"/>
                  <a:pt x="1312598" y="1263681"/>
                </a:cubicBezTo>
                <a:cubicBezTo>
                  <a:pt x="1312598" y="1260963"/>
                  <a:pt x="1312598" y="1258246"/>
                  <a:pt x="1312598" y="1255528"/>
                </a:cubicBezTo>
                <a:cubicBezTo>
                  <a:pt x="1312598" y="1250094"/>
                  <a:pt x="1312598" y="1241941"/>
                  <a:pt x="1312598" y="1236506"/>
                </a:cubicBezTo>
                <a:cubicBezTo>
                  <a:pt x="1323468" y="1228353"/>
                  <a:pt x="1337056" y="1217482"/>
                  <a:pt x="1347927" y="1206611"/>
                </a:cubicBezTo>
                <a:cubicBezTo>
                  <a:pt x="1364232" y="1206611"/>
                  <a:pt x="1383255" y="1206611"/>
                  <a:pt x="1399561" y="1203895"/>
                </a:cubicBezTo>
                <a:cubicBezTo>
                  <a:pt x="1399561" y="1209330"/>
                  <a:pt x="1399561" y="1212047"/>
                  <a:pt x="1399561" y="1217482"/>
                </a:cubicBezTo>
                <a:cubicBezTo>
                  <a:pt x="1388690" y="1220200"/>
                  <a:pt x="1375102" y="1220200"/>
                  <a:pt x="1361515" y="1220200"/>
                </a:cubicBezTo>
                <a:lnTo>
                  <a:pt x="1361515" y="1224956"/>
                </a:lnTo>
                <a:lnTo>
                  <a:pt x="1350644" y="1225635"/>
                </a:lnTo>
                <a:lnTo>
                  <a:pt x="1350644" y="1231070"/>
                </a:lnTo>
                <a:cubicBezTo>
                  <a:pt x="1366950" y="1231070"/>
                  <a:pt x="1383255" y="1228353"/>
                  <a:pt x="1399561" y="1228353"/>
                </a:cubicBezTo>
                <a:cubicBezTo>
                  <a:pt x="1399561" y="1233788"/>
                  <a:pt x="1399561" y="1239223"/>
                  <a:pt x="1399561" y="1244658"/>
                </a:cubicBezTo>
                <a:cubicBezTo>
                  <a:pt x="1399561" y="1244658"/>
                  <a:pt x="1402278" y="1244658"/>
                  <a:pt x="1402278" y="1244658"/>
                </a:cubicBezTo>
                <a:cubicBezTo>
                  <a:pt x="1402278" y="1239223"/>
                  <a:pt x="1402278" y="1231070"/>
                  <a:pt x="1404996" y="1222918"/>
                </a:cubicBezTo>
                <a:cubicBezTo>
                  <a:pt x="1399561" y="1222918"/>
                  <a:pt x="1396843" y="1222918"/>
                  <a:pt x="1394126" y="1222918"/>
                </a:cubicBezTo>
                <a:lnTo>
                  <a:pt x="1394126" y="1220200"/>
                </a:lnTo>
                <a:cubicBezTo>
                  <a:pt x="1399561" y="1220200"/>
                  <a:pt x="1402278" y="1220200"/>
                  <a:pt x="1404996" y="1220200"/>
                </a:cubicBezTo>
                <a:cubicBezTo>
                  <a:pt x="1404996" y="1214765"/>
                  <a:pt x="1404996" y="1209330"/>
                  <a:pt x="1404996" y="1203895"/>
                </a:cubicBezTo>
                <a:cubicBezTo>
                  <a:pt x="1404996" y="1203895"/>
                  <a:pt x="1402278" y="1203895"/>
                  <a:pt x="1402278" y="1203895"/>
                </a:cubicBezTo>
                <a:lnTo>
                  <a:pt x="1399561" y="1203895"/>
                </a:lnTo>
                <a:lnTo>
                  <a:pt x="1396843" y="1203895"/>
                </a:lnTo>
                <a:cubicBezTo>
                  <a:pt x="1396843" y="1201177"/>
                  <a:pt x="1396843" y="1201177"/>
                  <a:pt x="1396843" y="1201177"/>
                </a:cubicBezTo>
                <a:cubicBezTo>
                  <a:pt x="1402278" y="1201177"/>
                  <a:pt x="1404996" y="1201177"/>
                  <a:pt x="1407714" y="1201177"/>
                </a:cubicBezTo>
                <a:cubicBezTo>
                  <a:pt x="1407714" y="1198459"/>
                  <a:pt x="1407714" y="1195742"/>
                  <a:pt x="1407714" y="1193024"/>
                </a:cubicBezTo>
                <a:cubicBezTo>
                  <a:pt x="1407714" y="1190306"/>
                  <a:pt x="1407714" y="1184871"/>
                  <a:pt x="1407714" y="1182153"/>
                </a:cubicBezTo>
                <a:cubicBezTo>
                  <a:pt x="1415866" y="1171282"/>
                  <a:pt x="1426737" y="1163130"/>
                  <a:pt x="1437607" y="1152259"/>
                </a:cubicBezTo>
                <a:lnTo>
                  <a:pt x="1467420" y="1152259"/>
                </a:lnTo>
                <a:lnTo>
                  <a:pt x="1467420" y="1152266"/>
                </a:lnTo>
                <a:lnTo>
                  <a:pt x="1437607" y="1154977"/>
                </a:lnTo>
                <a:cubicBezTo>
                  <a:pt x="1437607" y="1168565"/>
                  <a:pt x="1437607" y="1184871"/>
                  <a:pt x="1437607" y="1198459"/>
                </a:cubicBezTo>
                <a:lnTo>
                  <a:pt x="1467429" y="1155081"/>
                </a:lnTo>
                <a:lnTo>
                  <a:pt x="1467501" y="1176719"/>
                </a:lnTo>
                <a:cubicBezTo>
                  <a:pt x="1467501" y="1165848"/>
                  <a:pt x="1467501" y="1165848"/>
                  <a:pt x="1467501" y="1154977"/>
                </a:cubicBezTo>
                <a:lnTo>
                  <a:pt x="1467429" y="1155081"/>
                </a:lnTo>
                <a:lnTo>
                  <a:pt x="1467420" y="1152266"/>
                </a:lnTo>
                <a:lnTo>
                  <a:pt x="1467501" y="1152259"/>
                </a:lnTo>
                <a:lnTo>
                  <a:pt x="1467420" y="1152259"/>
                </a:lnTo>
                <a:lnTo>
                  <a:pt x="1466821" y="971540"/>
                </a:lnTo>
                <a:cubicBezTo>
                  <a:pt x="1466142" y="904279"/>
                  <a:pt x="1464783" y="837019"/>
                  <a:pt x="1462066" y="766361"/>
                </a:cubicBezTo>
                <a:cubicBezTo>
                  <a:pt x="1486524" y="752773"/>
                  <a:pt x="1508265" y="739185"/>
                  <a:pt x="1532723" y="725597"/>
                </a:cubicBezTo>
                <a:cubicBezTo>
                  <a:pt x="1532723" y="725597"/>
                  <a:pt x="1532723" y="728315"/>
                  <a:pt x="1532723" y="728315"/>
                </a:cubicBezTo>
                <a:cubicBezTo>
                  <a:pt x="1557181" y="736467"/>
                  <a:pt x="1578922" y="744620"/>
                  <a:pt x="1603380" y="752773"/>
                </a:cubicBezTo>
                <a:cubicBezTo>
                  <a:pt x="1603380" y="752773"/>
                  <a:pt x="1603380" y="755491"/>
                  <a:pt x="1603380" y="755491"/>
                </a:cubicBezTo>
                <a:cubicBezTo>
                  <a:pt x="1581640" y="747338"/>
                  <a:pt x="1557181" y="739185"/>
                  <a:pt x="1535441" y="731032"/>
                </a:cubicBezTo>
                <a:cubicBezTo>
                  <a:pt x="1535441" y="731032"/>
                  <a:pt x="1535441" y="733750"/>
                  <a:pt x="1535441" y="733750"/>
                </a:cubicBezTo>
                <a:cubicBezTo>
                  <a:pt x="1557181" y="741903"/>
                  <a:pt x="1578922" y="750055"/>
                  <a:pt x="1603380" y="758208"/>
                </a:cubicBezTo>
                <a:cubicBezTo>
                  <a:pt x="1603380" y="758208"/>
                  <a:pt x="1603380" y="760926"/>
                  <a:pt x="1603380" y="760926"/>
                </a:cubicBezTo>
                <a:cubicBezTo>
                  <a:pt x="1581640" y="752773"/>
                  <a:pt x="1559899" y="744620"/>
                  <a:pt x="1535441" y="736467"/>
                </a:cubicBezTo>
                <a:cubicBezTo>
                  <a:pt x="1538158" y="741903"/>
                  <a:pt x="1538158" y="744620"/>
                  <a:pt x="1538158" y="750055"/>
                </a:cubicBezTo>
                <a:cubicBezTo>
                  <a:pt x="1559899" y="758208"/>
                  <a:pt x="1581640" y="763643"/>
                  <a:pt x="1603380" y="771796"/>
                </a:cubicBezTo>
                <a:cubicBezTo>
                  <a:pt x="1603380" y="771796"/>
                  <a:pt x="1603380" y="774515"/>
                  <a:pt x="1603380" y="774515"/>
                </a:cubicBezTo>
                <a:cubicBezTo>
                  <a:pt x="1625121" y="782667"/>
                  <a:pt x="1644144" y="788102"/>
                  <a:pt x="1665885" y="796254"/>
                </a:cubicBezTo>
                <a:cubicBezTo>
                  <a:pt x="1665885" y="798972"/>
                  <a:pt x="1665885" y="801691"/>
                  <a:pt x="1665885" y="804407"/>
                </a:cubicBezTo>
                <a:cubicBezTo>
                  <a:pt x="1644144" y="796254"/>
                  <a:pt x="1625121" y="790819"/>
                  <a:pt x="1603380" y="782667"/>
                </a:cubicBezTo>
                <a:cubicBezTo>
                  <a:pt x="1603380" y="785384"/>
                  <a:pt x="1603380" y="788102"/>
                  <a:pt x="1603380" y="790819"/>
                </a:cubicBezTo>
                <a:cubicBezTo>
                  <a:pt x="1603380" y="801691"/>
                  <a:pt x="1603380" y="809841"/>
                  <a:pt x="1603380" y="817995"/>
                </a:cubicBezTo>
                <a:cubicBezTo>
                  <a:pt x="1578922" y="809841"/>
                  <a:pt x="1554464" y="801691"/>
                  <a:pt x="1527288" y="793537"/>
                </a:cubicBezTo>
                <a:cubicBezTo>
                  <a:pt x="1527288" y="796254"/>
                  <a:pt x="1527288" y="798972"/>
                  <a:pt x="1527288" y="801691"/>
                </a:cubicBezTo>
                <a:cubicBezTo>
                  <a:pt x="1551746" y="809841"/>
                  <a:pt x="1576205" y="817995"/>
                  <a:pt x="1603380" y="826148"/>
                </a:cubicBezTo>
                <a:cubicBezTo>
                  <a:pt x="1603380" y="834301"/>
                  <a:pt x="1603380" y="839736"/>
                  <a:pt x="1603380" y="847889"/>
                </a:cubicBezTo>
                <a:cubicBezTo>
                  <a:pt x="1578922" y="839736"/>
                  <a:pt x="1554464" y="831583"/>
                  <a:pt x="1527288" y="823430"/>
                </a:cubicBezTo>
                <a:cubicBezTo>
                  <a:pt x="1527288" y="826148"/>
                  <a:pt x="1527288" y="828866"/>
                  <a:pt x="1527288" y="831583"/>
                </a:cubicBezTo>
                <a:cubicBezTo>
                  <a:pt x="1551746" y="839736"/>
                  <a:pt x="1576205" y="847889"/>
                  <a:pt x="1603380" y="856042"/>
                </a:cubicBezTo>
                <a:cubicBezTo>
                  <a:pt x="1603380" y="864194"/>
                  <a:pt x="1603380" y="869630"/>
                  <a:pt x="1603380" y="877782"/>
                </a:cubicBezTo>
                <a:cubicBezTo>
                  <a:pt x="1581640" y="872347"/>
                  <a:pt x="1557181" y="864194"/>
                  <a:pt x="1535441" y="858759"/>
                </a:cubicBezTo>
                <a:cubicBezTo>
                  <a:pt x="1538158" y="858759"/>
                  <a:pt x="1538158" y="858759"/>
                  <a:pt x="1538158" y="858759"/>
                </a:cubicBezTo>
                <a:cubicBezTo>
                  <a:pt x="1538158" y="853324"/>
                  <a:pt x="1538158" y="847889"/>
                  <a:pt x="1538158" y="842454"/>
                </a:cubicBezTo>
                <a:cubicBezTo>
                  <a:pt x="1535441" y="842454"/>
                  <a:pt x="1535441" y="842454"/>
                  <a:pt x="1532723" y="842454"/>
                </a:cubicBezTo>
                <a:cubicBezTo>
                  <a:pt x="1532723" y="847889"/>
                  <a:pt x="1532723" y="853324"/>
                  <a:pt x="1532723" y="858759"/>
                </a:cubicBezTo>
                <a:cubicBezTo>
                  <a:pt x="1530005" y="856042"/>
                  <a:pt x="1530005" y="856042"/>
                  <a:pt x="1527288" y="856042"/>
                </a:cubicBezTo>
                <a:cubicBezTo>
                  <a:pt x="1527288" y="858759"/>
                  <a:pt x="1527288" y="861477"/>
                  <a:pt x="1527288" y="864194"/>
                </a:cubicBezTo>
                <a:cubicBezTo>
                  <a:pt x="1530005" y="866912"/>
                  <a:pt x="1530005" y="866912"/>
                  <a:pt x="1532723" y="866912"/>
                </a:cubicBezTo>
                <a:cubicBezTo>
                  <a:pt x="1532723" y="866912"/>
                  <a:pt x="1532723" y="869630"/>
                  <a:pt x="1532723" y="872347"/>
                </a:cubicBezTo>
                <a:cubicBezTo>
                  <a:pt x="1535441" y="872347"/>
                  <a:pt x="1535441" y="872347"/>
                  <a:pt x="1538158" y="872347"/>
                </a:cubicBezTo>
                <a:cubicBezTo>
                  <a:pt x="1538158" y="869630"/>
                  <a:pt x="1538158" y="869630"/>
                  <a:pt x="1538158" y="866912"/>
                </a:cubicBezTo>
                <a:lnTo>
                  <a:pt x="1538159" y="866913"/>
                </a:lnTo>
                <a:lnTo>
                  <a:pt x="1538159" y="864203"/>
                </a:lnTo>
                <a:cubicBezTo>
                  <a:pt x="1540876" y="864203"/>
                  <a:pt x="1540876" y="864203"/>
                  <a:pt x="1543594" y="864203"/>
                </a:cubicBezTo>
                <a:lnTo>
                  <a:pt x="1543594" y="868531"/>
                </a:lnTo>
                <a:lnTo>
                  <a:pt x="1665885" y="904958"/>
                </a:lnTo>
                <a:lnTo>
                  <a:pt x="1666111" y="918546"/>
                </a:lnTo>
                <a:lnTo>
                  <a:pt x="1665885" y="918546"/>
                </a:lnTo>
                <a:cubicBezTo>
                  <a:pt x="1665885" y="915829"/>
                  <a:pt x="1665885" y="910393"/>
                  <a:pt x="1663168" y="907676"/>
                </a:cubicBezTo>
                <a:cubicBezTo>
                  <a:pt x="1663168" y="910393"/>
                  <a:pt x="1663168" y="915829"/>
                  <a:pt x="1663168" y="918546"/>
                </a:cubicBezTo>
                <a:cubicBezTo>
                  <a:pt x="1663168" y="918546"/>
                  <a:pt x="1665885" y="918546"/>
                  <a:pt x="1665885" y="918546"/>
                </a:cubicBezTo>
                <a:cubicBezTo>
                  <a:pt x="1665885" y="921264"/>
                  <a:pt x="1665885" y="921264"/>
                  <a:pt x="1665885" y="921264"/>
                </a:cubicBezTo>
                <a:cubicBezTo>
                  <a:pt x="1663168" y="921264"/>
                  <a:pt x="1663168" y="921264"/>
                  <a:pt x="1663168" y="921264"/>
                </a:cubicBezTo>
                <a:cubicBezTo>
                  <a:pt x="1663168" y="923981"/>
                  <a:pt x="1663168" y="923981"/>
                  <a:pt x="1663168" y="926699"/>
                </a:cubicBezTo>
                <a:cubicBezTo>
                  <a:pt x="1663168" y="926699"/>
                  <a:pt x="1663168" y="926699"/>
                  <a:pt x="1665885" y="929417"/>
                </a:cubicBezTo>
                <a:lnTo>
                  <a:pt x="1666267" y="927889"/>
                </a:lnTo>
                <a:lnTo>
                  <a:pt x="1668603" y="1068014"/>
                </a:lnTo>
                <a:cubicBezTo>
                  <a:pt x="1674038" y="1065296"/>
                  <a:pt x="1676756" y="1065296"/>
                  <a:pt x="1679473" y="1065296"/>
                </a:cubicBezTo>
                <a:cubicBezTo>
                  <a:pt x="1679473" y="1062579"/>
                  <a:pt x="1679473" y="1062579"/>
                  <a:pt x="1679473" y="1062579"/>
                </a:cubicBezTo>
                <a:cubicBezTo>
                  <a:pt x="1682191" y="1062579"/>
                  <a:pt x="1684908" y="1062579"/>
                  <a:pt x="1687626" y="1062579"/>
                </a:cubicBezTo>
                <a:cubicBezTo>
                  <a:pt x="1698496" y="1059861"/>
                  <a:pt x="1706649" y="1059861"/>
                  <a:pt x="1717519" y="1057143"/>
                </a:cubicBezTo>
                <a:cubicBezTo>
                  <a:pt x="1717519" y="1032685"/>
                  <a:pt x="1717519" y="1010944"/>
                  <a:pt x="1717519" y="989204"/>
                </a:cubicBezTo>
                <a:cubicBezTo>
                  <a:pt x="1728390" y="983768"/>
                  <a:pt x="1739260" y="978333"/>
                  <a:pt x="1752848" y="972898"/>
                </a:cubicBezTo>
                <a:cubicBezTo>
                  <a:pt x="1752848" y="877782"/>
                  <a:pt x="1752848" y="782667"/>
                  <a:pt x="1752848" y="684833"/>
                </a:cubicBezTo>
                <a:cubicBezTo>
                  <a:pt x="1761001" y="665811"/>
                  <a:pt x="1771871" y="646787"/>
                  <a:pt x="1780024" y="625046"/>
                </a:cubicBezTo>
                <a:cubicBezTo>
                  <a:pt x="1807200" y="625046"/>
                  <a:pt x="1831658" y="622329"/>
                  <a:pt x="1858834" y="622329"/>
                </a:cubicBezTo>
                <a:cubicBezTo>
                  <a:pt x="1866987" y="641352"/>
                  <a:pt x="1872422" y="660376"/>
                  <a:pt x="1880575" y="679399"/>
                </a:cubicBezTo>
                <a:cubicBezTo>
                  <a:pt x="1880575" y="766361"/>
                  <a:pt x="1880575" y="853324"/>
                  <a:pt x="1880575" y="940287"/>
                </a:cubicBezTo>
                <a:cubicBezTo>
                  <a:pt x="1864269" y="937569"/>
                  <a:pt x="1847964" y="932134"/>
                  <a:pt x="1828941" y="929417"/>
                </a:cubicBezTo>
                <a:cubicBezTo>
                  <a:pt x="1828941" y="940287"/>
                  <a:pt x="1828941" y="953875"/>
                  <a:pt x="1828941" y="964745"/>
                </a:cubicBezTo>
                <a:cubicBezTo>
                  <a:pt x="1842529" y="962028"/>
                  <a:pt x="1853399" y="962028"/>
                  <a:pt x="1866987" y="959310"/>
                </a:cubicBezTo>
                <a:cubicBezTo>
                  <a:pt x="1866987" y="959310"/>
                  <a:pt x="1866987" y="962028"/>
                  <a:pt x="1866987" y="962028"/>
                </a:cubicBezTo>
                <a:cubicBezTo>
                  <a:pt x="1853399" y="964745"/>
                  <a:pt x="1842529" y="964745"/>
                  <a:pt x="1828941" y="967463"/>
                </a:cubicBezTo>
                <a:cubicBezTo>
                  <a:pt x="1828941" y="970180"/>
                  <a:pt x="1828941" y="970180"/>
                  <a:pt x="1828941" y="970180"/>
                </a:cubicBezTo>
                <a:cubicBezTo>
                  <a:pt x="1866987" y="964745"/>
                  <a:pt x="1905033" y="959310"/>
                  <a:pt x="1943080" y="953875"/>
                </a:cubicBezTo>
                <a:cubicBezTo>
                  <a:pt x="1943080" y="953875"/>
                  <a:pt x="1940362" y="956592"/>
                  <a:pt x="1940362" y="956592"/>
                </a:cubicBezTo>
                <a:cubicBezTo>
                  <a:pt x="1902316" y="962028"/>
                  <a:pt x="1866987" y="967463"/>
                  <a:pt x="1828941" y="972898"/>
                </a:cubicBezTo>
                <a:cubicBezTo>
                  <a:pt x="1828941" y="972898"/>
                  <a:pt x="1828941" y="975616"/>
                  <a:pt x="1828941" y="975616"/>
                </a:cubicBezTo>
                <a:cubicBezTo>
                  <a:pt x="1872422" y="967463"/>
                  <a:pt x="1915904" y="962028"/>
                  <a:pt x="1959385" y="956592"/>
                </a:cubicBezTo>
                <a:lnTo>
                  <a:pt x="2073524" y="956592"/>
                </a:lnTo>
                <a:cubicBezTo>
                  <a:pt x="2073524" y="953875"/>
                  <a:pt x="2073524" y="951157"/>
                  <a:pt x="2073524" y="948440"/>
                </a:cubicBezTo>
                <a:cubicBezTo>
                  <a:pt x="2032760" y="948440"/>
                  <a:pt x="1994714" y="948440"/>
                  <a:pt x="1953950" y="948440"/>
                </a:cubicBezTo>
                <a:cubicBezTo>
                  <a:pt x="1953950" y="940287"/>
                  <a:pt x="1953950" y="934852"/>
                  <a:pt x="1953950" y="926699"/>
                </a:cubicBezTo>
                <a:cubicBezTo>
                  <a:pt x="1994714" y="926699"/>
                  <a:pt x="2032760" y="926699"/>
                  <a:pt x="2073524" y="926699"/>
                </a:cubicBezTo>
                <a:cubicBezTo>
                  <a:pt x="2073524" y="923981"/>
                  <a:pt x="2073524" y="921264"/>
                  <a:pt x="2073524" y="918546"/>
                </a:cubicBezTo>
                <a:cubicBezTo>
                  <a:pt x="2032760" y="918546"/>
                  <a:pt x="1994714" y="918546"/>
                  <a:pt x="1953950" y="918546"/>
                </a:cubicBezTo>
                <a:cubicBezTo>
                  <a:pt x="1953950" y="910393"/>
                  <a:pt x="1953950" y="904958"/>
                  <a:pt x="1953950" y="896805"/>
                </a:cubicBezTo>
                <a:cubicBezTo>
                  <a:pt x="1994714" y="896805"/>
                  <a:pt x="2032760" y="896805"/>
                  <a:pt x="2073524" y="896805"/>
                </a:cubicBezTo>
                <a:cubicBezTo>
                  <a:pt x="2073524" y="894088"/>
                  <a:pt x="2073524" y="891370"/>
                  <a:pt x="2073524" y="888653"/>
                </a:cubicBezTo>
                <a:cubicBezTo>
                  <a:pt x="2032760" y="888653"/>
                  <a:pt x="1994714" y="888653"/>
                  <a:pt x="1953950" y="888653"/>
                </a:cubicBezTo>
                <a:cubicBezTo>
                  <a:pt x="1953950" y="880500"/>
                  <a:pt x="1953950" y="875065"/>
                  <a:pt x="1953950" y="866912"/>
                </a:cubicBezTo>
                <a:cubicBezTo>
                  <a:pt x="1994714" y="866912"/>
                  <a:pt x="2035478" y="866912"/>
                  <a:pt x="2073524" y="866912"/>
                </a:cubicBezTo>
                <a:cubicBezTo>
                  <a:pt x="2073524" y="864194"/>
                  <a:pt x="2073524" y="861477"/>
                  <a:pt x="2073524" y="858759"/>
                </a:cubicBezTo>
                <a:cubicBezTo>
                  <a:pt x="2032760" y="858759"/>
                  <a:pt x="1991997" y="858759"/>
                  <a:pt x="1953950" y="858759"/>
                </a:cubicBezTo>
                <a:cubicBezTo>
                  <a:pt x="1953950" y="850606"/>
                  <a:pt x="1953950" y="845171"/>
                  <a:pt x="1953950" y="837018"/>
                </a:cubicBezTo>
                <a:cubicBezTo>
                  <a:pt x="1994714" y="837018"/>
                  <a:pt x="2035478" y="837018"/>
                  <a:pt x="2073524" y="837018"/>
                </a:cubicBezTo>
                <a:cubicBezTo>
                  <a:pt x="2073524" y="834301"/>
                  <a:pt x="2073524" y="831583"/>
                  <a:pt x="2073524" y="828866"/>
                </a:cubicBezTo>
                <a:cubicBezTo>
                  <a:pt x="2032760" y="828866"/>
                  <a:pt x="1991997" y="828866"/>
                  <a:pt x="1953950" y="828866"/>
                </a:cubicBezTo>
                <a:cubicBezTo>
                  <a:pt x="1953950" y="820713"/>
                  <a:pt x="1953950" y="812560"/>
                  <a:pt x="1953950" y="804407"/>
                </a:cubicBezTo>
                <a:cubicBezTo>
                  <a:pt x="1994714" y="804407"/>
                  <a:pt x="2035478" y="804407"/>
                  <a:pt x="2073524" y="804407"/>
                </a:cubicBezTo>
                <a:cubicBezTo>
                  <a:pt x="2073524" y="801691"/>
                  <a:pt x="2073524" y="798972"/>
                  <a:pt x="2073524" y="796254"/>
                </a:cubicBezTo>
                <a:cubicBezTo>
                  <a:pt x="2032760" y="796254"/>
                  <a:pt x="1991997" y="796254"/>
                  <a:pt x="1953950" y="796254"/>
                </a:cubicBezTo>
                <a:cubicBezTo>
                  <a:pt x="1953950" y="788102"/>
                  <a:pt x="1953950" y="782667"/>
                  <a:pt x="1953950" y="774515"/>
                </a:cubicBezTo>
                <a:cubicBezTo>
                  <a:pt x="1994714" y="774515"/>
                  <a:pt x="2035478" y="774515"/>
                  <a:pt x="2073524" y="774515"/>
                </a:cubicBezTo>
                <a:cubicBezTo>
                  <a:pt x="2073524" y="771796"/>
                  <a:pt x="2073524" y="769079"/>
                  <a:pt x="2073524" y="766361"/>
                </a:cubicBezTo>
                <a:cubicBezTo>
                  <a:pt x="2032760" y="766361"/>
                  <a:pt x="1991997" y="766361"/>
                  <a:pt x="1953950" y="766361"/>
                </a:cubicBezTo>
                <a:cubicBezTo>
                  <a:pt x="1953950" y="758208"/>
                  <a:pt x="1953950" y="752773"/>
                  <a:pt x="1953950" y="744620"/>
                </a:cubicBezTo>
                <a:cubicBezTo>
                  <a:pt x="1994714" y="744620"/>
                  <a:pt x="2035478" y="744620"/>
                  <a:pt x="2073524" y="744620"/>
                </a:cubicBezTo>
                <a:cubicBezTo>
                  <a:pt x="2073524" y="741903"/>
                  <a:pt x="2073524" y="739185"/>
                  <a:pt x="2073524" y="736467"/>
                </a:cubicBezTo>
                <a:cubicBezTo>
                  <a:pt x="2032760" y="736467"/>
                  <a:pt x="1994714" y="736467"/>
                  <a:pt x="1953950" y="736467"/>
                </a:cubicBezTo>
                <a:cubicBezTo>
                  <a:pt x="1953950" y="728315"/>
                  <a:pt x="1953950" y="722879"/>
                  <a:pt x="1953950" y="714727"/>
                </a:cubicBezTo>
                <a:cubicBezTo>
                  <a:pt x="1991997" y="714727"/>
                  <a:pt x="2032760" y="714727"/>
                  <a:pt x="2070807" y="714727"/>
                </a:cubicBezTo>
                <a:cubicBezTo>
                  <a:pt x="2070807" y="712009"/>
                  <a:pt x="2070807" y="709292"/>
                  <a:pt x="2070807" y="706574"/>
                </a:cubicBezTo>
                <a:cubicBezTo>
                  <a:pt x="2032760" y="706574"/>
                  <a:pt x="1991997" y="706574"/>
                  <a:pt x="1953950" y="706574"/>
                </a:cubicBezTo>
                <a:cubicBezTo>
                  <a:pt x="1953950" y="698421"/>
                  <a:pt x="1953950" y="692986"/>
                  <a:pt x="1953950" y="684833"/>
                </a:cubicBezTo>
                <a:cubicBezTo>
                  <a:pt x="1991997" y="684833"/>
                  <a:pt x="2032760" y="684833"/>
                  <a:pt x="2070807" y="684833"/>
                </a:cubicBezTo>
                <a:cubicBezTo>
                  <a:pt x="2070807" y="682117"/>
                  <a:pt x="2070807" y="679399"/>
                  <a:pt x="2070807" y="676680"/>
                </a:cubicBezTo>
                <a:cubicBezTo>
                  <a:pt x="2032760" y="676680"/>
                  <a:pt x="1991997" y="676680"/>
                  <a:pt x="1953950" y="676680"/>
                </a:cubicBezTo>
                <a:cubicBezTo>
                  <a:pt x="1953950" y="668528"/>
                  <a:pt x="1953950" y="663092"/>
                  <a:pt x="1953950" y="654940"/>
                </a:cubicBezTo>
                <a:cubicBezTo>
                  <a:pt x="1991997" y="654940"/>
                  <a:pt x="2032760" y="654940"/>
                  <a:pt x="2070807" y="654940"/>
                </a:cubicBezTo>
                <a:cubicBezTo>
                  <a:pt x="2070807" y="652223"/>
                  <a:pt x="2070807" y="649505"/>
                  <a:pt x="2070807" y="646787"/>
                </a:cubicBezTo>
                <a:cubicBezTo>
                  <a:pt x="2032760" y="646787"/>
                  <a:pt x="1991997" y="646787"/>
                  <a:pt x="1953950" y="646787"/>
                </a:cubicBezTo>
                <a:cubicBezTo>
                  <a:pt x="1953950" y="625046"/>
                  <a:pt x="1953950" y="603305"/>
                  <a:pt x="1953950" y="581566"/>
                </a:cubicBezTo>
                <a:cubicBezTo>
                  <a:pt x="1991997" y="581566"/>
                  <a:pt x="2032760" y="581566"/>
                  <a:pt x="2070807" y="581566"/>
                </a:cubicBezTo>
                <a:cubicBezTo>
                  <a:pt x="2070807" y="567977"/>
                  <a:pt x="2070807" y="551671"/>
                  <a:pt x="2070807" y="538083"/>
                </a:cubicBezTo>
                <a:cubicBezTo>
                  <a:pt x="2032760" y="538083"/>
                  <a:pt x="1991997" y="538083"/>
                  <a:pt x="1953950" y="538083"/>
                </a:cubicBezTo>
                <a:cubicBezTo>
                  <a:pt x="1953950" y="532648"/>
                  <a:pt x="1953950" y="527213"/>
                  <a:pt x="1953950" y="521779"/>
                </a:cubicBezTo>
                <a:cubicBezTo>
                  <a:pt x="1991997" y="521779"/>
                  <a:pt x="2032760" y="521779"/>
                  <a:pt x="2070807" y="521779"/>
                </a:cubicBezTo>
                <a:cubicBezTo>
                  <a:pt x="2070807" y="510907"/>
                  <a:pt x="2070807" y="500037"/>
                  <a:pt x="2070807" y="489166"/>
                </a:cubicBezTo>
                <a:cubicBezTo>
                  <a:pt x="2032760" y="489166"/>
                  <a:pt x="1991997" y="489166"/>
                  <a:pt x="1953950" y="489166"/>
                </a:cubicBezTo>
                <a:cubicBezTo>
                  <a:pt x="1953950" y="489166"/>
                  <a:pt x="1953950" y="489166"/>
                  <a:pt x="1953950" y="486449"/>
                </a:cubicBezTo>
                <a:cubicBezTo>
                  <a:pt x="1997432" y="486449"/>
                  <a:pt x="2040913" y="486449"/>
                  <a:pt x="2081677" y="486449"/>
                </a:cubicBezTo>
                <a:cubicBezTo>
                  <a:pt x="2081677" y="486449"/>
                  <a:pt x="2081677" y="489166"/>
                  <a:pt x="2081677" y="489166"/>
                </a:cubicBezTo>
                <a:cubicBezTo>
                  <a:pt x="2081677" y="500037"/>
                  <a:pt x="2081677" y="510907"/>
                  <a:pt x="2081677" y="521779"/>
                </a:cubicBezTo>
                <a:cubicBezTo>
                  <a:pt x="2081677" y="527213"/>
                  <a:pt x="2081677" y="532648"/>
                  <a:pt x="2081677" y="538083"/>
                </a:cubicBezTo>
                <a:cubicBezTo>
                  <a:pt x="2081677" y="551671"/>
                  <a:pt x="2081677" y="567977"/>
                  <a:pt x="2081677" y="581566"/>
                </a:cubicBezTo>
                <a:cubicBezTo>
                  <a:pt x="2081677" y="603305"/>
                  <a:pt x="2081677" y="625046"/>
                  <a:pt x="2081677" y="646787"/>
                </a:cubicBezTo>
                <a:cubicBezTo>
                  <a:pt x="2081677" y="649505"/>
                  <a:pt x="2081677" y="652223"/>
                  <a:pt x="2081677" y="654940"/>
                </a:cubicBezTo>
                <a:cubicBezTo>
                  <a:pt x="2081677" y="663092"/>
                  <a:pt x="2081677" y="668528"/>
                  <a:pt x="2081677" y="676680"/>
                </a:cubicBezTo>
                <a:cubicBezTo>
                  <a:pt x="2081677" y="679399"/>
                  <a:pt x="2081677" y="682117"/>
                  <a:pt x="2081677" y="684833"/>
                </a:cubicBezTo>
                <a:cubicBezTo>
                  <a:pt x="2081677" y="692986"/>
                  <a:pt x="2081677" y="698421"/>
                  <a:pt x="2081677" y="706574"/>
                </a:cubicBezTo>
                <a:cubicBezTo>
                  <a:pt x="2081677" y="709292"/>
                  <a:pt x="2081677" y="712009"/>
                  <a:pt x="2081677" y="714727"/>
                </a:cubicBezTo>
                <a:cubicBezTo>
                  <a:pt x="2081677" y="722879"/>
                  <a:pt x="2081677" y="728315"/>
                  <a:pt x="2081677" y="736467"/>
                </a:cubicBezTo>
                <a:cubicBezTo>
                  <a:pt x="2081677" y="739185"/>
                  <a:pt x="2081677" y="741903"/>
                  <a:pt x="2081677" y="744620"/>
                </a:cubicBezTo>
                <a:cubicBezTo>
                  <a:pt x="2081677" y="752773"/>
                  <a:pt x="2081677" y="758208"/>
                  <a:pt x="2081677" y="766361"/>
                </a:cubicBezTo>
                <a:cubicBezTo>
                  <a:pt x="2081677" y="769079"/>
                  <a:pt x="2081677" y="771796"/>
                  <a:pt x="2081677" y="774515"/>
                </a:cubicBezTo>
                <a:cubicBezTo>
                  <a:pt x="2081677" y="782667"/>
                  <a:pt x="2081677" y="788102"/>
                  <a:pt x="2081677" y="796254"/>
                </a:cubicBezTo>
                <a:cubicBezTo>
                  <a:pt x="2081677" y="798972"/>
                  <a:pt x="2081677" y="801691"/>
                  <a:pt x="2081677" y="804407"/>
                </a:cubicBezTo>
                <a:cubicBezTo>
                  <a:pt x="2081677" y="812560"/>
                  <a:pt x="2081677" y="820713"/>
                  <a:pt x="2081677" y="828866"/>
                </a:cubicBezTo>
                <a:cubicBezTo>
                  <a:pt x="2081677" y="831583"/>
                  <a:pt x="2081677" y="834301"/>
                  <a:pt x="2081677" y="837018"/>
                </a:cubicBezTo>
                <a:cubicBezTo>
                  <a:pt x="2081677" y="845171"/>
                  <a:pt x="2081677" y="850606"/>
                  <a:pt x="2081677" y="858759"/>
                </a:cubicBezTo>
                <a:cubicBezTo>
                  <a:pt x="2081677" y="861477"/>
                  <a:pt x="2081677" y="864194"/>
                  <a:pt x="2081677" y="866912"/>
                </a:cubicBezTo>
                <a:cubicBezTo>
                  <a:pt x="2081677" y="875065"/>
                  <a:pt x="2081677" y="880500"/>
                  <a:pt x="2081677" y="888653"/>
                </a:cubicBezTo>
                <a:cubicBezTo>
                  <a:pt x="2081677" y="891370"/>
                  <a:pt x="2081677" y="894088"/>
                  <a:pt x="2081677" y="896805"/>
                </a:cubicBezTo>
                <a:cubicBezTo>
                  <a:pt x="2081677" y="904958"/>
                  <a:pt x="2081677" y="910393"/>
                  <a:pt x="2081677" y="918546"/>
                </a:cubicBezTo>
                <a:cubicBezTo>
                  <a:pt x="2081677" y="921264"/>
                  <a:pt x="2081677" y="923981"/>
                  <a:pt x="2081677" y="926699"/>
                </a:cubicBezTo>
                <a:cubicBezTo>
                  <a:pt x="2081677" y="934852"/>
                  <a:pt x="2081677" y="940287"/>
                  <a:pt x="2081677" y="948440"/>
                </a:cubicBezTo>
                <a:cubicBezTo>
                  <a:pt x="2081677" y="951157"/>
                  <a:pt x="2081677" y="953875"/>
                  <a:pt x="2081677" y="956592"/>
                </a:cubicBezTo>
                <a:cubicBezTo>
                  <a:pt x="2081677" y="964745"/>
                  <a:pt x="2081677" y="970180"/>
                  <a:pt x="2081677" y="978333"/>
                </a:cubicBezTo>
                <a:cubicBezTo>
                  <a:pt x="2081677" y="978333"/>
                  <a:pt x="2081677" y="981051"/>
                  <a:pt x="2081677" y="983768"/>
                </a:cubicBezTo>
                <a:cubicBezTo>
                  <a:pt x="2076242" y="983768"/>
                  <a:pt x="2073524" y="981051"/>
                  <a:pt x="2070807" y="981051"/>
                </a:cubicBezTo>
                <a:cubicBezTo>
                  <a:pt x="2070807" y="981051"/>
                  <a:pt x="2070807" y="978333"/>
                  <a:pt x="2070807" y="978333"/>
                </a:cubicBezTo>
                <a:cubicBezTo>
                  <a:pt x="2062654" y="978333"/>
                  <a:pt x="2054501" y="978333"/>
                  <a:pt x="2049066" y="978333"/>
                </a:cubicBezTo>
                <a:cubicBezTo>
                  <a:pt x="2019172" y="972898"/>
                  <a:pt x="1989279" y="964745"/>
                  <a:pt x="1959385" y="959310"/>
                </a:cubicBezTo>
                <a:cubicBezTo>
                  <a:pt x="1953950" y="983768"/>
                  <a:pt x="1951233" y="1005509"/>
                  <a:pt x="1948515" y="1029968"/>
                </a:cubicBezTo>
                <a:cubicBezTo>
                  <a:pt x="1991997" y="1038120"/>
                  <a:pt x="2035478" y="1048991"/>
                  <a:pt x="2078960" y="1057143"/>
                </a:cubicBezTo>
                <a:cubicBezTo>
                  <a:pt x="2097983" y="1038120"/>
                  <a:pt x="2117006" y="1019097"/>
                  <a:pt x="2136029" y="997356"/>
                </a:cubicBezTo>
                <a:cubicBezTo>
                  <a:pt x="2119723" y="994639"/>
                  <a:pt x="2106135" y="989204"/>
                  <a:pt x="2089830" y="986486"/>
                </a:cubicBezTo>
                <a:cubicBezTo>
                  <a:pt x="2125159" y="986486"/>
                  <a:pt x="2160487" y="986486"/>
                  <a:pt x="2198534" y="986486"/>
                </a:cubicBezTo>
                <a:cubicBezTo>
                  <a:pt x="2198534" y="983768"/>
                  <a:pt x="2198534" y="981051"/>
                  <a:pt x="2198534" y="978333"/>
                </a:cubicBezTo>
                <a:cubicBezTo>
                  <a:pt x="2163205" y="978333"/>
                  <a:pt x="2125159" y="978333"/>
                  <a:pt x="2089830" y="978333"/>
                </a:cubicBezTo>
                <a:cubicBezTo>
                  <a:pt x="2089830" y="970180"/>
                  <a:pt x="2089830" y="964745"/>
                  <a:pt x="2089830" y="956592"/>
                </a:cubicBezTo>
                <a:cubicBezTo>
                  <a:pt x="2125159" y="956592"/>
                  <a:pt x="2160487" y="956592"/>
                  <a:pt x="2198534" y="956592"/>
                </a:cubicBezTo>
                <a:cubicBezTo>
                  <a:pt x="2198534" y="953875"/>
                  <a:pt x="2198534" y="951157"/>
                  <a:pt x="2198534" y="948440"/>
                </a:cubicBezTo>
                <a:cubicBezTo>
                  <a:pt x="2163205" y="948440"/>
                  <a:pt x="2125159" y="948440"/>
                  <a:pt x="2089830" y="948440"/>
                </a:cubicBezTo>
                <a:cubicBezTo>
                  <a:pt x="2089830" y="940287"/>
                  <a:pt x="2089830" y="934852"/>
                  <a:pt x="2089830" y="926699"/>
                </a:cubicBezTo>
                <a:cubicBezTo>
                  <a:pt x="2125159" y="926699"/>
                  <a:pt x="2160487" y="926699"/>
                  <a:pt x="2198534" y="926699"/>
                </a:cubicBezTo>
                <a:cubicBezTo>
                  <a:pt x="2198534" y="923981"/>
                  <a:pt x="2198534" y="921264"/>
                  <a:pt x="2198534" y="918546"/>
                </a:cubicBezTo>
                <a:cubicBezTo>
                  <a:pt x="2163205" y="918546"/>
                  <a:pt x="2125159" y="918546"/>
                  <a:pt x="2089830" y="918546"/>
                </a:cubicBezTo>
                <a:cubicBezTo>
                  <a:pt x="2089830" y="910393"/>
                  <a:pt x="2089830" y="904958"/>
                  <a:pt x="2089830" y="896805"/>
                </a:cubicBezTo>
                <a:cubicBezTo>
                  <a:pt x="2125159" y="896805"/>
                  <a:pt x="2160487" y="896805"/>
                  <a:pt x="2198534" y="896805"/>
                </a:cubicBezTo>
                <a:cubicBezTo>
                  <a:pt x="2198534" y="894088"/>
                  <a:pt x="2198534" y="891370"/>
                  <a:pt x="2198534" y="888653"/>
                </a:cubicBezTo>
                <a:cubicBezTo>
                  <a:pt x="2163205" y="888653"/>
                  <a:pt x="2125159" y="888653"/>
                  <a:pt x="2089830" y="888653"/>
                </a:cubicBezTo>
                <a:cubicBezTo>
                  <a:pt x="2089830" y="880500"/>
                  <a:pt x="2089830" y="875065"/>
                  <a:pt x="2089830" y="866912"/>
                </a:cubicBezTo>
                <a:cubicBezTo>
                  <a:pt x="2125159" y="866912"/>
                  <a:pt x="2160487" y="866912"/>
                  <a:pt x="2198534" y="866912"/>
                </a:cubicBezTo>
                <a:cubicBezTo>
                  <a:pt x="2198534" y="864194"/>
                  <a:pt x="2198534" y="861477"/>
                  <a:pt x="2198534" y="858759"/>
                </a:cubicBezTo>
                <a:cubicBezTo>
                  <a:pt x="2163205" y="858759"/>
                  <a:pt x="2125159" y="858759"/>
                  <a:pt x="2089830" y="858759"/>
                </a:cubicBezTo>
                <a:cubicBezTo>
                  <a:pt x="2089830" y="850606"/>
                  <a:pt x="2089830" y="845171"/>
                  <a:pt x="2089830" y="837018"/>
                </a:cubicBezTo>
                <a:cubicBezTo>
                  <a:pt x="2125159" y="837018"/>
                  <a:pt x="2160487" y="837018"/>
                  <a:pt x="2198534" y="837018"/>
                </a:cubicBezTo>
                <a:cubicBezTo>
                  <a:pt x="2198534" y="834301"/>
                  <a:pt x="2198534" y="831583"/>
                  <a:pt x="2198534" y="828866"/>
                </a:cubicBezTo>
                <a:cubicBezTo>
                  <a:pt x="2163205" y="828866"/>
                  <a:pt x="2125159" y="828866"/>
                  <a:pt x="2089830" y="828866"/>
                </a:cubicBezTo>
                <a:cubicBezTo>
                  <a:pt x="2089830" y="820713"/>
                  <a:pt x="2089830" y="812560"/>
                  <a:pt x="2089830" y="804407"/>
                </a:cubicBezTo>
                <a:cubicBezTo>
                  <a:pt x="2125159" y="804407"/>
                  <a:pt x="2160487" y="804407"/>
                  <a:pt x="2198534" y="804407"/>
                </a:cubicBezTo>
                <a:cubicBezTo>
                  <a:pt x="2198534" y="801691"/>
                  <a:pt x="2198534" y="798972"/>
                  <a:pt x="2198534" y="796254"/>
                </a:cubicBezTo>
                <a:cubicBezTo>
                  <a:pt x="2163205" y="796254"/>
                  <a:pt x="2125159" y="796254"/>
                  <a:pt x="2089830" y="796254"/>
                </a:cubicBezTo>
                <a:cubicBezTo>
                  <a:pt x="2089830" y="788102"/>
                  <a:pt x="2089830" y="782667"/>
                  <a:pt x="2089830" y="774515"/>
                </a:cubicBezTo>
                <a:cubicBezTo>
                  <a:pt x="2125159" y="774515"/>
                  <a:pt x="2160487" y="774515"/>
                  <a:pt x="2198534" y="774515"/>
                </a:cubicBezTo>
                <a:cubicBezTo>
                  <a:pt x="2198534" y="771796"/>
                  <a:pt x="2198534" y="769079"/>
                  <a:pt x="2198534" y="766361"/>
                </a:cubicBezTo>
                <a:cubicBezTo>
                  <a:pt x="2163205" y="766361"/>
                  <a:pt x="2127876" y="766361"/>
                  <a:pt x="2089830" y="766361"/>
                </a:cubicBezTo>
                <a:cubicBezTo>
                  <a:pt x="2089830" y="758208"/>
                  <a:pt x="2089830" y="752773"/>
                  <a:pt x="2089830" y="744620"/>
                </a:cubicBezTo>
                <a:cubicBezTo>
                  <a:pt x="2125159" y="744620"/>
                  <a:pt x="2160487" y="744620"/>
                  <a:pt x="2198534" y="744620"/>
                </a:cubicBezTo>
                <a:cubicBezTo>
                  <a:pt x="2198534" y="741903"/>
                  <a:pt x="2198534" y="739185"/>
                  <a:pt x="2198534" y="736467"/>
                </a:cubicBezTo>
                <a:cubicBezTo>
                  <a:pt x="2163205" y="736467"/>
                  <a:pt x="2127876" y="736467"/>
                  <a:pt x="2089830" y="736467"/>
                </a:cubicBezTo>
                <a:cubicBezTo>
                  <a:pt x="2089830" y="728315"/>
                  <a:pt x="2089830" y="722879"/>
                  <a:pt x="2089830" y="714727"/>
                </a:cubicBezTo>
                <a:cubicBezTo>
                  <a:pt x="2125159" y="714727"/>
                  <a:pt x="2160487" y="714727"/>
                  <a:pt x="2198534" y="714727"/>
                </a:cubicBezTo>
                <a:cubicBezTo>
                  <a:pt x="2198534" y="712009"/>
                  <a:pt x="2198534" y="709292"/>
                  <a:pt x="2198534" y="706574"/>
                </a:cubicBezTo>
                <a:cubicBezTo>
                  <a:pt x="2163205" y="706574"/>
                  <a:pt x="2127876" y="706574"/>
                  <a:pt x="2089830" y="706574"/>
                </a:cubicBezTo>
                <a:cubicBezTo>
                  <a:pt x="2089830" y="698421"/>
                  <a:pt x="2089830" y="692986"/>
                  <a:pt x="2089830" y="684833"/>
                </a:cubicBezTo>
                <a:cubicBezTo>
                  <a:pt x="2125159" y="684833"/>
                  <a:pt x="2160487" y="684833"/>
                  <a:pt x="2198534" y="684833"/>
                </a:cubicBezTo>
                <a:cubicBezTo>
                  <a:pt x="2198534" y="682117"/>
                  <a:pt x="2198534" y="679399"/>
                  <a:pt x="2198534" y="676680"/>
                </a:cubicBezTo>
                <a:cubicBezTo>
                  <a:pt x="2163205" y="676680"/>
                  <a:pt x="2127876" y="676680"/>
                  <a:pt x="2089830" y="676680"/>
                </a:cubicBezTo>
                <a:cubicBezTo>
                  <a:pt x="2089830" y="668528"/>
                  <a:pt x="2089830" y="663092"/>
                  <a:pt x="2089830" y="654940"/>
                </a:cubicBezTo>
                <a:cubicBezTo>
                  <a:pt x="2125159" y="654940"/>
                  <a:pt x="2160487" y="654940"/>
                  <a:pt x="2198534" y="654940"/>
                </a:cubicBezTo>
                <a:cubicBezTo>
                  <a:pt x="2198534" y="652223"/>
                  <a:pt x="2198534" y="649505"/>
                  <a:pt x="2198534" y="646787"/>
                </a:cubicBezTo>
                <a:cubicBezTo>
                  <a:pt x="2163205" y="646787"/>
                  <a:pt x="2127876" y="646787"/>
                  <a:pt x="2089830" y="646787"/>
                </a:cubicBezTo>
                <a:cubicBezTo>
                  <a:pt x="2089830" y="625046"/>
                  <a:pt x="2089830" y="603305"/>
                  <a:pt x="2089830" y="581566"/>
                </a:cubicBezTo>
                <a:cubicBezTo>
                  <a:pt x="2125159" y="581566"/>
                  <a:pt x="2160487" y="581566"/>
                  <a:pt x="2198534" y="581566"/>
                </a:cubicBezTo>
                <a:cubicBezTo>
                  <a:pt x="2198534" y="578848"/>
                  <a:pt x="2198534" y="573413"/>
                  <a:pt x="2198534" y="570694"/>
                </a:cubicBezTo>
                <a:cubicBezTo>
                  <a:pt x="2201251" y="570694"/>
                  <a:pt x="2201251" y="570694"/>
                  <a:pt x="2203969" y="570694"/>
                </a:cubicBezTo>
                <a:lnTo>
                  <a:pt x="2203969" y="1010944"/>
                </a:lnTo>
                <a:cubicBezTo>
                  <a:pt x="2182228" y="1010944"/>
                  <a:pt x="2163205" y="1010944"/>
                  <a:pt x="2141464" y="1010944"/>
                </a:cubicBezTo>
                <a:cubicBezTo>
                  <a:pt x="2141464" y="1013662"/>
                  <a:pt x="2141464" y="1013662"/>
                  <a:pt x="2141464" y="1013662"/>
                </a:cubicBezTo>
                <a:cubicBezTo>
                  <a:pt x="2163205" y="1013662"/>
                  <a:pt x="2182228" y="1013662"/>
                  <a:pt x="2203969" y="1013662"/>
                </a:cubicBezTo>
                <a:lnTo>
                  <a:pt x="2203969" y="1040838"/>
                </a:lnTo>
                <a:cubicBezTo>
                  <a:pt x="2182228" y="1040838"/>
                  <a:pt x="2163205" y="1040838"/>
                  <a:pt x="2141464" y="1040838"/>
                </a:cubicBezTo>
                <a:cubicBezTo>
                  <a:pt x="2163205" y="1043555"/>
                  <a:pt x="2184946" y="1043555"/>
                  <a:pt x="2203969" y="1043555"/>
                </a:cubicBezTo>
                <a:lnTo>
                  <a:pt x="2203969" y="1062579"/>
                </a:lnTo>
                <a:cubicBezTo>
                  <a:pt x="2203969" y="1062579"/>
                  <a:pt x="2206686" y="1065296"/>
                  <a:pt x="2209404" y="1065296"/>
                </a:cubicBezTo>
                <a:cubicBezTo>
                  <a:pt x="2209404" y="1062579"/>
                  <a:pt x="2209404" y="1062579"/>
                  <a:pt x="2209404" y="1059861"/>
                </a:cubicBezTo>
                <a:cubicBezTo>
                  <a:pt x="2209404" y="1059861"/>
                  <a:pt x="2212122" y="1059861"/>
                  <a:pt x="2212122" y="1059861"/>
                </a:cubicBezTo>
                <a:cubicBezTo>
                  <a:pt x="2212122" y="1062579"/>
                  <a:pt x="2212122" y="1062579"/>
                  <a:pt x="2212122" y="1065296"/>
                </a:cubicBezTo>
                <a:cubicBezTo>
                  <a:pt x="2212122" y="1065296"/>
                  <a:pt x="2214839" y="1065296"/>
                  <a:pt x="2214839" y="1065296"/>
                </a:cubicBezTo>
                <a:lnTo>
                  <a:pt x="2214840" y="1065300"/>
                </a:lnTo>
                <a:lnTo>
                  <a:pt x="2214840" y="1043568"/>
                </a:lnTo>
                <a:cubicBezTo>
                  <a:pt x="2214840" y="1032696"/>
                  <a:pt x="2214840" y="1024543"/>
                  <a:pt x="2217557" y="1016392"/>
                </a:cubicBezTo>
                <a:cubicBezTo>
                  <a:pt x="2217557" y="1021826"/>
                  <a:pt x="2217557" y="1032696"/>
                  <a:pt x="2217557" y="1043568"/>
                </a:cubicBezTo>
                <a:lnTo>
                  <a:pt x="2215273" y="1066413"/>
                </a:lnTo>
                <a:lnTo>
                  <a:pt x="2218618" y="1075020"/>
                </a:lnTo>
                <a:cubicBezTo>
                  <a:pt x="2225370" y="1082791"/>
                  <a:pt x="2238618" y="1086357"/>
                  <a:pt x="2236580" y="1100625"/>
                </a:cubicBezTo>
                <a:cubicBezTo>
                  <a:pt x="2239298" y="1100625"/>
                  <a:pt x="2242015" y="1097906"/>
                  <a:pt x="2242015" y="1095190"/>
                </a:cubicBezTo>
                <a:cubicBezTo>
                  <a:pt x="2233862" y="1116931"/>
                  <a:pt x="2228427" y="1138671"/>
                  <a:pt x="2220274" y="1160412"/>
                </a:cubicBezTo>
                <a:cubicBezTo>
                  <a:pt x="2222992" y="1163130"/>
                  <a:pt x="2225710" y="1163130"/>
                  <a:pt x="2228427" y="1163130"/>
                </a:cubicBezTo>
                <a:cubicBezTo>
                  <a:pt x="2252886" y="1195742"/>
                  <a:pt x="2274626" y="1231070"/>
                  <a:pt x="2296367" y="1266399"/>
                </a:cubicBezTo>
                <a:cubicBezTo>
                  <a:pt x="2296367" y="1157694"/>
                  <a:pt x="2296367" y="1048991"/>
                  <a:pt x="2296367" y="940287"/>
                </a:cubicBezTo>
                <a:lnTo>
                  <a:pt x="2301804" y="938012"/>
                </a:lnTo>
                <a:lnTo>
                  <a:pt x="2301804" y="932147"/>
                </a:lnTo>
                <a:lnTo>
                  <a:pt x="2418660" y="883232"/>
                </a:lnTo>
                <a:lnTo>
                  <a:pt x="2418660" y="880514"/>
                </a:lnTo>
                <a:lnTo>
                  <a:pt x="2301804" y="929429"/>
                </a:lnTo>
                <a:cubicBezTo>
                  <a:pt x="2301804" y="923994"/>
                  <a:pt x="2301804" y="915841"/>
                  <a:pt x="2301804" y="910407"/>
                </a:cubicBezTo>
                <a:lnTo>
                  <a:pt x="2418660" y="858771"/>
                </a:lnTo>
                <a:lnTo>
                  <a:pt x="2418660" y="856053"/>
                </a:lnTo>
                <a:lnTo>
                  <a:pt x="2301804" y="907689"/>
                </a:lnTo>
                <a:cubicBezTo>
                  <a:pt x="2301804" y="899537"/>
                  <a:pt x="2301804" y="894102"/>
                  <a:pt x="2301804" y="885948"/>
                </a:cubicBezTo>
                <a:lnTo>
                  <a:pt x="2418660" y="834312"/>
                </a:lnTo>
                <a:lnTo>
                  <a:pt x="2418660" y="831595"/>
                </a:lnTo>
                <a:lnTo>
                  <a:pt x="2301804" y="883233"/>
                </a:lnTo>
                <a:cubicBezTo>
                  <a:pt x="2301804" y="877796"/>
                  <a:pt x="2301804" y="869642"/>
                  <a:pt x="2301804" y="864207"/>
                </a:cubicBezTo>
                <a:cubicBezTo>
                  <a:pt x="2301804" y="856054"/>
                  <a:pt x="2301804" y="850619"/>
                  <a:pt x="2301804" y="845184"/>
                </a:cubicBezTo>
                <a:lnTo>
                  <a:pt x="2418660" y="790832"/>
                </a:lnTo>
                <a:lnTo>
                  <a:pt x="2418660" y="788113"/>
                </a:lnTo>
                <a:lnTo>
                  <a:pt x="2301804" y="842465"/>
                </a:lnTo>
                <a:cubicBezTo>
                  <a:pt x="2301804" y="834312"/>
                  <a:pt x="2301804" y="828875"/>
                  <a:pt x="2301804" y="820725"/>
                </a:cubicBezTo>
                <a:lnTo>
                  <a:pt x="2418660" y="766373"/>
                </a:lnTo>
                <a:lnTo>
                  <a:pt x="2418660" y="760937"/>
                </a:lnTo>
                <a:lnTo>
                  <a:pt x="2301804" y="815288"/>
                </a:lnTo>
                <a:cubicBezTo>
                  <a:pt x="2301804" y="809853"/>
                  <a:pt x="2301804" y="804416"/>
                  <a:pt x="2301804" y="798980"/>
                </a:cubicBezTo>
                <a:lnTo>
                  <a:pt x="2418660" y="744633"/>
                </a:lnTo>
                <a:lnTo>
                  <a:pt x="2418660" y="739197"/>
                </a:lnTo>
                <a:lnTo>
                  <a:pt x="2301804" y="793548"/>
                </a:lnTo>
                <a:cubicBezTo>
                  <a:pt x="2301804" y="788115"/>
                  <a:pt x="2301804" y="782679"/>
                  <a:pt x="2301804" y="777246"/>
                </a:cubicBezTo>
                <a:lnTo>
                  <a:pt x="2418660" y="722892"/>
                </a:lnTo>
                <a:lnTo>
                  <a:pt x="2418660" y="717457"/>
                </a:lnTo>
                <a:lnTo>
                  <a:pt x="2301804" y="774527"/>
                </a:lnTo>
                <a:cubicBezTo>
                  <a:pt x="2301804" y="769091"/>
                  <a:pt x="2301804" y="766373"/>
                  <a:pt x="2301804" y="760938"/>
                </a:cubicBezTo>
                <a:lnTo>
                  <a:pt x="2418660" y="703871"/>
                </a:lnTo>
                <a:lnTo>
                  <a:pt x="2418660" y="698434"/>
                </a:lnTo>
                <a:lnTo>
                  <a:pt x="2301804" y="755503"/>
                </a:lnTo>
                <a:cubicBezTo>
                  <a:pt x="2301804" y="747351"/>
                  <a:pt x="2301804" y="739197"/>
                  <a:pt x="2301804" y="731045"/>
                </a:cubicBezTo>
                <a:lnTo>
                  <a:pt x="2418660" y="673977"/>
                </a:lnTo>
                <a:lnTo>
                  <a:pt x="2418660" y="663105"/>
                </a:lnTo>
                <a:lnTo>
                  <a:pt x="2301804" y="720173"/>
                </a:lnTo>
                <a:cubicBezTo>
                  <a:pt x="2301804" y="717456"/>
                  <a:pt x="2301804" y="717456"/>
                  <a:pt x="2301804" y="714738"/>
                </a:cubicBezTo>
                <a:lnTo>
                  <a:pt x="2418660" y="657671"/>
                </a:lnTo>
                <a:lnTo>
                  <a:pt x="2418660" y="649519"/>
                </a:lnTo>
                <a:lnTo>
                  <a:pt x="2418660" y="641352"/>
                </a:lnTo>
                <a:cubicBezTo>
                  <a:pt x="2415942" y="641352"/>
                  <a:pt x="2413225" y="641352"/>
                  <a:pt x="2413225" y="641352"/>
                </a:cubicBezTo>
                <a:cubicBezTo>
                  <a:pt x="2413225" y="635916"/>
                  <a:pt x="2413225" y="630482"/>
                  <a:pt x="2413225" y="625046"/>
                </a:cubicBezTo>
                <a:cubicBezTo>
                  <a:pt x="2375178" y="644070"/>
                  <a:pt x="2334414" y="663092"/>
                  <a:pt x="2296367" y="682117"/>
                </a:cubicBezTo>
                <a:cubicBezTo>
                  <a:pt x="2296367" y="682117"/>
                  <a:pt x="2296367" y="679399"/>
                  <a:pt x="2296367" y="676680"/>
                </a:cubicBezTo>
                <a:cubicBezTo>
                  <a:pt x="2334414" y="660376"/>
                  <a:pt x="2375178" y="641352"/>
                  <a:pt x="2413225" y="622329"/>
                </a:cubicBezTo>
                <a:cubicBezTo>
                  <a:pt x="2415942" y="622329"/>
                  <a:pt x="2415942" y="622329"/>
                  <a:pt x="2415942" y="622329"/>
                </a:cubicBezTo>
                <a:cubicBezTo>
                  <a:pt x="2415942" y="483731"/>
                  <a:pt x="2415942" y="347852"/>
                  <a:pt x="2415942" y="211972"/>
                </a:cubicBezTo>
                <a:close/>
                <a:moveTo>
                  <a:pt x="2867063" y="0"/>
                </a:moveTo>
                <a:cubicBezTo>
                  <a:pt x="2864345" y="0"/>
                  <a:pt x="2864345" y="2717"/>
                  <a:pt x="2864345" y="2717"/>
                </a:cubicBezTo>
                <a:cubicBezTo>
                  <a:pt x="2856191" y="76092"/>
                  <a:pt x="2848039" y="152185"/>
                  <a:pt x="2839887" y="228278"/>
                </a:cubicBezTo>
                <a:cubicBezTo>
                  <a:pt x="2850757" y="228278"/>
                  <a:pt x="2858909" y="230995"/>
                  <a:pt x="2869779" y="233713"/>
                </a:cubicBezTo>
                <a:cubicBezTo>
                  <a:pt x="2869779" y="247301"/>
                  <a:pt x="2869779" y="258171"/>
                  <a:pt x="2869779" y="271759"/>
                </a:cubicBezTo>
                <a:cubicBezTo>
                  <a:pt x="2856191" y="271759"/>
                  <a:pt x="2845321" y="269041"/>
                  <a:pt x="2834451" y="266324"/>
                </a:cubicBezTo>
                <a:cubicBezTo>
                  <a:pt x="2834451" y="274477"/>
                  <a:pt x="2831733" y="282629"/>
                  <a:pt x="2831733" y="290782"/>
                </a:cubicBezTo>
                <a:cubicBezTo>
                  <a:pt x="2845321" y="293500"/>
                  <a:pt x="2856191" y="296217"/>
                  <a:pt x="2869779" y="298935"/>
                </a:cubicBezTo>
                <a:cubicBezTo>
                  <a:pt x="2869779" y="309805"/>
                  <a:pt x="2869779" y="323393"/>
                  <a:pt x="2869779" y="334264"/>
                </a:cubicBezTo>
                <a:cubicBezTo>
                  <a:pt x="2856191" y="331546"/>
                  <a:pt x="2842603" y="328828"/>
                  <a:pt x="2829017" y="326111"/>
                </a:cubicBezTo>
                <a:cubicBezTo>
                  <a:pt x="2829017" y="334264"/>
                  <a:pt x="2826299" y="342416"/>
                  <a:pt x="2826299" y="350569"/>
                </a:cubicBezTo>
                <a:cubicBezTo>
                  <a:pt x="2839887" y="353287"/>
                  <a:pt x="2856191" y="356004"/>
                  <a:pt x="2869779" y="358722"/>
                </a:cubicBezTo>
                <a:cubicBezTo>
                  <a:pt x="2869779" y="372310"/>
                  <a:pt x="2869779" y="383180"/>
                  <a:pt x="2869779" y="396768"/>
                </a:cubicBezTo>
                <a:cubicBezTo>
                  <a:pt x="2856191" y="394051"/>
                  <a:pt x="2839887" y="391333"/>
                  <a:pt x="2823581" y="388616"/>
                </a:cubicBezTo>
                <a:cubicBezTo>
                  <a:pt x="2823581" y="396768"/>
                  <a:pt x="2820863" y="404921"/>
                  <a:pt x="2820863" y="413074"/>
                </a:cubicBezTo>
                <a:cubicBezTo>
                  <a:pt x="2837169" y="415791"/>
                  <a:pt x="2853475" y="421227"/>
                  <a:pt x="2869779" y="423944"/>
                </a:cubicBezTo>
                <a:cubicBezTo>
                  <a:pt x="2869779" y="434815"/>
                  <a:pt x="2869779" y="448403"/>
                  <a:pt x="2869779" y="459273"/>
                </a:cubicBezTo>
                <a:cubicBezTo>
                  <a:pt x="2853475" y="456555"/>
                  <a:pt x="2837169" y="451120"/>
                  <a:pt x="2818145" y="448403"/>
                </a:cubicBezTo>
                <a:cubicBezTo>
                  <a:pt x="2818145" y="456555"/>
                  <a:pt x="2815429" y="464708"/>
                  <a:pt x="2815429" y="472862"/>
                </a:cubicBezTo>
                <a:cubicBezTo>
                  <a:pt x="2831733" y="475579"/>
                  <a:pt x="2850757" y="481014"/>
                  <a:pt x="2869779" y="483731"/>
                </a:cubicBezTo>
                <a:cubicBezTo>
                  <a:pt x="2869779" y="497320"/>
                  <a:pt x="2869779" y="508190"/>
                  <a:pt x="2869779" y="521779"/>
                </a:cubicBezTo>
                <a:cubicBezTo>
                  <a:pt x="2848039" y="519060"/>
                  <a:pt x="2829017" y="513626"/>
                  <a:pt x="2809993" y="510907"/>
                </a:cubicBezTo>
                <a:cubicBezTo>
                  <a:pt x="2809993" y="519060"/>
                  <a:pt x="2807275" y="527213"/>
                  <a:pt x="2807275" y="535366"/>
                </a:cubicBezTo>
                <a:cubicBezTo>
                  <a:pt x="2829017" y="540801"/>
                  <a:pt x="2848039" y="543518"/>
                  <a:pt x="2869779" y="548953"/>
                </a:cubicBezTo>
                <a:cubicBezTo>
                  <a:pt x="2869779" y="562542"/>
                  <a:pt x="2869779" y="573413"/>
                  <a:pt x="2869779" y="587000"/>
                </a:cubicBezTo>
                <a:cubicBezTo>
                  <a:pt x="2848039" y="581566"/>
                  <a:pt x="2826299" y="578848"/>
                  <a:pt x="2804558" y="573413"/>
                </a:cubicBezTo>
                <a:cubicBezTo>
                  <a:pt x="2804558" y="581566"/>
                  <a:pt x="2801841" y="589718"/>
                  <a:pt x="2801841" y="597871"/>
                </a:cubicBezTo>
                <a:cubicBezTo>
                  <a:pt x="2823581" y="603305"/>
                  <a:pt x="2845321" y="606024"/>
                  <a:pt x="2869779" y="611459"/>
                </a:cubicBezTo>
                <a:cubicBezTo>
                  <a:pt x="2869779" y="625046"/>
                  <a:pt x="2869779" y="638635"/>
                  <a:pt x="2869779" y="649505"/>
                </a:cubicBezTo>
                <a:cubicBezTo>
                  <a:pt x="2845321" y="644070"/>
                  <a:pt x="2820863" y="641352"/>
                  <a:pt x="2796405" y="635916"/>
                </a:cubicBezTo>
                <a:cubicBezTo>
                  <a:pt x="2796405" y="644070"/>
                  <a:pt x="2793688" y="652223"/>
                  <a:pt x="2793688" y="660376"/>
                </a:cubicBezTo>
                <a:cubicBezTo>
                  <a:pt x="2820863" y="663092"/>
                  <a:pt x="2845321" y="668528"/>
                  <a:pt x="2869779" y="673964"/>
                </a:cubicBezTo>
                <a:cubicBezTo>
                  <a:pt x="2869779" y="684833"/>
                  <a:pt x="2869779" y="698421"/>
                  <a:pt x="2869779" y="709292"/>
                </a:cubicBezTo>
                <a:cubicBezTo>
                  <a:pt x="2842603" y="703856"/>
                  <a:pt x="2818145" y="698421"/>
                  <a:pt x="2790970" y="692986"/>
                </a:cubicBezTo>
                <a:cubicBezTo>
                  <a:pt x="2790970" y="701139"/>
                  <a:pt x="2788253" y="709292"/>
                  <a:pt x="2788253" y="717444"/>
                </a:cubicBezTo>
                <a:cubicBezTo>
                  <a:pt x="2815429" y="722879"/>
                  <a:pt x="2842603" y="728315"/>
                  <a:pt x="2869779" y="733750"/>
                </a:cubicBezTo>
                <a:cubicBezTo>
                  <a:pt x="2869779" y="747338"/>
                  <a:pt x="2869779" y="760926"/>
                  <a:pt x="2869779" y="771796"/>
                </a:cubicBezTo>
                <a:cubicBezTo>
                  <a:pt x="2842603" y="766361"/>
                  <a:pt x="2812711" y="760926"/>
                  <a:pt x="2785535" y="755491"/>
                </a:cubicBezTo>
                <a:cubicBezTo>
                  <a:pt x="2785535" y="763643"/>
                  <a:pt x="2782817" y="771796"/>
                  <a:pt x="2782817" y="779949"/>
                </a:cubicBezTo>
                <a:cubicBezTo>
                  <a:pt x="2812711" y="785384"/>
                  <a:pt x="2839887" y="790819"/>
                  <a:pt x="2869779" y="796254"/>
                </a:cubicBezTo>
                <a:cubicBezTo>
                  <a:pt x="2869779" y="809841"/>
                  <a:pt x="2869779" y="820713"/>
                  <a:pt x="2869779" y="834301"/>
                </a:cubicBezTo>
                <a:cubicBezTo>
                  <a:pt x="2839887" y="826148"/>
                  <a:pt x="2809993" y="820713"/>
                  <a:pt x="2780100" y="815277"/>
                </a:cubicBezTo>
                <a:cubicBezTo>
                  <a:pt x="2780100" y="823430"/>
                  <a:pt x="2777382" y="831583"/>
                  <a:pt x="2777382" y="839736"/>
                </a:cubicBezTo>
                <a:cubicBezTo>
                  <a:pt x="2807275" y="845171"/>
                  <a:pt x="2837169" y="853324"/>
                  <a:pt x="2869779" y="858759"/>
                </a:cubicBezTo>
                <a:cubicBezTo>
                  <a:pt x="2869779" y="872347"/>
                  <a:pt x="2869779" y="883217"/>
                  <a:pt x="2869779" y="896805"/>
                </a:cubicBezTo>
                <a:cubicBezTo>
                  <a:pt x="2837169" y="891370"/>
                  <a:pt x="2804558" y="883217"/>
                  <a:pt x="2771947" y="877782"/>
                </a:cubicBezTo>
                <a:cubicBezTo>
                  <a:pt x="2771947" y="885935"/>
                  <a:pt x="2769230" y="894088"/>
                  <a:pt x="2769230" y="902241"/>
                </a:cubicBezTo>
                <a:cubicBezTo>
                  <a:pt x="2804558" y="907676"/>
                  <a:pt x="2837169" y="913112"/>
                  <a:pt x="2869779" y="921264"/>
                </a:cubicBezTo>
                <a:cubicBezTo>
                  <a:pt x="2869779" y="929417"/>
                  <a:pt x="2869779" y="940287"/>
                  <a:pt x="2869779" y="948440"/>
                </a:cubicBezTo>
                <a:cubicBezTo>
                  <a:pt x="2834451" y="943004"/>
                  <a:pt x="2801841" y="934852"/>
                  <a:pt x="2766512" y="929417"/>
                </a:cubicBezTo>
                <a:cubicBezTo>
                  <a:pt x="2766512" y="937569"/>
                  <a:pt x="2763794" y="945722"/>
                  <a:pt x="2763794" y="953875"/>
                </a:cubicBezTo>
                <a:cubicBezTo>
                  <a:pt x="2801841" y="959310"/>
                  <a:pt x="2842603" y="967463"/>
                  <a:pt x="2880651" y="975616"/>
                </a:cubicBezTo>
                <a:cubicBezTo>
                  <a:pt x="2880651" y="989204"/>
                  <a:pt x="2880651" y="1000074"/>
                  <a:pt x="2880651" y="1013662"/>
                </a:cubicBezTo>
                <a:cubicBezTo>
                  <a:pt x="2839887" y="1005509"/>
                  <a:pt x="2799123" y="997356"/>
                  <a:pt x="2758359" y="989204"/>
                </a:cubicBezTo>
                <a:cubicBezTo>
                  <a:pt x="2758359" y="997356"/>
                  <a:pt x="2755642" y="1005509"/>
                  <a:pt x="2755642" y="1013662"/>
                </a:cubicBezTo>
                <a:cubicBezTo>
                  <a:pt x="2796405" y="1021815"/>
                  <a:pt x="2839887" y="1029968"/>
                  <a:pt x="2880651" y="1038120"/>
                </a:cubicBezTo>
                <a:cubicBezTo>
                  <a:pt x="2880651" y="1048991"/>
                  <a:pt x="2880651" y="1062579"/>
                  <a:pt x="2880651" y="1073449"/>
                </a:cubicBezTo>
                <a:cubicBezTo>
                  <a:pt x="2837169" y="1065296"/>
                  <a:pt x="2796405" y="1057143"/>
                  <a:pt x="2752924" y="1048991"/>
                </a:cubicBezTo>
                <a:cubicBezTo>
                  <a:pt x="2752924" y="1057143"/>
                  <a:pt x="2750206" y="1065296"/>
                  <a:pt x="2750206" y="1073449"/>
                </a:cubicBezTo>
                <a:cubicBezTo>
                  <a:pt x="2793688" y="1081602"/>
                  <a:pt x="2837169" y="1092472"/>
                  <a:pt x="2880651" y="1100625"/>
                </a:cubicBezTo>
                <a:cubicBezTo>
                  <a:pt x="2880651" y="1114213"/>
                  <a:pt x="2880651" y="1125083"/>
                  <a:pt x="2880651" y="1138671"/>
                </a:cubicBezTo>
                <a:cubicBezTo>
                  <a:pt x="2837169" y="1130518"/>
                  <a:pt x="2790970" y="1119648"/>
                  <a:pt x="2747489" y="1111495"/>
                </a:cubicBezTo>
                <a:cubicBezTo>
                  <a:pt x="2747489" y="1119648"/>
                  <a:pt x="2744771" y="1127802"/>
                  <a:pt x="2744771" y="1135954"/>
                </a:cubicBezTo>
                <a:cubicBezTo>
                  <a:pt x="2788253" y="1144106"/>
                  <a:pt x="2834451" y="1152259"/>
                  <a:pt x="2880651" y="1163130"/>
                </a:cubicBezTo>
                <a:lnTo>
                  <a:pt x="2880651" y="1183255"/>
                </a:lnTo>
                <a:lnTo>
                  <a:pt x="2473012" y="1258246"/>
                </a:lnTo>
                <a:cubicBezTo>
                  <a:pt x="2475729" y="1021815"/>
                  <a:pt x="2475729" y="785384"/>
                  <a:pt x="2478447" y="548953"/>
                </a:cubicBezTo>
                <a:cubicBezTo>
                  <a:pt x="2478447" y="548953"/>
                  <a:pt x="2478447" y="546236"/>
                  <a:pt x="2478447" y="543518"/>
                </a:cubicBezTo>
                <a:cubicBezTo>
                  <a:pt x="2497470" y="532648"/>
                  <a:pt x="2516493" y="524495"/>
                  <a:pt x="2538234" y="516342"/>
                </a:cubicBezTo>
                <a:cubicBezTo>
                  <a:pt x="2538234" y="494602"/>
                  <a:pt x="2538234" y="472862"/>
                  <a:pt x="2538234" y="451120"/>
                </a:cubicBezTo>
                <a:cubicBezTo>
                  <a:pt x="2538234" y="442968"/>
                  <a:pt x="2538234" y="434815"/>
                  <a:pt x="2538234" y="429379"/>
                </a:cubicBezTo>
                <a:cubicBezTo>
                  <a:pt x="2505623" y="415791"/>
                  <a:pt x="2473012" y="402203"/>
                  <a:pt x="2437683" y="388616"/>
                </a:cubicBezTo>
                <a:cubicBezTo>
                  <a:pt x="2437683" y="385898"/>
                  <a:pt x="2437683" y="385898"/>
                  <a:pt x="2437683" y="385898"/>
                </a:cubicBezTo>
                <a:cubicBezTo>
                  <a:pt x="2470294" y="399486"/>
                  <a:pt x="2502905" y="413074"/>
                  <a:pt x="2538234" y="426662"/>
                </a:cubicBezTo>
                <a:cubicBezTo>
                  <a:pt x="2538234" y="418509"/>
                  <a:pt x="2538234" y="413074"/>
                  <a:pt x="2538234" y="404921"/>
                </a:cubicBezTo>
                <a:cubicBezTo>
                  <a:pt x="2505623" y="391333"/>
                  <a:pt x="2473012" y="377745"/>
                  <a:pt x="2437683" y="364157"/>
                </a:cubicBezTo>
                <a:cubicBezTo>
                  <a:pt x="2437683" y="361440"/>
                  <a:pt x="2437683" y="361440"/>
                  <a:pt x="2437683" y="361440"/>
                </a:cubicBezTo>
                <a:cubicBezTo>
                  <a:pt x="2470294" y="375028"/>
                  <a:pt x="2502905" y="388616"/>
                  <a:pt x="2538234" y="402203"/>
                </a:cubicBezTo>
                <a:cubicBezTo>
                  <a:pt x="2538234" y="396768"/>
                  <a:pt x="2538234" y="388616"/>
                  <a:pt x="2538234" y="383180"/>
                </a:cubicBezTo>
                <a:cubicBezTo>
                  <a:pt x="2505623" y="369592"/>
                  <a:pt x="2473012" y="353287"/>
                  <a:pt x="2437683" y="339699"/>
                </a:cubicBezTo>
                <a:cubicBezTo>
                  <a:pt x="2437683" y="339699"/>
                  <a:pt x="2437683" y="336981"/>
                  <a:pt x="2437683" y="336981"/>
                </a:cubicBezTo>
                <a:cubicBezTo>
                  <a:pt x="2470294" y="350569"/>
                  <a:pt x="2502905" y="366875"/>
                  <a:pt x="2538234" y="380463"/>
                </a:cubicBezTo>
                <a:cubicBezTo>
                  <a:pt x="2538234" y="372310"/>
                  <a:pt x="2538234" y="366875"/>
                  <a:pt x="2538234" y="358722"/>
                </a:cubicBezTo>
                <a:cubicBezTo>
                  <a:pt x="2505623" y="345134"/>
                  <a:pt x="2473012" y="328828"/>
                  <a:pt x="2437683" y="315241"/>
                </a:cubicBezTo>
                <a:cubicBezTo>
                  <a:pt x="2437683" y="315241"/>
                  <a:pt x="2437683" y="312523"/>
                  <a:pt x="2437683" y="312523"/>
                </a:cubicBezTo>
                <a:cubicBezTo>
                  <a:pt x="2470294" y="326111"/>
                  <a:pt x="2505623" y="342416"/>
                  <a:pt x="2538234" y="356004"/>
                </a:cubicBezTo>
                <a:cubicBezTo>
                  <a:pt x="2538234" y="350569"/>
                  <a:pt x="2538234" y="342416"/>
                  <a:pt x="2538234" y="336981"/>
                </a:cubicBezTo>
                <a:cubicBezTo>
                  <a:pt x="2505623" y="320676"/>
                  <a:pt x="2473012" y="307088"/>
                  <a:pt x="2437683" y="290782"/>
                </a:cubicBezTo>
                <a:cubicBezTo>
                  <a:pt x="2437683" y="290782"/>
                  <a:pt x="2437683" y="288065"/>
                  <a:pt x="2437683" y="288065"/>
                </a:cubicBezTo>
                <a:cubicBezTo>
                  <a:pt x="2470294" y="304370"/>
                  <a:pt x="2505623" y="317958"/>
                  <a:pt x="2538234" y="334264"/>
                </a:cubicBezTo>
                <a:cubicBezTo>
                  <a:pt x="2538234" y="326111"/>
                  <a:pt x="2538234" y="320676"/>
                  <a:pt x="2538234" y="315241"/>
                </a:cubicBezTo>
                <a:cubicBezTo>
                  <a:pt x="2505623" y="301653"/>
                  <a:pt x="2473012" y="285347"/>
                  <a:pt x="2437683" y="269041"/>
                </a:cubicBezTo>
                <a:cubicBezTo>
                  <a:pt x="2437683" y="269041"/>
                  <a:pt x="2437683" y="269041"/>
                  <a:pt x="2437683" y="266324"/>
                </a:cubicBezTo>
                <a:cubicBezTo>
                  <a:pt x="2470294" y="279912"/>
                  <a:pt x="2505623" y="296217"/>
                  <a:pt x="2538234" y="312523"/>
                </a:cubicBezTo>
                <a:cubicBezTo>
                  <a:pt x="2538234" y="304370"/>
                  <a:pt x="2538234" y="298935"/>
                  <a:pt x="2538234" y="290782"/>
                </a:cubicBezTo>
                <a:cubicBezTo>
                  <a:pt x="2505623" y="274477"/>
                  <a:pt x="2473012" y="260889"/>
                  <a:pt x="2437683" y="244583"/>
                </a:cubicBezTo>
                <a:cubicBezTo>
                  <a:pt x="2437683" y="241865"/>
                  <a:pt x="2437683" y="241865"/>
                  <a:pt x="2437683" y="239148"/>
                </a:cubicBezTo>
                <a:cubicBezTo>
                  <a:pt x="2470294" y="255453"/>
                  <a:pt x="2505623" y="269041"/>
                  <a:pt x="2538234" y="285347"/>
                </a:cubicBezTo>
                <a:cubicBezTo>
                  <a:pt x="2538234" y="279912"/>
                  <a:pt x="2538234" y="274477"/>
                  <a:pt x="2538234" y="269041"/>
                </a:cubicBezTo>
                <a:cubicBezTo>
                  <a:pt x="2505623" y="252736"/>
                  <a:pt x="2473012" y="239148"/>
                  <a:pt x="2437683" y="222842"/>
                </a:cubicBezTo>
                <a:cubicBezTo>
                  <a:pt x="2437683" y="222842"/>
                  <a:pt x="2437683" y="220125"/>
                  <a:pt x="2437683" y="220125"/>
                </a:cubicBezTo>
                <a:cubicBezTo>
                  <a:pt x="2470294" y="236430"/>
                  <a:pt x="2505623" y="250018"/>
                  <a:pt x="2538234" y="266324"/>
                </a:cubicBezTo>
                <a:cubicBezTo>
                  <a:pt x="2538234" y="195666"/>
                  <a:pt x="2538234" y="127727"/>
                  <a:pt x="2538234" y="59787"/>
                </a:cubicBezTo>
                <a:lnTo>
                  <a:pt x="2571432" y="53751"/>
                </a:lnTo>
                <a:lnTo>
                  <a:pt x="2714877" y="27186"/>
                </a:lnTo>
                <a:lnTo>
                  <a:pt x="2714877" y="2767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wrap="square" lIns="0" tIns="0" rIns="0" bIns="0" rtlCol="0" anchor="ctr">
            <a:noAutofit/>
          </a:bodyPr>
          <a:lstStyle>
            <a:lvl1pPr>
              <a:defRPr lang="en-ZA" sz="1200" i="1" dirty="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marL="0" lvl="0" indent="0" algn="ctr" rtl="0">
              <a:buNone/>
            </a:pPr>
            <a:r>
              <a:rPr lang="pt-BR" noProof="0"/>
              <a:t>Insira ou Arraste e Solte sua foto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771D783E-C98E-4288-A0F0-6F329CF050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0"/>
            <a:ext cx="5105400" cy="6858000"/>
          </a:xfrm>
          <a:solidFill>
            <a:schemeClr val="bg1">
              <a:lumMod val="95000"/>
              <a:alpha val="90000"/>
            </a:schemeClr>
          </a:solidFill>
        </p:spPr>
        <p:txBody>
          <a:bodyPr vert="horz" lIns="720000" tIns="0" rIns="72000" bIns="2160000" rtlCol="0" anchor="b">
            <a:noAutofit/>
          </a:bodyPr>
          <a:lstStyle>
            <a:lvl1pPr>
              <a:defRPr lang="en-ZA" sz="5000" b="0" i="1">
                <a:ea typeface="+mn-ea"/>
                <a:cs typeface="+mn-cs"/>
              </a:defRPr>
            </a:lvl1pPr>
          </a:lstStyle>
          <a:p>
            <a:pPr marL="0" lvl="0" indent="0" rtl="0">
              <a:spcBef>
                <a:spcPts val="1000"/>
              </a:spcBef>
              <a:buClr>
                <a:schemeClr val="accent1"/>
              </a:buClr>
              <a:buFont typeface="Corbel" panose="020B0503020204020204" pitchFamily="34" charset="0"/>
            </a:pPr>
            <a:r>
              <a:rPr lang="pt-BR" noProof="0"/>
              <a:t>Obrigado</a:t>
            </a:r>
          </a:p>
        </p:txBody>
      </p:sp>
      <p:sp>
        <p:nvSpPr>
          <p:cNvPr id="7" name="Espaço Reservado para Texto 5">
            <a:extLst>
              <a:ext uri="{FF2B5EF4-FFF2-40B4-BE49-F238E27FC236}">
                <a16:creationId xmlns:a16="http://schemas.microsoft.com/office/drawing/2014/main" id="{C2C3F9C0-F4DC-42CB-8D24-DC1D94CDD1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9601" y="4807513"/>
            <a:ext cx="3201376" cy="288000"/>
          </a:xfrm>
        </p:spPr>
        <p:txBody>
          <a:bodyPr rtlCol="0"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 rtl="0"/>
            <a:r>
              <a:rPr lang="pt-BR" noProof="0"/>
              <a:t>Nome completo</a:t>
            </a:r>
          </a:p>
        </p:txBody>
      </p:sp>
      <p:sp>
        <p:nvSpPr>
          <p:cNvPr id="8" name="Espaço Reservado para Texto 6">
            <a:extLst>
              <a:ext uri="{FF2B5EF4-FFF2-40B4-BE49-F238E27FC236}">
                <a16:creationId xmlns:a16="http://schemas.microsoft.com/office/drawing/2014/main" id="{530230A8-0A94-448D-8C01-BBDCD6E2DA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9601" y="5185801"/>
            <a:ext cx="3201376" cy="288000"/>
          </a:xfrm>
        </p:spPr>
        <p:txBody>
          <a:bodyPr rtlCol="0"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 rtl="0"/>
            <a:r>
              <a:rPr lang="pt-BR" noProof="0"/>
              <a:t>Número do telefone</a:t>
            </a:r>
          </a:p>
        </p:txBody>
      </p:sp>
      <p:sp>
        <p:nvSpPr>
          <p:cNvPr id="9" name="Espaço Reservado para Texto 7">
            <a:extLst>
              <a:ext uri="{FF2B5EF4-FFF2-40B4-BE49-F238E27FC236}">
                <a16:creationId xmlns:a16="http://schemas.microsoft.com/office/drawing/2014/main" id="{FEC115A6-CCC7-498D-A3CD-C0C51DA32A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69601" y="5564089"/>
            <a:ext cx="3201376" cy="288000"/>
          </a:xfrm>
        </p:spPr>
        <p:txBody>
          <a:bodyPr rtlCol="0"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 rtl="0"/>
            <a:r>
              <a:rPr lang="pt-BR" noProof="0"/>
              <a:t>Contato por Email ou Mídia Social</a:t>
            </a:r>
          </a:p>
        </p:txBody>
      </p:sp>
      <p:sp>
        <p:nvSpPr>
          <p:cNvPr id="10" name="Espaço Reservado para Texto 8">
            <a:extLst>
              <a:ext uri="{FF2B5EF4-FFF2-40B4-BE49-F238E27FC236}">
                <a16:creationId xmlns:a16="http://schemas.microsoft.com/office/drawing/2014/main" id="{A1F54D54-EFF1-48F4-BBCF-488305B781F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9601" y="5941307"/>
            <a:ext cx="3201376" cy="288000"/>
          </a:xfrm>
        </p:spPr>
        <p:txBody>
          <a:bodyPr rtlCol="0"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 rtl="0"/>
            <a:r>
              <a:rPr lang="pt-BR" noProof="0"/>
              <a:t>Site da empresa</a:t>
            </a:r>
          </a:p>
        </p:txBody>
      </p:sp>
      <p:sp>
        <p:nvSpPr>
          <p:cNvPr id="100" name="Forma livre: Forma 99">
            <a:extLst>
              <a:ext uri="{FF2B5EF4-FFF2-40B4-BE49-F238E27FC236}">
                <a16:creationId xmlns:a16="http://schemas.microsoft.com/office/drawing/2014/main" id="{E7B6E400-7994-4F99-B877-5798BCB589A6}"/>
              </a:ext>
            </a:extLst>
          </p:cNvPr>
          <p:cNvSpPr/>
          <p:nvPr userDrawn="1"/>
        </p:nvSpPr>
        <p:spPr>
          <a:xfrm>
            <a:off x="9060848" y="6152509"/>
            <a:ext cx="244583" cy="326111"/>
          </a:xfrm>
          <a:custGeom>
            <a:avLst/>
            <a:gdLst>
              <a:gd name="connsiteX0" fmla="*/ 189802 w 244583"/>
              <a:gd name="connsiteY0" fmla="*/ 82578 h 326111"/>
              <a:gd name="connsiteX1" fmla="*/ 184367 w 244583"/>
              <a:gd name="connsiteY1" fmla="*/ 58120 h 326111"/>
              <a:gd name="connsiteX2" fmla="*/ 59357 w 244583"/>
              <a:gd name="connsiteY2" fmla="*/ 88013 h 326111"/>
              <a:gd name="connsiteX3" fmla="*/ 78380 w 244583"/>
              <a:gd name="connsiteY3" fmla="*/ 283680 h 326111"/>
              <a:gd name="connsiteX4" fmla="*/ 81098 w 244583"/>
              <a:gd name="connsiteY4" fmla="*/ 270092 h 326111"/>
              <a:gd name="connsiteX5" fmla="*/ 81098 w 244583"/>
              <a:gd name="connsiteY5" fmla="*/ 261939 h 326111"/>
              <a:gd name="connsiteX6" fmla="*/ 81098 w 244583"/>
              <a:gd name="connsiteY6" fmla="*/ 245634 h 326111"/>
              <a:gd name="connsiteX7" fmla="*/ 83816 w 244583"/>
              <a:gd name="connsiteY7" fmla="*/ 242916 h 326111"/>
              <a:gd name="connsiteX8" fmla="*/ 81098 w 244583"/>
              <a:gd name="connsiteY8" fmla="*/ 240199 h 326111"/>
              <a:gd name="connsiteX9" fmla="*/ 86533 w 244583"/>
              <a:gd name="connsiteY9" fmla="*/ 240199 h 326111"/>
              <a:gd name="connsiteX10" fmla="*/ 91968 w 244583"/>
              <a:gd name="connsiteY10" fmla="*/ 232046 h 326111"/>
              <a:gd name="connsiteX11" fmla="*/ 78380 w 244583"/>
              <a:gd name="connsiteY11" fmla="*/ 215740 h 326111"/>
              <a:gd name="connsiteX12" fmla="*/ 83816 w 244583"/>
              <a:gd name="connsiteY12" fmla="*/ 193999 h 326111"/>
              <a:gd name="connsiteX13" fmla="*/ 75663 w 244583"/>
              <a:gd name="connsiteY13" fmla="*/ 185847 h 326111"/>
              <a:gd name="connsiteX14" fmla="*/ 83816 w 244583"/>
              <a:gd name="connsiteY14" fmla="*/ 77143 h 326111"/>
              <a:gd name="connsiteX15" fmla="*/ 116427 w 244583"/>
              <a:gd name="connsiteY15" fmla="*/ 90731 h 326111"/>
              <a:gd name="connsiteX16" fmla="*/ 130015 w 244583"/>
              <a:gd name="connsiteY16" fmla="*/ 85296 h 326111"/>
              <a:gd name="connsiteX17" fmla="*/ 146320 w 244583"/>
              <a:gd name="connsiteY17" fmla="*/ 107036 h 326111"/>
              <a:gd name="connsiteX18" fmla="*/ 168061 w 244583"/>
              <a:gd name="connsiteY18" fmla="*/ 98884 h 326111"/>
              <a:gd name="connsiteX19" fmla="*/ 184367 w 244583"/>
              <a:gd name="connsiteY19" fmla="*/ 107036 h 326111"/>
              <a:gd name="connsiteX20" fmla="*/ 195237 w 244583"/>
              <a:gd name="connsiteY20" fmla="*/ 101601 h 326111"/>
              <a:gd name="connsiteX21" fmla="*/ 187084 w 244583"/>
              <a:gd name="connsiteY21" fmla="*/ 82578 h 326111"/>
              <a:gd name="connsiteX22" fmla="*/ 189802 w 244583"/>
              <a:gd name="connsiteY22" fmla="*/ 82578 h 3261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244583" h="326111">
                <a:moveTo>
                  <a:pt x="189802" y="82578"/>
                </a:moveTo>
                <a:cubicBezTo>
                  <a:pt x="187084" y="74425"/>
                  <a:pt x="187084" y="66273"/>
                  <a:pt x="184367" y="58120"/>
                </a:cubicBezTo>
                <a:cubicBezTo>
                  <a:pt x="138168" y="63555"/>
                  <a:pt x="94686" y="71708"/>
                  <a:pt x="59357" y="88013"/>
                </a:cubicBezTo>
                <a:cubicBezTo>
                  <a:pt x="53922" y="158671"/>
                  <a:pt x="67510" y="218458"/>
                  <a:pt x="78380" y="283680"/>
                </a:cubicBezTo>
                <a:cubicBezTo>
                  <a:pt x="81098" y="283680"/>
                  <a:pt x="81098" y="294551"/>
                  <a:pt x="81098" y="270092"/>
                </a:cubicBezTo>
                <a:lnTo>
                  <a:pt x="81098" y="261939"/>
                </a:lnTo>
                <a:lnTo>
                  <a:pt x="81098" y="245634"/>
                </a:lnTo>
                <a:lnTo>
                  <a:pt x="83816" y="242916"/>
                </a:lnTo>
                <a:cubicBezTo>
                  <a:pt x="83816" y="240199"/>
                  <a:pt x="81098" y="240199"/>
                  <a:pt x="81098" y="240199"/>
                </a:cubicBezTo>
                <a:cubicBezTo>
                  <a:pt x="83816" y="240199"/>
                  <a:pt x="83816" y="240199"/>
                  <a:pt x="86533" y="240199"/>
                </a:cubicBezTo>
                <a:lnTo>
                  <a:pt x="91968" y="232046"/>
                </a:lnTo>
                <a:lnTo>
                  <a:pt x="78380" y="215740"/>
                </a:lnTo>
                <a:cubicBezTo>
                  <a:pt x="86533" y="196717"/>
                  <a:pt x="83816" y="223893"/>
                  <a:pt x="83816" y="193999"/>
                </a:cubicBezTo>
                <a:cubicBezTo>
                  <a:pt x="83816" y="183129"/>
                  <a:pt x="86533" y="185847"/>
                  <a:pt x="75663" y="185847"/>
                </a:cubicBezTo>
                <a:cubicBezTo>
                  <a:pt x="89251" y="153235"/>
                  <a:pt x="70228" y="109754"/>
                  <a:pt x="83816" y="77143"/>
                </a:cubicBezTo>
                <a:lnTo>
                  <a:pt x="116427" y="90731"/>
                </a:lnTo>
                <a:lnTo>
                  <a:pt x="130015" y="85296"/>
                </a:lnTo>
                <a:lnTo>
                  <a:pt x="146320" y="107036"/>
                </a:lnTo>
                <a:cubicBezTo>
                  <a:pt x="165344" y="98884"/>
                  <a:pt x="138168" y="98884"/>
                  <a:pt x="168061" y="98884"/>
                </a:cubicBezTo>
                <a:cubicBezTo>
                  <a:pt x="168061" y="98884"/>
                  <a:pt x="184367" y="107036"/>
                  <a:pt x="184367" y="107036"/>
                </a:cubicBezTo>
                <a:lnTo>
                  <a:pt x="195237" y="101601"/>
                </a:lnTo>
                <a:cubicBezTo>
                  <a:pt x="192519" y="96166"/>
                  <a:pt x="189802" y="88013"/>
                  <a:pt x="187084" y="82578"/>
                </a:cubicBezTo>
                <a:cubicBezTo>
                  <a:pt x="181649" y="82578"/>
                  <a:pt x="184367" y="82578"/>
                  <a:pt x="189802" y="82578"/>
                </a:cubicBezTo>
                <a:close/>
              </a:path>
            </a:pathLst>
          </a:custGeom>
          <a:solidFill>
            <a:srgbClr val="000000"/>
          </a:solidFill>
          <a:ln w="27161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pt-BR" noProof="0"/>
          </a:p>
        </p:txBody>
      </p:sp>
    </p:spTree>
    <p:extLst>
      <p:ext uri="{BB962C8B-B14F-4D97-AF65-F5344CB8AC3E}">
        <p14:creationId xmlns:p14="http://schemas.microsoft.com/office/powerpoint/2010/main" val="25715545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27B0E99B-16C1-417F-92D8-ACA0D320D8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438309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Slide do think-cell" r:id="rId22" imgW="421" imgH="423" progId="TCLayout.ActiveDocument.1">
                  <p:embed/>
                </p:oleObj>
              </mc:Choice>
              <mc:Fallback>
                <p:oleObj name="Slide do think-cell" r:id="rId22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>
            <a:extLst>
              <a:ext uri="{FF2B5EF4-FFF2-40B4-BE49-F238E27FC236}">
                <a16:creationId xmlns:a16="http://schemas.microsoft.com/office/drawing/2014/main" id="{CCF35643-18FB-499C-8B81-B1E7DBE734EC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2800" b="1" i="0" baseline="0" dirty="0"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090F41A2-6535-4CA6-81E4-026A5B56D9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834" y="432000"/>
            <a:ext cx="11255165" cy="695740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</p:spPr>
        <p:txBody>
          <a:bodyPr vert="horz" lIns="180000" tIns="0" rIns="0" bIns="0" rtlCol="0" anchor="ctr">
            <a:noAutofit/>
          </a:bodyPr>
          <a:lstStyle/>
          <a:p>
            <a:pPr rtl="0"/>
            <a:r>
              <a:rPr lang="pt-BR" noProof="0"/>
              <a:t>Clique para editar o título da página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213AB95C-7DD4-4796-80E4-1B7466A2A0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656000"/>
            <a:ext cx="11340000" cy="446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rtl="0"/>
            <a:r>
              <a:rPr lang="pt-BR" noProof="0"/>
              <a:t>Editar estilos de texto Mestre</a:t>
            </a:r>
          </a:p>
          <a:p>
            <a:pPr lvl="1" rtl="0"/>
            <a:r>
              <a:rPr lang="pt-BR" noProof="0"/>
              <a:t>Segundo nível</a:t>
            </a:r>
          </a:p>
          <a:p>
            <a:pPr lvl="2" rtl="0"/>
            <a:r>
              <a:rPr lang="pt-BR" noProof="0"/>
              <a:t>Terceiro nível</a:t>
            </a:r>
          </a:p>
          <a:p>
            <a:pPr lvl="3" rtl="0"/>
            <a:r>
              <a:rPr lang="pt-BR" noProof="0"/>
              <a:t>Quarto nível</a:t>
            </a:r>
          </a:p>
          <a:p>
            <a:pPr lvl="4" rtl="0"/>
            <a:r>
              <a:rPr lang="pt-BR" noProof="0"/>
              <a:t>Quinto nível</a:t>
            </a:r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8879C91-B77F-4273-9A27-A3535FB889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2000" y="6356350"/>
            <a:ext cx="4114800" cy="365125"/>
          </a:xfrm>
          <a:prstGeom prst="rect">
            <a:avLst/>
          </a:prstGeom>
          <a:noFill/>
          <a:ln w="3175">
            <a:solidFill>
              <a:schemeClr val="bg1">
                <a:lumMod val="95000"/>
                <a:alpha val="50000"/>
              </a:schemeClr>
            </a:solidFill>
          </a:ln>
        </p:spPr>
        <p:txBody>
          <a:bodyPr vert="horz" lIns="72000" tIns="0" rIns="0" bIns="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1pPr>
          </a:lstStyle>
          <a:p>
            <a:pPr rtl="0"/>
            <a:r>
              <a:rPr lang="pt-BR" noProof="0"/>
              <a:t>Adicionar um rodapé</a:t>
            </a:r>
          </a:p>
        </p:txBody>
      </p:sp>
      <p:sp>
        <p:nvSpPr>
          <p:cNvPr id="6" name="Espaço reservado para o número do slide 5">
            <a:extLst>
              <a:ext uri="{FF2B5EF4-FFF2-40B4-BE49-F238E27FC236}">
                <a16:creationId xmlns:a16="http://schemas.microsoft.com/office/drawing/2014/main" id="{5ECA3099-A94F-4C3E-BC29-780EDD38F7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06224" y="6356350"/>
            <a:ext cx="370575" cy="365125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</p:spPr>
        <p:txBody>
          <a:bodyPr vert="horz" lIns="0" tIns="0" rIns="0" bIns="0" rtlCol="0" anchor="ctr"/>
          <a:lstStyle>
            <a:lvl1pPr algn="ctr">
              <a:defRPr sz="1200" i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1pPr>
          </a:lstStyle>
          <a:p>
            <a:pPr rtl="0"/>
            <a:fld id="{19B51A1E-902D-48AF-9020-955120F399B6}" type="slidenum">
              <a:rPr lang="pt-BR" noProof="0" smtClean="0"/>
              <a:pPr rtl="0"/>
              <a:t>‹nº›</a:t>
            </a:fld>
            <a:endParaRPr lang="pt-BR" noProof="0"/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36B8C04E-47A8-436C-8075-09BCDE2AF890}"/>
              </a:ext>
            </a:extLst>
          </p:cNvPr>
          <p:cNvSpPr/>
          <p:nvPr userDrawn="1"/>
        </p:nvSpPr>
        <p:spPr>
          <a:xfrm>
            <a:off x="12146281" y="6355370"/>
            <a:ext cx="45719" cy="36893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 noProof="0"/>
          </a:p>
        </p:txBody>
      </p:sp>
      <p:sp>
        <p:nvSpPr>
          <p:cNvPr id="11" name="Caixa de texto 10">
            <a:extLst>
              <a:ext uri="{FF2B5EF4-FFF2-40B4-BE49-F238E27FC236}">
                <a16:creationId xmlns:a16="http://schemas.microsoft.com/office/drawing/2014/main" id="{2262F990-32B4-4534-8176-D35ECAB7B9D4}"/>
              </a:ext>
            </a:extLst>
          </p:cNvPr>
          <p:cNvSpPr txBox="1"/>
          <p:nvPr userDrawn="1"/>
        </p:nvSpPr>
        <p:spPr>
          <a:xfrm>
            <a:off x="5045770" y="6190888"/>
            <a:ext cx="2100460" cy="515576"/>
          </a:xfrm>
          <a:prstGeom prst="rect">
            <a:avLst/>
          </a:prstGeom>
          <a:noFill/>
        </p:spPr>
        <p:txBody>
          <a:bodyPr wrap="square" tIns="108000" rtlCol="0">
            <a:spAutoFit/>
          </a:bodyPr>
          <a:lstStyle/>
          <a:p>
            <a:pPr algn="ctr" rtl="0">
              <a:lnSpc>
                <a:spcPts val="1500"/>
              </a:lnSpc>
            </a:pPr>
            <a:r>
              <a:rPr lang="pt-BR" sz="1800" b="1" spc="0" noProof="0" dirty="0">
                <a:solidFill>
                  <a:schemeClr val="accent1"/>
                </a:solidFill>
                <a:latin typeface="Garamond" panose="02020404030301010803" pitchFamily="18" charset="0"/>
              </a:rPr>
              <a:t>MELHOR </a:t>
            </a:r>
            <a:r>
              <a:rPr lang="pt-BR" sz="1800" b="0" i="1" spc="0" noProof="0" dirty="0">
                <a:solidFill>
                  <a:schemeClr val="accent1"/>
                </a:solidFill>
                <a:latin typeface="Garamond" panose="02020404030301010803" pitchFamily="18" charset="0"/>
              </a:rPr>
              <a:t>para você</a:t>
            </a:r>
            <a:br>
              <a:rPr lang="pt-BR" sz="1800" b="0" i="1" spc="0" noProof="0" dirty="0">
                <a:solidFill>
                  <a:schemeClr val="accent1"/>
                </a:solidFill>
                <a:latin typeface="Garamond" panose="02020404030301010803" pitchFamily="18" charset="0"/>
              </a:rPr>
            </a:br>
            <a:r>
              <a:rPr lang="pt-BR" sz="700" spc="3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 pitchFamily="34" charset="0"/>
              </a:rPr>
              <a:t>EMPRESA DE ORGÂNICOS</a:t>
            </a:r>
            <a:endParaRPr lang="pt-BR" sz="1800" spc="300" baseline="0" noProof="0" dirty="0">
              <a:solidFill>
                <a:schemeClr val="tx1">
                  <a:lumMod val="75000"/>
                  <a:lumOff val="2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6163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9" r:id="rId2"/>
    <p:sldLayoutId id="2147483673" r:id="rId3"/>
    <p:sldLayoutId id="2147483658" r:id="rId4"/>
    <p:sldLayoutId id="2147483670" r:id="rId5"/>
    <p:sldLayoutId id="2147483659" r:id="rId6"/>
    <p:sldLayoutId id="2147483660" r:id="rId7"/>
    <p:sldLayoutId id="2147483671" r:id="rId8"/>
    <p:sldLayoutId id="2147483672" r:id="rId9"/>
    <p:sldLayoutId id="2147483650" r:id="rId10"/>
    <p:sldLayoutId id="2147483652" r:id="rId11"/>
    <p:sldLayoutId id="2147483656" r:id="rId12"/>
    <p:sldLayoutId id="2147483657" r:id="rId13"/>
    <p:sldLayoutId id="2147483674" r:id="rId14"/>
    <p:sldLayoutId id="2147483675" r:id="rId15"/>
    <p:sldLayoutId id="2147483654" r:id="rId16"/>
    <p:sldLayoutId id="2147483655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spc="-15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orbel" panose="020B0503020204020204" pitchFamily="34" charset="0"/>
        <a:buChar char="»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2925" indent="-27622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09625" indent="-2667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76325" indent="-2667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43025" indent="-2667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" name="Título 1047">
            <a:extLst>
              <a:ext uri="{FF2B5EF4-FFF2-40B4-BE49-F238E27FC236}">
                <a16:creationId xmlns:a16="http://schemas.microsoft.com/office/drawing/2014/main" id="{68A307F8-C872-4697-8D01-93B84BB73E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-5208"/>
            <a:ext cx="8082643" cy="6863208"/>
          </a:xfrm>
          <a:solidFill>
            <a:schemeClr val="bg1">
              <a:lumMod val="95000"/>
              <a:alpha val="55000"/>
            </a:schemeClr>
          </a:solidFill>
        </p:spPr>
        <p:txBody>
          <a:bodyPr rtlCol="0"/>
          <a:lstStyle/>
          <a:p>
            <a:pPr rtl="0"/>
            <a:r>
              <a:rPr lang="pt-BR" sz="4400" b="0" i="1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Atividade 3:</a:t>
            </a:r>
            <a:br>
              <a:rPr lang="pt-BR" sz="4400" b="0" i="1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</a:br>
            <a:r>
              <a:rPr lang="pt-BR" sz="4400" b="0" i="1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Produção Mais limpa e Prevenção à poluição</a:t>
            </a:r>
            <a:endParaRPr lang="pt-BR" sz="4400" dirty="0">
              <a:solidFill>
                <a:schemeClr val="tx1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4" name="Subtítulo 3">
            <a:extLst>
              <a:ext uri="{FF2B5EF4-FFF2-40B4-BE49-F238E27FC236}">
                <a16:creationId xmlns:a16="http://schemas.microsoft.com/office/drawing/2014/main" id="{4772945D-CA91-4CFE-8EB7-941C7618C99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39644" y="4834783"/>
            <a:ext cx="5124443" cy="1636352"/>
          </a:xfrm>
        </p:spPr>
        <p:txBody>
          <a:bodyPr rtlCol="0"/>
          <a:lstStyle/>
          <a:p>
            <a:r>
              <a:rPr lang="pt-BR" sz="2000" dirty="0"/>
              <a:t>André </a:t>
            </a:r>
            <a:r>
              <a:rPr lang="pt-BR" sz="2000" dirty="0" err="1"/>
              <a:t>Bor</a:t>
            </a:r>
            <a:r>
              <a:rPr lang="pt-BR" sz="2000" dirty="0"/>
              <a:t> </a:t>
            </a:r>
            <a:r>
              <a:rPr lang="pt-BR" sz="2000" dirty="0" err="1"/>
              <a:t>Shyang</a:t>
            </a:r>
            <a:r>
              <a:rPr lang="pt-BR" sz="2000" dirty="0"/>
              <a:t> Huang</a:t>
            </a:r>
          </a:p>
          <a:p>
            <a:pPr rtl="0"/>
            <a:r>
              <a:rPr lang="pt-BR" sz="2000" dirty="0"/>
              <a:t>Maikon </a:t>
            </a:r>
            <a:r>
              <a:rPr lang="pt-BR" sz="2000" dirty="0" err="1"/>
              <a:t>Yukio</a:t>
            </a:r>
            <a:r>
              <a:rPr lang="pt-BR" sz="2000" dirty="0"/>
              <a:t> Makihara </a:t>
            </a:r>
            <a:r>
              <a:rPr lang="pt-BR" sz="2000" dirty="0" err="1"/>
              <a:t>Semelewicy</a:t>
            </a:r>
            <a:endParaRPr lang="pt-BR" sz="2000" dirty="0"/>
          </a:p>
          <a:p>
            <a:r>
              <a:rPr lang="pt-BR" sz="2000" dirty="0"/>
              <a:t>Stephanie </a:t>
            </a:r>
            <a:r>
              <a:rPr lang="pt-BR" sz="2000" dirty="0" err="1"/>
              <a:t>Hsia</a:t>
            </a:r>
            <a:endParaRPr lang="pt-BR" sz="2000" dirty="0"/>
          </a:p>
          <a:p>
            <a:pPr rtl="0"/>
            <a:r>
              <a:rPr lang="pt-BR" sz="2000" dirty="0" err="1"/>
              <a:t>Profª</a:t>
            </a:r>
            <a:r>
              <a:rPr lang="pt-BR" sz="2000" dirty="0"/>
              <a:t>. </a:t>
            </a:r>
            <a:r>
              <a:rPr lang="pt-BR" sz="2000" dirty="0" err="1"/>
              <a:t>Amarilis</a:t>
            </a:r>
            <a:r>
              <a:rPr lang="pt-BR" sz="2000" dirty="0"/>
              <a:t> Lucia </a:t>
            </a:r>
            <a:r>
              <a:rPr lang="pt-BR" sz="2000" dirty="0" err="1"/>
              <a:t>Casteli</a:t>
            </a:r>
            <a:r>
              <a:rPr lang="pt-BR" sz="2000" dirty="0"/>
              <a:t> Figueredo Gallardo</a:t>
            </a:r>
          </a:p>
        </p:txBody>
      </p:sp>
      <p:cxnSp>
        <p:nvCxnSpPr>
          <p:cNvPr id="8" name="Conector Reto 7" descr="Linha Divisória">
            <a:extLst>
              <a:ext uri="{FF2B5EF4-FFF2-40B4-BE49-F238E27FC236}">
                <a16:creationId xmlns:a16="http://schemas.microsoft.com/office/drawing/2014/main" id="{650C75AF-B979-4F50-A452-B42AF61718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739644" y="2833191"/>
            <a:ext cx="377363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Espaço Reservado para Imagem 9" descr="Samambaia verde" title="Samambaia verde">
            <a:extLst>
              <a:ext uri="{FF2B5EF4-FFF2-40B4-BE49-F238E27FC236}">
                <a16:creationId xmlns:a16="http://schemas.microsoft.com/office/drawing/2014/main" id="{89BF7FC3-6471-4A3A-B6FD-56C02D0EB0CF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1" name="CaixaDeTexto 10">
            <a:extLst>
              <a:ext uri="{FF2B5EF4-FFF2-40B4-BE49-F238E27FC236}">
                <a16:creationId xmlns:a16="http://schemas.microsoft.com/office/drawing/2014/main" id="{8086F918-91C8-43D8-B926-7061DAA082EA}"/>
              </a:ext>
            </a:extLst>
          </p:cNvPr>
          <p:cNvSpPr txBox="1"/>
          <p:nvPr/>
        </p:nvSpPr>
        <p:spPr>
          <a:xfrm>
            <a:off x="739644" y="1047566"/>
            <a:ext cx="377363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dirty="0">
                <a:latin typeface="Corbel" panose="020B0503020204020204" pitchFamily="34" charset="0"/>
                <a:ea typeface="Cambria" panose="02040503050406030204" pitchFamily="18" charset="0"/>
              </a:rPr>
              <a:t>PHA3513- Sustentabilidade no Setor Produtivo</a:t>
            </a:r>
          </a:p>
        </p:txBody>
      </p:sp>
    </p:spTree>
    <p:extLst>
      <p:ext uri="{BB962C8B-B14F-4D97-AF65-F5344CB8AC3E}">
        <p14:creationId xmlns:p14="http://schemas.microsoft.com/office/powerpoint/2010/main" val="38999616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>
            <a:extLst>
              <a:ext uri="{FF2B5EF4-FFF2-40B4-BE49-F238E27FC236}">
                <a16:creationId xmlns:a16="http://schemas.microsoft.com/office/drawing/2014/main" id="{76F3BC00-016D-45F4-9C27-3F780E2063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r>
              <a:rPr lang="pt-BR" dirty="0"/>
              <a:t>Antes da implementação da P+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28324B85-A254-48A1-8908-97437B6804E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2000" y="1921682"/>
            <a:ext cx="4431548" cy="4198318"/>
          </a:xfrm>
        </p:spPr>
        <p:txBody>
          <a:bodyPr/>
          <a:lstStyle/>
          <a:p>
            <a:r>
              <a:rPr lang="pt-BR" dirty="0"/>
              <a:t>Gasto de 60.000 m³ de água</a:t>
            </a:r>
          </a:p>
          <a:p>
            <a:r>
              <a:rPr lang="pt-BR" dirty="0"/>
              <a:t>Alto custo de tratamento da água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27994797-5697-4A14-97F4-C212A14881C4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accent6">
              <a:alpha val="50000"/>
            </a:schemeClr>
          </a:solidFill>
        </p:spPr>
        <p:txBody>
          <a:bodyPr rtlCol="0"/>
          <a:lstStyle/>
          <a:p>
            <a:pPr algn="ctr" rtl="0"/>
            <a:r>
              <a:rPr lang="pt-BR" dirty="0"/>
              <a:t>Situações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532E0E75-9609-4887-A39D-4A69E964913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340450" y="1350952"/>
            <a:ext cx="5483996" cy="360000"/>
          </a:xfrm>
        </p:spPr>
        <p:txBody>
          <a:bodyPr/>
          <a:lstStyle/>
          <a:p>
            <a:r>
              <a:rPr lang="pt-BR" dirty="0"/>
              <a:t>Depois da implementação de P+L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20037725-6C0F-4811-B8FB-11B62BA25EA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7340450" y="1921682"/>
            <a:ext cx="4419550" cy="4198318"/>
          </a:xfrm>
        </p:spPr>
        <p:txBody>
          <a:bodyPr/>
          <a:lstStyle/>
          <a:p>
            <a:r>
              <a:rPr lang="pt-BR" dirty="0"/>
              <a:t>Utilização da água de reuso em sua produção:</a:t>
            </a:r>
          </a:p>
          <a:p>
            <a:pPr lvl="1"/>
            <a:r>
              <a:rPr lang="pt-BR" dirty="0"/>
              <a:t>Água potável nos refeitórios, pias, chuveiros e instalações para o combate de incêndios</a:t>
            </a:r>
          </a:p>
          <a:p>
            <a:pPr lvl="1"/>
            <a:r>
              <a:rPr lang="pt-BR" dirty="0"/>
              <a:t>Água de reuso vale 75% de toda produção</a:t>
            </a:r>
          </a:p>
          <a:p>
            <a:pPr lvl="1"/>
            <a:r>
              <a:rPr lang="pt-BR" dirty="0"/>
              <a:t>Iniciativa pioneira no Brasil</a:t>
            </a:r>
          </a:p>
          <a:p>
            <a:pPr lvl="1"/>
            <a:r>
              <a:rPr lang="pt-BR" dirty="0"/>
              <a:t>Premio “Selo Pura”</a:t>
            </a:r>
          </a:p>
          <a:p>
            <a:r>
              <a:rPr lang="pt-BR" dirty="0"/>
              <a:t>Custo da implementação abatido em 10 meses</a:t>
            </a:r>
          </a:p>
          <a:p>
            <a:endParaRPr lang="pt-BR" dirty="0"/>
          </a:p>
        </p:txBody>
      </p:sp>
      <p:sp>
        <p:nvSpPr>
          <p:cNvPr id="7" name="Seta: para a Direita 6">
            <a:extLst>
              <a:ext uri="{FF2B5EF4-FFF2-40B4-BE49-F238E27FC236}">
                <a16:creationId xmlns:a16="http://schemas.microsoft.com/office/drawing/2014/main" id="{E8DE95D9-2D99-46D3-8EDF-FEED48471E20}"/>
              </a:ext>
            </a:extLst>
          </p:cNvPr>
          <p:cNvSpPr/>
          <p:nvPr/>
        </p:nvSpPr>
        <p:spPr>
          <a:xfrm>
            <a:off x="5155095" y="2504661"/>
            <a:ext cx="1881809" cy="695740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 w="31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A7278BFE-2DAC-420B-97E0-95CFEA56EA2F}"/>
              </a:ext>
            </a:extLst>
          </p:cNvPr>
          <p:cNvSpPr txBox="1"/>
          <p:nvPr/>
        </p:nvSpPr>
        <p:spPr>
          <a:xfrm>
            <a:off x="5155095" y="3200401"/>
            <a:ext cx="187581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Foi investido R$250.000,0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/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1D343B06-1502-4503-88DC-0FED7CBC4D87}"/>
              </a:ext>
            </a:extLst>
          </p:cNvPr>
          <p:cNvSpPr txBox="1"/>
          <p:nvPr/>
        </p:nvSpPr>
        <p:spPr>
          <a:xfrm>
            <a:off x="5167094" y="2667865"/>
            <a:ext cx="15782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Investimento</a:t>
            </a:r>
          </a:p>
        </p:txBody>
      </p:sp>
    </p:spTree>
    <p:extLst>
      <p:ext uri="{BB962C8B-B14F-4D97-AF65-F5344CB8AC3E}">
        <p14:creationId xmlns:p14="http://schemas.microsoft.com/office/powerpoint/2010/main" val="86954204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" dur="10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3" dur="10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grpId="0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4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4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4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" presetClass="entr" presetSubtype="4" fill="hold" grpId="0" nodeType="withEffect">
                                  <p:stCondLst>
                                    <p:cond delay="5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5" dur="10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8" dur="10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1" dur="10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4" dur="10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7" dur="10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0" dur="10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3" dur="10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 build="p"/>
      <p:bldP spid="5" grpId="0" build="p"/>
      <p:bldP spid="6" grpId="0" build="p"/>
      <p:bldP spid="7" grpId="0" animBg="1"/>
      <p:bldP spid="8" grpId="0"/>
      <p:bldP spid="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ítulo 23">
            <a:extLst>
              <a:ext uri="{FF2B5EF4-FFF2-40B4-BE49-F238E27FC236}">
                <a16:creationId xmlns:a16="http://schemas.microsoft.com/office/drawing/2014/main" id="{2065A35A-C57B-453D-BF8A-7C8AA18B24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0" anchor="b" anchorCtr="0"/>
          <a:lstStyle/>
          <a:p>
            <a:pPr rtl="0"/>
            <a:r>
              <a:rPr lang="pt-BR" dirty="0"/>
              <a:t>Obrigado por assistir!</a:t>
            </a:r>
          </a:p>
        </p:txBody>
      </p:sp>
      <p:cxnSp>
        <p:nvCxnSpPr>
          <p:cNvPr id="25" name="Conector Reto 24" descr="Linha Divisória">
            <a:extLst>
              <a:ext uri="{FF2B5EF4-FFF2-40B4-BE49-F238E27FC236}">
                <a16:creationId xmlns:a16="http://schemas.microsoft.com/office/drawing/2014/main" id="{551A2C98-AF4A-453D-882B-3123746E8A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664575" y="3906982"/>
            <a:ext cx="285052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Espaço Reservado para Imagem 11" descr="Samambaia verde" title="Samambaia verde">
            <a:extLst>
              <a:ext uri="{FF2B5EF4-FFF2-40B4-BE49-F238E27FC236}">
                <a16:creationId xmlns:a16="http://schemas.microsoft.com/office/drawing/2014/main" id="{4323005A-5C0E-47CB-A851-80B7F2A01FA9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153678306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D14336EA-31E7-486F-9074-8DE939B70A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6600" y="-1"/>
            <a:ext cx="5105400" cy="6858001"/>
          </a:xfrm>
          <a:solidFill>
            <a:schemeClr val="accent6">
              <a:alpha val="50000"/>
            </a:schemeClr>
          </a:solidFill>
        </p:spPr>
        <p:txBody>
          <a:bodyPr rtlCol="0" anchor="ctr" anchorCtr="0"/>
          <a:lstStyle/>
          <a:p>
            <a:r>
              <a:rPr lang="pt-BR" dirty="0"/>
              <a:t>ERIMPRESS Etiquetas Ltda</a:t>
            </a:r>
          </a:p>
        </p:txBody>
      </p:sp>
      <p:sp>
        <p:nvSpPr>
          <p:cNvPr id="4" name="Subtítulo 3">
            <a:extLst>
              <a:ext uri="{FF2B5EF4-FFF2-40B4-BE49-F238E27FC236}">
                <a16:creationId xmlns:a16="http://schemas.microsoft.com/office/drawing/2014/main" id="{4772945D-CA91-4CFE-8EB7-941C7618C99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36402" y="3763617"/>
            <a:ext cx="3638852" cy="2957858"/>
          </a:xfrm>
          <a:ln>
            <a:noFill/>
          </a:ln>
        </p:spPr>
        <p:txBody>
          <a:bodyPr rtlCol="0"/>
          <a:lstStyle/>
          <a:p>
            <a:pPr marL="342900" indent="-342900" rtl="0">
              <a:buFont typeface="Arial" panose="020B0604020202020204" pitchFamily="34" charset="0"/>
              <a:buChar char="•"/>
            </a:pPr>
            <a:r>
              <a:rPr lang="pt-BR" dirty="0"/>
              <a:t>Empresa pequena</a:t>
            </a:r>
          </a:p>
          <a:p>
            <a:pPr marL="342900" indent="-342900" rtl="0">
              <a:buFont typeface="Arial" panose="020B0604020202020204" pitchFamily="34" charset="0"/>
              <a:buChar char="•"/>
            </a:pPr>
            <a:r>
              <a:rPr lang="pt-BR" dirty="0"/>
              <a:t>Atuação regional e nacional</a:t>
            </a:r>
          </a:p>
          <a:p>
            <a:pPr marL="342900" indent="-342900" rtl="0">
              <a:buFont typeface="Arial" panose="020B0604020202020204" pitchFamily="34" charset="0"/>
              <a:buChar char="•"/>
            </a:pPr>
            <a:r>
              <a:rPr lang="pt-BR" dirty="0"/>
              <a:t>Etiquetas (comercial e industrial)</a:t>
            </a:r>
          </a:p>
          <a:p>
            <a:pPr marL="342900" indent="-342900" rtl="0">
              <a:buFont typeface="Arial" panose="020B0604020202020204" pitchFamily="34" charset="0"/>
              <a:buChar char="•"/>
            </a:pPr>
            <a:r>
              <a:rPr lang="pt-BR" dirty="0"/>
              <a:t>Produção 600.000 m² de papel adesivo</a:t>
            </a:r>
          </a:p>
          <a:p>
            <a:pPr marL="342900" indent="-342900" rtl="0">
              <a:buFont typeface="Arial" panose="020B0604020202020204" pitchFamily="34" charset="0"/>
              <a:buChar char="•"/>
            </a:pPr>
            <a:endParaRPr lang="pt-BR" dirty="0"/>
          </a:p>
          <a:p>
            <a:pPr marL="342900" indent="-342900" rtl="0">
              <a:buFont typeface="Arial" panose="020B0604020202020204" pitchFamily="34" charset="0"/>
              <a:buChar char="•"/>
            </a:pPr>
            <a:endParaRPr lang="pt-BR" dirty="0"/>
          </a:p>
        </p:txBody>
      </p:sp>
      <p:sp>
        <p:nvSpPr>
          <p:cNvPr id="5" name="Espaço Reservado para o Número do Slide 4">
            <a:extLst>
              <a:ext uri="{FF2B5EF4-FFF2-40B4-BE49-F238E27FC236}">
                <a16:creationId xmlns:a16="http://schemas.microsoft.com/office/drawing/2014/main" id="{BDD5A594-D852-43BB-B591-E9D9027253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/>
          <a:p>
            <a:pPr rtl="0"/>
            <a:fld id="{19B51A1E-902D-48AF-9020-955120F399B6}" type="slidenum">
              <a:rPr lang="pt-BR" smtClean="0"/>
              <a:pPr/>
              <a:t>2</a:t>
            </a:fld>
            <a:endParaRPr lang="pt-BR"/>
          </a:p>
        </p:txBody>
      </p:sp>
      <p:pic>
        <p:nvPicPr>
          <p:cNvPr id="18" name="Imagem 17" descr="Uma imagem contendo desenho&#10;&#10;Descrição gerada automaticamente">
            <a:extLst>
              <a:ext uri="{FF2B5EF4-FFF2-40B4-BE49-F238E27FC236}">
                <a16:creationId xmlns:a16="http://schemas.microsoft.com/office/drawing/2014/main" id="{0ECD6411-D7A7-4BB8-8F8A-003FF30A28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746" y="1937748"/>
            <a:ext cx="5653108" cy="2982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167464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tângulo 17">
            <a:extLst>
              <a:ext uri="{FF2B5EF4-FFF2-40B4-BE49-F238E27FC236}">
                <a16:creationId xmlns:a16="http://schemas.microsoft.com/office/drawing/2014/main" id="{F425A028-038E-4FB2-9F87-E6CC52224AF7}"/>
              </a:ext>
            </a:extLst>
          </p:cNvPr>
          <p:cNvSpPr/>
          <p:nvPr/>
        </p:nvSpPr>
        <p:spPr>
          <a:xfrm>
            <a:off x="0" y="0"/>
            <a:ext cx="5903999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5" name="Espaço Reservado para Texto 14">
            <a:extLst>
              <a:ext uri="{FF2B5EF4-FFF2-40B4-BE49-F238E27FC236}">
                <a16:creationId xmlns:a16="http://schemas.microsoft.com/office/drawing/2014/main" id="{4A368697-3658-4061-9485-055DDFE775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400348"/>
            <a:ext cx="5472000" cy="360000"/>
          </a:xfrm>
        </p:spPr>
        <p:txBody>
          <a:bodyPr/>
          <a:lstStyle/>
          <a:p>
            <a:r>
              <a:rPr lang="pt-BR" dirty="0">
                <a:solidFill>
                  <a:schemeClr val="tx1"/>
                </a:solidFill>
              </a:rPr>
              <a:t>Oportunidade de implementação</a:t>
            </a:r>
          </a:p>
        </p:txBody>
      </p:sp>
      <p:sp>
        <p:nvSpPr>
          <p:cNvPr id="4" name="Subtítulo 3">
            <a:extLst>
              <a:ext uri="{FF2B5EF4-FFF2-40B4-BE49-F238E27FC236}">
                <a16:creationId xmlns:a16="http://schemas.microsoft.com/office/drawing/2014/main" id="{4772945D-CA91-4CFE-8EB7-941C7618C99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15999" y="1921683"/>
            <a:ext cx="5472000" cy="4198318"/>
          </a:xfrm>
        </p:spPr>
        <p:txBody>
          <a:bodyPr rtlCol="0"/>
          <a:lstStyle/>
          <a:p>
            <a:pPr rtl="0"/>
            <a:r>
              <a:rPr lang="pt-BR" dirty="0"/>
              <a:t>Utilização de silicone à base de solventes orgânicos</a:t>
            </a:r>
          </a:p>
          <a:p>
            <a:pPr rtl="0"/>
            <a:r>
              <a:rPr lang="pt-BR" dirty="0"/>
              <a:t>Gerava gases e vapores no ambiente de trabalho</a:t>
            </a:r>
          </a:p>
          <a:p>
            <a:pPr rtl="0"/>
            <a:r>
              <a:rPr lang="pt-BR" dirty="0"/>
              <a:t>Incomodo à população</a:t>
            </a:r>
          </a:p>
          <a:p>
            <a:pPr rtl="0"/>
            <a:r>
              <a:rPr lang="pt-BR" dirty="0"/>
              <a:t>Tentativas de resolver os problemas:</a:t>
            </a:r>
          </a:p>
          <a:p>
            <a:pPr lvl="1"/>
            <a:r>
              <a:rPr lang="pt-BR" dirty="0"/>
              <a:t>Operações noturnas</a:t>
            </a:r>
          </a:p>
          <a:p>
            <a:pPr lvl="1"/>
            <a:r>
              <a:rPr lang="pt-BR" dirty="0"/>
              <a:t>Instalação de um sistema de exaustão</a:t>
            </a:r>
          </a:p>
          <a:p>
            <a:pPr rtl="0"/>
            <a:r>
              <a:rPr lang="pt-BR" dirty="0"/>
              <a:t>Acionada a CETESB</a:t>
            </a:r>
          </a:p>
        </p:txBody>
      </p:sp>
      <p:sp>
        <p:nvSpPr>
          <p:cNvPr id="5" name="Espaço Reservado para o Número do Slide 4">
            <a:extLst>
              <a:ext uri="{FF2B5EF4-FFF2-40B4-BE49-F238E27FC236}">
                <a16:creationId xmlns:a16="http://schemas.microsoft.com/office/drawing/2014/main" id="{F6964141-6F81-4947-A236-746D94ED3F6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/>
          <a:p>
            <a:pPr rtl="0"/>
            <a:fld id="{19B51A1E-902D-48AF-9020-955120F399B6}" type="slidenum">
              <a:rPr lang="pt-BR" smtClean="0"/>
              <a:pPr/>
              <a:t>3</a:t>
            </a:fld>
            <a:endParaRPr lang="pt-BR"/>
          </a:p>
        </p:txBody>
      </p:sp>
      <p:sp>
        <p:nvSpPr>
          <p:cNvPr id="16" name="Espaço Reservado para Texto 15">
            <a:extLst>
              <a:ext uri="{FF2B5EF4-FFF2-40B4-BE49-F238E27FC236}">
                <a16:creationId xmlns:a16="http://schemas.microsoft.com/office/drawing/2014/main" id="{C56ED2E8-087E-467E-B32A-FD39F49E03D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22228" y="400348"/>
            <a:ext cx="5483996" cy="360000"/>
          </a:xfrm>
        </p:spPr>
        <p:txBody>
          <a:bodyPr/>
          <a:lstStyle/>
          <a:p>
            <a:r>
              <a:rPr lang="pt-BR" dirty="0"/>
              <a:t>Implementação das medidas de P+L</a:t>
            </a:r>
          </a:p>
        </p:txBody>
      </p:sp>
      <p:sp>
        <p:nvSpPr>
          <p:cNvPr id="17" name="Espaço Reservado para Conteúdo 16">
            <a:extLst>
              <a:ext uri="{FF2B5EF4-FFF2-40B4-BE49-F238E27FC236}">
                <a16:creationId xmlns:a16="http://schemas.microsoft.com/office/drawing/2014/main" id="{AD206954-4C55-4C29-8E75-1672D5BBFA48}"/>
              </a:ext>
            </a:extLst>
          </p:cNvPr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r>
              <a:rPr lang="pt-BR" dirty="0"/>
              <a:t>Troca da matéria prima para silicone à base de água:</a:t>
            </a:r>
          </a:p>
          <a:p>
            <a:pPr lvl="1"/>
            <a:r>
              <a:rPr lang="pt-BR" dirty="0"/>
              <a:t>Não teve impacto em relação a sua operação do sistema</a:t>
            </a: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FEA4722B-6B3A-4A17-8F39-63998E478B17}"/>
              </a:ext>
            </a:extLst>
          </p:cNvPr>
          <p:cNvSpPr/>
          <p:nvPr/>
        </p:nvSpPr>
        <p:spPr>
          <a:xfrm>
            <a:off x="215999" y="4994341"/>
            <a:ext cx="1139688" cy="556591"/>
          </a:xfrm>
          <a:prstGeom prst="rect">
            <a:avLst/>
          </a:prstGeom>
          <a:solidFill>
            <a:schemeClr val="accent2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DD998168-7D28-43F4-89B7-942C5851EE84}"/>
              </a:ext>
            </a:extLst>
          </p:cNvPr>
          <p:cNvSpPr txBox="1"/>
          <p:nvPr/>
        </p:nvSpPr>
        <p:spPr>
          <a:xfrm>
            <a:off x="321143" y="5087970"/>
            <a:ext cx="11396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Silicone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92F88D67-9870-40E5-B66B-7D68DD8A5B8F}"/>
              </a:ext>
            </a:extLst>
          </p:cNvPr>
          <p:cNvSpPr txBox="1"/>
          <p:nvPr/>
        </p:nvSpPr>
        <p:spPr>
          <a:xfrm>
            <a:off x="1463382" y="5102087"/>
            <a:ext cx="3498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+</a:t>
            </a: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1751E4D9-8332-4382-8BCF-28D4B8F3833D}"/>
              </a:ext>
            </a:extLst>
          </p:cNvPr>
          <p:cNvSpPr/>
          <p:nvPr/>
        </p:nvSpPr>
        <p:spPr>
          <a:xfrm>
            <a:off x="1813260" y="4994340"/>
            <a:ext cx="1139688" cy="55659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40CA9E51-1F9B-4633-A188-E7CE3ECCC217}"/>
              </a:ext>
            </a:extLst>
          </p:cNvPr>
          <p:cNvSpPr txBox="1"/>
          <p:nvPr/>
        </p:nvSpPr>
        <p:spPr>
          <a:xfrm>
            <a:off x="1904101" y="5102087"/>
            <a:ext cx="11396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Solvente</a:t>
            </a:r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89FCEBA2-4508-40F2-AC76-43145FD6E92F}"/>
              </a:ext>
            </a:extLst>
          </p:cNvPr>
          <p:cNvSpPr txBox="1"/>
          <p:nvPr/>
        </p:nvSpPr>
        <p:spPr>
          <a:xfrm>
            <a:off x="3151485" y="5087970"/>
            <a:ext cx="3498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+</a:t>
            </a:r>
          </a:p>
        </p:txBody>
      </p:sp>
      <p:sp>
        <p:nvSpPr>
          <p:cNvPr id="22" name="Retângulo 21">
            <a:extLst>
              <a:ext uri="{FF2B5EF4-FFF2-40B4-BE49-F238E27FC236}">
                <a16:creationId xmlns:a16="http://schemas.microsoft.com/office/drawing/2014/main" id="{3F4C6FCA-BC20-4EC5-B9B9-6E7299284BC0}"/>
              </a:ext>
            </a:extLst>
          </p:cNvPr>
          <p:cNvSpPr/>
          <p:nvPr/>
        </p:nvSpPr>
        <p:spPr>
          <a:xfrm>
            <a:off x="3501363" y="4994339"/>
            <a:ext cx="1139688" cy="556591"/>
          </a:xfrm>
          <a:prstGeom prst="rect">
            <a:avLst/>
          </a:prstGeom>
          <a:solidFill>
            <a:srgbClr val="FFFF0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2F81CCF1-7796-40F1-BB2A-80B814C060AD}"/>
              </a:ext>
            </a:extLst>
          </p:cNvPr>
          <p:cNvSpPr txBox="1"/>
          <p:nvPr/>
        </p:nvSpPr>
        <p:spPr>
          <a:xfrm>
            <a:off x="3439608" y="5087968"/>
            <a:ext cx="13698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Catalizador</a:t>
            </a:r>
          </a:p>
        </p:txBody>
      </p:sp>
      <p:sp>
        <p:nvSpPr>
          <p:cNvPr id="24" name="Retângulo 23">
            <a:extLst>
              <a:ext uri="{FF2B5EF4-FFF2-40B4-BE49-F238E27FC236}">
                <a16:creationId xmlns:a16="http://schemas.microsoft.com/office/drawing/2014/main" id="{088D1EC1-3DE2-4CE1-8910-B4B95D90B022}"/>
              </a:ext>
            </a:extLst>
          </p:cNvPr>
          <p:cNvSpPr/>
          <p:nvPr/>
        </p:nvSpPr>
        <p:spPr>
          <a:xfrm>
            <a:off x="6216336" y="4994341"/>
            <a:ext cx="1139688" cy="556591"/>
          </a:xfrm>
          <a:prstGeom prst="rect">
            <a:avLst/>
          </a:prstGeom>
          <a:solidFill>
            <a:schemeClr val="accent2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5" name="CaixaDeTexto 24">
            <a:extLst>
              <a:ext uri="{FF2B5EF4-FFF2-40B4-BE49-F238E27FC236}">
                <a16:creationId xmlns:a16="http://schemas.microsoft.com/office/drawing/2014/main" id="{69F1500F-97CC-4099-AD2B-28906AD6BC49}"/>
              </a:ext>
            </a:extLst>
          </p:cNvPr>
          <p:cNvSpPr txBox="1"/>
          <p:nvPr/>
        </p:nvSpPr>
        <p:spPr>
          <a:xfrm>
            <a:off x="6321480" y="5087970"/>
            <a:ext cx="11396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Silicone</a:t>
            </a:r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56A4B236-821C-476F-960E-C88B64B4792D}"/>
              </a:ext>
            </a:extLst>
          </p:cNvPr>
          <p:cNvSpPr txBox="1"/>
          <p:nvPr/>
        </p:nvSpPr>
        <p:spPr>
          <a:xfrm>
            <a:off x="7463719" y="5102087"/>
            <a:ext cx="3498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+</a:t>
            </a:r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id="{7A9828C4-B86D-48B7-8AEC-668D4CDB7036}"/>
              </a:ext>
            </a:extLst>
          </p:cNvPr>
          <p:cNvSpPr/>
          <p:nvPr/>
        </p:nvSpPr>
        <p:spPr>
          <a:xfrm>
            <a:off x="7813597" y="4994340"/>
            <a:ext cx="1139688" cy="556591"/>
          </a:xfrm>
          <a:prstGeom prst="rect">
            <a:avLst/>
          </a:prstGeom>
          <a:solidFill>
            <a:srgbClr val="0070C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C2D12EC9-FC2E-47BA-AC9A-C5F6E0E8A6EB}"/>
              </a:ext>
            </a:extLst>
          </p:cNvPr>
          <p:cNvSpPr txBox="1"/>
          <p:nvPr/>
        </p:nvSpPr>
        <p:spPr>
          <a:xfrm>
            <a:off x="8026048" y="5088604"/>
            <a:ext cx="11396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Água</a:t>
            </a:r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553ABE9B-C93A-49B4-8569-2C75AA6569B3}"/>
              </a:ext>
            </a:extLst>
          </p:cNvPr>
          <p:cNvSpPr txBox="1"/>
          <p:nvPr/>
        </p:nvSpPr>
        <p:spPr>
          <a:xfrm>
            <a:off x="9060980" y="5102087"/>
            <a:ext cx="3498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+</a:t>
            </a:r>
          </a:p>
        </p:txBody>
      </p:sp>
      <p:sp>
        <p:nvSpPr>
          <p:cNvPr id="30" name="Retângulo 29">
            <a:extLst>
              <a:ext uri="{FF2B5EF4-FFF2-40B4-BE49-F238E27FC236}">
                <a16:creationId xmlns:a16="http://schemas.microsoft.com/office/drawing/2014/main" id="{9C29F444-E096-4C6E-8F99-C0E5C4BAE47F}"/>
              </a:ext>
            </a:extLst>
          </p:cNvPr>
          <p:cNvSpPr/>
          <p:nvPr/>
        </p:nvSpPr>
        <p:spPr>
          <a:xfrm>
            <a:off x="9501700" y="4994339"/>
            <a:ext cx="1139688" cy="556591"/>
          </a:xfrm>
          <a:prstGeom prst="rect">
            <a:avLst/>
          </a:prstGeom>
          <a:solidFill>
            <a:srgbClr val="FFFF0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1" name="CaixaDeTexto 30">
            <a:extLst>
              <a:ext uri="{FF2B5EF4-FFF2-40B4-BE49-F238E27FC236}">
                <a16:creationId xmlns:a16="http://schemas.microsoft.com/office/drawing/2014/main" id="{FC0F16D7-1855-4B10-A209-A7F88F50B655}"/>
              </a:ext>
            </a:extLst>
          </p:cNvPr>
          <p:cNvSpPr txBox="1"/>
          <p:nvPr/>
        </p:nvSpPr>
        <p:spPr>
          <a:xfrm>
            <a:off x="9439945" y="5087968"/>
            <a:ext cx="13698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Catalizador</a:t>
            </a:r>
          </a:p>
        </p:txBody>
      </p:sp>
    </p:spTree>
    <p:extLst>
      <p:ext uri="{BB962C8B-B14F-4D97-AF65-F5344CB8AC3E}">
        <p14:creationId xmlns:p14="http://schemas.microsoft.com/office/powerpoint/2010/main" val="211769541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8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8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800"/>
                            </p:stCondLst>
                            <p:childTnLst>
                              <p:par>
                                <p:cTn id="10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10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5" dur="10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10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10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0" dur="100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100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1000"/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5" dur="1000" fill="hold"/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1000" fill="hold"/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5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0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5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6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0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1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5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6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0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1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5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6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5" grpId="0" build="p"/>
      <p:bldP spid="16" grpId="0" build="p"/>
      <p:bldP spid="2" grpId="0" animBg="1"/>
      <p:bldP spid="3" grpId="0"/>
      <p:bldP spid="6" grpId="0"/>
      <p:bldP spid="7" grpId="0" animBg="1"/>
      <p:bldP spid="8" grpId="0"/>
      <p:bldP spid="21" grpId="0"/>
      <p:bldP spid="22" grpId="0" animBg="1"/>
      <p:bldP spid="11" grpId="0"/>
      <p:bldP spid="24" grpId="0" animBg="1"/>
      <p:bldP spid="25" grpId="0"/>
      <p:bldP spid="26" grpId="0"/>
      <p:bldP spid="27" grpId="0" animBg="1"/>
      <p:bldP spid="28" grpId="0"/>
      <p:bldP spid="29" grpId="0"/>
      <p:bldP spid="30" grpId="0" animBg="1"/>
      <p:bldP spid="31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>
            <a:extLst>
              <a:ext uri="{FF2B5EF4-FFF2-40B4-BE49-F238E27FC236}">
                <a16:creationId xmlns:a16="http://schemas.microsoft.com/office/drawing/2014/main" id="{76F3BC00-016D-45F4-9C27-3F780E2063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r>
              <a:rPr lang="pt-BR" dirty="0"/>
              <a:t>Antes da implementação da P+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28324B85-A254-48A1-8908-97437B6804E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2000" y="1921682"/>
            <a:ext cx="4431548" cy="4198318"/>
          </a:xfrm>
        </p:spPr>
        <p:txBody>
          <a:bodyPr/>
          <a:lstStyle/>
          <a:p>
            <a:r>
              <a:rPr lang="pt-BR" dirty="0"/>
              <a:t>Utilização de silicone à base de solventes orgânicos:</a:t>
            </a:r>
          </a:p>
          <a:p>
            <a:pPr lvl="1"/>
            <a:r>
              <a:rPr lang="pt-BR" dirty="0"/>
              <a:t>U$ 3.000 de matéria prima para 100.000 m² de etiqueta</a:t>
            </a:r>
          </a:p>
          <a:p>
            <a:pPr lvl="1"/>
            <a:r>
              <a:rPr lang="pt-BR" dirty="0"/>
              <a:t>Riscos em relação ao armazenamento da matéria prima</a:t>
            </a:r>
          </a:p>
          <a:p>
            <a:pPr lvl="1"/>
            <a:r>
              <a:rPr lang="pt-BR" dirty="0"/>
              <a:t>Reclamações com a comunidade vizinha</a:t>
            </a:r>
          </a:p>
          <a:p>
            <a:pPr lvl="1"/>
            <a:r>
              <a:rPr lang="pt-BR" dirty="0"/>
              <a:t>Atuação da CETESP 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27994797-5697-4A14-97F4-C212A14881C4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accent6">
              <a:alpha val="50000"/>
            </a:schemeClr>
          </a:solidFill>
        </p:spPr>
        <p:txBody>
          <a:bodyPr rtlCol="0"/>
          <a:lstStyle/>
          <a:p>
            <a:pPr algn="ctr" rtl="0"/>
            <a:r>
              <a:rPr lang="pt-BR" dirty="0"/>
              <a:t>Situações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532E0E75-9609-4887-A39D-4A69E964913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340450" y="1350952"/>
            <a:ext cx="5483996" cy="360000"/>
          </a:xfrm>
        </p:spPr>
        <p:txBody>
          <a:bodyPr/>
          <a:lstStyle/>
          <a:p>
            <a:r>
              <a:rPr lang="pt-BR" dirty="0"/>
              <a:t>Depois da implementação da P+L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20037725-6C0F-4811-B8FB-11B62BA25EA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7340450" y="1921682"/>
            <a:ext cx="4419550" cy="4198318"/>
          </a:xfrm>
        </p:spPr>
        <p:txBody>
          <a:bodyPr/>
          <a:lstStyle/>
          <a:p>
            <a:r>
              <a:rPr lang="pt-BR" dirty="0"/>
              <a:t>Utilização de silicone à base de água:</a:t>
            </a:r>
          </a:p>
          <a:p>
            <a:pPr lvl="1"/>
            <a:r>
              <a:rPr lang="pt-BR" dirty="0"/>
              <a:t>U$ 2.500 de matéria prima para 100.000 m² de etiqueta</a:t>
            </a:r>
          </a:p>
          <a:p>
            <a:pPr lvl="1"/>
            <a:r>
              <a:rPr lang="pt-BR" dirty="0"/>
              <a:t>Eliminação de solventes orgânicos</a:t>
            </a:r>
          </a:p>
          <a:p>
            <a:pPr lvl="1"/>
            <a:r>
              <a:rPr lang="pt-BR" dirty="0"/>
              <a:t>Eliminação de riscos em relação ao armazenamento da matéria prima</a:t>
            </a:r>
          </a:p>
          <a:p>
            <a:pPr lvl="1"/>
            <a:r>
              <a:rPr lang="pt-BR" dirty="0"/>
              <a:t>Melhor qualidade do produto final</a:t>
            </a:r>
          </a:p>
          <a:p>
            <a:pPr lvl="1"/>
            <a:r>
              <a:rPr lang="pt-BR" dirty="0"/>
              <a:t>Eliminação das reclamações da população vizinha</a:t>
            </a:r>
          </a:p>
          <a:p>
            <a:pPr lvl="1"/>
            <a:r>
              <a:rPr lang="pt-BR" dirty="0"/>
              <a:t>Eliminação dos problemas com a CETESB</a:t>
            </a:r>
          </a:p>
          <a:p>
            <a:r>
              <a:rPr lang="pt-BR" dirty="0"/>
              <a:t>Ações futuras:</a:t>
            </a:r>
          </a:p>
          <a:p>
            <a:pPr lvl="1"/>
            <a:r>
              <a:rPr lang="pt-BR" dirty="0"/>
              <a:t>Negociações com fornecedores.</a:t>
            </a:r>
          </a:p>
          <a:p>
            <a:pPr marL="266700" lvl="1" indent="0">
              <a:buNone/>
            </a:pPr>
            <a:endParaRPr lang="pt-BR" dirty="0"/>
          </a:p>
          <a:p>
            <a:endParaRPr lang="pt-BR" dirty="0"/>
          </a:p>
        </p:txBody>
      </p:sp>
      <p:sp>
        <p:nvSpPr>
          <p:cNvPr id="7" name="Seta: para a Direita 6">
            <a:extLst>
              <a:ext uri="{FF2B5EF4-FFF2-40B4-BE49-F238E27FC236}">
                <a16:creationId xmlns:a16="http://schemas.microsoft.com/office/drawing/2014/main" id="{E8DE95D9-2D99-46D3-8EDF-FEED48471E20}"/>
              </a:ext>
            </a:extLst>
          </p:cNvPr>
          <p:cNvSpPr/>
          <p:nvPr/>
        </p:nvSpPr>
        <p:spPr>
          <a:xfrm>
            <a:off x="5155095" y="2504661"/>
            <a:ext cx="1881809" cy="695740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 w="31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A7278BFE-2DAC-420B-97E0-95CFEA56EA2F}"/>
              </a:ext>
            </a:extLst>
          </p:cNvPr>
          <p:cNvSpPr txBox="1"/>
          <p:nvPr/>
        </p:nvSpPr>
        <p:spPr>
          <a:xfrm>
            <a:off x="5155095" y="3200401"/>
            <a:ext cx="18758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Não houve custo de mudança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1D343B06-1502-4503-88DC-0FED7CBC4D87}"/>
              </a:ext>
            </a:extLst>
          </p:cNvPr>
          <p:cNvSpPr txBox="1"/>
          <p:nvPr/>
        </p:nvSpPr>
        <p:spPr>
          <a:xfrm>
            <a:off x="5167094" y="2667865"/>
            <a:ext cx="15782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Investimento</a:t>
            </a:r>
          </a:p>
        </p:txBody>
      </p:sp>
    </p:spTree>
    <p:extLst>
      <p:ext uri="{BB962C8B-B14F-4D97-AF65-F5344CB8AC3E}">
        <p14:creationId xmlns:p14="http://schemas.microsoft.com/office/powerpoint/2010/main" val="222504588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" dur="10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3" dur="10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6" dur="10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9" dur="10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2" dur="10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53" presetClass="entr" presetSubtype="16" fill="hold" grpId="0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4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4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4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" presetClass="entr" presetSubtype="4" fill="hold" grpId="0" nodeType="withEffect">
                                  <p:stCondLst>
                                    <p:cond delay="5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4" dur="10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7" dur="10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0" dur="10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3" dur="10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6" dur="10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9" dur="10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62" dur="10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65" dur="100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68" dur="1000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1" dur="1000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7" grpId="0" animBg="1"/>
      <p:bldP spid="8" grpId="0"/>
      <p:bldP spid="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027E1886-7A92-4929-84A6-13601559C0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8285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Slide do think-cell" r:id="rId6" imgW="421" imgH="423" progId="TCLayout.ActiveDocument.1">
                  <p:embed/>
                </p:oleObj>
              </mc:Choice>
              <mc:Fallback>
                <p:oleObj name="Slide do think-cell" r:id="rId6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ângulo 1" hidden="1">
            <a:extLst>
              <a:ext uri="{FF2B5EF4-FFF2-40B4-BE49-F238E27FC236}">
                <a16:creationId xmlns:a16="http://schemas.microsoft.com/office/drawing/2014/main" id="{20050FB0-675B-41DF-83F9-BD4419AF4AC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pt-BR" sz="5000" dirty="0"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7" name="Título 6">
            <a:extLst>
              <a:ext uri="{FF2B5EF4-FFF2-40B4-BE49-F238E27FC236}">
                <a16:creationId xmlns:a16="http://schemas.microsoft.com/office/drawing/2014/main" id="{D14336EA-31E7-486F-9074-8DE939B70A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1"/>
            <a:ext cx="5105400" cy="6858001"/>
          </a:xfrm>
          <a:solidFill>
            <a:schemeClr val="accent6">
              <a:alpha val="50000"/>
            </a:schemeClr>
          </a:solidFill>
        </p:spPr>
        <p:txBody>
          <a:bodyPr rtlCol="0" anchor="ctr" anchorCtr="0"/>
          <a:lstStyle/>
          <a:p>
            <a:r>
              <a:rPr lang="pt-BR" dirty="0"/>
              <a:t>Companhia Brasileira de Bebidas</a:t>
            </a:r>
          </a:p>
        </p:txBody>
      </p:sp>
      <p:sp>
        <p:nvSpPr>
          <p:cNvPr id="4" name="Subtítulo 3">
            <a:extLst>
              <a:ext uri="{FF2B5EF4-FFF2-40B4-BE49-F238E27FC236}">
                <a16:creationId xmlns:a16="http://schemas.microsoft.com/office/drawing/2014/main" id="{4772945D-CA91-4CFE-8EB7-941C7618C99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33274" y="3428999"/>
            <a:ext cx="3638852" cy="3292476"/>
          </a:xfrm>
          <a:ln>
            <a:noFill/>
          </a:ln>
        </p:spPr>
        <p:txBody>
          <a:bodyPr rtlCol="0"/>
          <a:lstStyle/>
          <a:p>
            <a:pPr marL="342900" indent="-342900" rtl="0">
              <a:buFont typeface="Arial" panose="020B0604020202020204" pitchFamily="34" charset="0"/>
              <a:buChar char="•"/>
            </a:pPr>
            <a:r>
              <a:rPr lang="pt-BR" dirty="0"/>
              <a:t>Grande companhia</a:t>
            </a:r>
          </a:p>
          <a:p>
            <a:pPr marL="342900" indent="-342900" rtl="0">
              <a:buFont typeface="Arial" panose="020B0604020202020204" pitchFamily="34" charset="0"/>
              <a:buChar char="•"/>
            </a:pPr>
            <a:r>
              <a:rPr lang="pt-BR" dirty="0"/>
              <a:t>Atuação nacional e internacional</a:t>
            </a:r>
          </a:p>
          <a:p>
            <a:pPr marL="342900" indent="-342900" rtl="0">
              <a:buFont typeface="Arial" panose="020B0604020202020204" pitchFamily="34" charset="0"/>
              <a:buChar char="•"/>
            </a:pPr>
            <a:r>
              <a:rPr lang="pt-BR" dirty="0"/>
              <a:t>Produção de bebidas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pt-BR" dirty="0"/>
              <a:t>Bebidas Alcoólica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pt-BR" dirty="0"/>
              <a:t>Água mineral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pt-BR" dirty="0" err="1"/>
              <a:t>Isôtonicos</a:t>
            </a:r>
            <a:endParaRPr lang="pt-BR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/>
              <a:t>Produção de 5.000.000 </a:t>
            </a:r>
            <a:r>
              <a:rPr lang="pt-BR" dirty="0" err="1"/>
              <a:t>hL</a:t>
            </a:r>
            <a:r>
              <a:rPr lang="pt-BR" dirty="0"/>
              <a:t> de bebidas</a:t>
            </a:r>
          </a:p>
          <a:p>
            <a:pPr marL="342900" indent="-342900" rtl="0">
              <a:buFont typeface="Arial" panose="020B0604020202020204" pitchFamily="34" charset="0"/>
              <a:buChar char="•"/>
            </a:pPr>
            <a:endParaRPr lang="pt-BR" dirty="0"/>
          </a:p>
          <a:p>
            <a:pPr marL="342900" indent="-342900" rtl="0">
              <a:buFont typeface="Arial" panose="020B0604020202020204" pitchFamily="34" charset="0"/>
              <a:buChar char="•"/>
            </a:pPr>
            <a:endParaRPr lang="pt-BR" dirty="0"/>
          </a:p>
        </p:txBody>
      </p:sp>
      <p:sp>
        <p:nvSpPr>
          <p:cNvPr id="5" name="Espaço Reservado para o Número do Slide 4">
            <a:extLst>
              <a:ext uri="{FF2B5EF4-FFF2-40B4-BE49-F238E27FC236}">
                <a16:creationId xmlns:a16="http://schemas.microsoft.com/office/drawing/2014/main" id="{BDD5A594-D852-43BB-B591-E9D9027253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/>
          <a:p>
            <a:pPr rtl="0"/>
            <a:fld id="{19B51A1E-902D-48AF-9020-955120F399B6}" type="slidenum">
              <a:rPr lang="pt-BR" smtClean="0"/>
              <a:pPr rtl="0"/>
              <a:t>5</a:t>
            </a:fld>
            <a:endParaRPr lang="pt-BR"/>
          </a:p>
        </p:txBody>
      </p:sp>
      <p:pic>
        <p:nvPicPr>
          <p:cNvPr id="6" name="Imagem 5" descr="Desenho de personagem de desenho animado&#10;&#10;Descrição gerada automaticamente">
            <a:extLst>
              <a:ext uri="{FF2B5EF4-FFF2-40B4-BE49-F238E27FC236}">
                <a16:creationId xmlns:a16="http://schemas.microsoft.com/office/drawing/2014/main" id="{64A3F2BA-B322-4DD2-BEDA-F4424617529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92466" y="1935188"/>
            <a:ext cx="4966260" cy="2987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29318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tângulo 17">
            <a:extLst>
              <a:ext uri="{FF2B5EF4-FFF2-40B4-BE49-F238E27FC236}">
                <a16:creationId xmlns:a16="http://schemas.microsoft.com/office/drawing/2014/main" id="{F425A028-038E-4FB2-9F87-E6CC52224AF7}"/>
              </a:ext>
            </a:extLst>
          </p:cNvPr>
          <p:cNvSpPr/>
          <p:nvPr/>
        </p:nvSpPr>
        <p:spPr>
          <a:xfrm>
            <a:off x="-1" y="0"/>
            <a:ext cx="5903999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5" name="Espaço Reservado para Texto 14">
            <a:extLst>
              <a:ext uri="{FF2B5EF4-FFF2-40B4-BE49-F238E27FC236}">
                <a16:creationId xmlns:a16="http://schemas.microsoft.com/office/drawing/2014/main" id="{4A368697-3658-4061-9485-055DDFE775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400348"/>
            <a:ext cx="5472000" cy="360000"/>
          </a:xfrm>
        </p:spPr>
        <p:txBody>
          <a:bodyPr/>
          <a:lstStyle/>
          <a:p>
            <a:r>
              <a:rPr lang="pt-BR" dirty="0">
                <a:solidFill>
                  <a:schemeClr val="tx1"/>
                </a:solidFill>
              </a:rPr>
              <a:t>Oportunidade de implementação</a:t>
            </a:r>
          </a:p>
        </p:txBody>
      </p:sp>
      <p:sp>
        <p:nvSpPr>
          <p:cNvPr id="4" name="Subtítulo 3">
            <a:extLst>
              <a:ext uri="{FF2B5EF4-FFF2-40B4-BE49-F238E27FC236}">
                <a16:creationId xmlns:a16="http://schemas.microsoft.com/office/drawing/2014/main" id="{4772945D-CA91-4CFE-8EB7-941C7618C99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15999" y="1921683"/>
            <a:ext cx="5472000" cy="4198318"/>
          </a:xfrm>
        </p:spPr>
        <p:txBody>
          <a:bodyPr rtlCol="0"/>
          <a:lstStyle/>
          <a:p>
            <a:pPr rtl="0"/>
            <a:r>
              <a:rPr lang="pt-BR" dirty="0"/>
              <a:t>Grande gasto de água na produção:</a:t>
            </a:r>
          </a:p>
          <a:p>
            <a:pPr lvl="1"/>
            <a:r>
              <a:rPr lang="pt-BR" dirty="0"/>
              <a:t>Limpeza de equipamento</a:t>
            </a:r>
          </a:p>
          <a:p>
            <a:pPr lvl="1"/>
            <a:r>
              <a:rPr lang="pt-BR" dirty="0"/>
              <a:t>Geração de vapor</a:t>
            </a:r>
          </a:p>
          <a:p>
            <a:pPr lvl="1"/>
            <a:r>
              <a:rPr lang="pt-BR" dirty="0"/>
              <a:t>Pasteurização</a:t>
            </a:r>
          </a:p>
          <a:p>
            <a:pPr lvl="1"/>
            <a:r>
              <a:rPr lang="pt-BR" dirty="0"/>
              <a:t>Água incorporada ao produto</a:t>
            </a:r>
          </a:p>
          <a:p>
            <a:pPr lvl="1"/>
            <a:r>
              <a:rPr lang="pt-BR" dirty="0"/>
              <a:t>Consumo médio de 7,2 litros de água por litro de bebida</a:t>
            </a:r>
          </a:p>
          <a:p>
            <a:r>
              <a:rPr lang="pt-BR" dirty="0"/>
              <a:t>Água captada do rio </a:t>
            </a:r>
            <a:r>
              <a:rPr lang="pt-BR" dirty="0" err="1"/>
              <a:t>Jaquari</a:t>
            </a:r>
            <a:r>
              <a:rPr lang="pt-BR" dirty="0"/>
              <a:t>:</a:t>
            </a:r>
          </a:p>
          <a:p>
            <a:pPr lvl="1"/>
            <a:r>
              <a:rPr lang="pt-BR" dirty="0"/>
              <a:t>Água de classe 2</a:t>
            </a:r>
          </a:p>
          <a:p>
            <a:pPr lvl="1"/>
            <a:r>
              <a:rPr lang="pt-BR" dirty="0"/>
              <a:t>Intenso crescimento industrial e populacional</a:t>
            </a:r>
          </a:p>
        </p:txBody>
      </p:sp>
      <p:sp>
        <p:nvSpPr>
          <p:cNvPr id="5" name="Espaço Reservado para o Número do Slide 4">
            <a:extLst>
              <a:ext uri="{FF2B5EF4-FFF2-40B4-BE49-F238E27FC236}">
                <a16:creationId xmlns:a16="http://schemas.microsoft.com/office/drawing/2014/main" id="{F6964141-6F81-4947-A236-746D94ED3F6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/>
          <a:p>
            <a:pPr rtl="0"/>
            <a:fld id="{19B51A1E-902D-48AF-9020-955120F399B6}" type="slidenum">
              <a:rPr lang="pt-BR" smtClean="0"/>
              <a:pPr rtl="0"/>
              <a:t>6</a:t>
            </a:fld>
            <a:endParaRPr lang="pt-BR"/>
          </a:p>
        </p:txBody>
      </p:sp>
      <p:sp>
        <p:nvSpPr>
          <p:cNvPr id="16" name="Espaço Reservado para Texto 15">
            <a:extLst>
              <a:ext uri="{FF2B5EF4-FFF2-40B4-BE49-F238E27FC236}">
                <a16:creationId xmlns:a16="http://schemas.microsoft.com/office/drawing/2014/main" id="{C56ED2E8-087E-467E-B32A-FD39F49E03D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22228" y="400348"/>
            <a:ext cx="5483996" cy="360000"/>
          </a:xfrm>
        </p:spPr>
        <p:txBody>
          <a:bodyPr/>
          <a:lstStyle/>
          <a:p>
            <a:r>
              <a:rPr lang="pt-BR" dirty="0"/>
              <a:t>Implementação das medidas de P+L</a:t>
            </a:r>
          </a:p>
        </p:txBody>
      </p:sp>
      <p:sp>
        <p:nvSpPr>
          <p:cNvPr id="17" name="Espaço Reservado para Conteúdo 16">
            <a:extLst>
              <a:ext uri="{FF2B5EF4-FFF2-40B4-BE49-F238E27FC236}">
                <a16:creationId xmlns:a16="http://schemas.microsoft.com/office/drawing/2014/main" id="{AD206954-4C55-4C29-8E75-1672D5BBFA48}"/>
              </a:ext>
            </a:extLst>
          </p:cNvPr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r>
              <a:rPr lang="pt-BR" dirty="0"/>
              <a:t>Grupo de trabalho para solucionar problema</a:t>
            </a:r>
          </a:p>
          <a:p>
            <a:pPr lvl="0"/>
            <a:r>
              <a:rPr lang="pt-BR" dirty="0"/>
              <a:t>Redução de água utilizada para limpeza dos equipamentos</a:t>
            </a:r>
          </a:p>
          <a:p>
            <a:pPr lvl="0"/>
            <a:r>
              <a:rPr lang="pt-BR" dirty="0"/>
              <a:t>Reutilização de água da pasteurização</a:t>
            </a:r>
          </a:p>
          <a:p>
            <a:pPr lvl="0"/>
            <a:r>
              <a:rPr lang="pt-BR" dirty="0"/>
              <a:t>Diminuição de perdas por vazamentos</a:t>
            </a:r>
          </a:p>
          <a:p>
            <a:pPr lvl="0"/>
            <a:r>
              <a:rPr lang="pt-BR" dirty="0"/>
              <a:t>Reuso dos produtos de limpeza</a:t>
            </a:r>
          </a:p>
          <a:p>
            <a:pPr lvl="0"/>
            <a:r>
              <a:rPr lang="pt-BR" dirty="0"/>
              <a:t>Conscientização dos funcionários</a:t>
            </a:r>
          </a:p>
          <a:p>
            <a:pPr lvl="0"/>
            <a:r>
              <a:rPr lang="pt-BR" dirty="0"/>
              <a:t>Regras e otimização nos vestiários e banheiros</a:t>
            </a:r>
          </a:p>
          <a:p>
            <a:pPr lvl="0"/>
            <a:r>
              <a:rPr lang="pt-BR" dirty="0" err="1"/>
              <a:t>Retrolavagem</a:t>
            </a:r>
            <a:r>
              <a:rPr lang="pt-BR" dirty="0"/>
              <a:t> dos filtros</a:t>
            </a:r>
          </a:p>
          <a:p>
            <a:pPr lvl="0"/>
            <a:r>
              <a:rPr lang="pt-BR" dirty="0"/>
              <a:t>Eliminação de torneiras de irrigação dos jardins</a:t>
            </a: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1452643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8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8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800"/>
                            </p:stCondLst>
                            <p:childTnLst>
                              <p:par>
                                <p:cTn id="10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1000"/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1000"/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1000"/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5" dur="1000" fill="hold"/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1000" fill="hold"/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1000"/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0" dur="1000" fill="hold"/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1000" fill="hold"/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1000"/>
                                        <p:tgtEl>
                                          <p:spTgt spid="1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5" dur="1000" fill="hold"/>
                                        <p:tgtEl>
                                          <p:spTgt spid="1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1000" fill="hold"/>
                                        <p:tgtEl>
                                          <p:spTgt spid="1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1000"/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0" dur="1000" fill="hold"/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1000" fill="hold"/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1000"/>
                                        <p:tgtEl>
                                          <p:spTgt spid="1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5" dur="1000" fill="hold"/>
                                        <p:tgtEl>
                                          <p:spTgt spid="1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1000" fill="hold"/>
                                        <p:tgtEl>
                                          <p:spTgt spid="1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1000"/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1000" fill="hold"/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5" grpId="0" build="p"/>
      <p:bldP spid="16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>
            <a:extLst>
              <a:ext uri="{FF2B5EF4-FFF2-40B4-BE49-F238E27FC236}">
                <a16:creationId xmlns:a16="http://schemas.microsoft.com/office/drawing/2014/main" id="{76F3BC00-016D-45F4-9C27-3F780E2063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r>
              <a:rPr lang="pt-BR" dirty="0"/>
              <a:t>Antes da implementação da P+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28324B85-A254-48A1-8908-97437B6804E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2000" y="1921682"/>
            <a:ext cx="4431548" cy="4198318"/>
          </a:xfrm>
        </p:spPr>
        <p:txBody>
          <a:bodyPr/>
          <a:lstStyle/>
          <a:p>
            <a:r>
              <a:rPr lang="pt-BR" dirty="0"/>
              <a:t>Consumo médio de 7,2 litros de água por litro de bebida</a:t>
            </a:r>
          </a:p>
          <a:p>
            <a:r>
              <a:rPr lang="pt-BR" dirty="0"/>
              <a:t>Supondo uma produção anual de 5.10</a:t>
            </a:r>
            <a:r>
              <a:rPr lang="pt-BR" baseline="30000" dirty="0"/>
              <a:t>8 </a:t>
            </a:r>
            <a:r>
              <a:rPr lang="pt-BR" dirty="0"/>
              <a:t>litros de bebidas:</a:t>
            </a:r>
          </a:p>
          <a:p>
            <a:pPr lvl="1"/>
            <a:r>
              <a:rPr lang="pt-BR" dirty="0"/>
              <a:t>Água utilizada na produção anual de 3.600 m³ de água.</a:t>
            </a:r>
          </a:p>
          <a:p>
            <a:pPr lvl="1"/>
            <a:endParaRPr lang="pt-BR" dirty="0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27994797-5697-4A14-97F4-C212A14881C4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accent6">
              <a:alpha val="50000"/>
            </a:schemeClr>
          </a:solidFill>
        </p:spPr>
        <p:txBody>
          <a:bodyPr rtlCol="0"/>
          <a:lstStyle/>
          <a:p>
            <a:pPr algn="ctr" rtl="0"/>
            <a:r>
              <a:rPr lang="pt-BR" dirty="0"/>
              <a:t>Situações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532E0E75-9609-4887-A39D-4A69E964913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340450" y="1350952"/>
            <a:ext cx="5483996" cy="360000"/>
          </a:xfrm>
        </p:spPr>
        <p:txBody>
          <a:bodyPr/>
          <a:lstStyle/>
          <a:p>
            <a:r>
              <a:rPr lang="pt-BR" dirty="0"/>
              <a:t>Depois da implementação da P+L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20037725-6C0F-4811-B8FB-11B62BA25EA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7340450" y="1921682"/>
            <a:ext cx="4419550" cy="4185836"/>
          </a:xfrm>
        </p:spPr>
        <p:txBody>
          <a:bodyPr/>
          <a:lstStyle/>
          <a:p>
            <a:r>
              <a:rPr lang="pt-BR" dirty="0"/>
              <a:t>Consumo médio de 5,89 litros de água por litro de bebida</a:t>
            </a:r>
          </a:p>
          <a:p>
            <a:r>
              <a:rPr lang="pt-BR" dirty="0"/>
              <a:t>Supondo uma produção anual de 5.10</a:t>
            </a:r>
            <a:r>
              <a:rPr lang="pt-BR" baseline="30000" dirty="0"/>
              <a:t>8 </a:t>
            </a:r>
            <a:r>
              <a:rPr lang="pt-BR" dirty="0"/>
              <a:t>litros de bebidas</a:t>
            </a:r>
          </a:p>
          <a:p>
            <a:pPr lvl="1"/>
            <a:r>
              <a:rPr lang="pt-BR" dirty="0"/>
              <a:t>Água utilizada na produção anual de 2.945 m³ de água</a:t>
            </a:r>
          </a:p>
          <a:p>
            <a:pPr lvl="1"/>
            <a:r>
              <a:rPr lang="pt-BR" dirty="0"/>
              <a:t>Água economizada atende a 9.600 habitantes por ano</a:t>
            </a:r>
          </a:p>
          <a:p>
            <a:pPr lvl="1"/>
            <a:r>
              <a:rPr lang="pt-BR" dirty="0"/>
              <a:t>Economia de R$249.503,00, onde:</a:t>
            </a:r>
          </a:p>
          <a:p>
            <a:pPr lvl="2"/>
            <a:r>
              <a:rPr lang="pt-BR" dirty="0"/>
              <a:t>R$ 46.348,00/ano no tratamento da água</a:t>
            </a:r>
          </a:p>
          <a:p>
            <a:pPr lvl="2"/>
            <a:r>
              <a:rPr lang="pt-BR" dirty="0"/>
              <a:t>R$ 203.155,00/ano resíduos industriais</a:t>
            </a:r>
          </a:p>
          <a:p>
            <a:pPr lvl="2"/>
            <a:endParaRPr lang="pt-BR" dirty="0"/>
          </a:p>
          <a:p>
            <a:endParaRPr lang="pt-BR" dirty="0"/>
          </a:p>
        </p:txBody>
      </p:sp>
      <p:sp>
        <p:nvSpPr>
          <p:cNvPr id="7" name="Seta: para a Direita 6">
            <a:extLst>
              <a:ext uri="{FF2B5EF4-FFF2-40B4-BE49-F238E27FC236}">
                <a16:creationId xmlns:a16="http://schemas.microsoft.com/office/drawing/2014/main" id="{E8DE95D9-2D99-46D3-8EDF-FEED48471E20}"/>
              </a:ext>
            </a:extLst>
          </p:cNvPr>
          <p:cNvSpPr/>
          <p:nvPr/>
        </p:nvSpPr>
        <p:spPr>
          <a:xfrm>
            <a:off x="5155095" y="2504661"/>
            <a:ext cx="1881809" cy="695740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 w="31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A7278BFE-2DAC-420B-97E0-95CFEA56EA2F}"/>
              </a:ext>
            </a:extLst>
          </p:cNvPr>
          <p:cNvSpPr txBox="1"/>
          <p:nvPr/>
        </p:nvSpPr>
        <p:spPr>
          <a:xfrm>
            <a:off x="5155095" y="3200401"/>
            <a:ext cx="187581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Foi gasto R$ 97.500,00 na implementação das soluções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1D343B06-1502-4503-88DC-0FED7CBC4D87}"/>
              </a:ext>
            </a:extLst>
          </p:cNvPr>
          <p:cNvSpPr txBox="1"/>
          <p:nvPr/>
        </p:nvSpPr>
        <p:spPr>
          <a:xfrm>
            <a:off x="5167094" y="2667865"/>
            <a:ext cx="15782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Investimento</a:t>
            </a:r>
          </a:p>
        </p:txBody>
      </p:sp>
    </p:spTree>
    <p:extLst>
      <p:ext uri="{BB962C8B-B14F-4D97-AF65-F5344CB8AC3E}">
        <p14:creationId xmlns:p14="http://schemas.microsoft.com/office/powerpoint/2010/main" val="148963589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" dur="10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3" dur="10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6" dur="10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grpId="0" nodeType="withEffect">
                                  <p:stCondLst>
                                    <p:cond delay="5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4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4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4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" presetClass="entr" presetSubtype="4" fill="hold" grpId="0" nodeType="withEffect">
                                  <p:stCondLst>
                                    <p:cond delay="5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8" dur="10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1" dur="10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4" dur="10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7" dur="10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0" dur="10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3" dur="10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6" dur="10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9" dur="100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5" grpId="0" build="p"/>
      <p:bldP spid="7" grpId="0" animBg="1"/>
      <p:bldP spid="8" grpId="0"/>
      <p:bldP spid="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D14336EA-31E7-486F-9074-8DE939B70A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6600" y="-1"/>
            <a:ext cx="5105400" cy="6858001"/>
          </a:xfrm>
          <a:solidFill>
            <a:schemeClr val="accent6">
              <a:alpha val="50000"/>
            </a:schemeClr>
          </a:solidFill>
        </p:spPr>
        <p:txBody>
          <a:bodyPr rtlCol="0" anchor="ctr" anchorCtr="0"/>
          <a:lstStyle/>
          <a:p>
            <a:r>
              <a:rPr lang="pt-BR" dirty="0" err="1"/>
              <a:t>Coats</a:t>
            </a:r>
            <a:r>
              <a:rPr lang="pt-BR" dirty="0"/>
              <a:t> Corrente Ltda.</a:t>
            </a:r>
          </a:p>
        </p:txBody>
      </p:sp>
      <p:sp>
        <p:nvSpPr>
          <p:cNvPr id="4" name="Subtítulo 3">
            <a:extLst>
              <a:ext uri="{FF2B5EF4-FFF2-40B4-BE49-F238E27FC236}">
                <a16:creationId xmlns:a16="http://schemas.microsoft.com/office/drawing/2014/main" id="{4772945D-CA91-4CFE-8EB7-941C7618C99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36402" y="3763617"/>
            <a:ext cx="3638852" cy="2957858"/>
          </a:xfrm>
          <a:ln>
            <a:noFill/>
          </a:ln>
        </p:spPr>
        <p:txBody>
          <a:bodyPr rtlCol="0"/>
          <a:lstStyle/>
          <a:p>
            <a:pPr marL="342900" indent="-342900" rtl="0">
              <a:buFont typeface="Arial" panose="020B0604020202020204" pitchFamily="34" charset="0"/>
              <a:buChar char="•"/>
            </a:pPr>
            <a:r>
              <a:rPr lang="pt-BR" dirty="0"/>
              <a:t>Empresa grande</a:t>
            </a:r>
          </a:p>
          <a:p>
            <a:pPr marL="342900" indent="-342900" rtl="0">
              <a:buFont typeface="Arial" panose="020B0604020202020204" pitchFamily="34" charset="0"/>
              <a:buChar char="•"/>
            </a:pPr>
            <a:r>
              <a:rPr lang="pt-BR" dirty="0"/>
              <a:t>Atuação regional, nacional e internacional</a:t>
            </a:r>
          </a:p>
          <a:p>
            <a:pPr marL="342900" indent="-342900" rtl="0">
              <a:buFont typeface="Arial" panose="020B0604020202020204" pitchFamily="34" charset="0"/>
              <a:buChar char="•"/>
            </a:pPr>
            <a:r>
              <a:rPr lang="pt-BR" dirty="0"/>
              <a:t>Linha de costura, bordado, tricô, etc.</a:t>
            </a:r>
          </a:p>
          <a:p>
            <a:pPr marL="342900" indent="-342900" rtl="0">
              <a:buFont typeface="Arial" panose="020B0604020202020204" pitchFamily="34" charset="0"/>
              <a:buChar char="•"/>
            </a:pPr>
            <a:r>
              <a:rPr lang="pt-BR" dirty="0"/>
              <a:t>Produção de 5.640 toneladas</a:t>
            </a:r>
          </a:p>
          <a:p>
            <a:pPr marL="342900" indent="-342900" rtl="0">
              <a:buFont typeface="Arial" panose="020B0604020202020204" pitchFamily="34" charset="0"/>
              <a:buChar char="•"/>
            </a:pPr>
            <a:endParaRPr lang="pt-BR" dirty="0"/>
          </a:p>
        </p:txBody>
      </p:sp>
      <p:sp>
        <p:nvSpPr>
          <p:cNvPr id="5" name="Espaço Reservado para o Número do Slide 4">
            <a:extLst>
              <a:ext uri="{FF2B5EF4-FFF2-40B4-BE49-F238E27FC236}">
                <a16:creationId xmlns:a16="http://schemas.microsoft.com/office/drawing/2014/main" id="{BDD5A594-D852-43BB-B591-E9D9027253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/>
          <a:p>
            <a:pPr rtl="0"/>
            <a:fld id="{19B51A1E-902D-48AF-9020-955120F399B6}" type="slidenum">
              <a:rPr lang="pt-BR" smtClean="0"/>
              <a:pPr rtl="0"/>
              <a:t>8</a:t>
            </a:fld>
            <a:endParaRPr lang="pt-BR"/>
          </a:p>
        </p:txBody>
      </p:sp>
      <p:pic>
        <p:nvPicPr>
          <p:cNvPr id="6" name="Imagem 5" descr="Uma imagem contendo desenho&#10;&#10;Descrição gerada automaticamente">
            <a:extLst>
              <a:ext uri="{FF2B5EF4-FFF2-40B4-BE49-F238E27FC236}">
                <a16:creationId xmlns:a16="http://schemas.microsoft.com/office/drawing/2014/main" id="{3667CDFB-60CE-4EDE-8B34-9B90F1A4BE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7778" y="1935187"/>
            <a:ext cx="2987623" cy="2987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491883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tângulo 17">
            <a:extLst>
              <a:ext uri="{FF2B5EF4-FFF2-40B4-BE49-F238E27FC236}">
                <a16:creationId xmlns:a16="http://schemas.microsoft.com/office/drawing/2014/main" id="{F425A028-038E-4FB2-9F87-E6CC52224AF7}"/>
              </a:ext>
            </a:extLst>
          </p:cNvPr>
          <p:cNvSpPr/>
          <p:nvPr/>
        </p:nvSpPr>
        <p:spPr>
          <a:xfrm>
            <a:off x="-1" y="0"/>
            <a:ext cx="5903999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5" name="Espaço Reservado para Texto 14">
            <a:extLst>
              <a:ext uri="{FF2B5EF4-FFF2-40B4-BE49-F238E27FC236}">
                <a16:creationId xmlns:a16="http://schemas.microsoft.com/office/drawing/2014/main" id="{4A368697-3658-4061-9485-055DDFE775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400348"/>
            <a:ext cx="5472000" cy="360000"/>
          </a:xfrm>
        </p:spPr>
        <p:txBody>
          <a:bodyPr/>
          <a:lstStyle/>
          <a:p>
            <a:r>
              <a:rPr lang="pt-BR" dirty="0">
                <a:solidFill>
                  <a:schemeClr val="tx1"/>
                </a:solidFill>
              </a:rPr>
              <a:t>Oportunidade de implementação</a:t>
            </a:r>
          </a:p>
        </p:txBody>
      </p:sp>
      <p:sp>
        <p:nvSpPr>
          <p:cNvPr id="4" name="Subtítulo 3">
            <a:extLst>
              <a:ext uri="{FF2B5EF4-FFF2-40B4-BE49-F238E27FC236}">
                <a16:creationId xmlns:a16="http://schemas.microsoft.com/office/drawing/2014/main" id="{4772945D-CA91-4CFE-8EB7-941C7618C99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15999" y="1921683"/>
            <a:ext cx="5472000" cy="4198318"/>
          </a:xfrm>
        </p:spPr>
        <p:txBody>
          <a:bodyPr rtlCol="0"/>
          <a:lstStyle/>
          <a:p>
            <a:pPr rtl="0"/>
            <a:r>
              <a:rPr lang="pt-BR" dirty="0"/>
              <a:t>Grande gasto de água na produção:</a:t>
            </a:r>
          </a:p>
          <a:p>
            <a:pPr lvl="1"/>
            <a:r>
              <a:rPr lang="pt-BR" dirty="0"/>
              <a:t>60.000 m³/ mês de água na produção</a:t>
            </a:r>
          </a:p>
          <a:p>
            <a:r>
              <a:rPr lang="pt-BR" dirty="0"/>
              <a:t>Região do Ipiranga:</a:t>
            </a:r>
          </a:p>
          <a:p>
            <a:pPr lvl="1"/>
            <a:r>
              <a:rPr lang="pt-BR" dirty="0"/>
              <a:t>Não possui vazão adequada para poços artesianos</a:t>
            </a:r>
          </a:p>
          <a:p>
            <a:pPr lvl="1"/>
            <a:r>
              <a:rPr lang="pt-BR" dirty="0"/>
              <a:t>Alta variabilidade do rio Tamanduateí:</a:t>
            </a:r>
          </a:p>
          <a:p>
            <a:pPr lvl="2"/>
            <a:r>
              <a:rPr lang="pt-BR" dirty="0"/>
              <a:t>Alto custo de tratamento de água</a:t>
            </a:r>
          </a:p>
          <a:p>
            <a:r>
              <a:rPr lang="pt-BR" dirty="0"/>
              <a:t>Possibilidade de uso de água obtida da ETE Jesus Neto</a:t>
            </a:r>
          </a:p>
        </p:txBody>
      </p:sp>
      <p:sp>
        <p:nvSpPr>
          <p:cNvPr id="5" name="Espaço Reservado para o Número do Slide 4">
            <a:extLst>
              <a:ext uri="{FF2B5EF4-FFF2-40B4-BE49-F238E27FC236}">
                <a16:creationId xmlns:a16="http://schemas.microsoft.com/office/drawing/2014/main" id="{F6964141-6F81-4947-A236-746D94ED3F6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/>
          <a:p>
            <a:pPr rtl="0"/>
            <a:fld id="{19B51A1E-902D-48AF-9020-955120F399B6}" type="slidenum">
              <a:rPr lang="pt-BR" smtClean="0"/>
              <a:pPr rtl="0"/>
              <a:t>9</a:t>
            </a:fld>
            <a:endParaRPr lang="pt-BR"/>
          </a:p>
        </p:txBody>
      </p:sp>
      <p:sp>
        <p:nvSpPr>
          <p:cNvPr id="16" name="Espaço Reservado para Texto 15">
            <a:extLst>
              <a:ext uri="{FF2B5EF4-FFF2-40B4-BE49-F238E27FC236}">
                <a16:creationId xmlns:a16="http://schemas.microsoft.com/office/drawing/2014/main" id="{C56ED2E8-087E-467E-B32A-FD39F49E03D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22228" y="400348"/>
            <a:ext cx="5483996" cy="360000"/>
          </a:xfrm>
        </p:spPr>
        <p:txBody>
          <a:bodyPr/>
          <a:lstStyle/>
          <a:p>
            <a:r>
              <a:rPr lang="pt-BR" dirty="0"/>
              <a:t>Implementação das medidas de P+L</a:t>
            </a:r>
          </a:p>
        </p:txBody>
      </p:sp>
      <p:sp>
        <p:nvSpPr>
          <p:cNvPr id="17" name="Espaço Reservado para Conteúdo 16">
            <a:extLst>
              <a:ext uri="{FF2B5EF4-FFF2-40B4-BE49-F238E27FC236}">
                <a16:creationId xmlns:a16="http://schemas.microsoft.com/office/drawing/2014/main" id="{AD206954-4C55-4C29-8E75-1672D5BBFA48}"/>
              </a:ext>
            </a:extLst>
          </p:cNvPr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r>
              <a:rPr lang="pt-BR" dirty="0"/>
              <a:t>Parceria com a SABESP para atingir a qualidade necessária da água na produção</a:t>
            </a:r>
          </a:p>
          <a:p>
            <a:r>
              <a:rPr lang="pt-BR" dirty="0"/>
              <a:t>Instalação de tubulação conectando a ETE com a empresa</a:t>
            </a:r>
          </a:p>
        </p:txBody>
      </p:sp>
    </p:spTree>
    <p:extLst>
      <p:ext uri="{BB962C8B-B14F-4D97-AF65-F5344CB8AC3E}">
        <p14:creationId xmlns:p14="http://schemas.microsoft.com/office/powerpoint/2010/main" val="404792379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8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8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800"/>
                            </p:stCondLst>
                            <p:childTnLst>
                              <p:par>
                                <p:cTn id="10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c4GOb2hTZSq5vmm_qEB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p3StjnfY7A9.WWfhV4xA"/>
</p:tagLst>
</file>

<file path=ppt/theme/theme1.xml><?xml version="1.0" encoding="utf-8"?>
<a:theme xmlns:a="http://schemas.openxmlformats.org/drawingml/2006/main" name="Tema do Office">
  <a:themeElements>
    <a:clrScheme name="Custom 133">
      <a:dk1>
        <a:sysClr val="windowText" lastClr="000000"/>
      </a:dk1>
      <a:lt1>
        <a:srgbClr val="FFFFFF"/>
      </a:lt1>
      <a:dk2>
        <a:srgbClr val="3F3F3F"/>
      </a:dk2>
      <a:lt2>
        <a:srgbClr val="F2F2F2"/>
      </a:lt2>
      <a:accent1>
        <a:srgbClr val="029B2D"/>
      </a:accent1>
      <a:accent2>
        <a:srgbClr val="E86F1B"/>
      </a:accent2>
      <a:accent3>
        <a:srgbClr val="E812B3"/>
      </a:accent3>
      <a:accent4>
        <a:srgbClr val="FFC000"/>
      </a:accent4>
      <a:accent5>
        <a:srgbClr val="1BD8E8"/>
      </a:accent5>
      <a:accent6>
        <a:srgbClr val="029B2D"/>
      </a:accent6>
      <a:hlink>
        <a:srgbClr val="029B2D"/>
      </a:hlink>
      <a:folHlink>
        <a:srgbClr val="029B2D"/>
      </a:folHlink>
    </a:clrScheme>
    <a:fontScheme name="Custom 152">
      <a:majorFont>
        <a:latin typeface="Garamond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3175"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_30677375_TF78453729" id="{035061C4-BF84-4DCC-9D43-5D90085712FE}" vid="{2687E18B-DA44-4130-AB77-E62BAF05E52C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EA25CC0A0AC24199CDC46C25B8B0BC" ma:contentTypeVersion="10" ma:contentTypeDescription="Create a new document." ma:contentTypeScope="" ma:versionID="e3b47856d4cf355c0dacb39e1084d14f">
  <xsd:schema xmlns:xsd="http://www.w3.org/2001/XMLSchema" xmlns:xs="http://www.w3.org/2001/XMLSchema" xmlns:p="http://schemas.microsoft.com/office/2006/metadata/properties" xmlns:ns1="http://schemas.microsoft.com/sharepoint/v3" xmlns:ns2="6dc4bcd6-49db-4c07-9060-8acfc67cef9f" xmlns:ns3="fb0879af-3eba-417a-a55a-ffe6dcd6ca77" targetNamespace="http://schemas.microsoft.com/office/2006/metadata/properties" ma:root="true" ma:fieldsID="a845a615265fdb1f7b12cc65ac20ecbd" ns1:_="" ns2:_="" ns3:_="">
    <xsd:import namespace="http://schemas.microsoft.com/sharepoint/v3"/>
    <xsd:import namespace="6dc4bcd6-49db-4c07-9060-8acfc67cef9f"/>
    <xsd:import namespace="fb0879af-3eba-417a-a55a-ffe6dcd6ca7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3:SharedWithUsers" minOccurs="0"/>
                <xsd:element ref="ns3:SharedWithDetails" minOccurs="0"/>
                <xsd:element ref="ns3:LastSharedByUser" minOccurs="0"/>
                <xsd:element ref="ns3:LastSharedByTime" minOccurs="0"/>
                <xsd:element ref="ns1:_ip_UnifiedCompliancePolicyProperties" minOccurs="0"/>
                <xsd:element ref="ns1:_ip_UnifiedCompliancePolicyUIAction" minOccurs="0"/>
                <xsd:element ref="ns2:MediaServiceAuto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5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6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c4bcd6-49db-4c07-9060-8acfc67cef9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7" nillable="true" ma:displayName="MediaServiceAutoTags" ma:internalName="MediaServiceAutoTag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0879af-3eba-417a-a55a-ffe6dcd6ca77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3" nillable="true" ma:displayName="Last Shared By User" ma:hidden="true" ma:internalName="LastSharedByUser" ma:readOnly="true">
      <xsd:simpleType>
        <xsd:restriction base="dms:Note"/>
      </xsd:simpleType>
    </xsd:element>
    <xsd:element name="LastSharedByTime" ma:index="14" nillable="true" ma:displayName="Last Shared By Time" ma:hidden="true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5735FB8-6771-4363-8DC9-1A1EC5A235C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6dc4bcd6-49db-4c07-9060-8acfc67cef9f"/>
    <ds:schemaRef ds:uri="fb0879af-3eba-417a-a55a-ffe6dcd6ca7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258AE14-BE87-4F2F-9922-71301CC22076}">
  <ds:schemaRefs>
    <ds:schemaRef ds:uri="http://schemas.openxmlformats.org/package/2006/metadata/core-properties"/>
    <ds:schemaRef ds:uri="6dc4bcd6-49db-4c07-9060-8acfc67cef9f"/>
    <ds:schemaRef ds:uri="http://schemas.microsoft.com/office/2006/documentManagement/types"/>
    <ds:schemaRef ds:uri="http://purl.org/dc/terms/"/>
    <ds:schemaRef ds:uri="fb0879af-3eba-417a-a55a-ffe6dcd6ca77"/>
    <ds:schemaRef ds:uri="http://purl.org/dc/dcmitype/"/>
    <ds:schemaRef ds:uri="http://schemas.microsoft.com/sharepoint/v3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1480B3CF-F6F2-43A9-914C-8E073F3C82B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presentação orgânica</Template>
  <TotalTime>0</TotalTime>
  <Words>693</Words>
  <Application>Microsoft Office PowerPoint</Application>
  <PresentationFormat>Widescreen</PresentationFormat>
  <Paragraphs>141</Paragraphs>
  <Slides>11</Slides>
  <Notes>11</Notes>
  <HiddenSlides>0</HiddenSlides>
  <MMClips>0</MMClips>
  <ScaleCrop>false</ScaleCrop>
  <HeadingPairs>
    <vt:vector size="8" baseType="variant">
      <vt:variant>
        <vt:lpstr>Fo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1</vt:i4>
      </vt:variant>
    </vt:vector>
  </HeadingPairs>
  <TitlesOfParts>
    <vt:vector size="18" baseType="lpstr">
      <vt:lpstr>Arial</vt:lpstr>
      <vt:lpstr>Calibri</vt:lpstr>
      <vt:lpstr>Corbel</vt:lpstr>
      <vt:lpstr>Garamond</vt:lpstr>
      <vt:lpstr>Times New Roman</vt:lpstr>
      <vt:lpstr>Tema do Office</vt:lpstr>
      <vt:lpstr>Slide do think-cell</vt:lpstr>
      <vt:lpstr>Atividade 3: Produção Mais limpa e Prevenção à poluição</vt:lpstr>
      <vt:lpstr>ERIMPRESS Etiquetas Ltda</vt:lpstr>
      <vt:lpstr>Apresentação do PowerPoint</vt:lpstr>
      <vt:lpstr>Situações</vt:lpstr>
      <vt:lpstr>Companhia Brasileira de Bebidas</vt:lpstr>
      <vt:lpstr>Apresentação do PowerPoint</vt:lpstr>
      <vt:lpstr>Situações</vt:lpstr>
      <vt:lpstr>Coats Corrente Ltda.</vt:lpstr>
      <vt:lpstr>Apresentação do PowerPoint</vt:lpstr>
      <vt:lpstr>Situações</vt:lpstr>
      <vt:lpstr>Obrigado por assistir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3-22T21:53:55Z</dcterms:created>
  <dcterms:modified xsi:type="dcterms:W3CDTF">2020-03-27T02:00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EEA25CC0A0AC24199CDC46C25B8B0BC</vt:lpwstr>
  </property>
</Properties>
</file>